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08" r:id="rId44"/>
  </p:sldMasterIdLst>
  <p:notesMasterIdLst>
    <p:notesMasterId r:id="rId91"/>
  </p:notesMasterIdLst>
  <p:handoutMasterIdLst>
    <p:handoutMasterId r:id="rId92"/>
  </p:handoutMasterIdLst>
  <p:sldIdLst>
    <p:sldId id="256" r:id="rId45"/>
    <p:sldId id="257" r:id="rId46"/>
    <p:sldId id="258" r:id="rId47"/>
    <p:sldId id="259" r:id="rId48"/>
    <p:sldId id="260" r:id="rId49"/>
    <p:sldId id="294" r:id="rId50"/>
    <p:sldId id="292" r:id="rId51"/>
    <p:sldId id="261" r:id="rId52"/>
    <p:sldId id="262" r:id="rId53"/>
    <p:sldId id="263" r:id="rId54"/>
    <p:sldId id="295" r:id="rId55"/>
    <p:sldId id="264" r:id="rId56"/>
    <p:sldId id="296" r:id="rId57"/>
    <p:sldId id="304" r:id="rId58"/>
    <p:sldId id="265" r:id="rId59"/>
    <p:sldId id="313" r:id="rId60"/>
    <p:sldId id="314" r:id="rId61"/>
    <p:sldId id="315" r:id="rId62"/>
    <p:sldId id="316" r:id="rId63"/>
    <p:sldId id="317" r:id="rId64"/>
    <p:sldId id="319" r:id="rId65"/>
    <p:sldId id="318" r:id="rId66"/>
    <p:sldId id="266" r:id="rId67"/>
    <p:sldId id="268" r:id="rId68"/>
    <p:sldId id="269" r:id="rId69"/>
    <p:sldId id="270" r:id="rId70"/>
    <p:sldId id="271" r:id="rId71"/>
    <p:sldId id="298" r:id="rId72"/>
    <p:sldId id="272" r:id="rId73"/>
    <p:sldId id="299" r:id="rId74"/>
    <p:sldId id="273" r:id="rId75"/>
    <p:sldId id="301" r:id="rId76"/>
    <p:sldId id="274" r:id="rId77"/>
    <p:sldId id="302" r:id="rId78"/>
    <p:sldId id="276" r:id="rId79"/>
    <p:sldId id="280" r:id="rId80"/>
    <p:sldId id="307" r:id="rId81"/>
    <p:sldId id="308" r:id="rId82"/>
    <p:sldId id="309" r:id="rId83"/>
    <p:sldId id="284" r:id="rId84"/>
    <p:sldId id="283" r:id="rId85"/>
    <p:sldId id="289" r:id="rId86"/>
    <p:sldId id="290" r:id="rId87"/>
    <p:sldId id="310" r:id="rId88"/>
    <p:sldId id="311" r:id="rId89"/>
    <p:sldId id="312" r:id="rId90"/>
  </p:sldIdLst>
  <p:sldSz cx="12195175" cy="6858000"/>
  <p:notesSz cx="6858000" cy="9144000"/>
  <p:defaultTextStyle>
    <a:defPPr lvl="0">
      <a:defRPr lang="nl-NL"/>
    </a:defPPr>
    <a:lvl1pPr marL="0" lvl="1" algn="l" defTabSz="1088502" rtl="0" eaLnBrk="1" latinLnBrk="0" hangingPunct="1">
      <a:defRPr sz="2100" kern="1200">
        <a:solidFill>
          <a:schemeClr val="tx1"/>
        </a:solidFill>
        <a:latin typeface="+mn-lt"/>
        <a:ea typeface="+mn-ea"/>
        <a:cs typeface="+mn-cs"/>
      </a:defRPr>
    </a:lvl1pPr>
    <a:lvl2pPr marL="544251" lvl="2" algn="l" defTabSz="1088502" rtl="0" eaLnBrk="1" latinLnBrk="0" hangingPunct="1">
      <a:defRPr sz="2100" kern="1200">
        <a:solidFill>
          <a:schemeClr val="tx1"/>
        </a:solidFill>
        <a:latin typeface="+mn-lt"/>
        <a:ea typeface="+mn-ea"/>
        <a:cs typeface="+mn-cs"/>
      </a:defRPr>
    </a:lvl2pPr>
    <a:lvl3pPr marL="1088502" lvl="3" algn="l" defTabSz="1088502" rtl="0" eaLnBrk="1" latinLnBrk="0" hangingPunct="1">
      <a:defRPr sz="2100" kern="1200">
        <a:solidFill>
          <a:schemeClr val="tx1"/>
        </a:solidFill>
        <a:latin typeface="+mn-lt"/>
        <a:ea typeface="+mn-ea"/>
        <a:cs typeface="+mn-cs"/>
      </a:defRPr>
    </a:lvl3pPr>
    <a:lvl4pPr marL="1632753" lvl="4"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54B6F"/>
    <a:srgbClr val="FA9002"/>
    <a:srgbClr val="C96865"/>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52CBC4-8C35-4559-8FB4-54478653F484}" v="384" dt="2021-11-03T11:59:48.397"/>
    <p1510:client id="{29D967AB-65A6-4054-A4C3-88D13233549B}" v="109" dt="2022-01-12T14:29:53.303"/>
    <p1510:client id="{3E74A029-B2EC-454F-910B-94355C1DD620}" v="2" dt="2020-06-04T14:17:10.378"/>
    <p1510:client id="{87B5EE53-0430-4582-BE64-7F2BB2D0C2DD}" v="28" dt="2020-12-03T09:28:54.546"/>
    <p1510:client id="{93525D81-38A0-43DB-8624-8DAC4F1065EC}" v="28" dt="2021-11-03T14:02:18.351"/>
  </p1510:revLst>
</p1510:revInfo>
</file>

<file path=ppt/tableStyles.xml><?xml version="1.0" encoding="utf-8"?>
<a:tblStyleLst xmlns:a="http://schemas.openxmlformats.org/drawingml/2006/main" def="{7EDD73B6-3981-4B0E-A554-1A50E1D8BFA3}">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75DCB02-9BB8-47FD-8907-85C794F793BA}" styleName="Stijl, thema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7EDD73B6-3981-4B0E-A554-1A50E1D8BFA3}" styleName="Tabelstijl BPD">
    <a:wholeTbl>
      <a:tcTxStyle b="off" i="off">
        <a:font>
          <a:latin typeface="Univers"/>
          <a:ea typeface="Univers"/>
          <a:cs typeface="Univers"/>
        </a:font>
        <a:srgbClr val="000000"/>
      </a:tcTxStyle>
      <a:tcStyle>
        <a:tcBdr>
          <a:left>
            <a:ln>
              <a:noFill/>
            </a:ln>
          </a:left>
          <a:right>
            <a:ln>
              <a:noFill/>
            </a:ln>
          </a:right>
          <a:top>
            <a:ln>
              <a:noFill/>
            </a:ln>
          </a:top>
          <a:bottom>
            <a:ln>
              <a:noFill/>
            </a:ln>
          </a:bottom>
          <a:insideH>
            <a:ln w="12700" cmpd="sng">
              <a:solidFill>
                <a:srgbClr val="FFFFFF"/>
              </a:solidFill>
            </a:ln>
          </a:insideH>
          <a:insideV>
            <a:ln w="12700" cmpd="sng">
              <a:solidFill>
                <a:srgbClr val="FFFFFF"/>
              </a:solidFill>
            </a:ln>
          </a:insideV>
        </a:tcBdr>
        <a:fill>
          <a:solidFill>
            <a:srgbClr val="F2F2F2"/>
          </a:solidFill>
        </a:fill>
      </a:tcStyle>
    </a:wholeTbl>
    <a:band1H>
      <a:tcStyle>
        <a:tcBdr/>
        <a:fill>
          <a:solidFill>
            <a:srgbClr val="F2F2F2"/>
          </a:solidFill>
        </a:fill>
      </a:tcStyle>
    </a:band1H>
    <a:band2H>
      <a:tcStyle>
        <a:tcBdr/>
        <a:fill>
          <a:solidFill>
            <a:srgbClr val="F2F2F2"/>
          </a:solidFill>
        </a:fill>
      </a:tcStyle>
    </a:band2H>
    <a:band1V>
      <a:tcStyle>
        <a:tcBdr/>
        <a:fill>
          <a:solidFill>
            <a:srgbClr val="F2F2F2"/>
          </a:solidFill>
        </a:fill>
      </a:tcStyle>
    </a:band1V>
    <a:band2V>
      <a:tcStyle>
        <a:tcBdr/>
        <a:fill>
          <a:solidFill>
            <a:srgbClr val="F2F2F2"/>
          </a:solidFill>
        </a:fill>
      </a:tcStyle>
    </a:band2V>
    <a:firstCol>
      <a:tcTxStyle b="on" i="off">
        <a:font>
          <a:latin typeface="Univers LT Std 45 Light"/>
          <a:ea typeface="Univers LT Std 45 Light"/>
          <a:cs typeface="Univers LT Std 45 Light"/>
        </a:font>
        <a:srgbClr val="000000"/>
      </a:tcTxStyle>
      <a:tcStyle>
        <a:tcBdr/>
        <a:fill>
          <a:solidFill>
            <a:srgbClr val="CCC8CB"/>
          </a:solidFill>
        </a:fill>
      </a:tcStyle>
    </a:firstCol>
    <a:lastRow>
      <a:tcTxStyle b="on" i="off">
        <a:font>
          <a:latin typeface="Univers LT Std 45 Light"/>
          <a:ea typeface="Univers LT Std 45 Light"/>
          <a:cs typeface="Univers LT Std 45 Light"/>
        </a:font>
        <a:srgbClr val="FFFFFF"/>
      </a:tcTxStyle>
      <a:tcStyle>
        <a:tcBdr/>
        <a:fill>
          <a:solidFill>
            <a:srgbClr val="898285"/>
          </a:solidFill>
        </a:fill>
      </a:tcStyle>
    </a:lastRow>
    <a:firstRow>
      <a:tcTxStyle b="on" i="off">
        <a:font>
          <a:latin typeface="Univers LT Std 45 Light"/>
          <a:ea typeface="Univers LT Std 45 Light"/>
          <a:cs typeface="Univers LT Std 45 Light"/>
        </a:font>
        <a:srgbClr val="FFFFFF"/>
      </a:tcTxStyle>
      <a:tcStyle>
        <a:tcBdr/>
        <a:fill>
          <a:solidFill>
            <a:srgbClr val="78BDDE"/>
          </a:solidFill>
        </a:fill>
      </a:tcStyle>
    </a:firstRow>
    <a:extLst>
      <a:ext uri="http://www.joulesunlimited.com/pptTableStyle"/>
    </a:extLst>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36" autoAdjust="0"/>
    <p:restoredTop sz="94260" autoAdjust="0"/>
  </p:normalViewPr>
  <p:slideViewPr>
    <p:cSldViewPr>
      <p:cViewPr varScale="1">
        <p:scale>
          <a:sx n="107" d="100"/>
          <a:sy n="107" d="100"/>
        </p:scale>
        <p:origin x="636" y="114"/>
      </p:cViewPr>
      <p:guideLst/>
    </p:cSldViewPr>
  </p:slideViewPr>
  <p:notesTextViewPr>
    <p:cViewPr>
      <p:scale>
        <a:sx n="3" d="2"/>
        <a:sy n="3" d="2"/>
      </p:scale>
      <p:origin x="0" y="0"/>
    </p:cViewPr>
  </p:notesTextViewPr>
  <p:notesViewPr>
    <p:cSldViewPr>
      <p:cViewPr varScale="1">
        <p:scale>
          <a:sx n="84" d="100"/>
          <a:sy n="84" d="100"/>
        </p:scale>
        <p:origin x="3828" y="10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customXml" Target="../customXml/item26.xml"/><Relationship Id="rId21" Type="http://schemas.openxmlformats.org/officeDocument/2006/relationships/customXml" Target="../customXml/item21.xml"/><Relationship Id="rId42" Type="http://schemas.openxmlformats.org/officeDocument/2006/relationships/customXml" Target="../customXml/item42.xml"/><Relationship Id="rId47" Type="http://schemas.openxmlformats.org/officeDocument/2006/relationships/slide" Target="slides/slide3.xml"/><Relationship Id="rId63" Type="http://schemas.openxmlformats.org/officeDocument/2006/relationships/slide" Target="slides/slide19.xml"/><Relationship Id="rId68" Type="http://schemas.openxmlformats.org/officeDocument/2006/relationships/slide" Target="slides/slide24.xml"/><Relationship Id="rId84" Type="http://schemas.openxmlformats.org/officeDocument/2006/relationships/slide" Target="slides/slide40.xml"/><Relationship Id="rId89" Type="http://schemas.openxmlformats.org/officeDocument/2006/relationships/slide" Target="slides/slide45.xml"/><Relationship Id="rId16" Type="http://schemas.openxmlformats.org/officeDocument/2006/relationships/customXml" Target="../customXml/item16.xml"/><Relationship Id="rId11" Type="http://schemas.openxmlformats.org/officeDocument/2006/relationships/customXml" Target="../customXml/item11.xml"/><Relationship Id="rId32" Type="http://schemas.openxmlformats.org/officeDocument/2006/relationships/customXml" Target="../customXml/item32.xml"/><Relationship Id="rId37" Type="http://schemas.openxmlformats.org/officeDocument/2006/relationships/customXml" Target="../customXml/item37.xml"/><Relationship Id="rId53" Type="http://schemas.openxmlformats.org/officeDocument/2006/relationships/slide" Target="slides/slide9.xml"/><Relationship Id="rId58" Type="http://schemas.openxmlformats.org/officeDocument/2006/relationships/slide" Target="slides/slide14.xml"/><Relationship Id="rId74" Type="http://schemas.openxmlformats.org/officeDocument/2006/relationships/slide" Target="slides/slide30.xml"/><Relationship Id="rId79" Type="http://schemas.openxmlformats.org/officeDocument/2006/relationships/slide" Target="slides/slide35.xml"/><Relationship Id="rId5" Type="http://schemas.openxmlformats.org/officeDocument/2006/relationships/customXml" Target="../customXml/item5.xml"/><Relationship Id="rId90" Type="http://schemas.openxmlformats.org/officeDocument/2006/relationships/slide" Target="slides/slide46.xml"/><Relationship Id="rId95" Type="http://schemas.openxmlformats.org/officeDocument/2006/relationships/theme" Target="theme/theme1.xml"/><Relationship Id="rId22" Type="http://schemas.openxmlformats.org/officeDocument/2006/relationships/customXml" Target="../customXml/item22.xml"/><Relationship Id="rId27" Type="http://schemas.openxmlformats.org/officeDocument/2006/relationships/customXml" Target="../customXml/item27.xml"/><Relationship Id="rId43" Type="http://schemas.openxmlformats.org/officeDocument/2006/relationships/customXml" Target="../customXml/item43.xml"/><Relationship Id="rId48" Type="http://schemas.openxmlformats.org/officeDocument/2006/relationships/slide" Target="slides/slide4.xml"/><Relationship Id="rId64" Type="http://schemas.openxmlformats.org/officeDocument/2006/relationships/slide" Target="slides/slide20.xml"/><Relationship Id="rId69" Type="http://schemas.openxmlformats.org/officeDocument/2006/relationships/slide" Target="slides/slide25.xml"/><Relationship Id="rId80" Type="http://schemas.openxmlformats.org/officeDocument/2006/relationships/slide" Target="slides/slide36.xml"/><Relationship Id="rId85"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customXml" Target="../customXml/item25.xml"/><Relationship Id="rId33" Type="http://schemas.openxmlformats.org/officeDocument/2006/relationships/customXml" Target="../customXml/item33.xml"/><Relationship Id="rId38" Type="http://schemas.openxmlformats.org/officeDocument/2006/relationships/customXml" Target="../customXml/item38.xml"/><Relationship Id="rId46" Type="http://schemas.openxmlformats.org/officeDocument/2006/relationships/slide" Target="slides/slide2.xml"/><Relationship Id="rId59" Type="http://schemas.openxmlformats.org/officeDocument/2006/relationships/slide" Target="slides/slide15.xml"/><Relationship Id="rId67" Type="http://schemas.openxmlformats.org/officeDocument/2006/relationships/slide" Target="slides/slide23.xml"/><Relationship Id="rId20" Type="http://schemas.openxmlformats.org/officeDocument/2006/relationships/customXml" Target="../customXml/item20.xml"/><Relationship Id="rId41" Type="http://schemas.openxmlformats.org/officeDocument/2006/relationships/customXml" Target="../customXml/item41.xml"/><Relationship Id="rId54" Type="http://schemas.openxmlformats.org/officeDocument/2006/relationships/slide" Target="slides/slide10.xml"/><Relationship Id="rId62" Type="http://schemas.openxmlformats.org/officeDocument/2006/relationships/slide" Target="slides/slide18.xml"/><Relationship Id="rId70" Type="http://schemas.openxmlformats.org/officeDocument/2006/relationships/slide" Target="slides/slide26.xml"/><Relationship Id="rId75" Type="http://schemas.openxmlformats.org/officeDocument/2006/relationships/slide" Target="slides/slide31.xml"/><Relationship Id="rId83" Type="http://schemas.openxmlformats.org/officeDocument/2006/relationships/slide" Target="slides/slide39.xml"/><Relationship Id="rId88" Type="http://schemas.openxmlformats.org/officeDocument/2006/relationships/slide" Target="slides/slide44.xml"/><Relationship Id="rId91" Type="http://schemas.openxmlformats.org/officeDocument/2006/relationships/notesMaster" Target="notesMasters/notesMaster1.xml"/><Relationship Id="rId9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customXml" Target="../customXml/item28.xml"/><Relationship Id="rId36" Type="http://schemas.openxmlformats.org/officeDocument/2006/relationships/customXml" Target="../customXml/item36.xml"/><Relationship Id="rId49" Type="http://schemas.openxmlformats.org/officeDocument/2006/relationships/slide" Target="slides/slide5.xml"/><Relationship Id="rId57" Type="http://schemas.openxmlformats.org/officeDocument/2006/relationships/slide" Target="slides/slide13.xml"/><Relationship Id="rId10" Type="http://schemas.openxmlformats.org/officeDocument/2006/relationships/customXml" Target="../customXml/item10.xml"/><Relationship Id="rId31" Type="http://schemas.openxmlformats.org/officeDocument/2006/relationships/customXml" Target="../customXml/item31.xml"/><Relationship Id="rId44" Type="http://schemas.openxmlformats.org/officeDocument/2006/relationships/slideMaster" Target="slideMasters/slideMaster1.xml"/><Relationship Id="rId52" Type="http://schemas.openxmlformats.org/officeDocument/2006/relationships/slide" Target="slides/slide8.xml"/><Relationship Id="rId60" Type="http://schemas.openxmlformats.org/officeDocument/2006/relationships/slide" Target="slides/slide16.xml"/><Relationship Id="rId65" Type="http://schemas.openxmlformats.org/officeDocument/2006/relationships/slide" Target="slides/slide21.xml"/><Relationship Id="rId73" Type="http://schemas.openxmlformats.org/officeDocument/2006/relationships/slide" Target="slides/slide29.xml"/><Relationship Id="rId78" Type="http://schemas.openxmlformats.org/officeDocument/2006/relationships/slide" Target="slides/slide34.xml"/><Relationship Id="rId81" Type="http://schemas.openxmlformats.org/officeDocument/2006/relationships/slide" Target="slides/slide37.xml"/><Relationship Id="rId86" Type="http://schemas.openxmlformats.org/officeDocument/2006/relationships/slide" Target="slides/slide42.xml"/><Relationship Id="rId94"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34" Type="http://schemas.openxmlformats.org/officeDocument/2006/relationships/customXml" Target="../customXml/item34.xml"/><Relationship Id="rId50" Type="http://schemas.openxmlformats.org/officeDocument/2006/relationships/slide" Target="slides/slide6.xml"/><Relationship Id="rId55" Type="http://schemas.openxmlformats.org/officeDocument/2006/relationships/slide" Target="slides/slide11.xml"/><Relationship Id="rId76" Type="http://schemas.openxmlformats.org/officeDocument/2006/relationships/slide" Target="slides/slide32.xml"/><Relationship Id="rId97" Type="http://schemas.microsoft.com/office/2016/11/relationships/changesInfo" Target="changesInfos/changesInfo1.xml"/><Relationship Id="rId7" Type="http://schemas.openxmlformats.org/officeDocument/2006/relationships/customXml" Target="../customXml/item7.xml"/><Relationship Id="rId71" Type="http://schemas.openxmlformats.org/officeDocument/2006/relationships/slide" Target="slides/slide27.xml"/><Relationship Id="rId92" Type="http://schemas.openxmlformats.org/officeDocument/2006/relationships/handoutMaster" Target="handoutMasters/handoutMaster1.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slide" Target="slides/slide1.xml"/><Relationship Id="rId66" Type="http://schemas.openxmlformats.org/officeDocument/2006/relationships/slide" Target="slides/slide22.xml"/><Relationship Id="rId87" Type="http://schemas.openxmlformats.org/officeDocument/2006/relationships/slide" Target="slides/slide43.xml"/><Relationship Id="rId61" Type="http://schemas.openxmlformats.org/officeDocument/2006/relationships/slide" Target="slides/slide17.xml"/><Relationship Id="rId82" Type="http://schemas.openxmlformats.org/officeDocument/2006/relationships/slide" Target="slides/slide38.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slide" Target="slides/slide12.xml"/><Relationship Id="rId77" Type="http://schemas.openxmlformats.org/officeDocument/2006/relationships/slide" Target="slides/slide33.xml"/><Relationship Id="rId8" Type="http://schemas.openxmlformats.org/officeDocument/2006/relationships/customXml" Target="../customXml/item8.xml"/><Relationship Id="rId51" Type="http://schemas.openxmlformats.org/officeDocument/2006/relationships/slide" Target="slides/slide7.xml"/><Relationship Id="rId72" Type="http://schemas.openxmlformats.org/officeDocument/2006/relationships/slide" Target="slides/slide28.xml"/><Relationship Id="rId93" Type="http://schemas.openxmlformats.org/officeDocument/2006/relationships/presProps" Target="presProps.xml"/><Relationship Id="rId98"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oosman, M (Marieke)" userId="S::m.loosman@bpd.nl::142c1a62-6b9b-48b7-8409-3686fb579e9c" providerId="AD" clId="Web-{3E74A029-B2EC-454F-910B-94355C1DD620}"/>
    <pc:docChg chg="modSld">
      <pc:chgData name="Loosman, M (Marieke)" userId="S::m.loosman@bpd.nl::142c1a62-6b9b-48b7-8409-3686fb579e9c" providerId="AD" clId="Web-{3E74A029-B2EC-454F-910B-94355C1DD620}" dt="2020-06-04T14:17:10.378" v="1" actId="1076"/>
      <pc:docMkLst>
        <pc:docMk/>
      </pc:docMkLst>
      <pc:sldChg chg="modSp">
        <pc:chgData name="Loosman, M (Marieke)" userId="S::m.loosman@bpd.nl::142c1a62-6b9b-48b7-8409-3686fb579e9c" providerId="AD" clId="Web-{3E74A029-B2EC-454F-910B-94355C1DD620}" dt="2020-06-04T14:17:10.378" v="1" actId="1076"/>
        <pc:sldMkLst>
          <pc:docMk/>
          <pc:sldMk cId="591504859" sldId="294"/>
        </pc:sldMkLst>
        <pc:picChg chg="mod">
          <ac:chgData name="Loosman, M (Marieke)" userId="S::m.loosman@bpd.nl::142c1a62-6b9b-48b7-8409-3686fb579e9c" providerId="AD" clId="Web-{3E74A029-B2EC-454F-910B-94355C1DD620}" dt="2020-06-04T14:17:10.378" v="1" actId="1076"/>
          <ac:picMkLst>
            <pc:docMk/>
            <pc:sldMk cId="591504859" sldId="294"/>
            <ac:picMk id="8" creationId="{00000000-0000-0000-0000-000000000000}"/>
          </ac:picMkLst>
        </pc:picChg>
      </pc:sldChg>
    </pc:docChg>
  </pc:docChgLst>
  <pc:docChgLst>
    <pc:chgData name="Kools, ACE (Anne)" userId="S::a.kools@bpd.nl::26a8ed59-07b8-4fda-acf9-b156c1acb2d4" providerId="AD" clId="Web-{29D967AB-65A6-4054-A4C3-88D13233549B}"/>
    <pc:docChg chg="modSld">
      <pc:chgData name="Kools, ACE (Anne)" userId="S::a.kools@bpd.nl::26a8ed59-07b8-4fda-acf9-b156c1acb2d4" providerId="AD" clId="Web-{29D967AB-65A6-4054-A4C3-88D13233549B}" dt="2022-01-12T14:29:53.303" v="93"/>
      <pc:docMkLst>
        <pc:docMk/>
      </pc:docMkLst>
      <pc:sldChg chg="modSp">
        <pc:chgData name="Kools, ACE (Anne)" userId="S::a.kools@bpd.nl::26a8ed59-07b8-4fda-acf9-b156c1acb2d4" providerId="AD" clId="Web-{29D967AB-65A6-4054-A4C3-88D13233549B}" dt="2022-01-12T14:07:01.067" v="4" actId="20577"/>
        <pc:sldMkLst>
          <pc:docMk/>
          <pc:sldMk cId="621582617" sldId="256"/>
        </pc:sldMkLst>
        <pc:spChg chg="mod">
          <ac:chgData name="Kools, ACE (Anne)" userId="S::a.kools@bpd.nl::26a8ed59-07b8-4fda-acf9-b156c1acb2d4" providerId="AD" clId="Web-{29D967AB-65A6-4054-A4C3-88D13233549B}" dt="2022-01-12T14:07:01.067" v="4" actId="20577"/>
          <ac:spMkLst>
            <pc:docMk/>
            <pc:sldMk cId="621582617" sldId="256"/>
            <ac:spMk id="6" creationId="{00000000-0000-0000-0000-000000000000}"/>
          </ac:spMkLst>
        </pc:spChg>
      </pc:sldChg>
      <pc:sldChg chg="addSp delSp modSp">
        <pc:chgData name="Kools, ACE (Anne)" userId="S::a.kools@bpd.nl::26a8ed59-07b8-4fda-acf9-b156c1acb2d4" providerId="AD" clId="Web-{29D967AB-65A6-4054-A4C3-88D13233549B}" dt="2022-01-12T14:19:30.007" v="45" actId="14100"/>
        <pc:sldMkLst>
          <pc:docMk/>
          <pc:sldMk cId="4016944952" sldId="262"/>
        </pc:sldMkLst>
        <pc:spChg chg="mod">
          <ac:chgData name="Kools, ACE (Anne)" userId="S::a.kools@bpd.nl::26a8ed59-07b8-4fda-acf9-b156c1acb2d4" providerId="AD" clId="Web-{29D967AB-65A6-4054-A4C3-88D13233549B}" dt="2022-01-12T14:12:12.278" v="25" actId="1076"/>
          <ac:spMkLst>
            <pc:docMk/>
            <pc:sldMk cId="4016944952" sldId="262"/>
            <ac:spMk id="2" creationId="{00000000-0000-0000-0000-000000000000}"/>
          </ac:spMkLst>
        </pc:spChg>
        <pc:spChg chg="mod">
          <ac:chgData name="Kools, ACE (Anne)" userId="S::a.kools@bpd.nl::26a8ed59-07b8-4fda-acf9-b156c1acb2d4" providerId="AD" clId="Web-{29D967AB-65A6-4054-A4C3-88D13233549B}" dt="2022-01-12T14:19:30.007" v="45" actId="14100"/>
          <ac:spMkLst>
            <pc:docMk/>
            <pc:sldMk cId="4016944952" sldId="262"/>
            <ac:spMk id="5" creationId="{00000000-0000-0000-0000-000000000000}"/>
          </ac:spMkLst>
        </pc:spChg>
        <pc:spChg chg="mod">
          <ac:chgData name="Kools, ACE (Anne)" userId="S::a.kools@bpd.nl::26a8ed59-07b8-4fda-acf9-b156c1acb2d4" providerId="AD" clId="Web-{29D967AB-65A6-4054-A4C3-88D13233549B}" dt="2022-01-12T14:12:40.200" v="32" actId="14100"/>
          <ac:spMkLst>
            <pc:docMk/>
            <pc:sldMk cId="4016944952" sldId="262"/>
            <ac:spMk id="6" creationId="{00000000-0000-0000-0000-000000000000}"/>
          </ac:spMkLst>
        </pc:spChg>
        <pc:picChg chg="add mod ord">
          <ac:chgData name="Kools, ACE (Anne)" userId="S::a.kools@bpd.nl::26a8ed59-07b8-4fda-acf9-b156c1acb2d4" providerId="AD" clId="Web-{29D967AB-65A6-4054-A4C3-88D13233549B}" dt="2022-01-12T14:11:32.964" v="18" actId="14100"/>
          <ac:picMkLst>
            <pc:docMk/>
            <pc:sldMk cId="4016944952" sldId="262"/>
            <ac:picMk id="4" creationId="{00826426-D4C9-4F43-AB49-849D029D0EA8}"/>
          </ac:picMkLst>
        </pc:picChg>
        <pc:picChg chg="del">
          <ac:chgData name="Kools, ACE (Anne)" userId="S::a.kools@bpd.nl::26a8ed59-07b8-4fda-acf9-b156c1acb2d4" providerId="AD" clId="Web-{29D967AB-65A6-4054-A4C3-88D13233549B}" dt="2022-01-12T14:08:46.226" v="5"/>
          <ac:picMkLst>
            <pc:docMk/>
            <pc:sldMk cId="4016944952" sldId="262"/>
            <ac:picMk id="8" creationId="{00000000-0000-0000-0000-000000000000}"/>
          </ac:picMkLst>
        </pc:picChg>
      </pc:sldChg>
      <pc:sldChg chg="addSp delSp modSp">
        <pc:chgData name="Kools, ACE (Anne)" userId="S::a.kools@bpd.nl::26a8ed59-07b8-4fda-acf9-b156c1acb2d4" providerId="AD" clId="Web-{29D967AB-65A6-4054-A4C3-88D13233549B}" dt="2022-01-12T14:29:53.303" v="93"/>
        <pc:sldMkLst>
          <pc:docMk/>
          <pc:sldMk cId="4089328528" sldId="269"/>
        </pc:sldMkLst>
        <pc:graphicFrameChg chg="add del">
          <ac:chgData name="Kools, ACE (Anne)" userId="S::a.kools@bpd.nl::26a8ed59-07b8-4fda-acf9-b156c1acb2d4" providerId="AD" clId="Web-{29D967AB-65A6-4054-A4C3-88D13233549B}" dt="2022-01-12T14:29:47.959" v="91"/>
          <ac:graphicFrameMkLst>
            <pc:docMk/>
            <pc:sldMk cId="4089328528" sldId="269"/>
            <ac:graphicFrameMk id="9" creationId="{00000000-0000-0000-0000-000000000000}"/>
          </ac:graphicFrameMkLst>
        </pc:graphicFrameChg>
        <pc:picChg chg="add del mod">
          <ac:chgData name="Kools, ACE (Anne)" userId="S::a.kools@bpd.nl::26a8ed59-07b8-4fda-acf9-b156c1acb2d4" providerId="AD" clId="Web-{29D967AB-65A6-4054-A4C3-88D13233549B}" dt="2022-01-12T14:29:50.693" v="92"/>
          <ac:picMkLst>
            <pc:docMk/>
            <pc:sldMk cId="4089328528" sldId="269"/>
            <ac:picMk id="4" creationId="{A96E5591-319C-4120-A4CE-6027D51FD203}"/>
          </ac:picMkLst>
        </pc:picChg>
        <pc:picChg chg="add del">
          <ac:chgData name="Kools, ACE (Anne)" userId="S::a.kools@bpd.nl::26a8ed59-07b8-4fda-acf9-b156c1acb2d4" providerId="AD" clId="Web-{29D967AB-65A6-4054-A4C3-88D13233549B}" dt="2022-01-12T14:29:53.303" v="93"/>
          <ac:picMkLst>
            <pc:docMk/>
            <pc:sldMk cId="4089328528" sldId="269"/>
            <ac:picMk id="6" creationId="{00000000-0000-0000-0000-000000000000}"/>
          </ac:picMkLst>
        </pc:picChg>
      </pc:sldChg>
      <pc:sldChg chg="addSp delSp modSp">
        <pc:chgData name="Kools, ACE (Anne)" userId="S::a.kools@bpd.nl::26a8ed59-07b8-4fda-acf9-b156c1acb2d4" providerId="AD" clId="Web-{29D967AB-65A6-4054-A4C3-88D13233549B}" dt="2022-01-12T14:21:47.447" v="49" actId="14100"/>
        <pc:sldMkLst>
          <pc:docMk/>
          <pc:sldMk cId="1065482252" sldId="314"/>
        </pc:sldMkLst>
        <pc:spChg chg="add del mod">
          <ac:chgData name="Kools, ACE (Anne)" userId="S::a.kools@bpd.nl::26a8ed59-07b8-4fda-acf9-b156c1acb2d4" providerId="AD" clId="Web-{29D967AB-65A6-4054-A4C3-88D13233549B}" dt="2022-01-12T14:21:29.072" v="47"/>
          <ac:spMkLst>
            <pc:docMk/>
            <pc:sldMk cId="1065482252" sldId="314"/>
            <ac:spMk id="6" creationId="{2084569B-DD55-49A6-8AF8-1755A2C2C80A}"/>
          </ac:spMkLst>
        </pc:spChg>
        <pc:picChg chg="del">
          <ac:chgData name="Kools, ACE (Anne)" userId="S::a.kools@bpd.nl::26a8ed59-07b8-4fda-acf9-b156c1acb2d4" providerId="AD" clId="Web-{29D967AB-65A6-4054-A4C3-88D13233549B}" dt="2022-01-12T14:21:26.947" v="46"/>
          <ac:picMkLst>
            <pc:docMk/>
            <pc:sldMk cId="1065482252" sldId="314"/>
            <ac:picMk id="4" creationId="{00000000-0000-0000-0000-000000000000}"/>
          </ac:picMkLst>
        </pc:picChg>
        <pc:picChg chg="add mod ord">
          <ac:chgData name="Kools, ACE (Anne)" userId="S::a.kools@bpd.nl::26a8ed59-07b8-4fda-acf9-b156c1acb2d4" providerId="AD" clId="Web-{29D967AB-65A6-4054-A4C3-88D13233549B}" dt="2022-01-12T14:21:47.447" v="49" actId="14100"/>
          <ac:picMkLst>
            <pc:docMk/>
            <pc:sldMk cId="1065482252" sldId="314"/>
            <ac:picMk id="7" creationId="{F8020E15-D602-4857-BD6E-974258EDBF07}"/>
          </ac:picMkLst>
        </pc:picChg>
      </pc:sldChg>
      <pc:sldChg chg="addSp delSp modSp">
        <pc:chgData name="Kools, ACE (Anne)" userId="S::a.kools@bpd.nl::26a8ed59-07b8-4fda-acf9-b156c1acb2d4" providerId="AD" clId="Web-{29D967AB-65A6-4054-A4C3-88D13233549B}" dt="2022-01-12T14:23:58.935" v="64" actId="1076"/>
        <pc:sldMkLst>
          <pc:docMk/>
          <pc:sldMk cId="3830665107" sldId="316"/>
        </pc:sldMkLst>
        <pc:spChg chg="mod">
          <ac:chgData name="Kools, ACE (Anne)" userId="S::a.kools@bpd.nl::26a8ed59-07b8-4fda-acf9-b156c1acb2d4" providerId="AD" clId="Web-{29D967AB-65A6-4054-A4C3-88D13233549B}" dt="2022-01-12T14:23:58.935" v="64" actId="1076"/>
          <ac:spMkLst>
            <pc:docMk/>
            <pc:sldMk cId="3830665107" sldId="316"/>
            <ac:spMk id="6" creationId="{00000000-0000-0000-0000-000000000000}"/>
          </ac:spMkLst>
        </pc:spChg>
        <pc:spChg chg="mod">
          <ac:chgData name="Kools, ACE (Anne)" userId="S::a.kools@bpd.nl::26a8ed59-07b8-4fda-acf9-b156c1acb2d4" providerId="AD" clId="Web-{29D967AB-65A6-4054-A4C3-88D13233549B}" dt="2022-01-12T14:23:35.184" v="59" actId="14100"/>
          <ac:spMkLst>
            <pc:docMk/>
            <pc:sldMk cId="3830665107" sldId="316"/>
            <ac:spMk id="7" creationId="{00000000-0000-0000-0000-000000000000}"/>
          </ac:spMkLst>
        </pc:spChg>
        <pc:spChg chg="add del mod">
          <ac:chgData name="Kools, ACE (Anne)" userId="S::a.kools@bpd.nl::26a8ed59-07b8-4fda-acf9-b156c1acb2d4" providerId="AD" clId="Web-{29D967AB-65A6-4054-A4C3-88D13233549B}" dt="2022-01-12T14:22:54.996" v="51"/>
          <ac:spMkLst>
            <pc:docMk/>
            <pc:sldMk cId="3830665107" sldId="316"/>
            <ac:spMk id="8" creationId="{AD366102-F408-46CF-8764-ABCD1A513A36}"/>
          </ac:spMkLst>
        </pc:spChg>
        <pc:picChg chg="del">
          <ac:chgData name="Kools, ACE (Anne)" userId="S::a.kools@bpd.nl::26a8ed59-07b8-4fda-acf9-b156c1acb2d4" providerId="AD" clId="Web-{29D967AB-65A6-4054-A4C3-88D13233549B}" dt="2022-01-12T14:22:53.168" v="50"/>
          <ac:picMkLst>
            <pc:docMk/>
            <pc:sldMk cId="3830665107" sldId="316"/>
            <ac:picMk id="4" creationId="{00000000-0000-0000-0000-000000000000}"/>
          </ac:picMkLst>
        </pc:picChg>
        <pc:picChg chg="add mod ord">
          <ac:chgData name="Kools, ACE (Anne)" userId="S::a.kools@bpd.nl::26a8ed59-07b8-4fda-acf9-b156c1acb2d4" providerId="AD" clId="Web-{29D967AB-65A6-4054-A4C3-88D13233549B}" dt="2022-01-12T14:23:14.996" v="53" actId="1076"/>
          <ac:picMkLst>
            <pc:docMk/>
            <pc:sldMk cId="3830665107" sldId="316"/>
            <ac:picMk id="9" creationId="{78AD4636-43C9-4EF1-9409-E10DFE7ADA6D}"/>
          </ac:picMkLst>
        </pc:picChg>
      </pc:sldChg>
      <pc:sldChg chg="addSp delSp modSp">
        <pc:chgData name="Kools, ACE (Anne)" userId="S::a.kools@bpd.nl::26a8ed59-07b8-4fda-acf9-b156c1acb2d4" providerId="AD" clId="Web-{29D967AB-65A6-4054-A4C3-88D13233549B}" dt="2022-01-12T14:25:46.219" v="77" actId="1076"/>
        <pc:sldMkLst>
          <pc:docMk/>
          <pc:sldMk cId="4143010553" sldId="317"/>
        </pc:sldMkLst>
        <pc:spChg chg="mod">
          <ac:chgData name="Kools, ACE (Anne)" userId="S::a.kools@bpd.nl::26a8ed59-07b8-4fda-acf9-b156c1acb2d4" providerId="AD" clId="Web-{29D967AB-65A6-4054-A4C3-88D13233549B}" dt="2022-01-12T14:25:46.219" v="77" actId="1076"/>
          <ac:spMkLst>
            <pc:docMk/>
            <pc:sldMk cId="4143010553" sldId="317"/>
            <ac:spMk id="5" creationId="{00000000-0000-0000-0000-000000000000}"/>
          </ac:spMkLst>
        </pc:spChg>
        <pc:spChg chg="add del">
          <ac:chgData name="Kools, ACE (Anne)" userId="S::a.kools@bpd.nl::26a8ed59-07b8-4fda-acf9-b156c1acb2d4" providerId="AD" clId="Web-{29D967AB-65A6-4054-A4C3-88D13233549B}" dt="2022-01-12T14:25:03.436" v="65"/>
          <ac:spMkLst>
            <pc:docMk/>
            <pc:sldMk cId="4143010553" sldId="317"/>
            <ac:spMk id="6" creationId="{00000000-0000-0000-0000-000000000000}"/>
          </ac:spMkLst>
        </pc:spChg>
        <pc:picChg chg="add del mod ord">
          <ac:chgData name="Kools, ACE (Anne)" userId="S::a.kools@bpd.nl::26a8ed59-07b8-4fda-acf9-b156c1acb2d4" providerId="AD" clId="Web-{29D967AB-65A6-4054-A4C3-88D13233549B}" dt="2022-01-12T14:18:05.583" v="42"/>
          <ac:picMkLst>
            <pc:docMk/>
            <pc:sldMk cId="4143010553" sldId="317"/>
            <ac:picMk id="2" creationId="{1A973D0A-CED8-4C67-A0D7-9B325B2DFF83}"/>
          </ac:picMkLst>
        </pc:picChg>
        <pc:picChg chg="add mod ord">
          <ac:chgData name="Kools, ACE (Anne)" userId="S::a.kools@bpd.nl::26a8ed59-07b8-4fda-acf9-b156c1acb2d4" providerId="AD" clId="Web-{29D967AB-65A6-4054-A4C3-88D13233549B}" dt="2022-01-12T14:25:22.656" v="68" actId="14100"/>
          <ac:picMkLst>
            <pc:docMk/>
            <pc:sldMk cId="4143010553" sldId="317"/>
            <ac:picMk id="4" creationId="{3AF40104-505E-4F84-AD66-9A78FF2C5380}"/>
          </ac:picMkLst>
        </pc:picChg>
        <pc:picChg chg="add del">
          <ac:chgData name="Kools, ACE (Anne)" userId="S::a.kools@bpd.nl::26a8ed59-07b8-4fda-acf9-b156c1acb2d4" providerId="AD" clId="Web-{29D967AB-65A6-4054-A4C3-88D13233549B}" dt="2022-01-12T14:25:08.358" v="66"/>
          <ac:picMkLst>
            <pc:docMk/>
            <pc:sldMk cId="4143010553" sldId="317"/>
            <ac:picMk id="7" creationId="{00000000-0000-0000-0000-000000000000}"/>
          </ac:picMkLst>
        </pc:picChg>
      </pc:sldChg>
    </pc:docChg>
  </pc:docChgLst>
  <pc:docChgLst>
    <pc:chgData name="Korevaar - Lammers, WA (Wilma)" userId="S::w.korevaar@bpd.nl::d60e66cb-4f80-4387-8719-914f80b4a211" providerId="AD" clId="Web-{87B5EE53-0430-4582-BE64-7F2BB2D0C2DD}"/>
    <pc:docChg chg="modSld">
      <pc:chgData name="Korevaar - Lammers, WA (Wilma)" userId="S::w.korevaar@bpd.nl::d60e66cb-4f80-4387-8719-914f80b4a211" providerId="AD" clId="Web-{87B5EE53-0430-4582-BE64-7F2BB2D0C2DD}" dt="2020-12-03T09:28:54.546" v="27" actId="20577"/>
      <pc:docMkLst>
        <pc:docMk/>
      </pc:docMkLst>
      <pc:sldChg chg="modSp">
        <pc:chgData name="Korevaar - Lammers, WA (Wilma)" userId="S::w.korevaar@bpd.nl::d60e66cb-4f80-4387-8719-914f80b4a211" providerId="AD" clId="Web-{87B5EE53-0430-4582-BE64-7F2BB2D0C2DD}" dt="2020-12-03T09:28:54.546" v="27" actId="20577"/>
        <pc:sldMkLst>
          <pc:docMk/>
          <pc:sldMk cId="2462513615" sldId="283"/>
        </pc:sldMkLst>
        <pc:spChg chg="mod">
          <ac:chgData name="Korevaar - Lammers, WA (Wilma)" userId="S::w.korevaar@bpd.nl::d60e66cb-4f80-4387-8719-914f80b4a211" providerId="AD" clId="Web-{87B5EE53-0430-4582-BE64-7F2BB2D0C2DD}" dt="2020-12-03T09:28:54.546" v="27" actId="20577"/>
          <ac:spMkLst>
            <pc:docMk/>
            <pc:sldMk cId="2462513615" sldId="283"/>
            <ac:spMk id="2" creationId="{00000000-0000-0000-0000-000000000000}"/>
          </ac:spMkLst>
        </pc:spChg>
      </pc:sldChg>
    </pc:docChg>
  </pc:docChgLst>
  <pc:docChgLst>
    <pc:chgData name="Kools, ACE (Anne)" userId="S::a.kools@bpd.nl::26a8ed59-07b8-4fda-acf9-b156c1acb2d4" providerId="AD" clId="Web-{0152CBC4-8C35-4559-8FB4-54478653F484}"/>
    <pc:docChg chg="modSld">
      <pc:chgData name="Kools, ACE (Anne)" userId="S::a.kools@bpd.nl::26a8ed59-07b8-4fda-acf9-b156c1acb2d4" providerId="AD" clId="Web-{0152CBC4-8C35-4559-8FB4-54478653F484}" dt="2021-11-03T11:59:48.397" v="372" actId="20577"/>
      <pc:docMkLst>
        <pc:docMk/>
      </pc:docMkLst>
      <pc:sldChg chg="modSp">
        <pc:chgData name="Kools, ACE (Anne)" userId="S::a.kools@bpd.nl::26a8ed59-07b8-4fda-acf9-b156c1acb2d4" providerId="AD" clId="Web-{0152CBC4-8C35-4559-8FB4-54478653F484}" dt="2021-11-03T10:01:08.376" v="46" actId="20577"/>
        <pc:sldMkLst>
          <pc:docMk/>
          <pc:sldMk cId="621582617" sldId="256"/>
        </pc:sldMkLst>
        <pc:spChg chg="mod">
          <ac:chgData name="Kools, ACE (Anne)" userId="S::a.kools@bpd.nl::26a8ed59-07b8-4fda-acf9-b156c1acb2d4" providerId="AD" clId="Web-{0152CBC4-8C35-4559-8FB4-54478653F484}" dt="2021-11-03T10:00:34.282" v="29" actId="20577"/>
          <ac:spMkLst>
            <pc:docMk/>
            <pc:sldMk cId="621582617" sldId="256"/>
            <ac:spMk id="2" creationId="{00000000-0000-0000-0000-000000000000}"/>
          </ac:spMkLst>
        </pc:spChg>
        <pc:spChg chg="mod">
          <ac:chgData name="Kools, ACE (Anne)" userId="S::a.kools@bpd.nl::26a8ed59-07b8-4fda-acf9-b156c1acb2d4" providerId="AD" clId="Web-{0152CBC4-8C35-4559-8FB4-54478653F484}" dt="2021-11-03T10:01:08.376" v="46" actId="20577"/>
          <ac:spMkLst>
            <pc:docMk/>
            <pc:sldMk cId="621582617" sldId="256"/>
            <ac:spMk id="6" creationId="{00000000-0000-0000-0000-000000000000}"/>
          </ac:spMkLst>
        </pc:spChg>
      </pc:sldChg>
      <pc:sldChg chg="modSp">
        <pc:chgData name="Kools, ACE (Anne)" userId="S::a.kools@bpd.nl::26a8ed59-07b8-4fda-acf9-b156c1acb2d4" providerId="AD" clId="Web-{0152CBC4-8C35-4559-8FB4-54478653F484}" dt="2021-11-03T10:08:08.464" v="70" actId="20577"/>
        <pc:sldMkLst>
          <pc:docMk/>
          <pc:sldMk cId="3590562160" sldId="258"/>
        </pc:sldMkLst>
        <pc:spChg chg="mod">
          <ac:chgData name="Kools, ACE (Anne)" userId="S::a.kools@bpd.nl::26a8ed59-07b8-4fda-acf9-b156c1acb2d4" providerId="AD" clId="Web-{0152CBC4-8C35-4559-8FB4-54478653F484}" dt="2021-11-03T10:08:08.464" v="70" actId="20577"/>
          <ac:spMkLst>
            <pc:docMk/>
            <pc:sldMk cId="3590562160" sldId="258"/>
            <ac:spMk id="2" creationId="{00000000-0000-0000-0000-000000000000}"/>
          </ac:spMkLst>
        </pc:spChg>
      </pc:sldChg>
      <pc:sldChg chg="addSp delSp modSp">
        <pc:chgData name="Kools, ACE (Anne)" userId="S::a.kools@bpd.nl::26a8ed59-07b8-4fda-acf9-b156c1acb2d4" providerId="AD" clId="Web-{0152CBC4-8C35-4559-8FB4-54478653F484}" dt="2021-11-03T10:39:27.040" v="310" actId="20577"/>
        <pc:sldMkLst>
          <pc:docMk/>
          <pc:sldMk cId="216226509" sldId="260"/>
        </pc:sldMkLst>
        <pc:spChg chg="mod">
          <ac:chgData name="Kools, ACE (Anne)" userId="S::a.kools@bpd.nl::26a8ed59-07b8-4fda-acf9-b156c1acb2d4" providerId="AD" clId="Web-{0152CBC4-8C35-4559-8FB4-54478653F484}" dt="2021-11-03T10:39:27.040" v="310" actId="20577"/>
          <ac:spMkLst>
            <pc:docMk/>
            <pc:sldMk cId="216226509" sldId="260"/>
            <ac:spMk id="2" creationId="{00000000-0000-0000-0000-000000000000}"/>
          </ac:spMkLst>
        </pc:spChg>
        <pc:spChg chg="add del">
          <ac:chgData name="Kools, ACE (Anne)" userId="S::a.kools@bpd.nl::26a8ed59-07b8-4fda-acf9-b156c1acb2d4" providerId="AD" clId="Web-{0152CBC4-8C35-4559-8FB4-54478653F484}" dt="2021-11-03T10:07:54.761" v="62"/>
          <ac:spMkLst>
            <pc:docMk/>
            <pc:sldMk cId="216226509" sldId="260"/>
            <ac:spMk id="5" creationId="{52868BB9-2A61-43F8-9C9C-AC1E66E74D95}"/>
          </ac:spMkLst>
        </pc:spChg>
        <pc:spChg chg="add del mod">
          <ac:chgData name="Kools, ACE (Anne)" userId="S::a.kools@bpd.nl::26a8ed59-07b8-4fda-acf9-b156c1acb2d4" providerId="AD" clId="Web-{0152CBC4-8C35-4559-8FB4-54478653F484}" dt="2021-11-03T10:12:15.017" v="157"/>
          <ac:spMkLst>
            <pc:docMk/>
            <pc:sldMk cId="216226509" sldId="260"/>
            <ac:spMk id="6" creationId="{D94615E9-477E-4619-91A1-1360C906BA55}"/>
          </ac:spMkLst>
        </pc:spChg>
        <pc:spChg chg="add del mod">
          <ac:chgData name="Kools, ACE (Anne)" userId="S::a.kools@bpd.nl::26a8ed59-07b8-4fda-acf9-b156c1acb2d4" providerId="AD" clId="Web-{0152CBC4-8C35-4559-8FB4-54478653F484}" dt="2021-11-03T10:12:50.237" v="163"/>
          <ac:spMkLst>
            <pc:docMk/>
            <pc:sldMk cId="216226509" sldId="260"/>
            <ac:spMk id="7" creationId="{4630BEEA-D4D9-4C68-8C5A-8FF43D1A02ED}"/>
          </ac:spMkLst>
        </pc:spChg>
        <pc:spChg chg="add mod">
          <ac:chgData name="Kools, ACE (Anne)" userId="S::a.kools@bpd.nl::26a8ed59-07b8-4fda-acf9-b156c1acb2d4" providerId="AD" clId="Web-{0152CBC4-8C35-4559-8FB4-54478653F484}" dt="2021-11-03T10:36:50.098" v="286" actId="20577"/>
          <ac:spMkLst>
            <pc:docMk/>
            <pc:sldMk cId="216226509" sldId="260"/>
            <ac:spMk id="8" creationId="{3076842D-3A94-4B9E-830B-6C677A151D31}"/>
          </ac:spMkLst>
        </pc:spChg>
        <pc:picChg chg="mod">
          <ac:chgData name="Kools, ACE (Anne)" userId="S::a.kools@bpd.nl::26a8ed59-07b8-4fda-acf9-b156c1acb2d4" providerId="AD" clId="Web-{0152CBC4-8C35-4559-8FB4-54478653F484}" dt="2021-11-03T10:39:12.211" v="308" actId="1076"/>
          <ac:picMkLst>
            <pc:docMk/>
            <pc:sldMk cId="216226509" sldId="260"/>
            <ac:picMk id="4" creationId="{00000000-0000-0000-0000-000000000000}"/>
          </ac:picMkLst>
        </pc:picChg>
      </pc:sldChg>
      <pc:sldChg chg="modSp">
        <pc:chgData name="Kools, ACE (Anne)" userId="S::a.kools@bpd.nl::26a8ed59-07b8-4fda-acf9-b156c1acb2d4" providerId="AD" clId="Web-{0152CBC4-8C35-4559-8FB4-54478653F484}" dt="2021-11-03T11:04:42.006" v="359" actId="20577"/>
        <pc:sldMkLst>
          <pc:docMk/>
          <pc:sldMk cId="1480514114" sldId="263"/>
        </pc:sldMkLst>
        <pc:spChg chg="mod">
          <ac:chgData name="Kools, ACE (Anne)" userId="S::a.kools@bpd.nl::26a8ed59-07b8-4fda-acf9-b156c1acb2d4" providerId="AD" clId="Web-{0152CBC4-8C35-4559-8FB4-54478653F484}" dt="2021-11-03T11:04:42.006" v="359" actId="20577"/>
          <ac:spMkLst>
            <pc:docMk/>
            <pc:sldMk cId="1480514114" sldId="263"/>
            <ac:spMk id="2" creationId="{00000000-0000-0000-0000-000000000000}"/>
          </ac:spMkLst>
        </pc:spChg>
      </pc:sldChg>
      <pc:sldChg chg="modSp">
        <pc:chgData name="Kools, ACE (Anne)" userId="S::a.kools@bpd.nl::26a8ed59-07b8-4fda-acf9-b156c1acb2d4" providerId="AD" clId="Web-{0152CBC4-8C35-4559-8FB4-54478653F484}" dt="2021-11-03T11:08:35.810" v="368" actId="20577"/>
        <pc:sldMkLst>
          <pc:docMk/>
          <pc:sldMk cId="2387601673" sldId="265"/>
        </pc:sldMkLst>
        <pc:spChg chg="mod">
          <ac:chgData name="Kools, ACE (Anne)" userId="S::a.kools@bpd.nl::26a8ed59-07b8-4fda-acf9-b156c1acb2d4" providerId="AD" clId="Web-{0152CBC4-8C35-4559-8FB4-54478653F484}" dt="2021-11-03T11:08:35.810" v="368" actId="20577"/>
          <ac:spMkLst>
            <pc:docMk/>
            <pc:sldMk cId="2387601673" sldId="265"/>
            <ac:spMk id="2" creationId="{00000000-0000-0000-0000-000000000000}"/>
          </ac:spMkLst>
        </pc:spChg>
      </pc:sldChg>
      <pc:sldChg chg="modSp">
        <pc:chgData name="Kools, ACE (Anne)" userId="S::a.kools@bpd.nl::26a8ed59-07b8-4fda-acf9-b156c1acb2d4" providerId="AD" clId="Web-{0152CBC4-8C35-4559-8FB4-54478653F484}" dt="2021-11-03T11:59:48.397" v="372" actId="20577"/>
        <pc:sldMkLst>
          <pc:docMk/>
          <pc:sldMk cId="2761190364" sldId="273"/>
        </pc:sldMkLst>
        <pc:spChg chg="mod">
          <ac:chgData name="Kools, ACE (Anne)" userId="S::a.kools@bpd.nl::26a8ed59-07b8-4fda-acf9-b156c1acb2d4" providerId="AD" clId="Web-{0152CBC4-8C35-4559-8FB4-54478653F484}" dt="2021-11-03T11:59:48.397" v="372" actId="20577"/>
          <ac:spMkLst>
            <pc:docMk/>
            <pc:sldMk cId="2761190364" sldId="273"/>
            <ac:spMk id="2" creationId="{00000000-0000-0000-0000-000000000000}"/>
          </ac:spMkLst>
        </pc:spChg>
      </pc:sldChg>
      <pc:sldChg chg="addSp delSp modSp">
        <pc:chgData name="Kools, ACE (Anne)" userId="S::a.kools@bpd.nl::26a8ed59-07b8-4fda-acf9-b156c1acb2d4" providerId="AD" clId="Web-{0152CBC4-8C35-4559-8FB4-54478653F484}" dt="2021-11-03T09:55:04.477" v="14" actId="20577"/>
        <pc:sldMkLst>
          <pc:docMk/>
          <pc:sldMk cId="1586707269" sldId="292"/>
        </pc:sldMkLst>
        <pc:spChg chg="mod">
          <ac:chgData name="Kools, ACE (Anne)" userId="S::a.kools@bpd.nl::26a8ed59-07b8-4fda-acf9-b156c1acb2d4" providerId="AD" clId="Web-{0152CBC4-8C35-4559-8FB4-54478653F484}" dt="2021-11-03T09:55:04.477" v="14" actId="20577"/>
          <ac:spMkLst>
            <pc:docMk/>
            <pc:sldMk cId="1586707269" sldId="292"/>
            <ac:spMk id="2" creationId="{00000000-0000-0000-0000-000000000000}"/>
          </ac:spMkLst>
        </pc:spChg>
        <pc:picChg chg="del">
          <ac:chgData name="Kools, ACE (Anne)" userId="S::a.kools@bpd.nl::26a8ed59-07b8-4fda-acf9-b156c1acb2d4" providerId="AD" clId="Web-{0152CBC4-8C35-4559-8FB4-54478653F484}" dt="2021-11-03T09:54:10.429" v="0"/>
          <ac:picMkLst>
            <pc:docMk/>
            <pc:sldMk cId="1586707269" sldId="292"/>
            <ac:picMk id="4" creationId="{00000000-0000-0000-0000-000000000000}"/>
          </ac:picMkLst>
        </pc:picChg>
        <pc:picChg chg="add mod">
          <ac:chgData name="Kools, ACE (Anne)" userId="S::a.kools@bpd.nl::26a8ed59-07b8-4fda-acf9-b156c1acb2d4" providerId="AD" clId="Web-{0152CBC4-8C35-4559-8FB4-54478653F484}" dt="2021-11-03T09:54:50.414" v="7" actId="1076"/>
          <ac:picMkLst>
            <pc:docMk/>
            <pc:sldMk cId="1586707269" sldId="292"/>
            <ac:picMk id="6" creationId="{E619D342-B37F-45FA-994A-84180DA57CED}"/>
          </ac:picMkLst>
        </pc:picChg>
      </pc:sldChg>
    </pc:docChg>
  </pc:docChgLst>
  <pc:docChgLst>
    <pc:chgData name="Kools, ACE (Anne)" userId="S::a.kools@bpd.nl::26a8ed59-07b8-4fda-acf9-b156c1acb2d4" providerId="AD" clId="Web-{93525D81-38A0-43DB-8624-8DAC4F1065EC}"/>
    <pc:docChg chg="modSld">
      <pc:chgData name="Kools, ACE (Anne)" userId="S::a.kools@bpd.nl::26a8ed59-07b8-4fda-acf9-b156c1acb2d4" providerId="AD" clId="Web-{93525D81-38A0-43DB-8624-8DAC4F1065EC}" dt="2021-11-03T14:02:18.351" v="24" actId="20577"/>
      <pc:docMkLst>
        <pc:docMk/>
      </pc:docMkLst>
      <pc:sldChg chg="addSp delSp modSp">
        <pc:chgData name="Kools, ACE (Anne)" userId="S::a.kools@bpd.nl::26a8ed59-07b8-4fda-acf9-b156c1acb2d4" providerId="AD" clId="Web-{93525D81-38A0-43DB-8624-8DAC4F1065EC}" dt="2021-11-03T13:58:18.143" v="19" actId="1076"/>
        <pc:sldMkLst>
          <pc:docMk/>
          <pc:sldMk cId="3394738078" sldId="302"/>
        </pc:sldMkLst>
        <pc:spChg chg="mod">
          <ac:chgData name="Kools, ACE (Anne)" userId="S::a.kools@bpd.nl::26a8ed59-07b8-4fda-acf9-b156c1acb2d4" providerId="AD" clId="Web-{93525D81-38A0-43DB-8624-8DAC4F1065EC}" dt="2021-11-03T13:55:20.655" v="1" actId="14100"/>
          <ac:spMkLst>
            <pc:docMk/>
            <pc:sldMk cId="3394738078" sldId="302"/>
            <ac:spMk id="2" creationId="{00000000-0000-0000-0000-000000000000}"/>
          </ac:spMkLst>
        </pc:spChg>
        <pc:spChg chg="add del mod">
          <ac:chgData name="Kools, ACE (Anne)" userId="S::a.kools@bpd.nl::26a8ed59-07b8-4fda-acf9-b156c1acb2d4" providerId="AD" clId="Web-{93525D81-38A0-43DB-8624-8DAC4F1065EC}" dt="2021-11-03T13:56:13.547" v="5"/>
          <ac:spMkLst>
            <pc:docMk/>
            <pc:sldMk cId="3394738078" sldId="302"/>
            <ac:spMk id="6" creationId="{9EE6F442-6A8B-459D-BFC7-9B5548010192}"/>
          </ac:spMkLst>
        </pc:spChg>
        <pc:spChg chg="add mod">
          <ac:chgData name="Kools, ACE (Anne)" userId="S::a.kools@bpd.nl::26a8ed59-07b8-4fda-acf9-b156c1acb2d4" providerId="AD" clId="Web-{93525D81-38A0-43DB-8624-8DAC4F1065EC}" dt="2021-11-03T13:58:18.143" v="19" actId="1076"/>
          <ac:spMkLst>
            <pc:docMk/>
            <pc:sldMk cId="3394738078" sldId="302"/>
            <ac:spMk id="7" creationId="{879EAE08-A4B6-464F-BC1F-52869903EEED}"/>
          </ac:spMkLst>
        </pc:spChg>
        <pc:picChg chg="mod">
          <ac:chgData name="Kools, ACE (Anne)" userId="S::a.kools@bpd.nl::26a8ed59-07b8-4fda-acf9-b156c1acb2d4" providerId="AD" clId="Web-{93525D81-38A0-43DB-8624-8DAC4F1065EC}" dt="2021-11-03T13:57:42.486" v="18" actId="1076"/>
          <ac:picMkLst>
            <pc:docMk/>
            <pc:sldMk cId="3394738078" sldId="302"/>
            <ac:picMk id="4" creationId="{00000000-0000-0000-0000-000000000000}"/>
          </ac:picMkLst>
        </pc:picChg>
        <pc:picChg chg="add del mod">
          <ac:chgData name="Kools, ACE (Anne)" userId="S::a.kools@bpd.nl::26a8ed59-07b8-4fda-acf9-b156c1acb2d4" providerId="AD" clId="Web-{93525D81-38A0-43DB-8624-8DAC4F1065EC}" dt="2021-11-03T13:56:16.266" v="6"/>
          <ac:picMkLst>
            <pc:docMk/>
            <pc:sldMk cId="3394738078" sldId="302"/>
            <ac:picMk id="5" creationId="{F1B9697D-3E16-4A5E-AA5E-611D845EE80E}"/>
          </ac:picMkLst>
        </pc:picChg>
      </pc:sldChg>
      <pc:sldChg chg="modSp">
        <pc:chgData name="Kools, ACE (Anne)" userId="S::a.kools@bpd.nl::26a8ed59-07b8-4fda-acf9-b156c1acb2d4" providerId="AD" clId="Web-{93525D81-38A0-43DB-8624-8DAC4F1065EC}" dt="2021-11-03T14:02:18.351" v="24" actId="20577"/>
        <pc:sldMkLst>
          <pc:docMk/>
          <pc:sldMk cId="276192440" sldId="310"/>
        </pc:sldMkLst>
        <pc:spChg chg="mod">
          <ac:chgData name="Kools, ACE (Anne)" userId="S::a.kools@bpd.nl::26a8ed59-07b8-4fda-acf9-b156c1acb2d4" providerId="AD" clId="Web-{93525D81-38A0-43DB-8624-8DAC4F1065EC}" dt="2021-11-03T14:02:18.351" v="24" actId="20577"/>
          <ac:spMkLst>
            <pc:docMk/>
            <pc:sldMk cId="276192440" sldId="310"/>
            <ac:spMk id="2" creationId="{00000000-0000-0000-0000-000000000000}"/>
          </ac:spMkLst>
        </pc:spChg>
      </pc:sldChg>
    </pc:docChg>
  </pc:docChgLst>
  <pc:docChgLst>
    <pc:chgData clId="Web-{0152CBC4-8C35-4559-8FB4-54478653F484}"/>
    <pc:docChg chg="modSld">
      <pc:chgData name="" userId="" providerId="" clId="Web-{0152CBC4-8C35-4559-8FB4-54478653F484}" dt="2021-11-03T11:04:26.553" v="0" actId="20577"/>
      <pc:docMkLst>
        <pc:docMk/>
      </pc:docMkLst>
      <pc:sldChg chg="modSp">
        <pc:chgData name="" userId="" providerId="" clId="Web-{0152CBC4-8C35-4559-8FB4-54478653F484}" dt="2021-11-03T11:04:26.553" v="0" actId="20577"/>
        <pc:sldMkLst>
          <pc:docMk/>
          <pc:sldMk cId="1480514114" sldId="263"/>
        </pc:sldMkLst>
        <pc:spChg chg="mod">
          <ac:chgData name="" userId="" providerId="" clId="Web-{0152CBC4-8C35-4559-8FB4-54478653F484}" dt="2021-11-03T11:04:26.553" v="0" actId="20577"/>
          <ac:spMkLst>
            <pc:docMk/>
            <pc:sldMk cId="1480514114" sldId="263"/>
            <ac:spMk id="2"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dirty="0"/>
          </a:p>
        </p:txBody>
      </p:sp>
      <p:sp>
        <p:nvSpPr>
          <p:cNvPr id="3" name="Tijdelijke aanduiding voor datum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D7757D0-0DA8-4B50-962C-F8908CCD91C6}" type="datetimeFigureOut">
              <a:rPr lang="nl-NL" smtClean="0"/>
              <a:pPr/>
              <a:t>29-3-2022</a:t>
            </a:fld>
            <a:endParaRPr lang="nl-NL" dirty="0"/>
          </a:p>
        </p:txBody>
      </p:sp>
      <p:sp>
        <p:nvSpPr>
          <p:cNvPr id="4" name="Tijdelijke aanduiding voor voettekst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dirty="0"/>
          </a:p>
        </p:txBody>
      </p:sp>
      <p:sp>
        <p:nvSpPr>
          <p:cNvPr id="5" name="Tijdelijke aanduiding voor dia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393B2BB-416B-4E85-A754-0B695991D3F5}" type="slidenum">
              <a:rPr lang="nl-NL" smtClean="0"/>
              <a:pPr/>
              <a:t>‹nr.›</a:t>
            </a:fld>
            <a:endParaRPr lang="nl-NL" dirty="0"/>
          </a:p>
        </p:txBody>
      </p:sp>
    </p:spTree>
    <p:extLst>
      <p:ext uri="{BB962C8B-B14F-4D97-AF65-F5344CB8AC3E}">
        <p14:creationId xmlns:p14="http://schemas.microsoft.com/office/powerpoint/2010/main" val="22673547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nl-NL" dirty="0"/>
          </a:p>
        </p:txBody>
      </p:sp>
      <p:sp>
        <p:nvSpPr>
          <p:cNvPr id="3" name="Tijdelijke aanduiding voor datum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CAC0B33-3943-42F1-973C-9CDD51C76BBD}" type="datetimeFigureOut">
              <a:rPr lang="nl-NL" smtClean="0"/>
              <a:pPr/>
              <a:t>29-3-2022</a:t>
            </a:fld>
            <a:endParaRPr lang="nl-NL" dirty="0"/>
          </a:p>
        </p:txBody>
      </p:sp>
      <p:sp>
        <p:nvSpPr>
          <p:cNvPr id="4" name="Tijdelijke aanduiding voor dia-afbeelding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nl-NL" dirty="0"/>
          </a:p>
        </p:txBody>
      </p:sp>
      <p:sp>
        <p:nvSpPr>
          <p:cNvPr id="5" name="Tijdelijke aanduiding voor notiti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6" name="Tijdelijke aanduiding voor voettekst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nl-NL" dirty="0"/>
          </a:p>
        </p:txBody>
      </p:sp>
      <p:sp>
        <p:nvSpPr>
          <p:cNvPr id="7" name="Tijdelijke aanduiding voor dia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97381A9-0C9E-4D3A-A28B-AC4E168A57BC}" type="slidenum">
              <a:rPr lang="nl-NL" smtClean="0"/>
              <a:pPr/>
              <a:t>‹nr.›</a:t>
            </a:fld>
            <a:endParaRPr lang="nl-NL" dirty="0"/>
          </a:p>
        </p:txBody>
      </p:sp>
    </p:spTree>
    <p:extLst>
      <p:ext uri="{BB962C8B-B14F-4D97-AF65-F5344CB8AC3E}">
        <p14:creationId xmlns:p14="http://schemas.microsoft.com/office/powerpoint/2010/main" val="3545252254"/>
      </p:ext>
    </p:extLst>
  </p:cSld>
  <p:clrMap bg1="lt1" tx1="dk1" bg2="lt2" tx2="dk2" accent1="accent1" accent2="accent2" accent3="accent3" accent4="accent4" accent5="accent5" accent6="accent6" hlink="hlink" folHlink="folHlink"/>
  <p:notesStyle>
    <a:lvl1pPr marL="0" algn="l" defTabSz="1088502" rtl="0" eaLnBrk="1" latinLnBrk="0" hangingPunct="1">
      <a:defRPr sz="1400" kern="1200">
        <a:solidFill>
          <a:schemeClr val="tx1"/>
        </a:solidFill>
        <a:latin typeface="+mn-lt"/>
        <a:ea typeface="+mn-ea"/>
        <a:cs typeface="+mn-cs"/>
      </a:defRPr>
    </a:lvl1pPr>
    <a:lvl2pPr marL="544251" algn="l" defTabSz="1088502" rtl="0" eaLnBrk="1" latinLnBrk="0" hangingPunct="1">
      <a:defRPr sz="1400" kern="1200">
        <a:solidFill>
          <a:schemeClr val="tx1"/>
        </a:solidFill>
        <a:latin typeface="+mn-lt"/>
        <a:ea typeface="+mn-ea"/>
        <a:cs typeface="+mn-cs"/>
      </a:defRPr>
    </a:lvl2pPr>
    <a:lvl3pPr marL="1088502" algn="l" defTabSz="1088502" rtl="0" eaLnBrk="1" latinLnBrk="0" hangingPunct="1">
      <a:defRPr sz="1400" kern="1200">
        <a:solidFill>
          <a:schemeClr val="tx1"/>
        </a:solidFill>
        <a:latin typeface="+mn-lt"/>
        <a:ea typeface="+mn-ea"/>
        <a:cs typeface="+mn-cs"/>
      </a:defRPr>
    </a:lvl3pPr>
    <a:lvl4pPr marL="1632753" algn="l" defTabSz="1088502" rtl="0" eaLnBrk="1" latinLnBrk="0" hangingPunct="1">
      <a:defRPr sz="1400" kern="1200">
        <a:solidFill>
          <a:schemeClr val="tx1"/>
        </a:solidFill>
        <a:latin typeface="+mn-lt"/>
        <a:ea typeface="+mn-ea"/>
        <a:cs typeface="+mn-cs"/>
      </a:defRPr>
    </a:lvl4pPr>
    <a:lvl5pPr marL="2177004" algn="l" defTabSz="1088502" rtl="0" eaLnBrk="1" latinLnBrk="0" hangingPunct="1">
      <a:defRPr sz="1400" kern="1200">
        <a:solidFill>
          <a:schemeClr val="tx1"/>
        </a:solidFill>
        <a:latin typeface="+mn-lt"/>
        <a:ea typeface="+mn-ea"/>
        <a:cs typeface="+mn-cs"/>
      </a:defRPr>
    </a:lvl5pPr>
    <a:lvl6pPr marL="2721254" algn="l" defTabSz="1088502" rtl="0" eaLnBrk="1" latinLnBrk="0" hangingPunct="1">
      <a:defRPr sz="1400" kern="1200">
        <a:solidFill>
          <a:schemeClr val="tx1"/>
        </a:solidFill>
        <a:latin typeface="+mn-lt"/>
        <a:ea typeface="+mn-ea"/>
        <a:cs typeface="+mn-cs"/>
      </a:defRPr>
    </a:lvl6pPr>
    <a:lvl7pPr marL="3265505" algn="l" defTabSz="1088502" rtl="0" eaLnBrk="1" latinLnBrk="0" hangingPunct="1">
      <a:defRPr sz="1400" kern="1200">
        <a:solidFill>
          <a:schemeClr val="tx1"/>
        </a:solidFill>
        <a:latin typeface="+mn-lt"/>
        <a:ea typeface="+mn-ea"/>
        <a:cs typeface="+mn-cs"/>
      </a:defRPr>
    </a:lvl7pPr>
    <a:lvl8pPr marL="3809756" algn="l" defTabSz="1088502" rtl="0" eaLnBrk="1" latinLnBrk="0" hangingPunct="1">
      <a:defRPr sz="1400" kern="1200">
        <a:solidFill>
          <a:schemeClr val="tx1"/>
        </a:solidFill>
        <a:latin typeface="+mn-lt"/>
        <a:ea typeface="+mn-ea"/>
        <a:cs typeface="+mn-cs"/>
      </a:defRPr>
    </a:lvl8pPr>
    <a:lvl9pPr marL="4354007" algn="l" defTabSz="1088502"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697381A9-0C9E-4D3A-A28B-AC4E168A57BC}" type="slidenum">
              <a:rPr lang="nl-NL" smtClean="0"/>
              <a:pPr/>
              <a:t>7</a:t>
            </a:fld>
            <a:endParaRPr lang="nl-NL" dirty="0"/>
          </a:p>
        </p:txBody>
      </p:sp>
    </p:spTree>
    <p:extLst>
      <p:ext uri="{BB962C8B-B14F-4D97-AF65-F5344CB8AC3E}">
        <p14:creationId xmlns:p14="http://schemas.microsoft.com/office/powerpoint/2010/main" val="12290268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697381A9-0C9E-4D3A-A28B-AC4E168A57BC}" type="slidenum">
              <a:rPr lang="nl-NL" smtClean="0"/>
              <a:pPr/>
              <a:t>43</a:t>
            </a:fld>
            <a:endParaRPr lang="nl-NL" dirty="0"/>
          </a:p>
        </p:txBody>
      </p:sp>
    </p:spTree>
    <p:extLst>
      <p:ext uri="{BB962C8B-B14F-4D97-AF65-F5344CB8AC3E}">
        <p14:creationId xmlns:p14="http://schemas.microsoft.com/office/powerpoint/2010/main" val="9067275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697381A9-0C9E-4D3A-A28B-AC4E168A57BC}" type="slidenum">
              <a:rPr lang="nl-NL" smtClean="0"/>
              <a:pPr/>
              <a:t>20</a:t>
            </a:fld>
            <a:endParaRPr lang="nl-NL" dirty="0"/>
          </a:p>
        </p:txBody>
      </p:sp>
    </p:spTree>
    <p:extLst>
      <p:ext uri="{BB962C8B-B14F-4D97-AF65-F5344CB8AC3E}">
        <p14:creationId xmlns:p14="http://schemas.microsoft.com/office/powerpoint/2010/main" val="16109474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697381A9-0C9E-4D3A-A28B-AC4E168A57BC}" type="slidenum">
              <a:rPr lang="nl-NL" smtClean="0"/>
              <a:pPr/>
              <a:t>21</a:t>
            </a:fld>
            <a:endParaRPr lang="nl-NL" dirty="0"/>
          </a:p>
        </p:txBody>
      </p:sp>
    </p:spTree>
    <p:extLst>
      <p:ext uri="{BB962C8B-B14F-4D97-AF65-F5344CB8AC3E}">
        <p14:creationId xmlns:p14="http://schemas.microsoft.com/office/powerpoint/2010/main" val="6476957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697381A9-0C9E-4D3A-A28B-AC4E168A57BC}" type="slidenum">
              <a:rPr lang="nl-NL" smtClean="0"/>
              <a:pPr/>
              <a:t>22</a:t>
            </a:fld>
            <a:endParaRPr lang="nl-NL" dirty="0"/>
          </a:p>
        </p:txBody>
      </p:sp>
    </p:spTree>
    <p:extLst>
      <p:ext uri="{BB962C8B-B14F-4D97-AF65-F5344CB8AC3E}">
        <p14:creationId xmlns:p14="http://schemas.microsoft.com/office/powerpoint/2010/main" val="27442631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697381A9-0C9E-4D3A-A28B-AC4E168A57BC}" type="slidenum">
              <a:rPr lang="nl-NL" smtClean="0"/>
              <a:pPr/>
              <a:t>28</a:t>
            </a:fld>
            <a:endParaRPr lang="nl-NL" dirty="0"/>
          </a:p>
        </p:txBody>
      </p:sp>
    </p:spTree>
    <p:extLst>
      <p:ext uri="{BB962C8B-B14F-4D97-AF65-F5344CB8AC3E}">
        <p14:creationId xmlns:p14="http://schemas.microsoft.com/office/powerpoint/2010/main" val="4694383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697381A9-0C9E-4D3A-A28B-AC4E168A57BC}" type="slidenum">
              <a:rPr lang="nl-NL" smtClean="0"/>
              <a:pPr/>
              <a:t>32</a:t>
            </a:fld>
            <a:endParaRPr lang="nl-NL" dirty="0"/>
          </a:p>
        </p:txBody>
      </p:sp>
    </p:spTree>
    <p:extLst>
      <p:ext uri="{BB962C8B-B14F-4D97-AF65-F5344CB8AC3E}">
        <p14:creationId xmlns:p14="http://schemas.microsoft.com/office/powerpoint/2010/main" val="26334343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697381A9-0C9E-4D3A-A28B-AC4E168A57BC}" type="slidenum">
              <a:rPr lang="nl-NL" smtClean="0"/>
              <a:pPr/>
              <a:t>36</a:t>
            </a:fld>
            <a:endParaRPr lang="nl-NL" dirty="0"/>
          </a:p>
        </p:txBody>
      </p:sp>
    </p:spTree>
    <p:extLst>
      <p:ext uri="{BB962C8B-B14F-4D97-AF65-F5344CB8AC3E}">
        <p14:creationId xmlns:p14="http://schemas.microsoft.com/office/powerpoint/2010/main" val="39074672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697381A9-0C9E-4D3A-A28B-AC4E168A57BC}" type="slidenum">
              <a:rPr lang="nl-NL" smtClean="0"/>
              <a:pPr/>
              <a:t>38</a:t>
            </a:fld>
            <a:endParaRPr lang="nl-NL" dirty="0"/>
          </a:p>
        </p:txBody>
      </p:sp>
    </p:spTree>
    <p:extLst>
      <p:ext uri="{BB962C8B-B14F-4D97-AF65-F5344CB8AC3E}">
        <p14:creationId xmlns:p14="http://schemas.microsoft.com/office/powerpoint/2010/main" val="2268603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697381A9-0C9E-4D3A-A28B-AC4E168A57BC}" type="slidenum">
              <a:rPr lang="nl-NL" smtClean="0"/>
              <a:pPr/>
              <a:t>39</a:t>
            </a:fld>
            <a:endParaRPr lang="nl-NL" dirty="0"/>
          </a:p>
        </p:txBody>
      </p:sp>
    </p:spTree>
    <p:extLst>
      <p:ext uri="{BB962C8B-B14F-4D97-AF65-F5344CB8AC3E}">
        <p14:creationId xmlns:p14="http://schemas.microsoft.com/office/powerpoint/2010/main" val="20447594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customXml" Target="../../customXml/item41.xml"/><Relationship Id="rId1" Type="http://schemas.openxmlformats.org/officeDocument/2006/relationships/customXml" Target="../../customXml/item13.xml"/></Relationships>
</file>

<file path=ppt/slideLayouts/_rels/slideLayout10.xml.rels><?xml version="1.0" encoding="UTF-8" standalone="yes"?>
<Relationships xmlns="http://schemas.openxmlformats.org/package/2006/relationships"><Relationship Id="rId3" Type="http://schemas.openxmlformats.org/officeDocument/2006/relationships/customXml" Target="../../customXml/item30.xml"/><Relationship Id="rId2" Type="http://schemas.openxmlformats.org/officeDocument/2006/relationships/customXml" Target="../../customXml/item26.xml"/><Relationship Id="rId1" Type="http://schemas.openxmlformats.org/officeDocument/2006/relationships/customXml" Target="../../customXml/item40.xml"/><Relationship Id="rId5" Type="http://schemas.openxmlformats.org/officeDocument/2006/relationships/slideMaster" Target="../slideMasters/slideMaster1.xml"/><Relationship Id="rId4" Type="http://schemas.openxmlformats.org/officeDocument/2006/relationships/customXml" Target="../../customXml/item8.xml"/></Relationships>
</file>

<file path=ppt/slideLayouts/_rels/slideLayout11.xml.rels><?xml version="1.0" encoding="UTF-8" standalone="yes"?>
<Relationships xmlns="http://schemas.openxmlformats.org/package/2006/relationships"><Relationship Id="rId3" Type="http://schemas.openxmlformats.org/officeDocument/2006/relationships/customXml" Target="../../customXml/item34.xml"/><Relationship Id="rId2" Type="http://schemas.openxmlformats.org/officeDocument/2006/relationships/customXml" Target="../../customXml/item43.xml"/><Relationship Id="rId1" Type="http://schemas.openxmlformats.org/officeDocument/2006/relationships/customXml" Target="../../customXml/item2.xml"/><Relationship Id="rId5" Type="http://schemas.openxmlformats.org/officeDocument/2006/relationships/slideMaster" Target="../slideMasters/slideMaster1.xml"/><Relationship Id="rId4" Type="http://schemas.openxmlformats.org/officeDocument/2006/relationships/customXml" Target="../../customXml/item29.xml"/></Relationships>
</file>

<file path=ppt/slideLayouts/_rels/slideLayout12.xml.rels><?xml version="1.0" encoding="UTF-8" standalone="yes"?>
<Relationships xmlns="http://schemas.openxmlformats.org/package/2006/relationships"><Relationship Id="rId3" Type="http://schemas.openxmlformats.org/officeDocument/2006/relationships/customXml" Target="../../customXml/item10.xml"/><Relationship Id="rId2" Type="http://schemas.openxmlformats.org/officeDocument/2006/relationships/customXml" Target="../../customXml/item7.xml"/><Relationship Id="rId1" Type="http://schemas.openxmlformats.org/officeDocument/2006/relationships/customXml" Target="../../customXml/item1.xml"/><Relationship Id="rId6" Type="http://schemas.openxmlformats.org/officeDocument/2006/relationships/image" Target="../media/image7.jpg"/><Relationship Id="rId5" Type="http://schemas.openxmlformats.org/officeDocument/2006/relationships/slideMaster" Target="../slideMasters/slideMaster1.xml"/><Relationship Id="rId4" Type="http://schemas.openxmlformats.org/officeDocument/2006/relationships/customXml" Target="../../customXml/item31.xml"/></Relationships>
</file>

<file path=ppt/slideLayouts/_rels/slideLayout13.xml.rels><?xml version="1.0" encoding="UTF-8" standalone="yes"?>
<Relationships xmlns="http://schemas.openxmlformats.org/package/2006/relationships"><Relationship Id="rId3" Type="http://schemas.openxmlformats.org/officeDocument/2006/relationships/customXml" Target="../../customXml/item37.xml"/><Relationship Id="rId2" Type="http://schemas.openxmlformats.org/officeDocument/2006/relationships/customXml" Target="../../customXml/item22.xml"/><Relationship Id="rId1" Type="http://schemas.openxmlformats.org/officeDocument/2006/relationships/customXml" Target="../../customXml/item15.xml"/><Relationship Id="rId6" Type="http://schemas.openxmlformats.org/officeDocument/2006/relationships/image" Target="../media/image8.jpg"/><Relationship Id="rId5" Type="http://schemas.openxmlformats.org/officeDocument/2006/relationships/slideMaster" Target="../slideMasters/slideMaster1.xml"/><Relationship Id="rId4" Type="http://schemas.openxmlformats.org/officeDocument/2006/relationships/customXml" Target="../../customXml/item28.xml"/></Relationships>
</file>

<file path=ppt/slideLayouts/_rels/slideLayout14.xml.rels><?xml version="1.0" encoding="UTF-8" standalone="yes"?>
<Relationships xmlns="http://schemas.openxmlformats.org/package/2006/relationships"><Relationship Id="rId3" Type="http://schemas.openxmlformats.org/officeDocument/2006/relationships/customXml" Target="../../customXml/item9.xml"/><Relationship Id="rId2" Type="http://schemas.openxmlformats.org/officeDocument/2006/relationships/customXml" Target="../../customXml/item3.xml"/><Relationship Id="rId1" Type="http://schemas.openxmlformats.org/officeDocument/2006/relationships/customXml" Target="../../customXml/item16.xml"/><Relationship Id="rId6" Type="http://schemas.openxmlformats.org/officeDocument/2006/relationships/image" Target="../media/image9.jpg"/><Relationship Id="rId5" Type="http://schemas.openxmlformats.org/officeDocument/2006/relationships/slideMaster" Target="../slideMasters/slideMaster1.xml"/><Relationship Id="rId4" Type="http://schemas.openxmlformats.org/officeDocument/2006/relationships/customXml" Target="../../customXml/item2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customXml" Target="../../customXml/item36.xml"/><Relationship Id="rId1" Type="http://schemas.openxmlformats.org/officeDocument/2006/relationships/customXml" Target="../../customXml/item17.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customXml" Target="../../customXml/item35.xml"/><Relationship Id="rId1" Type="http://schemas.openxmlformats.org/officeDocument/2006/relationships/customXml" Target="../../customXml/item6.xml"/><Relationship Id="rId4" Type="http://schemas.openxmlformats.org/officeDocument/2006/relationships/image" Target="../media/image3.jp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customXml" Target="../../customXml/item5.xml"/><Relationship Id="rId1" Type="http://schemas.openxmlformats.org/officeDocument/2006/relationships/customXml" Target="../../customXml/item42.xml"/><Relationship Id="rId4" Type="http://schemas.openxmlformats.org/officeDocument/2006/relationships/image" Target="../media/image4.jp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customXml" Target="../../customXml/item33.xml"/><Relationship Id="rId1" Type="http://schemas.openxmlformats.org/officeDocument/2006/relationships/customXml" Target="../../customXml/item18.xml"/><Relationship Id="rId4" Type="http://schemas.openxmlformats.org/officeDocument/2006/relationships/image" Target="../media/image5.jp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customXml" Target="../../customXml/item32.xml"/><Relationship Id="rId1" Type="http://schemas.openxmlformats.org/officeDocument/2006/relationships/customXml" Target="../../customXml/item11.xml"/><Relationship Id="rId4" Type="http://schemas.openxmlformats.org/officeDocument/2006/relationships/image" Target="../media/image6.jp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customXml" Target="../../customXml/item27.xml"/><Relationship Id="rId2" Type="http://schemas.openxmlformats.org/officeDocument/2006/relationships/customXml" Target="../../customXml/item25.xml"/><Relationship Id="rId1" Type="http://schemas.openxmlformats.org/officeDocument/2006/relationships/customXml" Target="../../customXml/item14.xml"/><Relationship Id="rId5" Type="http://schemas.openxmlformats.org/officeDocument/2006/relationships/slideMaster" Target="../slideMasters/slideMaster1.xml"/><Relationship Id="rId4" Type="http://schemas.openxmlformats.org/officeDocument/2006/relationships/customXml" Target="../../customXml/item3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dia met eigen foto (blauw)">
    <p:spTree>
      <p:nvGrpSpPr>
        <p:cNvPr id="1" name=""/>
        <p:cNvGrpSpPr/>
        <p:nvPr/>
      </p:nvGrpSpPr>
      <p:grpSpPr>
        <a:xfrm>
          <a:off x="0" y="0"/>
          <a:ext cx="0" cy="0"/>
          <a:chOff x="0" y="0"/>
          <a:chExt cx="0" cy="0"/>
        </a:xfrm>
      </p:grpSpPr>
      <p:grpSp>
        <p:nvGrpSpPr>
          <p:cNvPr id="12" name="Groep 11"/>
          <p:cNvGrpSpPr>
            <a:grpSpLocks noSelect="1"/>
          </p:cNvGrpSpPr>
          <p:nvPr userDrawn="1"/>
        </p:nvGrpSpPr>
        <p:grpSpPr bwMode="gray">
          <a:xfrm>
            <a:off x="0" y="0"/>
            <a:ext cx="12195361" cy="3430800"/>
            <a:chOff x="0" y="0"/>
            <a:chExt cx="12195361" cy="3430800"/>
          </a:xfrm>
        </p:grpSpPr>
        <p:sp>
          <p:nvSpPr>
            <p:cNvPr id="13" name="Vrije vorm: vorm 21">
              <a:extLst>
                <a:ext uri="{FF2B5EF4-FFF2-40B4-BE49-F238E27FC236}">
                  <a16:creationId xmlns:a16="http://schemas.microsoft.com/office/drawing/2014/main" id="{42B59DBA-BA95-45B7-ADE2-AE5D47A19F6A}"/>
                </a:ext>
              </a:extLst>
            </p:cNvPr>
            <p:cNvSpPr>
              <a:spLocks noSelect="1"/>
            </p:cNvSpPr>
            <p:nvPr userDrawn="1"/>
          </p:nvSpPr>
          <p:spPr bwMode="gray">
            <a:xfrm>
              <a:off x="0" y="1588"/>
              <a:ext cx="12195361" cy="3428492"/>
            </a:xfrm>
            <a:custGeom>
              <a:avLst/>
              <a:gdLst>
                <a:gd name="connsiteX0" fmla="*/ 0 w 12195361"/>
                <a:gd name="connsiteY0" fmla="*/ 0 h 3428492"/>
                <a:gd name="connsiteX1" fmla="*/ 12195175 w 12195361"/>
                <a:gd name="connsiteY1" fmla="*/ 0 h 3428492"/>
                <a:gd name="connsiteX2" fmla="*/ 12195175 w 12195361"/>
                <a:gd name="connsiteY2" fmla="*/ 2280812 h 3428492"/>
                <a:gd name="connsiteX3" fmla="*/ 12195361 w 12195361"/>
                <a:gd name="connsiteY3" fmla="*/ 2280812 h 3428492"/>
                <a:gd name="connsiteX4" fmla="*/ 12195361 w 12195361"/>
                <a:gd name="connsiteY4" fmla="*/ 3428492 h 3428492"/>
                <a:gd name="connsiteX5" fmla="*/ 1144706 w 12195361"/>
                <a:gd name="connsiteY5" fmla="*/ 3428492 h 3428492"/>
                <a:gd name="connsiteX6" fmla="*/ 568440 w 12195361"/>
                <a:gd name="connsiteY6" fmla="*/ 2855446 h 3428492"/>
                <a:gd name="connsiteX7" fmla="*/ 571327 w 12195361"/>
                <a:gd name="connsiteY7" fmla="*/ 2852567 h 3428492"/>
                <a:gd name="connsiteX8" fmla="*/ 0 w 12195361"/>
                <a:gd name="connsiteY8" fmla="*/ 2282825 h 3428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5361" h="3428492">
                  <a:moveTo>
                    <a:pt x="0" y="0"/>
                  </a:moveTo>
                  <a:lnTo>
                    <a:pt x="12195175" y="0"/>
                  </a:lnTo>
                  <a:lnTo>
                    <a:pt x="12195175" y="2280812"/>
                  </a:lnTo>
                  <a:lnTo>
                    <a:pt x="12195361" y="2280812"/>
                  </a:lnTo>
                  <a:lnTo>
                    <a:pt x="12195361" y="3428492"/>
                  </a:lnTo>
                  <a:lnTo>
                    <a:pt x="1144706" y="3428492"/>
                  </a:lnTo>
                  <a:lnTo>
                    <a:pt x="568440" y="2855446"/>
                  </a:lnTo>
                  <a:lnTo>
                    <a:pt x="571327" y="2852567"/>
                  </a:lnTo>
                  <a:lnTo>
                    <a:pt x="0" y="2282825"/>
                  </a:lnTo>
                  <a:close/>
                </a:path>
              </a:pathLst>
            </a:custGeom>
            <a:solidFill>
              <a:srgbClr val="78BDDE"/>
            </a:solidFill>
            <a:ln>
              <a:noFill/>
            </a:ln>
          </p:spPr>
          <p:txBody>
            <a:bodyPr vert="horz" wrap="square" lIns="91440" tIns="45720" rIns="91440" bIns="45720" numCol="1" anchor="t" anchorCtr="0" compatLnSpc="1">
              <a:prstTxWarp prst="textNoShape">
                <a:avLst/>
              </a:prstTxWarp>
              <a:noAutofit/>
            </a:bodyPr>
            <a:lstStyle/>
            <a:p>
              <a:endParaRPr lang="nl-NL" dirty="0"/>
            </a:p>
          </p:txBody>
        </p:sp>
        <p:grpSp>
          <p:nvGrpSpPr>
            <p:cNvPr id="14" name="Groep 13">
              <a:extLst>
                <a:ext uri="{FF2B5EF4-FFF2-40B4-BE49-F238E27FC236}">
                  <a16:creationId xmlns:a16="http://schemas.microsoft.com/office/drawing/2014/main" id="{3873E23E-2AA0-4882-B53A-EBC2D14DD876}"/>
                </a:ext>
              </a:extLst>
            </p:cNvPr>
            <p:cNvGrpSpPr>
              <a:grpSpLocks noSelect="1"/>
            </p:cNvGrpSpPr>
            <p:nvPr userDrawn="1"/>
          </p:nvGrpSpPr>
          <p:grpSpPr bwMode="gray">
            <a:xfrm>
              <a:off x="6477000" y="0"/>
              <a:ext cx="5718176" cy="3430800"/>
              <a:chOff x="6477000" y="0"/>
              <a:chExt cx="5718176" cy="3433763"/>
            </a:xfrm>
          </p:grpSpPr>
          <p:sp>
            <p:nvSpPr>
              <p:cNvPr id="15" name="Freeform 11">
                <a:extLst>
                  <a:ext uri="{FF2B5EF4-FFF2-40B4-BE49-F238E27FC236}">
                    <a16:creationId xmlns:a16="http://schemas.microsoft.com/office/drawing/2014/main" id="{3C3E3EA2-EE28-49B3-BD2C-C03B459A331A}"/>
                  </a:ext>
                </a:extLst>
              </p:cNvPr>
              <p:cNvSpPr>
                <a:spLocks noSelect="1"/>
              </p:cNvSpPr>
              <p:nvPr userDrawn="1"/>
            </p:nvSpPr>
            <p:spPr bwMode="gray">
              <a:xfrm>
                <a:off x="6477000" y="0"/>
                <a:ext cx="5718175" cy="3433763"/>
              </a:xfrm>
              <a:custGeom>
                <a:avLst/>
                <a:gdLst>
                  <a:gd name="T0" fmla="*/ 6507 w 18007"/>
                  <a:gd name="T1" fmla="*/ 10581 h 10826"/>
                  <a:gd name="T2" fmla="*/ 649 w 18007"/>
                  <a:gd name="T3" fmla="*/ 10821 h 10826"/>
                  <a:gd name="T4" fmla="*/ 341 w 18007"/>
                  <a:gd name="T5" fmla="*/ 6929 h 10826"/>
                  <a:gd name="T6" fmla="*/ 11206 w 18007"/>
                  <a:gd name="T7" fmla="*/ 0 h 10826"/>
                  <a:gd name="T8" fmla="*/ 12553 w 18007"/>
                  <a:gd name="T9" fmla="*/ 1161 h 10826"/>
                  <a:gd name="T10" fmla="*/ 851 w 18007"/>
                  <a:gd name="T11" fmla="*/ 7565 h 10826"/>
                  <a:gd name="T12" fmla="*/ 5780 w 18007"/>
                  <a:gd name="T13" fmla="*/ 8936 h 10826"/>
                  <a:gd name="T14" fmla="*/ 4332 w 18007"/>
                  <a:gd name="T15" fmla="*/ 8301 h 10826"/>
                  <a:gd name="T16" fmla="*/ 7549 w 18007"/>
                  <a:gd name="T17" fmla="*/ 7278 h 10826"/>
                  <a:gd name="T18" fmla="*/ 2858 w 18007"/>
                  <a:gd name="T19" fmla="*/ 4471 h 10826"/>
                  <a:gd name="T20" fmla="*/ 6022 w 18007"/>
                  <a:gd name="T21" fmla="*/ 7243 h 10826"/>
                  <a:gd name="T22" fmla="*/ 2192 w 18007"/>
                  <a:gd name="T23" fmla="*/ 5715 h 10826"/>
                  <a:gd name="T24" fmla="*/ 5080 w 18007"/>
                  <a:gd name="T25" fmla="*/ 6914 h 10826"/>
                  <a:gd name="T26" fmla="*/ 5807 w 18007"/>
                  <a:gd name="T27" fmla="*/ 6996 h 10826"/>
                  <a:gd name="T28" fmla="*/ 6220 w 18007"/>
                  <a:gd name="T29" fmla="*/ 6242 h 10826"/>
                  <a:gd name="T30" fmla="*/ 4024 w 18007"/>
                  <a:gd name="T31" fmla="*/ 5405 h 10826"/>
                  <a:gd name="T32" fmla="*/ 2887 w 18007"/>
                  <a:gd name="T33" fmla="*/ 6684 h 10826"/>
                  <a:gd name="T34" fmla="*/ 3064 w 18007"/>
                  <a:gd name="T35" fmla="*/ 6526 h 10826"/>
                  <a:gd name="T36" fmla="*/ 5105 w 18007"/>
                  <a:gd name="T37" fmla="*/ 7252 h 10826"/>
                  <a:gd name="T38" fmla="*/ 7524 w 18007"/>
                  <a:gd name="T39" fmla="*/ 6421 h 10826"/>
                  <a:gd name="T40" fmla="*/ 2318 w 18007"/>
                  <a:gd name="T41" fmla="*/ 5443 h 10826"/>
                  <a:gd name="T42" fmla="*/ 1668 w 18007"/>
                  <a:gd name="T43" fmla="*/ 8325 h 10826"/>
                  <a:gd name="T44" fmla="*/ 2265 w 18007"/>
                  <a:gd name="T45" fmla="*/ 8625 h 10826"/>
                  <a:gd name="T46" fmla="*/ 7826 w 18007"/>
                  <a:gd name="T47" fmla="*/ 4965 h 10826"/>
                  <a:gd name="T48" fmla="*/ 2021 w 18007"/>
                  <a:gd name="T49" fmla="*/ 5129 h 10826"/>
                  <a:gd name="T50" fmla="*/ 1149 w 18007"/>
                  <a:gd name="T51" fmla="*/ 9500 h 10826"/>
                  <a:gd name="T52" fmla="*/ 4117 w 18007"/>
                  <a:gd name="T53" fmla="*/ 7990 h 10826"/>
                  <a:gd name="T54" fmla="*/ 4155 w 18007"/>
                  <a:gd name="T55" fmla="*/ 3711 h 10826"/>
                  <a:gd name="T56" fmla="*/ 924 w 18007"/>
                  <a:gd name="T57" fmla="*/ 8131 h 10826"/>
                  <a:gd name="T58" fmla="*/ 1765 w 18007"/>
                  <a:gd name="T59" fmla="*/ 10564 h 10826"/>
                  <a:gd name="T60" fmla="*/ 6634 w 18007"/>
                  <a:gd name="T61" fmla="*/ 7811 h 10826"/>
                  <a:gd name="T62" fmla="*/ 6911 w 18007"/>
                  <a:gd name="T63" fmla="*/ 8325 h 10826"/>
                  <a:gd name="T64" fmla="*/ 6457 w 18007"/>
                  <a:gd name="T65" fmla="*/ 9575 h 10826"/>
                  <a:gd name="T66" fmla="*/ 13236 w 18007"/>
                  <a:gd name="T67" fmla="*/ 4171 h 10826"/>
                  <a:gd name="T68" fmla="*/ 7287 w 18007"/>
                  <a:gd name="T69" fmla="*/ 1281 h 10826"/>
                  <a:gd name="T70" fmla="*/ 370 w 18007"/>
                  <a:gd name="T71" fmla="*/ 5948 h 10826"/>
                  <a:gd name="T72" fmla="*/ 3070 w 18007"/>
                  <a:gd name="T73" fmla="*/ 8838 h 10826"/>
                  <a:gd name="T74" fmla="*/ 4979 w 18007"/>
                  <a:gd name="T75" fmla="*/ 10591 h 10826"/>
                  <a:gd name="T76" fmla="*/ 11900 w 18007"/>
                  <a:gd name="T77" fmla="*/ 7091 h 10826"/>
                  <a:gd name="T78" fmla="*/ 7434 w 18007"/>
                  <a:gd name="T79" fmla="*/ 9745 h 10826"/>
                  <a:gd name="T80" fmla="*/ 5078 w 18007"/>
                  <a:gd name="T81" fmla="*/ 8904 h 10826"/>
                  <a:gd name="T82" fmla="*/ 6309 w 18007"/>
                  <a:gd name="T83" fmla="*/ 3223 h 10826"/>
                  <a:gd name="T84" fmla="*/ 3211 w 18007"/>
                  <a:gd name="T85" fmla="*/ 8151 h 10826"/>
                  <a:gd name="T86" fmla="*/ 4954 w 18007"/>
                  <a:gd name="T87" fmla="*/ 8316 h 10826"/>
                  <a:gd name="T88" fmla="*/ 7486 w 18007"/>
                  <a:gd name="T89" fmla="*/ 10720 h 10826"/>
                  <a:gd name="T90" fmla="*/ 3759 w 18007"/>
                  <a:gd name="T91" fmla="*/ 6843 h 10826"/>
                  <a:gd name="T92" fmla="*/ 1305 w 18007"/>
                  <a:gd name="T93" fmla="*/ 10558 h 10826"/>
                  <a:gd name="T94" fmla="*/ 4051 w 18007"/>
                  <a:gd name="T95" fmla="*/ 6831 h 10826"/>
                  <a:gd name="T96" fmla="*/ 2660 w 18007"/>
                  <a:gd name="T97" fmla="*/ 4348 h 10826"/>
                  <a:gd name="T98" fmla="*/ 8588 w 18007"/>
                  <a:gd name="T99" fmla="*/ 8574 h 10826"/>
                  <a:gd name="T100" fmla="*/ 344 w 18007"/>
                  <a:gd name="T101" fmla="*/ 7849 h 10826"/>
                  <a:gd name="T102" fmla="*/ 4888 w 18007"/>
                  <a:gd name="T103" fmla="*/ 5007 h 10826"/>
                  <a:gd name="T104" fmla="*/ 7659 w 18007"/>
                  <a:gd name="T105" fmla="*/ 9164 h 10826"/>
                  <a:gd name="T106" fmla="*/ 7948 w 18007"/>
                  <a:gd name="T107" fmla="*/ 7440 h 10826"/>
                  <a:gd name="T108" fmla="*/ 1008 w 18007"/>
                  <a:gd name="T109" fmla="*/ 7766 h 10826"/>
                  <a:gd name="T110" fmla="*/ 3513 w 18007"/>
                  <a:gd name="T111" fmla="*/ 9031 h 10826"/>
                  <a:gd name="T112" fmla="*/ 5580 w 18007"/>
                  <a:gd name="T113" fmla="*/ 9553 h 10826"/>
                  <a:gd name="T114" fmla="*/ 483 w 18007"/>
                  <a:gd name="T115" fmla="*/ 3708 h 10826"/>
                  <a:gd name="T116" fmla="*/ 1778 w 18007"/>
                  <a:gd name="T117" fmla="*/ 8551 h 10826"/>
                  <a:gd name="T118" fmla="*/ 3379 w 18007"/>
                  <a:gd name="T119" fmla="*/ 5194 h 10826"/>
                  <a:gd name="T120" fmla="*/ 1669 w 18007"/>
                  <a:gd name="T121" fmla="*/ 9953 h 10826"/>
                  <a:gd name="T122" fmla="*/ 212 w 18007"/>
                  <a:gd name="T123" fmla="*/ 9450 h 10826"/>
                  <a:gd name="T124" fmla="*/ 3295 w 18007"/>
                  <a:gd name="T125" fmla="*/ 10451 h 10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07" h="10826">
                    <a:moveTo>
                      <a:pt x="6493" y="10821"/>
                    </a:moveTo>
                    <a:cubicBezTo>
                      <a:pt x="6492" y="10821"/>
                      <a:pt x="6492" y="10821"/>
                      <a:pt x="6492" y="10821"/>
                    </a:cubicBezTo>
                    <a:cubicBezTo>
                      <a:pt x="6493" y="10821"/>
                      <a:pt x="6493" y="10821"/>
                      <a:pt x="6493" y="10821"/>
                    </a:cubicBezTo>
                    <a:close/>
                    <a:moveTo>
                      <a:pt x="3819" y="10821"/>
                    </a:moveTo>
                    <a:cubicBezTo>
                      <a:pt x="3791" y="10821"/>
                      <a:pt x="3791" y="10821"/>
                      <a:pt x="3791" y="10821"/>
                    </a:cubicBezTo>
                    <a:cubicBezTo>
                      <a:pt x="3799" y="10826"/>
                      <a:pt x="3799" y="10826"/>
                      <a:pt x="3799" y="10826"/>
                    </a:cubicBezTo>
                    <a:lnTo>
                      <a:pt x="3819" y="10821"/>
                    </a:lnTo>
                    <a:close/>
                    <a:moveTo>
                      <a:pt x="17889" y="692"/>
                    </a:moveTo>
                    <a:cubicBezTo>
                      <a:pt x="17927" y="666"/>
                      <a:pt x="17967" y="639"/>
                      <a:pt x="18007" y="610"/>
                    </a:cubicBezTo>
                    <a:cubicBezTo>
                      <a:pt x="18007" y="690"/>
                      <a:pt x="18007" y="690"/>
                      <a:pt x="18007" y="690"/>
                    </a:cubicBezTo>
                    <a:cubicBezTo>
                      <a:pt x="17980" y="709"/>
                      <a:pt x="17954" y="727"/>
                      <a:pt x="17929" y="744"/>
                    </a:cubicBezTo>
                    <a:cubicBezTo>
                      <a:pt x="17955" y="783"/>
                      <a:pt x="17981" y="825"/>
                      <a:pt x="18007" y="871"/>
                    </a:cubicBezTo>
                    <a:cubicBezTo>
                      <a:pt x="18007" y="1015"/>
                      <a:pt x="18007" y="1015"/>
                      <a:pt x="18007" y="1015"/>
                    </a:cubicBezTo>
                    <a:cubicBezTo>
                      <a:pt x="17965" y="924"/>
                      <a:pt x="17920" y="846"/>
                      <a:pt x="17874" y="781"/>
                    </a:cubicBezTo>
                    <a:cubicBezTo>
                      <a:pt x="17427" y="1074"/>
                      <a:pt x="16722" y="1603"/>
                      <a:pt x="16212" y="1739"/>
                    </a:cubicBezTo>
                    <a:cubicBezTo>
                      <a:pt x="16181" y="1747"/>
                      <a:pt x="16150" y="1755"/>
                      <a:pt x="16118" y="1763"/>
                    </a:cubicBezTo>
                    <a:cubicBezTo>
                      <a:pt x="16119" y="1764"/>
                      <a:pt x="16119" y="1764"/>
                      <a:pt x="16119" y="1764"/>
                    </a:cubicBezTo>
                    <a:cubicBezTo>
                      <a:pt x="16123" y="1768"/>
                      <a:pt x="16123" y="1768"/>
                      <a:pt x="16123" y="1768"/>
                    </a:cubicBezTo>
                    <a:cubicBezTo>
                      <a:pt x="16118" y="1772"/>
                      <a:pt x="16091" y="1801"/>
                      <a:pt x="16056" y="1842"/>
                    </a:cubicBezTo>
                    <a:cubicBezTo>
                      <a:pt x="15950" y="1964"/>
                      <a:pt x="15758" y="2210"/>
                      <a:pt x="15723" y="2346"/>
                    </a:cubicBezTo>
                    <a:cubicBezTo>
                      <a:pt x="15691" y="2461"/>
                      <a:pt x="15660" y="2677"/>
                      <a:pt x="15660" y="2932"/>
                    </a:cubicBezTo>
                    <a:cubicBezTo>
                      <a:pt x="15660" y="3115"/>
                      <a:pt x="15676" y="3319"/>
                      <a:pt x="15719" y="3523"/>
                    </a:cubicBezTo>
                    <a:cubicBezTo>
                      <a:pt x="15770" y="3765"/>
                      <a:pt x="15847" y="4048"/>
                      <a:pt x="15911" y="4273"/>
                    </a:cubicBezTo>
                    <a:cubicBezTo>
                      <a:pt x="15943" y="4385"/>
                      <a:pt x="15972" y="4483"/>
                      <a:pt x="15993" y="4554"/>
                    </a:cubicBezTo>
                    <a:cubicBezTo>
                      <a:pt x="16003" y="4590"/>
                      <a:pt x="16012" y="4619"/>
                      <a:pt x="16018" y="4640"/>
                    </a:cubicBezTo>
                    <a:cubicBezTo>
                      <a:pt x="16020" y="4648"/>
                      <a:pt x="16022" y="4654"/>
                      <a:pt x="16023" y="4660"/>
                    </a:cubicBezTo>
                    <a:cubicBezTo>
                      <a:pt x="16097" y="4645"/>
                      <a:pt x="16097" y="4645"/>
                      <a:pt x="16097" y="4645"/>
                    </a:cubicBezTo>
                    <a:cubicBezTo>
                      <a:pt x="16099" y="4645"/>
                      <a:pt x="16570" y="4556"/>
                      <a:pt x="16970" y="4556"/>
                    </a:cubicBezTo>
                    <a:cubicBezTo>
                      <a:pt x="17009" y="4556"/>
                      <a:pt x="17047" y="4556"/>
                      <a:pt x="17084" y="4558"/>
                    </a:cubicBezTo>
                    <a:cubicBezTo>
                      <a:pt x="17429" y="4576"/>
                      <a:pt x="17809" y="4624"/>
                      <a:pt x="18007" y="4651"/>
                    </a:cubicBezTo>
                    <a:cubicBezTo>
                      <a:pt x="18007" y="4717"/>
                      <a:pt x="18007" y="4717"/>
                      <a:pt x="18007" y="4717"/>
                    </a:cubicBezTo>
                    <a:cubicBezTo>
                      <a:pt x="17813" y="4690"/>
                      <a:pt x="17427" y="4641"/>
                      <a:pt x="17081" y="4624"/>
                    </a:cubicBezTo>
                    <a:cubicBezTo>
                      <a:pt x="17045" y="4622"/>
                      <a:pt x="17008" y="4621"/>
                      <a:pt x="16970" y="4621"/>
                    </a:cubicBezTo>
                    <a:cubicBezTo>
                      <a:pt x="16775" y="4621"/>
                      <a:pt x="16559" y="4643"/>
                      <a:pt x="16393" y="4665"/>
                    </a:cubicBezTo>
                    <a:cubicBezTo>
                      <a:pt x="16227" y="4687"/>
                      <a:pt x="16110" y="4709"/>
                      <a:pt x="16110" y="4709"/>
                    </a:cubicBezTo>
                    <a:cubicBezTo>
                      <a:pt x="16049" y="4722"/>
                      <a:pt x="16049" y="4722"/>
                      <a:pt x="16049" y="4722"/>
                    </a:cubicBezTo>
                    <a:cubicBezTo>
                      <a:pt x="16068" y="4782"/>
                      <a:pt x="16094" y="4892"/>
                      <a:pt x="16094" y="5035"/>
                    </a:cubicBezTo>
                    <a:cubicBezTo>
                      <a:pt x="16094" y="5114"/>
                      <a:pt x="16086" y="5204"/>
                      <a:pt x="16063" y="5300"/>
                    </a:cubicBezTo>
                    <a:cubicBezTo>
                      <a:pt x="15977" y="5658"/>
                      <a:pt x="15708" y="5879"/>
                      <a:pt x="15617" y="6106"/>
                    </a:cubicBezTo>
                    <a:cubicBezTo>
                      <a:pt x="15541" y="6290"/>
                      <a:pt x="15483" y="6405"/>
                      <a:pt x="15483" y="6641"/>
                    </a:cubicBezTo>
                    <a:cubicBezTo>
                      <a:pt x="15483" y="6714"/>
                      <a:pt x="15488" y="6798"/>
                      <a:pt x="15501" y="6900"/>
                    </a:cubicBezTo>
                    <a:cubicBezTo>
                      <a:pt x="15548" y="7264"/>
                      <a:pt x="15642" y="8024"/>
                      <a:pt x="15672" y="8262"/>
                    </a:cubicBezTo>
                    <a:cubicBezTo>
                      <a:pt x="15681" y="8258"/>
                      <a:pt x="15687" y="8256"/>
                      <a:pt x="15687" y="8256"/>
                    </a:cubicBezTo>
                    <a:cubicBezTo>
                      <a:pt x="15694" y="8253"/>
                      <a:pt x="15694" y="8253"/>
                      <a:pt x="15694" y="8253"/>
                    </a:cubicBezTo>
                    <a:cubicBezTo>
                      <a:pt x="17130" y="7958"/>
                      <a:pt x="17130" y="7958"/>
                      <a:pt x="17130" y="7958"/>
                    </a:cubicBezTo>
                    <a:cubicBezTo>
                      <a:pt x="17133" y="7958"/>
                      <a:pt x="17133" y="7958"/>
                      <a:pt x="17133" y="7958"/>
                    </a:cubicBezTo>
                    <a:cubicBezTo>
                      <a:pt x="17133" y="7958"/>
                      <a:pt x="17381" y="7929"/>
                      <a:pt x="17629" y="7900"/>
                    </a:cubicBezTo>
                    <a:cubicBezTo>
                      <a:pt x="17753" y="7885"/>
                      <a:pt x="17878" y="7871"/>
                      <a:pt x="17972" y="7860"/>
                    </a:cubicBezTo>
                    <a:cubicBezTo>
                      <a:pt x="17984" y="7858"/>
                      <a:pt x="17996" y="7857"/>
                      <a:pt x="18007" y="7855"/>
                    </a:cubicBezTo>
                    <a:cubicBezTo>
                      <a:pt x="18007" y="8009"/>
                      <a:pt x="18007" y="8009"/>
                      <a:pt x="18007" y="8009"/>
                    </a:cubicBezTo>
                    <a:cubicBezTo>
                      <a:pt x="17909" y="8020"/>
                      <a:pt x="17771" y="8037"/>
                      <a:pt x="17635" y="8053"/>
                    </a:cubicBezTo>
                    <a:cubicBezTo>
                      <a:pt x="17407" y="8079"/>
                      <a:pt x="17184" y="8106"/>
                      <a:pt x="17154" y="8109"/>
                    </a:cubicBezTo>
                    <a:cubicBezTo>
                      <a:pt x="15740" y="8399"/>
                      <a:pt x="15740" y="8399"/>
                      <a:pt x="15740" y="8399"/>
                    </a:cubicBezTo>
                    <a:cubicBezTo>
                      <a:pt x="15713" y="8410"/>
                      <a:pt x="15614" y="8453"/>
                      <a:pt x="15591" y="8463"/>
                    </a:cubicBezTo>
                    <a:cubicBezTo>
                      <a:pt x="15591" y="8463"/>
                      <a:pt x="15591" y="8463"/>
                      <a:pt x="15591" y="8463"/>
                    </a:cubicBezTo>
                    <a:cubicBezTo>
                      <a:pt x="15578" y="8470"/>
                      <a:pt x="15526" y="8499"/>
                      <a:pt x="15455" y="8539"/>
                    </a:cubicBezTo>
                    <a:cubicBezTo>
                      <a:pt x="15348" y="8599"/>
                      <a:pt x="15195" y="8684"/>
                      <a:pt x="15046" y="8762"/>
                    </a:cubicBezTo>
                    <a:cubicBezTo>
                      <a:pt x="14896" y="8840"/>
                      <a:pt x="14753" y="8912"/>
                      <a:pt x="14655" y="8947"/>
                    </a:cubicBezTo>
                    <a:cubicBezTo>
                      <a:pt x="14532" y="8992"/>
                      <a:pt x="14415" y="9031"/>
                      <a:pt x="14327" y="9060"/>
                    </a:cubicBezTo>
                    <a:cubicBezTo>
                      <a:pt x="14283" y="9074"/>
                      <a:pt x="14246" y="9085"/>
                      <a:pt x="14218" y="9093"/>
                    </a:cubicBezTo>
                    <a:cubicBezTo>
                      <a:pt x="14205" y="9097"/>
                      <a:pt x="14193" y="9101"/>
                      <a:pt x="14184" y="9103"/>
                    </a:cubicBezTo>
                    <a:cubicBezTo>
                      <a:pt x="14179" y="9104"/>
                      <a:pt x="14175" y="9105"/>
                      <a:pt x="14171" y="9106"/>
                    </a:cubicBezTo>
                    <a:cubicBezTo>
                      <a:pt x="14167" y="9107"/>
                      <a:pt x="14165" y="9107"/>
                      <a:pt x="14159" y="9108"/>
                    </a:cubicBezTo>
                    <a:cubicBezTo>
                      <a:pt x="14147" y="9110"/>
                      <a:pt x="14093" y="9123"/>
                      <a:pt x="14025" y="9139"/>
                    </a:cubicBezTo>
                    <a:cubicBezTo>
                      <a:pt x="13861" y="9178"/>
                      <a:pt x="13601" y="9241"/>
                      <a:pt x="13483" y="9269"/>
                    </a:cubicBezTo>
                    <a:cubicBezTo>
                      <a:pt x="13488" y="9302"/>
                      <a:pt x="13489" y="9335"/>
                      <a:pt x="13489" y="9366"/>
                    </a:cubicBezTo>
                    <a:cubicBezTo>
                      <a:pt x="13489" y="9427"/>
                      <a:pt x="13483" y="9484"/>
                      <a:pt x="13477" y="9526"/>
                    </a:cubicBezTo>
                    <a:cubicBezTo>
                      <a:pt x="13474" y="9543"/>
                      <a:pt x="13471" y="9557"/>
                      <a:pt x="13469" y="9569"/>
                    </a:cubicBezTo>
                    <a:cubicBezTo>
                      <a:pt x="13498" y="9611"/>
                      <a:pt x="13552" y="9665"/>
                      <a:pt x="13611" y="9710"/>
                    </a:cubicBezTo>
                    <a:cubicBezTo>
                      <a:pt x="13682" y="9766"/>
                      <a:pt x="13762" y="9812"/>
                      <a:pt x="13806" y="9827"/>
                    </a:cubicBezTo>
                    <a:cubicBezTo>
                      <a:pt x="13855" y="9844"/>
                      <a:pt x="13934" y="9858"/>
                      <a:pt x="14019" y="9879"/>
                    </a:cubicBezTo>
                    <a:cubicBezTo>
                      <a:pt x="14105" y="9901"/>
                      <a:pt x="14200" y="9930"/>
                      <a:pt x="14286" y="9984"/>
                    </a:cubicBezTo>
                    <a:cubicBezTo>
                      <a:pt x="14437" y="10081"/>
                      <a:pt x="14519" y="10226"/>
                      <a:pt x="14539" y="10264"/>
                    </a:cubicBezTo>
                    <a:cubicBezTo>
                      <a:pt x="14560" y="10289"/>
                      <a:pt x="14650" y="10398"/>
                      <a:pt x="14747" y="10513"/>
                    </a:cubicBezTo>
                    <a:cubicBezTo>
                      <a:pt x="14802" y="10578"/>
                      <a:pt x="14859" y="10646"/>
                      <a:pt x="14907" y="10700"/>
                    </a:cubicBezTo>
                    <a:cubicBezTo>
                      <a:pt x="14930" y="10727"/>
                      <a:pt x="14952" y="10751"/>
                      <a:pt x="14969" y="10770"/>
                    </a:cubicBezTo>
                    <a:cubicBezTo>
                      <a:pt x="14985" y="10789"/>
                      <a:pt x="14999" y="10803"/>
                      <a:pt x="15003" y="10806"/>
                    </a:cubicBezTo>
                    <a:cubicBezTo>
                      <a:pt x="15009" y="10812"/>
                      <a:pt x="15015" y="10816"/>
                      <a:pt x="15020" y="10821"/>
                    </a:cubicBezTo>
                    <a:cubicBezTo>
                      <a:pt x="14810" y="10821"/>
                      <a:pt x="14810" y="10821"/>
                      <a:pt x="14810" y="10821"/>
                    </a:cubicBezTo>
                    <a:cubicBezTo>
                      <a:pt x="14667" y="10658"/>
                      <a:pt x="14418" y="10356"/>
                      <a:pt x="14417" y="10355"/>
                    </a:cubicBezTo>
                    <a:cubicBezTo>
                      <a:pt x="14411" y="10349"/>
                      <a:pt x="14411" y="10349"/>
                      <a:pt x="14411" y="10349"/>
                    </a:cubicBezTo>
                    <a:cubicBezTo>
                      <a:pt x="14407" y="10341"/>
                      <a:pt x="14407" y="10341"/>
                      <a:pt x="14407" y="10341"/>
                    </a:cubicBezTo>
                    <a:cubicBezTo>
                      <a:pt x="14407" y="10340"/>
                      <a:pt x="14407" y="10340"/>
                      <a:pt x="14407" y="10340"/>
                    </a:cubicBezTo>
                    <a:cubicBezTo>
                      <a:pt x="14401" y="10327"/>
                      <a:pt x="14325" y="10188"/>
                      <a:pt x="14205" y="10113"/>
                    </a:cubicBezTo>
                    <a:cubicBezTo>
                      <a:pt x="14141" y="10073"/>
                      <a:pt x="14062" y="10047"/>
                      <a:pt x="13983" y="10027"/>
                    </a:cubicBezTo>
                    <a:cubicBezTo>
                      <a:pt x="13934" y="10015"/>
                      <a:pt x="13887" y="10005"/>
                      <a:pt x="13842" y="9995"/>
                    </a:cubicBezTo>
                    <a:cubicBezTo>
                      <a:pt x="12833" y="10821"/>
                      <a:pt x="12833" y="10821"/>
                      <a:pt x="12833" y="10821"/>
                    </a:cubicBezTo>
                    <a:cubicBezTo>
                      <a:pt x="12729" y="10821"/>
                      <a:pt x="12729" y="10821"/>
                      <a:pt x="12729" y="10821"/>
                    </a:cubicBezTo>
                    <a:cubicBezTo>
                      <a:pt x="13765" y="9973"/>
                      <a:pt x="13765" y="9973"/>
                      <a:pt x="13765" y="9973"/>
                    </a:cubicBezTo>
                    <a:cubicBezTo>
                      <a:pt x="13762" y="9973"/>
                      <a:pt x="13759" y="9972"/>
                      <a:pt x="13757" y="9971"/>
                    </a:cubicBezTo>
                    <a:cubicBezTo>
                      <a:pt x="13685" y="9946"/>
                      <a:pt x="13599" y="9894"/>
                      <a:pt x="13517" y="9830"/>
                    </a:cubicBezTo>
                    <a:cubicBezTo>
                      <a:pt x="13436" y="9766"/>
                      <a:pt x="13360" y="9694"/>
                      <a:pt x="13318" y="9614"/>
                    </a:cubicBezTo>
                    <a:cubicBezTo>
                      <a:pt x="13314" y="9579"/>
                      <a:pt x="13314" y="9579"/>
                      <a:pt x="13314" y="9579"/>
                    </a:cubicBezTo>
                    <a:cubicBezTo>
                      <a:pt x="13317" y="9548"/>
                      <a:pt x="13317" y="9548"/>
                      <a:pt x="13317" y="9548"/>
                    </a:cubicBezTo>
                    <a:cubicBezTo>
                      <a:pt x="13317" y="9549"/>
                      <a:pt x="13317" y="9549"/>
                      <a:pt x="13317" y="9549"/>
                    </a:cubicBezTo>
                    <a:cubicBezTo>
                      <a:pt x="13317" y="9549"/>
                      <a:pt x="13317" y="9549"/>
                      <a:pt x="13317" y="9549"/>
                    </a:cubicBezTo>
                    <a:cubicBezTo>
                      <a:pt x="13318" y="9544"/>
                      <a:pt x="13324" y="9517"/>
                      <a:pt x="13329" y="9484"/>
                    </a:cubicBezTo>
                    <a:cubicBezTo>
                      <a:pt x="13333" y="9450"/>
                      <a:pt x="13337" y="9409"/>
                      <a:pt x="13337" y="9366"/>
                    </a:cubicBezTo>
                    <a:cubicBezTo>
                      <a:pt x="13337" y="9316"/>
                      <a:pt x="13332" y="9265"/>
                      <a:pt x="13319" y="9228"/>
                    </a:cubicBezTo>
                    <a:cubicBezTo>
                      <a:pt x="13300" y="9170"/>
                      <a:pt x="13263" y="9119"/>
                      <a:pt x="13193" y="9071"/>
                    </a:cubicBezTo>
                    <a:cubicBezTo>
                      <a:pt x="13124" y="9023"/>
                      <a:pt x="13021" y="8980"/>
                      <a:pt x="12879" y="8947"/>
                    </a:cubicBezTo>
                    <a:cubicBezTo>
                      <a:pt x="12593" y="8878"/>
                      <a:pt x="12335" y="8869"/>
                      <a:pt x="12126" y="8859"/>
                    </a:cubicBezTo>
                    <a:cubicBezTo>
                      <a:pt x="12020" y="8855"/>
                      <a:pt x="11792" y="8840"/>
                      <a:pt x="11588" y="8827"/>
                    </a:cubicBezTo>
                    <a:cubicBezTo>
                      <a:pt x="11487" y="8820"/>
                      <a:pt x="11392" y="8814"/>
                      <a:pt x="11322" y="8809"/>
                    </a:cubicBezTo>
                    <a:cubicBezTo>
                      <a:pt x="11290" y="8807"/>
                      <a:pt x="11263" y="8805"/>
                      <a:pt x="11244" y="8804"/>
                    </a:cubicBezTo>
                    <a:cubicBezTo>
                      <a:pt x="11238" y="8893"/>
                      <a:pt x="11213" y="9082"/>
                      <a:pt x="11094" y="9209"/>
                    </a:cubicBezTo>
                    <a:cubicBezTo>
                      <a:pt x="10985" y="9325"/>
                      <a:pt x="10809" y="9484"/>
                      <a:pt x="10723" y="9562"/>
                    </a:cubicBezTo>
                    <a:cubicBezTo>
                      <a:pt x="10795" y="9610"/>
                      <a:pt x="10941" y="9707"/>
                      <a:pt x="11084" y="9800"/>
                    </a:cubicBezTo>
                    <a:cubicBezTo>
                      <a:pt x="11286" y="9932"/>
                      <a:pt x="11409" y="10039"/>
                      <a:pt x="11410" y="10039"/>
                    </a:cubicBezTo>
                    <a:cubicBezTo>
                      <a:pt x="11412" y="10041"/>
                      <a:pt x="11412" y="10041"/>
                      <a:pt x="11412" y="10041"/>
                    </a:cubicBezTo>
                    <a:cubicBezTo>
                      <a:pt x="11687" y="10387"/>
                      <a:pt x="11687" y="10387"/>
                      <a:pt x="11687" y="10387"/>
                    </a:cubicBezTo>
                    <a:cubicBezTo>
                      <a:pt x="11702" y="10377"/>
                      <a:pt x="11730" y="10357"/>
                      <a:pt x="11775" y="10317"/>
                    </a:cubicBezTo>
                    <a:cubicBezTo>
                      <a:pt x="11821" y="10276"/>
                      <a:pt x="11871" y="10263"/>
                      <a:pt x="11911" y="10263"/>
                    </a:cubicBezTo>
                    <a:cubicBezTo>
                      <a:pt x="11968" y="10263"/>
                      <a:pt x="12007" y="10288"/>
                      <a:pt x="12010" y="10289"/>
                    </a:cubicBezTo>
                    <a:cubicBezTo>
                      <a:pt x="12012" y="10291"/>
                      <a:pt x="12012" y="10291"/>
                      <a:pt x="12012" y="10291"/>
                    </a:cubicBezTo>
                    <a:cubicBezTo>
                      <a:pt x="12641" y="10821"/>
                      <a:pt x="12641" y="10821"/>
                      <a:pt x="12641" y="10821"/>
                    </a:cubicBezTo>
                    <a:cubicBezTo>
                      <a:pt x="12539" y="10821"/>
                      <a:pt x="12539" y="10821"/>
                      <a:pt x="12539" y="10821"/>
                    </a:cubicBezTo>
                    <a:cubicBezTo>
                      <a:pt x="11974" y="10344"/>
                      <a:pt x="11974" y="10344"/>
                      <a:pt x="11974" y="10344"/>
                    </a:cubicBezTo>
                    <a:cubicBezTo>
                      <a:pt x="11967" y="10340"/>
                      <a:pt x="11942" y="10329"/>
                      <a:pt x="11911" y="10329"/>
                    </a:cubicBezTo>
                    <a:cubicBezTo>
                      <a:pt x="11884" y="10329"/>
                      <a:pt x="11853" y="10336"/>
                      <a:pt x="11818" y="10366"/>
                    </a:cubicBezTo>
                    <a:cubicBezTo>
                      <a:pt x="11774" y="10405"/>
                      <a:pt x="11747" y="10426"/>
                      <a:pt x="11728" y="10439"/>
                    </a:cubicBezTo>
                    <a:cubicBezTo>
                      <a:pt x="12032" y="10821"/>
                      <a:pt x="12032" y="10821"/>
                      <a:pt x="12032" y="10821"/>
                    </a:cubicBezTo>
                    <a:cubicBezTo>
                      <a:pt x="11948" y="10821"/>
                      <a:pt x="11948" y="10821"/>
                      <a:pt x="11948" y="10821"/>
                    </a:cubicBezTo>
                    <a:cubicBezTo>
                      <a:pt x="11365" y="10087"/>
                      <a:pt x="11365" y="10087"/>
                      <a:pt x="11365" y="10087"/>
                    </a:cubicBezTo>
                    <a:cubicBezTo>
                      <a:pt x="11357" y="10080"/>
                      <a:pt x="11328" y="10056"/>
                      <a:pt x="11282" y="10021"/>
                    </a:cubicBezTo>
                    <a:cubicBezTo>
                      <a:pt x="11227" y="9978"/>
                      <a:pt x="11147" y="9920"/>
                      <a:pt x="11048" y="9855"/>
                    </a:cubicBezTo>
                    <a:cubicBezTo>
                      <a:pt x="10897" y="9756"/>
                      <a:pt x="10741" y="9653"/>
                      <a:pt x="10674" y="9608"/>
                    </a:cubicBezTo>
                    <a:cubicBezTo>
                      <a:pt x="10102" y="10821"/>
                      <a:pt x="10102" y="10821"/>
                      <a:pt x="10102" y="10821"/>
                    </a:cubicBezTo>
                    <a:cubicBezTo>
                      <a:pt x="10029" y="10821"/>
                      <a:pt x="10029" y="10821"/>
                      <a:pt x="10029" y="10821"/>
                    </a:cubicBezTo>
                    <a:cubicBezTo>
                      <a:pt x="10617" y="9575"/>
                      <a:pt x="10617" y="9575"/>
                      <a:pt x="10617" y="9575"/>
                    </a:cubicBezTo>
                    <a:cubicBezTo>
                      <a:pt x="10576" y="9556"/>
                      <a:pt x="10490" y="9516"/>
                      <a:pt x="10393" y="9471"/>
                    </a:cubicBezTo>
                    <a:cubicBezTo>
                      <a:pt x="10258" y="9408"/>
                      <a:pt x="10102" y="9337"/>
                      <a:pt x="10021" y="9303"/>
                    </a:cubicBezTo>
                    <a:cubicBezTo>
                      <a:pt x="9864" y="9236"/>
                      <a:pt x="9482" y="9029"/>
                      <a:pt x="9306" y="8934"/>
                    </a:cubicBezTo>
                    <a:cubicBezTo>
                      <a:pt x="8386" y="10821"/>
                      <a:pt x="8386" y="10821"/>
                      <a:pt x="8386" y="10821"/>
                    </a:cubicBezTo>
                    <a:cubicBezTo>
                      <a:pt x="8313" y="10821"/>
                      <a:pt x="8313" y="10821"/>
                      <a:pt x="8313" y="10821"/>
                    </a:cubicBezTo>
                    <a:cubicBezTo>
                      <a:pt x="8548" y="10339"/>
                      <a:pt x="8548" y="10339"/>
                      <a:pt x="8548" y="10339"/>
                    </a:cubicBezTo>
                    <a:cubicBezTo>
                      <a:pt x="8547" y="10339"/>
                      <a:pt x="8547" y="10338"/>
                      <a:pt x="8546" y="10338"/>
                    </a:cubicBezTo>
                    <a:cubicBezTo>
                      <a:pt x="8410" y="10250"/>
                      <a:pt x="7983" y="9964"/>
                      <a:pt x="7879" y="9894"/>
                    </a:cubicBezTo>
                    <a:cubicBezTo>
                      <a:pt x="7875" y="9906"/>
                      <a:pt x="7870" y="9922"/>
                      <a:pt x="7864" y="9940"/>
                    </a:cubicBezTo>
                    <a:cubicBezTo>
                      <a:pt x="7822" y="10076"/>
                      <a:pt x="7735" y="10378"/>
                      <a:pt x="7659" y="10646"/>
                    </a:cubicBezTo>
                    <a:cubicBezTo>
                      <a:pt x="7642" y="10707"/>
                      <a:pt x="7625" y="10766"/>
                      <a:pt x="7610" y="10821"/>
                    </a:cubicBezTo>
                    <a:cubicBezTo>
                      <a:pt x="7563" y="10821"/>
                      <a:pt x="7563" y="10821"/>
                      <a:pt x="7563" y="10821"/>
                    </a:cubicBezTo>
                    <a:cubicBezTo>
                      <a:pt x="7580" y="10760"/>
                      <a:pt x="7599" y="10694"/>
                      <a:pt x="7618" y="10625"/>
                    </a:cubicBezTo>
                    <a:cubicBezTo>
                      <a:pt x="7612" y="10623"/>
                      <a:pt x="7604" y="10620"/>
                      <a:pt x="7595" y="10616"/>
                    </a:cubicBezTo>
                    <a:cubicBezTo>
                      <a:pt x="7544" y="10595"/>
                      <a:pt x="7452" y="10554"/>
                      <a:pt x="7348" y="10509"/>
                    </a:cubicBezTo>
                    <a:cubicBezTo>
                      <a:pt x="7299" y="10821"/>
                      <a:pt x="7299" y="10821"/>
                      <a:pt x="7299" y="10821"/>
                    </a:cubicBezTo>
                    <a:cubicBezTo>
                      <a:pt x="7285" y="10821"/>
                      <a:pt x="7285" y="10821"/>
                      <a:pt x="7285" y="10821"/>
                    </a:cubicBezTo>
                    <a:cubicBezTo>
                      <a:pt x="7335" y="10503"/>
                      <a:pt x="7335" y="10503"/>
                      <a:pt x="7335" y="10503"/>
                    </a:cubicBezTo>
                    <a:cubicBezTo>
                      <a:pt x="7249" y="10465"/>
                      <a:pt x="7157" y="10423"/>
                      <a:pt x="7073" y="10385"/>
                    </a:cubicBezTo>
                    <a:cubicBezTo>
                      <a:pt x="6991" y="10821"/>
                      <a:pt x="6991" y="10821"/>
                      <a:pt x="6991" y="10821"/>
                    </a:cubicBezTo>
                    <a:cubicBezTo>
                      <a:pt x="6977" y="10821"/>
                      <a:pt x="6977" y="10821"/>
                      <a:pt x="6977" y="10821"/>
                    </a:cubicBezTo>
                    <a:cubicBezTo>
                      <a:pt x="7059" y="10381"/>
                      <a:pt x="7059" y="10381"/>
                      <a:pt x="7059" y="10381"/>
                    </a:cubicBezTo>
                    <a:cubicBezTo>
                      <a:pt x="7064" y="10382"/>
                      <a:pt x="7064" y="10382"/>
                      <a:pt x="7064" y="10382"/>
                    </a:cubicBezTo>
                    <a:cubicBezTo>
                      <a:pt x="6959" y="10335"/>
                      <a:pt x="6869" y="10294"/>
                      <a:pt x="6826" y="10274"/>
                    </a:cubicBezTo>
                    <a:cubicBezTo>
                      <a:pt x="6767" y="10821"/>
                      <a:pt x="6767" y="10821"/>
                      <a:pt x="6767" y="10821"/>
                    </a:cubicBezTo>
                    <a:cubicBezTo>
                      <a:pt x="6701" y="10821"/>
                      <a:pt x="6701" y="10821"/>
                      <a:pt x="6701" y="10821"/>
                    </a:cubicBezTo>
                    <a:cubicBezTo>
                      <a:pt x="6731" y="10539"/>
                      <a:pt x="6731" y="10539"/>
                      <a:pt x="6731" y="10539"/>
                    </a:cubicBezTo>
                    <a:cubicBezTo>
                      <a:pt x="6683" y="10536"/>
                      <a:pt x="6575" y="10528"/>
                      <a:pt x="6468" y="10520"/>
                    </a:cubicBezTo>
                    <a:cubicBezTo>
                      <a:pt x="6452" y="10624"/>
                      <a:pt x="6452" y="10624"/>
                      <a:pt x="6452" y="10624"/>
                    </a:cubicBezTo>
                    <a:cubicBezTo>
                      <a:pt x="6507" y="10581"/>
                      <a:pt x="6507" y="10581"/>
                      <a:pt x="6507" y="10581"/>
                    </a:cubicBezTo>
                    <a:cubicBezTo>
                      <a:pt x="6624" y="10715"/>
                      <a:pt x="6624" y="10715"/>
                      <a:pt x="6624" y="10715"/>
                    </a:cubicBezTo>
                    <a:cubicBezTo>
                      <a:pt x="6493" y="10821"/>
                      <a:pt x="6493" y="10821"/>
                      <a:pt x="6493" y="10821"/>
                    </a:cubicBezTo>
                    <a:cubicBezTo>
                      <a:pt x="6492" y="10821"/>
                      <a:pt x="6492" y="10821"/>
                      <a:pt x="6492" y="10821"/>
                    </a:cubicBezTo>
                    <a:cubicBezTo>
                      <a:pt x="6433" y="10752"/>
                      <a:pt x="6433" y="10752"/>
                      <a:pt x="6433" y="10752"/>
                    </a:cubicBezTo>
                    <a:cubicBezTo>
                      <a:pt x="6422" y="10821"/>
                      <a:pt x="6422" y="10821"/>
                      <a:pt x="6422" y="10821"/>
                    </a:cubicBezTo>
                    <a:cubicBezTo>
                      <a:pt x="6408" y="10821"/>
                      <a:pt x="6408" y="10821"/>
                      <a:pt x="6408" y="10821"/>
                    </a:cubicBezTo>
                    <a:cubicBezTo>
                      <a:pt x="6419" y="10747"/>
                      <a:pt x="6419" y="10747"/>
                      <a:pt x="6419" y="10747"/>
                    </a:cubicBezTo>
                    <a:cubicBezTo>
                      <a:pt x="6350" y="10808"/>
                      <a:pt x="6350" y="10808"/>
                      <a:pt x="6350" y="10808"/>
                    </a:cubicBezTo>
                    <a:cubicBezTo>
                      <a:pt x="6240" y="10682"/>
                      <a:pt x="6240" y="10682"/>
                      <a:pt x="6240" y="10682"/>
                    </a:cubicBezTo>
                    <a:cubicBezTo>
                      <a:pt x="6366" y="10572"/>
                      <a:pt x="6366" y="10572"/>
                      <a:pt x="6366" y="10572"/>
                    </a:cubicBezTo>
                    <a:cubicBezTo>
                      <a:pt x="6428" y="10643"/>
                      <a:pt x="6428" y="10643"/>
                      <a:pt x="6428" y="10643"/>
                    </a:cubicBezTo>
                    <a:cubicBezTo>
                      <a:pt x="6436" y="10636"/>
                      <a:pt x="6436" y="10636"/>
                      <a:pt x="6436" y="10636"/>
                    </a:cubicBezTo>
                    <a:cubicBezTo>
                      <a:pt x="6454" y="10519"/>
                      <a:pt x="6454" y="10519"/>
                      <a:pt x="6454" y="10519"/>
                    </a:cubicBezTo>
                    <a:cubicBezTo>
                      <a:pt x="6354" y="10511"/>
                      <a:pt x="6256" y="10503"/>
                      <a:pt x="6210" y="10499"/>
                    </a:cubicBezTo>
                    <a:cubicBezTo>
                      <a:pt x="6147" y="10821"/>
                      <a:pt x="6147" y="10821"/>
                      <a:pt x="6147" y="10821"/>
                    </a:cubicBezTo>
                    <a:cubicBezTo>
                      <a:pt x="6080" y="10821"/>
                      <a:pt x="6080" y="10821"/>
                      <a:pt x="6080" y="10821"/>
                    </a:cubicBezTo>
                    <a:cubicBezTo>
                      <a:pt x="6232" y="10040"/>
                      <a:pt x="6232" y="10040"/>
                      <a:pt x="6232" y="10040"/>
                    </a:cubicBezTo>
                    <a:cubicBezTo>
                      <a:pt x="6211" y="10041"/>
                      <a:pt x="6175" y="10042"/>
                      <a:pt x="6127" y="10044"/>
                    </a:cubicBezTo>
                    <a:cubicBezTo>
                      <a:pt x="6095" y="10045"/>
                      <a:pt x="6058" y="10047"/>
                      <a:pt x="6017" y="10049"/>
                    </a:cubicBezTo>
                    <a:cubicBezTo>
                      <a:pt x="5958" y="10821"/>
                      <a:pt x="5958" y="10821"/>
                      <a:pt x="5958" y="10821"/>
                    </a:cubicBezTo>
                    <a:cubicBezTo>
                      <a:pt x="5893" y="10821"/>
                      <a:pt x="5893" y="10821"/>
                      <a:pt x="5893" y="10821"/>
                    </a:cubicBezTo>
                    <a:cubicBezTo>
                      <a:pt x="5910" y="10590"/>
                      <a:pt x="5910" y="10590"/>
                      <a:pt x="5910" y="10590"/>
                    </a:cubicBezTo>
                    <a:cubicBezTo>
                      <a:pt x="5901" y="10590"/>
                      <a:pt x="5888" y="10590"/>
                      <a:pt x="5873" y="10590"/>
                    </a:cubicBezTo>
                    <a:cubicBezTo>
                      <a:pt x="5738" y="10590"/>
                      <a:pt x="5412" y="10592"/>
                      <a:pt x="5396" y="10593"/>
                    </a:cubicBezTo>
                    <a:cubicBezTo>
                      <a:pt x="5053" y="10661"/>
                      <a:pt x="5053" y="10661"/>
                      <a:pt x="5053" y="10661"/>
                    </a:cubicBezTo>
                    <a:cubicBezTo>
                      <a:pt x="5058" y="10705"/>
                      <a:pt x="5064" y="10750"/>
                      <a:pt x="5069" y="10795"/>
                    </a:cubicBezTo>
                    <a:cubicBezTo>
                      <a:pt x="5070" y="10804"/>
                      <a:pt x="5071" y="10813"/>
                      <a:pt x="5072" y="10821"/>
                    </a:cubicBezTo>
                    <a:cubicBezTo>
                      <a:pt x="5006" y="10821"/>
                      <a:pt x="5006" y="10821"/>
                      <a:pt x="5006" y="10821"/>
                    </a:cubicBezTo>
                    <a:cubicBezTo>
                      <a:pt x="5005" y="10815"/>
                      <a:pt x="5005" y="10809"/>
                      <a:pt x="5004" y="10803"/>
                    </a:cubicBezTo>
                    <a:cubicBezTo>
                      <a:pt x="4996" y="10735"/>
                      <a:pt x="4988" y="10668"/>
                      <a:pt x="4981" y="10604"/>
                    </a:cubicBezTo>
                    <a:cubicBezTo>
                      <a:pt x="4951" y="10607"/>
                      <a:pt x="4890" y="10612"/>
                      <a:pt x="4817" y="10619"/>
                    </a:cubicBezTo>
                    <a:cubicBezTo>
                      <a:pt x="4852" y="10821"/>
                      <a:pt x="4852" y="10821"/>
                      <a:pt x="4852" y="10821"/>
                    </a:cubicBezTo>
                    <a:cubicBezTo>
                      <a:pt x="4838" y="10821"/>
                      <a:pt x="4838" y="10821"/>
                      <a:pt x="4838" y="10821"/>
                    </a:cubicBezTo>
                    <a:cubicBezTo>
                      <a:pt x="4803" y="10620"/>
                      <a:pt x="4803" y="10620"/>
                      <a:pt x="4803" y="10620"/>
                    </a:cubicBezTo>
                    <a:cubicBezTo>
                      <a:pt x="4758" y="10624"/>
                      <a:pt x="4709" y="10628"/>
                      <a:pt x="4660" y="10633"/>
                    </a:cubicBezTo>
                    <a:cubicBezTo>
                      <a:pt x="4633" y="10635"/>
                      <a:pt x="4606" y="10638"/>
                      <a:pt x="4580" y="10640"/>
                    </a:cubicBezTo>
                    <a:cubicBezTo>
                      <a:pt x="4641" y="10821"/>
                      <a:pt x="4641" y="10821"/>
                      <a:pt x="4641" y="10821"/>
                    </a:cubicBezTo>
                    <a:cubicBezTo>
                      <a:pt x="4626" y="10821"/>
                      <a:pt x="4626" y="10821"/>
                      <a:pt x="4626" y="10821"/>
                    </a:cubicBezTo>
                    <a:cubicBezTo>
                      <a:pt x="4566" y="10641"/>
                      <a:pt x="4566" y="10641"/>
                      <a:pt x="4566" y="10641"/>
                    </a:cubicBezTo>
                    <a:cubicBezTo>
                      <a:pt x="4514" y="10646"/>
                      <a:pt x="4465" y="10650"/>
                      <a:pt x="4425" y="10654"/>
                    </a:cubicBezTo>
                    <a:cubicBezTo>
                      <a:pt x="4393" y="10657"/>
                      <a:pt x="4366" y="10659"/>
                      <a:pt x="4347" y="10661"/>
                    </a:cubicBezTo>
                    <a:cubicBezTo>
                      <a:pt x="4337" y="10662"/>
                      <a:pt x="4329" y="10663"/>
                      <a:pt x="4324" y="10663"/>
                    </a:cubicBezTo>
                    <a:cubicBezTo>
                      <a:pt x="4321" y="10663"/>
                      <a:pt x="4319" y="10664"/>
                      <a:pt x="4318" y="10664"/>
                    </a:cubicBezTo>
                    <a:cubicBezTo>
                      <a:pt x="4317" y="10664"/>
                      <a:pt x="4317" y="10664"/>
                      <a:pt x="4316" y="10664"/>
                    </a:cubicBezTo>
                    <a:cubicBezTo>
                      <a:pt x="4316" y="10664"/>
                      <a:pt x="4316" y="10664"/>
                      <a:pt x="4316" y="10664"/>
                    </a:cubicBezTo>
                    <a:cubicBezTo>
                      <a:pt x="4309" y="10667"/>
                      <a:pt x="4254" y="10690"/>
                      <a:pt x="4240" y="10695"/>
                    </a:cubicBezTo>
                    <a:cubicBezTo>
                      <a:pt x="4196" y="10821"/>
                      <a:pt x="4196" y="10821"/>
                      <a:pt x="4196" y="10821"/>
                    </a:cubicBezTo>
                    <a:cubicBezTo>
                      <a:pt x="4181" y="10821"/>
                      <a:pt x="4181" y="10821"/>
                      <a:pt x="4181" y="10821"/>
                    </a:cubicBezTo>
                    <a:cubicBezTo>
                      <a:pt x="4229" y="10685"/>
                      <a:pt x="4229" y="10685"/>
                      <a:pt x="4229" y="10685"/>
                    </a:cubicBezTo>
                    <a:cubicBezTo>
                      <a:pt x="4232" y="10684"/>
                      <a:pt x="4232" y="10684"/>
                      <a:pt x="4232" y="10684"/>
                    </a:cubicBezTo>
                    <a:cubicBezTo>
                      <a:pt x="4232" y="10684"/>
                      <a:pt x="4238" y="10681"/>
                      <a:pt x="4246" y="10678"/>
                    </a:cubicBezTo>
                    <a:cubicBezTo>
                      <a:pt x="4245" y="10675"/>
                      <a:pt x="4217" y="10603"/>
                      <a:pt x="4189" y="10530"/>
                    </a:cubicBezTo>
                    <a:cubicBezTo>
                      <a:pt x="4175" y="10492"/>
                      <a:pt x="4160" y="10454"/>
                      <a:pt x="4150" y="10425"/>
                    </a:cubicBezTo>
                    <a:cubicBezTo>
                      <a:pt x="4145" y="10411"/>
                      <a:pt x="4140" y="10400"/>
                      <a:pt x="4137" y="10392"/>
                    </a:cubicBezTo>
                    <a:cubicBezTo>
                      <a:pt x="4012" y="10428"/>
                      <a:pt x="3888" y="10466"/>
                      <a:pt x="3775" y="10501"/>
                    </a:cubicBezTo>
                    <a:cubicBezTo>
                      <a:pt x="3609" y="10552"/>
                      <a:pt x="3463" y="10599"/>
                      <a:pt x="3359" y="10633"/>
                    </a:cubicBezTo>
                    <a:cubicBezTo>
                      <a:pt x="3307" y="10650"/>
                      <a:pt x="3266" y="10664"/>
                      <a:pt x="3237" y="10674"/>
                    </a:cubicBezTo>
                    <a:cubicBezTo>
                      <a:pt x="3235" y="10675"/>
                      <a:pt x="3233" y="10676"/>
                      <a:pt x="3231" y="10676"/>
                    </a:cubicBezTo>
                    <a:cubicBezTo>
                      <a:pt x="3340" y="10821"/>
                      <a:pt x="3340" y="10821"/>
                      <a:pt x="3340" y="10821"/>
                    </a:cubicBezTo>
                    <a:cubicBezTo>
                      <a:pt x="3258" y="10821"/>
                      <a:pt x="3258" y="10821"/>
                      <a:pt x="3258" y="10821"/>
                    </a:cubicBezTo>
                    <a:cubicBezTo>
                      <a:pt x="3168" y="10702"/>
                      <a:pt x="3168" y="10702"/>
                      <a:pt x="3168" y="10702"/>
                    </a:cubicBezTo>
                    <a:cubicBezTo>
                      <a:pt x="3144" y="10711"/>
                      <a:pt x="3108" y="10725"/>
                      <a:pt x="3065" y="10745"/>
                    </a:cubicBezTo>
                    <a:cubicBezTo>
                      <a:pt x="3022" y="10764"/>
                      <a:pt x="2983" y="10790"/>
                      <a:pt x="2945" y="10821"/>
                    </a:cubicBezTo>
                    <a:cubicBezTo>
                      <a:pt x="2653" y="10821"/>
                      <a:pt x="2653" y="10821"/>
                      <a:pt x="2653" y="10821"/>
                    </a:cubicBezTo>
                    <a:cubicBezTo>
                      <a:pt x="2596" y="10813"/>
                      <a:pt x="2529" y="10806"/>
                      <a:pt x="2455" y="10802"/>
                    </a:cubicBezTo>
                    <a:cubicBezTo>
                      <a:pt x="2359" y="10796"/>
                      <a:pt x="2277" y="10793"/>
                      <a:pt x="2207" y="10793"/>
                    </a:cubicBezTo>
                    <a:cubicBezTo>
                      <a:pt x="2118" y="10793"/>
                      <a:pt x="2049" y="10798"/>
                      <a:pt x="1995" y="10808"/>
                    </a:cubicBezTo>
                    <a:cubicBezTo>
                      <a:pt x="2000" y="10821"/>
                      <a:pt x="2000" y="10821"/>
                      <a:pt x="2000" y="10821"/>
                    </a:cubicBezTo>
                    <a:cubicBezTo>
                      <a:pt x="1982" y="10821"/>
                      <a:pt x="1982" y="10821"/>
                      <a:pt x="1982" y="10821"/>
                    </a:cubicBezTo>
                    <a:cubicBezTo>
                      <a:pt x="1979" y="10811"/>
                      <a:pt x="1979" y="10811"/>
                      <a:pt x="1979" y="10811"/>
                    </a:cubicBezTo>
                    <a:cubicBezTo>
                      <a:pt x="1977" y="10812"/>
                      <a:pt x="1975" y="10812"/>
                      <a:pt x="1974" y="10812"/>
                    </a:cubicBezTo>
                    <a:cubicBezTo>
                      <a:pt x="1964" y="10815"/>
                      <a:pt x="1952" y="10818"/>
                      <a:pt x="1940" y="10821"/>
                    </a:cubicBezTo>
                    <a:cubicBezTo>
                      <a:pt x="1729" y="10821"/>
                      <a:pt x="1729" y="10821"/>
                      <a:pt x="1729" y="10821"/>
                    </a:cubicBezTo>
                    <a:cubicBezTo>
                      <a:pt x="1814" y="10789"/>
                      <a:pt x="1903" y="10758"/>
                      <a:pt x="1959" y="10745"/>
                    </a:cubicBezTo>
                    <a:cubicBezTo>
                      <a:pt x="2019" y="10732"/>
                      <a:pt x="2093" y="10726"/>
                      <a:pt x="2186" y="10725"/>
                    </a:cubicBezTo>
                    <a:cubicBezTo>
                      <a:pt x="2185" y="10724"/>
                      <a:pt x="2185" y="10724"/>
                      <a:pt x="2185" y="10724"/>
                    </a:cubicBezTo>
                    <a:cubicBezTo>
                      <a:pt x="2212" y="10590"/>
                      <a:pt x="2212" y="10590"/>
                      <a:pt x="2212" y="10590"/>
                    </a:cubicBezTo>
                    <a:cubicBezTo>
                      <a:pt x="2198" y="10571"/>
                      <a:pt x="2188" y="10547"/>
                      <a:pt x="2183" y="10515"/>
                    </a:cubicBezTo>
                    <a:cubicBezTo>
                      <a:pt x="2162" y="10503"/>
                      <a:pt x="2141" y="10497"/>
                      <a:pt x="2121" y="10495"/>
                    </a:cubicBezTo>
                    <a:cubicBezTo>
                      <a:pt x="2122" y="10496"/>
                      <a:pt x="2124" y="10495"/>
                      <a:pt x="2124" y="10496"/>
                    </a:cubicBezTo>
                    <a:cubicBezTo>
                      <a:pt x="2155" y="10509"/>
                      <a:pt x="2174" y="10535"/>
                      <a:pt x="2174" y="10558"/>
                    </a:cubicBezTo>
                    <a:cubicBezTo>
                      <a:pt x="2174" y="10562"/>
                      <a:pt x="2173" y="10567"/>
                      <a:pt x="2172" y="10571"/>
                    </a:cubicBezTo>
                    <a:cubicBezTo>
                      <a:pt x="2168" y="10581"/>
                      <a:pt x="2157" y="10584"/>
                      <a:pt x="2146" y="10584"/>
                    </a:cubicBezTo>
                    <a:cubicBezTo>
                      <a:pt x="2127" y="10584"/>
                      <a:pt x="2101" y="10577"/>
                      <a:pt x="2071" y="10577"/>
                    </a:cubicBezTo>
                    <a:cubicBezTo>
                      <a:pt x="2025" y="10577"/>
                      <a:pt x="2011" y="10614"/>
                      <a:pt x="1987" y="10656"/>
                    </a:cubicBezTo>
                    <a:cubicBezTo>
                      <a:pt x="1963" y="10699"/>
                      <a:pt x="1929" y="10700"/>
                      <a:pt x="1893" y="10714"/>
                    </a:cubicBezTo>
                    <a:cubicBezTo>
                      <a:pt x="1857" y="10727"/>
                      <a:pt x="1798" y="10751"/>
                      <a:pt x="1757" y="10776"/>
                    </a:cubicBezTo>
                    <a:cubicBezTo>
                      <a:pt x="1727" y="10795"/>
                      <a:pt x="1691" y="10804"/>
                      <a:pt x="1671" y="10804"/>
                    </a:cubicBezTo>
                    <a:cubicBezTo>
                      <a:pt x="1663" y="10804"/>
                      <a:pt x="1657" y="10804"/>
                      <a:pt x="1654" y="10797"/>
                    </a:cubicBezTo>
                    <a:cubicBezTo>
                      <a:pt x="1654" y="10796"/>
                      <a:pt x="1654" y="10796"/>
                      <a:pt x="1654" y="10796"/>
                    </a:cubicBezTo>
                    <a:cubicBezTo>
                      <a:pt x="1654" y="10796"/>
                      <a:pt x="1654" y="10796"/>
                      <a:pt x="1654" y="10796"/>
                    </a:cubicBezTo>
                    <a:cubicBezTo>
                      <a:pt x="1654" y="10795"/>
                      <a:pt x="1654" y="10795"/>
                      <a:pt x="1654" y="10795"/>
                    </a:cubicBezTo>
                    <a:cubicBezTo>
                      <a:pt x="1654" y="10795"/>
                      <a:pt x="1654" y="10795"/>
                      <a:pt x="1654" y="10795"/>
                    </a:cubicBezTo>
                    <a:cubicBezTo>
                      <a:pt x="1656" y="10788"/>
                      <a:pt x="1662" y="10785"/>
                      <a:pt x="1671" y="10777"/>
                    </a:cubicBezTo>
                    <a:cubicBezTo>
                      <a:pt x="1701" y="10756"/>
                      <a:pt x="1763" y="10720"/>
                      <a:pt x="1801" y="10705"/>
                    </a:cubicBezTo>
                    <a:cubicBezTo>
                      <a:pt x="1851" y="10685"/>
                      <a:pt x="1911" y="10644"/>
                      <a:pt x="1971" y="10576"/>
                    </a:cubicBezTo>
                    <a:cubicBezTo>
                      <a:pt x="2007" y="10534"/>
                      <a:pt x="2045" y="10510"/>
                      <a:pt x="2075" y="10499"/>
                    </a:cubicBezTo>
                    <a:cubicBezTo>
                      <a:pt x="2015" y="10514"/>
                      <a:pt x="1962" y="10563"/>
                      <a:pt x="1936" y="10590"/>
                    </a:cubicBezTo>
                    <a:cubicBezTo>
                      <a:pt x="1892" y="10635"/>
                      <a:pt x="1811" y="10697"/>
                      <a:pt x="1760" y="10721"/>
                    </a:cubicBezTo>
                    <a:cubicBezTo>
                      <a:pt x="1732" y="10733"/>
                      <a:pt x="1676" y="10740"/>
                      <a:pt x="1619" y="10749"/>
                    </a:cubicBezTo>
                    <a:cubicBezTo>
                      <a:pt x="1561" y="10758"/>
                      <a:pt x="1503" y="10769"/>
                      <a:pt x="1479" y="10783"/>
                    </a:cubicBezTo>
                    <a:cubicBezTo>
                      <a:pt x="1463" y="10792"/>
                      <a:pt x="1435" y="10805"/>
                      <a:pt x="1402" y="10820"/>
                    </a:cubicBezTo>
                    <a:cubicBezTo>
                      <a:pt x="1403" y="10821"/>
                      <a:pt x="1403" y="10821"/>
                      <a:pt x="1403" y="10821"/>
                    </a:cubicBezTo>
                    <a:cubicBezTo>
                      <a:pt x="1310" y="10821"/>
                      <a:pt x="1310" y="10821"/>
                      <a:pt x="1310" y="10821"/>
                    </a:cubicBezTo>
                    <a:cubicBezTo>
                      <a:pt x="1289" y="10798"/>
                      <a:pt x="1270" y="10776"/>
                      <a:pt x="1256" y="10759"/>
                    </a:cubicBezTo>
                    <a:cubicBezTo>
                      <a:pt x="1199" y="10693"/>
                      <a:pt x="1176" y="10650"/>
                      <a:pt x="1148" y="10602"/>
                    </a:cubicBezTo>
                    <a:cubicBezTo>
                      <a:pt x="1119" y="10553"/>
                      <a:pt x="855" y="10085"/>
                      <a:pt x="851" y="10080"/>
                    </a:cubicBezTo>
                    <a:cubicBezTo>
                      <a:pt x="911" y="10046"/>
                      <a:pt x="911" y="10046"/>
                      <a:pt x="911" y="10046"/>
                    </a:cubicBezTo>
                    <a:cubicBezTo>
                      <a:pt x="914" y="10051"/>
                      <a:pt x="914" y="10051"/>
                      <a:pt x="914" y="10051"/>
                    </a:cubicBezTo>
                    <a:cubicBezTo>
                      <a:pt x="915" y="10051"/>
                      <a:pt x="981" y="10168"/>
                      <a:pt x="1050" y="10291"/>
                    </a:cubicBezTo>
                    <a:cubicBezTo>
                      <a:pt x="1120" y="10414"/>
                      <a:pt x="1194" y="10544"/>
                      <a:pt x="1208" y="10568"/>
                    </a:cubicBezTo>
                    <a:cubicBezTo>
                      <a:pt x="1222" y="10593"/>
                      <a:pt x="1234" y="10614"/>
                      <a:pt x="1250" y="10637"/>
                    </a:cubicBezTo>
                    <a:cubicBezTo>
                      <a:pt x="1582" y="10456"/>
                      <a:pt x="1582" y="10456"/>
                      <a:pt x="1582" y="10456"/>
                    </a:cubicBezTo>
                    <a:cubicBezTo>
                      <a:pt x="1588" y="10384"/>
                      <a:pt x="1588" y="10384"/>
                      <a:pt x="1588" y="10384"/>
                    </a:cubicBezTo>
                    <a:cubicBezTo>
                      <a:pt x="1577" y="10383"/>
                      <a:pt x="1577" y="10383"/>
                      <a:pt x="1577" y="10383"/>
                    </a:cubicBezTo>
                    <a:cubicBezTo>
                      <a:pt x="1577" y="10380"/>
                      <a:pt x="1577" y="10380"/>
                      <a:pt x="1577" y="10380"/>
                    </a:cubicBezTo>
                    <a:cubicBezTo>
                      <a:pt x="1577" y="10380"/>
                      <a:pt x="1582" y="10331"/>
                      <a:pt x="1587" y="10281"/>
                    </a:cubicBezTo>
                    <a:cubicBezTo>
                      <a:pt x="1590" y="10243"/>
                      <a:pt x="1594" y="10202"/>
                      <a:pt x="1595" y="10184"/>
                    </a:cubicBezTo>
                    <a:cubicBezTo>
                      <a:pt x="1336" y="9965"/>
                      <a:pt x="1336" y="9965"/>
                      <a:pt x="1336" y="9965"/>
                    </a:cubicBezTo>
                    <a:cubicBezTo>
                      <a:pt x="1346" y="9952"/>
                      <a:pt x="1346" y="9952"/>
                      <a:pt x="1346" y="9952"/>
                    </a:cubicBezTo>
                    <a:cubicBezTo>
                      <a:pt x="1337" y="9944"/>
                      <a:pt x="1310" y="9922"/>
                      <a:pt x="1284" y="9900"/>
                    </a:cubicBezTo>
                    <a:cubicBezTo>
                      <a:pt x="1267" y="9886"/>
                      <a:pt x="1251" y="9872"/>
                      <a:pt x="1238" y="9861"/>
                    </a:cubicBezTo>
                    <a:cubicBezTo>
                      <a:pt x="1236" y="9859"/>
                      <a:pt x="1235" y="9857"/>
                      <a:pt x="1232" y="9856"/>
                    </a:cubicBezTo>
                    <a:cubicBezTo>
                      <a:pt x="1192" y="9878"/>
                      <a:pt x="1152" y="9899"/>
                      <a:pt x="1114" y="9920"/>
                    </a:cubicBezTo>
                    <a:cubicBezTo>
                      <a:pt x="859" y="10058"/>
                      <a:pt x="690" y="10149"/>
                      <a:pt x="676" y="10157"/>
                    </a:cubicBezTo>
                    <a:cubicBezTo>
                      <a:pt x="673" y="10159"/>
                      <a:pt x="660" y="10167"/>
                      <a:pt x="641" y="10178"/>
                    </a:cubicBezTo>
                    <a:cubicBezTo>
                      <a:pt x="655" y="10195"/>
                      <a:pt x="671" y="10213"/>
                      <a:pt x="687" y="10232"/>
                    </a:cubicBezTo>
                    <a:cubicBezTo>
                      <a:pt x="738" y="10212"/>
                      <a:pt x="781" y="10198"/>
                      <a:pt x="806" y="10197"/>
                    </a:cubicBezTo>
                    <a:cubicBezTo>
                      <a:pt x="807" y="10197"/>
                      <a:pt x="807" y="10197"/>
                      <a:pt x="807" y="10197"/>
                    </a:cubicBezTo>
                    <a:cubicBezTo>
                      <a:pt x="807" y="10197"/>
                      <a:pt x="807" y="10197"/>
                      <a:pt x="809" y="10198"/>
                    </a:cubicBezTo>
                    <a:cubicBezTo>
                      <a:pt x="831" y="10200"/>
                      <a:pt x="848" y="10217"/>
                      <a:pt x="869" y="10241"/>
                    </a:cubicBezTo>
                    <a:cubicBezTo>
                      <a:pt x="932" y="10316"/>
                      <a:pt x="1010" y="10467"/>
                      <a:pt x="1039" y="10532"/>
                    </a:cubicBezTo>
                    <a:cubicBezTo>
                      <a:pt x="1056" y="10570"/>
                      <a:pt x="1121" y="10651"/>
                      <a:pt x="1181" y="10721"/>
                    </a:cubicBezTo>
                    <a:cubicBezTo>
                      <a:pt x="1216" y="10761"/>
                      <a:pt x="1249" y="10797"/>
                      <a:pt x="1271" y="10821"/>
                    </a:cubicBezTo>
                    <a:cubicBezTo>
                      <a:pt x="1237" y="10821"/>
                      <a:pt x="1237" y="10821"/>
                      <a:pt x="1237" y="10821"/>
                    </a:cubicBezTo>
                    <a:cubicBezTo>
                      <a:pt x="1171" y="10749"/>
                      <a:pt x="1046" y="10607"/>
                      <a:pt x="1016" y="10542"/>
                    </a:cubicBezTo>
                    <a:cubicBezTo>
                      <a:pt x="998" y="10500"/>
                      <a:pt x="957" y="10419"/>
                      <a:pt x="914" y="10348"/>
                    </a:cubicBezTo>
                    <a:cubicBezTo>
                      <a:pt x="892" y="10313"/>
                      <a:pt x="870" y="10280"/>
                      <a:pt x="850" y="10257"/>
                    </a:cubicBezTo>
                    <a:cubicBezTo>
                      <a:pt x="831" y="10233"/>
                      <a:pt x="812" y="10221"/>
                      <a:pt x="807" y="10222"/>
                    </a:cubicBezTo>
                    <a:cubicBezTo>
                      <a:pt x="807" y="10222"/>
                      <a:pt x="807" y="10222"/>
                      <a:pt x="807" y="10222"/>
                    </a:cubicBezTo>
                    <a:cubicBezTo>
                      <a:pt x="806" y="10222"/>
                      <a:pt x="806" y="10222"/>
                      <a:pt x="806" y="10222"/>
                    </a:cubicBezTo>
                    <a:cubicBezTo>
                      <a:pt x="805" y="10222"/>
                      <a:pt x="805" y="10222"/>
                      <a:pt x="805" y="10222"/>
                    </a:cubicBezTo>
                    <a:cubicBezTo>
                      <a:pt x="788" y="10222"/>
                      <a:pt x="750" y="10234"/>
                      <a:pt x="704" y="10252"/>
                    </a:cubicBezTo>
                    <a:cubicBezTo>
                      <a:pt x="778" y="10338"/>
                      <a:pt x="867" y="10440"/>
                      <a:pt x="955" y="10542"/>
                    </a:cubicBezTo>
                    <a:cubicBezTo>
                      <a:pt x="1041" y="10641"/>
                      <a:pt x="1126" y="10740"/>
                      <a:pt x="1197" y="10821"/>
                    </a:cubicBezTo>
                    <a:cubicBezTo>
                      <a:pt x="1105" y="10821"/>
                      <a:pt x="1105" y="10821"/>
                      <a:pt x="1105" y="10821"/>
                    </a:cubicBezTo>
                    <a:cubicBezTo>
                      <a:pt x="1040" y="10746"/>
                      <a:pt x="966" y="10660"/>
                      <a:pt x="892" y="10574"/>
                    </a:cubicBezTo>
                    <a:cubicBezTo>
                      <a:pt x="801" y="10470"/>
                      <a:pt x="711" y="10365"/>
                      <a:pt x="637" y="10279"/>
                    </a:cubicBezTo>
                    <a:cubicBezTo>
                      <a:pt x="589" y="10300"/>
                      <a:pt x="540" y="10323"/>
                      <a:pt x="498" y="10344"/>
                    </a:cubicBezTo>
                    <a:cubicBezTo>
                      <a:pt x="587" y="10502"/>
                      <a:pt x="587" y="10502"/>
                      <a:pt x="587" y="10502"/>
                    </a:cubicBezTo>
                    <a:cubicBezTo>
                      <a:pt x="706" y="10434"/>
                      <a:pt x="706" y="10434"/>
                      <a:pt x="706" y="10434"/>
                    </a:cubicBezTo>
                    <a:cubicBezTo>
                      <a:pt x="710" y="10441"/>
                      <a:pt x="710" y="10441"/>
                      <a:pt x="710" y="10441"/>
                    </a:cubicBezTo>
                    <a:cubicBezTo>
                      <a:pt x="710" y="10441"/>
                      <a:pt x="787" y="10562"/>
                      <a:pt x="864" y="10683"/>
                    </a:cubicBezTo>
                    <a:cubicBezTo>
                      <a:pt x="895" y="10732"/>
                      <a:pt x="926" y="10780"/>
                      <a:pt x="952" y="10821"/>
                    </a:cubicBezTo>
                    <a:cubicBezTo>
                      <a:pt x="932" y="10821"/>
                      <a:pt x="932" y="10821"/>
                      <a:pt x="932" y="10821"/>
                    </a:cubicBezTo>
                    <a:cubicBezTo>
                      <a:pt x="907" y="10781"/>
                      <a:pt x="878" y="10735"/>
                      <a:pt x="849" y="10689"/>
                    </a:cubicBezTo>
                    <a:cubicBezTo>
                      <a:pt x="783" y="10585"/>
                      <a:pt x="718" y="10483"/>
                      <a:pt x="701" y="10456"/>
                    </a:cubicBezTo>
                    <a:cubicBezTo>
                      <a:pt x="595" y="10516"/>
                      <a:pt x="595" y="10516"/>
                      <a:pt x="595" y="10516"/>
                    </a:cubicBezTo>
                    <a:cubicBezTo>
                      <a:pt x="740" y="10776"/>
                      <a:pt x="740" y="10776"/>
                      <a:pt x="740" y="10776"/>
                    </a:cubicBezTo>
                    <a:cubicBezTo>
                      <a:pt x="649" y="10821"/>
                      <a:pt x="649" y="10821"/>
                      <a:pt x="649" y="10821"/>
                    </a:cubicBezTo>
                    <a:cubicBezTo>
                      <a:pt x="612" y="10821"/>
                      <a:pt x="612" y="10821"/>
                      <a:pt x="612" y="10821"/>
                    </a:cubicBezTo>
                    <a:cubicBezTo>
                      <a:pt x="717" y="10769"/>
                      <a:pt x="717" y="10769"/>
                      <a:pt x="717" y="10769"/>
                    </a:cubicBezTo>
                    <a:cubicBezTo>
                      <a:pt x="492" y="10365"/>
                      <a:pt x="492" y="10365"/>
                      <a:pt x="492" y="10365"/>
                    </a:cubicBezTo>
                    <a:cubicBezTo>
                      <a:pt x="324" y="10453"/>
                      <a:pt x="324" y="10453"/>
                      <a:pt x="324" y="10453"/>
                    </a:cubicBezTo>
                    <a:cubicBezTo>
                      <a:pt x="351" y="10512"/>
                      <a:pt x="351" y="10512"/>
                      <a:pt x="351" y="10512"/>
                    </a:cubicBezTo>
                    <a:cubicBezTo>
                      <a:pt x="351" y="10511"/>
                      <a:pt x="351" y="10511"/>
                      <a:pt x="351" y="10511"/>
                    </a:cubicBezTo>
                    <a:cubicBezTo>
                      <a:pt x="357" y="10524"/>
                      <a:pt x="357" y="10524"/>
                      <a:pt x="357" y="10524"/>
                    </a:cubicBezTo>
                    <a:cubicBezTo>
                      <a:pt x="357" y="10524"/>
                      <a:pt x="426" y="10697"/>
                      <a:pt x="481" y="10821"/>
                    </a:cubicBezTo>
                    <a:cubicBezTo>
                      <a:pt x="432" y="10821"/>
                      <a:pt x="432" y="10821"/>
                      <a:pt x="432" y="10821"/>
                    </a:cubicBezTo>
                    <a:cubicBezTo>
                      <a:pt x="402" y="10753"/>
                      <a:pt x="369" y="10675"/>
                      <a:pt x="346" y="10618"/>
                    </a:cubicBezTo>
                    <a:cubicBezTo>
                      <a:pt x="344" y="10619"/>
                      <a:pt x="344" y="10619"/>
                      <a:pt x="344" y="10619"/>
                    </a:cubicBezTo>
                    <a:cubicBezTo>
                      <a:pt x="344" y="10619"/>
                      <a:pt x="329" y="10630"/>
                      <a:pt x="306" y="10646"/>
                    </a:cubicBezTo>
                    <a:cubicBezTo>
                      <a:pt x="379" y="10795"/>
                      <a:pt x="379" y="10795"/>
                      <a:pt x="379" y="10795"/>
                    </a:cubicBezTo>
                    <a:cubicBezTo>
                      <a:pt x="372" y="10798"/>
                      <a:pt x="372" y="10798"/>
                      <a:pt x="372" y="10798"/>
                    </a:cubicBezTo>
                    <a:cubicBezTo>
                      <a:pt x="317" y="10821"/>
                      <a:pt x="317" y="10821"/>
                      <a:pt x="317" y="10821"/>
                    </a:cubicBezTo>
                    <a:cubicBezTo>
                      <a:pt x="278" y="10821"/>
                      <a:pt x="278" y="10821"/>
                      <a:pt x="278" y="10821"/>
                    </a:cubicBezTo>
                    <a:cubicBezTo>
                      <a:pt x="359" y="10788"/>
                      <a:pt x="359" y="10788"/>
                      <a:pt x="359" y="10788"/>
                    </a:cubicBezTo>
                    <a:cubicBezTo>
                      <a:pt x="301" y="10669"/>
                      <a:pt x="301" y="10669"/>
                      <a:pt x="301" y="10669"/>
                    </a:cubicBezTo>
                    <a:cubicBezTo>
                      <a:pt x="185" y="10808"/>
                      <a:pt x="185" y="10808"/>
                      <a:pt x="185" y="10808"/>
                    </a:cubicBezTo>
                    <a:cubicBezTo>
                      <a:pt x="189" y="10821"/>
                      <a:pt x="189" y="10821"/>
                      <a:pt x="189" y="10821"/>
                    </a:cubicBezTo>
                    <a:cubicBezTo>
                      <a:pt x="174" y="10821"/>
                      <a:pt x="174" y="10821"/>
                      <a:pt x="174" y="10821"/>
                    </a:cubicBezTo>
                    <a:cubicBezTo>
                      <a:pt x="169" y="10804"/>
                      <a:pt x="169" y="10804"/>
                      <a:pt x="169" y="10804"/>
                    </a:cubicBezTo>
                    <a:cubicBezTo>
                      <a:pt x="294" y="10654"/>
                      <a:pt x="294" y="10654"/>
                      <a:pt x="294" y="10654"/>
                    </a:cubicBezTo>
                    <a:cubicBezTo>
                      <a:pt x="265" y="10674"/>
                      <a:pt x="228" y="10700"/>
                      <a:pt x="190" y="10727"/>
                    </a:cubicBezTo>
                    <a:cubicBezTo>
                      <a:pt x="151" y="10754"/>
                      <a:pt x="112" y="10781"/>
                      <a:pt x="84" y="10802"/>
                    </a:cubicBezTo>
                    <a:cubicBezTo>
                      <a:pt x="76" y="10807"/>
                      <a:pt x="69" y="10813"/>
                      <a:pt x="57" y="10821"/>
                    </a:cubicBezTo>
                    <a:cubicBezTo>
                      <a:pt x="30" y="10821"/>
                      <a:pt x="30" y="10821"/>
                      <a:pt x="30" y="10821"/>
                    </a:cubicBezTo>
                    <a:cubicBezTo>
                      <a:pt x="54" y="10803"/>
                      <a:pt x="66" y="10795"/>
                      <a:pt x="78" y="10786"/>
                    </a:cubicBezTo>
                    <a:cubicBezTo>
                      <a:pt x="166" y="10723"/>
                      <a:pt x="336" y="10605"/>
                      <a:pt x="340" y="10602"/>
                    </a:cubicBezTo>
                    <a:cubicBezTo>
                      <a:pt x="324" y="10563"/>
                      <a:pt x="313" y="10537"/>
                      <a:pt x="313" y="10537"/>
                    </a:cubicBezTo>
                    <a:cubicBezTo>
                      <a:pt x="345" y="10515"/>
                      <a:pt x="345" y="10515"/>
                      <a:pt x="345" y="10515"/>
                    </a:cubicBezTo>
                    <a:cubicBezTo>
                      <a:pt x="337" y="10521"/>
                      <a:pt x="337" y="10521"/>
                      <a:pt x="337" y="10521"/>
                    </a:cubicBezTo>
                    <a:cubicBezTo>
                      <a:pt x="302" y="10446"/>
                      <a:pt x="302" y="10446"/>
                      <a:pt x="302" y="10446"/>
                    </a:cubicBezTo>
                    <a:cubicBezTo>
                      <a:pt x="248" y="10476"/>
                      <a:pt x="197" y="10510"/>
                      <a:pt x="157" y="10554"/>
                    </a:cubicBezTo>
                    <a:cubicBezTo>
                      <a:pt x="102" y="10615"/>
                      <a:pt x="37" y="10696"/>
                      <a:pt x="3" y="10737"/>
                    </a:cubicBezTo>
                    <a:cubicBezTo>
                      <a:pt x="3" y="10698"/>
                      <a:pt x="3" y="10698"/>
                      <a:pt x="3" y="10698"/>
                    </a:cubicBezTo>
                    <a:cubicBezTo>
                      <a:pt x="39" y="10654"/>
                      <a:pt x="92" y="10589"/>
                      <a:pt x="139" y="10538"/>
                    </a:cubicBezTo>
                    <a:cubicBezTo>
                      <a:pt x="220" y="10449"/>
                      <a:pt x="341" y="10400"/>
                      <a:pt x="436" y="10348"/>
                    </a:cubicBezTo>
                    <a:cubicBezTo>
                      <a:pt x="481" y="10324"/>
                      <a:pt x="552" y="10289"/>
                      <a:pt x="620" y="10260"/>
                    </a:cubicBezTo>
                    <a:cubicBezTo>
                      <a:pt x="614" y="10252"/>
                      <a:pt x="607" y="10245"/>
                      <a:pt x="601" y="10238"/>
                    </a:cubicBezTo>
                    <a:cubicBezTo>
                      <a:pt x="594" y="10230"/>
                      <a:pt x="587" y="10222"/>
                      <a:pt x="581" y="10214"/>
                    </a:cubicBezTo>
                    <a:cubicBezTo>
                      <a:pt x="544" y="10236"/>
                      <a:pt x="514" y="10255"/>
                      <a:pt x="477" y="10280"/>
                    </a:cubicBezTo>
                    <a:cubicBezTo>
                      <a:pt x="476" y="10280"/>
                      <a:pt x="476" y="10280"/>
                      <a:pt x="476" y="10280"/>
                    </a:cubicBezTo>
                    <a:cubicBezTo>
                      <a:pt x="475" y="10281"/>
                      <a:pt x="475" y="10281"/>
                      <a:pt x="475" y="10281"/>
                    </a:cubicBezTo>
                    <a:cubicBezTo>
                      <a:pt x="474" y="10281"/>
                      <a:pt x="405" y="10304"/>
                      <a:pt x="388" y="10305"/>
                    </a:cubicBezTo>
                    <a:cubicBezTo>
                      <a:pt x="303" y="10320"/>
                      <a:pt x="303" y="10320"/>
                      <a:pt x="303" y="10320"/>
                    </a:cubicBezTo>
                    <a:cubicBezTo>
                      <a:pt x="278" y="10324"/>
                      <a:pt x="250" y="10328"/>
                      <a:pt x="221" y="10331"/>
                    </a:cubicBezTo>
                    <a:cubicBezTo>
                      <a:pt x="182" y="10373"/>
                      <a:pt x="140" y="10418"/>
                      <a:pt x="99" y="10463"/>
                    </a:cubicBezTo>
                    <a:cubicBezTo>
                      <a:pt x="66" y="10498"/>
                      <a:pt x="34" y="10533"/>
                      <a:pt x="3" y="10566"/>
                    </a:cubicBezTo>
                    <a:cubicBezTo>
                      <a:pt x="3" y="10336"/>
                      <a:pt x="3" y="10336"/>
                      <a:pt x="3" y="10336"/>
                    </a:cubicBezTo>
                    <a:cubicBezTo>
                      <a:pt x="5" y="10336"/>
                      <a:pt x="7" y="10336"/>
                      <a:pt x="9" y="10336"/>
                    </a:cubicBezTo>
                    <a:cubicBezTo>
                      <a:pt x="107" y="10229"/>
                      <a:pt x="204" y="10125"/>
                      <a:pt x="264" y="10061"/>
                    </a:cubicBezTo>
                    <a:cubicBezTo>
                      <a:pt x="224" y="10055"/>
                      <a:pt x="184" y="10050"/>
                      <a:pt x="148" y="10050"/>
                    </a:cubicBezTo>
                    <a:cubicBezTo>
                      <a:pt x="136" y="10050"/>
                      <a:pt x="126" y="10051"/>
                      <a:pt x="116" y="10052"/>
                    </a:cubicBezTo>
                    <a:cubicBezTo>
                      <a:pt x="74" y="10055"/>
                      <a:pt x="35" y="10071"/>
                      <a:pt x="3" y="10089"/>
                    </a:cubicBezTo>
                    <a:cubicBezTo>
                      <a:pt x="3" y="10070"/>
                      <a:pt x="3" y="10070"/>
                      <a:pt x="3" y="10070"/>
                    </a:cubicBezTo>
                    <a:cubicBezTo>
                      <a:pt x="35" y="10054"/>
                      <a:pt x="73" y="10039"/>
                      <a:pt x="114" y="10035"/>
                    </a:cubicBezTo>
                    <a:cubicBezTo>
                      <a:pt x="125" y="10034"/>
                      <a:pt x="136" y="10034"/>
                      <a:pt x="148" y="10034"/>
                    </a:cubicBezTo>
                    <a:cubicBezTo>
                      <a:pt x="188" y="10034"/>
                      <a:pt x="233" y="10039"/>
                      <a:pt x="277" y="10046"/>
                    </a:cubicBezTo>
                    <a:cubicBezTo>
                      <a:pt x="302" y="10019"/>
                      <a:pt x="319" y="10001"/>
                      <a:pt x="324" y="9996"/>
                    </a:cubicBezTo>
                    <a:cubicBezTo>
                      <a:pt x="336" y="9984"/>
                      <a:pt x="355" y="9968"/>
                      <a:pt x="370" y="9957"/>
                    </a:cubicBezTo>
                    <a:cubicBezTo>
                      <a:pt x="280" y="9788"/>
                      <a:pt x="280" y="9788"/>
                      <a:pt x="280" y="9788"/>
                    </a:cubicBezTo>
                    <a:cubicBezTo>
                      <a:pt x="268" y="9795"/>
                      <a:pt x="244" y="9808"/>
                      <a:pt x="220" y="9822"/>
                    </a:cubicBezTo>
                    <a:cubicBezTo>
                      <a:pt x="203" y="9832"/>
                      <a:pt x="185" y="9842"/>
                      <a:pt x="172" y="9849"/>
                    </a:cubicBezTo>
                    <a:cubicBezTo>
                      <a:pt x="165" y="9852"/>
                      <a:pt x="159" y="9856"/>
                      <a:pt x="155" y="9858"/>
                    </a:cubicBezTo>
                    <a:cubicBezTo>
                      <a:pt x="149" y="9860"/>
                      <a:pt x="149" y="9861"/>
                      <a:pt x="143" y="9862"/>
                    </a:cubicBezTo>
                    <a:cubicBezTo>
                      <a:pt x="143" y="9862"/>
                      <a:pt x="143" y="9862"/>
                      <a:pt x="143" y="9862"/>
                    </a:cubicBezTo>
                    <a:cubicBezTo>
                      <a:pt x="143" y="9862"/>
                      <a:pt x="142" y="9862"/>
                      <a:pt x="142" y="9862"/>
                    </a:cubicBezTo>
                    <a:cubicBezTo>
                      <a:pt x="141" y="9862"/>
                      <a:pt x="141" y="9862"/>
                      <a:pt x="141" y="9862"/>
                    </a:cubicBezTo>
                    <a:cubicBezTo>
                      <a:pt x="140" y="9861"/>
                      <a:pt x="140" y="9861"/>
                      <a:pt x="140" y="9861"/>
                    </a:cubicBezTo>
                    <a:cubicBezTo>
                      <a:pt x="137" y="9860"/>
                      <a:pt x="137" y="9860"/>
                      <a:pt x="135" y="9858"/>
                    </a:cubicBezTo>
                    <a:cubicBezTo>
                      <a:pt x="130" y="9854"/>
                      <a:pt x="117" y="9841"/>
                      <a:pt x="101" y="9827"/>
                    </a:cubicBezTo>
                    <a:cubicBezTo>
                      <a:pt x="86" y="9851"/>
                      <a:pt x="45" y="9914"/>
                      <a:pt x="3" y="9980"/>
                    </a:cubicBezTo>
                    <a:cubicBezTo>
                      <a:pt x="3" y="9949"/>
                      <a:pt x="3" y="9949"/>
                      <a:pt x="3" y="9949"/>
                    </a:cubicBezTo>
                    <a:cubicBezTo>
                      <a:pt x="42" y="9889"/>
                      <a:pt x="77" y="9834"/>
                      <a:pt x="89" y="9815"/>
                    </a:cubicBezTo>
                    <a:cubicBezTo>
                      <a:pt x="81" y="9807"/>
                      <a:pt x="72" y="9800"/>
                      <a:pt x="64" y="9792"/>
                    </a:cubicBezTo>
                    <a:cubicBezTo>
                      <a:pt x="49" y="9777"/>
                      <a:pt x="34" y="9763"/>
                      <a:pt x="22" y="9753"/>
                    </a:cubicBezTo>
                    <a:cubicBezTo>
                      <a:pt x="17" y="9748"/>
                      <a:pt x="12" y="9744"/>
                      <a:pt x="9" y="9741"/>
                    </a:cubicBezTo>
                    <a:cubicBezTo>
                      <a:pt x="7" y="9740"/>
                      <a:pt x="6" y="9738"/>
                      <a:pt x="5" y="9738"/>
                    </a:cubicBezTo>
                    <a:cubicBezTo>
                      <a:pt x="5" y="9738"/>
                      <a:pt x="4" y="9737"/>
                      <a:pt x="4" y="9737"/>
                    </a:cubicBezTo>
                    <a:cubicBezTo>
                      <a:pt x="4" y="9737"/>
                      <a:pt x="4" y="9737"/>
                      <a:pt x="4" y="9737"/>
                    </a:cubicBezTo>
                    <a:cubicBezTo>
                      <a:pt x="4" y="9737"/>
                      <a:pt x="4" y="9737"/>
                      <a:pt x="3" y="9736"/>
                    </a:cubicBezTo>
                    <a:cubicBezTo>
                      <a:pt x="0" y="9734"/>
                      <a:pt x="0" y="9732"/>
                      <a:pt x="0" y="9731"/>
                    </a:cubicBezTo>
                    <a:cubicBezTo>
                      <a:pt x="0" y="9730"/>
                      <a:pt x="0" y="9729"/>
                      <a:pt x="0" y="9728"/>
                    </a:cubicBezTo>
                    <a:cubicBezTo>
                      <a:pt x="0" y="9724"/>
                      <a:pt x="1" y="9713"/>
                      <a:pt x="3" y="9699"/>
                    </a:cubicBezTo>
                    <a:cubicBezTo>
                      <a:pt x="10" y="9655"/>
                      <a:pt x="25" y="9577"/>
                      <a:pt x="30" y="9550"/>
                    </a:cubicBezTo>
                    <a:cubicBezTo>
                      <a:pt x="3" y="9557"/>
                      <a:pt x="3" y="9557"/>
                      <a:pt x="3" y="9557"/>
                    </a:cubicBezTo>
                    <a:cubicBezTo>
                      <a:pt x="3" y="9543"/>
                      <a:pt x="3" y="9543"/>
                      <a:pt x="3" y="9543"/>
                    </a:cubicBezTo>
                    <a:cubicBezTo>
                      <a:pt x="33" y="9534"/>
                      <a:pt x="33" y="9534"/>
                      <a:pt x="33" y="9534"/>
                    </a:cubicBezTo>
                    <a:cubicBezTo>
                      <a:pt x="33" y="9534"/>
                      <a:pt x="33" y="9534"/>
                      <a:pt x="33" y="9534"/>
                    </a:cubicBezTo>
                    <a:cubicBezTo>
                      <a:pt x="130" y="9508"/>
                      <a:pt x="130" y="9508"/>
                      <a:pt x="130" y="9508"/>
                    </a:cubicBezTo>
                    <a:cubicBezTo>
                      <a:pt x="38" y="9337"/>
                      <a:pt x="38" y="9337"/>
                      <a:pt x="38" y="9337"/>
                    </a:cubicBezTo>
                    <a:cubicBezTo>
                      <a:pt x="38" y="9337"/>
                      <a:pt x="38" y="9337"/>
                      <a:pt x="38" y="9337"/>
                    </a:cubicBezTo>
                    <a:cubicBezTo>
                      <a:pt x="3" y="9268"/>
                      <a:pt x="3" y="9268"/>
                      <a:pt x="3" y="9268"/>
                    </a:cubicBezTo>
                    <a:cubicBezTo>
                      <a:pt x="3" y="9125"/>
                      <a:pt x="3" y="9125"/>
                      <a:pt x="3" y="9125"/>
                    </a:cubicBezTo>
                    <a:cubicBezTo>
                      <a:pt x="97" y="9309"/>
                      <a:pt x="97" y="9309"/>
                      <a:pt x="97" y="9309"/>
                    </a:cubicBezTo>
                    <a:cubicBezTo>
                      <a:pt x="109" y="9304"/>
                      <a:pt x="124" y="9297"/>
                      <a:pt x="139" y="9290"/>
                    </a:cubicBezTo>
                    <a:cubicBezTo>
                      <a:pt x="174" y="9274"/>
                      <a:pt x="210" y="9258"/>
                      <a:pt x="226" y="9252"/>
                    </a:cubicBezTo>
                    <a:cubicBezTo>
                      <a:pt x="229" y="9251"/>
                      <a:pt x="232" y="9249"/>
                      <a:pt x="235" y="9248"/>
                    </a:cubicBezTo>
                    <a:cubicBezTo>
                      <a:pt x="330" y="9020"/>
                      <a:pt x="330" y="9020"/>
                      <a:pt x="330" y="9020"/>
                    </a:cubicBezTo>
                    <a:cubicBezTo>
                      <a:pt x="144" y="8866"/>
                      <a:pt x="144" y="8866"/>
                      <a:pt x="144" y="8866"/>
                    </a:cubicBezTo>
                    <a:cubicBezTo>
                      <a:pt x="3" y="8983"/>
                      <a:pt x="3" y="8983"/>
                      <a:pt x="3" y="8983"/>
                    </a:cubicBezTo>
                    <a:cubicBezTo>
                      <a:pt x="3" y="8897"/>
                      <a:pt x="3" y="8897"/>
                      <a:pt x="3" y="8897"/>
                    </a:cubicBezTo>
                    <a:cubicBezTo>
                      <a:pt x="318" y="8636"/>
                      <a:pt x="318" y="8636"/>
                      <a:pt x="318" y="8636"/>
                    </a:cubicBezTo>
                    <a:cubicBezTo>
                      <a:pt x="196" y="8510"/>
                      <a:pt x="196" y="8510"/>
                      <a:pt x="196" y="8510"/>
                    </a:cubicBezTo>
                    <a:cubicBezTo>
                      <a:pt x="196" y="8510"/>
                      <a:pt x="196" y="8510"/>
                      <a:pt x="196" y="8510"/>
                    </a:cubicBezTo>
                    <a:cubicBezTo>
                      <a:pt x="185" y="8501"/>
                      <a:pt x="185" y="8501"/>
                      <a:pt x="185" y="8501"/>
                    </a:cubicBezTo>
                    <a:cubicBezTo>
                      <a:pt x="185" y="8501"/>
                      <a:pt x="185" y="8501"/>
                      <a:pt x="185" y="8501"/>
                    </a:cubicBezTo>
                    <a:cubicBezTo>
                      <a:pt x="224" y="8461"/>
                      <a:pt x="224" y="8461"/>
                      <a:pt x="224" y="8461"/>
                    </a:cubicBezTo>
                    <a:cubicBezTo>
                      <a:pt x="153" y="8386"/>
                      <a:pt x="153" y="8386"/>
                      <a:pt x="153" y="8386"/>
                    </a:cubicBezTo>
                    <a:cubicBezTo>
                      <a:pt x="113" y="8416"/>
                      <a:pt x="63" y="8445"/>
                      <a:pt x="3" y="8470"/>
                    </a:cubicBezTo>
                    <a:cubicBezTo>
                      <a:pt x="3" y="8399"/>
                      <a:pt x="3" y="8399"/>
                      <a:pt x="3" y="8399"/>
                    </a:cubicBezTo>
                    <a:cubicBezTo>
                      <a:pt x="99" y="8355"/>
                      <a:pt x="159" y="8300"/>
                      <a:pt x="205" y="8253"/>
                    </a:cubicBezTo>
                    <a:cubicBezTo>
                      <a:pt x="196" y="8245"/>
                      <a:pt x="184" y="8235"/>
                      <a:pt x="170" y="8223"/>
                    </a:cubicBezTo>
                    <a:cubicBezTo>
                      <a:pt x="130" y="8191"/>
                      <a:pt x="72" y="8147"/>
                      <a:pt x="3" y="8105"/>
                    </a:cubicBezTo>
                    <a:cubicBezTo>
                      <a:pt x="3" y="8029"/>
                      <a:pt x="3" y="8029"/>
                      <a:pt x="3" y="8029"/>
                    </a:cubicBezTo>
                    <a:cubicBezTo>
                      <a:pt x="4" y="8029"/>
                      <a:pt x="4" y="8030"/>
                      <a:pt x="5" y="8030"/>
                    </a:cubicBezTo>
                    <a:cubicBezTo>
                      <a:pt x="16" y="8007"/>
                      <a:pt x="35" y="7966"/>
                      <a:pt x="55" y="7924"/>
                    </a:cubicBezTo>
                    <a:cubicBezTo>
                      <a:pt x="70" y="7893"/>
                      <a:pt x="85" y="7862"/>
                      <a:pt x="97" y="7839"/>
                    </a:cubicBezTo>
                    <a:cubicBezTo>
                      <a:pt x="103" y="7827"/>
                      <a:pt x="109" y="7817"/>
                      <a:pt x="113" y="7810"/>
                    </a:cubicBezTo>
                    <a:cubicBezTo>
                      <a:pt x="115" y="7807"/>
                      <a:pt x="117" y="7804"/>
                      <a:pt x="118" y="7802"/>
                    </a:cubicBezTo>
                    <a:cubicBezTo>
                      <a:pt x="121" y="7800"/>
                      <a:pt x="119" y="7798"/>
                      <a:pt x="127" y="7796"/>
                    </a:cubicBezTo>
                    <a:cubicBezTo>
                      <a:pt x="136" y="7796"/>
                      <a:pt x="196" y="7804"/>
                      <a:pt x="212" y="7805"/>
                    </a:cubicBezTo>
                    <a:cubicBezTo>
                      <a:pt x="220" y="7791"/>
                      <a:pt x="252" y="7713"/>
                      <a:pt x="280" y="7640"/>
                    </a:cubicBezTo>
                    <a:cubicBezTo>
                      <a:pt x="301" y="7585"/>
                      <a:pt x="321" y="7532"/>
                      <a:pt x="331" y="7504"/>
                    </a:cubicBezTo>
                    <a:cubicBezTo>
                      <a:pt x="170" y="7280"/>
                      <a:pt x="170" y="7280"/>
                      <a:pt x="170" y="7280"/>
                    </a:cubicBezTo>
                    <a:cubicBezTo>
                      <a:pt x="169" y="7280"/>
                      <a:pt x="169" y="7280"/>
                      <a:pt x="169" y="7280"/>
                    </a:cubicBezTo>
                    <a:cubicBezTo>
                      <a:pt x="147" y="7294"/>
                      <a:pt x="106" y="7321"/>
                      <a:pt x="67" y="7348"/>
                    </a:cubicBezTo>
                    <a:cubicBezTo>
                      <a:pt x="44" y="7363"/>
                      <a:pt x="22" y="7379"/>
                      <a:pt x="3" y="7391"/>
                    </a:cubicBezTo>
                    <a:cubicBezTo>
                      <a:pt x="3" y="7374"/>
                      <a:pt x="3" y="7374"/>
                      <a:pt x="3" y="7374"/>
                    </a:cubicBezTo>
                    <a:cubicBezTo>
                      <a:pt x="22" y="7362"/>
                      <a:pt x="43" y="7347"/>
                      <a:pt x="65" y="7333"/>
                    </a:cubicBezTo>
                    <a:cubicBezTo>
                      <a:pt x="93" y="7314"/>
                      <a:pt x="121" y="7295"/>
                      <a:pt x="143" y="7281"/>
                    </a:cubicBezTo>
                    <a:cubicBezTo>
                      <a:pt x="146" y="7278"/>
                      <a:pt x="150" y="7276"/>
                      <a:pt x="153" y="7274"/>
                    </a:cubicBezTo>
                    <a:cubicBezTo>
                      <a:pt x="3" y="7218"/>
                      <a:pt x="3" y="7218"/>
                      <a:pt x="3" y="7218"/>
                    </a:cubicBezTo>
                    <a:cubicBezTo>
                      <a:pt x="3" y="7170"/>
                      <a:pt x="3" y="7170"/>
                      <a:pt x="3" y="7170"/>
                    </a:cubicBezTo>
                    <a:cubicBezTo>
                      <a:pt x="191" y="7240"/>
                      <a:pt x="191" y="7240"/>
                      <a:pt x="191" y="7240"/>
                    </a:cubicBezTo>
                    <a:cubicBezTo>
                      <a:pt x="204" y="7211"/>
                      <a:pt x="229" y="7152"/>
                      <a:pt x="253" y="7095"/>
                    </a:cubicBezTo>
                    <a:cubicBezTo>
                      <a:pt x="269" y="7057"/>
                      <a:pt x="285" y="7019"/>
                      <a:pt x="298" y="6991"/>
                    </a:cubicBezTo>
                    <a:cubicBezTo>
                      <a:pt x="305" y="6977"/>
                      <a:pt x="310" y="6965"/>
                      <a:pt x="315" y="6957"/>
                    </a:cubicBezTo>
                    <a:cubicBezTo>
                      <a:pt x="317" y="6952"/>
                      <a:pt x="319" y="6949"/>
                      <a:pt x="321" y="6947"/>
                    </a:cubicBezTo>
                    <a:cubicBezTo>
                      <a:pt x="323" y="6944"/>
                      <a:pt x="323" y="6942"/>
                      <a:pt x="328" y="6941"/>
                    </a:cubicBezTo>
                    <a:cubicBezTo>
                      <a:pt x="329" y="6940"/>
                      <a:pt x="329" y="6940"/>
                      <a:pt x="330" y="6940"/>
                    </a:cubicBezTo>
                    <a:cubicBezTo>
                      <a:pt x="327" y="6938"/>
                      <a:pt x="324" y="6937"/>
                      <a:pt x="320" y="6935"/>
                    </a:cubicBezTo>
                    <a:cubicBezTo>
                      <a:pt x="285" y="6920"/>
                      <a:pt x="206" y="6884"/>
                      <a:pt x="134" y="6851"/>
                    </a:cubicBezTo>
                    <a:cubicBezTo>
                      <a:pt x="98" y="6834"/>
                      <a:pt x="64" y="6819"/>
                      <a:pt x="38" y="6807"/>
                    </a:cubicBezTo>
                    <a:cubicBezTo>
                      <a:pt x="26" y="6801"/>
                      <a:pt x="15" y="6797"/>
                      <a:pt x="8" y="6794"/>
                    </a:cubicBezTo>
                    <a:cubicBezTo>
                      <a:pt x="7" y="6793"/>
                      <a:pt x="6" y="6793"/>
                      <a:pt x="5" y="6793"/>
                    </a:cubicBezTo>
                    <a:cubicBezTo>
                      <a:pt x="5" y="6793"/>
                      <a:pt x="5" y="6793"/>
                      <a:pt x="5" y="6794"/>
                    </a:cubicBezTo>
                    <a:cubicBezTo>
                      <a:pt x="5" y="6804"/>
                      <a:pt x="4" y="6820"/>
                      <a:pt x="3" y="6837"/>
                    </a:cubicBezTo>
                    <a:cubicBezTo>
                      <a:pt x="3" y="6777"/>
                      <a:pt x="3" y="6777"/>
                      <a:pt x="3" y="6777"/>
                    </a:cubicBezTo>
                    <a:cubicBezTo>
                      <a:pt x="6" y="6778"/>
                      <a:pt x="10" y="6780"/>
                      <a:pt x="16" y="6782"/>
                    </a:cubicBezTo>
                    <a:cubicBezTo>
                      <a:pt x="51" y="6797"/>
                      <a:pt x="130" y="6834"/>
                      <a:pt x="202" y="6867"/>
                    </a:cubicBezTo>
                    <a:cubicBezTo>
                      <a:pt x="238" y="6883"/>
                      <a:pt x="272" y="6899"/>
                      <a:pt x="297" y="6910"/>
                    </a:cubicBezTo>
                    <a:cubicBezTo>
                      <a:pt x="310" y="6916"/>
                      <a:pt x="321" y="6921"/>
                      <a:pt x="328" y="6924"/>
                    </a:cubicBezTo>
                    <a:cubicBezTo>
                      <a:pt x="332" y="6926"/>
                      <a:pt x="335" y="6927"/>
                      <a:pt x="337" y="6928"/>
                    </a:cubicBezTo>
                    <a:cubicBezTo>
                      <a:pt x="339" y="6928"/>
                      <a:pt x="339" y="6928"/>
                      <a:pt x="340" y="6928"/>
                    </a:cubicBezTo>
                    <a:cubicBezTo>
                      <a:pt x="340" y="6929"/>
                      <a:pt x="340" y="6929"/>
                      <a:pt x="340" y="6929"/>
                    </a:cubicBezTo>
                    <a:cubicBezTo>
                      <a:pt x="340" y="6929"/>
                      <a:pt x="340" y="6929"/>
                      <a:pt x="340" y="6929"/>
                    </a:cubicBezTo>
                    <a:cubicBezTo>
                      <a:pt x="340" y="6929"/>
                      <a:pt x="340" y="6929"/>
                      <a:pt x="340" y="6929"/>
                    </a:cubicBezTo>
                    <a:cubicBezTo>
                      <a:pt x="341" y="6929"/>
                      <a:pt x="341" y="6929"/>
                      <a:pt x="341" y="6929"/>
                    </a:cubicBezTo>
                    <a:cubicBezTo>
                      <a:pt x="357" y="6913"/>
                      <a:pt x="385" y="6884"/>
                      <a:pt x="418" y="6847"/>
                    </a:cubicBezTo>
                    <a:cubicBezTo>
                      <a:pt x="485" y="6774"/>
                      <a:pt x="577" y="6672"/>
                      <a:pt x="658" y="6581"/>
                    </a:cubicBezTo>
                    <a:cubicBezTo>
                      <a:pt x="499" y="6451"/>
                      <a:pt x="315" y="6338"/>
                      <a:pt x="186" y="6279"/>
                    </a:cubicBezTo>
                    <a:cubicBezTo>
                      <a:pt x="158" y="6312"/>
                      <a:pt x="116" y="6388"/>
                      <a:pt x="13" y="6450"/>
                    </a:cubicBezTo>
                    <a:cubicBezTo>
                      <a:pt x="10" y="6452"/>
                      <a:pt x="6" y="6454"/>
                      <a:pt x="3" y="6456"/>
                    </a:cubicBezTo>
                    <a:cubicBezTo>
                      <a:pt x="3" y="6378"/>
                      <a:pt x="3" y="6378"/>
                      <a:pt x="3" y="6378"/>
                    </a:cubicBezTo>
                    <a:cubicBezTo>
                      <a:pt x="65" y="6334"/>
                      <a:pt x="95" y="6289"/>
                      <a:pt x="123" y="6252"/>
                    </a:cubicBezTo>
                    <a:cubicBezTo>
                      <a:pt x="114" y="6249"/>
                      <a:pt x="105" y="6246"/>
                      <a:pt x="96" y="6243"/>
                    </a:cubicBezTo>
                    <a:cubicBezTo>
                      <a:pt x="69" y="6235"/>
                      <a:pt x="38" y="6226"/>
                      <a:pt x="3" y="6218"/>
                    </a:cubicBezTo>
                    <a:cubicBezTo>
                      <a:pt x="3" y="6151"/>
                      <a:pt x="3" y="6151"/>
                      <a:pt x="3" y="6151"/>
                    </a:cubicBezTo>
                    <a:cubicBezTo>
                      <a:pt x="45" y="6161"/>
                      <a:pt x="83" y="6171"/>
                      <a:pt x="115" y="6180"/>
                    </a:cubicBezTo>
                    <a:cubicBezTo>
                      <a:pt x="129" y="6185"/>
                      <a:pt x="144" y="6190"/>
                      <a:pt x="159" y="6196"/>
                    </a:cubicBezTo>
                    <a:cubicBezTo>
                      <a:pt x="1258" y="4186"/>
                      <a:pt x="1258" y="4186"/>
                      <a:pt x="1258" y="4186"/>
                    </a:cubicBezTo>
                    <a:cubicBezTo>
                      <a:pt x="1257" y="4185"/>
                      <a:pt x="1257" y="4185"/>
                      <a:pt x="1256" y="4184"/>
                    </a:cubicBezTo>
                    <a:cubicBezTo>
                      <a:pt x="1236" y="4163"/>
                      <a:pt x="1182" y="4096"/>
                      <a:pt x="1109" y="4003"/>
                    </a:cubicBezTo>
                    <a:cubicBezTo>
                      <a:pt x="924" y="3768"/>
                      <a:pt x="625" y="3377"/>
                      <a:pt x="535" y="3260"/>
                    </a:cubicBezTo>
                    <a:cubicBezTo>
                      <a:pt x="3" y="3829"/>
                      <a:pt x="3" y="3829"/>
                      <a:pt x="3" y="3829"/>
                    </a:cubicBezTo>
                    <a:cubicBezTo>
                      <a:pt x="3" y="3733"/>
                      <a:pt x="3" y="3733"/>
                      <a:pt x="3" y="3733"/>
                    </a:cubicBezTo>
                    <a:cubicBezTo>
                      <a:pt x="1226" y="2425"/>
                      <a:pt x="1226" y="2425"/>
                      <a:pt x="1226" y="2425"/>
                    </a:cubicBezTo>
                    <a:cubicBezTo>
                      <a:pt x="796" y="2093"/>
                      <a:pt x="796" y="2093"/>
                      <a:pt x="796" y="2093"/>
                    </a:cubicBezTo>
                    <a:cubicBezTo>
                      <a:pt x="793" y="2089"/>
                      <a:pt x="793" y="2089"/>
                      <a:pt x="793" y="2089"/>
                    </a:cubicBezTo>
                    <a:cubicBezTo>
                      <a:pt x="792" y="2088"/>
                      <a:pt x="728" y="1999"/>
                      <a:pt x="695" y="1899"/>
                    </a:cubicBezTo>
                    <a:cubicBezTo>
                      <a:pt x="686" y="1890"/>
                      <a:pt x="661" y="1869"/>
                      <a:pt x="627" y="1840"/>
                    </a:cubicBezTo>
                    <a:cubicBezTo>
                      <a:pt x="505" y="1738"/>
                      <a:pt x="254" y="1532"/>
                      <a:pt x="3" y="1328"/>
                    </a:cubicBezTo>
                    <a:cubicBezTo>
                      <a:pt x="3" y="1243"/>
                      <a:pt x="3" y="1243"/>
                      <a:pt x="3" y="1243"/>
                    </a:cubicBezTo>
                    <a:cubicBezTo>
                      <a:pt x="18" y="1255"/>
                      <a:pt x="32" y="1267"/>
                      <a:pt x="46" y="1278"/>
                    </a:cubicBezTo>
                    <a:cubicBezTo>
                      <a:pt x="219" y="1419"/>
                      <a:pt x="393" y="1561"/>
                      <a:pt x="524" y="1669"/>
                    </a:cubicBezTo>
                    <a:cubicBezTo>
                      <a:pt x="589" y="1723"/>
                      <a:pt x="644" y="1769"/>
                      <a:pt x="682" y="1801"/>
                    </a:cubicBezTo>
                    <a:cubicBezTo>
                      <a:pt x="702" y="1818"/>
                      <a:pt x="717" y="1831"/>
                      <a:pt x="728" y="1841"/>
                    </a:cubicBezTo>
                    <a:cubicBezTo>
                      <a:pt x="734" y="1846"/>
                      <a:pt x="738" y="1850"/>
                      <a:pt x="741" y="1853"/>
                    </a:cubicBezTo>
                    <a:cubicBezTo>
                      <a:pt x="743" y="1855"/>
                      <a:pt x="745" y="1856"/>
                      <a:pt x="746" y="1858"/>
                    </a:cubicBezTo>
                    <a:cubicBezTo>
                      <a:pt x="748" y="1860"/>
                      <a:pt x="749" y="1859"/>
                      <a:pt x="754" y="1870"/>
                    </a:cubicBezTo>
                    <a:cubicBezTo>
                      <a:pt x="754" y="1871"/>
                      <a:pt x="754" y="1871"/>
                      <a:pt x="754" y="1871"/>
                    </a:cubicBezTo>
                    <a:cubicBezTo>
                      <a:pt x="755" y="1872"/>
                      <a:pt x="755" y="1872"/>
                      <a:pt x="755" y="1872"/>
                    </a:cubicBezTo>
                    <a:cubicBezTo>
                      <a:pt x="769" y="1916"/>
                      <a:pt x="792" y="1962"/>
                      <a:pt x="812" y="1996"/>
                    </a:cubicBezTo>
                    <a:cubicBezTo>
                      <a:pt x="821" y="2013"/>
                      <a:pt x="830" y="2027"/>
                      <a:pt x="837" y="2036"/>
                    </a:cubicBezTo>
                    <a:cubicBezTo>
                      <a:pt x="840" y="2041"/>
                      <a:pt x="842" y="2045"/>
                      <a:pt x="844" y="2047"/>
                    </a:cubicBezTo>
                    <a:cubicBezTo>
                      <a:pt x="1275" y="2380"/>
                      <a:pt x="1275" y="2380"/>
                      <a:pt x="1275" y="2380"/>
                    </a:cubicBezTo>
                    <a:cubicBezTo>
                      <a:pt x="1364" y="2302"/>
                      <a:pt x="1622" y="2078"/>
                      <a:pt x="1880" y="1855"/>
                    </a:cubicBezTo>
                    <a:cubicBezTo>
                      <a:pt x="2041" y="1716"/>
                      <a:pt x="2201" y="1577"/>
                      <a:pt x="2323" y="1473"/>
                    </a:cubicBezTo>
                    <a:cubicBezTo>
                      <a:pt x="2384" y="1421"/>
                      <a:pt x="2435" y="1378"/>
                      <a:pt x="2471" y="1348"/>
                    </a:cubicBezTo>
                    <a:cubicBezTo>
                      <a:pt x="2489" y="1332"/>
                      <a:pt x="2503" y="1320"/>
                      <a:pt x="2514" y="1312"/>
                    </a:cubicBezTo>
                    <a:cubicBezTo>
                      <a:pt x="2516" y="1310"/>
                      <a:pt x="2518" y="1309"/>
                      <a:pt x="2520" y="1307"/>
                    </a:cubicBezTo>
                    <a:cubicBezTo>
                      <a:pt x="2518" y="1304"/>
                      <a:pt x="2515" y="1300"/>
                      <a:pt x="2513" y="1297"/>
                    </a:cubicBezTo>
                    <a:cubicBezTo>
                      <a:pt x="2489" y="1246"/>
                      <a:pt x="2473" y="1180"/>
                      <a:pt x="2460" y="1122"/>
                    </a:cubicBezTo>
                    <a:cubicBezTo>
                      <a:pt x="2448" y="1071"/>
                      <a:pt x="2441" y="1028"/>
                      <a:pt x="2439" y="1020"/>
                    </a:cubicBezTo>
                    <a:cubicBezTo>
                      <a:pt x="2230" y="0"/>
                      <a:pt x="2230" y="0"/>
                      <a:pt x="2230" y="0"/>
                    </a:cubicBezTo>
                    <a:cubicBezTo>
                      <a:pt x="2386" y="0"/>
                      <a:pt x="2386" y="0"/>
                      <a:pt x="2386" y="0"/>
                    </a:cubicBezTo>
                    <a:cubicBezTo>
                      <a:pt x="2589" y="991"/>
                      <a:pt x="2589" y="991"/>
                      <a:pt x="2589" y="991"/>
                    </a:cubicBezTo>
                    <a:cubicBezTo>
                      <a:pt x="2590" y="993"/>
                      <a:pt x="2590" y="993"/>
                      <a:pt x="2590" y="993"/>
                    </a:cubicBezTo>
                    <a:cubicBezTo>
                      <a:pt x="2590" y="993"/>
                      <a:pt x="2591" y="1003"/>
                      <a:pt x="2595" y="1021"/>
                    </a:cubicBezTo>
                    <a:cubicBezTo>
                      <a:pt x="2600" y="1047"/>
                      <a:pt x="2608" y="1089"/>
                      <a:pt x="2618" y="1130"/>
                    </a:cubicBezTo>
                    <a:cubicBezTo>
                      <a:pt x="2628" y="1170"/>
                      <a:pt x="2641" y="1211"/>
                      <a:pt x="2651" y="1231"/>
                    </a:cubicBezTo>
                    <a:cubicBezTo>
                      <a:pt x="2660" y="1250"/>
                      <a:pt x="2680" y="1269"/>
                      <a:pt x="2708" y="1287"/>
                    </a:cubicBezTo>
                    <a:cubicBezTo>
                      <a:pt x="2737" y="1304"/>
                      <a:pt x="2770" y="1317"/>
                      <a:pt x="2799" y="1327"/>
                    </a:cubicBezTo>
                    <a:cubicBezTo>
                      <a:pt x="2856" y="1348"/>
                      <a:pt x="3625" y="1625"/>
                      <a:pt x="3902" y="1716"/>
                    </a:cubicBezTo>
                    <a:cubicBezTo>
                      <a:pt x="3923" y="1723"/>
                      <a:pt x="3943" y="1731"/>
                      <a:pt x="3964" y="1739"/>
                    </a:cubicBezTo>
                    <a:cubicBezTo>
                      <a:pt x="4031" y="1405"/>
                      <a:pt x="4031" y="1405"/>
                      <a:pt x="4031" y="1405"/>
                    </a:cubicBezTo>
                    <a:cubicBezTo>
                      <a:pt x="4033" y="1400"/>
                      <a:pt x="4033" y="1400"/>
                      <a:pt x="4033" y="1400"/>
                    </a:cubicBezTo>
                    <a:cubicBezTo>
                      <a:pt x="4033" y="1400"/>
                      <a:pt x="4061" y="1348"/>
                      <a:pt x="4103" y="1279"/>
                    </a:cubicBezTo>
                    <a:cubicBezTo>
                      <a:pt x="4121" y="1249"/>
                      <a:pt x="4140" y="1199"/>
                      <a:pt x="4153" y="1157"/>
                    </a:cubicBezTo>
                    <a:cubicBezTo>
                      <a:pt x="4166" y="1115"/>
                      <a:pt x="4175" y="1082"/>
                      <a:pt x="4175" y="1082"/>
                    </a:cubicBezTo>
                    <a:cubicBezTo>
                      <a:pt x="4175" y="1078"/>
                      <a:pt x="4175" y="1078"/>
                      <a:pt x="4175" y="1078"/>
                    </a:cubicBezTo>
                    <a:cubicBezTo>
                      <a:pt x="4414" y="616"/>
                      <a:pt x="4414" y="616"/>
                      <a:pt x="4414" y="616"/>
                    </a:cubicBezTo>
                    <a:cubicBezTo>
                      <a:pt x="4390" y="59"/>
                      <a:pt x="4390" y="59"/>
                      <a:pt x="4390" y="59"/>
                    </a:cubicBezTo>
                    <a:cubicBezTo>
                      <a:pt x="4338" y="0"/>
                      <a:pt x="4338" y="0"/>
                      <a:pt x="4338" y="0"/>
                    </a:cubicBezTo>
                    <a:cubicBezTo>
                      <a:pt x="4426" y="0"/>
                      <a:pt x="4426" y="0"/>
                      <a:pt x="4426" y="0"/>
                    </a:cubicBezTo>
                    <a:cubicBezTo>
                      <a:pt x="4437" y="13"/>
                      <a:pt x="4437" y="13"/>
                      <a:pt x="4437" y="13"/>
                    </a:cubicBezTo>
                    <a:cubicBezTo>
                      <a:pt x="4505" y="10"/>
                      <a:pt x="4566" y="5"/>
                      <a:pt x="4623" y="0"/>
                    </a:cubicBezTo>
                    <a:cubicBezTo>
                      <a:pt x="5023" y="0"/>
                      <a:pt x="5023" y="0"/>
                      <a:pt x="5023" y="0"/>
                    </a:cubicBezTo>
                    <a:cubicBezTo>
                      <a:pt x="4940" y="23"/>
                      <a:pt x="4754" y="63"/>
                      <a:pt x="4457" y="77"/>
                    </a:cubicBezTo>
                    <a:cubicBezTo>
                      <a:pt x="4478" y="594"/>
                      <a:pt x="4478" y="594"/>
                      <a:pt x="4478" y="594"/>
                    </a:cubicBezTo>
                    <a:cubicBezTo>
                      <a:pt x="4483" y="596"/>
                      <a:pt x="4492" y="601"/>
                      <a:pt x="4504" y="607"/>
                    </a:cubicBezTo>
                    <a:cubicBezTo>
                      <a:pt x="4568" y="638"/>
                      <a:pt x="4723" y="710"/>
                      <a:pt x="4937" y="773"/>
                    </a:cubicBezTo>
                    <a:cubicBezTo>
                      <a:pt x="5094" y="820"/>
                      <a:pt x="5255" y="868"/>
                      <a:pt x="5387" y="903"/>
                    </a:cubicBezTo>
                    <a:cubicBezTo>
                      <a:pt x="5394" y="880"/>
                      <a:pt x="5404" y="844"/>
                      <a:pt x="5414" y="805"/>
                    </a:cubicBezTo>
                    <a:cubicBezTo>
                      <a:pt x="5432" y="739"/>
                      <a:pt x="5450" y="662"/>
                      <a:pt x="5451" y="635"/>
                    </a:cubicBezTo>
                    <a:cubicBezTo>
                      <a:pt x="5454" y="562"/>
                      <a:pt x="5471" y="532"/>
                      <a:pt x="5490" y="481"/>
                    </a:cubicBezTo>
                    <a:cubicBezTo>
                      <a:pt x="5498" y="462"/>
                      <a:pt x="5509" y="453"/>
                      <a:pt x="5524" y="439"/>
                    </a:cubicBezTo>
                    <a:cubicBezTo>
                      <a:pt x="5574" y="394"/>
                      <a:pt x="5677" y="326"/>
                      <a:pt x="5770" y="268"/>
                    </a:cubicBezTo>
                    <a:cubicBezTo>
                      <a:pt x="5817" y="239"/>
                      <a:pt x="5860" y="212"/>
                      <a:pt x="5892" y="193"/>
                    </a:cubicBezTo>
                    <a:cubicBezTo>
                      <a:pt x="5905" y="186"/>
                      <a:pt x="5916" y="179"/>
                      <a:pt x="5954" y="156"/>
                    </a:cubicBezTo>
                    <a:cubicBezTo>
                      <a:pt x="5989" y="212"/>
                      <a:pt x="5989" y="212"/>
                      <a:pt x="5989" y="212"/>
                    </a:cubicBezTo>
                    <a:cubicBezTo>
                      <a:pt x="5923" y="251"/>
                      <a:pt x="5835" y="303"/>
                      <a:pt x="5750" y="358"/>
                    </a:cubicBezTo>
                    <a:cubicBezTo>
                      <a:pt x="5700" y="391"/>
                      <a:pt x="5650" y="424"/>
                      <a:pt x="5612" y="453"/>
                    </a:cubicBezTo>
                    <a:cubicBezTo>
                      <a:pt x="5593" y="467"/>
                      <a:pt x="5577" y="479"/>
                      <a:pt x="5566" y="489"/>
                    </a:cubicBezTo>
                    <a:cubicBezTo>
                      <a:pt x="5561" y="494"/>
                      <a:pt x="5556" y="499"/>
                      <a:pt x="5554" y="502"/>
                    </a:cubicBezTo>
                    <a:cubicBezTo>
                      <a:pt x="5553" y="503"/>
                      <a:pt x="5552" y="504"/>
                      <a:pt x="5551" y="505"/>
                    </a:cubicBezTo>
                    <a:cubicBezTo>
                      <a:pt x="5530" y="563"/>
                      <a:pt x="5520" y="574"/>
                      <a:pt x="5516" y="638"/>
                    </a:cubicBezTo>
                    <a:cubicBezTo>
                      <a:pt x="5514" y="680"/>
                      <a:pt x="5495" y="753"/>
                      <a:pt x="5478" y="822"/>
                    </a:cubicBezTo>
                    <a:cubicBezTo>
                      <a:pt x="5468" y="860"/>
                      <a:pt x="5458" y="896"/>
                      <a:pt x="5451" y="919"/>
                    </a:cubicBezTo>
                    <a:cubicBezTo>
                      <a:pt x="5530" y="939"/>
                      <a:pt x="5595" y="952"/>
                      <a:pt x="5636" y="954"/>
                    </a:cubicBezTo>
                    <a:cubicBezTo>
                      <a:pt x="5648" y="955"/>
                      <a:pt x="5659" y="955"/>
                      <a:pt x="5670" y="955"/>
                    </a:cubicBezTo>
                    <a:cubicBezTo>
                      <a:pt x="5765" y="955"/>
                      <a:pt x="5819" y="931"/>
                      <a:pt x="5921" y="876"/>
                    </a:cubicBezTo>
                    <a:cubicBezTo>
                      <a:pt x="6033" y="814"/>
                      <a:pt x="6263" y="680"/>
                      <a:pt x="6263" y="680"/>
                    </a:cubicBezTo>
                    <a:cubicBezTo>
                      <a:pt x="6264" y="680"/>
                      <a:pt x="6264" y="680"/>
                      <a:pt x="6264" y="680"/>
                    </a:cubicBezTo>
                    <a:cubicBezTo>
                      <a:pt x="6265" y="679"/>
                      <a:pt x="6265" y="679"/>
                      <a:pt x="6265" y="679"/>
                    </a:cubicBezTo>
                    <a:cubicBezTo>
                      <a:pt x="6268" y="678"/>
                      <a:pt x="6320" y="652"/>
                      <a:pt x="6391" y="652"/>
                    </a:cubicBezTo>
                    <a:cubicBezTo>
                      <a:pt x="6465" y="651"/>
                      <a:pt x="6562" y="684"/>
                      <a:pt x="6627" y="798"/>
                    </a:cubicBezTo>
                    <a:cubicBezTo>
                      <a:pt x="6906" y="1300"/>
                      <a:pt x="6906" y="1300"/>
                      <a:pt x="6906" y="1300"/>
                    </a:cubicBezTo>
                    <a:cubicBezTo>
                      <a:pt x="6906" y="1300"/>
                      <a:pt x="6907" y="1303"/>
                      <a:pt x="6911" y="1309"/>
                    </a:cubicBezTo>
                    <a:cubicBezTo>
                      <a:pt x="6922" y="1327"/>
                      <a:pt x="6949" y="1369"/>
                      <a:pt x="6986" y="1406"/>
                    </a:cubicBezTo>
                    <a:cubicBezTo>
                      <a:pt x="7002" y="1423"/>
                      <a:pt x="7025" y="1438"/>
                      <a:pt x="7050" y="1455"/>
                    </a:cubicBezTo>
                    <a:cubicBezTo>
                      <a:pt x="7051" y="1447"/>
                      <a:pt x="7053" y="1440"/>
                      <a:pt x="7054" y="1432"/>
                    </a:cubicBezTo>
                    <a:cubicBezTo>
                      <a:pt x="7058" y="1413"/>
                      <a:pt x="7061" y="1393"/>
                      <a:pt x="7064" y="1377"/>
                    </a:cubicBezTo>
                    <a:cubicBezTo>
                      <a:pt x="7066" y="1368"/>
                      <a:pt x="7067" y="1359"/>
                      <a:pt x="7068" y="1354"/>
                    </a:cubicBezTo>
                    <a:cubicBezTo>
                      <a:pt x="7067" y="1351"/>
                      <a:pt x="7066" y="1349"/>
                      <a:pt x="7066" y="1347"/>
                    </a:cubicBezTo>
                    <a:cubicBezTo>
                      <a:pt x="7065" y="1343"/>
                      <a:pt x="7065" y="1340"/>
                      <a:pt x="7065" y="1338"/>
                    </a:cubicBezTo>
                    <a:cubicBezTo>
                      <a:pt x="7065" y="1323"/>
                      <a:pt x="7069" y="1306"/>
                      <a:pt x="7078" y="1287"/>
                    </a:cubicBezTo>
                    <a:cubicBezTo>
                      <a:pt x="7088" y="1269"/>
                      <a:pt x="7106" y="1248"/>
                      <a:pt x="7136" y="1243"/>
                    </a:cubicBezTo>
                    <a:cubicBezTo>
                      <a:pt x="7156" y="1239"/>
                      <a:pt x="7214" y="1229"/>
                      <a:pt x="7274" y="1217"/>
                    </a:cubicBezTo>
                    <a:cubicBezTo>
                      <a:pt x="7334" y="1205"/>
                      <a:pt x="7397" y="1189"/>
                      <a:pt x="7421" y="1179"/>
                    </a:cubicBezTo>
                    <a:cubicBezTo>
                      <a:pt x="7479" y="1156"/>
                      <a:pt x="7641" y="1121"/>
                      <a:pt x="7740" y="1109"/>
                    </a:cubicBezTo>
                    <a:cubicBezTo>
                      <a:pt x="7750" y="593"/>
                      <a:pt x="7750" y="593"/>
                      <a:pt x="7750" y="593"/>
                    </a:cubicBezTo>
                    <a:cubicBezTo>
                      <a:pt x="7588" y="275"/>
                      <a:pt x="7588" y="275"/>
                      <a:pt x="7588" y="275"/>
                    </a:cubicBezTo>
                    <a:cubicBezTo>
                      <a:pt x="7581" y="262"/>
                      <a:pt x="7511" y="146"/>
                      <a:pt x="7441" y="28"/>
                    </a:cubicBezTo>
                    <a:cubicBezTo>
                      <a:pt x="7436" y="19"/>
                      <a:pt x="7430" y="9"/>
                      <a:pt x="7425" y="0"/>
                    </a:cubicBezTo>
                    <a:cubicBezTo>
                      <a:pt x="7501" y="0"/>
                      <a:pt x="7501" y="0"/>
                      <a:pt x="7501" y="0"/>
                    </a:cubicBezTo>
                    <a:cubicBezTo>
                      <a:pt x="7574" y="122"/>
                      <a:pt x="7645" y="242"/>
                      <a:pt x="7645" y="242"/>
                    </a:cubicBezTo>
                    <a:cubicBezTo>
                      <a:pt x="7646" y="243"/>
                      <a:pt x="7646" y="243"/>
                      <a:pt x="7646" y="243"/>
                    </a:cubicBezTo>
                    <a:cubicBezTo>
                      <a:pt x="7816" y="578"/>
                      <a:pt x="7816" y="578"/>
                      <a:pt x="7816" y="578"/>
                    </a:cubicBezTo>
                    <a:cubicBezTo>
                      <a:pt x="7806" y="1105"/>
                      <a:pt x="7806" y="1105"/>
                      <a:pt x="7806" y="1105"/>
                    </a:cubicBezTo>
                    <a:cubicBezTo>
                      <a:pt x="7923" y="1105"/>
                      <a:pt x="8280" y="1126"/>
                      <a:pt x="8461" y="1132"/>
                    </a:cubicBezTo>
                    <a:cubicBezTo>
                      <a:pt x="8485" y="1133"/>
                      <a:pt x="8517" y="1134"/>
                      <a:pt x="8555" y="1134"/>
                    </a:cubicBezTo>
                    <a:cubicBezTo>
                      <a:pt x="8800" y="1134"/>
                      <a:pt x="9274" y="1118"/>
                      <a:pt x="9355" y="1118"/>
                    </a:cubicBezTo>
                    <a:cubicBezTo>
                      <a:pt x="9356" y="1118"/>
                      <a:pt x="9358" y="1118"/>
                      <a:pt x="9360" y="1118"/>
                    </a:cubicBezTo>
                    <a:cubicBezTo>
                      <a:pt x="9383" y="1105"/>
                      <a:pt x="9463" y="1049"/>
                      <a:pt x="9535" y="997"/>
                    </a:cubicBezTo>
                    <a:cubicBezTo>
                      <a:pt x="9574" y="970"/>
                      <a:pt x="9612" y="943"/>
                      <a:pt x="9640" y="924"/>
                    </a:cubicBezTo>
                    <a:cubicBezTo>
                      <a:pt x="9655" y="914"/>
                      <a:pt x="9667" y="905"/>
                      <a:pt x="9676" y="899"/>
                    </a:cubicBezTo>
                    <a:cubicBezTo>
                      <a:pt x="9680" y="896"/>
                      <a:pt x="9684" y="894"/>
                      <a:pt x="9688" y="892"/>
                    </a:cubicBezTo>
                    <a:cubicBezTo>
                      <a:pt x="9689" y="891"/>
                      <a:pt x="9691" y="890"/>
                      <a:pt x="9693" y="889"/>
                    </a:cubicBezTo>
                    <a:cubicBezTo>
                      <a:pt x="9696" y="888"/>
                      <a:pt x="9696" y="886"/>
                      <a:pt x="9709" y="885"/>
                    </a:cubicBezTo>
                    <a:cubicBezTo>
                      <a:pt x="9797" y="885"/>
                      <a:pt x="9797" y="885"/>
                      <a:pt x="9797" y="885"/>
                    </a:cubicBezTo>
                    <a:cubicBezTo>
                      <a:pt x="9795" y="793"/>
                      <a:pt x="9784" y="510"/>
                      <a:pt x="9773" y="241"/>
                    </a:cubicBezTo>
                    <a:cubicBezTo>
                      <a:pt x="9769" y="157"/>
                      <a:pt x="9766" y="75"/>
                      <a:pt x="9762" y="0"/>
                    </a:cubicBezTo>
                    <a:cubicBezTo>
                      <a:pt x="9828" y="0"/>
                      <a:pt x="9828" y="0"/>
                      <a:pt x="9828" y="0"/>
                    </a:cubicBezTo>
                    <a:cubicBezTo>
                      <a:pt x="9831" y="71"/>
                      <a:pt x="9834" y="149"/>
                      <a:pt x="9838" y="228"/>
                    </a:cubicBezTo>
                    <a:cubicBezTo>
                      <a:pt x="9993" y="225"/>
                      <a:pt x="9993" y="225"/>
                      <a:pt x="9993" y="225"/>
                    </a:cubicBezTo>
                    <a:cubicBezTo>
                      <a:pt x="9980" y="0"/>
                      <a:pt x="9980" y="0"/>
                      <a:pt x="9980" y="0"/>
                    </a:cubicBezTo>
                    <a:cubicBezTo>
                      <a:pt x="9994" y="0"/>
                      <a:pt x="9994" y="0"/>
                      <a:pt x="9994" y="0"/>
                    </a:cubicBezTo>
                    <a:cubicBezTo>
                      <a:pt x="10007" y="224"/>
                      <a:pt x="10007" y="224"/>
                      <a:pt x="10007" y="224"/>
                    </a:cubicBezTo>
                    <a:cubicBezTo>
                      <a:pt x="10196" y="220"/>
                      <a:pt x="10196" y="220"/>
                      <a:pt x="10196" y="220"/>
                    </a:cubicBezTo>
                    <a:cubicBezTo>
                      <a:pt x="10181" y="0"/>
                      <a:pt x="10181" y="0"/>
                      <a:pt x="10181" y="0"/>
                    </a:cubicBezTo>
                    <a:cubicBezTo>
                      <a:pt x="10195" y="0"/>
                      <a:pt x="10195" y="0"/>
                      <a:pt x="10195" y="0"/>
                    </a:cubicBezTo>
                    <a:cubicBezTo>
                      <a:pt x="10210" y="220"/>
                      <a:pt x="10210" y="220"/>
                      <a:pt x="10210" y="220"/>
                    </a:cubicBezTo>
                    <a:cubicBezTo>
                      <a:pt x="10591" y="212"/>
                      <a:pt x="10591" y="212"/>
                      <a:pt x="10591" y="212"/>
                    </a:cubicBezTo>
                    <a:cubicBezTo>
                      <a:pt x="10602" y="208"/>
                      <a:pt x="10715" y="167"/>
                      <a:pt x="10739" y="158"/>
                    </a:cubicBezTo>
                    <a:cubicBezTo>
                      <a:pt x="10714" y="0"/>
                      <a:pt x="10714" y="0"/>
                      <a:pt x="10714" y="0"/>
                    </a:cubicBezTo>
                    <a:cubicBezTo>
                      <a:pt x="10728" y="0"/>
                      <a:pt x="10728" y="0"/>
                      <a:pt x="10728" y="0"/>
                    </a:cubicBezTo>
                    <a:cubicBezTo>
                      <a:pt x="10753" y="156"/>
                      <a:pt x="10753" y="156"/>
                      <a:pt x="10753" y="156"/>
                    </a:cubicBezTo>
                    <a:cubicBezTo>
                      <a:pt x="10886" y="157"/>
                      <a:pt x="10886" y="157"/>
                      <a:pt x="10886" y="157"/>
                    </a:cubicBezTo>
                    <a:cubicBezTo>
                      <a:pt x="10877" y="0"/>
                      <a:pt x="10877" y="0"/>
                      <a:pt x="10877" y="0"/>
                    </a:cubicBezTo>
                    <a:cubicBezTo>
                      <a:pt x="10891" y="0"/>
                      <a:pt x="10891" y="0"/>
                      <a:pt x="10891" y="0"/>
                    </a:cubicBezTo>
                    <a:cubicBezTo>
                      <a:pt x="10900" y="158"/>
                      <a:pt x="10900" y="158"/>
                      <a:pt x="10900" y="158"/>
                    </a:cubicBezTo>
                    <a:cubicBezTo>
                      <a:pt x="11075" y="160"/>
                      <a:pt x="11075" y="160"/>
                      <a:pt x="11075" y="160"/>
                    </a:cubicBezTo>
                    <a:cubicBezTo>
                      <a:pt x="11063" y="0"/>
                      <a:pt x="11063" y="0"/>
                      <a:pt x="11063" y="0"/>
                    </a:cubicBezTo>
                    <a:cubicBezTo>
                      <a:pt x="11077" y="0"/>
                      <a:pt x="11077" y="0"/>
                      <a:pt x="11077" y="0"/>
                    </a:cubicBezTo>
                    <a:cubicBezTo>
                      <a:pt x="11089" y="160"/>
                      <a:pt x="11089" y="160"/>
                      <a:pt x="11089" y="160"/>
                    </a:cubicBezTo>
                    <a:cubicBezTo>
                      <a:pt x="11217" y="162"/>
                      <a:pt x="11217" y="162"/>
                      <a:pt x="11217" y="162"/>
                    </a:cubicBezTo>
                    <a:cubicBezTo>
                      <a:pt x="11206" y="0"/>
                      <a:pt x="11206" y="0"/>
                      <a:pt x="11206" y="0"/>
                    </a:cubicBezTo>
                    <a:cubicBezTo>
                      <a:pt x="11220" y="0"/>
                      <a:pt x="11220" y="0"/>
                      <a:pt x="11220" y="0"/>
                    </a:cubicBezTo>
                    <a:cubicBezTo>
                      <a:pt x="11231" y="162"/>
                      <a:pt x="11231" y="162"/>
                      <a:pt x="11231" y="162"/>
                    </a:cubicBezTo>
                    <a:cubicBezTo>
                      <a:pt x="11393" y="165"/>
                      <a:pt x="11393" y="165"/>
                      <a:pt x="11393" y="165"/>
                    </a:cubicBezTo>
                    <a:cubicBezTo>
                      <a:pt x="11384" y="0"/>
                      <a:pt x="11384" y="0"/>
                      <a:pt x="11384" y="0"/>
                    </a:cubicBezTo>
                    <a:cubicBezTo>
                      <a:pt x="11398" y="0"/>
                      <a:pt x="11398" y="0"/>
                      <a:pt x="11398" y="0"/>
                    </a:cubicBezTo>
                    <a:cubicBezTo>
                      <a:pt x="11407" y="165"/>
                      <a:pt x="11407" y="165"/>
                      <a:pt x="11407" y="165"/>
                    </a:cubicBezTo>
                    <a:cubicBezTo>
                      <a:pt x="11563" y="167"/>
                      <a:pt x="11563" y="167"/>
                      <a:pt x="11563" y="167"/>
                    </a:cubicBezTo>
                    <a:cubicBezTo>
                      <a:pt x="11563" y="108"/>
                      <a:pt x="11562" y="53"/>
                      <a:pt x="11561" y="0"/>
                    </a:cubicBezTo>
                    <a:cubicBezTo>
                      <a:pt x="11662" y="0"/>
                      <a:pt x="11662" y="0"/>
                      <a:pt x="11662" y="0"/>
                    </a:cubicBezTo>
                    <a:cubicBezTo>
                      <a:pt x="11626" y="4"/>
                      <a:pt x="11626" y="4"/>
                      <a:pt x="11626" y="4"/>
                    </a:cubicBezTo>
                    <a:cubicBezTo>
                      <a:pt x="11628" y="80"/>
                      <a:pt x="11629" y="163"/>
                      <a:pt x="11630" y="252"/>
                    </a:cubicBezTo>
                    <a:cubicBezTo>
                      <a:pt x="11631" y="492"/>
                      <a:pt x="11677" y="672"/>
                      <a:pt x="11722" y="792"/>
                    </a:cubicBezTo>
                    <a:cubicBezTo>
                      <a:pt x="11744" y="853"/>
                      <a:pt x="11766" y="898"/>
                      <a:pt x="11783" y="928"/>
                    </a:cubicBezTo>
                    <a:cubicBezTo>
                      <a:pt x="11784" y="931"/>
                      <a:pt x="11786" y="933"/>
                      <a:pt x="11787" y="936"/>
                    </a:cubicBezTo>
                    <a:cubicBezTo>
                      <a:pt x="11811" y="903"/>
                      <a:pt x="11846" y="863"/>
                      <a:pt x="11889" y="821"/>
                    </a:cubicBezTo>
                    <a:cubicBezTo>
                      <a:pt x="11938" y="774"/>
                      <a:pt x="11994" y="727"/>
                      <a:pt x="12057" y="698"/>
                    </a:cubicBezTo>
                    <a:cubicBezTo>
                      <a:pt x="12175" y="646"/>
                      <a:pt x="12296" y="645"/>
                      <a:pt x="12417" y="640"/>
                    </a:cubicBezTo>
                    <a:cubicBezTo>
                      <a:pt x="12483" y="638"/>
                      <a:pt x="12922" y="636"/>
                      <a:pt x="13365" y="633"/>
                    </a:cubicBezTo>
                    <a:cubicBezTo>
                      <a:pt x="13587" y="632"/>
                      <a:pt x="13808" y="631"/>
                      <a:pt x="13982" y="629"/>
                    </a:cubicBezTo>
                    <a:cubicBezTo>
                      <a:pt x="13987" y="629"/>
                      <a:pt x="13992" y="629"/>
                      <a:pt x="13998" y="629"/>
                    </a:cubicBezTo>
                    <a:cubicBezTo>
                      <a:pt x="14004" y="613"/>
                      <a:pt x="14015" y="583"/>
                      <a:pt x="14028" y="546"/>
                    </a:cubicBezTo>
                    <a:cubicBezTo>
                      <a:pt x="14070" y="424"/>
                      <a:pt x="14135" y="226"/>
                      <a:pt x="14155" y="165"/>
                    </a:cubicBezTo>
                    <a:cubicBezTo>
                      <a:pt x="13995" y="0"/>
                      <a:pt x="13995" y="0"/>
                      <a:pt x="13995" y="0"/>
                    </a:cubicBezTo>
                    <a:cubicBezTo>
                      <a:pt x="14087" y="0"/>
                      <a:pt x="14087" y="0"/>
                      <a:pt x="14087" y="0"/>
                    </a:cubicBezTo>
                    <a:cubicBezTo>
                      <a:pt x="14098" y="11"/>
                      <a:pt x="14098" y="11"/>
                      <a:pt x="14098" y="11"/>
                    </a:cubicBezTo>
                    <a:cubicBezTo>
                      <a:pt x="14228" y="143"/>
                      <a:pt x="14228" y="143"/>
                      <a:pt x="14228" y="143"/>
                    </a:cubicBezTo>
                    <a:cubicBezTo>
                      <a:pt x="14227" y="145"/>
                      <a:pt x="14227" y="145"/>
                      <a:pt x="14227" y="145"/>
                    </a:cubicBezTo>
                    <a:cubicBezTo>
                      <a:pt x="14229" y="147"/>
                      <a:pt x="14229" y="147"/>
                      <a:pt x="14229" y="147"/>
                    </a:cubicBezTo>
                    <a:cubicBezTo>
                      <a:pt x="14223" y="166"/>
                      <a:pt x="14223" y="166"/>
                      <a:pt x="14223" y="166"/>
                    </a:cubicBezTo>
                    <a:cubicBezTo>
                      <a:pt x="14223" y="166"/>
                      <a:pt x="14194" y="256"/>
                      <a:pt x="14160" y="360"/>
                    </a:cubicBezTo>
                    <a:cubicBezTo>
                      <a:pt x="14154" y="377"/>
                      <a:pt x="14149" y="395"/>
                      <a:pt x="14143" y="412"/>
                    </a:cubicBezTo>
                    <a:cubicBezTo>
                      <a:pt x="14122" y="476"/>
                      <a:pt x="14101" y="541"/>
                      <a:pt x="14084" y="589"/>
                    </a:cubicBezTo>
                    <a:cubicBezTo>
                      <a:pt x="14078" y="604"/>
                      <a:pt x="14074" y="617"/>
                      <a:pt x="14069" y="628"/>
                    </a:cubicBezTo>
                    <a:cubicBezTo>
                      <a:pt x="14197" y="627"/>
                      <a:pt x="14289" y="625"/>
                      <a:pt x="14309" y="623"/>
                    </a:cubicBezTo>
                    <a:cubicBezTo>
                      <a:pt x="14373" y="618"/>
                      <a:pt x="14454" y="612"/>
                      <a:pt x="14526" y="598"/>
                    </a:cubicBezTo>
                    <a:cubicBezTo>
                      <a:pt x="14599" y="585"/>
                      <a:pt x="14663" y="560"/>
                      <a:pt x="14684" y="539"/>
                    </a:cubicBezTo>
                    <a:cubicBezTo>
                      <a:pt x="14755" y="477"/>
                      <a:pt x="14814" y="365"/>
                      <a:pt x="14825" y="338"/>
                    </a:cubicBezTo>
                    <a:cubicBezTo>
                      <a:pt x="14830" y="328"/>
                      <a:pt x="14896" y="185"/>
                      <a:pt x="14982" y="0"/>
                    </a:cubicBezTo>
                    <a:cubicBezTo>
                      <a:pt x="15149" y="0"/>
                      <a:pt x="15149" y="0"/>
                      <a:pt x="15149" y="0"/>
                    </a:cubicBezTo>
                    <a:cubicBezTo>
                      <a:pt x="15050" y="215"/>
                      <a:pt x="14969" y="390"/>
                      <a:pt x="14964" y="402"/>
                    </a:cubicBezTo>
                    <a:cubicBezTo>
                      <a:pt x="14946" y="439"/>
                      <a:pt x="14887" y="562"/>
                      <a:pt x="14785" y="653"/>
                    </a:cubicBezTo>
                    <a:cubicBezTo>
                      <a:pt x="14721" y="708"/>
                      <a:pt x="14639" y="730"/>
                      <a:pt x="14555" y="747"/>
                    </a:cubicBezTo>
                    <a:cubicBezTo>
                      <a:pt x="14471" y="763"/>
                      <a:pt x="14385" y="770"/>
                      <a:pt x="14321" y="775"/>
                    </a:cubicBezTo>
                    <a:cubicBezTo>
                      <a:pt x="14282" y="778"/>
                      <a:pt x="14159" y="780"/>
                      <a:pt x="13983" y="782"/>
                    </a:cubicBezTo>
                    <a:cubicBezTo>
                      <a:pt x="13722" y="784"/>
                      <a:pt x="13354" y="786"/>
                      <a:pt x="13040" y="788"/>
                    </a:cubicBezTo>
                    <a:cubicBezTo>
                      <a:pt x="12981" y="788"/>
                      <a:pt x="12923" y="788"/>
                      <a:pt x="12868" y="789"/>
                    </a:cubicBezTo>
                    <a:cubicBezTo>
                      <a:pt x="12872" y="809"/>
                      <a:pt x="12878" y="837"/>
                      <a:pt x="12886" y="871"/>
                    </a:cubicBezTo>
                    <a:cubicBezTo>
                      <a:pt x="12989" y="868"/>
                      <a:pt x="13100" y="866"/>
                      <a:pt x="13217" y="866"/>
                    </a:cubicBezTo>
                    <a:cubicBezTo>
                      <a:pt x="13440" y="866"/>
                      <a:pt x="13684" y="871"/>
                      <a:pt x="13930" y="871"/>
                    </a:cubicBezTo>
                    <a:cubicBezTo>
                      <a:pt x="13952" y="871"/>
                      <a:pt x="13975" y="871"/>
                      <a:pt x="13998" y="871"/>
                    </a:cubicBezTo>
                    <a:cubicBezTo>
                      <a:pt x="14327" y="869"/>
                      <a:pt x="14534" y="848"/>
                      <a:pt x="14676" y="815"/>
                    </a:cubicBezTo>
                    <a:cubicBezTo>
                      <a:pt x="14817" y="781"/>
                      <a:pt x="14893" y="739"/>
                      <a:pt x="14975" y="686"/>
                    </a:cubicBezTo>
                    <a:cubicBezTo>
                      <a:pt x="14975" y="686"/>
                      <a:pt x="14975" y="686"/>
                      <a:pt x="14975" y="686"/>
                    </a:cubicBezTo>
                    <a:cubicBezTo>
                      <a:pt x="14976" y="686"/>
                      <a:pt x="14978" y="684"/>
                      <a:pt x="14980" y="681"/>
                    </a:cubicBezTo>
                    <a:cubicBezTo>
                      <a:pt x="14996" y="666"/>
                      <a:pt x="15029" y="623"/>
                      <a:pt x="15065" y="564"/>
                    </a:cubicBezTo>
                    <a:cubicBezTo>
                      <a:pt x="15148" y="433"/>
                      <a:pt x="15260" y="224"/>
                      <a:pt x="15374" y="0"/>
                    </a:cubicBezTo>
                    <a:cubicBezTo>
                      <a:pt x="15392" y="0"/>
                      <a:pt x="15392" y="0"/>
                      <a:pt x="15392" y="0"/>
                    </a:cubicBezTo>
                    <a:cubicBezTo>
                      <a:pt x="15277" y="227"/>
                      <a:pt x="15163" y="440"/>
                      <a:pt x="15079" y="573"/>
                    </a:cubicBezTo>
                    <a:cubicBezTo>
                      <a:pt x="15042" y="632"/>
                      <a:pt x="15010" y="676"/>
                      <a:pt x="14992" y="693"/>
                    </a:cubicBezTo>
                    <a:cubicBezTo>
                      <a:pt x="14990" y="695"/>
                      <a:pt x="14988" y="697"/>
                      <a:pt x="14986" y="698"/>
                    </a:cubicBezTo>
                    <a:cubicBezTo>
                      <a:pt x="14986" y="698"/>
                      <a:pt x="14986" y="698"/>
                      <a:pt x="14986" y="698"/>
                    </a:cubicBezTo>
                    <a:cubicBezTo>
                      <a:pt x="14986" y="699"/>
                      <a:pt x="14986" y="699"/>
                      <a:pt x="14986" y="699"/>
                    </a:cubicBezTo>
                    <a:cubicBezTo>
                      <a:pt x="14984" y="700"/>
                      <a:pt x="14984" y="700"/>
                      <a:pt x="14984" y="700"/>
                    </a:cubicBezTo>
                    <a:cubicBezTo>
                      <a:pt x="14985" y="699"/>
                      <a:pt x="14985" y="699"/>
                      <a:pt x="14985" y="699"/>
                    </a:cubicBezTo>
                    <a:cubicBezTo>
                      <a:pt x="14985" y="699"/>
                      <a:pt x="14984" y="700"/>
                      <a:pt x="14984" y="700"/>
                    </a:cubicBezTo>
                    <a:cubicBezTo>
                      <a:pt x="14984" y="700"/>
                      <a:pt x="14984" y="700"/>
                      <a:pt x="14984" y="700"/>
                    </a:cubicBezTo>
                    <a:cubicBezTo>
                      <a:pt x="14984" y="700"/>
                      <a:pt x="14984" y="700"/>
                      <a:pt x="14984" y="700"/>
                    </a:cubicBezTo>
                    <a:cubicBezTo>
                      <a:pt x="14983" y="700"/>
                      <a:pt x="14983" y="700"/>
                      <a:pt x="14983" y="700"/>
                    </a:cubicBezTo>
                    <a:cubicBezTo>
                      <a:pt x="14983" y="700"/>
                      <a:pt x="14983" y="700"/>
                      <a:pt x="14983" y="700"/>
                    </a:cubicBezTo>
                    <a:cubicBezTo>
                      <a:pt x="14983" y="700"/>
                      <a:pt x="14983" y="700"/>
                      <a:pt x="14983" y="700"/>
                    </a:cubicBezTo>
                    <a:cubicBezTo>
                      <a:pt x="14983" y="700"/>
                      <a:pt x="14983" y="700"/>
                      <a:pt x="14983" y="701"/>
                    </a:cubicBezTo>
                    <a:cubicBezTo>
                      <a:pt x="14901" y="754"/>
                      <a:pt x="14822" y="797"/>
                      <a:pt x="14679" y="831"/>
                    </a:cubicBezTo>
                    <a:cubicBezTo>
                      <a:pt x="14536" y="864"/>
                      <a:pt x="14328" y="886"/>
                      <a:pt x="13998" y="887"/>
                    </a:cubicBezTo>
                    <a:cubicBezTo>
                      <a:pt x="13975" y="887"/>
                      <a:pt x="13952" y="887"/>
                      <a:pt x="13930" y="887"/>
                    </a:cubicBezTo>
                    <a:cubicBezTo>
                      <a:pt x="13684" y="887"/>
                      <a:pt x="13440" y="883"/>
                      <a:pt x="13217" y="883"/>
                    </a:cubicBezTo>
                    <a:cubicBezTo>
                      <a:pt x="13101" y="883"/>
                      <a:pt x="12992" y="884"/>
                      <a:pt x="12890" y="888"/>
                    </a:cubicBezTo>
                    <a:cubicBezTo>
                      <a:pt x="12901" y="931"/>
                      <a:pt x="12916" y="982"/>
                      <a:pt x="12936" y="1034"/>
                    </a:cubicBezTo>
                    <a:cubicBezTo>
                      <a:pt x="12940" y="1043"/>
                      <a:pt x="12944" y="1054"/>
                      <a:pt x="12948" y="1065"/>
                    </a:cubicBezTo>
                    <a:cubicBezTo>
                      <a:pt x="13057" y="1042"/>
                      <a:pt x="13152" y="1020"/>
                      <a:pt x="13217" y="1012"/>
                    </a:cubicBezTo>
                    <a:cubicBezTo>
                      <a:pt x="13217" y="1006"/>
                      <a:pt x="13217" y="1006"/>
                      <a:pt x="13217" y="1006"/>
                    </a:cubicBezTo>
                    <a:cubicBezTo>
                      <a:pt x="13217" y="1006"/>
                      <a:pt x="13217" y="1006"/>
                      <a:pt x="13217" y="1006"/>
                    </a:cubicBezTo>
                    <a:cubicBezTo>
                      <a:pt x="13439" y="1006"/>
                      <a:pt x="13683" y="1010"/>
                      <a:pt x="13930" y="1010"/>
                    </a:cubicBezTo>
                    <a:cubicBezTo>
                      <a:pt x="13953" y="1010"/>
                      <a:pt x="13975" y="1010"/>
                      <a:pt x="13998" y="1010"/>
                    </a:cubicBezTo>
                    <a:cubicBezTo>
                      <a:pt x="14333" y="1009"/>
                      <a:pt x="14550" y="987"/>
                      <a:pt x="14707" y="951"/>
                    </a:cubicBezTo>
                    <a:cubicBezTo>
                      <a:pt x="14865" y="914"/>
                      <a:pt x="14964" y="860"/>
                      <a:pt x="15051" y="803"/>
                    </a:cubicBezTo>
                    <a:cubicBezTo>
                      <a:pt x="15071" y="789"/>
                      <a:pt x="15086" y="773"/>
                      <a:pt x="15103" y="753"/>
                    </a:cubicBezTo>
                    <a:cubicBezTo>
                      <a:pt x="15120" y="732"/>
                      <a:pt x="15138" y="708"/>
                      <a:pt x="15157" y="679"/>
                    </a:cubicBezTo>
                    <a:cubicBezTo>
                      <a:pt x="15195" y="621"/>
                      <a:pt x="15239" y="548"/>
                      <a:pt x="15287" y="462"/>
                    </a:cubicBezTo>
                    <a:cubicBezTo>
                      <a:pt x="15362" y="328"/>
                      <a:pt x="15446" y="166"/>
                      <a:pt x="15530" y="0"/>
                    </a:cubicBezTo>
                    <a:cubicBezTo>
                      <a:pt x="15548" y="0"/>
                      <a:pt x="15548" y="0"/>
                      <a:pt x="15548" y="0"/>
                    </a:cubicBezTo>
                    <a:cubicBezTo>
                      <a:pt x="15463" y="169"/>
                      <a:pt x="15377" y="334"/>
                      <a:pt x="15301" y="470"/>
                    </a:cubicBezTo>
                    <a:cubicBezTo>
                      <a:pt x="15253" y="556"/>
                      <a:pt x="15209" y="630"/>
                      <a:pt x="15171" y="688"/>
                    </a:cubicBezTo>
                    <a:cubicBezTo>
                      <a:pt x="15151" y="717"/>
                      <a:pt x="15133" y="742"/>
                      <a:pt x="15116" y="763"/>
                    </a:cubicBezTo>
                    <a:cubicBezTo>
                      <a:pt x="15098" y="784"/>
                      <a:pt x="15082" y="802"/>
                      <a:pt x="15060" y="817"/>
                    </a:cubicBezTo>
                    <a:cubicBezTo>
                      <a:pt x="14972" y="874"/>
                      <a:pt x="14870" y="930"/>
                      <a:pt x="14711" y="967"/>
                    </a:cubicBezTo>
                    <a:cubicBezTo>
                      <a:pt x="14551" y="1004"/>
                      <a:pt x="14334" y="1025"/>
                      <a:pt x="13998" y="1026"/>
                    </a:cubicBezTo>
                    <a:cubicBezTo>
                      <a:pt x="13975" y="1026"/>
                      <a:pt x="13953" y="1026"/>
                      <a:pt x="13930" y="1026"/>
                    </a:cubicBezTo>
                    <a:cubicBezTo>
                      <a:pt x="13701" y="1026"/>
                      <a:pt x="13475" y="1023"/>
                      <a:pt x="13267" y="1022"/>
                    </a:cubicBezTo>
                    <a:cubicBezTo>
                      <a:pt x="13267" y="1024"/>
                      <a:pt x="13267" y="1024"/>
                      <a:pt x="13267" y="1024"/>
                    </a:cubicBezTo>
                    <a:cubicBezTo>
                      <a:pt x="13267" y="1024"/>
                      <a:pt x="13267" y="1024"/>
                      <a:pt x="13267" y="1024"/>
                    </a:cubicBezTo>
                    <a:cubicBezTo>
                      <a:pt x="13213" y="1024"/>
                      <a:pt x="13095" y="1050"/>
                      <a:pt x="12954" y="1080"/>
                    </a:cubicBezTo>
                    <a:cubicBezTo>
                      <a:pt x="13018" y="1247"/>
                      <a:pt x="13122" y="1545"/>
                      <a:pt x="13150" y="1652"/>
                    </a:cubicBezTo>
                    <a:cubicBezTo>
                      <a:pt x="13172" y="1739"/>
                      <a:pt x="13192" y="1855"/>
                      <a:pt x="13201" y="1909"/>
                    </a:cubicBezTo>
                    <a:cubicBezTo>
                      <a:pt x="13263" y="1887"/>
                      <a:pt x="13323" y="1886"/>
                      <a:pt x="13367" y="1884"/>
                    </a:cubicBezTo>
                    <a:cubicBezTo>
                      <a:pt x="13368" y="1884"/>
                      <a:pt x="13368" y="1884"/>
                      <a:pt x="13368" y="1884"/>
                    </a:cubicBezTo>
                    <a:cubicBezTo>
                      <a:pt x="13369" y="1884"/>
                      <a:pt x="13369" y="1884"/>
                      <a:pt x="13369" y="1884"/>
                    </a:cubicBezTo>
                    <a:cubicBezTo>
                      <a:pt x="13369" y="1884"/>
                      <a:pt x="13524" y="1888"/>
                      <a:pt x="13738" y="1891"/>
                    </a:cubicBezTo>
                    <a:cubicBezTo>
                      <a:pt x="13952" y="1894"/>
                      <a:pt x="14224" y="1898"/>
                      <a:pt x="14458" y="1898"/>
                    </a:cubicBezTo>
                    <a:cubicBezTo>
                      <a:pt x="14690" y="1898"/>
                      <a:pt x="14887" y="1894"/>
                      <a:pt x="14938" y="1885"/>
                    </a:cubicBezTo>
                    <a:cubicBezTo>
                      <a:pt x="15117" y="1853"/>
                      <a:pt x="15694" y="1809"/>
                      <a:pt x="16195" y="1676"/>
                    </a:cubicBezTo>
                    <a:cubicBezTo>
                      <a:pt x="16682" y="1548"/>
                      <a:pt x="17387" y="1023"/>
                      <a:pt x="17835" y="728"/>
                    </a:cubicBezTo>
                    <a:cubicBezTo>
                      <a:pt x="17831" y="723"/>
                      <a:pt x="17827" y="717"/>
                      <a:pt x="17822" y="712"/>
                    </a:cubicBezTo>
                    <a:cubicBezTo>
                      <a:pt x="17691" y="551"/>
                      <a:pt x="17471" y="305"/>
                      <a:pt x="16993" y="0"/>
                    </a:cubicBezTo>
                    <a:cubicBezTo>
                      <a:pt x="17113" y="0"/>
                      <a:pt x="17113" y="0"/>
                      <a:pt x="17113" y="0"/>
                    </a:cubicBezTo>
                    <a:cubicBezTo>
                      <a:pt x="17539" y="284"/>
                      <a:pt x="17748" y="516"/>
                      <a:pt x="17873" y="671"/>
                    </a:cubicBezTo>
                    <a:cubicBezTo>
                      <a:pt x="17879" y="677"/>
                      <a:pt x="17884" y="685"/>
                      <a:pt x="17889" y="692"/>
                    </a:cubicBezTo>
                    <a:close/>
                    <a:moveTo>
                      <a:pt x="14971" y="695"/>
                    </a:moveTo>
                    <a:cubicBezTo>
                      <a:pt x="14971" y="695"/>
                      <a:pt x="14971" y="695"/>
                      <a:pt x="14971" y="695"/>
                    </a:cubicBezTo>
                    <a:cubicBezTo>
                      <a:pt x="14971" y="695"/>
                      <a:pt x="14971" y="695"/>
                      <a:pt x="14971" y="695"/>
                    </a:cubicBezTo>
                    <a:close/>
                    <a:moveTo>
                      <a:pt x="492" y="10347"/>
                    </a:moveTo>
                    <a:cubicBezTo>
                      <a:pt x="475" y="10355"/>
                      <a:pt x="460" y="10363"/>
                      <a:pt x="448" y="10370"/>
                    </a:cubicBezTo>
                    <a:cubicBezTo>
                      <a:pt x="447" y="10370"/>
                      <a:pt x="447" y="10370"/>
                      <a:pt x="446" y="10371"/>
                    </a:cubicBezTo>
                    <a:lnTo>
                      <a:pt x="492" y="10347"/>
                    </a:lnTo>
                    <a:close/>
                    <a:moveTo>
                      <a:pt x="6433" y="10655"/>
                    </a:moveTo>
                    <a:cubicBezTo>
                      <a:pt x="6426" y="10661"/>
                      <a:pt x="6426" y="10661"/>
                      <a:pt x="6426" y="10661"/>
                    </a:cubicBezTo>
                    <a:cubicBezTo>
                      <a:pt x="6365" y="10590"/>
                      <a:pt x="6365" y="10590"/>
                      <a:pt x="6365" y="10590"/>
                    </a:cubicBezTo>
                    <a:cubicBezTo>
                      <a:pt x="6259" y="10683"/>
                      <a:pt x="6259" y="10683"/>
                      <a:pt x="6259" y="10683"/>
                    </a:cubicBezTo>
                    <a:cubicBezTo>
                      <a:pt x="6352" y="10789"/>
                      <a:pt x="6352" y="10789"/>
                      <a:pt x="6352" y="10789"/>
                    </a:cubicBezTo>
                    <a:cubicBezTo>
                      <a:pt x="6423" y="10727"/>
                      <a:pt x="6423" y="10727"/>
                      <a:pt x="6423" y="10727"/>
                    </a:cubicBezTo>
                    <a:lnTo>
                      <a:pt x="6433" y="10655"/>
                    </a:lnTo>
                    <a:close/>
                    <a:moveTo>
                      <a:pt x="6449" y="10643"/>
                    </a:moveTo>
                    <a:cubicBezTo>
                      <a:pt x="6435" y="10735"/>
                      <a:pt x="6435" y="10735"/>
                      <a:pt x="6435" y="10735"/>
                    </a:cubicBezTo>
                    <a:cubicBezTo>
                      <a:pt x="6494" y="10803"/>
                      <a:pt x="6494" y="10803"/>
                      <a:pt x="6494" y="10803"/>
                    </a:cubicBezTo>
                    <a:cubicBezTo>
                      <a:pt x="6605" y="10713"/>
                      <a:pt x="6605" y="10713"/>
                      <a:pt x="6605" y="10713"/>
                    </a:cubicBezTo>
                    <a:cubicBezTo>
                      <a:pt x="6506" y="10599"/>
                      <a:pt x="6506" y="10599"/>
                      <a:pt x="6506" y="10599"/>
                    </a:cubicBezTo>
                    <a:lnTo>
                      <a:pt x="6449" y="10643"/>
                    </a:lnTo>
                    <a:close/>
                    <a:moveTo>
                      <a:pt x="12553" y="1161"/>
                    </a:moveTo>
                    <a:cubicBezTo>
                      <a:pt x="12380" y="1208"/>
                      <a:pt x="12268" y="1262"/>
                      <a:pt x="12241" y="1277"/>
                    </a:cubicBezTo>
                    <a:cubicBezTo>
                      <a:pt x="12173" y="1315"/>
                      <a:pt x="11806" y="1612"/>
                      <a:pt x="11626" y="1737"/>
                    </a:cubicBezTo>
                    <a:cubicBezTo>
                      <a:pt x="11580" y="1780"/>
                      <a:pt x="11533" y="1824"/>
                      <a:pt x="11487" y="1867"/>
                    </a:cubicBezTo>
                    <a:cubicBezTo>
                      <a:pt x="11342" y="2003"/>
                      <a:pt x="11204" y="2133"/>
                      <a:pt x="11093" y="2236"/>
                    </a:cubicBezTo>
                    <a:cubicBezTo>
                      <a:pt x="11038" y="2287"/>
                      <a:pt x="10989" y="2331"/>
                      <a:pt x="10948" y="2366"/>
                    </a:cubicBezTo>
                    <a:cubicBezTo>
                      <a:pt x="10908" y="2401"/>
                      <a:pt x="10877" y="2425"/>
                      <a:pt x="10850" y="2442"/>
                    </a:cubicBezTo>
                    <a:cubicBezTo>
                      <a:pt x="10829" y="2454"/>
                      <a:pt x="10807" y="2463"/>
                      <a:pt x="10775" y="2475"/>
                    </a:cubicBezTo>
                    <a:cubicBezTo>
                      <a:pt x="10731" y="2491"/>
                      <a:pt x="10670" y="2511"/>
                      <a:pt x="10596" y="2534"/>
                    </a:cubicBezTo>
                    <a:cubicBezTo>
                      <a:pt x="10627" y="2650"/>
                      <a:pt x="10666" y="2794"/>
                      <a:pt x="10703" y="2941"/>
                    </a:cubicBezTo>
                    <a:cubicBezTo>
                      <a:pt x="10754" y="2940"/>
                      <a:pt x="11122" y="2932"/>
                      <a:pt x="11492" y="2924"/>
                    </a:cubicBezTo>
                    <a:cubicBezTo>
                      <a:pt x="11889" y="2916"/>
                      <a:pt x="12286" y="2907"/>
                      <a:pt x="12286" y="2907"/>
                    </a:cubicBezTo>
                    <a:cubicBezTo>
                      <a:pt x="12286" y="2907"/>
                      <a:pt x="12286" y="2907"/>
                      <a:pt x="12286" y="2907"/>
                    </a:cubicBezTo>
                    <a:cubicBezTo>
                      <a:pt x="12288" y="2907"/>
                      <a:pt x="12290" y="2907"/>
                      <a:pt x="12294" y="2907"/>
                    </a:cubicBezTo>
                    <a:cubicBezTo>
                      <a:pt x="12313" y="2907"/>
                      <a:pt x="12358" y="2909"/>
                      <a:pt x="12410" y="2924"/>
                    </a:cubicBezTo>
                    <a:cubicBezTo>
                      <a:pt x="12426" y="2886"/>
                      <a:pt x="12461" y="2806"/>
                      <a:pt x="12477" y="2772"/>
                    </a:cubicBezTo>
                    <a:cubicBezTo>
                      <a:pt x="12482" y="2760"/>
                      <a:pt x="12490" y="2749"/>
                      <a:pt x="12503" y="2731"/>
                    </a:cubicBezTo>
                    <a:cubicBezTo>
                      <a:pt x="12589" y="2613"/>
                      <a:pt x="12867" y="2274"/>
                      <a:pt x="12885" y="2251"/>
                    </a:cubicBezTo>
                    <a:cubicBezTo>
                      <a:pt x="12896" y="2235"/>
                      <a:pt x="12999" y="2082"/>
                      <a:pt x="13079" y="1991"/>
                    </a:cubicBezTo>
                    <a:cubicBezTo>
                      <a:pt x="13098" y="1970"/>
                      <a:pt x="13119" y="1953"/>
                      <a:pt x="13140" y="1939"/>
                    </a:cubicBezTo>
                    <a:cubicBezTo>
                      <a:pt x="13137" y="1924"/>
                      <a:pt x="13132" y="1891"/>
                      <a:pt x="13125" y="1851"/>
                    </a:cubicBezTo>
                    <a:cubicBezTo>
                      <a:pt x="13115" y="1795"/>
                      <a:pt x="13101" y="1724"/>
                      <a:pt x="13086" y="1668"/>
                    </a:cubicBezTo>
                    <a:cubicBezTo>
                      <a:pt x="13060" y="1566"/>
                      <a:pt x="12951" y="1257"/>
                      <a:pt x="12889" y="1094"/>
                    </a:cubicBezTo>
                    <a:cubicBezTo>
                      <a:pt x="12778" y="1116"/>
                      <a:pt x="12653" y="1133"/>
                      <a:pt x="12553" y="1161"/>
                    </a:cubicBezTo>
                    <a:close/>
                    <a:moveTo>
                      <a:pt x="8677" y="6528"/>
                    </a:moveTo>
                    <a:cubicBezTo>
                      <a:pt x="8677" y="6822"/>
                      <a:pt x="8668" y="7133"/>
                      <a:pt x="8663" y="7220"/>
                    </a:cubicBezTo>
                    <a:cubicBezTo>
                      <a:pt x="8661" y="7273"/>
                      <a:pt x="8657" y="7328"/>
                      <a:pt x="8657" y="7383"/>
                    </a:cubicBezTo>
                    <a:cubicBezTo>
                      <a:pt x="8657" y="7465"/>
                      <a:pt x="8666" y="7544"/>
                      <a:pt x="8694" y="7607"/>
                    </a:cubicBezTo>
                    <a:cubicBezTo>
                      <a:pt x="8739" y="7714"/>
                      <a:pt x="8880" y="7843"/>
                      <a:pt x="9026" y="7905"/>
                    </a:cubicBezTo>
                    <a:cubicBezTo>
                      <a:pt x="9182" y="7973"/>
                      <a:pt x="9734" y="8222"/>
                      <a:pt x="10215" y="8387"/>
                    </a:cubicBezTo>
                    <a:cubicBezTo>
                      <a:pt x="10658" y="7134"/>
                      <a:pt x="10658" y="7134"/>
                      <a:pt x="10658" y="7134"/>
                    </a:cubicBezTo>
                    <a:cubicBezTo>
                      <a:pt x="10575" y="7084"/>
                      <a:pt x="10436" y="7001"/>
                      <a:pt x="10309" y="6926"/>
                    </a:cubicBezTo>
                    <a:cubicBezTo>
                      <a:pt x="10236" y="6883"/>
                      <a:pt x="10166" y="6842"/>
                      <a:pt x="10114" y="6812"/>
                    </a:cubicBezTo>
                    <a:cubicBezTo>
                      <a:pt x="10088" y="6797"/>
                      <a:pt x="10067" y="6784"/>
                      <a:pt x="10052" y="6776"/>
                    </a:cubicBezTo>
                    <a:cubicBezTo>
                      <a:pt x="10044" y="6771"/>
                      <a:pt x="10038" y="6768"/>
                      <a:pt x="10034" y="6766"/>
                    </a:cubicBezTo>
                    <a:cubicBezTo>
                      <a:pt x="10032" y="6765"/>
                      <a:pt x="10031" y="6764"/>
                      <a:pt x="10030" y="6763"/>
                    </a:cubicBezTo>
                    <a:cubicBezTo>
                      <a:pt x="10029" y="6763"/>
                      <a:pt x="10029" y="6763"/>
                      <a:pt x="10029" y="6763"/>
                    </a:cubicBezTo>
                    <a:cubicBezTo>
                      <a:pt x="10029" y="6763"/>
                      <a:pt x="10029" y="6763"/>
                      <a:pt x="10029" y="6763"/>
                    </a:cubicBezTo>
                    <a:cubicBezTo>
                      <a:pt x="10014" y="6757"/>
                      <a:pt x="10009" y="6749"/>
                      <a:pt x="10000" y="6738"/>
                    </a:cubicBezTo>
                    <a:cubicBezTo>
                      <a:pt x="9975" y="6704"/>
                      <a:pt x="9947" y="6633"/>
                      <a:pt x="9947" y="6504"/>
                    </a:cubicBezTo>
                    <a:cubicBezTo>
                      <a:pt x="9947" y="6493"/>
                      <a:pt x="9947" y="6482"/>
                      <a:pt x="9947" y="6471"/>
                    </a:cubicBezTo>
                    <a:cubicBezTo>
                      <a:pt x="9952" y="6336"/>
                      <a:pt x="9976" y="6021"/>
                      <a:pt x="9976" y="5765"/>
                    </a:cubicBezTo>
                    <a:cubicBezTo>
                      <a:pt x="9976" y="5661"/>
                      <a:pt x="9972" y="5566"/>
                      <a:pt x="9961" y="5499"/>
                    </a:cubicBezTo>
                    <a:cubicBezTo>
                      <a:pt x="9943" y="5383"/>
                      <a:pt x="9856" y="5033"/>
                      <a:pt x="9773" y="4715"/>
                    </a:cubicBezTo>
                    <a:cubicBezTo>
                      <a:pt x="9700" y="4435"/>
                      <a:pt x="9631" y="4179"/>
                      <a:pt x="9615" y="4121"/>
                    </a:cubicBezTo>
                    <a:cubicBezTo>
                      <a:pt x="8039" y="4576"/>
                      <a:pt x="8039" y="4576"/>
                      <a:pt x="8039" y="4576"/>
                    </a:cubicBezTo>
                    <a:cubicBezTo>
                      <a:pt x="8348" y="5106"/>
                      <a:pt x="8348" y="5106"/>
                      <a:pt x="8348" y="5106"/>
                    </a:cubicBezTo>
                    <a:cubicBezTo>
                      <a:pt x="8348" y="5108"/>
                      <a:pt x="8348" y="5108"/>
                      <a:pt x="8348" y="5108"/>
                    </a:cubicBezTo>
                    <a:cubicBezTo>
                      <a:pt x="8469" y="5339"/>
                      <a:pt x="8648" y="5796"/>
                      <a:pt x="8669" y="6140"/>
                    </a:cubicBezTo>
                    <a:cubicBezTo>
                      <a:pt x="8675" y="6248"/>
                      <a:pt x="8677" y="6386"/>
                      <a:pt x="8677" y="6528"/>
                    </a:cubicBezTo>
                    <a:close/>
                    <a:moveTo>
                      <a:pt x="8203" y="7966"/>
                    </a:moveTo>
                    <a:cubicBezTo>
                      <a:pt x="8252" y="7960"/>
                      <a:pt x="8306" y="7952"/>
                      <a:pt x="8356" y="7943"/>
                    </a:cubicBezTo>
                    <a:cubicBezTo>
                      <a:pt x="8318" y="7909"/>
                      <a:pt x="8197" y="7787"/>
                      <a:pt x="8083" y="7672"/>
                    </a:cubicBezTo>
                    <a:cubicBezTo>
                      <a:pt x="8006" y="7700"/>
                      <a:pt x="7933" y="7728"/>
                      <a:pt x="7909" y="7737"/>
                    </a:cubicBezTo>
                    <a:cubicBezTo>
                      <a:pt x="8133" y="7975"/>
                      <a:pt x="8133" y="7975"/>
                      <a:pt x="8133" y="7975"/>
                    </a:cubicBezTo>
                    <a:cubicBezTo>
                      <a:pt x="8146" y="7973"/>
                      <a:pt x="8160" y="7972"/>
                      <a:pt x="8174" y="7970"/>
                    </a:cubicBezTo>
                    <a:cubicBezTo>
                      <a:pt x="8179" y="7969"/>
                      <a:pt x="8184" y="7969"/>
                      <a:pt x="8188" y="7968"/>
                    </a:cubicBezTo>
                    <a:cubicBezTo>
                      <a:pt x="8091" y="7863"/>
                      <a:pt x="8091" y="7863"/>
                      <a:pt x="8091" y="7863"/>
                    </a:cubicBezTo>
                    <a:cubicBezTo>
                      <a:pt x="8147" y="7812"/>
                      <a:pt x="8147" y="7812"/>
                      <a:pt x="8147" y="7812"/>
                    </a:cubicBezTo>
                    <a:cubicBezTo>
                      <a:pt x="8151" y="7817"/>
                      <a:pt x="8151" y="7817"/>
                      <a:pt x="8151" y="7817"/>
                    </a:cubicBezTo>
                    <a:cubicBezTo>
                      <a:pt x="8250" y="7923"/>
                      <a:pt x="8250" y="7923"/>
                      <a:pt x="8250" y="7923"/>
                    </a:cubicBezTo>
                    <a:lnTo>
                      <a:pt x="8203" y="7966"/>
                    </a:lnTo>
                    <a:close/>
                    <a:moveTo>
                      <a:pt x="8231" y="7922"/>
                    </a:moveTo>
                    <a:cubicBezTo>
                      <a:pt x="8146" y="7830"/>
                      <a:pt x="8146" y="7830"/>
                      <a:pt x="8146" y="7830"/>
                    </a:cubicBezTo>
                    <a:cubicBezTo>
                      <a:pt x="8110" y="7864"/>
                      <a:pt x="8110" y="7864"/>
                      <a:pt x="8110" y="7864"/>
                    </a:cubicBezTo>
                    <a:cubicBezTo>
                      <a:pt x="8195" y="7956"/>
                      <a:pt x="8195" y="7956"/>
                      <a:pt x="8195" y="7956"/>
                    </a:cubicBezTo>
                    <a:lnTo>
                      <a:pt x="8231" y="7922"/>
                    </a:lnTo>
                    <a:close/>
                    <a:moveTo>
                      <a:pt x="5957" y="9750"/>
                    </a:moveTo>
                    <a:cubicBezTo>
                      <a:pt x="5998" y="9636"/>
                      <a:pt x="5998" y="9636"/>
                      <a:pt x="5998" y="9636"/>
                    </a:cubicBezTo>
                    <a:cubicBezTo>
                      <a:pt x="5871" y="9616"/>
                      <a:pt x="5871" y="9616"/>
                      <a:pt x="5871" y="9616"/>
                    </a:cubicBezTo>
                    <a:cubicBezTo>
                      <a:pt x="5824" y="9745"/>
                      <a:pt x="5824" y="9745"/>
                      <a:pt x="5824" y="9745"/>
                    </a:cubicBezTo>
                    <a:cubicBezTo>
                      <a:pt x="5869" y="9747"/>
                      <a:pt x="5916" y="9749"/>
                      <a:pt x="5957" y="9750"/>
                    </a:cubicBezTo>
                    <a:close/>
                    <a:moveTo>
                      <a:pt x="5819" y="9759"/>
                    </a:moveTo>
                    <a:cubicBezTo>
                      <a:pt x="5775" y="9881"/>
                      <a:pt x="5775" y="9881"/>
                      <a:pt x="5775" y="9881"/>
                    </a:cubicBezTo>
                    <a:cubicBezTo>
                      <a:pt x="5893" y="9926"/>
                      <a:pt x="5893" y="9926"/>
                      <a:pt x="5893" y="9926"/>
                    </a:cubicBezTo>
                    <a:cubicBezTo>
                      <a:pt x="5952" y="9764"/>
                      <a:pt x="5952" y="9764"/>
                      <a:pt x="5952" y="9764"/>
                    </a:cubicBezTo>
                    <a:cubicBezTo>
                      <a:pt x="5911" y="9762"/>
                      <a:pt x="5863" y="9761"/>
                      <a:pt x="5819" y="9759"/>
                    </a:cubicBezTo>
                    <a:close/>
                    <a:moveTo>
                      <a:pt x="5380" y="9668"/>
                    </a:moveTo>
                    <a:cubicBezTo>
                      <a:pt x="5383" y="9620"/>
                      <a:pt x="5384" y="9574"/>
                      <a:pt x="5384" y="9539"/>
                    </a:cubicBezTo>
                    <a:cubicBezTo>
                      <a:pt x="5384" y="9521"/>
                      <a:pt x="5384" y="9506"/>
                      <a:pt x="5383" y="9494"/>
                    </a:cubicBezTo>
                    <a:cubicBezTo>
                      <a:pt x="5379" y="9436"/>
                      <a:pt x="5355" y="9367"/>
                      <a:pt x="5332" y="9309"/>
                    </a:cubicBezTo>
                    <a:cubicBezTo>
                      <a:pt x="5308" y="9249"/>
                      <a:pt x="5284" y="9204"/>
                      <a:pt x="5278" y="9179"/>
                    </a:cubicBezTo>
                    <a:cubicBezTo>
                      <a:pt x="5275" y="9166"/>
                      <a:pt x="5260" y="9142"/>
                      <a:pt x="5246" y="9124"/>
                    </a:cubicBezTo>
                    <a:cubicBezTo>
                      <a:pt x="5241" y="9117"/>
                      <a:pt x="5236" y="9111"/>
                      <a:pt x="5232" y="9106"/>
                    </a:cubicBezTo>
                    <a:cubicBezTo>
                      <a:pt x="5162" y="9155"/>
                      <a:pt x="5075" y="9199"/>
                      <a:pt x="4967" y="9218"/>
                    </a:cubicBezTo>
                    <a:cubicBezTo>
                      <a:pt x="5123" y="9674"/>
                      <a:pt x="5123" y="9674"/>
                      <a:pt x="5123" y="9674"/>
                    </a:cubicBezTo>
                    <a:cubicBezTo>
                      <a:pt x="5250" y="9671"/>
                      <a:pt x="5349" y="9669"/>
                      <a:pt x="5380" y="9668"/>
                    </a:cubicBezTo>
                    <a:close/>
                    <a:moveTo>
                      <a:pt x="5184" y="9686"/>
                    </a:moveTo>
                    <a:cubicBezTo>
                      <a:pt x="5171" y="10071"/>
                      <a:pt x="5171" y="10071"/>
                      <a:pt x="5171" y="10071"/>
                    </a:cubicBezTo>
                    <a:cubicBezTo>
                      <a:pt x="5232" y="10061"/>
                      <a:pt x="5292" y="10052"/>
                      <a:pt x="5351" y="10044"/>
                    </a:cubicBezTo>
                    <a:cubicBezTo>
                      <a:pt x="5354" y="10011"/>
                      <a:pt x="5361" y="9943"/>
                      <a:pt x="5367" y="9864"/>
                    </a:cubicBezTo>
                    <a:cubicBezTo>
                      <a:pt x="5371" y="9805"/>
                      <a:pt x="5376" y="9742"/>
                      <a:pt x="5379" y="9682"/>
                    </a:cubicBezTo>
                    <a:cubicBezTo>
                      <a:pt x="5353" y="9683"/>
                      <a:pt x="5280" y="9684"/>
                      <a:pt x="5184" y="9686"/>
                    </a:cubicBezTo>
                    <a:close/>
                    <a:moveTo>
                      <a:pt x="4530" y="9774"/>
                    </a:moveTo>
                    <a:cubicBezTo>
                      <a:pt x="4483" y="9790"/>
                      <a:pt x="4483" y="9790"/>
                      <a:pt x="4483" y="9790"/>
                    </a:cubicBezTo>
                    <a:cubicBezTo>
                      <a:pt x="4535" y="9954"/>
                      <a:pt x="4535" y="9954"/>
                      <a:pt x="4535" y="9954"/>
                    </a:cubicBezTo>
                    <a:cubicBezTo>
                      <a:pt x="4582" y="9939"/>
                      <a:pt x="4582" y="9939"/>
                      <a:pt x="4582" y="9939"/>
                    </a:cubicBezTo>
                    <a:cubicBezTo>
                      <a:pt x="4558" y="9867"/>
                      <a:pt x="4558" y="9867"/>
                      <a:pt x="4558" y="9867"/>
                    </a:cubicBezTo>
                    <a:cubicBezTo>
                      <a:pt x="4628" y="9844"/>
                      <a:pt x="4628" y="9844"/>
                      <a:pt x="4628" y="9844"/>
                    </a:cubicBezTo>
                    <a:cubicBezTo>
                      <a:pt x="4592" y="9735"/>
                      <a:pt x="4592" y="9735"/>
                      <a:pt x="4592" y="9735"/>
                    </a:cubicBezTo>
                    <a:cubicBezTo>
                      <a:pt x="4525" y="9757"/>
                      <a:pt x="4525" y="9757"/>
                      <a:pt x="4525" y="9757"/>
                    </a:cubicBezTo>
                    <a:cubicBezTo>
                      <a:pt x="4528" y="9768"/>
                      <a:pt x="4528" y="9768"/>
                      <a:pt x="4528" y="9768"/>
                    </a:cubicBezTo>
                    <a:lnTo>
                      <a:pt x="4530" y="9774"/>
                    </a:lnTo>
                    <a:close/>
                    <a:moveTo>
                      <a:pt x="4527" y="9971"/>
                    </a:moveTo>
                    <a:cubicBezTo>
                      <a:pt x="4627" y="10188"/>
                      <a:pt x="4627" y="10188"/>
                      <a:pt x="4627" y="10188"/>
                    </a:cubicBezTo>
                    <a:cubicBezTo>
                      <a:pt x="4661" y="10179"/>
                      <a:pt x="4694" y="10171"/>
                      <a:pt x="4727" y="10163"/>
                    </a:cubicBezTo>
                    <a:cubicBezTo>
                      <a:pt x="4641" y="9698"/>
                      <a:pt x="4641" y="9698"/>
                      <a:pt x="4641" y="9698"/>
                    </a:cubicBezTo>
                    <a:cubicBezTo>
                      <a:pt x="4545" y="9700"/>
                      <a:pt x="4460" y="9702"/>
                      <a:pt x="4405" y="9703"/>
                    </a:cubicBezTo>
                    <a:cubicBezTo>
                      <a:pt x="4524" y="9964"/>
                      <a:pt x="4524" y="9964"/>
                      <a:pt x="4524" y="9964"/>
                    </a:cubicBezTo>
                    <a:cubicBezTo>
                      <a:pt x="4467" y="9781"/>
                      <a:pt x="4467" y="9781"/>
                      <a:pt x="4467" y="9781"/>
                    </a:cubicBezTo>
                    <a:cubicBezTo>
                      <a:pt x="4514" y="9766"/>
                      <a:pt x="4514" y="9766"/>
                      <a:pt x="4514" y="9766"/>
                    </a:cubicBezTo>
                    <a:cubicBezTo>
                      <a:pt x="4510" y="9755"/>
                      <a:pt x="4510" y="9755"/>
                      <a:pt x="4510" y="9755"/>
                    </a:cubicBezTo>
                    <a:cubicBezTo>
                      <a:pt x="4508" y="9749"/>
                      <a:pt x="4508" y="9749"/>
                      <a:pt x="4508" y="9749"/>
                    </a:cubicBezTo>
                    <a:cubicBezTo>
                      <a:pt x="4600" y="9718"/>
                      <a:pt x="4600" y="9718"/>
                      <a:pt x="4600" y="9718"/>
                    </a:cubicBezTo>
                    <a:cubicBezTo>
                      <a:pt x="4644" y="9852"/>
                      <a:pt x="4644" y="9852"/>
                      <a:pt x="4644" y="9852"/>
                    </a:cubicBezTo>
                    <a:cubicBezTo>
                      <a:pt x="4575" y="9875"/>
                      <a:pt x="4575" y="9875"/>
                      <a:pt x="4575" y="9875"/>
                    </a:cubicBezTo>
                    <a:cubicBezTo>
                      <a:pt x="4598" y="9947"/>
                      <a:pt x="4598" y="9947"/>
                      <a:pt x="4598" y="9947"/>
                    </a:cubicBezTo>
                    <a:lnTo>
                      <a:pt x="4527" y="9971"/>
                    </a:lnTo>
                    <a:close/>
                    <a:moveTo>
                      <a:pt x="3556" y="10129"/>
                    </a:moveTo>
                    <a:cubicBezTo>
                      <a:pt x="3558" y="10126"/>
                      <a:pt x="3558" y="10126"/>
                      <a:pt x="3558" y="10126"/>
                    </a:cubicBezTo>
                    <a:cubicBezTo>
                      <a:pt x="3558" y="10126"/>
                      <a:pt x="3558" y="10126"/>
                      <a:pt x="3558" y="10126"/>
                    </a:cubicBezTo>
                    <a:cubicBezTo>
                      <a:pt x="3554" y="10130"/>
                      <a:pt x="3554" y="10130"/>
                      <a:pt x="3554" y="10130"/>
                    </a:cubicBezTo>
                    <a:cubicBezTo>
                      <a:pt x="3554" y="10133"/>
                      <a:pt x="3554" y="10133"/>
                      <a:pt x="3554" y="10133"/>
                    </a:cubicBezTo>
                    <a:cubicBezTo>
                      <a:pt x="3558" y="10127"/>
                      <a:pt x="3558" y="10127"/>
                      <a:pt x="3558" y="10127"/>
                    </a:cubicBezTo>
                    <a:lnTo>
                      <a:pt x="3556" y="10129"/>
                    </a:lnTo>
                    <a:close/>
                    <a:moveTo>
                      <a:pt x="3559" y="10125"/>
                    </a:moveTo>
                    <a:cubicBezTo>
                      <a:pt x="3695" y="9904"/>
                      <a:pt x="3695" y="9904"/>
                      <a:pt x="3695" y="9904"/>
                    </a:cubicBezTo>
                    <a:cubicBezTo>
                      <a:pt x="3696" y="9903"/>
                      <a:pt x="3696" y="9903"/>
                      <a:pt x="3696" y="9903"/>
                    </a:cubicBezTo>
                    <a:cubicBezTo>
                      <a:pt x="3696" y="9903"/>
                      <a:pt x="4166" y="9598"/>
                      <a:pt x="4257" y="9539"/>
                    </a:cubicBezTo>
                    <a:cubicBezTo>
                      <a:pt x="4138" y="9280"/>
                      <a:pt x="4138" y="9280"/>
                      <a:pt x="4138" y="9280"/>
                    </a:cubicBezTo>
                    <a:cubicBezTo>
                      <a:pt x="4025" y="9007"/>
                      <a:pt x="4025" y="9007"/>
                      <a:pt x="4025" y="9007"/>
                    </a:cubicBezTo>
                    <a:cubicBezTo>
                      <a:pt x="3977" y="9019"/>
                      <a:pt x="3860" y="9051"/>
                      <a:pt x="3748" y="9086"/>
                    </a:cubicBezTo>
                    <a:cubicBezTo>
                      <a:pt x="3637" y="9121"/>
                      <a:pt x="3571" y="9160"/>
                      <a:pt x="3529" y="9199"/>
                    </a:cubicBezTo>
                    <a:cubicBezTo>
                      <a:pt x="3610" y="9299"/>
                      <a:pt x="3945" y="9737"/>
                      <a:pt x="3945" y="9737"/>
                    </a:cubicBezTo>
                    <a:cubicBezTo>
                      <a:pt x="3934" y="9745"/>
                      <a:pt x="3934" y="9745"/>
                      <a:pt x="3934" y="9745"/>
                    </a:cubicBezTo>
                    <a:cubicBezTo>
                      <a:pt x="3933" y="9744"/>
                      <a:pt x="3827" y="9605"/>
                      <a:pt x="3720" y="9467"/>
                    </a:cubicBezTo>
                    <a:cubicBezTo>
                      <a:pt x="3666" y="9397"/>
                      <a:pt x="3612" y="9327"/>
                      <a:pt x="3571" y="9275"/>
                    </a:cubicBezTo>
                    <a:cubicBezTo>
                      <a:pt x="3551" y="9249"/>
                      <a:pt x="3534" y="9227"/>
                      <a:pt x="3522" y="9212"/>
                    </a:cubicBezTo>
                    <a:cubicBezTo>
                      <a:pt x="3521" y="9211"/>
                      <a:pt x="3520" y="9210"/>
                      <a:pt x="3519" y="9209"/>
                    </a:cubicBezTo>
                    <a:cubicBezTo>
                      <a:pt x="3512" y="9216"/>
                      <a:pt x="3506" y="9223"/>
                      <a:pt x="3501" y="9230"/>
                    </a:cubicBezTo>
                    <a:cubicBezTo>
                      <a:pt x="3463" y="9280"/>
                      <a:pt x="3453" y="9332"/>
                      <a:pt x="3438" y="9387"/>
                    </a:cubicBezTo>
                    <a:cubicBezTo>
                      <a:pt x="3414" y="9476"/>
                      <a:pt x="3404" y="9657"/>
                      <a:pt x="3342" y="9788"/>
                    </a:cubicBezTo>
                    <a:cubicBezTo>
                      <a:pt x="3356" y="9807"/>
                      <a:pt x="3406" y="9885"/>
                      <a:pt x="3456" y="9964"/>
                    </a:cubicBezTo>
                    <a:cubicBezTo>
                      <a:pt x="3482" y="10005"/>
                      <a:pt x="3508" y="10046"/>
                      <a:pt x="3527" y="10076"/>
                    </a:cubicBezTo>
                    <a:cubicBezTo>
                      <a:pt x="3537" y="10091"/>
                      <a:pt x="3545" y="10104"/>
                      <a:pt x="3551" y="10113"/>
                    </a:cubicBezTo>
                    <a:cubicBezTo>
                      <a:pt x="3554" y="10117"/>
                      <a:pt x="3556" y="10121"/>
                      <a:pt x="3557" y="10123"/>
                    </a:cubicBezTo>
                    <a:cubicBezTo>
                      <a:pt x="3558" y="10124"/>
                      <a:pt x="3559" y="10125"/>
                      <a:pt x="3559" y="10125"/>
                    </a:cubicBezTo>
                    <a:close/>
                    <a:moveTo>
                      <a:pt x="3151" y="10298"/>
                    </a:moveTo>
                    <a:cubicBezTo>
                      <a:pt x="3153" y="10298"/>
                      <a:pt x="3159" y="10295"/>
                      <a:pt x="3168" y="10292"/>
                    </a:cubicBezTo>
                    <a:cubicBezTo>
                      <a:pt x="3098" y="10003"/>
                      <a:pt x="3098" y="10003"/>
                      <a:pt x="3098" y="10003"/>
                    </a:cubicBezTo>
                    <a:cubicBezTo>
                      <a:pt x="3055" y="10025"/>
                      <a:pt x="2998" y="10054"/>
                      <a:pt x="2919" y="10097"/>
                    </a:cubicBezTo>
                    <a:cubicBezTo>
                      <a:pt x="2809" y="10158"/>
                      <a:pt x="2695" y="10187"/>
                      <a:pt x="2595" y="10200"/>
                    </a:cubicBezTo>
                    <a:cubicBezTo>
                      <a:pt x="2814" y="10490"/>
                      <a:pt x="2814" y="10490"/>
                      <a:pt x="2814" y="10490"/>
                    </a:cubicBezTo>
                    <a:cubicBezTo>
                      <a:pt x="2834" y="10479"/>
                      <a:pt x="2905" y="10437"/>
                      <a:pt x="2977" y="10396"/>
                    </a:cubicBezTo>
                    <a:cubicBezTo>
                      <a:pt x="3019" y="10372"/>
                      <a:pt x="3061" y="10347"/>
                      <a:pt x="3093" y="10329"/>
                    </a:cubicBezTo>
                    <a:cubicBezTo>
                      <a:pt x="3109" y="10320"/>
                      <a:pt x="3123" y="10312"/>
                      <a:pt x="3133" y="10307"/>
                    </a:cubicBezTo>
                    <a:cubicBezTo>
                      <a:pt x="3138" y="10304"/>
                      <a:pt x="3142" y="10302"/>
                      <a:pt x="3144" y="10301"/>
                    </a:cubicBezTo>
                    <a:cubicBezTo>
                      <a:pt x="3148" y="10299"/>
                      <a:pt x="3147" y="10299"/>
                      <a:pt x="3151" y="10298"/>
                    </a:cubicBezTo>
                    <a:close/>
                    <a:moveTo>
                      <a:pt x="2746" y="10510"/>
                    </a:moveTo>
                    <a:cubicBezTo>
                      <a:pt x="2801" y="10496"/>
                      <a:pt x="2801" y="10496"/>
                      <a:pt x="2801" y="10496"/>
                    </a:cubicBezTo>
                    <a:cubicBezTo>
                      <a:pt x="2580" y="10202"/>
                      <a:pt x="2580" y="10202"/>
                      <a:pt x="2580" y="10202"/>
                    </a:cubicBezTo>
                    <a:cubicBezTo>
                      <a:pt x="2536" y="10206"/>
                      <a:pt x="2496" y="10208"/>
                      <a:pt x="2461" y="10208"/>
                    </a:cubicBezTo>
                    <a:cubicBezTo>
                      <a:pt x="2403" y="10208"/>
                      <a:pt x="2361" y="10203"/>
                      <a:pt x="2336" y="10199"/>
                    </a:cubicBezTo>
                    <a:cubicBezTo>
                      <a:pt x="2269" y="10536"/>
                      <a:pt x="2269" y="10536"/>
                      <a:pt x="2269" y="10536"/>
                    </a:cubicBezTo>
                    <a:cubicBezTo>
                      <a:pt x="2493" y="10576"/>
                      <a:pt x="2493" y="10576"/>
                      <a:pt x="2493" y="10576"/>
                    </a:cubicBezTo>
                    <a:cubicBezTo>
                      <a:pt x="2540" y="10564"/>
                      <a:pt x="2540" y="10564"/>
                      <a:pt x="2540" y="10564"/>
                    </a:cubicBezTo>
                    <a:cubicBezTo>
                      <a:pt x="2534" y="10560"/>
                      <a:pt x="2534" y="10560"/>
                      <a:pt x="2534" y="10560"/>
                    </a:cubicBezTo>
                    <a:cubicBezTo>
                      <a:pt x="2555" y="10560"/>
                      <a:pt x="2555" y="10560"/>
                      <a:pt x="2555" y="10560"/>
                    </a:cubicBezTo>
                    <a:cubicBezTo>
                      <a:pt x="2743" y="10511"/>
                      <a:pt x="2743" y="10511"/>
                      <a:pt x="2743" y="10511"/>
                    </a:cubicBezTo>
                    <a:cubicBezTo>
                      <a:pt x="2733" y="10511"/>
                      <a:pt x="2733" y="10511"/>
                      <a:pt x="2733" y="10511"/>
                    </a:cubicBezTo>
                    <a:cubicBezTo>
                      <a:pt x="2652" y="10515"/>
                      <a:pt x="2652" y="10515"/>
                      <a:pt x="2652" y="10515"/>
                    </a:cubicBezTo>
                    <a:cubicBezTo>
                      <a:pt x="2467" y="10240"/>
                      <a:pt x="2467" y="10240"/>
                      <a:pt x="2467" y="10240"/>
                    </a:cubicBezTo>
                    <a:cubicBezTo>
                      <a:pt x="2549" y="10236"/>
                      <a:pt x="2549" y="10236"/>
                      <a:pt x="2549" y="10236"/>
                    </a:cubicBezTo>
                    <a:lnTo>
                      <a:pt x="2746" y="10510"/>
                    </a:lnTo>
                    <a:close/>
                    <a:moveTo>
                      <a:pt x="2542" y="10251"/>
                    </a:moveTo>
                    <a:cubicBezTo>
                      <a:pt x="2494" y="10253"/>
                      <a:pt x="2494" y="10253"/>
                      <a:pt x="2494" y="10253"/>
                    </a:cubicBezTo>
                    <a:cubicBezTo>
                      <a:pt x="2660" y="10500"/>
                      <a:pt x="2660" y="10500"/>
                      <a:pt x="2660" y="10500"/>
                    </a:cubicBezTo>
                    <a:cubicBezTo>
                      <a:pt x="2719" y="10497"/>
                      <a:pt x="2719" y="10497"/>
                      <a:pt x="2719" y="10497"/>
                    </a:cubicBezTo>
                    <a:lnTo>
                      <a:pt x="2542" y="10251"/>
                    </a:lnTo>
                    <a:close/>
                    <a:moveTo>
                      <a:pt x="637" y="7202"/>
                    </a:moveTo>
                    <a:cubicBezTo>
                      <a:pt x="635" y="7202"/>
                      <a:pt x="614" y="7222"/>
                      <a:pt x="586" y="7250"/>
                    </a:cubicBezTo>
                    <a:cubicBezTo>
                      <a:pt x="519" y="7317"/>
                      <a:pt x="407" y="7433"/>
                      <a:pt x="366" y="7476"/>
                    </a:cubicBezTo>
                    <a:cubicBezTo>
                      <a:pt x="613" y="7819"/>
                      <a:pt x="613" y="7819"/>
                      <a:pt x="613" y="7819"/>
                    </a:cubicBezTo>
                    <a:cubicBezTo>
                      <a:pt x="851" y="7565"/>
                      <a:pt x="851" y="7565"/>
                      <a:pt x="851" y="7565"/>
                    </a:cubicBezTo>
                    <a:cubicBezTo>
                      <a:pt x="851" y="7565"/>
                      <a:pt x="851" y="7565"/>
                      <a:pt x="851" y="7565"/>
                    </a:cubicBezTo>
                    <a:cubicBezTo>
                      <a:pt x="854" y="7563"/>
                      <a:pt x="854" y="7563"/>
                      <a:pt x="854" y="7563"/>
                    </a:cubicBezTo>
                    <a:cubicBezTo>
                      <a:pt x="856" y="7560"/>
                      <a:pt x="856" y="7560"/>
                      <a:pt x="856" y="7560"/>
                    </a:cubicBezTo>
                    <a:cubicBezTo>
                      <a:pt x="856" y="7560"/>
                      <a:pt x="856" y="7560"/>
                      <a:pt x="856" y="7560"/>
                    </a:cubicBezTo>
                    <a:cubicBezTo>
                      <a:pt x="884" y="7535"/>
                      <a:pt x="884" y="7535"/>
                      <a:pt x="884" y="7535"/>
                    </a:cubicBezTo>
                    <a:cubicBezTo>
                      <a:pt x="920" y="7448"/>
                      <a:pt x="920" y="7448"/>
                      <a:pt x="920" y="7448"/>
                    </a:cubicBezTo>
                    <a:cubicBezTo>
                      <a:pt x="880" y="7413"/>
                      <a:pt x="759" y="7307"/>
                      <a:pt x="637" y="7200"/>
                    </a:cubicBezTo>
                    <a:cubicBezTo>
                      <a:pt x="637" y="7200"/>
                      <a:pt x="636" y="7199"/>
                      <a:pt x="635" y="7199"/>
                    </a:cubicBezTo>
                    <a:lnTo>
                      <a:pt x="637" y="7202"/>
                    </a:lnTo>
                    <a:close/>
                    <a:moveTo>
                      <a:pt x="537" y="6042"/>
                    </a:moveTo>
                    <a:cubicBezTo>
                      <a:pt x="589" y="5946"/>
                      <a:pt x="589" y="5946"/>
                      <a:pt x="589" y="5946"/>
                    </a:cubicBezTo>
                    <a:cubicBezTo>
                      <a:pt x="475" y="5881"/>
                      <a:pt x="475" y="5881"/>
                      <a:pt x="475" y="5881"/>
                    </a:cubicBezTo>
                    <a:cubicBezTo>
                      <a:pt x="423" y="5977"/>
                      <a:pt x="423" y="5977"/>
                      <a:pt x="423" y="5977"/>
                    </a:cubicBezTo>
                    <a:lnTo>
                      <a:pt x="537" y="6042"/>
                    </a:lnTo>
                    <a:close/>
                    <a:moveTo>
                      <a:pt x="416" y="5990"/>
                    </a:moveTo>
                    <a:cubicBezTo>
                      <a:pt x="380" y="6056"/>
                      <a:pt x="380" y="6056"/>
                      <a:pt x="380" y="6056"/>
                    </a:cubicBezTo>
                    <a:cubicBezTo>
                      <a:pt x="495" y="6119"/>
                      <a:pt x="495" y="6119"/>
                      <a:pt x="495" y="6119"/>
                    </a:cubicBezTo>
                    <a:cubicBezTo>
                      <a:pt x="530" y="6055"/>
                      <a:pt x="530" y="6055"/>
                      <a:pt x="530" y="6055"/>
                    </a:cubicBezTo>
                    <a:lnTo>
                      <a:pt x="416" y="5990"/>
                    </a:lnTo>
                    <a:close/>
                    <a:moveTo>
                      <a:pt x="5209" y="3369"/>
                    </a:moveTo>
                    <a:cubicBezTo>
                      <a:pt x="5051" y="3735"/>
                      <a:pt x="5051" y="3735"/>
                      <a:pt x="5051" y="3735"/>
                    </a:cubicBezTo>
                    <a:cubicBezTo>
                      <a:pt x="5172" y="3771"/>
                      <a:pt x="5292" y="3810"/>
                      <a:pt x="5395" y="3854"/>
                    </a:cubicBezTo>
                    <a:cubicBezTo>
                      <a:pt x="5588" y="3938"/>
                      <a:pt x="5696" y="4065"/>
                      <a:pt x="5959" y="4211"/>
                    </a:cubicBezTo>
                    <a:cubicBezTo>
                      <a:pt x="6054" y="4264"/>
                      <a:pt x="6109" y="4353"/>
                      <a:pt x="6140" y="4446"/>
                    </a:cubicBezTo>
                    <a:cubicBezTo>
                      <a:pt x="6171" y="4538"/>
                      <a:pt x="6178" y="4636"/>
                      <a:pt x="6178" y="4713"/>
                    </a:cubicBezTo>
                    <a:cubicBezTo>
                      <a:pt x="6178" y="4761"/>
                      <a:pt x="6176" y="4800"/>
                      <a:pt x="6173" y="4826"/>
                    </a:cubicBezTo>
                    <a:cubicBezTo>
                      <a:pt x="7756" y="4896"/>
                      <a:pt x="7756" y="4896"/>
                      <a:pt x="7756" y="4896"/>
                    </a:cubicBezTo>
                    <a:cubicBezTo>
                      <a:pt x="7644" y="4747"/>
                      <a:pt x="7514" y="4605"/>
                      <a:pt x="7393" y="4471"/>
                    </a:cubicBezTo>
                    <a:cubicBezTo>
                      <a:pt x="7287" y="4354"/>
                      <a:pt x="7188" y="4242"/>
                      <a:pt x="7113" y="4132"/>
                    </a:cubicBezTo>
                    <a:cubicBezTo>
                      <a:pt x="7038" y="4022"/>
                      <a:pt x="6984" y="3911"/>
                      <a:pt x="6984" y="3791"/>
                    </a:cubicBezTo>
                    <a:cubicBezTo>
                      <a:pt x="6984" y="3774"/>
                      <a:pt x="6985" y="3756"/>
                      <a:pt x="6988" y="3738"/>
                    </a:cubicBezTo>
                    <a:cubicBezTo>
                      <a:pt x="7004" y="3625"/>
                      <a:pt x="7055" y="3533"/>
                      <a:pt x="7120" y="3462"/>
                    </a:cubicBezTo>
                    <a:cubicBezTo>
                      <a:pt x="7182" y="3395"/>
                      <a:pt x="7256" y="3346"/>
                      <a:pt x="7329" y="3308"/>
                    </a:cubicBezTo>
                    <a:cubicBezTo>
                      <a:pt x="7319" y="3287"/>
                      <a:pt x="7307" y="3263"/>
                      <a:pt x="7293" y="3240"/>
                    </a:cubicBezTo>
                    <a:cubicBezTo>
                      <a:pt x="7259" y="3176"/>
                      <a:pt x="7212" y="3111"/>
                      <a:pt x="7180" y="3087"/>
                    </a:cubicBezTo>
                    <a:cubicBezTo>
                      <a:pt x="7089" y="3015"/>
                      <a:pt x="6968" y="2994"/>
                      <a:pt x="6856" y="2969"/>
                    </a:cubicBezTo>
                    <a:cubicBezTo>
                      <a:pt x="6745" y="2944"/>
                      <a:pt x="6183" y="2800"/>
                      <a:pt x="6004" y="2747"/>
                    </a:cubicBezTo>
                    <a:cubicBezTo>
                      <a:pt x="5916" y="2720"/>
                      <a:pt x="5738" y="2667"/>
                      <a:pt x="5582" y="2621"/>
                    </a:cubicBezTo>
                    <a:cubicBezTo>
                      <a:pt x="5482" y="2591"/>
                      <a:pt x="5391" y="2564"/>
                      <a:pt x="5338" y="2549"/>
                    </a:cubicBezTo>
                    <a:cubicBezTo>
                      <a:pt x="5303" y="2675"/>
                      <a:pt x="5214" y="2949"/>
                      <a:pt x="5200" y="2991"/>
                    </a:cubicBezTo>
                    <a:lnTo>
                      <a:pt x="5209" y="3369"/>
                    </a:lnTo>
                    <a:close/>
                    <a:moveTo>
                      <a:pt x="10644" y="2975"/>
                    </a:moveTo>
                    <a:cubicBezTo>
                      <a:pt x="10605" y="2823"/>
                      <a:pt x="10566" y="2673"/>
                      <a:pt x="10533" y="2553"/>
                    </a:cubicBezTo>
                    <a:cubicBezTo>
                      <a:pt x="10417" y="2588"/>
                      <a:pt x="10274" y="2630"/>
                      <a:pt x="10114" y="2675"/>
                    </a:cubicBezTo>
                    <a:cubicBezTo>
                      <a:pt x="9663" y="2803"/>
                      <a:pt x="9082" y="2961"/>
                      <a:pt x="8606" y="3090"/>
                    </a:cubicBezTo>
                    <a:cubicBezTo>
                      <a:pt x="8368" y="3154"/>
                      <a:pt x="8156" y="3211"/>
                      <a:pt x="8000" y="3254"/>
                    </a:cubicBezTo>
                    <a:cubicBezTo>
                      <a:pt x="7922" y="3275"/>
                      <a:pt x="7858" y="3292"/>
                      <a:pt x="7812" y="3305"/>
                    </a:cubicBezTo>
                    <a:cubicBezTo>
                      <a:pt x="7789" y="3312"/>
                      <a:pt x="7771" y="3317"/>
                      <a:pt x="7758" y="3321"/>
                    </a:cubicBezTo>
                    <a:cubicBezTo>
                      <a:pt x="7751" y="3323"/>
                      <a:pt x="7746" y="3325"/>
                      <a:pt x="7742" y="3326"/>
                    </a:cubicBezTo>
                    <a:cubicBezTo>
                      <a:pt x="7740" y="3327"/>
                      <a:pt x="7739" y="3327"/>
                      <a:pt x="7738" y="3327"/>
                    </a:cubicBezTo>
                    <a:cubicBezTo>
                      <a:pt x="7721" y="3334"/>
                      <a:pt x="7703" y="3339"/>
                      <a:pt x="7680" y="3346"/>
                    </a:cubicBezTo>
                    <a:cubicBezTo>
                      <a:pt x="7641" y="3357"/>
                      <a:pt x="7589" y="3371"/>
                      <a:pt x="7532" y="3391"/>
                    </a:cubicBezTo>
                    <a:cubicBezTo>
                      <a:pt x="7934" y="4397"/>
                      <a:pt x="7934" y="4397"/>
                      <a:pt x="7934" y="4397"/>
                    </a:cubicBezTo>
                    <a:cubicBezTo>
                      <a:pt x="8004" y="4518"/>
                      <a:pt x="8004" y="4518"/>
                      <a:pt x="8004" y="4518"/>
                    </a:cubicBezTo>
                    <a:cubicBezTo>
                      <a:pt x="10822" y="3705"/>
                      <a:pt x="10822" y="3705"/>
                      <a:pt x="10822" y="3705"/>
                    </a:cubicBezTo>
                    <a:cubicBezTo>
                      <a:pt x="10821" y="3699"/>
                      <a:pt x="10820" y="3693"/>
                      <a:pt x="10818" y="3687"/>
                    </a:cubicBezTo>
                    <a:cubicBezTo>
                      <a:pt x="10783" y="3544"/>
                      <a:pt x="10715" y="3256"/>
                      <a:pt x="10644" y="2975"/>
                    </a:cubicBezTo>
                    <a:close/>
                    <a:moveTo>
                      <a:pt x="10708" y="2959"/>
                    </a:moveTo>
                    <a:cubicBezTo>
                      <a:pt x="10716" y="2947"/>
                      <a:pt x="10716" y="2947"/>
                      <a:pt x="10716" y="2947"/>
                    </a:cubicBezTo>
                    <a:cubicBezTo>
                      <a:pt x="10708" y="2959"/>
                      <a:pt x="10708" y="2959"/>
                      <a:pt x="10708" y="2959"/>
                    </a:cubicBezTo>
                    <a:cubicBezTo>
                      <a:pt x="10708" y="2959"/>
                      <a:pt x="10708" y="2959"/>
                      <a:pt x="10708" y="2959"/>
                    </a:cubicBezTo>
                    <a:close/>
                    <a:moveTo>
                      <a:pt x="6257" y="8540"/>
                    </a:moveTo>
                    <a:cubicBezTo>
                      <a:pt x="6209" y="8675"/>
                      <a:pt x="6209" y="8675"/>
                      <a:pt x="6209" y="8675"/>
                    </a:cubicBezTo>
                    <a:cubicBezTo>
                      <a:pt x="6338" y="8689"/>
                      <a:pt x="6338" y="8689"/>
                      <a:pt x="6338" y="8689"/>
                    </a:cubicBezTo>
                    <a:cubicBezTo>
                      <a:pt x="6391" y="8542"/>
                      <a:pt x="6391" y="8542"/>
                      <a:pt x="6391" y="8542"/>
                    </a:cubicBezTo>
                    <a:lnTo>
                      <a:pt x="6257" y="8540"/>
                    </a:lnTo>
                    <a:close/>
                    <a:moveTo>
                      <a:pt x="6396" y="8528"/>
                    </a:moveTo>
                    <a:cubicBezTo>
                      <a:pt x="6429" y="8437"/>
                      <a:pt x="6429" y="8437"/>
                      <a:pt x="6429" y="8437"/>
                    </a:cubicBezTo>
                    <a:cubicBezTo>
                      <a:pt x="6311" y="8392"/>
                      <a:pt x="6311" y="8392"/>
                      <a:pt x="6311" y="8392"/>
                    </a:cubicBezTo>
                    <a:cubicBezTo>
                      <a:pt x="6262" y="8526"/>
                      <a:pt x="6262" y="8526"/>
                      <a:pt x="6262" y="8526"/>
                    </a:cubicBezTo>
                    <a:lnTo>
                      <a:pt x="6396" y="8528"/>
                    </a:lnTo>
                    <a:close/>
                    <a:moveTo>
                      <a:pt x="6053" y="9483"/>
                    </a:moveTo>
                    <a:cubicBezTo>
                      <a:pt x="6098" y="9357"/>
                      <a:pt x="6098" y="9357"/>
                      <a:pt x="6098" y="9357"/>
                    </a:cubicBezTo>
                    <a:cubicBezTo>
                      <a:pt x="5972" y="9335"/>
                      <a:pt x="5972" y="9335"/>
                      <a:pt x="5972" y="9335"/>
                    </a:cubicBezTo>
                    <a:cubicBezTo>
                      <a:pt x="5926" y="9463"/>
                      <a:pt x="5926" y="9463"/>
                      <a:pt x="5926" y="9463"/>
                    </a:cubicBezTo>
                    <a:lnTo>
                      <a:pt x="6053" y="9483"/>
                    </a:lnTo>
                    <a:close/>
                    <a:moveTo>
                      <a:pt x="5921" y="9477"/>
                    </a:moveTo>
                    <a:cubicBezTo>
                      <a:pt x="5876" y="9602"/>
                      <a:pt x="5876" y="9602"/>
                      <a:pt x="5876" y="9602"/>
                    </a:cubicBezTo>
                    <a:cubicBezTo>
                      <a:pt x="6002" y="9623"/>
                      <a:pt x="6002" y="9623"/>
                      <a:pt x="6002" y="9623"/>
                    </a:cubicBezTo>
                    <a:cubicBezTo>
                      <a:pt x="6048" y="9496"/>
                      <a:pt x="6048" y="9496"/>
                      <a:pt x="6048" y="9496"/>
                    </a:cubicBezTo>
                    <a:lnTo>
                      <a:pt x="5921" y="9477"/>
                    </a:lnTo>
                    <a:close/>
                    <a:moveTo>
                      <a:pt x="4568" y="8625"/>
                    </a:moveTo>
                    <a:cubicBezTo>
                      <a:pt x="4568" y="8594"/>
                      <a:pt x="4572" y="8363"/>
                      <a:pt x="4573" y="8293"/>
                    </a:cubicBezTo>
                    <a:cubicBezTo>
                      <a:pt x="4494" y="8298"/>
                      <a:pt x="4415" y="8306"/>
                      <a:pt x="4337" y="8317"/>
                    </a:cubicBezTo>
                    <a:cubicBezTo>
                      <a:pt x="4441" y="8711"/>
                      <a:pt x="4441" y="8711"/>
                      <a:pt x="4441" y="8711"/>
                    </a:cubicBezTo>
                    <a:cubicBezTo>
                      <a:pt x="4428" y="8714"/>
                      <a:pt x="4428" y="8714"/>
                      <a:pt x="4428" y="8714"/>
                    </a:cubicBezTo>
                    <a:cubicBezTo>
                      <a:pt x="4323" y="8319"/>
                      <a:pt x="4323" y="8319"/>
                      <a:pt x="4323" y="8319"/>
                    </a:cubicBezTo>
                    <a:cubicBezTo>
                      <a:pt x="4155" y="8344"/>
                      <a:pt x="3994" y="8384"/>
                      <a:pt x="3862" y="8446"/>
                    </a:cubicBezTo>
                    <a:cubicBezTo>
                      <a:pt x="4076" y="8960"/>
                      <a:pt x="4076" y="8960"/>
                      <a:pt x="4076" y="8960"/>
                    </a:cubicBezTo>
                    <a:lnTo>
                      <a:pt x="4568" y="8625"/>
                    </a:lnTo>
                    <a:close/>
                    <a:moveTo>
                      <a:pt x="4082" y="8973"/>
                    </a:moveTo>
                    <a:cubicBezTo>
                      <a:pt x="4193" y="9241"/>
                      <a:pt x="4193" y="9241"/>
                      <a:pt x="4193" y="9241"/>
                    </a:cubicBezTo>
                    <a:cubicBezTo>
                      <a:pt x="4246" y="9238"/>
                      <a:pt x="4351" y="9232"/>
                      <a:pt x="4471" y="9223"/>
                    </a:cubicBezTo>
                    <a:cubicBezTo>
                      <a:pt x="4480" y="8701"/>
                      <a:pt x="4480" y="8701"/>
                      <a:pt x="4480" y="8701"/>
                    </a:cubicBezTo>
                    <a:lnTo>
                      <a:pt x="4082" y="8973"/>
                    </a:lnTo>
                    <a:close/>
                    <a:moveTo>
                      <a:pt x="4485" y="9222"/>
                    </a:moveTo>
                    <a:cubicBezTo>
                      <a:pt x="4577" y="9215"/>
                      <a:pt x="4677" y="9207"/>
                      <a:pt x="4768" y="9198"/>
                    </a:cubicBezTo>
                    <a:cubicBezTo>
                      <a:pt x="4667" y="8654"/>
                      <a:pt x="4667" y="8654"/>
                      <a:pt x="4667" y="8654"/>
                    </a:cubicBezTo>
                    <a:cubicBezTo>
                      <a:pt x="4621" y="8645"/>
                      <a:pt x="4586" y="8638"/>
                      <a:pt x="4576" y="8636"/>
                    </a:cubicBezTo>
                    <a:cubicBezTo>
                      <a:pt x="4495" y="8692"/>
                      <a:pt x="4495" y="8692"/>
                      <a:pt x="4495" y="8692"/>
                    </a:cubicBezTo>
                    <a:lnTo>
                      <a:pt x="4485" y="9222"/>
                    </a:lnTo>
                    <a:close/>
                    <a:moveTo>
                      <a:pt x="4755" y="8297"/>
                    </a:moveTo>
                    <a:cubicBezTo>
                      <a:pt x="4753" y="8285"/>
                      <a:pt x="4753" y="8285"/>
                      <a:pt x="4753" y="8285"/>
                    </a:cubicBezTo>
                    <a:cubicBezTo>
                      <a:pt x="4699" y="8286"/>
                      <a:pt x="4643" y="8289"/>
                      <a:pt x="4587" y="8292"/>
                    </a:cubicBezTo>
                    <a:cubicBezTo>
                      <a:pt x="4586" y="8359"/>
                      <a:pt x="4582" y="8585"/>
                      <a:pt x="4582" y="8623"/>
                    </a:cubicBezTo>
                    <a:cubicBezTo>
                      <a:pt x="4606" y="8628"/>
                      <a:pt x="4705" y="8647"/>
                      <a:pt x="4806" y="8666"/>
                    </a:cubicBezTo>
                    <a:cubicBezTo>
                      <a:pt x="4811" y="8667"/>
                      <a:pt x="4816" y="8668"/>
                      <a:pt x="4821" y="8669"/>
                    </a:cubicBezTo>
                    <a:cubicBezTo>
                      <a:pt x="4761" y="8328"/>
                      <a:pt x="4761" y="8328"/>
                      <a:pt x="4761" y="8328"/>
                    </a:cubicBezTo>
                    <a:cubicBezTo>
                      <a:pt x="4760" y="8445"/>
                      <a:pt x="4760" y="8445"/>
                      <a:pt x="4760" y="8445"/>
                    </a:cubicBezTo>
                    <a:cubicBezTo>
                      <a:pt x="4753" y="8445"/>
                      <a:pt x="4753" y="8445"/>
                      <a:pt x="4753" y="8445"/>
                    </a:cubicBezTo>
                    <a:cubicBezTo>
                      <a:pt x="4655" y="8444"/>
                      <a:pt x="4655" y="8444"/>
                      <a:pt x="4655" y="8444"/>
                    </a:cubicBezTo>
                    <a:cubicBezTo>
                      <a:pt x="4657" y="8296"/>
                      <a:pt x="4657" y="8296"/>
                      <a:pt x="4657" y="8296"/>
                    </a:cubicBezTo>
                    <a:lnTo>
                      <a:pt x="4755" y="8297"/>
                    </a:lnTo>
                    <a:close/>
                    <a:moveTo>
                      <a:pt x="4669" y="8309"/>
                    </a:moveTo>
                    <a:cubicBezTo>
                      <a:pt x="4668" y="8431"/>
                      <a:pt x="4668" y="8431"/>
                      <a:pt x="4668" y="8431"/>
                    </a:cubicBezTo>
                    <a:cubicBezTo>
                      <a:pt x="4747" y="8432"/>
                      <a:pt x="4747" y="8432"/>
                      <a:pt x="4747" y="8432"/>
                    </a:cubicBezTo>
                    <a:cubicBezTo>
                      <a:pt x="4748" y="8310"/>
                      <a:pt x="4748" y="8310"/>
                      <a:pt x="4748" y="8310"/>
                    </a:cubicBezTo>
                    <a:lnTo>
                      <a:pt x="4669" y="8309"/>
                    </a:lnTo>
                    <a:close/>
                    <a:moveTo>
                      <a:pt x="4782" y="9196"/>
                    </a:moveTo>
                    <a:cubicBezTo>
                      <a:pt x="4844" y="9190"/>
                      <a:pt x="4902" y="9183"/>
                      <a:pt x="4948" y="9176"/>
                    </a:cubicBezTo>
                    <a:cubicBezTo>
                      <a:pt x="4958" y="8709"/>
                      <a:pt x="4958" y="8709"/>
                      <a:pt x="4958" y="8709"/>
                    </a:cubicBezTo>
                    <a:cubicBezTo>
                      <a:pt x="4880" y="8695"/>
                      <a:pt x="4765" y="8673"/>
                      <a:pt x="4682" y="8657"/>
                    </a:cubicBezTo>
                    <a:lnTo>
                      <a:pt x="4782" y="9196"/>
                    </a:lnTo>
                    <a:close/>
                    <a:moveTo>
                      <a:pt x="5045" y="8711"/>
                    </a:moveTo>
                    <a:cubicBezTo>
                      <a:pt x="5045" y="8710"/>
                      <a:pt x="5045" y="8710"/>
                      <a:pt x="5045" y="8710"/>
                    </a:cubicBezTo>
                    <a:cubicBezTo>
                      <a:pt x="5045" y="8710"/>
                      <a:pt x="5045" y="8710"/>
                      <a:pt x="5045" y="8710"/>
                    </a:cubicBezTo>
                    <a:cubicBezTo>
                      <a:pt x="5045" y="8710"/>
                      <a:pt x="5045" y="8710"/>
                      <a:pt x="5045" y="8710"/>
                    </a:cubicBezTo>
                    <a:cubicBezTo>
                      <a:pt x="5071" y="8288"/>
                      <a:pt x="5071" y="8288"/>
                      <a:pt x="5071" y="8288"/>
                    </a:cubicBezTo>
                    <a:cubicBezTo>
                      <a:pt x="5009" y="8286"/>
                      <a:pt x="4939" y="8284"/>
                      <a:pt x="4864" y="8284"/>
                    </a:cubicBezTo>
                    <a:cubicBezTo>
                      <a:pt x="4861" y="8284"/>
                      <a:pt x="4857" y="8284"/>
                      <a:pt x="4854" y="8284"/>
                    </a:cubicBezTo>
                    <a:cubicBezTo>
                      <a:pt x="4826" y="8284"/>
                      <a:pt x="4797" y="8284"/>
                      <a:pt x="4767" y="8285"/>
                    </a:cubicBezTo>
                    <a:cubicBezTo>
                      <a:pt x="4836" y="8672"/>
                      <a:pt x="4836" y="8672"/>
                      <a:pt x="4836" y="8672"/>
                    </a:cubicBezTo>
                    <a:cubicBezTo>
                      <a:pt x="4940" y="8692"/>
                      <a:pt x="5040" y="8711"/>
                      <a:pt x="5045" y="8711"/>
                    </a:cubicBezTo>
                    <a:close/>
                    <a:moveTo>
                      <a:pt x="5879" y="8535"/>
                    </a:moveTo>
                    <a:cubicBezTo>
                      <a:pt x="5880" y="8521"/>
                      <a:pt x="5880" y="8521"/>
                      <a:pt x="5880" y="8521"/>
                    </a:cubicBezTo>
                    <a:cubicBezTo>
                      <a:pt x="5885" y="8521"/>
                      <a:pt x="5885" y="8521"/>
                      <a:pt x="5885" y="8521"/>
                    </a:cubicBezTo>
                    <a:cubicBezTo>
                      <a:pt x="5888" y="8509"/>
                      <a:pt x="5891" y="8498"/>
                      <a:pt x="5894" y="8487"/>
                    </a:cubicBezTo>
                    <a:cubicBezTo>
                      <a:pt x="5870" y="8484"/>
                      <a:pt x="5501" y="8423"/>
                      <a:pt x="5419" y="8409"/>
                    </a:cubicBezTo>
                    <a:cubicBezTo>
                      <a:pt x="5425" y="8442"/>
                      <a:pt x="5432" y="8477"/>
                      <a:pt x="5437" y="8511"/>
                    </a:cubicBezTo>
                    <a:cubicBezTo>
                      <a:pt x="5503" y="8519"/>
                      <a:pt x="5834" y="8579"/>
                      <a:pt x="5869" y="8585"/>
                    </a:cubicBezTo>
                    <a:cubicBezTo>
                      <a:pt x="5873" y="8570"/>
                      <a:pt x="5877" y="8555"/>
                      <a:pt x="5880" y="8540"/>
                    </a:cubicBezTo>
                    <a:cubicBezTo>
                      <a:pt x="5881" y="8538"/>
                      <a:pt x="5881" y="8537"/>
                      <a:pt x="5882" y="8535"/>
                    </a:cubicBezTo>
                    <a:lnTo>
                      <a:pt x="5879" y="8535"/>
                    </a:lnTo>
                    <a:close/>
                    <a:moveTo>
                      <a:pt x="5808" y="8892"/>
                    </a:moveTo>
                    <a:cubicBezTo>
                      <a:pt x="5811" y="8878"/>
                      <a:pt x="5811" y="8878"/>
                      <a:pt x="5811" y="8878"/>
                    </a:cubicBezTo>
                    <a:cubicBezTo>
                      <a:pt x="6103" y="8931"/>
                      <a:pt x="6103" y="8931"/>
                      <a:pt x="6103" y="8931"/>
                    </a:cubicBezTo>
                    <a:cubicBezTo>
                      <a:pt x="6139" y="8830"/>
                      <a:pt x="6139" y="8830"/>
                      <a:pt x="6139" y="8830"/>
                    </a:cubicBezTo>
                    <a:cubicBezTo>
                      <a:pt x="5833" y="8786"/>
                      <a:pt x="5833" y="8786"/>
                      <a:pt x="5833" y="8786"/>
                    </a:cubicBezTo>
                    <a:cubicBezTo>
                      <a:pt x="5832" y="8789"/>
                      <a:pt x="5832" y="8793"/>
                      <a:pt x="5831" y="8796"/>
                    </a:cubicBezTo>
                    <a:cubicBezTo>
                      <a:pt x="5816" y="8854"/>
                      <a:pt x="5803" y="8905"/>
                      <a:pt x="5793" y="8943"/>
                    </a:cubicBezTo>
                    <a:cubicBezTo>
                      <a:pt x="5788" y="8962"/>
                      <a:pt x="5784" y="8977"/>
                      <a:pt x="5781" y="8987"/>
                    </a:cubicBezTo>
                    <a:cubicBezTo>
                      <a:pt x="5779" y="8993"/>
                      <a:pt x="5778" y="8997"/>
                      <a:pt x="5777" y="9000"/>
                    </a:cubicBezTo>
                    <a:cubicBezTo>
                      <a:pt x="5776" y="9001"/>
                      <a:pt x="5776" y="9002"/>
                      <a:pt x="5775" y="9003"/>
                    </a:cubicBezTo>
                    <a:cubicBezTo>
                      <a:pt x="5775" y="9004"/>
                      <a:pt x="5775" y="9004"/>
                      <a:pt x="5775" y="9004"/>
                    </a:cubicBezTo>
                    <a:cubicBezTo>
                      <a:pt x="5775" y="9006"/>
                      <a:pt x="5776" y="9008"/>
                      <a:pt x="5776" y="9010"/>
                    </a:cubicBezTo>
                    <a:cubicBezTo>
                      <a:pt x="5778" y="9000"/>
                      <a:pt x="5778" y="9000"/>
                      <a:pt x="5778" y="9000"/>
                    </a:cubicBezTo>
                    <a:cubicBezTo>
                      <a:pt x="6056" y="9062"/>
                      <a:pt x="6056" y="9062"/>
                      <a:pt x="6056" y="9062"/>
                    </a:cubicBezTo>
                    <a:cubicBezTo>
                      <a:pt x="6098" y="8944"/>
                      <a:pt x="6098" y="8944"/>
                      <a:pt x="6098" y="8944"/>
                    </a:cubicBezTo>
                    <a:lnTo>
                      <a:pt x="5808" y="8892"/>
                    </a:lnTo>
                    <a:close/>
                    <a:moveTo>
                      <a:pt x="5780" y="8936"/>
                    </a:moveTo>
                    <a:cubicBezTo>
                      <a:pt x="5779" y="8941"/>
                      <a:pt x="5779" y="8941"/>
                      <a:pt x="5779" y="8941"/>
                    </a:cubicBezTo>
                    <a:cubicBezTo>
                      <a:pt x="5783" y="8925"/>
                      <a:pt x="5788" y="8907"/>
                      <a:pt x="5793" y="8887"/>
                    </a:cubicBezTo>
                    <a:cubicBezTo>
                      <a:pt x="5797" y="8870"/>
                      <a:pt x="5802" y="8852"/>
                      <a:pt x="5807" y="8833"/>
                    </a:cubicBezTo>
                    <a:cubicBezTo>
                      <a:pt x="5792" y="8831"/>
                      <a:pt x="5714" y="8817"/>
                      <a:pt x="5635" y="8802"/>
                    </a:cubicBezTo>
                    <a:cubicBezTo>
                      <a:pt x="5592" y="8794"/>
                      <a:pt x="5548" y="8786"/>
                      <a:pt x="5516" y="8780"/>
                    </a:cubicBezTo>
                    <a:cubicBezTo>
                      <a:pt x="5499" y="8777"/>
                      <a:pt x="5486" y="8774"/>
                      <a:pt x="5476" y="8772"/>
                    </a:cubicBezTo>
                    <a:cubicBezTo>
                      <a:pt x="5472" y="8771"/>
                      <a:pt x="5469" y="8771"/>
                      <a:pt x="5466" y="8770"/>
                    </a:cubicBezTo>
                    <a:cubicBezTo>
                      <a:pt x="5466" y="8810"/>
                      <a:pt x="5461" y="8848"/>
                      <a:pt x="5447" y="8881"/>
                    </a:cubicBezTo>
                    <a:cubicBezTo>
                      <a:pt x="5520" y="8893"/>
                      <a:pt x="5779" y="8936"/>
                      <a:pt x="5780" y="8936"/>
                    </a:cubicBezTo>
                    <a:close/>
                    <a:moveTo>
                      <a:pt x="5810" y="8820"/>
                    </a:moveTo>
                    <a:cubicBezTo>
                      <a:pt x="5817" y="8792"/>
                      <a:pt x="5825" y="8762"/>
                      <a:pt x="5833" y="8731"/>
                    </a:cubicBezTo>
                    <a:cubicBezTo>
                      <a:pt x="5461" y="8674"/>
                      <a:pt x="5461" y="8674"/>
                      <a:pt x="5461" y="8674"/>
                    </a:cubicBezTo>
                    <a:cubicBezTo>
                      <a:pt x="5464" y="8702"/>
                      <a:pt x="5466" y="8729"/>
                      <a:pt x="5466" y="8756"/>
                    </a:cubicBezTo>
                    <a:cubicBezTo>
                      <a:pt x="5493" y="8762"/>
                      <a:pt x="5788" y="8816"/>
                      <a:pt x="5810" y="8820"/>
                    </a:cubicBezTo>
                    <a:close/>
                    <a:moveTo>
                      <a:pt x="5836" y="8717"/>
                    </a:moveTo>
                    <a:cubicBezTo>
                      <a:pt x="5846" y="8678"/>
                      <a:pt x="5856" y="8638"/>
                      <a:pt x="5866" y="8599"/>
                    </a:cubicBezTo>
                    <a:cubicBezTo>
                      <a:pt x="5846" y="8595"/>
                      <a:pt x="5753" y="8579"/>
                      <a:pt x="5658" y="8562"/>
                    </a:cubicBezTo>
                    <a:cubicBezTo>
                      <a:pt x="5568" y="8546"/>
                      <a:pt x="5473" y="8530"/>
                      <a:pt x="5440" y="8526"/>
                    </a:cubicBezTo>
                    <a:cubicBezTo>
                      <a:pt x="5447" y="8568"/>
                      <a:pt x="5453" y="8608"/>
                      <a:pt x="5457" y="8638"/>
                    </a:cubicBezTo>
                    <a:cubicBezTo>
                      <a:pt x="5458" y="8645"/>
                      <a:pt x="5458" y="8652"/>
                      <a:pt x="5459" y="8659"/>
                    </a:cubicBezTo>
                    <a:lnTo>
                      <a:pt x="5836" y="8717"/>
                    </a:lnTo>
                    <a:close/>
                    <a:moveTo>
                      <a:pt x="5413" y="8937"/>
                    </a:moveTo>
                    <a:cubicBezTo>
                      <a:pt x="5400" y="8950"/>
                      <a:pt x="5383" y="8970"/>
                      <a:pt x="5361" y="8992"/>
                    </a:cubicBezTo>
                    <a:cubicBezTo>
                      <a:pt x="5406" y="9000"/>
                      <a:pt x="5480" y="9013"/>
                      <a:pt x="5555" y="9025"/>
                    </a:cubicBezTo>
                    <a:cubicBezTo>
                      <a:pt x="5652" y="9042"/>
                      <a:pt x="5750" y="9059"/>
                      <a:pt x="5778" y="9063"/>
                    </a:cubicBezTo>
                    <a:cubicBezTo>
                      <a:pt x="5769" y="9036"/>
                      <a:pt x="5761" y="9012"/>
                      <a:pt x="5761" y="9003"/>
                    </a:cubicBezTo>
                    <a:cubicBezTo>
                      <a:pt x="5761" y="9002"/>
                      <a:pt x="5761" y="9001"/>
                      <a:pt x="5761" y="8999"/>
                    </a:cubicBezTo>
                    <a:cubicBezTo>
                      <a:pt x="5762" y="8999"/>
                      <a:pt x="5762" y="8998"/>
                      <a:pt x="5763" y="8997"/>
                    </a:cubicBezTo>
                    <a:cubicBezTo>
                      <a:pt x="5765" y="8993"/>
                      <a:pt x="5770" y="8976"/>
                      <a:pt x="5777" y="8950"/>
                    </a:cubicBezTo>
                    <a:cubicBezTo>
                      <a:pt x="5772" y="8949"/>
                      <a:pt x="5689" y="8935"/>
                      <a:pt x="5604" y="8921"/>
                    </a:cubicBezTo>
                    <a:cubicBezTo>
                      <a:pt x="5537" y="8910"/>
                      <a:pt x="5469" y="8899"/>
                      <a:pt x="5441" y="8894"/>
                    </a:cubicBezTo>
                    <a:cubicBezTo>
                      <a:pt x="5434" y="8909"/>
                      <a:pt x="5424" y="8924"/>
                      <a:pt x="5413" y="8937"/>
                    </a:cubicBezTo>
                    <a:close/>
                    <a:moveTo>
                      <a:pt x="5800" y="9086"/>
                    </a:moveTo>
                    <a:cubicBezTo>
                      <a:pt x="5810" y="9116"/>
                      <a:pt x="5820" y="9145"/>
                      <a:pt x="5823" y="9154"/>
                    </a:cubicBezTo>
                    <a:cubicBezTo>
                      <a:pt x="6010" y="9189"/>
                      <a:pt x="6010" y="9189"/>
                      <a:pt x="6010" y="9189"/>
                    </a:cubicBezTo>
                    <a:cubicBezTo>
                      <a:pt x="6051" y="9075"/>
                      <a:pt x="6051" y="9075"/>
                      <a:pt x="6051" y="9075"/>
                    </a:cubicBezTo>
                    <a:cubicBezTo>
                      <a:pt x="5777" y="9014"/>
                      <a:pt x="5777" y="9014"/>
                      <a:pt x="5777" y="9014"/>
                    </a:cubicBezTo>
                    <a:cubicBezTo>
                      <a:pt x="5781" y="9029"/>
                      <a:pt x="5790" y="9059"/>
                      <a:pt x="5800" y="9086"/>
                    </a:cubicBezTo>
                    <a:close/>
                    <a:moveTo>
                      <a:pt x="6144" y="8817"/>
                    </a:moveTo>
                    <a:cubicBezTo>
                      <a:pt x="6191" y="8687"/>
                      <a:pt x="6191" y="8687"/>
                      <a:pt x="6191" y="8687"/>
                    </a:cubicBezTo>
                    <a:cubicBezTo>
                      <a:pt x="5866" y="8653"/>
                      <a:pt x="5866" y="8653"/>
                      <a:pt x="5866" y="8653"/>
                    </a:cubicBezTo>
                    <a:cubicBezTo>
                      <a:pt x="5856" y="8693"/>
                      <a:pt x="5846" y="8734"/>
                      <a:pt x="5837" y="8772"/>
                    </a:cubicBezTo>
                    <a:lnTo>
                      <a:pt x="6144" y="8817"/>
                    </a:lnTo>
                    <a:close/>
                    <a:moveTo>
                      <a:pt x="5412" y="8644"/>
                    </a:moveTo>
                    <a:cubicBezTo>
                      <a:pt x="5409" y="8614"/>
                      <a:pt x="5402" y="8574"/>
                      <a:pt x="5395" y="8530"/>
                    </a:cubicBezTo>
                    <a:cubicBezTo>
                      <a:pt x="5367" y="8547"/>
                      <a:pt x="5301" y="8585"/>
                      <a:pt x="5235" y="8623"/>
                    </a:cubicBezTo>
                    <a:cubicBezTo>
                      <a:pt x="5226" y="8628"/>
                      <a:pt x="5217" y="8633"/>
                      <a:pt x="5208" y="8638"/>
                    </a:cubicBezTo>
                    <a:cubicBezTo>
                      <a:pt x="5211" y="8646"/>
                      <a:pt x="5240" y="8723"/>
                      <a:pt x="5271" y="8800"/>
                    </a:cubicBezTo>
                    <a:cubicBezTo>
                      <a:pt x="5287" y="8840"/>
                      <a:pt x="5303" y="8881"/>
                      <a:pt x="5316" y="8912"/>
                    </a:cubicBezTo>
                    <a:cubicBezTo>
                      <a:pt x="5322" y="8927"/>
                      <a:pt x="5327" y="8940"/>
                      <a:pt x="5331" y="8949"/>
                    </a:cubicBezTo>
                    <a:cubicBezTo>
                      <a:pt x="5333" y="8952"/>
                      <a:pt x="5333" y="8953"/>
                      <a:pt x="5334" y="8955"/>
                    </a:cubicBezTo>
                    <a:cubicBezTo>
                      <a:pt x="5353" y="8936"/>
                      <a:pt x="5368" y="8919"/>
                      <a:pt x="5379" y="8906"/>
                    </a:cubicBezTo>
                    <a:cubicBezTo>
                      <a:pt x="5410" y="8873"/>
                      <a:pt x="5422" y="8825"/>
                      <a:pt x="5422" y="8763"/>
                    </a:cubicBezTo>
                    <a:cubicBezTo>
                      <a:pt x="5422" y="8727"/>
                      <a:pt x="5418" y="8686"/>
                      <a:pt x="5412" y="8644"/>
                    </a:cubicBezTo>
                    <a:close/>
                    <a:moveTo>
                      <a:pt x="5329" y="8960"/>
                    </a:moveTo>
                    <a:cubicBezTo>
                      <a:pt x="5329" y="8961"/>
                      <a:pt x="5329" y="8961"/>
                      <a:pt x="5329" y="8961"/>
                    </a:cubicBezTo>
                    <a:cubicBezTo>
                      <a:pt x="5329" y="8961"/>
                      <a:pt x="5329" y="8961"/>
                      <a:pt x="5329" y="8961"/>
                    </a:cubicBezTo>
                    <a:lnTo>
                      <a:pt x="5329" y="8960"/>
                    </a:lnTo>
                    <a:close/>
                    <a:moveTo>
                      <a:pt x="5392" y="8516"/>
                    </a:moveTo>
                    <a:cubicBezTo>
                      <a:pt x="5379" y="8439"/>
                      <a:pt x="5363" y="8355"/>
                      <a:pt x="5354" y="8305"/>
                    </a:cubicBezTo>
                    <a:cubicBezTo>
                      <a:pt x="5275" y="8298"/>
                      <a:pt x="5204" y="8293"/>
                      <a:pt x="5148" y="8291"/>
                    </a:cubicBezTo>
                    <a:cubicBezTo>
                      <a:pt x="5128" y="8290"/>
                      <a:pt x="5107" y="8289"/>
                      <a:pt x="5085" y="8288"/>
                    </a:cubicBezTo>
                    <a:cubicBezTo>
                      <a:pt x="5059" y="8704"/>
                      <a:pt x="5059" y="8704"/>
                      <a:pt x="5059" y="8704"/>
                    </a:cubicBezTo>
                    <a:cubicBezTo>
                      <a:pt x="5091" y="8688"/>
                      <a:pt x="5165" y="8646"/>
                      <a:pt x="5236" y="8606"/>
                    </a:cubicBezTo>
                    <a:cubicBezTo>
                      <a:pt x="5304" y="8567"/>
                      <a:pt x="5369" y="8529"/>
                      <a:pt x="5392" y="8516"/>
                    </a:cubicBezTo>
                    <a:close/>
                    <a:moveTo>
                      <a:pt x="4962" y="9173"/>
                    </a:moveTo>
                    <a:cubicBezTo>
                      <a:pt x="5134" y="9142"/>
                      <a:pt x="5252" y="9041"/>
                      <a:pt x="5324" y="8966"/>
                    </a:cubicBezTo>
                    <a:cubicBezTo>
                      <a:pt x="5315" y="8949"/>
                      <a:pt x="5285" y="8873"/>
                      <a:pt x="5255" y="8797"/>
                    </a:cubicBezTo>
                    <a:cubicBezTo>
                      <a:pt x="5228" y="8728"/>
                      <a:pt x="5202" y="8661"/>
                      <a:pt x="5196" y="8645"/>
                    </a:cubicBezTo>
                    <a:cubicBezTo>
                      <a:pt x="5165" y="8662"/>
                      <a:pt x="5136" y="8679"/>
                      <a:pt x="5111" y="8692"/>
                    </a:cubicBezTo>
                    <a:cubicBezTo>
                      <a:pt x="5094" y="8702"/>
                      <a:pt x="5079" y="8710"/>
                      <a:pt x="5068" y="8715"/>
                    </a:cubicBezTo>
                    <a:cubicBezTo>
                      <a:pt x="5056" y="8721"/>
                      <a:pt x="5051" y="8724"/>
                      <a:pt x="5045" y="8725"/>
                    </a:cubicBezTo>
                    <a:cubicBezTo>
                      <a:pt x="5041" y="8725"/>
                      <a:pt x="5012" y="8720"/>
                      <a:pt x="4972" y="8712"/>
                    </a:cubicBezTo>
                    <a:lnTo>
                      <a:pt x="4962" y="9173"/>
                    </a:lnTo>
                    <a:close/>
                    <a:moveTo>
                      <a:pt x="5268" y="9079"/>
                    </a:moveTo>
                    <a:cubicBezTo>
                      <a:pt x="5279" y="9092"/>
                      <a:pt x="5294" y="9111"/>
                      <a:pt x="5306" y="9133"/>
                    </a:cubicBezTo>
                    <a:cubicBezTo>
                      <a:pt x="5353" y="9142"/>
                      <a:pt x="5440" y="9158"/>
                      <a:pt x="5528" y="9175"/>
                    </a:cubicBezTo>
                    <a:cubicBezTo>
                      <a:pt x="5654" y="9199"/>
                      <a:pt x="5785" y="9223"/>
                      <a:pt x="5792" y="9224"/>
                    </a:cubicBezTo>
                    <a:cubicBezTo>
                      <a:pt x="5792" y="9224"/>
                      <a:pt x="5792" y="9224"/>
                      <a:pt x="5792" y="9224"/>
                    </a:cubicBezTo>
                    <a:cubicBezTo>
                      <a:pt x="5792" y="9225"/>
                      <a:pt x="5792" y="9225"/>
                      <a:pt x="5792" y="9225"/>
                    </a:cubicBezTo>
                    <a:cubicBezTo>
                      <a:pt x="5811" y="9161"/>
                      <a:pt x="5811" y="9161"/>
                      <a:pt x="5811" y="9161"/>
                    </a:cubicBezTo>
                    <a:cubicBezTo>
                      <a:pt x="5808" y="9153"/>
                      <a:pt x="5797" y="9122"/>
                      <a:pt x="5786" y="9090"/>
                    </a:cubicBezTo>
                    <a:cubicBezTo>
                      <a:pt x="5785" y="9086"/>
                      <a:pt x="5784" y="9082"/>
                      <a:pt x="5782" y="9078"/>
                    </a:cubicBezTo>
                    <a:cubicBezTo>
                      <a:pt x="5763" y="9075"/>
                      <a:pt x="5659" y="9057"/>
                      <a:pt x="5552" y="9039"/>
                    </a:cubicBezTo>
                    <a:cubicBezTo>
                      <a:pt x="5473" y="9025"/>
                      <a:pt x="5391" y="9012"/>
                      <a:pt x="5350" y="9005"/>
                    </a:cubicBezTo>
                    <a:cubicBezTo>
                      <a:pt x="5327" y="9028"/>
                      <a:pt x="5300" y="9053"/>
                      <a:pt x="5268" y="9079"/>
                    </a:cubicBezTo>
                    <a:close/>
                    <a:moveTo>
                      <a:pt x="5791" y="9224"/>
                    </a:moveTo>
                    <a:cubicBezTo>
                      <a:pt x="5792" y="9227"/>
                      <a:pt x="5792" y="9227"/>
                      <a:pt x="5792" y="9227"/>
                    </a:cubicBezTo>
                    <a:cubicBezTo>
                      <a:pt x="5792" y="9227"/>
                      <a:pt x="5792" y="9227"/>
                      <a:pt x="5792" y="9227"/>
                    </a:cubicBezTo>
                    <a:lnTo>
                      <a:pt x="5791" y="9224"/>
                    </a:lnTo>
                    <a:close/>
                    <a:moveTo>
                      <a:pt x="5788" y="9290"/>
                    </a:moveTo>
                    <a:cubicBezTo>
                      <a:pt x="5963" y="9320"/>
                      <a:pt x="5963" y="9320"/>
                      <a:pt x="5963" y="9320"/>
                    </a:cubicBezTo>
                    <a:cubicBezTo>
                      <a:pt x="6006" y="9202"/>
                      <a:pt x="6006" y="9202"/>
                      <a:pt x="6006" y="9202"/>
                    </a:cubicBezTo>
                    <a:cubicBezTo>
                      <a:pt x="5823" y="9168"/>
                      <a:pt x="5823" y="9168"/>
                      <a:pt x="5823" y="9168"/>
                    </a:cubicBezTo>
                    <a:lnTo>
                      <a:pt x="5788" y="9290"/>
                    </a:lnTo>
                    <a:close/>
                    <a:moveTo>
                      <a:pt x="6103" y="9344"/>
                    </a:moveTo>
                    <a:cubicBezTo>
                      <a:pt x="6144" y="9228"/>
                      <a:pt x="6144" y="9228"/>
                      <a:pt x="6144" y="9228"/>
                    </a:cubicBezTo>
                    <a:cubicBezTo>
                      <a:pt x="6019" y="9204"/>
                      <a:pt x="6019" y="9204"/>
                      <a:pt x="6019" y="9204"/>
                    </a:cubicBezTo>
                    <a:cubicBezTo>
                      <a:pt x="5976" y="9322"/>
                      <a:pt x="5976" y="9322"/>
                      <a:pt x="5976" y="9322"/>
                    </a:cubicBezTo>
                    <a:lnTo>
                      <a:pt x="6103" y="9344"/>
                    </a:lnTo>
                    <a:close/>
                    <a:moveTo>
                      <a:pt x="6149" y="9214"/>
                    </a:moveTo>
                    <a:cubicBezTo>
                      <a:pt x="6188" y="9106"/>
                      <a:pt x="6188" y="9106"/>
                      <a:pt x="6188" y="9106"/>
                    </a:cubicBezTo>
                    <a:cubicBezTo>
                      <a:pt x="6064" y="9078"/>
                      <a:pt x="6064" y="9078"/>
                      <a:pt x="6064" y="9078"/>
                    </a:cubicBezTo>
                    <a:cubicBezTo>
                      <a:pt x="6023" y="9191"/>
                      <a:pt x="6023" y="9191"/>
                      <a:pt x="6023" y="9191"/>
                    </a:cubicBezTo>
                    <a:lnTo>
                      <a:pt x="6149" y="9214"/>
                    </a:lnTo>
                    <a:close/>
                    <a:moveTo>
                      <a:pt x="6193" y="9092"/>
                    </a:moveTo>
                    <a:cubicBezTo>
                      <a:pt x="6237" y="8969"/>
                      <a:pt x="6237" y="8969"/>
                      <a:pt x="6237" y="8969"/>
                    </a:cubicBezTo>
                    <a:cubicBezTo>
                      <a:pt x="6111" y="8947"/>
                      <a:pt x="6111" y="8947"/>
                      <a:pt x="6111" y="8947"/>
                    </a:cubicBezTo>
                    <a:cubicBezTo>
                      <a:pt x="6069" y="9065"/>
                      <a:pt x="6069" y="9065"/>
                      <a:pt x="6069" y="9065"/>
                    </a:cubicBezTo>
                    <a:lnTo>
                      <a:pt x="6193" y="9092"/>
                    </a:lnTo>
                    <a:close/>
                    <a:moveTo>
                      <a:pt x="6242" y="8956"/>
                    </a:moveTo>
                    <a:cubicBezTo>
                      <a:pt x="6280" y="8851"/>
                      <a:pt x="6280" y="8851"/>
                      <a:pt x="6280" y="8851"/>
                    </a:cubicBezTo>
                    <a:cubicBezTo>
                      <a:pt x="6153" y="8832"/>
                      <a:pt x="6153" y="8832"/>
                      <a:pt x="6153" y="8832"/>
                    </a:cubicBezTo>
                    <a:cubicBezTo>
                      <a:pt x="6116" y="8933"/>
                      <a:pt x="6116" y="8933"/>
                      <a:pt x="6116" y="8933"/>
                    </a:cubicBezTo>
                    <a:lnTo>
                      <a:pt x="6242" y="8956"/>
                    </a:lnTo>
                    <a:close/>
                    <a:moveTo>
                      <a:pt x="6285" y="8837"/>
                    </a:moveTo>
                    <a:cubicBezTo>
                      <a:pt x="6333" y="8703"/>
                      <a:pt x="6333" y="8703"/>
                      <a:pt x="6333" y="8703"/>
                    </a:cubicBezTo>
                    <a:cubicBezTo>
                      <a:pt x="6204" y="8689"/>
                      <a:pt x="6204" y="8689"/>
                      <a:pt x="6204" y="8689"/>
                    </a:cubicBezTo>
                    <a:cubicBezTo>
                      <a:pt x="6157" y="8819"/>
                      <a:pt x="6157" y="8819"/>
                      <a:pt x="6157" y="8819"/>
                    </a:cubicBezTo>
                    <a:lnTo>
                      <a:pt x="6285" y="8837"/>
                    </a:lnTo>
                    <a:close/>
                    <a:moveTo>
                      <a:pt x="6244" y="8540"/>
                    </a:moveTo>
                    <a:cubicBezTo>
                      <a:pt x="5896" y="8535"/>
                      <a:pt x="5896" y="8535"/>
                      <a:pt x="5896" y="8535"/>
                    </a:cubicBezTo>
                    <a:cubicBezTo>
                      <a:pt x="5888" y="8568"/>
                      <a:pt x="5879" y="8603"/>
                      <a:pt x="5870" y="8639"/>
                    </a:cubicBezTo>
                    <a:cubicBezTo>
                      <a:pt x="6195" y="8674"/>
                      <a:pt x="6195" y="8674"/>
                      <a:pt x="6195" y="8674"/>
                    </a:cubicBezTo>
                    <a:lnTo>
                      <a:pt x="6244" y="8540"/>
                    </a:lnTo>
                    <a:close/>
                    <a:moveTo>
                      <a:pt x="5917" y="8395"/>
                    </a:moveTo>
                    <a:cubicBezTo>
                      <a:pt x="5921" y="8376"/>
                      <a:pt x="5925" y="8361"/>
                      <a:pt x="5928" y="8351"/>
                    </a:cubicBezTo>
                    <a:cubicBezTo>
                      <a:pt x="5928" y="8350"/>
                      <a:pt x="5928" y="8350"/>
                      <a:pt x="5928" y="8349"/>
                    </a:cubicBezTo>
                    <a:cubicBezTo>
                      <a:pt x="5757" y="8339"/>
                      <a:pt x="5565" y="8322"/>
                      <a:pt x="5400" y="8308"/>
                    </a:cubicBezTo>
                    <a:cubicBezTo>
                      <a:pt x="5405" y="8332"/>
                      <a:pt x="5411" y="8362"/>
                      <a:pt x="5417" y="8395"/>
                    </a:cubicBezTo>
                    <a:cubicBezTo>
                      <a:pt x="5449" y="8400"/>
                      <a:pt x="5548" y="8416"/>
                      <a:pt x="5648" y="8433"/>
                    </a:cubicBezTo>
                    <a:cubicBezTo>
                      <a:pt x="5769" y="8453"/>
                      <a:pt x="5894" y="8473"/>
                      <a:pt x="5895" y="8473"/>
                    </a:cubicBezTo>
                    <a:cubicBezTo>
                      <a:pt x="5895" y="8481"/>
                      <a:pt x="5895" y="8481"/>
                      <a:pt x="5895" y="8481"/>
                    </a:cubicBezTo>
                    <a:cubicBezTo>
                      <a:pt x="5903" y="8448"/>
                      <a:pt x="5911" y="8418"/>
                      <a:pt x="5917" y="8395"/>
                    </a:cubicBezTo>
                    <a:close/>
                    <a:moveTo>
                      <a:pt x="5933" y="8333"/>
                    </a:moveTo>
                    <a:cubicBezTo>
                      <a:pt x="5933" y="8333"/>
                      <a:pt x="5934" y="8332"/>
                      <a:pt x="5936" y="8330"/>
                    </a:cubicBezTo>
                    <a:cubicBezTo>
                      <a:pt x="5938" y="8333"/>
                      <a:pt x="5938" y="8333"/>
                      <a:pt x="5938" y="8333"/>
                    </a:cubicBezTo>
                    <a:cubicBezTo>
                      <a:pt x="6023" y="8338"/>
                      <a:pt x="6103" y="8342"/>
                      <a:pt x="6170" y="8342"/>
                    </a:cubicBezTo>
                    <a:cubicBezTo>
                      <a:pt x="6213" y="8342"/>
                      <a:pt x="6251" y="8340"/>
                      <a:pt x="6284" y="8337"/>
                    </a:cubicBezTo>
                    <a:cubicBezTo>
                      <a:pt x="6317" y="8334"/>
                      <a:pt x="6343" y="8330"/>
                      <a:pt x="6370" y="8318"/>
                    </a:cubicBezTo>
                    <a:cubicBezTo>
                      <a:pt x="6420" y="8296"/>
                      <a:pt x="6452" y="8254"/>
                      <a:pt x="6473" y="8210"/>
                    </a:cubicBezTo>
                    <a:cubicBezTo>
                      <a:pt x="6480" y="8196"/>
                      <a:pt x="6486" y="8181"/>
                      <a:pt x="6492" y="8166"/>
                    </a:cubicBezTo>
                    <a:cubicBezTo>
                      <a:pt x="6456" y="8163"/>
                      <a:pt x="6413" y="8160"/>
                      <a:pt x="6362" y="8156"/>
                    </a:cubicBezTo>
                    <a:cubicBezTo>
                      <a:pt x="6347" y="8186"/>
                      <a:pt x="6333" y="8200"/>
                      <a:pt x="6320" y="8206"/>
                    </a:cubicBezTo>
                    <a:cubicBezTo>
                      <a:pt x="6318" y="8207"/>
                      <a:pt x="6317" y="8207"/>
                      <a:pt x="6315" y="8208"/>
                    </a:cubicBezTo>
                    <a:cubicBezTo>
                      <a:pt x="6307" y="8210"/>
                      <a:pt x="6292" y="8213"/>
                      <a:pt x="6272" y="8215"/>
                    </a:cubicBezTo>
                    <a:cubicBezTo>
                      <a:pt x="6245" y="8217"/>
                      <a:pt x="6210" y="8219"/>
                      <a:pt x="6170" y="8219"/>
                    </a:cubicBezTo>
                    <a:cubicBezTo>
                      <a:pt x="6170" y="8219"/>
                      <a:pt x="6169" y="8219"/>
                      <a:pt x="6169" y="8219"/>
                    </a:cubicBezTo>
                    <a:cubicBezTo>
                      <a:pt x="5899" y="8219"/>
                      <a:pt x="5401" y="8163"/>
                      <a:pt x="5154" y="8152"/>
                    </a:cubicBezTo>
                    <a:cubicBezTo>
                      <a:pt x="5075" y="8148"/>
                      <a:pt x="4975" y="8145"/>
                      <a:pt x="4864" y="8145"/>
                    </a:cubicBezTo>
                    <a:cubicBezTo>
                      <a:pt x="4811" y="8145"/>
                      <a:pt x="4754" y="8146"/>
                      <a:pt x="4696" y="8148"/>
                    </a:cubicBezTo>
                    <a:cubicBezTo>
                      <a:pt x="4600" y="8164"/>
                      <a:pt x="4506" y="8177"/>
                      <a:pt x="4436" y="8183"/>
                    </a:cubicBezTo>
                    <a:cubicBezTo>
                      <a:pt x="4404" y="8185"/>
                      <a:pt x="4373" y="8186"/>
                      <a:pt x="4344" y="8186"/>
                    </a:cubicBezTo>
                    <a:cubicBezTo>
                      <a:pt x="4321" y="8186"/>
                      <a:pt x="4300" y="8186"/>
                      <a:pt x="4279" y="8185"/>
                    </a:cubicBezTo>
                    <a:cubicBezTo>
                      <a:pt x="4113" y="8210"/>
                      <a:pt x="3950" y="8252"/>
                      <a:pt x="3809" y="8317"/>
                    </a:cubicBezTo>
                    <a:cubicBezTo>
                      <a:pt x="3856" y="8431"/>
                      <a:pt x="3856" y="8431"/>
                      <a:pt x="3856" y="8431"/>
                    </a:cubicBezTo>
                    <a:cubicBezTo>
                      <a:pt x="3989" y="8368"/>
                      <a:pt x="4151" y="8328"/>
                      <a:pt x="4318" y="8303"/>
                    </a:cubicBezTo>
                    <a:cubicBezTo>
                      <a:pt x="4317" y="8297"/>
                      <a:pt x="4317" y="8297"/>
                      <a:pt x="4317" y="8297"/>
                    </a:cubicBezTo>
                    <a:cubicBezTo>
                      <a:pt x="4330" y="8293"/>
                      <a:pt x="4330" y="8293"/>
                      <a:pt x="4330" y="8293"/>
                    </a:cubicBezTo>
                    <a:cubicBezTo>
                      <a:pt x="4332" y="8301"/>
                      <a:pt x="4332" y="8301"/>
                      <a:pt x="4332" y="8301"/>
                    </a:cubicBezTo>
                    <a:cubicBezTo>
                      <a:pt x="4412" y="8290"/>
                      <a:pt x="4493" y="8282"/>
                      <a:pt x="4573" y="8277"/>
                    </a:cubicBezTo>
                    <a:cubicBezTo>
                      <a:pt x="4573" y="8275"/>
                      <a:pt x="4573" y="8273"/>
                      <a:pt x="4573" y="8273"/>
                    </a:cubicBezTo>
                    <a:cubicBezTo>
                      <a:pt x="4587" y="8273"/>
                      <a:pt x="4587" y="8273"/>
                      <a:pt x="4587" y="8273"/>
                    </a:cubicBezTo>
                    <a:cubicBezTo>
                      <a:pt x="4587" y="8273"/>
                      <a:pt x="4587" y="8275"/>
                      <a:pt x="4587" y="8276"/>
                    </a:cubicBezTo>
                    <a:cubicBezTo>
                      <a:pt x="4642" y="8272"/>
                      <a:pt x="4697" y="8270"/>
                      <a:pt x="4750" y="8269"/>
                    </a:cubicBezTo>
                    <a:cubicBezTo>
                      <a:pt x="4749" y="8264"/>
                      <a:pt x="4749" y="8264"/>
                      <a:pt x="4749" y="8264"/>
                    </a:cubicBezTo>
                    <a:cubicBezTo>
                      <a:pt x="4763" y="8262"/>
                      <a:pt x="4763" y="8262"/>
                      <a:pt x="4763" y="8262"/>
                    </a:cubicBezTo>
                    <a:cubicBezTo>
                      <a:pt x="4764" y="8269"/>
                      <a:pt x="4764" y="8269"/>
                      <a:pt x="4764" y="8269"/>
                    </a:cubicBezTo>
                    <a:cubicBezTo>
                      <a:pt x="4795" y="8268"/>
                      <a:pt x="4825" y="8268"/>
                      <a:pt x="4854" y="8268"/>
                    </a:cubicBezTo>
                    <a:cubicBezTo>
                      <a:pt x="4857" y="8268"/>
                      <a:pt x="4861" y="8268"/>
                      <a:pt x="4864" y="8268"/>
                    </a:cubicBezTo>
                    <a:cubicBezTo>
                      <a:pt x="4940" y="8268"/>
                      <a:pt x="5010" y="8269"/>
                      <a:pt x="5072" y="8271"/>
                    </a:cubicBezTo>
                    <a:cubicBezTo>
                      <a:pt x="5072" y="8264"/>
                      <a:pt x="5072" y="8264"/>
                      <a:pt x="5072" y="8264"/>
                    </a:cubicBezTo>
                    <a:cubicBezTo>
                      <a:pt x="5086" y="8265"/>
                      <a:pt x="5086" y="8265"/>
                      <a:pt x="5086" y="8265"/>
                    </a:cubicBezTo>
                    <a:cubicBezTo>
                      <a:pt x="5086" y="8272"/>
                      <a:pt x="5086" y="8272"/>
                      <a:pt x="5086" y="8272"/>
                    </a:cubicBezTo>
                    <a:cubicBezTo>
                      <a:pt x="5108" y="8273"/>
                      <a:pt x="5129" y="8274"/>
                      <a:pt x="5149" y="8274"/>
                    </a:cubicBezTo>
                    <a:cubicBezTo>
                      <a:pt x="5330" y="8283"/>
                      <a:pt x="5661" y="8317"/>
                      <a:pt x="5933" y="8333"/>
                    </a:cubicBezTo>
                    <a:close/>
                    <a:moveTo>
                      <a:pt x="3970" y="7978"/>
                    </a:moveTo>
                    <a:cubicBezTo>
                      <a:pt x="3975" y="7990"/>
                      <a:pt x="3979" y="8001"/>
                      <a:pt x="3983" y="8008"/>
                    </a:cubicBezTo>
                    <a:cubicBezTo>
                      <a:pt x="3985" y="8012"/>
                      <a:pt x="3986" y="8016"/>
                      <a:pt x="3988" y="8018"/>
                    </a:cubicBezTo>
                    <a:cubicBezTo>
                      <a:pt x="3988" y="8020"/>
                      <a:pt x="3989" y="8021"/>
                      <a:pt x="3989" y="8023"/>
                    </a:cubicBezTo>
                    <a:cubicBezTo>
                      <a:pt x="3990" y="8023"/>
                      <a:pt x="3990" y="8024"/>
                      <a:pt x="3990" y="8024"/>
                    </a:cubicBezTo>
                    <a:cubicBezTo>
                      <a:pt x="4015" y="8021"/>
                      <a:pt x="4040" y="8019"/>
                      <a:pt x="4065" y="8019"/>
                    </a:cubicBezTo>
                    <a:cubicBezTo>
                      <a:pt x="4072" y="8019"/>
                      <a:pt x="4079" y="8020"/>
                      <a:pt x="4086" y="8020"/>
                    </a:cubicBezTo>
                    <a:cubicBezTo>
                      <a:pt x="4002" y="7678"/>
                      <a:pt x="4002" y="7678"/>
                      <a:pt x="4002" y="7678"/>
                    </a:cubicBezTo>
                    <a:cubicBezTo>
                      <a:pt x="3926" y="7711"/>
                      <a:pt x="3926" y="7711"/>
                      <a:pt x="3926" y="7711"/>
                    </a:cubicBezTo>
                    <a:cubicBezTo>
                      <a:pt x="3927" y="7742"/>
                      <a:pt x="3932" y="7787"/>
                      <a:pt x="3938" y="7826"/>
                    </a:cubicBezTo>
                    <a:cubicBezTo>
                      <a:pt x="3943" y="7858"/>
                      <a:pt x="3947" y="7886"/>
                      <a:pt x="3949" y="7898"/>
                    </a:cubicBezTo>
                    <a:cubicBezTo>
                      <a:pt x="3950" y="7898"/>
                      <a:pt x="3950" y="7898"/>
                      <a:pt x="3950" y="7898"/>
                    </a:cubicBezTo>
                    <a:cubicBezTo>
                      <a:pt x="3953" y="7926"/>
                      <a:pt x="3960" y="7954"/>
                      <a:pt x="3970" y="7978"/>
                    </a:cubicBezTo>
                    <a:close/>
                    <a:moveTo>
                      <a:pt x="3931" y="8020"/>
                    </a:moveTo>
                    <a:cubicBezTo>
                      <a:pt x="3950" y="8031"/>
                      <a:pt x="3950" y="8031"/>
                      <a:pt x="3950" y="8031"/>
                    </a:cubicBezTo>
                    <a:cubicBezTo>
                      <a:pt x="3950" y="8031"/>
                      <a:pt x="3950" y="8031"/>
                      <a:pt x="3950" y="8031"/>
                    </a:cubicBezTo>
                    <a:lnTo>
                      <a:pt x="3931" y="8020"/>
                    </a:lnTo>
                    <a:close/>
                    <a:moveTo>
                      <a:pt x="3230" y="8421"/>
                    </a:moveTo>
                    <a:cubicBezTo>
                      <a:pt x="3342" y="8150"/>
                      <a:pt x="3342" y="8150"/>
                      <a:pt x="3342" y="8150"/>
                    </a:cubicBezTo>
                    <a:cubicBezTo>
                      <a:pt x="3307" y="8116"/>
                      <a:pt x="3014" y="7827"/>
                      <a:pt x="2972" y="7785"/>
                    </a:cubicBezTo>
                    <a:cubicBezTo>
                      <a:pt x="2676" y="8005"/>
                      <a:pt x="2676" y="8005"/>
                      <a:pt x="2676" y="8005"/>
                    </a:cubicBezTo>
                    <a:cubicBezTo>
                      <a:pt x="3046" y="8526"/>
                      <a:pt x="3046" y="8526"/>
                      <a:pt x="3046" y="8526"/>
                    </a:cubicBezTo>
                    <a:cubicBezTo>
                      <a:pt x="3078" y="8509"/>
                      <a:pt x="3110" y="8492"/>
                      <a:pt x="3141" y="8475"/>
                    </a:cubicBezTo>
                    <a:cubicBezTo>
                      <a:pt x="3174" y="8458"/>
                      <a:pt x="3207" y="8440"/>
                      <a:pt x="3238" y="8424"/>
                    </a:cubicBezTo>
                    <a:lnTo>
                      <a:pt x="3230" y="8421"/>
                    </a:lnTo>
                    <a:close/>
                    <a:moveTo>
                      <a:pt x="2872" y="8618"/>
                    </a:moveTo>
                    <a:cubicBezTo>
                      <a:pt x="2870" y="8620"/>
                      <a:pt x="2870" y="8620"/>
                      <a:pt x="2870" y="8620"/>
                    </a:cubicBezTo>
                    <a:cubicBezTo>
                      <a:pt x="2924" y="8591"/>
                      <a:pt x="2978" y="8562"/>
                      <a:pt x="3031" y="8534"/>
                    </a:cubicBezTo>
                    <a:cubicBezTo>
                      <a:pt x="2660" y="8011"/>
                      <a:pt x="2660" y="8011"/>
                      <a:pt x="2660" y="8011"/>
                    </a:cubicBezTo>
                    <a:cubicBezTo>
                      <a:pt x="2641" y="8006"/>
                      <a:pt x="2514" y="7973"/>
                      <a:pt x="2498" y="7968"/>
                    </a:cubicBezTo>
                    <a:cubicBezTo>
                      <a:pt x="2496" y="7968"/>
                      <a:pt x="2494" y="7967"/>
                      <a:pt x="2492" y="7967"/>
                    </a:cubicBezTo>
                    <a:cubicBezTo>
                      <a:pt x="2287" y="8106"/>
                      <a:pt x="2287" y="8106"/>
                      <a:pt x="2287" y="8106"/>
                    </a:cubicBezTo>
                    <a:cubicBezTo>
                      <a:pt x="2435" y="8413"/>
                      <a:pt x="2435" y="8413"/>
                      <a:pt x="2435" y="8413"/>
                    </a:cubicBezTo>
                    <a:cubicBezTo>
                      <a:pt x="2449" y="8407"/>
                      <a:pt x="2483" y="8394"/>
                      <a:pt x="2518" y="8381"/>
                    </a:cubicBezTo>
                    <a:cubicBezTo>
                      <a:pt x="2559" y="8366"/>
                      <a:pt x="2599" y="8351"/>
                      <a:pt x="2599" y="8351"/>
                    </a:cubicBezTo>
                    <a:cubicBezTo>
                      <a:pt x="2604" y="8349"/>
                      <a:pt x="2604" y="8349"/>
                      <a:pt x="2604" y="8349"/>
                    </a:cubicBezTo>
                    <a:lnTo>
                      <a:pt x="2872" y="8618"/>
                    </a:lnTo>
                    <a:close/>
                    <a:moveTo>
                      <a:pt x="2161" y="8990"/>
                    </a:moveTo>
                    <a:cubicBezTo>
                      <a:pt x="2161" y="8990"/>
                      <a:pt x="2168" y="8987"/>
                      <a:pt x="2179" y="8981"/>
                    </a:cubicBezTo>
                    <a:cubicBezTo>
                      <a:pt x="2154" y="8926"/>
                      <a:pt x="2154" y="8926"/>
                      <a:pt x="2154" y="8926"/>
                    </a:cubicBezTo>
                    <a:cubicBezTo>
                      <a:pt x="2074" y="8966"/>
                      <a:pt x="2074" y="8966"/>
                      <a:pt x="2074" y="8966"/>
                    </a:cubicBezTo>
                    <a:cubicBezTo>
                      <a:pt x="2101" y="9023"/>
                      <a:pt x="2101" y="9023"/>
                      <a:pt x="2101" y="9023"/>
                    </a:cubicBezTo>
                    <a:cubicBezTo>
                      <a:pt x="2162" y="8990"/>
                      <a:pt x="2162" y="8990"/>
                      <a:pt x="2162" y="8990"/>
                    </a:cubicBezTo>
                    <a:lnTo>
                      <a:pt x="2161" y="8990"/>
                    </a:lnTo>
                    <a:close/>
                    <a:moveTo>
                      <a:pt x="1090" y="8331"/>
                    </a:moveTo>
                    <a:cubicBezTo>
                      <a:pt x="1089" y="8336"/>
                      <a:pt x="1089" y="8334"/>
                      <a:pt x="1088" y="8336"/>
                    </a:cubicBezTo>
                    <a:cubicBezTo>
                      <a:pt x="1083" y="8346"/>
                      <a:pt x="1039" y="8413"/>
                      <a:pt x="999" y="8475"/>
                    </a:cubicBezTo>
                    <a:cubicBezTo>
                      <a:pt x="1018" y="8490"/>
                      <a:pt x="1100" y="8552"/>
                      <a:pt x="1182" y="8615"/>
                    </a:cubicBezTo>
                    <a:cubicBezTo>
                      <a:pt x="1229" y="8650"/>
                      <a:pt x="1276" y="8686"/>
                      <a:pt x="1311" y="8713"/>
                    </a:cubicBezTo>
                    <a:cubicBezTo>
                      <a:pt x="1326" y="8725"/>
                      <a:pt x="1339" y="8735"/>
                      <a:pt x="1365" y="8755"/>
                    </a:cubicBezTo>
                    <a:cubicBezTo>
                      <a:pt x="1391" y="8711"/>
                      <a:pt x="1442" y="8622"/>
                      <a:pt x="1494" y="8534"/>
                    </a:cubicBezTo>
                    <a:cubicBezTo>
                      <a:pt x="1505" y="8514"/>
                      <a:pt x="1517" y="8495"/>
                      <a:pt x="1528" y="8475"/>
                    </a:cubicBezTo>
                    <a:cubicBezTo>
                      <a:pt x="1315" y="8318"/>
                      <a:pt x="1315" y="8318"/>
                      <a:pt x="1315" y="8318"/>
                    </a:cubicBezTo>
                    <a:cubicBezTo>
                      <a:pt x="1090" y="8330"/>
                      <a:pt x="1090" y="8330"/>
                      <a:pt x="1090" y="8330"/>
                    </a:cubicBezTo>
                    <a:cubicBezTo>
                      <a:pt x="1090" y="8331"/>
                      <a:pt x="1090" y="8331"/>
                      <a:pt x="1090" y="8331"/>
                    </a:cubicBezTo>
                    <a:close/>
                    <a:moveTo>
                      <a:pt x="1402" y="7149"/>
                    </a:moveTo>
                    <a:cubicBezTo>
                      <a:pt x="1537" y="7145"/>
                      <a:pt x="1537" y="7145"/>
                      <a:pt x="1537" y="7145"/>
                    </a:cubicBezTo>
                    <a:cubicBezTo>
                      <a:pt x="1538" y="7146"/>
                      <a:pt x="1538" y="7146"/>
                      <a:pt x="1538" y="7146"/>
                    </a:cubicBezTo>
                    <a:cubicBezTo>
                      <a:pt x="1538" y="7146"/>
                      <a:pt x="1582" y="7162"/>
                      <a:pt x="1626" y="7179"/>
                    </a:cubicBezTo>
                    <a:cubicBezTo>
                      <a:pt x="1648" y="7187"/>
                      <a:pt x="1670" y="7195"/>
                      <a:pt x="1686" y="7202"/>
                    </a:cubicBezTo>
                    <a:cubicBezTo>
                      <a:pt x="1689" y="7203"/>
                      <a:pt x="1692" y="7204"/>
                      <a:pt x="1721" y="7216"/>
                    </a:cubicBezTo>
                    <a:cubicBezTo>
                      <a:pt x="1721" y="7218"/>
                      <a:pt x="1721" y="7218"/>
                      <a:pt x="1721" y="7218"/>
                    </a:cubicBezTo>
                    <a:cubicBezTo>
                      <a:pt x="1753" y="7169"/>
                      <a:pt x="1789" y="7114"/>
                      <a:pt x="1821" y="7068"/>
                    </a:cubicBezTo>
                    <a:cubicBezTo>
                      <a:pt x="1843" y="7035"/>
                      <a:pt x="1862" y="7007"/>
                      <a:pt x="1878" y="6985"/>
                    </a:cubicBezTo>
                    <a:cubicBezTo>
                      <a:pt x="1881" y="6981"/>
                      <a:pt x="1884" y="6978"/>
                      <a:pt x="1886" y="6974"/>
                    </a:cubicBezTo>
                    <a:cubicBezTo>
                      <a:pt x="1744" y="6891"/>
                      <a:pt x="1532" y="6766"/>
                      <a:pt x="1453" y="6719"/>
                    </a:cubicBezTo>
                    <a:cubicBezTo>
                      <a:pt x="1440" y="6746"/>
                      <a:pt x="1421" y="6786"/>
                      <a:pt x="1398" y="6829"/>
                    </a:cubicBezTo>
                    <a:cubicBezTo>
                      <a:pt x="1379" y="6867"/>
                      <a:pt x="1356" y="6906"/>
                      <a:pt x="1334" y="6940"/>
                    </a:cubicBezTo>
                    <a:cubicBezTo>
                      <a:pt x="1322" y="6958"/>
                      <a:pt x="1310" y="6974"/>
                      <a:pt x="1297" y="6988"/>
                    </a:cubicBezTo>
                    <a:lnTo>
                      <a:pt x="1402" y="7149"/>
                    </a:lnTo>
                    <a:close/>
                    <a:moveTo>
                      <a:pt x="1264" y="7018"/>
                    </a:moveTo>
                    <a:cubicBezTo>
                      <a:pt x="1264" y="7019"/>
                      <a:pt x="1263" y="7019"/>
                      <a:pt x="1263" y="7019"/>
                    </a:cubicBezTo>
                    <a:cubicBezTo>
                      <a:pt x="1215" y="7050"/>
                      <a:pt x="1170" y="7064"/>
                      <a:pt x="1138" y="7071"/>
                    </a:cubicBezTo>
                    <a:cubicBezTo>
                      <a:pt x="1086" y="7212"/>
                      <a:pt x="1086" y="7212"/>
                      <a:pt x="1086" y="7212"/>
                    </a:cubicBezTo>
                    <a:cubicBezTo>
                      <a:pt x="1149" y="7197"/>
                      <a:pt x="1320" y="7158"/>
                      <a:pt x="1351" y="7151"/>
                    </a:cubicBezTo>
                    <a:lnTo>
                      <a:pt x="1264" y="7018"/>
                    </a:lnTo>
                    <a:close/>
                    <a:moveTo>
                      <a:pt x="2087" y="4841"/>
                    </a:moveTo>
                    <a:cubicBezTo>
                      <a:pt x="2344" y="4987"/>
                      <a:pt x="2344" y="4987"/>
                      <a:pt x="2344" y="4987"/>
                    </a:cubicBezTo>
                    <a:cubicBezTo>
                      <a:pt x="2399" y="4889"/>
                      <a:pt x="2399" y="4889"/>
                      <a:pt x="2399" y="4889"/>
                    </a:cubicBezTo>
                    <a:cubicBezTo>
                      <a:pt x="2198" y="4743"/>
                      <a:pt x="2198" y="4743"/>
                      <a:pt x="2198" y="4743"/>
                    </a:cubicBezTo>
                    <a:lnTo>
                      <a:pt x="2087" y="4841"/>
                    </a:lnTo>
                    <a:close/>
                    <a:moveTo>
                      <a:pt x="2186" y="4735"/>
                    </a:moveTo>
                    <a:cubicBezTo>
                      <a:pt x="1921" y="4542"/>
                      <a:pt x="1921" y="4542"/>
                      <a:pt x="1921" y="4542"/>
                    </a:cubicBezTo>
                    <a:cubicBezTo>
                      <a:pt x="1796" y="4674"/>
                      <a:pt x="1796" y="4674"/>
                      <a:pt x="1796" y="4674"/>
                    </a:cubicBezTo>
                    <a:cubicBezTo>
                      <a:pt x="2075" y="4834"/>
                      <a:pt x="2075" y="4834"/>
                      <a:pt x="2075" y="4834"/>
                    </a:cubicBezTo>
                    <a:lnTo>
                      <a:pt x="2186" y="4735"/>
                    </a:lnTo>
                    <a:close/>
                    <a:moveTo>
                      <a:pt x="4153" y="4235"/>
                    </a:moveTo>
                    <a:cubicBezTo>
                      <a:pt x="4153" y="4317"/>
                      <a:pt x="4150" y="4396"/>
                      <a:pt x="4139" y="4456"/>
                    </a:cubicBezTo>
                    <a:cubicBezTo>
                      <a:pt x="4138" y="4462"/>
                      <a:pt x="4137" y="4468"/>
                      <a:pt x="4136" y="4474"/>
                    </a:cubicBezTo>
                    <a:cubicBezTo>
                      <a:pt x="4303" y="4506"/>
                      <a:pt x="4472" y="4537"/>
                      <a:pt x="4485" y="4538"/>
                    </a:cubicBezTo>
                    <a:cubicBezTo>
                      <a:pt x="4485" y="4538"/>
                      <a:pt x="4485" y="4538"/>
                      <a:pt x="4485" y="4538"/>
                    </a:cubicBezTo>
                    <a:cubicBezTo>
                      <a:pt x="4485" y="4538"/>
                      <a:pt x="4485" y="4538"/>
                      <a:pt x="4485" y="4538"/>
                    </a:cubicBezTo>
                    <a:cubicBezTo>
                      <a:pt x="4485" y="4543"/>
                      <a:pt x="4485" y="4543"/>
                      <a:pt x="4485" y="4543"/>
                    </a:cubicBezTo>
                    <a:cubicBezTo>
                      <a:pt x="4484" y="4538"/>
                      <a:pt x="4484" y="4538"/>
                      <a:pt x="4484" y="4538"/>
                    </a:cubicBezTo>
                    <a:cubicBezTo>
                      <a:pt x="4486" y="4547"/>
                      <a:pt x="4486" y="4547"/>
                      <a:pt x="4486" y="4547"/>
                    </a:cubicBezTo>
                    <a:cubicBezTo>
                      <a:pt x="4647" y="4219"/>
                      <a:pt x="4647" y="4219"/>
                      <a:pt x="4647" y="4219"/>
                    </a:cubicBezTo>
                    <a:cubicBezTo>
                      <a:pt x="4151" y="4111"/>
                      <a:pt x="4151" y="4111"/>
                      <a:pt x="4151" y="4111"/>
                    </a:cubicBezTo>
                    <a:cubicBezTo>
                      <a:pt x="4152" y="4151"/>
                      <a:pt x="4153" y="4193"/>
                      <a:pt x="4153" y="4235"/>
                    </a:cubicBezTo>
                    <a:close/>
                    <a:moveTo>
                      <a:pt x="7123" y="3793"/>
                    </a:moveTo>
                    <a:cubicBezTo>
                      <a:pt x="7123" y="3791"/>
                      <a:pt x="7123" y="3791"/>
                      <a:pt x="7123" y="3791"/>
                    </a:cubicBezTo>
                    <a:cubicBezTo>
                      <a:pt x="7123" y="3780"/>
                      <a:pt x="7124" y="3769"/>
                      <a:pt x="7126" y="3758"/>
                    </a:cubicBezTo>
                    <a:cubicBezTo>
                      <a:pt x="7147" y="3614"/>
                      <a:pt x="7240" y="3521"/>
                      <a:pt x="7355" y="3453"/>
                    </a:cubicBezTo>
                    <a:cubicBezTo>
                      <a:pt x="7365" y="3447"/>
                      <a:pt x="7375" y="3442"/>
                      <a:pt x="7386" y="3436"/>
                    </a:cubicBezTo>
                    <a:cubicBezTo>
                      <a:pt x="7371" y="3399"/>
                      <a:pt x="7371" y="3399"/>
                      <a:pt x="7371" y="3399"/>
                    </a:cubicBezTo>
                    <a:cubicBezTo>
                      <a:pt x="7371" y="3399"/>
                      <a:pt x="7370" y="3396"/>
                      <a:pt x="7367" y="3389"/>
                    </a:cubicBezTo>
                    <a:cubicBezTo>
                      <a:pt x="7361" y="3377"/>
                      <a:pt x="7351" y="3352"/>
                      <a:pt x="7336" y="3323"/>
                    </a:cubicBezTo>
                    <a:cubicBezTo>
                      <a:pt x="7264" y="3360"/>
                      <a:pt x="7192" y="3408"/>
                      <a:pt x="7132" y="3473"/>
                    </a:cubicBezTo>
                    <a:cubicBezTo>
                      <a:pt x="7069" y="3542"/>
                      <a:pt x="7020" y="3631"/>
                      <a:pt x="7004" y="3740"/>
                    </a:cubicBezTo>
                    <a:cubicBezTo>
                      <a:pt x="7001" y="3757"/>
                      <a:pt x="7000" y="3774"/>
                      <a:pt x="7000" y="3791"/>
                    </a:cubicBezTo>
                    <a:cubicBezTo>
                      <a:pt x="7001" y="3905"/>
                      <a:pt x="7052" y="4013"/>
                      <a:pt x="7126" y="4122"/>
                    </a:cubicBezTo>
                    <a:cubicBezTo>
                      <a:pt x="7200" y="4231"/>
                      <a:pt x="7299" y="4343"/>
                      <a:pt x="7405" y="4460"/>
                    </a:cubicBezTo>
                    <a:cubicBezTo>
                      <a:pt x="7529" y="4597"/>
                      <a:pt x="7663" y="4743"/>
                      <a:pt x="7777" y="4897"/>
                    </a:cubicBezTo>
                    <a:cubicBezTo>
                      <a:pt x="7933" y="4904"/>
                      <a:pt x="7933" y="4904"/>
                      <a:pt x="7933" y="4904"/>
                    </a:cubicBezTo>
                    <a:cubicBezTo>
                      <a:pt x="7849" y="4782"/>
                      <a:pt x="7754" y="4667"/>
                      <a:pt x="7659" y="4558"/>
                    </a:cubicBezTo>
                    <a:cubicBezTo>
                      <a:pt x="7494" y="4371"/>
                      <a:pt x="7329" y="4202"/>
                      <a:pt x="7228" y="4053"/>
                    </a:cubicBezTo>
                    <a:cubicBezTo>
                      <a:pt x="7160" y="3955"/>
                      <a:pt x="7123" y="3867"/>
                      <a:pt x="7123" y="3793"/>
                    </a:cubicBezTo>
                    <a:close/>
                    <a:moveTo>
                      <a:pt x="6273" y="7417"/>
                    </a:moveTo>
                    <a:cubicBezTo>
                      <a:pt x="6276" y="7404"/>
                      <a:pt x="6276" y="7404"/>
                      <a:pt x="6276" y="7404"/>
                    </a:cubicBezTo>
                    <a:cubicBezTo>
                      <a:pt x="6276" y="7404"/>
                      <a:pt x="6323" y="7414"/>
                      <a:pt x="6370" y="7424"/>
                    </a:cubicBezTo>
                    <a:cubicBezTo>
                      <a:pt x="6394" y="7430"/>
                      <a:pt x="6417" y="7435"/>
                      <a:pt x="6435" y="7439"/>
                    </a:cubicBezTo>
                    <a:cubicBezTo>
                      <a:pt x="6444" y="7441"/>
                      <a:pt x="6451" y="7443"/>
                      <a:pt x="6457" y="7444"/>
                    </a:cubicBezTo>
                    <a:cubicBezTo>
                      <a:pt x="6459" y="7445"/>
                      <a:pt x="6461" y="7446"/>
                      <a:pt x="6463" y="7446"/>
                    </a:cubicBezTo>
                    <a:cubicBezTo>
                      <a:pt x="6464" y="7446"/>
                      <a:pt x="6464" y="7446"/>
                      <a:pt x="6465" y="7447"/>
                    </a:cubicBezTo>
                    <a:cubicBezTo>
                      <a:pt x="6465" y="7447"/>
                      <a:pt x="6466" y="7447"/>
                      <a:pt x="6466" y="7447"/>
                    </a:cubicBezTo>
                    <a:cubicBezTo>
                      <a:pt x="6466" y="7448"/>
                      <a:pt x="6468" y="7447"/>
                      <a:pt x="6469" y="7451"/>
                    </a:cubicBezTo>
                    <a:cubicBezTo>
                      <a:pt x="6478" y="7458"/>
                      <a:pt x="6521" y="7486"/>
                      <a:pt x="6561" y="7511"/>
                    </a:cubicBezTo>
                    <a:cubicBezTo>
                      <a:pt x="6583" y="7525"/>
                      <a:pt x="6605" y="7539"/>
                      <a:pt x="6621" y="7549"/>
                    </a:cubicBezTo>
                    <a:cubicBezTo>
                      <a:pt x="6629" y="7555"/>
                      <a:pt x="6636" y="7559"/>
                      <a:pt x="6641" y="7562"/>
                    </a:cubicBezTo>
                    <a:cubicBezTo>
                      <a:pt x="6643" y="7564"/>
                      <a:pt x="6645" y="7565"/>
                      <a:pt x="6647" y="7566"/>
                    </a:cubicBezTo>
                    <a:cubicBezTo>
                      <a:pt x="6647" y="7567"/>
                      <a:pt x="6648" y="7567"/>
                      <a:pt x="6649" y="7568"/>
                    </a:cubicBezTo>
                    <a:cubicBezTo>
                      <a:pt x="6649" y="7569"/>
                      <a:pt x="6650" y="7568"/>
                      <a:pt x="6651" y="7571"/>
                    </a:cubicBezTo>
                    <a:cubicBezTo>
                      <a:pt x="6693" y="7543"/>
                      <a:pt x="6745" y="7522"/>
                      <a:pt x="6811" y="7502"/>
                    </a:cubicBezTo>
                    <a:cubicBezTo>
                      <a:pt x="6909" y="7474"/>
                      <a:pt x="7045" y="7446"/>
                      <a:pt x="7258" y="7405"/>
                    </a:cubicBezTo>
                    <a:cubicBezTo>
                      <a:pt x="7805" y="7300"/>
                      <a:pt x="8090" y="7037"/>
                      <a:pt x="8205" y="6839"/>
                    </a:cubicBezTo>
                    <a:cubicBezTo>
                      <a:pt x="8229" y="6800"/>
                      <a:pt x="8252" y="6689"/>
                      <a:pt x="8251" y="6546"/>
                    </a:cubicBezTo>
                    <a:cubicBezTo>
                      <a:pt x="8251" y="6543"/>
                      <a:pt x="8251" y="6540"/>
                      <a:pt x="8251" y="6536"/>
                    </a:cubicBezTo>
                    <a:cubicBezTo>
                      <a:pt x="8251" y="6534"/>
                      <a:pt x="8251" y="6534"/>
                      <a:pt x="8251" y="6534"/>
                    </a:cubicBezTo>
                    <a:cubicBezTo>
                      <a:pt x="8251" y="6515"/>
                      <a:pt x="8251" y="6496"/>
                      <a:pt x="8250" y="6476"/>
                    </a:cubicBezTo>
                    <a:cubicBezTo>
                      <a:pt x="8234" y="6474"/>
                      <a:pt x="8218" y="6473"/>
                      <a:pt x="8201" y="6471"/>
                    </a:cubicBezTo>
                    <a:cubicBezTo>
                      <a:pt x="8185" y="6660"/>
                      <a:pt x="8185" y="6660"/>
                      <a:pt x="8185" y="6660"/>
                    </a:cubicBezTo>
                    <a:cubicBezTo>
                      <a:pt x="8144" y="6840"/>
                      <a:pt x="8144" y="6840"/>
                      <a:pt x="8144" y="6840"/>
                    </a:cubicBezTo>
                    <a:cubicBezTo>
                      <a:pt x="8066" y="6975"/>
                      <a:pt x="8066" y="6975"/>
                      <a:pt x="8066" y="6975"/>
                    </a:cubicBezTo>
                    <a:cubicBezTo>
                      <a:pt x="7812" y="7145"/>
                      <a:pt x="7812" y="7145"/>
                      <a:pt x="7812" y="7145"/>
                    </a:cubicBezTo>
                    <a:cubicBezTo>
                      <a:pt x="7549" y="7278"/>
                      <a:pt x="7549" y="7278"/>
                      <a:pt x="7549" y="7278"/>
                    </a:cubicBezTo>
                    <a:cubicBezTo>
                      <a:pt x="7038" y="7396"/>
                      <a:pt x="7038" y="7396"/>
                      <a:pt x="7038" y="7396"/>
                    </a:cubicBezTo>
                    <a:cubicBezTo>
                      <a:pt x="7030" y="7449"/>
                      <a:pt x="7030" y="7449"/>
                      <a:pt x="7030" y="7449"/>
                    </a:cubicBezTo>
                    <a:cubicBezTo>
                      <a:pt x="6965" y="7440"/>
                      <a:pt x="6965" y="7440"/>
                      <a:pt x="6965" y="7440"/>
                    </a:cubicBezTo>
                    <a:cubicBezTo>
                      <a:pt x="6973" y="7389"/>
                      <a:pt x="6973" y="7389"/>
                      <a:pt x="6973" y="7389"/>
                    </a:cubicBezTo>
                    <a:cubicBezTo>
                      <a:pt x="6888" y="7371"/>
                      <a:pt x="6888" y="7371"/>
                      <a:pt x="6888" y="7371"/>
                    </a:cubicBezTo>
                    <a:cubicBezTo>
                      <a:pt x="6877" y="7432"/>
                      <a:pt x="6877" y="7432"/>
                      <a:pt x="6877" y="7432"/>
                    </a:cubicBezTo>
                    <a:cubicBezTo>
                      <a:pt x="6723" y="7406"/>
                      <a:pt x="6723" y="7406"/>
                      <a:pt x="6723" y="7406"/>
                    </a:cubicBezTo>
                    <a:cubicBezTo>
                      <a:pt x="6735" y="7340"/>
                      <a:pt x="6735" y="7340"/>
                      <a:pt x="6735" y="7340"/>
                    </a:cubicBezTo>
                    <a:cubicBezTo>
                      <a:pt x="6606" y="7313"/>
                      <a:pt x="6606" y="7313"/>
                      <a:pt x="6606" y="7313"/>
                    </a:cubicBezTo>
                    <a:cubicBezTo>
                      <a:pt x="6603" y="7316"/>
                      <a:pt x="6596" y="7321"/>
                      <a:pt x="6590" y="7327"/>
                    </a:cubicBezTo>
                    <a:cubicBezTo>
                      <a:pt x="6585" y="7331"/>
                      <a:pt x="6581" y="7335"/>
                      <a:pt x="6578" y="7338"/>
                    </a:cubicBezTo>
                    <a:cubicBezTo>
                      <a:pt x="6576" y="7340"/>
                      <a:pt x="6575" y="7341"/>
                      <a:pt x="6574" y="7342"/>
                    </a:cubicBezTo>
                    <a:cubicBezTo>
                      <a:pt x="6574" y="7342"/>
                      <a:pt x="6574" y="7343"/>
                      <a:pt x="6574" y="7343"/>
                    </a:cubicBezTo>
                    <a:cubicBezTo>
                      <a:pt x="6575" y="7345"/>
                      <a:pt x="6573" y="7347"/>
                      <a:pt x="6572" y="7348"/>
                    </a:cubicBezTo>
                    <a:cubicBezTo>
                      <a:pt x="6568" y="7350"/>
                      <a:pt x="6568" y="7350"/>
                      <a:pt x="6568" y="7350"/>
                    </a:cubicBezTo>
                    <a:cubicBezTo>
                      <a:pt x="6567" y="7350"/>
                      <a:pt x="6567" y="7350"/>
                      <a:pt x="6567" y="7350"/>
                    </a:cubicBezTo>
                    <a:cubicBezTo>
                      <a:pt x="6561" y="7349"/>
                      <a:pt x="6512" y="7337"/>
                      <a:pt x="6461" y="7323"/>
                    </a:cubicBezTo>
                    <a:cubicBezTo>
                      <a:pt x="6415" y="7312"/>
                      <a:pt x="6371" y="7300"/>
                      <a:pt x="6361" y="7298"/>
                    </a:cubicBezTo>
                    <a:cubicBezTo>
                      <a:pt x="6284" y="7321"/>
                      <a:pt x="6284" y="7321"/>
                      <a:pt x="6284" y="7321"/>
                    </a:cubicBezTo>
                    <a:cubicBezTo>
                      <a:pt x="6281" y="7334"/>
                      <a:pt x="6274" y="7388"/>
                      <a:pt x="6268" y="7439"/>
                    </a:cubicBezTo>
                    <a:cubicBezTo>
                      <a:pt x="6262" y="7487"/>
                      <a:pt x="6256" y="7533"/>
                      <a:pt x="6255" y="7548"/>
                    </a:cubicBezTo>
                    <a:cubicBezTo>
                      <a:pt x="6262" y="7554"/>
                      <a:pt x="6262" y="7554"/>
                      <a:pt x="6262" y="7554"/>
                    </a:cubicBezTo>
                    <a:cubicBezTo>
                      <a:pt x="6502" y="7730"/>
                      <a:pt x="6502" y="7730"/>
                      <a:pt x="6502" y="7730"/>
                    </a:cubicBezTo>
                    <a:cubicBezTo>
                      <a:pt x="6504" y="7726"/>
                      <a:pt x="6506" y="7723"/>
                      <a:pt x="6509" y="7719"/>
                    </a:cubicBezTo>
                    <a:cubicBezTo>
                      <a:pt x="6538" y="7679"/>
                      <a:pt x="6564" y="7644"/>
                      <a:pt x="6598" y="7612"/>
                    </a:cubicBezTo>
                    <a:cubicBezTo>
                      <a:pt x="6612" y="7599"/>
                      <a:pt x="6627" y="7586"/>
                      <a:pt x="6644" y="7575"/>
                    </a:cubicBezTo>
                    <a:cubicBezTo>
                      <a:pt x="6644" y="7574"/>
                      <a:pt x="6644" y="7574"/>
                      <a:pt x="6644" y="7574"/>
                    </a:cubicBezTo>
                    <a:cubicBezTo>
                      <a:pt x="6644" y="7574"/>
                      <a:pt x="6644" y="7574"/>
                      <a:pt x="6644" y="7574"/>
                    </a:cubicBezTo>
                    <a:cubicBezTo>
                      <a:pt x="6639" y="7578"/>
                      <a:pt x="6639" y="7578"/>
                      <a:pt x="6639" y="7578"/>
                    </a:cubicBezTo>
                    <a:cubicBezTo>
                      <a:pt x="6639" y="7578"/>
                      <a:pt x="6639" y="7578"/>
                      <a:pt x="6639" y="7578"/>
                    </a:cubicBezTo>
                    <a:cubicBezTo>
                      <a:pt x="6632" y="7572"/>
                      <a:pt x="6587" y="7544"/>
                      <a:pt x="6543" y="7516"/>
                    </a:cubicBezTo>
                    <a:cubicBezTo>
                      <a:pt x="6522" y="7502"/>
                      <a:pt x="6500" y="7489"/>
                      <a:pt x="6485" y="7478"/>
                    </a:cubicBezTo>
                    <a:cubicBezTo>
                      <a:pt x="6477" y="7473"/>
                      <a:pt x="6470" y="7469"/>
                      <a:pt x="6465" y="7465"/>
                    </a:cubicBezTo>
                    <a:cubicBezTo>
                      <a:pt x="6463" y="7464"/>
                      <a:pt x="6461" y="7462"/>
                      <a:pt x="6460" y="7461"/>
                    </a:cubicBezTo>
                    <a:cubicBezTo>
                      <a:pt x="6459" y="7460"/>
                      <a:pt x="6458" y="7460"/>
                      <a:pt x="6457" y="7459"/>
                    </a:cubicBezTo>
                    <a:cubicBezTo>
                      <a:pt x="6432" y="7452"/>
                      <a:pt x="6273" y="7417"/>
                      <a:pt x="6273" y="7417"/>
                    </a:cubicBezTo>
                    <a:close/>
                    <a:moveTo>
                      <a:pt x="4470" y="8025"/>
                    </a:moveTo>
                    <a:cubicBezTo>
                      <a:pt x="4456" y="8028"/>
                      <a:pt x="4456" y="8028"/>
                      <a:pt x="4456" y="8028"/>
                    </a:cubicBezTo>
                    <a:cubicBezTo>
                      <a:pt x="4523" y="8021"/>
                      <a:pt x="4611" y="8007"/>
                      <a:pt x="4702" y="7992"/>
                    </a:cubicBezTo>
                    <a:cubicBezTo>
                      <a:pt x="4688" y="7910"/>
                      <a:pt x="4688" y="7910"/>
                      <a:pt x="4688" y="7910"/>
                    </a:cubicBezTo>
                    <a:cubicBezTo>
                      <a:pt x="4452" y="7943"/>
                      <a:pt x="4452" y="7943"/>
                      <a:pt x="4452" y="7943"/>
                    </a:cubicBezTo>
                    <a:lnTo>
                      <a:pt x="4470" y="8025"/>
                    </a:lnTo>
                    <a:close/>
                    <a:moveTo>
                      <a:pt x="4086" y="7402"/>
                    </a:moveTo>
                    <a:cubicBezTo>
                      <a:pt x="4104" y="7391"/>
                      <a:pt x="4158" y="7354"/>
                      <a:pt x="4169" y="7346"/>
                    </a:cubicBezTo>
                    <a:cubicBezTo>
                      <a:pt x="4250" y="7107"/>
                      <a:pt x="4250" y="7107"/>
                      <a:pt x="4250" y="7107"/>
                    </a:cubicBezTo>
                    <a:cubicBezTo>
                      <a:pt x="4245" y="7106"/>
                      <a:pt x="4245" y="7106"/>
                      <a:pt x="4245" y="7106"/>
                    </a:cubicBezTo>
                    <a:cubicBezTo>
                      <a:pt x="4246" y="7098"/>
                      <a:pt x="4246" y="7098"/>
                      <a:pt x="4246" y="7098"/>
                    </a:cubicBezTo>
                    <a:cubicBezTo>
                      <a:pt x="4181" y="6998"/>
                      <a:pt x="4181" y="6998"/>
                      <a:pt x="4181" y="6998"/>
                    </a:cubicBezTo>
                    <a:cubicBezTo>
                      <a:pt x="4357" y="6630"/>
                      <a:pt x="4357" y="6630"/>
                      <a:pt x="4357" y="6630"/>
                    </a:cubicBezTo>
                    <a:cubicBezTo>
                      <a:pt x="4319" y="6556"/>
                      <a:pt x="4319" y="6556"/>
                      <a:pt x="4319" y="6556"/>
                    </a:cubicBezTo>
                    <a:cubicBezTo>
                      <a:pt x="4222" y="6513"/>
                      <a:pt x="4222" y="6513"/>
                      <a:pt x="4222" y="6513"/>
                    </a:cubicBezTo>
                    <a:cubicBezTo>
                      <a:pt x="3916" y="6912"/>
                      <a:pt x="3916" y="6912"/>
                      <a:pt x="3916" y="6912"/>
                    </a:cubicBezTo>
                    <a:cubicBezTo>
                      <a:pt x="3889" y="7077"/>
                      <a:pt x="3889" y="7077"/>
                      <a:pt x="3889" y="7077"/>
                    </a:cubicBezTo>
                    <a:cubicBezTo>
                      <a:pt x="3902" y="7231"/>
                      <a:pt x="3902" y="7231"/>
                      <a:pt x="3902" y="7231"/>
                    </a:cubicBezTo>
                    <a:cubicBezTo>
                      <a:pt x="3902" y="7231"/>
                      <a:pt x="3903" y="7231"/>
                      <a:pt x="3904" y="7232"/>
                    </a:cubicBezTo>
                    <a:cubicBezTo>
                      <a:pt x="3904" y="7232"/>
                      <a:pt x="3905" y="7233"/>
                      <a:pt x="3905" y="7233"/>
                    </a:cubicBezTo>
                    <a:cubicBezTo>
                      <a:pt x="3916" y="7244"/>
                      <a:pt x="4008" y="7330"/>
                      <a:pt x="4086" y="7402"/>
                    </a:cubicBezTo>
                    <a:close/>
                    <a:moveTo>
                      <a:pt x="3906" y="7239"/>
                    </a:moveTo>
                    <a:cubicBezTo>
                      <a:pt x="3906" y="7239"/>
                      <a:pt x="3906" y="7239"/>
                      <a:pt x="3906" y="7239"/>
                    </a:cubicBezTo>
                    <a:cubicBezTo>
                      <a:pt x="3906" y="7239"/>
                      <a:pt x="3906" y="7239"/>
                      <a:pt x="3906" y="7239"/>
                    </a:cubicBezTo>
                    <a:cubicBezTo>
                      <a:pt x="3906" y="7239"/>
                      <a:pt x="3906" y="7239"/>
                      <a:pt x="3906" y="7239"/>
                    </a:cubicBezTo>
                    <a:close/>
                    <a:moveTo>
                      <a:pt x="3902" y="7245"/>
                    </a:moveTo>
                    <a:cubicBezTo>
                      <a:pt x="3902" y="7245"/>
                      <a:pt x="3902" y="7245"/>
                      <a:pt x="3902" y="7245"/>
                    </a:cubicBezTo>
                    <a:cubicBezTo>
                      <a:pt x="3902" y="7245"/>
                      <a:pt x="3902" y="7245"/>
                      <a:pt x="3903" y="7245"/>
                    </a:cubicBezTo>
                    <a:cubicBezTo>
                      <a:pt x="3903" y="7245"/>
                      <a:pt x="3903" y="7245"/>
                      <a:pt x="3903" y="7244"/>
                    </a:cubicBezTo>
                    <a:cubicBezTo>
                      <a:pt x="3903" y="7245"/>
                      <a:pt x="3902" y="7245"/>
                      <a:pt x="3902" y="7245"/>
                    </a:cubicBezTo>
                    <a:close/>
                    <a:moveTo>
                      <a:pt x="3873" y="7076"/>
                    </a:moveTo>
                    <a:cubicBezTo>
                      <a:pt x="3898" y="6920"/>
                      <a:pt x="3898" y="6920"/>
                      <a:pt x="3898" y="6920"/>
                    </a:cubicBezTo>
                    <a:cubicBezTo>
                      <a:pt x="3701" y="6884"/>
                      <a:pt x="3701" y="6884"/>
                      <a:pt x="3701" y="6884"/>
                    </a:cubicBezTo>
                    <a:cubicBezTo>
                      <a:pt x="3700" y="6878"/>
                      <a:pt x="3700" y="6878"/>
                      <a:pt x="3700" y="6878"/>
                    </a:cubicBezTo>
                    <a:cubicBezTo>
                      <a:pt x="3700" y="6878"/>
                      <a:pt x="3699" y="6867"/>
                      <a:pt x="3698" y="6856"/>
                    </a:cubicBezTo>
                    <a:cubicBezTo>
                      <a:pt x="3697" y="6851"/>
                      <a:pt x="3696" y="6845"/>
                      <a:pt x="3695" y="6841"/>
                    </a:cubicBezTo>
                    <a:cubicBezTo>
                      <a:pt x="3695" y="6841"/>
                      <a:pt x="3695" y="6841"/>
                      <a:pt x="3695" y="6841"/>
                    </a:cubicBezTo>
                    <a:cubicBezTo>
                      <a:pt x="3681" y="6838"/>
                      <a:pt x="3647" y="6832"/>
                      <a:pt x="3612" y="6825"/>
                    </a:cubicBezTo>
                    <a:cubicBezTo>
                      <a:pt x="3591" y="6821"/>
                      <a:pt x="3570" y="6817"/>
                      <a:pt x="3554" y="6814"/>
                    </a:cubicBezTo>
                    <a:cubicBezTo>
                      <a:pt x="3547" y="6812"/>
                      <a:pt x="3540" y="6811"/>
                      <a:pt x="3536" y="6810"/>
                    </a:cubicBezTo>
                    <a:cubicBezTo>
                      <a:pt x="3535" y="6810"/>
                      <a:pt x="3535" y="6810"/>
                      <a:pt x="3535" y="6810"/>
                    </a:cubicBezTo>
                    <a:cubicBezTo>
                      <a:pt x="3441" y="7096"/>
                      <a:pt x="3441" y="7096"/>
                      <a:pt x="3441" y="7096"/>
                    </a:cubicBezTo>
                    <a:cubicBezTo>
                      <a:pt x="3559" y="7184"/>
                      <a:pt x="3691" y="7339"/>
                      <a:pt x="3699" y="7349"/>
                    </a:cubicBezTo>
                    <a:cubicBezTo>
                      <a:pt x="3854" y="7224"/>
                      <a:pt x="3854" y="7224"/>
                      <a:pt x="3854" y="7224"/>
                    </a:cubicBezTo>
                    <a:cubicBezTo>
                      <a:pt x="3857" y="7224"/>
                      <a:pt x="3857" y="7224"/>
                      <a:pt x="3857" y="7224"/>
                    </a:cubicBezTo>
                    <a:cubicBezTo>
                      <a:pt x="3857" y="7224"/>
                      <a:pt x="3873" y="7227"/>
                      <a:pt x="3885" y="7228"/>
                    </a:cubicBezTo>
                    <a:lnTo>
                      <a:pt x="3873" y="7076"/>
                    </a:lnTo>
                    <a:close/>
                    <a:moveTo>
                      <a:pt x="2512" y="7954"/>
                    </a:moveTo>
                    <a:cubicBezTo>
                      <a:pt x="2511" y="7954"/>
                      <a:pt x="2511" y="7954"/>
                      <a:pt x="2511" y="7954"/>
                    </a:cubicBezTo>
                    <a:cubicBezTo>
                      <a:pt x="2561" y="7967"/>
                      <a:pt x="2645" y="7989"/>
                      <a:pt x="2663" y="7995"/>
                    </a:cubicBezTo>
                    <a:cubicBezTo>
                      <a:pt x="2961" y="7773"/>
                      <a:pt x="2961" y="7773"/>
                      <a:pt x="2961" y="7773"/>
                    </a:cubicBezTo>
                    <a:cubicBezTo>
                      <a:pt x="2875" y="7517"/>
                      <a:pt x="2875" y="7517"/>
                      <a:pt x="2875" y="7517"/>
                    </a:cubicBezTo>
                    <a:cubicBezTo>
                      <a:pt x="2866" y="7517"/>
                      <a:pt x="2857" y="7518"/>
                      <a:pt x="2848" y="7518"/>
                    </a:cubicBezTo>
                    <a:cubicBezTo>
                      <a:pt x="2834" y="7518"/>
                      <a:pt x="2820" y="7517"/>
                      <a:pt x="2806" y="7515"/>
                    </a:cubicBezTo>
                    <a:cubicBezTo>
                      <a:pt x="2772" y="7511"/>
                      <a:pt x="2742" y="7504"/>
                      <a:pt x="2713" y="7495"/>
                    </a:cubicBezTo>
                    <a:cubicBezTo>
                      <a:pt x="2510" y="7953"/>
                      <a:pt x="2510" y="7953"/>
                      <a:pt x="2510" y="7953"/>
                    </a:cubicBezTo>
                    <a:lnTo>
                      <a:pt x="2512" y="7954"/>
                    </a:lnTo>
                    <a:close/>
                    <a:moveTo>
                      <a:pt x="1189" y="9306"/>
                    </a:moveTo>
                    <a:cubicBezTo>
                      <a:pt x="1190" y="9306"/>
                      <a:pt x="1190" y="9306"/>
                      <a:pt x="1190" y="9306"/>
                    </a:cubicBezTo>
                    <a:cubicBezTo>
                      <a:pt x="1146" y="9215"/>
                      <a:pt x="1146" y="9215"/>
                      <a:pt x="1146" y="9215"/>
                    </a:cubicBezTo>
                    <a:cubicBezTo>
                      <a:pt x="1065" y="9265"/>
                      <a:pt x="1065" y="9265"/>
                      <a:pt x="1065" y="9265"/>
                    </a:cubicBezTo>
                    <a:cubicBezTo>
                      <a:pt x="1071" y="9279"/>
                      <a:pt x="1085" y="9311"/>
                      <a:pt x="1102" y="9348"/>
                    </a:cubicBezTo>
                    <a:cubicBezTo>
                      <a:pt x="1189" y="9306"/>
                      <a:pt x="1189" y="9306"/>
                      <a:pt x="1189" y="9306"/>
                    </a:cubicBezTo>
                    <a:close/>
                    <a:moveTo>
                      <a:pt x="1198" y="9286"/>
                    </a:moveTo>
                    <a:cubicBezTo>
                      <a:pt x="1293" y="9239"/>
                      <a:pt x="1293" y="9239"/>
                      <a:pt x="1293" y="9239"/>
                    </a:cubicBezTo>
                    <a:cubicBezTo>
                      <a:pt x="1293" y="9238"/>
                      <a:pt x="1293" y="9238"/>
                      <a:pt x="1293" y="9238"/>
                    </a:cubicBezTo>
                    <a:cubicBezTo>
                      <a:pt x="1298" y="9235"/>
                      <a:pt x="1298" y="9235"/>
                      <a:pt x="1298" y="9235"/>
                    </a:cubicBezTo>
                    <a:cubicBezTo>
                      <a:pt x="1292" y="9222"/>
                      <a:pt x="1292" y="9222"/>
                      <a:pt x="1292" y="9222"/>
                    </a:cubicBezTo>
                    <a:cubicBezTo>
                      <a:pt x="1294" y="9221"/>
                      <a:pt x="1294" y="9221"/>
                      <a:pt x="1294" y="9221"/>
                    </a:cubicBezTo>
                    <a:cubicBezTo>
                      <a:pt x="1259" y="9144"/>
                      <a:pt x="1259" y="9144"/>
                      <a:pt x="1259" y="9144"/>
                    </a:cubicBezTo>
                    <a:cubicBezTo>
                      <a:pt x="1160" y="9207"/>
                      <a:pt x="1160" y="9207"/>
                      <a:pt x="1160" y="9207"/>
                    </a:cubicBezTo>
                    <a:lnTo>
                      <a:pt x="1198" y="9286"/>
                    </a:lnTo>
                    <a:close/>
                    <a:moveTo>
                      <a:pt x="2397" y="5317"/>
                    </a:moveTo>
                    <a:cubicBezTo>
                      <a:pt x="2413" y="5326"/>
                      <a:pt x="2430" y="5335"/>
                      <a:pt x="2447" y="5345"/>
                    </a:cubicBezTo>
                    <a:cubicBezTo>
                      <a:pt x="2497" y="5373"/>
                      <a:pt x="2547" y="5401"/>
                      <a:pt x="2586" y="5422"/>
                    </a:cubicBezTo>
                    <a:cubicBezTo>
                      <a:pt x="2605" y="5432"/>
                      <a:pt x="2622" y="5441"/>
                      <a:pt x="2633" y="5447"/>
                    </a:cubicBezTo>
                    <a:cubicBezTo>
                      <a:pt x="2638" y="5449"/>
                      <a:pt x="2642" y="5451"/>
                      <a:pt x="2645" y="5453"/>
                    </a:cubicBezTo>
                    <a:cubicBezTo>
                      <a:pt x="2648" y="5445"/>
                      <a:pt x="2652" y="5437"/>
                      <a:pt x="2655" y="5429"/>
                    </a:cubicBezTo>
                    <a:cubicBezTo>
                      <a:pt x="2668" y="5400"/>
                      <a:pt x="2681" y="5370"/>
                      <a:pt x="2693" y="5342"/>
                    </a:cubicBezTo>
                    <a:cubicBezTo>
                      <a:pt x="2444" y="5224"/>
                      <a:pt x="2444" y="5224"/>
                      <a:pt x="2444" y="5224"/>
                    </a:cubicBezTo>
                    <a:lnTo>
                      <a:pt x="2397" y="5317"/>
                    </a:lnTo>
                    <a:close/>
                    <a:moveTo>
                      <a:pt x="2450" y="5184"/>
                    </a:moveTo>
                    <a:cubicBezTo>
                      <a:pt x="2354" y="5138"/>
                      <a:pt x="2354" y="5138"/>
                      <a:pt x="2354" y="5138"/>
                    </a:cubicBezTo>
                    <a:cubicBezTo>
                      <a:pt x="2343" y="5160"/>
                      <a:pt x="2343" y="5160"/>
                      <a:pt x="2343" y="5160"/>
                    </a:cubicBezTo>
                    <a:cubicBezTo>
                      <a:pt x="2439" y="5205"/>
                      <a:pt x="2439" y="5205"/>
                      <a:pt x="2439" y="5205"/>
                    </a:cubicBezTo>
                    <a:lnTo>
                      <a:pt x="2450" y="5184"/>
                    </a:lnTo>
                    <a:close/>
                    <a:moveTo>
                      <a:pt x="2540" y="5066"/>
                    </a:moveTo>
                    <a:cubicBezTo>
                      <a:pt x="2563" y="5025"/>
                      <a:pt x="2563" y="5025"/>
                      <a:pt x="2563" y="5025"/>
                    </a:cubicBezTo>
                    <a:cubicBezTo>
                      <a:pt x="2467" y="4978"/>
                      <a:pt x="2467" y="4978"/>
                      <a:pt x="2467" y="4978"/>
                    </a:cubicBezTo>
                    <a:cubicBezTo>
                      <a:pt x="2442" y="5024"/>
                      <a:pt x="2442" y="5024"/>
                      <a:pt x="2442" y="5024"/>
                    </a:cubicBezTo>
                    <a:lnTo>
                      <a:pt x="2540" y="5066"/>
                    </a:lnTo>
                    <a:close/>
                    <a:moveTo>
                      <a:pt x="2436" y="5036"/>
                    </a:moveTo>
                    <a:cubicBezTo>
                      <a:pt x="2414" y="5077"/>
                      <a:pt x="2414" y="5077"/>
                      <a:pt x="2414" y="5077"/>
                    </a:cubicBezTo>
                    <a:cubicBezTo>
                      <a:pt x="2508" y="5123"/>
                      <a:pt x="2508" y="5123"/>
                      <a:pt x="2508" y="5123"/>
                    </a:cubicBezTo>
                    <a:cubicBezTo>
                      <a:pt x="2533" y="5078"/>
                      <a:pt x="2533" y="5078"/>
                      <a:pt x="2533" y="5078"/>
                    </a:cubicBezTo>
                    <a:lnTo>
                      <a:pt x="2436" y="5036"/>
                    </a:lnTo>
                    <a:close/>
                    <a:moveTo>
                      <a:pt x="2552" y="5071"/>
                    </a:moveTo>
                    <a:cubicBezTo>
                      <a:pt x="2771" y="5166"/>
                      <a:pt x="2771" y="5166"/>
                      <a:pt x="2771" y="5166"/>
                    </a:cubicBezTo>
                    <a:cubicBezTo>
                      <a:pt x="2775" y="5159"/>
                      <a:pt x="2778" y="5152"/>
                      <a:pt x="2781" y="5146"/>
                    </a:cubicBezTo>
                    <a:cubicBezTo>
                      <a:pt x="2798" y="5107"/>
                      <a:pt x="2813" y="5075"/>
                      <a:pt x="2823" y="5052"/>
                    </a:cubicBezTo>
                    <a:cubicBezTo>
                      <a:pt x="2826" y="5047"/>
                      <a:pt x="2828" y="5041"/>
                      <a:pt x="2831" y="5037"/>
                    </a:cubicBezTo>
                    <a:cubicBezTo>
                      <a:pt x="2457" y="4919"/>
                      <a:pt x="2457" y="4919"/>
                      <a:pt x="2457" y="4919"/>
                    </a:cubicBezTo>
                    <a:cubicBezTo>
                      <a:pt x="2407" y="5009"/>
                      <a:pt x="2407" y="5009"/>
                      <a:pt x="2407" y="5009"/>
                    </a:cubicBezTo>
                    <a:cubicBezTo>
                      <a:pt x="2430" y="5019"/>
                      <a:pt x="2430" y="5019"/>
                      <a:pt x="2430" y="5019"/>
                    </a:cubicBezTo>
                    <a:cubicBezTo>
                      <a:pt x="2461" y="4961"/>
                      <a:pt x="2461" y="4961"/>
                      <a:pt x="2461" y="4961"/>
                    </a:cubicBezTo>
                    <a:cubicBezTo>
                      <a:pt x="2581" y="5019"/>
                      <a:pt x="2581" y="5019"/>
                      <a:pt x="2581" y="5019"/>
                    </a:cubicBezTo>
                    <a:cubicBezTo>
                      <a:pt x="2578" y="5025"/>
                      <a:pt x="2578" y="5025"/>
                      <a:pt x="2578" y="5025"/>
                    </a:cubicBezTo>
                    <a:lnTo>
                      <a:pt x="2552" y="5071"/>
                    </a:lnTo>
                    <a:close/>
                    <a:moveTo>
                      <a:pt x="2976" y="4623"/>
                    </a:moveTo>
                    <a:cubicBezTo>
                      <a:pt x="2940" y="4648"/>
                      <a:pt x="2940" y="4648"/>
                      <a:pt x="2940" y="4648"/>
                    </a:cubicBezTo>
                    <a:cubicBezTo>
                      <a:pt x="2964" y="4683"/>
                      <a:pt x="2964" y="4683"/>
                      <a:pt x="2964" y="4683"/>
                    </a:cubicBezTo>
                    <a:cubicBezTo>
                      <a:pt x="2926" y="4710"/>
                      <a:pt x="2926" y="4710"/>
                      <a:pt x="2926" y="4710"/>
                    </a:cubicBezTo>
                    <a:cubicBezTo>
                      <a:pt x="2960" y="4759"/>
                      <a:pt x="2960" y="4759"/>
                      <a:pt x="2960" y="4759"/>
                    </a:cubicBezTo>
                    <a:cubicBezTo>
                      <a:pt x="3039" y="4704"/>
                      <a:pt x="3039" y="4704"/>
                      <a:pt x="3039" y="4704"/>
                    </a:cubicBezTo>
                    <a:lnTo>
                      <a:pt x="2976" y="4623"/>
                    </a:lnTo>
                    <a:close/>
                    <a:moveTo>
                      <a:pt x="3051" y="4696"/>
                    </a:moveTo>
                    <a:cubicBezTo>
                      <a:pt x="3112" y="4654"/>
                      <a:pt x="3112" y="4654"/>
                      <a:pt x="3112" y="4654"/>
                    </a:cubicBezTo>
                    <a:cubicBezTo>
                      <a:pt x="3077" y="4605"/>
                      <a:pt x="3077" y="4605"/>
                      <a:pt x="3077" y="4605"/>
                    </a:cubicBezTo>
                    <a:cubicBezTo>
                      <a:pt x="3039" y="4632"/>
                      <a:pt x="3039" y="4632"/>
                      <a:pt x="3039" y="4632"/>
                    </a:cubicBezTo>
                    <a:cubicBezTo>
                      <a:pt x="3014" y="4596"/>
                      <a:pt x="3014" y="4596"/>
                      <a:pt x="3014" y="4596"/>
                    </a:cubicBezTo>
                    <a:cubicBezTo>
                      <a:pt x="2987" y="4615"/>
                      <a:pt x="2987" y="4615"/>
                      <a:pt x="2987" y="4615"/>
                    </a:cubicBezTo>
                    <a:lnTo>
                      <a:pt x="3051" y="4696"/>
                    </a:lnTo>
                    <a:close/>
                    <a:moveTo>
                      <a:pt x="2968" y="4612"/>
                    </a:moveTo>
                    <a:cubicBezTo>
                      <a:pt x="2858" y="4471"/>
                      <a:pt x="2858" y="4471"/>
                      <a:pt x="2858" y="4471"/>
                    </a:cubicBezTo>
                    <a:cubicBezTo>
                      <a:pt x="2840" y="4492"/>
                      <a:pt x="2763" y="4583"/>
                      <a:pt x="2684" y="4675"/>
                    </a:cubicBezTo>
                    <a:cubicBezTo>
                      <a:pt x="2639" y="4727"/>
                      <a:pt x="2594" y="4779"/>
                      <a:pt x="2559" y="4818"/>
                    </a:cubicBezTo>
                    <a:cubicBezTo>
                      <a:pt x="2542" y="4838"/>
                      <a:pt x="2528" y="4854"/>
                      <a:pt x="2517" y="4865"/>
                    </a:cubicBezTo>
                    <a:cubicBezTo>
                      <a:pt x="2516" y="4866"/>
                      <a:pt x="2515" y="4867"/>
                      <a:pt x="2514" y="4868"/>
                    </a:cubicBezTo>
                    <a:cubicBezTo>
                      <a:pt x="2904" y="4991"/>
                      <a:pt x="2904" y="4991"/>
                      <a:pt x="2904" y="4991"/>
                    </a:cubicBezTo>
                    <a:cubicBezTo>
                      <a:pt x="2914" y="4967"/>
                      <a:pt x="2934" y="4918"/>
                      <a:pt x="2950" y="4880"/>
                    </a:cubicBezTo>
                    <a:cubicBezTo>
                      <a:pt x="2967" y="4840"/>
                      <a:pt x="2996" y="4782"/>
                      <a:pt x="3059" y="4730"/>
                    </a:cubicBezTo>
                    <a:cubicBezTo>
                      <a:pt x="3047" y="4715"/>
                      <a:pt x="3047" y="4715"/>
                      <a:pt x="3047" y="4715"/>
                    </a:cubicBezTo>
                    <a:cubicBezTo>
                      <a:pt x="2957" y="4777"/>
                      <a:pt x="2957" y="4777"/>
                      <a:pt x="2957" y="4777"/>
                    </a:cubicBezTo>
                    <a:cubicBezTo>
                      <a:pt x="2953" y="4772"/>
                      <a:pt x="2953" y="4772"/>
                      <a:pt x="2953" y="4772"/>
                    </a:cubicBezTo>
                    <a:cubicBezTo>
                      <a:pt x="2908" y="4706"/>
                      <a:pt x="2908" y="4706"/>
                      <a:pt x="2908" y="4706"/>
                    </a:cubicBezTo>
                    <a:cubicBezTo>
                      <a:pt x="2946" y="4680"/>
                      <a:pt x="2946" y="4680"/>
                      <a:pt x="2946" y="4680"/>
                    </a:cubicBezTo>
                    <a:cubicBezTo>
                      <a:pt x="2922" y="4644"/>
                      <a:pt x="2922" y="4644"/>
                      <a:pt x="2922" y="4644"/>
                    </a:cubicBezTo>
                    <a:lnTo>
                      <a:pt x="2968" y="4612"/>
                    </a:lnTo>
                    <a:close/>
                    <a:moveTo>
                      <a:pt x="3468" y="4736"/>
                    </a:moveTo>
                    <a:cubicBezTo>
                      <a:pt x="3393" y="4721"/>
                      <a:pt x="3334" y="4710"/>
                      <a:pt x="3285" y="4710"/>
                    </a:cubicBezTo>
                    <a:cubicBezTo>
                      <a:pt x="3244" y="4710"/>
                      <a:pt x="3210" y="4717"/>
                      <a:pt x="3174" y="4734"/>
                    </a:cubicBezTo>
                    <a:cubicBezTo>
                      <a:pt x="3079" y="4780"/>
                      <a:pt x="3042" y="4837"/>
                      <a:pt x="3020" y="4884"/>
                    </a:cubicBezTo>
                    <a:cubicBezTo>
                      <a:pt x="3264" y="4966"/>
                      <a:pt x="3264" y="4966"/>
                      <a:pt x="3264" y="4966"/>
                    </a:cubicBezTo>
                    <a:cubicBezTo>
                      <a:pt x="3418" y="5052"/>
                      <a:pt x="3418" y="5052"/>
                      <a:pt x="3418" y="5052"/>
                    </a:cubicBezTo>
                    <a:cubicBezTo>
                      <a:pt x="3411" y="5064"/>
                      <a:pt x="3411" y="5064"/>
                      <a:pt x="3411" y="5064"/>
                    </a:cubicBezTo>
                    <a:cubicBezTo>
                      <a:pt x="3258" y="4979"/>
                      <a:pt x="3258" y="4979"/>
                      <a:pt x="3258" y="4979"/>
                    </a:cubicBezTo>
                    <a:cubicBezTo>
                      <a:pt x="3014" y="4897"/>
                      <a:pt x="3014" y="4897"/>
                      <a:pt x="3014" y="4897"/>
                    </a:cubicBezTo>
                    <a:cubicBezTo>
                      <a:pt x="3013" y="4900"/>
                      <a:pt x="3012" y="4903"/>
                      <a:pt x="3011" y="4905"/>
                    </a:cubicBezTo>
                    <a:cubicBezTo>
                      <a:pt x="2996" y="4941"/>
                      <a:pt x="2978" y="4985"/>
                      <a:pt x="2967" y="5011"/>
                    </a:cubicBezTo>
                    <a:cubicBezTo>
                      <a:pt x="2970" y="5012"/>
                      <a:pt x="2970" y="5012"/>
                      <a:pt x="2970" y="5012"/>
                    </a:cubicBezTo>
                    <a:cubicBezTo>
                      <a:pt x="3262" y="5237"/>
                      <a:pt x="3262" y="5237"/>
                      <a:pt x="3262" y="5237"/>
                    </a:cubicBezTo>
                    <a:cubicBezTo>
                      <a:pt x="3462" y="5011"/>
                      <a:pt x="3462" y="5011"/>
                      <a:pt x="3462" y="5011"/>
                    </a:cubicBezTo>
                    <a:cubicBezTo>
                      <a:pt x="3558" y="4755"/>
                      <a:pt x="3558" y="4755"/>
                      <a:pt x="3558" y="4755"/>
                    </a:cubicBezTo>
                    <a:cubicBezTo>
                      <a:pt x="3526" y="4748"/>
                      <a:pt x="3497" y="4742"/>
                      <a:pt x="3470" y="4736"/>
                    </a:cubicBezTo>
                    <a:cubicBezTo>
                      <a:pt x="3542" y="4756"/>
                      <a:pt x="3542" y="4756"/>
                      <a:pt x="3542" y="4756"/>
                    </a:cubicBezTo>
                    <a:cubicBezTo>
                      <a:pt x="3502" y="4902"/>
                      <a:pt x="3502" y="4902"/>
                      <a:pt x="3502" y="4902"/>
                    </a:cubicBezTo>
                    <a:cubicBezTo>
                      <a:pt x="3429" y="4882"/>
                      <a:pt x="3429" y="4882"/>
                      <a:pt x="3429" y="4882"/>
                    </a:cubicBezTo>
                    <a:cubicBezTo>
                      <a:pt x="3431" y="4876"/>
                      <a:pt x="3431" y="4876"/>
                      <a:pt x="3431" y="4876"/>
                    </a:cubicBezTo>
                    <a:lnTo>
                      <a:pt x="3468" y="4736"/>
                    </a:lnTo>
                    <a:close/>
                    <a:moveTo>
                      <a:pt x="3445" y="4873"/>
                    </a:moveTo>
                    <a:cubicBezTo>
                      <a:pt x="3493" y="4886"/>
                      <a:pt x="3493" y="4886"/>
                      <a:pt x="3493" y="4886"/>
                    </a:cubicBezTo>
                    <a:cubicBezTo>
                      <a:pt x="3525" y="4765"/>
                      <a:pt x="3525" y="4765"/>
                      <a:pt x="3525" y="4765"/>
                    </a:cubicBezTo>
                    <a:cubicBezTo>
                      <a:pt x="3478" y="4752"/>
                      <a:pt x="3478" y="4752"/>
                      <a:pt x="3478" y="4752"/>
                    </a:cubicBezTo>
                    <a:lnTo>
                      <a:pt x="3445" y="4873"/>
                    </a:lnTo>
                    <a:close/>
                    <a:moveTo>
                      <a:pt x="3576" y="4586"/>
                    </a:moveTo>
                    <a:cubicBezTo>
                      <a:pt x="3585" y="4544"/>
                      <a:pt x="3585" y="4544"/>
                      <a:pt x="3585" y="4544"/>
                    </a:cubicBezTo>
                    <a:cubicBezTo>
                      <a:pt x="3523" y="4532"/>
                      <a:pt x="3523" y="4532"/>
                      <a:pt x="3523" y="4532"/>
                    </a:cubicBezTo>
                    <a:cubicBezTo>
                      <a:pt x="3533" y="4639"/>
                      <a:pt x="3533" y="4639"/>
                      <a:pt x="3533" y="4639"/>
                    </a:cubicBezTo>
                    <a:cubicBezTo>
                      <a:pt x="3611" y="4654"/>
                      <a:pt x="3611" y="4654"/>
                      <a:pt x="3611" y="4654"/>
                    </a:cubicBezTo>
                    <a:cubicBezTo>
                      <a:pt x="3623" y="4595"/>
                      <a:pt x="3623" y="4595"/>
                      <a:pt x="3623" y="4595"/>
                    </a:cubicBezTo>
                    <a:lnTo>
                      <a:pt x="3576" y="4586"/>
                    </a:lnTo>
                    <a:close/>
                    <a:moveTo>
                      <a:pt x="4850" y="5431"/>
                    </a:moveTo>
                    <a:cubicBezTo>
                      <a:pt x="4850" y="5483"/>
                      <a:pt x="4845" y="5518"/>
                      <a:pt x="4845" y="5519"/>
                    </a:cubicBezTo>
                    <a:cubicBezTo>
                      <a:pt x="4845" y="5521"/>
                      <a:pt x="4845" y="5521"/>
                      <a:pt x="4845" y="5521"/>
                    </a:cubicBezTo>
                    <a:cubicBezTo>
                      <a:pt x="4845" y="5522"/>
                      <a:pt x="4845" y="5522"/>
                      <a:pt x="4845" y="5522"/>
                    </a:cubicBezTo>
                    <a:cubicBezTo>
                      <a:pt x="4845" y="5522"/>
                      <a:pt x="4835" y="5568"/>
                      <a:pt x="4819" y="5643"/>
                    </a:cubicBezTo>
                    <a:cubicBezTo>
                      <a:pt x="5372" y="5660"/>
                      <a:pt x="5372" y="5660"/>
                      <a:pt x="5372" y="5660"/>
                    </a:cubicBezTo>
                    <a:cubicBezTo>
                      <a:pt x="5423" y="5229"/>
                      <a:pt x="5423" y="5229"/>
                      <a:pt x="5423" y="5229"/>
                    </a:cubicBezTo>
                    <a:cubicBezTo>
                      <a:pt x="4844" y="5330"/>
                      <a:pt x="4844" y="5330"/>
                      <a:pt x="4844" y="5330"/>
                    </a:cubicBezTo>
                    <a:cubicBezTo>
                      <a:pt x="4848" y="5367"/>
                      <a:pt x="4850" y="5402"/>
                      <a:pt x="4850" y="5431"/>
                    </a:cubicBezTo>
                    <a:close/>
                    <a:moveTo>
                      <a:pt x="5738" y="5720"/>
                    </a:moveTo>
                    <a:cubicBezTo>
                      <a:pt x="5668" y="5782"/>
                      <a:pt x="5668" y="5782"/>
                      <a:pt x="5668" y="5782"/>
                    </a:cubicBezTo>
                    <a:cubicBezTo>
                      <a:pt x="5762" y="5888"/>
                      <a:pt x="5762" y="5888"/>
                      <a:pt x="5762" y="5888"/>
                    </a:cubicBezTo>
                    <a:cubicBezTo>
                      <a:pt x="5867" y="5794"/>
                      <a:pt x="5867" y="5794"/>
                      <a:pt x="5867" y="5794"/>
                    </a:cubicBezTo>
                    <a:cubicBezTo>
                      <a:pt x="5809" y="5728"/>
                      <a:pt x="5809" y="5728"/>
                      <a:pt x="5809" y="5728"/>
                    </a:cubicBezTo>
                    <a:cubicBezTo>
                      <a:pt x="5738" y="5720"/>
                      <a:pt x="5738" y="5720"/>
                      <a:pt x="5738" y="5720"/>
                    </a:cubicBezTo>
                    <a:close/>
                    <a:moveTo>
                      <a:pt x="5880" y="5651"/>
                    </a:moveTo>
                    <a:cubicBezTo>
                      <a:pt x="5789" y="5541"/>
                      <a:pt x="5789" y="5541"/>
                      <a:pt x="5789" y="5541"/>
                    </a:cubicBezTo>
                    <a:cubicBezTo>
                      <a:pt x="5675" y="5641"/>
                      <a:pt x="5675" y="5641"/>
                      <a:pt x="5675" y="5641"/>
                    </a:cubicBezTo>
                    <a:cubicBezTo>
                      <a:pt x="5725" y="5704"/>
                      <a:pt x="5725" y="5704"/>
                      <a:pt x="5725" y="5704"/>
                    </a:cubicBezTo>
                    <a:cubicBezTo>
                      <a:pt x="5807" y="5714"/>
                      <a:pt x="5807" y="5714"/>
                      <a:pt x="5807" y="5714"/>
                    </a:cubicBezTo>
                    <a:lnTo>
                      <a:pt x="5880" y="5651"/>
                    </a:lnTo>
                    <a:close/>
                    <a:moveTo>
                      <a:pt x="5719" y="5717"/>
                    </a:moveTo>
                    <a:cubicBezTo>
                      <a:pt x="5385" y="5676"/>
                      <a:pt x="5385" y="5676"/>
                      <a:pt x="5385" y="5676"/>
                    </a:cubicBezTo>
                    <a:cubicBezTo>
                      <a:pt x="5343" y="6032"/>
                      <a:pt x="5343" y="6032"/>
                      <a:pt x="5343" y="6032"/>
                    </a:cubicBezTo>
                    <a:cubicBezTo>
                      <a:pt x="5890" y="6134"/>
                      <a:pt x="5890" y="6134"/>
                      <a:pt x="5890" y="6134"/>
                    </a:cubicBezTo>
                    <a:cubicBezTo>
                      <a:pt x="5955" y="5747"/>
                      <a:pt x="5955" y="5747"/>
                      <a:pt x="5955" y="5747"/>
                    </a:cubicBezTo>
                    <a:cubicBezTo>
                      <a:pt x="5829" y="5731"/>
                      <a:pt x="5829" y="5731"/>
                      <a:pt x="5829" y="5731"/>
                    </a:cubicBezTo>
                    <a:cubicBezTo>
                      <a:pt x="5886" y="5795"/>
                      <a:pt x="5886" y="5795"/>
                      <a:pt x="5886" y="5795"/>
                    </a:cubicBezTo>
                    <a:cubicBezTo>
                      <a:pt x="5761" y="5906"/>
                      <a:pt x="5761" y="5906"/>
                      <a:pt x="5761" y="5906"/>
                    </a:cubicBezTo>
                    <a:cubicBezTo>
                      <a:pt x="5650" y="5781"/>
                      <a:pt x="5650" y="5781"/>
                      <a:pt x="5650" y="5781"/>
                    </a:cubicBezTo>
                    <a:cubicBezTo>
                      <a:pt x="5720" y="5719"/>
                      <a:pt x="5720" y="5719"/>
                      <a:pt x="5720" y="5719"/>
                    </a:cubicBezTo>
                    <a:lnTo>
                      <a:pt x="5719" y="5717"/>
                    </a:lnTo>
                    <a:close/>
                    <a:moveTo>
                      <a:pt x="7799" y="6595"/>
                    </a:moveTo>
                    <a:cubicBezTo>
                      <a:pt x="7799" y="6595"/>
                      <a:pt x="7853" y="6479"/>
                      <a:pt x="7874" y="6433"/>
                    </a:cubicBezTo>
                    <a:cubicBezTo>
                      <a:pt x="7820" y="6427"/>
                      <a:pt x="7766" y="6421"/>
                      <a:pt x="7714" y="6416"/>
                    </a:cubicBezTo>
                    <a:cubicBezTo>
                      <a:pt x="7661" y="6410"/>
                      <a:pt x="7609" y="6404"/>
                      <a:pt x="7559" y="6398"/>
                    </a:cubicBezTo>
                    <a:cubicBezTo>
                      <a:pt x="7560" y="6402"/>
                      <a:pt x="7561" y="6406"/>
                      <a:pt x="7562" y="6411"/>
                    </a:cubicBezTo>
                    <a:cubicBezTo>
                      <a:pt x="7628" y="6416"/>
                      <a:pt x="7628" y="6416"/>
                      <a:pt x="7628" y="6416"/>
                    </a:cubicBezTo>
                    <a:cubicBezTo>
                      <a:pt x="7625" y="6459"/>
                      <a:pt x="7625" y="6459"/>
                      <a:pt x="7625" y="6459"/>
                    </a:cubicBezTo>
                    <a:cubicBezTo>
                      <a:pt x="7672" y="6462"/>
                      <a:pt x="7672" y="6462"/>
                      <a:pt x="7672" y="6462"/>
                    </a:cubicBezTo>
                    <a:cubicBezTo>
                      <a:pt x="7666" y="6548"/>
                      <a:pt x="7666" y="6548"/>
                      <a:pt x="7666" y="6548"/>
                    </a:cubicBezTo>
                    <a:cubicBezTo>
                      <a:pt x="7592" y="6543"/>
                      <a:pt x="7592" y="6543"/>
                      <a:pt x="7592" y="6543"/>
                    </a:cubicBezTo>
                    <a:cubicBezTo>
                      <a:pt x="7595" y="6556"/>
                      <a:pt x="7598" y="6569"/>
                      <a:pt x="7601" y="6581"/>
                    </a:cubicBezTo>
                    <a:cubicBezTo>
                      <a:pt x="7603" y="6581"/>
                      <a:pt x="7605" y="6581"/>
                      <a:pt x="7607" y="6581"/>
                    </a:cubicBezTo>
                    <a:cubicBezTo>
                      <a:pt x="7639" y="6581"/>
                      <a:pt x="7790" y="6597"/>
                      <a:pt x="7791" y="6597"/>
                    </a:cubicBezTo>
                    <a:cubicBezTo>
                      <a:pt x="7791" y="6597"/>
                      <a:pt x="7791" y="6597"/>
                      <a:pt x="7791" y="6597"/>
                    </a:cubicBezTo>
                    <a:cubicBezTo>
                      <a:pt x="7991" y="6647"/>
                      <a:pt x="7991" y="6647"/>
                      <a:pt x="7991" y="6647"/>
                    </a:cubicBezTo>
                    <a:cubicBezTo>
                      <a:pt x="8003" y="6589"/>
                      <a:pt x="8003" y="6589"/>
                      <a:pt x="8003" y="6589"/>
                    </a:cubicBezTo>
                    <a:cubicBezTo>
                      <a:pt x="7911" y="6583"/>
                      <a:pt x="7911" y="6583"/>
                      <a:pt x="7911" y="6583"/>
                    </a:cubicBezTo>
                    <a:cubicBezTo>
                      <a:pt x="7911" y="6576"/>
                      <a:pt x="7911" y="6576"/>
                      <a:pt x="7911" y="6576"/>
                    </a:cubicBezTo>
                    <a:cubicBezTo>
                      <a:pt x="7917" y="6497"/>
                      <a:pt x="7917" y="6497"/>
                      <a:pt x="7917" y="6497"/>
                    </a:cubicBezTo>
                    <a:cubicBezTo>
                      <a:pt x="7964" y="6500"/>
                      <a:pt x="7964" y="6500"/>
                      <a:pt x="7964" y="6500"/>
                    </a:cubicBezTo>
                    <a:cubicBezTo>
                      <a:pt x="7967" y="6457"/>
                      <a:pt x="7967" y="6457"/>
                      <a:pt x="7967" y="6457"/>
                    </a:cubicBezTo>
                    <a:cubicBezTo>
                      <a:pt x="8031" y="6462"/>
                      <a:pt x="8031" y="6462"/>
                      <a:pt x="8031" y="6462"/>
                    </a:cubicBezTo>
                    <a:cubicBezTo>
                      <a:pt x="8032" y="6454"/>
                      <a:pt x="8032" y="6454"/>
                      <a:pt x="8032" y="6454"/>
                    </a:cubicBezTo>
                    <a:cubicBezTo>
                      <a:pt x="8046" y="6457"/>
                      <a:pt x="8046" y="6457"/>
                      <a:pt x="8046" y="6457"/>
                    </a:cubicBezTo>
                    <a:cubicBezTo>
                      <a:pt x="8045" y="6463"/>
                      <a:pt x="8045" y="6463"/>
                      <a:pt x="8045" y="6463"/>
                    </a:cubicBezTo>
                    <a:cubicBezTo>
                      <a:pt x="8083" y="6465"/>
                      <a:pt x="8083" y="6465"/>
                      <a:pt x="8083" y="6465"/>
                    </a:cubicBezTo>
                    <a:cubicBezTo>
                      <a:pt x="8080" y="6508"/>
                      <a:pt x="8080" y="6508"/>
                      <a:pt x="8080" y="6508"/>
                    </a:cubicBezTo>
                    <a:cubicBezTo>
                      <a:pt x="8127" y="6512"/>
                      <a:pt x="8127" y="6512"/>
                      <a:pt x="8127" y="6512"/>
                    </a:cubicBezTo>
                    <a:cubicBezTo>
                      <a:pt x="8121" y="6598"/>
                      <a:pt x="8121" y="6598"/>
                      <a:pt x="8121" y="6598"/>
                    </a:cubicBezTo>
                    <a:cubicBezTo>
                      <a:pt x="8017" y="6590"/>
                      <a:pt x="8017" y="6590"/>
                      <a:pt x="8017" y="6590"/>
                    </a:cubicBezTo>
                    <a:cubicBezTo>
                      <a:pt x="8005" y="6649"/>
                      <a:pt x="8005" y="6649"/>
                      <a:pt x="8005" y="6649"/>
                    </a:cubicBezTo>
                    <a:cubicBezTo>
                      <a:pt x="8163" y="6655"/>
                      <a:pt x="8163" y="6655"/>
                      <a:pt x="8163" y="6655"/>
                    </a:cubicBezTo>
                    <a:cubicBezTo>
                      <a:pt x="8162" y="6669"/>
                      <a:pt x="8162" y="6669"/>
                      <a:pt x="8162" y="6669"/>
                    </a:cubicBezTo>
                    <a:cubicBezTo>
                      <a:pt x="7995" y="6663"/>
                      <a:pt x="7995" y="6663"/>
                      <a:pt x="7995" y="6663"/>
                    </a:cubicBezTo>
                    <a:cubicBezTo>
                      <a:pt x="7789" y="6611"/>
                      <a:pt x="7789" y="6611"/>
                      <a:pt x="7789" y="6611"/>
                    </a:cubicBezTo>
                    <a:cubicBezTo>
                      <a:pt x="7780" y="6610"/>
                      <a:pt x="7636" y="6595"/>
                      <a:pt x="7607" y="6595"/>
                    </a:cubicBezTo>
                    <a:cubicBezTo>
                      <a:pt x="7606" y="6595"/>
                      <a:pt x="7605" y="6595"/>
                      <a:pt x="7604" y="6595"/>
                    </a:cubicBezTo>
                    <a:cubicBezTo>
                      <a:pt x="7604" y="6595"/>
                      <a:pt x="7604" y="6595"/>
                      <a:pt x="7604" y="6595"/>
                    </a:cubicBezTo>
                    <a:cubicBezTo>
                      <a:pt x="7603" y="6591"/>
                      <a:pt x="7603" y="6591"/>
                      <a:pt x="7603" y="6591"/>
                    </a:cubicBezTo>
                    <a:cubicBezTo>
                      <a:pt x="7613" y="6636"/>
                      <a:pt x="7620" y="6673"/>
                      <a:pt x="7621" y="6685"/>
                    </a:cubicBezTo>
                    <a:cubicBezTo>
                      <a:pt x="7751" y="6780"/>
                      <a:pt x="7751" y="6780"/>
                      <a:pt x="7751" y="6780"/>
                    </a:cubicBezTo>
                    <a:cubicBezTo>
                      <a:pt x="7743" y="6791"/>
                      <a:pt x="7743" y="6791"/>
                      <a:pt x="7743" y="6791"/>
                    </a:cubicBezTo>
                    <a:cubicBezTo>
                      <a:pt x="7614" y="6697"/>
                      <a:pt x="7614" y="6697"/>
                      <a:pt x="7614" y="6697"/>
                    </a:cubicBezTo>
                    <a:cubicBezTo>
                      <a:pt x="7605" y="6697"/>
                      <a:pt x="7511" y="6704"/>
                      <a:pt x="7488" y="6706"/>
                    </a:cubicBezTo>
                    <a:cubicBezTo>
                      <a:pt x="7457" y="6858"/>
                      <a:pt x="7457" y="6858"/>
                      <a:pt x="7457" y="6858"/>
                    </a:cubicBezTo>
                    <a:cubicBezTo>
                      <a:pt x="7515" y="6897"/>
                      <a:pt x="7780" y="7094"/>
                      <a:pt x="7819" y="7124"/>
                    </a:cubicBezTo>
                    <a:cubicBezTo>
                      <a:pt x="7884" y="7081"/>
                      <a:pt x="7884" y="7081"/>
                      <a:pt x="7884" y="7081"/>
                    </a:cubicBezTo>
                    <a:cubicBezTo>
                      <a:pt x="7879" y="7077"/>
                      <a:pt x="7879" y="7077"/>
                      <a:pt x="7879" y="7077"/>
                    </a:cubicBezTo>
                    <a:cubicBezTo>
                      <a:pt x="7760" y="6994"/>
                      <a:pt x="7760" y="6994"/>
                      <a:pt x="7760" y="6994"/>
                    </a:cubicBezTo>
                    <a:cubicBezTo>
                      <a:pt x="7804" y="6932"/>
                      <a:pt x="7804" y="6932"/>
                      <a:pt x="7804" y="6932"/>
                    </a:cubicBezTo>
                    <a:cubicBezTo>
                      <a:pt x="7928" y="7019"/>
                      <a:pt x="7928" y="7019"/>
                      <a:pt x="7928" y="7019"/>
                    </a:cubicBezTo>
                    <a:cubicBezTo>
                      <a:pt x="7886" y="7079"/>
                      <a:pt x="7886" y="7079"/>
                      <a:pt x="7886" y="7079"/>
                    </a:cubicBezTo>
                    <a:cubicBezTo>
                      <a:pt x="8011" y="6995"/>
                      <a:pt x="8011" y="6995"/>
                      <a:pt x="8011" y="6995"/>
                    </a:cubicBezTo>
                    <a:cubicBezTo>
                      <a:pt x="7702" y="6859"/>
                      <a:pt x="7702" y="6859"/>
                      <a:pt x="7702" y="6859"/>
                    </a:cubicBezTo>
                    <a:cubicBezTo>
                      <a:pt x="7780" y="6741"/>
                      <a:pt x="7780" y="6741"/>
                      <a:pt x="7780" y="6741"/>
                    </a:cubicBezTo>
                    <a:cubicBezTo>
                      <a:pt x="8135" y="6818"/>
                      <a:pt x="8135" y="6818"/>
                      <a:pt x="8135" y="6818"/>
                    </a:cubicBezTo>
                    <a:cubicBezTo>
                      <a:pt x="8171" y="6658"/>
                      <a:pt x="8171" y="6658"/>
                      <a:pt x="8171" y="6658"/>
                    </a:cubicBezTo>
                    <a:cubicBezTo>
                      <a:pt x="8187" y="6469"/>
                      <a:pt x="8187" y="6469"/>
                      <a:pt x="8187" y="6469"/>
                    </a:cubicBezTo>
                    <a:cubicBezTo>
                      <a:pt x="8094" y="6458"/>
                      <a:pt x="7992" y="6447"/>
                      <a:pt x="7888" y="6435"/>
                    </a:cubicBezTo>
                    <a:cubicBezTo>
                      <a:pt x="7869" y="6476"/>
                      <a:pt x="7812" y="6600"/>
                      <a:pt x="7812" y="6600"/>
                    </a:cubicBezTo>
                    <a:lnTo>
                      <a:pt x="7799" y="6595"/>
                    </a:lnTo>
                    <a:close/>
                    <a:moveTo>
                      <a:pt x="8024" y="6985"/>
                    </a:moveTo>
                    <a:cubicBezTo>
                      <a:pt x="8023" y="6987"/>
                      <a:pt x="8023" y="6987"/>
                      <a:pt x="8023" y="6987"/>
                    </a:cubicBezTo>
                    <a:cubicBezTo>
                      <a:pt x="8056" y="6965"/>
                      <a:pt x="8056" y="6965"/>
                      <a:pt x="8056" y="6965"/>
                    </a:cubicBezTo>
                    <a:cubicBezTo>
                      <a:pt x="8131" y="6835"/>
                      <a:pt x="8131" y="6835"/>
                      <a:pt x="8131" y="6835"/>
                    </a:cubicBezTo>
                    <a:cubicBezTo>
                      <a:pt x="8132" y="6831"/>
                      <a:pt x="8132" y="6831"/>
                      <a:pt x="8132" y="6831"/>
                    </a:cubicBezTo>
                    <a:cubicBezTo>
                      <a:pt x="7787" y="6756"/>
                      <a:pt x="7787" y="6756"/>
                      <a:pt x="7787" y="6756"/>
                    </a:cubicBezTo>
                    <a:cubicBezTo>
                      <a:pt x="7723" y="6853"/>
                      <a:pt x="7723" y="6853"/>
                      <a:pt x="7723" y="6853"/>
                    </a:cubicBezTo>
                    <a:lnTo>
                      <a:pt x="8024" y="6985"/>
                    </a:lnTo>
                    <a:close/>
                    <a:moveTo>
                      <a:pt x="7910" y="7022"/>
                    </a:moveTo>
                    <a:cubicBezTo>
                      <a:pt x="7807" y="6950"/>
                      <a:pt x="7807" y="6950"/>
                      <a:pt x="7807" y="6950"/>
                    </a:cubicBezTo>
                    <a:cubicBezTo>
                      <a:pt x="7779" y="6991"/>
                      <a:pt x="7779" y="6991"/>
                      <a:pt x="7779" y="6991"/>
                    </a:cubicBezTo>
                    <a:cubicBezTo>
                      <a:pt x="7881" y="7063"/>
                      <a:pt x="7881" y="7063"/>
                      <a:pt x="7881" y="7063"/>
                    </a:cubicBezTo>
                    <a:lnTo>
                      <a:pt x="7910" y="7022"/>
                    </a:lnTo>
                    <a:close/>
                    <a:moveTo>
                      <a:pt x="6240" y="7555"/>
                    </a:moveTo>
                    <a:cubicBezTo>
                      <a:pt x="6240" y="7551"/>
                      <a:pt x="6240" y="7551"/>
                      <a:pt x="6240" y="7551"/>
                    </a:cubicBezTo>
                    <a:cubicBezTo>
                      <a:pt x="6240" y="7551"/>
                      <a:pt x="6247" y="7494"/>
                      <a:pt x="6254" y="7435"/>
                    </a:cubicBezTo>
                    <a:cubicBezTo>
                      <a:pt x="6258" y="7406"/>
                      <a:pt x="6262" y="7376"/>
                      <a:pt x="6265" y="7354"/>
                    </a:cubicBezTo>
                    <a:cubicBezTo>
                      <a:pt x="6266" y="7342"/>
                      <a:pt x="6268" y="7333"/>
                      <a:pt x="6269" y="7326"/>
                    </a:cubicBezTo>
                    <a:cubicBezTo>
                      <a:pt x="6269" y="7323"/>
                      <a:pt x="6269" y="7322"/>
                      <a:pt x="6270" y="7320"/>
                    </a:cubicBezTo>
                    <a:cubicBezTo>
                      <a:pt x="6243" y="7312"/>
                      <a:pt x="6132" y="7277"/>
                      <a:pt x="6022" y="7243"/>
                    </a:cubicBezTo>
                    <a:cubicBezTo>
                      <a:pt x="5958" y="7223"/>
                      <a:pt x="5895" y="7203"/>
                      <a:pt x="5847" y="7188"/>
                    </a:cubicBezTo>
                    <a:cubicBezTo>
                      <a:pt x="5823" y="7180"/>
                      <a:pt x="5803" y="7174"/>
                      <a:pt x="5789" y="7169"/>
                    </a:cubicBezTo>
                    <a:cubicBezTo>
                      <a:pt x="5785" y="7168"/>
                      <a:pt x="5781" y="7166"/>
                      <a:pt x="5777" y="7165"/>
                    </a:cubicBezTo>
                    <a:cubicBezTo>
                      <a:pt x="5742" y="7366"/>
                      <a:pt x="5742" y="7366"/>
                      <a:pt x="5742" y="7366"/>
                    </a:cubicBezTo>
                    <a:cubicBezTo>
                      <a:pt x="5953" y="7488"/>
                      <a:pt x="5953" y="7488"/>
                      <a:pt x="5953" y="7488"/>
                    </a:cubicBezTo>
                    <a:cubicBezTo>
                      <a:pt x="6000" y="7441"/>
                      <a:pt x="6000" y="7441"/>
                      <a:pt x="6000" y="7441"/>
                    </a:cubicBezTo>
                    <a:cubicBezTo>
                      <a:pt x="6005" y="7445"/>
                      <a:pt x="6005" y="7445"/>
                      <a:pt x="6005" y="7445"/>
                    </a:cubicBezTo>
                    <a:cubicBezTo>
                      <a:pt x="6005" y="7445"/>
                      <a:pt x="6054" y="7485"/>
                      <a:pt x="6102" y="7526"/>
                    </a:cubicBezTo>
                    <a:cubicBezTo>
                      <a:pt x="6127" y="7546"/>
                      <a:pt x="6151" y="7567"/>
                      <a:pt x="6169" y="7582"/>
                    </a:cubicBezTo>
                    <a:cubicBezTo>
                      <a:pt x="6178" y="7590"/>
                      <a:pt x="6186" y="7596"/>
                      <a:pt x="6191" y="7601"/>
                    </a:cubicBezTo>
                    <a:cubicBezTo>
                      <a:pt x="6194" y="7603"/>
                      <a:pt x="6196" y="7605"/>
                      <a:pt x="6197" y="7606"/>
                    </a:cubicBezTo>
                    <a:cubicBezTo>
                      <a:pt x="6198" y="7607"/>
                      <a:pt x="6199" y="7608"/>
                      <a:pt x="6199" y="7608"/>
                    </a:cubicBezTo>
                    <a:cubicBezTo>
                      <a:pt x="6199" y="7608"/>
                      <a:pt x="6200" y="7609"/>
                      <a:pt x="6200" y="7609"/>
                    </a:cubicBezTo>
                    <a:cubicBezTo>
                      <a:pt x="6200" y="7609"/>
                      <a:pt x="6200" y="7609"/>
                      <a:pt x="6200" y="7609"/>
                    </a:cubicBezTo>
                    <a:cubicBezTo>
                      <a:pt x="6244" y="7559"/>
                      <a:pt x="6244" y="7559"/>
                      <a:pt x="6244" y="7559"/>
                    </a:cubicBezTo>
                    <a:lnTo>
                      <a:pt x="6240" y="7555"/>
                    </a:lnTo>
                    <a:close/>
                    <a:moveTo>
                      <a:pt x="6297" y="7993"/>
                    </a:moveTo>
                    <a:cubicBezTo>
                      <a:pt x="6296" y="7993"/>
                      <a:pt x="6296" y="7993"/>
                      <a:pt x="6296" y="7993"/>
                    </a:cubicBezTo>
                    <a:cubicBezTo>
                      <a:pt x="6300" y="7986"/>
                      <a:pt x="6308" y="7938"/>
                      <a:pt x="6312" y="7894"/>
                    </a:cubicBezTo>
                    <a:cubicBezTo>
                      <a:pt x="6316" y="7858"/>
                      <a:pt x="6319" y="7824"/>
                      <a:pt x="6320" y="7812"/>
                    </a:cubicBezTo>
                    <a:cubicBezTo>
                      <a:pt x="6191" y="7742"/>
                      <a:pt x="6191" y="7742"/>
                      <a:pt x="6191" y="7742"/>
                    </a:cubicBezTo>
                    <a:cubicBezTo>
                      <a:pt x="6186" y="7796"/>
                      <a:pt x="6186" y="7796"/>
                      <a:pt x="6186" y="7796"/>
                    </a:cubicBezTo>
                    <a:cubicBezTo>
                      <a:pt x="6256" y="7802"/>
                      <a:pt x="6256" y="7802"/>
                      <a:pt x="6256" y="7802"/>
                    </a:cubicBezTo>
                    <a:cubicBezTo>
                      <a:pt x="6246" y="7959"/>
                      <a:pt x="6246" y="7959"/>
                      <a:pt x="6246" y="7959"/>
                    </a:cubicBezTo>
                    <a:cubicBezTo>
                      <a:pt x="6239" y="7959"/>
                      <a:pt x="6239" y="7959"/>
                      <a:pt x="6239" y="7959"/>
                    </a:cubicBezTo>
                    <a:cubicBezTo>
                      <a:pt x="6171" y="7953"/>
                      <a:pt x="6171" y="7953"/>
                      <a:pt x="6171" y="7953"/>
                    </a:cubicBezTo>
                    <a:cubicBezTo>
                      <a:pt x="6168" y="7990"/>
                      <a:pt x="6168" y="7990"/>
                      <a:pt x="6168" y="7990"/>
                    </a:cubicBezTo>
                    <a:cubicBezTo>
                      <a:pt x="6214" y="7993"/>
                      <a:pt x="6258" y="7996"/>
                      <a:pt x="6299" y="7999"/>
                    </a:cubicBezTo>
                    <a:cubicBezTo>
                      <a:pt x="6301" y="7992"/>
                      <a:pt x="6301" y="7992"/>
                      <a:pt x="6301" y="7992"/>
                    </a:cubicBezTo>
                    <a:cubicBezTo>
                      <a:pt x="6300" y="7997"/>
                      <a:pt x="6300" y="7997"/>
                      <a:pt x="6300" y="7997"/>
                    </a:cubicBezTo>
                    <a:cubicBezTo>
                      <a:pt x="6300" y="7997"/>
                      <a:pt x="6300" y="7997"/>
                      <a:pt x="6300" y="7997"/>
                    </a:cubicBezTo>
                    <a:cubicBezTo>
                      <a:pt x="6296" y="7993"/>
                      <a:pt x="6296" y="7993"/>
                      <a:pt x="6296" y="7993"/>
                    </a:cubicBezTo>
                    <a:lnTo>
                      <a:pt x="6297" y="7993"/>
                    </a:lnTo>
                    <a:close/>
                    <a:moveTo>
                      <a:pt x="6158" y="7939"/>
                    </a:moveTo>
                    <a:cubicBezTo>
                      <a:pt x="6171" y="7808"/>
                      <a:pt x="6171" y="7808"/>
                      <a:pt x="6171" y="7808"/>
                    </a:cubicBezTo>
                    <a:cubicBezTo>
                      <a:pt x="5933" y="7788"/>
                      <a:pt x="5933" y="7788"/>
                      <a:pt x="5933" y="7788"/>
                    </a:cubicBezTo>
                    <a:cubicBezTo>
                      <a:pt x="5943" y="7830"/>
                      <a:pt x="5956" y="7881"/>
                      <a:pt x="5965" y="7922"/>
                    </a:cubicBezTo>
                    <a:lnTo>
                      <a:pt x="6158" y="7939"/>
                    </a:lnTo>
                    <a:close/>
                    <a:moveTo>
                      <a:pt x="5967" y="7935"/>
                    </a:moveTo>
                    <a:cubicBezTo>
                      <a:pt x="5971" y="7953"/>
                      <a:pt x="5973" y="7967"/>
                      <a:pt x="5974" y="7976"/>
                    </a:cubicBezTo>
                    <a:cubicBezTo>
                      <a:pt x="6036" y="7980"/>
                      <a:pt x="6096" y="7985"/>
                      <a:pt x="6154" y="7989"/>
                    </a:cubicBezTo>
                    <a:cubicBezTo>
                      <a:pt x="6157" y="7952"/>
                      <a:pt x="6157" y="7952"/>
                      <a:pt x="6157" y="7952"/>
                    </a:cubicBezTo>
                    <a:lnTo>
                      <a:pt x="5967" y="7935"/>
                    </a:lnTo>
                    <a:close/>
                    <a:moveTo>
                      <a:pt x="5386" y="7729"/>
                    </a:moveTo>
                    <a:cubicBezTo>
                      <a:pt x="5390" y="7367"/>
                      <a:pt x="5390" y="7367"/>
                      <a:pt x="5390" y="7367"/>
                    </a:cubicBezTo>
                    <a:cubicBezTo>
                      <a:pt x="5404" y="7367"/>
                      <a:pt x="5404" y="7367"/>
                      <a:pt x="5404" y="7367"/>
                    </a:cubicBezTo>
                    <a:cubicBezTo>
                      <a:pt x="5400" y="7730"/>
                      <a:pt x="5400" y="7730"/>
                      <a:pt x="5400" y="7730"/>
                    </a:cubicBezTo>
                    <a:cubicBezTo>
                      <a:pt x="5588" y="7746"/>
                      <a:pt x="5588" y="7746"/>
                      <a:pt x="5588" y="7746"/>
                    </a:cubicBezTo>
                    <a:cubicBezTo>
                      <a:pt x="5584" y="7363"/>
                      <a:pt x="5584" y="7363"/>
                      <a:pt x="5584" y="7363"/>
                    </a:cubicBezTo>
                    <a:cubicBezTo>
                      <a:pt x="5257" y="7359"/>
                      <a:pt x="5257" y="7359"/>
                      <a:pt x="5257" y="7359"/>
                    </a:cubicBezTo>
                    <a:cubicBezTo>
                      <a:pt x="5180" y="7407"/>
                      <a:pt x="5180" y="7407"/>
                      <a:pt x="5180" y="7407"/>
                    </a:cubicBezTo>
                    <a:cubicBezTo>
                      <a:pt x="5182" y="7412"/>
                      <a:pt x="5182" y="7412"/>
                      <a:pt x="5182" y="7412"/>
                    </a:cubicBezTo>
                    <a:cubicBezTo>
                      <a:pt x="5242" y="7924"/>
                      <a:pt x="5242" y="7924"/>
                      <a:pt x="5242" y="7924"/>
                    </a:cubicBezTo>
                    <a:cubicBezTo>
                      <a:pt x="5282" y="7926"/>
                      <a:pt x="5330" y="7930"/>
                      <a:pt x="5384" y="7934"/>
                    </a:cubicBezTo>
                    <a:cubicBezTo>
                      <a:pt x="5385" y="7886"/>
                      <a:pt x="5385" y="7886"/>
                      <a:pt x="5385" y="7886"/>
                    </a:cubicBezTo>
                    <a:cubicBezTo>
                      <a:pt x="5288" y="7877"/>
                      <a:pt x="5288" y="7877"/>
                      <a:pt x="5288" y="7877"/>
                    </a:cubicBezTo>
                    <a:cubicBezTo>
                      <a:pt x="5299" y="7721"/>
                      <a:pt x="5299" y="7721"/>
                      <a:pt x="5299" y="7721"/>
                    </a:cubicBezTo>
                    <a:lnTo>
                      <a:pt x="5386" y="7729"/>
                    </a:lnTo>
                    <a:close/>
                    <a:moveTo>
                      <a:pt x="5311" y="7736"/>
                    </a:moveTo>
                    <a:cubicBezTo>
                      <a:pt x="5302" y="7865"/>
                      <a:pt x="5302" y="7865"/>
                      <a:pt x="5302" y="7865"/>
                    </a:cubicBezTo>
                    <a:cubicBezTo>
                      <a:pt x="5385" y="7872"/>
                      <a:pt x="5385" y="7872"/>
                      <a:pt x="5385" y="7872"/>
                    </a:cubicBezTo>
                    <a:cubicBezTo>
                      <a:pt x="5386" y="7742"/>
                      <a:pt x="5386" y="7742"/>
                      <a:pt x="5386" y="7742"/>
                    </a:cubicBezTo>
                    <a:lnTo>
                      <a:pt x="5311" y="7736"/>
                    </a:lnTo>
                    <a:close/>
                    <a:moveTo>
                      <a:pt x="4407" y="7735"/>
                    </a:moveTo>
                    <a:cubicBezTo>
                      <a:pt x="4753" y="7517"/>
                      <a:pt x="4753" y="7517"/>
                      <a:pt x="4753" y="7517"/>
                    </a:cubicBezTo>
                    <a:cubicBezTo>
                      <a:pt x="4894" y="7569"/>
                      <a:pt x="4894" y="7569"/>
                      <a:pt x="4894" y="7569"/>
                    </a:cubicBezTo>
                    <a:cubicBezTo>
                      <a:pt x="5162" y="7402"/>
                      <a:pt x="5162" y="7402"/>
                      <a:pt x="5162" y="7402"/>
                    </a:cubicBezTo>
                    <a:cubicBezTo>
                      <a:pt x="5092" y="7255"/>
                      <a:pt x="5092" y="7255"/>
                      <a:pt x="5092" y="7255"/>
                    </a:cubicBezTo>
                    <a:cubicBezTo>
                      <a:pt x="5091" y="7254"/>
                      <a:pt x="5091" y="7254"/>
                      <a:pt x="5091" y="7254"/>
                    </a:cubicBezTo>
                    <a:cubicBezTo>
                      <a:pt x="5091" y="7254"/>
                      <a:pt x="5091" y="7249"/>
                      <a:pt x="5091" y="7240"/>
                    </a:cubicBezTo>
                    <a:cubicBezTo>
                      <a:pt x="5091" y="7242"/>
                      <a:pt x="5091" y="7242"/>
                      <a:pt x="5091" y="7242"/>
                    </a:cubicBezTo>
                    <a:cubicBezTo>
                      <a:pt x="4718" y="7167"/>
                      <a:pt x="4718" y="7167"/>
                      <a:pt x="4718" y="7167"/>
                    </a:cubicBezTo>
                    <a:cubicBezTo>
                      <a:pt x="4700" y="7265"/>
                      <a:pt x="4700" y="7265"/>
                      <a:pt x="4700" y="7265"/>
                    </a:cubicBezTo>
                    <a:cubicBezTo>
                      <a:pt x="4546" y="7240"/>
                      <a:pt x="4546" y="7240"/>
                      <a:pt x="4546" y="7240"/>
                    </a:cubicBezTo>
                    <a:cubicBezTo>
                      <a:pt x="4565" y="7137"/>
                      <a:pt x="4565" y="7137"/>
                      <a:pt x="4565" y="7137"/>
                    </a:cubicBezTo>
                    <a:cubicBezTo>
                      <a:pt x="4531" y="7130"/>
                      <a:pt x="4531" y="7130"/>
                      <a:pt x="4531" y="7130"/>
                    </a:cubicBezTo>
                    <a:cubicBezTo>
                      <a:pt x="4518" y="7183"/>
                      <a:pt x="4504" y="7233"/>
                      <a:pt x="4488" y="7277"/>
                    </a:cubicBezTo>
                    <a:cubicBezTo>
                      <a:pt x="4458" y="7364"/>
                      <a:pt x="4424" y="7429"/>
                      <a:pt x="4383" y="7467"/>
                    </a:cubicBezTo>
                    <a:cubicBezTo>
                      <a:pt x="4375" y="7476"/>
                      <a:pt x="4365" y="7484"/>
                      <a:pt x="4354" y="7491"/>
                    </a:cubicBezTo>
                    <a:lnTo>
                      <a:pt x="4407" y="7735"/>
                    </a:lnTo>
                    <a:close/>
                    <a:moveTo>
                      <a:pt x="4340" y="7502"/>
                    </a:moveTo>
                    <a:cubicBezTo>
                      <a:pt x="4312" y="7521"/>
                      <a:pt x="4282" y="7539"/>
                      <a:pt x="4255" y="7553"/>
                    </a:cubicBezTo>
                    <a:cubicBezTo>
                      <a:pt x="4307" y="7805"/>
                      <a:pt x="4307" y="7805"/>
                      <a:pt x="4307" y="7805"/>
                    </a:cubicBezTo>
                    <a:cubicBezTo>
                      <a:pt x="4403" y="7791"/>
                      <a:pt x="4403" y="7791"/>
                      <a:pt x="4403" y="7791"/>
                    </a:cubicBezTo>
                    <a:lnTo>
                      <a:pt x="4340" y="7502"/>
                    </a:lnTo>
                    <a:close/>
                    <a:moveTo>
                      <a:pt x="3702" y="6825"/>
                    </a:moveTo>
                    <a:cubicBezTo>
                      <a:pt x="3702" y="6825"/>
                      <a:pt x="3702" y="6825"/>
                      <a:pt x="3702" y="6825"/>
                    </a:cubicBezTo>
                    <a:cubicBezTo>
                      <a:pt x="3708" y="6826"/>
                      <a:pt x="3708" y="6829"/>
                      <a:pt x="3709" y="6830"/>
                    </a:cubicBezTo>
                    <a:cubicBezTo>
                      <a:pt x="3712" y="6836"/>
                      <a:pt x="3712" y="6845"/>
                      <a:pt x="3714" y="6856"/>
                    </a:cubicBezTo>
                    <a:cubicBezTo>
                      <a:pt x="3715" y="6861"/>
                      <a:pt x="3715" y="6866"/>
                      <a:pt x="3716" y="6870"/>
                    </a:cubicBezTo>
                    <a:cubicBezTo>
                      <a:pt x="3901" y="6904"/>
                      <a:pt x="3901" y="6904"/>
                      <a:pt x="3901" y="6904"/>
                    </a:cubicBezTo>
                    <a:cubicBezTo>
                      <a:pt x="4062" y="6694"/>
                      <a:pt x="4062" y="6694"/>
                      <a:pt x="4062" y="6694"/>
                    </a:cubicBezTo>
                    <a:cubicBezTo>
                      <a:pt x="3797" y="6541"/>
                      <a:pt x="3797" y="6541"/>
                      <a:pt x="3797" y="6541"/>
                    </a:cubicBezTo>
                    <a:cubicBezTo>
                      <a:pt x="3552" y="6755"/>
                      <a:pt x="3552" y="6755"/>
                      <a:pt x="3552" y="6755"/>
                    </a:cubicBezTo>
                    <a:cubicBezTo>
                      <a:pt x="3540" y="6794"/>
                      <a:pt x="3540" y="6794"/>
                      <a:pt x="3540" y="6794"/>
                    </a:cubicBezTo>
                    <a:cubicBezTo>
                      <a:pt x="3544" y="6795"/>
                      <a:pt x="3550" y="6796"/>
                      <a:pt x="3558" y="6798"/>
                    </a:cubicBezTo>
                    <a:cubicBezTo>
                      <a:pt x="3603" y="6807"/>
                      <a:pt x="3695" y="6824"/>
                      <a:pt x="3701" y="6825"/>
                    </a:cubicBezTo>
                    <a:cubicBezTo>
                      <a:pt x="3701" y="6825"/>
                      <a:pt x="3701" y="6825"/>
                      <a:pt x="3701" y="6825"/>
                    </a:cubicBezTo>
                    <a:cubicBezTo>
                      <a:pt x="3701" y="6825"/>
                      <a:pt x="3702" y="6825"/>
                      <a:pt x="3702" y="6825"/>
                    </a:cubicBezTo>
                    <a:close/>
                    <a:moveTo>
                      <a:pt x="2592" y="6730"/>
                    </a:moveTo>
                    <a:cubicBezTo>
                      <a:pt x="2468" y="7285"/>
                      <a:pt x="2468" y="7285"/>
                      <a:pt x="2468" y="7285"/>
                    </a:cubicBezTo>
                    <a:cubicBezTo>
                      <a:pt x="2555" y="7347"/>
                      <a:pt x="2660" y="7431"/>
                      <a:pt x="2814" y="7450"/>
                    </a:cubicBezTo>
                    <a:cubicBezTo>
                      <a:pt x="2825" y="7452"/>
                      <a:pt x="2837" y="7452"/>
                      <a:pt x="2848" y="7452"/>
                    </a:cubicBezTo>
                    <a:cubicBezTo>
                      <a:pt x="2921" y="7453"/>
                      <a:pt x="2994" y="7424"/>
                      <a:pt x="3058" y="7388"/>
                    </a:cubicBezTo>
                    <a:cubicBezTo>
                      <a:pt x="3049" y="7371"/>
                      <a:pt x="3035" y="7340"/>
                      <a:pt x="3017" y="7300"/>
                    </a:cubicBezTo>
                    <a:cubicBezTo>
                      <a:pt x="2979" y="7215"/>
                      <a:pt x="2925" y="7091"/>
                      <a:pt x="2881" y="6988"/>
                    </a:cubicBezTo>
                    <a:cubicBezTo>
                      <a:pt x="2859" y="6937"/>
                      <a:pt x="2839" y="6891"/>
                      <a:pt x="2824" y="6857"/>
                    </a:cubicBezTo>
                    <a:cubicBezTo>
                      <a:pt x="2817" y="6841"/>
                      <a:pt x="2811" y="6827"/>
                      <a:pt x="2807" y="6818"/>
                    </a:cubicBezTo>
                    <a:cubicBezTo>
                      <a:pt x="2805" y="6813"/>
                      <a:pt x="2803" y="6809"/>
                      <a:pt x="2802" y="6807"/>
                    </a:cubicBezTo>
                    <a:cubicBezTo>
                      <a:pt x="2802" y="6806"/>
                      <a:pt x="2802" y="6806"/>
                      <a:pt x="2801" y="6805"/>
                    </a:cubicBezTo>
                    <a:cubicBezTo>
                      <a:pt x="2568" y="6720"/>
                      <a:pt x="2568" y="6720"/>
                      <a:pt x="2568" y="6720"/>
                    </a:cubicBezTo>
                    <a:cubicBezTo>
                      <a:pt x="2277" y="6555"/>
                      <a:pt x="2277" y="6555"/>
                      <a:pt x="2277" y="6555"/>
                    </a:cubicBezTo>
                    <a:cubicBezTo>
                      <a:pt x="2254" y="6591"/>
                      <a:pt x="2229" y="6629"/>
                      <a:pt x="2205" y="6667"/>
                    </a:cubicBezTo>
                    <a:cubicBezTo>
                      <a:pt x="2151" y="6749"/>
                      <a:pt x="2098" y="6832"/>
                      <a:pt x="2057" y="6894"/>
                    </a:cubicBezTo>
                    <a:cubicBezTo>
                      <a:pt x="2037" y="6924"/>
                      <a:pt x="2020" y="6950"/>
                      <a:pt x="2007" y="6968"/>
                    </a:cubicBezTo>
                    <a:cubicBezTo>
                      <a:pt x="2024" y="6978"/>
                      <a:pt x="2037" y="6985"/>
                      <a:pt x="2045" y="6989"/>
                    </a:cubicBezTo>
                    <a:cubicBezTo>
                      <a:pt x="2086" y="7011"/>
                      <a:pt x="2165" y="7067"/>
                      <a:pt x="2247" y="7126"/>
                    </a:cubicBezTo>
                    <a:cubicBezTo>
                      <a:pt x="2329" y="7184"/>
                      <a:pt x="2412" y="7246"/>
                      <a:pt x="2456" y="7276"/>
                    </a:cubicBezTo>
                    <a:cubicBezTo>
                      <a:pt x="2578" y="6727"/>
                      <a:pt x="2578" y="6727"/>
                      <a:pt x="2578" y="6727"/>
                    </a:cubicBezTo>
                    <a:lnTo>
                      <a:pt x="2592" y="6730"/>
                    </a:lnTo>
                    <a:close/>
                    <a:moveTo>
                      <a:pt x="2184" y="5689"/>
                    </a:moveTo>
                    <a:cubicBezTo>
                      <a:pt x="2184" y="5689"/>
                      <a:pt x="2184" y="5689"/>
                      <a:pt x="2184" y="5689"/>
                    </a:cubicBezTo>
                    <a:cubicBezTo>
                      <a:pt x="2187" y="5689"/>
                      <a:pt x="2188" y="5690"/>
                      <a:pt x="2189" y="5691"/>
                    </a:cubicBezTo>
                    <a:cubicBezTo>
                      <a:pt x="2247" y="5577"/>
                      <a:pt x="2247" y="5577"/>
                      <a:pt x="2247" y="5577"/>
                    </a:cubicBezTo>
                    <a:cubicBezTo>
                      <a:pt x="2151" y="5531"/>
                      <a:pt x="2151" y="5531"/>
                      <a:pt x="2151" y="5531"/>
                    </a:cubicBezTo>
                    <a:cubicBezTo>
                      <a:pt x="2095" y="5644"/>
                      <a:pt x="2095" y="5644"/>
                      <a:pt x="2095" y="5644"/>
                    </a:cubicBezTo>
                    <a:cubicBezTo>
                      <a:pt x="2100" y="5647"/>
                      <a:pt x="2106" y="5650"/>
                      <a:pt x="2111" y="5653"/>
                    </a:cubicBezTo>
                    <a:cubicBezTo>
                      <a:pt x="2129" y="5662"/>
                      <a:pt x="2147" y="5671"/>
                      <a:pt x="2161" y="5678"/>
                    </a:cubicBezTo>
                    <a:cubicBezTo>
                      <a:pt x="2167" y="5682"/>
                      <a:pt x="2173" y="5684"/>
                      <a:pt x="2178" y="5686"/>
                    </a:cubicBezTo>
                    <a:cubicBezTo>
                      <a:pt x="2180" y="5687"/>
                      <a:pt x="2182" y="5688"/>
                      <a:pt x="2183" y="5689"/>
                    </a:cubicBezTo>
                    <a:cubicBezTo>
                      <a:pt x="2184" y="5689"/>
                      <a:pt x="2184" y="5689"/>
                      <a:pt x="2184" y="5689"/>
                    </a:cubicBezTo>
                    <a:cubicBezTo>
                      <a:pt x="2184" y="5689"/>
                      <a:pt x="2184" y="5689"/>
                      <a:pt x="2184" y="5689"/>
                    </a:cubicBezTo>
                    <a:cubicBezTo>
                      <a:pt x="2184" y="5689"/>
                      <a:pt x="2184" y="5689"/>
                      <a:pt x="2184" y="5689"/>
                    </a:cubicBezTo>
                    <a:close/>
                    <a:moveTo>
                      <a:pt x="2088" y="5656"/>
                    </a:moveTo>
                    <a:cubicBezTo>
                      <a:pt x="2009" y="5815"/>
                      <a:pt x="2009" y="5815"/>
                      <a:pt x="2009" y="5815"/>
                    </a:cubicBezTo>
                    <a:cubicBezTo>
                      <a:pt x="2103" y="5860"/>
                      <a:pt x="2103" y="5860"/>
                      <a:pt x="2103" y="5860"/>
                    </a:cubicBezTo>
                    <a:cubicBezTo>
                      <a:pt x="2183" y="5704"/>
                      <a:pt x="2183" y="5704"/>
                      <a:pt x="2183" y="5704"/>
                    </a:cubicBezTo>
                    <a:cubicBezTo>
                      <a:pt x="2182" y="5703"/>
                      <a:pt x="2182" y="5703"/>
                      <a:pt x="2182" y="5703"/>
                    </a:cubicBezTo>
                    <a:cubicBezTo>
                      <a:pt x="2175" y="5701"/>
                      <a:pt x="2168" y="5697"/>
                      <a:pt x="2154" y="5691"/>
                    </a:cubicBezTo>
                    <a:cubicBezTo>
                      <a:pt x="2136" y="5681"/>
                      <a:pt x="2111" y="5668"/>
                      <a:pt x="2088" y="5656"/>
                    </a:cubicBezTo>
                    <a:close/>
                    <a:moveTo>
                      <a:pt x="2077" y="5650"/>
                    </a:moveTo>
                    <a:cubicBezTo>
                      <a:pt x="2068" y="5646"/>
                      <a:pt x="2061" y="5642"/>
                      <a:pt x="2054" y="5638"/>
                    </a:cubicBezTo>
                    <a:cubicBezTo>
                      <a:pt x="1929" y="5863"/>
                      <a:pt x="1929" y="5863"/>
                      <a:pt x="1929" y="5863"/>
                    </a:cubicBezTo>
                    <a:cubicBezTo>
                      <a:pt x="1949" y="5877"/>
                      <a:pt x="1983" y="5901"/>
                      <a:pt x="2018" y="5925"/>
                    </a:cubicBezTo>
                    <a:cubicBezTo>
                      <a:pt x="2045" y="5944"/>
                      <a:pt x="2072" y="5962"/>
                      <a:pt x="2093" y="5976"/>
                    </a:cubicBezTo>
                    <a:cubicBezTo>
                      <a:pt x="2104" y="5983"/>
                      <a:pt x="2113" y="5989"/>
                      <a:pt x="2119" y="5993"/>
                    </a:cubicBezTo>
                    <a:cubicBezTo>
                      <a:pt x="2123" y="5995"/>
                      <a:pt x="2125" y="5997"/>
                      <a:pt x="2127" y="5998"/>
                    </a:cubicBezTo>
                    <a:cubicBezTo>
                      <a:pt x="2128" y="5998"/>
                      <a:pt x="2128" y="5999"/>
                      <a:pt x="2129" y="5999"/>
                    </a:cubicBezTo>
                    <a:cubicBezTo>
                      <a:pt x="2151" y="6000"/>
                      <a:pt x="2426" y="6029"/>
                      <a:pt x="2454" y="6034"/>
                    </a:cubicBezTo>
                    <a:cubicBezTo>
                      <a:pt x="2470" y="6012"/>
                      <a:pt x="2485" y="5991"/>
                      <a:pt x="2498" y="5974"/>
                    </a:cubicBezTo>
                    <a:cubicBezTo>
                      <a:pt x="2507" y="5962"/>
                      <a:pt x="2514" y="5953"/>
                      <a:pt x="2520" y="5946"/>
                    </a:cubicBezTo>
                    <a:cubicBezTo>
                      <a:pt x="2524" y="5943"/>
                      <a:pt x="2526" y="5940"/>
                      <a:pt x="2528" y="5938"/>
                    </a:cubicBezTo>
                    <a:cubicBezTo>
                      <a:pt x="2477" y="5849"/>
                      <a:pt x="2477" y="5849"/>
                      <a:pt x="2477" y="5849"/>
                    </a:cubicBezTo>
                    <a:cubicBezTo>
                      <a:pt x="2467" y="5845"/>
                      <a:pt x="2412" y="5836"/>
                      <a:pt x="2361" y="5828"/>
                    </a:cubicBezTo>
                    <a:cubicBezTo>
                      <a:pt x="2306" y="5819"/>
                      <a:pt x="2254" y="5812"/>
                      <a:pt x="2254" y="5812"/>
                    </a:cubicBezTo>
                    <a:cubicBezTo>
                      <a:pt x="2250" y="5812"/>
                      <a:pt x="2250" y="5812"/>
                      <a:pt x="2250" y="5812"/>
                    </a:cubicBezTo>
                    <a:cubicBezTo>
                      <a:pt x="2249" y="5809"/>
                      <a:pt x="2249" y="5809"/>
                      <a:pt x="2249" y="5809"/>
                    </a:cubicBezTo>
                    <a:cubicBezTo>
                      <a:pt x="2248" y="5808"/>
                      <a:pt x="2233" y="5781"/>
                      <a:pt x="2217" y="5754"/>
                    </a:cubicBezTo>
                    <a:cubicBezTo>
                      <a:pt x="2208" y="5741"/>
                      <a:pt x="2200" y="5727"/>
                      <a:pt x="2193" y="5717"/>
                    </a:cubicBezTo>
                    <a:cubicBezTo>
                      <a:pt x="2192" y="5716"/>
                      <a:pt x="2192" y="5716"/>
                      <a:pt x="2192" y="5715"/>
                    </a:cubicBezTo>
                    <a:cubicBezTo>
                      <a:pt x="2109" y="5878"/>
                      <a:pt x="2109" y="5878"/>
                      <a:pt x="2109" y="5878"/>
                    </a:cubicBezTo>
                    <a:cubicBezTo>
                      <a:pt x="1992" y="5821"/>
                      <a:pt x="1992" y="5821"/>
                      <a:pt x="1992" y="5821"/>
                    </a:cubicBezTo>
                    <a:lnTo>
                      <a:pt x="2077" y="5650"/>
                    </a:lnTo>
                    <a:close/>
                    <a:moveTo>
                      <a:pt x="6113" y="6300"/>
                    </a:moveTo>
                    <a:cubicBezTo>
                      <a:pt x="6116" y="6257"/>
                      <a:pt x="6116" y="6257"/>
                      <a:pt x="6116" y="6257"/>
                    </a:cubicBezTo>
                    <a:cubicBezTo>
                      <a:pt x="6065" y="6253"/>
                      <a:pt x="6065" y="6253"/>
                      <a:pt x="6065" y="6253"/>
                    </a:cubicBezTo>
                    <a:cubicBezTo>
                      <a:pt x="6044" y="6355"/>
                      <a:pt x="6044" y="6355"/>
                      <a:pt x="6044" y="6355"/>
                    </a:cubicBezTo>
                    <a:cubicBezTo>
                      <a:pt x="6155" y="6363"/>
                      <a:pt x="6155" y="6363"/>
                      <a:pt x="6155" y="6363"/>
                    </a:cubicBezTo>
                    <a:cubicBezTo>
                      <a:pt x="6159" y="6304"/>
                      <a:pt x="6159" y="6304"/>
                      <a:pt x="6159" y="6304"/>
                    </a:cubicBezTo>
                    <a:lnTo>
                      <a:pt x="6113" y="6300"/>
                    </a:lnTo>
                    <a:close/>
                    <a:moveTo>
                      <a:pt x="6051" y="6252"/>
                    </a:moveTo>
                    <a:cubicBezTo>
                      <a:pt x="6026" y="6250"/>
                      <a:pt x="6026" y="6250"/>
                      <a:pt x="6026" y="6250"/>
                    </a:cubicBezTo>
                    <a:cubicBezTo>
                      <a:pt x="6022" y="6293"/>
                      <a:pt x="6022" y="6293"/>
                      <a:pt x="6022" y="6293"/>
                    </a:cubicBezTo>
                    <a:cubicBezTo>
                      <a:pt x="5976" y="6289"/>
                      <a:pt x="5976" y="6289"/>
                      <a:pt x="5976" y="6289"/>
                    </a:cubicBezTo>
                    <a:cubicBezTo>
                      <a:pt x="5971" y="6349"/>
                      <a:pt x="5971" y="6349"/>
                      <a:pt x="5971" y="6349"/>
                    </a:cubicBezTo>
                    <a:cubicBezTo>
                      <a:pt x="6030" y="6354"/>
                      <a:pt x="6030" y="6354"/>
                      <a:pt x="6030" y="6354"/>
                    </a:cubicBezTo>
                    <a:lnTo>
                      <a:pt x="6051" y="6252"/>
                    </a:lnTo>
                    <a:close/>
                    <a:moveTo>
                      <a:pt x="6024" y="6457"/>
                    </a:moveTo>
                    <a:cubicBezTo>
                      <a:pt x="6145" y="6471"/>
                      <a:pt x="6145" y="6471"/>
                      <a:pt x="6145" y="6471"/>
                    </a:cubicBezTo>
                    <a:cubicBezTo>
                      <a:pt x="6151" y="6508"/>
                      <a:pt x="6151" y="6508"/>
                      <a:pt x="6151" y="6508"/>
                    </a:cubicBezTo>
                    <a:cubicBezTo>
                      <a:pt x="6201" y="6513"/>
                      <a:pt x="6201" y="6513"/>
                      <a:pt x="6201" y="6513"/>
                    </a:cubicBezTo>
                    <a:cubicBezTo>
                      <a:pt x="6196" y="6510"/>
                      <a:pt x="6196" y="6510"/>
                      <a:pt x="6196" y="6510"/>
                    </a:cubicBezTo>
                    <a:cubicBezTo>
                      <a:pt x="6196" y="6510"/>
                      <a:pt x="6199" y="6488"/>
                      <a:pt x="6200" y="6460"/>
                    </a:cubicBezTo>
                    <a:cubicBezTo>
                      <a:pt x="6204" y="6394"/>
                      <a:pt x="6205" y="6285"/>
                      <a:pt x="6206" y="6240"/>
                    </a:cubicBezTo>
                    <a:cubicBezTo>
                      <a:pt x="6071" y="6224"/>
                      <a:pt x="6071" y="6224"/>
                      <a:pt x="6071" y="6224"/>
                    </a:cubicBezTo>
                    <a:cubicBezTo>
                      <a:pt x="6067" y="6240"/>
                      <a:pt x="6067" y="6240"/>
                      <a:pt x="6067" y="6240"/>
                    </a:cubicBezTo>
                    <a:cubicBezTo>
                      <a:pt x="6130" y="6245"/>
                      <a:pt x="6130" y="6245"/>
                      <a:pt x="6130" y="6245"/>
                    </a:cubicBezTo>
                    <a:cubicBezTo>
                      <a:pt x="6127" y="6288"/>
                      <a:pt x="6127" y="6288"/>
                      <a:pt x="6127" y="6288"/>
                    </a:cubicBezTo>
                    <a:cubicBezTo>
                      <a:pt x="6174" y="6292"/>
                      <a:pt x="6174" y="6292"/>
                      <a:pt x="6174" y="6292"/>
                    </a:cubicBezTo>
                    <a:cubicBezTo>
                      <a:pt x="6167" y="6378"/>
                      <a:pt x="6167" y="6378"/>
                      <a:pt x="6167" y="6378"/>
                    </a:cubicBezTo>
                    <a:cubicBezTo>
                      <a:pt x="6042" y="6368"/>
                      <a:pt x="6042" y="6368"/>
                      <a:pt x="6042" y="6368"/>
                    </a:cubicBezTo>
                    <a:lnTo>
                      <a:pt x="6024" y="6457"/>
                    </a:lnTo>
                    <a:close/>
                    <a:moveTo>
                      <a:pt x="7040" y="6401"/>
                    </a:moveTo>
                    <a:cubicBezTo>
                      <a:pt x="7044" y="6358"/>
                      <a:pt x="7044" y="6358"/>
                      <a:pt x="7044" y="6358"/>
                    </a:cubicBezTo>
                    <a:cubicBezTo>
                      <a:pt x="7014" y="6355"/>
                      <a:pt x="7014" y="6355"/>
                      <a:pt x="7014" y="6355"/>
                    </a:cubicBezTo>
                    <a:cubicBezTo>
                      <a:pt x="6997" y="6457"/>
                      <a:pt x="6997" y="6457"/>
                      <a:pt x="6997" y="6457"/>
                    </a:cubicBezTo>
                    <a:cubicBezTo>
                      <a:pt x="7082" y="6464"/>
                      <a:pt x="7082" y="6464"/>
                      <a:pt x="7082" y="6464"/>
                    </a:cubicBezTo>
                    <a:cubicBezTo>
                      <a:pt x="7087" y="6404"/>
                      <a:pt x="7087" y="6404"/>
                      <a:pt x="7087" y="6404"/>
                    </a:cubicBezTo>
                    <a:lnTo>
                      <a:pt x="7040" y="6401"/>
                    </a:lnTo>
                    <a:close/>
                    <a:moveTo>
                      <a:pt x="7000" y="6354"/>
                    </a:moveTo>
                    <a:cubicBezTo>
                      <a:pt x="6953" y="6351"/>
                      <a:pt x="6953" y="6351"/>
                      <a:pt x="6953" y="6351"/>
                    </a:cubicBezTo>
                    <a:cubicBezTo>
                      <a:pt x="6950" y="6394"/>
                      <a:pt x="6950" y="6394"/>
                      <a:pt x="6950" y="6394"/>
                    </a:cubicBezTo>
                    <a:cubicBezTo>
                      <a:pt x="6903" y="6390"/>
                      <a:pt x="6903" y="6390"/>
                      <a:pt x="6903" y="6390"/>
                    </a:cubicBezTo>
                    <a:cubicBezTo>
                      <a:pt x="6899" y="6450"/>
                      <a:pt x="6899" y="6450"/>
                      <a:pt x="6899" y="6450"/>
                    </a:cubicBezTo>
                    <a:cubicBezTo>
                      <a:pt x="6983" y="6456"/>
                      <a:pt x="6983" y="6456"/>
                      <a:pt x="6983" y="6456"/>
                    </a:cubicBezTo>
                    <a:lnTo>
                      <a:pt x="7000" y="6354"/>
                    </a:lnTo>
                    <a:close/>
                    <a:moveTo>
                      <a:pt x="7004" y="6335"/>
                    </a:moveTo>
                    <a:cubicBezTo>
                      <a:pt x="6869" y="6319"/>
                      <a:pt x="6869" y="6319"/>
                      <a:pt x="6869" y="6319"/>
                    </a:cubicBezTo>
                    <a:cubicBezTo>
                      <a:pt x="6866" y="6339"/>
                      <a:pt x="6860" y="6371"/>
                      <a:pt x="6854" y="6403"/>
                    </a:cubicBezTo>
                    <a:cubicBezTo>
                      <a:pt x="6849" y="6429"/>
                      <a:pt x="6843" y="6455"/>
                      <a:pt x="6838" y="6475"/>
                    </a:cubicBezTo>
                    <a:cubicBezTo>
                      <a:pt x="6836" y="6484"/>
                      <a:pt x="6834" y="6493"/>
                      <a:pt x="6832" y="6499"/>
                    </a:cubicBezTo>
                    <a:cubicBezTo>
                      <a:pt x="6831" y="6502"/>
                      <a:pt x="6830" y="6504"/>
                      <a:pt x="6829" y="6506"/>
                    </a:cubicBezTo>
                    <a:cubicBezTo>
                      <a:pt x="6828" y="6507"/>
                      <a:pt x="6827" y="6509"/>
                      <a:pt x="6825" y="6511"/>
                    </a:cubicBezTo>
                    <a:cubicBezTo>
                      <a:pt x="6895" y="6522"/>
                      <a:pt x="6964" y="6533"/>
                      <a:pt x="7017" y="6541"/>
                    </a:cubicBezTo>
                    <a:cubicBezTo>
                      <a:pt x="7045" y="6546"/>
                      <a:pt x="7068" y="6549"/>
                      <a:pt x="7085" y="6552"/>
                    </a:cubicBezTo>
                    <a:cubicBezTo>
                      <a:pt x="7088" y="6553"/>
                      <a:pt x="7092" y="6553"/>
                      <a:pt x="7095" y="6554"/>
                    </a:cubicBezTo>
                    <a:cubicBezTo>
                      <a:pt x="7124" y="6350"/>
                      <a:pt x="7124" y="6350"/>
                      <a:pt x="7124" y="6350"/>
                    </a:cubicBezTo>
                    <a:cubicBezTo>
                      <a:pt x="7017" y="6337"/>
                      <a:pt x="7017" y="6337"/>
                      <a:pt x="7017" y="6337"/>
                    </a:cubicBezTo>
                    <a:cubicBezTo>
                      <a:pt x="7017" y="6342"/>
                      <a:pt x="7017" y="6342"/>
                      <a:pt x="7017" y="6342"/>
                    </a:cubicBezTo>
                    <a:cubicBezTo>
                      <a:pt x="7058" y="6346"/>
                      <a:pt x="7058" y="6346"/>
                      <a:pt x="7058" y="6346"/>
                    </a:cubicBezTo>
                    <a:cubicBezTo>
                      <a:pt x="7054" y="6389"/>
                      <a:pt x="7054" y="6389"/>
                      <a:pt x="7054" y="6389"/>
                    </a:cubicBezTo>
                    <a:cubicBezTo>
                      <a:pt x="7101" y="6392"/>
                      <a:pt x="7101" y="6392"/>
                      <a:pt x="7101" y="6392"/>
                    </a:cubicBezTo>
                    <a:cubicBezTo>
                      <a:pt x="7094" y="6478"/>
                      <a:pt x="7094" y="6478"/>
                      <a:pt x="7094" y="6478"/>
                    </a:cubicBezTo>
                    <a:cubicBezTo>
                      <a:pt x="6994" y="6470"/>
                      <a:pt x="6994" y="6470"/>
                      <a:pt x="6994" y="6470"/>
                    </a:cubicBezTo>
                    <a:cubicBezTo>
                      <a:pt x="6984" y="6531"/>
                      <a:pt x="6984" y="6531"/>
                      <a:pt x="6984" y="6531"/>
                    </a:cubicBezTo>
                    <a:cubicBezTo>
                      <a:pt x="6970" y="6529"/>
                      <a:pt x="6970" y="6529"/>
                      <a:pt x="6970" y="6529"/>
                    </a:cubicBezTo>
                    <a:cubicBezTo>
                      <a:pt x="6980" y="6469"/>
                      <a:pt x="6980" y="6469"/>
                      <a:pt x="6980" y="6469"/>
                    </a:cubicBezTo>
                    <a:cubicBezTo>
                      <a:pt x="6884" y="6462"/>
                      <a:pt x="6884" y="6462"/>
                      <a:pt x="6884" y="6462"/>
                    </a:cubicBezTo>
                    <a:cubicBezTo>
                      <a:pt x="6885" y="6455"/>
                      <a:pt x="6885" y="6455"/>
                      <a:pt x="6885" y="6455"/>
                    </a:cubicBezTo>
                    <a:cubicBezTo>
                      <a:pt x="6891" y="6376"/>
                      <a:pt x="6891" y="6376"/>
                      <a:pt x="6891" y="6376"/>
                    </a:cubicBezTo>
                    <a:cubicBezTo>
                      <a:pt x="6938" y="6379"/>
                      <a:pt x="6938" y="6379"/>
                      <a:pt x="6938" y="6379"/>
                    </a:cubicBezTo>
                    <a:cubicBezTo>
                      <a:pt x="6941" y="6337"/>
                      <a:pt x="6941" y="6337"/>
                      <a:pt x="6941" y="6337"/>
                    </a:cubicBezTo>
                    <a:cubicBezTo>
                      <a:pt x="7003" y="6341"/>
                      <a:pt x="7003" y="6341"/>
                      <a:pt x="7003" y="6341"/>
                    </a:cubicBezTo>
                    <a:lnTo>
                      <a:pt x="7004" y="6335"/>
                    </a:lnTo>
                    <a:close/>
                    <a:moveTo>
                      <a:pt x="7158" y="6789"/>
                    </a:moveTo>
                    <a:cubicBezTo>
                      <a:pt x="7170" y="6729"/>
                      <a:pt x="7170" y="6729"/>
                      <a:pt x="7170" y="6729"/>
                    </a:cubicBezTo>
                    <a:cubicBezTo>
                      <a:pt x="7137" y="6718"/>
                      <a:pt x="7137" y="6718"/>
                      <a:pt x="7137" y="6718"/>
                    </a:cubicBezTo>
                    <a:cubicBezTo>
                      <a:pt x="7107" y="6926"/>
                      <a:pt x="7107" y="6926"/>
                      <a:pt x="7107" y="6926"/>
                    </a:cubicBezTo>
                    <a:cubicBezTo>
                      <a:pt x="7182" y="6940"/>
                      <a:pt x="7380" y="6977"/>
                      <a:pt x="7418" y="6984"/>
                    </a:cubicBezTo>
                    <a:cubicBezTo>
                      <a:pt x="7442" y="6864"/>
                      <a:pt x="7442" y="6864"/>
                      <a:pt x="7442" y="6864"/>
                    </a:cubicBezTo>
                    <a:cubicBezTo>
                      <a:pt x="7441" y="6864"/>
                      <a:pt x="7441" y="6863"/>
                      <a:pt x="7440" y="6863"/>
                    </a:cubicBezTo>
                    <a:cubicBezTo>
                      <a:pt x="7436" y="6862"/>
                      <a:pt x="7435" y="6861"/>
                      <a:pt x="7430" y="6858"/>
                    </a:cubicBezTo>
                    <a:cubicBezTo>
                      <a:pt x="7400" y="6841"/>
                      <a:pt x="7307" y="6777"/>
                      <a:pt x="7297" y="6770"/>
                    </a:cubicBezTo>
                    <a:cubicBezTo>
                      <a:pt x="7294" y="6769"/>
                      <a:pt x="7294" y="6769"/>
                      <a:pt x="7294" y="6769"/>
                    </a:cubicBezTo>
                    <a:cubicBezTo>
                      <a:pt x="7276" y="6860"/>
                      <a:pt x="7276" y="6860"/>
                      <a:pt x="7276" y="6860"/>
                    </a:cubicBezTo>
                    <a:cubicBezTo>
                      <a:pt x="7270" y="6859"/>
                      <a:pt x="7270" y="6859"/>
                      <a:pt x="7270" y="6859"/>
                    </a:cubicBezTo>
                    <a:cubicBezTo>
                      <a:pt x="7191" y="6843"/>
                      <a:pt x="7191" y="6843"/>
                      <a:pt x="7191" y="6843"/>
                    </a:cubicBezTo>
                    <a:cubicBezTo>
                      <a:pt x="7201" y="6797"/>
                      <a:pt x="7201" y="6797"/>
                      <a:pt x="7201" y="6797"/>
                    </a:cubicBezTo>
                    <a:lnTo>
                      <a:pt x="7158" y="6789"/>
                    </a:lnTo>
                    <a:close/>
                    <a:moveTo>
                      <a:pt x="7183" y="6733"/>
                    </a:moveTo>
                    <a:cubicBezTo>
                      <a:pt x="7174" y="6778"/>
                      <a:pt x="7174" y="6778"/>
                      <a:pt x="7174" y="6778"/>
                    </a:cubicBezTo>
                    <a:cubicBezTo>
                      <a:pt x="7216" y="6787"/>
                      <a:pt x="7216" y="6787"/>
                      <a:pt x="7216" y="6787"/>
                    </a:cubicBezTo>
                    <a:cubicBezTo>
                      <a:pt x="7207" y="6833"/>
                      <a:pt x="7207" y="6833"/>
                      <a:pt x="7207" y="6833"/>
                    </a:cubicBezTo>
                    <a:cubicBezTo>
                      <a:pt x="7266" y="6845"/>
                      <a:pt x="7266" y="6845"/>
                      <a:pt x="7266" y="6845"/>
                    </a:cubicBezTo>
                    <a:cubicBezTo>
                      <a:pt x="7281" y="6765"/>
                      <a:pt x="7281" y="6765"/>
                      <a:pt x="7281" y="6765"/>
                    </a:cubicBezTo>
                    <a:lnTo>
                      <a:pt x="7183" y="6733"/>
                    </a:lnTo>
                    <a:close/>
                    <a:moveTo>
                      <a:pt x="7284" y="6751"/>
                    </a:moveTo>
                    <a:cubicBezTo>
                      <a:pt x="7302" y="6664"/>
                      <a:pt x="7302" y="6664"/>
                      <a:pt x="7302" y="6664"/>
                    </a:cubicBezTo>
                    <a:cubicBezTo>
                      <a:pt x="7243" y="6652"/>
                      <a:pt x="7243" y="6652"/>
                      <a:pt x="7243" y="6652"/>
                    </a:cubicBezTo>
                    <a:cubicBezTo>
                      <a:pt x="7234" y="6698"/>
                      <a:pt x="7234" y="6698"/>
                      <a:pt x="7234" y="6698"/>
                    </a:cubicBezTo>
                    <a:cubicBezTo>
                      <a:pt x="7191" y="6690"/>
                      <a:pt x="7191" y="6690"/>
                      <a:pt x="7191" y="6690"/>
                    </a:cubicBezTo>
                    <a:cubicBezTo>
                      <a:pt x="7185" y="6719"/>
                      <a:pt x="7185" y="6719"/>
                      <a:pt x="7185" y="6719"/>
                    </a:cubicBezTo>
                    <a:lnTo>
                      <a:pt x="7284" y="6751"/>
                    </a:lnTo>
                    <a:close/>
                    <a:moveTo>
                      <a:pt x="7203" y="7103"/>
                    </a:moveTo>
                    <a:cubicBezTo>
                      <a:pt x="7349" y="7084"/>
                      <a:pt x="7349" y="7084"/>
                      <a:pt x="7349" y="7084"/>
                    </a:cubicBezTo>
                    <a:cubicBezTo>
                      <a:pt x="7411" y="6997"/>
                      <a:pt x="7411" y="6997"/>
                      <a:pt x="7411" y="6997"/>
                    </a:cubicBezTo>
                    <a:cubicBezTo>
                      <a:pt x="7366" y="6988"/>
                      <a:pt x="7179" y="6954"/>
                      <a:pt x="7105" y="6940"/>
                    </a:cubicBezTo>
                    <a:cubicBezTo>
                      <a:pt x="7075" y="7140"/>
                      <a:pt x="7075" y="7140"/>
                      <a:pt x="7075" y="7140"/>
                    </a:cubicBezTo>
                    <a:cubicBezTo>
                      <a:pt x="7209" y="7159"/>
                      <a:pt x="7209" y="7159"/>
                      <a:pt x="7209" y="7159"/>
                    </a:cubicBezTo>
                    <a:cubicBezTo>
                      <a:pt x="7206" y="7130"/>
                      <a:pt x="7204" y="7110"/>
                      <a:pt x="7204" y="7109"/>
                    </a:cubicBezTo>
                    <a:lnTo>
                      <a:pt x="7203" y="7103"/>
                    </a:lnTo>
                    <a:close/>
                    <a:moveTo>
                      <a:pt x="6433" y="7115"/>
                    </a:moveTo>
                    <a:cubicBezTo>
                      <a:pt x="6431" y="7123"/>
                      <a:pt x="6431" y="7123"/>
                      <a:pt x="6431" y="7123"/>
                    </a:cubicBezTo>
                    <a:cubicBezTo>
                      <a:pt x="6766" y="7166"/>
                      <a:pt x="6766" y="7166"/>
                      <a:pt x="6766" y="7166"/>
                    </a:cubicBezTo>
                    <a:cubicBezTo>
                      <a:pt x="6799" y="6985"/>
                      <a:pt x="6799" y="6985"/>
                      <a:pt x="6799" y="6985"/>
                    </a:cubicBezTo>
                    <a:cubicBezTo>
                      <a:pt x="6769" y="6980"/>
                      <a:pt x="6738" y="6975"/>
                      <a:pt x="6706" y="6971"/>
                    </a:cubicBezTo>
                    <a:cubicBezTo>
                      <a:pt x="6568" y="6950"/>
                      <a:pt x="6428" y="6930"/>
                      <a:pt x="6369" y="6922"/>
                    </a:cubicBezTo>
                    <a:cubicBezTo>
                      <a:pt x="6368" y="6924"/>
                      <a:pt x="6368" y="6924"/>
                      <a:pt x="6368" y="6924"/>
                    </a:cubicBezTo>
                    <a:lnTo>
                      <a:pt x="6433" y="7115"/>
                    </a:lnTo>
                    <a:close/>
                    <a:moveTo>
                      <a:pt x="5118" y="6838"/>
                    </a:moveTo>
                    <a:cubicBezTo>
                      <a:pt x="5122" y="6825"/>
                      <a:pt x="5122" y="6825"/>
                      <a:pt x="5122" y="6825"/>
                    </a:cubicBezTo>
                    <a:cubicBezTo>
                      <a:pt x="5742" y="6987"/>
                      <a:pt x="5742" y="6987"/>
                      <a:pt x="5742" y="6987"/>
                    </a:cubicBezTo>
                    <a:cubicBezTo>
                      <a:pt x="5772" y="6818"/>
                      <a:pt x="5772" y="6818"/>
                      <a:pt x="5772" y="6818"/>
                    </a:cubicBezTo>
                    <a:cubicBezTo>
                      <a:pt x="5211" y="6703"/>
                      <a:pt x="5211" y="6703"/>
                      <a:pt x="5211" y="6703"/>
                    </a:cubicBezTo>
                    <a:cubicBezTo>
                      <a:pt x="5165" y="6711"/>
                      <a:pt x="5165" y="6711"/>
                      <a:pt x="5165" y="6711"/>
                    </a:cubicBezTo>
                    <a:cubicBezTo>
                      <a:pt x="5160" y="6723"/>
                      <a:pt x="5145" y="6762"/>
                      <a:pt x="5129" y="6802"/>
                    </a:cubicBezTo>
                    <a:cubicBezTo>
                      <a:pt x="5111" y="6849"/>
                      <a:pt x="5093" y="6901"/>
                      <a:pt x="5093" y="6909"/>
                    </a:cubicBezTo>
                    <a:cubicBezTo>
                      <a:pt x="5094" y="6912"/>
                      <a:pt x="5094" y="6913"/>
                      <a:pt x="5094" y="6916"/>
                    </a:cubicBezTo>
                    <a:cubicBezTo>
                      <a:pt x="5097" y="6936"/>
                      <a:pt x="5099" y="7006"/>
                      <a:pt x="5101" y="7077"/>
                    </a:cubicBezTo>
                    <a:cubicBezTo>
                      <a:pt x="5101" y="7077"/>
                      <a:pt x="5102" y="7077"/>
                      <a:pt x="5102" y="7077"/>
                    </a:cubicBezTo>
                    <a:cubicBezTo>
                      <a:pt x="5102" y="7077"/>
                      <a:pt x="5102" y="7077"/>
                      <a:pt x="5102" y="7077"/>
                    </a:cubicBezTo>
                    <a:cubicBezTo>
                      <a:pt x="5112" y="7077"/>
                      <a:pt x="5278" y="7094"/>
                      <a:pt x="5443" y="7112"/>
                    </a:cubicBezTo>
                    <a:cubicBezTo>
                      <a:pt x="5526" y="7121"/>
                      <a:pt x="5608" y="7130"/>
                      <a:pt x="5669" y="7136"/>
                    </a:cubicBezTo>
                    <a:cubicBezTo>
                      <a:pt x="5686" y="7138"/>
                      <a:pt x="5702" y="7140"/>
                      <a:pt x="5716" y="7142"/>
                    </a:cubicBezTo>
                    <a:cubicBezTo>
                      <a:pt x="5740" y="7001"/>
                      <a:pt x="5740" y="7001"/>
                      <a:pt x="5740" y="7001"/>
                    </a:cubicBezTo>
                    <a:lnTo>
                      <a:pt x="5118" y="6838"/>
                    </a:lnTo>
                    <a:close/>
                    <a:moveTo>
                      <a:pt x="5102" y="7084"/>
                    </a:moveTo>
                    <a:cubicBezTo>
                      <a:pt x="5102" y="7084"/>
                      <a:pt x="5102" y="7084"/>
                      <a:pt x="5102" y="7084"/>
                    </a:cubicBezTo>
                    <a:cubicBezTo>
                      <a:pt x="5106" y="7078"/>
                      <a:pt x="5106" y="7078"/>
                      <a:pt x="5106" y="7078"/>
                    </a:cubicBezTo>
                    <a:lnTo>
                      <a:pt x="5102" y="7084"/>
                    </a:lnTo>
                    <a:close/>
                    <a:moveTo>
                      <a:pt x="5079" y="6910"/>
                    </a:moveTo>
                    <a:cubicBezTo>
                      <a:pt x="5079" y="6895"/>
                      <a:pt x="5098" y="6846"/>
                      <a:pt x="5116" y="6797"/>
                    </a:cubicBezTo>
                    <a:cubicBezTo>
                      <a:pt x="5135" y="6748"/>
                      <a:pt x="5154" y="6703"/>
                      <a:pt x="5154" y="6703"/>
                    </a:cubicBezTo>
                    <a:cubicBezTo>
                      <a:pt x="5155" y="6699"/>
                      <a:pt x="5155" y="6699"/>
                      <a:pt x="5155" y="6699"/>
                    </a:cubicBezTo>
                    <a:cubicBezTo>
                      <a:pt x="5220" y="6688"/>
                      <a:pt x="5220" y="6688"/>
                      <a:pt x="5220" y="6688"/>
                    </a:cubicBezTo>
                    <a:cubicBezTo>
                      <a:pt x="5224" y="6659"/>
                      <a:pt x="5233" y="6563"/>
                      <a:pt x="5243" y="6455"/>
                    </a:cubicBezTo>
                    <a:cubicBezTo>
                      <a:pt x="4860" y="6404"/>
                      <a:pt x="4860" y="6404"/>
                      <a:pt x="4860" y="6404"/>
                    </a:cubicBezTo>
                    <a:cubicBezTo>
                      <a:pt x="4810" y="6671"/>
                      <a:pt x="4810" y="6671"/>
                      <a:pt x="4810" y="6671"/>
                    </a:cubicBezTo>
                    <a:cubicBezTo>
                      <a:pt x="5134" y="6742"/>
                      <a:pt x="5134" y="6742"/>
                      <a:pt x="5134" y="6742"/>
                    </a:cubicBezTo>
                    <a:cubicBezTo>
                      <a:pt x="5131" y="6755"/>
                      <a:pt x="5131" y="6755"/>
                      <a:pt x="5131" y="6755"/>
                    </a:cubicBezTo>
                    <a:cubicBezTo>
                      <a:pt x="4808" y="6684"/>
                      <a:pt x="4808" y="6684"/>
                      <a:pt x="4808" y="6684"/>
                    </a:cubicBezTo>
                    <a:cubicBezTo>
                      <a:pt x="4721" y="7154"/>
                      <a:pt x="4721" y="7154"/>
                      <a:pt x="4721" y="7154"/>
                    </a:cubicBezTo>
                    <a:cubicBezTo>
                      <a:pt x="5091" y="7228"/>
                      <a:pt x="5091" y="7228"/>
                      <a:pt x="5091" y="7228"/>
                    </a:cubicBezTo>
                    <a:cubicBezTo>
                      <a:pt x="5090" y="7197"/>
                      <a:pt x="5089" y="7142"/>
                      <a:pt x="5088" y="7086"/>
                    </a:cubicBezTo>
                    <a:cubicBezTo>
                      <a:pt x="5086" y="7044"/>
                      <a:pt x="5085" y="7002"/>
                      <a:pt x="5084" y="6969"/>
                    </a:cubicBezTo>
                    <a:cubicBezTo>
                      <a:pt x="5083" y="6953"/>
                      <a:pt x="5082" y="6939"/>
                      <a:pt x="5081" y="6929"/>
                    </a:cubicBezTo>
                    <a:cubicBezTo>
                      <a:pt x="5081" y="6925"/>
                      <a:pt x="5081" y="6921"/>
                      <a:pt x="5080" y="6918"/>
                    </a:cubicBezTo>
                    <a:cubicBezTo>
                      <a:pt x="5080" y="6917"/>
                      <a:pt x="5080" y="6915"/>
                      <a:pt x="5080" y="6915"/>
                    </a:cubicBezTo>
                    <a:cubicBezTo>
                      <a:pt x="5080" y="6915"/>
                      <a:pt x="5080" y="6914"/>
                      <a:pt x="5080" y="6914"/>
                    </a:cubicBezTo>
                    <a:cubicBezTo>
                      <a:pt x="5080" y="6914"/>
                      <a:pt x="5080" y="6914"/>
                      <a:pt x="5080" y="6914"/>
                    </a:cubicBezTo>
                    <a:cubicBezTo>
                      <a:pt x="5079" y="6912"/>
                      <a:pt x="5079" y="6911"/>
                      <a:pt x="5079" y="6910"/>
                    </a:cubicBezTo>
                    <a:close/>
                    <a:moveTo>
                      <a:pt x="4875" y="6320"/>
                    </a:moveTo>
                    <a:cubicBezTo>
                      <a:pt x="4874" y="6327"/>
                      <a:pt x="4874" y="6327"/>
                      <a:pt x="4874" y="6327"/>
                    </a:cubicBezTo>
                    <a:cubicBezTo>
                      <a:pt x="4862" y="6390"/>
                      <a:pt x="4862" y="6390"/>
                      <a:pt x="4862" y="6390"/>
                    </a:cubicBezTo>
                    <a:cubicBezTo>
                      <a:pt x="5244" y="6442"/>
                      <a:pt x="5244" y="6442"/>
                      <a:pt x="5244" y="6442"/>
                    </a:cubicBezTo>
                    <a:cubicBezTo>
                      <a:pt x="5246" y="6419"/>
                      <a:pt x="5248" y="6396"/>
                      <a:pt x="5250" y="6373"/>
                    </a:cubicBezTo>
                    <a:cubicBezTo>
                      <a:pt x="5252" y="6355"/>
                      <a:pt x="5253" y="6338"/>
                      <a:pt x="5255" y="6320"/>
                    </a:cubicBezTo>
                    <a:cubicBezTo>
                      <a:pt x="4699" y="6231"/>
                      <a:pt x="4699" y="6231"/>
                      <a:pt x="4699" y="6231"/>
                    </a:cubicBezTo>
                    <a:cubicBezTo>
                      <a:pt x="4690" y="6275"/>
                      <a:pt x="4681" y="6320"/>
                      <a:pt x="4672" y="6364"/>
                    </a:cubicBezTo>
                    <a:cubicBezTo>
                      <a:pt x="4706" y="6369"/>
                      <a:pt x="4706" y="6369"/>
                      <a:pt x="4706" y="6369"/>
                    </a:cubicBezTo>
                    <a:cubicBezTo>
                      <a:pt x="4720" y="6294"/>
                      <a:pt x="4720" y="6294"/>
                      <a:pt x="4720" y="6294"/>
                    </a:cubicBezTo>
                    <a:lnTo>
                      <a:pt x="4875" y="6320"/>
                    </a:lnTo>
                    <a:close/>
                    <a:moveTo>
                      <a:pt x="4670" y="6640"/>
                    </a:moveTo>
                    <a:cubicBezTo>
                      <a:pt x="4798" y="6668"/>
                      <a:pt x="4798" y="6668"/>
                      <a:pt x="4798" y="6668"/>
                    </a:cubicBezTo>
                    <a:cubicBezTo>
                      <a:pt x="4847" y="6402"/>
                      <a:pt x="4847" y="6402"/>
                      <a:pt x="4847" y="6402"/>
                    </a:cubicBezTo>
                    <a:cubicBezTo>
                      <a:pt x="4717" y="6384"/>
                      <a:pt x="4717" y="6384"/>
                      <a:pt x="4717" y="6384"/>
                    </a:cubicBezTo>
                    <a:lnTo>
                      <a:pt x="4670" y="6640"/>
                    </a:lnTo>
                    <a:close/>
                    <a:moveTo>
                      <a:pt x="4704" y="6383"/>
                    </a:moveTo>
                    <a:cubicBezTo>
                      <a:pt x="4669" y="6378"/>
                      <a:pt x="4669" y="6378"/>
                      <a:pt x="4669" y="6378"/>
                    </a:cubicBezTo>
                    <a:cubicBezTo>
                      <a:pt x="4652" y="6466"/>
                      <a:pt x="4635" y="6551"/>
                      <a:pt x="4620" y="6629"/>
                    </a:cubicBezTo>
                    <a:cubicBezTo>
                      <a:pt x="4657" y="6637"/>
                      <a:pt x="4657" y="6637"/>
                      <a:pt x="4657" y="6637"/>
                    </a:cubicBezTo>
                    <a:lnTo>
                      <a:pt x="4704" y="6383"/>
                    </a:lnTo>
                    <a:close/>
                    <a:moveTo>
                      <a:pt x="4849" y="6388"/>
                    </a:moveTo>
                    <a:cubicBezTo>
                      <a:pt x="4860" y="6331"/>
                      <a:pt x="4860" y="6331"/>
                      <a:pt x="4860" y="6331"/>
                    </a:cubicBezTo>
                    <a:cubicBezTo>
                      <a:pt x="4730" y="6310"/>
                      <a:pt x="4730" y="6310"/>
                      <a:pt x="4730" y="6310"/>
                    </a:cubicBezTo>
                    <a:cubicBezTo>
                      <a:pt x="4719" y="6371"/>
                      <a:pt x="4719" y="6371"/>
                      <a:pt x="4719" y="6371"/>
                    </a:cubicBezTo>
                    <a:lnTo>
                      <a:pt x="4849" y="6388"/>
                    </a:lnTo>
                    <a:close/>
                    <a:moveTo>
                      <a:pt x="4740" y="5705"/>
                    </a:moveTo>
                    <a:cubicBezTo>
                      <a:pt x="4679" y="5699"/>
                      <a:pt x="4679" y="5699"/>
                      <a:pt x="4679" y="5699"/>
                    </a:cubicBezTo>
                    <a:cubicBezTo>
                      <a:pt x="4626" y="5986"/>
                      <a:pt x="4626" y="5986"/>
                      <a:pt x="4626" y="5986"/>
                    </a:cubicBezTo>
                    <a:cubicBezTo>
                      <a:pt x="4680" y="5996"/>
                      <a:pt x="4680" y="5996"/>
                      <a:pt x="4680" y="5996"/>
                    </a:cubicBezTo>
                    <a:cubicBezTo>
                      <a:pt x="4702" y="5887"/>
                      <a:pt x="4723" y="5786"/>
                      <a:pt x="4740" y="5705"/>
                    </a:cubicBezTo>
                    <a:close/>
                    <a:moveTo>
                      <a:pt x="4700" y="5514"/>
                    </a:moveTo>
                    <a:cubicBezTo>
                      <a:pt x="4570" y="5492"/>
                      <a:pt x="4570" y="5492"/>
                      <a:pt x="4570" y="5492"/>
                    </a:cubicBezTo>
                    <a:cubicBezTo>
                      <a:pt x="4537" y="5673"/>
                      <a:pt x="4537" y="5673"/>
                      <a:pt x="4537" y="5673"/>
                    </a:cubicBezTo>
                    <a:cubicBezTo>
                      <a:pt x="4668" y="5685"/>
                      <a:pt x="4668" y="5685"/>
                      <a:pt x="4668" y="5685"/>
                    </a:cubicBezTo>
                    <a:lnTo>
                      <a:pt x="4700" y="5514"/>
                    </a:lnTo>
                    <a:close/>
                    <a:moveTo>
                      <a:pt x="4534" y="5687"/>
                    </a:moveTo>
                    <a:cubicBezTo>
                      <a:pt x="4484" y="5960"/>
                      <a:pt x="4484" y="5960"/>
                      <a:pt x="4484" y="5960"/>
                    </a:cubicBezTo>
                    <a:cubicBezTo>
                      <a:pt x="4613" y="5984"/>
                      <a:pt x="4613" y="5984"/>
                      <a:pt x="4613" y="5984"/>
                    </a:cubicBezTo>
                    <a:cubicBezTo>
                      <a:pt x="4666" y="5698"/>
                      <a:pt x="4666" y="5698"/>
                      <a:pt x="4666" y="5698"/>
                    </a:cubicBezTo>
                    <a:lnTo>
                      <a:pt x="4534" y="5687"/>
                    </a:lnTo>
                    <a:close/>
                    <a:moveTo>
                      <a:pt x="4521" y="5685"/>
                    </a:moveTo>
                    <a:cubicBezTo>
                      <a:pt x="4019" y="5641"/>
                      <a:pt x="4019" y="5641"/>
                      <a:pt x="4019" y="5641"/>
                    </a:cubicBezTo>
                    <a:cubicBezTo>
                      <a:pt x="3991" y="5999"/>
                      <a:pt x="3991" y="5999"/>
                      <a:pt x="3991" y="5999"/>
                    </a:cubicBezTo>
                    <a:cubicBezTo>
                      <a:pt x="3886" y="6187"/>
                      <a:pt x="3886" y="6187"/>
                      <a:pt x="3886" y="6187"/>
                    </a:cubicBezTo>
                    <a:cubicBezTo>
                      <a:pt x="4244" y="6301"/>
                      <a:pt x="4244" y="6301"/>
                      <a:pt x="4244" y="6301"/>
                    </a:cubicBezTo>
                    <a:cubicBezTo>
                      <a:pt x="4404" y="6325"/>
                      <a:pt x="4404" y="6325"/>
                      <a:pt x="4404" y="6325"/>
                    </a:cubicBezTo>
                    <a:cubicBezTo>
                      <a:pt x="4469" y="5971"/>
                      <a:pt x="4469" y="5971"/>
                      <a:pt x="4469" y="5971"/>
                    </a:cubicBezTo>
                    <a:cubicBezTo>
                      <a:pt x="4001" y="5884"/>
                      <a:pt x="4001" y="5884"/>
                      <a:pt x="4001" y="5884"/>
                    </a:cubicBezTo>
                    <a:cubicBezTo>
                      <a:pt x="4003" y="5870"/>
                      <a:pt x="4003" y="5870"/>
                      <a:pt x="4003" y="5870"/>
                    </a:cubicBezTo>
                    <a:cubicBezTo>
                      <a:pt x="4471" y="5957"/>
                      <a:pt x="4471" y="5957"/>
                      <a:pt x="4471" y="5957"/>
                    </a:cubicBezTo>
                    <a:lnTo>
                      <a:pt x="4521" y="5685"/>
                    </a:lnTo>
                    <a:close/>
                    <a:moveTo>
                      <a:pt x="4401" y="6412"/>
                    </a:moveTo>
                    <a:cubicBezTo>
                      <a:pt x="4529" y="6433"/>
                      <a:pt x="4529" y="6433"/>
                      <a:pt x="4529" y="6433"/>
                    </a:cubicBezTo>
                    <a:cubicBezTo>
                      <a:pt x="4543" y="6360"/>
                      <a:pt x="4543" y="6360"/>
                      <a:pt x="4543" y="6360"/>
                    </a:cubicBezTo>
                    <a:cubicBezTo>
                      <a:pt x="4414" y="6341"/>
                      <a:pt x="4414" y="6341"/>
                      <a:pt x="4414" y="6341"/>
                    </a:cubicBezTo>
                    <a:lnTo>
                      <a:pt x="4401" y="6412"/>
                    </a:lnTo>
                    <a:close/>
                    <a:moveTo>
                      <a:pt x="4545" y="6346"/>
                    </a:moveTo>
                    <a:cubicBezTo>
                      <a:pt x="4610" y="5998"/>
                      <a:pt x="4610" y="5998"/>
                      <a:pt x="4610" y="5998"/>
                    </a:cubicBezTo>
                    <a:cubicBezTo>
                      <a:pt x="4482" y="5974"/>
                      <a:pt x="4482" y="5974"/>
                      <a:pt x="4482" y="5974"/>
                    </a:cubicBezTo>
                    <a:cubicBezTo>
                      <a:pt x="4417" y="6327"/>
                      <a:pt x="4417" y="6327"/>
                      <a:pt x="4417" y="6327"/>
                    </a:cubicBezTo>
                    <a:lnTo>
                      <a:pt x="4545" y="6346"/>
                    </a:lnTo>
                    <a:close/>
                    <a:moveTo>
                      <a:pt x="4558" y="6348"/>
                    </a:moveTo>
                    <a:cubicBezTo>
                      <a:pt x="4607" y="6355"/>
                      <a:pt x="4607" y="6355"/>
                      <a:pt x="4607" y="6355"/>
                    </a:cubicBezTo>
                    <a:cubicBezTo>
                      <a:pt x="4630" y="6240"/>
                      <a:pt x="4654" y="6121"/>
                      <a:pt x="4677" y="6010"/>
                    </a:cubicBezTo>
                    <a:cubicBezTo>
                      <a:pt x="4623" y="6000"/>
                      <a:pt x="4623" y="6000"/>
                      <a:pt x="4623" y="6000"/>
                    </a:cubicBezTo>
                    <a:lnTo>
                      <a:pt x="4558" y="6348"/>
                    </a:lnTo>
                    <a:close/>
                    <a:moveTo>
                      <a:pt x="4560" y="6966"/>
                    </a:moveTo>
                    <a:cubicBezTo>
                      <a:pt x="4553" y="7018"/>
                      <a:pt x="4544" y="7069"/>
                      <a:pt x="4533" y="7116"/>
                    </a:cubicBezTo>
                    <a:cubicBezTo>
                      <a:pt x="4567" y="7123"/>
                      <a:pt x="4567" y="7123"/>
                      <a:pt x="4567" y="7123"/>
                    </a:cubicBezTo>
                    <a:cubicBezTo>
                      <a:pt x="4654" y="6651"/>
                      <a:pt x="4654" y="6651"/>
                      <a:pt x="4654" y="6651"/>
                    </a:cubicBezTo>
                    <a:cubicBezTo>
                      <a:pt x="4617" y="6643"/>
                      <a:pt x="4617" y="6643"/>
                      <a:pt x="4617" y="6643"/>
                    </a:cubicBezTo>
                    <a:cubicBezTo>
                      <a:pt x="4589" y="6789"/>
                      <a:pt x="4568" y="6909"/>
                      <a:pt x="4560" y="6966"/>
                    </a:cubicBezTo>
                    <a:close/>
                    <a:moveTo>
                      <a:pt x="4561" y="7229"/>
                    </a:moveTo>
                    <a:cubicBezTo>
                      <a:pt x="4690" y="7250"/>
                      <a:pt x="4690" y="7250"/>
                      <a:pt x="4690" y="7250"/>
                    </a:cubicBezTo>
                    <a:cubicBezTo>
                      <a:pt x="4706" y="7165"/>
                      <a:pt x="4706" y="7165"/>
                      <a:pt x="4706" y="7165"/>
                    </a:cubicBezTo>
                    <a:cubicBezTo>
                      <a:pt x="4578" y="7139"/>
                      <a:pt x="4578" y="7139"/>
                      <a:pt x="4578" y="7139"/>
                    </a:cubicBezTo>
                    <a:lnTo>
                      <a:pt x="4561" y="7229"/>
                    </a:lnTo>
                    <a:close/>
                    <a:moveTo>
                      <a:pt x="4708" y="7151"/>
                    </a:moveTo>
                    <a:cubicBezTo>
                      <a:pt x="4795" y="6682"/>
                      <a:pt x="4795" y="6682"/>
                      <a:pt x="4795" y="6682"/>
                    </a:cubicBezTo>
                    <a:cubicBezTo>
                      <a:pt x="4667" y="6654"/>
                      <a:pt x="4667" y="6654"/>
                      <a:pt x="4667" y="6654"/>
                    </a:cubicBezTo>
                    <a:cubicBezTo>
                      <a:pt x="4580" y="7125"/>
                      <a:pt x="4580" y="7125"/>
                      <a:pt x="4580" y="7125"/>
                    </a:cubicBezTo>
                    <a:lnTo>
                      <a:pt x="4708" y="7151"/>
                    </a:lnTo>
                    <a:close/>
                    <a:moveTo>
                      <a:pt x="5774" y="6804"/>
                    </a:moveTo>
                    <a:cubicBezTo>
                      <a:pt x="5806" y="6619"/>
                      <a:pt x="5806" y="6619"/>
                      <a:pt x="5806" y="6619"/>
                    </a:cubicBezTo>
                    <a:cubicBezTo>
                      <a:pt x="5249" y="6537"/>
                      <a:pt x="5249" y="6537"/>
                      <a:pt x="5249" y="6537"/>
                    </a:cubicBezTo>
                    <a:cubicBezTo>
                      <a:pt x="5247" y="6559"/>
                      <a:pt x="5245" y="6580"/>
                      <a:pt x="5243" y="6599"/>
                    </a:cubicBezTo>
                    <a:cubicBezTo>
                      <a:pt x="5240" y="6628"/>
                      <a:pt x="5238" y="6653"/>
                      <a:pt x="5236" y="6671"/>
                    </a:cubicBezTo>
                    <a:cubicBezTo>
                      <a:pt x="5235" y="6680"/>
                      <a:pt x="5234" y="6687"/>
                      <a:pt x="5233" y="6692"/>
                    </a:cubicBezTo>
                    <a:cubicBezTo>
                      <a:pt x="5233" y="6693"/>
                      <a:pt x="5233" y="6693"/>
                      <a:pt x="5233" y="6694"/>
                    </a:cubicBezTo>
                    <a:lnTo>
                      <a:pt x="5774" y="6804"/>
                    </a:lnTo>
                    <a:close/>
                    <a:moveTo>
                      <a:pt x="5809" y="6606"/>
                    </a:moveTo>
                    <a:cubicBezTo>
                      <a:pt x="5836" y="6447"/>
                      <a:pt x="5836" y="6447"/>
                      <a:pt x="5836" y="6447"/>
                    </a:cubicBezTo>
                    <a:cubicBezTo>
                      <a:pt x="5619" y="6411"/>
                      <a:pt x="5619" y="6411"/>
                      <a:pt x="5619" y="6411"/>
                    </a:cubicBezTo>
                    <a:cubicBezTo>
                      <a:pt x="5618" y="6412"/>
                      <a:pt x="5616" y="6413"/>
                      <a:pt x="5613" y="6414"/>
                    </a:cubicBezTo>
                    <a:cubicBezTo>
                      <a:pt x="5613" y="6414"/>
                      <a:pt x="5613" y="6414"/>
                      <a:pt x="5613" y="6414"/>
                    </a:cubicBezTo>
                    <a:cubicBezTo>
                      <a:pt x="5612" y="6414"/>
                      <a:pt x="5612" y="6414"/>
                      <a:pt x="5611" y="6413"/>
                    </a:cubicBezTo>
                    <a:cubicBezTo>
                      <a:pt x="5612" y="6410"/>
                      <a:pt x="5612" y="6410"/>
                      <a:pt x="5612" y="6410"/>
                    </a:cubicBezTo>
                    <a:cubicBezTo>
                      <a:pt x="5503" y="6391"/>
                      <a:pt x="5503" y="6391"/>
                      <a:pt x="5503" y="6391"/>
                    </a:cubicBezTo>
                    <a:cubicBezTo>
                      <a:pt x="5502" y="6393"/>
                      <a:pt x="5500" y="6394"/>
                      <a:pt x="5496" y="6395"/>
                    </a:cubicBezTo>
                    <a:cubicBezTo>
                      <a:pt x="5496" y="6395"/>
                      <a:pt x="5495" y="6395"/>
                      <a:pt x="5494" y="6395"/>
                    </a:cubicBezTo>
                    <a:cubicBezTo>
                      <a:pt x="5495" y="6390"/>
                      <a:pt x="5495" y="6390"/>
                      <a:pt x="5495" y="6390"/>
                    </a:cubicBezTo>
                    <a:cubicBezTo>
                      <a:pt x="5381" y="6371"/>
                      <a:pt x="5381" y="6371"/>
                      <a:pt x="5381" y="6371"/>
                    </a:cubicBezTo>
                    <a:cubicBezTo>
                      <a:pt x="5380" y="6372"/>
                      <a:pt x="5379" y="6373"/>
                      <a:pt x="5376" y="6374"/>
                    </a:cubicBezTo>
                    <a:cubicBezTo>
                      <a:pt x="5376" y="6374"/>
                      <a:pt x="5376" y="6374"/>
                      <a:pt x="5376" y="6374"/>
                    </a:cubicBezTo>
                    <a:cubicBezTo>
                      <a:pt x="5375" y="6374"/>
                      <a:pt x="5375" y="6373"/>
                      <a:pt x="5374" y="6373"/>
                    </a:cubicBezTo>
                    <a:cubicBezTo>
                      <a:pt x="5375" y="6370"/>
                      <a:pt x="5375" y="6370"/>
                      <a:pt x="5375" y="6370"/>
                    </a:cubicBezTo>
                    <a:cubicBezTo>
                      <a:pt x="5267" y="6352"/>
                      <a:pt x="5267" y="6352"/>
                      <a:pt x="5267" y="6352"/>
                    </a:cubicBezTo>
                    <a:cubicBezTo>
                      <a:pt x="5269" y="6338"/>
                      <a:pt x="5269" y="6338"/>
                      <a:pt x="5269" y="6338"/>
                    </a:cubicBezTo>
                    <a:cubicBezTo>
                      <a:pt x="5373" y="6356"/>
                      <a:pt x="5373" y="6356"/>
                      <a:pt x="5373" y="6356"/>
                    </a:cubicBezTo>
                    <a:cubicBezTo>
                      <a:pt x="5375" y="6348"/>
                      <a:pt x="5378" y="6334"/>
                      <a:pt x="5381" y="6318"/>
                    </a:cubicBezTo>
                    <a:cubicBezTo>
                      <a:pt x="5382" y="6311"/>
                      <a:pt x="5383" y="6304"/>
                      <a:pt x="5384" y="6297"/>
                    </a:cubicBezTo>
                    <a:cubicBezTo>
                      <a:pt x="5272" y="6277"/>
                      <a:pt x="5272" y="6277"/>
                      <a:pt x="5272" y="6277"/>
                    </a:cubicBezTo>
                    <a:cubicBezTo>
                      <a:pt x="5269" y="6311"/>
                      <a:pt x="5266" y="6346"/>
                      <a:pt x="5263" y="6382"/>
                    </a:cubicBezTo>
                    <a:cubicBezTo>
                      <a:pt x="5259" y="6431"/>
                      <a:pt x="5255" y="6479"/>
                      <a:pt x="5250" y="6523"/>
                    </a:cubicBezTo>
                    <a:lnTo>
                      <a:pt x="5809" y="6606"/>
                    </a:lnTo>
                    <a:close/>
                    <a:moveTo>
                      <a:pt x="5271" y="6131"/>
                    </a:moveTo>
                    <a:cubicBezTo>
                      <a:pt x="4899" y="6065"/>
                      <a:pt x="4899" y="6065"/>
                      <a:pt x="4899" y="6065"/>
                    </a:cubicBezTo>
                    <a:cubicBezTo>
                      <a:pt x="4877" y="6194"/>
                      <a:pt x="4877" y="6194"/>
                      <a:pt x="4877" y="6194"/>
                    </a:cubicBezTo>
                    <a:cubicBezTo>
                      <a:pt x="5260" y="6262"/>
                      <a:pt x="5260" y="6262"/>
                      <a:pt x="5260" y="6262"/>
                    </a:cubicBezTo>
                    <a:cubicBezTo>
                      <a:pt x="5264" y="6211"/>
                      <a:pt x="5268" y="6165"/>
                      <a:pt x="5271" y="6131"/>
                    </a:cubicBezTo>
                    <a:close/>
                    <a:moveTo>
                      <a:pt x="5493" y="6376"/>
                    </a:moveTo>
                    <a:cubicBezTo>
                      <a:pt x="5496" y="6368"/>
                      <a:pt x="5498" y="6355"/>
                      <a:pt x="5501" y="6339"/>
                    </a:cubicBezTo>
                    <a:cubicBezTo>
                      <a:pt x="5502" y="6333"/>
                      <a:pt x="5503" y="6326"/>
                      <a:pt x="5505" y="6318"/>
                    </a:cubicBezTo>
                    <a:cubicBezTo>
                      <a:pt x="5398" y="6300"/>
                      <a:pt x="5398" y="6300"/>
                      <a:pt x="5398" y="6300"/>
                    </a:cubicBezTo>
                    <a:cubicBezTo>
                      <a:pt x="5397" y="6309"/>
                      <a:pt x="5395" y="6319"/>
                      <a:pt x="5393" y="6327"/>
                    </a:cubicBezTo>
                    <a:cubicBezTo>
                      <a:pt x="5391" y="6340"/>
                      <a:pt x="5389" y="6350"/>
                      <a:pt x="5387" y="6357"/>
                    </a:cubicBezTo>
                    <a:cubicBezTo>
                      <a:pt x="5387" y="6357"/>
                      <a:pt x="5387" y="6358"/>
                      <a:pt x="5387" y="6358"/>
                    </a:cubicBezTo>
                    <a:lnTo>
                      <a:pt x="5493" y="6376"/>
                    </a:lnTo>
                    <a:close/>
                    <a:moveTo>
                      <a:pt x="5610" y="6395"/>
                    </a:moveTo>
                    <a:cubicBezTo>
                      <a:pt x="5612" y="6388"/>
                      <a:pt x="5615" y="6374"/>
                      <a:pt x="5618" y="6358"/>
                    </a:cubicBezTo>
                    <a:cubicBezTo>
                      <a:pt x="5619" y="6352"/>
                      <a:pt x="5620" y="6346"/>
                      <a:pt x="5621" y="6339"/>
                    </a:cubicBezTo>
                    <a:cubicBezTo>
                      <a:pt x="5518" y="6321"/>
                      <a:pt x="5518" y="6321"/>
                      <a:pt x="5518" y="6321"/>
                    </a:cubicBezTo>
                    <a:cubicBezTo>
                      <a:pt x="5517" y="6331"/>
                      <a:pt x="5515" y="6340"/>
                      <a:pt x="5513" y="6349"/>
                    </a:cubicBezTo>
                    <a:cubicBezTo>
                      <a:pt x="5511" y="6361"/>
                      <a:pt x="5509" y="6371"/>
                      <a:pt x="5507" y="6378"/>
                    </a:cubicBezTo>
                    <a:lnTo>
                      <a:pt x="5610" y="6395"/>
                    </a:lnTo>
                    <a:close/>
                    <a:moveTo>
                      <a:pt x="5728" y="6414"/>
                    </a:moveTo>
                    <a:cubicBezTo>
                      <a:pt x="5728" y="6414"/>
                      <a:pt x="5728" y="6414"/>
                      <a:pt x="5728" y="6414"/>
                    </a:cubicBezTo>
                    <a:cubicBezTo>
                      <a:pt x="5728" y="6414"/>
                      <a:pt x="5728" y="6414"/>
                      <a:pt x="5728" y="6414"/>
                    </a:cubicBezTo>
                    <a:cubicBezTo>
                      <a:pt x="5729" y="6412"/>
                      <a:pt x="5734" y="6393"/>
                      <a:pt x="5738" y="6370"/>
                    </a:cubicBezTo>
                    <a:cubicBezTo>
                      <a:pt x="5739" y="6367"/>
                      <a:pt x="5739" y="6363"/>
                      <a:pt x="5740" y="6360"/>
                    </a:cubicBezTo>
                    <a:cubicBezTo>
                      <a:pt x="5635" y="6341"/>
                      <a:pt x="5635" y="6341"/>
                      <a:pt x="5635" y="6341"/>
                    </a:cubicBezTo>
                    <a:cubicBezTo>
                      <a:pt x="5633" y="6351"/>
                      <a:pt x="5632" y="6360"/>
                      <a:pt x="5630" y="6367"/>
                    </a:cubicBezTo>
                    <a:cubicBezTo>
                      <a:pt x="5628" y="6380"/>
                      <a:pt x="5626" y="6390"/>
                      <a:pt x="5624" y="6397"/>
                    </a:cubicBezTo>
                    <a:cubicBezTo>
                      <a:pt x="5624" y="6397"/>
                      <a:pt x="5624" y="6397"/>
                      <a:pt x="5624" y="6398"/>
                    </a:cubicBezTo>
                    <a:cubicBezTo>
                      <a:pt x="5730" y="6415"/>
                      <a:pt x="5730" y="6415"/>
                      <a:pt x="5730" y="6415"/>
                    </a:cubicBezTo>
                    <a:lnTo>
                      <a:pt x="5728" y="6414"/>
                    </a:lnTo>
                    <a:close/>
                    <a:moveTo>
                      <a:pt x="5807" y="6996"/>
                    </a:moveTo>
                    <a:cubicBezTo>
                      <a:pt x="6097" y="7022"/>
                      <a:pt x="6097" y="7022"/>
                      <a:pt x="6097" y="7022"/>
                    </a:cubicBezTo>
                    <a:cubicBezTo>
                      <a:pt x="6412" y="7120"/>
                      <a:pt x="6412" y="7120"/>
                      <a:pt x="6412" y="7120"/>
                    </a:cubicBezTo>
                    <a:cubicBezTo>
                      <a:pt x="6417" y="7121"/>
                      <a:pt x="6417" y="7121"/>
                      <a:pt x="6417" y="7121"/>
                    </a:cubicBezTo>
                    <a:cubicBezTo>
                      <a:pt x="6418" y="7115"/>
                      <a:pt x="6418" y="7115"/>
                      <a:pt x="6418" y="7115"/>
                    </a:cubicBezTo>
                    <a:cubicBezTo>
                      <a:pt x="6354" y="6924"/>
                      <a:pt x="6354" y="6924"/>
                      <a:pt x="6354" y="6924"/>
                    </a:cubicBezTo>
                    <a:cubicBezTo>
                      <a:pt x="6355" y="6920"/>
                      <a:pt x="6355" y="6920"/>
                      <a:pt x="6355" y="6920"/>
                    </a:cubicBezTo>
                    <a:cubicBezTo>
                      <a:pt x="6347" y="6919"/>
                      <a:pt x="6342" y="6919"/>
                      <a:pt x="6340" y="6919"/>
                    </a:cubicBezTo>
                    <a:cubicBezTo>
                      <a:pt x="6340" y="6919"/>
                      <a:pt x="6340" y="6919"/>
                      <a:pt x="6340" y="6919"/>
                    </a:cubicBezTo>
                    <a:cubicBezTo>
                      <a:pt x="6340" y="6919"/>
                      <a:pt x="6339" y="6919"/>
                      <a:pt x="6339" y="6919"/>
                    </a:cubicBezTo>
                    <a:cubicBezTo>
                      <a:pt x="6322" y="6918"/>
                      <a:pt x="5917" y="6846"/>
                      <a:pt x="5835" y="6832"/>
                    </a:cubicBezTo>
                    <a:lnTo>
                      <a:pt x="5807" y="6996"/>
                    </a:lnTo>
                    <a:close/>
                    <a:moveTo>
                      <a:pt x="6423" y="6335"/>
                    </a:moveTo>
                    <a:cubicBezTo>
                      <a:pt x="6427" y="6293"/>
                      <a:pt x="6427" y="6293"/>
                      <a:pt x="6427" y="6293"/>
                    </a:cubicBezTo>
                    <a:cubicBezTo>
                      <a:pt x="6374" y="6288"/>
                      <a:pt x="6374" y="6288"/>
                      <a:pt x="6374" y="6288"/>
                    </a:cubicBezTo>
                    <a:cubicBezTo>
                      <a:pt x="6369" y="6391"/>
                      <a:pt x="6369" y="6391"/>
                      <a:pt x="6369" y="6391"/>
                    </a:cubicBezTo>
                    <a:cubicBezTo>
                      <a:pt x="6465" y="6399"/>
                      <a:pt x="6465" y="6399"/>
                      <a:pt x="6465" y="6399"/>
                    </a:cubicBezTo>
                    <a:cubicBezTo>
                      <a:pt x="6470" y="6339"/>
                      <a:pt x="6470" y="6339"/>
                      <a:pt x="6470" y="6339"/>
                    </a:cubicBezTo>
                    <a:lnTo>
                      <a:pt x="6423" y="6335"/>
                    </a:lnTo>
                    <a:close/>
                    <a:moveTo>
                      <a:pt x="6368" y="6404"/>
                    </a:moveTo>
                    <a:cubicBezTo>
                      <a:pt x="6362" y="6530"/>
                      <a:pt x="6362" y="6530"/>
                      <a:pt x="6362" y="6530"/>
                    </a:cubicBezTo>
                    <a:cubicBezTo>
                      <a:pt x="6498" y="6543"/>
                      <a:pt x="6498" y="6543"/>
                      <a:pt x="6498" y="6543"/>
                    </a:cubicBezTo>
                    <a:cubicBezTo>
                      <a:pt x="6528" y="6279"/>
                      <a:pt x="6528" y="6279"/>
                      <a:pt x="6528" y="6279"/>
                    </a:cubicBezTo>
                    <a:cubicBezTo>
                      <a:pt x="6375" y="6260"/>
                      <a:pt x="6375" y="6260"/>
                      <a:pt x="6375" y="6260"/>
                    </a:cubicBezTo>
                    <a:cubicBezTo>
                      <a:pt x="6375" y="6275"/>
                      <a:pt x="6375" y="6275"/>
                      <a:pt x="6375" y="6275"/>
                    </a:cubicBezTo>
                    <a:cubicBezTo>
                      <a:pt x="6441" y="6280"/>
                      <a:pt x="6441" y="6280"/>
                      <a:pt x="6441" y="6280"/>
                    </a:cubicBezTo>
                    <a:cubicBezTo>
                      <a:pt x="6437" y="6323"/>
                      <a:pt x="6437" y="6323"/>
                      <a:pt x="6437" y="6323"/>
                    </a:cubicBezTo>
                    <a:cubicBezTo>
                      <a:pt x="6484" y="6327"/>
                      <a:pt x="6484" y="6327"/>
                      <a:pt x="6484" y="6327"/>
                    </a:cubicBezTo>
                    <a:cubicBezTo>
                      <a:pt x="6477" y="6413"/>
                      <a:pt x="6477" y="6413"/>
                      <a:pt x="6477" y="6413"/>
                    </a:cubicBezTo>
                    <a:lnTo>
                      <a:pt x="6368" y="6404"/>
                    </a:lnTo>
                    <a:close/>
                    <a:moveTo>
                      <a:pt x="6745" y="6371"/>
                    </a:moveTo>
                    <a:cubicBezTo>
                      <a:pt x="6749" y="6328"/>
                      <a:pt x="6749" y="6328"/>
                      <a:pt x="6749" y="6328"/>
                    </a:cubicBezTo>
                    <a:cubicBezTo>
                      <a:pt x="6709" y="6325"/>
                      <a:pt x="6709" y="6325"/>
                      <a:pt x="6709" y="6325"/>
                    </a:cubicBezTo>
                    <a:cubicBezTo>
                      <a:pt x="6696" y="6427"/>
                      <a:pt x="6696" y="6427"/>
                      <a:pt x="6696" y="6427"/>
                    </a:cubicBezTo>
                    <a:cubicBezTo>
                      <a:pt x="6787" y="6434"/>
                      <a:pt x="6787" y="6434"/>
                      <a:pt x="6787" y="6434"/>
                    </a:cubicBezTo>
                    <a:cubicBezTo>
                      <a:pt x="6792" y="6375"/>
                      <a:pt x="6792" y="6375"/>
                      <a:pt x="6792" y="6375"/>
                    </a:cubicBezTo>
                    <a:lnTo>
                      <a:pt x="6745" y="6371"/>
                    </a:lnTo>
                    <a:close/>
                    <a:moveTo>
                      <a:pt x="6699" y="6299"/>
                    </a:moveTo>
                    <a:cubicBezTo>
                      <a:pt x="6542" y="6280"/>
                      <a:pt x="6542" y="6280"/>
                      <a:pt x="6542" y="6280"/>
                    </a:cubicBezTo>
                    <a:cubicBezTo>
                      <a:pt x="6521" y="6463"/>
                      <a:pt x="6521" y="6463"/>
                      <a:pt x="6521" y="6463"/>
                    </a:cubicBezTo>
                    <a:cubicBezTo>
                      <a:pt x="6558" y="6469"/>
                      <a:pt x="6684" y="6488"/>
                      <a:pt x="6810" y="6508"/>
                    </a:cubicBezTo>
                    <a:cubicBezTo>
                      <a:pt x="6813" y="6509"/>
                      <a:pt x="6815" y="6509"/>
                      <a:pt x="6817" y="6509"/>
                    </a:cubicBezTo>
                    <a:cubicBezTo>
                      <a:pt x="6820" y="6504"/>
                      <a:pt x="6820" y="6504"/>
                      <a:pt x="6820" y="6504"/>
                    </a:cubicBezTo>
                    <a:cubicBezTo>
                      <a:pt x="6820" y="6498"/>
                      <a:pt x="6820" y="6498"/>
                      <a:pt x="6820" y="6498"/>
                    </a:cubicBezTo>
                    <a:cubicBezTo>
                      <a:pt x="6820" y="6504"/>
                      <a:pt x="6820" y="6504"/>
                      <a:pt x="6820" y="6504"/>
                    </a:cubicBezTo>
                    <a:cubicBezTo>
                      <a:pt x="6816" y="6500"/>
                      <a:pt x="6816" y="6500"/>
                      <a:pt x="6816" y="6500"/>
                    </a:cubicBezTo>
                    <a:cubicBezTo>
                      <a:pt x="6816" y="6500"/>
                      <a:pt x="6816" y="6500"/>
                      <a:pt x="6816" y="6500"/>
                    </a:cubicBezTo>
                    <a:cubicBezTo>
                      <a:pt x="6821" y="6491"/>
                      <a:pt x="6833" y="6439"/>
                      <a:pt x="6842" y="6391"/>
                    </a:cubicBezTo>
                    <a:cubicBezTo>
                      <a:pt x="6847" y="6363"/>
                      <a:pt x="6852" y="6335"/>
                      <a:pt x="6856" y="6318"/>
                    </a:cubicBezTo>
                    <a:cubicBezTo>
                      <a:pt x="6713" y="6301"/>
                      <a:pt x="6713" y="6301"/>
                      <a:pt x="6713" y="6301"/>
                    </a:cubicBezTo>
                    <a:cubicBezTo>
                      <a:pt x="6711" y="6312"/>
                      <a:pt x="6711" y="6312"/>
                      <a:pt x="6711" y="6312"/>
                    </a:cubicBezTo>
                    <a:cubicBezTo>
                      <a:pt x="6763" y="6316"/>
                      <a:pt x="6763" y="6316"/>
                      <a:pt x="6763" y="6316"/>
                    </a:cubicBezTo>
                    <a:cubicBezTo>
                      <a:pt x="6759" y="6359"/>
                      <a:pt x="6759" y="6359"/>
                      <a:pt x="6759" y="6359"/>
                    </a:cubicBezTo>
                    <a:cubicBezTo>
                      <a:pt x="6806" y="6363"/>
                      <a:pt x="6806" y="6363"/>
                      <a:pt x="6806" y="6363"/>
                    </a:cubicBezTo>
                    <a:cubicBezTo>
                      <a:pt x="6799" y="6448"/>
                      <a:pt x="6799" y="6448"/>
                      <a:pt x="6799" y="6448"/>
                    </a:cubicBezTo>
                    <a:cubicBezTo>
                      <a:pt x="6694" y="6440"/>
                      <a:pt x="6694" y="6440"/>
                      <a:pt x="6694" y="6440"/>
                    </a:cubicBezTo>
                    <a:cubicBezTo>
                      <a:pt x="6688" y="6484"/>
                      <a:pt x="6688" y="6484"/>
                      <a:pt x="6688" y="6484"/>
                    </a:cubicBezTo>
                    <a:cubicBezTo>
                      <a:pt x="6674" y="6483"/>
                      <a:pt x="6674" y="6483"/>
                      <a:pt x="6674" y="6483"/>
                    </a:cubicBezTo>
                    <a:cubicBezTo>
                      <a:pt x="6680" y="6439"/>
                      <a:pt x="6680" y="6439"/>
                      <a:pt x="6680" y="6439"/>
                    </a:cubicBezTo>
                    <a:cubicBezTo>
                      <a:pt x="6589" y="6432"/>
                      <a:pt x="6589" y="6432"/>
                      <a:pt x="6589" y="6432"/>
                    </a:cubicBezTo>
                    <a:cubicBezTo>
                      <a:pt x="6590" y="6425"/>
                      <a:pt x="6590" y="6425"/>
                      <a:pt x="6590" y="6425"/>
                    </a:cubicBezTo>
                    <a:cubicBezTo>
                      <a:pt x="6596" y="6346"/>
                      <a:pt x="6596" y="6346"/>
                      <a:pt x="6596" y="6346"/>
                    </a:cubicBezTo>
                    <a:cubicBezTo>
                      <a:pt x="6643" y="6350"/>
                      <a:pt x="6643" y="6350"/>
                      <a:pt x="6643" y="6350"/>
                    </a:cubicBezTo>
                    <a:cubicBezTo>
                      <a:pt x="6646" y="6307"/>
                      <a:pt x="6646" y="6307"/>
                      <a:pt x="6646" y="6307"/>
                    </a:cubicBezTo>
                    <a:cubicBezTo>
                      <a:pt x="6697" y="6311"/>
                      <a:pt x="6697" y="6311"/>
                      <a:pt x="6697" y="6311"/>
                    </a:cubicBezTo>
                    <a:lnTo>
                      <a:pt x="6699" y="6299"/>
                    </a:lnTo>
                    <a:close/>
                    <a:moveTo>
                      <a:pt x="6658" y="6321"/>
                    </a:moveTo>
                    <a:cubicBezTo>
                      <a:pt x="6655" y="6364"/>
                      <a:pt x="6655" y="6364"/>
                      <a:pt x="6655" y="6364"/>
                    </a:cubicBezTo>
                    <a:cubicBezTo>
                      <a:pt x="6608" y="6360"/>
                      <a:pt x="6608" y="6360"/>
                      <a:pt x="6608" y="6360"/>
                    </a:cubicBezTo>
                    <a:cubicBezTo>
                      <a:pt x="6604" y="6420"/>
                      <a:pt x="6604" y="6420"/>
                      <a:pt x="6604" y="6420"/>
                    </a:cubicBezTo>
                    <a:cubicBezTo>
                      <a:pt x="6682" y="6426"/>
                      <a:pt x="6682" y="6426"/>
                      <a:pt x="6682" y="6426"/>
                    </a:cubicBezTo>
                    <a:cubicBezTo>
                      <a:pt x="6695" y="6324"/>
                      <a:pt x="6695" y="6324"/>
                      <a:pt x="6695" y="6324"/>
                    </a:cubicBezTo>
                    <a:lnTo>
                      <a:pt x="6658" y="6321"/>
                    </a:lnTo>
                    <a:close/>
                    <a:moveTo>
                      <a:pt x="6486" y="6769"/>
                    </a:moveTo>
                    <a:cubicBezTo>
                      <a:pt x="6828" y="6825"/>
                      <a:pt x="6828" y="6825"/>
                      <a:pt x="6828" y="6825"/>
                    </a:cubicBezTo>
                    <a:cubicBezTo>
                      <a:pt x="6853" y="6690"/>
                      <a:pt x="6853" y="6690"/>
                      <a:pt x="6853" y="6690"/>
                    </a:cubicBezTo>
                    <a:cubicBezTo>
                      <a:pt x="6501" y="6632"/>
                      <a:pt x="6501" y="6632"/>
                      <a:pt x="6501" y="6632"/>
                    </a:cubicBezTo>
                    <a:lnTo>
                      <a:pt x="6486" y="6769"/>
                    </a:lnTo>
                    <a:close/>
                    <a:moveTo>
                      <a:pt x="6469" y="6780"/>
                    </a:moveTo>
                    <a:cubicBezTo>
                      <a:pt x="6404" y="6789"/>
                      <a:pt x="6404" y="6789"/>
                      <a:pt x="6404" y="6789"/>
                    </a:cubicBezTo>
                    <a:cubicBezTo>
                      <a:pt x="6372" y="6908"/>
                      <a:pt x="6372" y="6908"/>
                      <a:pt x="6372" y="6908"/>
                    </a:cubicBezTo>
                    <a:cubicBezTo>
                      <a:pt x="6448" y="6919"/>
                      <a:pt x="6639" y="6947"/>
                      <a:pt x="6802" y="6971"/>
                    </a:cubicBezTo>
                    <a:cubicBezTo>
                      <a:pt x="6826" y="6839"/>
                      <a:pt x="6826" y="6839"/>
                      <a:pt x="6826" y="6839"/>
                    </a:cubicBezTo>
                    <a:lnTo>
                      <a:pt x="6469" y="6780"/>
                    </a:lnTo>
                    <a:close/>
                    <a:moveTo>
                      <a:pt x="6779" y="7168"/>
                    </a:moveTo>
                    <a:cubicBezTo>
                      <a:pt x="6909" y="7185"/>
                      <a:pt x="6909" y="7185"/>
                      <a:pt x="6909" y="7185"/>
                    </a:cubicBezTo>
                    <a:cubicBezTo>
                      <a:pt x="6942" y="7006"/>
                      <a:pt x="6942" y="7006"/>
                      <a:pt x="6942" y="7006"/>
                    </a:cubicBezTo>
                    <a:cubicBezTo>
                      <a:pt x="6904" y="7000"/>
                      <a:pt x="6860" y="6994"/>
                      <a:pt x="6812" y="6986"/>
                    </a:cubicBezTo>
                    <a:lnTo>
                      <a:pt x="6779" y="7168"/>
                    </a:lnTo>
                    <a:close/>
                    <a:moveTo>
                      <a:pt x="6944" y="6992"/>
                    </a:moveTo>
                    <a:cubicBezTo>
                      <a:pt x="6968" y="6862"/>
                      <a:pt x="6968" y="6862"/>
                      <a:pt x="6968" y="6862"/>
                    </a:cubicBezTo>
                    <a:cubicBezTo>
                      <a:pt x="6839" y="6841"/>
                      <a:pt x="6839" y="6841"/>
                      <a:pt x="6839" y="6841"/>
                    </a:cubicBezTo>
                    <a:cubicBezTo>
                      <a:pt x="6815" y="6973"/>
                      <a:pt x="6815" y="6973"/>
                      <a:pt x="6815" y="6973"/>
                    </a:cubicBezTo>
                    <a:cubicBezTo>
                      <a:pt x="6862" y="6980"/>
                      <a:pt x="6907" y="6986"/>
                      <a:pt x="6944" y="6992"/>
                    </a:cubicBezTo>
                    <a:close/>
                    <a:moveTo>
                      <a:pt x="6971" y="6848"/>
                    </a:moveTo>
                    <a:cubicBezTo>
                      <a:pt x="6995" y="6714"/>
                      <a:pt x="6995" y="6714"/>
                      <a:pt x="6995" y="6714"/>
                    </a:cubicBezTo>
                    <a:cubicBezTo>
                      <a:pt x="6866" y="6693"/>
                      <a:pt x="6866" y="6693"/>
                      <a:pt x="6866" y="6693"/>
                    </a:cubicBezTo>
                    <a:cubicBezTo>
                      <a:pt x="6841" y="6827"/>
                      <a:pt x="6841" y="6827"/>
                      <a:pt x="6841" y="6827"/>
                    </a:cubicBezTo>
                    <a:lnTo>
                      <a:pt x="6971" y="6848"/>
                    </a:lnTo>
                    <a:close/>
                    <a:moveTo>
                      <a:pt x="6998" y="6701"/>
                    </a:moveTo>
                    <a:cubicBezTo>
                      <a:pt x="7005" y="6658"/>
                      <a:pt x="7005" y="6658"/>
                      <a:pt x="7005" y="6658"/>
                    </a:cubicBezTo>
                    <a:cubicBezTo>
                      <a:pt x="6876" y="6636"/>
                      <a:pt x="6876" y="6636"/>
                      <a:pt x="6876" y="6636"/>
                    </a:cubicBezTo>
                    <a:cubicBezTo>
                      <a:pt x="6868" y="6679"/>
                      <a:pt x="6868" y="6679"/>
                      <a:pt x="6868" y="6679"/>
                    </a:cubicBezTo>
                    <a:lnTo>
                      <a:pt x="6998" y="6701"/>
                    </a:lnTo>
                    <a:close/>
                    <a:moveTo>
                      <a:pt x="6984" y="6850"/>
                    </a:moveTo>
                    <a:cubicBezTo>
                      <a:pt x="7050" y="6861"/>
                      <a:pt x="7050" y="6861"/>
                      <a:pt x="7050" y="6861"/>
                    </a:cubicBezTo>
                    <a:cubicBezTo>
                      <a:pt x="7069" y="6727"/>
                      <a:pt x="7069" y="6727"/>
                      <a:pt x="7069" y="6727"/>
                    </a:cubicBezTo>
                    <a:cubicBezTo>
                      <a:pt x="7008" y="6716"/>
                      <a:pt x="7008" y="6716"/>
                      <a:pt x="7008" y="6716"/>
                    </a:cubicBezTo>
                    <a:lnTo>
                      <a:pt x="6984" y="6850"/>
                    </a:lnTo>
                    <a:close/>
                    <a:moveTo>
                      <a:pt x="7071" y="6713"/>
                    </a:moveTo>
                    <a:cubicBezTo>
                      <a:pt x="7093" y="6568"/>
                      <a:pt x="7093" y="6568"/>
                      <a:pt x="7093" y="6568"/>
                    </a:cubicBezTo>
                    <a:cubicBezTo>
                      <a:pt x="7007" y="6553"/>
                      <a:pt x="6593" y="6488"/>
                      <a:pt x="6519" y="6477"/>
                    </a:cubicBezTo>
                    <a:cubicBezTo>
                      <a:pt x="6503" y="6618"/>
                      <a:pt x="6503" y="6618"/>
                      <a:pt x="6503" y="6618"/>
                    </a:cubicBezTo>
                    <a:cubicBezTo>
                      <a:pt x="6855" y="6677"/>
                      <a:pt x="6855" y="6677"/>
                      <a:pt x="6855" y="6677"/>
                    </a:cubicBezTo>
                    <a:cubicBezTo>
                      <a:pt x="6865" y="6621"/>
                      <a:pt x="6865" y="6621"/>
                      <a:pt x="6865" y="6621"/>
                    </a:cubicBezTo>
                    <a:cubicBezTo>
                      <a:pt x="7021" y="6647"/>
                      <a:pt x="7021" y="6647"/>
                      <a:pt x="7021" y="6647"/>
                    </a:cubicBezTo>
                    <a:cubicBezTo>
                      <a:pt x="7020" y="6653"/>
                      <a:pt x="7020" y="6653"/>
                      <a:pt x="7020" y="6653"/>
                    </a:cubicBezTo>
                    <a:cubicBezTo>
                      <a:pt x="7011" y="6703"/>
                      <a:pt x="7011" y="6703"/>
                      <a:pt x="7011" y="6703"/>
                    </a:cubicBezTo>
                    <a:lnTo>
                      <a:pt x="7071" y="6713"/>
                    </a:lnTo>
                    <a:close/>
                    <a:moveTo>
                      <a:pt x="7013" y="6104"/>
                    </a:moveTo>
                    <a:cubicBezTo>
                      <a:pt x="6882" y="6090"/>
                      <a:pt x="6882" y="6090"/>
                      <a:pt x="6882" y="6090"/>
                    </a:cubicBezTo>
                    <a:cubicBezTo>
                      <a:pt x="6869" y="6216"/>
                      <a:pt x="6869" y="6216"/>
                      <a:pt x="6869" y="6216"/>
                    </a:cubicBezTo>
                    <a:cubicBezTo>
                      <a:pt x="7000" y="6230"/>
                      <a:pt x="7000" y="6230"/>
                      <a:pt x="7000" y="6230"/>
                    </a:cubicBezTo>
                    <a:lnTo>
                      <a:pt x="7013" y="6104"/>
                    </a:lnTo>
                    <a:close/>
                    <a:moveTo>
                      <a:pt x="6868" y="6229"/>
                    </a:moveTo>
                    <a:cubicBezTo>
                      <a:pt x="6866" y="6253"/>
                      <a:pt x="6866" y="6253"/>
                      <a:pt x="6866" y="6253"/>
                    </a:cubicBezTo>
                    <a:cubicBezTo>
                      <a:pt x="6997" y="6269"/>
                      <a:pt x="6997" y="6269"/>
                      <a:pt x="6997" y="6269"/>
                    </a:cubicBezTo>
                    <a:cubicBezTo>
                      <a:pt x="6999" y="6243"/>
                      <a:pt x="6999" y="6243"/>
                      <a:pt x="6999" y="6243"/>
                    </a:cubicBezTo>
                    <a:lnTo>
                      <a:pt x="6868" y="6229"/>
                    </a:lnTo>
                    <a:close/>
                    <a:moveTo>
                      <a:pt x="6868" y="6089"/>
                    </a:moveTo>
                    <a:cubicBezTo>
                      <a:pt x="6725" y="6073"/>
                      <a:pt x="6725" y="6073"/>
                      <a:pt x="6725" y="6073"/>
                    </a:cubicBezTo>
                    <a:cubicBezTo>
                      <a:pt x="6713" y="6199"/>
                      <a:pt x="6713" y="6199"/>
                      <a:pt x="6713" y="6199"/>
                    </a:cubicBezTo>
                    <a:cubicBezTo>
                      <a:pt x="6855" y="6215"/>
                      <a:pt x="6855" y="6215"/>
                      <a:pt x="6855" y="6215"/>
                    </a:cubicBezTo>
                    <a:lnTo>
                      <a:pt x="6868" y="6089"/>
                    </a:lnTo>
                    <a:close/>
                    <a:moveTo>
                      <a:pt x="6711" y="6212"/>
                    </a:moveTo>
                    <a:cubicBezTo>
                      <a:pt x="6709" y="6234"/>
                      <a:pt x="6709" y="6234"/>
                      <a:pt x="6709" y="6234"/>
                    </a:cubicBezTo>
                    <a:cubicBezTo>
                      <a:pt x="6852" y="6251"/>
                      <a:pt x="6852" y="6251"/>
                      <a:pt x="6852" y="6251"/>
                    </a:cubicBezTo>
                    <a:cubicBezTo>
                      <a:pt x="6854" y="6228"/>
                      <a:pt x="6854" y="6228"/>
                      <a:pt x="6854" y="6228"/>
                    </a:cubicBezTo>
                    <a:lnTo>
                      <a:pt x="6711" y="6212"/>
                    </a:lnTo>
                    <a:close/>
                    <a:moveTo>
                      <a:pt x="6711" y="6072"/>
                    </a:moveTo>
                    <a:cubicBezTo>
                      <a:pt x="6572" y="6057"/>
                      <a:pt x="6572" y="6057"/>
                      <a:pt x="6572" y="6057"/>
                    </a:cubicBezTo>
                    <a:cubicBezTo>
                      <a:pt x="6559" y="6183"/>
                      <a:pt x="6559" y="6183"/>
                      <a:pt x="6559" y="6183"/>
                    </a:cubicBezTo>
                    <a:cubicBezTo>
                      <a:pt x="6699" y="6198"/>
                      <a:pt x="6699" y="6198"/>
                      <a:pt x="6699" y="6198"/>
                    </a:cubicBezTo>
                    <a:lnTo>
                      <a:pt x="6711" y="6072"/>
                    </a:lnTo>
                    <a:close/>
                    <a:moveTo>
                      <a:pt x="6558" y="6196"/>
                    </a:moveTo>
                    <a:cubicBezTo>
                      <a:pt x="6556" y="6216"/>
                      <a:pt x="6556" y="6216"/>
                      <a:pt x="6556" y="6216"/>
                    </a:cubicBezTo>
                    <a:cubicBezTo>
                      <a:pt x="6695" y="6232"/>
                      <a:pt x="6695" y="6232"/>
                      <a:pt x="6695" y="6232"/>
                    </a:cubicBezTo>
                    <a:cubicBezTo>
                      <a:pt x="6697" y="6211"/>
                      <a:pt x="6697" y="6211"/>
                      <a:pt x="6697" y="6211"/>
                    </a:cubicBezTo>
                    <a:lnTo>
                      <a:pt x="6558" y="6196"/>
                    </a:lnTo>
                    <a:close/>
                    <a:moveTo>
                      <a:pt x="6558" y="6055"/>
                    </a:moveTo>
                    <a:cubicBezTo>
                      <a:pt x="6427" y="6041"/>
                      <a:pt x="6427" y="6041"/>
                      <a:pt x="6427" y="6041"/>
                    </a:cubicBezTo>
                    <a:cubicBezTo>
                      <a:pt x="6414" y="6167"/>
                      <a:pt x="6414" y="6167"/>
                      <a:pt x="6414" y="6167"/>
                    </a:cubicBezTo>
                    <a:cubicBezTo>
                      <a:pt x="6545" y="6181"/>
                      <a:pt x="6545" y="6181"/>
                      <a:pt x="6545" y="6181"/>
                    </a:cubicBezTo>
                    <a:lnTo>
                      <a:pt x="6558" y="6055"/>
                    </a:lnTo>
                    <a:close/>
                    <a:moveTo>
                      <a:pt x="6413" y="6180"/>
                    </a:moveTo>
                    <a:cubicBezTo>
                      <a:pt x="6411" y="6198"/>
                      <a:pt x="6411" y="6198"/>
                      <a:pt x="6411" y="6198"/>
                    </a:cubicBezTo>
                    <a:cubicBezTo>
                      <a:pt x="6542" y="6214"/>
                      <a:pt x="6542" y="6214"/>
                      <a:pt x="6542" y="6214"/>
                    </a:cubicBezTo>
                    <a:cubicBezTo>
                      <a:pt x="6544" y="6195"/>
                      <a:pt x="6544" y="6195"/>
                      <a:pt x="6544" y="6195"/>
                    </a:cubicBezTo>
                    <a:lnTo>
                      <a:pt x="6413" y="6180"/>
                    </a:lnTo>
                    <a:close/>
                    <a:moveTo>
                      <a:pt x="6413" y="6040"/>
                    </a:moveTo>
                    <a:cubicBezTo>
                      <a:pt x="6282" y="6026"/>
                      <a:pt x="6282" y="6026"/>
                      <a:pt x="6282" y="6026"/>
                    </a:cubicBezTo>
                    <a:cubicBezTo>
                      <a:pt x="6270" y="6152"/>
                      <a:pt x="6270" y="6152"/>
                      <a:pt x="6270" y="6152"/>
                    </a:cubicBezTo>
                    <a:cubicBezTo>
                      <a:pt x="6400" y="6166"/>
                      <a:pt x="6400" y="6166"/>
                      <a:pt x="6400" y="6166"/>
                    </a:cubicBezTo>
                    <a:lnTo>
                      <a:pt x="6413" y="6040"/>
                    </a:lnTo>
                    <a:close/>
                    <a:moveTo>
                      <a:pt x="6268" y="6165"/>
                    </a:moveTo>
                    <a:cubicBezTo>
                      <a:pt x="6267" y="6181"/>
                      <a:pt x="6267" y="6181"/>
                      <a:pt x="6267" y="6181"/>
                    </a:cubicBezTo>
                    <a:cubicBezTo>
                      <a:pt x="6397" y="6197"/>
                      <a:pt x="6397" y="6197"/>
                      <a:pt x="6397" y="6197"/>
                    </a:cubicBezTo>
                    <a:cubicBezTo>
                      <a:pt x="6399" y="6179"/>
                      <a:pt x="6399" y="6179"/>
                      <a:pt x="6399" y="6179"/>
                    </a:cubicBezTo>
                    <a:lnTo>
                      <a:pt x="6268" y="6165"/>
                    </a:lnTo>
                    <a:close/>
                    <a:moveTo>
                      <a:pt x="6361" y="6274"/>
                    </a:moveTo>
                    <a:cubicBezTo>
                      <a:pt x="6362" y="6259"/>
                      <a:pt x="6362" y="6259"/>
                      <a:pt x="6362" y="6259"/>
                    </a:cubicBezTo>
                    <a:cubicBezTo>
                      <a:pt x="6220" y="6242"/>
                      <a:pt x="6220" y="6242"/>
                      <a:pt x="6220" y="6242"/>
                    </a:cubicBezTo>
                    <a:cubicBezTo>
                      <a:pt x="6219" y="6269"/>
                      <a:pt x="6219" y="6318"/>
                      <a:pt x="6218" y="6367"/>
                    </a:cubicBezTo>
                    <a:cubicBezTo>
                      <a:pt x="6217" y="6404"/>
                      <a:pt x="6215" y="6441"/>
                      <a:pt x="6214" y="6469"/>
                    </a:cubicBezTo>
                    <a:cubicBezTo>
                      <a:pt x="6213" y="6483"/>
                      <a:pt x="6212" y="6494"/>
                      <a:pt x="6211" y="6502"/>
                    </a:cubicBezTo>
                    <a:cubicBezTo>
                      <a:pt x="6211" y="6507"/>
                      <a:pt x="6210" y="6510"/>
                      <a:pt x="6209" y="6513"/>
                    </a:cubicBezTo>
                    <a:cubicBezTo>
                      <a:pt x="6209" y="6513"/>
                      <a:pt x="6209" y="6513"/>
                      <a:pt x="6209" y="6514"/>
                    </a:cubicBezTo>
                    <a:cubicBezTo>
                      <a:pt x="6348" y="6528"/>
                      <a:pt x="6348" y="6528"/>
                      <a:pt x="6348" y="6528"/>
                    </a:cubicBezTo>
                    <a:cubicBezTo>
                      <a:pt x="6354" y="6403"/>
                      <a:pt x="6354" y="6403"/>
                      <a:pt x="6354" y="6403"/>
                    </a:cubicBezTo>
                    <a:cubicBezTo>
                      <a:pt x="6267" y="6397"/>
                      <a:pt x="6267" y="6397"/>
                      <a:pt x="6267" y="6397"/>
                    </a:cubicBezTo>
                    <a:cubicBezTo>
                      <a:pt x="6268" y="6390"/>
                      <a:pt x="6268" y="6390"/>
                      <a:pt x="6268" y="6390"/>
                    </a:cubicBezTo>
                    <a:cubicBezTo>
                      <a:pt x="6274" y="6311"/>
                      <a:pt x="6274" y="6311"/>
                      <a:pt x="6274" y="6311"/>
                    </a:cubicBezTo>
                    <a:cubicBezTo>
                      <a:pt x="6321" y="6314"/>
                      <a:pt x="6321" y="6314"/>
                      <a:pt x="6321" y="6314"/>
                    </a:cubicBezTo>
                    <a:cubicBezTo>
                      <a:pt x="6324" y="6271"/>
                      <a:pt x="6324" y="6271"/>
                      <a:pt x="6324" y="6271"/>
                    </a:cubicBezTo>
                    <a:lnTo>
                      <a:pt x="6361" y="6274"/>
                    </a:lnTo>
                    <a:close/>
                    <a:moveTo>
                      <a:pt x="6336" y="6285"/>
                    </a:moveTo>
                    <a:cubicBezTo>
                      <a:pt x="6333" y="6328"/>
                      <a:pt x="6333" y="6328"/>
                      <a:pt x="6333" y="6328"/>
                    </a:cubicBezTo>
                    <a:cubicBezTo>
                      <a:pt x="6286" y="6325"/>
                      <a:pt x="6286" y="6325"/>
                      <a:pt x="6286" y="6325"/>
                    </a:cubicBezTo>
                    <a:cubicBezTo>
                      <a:pt x="6282" y="6384"/>
                      <a:pt x="6282" y="6384"/>
                      <a:pt x="6282" y="6384"/>
                    </a:cubicBezTo>
                    <a:cubicBezTo>
                      <a:pt x="6355" y="6390"/>
                      <a:pt x="6355" y="6390"/>
                      <a:pt x="6355" y="6390"/>
                    </a:cubicBezTo>
                    <a:cubicBezTo>
                      <a:pt x="6360" y="6287"/>
                      <a:pt x="6360" y="6287"/>
                      <a:pt x="6360" y="6287"/>
                    </a:cubicBezTo>
                    <a:lnTo>
                      <a:pt x="6336" y="6285"/>
                    </a:lnTo>
                    <a:close/>
                    <a:moveTo>
                      <a:pt x="6268" y="6024"/>
                    </a:moveTo>
                    <a:cubicBezTo>
                      <a:pt x="6132" y="6010"/>
                      <a:pt x="6132" y="6010"/>
                      <a:pt x="6132" y="6010"/>
                    </a:cubicBezTo>
                    <a:cubicBezTo>
                      <a:pt x="6119" y="6136"/>
                      <a:pt x="6119" y="6136"/>
                      <a:pt x="6119" y="6136"/>
                    </a:cubicBezTo>
                    <a:cubicBezTo>
                      <a:pt x="6256" y="6150"/>
                      <a:pt x="6256" y="6150"/>
                      <a:pt x="6256" y="6150"/>
                    </a:cubicBezTo>
                    <a:lnTo>
                      <a:pt x="6268" y="6024"/>
                    </a:lnTo>
                    <a:close/>
                    <a:moveTo>
                      <a:pt x="6118" y="6149"/>
                    </a:moveTo>
                    <a:cubicBezTo>
                      <a:pt x="6116" y="6163"/>
                      <a:pt x="6116" y="6163"/>
                      <a:pt x="6116" y="6163"/>
                    </a:cubicBezTo>
                    <a:cubicBezTo>
                      <a:pt x="6253" y="6180"/>
                      <a:pt x="6253" y="6180"/>
                      <a:pt x="6253" y="6180"/>
                    </a:cubicBezTo>
                    <a:cubicBezTo>
                      <a:pt x="6254" y="6163"/>
                      <a:pt x="6254" y="6163"/>
                      <a:pt x="6254" y="6163"/>
                    </a:cubicBezTo>
                    <a:lnTo>
                      <a:pt x="6118" y="6149"/>
                    </a:lnTo>
                    <a:close/>
                    <a:moveTo>
                      <a:pt x="6118" y="6008"/>
                    </a:moveTo>
                    <a:cubicBezTo>
                      <a:pt x="6005" y="5996"/>
                      <a:pt x="6005" y="5996"/>
                      <a:pt x="6005" y="5996"/>
                    </a:cubicBezTo>
                    <a:cubicBezTo>
                      <a:pt x="5990" y="6122"/>
                      <a:pt x="5990" y="6122"/>
                      <a:pt x="5990" y="6122"/>
                    </a:cubicBezTo>
                    <a:cubicBezTo>
                      <a:pt x="6105" y="6134"/>
                      <a:pt x="6105" y="6134"/>
                      <a:pt x="6105" y="6134"/>
                    </a:cubicBezTo>
                    <a:lnTo>
                      <a:pt x="6118" y="6008"/>
                    </a:lnTo>
                    <a:close/>
                    <a:moveTo>
                      <a:pt x="6202" y="6510"/>
                    </a:moveTo>
                    <a:cubicBezTo>
                      <a:pt x="6202" y="6508"/>
                      <a:pt x="6202" y="6508"/>
                      <a:pt x="6202" y="6508"/>
                    </a:cubicBezTo>
                    <a:cubicBezTo>
                      <a:pt x="6202" y="6507"/>
                      <a:pt x="6202" y="6507"/>
                      <a:pt x="6202" y="6507"/>
                    </a:cubicBezTo>
                    <a:lnTo>
                      <a:pt x="6202" y="6510"/>
                    </a:lnTo>
                    <a:close/>
                    <a:moveTo>
                      <a:pt x="5901" y="6456"/>
                    </a:moveTo>
                    <a:cubicBezTo>
                      <a:pt x="5873" y="6615"/>
                      <a:pt x="5873" y="6615"/>
                      <a:pt x="5873" y="6615"/>
                    </a:cubicBezTo>
                    <a:cubicBezTo>
                      <a:pt x="6467" y="6695"/>
                      <a:pt x="6467" y="6695"/>
                      <a:pt x="6467" y="6695"/>
                    </a:cubicBezTo>
                    <a:cubicBezTo>
                      <a:pt x="6465" y="6709"/>
                      <a:pt x="6465" y="6709"/>
                      <a:pt x="6465" y="6709"/>
                    </a:cubicBezTo>
                    <a:cubicBezTo>
                      <a:pt x="5871" y="6628"/>
                      <a:pt x="5871" y="6628"/>
                      <a:pt x="5871" y="6628"/>
                    </a:cubicBezTo>
                    <a:cubicBezTo>
                      <a:pt x="5838" y="6817"/>
                      <a:pt x="5838" y="6817"/>
                      <a:pt x="5838" y="6817"/>
                    </a:cubicBezTo>
                    <a:cubicBezTo>
                      <a:pt x="5845" y="6819"/>
                      <a:pt x="5845" y="6819"/>
                      <a:pt x="5845" y="6819"/>
                    </a:cubicBezTo>
                    <a:cubicBezTo>
                      <a:pt x="5845" y="6819"/>
                      <a:pt x="5845" y="6819"/>
                      <a:pt x="5845" y="6819"/>
                    </a:cubicBezTo>
                    <a:cubicBezTo>
                      <a:pt x="5886" y="6827"/>
                      <a:pt x="5980" y="6843"/>
                      <a:pt x="6076" y="6860"/>
                    </a:cubicBezTo>
                    <a:cubicBezTo>
                      <a:pt x="6199" y="6882"/>
                      <a:pt x="6326" y="6904"/>
                      <a:pt x="6338" y="6905"/>
                    </a:cubicBezTo>
                    <a:cubicBezTo>
                      <a:pt x="6339" y="6904"/>
                      <a:pt x="6339" y="6905"/>
                      <a:pt x="6339" y="6905"/>
                    </a:cubicBezTo>
                    <a:cubicBezTo>
                      <a:pt x="6340" y="6905"/>
                      <a:pt x="6340" y="6905"/>
                      <a:pt x="6340" y="6905"/>
                    </a:cubicBezTo>
                    <a:cubicBezTo>
                      <a:pt x="6342" y="6905"/>
                      <a:pt x="6348" y="6905"/>
                      <a:pt x="6358" y="6907"/>
                    </a:cubicBezTo>
                    <a:cubicBezTo>
                      <a:pt x="6392" y="6776"/>
                      <a:pt x="6392" y="6776"/>
                      <a:pt x="6392" y="6776"/>
                    </a:cubicBezTo>
                    <a:cubicBezTo>
                      <a:pt x="6469" y="6766"/>
                      <a:pt x="6469" y="6766"/>
                      <a:pt x="6469" y="6766"/>
                    </a:cubicBezTo>
                    <a:cubicBezTo>
                      <a:pt x="6472" y="6766"/>
                      <a:pt x="6472" y="6766"/>
                      <a:pt x="6472" y="6766"/>
                    </a:cubicBezTo>
                    <a:cubicBezTo>
                      <a:pt x="6488" y="6629"/>
                      <a:pt x="6488" y="6629"/>
                      <a:pt x="6488" y="6629"/>
                    </a:cubicBezTo>
                    <a:cubicBezTo>
                      <a:pt x="6486" y="6629"/>
                      <a:pt x="6486" y="6629"/>
                      <a:pt x="6486" y="6629"/>
                    </a:cubicBezTo>
                    <a:cubicBezTo>
                      <a:pt x="6488" y="6615"/>
                      <a:pt x="6488" y="6615"/>
                      <a:pt x="6488" y="6615"/>
                    </a:cubicBezTo>
                    <a:cubicBezTo>
                      <a:pt x="6489" y="6615"/>
                      <a:pt x="6489" y="6615"/>
                      <a:pt x="6489" y="6615"/>
                    </a:cubicBezTo>
                    <a:cubicBezTo>
                      <a:pt x="6496" y="6557"/>
                      <a:pt x="6496" y="6557"/>
                      <a:pt x="6496" y="6557"/>
                    </a:cubicBezTo>
                    <a:cubicBezTo>
                      <a:pt x="6139" y="6521"/>
                      <a:pt x="6139" y="6521"/>
                      <a:pt x="6139" y="6521"/>
                    </a:cubicBezTo>
                    <a:cubicBezTo>
                      <a:pt x="6133" y="6484"/>
                      <a:pt x="6133" y="6484"/>
                      <a:pt x="6133" y="6484"/>
                    </a:cubicBezTo>
                    <a:lnTo>
                      <a:pt x="5901" y="6456"/>
                    </a:lnTo>
                    <a:close/>
                    <a:moveTo>
                      <a:pt x="5879" y="6199"/>
                    </a:moveTo>
                    <a:cubicBezTo>
                      <a:pt x="5780" y="6180"/>
                      <a:pt x="5780" y="6180"/>
                      <a:pt x="5780" y="6180"/>
                    </a:cubicBezTo>
                    <a:cubicBezTo>
                      <a:pt x="5779" y="6188"/>
                      <a:pt x="5778" y="6197"/>
                      <a:pt x="5777" y="6207"/>
                    </a:cubicBezTo>
                    <a:cubicBezTo>
                      <a:pt x="5834" y="6218"/>
                      <a:pt x="5834" y="6218"/>
                      <a:pt x="5834" y="6218"/>
                    </a:cubicBezTo>
                    <a:cubicBezTo>
                      <a:pt x="5809" y="6372"/>
                      <a:pt x="5809" y="6372"/>
                      <a:pt x="5809" y="6372"/>
                    </a:cubicBezTo>
                    <a:cubicBezTo>
                      <a:pt x="5754" y="6362"/>
                      <a:pt x="5754" y="6362"/>
                      <a:pt x="5754" y="6362"/>
                    </a:cubicBezTo>
                    <a:cubicBezTo>
                      <a:pt x="5753" y="6368"/>
                      <a:pt x="5752" y="6374"/>
                      <a:pt x="5751" y="6380"/>
                    </a:cubicBezTo>
                    <a:cubicBezTo>
                      <a:pt x="5748" y="6392"/>
                      <a:pt x="5746" y="6402"/>
                      <a:pt x="5744" y="6410"/>
                    </a:cubicBezTo>
                    <a:cubicBezTo>
                      <a:pt x="5743" y="6413"/>
                      <a:pt x="5743" y="6415"/>
                      <a:pt x="5742" y="6417"/>
                    </a:cubicBezTo>
                    <a:cubicBezTo>
                      <a:pt x="5838" y="6434"/>
                      <a:pt x="5838" y="6434"/>
                      <a:pt x="5838" y="6434"/>
                    </a:cubicBezTo>
                    <a:lnTo>
                      <a:pt x="5879" y="6199"/>
                    </a:lnTo>
                    <a:close/>
                    <a:moveTo>
                      <a:pt x="5775" y="6220"/>
                    </a:moveTo>
                    <a:cubicBezTo>
                      <a:pt x="5772" y="6241"/>
                      <a:pt x="5769" y="6266"/>
                      <a:pt x="5765" y="6291"/>
                    </a:cubicBezTo>
                    <a:cubicBezTo>
                      <a:pt x="5762" y="6311"/>
                      <a:pt x="5759" y="6331"/>
                      <a:pt x="5756" y="6349"/>
                    </a:cubicBezTo>
                    <a:cubicBezTo>
                      <a:pt x="5798" y="6357"/>
                      <a:pt x="5798" y="6357"/>
                      <a:pt x="5798" y="6357"/>
                    </a:cubicBezTo>
                    <a:cubicBezTo>
                      <a:pt x="5819" y="6228"/>
                      <a:pt x="5819" y="6228"/>
                      <a:pt x="5819" y="6228"/>
                    </a:cubicBezTo>
                    <a:lnTo>
                      <a:pt x="5775" y="6220"/>
                    </a:lnTo>
                    <a:close/>
                    <a:moveTo>
                      <a:pt x="5767" y="6178"/>
                    </a:moveTo>
                    <a:cubicBezTo>
                      <a:pt x="5662" y="6158"/>
                      <a:pt x="5662" y="6158"/>
                      <a:pt x="5662" y="6158"/>
                    </a:cubicBezTo>
                    <a:cubicBezTo>
                      <a:pt x="5661" y="6165"/>
                      <a:pt x="5659" y="6174"/>
                      <a:pt x="5658" y="6186"/>
                    </a:cubicBezTo>
                    <a:cubicBezTo>
                      <a:pt x="5763" y="6205"/>
                      <a:pt x="5763" y="6205"/>
                      <a:pt x="5763" y="6205"/>
                    </a:cubicBezTo>
                    <a:cubicBezTo>
                      <a:pt x="5764" y="6194"/>
                      <a:pt x="5766" y="6185"/>
                      <a:pt x="5767" y="6178"/>
                    </a:cubicBezTo>
                    <a:close/>
                    <a:moveTo>
                      <a:pt x="5656" y="6199"/>
                    </a:moveTo>
                    <a:cubicBezTo>
                      <a:pt x="5653" y="6222"/>
                      <a:pt x="5649" y="6250"/>
                      <a:pt x="5645" y="6278"/>
                    </a:cubicBezTo>
                    <a:cubicBezTo>
                      <a:pt x="5642" y="6295"/>
                      <a:pt x="5640" y="6312"/>
                      <a:pt x="5637" y="6328"/>
                    </a:cubicBezTo>
                    <a:cubicBezTo>
                      <a:pt x="5742" y="6347"/>
                      <a:pt x="5742" y="6347"/>
                      <a:pt x="5742" y="6347"/>
                    </a:cubicBezTo>
                    <a:cubicBezTo>
                      <a:pt x="5749" y="6306"/>
                      <a:pt x="5756" y="6256"/>
                      <a:pt x="5761" y="6218"/>
                    </a:cubicBezTo>
                    <a:lnTo>
                      <a:pt x="5656" y="6199"/>
                    </a:lnTo>
                    <a:close/>
                    <a:moveTo>
                      <a:pt x="5648" y="6155"/>
                    </a:moveTo>
                    <a:cubicBezTo>
                      <a:pt x="5545" y="6136"/>
                      <a:pt x="5545" y="6136"/>
                      <a:pt x="5545" y="6136"/>
                    </a:cubicBezTo>
                    <a:cubicBezTo>
                      <a:pt x="5544" y="6142"/>
                      <a:pt x="5543" y="6152"/>
                      <a:pt x="5541" y="6166"/>
                    </a:cubicBezTo>
                    <a:cubicBezTo>
                      <a:pt x="5644" y="6184"/>
                      <a:pt x="5644" y="6184"/>
                      <a:pt x="5644" y="6184"/>
                    </a:cubicBezTo>
                    <a:cubicBezTo>
                      <a:pt x="5646" y="6172"/>
                      <a:pt x="5647" y="6162"/>
                      <a:pt x="5648" y="6155"/>
                    </a:cubicBezTo>
                    <a:close/>
                    <a:moveTo>
                      <a:pt x="5539" y="6179"/>
                    </a:moveTo>
                    <a:cubicBezTo>
                      <a:pt x="5536" y="6202"/>
                      <a:pt x="5532" y="6231"/>
                      <a:pt x="5528" y="6260"/>
                    </a:cubicBezTo>
                    <a:cubicBezTo>
                      <a:pt x="5525" y="6276"/>
                      <a:pt x="5523" y="6292"/>
                      <a:pt x="5520" y="6308"/>
                    </a:cubicBezTo>
                    <a:cubicBezTo>
                      <a:pt x="5623" y="6326"/>
                      <a:pt x="5623" y="6326"/>
                      <a:pt x="5623" y="6326"/>
                    </a:cubicBezTo>
                    <a:cubicBezTo>
                      <a:pt x="5630" y="6284"/>
                      <a:pt x="5637" y="6234"/>
                      <a:pt x="5642" y="6197"/>
                    </a:cubicBezTo>
                    <a:lnTo>
                      <a:pt x="5539" y="6179"/>
                    </a:lnTo>
                    <a:close/>
                    <a:moveTo>
                      <a:pt x="5531" y="6134"/>
                    </a:moveTo>
                    <a:cubicBezTo>
                      <a:pt x="5425" y="6114"/>
                      <a:pt x="5425" y="6114"/>
                      <a:pt x="5425" y="6114"/>
                    </a:cubicBezTo>
                    <a:cubicBezTo>
                      <a:pt x="5424" y="6120"/>
                      <a:pt x="5423" y="6130"/>
                      <a:pt x="5421" y="6144"/>
                    </a:cubicBezTo>
                    <a:cubicBezTo>
                      <a:pt x="5527" y="6163"/>
                      <a:pt x="5527" y="6163"/>
                      <a:pt x="5527" y="6163"/>
                    </a:cubicBezTo>
                    <a:cubicBezTo>
                      <a:pt x="5529" y="6150"/>
                      <a:pt x="5530" y="6139"/>
                      <a:pt x="5531" y="6134"/>
                    </a:cubicBezTo>
                    <a:close/>
                    <a:moveTo>
                      <a:pt x="5419" y="6157"/>
                    </a:moveTo>
                    <a:cubicBezTo>
                      <a:pt x="5416" y="6180"/>
                      <a:pt x="5412" y="6209"/>
                      <a:pt x="5408" y="6238"/>
                    </a:cubicBezTo>
                    <a:cubicBezTo>
                      <a:pt x="5405" y="6255"/>
                      <a:pt x="5403" y="6271"/>
                      <a:pt x="5400" y="6287"/>
                    </a:cubicBezTo>
                    <a:cubicBezTo>
                      <a:pt x="5507" y="6305"/>
                      <a:pt x="5507" y="6305"/>
                      <a:pt x="5507" y="6305"/>
                    </a:cubicBezTo>
                    <a:cubicBezTo>
                      <a:pt x="5513" y="6263"/>
                      <a:pt x="5521" y="6212"/>
                      <a:pt x="5526" y="6176"/>
                    </a:cubicBezTo>
                    <a:lnTo>
                      <a:pt x="5419" y="6157"/>
                    </a:lnTo>
                    <a:close/>
                    <a:moveTo>
                      <a:pt x="5411" y="6111"/>
                    </a:moveTo>
                    <a:cubicBezTo>
                      <a:pt x="5288" y="6088"/>
                      <a:pt x="5288" y="6088"/>
                      <a:pt x="5288" y="6088"/>
                    </a:cubicBezTo>
                    <a:cubicBezTo>
                      <a:pt x="5288" y="6097"/>
                      <a:pt x="5287" y="6108"/>
                      <a:pt x="5286" y="6120"/>
                    </a:cubicBezTo>
                    <a:cubicBezTo>
                      <a:pt x="5407" y="6142"/>
                      <a:pt x="5407" y="6142"/>
                      <a:pt x="5407" y="6142"/>
                    </a:cubicBezTo>
                    <a:cubicBezTo>
                      <a:pt x="5409" y="6128"/>
                      <a:pt x="5410" y="6117"/>
                      <a:pt x="5411" y="6111"/>
                    </a:cubicBezTo>
                    <a:close/>
                    <a:moveTo>
                      <a:pt x="5285" y="6133"/>
                    </a:moveTo>
                    <a:cubicBezTo>
                      <a:pt x="5282" y="6168"/>
                      <a:pt x="5278" y="6214"/>
                      <a:pt x="5273" y="6264"/>
                    </a:cubicBezTo>
                    <a:cubicBezTo>
                      <a:pt x="5387" y="6284"/>
                      <a:pt x="5387" y="6284"/>
                      <a:pt x="5387" y="6284"/>
                    </a:cubicBezTo>
                    <a:cubicBezTo>
                      <a:pt x="5393" y="6242"/>
                      <a:pt x="5400" y="6191"/>
                      <a:pt x="5405" y="6155"/>
                    </a:cubicBezTo>
                    <a:lnTo>
                      <a:pt x="5285" y="6133"/>
                    </a:lnTo>
                    <a:close/>
                    <a:moveTo>
                      <a:pt x="5275" y="6086"/>
                    </a:moveTo>
                    <a:cubicBezTo>
                      <a:pt x="4748" y="5988"/>
                      <a:pt x="4748" y="5988"/>
                      <a:pt x="4748" y="5988"/>
                    </a:cubicBezTo>
                    <a:cubicBezTo>
                      <a:pt x="4737" y="6042"/>
                      <a:pt x="4725" y="6099"/>
                      <a:pt x="4714" y="6158"/>
                    </a:cubicBezTo>
                    <a:cubicBezTo>
                      <a:pt x="4710" y="6177"/>
                      <a:pt x="4706" y="6197"/>
                      <a:pt x="4702" y="6217"/>
                    </a:cubicBezTo>
                    <a:cubicBezTo>
                      <a:pt x="5256" y="6306"/>
                      <a:pt x="5256" y="6306"/>
                      <a:pt x="5256" y="6306"/>
                    </a:cubicBezTo>
                    <a:cubicBezTo>
                      <a:pt x="5257" y="6296"/>
                      <a:pt x="5258" y="6285"/>
                      <a:pt x="5259" y="6275"/>
                    </a:cubicBezTo>
                    <a:cubicBezTo>
                      <a:pt x="4862" y="6205"/>
                      <a:pt x="4862" y="6205"/>
                      <a:pt x="4862" y="6205"/>
                    </a:cubicBezTo>
                    <a:cubicBezTo>
                      <a:pt x="4888" y="6049"/>
                      <a:pt x="4888" y="6049"/>
                      <a:pt x="4888" y="6049"/>
                    </a:cubicBezTo>
                    <a:cubicBezTo>
                      <a:pt x="4894" y="6051"/>
                      <a:pt x="4894" y="6051"/>
                      <a:pt x="4894" y="6051"/>
                    </a:cubicBezTo>
                    <a:cubicBezTo>
                      <a:pt x="5272" y="6118"/>
                      <a:pt x="5272" y="6118"/>
                      <a:pt x="5272" y="6118"/>
                    </a:cubicBezTo>
                    <a:cubicBezTo>
                      <a:pt x="5273" y="6105"/>
                      <a:pt x="5274" y="6094"/>
                      <a:pt x="5275" y="6086"/>
                    </a:cubicBezTo>
                    <a:close/>
                    <a:moveTo>
                      <a:pt x="4780" y="5509"/>
                    </a:moveTo>
                    <a:cubicBezTo>
                      <a:pt x="4780" y="5507"/>
                      <a:pt x="4781" y="5500"/>
                      <a:pt x="4782" y="5489"/>
                    </a:cubicBezTo>
                    <a:cubicBezTo>
                      <a:pt x="4783" y="5480"/>
                      <a:pt x="4783" y="5468"/>
                      <a:pt x="4784" y="5455"/>
                    </a:cubicBezTo>
                    <a:cubicBezTo>
                      <a:pt x="4036" y="5419"/>
                      <a:pt x="4036" y="5419"/>
                      <a:pt x="4036" y="5419"/>
                    </a:cubicBezTo>
                    <a:cubicBezTo>
                      <a:pt x="4020" y="5627"/>
                      <a:pt x="4020" y="5627"/>
                      <a:pt x="4020" y="5627"/>
                    </a:cubicBezTo>
                    <a:cubicBezTo>
                      <a:pt x="4524" y="5672"/>
                      <a:pt x="4524" y="5672"/>
                      <a:pt x="4524" y="5672"/>
                    </a:cubicBezTo>
                    <a:cubicBezTo>
                      <a:pt x="4560" y="5477"/>
                      <a:pt x="4560" y="5477"/>
                      <a:pt x="4560" y="5477"/>
                    </a:cubicBezTo>
                    <a:cubicBezTo>
                      <a:pt x="4715" y="5503"/>
                      <a:pt x="4715" y="5503"/>
                      <a:pt x="4715" y="5503"/>
                    </a:cubicBezTo>
                    <a:cubicBezTo>
                      <a:pt x="4714" y="5510"/>
                      <a:pt x="4714" y="5510"/>
                      <a:pt x="4714" y="5510"/>
                    </a:cubicBezTo>
                    <a:cubicBezTo>
                      <a:pt x="4681" y="5686"/>
                      <a:pt x="4681" y="5686"/>
                      <a:pt x="4681" y="5686"/>
                    </a:cubicBezTo>
                    <a:cubicBezTo>
                      <a:pt x="4742" y="5691"/>
                      <a:pt x="4742" y="5691"/>
                      <a:pt x="4742" y="5691"/>
                    </a:cubicBezTo>
                    <a:cubicBezTo>
                      <a:pt x="4764" y="5588"/>
                      <a:pt x="4778" y="5519"/>
                      <a:pt x="4780" y="5509"/>
                    </a:cubicBezTo>
                    <a:close/>
                    <a:moveTo>
                      <a:pt x="4094" y="5408"/>
                    </a:moveTo>
                    <a:cubicBezTo>
                      <a:pt x="4154" y="5313"/>
                      <a:pt x="4154" y="5313"/>
                      <a:pt x="4154" y="5313"/>
                    </a:cubicBezTo>
                    <a:cubicBezTo>
                      <a:pt x="4153" y="5313"/>
                      <a:pt x="4153" y="5313"/>
                      <a:pt x="4152" y="5312"/>
                    </a:cubicBezTo>
                    <a:cubicBezTo>
                      <a:pt x="4122" y="5301"/>
                      <a:pt x="4022" y="5259"/>
                      <a:pt x="3907" y="5210"/>
                    </a:cubicBezTo>
                    <a:cubicBezTo>
                      <a:pt x="3743" y="5457"/>
                      <a:pt x="3743" y="5457"/>
                      <a:pt x="3743" y="5457"/>
                    </a:cubicBezTo>
                    <a:cubicBezTo>
                      <a:pt x="3586" y="5487"/>
                      <a:pt x="3586" y="5487"/>
                      <a:pt x="3586" y="5487"/>
                    </a:cubicBezTo>
                    <a:cubicBezTo>
                      <a:pt x="3588" y="5488"/>
                      <a:pt x="3588" y="5488"/>
                      <a:pt x="3588" y="5488"/>
                    </a:cubicBezTo>
                    <a:cubicBezTo>
                      <a:pt x="3575" y="5512"/>
                      <a:pt x="3575" y="5512"/>
                      <a:pt x="3575" y="5512"/>
                    </a:cubicBezTo>
                    <a:cubicBezTo>
                      <a:pt x="3575" y="5513"/>
                      <a:pt x="3560" y="5542"/>
                      <a:pt x="3535" y="5591"/>
                    </a:cubicBezTo>
                    <a:cubicBezTo>
                      <a:pt x="3595" y="5604"/>
                      <a:pt x="3736" y="5639"/>
                      <a:pt x="3767" y="5646"/>
                    </a:cubicBezTo>
                    <a:cubicBezTo>
                      <a:pt x="3796" y="5569"/>
                      <a:pt x="3796" y="5569"/>
                      <a:pt x="3796" y="5569"/>
                    </a:cubicBezTo>
                    <a:cubicBezTo>
                      <a:pt x="3800" y="5568"/>
                      <a:pt x="3800" y="5568"/>
                      <a:pt x="3800" y="5568"/>
                    </a:cubicBezTo>
                    <a:cubicBezTo>
                      <a:pt x="3801" y="5568"/>
                      <a:pt x="3977" y="5546"/>
                      <a:pt x="4013" y="5542"/>
                    </a:cubicBezTo>
                    <a:cubicBezTo>
                      <a:pt x="4024" y="5405"/>
                      <a:pt x="4024" y="5405"/>
                      <a:pt x="4024" y="5405"/>
                    </a:cubicBezTo>
                    <a:lnTo>
                      <a:pt x="4094" y="5408"/>
                    </a:lnTo>
                    <a:close/>
                    <a:moveTo>
                      <a:pt x="3894" y="5205"/>
                    </a:moveTo>
                    <a:cubicBezTo>
                      <a:pt x="3856" y="5189"/>
                      <a:pt x="3816" y="5172"/>
                      <a:pt x="3777" y="5156"/>
                    </a:cubicBezTo>
                    <a:cubicBezTo>
                      <a:pt x="3737" y="5139"/>
                      <a:pt x="3698" y="5122"/>
                      <a:pt x="3661" y="5106"/>
                    </a:cubicBezTo>
                    <a:cubicBezTo>
                      <a:pt x="3504" y="5424"/>
                      <a:pt x="3504" y="5424"/>
                      <a:pt x="3504" y="5424"/>
                    </a:cubicBezTo>
                    <a:cubicBezTo>
                      <a:pt x="3571" y="5475"/>
                      <a:pt x="3571" y="5475"/>
                      <a:pt x="3571" y="5475"/>
                    </a:cubicBezTo>
                    <a:cubicBezTo>
                      <a:pt x="3607" y="5469"/>
                      <a:pt x="3607" y="5469"/>
                      <a:pt x="3607" y="5469"/>
                    </a:cubicBezTo>
                    <a:cubicBezTo>
                      <a:pt x="3552" y="5439"/>
                      <a:pt x="3552" y="5439"/>
                      <a:pt x="3552" y="5439"/>
                    </a:cubicBezTo>
                    <a:cubicBezTo>
                      <a:pt x="3555" y="5434"/>
                      <a:pt x="3555" y="5434"/>
                      <a:pt x="3555" y="5434"/>
                    </a:cubicBezTo>
                    <a:cubicBezTo>
                      <a:pt x="3622" y="5305"/>
                      <a:pt x="3622" y="5305"/>
                      <a:pt x="3622" y="5305"/>
                    </a:cubicBezTo>
                    <a:cubicBezTo>
                      <a:pt x="3689" y="5341"/>
                      <a:pt x="3689" y="5341"/>
                      <a:pt x="3689" y="5341"/>
                    </a:cubicBezTo>
                    <a:cubicBezTo>
                      <a:pt x="3623" y="5466"/>
                      <a:pt x="3623" y="5466"/>
                      <a:pt x="3623" y="5466"/>
                    </a:cubicBezTo>
                    <a:cubicBezTo>
                      <a:pt x="3735" y="5445"/>
                      <a:pt x="3735" y="5445"/>
                      <a:pt x="3735" y="5445"/>
                    </a:cubicBezTo>
                    <a:lnTo>
                      <a:pt x="3894" y="5205"/>
                    </a:lnTo>
                    <a:close/>
                    <a:moveTo>
                      <a:pt x="3672" y="5346"/>
                    </a:moveTo>
                    <a:cubicBezTo>
                      <a:pt x="3628" y="5323"/>
                      <a:pt x="3628" y="5323"/>
                      <a:pt x="3628" y="5323"/>
                    </a:cubicBezTo>
                    <a:cubicBezTo>
                      <a:pt x="3569" y="5434"/>
                      <a:pt x="3569" y="5434"/>
                      <a:pt x="3569" y="5434"/>
                    </a:cubicBezTo>
                    <a:cubicBezTo>
                      <a:pt x="3613" y="5457"/>
                      <a:pt x="3613" y="5457"/>
                      <a:pt x="3613" y="5457"/>
                    </a:cubicBezTo>
                    <a:lnTo>
                      <a:pt x="3672" y="5346"/>
                    </a:lnTo>
                    <a:close/>
                    <a:moveTo>
                      <a:pt x="3648" y="5101"/>
                    </a:moveTo>
                    <a:cubicBezTo>
                      <a:pt x="3616" y="5087"/>
                      <a:pt x="3586" y="5074"/>
                      <a:pt x="3560" y="5063"/>
                    </a:cubicBezTo>
                    <a:cubicBezTo>
                      <a:pt x="3532" y="5051"/>
                      <a:pt x="3508" y="5040"/>
                      <a:pt x="3491" y="5033"/>
                    </a:cubicBezTo>
                    <a:cubicBezTo>
                      <a:pt x="3482" y="5029"/>
                      <a:pt x="3476" y="5026"/>
                      <a:pt x="3471" y="5024"/>
                    </a:cubicBezTo>
                    <a:cubicBezTo>
                      <a:pt x="3470" y="5024"/>
                      <a:pt x="3470" y="5023"/>
                      <a:pt x="3469" y="5023"/>
                    </a:cubicBezTo>
                    <a:cubicBezTo>
                      <a:pt x="3273" y="5246"/>
                      <a:pt x="3273" y="5246"/>
                      <a:pt x="3273" y="5246"/>
                    </a:cubicBezTo>
                    <a:cubicBezTo>
                      <a:pt x="3492" y="5415"/>
                      <a:pt x="3492" y="5415"/>
                      <a:pt x="3492" y="5415"/>
                    </a:cubicBezTo>
                    <a:lnTo>
                      <a:pt x="3648" y="5101"/>
                    </a:lnTo>
                    <a:close/>
                    <a:moveTo>
                      <a:pt x="3081" y="5180"/>
                    </a:moveTo>
                    <a:cubicBezTo>
                      <a:pt x="3019" y="5298"/>
                      <a:pt x="3019" y="5298"/>
                      <a:pt x="3019" y="5298"/>
                    </a:cubicBezTo>
                    <a:cubicBezTo>
                      <a:pt x="3332" y="5501"/>
                      <a:pt x="3332" y="5501"/>
                      <a:pt x="3332" y="5501"/>
                    </a:cubicBezTo>
                    <a:cubicBezTo>
                      <a:pt x="3352" y="5461"/>
                      <a:pt x="3352" y="5461"/>
                      <a:pt x="3352" y="5461"/>
                    </a:cubicBezTo>
                    <a:cubicBezTo>
                      <a:pt x="3472" y="5520"/>
                      <a:pt x="3472" y="5520"/>
                      <a:pt x="3472" y="5520"/>
                    </a:cubicBezTo>
                    <a:cubicBezTo>
                      <a:pt x="3469" y="5526"/>
                      <a:pt x="3469" y="5526"/>
                      <a:pt x="3469" y="5526"/>
                    </a:cubicBezTo>
                    <a:cubicBezTo>
                      <a:pt x="3444" y="5574"/>
                      <a:pt x="3444" y="5574"/>
                      <a:pt x="3444" y="5574"/>
                    </a:cubicBezTo>
                    <a:cubicBezTo>
                      <a:pt x="3460" y="5584"/>
                      <a:pt x="3460" y="5584"/>
                      <a:pt x="3460" y="5584"/>
                    </a:cubicBezTo>
                    <a:cubicBezTo>
                      <a:pt x="3452" y="5595"/>
                      <a:pt x="3452" y="5595"/>
                      <a:pt x="3452" y="5595"/>
                    </a:cubicBezTo>
                    <a:cubicBezTo>
                      <a:pt x="3438" y="5586"/>
                      <a:pt x="3438" y="5586"/>
                      <a:pt x="3438" y="5586"/>
                    </a:cubicBezTo>
                    <a:cubicBezTo>
                      <a:pt x="3390" y="5681"/>
                      <a:pt x="3390" y="5681"/>
                      <a:pt x="3390" y="5681"/>
                    </a:cubicBezTo>
                    <a:cubicBezTo>
                      <a:pt x="3393" y="5682"/>
                      <a:pt x="3396" y="5684"/>
                      <a:pt x="3399" y="5685"/>
                    </a:cubicBezTo>
                    <a:cubicBezTo>
                      <a:pt x="3403" y="5688"/>
                      <a:pt x="3407" y="5689"/>
                      <a:pt x="3410" y="5691"/>
                    </a:cubicBezTo>
                    <a:cubicBezTo>
                      <a:pt x="3453" y="5607"/>
                      <a:pt x="3487" y="5540"/>
                      <a:pt x="3504" y="5507"/>
                    </a:cubicBezTo>
                    <a:lnTo>
                      <a:pt x="3081" y="5180"/>
                    </a:lnTo>
                    <a:close/>
                    <a:moveTo>
                      <a:pt x="3326" y="5777"/>
                    </a:moveTo>
                    <a:cubicBezTo>
                      <a:pt x="3372" y="5687"/>
                      <a:pt x="3372" y="5687"/>
                      <a:pt x="3372" y="5687"/>
                    </a:cubicBezTo>
                    <a:cubicBezTo>
                      <a:pt x="3348" y="5674"/>
                      <a:pt x="3315" y="5657"/>
                      <a:pt x="3279" y="5638"/>
                    </a:cubicBezTo>
                    <a:cubicBezTo>
                      <a:pt x="3233" y="5730"/>
                      <a:pt x="3233" y="5730"/>
                      <a:pt x="3233" y="5730"/>
                    </a:cubicBezTo>
                    <a:cubicBezTo>
                      <a:pt x="3268" y="5748"/>
                      <a:pt x="3301" y="5764"/>
                      <a:pt x="3326" y="5777"/>
                    </a:cubicBezTo>
                    <a:close/>
                    <a:moveTo>
                      <a:pt x="3226" y="5743"/>
                    </a:moveTo>
                    <a:cubicBezTo>
                      <a:pt x="3216" y="5763"/>
                      <a:pt x="3216" y="5763"/>
                      <a:pt x="3216" y="5763"/>
                    </a:cubicBezTo>
                    <a:cubicBezTo>
                      <a:pt x="3310" y="5809"/>
                      <a:pt x="3310" y="5809"/>
                      <a:pt x="3310" y="5809"/>
                    </a:cubicBezTo>
                    <a:cubicBezTo>
                      <a:pt x="3320" y="5789"/>
                      <a:pt x="3320" y="5789"/>
                      <a:pt x="3320" y="5789"/>
                    </a:cubicBezTo>
                    <a:cubicBezTo>
                      <a:pt x="3294" y="5777"/>
                      <a:pt x="3262" y="5761"/>
                      <a:pt x="3226" y="5743"/>
                    </a:cubicBezTo>
                    <a:close/>
                    <a:moveTo>
                      <a:pt x="3337" y="5521"/>
                    </a:moveTo>
                    <a:cubicBezTo>
                      <a:pt x="3285" y="5625"/>
                      <a:pt x="3285" y="5625"/>
                      <a:pt x="3285" y="5625"/>
                    </a:cubicBezTo>
                    <a:cubicBezTo>
                      <a:pt x="3307" y="5637"/>
                      <a:pt x="3328" y="5648"/>
                      <a:pt x="3346" y="5658"/>
                    </a:cubicBezTo>
                    <a:cubicBezTo>
                      <a:pt x="3358" y="5664"/>
                      <a:pt x="3369" y="5670"/>
                      <a:pt x="3378" y="5675"/>
                    </a:cubicBezTo>
                    <a:cubicBezTo>
                      <a:pt x="3427" y="5579"/>
                      <a:pt x="3427" y="5579"/>
                      <a:pt x="3427" y="5579"/>
                    </a:cubicBezTo>
                    <a:lnTo>
                      <a:pt x="3337" y="5521"/>
                    </a:lnTo>
                    <a:close/>
                    <a:moveTo>
                      <a:pt x="3433" y="5567"/>
                    </a:moveTo>
                    <a:cubicBezTo>
                      <a:pt x="3454" y="5526"/>
                      <a:pt x="3454" y="5526"/>
                      <a:pt x="3454" y="5526"/>
                    </a:cubicBezTo>
                    <a:cubicBezTo>
                      <a:pt x="3358" y="5479"/>
                      <a:pt x="3358" y="5479"/>
                      <a:pt x="3358" y="5479"/>
                    </a:cubicBezTo>
                    <a:cubicBezTo>
                      <a:pt x="3343" y="5508"/>
                      <a:pt x="3343" y="5508"/>
                      <a:pt x="3343" y="5508"/>
                    </a:cubicBezTo>
                    <a:lnTo>
                      <a:pt x="3433" y="5567"/>
                    </a:lnTo>
                    <a:close/>
                    <a:moveTo>
                      <a:pt x="3338" y="5783"/>
                    </a:moveTo>
                    <a:cubicBezTo>
                      <a:pt x="3345" y="5787"/>
                      <a:pt x="3352" y="5790"/>
                      <a:pt x="3358" y="5793"/>
                    </a:cubicBezTo>
                    <a:cubicBezTo>
                      <a:pt x="3374" y="5761"/>
                      <a:pt x="3389" y="5731"/>
                      <a:pt x="3404" y="5703"/>
                    </a:cubicBezTo>
                    <a:cubicBezTo>
                      <a:pt x="3399" y="5701"/>
                      <a:pt x="3392" y="5697"/>
                      <a:pt x="3384" y="5693"/>
                    </a:cubicBezTo>
                    <a:lnTo>
                      <a:pt x="3338" y="5783"/>
                    </a:lnTo>
                    <a:close/>
                    <a:moveTo>
                      <a:pt x="3012" y="5310"/>
                    </a:moveTo>
                    <a:cubicBezTo>
                      <a:pt x="2943" y="5442"/>
                      <a:pt x="2943" y="5442"/>
                      <a:pt x="2943" y="5442"/>
                    </a:cubicBezTo>
                    <a:cubicBezTo>
                      <a:pt x="2971" y="5456"/>
                      <a:pt x="3081" y="5515"/>
                      <a:pt x="3189" y="5573"/>
                    </a:cubicBezTo>
                    <a:cubicBezTo>
                      <a:pt x="3218" y="5589"/>
                      <a:pt x="3246" y="5604"/>
                      <a:pt x="3273" y="5619"/>
                    </a:cubicBezTo>
                    <a:cubicBezTo>
                      <a:pt x="3326" y="5514"/>
                      <a:pt x="3326" y="5514"/>
                      <a:pt x="3326" y="5514"/>
                    </a:cubicBezTo>
                    <a:lnTo>
                      <a:pt x="3012" y="5310"/>
                    </a:lnTo>
                    <a:close/>
                    <a:moveTo>
                      <a:pt x="2936" y="5454"/>
                    </a:moveTo>
                    <a:cubicBezTo>
                      <a:pt x="2883" y="5555"/>
                      <a:pt x="2883" y="5555"/>
                      <a:pt x="2883" y="5555"/>
                    </a:cubicBezTo>
                    <a:cubicBezTo>
                      <a:pt x="2899" y="5564"/>
                      <a:pt x="3018" y="5623"/>
                      <a:pt x="3135" y="5682"/>
                    </a:cubicBezTo>
                    <a:cubicBezTo>
                      <a:pt x="3164" y="5696"/>
                      <a:pt x="3193" y="5711"/>
                      <a:pt x="3221" y="5724"/>
                    </a:cubicBezTo>
                    <a:cubicBezTo>
                      <a:pt x="3267" y="5631"/>
                      <a:pt x="3267" y="5631"/>
                      <a:pt x="3267" y="5631"/>
                    </a:cubicBezTo>
                    <a:cubicBezTo>
                      <a:pt x="3230" y="5611"/>
                      <a:pt x="3189" y="5589"/>
                      <a:pt x="3149" y="5568"/>
                    </a:cubicBezTo>
                    <a:cubicBezTo>
                      <a:pt x="3093" y="5538"/>
                      <a:pt x="3039" y="5508"/>
                      <a:pt x="2999" y="5487"/>
                    </a:cubicBezTo>
                    <a:cubicBezTo>
                      <a:pt x="2978" y="5476"/>
                      <a:pt x="2962" y="5467"/>
                      <a:pt x="2950" y="5461"/>
                    </a:cubicBezTo>
                    <a:cubicBezTo>
                      <a:pt x="2944" y="5458"/>
                      <a:pt x="2940" y="5456"/>
                      <a:pt x="2936" y="5454"/>
                    </a:cubicBezTo>
                    <a:close/>
                    <a:moveTo>
                      <a:pt x="2877" y="5568"/>
                    </a:moveTo>
                    <a:cubicBezTo>
                      <a:pt x="2658" y="5982"/>
                      <a:pt x="2658" y="5982"/>
                      <a:pt x="2658" y="5982"/>
                    </a:cubicBezTo>
                    <a:cubicBezTo>
                      <a:pt x="2887" y="6075"/>
                      <a:pt x="2887" y="6075"/>
                      <a:pt x="2887" y="6075"/>
                    </a:cubicBezTo>
                    <a:cubicBezTo>
                      <a:pt x="2987" y="6046"/>
                      <a:pt x="2987" y="6046"/>
                      <a:pt x="2987" y="6046"/>
                    </a:cubicBezTo>
                    <a:cubicBezTo>
                      <a:pt x="3043" y="6071"/>
                      <a:pt x="3043" y="6071"/>
                      <a:pt x="3043" y="6071"/>
                    </a:cubicBezTo>
                    <a:cubicBezTo>
                      <a:pt x="3130" y="5896"/>
                      <a:pt x="3130" y="5896"/>
                      <a:pt x="3130" y="5896"/>
                    </a:cubicBezTo>
                    <a:cubicBezTo>
                      <a:pt x="3063" y="5863"/>
                      <a:pt x="3063" y="5863"/>
                      <a:pt x="3063" y="5863"/>
                    </a:cubicBezTo>
                    <a:cubicBezTo>
                      <a:pt x="3019" y="5887"/>
                      <a:pt x="3019" y="5887"/>
                      <a:pt x="3019" y="5887"/>
                    </a:cubicBezTo>
                    <a:cubicBezTo>
                      <a:pt x="2774" y="5764"/>
                      <a:pt x="2774" y="5764"/>
                      <a:pt x="2774" y="5764"/>
                    </a:cubicBezTo>
                    <a:cubicBezTo>
                      <a:pt x="2780" y="5752"/>
                      <a:pt x="2780" y="5752"/>
                      <a:pt x="2780" y="5752"/>
                    </a:cubicBezTo>
                    <a:cubicBezTo>
                      <a:pt x="3019" y="5871"/>
                      <a:pt x="3019" y="5871"/>
                      <a:pt x="3019" y="5871"/>
                    </a:cubicBezTo>
                    <a:cubicBezTo>
                      <a:pt x="3063" y="5847"/>
                      <a:pt x="3063" y="5847"/>
                      <a:pt x="3063" y="5847"/>
                    </a:cubicBezTo>
                    <a:cubicBezTo>
                      <a:pt x="3136" y="5884"/>
                      <a:pt x="3136" y="5884"/>
                      <a:pt x="3136" y="5884"/>
                    </a:cubicBezTo>
                    <a:cubicBezTo>
                      <a:pt x="3156" y="5844"/>
                      <a:pt x="3156" y="5844"/>
                      <a:pt x="3156" y="5844"/>
                    </a:cubicBezTo>
                    <a:cubicBezTo>
                      <a:pt x="3276" y="5902"/>
                      <a:pt x="3276" y="5902"/>
                      <a:pt x="3276" y="5902"/>
                    </a:cubicBezTo>
                    <a:cubicBezTo>
                      <a:pt x="3273" y="5908"/>
                      <a:pt x="3273" y="5908"/>
                      <a:pt x="3273" y="5908"/>
                    </a:cubicBezTo>
                    <a:cubicBezTo>
                      <a:pt x="3255" y="5943"/>
                      <a:pt x="3255" y="5943"/>
                      <a:pt x="3255" y="5943"/>
                    </a:cubicBezTo>
                    <a:cubicBezTo>
                      <a:pt x="3276" y="5954"/>
                      <a:pt x="3276" y="5954"/>
                      <a:pt x="3276" y="5954"/>
                    </a:cubicBezTo>
                    <a:cubicBezTo>
                      <a:pt x="3302" y="5903"/>
                      <a:pt x="3327" y="5853"/>
                      <a:pt x="3352" y="5805"/>
                    </a:cubicBezTo>
                    <a:cubicBezTo>
                      <a:pt x="3346" y="5802"/>
                      <a:pt x="3339" y="5799"/>
                      <a:pt x="3332" y="5795"/>
                    </a:cubicBezTo>
                    <a:cubicBezTo>
                      <a:pt x="3316" y="5826"/>
                      <a:pt x="3316" y="5826"/>
                      <a:pt x="3316" y="5826"/>
                    </a:cubicBezTo>
                    <a:cubicBezTo>
                      <a:pt x="3199" y="5769"/>
                      <a:pt x="3199" y="5769"/>
                      <a:pt x="3199" y="5769"/>
                    </a:cubicBezTo>
                    <a:cubicBezTo>
                      <a:pt x="3215" y="5737"/>
                      <a:pt x="3215" y="5737"/>
                      <a:pt x="3215" y="5737"/>
                    </a:cubicBezTo>
                    <a:cubicBezTo>
                      <a:pt x="3078" y="5669"/>
                      <a:pt x="2902" y="5581"/>
                      <a:pt x="2877" y="5568"/>
                    </a:cubicBezTo>
                    <a:close/>
                    <a:moveTo>
                      <a:pt x="3151" y="6119"/>
                    </a:moveTo>
                    <a:cubicBezTo>
                      <a:pt x="3237" y="5950"/>
                      <a:pt x="3237" y="5950"/>
                      <a:pt x="3237" y="5950"/>
                    </a:cubicBezTo>
                    <a:cubicBezTo>
                      <a:pt x="3142" y="5902"/>
                      <a:pt x="3142" y="5902"/>
                      <a:pt x="3142" y="5902"/>
                    </a:cubicBezTo>
                    <a:cubicBezTo>
                      <a:pt x="3055" y="6076"/>
                      <a:pt x="3055" y="6076"/>
                      <a:pt x="3055" y="6076"/>
                    </a:cubicBezTo>
                    <a:lnTo>
                      <a:pt x="3151" y="6119"/>
                    </a:lnTo>
                    <a:close/>
                    <a:moveTo>
                      <a:pt x="3049" y="6088"/>
                    </a:moveTo>
                    <a:cubicBezTo>
                      <a:pt x="3021" y="6145"/>
                      <a:pt x="3021" y="6145"/>
                      <a:pt x="3021" y="6145"/>
                    </a:cubicBezTo>
                    <a:cubicBezTo>
                      <a:pt x="3114" y="6191"/>
                      <a:pt x="3114" y="6191"/>
                      <a:pt x="3114" y="6191"/>
                    </a:cubicBezTo>
                    <a:cubicBezTo>
                      <a:pt x="3145" y="6131"/>
                      <a:pt x="3145" y="6131"/>
                      <a:pt x="3145" y="6131"/>
                    </a:cubicBezTo>
                    <a:lnTo>
                      <a:pt x="3049" y="6088"/>
                    </a:lnTo>
                    <a:close/>
                    <a:moveTo>
                      <a:pt x="3243" y="5937"/>
                    </a:moveTo>
                    <a:cubicBezTo>
                      <a:pt x="3258" y="5908"/>
                      <a:pt x="3258" y="5908"/>
                      <a:pt x="3258" y="5908"/>
                    </a:cubicBezTo>
                    <a:cubicBezTo>
                      <a:pt x="3162" y="5862"/>
                      <a:pt x="3162" y="5862"/>
                      <a:pt x="3162" y="5862"/>
                    </a:cubicBezTo>
                    <a:cubicBezTo>
                      <a:pt x="3148" y="5890"/>
                      <a:pt x="3148" y="5890"/>
                      <a:pt x="3148" y="5890"/>
                    </a:cubicBezTo>
                    <a:lnTo>
                      <a:pt x="3243" y="5937"/>
                    </a:lnTo>
                    <a:close/>
                    <a:moveTo>
                      <a:pt x="3163" y="6124"/>
                    </a:moveTo>
                    <a:cubicBezTo>
                      <a:pt x="3185" y="6134"/>
                      <a:pt x="3185" y="6134"/>
                      <a:pt x="3185" y="6134"/>
                    </a:cubicBezTo>
                    <a:cubicBezTo>
                      <a:pt x="3213" y="6078"/>
                      <a:pt x="3242" y="6022"/>
                      <a:pt x="3270" y="5966"/>
                    </a:cubicBezTo>
                    <a:cubicBezTo>
                      <a:pt x="3249" y="5956"/>
                      <a:pt x="3249" y="5956"/>
                      <a:pt x="3249" y="5956"/>
                    </a:cubicBezTo>
                    <a:lnTo>
                      <a:pt x="3163" y="6124"/>
                    </a:lnTo>
                    <a:close/>
                    <a:moveTo>
                      <a:pt x="2538" y="5948"/>
                    </a:moveTo>
                    <a:cubicBezTo>
                      <a:pt x="2534" y="5951"/>
                      <a:pt x="2520" y="5967"/>
                      <a:pt x="2504" y="5988"/>
                    </a:cubicBezTo>
                    <a:cubicBezTo>
                      <a:pt x="2493" y="6003"/>
                      <a:pt x="2481" y="6021"/>
                      <a:pt x="2468" y="6039"/>
                    </a:cubicBezTo>
                    <a:cubicBezTo>
                      <a:pt x="2508" y="6056"/>
                      <a:pt x="2645" y="6120"/>
                      <a:pt x="2784" y="6185"/>
                    </a:cubicBezTo>
                    <a:cubicBezTo>
                      <a:pt x="2917" y="6247"/>
                      <a:pt x="3048" y="6308"/>
                      <a:pt x="3089" y="6327"/>
                    </a:cubicBezTo>
                    <a:cubicBezTo>
                      <a:pt x="3116" y="6271"/>
                      <a:pt x="3147" y="6209"/>
                      <a:pt x="3179" y="6146"/>
                    </a:cubicBezTo>
                    <a:cubicBezTo>
                      <a:pt x="3157" y="6136"/>
                      <a:pt x="3157" y="6136"/>
                      <a:pt x="3157" y="6136"/>
                    </a:cubicBezTo>
                    <a:cubicBezTo>
                      <a:pt x="3120" y="6209"/>
                      <a:pt x="3120" y="6209"/>
                      <a:pt x="3120" y="6209"/>
                    </a:cubicBezTo>
                    <a:cubicBezTo>
                      <a:pt x="3003" y="6151"/>
                      <a:pt x="3003" y="6151"/>
                      <a:pt x="3003" y="6151"/>
                    </a:cubicBezTo>
                    <a:cubicBezTo>
                      <a:pt x="3037" y="6083"/>
                      <a:pt x="3037" y="6083"/>
                      <a:pt x="3037" y="6083"/>
                    </a:cubicBezTo>
                    <a:cubicBezTo>
                      <a:pt x="2986" y="6060"/>
                      <a:pt x="2986" y="6060"/>
                      <a:pt x="2986" y="6060"/>
                    </a:cubicBezTo>
                    <a:cubicBezTo>
                      <a:pt x="2886" y="6090"/>
                      <a:pt x="2886" y="6090"/>
                      <a:pt x="2886" y="6090"/>
                    </a:cubicBezTo>
                    <a:lnTo>
                      <a:pt x="2538" y="5948"/>
                    </a:lnTo>
                    <a:close/>
                    <a:moveTo>
                      <a:pt x="2825" y="6545"/>
                    </a:moveTo>
                    <a:cubicBezTo>
                      <a:pt x="2787" y="6621"/>
                      <a:pt x="2787" y="6621"/>
                      <a:pt x="2787" y="6621"/>
                    </a:cubicBezTo>
                    <a:cubicBezTo>
                      <a:pt x="2881" y="6667"/>
                      <a:pt x="2881" y="6667"/>
                      <a:pt x="2881" y="6667"/>
                    </a:cubicBezTo>
                    <a:cubicBezTo>
                      <a:pt x="2919" y="6591"/>
                      <a:pt x="2919" y="6591"/>
                      <a:pt x="2919" y="6591"/>
                    </a:cubicBezTo>
                    <a:lnTo>
                      <a:pt x="2825" y="6545"/>
                    </a:lnTo>
                    <a:close/>
                    <a:moveTo>
                      <a:pt x="2925" y="6579"/>
                    </a:moveTo>
                    <a:cubicBezTo>
                      <a:pt x="3025" y="6384"/>
                      <a:pt x="3025" y="6384"/>
                      <a:pt x="3025" y="6384"/>
                    </a:cubicBezTo>
                    <a:cubicBezTo>
                      <a:pt x="2928" y="6337"/>
                      <a:pt x="2928" y="6337"/>
                      <a:pt x="2928" y="6337"/>
                    </a:cubicBezTo>
                    <a:cubicBezTo>
                      <a:pt x="2831" y="6532"/>
                      <a:pt x="2831" y="6532"/>
                      <a:pt x="2831" y="6532"/>
                    </a:cubicBezTo>
                    <a:lnTo>
                      <a:pt x="2925" y="6579"/>
                    </a:lnTo>
                    <a:close/>
                    <a:moveTo>
                      <a:pt x="2813" y="6539"/>
                    </a:moveTo>
                    <a:cubicBezTo>
                      <a:pt x="2414" y="6342"/>
                      <a:pt x="2414" y="6342"/>
                      <a:pt x="2414" y="6342"/>
                    </a:cubicBezTo>
                    <a:cubicBezTo>
                      <a:pt x="2401" y="6363"/>
                      <a:pt x="2348" y="6444"/>
                      <a:pt x="2284" y="6544"/>
                    </a:cubicBezTo>
                    <a:cubicBezTo>
                      <a:pt x="2573" y="6708"/>
                      <a:pt x="2573" y="6708"/>
                      <a:pt x="2573" y="6708"/>
                    </a:cubicBezTo>
                    <a:cubicBezTo>
                      <a:pt x="2807" y="6792"/>
                      <a:pt x="2807" y="6792"/>
                      <a:pt x="2807" y="6792"/>
                    </a:cubicBezTo>
                    <a:cubicBezTo>
                      <a:pt x="2971" y="6736"/>
                      <a:pt x="2971" y="6736"/>
                      <a:pt x="2971" y="6736"/>
                    </a:cubicBezTo>
                    <a:cubicBezTo>
                      <a:pt x="2960" y="6702"/>
                      <a:pt x="2954" y="6670"/>
                      <a:pt x="2954" y="6641"/>
                    </a:cubicBezTo>
                    <a:cubicBezTo>
                      <a:pt x="2954" y="6630"/>
                      <a:pt x="2955" y="6620"/>
                      <a:pt x="2957" y="6610"/>
                    </a:cubicBezTo>
                    <a:cubicBezTo>
                      <a:pt x="2931" y="6597"/>
                      <a:pt x="2931" y="6597"/>
                      <a:pt x="2931" y="6597"/>
                    </a:cubicBezTo>
                    <a:cubicBezTo>
                      <a:pt x="2887" y="6684"/>
                      <a:pt x="2887" y="6684"/>
                      <a:pt x="2887" y="6684"/>
                    </a:cubicBezTo>
                    <a:cubicBezTo>
                      <a:pt x="2769" y="6627"/>
                      <a:pt x="2769" y="6627"/>
                      <a:pt x="2769" y="6627"/>
                    </a:cubicBezTo>
                    <a:lnTo>
                      <a:pt x="2813" y="6539"/>
                    </a:lnTo>
                    <a:close/>
                    <a:moveTo>
                      <a:pt x="3082" y="6339"/>
                    </a:moveTo>
                    <a:cubicBezTo>
                      <a:pt x="3041" y="6320"/>
                      <a:pt x="2911" y="6259"/>
                      <a:pt x="2778" y="6198"/>
                    </a:cubicBezTo>
                    <a:cubicBezTo>
                      <a:pt x="2636" y="6131"/>
                      <a:pt x="2491" y="6064"/>
                      <a:pt x="2460" y="6051"/>
                    </a:cubicBezTo>
                    <a:cubicBezTo>
                      <a:pt x="2422" y="6106"/>
                      <a:pt x="2383" y="6165"/>
                      <a:pt x="2374" y="6178"/>
                    </a:cubicBezTo>
                    <a:cubicBezTo>
                      <a:pt x="2417" y="6329"/>
                      <a:pt x="2417" y="6329"/>
                      <a:pt x="2417" y="6329"/>
                    </a:cubicBezTo>
                    <a:cubicBezTo>
                      <a:pt x="2819" y="6527"/>
                      <a:pt x="2819" y="6527"/>
                      <a:pt x="2819" y="6527"/>
                    </a:cubicBezTo>
                    <a:cubicBezTo>
                      <a:pt x="2923" y="6320"/>
                      <a:pt x="2923" y="6320"/>
                      <a:pt x="2923" y="6320"/>
                    </a:cubicBezTo>
                    <a:cubicBezTo>
                      <a:pt x="3042" y="6378"/>
                      <a:pt x="3042" y="6378"/>
                      <a:pt x="3042" y="6378"/>
                    </a:cubicBezTo>
                    <a:cubicBezTo>
                      <a:pt x="3039" y="6384"/>
                      <a:pt x="3039" y="6384"/>
                      <a:pt x="3039" y="6384"/>
                    </a:cubicBezTo>
                    <a:cubicBezTo>
                      <a:pt x="2937" y="6585"/>
                      <a:pt x="2937" y="6585"/>
                      <a:pt x="2937" y="6585"/>
                    </a:cubicBezTo>
                    <a:cubicBezTo>
                      <a:pt x="2961" y="6596"/>
                      <a:pt x="2961" y="6596"/>
                      <a:pt x="2961" y="6596"/>
                    </a:cubicBezTo>
                    <a:cubicBezTo>
                      <a:pt x="2963" y="6591"/>
                      <a:pt x="2965" y="6586"/>
                      <a:pt x="2968" y="6580"/>
                    </a:cubicBezTo>
                    <a:cubicBezTo>
                      <a:pt x="2985" y="6537"/>
                      <a:pt x="3028" y="6449"/>
                      <a:pt x="3082" y="6339"/>
                    </a:cubicBezTo>
                    <a:close/>
                    <a:moveTo>
                      <a:pt x="1834" y="5897"/>
                    </a:moveTo>
                    <a:cubicBezTo>
                      <a:pt x="1900" y="5780"/>
                      <a:pt x="1900" y="5780"/>
                      <a:pt x="1900" y="5780"/>
                    </a:cubicBezTo>
                    <a:cubicBezTo>
                      <a:pt x="1849" y="5751"/>
                      <a:pt x="1849" y="5751"/>
                      <a:pt x="1849" y="5751"/>
                    </a:cubicBezTo>
                    <a:cubicBezTo>
                      <a:pt x="1782" y="5868"/>
                      <a:pt x="1782" y="5868"/>
                      <a:pt x="1782" y="5868"/>
                    </a:cubicBezTo>
                    <a:lnTo>
                      <a:pt x="1834" y="5897"/>
                    </a:lnTo>
                    <a:close/>
                    <a:moveTo>
                      <a:pt x="1776" y="5880"/>
                    </a:moveTo>
                    <a:cubicBezTo>
                      <a:pt x="1722" y="5974"/>
                      <a:pt x="1722" y="5974"/>
                      <a:pt x="1722" y="5974"/>
                    </a:cubicBezTo>
                    <a:cubicBezTo>
                      <a:pt x="1774" y="6004"/>
                      <a:pt x="1774" y="6004"/>
                      <a:pt x="1774" y="6004"/>
                    </a:cubicBezTo>
                    <a:cubicBezTo>
                      <a:pt x="1827" y="5909"/>
                      <a:pt x="1827" y="5909"/>
                      <a:pt x="1827" y="5909"/>
                    </a:cubicBezTo>
                    <a:lnTo>
                      <a:pt x="1776" y="5880"/>
                    </a:lnTo>
                    <a:close/>
                    <a:moveTo>
                      <a:pt x="1907" y="5768"/>
                    </a:moveTo>
                    <a:cubicBezTo>
                      <a:pt x="1960" y="5672"/>
                      <a:pt x="1960" y="5672"/>
                      <a:pt x="1960" y="5672"/>
                    </a:cubicBezTo>
                    <a:cubicBezTo>
                      <a:pt x="1910" y="5643"/>
                      <a:pt x="1910" y="5643"/>
                      <a:pt x="1910" y="5643"/>
                    </a:cubicBezTo>
                    <a:cubicBezTo>
                      <a:pt x="1856" y="5739"/>
                      <a:pt x="1856" y="5739"/>
                      <a:pt x="1856" y="5739"/>
                    </a:cubicBezTo>
                    <a:lnTo>
                      <a:pt x="1907" y="5768"/>
                    </a:lnTo>
                    <a:close/>
                    <a:moveTo>
                      <a:pt x="2091" y="5438"/>
                    </a:moveTo>
                    <a:cubicBezTo>
                      <a:pt x="2042" y="5410"/>
                      <a:pt x="2042" y="5410"/>
                      <a:pt x="2042" y="5410"/>
                    </a:cubicBezTo>
                    <a:cubicBezTo>
                      <a:pt x="1982" y="5516"/>
                      <a:pt x="1982" y="5516"/>
                      <a:pt x="1982" y="5516"/>
                    </a:cubicBezTo>
                    <a:cubicBezTo>
                      <a:pt x="2028" y="5542"/>
                      <a:pt x="2028" y="5542"/>
                      <a:pt x="2028" y="5542"/>
                    </a:cubicBezTo>
                    <a:cubicBezTo>
                      <a:pt x="2021" y="5554"/>
                      <a:pt x="2021" y="5554"/>
                      <a:pt x="2021" y="5554"/>
                    </a:cubicBezTo>
                    <a:cubicBezTo>
                      <a:pt x="1975" y="5528"/>
                      <a:pt x="1975" y="5528"/>
                      <a:pt x="1975" y="5528"/>
                    </a:cubicBezTo>
                    <a:cubicBezTo>
                      <a:pt x="1916" y="5631"/>
                      <a:pt x="1916" y="5631"/>
                      <a:pt x="1916" y="5631"/>
                    </a:cubicBezTo>
                    <a:cubicBezTo>
                      <a:pt x="1967" y="5660"/>
                      <a:pt x="1967" y="5660"/>
                      <a:pt x="1967" y="5660"/>
                    </a:cubicBezTo>
                    <a:lnTo>
                      <a:pt x="2091" y="5438"/>
                    </a:lnTo>
                    <a:close/>
                    <a:moveTo>
                      <a:pt x="2031" y="5403"/>
                    </a:moveTo>
                    <a:cubicBezTo>
                      <a:pt x="1917" y="5338"/>
                      <a:pt x="1917" y="5338"/>
                      <a:pt x="1917" y="5338"/>
                    </a:cubicBezTo>
                    <a:cubicBezTo>
                      <a:pt x="1856" y="5444"/>
                      <a:pt x="1856" y="5444"/>
                      <a:pt x="1856" y="5444"/>
                    </a:cubicBezTo>
                    <a:cubicBezTo>
                      <a:pt x="1970" y="5510"/>
                      <a:pt x="1970" y="5510"/>
                      <a:pt x="1970" y="5510"/>
                    </a:cubicBezTo>
                    <a:lnTo>
                      <a:pt x="2031" y="5403"/>
                    </a:lnTo>
                    <a:close/>
                    <a:moveTo>
                      <a:pt x="1850" y="5457"/>
                    </a:moveTo>
                    <a:cubicBezTo>
                      <a:pt x="1791" y="5560"/>
                      <a:pt x="1791" y="5560"/>
                      <a:pt x="1791" y="5560"/>
                    </a:cubicBezTo>
                    <a:cubicBezTo>
                      <a:pt x="1905" y="5625"/>
                      <a:pt x="1905" y="5625"/>
                      <a:pt x="1905" y="5625"/>
                    </a:cubicBezTo>
                    <a:cubicBezTo>
                      <a:pt x="1964" y="5522"/>
                      <a:pt x="1964" y="5522"/>
                      <a:pt x="1964" y="5522"/>
                    </a:cubicBezTo>
                    <a:lnTo>
                      <a:pt x="1850" y="5457"/>
                    </a:lnTo>
                    <a:close/>
                    <a:moveTo>
                      <a:pt x="1784" y="5572"/>
                    </a:moveTo>
                    <a:cubicBezTo>
                      <a:pt x="1730" y="5667"/>
                      <a:pt x="1730" y="5667"/>
                      <a:pt x="1730" y="5667"/>
                    </a:cubicBezTo>
                    <a:cubicBezTo>
                      <a:pt x="1844" y="5732"/>
                      <a:pt x="1844" y="5732"/>
                      <a:pt x="1844" y="5732"/>
                    </a:cubicBezTo>
                    <a:cubicBezTo>
                      <a:pt x="1898" y="5637"/>
                      <a:pt x="1898" y="5637"/>
                      <a:pt x="1898" y="5637"/>
                    </a:cubicBezTo>
                    <a:lnTo>
                      <a:pt x="1784" y="5572"/>
                    </a:lnTo>
                    <a:close/>
                    <a:moveTo>
                      <a:pt x="1723" y="5679"/>
                    </a:moveTo>
                    <a:cubicBezTo>
                      <a:pt x="1657" y="5796"/>
                      <a:pt x="1657" y="5796"/>
                      <a:pt x="1657" y="5796"/>
                    </a:cubicBezTo>
                    <a:cubicBezTo>
                      <a:pt x="1771" y="5861"/>
                      <a:pt x="1771" y="5861"/>
                      <a:pt x="1771" y="5861"/>
                    </a:cubicBezTo>
                    <a:cubicBezTo>
                      <a:pt x="1837" y="5744"/>
                      <a:pt x="1837" y="5744"/>
                      <a:pt x="1837" y="5744"/>
                    </a:cubicBezTo>
                    <a:lnTo>
                      <a:pt x="1723" y="5679"/>
                    </a:lnTo>
                    <a:close/>
                    <a:moveTo>
                      <a:pt x="1650" y="5808"/>
                    </a:moveTo>
                    <a:cubicBezTo>
                      <a:pt x="1596" y="5903"/>
                      <a:pt x="1596" y="5903"/>
                      <a:pt x="1596" y="5903"/>
                    </a:cubicBezTo>
                    <a:cubicBezTo>
                      <a:pt x="1710" y="5968"/>
                      <a:pt x="1710" y="5968"/>
                      <a:pt x="1710" y="5968"/>
                    </a:cubicBezTo>
                    <a:cubicBezTo>
                      <a:pt x="1764" y="5873"/>
                      <a:pt x="1764" y="5873"/>
                      <a:pt x="1764" y="5873"/>
                    </a:cubicBezTo>
                    <a:lnTo>
                      <a:pt x="1650" y="5808"/>
                    </a:lnTo>
                    <a:close/>
                    <a:moveTo>
                      <a:pt x="1590" y="5915"/>
                    </a:moveTo>
                    <a:cubicBezTo>
                      <a:pt x="1530" y="6020"/>
                      <a:pt x="1530" y="6020"/>
                      <a:pt x="1530" y="6020"/>
                    </a:cubicBezTo>
                    <a:cubicBezTo>
                      <a:pt x="1644" y="6085"/>
                      <a:pt x="1644" y="6085"/>
                      <a:pt x="1644" y="6085"/>
                    </a:cubicBezTo>
                    <a:cubicBezTo>
                      <a:pt x="1704" y="5980"/>
                      <a:pt x="1704" y="5980"/>
                      <a:pt x="1704" y="5980"/>
                    </a:cubicBezTo>
                    <a:lnTo>
                      <a:pt x="1590" y="5915"/>
                    </a:lnTo>
                    <a:close/>
                    <a:moveTo>
                      <a:pt x="1523" y="6032"/>
                    </a:moveTo>
                    <a:cubicBezTo>
                      <a:pt x="1471" y="6124"/>
                      <a:pt x="1471" y="6124"/>
                      <a:pt x="1471" y="6124"/>
                    </a:cubicBezTo>
                    <a:cubicBezTo>
                      <a:pt x="1585" y="6189"/>
                      <a:pt x="1585" y="6189"/>
                      <a:pt x="1585" y="6189"/>
                    </a:cubicBezTo>
                    <a:cubicBezTo>
                      <a:pt x="1637" y="6097"/>
                      <a:pt x="1637" y="6097"/>
                      <a:pt x="1637" y="6097"/>
                    </a:cubicBezTo>
                    <a:lnTo>
                      <a:pt x="1523" y="6032"/>
                    </a:lnTo>
                    <a:close/>
                    <a:moveTo>
                      <a:pt x="1464" y="6136"/>
                    </a:moveTo>
                    <a:cubicBezTo>
                      <a:pt x="1404" y="6243"/>
                      <a:pt x="1404" y="6243"/>
                      <a:pt x="1404" y="6243"/>
                    </a:cubicBezTo>
                    <a:cubicBezTo>
                      <a:pt x="1518" y="6308"/>
                      <a:pt x="1518" y="6308"/>
                      <a:pt x="1518" y="6308"/>
                    </a:cubicBezTo>
                    <a:cubicBezTo>
                      <a:pt x="1578" y="6201"/>
                      <a:pt x="1578" y="6201"/>
                      <a:pt x="1578" y="6201"/>
                    </a:cubicBezTo>
                    <a:lnTo>
                      <a:pt x="1464" y="6136"/>
                    </a:lnTo>
                    <a:close/>
                    <a:moveTo>
                      <a:pt x="1529" y="6314"/>
                    </a:moveTo>
                    <a:cubicBezTo>
                      <a:pt x="1583" y="6345"/>
                      <a:pt x="1583" y="6345"/>
                      <a:pt x="1583" y="6345"/>
                    </a:cubicBezTo>
                    <a:cubicBezTo>
                      <a:pt x="1643" y="6239"/>
                      <a:pt x="1643" y="6239"/>
                      <a:pt x="1643" y="6239"/>
                    </a:cubicBezTo>
                    <a:cubicBezTo>
                      <a:pt x="1589" y="6208"/>
                      <a:pt x="1589" y="6208"/>
                      <a:pt x="1589" y="6208"/>
                    </a:cubicBezTo>
                    <a:lnTo>
                      <a:pt x="1529" y="6314"/>
                    </a:lnTo>
                    <a:close/>
                    <a:moveTo>
                      <a:pt x="1650" y="6226"/>
                    </a:moveTo>
                    <a:cubicBezTo>
                      <a:pt x="1701" y="6134"/>
                      <a:pt x="1701" y="6134"/>
                      <a:pt x="1701" y="6134"/>
                    </a:cubicBezTo>
                    <a:cubicBezTo>
                      <a:pt x="1648" y="6104"/>
                      <a:pt x="1648" y="6104"/>
                      <a:pt x="1648" y="6104"/>
                    </a:cubicBezTo>
                    <a:cubicBezTo>
                      <a:pt x="1596" y="6196"/>
                      <a:pt x="1596" y="6196"/>
                      <a:pt x="1596" y="6196"/>
                    </a:cubicBezTo>
                    <a:lnTo>
                      <a:pt x="1650" y="6226"/>
                    </a:lnTo>
                    <a:close/>
                    <a:moveTo>
                      <a:pt x="1708" y="6122"/>
                    </a:moveTo>
                    <a:cubicBezTo>
                      <a:pt x="1767" y="6016"/>
                      <a:pt x="1767" y="6016"/>
                      <a:pt x="1767" y="6016"/>
                    </a:cubicBezTo>
                    <a:cubicBezTo>
                      <a:pt x="1715" y="5986"/>
                      <a:pt x="1715" y="5986"/>
                      <a:pt x="1715" y="5986"/>
                    </a:cubicBezTo>
                    <a:cubicBezTo>
                      <a:pt x="1655" y="6092"/>
                      <a:pt x="1655" y="6092"/>
                      <a:pt x="1655" y="6092"/>
                    </a:cubicBezTo>
                    <a:lnTo>
                      <a:pt x="1708" y="6122"/>
                    </a:lnTo>
                    <a:close/>
                    <a:moveTo>
                      <a:pt x="1725" y="6226"/>
                    </a:moveTo>
                    <a:cubicBezTo>
                      <a:pt x="2004" y="6385"/>
                      <a:pt x="2004" y="6385"/>
                      <a:pt x="2004" y="6385"/>
                    </a:cubicBezTo>
                    <a:cubicBezTo>
                      <a:pt x="2016" y="6368"/>
                      <a:pt x="2039" y="6337"/>
                      <a:pt x="2062" y="6305"/>
                    </a:cubicBezTo>
                    <a:cubicBezTo>
                      <a:pt x="2078" y="6282"/>
                      <a:pt x="2095" y="6259"/>
                      <a:pt x="2107" y="6241"/>
                    </a:cubicBezTo>
                    <a:cubicBezTo>
                      <a:pt x="2113" y="6232"/>
                      <a:pt x="2119" y="6224"/>
                      <a:pt x="2122" y="6219"/>
                    </a:cubicBezTo>
                    <a:cubicBezTo>
                      <a:pt x="2123" y="6217"/>
                      <a:pt x="2124" y="6216"/>
                      <a:pt x="2125" y="6214"/>
                    </a:cubicBezTo>
                    <a:cubicBezTo>
                      <a:pt x="2125" y="6214"/>
                      <a:pt x="2125" y="6214"/>
                      <a:pt x="2125" y="6214"/>
                    </a:cubicBezTo>
                    <a:cubicBezTo>
                      <a:pt x="2127" y="6210"/>
                      <a:pt x="2127" y="6210"/>
                      <a:pt x="2127" y="6210"/>
                    </a:cubicBezTo>
                    <a:cubicBezTo>
                      <a:pt x="2127" y="6210"/>
                      <a:pt x="2127" y="6209"/>
                      <a:pt x="2127" y="6209"/>
                    </a:cubicBezTo>
                    <a:cubicBezTo>
                      <a:pt x="2128" y="6207"/>
                      <a:pt x="2130" y="6207"/>
                      <a:pt x="2130" y="6206"/>
                    </a:cubicBezTo>
                    <a:cubicBezTo>
                      <a:pt x="2134" y="6204"/>
                      <a:pt x="2137" y="6204"/>
                      <a:pt x="2145" y="6203"/>
                    </a:cubicBezTo>
                    <a:cubicBezTo>
                      <a:pt x="2189" y="6194"/>
                      <a:pt x="2340" y="6174"/>
                      <a:pt x="2363" y="6171"/>
                    </a:cubicBezTo>
                    <a:cubicBezTo>
                      <a:pt x="2371" y="6158"/>
                      <a:pt x="2404" y="6107"/>
                      <a:pt x="2440" y="6055"/>
                    </a:cubicBezTo>
                    <a:cubicBezTo>
                      <a:pt x="2442" y="6052"/>
                      <a:pt x="2444" y="6050"/>
                      <a:pt x="2446" y="6047"/>
                    </a:cubicBezTo>
                    <a:cubicBezTo>
                      <a:pt x="2397" y="6040"/>
                      <a:pt x="2134" y="6013"/>
                      <a:pt x="2128" y="6013"/>
                    </a:cubicBezTo>
                    <a:cubicBezTo>
                      <a:pt x="2121" y="6012"/>
                      <a:pt x="2120" y="6009"/>
                      <a:pt x="2112" y="6005"/>
                    </a:cubicBezTo>
                    <a:cubicBezTo>
                      <a:pt x="2075" y="5982"/>
                      <a:pt x="1966" y="5906"/>
                      <a:pt x="1922" y="5875"/>
                    </a:cubicBezTo>
                    <a:cubicBezTo>
                      <a:pt x="1825" y="6048"/>
                      <a:pt x="1825" y="6048"/>
                      <a:pt x="1825" y="6048"/>
                    </a:cubicBezTo>
                    <a:cubicBezTo>
                      <a:pt x="1836" y="6056"/>
                      <a:pt x="1836" y="6056"/>
                      <a:pt x="1836" y="6056"/>
                    </a:cubicBezTo>
                    <a:cubicBezTo>
                      <a:pt x="1911" y="5904"/>
                      <a:pt x="1911" y="5904"/>
                      <a:pt x="1911" y="5904"/>
                    </a:cubicBezTo>
                    <a:cubicBezTo>
                      <a:pt x="2031" y="5962"/>
                      <a:pt x="2031" y="5962"/>
                      <a:pt x="2031" y="5962"/>
                    </a:cubicBezTo>
                    <a:cubicBezTo>
                      <a:pt x="2028" y="5968"/>
                      <a:pt x="2028" y="5968"/>
                      <a:pt x="2028" y="5968"/>
                    </a:cubicBezTo>
                    <a:cubicBezTo>
                      <a:pt x="1943" y="6135"/>
                      <a:pt x="1943" y="6135"/>
                      <a:pt x="1943" y="6135"/>
                    </a:cubicBezTo>
                    <a:cubicBezTo>
                      <a:pt x="2099" y="6251"/>
                      <a:pt x="2099" y="6251"/>
                      <a:pt x="2099" y="6251"/>
                    </a:cubicBezTo>
                    <a:cubicBezTo>
                      <a:pt x="2091" y="6262"/>
                      <a:pt x="2091" y="6262"/>
                      <a:pt x="2091" y="6262"/>
                    </a:cubicBezTo>
                    <a:cubicBezTo>
                      <a:pt x="1937" y="6148"/>
                      <a:pt x="1937" y="6148"/>
                      <a:pt x="1937" y="6148"/>
                    </a:cubicBezTo>
                    <a:cubicBezTo>
                      <a:pt x="1875" y="6269"/>
                      <a:pt x="1875" y="6269"/>
                      <a:pt x="1875" y="6269"/>
                    </a:cubicBezTo>
                    <a:cubicBezTo>
                      <a:pt x="1758" y="6211"/>
                      <a:pt x="1758" y="6211"/>
                      <a:pt x="1758" y="6211"/>
                    </a:cubicBezTo>
                    <a:cubicBezTo>
                      <a:pt x="1829" y="6069"/>
                      <a:pt x="1829" y="6069"/>
                      <a:pt x="1829" y="6069"/>
                    </a:cubicBezTo>
                    <a:cubicBezTo>
                      <a:pt x="1818" y="6060"/>
                      <a:pt x="1818" y="6060"/>
                      <a:pt x="1818" y="6060"/>
                    </a:cubicBezTo>
                    <a:lnTo>
                      <a:pt x="1725" y="6226"/>
                    </a:lnTo>
                    <a:close/>
                    <a:moveTo>
                      <a:pt x="1840" y="6076"/>
                    </a:moveTo>
                    <a:cubicBezTo>
                      <a:pt x="1776" y="6205"/>
                      <a:pt x="1776" y="6205"/>
                      <a:pt x="1776" y="6205"/>
                    </a:cubicBezTo>
                    <a:cubicBezTo>
                      <a:pt x="1870" y="6251"/>
                      <a:pt x="1870" y="6251"/>
                      <a:pt x="1870" y="6251"/>
                    </a:cubicBezTo>
                    <a:cubicBezTo>
                      <a:pt x="1926" y="6140"/>
                      <a:pt x="1926" y="6140"/>
                      <a:pt x="1926" y="6140"/>
                    </a:cubicBezTo>
                    <a:lnTo>
                      <a:pt x="1840" y="6076"/>
                    </a:lnTo>
                    <a:close/>
                    <a:moveTo>
                      <a:pt x="1932" y="6127"/>
                    </a:moveTo>
                    <a:cubicBezTo>
                      <a:pt x="2013" y="5968"/>
                      <a:pt x="2013" y="5968"/>
                      <a:pt x="2013" y="5968"/>
                    </a:cubicBezTo>
                    <a:cubicBezTo>
                      <a:pt x="1917" y="5922"/>
                      <a:pt x="1917" y="5922"/>
                      <a:pt x="1917" y="5922"/>
                    </a:cubicBezTo>
                    <a:cubicBezTo>
                      <a:pt x="1846" y="6064"/>
                      <a:pt x="1846" y="6064"/>
                      <a:pt x="1846" y="6064"/>
                    </a:cubicBezTo>
                    <a:lnTo>
                      <a:pt x="1932" y="6127"/>
                    </a:lnTo>
                    <a:close/>
                    <a:moveTo>
                      <a:pt x="2017" y="6392"/>
                    </a:moveTo>
                    <a:cubicBezTo>
                      <a:pt x="2272" y="6537"/>
                      <a:pt x="2272" y="6537"/>
                      <a:pt x="2272" y="6537"/>
                    </a:cubicBezTo>
                    <a:cubicBezTo>
                      <a:pt x="2339" y="6433"/>
                      <a:pt x="2393" y="6348"/>
                      <a:pt x="2403" y="6332"/>
                    </a:cubicBezTo>
                    <a:cubicBezTo>
                      <a:pt x="2362" y="6185"/>
                      <a:pt x="2362" y="6185"/>
                      <a:pt x="2362" y="6185"/>
                    </a:cubicBezTo>
                    <a:cubicBezTo>
                      <a:pt x="2346" y="6187"/>
                      <a:pt x="2299" y="6193"/>
                      <a:pt x="2251" y="6200"/>
                    </a:cubicBezTo>
                    <a:cubicBezTo>
                      <a:pt x="2222" y="6205"/>
                      <a:pt x="2193" y="6209"/>
                      <a:pt x="2171" y="6212"/>
                    </a:cubicBezTo>
                    <a:cubicBezTo>
                      <a:pt x="2160" y="6214"/>
                      <a:pt x="2151" y="6216"/>
                      <a:pt x="2145" y="6217"/>
                    </a:cubicBezTo>
                    <a:cubicBezTo>
                      <a:pt x="2143" y="6217"/>
                      <a:pt x="2141" y="6218"/>
                      <a:pt x="2139" y="6218"/>
                    </a:cubicBezTo>
                    <a:cubicBezTo>
                      <a:pt x="2138" y="6220"/>
                      <a:pt x="2136" y="6222"/>
                      <a:pt x="2134" y="6226"/>
                    </a:cubicBezTo>
                    <a:cubicBezTo>
                      <a:pt x="2113" y="6259"/>
                      <a:pt x="2043" y="6355"/>
                      <a:pt x="2017" y="6392"/>
                    </a:cubicBezTo>
                    <a:close/>
                    <a:moveTo>
                      <a:pt x="3065" y="7372"/>
                    </a:moveTo>
                    <a:cubicBezTo>
                      <a:pt x="3067" y="7375"/>
                      <a:pt x="3068" y="7378"/>
                      <a:pt x="3070" y="7381"/>
                    </a:cubicBezTo>
                    <a:cubicBezTo>
                      <a:pt x="3124" y="7349"/>
                      <a:pt x="3172" y="7314"/>
                      <a:pt x="3207" y="7289"/>
                    </a:cubicBezTo>
                    <a:cubicBezTo>
                      <a:pt x="3258" y="7255"/>
                      <a:pt x="3338" y="7236"/>
                      <a:pt x="3409" y="7221"/>
                    </a:cubicBezTo>
                    <a:cubicBezTo>
                      <a:pt x="3432" y="7216"/>
                      <a:pt x="3454" y="7213"/>
                      <a:pt x="3474" y="7209"/>
                    </a:cubicBezTo>
                    <a:cubicBezTo>
                      <a:pt x="3443" y="7181"/>
                      <a:pt x="3413" y="7156"/>
                      <a:pt x="3387" y="7137"/>
                    </a:cubicBezTo>
                    <a:cubicBezTo>
                      <a:pt x="3270" y="7055"/>
                      <a:pt x="3163" y="6993"/>
                      <a:pt x="3076" y="6906"/>
                    </a:cubicBezTo>
                    <a:cubicBezTo>
                      <a:pt x="3029" y="6859"/>
                      <a:pt x="2996" y="6803"/>
                      <a:pt x="2976" y="6749"/>
                    </a:cubicBezTo>
                    <a:cubicBezTo>
                      <a:pt x="2816" y="6804"/>
                      <a:pt x="2816" y="6804"/>
                      <a:pt x="2816" y="6804"/>
                    </a:cubicBezTo>
                    <a:cubicBezTo>
                      <a:pt x="2831" y="6836"/>
                      <a:pt x="2891" y="6976"/>
                      <a:pt x="2950" y="7112"/>
                    </a:cubicBezTo>
                    <a:cubicBezTo>
                      <a:pt x="2981" y="7184"/>
                      <a:pt x="3012" y="7255"/>
                      <a:pt x="3036" y="7308"/>
                    </a:cubicBezTo>
                    <a:cubicBezTo>
                      <a:pt x="3048" y="7334"/>
                      <a:pt x="3058" y="7356"/>
                      <a:pt x="3065" y="7372"/>
                    </a:cubicBezTo>
                    <a:close/>
                    <a:moveTo>
                      <a:pt x="3429" y="7087"/>
                    </a:moveTo>
                    <a:cubicBezTo>
                      <a:pt x="3538" y="6755"/>
                      <a:pt x="3538" y="6755"/>
                      <a:pt x="3538" y="6755"/>
                    </a:cubicBezTo>
                    <a:cubicBezTo>
                      <a:pt x="3064" y="6526"/>
                      <a:pt x="3064" y="6526"/>
                      <a:pt x="3064" y="6526"/>
                    </a:cubicBezTo>
                    <a:cubicBezTo>
                      <a:pt x="3058" y="6539"/>
                      <a:pt x="3052" y="6552"/>
                      <a:pt x="3047" y="6563"/>
                    </a:cubicBezTo>
                    <a:cubicBezTo>
                      <a:pt x="3039" y="6580"/>
                      <a:pt x="3032" y="6595"/>
                      <a:pt x="3028" y="6605"/>
                    </a:cubicBezTo>
                    <a:cubicBezTo>
                      <a:pt x="3026" y="6610"/>
                      <a:pt x="3024" y="6615"/>
                      <a:pt x="3023" y="6618"/>
                    </a:cubicBezTo>
                    <a:cubicBezTo>
                      <a:pt x="3022" y="6619"/>
                      <a:pt x="3022" y="6621"/>
                      <a:pt x="3022" y="6621"/>
                    </a:cubicBezTo>
                    <a:cubicBezTo>
                      <a:pt x="3021" y="6622"/>
                      <a:pt x="3021" y="6622"/>
                      <a:pt x="3021" y="6622"/>
                    </a:cubicBezTo>
                    <a:cubicBezTo>
                      <a:pt x="3021" y="6622"/>
                      <a:pt x="3021" y="6622"/>
                      <a:pt x="3021" y="6622"/>
                    </a:cubicBezTo>
                    <a:cubicBezTo>
                      <a:pt x="3020" y="6627"/>
                      <a:pt x="3020" y="6634"/>
                      <a:pt x="3020" y="6641"/>
                    </a:cubicBezTo>
                    <a:cubicBezTo>
                      <a:pt x="3019" y="6695"/>
                      <a:pt x="3056" y="6794"/>
                      <a:pt x="3122" y="6859"/>
                    </a:cubicBezTo>
                    <a:cubicBezTo>
                      <a:pt x="3201" y="6938"/>
                      <a:pt x="3305" y="6999"/>
                      <a:pt x="3425" y="7083"/>
                    </a:cubicBezTo>
                    <a:cubicBezTo>
                      <a:pt x="3426" y="7085"/>
                      <a:pt x="3428" y="7086"/>
                      <a:pt x="3429" y="7087"/>
                    </a:cubicBezTo>
                    <a:close/>
                    <a:moveTo>
                      <a:pt x="3545" y="6743"/>
                    </a:moveTo>
                    <a:cubicBezTo>
                      <a:pt x="3790" y="6529"/>
                      <a:pt x="3790" y="6529"/>
                      <a:pt x="3790" y="6529"/>
                    </a:cubicBezTo>
                    <a:cubicBezTo>
                      <a:pt x="3864" y="6347"/>
                      <a:pt x="3864" y="6347"/>
                      <a:pt x="3864" y="6347"/>
                    </a:cubicBezTo>
                    <a:cubicBezTo>
                      <a:pt x="3863" y="6347"/>
                      <a:pt x="3863" y="6346"/>
                      <a:pt x="3862" y="6346"/>
                    </a:cubicBezTo>
                    <a:cubicBezTo>
                      <a:pt x="3861" y="6345"/>
                      <a:pt x="3859" y="6346"/>
                      <a:pt x="3858" y="6339"/>
                    </a:cubicBezTo>
                    <a:cubicBezTo>
                      <a:pt x="3858" y="6335"/>
                      <a:pt x="3863" y="6332"/>
                      <a:pt x="3864" y="6332"/>
                    </a:cubicBezTo>
                    <a:cubicBezTo>
                      <a:pt x="3866" y="6339"/>
                      <a:pt x="3866" y="6339"/>
                      <a:pt x="3866" y="6339"/>
                    </a:cubicBezTo>
                    <a:cubicBezTo>
                      <a:pt x="3866" y="6339"/>
                      <a:pt x="3866" y="6339"/>
                      <a:pt x="3866" y="6339"/>
                    </a:cubicBezTo>
                    <a:cubicBezTo>
                      <a:pt x="3867" y="6338"/>
                      <a:pt x="3867" y="6338"/>
                      <a:pt x="3867" y="6338"/>
                    </a:cubicBezTo>
                    <a:cubicBezTo>
                      <a:pt x="3869" y="6334"/>
                      <a:pt x="3869" y="6334"/>
                      <a:pt x="3869" y="6334"/>
                    </a:cubicBezTo>
                    <a:cubicBezTo>
                      <a:pt x="3870" y="6326"/>
                      <a:pt x="3874" y="6270"/>
                      <a:pt x="3874" y="6231"/>
                    </a:cubicBezTo>
                    <a:cubicBezTo>
                      <a:pt x="3874" y="6221"/>
                      <a:pt x="3874" y="6211"/>
                      <a:pt x="3873" y="6205"/>
                    </a:cubicBezTo>
                    <a:cubicBezTo>
                      <a:pt x="3873" y="6201"/>
                      <a:pt x="3872" y="6199"/>
                      <a:pt x="3872" y="6197"/>
                    </a:cubicBezTo>
                    <a:cubicBezTo>
                      <a:pt x="3872" y="6197"/>
                      <a:pt x="3872" y="6197"/>
                      <a:pt x="3872" y="6197"/>
                    </a:cubicBezTo>
                    <a:cubicBezTo>
                      <a:pt x="3866" y="6195"/>
                      <a:pt x="3866" y="6195"/>
                      <a:pt x="3866" y="6195"/>
                    </a:cubicBezTo>
                    <a:cubicBezTo>
                      <a:pt x="3977" y="5995"/>
                      <a:pt x="3977" y="5995"/>
                      <a:pt x="3977" y="5995"/>
                    </a:cubicBezTo>
                    <a:cubicBezTo>
                      <a:pt x="4012" y="5556"/>
                      <a:pt x="4012" y="5556"/>
                      <a:pt x="4012" y="5556"/>
                    </a:cubicBezTo>
                    <a:cubicBezTo>
                      <a:pt x="3995" y="5558"/>
                      <a:pt x="3953" y="5563"/>
                      <a:pt x="3910" y="5569"/>
                    </a:cubicBezTo>
                    <a:cubicBezTo>
                      <a:pt x="3865" y="5574"/>
                      <a:pt x="3820" y="5580"/>
                      <a:pt x="3806" y="5581"/>
                    </a:cubicBezTo>
                    <a:cubicBezTo>
                      <a:pt x="3776" y="5663"/>
                      <a:pt x="3776" y="5663"/>
                      <a:pt x="3776" y="5663"/>
                    </a:cubicBezTo>
                    <a:cubicBezTo>
                      <a:pt x="3770" y="5661"/>
                      <a:pt x="3770" y="5661"/>
                      <a:pt x="3770" y="5661"/>
                    </a:cubicBezTo>
                    <a:cubicBezTo>
                      <a:pt x="3770" y="5661"/>
                      <a:pt x="3707" y="5646"/>
                      <a:pt x="3643" y="5630"/>
                    </a:cubicBezTo>
                    <a:cubicBezTo>
                      <a:pt x="3599" y="5620"/>
                      <a:pt x="3553" y="5609"/>
                      <a:pt x="3528" y="5603"/>
                    </a:cubicBezTo>
                    <a:cubicBezTo>
                      <a:pt x="3499" y="5661"/>
                      <a:pt x="3457" y="5742"/>
                      <a:pt x="3411" y="5834"/>
                    </a:cubicBezTo>
                    <a:cubicBezTo>
                      <a:pt x="3974" y="5990"/>
                      <a:pt x="3974" y="5990"/>
                      <a:pt x="3974" y="5990"/>
                    </a:cubicBezTo>
                    <a:cubicBezTo>
                      <a:pt x="3970" y="6004"/>
                      <a:pt x="3970" y="6004"/>
                      <a:pt x="3970" y="6004"/>
                    </a:cubicBezTo>
                    <a:cubicBezTo>
                      <a:pt x="3404" y="5847"/>
                      <a:pt x="3404" y="5847"/>
                      <a:pt x="3404" y="5847"/>
                    </a:cubicBezTo>
                    <a:cubicBezTo>
                      <a:pt x="3372" y="5910"/>
                      <a:pt x="3337" y="5979"/>
                      <a:pt x="3302" y="6048"/>
                    </a:cubicBezTo>
                    <a:cubicBezTo>
                      <a:pt x="3277" y="6097"/>
                      <a:pt x="3252" y="6146"/>
                      <a:pt x="3228" y="6195"/>
                    </a:cubicBezTo>
                    <a:cubicBezTo>
                      <a:pt x="3827" y="6433"/>
                      <a:pt x="3827" y="6433"/>
                      <a:pt x="3827" y="6433"/>
                    </a:cubicBezTo>
                    <a:cubicBezTo>
                      <a:pt x="3822" y="6446"/>
                      <a:pt x="3822" y="6446"/>
                      <a:pt x="3822" y="6446"/>
                    </a:cubicBezTo>
                    <a:cubicBezTo>
                      <a:pt x="3222" y="6207"/>
                      <a:pt x="3222" y="6207"/>
                      <a:pt x="3222" y="6207"/>
                    </a:cubicBezTo>
                    <a:cubicBezTo>
                      <a:pt x="3181" y="6287"/>
                      <a:pt x="3143" y="6364"/>
                      <a:pt x="3111" y="6429"/>
                    </a:cubicBezTo>
                    <a:cubicBezTo>
                      <a:pt x="3096" y="6460"/>
                      <a:pt x="3082" y="6488"/>
                      <a:pt x="3070" y="6513"/>
                    </a:cubicBezTo>
                    <a:lnTo>
                      <a:pt x="3545" y="6743"/>
                    </a:lnTo>
                    <a:close/>
                    <a:moveTo>
                      <a:pt x="4071" y="6683"/>
                    </a:moveTo>
                    <a:cubicBezTo>
                      <a:pt x="4207" y="6506"/>
                      <a:pt x="4207" y="6506"/>
                      <a:pt x="4207" y="6506"/>
                    </a:cubicBezTo>
                    <a:cubicBezTo>
                      <a:pt x="4186" y="6497"/>
                      <a:pt x="4112" y="6464"/>
                      <a:pt x="4038" y="6430"/>
                    </a:cubicBezTo>
                    <a:cubicBezTo>
                      <a:pt x="3994" y="6410"/>
                      <a:pt x="3950" y="6390"/>
                      <a:pt x="3917" y="6375"/>
                    </a:cubicBezTo>
                    <a:cubicBezTo>
                      <a:pt x="3901" y="6367"/>
                      <a:pt x="3887" y="6360"/>
                      <a:pt x="3877" y="6355"/>
                    </a:cubicBezTo>
                    <a:cubicBezTo>
                      <a:pt x="3877" y="6355"/>
                      <a:pt x="3876" y="6354"/>
                      <a:pt x="3876" y="6354"/>
                    </a:cubicBezTo>
                    <a:cubicBezTo>
                      <a:pt x="3805" y="6530"/>
                      <a:pt x="3805" y="6530"/>
                      <a:pt x="3805" y="6530"/>
                    </a:cubicBezTo>
                    <a:lnTo>
                      <a:pt x="4071" y="6683"/>
                    </a:lnTo>
                    <a:close/>
                    <a:moveTo>
                      <a:pt x="4216" y="6494"/>
                    </a:moveTo>
                    <a:cubicBezTo>
                      <a:pt x="4217" y="6493"/>
                      <a:pt x="4217" y="6493"/>
                      <a:pt x="4217" y="6493"/>
                    </a:cubicBezTo>
                    <a:cubicBezTo>
                      <a:pt x="4331" y="6543"/>
                      <a:pt x="4331" y="6543"/>
                      <a:pt x="4331" y="6543"/>
                    </a:cubicBezTo>
                    <a:cubicBezTo>
                      <a:pt x="4375" y="6629"/>
                      <a:pt x="4375" y="6629"/>
                      <a:pt x="4375" y="6629"/>
                    </a:cubicBezTo>
                    <a:cubicBezTo>
                      <a:pt x="4375" y="6629"/>
                      <a:pt x="4375" y="6629"/>
                      <a:pt x="4375" y="6629"/>
                    </a:cubicBezTo>
                    <a:cubicBezTo>
                      <a:pt x="4538" y="6710"/>
                      <a:pt x="4538" y="6710"/>
                      <a:pt x="4538" y="6710"/>
                    </a:cubicBezTo>
                    <a:cubicBezTo>
                      <a:pt x="4557" y="6610"/>
                      <a:pt x="4580" y="6492"/>
                      <a:pt x="4604" y="6369"/>
                    </a:cubicBezTo>
                    <a:cubicBezTo>
                      <a:pt x="4556" y="6362"/>
                      <a:pt x="4556" y="6362"/>
                      <a:pt x="4556" y="6362"/>
                    </a:cubicBezTo>
                    <a:cubicBezTo>
                      <a:pt x="4540" y="6448"/>
                      <a:pt x="4540" y="6448"/>
                      <a:pt x="4540" y="6448"/>
                    </a:cubicBezTo>
                    <a:cubicBezTo>
                      <a:pt x="4386" y="6422"/>
                      <a:pt x="4386" y="6422"/>
                      <a:pt x="4386" y="6422"/>
                    </a:cubicBezTo>
                    <a:cubicBezTo>
                      <a:pt x="4401" y="6339"/>
                      <a:pt x="4401" y="6339"/>
                      <a:pt x="4401" y="6339"/>
                    </a:cubicBezTo>
                    <a:cubicBezTo>
                      <a:pt x="4241" y="6315"/>
                      <a:pt x="4241" y="6315"/>
                      <a:pt x="4241" y="6315"/>
                    </a:cubicBezTo>
                    <a:cubicBezTo>
                      <a:pt x="3887" y="6202"/>
                      <a:pt x="3887" y="6202"/>
                      <a:pt x="3887" y="6202"/>
                    </a:cubicBezTo>
                    <a:cubicBezTo>
                      <a:pt x="3887" y="6202"/>
                      <a:pt x="3887" y="6203"/>
                      <a:pt x="3887" y="6203"/>
                    </a:cubicBezTo>
                    <a:cubicBezTo>
                      <a:pt x="3888" y="6211"/>
                      <a:pt x="3888" y="6220"/>
                      <a:pt x="3888" y="6231"/>
                    </a:cubicBezTo>
                    <a:cubicBezTo>
                      <a:pt x="3888" y="6275"/>
                      <a:pt x="3883" y="6336"/>
                      <a:pt x="3883" y="6336"/>
                    </a:cubicBezTo>
                    <a:cubicBezTo>
                      <a:pt x="3883" y="6337"/>
                      <a:pt x="3883" y="6337"/>
                      <a:pt x="3883" y="6337"/>
                    </a:cubicBezTo>
                    <a:cubicBezTo>
                      <a:pt x="3881" y="6341"/>
                      <a:pt x="3881" y="6341"/>
                      <a:pt x="3881" y="6341"/>
                    </a:cubicBezTo>
                    <a:cubicBezTo>
                      <a:pt x="3908" y="6355"/>
                      <a:pt x="3981" y="6389"/>
                      <a:pt x="4052" y="6421"/>
                    </a:cubicBezTo>
                    <a:cubicBezTo>
                      <a:pt x="4127" y="6455"/>
                      <a:pt x="4200" y="6488"/>
                      <a:pt x="4216" y="6494"/>
                    </a:cubicBezTo>
                    <a:close/>
                    <a:moveTo>
                      <a:pt x="4369" y="6642"/>
                    </a:moveTo>
                    <a:cubicBezTo>
                      <a:pt x="4200" y="6997"/>
                      <a:pt x="4200" y="6997"/>
                      <a:pt x="4200" y="6997"/>
                    </a:cubicBezTo>
                    <a:cubicBezTo>
                      <a:pt x="4262" y="7094"/>
                      <a:pt x="4262" y="7094"/>
                      <a:pt x="4262" y="7094"/>
                    </a:cubicBezTo>
                    <a:cubicBezTo>
                      <a:pt x="4468" y="7108"/>
                      <a:pt x="4468" y="7108"/>
                      <a:pt x="4468" y="7108"/>
                    </a:cubicBezTo>
                    <a:cubicBezTo>
                      <a:pt x="4479" y="7061"/>
                      <a:pt x="4488" y="7010"/>
                      <a:pt x="4495" y="6957"/>
                    </a:cubicBezTo>
                    <a:cubicBezTo>
                      <a:pt x="4501" y="6911"/>
                      <a:pt x="4516" y="6828"/>
                      <a:pt x="4535" y="6724"/>
                    </a:cubicBezTo>
                    <a:lnTo>
                      <a:pt x="4369" y="6642"/>
                    </a:lnTo>
                    <a:close/>
                    <a:moveTo>
                      <a:pt x="4410" y="7749"/>
                    </a:moveTo>
                    <a:cubicBezTo>
                      <a:pt x="4419" y="7789"/>
                      <a:pt x="4419" y="7789"/>
                      <a:pt x="4419" y="7789"/>
                    </a:cubicBezTo>
                    <a:cubicBezTo>
                      <a:pt x="4663" y="7754"/>
                      <a:pt x="4663" y="7754"/>
                      <a:pt x="4663" y="7754"/>
                    </a:cubicBezTo>
                    <a:cubicBezTo>
                      <a:pt x="4639" y="7605"/>
                      <a:pt x="4639" y="7605"/>
                      <a:pt x="4639" y="7605"/>
                    </a:cubicBezTo>
                    <a:lnTo>
                      <a:pt x="4410" y="7749"/>
                    </a:lnTo>
                    <a:close/>
                    <a:moveTo>
                      <a:pt x="4422" y="7802"/>
                    </a:moveTo>
                    <a:cubicBezTo>
                      <a:pt x="4450" y="7930"/>
                      <a:pt x="4450" y="7930"/>
                      <a:pt x="4450" y="7930"/>
                    </a:cubicBezTo>
                    <a:cubicBezTo>
                      <a:pt x="4686" y="7897"/>
                      <a:pt x="4686" y="7897"/>
                      <a:pt x="4686" y="7897"/>
                    </a:cubicBezTo>
                    <a:cubicBezTo>
                      <a:pt x="4666" y="7767"/>
                      <a:pt x="4666" y="7767"/>
                      <a:pt x="4666" y="7767"/>
                    </a:cubicBezTo>
                    <a:lnTo>
                      <a:pt x="4422" y="7802"/>
                    </a:lnTo>
                    <a:close/>
                    <a:moveTo>
                      <a:pt x="4677" y="7753"/>
                    </a:moveTo>
                    <a:cubicBezTo>
                      <a:pt x="4784" y="7737"/>
                      <a:pt x="4784" y="7737"/>
                      <a:pt x="4784" y="7737"/>
                    </a:cubicBezTo>
                    <a:cubicBezTo>
                      <a:pt x="4776" y="7686"/>
                      <a:pt x="4768" y="7635"/>
                      <a:pt x="4761" y="7597"/>
                    </a:cubicBezTo>
                    <a:cubicBezTo>
                      <a:pt x="4758" y="7575"/>
                      <a:pt x="4754" y="7558"/>
                      <a:pt x="4752" y="7545"/>
                    </a:cubicBezTo>
                    <a:cubicBezTo>
                      <a:pt x="4751" y="7541"/>
                      <a:pt x="4750" y="7538"/>
                      <a:pt x="4750" y="7535"/>
                    </a:cubicBezTo>
                    <a:cubicBezTo>
                      <a:pt x="4644" y="7602"/>
                      <a:pt x="4644" y="7602"/>
                      <a:pt x="4644" y="7602"/>
                    </a:cubicBezTo>
                    <a:cubicBezTo>
                      <a:pt x="4653" y="7600"/>
                      <a:pt x="4653" y="7600"/>
                      <a:pt x="4653" y="7600"/>
                    </a:cubicBezTo>
                    <a:lnTo>
                      <a:pt x="4677" y="7753"/>
                    </a:lnTo>
                    <a:close/>
                    <a:moveTo>
                      <a:pt x="4798" y="7736"/>
                    </a:moveTo>
                    <a:cubicBezTo>
                      <a:pt x="4911" y="7719"/>
                      <a:pt x="4911" y="7719"/>
                      <a:pt x="4911" y="7719"/>
                    </a:cubicBezTo>
                    <a:cubicBezTo>
                      <a:pt x="4889" y="7582"/>
                      <a:pt x="4889" y="7582"/>
                      <a:pt x="4889" y="7582"/>
                    </a:cubicBezTo>
                    <a:cubicBezTo>
                      <a:pt x="4764" y="7536"/>
                      <a:pt x="4764" y="7536"/>
                      <a:pt x="4764" y="7536"/>
                    </a:cubicBezTo>
                    <a:cubicBezTo>
                      <a:pt x="4765" y="7539"/>
                      <a:pt x="4766" y="7542"/>
                      <a:pt x="4767" y="7547"/>
                    </a:cubicBezTo>
                    <a:cubicBezTo>
                      <a:pt x="4774" y="7584"/>
                      <a:pt x="4786" y="7659"/>
                      <a:pt x="4798" y="7736"/>
                    </a:cubicBezTo>
                    <a:close/>
                    <a:moveTo>
                      <a:pt x="4800" y="7749"/>
                    </a:moveTo>
                    <a:cubicBezTo>
                      <a:pt x="4807" y="7794"/>
                      <a:pt x="4814" y="7839"/>
                      <a:pt x="4819" y="7878"/>
                    </a:cubicBezTo>
                    <a:cubicBezTo>
                      <a:pt x="4935" y="7862"/>
                      <a:pt x="4935" y="7862"/>
                      <a:pt x="4935" y="7862"/>
                    </a:cubicBezTo>
                    <a:cubicBezTo>
                      <a:pt x="4913" y="7732"/>
                      <a:pt x="4913" y="7732"/>
                      <a:pt x="4913" y="7732"/>
                    </a:cubicBezTo>
                    <a:lnTo>
                      <a:pt x="4800" y="7749"/>
                    </a:lnTo>
                    <a:close/>
                    <a:moveTo>
                      <a:pt x="4821" y="7891"/>
                    </a:moveTo>
                    <a:cubicBezTo>
                      <a:pt x="4827" y="7927"/>
                      <a:pt x="4831" y="7954"/>
                      <a:pt x="4833" y="7968"/>
                    </a:cubicBezTo>
                    <a:cubicBezTo>
                      <a:pt x="4834" y="7968"/>
                      <a:pt x="4835" y="7968"/>
                      <a:pt x="4836" y="7968"/>
                    </a:cubicBezTo>
                    <a:cubicBezTo>
                      <a:pt x="4876" y="7960"/>
                      <a:pt x="4914" y="7953"/>
                      <a:pt x="4948" y="7946"/>
                    </a:cubicBezTo>
                    <a:cubicBezTo>
                      <a:pt x="4937" y="7875"/>
                      <a:pt x="4937" y="7875"/>
                      <a:pt x="4937" y="7875"/>
                    </a:cubicBezTo>
                    <a:lnTo>
                      <a:pt x="4821" y="7891"/>
                    </a:lnTo>
                    <a:close/>
                    <a:moveTo>
                      <a:pt x="4948" y="7860"/>
                    </a:moveTo>
                    <a:cubicBezTo>
                      <a:pt x="5054" y="7845"/>
                      <a:pt x="5054" y="7845"/>
                      <a:pt x="5054" y="7845"/>
                    </a:cubicBezTo>
                    <a:cubicBezTo>
                      <a:pt x="5033" y="7715"/>
                      <a:pt x="5033" y="7715"/>
                      <a:pt x="5033" y="7715"/>
                    </a:cubicBezTo>
                    <a:cubicBezTo>
                      <a:pt x="4927" y="7730"/>
                      <a:pt x="4927" y="7730"/>
                      <a:pt x="4927" y="7730"/>
                    </a:cubicBezTo>
                    <a:lnTo>
                      <a:pt x="4948" y="7860"/>
                    </a:lnTo>
                    <a:close/>
                    <a:moveTo>
                      <a:pt x="4950" y="7873"/>
                    </a:moveTo>
                    <a:cubicBezTo>
                      <a:pt x="4962" y="7944"/>
                      <a:pt x="4962" y="7944"/>
                      <a:pt x="4962" y="7944"/>
                    </a:cubicBezTo>
                    <a:cubicBezTo>
                      <a:pt x="5026" y="7931"/>
                      <a:pt x="5074" y="7921"/>
                      <a:pt x="5090" y="7918"/>
                    </a:cubicBezTo>
                    <a:cubicBezTo>
                      <a:pt x="5027" y="7503"/>
                      <a:pt x="5027" y="7503"/>
                      <a:pt x="5027" y="7503"/>
                    </a:cubicBezTo>
                    <a:cubicBezTo>
                      <a:pt x="4903" y="7580"/>
                      <a:pt x="4903" y="7580"/>
                      <a:pt x="4903" y="7580"/>
                    </a:cubicBezTo>
                    <a:cubicBezTo>
                      <a:pt x="4925" y="7718"/>
                      <a:pt x="4925" y="7718"/>
                      <a:pt x="4925" y="7718"/>
                    </a:cubicBezTo>
                    <a:cubicBezTo>
                      <a:pt x="5044" y="7701"/>
                      <a:pt x="5044" y="7701"/>
                      <a:pt x="5044" y="7701"/>
                    </a:cubicBezTo>
                    <a:cubicBezTo>
                      <a:pt x="5069" y="7856"/>
                      <a:pt x="5069" y="7856"/>
                      <a:pt x="5069" y="7856"/>
                    </a:cubicBezTo>
                    <a:cubicBezTo>
                      <a:pt x="5062" y="7857"/>
                      <a:pt x="5062" y="7857"/>
                      <a:pt x="5062" y="7857"/>
                    </a:cubicBezTo>
                    <a:lnTo>
                      <a:pt x="4950" y="7873"/>
                    </a:lnTo>
                    <a:close/>
                    <a:moveTo>
                      <a:pt x="5104" y="7915"/>
                    </a:moveTo>
                    <a:cubicBezTo>
                      <a:pt x="5108" y="7914"/>
                      <a:pt x="5108" y="7914"/>
                      <a:pt x="5108" y="7914"/>
                    </a:cubicBezTo>
                    <a:cubicBezTo>
                      <a:pt x="5118" y="7915"/>
                      <a:pt x="5118" y="7915"/>
                      <a:pt x="5118" y="7915"/>
                    </a:cubicBezTo>
                    <a:cubicBezTo>
                      <a:pt x="5119" y="7915"/>
                      <a:pt x="5160" y="7918"/>
                      <a:pt x="5228" y="7923"/>
                    </a:cubicBezTo>
                    <a:cubicBezTo>
                      <a:pt x="5169" y="7415"/>
                      <a:pt x="5169" y="7415"/>
                      <a:pt x="5169" y="7415"/>
                    </a:cubicBezTo>
                    <a:cubicBezTo>
                      <a:pt x="5168" y="7415"/>
                      <a:pt x="5168" y="7415"/>
                      <a:pt x="5168" y="7415"/>
                    </a:cubicBezTo>
                    <a:cubicBezTo>
                      <a:pt x="5031" y="7500"/>
                      <a:pt x="5031" y="7500"/>
                      <a:pt x="5031" y="7500"/>
                    </a:cubicBezTo>
                    <a:cubicBezTo>
                      <a:pt x="5041" y="7499"/>
                      <a:pt x="5041" y="7499"/>
                      <a:pt x="5041" y="7499"/>
                    </a:cubicBezTo>
                    <a:lnTo>
                      <a:pt x="5104" y="7915"/>
                    </a:lnTo>
                    <a:close/>
                    <a:moveTo>
                      <a:pt x="5400" y="7743"/>
                    </a:moveTo>
                    <a:cubicBezTo>
                      <a:pt x="5399" y="7874"/>
                      <a:pt x="5399" y="7874"/>
                      <a:pt x="5399" y="7874"/>
                    </a:cubicBezTo>
                    <a:cubicBezTo>
                      <a:pt x="5589" y="7890"/>
                      <a:pt x="5589" y="7890"/>
                      <a:pt x="5589" y="7890"/>
                    </a:cubicBezTo>
                    <a:cubicBezTo>
                      <a:pt x="5588" y="7759"/>
                      <a:pt x="5588" y="7759"/>
                      <a:pt x="5588" y="7759"/>
                    </a:cubicBezTo>
                    <a:lnTo>
                      <a:pt x="5400" y="7743"/>
                    </a:lnTo>
                    <a:close/>
                    <a:moveTo>
                      <a:pt x="5398" y="7935"/>
                    </a:moveTo>
                    <a:cubicBezTo>
                      <a:pt x="5457" y="7939"/>
                      <a:pt x="5522" y="7944"/>
                      <a:pt x="5590" y="7949"/>
                    </a:cubicBezTo>
                    <a:cubicBezTo>
                      <a:pt x="5590" y="7903"/>
                      <a:pt x="5590" y="7903"/>
                      <a:pt x="5590" y="7903"/>
                    </a:cubicBezTo>
                    <a:cubicBezTo>
                      <a:pt x="5399" y="7887"/>
                      <a:pt x="5399" y="7887"/>
                      <a:pt x="5399" y="7887"/>
                    </a:cubicBezTo>
                    <a:lnTo>
                      <a:pt x="5398" y="7935"/>
                    </a:lnTo>
                    <a:close/>
                    <a:moveTo>
                      <a:pt x="5679" y="7351"/>
                    </a:moveTo>
                    <a:cubicBezTo>
                      <a:pt x="5713" y="7155"/>
                      <a:pt x="5713" y="7155"/>
                      <a:pt x="5713" y="7155"/>
                    </a:cubicBezTo>
                    <a:cubicBezTo>
                      <a:pt x="5555" y="7138"/>
                      <a:pt x="5116" y="7091"/>
                      <a:pt x="5102" y="7091"/>
                    </a:cubicBezTo>
                    <a:cubicBezTo>
                      <a:pt x="5102" y="7091"/>
                      <a:pt x="5102" y="7091"/>
                      <a:pt x="5102" y="7091"/>
                    </a:cubicBezTo>
                    <a:cubicBezTo>
                      <a:pt x="5102" y="7087"/>
                      <a:pt x="5102" y="7087"/>
                      <a:pt x="5102" y="7087"/>
                    </a:cubicBezTo>
                    <a:cubicBezTo>
                      <a:pt x="5102" y="7091"/>
                      <a:pt x="5102" y="7091"/>
                      <a:pt x="5102" y="7091"/>
                    </a:cubicBezTo>
                    <a:cubicBezTo>
                      <a:pt x="5102" y="7084"/>
                      <a:pt x="5102" y="7084"/>
                      <a:pt x="5102" y="7084"/>
                    </a:cubicBezTo>
                    <a:cubicBezTo>
                      <a:pt x="5104" y="7091"/>
                      <a:pt x="5104" y="7091"/>
                      <a:pt x="5104" y="7091"/>
                    </a:cubicBezTo>
                    <a:cubicBezTo>
                      <a:pt x="5102" y="7084"/>
                      <a:pt x="5102" y="7084"/>
                      <a:pt x="5102" y="7084"/>
                    </a:cubicBezTo>
                    <a:cubicBezTo>
                      <a:pt x="5102" y="7084"/>
                      <a:pt x="5102" y="7084"/>
                      <a:pt x="5102" y="7084"/>
                    </a:cubicBezTo>
                    <a:cubicBezTo>
                      <a:pt x="5104" y="7162"/>
                      <a:pt x="5105" y="7240"/>
                      <a:pt x="5105" y="7252"/>
                    </a:cubicBezTo>
                    <a:cubicBezTo>
                      <a:pt x="5174" y="7395"/>
                      <a:pt x="5174" y="7395"/>
                      <a:pt x="5174" y="7395"/>
                    </a:cubicBezTo>
                    <a:cubicBezTo>
                      <a:pt x="5254" y="7345"/>
                      <a:pt x="5254" y="7345"/>
                      <a:pt x="5254" y="7345"/>
                    </a:cubicBezTo>
                    <a:lnTo>
                      <a:pt x="5679" y="7351"/>
                    </a:lnTo>
                    <a:close/>
                    <a:moveTo>
                      <a:pt x="5598" y="7364"/>
                    </a:moveTo>
                    <a:cubicBezTo>
                      <a:pt x="5602" y="7747"/>
                      <a:pt x="5602" y="7747"/>
                      <a:pt x="5602" y="7747"/>
                    </a:cubicBezTo>
                    <a:cubicBezTo>
                      <a:pt x="5792" y="7763"/>
                      <a:pt x="5792" y="7763"/>
                      <a:pt x="5792" y="7763"/>
                    </a:cubicBezTo>
                    <a:cubicBezTo>
                      <a:pt x="5778" y="7644"/>
                      <a:pt x="5778" y="7644"/>
                      <a:pt x="5778" y="7644"/>
                    </a:cubicBezTo>
                    <a:cubicBezTo>
                      <a:pt x="5815" y="7424"/>
                      <a:pt x="5815" y="7424"/>
                      <a:pt x="5815" y="7424"/>
                    </a:cubicBezTo>
                    <a:cubicBezTo>
                      <a:pt x="5740" y="7381"/>
                      <a:pt x="5740" y="7381"/>
                      <a:pt x="5740" y="7381"/>
                    </a:cubicBezTo>
                    <a:cubicBezTo>
                      <a:pt x="5739" y="7383"/>
                      <a:pt x="5739" y="7383"/>
                      <a:pt x="5739" y="7383"/>
                    </a:cubicBezTo>
                    <a:cubicBezTo>
                      <a:pt x="5675" y="7372"/>
                      <a:pt x="5675" y="7372"/>
                      <a:pt x="5675" y="7372"/>
                    </a:cubicBezTo>
                    <a:cubicBezTo>
                      <a:pt x="5676" y="7365"/>
                      <a:pt x="5676" y="7365"/>
                      <a:pt x="5676" y="7365"/>
                    </a:cubicBezTo>
                    <a:lnTo>
                      <a:pt x="5598" y="7364"/>
                    </a:lnTo>
                    <a:close/>
                    <a:moveTo>
                      <a:pt x="5901" y="7719"/>
                    </a:moveTo>
                    <a:cubicBezTo>
                      <a:pt x="5947" y="7500"/>
                      <a:pt x="5947" y="7500"/>
                      <a:pt x="5947" y="7500"/>
                    </a:cubicBezTo>
                    <a:cubicBezTo>
                      <a:pt x="5828" y="7432"/>
                      <a:pt x="5828" y="7432"/>
                      <a:pt x="5828" y="7432"/>
                    </a:cubicBezTo>
                    <a:cubicBezTo>
                      <a:pt x="5792" y="7645"/>
                      <a:pt x="5792" y="7645"/>
                      <a:pt x="5792" y="7645"/>
                    </a:cubicBezTo>
                    <a:cubicBezTo>
                      <a:pt x="5806" y="7764"/>
                      <a:pt x="5806" y="7764"/>
                      <a:pt x="5806" y="7764"/>
                    </a:cubicBezTo>
                    <a:cubicBezTo>
                      <a:pt x="5915" y="7773"/>
                      <a:pt x="5915" y="7773"/>
                      <a:pt x="5915" y="7773"/>
                    </a:cubicBezTo>
                    <a:cubicBezTo>
                      <a:pt x="5907" y="7742"/>
                      <a:pt x="5902" y="7720"/>
                      <a:pt x="5902" y="7720"/>
                    </a:cubicBezTo>
                    <a:lnTo>
                      <a:pt x="5901" y="7719"/>
                    </a:lnTo>
                    <a:close/>
                    <a:moveTo>
                      <a:pt x="5602" y="7760"/>
                    </a:moveTo>
                    <a:cubicBezTo>
                      <a:pt x="5603" y="7891"/>
                      <a:pt x="5603" y="7891"/>
                      <a:pt x="5603" y="7891"/>
                    </a:cubicBezTo>
                    <a:cubicBezTo>
                      <a:pt x="5809" y="7909"/>
                      <a:pt x="5809" y="7909"/>
                      <a:pt x="5809" y="7909"/>
                    </a:cubicBezTo>
                    <a:cubicBezTo>
                      <a:pt x="5794" y="7776"/>
                      <a:pt x="5794" y="7776"/>
                      <a:pt x="5794" y="7776"/>
                    </a:cubicBezTo>
                    <a:lnTo>
                      <a:pt x="5602" y="7760"/>
                    </a:lnTo>
                    <a:close/>
                    <a:moveTo>
                      <a:pt x="5604" y="7904"/>
                    </a:moveTo>
                    <a:cubicBezTo>
                      <a:pt x="5604" y="7950"/>
                      <a:pt x="5604" y="7950"/>
                      <a:pt x="5604" y="7950"/>
                    </a:cubicBezTo>
                    <a:cubicBezTo>
                      <a:pt x="5672" y="7954"/>
                      <a:pt x="5744" y="7960"/>
                      <a:pt x="5816" y="7965"/>
                    </a:cubicBezTo>
                    <a:cubicBezTo>
                      <a:pt x="5811" y="7922"/>
                      <a:pt x="5811" y="7922"/>
                      <a:pt x="5811" y="7922"/>
                    </a:cubicBezTo>
                    <a:lnTo>
                      <a:pt x="5604" y="7904"/>
                    </a:lnTo>
                    <a:close/>
                    <a:moveTo>
                      <a:pt x="5824" y="7910"/>
                    </a:moveTo>
                    <a:cubicBezTo>
                      <a:pt x="5950" y="7921"/>
                      <a:pt x="5950" y="7921"/>
                      <a:pt x="5950" y="7921"/>
                    </a:cubicBezTo>
                    <a:cubicBezTo>
                      <a:pt x="5945" y="7896"/>
                      <a:pt x="5938" y="7867"/>
                      <a:pt x="5931" y="7839"/>
                    </a:cubicBezTo>
                    <a:cubicBezTo>
                      <a:pt x="5927" y="7821"/>
                      <a:pt x="5922" y="7803"/>
                      <a:pt x="5918" y="7787"/>
                    </a:cubicBezTo>
                    <a:cubicBezTo>
                      <a:pt x="5808" y="7777"/>
                      <a:pt x="5808" y="7777"/>
                      <a:pt x="5808" y="7777"/>
                    </a:cubicBezTo>
                    <a:lnTo>
                      <a:pt x="5824" y="7910"/>
                    </a:lnTo>
                    <a:close/>
                    <a:moveTo>
                      <a:pt x="5825" y="7923"/>
                    </a:moveTo>
                    <a:cubicBezTo>
                      <a:pt x="5830" y="7966"/>
                      <a:pt x="5830" y="7966"/>
                      <a:pt x="5830" y="7966"/>
                    </a:cubicBezTo>
                    <a:cubicBezTo>
                      <a:pt x="5832" y="7966"/>
                      <a:pt x="5835" y="7966"/>
                      <a:pt x="5837" y="7966"/>
                    </a:cubicBezTo>
                    <a:cubicBezTo>
                      <a:pt x="5878" y="7969"/>
                      <a:pt x="5919" y="7972"/>
                      <a:pt x="5960" y="7975"/>
                    </a:cubicBezTo>
                    <a:cubicBezTo>
                      <a:pt x="5959" y="7966"/>
                      <a:pt x="5956" y="7952"/>
                      <a:pt x="5953" y="7934"/>
                    </a:cubicBezTo>
                    <a:lnTo>
                      <a:pt x="5825" y="7923"/>
                    </a:lnTo>
                    <a:close/>
                    <a:moveTo>
                      <a:pt x="6234" y="7945"/>
                    </a:moveTo>
                    <a:cubicBezTo>
                      <a:pt x="6243" y="7814"/>
                      <a:pt x="6243" y="7814"/>
                      <a:pt x="6243" y="7814"/>
                    </a:cubicBezTo>
                    <a:cubicBezTo>
                      <a:pt x="6185" y="7809"/>
                      <a:pt x="6185" y="7809"/>
                      <a:pt x="6185" y="7809"/>
                    </a:cubicBezTo>
                    <a:cubicBezTo>
                      <a:pt x="6172" y="7940"/>
                      <a:pt x="6172" y="7940"/>
                      <a:pt x="6172" y="7940"/>
                    </a:cubicBezTo>
                    <a:lnTo>
                      <a:pt x="6234" y="7945"/>
                    </a:lnTo>
                    <a:close/>
                    <a:moveTo>
                      <a:pt x="6194" y="7617"/>
                    </a:moveTo>
                    <a:cubicBezTo>
                      <a:pt x="6195" y="7614"/>
                      <a:pt x="6195" y="7614"/>
                      <a:pt x="6195" y="7614"/>
                    </a:cubicBezTo>
                    <a:cubicBezTo>
                      <a:pt x="6195" y="7614"/>
                      <a:pt x="6195" y="7614"/>
                      <a:pt x="6195" y="7614"/>
                    </a:cubicBezTo>
                    <a:cubicBezTo>
                      <a:pt x="6190" y="7618"/>
                      <a:pt x="6190" y="7618"/>
                      <a:pt x="6190" y="7618"/>
                    </a:cubicBezTo>
                    <a:cubicBezTo>
                      <a:pt x="6189" y="7618"/>
                      <a:pt x="6189" y="7618"/>
                      <a:pt x="6189" y="7618"/>
                    </a:cubicBezTo>
                    <a:cubicBezTo>
                      <a:pt x="6189" y="7618"/>
                      <a:pt x="6189" y="7618"/>
                      <a:pt x="6189" y="7618"/>
                    </a:cubicBezTo>
                    <a:cubicBezTo>
                      <a:pt x="6184" y="7612"/>
                      <a:pt x="6136" y="7573"/>
                      <a:pt x="6091" y="7535"/>
                    </a:cubicBezTo>
                    <a:cubicBezTo>
                      <a:pt x="6052" y="7503"/>
                      <a:pt x="6014" y="7471"/>
                      <a:pt x="6001" y="7460"/>
                    </a:cubicBezTo>
                    <a:cubicBezTo>
                      <a:pt x="5961" y="7500"/>
                      <a:pt x="5961" y="7500"/>
                      <a:pt x="5961" y="7500"/>
                    </a:cubicBezTo>
                    <a:cubicBezTo>
                      <a:pt x="5915" y="7718"/>
                      <a:pt x="5915" y="7718"/>
                      <a:pt x="5915" y="7718"/>
                    </a:cubicBezTo>
                    <a:cubicBezTo>
                      <a:pt x="5917" y="7724"/>
                      <a:pt x="5923" y="7746"/>
                      <a:pt x="5930" y="7774"/>
                    </a:cubicBezTo>
                    <a:cubicBezTo>
                      <a:pt x="6172" y="7795"/>
                      <a:pt x="6172" y="7795"/>
                      <a:pt x="6172" y="7795"/>
                    </a:cubicBezTo>
                    <a:cubicBezTo>
                      <a:pt x="6188" y="7623"/>
                      <a:pt x="6188" y="7623"/>
                      <a:pt x="6188" y="7623"/>
                    </a:cubicBezTo>
                    <a:lnTo>
                      <a:pt x="6194" y="7617"/>
                    </a:lnTo>
                    <a:close/>
                    <a:moveTo>
                      <a:pt x="6278" y="7308"/>
                    </a:moveTo>
                    <a:cubicBezTo>
                      <a:pt x="6361" y="7283"/>
                      <a:pt x="6361" y="7283"/>
                      <a:pt x="6361" y="7283"/>
                    </a:cubicBezTo>
                    <a:cubicBezTo>
                      <a:pt x="6363" y="7284"/>
                      <a:pt x="6363" y="7284"/>
                      <a:pt x="6363" y="7284"/>
                    </a:cubicBezTo>
                    <a:cubicBezTo>
                      <a:pt x="6363" y="7284"/>
                      <a:pt x="6413" y="7297"/>
                      <a:pt x="6464" y="7310"/>
                    </a:cubicBezTo>
                    <a:cubicBezTo>
                      <a:pt x="6489" y="7316"/>
                      <a:pt x="6515" y="7323"/>
                      <a:pt x="6535" y="7328"/>
                    </a:cubicBezTo>
                    <a:cubicBezTo>
                      <a:pt x="6544" y="7330"/>
                      <a:pt x="6553" y="7332"/>
                      <a:pt x="6559" y="7334"/>
                    </a:cubicBezTo>
                    <a:cubicBezTo>
                      <a:pt x="6560" y="7334"/>
                      <a:pt x="6561" y="7334"/>
                      <a:pt x="6562" y="7335"/>
                    </a:cubicBezTo>
                    <a:cubicBezTo>
                      <a:pt x="6564" y="7333"/>
                      <a:pt x="6566" y="7331"/>
                      <a:pt x="6568" y="7329"/>
                    </a:cubicBezTo>
                    <a:cubicBezTo>
                      <a:pt x="6579" y="7317"/>
                      <a:pt x="6600" y="7300"/>
                      <a:pt x="6600" y="7300"/>
                    </a:cubicBezTo>
                    <a:cubicBezTo>
                      <a:pt x="6603" y="7298"/>
                      <a:pt x="6603" y="7298"/>
                      <a:pt x="6603" y="7298"/>
                    </a:cubicBezTo>
                    <a:cubicBezTo>
                      <a:pt x="6737" y="7326"/>
                      <a:pt x="6737" y="7326"/>
                      <a:pt x="6737" y="7326"/>
                    </a:cubicBezTo>
                    <a:cubicBezTo>
                      <a:pt x="6764" y="7180"/>
                      <a:pt x="6764" y="7180"/>
                      <a:pt x="6764" y="7180"/>
                    </a:cubicBezTo>
                    <a:cubicBezTo>
                      <a:pt x="6427" y="7136"/>
                      <a:pt x="6427" y="7136"/>
                      <a:pt x="6427" y="7136"/>
                    </a:cubicBezTo>
                    <a:cubicBezTo>
                      <a:pt x="6389" y="7286"/>
                      <a:pt x="6389" y="7286"/>
                      <a:pt x="6389" y="7286"/>
                    </a:cubicBezTo>
                    <a:cubicBezTo>
                      <a:pt x="6376" y="7283"/>
                      <a:pt x="6376" y="7283"/>
                      <a:pt x="6376" y="7283"/>
                    </a:cubicBezTo>
                    <a:cubicBezTo>
                      <a:pt x="6413" y="7135"/>
                      <a:pt x="6413" y="7135"/>
                      <a:pt x="6413" y="7135"/>
                    </a:cubicBezTo>
                    <a:cubicBezTo>
                      <a:pt x="6409" y="7134"/>
                      <a:pt x="6409" y="7134"/>
                      <a:pt x="6409" y="7134"/>
                    </a:cubicBezTo>
                    <a:cubicBezTo>
                      <a:pt x="6095" y="7035"/>
                      <a:pt x="6095" y="7035"/>
                      <a:pt x="6095" y="7035"/>
                    </a:cubicBezTo>
                    <a:cubicBezTo>
                      <a:pt x="5804" y="7009"/>
                      <a:pt x="5804" y="7009"/>
                      <a:pt x="5804" y="7009"/>
                    </a:cubicBezTo>
                    <a:cubicBezTo>
                      <a:pt x="5780" y="7151"/>
                      <a:pt x="5780" y="7151"/>
                      <a:pt x="5780" y="7151"/>
                    </a:cubicBezTo>
                    <a:cubicBezTo>
                      <a:pt x="5809" y="7161"/>
                      <a:pt x="5923" y="7197"/>
                      <a:pt x="6035" y="7232"/>
                    </a:cubicBezTo>
                    <a:cubicBezTo>
                      <a:pt x="6149" y="7268"/>
                      <a:pt x="6262" y="7303"/>
                      <a:pt x="6278" y="7308"/>
                    </a:cubicBezTo>
                    <a:close/>
                    <a:moveTo>
                      <a:pt x="6738" y="7396"/>
                    </a:moveTo>
                    <a:cubicBezTo>
                      <a:pt x="6867" y="7417"/>
                      <a:pt x="6867" y="7417"/>
                      <a:pt x="6867" y="7417"/>
                    </a:cubicBezTo>
                    <a:cubicBezTo>
                      <a:pt x="6875" y="7369"/>
                      <a:pt x="6875" y="7369"/>
                      <a:pt x="6875" y="7369"/>
                    </a:cubicBezTo>
                    <a:cubicBezTo>
                      <a:pt x="6748" y="7342"/>
                      <a:pt x="6748" y="7342"/>
                      <a:pt x="6748" y="7342"/>
                    </a:cubicBezTo>
                    <a:lnTo>
                      <a:pt x="6738" y="7396"/>
                    </a:lnTo>
                    <a:close/>
                    <a:moveTo>
                      <a:pt x="6878" y="7355"/>
                    </a:moveTo>
                    <a:cubicBezTo>
                      <a:pt x="6906" y="7199"/>
                      <a:pt x="6906" y="7199"/>
                      <a:pt x="6906" y="7199"/>
                    </a:cubicBezTo>
                    <a:cubicBezTo>
                      <a:pt x="6777" y="7182"/>
                      <a:pt x="6777" y="7182"/>
                      <a:pt x="6777" y="7182"/>
                    </a:cubicBezTo>
                    <a:cubicBezTo>
                      <a:pt x="6750" y="7329"/>
                      <a:pt x="6750" y="7329"/>
                      <a:pt x="6750" y="7329"/>
                    </a:cubicBezTo>
                    <a:lnTo>
                      <a:pt x="6878" y="7355"/>
                    </a:lnTo>
                    <a:close/>
                    <a:moveTo>
                      <a:pt x="6891" y="7358"/>
                    </a:moveTo>
                    <a:cubicBezTo>
                      <a:pt x="6975" y="7375"/>
                      <a:pt x="6975" y="7375"/>
                      <a:pt x="6975" y="7375"/>
                    </a:cubicBezTo>
                    <a:cubicBezTo>
                      <a:pt x="6999" y="7211"/>
                      <a:pt x="6999" y="7211"/>
                      <a:pt x="6999" y="7211"/>
                    </a:cubicBezTo>
                    <a:cubicBezTo>
                      <a:pt x="6920" y="7200"/>
                      <a:pt x="6920" y="7200"/>
                      <a:pt x="6920" y="7200"/>
                    </a:cubicBezTo>
                    <a:lnTo>
                      <a:pt x="6891" y="7358"/>
                    </a:lnTo>
                    <a:close/>
                    <a:moveTo>
                      <a:pt x="7001" y="7197"/>
                    </a:moveTo>
                    <a:cubicBezTo>
                      <a:pt x="7027" y="7018"/>
                      <a:pt x="7027" y="7018"/>
                      <a:pt x="7027" y="7018"/>
                    </a:cubicBezTo>
                    <a:cubicBezTo>
                      <a:pt x="7009" y="7016"/>
                      <a:pt x="6984" y="7012"/>
                      <a:pt x="6955" y="7008"/>
                    </a:cubicBezTo>
                    <a:cubicBezTo>
                      <a:pt x="6922" y="7187"/>
                      <a:pt x="6922" y="7187"/>
                      <a:pt x="6922" y="7187"/>
                    </a:cubicBezTo>
                    <a:lnTo>
                      <a:pt x="7001" y="7197"/>
                    </a:lnTo>
                    <a:close/>
                    <a:moveTo>
                      <a:pt x="7029" y="7005"/>
                    </a:moveTo>
                    <a:cubicBezTo>
                      <a:pt x="7048" y="6875"/>
                      <a:pt x="7048" y="6875"/>
                      <a:pt x="7048" y="6875"/>
                    </a:cubicBezTo>
                    <a:cubicBezTo>
                      <a:pt x="6981" y="6864"/>
                      <a:pt x="6981" y="6864"/>
                      <a:pt x="6981" y="6864"/>
                    </a:cubicBezTo>
                    <a:cubicBezTo>
                      <a:pt x="6957" y="6994"/>
                      <a:pt x="6957" y="6994"/>
                      <a:pt x="6957" y="6994"/>
                    </a:cubicBezTo>
                    <a:cubicBezTo>
                      <a:pt x="6986" y="6998"/>
                      <a:pt x="7011" y="7002"/>
                      <a:pt x="7029" y="7005"/>
                    </a:cubicBezTo>
                    <a:close/>
                    <a:moveTo>
                      <a:pt x="7040" y="7381"/>
                    </a:moveTo>
                    <a:cubicBezTo>
                      <a:pt x="7233" y="7337"/>
                      <a:pt x="7233" y="7337"/>
                      <a:pt x="7233" y="7337"/>
                    </a:cubicBezTo>
                    <a:cubicBezTo>
                      <a:pt x="7226" y="7315"/>
                      <a:pt x="7217" y="7233"/>
                      <a:pt x="7210" y="7174"/>
                    </a:cubicBezTo>
                    <a:cubicBezTo>
                      <a:pt x="7073" y="7154"/>
                      <a:pt x="7073" y="7154"/>
                      <a:pt x="7073" y="7154"/>
                    </a:cubicBezTo>
                    <a:lnTo>
                      <a:pt x="7040" y="7381"/>
                    </a:lnTo>
                    <a:close/>
                    <a:moveTo>
                      <a:pt x="7240" y="7303"/>
                    </a:moveTo>
                    <a:cubicBezTo>
                      <a:pt x="7242" y="7313"/>
                      <a:pt x="7243" y="7322"/>
                      <a:pt x="7245" y="7328"/>
                    </a:cubicBezTo>
                    <a:cubicBezTo>
                      <a:pt x="7245" y="7331"/>
                      <a:pt x="7246" y="7332"/>
                      <a:pt x="7246" y="7334"/>
                    </a:cubicBezTo>
                    <a:cubicBezTo>
                      <a:pt x="7536" y="7267"/>
                      <a:pt x="7536" y="7267"/>
                      <a:pt x="7536" y="7267"/>
                    </a:cubicBezTo>
                    <a:cubicBezTo>
                      <a:pt x="7524" y="7251"/>
                      <a:pt x="7482" y="7209"/>
                      <a:pt x="7442" y="7170"/>
                    </a:cubicBezTo>
                    <a:cubicBezTo>
                      <a:pt x="7408" y="7137"/>
                      <a:pt x="7376" y="7106"/>
                      <a:pt x="7360" y="7092"/>
                    </a:cubicBezTo>
                    <a:cubicBezTo>
                      <a:pt x="7356" y="7097"/>
                      <a:pt x="7356" y="7097"/>
                      <a:pt x="7356" y="7097"/>
                    </a:cubicBezTo>
                    <a:cubicBezTo>
                      <a:pt x="7218" y="7115"/>
                      <a:pt x="7218" y="7115"/>
                      <a:pt x="7218" y="7115"/>
                    </a:cubicBezTo>
                    <a:cubicBezTo>
                      <a:pt x="7220" y="7132"/>
                      <a:pt x="7225" y="7177"/>
                      <a:pt x="7230" y="7223"/>
                    </a:cubicBezTo>
                    <a:cubicBezTo>
                      <a:pt x="7233" y="7252"/>
                      <a:pt x="7237" y="7281"/>
                      <a:pt x="7240" y="7303"/>
                    </a:cubicBezTo>
                    <a:close/>
                    <a:moveTo>
                      <a:pt x="7544" y="7254"/>
                    </a:moveTo>
                    <a:cubicBezTo>
                      <a:pt x="7547" y="7258"/>
                      <a:pt x="7549" y="7260"/>
                      <a:pt x="7550" y="7262"/>
                    </a:cubicBezTo>
                    <a:cubicBezTo>
                      <a:pt x="7805" y="7133"/>
                      <a:pt x="7805" y="7133"/>
                      <a:pt x="7805" y="7133"/>
                    </a:cubicBezTo>
                    <a:cubicBezTo>
                      <a:pt x="7807" y="7132"/>
                      <a:pt x="7807" y="7132"/>
                      <a:pt x="7807" y="7132"/>
                    </a:cubicBezTo>
                    <a:cubicBezTo>
                      <a:pt x="7782" y="7113"/>
                      <a:pt x="7707" y="7057"/>
                      <a:pt x="7630" y="7000"/>
                    </a:cubicBezTo>
                    <a:cubicBezTo>
                      <a:pt x="7583" y="6966"/>
                      <a:pt x="7536" y="6931"/>
                      <a:pt x="7500" y="6905"/>
                    </a:cubicBezTo>
                    <a:cubicBezTo>
                      <a:pt x="7482" y="6892"/>
                      <a:pt x="7467" y="6881"/>
                      <a:pt x="7456" y="6874"/>
                    </a:cubicBezTo>
                    <a:cubicBezTo>
                      <a:pt x="7455" y="6873"/>
                      <a:pt x="7455" y="6873"/>
                      <a:pt x="7454" y="6872"/>
                    </a:cubicBezTo>
                    <a:cubicBezTo>
                      <a:pt x="7430" y="6994"/>
                      <a:pt x="7430" y="6994"/>
                      <a:pt x="7430" y="6994"/>
                    </a:cubicBezTo>
                    <a:cubicBezTo>
                      <a:pt x="7368" y="7080"/>
                      <a:pt x="7368" y="7080"/>
                      <a:pt x="7368" y="7080"/>
                    </a:cubicBezTo>
                    <a:cubicBezTo>
                      <a:pt x="7384" y="7095"/>
                      <a:pt x="7420" y="7129"/>
                      <a:pt x="7456" y="7164"/>
                    </a:cubicBezTo>
                    <a:cubicBezTo>
                      <a:pt x="7480" y="7188"/>
                      <a:pt x="7504" y="7211"/>
                      <a:pt x="7522" y="7230"/>
                    </a:cubicBezTo>
                    <a:cubicBezTo>
                      <a:pt x="7531" y="7240"/>
                      <a:pt x="7539" y="7248"/>
                      <a:pt x="7544" y="7254"/>
                    </a:cubicBezTo>
                    <a:close/>
                    <a:moveTo>
                      <a:pt x="8066" y="6520"/>
                    </a:moveTo>
                    <a:cubicBezTo>
                      <a:pt x="8069" y="6477"/>
                      <a:pt x="8069" y="6477"/>
                      <a:pt x="8069" y="6477"/>
                    </a:cubicBezTo>
                    <a:cubicBezTo>
                      <a:pt x="8042" y="6476"/>
                      <a:pt x="8042" y="6476"/>
                      <a:pt x="8042" y="6476"/>
                    </a:cubicBezTo>
                    <a:cubicBezTo>
                      <a:pt x="8020" y="6577"/>
                      <a:pt x="8020" y="6577"/>
                      <a:pt x="8020" y="6577"/>
                    </a:cubicBezTo>
                    <a:cubicBezTo>
                      <a:pt x="8109" y="6584"/>
                      <a:pt x="8109" y="6584"/>
                      <a:pt x="8109" y="6584"/>
                    </a:cubicBezTo>
                    <a:cubicBezTo>
                      <a:pt x="8113" y="6524"/>
                      <a:pt x="8113" y="6524"/>
                      <a:pt x="8113" y="6524"/>
                    </a:cubicBezTo>
                    <a:lnTo>
                      <a:pt x="8066" y="6520"/>
                    </a:lnTo>
                    <a:close/>
                    <a:moveTo>
                      <a:pt x="8028" y="6475"/>
                    </a:moveTo>
                    <a:cubicBezTo>
                      <a:pt x="7979" y="6471"/>
                      <a:pt x="7979" y="6471"/>
                      <a:pt x="7979" y="6471"/>
                    </a:cubicBezTo>
                    <a:cubicBezTo>
                      <a:pt x="7976" y="6514"/>
                      <a:pt x="7976" y="6514"/>
                      <a:pt x="7976" y="6514"/>
                    </a:cubicBezTo>
                    <a:cubicBezTo>
                      <a:pt x="7929" y="6511"/>
                      <a:pt x="7929" y="6511"/>
                      <a:pt x="7929" y="6511"/>
                    </a:cubicBezTo>
                    <a:cubicBezTo>
                      <a:pt x="7925" y="6570"/>
                      <a:pt x="7925" y="6570"/>
                      <a:pt x="7925" y="6570"/>
                    </a:cubicBezTo>
                    <a:cubicBezTo>
                      <a:pt x="8006" y="6576"/>
                      <a:pt x="8006" y="6576"/>
                      <a:pt x="8006" y="6576"/>
                    </a:cubicBezTo>
                    <a:lnTo>
                      <a:pt x="8028" y="6475"/>
                    </a:lnTo>
                    <a:close/>
                    <a:moveTo>
                      <a:pt x="7611" y="6471"/>
                    </a:moveTo>
                    <a:cubicBezTo>
                      <a:pt x="7614" y="6428"/>
                      <a:pt x="7614" y="6428"/>
                      <a:pt x="7614" y="6428"/>
                    </a:cubicBezTo>
                    <a:cubicBezTo>
                      <a:pt x="7565" y="6424"/>
                      <a:pt x="7565" y="6424"/>
                      <a:pt x="7565" y="6424"/>
                    </a:cubicBezTo>
                    <a:cubicBezTo>
                      <a:pt x="7572" y="6451"/>
                      <a:pt x="7580" y="6490"/>
                      <a:pt x="7589" y="6529"/>
                    </a:cubicBezTo>
                    <a:cubicBezTo>
                      <a:pt x="7653" y="6534"/>
                      <a:pt x="7653" y="6534"/>
                      <a:pt x="7653" y="6534"/>
                    </a:cubicBezTo>
                    <a:cubicBezTo>
                      <a:pt x="7658" y="6474"/>
                      <a:pt x="7658" y="6474"/>
                      <a:pt x="7658" y="6474"/>
                    </a:cubicBezTo>
                    <a:lnTo>
                      <a:pt x="7611" y="6471"/>
                    </a:lnTo>
                    <a:close/>
                    <a:moveTo>
                      <a:pt x="7551" y="6423"/>
                    </a:moveTo>
                    <a:cubicBezTo>
                      <a:pt x="7524" y="6421"/>
                      <a:pt x="7524" y="6421"/>
                      <a:pt x="7524" y="6421"/>
                    </a:cubicBezTo>
                    <a:cubicBezTo>
                      <a:pt x="7521" y="6464"/>
                      <a:pt x="7521" y="6464"/>
                      <a:pt x="7521" y="6464"/>
                    </a:cubicBezTo>
                    <a:cubicBezTo>
                      <a:pt x="7474" y="6461"/>
                      <a:pt x="7474" y="6461"/>
                      <a:pt x="7474" y="6461"/>
                    </a:cubicBezTo>
                    <a:cubicBezTo>
                      <a:pt x="7469" y="6521"/>
                      <a:pt x="7469" y="6521"/>
                      <a:pt x="7469" y="6521"/>
                    </a:cubicBezTo>
                    <a:cubicBezTo>
                      <a:pt x="7575" y="6528"/>
                      <a:pt x="7575" y="6528"/>
                      <a:pt x="7575" y="6528"/>
                    </a:cubicBezTo>
                    <a:cubicBezTo>
                      <a:pt x="7566" y="6488"/>
                      <a:pt x="7557" y="6450"/>
                      <a:pt x="7551" y="6423"/>
                    </a:cubicBezTo>
                    <a:close/>
                    <a:moveTo>
                      <a:pt x="7548" y="6410"/>
                    </a:moveTo>
                    <a:cubicBezTo>
                      <a:pt x="7546" y="6404"/>
                      <a:pt x="7545" y="6400"/>
                      <a:pt x="7545" y="6397"/>
                    </a:cubicBezTo>
                    <a:cubicBezTo>
                      <a:pt x="7396" y="6380"/>
                      <a:pt x="7271" y="6366"/>
                      <a:pt x="7206" y="6359"/>
                    </a:cubicBezTo>
                    <a:cubicBezTo>
                      <a:pt x="7485" y="6692"/>
                      <a:pt x="7485" y="6692"/>
                      <a:pt x="7485" y="6692"/>
                    </a:cubicBezTo>
                    <a:cubicBezTo>
                      <a:pt x="7501" y="6691"/>
                      <a:pt x="7564" y="6686"/>
                      <a:pt x="7596" y="6684"/>
                    </a:cubicBezTo>
                    <a:cubicBezTo>
                      <a:pt x="7595" y="6683"/>
                      <a:pt x="7595" y="6683"/>
                      <a:pt x="7595" y="6683"/>
                    </a:cubicBezTo>
                    <a:cubicBezTo>
                      <a:pt x="7603" y="6672"/>
                      <a:pt x="7603" y="6672"/>
                      <a:pt x="7603" y="6672"/>
                    </a:cubicBezTo>
                    <a:cubicBezTo>
                      <a:pt x="7606" y="6674"/>
                      <a:pt x="7606" y="6674"/>
                      <a:pt x="7606" y="6674"/>
                    </a:cubicBezTo>
                    <a:cubicBezTo>
                      <a:pt x="7601" y="6648"/>
                      <a:pt x="7590" y="6595"/>
                      <a:pt x="7578" y="6542"/>
                    </a:cubicBezTo>
                    <a:cubicBezTo>
                      <a:pt x="7455" y="6533"/>
                      <a:pt x="7455" y="6533"/>
                      <a:pt x="7455" y="6533"/>
                    </a:cubicBezTo>
                    <a:cubicBezTo>
                      <a:pt x="7456" y="6526"/>
                      <a:pt x="7456" y="6526"/>
                      <a:pt x="7456" y="6526"/>
                    </a:cubicBezTo>
                    <a:cubicBezTo>
                      <a:pt x="7462" y="6447"/>
                      <a:pt x="7462" y="6447"/>
                      <a:pt x="7462" y="6447"/>
                    </a:cubicBezTo>
                    <a:cubicBezTo>
                      <a:pt x="7508" y="6450"/>
                      <a:pt x="7508" y="6450"/>
                      <a:pt x="7508" y="6450"/>
                    </a:cubicBezTo>
                    <a:cubicBezTo>
                      <a:pt x="7512" y="6407"/>
                      <a:pt x="7512" y="6407"/>
                      <a:pt x="7512" y="6407"/>
                    </a:cubicBezTo>
                    <a:lnTo>
                      <a:pt x="7548" y="6410"/>
                    </a:lnTo>
                    <a:close/>
                    <a:moveTo>
                      <a:pt x="7189" y="6360"/>
                    </a:moveTo>
                    <a:cubicBezTo>
                      <a:pt x="7139" y="6704"/>
                      <a:pt x="7139" y="6704"/>
                      <a:pt x="7139" y="6704"/>
                    </a:cubicBezTo>
                    <a:cubicBezTo>
                      <a:pt x="7173" y="6715"/>
                      <a:pt x="7173" y="6715"/>
                      <a:pt x="7173" y="6715"/>
                    </a:cubicBezTo>
                    <a:cubicBezTo>
                      <a:pt x="7181" y="6674"/>
                      <a:pt x="7181" y="6674"/>
                      <a:pt x="7181" y="6674"/>
                    </a:cubicBezTo>
                    <a:cubicBezTo>
                      <a:pt x="7223" y="6683"/>
                      <a:pt x="7223" y="6683"/>
                      <a:pt x="7223" y="6683"/>
                    </a:cubicBezTo>
                    <a:cubicBezTo>
                      <a:pt x="7232" y="6637"/>
                      <a:pt x="7232" y="6637"/>
                      <a:pt x="7232" y="6637"/>
                    </a:cubicBezTo>
                    <a:cubicBezTo>
                      <a:pt x="7317" y="6653"/>
                      <a:pt x="7317" y="6653"/>
                      <a:pt x="7317" y="6653"/>
                    </a:cubicBezTo>
                    <a:cubicBezTo>
                      <a:pt x="7297" y="6755"/>
                      <a:pt x="7297" y="6755"/>
                      <a:pt x="7297" y="6755"/>
                    </a:cubicBezTo>
                    <a:cubicBezTo>
                      <a:pt x="7303" y="6757"/>
                      <a:pt x="7303" y="6757"/>
                      <a:pt x="7303" y="6757"/>
                    </a:cubicBezTo>
                    <a:cubicBezTo>
                      <a:pt x="7304" y="6758"/>
                      <a:pt x="7304" y="6758"/>
                      <a:pt x="7304" y="6758"/>
                    </a:cubicBezTo>
                    <a:cubicBezTo>
                      <a:pt x="7304" y="6758"/>
                      <a:pt x="7338" y="6781"/>
                      <a:pt x="7372" y="6804"/>
                    </a:cubicBezTo>
                    <a:cubicBezTo>
                      <a:pt x="7389" y="6816"/>
                      <a:pt x="7407" y="6827"/>
                      <a:pt x="7420" y="6836"/>
                    </a:cubicBezTo>
                    <a:cubicBezTo>
                      <a:pt x="7427" y="6840"/>
                      <a:pt x="7433" y="6844"/>
                      <a:pt x="7437" y="6846"/>
                    </a:cubicBezTo>
                    <a:cubicBezTo>
                      <a:pt x="7439" y="6847"/>
                      <a:pt x="7441" y="6848"/>
                      <a:pt x="7442" y="6849"/>
                    </a:cubicBezTo>
                    <a:cubicBezTo>
                      <a:pt x="7442" y="6849"/>
                      <a:pt x="7443" y="6849"/>
                      <a:pt x="7443" y="6849"/>
                    </a:cubicBezTo>
                    <a:cubicBezTo>
                      <a:pt x="7444" y="6849"/>
                      <a:pt x="7444" y="6850"/>
                      <a:pt x="7445" y="6850"/>
                    </a:cubicBezTo>
                    <a:cubicBezTo>
                      <a:pt x="7474" y="6701"/>
                      <a:pt x="7474" y="6701"/>
                      <a:pt x="7474" y="6701"/>
                    </a:cubicBezTo>
                    <a:lnTo>
                      <a:pt x="7189" y="6360"/>
                    </a:lnTo>
                    <a:close/>
                    <a:moveTo>
                      <a:pt x="7176" y="6196"/>
                    </a:moveTo>
                    <a:cubicBezTo>
                      <a:pt x="7191" y="6045"/>
                      <a:pt x="7215" y="5767"/>
                      <a:pt x="7219" y="5720"/>
                    </a:cubicBezTo>
                    <a:cubicBezTo>
                      <a:pt x="7067" y="5704"/>
                      <a:pt x="7067" y="5704"/>
                      <a:pt x="7067" y="5704"/>
                    </a:cubicBezTo>
                    <a:cubicBezTo>
                      <a:pt x="7028" y="6093"/>
                      <a:pt x="7028" y="6093"/>
                      <a:pt x="7028" y="6093"/>
                    </a:cubicBezTo>
                    <a:cubicBezTo>
                      <a:pt x="7163" y="6107"/>
                      <a:pt x="7163" y="6107"/>
                      <a:pt x="7163" y="6107"/>
                    </a:cubicBezTo>
                    <a:cubicBezTo>
                      <a:pt x="7145" y="6259"/>
                      <a:pt x="7145" y="6259"/>
                      <a:pt x="7145" y="6259"/>
                    </a:cubicBezTo>
                    <a:cubicBezTo>
                      <a:pt x="7139" y="6258"/>
                      <a:pt x="7139" y="6258"/>
                      <a:pt x="7139" y="6258"/>
                    </a:cubicBezTo>
                    <a:cubicBezTo>
                      <a:pt x="7013" y="6245"/>
                      <a:pt x="7013" y="6245"/>
                      <a:pt x="7013" y="6245"/>
                    </a:cubicBezTo>
                    <a:cubicBezTo>
                      <a:pt x="7010" y="6270"/>
                      <a:pt x="7010" y="6270"/>
                      <a:pt x="7010" y="6270"/>
                    </a:cubicBezTo>
                    <a:cubicBezTo>
                      <a:pt x="7166" y="6289"/>
                      <a:pt x="7166" y="6289"/>
                      <a:pt x="7166" y="6289"/>
                    </a:cubicBezTo>
                    <a:cubicBezTo>
                      <a:pt x="7166" y="6289"/>
                      <a:pt x="7166" y="6289"/>
                      <a:pt x="7166" y="6289"/>
                    </a:cubicBezTo>
                    <a:cubicBezTo>
                      <a:pt x="7168" y="6278"/>
                      <a:pt x="7172" y="6242"/>
                      <a:pt x="7176" y="6196"/>
                    </a:cubicBezTo>
                    <a:close/>
                    <a:moveTo>
                      <a:pt x="7134" y="6245"/>
                    </a:moveTo>
                    <a:cubicBezTo>
                      <a:pt x="7148" y="6119"/>
                      <a:pt x="7148" y="6119"/>
                      <a:pt x="7148" y="6119"/>
                    </a:cubicBezTo>
                    <a:cubicBezTo>
                      <a:pt x="7027" y="6106"/>
                      <a:pt x="7027" y="6106"/>
                      <a:pt x="7027" y="6106"/>
                    </a:cubicBezTo>
                    <a:cubicBezTo>
                      <a:pt x="7014" y="6232"/>
                      <a:pt x="7014" y="6232"/>
                      <a:pt x="7014" y="6232"/>
                    </a:cubicBezTo>
                    <a:lnTo>
                      <a:pt x="7134" y="6245"/>
                    </a:lnTo>
                    <a:close/>
                    <a:moveTo>
                      <a:pt x="7053" y="5702"/>
                    </a:moveTo>
                    <a:cubicBezTo>
                      <a:pt x="6921" y="5688"/>
                      <a:pt x="6921" y="5688"/>
                      <a:pt x="6921" y="5688"/>
                    </a:cubicBezTo>
                    <a:cubicBezTo>
                      <a:pt x="6883" y="6077"/>
                      <a:pt x="6883" y="6077"/>
                      <a:pt x="6883" y="6077"/>
                    </a:cubicBezTo>
                    <a:cubicBezTo>
                      <a:pt x="7014" y="6091"/>
                      <a:pt x="7014" y="6091"/>
                      <a:pt x="7014" y="6091"/>
                    </a:cubicBezTo>
                    <a:lnTo>
                      <a:pt x="7053" y="5702"/>
                    </a:lnTo>
                    <a:close/>
                    <a:moveTo>
                      <a:pt x="6908" y="5687"/>
                    </a:moveTo>
                    <a:cubicBezTo>
                      <a:pt x="6765" y="5672"/>
                      <a:pt x="6765" y="5672"/>
                      <a:pt x="6765" y="5672"/>
                    </a:cubicBezTo>
                    <a:cubicBezTo>
                      <a:pt x="6726" y="6060"/>
                      <a:pt x="6726" y="6060"/>
                      <a:pt x="6726" y="6060"/>
                    </a:cubicBezTo>
                    <a:cubicBezTo>
                      <a:pt x="6869" y="6076"/>
                      <a:pt x="6869" y="6076"/>
                      <a:pt x="6869" y="6076"/>
                    </a:cubicBezTo>
                    <a:lnTo>
                      <a:pt x="6908" y="5687"/>
                    </a:lnTo>
                    <a:close/>
                    <a:moveTo>
                      <a:pt x="6751" y="5670"/>
                    </a:moveTo>
                    <a:cubicBezTo>
                      <a:pt x="6466" y="5640"/>
                      <a:pt x="6466" y="5640"/>
                      <a:pt x="6466" y="5640"/>
                    </a:cubicBezTo>
                    <a:cubicBezTo>
                      <a:pt x="6428" y="6028"/>
                      <a:pt x="6428" y="6028"/>
                      <a:pt x="6428" y="6028"/>
                    </a:cubicBezTo>
                    <a:cubicBezTo>
                      <a:pt x="6559" y="6042"/>
                      <a:pt x="6559" y="6042"/>
                      <a:pt x="6559" y="6042"/>
                    </a:cubicBezTo>
                    <a:cubicBezTo>
                      <a:pt x="6597" y="5658"/>
                      <a:pt x="6597" y="5658"/>
                      <a:pt x="6597" y="5658"/>
                    </a:cubicBezTo>
                    <a:cubicBezTo>
                      <a:pt x="6611" y="5659"/>
                      <a:pt x="6611" y="5659"/>
                      <a:pt x="6611" y="5659"/>
                    </a:cubicBezTo>
                    <a:cubicBezTo>
                      <a:pt x="6573" y="6044"/>
                      <a:pt x="6573" y="6044"/>
                      <a:pt x="6573" y="6044"/>
                    </a:cubicBezTo>
                    <a:cubicBezTo>
                      <a:pt x="6713" y="6059"/>
                      <a:pt x="6713" y="6059"/>
                      <a:pt x="6713" y="6059"/>
                    </a:cubicBezTo>
                    <a:lnTo>
                      <a:pt x="6751" y="5670"/>
                    </a:lnTo>
                    <a:close/>
                    <a:moveTo>
                      <a:pt x="6452" y="5639"/>
                    </a:moveTo>
                    <a:cubicBezTo>
                      <a:pt x="6046" y="5595"/>
                      <a:pt x="6046" y="5595"/>
                      <a:pt x="6046" y="5595"/>
                    </a:cubicBezTo>
                    <a:cubicBezTo>
                      <a:pt x="5955" y="6144"/>
                      <a:pt x="5955" y="6144"/>
                      <a:pt x="5955" y="6144"/>
                    </a:cubicBezTo>
                    <a:cubicBezTo>
                      <a:pt x="6103" y="6162"/>
                      <a:pt x="6103" y="6162"/>
                      <a:pt x="6103" y="6162"/>
                    </a:cubicBezTo>
                    <a:cubicBezTo>
                      <a:pt x="6104" y="6147"/>
                      <a:pt x="6104" y="6147"/>
                      <a:pt x="6104" y="6147"/>
                    </a:cubicBezTo>
                    <a:cubicBezTo>
                      <a:pt x="5976" y="6134"/>
                      <a:pt x="5976" y="6134"/>
                      <a:pt x="5976" y="6134"/>
                    </a:cubicBezTo>
                    <a:cubicBezTo>
                      <a:pt x="5993" y="5982"/>
                      <a:pt x="5993" y="5982"/>
                      <a:pt x="5993" y="5982"/>
                    </a:cubicBezTo>
                    <a:cubicBezTo>
                      <a:pt x="6119" y="5995"/>
                      <a:pt x="6119" y="5995"/>
                      <a:pt x="6119" y="5995"/>
                    </a:cubicBezTo>
                    <a:cubicBezTo>
                      <a:pt x="6157" y="5611"/>
                      <a:pt x="6157" y="5611"/>
                      <a:pt x="6157" y="5611"/>
                    </a:cubicBezTo>
                    <a:cubicBezTo>
                      <a:pt x="6171" y="5613"/>
                      <a:pt x="6171" y="5613"/>
                      <a:pt x="6171" y="5613"/>
                    </a:cubicBezTo>
                    <a:cubicBezTo>
                      <a:pt x="6133" y="5997"/>
                      <a:pt x="6133" y="5997"/>
                      <a:pt x="6133" y="5997"/>
                    </a:cubicBezTo>
                    <a:cubicBezTo>
                      <a:pt x="6270" y="6011"/>
                      <a:pt x="6270" y="6011"/>
                      <a:pt x="6270" y="6011"/>
                    </a:cubicBezTo>
                    <a:cubicBezTo>
                      <a:pt x="6308" y="5624"/>
                      <a:pt x="6308" y="5624"/>
                      <a:pt x="6308" y="5624"/>
                    </a:cubicBezTo>
                    <a:cubicBezTo>
                      <a:pt x="6322" y="5625"/>
                      <a:pt x="6322" y="5625"/>
                      <a:pt x="6322" y="5625"/>
                    </a:cubicBezTo>
                    <a:cubicBezTo>
                      <a:pt x="6283" y="6013"/>
                      <a:pt x="6283" y="6013"/>
                      <a:pt x="6283" y="6013"/>
                    </a:cubicBezTo>
                    <a:cubicBezTo>
                      <a:pt x="6414" y="6027"/>
                      <a:pt x="6414" y="6027"/>
                      <a:pt x="6414" y="6027"/>
                    </a:cubicBezTo>
                    <a:lnTo>
                      <a:pt x="6452" y="5639"/>
                    </a:lnTo>
                    <a:close/>
                    <a:moveTo>
                      <a:pt x="5944" y="6209"/>
                    </a:moveTo>
                    <a:cubicBezTo>
                      <a:pt x="5903" y="6442"/>
                      <a:pt x="5903" y="6442"/>
                      <a:pt x="5903" y="6442"/>
                    </a:cubicBezTo>
                    <a:cubicBezTo>
                      <a:pt x="6010" y="6455"/>
                      <a:pt x="6010" y="6455"/>
                      <a:pt x="6010" y="6455"/>
                    </a:cubicBezTo>
                    <a:cubicBezTo>
                      <a:pt x="6028" y="6367"/>
                      <a:pt x="6028" y="6367"/>
                      <a:pt x="6028" y="6367"/>
                    </a:cubicBezTo>
                    <a:cubicBezTo>
                      <a:pt x="5957" y="6361"/>
                      <a:pt x="5957" y="6361"/>
                      <a:pt x="5957" y="6361"/>
                    </a:cubicBezTo>
                    <a:cubicBezTo>
                      <a:pt x="5957" y="6355"/>
                      <a:pt x="5957" y="6355"/>
                      <a:pt x="5957" y="6355"/>
                    </a:cubicBezTo>
                    <a:cubicBezTo>
                      <a:pt x="5964" y="6275"/>
                      <a:pt x="5964" y="6275"/>
                      <a:pt x="5964" y="6275"/>
                    </a:cubicBezTo>
                    <a:cubicBezTo>
                      <a:pt x="6010" y="6279"/>
                      <a:pt x="6010" y="6279"/>
                      <a:pt x="6010" y="6279"/>
                    </a:cubicBezTo>
                    <a:cubicBezTo>
                      <a:pt x="6014" y="6236"/>
                      <a:pt x="6014" y="6236"/>
                      <a:pt x="6014" y="6236"/>
                    </a:cubicBezTo>
                    <a:cubicBezTo>
                      <a:pt x="6053" y="6239"/>
                      <a:pt x="6053" y="6239"/>
                      <a:pt x="6053" y="6239"/>
                    </a:cubicBezTo>
                    <a:cubicBezTo>
                      <a:pt x="6057" y="6222"/>
                      <a:pt x="6057" y="6222"/>
                      <a:pt x="6057" y="6222"/>
                    </a:cubicBezTo>
                    <a:lnTo>
                      <a:pt x="5944" y="6209"/>
                    </a:lnTo>
                    <a:close/>
                    <a:moveTo>
                      <a:pt x="4817" y="5657"/>
                    </a:moveTo>
                    <a:cubicBezTo>
                      <a:pt x="4802" y="5727"/>
                      <a:pt x="4783" y="5819"/>
                      <a:pt x="4761" y="5923"/>
                    </a:cubicBezTo>
                    <a:cubicBezTo>
                      <a:pt x="5329" y="6029"/>
                      <a:pt x="5329" y="6029"/>
                      <a:pt x="5329" y="6029"/>
                    </a:cubicBezTo>
                    <a:cubicBezTo>
                      <a:pt x="5371" y="5674"/>
                      <a:pt x="5371" y="5674"/>
                      <a:pt x="5371" y="5674"/>
                    </a:cubicBezTo>
                    <a:lnTo>
                      <a:pt x="4817" y="5657"/>
                    </a:lnTo>
                    <a:close/>
                    <a:moveTo>
                      <a:pt x="4784" y="5431"/>
                    </a:moveTo>
                    <a:cubicBezTo>
                      <a:pt x="4784" y="5367"/>
                      <a:pt x="4777" y="5275"/>
                      <a:pt x="4745" y="5194"/>
                    </a:cubicBezTo>
                    <a:cubicBezTo>
                      <a:pt x="4720" y="5132"/>
                      <a:pt x="4682" y="5077"/>
                      <a:pt x="4623" y="5040"/>
                    </a:cubicBezTo>
                    <a:cubicBezTo>
                      <a:pt x="4427" y="5310"/>
                      <a:pt x="4427" y="5310"/>
                      <a:pt x="4427" y="5310"/>
                    </a:cubicBezTo>
                    <a:cubicBezTo>
                      <a:pt x="4424" y="5310"/>
                      <a:pt x="4424" y="5310"/>
                      <a:pt x="4424" y="5310"/>
                    </a:cubicBezTo>
                    <a:cubicBezTo>
                      <a:pt x="4424" y="5310"/>
                      <a:pt x="4201" y="5316"/>
                      <a:pt x="4168" y="5316"/>
                    </a:cubicBezTo>
                    <a:cubicBezTo>
                      <a:pt x="4110" y="5409"/>
                      <a:pt x="4110" y="5409"/>
                      <a:pt x="4110" y="5409"/>
                    </a:cubicBezTo>
                    <a:cubicBezTo>
                      <a:pt x="4784" y="5441"/>
                      <a:pt x="4784" y="5441"/>
                      <a:pt x="4784" y="5441"/>
                    </a:cubicBezTo>
                    <a:cubicBezTo>
                      <a:pt x="4784" y="5437"/>
                      <a:pt x="4784" y="5434"/>
                      <a:pt x="4784" y="5431"/>
                    </a:cubicBezTo>
                    <a:close/>
                    <a:moveTo>
                      <a:pt x="4611" y="5034"/>
                    </a:moveTo>
                    <a:cubicBezTo>
                      <a:pt x="4596" y="5025"/>
                      <a:pt x="4580" y="5017"/>
                      <a:pt x="4561" y="5011"/>
                    </a:cubicBezTo>
                    <a:cubicBezTo>
                      <a:pt x="4311" y="4930"/>
                      <a:pt x="4003" y="4849"/>
                      <a:pt x="3764" y="4797"/>
                    </a:cubicBezTo>
                    <a:cubicBezTo>
                      <a:pt x="3667" y="5094"/>
                      <a:pt x="3667" y="5094"/>
                      <a:pt x="3667" y="5094"/>
                    </a:cubicBezTo>
                    <a:cubicBezTo>
                      <a:pt x="3717" y="5115"/>
                      <a:pt x="3772" y="5139"/>
                      <a:pt x="3827" y="5162"/>
                    </a:cubicBezTo>
                    <a:cubicBezTo>
                      <a:pt x="3912" y="5198"/>
                      <a:pt x="3996" y="5233"/>
                      <a:pt x="4059" y="5259"/>
                    </a:cubicBezTo>
                    <a:cubicBezTo>
                      <a:pt x="4090" y="5272"/>
                      <a:pt x="4117" y="5283"/>
                      <a:pt x="4136" y="5291"/>
                    </a:cubicBezTo>
                    <a:cubicBezTo>
                      <a:pt x="4145" y="5295"/>
                      <a:pt x="4153" y="5298"/>
                      <a:pt x="4158" y="5300"/>
                    </a:cubicBezTo>
                    <a:cubicBezTo>
                      <a:pt x="4160" y="5301"/>
                      <a:pt x="4162" y="5301"/>
                      <a:pt x="4164" y="5302"/>
                    </a:cubicBezTo>
                    <a:cubicBezTo>
                      <a:pt x="4164" y="5302"/>
                      <a:pt x="4165" y="5302"/>
                      <a:pt x="4165" y="5302"/>
                    </a:cubicBezTo>
                    <a:cubicBezTo>
                      <a:pt x="4181" y="5302"/>
                      <a:pt x="4391" y="5297"/>
                      <a:pt x="4420" y="5296"/>
                    </a:cubicBezTo>
                    <a:lnTo>
                      <a:pt x="4611" y="5034"/>
                    </a:lnTo>
                    <a:close/>
                    <a:moveTo>
                      <a:pt x="3750" y="4794"/>
                    </a:moveTo>
                    <a:cubicBezTo>
                      <a:pt x="3712" y="4786"/>
                      <a:pt x="3675" y="4778"/>
                      <a:pt x="3640" y="4771"/>
                    </a:cubicBezTo>
                    <a:cubicBezTo>
                      <a:pt x="3616" y="4767"/>
                      <a:pt x="3593" y="4762"/>
                      <a:pt x="3572" y="4758"/>
                    </a:cubicBezTo>
                    <a:cubicBezTo>
                      <a:pt x="3476" y="5011"/>
                      <a:pt x="3476" y="5011"/>
                      <a:pt x="3476" y="5011"/>
                    </a:cubicBezTo>
                    <a:cubicBezTo>
                      <a:pt x="3496" y="5020"/>
                      <a:pt x="3566" y="5050"/>
                      <a:pt x="3654" y="5088"/>
                    </a:cubicBezTo>
                    <a:lnTo>
                      <a:pt x="3750" y="4794"/>
                    </a:lnTo>
                    <a:close/>
                    <a:moveTo>
                      <a:pt x="2599" y="5592"/>
                    </a:moveTo>
                    <a:cubicBezTo>
                      <a:pt x="2543" y="5720"/>
                      <a:pt x="2498" y="5824"/>
                      <a:pt x="2490" y="5843"/>
                    </a:cubicBezTo>
                    <a:cubicBezTo>
                      <a:pt x="2543" y="5935"/>
                      <a:pt x="2543" y="5935"/>
                      <a:pt x="2543" y="5935"/>
                    </a:cubicBezTo>
                    <a:cubicBezTo>
                      <a:pt x="2645" y="5977"/>
                      <a:pt x="2645" y="5977"/>
                      <a:pt x="2645" y="5977"/>
                    </a:cubicBezTo>
                    <a:cubicBezTo>
                      <a:pt x="3069" y="5172"/>
                      <a:pt x="3069" y="5172"/>
                      <a:pt x="3069" y="5172"/>
                    </a:cubicBezTo>
                    <a:cubicBezTo>
                      <a:pt x="2939" y="5071"/>
                      <a:pt x="2939" y="5071"/>
                      <a:pt x="2939" y="5071"/>
                    </a:cubicBezTo>
                    <a:cubicBezTo>
                      <a:pt x="2844" y="5041"/>
                      <a:pt x="2844" y="5041"/>
                      <a:pt x="2844" y="5041"/>
                    </a:cubicBezTo>
                    <a:cubicBezTo>
                      <a:pt x="2833" y="5064"/>
                      <a:pt x="2813" y="5107"/>
                      <a:pt x="2788" y="5163"/>
                    </a:cubicBezTo>
                    <a:cubicBezTo>
                      <a:pt x="2736" y="5280"/>
                      <a:pt x="2661" y="5451"/>
                      <a:pt x="2599" y="5592"/>
                    </a:cubicBezTo>
                    <a:close/>
                    <a:moveTo>
                      <a:pt x="2391" y="5329"/>
                    </a:moveTo>
                    <a:cubicBezTo>
                      <a:pt x="2335" y="5439"/>
                      <a:pt x="2335" y="5439"/>
                      <a:pt x="2335" y="5439"/>
                    </a:cubicBezTo>
                    <a:cubicBezTo>
                      <a:pt x="2363" y="5460"/>
                      <a:pt x="2363" y="5460"/>
                      <a:pt x="2363" y="5460"/>
                    </a:cubicBezTo>
                    <a:cubicBezTo>
                      <a:pt x="2348" y="5536"/>
                      <a:pt x="2348" y="5536"/>
                      <a:pt x="2348" y="5536"/>
                    </a:cubicBezTo>
                    <a:cubicBezTo>
                      <a:pt x="2561" y="5645"/>
                      <a:pt x="2561" y="5645"/>
                      <a:pt x="2561" y="5645"/>
                    </a:cubicBezTo>
                    <a:cubicBezTo>
                      <a:pt x="2585" y="5590"/>
                      <a:pt x="2611" y="5528"/>
                      <a:pt x="2639" y="5466"/>
                    </a:cubicBezTo>
                    <a:cubicBezTo>
                      <a:pt x="2608" y="5450"/>
                      <a:pt x="2491" y="5385"/>
                      <a:pt x="2391" y="5329"/>
                    </a:cubicBezTo>
                    <a:close/>
                    <a:moveTo>
                      <a:pt x="2379" y="5323"/>
                    </a:moveTo>
                    <a:cubicBezTo>
                      <a:pt x="2344" y="5303"/>
                      <a:pt x="2312" y="5285"/>
                      <a:pt x="2287" y="5271"/>
                    </a:cubicBezTo>
                    <a:cubicBezTo>
                      <a:pt x="2240" y="5366"/>
                      <a:pt x="2240" y="5366"/>
                      <a:pt x="2240" y="5366"/>
                    </a:cubicBezTo>
                    <a:cubicBezTo>
                      <a:pt x="2324" y="5431"/>
                      <a:pt x="2324" y="5431"/>
                      <a:pt x="2324" y="5431"/>
                    </a:cubicBezTo>
                    <a:lnTo>
                      <a:pt x="2379" y="5323"/>
                    </a:lnTo>
                    <a:close/>
                    <a:moveTo>
                      <a:pt x="2233" y="5379"/>
                    </a:moveTo>
                    <a:cubicBezTo>
                      <a:pt x="2212" y="5422"/>
                      <a:pt x="2212" y="5422"/>
                      <a:pt x="2212" y="5422"/>
                    </a:cubicBezTo>
                    <a:cubicBezTo>
                      <a:pt x="2306" y="5468"/>
                      <a:pt x="2306" y="5468"/>
                      <a:pt x="2306" y="5468"/>
                    </a:cubicBezTo>
                    <a:cubicBezTo>
                      <a:pt x="2318" y="5443"/>
                      <a:pt x="2318" y="5443"/>
                      <a:pt x="2318" y="5443"/>
                    </a:cubicBezTo>
                    <a:lnTo>
                      <a:pt x="2233" y="5379"/>
                    </a:lnTo>
                    <a:close/>
                    <a:moveTo>
                      <a:pt x="2223" y="5371"/>
                    </a:moveTo>
                    <a:cubicBezTo>
                      <a:pt x="2209" y="5361"/>
                      <a:pt x="2209" y="5361"/>
                      <a:pt x="2209" y="5361"/>
                    </a:cubicBezTo>
                    <a:cubicBezTo>
                      <a:pt x="2061" y="5626"/>
                      <a:pt x="2061" y="5626"/>
                      <a:pt x="2061" y="5626"/>
                    </a:cubicBezTo>
                    <a:cubicBezTo>
                      <a:pt x="2067" y="5629"/>
                      <a:pt x="2075" y="5633"/>
                      <a:pt x="2083" y="5638"/>
                    </a:cubicBezTo>
                    <a:cubicBezTo>
                      <a:pt x="2145" y="5513"/>
                      <a:pt x="2145" y="5513"/>
                      <a:pt x="2145" y="5513"/>
                    </a:cubicBezTo>
                    <a:cubicBezTo>
                      <a:pt x="2265" y="5571"/>
                      <a:pt x="2265" y="5571"/>
                      <a:pt x="2265" y="5571"/>
                    </a:cubicBezTo>
                    <a:cubicBezTo>
                      <a:pt x="2262" y="5577"/>
                      <a:pt x="2262" y="5577"/>
                      <a:pt x="2262" y="5577"/>
                    </a:cubicBezTo>
                    <a:cubicBezTo>
                      <a:pt x="2199" y="5701"/>
                      <a:pt x="2199" y="5701"/>
                      <a:pt x="2199" y="5701"/>
                    </a:cubicBezTo>
                    <a:cubicBezTo>
                      <a:pt x="2217" y="5726"/>
                      <a:pt x="2251" y="5785"/>
                      <a:pt x="2259" y="5799"/>
                    </a:cubicBezTo>
                    <a:cubicBezTo>
                      <a:pt x="2271" y="5800"/>
                      <a:pt x="2316" y="5807"/>
                      <a:pt x="2363" y="5814"/>
                    </a:cubicBezTo>
                    <a:cubicBezTo>
                      <a:pt x="2411" y="5822"/>
                      <a:pt x="2458" y="5829"/>
                      <a:pt x="2478" y="5835"/>
                    </a:cubicBezTo>
                    <a:cubicBezTo>
                      <a:pt x="2486" y="5816"/>
                      <a:pt x="2516" y="5748"/>
                      <a:pt x="2555" y="5658"/>
                    </a:cubicBezTo>
                    <a:cubicBezTo>
                      <a:pt x="2332" y="5543"/>
                      <a:pt x="2332" y="5543"/>
                      <a:pt x="2332" y="5543"/>
                    </a:cubicBezTo>
                    <a:cubicBezTo>
                      <a:pt x="2347" y="5466"/>
                      <a:pt x="2347" y="5466"/>
                      <a:pt x="2347" y="5466"/>
                    </a:cubicBezTo>
                    <a:cubicBezTo>
                      <a:pt x="2329" y="5452"/>
                      <a:pt x="2329" y="5452"/>
                      <a:pt x="2329" y="5452"/>
                    </a:cubicBezTo>
                    <a:cubicBezTo>
                      <a:pt x="2312" y="5485"/>
                      <a:pt x="2312" y="5485"/>
                      <a:pt x="2312" y="5485"/>
                    </a:cubicBezTo>
                    <a:cubicBezTo>
                      <a:pt x="2194" y="5428"/>
                      <a:pt x="2194" y="5428"/>
                      <a:pt x="2194" y="5428"/>
                    </a:cubicBezTo>
                    <a:lnTo>
                      <a:pt x="2223" y="5371"/>
                    </a:lnTo>
                    <a:close/>
                    <a:moveTo>
                      <a:pt x="2205" y="5234"/>
                    </a:moveTo>
                    <a:cubicBezTo>
                      <a:pt x="2157" y="5207"/>
                      <a:pt x="2157" y="5207"/>
                      <a:pt x="2157" y="5207"/>
                    </a:cubicBezTo>
                    <a:cubicBezTo>
                      <a:pt x="2108" y="5294"/>
                      <a:pt x="2108" y="5294"/>
                      <a:pt x="2108" y="5294"/>
                    </a:cubicBezTo>
                    <a:cubicBezTo>
                      <a:pt x="2157" y="5321"/>
                      <a:pt x="2157" y="5321"/>
                      <a:pt x="2157" y="5321"/>
                    </a:cubicBezTo>
                    <a:lnTo>
                      <a:pt x="2205" y="5234"/>
                    </a:lnTo>
                    <a:close/>
                    <a:moveTo>
                      <a:pt x="2101" y="5306"/>
                    </a:moveTo>
                    <a:cubicBezTo>
                      <a:pt x="2049" y="5398"/>
                      <a:pt x="2049" y="5398"/>
                      <a:pt x="2049" y="5398"/>
                    </a:cubicBezTo>
                    <a:cubicBezTo>
                      <a:pt x="2098" y="5426"/>
                      <a:pt x="2098" y="5426"/>
                      <a:pt x="2098" y="5426"/>
                    </a:cubicBezTo>
                    <a:cubicBezTo>
                      <a:pt x="2150" y="5333"/>
                      <a:pt x="2150" y="5333"/>
                      <a:pt x="2150" y="5333"/>
                    </a:cubicBezTo>
                    <a:lnTo>
                      <a:pt x="2101" y="5306"/>
                    </a:lnTo>
                    <a:close/>
                    <a:moveTo>
                      <a:pt x="2090" y="5299"/>
                    </a:moveTo>
                    <a:cubicBezTo>
                      <a:pt x="1976" y="5234"/>
                      <a:pt x="1976" y="5234"/>
                      <a:pt x="1976" y="5234"/>
                    </a:cubicBezTo>
                    <a:cubicBezTo>
                      <a:pt x="1924" y="5326"/>
                      <a:pt x="1924" y="5326"/>
                      <a:pt x="1924" y="5326"/>
                    </a:cubicBezTo>
                    <a:cubicBezTo>
                      <a:pt x="2038" y="5391"/>
                      <a:pt x="2038" y="5391"/>
                      <a:pt x="2038" y="5391"/>
                    </a:cubicBezTo>
                    <a:lnTo>
                      <a:pt x="2090" y="5299"/>
                    </a:lnTo>
                    <a:close/>
                    <a:moveTo>
                      <a:pt x="1964" y="5228"/>
                    </a:moveTo>
                    <a:cubicBezTo>
                      <a:pt x="1585" y="5011"/>
                      <a:pt x="1585" y="5011"/>
                      <a:pt x="1585" y="5011"/>
                    </a:cubicBezTo>
                    <a:cubicBezTo>
                      <a:pt x="1550" y="5113"/>
                      <a:pt x="1550" y="5113"/>
                      <a:pt x="1550" y="5113"/>
                    </a:cubicBezTo>
                    <a:cubicBezTo>
                      <a:pt x="1912" y="5320"/>
                      <a:pt x="1912" y="5320"/>
                      <a:pt x="1912" y="5320"/>
                    </a:cubicBezTo>
                    <a:lnTo>
                      <a:pt x="1964" y="5228"/>
                    </a:lnTo>
                    <a:close/>
                    <a:moveTo>
                      <a:pt x="1545" y="5126"/>
                    </a:moveTo>
                    <a:cubicBezTo>
                      <a:pt x="1504" y="5243"/>
                      <a:pt x="1504" y="5243"/>
                      <a:pt x="1504" y="5243"/>
                    </a:cubicBezTo>
                    <a:cubicBezTo>
                      <a:pt x="1845" y="5438"/>
                      <a:pt x="1845" y="5438"/>
                      <a:pt x="1845" y="5438"/>
                    </a:cubicBezTo>
                    <a:cubicBezTo>
                      <a:pt x="1905" y="5332"/>
                      <a:pt x="1905" y="5332"/>
                      <a:pt x="1905" y="5332"/>
                    </a:cubicBezTo>
                    <a:lnTo>
                      <a:pt x="1545" y="5126"/>
                    </a:lnTo>
                    <a:close/>
                    <a:moveTo>
                      <a:pt x="1499" y="5257"/>
                    </a:moveTo>
                    <a:cubicBezTo>
                      <a:pt x="1499" y="5257"/>
                      <a:pt x="1499" y="5257"/>
                      <a:pt x="1499" y="5257"/>
                    </a:cubicBezTo>
                    <a:cubicBezTo>
                      <a:pt x="1420" y="5348"/>
                      <a:pt x="1420" y="5348"/>
                      <a:pt x="1420" y="5348"/>
                    </a:cubicBezTo>
                    <a:cubicBezTo>
                      <a:pt x="1780" y="5553"/>
                      <a:pt x="1780" y="5553"/>
                      <a:pt x="1780" y="5553"/>
                    </a:cubicBezTo>
                    <a:cubicBezTo>
                      <a:pt x="1838" y="5450"/>
                      <a:pt x="1838" y="5450"/>
                      <a:pt x="1838" y="5450"/>
                    </a:cubicBezTo>
                    <a:lnTo>
                      <a:pt x="1499" y="5257"/>
                    </a:lnTo>
                    <a:close/>
                    <a:moveTo>
                      <a:pt x="1416" y="5362"/>
                    </a:moveTo>
                    <a:cubicBezTo>
                      <a:pt x="1386" y="5470"/>
                      <a:pt x="1386" y="5470"/>
                      <a:pt x="1386" y="5470"/>
                    </a:cubicBezTo>
                    <a:cubicBezTo>
                      <a:pt x="1719" y="5660"/>
                      <a:pt x="1719" y="5660"/>
                      <a:pt x="1719" y="5660"/>
                    </a:cubicBezTo>
                    <a:cubicBezTo>
                      <a:pt x="1773" y="5565"/>
                      <a:pt x="1773" y="5565"/>
                      <a:pt x="1773" y="5565"/>
                    </a:cubicBezTo>
                    <a:lnTo>
                      <a:pt x="1416" y="5362"/>
                    </a:lnTo>
                    <a:close/>
                    <a:moveTo>
                      <a:pt x="1382" y="5484"/>
                    </a:moveTo>
                    <a:cubicBezTo>
                      <a:pt x="1344" y="5618"/>
                      <a:pt x="1344" y="5618"/>
                      <a:pt x="1344" y="5618"/>
                    </a:cubicBezTo>
                    <a:cubicBezTo>
                      <a:pt x="1646" y="5789"/>
                      <a:pt x="1646" y="5789"/>
                      <a:pt x="1646" y="5789"/>
                    </a:cubicBezTo>
                    <a:cubicBezTo>
                      <a:pt x="1712" y="5673"/>
                      <a:pt x="1712" y="5673"/>
                      <a:pt x="1712" y="5673"/>
                    </a:cubicBezTo>
                    <a:lnTo>
                      <a:pt x="1382" y="5484"/>
                    </a:lnTo>
                    <a:close/>
                    <a:moveTo>
                      <a:pt x="1335" y="5628"/>
                    </a:moveTo>
                    <a:cubicBezTo>
                      <a:pt x="1225" y="5691"/>
                      <a:pt x="1225" y="5691"/>
                      <a:pt x="1225" y="5691"/>
                    </a:cubicBezTo>
                    <a:cubicBezTo>
                      <a:pt x="1585" y="5896"/>
                      <a:pt x="1585" y="5896"/>
                      <a:pt x="1585" y="5896"/>
                    </a:cubicBezTo>
                    <a:cubicBezTo>
                      <a:pt x="1639" y="5802"/>
                      <a:pt x="1639" y="5802"/>
                      <a:pt x="1639" y="5802"/>
                    </a:cubicBezTo>
                    <a:lnTo>
                      <a:pt x="1335" y="5628"/>
                    </a:lnTo>
                    <a:close/>
                    <a:moveTo>
                      <a:pt x="1211" y="5699"/>
                    </a:moveTo>
                    <a:cubicBezTo>
                      <a:pt x="1198" y="5706"/>
                      <a:pt x="1198" y="5706"/>
                      <a:pt x="1198" y="5706"/>
                    </a:cubicBezTo>
                    <a:cubicBezTo>
                      <a:pt x="1164" y="5811"/>
                      <a:pt x="1164" y="5811"/>
                      <a:pt x="1164" y="5811"/>
                    </a:cubicBezTo>
                    <a:cubicBezTo>
                      <a:pt x="1518" y="6014"/>
                      <a:pt x="1518" y="6014"/>
                      <a:pt x="1518" y="6014"/>
                    </a:cubicBezTo>
                    <a:cubicBezTo>
                      <a:pt x="1578" y="5908"/>
                      <a:pt x="1578" y="5908"/>
                      <a:pt x="1578" y="5908"/>
                    </a:cubicBezTo>
                    <a:lnTo>
                      <a:pt x="1211" y="5699"/>
                    </a:lnTo>
                    <a:close/>
                    <a:moveTo>
                      <a:pt x="1160" y="5825"/>
                    </a:moveTo>
                    <a:cubicBezTo>
                      <a:pt x="1127" y="5928"/>
                      <a:pt x="1127" y="5928"/>
                      <a:pt x="1127" y="5928"/>
                    </a:cubicBezTo>
                    <a:cubicBezTo>
                      <a:pt x="1459" y="6118"/>
                      <a:pt x="1459" y="6118"/>
                      <a:pt x="1459" y="6118"/>
                    </a:cubicBezTo>
                    <a:cubicBezTo>
                      <a:pt x="1512" y="6026"/>
                      <a:pt x="1512" y="6026"/>
                      <a:pt x="1512" y="6026"/>
                    </a:cubicBezTo>
                    <a:lnTo>
                      <a:pt x="1160" y="5825"/>
                    </a:lnTo>
                    <a:close/>
                    <a:moveTo>
                      <a:pt x="1122" y="5941"/>
                    </a:moveTo>
                    <a:cubicBezTo>
                      <a:pt x="1086" y="6055"/>
                      <a:pt x="1086" y="6055"/>
                      <a:pt x="1086" y="6055"/>
                    </a:cubicBezTo>
                    <a:cubicBezTo>
                      <a:pt x="1080" y="6058"/>
                      <a:pt x="1080" y="6058"/>
                      <a:pt x="1080" y="6058"/>
                    </a:cubicBezTo>
                    <a:cubicBezTo>
                      <a:pt x="1392" y="6236"/>
                      <a:pt x="1392" y="6236"/>
                      <a:pt x="1392" y="6236"/>
                    </a:cubicBezTo>
                    <a:cubicBezTo>
                      <a:pt x="1452" y="6130"/>
                      <a:pt x="1452" y="6130"/>
                      <a:pt x="1452" y="6130"/>
                    </a:cubicBezTo>
                    <a:lnTo>
                      <a:pt x="1122" y="5941"/>
                    </a:lnTo>
                    <a:close/>
                    <a:moveTo>
                      <a:pt x="1067" y="6066"/>
                    </a:moveTo>
                    <a:cubicBezTo>
                      <a:pt x="956" y="6134"/>
                      <a:pt x="956" y="6134"/>
                      <a:pt x="956" y="6134"/>
                    </a:cubicBezTo>
                    <a:cubicBezTo>
                      <a:pt x="954" y="6139"/>
                      <a:pt x="954" y="6139"/>
                      <a:pt x="954" y="6139"/>
                    </a:cubicBezTo>
                    <a:cubicBezTo>
                      <a:pt x="1327" y="6351"/>
                      <a:pt x="1327" y="6351"/>
                      <a:pt x="1327" y="6351"/>
                    </a:cubicBezTo>
                    <a:cubicBezTo>
                      <a:pt x="1385" y="6248"/>
                      <a:pt x="1385" y="6248"/>
                      <a:pt x="1385" y="6248"/>
                    </a:cubicBezTo>
                    <a:lnTo>
                      <a:pt x="1067" y="6066"/>
                    </a:lnTo>
                    <a:close/>
                    <a:moveTo>
                      <a:pt x="1338" y="6358"/>
                    </a:moveTo>
                    <a:cubicBezTo>
                      <a:pt x="1452" y="6423"/>
                      <a:pt x="1452" y="6423"/>
                      <a:pt x="1452" y="6423"/>
                    </a:cubicBezTo>
                    <a:cubicBezTo>
                      <a:pt x="1511" y="6320"/>
                      <a:pt x="1511" y="6320"/>
                      <a:pt x="1511" y="6320"/>
                    </a:cubicBezTo>
                    <a:cubicBezTo>
                      <a:pt x="1397" y="6255"/>
                      <a:pt x="1397" y="6255"/>
                      <a:pt x="1397" y="6255"/>
                    </a:cubicBezTo>
                    <a:lnTo>
                      <a:pt x="1338" y="6358"/>
                    </a:lnTo>
                    <a:close/>
                    <a:moveTo>
                      <a:pt x="1464" y="6430"/>
                    </a:moveTo>
                    <a:cubicBezTo>
                      <a:pt x="1518" y="6461"/>
                      <a:pt x="1518" y="6461"/>
                      <a:pt x="1518" y="6461"/>
                    </a:cubicBezTo>
                    <a:cubicBezTo>
                      <a:pt x="1576" y="6357"/>
                      <a:pt x="1576" y="6357"/>
                      <a:pt x="1576" y="6357"/>
                    </a:cubicBezTo>
                    <a:cubicBezTo>
                      <a:pt x="1522" y="6326"/>
                      <a:pt x="1522" y="6326"/>
                      <a:pt x="1522" y="6326"/>
                    </a:cubicBezTo>
                    <a:lnTo>
                      <a:pt x="1464" y="6430"/>
                    </a:lnTo>
                    <a:close/>
                    <a:moveTo>
                      <a:pt x="1482" y="6660"/>
                    </a:moveTo>
                    <a:cubicBezTo>
                      <a:pt x="1527" y="6687"/>
                      <a:pt x="1622" y="6743"/>
                      <a:pt x="1722" y="6802"/>
                    </a:cubicBezTo>
                    <a:cubicBezTo>
                      <a:pt x="1824" y="6862"/>
                      <a:pt x="1932" y="6925"/>
                      <a:pt x="1995" y="6961"/>
                    </a:cubicBezTo>
                    <a:cubicBezTo>
                      <a:pt x="2033" y="6906"/>
                      <a:pt x="2116" y="6778"/>
                      <a:pt x="2198" y="6651"/>
                    </a:cubicBezTo>
                    <a:cubicBezTo>
                      <a:pt x="2221" y="6616"/>
                      <a:pt x="2243" y="6581"/>
                      <a:pt x="2264" y="6548"/>
                    </a:cubicBezTo>
                    <a:cubicBezTo>
                      <a:pt x="2008" y="6403"/>
                      <a:pt x="2008" y="6403"/>
                      <a:pt x="2008" y="6403"/>
                    </a:cubicBezTo>
                    <a:cubicBezTo>
                      <a:pt x="2007" y="6404"/>
                      <a:pt x="2006" y="6405"/>
                      <a:pt x="2006" y="6405"/>
                    </a:cubicBezTo>
                    <a:cubicBezTo>
                      <a:pt x="1995" y="6397"/>
                      <a:pt x="1995" y="6397"/>
                      <a:pt x="1995" y="6397"/>
                    </a:cubicBezTo>
                    <a:cubicBezTo>
                      <a:pt x="1995" y="6397"/>
                      <a:pt x="1996" y="6396"/>
                      <a:pt x="1996" y="6396"/>
                    </a:cubicBezTo>
                    <a:cubicBezTo>
                      <a:pt x="1718" y="6238"/>
                      <a:pt x="1718" y="6238"/>
                      <a:pt x="1718" y="6238"/>
                    </a:cubicBezTo>
                    <a:lnTo>
                      <a:pt x="1482" y="6660"/>
                    </a:lnTo>
                    <a:close/>
                    <a:moveTo>
                      <a:pt x="1900" y="7068"/>
                    </a:moveTo>
                    <a:cubicBezTo>
                      <a:pt x="1861" y="7124"/>
                      <a:pt x="1809" y="7202"/>
                      <a:pt x="1765" y="7267"/>
                    </a:cubicBezTo>
                    <a:cubicBezTo>
                      <a:pt x="1743" y="7299"/>
                      <a:pt x="1723" y="7328"/>
                      <a:pt x="1708" y="7349"/>
                    </a:cubicBezTo>
                    <a:cubicBezTo>
                      <a:pt x="1706" y="7351"/>
                      <a:pt x="1705" y="7353"/>
                      <a:pt x="1703" y="7355"/>
                    </a:cubicBezTo>
                    <a:cubicBezTo>
                      <a:pt x="1703" y="7356"/>
                      <a:pt x="1704" y="7355"/>
                      <a:pt x="1704" y="7356"/>
                    </a:cubicBezTo>
                    <a:cubicBezTo>
                      <a:pt x="1705" y="7357"/>
                      <a:pt x="1705" y="7358"/>
                      <a:pt x="1706" y="7359"/>
                    </a:cubicBezTo>
                    <a:cubicBezTo>
                      <a:pt x="1710" y="7365"/>
                      <a:pt x="1751" y="7417"/>
                      <a:pt x="1791" y="7465"/>
                    </a:cubicBezTo>
                    <a:cubicBezTo>
                      <a:pt x="1822" y="7503"/>
                      <a:pt x="1853" y="7541"/>
                      <a:pt x="1866" y="7557"/>
                    </a:cubicBezTo>
                    <a:cubicBezTo>
                      <a:pt x="2211" y="7180"/>
                      <a:pt x="2211" y="7180"/>
                      <a:pt x="2211" y="7180"/>
                    </a:cubicBezTo>
                    <a:cubicBezTo>
                      <a:pt x="2210" y="7180"/>
                      <a:pt x="2210" y="7179"/>
                      <a:pt x="2209" y="7179"/>
                    </a:cubicBezTo>
                    <a:cubicBezTo>
                      <a:pt x="2128" y="7121"/>
                      <a:pt x="2047" y="7065"/>
                      <a:pt x="2014" y="7047"/>
                    </a:cubicBezTo>
                    <a:cubicBezTo>
                      <a:pt x="2001" y="7040"/>
                      <a:pt x="1976" y="7026"/>
                      <a:pt x="1943" y="7007"/>
                    </a:cubicBezTo>
                    <a:cubicBezTo>
                      <a:pt x="1934" y="7020"/>
                      <a:pt x="1918" y="7042"/>
                      <a:pt x="1900" y="7068"/>
                    </a:cubicBezTo>
                    <a:close/>
                    <a:moveTo>
                      <a:pt x="1857" y="7725"/>
                    </a:moveTo>
                    <a:cubicBezTo>
                      <a:pt x="1852" y="7763"/>
                      <a:pt x="1847" y="7802"/>
                      <a:pt x="1843" y="7830"/>
                    </a:cubicBezTo>
                    <a:cubicBezTo>
                      <a:pt x="1841" y="7845"/>
                      <a:pt x="1840" y="7857"/>
                      <a:pt x="1838" y="7865"/>
                    </a:cubicBezTo>
                    <a:cubicBezTo>
                      <a:pt x="1838" y="7868"/>
                      <a:pt x="1837" y="7871"/>
                      <a:pt x="1837" y="7873"/>
                    </a:cubicBezTo>
                    <a:cubicBezTo>
                      <a:pt x="1845" y="7877"/>
                      <a:pt x="1862" y="7884"/>
                      <a:pt x="1878" y="7891"/>
                    </a:cubicBezTo>
                    <a:cubicBezTo>
                      <a:pt x="1894" y="7898"/>
                      <a:pt x="1910" y="7904"/>
                      <a:pt x="1917" y="7907"/>
                    </a:cubicBezTo>
                    <a:cubicBezTo>
                      <a:pt x="1944" y="7894"/>
                      <a:pt x="2010" y="7859"/>
                      <a:pt x="2074" y="7826"/>
                    </a:cubicBezTo>
                    <a:cubicBezTo>
                      <a:pt x="2145" y="7789"/>
                      <a:pt x="2215" y="7752"/>
                      <a:pt x="2228" y="7745"/>
                    </a:cubicBezTo>
                    <a:cubicBezTo>
                      <a:pt x="2235" y="7728"/>
                      <a:pt x="2272" y="7625"/>
                      <a:pt x="2310" y="7521"/>
                    </a:cubicBezTo>
                    <a:cubicBezTo>
                      <a:pt x="2330" y="7465"/>
                      <a:pt x="2352" y="7408"/>
                      <a:pt x="2368" y="7365"/>
                    </a:cubicBezTo>
                    <a:cubicBezTo>
                      <a:pt x="2376" y="7344"/>
                      <a:pt x="2383" y="7326"/>
                      <a:pt x="2389" y="7313"/>
                    </a:cubicBezTo>
                    <a:cubicBezTo>
                      <a:pt x="2389" y="7312"/>
                      <a:pt x="2390" y="7311"/>
                      <a:pt x="2390" y="7310"/>
                    </a:cubicBezTo>
                    <a:cubicBezTo>
                      <a:pt x="2346" y="7279"/>
                      <a:pt x="2285" y="7233"/>
                      <a:pt x="2222" y="7188"/>
                    </a:cubicBezTo>
                    <a:cubicBezTo>
                      <a:pt x="1875" y="7568"/>
                      <a:pt x="1875" y="7568"/>
                      <a:pt x="1875" y="7568"/>
                    </a:cubicBezTo>
                    <a:cubicBezTo>
                      <a:pt x="1875" y="7568"/>
                      <a:pt x="1875" y="7568"/>
                      <a:pt x="1875" y="7568"/>
                    </a:cubicBezTo>
                    <a:cubicBezTo>
                      <a:pt x="1875" y="7572"/>
                      <a:pt x="1875" y="7572"/>
                      <a:pt x="1875" y="7572"/>
                    </a:cubicBezTo>
                    <a:cubicBezTo>
                      <a:pt x="1875" y="7572"/>
                      <a:pt x="1866" y="7648"/>
                      <a:pt x="1857" y="7725"/>
                    </a:cubicBezTo>
                    <a:close/>
                    <a:moveTo>
                      <a:pt x="1828" y="7887"/>
                    </a:moveTo>
                    <a:cubicBezTo>
                      <a:pt x="1811" y="7900"/>
                      <a:pt x="1744" y="7954"/>
                      <a:pt x="1677" y="8008"/>
                    </a:cubicBezTo>
                    <a:cubicBezTo>
                      <a:pt x="1638" y="8039"/>
                      <a:pt x="1600" y="8070"/>
                      <a:pt x="1570" y="8094"/>
                    </a:cubicBezTo>
                    <a:cubicBezTo>
                      <a:pt x="1557" y="8106"/>
                      <a:pt x="1546" y="8115"/>
                      <a:pt x="1537" y="8123"/>
                    </a:cubicBezTo>
                    <a:cubicBezTo>
                      <a:pt x="1664" y="8280"/>
                      <a:pt x="1664" y="8280"/>
                      <a:pt x="1664" y="8280"/>
                    </a:cubicBezTo>
                    <a:cubicBezTo>
                      <a:pt x="1989" y="8255"/>
                      <a:pt x="1989" y="8255"/>
                      <a:pt x="1989" y="8255"/>
                    </a:cubicBezTo>
                    <a:cubicBezTo>
                      <a:pt x="2102" y="8179"/>
                      <a:pt x="2102" y="8179"/>
                      <a:pt x="2102" y="8179"/>
                    </a:cubicBezTo>
                    <a:cubicBezTo>
                      <a:pt x="1864" y="8067"/>
                      <a:pt x="1864" y="8067"/>
                      <a:pt x="1864" y="8067"/>
                    </a:cubicBezTo>
                    <a:cubicBezTo>
                      <a:pt x="1906" y="7927"/>
                      <a:pt x="1906" y="7927"/>
                      <a:pt x="1906" y="7927"/>
                    </a:cubicBezTo>
                    <a:cubicBezTo>
                      <a:pt x="1905" y="7927"/>
                      <a:pt x="1905" y="7927"/>
                      <a:pt x="1905" y="7927"/>
                    </a:cubicBezTo>
                    <a:cubicBezTo>
                      <a:pt x="1905" y="7920"/>
                      <a:pt x="1905" y="7920"/>
                      <a:pt x="1905" y="7920"/>
                    </a:cubicBezTo>
                    <a:cubicBezTo>
                      <a:pt x="1896" y="7917"/>
                      <a:pt x="1883" y="7911"/>
                      <a:pt x="1869" y="7905"/>
                    </a:cubicBezTo>
                    <a:cubicBezTo>
                      <a:pt x="1858" y="7900"/>
                      <a:pt x="1846" y="7895"/>
                      <a:pt x="1838" y="7891"/>
                    </a:cubicBezTo>
                    <a:cubicBezTo>
                      <a:pt x="1834" y="7890"/>
                      <a:pt x="1831" y="7888"/>
                      <a:pt x="1828" y="7887"/>
                    </a:cubicBezTo>
                    <a:close/>
                    <a:moveTo>
                      <a:pt x="1531" y="8560"/>
                    </a:moveTo>
                    <a:cubicBezTo>
                      <a:pt x="1515" y="8587"/>
                      <a:pt x="1500" y="8613"/>
                      <a:pt x="1486" y="8638"/>
                    </a:cubicBezTo>
                    <a:cubicBezTo>
                      <a:pt x="1496" y="8662"/>
                      <a:pt x="1550" y="8780"/>
                      <a:pt x="1607" y="8903"/>
                    </a:cubicBezTo>
                    <a:cubicBezTo>
                      <a:pt x="1694" y="8796"/>
                      <a:pt x="1694" y="8796"/>
                      <a:pt x="1694" y="8796"/>
                    </a:cubicBezTo>
                    <a:cubicBezTo>
                      <a:pt x="2029" y="8655"/>
                      <a:pt x="2029" y="8655"/>
                      <a:pt x="2029" y="8655"/>
                    </a:cubicBezTo>
                    <a:cubicBezTo>
                      <a:pt x="1870" y="8309"/>
                      <a:pt x="1870" y="8309"/>
                      <a:pt x="1870" y="8309"/>
                    </a:cubicBezTo>
                    <a:cubicBezTo>
                      <a:pt x="1668" y="8325"/>
                      <a:pt x="1668" y="8325"/>
                      <a:pt x="1668" y="8325"/>
                    </a:cubicBezTo>
                    <a:cubicBezTo>
                      <a:pt x="1649" y="8357"/>
                      <a:pt x="1590" y="8459"/>
                      <a:pt x="1531" y="8560"/>
                    </a:cubicBezTo>
                    <a:close/>
                    <a:moveTo>
                      <a:pt x="1995" y="8849"/>
                    </a:moveTo>
                    <a:cubicBezTo>
                      <a:pt x="1998" y="8847"/>
                      <a:pt x="1998" y="8847"/>
                      <a:pt x="1998" y="8847"/>
                    </a:cubicBezTo>
                    <a:cubicBezTo>
                      <a:pt x="1934" y="8713"/>
                      <a:pt x="1934" y="8713"/>
                      <a:pt x="1934" y="8713"/>
                    </a:cubicBezTo>
                    <a:cubicBezTo>
                      <a:pt x="1833" y="8755"/>
                      <a:pt x="1833" y="8755"/>
                      <a:pt x="1833" y="8755"/>
                    </a:cubicBezTo>
                    <a:cubicBezTo>
                      <a:pt x="1839" y="8767"/>
                      <a:pt x="1869" y="8829"/>
                      <a:pt x="1902" y="8897"/>
                    </a:cubicBezTo>
                    <a:cubicBezTo>
                      <a:pt x="1995" y="8849"/>
                      <a:pt x="1995" y="8849"/>
                      <a:pt x="1995" y="8849"/>
                    </a:cubicBezTo>
                    <a:close/>
                    <a:moveTo>
                      <a:pt x="1788" y="8972"/>
                    </a:moveTo>
                    <a:cubicBezTo>
                      <a:pt x="1895" y="8920"/>
                      <a:pt x="1895" y="8920"/>
                      <a:pt x="1895" y="8920"/>
                    </a:cubicBezTo>
                    <a:cubicBezTo>
                      <a:pt x="1858" y="8844"/>
                      <a:pt x="1822" y="8771"/>
                      <a:pt x="1818" y="8762"/>
                    </a:cubicBezTo>
                    <a:cubicBezTo>
                      <a:pt x="1711" y="8807"/>
                      <a:pt x="1711" y="8807"/>
                      <a:pt x="1711" y="8807"/>
                    </a:cubicBezTo>
                    <a:lnTo>
                      <a:pt x="1788" y="8972"/>
                    </a:lnTo>
                    <a:close/>
                    <a:moveTo>
                      <a:pt x="1698" y="8818"/>
                    </a:moveTo>
                    <a:cubicBezTo>
                      <a:pt x="1615" y="8919"/>
                      <a:pt x="1615" y="8919"/>
                      <a:pt x="1615" y="8919"/>
                    </a:cubicBezTo>
                    <a:cubicBezTo>
                      <a:pt x="1617" y="8924"/>
                      <a:pt x="1620" y="8930"/>
                      <a:pt x="1622" y="8935"/>
                    </a:cubicBezTo>
                    <a:cubicBezTo>
                      <a:pt x="1631" y="8954"/>
                      <a:pt x="1640" y="8974"/>
                      <a:pt x="1649" y="8993"/>
                    </a:cubicBezTo>
                    <a:cubicBezTo>
                      <a:pt x="1755" y="8943"/>
                      <a:pt x="1755" y="8943"/>
                      <a:pt x="1755" y="8943"/>
                    </a:cubicBezTo>
                    <a:cubicBezTo>
                      <a:pt x="1761" y="8952"/>
                      <a:pt x="1761" y="8952"/>
                      <a:pt x="1761" y="8952"/>
                    </a:cubicBezTo>
                    <a:lnTo>
                      <a:pt x="1698" y="8818"/>
                    </a:lnTo>
                    <a:close/>
                    <a:moveTo>
                      <a:pt x="2008" y="8829"/>
                    </a:moveTo>
                    <a:cubicBezTo>
                      <a:pt x="2090" y="8787"/>
                      <a:pt x="2090" y="8787"/>
                      <a:pt x="2090" y="8787"/>
                    </a:cubicBezTo>
                    <a:cubicBezTo>
                      <a:pt x="2036" y="8670"/>
                      <a:pt x="2036" y="8670"/>
                      <a:pt x="2036" y="8670"/>
                    </a:cubicBezTo>
                    <a:cubicBezTo>
                      <a:pt x="1949" y="8707"/>
                      <a:pt x="1949" y="8707"/>
                      <a:pt x="1949" y="8707"/>
                    </a:cubicBezTo>
                    <a:lnTo>
                      <a:pt x="2008" y="8829"/>
                    </a:lnTo>
                    <a:close/>
                    <a:moveTo>
                      <a:pt x="1602" y="8930"/>
                    </a:moveTo>
                    <a:cubicBezTo>
                      <a:pt x="1511" y="8987"/>
                      <a:pt x="1511" y="8987"/>
                      <a:pt x="1511" y="8987"/>
                    </a:cubicBezTo>
                    <a:cubicBezTo>
                      <a:pt x="1546" y="9062"/>
                      <a:pt x="1546" y="9062"/>
                      <a:pt x="1546" y="9062"/>
                    </a:cubicBezTo>
                    <a:cubicBezTo>
                      <a:pt x="1641" y="9015"/>
                      <a:pt x="1641" y="9015"/>
                      <a:pt x="1641" y="9015"/>
                    </a:cubicBezTo>
                    <a:cubicBezTo>
                      <a:pt x="1629" y="8989"/>
                      <a:pt x="1617" y="8962"/>
                      <a:pt x="1604" y="8935"/>
                    </a:cubicBezTo>
                    <a:cubicBezTo>
                      <a:pt x="1604" y="8933"/>
                      <a:pt x="1603" y="8932"/>
                      <a:pt x="1602" y="8930"/>
                    </a:cubicBezTo>
                    <a:close/>
                    <a:moveTo>
                      <a:pt x="1497" y="8996"/>
                    </a:moveTo>
                    <a:cubicBezTo>
                      <a:pt x="1390" y="9063"/>
                      <a:pt x="1390" y="9063"/>
                      <a:pt x="1390" y="9063"/>
                    </a:cubicBezTo>
                    <a:cubicBezTo>
                      <a:pt x="1426" y="9139"/>
                      <a:pt x="1426" y="9139"/>
                      <a:pt x="1426" y="9139"/>
                    </a:cubicBezTo>
                    <a:cubicBezTo>
                      <a:pt x="1532" y="9088"/>
                      <a:pt x="1532" y="9088"/>
                      <a:pt x="1532" y="9088"/>
                    </a:cubicBezTo>
                    <a:cubicBezTo>
                      <a:pt x="1532" y="9087"/>
                      <a:pt x="1532" y="9087"/>
                      <a:pt x="1532" y="9087"/>
                    </a:cubicBezTo>
                    <a:cubicBezTo>
                      <a:pt x="1535" y="9086"/>
                      <a:pt x="1535" y="9086"/>
                      <a:pt x="1535" y="9086"/>
                    </a:cubicBezTo>
                    <a:cubicBezTo>
                      <a:pt x="1530" y="9070"/>
                      <a:pt x="1530" y="9070"/>
                      <a:pt x="1530" y="9070"/>
                    </a:cubicBezTo>
                    <a:cubicBezTo>
                      <a:pt x="1531" y="9070"/>
                      <a:pt x="1531" y="9070"/>
                      <a:pt x="1531" y="9070"/>
                    </a:cubicBezTo>
                    <a:lnTo>
                      <a:pt x="1497" y="8996"/>
                    </a:lnTo>
                    <a:close/>
                    <a:moveTo>
                      <a:pt x="1376" y="9071"/>
                    </a:moveTo>
                    <a:cubicBezTo>
                      <a:pt x="1273" y="9136"/>
                      <a:pt x="1273" y="9136"/>
                      <a:pt x="1273" y="9136"/>
                    </a:cubicBezTo>
                    <a:cubicBezTo>
                      <a:pt x="1309" y="9214"/>
                      <a:pt x="1309" y="9214"/>
                      <a:pt x="1309" y="9214"/>
                    </a:cubicBezTo>
                    <a:cubicBezTo>
                      <a:pt x="1418" y="9161"/>
                      <a:pt x="1418" y="9161"/>
                      <a:pt x="1418" y="9161"/>
                    </a:cubicBezTo>
                    <a:lnTo>
                      <a:pt x="1376" y="9071"/>
                    </a:lnTo>
                    <a:close/>
                    <a:moveTo>
                      <a:pt x="1205" y="9299"/>
                    </a:moveTo>
                    <a:cubicBezTo>
                      <a:pt x="1259" y="9411"/>
                      <a:pt x="1259" y="9411"/>
                      <a:pt x="1259" y="9411"/>
                    </a:cubicBezTo>
                    <a:cubicBezTo>
                      <a:pt x="1353" y="9364"/>
                      <a:pt x="1353" y="9364"/>
                      <a:pt x="1353" y="9364"/>
                    </a:cubicBezTo>
                    <a:cubicBezTo>
                      <a:pt x="1352" y="9362"/>
                      <a:pt x="1352" y="9362"/>
                      <a:pt x="1352" y="9362"/>
                    </a:cubicBezTo>
                    <a:cubicBezTo>
                      <a:pt x="1346" y="9350"/>
                      <a:pt x="1346" y="9350"/>
                      <a:pt x="1346" y="9350"/>
                    </a:cubicBezTo>
                    <a:cubicBezTo>
                      <a:pt x="1351" y="9348"/>
                      <a:pt x="1351" y="9348"/>
                      <a:pt x="1351" y="9348"/>
                    </a:cubicBezTo>
                    <a:cubicBezTo>
                      <a:pt x="1340" y="9322"/>
                      <a:pt x="1340" y="9322"/>
                      <a:pt x="1340" y="9322"/>
                    </a:cubicBezTo>
                    <a:cubicBezTo>
                      <a:pt x="1300" y="9251"/>
                      <a:pt x="1300" y="9251"/>
                      <a:pt x="1300" y="9251"/>
                    </a:cubicBezTo>
                    <a:lnTo>
                      <a:pt x="1205" y="9299"/>
                    </a:lnTo>
                    <a:close/>
                    <a:moveTo>
                      <a:pt x="1366" y="9340"/>
                    </a:moveTo>
                    <a:cubicBezTo>
                      <a:pt x="1476" y="9287"/>
                      <a:pt x="1476" y="9287"/>
                      <a:pt x="1476" y="9287"/>
                    </a:cubicBezTo>
                    <a:cubicBezTo>
                      <a:pt x="1424" y="9174"/>
                      <a:pt x="1424" y="9174"/>
                      <a:pt x="1424" y="9174"/>
                    </a:cubicBezTo>
                    <a:cubicBezTo>
                      <a:pt x="1315" y="9227"/>
                      <a:pt x="1315" y="9227"/>
                      <a:pt x="1315" y="9227"/>
                    </a:cubicBezTo>
                    <a:lnTo>
                      <a:pt x="1366" y="9340"/>
                    </a:lnTo>
                    <a:close/>
                    <a:moveTo>
                      <a:pt x="1483" y="9262"/>
                    </a:moveTo>
                    <a:cubicBezTo>
                      <a:pt x="1484" y="9265"/>
                      <a:pt x="1484" y="9265"/>
                      <a:pt x="1484" y="9265"/>
                    </a:cubicBezTo>
                    <a:cubicBezTo>
                      <a:pt x="1485" y="9264"/>
                      <a:pt x="1485" y="9264"/>
                      <a:pt x="1485" y="9264"/>
                    </a:cubicBezTo>
                    <a:cubicBezTo>
                      <a:pt x="1591" y="9213"/>
                      <a:pt x="1591" y="9213"/>
                      <a:pt x="1591" y="9213"/>
                    </a:cubicBezTo>
                    <a:cubicBezTo>
                      <a:pt x="1589" y="9209"/>
                      <a:pt x="1589" y="9209"/>
                      <a:pt x="1589" y="9209"/>
                    </a:cubicBezTo>
                    <a:cubicBezTo>
                      <a:pt x="1586" y="9197"/>
                      <a:pt x="1586" y="9197"/>
                      <a:pt x="1586" y="9197"/>
                    </a:cubicBezTo>
                    <a:cubicBezTo>
                      <a:pt x="1590" y="9195"/>
                      <a:pt x="1590" y="9195"/>
                      <a:pt x="1590" y="9195"/>
                    </a:cubicBezTo>
                    <a:cubicBezTo>
                      <a:pt x="1576" y="9166"/>
                      <a:pt x="1576" y="9166"/>
                      <a:pt x="1576" y="9166"/>
                    </a:cubicBezTo>
                    <a:cubicBezTo>
                      <a:pt x="1539" y="9100"/>
                      <a:pt x="1539" y="9100"/>
                      <a:pt x="1539" y="9100"/>
                    </a:cubicBezTo>
                    <a:cubicBezTo>
                      <a:pt x="1435" y="9150"/>
                      <a:pt x="1435" y="9150"/>
                      <a:pt x="1435" y="9150"/>
                    </a:cubicBezTo>
                    <a:cubicBezTo>
                      <a:pt x="1436" y="9155"/>
                      <a:pt x="1436" y="9155"/>
                      <a:pt x="1436" y="9155"/>
                    </a:cubicBezTo>
                    <a:cubicBezTo>
                      <a:pt x="1439" y="9166"/>
                      <a:pt x="1439" y="9166"/>
                      <a:pt x="1439" y="9166"/>
                    </a:cubicBezTo>
                    <a:cubicBezTo>
                      <a:pt x="1438" y="9167"/>
                      <a:pt x="1438" y="9167"/>
                      <a:pt x="1438" y="9167"/>
                    </a:cubicBezTo>
                    <a:lnTo>
                      <a:pt x="1483" y="9262"/>
                    </a:lnTo>
                    <a:close/>
                    <a:moveTo>
                      <a:pt x="1604" y="9188"/>
                    </a:moveTo>
                    <a:cubicBezTo>
                      <a:pt x="1698" y="9141"/>
                      <a:pt x="1698" y="9141"/>
                      <a:pt x="1698" y="9141"/>
                    </a:cubicBezTo>
                    <a:cubicBezTo>
                      <a:pt x="1697" y="9139"/>
                      <a:pt x="1697" y="9139"/>
                      <a:pt x="1697" y="9139"/>
                    </a:cubicBezTo>
                    <a:cubicBezTo>
                      <a:pt x="1690" y="9126"/>
                      <a:pt x="1690" y="9126"/>
                      <a:pt x="1690" y="9126"/>
                    </a:cubicBezTo>
                    <a:cubicBezTo>
                      <a:pt x="1693" y="9125"/>
                      <a:pt x="1693" y="9125"/>
                      <a:pt x="1693" y="9125"/>
                    </a:cubicBezTo>
                    <a:cubicBezTo>
                      <a:pt x="1679" y="9096"/>
                      <a:pt x="1664" y="9063"/>
                      <a:pt x="1647" y="9027"/>
                    </a:cubicBezTo>
                    <a:cubicBezTo>
                      <a:pt x="1552" y="9075"/>
                      <a:pt x="1552" y="9075"/>
                      <a:pt x="1552" y="9075"/>
                    </a:cubicBezTo>
                    <a:lnTo>
                      <a:pt x="1604" y="9188"/>
                    </a:lnTo>
                    <a:close/>
                    <a:moveTo>
                      <a:pt x="1708" y="9118"/>
                    </a:moveTo>
                    <a:cubicBezTo>
                      <a:pt x="1815" y="9067"/>
                      <a:pt x="1815" y="9067"/>
                      <a:pt x="1815" y="9067"/>
                    </a:cubicBezTo>
                    <a:cubicBezTo>
                      <a:pt x="1801" y="9039"/>
                      <a:pt x="1801" y="9039"/>
                      <a:pt x="1801" y="9039"/>
                    </a:cubicBezTo>
                    <a:cubicBezTo>
                      <a:pt x="1777" y="8993"/>
                      <a:pt x="1777" y="8993"/>
                      <a:pt x="1777" y="8993"/>
                    </a:cubicBezTo>
                    <a:cubicBezTo>
                      <a:pt x="1770" y="8996"/>
                      <a:pt x="1770" y="8996"/>
                      <a:pt x="1770" y="8996"/>
                    </a:cubicBezTo>
                    <a:cubicBezTo>
                      <a:pt x="1764" y="8985"/>
                      <a:pt x="1764" y="8985"/>
                      <a:pt x="1764" y="8985"/>
                    </a:cubicBezTo>
                    <a:cubicBezTo>
                      <a:pt x="1749" y="8961"/>
                      <a:pt x="1749" y="8961"/>
                      <a:pt x="1749" y="8961"/>
                    </a:cubicBezTo>
                    <a:cubicBezTo>
                      <a:pt x="1656" y="9005"/>
                      <a:pt x="1656" y="9005"/>
                      <a:pt x="1656" y="9005"/>
                    </a:cubicBezTo>
                    <a:cubicBezTo>
                      <a:pt x="1657" y="9006"/>
                      <a:pt x="1657" y="9006"/>
                      <a:pt x="1657" y="9006"/>
                    </a:cubicBezTo>
                    <a:cubicBezTo>
                      <a:pt x="1664" y="9019"/>
                      <a:pt x="1664" y="9019"/>
                      <a:pt x="1664" y="9019"/>
                    </a:cubicBezTo>
                    <a:cubicBezTo>
                      <a:pt x="1662" y="9020"/>
                      <a:pt x="1662" y="9020"/>
                      <a:pt x="1662" y="9020"/>
                    </a:cubicBezTo>
                    <a:cubicBezTo>
                      <a:pt x="1679" y="9056"/>
                      <a:pt x="1694" y="9089"/>
                      <a:pt x="1708" y="9118"/>
                    </a:cubicBezTo>
                    <a:close/>
                    <a:moveTo>
                      <a:pt x="1830" y="9060"/>
                    </a:moveTo>
                    <a:cubicBezTo>
                      <a:pt x="1833" y="9059"/>
                      <a:pt x="1833" y="9059"/>
                      <a:pt x="1833" y="9059"/>
                    </a:cubicBezTo>
                    <a:cubicBezTo>
                      <a:pt x="1840" y="9070"/>
                      <a:pt x="1840" y="9070"/>
                      <a:pt x="1840" y="9070"/>
                    </a:cubicBezTo>
                    <a:cubicBezTo>
                      <a:pt x="1854" y="9094"/>
                      <a:pt x="1854" y="9094"/>
                      <a:pt x="1854" y="9094"/>
                    </a:cubicBezTo>
                    <a:cubicBezTo>
                      <a:pt x="1954" y="9045"/>
                      <a:pt x="1954" y="9045"/>
                      <a:pt x="1954" y="9045"/>
                    </a:cubicBezTo>
                    <a:cubicBezTo>
                      <a:pt x="1953" y="9042"/>
                      <a:pt x="1951" y="9039"/>
                      <a:pt x="1949" y="9035"/>
                    </a:cubicBezTo>
                    <a:cubicBezTo>
                      <a:pt x="1947" y="9030"/>
                      <a:pt x="1947" y="9030"/>
                      <a:pt x="1947" y="9030"/>
                    </a:cubicBezTo>
                    <a:cubicBezTo>
                      <a:pt x="1947" y="9030"/>
                      <a:pt x="1947" y="9030"/>
                      <a:pt x="1947" y="9030"/>
                    </a:cubicBezTo>
                    <a:cubicBezTo>
                      <a:pt x="1934" y="9002"/>
                      <a:pt x="1917" y="8967"/>
                      <a:pt x="1901" y="8933"/>
                    </a:cubicBezTo>
                    <a:cubicBezTo>
                      <a:pt x="1794" y="8985"/>
                      <a:pt x="1794" y="8985"/>
                      <a:pt x="1794" y="8985"/>
                    </a:cubicBezTo>
                    <a:lnTo>
                      <a:pt x="1830" y="9060"/>
                    </a:lnTo>
                    <a:close/>
                    <a:moveTo>
                      <a:pt x="1962" y="9022"/>
                    </a:moveTo>
                    <a:cubicBezTo>
                      <a:pt x="2055" y="8974"/>
                      <a:pt x="2055" y="8974"/>
                      <a:pt x="2055" y="8974"/>
                    </a:cubicBezTo>
                    <a:cubicBezTo>
                      <a:pt x="2055" y="8974"/>
                      <a:pt x="2055" y="8974"/>
                      <a:pt x="2055" y="8974"/>
                    </a:cubicBezTo>
                    <a:cubicBezTo>
                      <a:pt x="2051" y="8962"/>
                      <a:pt x="2051" y="8962"/>
                      <a:pt x="2051" y="8962"/>
                    </a:cubicBezTo>
                    <a:cubicBezTo>
                      <a:pt x="2053" y="8961"/>
                      <a:pt x="2053" y="8961"/>
                      <a:pt x="2053" y="8961"/>
                    </a:cubicBezTo>
                    <a:cubicBezTo>
                      <a:pt x="2021" y="8895"/>
                      <a:pt x="2021" y="8895"/>
                      <a:pt x="2021" y="8895"/>
                    </a:cubicBezTo>
                    <a:cubicBezTo>
                      <a:pt x="2002" y="8861"/>
                      <a:pt x="2002" y="8861"/>
                      <a:pt x="2002" y="8861"/>
                    </a:cubicBezTo>
                    <a:cubicBezTo>
                      <a:pt x="1912" y="8908"/>
                      <a:pt x="1912" y="8908"/>
                      <a:pt x="1912" y="8908"/>
                    </a:cubicBezTo>
                    <a:cubicBezTo>
                      <a:pt x="1913" y="8911"/>
                      <a:pt x="1913" y="8911"/>
                      <a:pt x="1913" y="8911"/>
                    </a:cubicBezTo>
                    <a:cubicBezTo>
                      <a:pt x="1920" y="8924"/>
                      <a:pt x="1920" y="8924"/>
                      <a:pt x="1920" y="8924"/>
                    </a:cubicBezTo>
                    <a:cubicBezTo>
                      <a:pt x="1915" y="8926"/>
                      <a:pt x="1915" y="8926"/>
                      <a:pt x="1915" y="8926"/>
                    </a:cubicBezTo>
                    <a:cubicBezTo>
                      <a:pt x="1928" y="8953"/>
                      <a:pt x="1941" y="8979"/>
                      <a:pt x="1952" y="9003"/>
                    </a:cubicBezTo>
                    <a:lnTo>
                      <a:pt x="1962" y="9022"/>
                    </a:lnTo>
                    <a:close/>
                    <a:moveTo>
                      <a:pt x="2068" y="8953"/>
                    </a:moveTo>
                    <a:cubicBezTo>
                      <a:pt x="2148" y="8913"/>
                      <a:pt x="2148" y="8913"/>
                      <a:pt x="2148" y="8913"/>
                    </a:cubicBezTo>
                    <a:cubicBezTo>
                      <a:pt x="2109" y="8829"/>
                      <a:pt x="2109" y="8829"/>
                      <a:pt x="2109" y="8829"/>
                    </a:cubicBezTo>
                    <a:cubicBezTo>
                      <a:pt x="2094" y="8801"/>
                      <a:pt x="2094" y="8801"/>
                      <a:pt x="2094" y="8801"/>
                    </a:cubicBezTo>
                    <a:cubicBezTo>
                      <a:pt x="2014" y="8841"/>
                      <a:pt x="2014" y="8841"/>
                      <a:pt x="2014" y="8841"/>
                    </a:cubicBezTo>
                    <a:lnTo>
                      <a:pt x="2068" y="8953"/>
                    </a:lnTo>
                    <a:close/>
                    <a:moveTo>
                      <a:pt x="2149" y="8874"/>
                    </a:moveTo>
                    <a:cubicBezTo>
                      <a:pt x="2158" y="8868"/>
                      <a:pt x="2178" y="8856"/>
                      <a:pt x="2208" y="8838"/>
                    </a:cubicBezTo>
                    <a:cubicBezTo>
                      <a:pt x="2304" y="8781"/>
                      <a:pt x="2481" y="8680"/>
                      <a:pt x="2506" y="8666"/>
                    </a:cubicBezTo>
                    <a:cubicBezTo>
                      <a:pt x="2388" y="8422"/>
                      <a:pt x="2388" y="8422"/>
                      <a:pt x="2388" y="8422"/>
                    </a:cubicBezTo>
                    <a:cubicBezTo>
                      <a:pt x="2388" y="8421"/>
                      <a:pt x="2387" y="8421"/>
                      <a:pt x="2387" y="8421"/>
                    </a:cubicBezTo>
                    <a:cubicBezTo>
                      <a:pt x="2382" y="8424"/>
                      <a:pt x="2372" y="8429"/>
                      <a:pt x="2359" y="8435"/>
                    </a:cubicBezTo>
                    <a:cubicBezTo>
                      <a:pt x="2407" y="8536"/>
                      <a:pt x="2407" y="8536"/>
                      <a:pt x="2407" y="8536"/>
                    </a:cubicBezTo>
                    <a:cubicBezTo>
                      <a:pt x="2291" y="8590"/>
                      <a:pt x="2291" y="8590"/>
                      <a:pt x="2291" y="8590"/>
                    </a:cubicBezTo>
                    <a:cubicBezTo>
                      <a:pt x="2298" y="8619"/>
                      <a:pt x="2298" y="8619"/>
                      <a:pt x="2298" y="8619"/>
                    </a:cubicBezTo>
                    <a:cubicBezTo>
                      <a:pt x="2283" y="8629"/>
                      <a:pt x="2283" y="8629"/>
                      <a:pt x="2283" y="8629"/>
                    </a:cubicBezTo>
                    <a:cubicBezTo>
                      <a:pt x="2309" y="8677"/>
                      <a:pt x="2309" y="8677"/>
                      <a:pt x="2309" y="8677"/>
                    </a:cubicBezTo>
                    <a:cubicBezTo>
                      <a:pt x="2279" y="8696"/>
                      <a:pt x="2279" y="8696"/>
                      <a:pt x="2279" y="8696"/>
                    </a:cubicBezTo>
                    <a:cubicBezTo>
                      <a:pt x="2263" y="8661"/>
                      <a:pt x="2263" y="8661"/>
                      <a:pt x="2263" y="8661"/>
                    </a:cubicBezTo>
                    <a:cubicBezTo>
                      <a:pt x="2179" y="8700"/>
                      <a:pt x="2179" y="8700"/>
                      <a:pt x="2179" y="8700"/>
                    </a:cubicBezTo>
                    <a:cubicBezTo>
                      <a:pt x="2156" y="8656"/>
                      <a:pt x="2156" y="8656"/>
                      <a:pt x="2156" y="8656"/>
                    </a:cubicBezTo>
                    <a:cubicBezTo>
                      <a:pt x="2133" y="8665"/>
                      <a:pt x="2133" y="8665"/>
                      <a:pt x="2133" y="8665"/>
                    </a:cubicBezTo>
                    <a:cubicBezTo>
                      <a:pt x="2084" y="8568"/>
                      <a:pt x="2084" y="8568"/>
                      <a:pt x="2084" y="8568"/>
                    </a:cubicBezTo>
                    <a:cubicBezTo>
                      <a:pt x="2069" y="8575"/>
                      <a:pt x="2055" y="8582"/>
                      <a:pt x="2043" y="8588"/>
                    </a:cubicBezTo>
                    <a:cubicBezTo>
                      <a:pt x="2034" y="8592"/>
                      <a:pt x="2027" y="8596"/>
                      <a:pt x="2021" y="8599"/>
                    </a:cubicBezTo>
                    <a:cubicBezTo>
                      <a:pt x="2140" y="8857"/>
                      <a:pt x="2140" y="8857"/>
                      <a:pt x="2140" y="8857"/>
                    </a:cubicBezTo>
                    <a:lnTo>
                      <a:pt x="2149" y="8874"/>
                    </a:lnTo>
                    <a:close/>
                    <a:moveTo>
                      <a:pt x="2274" y="8582"/>
                    </a:moveTo>
                    <a:cubicBezTo>
                      <a:pt x="2285" y="8578"/>
                      <a:pt x="2285" y="8578"/>
                      <a:pt x="2285" y="8578"/>
                    </a:cubicBezTo>
                    <a:cubicBezTo>
                      <a:pt x="2389" y="8529"/>
                      <a:pt x="2389" y="8529"/>
                      <a:pt x="2389" y="8529"/>
                    </a:cubicBezTo>
                    <a:cubicBezTo>
                      <a:pt x="2348" y="8443"/>
                      <a:pt x="2348" y="8443"/>
                      <a:pt x="2348" y="8443"/>
                    </a:cubicBezTo>
                    <a:cubicBezTo>
                      <a:pt x="2098" y="8565"/>
                      <a:pt x="2098" y="8565"/>
                      <a:pt x="2098" y="8565"/>
                    </a:cubicBezTo>
                    <a:cubicBezTo>
                      <a:pt x="2139" y="8647"/>
                      <a:pt x="2139" y="8647"/>
                      <a:pt x="2139" y="8647"/>
                    </a:cubicBezTo>
                    <a:cubicBezTo>
                      <a:pt x="2151" y="8643"/>
                      <a:pt x="2151" y="8643"/>
                      <a:pt x="2151" y="8643"/>
                    </a:cubicBezTo>
                    <a:cubicBezTo>
                      <a:pt x="2163" y="8638"/>
                      <a:pt x="2163" y="8638"/>
                      <a:pt x="2163" y="8638"/>
                    </a:cubicBezTo>
                    <a:cubicBezTo>
                      <a:pt x="2169" y="8649"/>
                      <a:pt x="2169" y="8649"/>
                      <a:pt x="2169" y="8649"/>
                    </a:cubicBezTo>
                    <a:cubicBezTo>
                      <a:pt x="2185" y="8682"/>
                      <a:pt x="2185" y="8682"/>
                      <a:pt x="2185" y="8682"/>
                    </a:cubicBezTo>
                    <a:cubicBezTo>
                      <a:pt x="2257" y="8648"/>
                      <a:pt x="2257" y="8648"/>
                      <a:pt x="2257" y="8648"/>
                    </a:cubicBezTo>
                    <a:cubicBezTo>
                      <a:pt x="2270" y="8642"/>
                      <a:pt x="2270" y="8642"/>
                      <a:pt x="2270" y="8642"/>
                    </a:cubicBezTo>
                    <a:cubicBezTo>
                      <a:pt x="2275" y="8655"/>
                      <a:pt x="2275" y="8655"/>
                      <a:pt x="2275" y="8655"/>
                    </a:cubicBezTo>
                    <a:cubicBezTo>
                      <a:pt x="2285" y="8676"/>
                      <a:pt x="2285" y="8676"/>
                      <a:pt x="2285" y="8676"/>
                    </a:cubicBezTo>
                    <a:cubicBezTo>
                      <a:pt x="2291" y="8672"/>
                      <a:pt x="2291" y="8672"/>
                      <a:pt x="2291" y="8672"/>
                    </a:cubicBezTo>
                    <a:cubicBezTo>
                      <a:pt x="2271" y="8636"/>
                      <a:pt x="2271" y="8636"/>
                      <a:pt x="2271" y="8636"/>
                    </a:cubicBezTo>
                    <a:cubicBezTo>
                      <a:pt x="2265" y="8625"/>
                      <a:pt x="2265" y="8625"/>
                      <a:pt x="2265" y="8625"/>
                    </a:cubicBezTo>
                    <a:cubicBezTo>
                      <a:pt x="2275" y="8618"/>
                      <a:pt x="2275" y="8618"/>
                      <a:pt x="2275" y="8618"/>
                    </a:cubicBezTo>
                    <a:cubicBezTo>
                      <a:pt x="2282" y="8613"/>
                      <a:pt x="2282" y="8613"/>
                      <a:pt x="2282" y="8613"/>
                    </a:cubicBezTo>
                    <a:cubicBezTo>
                      <a:pt x="2277" y="8594"/>
                      <a:pt x="2277" y="8594"/>
                      <a:pt x="2277" y="8594"/>
                    </a:cubicBezTo>
                    <a:lnTo>
                      <a:pt x="2274" y="8582"/>
                    </a:lnTo>
                    <a:close/>
                    <a:moveTo>
                      <a:pt x="2381" y="8405"/>
                    </a:moveTo>
                    <a:cubicBezTo>
                      <a:pt x="2249" y="8132"/>
                      <a:pt x="2249" y="8132"/>
                      <a:pt x="2249" y="8132"/>
                    </a:cubicBezTo>
                    <a:cubicBezTo>
                      <a:pt x="2003" y="8299"/>
                      <a:pt x="2003" y="8299"/>
                      <a:pt x="2003" y="8299"/>
                    </a:cubicBezTo>
                    <a:cubicBezTo>
                      <a:pt x="1887" y="8308"/>
                      <a:pt x="1887" y="8308"/>
                      <a:pt x="1887" y="8308"/>
                    </a:cubicBezTo>
                    <a:cubicBezTo>
                      <a:pt x="2014" y="8584"/>
                      <a:pt x="2014" y="8584"/>
                      <a:pt x="2014" y="8584"/>
                    </a:cubicBezTo>
                    <a:cubicBezTo>
                      <a:pt x="2026" y="8578"/>
                      <a:pt x="2043" y="8569"/>
                      <a:pt x="2067" y="8558"/>
                    </a:cubicBezTo>
                    <a:cubicBezTo>
                      <a:pt x="2121" y="8532"/>
                      <a:pt x="2199" y="8494"/>
                      <a:pt x="2265" y="8463"/>
                    </a:cubicBezTo>
                    <a:cubicBezTo>
                      <a:pt x="2297" y="8447"/>
                      <a:pt x="2327" y="8433"/>
                      <a:pt x="2348" y="8423"/>
                    </a:cubicBezTo>
                    <a:cubicBezTo>
                      <a:pt x="2358" y="8418"/>
                      <a:pt x="2367" y="8413"/>
                      <a:pt x="2372" y="8410"/>
                    </a:cubicBezTo>
                    <a:cubicBezTo>
                      <a:pt x="2375" y="8409"/>
                      <a:pt x="2377" y="8408"/>
                      <a:pt x="2379" y="8407"/>
                    </a:cubicBezTo>
                    <a:cubicBezTo>
                      <a:pt x="2379" y="8406"/>
                      <a:pt x="2380" y="8406"/>
                      <a:pt x="2381" y="8405"/>
                    </a:cubicBezTo>
                    <a:close/>
                    <a:moveTo>
                      <a:pt x="2458" y="7940"/>
                    </a:moveTo>
                    <a:cubicBezTo>
                      <a:pt x="2663" y="7478"/>
                      <a:pt x="2663" y="7478"/>
                      <a:pt x="2663" y="7478"/>
                    </a:cubicBezTo>
                    <a:cubicBezTo>
                      <a:pt x="2558" y="7436"/>
                      <a:pt x="2479" y="7372"/>
                      <a:pt x="2418" y="7330"/>
                    </a:cubicBezTo>
                    <a:cubicBezTo>
                      <a:pt x="2413" y="7326"/>
                      <a:pt x="2408" y="7322"/>
                      <a:pt x="2402" y="7318"/>
                    </a:cubicBezTo>
                    <a:cubicBezTo>
                      <a:pt x="2396" y="7332"/>
                      <a:pt x="2388" y="7352"/>
                      <a:pt x="2379" y="7376"/>
                    </a:cubicBezTo>
                    <a:cubicBezTo>
                      <a:pt x="2329" y="7506"/>
                      <a:pt x="2241" y="7752"/>
                      <a:pt x="2241" y="7752"/>
                    </a:cubicBezTo>
                    <a:cubicBezTo>
                      <a:pt x="2240" y="7755"/>
                      <a:pt x="2240" y="7755"/>
                      <a:pt x="2240" y="7755"/>
                    </a:cubicBezTo>
                    <a:cubicBezTo>
                      <a:pt x="2237" y="7756"/>
                      <a:pt x="2237" y="7756"/>
                      <a:pt x="2237" y="7756"/>
                    </a:cubicBezTo>
                    <a:cubicBezTo>
                      <a:pt x="2237" y="7756"/>
                      <a:pt x="2157" y="7798"/>
                      <a:pt x="2077" y="7840"/>
                    </a:cubicBezTo>
                    <a:cubicBezTo>
                      <a:pt x="2036" y="7861"/>
                      <a:pt x="1994" y="7884"/>
                      <a:pt x="1963" y="7900"/>
                    </a:cubicBezTo>
                    <a:cubicBezTo>
                      <a:pt x="1948" y="7908"/>
                      <a:pt x="1935" y="7914"/>
                      <a:pt x="1925" y="7919"/>
                    </a:cubicBezTo>
                    <a:cubicBezTo>
                      <a:pt x="1884" y="8058"/>
                      <a:pt x="1884" y="8058"/>
                      <a:pt x="1884" y="8058"/>
                    </a:cubicBezTo>
                    <a:cubicBezTo>
                      <a:pt x="2118" y="8168"/>
                      <a:pt x="2118" y="8168"/>
                      <a:pt x="2118" y="8168"/>
                    </a:cubicBezTo>
                    <a:lnTo>
                      <a:pt x="2458" y="7940"/>
                    </a:lnTo>
                    <a:close/>
                    <a:moveTo>
                      <a:pt x="2973" y="7764"/>
                    </a:moveTo>
                    <a:cubicBezTo>
                      <a:pt x="2973" y="7764"/>
                      <a:pt x="2973" y="7764"/>
                      <a:pt x="2973" y="7764"/>
                    </a:cubicBezTo>
                    <a:cubicBezTo>
                      <a:pt x="2978" y="7769"/>
                      <a:pt x="2978" y="7769"/>
                      <a:pt x="2978" y="7769"/>
                    </a:cubicBezTo>
                    <a:cubicBezTo>
                      <a:pt x="2978" y="7769"/>
                      <a:pt x="3005" y="7795"/>
                      <a:pt x="3044" y="7834"/>
                    </a:cubicBezTo>
                    <a:cubicBezTo>
                      <a:pt x="3418" y="7543"/>
                      <a:pt x="3418" y="7543"/>
                      <a:pt x="3418" y="7543"/>
                    </a:cubicBezTo>
                    <a:cubicBezTo>
                      <a:pt x="3247" y="7342"/>
                      <a:pt x="3247" y="7342"/>
                      <a:pt x="3247" y="7342"/>
                    </a:cubicBezTo>
                    <a:cubicBezTo>
                      <a:pt x="3246" y="7342"/>
                      <a:pt x="3245" y="7343"/>
                      <a:pt x="3244" y="7343"/>
                    </a:cubicBezTo>
                    <a:cubicBezTo>
                      <a:pt x="3175" y="7390"/>
                      <a:pt x="3044" y="7498"/>
                      <a:pt x="2889" y="7515"/>
                    </a:cubicBezTo>
                    <a:lnTo>
                      <a:pt x="2973" y="7764"/>
                    </a:lnTo>
                    <a:close/>
                    <a:moveTo>
                      <a:pt x="3429" y="7533"/>
                    </a:moveTo>
                    <a:cubicBezTo>
                      <a:pt x="3429" y="7534"/>
                      <a:pt x="3429" y="7534"/>
                      <a:pt x="3429" y="7534"/>
                    </a:cubicBezTo>
                    <a:cubicBezTo>
                      <a:pt x="3430" y="7534"/>
                      <a:pt x="3430" y="7534"/>
                      <a:pt x="3430" y="7534"/>
                    </a:cubicBezTo>
                    <a:cubicBezTo>
                      <a:pt x="3511" y="7553"/>
                      <a:pt x="3511" y="7553"/>
                      <a:pt x="3511" y="7553"/>
                    </a:cubicBezTo>
                    <a:cubicBezTo>
                      <a:pt x="3543" y="7428"/>
                      <a:pt x="3543" y="7428"/>
                      <a:pt x="3543" y="7428"/>
                    </a:cubicBezTo>
                    <a:cubicBezTo>
                      <a:pt x="3635" y="7382"/>
                      <a:pt x="3635" y="7382"/>
                      <a:pt x="3635" y="7382"/>
                    </a:cubicBezTo>
                    <a:cubicBezTo>
                      <a:pt x="3635" y="7382"/>
                      <a:pt x="3635" y="7382"/>
                      <a:pt x="3635" y="7382"/>
                    </a:cubicBezTo>
                    <a:cubicBezTo>
                      <a:pt x="3636" y="7382"/>
                      <a:pt x="3636" y="7382"/>
                      <a:pt x="3636" y="7382"/>
                    </a:cubicBezTo>
                    <a:cubicBezTo>
                      <a:pt x="3631" y="7375"/>
                      <a:pt x="3614" y="7352"/>
                      <a:pt x="3569" y="7304"/>
                    </a:cubicBezTo>
                    <a:cubicBezTo>
                      <a:pt x="3557" y="7292"/>
                      <a:pt x="3545" y="7280"/>
                      <a:pt x="3533" y="7267"/>
                    </a:cubicBezTo>
                    <a:cubicBezTo>
                      <a:pt x="3513" y="7270"/>
                      <a:pt x="3470" y="7276"/>
                      <a:pt x="3421" y="7285"/>
                    </a:cubicBezTo>
                    <a:cubicBezTo>
                      <a:pt x="3364" y="7297"/>
                      <a:pt x="3297" y="7315"/>
                      <a:pt x="3260" y="7334"/>
                    </a:cubicBezTo>
                    <a:lnTo>
                      <a:pt x="3429" y="7533"/>
                    </a:lnTo>
                    <a:close/>
                    <a:moveTo>
                      <a:pt x="3526" y="7562"/>
                    </a:moveTo>
                    <a:cubicBezTo>
                      <a:pt x="3584" y="7717"/>
                      <a:pt x="3584" y="7717"/>
                      <a:pt x="3584" y="7717"/>
                    </a:cubicBezTo>
                    <a:cubicBezTo>
                      <a:pt x="3854" y="7662"/>
                      <a:pt x="3854" y="7662"/>
                      <a:pt x="3854" y="7662"/>
                    </a:cubicBezTo>
                    <a:cubicBezTo>
                      <a:pt x="3853" y="7654"/>
                      <a:pt x="3852" y="7645"/>
                      <a:pt x="3850" y="7638"/>
                    </a:cubicBezTo>
                    <a:cubicBezTo>
                      <a:pt x="3849" y="7633"/>
                      <a:pt x="3848" y="7629"/>
                      <a:pt x="3847" y="7627"/>
                    </a:cubicBezTo>
                    <a:cubicBezTo>
                      <a:pt x="3647" y="7395"/>
                      <a:pt x="3647" y="7395"/>
                      <a:pt x="3647" y="7395"/>
                    </a:cubicBezTo>
                    <a:cubicBezTo>
                      <a:pt x="3557" y="7439"/>
                      <a:pt x="3557" y="7439"/>
                      <a:pt x="3557" y="7439"/>
                    </a:cubicBezTo>
                    <a:lnTo>
                      <a:pt x="3526" y="7562"/>
                    </a:lnTo>
                    <a:close/>
                    <a:moveTo>
                      <a:pt x="4098" y="7414"/>
                    </a:moveTo>
                    <a:cubicBezTo>
                      <a:pt x="4149" y="7461"/>
                      <a:pt x="4191" y="7501"/>
                      <a:pt x="4198" y="7507"/>
                    </a:cubicBezTo>
                    <a:cubicBezTo>
                      <a:pt x="4204" y="7503"/>
                      <a:pt x="4211" y="7500"/>
                      <a:pt x="4219" y="7496"/>
                    </a:cubicBezTo>
                    <a:cubicBezTo>
                      <a:pt x="4261" y="7475"/>
                      <a:pt x="4311" y="7446"/>
                      <a:pt x="4339" y="7419"/>
                    </a:cubicBezTo>
                    <a:cubicBezTo>
                      <a:pt x="4364" y="7396"/>
                      <a:pt x="4398" y="7337"/>
                      <a:pt x="4427" y="7255"/>
                    </a:cubicBezTo>
                    <a:cubicBezTo>
                      <a:pt x="4441" y="7216"/>
                      <a:pt x="4454" y="7171"/>
                      <a:pt x="4465" y="7122"/>
                    </a:cubicBezTo>
                    <a:cubicBezTo>
                      <a:pt x="4267" y="7108"/>
                      <a:pt x="4267" y="7108"/>
                      <a:pt x="4267" y="7108"/>
                    </a:cubicBezTo>
                    <a:cubicBezTo>
                      <a:pt x="4183" y="7357"/>
                      <a:pt x="4183" y="7357"/>
                      <a:pt x="4183" y="7357"/>
                    </a:cubicBezTo>
                    <a:cubicBezTo>
                      <a:pt x="4181" y="7358"/>
                      <a:pt x="4181" y="7358"/>
                      <a:pt x="4181" y="7358"/>
                    </a:cubicBezTo>
                    <a:cubicBezTo>
                      <a:pt x="4181" y="7358"/>
                      <a:pt x="4159" y="7374"/>
                      <a:pt x="4136" y="7389"/>
                    </a:cubicBezTo>
                    <a:cubicBezTo>
                      <a:pt x="4125" y="7396"/>
                      <a:pt x="4113" y="7404"/>
                      <a:pt x="4104" y="7410"/>
                    </a:cubicBezTo>
                    <a:cubicBezTo>
                      <a:pt x="4102" y="7412"/>
                      <a:pt x="4100" y="7413"/>
                      <a:pt x="4098" y="7414"/>
                    </a:cubicBezTo>
                    <a:close/>
                    <a:moveTo>
                      <a:pt x="4139" y="7612"/>
                    </a:moveTo>
                    <a:cubicBezTo>
                      <a:pt x="4186" y="7822"/>
                      <a:pt x="4186" y="7822"/>
                      <a:pt x="4186" y="7822"/>
                    </a:cubicBezTo>
                    <a:cubicBezTo>
                      <a:pt x="4291" y="7807"/>
                      <a:pt x="4291" y="7807"/>
                      <a:pt x="4291" y="7807"/>
                    </a:cubicBezTo>
                    <a:cubicBezTo>
                      <a:pt x="4240" y="7561"/>
                      <a:pt x="4240" y="7561"/>
                      <a:pt x="4240" y="7561"/>
                    </a:cubicBezTo>
                    <a:cubicBezTo>
                      <a:pt x="4224" y="7569"/>
                      <a:pt x="4211" y="7576"/>
                      <a:pt x="4199" y="7581"/>
                    </a:cubicBezTo>
                    <a:lnTo>
                      <a:pt x="4139" y="7612"/>
                    </a:lnTo>
                    <a:close/>
                    <a:moveTo>
                      <a:pt x="4172" y="7837"/>
                    </a:moveTo>
                    <a:cubicBezTo>
                      <a:pt x="4108" y="7846"/>
                      <a:pt x="4108" y="7846"/>
                      <a:pt x="4108" y="7846"/>
                    </a:cubicBezTo>
                    <a:cubicBezTo>
                      <a:pt x="4128" y="7975"/>
                      <a:pt x="4128" y="7975"/>
                      <a:pt x="4128" y="7975"/>
                    </a:cubicBezTo>
                    <a:cubicBezTo>
                      <a:pt x="4201" y="7965"/>
                      <a:pt x="4201" y="7965"/>
                      <a:pt x="4201" y="7965"/>
                    </a:cubicBezTo>
                    <a:lnTo>
                      <a:pt x="4172" y="7837"/>
                    </a:lnTo>
                    <a:close/>
                    <a:moveTo>
                      <a:pt x="4217" y="7962"/>
                    </a:moveTo>
                    <a:cubicBezTo>
                      <a:pt x="4320" y="7948"/>
                      <a:pt x="4320" y="7948"/>
                      <a:pt x="4320" y="7948"/>
                    </a:cubicBezTo>
                    <a:cubicBezTo>
                      <a:pt x="4293" y="7820"/>
                      <a:pt x="4293" y="7820"/>
                      <a:pt x="4293" y="7820"/>
                    </a:cubicBezTo>
                    <a:cubicBezTo>
                      <a:pt x="4189" y="7835"/>
                      <a:pt x="4189" y="7835"/>
                      <a:pt x="4189" y="7835"/>
                    </a:cubicBezTo>
                    <a:lnTo>
                      <a:pt x="4217" y="7962"/>
                    </a:lnTo>
                    <a:close/>
                    <a:moveTo>
                      <a:pt x="4220" y="7975"/>
                    </a:moveTo>
                    <a:cubicBezTo>
                      <a:pt x="4232" y="8029"/>
                      <a:pt x="4232" y="8029"/>
                      <a:pt x="4232" y="8029"/>
                    </a:cubicBezTo>
                    <a:cubicBezTo>
                      <a:pt x="4266" y="8031"/>
                      <a:pt x="4301" y="8033"/>
                      <a:pt x="4337" y="8034"/>
                    </a:cubicBezTo>
                    <a:cubicBezTo>
                      <a:pt x="4322" y="7961"/>
                      <a:pt x="4322" y="7961"/>
                      <a:pt x="4322" y="7961"/>
                    </a:cubicBezTo>
                    <a:lnTo>
                      <a:pt x="4220" y="7975"/>
                    </a:lnTo>
                    <a:close/>
                    <a:moveTo>
                      <a:pt x="4433" y="7932"/>
                    </a:moveTo>
                    <a:cubicBezTo>
                      <a:pt x="4405" y="7804"/>
                      <a:pt x="4405" y="7804"/>
                      <a:pt x="4405" y="7804"/>
                    </a:cubicBezTo>
                    <a:cubicBezTo>
                      <a:pt x="4310" y="7818"/>
                      <a:pt x="4310" y="7818"/>
                      <a:pt x="4310" y="7818"/>
                    </a:cubicBezTo>
                    <a:cubicBezTo>
                      <a:pt x="4336" y="7946"/>
                      <a:pt x="4336" y="7946"/>
                      <a:pt x="4336" y="7946"/>
                    </a:cubicBezTo>
                    <a:lnTo>
                      <a:pt x="4433" y="7932"/>
                    </a:lnTo>
                    <a:close/>
                    <a:moveTo>
                      <a:pt x="4339" y="7959"/>
                    </a:moveTo>
                    <a:cubicBezTo>
                      <a:pt x="4354" y="8033"/>
                      <a:pt x="4354" y="8033"/>
                      <a:pt x="4354" y="8033"/>
                    </a:cubicBezTo>
                    <a:cubicBezTo>
                      <a:pt x="4377" y="8033"/>
                      <a:pt x="4400" y="8033"/>
                      <a:pt x="4425" y="8031"/>
                    </a:cubicBezTo>
                    <a:cubicBezTo>
                      <a:pt x="4434" y="8030"/>
                      <a:pt x="4444" y="8029"/>
                      <a:pt x="4454" y="8028"/>
                    </a:cubicBezTo>
                    <a:cubicBezTo>
                      <a:pt x="4436" y="7945"/>
                      <a:pt x="4436" y="7945"/>
                      <a:pt x="4436" y="7945"/>
                    </a:cubicBezTo>
                    <a:lnTo>
                      <a:pt x="4339" y="7959"/>
                    </a:lnTo>
                    <a:close/>
                    <a:moveTo>
                      <a:pt x="4806" y="7880"/>
                    </a:moveTo>
                    <a:cubicBezTo>
                      <a:pt x="4800" y="7842"/>
                      <a:pt x="4793" y="7798"/>
                      <a:pt x="4786" y="7753"/>
                    </a:cubicBezTo>
                    <a:cubicBezTo>
                      <a:pt x="4786" y="7752"/>
                      <a:pt x="4786" y="7751"/>
                      <a:pt x="4786" y="7750"/>
                    </a:cubicBezTo>
                    <a:cubicBezTo>
                      <a:pt x="4679" y="7766"/>
                      <a:pt x="4679" y="7766"/>
                      <a:pt x="4679" y="7766"/>
                    </a:cubicBezTo>
                    <a:cubicBezTo>
                      <a:pt x="4700" y="7895"/>
                      <a:pt x="4700" y="7895"/>
                      <a:pt x="4700" y="7895"/>
                    </a:cubicBezTo>
                    <a:lnTo>
                      <a:pt x="4806" y="7880"/>
                    </a:lnTo>
                    <a:close/>
                    <a:moveTo>
                      <a:pt x="4702" y="7908"/>
                    </a:moveTo>
                    <a:cubicBezTo>
                      <a:pt x="4716" y="7990"/>
                      <a:pt x="4716" y="7990"/>
                      <a:pt x="4716" y="7990"/>
                    </a:cubicBezTo>
                    <a:cubicBezTo>
                      <a:pt x="4751" y="7984"/>
                      <a:pt x="4785" y="7977"/>
                      <a:pt x="4819" y="7971"/>
                    </a:cubicBezTo>
                    <a:cubicBezTo>
                      <a:pt x="4817" y="7957"/>
                      <a:pt x="4813" y="7929"/>
                      <a:pt x="4807" y="7893"/>
                    </a:cubicBezTo>
                    <a:lnTo>
                      <a:pt x="4702" y="7908"/>
                    </a:lnTo>
                    <a:close/>
                    <a:moveTo>
                      <a:pt x="4805" y="8129"/>
                    </a:moveTo>
                    <a:cubicBezTo>
                      <a:pt x="4825" y="8128"/>
                      <a:pt x="4845" y="8128"/>
                      <a:pt x="4864" y="8128"/>
                    </a:cubicBezTo>
                    <a:cubicBezTo>
                      <a:pt x="4975" y="8128"/>
                      <a:pt x="5075" y="8132"/>
                      <a:pt x="5155" y="8135"/>
                    </a:cubicBezTo>
                    <a:cubicBezTo>
                      <a:pt x="5403" y="8146"/>
                      <a:pt x="5901" y="8202"/>
                      <a:pt x="6169" y="8202"/>
                    </a:cubicBezTo>
                    <a:cubicBezTo>
                      <a:pt x="6170" y="8202"/>
                      <a:pt x="6170" y="8202"/>
                      <a:pt x="6170" y="8202"/>
                    </a:cubicBezTo>
                    <a:cubicBezTo>
                      <a:pt x="6210" y="8202"/>
                      <a:pt x="6244" y="8201"/>
                      <a:pt x="6270" y="8198"/>
                    </a:cubicBezTo>
                    <a:cubicBezTo>
                      <a:pt x="6283" y="8197"/>
                      <a:pt x="6294" y="8196"/>
                      <a:pt x="6302" y="8194"/>
                    </a:cubicBezTo>
                    <a:cubicBezTo>
                      <a:pt x="6305" y="8193"/>
                      <a:pt x="6309" y="8192"/>
                      <a:pt x="6311" y="8192"/>
                    </a:cubicBezTo>
                    <a:cubicBezTo>
                      <a:pt x="6312" y="8192"/>
                      <a:pt x="6312" y="8191"/>
                      <a:pt x="6313" y="8191"/>
                    </a:cubicBezTo>
                    <a:cubicBezTo>
                      <a:pt x="6313" y="8191"/>
                      <a:pt x="6313" y="8191"/>
                      <a:pt x="6313" y="8191"/>
                    </a:cubicBezTo>
                    <a:cubicBezTo>
                      <a:pt x="6314" y="8191"/>
                      <a:pt x="6314" y="8191"/>
                      <a:pt x="6314" y="8191"/>
                    </a:cubicBezTo>
                    <a:cubicBezTo>
                      <a:pt x="6321" y="8188"/>
                      <a:pt x="6332" y="8178"/>
                      <a:pt x="6344" y="8155"/>
                    </a:cubicBezTo>
                    <a:cubicBezTo>
                      <a:pt x="5955" y="8128"/>
                      <a:pt x="5215" y="8075"/>
                      <a:pt x="5118" y="8068"/>
                    </a:cubicBezTo>
                    <a:cubicBezTo>
                      <a:pt x="5080" y="8075"/>
                      <a:pt x="4950" y="8102"/>
                      <a:pt x="4805" y="8129"/>
                    </a:cubicBezTo>
                    <a:close/>
                    <a:moveTo>
                      <a:pt x="6394" y="8006"/>
                    </a:moveTo>
                    <a:cubicBezTo>
                      <a:pt x="6398" y="7990"/>
                      <a:pt x="6402" y="7974"/>
                      <a:pt x="6407" y="7957"/>
                    </a:cubicBezTo>
                    <a:cubicBezTo>
                      <a:pt x="6414" y="7930"/>
                      <a:pt x="6423" y="7902"/>
                      <a:pt x="6432" y="7873"/>
                    </a:cubicBezTo>
                    <a:cubicBezTo>
                      <a:pt x="6333" y="7819"/>
                      <a:pt x="6333" y="7819"/>
                      <a:pt x="6333" y="7819"/>
                    </a:cubicBezTo>
                    <a:cubicBezTo>
                      <a:pt x="6332" y="7836"/>
                      <a:pt x="6329" y="7870"/>
                      <a:pt x="6325" y="7904"/>
                    </a:cubicBezTo>
                    <a:cubicBezTo>
                      <a:pt x="6322" y="7928"/>
                      <a:pt x="6319" y="7952"/>
                      <a:pt x="6316" y="7970"/>
                    </a:cubicBezTo>
                    <a:cubicBezTo>
                      <a:pt x="6314" y="7979"/>
                      <a:pt x="6313" y="7987"/>
                      <a:pt x="6311" y="7992"/>
                    </a:cubicBezTo>
                    <a:cubicBezTo>
                      <a:pt x="6310" y="7995"/>
                      <a:pt x="6309" y="7998"/>
                      <a:pt x="6308" y="8000"/>
                    </a:cubicBezTo>
                    <a:cubicBezTo>
                      <a:pt x="6338" y="8002"/>
                      <a:pt x="6367" y="8004"/>
                      <a:pt x="6394" y="8006"/>
                    </a:cubicBezTo>
                    <a:close/>
                    <a:moveTo>
                      <a:pt x="6437" y="7860"/>
                    </a:moveTo>
                    <a:cubicBezTo>
                      <a:pt x="6451" y="7820"/>
                      <a:pt x="6470" y="7780"/>
                      <a:pt x="6494" y="7742"/>
                    </a:cubicBezTo>
                    <a:cubicBezTo>
                      <a:pt x="6399" y="7672"/>
                      <a:pt x="6399" y="7672"/>
                      <a:pt x="6399" y="7672"/>
                    </a:cubicBezTo>
                    <a:cubicBezTo>
                      <a:pt x="6385" y="7742"/>
                      <a:pt x="6385" y="7742"/>
                      <a:pt x="6385" y="7742"/>
                    </a:cubicBezTo>
                    <a:cubicBezTo>
                      <a:pt x="6379" y="7740"/>
                      <a:pt x="6379" y="7740"/>
                      <a:pt x="6379" y="7740"/>
                    </a:cubicBezTo>
                    <a:cubicBezTo>
                      <a:pt x="6237" y="7713"/>
                      <a:pt x="6237" y="7713"/>
                      <a:pt x="6237" y="7713"/>
                    </a:cubicBezTo>
                    <a:cubicBezTo>
                      <a:pt x="6251" y="7639"/>
                      <a:pt x="6251" y="7639"/>
                      <a:pt x="6251" y="7639"/>
                    </a:cubicBezTo>
                    <a:cubicBezTo>
                      <a:pt x="6390" y="7665"/>
                      <a:pt x="6390" y="7665"/>
                      <a:pt x="6390" y="7665"/>
                    </a:cubicBezTo>
                    <a:cubicBezTo>
                      <a:pt x="6256" y="7567"/>
                      <a:pt x="6256" y="7567"/>
                      <a:pt x="6256" y="7567"/>
                    </a:cubicBezTo>
                    <a:cubicBezTo>
                      <a:pt x="6201" y="7629"/>
                      <a:pt x="6201" y="7629"/>
                      <a:pt x="6201" y="7629"/>
                    </a:cubicBezTo>
                    <a:cubicBezTo>
                      <a:pt x="6192" y="7727"/>
                      <a:pt x="6192" y="7727"/>
                      <a:pt x="6192" y="7727"/>
                    </a:cubicBezTo>
                    <a:lnTo>
                      <a:pt x="6437" y="7860"/>
                    </a:lnTo>
                    <a:close/>
                    <a:moveTo>
                      <a:pt x="6261" y="7654"/>
                    </a:moveTo>
                    <a:cubicBezTo>
                      <a:pt x="6252" y="7703"/>
                      <a:pt x="6252" y="7703"/>
                      <a:pt x="6252" y="7703"/>
                    </a:cubicBezTo>
                    <a:cubicBezTo>
                      <a:pt x="6375" y="7726"/>
                      <a:pt x="6375" y="7726"/>
                      <a:pt x="6375" y="7726"/>
                    </a:cubicBezTo>
                    <a:cubicBezTo>
                      <a:pt x="6384" y="7678"/>
                      <a:pt x="6384" y="7678"/>
                      <a:pt x="6384" y="7678"/>
                    </a:cubicBezTo>
                    <a:lnTo>
                      <a:pt x="6261" y="7654"/>
                    </a:lnTo>
                    <a:close/>
                    <a:moveTo>
                      <a:pt x="8264" y="6412"/>
                    </a:moveTo>
                    <a:cubicBezTo>
                      <a:pt x="8294" y="6415"/>
                      <a:pt x="8323" y="6419"/>
                      <a:pt x="8351" y="6422"/>
                    </a:cubicBezTo>
                    <a:cubicBezTo>
                      <a:pt x="8363" y="6423"/>
                      <a:pt x="8375" y="6425"/>
                      <a:pt x="8387" y="6426"/>
                    </a:cubicBezTo>
                    <a:cubicBezTo>
                      <a:pt x="8370" y="6065"/>
                      <a:pt x="8270" y="5586"/>
                      <a:pt x="8093" y="5186"/>
                    </a:cubicBezTo>
                    <a:cubicBezTo>
                      <a:pt x="8061" y="5112"/>
                      <a:pt x="8021" y="5041"/>
                      <a:pt x="7977" y="4972"/>
                    </a:cubicBezTo>
                    <a:cubicBezTo>
                      <a:pt x="7826" y="4965"/>
                      <a:pt x="7826" y="4965"/>
                      <a:pt x="7826" y="4965"/>
                    </a:cubicBezTo>
                    <a:cubicBezTo>
                      <a:pt x="7886" y="5053"/>
                      <a:pt x="7940" y="5143"/>
                      <a:pt x="7981" y="5236"/>
                    </a:cubicBezTo>
                    <a:cubicBezTo>
                      <a:pt x="8147" y="5610"/>
                      <a:pt x="8244" y="6070"/>
                      <a:pt x="8264" y="6412"/>
                    </a:cubicBezTo>
                    <a:close/>
                    <a:moveTo>
                      <a:pt x="6164" y="4892"/>
                    </a:moveTo>
                    <a:cubicBezTo>
                      <a:pt x="6049" y="5582"/>
                      <a:pt x="6049" y="5582"/>
                      <a:pt x="6049" y="5582"/>
                    </a:cubicBezTo>
                    <a:cubicBezTo>
                      <a:pt x="7234" y="5708"/>
                      <a:pt x="7234" y="5708"/>
                      <a:pt x="7234" y="5708"/>
                    </a:cubicBezTo>
                    <a:cubicBezTo>
                      <a:pt x="7233" y="5714"/>
                      <a:pt x="7233" y="5714"/>
                      <a:pt x="7233" y="5714"/>
                    </a:cubicBezTo>
                    <a:cubicBezTo>
                      <a:pt x="7233" y="5714"/>
                      <a:pt x="7221" y="5860"/>
                      <a:pt x="7208" y="6005"/>
                    </a:cubicBezTo>
                    <a:cubicBezTo>
                      <a:pt x="7202" y="6078"/>
                      <a:pt x="7195" y="6151"/>
                      <a:pt x="7189" y="6205"/>
                    </a:cubicBezTo>
                    <a:cubicBezTo>
                      <a:pt x="7187" y="6233"/>
                      <a:pt x="7184" y="6256"/>
                      <a:pt x="7182" y="6272"/>
                    </a:cubicBezTo>
                    <a:cubicBezTo>
                      <a:pt x="7181" y="6280"/>
                      <a:pt x="7180" y="6286"/>
                      <a:pt x="7180" y="6290"/>
                    </a:cubicBezTo>
                    <a:cubicBezTo>
                      <a:pt x="7247" y="6298"/>
                      <a:pt x="7556" y="6332"/>
                      <a:pt x="7866" y="6367"/>
                    </a:cubicBezTo>
                    <a:cubicBezTo>
                      <a:pt x="7999" y="6382"/>
                      <a:pt x="8133" y="6397"/>
                      <a:pt x="8247" y="6410"/>
                    </a:cubicBezTo>
                    <a:cubicBezTo>
                      <a:pt x="8228" y="6071"/>
                      <a:pt x="8131" y="5614"/>
                      <a:pt x="7966" y="5243"/>
                    </a:cubicBezTo>
                    <a:cubicBezTo>
                      <a:pt x="7924" y="5147"/>
                      <a:pt x="7868" y="5054"/>
                      <a:pt x="7805" y="4964"/>
                    </a:cubicBezTo>
                    <a:lnTo>
                      <a:pt x="6164" y="4892"/>
                    </a:lnTo>
                    <a:close/>
                    <a:moveTo>
                      <a:pt x="6058" y="5124"/>
                    </a:moveTo>
                    <a:cubicBezTo>
                      <a:pt x="5437" y="5227"/>
                      <a:pt x="5437" y="5227"/>
                      <a:pt x="5437" y="5227"/>
                    </a:cubicBezTo>
                    <a:cubicBezTo>
                      <a:pt x="5386" y="5662"/>
                      <a:pt x="5386" y="5662"/>
                      <a:pt x="5386" y="5662"/>
                    </a:cubicBezTo>
                    <a:cubicBezTo>
                      <a:pt x="5706" y="5702"/>
                      <a:pt x="5706" y="5702"/>
                      <a:pt x="5706" y="5702"/>
                    </a:cubicBezTo>
                    <a:cubicBezTo>
                      <a:pt x="5657" y="5640"/>
                      <a:pt x="5657" y="5640"/>
                      <a:pt x="5657" y="5640"/>
                    </a:cubicBezTo>
                    <a:cubicBezTo>
                      <a:pt x="5790" y="5522"/>
                      <a:pt x="5790" y="5522"/>
                      <a:pt x="5790" y="5522"/>
                    </a:cubicBezTo>
                    <a:cubicBezTo>
                      <a:pt x="5898" y="5652"/>
                      <a:pt x="5898" y="5652"/>
                      <a:pt x="5898" y="5652"/>
                    </a:cubicBezTo>
                    <a:cubicBezTo>
                      <a:pt x="5825" y="5716"/>
                      <a:pt x="5825" y="5716"/>
                      <a:pt x="5825" y="5716"/>
                    </a:cubicBezTo>
                    <a:cubicBezTo>
                      <a:pt x="5957" y="5733"/>
                      <a:pt x="5957" y="5733"/>
                      <a:pt x="5957" y="5733"/>
                    </a:cubicBezTo>
                    <a:lnTo>
                      <a:pt x="6058" y="5124"/>
                    </a:lnTo>
                    <a:close/>
                    <a:moveTo>
                      <a:pt x="5424" y="5215"/>
                    </a:moveTo>
                    <a:cubicBezTo>
                      <a:pt x="5406" y="4671"/>
                      <a:pt x="5406" y="4671"/>
                      <a:pt x="5406" y="4671"/>
                    </a:cubicBezTo>
                    <a:cubicBezTo>
                      <a:pt x="5366" y="4659"/>
                      <a:pt x="5085" y="4570"/>
                      <a:pt x="5041" y="4556"/>
                    </a:cubicBezTo>
                    <a:cubicBezTo>
                      <a:pt x="4899" y="4821"/>
                      <a:pt x="4899" y="4821"/>
                      <a:pt x="4899" y="4821"/>
                    </a:cubicBezTo>
                    <a:cubicBezTo>
                      <a:pt x="4671" y="4994"/>
                      <a:pt x="4671" y="4994"/>
                      <a:pt x="4671" y="4994"/>
                    </a:cubicBezTo>
                    <a:cubicBezTo>
                      <a:pt x="4737" y="5039"/>
                      <a:pt x="4780" y="5104"/>
                      <a:pt x="4806" y="5170"/>
                    </a:cubicBezTo>
                    <a:cubicBezTo>
                      <a:pt x="4825" y="5219"/>
                      <a:pt x="4836" y="5269"/>
                      <a:pt x="4842" y="5316"/>
                    </a:cubicBezTo>
                    <a:lnTo>
                      <a:pt x="5424" y="5215"/>
                    </a:lnTo>
                    <a:close/>
                    <a:moveTo>
                      <a:pt x="5029" y="4550"/>
                    </a:moveTo>
                    <a:cubicBezTo>
                      <a:pt x="5028" y="4550"/>
                      <a:pt x="5028" y="4549"/>
                      <a:pt x="5028" y="4549"/>
                    </a:cubicBezTo>
                    <a:cubicBezTo>
                      <a:pt x="4983" y="4513"/>
                      <a:pt x="4705" y="4266"/>
                      <a:pt x="4659" y="4226"/>
                    </a:cubicBezTo>
                    <a:cubicBezTo>
                      <a:pt x="4341" y="4876"/>
                      <a:pt x="4341" y="4876"/>
                      <a:pt x="4341" y="4876"/>
                    </a:cubicBezTo>
                    <a:cubicBezTo>
                      <a:pt x="4424" y="4900"/>
                      <a:pt x="4505" y="4924"/>
                      <a:pt x="4582" y="4949"/>
                    </a:cubicBezTo>
                    <a:cubicBezTo>
                      <a:pt x="4610" y="4958"/>
                      <a:pt x="4636" y="4971"/>
                      <a:pt x="4659" y="4985"/>
                    </a:cubicBezTo>
                    <a:cubicBezTo>
                      <a:pt x="4888" y="4812"/>
                      <a:pt x="4888" y="4812"/>
                      <a:pt x="4888" y="4812"/>
                    </a:cubicBezTo>
                    <a:lnTo>
                      <a:pt x="5029" y="4550"/>
                    </a:lnTo>
                    <a:close/>
                    <a:moveTo>
                      <a:pt x="4133" y="4487"/>
                    </a:moveTo>
                    <a:cubicBezTo>
                      <a:pt x="4106" y="4611"/>
                      <a:pt x="4059" y="4740"/>
                      <a:pt x="4038" y="4794"/>
                    </a:cubicBezTo>
                    <a:cubicBezTo>
                      <a:pt x="4133" y="4818"/>
                      <a:pt x="4231" y="4845"/>
                      <a:pt x="4327" y="4872"/>
                    </a:cubicBezTo>
                    <a:cubicBezTo>
                      <a:pt x="4484" y="4552"/>
                      <a:pt x="4484" y="4552"/>
                      <a:pt x="4484" y="4552"/>
                    </a:cubicBezTo>
                    <a:cubicBezTo>
                      <a:pt x="4466" y="4551"/>
                      <a:pt x="4300" y="4519"/>
                      <a:pt x="4133" y="4487"/>
                    </a:cubicBezTo>
                    <a:close/>
                    <a:moveTo>
                      <a:pt x="4088" y="4235"/>
                    </a:moveTo>
                    <a:cubicBezTo>
                      <a:pt x="4088" y="4189"/>
                      <a:pt x="4087" y="4143"/>
                      <a:pt x="4085" y="4100"/>
                    </a:cubicBezTo>
                    <a:cubicBezTo>
                      <a:pt x="3790" y="4070"/>
                      <a:pt x="3790" y="4070"/>
                      <a:pt x="3790" y="4070"/>
                    </a:cubicBezTo>
                    <a:cubicBezTo>
                      <a:pt x="3783" y="4405"/>
                      <a:pt x="3783" y="4405"/>
                      <a:pt x="3783" y="4405"/>
                    </a:cubicBezTo>
                    <a:cubicBezTo>
                      <a:pt x="3795" y="4408"/>
                      <a:pt x="3925" y="4433"/>
                      <a:pt x="4071" y="4461"/>
                    </a:cubicBezTo>
                    <a:cubicBezTo>
                      <a:pt x="4072" y="4455"/>
                      <a:pt x="4074" y="4450"/>
                      <a:pt x="4075" y="4444"/>
                    </a:cubicBezTo>
                    <a:cubicBezTo>
                      <a:pt x="4084" y="4392"/>
                      <a:pt x="4088" y="4314"/>
                      <a:pt x="4088" y="4235"/>
                    </a:cubicBezTo>
                    <a:close/>
                    <a:moveTo>
                      <a:pt x="3783" y="4420"/>
                    </a:moveTo>
                    <a:cubicBezTo>
                      <a:pt x="3776" y="4732"/>
                      <a:pt x="3776" y="4732"/>
                      <a:pt x="3776" y="4732"/>
                    </a:cubicBezTo>
                    <a:cubicBezTo>
                      <a:pt x="3838" y="4746"/>
                      <a:pt x="3905" y="4761"/>
                      <a:pt x="3974" y="4778"/>
                    </a:cubicBezTo>
                    <a:cubicBezTo>
                      <a:pt x="3982" y="4759"/>
                      <a:pt x="3995" y="4724"/>
                      <a:pt x="4010" y="4681"/>
                    </a:cubicBezTo>
                    <a:cubicBezTo>
                      <a:pt x="4030" y="4622"/>
                      <a:pt x="4053" y="4547"/>
                      <a:pt x="4068" y="4475"/>
                    </a:cubicBezTo>
                    <a:cubicBezTo>
                      <a:pt x="3929" y="4448"/>
                      <a:pt x="3805" y="4424"/>
                      <a:pt x="3783" y="4420"/>
                    </a:cubicBezTo>
                    <a:close/>
                    <a:moveTo>
                      <a:pt x="3776" y="4069"/>
                    </a:moveTo>
                    <a:cubicBezTo>
                      <a:pt x="3710" y="4062"/>
                      <a:pt x="3710" y="4062"/>
                      <a:pt x="3710" y="4062"/>
                    </a:cubicBezTo>
                    <a:cubicBezTo>
                      <a:pt x="3113" y="4135"/>
                      <a:pt x="3113" y="4135"/>
                      <a:pt x="3113" y="4135"/>
                    </a:cubicBezTo>
                    <a:cubicBezTo>
                      <a:pt x="3270" y="4645"/>
                      <a:pt x="3270" y="4645"/>
                      <a:pt x="3270" y="4645"/>
                    </a:cubicBezTo>
                    <a:cubicBezTo>
                      <a:pt x="3275" y="4645"/>
                      <a:pt x="3280" y="4644"/>
                      <a:pt x="3285" y="4644"/>
                    </a:cubicBezTo>
                    <a:cubicBezTo>
                      <a:pt x="3353" y="4645"/>
                      <a:pt x="3427" y="4660"/>
                      <a:pt x="3523" y="4681"/>
                    </a:cubicBezTo>
                    <a:cubicBezTo>
                      <a:pt x="3520" y="4650"/>
                      <a:pt x="3520" y="4650"/>
                      <a:pt x="3520" y="4650"/>
                    </a:cubicBezTo>
                    <a:cubicBezTo>
                      <a:pt x="3415" y="4630"/>
                      <a:pt x="3415" y="4630"/>
                      <a:pt x="3415" y="4630"/>
                    </a:cubicBezTo>
                    <a:cubicBezTo>
                      <a:pt x="3416" y="4623"/>
                      <a:pt x="3416" y="4623"/>
                      <a:pt x="3416" y="4623"/>
                    </a:cubicBezTo>
                    <a:cubicBezTo>
                      <a:pt x="3431" y="4545"/>
                      <a:pt x="3431" y="4545"/>
                      <a:pt x="3431" y="4545"/>
                    </a:cubicBezTo>
                    <a:cubicBezTo>
                      <a:pt x="3477" y="4554"/>
                      <a:pt x="3477" y="4554"/>
                      <a:pt x="3477" y="4554"/>
                    </a:cubicBezTo>
                    <a:cubicBezTo>
                      <a:pt x="3485" y="4512"/>
                      <a:pt x="3485" y="4512"/>
                      <a:pt x="3485" y="4512"/>
                    </a:cubicBezTo>
                    <a:cubicBezTo>
                      <a:pt x="3507" y="4516"/>
                      <a:pt x="3507" y="4516"/>
                      <a:pt x="3507" y="4516"/>
                    </a:cubicBezTo>
                    <a:cubicBezTo>
                      <a:pt x="3467" y="4094"/>
                      <a:pt x="3467" y="4094"/>
                      <a:pt x="3467" y="4094"/>
                    </a:cubicBezTo>
                    <a:cubicBezTo>
                      <a:pt x="3480" y="4093"/>
                      <a:pt x="3480" y="4093"/>
                      <a:pt x="3480" y="4093"/>
                    </a:cubicBezTo>
                    <a:cubicBezTo>
                      <a:pt x="3522" y="4519"/>
                      <a:pt x="3522" y="4519"/>
                      <a:pt x="3522" y="4519"/>
                    </a:cubicBezTo>
                    <a:cubicBezTo>
                      <a:pt x="3600" y="4534"/>
                      <a:pt x="3600" y="4534"/>
                      <a:pt x="3600" y="4534"/>
                    </a:cubicBezTo>
                    <a:cubicBezTo>
                      <a:pt x="3592" y="4576"/>
                      <a:pt x="3592" y="4576"/>
                      <a:pt x="3592" y="4576"/>
                    </a:cubicBezTo>
                    <a:cubicBezTo>
                      <a:pt x="3638" y="4585"/>
                      <a:pt x="3638" y="4585"/>
                      <a:pt x="3638" y="4585"/>
                    </a:cubicBezTo>
                    <a:cubicBezTo>
                      <a:pt x="3622" y="4669"/>
                      <a:pt x="3622" y="4669"/>
                      <a:pt x="3622" y="4669"/>
                    </a:cubicBezTo>
                    <a:cubicBezTo>
                      <a:pt x="3535" y="4653"/>
                      <a:pt x="3535" y="4653"/>
                      <a:pt x="3535" y="4653"/>
                    </a:cubicBezTo>
                    <a:cubicBezTo>
                      <a:pt x="3538" y="4684"/>
                      <a:pt x="3538" y="4684"/>
                      <a:pt x="3538" y="4684"/>
                    </a:cubicBezTo>
                    <a:cubicBezTo>
                      <a:pt x="3573" y="4691"/>
                      <a:pt x="3611" y="4699"/>
                      <a:pt x="3653" y="4707"/>
                    </a:cubicBezTo>
                    <a:cubicBezTo>
                      <a:pt x="3687" y="4714"/>
                      <a:pt x="3724" y="4721"/>
                      <a:pt x="3762" y="4729"/>
                    </a:cubicBezTo>
                    <a:lnTo>
                      <a:pt x="3776" y="4069"/>
                    </a:lnTo>
                    <a:close/>
                    <a:moveTo>
                      <a:pt x="3509" y="4529"/>
                    </a:moveTo>
                    <a:cubicBezTo>
                      <a:pt x="3496" y="4527"/>
                      <a:pt x="3496" y="4527"/>
                      <a:pt x="3496" y="4527"/>
                    </a:cubicBezTo>
                    <a:cubicBezTo>
                      <a:pt x="3488" y="4569"/>
                      <a:pt x="3488" y="4569"/>
                      <a:pt x="3488" y="4569"/>
                    </a:cubicBezTo>
                    <a:cubicBezTo>
                      <a:pt x="3442" y="4560"/>
                      <a:pt x="3442" y="4560"/>
                      <a:pt x="3442" y="4560"/>
                    </a:cubicBezTo>
                    <a:cubicBezTo>
                      <a:pt x="3430" y="4619"/>
                      <a:pt x="3430" y="4619"/>
                      <a:pt x="3430" y="4619"/>
                    </a:cubicBezTo>
                    <a:cubicBezTo>
                      <a:pt x="3519" y="4636"/>
                      <a:pt x="3519" y="4636"/>
                      <a:pt x="3519" y="4636"/>
                    </a:cubicBezTo>
                    <a:lnTo>
                      <a:pt x="3509" y="4529"/>
                    </a:lnTo>
                    <a:close/>
                    <a:moveTo>
                      <a:pt x="3099" y="4136"/>
                    </a:moveTo>
                    <a:cubicBezTo>
                      <a:pt x="2657" y="4190"/>
                      <a:pt x="2657" y="4190"/>
                      <a:pt x="2657" y="4190"/>
                    </a:cubicBezTo>
                    <a:cubicBezTo>
                      <a:pt x="2979" y="4604"/>
                      <a:pt x="2979" y="4604"/>
                      <a:pt x="2979" y="4604"/>
                    </a:cubicBezTo>
                    <a:cubicBezTo>
                      <a:pt x="3018" y="4578"/>
                      <a:pt x="3018" y="4578"/>
                      <a:pt x="3018" y="4578"/>
                    </a:cubicBezTo>
                    <a:cubicBezTo>
                      <a:pt x="3042" y="4613"/>
                      <a:pt x="3042" y="4613"/>
                      <a:pt x="3042" y="4613"/>
                    </a:cubicBezTo>
                    <a:cubicBezTo>
                      <a:pt x="3081" y="4587"/>
                      <a:pt x="3081" y="4587"/>
                      <a:pt x="3081" y="4587"/>
                    </a:cubicBezTo>
                    <a:cubicBezTo>
                      <a:pt x="3130" y="4658"/>
                      <a:pt x="3130" y="4658"/>
                      <a:pt x="3130" y="4658"/>
                    </a:cubicBezTo>
                    <a:cubicBezTo>
                      <a:pt x="3059" y="4707"/>
                      <a:pt x="3059" y="4707"/>
                      <a:pt x="3059" y="4707"/>
                    </a:cubicBezTo>
                    <a:cubicBezTo>
                      <a:pt x="3070" y="4721"/>
                      <a:pt x="3070" y="4721"/>
                      <a:pt x="3070" y="4721"/>
                    </a:cubicBezTo>
                    <a:cubicBezTo>
                      <a:pt x="3092" y="4704"/>
                      <a:pt x="3116" y="4689"/>
                      <a:pt x="3146" y="4675"/>
                    </a:cubicBezTo>
                    <a:cubicBezTo>
                      <a:pt x="3181" y="4657"/>
                      <a:pt x="3218" y="4649"/>
                      <a:pt x="3255" y="4646"/>
                    </a:cubicBezTo>
                    <a:lnTo>
                      <a:pt x="3099" y="4136"/>
                    </a:lnTo>
                    <a:close/>
                    <a:moveTo>
                      <a:pt x="2644" y="4196"/>
                    </a:moveTo>
                    <a:cubicBezTo>
                      <a:pt x="2219" y="4677"/>
                      <a:pt x="2219" y="4677"/>
                      <a:pt x="2219" y="4677"/>
                    </a:cubicBezTo>
                    <a:cubicBezTo>
                      <a:pt x="2456" y="4850"/>
                      <a:pt x="2456" y="4850"/>
                      <a:pt x="2456" y="4850"/>
                    </a:cubicBezTo>
                    <a:cubicBezTo>
                      <a:pt x="2499" y="4863"/>
                      <a:pt x="2499" y="4863"/>
                      <a:pt x="2499" y="4863"/>
                    </a:cubicBezTo>
                    <a:cubicBezTo>
                      <a:pt x="2510" y="4852"/>
                      <a:pt x="2530" y="4830"/>
                      <a:pt x="2554" y="4803"/>
                    </a:cubicBezTo>
                    <a:cubicBezTo>
                      <a:pt x="2653" y="4691"/>
                      <a:pt x="2830" y="4483"/>
                      <a:pt x="2849" y="4460"/>
                    </a:cubicBezTo>
                    <a:lnTo>
                      <a:pt x="2644" y="4196"/>
                    </a:lnTo>
                    <a:close/>
                    <a:moveTo>
                      <a:pt x="2326" y="5152"/>
                    </a:moveTo>
                    <a:cubicBezTo>
                      <a:pt x="2331" y="5154"/>
                      <a:pt x="2331" y="5154"/>
                      <a:pt x="2331" y="5154"/>
                    </a:cubicBezTo>
                    <a:cubicBezTo>
                      <a:pt x="2348" y="5120"/>
                      <a:pt x="2348" y="5120"/>
                      <a:pt x="2348" y="5120"/>
                    </a:cubicBezTo>
                    <a:cubicBezTo>
                      <a:pt x="2467" y="5179"/>
                      <a:pt x="2467" y="5179"/>
                      <a:pt x="2467" y="5179"/>
                    </a:cubicBezTo>
                    <a:cubicBezTo>
                      <a:pt x="2464" y="5184"/>
                      <a:pt x="2464" y="5184"/>
                      <a:pt x="2464" y="5184"/>
                    </a:cubicBezTo>
                    <a:cubicBezTo>
                      <a:pt x="2451" y="5211"/>
                      <a:pt x="2451" y="5211"/>
                      <a:pt x="2451" y="5211"/>
                    </a:cubicBezTo>
                    <a:cubicBezTo>
                      <a:pt x="2699" y="5329"/>
                      <a:pt x="2699" y="5329"/>
                      <a:pt x="2699" y="5329"/>
                    </a:cubicBezTo>
                    <a:cubicBezTo>
                      <a:pt x="2723" y="5275"/>
                      <a:pt x="2746" y="5224"/>
                      <a:pt x="2766" y="5179"/>
                    </a:cubicBezTo>
                    <a:cubicBezTo>
                      <a:pt x="2545" y="5084"/>
                      <a:pt x="2545" y="5084"/>
                      <a:pt x="2545" y="5084"/>
                    </a:cubicBezTo>
                    <a:cubicBezTo>
                      <a:pt x="2514" y="5141"/>
                      <a:pt x="2514" y="5141"/>
                      <a:pt x="2514" y="5141"/>
                    </a:cubicBezTo>
                    <a:cubicBezTo>
                      <a:pt x="2396" y="5083"/>
                      <a:pt x="2396" y="5083"/>
                      <a:pt x="2396" y="5083"/>
                    </a:cubicBezTo>
                    <a:cubicBezTo>
                      <a:pt x="2424" y="5031"/>
                      <a:pt x="2424" y="5031"/>
                      <a:pt x="2424" y="5031"/>
                    </a:cubicBezTo>
                    <a:cubicBezTo>
                      <a:pt x="2400" y="5021"/>
                      <a:pt x="2400" y="5021"/>
                      <a:pt x="2400" y="5021"/>
                    </a:cubicBezTo>
                    <a:lnTo>
                      <a:pt x="2326" y="5152"/>
                    </a:lnTo>
                    <a:close/>
                    <a:moveTo>
                      <a:pt x="2293" y="5259"/>
                    </a:moveTo>
                    <a:cubicBezTo>
                      <a:pt x="2318" y="5273"/>
                      <a:pt x="2350" y="5291"/>
                      <a:pt x="2386" y="5310"/>
                    </a:cubicBezTo>
                    <a:cubicBezTo>
                      <a:pt x="2433" y="5218"/>
                      <a:pt x="2433" y="5218"/>
                      <a:pt x="2433" y="5218"/>
                    </a:cubicBezTo>
                    <a:cubicBezTo>
                      <a:pt x="2336" y="5172"/>
                      <a:pt x="2336" y="5172"/>
                      <a:pt x="2336" y="5172"/>
                    </a:cubicBezTo>
                    <a:lnTo>
                      <a:pt x="2293" y="5259"/>
                    </a:lnTo>
                    <a:close/>
                    <a:moveTo>
                      <a:pt x="2325" y="5167"/>
                    </a:moveTo>
                    <a:cubicBezTo>
                      <a:pt x="2320" y="5164"/>
                      <a:pt x="2320" y="5164"/>
                      <a:pt x="2320" y="5164"/>
                    </a:cubicBezTo>
                    <a:cubicBezTo>
                      <a:pt x="2273" y="5247"/>
                      <a:pt x="2273" y="5247"/>
                      <a:pt x="2273" y="5247"/>
                    </a:cubicBezTo>
                    <a:cubicBezTo>
                      <a:pt x="2276" y="5249"/>
                      <a:pt x="2279" y="5251"/>
                      <a:pt x="2282" y="5252"/>
                    </a:cubicBezTo>
                    <a:lnTo>
                      <a:pt x="2325" y="5167"/>
                    </a:lnTo>
                    <a:close/>
                    <a:moveTo>
                      <a:pt x="2266" y="5260"/>
                    </a:moveTo>
                    <a:cubicBezTo>
                      <a:pt x="2216" y="5349"/>
                      <a:pt x="2216" y="5349"/>
                      <a:pt x="2216" y="5349"/>
                    </a:cubicBezTo>
                    <a:cubicBezTo>
                      <a:pt x="2229" y="5358"/>
                      <a:pt x="2229" y="5358"/>
                      <a:pt x="2229" y="5358"/>
                    </a:cubicBezTo>
                    <a:cubicBezTo>
                      <a:pt x="2276" y="5265"/>
                      <a:pt x="2276" y="5265"/>
                      <a:pt x="2276" y="5265"/>
                    </a:cubicBezTo>
                    <a:cubicBezTo>
                      <a:pt x="2272" y="5263"/>
                      <a:pt x="2269" y="5261"/>
                      <a:pt x="2266" y="5260"/>
                    </a:cubicBezTo>
                    <a:close/>
                    <a:moveTo>
                      <a:pt x="2265" y="5127"/>
                    </a:moveTo>
                    <a:cubicBezTo>
                      <a:pt x="2218" y="5100"/>
                      <a:pt x="2218" y="5100"/>
                      <a:pt x="2218" y="5100"/>
                    </a:cubicBezTo>
                    <a:cubicBezTo>
                      <a:pt x="2164" y="5195"/>
                      <a:pt x="2164" y="5195"/>
                      <a:pt x="2164" y="5195"/>
                    </a:cubicBezTo>
                    <a:cubicBezTo>
                      <a:pt x="2212" y="5222"/>
                      <a:pt x="2212" y="5222"/>
                      <a:pt x="2212" y="5222"/>
                    </a:cubicBezTo>
                    <a:lnTo>
                      <a:pt x="2265" y="5127"/>
                    </a:lnTo>
                    <a:close/>
                    <a:moveTo>
                      <a:pt x="2266" y="4990"/>
                    </a:moveTo>
                    <a:cubicBezTo>
                      <a:pt x="2151" y="4925"/>
                      <a:pt x="2151" y="4925"/>
                      <a:pt x="2151" y="4925"/>
                    </a:cubicBezTo>
                    <a:cubicBezTo>
                      <a:pt x="2099" y="5017"/>
                      <a:pt x="2099" y="5017"/>
                      <a:pt x="2099" y="5017"/>
                    </a:cubicBezTo>
                    <a:cubicBezTo>
                      <a:pt x="2213" y="5082"/>
                      <a:pt x="2213" y="5082"/>
                      <a:pt x="2213" y="5082"/>
                    </a:cubicBezTo>
                    <a:lnTo>
                      <a:pt x="2266" y="4990"/>
                    </a:lnTo>
                    <a:close/>
                    <a:moveTo>
                      <a:pt x="2092" y="5029"/>
                    </a:moveTo>
                    <a:cubicBezTo>
                      <a:pt x="2039" y="5123"/>
                      <a:pt x="2039" y="5123"/>
                      <a:pt x="2039" y="5123"/>
                    </a:cubicBezTo>
                    <a:cubicBezTo>
                      <a:pt x="2153" y="5188"/>
                      <a:pt x="2153" y="5188"/>
                      <a:pt x="2153" y="5188"/>
                    </a:cubicBezTo>
                    <a:cubicBezTo>
                      <a:pt x="2206" y="5094"/>
                      <a:pt x="2206" y="5094"/>
                      <a:pt x="2206" y="5094"/>
                    </a:cubicBezTo>
                    <a:lnTo>
                      <a:pt x="2092" y="5029"/>
                    </a:lnTo>
                    <a:close/>
                    <a:moveTo>
                      <a:pt x="2032" y="5135"/>
                    </a:moveTo>
                    <a:cubicBezTo>
                      <a:pt x="1983" y="5222"/>
                      <a:pt x="1983" y="5222"/>
                      <a:pt x="1983" y="5222"/>
                    </a:cubicBezTo>
                    <a:cubicBezTo>
                      <a:pt x="2097" y="5287"/>
                      <a:pt x="2097" y="5287"/>
                      <a:pt x="2097" y="5287"/>
                    </a:cubicBezTo>
                    <a:cubicBezTo>
                      <a:pt x="2146" y="5200"/>
                      <a:pt x="2146" y="5200"/>
                      <a:pt x="2146" y="5200"/>
                    </a:cubicBezTo>
                    <a:lnTo>
                      <a:pt x="2032" y="5135"/>
                    </a:lnTo>
                    <a:close/>
                    <a:moveTo>
                      <a:pt x="2021" y="5129"/>
                    </a:moveTo>
                    <a:cubicBezTo>
                      <a:pt x="1665" y="4926"/>
                      <a:pt x="1665" y="4926"/>
                      <a:pt x="1665" y="4926"/>
                    </a:cubicBezTo>
                    <a:cubicBezTo>
                      <a:pt x="1592" y="4999"/>
                      <a:pt x="1592" y="4999"/>
                      <a:pt x="1592" y="4999"/>
                    </a:cubicBezTo>
                    <a:cubicBezTo>
                      <a:pt x="1971" y="5215"/>
                      <a:pt x="1971" y="5215"/>
                      <a:pt x="1971" y="5215"/>
                    </a:cubicBezTo>
                    <a:lnTo>
                      <a:pt x="2021" y="5129"/>
                    </a:lnTo>
                    <a:close/>
                    <a:moveTo>
                      <a:pt x="1652" y="4919"/>
                    </a:moveTo>
                    <a:cubicBezTo>
                      <a:pt x="1279" y="4706"/>
                      <a:pt x="1279" y="4706"/>
                      <a:pt x="1279" y="4706"/>
                    </a:cubicBezTo>
                    <a:cubicBezTo>
                      <a:pt x="1231" y="4793"/>
                      <a:pt x="1231" y="4793"/>
                      <a:pt x="1231" y="4793"/>
                    </a:cubicBezTo>
                    <a:cubicBezTo>
                      <a:pt x="1579" y="4992"/>
                      <a:pt x="1579" y="4992"/>
                      <a:pt x="1579" y="4992"/>
                    </a:cubicBezTo>
                    <a:lnTo>
                      <a:pt x="1652" y="4919"/>
                    </a:lnTo>
                    <a:close/>
                    <a:moveTo>
                      <a:pt x="1225" y="4805"/>
                    </a:moveTo>
                    <a:cubicBezTo>
                      <a:pt x="1174" y="4898"/>
                      <a:pt x="1174" y="4898"/>
                      <a:pt x="1174" y="4898"/>
                    </a:cubicBezTo>
                    <a:cubicBezTo>
                      <a:pt x="1537" y="5106"/>
                      <a:pt x="1537" y="5106"/>
                      <a:pt x="1537" y="5106"/>
                    </a:cubicBezTo>
                    <a:cubicBezTo>
                      <a:pt x="1573" y="5004"/>
                      <a:pt x="1573" y="5004"/>
                      <a:pt x="1573" y="5004"/>
                    </a:cubicBezTo>
                    <a:lnTo>
                      <a:pt x="1225" y="4805"/>
                    </a:lnTo>
                    <a:close/>
                    <a:moveTo>
                      <a:pt x="1168" y="4911"/>
                    </a:moveTo>
                    <a:cubicBezTo>
                      <a:pt x="1109" y="5018"/>
                      <a:pt x="1109" y="5018"/>
                      <a:pt x="1109" y="5018"/>
                    </a:cubicBezTo>
                    <a:cubicBezTo>
                      <a:pt x="1492" y="5236"/>
                      <a:pt x="1492" y="5236"/>
                      <a:pt x="1492" y="5236"/>
                    </a:cubicBezTo>
                    <a:cubicBezTo>
                      <a:pt x="1533" y="5119"/>
                      <a:pt x="1533" y="5119"/>
                      <a:pt x="1533" y="5119"/>
                    </a:cubicBezTo>
                    <a:lnTo>
                      <a:pt x="1168" y="4911"/>
                    </a:lnTo>
                    <a:close/>
                    <a:moveTo>
                      <a:pt x="1102" y="5030"/>
                    </a:moveTo>
                    <a:cubicBezTo>
                      <a:pt x="1046" y="5134"/>
                      <a:pt x="1046" y="5134"/>
                      <a:pt x="1046" y="5134"/>
                    </a:cubicBezTo>
                    <a:cubicBezTo>
                      <a:pt x="1408" y="5341"/>
                      <a:pt x="1408" y="5341"/>
                      <a:pt x="1408" y="5341"/>
                    </a:cubicBezTo>
                    <a:cubicBezTo>
                      <a:pt x="1487" y="5250"/>
                      <a:pt x="1487" y="5250"/>
                      <a:pt x="1487" y="5250"/>
                    </a:cubicBezTo>
                    <a:lnTo>
                      <a:pt x="1102" y="5030"/>
                    </a:lnTo>
                    <a:close/>
                    <a:moveTo>
                      <a:pt x="1039" y="5147"/>
                    </a:moveTo>
                    <a:cubicBezTo>
                      <a:pt x="987" y="5243"/>
                      <a:pt x="987" y="5243"/>
                      <a:pt x="987" y="5243"/>
                    </a:cubicBezTo>
                    <a:cubicBezTo>
                      <a:pt x="1373" y="5463"/>
                      <a:pt x="1373" y="5463"/>
                      <a:pt x="1373" y="5463"/>
                    </a:cubicBezTo>
                    <a:cubicBezTo>
                      <a:pt x="1403" y="5355"/>
                      <a:pt x="1403" y="5355"/>
                      <a:pt x="1403" y="5355"/>
                    </a:cubicBezTo>
                    <a:lnTo>
                      <a:pt x="1039" y="5147"/>
                    </a:lnTo>
                    <a:close/>
                    <a:moveTo>
                      <a:pt x="980" y="5255"/>
                    </a:moveTo>
                    <a:cubicBezTo>
                      <a:pt x="916" y="5373"/>
                      <a:pt x="916" y="5373"/>
                      <a:pt x="916" y="5373"/>
                    </a:cubicBezTo>
                    <a:cubicBezTo>
                      <a:pt x="1332" y="5610"/>
                      <a:pt x="1332" y="5610"/>
                      <a:pt x="1332" y="5610"/>
                    </a:cubicBezTo>
                    <a:cubicBezTo>
                      <a:pt x="1369" y="5477"/>
                      <a:pt x="1369" y="5477"/>
                      <a:pt x="1369" y="5477"/>
                    </a:cubicBezTo>
                    <a:lnTo>
                      <a:pt x="980" y="5255"/>
                    </a:lnTo>
                    <a:close/>
                    <a:moveTo>
                      <a:pt x="909" y="5385"/>
                    </a:moveTo>
                    <a:cubicBezTo>
                      <a:pt x="857" y="5481"/>
                      <a:pt x="857" y="5481"/>
                      <a:pt x="857" y="5481"/>
                    </a:cubicBezTo>
                    <a:cubicBezTo>
                      <a:pt x="1211" y="5683"/>
                      <a:pt x="1211" y="5683"/>
                      <a:pt x="1211" y="5683"/>
                    </a:cubicBezTo>
                    <a:cubicBezTo>
                      <a:pt x="1321" y="5620"/>
                      <a:pt x="1321" y="5620"/>
                      <a:pt x="1321" y="5620"/>
                    </a:cubicBezTo>
                    <a:lnTo>
                      <a:pt x="909" y="5385"/>
                    </a:lnTo>
                    <a:close/>
                    <a:moveTo>
                      <a:pt x="851" y="5493"/>
                    </a:moveTo>
                    <a:cubicBezTo>
                      <a:pt x="793" y="5599"/>
                      <a:pt x="793" y="5599"/>
                      <a:pt x="793" y="5599"/>
                    </a:cubicBezTo>
                    <a:cubicBezTo>
                      <a:pt x="1152" y="5804"/>
                      <a:pt x="1152" y="5804"/>
                      <a:pt x="1152" y="5804"/>
                    </a:cubicBezTo>
                    <a:cubicBezTo>
                      <a:pt x="1186" y="5697"/>
                      <a:pt x="1186" y="5697"/>
                      <a:pt x="1186" y="5697"/>
                    </a:cubicBezTo>
                    <a:cubicBezTo>
                      <a:pt x="1197" y="5691"/>
                      <a:pt x="1197" y="5691"/>
                      <a:pt x="1197" y="5691"/>
                    </a:cubicBezTo>
                    <a:lnTo>
                      <a:pt x="851" y="5493"/>
                    </a:lnTo>
                    <a:close/>
                    <a:moveTo>
                      <a:pt x="786" y="5612"/>
                    </a:moveTo>
                    <a:cubicBezTo>
                      <a:pt x="735" y="5705"/>
                      <a:pt x="735" y="5705"/>
                      <a:pt x="735" y="5705"/>
                    </a:cubicBezTo>
                    <a:cubicBezTo>
                      <a:pt x="1114" y="5921"/>
                      <a:pt x="1114" y="5921"/>
                      <a:pt x="1114" y="5921"/>
                    </a:cubicBezTo>
                    <a:cubicBezTo>
                      <a:pt x="1147" y="5818"/>
                      <a:pt x="1147" y="5818"/>
                      <a:pt x="1147" y="5818"/>
                    </a:cubicBezTo>
                    <a:lnTo>
                      <a:pt x="786" y="5612"/>
                    </a:lnTo>
                    <a:close/>
                    <a:moveTo>
                      <a:pt x="729" y="5717"/>
                    </a:moveTo>
                    <a:cubicBezTo>
                      <a:pt x="670" y="5824"/>
                      <a:pt x="670" y="5824"/>
                      <a:pt x="670" y="5824"/>
                    </a:cubicBezTo>
                    <a:cubicBezTo>
                      <a:pt x="1066" y="6050"/>
                      <a:pt x="1066" y="6050"/>
                      <a:pt x="1066" y="6050"/>
                    </a:cubicBezTo>
                    <a:cubicBezTo>
                      <a:pt x="1074" y="6045"/>
                      <a:pt x="1074" y="6045"/>
                      <a:pt x="1074" y="6045"/>
                    </a:cubicBezTo>
                    <a:cubicBezTo>
                      <a:pt x="1110" y="5934"/>
                      <a:pt x="1110" y="5934"/>
                      <a:pt x="1110" y="5934"/>
                    </a:cubicBezTo>
                    <a:lnTo>
                      <a:pt x="729" y="5717"/>
                    </a:lnTo>
                    <a:close/>
                    <a:moveTo>
                      <a:pt x="664" y="5836"/>
                    </a:moveTo>
                    <a:cubicBezTo>
                      <a:pt x="607" y="5941"/>
                      <a:pt x="607" y="5941"/>
                      <a:pt x="607" y="5941"/>
                    </a:cubicBezTo>
                    <a:cubicBezTo>
                      <a:pt x="942" y="6132"/>
                      <a:pt x="942" y="6132"/>
                      <a:pt x="942" y="6132"/>
                    </a:cubicBezTo>
                    <a:cubicBezTo>
                      <a:pt x="945" y="6125"/>
                      <a:pt x="945" y="6125"/>
                      <a:pt x="945" y="6125"/>
                    </a:cubicBezTo>
                    <a:cubicBezTo>
                      <a:pt x="1053" y="6059"/>
                      <a:pt x="1053" y="6059"/>
                      <a:pt x="1053" y="6059"/>
                    </a:cubicBezTo>
                    <a:lnTo>
                      <a:pt x="664" y="5836"/>
                    </a:lnTo>
                    <a:close/>
                    <a:moveTo>
                      <a:pt x="906" y="6253"/>
                    </a:moveTo>
                    <a:cubicBezTo>
                      <a:pt x="1266" y="6459"/>
                      <a:pt x="1266" y="6459"/>
                      <a:pt x="1266" y="6459"/>
                    </a:cubicBezTo>
                    <a:cubicBezTo>
                      <a:pt x="1320" y="6364"/>
                      <a:pt x="1320" y="6364"/>
                      <a:pt x="1320" y="6364"/>
                    </a:cubicBezTo>
                    <a:cubicBezTo>
                      <a:pt x="949" y="6152"/>
                      <a:pt x="949" y="6152"/>
                      <a:pt x="949" y="6152"/>
                    </a:cubicBezTo>
                    <a:lnTo>
                      <a:pt x="906" y="6253"/>
                    </a:lnTo>
                    <a:close/>
                    <a:moveTo>
                      <a:pt x="1238" y="6534"/>
                    </a:moveTo>
                    <a:cubicBezTo>
                      <a:pt x="1352" y="6599"/>
                      <a:pt x="1352" y="6599"/>
                      <a:pt x="1352" y="6599"/>
                    </a:cubicBezTo>
                    <a:cubicBezTo>
                      <a:pt x="1384" y="6542"/>
                      <a:pt x="1384" y="6542"/>
                      <a:pt x="1384" y="6542"/>
                    </a:cubicBezTo>
                    <a:cubicBezTo>
                      <a:pt x="1270" y="6477"/>
                      <a:pt x="1270" y="6477"/>
                      <a:pt x="1270" y="6477"/>
                    </a:cubicBezTo>
                    <a:lnTo>
                      <a:pt x="1238" y="6534"/>
                    </a:lnTo>
                    <a:close/>
                    <a:moveTo>
                      <a:pt x="1391" y="6530"/>
                    </a:moveTo>
                    <a:cubicBezTo>
                      <a:pt x="1445" y="6435"/>
                      <a:pt x="1445" y="6435"/>
                      <a:pt x="1445" y="6435"/>
                    </a:cubicBezTo>
                    <a:cubicBezTo>
                      <a:pt x="1331" y="6370"/>
                      <a:pt x="1331" y="6370"/>
                      <a:pt x="1331" y="6370"/>
                    </a:cubicBezTo>
                    <a:cubicBezTo>
                      <a:pt x="1277" y="6465"/>
                      <a:pt x="1277" y="6465"/>
                      <a:pt x="1277" y="6465"/>
                    </a:cubicBezTo>
                    <a:lnTo>
                      <a:pt x="1391" y="6530"/>
                    </a:lnTo>
                    <a:close/>
                    <a:moveTo>
                      <a:pt x="1403" y="6537"/>
                    </a:moveTo>
                    <a:cubicBezTo>
                      <a:pt x="1458" y="6568"/>
                      <a:pt x="1458" y="6568"/>
                      <a:pt x="1458" y="6568"/>
                    </a:cubicBezTo>
                    <a:cubicBezTo>
                      <a:pt x="1512" y="6473"/>
                      <a:pt x="1512" y="6473"/>
                      <a:pt x="1512" y="6473"/>
                    </a:cubicBezTo>
                    <a:cubicBezTo>
                      <a:pt x="1457" y="6442"/>
                      <a:pt x="1457" y="6442"/>
                      <a:pt x="1457" y="6442"/>
                    </a:cubicBezTo>
                    <a:lnTo>
                      <a:pt x="1403" y="6537"/>
                    </a:lnTo>
                    <a:close/>
                    <a:moveTo>
                      <a:pt x="1397" y="7341"/>
                    </a:moveTo>
                    <a:cubicBezTo>
                      <a:pt x="1413" y="7351"/>
                      <a:pt x="1443" y="7370"/>
                      <a:pt x="1473" y="7390"/>
                    </a:cubicBezTo>
                    <a:cubicBezTo>
                      <a:pt x="1496" y="7404"/>
                      <a:pt x="1519" y="7418"/>
                      <a:pt x="1537" y="7429"/>
                    </a:cubicBezTo>
                    <a:cubicBezTo>
                      <a:pt x="1545" y="7434"/>
                      <a:pt x="1553" y="7439"/>
                      <a:pt x="1558" y="7442"/>
                    </a:cubicBezTo>
                    <a:cubicBezTo>
                      <a:pt x="1560" y="7443"/>
                      <a:pt x="1561" y="7443"/>
                      <a:pt x="1563" y="7444"/>
                    </a:cubicBezTo>
                    <a:cubicBezTo>
                      <a:pt x="1635" y="7340"/>
                      <a:pt x="1635" y="7340"/>
                      <a:pt x="1635" y="7340"/>
                    </a:cubicBezTo>
                    <a:cubicBezTo>
                      <a:pt x="1635" y="7340"/>
                      <a:pt x="1635" y="7340"/>
                      <a:pt x="1635" y="7340"/>
                    </a:cubicBezTo>
                    <a:cubicBezTo>
                      <a:pt x="1633" y="7338"/>
                      <a:pt x="1633" y="7338"/>
                      <a:pt x="1633" y="7338"/>
                    </a:cubicBezTo>
                    <a:cubicBezTo>
                      <a:pt x="1638" y="7334"/>
                      <a:pt x="1660" y="7304"/>
                      <a:pt x="1686" y="7267"/>
                    </a:cubicBezTo>
                    <a:cubicBezTo>
                      <a:pt x="1686" y="7268"/>
                      <a:pt x="1686" y="7268"/>
                      <a:pt x="1686" y="7268"/>
                    </a:cubicBezTo>
                    <a:cubicBezTo>
                      <a:pt x="1702" y="7244"/>
                      <a:pt x="1702" y="7244"/>
                      <a:pt x="1702" y="7244"/>
                    </a:cubicBezTo>
                    <a:cubicBezTo>
                      <a:pt x="1706" y="7240"/>
                      <a:pt x="1709" y="7235"/>
                      <a:pt x="1712" y="7230"/>
                    </a:cubicBezTo>
                    <a:cubicBezTo>
                      <a:pt x="1645" y="7203"/>
                      <a:pt x="1547" y="7167"/>
                      <a:pt x="1534" y="7162"/>
                    </a:cubicBezTo>
                    <a:cubicBezTo>
                      <a:pt x="1413" y="7165"/>
                      <a:pt x="1413" y="7165"/>
                      <a:pt x="1413" y="7165"/>
                    </a:cubicBezTo>
                    <a:cubicBezTo>
                      <a:pt x="1423" y="7180"/>
                      <a:pt x="1423" y="7180"/>
                      <a:pt x="1423" y="7180"/>
                    </a:cubicBezTo>
                    <a:cubicBezTo>
                      <a:pt x="1422" y="7180"/>
                      <a:pt x="1422" y="7180"/>
                      <a:pt x="1422" y="7180"/>
                    </a:cubicBezTo>
                    <a:cubicBezTo>
                      <a:pt x="1428" y="7189"/>
                      <a:pt x="1428" y="7189"/>
                      <a:pt x="1428" y="7189"/>
                    </a:cubicBezTo>
                    <a:lnTo>
                      <a:pt x="1397" y="7341"/>
                    </a:lnTo>
                    <a:close/>
                    <a:moveTo>
                      <a:pt x="1497" y="7649"/>
                    </a:moveTo>
                    <a:cubicBezTo>
                      <a:pt x="1506" y="7660"/>
                      <a:pt x="1522" y="7678"/>
                      <a:pt x="1538" y="7697"/>
                    </a:cubicBezTo>
                    <a:cubicBezTo>
                      <a:pt x="1550" y="7712"/>
                      <a:pt x="1563" y="7727"/>
                      <a:pt x="1572" y="7738"/>
                    </a:cubicBezTo>
                    <a:cubicBezTo>
                      <a:pt x="1577" y="7744"/>
                      <a:pt x="1581" y="7748"/>
                      <a:pt x="1584" y="7752"/>
                    </a:cubicBezTo>
                    <a:cubicBezTo>
                      <a:pt x="1585" y="7753"/>
                      <a:pt x="1585" y="7754"/>
                      <a:pt x="1586" y="7755"/>
                    </a:cubicBezTo>
                    <a:cubicBezTo>
                      <a:pt x="1619" y="7756"/>
                      <a:pt x="1813" y="7764"/>
                      <a:pt x="1835" y="7765"/>
                    </a:cubicBezTo>
                    <a:cubicBezTo>
                      <a:pt x="1837" y="7748"/>
                      <a:pt x="1840" y="7730"/>
                      <a:pt x="1842" y="7712"/>
                    </a:cubicBezTo>
                    <a:cubicBezTo>
                      <a:pt x="1849" y="7649"/>
                      <a:pt x="1856" y="7588"/>
                      <a:pt x="1858" y="7573"/>
                    </a:cubicBezTo>
                    <a:cubicBezTo>
                      <a:pt x="1849" y="7562"/>
                      <a:pt x="1812" y="7518"/>
                      <a:pt x="1776" y="7473"/>
                    </a:cubicBezTo>
                    <a:cubicBezTo>
                      <a:pt x="1755" y="7447"/>
                      <a:pt x="1734" y="7421"/>
                      <a:pt x="1718" y="7401"/>
                    </a:cubicBezTo>
                    <a:cubicBezTo>
                      <a:pt x="1710" y="7391"/>
                      <a:pt x="1703" y="7383"/>
                      <a:pt x="1699" y="7377"/>
                    </a:cubicBezTo>
                    <a:cubicBezTo>
                      <a:pt x="1696" y="7374"/>
                      <a:pt x="1695" y="7371"/>
                      <a:pt x="1693" y="7369"/>
                    </a:cubicBezTo>
                    <a:lnTo>
                      <a:pt x="1497" y="7649"/>
                    </a:lnTo>
                    <a:close/>
                    <a:moveTo>
                      <a:pt x="1487" y="7663"/>
                    </a:moveTo>
                    <a:cubicBezTo>
                      <a:pt x="1337" y="7875"/>
                      <a:pt x="1337" y="7875"/>
                      <a:pt x="1337" y="7875"/>
                    </a:cubicBezTo>
                    <a:cubicBezTo>
                      <a:pt x="1527" y="8110"/>
                      <a:pt x="1527" y="8110"/>
                      <a:pt x="1527" y="8110"/>
                    </a:cubicBezTo>
                    <a:cubicBezTo>
                      <a:pt x="1555" y="8085"/>
                      <a:pt x="1615" y="8037"/>
                      <a:pt x="1674" y="7989"/>
                    </a:cubicBezTo>
                    <a:cubicBezTo>
                      <a:pt x="1744" y="7933"/>
                      <a:pt x="1811" y="7879"/>
                      <a:pt x="1820" y="7872"/>
                    </a:cubicBezTo>
                    <a:cubicBezTo>
                      <a:pt x="1823" y="7863"/>
                      <a:pt x="1828" y="7826"/>
                      <a:pt x="1833" y="7781"/>
                    </a:cubicBezTo>
                    <a:cubicBezTo>
                      <a:pt x="1805" y="7780"/>
                      <a:pt x="1605" y="7771"/>
                      <a:pt x="1583" y="7771"/>
                    </a:cubicBezTo>
                    <a:cubicBezTo>
                      <a:pt x="1583" y="7771"/>
                      <a:pt x="1583" y="7771"/>
                      <a:pt x="1583" y="7771"/>
                    </a:cubicBezTo>
                    <a:cubicBezTo>
                      <a:pt x="1583" y="7771"/>
                      <a:pt x="1582" y="7771"/>
                      <a:pt x="1582" y="7771"/>
                    </a:cubicBezTo>
                    <a:cubicBezTo>
                      <a:pt x="1582" y="7771"/>
                      <a:pt x="1581" y="7772"/>
                      <a:pt x="1579" y="7771"/>
                    </a:cubicBezTo>
                    <a:cubicBezTo>
                      <a:pt x="1573" y="7770"/>
                      <a:pt x="1573" y="7770"/>
                      <a:pt x="1573" y="7770"/>
                    </a:cubicBezTo>
                    <a:cubicBezTo>
                      <a:pt x="1573" y="7765"/>
                      <a:pt x="1573" y="7765"/>
                      <a:pt x="1573" y="7765"/>
                    </a:cubicBezTo>
                    <a:cubicBezTo>
                      <a:pt x="1568" y="7758"/>
                      <a:pt x="1545" y="7730"/>
                      <a:pt x="1523" y="7705"/>
                    </a:cubicBezTo>
                    <a:cubicBezTo>
                      <a:pt x="1509" y="7689"/>
                      <a:pt x="1496" y="7673"/>
                      <a:pt x="1487" y="7663"/>
                    </a:cubicBezTo>
                    <a:close/>
                    <a:moveTo>
                      <a:pt x="1306" y="7908"/>
                    </a:moveTo>
                    <a:cubicBezTo>
                      <a:pt x="1221" y="7977"/>
                      <a:pt x="1221" y="7977"/>
                      <a:pt x="1221" y="7977"/>
                    </a:cubicBezTo>
                    <a:cubicBezTo>
                      <a:pt x="1344" y="8162"/>
                      <a:pt x="1344" y="8162"/>
                      <a:pt x="1344" y="8162"/>
                    </a:cubicBezTo>
                    <a:cubicBezTo>
                      <a:pt x="1326" y="8306"/>
                      <a:pt x="1326" y="8306"/>
                      <a:pt x="1326" y="8306"/>
                    </a:cubicBezTo>
                    <a:cubicBezTo>
                      <a:pt x="1536" y="8461"/>
                      <a:pt x="1536" y="8461"/>
                      <a:pt x="1536" y="8461"/>
                    </a:cubicBezTo>
                    <a:cubicBezTo>
                      <a:pt x="1577" y="8392"/>
                      <a:pt x="1612" y="8331"/>
                      <a:pt x="1627" y="8306"/>
                    </a:cubicBezTo>
                    <a:lnTo>
                      <a:pt x="1306" y="7908"/>
                    </a:lnTo>
                    <a:close/>
                    <a:moveTo>
                      <a:pt x="1208" y="7987"/>
                    </a:moveTo>
                    <a:cubicBezTo>
                      <a:pt x="1096" y="8077"/>
                      <a:pt x="1096" y="8077"/>
                      <a:pt x="1096" y="8077"/>
                    </a:cubicBezTo>
                    <a:cubicBezTo>
                      <a:pt x="1096" y="8105"/>
                      <a:pt x="1090" y="8262"/>
                      <a:pt x="1090" y="8314"/>
                    </a:cubicBezTo>
                    <a:cubicBezTo>
                      <a:pt x="1310" y="8302"/>
                      <a:pt x="1310" y="8302"/>
                      <a:pt x="1310" y="8302"/>
                    </a:cubicBezTo>
                    <a:cubicBezTo>
                      <a:pt x="1327" y="8166"/>
                      <a:pt x="1327" y="8166"/>
                      <a:pt x="1327" y="8166"/>
                    </a:cubicBezTo>
                    <a:lnTo>
                      <a:pt x="1208" y="7987"/>
                    </a:lnTo>
                    <a:close/>
                    <a:moveTo>
                      <a:pt x="990" y="8489"/>
                    </a:moveTo>
                    <a:cubicBezTo>
                      <a:pt x="964" y="8529"/>
                      <a:pt x="942" y="8563"/>
                      <a:pt x="934" y="8575"/>
                    </a:cubicBezTo>
                    <a:cubicBezTo>
                      <a:pt x="948" y="8593"/>
                      <a:pt x="1013" y="8673"/>
                      <a:pt x="1077" y="8751"/>
                    </a:cubicBezTo>
                    <a:cubicBezTo>
                      <a:pt x="1136" y="8824"/>
                      <a:pt x="1194" y="8894"/>
                      <a:pt x="1210" y="8913"/>
                    </a:cubicBezTo>
                    <a:cubicBezTo>
                      <a:pt x="1232" y="8892"/>
                      <a:pt x="1252" y="8873"/>
                      <a:pt x="1271" y="8856"/>
                    </a:cubicBezTo>
                    <a:cubicBezTo>
                      <a:pt x="1295" y="8832"/>
                      <a:pt x="1315" y="8813"/>
                      <a:pt x="1330" y="8799"/>
                    </a:cubicBezTo>
                    <a:cubicBezTo>
                      <a:pt x="1336" y="8793"/>
                      <a:pt x="1342" y="8788"/>
                      <a:pt x="1346" y="8785"/>
                    </a:cubicBezTo>
                    <a:cubicBezTo>
                      <a:pt x="1352" y="8777"/>
                      <a:pt x="1352" y="8777"/>
                      <a:pt x="1352" y="8777"/>
                    </a:cubicBezTo>
                    <a:cubicBezTo>
                      <a:pt x="1353" y="8775"/>
                      <a:pt x="1355" y="8772"/>
                      <a:pt x="1357" y="8769"/>
                    </a:cubicBezTo>
                    <a:cubicBezTo>
                      <a:pt x="1305" y="8729"/>
                      <a:pt x="1234" y="8675"/>
                      <a:pt x="1166" y="8623"/>
                    </a:cubicBezTo>
                    <a:cubicBezTo>
                      <a:pt x="1087" y="8562"/>
                      <a:pt x="1010" y="8504"/>
                      <a:pt x="990" y="8489"/>
                    </a:cubicBezTo>
                    <a:close/>
                    <a:moveTo>
                      <a:pt x="1113" y="9068"/>
                    </a:moveTo>
                    <a:cubicBezTo>
                      <a:pt x="1016" y="9159"/>
                      <a:pt x="922" y="9249"/>
                      <a:pt x="882" y="9287"/>
                    </a:cubicBezTo>
                    <a:cubicBezTo>
                      <a:pt x="900" y="9291"/>
                      <a:pt x="918" y="9298"/>
                      <a:pt x="937" y="9310"/>
                    </a:cubicBezTo>
                    <a:cubicBezTo>
                      <a:pt x="991" y="9345"/>
                      <a:pt x="1023" y="9413"/>
                      <a:pt x="1049" y="9473"/>
                    </a:cubicBezTo>
                    <a:cubicBezTo>
                      <a:pt x="1066" y="9514"/>
                      <a:pt x="1078" y="9551"/>
                      <a:pt x="1084" y="9571"/>
                    </a:cubicBezTo>
                    <a:cubicBezTo>
                      <a:pt x="1165" y="9527"/>
                      <a:pt x="1165" y="9527"/>
                      <a:pt x="1165" y="9527"/>
                    </a:cubicBezTo>
                    <a:cubicBezTo>
                      <a:pt x="1164" y="9525"/>
                      <a:pt x="1163" y="9523"/>
                      <a:pt x="1162" y="9520"/>
                    </a:cubicBezTo>
                    <a:cubicBezTo>
                      <a:pt x="1159" y="9514"/>
                      <a:pt x="1155" y="9507"/>
                      <a:pt x="1151" y="9498"/>
                    </a:cubicBezTo>
                    <a:cubicBezTo>
                      <a:pt x="1149" y="9500"/>
                      <a:pt x="1149" y="9500"/>
                      <a:pt x="1149" y="9500"/>
                    </a:cubicBezTo>
                    <a:cubicBezTo>
                      <a:pt x="1078" y="9360"/>
                      <a:pt x="1078" y="9360"/>
                      <a:pt x="1078" y="9360"/>
                    </a:cubicBezTo>
                    <a:cubicBezTo>
                      <a:pt x="1087" y="9356"/>
                      <a:pt x="1087" y="9356"/>
                      <a:pt x="1087" y="9356"/>
                    </a:cubicBezTo>
                    <a:cubicBezTo>
                      <a:pt x="1065" y="9306"/>
                      <a:pt x="1047" y="9266"/>
                      <a:pt x="1047" y="9266"/>
                    </a:cubicBezTo>
                    <a:cubicBezTo>
                      <a:pt x="1044" y="9259"/>
                      <a:pt x="1044" y="9259"/>
                      <a:pt x="1044" y="9259"/>
                    </a:cubicBezTo>
                    <a:cubicBezTo>
                      <a:pt x="1595" y="8915"/>
                      <a:pt x="1595" y="8915"/>
                      <a:pt x="1595" y="8915"/>
                    </a:cubicBezTo>
                    <a:cubicBezTo>
                      <a:pt x="1564" y="8849"/>
                      <a:pt x="1534" y="8784"/>
                      <a:pt x="1511" y="8734"/>
                    </a:cubicBezTo>
                    <a:cubicBezTo>
                      <a:pt x="1498" y="8706"/>
                      <a:pt x="1488" y="8683"/>
                      <a:pt x="1480" y="8666"/>
                    </a:cubicBezTo>
                    <a:cubicBezTo>
                      <a:pt x="1478" y="8662"/>
                      <a:pt x="1477" y="8659"/>
                      <a:pt x="1475" y="8656"/>
                    </a:cubicBezTo>
                    <a:cubicBezTo>
                      <a:pt x="1460" y="8682"/>
                      <a:pt x="1445" y="8708"/>
                      <a:pt x="1432" y="8729"/>
                    </a:cubicBezTo>
                    <a:cubicBezTo>
                      <a:pt x="1419" y="8752"/>
                      <a:pt x="1408" y="8771"/>
                      <a:pt x="1400" y="8785"/>
                    </a:cubicBezTo>
                    <a:cubicBezTo>
                      <a:pt x="1396" y="8792"/>
                      <a:pt x="1393" y="8797"/>
                      <a:pt x="1391" y="8801"/>
                    </a:cubicBezTo>
                    <a:cubicBezTo>
                      <a:pt x="1390" y="8802"/>
                      <a:pt x="1389" y="8804"/>
                      <a:pt x="1388" y="8805"/>
                    </a:cubicBezTo>
                    <a:cubicBezTo>
                      <a:pt x="1388" y="8805"/>
                      <a:pt x="1388" y="8806"/>
                      <a:pt x="1388" y="8806"/>
                    </a:cubicBezTo>
                    <a:cubicBezTo>
                      <a:pt x="1388" y="8806"/>
                      <a:pt x="1388" y="8806"/>
                      <a:pt x="1388" y="8806"/>
                    </a:cubicBezTo>
                    <a:cubicBezTo>
                      <a:pt x="1387" y="8806"/>
                      <a:pt x="1387" y="8807"/>
                      <a:pt x="1387" y="8807"/>
                    </a:cubicBezTo>
                    <a:cubicBezTo>
                      <a:pt x="1387" y="8807"/>
                      <a:pt x="1387" y="8807"/>
                      <a:pt x="1387" y="8808"/>
                    </a:cubicBezTo>
                    <a:cubicBezTo>
                      <a:pt x="1386" y="8808"/>
                      <a:pt x="1386" y="8808"/>
                      <a:pt x="1386" y="8809"/>
                    </a:cubicBezTo>
                    <a:cubicBezTo>
                      <a:pt x="1385" y="8809"/>
                      <a:pt x="1385" y="8810"/>
                      <a:pt x="1384" y="8811"/>
                    </a:cubicBezTo>
                    <a:cubicBezTo>
                      <a:pt x="1383" y="8812"/>
                      <a:pt x="1382" y="8813"/>
                      <a:pt x="1381" y="8813"/>
                    </a:cubicBezTo>
                    <a:cubicBezTo>
                      <a:pt x="1381" y="8813"/>
                      <a:pt x="1381" y="8813"/>
                      <a:pt x="1381" y="8813"/>
                    </a:cubicBezTo>
                    <a:cubicBezTo>
                      <a:pt x="1364" y="8829"/>
                      <a:pt x="1236" y="8950"/>
                      <a:pt x="1113" y="9068"/>
                    </a:cubicBezTo>
                    <a:close/>
                    <a:moveTo>
                      <a:pt x="1248" y="9432"/>
                    </a:moveTo>
                    <a:cubicBezTo>
                      <a:pt x="1247" y="9429"/>
                      <a:pt x="1247" y="9429"/>
                      <a:pt x="1247" y="9429"/>
                    </a:cubicBezTo>
                    <a:cubicBezTo>
                      <a:pt x="1244" y="9418"/>
                      <a:pt x="1244" y="9418"/>
                      <a:pt x="1244" y="9418"/>
                    </a:cubicBezTo>
                    <a:cubicBezTo>
                      <a:pt x="1244" y="9418"/>
                      <a:pt x="1244" y="9418"/>
                      <a:pt x="1244" y="9418"/>
                    </a:cubicBezTo>
                    <a:cubicBezTo>
                      <a:pt x="1196" y="9319"/>
                      <a:pt x="1196" y="9319"/>
                      <a:pt x="1196" y="9319"/>
                    </a:cubicBezTo>
                    <a:cubicBezTo>
                      <a:pt x="1107" y="9361"/>
                      <a:pt x="1107" y="9361"/>
                      <a:pt x="1107" y="9361"/>
                    </a:cubicBezTo>
                    <a:cubicBezTo>
                      <a:pt x="1112" y="9372"/>
                      <a:pt x="1117" y="9382"/>
                      <a:pt x="1122" y="9393"/>
                    </a:cubicBezTo>
                    <a:cubicBezTo>
                      <a:pt x="1135" y="9424"/>
                      <a:pt x="1149" y="9454"/>
                      <a:pt x="1160" y="9478"/>
                    </a:cubicBezTo>
                    <a:lnTo>
                      <a:pt x="1248" y="9432"/>
                    </a:lnTo>
                    <a:close/>
                    <a:moveTo>
                      <a:pt x="1166" y="9491"/>
                    </a:moveTo>
                    <a:cubicBezTo>
                      <a:pt x="1171" y="9501"/>
                      <a:pt x="1175" y="9509"/>
                      <a:pt x="1178" y="9515"/>
                    </a:cubicBezTo>
                    <a:cubicBezTo>
                      <a:pt x="1179" y="9517"/>
                      <a:pt x="1179" y="9518"/>
                      <a:pt x="1180" y="9520"/>
                    </a:cubicBezTo>
                    <a:cubicBezTo>
                      <a:pt x="1270" y="9471"/>
                      <a:pt x="1270" y="9471"/>
                      <a:pt x="1270" y="9471"/>
                    </a:cubicBezTo>
                    <a:cubicBezTo>
                      <a:pt x="1257" y="9443"/>
                      <a:pt x="1257" y="9443"/>
                      <a:pt x="1257" y="9443"/>
                    </a:cubicBezTo>
                    <a:lnTo>
                      <a:pt x="1166" y="9491"/>
                    </a:lnTo>
                    <a:close/>
                    <a:moveTo>
                      <a:pt x="1285" y="9463"/>
                    </a:moveTo>
                    <a:cubicBezTo>
                      <a:pt x="1380" y="9412"/>
                      <a:pt x="1380" y="9412"/>
                      <a:pt x="1380" y="9412"/>
                    </a:cubicBezTo>
                    <a:cubicBezTo>
                      <a:pt x="1363" y="9374"/>
                      <a:pt x="1363" y="9374"/>
                      <a:pt x="1363" y="9374"/>
                    </a:cubicBezTo>
                    <a:cubicBezTo>
                      <a:pt x="1265" y="9423"/>
                      <a:pt x="1265" y="9423"/>
                      <a:pt x="1265" y="9423"/>
                    </a:cubicBezTo>
                    <a:lnTo>
                      <a:pt x="1285" y="9463"/>
                    </a:lnTo>
                    <a:close/>
                    <a:moveTo>
                      <a:pt x="1395" y="9404"/>
                    </a:moveTo>
                    <a:cubicBezTo>
                      <a:pt x="1503" y="9345"/>
                      <a:pt x="1503" y="9345"/>
                      <a:pt x="1503" y="9345"/>
                    </a:cubicBezTo>
                    <a:cubicBezTo>
                      <a:pt x="1482" y="9299"/>
                      <a:pt x="1482" y="9299"/>
                      <a:pt x="1482" y="9299"/>
                    </a:cubicBezTo>
                    <a:cubicBezTo>
                      <a:pt x="1372" y="9353"/>
                      <a:pt x="1372" y="9353"/>
                      <a:pt x="1372" y="9353"/>
                    </a:cubicBezTo>
                    <a:lnTo>
                      <a:pt x="1395" y="9404"/>
                    </a:lnTo>
                    <a:close/>
                    <a:moveTo>
                      <a:pt x="1518" y="9338"/>
                    </a:moveTo>
                    <a:cubicBezTo>
                      <a:pt x="1628" y="9278"/>
                      <a:pt x="1628" y="9278"/>
                      <a:pt x="1628" y="9278"/>
                    </a:cubicBezTo>
                    <a:cubicBezTo>
                      <a:pt x="1603" y="9223"/>
                      <a:pt x="1603" y="9223"/>
                      <a:pt x="1603" y="9223"/>
                    </a:cubicBezTo>
                    <a:cubicBezTo>
                      <a:pt x="1491" y="9277"/>
                      <a:pt x="1491" y="9277"/>
                      <a:pt x="1491" y="9277"/>
                    </a:cubicBezTo>
                    <a:cubicBezTo>
                      <a:pt x="1492" y="9282"/>
                      <a:pt x="1492" y="9282"/>
                      <a:pt x="1492" y="9282"/>
                    </a:cubicBezTo>
                    <a:lnTo>
                      <a:pt x="1518" y="9338"/>
                    </a:lnTo>
                    <a:close/>
                    <a:moveTo>
                      <a:pt x="1643" y="9270"/>
                    </a:moveTo>
                    <a:cubicBezTo>
                      <a:pt x="1737" y="9219"/>
                      <a:pt x="1737" y="9219"/>
                      <a:pt x="1737" y="9219"/>
                    </a:cubicBezTo>
                    <a:cubicBezTo>
                      <a:pt x="1732" y="9209"/>
                      <a:pt x="1721" y="9185"/>
                      <a:pt x="1706" y="9153"/>
                    </a:cubicBezTo>
                    <a:cubicBezTo>
                      <a:pt x="1610" y="9201"/>
                      <a:pt x="1610" y="9201"/>
                      <a:pt x="1610" y="9201"/>
                    </a:cubicBezTo>
                    <a:lnTo>
                      <a:pt x="1643" y="9270"/>
                    </a:lnTo>
                    <a:close/>
                    <a:moveTo>
                      <a:pt x="1752" y="9211"/>
                    </a:moveTo>
                    <a:cubicBezTo>
                      <a:pt x="1856" y="9155"/>
                      <a:pt x="1856" y="9155"/>
                      <a:pt x="1856" y="9155"/>
                    </a:cubicBezTo>
                    <a:cubicBezTo>
                      <a:pt x="1821" y="9080"/>
                      <a:pt x="1821" y="9080"/>
                      <a:pt x="1821" y="9080"/>
                    </a:cubicBezTo>
                    <a:cubicBezTo>
                      <a:pt x="1714" y="9131"/>
                      <a:pt x="1714" y="9131"/>
                      <a:pt x="1714" y="9131"/>
                    </a:cubicBezTo>
                    <a:cubicBezTo>
                      <a:pt x="1732" y="9170"/>
                      <a:pt x="1746" y="9199"/>
                      <a:pt x="1752" y="9211"/>
                    </a:cubicBezTo>
                    <a:close/>
                    <a:moveTo>
                      <a:pt x="1871" y="9147"/>
                    </a:moveTo>
                    <a:cubicBezTo>
                      <a:pt x="1975" y="9091"/>
                      <a:pt x="1975" y="9091"/>
                      <a:pt x="1975" y="9091"/>
                    </a:cubicBezTo>
                    <a:cubicBezTo>
                      <a:pt x="1973" y="9085"/>
                      <a:pt x="1967" y="9074"/>
                      <a:pt x="1960" y="9058"/>
                    </a:cubicBezTo>
                    <a:cubicBezTo>
                      <a:pt x="1853" y="9110"/>
                      <a:pt x="1853" y="9110"/>
                      <a:pt x="1853" y="9110"/>
                    </a:cubicBezTo>
                    <a:lnTo>
                      <a:pt x="1871" y="9147"/>
                    </a:lnTo>
                    <a:close/>
                    <a:moveTo>
                      <a:pt x="1985" y="9074"/>
                    </a:moveTo>
                    <a:cubicBezTo>
                      <a:pt x="1987" y="9078"/>
                      <a:pt x="1988" y="9080"/>
                      <a:pt x="1990" y="9083"/>
                    </a:cubicBezTo>
                    <a:cubicBezTo>
                      <a:pt x="2087" y="9031"/>
                      <a:pt x="2087" y="9031"/>
                      <a:pt x="2087" y="9031"/>
                    </a:cubicBezTo>
                    <a:cubicBezTo>
                      <a:pt x="2065" y="8984"/>
                      <a:pt x="2065" y="8984"/>
                      <a:pt x="2065" y="8984"/>
                    </a:cubicBezTo>
                    <a:cubicBezTo>
                      <a:pt x="1969" y="9034"/>
                      <a:pt x="1969" y="9034"/>
                      <a:pt x="1969" y="9034"/>
                    </a:cubicBezTo>
                    <a:cubicBezTo>
                      <a:pt x="1969" y="9035"/>
                      <a:pt x="1969" y="9035"/>
                      <a:pt x="1969" y="9035"/>
                    </a:cubicBezTo>
                    <a:cubicBezTo>
                      <a:pt x="1968" y="9035"/>
                      <a:pt x="1968" y="9035"/>
                      <a:pt x="1968" y="9035"/>
                    </a:cubicBezTo>
                    <a:cubicBezTo>
                      <a:pt x="1975" y="9051"/>
                      <a:pt x="1981" y="9064"/>
                      <a:pt x="1985" y="9074"/>
                    </a:cubicBezTo>
                    <a:close/>
                    <a:moveTo>
                      <a:pt x="2194" y="8974"/>
                    </a:moveTo>
                    <a:cubicBezTo>
                      <a:pt x="2232" y="8955"/>
                      <a:pt x="2301" y="8921"/>
                      <a:pt x="2387" y="8875"/>
                    </a:cubicBezTo>
                    <a:cubicBezTo>
                      <a:pt x="2440" y="8848"/>
                      <a:pt x="2499" y="8816"/>
                      <a:pt x="2563" y="8782"/>
                    </a:cubicBezTo>
                    <a:cubicBezTo>
                      <a:pt x="2514" y="8679"/>
                      <a:pt x="2514" y="8679"/>
                      <a:pt x="2514" y="8679"/>
                    </a:cubicBezTo>
                    <a:cubicBezTo>
                      <a:pt x="2501" y="8687"/>
                      <a:pt x="2419" y="8734"/>
                      <a:pt x="2336" y="8782"/>
                    </a:cubicBezTo>
                    <a:cubicBezTo>
                      <a:pt x="2290" y="8808"/>
                      <a:pt x="2245" y="8835"/>
                      <a:pt x="2211" y="8855"/>
                    </a:cubicBezTo>
                    <a:cubicBezTo>
                      <a:pt x="2194" y="8865"/>
                      <a:pt x="2180" y="8873"/>
                      <a:pt x="2170" y="8879"/>
                    </a:cubicBezTo>
                    <a:cubicBezTo>
                      <a:pt x="2165" y="8882"/>
                      <a:pt x="2162" y="8885"/>
                      <a:pt x="2159" y="8887"/>
                    </a:cubicBezTo>
                    <a:cubicBezTo>
                      <a:pt x="2158" y="8887"/>
                      <a:pt x="2157" y="8888"/>
                      <a:pt x="2157" y="8888"/>
                    </a:cubicBezTo>
                    <a:cubicBezTo>
                      <a:pt x="2172" y="8917"/>
                      <a:pt x="2172" y="8917"/>
                      <a:pt x="2172" y="8917"/>
                    </a:cubicBezTo>
                    <a:cubicBezTo>
                      <a:pt x="2168" y="8919"/>
                      <a:pt x="2168" y="8919"/>
                      <a:pt x="2168" y="8919"/>
                    </a:cubicBezTo>
                    <a:lnTo>
                      <a:pt x="2194" y="8974"/>
                    </a:lnTo>
                    <a:close/>
                    <a:moveTo>
                      <a:pt x="2603" y="8761"/>
                    </a:moveTo>
                    <a:cubicBezTo>
                      <a:pt x="2684" y="8718"/>
                      <a:pt x="2770" y="8672"/>
                      <a:pt x="2857" y="8626"/>
                    </a:cubicBezTo>
                    <a:cubicBezTo>
                      <a:pt x="2599" y="8368"/>
                      <a:pt x="2599" y="8368"/>
                      <a:pt x="2599" y="8368"/>
                    </a:cubicBezTo>
                    <a:cubicBezTo>
                      <a:pt x="2595" y="8370"/>
                      <a:pt x="2587" y="8373"/>
                      <a:pt x="2579" y="8376"/>
                    </a:cubicBezTo>
                    <a:cubicBezTo>
                      <a:pt x="2795" y="8585"/>
                      <a:pt x="2795" y="8585"/>
                      <a:pt x="2795" y="8585"/>
                    </a:cubicBezTo>
                    <a:cubicBezTo>
                      <a:pt x="2750" y="8594"/>
                      <a:pt x="2750" y="8594"/>
                      <a:pt x="2750" y="8594"/>
                    </a:cubicBezTo>
                    <a:cubicBezTo>
                      <a:pt x="2654" y="8501"/>
                      <a:pt x="2654" y="8501"/>
                      <a:pt x="2654" y="8501"/>
                    </a:cubicBezTo>
                    <a:cubicBezTo>
                      <a:pt x="2642" y="8619"/>
                      <a:pt x="2642" y="8619"/>
                      <a:pt x="2642" y="8619"/>
                    </a:cubicBezTo>
                    <a:cubicBezTo>
                      <a:pt x="2565" y="8639"/>
                      <a:pt x="2565" y="8639"/>
                      <a:pt x="2565" y="8639"/>
                    </a:cubicBezTo>
                    <a:cubicBezTo>
                      <a:pt x="2469" y="8419"/>
                      <a:pt x="2469" y="8419"/>
                      <a:pt x="2469" y="8419"/>
                    </a:cubicBezTo>
                    <a:cubicBezTo>
                      <a:pt x="2576" y="8377"/>
                      <a:pt x="2576" y="8377"/>
                      <a:pt x="2576" y="8377"/>
                    </a:cubicBezTo>
                    <a:cubicBezTo>
                      <a:pt x="2560" y="8383"/>
                      <a:pt x="2540" y="8390"/>
                      <a:pt x="2520" y="8398"/>
                    </a:cubicBezTo>
                    <a:cubicBezTo>
                      <a:pt x="2499" y="8406"/>
                      <a:pt x="2478" y="8413"/>
                      <a:pt x="2462" y="8420"/>
                    </a:cubicBezTo>
                    <a:cubicBezTo>
                      <a:pt x="2454" y="8423"/>
                      <a:pt x="2448" y="8425"/>
                      <a:pt x="2443" y="8427"/>
                    </a:cubicBezTo>
                    <a:cubicBezTo>
                      <a:pt x="2443" y="8428"/>
                      <a:pt x="2442" y="8428"/>
                      <a:pt x="2442" y="8428"/>
                    </a:cubicBezTo>
                    <a:cubicBezTo>
                      <a:pt x="2544" y="8641"/>
                      <a:pt x="2544" y="8641"/>
                      <a:pt x="2544" y="8641"/>
                    </a:cubicBezTo>
                    <a:cubicBezTo>
                      <a:pt x="2546" y="8640"/>
                      <a:pt x="2546" y="8640"/>
                      <a:pt x="2546" y="8640"/>
                    </a:cubicBezTo>
                    <a:lnTo>
                      <a:pt x="2603" y="8761"/>
                    </a:lnTo>
                    <a:close/>
                    <a:moveTo>
                      <a:pt x="2575" y="8392"/>
                    </a:moveTo>
                    <a:cubicBezTo>
                      <a:pt x="2487" y="8427"/>
                      <a:pt x="2487" y="8427"/>
                      <a:pt x="2487" y="8427"/>
                    </a:cubicBezTo>
                    <a:cubicBezTo>
                      <a:pt x="2573" y="8623"/>
                      <a:pt x="2573" y="8623"/>
                      <a:pt x="2573" y="8623"/>
                    </a:cubicBezTo>
                    <a:cubicBezTo>
                      <a:pt x="2629" y="8608"/>
                      <a:pt x="2629" y="8608"/>
                      <a:pt x="2629" y="8608"/>
                    </a:cubicBezTo>
                    <a:cubicBezTo>
                      <a:pt x="2641" y="8500"/>
                      <a:pt x="2641" y="8500"/>
                      <a:pt x="2641" y="8500"/>
                    </a:cubicBezTo>
                    <a:cubicBezTo>
                      <a:pt x="2644" y="8471"/>
                      <a:pt x="2644" y="8471"/>
                      <a:pt x="2644" y="8471"/>
                    </a:cubicBezTo>
                    <a:cubicBezTo>
                      <a:pt x="2664" y="8491"/>
                      <a:pt x="2664" y="8491"/>
                      <a:pt x="2664" y="8491"/>
                    </a:cubicBezTo>
                    <a:cubicBezTo>
                      <a:pt x="2754" y="8579"/>
                      <a:pt x="2754" y="8579"/>
                      <a:pt x="2754" y="8579"/>
                    </a:cubicBezTo>
                    <a:cubicBezTo>
                      <a:pt x="2766" y="8577"/>
                      <a:pt x="2766" y="8577"/>
                      <a:pt x="2766" y="8577"/>
                    </a:cubicBezTo>
                    <a:lnTo>
                      <a:pt x="2575" y="8392"/>
                    </a:lnTo>
                    <a:close/>
                    <a:moveTo>
                      <a:pt x="3353" y="8138"/>
                    </a:moveTo>
                    <a:cubicBezTo>
                      <a:pt x="3354" y="8139"/>
                      <a:pt x="3355" y="8140"/>
                      <a:pt x="3355" y="8140"/>
                    </a:cubicBezTo>
                    <a:cubicBezTo>
                      <a:pt x="3360" y="8141"/>
                      <a:pt x="3366" y="8143"/>
                      <a:pt x="3376" y="8146"/>
                    </a:cubicBezTo>
                    <a:cubicBezTo>
                      <a:pt x="3405" y="8155"/>
                      <a:pt x="3456" y="8170"/>
                      <a:pt x="3472" y="8175"/>
                    </a:cubicBezTo>
                    <a:cubicBezTo>
                      <a:pt x="3655" y="7957"/>
                      <a:pt x="3655" y="7957"/>
                      <a:pt x="3655" y="7957"/>
                    </a:cubicBezTo>
                    <a:cubicBezTo>
                      <a:pt x="3511" y="7569"/>
                      <a:pt x="3511" y="7569"/>
                      <a:pt x="3511" y="7569"/>
                    </a:cubicBezTo>
                    <a:cubicBezTo>
                      <a:pt x="3434" y="7552"/>
                      <a:pt x="3434" y="7552"/>
                      <a:pt x="3434" y="7552"/>
                    </a:cubicBezTo>
                    <a:cubicBezTo>
                      <a:pt x="3056" y="7846"/>
                      <a:pt x="3056" y="7846"/>
                      <a:pt x="3056" y="7846"/>
                    </a:cubicBezTo>
                    <a:cubicBezTo>
                      <a:pt x="3089" y="7878"/>
                      <a:pt x="3128" y="7916"/>
                      <a:pt x="3168" y="7956"/>
                    </a:cubicBezTo>
                    <a:cubicBezTo>
                      <a:pt x="3215" y="8002"/>
                      <a:pt x="3263" y="8049"/>
                      <a:pt x="3298" y="8084"/>
                    </a:cubicBezTo>
                    <a:cubicBezTo>
                      <a:pt x="3316" y="8102"/>
                      <a:pt x="3331" y="8116"/>
                      <a:pt x="3341" y="8126"/>
                    </a:cubicBezTo>
                    <a:cubicBezTo>
                      <a:pt x="3346" y="8131"/>
                      <a:pt x="3350" y="8135"/>
                      <a:pt x="3353" y="8138"/>
                    </a:cubicBezTo>
                    <a:close/>
                    <a:moveTo>
                      <a:pt x="3674" y="7961"/>
                    </a:moveTo>
                    <a:cubicBezTo>
                      <a:pt x="3726" y="7979"/>
                      <a:pt x="3726" y="7979"/>
                      <a:pt x="3726" y="7979"/>
                    </a:cubicBezTo>
                    <a:cubicBezTo>
                      <a:pt x="3881" y="7909"/>
                      <a:pt x="3881" y="7909"/>
                      <a:pt x="3881" y="7909"/>
                    </a:cubicBezTo>
                    <a:cubicBezTo>
                      <a:pt x="3881" y="7908"/>
                      <a:pt x="3881" y="7907"/>
                      <a:pt x="3881" y="7906"/>
                    </a:cubicBezTo>
                    <a:cubicBezTo>
                      <a:pt x="3881" y="7905"/>
                      <a:pt x="3880" y="7904"/>
                      <a:pt x="3880" y="7903"/>
                    </a:cubicBezTo>
                    <a:cubicBezTo>
                      <a:pt x="3880" y="7903"/>
                      <a:pt x="3880" y="7903"/>
                      <a:pt x="3880" y="7903"/>
                    </a:cubicBezTo>
                    <a:cubicBezTo>
                      <a:pt x="3874" y="7865"/>
                      <a:pt x="3857" y="7760"/>
                      <a:pt x="3857" y="7700"/>
                    </a:cubicBezTo>
                    <a:cubicBezTo>
                      <a:pt x="3857" y="7697"/>
                      <a:pt x="3857" y="7695"/>
                      <a:pt x="3857" y="7693"/>
                    </a:cubicBezTo>
                    <a:cubicBezTo>
                      <a:pt x="3857" y="7691"/>
                      <a:pt x="3856" y="7689"/>
                      <a:pt x="3856" y="7686"/>
                    </a:cubicBezTo>
                    <a:cubicBezTo>
                      <a:pt x="3856" y="7684"/>
                      <a:pt x="3856" y="7681"/>
                      <a:pt x="3855" y="7679"/>
                    </a:cubicBezTo>
                    <a:cubicBezTo>
                      <a:pt x="3589" y="7733"/>
                      <a:pt x="3589" y="7733"/>
                      <a:pt x="3589" y="7733"/>
                    </a:cubicBezTo>
                    <a:lnTo>
                      <a:pt x="3674" y="7961"/>
                    </a:lnTo>
                    <a:close/>
                    <a:moveTo>
                      <a:pt x="3904" y="7587"/>
                    </a:moveTo>
                    <a:cubicBezTo>
                      <a:pt x="3906" y="7590"/>
                      <a:pt x="3906" y="7590"/>
                      <a:pt x="3906" y="7590"/>
                    </a:cubicBezTo>
                    <a:cubicBezTo>
                      <a:pt x="3908" y="7593"/>
                      <a:pt x="3915" y="7605"/>
                      <a:pt x="3918" y="7626"/>
                    </a:cubicBezTo>
                    <a:cubicBezTo>
                      <a:pt x="3919" y="7630"/>
                      <a:pt x="3919" y="7634"/>
                      <a:pt x="3920" y="7638"/>
                    </a:cubicBezTo>
                    <a:cubicBezTo>
                      <a:pt x="4033" y="7589"/>
                      <a:pt x="4033" y="7589"/>
                      <a:pt x="4033" y="7589"/>
                    </a:cubicBezTo>
                    <a:cubicBezTo>
                      <a:pt x="4144" y="7534"/>
                      <a:pt x="4144" y="7534"/>
                      <a:pt x="4144" y="7534"/>
                    </a:cubicBezTo>
                    <a:cubicBezTo>
                      <a:pt x="4143" y="7531"/>
                      <a:pt x="4143" y="7531"/>
                      <a:pt x="4143" y="7531"/>
                    </a:cubicBezTo>
                    <a:cubicBezTo>
                      <a:pt x="4143" y="7531"/>
                      <a:pt x="4143" y="7531"/>
                      <a:pt x="4143" y="7531"/>
                    </a:cubicBezTo>
                    <a:cubicBezTo>
                      <a:pt x="4143" y="7531"/>
                      <a:pt x="4158" y="7525"/>
                      <a:pt x="4181" y="7514"/>
                    </a:cubicBezTo>
                    <a:cubicBezTo>
                      <a:pt x="4166" y="7500"/>
                      <a:pt x="4102" y="7441"/>
                      <a:pt x="4039" y="7381"/>
                    </a:cubicBezTo>
                    <a:cubicBezTo>
                      <a:pt x="4002" y="7347"/>
                      <a:pt x="3965" y="7313"/>
                      <a:pt x="3938" y="7287"/>
                    </a:cubicBezTo>
                    <a:cubicBezTo>
                      <a:pt x="3924" y="7274"/>
                      <a:pt x="3913" y="7264"/>
                      <a:pt x="3905" y="7256"/>
                    </a:cubicBezTo>
                    <a:cubicBezTo>
                      <a:pt x="3901" y="7252"/>
                      <a:pt x="3898" y="7249"/>
                      <a:pt x="3896" y="7247"/>
                    </a:cubicBezTo>
                    <a:cubicBezTo>
                      <a:pt x="3895" y="7247"/>
                      <a:pt x="3895" y="7246"/>
                      <a:pt x="3895" y="7246"/>
                    </a:cubicBezTo>
                    <a:cubicBezTo>
                      <a:pt x="3886" y="7245"/>
                      <a:pt x="3866" y="7242"/>
                      <a:pt x="3858" y="7241"/>
                    </a:cubicBezTo>
                    <a:cubicBezTo>
                      <a:pt x="3710" y="7361"/>
                      <a:pt x="3710" y="7361"/>
                      <a:pt x="3710" y="7361"/>
                    </a:cubicBezTo>
                    <a:lnTo>
                      <a:pt x="3904" y="7587"/>
                    </a:lnTo>
                    <a:close/>
                    <a:moveTo>
                      <a:pt x="4103" y="8021"/>
                    </a:moveTo>
                    <a:cubicBezTo>
                      <a:pt x="4140" y="8022"/>
                      <a:pt x="4177" y="8025"/>
                      <a:pt x="4215" y="8028"/>
                    </a:cubicBezTo>
                    <a:cubicBezTo>
                      <a:pt x="4204" y="7977"/>
                      <a:pt x="4204" y="7977"/>
                      <a:pt x="4204" y="7977"/>
                    </a:cubicBezTo>
                    <a:cubicBezTo>
                      <a:pt x="4117" y="7990"/>
                      <a:pt x="4117" y="7990"/>
                      <a:pt x="4117" y="7990"/>
                    </a:cubicBezTo>
                    <a:cubicBezTo>
                      <a:pt x="4093" y="7835"/>
                      <a:pt x="4093" y="7835"/>
                      <a:pt x="4093" y="7835"/>
                    </a:cubicBezTo>
                    <a:cubicBezTo>
                      <a:pt x="4170" y="7824"/>
                      <a:pt x="4170" y="7824"/>
                      <a:pt x="4170" y="7824"/>
                    </a:cubicBezTo>
                    <a:cubicBezTo>
                      <a:pt x="4124" y="7620"/>
                      <a:pt x="4124" y="7620"/>
                      <a:pt x="4124" y="7620"/>
                    </a:cubicBezTo>
                    <a:cubicBezTo>
                      <a:pt x="4062" y="7651"/>
                      <a:pt x="4062" y="7651"/>
                      <a:pt x="4062" y="7651"/>
                    </a:cubicBezTo>
                    <a:cubicBezTo>
                      <a:pt x="4017" y="7671"/>
                      <a:pt x="4017" y="7671"/>
                      <a:pt x="4017" y="7671"/>
                    </a:cubicBezTo>
                    <a:lnTo>
                      <a:pt x="4103" y="8021"/>
                    </a:lnTo>
                    <a:close/>
                    <a:moveTo>
                      <a:pt x="6535" y="8016"/>
                    </a:moveTo>
                    <a:cubicBezTo>
                      <a:pt x="6557" y="7934"/>
                      <a:pt x="6581" y="7855"/>
                      <a:pt x="6621" y="7802"/>
                    </a:cubicBezTo>
                    <a:cubicBezTo>
                      <a:pt x="6651" y="7762"/>
                      <a:pt x="6672" y="7734"/>
                      <a:pt x="6694" y="7714"/>
                    </a:cubicBezTo>
                    <a:cubicBezTo>
                      <a:pt x="6715" y="7693"/>
                      <a:pt x="6738" y="7678"/>
                      <a:pt x="6778" y="7661"/>
                    </a:cubicBezTo>
                    <a:cubicBezTo>
                      <a:pt x="6857" y="7628"/>
                      <a:pt x="7002" y="7596"/>
                      <a:pt x="7284" y="7542"/>
                    </a:cubicBezTo>
                    <a:cubicBezTo>
                      <a:pt x="7865" y="7431"/>
                      <a:pt x="8188" y="7146"/>
                      <a:pt x="8325" y="6909"/>
                    </a:cubicBezTo>
                    <a:cubicBezTo>
                      <a:pt x="8374" y="6822"/>
                      <a:pt x="8390" y="6696"/>
                      <a:pt x="8391" y="6536"/>
                    </a:cubicBezTo>
                    <a:cubicBezTo>
                      <a:pt x="8391" y="6522"/>
                      <a:pt x="8390" y="6507"/>
                      <a:pt x="8390" y="6493"/>
                    </a:cubicBezTo>
                    <a:cubicBezTo>
                      <a:pt x="8353" y="6488"/>
                      <a:pt x="8311" y="6483"/>
                      <a:pt x="8267" y="6478"/>
                    </a:cubicBezTo>
                    <a:cubicBezTo>
                      <a:pt x="8267" y="6497"/>
                      <a:pt x="8268" y="6516"/>
                      <a:pt x="8268" y="6534"/>
                    </a:cubicBezTo>
                    <a:cubicBezTo>
                      <a:pt x="8268" y="6536"/>
                      <a:pt x="8268" y="6536"/>
                      <a:pt x="8268" y="6536"/>
                    </a:cubicBezTo>
                    <a:cubicBezTo>
                      <a:pt x="8268" y="6540"/>
                      <a:pt x="8268" y="6543"/>
                      <a:pt x="8268" y="6546"/>
                    </a:cubicBezTo>
                    <a:cubicBezTo>
                      <a:pt x="8267" y="6691"/>
                      <a:pt x="8247" y="6802"/>
                      <a:pt x="8219" y="6848"/>
                    </a:cubicBezTo>
                    <a:cubicBezTo>
                      <a:pt x="8102" y="7050"/>
                      <a:pt x="7812" y="7315"/>
                      <a:pt x="7261" y="7421"/>
                    </a:cubicBezTo>
                    <a:cubicBezTo>
                      <a:pt x="7049" y="7462"/>
                      <a:pt x="6913" y="7490"/>
                      <a:pt x="6816" y="7518"/>
                    </a:cubicBezTo>
                    <a:cubicBezTo>
                      <a:pt x="6720" y="7546"/>
                      <a:pt x="6658" y="7578"/>
                      <a:pt x="6609" y="7624"/>
                    </a:cubicBezTo>
                    <a:cubicBezTo>
                      <a:pt x="6577" y="7655"/>
                      <a:pt x="6552" y="7689"/>
                      <a:pt x="6522" y="7729"/>
                    </a:cubicBezTo>
                    <a:cubicBezTo>
                      <a:pt x="6520" y="7732"/>
                      <a:pt x="6517" y="7736"/>
                      <a:pt x="6515" y="7740"/>
                    </a:cubicBezTo>
                    <a:cubicBezTo>
                      <a:pt x="6516" y="7741"/>
                      <a:pt x="6516" y="7741"/>
                      <a:pt x="6516" y="7741"/>
                    </a:cubicBezTo>
                    <a:cubicBezTo>
                      <a:pt x="6508" y="7752"/>
                      <a:pt x="6508" y="7752"/>
                      <a:pt x="6508" y="7752"/>
                    </a:cubicBezTo>
                    <a:cubicBezTo>
                      <a:pt x="6507" y="7751"/>
                      <a:pt x="6507" y="7751"/>
                      <a:pt x="6507" y="7751"/>
                    </a:cubicBezTo>
                    <a:cubicBezTo>
                      <a:pt x="6483" y="7788"/>
                      <a:pt x="6466" y="7828"/>
                      <a:pt x="6451" y="7868"/>
                    </a:cubicBezTo>
                    <a:cubicBezTo>
                      <a:pt x="6454" y="7869"/>
                      <a:pt x="6454" y="7869"/>
                      <a:pt x="6454" y="7869"/>
                    </a:cubicBezTo>
                    <a:cubicBezTo>
                      <a:pt x="6447" y="7882"/>
                      <a:pt x="6447" y="7882"/>
                      <a:pt x="6447" y="7882"/>
                    </a:cubicBezTo>
                    <a:cubicBezTo>
                      <a:pt x="6447" y="7881"/>
                      <a:pt x="6447" y="7881"/>
                      <a:pt x="6447" y="7881"/>
                    </a:cubicBezTo>
                    <a:cubicBezTo>
                      <a:pt x="6438" y="7908"/>
                      <a:pt x="6430" y="7935"/>
                      <a:pt x="6423" y="7962"/>
                    </a:cubicBezTo>
                    <a:cubicBezTo>
                      <a:pt x="6418" y="7977"/>
                      <a:pt x="6414" y="7992"/>
                      <a:pt x="6410" y="8007"/>
                    </a:cubicBezTo>
                    <a:cubicBezTo>
                      <a:pt x="6462" y="8011"/>
                      <a:pt x="6505" y="8014"/>
                      <a:pt x="6535" y="8016"/>
                    </a:cubicBezTo>
                    <a:close/>
                    <a:moveTo>
                      <a:pt x="8404" y="6428"/>
                    </a:moveTo>
                    <a:cubicBezTo>
                      <a:pt x="8447" y="6433"/>
                      <a:pt x="8484" y="6438"/>
                      <a:pt x="8513" y="6441"/>
                    </a:cubicBezTo>
                    <a:cubicBezTo>
                      <a:pt x="8517" y="6442"/>
                      <a:pt x="8520" y="6443"/>
                      <a:pt x="8524" y="6443"/>
                    </a:cubicBezTo>
                    <a:cubicBezTo>
                      <a:pt x="8524" y="6334"/>
                      <a:pt x="8521" y="6231"/>
                      <a:pt x="8516" y="6149"/>
                    </a:cubicBezTo>
                    <a:cubicBezTo>
                      <a:pt x="8501" y="5849"/>
                      <a:pt x="8327" y="5393"/>
                      <a:pt x="8215" y="5181"/>
                    </a:cubicBezTo>
                    <a:cubicBezTo>
                      <a:pt x="8096" y="4977"/>
                      <a:pt x="8096" y="4977"/>
                      <a:pt x="8096" y="4977"/>
                    </a:cubicBezTo>
                    <a:cubicBezTo>
                      <a:pt x="7997" y="4973"/>
                      <a:pt x="7997" y="4973"/>
                      <a:pt x="7997" y="4973"/>
                    </a:cubicBezTo>
                    <a:cubicBezTo>
                      <a:pt x="8039" y="5039"/>
                      <a:pt x="8077" y="5108"/>
                      <a:pt x="8108" y="5180"/>
                    </a:cubicBezTo>
                    <a:cubicBezTo>
                      <a:pt x="8287" y="5583"/>
                      <a:pt x="8387" y="6065"/>
                      <a:pt x="8404" y="6428"/>
                    </a:cubicBezTo>
                    <a:close/>
                    <a:moveTo>
                      <a:pt x="8056" y="4909"/>
                    </a:moveTo>
                    <a:cubicBezTo>
                      <a:pt x="7797" y="4464"/>
                      <a:pt x="7797" y="4464"/>
                      <a:pt x="7797" y="4464"/>
                    </a:cubicBezTo>
                    <a:cubicBezTo>
                      <a:pt x="7392" y="3451"/>
                      <a:pt x="7392" y="3451"/>
                      <a:pt x="7392" y="3451"/>
                    </a:cubicBezTo>
                    <a:cubicBezTo>
                      <a:pt x="7382" y="3457"/>
                      <a:pt x="7372" y="3462"/>
                      <a:pt x="7363" y="3467"/>
                    </a:cubicBezTo>
                    <a:cubicBezTo>
                      <a:pt x="7250" y="3534"/>
                      <a:pt x="7163" y="3623"/>
                      <a:pt x="7142" y="3761"/>
                    </a:cubicBezTo>
                    <a:cubicBezTo>
                      <a:pt x="7140" y="3771"/>
                      <a:pt x="7140" y="3781"/>
                      <a:pt x="7140" y="3791"/>
                    </a:cubicBezTo>
                    <a:cubicBezTo>
                      <a:pt x="7140" y="3792"/>
                      <a:pt x="7140" y="3793"/>
                      <a:pt x="7140" y="3793"/>
                    </a:cubicBezTo>
                    <a:cubicBezTo>
                      <a:pt x="7139" y="3861"/>
                      <a:pt x="7175" y="3947"/>
                      <a:pt x="7241" y="4044"/>
                    </a:cubicBezTo>
                    <a:cubicBezTo>
                      <a:pt x="7341" y="4191"/>
                      <a:pt x="7506" y="4360"/>
                      <a:pt x="7671" y="4548"/>
                    </a:cubicBezTo>
                    <a:cubicBezTo>
                      <a:pt x="7769" y="4659"/>
                      <a:pt x="7868" y="4778"/>
                      <a:pt x="7954" y="4905"/>
                    </a:cubicBezTo>
                    <a:lnTo>
                      <a:pt x="8056" y="4909"/>
                    </a:lnTo>
                    <a:close/>
                    <a:moveTo>
                      <a:pt x="10529" y="2537"/>
                    </a:moveTo>
                    <a:cubicBezTo>
                      <a:pt x="10526" y="2527"/>
                      <a:pt x="10524" y="2516"/>
                      <a:pt x="10521" y="2507"/>
                    </a:cubicBezTo>
                    <a:cubicBezTo>
                      <a:pt x="10512" y="2474"/>
                      <a:pt x="10504" y="2444"/>
                      <a:pt x="10497" y="2418"/>
                    </a:cubicBezTo>
                    <a:cubicBezTo>
                      <a:pt x="10487" y="2421"/>
                      <a:pt x="10477" y="2424"/>
                      <a:pt x="10467" y="2427"/>
                    </a:cubicBezTo>
                    <a:cubicBezTo>
                      <a:pt x="10293" y="2480"/>
                      <a:pt x="10062" y="2546"/>
                      <a:pt x="9809" y="2616"/>
                    </a:cubicBezTo>
                    <a:cubicBezTo>
                      <a:pt x="9302" y="2758"/>
                      <a:pt x="8702" y="2919"/>
                      <a:pt x="8270" y="3036"/>
                    </a:cubicBezTo>
                    <a:cubicBezTo>
                      <a:pt x="7982" y="3114"/>
                      <a:pt x="7770" y="3171"/>
                      <a:pt x="7706" y="3191"/>
                    </a:cubicBezTo>
                    <a:cubicBezTo>
                      <a:pt x="7697" y="3194"/>
                      <a:pt x="7693" y="3195"/>
                      <a:pt x="7685" y="3198"/>
                    </a:cubicBezTo>
                    <a:cubicBezTo>
                      <a:pt x="7677" y="3202"/>
                      <a:pt x="7646" y="3210"/>
                      <a:pt x="7606" y="3222"/>
                    </a:cubicBezTo>
                    <a:cubicBezTo>
                      <a:pt x="7570" y="3232"/>
                      <a:pt x="7525" y="3245"/>
                      <a:pt x="7477" y="3263"/>
                    </a:cubicBezTo>
                    <a:cubicBezTo>
                      <a:pt x="7499" y="3309"/>
                      <a:pt x="7512" y="3341"/>
                      <a:pt x="7512" y="3342"/>
                    </a:cubicBezTo>
                    <a:cubicBezTo>
                      <a:pt x="7526" y="3376"/>
                      <a:pt x="7526" y="3376"/>
                      <a:pt x="7526" y="3376"/>
                    </a:cubicBezTo>
                    <a:cubicBezTo>
                      <a:pt x="7583" y="3355"/>
                      <a:pt x="7637" y="3341"/>
                      <a:pt x="7676" y="3330"/>
                    </a:cubicBezTo>
                    <a:cubicBezTo>
                      <a:pt x="7699" y="3323"/>
                      <a:pt x="7716" y="3319"/>
                      <a:pt x="7732" y="3312"/>
                    </a:cubicBezTo>
                    <a:cubicBezTo>
                      <a:pt x="7741" y="3309"/>
                      <a:pt x="7741" y="3309"/>
                      <a:pt x="7741" y="3309"/>
                    </a:cubicBezTo>
                    <a:cubicBezTo>
                      <a:pt x="7741" y="3309"/>
                      <a:pt x="7741" y="3309"/>
                      <a:pt x="7741" y="3309"/>
                    </a:cubicBezTo>
                    <a:cubicBezTo>
                      <a:pt x="7744" y="3308"/>
                      <a:pt x="7748" y="3307"/>
                      <a:pt x="7753" y="3305"/>
                    </a:cubicBezTo>
                    <a:cubicBezTo>
                      <a:pt x="7766" y="3301"/>
                      <a:pt x="7785" y="3296"/>
                      <a:pt x="7808" y="3290"/>
                    </a:cubicBezTo>
                    <a:cubicBezTo>
                      <a:pt x="7854" y="3277"/>
                      <a:pt x="7918" y="3259"/>
                      <a:pt x="7996" y="3238"/>
                    </a:cubicBezTo>
                    <a:cubicBezTo>
                      <a:pt x="8152" y="3195"/>
                      <a:pt x="8363" y="3138"/>
                      <a:pt x="8601" y="3074"/>
                    </a:cubicBezTo>
                    <a:cubicBezTo>
                      <a:pt x="9078" y="2945"/>
                      <a:pt x="9659" y="2787"/>
                      <a:pt x="10110" y="2659"/>
                    </a:cubicBezTo>
                    <a:cubicBezTo>
                      <a:pt x="10270" y="2614"/>
                      <a:pt x="10413" y="2572"/>
                      <a:pt x="10529" y="2537"/>
                    </a:cubicBezTo>
                    <a:close/>
                    <a:moveTo>
                      <a:pt x="10493" y="2402"/>
                    </a:moveTo>
                    <a:cubicBezTo>
                      <a:pt x="10486" y="2377"/>
                      <a:pt x="10480" y="2355"/>
                      <a:pt x="10475" y="2338"/>
                    </a:cubicBezTo>
                    <a:cubicBezTo>
                      <a:pt x="10423" y="2351"/>
                      <a:pt x="10337" y="2373"/>
                      <a:pt x="10227" y="2401"/>
                    </a:cubicBezTo>
                    <a:cubicBezTo>
                      <a:pt x="9955" y="2469"/>
                      <a:pt x="9548" y="2573"/>
                      <a:pt x="9208" y="2658"/>
                    </a:cubicBezTo>
                    <a:cubicBezTo>
                      <a:pt x="9038" y="2701"/>
                      <a:pt x="8885" y="2740"/>
                      <a:pt x="8774" y="2768"/>
                    </a:cubicBezTo>
                    <a:cubicBezTo>
                      <a:pt x="8719" y="2782"/>
                      <a:pt x="8674" y="2793"/>
                      <a:pt x="8643" y="2801"/>
                    </a:cubicBezTo>
                    <a:cubicBezTo>
                      <a:pt x="8627" y="2805"/>
                      <a:pt x="8615" y="2808"/>
                      <a:pt x="8607" y="2810"/>
                    </a:cubicBezTo>
                    <a:cubicBezTo>
                      <a:pt x="8603" y="2811"/>
                      <a:pt x="8600" y="2812"/>
                      <a:pt x="8598" y="2812"/>
                    </a:cubicBezTo>
                    <a:cubicBezTo>
                      <a:pt x="8597" y="2812"/>
                      <a:pt x="8597" y="2812"/>
                      <a:pt x="8597" y="2812"/>
                    </a:cubicBezTo>
                    <a:cubicBezTo>
                      <a:pt x="8588" y="2815"/>
                      <a:pt x="8588" y="2815"/>
                      <a:pt x="8588" y="2815"/>
                    </a:cubicBezTo>
                    <a:cubicBezTo>
                      <a:pt x="8587" y="2815"/>
                      <a:pt x="8587" y="2815"/>
                      <a:pt x="8587" y="2815"/>
                    </a:cubicBezTo>
                    <a:cubicBezTo>
                      <a:pt x="8529" y="2833"/>
                      <a:pt x="8244" y="2921"/>
                      <a:pt x="7963" y="3008"/>
                    </a:cubicBezTo>
                    <a:cubicBezTo>
                      <a:pt x="7751" y="3073"/>
                      <a:pt x="7542" y="3137"/>
                      <a:pt x="7430" y="3172"/>
                    </a:cubicBezTo>
                    <a:cubicBezTo>
                      <a:pt x="7434" y="3180"/>
                      <a:pt x="7439" y="3187"/>
                      <a:pt x="7443" y="3195"/>
                    </a:cubicBezTo>
                    <a:cubicBezTo>
                      <a:pt x="7453" y="3214"/>
                      <a:pt x="7461" y="3231"/>
                      <a:pt x="7469" y="3248"/>
                    </a:cubicBezTo>
                    <a:cubicBezTo>
                      <a:pt x="7519" y="3230"/>
                      <a:pt x="7565" y="3216"/>
                      <a:pt x="7602" y="3206"/>
                    </a:cubicBezTo>
                    <a:cubicBezTo>
                      <a:pt x="7641" y="3195"/>
                      <a:pt x="7674" y="3185"/>
                      <a:pt x="7679" y="3183"/>
                    </a:cubicBezTo>
                    <a:cubicBezTo>
                      <a:pt x="7687" y="3180"/>
                      <a:pt x="7693" y="3178"/>
                      <a:pt x="7701" y="3175"/>
                    </a:cubicBezTo>
                    <a:cubicBezTo>
                      <a:pt x="7766" y="3155"/>
                      <a:pt x="7977" y="3098"/>
                      <a:pt x="8266" y="3020"/>
                    </a:cubicBezTo>
                    <a:cubicBezTo>
                      <a:pt x="8698" y="2903"/>
                      <a:pt x="9297" y="2742"/>
                      <a:pt x="9804" y="2600"/>
                    </a:cubicBezTo>
                    <a:cubicBezTo>
                      <a:pt x="10058" y="2530"/>
                      <a:pt x="10288" y="2464"/>
                      <a:pt x="10462" y="2412"/>
                    </a:cubicBezTo>
                    <a:cubicBezTo>
                      <a:pt x="10473" y="2408"/>
                      <a:pt x="10482" y="2405"/>
                      <a:pt x="10493" y="2402"/>
                    </a:cubicBezTo>
                    <a:close/>
                    <a:moveTo>
                      <a:pt x="8503" y="2717"/>
                    </a:moveTo>
                    <a:cubicBezTo>
                      <a:pt x="8505" y="2711"/>
                      <a:pt x="8507" y="2706"/>
                      <a:pt x="8510" y="2701"/>
                    </a:cubicBezTo>
                    <a:cubicBezTo>
                      <a:pt x="8510" y="2701"/>
                      <a:pt x="8509" y="2702"/>
                      <a:pt x="8509" y="2703"/>
                    </a:cubicBezTo>
                    <a:cubicBezTo>
                      <a:pt x="8506" y="2708"/>
                      <a:pt x="8504" y="2713"/>
                      <a:pt x="8503" y="2717"/>
                    </a:cubicBezTo>
                    <a:close/>
                    <a:moveTo>
                      <a:pt x="8526" y="2674"/>
                    </a:moveTo>
                    <a:cubicBezTo>
                      <a:pt x="8524" y="2625"/>
                      <a:pt x="8519" y="2536"/>
                      <a:pt x="8516" y="2458"/>
                    </a:cubicBezTo>
                    <a:cubicBezTo>
                      <a:pt x="7276" y="2482"/>
                      <a:pt x="7276" y="2482"/>
                      <a:pt x="7276" y="2482"/>
                    </a:cubicBezTo>
                    <a:cubicBezTo>
                      <a:pt x="7273" y="2481"/>
                      <a:pt x="7273" y="2481"/>
                      <a:pt x="7273" y="2481"/>
                    </a:cubicBezTo>
                    <a:cubicBezTo>
                      <a:pt x="7273" y="2481"/>
                      <a:pt x="7175" y="2465"/>
                      <a:pt x="7064" y="2449"/>
                    </a:cubicBezTo>
                    <a:cubicBezTo>
                      <a:pt x="6953" y="2433"/>
                      <a:pt x="6827" y="2416"/>
                      <a:pt x="6781" y="2417"/>
                    </a:cubicBezTo>
                    <a:cubicBezTo>
                      <a:pt x="6731" y="2417"/>
                      <a:pt x="6691" y="2421"/>
                      <a:pt x="6660" y="2432"/>
                    </a:cubicBezTo>
                    <a:cubicBezTo>
                      <a:pt x="6630" y="2443"/>
                      <a:pt x="6609" y="2458"/>
                      <a:pt x="6591" y="2482"/>
                    </a:cubicBezTo>
                    <a:cubicBezTo>
                      <a:pt x="6521" y="2728"/>
                      <a:pt x="6521" y="2728"/>
                      <a:pt x="6521" y="2728"/>
                    </a:cubicBezTo>
                    <a:cubicBezTo>
                      <a:pt x="6687" y="2770"/>
                      <a:pt x="6841" y="2809"/>
                      <a:pt x="6890" y="2820"/>
                    </a:cubicBezTo>
                    <a:cubicBezTo>
                      <a:pt x="6994" y="2845"/>
                      <a:pt x="7143" y="2866"/>
                      <a:pt x="7273" y="2967"/>
                    </a:cubicBezTo>
                    <a:cubicBezTo>
                      <a:pt x="7299" y="2987"/>
                      <a:pt x="7322" y="3012"/>
                      <a:pt x="7344" y="3039"/>
                    </a:cubicBezTo>
                    <a:cubicBezTo>
                      <a:pt x="7438" y="3009"/>
                      <a:pt x="7683" y="2934"/>
                      <a:pt x="7927" y="2859"/>
                    </a:cubicBezTo>
                    <a:cubicBezTo>
                      <a:pt x="8084" y="2811"/>
                      <a:pt x="8240" y="2762"/>
                      <a:pt x="8358" y="2726"/>
                    </a:cubicBezTo>
                    <a:cubicBezTo>
                      <a:pt x="8416" y="2708"/>
                      <a:pt x="8465" y="2693"/>
                      <a:pt x="8500" y="2683"/>
                    </a:cubicBezTo>
                    <a:cubicBezTo>
                      <a:pt x="8510" y="2679"/>
                      <a:pt x="8519" y="2677"/>
                      <a:pt x="8526" y="2674"/>
                    </a:cubicBezTo>
                    <a:close/>
                    <a:moveTo>
                      <a:pt x="4747" y="3719"/>
                    </a:moveTo>
                    <a:cubicBezTo>
                      <a:pt x="4623" y="3687"/>
                      <a:pt x="4465" y="3635"/>
                      <a:pt x="4287" y="3573"/>
                    </a:cubicBezTo>
                    <a:cubicBezTo>
                      <a:pt x="4272" y="3606"/>
                      <a:pt x="4238" y="3683"/>
                      <a:pt x="4208" y="3754"/>
                    </a:cubicBezTo>
                    <a:cubicBezTo>
                      <a:pt x="4177" y="3824"/>
                      <a:pt x="4149" y="3890"/>
                      <a:pt x="4140" y="3912"/>
                    </a:cubicBezTo>
                    <a:cubicBezTo>
                      <a:pt x="4142" y="3936"/>
                      <a:pt x="4147" y="4009"/>
                      <a:pt x="4151" y="4097"/>
                    </a:cubicBezTo>
                    <a:cubicBezTo>
                      <a:pt x="4660" y="4208"/>
                      <a:pt x="4660" y="4208"/>
                      <a:pt x="4660" y="4208"/>
                    </a:cubicBezTo>
                    <a:cubicBezTo>
                      <a:pt x="4662" y="4209"/>
                      <a:pt x="4662" y="4209"/>
                      <a:pt x="4662" y="4209"/>
                    </a:cubicBezTo>
                    <a:cubicBezTo>
                      <a:pt x="4662" y="4209"/>
                      <a:pt x="4755" y="4292"/>
                      <a:pt x="4849" y="4375"/>
                    </a:cubicBezTo>
                    <a:cubicBezTo>
                      <a:pt x="4896" y="4416"/>
                      <a:pt x="4943" y="4458"/>
                      <a:pt x="4979" y="4489"/>
                    </a:cubicBezTo>
                    <a:cubicBezTo>
                      <a:pt x="4997" y="4505"/>
                      <a:pt x="5012" y="4518"/>
                      <a:pt x="5023" y="4527"/>
                    </a:cubicBezTo>
                    <a:cubicBezTo>
                      <a:pt x="5029" y="4532"/>
                      <a:pt x="5033" y="4536"/>
                      <a:pt x="5036" y="4538"/>
                    </a:cubicBezTo>
                    <a:cubicBezTo>
                      <a:pt x="5038" y="4539"/>
                      <a:pt x="5039" y="4540"/>
                      <a:pt x="5040" y="4541"/>
                    </a:cubicBezTo>
                    <a:cubicBezTo>
                      <a:pt x="5040" y="4541"/>
                      <a:pt x="5040" y="4541"/>
                      <a:pt x="5040" y="4541"/>
                    </a:cubicBezTo>
                    <a:cubicBezTo>
                      <a:pt x="5049" y="4544"/>
                      <a:pt x="5414" y="4659"/>
                      <a:pt x="5415" y="4659"/>
                    </a:cubicBezTo>
                    <a:cubicBezTo>
                      <a:pt x="5419" y="4661"/>
                      <a:pt x="5419" y="4661"/>
                      <a:pt x="5419" y="4661"/>
                    </a:cubicBezTo>
                    <a:cubicBezTo>
                      <a:pt x="5438" y="5213"/>
                      <a:pt x="5438" y="5213"/>
                      <a:pt x="5438" y="5213"/>
                    </a:cubicBezTo>
                    <a:cubicBezTo>
                      <a:pt x="6061" y="5109"/>
                      <a:pt x="6061" y="5109"/>
                      <a:pt x="6061" y="5109"/>
                    </a:cubicBezTo>
                    <a:cubicBezTo>
                      <a:pt x="6104" y="4852"/>
                      <a:pt x="6104" y="4852"/>
                      <a:pt x="6104" y="4852"/>
                    </a:cubicBezTo>
                    <a:cubicBezTo>
                      <a:pt x="6104" y="4852"/>
                      <a:pt x="6106" y="4839"/>
                      <a:pt x="6108" y="4814"/>
                    </a:cubicBezTo>
                    <a:cubicBezTo>
                      <a:pt x="6111" y="4789"/>
                      <a:pt x="6113" y="4754"/>
                      <a:pt x="6113" y="4713"/>
                    </a:cubicBezTo>
                    <a:cubicBezTo>
                      <a:pt x="6113" y="4640"/>
                      <a:pt x="6105" y="4549"/>
                      <a:pt x="6078" y="4466"/>
                    </a:cubicBezTo>
                    <a:cubicBezTo>
                      <a:pt x="6050" y="4383"/>
                      <a:pt x="6004" y="4311"/>
                      <a:pt x="5927" y="4268"/>
                    </a:cubicBezTo>
                    <a:cubicBezTo>
                      <a:pt x="5656" y="4117"/>
                      <a:pt x="5545" y="3989"/>
                      <a:pt x="5369" y="3915"/>
                    </a:cubicBezTo>
                    <a:cubicBezTo>
                      <a:pt x="5189" y="3837"/>
                      <a:pt x="4948" y="3772"/>
                      <a:pt x="4747" y="3719"/>
                    </a:cubicBezTo>
                    <a:close/>
                    <a:moveTo>
                      <a:pt x="4225" y="3551"/>
                    </a:moveTo>
                    <a:cubicBezTo>
                      <a:pt x="4129" y="3517"/>
                      <a:pt x="4028" y="3480"/>
                      <a:pt x="3925" y="3442"/>
                    </a:cubicBezTo>
                    <a:cubicBezTo>
                      <a:pt x="3763" y="3382"/>
                      <a:pt x="3585" y="3305"/>
                      <a:pt x="3435" y="3240"/>
                    </a:cubicBezTo>
                    <a:cubicBezTo>
                      <a:pt x="3286" y="3175"/>
                      <a:pt x="3161" y="3121"/>
                      <a:pt x="3117" y="3110"/>
                    </a:cubicBezTo>
                    <a:cubicBezTo>
                      <a:pt x="3076" y="3099"/>
                      <a:pt x="3015" y="3085"/>
                      <a:pt x="2943" y="3085"/>
                    </a:cubicBezTo>
                    <a:cubicBezTo>
                      <a:pt x="2844" y="3085"/>
                      <a:pt x="2724" y="3111"/>
                      <a:pt x="2603" y="3213"/>
                    </a:cubicBezTo>
                    <a:cubicBezTo>
                      <a:pt x="2531" y="3273"/>
                      <a:pt x="2416" y="3404"/>
                      <a:pt x="2260" y="3574"/>
                    </a:cubicBezTo>
                    <a:cubicBezTo>
                      <a:pt x="2111" y="3735"/>
                      <a:pt x="1948" y="3912"/>
                      <a:pt x="1821" y="4049"/>
                    </a:cubicBezTo>
                    <a:cubicBezTo>
                      <a:pt x="1757" y="4118"/>
                      <a:pt x="1703" y="4177"/>
                      <a:pt x="1664" y="4218"/>
                    </a:cubicBezTo>
                    <a:cubicBezTo>
                      <a:pt x="1652" y="4231"/>
                      <a:pt x="1642" y="4242"/>
                      <a:pt x="1633" y="4252"/>
                    </a:cubicBezTo>
                    <a:cubicBezTo>
                      <a:pt x="2208" y="4669"/>
                      <a:pt x="2208" y="4669"/>
                      <a:pt x="2208" y="4669"/>
                    </a:cubicBezTo>
                    <a:cubicBezTo>
                      <a:pt x="2641" y="4178"/>
                      <a:pt x="2641" y="4178"/>
                      <a:pt x="2641" y="4178"/>
                    </a:cubicBezTo>
                    <a:cubicBezTo>
                      <a:pt x="3709" y="4048"/>
                      <a:pt x="3709" y="4048"/>
                      <a:pt x="3709" y="4048"/>
                    </a:cubicBezTo>
                    <a:cubicBezTo>
                      <a:pt x="4084" y="4086"/>
                      <a:pt x="4084" y="4086"/>
                      <a:pt x="4084" y="4086"/>
                    </a:cubicBezTo>
                    <a:cubicBezTo>
                      <a:pt x="4080" y="3987"/>
                      <a:pt x="4074" y="3909"/>
                      <a:pt x="4074" y="3909"/>
                    </a:cubicBezTo>
                    <a:cubicBezTo>
                      <a:pt x="4074" y="3901"/>
                      <a:pt x="4074" y="3901"/>
                      <a:pt x="4074" y="3901"/>
                    </a:cubicBezTo>
                    <a:cubicBezTo>
                      <a:pt x="4077" y="3894"/>
                      <a:pt x="4077" y="3894"/>
                      <a:pt x="4077" y="3894"/>
                    </a:cubicBezTo>
                    <a:cubicBezTo>
                      <a:pt x="4077" y="3894"/>
                      <a:pt x="4115" y="3803"/>
                      <a:pt x="4155" y="3711"/>
                    </a:cubicBezTo>
                    <a:cubicBezTo>
                      <a:pt x="4174" y="3665"/>
                      <a:pt x="4194" y="3619"/>
                      <a:pt x="4210" y="3584"/>
                    </a:cubicBezTo>
                    <a:cubicBezTo>
                      <a:pt x="4216" y="3571"/>
                      <a:pt x="4221" y="3561"/>
                      <a:pt x="4225" y="3551"/>
                    </a:cubicBezTo>
                    <a:close/>
                    <a:moveTo>
                      <a:pt x="1593" y="4304"/>
                    </a:moveTo>
                    <a:cubicBezTo>
                      <a:pt x="1593" y="4304"/>
                      <a:pt x="1592" y="4304"/>
                      <a:pt x="1592" y="4303"/>
                    </a:cubicBezTo>
                    <a:cubicBezTo>
                      <a:pt x="1589" y="4310"/>
                      <a:pt x="1585" y="4319"/>
                      <a:pt x="1581" y="4330"/>
                    </a:cubicBezTo>
                    <a:cubicBezTo>
                      <a:pt x="1559" y="4383"/>
                      <a:pt x="1523" y="4474"/>
                      <a:pt x="1509" y="4511"/>
                    </a:cubicBezTo>
                    <a:cubicBezTo>
                      <a:pt x="1783" y="4667"/>
                      <a:pt x="1783" y="4667"/>
                      <a:pt x="1783" y="4667"/>
                    </a:cubicBezTo>
                    <a:cubicBezTo>
                      <a:pt x="1909" y="4533"/>
                      <a:pt x="1909" y="4533"/>
                      <a:pt x="1909" y="4533"/>
                    </a:cubicBezTo>
                    <a:lnTo>
                      <a:pt x="1593" y="4304"/>
                    </a:lnTo>
                    <a:close/>
                    <a:moveTo>
                      <a:pt x="1763" y="4825"/>
                    </a:moveTo>
                    <a:cubicBezTo>
                      <a:pt x="2088" y="5010"/>
                      <a:pt x="2088" y="5010"/>
                      <a:pt x="2088" y="5010"/>
                    </a:cubicBezTo>
                    <a:cubicBezTo>
                      <a:pt x="2146" y="4907"/>
                      <a:pt x="2146" y="4907"/>
                      <a:pt x="2146" y="4907"/>
                    </a:cubicBezTo>
                    <a:cubicBezTo>
                      <a:pt x="2283" y="4985"/>
                      <a:pt x="2283" y="4985"/>
                      <a:pt x="2283" y="4985"/>
                    </a:cubicBezTo>
                    <a:cubicBezTo>
                      <a:pt x="2280" y="4990"/>
                      <a:pt x="2280" y="4990"/>
                      <a:pt x="2280" y="4990"/>
                    </a:cubicBezTo>
                    <a:cubicBezTo>
                      <a:pt x="2225" y="5088"/>
                      <a:pt x="2225" y="5088"/>
                      <a:pt x="2225" y="5088"/>
                    </a:cubicBezTo>
                    <a:cubicBezTo>
                      <a:pt x="2272" y="5115"/>
                      <a:pt x="2272" y="5115"/>
                      <a:pt x="2272" y="5115"/>
                    </a:cubicBezTo>
                    <a:cubicBezTo>
                      <a:pt x="2337" y="4999"/>
                      <a:pt x="2337" y="4999"/>
                      <a:pt x="2337" y="4999"/>
                    </a:cubicBezTo>
                    <a:cubicBezTo>
                      <a:pt x="1792" y="4688"/>
                      <a:pt x="1792" y="4688"/>
                      <a:pt x="1792" y="4688"/>
                    </a:cubicBezTo>
                    <a:lnTo>
                      <a:pt x="1763" y="4825"/>
                    </a:lnTo>
                    <a:close/>
                    <a:moveTo>
                      <a:pt x="1755" y="4836"/>
                    </a:moveTo>
                    <a:cubicBezTo>
                      <a:pt x="1675" y="4916"/>
                      <a:pt x="1675" y="4916"/>
                      <a:pt x="1675" y="4916"/>
                    </a:cubicBezTo>
                    <a:cubicBezTo>
                      <a:pt x="2027" y="5117"/>
                      <a:pt x="2027" y="5117"/>
                      <a:pt x="2027" y="5117"/>
                    </a:cubicBezTo>
                    <a:cubicBezTo>
                      <a:pt x="2081" y="5022"/>
                      <a:pt x="2081" y="5022"/>
                      <a:pt x="2081" y="5022"/>
                    </a:cubicBezTo>
                    <a:lnTo>
                      <a:pt x="1755" y="4836"/>
                    </a:lnTo>
                    <a:close/>
                    <a:moveTo>
                      <a:pt x="1742" y="4829"/>
                    </a:moveTo>
                    <a:cubicBezTo>
                      <a:pt x="1338" y="4598"/>
                      <a:pt x="1338" y="4598"/>
                      <a:pt x="1338" y="4598"/>
                    </a:cubicBezTo>
                    <a:cubicBezTo>
                      <a:pt x="1286" y="4693"/>
                      <a:pt x="1286" y="4693"/>
                      <a:pt x="1286" y="4693"/>
                    </a:cubicBezTo>
                    <a:cubicBezTo>
                      <a:pt x="1663" y="4909"/>
                      <a:pt x="1663" y="4909"/>
                      <a:pt x="1663" y="4909"/>
                    </a:cubicBezTo>
                    <a:lnTo>
                      <a:pt x="1742" y="4829"/>
                    </a:lnTo>
                    <a:close/>
                    <a:moveTo>
                      <a:pt x="1380" y="4493"/>
                    </a:moveTo>
                    <a:cubicBezTo>
                      <a:pt x="1264" y="4431"/>
                      <a:pt x="1264" y="4431"/>
                      <a:pt x="1264" y="4431"/>
                    </a:cubicBezTo>
                    <a:cubicBezTo>
                      <a:pt x="1219" y="4514"/>
                      <a:pt x="1219" y="4514"/>
                      <a:pt x="1219" y="4514"/>
                    </a:cubicBezTo>
                    <a:cubicBezTo>
                      <a:pt x="1333" y="4579"/>
                      <a:pt x="1333" y="4579"/>
                      <a:pt x="1333" y="4579"/>
                    </a:cubicBezTo>
                    <a:lnTo>
                      <a:pt x="1380" y="4493"/>
                    </a:lnTo>
                    <a:close/>
                    <a:moveTo>
                      <a:pt x="1212" y="4526"/>
                    </a:moveTo>
                    <a:cubicBezTo>
                      <a:pt x="1160" y="4622"/>
                      <a:pt x="1160" y="4622"/>
                      <a:pt x="1160" y="4622"/>
                    </a:cubicBezTo>
                    <a:cubicBezTo>
                      <a:pt x="1274" y="4687"/>
                      <a:pt x="1274" y="4687"/>
                      <a:pt x="1274" y="4687"/>
                    </a:cubicBezTo>
                    <a:cubicBezTo>
                      <a:pt x="1326" y="4592"/>
                      <a:pt x="1326" y="4592"/>
                      <a:pt x="1326" y="4592"/>
                    </a:cubicBezTo>
                    <a:lnTo>
                      <a:pt x="1212" y="4526"/>
                    </a:lnTo>
                    <a:close/>
                    <a:moveTo>
                      <a:pt x="1154" y="4634"/>
                    </a:moveTo>
                    <a:cubicBezTo>
                      <a:pt x="1106" y="4722"/>
                      <a:pt x="1106" y="4722"/>
                      <a:pt x="1106" y="4722"/>
                    </a:cubicBezTo>
                    <a:cubicBezTo>
                      <a:pt x="1220" y="4787"/>
                      <a:pt x="1220" y="4787"/>
                      <a:pt x="1220" y="4787"/>
                    </a:cubicBezTo>
                    <a:cubicBezTo>
                      <a:pt x="1268" y="4699"/>
                      <a:pt x="1268" y="4699"/>
                      <a:pt x="1268" y="4699"/>
                    </a:cubicBezTo>
                    <a:lnTo>
                      <a:pt x="1154" y="4634"/>
                    </a:lnTo>
                    <a:close/>
                    <a:moveTo>
                      <a:pt x="1099" y="4734"/>
                    </a:moveTo>
                    <a:cubicBezTo>
                      <a:pt x="1049" y="4827"/>
                      <a:pt x="1049" y="4827"/>
                      <a:pt x="1049" y="4827"/>
                    </a:cubicBezTo>
                    <a:cubicBezTo>
                      <a:pt x="1163" y="4892"/>
                      <a:pt x="1163" y="4892"/>
                      <a:pt x="1163" y="4892"/>
                    </a:cubicBezTo>
                    <a:cubicBezTo>
                      <a:pt x="1213" y="4799"/>
                      <a:pt x="1213" y="4799"/>
                      <a:pt x="1213" y="4799"/>
                    </a:cubicBezTo>
                    <a:lnTo>
                      <a:pt x="1099" y="4734"/>
                    </a:lnTo>
                    <a:close/>
                    <a:moveTo>
                      <a:pt x="1042" y="4839"/>
                    </a:moveTo>
                    <a:cubicBezTo>
                      <a:pt x="984" y="4946"/>
                      <a:pt x="984" y="4946"/>
                      <a:pt x="984" y="4946"/>
                    </a:cubicBezTo>
                    <a:cubicBezTo>
                      <a:pt x="1098" y="5011"/>
                      <a:pt x="1098" y="5011"/>
                      <a:pt x="1098" y="5011"/>
                    </a:cubicBezTo>
                    <a:cubicBezTo>
                      <a:pt x="1156" y="4904"/>
                      <a:pt x="1156" y="4904"/>
                      <a:pt x="1156" y="4904"/>
                    </a:cubicBezTo>
                    <a:lnTo>
                      <a:pt x="1042" y="4839"/>
                    </a:lnTo>
                    <a:close/>
                    <a:moveTo>
                      <a:pt x="977" y="4959"/>
                    </a:moveTo>
                    <a:cubicBezTo>
                      <a:pt x="920" y="5063"/>
                      <a:pt x="920" y="5063"/>
                      <a:pt x="920" y="5063"/>
                    </a:cubicBezTo>
                    <a:cubicBezTo>
                      <a:pt x="1034" y="5128"/>
                      <a:pt x="1034" y="5128"/>
                      <a:pt x="1034" y="5128"/>
                    </a:cubicBezTo>
                    <a:cubicBezTo>
                      <a:pt x="1091" y="5024"/>
                      <a:pt x="1091" y="5024"/>
                      <a:pt x="1091" y="5024"/>
                    </a:cubicBezTo>
                    <a:lnTo>
                      <a:pt x="977" y="4959"/>
                    </a:lnTo>
                    <a:close/>
                    <a:moveTo>
                      <a:pt x="914" y="5075"/>
                    </a:moveTo>
                    <a:cubicBezTo>
                      <a:pt x="861" y="5171"/>
                      <a:pt x="861" y="5171"/>
                      <a:pt x="861" y="5171"/>
                    </a:cubicBezTo>
                    <a:cubicBezTo>
                      <a:pt x="975" y="5236"/>
                      <a:pt x="975" y="5236"/>
                      <a:pt x="975" y="5236"/>
                    </a:cubicBezTo>
                    <a:cubicBezTo>
                      <a:pt x="1028" y="5140"/>
                      <a:pt x="1028" y="5140"/>
                      <a:pt x="1028" y="5140"/>
                    </a:cubicBezTo>
                    <a:lnTo>
                      <a:pt x="914" y="5075"/>
                    </a:lnTo>
                    <a:close/>
                    <a:moveTo>
                      <a:pt x="855" y="5183"/>
                    </a:moveTo>
                    <a:cubicBezTo>
                      <a:pt x="790" y="5301"/>
                      <a:pt x="790" y="5301"/>
                      <a:pt x="790" y="5301"/>
                    </a:cubicBezTo>
                    <a:cubicBezTo>
                      <a:pt x="905" y="5367"/>
                      <a:pt x="905" y="5367"/>
                      <a:pt x="905" y="5367"/>
                    </a:cubicBezTo>
                    <a:cubicBezTo>
                      <a:pt x="969" y="5248"/>
                      <a:pt x="969" y="5248"/>
                      <a:pt x="969" y="5248"/>
                    </a:cubicBezTo>
                    <a:lnTo>
                      <a:pt x="855" y="5183"/>
                    </a:lnTo>
                    <a:close/>
                    <a:moveTo>
                      <a:pt x="784" y="5314"/>
                    </a:moveTo>
                    <a:cubicBezTo>
                      <a:pt x="732" y="5409"/>
                      <a:pt x="732" y="5409"/>
                      <a:pt x="732" y="5409"/>
                    </a:cubicBezTo>
                    <a:cubicBezTo>
                      <a:pt x="846" y="5474"/>
                      <a:pt x="846" y="5474"/>
                      <a:pt x="846" y="5474"/>
                    </a:cubicBezTo>
                    <a:cubicBezTo>
                      <a:pt x="898" y="5379"/>
                      <a:pt x="898" y="5379"/>
                      <a:pt x="898" y="5379"/>
                    </a:cubicBezTo>
                    <a:lnTo>
                      <a:pt x="784" y="5314"/>
                    </a:lnTo>
                    <a:close/>
                    <a:moveTo>
                      <a:pt x="725" y="5421"/>
                    </a:moveTo>
                    <a:cubicBezTo>
                      <a:pt x="667" y="5528"/>
                      <a:pt x="667" y="5528"/>
                      <a:pt x="667" y="5528"/>
                    </a:cubicBezTo>
                    <a:cubicBezTo>
                      <a:pt x="781" y="5593"/>
                      <a:pt x="781" y="5593"/>
                      <a:pt x="781" y="5593"/>
                    </a:cubicBezTo>
                    <a:cubicBezTo>
                      <a:pt x="839" y="5487"/>
                      <a:pt x="839" y="5487"/>
                      <a:pt x="839" y="5487"/>
                    </a:cubicBezTo>
                    <a:lnTo>
                      <a:pt x="725" y="5421"/>
                    </a:lnTo>
                    <a:close/>
                    <a:moveTo>
                      <a:pt x="661" y="5540"/>
                    </a:moveTo>
                    <a:cubicBezTo>
                      <a:pt x="610" y="5633"/>
                      <a:pt x="610" y="5633"/>
                      <a:pt x="610" y="5633"/>
                    </a:cubicBezTo>
                    <a:cubicBezTo>
                      <a:pt x="724" y="5698"/>
                      <a:pt x="724" y="5698"/>
                      <a:pt x="724" y="5698"/>
                    </a:cubicBezTo>
                    <a:cubicBezTo>
                      <a:pt x="775" y="5605"/>
                      <a:pt x="775" y="5605"/>
                      <a:pt x="775" y="5605"/>
                    </a:cubicBezTo>
                    <a:lnTo>
                      <a:pt x="661" y="5540"/>
                    </a:lnTo>
                    <a:close/>
                    <a:moveTo>
                      <a:pt x="603" y="5645"/>
                    </a:moveTo>
                    <a:cubicBezTo>
                      <a:pt x="545" y="5753"/>
                      <a:pt x="545" y="5753"/>
                      <a:pt x="545" y="5753"/>
                    </a:cubicBezTo>
                    <a:cubicBezTo>
                      <a:pt x="659" y="5818"/>
                      <a:pt x="659" y="5818"/>
                      <a:pt x="659" y="5818"/>
                    </a:cubicBezTo>
                    <a:cubicBezTo>
                      <a:pt x="717" y="5710"/>
                      <a:pt x="717" y="5710"/>
                      <a:pt x="717" y="5710"/>
                    </a:cubicBezTo>
                    <a:lnTo>
                      <a:pt x="603" y="5645"/>
                    </a:lnTo>
                    <a:close/>
                    <a:moveTo>
                      <a:pt x="538" y="5765"/>
                    </a:moveTo>
                    <a:cubicBezTo>
                      <a:pt x="482" y="5869"/>
                      <a:pt x="482" y="5869"/>
                      <a:pt x="482" y="5869"/>
                    </a:cubicBezTo>
                    <a:cubicBezTo>
                      <a:pt x="596" y="5934"/>
                      <a:pt x="596" y="5934"/>
                      <a:pt x="596" y="5934"/>
                    </a:cubicBezTo>
                    <a:cubicBezTo>
                      <a:pt x="652" y="5830"/>
                      <a:pt x="652" y="5830"/>
                      <a:pt x="652" y="5830"/>
                    </a:cubicBezTo>
                    <a:lnTo>
                      <a:pt x="538" y="5765"/>
                    </a:lnTo>
                    <a:close/>
                    <a:moveTo>
                      <a:pt x="548" y="6049"/>
                    </a:moveTo>
                    <a:cubicBezTo>
                      <a:pt x="894" y="6246"/>
                      <a:pt x="894" y="6246"/>
                      <a:pt x="894" y="6246"/>
                    </a:cubicBezTo>
                    <a:cubicBezTo>
                      <a:pt x="936" y="6145"/>
                      <a:pt x="936" y="6145"/>
                      <a:pt x="936" y="6145"/>
                    </a:cubicBezTo>
                    <a:cubicBezTo>
                      <a:pt x="600" y="5953"/>
                      <a:pt x="600" y="5953"/>
                      <a:pt x="600" y="5953"/>
                    </a:cubicBezTo>
                    <a:lnTo>
                      <a:pt x="548" y="6049"/>
                    </a:lnTo>
                    <a:close/>
                    <a:moveTo>
                      <a:pt x="859" y="6366"/>
                    </a:moveTo>
                    <a:cubicBezTo>
                      <a:pt x="1401" y="6675"/>
                      <a:pt x="1401" y="6675"/>
                      <a:pt x="1401" y="6675"/>
                    </a:cubicBezTo>
                    <a:cubicBezTo>
                      <a:pt x="1405" y="6665"/>
                      <a:pt x="1408" y="6659"/>
                      <a:pt x="1408" y="6659"/>
                    </a:cubicBezTo>
                    <a:cubicBezTo>
                      <a:pt x="1408" y="6657"/>
                      <a:pt x="1408" y="6657"/>
                      <a:pt x="1408" y="6657"/>
                    </a:cubicBezTo>
                    <a:cubicBezTo>
                      <a:pt x="1451" y="6581"/>
                      <a:pt x="1451" y="6581"/>
                      <a:pt x="1451" y="6581"/>
                    </a:cubicBezTo>
                    <a:cubicBezTo>
                      <a:pt x="1396" y="6549"/>
                      <a:pt x="1396" y="6549"/>
                      <a:pt x="1396" y="6549"/>
                    </a:cubicBezTo>
                    <a:cubicBezTo>
                      <a:pt x="1357" y="6617"/>
                      <a:pt x="1357" y="6617"/>
                      <a:pt x="1357" y="6617"/>
                    </a:cubicBezTo>
                    <a:cubicBezTo>
                      <a:pt x="1220" y="6539"/>
                      <a:pt x="1220" y="6539"/>
                      <a:pt x="1220" y="6539"/>
                    </a:cubicBezTo>
                    <a:cubicBezTo>
                      <a:pt x="1259" y="6471"/>
                      <a:pt x="1259" y="6471"/>
                      <a:pt x="1259" y="6471"/>
                    </a:cubicBezTo>
                    <a:cubicBezTo>
                      <a:pt x="901" y="6266"/>
                      <a:pt x="901" y="6266"/>
                      <a:pt x="901" y="6266"/>
                    </a:cubicBezTo>
                    <a:lnTo>
                      <a:pt x="859" y="6366"/>
                    </a:lnTo>
                    <a:close/>
                    <a:moveTo>
                      <a:pt x="854" y="6378"/>
                    </a:moveTo>
                    <a:cubicBezTo>
                      <a:pt x="850" y="6387"/>
                      <a:pt x="850" y="6387"/>
                      <a:pt x="850" y="6387"/>
                    </a:cubicBezTo>
                    <a:cubicBezTo>
                      <a:pt x="849" y="6388"/>
                      <a:pt x="849" y="6388"/>
                      <a:pt x="849" y="6388"/>
                    </a:cubicBezTo>
                    <a:cubicBezTo>
                      <a:pt x="849" y="6388"/>
                      <a:pt x="790" y="6454"/>
                      <a:pt x="713" y="6542"/>
                    </a:cubicBezTo>
                    <a:cubicBezTo>
                      <a:pt x="739" y="6563"/>
                      <a:pt x="765" y="6586"/>
                      <a:pt x="789" y="6608"/>
                    </a:cubicBezTo>
                    <a:cubicBezTo>
                      <a:pt x="957" y="6762"/>
                      <a:pt x="1066" y="6933"/>
                      <a:pt x="1111" y="7010"/>
                    </a:cubicBezTo>
                    <a:cubicBezTo>
                      <a:pt x="1135" y="7006"/>
                      <a:pt x="1181" y="6994"/>
                      <a:pt x="1227" y="6964"/>
                    </a:cubicBezTo>
                    <a:cubicBezTo>
                      <a:pt x="1238" y="6958"/>
                      <a:pt x="1259" y="6934"/>
                      <a:pt x="1279" y="6903"/>
                    </a:cubicBezTo>
                    <a:cubicBezTo>
                      <a:pt x="1310" y="6857"/>
                      <a:pt x="1343" y="6796"/>
                      <a:pt x="1367" y="6746"/>
                    </a:cubicBezTo>
                    <a:cubicBezTo>
                      <a:pt x="1378" y="6723"/>
                      <a:pt x="1388" y="6703"/>
                      <a:pt x="1395" y="6687"/>
                    </a:cubicBezTo>
                    <a:lnTo>
                      <a:pt x="854" y="6378"/>
                    </a:lnTo>
                    <a:close/>
                    <a:moveTo>
                      <a:pt x="1079" y="7230"/>
                    </a:moveTo>
                    <a:cubicBezTo>
                      <a:pt x="1065" y="7266"/>
                      <a:pt x="1065" y="7266"/>
                      <a:pt x="1065" y="7266"/>
                    </a:cubicBezTo>
                    <a:cubicBezTo>
                      <a:pt x="1064" y="7266"/>
                      <a:pt x="1064" y="7266"/>
                      <a:pt x="1064" y="7266"/>
                    </a:cubicBezTo>
                    <a:cubicBezTo>
                      <a:pt x="1047" y="7310"/>
                      <a:pt x="1047" y="7310"/>
                      <a:pt x="1047" y="7310"/>
                    </a:cubicBezTo>
                    <a:cubicBezTo>
                      <a:pt x="1242" y="7485"/>
                      <a:pt x="1242" y="7485"/>
                      <a:pt x="1242" y="7485"/>
                    </a:cubicBezTo>
                    <a:cubicBezTo>
                      <a:pt x="1347" y="7358"/>
                      <a:pt x="1347" y="7358"/>
                      <a:pt x="1347" y="7358"/>
                    </a:cubicBezTo>
                    <a:cubicBezTo>
                      <a:pt x="1381" y="7197"/>
                      <a:pt x="1381" y="7197"/>
                      <a:pt x="1381" y="7197"/>
                    </a:cubicBezTo>
                    <a:cubicBezTo>
                      <a:pt x="1361" y="7166"/>
                      <a:pt x="1361" y="7166"/>
                      <a:pt x="1361" y="7166"/>
                    </a:cubicBezTo>
                    <a:cubicBezTo>
                      <a:pt x="1359" y="7166"/>
                      <a:pt x="1359" y="7166"/>
                      <a:pt x="1359" y="7166"/>
                    </a:cubicBezTo>
                    <a:cubicBezTo>
                      <a:pt x="1351" y="7168"/>
                      <a:pt x="1282" y="7183"/>
                      <a:pt x="1213" y="7199"/>
                    </a:cubicBezTo>
                    <a:cubicBezTo>
                      <a:pt x="1176" y="7207"/>
                      <a:pt x="1140" y="7216"/>
                      <a:pt x="1112" y="7222"/>
                    </a:cubicBezTo>
                    <a:cubicBezTo>
                      <a:pt x="1098" y="7225"/>
                      <a:pt x="1087" y="7228"/>
                      <a:pt x="1079" y="7230"/>
                    </a:cubicBezTo>
                    <a:cubicBezTo>
                      <a:pt x="1079" y="7230"/>
                      <a:pt x="1079" y="7230"/>
                      <a:pt x="1079" y="7230"/>
                    </a:cubicBezTo>
                    <a:close/>
                    <a:moveTo>
                      <a:pt x="1040" y="7326"/>
                    </a:moveTo>
                    <a:cubicBezTo>
                      <a:pt x="945" y="7569"/>
                      <a:pt x="945" y="7569"/>
                      <a:pt x="945" y="7569"/>
                    </a:cubicBezTo>
                    <a:cubicBezTo>
                      <a:pt x="1090" y="7661"/>
                      <a:pt x="1090" y="7661"/>
                      <a:pt x="1090" y="7661"/>
                    </a:cubicBezTo>
                    <a:cubicBezTo>
                      <a:pt x="1181" y="7923"/>
                      <a:pt x="1181" y="7923"/>
                      <a:pt x="1181" y="7923"/>
                    </a:cubicBezTo>
                    <a:cubicBezTo>
                      <a:pt x="1288" y="7837"/>
                      <a:pt x="1288" y="7837"/>
                      <a:pt x="1288" y="7837"/>
                    </a:cubicBezTo>
                    <a:cubicBezTo>
                      <a:pt x="1537" y="7481"/>
                      <a:pt x="1537" y="7481"/>
                      <a:pt x="1537" y="7481"/>
                    </a:cubicBezTo>
                    <a:cubicBezTo>
                      <a:pt x="1516" y="7470"/>
                      <a:pt x="1478" y="7446"/>
                      <a:pt x="1441" y="7422"/>
                    </a:cubicBezTo>
                    <a:cubicBezTo>
                      <a:pt x="1398" y="7395"/>
                      <a:pt x="1359" y="7370"/>
                      <a:pt x="1359" y="7370"/>
                    </a:cubicBezTo>
                    <a:cubicBezTo>
                      <a:pt x="1359" y="7370"/>
                      <a:pt x="1359" y="7370"/>
                      <a:pt x="1359" y="7370"/>
                    </a:cubicBezTo>
                    <a:cubicBezTo>
                      <a:pt x="1244" y="7508"/>
                      <a:pt x="1244" y="7508"/>
                      <a:pt x="1244" y="7508"/>
                    </a:cubicBezTo>
                    <a:lnTo>
                      <a:pt x="1040" y="7326"/>
                    </a:lnTo>
                    <a:close/>
                    <a:moveTo>
                      <a:pt x="934" y="7582"/>
                    </a:moveTo>
                    <a:cubicBezTo>
                      <a:pt x="880" y="7630"/>
                      <a:pt x="880" y="7630"/>
                      <a:pt x="880" y="7630"/>
                    </a:cubicBezTo>
                    <a:cubicBezTo>
                      <a:pt x="914" y="7791"/>
                      <a:pt x="914" y="7791"/>
                      <a:pt x="914" y="7791"/>
                    </a:cubicBezTo>
                    <a:cubicBezTo>
                      <a:pt x="871" y="7815"/>
                      <a:pt x="871" y="7815"/>
                      <a:pt x="871" y="7815"/>
                    </a:cubicBezTo>
                    <a:cubicBezTo>
                      <a:pt x="853" y="7964"/>
                      <a:pt x="853" y="7964"/>
                      <a:pt x="853" y="7964"/>
                    </a:cubicBezTo>
                    <a:cubicBezTo>
                      <a:pt x="916" y="8019"/>
                      <a:pt x="916" y="8019"/>
                      <a:pt x="916" y="8019"/>
                    </a:cubicBezTo>
                    <a:cubicBezTo>
                      <a:pt x="939" y="8120"/>
                      <a:pt x="939" y="8120"/>
                      <a:pt x="939" y="8120"/>
                    </a:cubicBezTo>
                    <a:cubicBezTo>
                      <a:pt x="1168" y="7934"/>
                      <a:pt x="1168" y="7934"/>
                      <a:pt x="1168" y="7934"/>
                    </a:cubicBezTo>
                    <a:cubicBezTo>
                      <a:pt x="1076" y="7672"/>
                      <a:pt x="1076" y="7672"/>
                      <a:pt x="1076" y="7672"/>
                    </a:cubicBezTo>
                    <a:lnTo>
                      <a:pt x="934" y="7582"/>
                    </a:lnTo>
                    <a:close/>
                    <a:moveTo>
                      <a:pt x="488" y="8047"/>
                    </a:moveTo>
                    <a:cubicBezTo>
                      <a:pt x="710" y="8310"/>
                      <a:pt x="710" y="8310"/>
                      <a:pt x="710" y="8310"/>
                    </a:cubicBezTo>
                    <a:cubicBezTo>
                      <a:pt x="924" y="8132"/>
                      <a:pt x="924" y="8132"/>
                      <a:pt x="924" y="8132"/>
                    </a:cubicBezTo>
                    <a:cubicBezTo>
                      <a:pt x="924" y="8132"/>
                      <a:pt x="924" y="8132"/>
                      <a:pt x="924" y="8132"/>
                    </a:cubicBezTo>
                    <a:cubicBezTo>
                      <a:pt x="924" y="8131"/>
                      <a:pt x="924" y="8131"/>
                      <a:pt x="924" y="8131"/>
                    </a:cubicBezTo>
                    <a:cubicBezTo>
                      <a:pt x="901" y="8028"/>
                      <a:pt x="901" y="8028"/>
                      <a:pt x="901" y="8028"/>
                    </a:cubicBezTo>
                    <a:cubicBezTo>
                      <a:pt x="835" y="7970"/>
                      <a:pt x="835" y="7970"/>
                      <a:pt x="835" y="7970"/>
                    </a:cubicBezTo>
                    <a:cubicBezTo>
                      <a:pt x="856" y="7804"/>
                      <a:pt x="856" y="7804"/>
                      <a:pt x="856" y="7804"/>
                    </a:cubicBezTo>
                    <a:cubicBezTo>
                      <a:pt x="895" y="7783"/>
                      <a:pt x="895" y="7783"/>
                      <a:pt x="895" y="7783"/>
                    </a:cubicBezTo>
                    <a:cubicBezTo>
                      <a:pt x="866" y="7643"/>
                      <a:pt x="866" y="7643"/>
                      <a:pt x="866" y="7643"/>
                    </a:cubicBezTo>
                    <a:lnTo>
                      <a:pt x="488" y="8047"/>
                    </a:lnTo>
                    <a:close/>
                    <a:moveTo>
                      <a:pt x="679" y="8421"/>
                    </a:moveTo>
                    <a:cubicBezTo>
                      <a:pt x="827" y="8620"/>
                      <a:pt x="827" y="8620"/>
                      <a:pt x="827" y="8620"/>
                    </a:cubicBezTo>
                    <a:cubicBezTo>
                      <a:pt x="874" y="8594"/>
                      <a:pt x="910" y="8574"/>
                      <a:pt x="918" y="8569"/>
                    </a:cubicBezTo>
                    <a:cubicBezTo>
                      <a:pt x="925" y="8559"/>
                      <a:pt x="960" y="8505"/>
                      <a:pt x="996" y="8450"/>
                    </a:cubicBezTo>
                    <a:cubicBezTo>
                      <a:pt x="1015" y="8420"/>
                      <a:pt x="1035" y="8389"/>
                      <a:pt x="1050" y="8366"/>
                    </a:cubicBezTo>
                    <a:cubicBezTo>
                      <a:pt x="1057" y="8355"/>
                      <a:pt x="1063" y="8345"/>
                      <a:pt x="1068" y="8338"/>
                    </a:cubicBezTo>
                    <a:cubicBezTo>
                      <a:pt x="1070" y="8335"/>
                      <a:pt x="1071" y="8332"/>
                      <a:pt x="1073" y="8330"/>
                    </a:cubicBezTo>
                    <a:cubicBezTo>
                      <a:pt x="1073" y="8330"/>
                      <a:pt x="1073" y="8329"/>
                      <a:pt x="1073" y="8329"/>
                    </a:cubicBezTo>
                    <a:cubicBezTo>
                      <a:pt x="1073" y="8328"/>
                      <a:pt x="1073" y="8327"/>
                      <a:pt x="1073" y="8326"/>
                    </a:cubicBezTo>
                    <a:cubicBezTo>
                      <a:pt x="1073" y="8297"/>
                      <a:pt x="1078" y="8144"/>
                      <a:pt x="1080" y="8091"/>
                    </a:cubicBezTo>
                    <a:cubicBezTo>
                      <a:pt x="951" y="8194"/>
                      <a:pt x="951" y="8194"/>
                      <a:pt x="951" y="8194"/>
                    </a:cubicBezTo>
                    <a:lnTo>
                      <a:pt x="679" y="8421"/>
                    </a:lnTo>
                    <a:close/>
                    <a:moveTo>
                      <a:pt x="668" y="8430"/>
                    </a:moveTo>
                    <a:cubicBezTo>
                      <a:pt x="409" y="8645"/>
                      <a:pt x="409" y="8645"/>
                      <a:pt x="409" y="8645"/>
                    </a:cubicBezTo>
                    <a:cubicBezTo>
                      <a:pt x="425" y="8661"/>
                      <a:pt x="446" y="8682"/>
                      <a:pt x="468" y="8703"/>
                    </a:cubicBezTo>
                    <a:cubicBezTo>
                      <a:pt x="488" y="8724"/>
                      <a:pt x="510" y="8744"/>
                      <a:pt x="526" y="8760"/>
                    </a:cubicBezTo>
                    <a:cubicBezTo>
                      <a:pt x="533" y="8767"/>
                      <a:pt x="540" y="8773"/>
                      <a:pt x="545" y="8777"/>
                    </a:cubicBezTo>
                    <a:cubicBezTo>
                      <a:pt x="578" y="8758"/>
                      <a:pt x="716" y="8681"/>
                      <a:pt x="815" y="8627"/>
                    </a:cubicBezTo>
                    <a:lnTo>
                      <a:pt x="668" y="8430"/>
                    </a:lnTo>
                    <a:close/>
                    <a:moveTo>
                      <a:pt x="814" y="8656"/>
                    </a:moveTo>
                    <a:cubicBezTo>
                      <a:pt x="1078" y="8991"/>
                      <a:pt x="1078" y="8991"/>
                      <a:pt x="1078" y="8991"/>
                    </a:cubicBezTo>
                    <a:cubicBezTo>
                      <a:pt x="1145" y="8927"/>
                      <a:pt x="1145" y="8927"/>
                      <a:pt x="1145" y="8927"/>
                    </a:cubicBezTo>
                    <a:cubicBezTo>
                      <a:pt x="920" y="8645"/>
                      <a:pt x="920" y="8645"/>
                      <a:pt x="920" y="8645"/>
                    </a:cubicBezTo>
                    <a:lnTo>
                      <a:pt x="814" y="8656"/>
                    </a:lnTo>
                    <a:close/>
                    <a:moveTo>
                      <a:pt x="550" y="8797"/>
                    </a:moveTo>
                    <a:cubicBezTo>
                      <a:pt x="550" y="8824"/>
                      <a:pt x="552" y="8903"/>
                      <a:pt x="553" y="8919"/>
                    </a:cubicBezTo>
                    <a:cubicBezTo>
                      <a:pt x="565" y="8930"/>
                      <a:pt x="642" y="9004"/>
                      <a:pt x="720" y="9078"/>
                    </a:cubicBezTo>
                    <a:cubicBezTo>
                      <a:pt x="763" y="9119"/>
                      <a:pt x="805" y="9159"/>
                      <a:pt x="837" y="9190"/>
                    </a:cubicBezTo>
                    <a:cubicBezTo>
                      <a:pt x="853" y="9205"/>
                      <a:pt x="867" y="9218"/>
                      <a:pt x="876" y="9227"/>
                    </a:cubicBezTo>
                    <a:cubicBezTo>
                      <a:pt x="877" y="9227"/>
                      <a:pt x="877" y="9228"/>
                      <a:pt x="878" y="9229"/>
                    </a:cubicBezTo>
                    <a:cubicBezTo>
                      <a:pt x="929" y="9180"/>
                      <a:pt x="1012" y="9101"/>
                      <a:pt x="1091" y="9025"/>
                    </a:cubicBezTo>
                    <a:cubicBezTo>
                      <a:pt x="1128" y="8991"/>
                      <a:pt x="1164" y="8956"/>
                      <a:pt x="1198" y="8924"/>
                    </a:cubicBezTo>
                    <a:cubicBezTo>
                      <a:pt x="1182" y="8906"/>
                      <a:pt x="1121" y="8831"/>
                      <a:pt x="1060" y="8756"/>
                    </a:cubicBezTo>
                    <a:cubicBezTo>
                      <a:pt x="1024" y="8712"/>
                      <a:pt x="989" y="8669"/>
                      <a:pt x="962" y="8636"/>
                    </a:cubicBezTo>
                    <a:cubicBezTo>
                      <a:pt x="949" y="8619"/>
                      <a:pt x="938" y="8606"/>
                      <a:pt x="930" y="8596"/>
                    </a:cubicBezTo>
                    <a:cubicBezTo>
                      <a:pt x="926" y="8592"/>
                      <a:pt x="924" y="8589"/>
                      <a:pt x="922" y="8586"/>
                    </a:cubicBezTo>
                    <a:cubicBezTo>
                      <a:pt x="908" y="8594"/>
                      <a:pt x="869" y="8615"/>
                      <a:pt x="822" y="8641"/>
                    </a:cubicBezTo>
                    <a:cubicBezTo>
                      <a:pt x="926" y="8631"/>
                      <a:pt x="926" y="8631"/>
                      <a:pt x="926" y="8631"/>
                    </a:cubicBezTo>
                    <a:cubicBezTo>
                      <a:pt x="1164" y="8929"/>
                      <a:pt x="1164" y="8929"/>
                      <a:pt x="1164" y="8929"/>
                    </a:cubicBezTo>
                    <a:cubicBezTo>
                      <a:pt x="1077" y="9012"/>
                      <a:pt x="1077" y="9012"/>
                      <a:pt x="1077" y="9012"/>
                    </a:cubicBezTo>
                    <a:cubicBezTo>
                      <a:pt x="796" y="8656"/>
                      <a:pt x="796" y="8656"/>
                      <a:pt x="796" y="8656"/>
                    </a:cubicBezTo>
                    <a:cubicBezTo>
                      <a:pt x="777" y="8666"/>
                      <a:pt x="757" y="8677"/>
                      <a:pt x="737" y="8688"/>
                    </a:cubicBezTo>
                    <a:cubicBezTo>
                      <a:pt x="690" y="8715"/>
                      <a:pt x="642" y="8741"/>
                      <a:pt x="606" y="8761"/>
                    </a:cubicBezTo>
                    <a:cubicBezTo>
                      <a:pt x="588" y="8771"/>
                      <a:pt x="573" y="8780"/>
                      <a:pt x="563" y="8786"/>
                    </a:cubicBezTo>
                    <a:cubicBezTo>
                      <a:pt x="558" y="8789"/>
                      <a:pt x="554" y="8791"/>
                      <a:pt x="551" y="8793"/>
                    </a:cubicBezTo>
                    <a:lnTo>
                      <a:pt x="550" y="8797"/>
                    </a:lnTo>
                    <a:close/>
                    <a:moveTo>
                      <a:pt x="608" y="9003"/>
                    </a:moveTo>
                    <a:cubicBezTo>
                      <a:pt x="595" y="9051"/>
                      <a:pt x="555" y="9199"/>
                      <a:pt x="534" y="9272"/>
                    </a:cubicBezTo>
                    <a:cubicBezTo>
                      <a:pt x="575" y="9286"/>
                      <a:pt x="620" y="9303"/>
                      <a:pt x="640" y="9302"/>
                    </a:cubicBezTo>
                    <a:cubicBezTo>
                      <a:pt x="663" y="9303"/>
                      <a:pt x="688" y="9289"/>
                      <a:pt x="734" y="9282"/>
                    </a:cubicBezTo>
                    <a:cubicBezTo>
                      <a:pt x="751" y="9280"/>
                      <a:pt x="774" y="9276"/>
                      <a:pt x="803" y="9276"/>
                    </a:cubicBezTo>
                    <a:cubicBezTo>
                      <a:pt x="810" y="9276"/>
                      <a:pt x="818" y="9276"/>
                      <a:pt x="826" y="9277"/>
                    </a:cubicBezTo>
                    <a:cubicBezTo>
                      <a:pt x="826" y="9277"/>
                      <a:pt x="827" y="9277"/>
                      <a:pt x="827" y="9277"/>
                    </a:cubicBezTo>
                    <a:cubicBezTo>
                      <a:pt x="832" y="9273"/>
                      <a:pt x="846" y="9259"/>
                      <a:pt x="866" y="9240"/>
                    </a:cubicBezTo>
                    <a:cubicBezTo>
                      <a:pt x="826" y="9201"/>
                      <a:pt x="693" y="9075"/>
                      <a:pt x="610" y="8995"/>
                    </a:cubicBezTo>
                    <a:cubicBezTo>
                      <a:pt x="609" y="8997"/>
                      <a:pt x="609" y="9000"/>
                      <a:pt x="608" y="9003"/>
                    </a:cubicBezTo>
                    <a:close/>
                    <a:moveTo>
                      <a:pt x="515" y="9338"/>
                    </a:moveTo>
                    <a:cubicBezTo>
                      <a:pt x="499" y="9387"/>
                      <a:pt x="463" y="9495"/>
                      <a:pt x="458" y="9511"/>
                    </a:cubicBezTo>
                    <a:cubicBezTo>
                      <a:pt x="461" y="9525"/>
                      <a:pt x="492" y="9611"/>
                      <a:pt x="521" y="9694"/>
                    </a:cubicBezTo>
                    <a:cubicBezTo>
                      <a:pt x="543" y="9755"/>
                      <a:pt x="564" y="9814"/>
                      <a:pt x="574" y="9844"/>
                    </a:cubicBezTo>
                    <a:cubicBezTo>
                      <a:pt x="1022" y="9604"/>
                      <a:pt x="1022" y="9604"/>
                      <a:pt x="1022" y="9604"/>
                    </a:cubicBezTo>
                    <a:cubicBezTo>
                      <a:pt x="1022" y="9602"/>
                      <a:pt x="1019" y="9591"/>
                      <a:pt x="1013" y="9573"/>
                    </a:cubicBezTo>
                    <a:cubicBezTo>
                      <a:pt x="1003" y="9544"/>
                      <a:pt x="987" y="9499"/>
                      <a:pt x="967" y="9458"/>
                    </a:cubicBezTo>
                    <a:cubicBezTo>
                      <a:pt x="947" y="9416"/>
                      <a:pt x="920" y="9380"/>
                      <a:pt x="901" y="9369"/>
                    </a:cubicBezTo>
                    <a:cubicBezTo>
                      <a:pt x="872" y="9351"/>
                      <a:pt x="846" y="9348"/>
                      <a:pt x="821" y="9346"/>
                    </a:cubicBezTo>
                    <a:cubicBezTo>
                      <a:pt x="815" y="9345"/>
                      <a:pt x="809" y="9345"/>
                      <a:pt x="803" y="9345"/>
                    </a:cubicBezTo>
                    <a:cubicBezTo>
                      <a:pt x="780" y="9345"/>
                      <a:pt x="762" y="9348"/>
                      <a:pt x="743" y="9351"/>
                    </a:cubicBezTo>
                    <a:cubicBezTo>
                      <a:pt x="711" y="9354"/>
                      <a:pt x="685" y="9370"/>
                      <a:pt x="640" y="9371"/>
                    </a:cubicBezTo>
                    <a:cubicBezTo>
                      <a:pt x="596" y="9370"/>
                      <a:pt x="553" y="9351"/>
                      <a:pt x="515" y="9338"/>
                    </a:cubicBezTo>
                    <a:close/>
                    <a:moveTo>
                      <a:pt x="525" y="10043"/>
                    </a:moveTo>
                    <a:cubicBezTo>
                      <a:pt x="528" y="10046"/>
                      <a:pt x="531" y="10051"/>
                      <a:pt x="537" y="10057"/>
                    </a:cubicBezTo>
                    <a:cubicBezTo>
                      <a:pt x="591" y="10027"/>
                      <a:pt x="592" y="10026"/>
                      <a:pt x="598" y="10022"/>
                    </a:cubicBezTo>
                    <a:cubicBezTo>
                      <a:pt x="600" y="10021"/>
                      <a:pt x="600" y="10021"/>
                      <a:pt x="600" y="10021"/>
                    </a:cubicBezTo>
                    <a:cubicBezTo>
                      <a:pt x="601" y="10021"/>
                      <a:pt x="601" y="10021"/>
                      <a:pt x="601" y="10021"/>
                    </a:cubicBezTo>
                    <a:cubicBezTo>
                      <a:pt x="601" y="10020"/>
                      <a:pt x="614" y="10014"/>
                      <a:pt x="639" y="10001"/>
                    </a:cubicBezTo>
                    <a:cubicBezTo>
                      <a:pt x="810" y="9910"/>
                      <a:pt x="1542" y="9522"/>
                      <a:pt x="2267" y="9131"/>
                    </a:cubicBezTo>
                    <a:cubicBezTo>
                      <a:pt x="2899" y="8790"/>
                      <a:pt x="3533" y="8439"/>
                      <a:pt x="3743" y="8331"/>
                    </a:cubicBezTo>
                    <a:cubicBezTo>
                      <a:pt x="3737" y="8317"/>
                      <a:pt x="3737" y="8317"/>
                      <a:pt x="3737" y="8317"/>
                    </a:cubicBezTo>
                    <a:cubicBezTo>
                      <a:pt x="3723" y="8328"/>
                      <a:pt x="3710" y="8338"/>
                      <a:pt x="3700" y="8346"/>
                    </a:cubicBezTo>
                    <a:cubicBezTo>
                      <a:pt x="3693" y="8350"/>
                      <a:pt x="3691" y="8352"/>
                      <a:pt x="3686" y="8355"/>
                    </a:cubicBezTo>
                    <a:cubicBezTo>
                      <a:pt x="3652" y="8374"/>
                      <a:pt x="3548" y="8430"/>
                      <a:pt x="3407" y="8506"/>
                    </a:cubicBezTo>
                    <a:cubicBezTo>
                      <a:pt x="2983" y="8733"/>
                      <a:pt x="2233" y="9125"/>
                      <a:pt x="2233" y="9125"/>
                    </a:cubicBezTo>
                    <a:cubicBezTo>
                      <a:pt x="2232" y="9124"/>
                      <a:pt x="2232" y="9124"/>
                      <a:pt x="2232" y="9124"/>
                    </a:cubicBezTo>
                    <a:cubicBezTo>
                      <a:pt x="2229" y="9126"/>
                      <a:pt x="2229" y="9126"/>
                      <a:pt x="2229" y="9126"/>
                    </a:cubicBezTo>
                    <a:cubicBezTo>
                      <a:pt x="1344" y="9605"/>
                      <a:pt x="1344" y="9605"/>
                      <a:pt x="1344" y="9605"/>
                    </a:cubicBezTo>
                    <a:lnTo>
                      <a:pt x="525" y="10043"/>
                    </a:lnTo>
                    <a:close/>
                    <a:moveTo>
                      <a:pt x="3924" y="8038"/>
                    </a:moveTo>
                    <a:cubicBezTo>
                      <a:pt x="3920" y="8029"/>
                      <a:pt x="3914" y="8014"/>
                      <a:pt x="3907" y="7998"/>
                    </a:cubicBezTo>
                    <a:cubicBezTo>
                      <a:pt x="3899" y="7977"/>
                      <a:pt x="3890" y="7952"/>
                      <a:pt x="3884" y="7926"/>
                    </a:cubicBezTo>
                    <a:cubicBezTo>
                      <a:pt x="3727" y="7997"/>
                      <a:pt x="3727" y="7997"/>
                      <a:pt x="3727" y="7997"/>
                    </a:cubicBezTo>
                    <a:cubicBezTo>
                      <a:pt x="3662" y="7974"/>
                      <a:pt x="3662" y="7974"/>
                      <a:pt x="3662" y="7974"/>
                    </a:cubicBezTo>
                    <a:cubicBezTo>
                      <a:pt x="3478" y="8194"/>
                      <a:pt x="3478" y="8194"/>
                      <a:pt x="3478" y="8194"/>
                    </a:cubicBezTo>
                    <a:cubicBezTo>
                      <a:pt x="3473" y="8193"/>
                      <a:pt x="3473" y="8193"/>
                      <a:pt x="3473" y="8193"/>
                    </a:cubicBezTo>
                    <a:cubicBezTo>
                      <a:pt x="3473" y="8193"/>
                      <a:pt x="3443" y="8183"/>
                      <a:pt x="3413" y="8174"/>
                    </a:cubicBezTo>
                    <a:cubicBezTo>
                      <a:pt x="3398" y="8170"/>
                      <a:pt x="3383" y="8165"/>
                      <a:pt x="3371" y="8162"/>
                    </a:cubicBezTo>
                    <a:cubicBezTo>
                      <a:pt x="3365" y="8160"/>
                      <a:pt x="3360" y="8159"/>
                      <a:pt x="3357" y="8158"/>
                    </a:cubicBezTo>
                    <a:cubicBezTo>
                      <a:pt x="3249" y="8418"/>
                      <a:pt x="3249" y="8418"/>
                      <a:pt x="3249" y="8418"/>
                    </a:cubicBezTo>
                    <a:cubicBezTo>
                      <a:pt x="3333" y="8373"/>
                      <a:pt x="3409" y="8332"/>
                      <a:pt x="3469" y="8300"/>
                    </a:cubicBezTo>
                    <a:cubicBezTo>
                      <a:pt x="3512" y="8277"/>
                      <a:pt x="3547" y="8257"/>
                      <a:pt x="3573" y="8243"/>
                    </a:cubicBezTo>
                    <a:cubicBezTo>
                      <a:pt x="3585" y="8236"/>
                      <a:pt x="3596" y="8231"/>
                      <a:pt x="3603" y="8227"/>
                    </a:cubicBezTo>
                    <a:cubicBezTo>
                      <a:pt x="3606" y="8225"/>
                      <a:pt x="3609" y="8223"/>
                      <a:pt x="3611" y="8222"/>
                    </a:cubicBezTo>
                    <a:cubicBezTo>
                      <a:pt x="3611" y="8222"/>
                      <a:pt x="3611" y="8222"/>
                      <a:pt x="3612" y="8221"/>
                    </a:cubicBezTo>
                    <a:cubicBezTo>
                      <a:pt x="3628" y="8210"/>
                      <a:pt x="3671" y="8173"/>
                      <a:pt x="3725" y="8136"/>
                    </a:cubicBezTo>
                    <a:cubicBezTo>
                      <a:pt x="3779" y="8099"/>
                      <a:pt x="3847" y="8060"/>
                      <a:pt x="3924" y="8038"/>
                    </a:cubicBezTo>
                    <a:close/>
                    <a:moveTo>
                      <a:pt x="3791" y="8276"/>
                    </a:moveTo>
                    <a:cubicBezTo>
                      <a:pt x="3802" y="8302"/>
                      <a:pt x="3802" y="8302"/>
                      <a:pt x="3802" y="8302"/>
                    </a:cubicBezTo>
                    <a:cubicBezTo>
                      <a:pt x="3926" y="8245"/>
                      <a:pt x="4064" y="8206"/>
                      <a:pt x="4207" y="8180"/>
                    </a:cubicBezTo>
                    <a:cubicBezTo>
                      <a:pt x="4153" y="8176"/>
                      <a:pt x="4106" y="8172"/>
                      <a:pt x="4065" y="8172"/>
                    </a:cubicBezTo>
                    <a:cubicBezTo>
                      <a:pt x="4030" y="8172"/>
                      <a:pt x="4000" y="8175"/>
                      <a:pt x="3971" y="8183"/>
                    </a:cubicBezTo>
                    <a:cubicBezTo>
                      <a:pt x="3916" y="8197"/>
                      <a:pt x="3859" y="8229"/>
                      <a:pt x="3811" y="8262"/>
                    </a:cubicBezTo>
                    <a:cubicBezTo>
                      <a:pt x="3804" y="8267"/>
                      <a:pt x="3798" y="8271"/>
                      <a:pt x="3791" y="8276"/>
                    </a:cubicBezTo>
                    <a:close/>
                    <a:moveTo>
                      <a:pt x="3091" y="8848"/>
                    </a:moveTo>
                    <a:cubicBezTo>
                      <a:pt x="3382" y="9437"/>
                      <a:pt x="3382" y="9437"/>
                      <a:pt x="3382" y="9437"/>
                    </a:cubicBezTo>
                    <a:cubicBezTo>
                      <a:pt x="3386" y="9415"/>
                      <a:pt x="3390" y="9394"/>
                      <a:pt x="3395" y="9375"/>
                    </a:cubicBezTo>
                    <a:cubicBezTo>
                      <a:pt x="3409" y="9324"/>
                      <a:pt x="3419" y="9262"/>
                      <a:pt x="3465" y="9203"/>
                    </a:cubicBezTo>
                    <a:cubicBezTo>
                      <a:pt x="3510" y="9143"/>
                      <a:pt x="3589" y="9088"/>
                      <a:pt x="3734" y="9043"/>
                    </a:cubicBezTo>
                    <a:cubicBezTo>
                      <a:pt x="3843" y="9009"/>
                      <a:pt x="3956" y="8978"/>
                      <a:pt x="4007" y="8965"/>
                    </a:cubicBezTo>
                    <a:cubicBezTo>
                      <a:pt x="3803" y="8475"/>
                      <a:pt x="3803" y="8475"/>
                      <a:pt x="3803" y="8475"/>
                    </a:cubicBezTo>
                    <a:cubicBezTo>
                      <a:pt x="3676" y="8540"/>
                      <a:pt x="3413" y="8677"/>
                      <a:pt x="3091" y="8848"/>
                    </a:cubicBezTo>
                    <a:close/>
                    <a:moveTo>
                      <a:pt x="3079" y="8855"/>
                    </a:moveTo>
                    <a:cubicBezTo>
                      <a:pt x="2945" y="8926"/>
                      <a:pt x="2802" y="9002"/>
                      <a:pt x="2654" y="9081"/>
                    </a:cubicBezTo>
                    <a:cubicBezTo>
                      <a:pt x="3223" y="9879"/>
                      <a:pt x="3223" y="9879"/>
                      <a:pt x="3223" y="9879"/>
                    </a:cubicBezTo>
                    <a:cubicBezTo>
                      <a:pt x="3238" y="9865"/>
                      <a:pt x="3252" y="9847"/>
                      <a:pt x="3273" y="9818"/>
                    </a:cubicBezTo>
                    <a:cubicBezTo>
                      <a:pt x="3313" y="9763"/>
                      <a:pt x="3337" y="9679"/>
                      <a:pt x="3354" y="9596"/>
                    </a:cubicBezTo>
                    <a:cubicBezTo>
                      <a:pt x="3363" y="9549"/>
                      <a:pt x="3370" y="9502"/>
                      <a:pt x="3377" y="9460"/>
                    </a:cubicBezTo>
                    <a:lnTo>
                      <a:pt x="3079" y="8855"/>
                    </a:lnTo>
                    <a:close/>
                    <a:moveTo>
                      <a:pt x="2642" y="9087"/>
                    </a:moveTo>
                    <a:cubicBezTo>
                      <a:pt x="2571" y="9125"/>
                      <a:pt x="2499" y="9164"/>
                      <a:pt x="2427" y="9202"/>
                    </a:cubicBezTo>
                    <a:cubicBezTo>
                      <a:pt x="2784" y="10109"/>
                      <a:pt x="2784" y="10109"/>
                      <a:pt x="2784" y="10109"/>
                    </a:cubicBezTo>
                    <a:cubicBezTo>
                      <a:pt x="2822" y="10095"/>
                      <a:pt x="2860" y="10078"/>
                      <a:pt x="2898" y="10058"/>
                    </a:cubicBezTo>
                    <a:cubicBezTo>
                      <a:pt x="3048" y="9974"/>
                      <a:pt x="3123" y="9942"/>
                      <a:pt x="3169" y="9917"/>
                    </a:cubicBezTo>
                    <a:cubicBezTo>
                      <a:pt x="3187" y="9907"/>
                      <a:pt x="3201" y="9899"/>
                      <a:pt x="3213" y="9888"/>
                    </a:cubicBezTo>
                    <a:lnTo>
                      <a:pt x="2642" y="9087"/>
                    </a:lnTo>
                    <a:close/>
                    <a:moveTo>
                      <a:pt x="2415" y="9209"/>
                    </a:moveTo>
                    <a:cubicBezTo>
                      <a:pt x="2351" y="9243"/>
                      <a:pt x="2286" y="9278"/>
                      <a:pt x="2222" y="9312"/>
                    </a:cubicBezTo>
                    <a:cubicBezTo>
                      <a:pt x="2218" y="9357"/>
                      <a:pt x="2200" y="9529"/>
                      <a:pt x="2182" y="9702"/>
                    </a:cubicBezTo>
                    <a:cubicBezTo>
                      <a:pt x="2171" y="9802"/>
                      <a:pt x="2161" y="9903"/>
                      <a:pt x="2152" y="9978"/>
                    </a:cubicBezTo>
                    <a:cubicBezTo>
                      <a:pt x="2148" y="10016"/>
                      <a:pt x="2144" y="10047"/>
                      <a:pt x="2142" y="10069"/>
                    </a:cubicBezTo>
                    <a:cubicBezTo>
                      <a:pt x="2140" y="10080"/>
                      <a:pt x="2139" y="10089"/>
                      <a:pt x="2138" y="10095"/>
                    </a:cubicBezTo>
                    <a:cubicBezTo>
                      <a:pt x="2138" y="10096"/>
                      <a:pt x="2138" y="10096"/>
                      <a:pt x="2138" y="10097"/>
                    </a:cubicBezTo>
                    <a:cubicBezTo>
                      <a:pt x="2143" y="10100"/>
                      <a:pt x="2149" y="10103"/>
                      <a:pt x="2155" y="10105"/>
                    </a:cubicBezTo>
                    <a:cubicBezTo>
                      <a:pt x="2188" y="10119"/>
                      <a:pt x="2235" y="10131"/>
                      <a:pt x="2273" y="10140"/>
                    </a:cubicBezTo>
                    <a:cubicBezTo>
                      <a:pt x="2311" y="10149"/>
                      <a:pt x="2340" y="10154"/>
                      <a:pt x="2341" y="10154"/>
                    </a:cubicBezTo>
                    <a:cubicBezTo>
                      <a:pt x="2346" y="10155"/>
                      <a:pt x="2353" y="10155"/>
                      <a:pt x="2361" y="10156"/>
                    </a:cubicBezTo>
                    <a:cubicBezTo>
                      <a:pt x="2386" y="10159"/>
                      <a:pt x="2417" y="10163"/>
                      <a:pt x="2461" y="10163"/>
                    </a:cubicBezTo>
                    <a:cubicBezTo>
                      <a:pt x="2544" y="10163"/>
                      <a:pt x="2656" y="10153"/>
                      <a:pt x="2771" y="10113"/>
                    </a:cubicBezTo>
                    <a:lnTo>
                      <a:pt x="2415" y="9209"/>
                    </a:lnTo>
                    <a:close/>
                    <a:moveTo>
                      <a:pt x="1993" y="10040"/>
                    </a:moveTo>
                    <a:cubicBezTo>
                      <a:pt x="1640" y="10190"/>
                      <a:pt x="1640" y="10190"/>
                      <a:pt x="1640" y="10190"/>
                    </a:cubicBezTo>
                    <a:cubicBezTo>
                      <a:pt x="1638" y="10210"/>
                      <a:pt x="1635" y="10247"/>
                      <a:pt x="1632" y="10285"/>
                    </a:cubicBezTo>
                    <a:cubicBezTo>
                      <a:pt x="1627" y="10336"/>
                      <a:pt x="1622" y="10384"/>
                      <a:pt x="1622" y="10387"/>
                    </a:cubicBezTo>
                    <a:cubicBezTo>
                      <a:pt x="1604" y="10386"/>
                      <a:pt x="1604" y="10386"/>
                      <a:pt x="1604" y="10386"/>
                    </a:cubicBezTo>
                    <a:cubicBezTo>
                      <a:pt x="1598" y="10456"/>
                      <a:pt x="1598" y="10456"/>
                      <a:pt x="1598" y="10456"/>
                    </a:cubicBezTo>
                    <a:cubicBezTo>
                      <a:pt x="1765" y="10564"/>
                      <a:pt x="1765" y="10564"/>
                      <a:pt x="1765" y="10564"/>
                    </a:cubicBezTo>
                    <a:cubicBezTo>
                      <a:pt x="1935" y="10410"/>
                      <a:pt x="1935" y="10410"/>
                      <a:pt x="1935" y="10410"/>
                    </a:cubicBezTo>
                    <a:cubicBezTo>
                      <a:pt x="2271" y="10294"/>
                      <a:pt x="2271" y="10294"/>
                      <a:pt x="2271" y="10294"/>
                    </a:cubicBezTo>
                    <a:cubicBezTo>
                      <a:pt x="2292" y="10191"/>
                      <a:pt x="2292" y="10191"/>
                      <a:pt x="2292" y="10191"/>
                    </a:cubicBezTo>
                    <a:cubicBezTo>
                      <a:pt x="2250" y="10182"/>
                      <a:pt x="2185" y="10166"/>
                      <a:pt x="2138" y="10147"/>
                    </a:cubicBezTo>
                    <a:cubicBezTo>
                      <a:pt x="2072" y="10119"/>
                      <a:pt x="2016" y="10065"/>
                      <a:pt x="1993" y="10040"/>
                    </a:cubicBezTo>
                    <a:close/>
                    <a:moveTo>
                      <a:pt x="3181" y="10287"/>
                    </a:moveTo>
                    <a:cubicBezTo>
                      <a:pt x="3220" y="10271"/>
                      <a:pt x="3290" y="10243"/>
                      <a:pt x="3359" y="10215"/>
                    </a:cubicBezTo>
                    <a:cubicBezTo>
                      <a:pt x="3449" y="10179"/>
                      <a:pt x="3537" y="10143"/>
                      <a:pt x="3552" y="10137"/>
                    </a:cubicBezTo>
                    <a:cubicBezTo>
                      <a:pt x="3552" y="10137"/>
                      <a:pt x="3552" y="10137"/>
                      <a:pt x="3552" y="10137"/>
                    </a:cubicBezTo>
                    <a:cubicBezTo>
                      <a:pt x="3549" y="10136"/>
                      <a:pt x="3550" y="10136"/>
                      <a:pt x="3549" y="10135"/>
                    </a:cubicBezTo>
                    <a:cubicBezTo>
                      <a:pt x="3547" y="10133"/>
                      <a:pt x="3544" y="10128"/>
                      <a:pt x="3537" y="10118"/>
                    </a:cubicBezTo>
                    <a:cubicBezTo>
                      <a:pt x="3516" y="10084"/>
                      <a:pt x="3464" y="10002"/>
                      <a:pt x="3418" y="9929"/>
                    </a:cubicBezTo>
                    <a:cubicBezTo>
                      <a:pt x="3395" y="9893"/>
                      <a:pt x="3373" y="9859"/>
                      <a:pt x="3356" y="9833"/>
                    </a:cubicBezTo>
                    <a:cubicBezTo>
                      <a:pt x="3348" y="9821"/>
                      <a:pt x="3341" y="9811"/>
                      <a:pt x="3336" y="9803"/>
                    </a:cubicBezTo>
                    <a:cubicBezTo>
                      <a:pt x="3335" y="9803"/>
                      <a:pt x="3335" y="9803"/>
                      <a:pt x="3335" y="9802"/>
                    </a:cubicBezTo>
                    <a:cubicBezTo>
                      <a:pt x="3327" y="9817"/>
                      <a:pt x="3319" y="9831"/>
                      <a:pt x="3309" y="9844"/>
                    </a:cubicBezTo>
                    <a:cubicBezTo>
                      <a:pt x="3266" y="9905"/>
                      <a:pt x="3240" y="9931"/>
                      <a:pt x="3190" y="9957"/>
                    </a:cubicBezTo>
                    <a:cubicBezTo>
                      <a:pt x="3170" y="9968"/>
                      <a:pt x="3144" y="9980"/>
                      <a:pt x="3111" y="9997"/>
                    </a:cubicBezTo>
                    <a:lnTo>
                      <a:pt x="3181" y="10287"/>
                    </a:lnTo>
                    <a:close/>
                    <a:moveTo>
                      <a:pt x="4398" y="9689"/>
                    </a:moveTo>
                    <a:cubicBezTo>
                      <a:pt x="4454" y="9688"/>
                      <a:pt x="4540" y="9686"/>
                      <a:pt x="4639" y="9684"/>
                    </a:cubicBezTo>
                    <a:cubicBezTo>
                      <a:pt x="4617" y="9257"/>
                      <a:pt x="4617" y="9257"/>
                      <a:pt x="4617" y="9257"/>
                    </a:cubicBezTo>
                    <a:cubicBezTo>
                      <a:pt x="4455" y="9270"/>
                      <a:pt x="4295" y="9280"/>
                      <a:pt x="4213" y="9285"/>
                    </a:cubicBezTo>
                    <a:lnTo>
                      <a:pt x="4398" y="9689"/>
                    </a:lnTo>
                    <a:close/>
                    <a:moveTo>
                      <a:pt x="4740" y="10159"/>
                    </a:moveTo>
                    <a:cubicBezTo>
                      <a:pt x="4771" y="10152"/>
                      <a:pt x="4802" y="10144"/>
                      <a:pt x="4831" y="10137"/>
                    </a:cubicBezTo>
                    <a:cubicBezTo>
                      <a:pt x="4861" y="10131"/>
                      <a:pt x="4890" y="10124"/>
                      <a:pt x="4919" y="10118"/>
                    </a:cubicBezTo>
                    <a:cubicBezTo>
                      <a:pt x="4900" y="9692"/>
                      <a:pt x="4900" y="9692"/>
                      <a:pt x="4900" y="9692"/>
                    </a:cubicBezTo>
                    <a:cubicBezTo>
                      <a:pt x="4886" y="9693"/>
                      <a:pt x="4873" y="9693"/>
                      <a:pt x="4859" y="9693"/>
                    </a:cubicBezTo>
                    <a:cubicBezTo>
                      <a:pt x="4789" y="9695"/>
                      <a:pt x="4720" y="9696"/>
                      <a:pt x="4655" y="9698"/>
                    </a:cubicBezTo>
                    <a:lnTo>
                      <a:pt x="4740" y="10159"/>
                    </a:lnTo>
                    <a:close/>
                    <a:moveTo>
                      <a:pt x="5109" y="9674"/>
                    </a:moveTo>
                    <a:cubicBezTo>
                      <a:pt x="4953" y="9220"/>
                      <a:pt x="4953" y="9220"/>
                      <a:pt x="4953" y="9220"/>
                    </a:cubicBezTo>
                    <a:cubicBezTo>
                      <a:pt x="4868" y="9234"/>
                      <a:pt x="4750" y="9246"/>
                      <a:pt x="4630" y="9256"/>
                    </a:cubicBezTo>
                    <a:cubicBezTo>
                      <a:pt x="4653" y="9684"/>
                      <a:pt x="4653" y="9684"/>
                      <a:pt x="4653" y="9684"/>
                    </a:cubicBezTo>
                    <a:cubicBezTo>
                      <a:pt x="4798" y="9681"/>
                      <a:pt x="4968" y="9677"/>
                      <a:pt x="5109" y="9674"/>
                    </a:cubicBezTo>
                    <a:close/>
                    <a:moveTo>
                      <a:pt x="5754" y="9357"/>
                    </a:moveTo>
                    <a:cubicBezTo>
                      <a:pt x="5789" y="9237"/>
                      <a:pt x="5789" y="9237"/>
                      <a:pt x="5789" y="9237"/>
                    </a:cubicBezTo>
                    <a:cubicBezTo>
                      <a:pt x="5751" y="9232"/>
                      <a:pt x="5433" y="9171"/>
                      <a:pt x="5314" y="9149"/>
                    </a:cubicBezTo>
                    <a:cubicBezTo>
                      <a:pt x="5317" y="9155"/>
                      <a:pt x="5320" y="9161"/>
                      <a:pt x="5321" y="9168"/>
                    </a:cubicBezTo>
                    <a:cubicBezTo>
                      <a:pt x="5324" y="9181"/>
                      <a:pt x="5349" y="9232"/>
                      <a:pt x="5373" y="9292"/>
                    </a:cubicBezTo>
                    <a:cubicBezTo>
                      <a:pt x="5376" y="9297"/>
                      <a:pt x="5378" y="9303"/>
                      <a:pt x="5380" y="9308"/>
                    </a:cubicBezTo>
                    <a:lnTo>
                      <a:pt x="5754" y="9357"/>
                    </a:lnTo>
                    <a:close/>
                    <a:moveTo>
                      <a:pt x="5386" y="9323"/>
                    </a:moveTo>
                    <a:cubicBezTo>
                      <a:pt x="5402" y="9366"/>
                      <a:pt x="5416" y="9413"/>
                      <a:pt x="5423" y="9459"/>
                    </a:cubicBezTo>
                    <a:cubicBezTo>
                      <a:pt x="5449" y="9463"/>
                      <a:pt x="5503" y="9472"/>
                      <a:pt x="5559" y="9481"/>
                    </a:cubicBezTo>
                    <a:cubicBezTo>
                      <a:pt x="5623" y="9492"/>
                      <a:pt x="5690" y="9502"/>
                      <a:pt x="5712" y="9505"/>
                    </a:cubicBezTo>
                    <a:cubicBezTo>
                      <a:pt x="5750" y="9370"/>
                      <a:pt x="5750" y="9370"/>
                      <a:pt x="5750" y="9370"/>
                    </a:cubicBezTo>
                    <a:lnTo>
                      <a:pt x="5386" y="9323"/>
                    </a:lnTo>
                    <a:close/>
                    <a:moveTo>
                      <a:pt x="5414" y="9843"/>
                    </a:moveTo>
                    <a:cubicBezTo>
                      <a:pt x="5674" y="9802"/>
                      <a:pt x="5674" y="9802"/>
                      <a:pt x="5674" y="9802"/>
                    </a:cubicBezTo>
                    <a:cubicBezTo>
                      <a:pt x="5671" y="9654"/>
                      <a:pt x="5671" y="9654"/>
                      <a:pt x="5671" y="9654"/>
                    </a:cubicBezTo>
                    <a:cubicBezTo>
                      <a:pt x="5427" y="9633"/>
                      <a:pt x="5427" y="9633"/>
                      <a:pt x="5427" y="9633"/>
                    </a:cubicBezTo>
                    <a:cubicBezTo>
                      <a:pt x="5424" y="9698"/>
                      <a:pt x="5419" y="9773"/>
                      <a:pt x="5414" y="9843"/>
                    </a:cubicBezTo>
                    <a:close/>
                    <a:moveTo>
                      <a:pt x="5397" y="10038"/>
                    </a:moveTo>
                    <a:cubicBezTo>
                      <a:pt x="5495" y="10026"/>
                      <a:pt x="5589" y="10016"/>
                      <a:pt x="5677" y="10008"/>
                    </a:cubicBezTo>
                    <a:cubicBezTo>
                      <a:pt x="5674" y="9816"/>
                      <a:pt x="5674" y="9816"/>
                      <a:pt x="5674" y="9816"/>
                    </a:cubicBezTo>
                    <a:cubicBezTo>
                      <a:pt x="5413" y="9857"/>
                      <a:pt x="5413" y="9857"/>
                      <a:pt x="5413" y="9857"/>
                    </a:cubicBezTo>
                    <a:cubicBezTo>
                      <a:pt x="5407" y="9933"/>
                      <a:pt x="5401" y="10001"/>
                      <a:pt x="5397" y="10038"/>
                    </a:cubicBezTo>
                    <a:close/>
                    <a:moveTo>
                      <a:pt x="5708" y="9519"/>
                    </a:moveTo>
                    <a:cubicBezTo>
                      <a:pt x="5662" y="9513"/>
                      <a:pt x="5484" y="9483"/>
                      <a:pt x="5426" y="9473"/>
                    </a:cubicBezTo>
                    <a:cubicBezTo>
                      <a:pt x="5426" y="9479"/>
                      <a:pt x="5428" y="9485"/>
                      <a:pt x="5428" y="9491"/>
                    </a:cubicBezTo>
                    <a:cubicBezTo>
                      <a:pt x="5429" y="9504"/>
                      <a:pt x="5430" y="9520"/>
                      <a:pt x="5430" y="9539"/>
                    </a:cubicBezTo>
                    <a:cubicBezTo>
                      <a:pt x="5430" y="9562"/>
                      <a:pt x="5429" y="9589"/>
                      <a:pt x="5428" y="9619"/>
                    </a:cubicBezTo>
                    <a:cubicBezTo>
                      <a:pt x="5673" y="9640"/>
                      <a:pt x="5673" y="9640"/>
                      <a:pt x="5673" y="9640"/>
                    </a:cubicBezTo>
                    <a:lnTo>
                      <a:pt x="5708" y="9519"/>
                    </a:lnTo>
                    <a:close/>
                    <a:moveTo>
                      <a:pt x="5706" y="9575"/>
                    </a:moveTo>
                    <a:cubicBezTo>
                      <a:pt x="5862" y="9600"/>
                      <a:pt x="5862" y="9600"/>
                      <a:pt x="5862" y="9600"/>
                    </a:cubicBezTo>
                    <a:cubicBezTo>
                      <a:pt x="5908" y="9475"/>
                      <a:pt x="5908" y="9475"/>
                      <a:pt x="5908" y="9475"/>
                    </a:cubicBezTo>
                    <a:cubicBezTo>
                      <a:pt x="5747" y="9449"/>
                      <a:pt x="5747" y="9449"/>
                      <a:pt x="5747" y="9449"/>
                    </a:cubicBezTo>
                    <a:cubicBezTo>
                      <a:pt x="5749" y="9436"/>
                      <a:pt x="5749" y="9436"/>
                      <a:pt x="5749" y="9436"/>
                    </a:cubicBezTo>
                    <a:cubicBezTo>
                      <a:pt x="5912" y="9461"/>
                      <a:pt x="5912" y="9461"/>
                      <a:pt x="5912" y="9461"/>
                    </a:cubicBezTo>
                    <a:cubicBezTo>
                      <a:pt x="5958" y="9333"/>
                      <a:pt x="5958" y="9333"/>
                      <a:pt x="5958" y="9333"/>
                    </a:cubicBezTo>
                    <a:cubicBezTo>
                      <a:pt x="5784" y="9304"/>
                      <a:pt x="5784" y="9304"/>
                      <a:pt x="5784" y="9304"/>
                    </a:cubicBezTo>
                    <a:lnTo>
                      <a:pt x="5706" y="9575"/>
                    </a:lnTo>
                    <a:close/>
                    <a:moveTo>
                      <a:pt x="5970" y="9751"/>
                    </a:moveTo>
                    <a:cubicBezTo>
                      <a:pt x="6013" y="9752"/>
                      <a:pt x="6043" y="9754"/>
                      <a:pt x="6046" y="9754"/>
                    </a:cubicBezTo>
                    <a:cubicBezTo>
                      <a:pt x="6083" y="9650"/>
                      <a:pt x="6083" y="9650"/>
                      <a:pt x="6083" y="9650"/>
                    </a:cubicBezTo>
                    <a:cubicBezTo>
                      <a:pt x="6011" y="9638"/>
                      <a:pt x="6011" y="9638"/>
                      <a:pt x="6011" y="9638"/>
                    </a:cubicBezTo>
                    <a:lnTo>
                      <a:pt x="5970" y="9751"/>
                    </a:lnTo>
                    <a:close/>
                    <a:moveTo>
                      <a:pt x="6088" y="9636"/>
                    </a:moveTo>
                    <a:cubicBezTo>
                      <a:pt x="6133" y="9510"/>
                      <a:pt x="6133" y="9510"/>
                      <a:pt x="6133" y="9510"/>
                    </a:cubicBezTo>
                    <a:cubicBezTo>
                      <a:pt x="6061" y="9498"/>
                      <a:pt x="6061" y="9498"/>
                      <a:pt x="6061" y="9498"/>
                    </a:cubicBezTo>
                    <a:cubicBezTo>
                      <a:pt x="6016" y="9625"/>
                      <a:pt x="6016" y="9625"/>
                      <a:pt x="6016" y="9625"/>
                    </a:cubicBezTo>
                    <a:lnTo>
                      <a:pt x="6088" y="9636"/>
                    </a:lnTo>
                    <a:close/>
                    <a:moveTo>
                      <a:pt x="6138" y="9496"/>
                    </a:moveTo>
                    <a:cubicBezTo>
                      <a:pt x="6269" y="9124"/>
                      <a:pt x="6269" y="9124"/>
                      <a:pt x="6269" y="9124"/>
                    </a:cubicBezTo>
                    <a:cubicBezTo>
                      <a:pt x="6201" y="9109"/>
                      <a:pt x="6201" y="9109"/>
                      <a:pt x="6201" y="9109"/>
                    </a:cubicBezTo>
                    <a:cubicBezTo>
                      <a:pt x="6162" y="9217"/>
                      <a:pt x="6162" y="9217"/>
                      <a:pt x="6162" y="9217"/>
                    </a:cubicBezTo>
                    <a:cubicBezTo>
                      <a:pt x="6228" y="9229"/>
                      <a:pt x="6228" y="9229"/>
                      <a:pt x="6228" y="9229"/>
                    </a:cubicBezTo>
                    <a:cubicBezTo>
                      <a:pt x="6225" y="9243"/>
                      <a:pt x="6225" y="9243"/>
                      <a:pt x="6225" y="9243"/>
                    </a:cubicBezTo>
                    <a:cubicBezTo>
                      <a:pt x="6158" y="9230"/>
                      <a:pt x="6158" y="9230"/>
                      <a:pt x="6158" y="9230"/>
                    </a:cubicBezTo>
                    <a:cubicBezTo>
                      <a:pt x="6116" y="9346"/>
                      <a:pt x="6116" y="9346"/>
                      <a:pt x="6116" y="9346"/>
                    </a:cubicBezTo>
                    <a:cubicBezTo>
                      <a:pt x="6182" y="9357"/>
                      <a:pt x="6182" y="9357"/>
                      <a:pt x="6182" y="9357"/>
                    </a:cubicBezTo>
                    <a:cubicBezTo>
                      <a:pt x="6179" y="9371"/>
                      <a:pt x="6179" y="9371"/>
                      <a:pt x="6179" y="9371"/>
                    </a:cubicBezTo>
                    <a:cubicBezTo>
                      <a:pt x="6111" y="9359"/>
                      <a:pt x="6111" y="9359"/>
                      <a:pt x="6111" y="9359"/>
                    </a:cubicBezTo>
                    <a:cubicBezTo>
                      <a:pt x="6066" y="9485"/>
                      <a:pt x="6066" y="9485"/>
                      <a:pt x="6066" y="9485"/>
                    </a:cubicBezTo>
                    <a:lnTo>
                      <a:pt x="6138" y="9496"/>
                    </a:lnTo>
                    <a:close/>
                    <a:moveTo>
                      <a:pt x="6274" y="9111"/>
                    </a:moveTo>
                    <a:cubicBezTo>
                      <a:pt x="6319" y="8984"/>
                      <a:pt x="6319" y="8984"/>
                      <a:pt x="6319" y="8984"/>
                    </a:cubicBezTo>
                    <a:cubicBezTo>
                      <a:pt x="6250" y="8972"/>
                      <a:pt x="6250" y="8972"/>
                      <a:pt x="6250" y="8972"/>
                    </a:cubicBezTo>
                    <a:cubicBezTo>
                      <a:pt x="6206" y="9095"/>
                      <a:pt x="6206" y="9095"/>
                      <a:pt x="6206" y="9095"/>
                    </a:cubicBezTo>
                    <a:lnTo>
                      <a:pt x="6274" y="9111"/>
                    </a:lnTo>
                    <a:close/>
                    <a:moveTo>
                      <a:pt x="6324" y="8971"/>
                    </a:moveTo>
                    <a:cubicBezTo>
                      <a:pt x="6362" y="8862"/>
                      <a:pt x="6362" y="8862"/>
                      <a:pt x="6362" y="8862"/>
                    </a:cubicBezTo>
                    <a:cubicBezTo>
                      <a:pt x="6293" y="8852"/>
                      <a:pt x="6293" y="8852"/>
                      <a:pt x="6293" y="8852"/>
                    </a:cubicBezTo>
                    <a:cubicBezTo>
                      <a:pt x="6255" y="8958"/>
                      <a:pt x="6255" y="8958"/>
                      <a:pt x="6255" y="8958"/>
                    </a:cubicBezTo>
                    <a:lnTo>
                      <a:pt x="6324" y="8971"/>
                    </a:lnTo>
                    <a:close/>
                    <a:moveTo>
                      <a:pt x="6367" y="8849"/>
                    </a:moveTo>
                    <a:cubicBezTo>
                      <a:pt x="6475" y="8543"/>
                      <a:pt x="6475" y="8543"/>
                      <a:pt x="6475" y="8543"/>
                    </a:cubicBezTo>
                    <a:cubicBezTo>
                      <a:pt x="6405" y="8542"/>
                      <a:pt x="6405" y="8542"/>
                      <a:pt x="6405" y="8542"/>
                    </a:cubicBezTo>
                    <a:cubicBezTo>
                      <a:pt x="6351" y="8691"/>
                      <a:pt x="6351" y="8691"/>
                      <a:pt x="6351" y="8691"/>
                    </a:cubicBezTo>
                    <a:cubicBezTo>
                      <a:pt x="6412" y="8697"/>
                      <a:pt x="6412" y="8697"/>
                      <a:pt x="6412" y="8697"/>
                    </a:cubicBezTo>
                    <a:cubicBezTo>
                      <a:pt x="6411" y="8711"/>
                      <a:pt x="6411" y="8711"/>
                      <a:pt x="6411" y="8711"/>
                    </a:cubicBezTo>
                    <a:cubicBezTo>
                      <a:pt x="6347" y="8704"/>
                      <a:pt x="6347" y="8704"/>
                      <a:pt x="6347" y="8704"/>
                    </a:cubicBezTo>
                    <a:cubicBezTo>
                      <a:pt x="6298" y="8839"/>
                      <a:pt x="6298" y="8839"/>
                      <a:pt x="6298" y="8839"/>
                    </a:cubicBezTo>
                    <a:lnTo>
                      <a:pt x="6367" y="8849"/>
                    </a:lnTo>
                    <a:close/>
                    <a:moveTo>
                      <a:pt x="6480" y="8529"/>
                    </a:moveTo>
                    <a:cubicBezTo>
                      <a:pt x="6606" y="8172"/>
                      <a:pt x="6606" y="8172"/>
                      <a:pt x="6606" y="8172"/>
                    </a:cubicBezTo>
                    <a:cubicBezTo>
                      <a:pt x="6598" y="8172"/>
                      <a:pt x="6589" y="8172"/>
                      <a:pt x="6581" y="8172"/>
                    </a:cubicBezTo>
                    <a:cubicBezTo>
                      <a:pt x="6575" y="8171"/>
                      <a:pt x="6549" y="8170"/>
                      <a:pt x="6508" y="8167"/>
                    </a:cubicBezTo>
                    <a:cubicBezTo>
                      <a:pt x="6502" y="8184"/>
                      <a:pt x="6496" y="8201"/>
                      <a:pt x="6487" y="8218"/>
                    </a:cubicBezTo>
                    <a:cubicBezTo>
                      <a:pt x="6465" y="8263"/>
                      <a:pt x="6432" y="8309"/>
                      <a:pt x="6377" y="8333"/>
                    </a:cubicBezTo>
                    <a:cubicBezTo>
                      <a:pt x="6347" y="8346"/>
                      <a:pt x="6319" y="8350"/>
                      <a:pt x="6285" y="8353"/>
                    </a:cubicBezTo>
                    <a:cubicBezTo>
                      <a:pt x="6252" y="8357"/>
                      <a:pt x="6213" y="8358"/>
                      <a:pt x="6170" y="8358"/>
                    </a:cubicBezTo>
                    <a:cubicBezTo>
                      <a:pt x="6104" y="8358"/>
                      <a:pt x="6026" y="8355"/>
                      <a:pt x="5943" y="8350"/>
                    </a:cubicBezTo>
                    <a:cubicBezTo>
                      <a:pt x="5938" y="8367"/>
                      <a:pt x="5929" y="8402"/>
                      <a:pt x="5918" y="8447"/>
                    </a:cubicBezTo>
                    <a:cubicBezTo>
                      <a:pt x="5912" y="8469"/>
                      <a:pt x="5906" y="8495"/>
                      <a:pt x="5899" y="8521"/>
                    </a:cubicBezTo>
                    <a:cubicBezTo>
                      <a:pt x="6249" y="8526"/>
                      <a:pt x="6249" y="8526"/>
                      <a:pt x="6249" y="8526"/>
                    </a:cubicBezTo>
                    <a:cubicBezTo>
                      <a:pt x="6303" y="8375"/>
                      <a:pt x="6303" y="8375"/>
                      <a:pt x="6303" y="8375"/>
                    </a:cubicBezTo>
                    <a:cubicBezTo>
                      <a:pt x="6445" y="8429"/>
                      <a:pt x="6445" y="8429"/>
                      <a:pt x="6445" y="8429"/>
                    </a:cubicBezTo>
                    <a:cubicBezTo>
                      <a:pt x="6410" y="8528"/>
                      <a:pt x="6410" y="8528"/>
                      <a:pt x="6410" y="8528"/>
                    </a:cubicBezTo>
                    <a:lnTo>
                      <a:pt x="6480" y="8529"/>
                    </a:lnTo>
                    <a:close/>
                    <a:moveTo>
                      <a:pt x="6619" y="8020"/>
                    </a:moveTo>
                    <a:cubicBezTo>
                      <a:pt x="6626" y="8020"/>
                      <a:pt x="6632" y="8020"/>
                      <a:pt x="6637" y="8019"/>
                    </a:cubicBezTo>
                    <a:cubicBezTo>
                      <a:pt x="6652" y="7987"/>
                      <a:pt x="6678" y="7933"/>
                      <a:pt x="6706" y="7882"/>
                    </a:cubicBezTo>
                    <a:cubicBezTo>
                      <a:pt x="6707" y="7880"/>
                      <a:pt x="6707" y="7880"/>
                      <a:pt x="6707" y="7880"/>
                    </a:cubicBezTo>
                    <a:cubicBezTo>
                      <a:pt x="6707" y="7879"/>
                      <a:pt x="6707" y="7879"/>
                      <a:pt x="6707" y="7879"/>
                    </a:cubicBezTo>
                    <a:cubicBezTo>
                      <a:pt x="6710" y="7874"/>
                      <a:pt x="6730" y="7841"/>
                      <a:pt x="6773" y="7805"/>
                    </a:cubicBezTo>
                    <a:cubicBezTo>
                      <a:pt x="6815" y="7768"/>
                      <a:pt x="6881" y="7727"/>
                      <a:pt x="6971" y="7711"/>
                    </a:cubicBezTo>
                    <a:cubicBezTo>
                      <a:pt x="7021" y="7702"/>
                      <a:pt x="7076" y="7695"/>
                      <a:pt x="7134" y="7692"/>
                    </a:cubicBezTo>
                    <a:cubicBezTo>
                      <a:pt x="7131" y="7674"/>
                      <a:pt x="7129" y="7654"/>
                      <a:pt x="7129" y="7643"/>
                    </a:cubicBezTo>
                    <a:cubicBezTo>
                      <a:pt x="7130" y="7638"/>
                      <a:pt x="7126" y="7635"/>
                      <a:pt x="7134" y="7629"/>
                    </a:cubicBezTo>
                    <a:cubicBezTo>
                      <a:pt x="7138" y="7627"/>
                      <a:pt x="7143" y="7627"/>
                      <a:pt x="7155" y="7624"/>
                    </a:cubicBezTo>
                    <a:cubicBezTo>
                      <a:pt x="7240" y="7609"/>
                      <a:pt x="7585" y="7543"/>
                      <a:pt x="7932" y="7380"/>
                    </a:cubicBezTo>
                    <a:cubicBezTo>
                      <a:pt x="8129" y="7286"/>
                      <a:pt x="8260" y="7139"/>
                      <a:pt x="8343" y="7014"/>
                    </a:cubicBezTo>
                    <a:cubicBezTo>
                      <a:pt x="8425" y="6890"/>
                      <a:pt x="8457" y="6789"/>
                      <a:pt x="8458" y="6789"/>
                    </a:cubicBezTo>
                    <a:cubicBezTo>
                      <a:pt x="8459" y="6784"/>
                      <a:pt x="8459" y="6784"/>
                      <a:pt x="8459" y="6784"/>
                    </a:cubicBezTo>
                    <a:cubicBezTo>
                      <a:pt x="8465" y="6785"/>
                      <a:pt x="8465" y="6785"/>
                      <a:pt x="8465" y="6785"/>
                    </a:cubicBezTo>
                    <a:cubicBezTo>
                      <a:pt x="8465" y="6785"/>
                      <a:pt x="8496" y="6786"/>
                      <a:pt x="8522" y="6788"/>
                    </a:cubicBezTo>
                    <a:cubicBezTo>
                      <a:pt x="8524" y="6704"/>
                      <a:pt x="8525" y="6615"/>
                      <a:pt x="8525" y="6528"/>
                    </a:cubicBezTo>
                    <a:cubicBezTo>
                      <a:pt x="8525" y="6522"/>
                      <a:pt x="8525" y="6515"/>
                      <a:pt x="8525" y="6509"/>
                    </a:cubicBezTo>
                    <a:cubicBezTo>
                      <a:pt x="8515" y="6508"/>
                      <a:pt x="8504" y="6506"/>
                      <a:pt x="8491" y="6505"/>
                    </a:cubicBezTo>
                    <a:cubicBezTo>
                      <a:pt x="8467" y="6502"/>
                      <a:pt x="8438" y="6498"/>
                      <a:pt x="8406" y="6495"/>
                    </a:cubicBezTo>
                    <a:cubicBezTo>
                      <a:pt x="8407" y="6509"/>
                      <a:pt x="8407" y="6523"/>
                      <a:pt x="8407" y="6536"/>
                    </a:cubicBezTo>
                    <a:cubicBezTo>
                      <a:pt x="8406" y="6697"/>
                      <a:pt x="8391" y="6826"/>
                      <a:pt x="8340" y="6917"/>
                    </a:cubicBezTo>
                    <a:cubicBezTo>
                      <a:pt x="8200" y="7159"/>
                      <a:pt x="7872" y="7446"/>
                      <a:pt x="7287" y="7558"/>
                    </a:cubicBezTo>
                    <a:cubicBezTo>
                      <a:pt x="7005" y="7612"/>
                      <a:pt x="6860" y="7644"/>
                      <a:pt x="6784" y="7676"/>
                    </a:cubicBezTo>
                    <a:cubicBezTo>
                      <a:pt x="6746" y="7693"/>
                      <a:pt x="6725" y="7706"/>
                      <a:pt x="6705" y="7725"/>
                    </a:cubicBezTo>
                    <a:cubicBezTo>
                      <a:pt x="6684" y="7744"/>
                      <a:pt x="6664" y="7772"/>
                      <a:pt x="6634" y="7811"/>
                    </a:cubicBezTo>
                    <a:cubicBezTo>
                      <a:pt x="6598" y="7860"/>
                      <a:pt x="6574" y="7937"/>
                      <a:pt x="6552" y="8017"/>
                    </a:cubicBezTo>
                    <a:cubicBezTo>
                      <a:pt x="6572" y="8018"/>
                      <a:pt x="6585" y="8019"/>
                      <a:pt x="6588" y="8019"/>
                    </a:cubicBezTo>
                    <a:cubicBezTo>
                      <a:pt x="6599" y="8020"/>
                      <a:pt x="6610" y="8020"/>
                      <a:pt x="6619" y="8020"/>
                    </a:cubicBezTo>
                    <a:close/>
                    <a:moveTo>
                      <a:pt x="8280" y="7131"/>
                    </a:moveTo>
                    <a:cubicBezTo>
                      <a:pt x="8285" y="7118"/>
                      <a:pt x="8285" y="7118"/>
                      <a:pt x="8285" y="7118"/>
                    </a:cubicBezTo>
                    <a:cubicBezTo>
                      <a:pt x="8512" y="7197"/>
                      <a:pt x="8512" y="7197"/>
                      <a:pt x="8512" y="7197"/>
                    </a:cubicBezTo>
                    <a:cubicBezTo>
                      <a:pt x="8515" y="7129"/>
                      <a:pt x="8519" y="6977"/>
                      <a:pt x="8522" y="6801"/>
                    </a:cubicBezTo>
                    <a:cubicBezTo>
                      <a:pt x="8502" y="6801"/>
                      <a:pt x="8479" y="6799"/>
                      <a:pt x="8469" y="6799"/>
                    </a:cubicBezTo>
                    <a:cubicBezTo>
                      <a:pt x="8456" y="6835"/>
                      <a:pt x="8372" y="7056"/>
                      <a:pt x="8168" y="7239"/>
                    </a:cubicBezTo>
                    <a:cubicBezTo>
                      <a:pt x="8186" y="7252"/>
                      <a:pt x="8264" y="7309"/>
                      <a:pt x="8343" y="7366"/>
                    </a:cubicBezTo>
                    <a:cubicBezTo>
                      <a:pt x="8389" y="7399"/>
                      <a:pt x="8434" y="7432"/>
                      <a:pt x="8469" y="7456"/>
                    </a:cubicBezTo>
                    <a:cubicBezTo>
                      <a:pt x="8485" y="7467"/>
                      <a:pt x="8499" y="7476"/>
                      <a:pt x="8509" y="7483"/>
                    </a:cubicBezTo>
                    <a:cubicBezTo>
                      <a:pt x="8506" y="7449"/>
                      <a:pt x="8505" y="7416"/>
                      <a:pt x="8505" y="7383"/>
                    </a:cubicBezTo>
                    <a:cubicBezTo>
                      <a:pt x="8505" y="7321"/>
                      <a:pt x="8509" y="7263"/>
                      <a:pt x="8511" y="7213"/>
                    </a:cubicBezTo>
                    <a:cubicBezTo>
                      <a:pt x="8511" y="7212"/>
                      <a:pt x="8511" y="7212"/>
                      <a:pt x="8511" y="7211"/>
                    </a:cubicBezTo>
                    <a:lnTo>
                      <a:pt x="8280" y="7131"/>
                    </a:lnTo>
                    <a:close/>
                    <a:moveTo>
                      <a:pt x="7853" y="7437"/>
                    </a:moveTo>
                    <a:cubicBezTo>
                      <a:pt x="7863" y="7427"/>
                      <a:pt x="7863" y="7427"/>
                      <a:pt x="7863" y="7427"/>
                    </a:cubicBezTo>
                    <a:cubicBezTo>
                      <a:pt x="7863" y="7427"/>
                      <a:pt x="7970" y="7537"/>
                      <a:pt x="8087" y="7656"/>
                    </a:cubicBezTo>
                    <a:cubicBezTo>
                      <a:pt x="8088" y="7655"/>
                      <a:pt x="8088" y="7655"/>
                      <a:pt x="8089" y="7655"/>
                    </a:cubicBezTo>
                    <a:cubicBezTo>
                      <a:pt x="8138" y="7637"/>
                      <a:pt x="8187" y="7619"/>
                      <a:pt x="8224" y="7605"/>
                    </a:cubicBezTo>
                    <a:cubicBezTo>
                      <a:pt x="8243" y="7598"/>
                      <a:pt x="8258" y="7593"/>
                      <a:pt x="8270" y="7589"/>
                    </a:cubicBezTo>
                    <a:cubicBezTo>
                      <a:pt x="8270" y="7589"/>
                      <a:pt x="8271" y="7588"/>
                      <a:pt x="8271" y="7588"/>
                    </a:cubicBezTo>
                    <a:cubicBezTo>
                      <a:pt x="8004" y="7360"/>
                      <a:pt x="8004" y="7360"/>
                      <a:pt x="8004" y="7360"/>
                    </a:cubicBezTo>
                    <a:cubicBezTo>
                      <a:pt x="8009" y="7354"/>
                      <a:pt x="8009" y="7354"/>
                      <a:pt x="8009" y="7354"/>
                    </a:cubicBezTo>
                    <a:cubicBezTo>
                      <a:pt x="7986" y="7368"/>
                      <a:pt x="7963" y="7380"/>
                      <a:pt x="7938" y="7392"/>
                    </a:cubicBezTo>
                    <a:cubicBezTo>
                      <a:pt x="7791" y="7461"/>
                      <a:pt x="7645" y="7513"/>
                      <a:pt x="7518" y="7551"/>
                    </a:cubicBezTo>
                    <a:cubicBezTo>
                      <a:pt x="7615" y="7748"/>
                      <a:pt x="7615" y="7748"/>
                      <a:pt x="7615" y="7748"/>
                    </a:cubicBezTo>
                    <a:cubicBezTo>
                      <a:pt x="7722" y="7782"/>
                      <a:pt x="7831" y="7837"/>
                      <a:pt x="7920" y="7887"/>
                    </a:cubicBezTo>
                    <a:cubicBezTo>
                      <a:pt x="7989" y="7926"/>
                      <a:pt x="8046" y="7961"/>
                      <a:pt x="8076" y="7981"/>
                    </a:cubicBezTo>
                    <a:cubicBezTo>
                      <a:pt x="8086" y="7980"/>
                      <a:pt x="8100" y="7978"/>
                      <a:pt x="8116" y="7977"/>
                    </a:cubicBezTo>
                    <a:cubicBezTo>
                      <a:pt x="7674" y="7508"/>
                      <a:pt x="7674" y="7508"/>
                      <a:pt x="7674" y="7508"/>
                    </a:cubicBezTo>
                    <a:cubicBezTo>
                      <a:pt x="7684" y="7498"/>
                      <a:pt x="7684" y="7498"/>
                      <a:pt x="7684" y="7498"/>
                    </a:cubicBezTo>
                    <a:cubicBezTo>
                      <a:pt x="7899" y="7726"/>
                      <a:pt x="7899" y="7726"/>
                      <a:pt x="7899" y="7726"/>
                    </a:cubicBezTo>
                    <a:cubicBezTo>
                      <a:pt x="7915" y="7720"/>
                      <a:pt x="7991" y="7691"/>
                      <a:pt x="8073" y="7661"/>
                    </a:cubicBezTo>
                    <a:cubicBezTo>
                      <a:pt x="7958" y="7544"/>
                      <a:pt x="7853" y="7437"/>
                      <a:pt x="7853" y="7437"/>
                    </a:cubicBezTo>
                    <a:close/>
                    <a:moveTo>
                      <a:pt x="7770" y="8224"/>
                    </a:moveTo>
                    <a:cubicBezTo>
                      <a:pt x="7699" y="8363"/>
                      <a:pt x="7699" y="8363"/>
                      <a:pt x="7699" y="8363"/>
                    </a:cubicBezTo>
                    <a:cubicBezTo>
                      <a:pt x="7813" y="8417"/>
                      <a:pt x="7813" y="8417"/>
                      <a:pt x="7813" y="8417"/>
                    </a:cubicBezTo>
                    <a:cubicBezTo>
                      <a:pt x="7883" y="8280"/>
                      <a:pt x="7883" y="8280"/>
                      <a:pt x="7883" y="8280"/>
                    </a:cubicBezTo>
                    <a:lnTo>
                      <a:pt x="7770" y="8224"/>
                    </a:lnTo>
                    <a:close/>
                    <a:moveTo>
                      <a:pt x="7889" y="8267"/>
                    </a:moveTo>
                    <a:cubicBezTo>
                      <a:pt x="7952" y="8145"/>
                      <a:pt x="7952" y="8145"/>
                      <a:pt x="7952" y="8145"/>
                    </a:cubicBezTo>
                    <a:cubicBezTo>
                      <a:pt x="7840" y="8086"/>
                      <a:pt x="7840" y="8086"/>
                      <a:pt x="7840" y="8086"/>
                    </a:cubicBezTo>
                    <a:cubicBezTo>
                      <a:pt x="7776" y="8211"/>
                      <a:pt x="7776" y="8211"/>
                      <a:pt x="7776" y="8211"/>
                    </a:cubicBezTo>
                    <a:lnTo>
                      <a:pt x="7889" y="8267"/>
                    </a:lnTo>
                    <a:close/>
                    <a:moveTo>
                      <a:pt x="7119" y="8162"/>
                    </a:moveTo>
                    <a:cubicBezTo>
                      <a:pt x="7210" y="8181"/>
                      <a:pt x="7309" y="8202"/>
                      <a:pt x="7358" y="8213"/>
                    </a:cubicBezTo>
                    <a:cubicBezTo>
                      <a:pt x="7407" y="8060"/>
                      <a:pt x="7407" y="8060"/>
                      <a:pt x="7407" y="8060"/>
                    </a:cubicBezTo>
                    <a:cubicBezTo>
                      <a:pt x="7169" y="8015"/>
                      <a:pt x="7169" y="8015"/>
                      <a:pt x="7169" y="8015"/>
                    </a:cubicBezTo>
                    <a:lnTo>
                      <a:pt x="7119" y="8162"/>
                    </a:lnTo>
                    <a:close/>
                    <a:moveTo>
                      <a:pt x="7190" y="7914"/>
                    </a:moveTo>
                    <a:cubicBezTo>
                      <a:pt x="7065" y="7872"/>
                      <a:pt x="7065" y="7872"/>
                      <a:pt x="7065" y="7872"/>
                    </a:cubicBezTo>
                    <a:cubicBezTo>
                      <a:pt x="7031" y="7974"/>
                      <a:pt x="7031" y="7974"/>
                      <a:pt x="7031" y="7974"/>
                    </a:cubicBezTo>
                    <a:cubicBezTo>
                      <a:pt x="7161" y="7999"/>
                      <a:pt x="7161" y="7999"/>
                      <a:pt x="7161" y="7999"/>
                    </a:cubicBezTo>
                    <a:lnTo>
                      <a:pt x="7190" y="7914"/>
                    </a:lnTo>
                    <a:close/>
                    <a:moveTo>
                      <a:pt x="7365" y="8408"/>
                    </a:moveTo>
                    <a:cubicBezTo>
                      <a:pt x="7602" y="8525"/>
                      <a:pt x="7602" y="8525"/>
                      <a:pt x="7602" y="8525"/>
                    </a:cubicBezTo>
                    <a:cubicBezTo>
                      <a:pt x="7681" y="8370"/>
                      <a:pt x="7681" y="8370"/>
                      <a:pt x="7681" y="8370"/>
                    </a:cubicBezTo>
                    <a:cubicBezTo>
                      <a:pt x="7416" y="8247"/>
                      <a:pt x="7416" y="8247"/>
                      <a:pt x="7416" y="8247"/>
                    </a:cubicBezTo>
                    <a:lnTo>
                      <a:pt x="7365" y="8408"/>
                    </a:lnTo>
                    <a:close/>
                    <a:moveTo>
                      <a:pt x="7115" y="8176"/>
                    </a:moveTo>
                    <a:cubicBezTo>
                      <a:pt x="7059" y="8340"/>
                      <a:pt x="7059" y="8340"/>
                      <a:pt x="7059" y="8340"/>
                    </a:cubicBezTo>
                    <a:cubicBezTo>
                      <a:pt x="7302" y="8388"/>
                      <a:pt x="7302" y="8388"/>
                      <a:pt x="7302" y="8388"/>
                    </a:cubicBezTo>
                    <a:cubicBezTo>
                      <a:pt x="7354" y="8226"/>
                      <a:pt x="7354" y="8226"/>
                      <a:pt x="7354" y="8226"/>
                    </a:cubicBezTo>
                    <a:cubicBezTo>
                      <a:pt x="7313" y="8217"/>
                      <a:pt x="7239" y="8201"/>
                      <a:pt x="7163" y="8186"/>
                    </a:cubicBezTo>
                    <a:cubicBezTo>
                      <a:pt x="7147" y="8182"/>
                      <a:pt x="7131" y="8179"/>
                      <a:pt x="7115" y="8176"/>
                    </a:cubicBezTo>
                    <a:close/>
                    <a:moveTo>
                      <a:pt x="7055" y="8354"/>
                    </a:moveTo>
                    <a:cubicBezTo>
                      <a:pt x="6997" y="8524"/>
                      <a:pt x="6997" y="8524"/>
                      <a:pt x="6997" y="8524"/>
                    </a:cubicBezTo>
                    <a:cubicBezTo>
                      <a:pt x="7091" y="8542"/>
                      <a:pt x="7193" y="8561"/>
                      <a:pt x="7244" y="8571"/>
                    </a:cubicBezTo>
                    <a:cubicBezTo>
                      <a:pt x="7298" y="8401"/>
                      <a:pt x="7298" y="8401"/>
                      <a:pt x="7298" y="8401"/>
                    </a:cubicBezTo>
                    <a:lnTo>
                      <a:pt x="7055" y="8354"/>
                    </a:lnTo>
                    <a:close/>
                    <a:moveTo>
                      <a:pt x="6992" y="8537"/>
                    </a:moveTo>
                    <a:cubicBezTo>
                      <a:pt x="6935" y="8706"/>
                      <a:pt x="6935" y="8706"/>
                      <a:pt x="6935" y="8706"/>
                    </a:cubicBezTo>
                    <a:cubicBezTo>
                      <a:pt x="7029" y="8723"/>
                      <a:pt x="7130" y="8743"/>
                      <a:pt x="7185" y="8753"/>
                    </a:cubicBezTo>
                    <a:cubicBezTo>
                      <a:pt x="7239" y="8584"/>
                      <a:pt x="7239" y="8584"/>
                      <a:pt x="7239" y="8584"/>
                    </a:cubicBezTo>
                    <a:cubicBezTo>
                      <a:pt x="7196" y="8576"/>
                      <a:pt x="7118" y="8561"/>
                      <a:pt x="7038" y="8546"/>
                    </a:cubicBezTo>
                    <a:cubicBezTo>
                      <a:pt x="7023" y="8543"/>
                      <a:pt x="7008" y="8540"/>
                      <a:pt x="6992" y="8537"/>
                    </a:cubicBezTo>
                    <a:close/>
                    <a:moveTo>
                      <a:pt x="6931" y="8719"/>
                    </a:moveTo>
                    <a:cubicBezTo>
                      <a:pt x="6872" y="8892"/>
                      <a:pt x="6872" y="8892"/>
                      <a:pt x="6872" y="8892"/>
                    </a:cubicBezTo>
                    <a:cubicBezTo>
                      <a:pt x="6881" y="8894"/>
                      <a:pt x="6890" y="8895"/>
                      <a:pt x="6899" y="8897"/>
                    </a:cubicBezTo>
                    <a:cubicBezTo>
                      <a:pt x="6989" y="8915"/>
                      <a:pt x="7083" y="8933"/>
                      <a:pt x="7125" y="8940"/>
                    </a:cubicBezTo>
                    <a:cubicBezTo>
                      <a:pt x="7181" y="8767"/>
                      <a:pt x="7181" y="8767"/>
                      <a:pt x="7181" y="8767"/>
                    </a:cubicBezTo>
                    <a:cubicBezTo>
                      <a:pt x="7134" y="8758"/>
                      <a:pt x="7055" y="8743"/>
                      <a:pt x="6976" y="8728"/>
                    </a:cubicBezTo>
                    <a:cubicBezTo>
                      <a:pt x="6961" y="8725"/>
                      <a:pt x="6946" y="8722"/>
                      <a:pt x="6931" y="8719"/>
                    </a:cubicBezTo>
                    <a:close/>
                    <a:moveTo>
                      <a:pt x="7134" y="9129"/>
                    </a:moveTo>
                    <a:cubicBezTo>
                      <a:pt x="7262" y="9192"/>
                      <a:pt x="7262" y="9192"/>
                      <a:pt x="7262" y="9192"/>
                    </a:cubicBezTo>
                    <a:cubicBezTo>
                      <a:pt x="7337" y="9044"/>
                      <a:pt x="7337" y="9044"/>
                      <a:pt x="7337" y="9044"/>
                    </a:cubicBezTo>
                    <a:cubicBezTo>
                      <a:pt x="7336" y="9044"/>
                      <a:pt x="7335" y="9043"/>
                      <a:pt x="7333" y="9043"/>
                    </a:cubicBezTo>
                    <a:cubicBezTo>
                      <a:pt x="7290" y="9021"/>
                      <a:pt x="7245" y="9000"/>
                      <a:pt x="7211" y="8983"/>
                    </a:cubicBezTo>
                    <a:cubicBezTo>
                      <a:pt x="7201" y="8979"/>
                      <a:pt x="7192" y="8975"/>
                      <a:pt x="7184" y="8971"/>
                    </a:cubicBezTo>
                    <a:lnTo>
                      <a:pt x="7134" y="9129"/>
                    </a:lnTo>
                    <a:close/>
                    <a:moveTo>
                      <a:pt x="7343" y="9032"/>
                    </a:moveTo>
                    <a:cubicBezTo>
                      <a:pt x="7422" y="8877"/>
                      <a:pt x="7422" y="8877"/>
                      <a:pt x="7422" y="8877"/>
                    </a:cubicBezTo>
                    <a:cubicBezTo>
                      <a:pt x="7244" y="8785"/>
                      <a:pt x="7244" y="8785"/>
                      <a:pt x="7244" y="8785"/>
                    </a:cubicBezTo>
                    <a:cubicBezTo>
                      <a:pt x="7189" y="8958"/>
                      <a:pt x="7189" y="8958"/>
                      <a:pt x="7189" y="8958"/>
                    </a:cubicBezTo>
                    <a:cubicBezTo>
                      <a:pt x="7197" y="8962"/>
                      <a:pt x="7206" y="8966"/>
                      <a:pt x="7216" y="8971"/>
                    </a:cubicBezTo>
                    <a:cubicBezTo>
                      <a:pt x="7252" y="8987"/>
                      <a:pt x="7298" y="9010"/>
                      <a:pt x="7343" y="9032"/>
                    </a:cubicBezTo>
                    <a:close/>
                    <a:moveTo>
                      <a:pt x="7429" y="8864"/>
                    </a:moveTo>
                    <a:cubicBezTo>
                      <a:pt x="7510" y="8706"/>
                      <a:pt x="7510" y="8706"/>
                      <a:pt x="7510" y="8706"/>
                    </a:cubicBezTo>
                    <a:cubicBezTo>
                      <a:pt x="7302" y="8604"/>
                      <a:pt x="7302" y="8604"/>
                      <a:pt x="7302" y="8604"/>
                    </a:cubicBezTo>
                    <a:cubicBezTo>
                      <a:pt x="7248" y="8772"/>
                      <a:pt x="7248" y="8772"/>
                      <a:pt x="7248" y="8772"/>
                    </a:cubicBezTo>
                    <a:lnTo>
                      <a:pt x="7429" y="8864"/>
                    </a:lnTo>
                    <a:close/>
                    <a:moveTo>
                      <a:pt x="7516" y="8693"/>
                    </a:moveTo>
                    <a:cubicBezTo>
                      <a:pt x="7596" y="8537"/>
                      <a:pt x="7596" y="8537"/>
                      <a:pt x="7596" y="8537"/>
                    </a:cubicBezTo>
                    <a:cubicBezTo>
                      <a:pt x="7360" y="8421"/>
                      <a:pt x="7360" y="8421"/>
                      <a:pt x="7360" y="8421"/>
                    </a:cubicBezTo>
                    <a:cubicBezTo>
                      <a:pt x="7306" y="8591"/>
                      <a:pt x="7306" y="8591"/>
                      <a:pt x="7306" y="8591"/>
                    </a:cubicBezTo>
                    <a:lnTo>
                      <a:pt x="7516" y="8693"/>
                    </a:lnTo>
                    <a:close/>
                    <a:moveTo>
                      <a:pt x="7528" y="8699"/>
                    </a:moveTo>
                    <a:cubicBezTo>
                      <a:pt x="7641" y="8755"/>
                      <a:pt x="7641" y="8755"/>
                      <a:pt x="7641" y="8755"/>
                    </a:cubicBezTo>
                    <a:cubicBezTo>
                      <a:pt x="7720" y="8599"/>
                      <a:pt x="7720" y="8599"/>
                      <a:pt x="7720" y="8599"/>
                    </a:cubicBezTo>
                    <a:cubicBezTo>
                      <a:pt x="7607" y="8543"/>
                      <a:pt x="7607" y="8543"/>
                      <a:pt x="7607" y="8543"/>
                    </a:cubicBezTo>
                    <a:lnTo>
                      <a:pt x="7528" y="8699"/>
                    </a:lnTo>
                    <a:close/>
                    <a:moveTo>
                      <a:pt x="7727" y="8586"/>
                    </a:moveTo>
                    <a:cubicBezTo>
                      <a:pt x="7807" y="8429"/>
                      <a:pt x="7807" y="8429"/>
                      <a:pt x="7807" y="8429"/>
                    </a:cubicBezTo>
                    <a:cubicBezTo>
                      <a:pt x="7692" y="8376"/>
                      <a:pt x="7692" y="8376"/>
                      <a:pt x="7692" y="8376"/>
                    </a:cubicBezTo>
                    <a:cubicBezTo>
                      <a:pt x="7614" y="8530"/>
                      <a:pt x="7614" y="8530"/>
                      <a:pt x="7614" y="8530"/>
                    </a:cubicBezTo>
                    <a:lnTo>
                      <a:pt x="7727" y="8586"/>
                    </a:lnTo>
                    <a:close/>
                    <a:moveTo>
                      <a:pt x="7758" y="8218"/>
                    </a:moveTo>
                    <a:cubicBezTo>
                      <a:pt x="7471" y="8076"/>
                      <a:pt x="7471" y="8076"/>
                      <a:pt x="7471" y="8076"/>
                    </a:cubicBezTo>
                    <a:cubicBezTo>
                      <a:pt x="7421" y="8233"/>
                      <a:pt x="7421" y="8233"/>
                      <a:pt x="7421" y="8233"/>
                    </a:cubicBezTo>
                    <a:cubicBezTo>
                      <a:pt x="7687" y="8358"/>
                      <a:pt x="7687" y="8358"/>
                      <a:pt x="7687" y="8358"/>
                    </a:cubicBezTo>
                    <a:lnTo>
                      <a:pt x="7758" y="8218"/>
                    </a:lnTo>
                    <a:close/>
                    <a:moveTo>
                      <a:pt x="7040" y="7854"/>
                    </a:moveTo>
                    <a:cubicBezTo>
                      <a:pt x="7032" y="7879"/>
                      <a:pt x="7019" y="7918"/>
                      <a:pt x="7002" y="7968"/>
                    </a:cubicBezTo>
                    <a:cubicBezTo>
                      <a:pt x="7018" y="7971"/>
                      <a:pt x="7018" y="7971"/>
                      <a:pt x="7018" y="7971"/>
                    </a:cubicBezTo>
                    <a:cubicBezTo>
                      <a:pt x="7057" y="7855"/>
                      <a:pt x="7057" y="7855"/>
                      <a:pt x="7057" y="7855"/>
                    </a:cubicBezTo>
                    <a:cubicBezTo>
                      <a:pt x="7206" y="7906"/>
                      <a:pt x="7206" y="7906"/>
                      <a:pt x="7206" y="7906"/>
                    </a:cubicBezTo>
                    <a:cubicBezTo>
                      <a:pt x="7174" y="8001"/>
                      <a:pt x="7174" y="8001"/>
                      <a:pt x="7174" y="8001"/>
                    </a:cubicBezTo>
                    <a:cubicBezTo>
                      <a:pt x="7411" y="8047"/>
                      <a:pt x="7411" y="8047"/>
                      <a:pt x="7411" y="8047"/>
                    </a:cubicBezTo>
                    <a:cubicBezTo>
                      <a:pt x="7469" y="7868"/>
                      <a:pt x="7469" y="7868"/>
                      <a:pt x="7469" y="7868"/>
                    </a:cubicBezTo>
                    <a:cubicBezTo>
                      <a:pt x="7377" y="7850"/>
                      <a:pt x="7292" y="7842"/>
                      <a:pt x="7214" y="7842"/>
                    </a:cubicBezTo>
                    <a:cubicBezTo>
                      <a:pt x="7152" y="7842"/>
                      <a:pt x="7094" y="7847"/>
                      <a:pt x="7040" y="7854"/>
                    </a:cubicBezTo>
                    <a:close/>
                    <a:moveTo>
                      <a:pt x="7148" y="7691"/>
                    </a:moveTo>
                    <a:cubicBezTo>
                      <a:pt x="7169" y="7690"/>
                      <a:pt x="7192" y="7689"/>
                      <a:pt x="7214" y="7689"/>
                    </a:cubicBezTo>
                    <a:cubicBezTo>
                      <a:pt x="7320" y="7689"/>
                      <a:pt x="7437" y="7701"/>
                      <a:pt x="7562" y="7733"/>
                    </a:cubicBezTo>
                    <a:cubicBezTo>
                      <a:pt x="7574" y="7735"/>
                      <a:pt x="7586" y="7739"/>
                      <a:pt x="7597" y="7742"/>
                    </a:cubicBezTo>
                    <a:cubicBezTo>
                      <a:pt x="7505" y="7555"/>
                      <a:pt x="7505" y="7555"/>
                      <a:pt x="7505" y="7555"/>
                    </a:cubicBezTo>
                    <a:cubicBezTo>
                      <a:pt x="7465" y="7567"/>
                      <a:pt x="7426" y="7577"/>
                      <a:pt x="7391" y="7587"/>
                    </a:cubicBezTo>
                    <a:cubicBezTo>
                      <a:pt x="7316" y="7606"/>
                      <a:pt x="7254" y="7619"/>
                      <a:pt x="7210" y="7628"/>
                    </a:cubicBezTo>
                    <a:cubicBezTo>
                      <a:pt x="7188" y="7633"/>
                      <a:pt x="7170" y="7636"/>
                      <a:pt x="7158" y="7638"/>
                    </a:cubicBezTo>
                    <a:cubicBezTo>
                      <a:pt x="7152" y="7639"/>
                      <a:pt x="7147" y="7640"/>
                      <a:pt x="7144" y="7641"/>
                    </a:cubicBezTo>
                    <a:cubicBezTo>
                      <a:pt x="7143" y="7641"/>
                      <a:pt x="7143" y="7641"/>
                      <a:pt x="7143" y="7641"/>
                    </a:cubicBezTo>
                    <a:cubicBezTo>
                      <a:pt x="7143" y="7642"/>
                      <a:pt x="7143" y="7642"/>
                      <a:pt x="7143" y="7643"/>
                    </a:cubicBezTo>
                    <a:cubicBezTo>
                      <a:pt x="7143" y="7653"/>
                      <a:pt x="7145" y="7673"/>
                      <a:pt x="7148" y="7691"/>
                    </a:cubicBezTo>
                    <a:close/>
                    <a:moveTo>
                      <a:pt x="6976" y="8133"/>
                    </a:moveTo>
                    <a:cubicBezTo>
                      <a:pt x="7010" y="8140"/>
                      <a:pt x="7057" y="8149"/>
                      <a:pt x="7106" y="8160"/>
                    </a:cubicBezTo>
                    <a:cubicBezTo>
                      <a:pt x="7156" y="8012"/>
                      <a:pt x="7156" y="8012"/>
                      <a:pt x="7156" y="8012"/>
                    </a:cubicBezTo>
                    <a:cubicBezTo>
                      <a:pt x="7026" y="7987"/>
                      <a:pt x="7026" y="7987"/>
                      <a:pt x="7026" y="7987"/>
                    </a:cubicBezTo>
                    <a:lnTo>
                      <a:pt x="6976" y="8133"/>
                    </a:lnTo>
                    <a:close/>
                    <a:moveTo>
                      <a:pt x="6972" y="8147"/>
                    </a:moveTo>
                    <a:cubicBezTo>
                      <a:pt x="6915" y="8312"/>
                      <a:pt x="6915" y="8312"/>
                      <a:pt x="6915" y="8312"/>
                    </a:cubicBezTo>
                    <a:cubicBezTo>
                      <a:pt x="7046" y="8338"/>
                      <a:pt x="7046" y="8338"/>
                      <a:pt x="7046" y="8338"/>
                    </a:cubicBezTo>
                    <a:cubicBezTo>
                      <a:pt x="7102" y="8173"/>
                      <a:pt x="7102" y="8173"/>
                      <a:pt x="7102" y="8173"/>
                    </a:cubicBezTo>
                    <a:cubicBezTo>
                      <a:pt x="7052" y="8163"/>
                      <a:pt x="7005" y="8153"/>
                      <a:pt x="6972" y="8147"/>
                    </a:cubicBezTo>
                    <a:close/>
                    <a:moveTo>
                      <a:pt x="6911" y="8325"/>
                    </a:moveTo>
                    <a:cubicBezTo>
                      <a:pt x="6852" y="8497"/>
                      <a:pt x="6852" y="8497"/>
                      <a:pt x="6852" y="8497"/>
                    </a:cubicBezTo>
                    <a:cubicBezTo>
                      <a:pt x="6887" y="8504"/>
                      <a:pt x="6934" y="8512"/>
                      <a:pt x="6984" y="8522"/>
                    </a:cubicBezTo>
                    <a:cubicBezTo>
                      <a:pt x="7042" y="8351"/>
                      <a:pt x="7042" y="8351"/>
                      <a:pt x="7042" y="8351"/>
                    </a:cubicBezTo>
                    <a:lnTo>
                      <a:pt x="6911" y="8325"/>
                    </a:lnTo>
                    <a:close/>
                    <a:moveTo>
                      <a:pt x="6848" y="8511"/>
                    </a:moveTo>
                    <a:cubicBezTo>
                      <a:pt x="6791" y="8678"/>
                      <a:pt x="6791" y="8678"/>
                      <a:pt x="6791" y="8678"/>
                    </a:cubicBezTo>
                    <a:cubicBezTo>
                      <a:pt x="6826" y="8685"/>
                      <a:pt x="6873" y="8694"/>
                      <a:pt x="6922" y="8703"/>
                    </a:cubicBezTo>
                    <a:cubicBezTo>
                      <a:pt x="6979" y="8535"/>
                      <a:pt x="6979" y="8535"/>
                      <a:pt x="6979" y="8535"/>
                    </a:cubicBezTo>
                    <a:cubicBezTo>
                      <a:pt x="6929" y="8526"/>
                      <a:pt x="6882" y="8517"/>
                      <a:pt x="6848" y="8511"/>
                    </a:cubicBezTo>
                    <a:close/>
                    <a:moveTo>
                      <a:pt x="6786" y="8691"/>
                    </a:moveTo>
                    <a:cubicBezTo>
                      <a:pt x="6727" y="8863"/>
                      <a:pt x="6727" y="8863"/>
                      <a:pt x="6727" y="8863"/>
                    </a:cubicBezTo>
                    <a:cubicBezTo>
                      <a:pt x="6762" y="8870"/>
                      <a:pt x="6809" y="8880"/>
                      <a:pt x="6859" y="8889"/>
                    </a:cubicBezTo>
                    <a:cubicBezTo>
                      <a:pt x="6918" y="8716"/>
                      <a:pt x="6918" y="8716"/>
                      <a:pt x="6918" y="8716"/>
                    </a:cubicBezTo>
                    <a:cubicBezTo>
                      <a:pt x="6868" y="8707"/>
                      <a:pt x="6821" y="8698"/>
                      <a:pt x="6786" y="8691"/>
                    </a:cubicBezTo>
                    <a:close/>
                    <a:moveTo>
                      <a:pt x="6723" y="8876"/>
                    </a:moveTo>
                    <a:cubicBezTo>
                      <a:pt x="6675" y="9016"/>
                      <a:pt x="6675" y="9016"/>
                      <a:pt x="6675" y="9016"/>
                    </a:cubicBezTo>
                    <a:cubicBezTo>
                      <a:pt x="6806" y="9046"/>
                      <a:pt x="6806" y="9046"/>
                      <a:pt x="6806" y="9046"/>
                    </a:cubicBezTo>
                    <a:cubicBezTo>
                      <a:pt x="6855" y="8903"/>
                      <a:pt x="6855" y="8903"/>
                      <a:pt x="6855" y="8903"/>
                    </a:cubicBezTo>
                    <a:cubicBezTo>
                      <a:pt x="6805" y="8893"/>
                      <a:pt x="6758" y="8883"/>
                      <a:pt x="6723" y="8876"/>
                    </a:cubicBezTo>
                    <a:close/>
                    <a:moveTo>
                      <a:pt x="6671" y="9029"/>
                    </a:moveTo>
                    <a:cubicBezTo>
                      <a:pt x="6615" y="9192"/>
                      <a:pt x="6615" y="9192"/>
                      <a:pt x="6615" y="9192"/>
                    </a:cubicBezTo>
                    <a:cubicBezTo>
                      <a:pt x="6746" y="9223"/>
                      <a:pt x="6746" y="9223"/>
                      <a:pt x="6746" y="9223"/>
                    </a:cubicBezTo>
                    <a:cubicBezTo>
                      <a:pt x="6802" y="9059"/>
                      <a:pt x="6802" y="9059"/>
                      <a:pt x="6802" y="9059"/>
                    </a:cubicBezTo>
                    <a:lnTo>
                      <a:pt x="6671" y="9029"/>
                    </a:lnTo>
                    <a:close/>
                    <a:moveTo>
                      <a:pt x="6611" y="9205"/>
                    </a:moveTo>
                    <a:cubicBezTo>
                      <a:pt x="6554" y="9371"/>
                      <a:pt x="6554" y="9371"/>
                      <a:pt x="6554" y="9371"/>
                    </a:cubicBezTo>
                    <a:cubicBezTo>
                      <a:pt x="6685" y="9403"/>
                      <a:pt x="6685" y="9403"/>
                      <a:pt x="6685" y="9403"/>
                    </a:cubicBezTo>
                    <a:cubicBezTo>
                      <a:pt x="6742" y="9236"/>
                      <a:pt x="6742" y="9236"/>
                      <a:pt x="6742" y="9236"/>
                    </a:cubicBezTo>
                    <a:lnTo>
                      <a:pt x="6611" y="9205"/>
                    </a:lnTo>
                    <a:close/>
                    <a:moveTo>
                      <a:pt x="6698" y="9406"/>
                    </a:moveTo>
                    <a:cubicBezTo>
                      <a:pt x="6956" y="9469"/>
                      <a:pt x="6956" y="9469"/>
                      <a:pt x="6956" y="9469"/>
                    </a:cubicBezTo>
                    <a:cubicBezTo>
                      <a:pt x="7010" y="9300"/>
                      <a:pt x="7010" y="9300"/>
                      <a:pt x="7010" y="9300"/>
                    </a:cubicBezTo>
                    <a:cubicBezTo>
                      <a:pt x="6755" y="9239"/>
                      <a:pt x="6755" y="9239"/>
                      <a:pt x="6755" y="9239"/>
                    </a:cubicBezTo>
                    <a:lnTo>
                      <a:pt x="6698" y="9406"/>
                    </a:lnTo>
                    <a:close/>
                    <a:moveTo>
                      <a:pt x="7015" y="9286"/>
                    </a:moveTo>
                    <a:cubicBezTo>
                      <a:pt x="7068" y="9121"/>
                      <a:pt x="7068" y="9121"/>
                      <a:pt x="7068" y="9121"/>
                    </a:cubicBezTo>
                    <a:cubicBezTo>
                      <a:pt x="6814" y="9062"/>
                      <a:pt x="6814" y="9062"/>
                      <a:pt x="6814" y="9062"/>
                    </a:cubicBezTo>
                    <a:cubicBezTo>
                      <a:pt x="6759" y="9226"/>
                      <a:pt x="6759" y="9226"/>
                      <a:pt x="6759" y="9226"/>
                    </a:cubicBezTo>
                    <a:lnTo>
                      <a:pt x="7015" y="9286"/>
                    </a:lnTo>
                    <a:close/>
                    <a:moveTo>
                      <a:pt x="7072" y="9108"/>
                    </a:moveTo>
                    <a:cubicBezTo>
                      <a:pt x="7121" y="8953"/>
                      <a:pt x="7121" y="8953"/>
                      <a:pt x="7121" y="8953"/>
                    </a:cubicBezTo>
                    <a:cubicBezTo>
                      <a:pt x="7072" y="8945"/>
                      <a:pt x="6965" y="8925"/>
                      <a:pt x="6868" y="8905"/>
                    </a:cubicBezTo>
                    <a:cubicBezTo>
                      <a:pt x="6819" y="9049"/>
                      <a:pt x="6819" y="9049"/>
                      <a:pt x="6819" y="9049"/>
                    </a:cubicBezTo>
                    <a:lnTo>
                      <a:pt x="7072" y="9108"/>
                    </a:lnTo>
                    <a:close/>
                    <a:moveTo>
                      <a:pt x="7077" y="9307"/>
                    </a:moveTo>
                    <a:cubicBezTo>
                      <a:pt x="7178" y="9356"/>
                      <a:pt x="7178" y="9356"/>
                      <a:pt x="7178" y="9356"/>
                    </a:cubicBezTo>
                    <a:cubicBezTo>
                      <a:pt x="7255" y="9204"/>
                      <a:pt x="7255" y="9204"/>
                      <a:pt x="7255" y="9204"/>
                    </a:cubicBezTo>
                    <a:cubicBezTo>
                      <a:pt x="7130" y="9142"/>
                      <a:pt x="7130" y="9142"/>
                      <a:pt x="7130" y="9142"/>
                    </a:cubicBezTo>
                    <a:lnTo>
                      <a:pt x="7077" y="9307"/>
                    </a:lnTo>
                    <a:close/>
                    <a:moveTo>
                      <a:pt x="7122" y="9495"/>
                    </a:moveTo>
                    <a:cubicBezTo>
                      <a:pt x="7233" y="9555"/>
                      <a:pt x="7233" y="9555"/>
                      <a:pt x="7233" y="9555"/>
                    </a:cubicBezTo>
                    <a:cubicBezTo>
                      <a:pt x="7298" y="9428"/>
                      <a:pt x="7298" y="9428"/>
                      <a:pt x="7298" y="9428"/>
                    </a:cubicBezTo>
                    <a:cubicBezTo>
                      <a:pt x="7184" y="9374"/>
                      <a:pt x="7184" y="9374"/>
                      <a:pt x="7184" y="9374"/>
                    </a:cubicBezTo>
                    <a:lnTo>
                      <a:pt x="7122" y="9495"/>
                    </a:lnTo>
                    <a:close/>
                    <a:moveTo>
                      <a:pt x="7304" y="9415"/>
                    </a:moveTo>
                    <a:cubicBezTo>
                      <a:pt x="7380" y="9266"/>
                      <a:pt x="7380" y="9266"/>
                      <a:pt x="7380" y="9266"/>
                    </a:cubicBezTo>
                    <a:cubicBezTo>
                      <a:pt x="7267" y="9210"/>
                      <a:pt x="7267" y="9210"/>
                      <a:pt x="7267" y="9210"/>
                    </a:cubicBezTo>
                    <a:cubicBezTo>
                      <a:pt x="7190" y="9361"/>
                      <a:pt x="7190" y="9361"/>
                      <a:pt x="7190" y="9361"/>
                    </a:cubicBezTo>
                    <a:lnTo>
                      <a:pt x="7304" y="9415"/>
                    </a:lnTo>
                    <a:close/>
                    <a:moveTo>
                      <a:pt x="7387" y="9254"/>
                    </a:moveTo>
                    <a:cubicBezTo>
                      <a:pt x="7462" y="9106"/>
                      <a:pt x="7462" y="9106"/>
                      <a:pt x="7462" y="9106"/>
                    </a:cubicBezTo>
                    <a:cubicBezTo>
                      <a:pt x="7432" y="9092"/>
                      <a:pt x="7392" y="9071"/>
                      <a:pt x="7349" y="9050"/>
                    </a:cubicBezTo>
                    <a:cubicBezTo>
                      <a:pt x="7274" y="9198"/>
                      <a:pt x="7274" y="9198"/>
                      <a:pt x="7274" y="9198"/>
                    </a:cubicBezTo>
                    <a:lnTo>
                      <a:pt x="7387" y="9254"/>
                    </a:lnTo>
                    <a:close/>
                    <a:moveTo>
                      <a:pt x="7468" y="9094"/>
                    </a:moveTo>
                    <a:cubicBezTo>
                      <a:pt x="7546" y="8940"/>
                      <a:pt x="7546" y="8940"/>
                      <a:pt x="7546" y="8940"/>
                    </a:cubicBezTo>
                    <a:cubicBezTo>
                      <a:pt x="7434" y="8883"/>
                      <a:pt x="7434" y="8883"/>
                      <a:pt x="7434" y="8883"/>
                    </a:cubicBezTo>
                    <a:cubicBezTo>
                      <a:pt x="7355" y="9038"/>
                      <a:pt x="7355" y="9038"/>
                      <a:pt x="7355" y="9038"/>
                    </a:cubicBezTo>
                    <a:cubicBezTo>
                      <a:pt x="7398" y="9059"/>
                      <a:pt x="7439" y="9079"/>
                      <a:pt x="7468" y="9094"/>
                    </a:cubicBezTo>
                    <a:close/>
                    <a:moveTo>
                      <a:pt x="7553" y="8928"/>
                    </a:moveTo>
                    <a:cubicBezTo>
                      <a:pt x="7635" y="8767"/>
                      <a:pt x="7635" y="8767"/>
                      <a:pt x="7635" y="8767"/>
                    </a:cubicBezTo>
                    <a:cubicBezTo>
                      <a:pt x="7521" y="8712"/>
                      <a:pt x="7521" y="8712"/>
                      <a:pt x="7521" y="8712"/>
                    </a:cubicBezTo>
                    <a:cubicBezTo>
                      <a:pt x="7440" y="8870"/>
                      <a:pt x="7440" y="8870"/>
                      <a:pt x="7440" y="8870"/>
                    </a:cubicBezTo>
                    <a:lnTo>
                      <a:pt x="7553" y="8928"/>
                    </a:lnTo>
                    <a:close/>
                    <a:moveTo>
                      <a:pt x="7564" y="8934"/>
                    </a:moveTo>
                    <a:cubicBezTo>
                      <a:pt x="7581" y="8942"/>
                      <a:pt x="7581" y="8942"/>
                      <a:pt x="7581" y="8942"/>
                    </a:cubicBezTo>
                    <a:cubicBezTo>
                      <a:pt x="7663" y="8781"/>
                      <a:pt x="7663" y="8781"/>
                      <a:pt x="7663" y="8781"/>
                    </a:cubicBezTo>
                    <a:cubicBezTo>
                      <a:pt x="7647" y="8773"/>
                      <a:pt x="7647" y="8773"/>
                      <a:pt x="7647" y="8773"/>
                    </a:cubicBezTo>
                    <a:lnTo>
                      <a:pt x="7564" y="8934"/>
                    </a:lnTo>
                    <a:close/>
                    <a:moveTo>
                      <a:pt x="7669" y="8768"/>
                    </a:moveTo>
                    <a:cubicBezTo>
                      <a:pt x="7748" y="8612"/>
                      <a:pt x="7748" y="8612"/>
                      <a:pt x="7748" y="8612"/>
                    </a:cubicBezTo>
                    <a:cubicBezTo>
                      <a:pt x="7732" y="8605"/>
                      <a:pt x="7732" y="8605"/>
                      <a:pt x="7732" y="8605"/>
                    </a:cubicBezTo>
                    <a:cubicBezTo>
                      <a:pt x="7653" y="8760"/>
                      <a:pt x="7653" y="8760"/>
                      <a:pt x="7653" y="8760"/>
                    </a:cubicBezTo>
                    <a:lnTo>
                      <a:pt x="7669" y="8768"/>
                    </a:lnTo>
                    <a:close/>
                    <a:moveTo>
                      <a:pt x="7755" y="8600"/>
                    </a:moveTo>
                    <a:cubicBezTo>
                      <a:pt x="7835" y="8442"/>
                      <a:pt x="7835" y="8442"/>
                      <a:pt x="7835" y="8442"/>
                    </a:cubicBezTo>
                    <a:cubicBezTo>
                      <a:pt x="7819" y="8435"/>
                      <a:pt x="7819" y="8435"/>
                      <a:pt x="7819" y="8435"/>
                    </a:cubicBezTo>
                    <a:cubicBezTo>
                      <a:pt x="7739" y="8592"/>
                      <a:pt x="7739" y="8592"/>
                      <a:pt x="7739" y="8592"/>
                    </a:cubicBezTo>
                    <a:lnTo>
                      <a:pt x="7755" y="8600"/>
                    </a:lnTo>
                    <a:close/>
                    <a:moveTo>
                      <a:pt x="7841" y="8430"/>
                    </a:moveTo>
                    <a:cubicBezTo>
                      <a:pt x="7910" y="8293"/>
                      <a:pt x="7910" y="8293"/>
                      <a:pt x="7910" y="8293"/>
                    </a:cubicBezTo>
                    <a:cubicBezTo>
                      <a:pt x="7895" y="8285"/>
                      <a:pt x="7895" y="8285"/>
                      <a:pt x="7895" y="8285"/>
                    </a:cubicBezTo>
                    <a:cubicBezTo>
                      <a:pt x="7825" y="8422"/>
                      <a:pt x="7825" y="8422"/>
                      <a:pt x="7825" y="8422"/>
                    </a:cubicBezTo>
                    <a:lnTo>
                      <a:pt x="7841" y="8430"/>
                    </a:lnTo>
                    <a:close/>
                    <a:moveTo>
                      <a:pt x="7917" y="8281"/>
                    </a:moveTo>
                    <a:cubicBezTo>
                      <a:pt x="8001" y="8114"/>
                      <a:pt x="8001" y="8114"/>
                      <a:pt x="8001" y="8114"/>
                    </a:cubicBezTo>
                    <a:cubicBezTo>
                      <a:pt x="8001" y="8114"/>
                      <a:pt x="8001" y="8114"/>
                      <a:pt x="8001" y="8114"/>
                    </a:cubicBezTo>
                    <a:cubicBezTo>
                      <a:pt x="7947" y="8078"/>
                      <a:pt x="7705" y="7926"/>
                      <a:pt x="7533" y="7882"/>
                    </a:cubicBezTo>
                    <a:cubicBezTo>
                      <a:pt x="7475" y="8063"/>
                      <a:pt x="7475" y="8063"/>
                      <a:pt x="7475" y="8063"/>
                    </a:cubicBezTo>
                    <a:cubicBezTo>
                      <a:pt x="7764" y="8206"/>
                      <a:pt x="7764" y="8206"/>
                      <a:pt x="7764" y="8206"/>
                    </a:cubicBezTo>
                    <a:cubicBezTo>
                      <a:pt x="7835" y="8068"/>
                      <a:pt x="7835" y="8068"/>
                      <a:pt x="7835" y="8068"/>
                    </a:cubicBezTo>
                    <a:cubicBezTo>
                      <a:pt x="7969" y="8140"/>
                      <a:pt x="7969" y="8140"/>
                      <a:pt x="7969" y="8140"/>
                    </a:cubicBezTo>
                    <a:cubicBezTo>
                      <a:pt x="7901" y="8273"/>
                      <a:pt x="7901" y="8273"/>
                      <a:pt x="7901" y="8273"/>
                    </a:cubicBezTo>
                    <a:lnTo>
                      <a:pt x="7917" y="8281"/>
                    </a:lnTo>
                    <a:close/>
                    <a:moveTo>
                      <a:pt x="8287" y="7583"/>
                    </a:moveTo>
                    <a:cubicBezTo>
                      <a:pt x="8287" y="7583"/>
                      <a:pt x="8288" y="7583"/>
                      <a:pt x="8289" y="7583"/>
                    </a:cubicBezTo>
                    <a:cubicBezTo>
                      <a:pt x="8291" y="7579"/>
                      <a:pt x="8296" y="7566"/>
                      <a:pt x="8302" y="7551"/>
                    </a:cubicBezTo>
                    <a:cubicBezTo>
                      <a:pt x="8312" y="7523"/>
                      <a:pt x="8325" y="7483"/>
                      <a:pt x="8337" y="7450"/>
                    </a:cubicBezTo>
                    <a:cubicBezTo>
                      <a:pt x="8342" y="7434"/>
                      <a:pt x="8347" y="7419"/>
                      <a:pt x="8351" y="7408"/>
                    </a:cubicBezTo>
                    <a:cubicBezTo>
                      <a:pt x="8353" y="7402"/>
                      <a:pt x="8355" y="7398"/>
                      <a:pt x="8356" y="7395"/>
                    </a:cubicBezTo>
                    <a:cubicBezTo>
                      <a:pt x="8357" y="7394"/>
                      <a:pt x="8357" y="7394"/>
                      <a:pt x="8357" y="7393"/>
                    </a:cubicBezTo>
                    <a:cubicBezTo>
                      <a:pt x="8264" y="7327"/>
                      <a:pt x="8167" y="7255"/>
                      <a:pt x="8157" y="7248"/>
                    </a:cubicBezTo>
                    <a:cubicBezTo>
                      <a:pt x="8114" y="7285"/>
                      <a:pt x="8067" y="7320"/>
                      <a:pt x="8014" y="7351"/>
                    </a:cubicBezTo>
                    <a:lnTo>
                      <a:pt x="8287" y="7583"/>
                    </a:lnTo>
                    <a:close/>
                    <a:moveTo>
                      <a:pt x="6948" y="8128"/>
                    </a:moveTo>
                    <a:cubicBezTo>
                      <a:pt x="6952" y="8129"/>
                      <a:pt x="6958" y="8130"/>
                      <a:pt x="6963" y="8131"/>
                    </a:cubicBezTo>
                    <a:cubicBezTo>
                      <a:pt x="7013" y="7985"/>
                      <a:pt x="7013" y="7985"/>
                      <a:pt x="7013" y="7985"/>
                    </a:cubicBezTo>
                    <a:cubicBezTo>
                      <a:pt x="6997" y="7982"/>
                      <a:pt x="6997" y="7982"/>
                      <a:pt x="6997" y="7982"/>
                    </a:cubicBezTo>
                    <a:cubicBezTo>
                      <a:pt x="6983" y="8024"/>
                      <a:pt x="6966" y="8073"/>
                      <a:pt x="6948" y="8128"/>
                    </a:cubicBezTo>
                    <a:close/>
                    <a:moveTo>
                      <a:pt x="6943" y="8141"/>
                    </a:moveTo>
                    <a:cubicBezTo>
                      <a:pt x="6926" y="8192"/>
                      <a:pt x="6907" y="8248"/>
                      <a:pt x="6887" y="8307"/>
                    </a:cubicBezTo>
                    <a:cubicBezTo>
                      <a:pt x="6902" y="8310"/>
                      <a:pt x="6902" y="8310"/>
                      <a:pt x="6902" y="8310"/>
                    </a:cubicBezTo>
                    <a:cubicBezTo>
                      <a:pt x="6959" y="8144"/>
                      <a:pt x="6959" y="8144"/>
                      <a:pt x="6959" y="8144"/>
                    </a:cubicBezTo>
                    <a:cubicBezTo>
                      <a:pt x="6953" y="8143"/>
                      <a:pt x="6948" y="8142"/>
                      <a:pt x="6943" y="8141"/>
                    </a:cubicBezTo>
                    <a:close/>
                    <a:moveTo>
                      <a:pt x="6883" y="8320"/>
                    </a:moveTo>
                    <a:cubicBezTo>
                      <a:pt x="6864" y="8375"/>
                      <a:pt x="6844" y="8433"/>
                      <a:pt x="6824" y="8493"/>
                    </a:cubicBezTo>
                    <a:cubicBezTo>
                      <a:pt x="6829" y="8493"/>
                      <a:pt x="6834" y="8494"/>
                      <a:pt x="6839" y="8495"/>
                    </a:cubicBezTo>
                    <a:cubicBezTo>
                      <a:pt x="6898" y="8323"/>
                      <a:pt x="6898" y="8323"/>
                      <a:pt x="6898" y="8323"/>
                    </a:cubicBezTo>
                    <a:lnTo>
                      <a:pt x="6883" y="8320"/>
                    </a:lnTo>
                    <a:close/>
                    <a:moveTo>
                      <a:pt x="6820" y="8506"/>
                    </a:moveTo>
                    <a:cubicBezTo>
                      <a:pt x="6801" y="8560"/>
                      <a:pt x="6782" y="8616"/>
                      <a:pt x="6763" y="8673"/>
                    </a:cubicBezTo>
                    <a:cubicBezTo>
                      <a:pt x="6767" y="8674"/>
                      <a:pt x="6772" y="8675"/>
                      <a:pt x="6778" y="8676"/>
                    </a:cubicBezTo>
                    <a:cubicBezTo>
                      <a:pt x="6835" y="8508"/>
                      <a:pt x="6835" y="8508"/>
                      <a:pt x="6835" y="8508"/>
                    </a:cubicBezTo>
                    <a:cubicBezTo>
                      <a:pt x="6829" y="8508"/>
                      <a:pt x="6824" y="8507"/>
                      <a:pt x="6820" y="8506"/>
                    </a:cubicBezTo>
                    <a:close/>
                    <a:moveTo>
                      <a:pt x="6758" y="8686"/>
                    </a:moveTo>
                    <a:cubicBezTo>
                      <a:pt x="6739" y="8743"/>
                      <a:pt x="6720" y="8800"/>
                      <a:pt x="6700" y="8858"/>
                    </a:cubicBezTo>
                    <a:cubicBezTo>
                      <a:pt x="6705" y="8859"/>
                      <a:pt x="6709" y="8859"/>
                      <a:pt x="6715" y="8861"/>
                    </a:cubicBezTo>
                    <a:cubicBezTo>
                      <a:pt x="6773" y="8689"/>
                      <a:pt x="6773" y="8689"/>
                      <a:pt x="6773" y="8689"/>
                    </a:cubicBezTo>
                    <a:cubicBezTo>
                      <a:pt x="6768" y="8688"/>
                      <a:pt x="6763" y="8687"/>
                      <a:pt x="6758" y="8686"/>
                    </a:cubicBezTo>
                    <a:close/>
                    <a:moveTo>
                      <a:pt x="6696" y="8871"/>
                    </a:moveTo>
                    <a:cubicBezTo>
                      <a:pt x="6680" y="8917"/>
                      <a:pt x="6664" y="8964"/>
                      <a:pt x="6649" y="9010"/>
                    </a:cubicBezTo>
                    <a:cubicBezTo>
                      <a:pt x="6663" y="9013"/>
                      <a:pt x="6663" y="9013"/>
                      <a:pt x="6663" y="9013"/>
                    </a:cubicBezTo>
                    <a:cubicBezTo>
                      <a:pt x="6710" y="8874"/>
                      <a:pt x="6710" y="8874"/>
                      <a:pt x="6710" y="8874"/>
                    </a:cubicBezTo>
                    <a:cubicBezTo>
                      <a:pt x="6705" y="8873"/>
                      <a:pt x="6700" y="8872"/>
                      <a:pt x="6696" y="8871"/>
                    </a:cubicBezTo>
                    <a:close/>
                    <a:moveTo>
                      <a:pt x="6644" y="9023"/>
                    </a:moveTo>
                    <a:cubicBezTo>
                      <a:pt x="6626" y="9078"/>
                      <a:pt x="6607" y="9132"/>
                      <a:pt x="6589" y="9186"/>
                    </a:cubicBezTo>
                    <a:cubicBezTo>
                      <a:pt x="6603" y="9189"/>
                      <a:pt x="6603" y="9189"/>
                      <a:pt x="6603" y="9189"/>
                    </a:cubicBezTo>
                    <a:cubicBezTo>
                      <a:pt x="6658" y="9026"/>
                      <a:pt x="6658" y="9026"/>
                      <a:pt x="6658" y="9026"/>
                    </a:cubicBezTo>
                    <a:lnTo>
                      <a:pt x="6644" y="9023"/>
                    </a:lnTo>
                    <a:close/>
                    <a:moveTo>
                      <a:pt x="6585" y="9199"/>
                    </a:moveTo>
                    <a:cubicBezTo>
                      <a:pt x="6565" y="9255"/>
                      <a:pt x="6547" y="9311"/>
                      <a:pt x="6528" y="9365"/>
                    </a:cubicBezTo>
                    <a:cubicBezTo>
                      <a:pt x="6542" y="9368"/>
                      <a:pt x="6542" y="9368"/>
                      <a:pt x="6542" y="9368"/>
                    </a:cubicBezTo>
                    <a:cubicBezTo>
                      <a:pt x="6598" y="9202"/>
                      <a:pt x="6598" y="9202"/>
                      <a:pt x="6598" y="9202"/>
                    </a:cubicBezTo>
                    <a:lnTo>
                      <a:pt x="6585" y="9199"/>
                    </a:lnTo>
                    <a:close/>
                    <a:moveTo>
                      <a:pt x="6524" y="9378"/>
                    </a:moveTo>
                    <a:cubicBezTo>
                      <a:pt x="6502" y="9442"/>
                      <a:pt x="6481" y="9504"/>
                      <a:pt x="6461" y="9562"/>
                    </a:cubicBezTo>
                    <a:cubicBezTo>
                      <a:pt x="6475" y="9565"/>
                      <a:pt x="6475" y="9565"/>
                      <a:pt x="6475" y="9565"/>
                    </a:cubicBezTo>
                    <a:cubicBezTo>
                      <a:pt x="6537" y="9381"/>
                      <a:pt x="6537" y="9381"/>
                      <a:pt x="6537" y="9381"/>
                    </a:cubicBezTo>
                    <a:lnTo>
                      <a:pt x="6524" y="9378"/>
                    </a:lnTo>
                    <a:close/>
                    <a:moveTo>
                      <a:pt x="6457" y="9575"/>
                    </a:moveTo>
                    <a:cubicBezTo>
                      <a:pt x="6432" y="9647"/>
                      <a:pt x="6410" y="9714"/>
                      <a:pt x="6390" y="9774"/>
                    </a:cubicBezTo>
                    <a:cubicBezTo>
                      <a:pt x="6402" y="9777"/>
                      <a:pt x="6402" y="9777"/>
                      <a:pt x="6402" y="9777"/>
                    </a:cubicBezTo>
                    <a:cubicBezTo>
                      <a:pt x="6470" y="9578"/>
                      <a:pt x="6470" y="9578"/>
                      <a:pt x="6470" y="9578"/>
                    </a:cubicBezTo>
                    <a:lnTo>
                      <a:pt x="6457" y="9575"/>
                    </a:lnTo>
                    <a:close/>
                    <a:moveTo>
                      <a:pt x="6385" y="9787"/>
                    </a:moveTo>
                    <a:cubicBezTo>
                      <a:pt x="6344" y="9907"/>
                      <a:pt x="6315" y="9994"/>
                      <a:pt x="6304" y="10027"/>
                    </a:cubicBezTo>
                    <a:cubicBezTo>
                      <a:pt x="6316" y="10029"/>
                      <a:pt x="6316" y="10029"/>
                      <a:pt x="6316" y="10029"/>
                    </a:cubicBezTo>
                    <a:cubicBezTo>
                      <a:pt x="6398" y="9790"/>
                      <a:pt x="6398" y="9790"/>
                      <a:pt x="6398" y="9790"/>
                    </a:cubicBezTo>
                    <a:lnTo>
                      <a:pt x="6385" y="9787"/>
                    </a:lnTo>
                    <a:close/>
                    <a:moveTo>
                      <a:pt x="6299" y="10040"/>
                    </a:moveTo>
                    <a:cubicBezTo>
                      <a:pt x="6254" y="10273"/>
                      <a:pt x="6254" y="10273"/>
                      <a:pt x="6254" y="10273"/>
                    </a:cubicBezTo>
                    <a:cubicBezTo>
                      <a:pt x="6269" y="10274"/>
                      <a:pt x="6269" y="10274"/>
                      <a:pt x="6269" y="10274"/>
                    </a:cubicBezTo>
                    <a:cubicBezTo>
                      <a:pt x="6313" y="10042"/>
                      <a:pt x="6313" y="10042"/>
                      <a:pt x="6313" y="10042"/>
                    </a:cubicBezTo>
                    <a:lnTo>
                      <a:pt x="6299" y="10040"/>
                    </a:lnTo>
                    <a:close/>
                    <a:moveTo>
                      <a:pt x="6252" y="10436"/>
                    </a:moveTo>
                    <a:cubicBezTo>
                      <a:pt x="6376" y="10468"/>
                      <a:pt x="6376" y="10468"/>
                      <a:pt x="6376" y="10468"/>
                    </a:cubicBezTo>
                    <a:cubicBezTo>
                      <a:pt x="6411" y="10300"/>
                      <a:pt x="6411" y="10300"/>
                      <a:pt x="6411" y="10300"/>
                    </a:cubicBezTo>
                    <a:cubicBezTo>
                      <a:pt x="6280" y="10289"/>
                      <a:pt x="6280" y="10289"/>
                      <a:pt x="6280" y="10289"/>
                    </a:cubicBezTo>
                    <a:lnTo>
                      <a:pt x="6252" y="10436"/>
                    </a:lnTo>
                    <a:close/>
                    <a:moveTo>
                      <a:pt x="6414" y="10286"/>
                    </a:moveTo>
                    <a:cubicBezTo>
                      <a:pt x="6462" y="10063"/>
                      <a:pt x="6462" y="10063"/>
                      <a:pt x="6462" y="10063"/>
                    </a:cubicBezTo>
                    <a:cubicBezTo>
                      <a:pt x="6326" y="10044"/>
                      <a:pt x="6326" y="10044"/>
                      <a:pt x="6326" y="10044"/>
                    </a:cubicBezTo>
                    <a:cubicBezTo>
                      <a:pt x="6282" y="10275"/>
                      <a:pt x="6282" y="10275"/>
                      <a:pt x="6282" y="10275"/>
                    </a:cubicBezTo>
                    <a:lnTo>
                      <a:pt x="6414" y="10286"/>
                    </a:lnTo>
                    <a:close/>
                    <a:moveTo>
                      <a:pt x="6466" y="10049"/>
                    </a:moveTo>
                    <a:cubicBezTo>
                      <a:pt x="6542" y="9825"/>
                      <a:pt x="6542" y="9825"/>
                      <a:pt x="6542" y="9825"/>
                    </a:cubicBezTo>
                    <a:cubicBezTo>
                      <a:pt x="6411" y="9793"/>
                      <a:pt x="6411" y="9793"/>
                      <a:pt x="6411" y="9793"/>
                    </a:cubicBezTo>
                    <a:cubicBezTo>
                      <a:pt x="6330" y="10030"/>
                      <a:pt x="6330" y="10030"/>
                      <a:pt x="6330" y="10030"/>
                    </a:cubicBezTo>
                    <a:lnTo>
                      <a:pt x="6466" y="10049"/>
                    </a:lnTo>
                    <a:close/>
                    <a:moveTo>
                      <a:pt x="6547" y="9811"/>
                    </a:moveTo>
                    <a:cubicBezTo>
                      <a:pt x="6615" y="9610"/>
                      <a:pt x="6615" y="9610"/>
                      <a:pt x="6615" y="9610"/>
                    </a:cubicBezTo>
                    <a:cubicBezTo>
                      <a:pt x="6483" y="9581"/>
                      <a:pt x="6483" y="9581"/>
                      <a:pt x="6483" y="9581"/>
                    </a:cubicBezTo>
                    <a:cubicBezTo>
                      <a:pt x="6415" y="9780"/>
                      <a:pt x="6415" y="9780"/>
                      <a:pt x="6415" y="9780"/>
                    </a:cubicBezTo>
                    <a:lnTo>
                      <a:pt x="6547" y="9811"/>
                    </a:lnTo>
                    <a:close/>
                    <a:moveTo>
                      <a:pt x="6620" y="9597"/>
                    </a:moveTo>
                    <a:cubicBezTo>
                      <a:pt x="6681" y="9416"/>
                      <a:pt x="6681" y="9416"/>
                      <a:pt x="6681" y="9416"/>
                    </a:cubicBezTo>
                    <a:cubicBezTo>
                      <a:pt x="6550" y="9384"/>
                      <a:pt x="6550" y="9384"/>
                      <a:pt x="6550" y="9384"/>
                    </a:cubicBezTo>
                    <a:cubicBezTo>
                      <a:pt x="6487" y="9567"/>
                      <a:pt x="6487" y="9567"/>
                      <a:pt x="6487" y="9567"/>
                    </a:cubicBezTo>
                    <a:lnTo>
                      <a:pt x="6620" y="9597"/>
                    </a:lnTo>
                    <a:close/>
                    <a:moveTo>
                      <a:pt x="6632" y="9599"/>
                    </a:moveTo>
                    <a:cubicBezTo>
                      <a:pt x="6896" y="9657"/>
                      <a:pt x="6896" y="9657"/>
                      <a:pt x="6896" y="9657"/>
                    </a:cubicBezTo>
                    <a:cubicBezTo>
                      <a:pt x="6952" y="9482"/>
                      <a:pt x="6952" y="9482"/>
                      <a:pt x="6952" y="9482"/>
                    </a:cubicBezTo>
                    <a:cubicBezTo>
                      <a:pt x="6693" y="9419"/>
                      <a:pt x="6693" y="9419"/>
                      <a:pt x="6693" y="9419"/>
                    </a:cubicBezTo>
                    <a:lnTo>
                      <a:pt x="6632" y="9599"/>
                    </a:lnTo>
                    <a:close/>
                    <a:moveTo>
                      <a:pt x="6886" y="9903"/>
                    </a:moveTo>
                    <a:cubicBezTo>
                      <a:pt x="7095" y="9758"/>
                      <a:pt x="7095" y="9758"/>
                      <a:pt x="7095" y="9758"/>
                    </a:cubicBezTo>
                    <a:cubicBezTo>
                      <a:pt x="6954" y="9692"/>
                      <a:pt x="6954" y="9692"/>
                      <a:pt x="6954" y="9692"/>
                    </a:cubicBezTo>
                    <a:lnTo>
                      <a:pt x="6886" y="9903"/>
                    </a:lnTo>
                    <a:close/>
                    <a:moveTo>
                      <a:pt x="7109" y="9749"/>
                    </a:moveTo>
                    <a:cubicBezTo>
                      <a:pt x="7205" y="9683"/>
                      <a:pt x="7205" y="9683"/>
                      <a:pt x="7205" y="9683"/>
                    </a:cubicBezTo>
                    <a:cubicBezTo>
                      <a:pt x="7244" y="9607"/>
                      <a:pt x="7244" y="9607"/>
                      <a:pt x="7244" y="9607"/>
                    </a:cubicBezTo>
                    <a:cubicBezTo>
                      <a:pt x="7014" y="9504"/>
                      <a:pt x="7014" y="9504"/>
                      <a:pt x="7014" y="9504"/>
                    </a:cubicBezTo>
                    <a:cubicBezTo>
                      <a:pt x="6958" y="9679"/>
                      <a:pt x="6958" y="9679"/>
                      <a:pt x="6958" y="9679"/>
                    </a:cubicBezTo>
                    <a:lnTo>
                      <a:pt x="7109" y="9749"/>
                    </a:lnTo>
                    <a:close/>
                    <a:moveTo>
                      <a:pt x="7250" y="9594"/>
                    </a:moveTo>
                    <a:cubicBezTo>
                      <a:pt x="7327" y="9442"/>
                      <a:pt x="7327" y="9442"/>
                      <a:pt x="7327" y="9442"/>
                    </a:cubicBezTo>
                    <a:cubicBezTo>
                      <a:pt x="7310" y="9434"/>
                      <a:pt x="7310" y="9434"/>
                      <a:pt x="7310" y="9434"/>
                    </a:cubicBezTo>
                    <a:cubicBezTo>
                      <a:pt x="7239" y="9572"/>
                      <a:pt x="7239" y="9572"/>
                      <a:pt x="7239" y="9572"/>
                    </a:cubicBezTo>
                    <a:cubicBezTo>
                      <a:pt x="7104" y="9501"/>
                      <a:pt x="7104" y="9501"/>
                      <a:pt x="7104" y="9501"/>
                    </a:cubicBezTo>
                    <a:cubicBezTo>
                      <a:pt x="7107" y="9495"/>
                      <a:pt x="7107" y="9495"/>
                      <a:pt x="7107" y="9495"/>
                    </a:cubicBezTo>
                    <a:cubicBezTo>
                      <a:pt x="7172" y="9368"/>
                      <a:pt x="7172" y="9368"/>
                      <a:pt x="7172" y="9368"/>
                    </a:cubicBezTo>
                    <a:cubicBezTo>
                      <a:pt x="7072" y="9321"/>
                      <a:pt x="7072" y="9321"/>
                      <a:pt x="7072" y="9321"/>
                    </a:cubicBezTo>
                    <a:cubicBezTo>
                      <a:pt x="7018" y="9491"/>
                      <a:pt x="7018" y="9491"/>
                      <a:pt x="7018" y="9491"/>
                    </a:cubicBezTo>
                    <a:lnTo>
                      <a:pt x="7250" y="9594"/>
                    </a:lnTo>
                    <a:close/>
                    <a:moveTo>
                      <a:pt x="7334" y="9429"/>
                    </a:moveTo>
                    <a:cubicBezTo>
                      <a:pt x="7409" y="9280"/>
                      <a:pt x="7409" y="9280"/>
                      <a:pt x="7409" y="9280"/>
                    </a:cubicBezTo>
                    <a:cubicBezTo>
                      <a:pt x="7392" y="9272"/>
                      <a:pt x="7392" y="9272"/>
                      <a:pt x="7392" y="9272"/>
                    </a:cubicBezTo>
                    <a:cubicBezTo>
                      <a:pt x="7316" y="9421"/>
                      <a:pt x="7316" y="9421"/>
                      <a:pt x="7316" y="9421"/>
                    </a:cubicBezTo>
                    <a:lnTo>
                      <a:pt x="7334" y="9429"/>
                    </a:lnTo>
                    <a:close/>
                    <a:moveTo>
                      <a:pt x="7415" y="9268"/>
                    </a:moveTo>
                    <a:cubicBezTo>
                      <a:pt x="7490" y="9121"/>
                      <a:pt x="7490" y="9121"/>
                      <a:pt x="7490" y="9121"/>
                    </a:cubicBezTo>
                    <a:cubicBezTo>
                      <a:pt x="7486" y="9118"/>
                      <a:pt x="7480" y="9116"/>
                      <a:pt x="7474" y="9112"/>
                    </a:cubicBezTo>
                    <a:cubicBezTo>
                      <a:pt x="7398" y="9260"/>
                      <a:pt x="7398" y="9260"/>
                      <a:pt x="7398" y="9260"/>
                    </a:cubicBezTo>
                    <a:lnTo>
                      <a:pt x="7415" y="9268"/>
                    </a:lnTo>
                    <a:close/>
                    <a:moveTo>
                      <a:pt x="7497" y="9108"/>
                    </a:moveTo>
                    <a:cubicBezTo>
                      <a:pt x="7574" y="8955"/>
                      <a:pt x="7574" y="8955"/>
                      <a:pt x="7574" y="8955"/>
                    </a:cubicBezTo>
                    <a:cubicBezTo>
                      <a:pt x="7558" y="8946"/>
                      <a:pt x="7558" y="8946"/>
                      <a:pt x="7558" y="8946"/>
                    </a:cubicBezTo>
                    <a:cubicBezTo>
                      <a:pt x="7480" y="9100"/>
                      <a:pt x="7480" y="9100"/>
                      <a:pt x="7480" y="9100"/>
                    </a:cubicBezTo>
                    <a:cubicBezTo>
                      <a:pt x="7486" y="9103"/>
                      <a:pt x="7492" y="9106"/>
                      <a:pt x="7497" y="9108"/>
                    </a:cubicBezTo>
                    <a:close/>
                    <a:moveTo>
                      <a:pt x="7511" y="9225"/>
                    </a:moveTo>
                    <a:cubicBezTo>
                      <a:pt x="8033" y="9577"/>
                      <a:pt x="8033" y="9577"/>
                      <a:pt x="8033" y="9577"/>
                    </a:cubicBezTo>
                    <a:cubicBezTo>
                      <a:pt x="8076" y="9510"/>
                      <a:pt x="8124" y="9437"/>
                      <a:pt x="8175" y="9359"/>
                    </a:cubicBezTo>
                    <a:cubicBezTo>
                      <a:pt x="7624" y="9002"/>
                      <a:pt x="7624" y="9002"/>
                      <a:pt x="7624" y="9002"/>
                    </a:cubicBezTo>
                    <a:lnTo>
                      <a:pt x="7511" y="9225"/>
                    </a:lnTo>
                    <a:close/>
                    <a:moveTo>
                      <a:pt x="8182" y="9347"/>
                    </a:moveTo>
                    <a:cubicBezTo>
                      <a:pt x="8271" y="9210"/>
                      <a:pt x="8365" y="9064"/>
                      <a:pt x="8449" y="8934"/>
                    </a:cubicBezTo>
                    <a:cubicBezTo>
                      <a:pt x="8561" y="8760"/>
                      <a:pt x="8653" y="8617"/>
                      <a:pt x="8687" y="8564"/>
                    </a:cubicBezTo>
                    <a:cubicBezTo>
                      <a:pt x="8681" y="8560"/>
                      <a:pt x="8675" y="8557"/>
                      <a:pt x="8670" y="8554"/>
                    </a:cubicBezTo>
                    <a:cubicBezTo>
                      <a:pt x="8616" y="8521"/>
                      <a:pt x="8466" y="8413"/>
                      <a:pt x="8328" y="8311"/>
                    </a:cubicBezTo>
                    <a:cubicBezTo>
                      <a:pt x="8225" y="8236"/>
                      <a:pt x="8129" y="8164"/>
                      <a:pt x="8087" y="8133"/>
                    </a:cubicBezTo>
                    <a:cubicBezTo>
                      <a:pt x="8075" y="8134"/>
                      <a:pt x="8068" y="8135"/>
                      <a:pt x="8064" y="8135"/>
                    </a:cubicBezTo>
                    <a:cubicBezTo>
                      <a:pt x="7630" y="8990"/>
                      <a:pt x="7630" y="8990"/>
                      <a:pt x="7630" y="8990"/>
                    </a:cubicBezTo>
                    <a:lnTo>
                      <a:pt x="8182" y="9347"/>
                    </a:lnTo>
                    <a:close/>
                    <a:moveTo>
                      <a:pt x="8369" y="7935"/>
                    </a:moveTo>
                    <a:cubicBezTo>
                      <a:pt x="8371" y="7937"/>
                      <a:pt x="8372" y="7938"/>
                      <a:pt x="8373" y="7939"/>
                    </a:cubicBezTo>
                    <a:cubicBezTo>
                      <a:pt x="8384" y="7937"/>
                      <a:pt x="8395" y="7935"/>
                      <a:pt x="8405" y="7932"/>
                    </a:cubicBezTo>
                    <a:cubicBezTo>
                      <a:pt x="8456" y="7921"/>
                      <a:pt x="8522" y="7885"/>
                      <a:pt x="8576" y="7848"/>
                    </a:cubicBezTo>
                    <a:cubicBezTo>
                      <a:pt x="8284" y="7599"/>
                      <a:pt x="8284" y="7599"/>
                      <a:pt x="8284" y="7599"/>
                    </a:cubicBezTo>
                    <a:cubicBezTo>
                      <a:pt x="8257" y="7608"/>
                      <a:pt x="8177" y="7637"/>
                      <a:pt x="8098" y="7667"/>
                    </a:cubicBezTo>
                    <a:cubicBezTo>
                      <a:pt x="8103" y="7672"/>
                      <a:pt x="8109" y="7678"/>
                      <a:pt x="8115" y="7684"/>
                    </a:cubicBezTo>
                    <a:cubicBezTo>
                      <a:pt x="8179" y="7749"/>
                      <a:pt x="8242" y="7813"/>
                      <a:pt x="8291" y="7861"/>
                    </a:cubicBezTo>
                    <a:cubicBezTo>
                      <a:pt x="8316" y="7885"/>
                      <a:pt x="8336" y="7905"/>
                      <a:pt x="8351" y="7919"/>
                    </a:cubicBezTo>
                    <a:cubicBezTo>
                      <a:pt x="8358" y="7926"/>
                      <a:pt x="8364" y="7932"/>
                      <a:pt x="8369" y="7935"/>
                    </a:cubicBezTo>
                    <a:close/>
                    <a:moveTo>
                      <a:pt x="8588" y="7840"/>
                    </a:moveTo>
                    <a:cubicBezTo>
                      <a:pt x="8589" y="7839"/>
                      <a:pt x="8591" y="7838"/>
                      <a:pt x="8592" y="7837"/>
                    </a:cubicBezTo>
                    <a:cubicBezTo>
                      <a:pt x="8610" y="7824"/>
                      <a:pt x="8625" y="7812"/>
                      <a:pt x="8639" y="7801"/>
                    </a:cubicBezTo>
                    <a:cubicBezTo>
                      <a:pt x="8605" y="7759"/>
                      <a:pt x="8575" y="7715"/>
                      <a:pt x="8554" y="7668"/>
                    </a:cubicBezTo>
                    <a:cubicBezTo>
                      <a:pt x="8530" y="7614"/>
                      <a:pt x="8518" y="7557"/>
                      <a:pt x="8511" y="7501"/>
                    </a:cubicBezTo>
                    <a:cubicBezTo>
                      <a:pt x="8509" y="7500"/>
                      <a:pt x="8508" y="7499"/>
                      <a:pt x="8505" y="7497"/>
                    </a:cubicBezTo>
                    <a:cubicBezTo>
                      <a:pt x="8478" y="7479"/>
                      <a:pt x="8425" y="7442"/>
                      <a:pt x="8368" y="7402"/>
                    </a:cubicBezTo>
                    <a:cubicBezTo>
                      <a:pt x="8363" y="7416"/>
                      <a:pt x="8348" y="7459"/>
                      <a:pt x="8335" y="7499"/>
                    </a:cubicBezTo>
                    <a:cubicBezTo>
                      <a:pt x="8327" y="7522"/>
                      <a:pt x="8319" y="7545"/>
                      <a:pt x="8312" y="7563"/>
                    </a:cubicBezTo>
                    <a:cubicBezTo>
                      <a:pt x="8309" y="7572"/>
                      <a:pt x="8306" y="7579"/>
                      <a:pt x="8303" y="7584"/>
                    </a:cubicBezTo>
                    <a:cubicBezTo>
                      <a:pt x="8302" y="7587"/>
                      <a:pt x="8301" y="7589"/>
                      <a:pt x="8300" y="7591"/>
                    </a:cubicBezTo>
                    <a:cubicBezTo>
                      <a:pt x="8299" y="7591"/>
                      <a:pt x="8299" y="7592"/>
                      <a:pt x="8298" y="7593"/>
                    </a:cubicBezTo>
                    <a:lnTo>
                      <a:pt x="8588" y="7840"/>
                    </a:lnTo>
                    <a:close/>
                    <a:moveTo>
                      <a:pt x="10667" y="7063"/>
                    </a:moveTo>
                    <a:cubicBezTo>
                      <a:pt x="10698" y="7082"/>
                      <a:pt x="10724" y="7097"/>
                      <a:pt x="10742" y="7109"/>
                    </a:cubicBezTo>
                    <a:cubicBezTo>
                      <a:pt x="10751" y="7114"/>
                      <a:pt x="10758" y="7119"/>
                      <a:pt x="10763" y="7122"/>
                    </a:cubicBezTo>
                    <a:cubicBezTo>
                      <a:pt x="10764" y="7123"/>
                      <a:pt x="10764" y="7123"/>
                      <a:pt x="10765" y="7123"/>
                    </a:cubicBezTo>
                    <a:cubicBezTo>
                      <a:pt x="10801" y="7126"/>
                      <a:pt x="10937" y="7136"/>
                      <a:pt x="11069" y="7146"/>
                    </a:cubicBezTo>
                    <a:cubicBezTo>
                      <a:pt x="11216" y="7157"/>
                      <a:pt x="11359" y="7167"/>
                      <a:pt x="11359" y="7167"/>
                    </a:cubicBezTo>
                    <a:cubicBezTo>
                      <a:pt x="11359" y="7167"/>
                      <a:pt x="11405" y="7170"/>
                      <a:pt x="11464" y="7172"/>
                    </a:cubicBezTo>
                    <a:cubicBezTo>
                      <a:pt x="11523" y="7175"/>
                      <a:pt x="11594" y="7177"/>
                      <a:pt x="11642" y="7177"/>
                    </a:cubicBezTo>
                    <a:cubicBezTo>
                      <a:pt x="11657" y="7177"/>
                      <a:pt x="11669" y="7177"/>
                      <a:pt x="11678" y="7177"/>
                    </a:cubicBezTo>
                    <a:cubicBezTo>
                      <a:pt x="11683" y="7176"/>
                      <a:pt x="11686" y="7176"/>
                      <a:pt x="11688" y="7176"/>
                    </a:cubicBezTo>
                    <a:cubicBezTo>
                      <a:pt x="11688" y="7176"/>
                      <a:pt x="11688" y="7176"/>
                      <a:pt x="11688" y="7176"/>
                    </a:cubicBezTo>
                    <a:cubicBezTo>
                      <a:pt x="11691" y="7175"/>
                      <a:pt x="11691" y="7175"/>
                      <a:pt x="11691" y="7175"/>
                    </a:cubicBezTo>
                    <a:cubicBezTo>
                      <a:pt x="11693" y="7175"/>
                      <a:pt x="11693" y="7175"/>
                      <a:pt x="11693" y="7175"/>
                    </a:cubicBezTo>
                    <a:cubicBezTo>
                      <a:pt x="11743" y="7165"/>
                      <a:pt x="11785" y="7133"/>
                      <a:pt x="11821" y="7088"/>
                    </a:cubicBezTo>
                    <a:cubicBezTo>
                      <a:pt x="11876" y="7020"/>
                      <a:pt x="11914" y="6922"/>
                      <a:pt x="11937" y="6842"/>
                    </a:cubicBezTo>
                    <a:cubicBezTo>
                      <a:pt x="11949" y="6802"/>
                      <a:pt x="11957" y="6767"/>
                      <a:pt x="11962" y="6741"/>
                    </a:cubicBezTo>
                    <a:cubicBezTo>
                      <a:pt x="11967" y="6716"/>
                      <a:pt x="11970" y="6701"/>
                      <a:pt x="11970" y="6701"/>
                    </a:cubicBezTo>
                    <a:cubicBezTo>
                      <a:pt x="12244" y="4823"/>
                      <a:pt x="12244" y="4823"/>
                      <a:pt x="12244" y="4823"/>
                    </a:cubicBezTo>
                    <a:cubicBezTo>
                      <a:pt x="12243" y="4809"/>
                      <a:pt x="12239" y="4755"/>
                      <a:pt x="12239" y="4729"/>
                    </a:cubicBezTo>
                    <a:cubicBezTo>
                      <a:pt x="12239" y="4725"/>
                      <a:pt x="12239" y="4722"/>
                      <a:pt x="12240" y="4718"/>
                    </a:cubicBezTo>
                    <a:cubicBezTo>
                      <a:pt x="12240" y="4718"/>
                      <a:pt x="12240" y="4718"/>
                      <a:pt x="12240" y="4718"/>
                    </a:cubicBezTo>
                    <a:cubicBezTo>
                      <a:pt x="12221" y="4617"/>
                      <a:pt x="12175" y="4573"/>
                      <a:pt x="12125" y="4548"/>
                    </a:cubicBezTo>
                    <a:cubicBezTo>
                      <a:pt x="12073" y="4522"/>
                      <a:pt x="12013" y="4521"/>
                      <a:pt x="11975" y="4521"/>
                    </a:cubicBezTo>
                    <a:cubicBezTo>
                      <a:pt x="11937" y="4521"/>
                      <a:pt x="11830" y="4534"/>
                      <a:pt x="11698" y="4534"/>
                    </a:cubicBezTo>
                    <a:cubicBezTo>
                      <a:pt x="11585" y="4534"/>
                      <a:pt x="11452" y="4524"/>
                      <a:pt x="11317" y="4489"/>
                    </a:cubicBezTo>
                    <a:cubicBezTo>
                      <a:pt x="11157" y="4445"/>
                      <a:pt x="11049" y="4282"/>
                      <a:pt x="10972" y="4125"/>
                    </a:cubicBezTo>
                    <a:cubicBezTo>
                      <a:pt x="10896" y="3968"/>
                      <a:pt x="10853" y="3812"/>
                      <a:pt x="10842" y="3778"/>
                    </a:cubicBezTo>
                    <a:cubicBezTo>
                      <a:pt x="10841" y="3775"/>
                      <a:pt x="10840" y="3772"/>
                      <a:pt x="10839" y="3768"/>
                    </a:cubicBezTo>
                    <a:cubicBezTo>
                      <a:pt x="9678" y="4103"/>
                      <a:pt x="9678" y="4103"/>
                      <a:pt x="9678" y="4103"/>
                    </a:cubicBezTo>
                    <a:cubicBezTo>
                      <a:pt x="9694" y="4159"/>
                      <a:pt x="9763" y="4417"/>
                      <a:pt x="9836" y="4699"/>
                    </a:cubicBezTo>
                    <a:cubicBezTo>
                      <a:pt x="9919" y="5018"/>
                      <a:pt x="10007" y="5365"/>
                      <a:pt x="10026" y="5489"/>
                    </a:cubicBezTo>
                    <a:cubicBezTo>
                      <a:pt x="10038" y="5562"/>
                      <a:pt x="10042" y="5659"/>
                      <a:pt x="10042" y="5765"/>
                    </a:cubicBezTo>
                    <a:cubicBezTo>
                      <a:pt x="10042" y="6025"/>
                      <a:pt x="10018" y="6341"/>
                      <a:pt x="10013" y="6473"/>
                    </a:cubicBezTo>
                    <a:cubicBezTo>
                      <a:pt x="10013" y="6484"/>
                      <a:pt x="10012" y="6494"/>
                      <a:pt x="10012" y="6504"/>
                    </a:cubicBezTo>
                    <a:cubicBezTo>
                      <a:pt x="10012" y="6583"/>
                      <a:pt x="10024" y="6636"/>
                      <a:pt x="10036" y="6667"/>
                    </a:cubicBezTo>
                    <a:cubicBezTo>
                      <a:pt x="10043" y="6683"/>
                      <a:pt x="10049" y="6694"/>
                      <a:pt x="10053" y="6700"/>
                    </a:cubicBezTo>
                    <a:cubicBezTo>
                      <a:pt x="10054" y="6701"/>
                      <a:pt x="10055" y="6703"/>
                      <a:pt x="10056" y="6703"/>
                    </a:cubicBezTo>
                    <a:cubicBezTo>
                      <a:pt x="10058" y="6704"/>
                      <a:pt x="10058" y="6705"/>
                      <a:pt x="10060" y="6705"/>
                    </a:cubicBezTo>
                    <a:cubicBezTo>
                      <a:pt x="10090" y="6721"/>
                      <a:pt x="10265" y="6823"/>
                      <a:pt x="10436" y="6925"/>
                    </a:cubicBezTo>
                    <a:cubicBezTo>
                      <a:pt x="10521" y="6975"/>
                      <a:pt x="10604" y="7025"/>
                      <a:pt x="10667" y="7063"/>
                    </a:cubicBezTo>
                    <a:close/>
                    <a:moveTo>
                      <a:pt x="12298" y="4680"/>
                    </a:moveTo>
                    <a:cubicBezTo>
                      <a:pt x="12388" y="4686"/>
                      <a:pt x="12716" y="4709"/>
                      <a:pt x="12896" y="4757"/>
                    </a:cubicBezTo>
                    <a:cubicBezTo>
                      <a:pt x="13055" y="4804"/>
                      <a:pt x="13055" y="4804"/>
                      <a:pt x="13055" y="4804"/>
                    </a:cubicBezTo>
                    <a:cubicBezTo>
                      <a:pt x="13055" y="4803"/>
                      <a:pt x="13056" y="4803"/>
                      <a:pt x="13056" y="4803"/>
                    </a:cubicBezTo>
                    <a:cubicBezTo>
                      <a:pt x="13082" y="4762"/>
                      <a:pt x="13145" y="4658"/>
                      <a:pt x="13222" y="4495"/>
                    </a:cubicBezTo>
                    <a:cubicBezTo>
                      <a:pt x="13256" y="4422"/>
                      <a:pt x="13266" y="4360"/>
                      <a:pt x="13266" y="4309"/>
                    </a:cubicBezTo>
                    <a:cubicBezTo>
                      <a:pt x="13266" y="4262"/>
                      <a:pt x="13257" y="4225"/>
                      <a:pt x="13248" y="4199"/>
                    </a:cubicBezTo>
                    <a:cubicBezTo>
                      <a:pt x="13243" y="4187"/>
                      <a:pt x="13239" y="4177"/>
                      <a:pt x="13236" y="4171"/>
                    </a:cubicBezTo>
                    <a:cubicBezTo>
                      <a:pt x="13234" y="4168"/>
                      <a:pt x="13233" y="4166"/>
                      <a:pt x="13232" y="4164"/>
                    </a:cubicBezTo>
                    <a:cubicBezTo>
                      <a:pt x="13231" y="4163"/>
                      <a:pt x="13231" y="4163"/>
                      <a:pt x="13231" y="4163"/>
                    </a:cubicBezTo>
                    <a:cubicBezTo>
                      <a:pt x="12493" y="3040"/>
                      <a:pt x="12493" y="3040"/>
                      <a:pt x="12493" y="3040"/>
                    </a:cubicBezTo>
                    <a:cubicBezTo>
                      <a:pt x="12425" y="2978"/>
                      <a:pt x="12321" y="2972"/>
                      <a:pt x="12294" y="2973"/>
                    </a:cubicBezTo>
                    <a:cubicBezTo>
                      <a:pt x="12290" y="2973"/>
                      <a:pt x="12289" y="2973"/>
                      <a:pt x="12289" y="2973"/>
                    </a:cubicBezTo>
                    <a:cubicBezTo>
                      <a:pt x="12288" y="2973"/>
                      <a:pt x="12288" y="2973"/>
                      <a:pt x="12288" y="2973"/>
                    </a:cubicBezTo>
                    <a:cubicBezTo>
                      <a:pt x="12288" y="2973"/>
                      <a:pt x="12288" y="2973"/>
                      <a:pt x="12288" y="2973"/>
                    </a:cubicBezTo>
                    <a:cubicBezTo>
                      <a:pt x="12288" y="2973"/>
                      <a:pt x="10907" y="3002"/>
                      <a:pt x="10719" y="3007"/>
                    </a:cubicBezTo>
                    <a:cubicBezTo>
                      <a:pt x="10763" y="3178"/>
                      <a:pt x="10804" y="3350"/>
                      <a:pt x="10837" y="3486"/>
                    </a:cubicBezTo>
                    <a:cubicBezTo>
                      <a:pt x="10855" y="3560"/>
                      <a:pt x="10870" y="3624"/>
                      <a:pt x="10882" y="3671"/>
                    </a:cubicBezTo>
                    <a:cubicBezTo>
                      <a:pt x="10893" y="3718"/>
                      <a:pt x="10902" y="3751"/>
                      <a:pt x="10904" y="3757"/>
                    </a:cubicBezTo>
                    <a:cubicBezTo>
                      <a:pt x="10916" y="3795"/>
                      <a:pt x="10958" y="3945"/>
                      <a:pt x="11031" y="4097"/>
                    </a:cubicBezTo>
                    <a:cubicBezTo>
                      <a:pt x="11103" y="4248"/>
                      <a:pt x="11210" y="4394"/>
                      <a:pt x="11334" y="4425"/>
                    </a:cubicBezTo>
                    <a:cubicBezTo>
                      <a:pt x="11461" y="4459"/>
                      <a:pt x="11589" y="4468"/>
                      <a:pt x="11698" y="4468"/>
                    </a:cubicBezTo>
                    <a:cubicBezTo>
                      <a:pt x="11827" y="4468"/>
                      <a:pt x="11927" y="4455"/>
                      <a:pt x="11975" y="4455"/>
                    </a:cubicBezTo>
                    <a:cubicBezTo>
                      <a:pt x="12015" y="4455"/>
                      <a:pt x="12085" y="4456"/>
                      <a:pt x="12154" y="4489"/>
                    </a:cubicBezTo>
                    <a:cubicBezTo>
                      <a:pt x="12216" y="4518"/>
                      <a:pt x="12274" y="4578"/>
                      <a:pt x="12298" y="4680"/>
                    </a:cubicBezTo>
                    <a:close/>
                    <a:moveTo>
                      <a:pt x="12823" y="890"/>
                    </a:moveTo>
                    <a:cubicBezTo>
                      <a:pt x="12791" y="892"/>
                      <a:pt x="12759" y="893"/>
                      <a:pt x="12729" y="896"/>
                    </a:cubicBezTo>
                    <a:cubicBezTo>
                      <a:pt x="12586" y="906"/>
                      <a:pt x="12466" y="923"/>
                      <a:pt x="12373" y="955"/>
                    </a:cubicBezTo>
                    <a:cubicBezTo>
                      <a:pt x="12332" y="969"/>
                      <a:pt x="12289" y="995"/>
                      <a:pt x="12238" y="1030"/>
                    </a:cubicBezTo>
                    <a:cubicBezTo>
                      <a:pt x="12187" y="1064"/>
                      <a:pt x="12129" y="1109"/>
                      <a:pt x="12067" y="1160"/>
                    </a:cubicBezTo>
                    <a:cubicBezTo>
                      <a:pt x="11941" y="1262"/>
                      <a:pt x="11795" y="1392"/>
                      <a:pt x="11646" y="1529"/>
                    </a:cubicBezTo>
                    <a:cubicBezTo>
                      <a:pt x="11348" y="1802"/>
                      <a:pt x="11039" y="2101"/>
                      <a:pt x="10875" y="2245"/>
                    </a:cubicBezTo>
                    <a:cubicBezTo>
                      <a:pt x="10828" y="2286"/>
                      <a:pt x="10792" y="2315"/>
                      <a:pt x="10778" y="2323"/>
                    </a:cubicBezTo>
                    <a:cubicBezTo>
                      <a:pt x="10778" y="2323"/>
                      <a:pt x="10778" y="2323"/>
                      <a:pt x="10778" y="2323"/>
                    </a:cubicBezTo>
                    <a:cubicBezTo>
                      <a:pt x="10776" y="2324"/>
                      <a:pt x="10774" y="2325"/>
                      <a:pt x="10769" y="2327"/>
                    </a:cubicBezTo>
                    <a:cubicBezTo>
                      <a:pt x="10764" y="2329"/>
                      <a:pt x="10756" y="2333"/>
                      <a:pt x="10748" y="2336"/>
                    </a:cubicBezTo>
                    <a:cubicBezTo>
                      <a:pt x="10731" y="2342"/>
                      <a:pt x="10709" y="2350"/>
                      <a:pt x="10681" y="2360"/>
                    </a:cubicBezTo>
                    <a:cubicBezTo>
                      <a:pt x="10648" y="2371"/>
                      <a:pt x="10606" y="2384"/>
                      <a:pt x="10560" y="2399"/>
                    </a:cubicBezTo>
                    <a:cubicBezTo>
                      <a:pt x="10569" y="2433"/>
                      <a:pt x="10580" y="2473"/>
                      <a:pt x="10592" y="2518"/>
                    </a:cubicBezTo>
                    <a:cubicBezTo>
                      <a:pt x="10665" y="2495"/>
                      <a:pt x="10726" y="2475"/>
                      <a:pt x="10769" y="2459"/>
                    </a:cubicBezTo>
                    <a:cubicBezTo>
                      <a:pt x="10801" y="2447"/>
                      <a:pt x="10822" y="2439"/>
                      <a:pt x="10841" y="2428"/>
                    </a:cubicBezTo>
                    <a:cubicBezTo>
                      <a:pt x="10867" y="2412"/>
                      <a:pt x="10897" y="2388"/>
                      <a:pt x="10938" y="2353"/>
                    </a:cubicBezTo>
                    <a:cubicBezTo>
                      <a:pt x="10978" y="2319"/>
                      <a:pt x="11027" y="2275"/>
                      <a:pt x="11082" y="2224"/>
                    </a:cubicBezTo>
                    <a:cubicBezTo>
                      <a:pt x="11193" y="2121"/>
                      <a:pt x="11330" y="1991"/>
                      <a:pt x="11476" y="1855"/>
                    </a:cubicBezTo>
                    <a:cubicBezTo>
                      <a:pt x="11522" y="1812"/>
                      <a:pt x="11568" y="1768"/>
                      <a:pt x="11615" y="1725"/>
                    </a:cubicBezTo>
                    <a:cubicBezTo>
                      <a:pt x="11797" y="1599"/>
                      <a:pt x="12161" y="1303"/>
                      <a:pt x="12233" y="1263"/>
                    </a:cubicBezTo>
                    <a:cubicBezTo>
                      <a:pt x="12262" y="1247"/>
                      <a:pt x="12375" y="1192"/>
                      <a:pt x="12548" y="1145"/>
                    </a:cubicBezTo>
                    <a:cubicBezTo>
                      <a:pt x="12650" y="1117"/>
                      <a:pt x="12773" y="1100"/>
                      <a:pt x="12883" y="1078"/>
                    </a:cubicBezTo>
                    <a:cubicBezTo>
                      <a:pt x="12880" y="1071"/>
                      <a:pt x="12878" y="1064"/>
                      <a:pt x="12875" y="1058"/>
                    </a:cubicBezTo>
                    <a:cubicBezTo>
                      <a:pt x="12851" y="997"/>
                      <a:pt x="12835" y="939"/>
                      <a:pt x="12823" y="890"/>
                    </a:cubicBezTo>
                    <a:close/>
                    <a:moveTo>
                      <a:pt x="11747" y="1209"/>
                    </a:moveTo>
                    <a:cubicBezTo>
                      <a:pt x="11731" y="1225"/>
                      <a:pt x="11717" y="1239"/>
                      <a:pt x="11708" y="1249"/>
                    </a:cubicBezTo>
                    <a:cubicBezTo>
                      <a:pt x="11705" y="1253"/>
                      <a:pt x="11702" y="1255"/>
                      <a:pt x="11700" y="1258"/>
                    </a:cubicBezTo>
                    <a:cubicBezTo>
                      <a:pt x="11699" y="1259"/>
                      <a:pt x="11699" y="1259"/>
                      <a:pt x="11698" y="1260"/>
                    </a:cubicBezTo>
                    <a:cubicBezTo>
                      <a:pt x="11693" y="1267"/>
                      <a:pt x="11693" y="1267"/>
                      <a:pt x="11691" y="1268"/>
                    </a:cubicBezTo>
                    <a:cubicBezTo>
                      <a:pt x="11683" y="1277"/>
                      <a:pt x="11665" y="1295"/>
                      <a:pt x="11634" y="1325"/>
                    </a:cubicBezTo>
                    <a:cubicBezTo>
                      <a:pt x="11528" y="1428"/>
                      <a:pt x="11290" y="1657"/>
                      <a:pt x="11076" y="1863"/>
                    </a:cubicBezTo>
                    <a:cubicBezTo>
                      <a:pt x="10969" y="1966"/>
                      <a:pt x="10867" y="2064"/>
                      <a:pt x="10791" y="2137"/>
                    </a:cubicBezTo>
                    <a:cubicBezTo>
                      <a:pt x="10753" y="2173"/>
                      <a:pt x="10721" y="2204"/>
                      <a:pt x="10697" y="2226"/>
                    </a:cubicBezTo>
                    <a:cubicBezTo>
                      <a:pt x="10686" y="2237"/>
                      <a:pt x="10676" y="2246"/>
                      <a:pt x="10669" y="2252"/>
                    </a:cubicBezTo>
                    <a:cubicBezTo>
                      <a:pt x="10661" y="2259"/>
                      <a:pt x="10658" y="2263"/>
                      <a:pt x="10653" y="2267"/>
                    </a:cubicBezTo>
                    <a:cubicBezTo>
                      <a:pt x="10624" y="2291"/>
                      <a:pt x="10596" y="2301"/>
                      <a:pt x="10572" y="2311"/>
                    </a:cubicBezTo>
                    <a:cubicBezTo>
                      <a:pt x="10562" y="2314"/>
                      <a:pt x="10553" y="2317"/>
                      <a:pt x="10546" y="2319"/>
                    </a:cubicBezTo>
                    <a:cubicBezTo>
                      <a:pt x="10545" y="2321"/>
                      <a:pt x="10545" y="2321"/>
                      <a:pt x="10545" y="2321"/>
                    </a:cubicBezTo>
                    <a:cubicBezTo>
                      <a:pt x="10539" y="2322"/>
                      <a:pt x="10539" y="2322"/>
                      <a:pt x="10539" y="2322"/>
                    </a:cubicBezTo>
                    <a:cubicBezTo>
                      <a:pt x="10543" y="2338"/>
                      <a:pt x="10549" y="2359"/>
                      <a:pt x="10555" y="2383"/>
                    </a:cubicBezTo>
                    <a:cubicBezTo>
                      <a:pt x="10602" y="2369"/>
                      <a:pt x="10643" y="2355"/>
                      <a:pt x="10676" y="2344"/>
                    </a:cubicBezTo>
                    <a:cubicBezTo>
                      <a:pt x="10703" y="2335"/>
                      <a:pt x="10726" y="2327"/>
                      <a:pt x="10742" y="2320"/>
                    </a:cubicBezTo>
                    <a:cubicBezTo>
                      <a:pt x="10750" y="2317"/>
                      <a:pt x="10757" y="2314"/>
                      <a:pt x="10762" y="2312"/>
                    </a:cubicBezTo>
                    <a:cubicBezTo>
                      <a:pt x="10764" y="2311"/>
                      <a:pt x="10766" y="2310"/>
                      <a:pt x="10768" y="2309"/>
                    </a:cubicBezTo>
                    <a:cubicBezTo>
                      <a:pt x="10768" y="2309"/>
                      <a:pt x="10769" y="2309"/>
                      <a:pt x="10769" y="2309"/>
                    </a:cubicBezTo>
                    <a:cubicBezTo>
                      <a:pt x="10770" y="2308"/>
                      <a:pt x="10770" y="2308"/>
                      <a:pt x="10770" y="2308"/>
                    </a:cubicBezTo>
                    <a:cubicBezTo>
                      <a:pt x="10781" y="2302"/>
                      <a:pt x="10818" y="2273"/>
                      <a:pt x="10864" y="2233"/>
                    </a:cubicBezTo>
                    <a:cubicBezTo>
                      <a:pt x="11028" y="2089"/>
                      <a:pt x="11337" y="1790"/>
                      <a:pt x="11635" y="1517"/>
                    </a:cubicBezTo>
                    <a:cubicBezTo>
                      <a:pt x="11784" y="1380"/>
                      <a:pt x="11930" y="1250"/>
                      <a:pt x="12056" y="1147"/>
                    </a:cubicBezTo>
                    <a:cubicBezTo>
                      <a:pt x="12119" y="1096"/>
                      <a:pt x="12177" y="1051"/>
                      <a:pt x="12229" y="1016"/>
                    </a:cubicBezTo>
                    <a:cubicBezTo>
                      <a:pt x="12280" y="981"/>
                      <a:pt x="12324" y="955"/>
                      <a:pt x="12367" y="939"/>
                    </a:cubicBezTo>
                    <a:cubicBezTo>
                      <a:pt x="12463" y="907"/>
                      <a:pt x="12584" y="890"/>
                      <a:pt x="12728" y="879"/>
                    </a:cubicBezTo>
                    <a:cubicBezTo>
                      <a:pt x="12757" y="877"/>
                      <a:pt x="12788" y="876"/>
                      <a:pt x="12819" y="874"/>
                    </a:cubicBezTo>
                    <a:cubicBezTo>
                      <a:pt x="12811" y="838"/>
                      <a:pt x="12805" y="809"/>
                      <a:pt x="12802" y="789"/>
                    </a:cubicBezTo>
                    <a:cubicBezTo>
                      <a:pt x="12602" y="790"/>
                      <a:pt x="12454" y="791"/>
                      <a:pt x="12423" y="793"/>
                    </a:cubicBezTo>
                    <a:cubicBezTo>
                      <a:pt x="12299" y="797"/>
                      <a:pt x="12199" y="801"/>
                      <a:pt x="12120" y="837"/>
                    </a:cubicBezTo>
                    <a:cubicBezTo>
                      <a:pt x="12085" y="853"/>
                      <a:pt x="12036" y="891"/>
                      <a:pt x="11995" y="931"/>
                    </a:cubicBezTo>
                    <a:cubicBezTo>
                      <a:pt x="11953" y="970"/>
                      <a:pt x="11918" y="1014"/>
                      <a:pt x="11904" y="1034"/>
                    </a:cubicBezTo>
                    <a:cubicBezTo>
                      <a:pt x="11890" y="1054"/>
                      <a:pt x="11872" y="1074"/>
                      <a:pt x="11850" y="1099"/>
                    </a:cubicBezTo>
                    <a:cubicBezTo>
                      <a:pt x="11818" y="1135"/>
                      <a:pt x="11778" y="1176"/>
                      <a:pt x="11747" y="1209"/>
                    </a:cubicBezTo>
                    <a:close/>
                    <a:moveTo>
                      <a:pt x="11611" y="1286"/>
                    </a:moveTo>
                    <a:cubicBezTo>
                      <a:pt x="11611" y="1286"/>
                      <a:pt x="11611" y="1286"/>
                      <a:pt x="11611" y="1286"/>
                    </a:cubicBezTo>
                    <a:cubicBezTo>
                      <a:pt x="11607" y="1285"/>
                      <a:pt x="11602" y="1282"/>
                      <a:pt x="11597" y="1280"/>
                    </a:cubicBezTo>
                    <a:cubicBezTo>
                      <a:pt x="11602" y="1283"/>
                      <a:pt x="11607" y="1285"/>
                      <a:pt x="11611" y="1286"/>
                    </a:cubicBezTo>
                    <a:close/>
                    <a:moveTo>
                      <a:pt x="9838" y="242"/>
                    </a:moveTo>
                    <a:cubicBezTo>
                      <a:pt x="9849" y="510"/>
                      <a:pt x="9861" y="791"/>
                      <a:pt x="9862" y="885"/>
                    </a:cubicBezTo>
                    <a:cubicBezTo>
                      <a:pt x="10598" y="885"/>
                      <a:pt x="10598" y="885"/>
                      <a:pt x="10598" y="885"/>
                    </a:cubicBezTo>
                    <a:cubicBezTo>
                      <a:pt x="10602" y="886"/>
                      <a:pt x="10750" y="885"/>
                      <a:pt x="10868" y="997"/>
                    </a:cubicBezTo>
                    <a:cubicBezTo>
                      <a:pt x="10920" y="1048"/>
                      <a:pt x="11041" y="1153"/>
                      <a:pt x="11148" y="1246"/>
                    </a:cubicBezTo>
                    <a:cubicBezTo>
                      <a:pt x="11229" y="1315"/>
                      <a:pt x="11302" y="1377"/>
                      <a:pt x="11333" y="1404"/>
                    </a:cubicBezTo>
                    <a:cubicBezTo>
                      <a:pt x="11382" y="1357"/>
                      <a:pt x="11426" y="1315"/>
                      <a:pt x="11463" y="1279"/>
                    </a:cubicBezTo>
                    <a:cubicBezTo>
                      <a:pt x="11500" y="1243"/>
                      <a:pt x="11530" y="1214"/>
                      <a:pt x="11551" y="1193"/>
                    </a:cubicBezTo>
                    <a:cubicBezTo>
                      <a:pt x="11561" y="1183"/>
                      <a:pt x="11569" y="1175"/>
                      <a:pt x="11575" y="1170"/>
                    </a:cubicBezTo>
                    <a:cubicBezTo>
                      <a:pt x="11575" y="1169"/>
                      <a:pt x="11576" y="1168"/>
                      <a:pt x="11577" y="1168"/>
                    </a:cubicBezTo>
                    <a:cubicBezTo>
                      <a:pt x="11577" y="1168"/>
                      <a:pt x="11577" y="1167"/>
                      <a:pt x="11577" y="1167"/>
                    </a:cubicBezTo>
                    <a:cubicBezTo>
                      <a:pt x="11583" y="1159"/>
                      <a:pt x="11586" y="1156"/>
                      <a:pt x="11593" y="1149"/>
                    </a:cubicBezTo>
                    <a:cubicBezTo>
                      <a:pt x="11613" y="1127"/>
                      <a:pt x="11653" y="1086"/>
                      <a:pt x="11692" y="1045"/>
                    </a:cubicBezTo>
                    <a:cubicBezTo>
                      <a:pt x="11710" y="1026"/>
                      <a:pt x="11728" y="1007"/>
                      <a:pt x="11743" y="990"/>
                    </a:cubicBezTo>
                    <a:cubicBezTo>
                      <a:pt x="11701" y="923"/>
                      <a:pt x="11567" y="674"/>
                      <a:pt x="11564" y="252"/>
                    </a:cubicBezTo>
                    <a:cubicBezTo>
                      <a:pt x="11564" y="228"/>
                      <a:pt x="11564" y="205"/>
                      <a:pt x="11563" y="181"/>
                    </a:cubicBezTo>
                    <a:cubicBezTo>
                      <a:pt x="10898" y="172"/>
                      <a:pt x="10898" y="172"/>
                      <a:pt x="10898" y="172"/>
                    </a:cubicBezTo>
                    <a:cubicBezTo>
                      <a:pt x="10887" y="172"/>
                      <a:pt x="10887" y="172"/>
                      <a:pt x="10887" y="172"/>
                    </a:cubicBezTo>
                    <a:cubicBezTo>
                      <a:pt x="10887" y="171"/>
                      <a:pt x="10887" y="171"/>
                      <a:pt x="10887" y="171"/>
                    </a:cubicBezTo>
                    <a:cubicBezTo>
                      <a:pt x="10748" y="169"/>
                      <a:pt x="10748" y="169"/>
                      <a:pt x="10748" y="169"/>
                    </a:cubicBezTo>
                    <a:cubicBezTo>
                      <a:pt x="10731" y="176"/>
                      <a:pt x="10595" y="225"/>
                      <a:pt x="10594" y="225"/>
                    </a:cubicBezTo>
                    <a:cubicBezTo>
                      <a:pt x="10593" y="226"/>
                      <a:pt x="10593" y="226"/>
                      <a:pt x="10593" y="226"/>
                    </a:cubicBezTo>
                    <a:lnTo>
                      <a:pt x="9838" y="242"/>
                    </a:lnTo>
                    <a:close/>
                    <a:moveTo>
                      <a:pt x="8680" y="1198"/>
                    </a:moveTo>
                    <a:cubicBezTo>
                      <a:pt x="8687" y="1275"/>
                      <a:pt x="8704" y="1470"/>
                      <a:pt x="8704" y="1565"/>
                    </a:cubicBezTo>
                    <a:cubicBezTo>
                      <a:pt x="8704" y="1583"/>
                      <a:pt x="8703" y="1598"/>
                      <a:pt x="8701" y="1610"/>
                    </a:cubicBezTo>
                    <a:cubicBezTo>
                      <a:pt x="8690" y="1680"/>
                      <a:pt x="8608" y="1986"/>
                      <a:pt x="8587" y="2063"/>
                    </a:cubicBezTo>
                    <a:cubicBezTo>
                      <a:pt x="8576" y="2104"/>
                      <a:pt x="8572" y="2168"/>
                      <a:pt x="8572" y="2227"/>
                    </a:cubicBezTo>
                    <a:cubicBezTo>
                      <a:pt x="8572" y="2263"/>
                      <a:pt x="8573" y="2297"/>
                      <a:pt x="8575" y="2324"/>
                    </a:cubicBezTo>
                    <a:cubicBezTo>
                      <a:pt x="8577" y="2378"/>
                      <a:pt x="8587" y="2565"/>
                      <a:pt x="8591" y="2657"/>
                    </a:cubicBezTo>
                    <a:cubicBezTo>
                      <a:pt x="8710" y="2627"/>
                      <a:pt x="9130" y="2521"/>
                      <a:pt x="9544" y="2416"/>
                    </a:cubicBezTo>
                    <a:cubicBezTo>
                      <a:pt x="10007" y="2299"/>
                      <a:pt x="10465" y="2183"/>
                      <a:pt x="10491" y="2177"/>
                    </a:cubicBezTo>
                    <a:cubicBezTo>
                      <a:pt x="10491" y="2177"/>
                      <a:pt x="10491" y="2177"/>
                      <a:pt x="10492" y="2176"/>
                    </a:cubicBezTo>
                    <a:cubicBezTo>
                      <a:pt x="10497" y="2175"/>
                      <a:pt x="10511" y="2171"/>
                      <a:pt x="10525" y="2165"/>
                    </a:cubicBezTo>
                    <a:cubicBezTo>
                      <a:pt x="10538" y="2161"/>
                      <a:pt x="10552" y="2153"/>
                      <a:pt x="10554" y="2151"/>
                    </a:cubicBezTo>
                    <a:cubicBezTo>
                      <a:pt x="10554" y="2151"/>
                      <a:pt x="10554" y="2151"/>
                      <a:pt x="10554" y="2151"/>
                    </a:cubicBezTo>
                    <a:cubicBezTo>
                      <a:pt x="10557" y="2148"/>
                      <a:pt x="10579" y="2128"/>
                      <a:pt x="10610" y="2098"/>
                    </a:cubicBezTo>
                    <a:cubicBezTo>
                      <a:pt x="10719" y="1994"/>
                      <a:pt x="10963" y="1760"/>
                      <a:pt x="11179" y="1552"/>
                    </a:cubicBezTo>
                    <a:cubicBezTo>
                      <a:pt x="11216" y="1517"/>
                      <a:pt x="11252" y="1483"/>
                      <a:pt x="11286" y="1450"/>
                    </a:cubicBezTo>
                    <a:cubicBezTo>
                      <a:pt x="11205" y="1381"/>
                      <a:pt x="10915" y="1135"/>
                      <a:pt x="10822" y="1045"/>
                    </a:cubicBezTo>
                    <a:cubicBezTo>
                      <a:pt x="10774" y="998"/>
                      <a:pt x="10718" y="974"/>
                      <a:pt x="10673" y="963"/>
                    </a:cubicBezTo>
                    <a:cubicBezTo>
                      <a:pt x="10651" y="957"/>
                      <a:pt x="10632" y="954"/>
                      <a:pt x="10618" y="952"/>
                    </a:cubicBezTo>
                    <a:cubicBezTo>
                      <a:pt x="10611" y="952"/>
                      <a:pt x="10606" y="951"/>
                      <a:pt x="10603" y="951"/>
                    </a:cubicBezTo>
                    <a:cubicBezTo>
                      <a:pt x="10601" y="951"/>
                      <a:pt x="10600" y="951"/>
                      <a:pt x="10599" y="951"/>
                    </a:cubicBezTo>
                    <a:cubicBezTo>
                      <a:pt x="10598" y="951"/>
                      <a:pt x="10598" y="951"/>
                      <a:pt x="10598" y="951"/>
                    </a:cubicBezTo>
                    <a:cubicBezTo>
                      <a:pt x="10598" y="951"/>
                      <a:pt x="10072" y="951"/>
                      <a:pt x="9829" y="951"/>
                    </a:cubicBezTo>
                    <a:cubicBezTo>
                      <a:pt x="9829" y="951"/>
                      <a:pt x="9829" y="951"/>
                      <a:pt x="9829" y="951"/>
                    </a:cubicBezTo>
                    <a:cubicBezTo>
                      <a:pt x="9829" y="951"/>
                      <a:pt x="9829" y="951"/>
                      <a:pt x="9829" y="951"/>
                    </a:cubicBezTo>
                    <a:cubicBezTo>
                      <a:pt x="9774" y="951"/>
                      <a:pt x="9734" y="951"/>
                      <a:pt x="9717" y="951"/>
                    </a:cubicBezTo>
                    <a:cubicBezTo>
                      <a:pt x="9717" y="951"/>
                      <a:pt x="9717" y="951"/>
                      <a:pt x="9716" y="951"/>
                    </a:cubicBezTo>
                    <a:cubicBezTo>
                      <a:pt x="9690" y="968"/>
                      <a:pt x="9610" y="1025"/>
                      <a:pt x="9535" y="1078"/>
                    </a:cubicBezTo>
                    <a:cubicBezTo>
                      <a:pt x="9498" y="1104"/>
                      <a:pt x="9462" y="1129"/>
                      <a:pt x="9434" y="1148"/>
                    </a:cubicBezTo>
                    <a:cubicBezTo>
                      <a:pt x="9420" y="1157"/>
                      <a:pt x="9408" y="1165"/>
                      <a:pt x="9399" y="1171"/>
                    </a:cubicBezTo>
                    <a:cubicBezTo>
                      <a:pt x="9394" y="1174"/>
                      <a:pt x="9390" y="1176"/>
                      <a:pt x="9387" y="1178"/>
                    </a:cubicBezTo>
                    <a:cubicBezTo>
                      <a:pt x="9385" y="1179"/>
                      <a:pt x="9383" y="1180"/>
                      <a:pt x="9380" y="1181"/>
                    </a:cubicBezTo>
                    <a:cubicBezTo>
                      <a:pt x="9378" y="1182"/>
                      <a:pt x="9376" y="1184"/>
                      <a:pt x="9366" y="1184"/>
                    </a:cubicBezTo>
                    <a:cubicBezTo>
                      <a:pt x="9365" y="1184"/>
                      <a:pt x="9363" y="1184"/>
                      <a:pt x="9361" y="1184"/>
                    </a:cubicBezTo>
                    <a:cubicBezTo>
                      <a:pt x="9360" y="1184"/>
                      <a:pt x="9358" y="1184"/>
                      <a:pt x="9355" y="1184"/>
                    </a:cubicBezTo>
                    <a:cubicBezTo>
                      <a:pt x="9289" y="1184"/>
                      <a:pt x="8936" y="1195"/>
                      <a:pt x="8680" y="1198"/>
                    </a:cubicBezTo>
                    <a:close/>
                    <a:moveTo>
                      <a:pt x="7105" y="1513"/>
                    </a:moveTo>
                    <a:cubicBezTo>
                      <a:pt x="7109" y="1545"/>
                      <a:pt x="7131" y="1737"/>
                      <a:pt x="7153" y="1936"/>
                    </a:cubicBezTo>
                    <a:cubicBezTo>
                      <a:pt x="7165" y="2046"/>
                      <a:pt x="7178" y="2157"/>
                      <a:pt x="7187" y="2246"/>
                    </a:cubicBezTo>
                    <a:cubicBezTo>
                      <a:pt x="7194" y="2317"/>
                      <a:pt x="7199" y="2372"/>
                      <a:pt x="7201" y="2403"/>
                    </a:cubicBezTo>
                    <a:cubicBezTo>
                      <a:pt x="7242" y="2410"/>
                      <a:pt x="7272" y="2415"/>
                      <a:pt x="7281" y="2416"/>
                    </a:cubicBezTo>
                    <a:cubicBezTo>
                      <a:pt x="8512" y="2393"/>
                      <a:pt x="8512" y="2393"/>
                      <a:pt x="8512" y="2393"/>
                    </a:cubicBezTo>
                    <a:cubicBezTo>
                      <a:pt x="8511" y="2364"/>
                      <a:pt x="8510" y="2341"/>
                      <a:pt x="8509" y="2327"/>
                    </a:cubicBezTo>
                    <a:cubicBezTo>
                      <a:pt x="8508" y="2299"/>
                      <a:pt x="8507" y="2264"/>
                      <a:pt x="8507" y="2227"/>
                    </a:cubicBezTo>
                    <a:cubicBezTo>
                      <a:pt x="8507" y="2165"/>
                      <a:pt x="8510" y="2098"/>
                      <a:pt x="8524" y="2046"/>
                    </a:cubicBezTo>
                    <a:cubicBezTo>
                      <a:pt x="8544" y="1971"/>
                      <a:pt x="8627" y="1660"/>
                      <a:pt x="8636" y="1599"/>
                    </a:cubicBezTo>
                    <a:cubicBezTo>
                      <a:pt x="8637" y="1595"/>
                      <a:pt x="8638" y="1582"/>
                      <a:pt x="8638" y="1565"/>
                    </a:cubicBezTo>
                    <a:cubicBezTo>
                      <a:pt x="8638" y="1509"/>
                      <a:pt x="8632" y="1410"/>
                      <a:pt x="8625" y="1326"/>
                    </a:cubicBezTo>
                    <a:cubicBezTo>
                      <a:pt x="8621" y="1273"/>
                      <a:pt x="8617" y="1227"/>
                      <a:pt x="8615" y="1199"/>
                    </a:cubicBezTo>
                    <a:cubicBezTo>
                      <a:pt x="8594" y="1199"/>
                      <a:pt x="8574" y="1199"/>
                      <a:pt x="8555" y="1199"/>
                    </a:cubicBezTo>
                    <a:cubicBezTo>
                      <a:pt x="8517" y="1199"/>
                      <a:pt x="8484" y="1199"/>
                      <a:pt x="8458" y="1198"/>
                    </a:cubicBezTo>
                    <a:cubicBezTo>
                      <a:pt x="8275" y="1191"/>
                      <a:pt x="7912" y="1170"/>
                      <a:pt x="7803" y="1170"/>
                    </a:cubicBezTo>
                    <a:cubicBezTo>
                      <a:pt x="7795" y="1170"/>
                      <a:pt x="7789" y="1170"/>
                      <a:pt x="7785" y="1171"/>
                    </a:cubicBezTo>
                    <a:cubicBezTo>
                      <a:pt x="7713" y="1173"/>
                      <a:pt x="7495" y="1219"/>
                      <a:pt x="7446" y="1240"/>
                    </a:cubicBezTo>
                    <a:cubicBezTo>
                      <a:pt x="7411" y="1254"/>
                      <a:pt x="7349" y="1268"/>
                      <a:pt x="7287" y="1281"/>
                    </a:cubicBezTo>
                    <a:cubicBezTo>
                      <a:pt x="7226" y="1294"/>
                      <a:pt x="7168" y="1304"/>
                      <a:pt x="7147" y="1307"/>
                    </a:cubicBezTo>
                    <a:cubicBezTo>
                      <a:pt x="7144" y="1308"/>
                      <a:pt x="7141" y="1310"/>
                      <a:pt x="7136" y="1318"/>
                    </a:cubicBezTo>
                    <a:cubicBezTo>
                      <a:pt x="7134" y="1322"/>
                      <a:pt x="7132" y="1328"/>
                      <a:pt x="7131" y="1332"/>
                    </a:cubicBezTo>
                    <a:cubicBezTo>
                      <a:pt x="7133" y="1336"/>
                      <a:pt x="7133" y="1339"/>
                      <a:pt x="7133" y="1341"/>
                    </a:cubicBezTo>
                    <a:cubicBezTo>
                      <a:pt x="7134" y="1343"/>
                      <a:pt x="7134" y="1345"/>
                      <a:pt x="7134" y="1347"/>
                    </a:cubicBezTo>
                    <a:cubicBezTo>
                      <a:pt x="7134" y="1358"/>
                      <a:pt x="7132" y="1370"/>
                      <a:pt x="7129" y="1387"/>
                    </a:cubicBezTo>
                    <a:cubicBezTo>
                      <a:pt x="7122" y="1431"/>
                      <a:pt x="7109" y="1495"/>
                      <a:pt x="7105" y="1513"/>
                    </a:cubicBezTo>
                    <a:close/>
                    <a:moveTo>
                      <a:pt x="4026" y="1765"/>
                    </a:moveTo>
                    <a:cubicBezTo>
                      <a:pt x="4251" y="1863"/>
                      <a:pt x="4453" y="2010"/>
                      <a:pt x="4496" y="2041"/>
                    </a:cubicBezTo>
                    <a:cubicBezTo>
                      <a:pt x="5339" y="2390"/>
                      <a:pt x="5339" y="2390"/>
                      <a:pt x="5339" y="2390"/>
                    </a:cubicBezTo>
                    <a:cubicBezTo>
                      <a:pt x="5389" y="2405"/>
                      <a:pt x="5881" y="2551"/>
                      <a:pt x="6047" y="2600"/>
                    </a:cubicBezTo>
                    <a:cubicBezTo>
                      <a:pt x="6127" y="2624"/>
                      <a:pt x="6292" y="2668"/>
                      <a:pt x="6457" y="2711"/>
                    </a:cubicBezTo>
                    <a:cubicBezTo>
                      <a:pt x="6531" y="2453"/>
                      <a:pt x="6531" y="2453"/>
                      <a:pt x="6531" y="2453"/>
                    </a:cubicBezTo>
                    <a:cubicBezTo>
                      <a:pt x="6534" y="2449"/>
                      <a:pt x="6534" y="2449"/>
                      <a:pt x="6534" y="2449"/>
                    </a:cubicBezTo>
                    <a:cubicBezTo>
                      <a:pt x="6560" y="2411"/>
                      <a:pt x="6596" y="2385"/>
                      <a:pt x="6638" y="2370"/>
                    </a:cubicBezTo>
                    <a:cubicBezTo>
                      <a:pt x="6680" y="2356"/>
                      <a:pt x="6727" y="2351"/>
                      <a:pt x="6781" y="2351"/>
                    </a:cubicBezTo>
                    <a:cubicBezTo>
                      <a:pt x="6838" y="2351"/>
                      <a:pt x="6961" y="2368"/>
                      <a:pt x="7073" y="2384"/>
                    </a:cubicBezTo>
                    <a:cubicBezTo>
                      <a:pt x="7094" y="2387"/>
                      <a:pt x="7115" y="2390"/>
                      <a:pt x="7135" y="2393"/>
                    </a:cubicBezTo>
                    <a:cubicBezTo>
                      <a:pt x="7133" y="2362"/>
                      <a:pt x="7128" y="2313"/>
                      <a:pt x="7122" y="2253"/>
                    </a:cubicBezTo>
                    <a:cubicBezTo>
                      <a:pt x="7097" y="2013"/>
                      <a:pt x="7050" y="1606"/>
                      <a:pt x="7041" y="1529"/>
                    </a:cubicBezTo>
                    <a:cubicBezTo>
                      <a:pt x="7013" y="1506"/>
                      <a:pt x="6973" y="1486"/>
                      <a:pt x="6939" y="1453"/>
                    </a:cubicBezTo>
                    <a:cubicBezTo>
                      <a:pt x="6883" y="1395"/>
                      <a:pt x="6849" y="1333"/>
                      <a:pt x="6848" y="1332"/>
                    </a:cubicBezTo>
                    <a:cubicBezTo>
                      <a:pt x="6570" y="830"/>
                      <a:pt x="6570" y="830"/>
                      <a:pt x="6570" y="830"/>
                    </a:cubicBezTo>
                    <a:cubicBezTo>
                      <a:pt x="6514" y="736"/>
                      <a:pt x="6448" y="718"/>
                      <a:pt x="6391" y="717"/>
                    </a:cubicBezTo>
                    <a:cubicBezTo>
                      <a:pt x="6364" y="717"/>
                      <a:pt x="6339" y="723"/>
                      <a:pt x="6321" y="728"/>
                    </a:cubicBezTo>
                    <a:cubicBezTo>
                      <a:pt x="6312" y="731"/>
                      <a:pt x="6305" y="733"/>
                      <a:pt x="6301" y="735"/>
                    </a:cubicBezTo>
                    <a:cubicBezTo>
                      <a:pt x="6298" y="736"/>
                      <a:pt x="6297" y="737"/>
                      <a:pt x="6296" y="737"/>
                    </a:cubicBezTo>
                    <a:cubicBezTo>
                      <a:pt x="6295" y="738"/>
                      <a:pt x="6295" y="738"/>
                      <a:pt x="6295" y="738"/>
                    </a:cubicBezTo>
                    <a:cubicBezTo>
                      <a:pt x="6277" y="748"/>
                      <a:pt x="6062" y="873"/>
                      <a:pt x="5952" y="933"/>
                    </a:cubicBezTo>
                    <a:cubicBezTo>
                      <a:pt x="5850" y="989"/>
                      <a:pt x="5778" y="1021"/>
                      <a:pt x="5670" y="1021"/>
                    </a:cubicBezTo>
                    <a:cubicBezTo>
                      <a:pt x="5658" y="1020"/>
                      <a:pt x="5646" y="1020"/>
                      <a:pt x="5633" y="1019"/>
                    </a:cubicBezTo>
                    <a:cubicBezTo>
                      <a:pt x="5500" y="1011"/>
                      <a:pt x="5207" y="922"/>
                      <a:pt x="4918" y="836"/>
                    </a:cubicBezTo>
                    <a:cubicBezTo>
                      <a:pt x="4686" y="767"/>
                      <a:pt x="4522" y="689"/>
                      <a:pt x="4464" y="660"/>
                    </a:cubicBezTo>
                    <a:cubicBezTo>
                      <a:pt x="4237" y="1102"/>
                      <a:pt x="4237" y="1102"/>
                      <a:pt x="4237" y="1102"/>
                    </a:cubicBezTo>
                    <a:cubicBezTo>
                      <a:pt x="4231" y="1125"/>
                      <a:pt x="4200" y="1243"/>
                      <a:pt x="4159" y="1313"/>
                    </a:cubicBezTo>
                    <a:cubicBezTo>
                      <a:pt x="4125" y="1369"/>
                      <a:pt x="4101" y="1414"/>
                      <a:pt x="4093" y="1427"/>
                    </a:cubicBezTo>
                    <a:lnTo>
                      <a:pt x="4026" y="1765"/>
                    </a:lnTo>
                    <a:close/>
                    <a:moveTo>
                      <a:pt x="3644" y="1789"/>
                    </a:moveTo>
                    <a:cubicBezTo>
                      <a:pt x="3226" y="3080"/>
                      <a:pt x="3226" y="3080"/>
                      <a:pt x="3226" y="3080"/>
                    </a:cubicBezTo>
                    <a:cubicBezTo>
                      <a:pt x="3288" y="3105"/>
                      <a:pt x="3369" y="3140"/>
                      <a:pt x="3461" y="3180"/>
                    </a:cubicBezTo>
                    <a:cubicBezTo>
                      <a:pt x="3611" y="3245"/>
                      <a:pt x="3789" y="3322"/>
                      <a:pt x="3947" y="3380"/>
                    </a:cubicBezTo>
                    <a:cubicBezTo>
                      <a:pt x="4267" y="3499"/>
                      <a:pt x="4565" y="3604"/>
                      <a:pt x="4764" y="3656"/>
                    </a:cubicBezTo>
                    <a:cubicBezTo>
                      <a:pt x="4835" y="3674"/>
                      <a:pt x="4911" y="3694"/>
                      <a:pt x="4988" y="3716"/>
                    </a:cubicBezTo>
                    <a:cubicBezTo>
                      <a:pt x="5143" y="3357"/>
                      <a:pt x="5143" y="3357"/>
                      <a:pt x="5143" y="3357"/>
                    </a:cubicBezTo>
                    <a:cubicBezTo>
                      <a:pt x="5135" y="2981"/>
                      <a:pt x="5135" y="2981"/>
                      <a:pt x="5135" y="2981"/>
                    </a:cubicBezTo>
                    <a:cubicBezTo>
                      <a:pt x="5136" y="2976"/>
                      <a:pt x="5136" y="2976"/>
                      <a:pt x="5136" y="2976"/>
                    </a:cubicBezTo>
                    <a:cubicBezTo>
                      <a:pt x="5136" y="2976"/>
                      <a:pt x="5175" y="2857"/>
                      <a:pt x="5213" y="2735"/>
                    </a:cubicBezTo>
                    <a:cubicBezTo>
                      <a:pt x="5233" y="2674"/>
                      <a:pt x="5252" y="2612"/>
                      <a:pt x="5266" y="2563"/>
                    </a:cubicBezTo>
                    <a:cubicBezTo>
                      <a:pt x="5270" y="2551"/>
                      <a:pt x="5273" y="2539"/>
                      <a:pt x="5276" y="2529"/>
                    </a:cubicBezTo>
                    <a:cubicBezTo>
                      <a:pt x="4421" y="2175"/>
                      <a:pt x="4421" y="2175"/>
                      <a:pt x="4421" y="2175"/>
                    </a:cubicBezTo>
                    <a:cubicBezTo>
                      <a:pt x="4413" y="2169"/>
                      <a:pt x="4413" y="2169"/>
                      <a:pt x="4413" y="2169"/>
                    </a:cubicBezTo>
                    <a:cubicBezTo>
                      <a:pt x="4413" y="2169"/>
                      <a:pt x="4409" y="2166"/>
                      <a:pt x="4400" y="2160"/>
                    </a:cubicBezTo>
                    <a:cubicBezTo>
                      <a:pt x="4342" y="2117"/>
                      <a:pt x="4083" y="1936"/>
                      <a:pt x="3854" y="1861"/>
                    </a:cubicBezTo>
                    <a:cubicBezTo>
                      <a:pt x="3800" y="1843"/>
                      <a:pt x="3726" y="1818"/>
                      <a:pt x="3644" y="1789"/>
                    </a:cubicBezTo>
                    <a:close/>
                    <a:moveTo>
                      <a:pt x="1273" y="4103"/>
                    </a:moveTo>
                    <a:cubicBezTo>
                      <a:pt x="1283" y="4116"/>
                      <a:pt x="1292" y="4126"/>
                      <a:pt x="1298" y="4133"/>
                    </a:cubicBezTo>
                    <a:cubicBezTo>
                      <a:pt x="1298" y="4133"/>
                      <a:pt x="1299" y="4133"/>
                      <a:pt x="1299" y="4134"/>
                    </a:cubicBezTo>
                    <a:cubicBezTo>
                      <a:pt x="1304" y="4135"/>
                      <a:pt x="1308" y="4136"/>
                      <a:pt x="1315" y="4138"/>
                    </a:cubicBezTo>
                    <a:cubicBezTo>
                      <a:pt x="1369" y="4153"/>
                      <a:pt x="1496" y="4199"/>
                      <a:pt x="1568" y="4225"/>
                    </a:cubicBezTo>
                    <a:cubicBezTo>
                      <a:pt x="1635" y="4155"/>
                      <a:pt x="1948" y="3815"/>
                      <a:pt x="2211" y="3529"/>
                    </a:cubicBezTo>
                    <a:cubicBezTo>
                      <a:pt x="2368" y="3360"/>
                      <a:pt x="2481" y="3230"/>
                      <a:pt x="2561" y="3163"/>
                    </a:cubicBezTo>
                    <a:cubicBezTo>
                      <a:pt x="2694" y="3050"/>
                      <a:pt x="2832" y="3019"/>
                      <a:pt x="2943" y="3019"/>
                    </a:cubicBezTo>
                    <a:cubicBezTo>
                      <a:pt x="3023" y="3019"/>
                      <a:pt x="3090" y="3035"/>
                      <a:pt x="3133" y="3046"/>
                    </a:cubicBezTo>
                    <a:cubicBezTo>
                      <a:pt x="3142" y="3049"/>
                      <a:pt x="3153" y="3052"/>
                      <a:pt x="3165" y="3056"/>
                    </a:cubicBezTo>
                    <a:cubicBezTo>
                      <a:pt x="3582" y="1768"/>
                      <a:pt x="3582" y="1768"/>
                      <a:pt x="3582" y="1768"/>
                    </a:cubicBezTo>
                    <a:cubicBezTo>
                      <a:pt x="3243" y="1650"/>
                      <a:pt x="2791" y="1487"/>
                      <a:pt x="2746" y="1470"/>
                    </a:cubicBezTo>
                    <a:cubicBezTo>
                      <a:pt x="2716" y="1459"/>
                      <a:pt x="2673" y="1443"/>
                      <a:pt x="2630" y="1417"/>
                    </a:cubicBezTo>
                    <a:cubicBezTo>
                      <a:pt x="2606" y="1402"/>
                      <a:pt x="2581" y="1384"/>
                      <a:pt x="2558" y="1360"/>
                    </a:cubicBezTo>
                    <a:cubicBezTo>
                      <a:pt x="2555" y="1363"/>
                      <a:pt x="2552" y="1366"/>
                      <a:pt x="2547" y="1369"/>
                    </a:cubicBezTo>
                    <a:cubicBezTo>
                      <a:pt x="2459" y="1441"/>
                      <a:pt x="2143" y="1714"/>
                      <a:pt x="1849" y="1968"/>
                    </a:cubicBezTo>
                    <a:cubicBezTo>
                      <a:pt x="1703" y="2095"/>
                      <a:pt x="1561" y="2218"/>
                      <a:pt x="1457" y="2309"/>
                    </a:cubicBezTo>
                    <a:cubicBezTo>
                      <a:pt x="1360" y="2392"/>
                      <a:pt x="1296" y="2449"/>
                      <a:pt x="1285" y="2457"/>
                    </a:cubicBezTo>
                    <a:cubicBezTo>
                      <a:pt x="581" y="3211"/>
                      <a:pt x="581" y="3211"/>
                      <a:pt x="581" y="3211"/>
                    </a:cubicBezTo>
                    <a:cubicBezTo>
                      <a:pt x="633" y="3279"/>
                      <a:pt x="780" y="3472"/>
                      <a:pt x="929" y="3665"/>
                    </a:cubicBezTo>
                    <a:cubicBezTo>
                      <a:pt x="1022" y="3785"/>
                      <a:pt x="1115" y="3905"/>
                      <a:pt x="1186" y="3995"/>
                    </a:cubicBezTo>
                    <a:cubicBezTo>
                      <a:pt x="1222" y="4040"/>
                      <a:pt x="1251" y="4077"/>
                      <a:pt x="1273" y="4103"/>
                    </a:cubicBezTo>
                    <a:close/>
                    <a:moveTo>
                      <a:pt x="1239" y="4357"/>
                    </a:moveTo>
                    <a:cubicBezTo>
                      <a:pt x="1497" y="4504"/>
                      <a:pt x="1497" y="4504"/>
                      <a:pt x="1497" y="4504"/>
                    </a:cubicBezTo>
                    <a:cubicBezTo>
                      <a:pt x="1505" y="4482"/>
                      <a:pt x="1520" y="4443"/>
                      <a:pt x="1536" y="4403"/>
                    </a:cubicBezTo>
                    <a:cubicBezTo>
                      <a:pt x="1548" y="4373"/>
                      <a:pt x="1560" y="4344"/>
                      <a:pt x="1569" y="4321"/>
                    </a:cubicBezTo>
                    <a:cubicBezTo>
                      <a:pt x="1573" y="4312"/>
                      <a:pt x="1576" y="4305"/>
                      <a:pt x="1579" y="4299"/>
                    </a:cubicBezTo>
                    <a:cubicBezTo>
                      <a:pt x="1552" y="4289"/>
                      <a:pt x="1500" y="4270"/>
                      <a:pt x="1445" y="4251"/>
                    </a:cubicBezTo>
                    <a:cubicBezTo>
                      <a:pt x="1406" y="4237"/>
                      <a:pt x="1367" y="4223"/>
                      <a:pt x="1336" y="4213"/>
                    </a:cubicBezTo>
                    <a:cubicBezTo>
                      <a:pt x="1330" y="4211"/>
                      <a:pt x="1325" y="4210"/>
                      <a:pt x="1320" y="4208"/>
                    </a:cubicBezTo>
                    <a:lnTo>
                      <a:pt x="1239" y="4357"/>
                    </a:lnTo>
                    <a:close/>
                    <a:moveTo>
                      <a:pt x="1169" y="4486"/>
                    </a:moveTo>
                    <a:cubicBezTo>
                      <a:pt x="1208" y="4508"/>
                      <a:pt x="1208" y="4508"/>
                      <a:pt x="1208" y="4508"/>
                    </a:cubicBezTo>
                    <a:cubicBezTo>
                      <a:pt x="1259" y="4413"/>
                      <a:pt x="1259" y="4413"/>
                      <a:pt x="1259" y="4413"/>
                    </a:cubicBezTo>
                    <a:cubicBezTo>
                      <a:pt x="1397" y="4488"/>
                      <a:pt x="1397" y="4488"/>
                      <a:pt x="1397" y="4488"/>
                    </a:cubicBezTo>
                    <a:cubicBezTo>
                      <a:pt x="1394" y="4494"/>
                      <a:pt x="1394" y="4494"/>
                      <a:pt x="1394" y="4494"/>
                    </a:cubicBezTo>
                    <a:cubicBezTo>
                      <a:pt x="1344" y="4586"/>
                      <a:pt x="1344" y="4586"/>
                      <a:pt x="1344" y="4586"/>
                    </a:cubicBezTo>
                    <a:cubicBezTo>
                      <a:pt x="1750" y="4817"/>
                      <a:pt x="1750" y="4817"/>
                      <a:pt x="1750" y="4817"/>
                    </a:cubicBezTo>
                    <a:cubicBezTo>
                      <a:pt x="1779" y="4681"/>
                      <a:pt x="1779" y="4681"/>
                      <a:pt x="1779" y="4681"/>
                    </a:cubicBezTo>
                    <a:cubicBezTo>
                      <a:pt x="1504" y="4524"/>
                      <a:pt x="1504" y="4524"/>
                      <a:pt x="1504" y="4524"/>
                    </a:cubicBezTo>
                    <a:cubicBezTo>
                      <a:pt x="1503" y="4525"/>
                      <a:pt x="1503" y="4527"/>
                      <a:pt x="1503" y="4527"/>
                    </a:cubicBezTo>
                    <a:cubicBezTo>
                      <a:pt x="1490" y="4522"/>
                      <a:pt x="1490" y="4522"/>
                      <a:pt x="1490" y="4522"/>
                    </a:cubicBezTo>
                    <a:cubicBezTo>
                      <a:pt x="1490" y="4522"/>
                      <a:pt x="1490" y="4520"/>
                      <a:pt x="1492" y="4517"/>
                    </a:cubicBezTo>
                    <a:cubicBezTo>
                      <a:pt x="1233" y="4369"/>
                      <a:pt x="1233" y="4369"/>
                      <a:pt x="1233" y="4369"/>
                    </a:cubicBezTo>
                    <a:lnTo>
                      <a:pt x="1169" y="4486"/>
                    </a:lnTo>
                    <a:close/>
                    <a:moveTo>
                      <a:pt x="1110" y="4593"/>
                    </a:moveTo>
                    <a:cubicBezTo>
                      <a:pt x="1149" y="4615"/>
                      <a:pt x="1149" y="4615"/>
                      <a:pt x="1149" y="4615"/>
                    </a:cubicBezTo>
                    <a:cubicBezTo>
                      <a:pt x="1201" y="4520"/>
                      <a:pt x="1201" y="4520"/>
                      <a:pt x="1201" y="4520"/>
                    </a:cubicBezTo>
                    <a:cubicBezTo>
                      <a:pt x="1162" y="4498"/>
                      <a:pt x="1162" y="4498"/>
                      <a:pt x="1162" y="4498"/>
                    </a:cubicBezTo>
                    <a:lnTo>
                      <a:pt x="1110" y="4593"/>
                    </a:lnTo>
                    <a:close/>
                    <a:moveTo>
                      <a:pt x="1056" y="4693"/>
                    </a:moveTo>
                    <a:cubicBezTo>
                      <a:pt x="1095" y="4715"/>
                      <a:pt x="1095" y="4715"/>
                      <a:pt x="1095" y="4715"/>
                    </a:cubicBezTo>
                    <a:cubicBezTo>
                      <a:pt x="1142" y="4628"/>
                      <a:pt x="1142" y="4628"/>
                      <a:pt x="1142" y="4628"/>
                    </a:cubicBezTo>
                    <a:cubicBezTo>
                      <a:pt x="1103" y="4606"/>
                      <a:pt x="1103" y="4606"/>
                      <a:pt x="1103" y="4606"/>
                    </a:cubicBezTo>
                    <a:lnTo>
                      <a:pt x="1056" y="4693"/>
                    </a:lnTo>
                    <a:close/>
                    <a:moveTo>
                      <a:pt x="998" y="4798"/>
                    </a:moveTo>
                    <a:cubicBezTo>
                      <a:pt x="1037" y="4820"/>
                      <a:pt x="1037" y="4820"/>
                      <a:pt x="1037" y="4820"/>
                    </a:cubicBezTo>
                    <a:cubicBezTo>
                      <a:pt x="1088" y="4727"/>
                      <a:pt x="1088" y="4727"/>
                      <a:pt x="1088" y="4727"/>
                    </a:cubicBezTo>
                    <a:cubicBezTo>
                      <a:pt x="1049" y="4705"/>
                      <a:pt x="1049" y="4705"/>
                      <a:pt x="1049" y="4705"/>
                    </a:cubicBezTo>
                    <a:lnTo>
                      <a:pt x="998" y="4798"/>
                    </a:lnTo>
                    <a:close/>
                    <a:moveTo>
                      <a:pt x="933" y="4917"/>
                    </a:moveTo>
                    <a:cubicBezTo>
                      <a:pt x="972" y="4940"/>
                      <a:pt x="972" y="4940"/>
                      <a:pt x="972" y="4940"/>
                    </a:cubicBezTo>
                    <a:cubicBezTo>
                      <a:pt x="1031" y="4833"/>
                      <a:pt x="1031" y="4833"/>
                      <a:pt x="1031" y="4833"/>
                    </a:cubicBezTo>
                    <a:cubicBezTo>
                      <a:pt x="992" y="4810"/>
                      <a:pt x="992" y="4810"/>
                      <a:pt x="992" y="4810"/>
                    </a:cubicBezTo>
                    <a:lnTo>
                      <a:pt x="933" y="4917"/>
                    </a:lnTo>
                    <a:close/>
                    <a:moveTo>
                      <a:pt x="869" y="5034"/>
                    </a:moveTo>
                    <a:cubicBezTo>
                      <a:pt x="909" y="5056"/>
                      <a:pt x="909" y="5056"/>
                      <a:pt x="909" y="5056"/>
                    </a:cubicBezTo>
                    <a:cubicBezTo>
                      <a:pt x="966" y="4952"/>
                      <a:pt x="966" y="4952"/>
                      <a:pt x="966" y="4952"/>
                    </a:cubicBezTo>
                    <a:cubicBezTo>
                      <a:pt x="926" y="4930"/>
                      <a:pt x="926" y="4930"/>
                      <a:pt x="926" y="4930"/>
                    </a:cubicBezTo>
                    <a:lnTo>
                      <a:pt x="869" y="5034"/>
                    </a:lnTo>
                    <a:close/>
                    <a:moveTo>
                      <a:pt x="810" y="5142"/>
                    </a:moveTo>
                    <a:cubicBezTo>
                      <a:pt x="850" y="5165"/>
                      <a:pt x="850" y="5165"/>
                      <a:pt x="850" y="5165"/>
                    </a:cubicBezTo>
                    <a:cubicBezTo>
                      <a:pt x="902" y="5069"/>
                      <a:pt x="902" y="5069"/>
                      <a:pt x="902" y="5069"/>
                    </a:cubicBezTo>
                    <a:cubicBezTo>
                      <a:pt x="863" y="5046"/>
                      <a:pt x="863" y="5046"/>
                      <a:pt x="863" y="5046"/>
                    </a:cubicBezTo>
                    <a:lnTo>
                      <a:pt x="810" y="5142"/>
                    </a:lnTo>
                    <a:close/>
                    <a:moveTo>
                      <a:pt x="739" y="5272"/>
                    </a:moveTo>
                    <a:cubicBezTo>
                      <a:pt x="779" y="5295"/>
                      <a:pt x="779" y="5295"/>
                      <a:pt x="779" y="5295"/>
                    </a:cubicBezTo>
                    <a:cubicBezTo>
                      <a:pt x="843" y="5177"/>
                      <a:pt x="843" y="5177"/>
                      <a:pt x="843" y="5177"/>
                    </a:cubicBezTo>
                    <a:cubicBezTo>
                      <a:pt x="804" y="5154"/>
                      <a:pt x="804" y="5154"/>
                      <a:pt x="804" y="5154"/>
                    </a:cubicBezTo>
                    <a:lnTo>
                      <a:pt x="739" y="5272"/>
                    </a:lnTo>
                    <a:close/>
                    <a:moveTo>
                      <a:pt x="680" y="5380"/>
                    </a:moveTo>
                    <a:cubicBezTo>
                      <a:pt x="720" y="5403"/>
                      <a:pt x="720" y="5403"/>
                      <a:pt x="720" y="5403"/>
                    </a:cubicBezTo>
                    <a:cubicBezTo>
                      <a:pt x="772" y="5307"/>
                      <a:pt x="772" y="5307"/>
                      <a:pt x="772" y="5307"/>
                    </a:cubicBezTo>
                    <a:cubicBezTo>
                      <a:pt x="733" y="5284"/>
                      <a:pt x="733" y="5284"/>
                      <a:pt x="733" y="5284"/>
                    </a:cubicBezTo>
                    <a:lnTo>
                      <a:pt x="680" y="5380"/>
                    </a:lnTo>
                    <a:close/>
                    <a:moveTo>
                      <a:pt x="616" y="5498"/>
                    </a:moveTo>
                    <a:cubicBezTo>
                      <a:pt x="656" y="5521"/>
                      <a:pt x="656" y="5521"/>
                      <a:pt x="656" y="5521"/>
                    </a:cubicBezTo>
                    <a:cubicBezTo>
                      <a:pt x="714" y="5415"/>
                      <a:pt x="714" y="5415"/>
                      <a:pt x="714" y="5415"/>
                    </a:cubicBezTo>
                    <a:cubicBezTo>
                      <a:pt x="674" y="5392"/>
                      <a:pt x="674" y="5392"/>
                      <a:pt x="674" y="5392"/>
                    </a:cubicBezTo>
                    <a:lnTo>
                      <a:pt x="616" y="5498"/>
                    </a:lnTo>
                    <a:close/>
                    <a:moveTo>
                      <a:pt x="558" y="5603"/>
                    </a:moveTo>
                    <a:cubicBezTo>
                      <a:pt x="599" y="5627"/>
                      <a:pt x="599" y="5627"/>
                      <a:pt x="599" y="5627"/>
                    </a:cubicBezTo>
                    <a:cubicBezTo>
                      <a:pt x="649" y="5534"/>
                      <a:pt x="649" y="5534"/>
                      <a:pt x="649" y="5534"/>
                    </a:cubicBezTo>
                    <a:cubicBezTo>
                      <a:pt x="609" y="5511"/>
                      <a:pt x="609" y="5511"/>
                      <a:pt x="609" y="5511"/>
                    </a:cubicBezTo>
                    <a:lnTo>
                      <a:pt x="558" y="5603"/>
                    </a:lnTo>
                    <a:close/>
                    <a:moveTo>
                      <a:pt x="493" y="5723"/>
                    </a:moveTo>
                    <a:cubicBezTo>
                      <a:pt x="534" y="5746"/>
                      <a:pt x="534" y="5746"/>
                      <a:pt x="534" y="5746"/>
                    </a:cubicBezTo>
                    <a:cubicBezTo>
                      <a:pt x="592" y="5639"/>
                      <a:pt x="592" y="5639"/>
                      <a:pt x="592" y="5639"/>
                    </a:cubicBezTo>
                    <a:cubicBezTo>
                      <a:pt x="551" y="5616"/>
                      <a:pt x="551" y="5616"/>
                      <a:pt x="551" y="5616"/>
                    </a:cubicBezTo>
                    <a:lnTo>
                      <a:pt x="493" y="5723"/>
                    </a:lnTo>
                    <a:close/>
                    <a:moveTo>
                      <a:pt x="429" y="5839"/>
                    </a:moveTo>
                    <a:cubicBezTo>
                      <a:pt x="470" y="5863"/>
                      <a:pt x="470" y="5863"/>
                      <a:pt x="470" y="5863"/>
                    </a:cubicBezTo>
                    <a:cubicBezTo>
                      <a:pt x="527" y="5758"/>
                      <a:pt x="527" y="5758"/>
                      <a:pt x="527" y="5758"/>
                    </a:cubicBezTo>
                    <a:cubicBezTo>
                      <a:pt x="486" y="5735"/>
                      <a:pt x="486" y="5735"/>
                      <a:pt x="486" y="5735"/>
                    </a:cubicBezTo>
                    <a:lnTo>
                      <a:pt x="429" y="5839"/>
                    </a:lnTo>
                    <a:close/>
                    <a:moveTo>
                      <a:pt x="370" y="5948"/>
                    </a:moveTo>
                    <a:cubicBezTo>
                      <a:pt x="411" y="5971"/>
                      <a:pt x="411" y="5971"/>
                      <a:pt x="411" y="5971"/>
                    </a:cubicBezTo>
                    <a:cubicBezTo>
                      <a:pt x="463" y="5875"/>
                      <a:pt x="463" y="5875"/>
                      <a:pt x="463" y="5875"/>
                    </a:cubicBezTo>
                    <a:cubicBezTo>
                      <a:pt x="423" y="5852"/>
                      <a:pt x="423" y="5852"/>
                      <a:pt x="423" y="5852"/>
                    </a:cubicBezTo>
                    <a:lnTo>
                      <a:pt x="370" y="5948"/>
                    </a:lnTo>
                    <a:close/>
                    <a:moveTo>
                      <a:pt x="312" y="6054"/>
                    </a:moveTo>
                    <a:cubicBezTo>
                      <a:pt x="847" y="6359"/>
                      <a:pt x="847" y="6359"/>
                      <a:pt x="847" y="6359"/>
                    </a:cubicBezTo>
                    <a:cubicBezTo>
                      <a:pt x="888" y="6259"/>
                      <a:pt x="888" y="6259"/>
                      <a:pt x="888" y="6259"/>
                    </a:cubicBezTo>
                    <a:cubicBezTo>
                      <a:pt x="541" y="6061"/>
                      <a:pt x="541" y="6061"/>
                      <a:pt x="541" y="6061"/>
                    </a:cubicBezTo>
                    <a:cubicBezTo>
                      <a:pt x="500" y="6136"/>
                      <a:pt x="500" y="6136"/>
                      <a:pt x="500" y="6136"/>
                    </a:cubicBezTo>
                    <a:cubicBezTo>
                      <a:pt x="362" y="6061"/>
                      <a:pt x="362" y="6061"/>
                      <a:pt x="362" y="6061"/>
                    </a:cubicBezTo>
                    <a:cubicBezTo>
                      <a:pt x="405" y="5983"/>
                      <a:pt x="405" y="5983"/>
                      <a:pt x="405" y="5983"/>
                    </a:cubicBezTo>
                    <a:cubicBezTo>
                      <a:pt x="364" y="5960"/>
                      <a:pt x="364" y="5960"/>
                      <a:pt x="364" y="5960"/>
                    </a:cubicBezTo>
                    <a:lnTo>
                      <a:pt x="312" y="6054"/>
                    </a:lnTo>
                    <a:close/>
                    <a:moveTo>
                      <a:pt x="702" y="6533"/>
                    </a:moveTo>
                    <a:cubicBezTo>
                      <a:pt x="775" y="6451"/>
                      <a:pt x="831" y="6388"/>
                      <a:pt x="838" y="6380"/>
                    </a:cubicBezTo>
                    <a:cubicBezTo>
                      <a:pt x="841" y="6372"/>
                      <a:pt x="841" y="6372"/>
                      <a:pt x="841" y="6372"/>
                    </a:cubicBezTo>
                    <a:cubicBezTo>
                      <a:pt x="306" y="6066"/>
                      <a:pt x="306" y="6066"/>
                      <a:pt x="306" y="6066"/>
                    </a:cubicBezTo>
                    <a:cubicBezTo>
                      <a:pt x="220" y="6222"/>
                      <a:pt x="220" y="6222"/>
                      <a:pt x="220" y="6222"/>
                    </a:cubicBezTo>
                    <a:cubicBezTo>
                      <a:pt x="357" y="6286"/>
                      <a:pt x="540" y="6399"/>
                      <a:pt x="702" y="6533"/>
                    </a:cubicBezTo>
                    <a:close/>
                    <a:moveTo>
                      <a:pt x="353" y="6937"/>
                    </a:moveTo>
                    <a:cubicBezTo>
                      <a:pt x="422" y="6991"/>
                      <a:pt x="836" y="7356"/>
                      <a:pt x="925" y="7434"/>
                    </a:cubicBezTo>
                    <a:cubicBezTo>
                      <a:pt x="1009" y="7231"/>
                      <a:pt x="1009" y="7231"/>
                      <a:pt x="1009" y="7231"/>
                    </a:cubicBezTo>
                    <a:cubicBezTo>
                      <a:pt x="1069" y="7069"/>
                      <a:pt x="1069" y="7069"/>
                      <a:pt x="1069" y="7069"/>
                    </a:cubicBezTo>
                    <a:cubicBezTo>
                      <a:pt x="1065" y="7063"/>
                      <a:pt x="1061" y="7054"/>
                      <a:pt x="1055" y="7043"/>
                    </a:cubicBezTo>
                    <a:cubicBezTo>
                      <a:pt x="1012" y="6970"/>
                      <a:pt x="906" y="6804"/>
                      <a:pt x="745" y="6657"/>
                    </a:cubicBezTo>
                    <a:cubicBezTo>
                      <a:pt x="721" y="6634"/>
                      <a:pt x="695" y="6612"/>
                      <a:pt x="669" y="6590"/>
                    </a:cubicBezTo>
                    <a:cubicBezTo>
                      <a:pt x="646" y="6616"/>
                      <a:pt x="622" y="6643"/>
                      <a:pt x="598" y="6670"/>
                    </a:cubicBezTo>
                    <a:cubicBezTo>
                      <a:pt x="534" y="6741"/>
                      <a:pt x="471" y="6811"/>
                      <a:pt x="422" y="6864"/>
                    </a:cubicBezTo>
                    <a:cubicBezTo>
                      <a:pt x="397" y="6890"/>
                      <a:pt x="377" y="6912"/>
                      <a:pt x="362" y="6928"/>
                    </a:cubicBezTo>
                    <a:cubicBezTo>
                      <a:pt x="358" y="6931"/>
                      <a:pt x="356" y="6934"/>
                      <a:pt x="353" y="6937"/>
                    </a:cubicBezTo>
                    <a:close/>
                    <a:moveTo>
                      <a:pt x="358" y="7464"/>
                    </a:moveTo>
                    <a:cubicBezTo>
                      <a:pt x="383" y="7438"/>
                      <a:pt x="432" y="7387"/>
                      <a:pt x="481" y="7336"/>
                    </a:cubicBezTo>
                    <a:cubicBezTo>
                      <a:pt x="517" y="7300"/>
                      <a:pt x="553" y="7263"/>
                      <a:pt x="580" y="7236"/>
                    </a:cubicBezTo>
                    <a:cubicBezTo>
                      <a:pt x="594" y="7222"/>
                      <a:pt x="606" y="7211"/>
                      <a:pt x="615" y="7203"/>
                    </a:cubicBezTo>
                    <a:cubicBezTo>
                      <a:pt x="619" y="7199"/>
                      <a:pt x="622" y="7195"/>
                      <a:pt x="625" y="7193"/>
                    </a:cubicBezTo>
                    <a:cubicBezTo>
                      <a:pt x="626" y="7193"/>
                      <a:pt x="627" y="7192"/>
                      <a:pt x="627" y="7192"/>
                    </a:cubicBezTo>
                    <a:cubicBezTo>
                      <a:pt x="556" y="7130"/>
                      <a:pt x="486" y="7068"/>
                      <a:pt x="432" y="7022"/>
                    </a:cubicBezTo>
                    <a:cubicBezTo>
                      <a:pt x="404" y="6998"/>
                      <a:pt x="380" y="6977"/>
                      <a:pt x="363" y="6963"/>
                    </a:cubicBezTo>
                    <a:cubicBezTo>
                      <a:pt x="355" y="6956"/>
                      <a:pt x="348" y="6951"/>
                      <a:pt x="343" y="6947"/>
                    </a:cubicBezTo>
                    <a:cubicBezTo>
                      <a:pt x="343" y="6947"/>
                      <a:pt x="343" y="6947"/>
                      <a:pt x="343" y="6947"/>
                    </a:cubicBezTo>
                    <a:cubicBezTo>
                      <a:pt x="341" y="6948"/>
                      <a:pt x="339" y="6950"/>
                      <a:pt x="337" y="6951"/>
                    </a:cubicBezTo>
                    <a:cubicBezTo>
                      <a:pt x="336" y="6952"/>
                      <a:pt x="336" y="6953"/>
                      <a:pt x="333" y="6954"/>
                    </a:cubicBezTo>
                    <a:cubicBezTo>
                      <a:pt x="329" y="6958"/>
                      <a:pt x="318" y="6980"/>
                      <a:pt x="306" y="7008"/>
                    </a:cubicBezTo>
                    <a:cubicBezTo>
                      <a:pt x="286" y="7053"/>
                      <a:pt x="259" y="7118"/>
                      <a:pt x="236" y="7171"/>
                    </a:cubicBezTo>
                    <a:cubicBezTo>
                      <a:pt x="225" y="7198"/>
                      <a:pt x="215" y="7221"/>
                      <a:pt x="207" y="7238"/>
                    </a:cubicBezTo>
                    <a:cubicBezTo>
                      <a:pt x="205" y="7242"/>
                      <a:pt x="204" y="7245"/>
                      <a:pt x="202" y="7248"/>
                    </a:cubicBezTo>
                    <a:lnTo>
                      <a:pt x="358" y="7464"/>
                    </a:lnTo>
                    <a:close/>
                    <a:moveTo>
                      <a:pt x="250" y="8206"/>
                    </a:moveTo>
                    <a:cubicBezTo>
                      <a:pt x="251" y="8205"/>
                      <a:pt x="251" y="8205"/>
                      <a:pt x="251" y="8205"/>
                    </a:cubicBezTo>
                    <a:cubicBezTo>
                      <a:pt x="582" y="7853"/>
                      <a:pt x="582" y="7853"/>
                      <a:pt x="582" y="7853"/>
                    </a:cubicBezTo>
                    <a:cubicBezTo>
                      <a:pt x="341" y="7518"/>
                      <a:pt x="341" y="7518"/>
                      <a:pt x="341" y="7518"/>
                    </a:cubicBezTo>
                    <a:cubicBezTo>
                      <a:pt x="330" y="7549"/>
                      <a:pt x="310" y="7600"/>
                      <a:pt x="290" y="7652"/>
                    </a:cubicBezTo>
                    <a:cubicBezTo>
                      <a:pt x="274" y="7693"/>
                      <a:pt x="258" y="7733"/>
                      <a:pt x="246" y="7764"/>
                    </a:cubicBezTo>
                    <a:cubicBezTo>
                      <a:pt x="239" y="7779"/>
                      <a:pt x="234" y="7792"/>
                      <a:pt x="230" y="7801"/>
                    </a:cubicBezTo>
                    <a:cubicBezTo>
                      <a:pt x="227" y="7806"/>
                      <a:pt x="226" y="7809"/>
                      <a:pt x="224" y="7812"/>
                    </a:cubicBezTo>
                    <a:cubicBezTo>
                      <a:pt x="223" y="7813"/>
                      <a:pt x="223" y="7814"/>
                      <a:pt x="222" y="7815"/>
                    </a:cubicBezTo>
                    <a:cubicBezTo>
                      <a:pt x="221" y="7816"/>
                      <a:pt x="221" y="7818"/>
                      <a:pt x="215" y="7819"/>
                    </a:cubicBezTo>
                    <a:cubicBezTo>
                      <a:pt x="206" y="7819"/>
                      <a:pt x="144" y="7811"/>
                      <a:pt x="129" y="7810"/>
                    </a:cubicBezTo>
                    <a:cubicBezTo>
                      <a:pt x="126" y="7815"/>
                      <a:pt x="117" y="7831"/>
                      <a:pt x="106" y="7852"/>
                    </a:cubicBezTo>
                    <a:cubicBezTo>
                      <a:pt x="78" y="7908"/>
                      <a:pt x="35" y="7999"/>
                      <a:pt x="17" y="8037"/>
                    </a:cubicBezTo>
                    <a:cubicBezTo>
                      <a:pt x="33" y="8047"/>
                      <a:pt x="49" y="8056"/>
                      <a:pt x="65" y="8066"/>
                    </a:cubicBezTo>
                    <a:cubicBezTo>
                      <a:pt x="152" y="8123"/>
                      <a:pt x="220" y="8179"/>
                      <a:pt x="250" y="8206"/>
                    </a:cubicBezTo>
                    <a:close/>
                    <a:moveTo>
                      <a:pt x="329" y="8627"/>
                    </a:moveTo>
                    <a:cubicBezTo>
                      <a:pt x="699" y="8319"/>
                      <a:pt x="699" y="8319"/>
                      <a:pt x="699" y="8319"/>
                    </a:cubicBezTo>
                    <a:cubicBezTo>
                      <a:pt x="479" y="8057"/>
                      <a:pt x="479" y="8057"/>
                      <a:pt x="479" y="8057"/>
                    </a:cubicBezTo>
                    <a:cubicBezTo>
                      <a:pt x="299" y="8250"/>
                      <a:pt x="299" y="8250"/>
                      <a:pt x="299" y="8250"/>
                    </a:cubicBezTo>
                    <a:cubicBezTo>
                      <a:pt x="268" y="8281"/>
                      <a:pt x="227" y="8329"/>
                      <a:pt x="164" y="8378"/>
                    </a:cubicBezTo>
                    <a:cubicBezTo>
                      <a:pt x="242" y="8461"/>
                      <a:pt x="242" y="8461"/>
                      <a:pt x="242" y="8461"/>
                    </a:cubicBezTo>
                    <a:cubicBezTo>
                      <a:pt x="199" y="8507"/>
                      <a:pt x="199" y="8507"/>
                      <a:pt x="199" y="8507"/>
                    </a:cubicBezTo>
                    <a:cubicBezTo>
                      <a:pt x="205" y="8501"/>
                      <a:pt x="205" y="8501"/>
                      <a:pt x="205" y="8501"/>
                    </a:cubicBezTo>
                    <a:lnTo>
                      <a:pt x="329" y="8627"/>
                    </a:lnTo>
                    <a:close/>
                    <a:moveTo>
                      <a:pt x="341" y="9012"/>
                    </a:moveTo>
                    <a:cubicBezTo>
                      <a:pt x="536" y="8917"/>
                      <a:pt x="536" y="8917"/>
                      <a:pt x="536" y="8917"/>
                    </a:cubicBezTo>
                    <a:cubicBezTo>
                      <a:pt x="536" y="8897"/>
                      <a:pt x="533" y="8823"/>
                      <a:pt x="533" y="8797"/>
                    </a:cubicBezTo>
                    <a:cubicBezTo>
                      <a:pt x="533" y="8795"/>
                      <a:pt x="533" y="8793"/>
                      <a:pt x="533" y="8791"/>
                    </a:cubicBezTo>
                    <a:cubicBezTo>
                      <a:pt x="534" y="8789"/>
                      <a:pt x="533" y="8789"/>
                      <a:pt x="534" y="8786"/>
                    </a:cubicBezTo>
                    <a:cubicBezTo>
                      <a:pt x="505" y="8760"/>
                      <a:pt x="435" y="8690"/>
                      <a:pt x="398" y="8654"/>
                    </a:cubicBezTo>
                    <a:cubicBezTo>
                      <a:pt x="155" y="8857"/>
                      <a:pt x="155" y="8857"/>
                      <a:pt x="155" y="8857"/>
                    </a:cubicBezTo>
                    <a:lnTo>
                      <a:pt x="341" y="9012"/>
                    </a:lnTo>
                    <a:close/>
                    <a:moveTo>
                      <a:pt x="257" y="9240"/>
                    </a:moveTo>
                    <a:cubicBezTo>
                      <a:pt x="277" y="9232"/>
                      <a:pt x="303" y="9223"/>
                      <a:pt x="340" y="9221"/>
                    </a:cubicBezTo>
                    <a:cubicBezTo>
                      <a:pt x="342" y="9221"/>
                      <a:pt x="345" y="9221"/>
                      <a:pt x="347" y="9221"/>
                    </a:cubicBezTo>
                    <a:cubicBezTo>
                      <a:pt x="408" y="9222"/>
                      <a:pt x="479" y="9254"/>
                      <a:pt x="519" y="9267"/>
                    </a:cubicBezTo>
                    <a:cubicBezTo>
                      <a:pt x="527" y="9236"/>
                      <a:pt x="539" y="9192"/>
                      <a:pt x="552" y="9148"/>
                    </a:cubicBezTo>
                    <a:cubicBezTo>
                      <a:pt x="563" y="9107"/>
                      <a:pt x="574" y="9067"/>
                      <a:pt x="582" y="9036"/>
                    </a:cubicBezTo>
                    <a:cubicBezTo>
                      <a:pt x="586" y="9021"/>
                      <a:pt x="590" y="9008"/>
                      <a:pt x="592" y="8999"/>
                    </a:cubicBezTo>
                    <a:cubicBezTo>
                      <a:pt x="593" y="8994"/>
                      <a:pt x="594" y="8990"/>
                      <a:pt x="595" y="8988"/>
                    </a:cubicBezTo>
                    <a:cubicBezTo>
                      <a:pt x="595" y="8987"/>
                      <a:pt x="595" y="8986"/>
                      <a:pt x="595" y="8985"/>
                    </a:cubicBezTo>
                    <a:cubicBezTo>
                      <a:pt x="596" y="8985"/>
                      <a:pt x="596" y="8984"/>
                      <a:pt x="596" y="8984"/>
                    </a:cubicBezTo>
                    <a:cubicBezTo>
                      <a:pt x="599" y="8985"/>
                      <a:pt x="599" y="8985"/>
                      <a:pt x="599" y="8985"/>
                    </a:cubicBezTo>
                    <a:cubicBezTo>
                      <a:pt x="572" y="8960"/>
                      <a:pt x="551" y="8940"/>
                      <a:pt x="543" y="8932"/>
                    </a:cubicBezTo>
                    <a:cubicBezTo>
                      <a:pt x="345" y="9028"/>
                      <a:pt x="345" y="9028"/>
                      <a:pt x="345" y="9028"/>
                    </a:cubicBezTo>
                    <a:lnTo>
                      <a:pt x="257" y="9240"/>
                    </a:lnTo>
                    <a:close/>
                    <a:moveTo>
                      <a:pt x="272" y="9774"/>
                    </a:moveTo>
                    <a:cubicBezTo>
                      <a:pt x="138" y="9523"/>
                      <a:pt x="138" y="9523"/>
                      <a:pt x="138" y="9523"/>
                    </a:cubicBezTo>
                    <a:cubicBezTo>
                      <a:pt x="47" y="9547"/>
                      <a:pt x="47" y="9547"/>
                      <a:pt x="47" y="9547"/>
                    </a:cubicBezTo>
                    <a:cubicBezTo>
                      <a:pt x="45" y="9560"/>
                      <a:pt x="39" y="9594"/>
                      <a:pt x="32" y="9629"/>
                    </a:cubicBezTo>
                    <a:cubicBezTo>
                      <a:pt x="25" y="9669"/>
                      <a:pt x="17" y="9713"/>
                      <a:pt x="16" y="9726"/>
                    </a:cubicBezTo>
                    <a:cubicBezTo>
                      <a:pt x="27" y="9734"/>
                      <a:pt x="57" y="9763"/>
                      <a:pt x="87" y="9791"/>
                    </a:cubicBezTo>
                    <a:cubicBezTo>
                      <a:pt x="102" y="9806"/>
                      <a:pt x="117" y="9819"/>
                      <a:pt x="129" y="9830"/>
                    </a:cubicBezTo>
                    <a:cubicBezTo>
                      <a:pt x="134" y="9835"/>
                      <a:pt x="139" y="9839"/>
                      <a:pt x="142" y="9842"/>
                    </a:cubicBezTo>
                    <a:cubicBezTo>
                      <a:pt x="143" y="9843"/>
                      <a:pt x="144" y="9844"/>
                      <a:pt x="144" y="9844"/>
                    </a:cubicBezTo>
                    <a:cubicBezTo>
                      <a:pt x="155" y="9840"/>
                      <a:pt x="186" y="9822"/>
                      <a:pt x="215" y="9806"/>
                    </a:cubicBezTo>
                    <a:cubicBezTo>
                      <a:pt x="238" y="9793"/>
                      <a:pt x="261" y="9780"/>
                      <a:pt x="272" y="9774"/>
                    </a:cubicBezTo>
                    <a:close/>
                    <a:moveTo>
                      <a:pt x="429" y="9921"/>
                    </a:moveTo>
                    <a:cubicBezTo>
                      <a:pt x="434" y="9919"/>
                      <a:pt x="438" y="9917"/>
                      <a:pt x="440" y="9916"/>
                    </a:cubicBezTo>
                    <a:cubicBezTo>
                      <a:pt x="560" y="9852"/>
                      <a:pt x="560" y="9852"/>
                      <a:pt x="560" y="9852"/>
                    </a:cubicBezTo>
                    <a:cubicBezTo>
                      <a:pt x="549" y="9822"/>
                      <a:pt x="527" y="9759"/>
                      <a:pt x="504" y="9695"/>
                    </a:cubicBezTo>
                    <a:cubicBezTo>
                      <a:pt x="488" y="9651"/>
                      <a:pt x="473" y="9607"/>
                      <a:pt x="461" y="9573"/>
                    </a:cubicBezTo>
                    <a:cubicBezTo>
                      <a:pt x="455" y="9556"/>
                      <a:pt x="450" y="9542"/>
                      <a:pt x="447" y="9531"/>
                    </a:cubicBezTo>
                    <a:cubicBezTo>
                      <a:pt x="443" y="9520"/>
                      <a:pt x="441" y="9516"/>
                      <a:pt x="441" y="9511"/>
                    </a:cubicBezTo>
                    <a:cubicBezTo>
                      <a:pt x="441" y="9511"/>
                      <a:pt x="441" y="9511"/>
                      <a:pt x="441" y="9511"/>
                    </a:cubicBezTo>
                    <a:cubicBezTo>
                      <a:pt x="441" y="9510"/>
                      <a:pt x="441" y="9510"/>
                      <a:pt x="441" y="9510"/>
                    </a:cubicBezTo>
                    <a:cubicBezTo>
                      <a:pt x="441" y="9508"/>
                      <a:pt x="441" y="9508"/>
                      <a:pt x="441" y="9508"/>
                    </a:cubicBezTo>
                    <a:cubicBezTo>
                      <a:pt x="442" y="9505"/>
                      <a:pt x="482" y="9385"/>
                      <a:pt x="499" y="9333"/>
                    </a:cubicBezTo>
                    <a:cubicBezTo>
                      <a:pt x="456" y="9318"/>
                      <a:pt x="385" y="9289"/>
                      <a:pt x="347" y="9290"/>
                    </a:cubicBezTo>
                    <a:cubicBezTo>
                      <a:pt x="346" y="9290"/>
                      <a:pt x="345" y="9290"/>
                      <a:pt x="344" y="9290"/>
                    </a:cubicBezTo>
                    <a:cubicBezTo>
                      <a:pt x="298" y="9292"/>
                      <a:pt x="281" y="9305"/>
                      <a:pt x="249" y="9317"/>
                    </a:cubicBezTo>
                    <a:cubicBezTo>
                      <a:pt x="240" y="9320"/>
                      <a:pt x="201" y="9337"/>
                      <a:pt x="168" y="9352"/>
                    </a:cubicBezTo>
                    <a:cubicBezTo>
                      <a:pt x="154" y="9359"/>
                      <a:pt x="141" y="9365"/>
                      <a:pt x="130" y="9370"/>
                    </a:cubicBezTo>
                    <a:lnTo>
                      <a:pt x="429" y="9921"/>
                    </a:lnTo>
                    <a:close/>
                    <a:moveTo>
                      <a:pt x="471" y="10086"/>
                    </a:moveTo>
                    <a:cubicBezTo>
                      <a:pt x="470" y="10085"/>
                      <a:pt x="470" y="10084"/>
                      <a:pt x="469" y="10083"/>
                    </a:cubicBezTo>
                    <a:cubicBezTo>
                      <a:pt x="468" y="10083"/>
                      <a:pt x="468" y="10082"/>
                      <a:pt x="467" y="10082"/>
                    </a:cubicBezTo>
                    <a:cubicBezTo>
                      <a:pt x="467" y="10081"/>
                      <a:pt x="467" y="10081"/>
                      <a:pt x="466" y="10079"/>
                    </a:cubicBezTo>
                    <a:cubicBezTo>
                      <a:pt x="466" y="10079"/>
                      <a:pt x="465" y="10078"/>
                      <a:pt x="465" y="10077"/>
                    </a:cubicBezTo>
                    <a:cubicBezTo>
                      <a:pt x="461" y="10080"/>
                      <a:pt x="458" y="10082"/>
                      <a:pt x="455" y="10084"/>
                    </a:cubicBezTo>
                    <a:cubicBezTo>
                      <a:pt x="463" y="10086"/>
                      <a:pt x="469" y="10088"/>
                      <a:pt x="474" y="10089"/>
                    </a:cubicBezTo>
                    <a:cubicBezTo>
                      <a:pt x="473" y="10088"/>
                      <a:pt x="472" y="10087"/>
                      <a:pt x="471" y="10086"/>
                    </a:cubicBezTo>
                    <a:close/>
                    <a:moveTo>
                      <a:pt x="570" y="10201"/>
                    </a:moveTo>
                    <a:cubicBezTo>
                      <a:pt x="544" y="10171"/>
                      <a:pt x="522" y="10146"/>
                      <a:pt x="505" y="10126"/>
                    </a:cubicBezTo>
                    <a:cubicBezTo>
                      <a:pt x="498" y="10118"/>
                      <a:pt x="492" y="10111"/>
                      <a:pt x="487" y="10105"/>
                    </a:cubicBezTo>
                    <a:cubicBezTo>
                      <a:pt x="486" y="10105"/>
                      <a:pt x="485" y="10106"/>
                      <a:pt x="483" y="10107"/>
                    </a:cubicBezTo>
                    <a:cubicBezTo>
                      <a:pt x="480" y="10108"/>
                      <a:pt x="480" y="10108"/>
                      <a:pt x="480" y="10108"/>
                    </a:cubicBezTo>
                    <a:cubicBezTo>
                      <a:pt x="477" y="10107"/>
                      <a:pt x="477" y="10107"/>
                      <a:pt x="477" y="10107"/>
                    </a:cubicBezTo>
                    <a:cubicBezTo>
                      <a:pt x="473" y="10106"/>
                      <a:pt x="459" y="10102"/>
                      <a:pt x="439" y="10097"/>
                    </a:cubicBezTo>
                    <a:cubicBezTo>
                      <a:pt x="437" y="10099"/>
                      <a:pt x="435" y="10100"/>
                      <a:pt x="434" y="10102"/>
                    </a:cubicBezTo>
                    <a:cubicBezTo>
                      <a:pt x="425" y="10111"/>
                      <a:pt x="342" y="10201"/>
                      <a:pt x="238" y="10312"/>
                    </a:cubicBezTo>
                    <a:cubicBezTo>
                      <a:pt x="260" y="10310"/>
                      <a:pt x="281" y="10307"/>
                      <a:pt x="300" y="10304"/>
                    </a:cubicBezTo>
                    <a:cubicBezTo>
                      <a:pt x="386" y="10289"/>
                      <a:pt x="386" y="10289"/>
                      <a:pt x="386" y="10289"/>
                    </a:cubicBezTo>
                    <a:cubicBezTo>
                      <a:pt x="387" y="10289"/>
                      <a:pt x="387" y="10289"/>
                      <a:pt x="387" y="10289"/>
                    </a:cubicBezTo>
                    <a:cubicBezTo>
                      <a:pt x="390" y="10289"/>
                      <a:pt x="413" y="10283"/>
                      <a:pt x="432" y="10277"/>
                    </a:cubicBezTo>
                    <a:cubicBezTo>
                      <a:pt x="449" y="10272"/>
                      <a:pt x="464" y="10267"/>
                      <a:pt x="469" y="10266"/>
                    </a:cubicBezTo>
                    <a:cubicBezTo>
                      <a:pt x="505" y="10242"/>
                      <a:pt x="534" y="10223"/>
                      <a:pt x="570" y="10201"/>
                    </a:cubicBezTo>
                    <a:close/>
                    <a:moveTo>
                      <a:pt x="2083" y="9378"/>
                    </a:moveTo>
                    <a:cubicBezTo>
                      <a:pt x="2105" y="9357"/>
                      <a:pt x="2105" y="9357"/>
                      <a:pt x="2105" y="9357"/>
                    </a:cubicBezTo>
                    <a:cubicBezTo>
                      <a:pt x="2106" y="9357"/>
                      <a:pt x="2106" y="9357"/>
                      <a:pt x="2106" y="9357"/>
                    </a:cubicBezTo>
                    <a:cubicBezTo>
                      <a:pt x="2139" y="9338"/>
                      <a:pt x="2173" y="9320"/>
                      <a:pt x="2207" y="9302"/>
                    </a:cubicBezTo>
                    <a:cubicBezTo>
                      <a:pt x="2207" y="9300"/>
                      <a:pt x="2207" y="9299"/>
                      <a:pt x="2207" y="9299"/>
                    </a:cubicBezTo>
                    <a:cubicBezTo>
                      <a:pt x="2211" y="9300"/>
                      <a:pt x="2211" y="9300"/>
                      <a:pt x="2211" y="9300"/>
                    </a:cubicBezTo>
                    <a:cubicBezTo>
                      <a:pt x="2277" y="9264"/>
                      <a:pt x="2343" y="9229"/>
                      <a:pt x="2409" y="9194"/>
                    </a:cubicBezTo>
                    <a:cubicBezTo>
                      <a:pt x="2404" y="9182"/>
                      <a:pt x="2404" y="9182"/>
                      <a:pt x="2404" y="9182"/>
                    </a:cubicBezTo>
                    <a:cubicBezTo>
                      <a:pt x="2417" y="9177"/>
                      <a:pt x="2417" y="9177"/>
                      <a:pt x="2417" y="9177"/>
                    </a:cubicBezTo>
                    <a:cubicBezTo>
                      <a:pt x="2421" y="9187"/>
                      <a:pt x="2421" y="9187"/>
                      <a:pt x="2421" y="9187"/>
                    </a:cubicBezTo>
                    <a:cubicBezTo>
                      <a:pt x="2492" y="9149"/>
                      <a:pt x="2563" y="9111"/>
                      <a:pt x="2632" y="9074"/>
                    </a:cubicBezTo>
                    <a:cubicBezTo>
                      <a:pt x="2624" y="9063"/>
                      <a:pt x="2624" y="9063"/>
                      <a:pt x="2624" y="9063"/>
                    </a:cubicBezTo>
                    <a:cubicBezTo>
                      <a:pt x="2635" y="9054"/>
                      <a:pt x="2635" y="9054"/>
                      <a:pt x="2635" y="9054"/>
                    </a:cubicBezTo>
                    <a:cubicBezTo>
                      <a:pt x="2645" y="9067"/>
                      <a:pt x="2645" y="9067"/>
                      <a:pt x="2645" y="9067"/>
                    </a:cubicBezTo>
                    <a:cubicBezTo>
                      <a:pt x="2793" y="8988"/>
                      <a:pt x="2937" y="8911"/>
                      <a:pt x="3071" y="8840"/>
                    </a:cubicBezTo>
                    <a:cubicBezTo>
                      <a:pt x="3070" y="8838"/>
                      <a:pt x="3070" y="8838"/>
                      <a:pt x="3070" y="8838"/>
                    </a:cubicBezTo>
                    <a:cubicBezTo>
                      <a:pt x="3083" y="8832"/>
                      <a:pt x="3083" y="8832"/>
                      <a:pt x="3083" y="8832"/>
                    </a:cubicBezTo>
                    <a:cubicBezTo>
                      <a:pt x="3084" y="8834"/>
                      <a:pt x="3084" y="8834"/>
                      <a:pt x="3084" y="8834"/>
                    </a:cubicBezTo>
                    <a:cubicBezTo>
                      <a:pt x="3407" y="8662"/>
                      <a:pt x="3670" y="8524"/>
                      <a:pt x="3797" y="8460"/>
                    </a:cubicBezTo>
                    <a:cubicBezTo>
                      <a:pt x="3750" y="8346"/>
                      <a:pt x="3750" y="8346"/>
                      <a:pt x="3750" y="8346"/>
                    </a:cubicBezTo>
                    <a:cubicBezTo>
                      <a:pt x="3539" y="8455"/>
                      <a:pt x="2906" y="8805"/>
                      <a:pt x="2275" y="9145"/>
                    </a:cubicBezTo>
                    <a:cubicBezTo>
                      <a:pt x="1446" y="9592"/>
                      <a:pt x="609" y="10035"/>
                      <a:pt x="608" y="10035"/>
                    </a:cubicBezTo>
                    <a:cubicBezTo>
                      <a:pt x="608" y="10036"/>
                      <a:pt x="608" y="10036"/>
                      <a:pt x="608" y="10036"/>
                    </a:cubicBezTo>
                    <a:cubicBezTo>
                      <a:pt x="607" y="10036"/>
                      <a:pt x="607" y="10036"/>
                      <a:pt x="607" y="10036"/>
                    </a:cubicBezTo>
                    <a:cubicBezTo>
                      <a:pt x="600" y="10040"/>
                      <a:pt x="599" y="10041"/>
                      <a:pt x="548" y="10070"/>
                    </a:cubicBezTo>
                    <a:cubicBezTo>
                      <a:pt x="566" y="10092"/>
                      <a:pt x="595" y="10125"/>
                      <a:pt x="630" y="10165"/>
                    </a:cubicBezTo>
                    <a:cubicBezTo>
                      <a:pt x="650" y="10153"/>
                      <a:pt x="664" y="10145"/>
                      <a:pt x="668" y="10143"/>
                    </a:cubicBezTo>
                    <a:cubicBezTo>
                      <a:pt x="682" y="10135"/>
                      <a:pt x="852" y="10043"/>
                      <a:pt x="1106" y="9905"/>
                    </a:cubicBezTo>
                    <a:cubicBezTo>
                      <a:pt x="1142" y="9886"/>
                      <a:pt x="1181" y="9865"/>
                      <a:pt x="1220" y="9844"/>
                    </a:cubicBezTo>
                    <a:cubicBezTo>
                      <a:pt x="1219" y="9844"/>
                      <a:pt x="1219" y="9843"/>
                      <a:pt x="1219" y="9843"/>
                    </a:cubicBezTo>
                    <a:cubicBezTo>
                      <a:pt x="1218" y="9842"/>
                      <a:pt x="1218" y="9842"/>
                      <a:pt x="1217" y="9841"/>
                    </a:cubicBezTo>
                    <a:cubicBezTo>
                      <a:pt x="1217" y="9840"/>
                      <a:pt x="1216" y="9842"/>
                      <a:pt x="1215" y="9836"/>
                    </a:cubicBezTo>
                    <a:cubicBezTo>
                      <a:pt x="1215" y="9833"/>
                      <a:pt x="1217" y="9829"/>
                      <a:pt x="1219" y="9828"/>
                    </a:cubicBezTo>
                    <a:cubicBezTo>
                      <a:pt x="1220" y="9828"/>
                      <a:pt x="1221" y="9827"/>
                      <a:pt x="1222" y="9827"/>
                    </a:cubicBezTo>
                    <a:cubicBezTo>
                      <a:pt x="1223" y="9827"/>
                      <a:pt x="1223" y="9827"/>
                      <a:pt x="1223" y="9827"/>
                    </a:cubicBezTo>
                    <a:cubicBezTo>
                      <a:pt x="1223" y="9827"/>
                      <a:pt x="1223" y="9827"/>
                      <a:pt x="1223" y="9827"/>
                    </a:cubicBezTo>
                    <a:cubicBezTo>
                      <a:pt x="1223" y="9827"/>
                      <a:pt x="1223" y="9827"/>
                      <a:pt x="1223" y="9827"/>
                    </a:cubicBezTo>
                    <a:cubicBezTo>
                      <a:pt x="1223" y="9827"/>
                      <a:pt x="1223" y="9827"/>
                      <a:pt x="1223" y="9827"/>
                    </a:cubicBezTo>
                    <a:cubicBezTo>
                      <a:pt x="1223" y="9827"/>
                      <a:pt x="1223" y="9827"/>
                      <a:pt x="1223" y="9827"/>
                    </a:cubicBezTo>
                    <a:cubicBezTo>
                      <a:pt x="1224" y="9827"/>
                      <a:pt x="1225" y="9827"/>
                      <a:pt x="1226" y="9828"/>
                    </a:cubicBezTo>
                    <a:cubicBezTo>
                      <a:pt x="1227" y="9828"/>
                      <a:pt x="1228" y="9828"/>
                      <a:pt x="1228" y="9829"/>
                    </a:cubicBezTo>
                    <a:cubicBezTo>
                      <a:pt x="1229" y="9829"/>
                      <a:pt x="1229" y="9829"/>
                      <a:pt x="1229" y="9830"/>
                    </a:cubicBezTo>
                    <a:cubicBezTo>
                      <a:pt x="1229" y="9830"/>
                      <a:pt x="1230" y="9830"/>
                      <a:pt x="1230" y="9831"/>
                    </a:cubicBezTo>
                    <a:cubicBezTo>
                      <a:pt x="1230" y="9831"/>
                      <a:pt x="1230" y="9831"/>
                      <a:pt x="1230" y="9832"/>
                    </a:cubicBezTo>
                    <a:cubicBezTo>
                      <a:pt x="1231" y="9833"/>
                      <a:pt x="1233" y="9834"/>
                      <a:pt x="1235" y="9836"/>
                    </a:cubicBezTo>
                    <a:cubicBezTo>
                      <a:pt x="1478" y="9704"/>
                      <a:pt x="1770" y="9547"/>
                      <a:pt x="2083" y="9378"/>
                    </a:cubicBezTo>
                    <a:close/>
                    <a:moveTo>
                      <a:pt x="1622" y="10148"/>
                    </a:moveTo>
                    <a:cubicBezTo>
                      <a:pt x="2005" y="9986"/>
                      <a:pt x="2005" y="9986"/>
                      <a:pt x="2005" y="9986"/>
                    </a:cubicBezTo>
                    <a:cubicBezTo>
                      <a:pt x="2016" y="9999"/>
                      <a:pt x="2016" y="9999"/>
                      <a:pt x="2016" y="9999"/>
                    </a:cubicBezTo>
                    <a:cubicBezTo>
                      <a:pt x="2016" y="9999"/>
                      <a:pt x="2020" y="10003"/>
                      <a:pt x="2027" y="10011"/>
                    </a:cubicBezTo>
                    <a:cubicBezTo>
                      <a:pt x="2044" y="10029"/>
                      <a:pt x="2081" y="10064"/>
                      <a:pt x="2122" y="10089"/>
                    </a:cubicBezTo>
                    <a:cubicBezTo>
                      <a:pt x="2129" y="10043"/>
                      <a:pt x="2149" y="9862"/>
                      <a:pt x="2167" y="9686"/>
                    </a:cubicBezTo>
                    <a:cubicBezTo>
                      <a:pt x="2183" y="9530"/>
                      <a:pt x="2199" y="9378"/>
                      <a:pt x="2205" y="9322"/>
                    </a:cubicBezTo>
                    <a:cubicBezTo>
                      <a:pt x="2175" y="9338"/>
                      <a:pt x="2145" y="9354"/>
                      <a:pt x="2115" y="9370"/>
                    </a:cubicBezTo>
                    <a:cubicBezTo>
                      <a:pt x="2093" y="9391"/>
                      <a:pt x="2093" y="9391"/>
                      <a:pt x="2093" y="9391"/>
                    </a:cubicBezTo>
                    <a:cubicBezTo>
                      <a:pt x="2092" y="9392"/>
                      <a:pt x="2092" y="9392"/>
                      <a:pt x="2092" y="9392"/>
                    </a:cubicBezTo>
                    <a:cubicBezTo>
                      <a:pt x="1780" y="9560"/>
                      <a:pt x="1490" y="9716"/>
                      <a:pt x="1248" y="9847"/>
                    </a:cubicBezTo>
                    <a:cubicBezTo>
                      <a:pt x="1261" y="9859"/>
                      <a:pt x="1280" y="9875"/>
                      <a:pt x="1298" y="9890"/>
                    </a:cubicBezTo>
                    <a:cubicBezTo>
                      <a:pt x="1323" y="9912"/>
                      <a:pt x="1348" y="9932"/>
                      <a:pt x="1357" y="9940"/>
                    </a:cubicBezTo>
                    <a:cubicBezTo>
                      <a:pt x="1365" y="9930"/>
                      <a:pt x="1365" y="9930"/>
                      <a:pt x="1365" y="9930"/>
                    </a:cubicBezTo>
                    <a:lnTo>
                      <a:pt x="1622" y="10148"/>
                    </a:lnTo>
                    <a:close/>
                    <a:moveTo>
                      <a:pt x="2121" y="10503"/>
                    </a:moveTo>
                    <a:cubicBezTo>
                      <a:pt x="2117" y="10502"/>
                      <a:pt x="2113" y="10501"/>
                      <a:pt x="2107" y="10501"/>
                    </a:cubicBezTo>
                    <a:cubicBezTo>
                      <a:pt x="2078" y="10501"/>
                      <a:pt x="2027" y="10525"/>
                      <a:pt x="1977" y="10581"/>
                    </a:cubicBezTo>
                    <a:cubicBezTo>
                      <a:pt x="1916" y="10650"/>
                      <a:pt x="1856" y="10692"/>
                      <a:pt x="1805" y="10712"/>
                    </a:cubicBezTo>
                    <a:cubicBezTo>
                      <a:pt x="1780" y="10722"/>
                      <a:pt x="1744" y="10742"/>
                      <a:pt x="1714" y="10760"/>
                    </a:cubicBezTo>
                    <a:cubicBezTo>
                      <a:pt x="1699" y="10768"/>
                      <a:pt x="1686" y="10777"/>
                      <a:pt x="1676" y="10784"/>
                    </a:cubicBezTo>
                    <a:cubicBezTo>
                      <a:pt x="1671" y="10788"/>
                      <a:pt x="1668" y="10791"/>
                      <a:pt x="1665" y="10793"/>
                    </a:cubicBezTo>
                    <a:cubicBezTo>
                      <a:pt x="1664" y="10794"/>
                      <a:pt x="1664" y="10795"/>
                      <a:pt x="1663" y="10795"/>
                    </a:cubicBezTo>
                    <a:cubicBezTo>
                      <a:pt x="1665" y="10796"/>
                      <a:pt x="1667" y="10796"/>
                      <a:pt x="1671" y="10796"/>
                    </a:cubicBezTo>
                    <a:cubicBezTo>
                      <a:pt x="1689" y="10796"/>
                      <a:pt x="1725" y="10787"/>
                      <a:pt x="1753" y="10769"/>
                    </a:cubicBezTo>
                    <a:cubicBezTo>
                      <a:pt x="1795" y="10743"/>
                      <a:pt x="1853" y="10720"/>
                      <a:pt x="1890" y="10706"/>
                    </a:cubicBezTo>
                    <a:cubicBezTo>
                      <a:pt x="1928" y="10692"/>
                      <a:pt x="1958" y="10691"/>
                      <a:pt x="1980" y="10652"/>
                    </a:cubicBezTo>
                    <a:cubicBezTo>
                      <a:pt x="2003" y="10612"/>
                      <a:pt x="2019" y="10569"/>
                      <a:pt x="2071" y="10569"/>
                    </a:cubicBezTo>
                    <a:cubicBezTo>
                      <a:pt x="2102" y="10569"/>
                      <a:pt x="2129" y="10576"/>
                      <a:pt x="2146" y="10576"/>
                    </a:cubicBezTo>
                    <a:cubicBezTo>
                      <a:pt x="2157" y="10576"/>
                      <a:pt x="2162" y="10574"/>
                      <a:pt x="2164" y="10568"/>
                    </a:cubicBezTo>
                    <a:cubicBezTo>
                      <a:pt x="2165" y="10565"/>
                      <a:pt x="2166" y="10561"/>
                      <a:pt x="2166" y="10558"/>
                    </a:cubicBezTo>
                    <a:cubicBezTo>
                      <a:pt x="2166" y="10539"/>
                      <a:pt x="2150" y="10515"/>
                      <a:pt x="2121" y="10503"/>
                    </a:cubicBezTo>
                    <a:cubicBezTo>
                      <a:pt x="2123" y="10500"/>
                      <a:pt x="2123" y="10500"/>
                      <a:pt x="2123" y="10500"/>
                    </a:cubicBezTo>
                    <a:lnTo>
                      <a:pt x="2121" y="10503"/>
                    </a:lnTo>
                    <a:close/>
                    <a:moveTo>
                      <a:pt x="2219" y="10553"/>
                    </a:moveTo>
                    <a:cubicBezTo>
                      <a:pt x="2268" y="10313"/>
                      <a:pt x="2268" y="10313"/>
                      <a:pt x="2268" y="10313"/>
                    </a:cubicBezTo>
                    <a:cubicBezTo>
                      <a:pt x="1944" y="10424"/>
                      <a:pt x="1944" y="10424"/>
                      <a:pt x="1944" y="10424"/>
                    </a:cubicBezTo>
                    <a:cubicBezTo>
                      <a:pt x="1766" y="10585"/>
                      <a:pt x="1766" y="10585"/>
                      <a:pt x="1766" y="10585"/>
                    </a:cubicBezTo>
                    <a:cubicBezTo>
                      <a:pt x="1590" y="10470"/>
                      <a:pt x="1590" y="10470"/>
                      <a:pt x="1590" y="10470"/>
                    </a:cubicBezTo>
                    <a:cubicBezTo>
                      <a:pt x="1259" y="10651"/>
                      <a:pt x="1259" y="10651"/>
                      <a:pt x="1259" y="10651"/>
                    </a:cubicBezTo>
                    <a:cubicBezTo>
                      <a:pt x="1272" y="10670"/>
                      <a:pt x="1288" y="10690"/>
                      <a:pt x="1309" y="10715"/>
                    </a:cubicBezTo>
                    <a:cubicBezTo>
                      <a:pt x="1327" y="10736"/>
                      <a:pt x="1356" y="10768"/>
                      <a:pt x="1385" y="10801"/>
                    </a:cubicBezTo>
                    <a:cubicBezTo>
                      <a:pt x="1421" y="10785"/>
                      <a:pt x="1451" y="10771"/>
                      <a:pt x="1466" y="10762"/>
                    </a:cubicBezTo>
                    <a:cubicBezTo>
                      <a:pt x="1499" y="10744"/>
                      <a:pt x="1557" y="10734"/>
                      <a:pt x="1615" y="10725"/>
                    </a:cubicBezTo>
                    <a:cubicBezTo>
                      <a:pt x="1672" y="10716"/>
                      <a:pt x="1729" y="10708"/>
                      <a:pt x="1750" y="10698"/>
                    </a:cubicBezTo>
                    <a:cubicBezTo>
                      <a:pt x="1795" y="10677"/>
                      <a:pt x="1877" y="10615"/>
                      <a:pt x="1918" y="10573"/>
                    </a:cubicBezTo>
                    <a:cubicBezTo>
                      <a:pt x="1951" y="10540"/>
                      <a:pt x="2021" y="10470"/>
                      <a:pt x="2110" y="10470"/>
                    </a:cubicBezTo>
                    <a:cubicBezTo>
                      <a:pt x="2139" y="10470"/>
                      <a:pt x="2170" y="10478"/>
                      <a:pt x="2201" y="10498"/>
                    </a:cubicBezTo>
                    <a:cubicBezTo>
                      <a:pt x="2206" y="10501"/>
                      <a:pt x="2206" y="10501"/>
                      <a:pt x="2206" y="10501"/>
                    </a:cubicBezTo>
                    <a:cubicBezTo>
                      <a:pt x="2207" y="10506"/>
                      <a:pt x="2207" y="10506"/>
                      <a:pt x="2207" y="10506"/>
                    </a:cubicBezTo>
                    <a:cubicBezTo>
                      <a:pt x="2209" y="10525"/>
                      <a:pt x="2214" y="10540"/>
                      <a:pt x="2219" y="10553"/>
                    </a:cubicBezTo>
                    <a:close/>
                    <a:moveTo>
                      <a:pt x="2567" y="10741"/>
                    </a:moveTo>
                    <a:cubicBezTo>
                      <a:pt x="2565" y="10726"/>
                      <a:pt x="2558" y="10699"/>
                      <a:pt x="2530" y="10684"/>
                    </a:cubicBezTo>
                    <a:cubicBezTo>
                      <a:pt x="2487" y="10661"/>
                      <a:pt x="2368" y="10652"/>
                      <a:pt x="2336" y="10649"/>
                    </a:cubicBezTo>
                    <a:cubicBezTo>
                      <a:pt x="2320" y="10648"/>
                      <a:pt x="2284" y="10645"/>
                      <a:pt x="2251" y="10625"/>
                    </a:cubicBezTo>
                    <a:cubicBezTo>
                      <a:pt x="2231" y="10725"/>
                      <a:pt x="2231" y="10725"/>
                      <a:pt x="2231" y="10725"/>
                    </a:cubicBezTo>
                    <a:cubicBezTo>
                      <a:pt x="2297" y="10725"/>
                      <a:pt x="2372" y="10728"/>
                      <a:pt x="2459" y="10733"/>
                    </a:cubicBezTo>
                    <a:cubicBezTo>
                      <a:pt x="2497" y="10735"/>
                      <a:pt x="2533" y="10738"/>
                      <a:pt x="2567" y="10741"/>
                    </a:cubicBezTo>
                    <a:close/>
                    <a:moveTo>
                      <a:pt x="2870" y="10791"/>
                    </a:moveTo>
                    <a:cubicBezTo>
                      <a:pt x="2811" y="10510"/>
                      <a:pt x="2811" y="10510"/>
                      <a:pt x="2811" y="10510"/>
                    </a:cubicBezTo>
                    <a:cubicBezTo>
                      <a:pt x="2621" y="10559"/>
                      <a:pt x="2621" y="10559"/>
                      <a:pt x="2621" y="10559"/>
                    </a:cubicBezTo>
                    <a:cubicBezTo>
                      <a:pt x="2782" y="10559"/>
                      <a:pt x="2782" y="10559"/>
                      <a:pt x="2782" y="10559"/>
                    </a:cubicBezTo>
                    <a:cubicBezTo>
                      <a:pt x="2784" y="10565"/>
                      <a:pt x="2784" y="10565"/>
                      <a:pt x="2784" y="10565"/>
                    </a:cubicBezTo>
                    <a:cubicBezTo>
                      <a:pt x="2827" y="10744"/>
                      <a:pt x="2827" y="10744"/>
                      <a:pt x="2827" y="10744"/>
                    </a:cubicBezTo>
                    <a:cubicBezTo>
                      <a:pt x="2749" y="10732"/>
                      <a:pt x="2749" y="10732"/>
                      <a:pt x="2749" y="10732"/>
                    </a:cubicBezTo>
                    <a:cubicBezTo>
                      <a:pt x="2716" y="10670"/>
                      <a:pt x="2716" y="10670"/>
                      <a:pt x="2716" y="10670"/>
                    </a:cubicBezTo>
                    <a:cubicBezTo>
                      <a:pt x="2560" y="10575"/>
                      <a:pt x="2560" y="10575"/>
                      <a:pt x="2560" y="10575"/>
                    </a:cubicBezTo>
                    <a:cubicBezTo>
                      <a:pt x="2494" y="10593"/>
                      <a:pt x="2494" y="10593"/>
                      <a:pt x="2494" y="10593"/>
                    </a:cubicBezTo>
                    <a:cubicBezTo>
                      <a:pt x="2265" y="10552"/>
                      <a:pt x="2265" y="10552"/>
                      <a:pt x="2265" y="10552"/>
                    </a:cubicBezTo>
                    <a:cubicBezTo>
                      <a:pt x="2256" y="10599"/>
                      <a:pt x="2256" y="10599"/>
                      <a:pt x="2256" y="10599"/>
                    </a:cubicBezTo>
                    <a:cubicBezTo>
                      <a:pt x="2285" y="10620"/>
                      <a:pt x="2320" y="10622"/>
                      <a:pt x="2338" y="10624"/>
                    </a:cubicBezTo>
                    <a:cubicBezTo>
                      <a:pt x="2370" y="10628"/>
                      <a:pt x="2488" y="10634"/>
                      <a:pt x="2541" y="10662"/>
                    </a:cubicBezTo>
                    <a:cubicBezTo>
                      <a:pt x="2583" y="10685"/>
                      <a:pt x="2590" y="10726"/>
                      <a:pt x="2592" y="10744"/>
                    </a:cubicBezTo>
                    <a:cubicBezTo>
                      <a:pt x="2735" y="10760"/>
                      <a:pt x="2839" y="10783"/>
                      <a:pt x="2870" y="10791"/>
                    </a:cubicBezTo>
                    <a:close/>
                    <a:moveTo>
                      <a:pt x="2727" y="10659"/>
                    </a:moveTo>
                    <a:cubicBezTo>
                      <a:pt x="2758" y="10719"/>
                      <a:pt x="2758" y="10719"/>
                      <a:pt x="2758" y="10719"/>
                    </a:cubicBezTo>
                    <a:cubicBezTo>
                      <a:pt x="2808" y="10726"/>
                      <a:pt x="2808" y="10726"/>
                      <a:pt x="2808" y="10726"/>
                    </a:cubicBezTo>
                    <a:cubicBezTo>
                      <a:pt x="2771" y="10574"/>
                      <a:pt x="2771" y="10574"/>
                      <a:pt x="2771" y="10574"/>
                    </a:cubicBezTo>
                    <a:cubicBezTo>
                      <a:pt x="2587" y="10574"/>
                      <a:pt x="2587" y="10574"/>
                      <a:pt x="2587" y="10574"/>
                    </a:cubicBezTo>
                    <a:lnTo>
                      <a:pt x="2727" y="10659"/>
                    </a:lnTo>
                    <a:close/>
                    <a:moveTo>
                      <a:pt x="4046" y="10350"/>
                    </a:moveTo>
                    <a:cubicBezTo>
                      <a:pt x="3807" y="10195"/>
                      <a:pt x="3807" y="10195"/>
                      <a:pt x="3807" y="10195"/>
                    </a:cubicBezTo>
                    <a:cubicBezTo>
                      <a:pt x="3707" y="9913"/>
                      <a:pt x="3707" y="9913"/>
                      <a:pt x="3707" y="9913"/>
                    </a:cubicBezTo>
                    <a:cubicBezTo>
                      <a:pt x="3706" y="9913"/>
                      <a:pt x="3705" y="9914"/>
                      <a:pt x="3705" y="9914"/>
                    </a:cubicBezTo>
                    <a:cubicBezTo>
                      <a:pt x="3561" y="10148"/>
                      <a:pt x="3561" y="10148"/>
                      <a:pt x="3561" y="10148"/>
                    </a:cubicBezTo>
                    <a:cubicBezTo>
                      <a:pt x="3559" y="10149"/>
                      <a:pt x="3559" y="10149"/>
                      <a:pt x="3559" y="10149"/>
                    </a:cubicBezTo>
                    <a:cubicBezTo>
                      <a:pt x="3559" y="10149"/>
                      <a:pt x="3459" y="10190"/>
                      <a:pt x="3359" y="10230"/>
                    </a:cubicBezTo>
                    <a:cubicBezTo>
                      <a:pt x="3309" y="10251"/>
                      <a:pt x="3259" y="10271"/>
                      <a:pt x="3221" y="10286"/>
                    </a:cubicBezTo>
                    <a:cubicBezTo>
                      <a:pt x="3202" y="10294"/>
                      <a:pt x="3186" y="10300"/>
                      <a:pt x="3174" y="10304"/>
                    </a:cubicBezTo>
                    <a:cubicBezTo>
                      <a:pt x="3168" y="10307"/>
                      <a:pt x="3164" y="10308"/>
                      <a:pt x="3160" y="10309"/>
                    </a:cubicBezTo>
                    <a:cubicBezTo>
                      <a:pt x="3157" y="10311"/>
                      <a:pt x="3157" y="10311"/>
                      <a:pt x="3154" y="10311"/>
                    </a:cubicBezTo>
                    <a:cubicBezTo>
                      <a:pt x="3148" y="10314"/>
                      <a:pt x="3062" y="10363"/>
                      <a:pt x="2980" y="10410"/>
                    </a:cubicBezTo>
                    <a:cubicBezTo>
                      <a:pt x="2914" y="10449"/>
                      <a:pt x="2850" y="10486"/>
                      <a:pt x="2826" y="10500"/>
                    </a:cubicBezTo>
                    <a:cubicBezTo>
                      <a:pt x="2886" y="10786"/>
                      <a:pt x="2886" y="10786"/>
                      <a:pt x="2886" y="10786"/>
                    </a:cubicBezTo>
                    <a:cubicBezTo>
                      <a:pt x="2942" y="10738"/>
                      <a:pt x="2999" y="10702"/>
                      <a:pt x="3056" y="10677"/>
                    </a:cubicBezTo>
                    <a:cubicBezTo>
                      <a:pt x="3089" y="10662"/>
                      <a:pt x="3118" y="10651"/>
                      <a:pt x="3138" y="10644"/>
                    </a:cubicBezTo>
                    <a:cubicBezTo>
                      <a:pt x="3148" y="10640"/>
                      <a:pt x="3157" y="10637"/>
                      <a:pt x="3161" y="10635"/>
                    </a:cubicBezTo>
                    <a:cubicBezTo>
                      <a:pt x="3166" y="10630"/>
                      <a:pt x="3167" y="10632"/>
                      <a:pt x="3168" y="10630"/>
                    </a:cubicBezTo>
                    <a:cubicBezTo>
                      <a:pt x="3174" y="10627"/>
                      <a:pt x="3180" y="10625"/>
                      <a:pt x="3190" y="10622"/>
                    </a:cubicBezTo>
                    <a:cubicBezTo>
                      <a:pt x="3231" y="10607"/>
                      <a:pt x="3333" y="10572"/>
                      <a:pt x="3472" y="10527"/>
                    </a:cubicBezTo>
                    <a:cubicBezTo>
                      <a:pt x="3276" y="10268"/>
                      <a:pt x="3276" y="10268"/>
                      <a:pt x="3276" y="10268"/>
                    </a:cubicBezTo>
                    <a:cubicBezTo>
                      <a:pt x="3287" y="10260"/>
                      <a:pt x="3287" y="10260"/>
                      <a:pt x="3287" y="10260"/>
                    </a:cubicBezTo>
                    <a:cubicBezTo>
                      <a:pt x="3486" y="10523"/>
                      <a:pt x="3486" y="10523"/>
                      <a:pt x="3486" y="10523"/>
                    </a:cubicBezTo>
                    <a:cubicBezTo>
                      <a:pt x="3640" y="10473"/>
                      <a:pt x="3837" y="10412"/>
                      <a:pt x="4046" y="10350"/>
                    </a:cubicBezTo>
                    <a:close/>
                    <a:moveTo>
                      <a:pt x="4563" y="10205"/>
                    </a:moveTo>
                    <a:cubicBezTo>
                      <a:pt x="4263" y="9552"/>
                      <a:pt x="4263" y="9552"/>
                      <a:pt x="4263" y="9552"/>
                    </a:cubicBezTo>
                    <a:cubicBezTo>
                      <a:pt x="4222" y="9579"/>
                      <a:pt x="4104" y="9655"/>
                      <a:pt x="3988" y="9730"/>
                    </a:cubicBezTo>
                    <a:cubicBezTo>
                      <a:pt x="3873" y="9805"/>
                      <a:pt x="3759" y="9879"/>
                      <a:pt x="3719" y="9905"/>
                    </a:cubicBezTo>
                    <a:cubicBezTo>
                      <a:pt x="3818" y="10185"/>
                      <a:pt x="3818" y="10185"/>
                      <a:pt x="3818" y="10185"/>
                    </a:cubicBezTo>
                    <a:cubicBezTo>
                      <a:pt x="4062" y="10344"/>
                      <a:pt x="4062" y="10344"/>
                      <a:pt x="4062" y="10344"/>
                    </a:cubicBezTo>
                    <a:cubicBezTo>
                      <a:pt x="4061" y="10345"/>
                      <a:pt x="4061" y="10345"/>
                      <a:pt x="4061" y="10345"/>
                    </a:cubicBezTo>
                    <a:cubicBezTo>
                      <a:pt x="4227" y="10297"/>
                      <a:pt x="4399" y="10248"/>
                      <a:pt x="4563" y="10205"/>
                    </a:cubicBezTo>
                    <a:close/>
                    <a:moveTo>
                      <a:pt x="4417" y="10640"/>
                    </a:moveTo>
                    <a:cubicBezTo>
                      <a:pt x="4332" y="10336"/>
                      <a:pt x="4332" y="10336"/>
                      <a:pt x="4332" y="10336"/>
                    </a:cubicBezTo>
                    <a:cubicBezTo>
                      <a:pt x="4272" y="10353"/>
                      <a:pt x="4211" y="10370"/>
                      <a:pt x="4151" y="10388"/>
                    </a:cubicBezTo>
                    <a:cubicBezTo>
                      <a:pt x="4173" y="10452"/>
                      <a:pt x="4256" y="10664"/>
                      <a:pt x="4259" y="10672"/>
                    </a:cubicBezTo>
                    <a:cubicBezTo>
                      <a:pt x="4281" y="10663"/>
                      <a:pt x="4308" y="10652"/>
                      <a:pt x="4312" y="10651"/>
                    </a:cubicBezTo>
                    <a:cubicBezTo>
                      <a:pt x="4316" y="10650"/>
                      <a:pt x="4325" y="10649"/>
                      <a:pt x="4345" y="10647"/>
                    </a:cubicBezTo>
                    <a:cubicBezTo>
                      <a:pt x="4363" y="10645"/>
                      <a:pt x="4388" y="10643"/>
                      <a:pt x="4417" y="10640"/>
                    </a:cubicBezTo>
                    <a:close/>
                    <a:moveTo>
                      <a:pt x="4609" y="10623"/>
                    </a:moveTo>
                    <a:cubicBezTo>
                      <a:pt x="4521" y="10284"/>
                      <a:pt x="4521" y="10284"/>
                      <a:pt x="4521" y="10284"/>
                    </a:cubicBezTo>
                    <a:cubicBezTo>
                      <a:pt x="4463" y="10299"/>
                      <a:pt x="4405" y="10315"/>
                      <a:pt x="4346" y="10332"/>
                    </a:cubicBezTo>
                    <a:cubicBezTo>
                      <a:pt x="4432" y="10639"/>
                      <a:pt x="4432" y="10639"/>
                      <a:pt x="4432" y="10639"/>
                    </a:cubicBezTo>
                    <a:cubicBezTo>
                      <a:pt x="4482" y="10635"/>
                      <a:pt x="4544" y="10629"/>
                      <a:pt x="4609" y="10623"/>
                    </a:cubicBezTo>
                    <a:close/>
                    <a:moveTo>
                      <a:pt x="4800" y="10606"/>
                    </a:moveTo>
                    <a:cubicBezTo>
                      <a:pt x="4708" y="10235"/>
                      <a:pt x="4708" y="10235"/>
                      <a:pt x="4708" y="10235"/>
                    </a:cubicBezTo>
                    <a:cubicBezTo>
                      <a:pt x="4651" y="10249"/>
                      <a:pt x="4593" y="10264"/>
                      <a:pt x="4534" y="10280"/>
                    </a:cubicBezTo>
                    <a:cubicBezTo>
                      <a:pt x="4623" y="10622"/>
                      <a:pt x="4623" y="10622"/>
                      <a:pt x="4623" y="10622"/>
                    </a:cubicBezTo>
                    <a:cubicBezTo>
                      <a:pt x="4683" y="10617"/>
                      <a:pt x="4745" y="10611"/>
                      <a:pt x="4800" y="10606"/>
                    </a:cubicBezTo>
                    <a:close/>
                    <a:moveTo>
                      <a:pt x="4979" y="10591"/>
                    </a:moveTo>
                    <a:cubicBezTo>
                      <a:pt x="4957" y="10399"/>
                      <a:pt x="4938" y="10239"/>
                      <a:pt x="4932" y="10182"/>
                    </a:cubicBezTo>
                    <a:cubicBezTo>
                      <a:pt x="4903" y="10188"/>
                      <a:pt x="4874" y="10195"/>
                      <a:pt x="4846" y="10201"/>
                    </a:cubicBezTo>
                    <a:cubicBezTo>
                      <a:pt x="4806" y="10211"/>
                      <a:pt x="4764" y="10221"/>
                      <a:pt x="4721" y="10232"/>
                    </a:cubicBezTo>
                    <a:cubicBezTo>
                      <a:pt x="4814" y="10605"/>
                      <a:pt x="4814" y="10605"/>
                      <a:pt x="4814" y="10605"/>
                    </a:cubicBezTo>
                    <a:cubicBezTo>
                      <a:pt x="4888" y="10599"/>
                      <a:pt x="4949" y="10593"/>
                      <a:pt x="4979" y="10591"/>
                    </a:cubicBezTo>
                    <a:close/>
                    <a:moveTo>
                      <a:pt x="5157" y="10073"/>
                    </a:moveTo>
                    <a:cubicBezTo>
                      <a:pt x="5170" y="9687"/>
                      <a:pt x="5170" y="9687"/>
                      <a:pt x="5170" y="9687"/>
                    </a:cubicBezTo>
                    <a:cubicBezTo>
                      <a:pt x="5094" y="9688"/>
                      <a:pt x="5005" y="9690"/>
                      <a:pt x="4914" y="9692"/>
                    </a:cubicBezTo>
                    <a:cubicBezTo>
                      <a:pt x="4933" y="10115"/>
                      <a:pt x="4933" y="10115"/>
                      <a:pt x="4933" y="10115"/>
                    </a:cubicBezTo>
                    <a:cubicBezTo>
                      <a:pt x="5008" y="10099"/>
                      <a:pt x="5082" y="10086"/>
                      <a:pt x="5157" y="10073"/>
                    </a:cubicBezTo>
                    <a:close/>
                    <a:moveTo>
                      <a:pt x="5933" y="10288"/>
                    </a:moveTo>
                    <a:cubicBezTo>
                      <a:pt x="5889" y="10288"/>
                      <a:pt x="5784" y="10290"/>
                      <a:pt x="5679" y="10293"/>
                    </a:cubicBezTo>
                    <a:cubicBezTo>
                      <a:pt x="5610" y="10294"/>
                      <a:pt x="5540" y="10295"/>
                      <a:pt x="5488" y="10297"/>
                    </a:cubicBezTo>
                    <a:cubicBezTo>
                      <a:pt x="5461" y="10297"/>
                      <a:pt x="5439" y="10298"/>
                      <a:pt x="5423" y="10298"/>
                    </a:cubicBezTo>
                    <a:cubicBezTo>
                      <a:pt x="5416" y="10299"/>
                      <a:pt x="5409" y="10299"/>
                      <a:pt x="5405" y="10299"/>
                    </a:cubicBezTo>
                    <a:cubicBezTo>
                      <a:pt x="5403" y="10299"/>
                      <a:pt x="5401" y="10299"/>
                      <a:pt x="5400" y="10299"/>
                    </a:cubicBezTo>
                    <a:cubicBezTo>
                      <a:pt x="5399" y="10299"/>
                      <a:pt x="5399" y="10299"/>
                      <a:pt x="5398" y="10299"/>
                    </a:cubicBezTo>
                    <a:cubicBezTo>
                      <a:pt x="5398" y="10299"/>
                      <a:pt x="5398" y="10299"/>
                      <a:pt x="5398" y="10299"/>
                    </a:cubicBezTo>
                    <a:cubicBezTo>
                      <a:pt x="5386" y="10302"/>
                      <a:pt x="5104" y="10361"/>
                      <a:pt x="5020" y="10378"/>
                    </a:cubicBezTo>
                    <a:cubicBezTo>
                      <a:pt x="5029" y="10456"/>
                      <a:pt x="5040" y="10549"/>
                      <a:pt x="5052" y="10647"/>
                    </a:cubicBezTo>
                    <a:cubicBezTo>
                      <a:pt x="5394" y="10579"/>
                      <a:pt x="5394" y="10579"/>
                      <a:pt x="5394" y="10579"/>
                    </a:cubicBezTo>
                    <a:cubicBezTo>
                      <a:pt x="5395" y="10579"/>
                      <a:pt x="5395" y="10579"/>
                      <a:pt x="5395" y="10579"/>
                    </a:cubicBezTo>
                    <a:cubicBezTo>
                      <a:pt x="5395" y="10579"/>
                      <a:pt x="5735" y="10576"/>
                      <a:pt x="5873" y="10576"/>
                    </a:cubicBezTo>
                    <a:cubicBezTo>
                      <a:pt x="5889" y="10576"/>
                      <a:pt x="5901" y="10576"/>
                      <a:pt x="5911" y="10576"/>
                    </a:cubicBezTo>
                    <a:lnTo>
                      <a:pt x="5933" y="10288"/>
                    </a:lnTo>
                    <a:close/>
                    <a:moveTo>
                      <a:pt x="5951" y="10053"/>
                    </a:moveTo>
                    <a:cubicBezTo>
                      <a:pt x="5706" y="10068"/>
                      <a:pt x="5346" y="10100"/>
                      <a:pt x="4996" y="10169"/>
                    </a:cubicBezTo>
                    <a:cubicBezTo>
                      <a:pt x="5000" y="10200"/>
                      <a:pt x="5008" y="10270"/>
                      <a:pt x="5019" y="10365"/>
                    </a:cubicBezTo>
                    <a:cubicBezTo>
                      <a:pt x="5105" y="10346"/>
                      <a:pt x="5389" y="10287"/>
                      <a:pt x="5395" y="10286"/>
                    </a:cubicBezTo>
                    <a:cubicBezTo>
                      <a:pt x="5400" y="10285"/>
                      <a:pt x="5434" y="10284"/>
                      <a:pt x="5487" y="10283"/>
                    </a:cubicBezTo>
                    <a:cubicBezTo>
                      <a:pt x="5621" y="10280"/>
                      <a:pt x="5864" y="10275"/>
                      <a:pt x="5934" y="10274"/>
                    </a:cubicBezTo>
                    <a:lnTo>
                      <a:pt x="5951" y="10053"/>
                    </a:lnTo>
                    <a:close/>
                    <a:moveTo>
                      <a:pt x="6042" y="9767"/>
                    </a:moveTo>
                    <a:cubicBezTo>
                      <a:pt x="6030" y="9767"/>
                      <a:pt x="6002" y="9766"/>
                      <a:pt x="5965" y="9765"/>
                    </a:cubicBezTo>
                    <a:cubicBezTo>
                      <a:pt x="5901" y="9943"/>
                      <a:pt x="5901" y="9943"/>
                      <a:pt x="5901" y="9943"/>
                    </a:cubicBezTo>
                    <a:cubicBezTo>
                      <a:pt x="5759" y="9889"/>
                      <a:pt x="5759" y="9889"/>
                      <a:pt x="5759" y="9889"/>
                    </a:cubicBezTo>
                    <a:cubicBezTo>
                      <a:pt x="5761" y="9882"/>
                      <a:pt x="5761" y="9882"/>
                      <a:pt x="5761" y="9882"/>
                    </a:cubicBezTo>
                    <a:cubicBezTo>
                      <a:pt x="5806" y="9758"/>
                      <a:pt x="5806" y="9758"/>
                      <a:pt x="5806" y="9758"/>
                    </a:cubicBezTo>
                    <a:cubicBezTo>
                      <a:pt x="5742" y="9756"/>
                      <a:pt x="5690" y="9754"/>
                      <a:pt x="5688" y="9754"/>
                    </a:cubicBezTo>
                    <a:cubicBezTo>
                      <a:pt x="5688" y="9740"/>
                      <a:pt x="5688" y="9740"/>
                      <a:pt x="5688" y="9740"/>
                    </a:cubicBezTo>
                    <a:cubicBezTo>
                      <a:pt x="5691" y="9740"/>
                      <a:pt x="5745" y="9742"/>
                      <a:pt x="5810" y="9745"/>
                    </a:cubicBezTo>
                    <a:cubicBezTo>
                      <a:pt x="5858" y="9613"/>
                      <a:pt x="5858" y="9613"/>
                      <a:pt x="5858" y="9613"/>
                    </a:cubicBezTo>
                    <a:cubicBezTo>
                      <a:pt x="5702" y="9588"/>
                      <a:pt x="5702" y="9588"/>
                      <a:pt x="5702" y="9588"/>
                    </a:cubicBezTo>
                    <a:cubicBezTo>
                      <a:pt x="5685" y="9649"/>
                      <a:pt x="5685" y="9649"/>
                      <a:pt x="5685" y="9649"/>
                    </a:cubicBezTo>
                    <a:cubicBezTo>
                      <a:pt x="5691" y="10006"/>
                      <a:pt x="5691" y="10006"/>
                      <a:pt x="5691" y="10006"/>
                    </a:cubicBezTo>
                    <a:cubicBezTo>
                      <a:pt x="5792" y="9997"/>
                      <a:pt x="5885" y="9991"/>
                      <a:pt x="5964" y="9986"/>
                    </a:cubicBezTo>
                    <a:lnTo>
                      <a:pt x="6042" y="9767"/>
                    </a:lnTo>
                    <a:close/>
                    <a:moveTo>
                      <a:pt x="6252" y="9974"/>
                    </a:moveTo>
                    <a:cubicBezTo>
                      <a:pt x="6257" y="9961"/>
                      <a:pt x="6262" y="9945"/>
                      <a:pt x="6269" y="9926"/>
                    </a:cubicBezTo>
                    <a:cubicBezTo>
                      <a:pt x="6340" y="9714"/>
                      <a:pt x="6520" y="9185"/>
                      <a:pt x="6682" y="8708"/>
                    </a:cubicBezTo>
                    <a:cubicBezTo>
                      <a:pt x="6763" y="8470"/>
                      <a:pt x="6839" y="8244"/>
                      <a:pt x="6895" y="8079"/>
                    </a:cubicBezTo>
                    <a:cubicBezTo>
                      <a:pt x="6923" y="7996"/>
                      <a:pt x="6946" y="7927"/>
                      <a:pt x="6962" y="7880"/>
                    </a:cubicBezTo>
                    <a:cubicBezTo>
                      <a:pt x="6963" y="7876"/>
                      <a:pt x="6964" y="7873"/>
                      <a:pt x="6966" y="7870"/>
                    </a:cubicBezTo>
                    <a:cubicBezTo>
                      <a:pt x="6924" y="7882"/>
                      <a:pt x="6893" y="7902"/>
                      <a:pt x="6873" y="7920"/>
                    </a:cubicBezTo>
                    <a:cubicBezTo>
                      <a:pt x="6860" y="7931"/>
                      <a:pt x="6850" y="7942"/>
                      <a:pt x="6845" y="7949"/>
                    </a:cubicBezTo>
                    <a:cubicBezTo>
                      <a:pt x="6842" y="7952"/>
                      <a:pt x="6840" y="7955"/>
                      <a:pt x="6839" y="7956"/>
                    </a:cubicBezTo>
                    <a:cubicBezTo>
                      <a:pt x="6839" y="7956"/>
                      <a:pt x="6839" y="7956"/>
                      <a:pt x="6839" y="7957"/>
                    </a:cubicBezTo>
                    <a:cubicBezTo>
                      <a:pt x="6820" y="7992"/>
                      <a:pt x="6801" y="8030"/>
                      <a:pt x="6787" y="8060"/>
                    </a:cubicBezTo>
                    <a:cubicBezTo>
                      <a:pt x="6772" y="8090"/>
                      <a:pt x="6763" y="8111"/>
                      <a:pt x="6763" y="8111"/>
                    </a:cubicBezTo>
                    <a:cubicBezTo>
                      <a:pt x="6756" y="8127"/>
                      <a:pt x="6756" y="8127"/>
                      <a:pt x="6756" y="8127"/>
                    </a:cubicBezTo>
                    <a:cubicBezTo>
                      <a:pt x="6741" y="8139"/>
                      <a:pt x="6741" y="8139"/>
                      <a:pt x="6741" y="8139"/>
                    </a:cubicBezTo>
                    <a:cubicBezTo>
                      <a:pt x="6720" y="8156"/>
                      <a:pt x="6698" y="8163"/>
                      <a:pt x="6678" y="8167"/>
                    </a:cubicBezTo>
                    <a:cubicBezTo>
                      <a:pt x="6035" y="9982"/>
                      <a:pt x="6035" y="9982"/>
                      <a:pt x="6035" y="9982"/>
                    </a:cubicBezTo>
                    <a:cubicBezTo>
                      <a:pt x="6160" y="9976"/>
                      <a:pt x="6240" y="9975"/>
                      <a:pt x="6252" y="9974"/>
                    </a:cubicBezTo>
                    <a:close/>
                    <a:moveTo>
                      <a:pt x="6754" y="10328"/>
                    </a:moveTo>
                    <a:cubicBezTo>
                      <a:pt x="6425" y="10301"/>
                      <a:pt x="6425" y="10301"/>
                      <a:pt x="6425" y="10301"/>
                    </a:cubicBezTo>
                    <a:cubicBezTo>
                      <a:pt x="6386" y="10484"/>
                      <a:pt x="6386" y="10484"/>
                      <a:pt x="6386" y="10484"/>
                    </a:cubicBezTo>
                    <a:cubicBezTo>
                      <a:pt x="6237" y="10446"/>
                      <a:pt x="6237" y="10446"/>
                      <a:pt x="6237" y="10446"/>
                    </a:cubicBezTo>
                    <a:cubicBezTo>
                      <a:pt x="6238" y="10440"/>
                      <a:pt x="6238" y="10440"/>
                      <a:pt x="6238" y="10440"/>
                    </a:cubicBezTo>
                    <a:cubicBezTo>
                      <a:pt x="6266" y="10288"/>
                      <a:pt x="6266" y="10288"/>
                      <a:pt x="6266" y="10288"/>
                    </a:cubicBezTo>
                    <a:cubicBezTo>
                      <a:pt x="6251" y="10287"/>
                      <a:pt x="6251" y="10287"/>
                      <a:pt x="6251" y="10287"/>
                    </a:cubicBezTo>
                    <a:cubicBezTo>
                      <a:pt x="6213" y="10485"/>
                      <a:pt x="6213" y="10485"/>
                      <a:pt x="6213" y="10485"/>
                    </a:cubicBezTo>
                    <a:cubicBezTo>
                      <a:pt x="6313" y="10493"/>
                      <a:pt x="6639" y="10520"/>
                      <a:pt x="6733" y="10525"/>
                    </a:cubicBezTo>
                    <a:lnTo>
                      <a:pt x="6754" y="10328"/>
                    </a:lnTo>
                    <a:close/>
                    <a:moveTo>
                      <a:pt x="6778" y="10106"/>
                    </a:moveTo>
                    <a:cubicBezTo>
                      <a:pt x="6475" y="10064"/>
                      <a:pt x="6475" y="10064"/>
                      <a:pt x="6475" y="10064"/>
                    </a:cubicBezTo>
                    <a:cubicBezTo>
                      <a:pt x="6474" y="10066"/>
                      <a:pt x="6474" y="10066"/>
                      <a:pt x="6474" y="10066"/>
                    </a:cubicBezTo>
                    <a:cubicBezTo>
                      <a:pt x="6428" y="10287"/>
                      <a:pt x="6428" y="10287"/>
                      <a:pt x="6428" y="10287"/>
                    </a:cubicBezTo>
                    <a:cubicBezTo>
                      <a:pt x="6755" y="10314"/>
                      <a:pt x="6755" y="10314"/>
                      <a:pt x="6755" y="10314"/>
                    </a:cubicBezTo>
                    <a:lnTo>
                      <a:pt x="6778" y="10106"/>
                    </a:lnTo>
                    <a:close/>
                    <a:moveTo>
                      <a:pt x="6821" y="9892"/>
                    </a:moveTo>
                    <a:cubicBezTo>
                      <a:pt x="6555" y="9828"/>
                      <a:pt x="6555" y="9828"/>
                      <a:pt x="6555" y="9828"/>
                    </a:cubicBezTo>
                    <a:cubicBezTo>
                      <a:pt x="6479" y="10051"/>
                      <a:pt x="6479" y="10051"/>
                      <a:pt x="6479" y="10051"/>
                    </a:cubicBezTo>
                    <a:cubicBezTo>
                      <a:pt x="6779" y="10092"/>
                      <a:pt x="6779" y="10092"/>
                      <a:pt x="6779" y="10092"/>
                    </a:cubicBezTo>
                    <a:cubicBezTo>
                      <a:pt x="6790" y="9988"/>
                      <a:pt x="6790" y="9988"/>
                      <a:pt x="6790" y="9988"/>
                    </a:cubicBezTo>
                    <a:lnTo>
                      <a:pt x="6821" y="9892"/>
                    </a:lnTo>
                    <a:close/>
                    <a:moveTo>
                      <a:pt x="6892" y="9671"/>
                    </a:moveTo>
                    <a:cubicBezTo>
                      <a:pt x="6628" y="9613"/>
                      <a:pt x="6628" y="9613"/>
                      <a:pt x="6628" y="9613"/>
                    </a:cubicBezTo>
                    <a:cubicBezTo>
                      <a:pt x="6560" y="9815"/>
                      <a:pt x="6560" y="9815"/>
                      <a:pt x="6560" y="9815"/>
                    </a:cubicBezTo>
                    <a:cubicBezTo>
                      <a:pt x="6825" y="9878"/>
                      <a:pt x="6825" y="9878"/>
                      <a:pt x="6825" y="9878"/>
                    </a:cubicBezTo>
                    <a:lnTo>
                      <a:pt x="6892" y="9671"/>
                    </a:lnTo>
                    <a:close/>
                    <a:moveTo>
                      <a:pt x="7685" y="10390"/>
                    </a:moveTo>
                    <a:cubicBezTo>
                      <a:pt x="6933" y="9950"/>
                      <a:pt x="6933" y="9950"/>
                      <a:pt x="6933" y="9950"/>
                    </a:cubicBezTo>
                    <a:cubicBezTo>
                      <a:pt x="6854" y="10005"/>
                      <a:pt x="6854" y="10005"/>
                      <a:pt x="6854" y="10005"/>
                    </a:cubicBezTo>
                    <a:cubicBezTo>
                      <a:pt x="6827" y="10260"/>
                      <a:pt x="6827" y="10260"/>
                      <a:pt x="6827" y="10260"/>
                    </a:cubicBezTo>
                    <a:cubicBezTo>
                      <a:pt x="6886" y="10286"/>
                      <a:pt x="7050" y="10360"/>
                      <a:pt x="7216" y="10434"/>
                    </a:cubicBezTo>
                    <a:cubicBezTo>
                      <a:pt x="7319" y="10480"/>
                      <a:pt x="7423" y="10527"/>
                      <a:pt x="7503" y="10561"/>
                    </a:cubicBezTo>
                    <a:cubicBezTo>
                      <a:pt x="7542" y="10579"/>
                      <a:pt x="7576" y="10593"/>
                      <a:pt x="7600" y="10603"/>
                    </a:cubicBezTo>
                    <a:cubicBezTo>
                      <a:pt x="7609" y="10607"/>
                      <a:pt x="7616" y="10610"/>
                      <a:pt x="7622" y="10612"/>
                    </a:cubicBezTo>
                    <a:cubicBezTo>
                      <a:pt x="7633" y="10573"/>
                      <a:pt x="7644" y="10534"/>
                      <a:pt x="7655" y="10495"/>
                    </a:cubicBezTo>
                    <a:cubicBezTo>
                      <a:pt x="7665" y="10460"/>
                      <a:pt x="7675" y="10425"/>
                      <a:pt x="7685" y="10390"/>
                    </a:cubicBezTo>
                    <a:close/>
                    <a:moveTo>
                      <a:pt x="7760" y="10130"/>
                    </a:moveTo>
                    <a:cubicBezTo>
                      <a:pt x="7756" y="10128"/>
                      <a:pt x="7752" y="10125"/>
                      <a:pt x="7746" y="10121"/>
                    </a:cubicBezTo>
                    <a:cubicBezTo>
                      <a:pt x="7644" y="10054"/>
                      <a:pt x="7294" y="9819"/>
                      <a:pt x="7208" y="9760"/>
                    </a:cubicBezTo>
                    <a:cubicBezTo>
                      <a:pt x="6946" y="9941"/>
                      <a:pt x="6946" y="9941"/>
                      <a:pt x="6946" y="9941"/>
                    </a:cubicBezTo>
                    <a:cubicBezTo>
                      <a:pt x="7689" y="10376"/>
                      <a:pt x="7689" y="10376"/>
                      <a:pt x="7689" y="10376"/>
                    </a:cubicBezTo>
                    <a:cubicBezTo>
                      <a:pt x="7714" y="10289"/>
                      <a:pt x="7738" y="10205"/>
                      <a:pt x="7760" y="10130"/>
                    </a:cubicBezTo>
                    <a:close/>
                    <a:moveTo>
                      <a:pt x="7858" y="9838"/>
                    </a:moveTo>
                    <a:cubicBezTo>
                      <a:pt x="7363" y="9516"/>
                      <a:pt x="7363" y="9516"/>
                      <a:pt x="7363" y="9516"/>
                    </a:cubicBezTo>
                    <a:cubicBezTo>
                      <a:pt x="7256" y="9727"/>
                      <a:pt x="7256" y="9727"/>
                      <a:pt x="7256" y="9727"/>
                    </a:cubicBezTo>
                    <a:cubicBezTo>
                      <a:pt x="7220" y="9752"/>
                      <a:pt x="7220" y="9752"/>
                      <a:pt x="7220" y="9752"/>
                    </a:cubicBezTo>
                    <a:cubicBezTo>
                      <a:pt x="7267" y="9783"/>
                      <a:pt x="7376" y="9857"/>
                      <a:pt x="7485" y="9930"/>
                    </a:cubicBezTo>
                    <a:cubicBezTo>
                      <a:pt x="7558" y="9979"/>
                      <a:pt x="7631" y="10028"/>
                      <a:pt x="7686" y="10064"/>
                    </a:cubicBezTo>
                    <a:cubicBezTo>
                      <a:pt x="7714" y="10083"/>
                      <a:pt x="7737" y="10098"/>
                      <a:pt x="7754" y="10109"/>
                    </a:cubicBezTo>
                    <a:cubicBezTo>
                      <a:pt x="7758" y="10112"/>
                      <a:pt x="7761" y="10114"/>
                      <a:pt x="7764" y="10116"/>
                    </a:cubicBezTo>
                    <a:cubicBezTo>
                      <a:pt x="7771" y="10095"/>
                      <a:pt x="7777" y="10074"/>
                      <a:pt x="7783" y="10054"/>
                    </a:cubicBezTo>
                    <a:cubicBezTo>
                      <a:pt x="7800" y="9994"/>
                      <a:pt x="7816" y="9944"/>
                      <a:pt x="7827" y="9908"/>
                    </a:cubicBezTo>
                    <a:cubicBezTo>
                      <a:pt x="7832" y="9891"/>
                      <a:pt x="7837" y="9877"/>
                      <a:pt x="7841" y="9867"/>
                    </a:cubicBezTo>
                    <a:cubicBezTo>
                      <a:pt x="7843" y="9862"/>
                      <a:pt x="7844" y="9858"/>
                      <a:pt x="7846" y="9855"/>
                    </a:cubicBezTo>
                    <a:cubicBezTo>
                      <a:pt x="7846" y="9853"/>
                      <a:pt x="7847" y="9851"/>
                      <a:pt x="7849" y="9849"/>
                    </a:cubicBezTo>
                    <a:cubicBezTo>
                      <a:pt x="7849" y="9848"/>
                      <a:pt x="7850" y="9847"/>
                      <a:pt x="7852" y="9845"/>
                    </a:cubicBezTo>
                    <a:cubicBezTo>
                      <a:pt x="7853" y="9844"/>
                      <a:pt x="7854" y="9843"/>
                      <a:pt x="7855" y="9842"/>
                    </a:cubicBezTo>
                    <a:cubicBezTo>
                      <a:pt x="7855" y="9842"/>
                      <a:pt x="7855" y="9842"/>
                      <a:pt x="7855" y="9842"/>
                    </a:cubicBezTo>
                    <a:cubicBezTo>
                      <a:pt x="7855" y="9841"/>
                      <a:pt x="7857" y="9839"/>
                      <a:pt x="7858" y="9838"/>
                    </a:cubicBezTo>
                    <a:close/>
                    <a:moveTo>
                      <a:pt x="8012" y="9609"/>
                    </a:moveTo>
                    <a:cubicBezTo>
                      <a:pt x="8016" y="9602"/>
                      <a:pt x="8021" y="9595"/>
                      <a:pt x="8025" y="9588"/>
                    </a:cubicBezTo>
                    <a:cubicBezTo>
                      <a:pt x="7504" y="9238"/>
                      <a:pt x="7504" y="9238"/>
                      <a:pt x="7504" y="9238"/>
                    </a:cubicBezTo>
                    <a:cubicBezTo>
                      <a:pt x="7369" y="9504"/>
                      <a:pt x="7369" y="9504"/>
                      <a:pt x="7369" y="9504"/>
                    </a:cubicBezTo>
                    <a:cubicBezTo>
                      <a:pt x="7866" y="9826"/>
                      <a:pt x="7866" y="9826"/>
                      <a:pt x="7866" y="9826"/>
                    </a:cubicBezTo>
                    <a:cubicBezTo>
                      <a:pt x="7891" y="9792"/>
                      <a:pt x="7944" y="9712"/>
                      <a:pt x="8012" y="9609"/>
                    </a:cubicBezTo>
                    <a:close/>
                    <a:moveTo>
                      <a:pt x="9248" y="8903"/>
                    </a:moveTo>
                    <a:cubicBezTo>
                      <a:pt x="9103" y="8822"/>
                      <a:pt x="8855" y="8667"/>
                      <a:pt x="8725" y="8587"/>
                    </a:cubicBezTo>
                    <a:cubicBezTo>
                      <a:pt x="8676" y="8664"/>
                      <a:pt x="8498" y="8941"/>
                      <a:pt x="8319" y="9219"/>
                    </a:cubicBezTo>
                    <a:cubicBezTo>
                      <a:pt x="8213" y="9383"/>
                      <a:pt x="8107" y="9546"/>
                      <a:pt x="8027" y="9668"/>
                    </a:cubicBezTo>
                    <a:cubicBezTo>
                      <a:pt x="7986" y="9730"/>
                      <a:pt x="7952" y="9781"/>
                      <a:pt x="7928" y="9817"/>
                    </a:cubicBezTo>
                    <a:cubicBezTo>
                      <a:pt x="7917" y="9833"/>
                      <a:pt x="7908" y="9845"/>
                      <a:pt x="7901" y="9855"/>
                    </a:cubicBezTo>
                    <a:cubicBezTo>
                      <a:pt x="7953" y="9890"/>
                      <a:pt x="8097" y="9986"/>
                      <a:pt x="8243" y="10083"/>
                    </a:cubicBezTo>
                    <a:cubicBezTo>
                      <a:pt x="8333" y="10144"/>
                      <a:pt x="8424" y="10204"/>
                      <a:pt x="8493" y="10250"/>
                    </a:cubicBezTo>
                    <a:cubicBezTo>
                      <a:pt x="8523" y="10269"/>
                      <a:pt x="8548" y="10286"/>
                      <a:pt x="8568" y="10298"/>
                    </a:cubicBezTo>
                    <a:lnTo>
                      <a:pt x="9248" y="8903"/>
                    </a:lnTo>
                    <a:close/>
                    <a:moveTo>
                      <a:pt x="11179" y="8796"/>
                    </a:moveTo>
                    <a:cubicBezTo>
                      <a:pt x="11083" y="8779"/>
                      <a:pt x="10688" y="8704"/>
                      <a:pt x="10244" y="8558"/>
                    </a:cubicBezTo>
                    <a:cubicBezTo>
                      <a:pt x="9734" y="8390"/>
                      <a:pt x="9128" y="8116"/>
                      <a:pt x="8966" y="8045"/>
                    </a:cubicBezTo>
                    <a:cubicBezTo>
                      <a:pt x="8887" y="8011"/>
                      <a:pt x="8813" y="7964"/>
                      <a:pt x="8748" y="7910"/>
                    </a:cubicBezTo>
                    <a:cubicBezTo>
                      <a:pt x="8724" y="7929"/>
                      <a:pt x="8692" y="7954"/>
                      <a:pt x="8655" y="7979"/>
                    </a:cubicBezTo>
                    <a:cubicBezTo>
                      <a:pt x="8593" y="8020"/>
                      <a:pt x="8520" y="8062"/>
                      <a:pt x="8439" y="8081"/>
                    </a:cubicBezTo>
                    <a:cubicBezTo>
                      <a:pt x="8357" y="8100"/>
                      <a:pt x="8259" y="8114"/>
                      <a:pt x="8183" y="8123"/>
                    </a:cubicBezTo>
                    <a:cubicBezTo>
                      <a:pt x="8232" y="8159"/>
                      <a:pt x="8297" y="8207"/>
                      <a:pt x="8366" y="8258"/>
                    </a:cubicBezTo>
                    <a:cubicBezTo>
                      <a:pt x="8504" y="8359"/>
                      <a:pt x="8656" y="8469"/>
                      <a:pt x="8704" y="8498"/>
                    </a:cubicBezTo>
                    <a:cubicBezTo>
                      <a:pt x="8807" y="8559"/>
                      <a:pt x="9150" y="8775"/>
                      <a:pt x="9307" y="8860"/>
                    </a:cubicBezTo>
                    <a:cubicBezTo>
                      <a:pt x="9465" y="8946"/>
                      <a:pt x="9887" y="9175"/>
                      <a:pt x="10047" y="9242"/>
                    </a:cubicBezTo>
                    <a:cubicBezTo>
                      <a:pt x="10200" y="9307"/>
                      <a:pt x="10608" y="9499"/>
                      <a:pt x="10665" y="9525"/>
                    </a:cubicBezTo>
                    <a:cubicBezTo>
                      <a:pt x="10693" y="9500"/>
                      <a:pt x="10735" y="9463"/>
                      <a:pt x="10783" y="9419"/>
                    </a:cubicBezTo>
                    <a:cubicBezTo>
                      <a:pt x="10869" y="9339"/>
                      <a:pt x="10974" y="9241"/>
                      <a:pt x="11046" y="9164"/>
                    </a:cubicBezTo>
                    <a:cubicBezTo>
                      <a:pt x="11148" y="9059"/>
                      <a:pt x="11173" y="8877"/>
                      <a:pt x="11179" y="8796"/>
                    </a:cubicBezTo>
                    <a:close/>
                    <a:moveTo>
                      <a:pt x="12475" y="8728"/>
                    </a:moveTo>
                    <a:cubicBezTo>
                      <a:pt x="12014" y="7230"/>
                      <a:pt x="12014" y="7230"/>
                      <a:pt x="12014" y="7230"/>
                    </a:cubicBezTo>
                    <a:cubicBezTo>
                      <a:pt x="12014" y="7229"/>
                      <a:pt x="12014" y="7229"/>
                      <a:pt x="12014" y="7229"/>
                    </a:cubicBezTo>
                    <a:cubicBezTo>
                      <a:pt x="12014" y="7229"/>
                      <a:pt x="12014" y="7228"/>
                      <a:pt x="12013" y="7226"/>
                    </a:cubicBezTo>
                    <a:cubicBezTo>
                      <a:pt x="12007" y="7206"/>
                      <a:pt x="11974" y="7125"/>
                      <a:pt x="11900" y="7091"/>
                    </a:cubicBezTo>
                    <a:cubicBezTo>
                      <a:pt x="11891" y="7104"/>
                      <a:pt x="11882" y="7117"/>
                      <a:pt x="11873" y="7129"/>
                    </a:cubicBezTo>
                    <a:cubicBezTo>
                      <a:pt x="11831" y="7181"/>
                      <a:pt x="11776" y="7224"/>
                      <a:pt x="11708" y="7239"/>
                    </a:cubicBezTo>
                    <a:cubicBezTo>
                      <a:pt x="11698" y="7241"/>
                      <a:pt x="11692" y="7241"/>
                      <a:pt x="11682" y="7242"/>
                    </a:cubicBezTo>
                    <a:cubicBezTo>
                      <a:pt x="11671" y="7243"/>
                      <a:pt x="11657" y="7243"/>
                      <a:pt x="11642" y="7243"/>
                    </a:cubicBezTo>
                    <a:cubicBezTo>
                      <a:pt x="11542" y="7243"/>
                      <a:pt x="11355" y="7233"/>
                      <a:pt x="11355" y="7233"/>
                    </a:cubicBezTo>
                    <a:cubicBezTo>
                      <a:pt x="11354" y="7233"/>
                      <a:pt x="11203" y="7222"/>
                      <a:pt x="11052" y="7211"/>
                    </a:cubicBezTo>
                    <a:cubicBezTo>
                      <a:pt x="10977" y="7205"/>
                      <a:pt x="10901" y="7199"/>
                      <a:pt x="10844" y="7195"/>
                    </a:cubicBezTo>
                    <a:cubicBezTo>
                      <a:pt x="10816" y="7193"/>
                      <a:pt x="10792" y="7191"/>
                      <a:pt x="10776" y="7190"/>
                    </a:cubicBezTo>
                    <a:cubicBezTo>
                      <a:pt x="10768" y="7189"/>
                      <a:pt x="10761" y="7189"/>
                      <a:pt x="10756" y="7189"/>
                    </a:cubicBezTo>
                    <a:cubicBezTo>
                      <a:pt x="10754" y="7188"/>
                      <a:pt x="10752" y="7188"/>
                      <a:pt x="10751" y="7188"/>
                    </a:cubicBezTo>
                    <a:cubicBezTo>
                      <a:pt x="10750" y="7188"/>
                      <a:pt x="10750" y="7188"/>
                      <a:pt x="10749" y="7188"/>
                    </a:cubicBezTo>
                    <a:cubicBezTo>
                      <a:pt x="10749" y="7188"/>
                      <a:pt x="10748" y="7188"/>
                      <a:pt x="10748" y="7188"/>
                    </a:cubicBezTo>
                    <a:cubicBezTo>
                      <a:pt x="10747" y="7188"/>
                      <a:pt x="10747" y="7188"/>
                      <a:pt x="10745" y="7187"/>
                    </a:cubicBezTo>
                    <a:cubicBezTo>
                      <a:pt x="10744" y="7187"/>
                      <a:pt x="10743" y="7187"/>
                      <a:pt x="10741" y="7186"/>
                    </a:cubicBezTo>
                    <a:cubicBezTo>
                      <a:pt x="10739" y="7185"/>
                      <a:pt x="10737" y="7185"/>
                      <a:pt x="10734" y="7182"/>
                    </a:cubicBezTo>
                    <a:cubicBezTo>
                      <a:pt x="10733" y="7181"/>
                      <a:pt x="10731" y="7180"/>
                      <a:pt x="10729" y="7179"/>
                    </a:cubicBezTo>
                    <a:cubicBezTo>
                      <a:pt x="10727" y="7177"/>
                      <a:pt x="10722" y="7174"/>
                      <a:pt x="10715" y="7170"/>
                    </a:cubicBezTo>
                    <a:cubicBezTo>
                      <a:pt x="10278" y="8408"/>
                      <a:pt x="10278" y="8408"/>
                      <a:pt x="10278" y="8408"/>
                    </a:cubicBezTo>
                    <a:cubicBezTo>
                      <a:pt x="10282" y="8410"/>
                      <a:pt x="10287" y="8411"/>
                      <a:pt x="10291" y="8413"/>
                    </a:cubicBezTo>
                    <a:cubicBezTo>
                      <a:pt x="10540" y="8495"/>
                      <a:pt x="10775" y="8554"/>
                      <a:pt x="10946" y="8593"/>
                    </a:cubicBezTo>
                    <a:cubicBezTo>
                      <a:pt x="11032" y="8612"/>
                      <a:pt x="11102" y="8627"/>
                      <a:pt x="11151" y="8636"/>
                    </a:cubicBezTo>
                    <a:cubicBezTo>
                      <a:pt x="11191" y="8644"/>
                      <a:pt x="11216" y="8648"/>
                      <a:pt x="11224" y="8649"/>
                    </a:cubicBezTo>
                    <a:cubicBezTo>
                      <a:pt x="11276" y="8653"/>
                      <a:pt x="11937" y="8699"/>
                      <a:pt x="12132" y="8707"/>
                    </a:cubicBezTo>
                    <a:cubicBezTo>
                      <a:pt x="12233" y="8712"/>
                      <a:pt x="12348" y="8716"/>
                      <a:pt x="12475" y="8728"/>
                    </a:cubicBezTo>
                    <a:close/>
                    <a:moveTo>
                      <a:pt x="15985" y="4735"/>
                    </a:moveTo>
                    <a:cubicBezTo>
                      <a:pt x="14054" y="5137"/>
                      <a:pt x="14054" y="5137"/>
                      <a:pt x="14054" y="5137"/>
                    </a:cubicBezTo>
                    <a:cubicBezTo>
                      <a:pt x="13566" y="5021"/>
                      <a:pt x="13566" y="5021"/>
                      <a:pt x="13566" y="5021"/>
                    </a:cubicBezTo>
                    <a:cubicBezTo>
                      <a:pt x="12878" y="4821"/>
                      <a:pt x="12878" y="4821"/>
                      <a:pt x="12878" y="4821"/>
                    </a:cubicBezTo>
                    <a:cubicBezTo>
                      <a:pt x="12782" y="4794"/>
                      <a:pt x="12629" y="4775"/>
                      <a:pt x="12501" y="4762"/>
                    </a:cubicBezTo>
                    <a:cubicBezTo>
                      <a:pt x="12422" y="4754"/>
                      <a:pt x="12352" y="4749"/>
                      <a:pt x="12311" y="4746"/>
                    </a:cubicBezTo>
                    <a:cubicBezTo>
                      <a:pt x="12312" y="4751"/>
                      <a:pt x="12312" y="4751"/>
                      <a:pt x="12312" y="4751"/>
                    </a:cubicBezTo>
                    <a:cubicBezTo>
                      <a:pt x="12306" y="4751"/>
                      <a:pt x="12306" y="4751"/>
                      <a:pt x="12306" y="4751"/>
                    </a:cubicBezTo>
                    <a:cubicBezTo>
                      <a:pt x="12307" y="4781"/>
                      <a:pt x="12309" y="4822"/>
                      <a:pt x="12309" y="4822"/>
                    </a:cubicBezTo>
                    <a:cubicBezTo>
                      <a:pt x="12310" y="4826"/>
                      <a:pt x="12310" y="4826"/>
                      <a:pt x="12310" y="4826"/>
                    </a:cubicBezTo>
                    <a:cubicBezTo>
                      <a:pt x="12034" y="6710"/>
                      <a:pt x="12034" y="6710"/>
                      <a:pt x="12034" y="6710"/>
                    </a:cubicBezTo>
                    <a:cubicBezTo>
                      <a:pt x="12034" y="6712"/>
                      <a:pt x="12018" y="6827"/>
                      <a:pt x="11970" y="6950"/>
                    </a:cubicBezTo>
                    <a:cubicBezTo>
                      <a:pt x="11960" y="6978"/>
                      <a:pt x="11947" y="7006"/>
                      <a:pt x="11933" y="7033"/>
                    </a:cubicBezTo>
                    <a:cubicBezTo>
                      <a:pt x="12041" y="7087"/>
                      <a:pt x="12073" y="7198"/>
                      <a:pt x="12077" y="7211"/>
                    </a:cubicBezTo>
                    <a:cubicBezTo>
                      <a:pt x="12077" y="7211"/>
                      <a:pt x="12077" y="7211"/>
                      <a:pt x="12077" y="7211"/>
                    </a:cubicBezTo>
                    <a:cubicBezTo>
                      <a:pt x="12545" y="8735"/>
                      <a:pt x="12545" y="8735"/>
                      <a:pt x="12545" y="8735"/>
                    </a:cubicBezTo>
                    <a:cubicBezTo>
                      <a:pt x="12661" y="8748"/>
                      <a:pt x="12785" y="8767"/>
                      <a:pt x="12915" y="8798"/>
                    </a:cubicBezTo>
                    <a:cubicBezTo>
                      <a:pt x="13068" y="8835"/>
                      <a:pt x="13188" y="8883"/>
                      <a:pt x="13280" y="8945"/>
                    </a:cubicBezTo>
                    <a:cubicBezTo>
                      <a:pt x="13352" y="8994"/>
                      <a:pt x="13406" y="9055"/>
                      <a:pt x="13440" y="9123"/>
                    </a:cubicBezTo>
                    <a:cubicBezTo>
                      <a:pt x="13508" y="9107"/>
                      <a:pt x="13630" y="9077"/>
                      <a:pt x="13753" y="9047"/>
                    </a:cubicBezTo>
                    <a:cubicBezTo>
                      <a:pt x="13846" y="9025"/>
                      <a:pt x="13939" y="9003"/>
                      <a:pt x="14010" y="8986"/>
                    </a:cubicBezTo>
                    <a:cubicBezTo>
                      <a:pt x="14045" y="8977"/>
                      <a:pt x="14075" y="8970"/>
                      <a:pt x="14097" y="8965"/>
                    </a:cubicBezTo>
                    <a:cubicBezTo>
                      <a:pt x="14108" y="8963"/>
                      <a:pt x="14117" y="8961"/>
                      <a:pt x="14124" y="8960"/>
                    </a:cubicBezTo>
                    <a:cubicBezTo>
                      <a:pt x="14127" y="8959"/>
                      <a:pt x="14130" y="8958"/>
                      <a:pt x="14133" y="8958"/>
                    </a:cubicBezTo>
                    <a:cubicBezTo>
                      <a:pt x="14135" y="8957"/>
                      <a:pt x="14136" y="8957"/>
                      <a:pt x="14138" y="8957"/>
                    </a:cubicBezTo>
                    <a:cubicBezTo>
                      <a:pt x="14139" y="8957"/>
                      <a:pt x="14140" y="8957"/>
                      <a:pt x="14142" y="8956"/>
                    </a:cubicBezTo>
                    <a:cubicBezTo>
                      <a:pt x="14148" y="8955"/>
                      <a:pt x="14167" y="8950"/>
                      <a:pt x="14191" y="8943"/>
                    </a:cubicBezTo>
                    <a:cubicBezTo>
                      <a:pt x="14273" y="8918"/>
                      <a:pt x="14432" y="8866"/>
                      <a:pt x="14604" y="8804"/>
                    </a:cubicBezTo>
                    <a:cubicBezTo>
                      <a:pt x="14716" y="8763"/>
                      <a:pt x="14943" y="8646"/>
                      <a:pt x="15140" y="8539"/>
                    </a:cubicBezTo>
                    <a:cubicBezTo>
                      <a:pt x="15239" y="8485"/>
                      <a:pt x="15331" y="8433"/>
                      <a:pt x="15400" y="8395"/>
                    </a:cubicBezTo>
                    <a:cubicBezTo>
                      <a:pt x="15435" y="8375"/>
                      <a:pt x="15464" y="8359"/>
                      <a:pt x="15485" y="8347"/>
                    </a:cubicBezTo>
                    <a:cubicBezTo>
                      <a:pt x="15496" y="8341"/>
                      <a:pt x="15505" y="8336"/>
                      <a:pt x="15511" y="8333"/>
                    </a:cubicBezTo>
                    <a:cubicBezTo>
                      <a:pt x="15519" y="8329"/>
                      <a:pt x="15522" y="8327"/>
                      <a:pt x="15529" y="8324"/>
                    </a:cubicBezTo>
                    <a:cubicBezTo>
                      <a:pt x="15543" y="8318"/>
                      <a:pt x="15576" y="8303"/>
                      <a:pt x="15609" y="8289"/>
                    </a:cubicBezTo>
                    <a:cubicBezTo>
                      <a:pt x="15598" y="8200"/>
                      <a:pt x="15574" y="8009"/>
                      <a:pt x="15547" y="7789"/>
                    </a:cubicBezTo>
                    <a:cubicBezTo>
                      <a:pt x="15509" y="7484"/>
                      <a:pt x="15464" y="7125"/>
                      <a:pt x="15436" y="6908"/>
                    </a:cubicBezTo>
                    <a:cubicBezTo>
                      <a:pt x="15423" y="6805"/>
                      <a:pt x="15417" y="6717"/>
                      <a:pt x="15417" y="6641"/>
                    </a:cubicBezTo>
                    <a:cubicBezTo>
                      <a:pt x="15417" y="6393"/>
                      <a:pt x="15482" y="6261"/>
                      <a:pt x="15556" y="6081"/>
                    </a:cubicBezTo>
                    <a:cubicBezTo>
                      <a:pt x="15661" y="5831"/>
                      <a:pt x="15921" y="5619"/>
                      <a:pt x="15999" y="5285"/>
                    </a:cubicBezTo>
                    <a:cubicBezTo>
                      <a:pt x="16020" y="5194"/>
                      <a:pt x="16028" y="5110"/>
                      <a:pt x="16028" y="5035"/>
                    </a:cubicBezTo>
                    <a:cubicBezTo>
                      <a:pt x="16028" y="4932"/>
                      <a:pt x="16014" y="4847"/>
                      <a:pt x="15999" y="4788"/>
                    </a:cubicBezTo>
                    <a:cubicBezTo>
                      <a:pt x="15994" y="4767"/>
                      <a:pt x="15989" y="4749"/>
                      <a:pt x="15985" y="4735"/>
                    </a:cubicBezTo>
                    <a:close/>
                    <a:moveTo>
                      <a:pt x="16018" y="1786"/>
                    </a:moveTo>
                    <a:cubicBezTo>
                      <a:pt x="15564" y="1885"/>
                      <a:pt x="15099" y="1923"/>
                      <a:pt x="14949" y="1949"/>
                    </a:cubicBezTo>
                    <a:cubicBezTo>
                      <a:pt x="14884" y="1960"/>
                      <a:pt x="14692" y="1963"/>
                      <a:pt x="14458" y="1963"/>
                    </a:cubicBezTo>
                    <a:cubicBezTo>
                      <a:pt x="14001" y="1963"/>
                      <a:pt x="13397" y="1950"/>
                      <a:pt x="13368" y="1950"/>
                    </a:cubicBezTo>
                    <a:cubicBezTo>
                      <a:pt x="13291" y="1953"/>
                      <a:pt x="13200" y="1954"/>
                      <a:pt x="13128" y="2035"/>
                    </a:cubicBezTo>
                    <a:cubicBezTo>
                      <a:pt x="13089" y="2079"/>
                      <a:pt x="13041" y="2143"/>
                      <a:pt x="13004" y="2196"/>
                    </a:cubicBezTo>
                    <a:cubicBezTo>
                      <a:pt x="12966" y="2248"/>
                      <a:pt x="12939" y="2289"/>
                      <a:pt x="12939" y="2289"/>
                    </a:cubicBezTo>
                    <a:cubicBezTo>
                      <a:pt x="12938" y="2290"/>
                      <a:pt x="12938" y="2290"/>
                      <a:pt x="12938" y="2290"/>
                    </a:cubicBezTo>
                    <a:cubicBezTo>
                      <a:pt x="12937" y="2291"/>
                      <a:pt x="12937" y="2291"/>
                      <a:pt x="12937" y="2291"/>
                    </a:cubicBezTo>
                    <a:cubicBezTo>
                      <a:pt x="12937" y="2292"/>
                      <a:pt x="12841" y="2409"/>
                      <a:pt x="12742" y="2532"/>
                    </a:cubicBezTo>
                    <a:cubicBezTo>
                      <a:pt x="12693" y="2593"/>
                      <a:pt x="12643" y="2656"/>
                      <a:pt x="12604" y="2706"/>
                    </a:cubicBezTo>
                    <a:cubicBezTo>
                      <a:pt x="12585" y="2731"/>
                      <a:pt x="12569" y="2753"/>
                      <a:pt x="12556" y="2770"/>
                    </a:cubicBezTo>
                    <a:cubicBezTo>
                      <a:pt x="12550" y="2778"/>
                      <a:pt x="12545" y="2785"/>
                      <a:pt x="12542" y="2791"/>
                    </a:cubicBezTo>
                    <a:cubicBezTo>
                      <a:pt x="12540" y="2793"/>
                      <a:pt x="12539" y="2795"/>
                      <a:pt x="12538" y="2797"/>
                    </a:cubicBezTo>
                    <a:cubicBezTo>
                      <a:pt x="12537" y="2799"/>
                      <a:pt x="12536" y="2799"/>
                      <a:pt x="12536" y="2799"/>
                    </a:cubicBezTo>
                    <a:cubicBezTo>
                      <a:pt x="12521" y="2831"/>
                      <a:pt x="12488" y="2909"/>
                      <a:pt x="12471" y="2947"/>
                    </a:cubicBezTo>
                    <a:cubicBezTo>
                      <a:pt x="12495" y="2959"/>
                      <a:pt x="12518" y="2975"/>
                      <a:pt x="12540" y="2995"/>
                    </a:cubicBezTo>
                    <a:cubicBezTo>
                      <a:pt x="12543" y="2998"/>
                      <a:pt x="12543" y="2998"/>
                      <a:pt x="12543" y="2998"/>
                    </a:cubicBezTo>
                    <a:cubicBezTo>
                      <a:pt x="13286" y="4127"/>
                      <a:pt x="13286" y="4127"/>
                      <a:pt x="13286" y="4127"/>
                    </a:cubicBezTo>
                    <a:cubicBezTo>
                      <a:pt x="13288" y="4130"/>
                      <a:pt x="13332" y="4197"/>
                      <a:pt x="13332" y="4309"/>
                    </a:cubicBezTo>
                    <a:cubicBezTo>
                      <a:pt x="13332" y="4369"/>
                      <a:pt x="13319" y="4442"/>
                      <a:pt x="13281" y="4523"/>
                    </a:cubicBezTo>
                    <a:cubicBezTo>
                      <a:pt x="13211" y="4672"/>
                      <a:pt x="13152" y="4773"/>
                      <a:pt x="13121" y="4823"/>
                    </a:cubicBezTo>
                    <a:cubicBezTo>
                      <a:pt x="13583" y="4958"/>
                      <a:pt x="13583" y="4958"/>
                      <a:pt x="13583" y="4958"/>
                    </a:cubicBezTo>
                    <a:cubicBezTo>
                      <a:pt x="14055" y="5070"/>
                      <a:pt x="14055" y="5070"/>
                      <a:pt x="14055" y="5070"/>
                    </a:cubicBezTo>
                    <a:cubicBezTo>
                      <a:pt x="15959" y="4674"/>
                      <a:pt x="15959" y="4674"/>
                      <a:pt x="15959" y="4674"/>
                    </a:cubicBezTo>
                    <a:cubicBezTo>
                      <a:pt x="15957" y="4667"/>
                      <a:pt x="15955" y="4659"/>
                      <a:pt x="15953" y="4650"/>
                    </a:cubicBezTo>
                    <a:cubicBezTo>
                      <a:pt x="15909" y="4497"/>
                      <a:pt x="15744" y="3957"/>
                      <a:pt x="15655" y="3537"/>
                    </a:cubicBezTo>
                    <a:cubicBezTo>
                      <a:pt x="15611" y="3328"/>
                      <a:pt x="15594" y="3119"/>
                      <a:pt x="15594" y="2932"/>
                    </a:cubicBezTo>
                    <a:cubicBezTo>
                      <a:pt x="15595" y="2671"/>
                      <a:pt x="15626" y="2452"/>
                      <a:pt x="15659" y="2328"/>
                    </a:cubicBezTo>
                    <a:cubicBezTo>
                      <a:pt x="15691" y="2215"/>
                      <a:pt x="15793" y="2067"/>
                      <a:pt x="15889" y="1942"/>
                    </a:cubicBezTo>
                    <a:cubicBezTo>
                      <a:pt x="15937" y="1881"/>
                      <a:pt x="15983" y="1826"/>
                      <a:pt x="16018" y="1786"/>
                    </a:cubicBezTo>
                    <a:close/>
                    <a:moveTo>
                      <a:pt x="16118" y="1771"/>
                    </a:moveTo>
                    <a:cubicBezTo>
                      <a:pt x="16114" y="1764"/>
                      <a:pt x="16114" y="1764"/>
                      <a:pt x="16114" y="1764"/>
                    </a:cubicBezTo>
                    <a:cubicBezTo>
                      <a:pt x="16114" y="1764"/>
                      <a:pt x="16114" y="1764"/>
                      <a:pt x="16114" y="1764"/>
                    </a:cubicBezTo>
                    <a:lnTo>
                      <a:pt x="16118" y="1771"/>
                    </a:lnTo>
                    <a:close/>
                    <a:moveTo>
                      <a:pt x="4860" y="10782"/>
                    </a:moveTo>
                    <a:cubicBezTo>
                      <a:pt x="4865" y="10821"/>
                      <a:pt x="4865" y="10821"/>
                      <a:pt x="4865" y="10821"/>
                    </a:cubicBezTo>
                    <a:cubicBezTo>
                      <a:pt x="4878" y="10821"/>
                      <a:pt x="4878" y="10821"/>
                      <a:pt x="4878" y="10821"/>
                    </a:cubicBezTo>
                    <a:cubicBezTo>
                      <a:pt x="4874" y="10793"/>
                      <a:pt x="4874" y="10793"/>
                      <a:pt x="4874" y="10793"/>
                    </a:cubicBezTo>
                    <a:cubicBezTo>
                      <a:pt x="4952" y="10783"/>
                      <a:pt x="4952" y="10783"/>
                      <a:pt x="4952" y="10783"/>
                    </a:cubicBezTo>
                    <a:cubicBezTo>
                      <a:pt x="4957" y="10821"/>
                      <a:pt x="4957" y="10821"/>
                      <a:pt x="4957" y="10821"/>
                    </a:cubicBezTo>
                    <a:cubicBezTo>
                      <a:pt x="4970" y="10821"/>
                      <a:pt x="4970" y="10821"/>
                      <a:pt x="4970" y="10821"/>
                    </a:cubicBezTo>
                    <a:cubicBezTo>
                      <a:pt x="4963" y="10768"/>
                      <a:pt x="4963" y="10768"/>
                      <a:pt x="4963" y="10768"/>
                    </a:cubicBezTo>
                    <a:lnTo>
                      <a:pt x="4860" y="10782"/>
                    </a:lnTo>
                    <a:close/>
                    <a:moveTo>
                      <a:pt x="7605" y="9494"/>
                    </a:moveTo>
                    <a:cubicBezTo>
                      <a:pt x="7658" y="9548"/>
                      <a:pt x="7658" y="9548"/>
                      <a:pt x="7658" y="9548"/>
                    </a:cubicBezTo>
                    <a:cubicBezTo>
                      <a:pt x="7604" y="9601"/>
                      <a:pt x="7604" y="9601"/>
                      <a:pt x="7604" y="9601"/>
                    </a:cubicBezTo>
                    <a:cubicBezTo>
                      <a:pt x="7599" y="9597"/>
                      <a:pt x="7599" y="9597"/>
                      <a:pt x="7599" y="9597"/>
                    </a:cubicBezTo>
                    <a:cubicBezTo>
                      <a:pt x="7467" y="9457"/>
                      <a:pt x="7467" y="9457"/>
                      <a:pt x="7467" y="9457"/>
                    </a:cubicBezTo>
                    <a:cubicBezTo>
                      <a:pt x="7503" y="9423"/>
                      <a:pt x="7503" y="9423"/>
                      <a:pt x="7503" y="9423"/>
                    </a:cubicBezTo>
                    <a:cubicBezTo>
                      <a:pt x="7495" y="9414"/>
                      <a:pt x="7495" y="9414"/>
                      <a:pt x="7495" y="9414"/>
                    </a:cubicBezTo>
                    <a:cubicBezTo>
                      <a:pt x="7490" y="9409"/>
                      <a:pt x="7490" y="9409"/>
                      <a:pt x="7490" y="9409"/>
                    </a:cubicBezTo>
                    <a:cubicBezTo>
                      <a:pt x="7560" y="9342"/>
                      <a:pt x="7560" y="9342"/>
                      <a:pt x="7560" y="9342"/>
                    </a:cubicBezTo>
                    <a:cubicBezTo>
                      <a:pt x="7658" y="9443"/>
                      <a:pt x="7658" y="9443"/>
                      <a:pt x="7658" y="9443"/>
                    </a:cubicBezTo>
                    <a:lnTo>
                      <a:pt x="7605" y="9494"/>
                    </a:lnTo>
                    <a:close/>
                    <a:moveTo>
                      <a:pt x="7587" y="9494"/>
                    </a:moveTo>
                    <a:cubicBezTo>
                      <a:pt x="7639" y="9443"/>
                      <a:pt x="7639" y="9443"/>
                      <a:pt x="7639" y="9443"/>
                    </a:cubicBezTo>
                    <a:cubicBezTo>
                      <a:pt x="7559" y="9361"/>
                      <a:pt x="7559" y="9361"/>
                      <a:pt x="7559" y="9361"/>
                    </a:cubicBezTo>
                    <a:cubicBezTo>
                      <a:pt x="7509" y="9410"/>
                      <a:pt x="7509" y="9410"/>
                      <a:pt x="7509" y="9410"/>
                    </a:cubicBezTo>
                    <a:cubicBezTo>
                      <a:pt x="7517" y="9418"/>
                      <a:pt x="7517" y="9418"/>
                      <a:pt x="7517" y="9418"/>
                    </a:cubicBezTo>
                    <a:cubicBezTo>
                      <a:pt x="7522" y="9423"/>
                      <a:pt x="7522" y="9423"/>
                      <a:pt x="7522" y="9423"/>
                    </a:cubicBezTo>
                    <a:cubicBezTo>
                      <a:pt x="7486" y="9457"/>
                      <a:pt x="7486" y="9457"/>
                      <a:pt x="7486" y="9457"/>
                    </a:cubicBezTo>
                    <a:cubicBezTo>
                      <a:pt x="7604" y="9583"/>
                      <a:pt x="7604" y="9583"/>
                      <a:pt x="7604" y="9583"/>
                    </a:cubicBezTo>
                    <a:cubicBezTo>
                      <a:pt x="7640" y="9548"/>
                      <a:pt x="7640" y="9548"/>
                      <a:pt x="7640" y="9548"/>
                    </a:cubicBezTo>
                    <a:lnTo>
                      <a:pt x="7587" y="9494"/>
                    </a:lnTo>
                    <a:close/>
                    <a:moveTo>
                      <a:pt x="7117" y="6976"/>
                    </a:moveTo>
                    <a:cubicBezTo>
                      <a:pt x="7267" y="6994"/>
                      <a:pt x="7267" y="6994"/>
                      <a:pt x="7267" y="6994"/>
                    </a:cubicBezTo>
                    <a:cubicBezTo>
                      <a:pt x="7258" y="7069"/>
                      <a:pt x="7258" y="7069"/>
                      <a:pt x="7258" y="7069"/>
                    </a:cubicBezTo>
                    <a:cubicBezTo>
                      <a:pt x="7252" y="7068"/>
                      <a:pt x="7252" y="7068"/>
                      <a:pt x="7252" y="7068"/>
                    </a:cubicBezTo>
                    <a:cubicBezTo>
                      <a:pt x="7108" y="7051"/>
                      <a:pt x="7108" y="7051"/>
                      <a:pt x="7108" y="7051"/>
                    </a:cubicBezTo>
                    <a:lnTo>
                      <a:pt x="7117" y="6976"/>
                    </a:lnTo>
                    <a:close/>
                    <a:moveTo>
                      <a:pt x="7122" y="7039"/>
                    </a:moveTo>
                    <a:cubicBezTo>
                      <a:pt x="7247" y="7054"/>
                      <a:pt x="7247" y="7054"/>
                      <a:pt x="7247" y="7054"/>
                    </a:cubicBezTo>
                    <a:cubicBezTo>
                      <a:pt x="7253" y="7005"/>
                      <a:pt x="7253" y="7005"/>
                      <a:pt x="7253" y="7005"/>
                    </a:cubicBezTo>
                    <a:cubicBezTo>
                      <a:pt x="7128" y="6990"/>
                      <a:pt x="7128" y="6990"/>
                      <a:pt x="7128" y="6990"/>
                    </a:cubicBezTo>
                    <a:lnTo>
                      <a:pt x="7122" y="7039"/>
                    </a:lnTo>
                    <a:close/>
                    <a:moveTo>
                      <a:pt x="7337" y="9661"/>
                    </a:moveTo>
                    <a:cubicBezTo>
                      <a:pt x="7406" y="9593"/>
                      <a:pt x="7406" y="9593"/>
                      <a:pt x="7406" y="9593"/>
                    </a:cubicBezTo>
                    <a:cubicBezTo>
                      <a:pt x="7505" y="9695"/>
                      <a:pt x="7505" y="9695"/>
                      <a:pt x="7505" y="9695"/>
                    </a:cubicBezTo>
                    <a:cubicBezTo>
                      <a:pt x="7452" y="9746"/>
                      <a:pt x="7452" y="9746"/>
                      <a:pt x="7452" y="9746"/>
                    </a:cubicBezTo>
                    <a:cubicBezTo>
                      <a:pt x="7505" y="9800"/>
                      <a:pt x="7505" y="9800"/>
                      <a:pt x="7505" y="9800"/>
                    </a:cubicBezTo>
                    <a:cubicBezTo>
                      <a:pt x="7451" y="9853"/>
                      <a:pt x="7451" y="9853"/>
                      <a:pt x="7451" y="9853"/>
                    </a:cubicBezTo>
                    <a:cubicBezTo>
                      <a:pt x="7446" y="9848"/>
                      <a:pt x="7446" y="9848"/>
                      <a:pt x="7446" y="9848"/>
                    </a:cubicBezTo>
                    <a:cubicBezTo>
                      <a:pt x="7314" y="9709"/>
                      <a:pt x="7314" y="9709"/>
                      <a:pt x="7314" y="9709"/>
                    </a:cubicBezTo>
                    <a:cubicBezTo>
                      <a:pt x="7350" y="9674"/>
                      <a:pt x="7350" y="9674"/>
                      <a:pt x="7350" y="9674"/>
                    </a:cubicBezTo>
                    <a:cubicBezTo>
                      <a:pt x="7342" y="9666"/>
                      <a:pt x="7342" y="9666"/>
                      <a:pt x="7342" y="9666"/>
                    </a:cubicBezTo>
                    <a:lnTo>
                      <a:pt x="7337" y="9661"/>
                    </a:lnTo>
                    <a:close/>
                    <a:moveTo>
                      <a:pt x="7356" y="9661"/>
                    </a:moveTo>
                    <a:cubicBezTo>
                      <a:pt x="7364" y="9670"/>
                      <a:pt x="7364" y="9670"/>
                      <a:pt x="7364" y="9670"/>
                    </a:cubicBezTo>
                    <a:cubicBezTo>
                      <a:pt x="7368" y="9674"/>
                      <a:pt x="7368" y="9674"/>
                      <a:pt x="7368" y="9674"/>
                    </a:cubicBezTo>
                    <a:cubicBezTo>
                      <a:pt x="7333" y="9709"/>
                      <a:pt x="7333" y="9709"/>
                      <a:pt x="7333" y="9709"/>
                    </a:cubicBezTo>
                    <a:cubicBezTo>
                      <a:pt x="7451" y="9834"/>
                      <a:pt x="7451" y="9834"/>
                      <a:pt x="7451" y="9834"/>
                    </a:cubicBezTo>
                    <a:cubicBezTo>
                      <a:pt x="7487" y="9800"/>
                      <a:pt x="7487" y="9800"/>
                      <a:pt x="7487" y="9800"/>
                    </a:cubicBezTo>
                    <a:cubicBezTo>
                      <a:pt x="7434" y="9745"/>
                      <a:pt x="7434" y="9745"/>
                      <a:pt x="7434" y="9745"/>
                    </a:cubicBezTo>
                    <a:cubicBezTo>
                      <a:pt x="7486" y="9694"/>
                      <a:pt x="7486" y="9694"/>
                      <a:pt x="7486" y="9694"/>
                    </a:cubicBezTo>
                    <a:cubicBezTo>
                      <a:pt x="7406" y="9612"/>
                      <a:pt x="7406" y="9612"/>
                      <a:pt x="7406" y="9612"/>
                    </a:cubicBezTo>
                    <a:lnTo>
                      <a:pt x="7356" y="9661"/>
                    </a:lnTo>
                    <a:close/>
                    <a:moveTo>
                      <a:pt x="8480" y="9436"/>
                    </a:moveTo>
                    <a:cubicBezTo>
                      <a:pt x="8796" y="9620"/>
                      <a:pt x="8796" y="9620"/>
                      <a:pt x="8796" y="9620"/>
                    </a:cubicBezTo>
                    <a:cubicBezTo>
                      <a:pt x="8740" y="9715"/>
                      <a:pt x="8740" y="9715"/>
                      <a:pt x="8740" y="9715"/>
                    </a:cubicBezTo>
                    <a:cubicBezTo>
                      <a:pt x="8679" y="9679"/>
                      <a:pt x="8679" y="9679"/>
                      <a:pt x="8679" y="9679"/>
                    </a:cubicBezTo>
                    <a:cubicBezTo>
                      <a:pt x="8578" y="9869"/>
                      <a:pt x="8578" y="9869"/>
                      <a:pt x="8578" y="9869"/>
                    </a:cubicBezTo>
                    <a:cubicBezTo>
                      <a:pt x="8632" y="9904"/>
                      <a:pt x="8632" y="9904"/>
                      <a:pt x="8632" y="9904"/>
                    </a:cubicBezTo>
                    <a:cubicBezTo>
                      <a:pt x="8530" y="10085"/>
                      <a:pt x="8530" y="10085"/>
                      <a:pt x="8530" y="10085"/>
                    </a:cubicBezTo>
                    <a:cubicBezTo>
                      <a:pt x="8410" y="10019"/>
                      <a:pt x="8410" y="10019"/>
                      <a:pt x="8410" y="10019"/>
                    </a:cubicBezTo>
                    <a:cubicBezTo>
                      <a:pt x="8544" y="9786"/>
                      <a:pt x="8544" y="9786"/>
                      <a:pt x="8544" y="9786"/>
                    </a:cubicBezTo>
                    <a:cubicBezTo>
                      <a:pt x="8421" y="9714"/>
                      <a:pt x="8421" y="9714"/>
                      <a:pt x="8421" y="9714"/>
                    </a:cubicBezTo>
                    <a:cubicBezTo>
                      <a:pt x="8287" y="9947"/>
                      <a:pt x="8287" y="9947"/>
                      <a:pt x="8287" y="9947"/>
                    </a:cubicBezTo>
                    <a:cubicBezTo>
                      <a:pt x="8209" y="9900"/>
                      <a:pt x="8209" y="9900"/>
                      <a:pt x="8209" y="9900"/>
                    </a:cubicBezTo>
                    <a:cubicBezTo>
                      <a:pt x="8370" y="9626"/>
                      <a:pt x="8370" y="9626"/>
                      <a:pt x="8370" y="9626"/>
                    </a:cubicBezTo>
                    <a:cubicBezTo>
                      <a:pt x="8308" y="9591"/>
                      <a:pt x="8308" y="9591"/>
                      <a:pt x="8308" y="9591"/>
                    </a:cubicBezTo>
                    <a:cubicBezTo>
                      <a:pt x="8228" y="9728"/>
                      <a:pt x="8228" y="9728"/>
                      <a:pt x="8228" y="9728"/>
                    </a:cubicBezTo>
                    <a:cubicBezTo>
                      <a:pt x="8161" y="9690"/>
                      <a:pt x="8161" y="9690"/>
                      <a:pt x="8161" y="9690"/>
                    </a:cubicBezTo>
                    <a:cubicBezTo>
                      <a:pt x="8240" y="9546"/>
                      <a:pt x="8240" y="9546"/>
                      <a:pt x="8240" y="9546"/>
                    </a:cubicBezTo>
                    <a:cubicBezTo>
                      <a:pt x="8182" y="9515"/>
                      <a:pt x="8182" y="9515"/>
                      <a:pt x="8182" y="9515"/>
                    </a:cubicBezTo>
                    <a:cubicBezTo>
                      <a:pt x="8240" y="9425"/>
                      <a:pt x="8240" y="9425"/>
                      <a:pt x="8240" y="9425"/>
                    </a:cubicBezTo>
                    <a:cubicBezTo>
                      <a:pt x="8246" y="9428"/>
                      <a:pt x="8246" y="9428"/>
                      <a:pt x="8246" y="9428"/>
                    </a:cubicBezTo>
                    <a:cubicBezTo>
                      <a:pt x="8422" y="9524"/>
                      <a:pt x="8422" y="9524"/>
                      <a:pt x="8422" y="9524"/>
                    </a:cubicBezTo>
                    <a:lnTo>
                      <a:pt x="8480" y="9436"/>
                    </a:lnTo>
                    <a:close/>
                    <a:moveTo>
                      <a:pt x="8485" y="9456"/>
                    </a:moveTo>
                    <a:cubicBezTo>
                      <a:pt x="8427" y="9544"/>
                      <a:pt x="8427" y="9544"/>
                      <a:pt x="8427" y="9544"/>
                    </a:cubicBezTo>
                    <a:cubicBezTo>
                      <a:pt x="8245" y="9445"/>
                      <a:pt x="8245" y="9445"/>
                      <a:pt x="8245" y="9445"/>
                    </a:cubicBezTo>
                    <a:cubicBezTo>
                      <a:pt x="8203" y="9509"/>
                      <a:pt x="8203" y="9509"/>
                      <a:pt x="8203" y="9509"/>
                    </a:cubicBezTo>
                    <a:cubicBezTo>
                      <a:pt x="8260" y="9540"/>
                      <a:pt x="8260" y="9540"/>
                      <a:pt x="8260" y="9540"/>
                    </a:cubicBezTo>
                    <a:cubicBezTo>
                      <a:pt x="8181" y="9685"/>
                      <a:pt x="8181" y="9685"/>
                      <a:pt x="8181" y="9685"/>
                    </a:cubicBezTo>
                    <a:cubicBezTo>
                      <a:pt x="8222" y="9708"/>
                      <a:pt x="8222" y="9708"/>
                      <a:pt x="8222" y="9708"/>
                    </a:cubicBezTo>
                    <a:cubicBezTo>
                      <a:pt x="8303" y="9571"/>
                      <a:pt x="8303" y="9571"/>
                      <a:pt x="8303" y="9571"/>
                    </a:cubicBezTo>
                    <a:cubicBezTo>
                      <a:pt x="8390" y="9620"/>
                      <a:pt x="8390" y="9620"/>
                      <a:pt x="8390" y="9620"/>
                    </a:cubicBezTo>
                    <a:cubicBezTo>
                      <a:pt x="8229" y="9895"/>
                      <a:pt x="8229" y="9895"/>
                      <a:pt x="8229" y="9895"/>
                    </a:cubicBezTo>
                    <a:cubicBezTo>
                      <a:pt x="8281" y="9927"/>
                      <a:pt x="8281" y="9927"/>
                      <a:pt x="8281" y="9927"/>
                    </a:cubicBezTo>
                    <a:cubicBezTo>
                      <a:pt x="8416" y="9693"/>
                      <a:pt x="8416" y="9693"/>
                      <a:pt x="8416" y="9693"/>
                    </a:cubicBezTo>
                    <a:cubicBezTo>
                      <a:pt x="8564" y="9780"/>
                      <a:pt x="8564" y="9780"/>
                      <a:pt x="8564" y="9780"/>
                    </a:cubicBezTo>
                    <a:cubicBezTo>
                      <a:pt x="8430" y="10013"/>
                      <a:pt x="8430" y="10013"/>
                      <a:pt x="8430" y="10013"/>
                    </a:cubicBezTo>
                    <a:cubicBezTo>
                      <a:pt x="8524" y="10065"/>
                      <a:pt x="8524" y="10065"/>
                      <a:pt x="8524" y="10065"/>
                    </a:cubicBezTo>
                    <a:cubicBezTo>
                      <a:pt x="8612" y="9909"/>
                      <a:pt x="8612" y="9909"/>
                      <a:pt x="8612" y="9909"/>
                    </a:cubicBezTo>
                    <a:cubicBezTo>
                      <a:pt x="8558" y="9874"/>
                      <a:pt x="8558" y="9874"/>
                      <a:pt x="8558" y="9874"/>
                    </a:cubicBezTo>
                    <a:cubicBezTo>
                      <a:pt x="8673" y="9658"/>
                      <a:pt x="8673" y="9658"/>
                      <a:pt x="8673" y="9658"/>
                    </a:cubicBezTo>
                    <a:cubicBezTo>
                      <a:pt x="8735" y="9695"/>
                      <a:pt x="8735" y="9695"/>
                      <a:pt x="8735" y="9695"/>
                    </a:cubicBezTo>
                    <a:cubicBezTo>
                      <a:pt x="8776" y="9625"/>
                      <a:pt x="8776" y="9625"/>
                      <a:pt x="8776" y="9625"/>
                    </a:cubicBezTo>
                    <a:lnTo>
                      <a:pt x="8485" y="9456"/>
                    </a:lnTo>
                    <a:close/>
                    <a:moveTo>
                      <a:pt x="5714" y="6915"/>
                    </a:moveTo>
                    <a:cubicBezTo>
                      <a:pt x="5570" y="6897"/>
                      <a:pt x="5570" y="6897"/>
                      <a:pt x="5570" y="6897"/>
                    </a:cubicBezTo>
                    <a:cubicBezTo>
                      <a:pt x="5579" y="6822"/>
                      <a:pt x="5579" y="6822"/>
                      <a:pt x="5579" y="6822"/>
                    </a:cubicBezTo>
                    <a:cubicBezTo>
                      <a:pt x="5730" y="6841"/>
                      <a:pt x="5730" y="6841"/>
                      <a:pt x="5730" y="6841"/>
                    </a:cubicBezTo>
                    <a:cubicBezTo>
                      <a:pt x="5721" y="6916"/>
                      <a:pt x="5721" y="6916"/>
                      <a:pt x="5721" y="6916"/>
                    </a:cubicBezTo>
                    <a:lnTo>
                      <a:pt x="5714" y="6915"/>
                    </a:lnTo>
                    <a:close/>
                    <a:moveTo>
                      <a:pt x="5709" y="6901"/>
                    </a:moveTo>
                    <a:cubicBezTo>
                      <a:pt x="5715" y="6852"/>
                      <a:pt x="5715" y="6852"/>
                      <a:pt x="5715" y="6852"/>
                    </a:cubicBezTo>
                    <a:cubicBezTo>
                      <a:pt x="5591" y="6837"/>
                      <a:pt x="5591" y="6837"/>
                      <a:pt x="5591" y="6837"/>
                    </a:cubicBezTo>
                    <a:cubicBezTo>
                      <a:pt x="5585" y="6886"/>
                      <a:pt x="5585" y="6886"/>
                      <a:pt x="5585" y="6886"/>
                    </a:cubicBezTo>
                    <a:lnTo>
                      <a:pt x="5709" y="6901"/>
                    </a:lnTo>
                    <a:close/>
                    <a:moveTo>
                      <a:pt x="4690" y="10804"/>
                    </a:moveTo>
                    <a:cubicBezTo>
                      <a:pt x="4692" y="10821"/>
                      <a:pt x="4692" y="10821"/>
                      <a:pt x="4692" y="10821"/>
                    </a:cubicBezTo>
                    <a:cubicBezTo>
                      <a:pt x="4705" y="10821"/>
                      <a:pt x="4705" y="10821"/>
                      <a:pt x="4705" y="10821"/>
                    </a:cubicBezTo>
                    <a:cubicBezTo>
                      <a:pt x="4705" y="10815"/>
                      <a:pt x="4705" y="10815"/>
                      <a:pt x="4705" y="10815"/>
                    </a:cubicBezTo>
                    <a:cubicBezTo>
                      <a:pt x="4782" y="10804"/>
                      <a:pt x="4782" y="10804"/>
                      <a:pt x="4782" y="10804"/>
                    </a:cubicBezTo>
                    <a:cubicBezTo>
                      <a:pt x="4785" y="10821"/>
                      <a:pt x="4785" y="10821"/>
                      <a:pt x="4785" y="10821"/>
                    </a:cubicBezTo>
                    <a:cubicBezTo>
                      <a:pt x="4798" y="10821"/>
                      <a:pt x="4798" y="10821"/>
                      <a:pt x="4798" y="10821"/>
                    </a:cubicBezTo>
                    <a:cubicBezTo>
                      <a:pt x="4793" y="10790"/>
                      <a:pt x="4793" y="10790"/>
                      <a:pt x="4793" y="10790"/>
                    </a:cubicBezTo>
                    <a:lnTo>
                      <a:pt x="4690" y="10804"/>
                    </a:lnTo>
                    <a:close/>
                    <a:moveTo>
                      <a:pt x="5650" y="6465"/>
                    </a:moveTo>
                    <a:cubicBezTo>
                      <a:pt x="5801" y="6483"/>
                      <a:pt x="5801" y="6483"/>
                      <a:pt x="5801" y="6483"/>
                    </a:cubicBezTo>
                    <a:cubicBezTo>
                      <a:pt x="5792" y="6558"/>
                      <a:pt x="5792" y="6558"/>
                      <a:pt x="5792" y="6558"/>
                    </a:cubicBezTo>
                    <a:cubicBezTo>
                      <a:pt x="5785" y="6558"/>
                      <a:pt x="5785" y="6558"/>
                      <a:pt x="5785" y="6558"/>
                    </a:cubicBezTo>
                    <a:cubicBezTo>
                      <a:pt x="5641" y="6540"/>
                      <a:pt x="5641" y="6540"/>
                      <a:pt x="5641" y="6540"/>
                    </a:cubicBezTo>
                    <a:lnTo>
                      <a:pt x="5650" y="6465"/>
                    </a:lnTo>
                    <a:close/>
                    <a:moveTo>
                      <a:pt x="5656" y="6529"/>
                    </a:moveTo>
                    <a:cubicBezTo>
                      <a:pt x="5780" y="6544"/>
                      <a:pt x="5780" y="6544"/>
                      <a:pt x="5780" y="6544"/>
                    </a:cubicBezTo>
                    <a:cubicBezTo>
                      <a:pt x="5786" y="6495"/>
                      <a:pt x="5786" y="6495"/>
                      <a:pt x="5786" y="6495"/>
                    </a:cubicBezTo>
                    <a:cubicBezTo>
                      <a:pt x="5662" y="6479"/>
                      <a:pt x="5662" y="6479"/>
                      <a:pt x="5662" y="6479"/>
                    </a:cubicBezTo>
                    <a:lnTo>
                      <a:pt x="5656" y="6529"/>
                    </a:lnTo>
                    <a:close/>
                    <a:moveTo>
                      <a:pt x="5614" y="6639"/>
                    </a:moveTo>
                    <a:cubicBezTo>
                      <a:pt x="5764" y="6658"/>
                      <a:pt x="5764" y="6658"/>
                      <a:pt x="5764" y="6658"/>
                    </a:cubicBezTo>
                    <a:cubicBezTo>
                      <a:pt x="5755" y="6733"/>
                      <a:pt x="5755" y="6733"/>
                      <a:pt x="5755" y="6733"/>
                    </a:cubicBezTo>
                    <a:cubicBezTo>
                      <a:pt x="5748" y="6732"/>
                      <a:pt x="5748" y="6732"/>
                      <a:pt x="5748" y="6732"/>
                    </a:cubicBezTo>
                    <a:cubicBezTo>
                      <a:pt x="5604" y="6714"/>
                      <a:pt x="5604" y="6714"/>
                      <a:pt x="5604" y="6714"/>
                    </a:cubicBezTo>
                    <a:lnTo>
                      <a:pt x="5614" y="6639"/>
                    </a:lnTo>
                    <a:close/>
                    <a:moveTo>
                      <a:pt x="5619" y="6703"/>
                    </a:moveTo>
                    <a:cubicBezTo>
                      <a:pt x="5743" y="6718"/>
                      <a:pt x="5743" y="6718"/>
                      <a:pt x="5743" y="6718"/>
                    </a:cubicBezTo>
                    <a:cubicBezTo>
                      <a:pt x="5749" y="6669"/>
                      <a:pt x="5749" y="6669"/>
                      <a:pt x="5749" y="6669"/>
                    </a:cubicBezTo>
                    <a:cubicBezTo>
                      <a:pt x="5625" y="6654"/>
                      <a:pt x="5625" y="6654"/>
                      <a:pt x="5625" y="6654"/>
                    </a:cubicBezTo>
                    <a:lnTo>
                      <a:pt x="5619" y="6703"/>
                    </a:lnTo>
                    <a:close/>
                    <a:moveTo>
                      <a:pt x="5317" y="10776"/>
                    </a:moveTo>
                    <a:cubicBezTo>
                      <a:pt x="5363" y="10767"/>
                      <a:pt x="5363" y="10767"/>
                      <a:pt x="5363" y="10767"/>
                    </a:cubicBezTo>
                    <a:cubicBezTo>
                      <a:pt x="5347" y="10689"/>
                      <a:pt x="5347" y="10689"/>
                      <a:pt x="5347" y="10689"/>
                    </a:cubicBezTo>
                    <a:cubicBezTo>
                      <a:pt x="5346" y="10682"/>
                      <a:pt x="5346" y="10682"/>
                      <a:pt x="5346" y="10682"/>
                    </a:cubicBezTo>
                    <a:cubicBezTo>
                      <a:pt x="5139" y="10723"/>
                      <a:pt x="5139" y="10723"/>
                      <a:pt x="5139" y="10723"/>
                    </a:cubicBezTo>
                    <a:cubicBezTo>
                      <a:pt x="5156" y="10808"/>
                      <a:pt x="5156" y="10808"/>
                      <a:pt x="5156" y="10808"/>
                    </a:cubicBezTo>
                    <a:cubicBezTo>
                      <a:pt x="5202" y="10799"/>
                      <a:pt x="5202" y="10799"/>
                      <a:pt x="5202" y="10799"/>
                    </a:cubicBezTo>
                    <a:cubicBezTo>
                      <a:pt x="5207" y="10821"/>
                      <a:pt x="5207" y="10821"/>
                      <a:pt x="5207" y="10821"/>
                    </a:cubicBezTo>
                    <a:cubicBezTo>
                      <a:pt x="5220" y="10821"/>
                      <a:pt x="5220" y="10821"/>
                      <a:pt x="5220" y="10821"/>
                    </a:cubicBezTo>
                    <a:cubicBezTo>
                      <a:pt x="5212" y="10783"/>
                      <a:pt x="5212" y="10783"/>
                      <a:pt x="5212" y="10783"/>
                    </a:cubicBezTo>
                    <a:cubicBezTo>
                      <a:pt x="5166" y="10793"/>
                      <a:pt x="5166" y="10793"/>
                      <a:pt x="5166" y="10793"/>
                    </a:cubicBezTo>
                    <a:cubicBezTo>
                      <a:pt x="5155" y="10734"/>
                      <a:pt x="5155" y="10734"/>
                      <a:pt x="5155" y="10734"/>
                    </a:cubicBezTo>
                    <a:cubicBezTo>
                      <a:pt x="5335" y="10698"/>
                      <a:pt x="5335" y="10698"/>
                      <a:pt x="5335" y="10698"/>
                    </a:cubicBezTo>
                    <a:cubicBezTo>
                      <a:pt x="5347" y="10756"/>
                      <a:pt x="5347" y="10756"/>
                      <a:pt x="5347" y="10756"/>
                    </a:cubicBezTo>
                    <a:cubicBezTo>
                      <a:pt x="5301" y="10766"/>
                      <a:pt x="5301" y="10766"/>
                      <a:pt x="5301" y="10766"/>
                    </a:cubicBezTo>
                    <a:cubicBezTo>
                      <a:pt x="5310" y="10808"/>
                      <a:pt x="5310" y="10808"/>
                      <a:pt x="5310" y="10808"/>
                    </a:cubicBezTo>
                    <a:cubicBezTo>
                      <a:pt x="5243" y="10821"/>
                      <a:pt x="5243" y="10821"/>
                      <a:pt x="5243" y="10821"/>
                    </a:cubicBezTo>
                    <a:cubicBezTo>
                      <a:pt x="5311" y="10821"/>
                      <a:pt x="5311" y="10821"/>
                      <a:pt x="5311" y="10821"/>
                    </a:cubicBezTo>
                    <a:cubicBezTo>
                      <a:pt x="5325" y="10818"/>
                      <a:pt x="5325" y="10818"/>
                      <a:pt x="5325" y="10818"/>
                    </a:cubicBezTo>
                    <a:lnTo>
                      <a:pt x="5317" y="10776"/>
                    </a:lnTo>
                    <a:close/>
                    <a:moveTo>
                      <a:pt x="7244" y="10806"/>
                    </a:moveTo>
                    <a:cubicBezTo>
                      <a:pt x="7189" y="10789"/>
                      <a:pt x="7189" y="10789"/>
                      <a:pt x="7189" y="10789"/>
                    </a:cubicBezTo>
                    <a:cubicBezTo>
                      <a:pt x="7210" y="10715"/>
                      <a:pt x="7210" y="10715"/>
                      <a:pt x="7210" y="10715"/>
                    </a:cubicBezTo>
                    <a:cubicBezTo>
                      <a:pt x="7105" y="10685"/>
                      <a:pt x="7105" y="10685"/>
                      <a:pt x="7105" y="10685"/>
                    </a:cubicBezTo>
                    <a:cubicBezTo>
                      <a:pt x="7067" y="10821"/>
                      <a:pt x="7067" y="10821"/>
                      <a:pt x="7067" y="10821"/>
                    </a:cubicBezTo>
                    <a:cubicBezTo>
                      <a:pt x="7081" y="10821"/>
                      <a:pt x="7081" y="10821"/>
                      <a:pt x="7081" y="10821"/>
                    </a:cubicBezTo>
                    <a:cubicBezTo>
                      <a:pt x="7114" y="10701"/>
                      <a:pt x="7114" y="10701"/>
                      <a:pt x="7114" y="10701"/>
                    </a:cubicBezTo>
                    <a:cubicBezTo>
                      <a:pt x="7194" y="10724"/>
                      <a:pt x="7194" y="10724"/>
                      <a:pt x="7194" y="10724"/>
                    </a:cubicBezTo>
                    <a:cubicBezTo>
                      <a:pt x="7172" y="10797"/>
                      <a:pt x="7172" y="10797"/>
                      <a:pt x="7172" y="10797"/>
                    </a:cubicBezTo>
                    <a:cubicBezTo>
                      <a:pt x="7228" y="10815"/>
                      <a:pt x="7228" y="10815"/>
                      <a:pt x="7228" y="10815"/>
                    </a:cubicBezTo>
                    <a:cubicBezTo>
                      <a:pt x="7226" y="10821"/>
                      <a:pt x="7226" y="10821"/>
                      <a:pt x="7226" y="10821"/>
                    </a:cubicBezTo>
                    <a:cubicBezTo>
                      <a:pt x="7240" y="10821"/>
                      <a:pt x="7240" y="10821"/>
                      <a:pt x="7240" y="10821"/>
                    </a:cubicBezTo>
                    <a:cubicBezTo>
                      <a:pt x="7242" y="10812"/>
                      <a:pt x="7242" y="10812"/>
                      <a:pt x="7242" y="10812"/>
                    </a:cubicBezTo>
                    <a:lnTo>
                      <a:pt x="7244" y="10806"/>
                    </a:lnTo>
                    <a:close/>
                    <a:moveTo>
                      <a:pt x="5856" y="6859"/>
                    </a:moveTo>
                    <a:cubicBezTo>
                      <a:pt x="6006" y="6878"/>
                      <a:pt x="6006" y="6878"/>
                      <a:pt x="6006" y="6878"/>
                    </a:cubicBezTo>
                    <a:cubicBezTo>
                      <a:pt x="5997" y="6953"/>
                      <a:pt x="5997" y="6953"/>
                      <a:pt x="5997" y="6953"/>
                    </a:cubicBezTo>
                    <a:cubicBezTo>
                      <a:pt x="5991" y="6952"/>
                      <a:pt x="5991" y="6952"/>
                      <a:pt x="5991" y="6952"/>
                    </a:cubicBezTo>
                    <a:cubicBezTo>
                      <a:pt x="5847" y="6934"/>
                      <a:pt x="5847" y="6934"/>
                      <a:pt x="5847" y="6934"/>
                    </a:cubicBezTo>
                    <a:lnTo>
                      <a:pt x="5856" y="6859"/>
                    </a:lnTo>
                    <a:close/>
                    <a:moveTo>
                      <a:pt x="5861" y="6923"/>
                    </a:moveTo>
                    <a:cubicBezTo>
                      <a:pt x="5986" y="6938"/>
                      <a:pt x="5986" y="6938"/>
                      <a:pt x="5986" y="6938"/>
                    </a:cubicBezTo>
                    <a:cubicBezTo>
                      <a:pt x="5992" y="6889"/>
                      <a:pt x="5992" y="6889"/>
                      <a:pt x="5992" y="6889"/>
                    </a:cubicBezTo>
                    <a:cubicBezTo>
                      <a:pt x="5867" y="6874"/>
                      <a:pt x="5867" y="6874"/>
                      <a:pt x="5867" y="6874"/>
                    </a:cubicBezTo>
                    <a:lnTo>
                      <a:pt x="5861" y="6923"/>
                    </a:lnTo>
                    <a:close/>
                    <a:moveTo>
                      <a:pt x="5456" y="10821"/>
                    </a:moveTo>
                    <a:cubicBezTo>
                      <a:pt x="5525" y="10821"/>
                      <a:pt x="5525" y="10821"/>
                      <a:pt x="5525" y="10821"/>
                    </a:cubicBezTo>
                    <a:cubicBezTo>
                      <a:pt x="5541" y="10818"/>
                      <a:pt x="5550" y="10816"/>
                      <a:pt x="5551" y="10816"/>
                    </a:cubicBezTo>
                    <a:cubicBezTo>
                      <a:pt x="5553" y="10816"/>
                      <a:pt x="5582" y="10818"/>
                      <a:pt x="5623" y="10821"/>
                    </a:cubicBezTo>
                    <a:cubicBezTo>
                      <a:pt x="5810" y="10821"/>
                      <a:pt x="5810" y="10821"/>
                      <a:pt x="5810" y="10821"/>
                    </a:cubicBezTo>
                    <a:cubicBezTo>
                      <a:pt x="5706" y="10813"/>
                      <a:pt x="5557" y="10802"/>
                      <a:pt x="5551" y="10802"/>
                    </a:cubicBezTo>
                    <a:cubicBezTo>
                      <a:pt x="5548" y="10802"/>
                      <a:pt x="5510" y="10810"/>
                      <a:pt x="5456" y="10821"/>
                    </a:cubicBezTo>
                    <a:close/>
                    <a:moveTo>
                      <a:pt x="5684" y="7087"/>
                    </a:moveTo>
                    <a:cubicBezTo>
                      <a:pt x="5540" y="7069"/>
                      <a:pt x="5540" y="7069"/>
                      <a:pt x="5540" y="7069"/>
                    </a:cubicBezTo>
                    <a:cubicBezTo>
                      <a:pt x="5550" y="6994"/>
                      <a:pt x="5550" y="6994"/>
                      <a:pt x="5550" y="6994"/>
                    </a:cubicBezTo>
                    <a:cubicBezTo>
                      <a:pt x="5700" y="7012"/>
                      <a:pt x="5700" y="7012"/>
                      <a:pt x="5700" y="7012"/>
                    </a:cubicBezTo>
                    <a:cubicBezTo>
                      <a:pt x="5691" y="7088"/>
                      <a:pt x="5691" y="7088"/>
                      <a:pt x="5691" y="7088"/>
                    </a:cubicBezTo>
                    <a:lnTo>
                      <a:pt x="5684" y="7087"/>
                    </a:lnTo>
                    <a:close/>
                    <a:moveTo>
                      <a:pt x="5679" y="7073"/>
                    </a:moveTo>
                    <a:cubicBezTo>
                      <a:pt x="5685" y="7024"/>
                      <a:pt x="5685" y="7024"/>
                      <a:pt x="5685" y="7024"/>
                    </a:cubicBezTo>
                    <a:cubicBezTo>
                      <a:pt x="5561" y="7008"/>
                      <a:pt x="5561" y="7008"/>
                      <a:pt x="5561" y="7008"/>
                    </a:cubicBezTo>
                    <a:cubicBezTo>
                      <a:pt x="5555" y="7058"/>
                      <a:pt x="5555" y="7058"/>
                      <a:pt x="5555" y="7058"/>
                    </a:cubicBezTo>
                    <a:lnTo>
                      <a:pt x="5679" y="7073"/>
                    </a:lnTo>
                    <a:close/>
                    <a:moveTo>
                      <a:pt x="5206" y="8860"/>
                    </a:moveTo>
                    <a:cubicBezTo>
                      <a:pt x="5230" y="8961"/>
                      <a:pt x="5230" y="8961"/>
                      <a:pt x="5230" y="8961"/>
                    </a:cubicBezTo>
                    <a:cubicBezTo>
                      <a:pt x="5086" y="8995"/>
                      <a:pt x="5086" y="8995"/>
                      <a:pt x="5086" y="8995"/>
                    </a:cubicBezTo>
                    <a:cubicBezTo>
                      <a:pt x="5085" y="8989"/>
                      <a:pt x="5085" y="8989"/>
                      <a:pt x="5085" y="8989"/>
                    </a:cubicBezTo>
                    <a:cubicBezTo>
                      <a:pt x="5062" y="8894"/>
                      <a:pt x="5062" y="8894"/>
                      <a:pt x="5062" y="8894"/>
                    </a:cubicBezTo>
                    <a:lnTo>
                      <a:pt x="5206" y="8860"/>
                    </a:lnTo>
                    <a:close/>
                    <a:moveTo>
                      <a:pt x="5215" y="8952"/>
                    </a:moveTo>
                    <a:cubicBezTo>
                      <a:pt x="5196" y="8875"/>
                      <a:pt x="5196" y="8875"/>
                      <a:pt x="5196" y="8875"/>
                    </a:cubicBezTo>
                    <a:cubicBezTo>
                      <a:pt x="5078" y="8904"/>
                      <a:pt x="5078" y="8904"/>
                      <a:pt x="5078" y="8904"/>
                    </a:cubicBezTo>
                    <a:cubicBezTo>
                      <a:pt x="5096" y="8980"/>
                      <a:pt x="5096" y="8980"/>
                      <a:pt x="5096" y="8980"/>
                    </a:cubicBezTo>
                    <a:lnTo>
                      <a:pt x="5215" y="8952"/>
                    </a:lnTo>
                    <a:close/>
                    <a:moveTo>
                      <a:pt x="4501" y="8304"/>
                    </a:moveTo>
                    <a:cubicBezTo>
                      <a:pt x="4515" y="8451"/>
                      <a:pt x="4515" y="8451"/>
                      <a:pt x="4515" y="8451"/>
                    </a:cubicBezTo>
                    <a:cubicBezTo>
                      <a:pt x="4508" y="8451"/>
                      <a:pt x="4508" y="8451"/>
                      <a:pt x="4508" y="8451"/>
                    </a:cubicBezTo>
                    <a:cubicBezTo>
                      <a:pt x="4411" y="8461"/>
                      <a:pt x="4411" y="8461"/>
                      <a:pt x="4411" y="8461"/>
                    </a:cubicBezTo>
                    <a:cubicBezTo>
                      <a:pt x="4397" y="8313"/>
                      <a:pt x="4397" y="8313"/>
                      <a:pt x="4397" y="8313"/>
                    </a:cubicBezTo>
                    <a:lnTo>
                      <a:pt x="4501" y="8304"/>
                    </a:lnTo>
                    <a:close/>
                    <a:moveTo>
                      <a:pt x="4501" y="8439"/>
                    </a:moveTo>
                    <a:cubicBezTo>
                      <a:pt x="4489" y="8318"/>
                      <a:pt x="4489" y="8318"/>
                      <a:pt x="4489" y="8318"/>
                    </a:cubicBezTo>
                    <a:cubicBezTo>
                      <a:pt x="4411" y="8325"/>
                      <a:pt x="4411" y="8325"/>
                      <a:pt x="4411" y="8325"/>
                    </a:cubicBezTo>
                    <a:cubicBezTo>
                      <a:pt x="4422" y="8447"/>
                      <a:pt x="4422" y="8447"/>
                      <a:pt x="4422" y="8447"/>
                    </a:cubicBezTo>
                    <a:lnTo>
                      <a:pt x="4501" y="8439"/>
                    </a:lnTo>
                    <a:close/>
                    <a:moveTo>
                      <a:pt x="4399" y="8647"/>
                    </a:moveTo>
                    <a:cubicBezTo>
                      <a:pt x="4416" y="8707"/>
                      <a:pt x="4416" y="8707"/>
                      <a:pt x="4416" y="8707"/>
                    </a:cubicBezTo>
                    <a:cubicBezTo>
                      <a:pt x="4092" y="8911"/>
                      <a:pt x="4092" y="8911"/>
                      <a:pt x="4092" y="8911"/>
                    </a:cubicBezTo>
                    <a:cubicBezTo>
                      <a:pt x="4014" y="8748"/>
                      <a:pt x="4014" y="8748"/>
                      <a:pt x="4014" y="8748"/>
                    </a:cubicBezTo>
                    <a:cubicBezTo>
                      <a:pt x="4071" y="8716"/>
                      <a:pt x="4071" y="8716"/>
                      <a:pt x="4071" y="8716"/>
                    </a:cubicBezTo>
                    <a:cubicBezTo>
                      <a:pt x="4062" y="8696"/>
                      <a:pt x="4062" y="8696"/>
                      <a:pt x="4062" y="8696"/>
                    </a:cubicBezTo>
                    <a:cubicBezTo>
                      <a:pt x="3980" y="8676"/>
                      <a:pt x="3980" y="8676"/>
                      <a:pt x="3980" y="8676"/>
                    </a:cubicBezTo>
                    <a:cubicBezTo>
                      <a:pt x="3888" y="8453"/>
                      <a:pt x="3888" y="8453"/>
                      <a:pt x="3888" y="8453"/>
                    </a:cubicBezTo>
                    <a:cubicBezTo>
                      <a:pt x="4017" y="8403"/>
                      <a:pt x="4017" y="8403"/>
                      <a:pt x="4017" y="8403"/>
                    </a:cubicBezTo>
                    <a:cubicBezTo>
                      <a:pt x="4122" y="8431"/>
                      <a:pt x="4122" y="8431"/>
                      <a:pt x="4122" y="8431"/>
                    </a:cubicBezTo>
                    <a:cubicBezTo>
                      <a:pt x="4153" y="8423"/>
                      <a:pt x="4153" y="8423"/>
                      <a:pt x="4153" y="8423"/>
                    </a:cubicBezTo>
                    <a:cubicBezTo>
                      <a:pt x="4136" y="8369"/>
                      <a:pt x="4136" y="8369"/>
                      <a:pt x="4136" y="8369"/>
                    </a:cubicBezTo>
                    <a:cubicBezTo>
                      <a:pt x="4312" y="8330"/>
                      <a:pt x="4312" y="8330"/>
                      <a:pt x="4312" y="8330"/>
                    </a:cubicBezTo>
                    <a:cubicBezTo>
                      <a:pt x="4313" y="8338"/>
                      <a:pt x="4313" y="8338"/>
                      <a:pt x="4313" y="8338"/>
                    </a:cubicBezTo>
                    <a:cubicBezTo>
                      <a:pt x="4335" y="8449"/>
                      <a:pt x="4335" y="8449"/>
                      <a:pt x="4335" y="8449"/>
                    </a:cubicBezTo>
                    <a:cubicBezTo>
                      <a:pt x="4356" y="8648"/>
                      <a:pt x="4356" y="8648"/>
                      <a:pt x="4356" y="8648"/>
                    </a:cubicBezTo>
                    <a:lnTo>
                      <a:pt x="4399" y="8647"/>
                    </a:lnTo>
                    <a:close/>
                    <a:moveTo>
                      <a:pt x="4399" y="8700"/>
                    </a:moveTo>
                    <a:cubicBezTo>
                      <a:pt x="4388" y="8662"/>
                      <a:pt x="4388" y="8662"/>
                      <a:pt x="4388" y="8662"/>
                    </a:cubicBezTo>
                    <a:cubicBezTo>
                      <a:pt x="4343" y="8663"/>
                      <a:pt x="4343" y="8663"/>
                      <a:pt x="4343" y="8663"/>
                    </a:cubicBezTo>
                    <a:cubicBezTo>
                      <a:pt x="4320" y="8452"/>
                      <a:pt x="4320" y="8452"/>
                      <a:pt x="4320" y="8452"/>
                    </a:cubicBezTo>
                    <a:cubicBezTo>
                      <a:pt x="4300" y="8348"/>
                      <a:pt x="4300" y="8348"/>
                      <a:pt x="4300" y="8348"/>
                    </a:cubicBezTo>
                    <a:cubicBezTo>
                      <a:pt x="4155" y="8380"/>
                      <a:pt x="4155" y="8380"/>
                      <a:pt x="4155" y="8380"/>
                    </a:cubicBezTo>
                    <a:cubicBezTo>
                      <a:pt x="4171" y="8433"/>
                      <a:pt x="4171" y="8433"/>
                      <a:pt x="4171" y="8433"/>
                    </a:cubicBezTo>
                    <a:cubicBezTo>
                      <a:pt x="4122" y="8446"/>
                      <a:pt x="4122" y="8446"/>
                      <a:pt x="4122" y="8446"/>
                    </a:cubicBezTo>
                    <a:cubicBezTo>
                      <a:pt x="4017" y="8419"/>
                      <a:pt x="4017" y="8419"/>
                      <a:pt x="4017" y="8419"/>
                    </a:cubicBezTo>
                    <a:cubicBezTo>
                      <a:pt x="3907" y="8461"/>
                      <a:pt x="3907" y="8461"/>
                      <a:pt x="3907" y="8461"/>
                    </a:cubicBezTo>
                    <a:cubicBezTo>
                      <a:pt x="3990" y="8663"/>
                      <a:pt x="3990" y="8663"/>
                      <a:pt x="3990" y="8663"/>
                    </a:cubicBezTo>
                    <a:cubicBezTo>
                      <a:pt x="4073" y="8683"/>
                      <a:pt x="4073" y="8683"/>
                      <a:pt x="4073" y="8683"/>
                    </a:cubicBezTo>
                    <a:cubicBezTo>
                      <a:pt x="4090" y="8722"/>
                      <a:pt x="4090" y="8722"/>
                      <a:pt x="4090" y="8722"/>
                    </a:cubicBezTo>
                    <a:cubicBezTo>
                      <a:pt x="4034" y="8754"/>
                      <a:pt x="4034" y="8754"/>
                      <a:pt x="4034" y="8754"/>
                    </a:cubicBezTo>
                    <a:cubicBezTo>
                      <a:pt x="4098" y="8890"/>
                      <a:pt x="4098" y="8890"/>
                      <a:pt x="4098" y="8890"/>
                    </a:cubicBezTo>
                    <a:lnTo>
                      <a:pt x="4399" y="8700"/>
                    </a:lnTo>
                    <a:close/>
                    <a:moveTo>
                      <a:pt x="4360" y="9086"/>
                    </a:moveTo>
                    <a:cubicBezTo>
                      <a:pt x="4262" y="9086"/>
                      <a:pt x="4262" y="9086"/>
                      <a:pt x="4262" y="9086"/>
                    </a:cubicBezTo>
                    <a:cubicBezTo>
                      <a:pt x="4263" y="8938"/>
                      <a:pt x="4263" y="8938"/>
                      <a:pt x="4263" y="8938"/>
                    </a:cubicBezTo>
                    <a:cubicBezTo>
                      <a:pt x="4367" y="8938"/>
                      <a:pt x="4367" y="8938"/>
                      <a:pt x="4367" y="8938"/>
                    </a:cubicBezTo>
                    <a:cubicBezTo>
                      <a:pt x="4366" y="9086"/>
                      <a:pt x="4366" y="9086"/>
                      <a:pt x="4366" y="9086"/>
                    </a:cubicBezTo>
                    <a:lnTo>
                      <a:pt x="4360" y="9086"/>
                    </a:lnTo>
                    <a:close/>
                    <a:moveTo>
                      <a:pt x="4354" y="8951"/>
                    </a:moveTo>
                    <a:cubicBezTo>
                      <a:pt x="4276" y="8951"/>
                      <a:pt x="4276" y="8951"/>
                      <a:pt x="4276" y="8951"/>
                    </a:cubicBezTo>
                    <a:cubicBezTo>
                      <a:pt x="4275" y="9073"/>
                      <a:pt x="4275" y="9073"/>
                      <a:pt x="4275" y="9073"/>
                    </a:cubicBezTo>
                    <a:cubicBezTo>
                      <a:pt x="4353" y="9073"/>
                      <a:pt x="4353" y="9073"/>
                      <a:pt x="4353" y="9073"/>
                    </a:cubicBezTo>
                    <a:lnTo>
                      <a:pt x="4354" y="8951"/>
                    </a:lnTo>
                    <a:close/>
                    <a:moveTo>
                      <a:pt x="4180" y="8475"/>
                    </a:moveTo>
                    <a:cubicBezTo>
                      <a:pt x="4221" y="8689"/>
                      <a:pt x="4221" y="8689"/>
                      <a:pt x="4221" y="8689"/>
                    </a:cubicBezTo>
                    <a:cubicBezTo>
                      <a:pt x="4189" y="8703"/>
                      <a:pt x="4189" y="8703"/>
                      <a:pt x="4189" y="8703"/>
                    </a:cubicBezTo>
                    <a:cubicBezTo>
                      <a:pt x="4106" y="8499"/>
                      <a:pt x="4106" y="8499"/>
                      <a:pt x="4106" y="8499"/>
                    </a:cubicBezTo>
                    <a:cubicBezTo>
                      <a:pt x="4178" y="8466"/>
                      <a:pt x="4178" y="8466"/>
                      <a:pt x="4178" y="8466"/>
                    </a:cubicBezTo>
                    <a:lnTo>
                      <a:pt x="4180" y="8475"/>
                    </a:lnTo>
                    <a:close/>
                    <a:moveTo>
                      <a:pt x="4204" y="8680"/>
                    </a:moveTo>
                    <a:cubicBezTo>
                      <a:pt x="4167" y="8487"/>
                      <a:pt x="4167" y="8487"/>
                      <a:pt x="4167" y="8487"/>
                    </a:cubicBezTo>
                    <a:cubicBezTo>
                      <a:pt x="4125" y="8507"/>
                      <a:pt x="4125" y="8507"/>
                      <a:pt x="4125" y="8507"/>
                    </a:cubicBezTo>
                    <a:cubicBezTo>
                      <a:pt x="4197" y="8683"/>
                      <a:pt x="4197" y="8683"/>
                      <a:pt x="4197" y="8683"/>
                    </a:cubicBezTo>
                    <a:lnTo>
                      <a:pt x="4204" y="8680"/>
                    </a:lnTo>
                    <a:close/>
                    <a:moveTo>
                      <a:pt x="4885" y="8905"/>
                    </a:moveTo>
                    <a:cubicBezTo>
                      <a:pt x="4787" y="8904"/>
                      <a:pt x="4787" y="8904"/>
                      <a:pt x="4787" y="8904"/>
                    </a:cubicBezTo>
                    <a:cubicBezTo>
                      <a:pt x="4788" y="8756"/>
                      <a:pt x="4788" y="8756"/>
                      <a:pt x="4788" y="8756"/>
                    </a:cubicBezTo>
                    <a:cubicBezTo>
                      <a:pt x="4892" y="8757"/>
                      <a:pt x="4892" y="8757"/>
                      <a:pt x="4892" y="8757"/>
                    </a:cubicBezTo>
                    <a:cubicBezTo>
                      <a:pt x="4891" y="8905"/>
                      <a:pt x="4891" y="8905"/>
                      <a:pt x="4891" y="8905"/>
                    </a:cubicBezTo>
                    <a:lnTo>
                      <a:pt x="4885" y="8905"/>
                    </a:lnTo>
                    <a:close/>
                    <a:moveTo>
                      <a:pt x="4879" y="8770"/>
                    </a:moveTo>
                    <a:cubicBezTo>
                      <a:pt x="4801" y="8769"/>
                      <a:pt x="4801" y="8769"/>
                      <a:pt x="4801" y="8769"/>
                    </a:cubicBezTo>
                    <a:cubicBezTo>
                      <a:pt x="4800" y="8892"/>
                      <a:pt x="4800" y="8892"/>
                      <a:pt x="4800" y="8892"/>
                    </a:cubicBezTo>
                    <a:cubicBezTo>
                      <a:pt x="4878" y="8892"/>
                      <a:pt x="4878" y="8892"/>
                      <a:pt x="4878" y="8892"/>
                    </a:cubicBezTo>
                    <a:lnTo>
                      <a:pt x="4879" y="8770"/>
                    </a:lnTo>
                    <a:close/>
                    <a:moveTo>
                      <a:pt x="14984" y="700"/>
                    </a:moveTo>
                    <a:cubicBezTo>
                      <a:pt x="14984" y="700"/>
                      <a:pt x="14984" y="700"/>
                      <a:pt x="14984" y="700"/>
                    </a:cubicBezTo>
                    <a:cubicBezTo>
                      <a:pt x="14984" y="700"/>
                      <a:pt x="14983" y="700"/>
                      <a:pt x="14983" y="700"/>
                    </a:cubicBezTo>
                    <a:cubicBezTo>
                      <a:pt x="14983" y="700"/>
                      <a:pt x="14983" y="700"/>
                      <a:pt x="14983" y="700"/>
                    </a:cubicBezTo>
                    <a:cubicBezTo>
                      <a:pt x="14984" y="700"/>
                      <a:pt x="14984" y="700"/>
                      <a:pt x="14984" y="700"/>
                    </a:cubicBezTo>
                    <a:cubicBezTo>
                      <a:pt x="14984" y="700"/>
                      <a:pt x="14984" y="700"/>
                      <a:pt x="14984" y="700"/>
                    </a:cubicBezTo>
                    <a:close/>
                    <a:moveTo>
                      <a:pt x="6520" y="3392"/>
                    </a:moveTo>
                    <a:cubicBezTo>
                      <a:pt x="6463" y="3631"/>
                      <a:pt x="6463" y="3631"/>
                      <a:pt x="6463" y="3631"/>
                    </a:cubicBezTo>
                    <a:cubicBezTo>
                      <a:pt x="6316" y="3596"/>
                      <a:pt x="6316" y="3596"/>
                      <a:pt x="6316" y="3596"/>
                    </a:cubicBezTo>
                    <a:cubicBezTo>
                      <a:pt x="6318" y="3589"/>
                      <a:pt x="6318" y="3589"/>
                      <a:pt x="6318" y="3589"/>
                    </a:cubicBezTo>
                    <a:cubicBezTo>
                      <a:pt x="6373" y="3357"/>
                      <a:pt x="6373" y="3357"/>
                      <a:pt x="6373" y="3357"/>
                    </a:cubicBezTo>
                    <a:lnTo>
                      <a:pt x="6520" y="3392"/>
                    </a:lnTo>
                    <a:close/>
                    <a:moveTo>
                      <a:pt x="6502" y="3403"/>
                    </a:moveTo>
                    <a:cubicBezTo>
                      <a:pt x="6384" y="3375"/>
                      <a:pt x="6384" y="3375"/>
                      <a:pt x="6384" y="3375"/>
                    </a:cubicBezTo>
                    <a:cubicBezTo>
                      <a:pt x="6334" y="3585"/>
                      <a:pt x="6334" y="3585"/>
                      <a:pt x="6334" y="3585"/>
                    </a:cubicBezTo>
                    <a:cubicBezTo>
                      <a:pt x="6452" y="3613"/>
                      <a:pt x="6452" y="3613"/>
                      <a:pt x="6452" y="3613"/>
                    </a:cubicBezTo>
                    <a:lnTo>
                      <a:pt x="6502" y="3403"/>
                    </a:lnTo>
                    <a:close/>
                    <a:moveTo>
                      <a:pt x="4692" y="9109"/>
                    </a:moveTo>
                    <a:cubicBezTo>
                      <a:pt x="4548" y="9143"/>
                      <a:pt x="4548" y="9143"/>
                      <a:pt x="4548" y="9143"/>
                    </a:cubicBezTo>
                    <a:cubicBezTo>
                      <a:pt x="4547" y="9137"/>
                      <a:pt x="4547" y="9137"/>
                      <a:pt x="4547" y="9137"/>
                    </a:cubicBezTo>
                    <a:cubicBezTo>
                      <a:pt x="4524" y="9042"/>
                      <a:pt x="4524" y="9042"/>
                      <a:pt x="4524" y="9042"/>
                    </a:cubicBezTo>
                    <a:cubicBezTo>
                      <a:pt x="4668" y="9007"/>
                      <a:pt x="4668" y="9007"/>
                      <a:pt x="4668" y="9007"/>
                    </a:cubicBezTo>
                    <a:lnTo>
                      <a:pt x="4692" y="9109"/>
                    </a:lnTo>
                    <a:close/>
                    <a:moveTo>
                      <a:pt x="4558" y="9127"/>
                    </a:moveTo>
                    <a:cubicBezTo>
                      <a:pt x="4677" y="9099"/>
                      <a:pt x="4677" y="9099"/>
                      <a:pt x="4677" y="9099"/>
                    </a:cubicBezTo>
                    <a:cubicBezTo>
                      <a:pt x="4658" y="9023"/>
                      <a:pt x="4658" y="9023"/>
                      <a:pt x="4658" y="9023"/>
                    </a:cubicBezTo>
                    <a:cubicBezTo>
                      <a:pt x="4540" y="9051"/>
                      <a:pt x="4540" y="9051"/>
                      <a:pt x="4540" y="9051"/>
                    </a:cubicBezTo>
                    <a:lnTo>
                      <a:pt x="4558" y="9127"/>
                    </a:lnTo>
                    <a:close/>
                    <a:moveTo>
                      <a:pt x="3083" y="10055"/>
                    </a:moveTo>
                    <a:cubicBezTo>
                      <a:pt x="3119" y="10283"/>
                      <a:pt x="3119" y="10283"/>
                      <a:pt x="3119" y="10283"/>
                    </a:cubicBezTo>
                    <a:cubicBezTo>
                      <a:pt x="3082" y="10297"/>
                      <a:pt x="3082" y="10297"/>
                      <a:pt x="3082" y="10297"/>
                    </a:cubicBezTo>
                    <a:cubicBezTo>
                      <a:pt x="3026" y="10247"/>
                      <a:pt x="3026" y="10247"/>
                      <a:pt x="3026" y="10247"/>
                    </a:cubicBezTo>
                    <a:cubicBezTo>
                      <a:pt x="3017" y="10330"/>
                      <a:pt x="3017" y="10330"/>
                      <a:pt x="3017" y="10330"/>
                    </a:cubicBezTo>
                    <a:cubicBezTo>
                      <a:pt x="2832" y="10430"/>
                      <a:pt x="2832" y="10430"/>
                      <a:pt x="2832" y="10430"/>
                    </a:cubicBezTo>
                    <a:cubicBezTo>
                      <a:pt x="2650" y="10215"/>
                      <a:pt x="2650" y="10215"/>
                      <a:pt x="2650" y="10215"/>
                    </a:cubicBezTo>
                    <a:cubicBezTo>
                      <a:pt x="2795" y="10193"/>
                      <a:pt x="2795" y="10193"/>
                      <a:pt x="2795" y="10193"/>
                    </a:cubicBezTo>
                    <a:cubicBezTo>
                      <a:pt x="2898" y="10241"/>
                      <a:pt x="2898" y="10241"/>
                      <a:pt x="2898" y="10241"/>
                    </a:cubicBezTo>
                    <a:cubicBezTo>
                      <a:pt x="2910" y="10138"/>
                      <a:pt x="2910" y="10138"/>
                      <a:pt x="2910" y="10138"/>
                    </a:cubicBezTo>
                    <a:cubicBezTo>
                      <a:pt x="3081" y="10045"/>
                      <a:pt x="3081" y="10045"/>
                      <a:pt x="3081" y="10045"/>
                    </a:cubicBezTo>
                    <a:lnTo>
                      <a:pt x="3083" y="10055"/>
                    </a:lnTo>
                    <a:close/>
                    <a:moveTo>
                      <a:pt x="3103" y="10273"/>
                    </a:moveTo>
                    <a:cubicBezTo>
                      <a:pt x="3070" y="10068"/>
                      <a:pt x="3070" y="10068"/>
                      <a:pt x="3070" y="10068"/>
                    </a:cubicBezTo>
                    <a:cubicBezTo>
                      <a:pt x="2924" y="10147"/>
                      <a:pt x="2924" y="10147"/>
                      <a:pt x="2924" y="10147"/>
                    </a:cubicBezTo>
                    <a:cubicBezTo>
                      <a:pt x="2911" y="10263"/>
                      <a:pt x="2911" y="10263"/>
                      <a:pt x="2911" y="10263"/>
                    </a:cubicBezTo>
                    <a:cubicBezTo>
                      <a:pt x="2793" y="10208"/>
                      <a:pt x="2793" y="10208"/>
                      <a:pt x="2793" y="10208"/>
                    </a:cubicBezTo>
                    <a:cubicBezTo>
                      <a:pt x="2678" y="10226"/>
                      <a:pt x="2678" y="10226"/>
                      <a:pt x="2678" y="10226"/>
                    </a:cubicBezTo>
                    <a:cubicBezTo>
                      <a:pt x="2835" y="10411"/>
                      <a:pt x="2835" y="10411"/>
                      <a:pt x="2835" y="10411"/>
                    </a:cubicBezTo>
                    <a:cubicBezTo>
                      <a:pt x="3003" y="10321"/>
                      <a:pt x="3003" y="10321"/>
                      <a:pt x="3003" y="10321"/>
                    </a:cubicBezTo>
                    <a:cubicBezTo>
                      <a:pt x="3014" y="10217"/>
                      <a:pt x="3014" y="10217"/>
                      <a:pt x="3014" y="10217"/>
                    </a:cubicBezTo>
                    <a:cubicBezTo>
                      <a:pt x="3085" y="10280"/>
                      <a:pt x="3085" y="10280"/>
                      <a:pt x="3085" y="10280"/>
                    </a:cubicBezTo>
                    <a:lnTo>
                      <a:pt x="3103" y="10273"/>
                    </a:lnTo>
                    <a:close/>
                    <a:moveTo>
                      <a:pt x="6109" y="3530"/>
                    </a:moveTo>
                    <a:cubicBezTo>
                      <a:pt x="5871" y="3474"/>
                      <a:pt x="5871" y="3474"/>
                      <a:pt x="5871" y="3474"/>
                    </a:cubicBezTo>
                    <a:cubicBezTo>
                      <a:pt x="5902" y="3351"/>
                      <a:pt x="5902" y="3351"/>
                      <a:pt x="5902" y="3351"/>
                    </a:cubicBezTo>
                    <a:cubicBezTo>
                      <a:pt x="6139" y="3406"/>
                      <a:pt x="6139" y="3406"/>
                      <a:pt x="6139" y="3406"/>
                    </a:cubicBezTo>
                    <a:cubicBezTo>
                      <a:pt x="6188" y="3208"/>
                      <a:pt x="6188" y="3208"/>
                      <a:pt x="6188" y="3208"/>
                    </a:cubicBezTo>
                    <a:cubicBezTo>
                      <a:pt x="6148" y="3198"/>
                      <a:pt x="6148" y="3198"/>
                      <a:pt x="6148" y="3198"/>
                    </a:cubicBezTo>
                    <a:cubicBezTo>
                      <a:pt x="6166" y="3126"/>
                      <a:pt x="6166" y="3126"/>
                      <a:pt x="6166" y="3126"/>
                    </a:cubicBezTo>
                    <a:cubicBezTo>
                      <a:pt x="6173" y="3128"/>
                      <a:pt x="6173" y="3128"/>
                      <a:pt x="6173" y="3128"/>
                    </a:cubicBezTo>
                    <a:cubicBezTo>
                      <a:pt x="6649" y="3241"/>
                      <a:pt x="6649" y="3241"/>
                      <a:pt x="6649" y="3241"/>
                    </a:cubicBezTo>
                    <a:cubicBezTo>
                      <a:pt x="6660" y="3188"/>
                      <a:pt x="6660" y="3188"/>
                      <a:pt x="6660" y="3188"/>
                    </a:cubicBezTo>
                    <a:cubicBezTo>
                      <a:pt x="6973" y="3262"/>
                      <a:pt x="6973" y="3262"/>
                      <a:pt x="6973" y="3262"/>
                    </a:cubicBezTo>
                    <a:cubicBezTo>
                      <a:pt x="6874" y="3679"/>
                      <a:pt x="6874" y="3679"/>
                      <a:pt x="6874" y="3679"/>
                    </a:cubicBezTo>
                    <a:cubicBezTo>
                      <a:pt x="6794" y="3659"/>
                      <a:pt x="6794" y="3659"/>
                      <a:pt x="6794" y="3659"/>
                    </a:cubicBezTo>
                    <a:cubicBezTo>
                      <a:pt x="6732" y="3938"/>
                      <a:pt x="6732" y="3938"/>
                      <a:pt x="6732" y="3938"/>
                    </a:cubicBezTo>
                    <a:cubicBezTo>
                      <a:pt x="6807" y="3957"/>
                      <a:pt x="6807" y="3957"/>
                      <a:pt x="6807" y="3957"/>
                    </a:cubicBezTo>
                    <a:cubicBezTo>
                      <a:pt x="6789" y="4051"/>
                      <a:pt x="6789" y="4051"/>
                      <a:pt x="6789" y="4051"/>
                    </a:cubicBezTo>
                    <a:cubicBezTo>
                      <a:pt x="6474" y="3976"/>
                      <a:pt x="6474" y="3976"/>
                      <a:pt x="6474" y="3976"/>
                    </a:cubicBezTo>
                    <a:cubicBezTo>
                      <a:pt x="6490" y="3894"/>
                      <a:pt x="6490" y="3894"/>
                      <a:pt x="6490" y="3894"/>
                    </a:cubicBezTo>
                    <a:cubicBezTo>
                      <a:pt x="6223" y="3830"/>
                      <a:pt x="6223" y="3830"/>
                      <a:pt x="6223" y="3830"/>
                    </a:cubicBezTo>
                    <a:cubicBezTo>
                      <a:pt x="6257" y="3679"/>
                      <a:pt x="6257" y="3679"/>
                      <a:pt x="6257" y="3679"/>
                    </a:cubicBezTo>
                    <a:cubicBezTo>
                      <a:pt x="6529" y="3741"/>
                      <a:pt x="6529" y="3741"/>
                      <a:pt x="6529" y="3741"/>
                    </a:cubicBezTo>
                    <a:cubicBezTo>
                      <a:pt x="6629" y="3311"/>
                      <a:pt x="6629" y="3311"/>
                      <a:pt x="6629" y="3311"/>
                    </a:cubicBezTo>
                    <a:cubicBezTo>
                      <a:pt x="6320" y="3240"/>
                      <a:pt x="6320" y="3240"/>
                      <a:pt x="6320" y="3240"/>
                    </a:cubicBezTo>
                    <a:cubicBezTo>
                      <a:pt x="6235" y="3596"/>
                      <a:pt x="6235" y="3596"/>
                      <a:pt x="6235" y="3596"/>
                    </a:cubicBezTo>
                    <a:cubicBezTo>
                      <a:pt x="6101" y="3566"/>
                      <a:pt x="6101" y="3566"/>
                      <a:pt x="6101" y="3566"/>
                    </a:cubicBezTo>
                    <a:lnTo>
                      <a:pt x="6109" y="3530"/>
                    </a:lnTo>
                    <a:close/>
                    <a:moveTo>
                      <a:pt x="6127" y="3519"/>
                    </a:moveTo>
                    <a:cubicBezTo>
                      <a:pt x="6119" y="3555"/>
                      <a:pt x="6119" y="3555"/>
                      <a:pt x="6119" y="3555"/>
                    </a:cubicBezTo>
                    <a:cubicBezTo>
                      <a:pt x="6224" y="3579"/>
                      <a:pt x="6224" y="3579"/>
                      <a:pt x="6224" y="3579"/>
                    </a:cubicBezTo>
                    <a:cubicBezTo>
                      <a:pt x="6309" y="3223"/>
                      <a:pt x="6309" y="3223"/>
                      <a:pt x="6309" y="3223"/>
                    </a:cubicBezTo>
                    <a:cubicBezTo>
                      <a:pt x="6647" y="3300"/>
                      <a:pt x="6647" y="3300"/>
                      <a:pt x="6647" y="3300"/>
                    </a:cubicBezTo>
                    <a:cubicBezTo>
                      <a:pt x="6540" y="3759"/>
                      <a:pt x="6540" y="3759"/>
                      <a:pt x="6540" y="3759"/>
                    </a:cubicBezTo>
                    <a:cubicBezTo>
                      <a:pt x="6268" y="3697"/>
                      <a:pt x="6268" y="3697"/>
                      <a:pt x="6268" y="3697"/>
                    </a:cubicBezTo>
                    <a:cubicBezTo>
                      <a:pt x="6241" y="3819"/>
                      <a:pt x="6241" y="3819"/>
                      <a:pt x="6241" y="3819"/>
                    </a:cubicBezTo>
                    <a:cubicBezTo>
                      <a:pt x="6507" y="3883"/>
                      <a:pt x="6507" y="3883"/>
                      <a:pt x="6507" y="3883"/>
                    </a:cubicBezTo>
                    <a:cubicBezTo>
                      <a:pt x="6491" y="3965"/>
                      <a:pt x="6491" y="3965"/>
                      <a:pt x="6491" y="3965"/>
                    </a:cubicBezTo>
                    <a:cubicBezTo>
                      <a:pt x="6778" y="4033"/>
                      <a:pt x="6778" y="4033"/>
                      <a:pt x="6778" y="4033"/>
                    </a:cubicBezTo>
                    <a:cubicBezTo>
                      <a:pt x="6790" y="3968"/>
                      <a:pt x="6790" y="3968"/>
                      <a:pt x="6790" y="3968"/>
                    </a:cubicBezTo>
                    <a:cubicBezTo>
                      <a:pt x="6714" y="3949"/>
                      <a:pt x="6714" y="3949"/>
                      <a:pt x="6714" y="3949"/>
                    </a:cubicBezTo>
                    <a:cubicBezTo>
                      <a:pt x="6783" y="3641"/>
                      <a:pt x="6783" y="3641"/>
                      <a:pt x="6783" y="3641"/>
                    </a:cubicBezTo>
                    <a:cubicBezTo>
                      <a:pt x="6863" y="3661"/>
                      <a:pt x="6863" y="3661"/>
                      <a:pt x="6863" y="3661"/>
                    </a:cubicBezTo>
                    <a:cubicBezTo>
                      <a:pt x="6955" y="3273"/>
                      <a:pt x="6955" y="3273"/>
                      <a:pt x="6955" y="3273"/>
                    </a:cubicBezTo>
                    <a:cubicBezTo>
                      <a:pt x="6671" y="3206"/>
                      <a:pt x="6671" y="3206"/>
                      <a:pt x="6671" y="3206"/>
                    </a:cubicBezTo>
                    <a:cubicBezTo>
                      <a:pt x="6660" y="3259"/>
                      <a:pt x="6660" y="3259"/>
                      <a:pt x="6660" y="3259"/>
                    </a:cubicBezTo>
                    <a:cubicBezTo>
                      <a:pt x="6177" y="3144"/>
                      <a:pt x="6177" y="3144"/>
                      <a:pt x="6177" y="3144"/>
                    </a:cubicBezTo>
                    <a:cubicBezTo>
                      <a:pt x="6166" y="3187"/>
                      <a:pt x="6166" y="3187"/>
                      <a:pt x="6166" y="3187"/>
                    </a:cubicBezTo>
                    <a:cubicBezTo>
                      <a:pt x="6205" y="3197"/>
                      <a:pt x="6205" y="3197"/>
                      <a:pt x="6205" y="3197"/>
                    </a:cubicBezTo>
                    <a:cubicBezTo>
                      <a:pt x="6150" y="3423"/>
                      <a:pt x="6150" y="3423"/>
                      <a:pt x="6150" y="3423"/>
                    </a:cubicBezTo>
                    <a:cubicBezTo>
                      <a:pt x="5913" y="3369"/>
                      <a:pt x="5913" y="3369"/>
                      <a:pt x="5913" y="3369"/>
                    </a:cubicBezTo>
                    <a:cubicBezTo>
                      <a:pt x="5889" y="3463"/>
                      <a:pt x="5889" y="3463"/>
                      <a:pt x="5889" y="3463"/>
                    </a:cubicBezTo>
                    <a:lnTo>
                      <a:pt x="6127" y="3519"/>
                    </a:lnTo>
                    <a:close/>
                    <a:moveTo>
                      <a:pt x="10371" y="216"/>
                    </a:moveTo>
                    <a:cubicBezTo>
                      <a:pt x="10363" y="0"/>
                      <a:pt x="10363" y="0"/>
                      <a:pt x="10363" y="0"/>
                    </a:cubicBezTo>
                    <a:cubicBezTo>
                      <a:pt x="10349" y="0"/>
                      <a:pt x="10349" y="0"/>
                      <a:pt x="10349" y="0"/>
                    </a:cubicBezTo>
                    <a:cubicBezTo>
                      <a:pt x="10358" y="217"/>
                      <a:pt x="10358" y="217"/>
                      <a:pt x="10358" y="217"/>
                    </a:cubicBezTo>
                    <a:lnTo>
                      <a:pt x="10371" y="216"/>
                    </a:lnTo>
                    <a:close/>
                    <a:moveTo>
                      <a:pt x="14984" y="700"/>
                    </a:moveTo>
                    <a:cubicBezTo>
                      <a:pt x="14984" y="700"/>
                      <a:pt x="14984" y="700"/>
                      <a:pt x="14984" y="700"/>
                    </a:cubicBezTo>
                    <a:cubicBezTo>
                      <a:pt x="14984" y="700"/>
                      <a:pt x="14984" y="700"/>
                      <a:pt x="14984" y="700"/>
                    </a:cubicBezTo>
                    <a:cubicBezTo>
                      <a:pt x="14984" y="700"/>
                      <a:pt x="14984" y="700"/>
                      <a:pt x="14984" y="700"/>
                    </a:cubicBezTo>
                    <a:close/>
                    <a:moveTo>
                      <a:pt x="3561" y="10059"/>
                    </a:moveTo>
                    <a:cubicBezTo>
                      <a:pt x="3556" y="10048"/>
                      <a:pt x="3518" y="9981"/>
                      <a:pt x="3482" y="9918"/>
                    </a:cubicBezTo>
                    <a:cubicBezTo>
                      <a:pt x="3444" y="9851"/>
                      <a:pt x="3406" y="9786"/>
                      <a:pt x="3406" y="9786"/>
                    </a:cubicBezTo>
                    <a:cubicBezTo>
                      <a:pt x="3404" y="9784"/>
                      <a:pt x="3404" y="9784"/>
                      <a:pt x="3404" y="9784"/>
                    </a:cubicBezTo>
                    <a:cubicBezTo>
                      <a:pt x="3521" y="9289"/>
                      <a:pt x="3521" y="9289"/>
                      <a:pt x="3521" y="9289"/>
                    </a:cubicBezTo>
                    <a:cubicBezTo>
                      <a:pt x="3875" y="9745"/>
                      <a:pt x="3875" y="9745"/>
                      <a:pt x="3875" y="9745"/>
                    </a:cubicBezTo>
                    <a:cubicBezTo>
                      <a:pt x="3877" y="9747"/>
                      <a:pt x="3877" y="9747"/>
                      <a:pt x="3877" y="9747"/>
                    </a:cubicBezTo>
                    <a:cubicBezTo>
                      <a:pt x="3882" y="9754"/>
                      <a:pt x="3882" y="9754"/>
                      <a:pt x="3882" y="9754"/>
                    </a:cubicBezTo>
                    <a:cubicBezTo>
                      <a:pt x="3875" y="9758"/>
                      <a:pt x="3875" y="9758"/>
                      <a:pt x="3875" y="9758"/>
                    </a:cubicBezTo>
                    <a:cubicBezTo>
                      <a:pt x="3874" y="9758"/>
                      <a:pt x="3826" y="9787"/>
                      <a:pt x="3778" y="9817"/>
                    </a:cubicBezTo>
                    <a:cubicBezTo>
                      <a:pt x="3754" y="9832"/>
                      <a:pt x="3729" y="9847"/>
                      <a:pt x="3711" y="9858"/>
                    </a:cubicBezTo>
                    <a:cubicBezTo>
                      <a:pt x="3702" y="9864"/>
                      <a:pt x="3695" y="9869"/>
                      <a:pt x="3690" y="9872"/>
                    </a:cubicBezTo>
                    <a:cubicBezTo>
                      <a:pt x="3687" y="9873"/>
                      <a:pt x="3685" y="9875"/>
                      <a:pt x="3684" y="9876"/>
                    </a:cubicBezTo>
                    <a:cubicBezTo>
                      <a:pt x="3683" y="9879"/>
                      <a:pt x="3682" y="9881"/>
                      <a:pt x="3679" y="9885"/>
                    </a:cubicBezTo>
                    <a:cubicBezTo>
                      <a:pt x="3669" y="9905"/>
                      <a:pt x="3642" y="9947"/>
                      <a:pt x="3619" y="9986"/>
                    </a:cubicBezTo>
                    <a:cubicBezTo>
                      <a:pt x="3607" y="10005"/>
                      <a:pt x="3596" y="10024"/>
                      <a:pt x="3588" y="10037"/>
                    </a:cubicBezTo>
                    <a:cubicBezTo>
                      <a:pt x="3584" y="10044"/>
                      <a:pt x="3581" y="10050"/>
                      <a:pt x="3578" y="10054"/>
                    </a:cubicBezTo>
                    <a:cubicBezTo>
                      <a:pt x="3577" y="10056"/>
                      <a:pt x="3576" y="10058"/>
                      <a:pt x="3576" y="10059"/>
                    </a:cubicBezTo>
                    <a:cubicBezTo>
                      <a:pt x="3576" y="10060"/>
                      <a:pt x="3576" y="10061"/>
                      <a:pt x="3575" y="10062"/>
                    </a:cubicBezTo>
                    <a:cubicBezTo>
                      <a:pt x="3574" y="10065"/>
                      <a:pt x="3570" y="10066"/>
                      <a:pt x="3568" y="10066"/>
                    </a:cubicBezTo>
                    <a:cubicBezTo>
                      <a:pt x="3568" y="10066"/>
                      <a:pt x="3568" y="10066"/>
                      <a:pt x="3568" y="10066"/>
                    </a:cubicBezTo>
                    <a:cubicBezTo>
                      <a:pt x="3566" y="10066"/>
                      <a:pt x="3563" y="10064"/>
                      <a:pt x="3562" y="10062"/>
                    </a:cubicBezTo>
                    <a:cubicBezTo>
                      <a:pt x="3561" y="10061"/>
                      <a:pt x="3561" y="10060"/>
                      <a:pt x="3561" y="10059"/>
                    </a:cubicBezTo>
                    <a:close/>
                    <a:moveTo>
                      <a:pt x="3551" y="10008"/>
                    </a:moveTo>
                    <a:cubicBezTo>
                      <a:pt x="3558" y="10022"/>
                      <a:pt x="3564" y="10033"/>
                      <a:pt x="3568" y="10041"/>
                    </a:cubicBezTo>
                    <a:cubicBezTo>
                      <a:pt x="3568" y="10041"/>
                      <a:pt x="3568" y="10041"/>
                      <a:pt x="3569" y="10041"/>
                    </a:cubicBezTo>
                    <a:cubicBezTo>
                      <a:pt x="3580" y="10021"/>
                      <a:pt x="3605" y="9981"/>
                      <a:pt x="3627" y="9945"/>
                    </a:cubicBezTo>
                    <a:cubicBezTo>
                      <a:pt x="3638" y="9925"/>
                      <a:pt x="3650" y="9907"/>
                      <a:pt x="3658" y="9893"/>
                    </a:cubicBezTo>
                    <a:cubicBezTo>
                      <a:pt x="3662" y="9886"/>
                      <a:pt x="3665" y="9880"/>
                      <a:pt x="3667" y="9876"/>
                    </a:cubicBezTo>
                    <a:cubicBezTo>
                      <a:pt x="3668" y="9874"/>
                      <a:pt x="3669" y="9873"/>
                      <a:pt x="3670" y="9871"/>
                    </a:cubicBezTo>
                    <a:cubicBezTo>
                      <a:pt x="3670" y="9871"/>
                      <a:pt x="3670" y="9871"/>
                      <a:pt x="3670" y="9871"/>
                    </a:cubicBezTo>
                    <a:cubicBezTo>
                      <a:pt x="3671" y="9867"/>
                      <a:pt x="3672" y="9867"/>
                      <a:pt x="3672" y="9867"/>
                    </a:cubicBezTo>
                    <a:cubicBezTo>
                      <a:pt x="3676" y="9863"/>
                      <a:pt x="3687" y="9856"/>
                      <a:pt x="3706" y="9844"/>
                    </a:cubicBezTo>
                    <a:cubicBezTo>
                      <a:pt x="3753" y="9815"/>
                      <a:pt x="3835" y="9764"/>
                      <a:pt x="3860" y="9750"/>
                    </a:cubicBezTo>
                    <a:cubicBezTo>
                      <a:pt x="3528" y="9323"/>
                      <a:pt x="3528" y="9323"/>
                      <a:pt x="3528" y="9323"/>
                    </a:cubicBezTo>
                    <a:cubicBezTo>
                      <a:pt x="3420" y="9781"/>
                      <a:pt x="3420" y="9781"/>
                      <a:pt x="3420" y="9781"/>
                    </a:cubicBezTo>
                    <a:cubicBezTo>
                      <a:pt x="3428" y="9794"/>
                      <a:pt x="3462" y="9854"/>
                      <a:pt x="3497" y="9914"/>
                    </a:cubicBezTo>
                    <a:cubicBezTo>
                      <a:pt x="3516" y="9948"/>
                      <a:pt x="3536" y="9982"/>
                      <a:pt x="3551" y="10008"/>
                    </a:cubicBezTo>
                    <a:close/>
                    <a:moveTo>
                      <a:pt x="10552" y="211"/>
                    </a:moveTo>
                    <a:cubicBezTo>
                      <a:pt x="10532" y="0"/>
                      <a:pt x="10532" y="0"/>
                      <a:pt x="10532" y="0"/>
                    </a:cubicBezTo>
                    <a:cubicBezTo>
                      <a:pt x="10518" y="0"/>
                      <a:pt x="10518" y="0"/>
                      <a:pt x="10518" y="0"/>
                    </a:cubicBezTo>
                    <a:cubicBezTo>
                      <a:pt x="10538" y="212"/>
                      <a:pt x="10538" y="212"/>
                      <a:pt x="10538" y="212"/>
                    </a:cubicBezTo>
                    <a:lnTo>
                      <a:pt x="10552" y="211"/>
                    </a:lnTo>
                    <a:close/>
                    <a:moveTo>
                      <a:pt x="6531" y="3142"/>
                    </a:moveTo>
                    <a:cubicBezTo>
                      <a:pt x="6060" y="3031"/>
                      <a:pt x="6060" y="3031"/>
                      <a:pt x="6060" y="3031"/>
                    </a:cubicBezTo>
                    <a:cubicBezTo>
                      <a:pt x="6102" y="2856"/>
                      <a:pt x="6102" y="2856"/>
                      <a:pt x="6102" y="2856"/>
                    </a:cubicBezTo>
                    <a:cubicBezTo>
                      <a:pt x="6579" y="2969"/>
                      <a:pt x="6579" y="2969"/>
                      <a:pt x="6579" y="2969"/>
                    </a:cubicBezTo>
                    <a:cubicBezTo>
                      <a:pt x="6538" y="3144"/>
                      <a:pt x="6538" y="3144"/>
                      <a:pt x="6538" y="3144"/>
                    </a:cubicBezTo>
                    <a:lnTo>
                      <a:pt x="6531" y="3142"/>
                    </a:lnTo>
                    <a:close/>
                    <a:moveTo>
                      <a:pt x="6527" y="3126"/>
                    </a:moveTo>
                    <a:cubicBezTo>
                      <a:pt x="6562" y="2980"/>
                      <a:pt x="6562" y="2980"/>
                      <a:pt x="6562" y="2980"/>
                    </a:cubicBezTo>
                    <a:cubicBezTo>
                      <a:pt x="6113" y="2873"/>
                      <a:pt x="6113" y="2873"/>
                      <a:pt x="6113" y="2873"/>
                    </a:cubicBezTo>
                    <a:cubicBezTo>
                      <a:pt x="6078" y="3020"/>
                      <a:pt x="6078" y="3020"/>
                      <a:pt x="6078" y="3020"/>
                    </a:cubicBezTo>
                    <a:lnTo>
                      <a:pt x="6527" y="3126"/>
                    </a:lnTo>
                    <a:close/>
                    <a:moveTo>
                      <a:pt x="2419" y="10351"/>
                    </a:moveTo>
                    <a:cubicBezTo>
                      <a:pt x="2500" y="10407"/>
                      <a:pt x="2500" y="10407"/>
                      <a:pt x="2500" y="10407"/>
                    </a:cubicBezTo>
                    <a:cubicBezTo>
                      <a:pt x="2560" y="10517"/>
                      <a:pt x="2560" y="10517"/>
                      <a:pt x="2560" y="10517"/>
                    </a:cubicBezTo>
                    <a:cubicBezTo>
                      <a:pt x="2303" y="10509"/>
                      <a:pt x="2303" y="10509"/>
                      <a:pt x="2303" y="10509"/>
                    </a:cubicBezTo>
                    <a:cubicBezTo>
                      <a:pt x="2342" y="10241"/>
                      <a:pt x="2342" y="10241"/>
                      <a:pt x="2342" y="10241"/>
                    </a:cubicBezTo>
                    <a:cubicBezTo>
                      <a:pt x="2427" y="10239"/>
                      <a:pt x="2427" y="10239"/>
                      <a:pt x="2427" y="10239"/>
                    </a:cubicBezTo>
                    <a:cubicBezTo>
                      <a:pt x="2427" y="10247"/>
                      <a:pt x="2427" y="10247"/>
                      <a:pt x="2427" y="10247"/>
                    </a:cubicBezTo>
                    <a:lnTo>
                      <a:pt x="2419" y="10351"/>
                    </a:lnTo>
                    <a:close/>
                    <a:moveTo>
                      <a:pt x="2403" y="10358"/>
                    </a:moveTo>
                    <a:cubicBezTo>
                      <a:pt x="2411" y="10254"/>
                      <a:pt x="2411" y="10254"/>
                      <a:pt x="2411" y="10254"/>
                    </a:cubicBezTo>
                    <a:cubicBezTo>
                      <a:pt x="2355" y="10255"/>
                      <a:pt x="2355" y="10255"/>
                      <a:pt x="2355" y="10255"/>
                    </a:cubicBezTo>
                    <a:cubicBezTo>
                      <a:pt x="2320" y="10495"/>
                      <a:pt x="2320" y="10495"/>
                      <a:pt x="2320" y="10495"/>
                    </a:cubicBezTo>
                    <a:cubicBezTo>
                      <a:pt x="2535" y="10501"/>
                      <a:pt x="2535" y="10501"/>
                      <a:pt x="2535" y="10501"/>
                    </a:cubicBezTo>
                    <a:cubicBezTo>
                      <a:pt x="2489" y="10417"/>
                      <a:pt x="2489" y="10417"/>
                      <a:pt x="2489" y="10417"/>
                    </a:cubicBezTo>
                    <a:lnTo>
                      <a:pt x="2403" y="10358"/>
                    </a:lnTo>
                    <a:close/>
                    <a:moveTo>
                      <a:pt x="478" y="7398"/>
                    </a:moveTo>
                    <a:cubicBezTo>
                      <a:pt x="642" y="7249"/>
                      <a:pt x="642" y="7249"/>
                      <a:pt x="642" y="7249"/>
                    </a:cubicBezTo>
                    <a:cubicBezTo>
                      <a:pt x="861" y="7452"/>
                      <a:pt x="861" y="7452"/>
                      <a:pt x="861" y="7452"/>
                    </a:cubicBezTo>
                    <a:cubicBezTo>
                      <a:pt x="856" y="7458"/>
                      <a:pt x="856" y="7458"/>
                      <a:pt x="856" y="7458"/>
                    </a:cubicBezTo>
                    <a:cubicBezTo>
                      <a:pt x="797" y="7519"/>
                      <a:pt x="797" y="7519"/>
                      <a:pt x="797" y="7519"/>
                    </a:cubicBezTo>
                    <a:cubicBezTo>
                      <a:pt x="752" y="7476"/>
                      <a:pt x="752" y="7476"/>
                      <a:pt x="752" y="7476"/>
                    </a:cubicBezTo>
                    <a:cubicBezTo>
                      <a:pt x="678" y="7539"/>
                      <a:pt x="678" y="7539"/>
                      <a:pt x="678" y="7539"/>
                    </a:cubicBezTo>
                    <a:cubicBezTo>
                      <a:pt x="609" y="7498"/>
                      <a:pt x="609" y="7498"/>
                      <a:pt x="609" y="7498"/>
                    </a:cubicBezTo>
                    <a:cubicBezTo>
                      <a:pt x="653" y="7455"/>
                      <a:pt x="653" y="7455"/>
                      <a:pt x="653" y="7455"/>
                    </a:cubicBezTo>
                    <a:cubicBezTo>
                      <a:pt x="633" y="7420"/>
                      <a:pt x="633" y="7420"/>
                      <a:pt x="633" y="7420"/>
                    </a:cubicBezTo>
                    <a:cubicBezTo>
                      <a:pt x="527" y="7498"/>
                      <a:pt x="527" y="7498"/>
                      <a:pt x="527" y="7498"/>
                    </a:cubicBezTo>
                    <a:cubicBezTo>
                      <a:pt x="506" y="7471"/>
                      <a:pt x="506" y="7471"/>
                      <a:pt x="506" y="7471"/>
                    </a:cubicBezTo>
                    <a:cubicBezTo>
                      <a:pt x="525" y="7442"/>
                      <a:pt x="525" y="7442"/>
                      <a:pt x="525" y="7442"/>
                    </a:cubicBezTo>
                    <a:lnTo>
                      <a:pt x="478" y="7398"/>
                    </a:lnTo>
                    <a:close/>
                    <a:moveTo>
                      <a:pt x="642" y="7269"/>
                    </a:moveTo>
                    <a:cubicBezTo>
                      <a:pt x="500" y="7398"/>
                      <a:pt x="500" y="7398"/>
                      <a:pt x="500" y="7398"/>
                    </a:cubicBezTo>
                    <a:cubicBezTo>
                      <a:pt x="544" y="7440"/>
                      <a:pt x="544" y="7440"/>
                      <a:pt x="544" y="7440"/>
                    </a:cubicBezTo>
                    <a:cubicBezTo>
                      <a:pt x="524" y="7471"/>
                      <a:pt x="524" y="7471"/>
                      <a:pt x="524" y="7471"/>
                    </a:cubicBezTo>
                    <a:cubicBezTo>
                      <a:pt x="530" y="7478"/>
                      <a:pt x="530" y="7478"/>
                      <a:pt x="530" y="7478"/>
                    </a:cubicBezTo>
                    <a:cubicBezTo>
                      <a:pt x="638" y="7398"/>
                      <a:pt x="638" y="7398"/>
                      <a:pt x="638" y="7398"/>
                    </a:cubicBezTo>
                    <a:cubicBezTo>
                      <a:pt x="671" y="7458"/>
                      <a:pt x="671" y="7458"/>
                      <a:pt x="671" y="7458"/>
                    </a:cubicBezTo>
                    <a:cubicBezTo>
                      <a:pt x="633" y="7495"/>
                      <a:pt x="633" y="7495"/>
                      <a:pt x="633" y="7495"/>
                    </a:cubicBezTo>
                    <a:cubicBezTo>
                      <a:pt x="676" y="7521"/>
                      <a:pt x="676" y="7521"/>
                      <a:pt x="676" y="7521"/>
                    </a:cubicBezTo>
                    <a:cubicBezTo>
                      <a:pt x="753" y="7456"/>
                      <a:pt x="753" y="7456"/>
                      <a:pt x="753" y="7456"/>
                    </a:cubicBezTo>
                    <a:cubicBezTo>
                      <a:pt x="797" y="7498"/>
                      <a:pt x="797" y="7498"/>
                      <a:pt x="797" y="7498"/>
                    </a:cubicBezTo>
                    <a:cubicBezTo>
                      <a:pt x="840" y="7453"/>
                      <a:pt x="840" y="7453"/>
                      <a:pt x="840" y="7453"/>
                    </a:cubicBezTo>
                    <a:lnTo>
                      <a:pt x="642" y="7269"/>
                    </a:lnTo>
                    <a:close/>
                    <a:moveTo>
                      <a:pt x="14984" y="700"/>
                    </a:moveTo>
                    <a:cubicBezTo>
                      <a:pt x="14984" y="700"/>
                      <a:pt x="14984" y="700"/>
                      <a:pt x="14984" y="700"/>
                    </a:cubicBezTo>
                    <a:cubicBezTo>
                      <a:pt x="14984" y="700"/>
                      <a:pt x="14984" y="700"/>
                      <a:pt x="14984" y="700"/>
                    </a:cubicBezTo>
                    <a:cubicBezTo>
                      <a:pt x="14984" y="700"/>
                      <a:pt x="14984" y="700"/>
                      <a:pt x="14984" y="700"/>
                    </a:cubicBezTo>
                    <a:close/>
                    <a:moveTo>
                      <a:pt x="3318" y="8152"/>
                    </a:moveTo>
                    <a:cubicBezTo>
                      <a:pt x="3213" y="8305"/>
                      <a:pt x="3213" y="8305"/>
                      <a:pt x="3213" y="8305"/>
                    </a:cubicBezTo>
                    <a:cubicBezTo>
                      <a:pt x="3148" y="8186"/>
                      <a:pt x="3148" y="8186"/>
                      <a:pt x="3148" y="8186"/>
                    </a:cubicBezTo>
                    <a:cubicBezTo>
                      <a:pt x="3202" y="8161"/>
                      <a:pt x="3202" y="8161"/>
                      <a:pt x="3202" y="8161"/>
                    </a:cubicBezTo>
                    <a:cubicBezTo>
                      <a:pt x="2971" y="7931"/>
                      <a:pt x="2971" y="7931"/>
                      <a:pt x="2971" y="7931"/>
                    </a:cubicBezTo>
                    <a:cubicBezTo>
                      <a:pt x="2841" y="8028"/>
                      <a:pt x="2841" y="8028"/>
                      <a:pt x="2841" y="8028"/>
                    </a:cubicBezTo>
                    <a:cubicBezTo>
                      <a:pt x="3049" y="8286"/>
                      <a:pt x="3049" y="8286"/>
                      <a:pt x="3049" y="8286"/>
                    </a:cubicBezTo>
                    <a:cubicBezTo>
                      <a:pt x="3088" y="8219"/>
                      <a:pt x="3088" y="8219"/>
                      <a:pt x="3088" y="8219"/>
                    </a:cubicBezTo>
                    <a:cubicBezTo>
                      <a:pt x="3159" y="8351"/>
                      <a:pt x="3159" y="8351"/>
                      <a:pt x="3159" y="8351"/>
                    </a:cubicBezTo>
                    <a:cubicBezTo>
                      <a:pt x="3159" y="8351"/>
                      <a:pt x="3035" y="8435"/>
                      <a:pt x="3036" y="8435"/>
                    </a:cubicBezTo>
                    <a:cubicBezTo>
                      <a:pt x="3037" y="8435"/>
                      <a:pt x="2704" y="8001"/>
                      <a:pt x="2704" y="8001"/>
                    </a:cubicBezTo>
                    <a:cubicBezTo>
                      <a:pt x="2963" y="7816"/>
                      <a:pt x="2963" y="7816"/>
                      <a:pt x="2963" y="7816"/>
                    </a:cubicBezTo>
                    <a:cubicBezTo>
                      <a:pt x="2963" y="7816"/>
                      <a:pt x="3316" y="8151"/>
                      <a:pt x="3318" y="8152"/>
                    </a:cubicBezTo>
                    <a:close/>
                    <a:moveTo>
                      <a:pt x="3214" y="8279"/>
                    </a:moveTo>
                    <a:cubicBezTo>
                      <a:pt x="3300" y="8154"/>
                      <a:pt x="3300" y="8154"/>
                      <a:pt x="3300" y="8154"/>
                    </a:cubicBezTo>
                    <a:cubicBezTo>
                      <a:pt x="3276" y="8131"/>
                      <a:pt x="3202" y="8061"/>
                      <a:pt x="2962" y="7834"/>
                    </a:cubicBezTo>
                    <a:cubicBezTo>
                      <a:pt x="2723" y="8004"/>
                      <a:pt x="2723" y="8004"/>
                      <a:pt x="2723" y="8004"/>
                    </a:cubicBezTo>
                    <a:cubicBezTo>
                      <a:pt x="2948" y="8297"/>
                      <a:pt x="3017" y="8388"/>
                      <a:pt x="3039" y="8416"/>
                    </a:cubicBezTo>
                    <a:cubicBezTo>
                      <a:pt x="3053" y="8406"/>
                      <a:pt x="3081" y="8387"/>
                      <a:pt x="3140" y="8347"/>
                    </a:cubicBezTo>
                    <a:cubicBezTo>
                      <a:pt x="3087" y="8248"/>
                      <a:pt x="3087" y="8248"/>
                      <a:pt x="3087" y="8248"/>
                    </a:cubicBezTo>
                    <a:cubicBezTo>
                      <a:pt x="3061" y="8293"/>
                      <a:pt x="3061" y="8293"/>
                      <a:pt x="3061" y="8293"/>
                    </a:cubicBezTo>
                    <a:cubicBezTo>
                      <a:pt x="3051" y="8310"/>
                      <a:pt x="3051" y="8310"/>
                      <a:pt x="3051" y="8310"/>
                    </a:cubicBezTo>
                    <a:cubicBezTo>
                      <a:pt x="3038" y="8295"/>
                      <a:pt x="3038" y="8295"/>
                      <a:pt x="3038" y="8295"/>
                    </a:cubicBezTo>
                    <a:cubicBezTo>
                      <a:pt x="2830" y="8036"/>
                      <a:pt x="2830" y="8036"/>
                      <a:pt x="2830" y="8036"/>
                    </a:cubicBezTo>
                    <a:cubicBezTo>
                      <a:pt x="2821" y="8025"/>
                      <a:pt x="2821" y="8025"/>
                      <a:pt x="2821" y="8025"/>
                    </a:cubicBezTo>
                    <a:cubicBezTo>
                      <a:pt x="2833" y="8016"/>
                      <a:pt x="2833" y="8016"/>
                      <a:pt x="2833" y="8016"/>
                    </a:cubicBezTo>
                    <a:cubicBezTo>
                      <a:pt x="2963" y="7920"/>
                      <a:pt x="2963" y="7920"/>
                      <a:pt x="2963" y="7920"/>
                    </a:cubicBezTo>
                    <a:cubicBezTo>
                      <a:pt x="2972" y="7913"/>
                      <a:pt x="2972" y="7913"/>
                      <a:pt x="2972" y="7913"/>
                    </a:cubicBezTo>
                    <a:cubicBezTo>
                      <a:pt x="2981" y="7921"/>
                      <a:pt x="2981" y="7921"/>
                      <a:pt x="2981" y="7921"/>
                    </a:cubicBezTo>
                    <a:cubicBezTo>
                      <a:pt x="3211" y="8151"/>
                      <a:pt x="3211" y="8151"/>
                      <a:pt x="3211" y="8151"/>
                    </a:cubicBezTo>
                    <a:cubicBezTo>
                      <a:pt x="3225" y="8165"/>
                      <a:pt x="3225" y="8165"/>
                      <a:pt x="3225" y="8165"/>
                    </a:cubicBezTo>
                    <a:cubicBezTo>
                      <a:pt x="3208" y="8173"/>
                      <a:pt x="3208" y="8173"/>
                      <a:pt x="3208" y="8173"/>
                    </a:cubicBezTo>
                    <a:cubicBezTo>
                      <a:pt x="3168" y="8193"/>
                      <a:pt x="3168" y="8193"/>
                      <a:pt x="3168" y="8193"/>
                    </a:cubicBezTo>
                    <a:lnTo>
                      <a:pt x="3214" y="8279"/>
                    </a:lnTo>
                    <a:close/>
                    <a:moveTo>
                      <a:pt x="2926" y="8430"/>
                    </a:moveTo>
                    <a:cubicBezTo>
                      <a:pt x="2927" y="8430"/>
                      <a:pt x="2710" y="8388"/>
                      <a:pt x="2710" y="8388"/>
                    </a:cubicBezTo>
                    <a:cubicBezTo>
                      <a:pt x="2629" y="8166"/>
                      <a:pt x="2629" y="8166"/>
                      <a:pt x="2629" y="8166"/>
                    </a:cubicBezTo>
                    <a:cubicBezTo>
                      <a:pt x="2541" y="8187"/>
                      <a:pt x="2541" y="8187"/>
                      <a:pt x="2541" y="8187"/>
                    </a:cubicBezTo>
                    <a:cubicBezTo>
                      <a:pt x="2475" y="8106"/>
                      <a:pt x="2475" y="8106"/>
                      <a:pt x="2475" y="8106"/>
                    </a:cubicBezTo>
                    <a:cubicBezTo>
                      <a:pt x="2661" y="8055"/>
                      <a:pt x="2661" y="8055"/>
                      <a:pt x="2661" y="8055"/>
                    </a:cubicBezTo>
                    <a:lnTo>
                      <a:pt x="2926" y="8430"/>
                    </a:lnTo>
                    <a:close/>
                    <a:moveTo>
                      <a:pt x="2720" y="8376"/>
                    </a:moveTo>
                    <a:cubicBezTo>
                      <a:pt x="2814" y="8394"/>
                      <a:pt x="2866" y="8404"/>
                      <a:pt x="2894" y="8410"/>
                    </a:cubicBezTo>
                    <a:cubicBezTo>
                      <a:pt x="2655" y="8071"/>
                      <a:pt x="2655" y="8071"/>
                      <a:pt x="2655" y="8071"/>
                    </a:cubicBezTo>
                    <a:cubicBezTo>
                      <a:pt x="2499" y="8114"/>
                      <a:pt x="2499" y="8114"/>
                      <a:pt x="2499" y="8114"/>
                    </a:cubicBezTo>
                    <a:cubicBezTo>
                      <a:pt x="2546" y="8172"/>
                      <a:pt x="2546" y="8172"/>
                      <a:pt x="2546" y="8172"/>
                    </a:cubicBezTo>
                    <a:cubicBezTo>
                      <a:pt x="2625" y="8152"/>
                      <a:pt x="2625" y="8152"/>
                      <a:pt x="2625" y="8152"/>
                    </a:cubicBezTo>
                    <a:cubicBezTo>
                      <a:pt x="2638" y="8149"/>
                      <a:pt x="2638" y="8149"/>
                      <a:pt x="2638" y="8149"/>
                    </a:cubicBezTo>
                    <a:cubicBezTo>
                      <a:pt x="2642" y="8161"/>
                      <a:pt x="2642" y="8161"/>
                      <a:pt x="2642" y="8161"/>
                    </a:cubicBezTo>
                    <a:lnTo>
                      <a:pt x="2720" y="8376"/>
                    </a:lnTo>
                    <a:close/>
                    <a:moveTo>
                      <a:pt x="2594" y="8214"/>
                    </a:moveTo>
                    <a:cubicBezTo>
                      <a:pt x="2620" y="8295"/>
                      <a:pt x="2620" y="8295"/>
                      <a:pt x="2620" y="8295"/>
                    </a:cubicBezTo>
                    <a:cubicBezTo>
                      <a:pt x="2442" y="8365"/>
                      <a:pt x="2442" y="8365"/>
                      <a:pt x="2442" y="8365"/>
                    </a:cubicBezTo>
                    <a:cubicBezTo>
                      <a:pt x="2309" y="8103"/>
                      <a:pt x="2309" y="8103"/>
                      <a:pt x="2309" y="8103"/>
                    </a:cubicBezTo>
                    <a:cubicBezTo>
                      <a:pt x="2368" y="8060"/>
                      <a:pt x="2368" y="8060"/>
                      <a:pt x="2368" y="8060"/>
                    </a:cubicBezTo>
                    <a:cubicBezTo>
                      <a:pt x="2510" y="8239"/>
                      <a:pt x="2510" y="8239"/>
                      <a:pt x="2510" y="8239"/>
                    </a:cubicBezTo>
                    <a:lnTo>
                      <a:pt x="2594" y="8214"/>
                    </a:lnTo>
                    <a:close/>
                    <a:moveTo>
                      <a:pt x="2602" y="8287"/>
                    </a:moveTo>
                    <a:cubicBezTo>
                      <a:pt x="2585" y="8231"/>
                      <a:pt x="2585" y="8231"/>
                      <a:pt x="2585" y="8231"/>
                    </a:cubicBezTo>
                    <a:cubicBezTo>
                      <a:pt x="2514" y="8252"/>
                      <a:pt x="2514" y="8252"/>
                      <a:pt x="2514" y="8252"/>
                    </a:cubicBezTo>
                    <a:cubicBezTo>
                      <a:pt x="2505" y="8255"/>
                      <a:pt x="2505" y="8255"/>
                      <a:pt x="2505" y="8255"/>
                    </a:cubicBezTo>
                    <a:cubicBezTo>
                      <a:pt x="2499" y="8247"/>
                      <a:pt x="2499" y="8247"/>
                      <a:pt x="2499" y="8247"/>
                    </a:cubicBezTo>
                    <a:cubicBezTo>
                      <a:pt x="2366" y="8079"/>
                      <a:pt x="2366" y="8079"/>
                      <a:pt x="2366" y="8079"/>
                    </a:cubicBezTo>
                    <a:cubicBezTo>
                      <a:pt x="2327" y="8108"/>
                      <a:pt x="2327" y="8108"/>
                      <a:pt x="2327" y="8108"/>
                    </a:cubicBezTo>
                    <a:cubicBezTo>
                      <a:pt x="2449" y="8347"/>
                      <a:pt x="2449" y="8347"/>
                      <a:pt x="2449" y="8347"/>
                    </a:cubicBezTo>
                    <a:lnTo>
                      <a:pt x="2602" y="8287"/>
                    </a:lnTo>
                    <a:close/>
                    <a:moveTo>
                      <a:pt x="5465" y="9137"/>
                    </a:moveTo>
                    <a:cubicBezTo>
                      <a:pt x="5322" y="9112"/>
                      <a:pt x="5322" y="9112"/>
                      <a:pt x="5322" y="9112"/>
                    </a:cubicBezTo>
                    <a:cubicBezTo>
                      <a:pt x="5334" y="9042"/>
                      <a:pt x="5334" y="9042"/>
                      <a:pt x="5334" y="9042"/>
                    </a:cubicBezTo>
                    <a:cubicBezTo>
                      <a:pt x="5483" y="9068"/>
                      <a:pt x="5483" y="9068"/>
                      <a:pt x="5483" y="9068"/>
                    </a:cubicBezTo>
                    <a:cubicBezTo>
                      <a:pt x="5471" y="9138"/>
                      <a:pt x="5471" y="9138"/>
                      <a:pt x="5471" y="9138"/>
                    </a:cubicBezTo>
                    <a:lnTo>
                      <a:pt x="5465" y="9137"/>
                    </a:lnTo>
                    <a:close/>
                    <a:moveTo>
                      <a:pt x="5461" y="9123"/>
                    </a:moveTo>
                    <a:cubicBezTo>
                      <a:pt x="5469" y="9078"/>
                      <a:pt x="5469" y="9078"/>
                      <a:pt x="5469" y="9078"/>
                    </a:cubicBezTo>
                    <a:cubicBezTo>
                      <a:pt x="5345" y="9056"/>
                      <a:pt x="5345" y="9056"/>
                      <a:pt x="5345" y="9056"/>
                    </a:cubicBezTo>
                    <a:cubicBezTo>
                      <a:pt x="5337" y="9102"/>
                      <a:pt x="5337" y="9102"/>
                      <a:pt x="5337" y="9102"/>
                    </a:cubicBezTo>
                    <a:lnTo>
                      <a:pt x="5461" y="9123"/>
                    </a:lnTo>
                    <a:close/>
                    <a:moveTo>
                      <a:pt x="5441" y="8320"/>
                    </a:moveTo>
                    <a:cubicBezTo>
                      <a:pt x="5590" y="8346"/>
                      <a:pt x="5590" y="8346"/>
                      <a:pt x="5590" y="8346"/>
                    </a:cubicBezTo>
                    <a:cubicBezTo>
                      <a:pt x="5578" y="8416"/>
                      <a:pt x="5578" y="8416"/>
                      <a:pt x="5578" y="8416"/>
                    </a:cubicBezTo>
                    <a:cubicBezTo>
                      <a:pt x="5571" y="8415"/>
                      <a:pt x="5571" y="8415"/>
                      <a:pt x="5571" y="8415"/>
                    </a:cubicBezTo>
                    <a:cubicBezTo>
                      <a:pt x="5429" y="8390"/>
                      <a:pt x="5429" y="8390"/>
                      <a:pt x="5429" y="8390"/>
                    </a:cubicBezTo>
                    <a:lnTo>
                      <a:pt x="5441" y="8320"/>
                    </a:lnTo>
                    <a:close/>
                    <a:moveTo>
                      <a:pt x="5444" y="8380"/>
                    </a:moveTo>
                    <a:cubicBezTo>
                      <a:pt x="5567" y="8401"/>
                      <a:pt x="5567" y="8401"/>
                      <a:pt x="5567" y="8401"/>
                    </a:cubicBezTo>
                    <a:cubicBezTo>
                      <a:pt x="5575" y="8356"/>
                      <a:pt x="5575" y="8356"/>
                      <a:pt x="5575" y="8356"/>
                    </a:cubicBezTo>
                    <a:cubicBezTo>
                      <a:pt x="5451" y="8334"/>
                      <a:pt x="5451" y="8334"/>
                      <a:pt x="5451" y="8334"/>
                    </a:cubicBezTo>
                    <a:lnTo>
                      <a:pt x="5444" y="8380"/>
                    </a:lnTo>
                    <a:close/>
                    <a:moveTo>
                      <a:pt x="1423" y="7046"/>
                    </a:moveTo>
                    <a:cubicBezTo>
                      <a:pt x="1372" y="6939"/>
                      <a:pt x="1372" y="6939"/>
                      <a:pt x="1372" y="6939"/>
                    </a:cubicBezTo>
                    <a:cubicBezTo>
                      <a:pt x="1454" y="6763"/>
                      <a:pt x="1454" y="6763"/>
                      <a:pt x="1454" y="6763"/>
                    </a:cubicBezTo>
                    <a:cubicBezTo>
                      <a:pt x="1817" y="6978"/>
                      <a:pt x="1817" y="6978"/>
                      <a:pt x="1817" y="6978"/>
                    </a:cubicBezTo>
                    <a:cubicBezTo>
                      <a:pt x="1808" y="6985"/>
                      <a:pt x="1808" y="6985"/>
                      <a:pt x="1808" y="6985"/>
                    </a:cubicBezTo>
                    <a:cubicBezTo>
                      <a:pt x="1699" y="7065"/>
                      <a:pt x="1699" y="7065"/>
                      <a:pt x="1699" y="7065"/>
                    </a:cubicBezTo>
                    <a:cubicBezTo>
                      <a:pt x="1598" y="7012"/>
                      <a:pt x="1598" y="7012"/>
                      <a:pt x="1598" y="7012"/>
                    </a:cubicBezTo>
                    <a:cubicBezTo>
                      <a:pt x="1520" y="6927"/>
                      <a:pt x="1520" y="6927"/>
                      <a:pt x="1520" y="6927"/>
                    </a:cubicBezTo>
                    <a:cubicBezTo>
                      <a:pt x="1473" y="7011"/>
                      <a:pt x="1473" y="7011"/>
                      <a:pt x="1473" y="7011"/>
                    </a:cubicBezTo>
                    <a:lnTo>
                      <a:pt x="1423" y="7046"/>
                    </a:lnTo>
                    <a:close/>
                    <a:moveTo>
                      <a:pt x="1388" y="6939"/>
                    </a:moveTo>
                    <a:cubicBezTo>
                      <a:pt x="1429" y="7024"/>
                      <a:pt x="1429" y="7024"/>
                      <a:pt x="1429" y="7024"/>
                    </a:cubicBezTo>
                    <a:cubicBezTo>
                      <a:pt x="1461" y="7001"/>
                      <a:pt x="1461" y="7001"/>
                      <a:pt x="1461" y="7001"/>
                    </a:cubicBezTo>
                    <a:cubicBezTo>
                      <a:pt x="1517" y="6902"/>
                      <a:pt x="1517" y="6902"/>
                      <a:pt x="1517" y="6902"/>
                    </a:cubicBezTo>
                    <a:cubicBezTo>
                      <a:pt x="1607" y="7000"/>
                      <a:pt x="1607" y="7000"/>
                      <a:pt x="1607" y="7000"/>
                    </a:cubicBezTo>
                    <a:cubicBezTo>
                      <a:pt x="1698" y="7048"/>
                      <a:pt x="1698" y="7048"/>
                      <a:pt x="1698" y="7048"/>
                    </a:cubicBezTo>
                    <a:cubicBezTo>
                      <a:pt x="1790" y="6980"/>
                      <a:pt x="1790" y="6980"/>
                      <a:pt x="1790" y="6980"/>
                    </a:cubicBezTo>
                    <a:cubicBezTo>
                      <a:pt x="1460" y="6784"/>
                      <a:pt x="1460" y="6784"/>
                      <a:pt x="1460" y="6784"/>
                    </a:cubicBezTo>
                    <a:lnTo>
                      <a:pt x="1388" y="6939"/>
                    </a:lnTo>
                    <a:close/>
                    <a:moveTo>
                      <a:pt x="1078" y="8395"/>
                    </a:moveTo>
                    <a:cubicBezTo>
                      <a:pt x="1315" y="8572"/>
                      <a:pt x="1315" y="8572"/>
                      <a:pt x="1315" y="8572"/>
                    </a:cubicBezTo>
                    <a:cubicBezTo>
                      <a:pt x="1340" y="8533"/>
                      <a:pt x="1340" y="8533"/>
                      <a:pt x="1340" y="8533"/>
                    </a:cubicBezTo>
                    <a:cubicBezTo>
                      <a:pt x="1427" y="8593"/>
                      <a:pt x="1427" y="8593"/>
                      <a:pt x="1427" y="8593"/>
                    </a:cubicBezTo>
                    <a:cubicBezTo>
                      <a:pt x="1362" y="8698"/>
                      <a:pt x="1362" y="8698"/>
                      <a:pt x="1362" y="8698"/>
                    </a:cubicBezTo>
                    <a:cubicBezTo>
                      <a:pt x="1040" y="8457"/>
                      <a:pt x="1040" y="8457"/>
                      <a:pt x="1040" y="8457"/>
                    </a:cubicBezTo>
                    <a:lnTo>
                      <a:pt x="1078" y="8395"/>
                    </a:lnTo>
                    <a:close/>
                    <a:moveTo>
                      <a:pt x="1082" y="8415"/>
                    </a:moveTo>
                    <a:cubicBezTo>
                      <a:pt x="1059" y="8453"/>
                      <a:pt x="1059" y="8453"/>
                      <a:pt x="1059" y="8453"/>
                    </a:cubicBezTo>
                    <a:cubicBezTo>
                      <a:pt x="1358" y="8678"/>
                      <a:pt x="1358" y="8678"/>
                      <a:pt x="1358" y="8678"/>
                    </a:cubicBezTo>
                    <a:cubicBezTo>
                      <a:pt x="1408" y="8597"/>
                      <a:pt x="1408" y="8597"/>
                      <a:pt x="1408" y="8597"/>
                    </a:cubicBezTo>
                    <a:cubicBezTo>
                      <a:pt x="1344" y="8552"/>
                      <a:pt x="1344" y="8552"/>
                      <a:pt x="1344" y="8552"/>
                    </a:cubicBezTo>
                    <a:cubicBezTo>
                      <a:pt x="1327" y="8580"/>
                      <a:pt x="1327" y="8580"/>
                      <a:pt x="1327" y="8580"/>
                    </a:cubicBezTo>
                    <a:cubicBezTo>
                      <a:pt x="1319" y="8593"/>
                      <a:pt x="1319" y="8593"/>
                      <a:pt x="1319" y="8593"/>
                    </a:cubicBezTo>
                    <a:cubicBezTo>
                      <a:pt x="1307" y="8583"/>
                      <a:pt x="1307" y="8583"/>
                      <a:pt x="1307" y="8583"/>
                    </a:cubicBezTo>
                    <a:lnTo>
                      <a:pt x="1082" y="8415"/>
                    </a:lnTo>
                    <a:close/>
                    <a:moveTo>
                      <a:pt x="1291" y="8512"/>
                    </a:moveTo>
                    <a:cubicBezTo>
                      <a:pt x="1205" y="8450"/>
                      <a:pt x="1205" y="8450"/>
                      <a:pt x="1205" y="8450"/>
                    </a:cubicBezTo>
                    <a:cubicBezTo>
                      <a:pt x="1335" y="8369"/>
                      <a:pt x="1335" y="8369"/>
                      <a:pt x="1335" y="8369"/>
                    </a:cubicBezTo>
                    <a:cubicBezTo>
                      <a:pt x="1487" y="8483"/>
                      <a:pt x="1487" y="8483"/>
                      <a:pt x="1487" y="8483"/>
                    </a:cubicBezTo>
                    <a:cubicBezTo>
                      <a:pt x="1447" y="8551"/>
                      <a:pt x="1447" y="8551"/>
                      <a:pt x="1447" y="8551"/>
                    </a:cubicBezTo>
                    <a:cubicBezTo>
                      <a:pt x="1345" y="8478"/>
                      <a:pt x="1345" y="8478"/>
                      <a:pt x="1345" y="8478"/>
                    </a:cubicBezTo>
                    <a:lnTo>
                      <a:pt x="1291" y="8512"/>
                    </a:lnTo>
                    <a:close/>
                    <a:moveTo>
                      <a:pt x="1230" y="8451"/>
                    </a:moveTo>
                    <a:cubicBezTo>
                      <a:pt x="1291" y="8495"/>
                      <a:pt x="1291" y="8495"/>
                      <a:pt x="1291" y="8495"/>
                    </a:cubicBezTo>
                    <a:cubicBezTo>
                      <a:pt x="1337" y="8466"/>
                      <a:pt x="1337" y="8466"/>
                      <a:pt x="1337" y="8466"/>
                    </a:cubicBezTo>
                    <a:cubicBezTo>
                      <a:pt x="1345" y="8461"/>
                      <a:pt x="1345" y="8461"/>
                      <a:pt x="1345" y="8461"/>
                    </a:cubicBezTo>
                    <a:cubicBezTo>
                      <a:pt x="1353" y="8466"/>
                      <a:pt x="1353" y="8466"/>
                      <a:pt x="1353" y="8466"/>
                    </a:cubicBezTo>
                    <a:cubicBezTo>
                      <a:pt x="1442" y="8531"/>
                      <a:pt x="1442" y="8531"/>
                      <a:pt x="1442" y="8531"/>
                    </a:cubicBezTo>
                    <a:cubicBezTo>
                      <a:pt x="1469" y="8487"/>
                      <a:pt x="1469" y="8487"/>
                      <a:pt x="1469" y="8487"/>
                    </a:cubicBezTo>
                    <a:cubicBezTo>
                      <a:pt x="1334" y="8386"/>
                      <a:pt x="1334" y="8386"/>
                      <a:pt x="1334" y="8386"/>
                    </a:cubicBezTo>
                    <a:lnTo>
                      <a:pt x="1230" y="8451"/>
                    </a:lnTo>
                    <a:close/>
                    <a:moveTo>
                      <a:pt x="5464" y="8435"/>
                    </a:moveTo>
                    <a:cubicBezTo>
                      <a:pt x="5613" y="8461"/>
                      <a:pt x="5613" y="8461"/>
                      <a:pt x="5613" y="8461"/>
                    </a:cubicBezTo>
                    <a:cubicBezTo>
                      <a:pt x="5601" y="8532"/>
                      <a:pt x="5601" y="8532"/>
                      <a:pt x="5601" y="8532"/>
                    </a:cubicBezTo>
                    <a:cubicBezTo>
                      <a:pt x="5595" y="8531"/>
                      <a:pt x="5595" y="8531"/>
                      <a:pt x="5595" y="8531"/>
                    </a:cubicBezTo>
                    <a:cubicBezTo>
                      <a:pt x="5452" y="8506"/>
                      <a:pt x="5452" y="8506"/>
                      <a:pt x="5452" y="8506"/>
                    </a:cubicBezTo>
                    <a:lnTo>
                      <a:pt x="5464" y="8435"/>
                    </a:lnTo>
                    <a:close/>
                    <a:moveTo>
                      <a:pt x="5467" y="8495"/>
                    </a:moveTo>
                    <a:cubicBezTo>
                      <a:pt x="5591" y="8517"/>
                      <a:pt x="5591" y="8517"/>
                      <a:pt x="5591" y="8517"/>
                    </a:cubicBezTo>
                    <a:cubicBezTo>
                      <a:pt x="5599" y="8472"/>
                      <a:pt x="5599" y="8472"/>
                      <a:pt x="5599" y="8472"/>
                    </a:cubicBezTo>
                    <a:cubicBezTo>
                      <a:pt x="5475" y="8450"/>
                      <a:pt x="5475" y="8450"/>
                      <a:pt x="5475" y="8450"/>
                    </a:cubicBezTo>
                    <a:lnTo>
                      <a:pt x="5467" y="8495"/>
                    </a:lnTo>
                    <a:close/>
                    <a:moveTo>
                      <a:pt x="5497" y="8689"/>
                    </a:moveTo>
                    <a:cubicBezTo>
                      <a:pt x="5646" y="8715"/>
                      <a:pt x="5646" y="8715"/>
                      <a:pt x="5646" y="8715"/>
                    </a:cubicBezTo>
                    <a:cubicBezTo>
                      <a:pt x="5634" y="8785"/>
                      <a:pt x="5634" y="8785"/>
                      <a:pt x="5634" y="8785"/>
                    </a:cubicBezTo>
                    <a:cubicBezTo>
                      <a:pt x="5627" y="8784"/>
                      <a:pt x="5627" y="8784"/>
                      <a:pt x="5627" y="8784"/>
                    </a:cubicBezTo>
                    <a:cubicBezTo>
                      <a:pt x="5485" y="8759"/>
                      <a:pt x="5485" y="8759"/>
                      <a:pt x="5485" y="8759"/>
                    </a:cubicBezTo>
                    <a:lnTo>
                      <a:pt x="5497" y="8689"/>
                    </a:lnTo>
                    <a:close/>
                    <a:moveTo>
                      <a:pt x="5499" y="8749"/>
                    </a:moveTo>
                    <a:cubicBezTo>
                      <a:pt x="5623" y="8771"/>
                      <a:pt x="5623" y="8771"/>
                      <a:pt x="5623" y="8771"/>
                    </a:cubicBezTo>
                    <a:cubicBezTo>
                      <a:pt x="5631" y="8725"/>
                      <a:pt x="5631" y="8725"/>
                      <a:pt x="5631" y="8725"/>
                    </a:cubicBezTo>
                    <a:cubicBezTo>
                      <a:pt x="5507" y="8704"/>
                      <a:pt x="5507" y="8704"/>
                      <a:pt x="5507" y="8704"/>
                    </a:cubicBezTo>
                    <a:lnTo>
                      <a:pt x="5499" y="8749"/>
                    </a:lnTo>
                    <a:close/>
                    <a:moveTo>
                      <a:pt x="3659" y="9762"/>
                    </a:moveTo>
                    <a:cubicBezTo>
                      <a:pt x="3541" y="9814"/>
                      <a:pt x="3541" y="9814"/>
                      <a:pt x="3541" y="9814"/>
                    </a:cubicBezTo>
                    <a:cubicBezTo>
                      <a:pt x="3563" y="9499"/>
                      <a:pt x="3563" y="9499"/>
                      <a:pt x="3563" y="9499"/>
                    </a:cubicBezTo>
                    <a:cubicBezTo>
                      <a:pt x="3577" y="9497"/>
                      <a:pt x="3577" y="9497"/>
                      <a:pt x="3577" y="9497"/>
                    </a:cubicBezTo>
                    <a:cubicBezTo>
                      <a:pt x="3665" y="9759"/>
                      <a:pt x="3665" y="9759"/>
                      <a:pt x="3665" y="9759"/>
                    </a:cubicBezTo>
                    <a:lnTo>
                      <a:pt x="3659" y="9762"/>
                    </a:lnTo>
                    <a:close/>
                    <a:moveTo>
                      <a:pt x="3647" y="9751"/>
                    </a:moveTo>
                    <a:cubicBezTo>
                      <a:pt x="3575" y="9537"/>
                      <a:pt x="3575" y="9537"/>
                      <a:pt x="3575" y="9537"/>
                    </a:cubicBezTo>
                    <a:cubicBezTo>
                      <a:pt x="3557" y="9790"/>
                      <a:pt x="3557" y="9790"/>
                      <a:pt x="3557" y="9790"/>
                    </a:cubicBezTo>
                    <a:lnTo>
                      <a:pt x="3647" y="9751"/>
                    </a:lnTo>
                    <a:close/>
                    <a:moveTo>
                      <a:pt x="5494" y="8809"/>
                    </a:moveTo>
                    <a:cubicBezTo>
                      <a:pt x="5643" y="8835"/>
                      <a:pt x="5643" y="8835"/>
                      <a:pt x="5643" y="8835"/>
                    </a:cubicBezTo>
                    <a:cubicBezTo>
                      <a:pt x="5631" y="8905"/>
                      <a:pt x="5631" y="8905"/>
                      <a:pt x="5631" y="8905"/>
                    </a:cubicBezTo>
                    <a:cubicBezTo>
                      <a:pt x="5625" y="8904"/>
                      <a:pt x="5625" y="8904"/>
                      <a:pt x="5625" y="8904"/>
                    </a:cubicBezTo>
                    <a:cubicBezTo>
                      <a:pt x="5482" y="8879"/>
                      <a:pt x="5482" y="8879"/>
                      <a:pt x="5482" y="8879"/>
                    </a:cubicBezTo>
                    <a:lnTo>
                      <a:pt x="5494" y="8809"/>
                    </a:lnTo>
                    <a:close/>
                    <a:moveTo>
                      <a:pt x="5497" y="8869"/>
                    </a:moveTo>
                    <a:cubicBezTo>
                      <a:pt x="5621" y="8890"/>
                      <a:pt x="5621" y="8890"/>
                      <a:pt x="5621" y="8890"/>
                    </a:cubicBezTo>
                    <a:cubicBezTo>
                      <a:pt x="5629" y="8845"/>
                      <a:pt x="5629" y="8845"/>
                      <a:pt x="5629" y="8845"/>
                    </a:cubicBezTo>
                    <a:cubicBezTo>
                      <a:pt x="5505" y="8823"/>
                      <a:pt x="5505" y="8823"/>
                      <a:pt x="5505" y="8823"/>
                    </a:cubicBezTo>
                    <a:lnTo>
                      <a:pt x="5497" y="8869"/>
                    </a:lnTo>
                    <a:close/>
                    <a:moveTo>
                      <a:pt x="5046" y="8303"/>
                    </a:moveTo>
                    <a:cubicBezTo>
                      <a:pt x="5045" y="8451"/>
                      <a:pt x="5045" y="8451"/>
                      <a:pt x="5045" y="8451"/>
                    </a:cubicBezTo>
                    <a:cubicBezTo>
                      <a:pt x="5038" y="8451"/>
                      <a:pt x="5038" y="8451"/>
                      <a:pt x="5038" y="8451"/>
                    </a:cubicBezTo>
                    <a:cubicBezTo>
                      <a:pt x="4940" y="8451"/>
                      <a:pt x="4940" y="8451"/>
                      <a:pt x="4940" y="8451"/>
                    </a:cubicBezTo>
                    <a:cubicBezTo>
                      <a:pt x="4941" y="8303"/>
                      <a:pt x="4941" y="8303"/>
                      <a:pt x="4941" y="8303"/>
                    </a:cubicBezTo>
                    <a:lnTo>
                      <a:pt x="5046" y="8303"/>
                    </a:lnTo>
                    <a:close/>
                    <a:moveTo>
                      <a:pt x="5033" y="8316"/>
                    </a:moveTo>
                    <a:cubicBezTo>
                      <a:pt x="4954" y="8316"/>
                      <a:pt x="4954" y="8316"/>
                      <a:pt x="4954" y="8316"/>
                    </a:cubicBezTo>
                    <a:cubicBezTo>
                      <a:pt x="4953" y="8438"/>
                      <a:pt x="4953" y="8438"/>
                      <a:pt x="4953" y="8438"/>
                    </a:cubicBezTo>
                    <a:cubicBezTo>
                      <a:pt x="5032" y="8438"/>
                      <a:pt x="5032" y="8438"/>
                      <a:pt x="5032" y="8438"/>
                    </a:cubicBezTo>
                    <a:lnTo>
                      <a:pt x="5033" y="8316"/>
                    </a:lnTo>
                    <a:close/>
                    <a:moveTo>
                      <a:pt x="5567" y="9017"/>
                    </a:moveTo>
                    <a:cubicBezTo>
                      <a:pt x="5425" y="8992"/>
                      <a:pt x="5425" y="8992"/>
                      <a:pt x="5425" y="8992"/>
                    </a:cubicBezTo>
                    <a:cubicBezTo>
                      <a:pt x="5437" y="8922"/>
                      <a:pt x="5437" y="8922"/>
                      <a:pt x="5437" y="8922"/>
                    </a:cubicBezTo>
                    <a:cubicBezTo>
                      <a:pt x="5586" y="8948"/>
                      <a:pt x="5586" y="8948"/>
                      <a:pt x="5586" y="8948"/>
                    </a:cubicBezTo>
                    <a:cubicBezTo>
                      <a:pt x="5574" y="9018"/>
                      <a:pt x="5574" y="9018"/>
                      <a:pt x="5574" y="9018"/>
                    </a:cubicBezTo>
                    <a:lnTo>
                      <a:pt x="5567" y="9017"/>
                    </a:lnTo>
                    <a:close/>
                    <a:moveTo>
                      <a:pt x="5563" y="9004"/>
                    </a:moveTo>
                    <a:cubicBezTo>
                      <a:pt x="5571" y="8958"/>
                      <a:pt x="5571" y="8958"/>
                      <a:pt x="5571" y="8958"/>
                    </a:cubicBezTo>
                    <a:cubicBezTo>
                      <a:pt x="5448" y="8937"/>
                      <a:pt x="5448" y="8937"/>
                      <a:pt x="5448" y="8937"/>
                    </a:cubicBezTo>
                    <a:cubicBezTo>
                      <a:pt x="5440" y="8982"/>
                      <a:pt x="5440" y="8982"/>
                      <a:pt x="5440" y="8982"/>
                    </a:cubicBezTo>
                    <a:lnTo>
                      <a:pt x="5563" y="9004"/>
                    </a:lnTo>
                    <a:close/>
                    <a:moveTo>
                      <a:pt x="5485" y="8572"/>
                    </a:moveTo>
                    <a:cubicBezTo>
                      <a:pt x="5634" y="8598"/>
                      <a:pt x="5634" y="8598"/>
                      <a:pt x="5634" y="8598"/>
                    </a:cubicBezTo>
                    <a:cubicBezTo>
                      <a:pt x="5622" y="8668"/>
                      <a:pt x="5622" y="8668"/>
                      <a:pt x="5622" y="8668"/>
                    </a:cubicBezTo>
                    <a:cubicBezTo>
                      <a:pt x="5616" y="8667"/>
                      <a:pt x="5616" y="8667"/>
                      <a:pt x="5616" y="8667"/>
                    </a:cubicBezTo>
                    <a:cubicBezTo>
                      <a:pt x="5473" y="8642"/>
                      <a:pt x="5473" y="8642"/>
                      <a:pt x="5473" y="8642"/>
                    </a:cubicBezTo>
                    <a:lnTo>
                      <a:pt x="5485" y="8572"/>
                    </a:lnTo>
                    <a:close/>
                    <a:moveTo>
                      <a:pt x="5488" y="8632"/>
                    </a:moveTo>
                    <a:cubicBezTo>
                      <a:pt x="5612" y="8654"/>
                      <a:pt x="5612" y="8654"/>
                      <a:pt x="5612" y="8654"/>
                    </a:cubicBezTo>
                    <a:cubicBezTo>
                      <a:pt x="5619" y="8608"/>
                      <a:pt x="5619" y="8608"/>
                      <a:pt x="5619" y="8608"/>
                    </a:cubicBezTo>
                    <a:cubicBezTo>
                      <a:pt x="5496" y="8587"/>
                      <a:pt x="5496" y="8587"/>
                      <a:pt x="5496" y="8587"/>
                    </a:cubicBezTo>
                    <a:lnTo>
                      <a:pt x="5488" y="8632"/>
                    </a:lnTo>
                    <a:close/>
                    <a:moveTo>
                      <a:pt x="5347" y="8623"/>
                    </a:moveTo>
                    <a:cubicBezTo>
                      <a:pt x="5391" y="8768"/>
                      <a:pt x="5391" y="8768"/>
                      <a:pt x="5391" y="8768"/>
                    </a:cubicBezTo>
                    <a:cubicBezTo>
                      <a:pt x="5323" y="8789"/>
                      <a:pt x="5323" y="8789"/>
                      <a:pt x="5323" y="8789"/>
                    </a:cubicBezTo>
                    <a:cubicBezTo>
                      <a:pt x="5321" y="8783"/>
                      <a:pt x="5321" y="8783"/>
                      <a:pt x="5321" y="8783"/>
                    </a:cubicBezTo>
                    <a:cubicBezTo>
                      <a:pt x="5279" y="8644"/>
                      <a:pt x="5279" y="8644"/>
                      <a:pt x="5279" y="8644"/>
                    </a:cubicBezTo>
                    <a:lnTo>
                      <a:pt x="5347" y="8623"/>
                    </a:lnTo>
                    <a:close/>
                    <a:moveTo>
                      <a:pt x="5375" y="8760"/>
                    </a:moveTo>
                    <a:cubicBezTo>
                      <a:pt x="5339" y="8639"/>
                      <a:pt x="5339" y="8639"/>
                      <a:pt x="5339" y="8639"/>
                    </a:cubicBezTo>
                    <a:cubicBezTo>
                      <a:pt x="5295" y="8653"/>
                      <a:pt x="5295" y="8653"/>
                      <a:pt x="5295" y="8653"/>
                    </a:cubicBezTo>
                    <a:cubicBezTo>
                      <a:pt x="5331" y="8773"/>
                      <a:pt x="5331" y="8773"/>
                      <a:pt x="5331" y="8773"/>
                    </a:cubicBezTo>
                    <a:lnTo>
                      <a:pt x="5375" y="8760"/>
                    </a:lnTo>
                    <a:close/>
                    <a:moveTo>
                      <a:pt x="5228" y="8313"/>
                    </a:moveTo>
                    <a:cubicBezTo>
                      <a:pt x="5332" y="8314"/>
                      <a:pt x="5332" y="8314"/>
                      <a:pt x="5332" y="8314"/>
                    </a:cubicBezTo>
                    <a:cubicBezTo>
                      <a:pt x="5331" y="8462"/>
                      <a:pt x="5331" y="8462"/>
                      <a:pt x="5331" y="8462"/>
                    </a:cubicBezTo>
                    <a:cubicBezTo>
                      <a:pt x="5324" y="8462"/>
                      <a:pt x="5324" y="8462"/>
                      <a:pt x="5324" y="8462"/>
                    </a:cubicBezTo>
                    <a:cubicBezTo>
                      <a:pt x="5226" y="8461"/>
                      <a:pt x="5226" y="8461"/>
                      <a:pt x="5226" y="8461"/>
                    </a:cubicBezTo>
                    <a:lnTo>
                      <a:pt x="5228" y="8313"/>
                    </a:lnTo>
                    <a:close/>
                    <a:moveTo>
                      <a:pt x="5239" y="8448"/>
                    </a:moveTo>
                    <a:cubicBezTo>
                      <a:pt x="5318" y="8449"/>
                      <a:pt x="5318" y="8449"/>
                      <a:pt x="5318" y="8449"/>
                    </a:cubicBezTo>
                    <a:cubicBezTo>
                      <a:pt x="5319" y="8327"/>
                      <a:pt x="5319" y="8327"/>
                      <a:pt x="5319" y="8327"/>
                    </a:cubicBezTo>
                    <a:cubicBezTo>
                      <a:pt x="5240" y="8326"/>
                      <a:pt x="5240" y="8326"/>
                      <a:pt x="5240" y="8326"/>
                    </a:cubicBezTo>
                    <a:lnTo>
                      <a:pt x="5239" y="8448"/>
                    </a:lnTo>
                    <a:close/>
                    <a:moveTo>
                      <a:pt x="2605" y="7933"/>
                    </a:moveTo>
                    <a:cubicBezTo>
                      <a:pt x="2539" y="7946"/>
                      <a:pt x="2539" y="7946"/>
                      <a:pt x="2539" y="7946"/>
                    </a:cubicBezTo>
                    <a:cubicBezTo>
                      <a:pt x="2726" y="7538"/>
                      <a:pt x="2726" y="7538"/>
                      <a:pt x="2726" y="7538"/>
                    </a:cubicBezTo>
                    <a:cubicBezTo>
                      <a:pt x="2830" y="7560"/>
                      <a:pt x="2830" y="7560"/>
                      <a:pt x="2830" y="7560"/>
                    </a:cubicBezTo>
                    <a:cubicBezTo>
                      <a:pt x="2831" y="7564"/>
                      <a:pt x="2831" y="7564"/>
                      <a:pt x="2831" y="7564"/>
                    </a:cubicBezTo>
                    <a:cubicBezTo>
                      <a:pt x="2859" y="7654"/>
                      <a:pt x="2859" y="7654"/>
                      <a:pt x="2859" y="7654"/>
                    </a:cubicBezTo>
                    <a:lnTo>
                      <a:pt x="2605" y="7933"/>
                    </a:lnTo>
                    <a:close/>
                    <a:moveTo>
                      <a:pt x="2597" y="7920"/>
                    </a:moveTo>
                    <a:cubicBezTo>
                      <a:pt x="2843" y="7650"/>
                      <a:pt x="2843" y="7650"/>
                      <a:pt x="2843" y="7650"/>
                    </a:cubicBezTo>
                    <a:cubicBezTo>
                      <a:pt x="2818" y="7573"/>
                      <a:pt x="2818" y="7573"/>
                      <a:pt x="2818" y="7573"/>
                    </a:cubicBezTo>
                    <a:cubicBezTo>
                      <a:pt x="2734" y="7555"/>
                      <a:pt x="2734" y="7555"/>
                      <a:pt x="2734" y="7555"/>
                    </a:cubicBezTo>
                    <a:cubicBezTo>
                      <a:pt x="2564" y="7926"/>
                      <a:pt x="2564" y="7926"/>
                      <a:pt x="2564" y="7926"/>
                    </a:cubicBezTo>
                    <a:lnTo>
                      <a:pt x="2597" y="7920"/>
                    </a:lnTo>
                    <a:close/>
                    <a:moveTo>
                      <a:pt x="3228" y="4782"/>
                    </a:moveTo>
                    <a:cubicBezTo>
                      <a:pt x="3301" y="4802"/>
                      <a:pt x="3301" y="4802"/>
                      <a:pt x="3301" y="4802"/>
                    </a:cubicBezTo>
                    <a:cubicBezTo>
                      <a:pt x="3262" y="4948"/>
                      <a:pt x="3262" y="4948"/>
                      <a:pt x="3262" y="4948"/>
                    </a:cubicBezTo>
                    <a:cubicBezTo>
                      <a:pt x="3188" y="4929"/>
                      <a:pt x="3188" y="4929"/>
                      <a:pt x="3188" y="4929"/>
                    </a:cubicBezTo>
                    <a:cubicBezTo>
                      <a:pt x="3190" y="4922"/>
                      <a:pt x="3190" y="4922"/>
                      <a:pt x="3190" y="4922"/>
                    </a:cubicBezTo>
                    <a:lnTo>
                      <a:pt x="3228" y="4782"/>
                    </a:lnTo>
                    <a:close/>
                    <a:moveTo>
                      <a:pt x="3237" y="4799"/>
                    </a:moveTo>
                    <a:cubicBezTo>
                      <a:pt x="3204" y="4919"/>
                      <a:pt x="3204" y="4919"/>
                      <a:pt x="3204" y="4919"/>
                    </a:cubicBezTo>
                    <a:cubicBezTo>
                      <a:pt x="3252" y="4932"/>
                      <a:pt x="3252" y="4932"/>
                      <a:pt x="3252" y="4932"/>
                    </a:cubicBezTo>
                    <a:cubicBezTo>
                      <a:pt x="3285" y="4811"/>
                      <a:pt x="3285" y="4811"/>
                      <a:pt x="3285" y="4811"/>
                    </a:cubicBezTo>
                    <a:lnTo>
                      <a:pt x="3237" y="4799"/>
                    </a:lnTo>
                    <a:close/>
                    <a:moveTo>
                      <a:pt x="14374" y="10821"/>
                    </a:moveTo>
                    <a:cubicBezTo>
                      <a:pt x="14397" y="10821"/>
                      <a:pt x="14397" y="10821"/>
                      <a:pt x="14397" y="10821"/>
                    </a:cubicBezTo>
                    <a:cubicBezTo>
                      <a:pt x="14461" y="10764"/>
                      <a:pt x="14461" y="10764"/>
                      <a:pt x="14461" y="10764"/>
                    </a:cubicBezTo>
                    <a:cubicBezTo>
                      <a:pt x="14512" y="10821"/>
                      <a:pt x="14512" y="10821"/>
                      <a:pt x="14512" y="10821"/>
                    </a:cubicBezTo>
                    <a:cubicBezTo>
                      <a:pt x="14532" y="10821"/>
                      <a:pt x="14532" y="10821"/>
                      <a:pt x="14532" y="10821"/>
                    </a:cubicBezTo>
                    <a:cubicBezTo>
                      <a:pt x="14462" y="10744"/>
                      <a:pt x="14462" y="10744"/>
                      <a:pt x="14462" y="10744"/>
                    </a:cubicBezTo>
                    <a:lnTo>
                      <a:pt x="14374" y="10821"/>
                    </a:lnTo>
                    <a:close/>
                    <a:moveTo>
                      <a:pt x="5132" y="5615"/>
                    </a:moveTo>
                    <a:cubicBezTo>
                      <a:pt x="4922" y="5600"/>
                      <a:pt x="4922" y="5600"/>
                      <a:pt x="4922" y="5600"/>
                    </a:cubicBezTo>
                    <a:cubicBezTo>
                      <a:pt x="4922" y="5593"/>
                      <a:pt x="4922" y="5593"/>
                      <a:pt x="4922" y="5593"/>
                    </a:cubicBezTo>
                    <a:cubicBezTo>
                      <a:pt x="4928" y="5514"/>
                      <a:pt x="4928" y="5514"/>
                      <a:pt x="4928" y="5514"/>
                    </a:cubicBezTo>
                    <a:cubicBezTo>
                      <a:pt x="4975" y="5517"/>
                      <a:pt x="4975" y="5517"/>
                      <a:pt x="4975" y="5517"/>
                    </a:cubicBezTo>
                    <a:cubicBezTo>
                      <a:pt x="4978" y="5474"/>
                      <a:pt x="4978" y="5474"/>
                      <a:pt x="4978" y="5474"/>
                    </a:cubicBezTo>
                    <a:cubicBezTo>
                      <a:pt x="5095" y="5483"/>
                      <a:pt x="5095" y="5483"/>
                      <a:pt x="5095" y="5483"/>
                    </a:cubicBezTo>
                    <a:cubicBezTo>
                      <a:pt x="5091" y="5526"/>
                      <a:pt x="5091" y="5526"/>
                      <a:pt x="5091" y="5526"/>
                    </a:cubicBezTo>
                    <a:cubicBezTo>
                      <a:pt x="5138" y="5529"/>
                      <a:pt x="5138" y="5529"/>
                      <a:pt x="5138" y="5529"/>
                    </a:cubicBezTo>
                    <a:lnTo>
                      <a:pt x="5132" y="5615"/>
                    </a:lnTo>
                    <a:close/>
                    <a:moveTo>
                      <a:pt x="5124" y="5541"/>
                    </a:moveTo>
                    <a:cubicBezTo>
                      <a:pt x="5077" y="5538"/>
                      <a:pt x="5077" y="5538"/>
                      <a:pt x="5077" y="5538"/>
                    </a:cubicBezTo>
                    <a:cubicBezTo>
                      <a:pt x="5081" y="5495"/>
                      <a:pt x="5081" y="5495"/>
                      <a:pt x="5081" y="5495"/>
                    </a:cubicBezTo>
                    <a:cubicBezTo>
                      <a:pt x="4990" y="5488"/>
                      <a:pt x="4990" y="5488"/>
                      <a:pt x="4990" y="5488"/>
                    </a:cubicBezTo>
                    <a:cubicBezTo>
                      <a:pt x="4987" y="5531"/>
                      <a:pt x="4987" y="5531"/>
                      <a:pt x="4987" y="5531"/>
                    </a:cubicBezTo>
                    <a:cubicBezTo>
                      <a:pt x="4940" y="5528"/>
                      <a:pt x="4940" y="5528"/>
                      <a:pt x="4940" y="5528"/>
                    </a:cubicBezTo>
                    <a:cubicBezTo>
                      <a:pt x="4936" y="5587"/>
                      <a:pt x="4936" y="5587"/>
                      <a:pt x="4936" y="5587"/>
                    </a:cubicBezTo>
                    <a:cubicBezTo>
                      <a:pt x="5120" y="5601"/>
                      <a:pt x="5120" y="5601"/>
                      <a:pt x="5120" y="5601"/>
                    </a:cubicBezTo>
                    <a:lnTo>
                      <a:pt x="5124" y="5541"/>
                    </a:lnTo>
                    <a:close/>
                    <a:moveTo>
                      <a:pt x="3411" y="5065"/>
                    </a:moveTo>
                    <a:cubicBezTo>
                      <a:pt x="3411" y="5064"/>
                      <a:pt x="3411" y="5064"/>
                      <a:pt x="3411" y="5064"/>
                    </a:cubicBezTo>
                    <a:cubicBezTo>
                      <a:pt x="3411" y="5065"/>
                      <a:pt x="3411" y="5065"/>
                      <a:pt x="3411" y="5065"/>
                    </a:cubicBezTo>
                    <a:close/>
                    <a:moveTo>
                      <a:pt x="7998" y="6683"/>
                    </a:moveTo>
                    <a:cubicBezTo>
                      <a:pt x="8146" y="6714"/>
                      <a:pt x="8146" y="6714"/>
                      <a:pt x="8146" y="6714"/>
                    </a:cubicBezTo>
                    <a:cubicBezTo>
                      <a:pt x="8130" y="6788"/>
                      <a:pt x="8130" y="6788"/>
                      <a:pt x="8130" y="6788"/>
                    </a:cubicBezTo>
                    <a:cubicBezTo>
                      <a:pt x="8124" y="6787"/>
                      <a:pt x="8124" y="6787"/>
                      <a:pt x="8124" y="6787"/>
                    </a:cubicBezTo>
                    <a:cubicBezTo>
                      <a:pt x="7982" y="6757"/>
                      <a:pt x="7982" y="6757"/>
                      <a:pt x="7982" y="6757"/>
                    </a:cubicBezTo>
                    <a:lnTo>
                      <a:pt x="7998" y="6683"/>
                    </a:lnTo>
                    <a:close/>
                    <a:moveTo>
                      <a:pt x="8008" y="6698"/>
                    </a:moveTo>
                    <a:cubicBezTo>
                      <a:pt x="7998" y="6747"/>
                      <a:pt x="7998" y="6747"/>
                      <a:pt x="7998" y="6747"/>
                    </a:cubicBezTo>
                    <a:cubicBezTo>
                      <a:pt x="8120" y="6773"/>
                      <a:pt x="8120" y="6773"/>
                      <a:pt x="8120" y="6773"/>
                    </a:cubicBezTo>
                    <a:cubicBezTo>
                      <a:pt x="8130" y="6724"/>
                      <a:pt x="8130" y="6724"/>
                      <a:pt x="8130" y="6724"/>
                    </a:cubicBezTo>
                    <a:lnTo>
                      <a:pt x="8008" y="6698"/>
                    </a:lnTo>
                    <a:close/>
                    <a:moveTo>
                      <a:pt x="14085" y="10780"/>
                    </a:moveTo>
                    <a:cubicBezTo>
                      <a:pt x="14121" y="10821"/>
                      <a:pt x="14121" y="10821"/>
                      <a:pt x="14121" y="10821"/>
                    </a:cubicBezTo>
                    <a:cubicBezTo>
                      <a:pt x="14141" y="10821"/>
                      <a:pt x="14141" y="10821"/>
                      <a:pt x="14141" y="10821"/>
                    </a:cubicBezTo>
                    <a:cubicBezTo>
                      <a:pt x="14087" y="10759"/>
                      <a:pt x="14087" y="10759"/>
                      <a:pt x="14087" y="10759"/>
                    </a:cubicBezTo>
                    <a:cubicBezTo>
                      <a:pt x="14081" y="10764"/>
                      <a:pt x="14081" y="10764"/>
                      <a:pt x="14081" y="10764"/>
                    </a:cubicBezTo>
                    <a:cubicBezTo>
                      <a:pt x="14017" y="10821"/>
                      <a:pt x="14017" y="10821"/>
                      <a:pt x="14017" y="10821"/>
                    </a:cubicBezTo>
                    <a:cubicBezTo>
                      <a:pt x="14039" y="10821"/>
                      <a:pt x="14039" y="10821"/>
                      <a:pt x="14039" y="10821"/>
                    </a:cubicBezTo>
                    <a:lnTo>
                      <a:pt x="14085" y="10780"/>
                    </a:lnTo>
                    <a:close/>
                    <a:moveTo>
                      <a:pt x="12701" y="9341"/>
                    </a:moveTo>
                    <a:cubicBezTo>
                      <a:pt x="12700" y="9383"/>
                      <a:pt x="12700" y="9383"/>
                      <a:pt x="12700" y="9383"/>
                    </a:cubicBezTo>
                    <a:cubicBezTo>
                      <a:pt x="12617" y="9381"/>
                      <a:pt x="12617" y="9381"/>
                      <a:pt x="12617" y="9381"/>
                    </a:cubicBezTo>
                    <a:cubicBezTo>
                      <a:pt x="12613" y="9338"/>
                      <a:pt x="12613" y="9338"/>
                      <a:pt x="12613" y="9338"/>
                    </a:cubicBezTo>
                    <a:cubicBezTo>
                      <a:pt x="12478" y="9337"/>
                      <a:pt x="12478" y="9337"/>
                      <a:pt x="12478" y="9337"/>
                    </a:cubicBezTo>
                    <a:cubicBezTo>
                      <a:pt x="12476" y="9282"/>
                      <a:pt x="12476" y="9282"/>
                      <a:pt x="12476" y="9282"/>
                    </a:cubicBezTo>
                    <a:cubicBezTo>
                      <a:pt x="12457" y="9280"/>
                      <a:pt x="12457" y="9280"/>
                      <a:pt x="12457" y="9280"/>
                    </a:cubicBezTo>
                    <a:cubicBezTo>
                      <a:pt x="12451" y="9280"/>
                      <a:pt x="12451" y="9280"/>
                      <a:pt x="12451" y="9280"/>
                    </a:cubicBezTo>
                    <a:cubicBezTo>
                      <a:pt x="12450" y="9212"/>
                      <a:pt x="12450" y="9212"/>
                      <a:pt x="12450" y="9212"/>
                    </a:cubicBezTo>
                    <a:cubicBezTo>
                      <a:pt x="12482" y="9210"/>
                      <a:pt x="12482" y="9210"/>
                      <a:pt x="12482" y="9210"/>
                    </a:cubicBezTo>
                    <a:cubicBezTo>
                      <a:pt x="12480" y="9145"/>
                      <a:pt x="12480" y="9145"/>
                      <a:pt x="12480" y="9145"/>
                    </a:cubicBezTo>
                    <a:cubicBezTo>
                      <a:pt x="12556" y="9145"/>
                      <a:pt x="12556" y="9145"/>
                      <a:pt x="12556" y="9145"/>
                    </a:cubicBezTo>
                    <a:cubicBezTo>
                      <a:pt x="12555" y="9126"/>
                      <a:pt x="12555" y="9126"/>
                      <a:pt x="12555" y="9126"/>
                    </a:cubicBezTo>
                    <a:cubicBezTo>
                      <a:pt x="12554" y="9120"/>
                      <a:pt x="12554" y="9120"/>
                      <a:pt x="12554" y="9120"/>
                    </a:cubicBezTo>
                    <a:cubicBezTo>
                      <a:pt x="12656" y="9117"/>
                      <a:pt x="12656" y="9117"/>
                      <a:pt x="12656" y="9117"/>
                    </a:cubicBezTo>
                    <a:cubicBezTo>
                      <a:pt x="12657" y="9146"/>
                      <a:pt x="12657" y="9146"/>
                      <a:pt x="12657" y="9146"/>
                    </a:cubicBezTo>
                    <a:cubicBezTo>
                      <a:pt x="12792" y="9148"/>
                      <a:pt x="12792" y="9148"/>
                      <a:pt x="12792" y="9148"/>
                    </a:cubicBezTo>
                    <a:cubicBezTo>
                      <a:pt x="12791" y="9340"/>
                      <a:pt x="12791" y="9340"/>
                      <a:pt x="12791" y="9340"/>
                    </a:cubicBezTo>
                    <a:cubicBezTo>
                      <a:pt x="12784" y="9340"/>
                      <a:pt x="12784" y="9340"/>
                      <a:pt x="12784" y="9340"/>
                    </a:cubicBezTo>
                    <a:lnTo>
                      <a:pt x="12701" y="9341"/>
                    </a:lnTo>
                    <a:close/>
                    <a:moveTo>
                      <a:pt x="12778" y="9327"/>
                    </a:moveTo>
                    <a:cubicBezTo>
                      <a:pt x="12779" y="9161"/>
                      <a:pt x="12779" y="9161"/>
                      <a:pt x="12779" y="9161"/>
                    </a:cubicBezTo>
                    <a:cubicBezTo>
                      <a:pt x="12645" y="9159"/>
                      <a:pt x="12645" y="9159"/>
                      <a:pt x="12645" y="9159"/>
                    </a:cubicBezTo>
                    <a:cubicBezTo>
                      <a:pt x="12643" y="9130"/>
                      <a:pt x="12643" y="9130"/>
                      <a:pt x="12643" y="9130"/>
                    </a:cubicBezTo>
                    <a:cubicBezTo>
                      <a:pt x="12568" y="9132"/>
                      <a:pt x="12568" y="9132"/>
                      <a:pt x="12568" y="9132"/>
                    </a:cubicBezTo>
                    <a:cubicBezTo>
                      <a:pt x="12569" y="9151"/>
                      <a:pt x="12569" y="9151"/>
                      <a:pt x="12569" y="9151"/>
                    </a:cubicBezTo>
                    <a:cubicBezTo>
                      <a:pt x="12569" y="9158"/>
                      <a:pt x="12569" y="9158"/>
                      <a:pt x="12569" y="9158"/>
                    </a:cubicBezTo>
                    <a:cubicBezTo>
                      <a:pt x="12494" y="9158"/>
                      <a:pt x="12494" y="9158"/>
                      <a:pt x="12494" y="9158"/>
                    </a:cubicBezTo>
                    <a:cubicBezTo>
                      <a:pt x="12496" y="9223"/>
                      <a:pt x="12496" y="9223"/>
                      <a:pt x="12496" y="9223"/>
                    </a:cubicBezTo>
                    <a:cubicBezTo>
                      <a:pt x="12463" y="9225"/>
                      <a:pt x="12463" y="9225"/>
                      <a:pt x="12463" y="9225"/>
                    </a:cubicBezTo>
                    <a:cubicBezTo>
                      <a:pt x="12463" y="9268"/>
                      <a:pt x="12463" y="9268"/>
                      <a:pt x="12463" y="9268"/>
                    </a:cubicBezTo>
                    <a:cubicBezTo>
                      <a:pt x="12483" y="9269"/>
                      <a:pt x="12483" y="9269"/>
                      <a:pt x="12483" y="9269"/>
                    </a:cubicBezTo>
                    <a:cubicBezTo>
                      <a:pt x="12489" y="9269"/>
                      <a:pt x="12489" y="9269"/>
                      <a:pt x="12489" y="9269"/>
                    </a:cubicBezTo>
                    <a:cubicBezTo>
                      <a:pt x="12491" y="9324"/>
                      <a:pt x="12491" y="9324"/>
                      <a:pt x="12491" y="9324"/>
                    </a:cubicBezTo>
                    <a:cubicBezTo>
                      <a:pt x="12624" y="9325"/>
                      <a:pt x="12624" y="9325"/>
                      <a:pt x="12624" y="9325"/>
                    </a:cubicBezTo>
                    <a:cubicBezTo>
                      <a:pt x="12629" y="9368"/>
                      <a:pt x="12629" y="9368"/>
                      <a:pt x="12629" y="9368"/>
                    </a:cubicBezTo>
                    <a:cubicBezTo>
                      <a:pt x="12687" y="9370"/>
                      <a:pt x="12687" y="9370"/>
                      <a:pt x="12687" y="9370"/>
                    </a:cubicBezTo>
                    <a:cubicBezTo>
                      <a:pt x="12688" y="9328"/>
                      <a:pt x="12688" y="9328"/>
                      <a:pt x="12688" y="9328"/>
                    </a:cubicBezTo>
                    <a:lnTo>
                      <a:pt x="12778" y="9327"/>
                    </a:lnTo>
                    <a:close/>
                    <a:moveTo>
                      <a:pt x="7541" y="10737"/>
                    </a:moveTo>
                    <a:cubicBezTo>
                      <a:pt x="7486" y="10720"/>
                      <a:pt x="7486" y="10720"/>
                      <a:pt x="7486" y="10720"/>
                    </a:cubicBezTo>
                    <a:cubicBezTo>
                      <a:pt x="7508" y="10645"/>
                      <a:pt x="7508" y="10645"/>
                      <a:pt x="7508" y="10645"/>
                    </a:cubicBezTo>
                    <a:cubicBezTo>
                      <a:pt x="7402" y="10616"/>
                      <a:pt x="7402" y="10616"/>
                      <a:pt x="7402" y="10616"/>
                    </a:cubicBezTo>
                    <a:cubicBezTo>
                      <a:pt x="7353" y="10795"/>
                      <a:pt x="7353" y="10795"/>
                      <a:pt x="7353" y="10795"/>
                    </a:cubicBezTo>
                    <a:cubicBezTo>
                      <a:pt x="7403" y="10809"/>
                      <a:pt x="7403" y="10809"/>
                      <a:pt x="7403" y="10809"/>
                    </a:cubicBezTo>
                    <a:cubicBezTo>
                      <a:pt x="7399" y="10821"/>
                      <a:pt x="7399" y="10821"/>
                      <a:pt x="7399" y="10821"/>
                    </a:cubicBezTo>
                    <a:cubicBezTo>
                      <a:pt x="7439" y="10821"/>
                      <a:pt x="7439" y="10821"/>
                      <a:pt x="7439" y="10821"/>
                    </a:cubicBezTo>
                    <a:cubicBezTo>
                      <a:pt x="7415" y="10814"/>
                      <a:pt x="7415" y="10814"/>
                      <a:pt x="7415" y="10814"/>
                    </a:cubicBezTo>
                    <a:cubicBezTo>
                      <a:pt x="7419" y="10800"/>
                      <a:pt x="7419" y="10800"/>
                      <a:pt x="7419" y="10800"/>
                    </a:cubicBezTo>
                    <a:cubicBezTo>
                      <a:pt x="7369" y="10786"/>
                      <a:pt x="7369" y="10786"/>
                      <a:pt x="7369" y="10786"/>
                    </a:cubicBezTo>
                    <a:cubicBezTo>
                      <a:pt x="7411" y="10632"/>
                      <a:pt x="7411" y="10632"/>
                      <a:pt x="7411" y="10632"/>
                    </a:cubicBezTo>
                    <a:cubicBezTo>
                      <a:pt x="7492" y="10654"/>
                      <a:pt x="7492" y="10654"/>
                      <a:pt x="7492" y="10654"/>
                    </a:cubicBezTo>
                    <a:cubicBezTo>
                      <a:pt x="7470" y="10728"/>
                      <a:pt x="7470" y="10728"/>
                      <a:pt x="7470" y="10728"/>
                    </a:cubicBezTo>
                    <a:cubicBezTo>
                      <a:pt x="7525" y="10746"/>
                      <a:pt x="7525" y="10746"/>
                      <a:pt x="7525" y="10746"/>
                    </a:cubicBezTo>
                    <a:cubicBezTo>
                      <a:pt x="7505" y="10821"/>
                      <a:pt x="7505" y="10821"/>
                      <a:pt x="7505" y="10821"/>
                    </a:cubicBezTo>
                    <a:cubicBezTo>
                      <a:pt x="7518" y="10821"/>
                      <a:pt x="7518" y="10821"/>
                      <a:pt x="7518" y="10821"/>
                    </a:cubicBezTo>
                    <a:cubicBezTo>
                      <a:pt x="7539" y="10743"/>
                      <a:pt x="7539" y="10743"/>
                      <a:pt x="7539" y="10743"/>
                    </a:cubicBezTo>
                    <a:lnTo>
                      <a:pt x="7541" y="10737"/>
                    </a:lnTo>
                    <a:close/>
                    <a:moveTo>
                      <a:pt x="2859" y="7406"/>
                    </a:moveTo>
                    <a:cubicBezTo>
                      <a:pt x="2848" y="7163"/>
                      <a:pt x="2848" y="7163"/>
                      <a:pt x="2848" y="7163"/>
                    </a:cubicBezTo>
                    <a:cubicBezTo>
                      <a:pt x="2899" y="7149"/>
                      <a:pt x="2899" y="7149"/>
                      <a:pt x="2899" y="7149"/>
                    </a:cubicBezTo>
                    <a:cubicBezTo>
                      <a:pt x="2902" y="7154"/>
                      <a:pt x="2902" y="7154"/>
                      <a:pt x="2902" y="7154"/>
                    </a:cubicBezTo>
                    <a:cubicBezTo>
                      <a:pt x="2995" y="7372"/>
                      <a:pt x="2995" y="7372"/>
                      <a:pt x="2995" y="7372"/>
                    </a:cubicBezTo>
                    <a:lnTo>
                      <a:pt x="2859" y="7406"/>
                    </a:lnTo>
                    <a:close/>
                    <a:moveTo>
                      <a:pt x="2864" y="7174"/>
                    </a:moveTo>
                    <a:cubicBezTo>
                      <a:pt x="2873" y="7387"/>
                      <a:pt x="2873" y="7387"/>
                      <a:pt x="2873" y="7387"/>
                    </a:cubicBezTo>
                    <a:cubicBezTo>
                      <a:pt x="2975" y="7362"/>
                      <a:pt x="2975" y="7362"/>
                      <a:pt x="2975" y="7362"/>
                    </a:cubicBezTo>
                    <a:cubicBezTo>
                      <a:pt x="2891" y="7166"/>
                      <a:pt x="2891" y="7166"/>
                      <a:pt x="2891" y="7166"/>
                    </a:cubicBezTo>
                    <a:lnTo>
                      <a:pt x="2864" y="7174"/>
                    </a:lnTo>
                    <a:close/>
                    <a:moveTo>
                      <a:pt x="2285" y="6587"/>
                    </a:moveTo>
                    <a:cubicBezTo>
                      <a:pt x="2559" y="6751"/>
                      <a:pt x="2559" y="6751"/>
                      <a:pt x="2559" y="6751"/>
                    </a:cubicBezTo>
                    <a:cubicBezTo>
                      <a:pt x="2557" y="6756"/>
                      <a:pt x="2557" y="6756"/>
                      <a:pt x="2557" y="6756"/>
                    </a:cubicBezTo>
                    <a:cubicBezTo>
                      <a:pt x="2437" y="7198"/>
                      <a:pt x="2437" y="7198"/>
                      <a:pt x="2437" y="7198"/>
                    </a:cubicBezTo>
                    <a:cubicBezTo>
                      <a:pt x="2254" y="7068"/>
                      <a:pt x="2254" y="7068"/>
                      <a:pt x="2254" y="7068"/>
                    </a:cubicBezTo>
                    <a:cubicBezTo>
                      <a:pt x="2306" y="6959"/>
                      <a:pt x="2306" y="6959"/>
                      <a:pt x="2306" y="6959"/>
                    </a:cubicBezTo>
                    <a:cubicBezTo>
                      <a:pt x="2374" y="7000"/>
                      <a:pt x="2374" y="7000"/>
                      <a:pt x="2374" y="7000"/>
                    </a:cubicBezTo>
                    <a:cubicBezTo>
                      <a:pt x="2421" y="6832"/>
                      <a:pt x="2421" y="6832"/>
                      <a:pt x="2421" y="6832"/>
                    </a:cubicBezTo>
                    <a:cubicBezTo>
                      <a:pt x="2317" y="6772"/>
                      <a:pt x="2317" y="6772"/>
                      <a:pt x="2317" y="6772"/>
                    </a:cubicBezTo>
                    <a:cubicBezTo>
                      <a:pt x="2218" y="6912"/>
                      <a:pt x="2218" y="6912"/>
                      <a:pt x="2218" y="6912"/>
                    </a:cubicBezTo>
                    <a:cubicBezTo>
                      <a:pt x="2260" y="6935"/>
                      <a:pt x="2260" y="6935"/>
                      <a:pt x="2260" y="6935"/>
                    </a:cubicBezTo>
                    <a:cubicBezTo>
                      <a:pt x="2212" y="7043"/>
                      <a:pt x="2212" y="7043"/>
                      <a:pt x="2212" y="7043"/>
                    </a:cubicBezTo>
                    <a:cubicBezTo>
                      <a:pt x="2045" y="6958"/>
                      <a:pt x="2045" y="6958"/>
                      <a:pt x="2045" y="6958"/>
                    </a:cubicBezTo>
                    <a:lnTo>
                      <a:pt x="2285" y="6587"/>
                    </a:lnTo>
                    <a:close/>
                    <a:moveTo>
                      <a:pt x="2290" y="6607"/>
                    </a:moveTo>
                    <a:cubicBezTo>
                      <a:pt x="2066" y="6953"/>
                      <a:pt x="2066" y="6953"/>
                      <a:pt x="2066" y="6953"/>
                    </a:cubicBezTo>
                    <a:cubicBezTo>
                      <a:pt x="2205" y="7023"/>
                      <a:pt x="2205" y="7023"/>
                      <a:pt x="2205" y="7023"/>
                    </a:cubicBezTo>
                    <a:cubicBezTo>
                      <a:pt x="2241" y="6942"/>
                      <a:pt x="2241" y="6942"/>
                      <a:pt x="2241" y="6942"/>
                    </a:cubicBezTo>
                    <a:cubicBezTo>
                      <a:pt x="2197" y="6917"/>
                      <a:pt x="2197" y="6917"/>
                      <a:pt x="2197" y="6917"/>
                    </a:cubicBezTo>
                    <a:cubicBezTo>
                      <a:pt x="2313" y="6753"/>
                      <a:pt x="2313" y="6753"/>
                      <a:pt x="2313" y="6753"/>
                    </a:cubicBezTo>
                    <a:cubicBezTo>
                      <a:pt x="2439" y="6825"/>
                      <a:pt x="2439" y="6825"/>
                      <a:pt x="2439" y="6825"/>
                    </a:cubicBezTo>
                    <a:cubicBezTo>
                      <a:pt x="2383" y="7022"/>
                      <a:pt x="2383" y="7022"/>
                      <a:pt x="2383" y="7022"/>
                    </a:cubicBezTo>
                    <a:cubicBezTo>
                      <a:pt x="2312" y="6980"/>
                      <a:pt x="2312" y="6980"/>
                      <a:pt x="2312" y="6980"/>
                    </a:cubicBezTo>
                    <a:cubicBezTo>
                      <a:pt x="2272" y="7064"/>
                      <a:pt x="2272" y="7064"/>
                      <a:pt x="2272" y="7064"/>
                    </a:cubicBezTo>
                    <a:cubicBezTo>
                      <a:pt x="2428" y="7174"/>
                      <a:pt x="2428" y="7174"/>
                      <a:pt x="2428" y="7174"/>
                    </a:cubicBezTo>
                    <a:cubicBezTo>
                      <a:pt x="2542" y="6758"/>
                      <a:pt x="2542" y="6758"/>
                      <a:pt x="2542" y="6758"/>
                    </a:cubicBezTo>
                    <a:lnTo>
                      <a:pt x="2290" y="6607"/>
                    </a:lnTo>
                    <a:close/>
                    <a:moveTo>
                      <a:pt x="3868" y="6951"/>
                    </a:moveTo>
                    <a:cubicBezTo>
                      <a:pt x="3868" y="6954"/>
                      <a:pt x="3868" y="6955"/>
                      <a:pt x="3868" y="6957"/>
                    </a:cubicBezTo>
                    <a:cubicBezTo>
                      <a:pt x="3868" y="6980"/>
                      <a:pt x="3846" y="7056"/>
                      <a:pt x="3846" y="7057"/>
                    </a:cubicBezTo>
                    <a:cubicBezTo>
                      <a:pt x="3845" y="7063"/>
                      <a:pt x="3845" y="7063"/>
                      <a:pt x="3845" y="7063"/>
                    </a:cubicBezTo>
                    <a:cubicBezTo>
                      <a:pt x="3695" y="7037"/>
                      <a:pt x="3695" y="7037"/>
                      <a:pt x="3695" y="7037"/>
                    </a:cubicBezTo>
                    <a:cubicBezTo>
                      <a:pt x="3651" y="7151"/>
                      <a:pt x="3651" y="7151"/>
                      <a:pt x="3651" y="7151"/>
                    </a:cubicBezTo>
                    <a:cubicBezTo>
                      <a:pt x="3499" y="7075"/>
                      <a:pt x="3499" y="7075"/>
                      <a:pt x="3499" y="7075"/>
                    </a:cubicBezTo>
                    <a:cubicBezTo>
                      <a:pt x="3552" y="6919"/>
                      <a:pt x="3552" y="6919"/>
                      <a:pt x="3552" y="6919"/>
                    </a:cubicBezTo>
                    <a:cubicBezTo>
                      <a:pt x="3678" y="6949"/>
                      <a:pt x="3678" y="6949"/>
                      <a:pt x="3678" y="6949"/>
                    </a:cubicBezTo>
                    <a:cubicBezTo>
                      <a:pt x="3698" y="6917"/>
                      <a:pt x="3698" y="6917"/>
                      <a:pt x="3698" y="6917"/>
                    </a:cubicBezTo>
                    <a:cubicBezTo>
                      <a:pt x="3703" y="6918"/>
                      <a:pt x="3703" y="6918"/>
                      <a:pt x="3703" y="6918"/>
                    </a:cubicBezTo>
                    <a:cubicBezTo>
                      <a:pt x="3703" y="6918"/>
                      <a:pt x="3853" y="6945"/>
                      <a:pt x="3860" y="6945"/>
                    </a:cubicBezTo>
                    <a:cubicBezTo>
                      <a:pt x="3860" y="6945"/>
                      <a:pt x="3860" y="6945"/>
                      <a:pt x="3860" y="6945"/>
                    </a:cubicBezTo>
                    <a:cubicBezTo>
                      <a:pt x="3865" y="6945"/>
                      <a:pt x="3867" y="6950"/>
                      <a:pt x="3868" y="6951"/>
                    </a:cubicBezTo>
                    <a:close/>
                    <a:moveTo>
                      <a:pt x="3854" y="6959"/>
                    </a:moveTo>
                    <a:cubicBezTo>
                      <a:pt x="3828" y="6955"/>
                      <a:pt x="3728" y="6938"/>
                      <a:pt x="3705" y="6933"/>
                    </a:cubicBezTo>
                    <a:cubicBezTo>
                      <a:pt x="3685" y="6966"/>
                      <a:pt x="3685" y="6966"/>
                      <a:pt x="3685" y="6966"/>
                    </a:cubicBezTo>
                    <a:cubicBezTo>
                      <a:pt x="3562" y="6937"/>
                      <a:pt x="3562" y="6937"/>
                      <a:pt x="3562" y="6937"/>
                    </a:cubicBezTo>
                    <a:cubicBezTo>
                      <a:pt x="3517" y="7068"/>
                      <a:pt x="3517" y="7068"/>
                      <a:pt x="3517" y="7068"/>
                    </a:cubicBezTo>
                    <a:cubicBezTo>
                      <a:pt x="3643" y="7131"/>
                      <a:pt x="3643" y="7131"/>
                      <a:pt x="3643" y="7131"/>
                    </a:cubicBezTo>
                    <a:cubicBezTo>
                      <a:pt x="3686" y="7021"/>
                      <a:pt x="3686" y="7021"/>
                      <a:pt x="3686" y="7021"/>
                    </a:cubicBezTo>
                    <a:cubicBezTo>
                      <a:pt x="3834" y="7046"/>
                      <a:pt x="3834" y="7046"/>
                      <a:pt x="3834" y="7046"/>
                    </a:cubicBezTo>
                    <a:cubicBezTo>
                      <a:pt x="3839" y="7028"/>
                      <a:pt x="3853" y="6976"/>
                      <a:pt x="3854" y="6959"/>
                    </a:cubicBezTo>
                    <a:close/>
                    <a:moveTo>
                      <a:pt x="3859" y="6952"/>
                    </a:moveTo>
                    <a:cubicBezTo>
                      <a:pt x="3859" y="6954"/>
                      <a:pt x="3859" y="6954"/>
                      <a:pt x="3859" y="6954"/>
                    </a:cubicBezTo>
                    <a:cubicBezTo>
                      <a:pt x="3859" y="6954"/>
                      <a:pt x="3859" y="6954"/>
                      <a:pt x="3859" y="6954"/>
                    </a:cubicBezTo>
                    <a:lnTo>
                      <a:pt x="3859" y="6952"/>
                    </a:lnTo>
                    <a:close/>
                    <a:moveTo>
                      <a:pt x="8161" y="10705"/>
                    </a:moveTo>
                    <a:cubicBezTo>
                      <a:pt x="8132" y="10763"/>
                      <a:pt x="8132" y="10763"/>
                      <a:pt x="8132" y="10763"/>
                    </a:cubicBezTo>
                    <a:cubicBezTo>
                      <a:pt x="8050" y="10721"/>
                      <a:pt x="8050" y="10721"/>
                      <a:pt x="8050" y="10721"/>
                    </a:cubicBezTo>
                    <a:cubicBezTo>
                      <a:pt x="8079" y="10663"/>
                      <a:pt x="8079" y="10663"/>
                      <a:pt x="8079" y="10663"/>
                    </a:cubicBezTo>
                    <a:cubicBezTo>
                      <a:pt x="7971" y="10609"/>
                      <a:pt x="7971" y="10609"/>
                      <a:pt x="7971" y="10609"/>
                    </a:cubicBezTo>
                    <a:cubicBezTo>
                      <a:pt x="7965" y="10606"/>
                      <a:pt x="7965" y="10606"/>
                      <a:pt x="7965" y="10606"/>
                    </a:cubicBezTo>
                    <a:cubicBezTo>
                      <a:pt x="7854" y="10821"/>
                      <a:pt x="7854" y="10821"/>
                      <a:pt x="7854" y="10821"/>
                    </a:cubicBezTo>
                    <a:cubicBezTo>
                      <a:pt x="7871" y="10821"/>
                      <a:pt x="7871" y="10821"/>
                      <a:pt x="7871" y="10821"/>
                    </a:cubicBezTo>
                    <a:cubicBezTo>
                      <a:pt x="7971" y="10626"/>
                      <a:pt x="7971" y="10626"/>
                      <a:pt x="7971" y="10626"/>
                    </a:cubicBezTo>
                    <a:cubicBezTo>
                      <a:pt x="8060" y="10670"/>
                      <a:pt x="8060" y="10670"/>
                      <a:pt x="8060" y="10670"/>
                    </a:cubicBezTo>
                    <a:cubicBezTo>
                      <a:pt x="8030" y="10728"/>
                      <a:pt x="8030" y="10728"/>
                      <a:pt x="8030" y="10728"/>
                    </a:cubicBezTo>
                    <a:cubicBezTo>
                      <a:pt x="8138" y="10783"/>
                      <a:pt x="8138" y="10783"/>
                      <a:pt x="8138" y="10783"/>
                    </a:cubicBezTo>
                    <a:cubicBezTo>
                      <a:pt x="8168" y="10725"/>
                      <a:pt x="8168" y="10725"/>
                      <a:pt x="8168" y="10725"/>
                    </a:cubicBezTo>
                    <a:cubicBezTo>
                      <a:pt x="8259" y="10772"/>
                      <a:pt x="8259" y="10772"/>
                      <a:pt x="8259" y="10772"/>
                    </a:cubicBezTo>
                    <a:cubicBezTo>
                      <a:pt x="8234" y="10821"/>
                      <a:pt x="8234" y="10821"/>
                      <a:pt x="8234" y="10821"/>
                    </a:cubicBezTo>
                    <a:cubicBezTo>
                      <a:pt x="8250" y="10821"/>
                      <a:pt x="8250" y="10821"/>
                      <a:pt x="8250" y="10821"/>
                    </a:cubicBezTo>
                    <a:cubicBezTo>
                      <a:pt x="8279" y="10766"/>
                      <a:pt x="8279" y="10766"/>
                      <a:pt x="8279" y="10766"/>
                    </a:cubicBezTo>
                    <a:lnTo>
                      <a:pt x="8161" y="10705"/>
                    </a:lnTo>
                    <a:close/>
                    <a:moveTo>
                      <a:pt x="2513" y="7261"/>
                    </a:moveTo>
                    <a:cubicBezTo>
                      <a:pt x="2616" y="6812"/>
                      <a:pt x="2616" y="6812"/>
                      <a:pt x="2616" y="6812"/>
                    </a:cubicBezTo>
                    <a:cubicBezTo>
                      <a:pt x="2771" y="6874"/>
                      <a:pt x="2771" y="6874"/>
                      <a:pt x="2771" y="6874"/>
                    </a:cubicBezTo>
                    <a:cubicBezTo>
                      <a:pt x="2772" y="6878"/>
                      <a:pt x="2772" y="6878"/>
                      <a:pt x="2772" y="6878"/>
                    </a:cubicBezTo>
                    <a:cubicBezTo>
                      <a:pt x="2797" y="7019"/>
                      <a:pt x="2797" y="7019"/>
                      <a:pt x="2797" y="7019"/>
                    </a:cubicBezTo>
                    <a:cubicBezTo>
                      <a:pt x="2686" y="7033"/>
                      <a:pt x="2686" y="7033"/>
                      <a:pt x="2686" y="7033"/>
                    </a:cubicBezTo>
                    <a:cubicBezTo>
                      <a:pt x="2666" y="7092"/>
                      <a:pt x="2666" y="7092"/>
                      <a:pt x="2666" y="7092"/>
                    </a:cubicBezTo>
                    <a:cubicBezTo>
                      <a:pt x="2778" y="7143"/>
                      <a:pt x="2778" y="7143"/>
                      <a:pt x="2778" y="7143"/>
                    </a:cubicBezTo>
                    <a:cubicBezTo>
                      <a:pt x="2769" y="7275"/>
                      <a:pt x="2769" y="7275"/>
                      <a:pt x="2769" y="7275"/>
                    </a:cubicBezTo>
                    <a:cubicBezTo>
                      <a:pt x="2644" y="7234"/>
                      <a:pt x="2644" y="7234"/>
                      <a:pt x="2644" y="7234"/>
                    </a:cubicBezTo>
                    <a:cubicBezTo>
                      <a:pt x="2625" y="7332"/>
                      <a:pt x="2625" y="7332"/>
                      <a:pt x="2625" y="7332"/>
                    </a:cubicBezTo>
                    <a:lnTo>
                      <a:pt x="2513" y="7261"/>
                    </a:lnTo>
                    <a:close/>
                    <a:moveTo>
                      <a:pt x="2530" y="7255"/>
                    </a:moveTo>
                    <a:cubicBezTo>
                      <a:pt x="2615" y="7308"/>
                      <a:pt x="2615" y="7308"/>
                      <a:pt x="2615" y="7308"/>
                    </a:cubicBezTo>
                    <a:cubicBezTo>
                      <a:pt x="2633" y="7214"/>
                      <a:pt x="2633" y="7214"/>
                      <a:pt x="2633" y="7214"/>
                    </a:cubicBezTo>
                    <a:cubicBezTo>
                      <a:pt x="2755" y="7255"/>
                      <a:pt x="2755" y="7255"/>
                      <a:pt x="2755" y="7255"/>
                    </a:cubicBezTo>
                    <a:cubicBezTo>
                      <a:pt x="2762" y="7152"/>
                      <a:pt x="2762" y="7152"/>
                      <a:pt x="2762" y="7152"/>
                    </a:cubicBezTo>
                    <a:cubicBezTo>
                      <a:pt x="2648" y="7100"/>
                      <a:pt x="2648" y="7100"/>
                      <a:pt x="2648" y="7100"/>
                    </a:cubicBezTo>
                    <a:cubicBezTo>
                      <a:pt x="2674" y="7019"/>
                      <a:pt x="2674" y="7019"/>
                      <a:pt x="2674" y="7019"/>
                    </a:cubicBezTo>
                    <a:cubicBezTo>
                      <a:pt x="2779" y="7007"/>
                      <a:pt x="2779" y="7007"/>
                      <a:pt x="2779" y="7007"/>
                    </a:cubicBezTo>
                    <a:cubicBezTo>
                      <a:pt x="2758" y="6885"/>
                      <a:pt x="2758" y="6885"/>
                      <a:pt x="2758" y="6885"/>
                    </a:cubicBezTo>
                    <a:cubicBezTo>
                      <a:pt x="2626" y="6832"/>
                      <a:pt x="2626" y="6832"/>
                      <a:pt x="2626" y="6832"/>
                    </a:cubicBezTo>
                    <a:lnTo>
                      <a:pt x="2530" y="7255"/>
                    </a:lnTo>
                    <a:close/>
                    <a:moveTo>
                      <a:pt x="8004" y="10784"/>
                    </a:moveTo>
                    <a:cubicBezTo>
                      <a:pt x="7985" y="10821"/>
                      <a:pt x="7985" y="10821"/>
                      <a:pt x="7985" y="10821"/>
                    </a:cubicBezTo>
                    <a:cubicBezTo>
                      <a:pt x="8001" y="10821"/>
                      <a:pt x="8001" y="10821"/>
                      <a:pt x="8001" y="10821"/>
                    </a:cubicBezTo>
                    <a:cubicBezTo>
                      <a:pt x="8010" y="10804"/>
                      <a:pt x="8010" y="10804"/>
                      <a:pt x="8010" y="10804"/>
                    </a:cubicBezTo>
                    <a:cubicBezTo>
                      <a:pt x="8047" y="10821"/>
                      <a:pt x="8047" y="10821"/>
                      <a:pt x="8047" y="10821"/>
                    </a:cubicBezTo>
                    <a:cubicBezTo>
                      <a:pt x="8082" y="10821"/>
                      <a:pt x="8082" y="10821"/>
                      <a:pt x="8082" y="10821"/>
                    </a:cubicBezTo>
                    <a:cubicBezTo>
                      <a:pt x="8010" y="10787"/>
                      <a:pt x="8010" y="10787"/>
                      <a:pt x="8010" y="10787"/>
                    </a:cubicBezTo>
                    <a:lnTo>
                      <a:pt x="8004" y="10784"/>
                    </a:lnTo>
                    <a:close/>
                    <a:moveTo>
                      <a:pt x="5787" y="7214"/>
                    </a:moveTo>
                    <a:cubicBezTo>
                      <a:pt x="5937" y="7232"/>
                      <a:pt x="5937" y="7232"/>
                      <a:pt x="5937" y="7232"/>
                    </a:cubicBezTo>
                    <a:cubicBezTo>
                      <a:pt x="5928" y="7307"/>
                      <a:pt x="5928" y="7307"/>
                      <a:pt x="5928" y="7307"/>
                    </a:cubicBezTo>
                    <a:cubicBezTo>
                      <a:pt x="5921" y="7307"/>
                      <a:pt x="5921" y="7307"/>
                      <a:pt x="5921" y="7307"/>
                    </a:cubicBezTo>
                    <a:cubicBezTo>
                      <a:pt x="5777" y="7289"/>
                      <a:pt x="5777" y="7289"/>
                      <a:pt x="5777" y="7289"/>
                    </a:cubicBezTo>
                    <a:lnTo>
                      <a:pt x="5787" y="7214"/>
                    </a:lnTo>
                    <a:close/>
                    <a:moveTo>
                      <a:pt x="5792" y="7277"/>
                    </a:moveTo>
                    <a:cubicBezTo>
                      <a:pt x="5916" y="7293"/>
                      <a:pt x="5916" y="7293"/>
                      <a:pt x="5916" y="7293"/>
                    </a:cubicBezTo>
                    <a:cubicBezTo>
                      <a:pt x="5922" y="7244"/>
                      <a:pt x="5922" y="7244"/>
                      <a:pt x="5922" y="7244"/>
                    </a:cubicBezTo>
                    <a:cubicBezTo>
                      <a:pt x="5798" y="7228"/>
                      <a:pt x="5798" y="7228"/>
                      <a:pt x="5798" y="7228"/>
                    </a:cubicBezTo>
                    <a:lnTo>
                      <a:pt x="5792" y="7277"/>
                    </a:lnTo>
                    <a:close/>
                    <a:moveTo>
                      <a:pt x="8056" y="6896"/>
                    </a:moveTo>
                    <a:cubicBezTo>
                      <a:pt x="8011" y="6958"/>
                      <a:pt x="8011" y="6958"/>
                      <a:pt x="8011" y="6958"/>
                    </a:cubicBezTo>
                    <a:cubicBezTo>
                      <a:pt x="8006" y="6954"/>
                      <a:pt x="8006" y="6954"/>
                      <a:pt x="8006" y="6954"/>
                    </a:cubicBezTo>
                    <a:cubicBezTo>
                      <a:pt x="7888" y="6870"/>
                      <a:pt x="7888" y="6870"/>
                      <a:pt x="7888" y="6870"/>
                    </a:cubicBezTo>
                    <a:cubicBezTo>
                      <a:pt x="7932" y="6808"/>
                      <a:pt x="7932" y="6808"/>
                      <a:pt x="7932" y="6808"/>
                    </a:cubicBezTo>
                    <a:lnTo>
                      <a:pt x="8056" y="6896"/>
                    </a:lnTo>
                    <a:close/>
                    <a:moveTo>
                      <a:pt x="8037" y="6900"/>
                    </a:moveTo>
                    <a:cubicBezTo>
                      <a:pt x="7935" y="6827"/>
                      <a:pt x="7935" y="6827"/>
                      <a:pt x="7935" y="6827"/>
                    </a:cubicBezTo>
                    <a:cubicBezTo>
                      <a:pt x="7907" y="6867"/>
                      <a:pt x="7907" y="6867"/>
                      <a:pt x="7907" y="6867"/>
                    </a:cubicBezTo>
                    <a:cubicBezTo>
                      <a:pt x="8008" y="6940"/>
                      <a:pt x="8008" y="6940"/>
                      <a:pt x="8008" y="6940"/>
                    </a:cubicBezTo>
                    <a:lnTo>
                      <a:pt x="8037" y="6900"/>
                    </a:lnTo>
                    <a:close/>
                    <a:moveTo>
                      <a:pt x="3808" y="6721"/>
                    </a:moveTo>
                    <a:cubicBezTo>
                      <a:pt x="3682" y="6677"/>
                      <a:pt x="3682" y="6677"/>
                      <a:pt x="3682" y="6677"/>
                    </a:cubicBezTo>
                    <a:cubicBezTo>
                      <a:pt x="3821" y="6572"/>
                      <a:pt x="3821" y="6572"/>
                      <a:pt x="3821" y="6572"/>
                    </a:cubicBezTo>
                    <a:cubicBezTo>
                      <a:pt x="3997" y="6698"/>
                      <a:pt x="3997" y="6698"/>
                      <a:pt x="3997" y="6698"/>
                    </a:cubicBezTo>
                    <a:cubicBezTo>
                      <a:pt x="3993" y="6704"/>
                      <a:pt x="3993" y="6704"/>
                      <a:pt x="3993" y="6704"/>
                    </a:cubicBezTo>
                    <a:cubicBezTo>
                      <a:pt x="3887" y="6863"/>
                      <a:pt x="3887" y="6863"/>
                      <a:pt x="3887" y="6863"/>
                    </a:cubicBezTo>
                    <a:cubicBezTo>
                      <a:pt x="3759" y="6843"/>
                      <a:pt x="3759" y="6843"/>
                      <a:pt x="3759" y="6843"/>
                    </a:cubicBezTo>
                    <a:cubicBezTo>
                      <a:pt x="3757" y="6814"/>
                      <a:pt x="3757" y="6814"/>
                      <a:pt x="3757" y="6814"/>
                    </a:cubicBezTo>
                    <a:lnTo>
                      <a:pt x="3808" y="6721"/>
                    </a:lnTo>
                    <a:close/>
                    <a:moveTo>
                      <a:pt x="3829" y="6713"/>
                    </a:moveTo>
                    <a:cubicBezTo>
                      <a:pt x="3772" y="6817"/>
                      <a:pt x="3772" y="6817"/>
                      <a:pt x="3772" y="6817"/>
                    </a:cubicBezTo>
                    <a:cubicBezTo>
                      <a:pt x="3773" y="6831"/>
                      <a:pt x="3773" y="6831"/>
                      <a:pt x="3773" y="6831"/>
                    </a:cubicBezTo>
                    <a:cubicBezTo>
                      <a:pt x="3880" y="6847"/>
                      <a:pt x="3880" y="6847"/>
                      <a:pt x="3880" y="6847"/>
                    </a:cubicBezTo>
                    <a:cubicBezTo>
                      <a:pt x="3977" y="6702"/>
                      <a:pt x="3977" y="6702"/>
                      <a:pt x="3977" y="6702"/>
                    </a:cubicBezTo>
                    <a:cubicBezTo>
                      <a:pt x="3821" y="6591"/>
                      <a:pt x="3821" y="6591"/>
                      <a:pt x="3821" y="6591"/>
                    </a:cubicBezTo>
                    <a:cubicBezTo>
                      <a:pt x="3713" y="6672"/>
                      <a:pt x="3713" y="6672"/>
                      <a:pt x="3713" y="6672"/>
                    </a:cubicBezTo>
                    <a:lnTo>
                      <a:pt x="3829" y="6713"/>
                    </a:lnTo>
                    <a:close/>
                    <a:moveTo>
                      <a:pt x="4014" y="7163"/>
                    </a:moveTo>
                    <a:cubicBezTo>
                      <a:pt x="4023" y="7225"/>
                      <a:pt x="4023" y="7225"/>
                      <a:pt x="4023" y="7225"/>
                    </a:cubicBezTo>
                    <a:cubicBezTo>
                      <a:pt x="3925" y="7240"/>
                      <a:pt x="3925" y="7240"/>
                      <a:pt x="3925" y="7240"/>
                    </a:cubicBezTo>
                    <a:cubicBezTo>
                      <a:pt x="3910" y="7167"/>
                      <a:pt x="3910" y="7167"/>
                      <a:pt x="3910" y="7167"/>
                    </a:cubicBezTo>
                    <a:cubicBezTo>
                      <a:pt x="3945" y="7130"/>
                      <a:pt x="3945" y="7130"/>
                      <a:pt x="3945" y="7130"/>
                    </a:cubicBezTo>
                    <a:cubicBezTo>
                      <a:pt x="3940" y="7076"/>
                      <a:pt x="3940" y="7076"/>
                      <a:pt x="3940" y="7076"/>
                    </a:cubicBezTo>
                    <a:cubicBezTo>
                      <a:pt x="4033" y="7066"/>
                      <a:pt x="4033" y="7066"/>
                      <a:pt x="4033" y="7066"/>
                    </a:cubicBezTo>
                    <a:cubicBezTo>
                      <a:pt x="4047" y="7137"/>
                      <a:pt x="4047" y="7137"/>
                      <a:pt x="4047" y="7137"/>
                    </a:cubicBezTo>
                    <a:lnTo>
                      <a:pt x="4014" y="7163"/>
                    </a:lnTo>
                    <a:close/>
                    <a:moveTo>
                      <a:pt x="4007" y="7213"/>
                    </a:moveTo>
                    <a:cubicBezTo>
                      <a:pt x="4000" y="7165"/>
                      <a:pt x="4000" y="7165"/>
                      <a:pt x="4000" y="7165"/>
                    </a:cubicBezTo>
                    <a:cubicBezTo>
                      <a:pt x="3999" y="7157"/>
                      <a:pt x="3999" y="7157"/>
                      <a:pt x="3999" y="7157"/>
                    </a:cubicBezTo>
                    <a:cubicBezTo>
                      <a:pt x="4005" y="7152"/>
                      <a:pt x="4005" y="7152"/>
                      <a:pt x="4005" y="7152"/>
                    </a:cubicBezTo>
                    <a:cubicBezTo>
                      <a:pt x="4031" y="7131"/>
                      <a:pt x="4031" y="7131"/>
                      <a:pt x="4031" y="7131"/>
                    </a:cubicBezTo>
                    <a:cubicBezTo>
                      <a:pt x="4022" y="7081"/>
                      <a:pt x="4022" y="7081"/>
                      <a:pt x="4022" y="7081"/>
                    </a:cubicBezTo>
                    <a:cubicBezTo>
                      <a:pt x="3955" y="7088"/>
                      <a:pt x="3955" y="7088"/>
                      <a:pt x="3955" y="7088"/>
                    </a:cubicBezTo>
                    <a:cubicBezTo>
                      <a:pt x="3959" y="7129"/>
                      <a:pt x="3959" y="7129"/>
                      <a:pt x="3959" y="7129"/>
                    </a:cubicBezTo>
                    <a:cubicBezTo>
                      <a:pt x="3959" y="7135"/>
                      <a:pt x="3959" y="7135"/>
                      <a:pt x="3959" y="7135"/>
                    </a:cubicBezTo>
                    <a:cubicBezTo>
                      <a:pt x="3955" y="7139"/>
                      <a:pt x="3955" y="7139"/>
                      <a:pt x="3955" y="7139"/>
                    </a:cubicBezTo>
                    <a:cubicBezTo>
                      <a:pt x="3925" y="7171"/>
                      <a:pt x="3925" y="7171"/>
                      <a:pt x="3925" y="7171"/>
                    </a:cubicBezTo>
                    <a:cubicBezTo>
                      <a:pt x="3936" y="7224"/>
                      <a:pt x="3936" y="7224"/>
                      <a:pt x="3936" y="7224"/>
                    </a:cubicBezTo>
                    <a:lnTo>
                      <a:pt x="4007" y="7213"/>
                    </a:lnTo>
                    <a:close/>
                    <a:moveTo>
                      <a:pt x="12248" y="2040"/>
                    </a:moveTo>
                    <a:cubicBezTo>
                      <a:pt x="12702" y="1569"/>
                      <a:pt x="12702" y="1569"/>
                      <a:pt x="12702" y="1569"/>
                    </a:cubicBezTo>
                    <a:cubicBezTo>
                      <a:pt x="12928" y="1784"/>
                      <a:pt x="12928" y="1784"/>
                      <a:pt x="12928" y="1784"/>
                    </a:cubicBezTo>
                    <a:cubicBezTo>
                      <a:pt x="12286" y="2447"/>
                      <a:pt x="12286" y="2447"/>
                      <a:pt x="12286" y="2447"/>
                    </a:cubicBezTo>
                    <a:cubicBezTo>
                      <a:pt x="12098" y="2264"/>
                      <a:pt x="12098" y="2264"/>
                      <a:pt x="12098" y="2264"/>
                    </a:cubicBezTo>
                    <a:cubicBezTo>
                      <a:pt x="11939" y="2425"/>
                      <a:pt x="11939" y="2425"/>
                      <a:pt x="11939" y="2425"/>
                    </a:cubicBezTo>
                    <a:cubicBezTo>
                      <a:pt x="11856" y="2345"/>
                      <a:pt x="11856" y="2345"/>
                      <a:pt x="11856" y="2345"/>
                    </a:cubicBezTo>
                    <a:cubicBezTo>
                      <a:pt x="11725" y="2482"/>
                      <a:pt x="11725" y="2482"/>
                      <a:pt x="11725" y="2482"/>
                    </a:cubicBezTo>
                    <a:cubicBezTo>
                      <a:pt x="11511" y="2271"/>
                      <a:pt x="11511" y="2271"/>
                      <a:pt x="11511" y="2271"/>
                    </a:cubicBezTo>
                    <a:cubicBezTo>
                      <a:pt x="11506" y="2266"/>
                      <a:pt x="11506" y="2266"/>
                      <a:pt x="11506" y="2266"/>
                    </a:cubicBezTo>
                    <a:cubicBezTo>
                      <a:pt x="12145" y="1604"/>
                      <a:pt x="12145" y="1604"/>
                      <a:pt x="12145" y="1604"/>
                    </a:cubicBezTo>
                    <a:cubicBezTo>
                      <a:pt x="12363" y="1823"/>
                      <a:pt x="12363" y="1823"/>
                      <a:pt x="12363" y="1823"/>
                    </a:cubicBezTo>
                    <a:cubicBezTo>
                      <a:pt x="12198" y="1995"/>
                      <a:pt x="12198" y="1995"/>
                      <a:pt x="12198" y="1995"/>
                    </a:cubicBezTo>
                    <a:lnTo>
                      <a:pt x="12248" y="2040"/>
                    </a:lnTo>
                    <a:close/>
                    <a:moveTo>
                      <a:pt x="12248" y="2061"/>
                    </a:moveTo>
                    <a:cubicBezTo>
                      <a:pt x="12177" y="1995"/>
                      <a:pt x="12177" y="1995"/>
                      <a:pt x="12177" y="1995"/>
                    </a:cubicBezTo>
                    <a:cubicBezTo>
                      <a:pt x="12342" y="1823"/>
                      <a:pt x="12342" y="1823"/>
                      <a:pt x="12342" y="1823"/>
                    </a:cubicBezTo>
                    <a:cubicBezTo>
                      <a:pt x="12145" y="1625"/>
                      <a:pt x="12145" y="1625"/>
                      <a:pt x="12145" y="1625"/>
                    </a:cubicBezTo>
                    <a:cubicBezTo>
                      <a:pt x="11526" y="2265"/>
                      <a:pt x="11526" y="2265"/>
                      <a:pt x="11526" y="2265"/>
                    </a:cubicBezTo>
                    <a:cubicBezTo>
                      <a:pt x="11725" y="2461"/>
                      <a:pt x="11725" y="2461"/>
                      <a:pt x="11725" y="2461"/>
                    </a:cubicBezTo>
                    <a:cubicBezTo>
                      <a:pt x="11856" y="2324"/>
                      <a:pt x="11856" y="2324"/>
                      <a:pt x="11856" y="2324"/>
                    </a:cubicBezTo>
                    <a:cubicBezTo>
                      <a:pt x="11938" y="2405"/>
                      <a:pt x="11938" y="2405"/>
                      <a:pt x="11938" y="2405"/>
                    </a:cubicBezTo>
                    <a:cubicBezTo>
                      <a:pt x="12098" y="2243"/>
                      <a:pt x="12098" y="2243"/>
                      <a:pt x="12098" y="2243"/>
                    </a:cubicBezTo>
                    <a:cubicBezTo>
                      <a:pt x="12285" y="2426"/>
                      <a:pt x="12285" y="2426"/>
                      <a:pt x="12285" y="2426"/>
                    </a:cubicBezTo>
                    <a:cubicBezTo>
                      <a:pt x="12907" y="1785"/>
                      <a:pt x="12907" y="1785"/>
                      <a:pt x="12907" y="1785"/>
                    </a:cubicBezTo>
                    <a:cubicBezTo>
                      <a:pt x="12702" y="1590"/>
                      <a:pt x="12702" y="1590"/>
                      <a:pt x="12702" y="1590"/>
                    </a:cubicBezTo>
                    <a:lnTo>
                      <a:pt x="12248" y="2061"/>
                    </a:lnTo>
                    <a:close/>
                    <a:moveTo>
                      <a:pt x="4255" y="4339"/>
                    </a:moveTo>
                    <a:cubicBezTo>
                      <a:pt x="4154" y="4337"/>
                      <a:pt x="4154" y="4337"/>
                      <a:pt x="4154" y="4337"/>
                    </a:cubicBezTo>
                    <a:cubicBezTo>
                      <a:pt x="4154" y="4330"/>
                      <a:pt x="4154" y="4330"/>
                      <a:pt x="4154" y="4330"/>
                    </a:cubicBezTo>
                    <a:cubicBezTo>
                      <a:pt x="4158" y="4197"/>
                      <a:pt x="4158" y="4197"/>
                      <a:pt x="4158" y="4197"/>
                    </a:cubicBezTo>
                    <a:cubicBezTo>
                      <a:pt x="4258" y="4199"/>
                      <a:pt x="4258" y="4199"/>
                      <a:pt x="4258" y="4199"/>
                    </a:cubicBezTo>
                    <a:lnTo>
                      <a:pt x="4255" y="4339"/>
                    </a:lnTo>
                    <a:close/>
                    <a:moveTo>
                      <a:pt x="4245" y="4212"/>
                    </a:moveTo>
                    <a:cubicBezTo>
                      <a:pt x="4170" y="4211"/>
                      <a:pt x="4170" y="4211"/>
                      <a:pt x="4170" y="4211"/>
                    </a:cubicBezTo>
                    <a:cubicBezTo>
                      <a:pt x="4168" y="4324"/>
                      <a:pt x="4168" y="4324"/>
                      <a:pt x="4168" y="4324"/>
                    </a:cubicBezTo>
                    <a:cubicBezTo>
                      <a:pt x="4242" y="4325"/>
                      <a:pt x="4242" y="4325"/>
                      <a:pt x="4242" y="4325"/>
                    </a:cubicBezTo>
                    <a:lnTo>
                      <a:pt x="4245" y="4212"/>
                    </a:lnTo>
                    <a:close/>
                    <a:moveTo>
                      <a:pt x="601" y="10758"/>
                    </a:moveTo>
                    <a:cubicBezTo>
                      <a:pt x="593" y="10761"/>
                      <a:pt x="593" y="10761"/>
                      <a:pt x="593" y="10761"/>
                    </a:cubicBezTo>
                    <a:cubicBezTo>
                      <a:pt x="500" y="10799"/>
                      <a:pt x="500" y="10799"/>
                      <a:pt x="500" y="10799"/>
                    </a:cubicBezTo>
                    <a:cubicBezTo>
                      <a:pt x="407" y="10536"/>
                      <a:pt x="407" y="10536"/>
                      <a:pt x="407" y="10536"/>
                    </a:cubicBezTo>
                    <a:cubicBezTo>
                      <a:pt x="481" y="10513"/>
                      <a:pt x="481" y="10513"/>
                      <a:pt x="481" y="10513"/>
                    </a:cubicBezTo>
                    <a:lnTo>
                      <a:pt x="601" y="10758"/>
                    </a:lnTo>
                    <a:close/>
                    <a:moveTo>
                      <a:pt x="580" y="10750"/>
                    </a:moveTo>
                    <a:cubicBezTo>
                      <a:pt x="473" y="10531"/>
                      <a:pt x="473" y="10531"/>
                      <a:pt x="473" y="10531"/>
                    </a:cubicBezTo>
                    <a:cubicBezTo>
                      <a:pt x="426" y="10546"/>
                      <a:pt x="426" y="10546"/>
                      <a:pt x="426" y="10546"/>
                    </a:cubicBezTo>
                    <a:cubicBezTo>
                      <a:pt x="508" y="10779"/>
                      <a:pt x="508" y="10779"/>
                      <a:pt x="508" y="10779"/>
                    </a:cubicBezTo>
                    <a:lnTo>
                      <a:pt x="580" y="10750"/>
                    </a:lnTo>
                    <a:close/>
                    <a:moveTo>
                      <a:pt x="9425" y="7614"/>
                    </a:moveTo>
                    <a:cubicBezTo>
                      <a:pt x="9360" y="7376"/>
                      <a:pt x="9360" y="7376"/>
                      <a:pt x="9360" y="7376"/>
                    </a:cubicBezTo>
                    <a:cubicBezTo>
                      <a:pt x="9367" y="7374"/>
                      <a:pt x="9367" y="7374"/>
                      <a:pt x="9367" y="7374"/>
                    </a:cubicBezTo>
                    <a:cubicBezTo>
                      <a:pt x="9660" y="7294"/>
                      <a:pt x="9660" y="7294"/>
                      <a:pt x="9660" y="7294"/>
                    </a:cubicBezTo>
                    <a:cubicBezTo>
                      <a:pt x="9648" y="7252"/>
                      <a:pt x="9648" y="7252"/>
                      <a:pt x="9648" y="7252"/>
                    </a:cubicBezTo>
                    <a:cubicBezTo>
                      <a:pt x="10000" y="7155"/>
                      <a:pt x="10000" y="7155"/>
                      <a:pt x="10000" y="7155"/>
                    </a:cubicBezTo>
                    <a:cubicBezTo>
                      <a:pt x="10016" y="7210"/>
                      <a:pt x="10016" y="7210"/>
                      <a:pt x="10016" y="7210"/>
                    </a:cubicBezTo>
                    <a:cubicBezTo>
                      <a:pt x="10211" y="7157"/>
                      <a:pt x="10211" y="7157"/>
                      <a:pt x="10211" y="7157"/>
                    </a:cubicBezTo>
                    <a:cubicBezTo>
                      <a:pt x="10304" y="7479"/>
                      <a:pt x="10304" y="7479"/>
                      <a:pt x="10304" y="7479"/>
                    </a:cubicBezTo>
                    <a:cubicBezTo>
                      <a:pt x="10160" y="7520"/>
                      <a:pt x="10160" y="7520"/>
                      <a:pt x="10160" y="7520"/>
                    </a:cubicBezTo>
                    <a:cubicBezTo>
                      <a:pt x="10244" y="7824"/>
                      <a:pt x="10244" y="7824"/>
                      <a:pt x="10244" y="7824"/>
                    </a:cubicBezTo>
                    <a:cubicBezTo>
                      <a:pt x="9543" y="8006"/>
                      <a:pt x="9543" y="8006"/>
                      <a:pt x="9543" y="8006"/>
                    </a:cubicBezTo>
                    <a:cubicBezTo>
                      <a:pt x="9492" y="7824"/>
                      <a:pt x="9492" y="7824"/>
                      <a:pt x="9492" y="7824"/>
                    </a:cubicBezTo>
                    <a:cubicBezTo>
                      <a:pt x="9562" y="7801"/>
                      <a:pt x="9562" y="7801"/>
                      <a:pt x="9562" y="7801"/>
                    </a:cubicBezTo>
                    <a:cubicBezTo>
                      <a:pt x="9501" y="7597"/>
                      <a:pt x="9501" y="7597"/>
                      <a:pt x="9501" y="7597"/>
                    </a:cubicBezTo>
                    <a:lnTo>
                      <a:pt x="9425" y="7614"/>
                    </a:lnTo>
                    <a:close/>
                    <a:moveTo>
                      <a:pt x="9378" y="7386"/>
                    </a:moveTo>
                    <a:cubicBezTo>
                      <a:pt x="9436" y="7596"/>
                      <a:pt x="9436" y="7596"/>
                      <a:pt x="9436" y="7596"/>
                    </a:cubicBezTo>
                    <a:cubicBezTo>
                      <a:pt x="9511" y="7580"/>
                      <a:pt x="9511" y="7580"/>
                      <a:pt x="9511" y="7580"/>
                    </a:cubicBezTo>
                    <a:cubicBezTo>
                      <a:pt x="9580" y="7811"/>
                      <a:pt x="9580" y="7811"/>
                      <a:pt x="9580" y="7811"/>
                    </a:cubicBezTo>
                    <a:cubicBezTo>
                      <a:pt x="9510" y="7834"/>
                      <a:pt x="9510" y="7834"/>
                      <a:pt x="9510" y="7834"/>
                    </a:cubicBezTo>
                    <a:cubicBezTo>
                      <a:pt x="9553" y="7988"/>
                      <a:pt x="9553" y="7988"/>
                      <a:pt x="9553" y="7988"/>
                    </a:cubicBezTo>
                    <a:cubicBezTo>
                      <a:pt x="10226" y="7813"/>
                      <a:pt x="10226" y="7813"/>
                      <a:pt x="10226" y="7813"/>
                    </a:cubicBezTo>
                    <a:cubicBezTo>
                      <a:pt x="10141" y="7509"/>
                      <a:pt x="10141" y="7509"/>
                      <a:pt x="10141" y="7509"/>
                    </a:cubicBezTo>
                    <a:cubicBezTo>
                      <a:pt x="10285" y="7469"/>
                      <a:pt x="10285" y="7469"/>
                      <a:pt x="10285" y="7469"/>
                    </a:cubicBezTo>
                    <a:cubicBezTo>
                      <a:pt x="10201" y="7175"/>
                      <a:pt x="10201" y="7175"/>
                      <a:pt x="10201" y="7175"/>
                    </a:cubicBezTo>
                    <a:cubicBezTo>
                      <a:pt x="10006" y="7228"/>
                      <a:pt x="10006" y="7228"/>
                      <a:pt x="10006" y="7228"/>
                    </a:cubicBezTo>
                    <a:cubicBezTo>
                      <a:pt x="9990" y="7173"/>
                      <a:pt x="9990" y="7173"/>
                      <a:pt x="9990" y="7173"/>
                    </a:cubicBezTo>
                    <a:cubicBezTo>
                      <a:pt x="9666" y="7263"/>
                      <a:pt x="9666" y="7263"/>
                      <a:pt x="9666" y="7263"/>
                    </a:cubicBezTo>
                    <a:cubicBezTo>
                      <a:pt x="9678" y="7304"/>
                      <a:pt x="9678" y="7304"/>
                      <a:pt x="9678" y="7304"/>
                    </a:cubicBezTo>
                    <a:lnTo>
                      <a:pt x="9378" y="7386"/>
                    </a:lnTo>
                    <a:close/>
                    <a:moveTo>
                      <a:pt x="5236" y="10027"/>
                    </a:moveTo>
                    <a:cubicBezTo>
                      <a:pt x="5225" y="9774"/>
                      <a:pt x="5225" y="9774"/>
                      <a:pt x="5225" y="9774"/>
                    </a:cubicBezTo>
                    <a:cubicBezTo>
                      <a:pt x="5309" y="9770"/>
                      <a:pt x="5309" y="9770"/>
                      <a:pt x="5309" y="9770"/>
                    </a:cubicBezTo>
                    <a:cubicBezTo>
                      <a:pt x="5320" y="10030"/>
                      <a:pt x="5320" y="10030"/>
                      <a:pt x="5320" y="10030"/>
                    </a:cubicBezTo>
                    <a:cubicBezTo>
                      <a:pt x="5236" y="10034"/>
                      <a:pt x="5236" y="10034"/>
                      <a:pt x="5236" y="10034"/>
                    </a:cubicBezTo>
                    <a:lnTo>
                      <a:pt x="5236" y="10027"/>
                    </a:lnTo>
                    <a:close/>
                    <a:moveTo>
                      <a:pt x="5238" y="9786"/>
                    </a:moveTo>
                    <a:cubicBezTo>
                      <a:pt x="5249" y="10020"/>
                      <a:pt x="5249" y="10020"/>
                      <a:pt x="5249" y="10020"/>
                    </a:cubicBezTo>
                    <a:cubicBezTo>
                      <a:pt x="5307" y="10017"/>
                      <a:pt x="5307" y="10017"/>
                      <a:pt x="5307" y="10017"/>
                    </a:cubicBezTo>
                    <a:cubicBezTo>
                      <a:pt x="5296" y="9784"/>
                      <a:pt x="5296" y="9784"/>
                      <a:pt x="5296" y="9784"/>
                    </a:cubicBezTo>
                    <a:lnTo>
                      <a:pt x="5238" y="9786"/>
                    </a:lnTo>
                    <a:close/>
                    <a:moveTo>
                      <a:pt x="3934" y="9745"/>
                    </a:moveTo>
                    <a:cubicBezTo>
                      <a:pt x="3934" y="9745"/>
                      <a:pt x="3934" y="9745"/>
                      <a:pt x="3934" y="9745"/>
                    </a:cubicBezTo>
                    <a:cubicBezTo>
                      <a:pt x="3934" y="9745"/>
                      <a:pt x="3934" y="9745"/>
                      <a:pt x="3934" y="9745"/>
                    </a:cubicBezTo>
                    <a:close/>
                    <a:moveTo>
                      <a:pt x="5216" y="9426"/>
                    </a:moveTo>
                    <a:cubicBezTo>
                      <a:pt x="5310" y="9426"/>
                      <a:pt x="5310" y="9426"/>
                      <a:pt x="5310" y="9426"/>
                    </a:cubicBezTo>
                    <a:cubicBezTo>
                      <a:pt x="5309" y="9607"/>
                      <a:pt x="5309" y="9607"/>
                      <a:pt x="5309" y="9607"/>
                    </a:cubicBezTo>
                    <a:cubicBezTo>
                      <a:pt x="5302" y="9607"/>
                      <a:pt x="5302" y="9607"/>
                      <a:pt x="5302" y="9607"/>
                    </a:cubicBezTo>
                    <a:cubicBezTo>
                      <a:pt x="5215" y="9607"/>
                      <a:pt x="5215" y="9607"/>
                      <a:pt x="5215" y="9607"/>
                    </a:cubicBezTo>
                    <a:cubicBezTo>
                      <a:pt x="5215" y="9562"/>
                      <a:pt x="5215" y="9562"/>
                      <a:pt x="5215" y="9562"/>
                    </a:cubicBezTo>
                    <a:cubicBezTo>
                      <a:pt x="5153" y="9562"/>
                      <a:pt x="5153" y="9562"/>
                      <a:pt x="5153" y="9562"/>
                    </a:cubicBezTo>
                    <a:cubicBezTo>
                      <a:pt x="5154" y="9470"/>
                      <a:pt x="5154" y="9470"/>
                      <a:pt x="5154" y="9470"/>
                    </a:cubicBezTo>
                    <a:cubicBezTo>
                      <a:pt x="5216" y="9470"/>
                      <a:pt x="5216" y="9470"/>
                      <a:pt x="5216" y="9470"/>
                    </a:cubicBezTo>
                    <a:lnTo>
                      <a:pt x="5216" y="9426"/>
                    </a:lnTo>
                    <a:close/>
                    <a:moveTo>
                      <a:pt x="5229" y="9484"/>
                    </a:moveTo>
                    <a:cubicBezTo>
                      <a:pt x="5167" y="9483"/>
                      <a:pt x="5167" y="9483"/>
                      <a:pt x="5167" y="9483"/>
                    </a:cubicBezTo>
                    <a:cubicBezTo>
                      <a:pt x="5167" y="9549"/>
                      <a:pt x="5167" y="9549"/>
                      <a:pt x="5167" y="9549"/>
                    </a:cubicBezTo>
                    <a:cubicBezTo>
                      <a:pt x="5229" y="9549"/>
                      <a:pt x="5229" y="9549"/>
                      <a:pt x="5229" y="9549"/>
                    </a:cubicBezTo>
                    <a:cubicBezTo>
                      <a:pt x="5228" y="9594"/>
                      <a:pt x="5228" y="9594"/>
                      <a:pt x="5228" y="9594"/>
                    </a:cubicBezTo>
                    <a:cubicBezTo>
                      <a:pt x="5296" y="9594"/>
                      <a:pt x="5296" y="9594"/>
                      <a:pt x="5296" y="9594"/>
                    </a:cubicBezTo>
                    <a:cubicBezTo>
                      <a:pt x="5297" y="9439"/>
                      <a:pt x="5297" y="9439"/>
                      <a:pt x="5297" y="9439"/>
                    </a:cubicBezTo>
                    <a:cubicBezTo>
                      <a:pt x="5229" y="9439"/>
                      <a:pt x="5229" y="9439"/>
                      <a:pt x="5229" y="9439"/>
                    </a:cubicBezTo>
                    <a:lnTo>
                      <a:pt x="5229" y="9484"/>
                    </a:lnTo>
                    <a:close/>
                    <a:moveTo>
                      <a:pt x="6560" y="7643"/>
                    </a:moveTo>
                    <a:cubicBezTo>
                      <a:pt x="6418" y="7615"/>
                      <a:pt x="6418" y="7615"/>
                      <a:pt x="6418" y="7615"/>
                    </a:cubicBezTo>
                    <a:cubicBezTo>
                      <a:pt x="6432" y="7541"/>
                      <a:pt x="6432" y="7541"/>
                      <a:pt x="6432" y="7541"/>
                    </a:cubicBezTo>
                    <a:cubicBezTo>
                      <a:pt x="6581" y="7569"/>
                      <a:pt x="6581" y="7569"/>
                      <a:pt x="6581" y="7569"/>
                    </a:cubicBezTo>
                    <a:cubicBezTo>
                      <a:pt x="6567" y="7644"/>
                      <a:pt x="6567" y="7644"/>
                      <a:pt x="6567" y="7644"/>
                    </a:cubicBezTo>
                    <a:lnTo>
                      <a:pt x="6560" y="7643"/>
                    </a:lnTo>
                    <a:close/>
                    <a:moveTo>
                      <a:pt x="6556" y="7628"/>
                    </a:moveTo>
                    <a:cubicBezTo>
                      <a:pt x="6566" y="7580"/>
                      <a:pt x="6566" y="7580"/>
                      <a:pt x="6566" y="7580"/>
                    </a:cubicBezTo>
                    <a:cubicBezTo>
                      <a:pt x="6443" y="7556"/>
                      <a:pt x="6443" y="7556"/>
                      <a:pt x="6443" y="7556"/>
                    </a:cubicBezTo>
                    <a:cubicBezTo>
                      <a:pt x="6433" y="7605"/>
                      <a:pt x="6433" y="7605"/>
                      <a:pt x="6433" y="7605"/>
                    </a:cubicBezTo>
                    <a:lnTo>
                      <a:pt x="6556" y="7628"/>
                    </a:lnTo>
                    <a:close/>
                    <a:moveTo>
                      <a:pt x="1412" y="10346"/>
                    </a:moveTo>
                    <a:cubicBezTo>
                      <a:pt x="1550" y="10358"/>
                      <a:pt x="1550" y="10358"/>
                      <a:pt x="1550" y="10358"/>
                    </a:cubicBezTo>
                    <a:cubicBezTo>
                      <a:pt x="1545" y="10438"/>
                      <a:pt x="1545" y="10438"/>
                      <a:pt x="1545" y="10438"/>
                    </a:cubicBezTo>
                    <a:cubicBezTo>
                      <a:pt x="1305" y="10558"/>
                      <a:pt x="1305" y="10558"/>
                      <a:pt x="1305" y="10558"/>
                    </a:cubicBezTo>
                    <a:cubicBezTo>
                      <a:pt x="1274" y="10509"/>
                      <a:pt x="1274" y="10509"/>
                      <a:pt x="1274" y="10509"/>
                    </a:cubicBezTo>
                    <a:cubicBezTo>
                      <a:pt x="1222" y="10537"/>
                      <a:pt x="1222" y="10537"/>
                      <a:pt x="1222" y="10537"/>
                    </a:cubicBezTo>
                    <a:cubicBezTo>
                      <a:pt x="1019" y="10180"/>
                      <a:pt x="1019" y="10180"/>
                      <a:pt x="1019" y="10180"/>
                    </a:cubicBezTo>
                    <a:cubicBezTo>
                      <a:pt x="1132" y="10122"/>
                      <a:pt x="1132" y="10122"/>
                      <a:pt x="1132" y="10122"/>
                    </a:cubicBezTo>
                    <a:cubicBezTo>
                      <a:pt x="1239" y="10232"/>
                      <a:pt x="1239" y="10232"/>
                      <a:pt x="1239" y="10232"/>
                    </a:cubicBezTo>
                    <a:cubicBezTo>
                      <a:pt x="1278" y="10215"/>
                      <a:pt x="1278" y="10215"/>
                      <a:pt x="1278" y="10215"/>
                    </a:cubicBezTo>
                    <a:lnTo>
                      <a:pt x="1412" y="10346"/>
                    </a:lnTo>
                    <a:close/>
                    <a:moveTo>
                      <a:pt x="1535" y="10371"/>
                    </a:moveTo>
                    <a:cubicBezTo>
                      <a:pt x="1411" y="10360"/>
                      <a:pt x="1411" y="10360"/>
                      <a:pt x="1411" y="10360"/>
                    </a:cubicBezTo>
                    <a:cubicBezTo>
                      <a:pt x="1406" y="10360"/>
                      <a:pt x="1406" y="10360"/>
                      <a:pt x="1406" y="10360"/>
                    </a:cubicBezTo>
                    <a:cubicBezTo>
                      <a:pt x="1402" y="10356"/>
                      <a:pt x="1402" y="10356"/>
                      <a:pt x="1402" y="10356"/>
                    </a:cubicBezTo>
                    <a:cubicBezTo>
                      <a:pt x="1275" y="10232"/>
                      <a:pt x="1275" y="10232"/>
                      <a:pt x="1275" y="10232"/>
                    </a:cubicBezTo>
                    <a:cubicBezTo>
                      <a:pt x="1244" y="10245"/>
                      <a:pt x="1244" y="10245"/>
                      <a:pt x="1244" y="10245"/>
                    </a:cubicBezTo>
                    <a:cubicBezTo>
                      <a:pt x="1235" y="10249"/>
                      <a:pt x="1235" y="10249"/>
                      <a:pt x="1235" y="10249"/>
                    </a:cubicBezTo>
                    <a:cubicBezTo>
                      <a:pt x="1229" y="10242"/>
                      <a:pt x="1229" y="10242"/>
                      <a:pt x="1229" y="10242"/>
                    </a:cubicBezTo>
                    <a:cubicBezTo>
                      <a:pt x="1129" y="10139"/>
                      <a:pt x="1129" y="10139"/>
                      <a:pt x="1129" y="10139"/>
                    </a:cubicBezTo>
                    <a:cubicBezTo>
                      <a:pt x="1038" y="10185"/>
                      <a:pt x="1038" y="10185"/>
                      <a:pt x="1038" y="10185"/>
                    </a:cubicBezTo>
                    <a:cubicBezTo>
                      <a:pt x="1228" y="10518"/>
                      <a:pt x="1228" y="10518"/>
                      <a:pt x="1228" y="10518"/>
                    </a:cubicBezTo>
                    <a:cubicBezTo>
                      <a:pt x="1267" y="10497"/>
                      <a:pt x="1267" y="10497"/>
                      <a:pt x="1267" y="10497"/>
                    </a:cubicBezTo>
                    <a:cubicBezTo>
                      <a:pt x="1278" y="10491"/>
                      <a:pt x="1278" y="10491"/>
                      <a:pt x="1278" y="10491"/>
                    </a:cubicBezTo>
                    <a:cubicBezTo>
                      <a:pt x="1285" y="10502"/>
                      <a:pt x="1285" y="10502"/>
                      <a:pt x="1285" y="10502"/>
                    </a:cubicBezTo>
                    <a:cubicBezTo>
                      <a:pt x="1310" y="10540"/>
                      <a:pt x="1310" y="10540"/>
                      <a:pt x="1310" y="10540"/>
                    </a:cubicBezTo>
                    <a:cubicBezTo>
                      <a:pt x="1532" y="10429"/>
                      <a:pt x="1532" y="10429"/>
                      <a:pt x="1532" y="10429"/>
                    </a:cubicBezTo>
                    <a:lnTo>
                      <a:pt x="1535" y="10371"/>
                    </a:lnTo>
                    <a:close/>
                    <a:moveTo>
                      <a:pt x="3978" y="9611"/>
                    </a:moveTo>
                    <a:cubicBezTo>
                      <a:pt x="3935" y="9651"/>
                      <a:pt x="3935" y="9651"/>
                      <a:pt x="3935" y="9651"/>
                    </a:cubicBezTo>
                    <a:cubicBezTo>
                      <a:pt x="3848" y="9537"/>
                      <a:pt x="3848" y="9537"/>
                      <a:pt x="3848" y="9537"/>
                    </a:cubicBezTo>
                    <a:cubicBezTo>
                      <a:pt x="3895" y="9500"/>
                      <a:pt x="3895" y="9500"/>
                      <a:pt x="3895" y="9500"/>
                    </a:cubicBezTo>
                    <a:cubicBezTo>
                      <a:pt x="3859" y="9453"/>
                      <a:pt x="3859" y="9453"/>
                      <a:pt x="3859" y="9453"/>
                    </a:cubicBezTo>
                    <a:cubicBezTo>
                      <a:pt x="3812" y="9490"/>
                      <a:pt x="3812" y="9490"/>
                      <a:pt x="3812" y="9490"/>
                    </a:cubicBezTo>
                    <a:cubicBezTo>
                      <a:pt x="3722" y="9371"/>
                      <a:pt x="3722" y="9371"/>
                      <a:pt x="3722" y="9371"/>
                    </a:cubicBezTo>
                    <a:cubicBezTo>
                      <a:pt x="3766" y="9343"/>
                      <a:pt x="3766" y="9343"/>
                      <a:pt x="3766" y="9343"/>
                    </a:cubicBezTo>
                    <a:cubicBezTo>
                      <a:pt x="3731" y="9294"/>
                      <a:pt x="3731" y="9294"/>
                      <a:pt x="3731" y="9294"/>
                    </a:cubicBezTo>
                    <a:cubicBezTo>
                      <a:pt x="3685" y="9324"/>
                      <a:pt x="3685" y="9324"/>
                      <a:pt x="3685" y="9324"/>
                    </a:cubicBezTo>
                    <a:cubicBezTo>
                      <a:pt x="3619" y="9229"/>
                      <a:pt x="3619" y="9229"/>
                      <a:pt x="3619" y="9229"/>
                    </a:cubicBezTo>
                    <a:cubicBezTo>
                      <a:pt x="3757" y="9174"/>
                      <a:pt x="3757" y="9174"/>
                      <a:pt x="3757" y="9174"/>
                    </a:cubicBezTo>
                    <a:cubicBezTo>
                      <a:pt x="3735" y="9121"/>
                      <a:pt x="3735" y="9121"/>
                      <a:pt x="3735" y="9121"/>
                    </a:cubicBezTo>
                    <a:cubicBezTo>
                      <a:pt x="4011" y="9046"/>
                      <a:pt x="4011" y="9046"/>
                      <a:pt x="4011" y="9046"/>
                    </a:cubicBezTo>
                    <a:cubicBezTo>
                      <a:pt x="4108" y="9266"/>
                      <a:pt x="4108" y="9266"/>
                      <a:pt x="4108" y="9266"/>
                    </a:cubicBezTo>
                    <a:cubicBezTo>
                      <a:pt x="4069" y="9283"/>
                      <a:pt x="4069" y="9283"/>
                      <a:pt x="4069" y="9283"/>
                    </a:cubicBezTo>
                    <a:cubicBezTo>
                      <a:pt x="4155" y="9467"/>
                      <a:pt x="4155" y="9467"/>
                      <a:pt x="4155" y="9467"/>
                    </a:cubicBezTo>
                    <a:cubicBezTo>
                      <a:pt x="4152" y="9471"/>
                      <a:pt x="4152" y="9471"/>
                      <a:pt x="4152" y="9471"/>
                    </a:cubicBezTo>
                    <a:cubicBezTo>
                      <a:pt x="4138" y="9489"/>
                      <a:pt x="4138" y="9489"/>
                      <a:pt x="4138" y="9489"/>
                    </a:cubicBezTo>
                    <a:cubicBezTo>
                      <a:pt x="4160" y="9519"/>
                      <a:pt x="4160" y="9519"/>
                      <a:pt x="4160" y="9519"/>
                    </a:cubicBezTo>
                    <a:cubicBezTo>
                      <a:pt x="3998" y="9637"/>
                      <a:pt x="3998" y="9637"/>
                      <a:pt x="3998" y="9637"/>
                    </a:cubicBezTo>
                    <a:lnTo>
                      <a:pt x="3978" y="9611"/>
                    </a:lnTo>
                    <a:close/>
                    <a:moveTo>
                      <a:pt x="3937" y="9629"/>
                    </a:moveTo>
                    <a:cubicBezTo>
                      <a:pt x="3980" y="9590"/>
                      <a:pt x="3980" y="9590"/>
                      <a:pt x="3980" y="9590"/>
                    </a:cubicBezTo>
                    <a:cubicBezTo>
                      <a:pt x="4001" y="9617"/>
                      <a:pt x="4001" y="9617"/>
                      <a:pt x="4001" y="9617"/>
                    </a:cubicBezTo>
                    <a:cubicBezTo>
                      <a:pt x="4139" y="9516"/>
                      <a:pt x="4139" y="9516"/>
                      <a:pt x="4139" y="9516"/>
                    </a:cubicBezTo>
                    <a:cubicBezTo>
                      <a:pt x="4119" y="9489"/>
                      <a:pt x="4119" y="9489"/>
                      <a:pt x="4119" y="9489"/>
                    </a:cubicBezTo>
                    <a:cubicBezTo>
                      <a:pt x="4137" y="9465"/>
                      <a:pt x="4137" y="9465"/>
                      <a:pt x="4137" y="9465"/>
                    </a:cubicBezTo>
                    <a:cubicBezTo>
                      <a:pt x="4049" y="9276"/>
                      <a:pt x="4049" y="9276"/>
                      <a:pt x="4049" y="9276"/>
                    </a:cubicBezTo>
                    <a:cubicBezTo>
                      <a:pt x="4089" y="9258"/>
                      <a:pt x="4089" y="9258"/>
                      <a:pt x="4089" y="9258"/>
                    </a:cubicBezTo>
                    <a:cubicBezTo>
                      <a:pt x="4003" y="9064"/>
                      <a:pt x="4003" y="9064"/>
                      <a:pt x="4003" y="9064"/>
                    </a:cubicBezTo>
                    <a:cubicBezTo>
                      <a:pt x="3755" y="9131"/>
                      <a:pt x="3755" y="9131"/>
                      <a:pt x="3755" y="9131"/>
                    </a:cubicBezTo>
                    <a:cubicBezTo>
                      <a:pt x="3777" y="9183"/>
                      <a:pt x="3777" y="9183"/>
                      <a:pt x="3777" y="9183"/>
                    </a:cubicBezTo>
                    <a:cubicBezTo>
                      <a:pt x="3642" y="9236"/>
                      <a:pt x="3642" y="9236"/>
                      <a:pt x="3642" y="9236"/>
                    </a:cubicBezTo>
                    <a:cubicBezTo>
                      <a:pt x="3689" y="9304"/>
                      <a:pt x="3689" y="9304"/>
                      <a:pt x="3689" y="9304"/>
                    </a:cubicBezTo>
                    <a:cubicBezTo>
                      <a:pt x="3735" y="9273"/>
                      <a:pt x="3735" y="9273"/>
                      <a:pt x="3735" y="9273"/>
                    </a:cubicBezTo>
                    <a:cubicBezTo>
                      <a:pt x="3786" y="9347"/>
                      <a:pt x="3786" y="9347"/>
                      <a:pt x="3786" y="9347"/>
                    </a:cubicBezTo>
                    <a:cubicBezTo>
                      <a:pt x="3744" y="9375"/>
                      <a:pt x="3744" y="9375"/>
                      <a:pt x="3744" y="9375"/>
                    </a:cubicBezTo>
                    <a:cubicBezTo>
                      <a:pt x="3815" y="9469"/>
                      <a:pt x="3815" y="9469"/>
                      <a:pt x="3815" y="9469"/>
                    </a:cubicBezTo>
                    <a:cubicBezTo>
                      <a:pt x="3862" y="9432"/>
                      <a:pt x="3862" y="9432"/>
                      <a:pt x="3862" y="9432"/>
                    </a:cubicBezTo>
                    <a:cubicBezTo>
                      <a:pt x="3915" y="9503"/>
                      <a:pt x="3915" y="9503"/>
                      <a:pt x="3915" y="9503"/>
                    </a:cubicBezTo>
                    <a:cubicBezTo>
                      <a:pt x="3869" y="9539"/>
                      <a:pt x="3869" y="9539"/>
                      <a:pt x="3869" y="9539"/>
                    </a:cubicBezTo>
                    <a:lnTo>
                      <a:pt x="3937" y="9629"/>
                    </a:lnTo>
                    <a:close/>
                    <a:moveTo>
                      <a:pt x="3980" y="6951"/>
                    </a:moveTo>
                    <a:cubicBezTo>
                      <a:pt x="3950" y="6913"/>
                      <a:pt x="3950" y="6913"/>
                      <a:pt x="3950" y="6913"/>
                    </a:cubicBezTo>
                    <a:cubicBezTo>
                      <a:pt x="3979" y="6848"/>
                      <a:pt x="3979" y="6848"/>
                      <a:pt x="3979" y="6848"/>
                    </a:cubicBezTo>
                    <a:cubicBezTo>
                      <a:pt x="4067" y="6888"/>
                      <a:pt x="4067" y="6888"/>
                      <a:pt x="4067" y="6888"/>
                    </a:cubicBezTo>
                    <a:cubicBezTo>
                      <a:pt x="4050" y="6938"/>
                      <a:pt x="4050" y="6938"/>
                      <a:pt x="4050" y="6938"/>
                    </a:cubicBezTo>
                    <a:cubicBezTo>
                      <a:pt x="4068" y="6978"/>
                      <a:pt x="4068" y="6978"/>
                      <a:pt x="4068" y="6978"/>
                    </a:cubicBezTo>
                    <a:cubicBezTo>
                      <a:pt x="4046" y="7039"/>
                      <a:pt x="4046" y="7039"/>
                      <a:pt x="4046" y="7039"/>
                    </a:cubicBezTo>
                    <a:cubicBezTo>
                      <a:pt x="3957" y="7004"/>
                      <a:pt x="3957" y="7004"/>
                      <a:pt x="3957" y="7004"/>
                    </a:cubicBezTo>
                    <a:lnTo>
                      <a:pt x="3980" y="6951"/>
                    </a:lnTo>
                    <a:close/>
                    <a:moveTo>
                      <a:pt x="3991" y="6943"/>
                    </a:moveTo>
                    <a:cubicBezTo>
                      <a:pt x="3996" y="6949"/>
                      <a:pt x="3996" y="6949"/>
                      <a:pt x="3996" y="6949"/>
                    </a:cubicBezTo>
                    <a:cubicBezTo>
                      <a:pt x="3992" y="6957"/>
                      <a:pt x="3992" y="6957"/>
                      <a:pt x="3992" y="6957"/>
                    </a:cubicBezTo>
                    <a:cubicBezTo>
                      <a:pt x="3976" y="6996"/>
                      <a:pt x="3976" y="6996"/>
                      <a:pt x="3976" y="6996"/>
                    </a:cubicBezTo>
                    <a:cubicBezTo>
                      <a:pt x="4038" y="7021"/>
                      <a:pt x="4038" y="7021"/>
                      <a:pt x="4038" y="7021"/>
                    </a:cubicBezTo>
                    <a:cubicBezTo>
                      <a:pt x="4053" y="6978"/>
                      <a:pt x="4053" y="6978"/>
                      <a:pt x="4053" y="6978"/>
                    </a:cubicBezTo>
                    <a:cubicBezTo>
                      <a:pt x="4037" y="6943"/>
                      <a:pt x="4037" y="6943"/>
                      <a:pt x="4037" y="6943"/>
                    </a:cubicBezTo>
                    <a:cubicBezTo>
                      <a:pt x="4035" y="6938"/>
                      <a:pt x="4035" y="6938"/>
                      <a:pt x="4035" y="6938"/>
                    </a:cubicBezTo>
                    <a:cubicBezTo>
                      <a:pt x="4037" y="6933"/>
                      <a:pt x="4037" y="6933"/>
                      <a:pt x="4037" y="6933"/>
                    </a:cubicBezTo>
                    <a:cubicBezTo>
                      <a:pt x="4050" y="6896"/>
                      <a:pt x="4050" y="6896"/>
                      <a:pt x="4050" y="6896"/>
                    </a:cubicBezTo>
                    <a:cubicBezTo>
                      <a:pt x="3986" y="6867"/>
                      <a:pt x="3986" y="6867"/>
                      <a:pt x="3986" y="6867"/>
                    </a:cubicBezTo>
                    <a:cubicBezTo>
                      <a:pt x="3966" y="6911"/>
                      <a:pt x="3966" y="6911"/>
                      <a:pt x="3966" y="6911"/>
                    </a:cubicBezTo>
                    <a:lnTo>
                      <a:pt x="3991" y="6943"/>
                    </a:lnTo>
                    <a:close/>
                    <a:moveTo>
                      <a:pt x="3728" y="7150"/>
                    </a:moveTo>
                    <a:cubicBezTo>
                      <a:pt x="3833" y="7172"/>
                      <a:pt x="3833" y="7172"/>
                      <a:pt x="3833" y="7172"/>
                    </a:cubicBezTo>
                    <a:cubicBezTo>
                      <a:pt x="3822" y="7182"/>
                      <a:pt x="3822" y="7182"/>
                      <a:pt x="3822" y="7182"/>
                    </a:cubicBezTo>
                    <a:cubicBezTo>
                      <a:pt x="3742" y="7257"/>
                      <a:pt x="3742" y="7257"/>
                      <a:pt x="3742" y="7257"/>
                    </a:cubicBezTo>
                    <a:cubicBezTo>
                      <a:pt x="3700" y="7240"/>
                      <a:pt x="3700" y="7240"/>
                      <a:pt x="3700" y="7240"/>
                    </a:cubicBezTo>
                    <a:lnTo>
                      <a:pt x="3728" y="7150"/>
                    </a:lnTo>
                    <a:close/>
                    <a:moveTo>
                      <a:pt x="3738" y="7167"/>
                    </a:moveTo>
                    <a:cubicBezTo>
                      <a:pt x="3718" y="7231"/>
                      <a:pt x="3718" y="7231"/>
                      <a:pt x="3718" y="7231"/>
                    </a:cubicBezTo>
                    <a:cubicBezTo>
                      <a:pt x="3738" y="7239"/>
                      <a:pt x="3738" y="7239"/>
                      <a:pt x="3738" y="7239"/>
                    </a:cubicBezTo>
                    <a:cubicBezTo>
                      <a:pt x="3802" y="7180"/>
                      <a:pt x="3802" y="7180"/>
                      <a:pt x="3802" y="7180"/>
                    </a:cubicBezTo>
                    <a:lnTo>
                      <a:pt x="3738" y="7167"/>
                    </a:lnTo>
                    <a:close/>
                    <a:moveTo>
                      <a:pt x="6896" y="10514"/>
                    </a:moveTo>
                    <a:cubicBezTo>
                      <a:pt x="6839" y="10504"/>
                      <a:pt x="6839" y="10504"/>
                      <a:pt x="6839" y="10504"/>
                    </a:cubicBezTo>
                    <a:cubicBezTo>
                      <a:pt x="6840" y="10498"/>
                      <a:pt x="6840" y="10498"/>
                      <a:pt x="6840" y="10498"/>
                    </a:cubicBezTo>
                    <a:cubicBezTo>
                      <a:pt x="6855" y="10382"/>
                      <a:pt x="6855" y="10382"/>
                      <a:pt x="6855" y="10382"/>
                    </a:cubicBezTo>
                    <a:cubicBezTo>
                      <a:pt x="6969" y="10400"/>
                      <a:pt x="6969" y="10400"/>
                      <a:pt x="6969" y="10400"/>
                    </a:cubicBezTo>
                    <a:cubicBezTo>
                      <a:pt x="6967" y="10414"/>
                      <a:pt x="6967" y="10414"/>
                      <a:pt x="6967" y="10414"/>
                    </a:cubicBezTo>
                    <a:cubicBezTo>
                      <a:pt x="7018" y="10421"/>
                      <a:pt x="7018" y="10421"/>
                      <a:pt x="7018" y="10421"/>
                    </a:cubicBezTo>
                    <a:cubicBezTo>
                      <a:pt x="6993" y="10605"/>
                      <a:pt x="6993" y="10605"/>
                      <a:pt x="6993" y="10605"/>
                    </a:cubicBezTo>
                    <a:cubicBezTo>
                      <a:pt x="6884" y="10590"/>
                      <a:pt x="6884" y="10590"/>
                      <a:pt x="6884" y="10590"/>
                    </a:cubicBezTo>
                    <a:lnTo>
                      <a:pt x="6896" y="10514"/>
                    </a:lnTo>
                    <a:close/>
                    <a:moveTo>
                      <a:pt x="6911" y="10503"/>
                    </a:moveTo>
                    <a:cubicBezTo>
                      <a:pt x="6899" y="10579"/>
                      <a:pt x="6899" y="10579"/>
                      <a:pt x="6899" y="10579"/>
                    </a:cubicBezTo>
                    <a:cubicBezTo>
                      <a:pt x="6982" y="10590"/>
                      <a:pt x="6982" y="10590"/>
                      <a:pt x="6982" y="10590"/>
                    </a:cubicBezTo>
                    <a:cubicBezTo>
                      <a:pt x="7003" y="10433"/>
                      <a:pt x="7003" y="10433"/>
                      <a:pt x="7003" y="10433"/>
                    </a:cubicBezTo>
                    <a:cubicBezTo>
                      <a:pt x="6951" y="10426"/>
                      <a:pt x="6951" y="10426"/>
                      <a:pt x="6951" y="10426"/>
                    </a:cubicBezTo>
                    <a:cubicBezTo>
                      <a:pt x="6954" y="10411"/>
                      <a:pt x="6954" y="10411"/>
                      <a:pt x="6954" y="10411"/>
                    </a:cubicBezTo>
                    <a:cubicBezTo>
                      <a:pt x="6866" y="10397"/>
                      <a:pt x="6866" y="10397"/>
                      <a:pt x="6866" y="10397"/>
                    </a:cubicBezTo>
                    <a:cubicBezTo>
                      <a:pt x="6854" y="10493"/>
                      <a:pt x="6854" y="10493"/>
                      <a:pt x="6854" y="10493"/>
                    </a:cubicBezTo>
                    <a:lnTo>
                      <a:pt x="6911" y="10503"/>
                    </a:lnTo>
                    <a:close/>
                    <a:moveTo>
                      <a:pt x="4088" y="7329"/>
                    </a:moveTo>
                    <a:cubicBezTo>
                      <a:pt x="4075" y="7350"/>
                      <a:pt x="4075" y="7350"/>
                      <a:pt x="4075" y="7350"/>
                    </a:cubicBezTo>
                    <a:cubicBezTo>
                      <a:pt x="4032" y="7320"/>
                      <a:pt x="4032" y="7320"/>
                      <a:pt x="4032" y="7320"/>
                    </a:cubicBezTo>
                    <a:cubicBezTo>
                      <a:pt x="4189" y="7062"/>
                      <a:pt x="4189" y="7062"/>
                      <a:pt x="4189" y="7062"/>
                    </a:cubicBezTo>
                    <a:cubicBezTo>
                      <a:pt x="4233" y="7089"/>
                      <a:pt x="4233" y="7089"/>
                      <a:pt x="4233" y="7089"/>
                    </a:cubicBezTo>
                    <a:cubicBezTo>
                      <a:pt x="4189" y="7163"/>
                      <a:pt x="4189" y="7163"/>
                      <a:pt x="4189" y="7163"/>
                    </a:cubicBezTo>
                    <a:cubicBezTo>
                      <a:pt x="4143" y="7335"/>
                      <a:pt x="4143" y="7335"/>
                      <a:pt x="4143" y="7335"/>
                    </a:cubicBezTo>
                    <a:lnTo>
                      <a:pt x="4088" y="7329"/>
                    </a:lnTo>
                    <a:close/>
                    <a:moveTo>
                      <a:pt x="4081" y="7314"/>
                    </a:moveTo>
                    <a:cubicBezTo>
                      <a:pt x="4089" y="7315"/>
                      <a:pt x="4089" y="7315"/>
                      <a:pt x="4089" y="7315"/>
                    </a:cubicBezTo>
                    <a:cubicBezTo>
                      <a:pt x="4132" y="7320"/>
                      <a:pt x="4132" y="7320"/>
                      <a:pt x="4132" y="7320"/>
                    </a:cubicBezTo>
                    <a:cubicBezTo>
                      <a:pt x="4175" y="7159"/>
                      <a:pt x="4175" y="7159"/>
                      <a:pt x="4175" y="7159"/>
                    </a:cubicBezTo>
                    <a:cubicBezTo>
                      <a:pt x="4176" y="7158"/>
                      <a:pt x="4176" y="7158"/>
                      <a:pt x="4176" y="7158"/>
                    </a:cubicBezTo>
                    <a:cubicBezTo>
                      <a:pt x="4177" y="7156"/>
                      <a:pt x="4177" y="7156"/>
                      <a:pt x="4177" y="7156"/>
                    </a:cubicBezTo>
                    <a:cubicBezTo>
                      <a:pt x="4214" y="7093"/>
                      <a:pt x="4214" y="7093"/>
                      <a:pt x="4214" y="7093"/>
                    </a:cubicBezTo>
                    <a:cubicBezTo>
                      <a:pt x="4193" y="7081"/>
                      <a:pt x="4193" y="7081"/>
                      <a:pt x="4193" y="7081"/>
                    </a:cubicBezTo>
                    <a:cubicBezTo>
                      <a:pt x="4051" y="7316"/>
                      <a:pt x="4051" y="7316"/>
                      <a:pt x="4051" y="7316"/>
                    </a:cubicBezTo>
                    <a:cubicBezTo>
                      <a:pt x="4071" y="7330"/>
                      <a:pt x="4071" y="7330"/>
                      <a:pt x="4071" y="7330"/>
                    </a:cubicBezTo>
                    <a:cubicBezTo>
                      <a:pt x="4076" y="7322"/>
                      <a:pt x="4076" y="7322"/>
                      <a:pt x="4076" y="7322"/>
                    </a:cubicBezTo>
                    <a:lnTo>
                      <a:pt x="4081" y="7314"/>
                    </a:lnTo>
                    <a:close/>
                    <a:moveTo>
                      <a:pt x="4120" y="6878"/>
                    </a:moveTo>
                    <a:cubicBezTo>
                      <a:pt x="4033" y="6838"/>
                      <a:pt x="4033" y="6838"/>
                      <a:pt x="4033" y="6838"/>
                    </a:cubicBezTo>
                    <a:cubicBezTo>
                      <a:pt x="4063" y="6773"/>
                      <a:pt x="4063" y="6773"/>
                      <a:pt x="4063" y="6773"/>
                    </a:cubicBezTo>
                    <a:cubicBezTo>
                      <a:pt x="4107" y="6759"/>
                      <a:pt x="4107" y="6759"/>
                      <a:pt x="4107" y="6759"/>
                    </a:cubicBezTo>
                    <a:cubicBezTo>
                      <a:pt x="4131" y="6714"/>
                      <a:pt x="4131" y="6714"/>
                      <a:pt x="4131" y="6714"/>
                    </a:cubicBezTo>
                    <a:cubicBezTo>
                      <a:pt x="4217" y="6754"/>
                      <a:pt x="4217" y="6754"/>
                      <a:pt x="4217" y="6754"/>
                    </a:cubicBezTo>
                    <a:cubicBezTo>
                      <a:pt x="4191" y="6821"/>
                      <a:pt x="4191" y="6821"/>
                      <a:pt x="4191" y="6821"/>
                    </a:cubicBezTo>
                    <a:cubicBezTo>
                      <a:pt x="4143" y="6825"/>
                      <a:pt x="4143" y="6825"/>
                      <a:pt x="4143" y="6825"/>
                    </a:cubicBezTo>
                    <a:lnTo>
                      <a:pt x="4120" y="6878"/>
                    </a:lnTo>
                    <a:close/>
                    <a:moveTo>
                      <a:pt x="4113" y="6859"/>
                    </a:moveTo>
                    <a:cubicBezTo>
                      <a:pt x="4130" y="6820"/>
                      <a:pt x="4130" y="6820"/>
                      <a:pt x="4130" y="6820"/>
                    </a:cubicBezTo>
                    <a:cubicBezTo>
                      <a:pt x="4133" y="6812"/>
                      <a:pt x="4133" y="6812"/>
                      <a:pt x="4133" y="6812"/>
                    </a:cubicBezTo>
                    <a:cubicBezTo>
                      <a:pt x="4141" y="6812"/>
                      <a:pt x="4141" y="6812"/>
                      <a:pt x="4141" y="6812"/>
                    </a:cubicBezTo>
                    <a:cubicBezTo>
                      <a:pt x="4181" y="6808"/>
                      <a:pt x="4181" y="6808"/>
                      <a:pt x="4181" y="6808"/>
                    </a:cubicBezTo>
                    <a:cubicBezTo>
                      <a:pt x="4199" y="6762"/>
                      <a:pt x="4199" y="6762"/>
                      <a:pt x="4199" y="6762"/>
                    </a:cubicBezTo>
                    <a:cubicBezTo>
                      <a:pt x="4137" y="6733"/>
                      <a:pt x="4137" y="6733"/>
                      <a:pt x="4137" y="6733"/>
                    </a:cubicBezTo>
                    <a:cubicBezTo>
                      <a:pt x="4120" y="6766"/>
                      <a:pt x="4120" y="6766"/>
                      <a:pt x="4120" y="6766"/>
                    </a:cubicBezTo>
                    <a:cubicBezTo>
                      <a:pt x="4117" y="6771"/>
                      <a:pt x="4117" y="6771"/>
                      <a:pt x="4117" y="6771"/>
                    </a:cubicBezTo>
                    <a:cubicBezTo>
                      <a:pt x="4111" y="6772"/>
                      <a:pt x="4111" y="6772"/>
                      <a:pt x="4111" y="6772"/>
                    </a:cubicBezTo>
                    <a:cubicBezTo>
                      <a:pt x="4073" y="6784"/>
                      <a:pt x="4073" y="6784"/>
                      <a:pt x="4073" y="6784"/>
                    </a:cubicBezTo>
                    <a:cubicBezTo>
                      <a:pt x="4051" y="6831"/>
                      <a:pt x="4051" y="6831"/>
                      <a:pt x="4051" y="6831"/>
                    </a:cubicBezTo>
                    <a:lnTo>
                      <a:pt x="4113" y="6859"/>
                    </a:lnTo>
                    <a:close/>
                    <a:moveTo>
                      <a:pt x="4206" y="6696"/>
                    </a:moveTo>
                    <a:cubicBezTo>
                      <a:pt x="4175" y="6640"/>
                      <a:pt x="4175" y="6640"/>
                      <a:pt x="4175" y="6640"/>
                    </a:cubicBezTo>
                    <a:cubicBezTo>
                      <a:pt x="4261" y="6604"/>
                      <a:pt x="4261" y="6604"/>
                      <a:pt x="4261" y="6604"/>
                    </a:cubicBezTo>
                    <a:cubicBezTo>
                      <a:pt x="4288" y="6662"/>
                      <a:pt x="4288" y="6662"/>
                      <a:pt x="4288" y="6662"/>
                    </a:cubicBezTo>
                    <a:cubicBezTo>
                      <a:pt x="4281" y="6665"/>
                      <a:pt x="4281" y="6665"/>
                      <a:pt x="4281" y="6665"/>
                    </a:cubicBezTo>
                    <a:lnTo>
                      <a:pt x="4206" y="6696"/>
                    </a:lnTo>
                    <a:close/>
                    <a:moveTo>
                      <a:pt x="4194" y="6646"/>
                    </a:moveTo>
                    <a:cubicBezTo>
                      <a:pt x="4212" y="6679"/>
                      <a:pt x="4212" y="6679"/>
                      <a:pt x="4212" y="6679"/>
                    </a:cubicBezTo>
                    <a:cubicBezTo>
                      <a:pt x="4270" y="6655"/>
                      <a:pt x="4270" y="6655"/>
                      <a:pt x="4270" y="6655"/>
                    </a:cubicBezTo>
                    <a:cubicBezTo>
                      <a:pt x="4254" y="6621"/>
                      <a:pt x="4254" y="6621"/>
                      <a:pt x="4254" y="6621"/>
                    </a:cubicBezTo>
                    <a:lnTo>
                      <a:pt x="4194" y="6646"/>
                    </a:lnTo>
                    <a:close/>
                    <a:moveTo>
                      <a:pt x="1001" y="10139"/>
                    </a:moveTo>
                    <a:cubicBezTo>
                      <a:pt x="935" y="10035"/>
                      <a:pt x="935" y="10035"/>
                      <a:pt x="935" y="10035"/>
                    </a:cubicBezTo>
                    <a:cubicBezTo>
                      <a:pt x="1215" y="9885"/>
                      <a:pt x="1215" y="9885"/>
                      <a:pt x="1215" y="9885"/>
                    </a:cubicBezTo>
                    <a:cubicBezTo>
                      <a:pt x="1571" y="10193"/>
                      <a:pt x="1571" y="10193"/>
                      <a:pt x="1571" y="10193"/>
                    </a:cubicBezTo>
                    <a:cubicBezTo>
                      <a:pt x="1561" y="10316"/>
                      <a:pt x="1561" y="10316"/>
                      <a:pt x="1561" y="10316"/>
                    </a:cubicBezTo>
                    <a:cubicBezTo>
                      <a:pt x="1414" y="10303"/>
                      <a:pt x="1414" y="10303"/>
                      <a:pt x="1414" y="10303"/>
                    </a:cubicBezTo>
                    <a:cubicBezTo>
                      <a:pt x="1307" y="10198"/>
                      <a:pt x="1307" y="10198"/>
                      <a:pt x="1307" y="10198"/>
                    </a:cubicBezTo>
                    <a:cubicBezTo>
                      <a:pt x="1327" y="10182"/>
                      <a:pt x="1327" y="10182"/>
                      <a:pt x="1327" y="10182"/>
                    </a:cubicBezTo>
                    <a:cubicBezTo>
                      <a:pt x="1156" y="10017"/>
                      <a:pt x="1156" y="10017"/>
                      <a:pt x="1156" y="10017"/>
                    </a:cubicBezTo>
                    <a:cubicBezTo>
                      <a:pt x="1107" y="10044"/>
                      <a:pt x="1107" y="10044"/>
                      <a:pt x="1107" y="10044"/>
                    </a:cubicBezTo>
                    <a:cubicBezTo>
                      <a:pt x="1127" y="10079"/>
                      <a:pt x="1127" y="10079"/>
                      <a:pt x="1127" y="10079"/>
                    </a:cubicBezTo>
                    <a:lnTo>
                      <a:pt x="1001" y="10139"/>
                    </a:lnTo>
                    <a:close/>
                    <a:moveTo>
                      <a:pt x="955" y="10040"/>
                    </a:moveTo>
                    <a:cubicBezTo>
                      <a:pt x="1006" y="10122"/>
                      <a:pt x="1006" y="10122"/>
                      <a:pt x="1006" y="10122"/>
                    </a:cubicBezTo>
                    <a:cubicBezTo>
                      <a:pt x="1108" y="10073"/>
                      <a:pt x="1108" y="10073"/>
                      <a:pt x="1108" y="10073"/>
                    </a:cubicBezTo>
                    <a:cubicBezTo>
                      <a:pt x="1095" y="10051"/>
                      <a:pt x="1095" y="10051"/>
                      <a:pt x="1095" y="10051"/>
                    </a:cubicBezTo>
                    <a:cubicBezTo>
                      <a:pt x="1088" y="10038"/>
                      <a:pt x="1088" y="10038"/>
                      <a:pt x="1088" y="10038"/>
                    </a:cubicBezTo>
                    <a:cubicBezTo>
                      <a:pt x="1101" y="10032"/>
                      <a:pt x="1101" y="10032"/>
                      <a:pt x="1101" y="10032"/>
                    </a:cubicBezTo>
                    <a:cubicBezTo>
                      <a:pt x="1149" y="10005"/>
                      <a:pt x="1149" y="10005"/>
                      <a:pt x="1149" y="10005"/>
                    </a:cubicBezTo>
                    <a:cubicBezTo>
                      <a:pt x="1158" y="10000"/>
                      <a:pt x="1158" y="10000"/>
                      <a:pt x="1158" y="10000"/>
                    </a:cubicBezTo>
                    <a:cubicBezTo>
                      <a:pt x="1166" y="10007"/>
                      <a:pt x="1166" y="10007"/>
                      <a:pt x="1166" y="10007"/>
                    </a:cubicBezTo>
                    <a:cubicBezTo>
                      <a:pt x="1337" y="10172"/>
                      <a:pt x="1337" y="10172"/>
                      <a:pt x="1337" y="10172"/>
                    </a:cubicBezTo>
                    <a:cubicBezTo>
                      <a:pt x="1349" y="10183"/>
                      <a:pt x="1349" y="10183"/>
                      <a:pt x="1349" y="10183"/>
                    </a:cubicBezTo>
                    <a:cubicBezTo>
                      <a:pt x="1336" y="10193"/>
                      <a:pt x="1336" y="10193"/>
                      <a:pt x="1336" y="10193"/>
                    </a:cubicBezTo>
                    <a:cubicBezTo>
                      <a:pt x="1328" y="10199"/>
                      <a:pt x="1328" y="10199"/>
                      <a:pt x="1328" y="10199"/>
                    </a:cubicBezTo>
                    <a:cubicBezTo>
                      <a:pt x="1420" y="10289"/>
                      <a:pt x="1420" y="10289"/>
                      <a:pt x="1420" y="10289"/>
                    </a:cubicBezTo>
                    <a:cubicBezTo>
                      <a:pt x="1548" y="10301"/>
                      <a:pt x="1548" y="10301"/>
                      <a:pt x="1548" y="10301"/>
                    </a:cubicBezTo>
                    <a:cubicBezTo>
                      <a:pt x="1556" y="10199"/>
                      <a:pt x="1556" y="10199"/>
                      <a:pt x="1556" y="10199"/>
                    </a:cubicBezTo>
                    <a:cubicBezTo>
                      <a:pt x="1214" y="9902"/>
                      <a:pt x="1214" y="9902"/>
                      <a:pt x="1214" y="9902"/>
                    </a:cubicBezTo>
                    <a:lnTo>
                      <a:pt x="955" y="10040"/>
                    </a:lnTo>
                    <a:close/>
                    <a:moveTo>
                      <a:pt x="3244" y="6445"/>
                    </a:moveTo>
                    <a:cubicBezTo>
                      <a:pt x="3294" y="6364"/>
                      <a:pt x="3294" y="6364"/>
                      <a:pt x="3294" y="6364"/>
                    </a:cubicBezTo>
                    <a:cubicBezTo>
                      <a:pt x="3466" y="6504"/>
                      <a:pt x="3466" y="6504"/>
                      <a:pt x="3466" y="6504"/>
                    </a:cubicBezTo>
                    <a:cubicBezTo>
                      <a:pt x="3432" y="6495"/>
                      <a:pt x="3432" y="6495"/>
                      <a:pt x="3432" y="6495"/>
                    </a:cubicBezTo>
                    <a:lnTo>
                      <a:pt x="3244" y="6445"/>
                    </a:lnTo>
                    <a:close/>
                    <a:moveTo>
                      <a:pt x="3267" y="6436"/>
                    </a:moveTo>
                    <a:cubicBezTo>
                      <a:pt x="3403" y="6472"/>
                      <a:pt x="3403" y="6472"/>
                      <a:pt x="3403" y="6472"/>
                    </a:cubicBezTo>
                    <a:cubicBezTo>
                      <a:pt x="3298" y="6386"/>
                      <a:pt x="3298" y="6386"/>
                      <a:pt x="3298" y="6386"/>
                    </a:cubicBezTo>
                    <a:lnTo>
                      <a:pt x="3267" y="6436"/>
                    </a:lnTo>
                    <a:close/>
                    <a:moveTo>
                      <a:pt x="1102" y="8750"/>
                    </a:moveTo>
                    <a:cubicBezTo>
                      <a:pt x="1154" y="8682"/>
                      <a:pt x="1154" y="8682"/>
                      <a:pt x="1154" y="8682"/>
                    </a:cubicBezTo>
                    <a:cubicBezTo>
                      <a:pt x="1294" y="8793"/>
                      <a:pt x="1294" y="8793"/>
                      <a:pt x="1294" y="8793"/>
                    </a:cubicBezTo>
                    <a:cubicBezTo>
                      <a:pt x="1240" y="8861"/>
                      <a:pt x="1240" y="8861"/>
                      <a:pt x="1240" y="8861"/>
                    </a:cubicBezTo>
                    <a:lnTo>
                      <a:pt x="1102" y="8750"/>
                    </a:lnTo>
                    <a:close/>
                    <a:moveTo>
                      <a:pt x="1122" y="8747"/>
                    </a:moveTo>
                    <a:cubicBezTo>
                      <a:pt x="1237" y="8841"/>
                      <a:pt x="1237" y="8841"/>
                      <a:pt x="1237" y="8841"/>
                    </a:cubicBezTo>
                    <a:cubicBezTo>
                      <a:pt x="1274" y="8795"/>
                      <a:pt x="1274" y="8795"/>
                      <a:pt x="1274" y="8795"/>
                    </a:cubicBezTo>
                    <a:cubicBezTo>
                      <a:pt x="1156" y="8702"/>
                      <a:pt x="1156" y="8702"/>
                      <a:pt x="1156" y="8702"/>
                    </a:cubicBezTo>
                    <a:lnTo>
                      <a:pt x="1122" y="8747"/>
                    </a:lnTo>
                    <a:close/>
                    <a:moveTo>
                      <a:pt x="8428" y="7514"/>
                    </a:moveTo>
                    <a:cubicBezTo>
                      <a:pt x="8526" y="7621"/>
                      <a:pt x="8526" y="7621"/>
                      <a:pt x="8526" y="7621"/>
                    </a:cubicBezTo>
                    <a:cubicBezTo>
                      <a:pt x="8471" y="7672"/>
                      <a:pt x="8471" y="7672"/>
                      <a:pt x="8471" y="7672"/>
                    </a:cubicBezTo>
                    <a:cubicBezTo>
                      <a:pt x="8368" y="7561"/>
                      <a:pt x="8368" y="7561"/>
                      <a:pt x="8368" y="7561"/>
                    </a:cubicBezTo>
                    <a:cubicBezTo>
                      <a:pt x="8423" y="7510"/>
                      <a:pt x="8423" y="7510"/>
                      <a:pt x="8423" y="7510"/>
                    </a:cubicBezTo>
                    <a:lnTo>
                      <a:pt x="8428" y="7514"/>
                    </a:lnTo>
                    <a:close/>
                    <a:moveTo>
                      <a:pt x="8508" y="7620"/>
                    </a:moveTo>
                    <a:cubicBezTo>
                      <a:pt x="8423" y="7528"/>
                      <a:pt x="8423" y="7528"/>
                      <a:pt x="8423" y="7528"/>
                    </a:cubicBezTo>
                    <a:cubicBezTo>
                      <a:pt x="8386" y="7562"/>
                      <a:pt x="8386" y="7562"/>
                      <a:pt x="8386" y="7562"/>
                    </a:cubicBezTo>
                    <a:cubicBezTo>
                      <a:pt x="8471" y="7654"/>
                      <a:pt x="8471" y="7654"/>
                      <a:pt x="8471" y="7654"/>
                    </a:cubicBezTo>
                    <a:lnTo>
                      <a:pt x="8508" y="7620"/>
                    </a:lnTo>
                    <a:close/>
                    <a:moveTo>
                      <a:pt x="8427" y="7911"/>
                    </a:moveTo>
                    <a:cubicBezTo>
                      <a:pt x="8324" y="7799"/>
                      <a:pt x="8324" y="7799"/>
                      <a:pt x="8324" y="7799"/>
                    </a:cubicBezTo>
                    <a:cubicBezTo>
                      <a:pt x="8379" y="7748"/>
                      <a:pt x="8379" y="7748"/>
                      <a:pt x="8379" y="7748"/>
                    </a:cubicBezTo>
                    <a:cubicBezTo>
                      <a:pt x="8384" y="7753"/>
                      <a:pt x="8384" y="7753"/>
                      <a:pt x="8384" y="7753"/>
                    </a:cubicBezTo>
                    <a:cubicBezTo>
                      <a:pt x="8482" y="7859"/>
                      <a:pt x="8482" y="7859"/>
                      <a:pt x="8482" y="7859"/>
                    </a:cubicBezTo>
                    <a:lnTo>
                      <a:pt x="8427" y="7911"/>
                    </a:lnTo>
                    <a:close/>
                    <a:moveTo>
                      <a:pt x="8342" y="7800"/>
                    </a:moveTo>
                    <a:cubicBezTo>
                      <a:pt x="8427" y="7892"/>
                      <a:pt x="8427" y="7892"/>
                      <a:pt x="8427" y="7892"/>
                    </a:cubicBezTo>
                    <a:cubicBezTo>
                      <a:pt x="8464" y="7858"/>
                      <a:pt x="8464" y="7858"/>
                      <a:pt x="8464" y="7858"/>
                    </a:cubicBezTo>
                    <a:cubicBezTo>
                      <a:pt x="8379" y="7766"/>
                      <a:pt x="8379" y="7766"/>
                      <a:pt x="8379" y="7766"/>
                    </a:cubicBezTo>
                    <a:lnTo>
                      <a:pt x="8342" y="7800"/>
                    </a:lnTo>
                    <a:close/>
                    <a:moveTo>
                      <a:pt x="1196" y="8025"/>
                    </a:moveTo>
                    <a:cubicBezTo>
                      <a:pt x="1291" y="8164"/>
                      <a:pt x="1291" y="8164"/>
                      <a:pt x="1291" y="8164"/>
                    </a:cubicBezTo>
                    <a:cubicBezTo>
                      <a:pt x="1274" y="8276"/>
                      <a:pt x="1274" y="8276"/>
                      <a:pt x="1274" y="8276"/>
                    </a:cubicBezTo>
                    <a:cubicBezTo>
                      <a:pt x="1119" y="8277"/>
                      <a:pt x="1119" y="8277"/>
                      <a:pt x="1119" y="8277"/>
                    </a:cubicBezTo>
                    <a:cubicBezTo>
                      <a:pt x="1127" y="8083"/>
                      <a:pt x="1127" y="8083"/>
                      <a:pt x="1127" y="8083"/>
                    </a:cubicBezTo>
                    <a:lnTo>
                      <a:pt x="1196" y="8025"/>
                    </a:lnTo>
                    <a:close/>
                    <a:moveTo>
                      <a:pt x="1277" y="8167"/>
                    </a:moveTo>
                    <a:cubicBezTo>
                      <a:pt x="1194" y="8046"/>
                      <a:pt x="1194" y="8046"/>
                      <a:pt x="1194" y="8046"/>
                    </a:cubicBezTo>
                    <a:cubicBezTo>
                      <a:pt x="1141" y="8090"/>
                      <a:pt x="1141" y="8090"/>
                      <a:pt x="1141" y="8090"/>
                    </a:cubicBezTo>
                    <a:cubicBezTo>
                      <a:pt x="1133" y="8263"/>
                      <a:pt x="1133" y="8263"/>
                      <a:pt x="1133" y="8263"/>
                    </a:cubicBezTo>
                    <a:cubicBezTo>
                      <a:pt x="1262" y="8262"/>
                      <a:pt x="1262" y="8262"/>
                      <a:pt x="1262" y="8262"/>
                    </a:cubicBezTo>
                    <a:lnTo>
                      <a:pt x="1277" y="8167"/>
                    </a:lnTo>
                    <a:close/>
                    <a:moveTo>
                      <a:pt x="1375" y="7878"/>
                    </a:moveTo>
                    <a:cubicBezTo>
                      <a:pt x="1490" y="7711"/>
                      <a:pt x="1490" y="7711"/>
                      <a:pt x="1490" y="7711"/>
                    </a:cubicBezTo>
                    <a:cubicBezTo>
                      <a:pt x="1566" y="7799"/>
                      <a:pt x="1566" y="7799"/>
                      <a:pt x="1566" y="7799"/>
                    </a:cubicBezTo>
                    <a:cubicBezTo>
                      <a:pt x="1566" y="7799"/>
                      <a:pt x="1768" y="7812"/>
                      <a:pt x="1772" y="7812"/>
                    </a:cubicBezTo>
                    <a:cubicBezTo>
                      <a:pt x="1766" y="7865"/>
                      <a:pt x="1766" y="7865"/>
                      <a:pt x="1766" y="7865"/>
                    </a:cubicBezTo>
                    <a:cubicBezTo>
                      <a:pt x="1766" y="7865"/>
                      <a:pt x="1719" y="7904"/>
                      <a:pt x="1722" y="7904"/>
                    </a:cubicBezTo>
                    <a:cubicBezTo>
                      <a:pt x="1725" y="7904"/>
                      <a:pt x="1615" y="7900"/>
                      <a:pt x="1615" y="7900"/>
                    </a:cubicBezTo>
                    <a:cubicBezTo>
                      <a:pt x="1583" y="7923"/>
                      <a:pt x="1583" y="7923"/>
                      <a:pt x="1583" y="7923"/>
                    </a:cubicBezTo>
                    <a:cubicBezTo>
                      <a:pt x="1631" y="7979"/>
                      <a:pt x="1631" y="7979"/>
                      <a:pt x="1631" y="7979"/>
                    </a:cubicBezTo>
                    <a:cubicBezTo>
                      <a:pt x="1533" y="8064"/>
                      <a:pt x="1533" y="8064"/>
                      <a:pt x="1533" y="8064"/>
                    </a:cubicBezTo>
                    <a:lnTo>
                      <a:pt x="1375" y="7878"/>
                    </a:lnTo>
                    <a:close/>
                    <a:moveTo>
                      <a:pt x="1393" y="7877"/>
                    </a:moveTo>
                    <a:cubicBezTo>
                      <a:pt x="1535" y="8045"/>
                      <a:pt x="1535" y="8045"/>
                      <a:pt x="1535" y="8045"/>
                    </a:cubicBezTo>
                    <a:cubicBezTo>
                      <a:pt x="1611" y="7978"/>
                      <a:pt x="1611" y="7978"/>
                      <a:pt x="1611" y="7978"/>
                    </a:cubicBezTo>
                    <a:cubicBezTo>
                      <a:pt x="1573" y="7932"/>
                      <a:pt x="1573" y="7932"/>
                      <a:pt x="1573" y="7932"/>
                    </a:cubicBezTo>
                    <a:cubicBezTo>
                      <a:pt x="1563" y="7920"/>
                      <a:pt x="1563" y="7920"/>
                      <a:pt x="1563" y="7920"/>
                    </a:cubicBezTo>
                    <a:cubicBezTo>
                      <a:pt x="1575" y="7912"/>
                      <a:pt x="1575" y="7912"/>
                      <a:pt x="1575" y="7912"/>
                    </a:cubicBezTo>
                    <a:cubicBezTo>
                      <a:pt x="1607" y="7889"/>
                      <a:pt x="1607" y="7889"/>
                      <a:pt x="1607" y="7889"/>
                    </a:cubicBezTo>
                    <a:cubicBezTo>
                      <a:pt x="1611" y="7886"/>
                      <a:pt x="1611" y="7886"/>
                      <a:pt x="1611" y="7886"/>
                    </a:cubicBezTo>
                    <a:cubicBezTo>
                      <a:pt x="1616" y="7887"/>
                      <a:pt x="1616" y="7887"/>
                      <a:pt x="1616" y="7887"/>
                    </a:cubicBezTo>
                    <a:cubicBezTo>
                      <a:pt x="1616" y="7887"/>
                      <a:pt x="1692" y="7889"/>
                      <a:pt x="1715" y="7889"/>
                    </a:cubicBezTo>
                    <a:cubicBezTo>
                      <a:pt x="1722" y="7883"/>
                      <a:pt x="1733" y="7873"/>
                      <a:pt x="1753" y="7857"/>
                    </a:cubicBezTo>
                    <a:cubicBezTo>
                      <a:pt x="1756" y="7825"/>
                      <a:pt x="1756" y="7825"/>
                      <a:pt x="1756" y="7825"/>
                    </a:cubicBezTo>
                    <a:cubicBezTo>
                      <a:pt x="1717" y="7823"/>
                      <a:pt x="1614" y="7816"/>
                      <a:pt x="1565" y="7813"/>
                    </a:cubicBezTo>
                    <a:cubicBezTo>
                      <a:pt x="1559" y="7812"/>
                      <a:pt x="1559" y="7812"/>
                      <a:pt x="1559" y="7812"/>
                    </a:cubicBezTo>
                    <a:cubicBezTo>
                      <a:pt x="1555" y="7808"/>
                      <a:pt x="1555" y="7808"/>
                      <a:pt x="1555" y="7808"/>
                    </a:cubicBezTo>
                    <a:cubicBezTo>
                      <a:pt x="1491" y="7734"/>
                      <a:pt x="1491" y="7734"/>
                      <a:pt x="1491" y="7734"/>
                    </a:cubicBezTo>
                    <a:lnTo>
                      <a:pt x="1393" y="7877"/>
                    </a:lnTo>
                    <a:close/>
                    <a:moveTo>
                      <a:pt x="1605" y="7724"/>
                    </a:moveTo>
                    <a:cubicBezTo>
                      <a:pt x="1545" y="7646"/>
                      <a:pt x="1545" y="7646"/>
                      <a:pt x="1545" y="7646"/>
                    </a:cubicBezTo>
                    <a:cubicBezTo>
                      <a:pt x="1690" y="7431"/>
                      <a:pt x="1690" y="7431"/>
                      <a:pt x="1690" y="7431"/>
                    </a:cubicBezTo>
                    <a:cubicBezTo>
                      <a:pt x="1729" y="7473"/>
                      <a:pt x="1729" y="7473"/>
                      <a:pt x="1729" y="7473"/>
                    </a:cubicBezTo>
                    <a:cubicBezTo>
                      <a:pt x="1674" y="7632"/>
                      <a:pt x="1674" y="7632"/>
                      <a:pt x="1674" y="7632"/>
                    </a:cubicBezTo>
                    <a:cubicBezTo>
                      <a:pt x="1709" y="7667"/>
                      <a:pt x="1709" y="7667"/>
                      <a:pt x="1709" y="7667"/>
                    </a:cubicBezTo>
                    <a:cubicBezTo>
                      <a:pt x="1700" y="7729"/>
                      <a:pt x="1700" y="7729"/>
                      <a:pt x="1700" y="7729"/>
                    </a:cubicBezTo>
                    <a:lnTo>
                      <a:pt x="1605" y="7724"/>
                    </a:lnTo>
                    <a:close/>
                    <a:moveTo>
                      <a:pt x="1563" y="7646"/>
                    </a:moveTo>
                    <a:cubicBezTo>
                      <a:pt x="1612" y="7711"/>
                      <a:pt x="1612" y="7711"/>
                      <a:pt x="1612" y="7711"/>
                    </a:cubicBezTo>
                    <a:cubicBezTo>
                      <a:pt x="1688" y="7715"/>
                      <a:pt x="1688" y="7715"/>
                      <a:pt x="1688" y="7715"/>
                    </a:cubicBezTo>
                    <a:cubicBezTo>
                      <a:pt x="1695" y="7672"/>
                      <a:pt x="1695" y="7672"/>
                      <a:pt x="1695" y="7672"/>
                    </a:cubicBezTo>
                    <a:cubicBezTo>
                      <a:pt x="1664" y="7642"/>
                      <a:pt x="1664" y="7642"/>
                      <a:pt x="1664" y="7642"/>
                    </a:cubicBezTo>
                    <a:cubicBezTo>
                      <a:pt x="1657" y="7636"/>
                      <a:pt x="1657" y="7636"/>
                      <a:pt x="1657" y="7636"/>
                    </a:cubicBezTo>
                    <a:cubicBezTo>
                      <a:pt x="1660" y="7627"/>
                      <a:pt x="1660" y="7627"/>
                      <a:pt x="1660" y="7627"/>
                    </a:cubicBezTo>
                    <a:cubicBezTo>
                      <a:pt x="1713" y="7476"/>
                      <a:pt x="1713" y="7476"/>
                      <a:pt x="1713" y="7476"/>
                    </a:cubicBezTo>
                    <a:cubicBezTo>
                      <a:pt x="1692" y="7453"/>
                      <a:pt x="1692" y="7453"/>
                      <a:pt x="1692" y="7453"/>
                    </a:cubicBezTo>
                    <a:lnTo>
                      <a:pt x="1563" y="7646"/>
                    </a:lnTo>
                    <a:close/>
                    <a:moveTo>
                      <a:pt x="2685" y="4337"/>
                    </a:moveTo>
                    <a:cubicBezTo>
                      <a:pt x="2679" y="4345"/>
                      <a:pt x="2679" y="4345"/>
                      <a:pt x="2679" y="4345"/>
                    </a:cubicBezTo>
                    <a:cubicBezTo>
                      <a:pt x="2720" y="4377"/>
                      <a:pt x="2720" y="4377"/>
                      <a:pt x="2720" y="4377"/>
                    </a:cubicBezTo>
                    <a:cubicBezTo>
                      <a:pt x="2607" y="4524"/>
                      <a:pt x="2607" y="4524"/>
                      <a:pt x="2607" y="4524"/>
                    </a:cubicBezTo>
                    <a:cubicBezTo>
                      <a:pt x="2520" y="4457"/>
                      <a:pt x="2520" y="4457"/>
                      <a:pt x="2520" y="4457"/>
                    </a:cubicBezTo>
                    <a:cubicBezTo>
                      <a:pt x="2565" y="4399"/>
                      <a:pt x="2565" y="4399"/>
                      <a:pt x="2565" y="4399"/>
                    </a:cubicBezTo>
                    <a:cubicBezTo>
                      <a:pt x="2519" y="4364"/>
                      <a:pt x="2519" y="4364"/>
                      <a:pt x="2519" y="4364"/>
                    </a:cubicBezTo>
                    <a:cubicBezTo>
                      <a:pt x="2523" y="4359"/>
                      <a:pt x="2523" y="4359"/>
                      <a:pt x="2523" y="4359"/>
                    </a:cubicBezTo>
                    <a:cubicBezTo>
                      <a:pt x="2591" y="4265"/>
                      <a:pt x="2591" y="4265"/>
                      <a:pt x="2591" y="4265"/>
                    </a:cubicBezTo>
                    <a:lnTo>
                      <a:pt x="2685" y="4337"/>
                    </a:lnTo>
                    <a:close/>
                    <a:moveTo>
                      <a:pt x="2660" y="4348"/>
                    </a:moveTo>
                    <a:cubicBezTo>
                      <a:pt x="2666" y="4339"/>
                      <a:pt x="2666" y="4339"/>
                      <a:pt x="2666" y="4339"/>
                    </a:cubicBezTo>
                    <a:cubicBezTo>
                      <a:pt x="2594" y="4284"/>
                      <a:pt x="2594" y="4284"/>
                      <a:pt x="2594" y="4284"/>
                    </a:cubicBezTo>
                    <a:cubicBezTo>
                      <a:pt x="2537" y="4362"/>
                      <a:pt x="2537" y="4362"/>
                      <a:pt x="2537" y="4362"/>
                    </a:cubicBezTo>
                    <a:cubicBezTo>
                      <a:pt x="2583" y="4397"/>
                      <a:pt x="2583" y="4397"/>
                      <a:pt x="2583" y="4397"/>
                    </a:cubicBezTo>
                    <a:cubicBezTo>
                      <a:pt x="2538" y="4455"/>
                      <a:pt x="2538" y="4455"/>
                      <a:pt x="2538" y="4455"/>
                    </a:cubicBezTo>
                    <a:cubicBezTo>
                      <a:pt x="2605" y="4506"/>
                      <a:pt x="2605" y="4506"/>
                      <a:pt x="2605" y="4506"/>
                    </a:cubicBezTo>
                    <a:cubicBezTo>
                      <a:pt x="2702" y="4379"/>
                      <a:pt x="2702" y="4379"/>
                      <a:pt x="2702" y="4379"/>
                    </a:cubicBezTo>
                    <a:lnTo>
                      <a:pt x="2660" y="4348"/>
                    </a:lnTo>
                    <a:close/>
                    <a:moveTo>
                      <a:pt x="3893" y="4757"/>
                    </a:moveTo>
                    <a:cubicBezTo>
                      <a:pt x="3817" y="4715"/>
                      <a:pt x="3817" y="4715"/>
                      <a:pt x="3817" y="4715"/>
                    </a:cubicBezTo>
                    <a:cubicBezTo>
                      <a:pt x="3917" y="4530"/>
                      <a:pt x="3917" y="4530"/>
                      <a:pt x="3917" y="4530"/>
                    </a:cubicBezTo>
                    <a:cubicBezTo>
                      <a:pt x="3923" y="4533"/>
                      <a:pt x="3923" y="4533"/>
                      <a:pt x="3923" y="4533"/>
                    </a:cubicBezTo>
                    <a:cubicBezTo>
                      <a:pt x="3993" y="4571"/>
                      <a:pt x="3993" y="4571"/>
                      <a:pt x="3993" y="4571"/>
                    </a:cubicBezTo>
                    <a:cubicBezTo>
                      <a:pt x="3971" y="4613"/>
                      <a:pt x="3971" y="4613"/>
                      <a:pt x="3971" y="4613"/>
                    </a:cubicBezTo>
                    <a:cubicBezTo>
                      <a:pt x="4008" y="4633"/>
                      <a:pt x="4008" y="4633"/>
                      <a:pt x="4008" y="4633"/>
                    </a:cubicBezTo>
                    <a:cubicBezTo>
                      <a:pt x="3953" y="4736"/>
                      <a:pt x="3953" y="4736"/>
                      <a:pt x="3953" y="4736"/>
                    </a:cubicBezTo>
                    <a:cubicBezTo>
                      <a:pt x="3915" y="4715"/>
                      <a:pt x="3915" y="4715"/>
                      <a:pt x="3915" y="4715"/>
                    </a:cubicBezTo>
                    <a:lnTo>
                      <a:pt x="3893" y="4757"/>
                    </a:lnTo>
                    <a:close/>
                    <a:moveTo>
                      <a:pt x="3887" y="4739"/>
                    </a:moveTo>
                    <a:cubicBezTo>
                      <a:pt x="3910" y="4697"/>
                      <a:pt x="3910" y="4697"/>
                      <a:pt x="3910" y="4697"/>
                    </a:cubicBezTo>
                    <a:cubicBezTo>
                      <a:pt x="3948" y="4718"/>
                      <a:pt x="3948" y="4718"/>
                      <a:pt x="3948" y="4718"/>
                    </a:cubicBezTo>
                    <a:cubicBezTo>
                      <a:pt x="3991" y="4638"/>
                      <a:pt x="3991" y="4638"/>
                      <a:pt x="3991" y="4638"/>
                    </a:cubicBezTo>
                    <a:cubicBezTo>
                      <a:pt x="3953" y="4618"/>
                      <a:pt x="3953" y="4618"/>
                      <a:pt x="3953" y="4618"/>
                    </a:cubicBezTo>
                    <a:cubicBezTo>
                      <a:pt x="3975" y="4577"/>
                      <a:pt x="3975" y="4577"/>
                      <a:pt x="3975" y="4577"/>
                    </a:cubicBezTo>
                    <a:cubicBezTo>
                      <a:pt x="3922" y="4548"/>
                      <a:pt x="3922" y="4548"/>
                      <a:pt x="3922" y="4548"/>
                    </a:cubicBezTo>
                    <a:cubicBezTo>
                      <a:pt x="3835" y="4710"/>
                      <a:pt x="3835" y="4710"/>
                      <a:pt x="3835" y="4710"/>
                    </a:cubicBezTo>
                    <a:lnTo>
                      <a:pt x="3887" y="4739"/>
                    </a:lnTo>
                    <a:close/>
                    <a:moveTo>
                      <a:pt x="1732" y="7596"/>
                    </a:moveTo>
                    <a:cubicBezTo>
                      <a:pt x="1729" y="7596"/>
                      <a:pt x="1763" y="7498"/>
                      <a:pt x="1763" y="7498"/>
                    </a:cubicBezTo>
                    <a:cubicBezTo>
                      <a:pt x="1824" y="7569"/>
                      <a:pt x="1824" y="7569"/>
                      <a:pt x="1824" y="7569"/>
                    </a:cubicBezTo>
                    <a:cubicBezTo>
                      <a:pt x="1812" y="7735"/>
                      <a:pt x="1812" y="7735"/>
                      <a:pt x="1812" y="7735"/>
                    </a:cubicBezTo>
                    <a:cubicBezTo>
                      <a:pt x="1732" y="7729"/>
                      <a:pt x="1732" y="7729"/>
                      <a:pt x="1732" y="7729"/>
                    </a:cubicBezTo>
                    <a:cubicBezTo>
                      <a:pt x="1740" y="7667"/>
                      <a:pt x="1740" y="7667"/>
                      <a:pt x="1740" y="7667"/>
                    </a:cubicBezTo>
                    <a:cubicBezTo>
                      <a:pt x="1740" y="7667"/>
                      <a:pt x="1764" y="7627"/>
                      <a:pt x="1761" y="7627"/>
                    </a:cubicBezTo>
                    <a:cubicBezTo>
                      <a:pt x="1758" y="7627"/>
                      <a:pt x="1735" y="7596"/>
                      <a:pt x="1732" y="7596"/>
                    </a:cubicBezTo>
                    <a:close/>
                    <a:moveTo>
                      <a:pt x="1747" y="7591"/>
                    </a:moveTo>
                    <a:cubicBezTo>
                      <a:pt x="1750" y="7594"/>
                      <a:pt x="1753" y="7598"/>
                      <a:pt x="1757" y="7602"/>
                    </a:cubicBezTo>
                    <a:cubicBezTo>
                      <a:pt x="1760" y="7606"/>
                      <a:pt x="1763" y="7610"/>
                      <a:pt x="1766" y="7613"/>
                    </a:cubicBezTo>
                    <a:cubicBezTo>
                      <a:pt x="1769" y="7613"/>
                      <a:pt x="1769" y="7613"/>
                      <a:pt x="1769" y="7613"/>
                    </a:cubicBezTo>
                    <a:cubicBezTo>
                      <a:pt x="1773" y="7620"/>
                      <a:pt x="1773" y="7620"/>
                      <a:pt x="1773" y="7620"/>
                    </a:cubicBezTo>
                    <a:cubicBezTo>
                      <a:pt x="1777" y="7627"/>
                      <a:pt x="1778" y="7629"/>
                      <a:pt x="1754" y="7671"/>
                    </a:cubicBezTo>
                    <a:cubicBezTo>
                      <a:pt x="1748" y="7717"/>
                      <a:pt x="1748" y="7717"/>
                      <a:pt x="1748" y="7717"/>
                    </a:cubicBezTo>
                    <a:cubicBezTo>
                      <a:pt x="1799" y="7720"/>
                      <a:pt x="1799" y="7720"/>
                      <a:pt x="1799" y="7720"/>
                    </a:cubicBezTo>
                    <a:cubicBezTo>
                      <a:pt x="1810" y="7574"/>
                      <a:pt x="1810" y="7574"/>
                      <a:pt x="1810" y="7574"/>
                    </a:cubicBezTo>
                    <a:cubicBezTo>
                      <a:pt x="1768" y="7525"/>
                      <a:pt x="1768" y="7525"/>
                      <a:pt x="1768" y="7525"/>
                    </a:cubicBezTo>
                    <a:cubicBezTo>
                      <a:pt x="1759" y="7553"/>
                      <a:pt x="1750" y="7579"/>
                      <a:pt x="1747" y="7591"/>
                    </a:cubicBezTo>
                    <a:close/>
                    <a:moveTo>
                      <a:pt x="3932" y="7386"/>
                    </a:moveTo>
                    <a:cubicBezTo>
                      <a:pt x="3882" y="7430"/>
                      <a:pt x="3882" y="7430"/>
                      <a:pt x="3882" y="7430"/>
                    </a:cubicBezTo>
                    <a:cubicBezTo>
                      <a:pt x="3864" y="7414"/>
                      <a:pt x="3864" y="7414"/>
                      <a:pt x="3864" y="7414"/>
                    </a:cubicBezTo>
                    <a:cubicBezTo>
                      <a:pt x="3817" y="7453"/>
                      <a:pt x="3817" y="7453"/>
                      <a:pt x="3817" y="7453"/>
                    </a:cubicBezTo>
                    <a:cubicBezTo>
                      <a:pt x="3755" y="7388"/>
                      <a:pt x="3755" y="7388"/>
                      <a:pt x="3755" y="7388"/>
                    </a:cubicBezTo>
                    <a:cubicBezTo>
                      <a:pt x="3803" y="7342"/>
                      <a:pt x="3803" y="7342"/>
                      <a:pt x="3803" y="7342"/>
                    </a:cubicBezTo>
                    <a:cubicBezTo>
                      <a:pt x="3828" y="7363"/>
                      <a:pt x="3828" y="7363"/>
                      <a:pt x="3828" y="7363"/>
                    </a:cubicBezTo>
                    <a:cubicBezTo>
                      <a:pt x="3866" y="7321"/>
                      <a:pt x="3866" y="7321"/>
                      <a:pt x="3866" y="7321"/>
                    </a:cubicBezTo>
                    <a:cubicBezTo>
                      <a:pt x="3842" y="7297"/>
                      <a:pt x="3842" y="7297"/>
                      <a:pt x="3842" y="7297"/>
                    </a:cubicBezTo>
                    <a:cubicBezTo>
                      <a:pt x="3894" y="7251"/>
                      <a:pt x="3894" y="7251"/>
                      <a:pt x="3894" y="7251"/>
                    </a:cubicBezTo>
                    <a:cubicBezTo>
                      <a:pt x="3957" y="7317"/>
                      <a:pt x="3957" y="7317"/>
                      <a:pt x="3957" y="7317"/>
                    </a:cubicBezTo>
                    <a:cubicBezTo>
                      <a:pt x="3913" y="7361"/>
                      <a:pt x="3913" y="7361"/>
                      <a:pt x="3913" y="7361"/>
                    </a:cubicBezTo>
                    <a:lnTo>
                      <a:pt x="3932" y="7386"/>
                    </a:lnTo>
                    <a:close/>
                    <a:moveTo>
                      <a:pt x="3882" y="7412"/>
                    </a:moveTo>
                    <a:cubicBezTo>
                      <a:pt x="3913" y="7384"/>
                      <a:pt x="3913" y="7384"/>
                      <a:pt x="3913" y="7384"/>
                    </a:cubicBezTo>
                    <a:cubicBezTo>
                      <a:pt x="3902" y="7369"/>
                      <a:pt x="3902" y="7369"/>
                      <a:pt x="3902" y="7369"/>
                    </a:cubicBezTo>
                    <a:cubicBezTo>
                      <a:pt x="3894" y="7360"/>
                      <a:pt x="3894" y="7360"/>
                      <a:pt x="3894" y="7360"/>
                    </a:cubicBezTo>
                    <a:cubicBezTo>
                      <a:pt x="3903" y="7351"/>
                      <a:pt x="3903" y="7351"/>
                      <a:pt x="3903" y="7351"/>
                    </a:cubicBezTo>
                    <a:cubicBezTo>
                      <a:pt x="3937" y="7317"/>
                      <a:pt x="3937" y="7317"/>
                      <a:pt x="3937" y="7317"/>
                    </a:cubicBezTo>
                    <a:cubicBezTo>
                      <a:pt x="3893" y="7270"/>
                      <a:pt x="3893" y="7270"/>
                      <a:pt x="3893" y="7270"/>
                    </a:cubicBezTo>
                    <a:cubicBezTo>
                      <a:pt x="3862" y="7297"/>
                      <a:pt x="3862" y="7297"/>
                      <a:pt x="3862" y="7297"/>
                    </a:cubicBezTo>
                    <a:cubicBezTo>
                      <a:pt x="3876" y="7311"/>
                      <a:pt x="3876" y="7311"/>
                      <a:pt x="3876" y="7311"/>
                    </a:cubicBezTo>
                    <a:cubicBezTo>
                      <a:pt x="3886" y="7321"/>
                      <a:pt x="3886" y="7321"/>
                      <a:pt x="3886" y="7321"/>
                    </a:cubicBezTo>
                    <a:cubicBezTo>
                      <a:pt x="3877" y="7331"/>
                      <a:pt x="3877" y="7331"/>
                      <a:pt x="3877" y="7331"/>
                    </a:cubicBezTo>
                    <a:cubicBezTo>
                      <a:pt x="3838" y="7372"/>
                      <a:pt x="3838" y="7372"/>
                      <a:pt x="3838" y="7372"/>
                    </a:cubicBezTo>
                    <a:cubicBezTo>
                      <a:pt x="3829" y="7382"/>
                      <a:pt x="3829" y="7382"/>
                      <a:pt x="3829" y="7382"/>
                    </a:cubicBezTo>
                    <a:cubicBezTo>
                      <a:pt x="3819" y="7374"/>
                      <a:pt x="3819" y="7374"/>
                      <a:pt x="3819" y="7374"/>
                    </a:cubicBezTo>
                    <a:cubicBezTo>
                      <a:pt x="3804" y="7361"/>
                      <a:pt x="3804" y="7361"/>
                      <a:pt x="3804" y="7361"/>
                    </a:cubicBezTo>
                    <a:cubicBezTo>
                      <a:pt x="3775" y="7389"/>
                      <a:pt x="3775" y="7389"/>
                      <a:pt x="3775" y="7389"/>
                    </a:cubicBezTo>
                    <a:cubicBezTo>
                      <a:pt x="3818" y="7434"/>
                      <a:pt x="3818" y="7434"/>
                      <a:pt x="3818" y="7434"/>
                    </a:cubicBezTo>
                    <a:cubicBezTo>
                      <a:pt x="3855" y="7403"/>
                      <a:pt x="3855" y="7403"/>
                      <a:pt x="3855" y="7403"/>
                    </a:cubicBezTo>
                    <a:cubicBezTo>
                      <a:pt x="3864" y="7395"/>
                      <a:pt x="3864" y="7395"/>
                      <a:pt x="3864" y="7395"/>
                    </a:cubicBezTo>
                    <a:cubicBezTo>
                      <a:pt x="3873" y="7404"/>
                      <a:pt x="3873" y="7404"/>
                      <a:pt x="3873" y="7404"/>
                    </a:cubicBezTo>
                    <a:lnTo>
                      <a:pt x="3882" y="7412"/>
                    </a:lnTo>
                    <a:close/>
                    <a:moveTo>
                      <a:pt x="3365" y="7972"/>
                    </a:moveTo>
                    <a:cubicBezTo>
                      <a:pt x="3308" y="7955"/>
                      <a:pt x="3262" y="7905"/>
                      <a:pt x="3262" y="7862"/>
                    </a:cubicBezTo>
                    <a:cubicBezTo>
                      <a:pt x="3262" y="7856"/>
                      <a:pt x="3263" y="7849"/>
                      <a:pt x="3266" y="7844"/>
                    </a:cubicBezTo>
                    <a:cubicBezTo>
                      <a:pt x="3277" y="7814"/>
                      <a:pt x="3310" y="7797"/>
                      <a:pt x="3355" y="7797"/>
                    </a:cubicBezTo>
                    <a:cubicBezTo>
                      <a:pt x="3377" y="7797"/>
                      <a:pt x="3403" y="7801"/>
                      <a:pt x="3430" y="7810"/>
                    </a:cubicBezTo>
                    <a:cubicBezTo>
                      <a:pt x="3487" y="7829"/>
                      <a:pt x="3526" y="7871"/>
                      <a:pt x="3526" y="7913"/>
                    </a:cubicBezTo>
                    <a:cubicBezTo>
                      <a:pt x="3526" y="7919"/>
                      <a:pt x="3525" y="7925"/>
                      <a:pt x="3523" y="7930"/>
                    </a:cubicBezTo>
                    <a:cubicBezTo>
                      <a:pt x="3513" y="7964"/>
                      <a:pt x="3469" y="7980"/>
                      <a:pt x="3422" y="7980"/>
                    </a:cubicBezTo>
                    <a:cubicBezTo>
                      <a:pt x="3403" y="7980"/>
                      <a:pt x="3383" y="7977"/>
                      <a:pt x="3365" y="7972"/>
                    </a:cubicBezTo>
                    <a:close/>
                    <a:moveTo>
                      <a:pt x="3367" y="7964"/>
                    </a:moveTo>
                    <a:cubicBezTo>
                      <a:pt x="3385" y="7969"/>
                      <a:pt x="3404" y="7972"/>
                      <a:pt x="3422" y="7972"/>
                    </a:cubicBezTo>
                    <a:cubicBezTo>
                      <a:pt x="3468" y="7972"/>
                      <a:pt x="3508" y="7956"/>
                      <a:pt x="3515" y="7928"/>
                    </a:cubicBezTo>
                    <a:cubicBezTo>
                      <a:pt x="3517" y="7923"/>
                      <a:pt x="3518" y="7918"/>
                      <a:pt x="3518" y="7913"/>
                    </a:cubicBezTo>
                    <a:cubicBezTo>
                      <a:pt x="3518" y="7876"/>
                      <a:pt x="3482" y="7836"/>
                      <a:pt x="3428" y="7818"/>
                    </a:cubicBezTo>
                    <a:cubicBezTo>
                      <a:pt x="3401" y="7810"/>
                      <a:pt x="3376" y="7806"/>
                      <a:pt x="3355" y="7806"/>
                    </a:cubicBezTo>
                    <a:cubicBezTo>
                      <a:pt x="3312" y="7806"/>
                      <a:pt x="3283" y="7821"/>
                      <a:pt x="3273" y="7847"/>
                    </a:cubicBezTo>
                    <a:cubicBezTo>
                      <a:pt x="3271" y="7851"/>
                      <a:pt x="3270" y="7857"/>
                      <a:pt x="3270" y="7862"/>
                    </a:cubicBezTo>
                    <a:cubicBezTo>
                      <a:pt x="3270" y="7899"/>
                      <a:pt x="3313" y="7949"/>
                      <a:pt x="3367" y="7964"/>
                    </a:cubicBezTo>
                    <a:close/>
                    <a:moveTo>
                      <a:pt x="3689" y="7798"/>
                    </a:moveTo>
                    <a:cubicBezTo>
                      <a:pt x="3689" y="7798"/>
                      <a:pt x="3668" y="7802"/>
                      <a:pt x="3670" y="7800"/>
                    </a:cubicBezTo>
                    <a:cubicBezTo>
                      <a:pt x="3671" y="7798"/>
                      <a:pt x="3655" y="7724"/>
                      <a:pt x="3655" y="7724"/>
                    </a:cubicBezTo>
                    <a:cubicBezTo>
                      <a:pt x="3835" y="7688"/>
                      <a:pt x="3835" y="7688"/>
                      <a:pt x="3835" y="7688"/>
                    </a:cubicBezTo>
                    <a:cubicBezTo>
                      <a:pt x="3849" y="7772"/>
                      <a:pt x="3849" y="7772"/>
                      <a:pt x="3849" y="7772"/>
                    </a:cubicBezTo>
                    <a:cubicBezTo>
                      <a:pt x="3774" y="7784"/>
                      <a:pt x="3774" y="7784"/>
                      <a:pt x="3774" y="7784"/>
                    </a:cubicBezTo>
                    <a:cubicBezTo>
                      <a:pt x="3789" y="7865"/>
                      <a:pt x="3789" y="7865"/>
                      <a:pt x="3789" y="7865"/>
                    </a:cubicBezTo>
                    <a:cubicBezTo>
                      <a:pt x="3707" y="7876"/>
                      <a:pt x="3707" y="7876"/>
                      <a:pt x="3707" y="7876"/>
                    </a:cubicBezTo>
                    <a:lnTo>
                      <a:pt x="3689" y="7798"/>
                    </a:lnTo>
                    <a:close/>
                    <a:moveTo>
                      <a:pt x="3687" y="7784"/>
                    </a:moveTo>
                    <a:cubicBezTo>
                      <a:pt x="3700" y="7782"/>
                      <a:pt x="3700" y="7782"/>
                      <a:pt x="3700" y="7782"/>
                    </a:cubicBezTo>
                    <a:cubicBezTo>
                      <a:pt x="3703" y="7795"/>
                      <a:pt x="3703" y="7795"/>
                      <a:pt x="3703" y="7795"/>
                    </a:cubicBezTo>
                    <a:cubicBezTo>
                      <a:pt x="3717" y="7861"/>
                      <a:pt x="3717" y="7861"/>
                      <a:pt x="3717" y="7861"/>
                    </a:cubicBezTo>
                    <a:cubicBezTo>
                      <a:pt x="3772" y="7854"/>
                      <a:pt x="3772" y="7854"/>
                      <a:pt x="3772" y="7854"/>
                    </a:cubicBezTo>
                    <a:cubicBezTo>
                      <a:pt x="3760" y="7786"/>
                      <a:pt x="3760" y="7786"/>
                      <a:pt x="3760" y="7786"/>
                    </a:cubicBezTo>
                    <a:cubicBezTo>
                      <a:pt x="3758" y="7772"/>
                      <a:pt x="3758" y="7772"/>
                      <a:pt x="3758" y="7772"/>
                    </a:cubicBezTo>
                    <a:cubicBezTo>
                      <a:pt x="3772" y="7770"/>
                      <a:pt x="3772" y="7770"/>
                      <a:pt x="3772" y="7770"/>
                    </a:cubicBezTo>
                    <a:cubicBezTo>
                      <a:pt x="3833" y="7761"/>
                      <a:pt x="3833" y="7761"/>
                      <a:pt x="3833" y="7761"/>
                    </a:cubicBezTo>
                    <a:cubicBezTo>
                      <a:pt x="3823" y="7704"/>
                      <a:pt x="3823" y="7704"/>
                      <a:pt x="3823" y="7704"/>
                    </a:cubicBezTo>
                    <a:cubicBezTo>
                      <a:pt x="3672" y="7735"/>
                      <a:pt x="3672" y="7735"/>
                      <a:pt x="3672" y="7735"/>
                    </a:cubicBezTo>
                    <a:cubicBezTo>
                      <a:pt x="3677" y="7759"/>
                      <a:pt x="3680" y="7775"/>
                      <a:pt x="3682" y="7785"/>
                    </a:cubicBezTo>
                    <a:cubicBezTo>
                      <a:pt x="3684" y="7785"/>
                      <a:pt x="3685" y="7784"/>
                      <a:pt x="3687" y="7784"/>
                    </a:cubicBezTo>
                    <a:close/>
                    <a:moveTo>
                      <a:pt x="3892" y="7535"/>
                    </a:moveTo>
                    <a:cubicBezTo>
                      <a:pt x="3935" y="7490"/>
                      <a:pt x="3935" y="7490"/>
                      <a:pt x="3935" y="7490"/>
                    </a:cubicBezTo>
                    <a:cubicBezTo>
                      <a:pt x="3916" y="7465"/>
                      <a:pt x="3916" y="7465"/>
                      <a:pt x="3916" y="7465"/>
                    </a:cubicBezTo>
                    <a:cubicBezTo>
                      <a:pt x="3965" y="7420"/>
                      <a:pt x="3965" y="7420"/>
                      <a:pt x="3965" y="7420"/>
                    </a:cubicBezTo>
                    <a:cubicBezTo>
                      <a:pt x="3983" y="7436"/>
                      <a:pt x="3983" y="7436"/>
                      <a:pt x="3983" y="7436"/>
                    </a:cubicBezTo>
                    <a:cubicBezTo>
                      <a:pt x="4029" y="7396"/>
                      <a:pt x="4029" y="7396"/>
                      <a:pt x="4029" y="7396"/>
                    </a:cubicBezTo>
                    <a:cubicBezTo>
                      <a:pt x="4092" y="7460"/>
                      <a:pt x="4092" y="7460"/>
                      <a:pt x="4092" y="7460"/>
                    </a:cubicBezTo>
                    <a:cubicBezTo>
                      <a:pt x="4045" y="7507"/>
                      <a:pt x="4045" y="7507"/>
                      <a:pt x="4045" y="7507"/>
                    </a:cubicBezTo>
                    <a:cubicBezTo>
                      <a:pt x="4020" y="7487"/>
                      <a:pt x="4020" y="7487"/>
                      <a:pt x="4020" y="7487"/>
                    </a:cubicBezTo>
                    <a:cubicBezTo>
                      <a:pt x="3982" y="7529"/>
                      <a:pt x="3982" y="7529"/>
                      <a:pt x="3982" y="7529"/>
                    </a:cubicBezTo>
                    <a:cubicBezTo>
                      <a:pt x="4000" y="7551"/>
                      <a:pt x="4000" y="7551"/>
                      <a:pt x="4000" y="7551"/>
                    </a:cubicBezTo>
                    <a:cubicBezTo>
                      <a:pt x="3952" y="7599"/>
                      <a:pt x="3952" y="7599"/>
                      <a:pt x="3952" y="7599"/>
                    </a:cubicBezTo>
                    <a:lnTo>
                      <a:pt x="3892" y="7535"/>
                    </a:lnTo>
                    <a:close/>
                    <a:moveTo>
                      <a:pt x="3954" y="7491"/>
                    </a:moveTo>
                    <a:cubicBezTo>
                      <a:pt x="3945" y="7500"/>
                      <a:pt x="3945" y="7500"/>
                      <a:pt x="3945" y="7500"/>
                    </a:cubicBezTo>
                    <a:cubicBezTo>
                      <a:pt x="3911" y="7535"/>
                      <a:pt x="3911" y="7535"/>
                      <a:pt x="3911" y="7535"/>
                    </a:cubicBezTo>
                    <a:cubicBezTo>
                      <a:pt x="3953" y="7579"/>
                      <a:pt x="3953" y="7579"/>
                      <a:pt x="3953" y="7579"/>
                    </a:cubicBezTo>
                    <a:cubicBezTo>
                      <a:pt x="3981" y="7550"/>
                      <a:pt x="3981" y="7550"/>
                      <a:pt x="3981" y="7550"/>
                    </a:cubicBezTo>
                    <a:cubicBezTo>
                      <a:pt x="3971" y="7538"/>
                      <a:pt x="3971" y="7538"/>
                      <a:pt x="3971" y="7538"/>
                    </a:cubicBezTo>
                    <a:cubicBezTo>
                      <a:pt x="3964" y="7529"/>
                      <a:pt x="3964" y="7529"/>
                      <a:pt x="3964" y="7529"/>
                    </a:cubicBezTo>
                    <a:cubicBezTo>
                      <a:pt x="3972" y="7520"/>
                      <a:pt x="3972" y="7520"/>
                      <a:pt x="3972" y="7520"/>
                    </a:cubicBezTo>
                    <a:cubicBezTo>
                      <a:pt x="4009" y="7477"/>
                      <a:pt x="4009" y="7477"/>
                      <a:pt x="4009" y="7477"/>
                    </a:cubicBezTo>
                    <a:cubicBezTo>
                      <a:pt x="4018" y="7467"/>
                      <a:pt x="4018" y="7467"/>
                      <a:pt x="4018" y="7467"/>
                    </a:cubicBezTo>
                    <a:cubicBezTo>
                      <a:pt x="4029" y="7476"/>
                      <a:pt x="4029" y="7476"/>
                      <a:pt x="4029" y="7476"/>
                    </a:cubicBezTo>
                    <a:cubicBezTo>
                      <a:pt x="4044" y="7488"/>
                      <a:pt x="4044" y="7488"/>
                      <a:pt x="4044" y="7488"/>
                    </a:cubicBezTo>
                    <a:cubicBezTo>
                      <a:pt x="4072" y="7460"/>
                      <a:pt x="4072" y="7460"/>
                      <a:pt x="4072" y="7460"/>
                    </a:cubicBezTo>
                    <a:cubicBezTo>
                      <a:pt x="4028" y="7415"/>
                      <a:pt x="4028" y="7415"/>
                      <a:pt x="4028" y="7415"/>
                    </a:cubicBezTo>
                    <a:cubicBezTo>
                      <a:pt x="3992" y="7447"/>
                      <a:pt x="3992" y="7447"/>
                      <a:pt x="3992" y="7447"/>
                    </a:cubicBezTo>
                    <a:cubicBezTo>
                      <a:pt x="3983" y="7455"/>
                      <a:pt x="3983" y="7455"/>
                      <a:pt x="3983" y="7455"/>
                    </a:cubicBezTo>
                    <a:cubicBezTo>
                      <a:pt x="3974" y="7447"/>
                      <a:pt x="3974" y="7447"/>
                      <a:pt x="3974" y="7447"/>
                    </a:cubicBezTo>
                    <a:cubicBezTo>
                      <a:pt x="3965" y="7439"/>
                      <a:pt x="3965" y="7439"/>
                      <a:pt x="3965" y="7439"/>
                    </a:cubicBezTo>
                    <a:cubicBezTo>
                      <a:pt x="3935" y="7467"/>
                      <a:pt x="3935" y="7467"/>
                      <a:pt x="3935" y="7467"/>
                    </a:cubicBezTo>
                    <a:cubicBezTo>
                      <a:pt x="3946" y="7481"/>
                      <a:pt x="3946" y="7481"/>
                      <a:pt x="3946" y="7481"/>
                    </a:cubicBezTo>
                    <a:lnTo>
                      <a:pt x="3954" y="7491"/>
                    </a:lnTo>
                    <a:close/>
                    <a:moveTo>
                      <a:pt x="8214" y="8667"/>
                    </a:moveTo>
                    <a:cubicBezTo>
                      <a:pt x="8079" y="8901"/>
                      <a:pt x="8079" y="8901"/>
                      <a:pt x="8079" y="8901"/>
                    </a:cubicBezTo>
                    <a:cubicBezTo>
                      <a:pt x="8001" y="8853"/>
                      <a:pt x="8001" y="8853"/>
                      <a:pt x="8001" y="8853"/>
                    </a:cubicBezTo>
                    <a:cubicBezTo>
                      <a:pt x="8162" y="8579"/>
                      <a:pt x="8162" y="8579"/>
                      <a:pt x="8162" y="8579"/>
                    </a:cubicBezTo>
                    <a:cubicBezTo>
                      <a:pt x="8101" y="8544"/>
                      <a:pt x="8101" y="8544"/>
                      <a:pt x="8101" y="8544"/>
                    </a:cubicBezTo>
                    <a:cubicBezTo>
                      <a:pt x="8020" y="8682"/>
                      <a:pt x="8020" y="8682"/>
                      <a:pt x="8020" y="8682"/>
                    </a:cubicBezTo>
                    <a:cubicBezTo>
                      <a:pt x="7954" y="8644"/>
                      <a:pt x="7954" y="8644"/>
                      <a:pt x="7954" y="8644"/>
                    </a:cubicBezTo>
                    <a:cubicBezTo>
                      <a:pt x="8032" y="8500"/>
                      <a:pt x="8032" y="8500"/>
                      <a:pt x="8032" y="8500"/>
                    </a:cubicBezTo>
                    <a:cubicBezTo>
                      <a:pt x="7974" y="8468"/>
                      <a:pt x="7974" y="8468"/>
                      <a:pt x="7974" y="8468"/>
                    </a:cubicBezTo>
                    <a:cubicBezTo>
                      <a:pt x="8032" y="8379"/>
                      <a:pt x="8032" y="8379"/>
                      <a:pt x="8032" y="8379"/>
                    </a:cubicBezTo>
                    <a:cubicBezTo>
                      <a:pt x="8038" y="8382"/>
                      <a:pt x="8038" y="8382"/>
                      <a:pt x="8038" y="8382"/>
                    </a:cubicBezTo>
                    <a:cubicBezTo>
                      <a:pt x="8214" y="8478"/>
                      <a:pt x="8214" y="8478"/>
                      <a:pt x="8214" y="8478"/>
                    </a:cubicBezTo>
                    <a:cubicBezTo>
                      <a:pt x="8273" y="8390"/>
                      <a:pt x="8273" y="8390"/>
                      <a:pt x="8273" y="8390"/>
                    </a:cubicBezTo>
                    <a:cubicBezTo>
                      <a:pt x="8588" y="8574"/>
                      <a:pt x="8588" y="8574"/>
                      <a:pt x="8588" y="8574"/>
                    </a:cubicBezTo>
                    <a:cubicBezTo>
                      <a:pt x="8532" y="8668"/>
                      <a:pt x="8532" y="8668"/>
                      <a:pt x="8532" y="8668"/>
                    </a:cubicBezTo>
                    <a:cubicBezTo>
                      <a:pt x="8471" y="8633"/>
                      <a:pt x="8471" y="8633"/>
                      <a:pt x="8471" y="8633"/>
                    </a:cubicBezTo>
                    <a:cubicBezTo>
                      <a:pt x="8370" y="8823"/>
                      <a:pt x="8370" y="8823"/>
                      <a:pt x="8370" y="8823"/>
                    </a:cubicBezTo>
                    <a:cubicBezTo>
                      <a:pt x="8424" y="8858"/>
                      <a:pt x="8424" y="8858"/>
                      <a:pt x="8424" y="8858"/>
                    </a:cubicBezTo>
                    <a:cubicBezTo>
                      <a:pt x="8322" y="9039"/>
                      <a:pt x="8322" y="9039"/>
                      <a:pt x="8322" y="9039"/>
                    </a:cubicBezTo>
                    <a:cubicBezTo>
                      <a:pt x="8202" y="8973"/>
                      <a:pt x="8202" y="8973"/>
                      <a:pt x="8202" y="8973"/>
                    </a:cubicBezTo>
                    <a:cubicBezTo>
                      <a:pt x="8336" y="8739"/>
                      <a:pt x="8336" y="8739"/>
                      <a:pt x="8336" y="8739"/>
                    </a:cubicBezTo>
                    <a:lnTo>
                      <a:pt x="8214" y="8667"/>
                    </a:lnTo>
                    <a:close/>
                    <a:moveTo>
                      <a:pt x="8208" y="8647"/>
                    </a:moveTo>
                    <a:cubicBezTo>
                      <a:pt x="8356" y="8734"/>
                      <a:pt x="8356" y="8734"/>
                      <a:pt x="8356" y="8734"/>
                    </a:cubicBezTo>
                    <a:cubicBezTo>
                      <a:pt x="8222" y="8967"/>
                      <a:pt x="8222" y="8967"/>
                      <a:pt x="8222" y="8967"/>
                    </a:cubicBezTo>
                    <a:cubicBezTo>
                      <a:pt x="8316" y="9019"/>
                      <a:pt x="8316" y="9019"/>
                      <a:pt x="8316" y="9019"/>
                    </a:cubicBezTo>
                    <a:cubicBezTo>
                      <a:pt x="8404" y="8863"/>
                      <a:pt x="8404" y="8863"/>
                      <a:pt x="8404" y="8863"/>
                    </a:cubicBezTo>
                    <a:cubicBezTo>
                      <a:pt x="8350" y="8828"/>
                      <a:pt x="8350" y="8828"/>
                      <a:pt x="8350" y="8828"/>
                    </a:cubicBezTo>
                    <a:cubicBezTo>
                      <a:pt x="8466" y="8612"/>
                      <a:pt x="8466" y="8612"/>
                      <a:pt x="8466" y="8612"/>
                    </a:cubicBezTo>
                    <a:cubicBezTo>
                      <a:pt x="8527" y="8648"/>
                      <a:pt x="8527" y="8648"/>
                      <a:pt x="8527" y="8648"/>
                    </a:cubicBezTo>
                    <a:cubicBezTo>
                      <a:pt x="8568" y="8579"/>
                      <a:pt x="8568" y="8579"/>
                      <a:pt x="8568" y="8579"/>
                    </a:cubicBezTo>
                    <a:cubicBezTo>
                      <a:pt x="8277" y="8410"/>
                      <a:pt x="8277" y="8410"/>
                      <a:pt x="8277" y="8410"/>
                    </a:cubicBezTo>
                    <a:cubicBezTo>
                      <a:pt x="8219" y="8497"/>
                      <a:pt x="8219" y="8497"/>
                      <a:pt x="8219" y="8497"/>
                    </a:cubicBezTo>
                    <a:cubicBezTo>
                      <a:pt x="8037" y="8398"/>
                      <a:pt x="8037" y="8398"/>
                      <a:pt x="8037" y="8398"/>
                    </a:cubicBezTo>
                    <a:cubicBezTo>
                      <a:pt x="7995" y="8463"/>
                      <a:pt x="7995" y="8463"/>
                      <a:pt x="7995" y="8463"/>
                    </a:cubicBezTo>
                    <a:cubicBezTo>
                      <a:pt x="8053" y="8494"/>
                      <a:pt x="8053" y="8494"/>
                      <a:pt x="8053" y="8494"/>
                    </a:cubicBezTo>
                    <a:cubicBezTo>
                      <a:pt x="7974" y="8638"/>
                      <a:pt x="7974" y="8638"/>
                      <a:pt x="7974" y="8638"/>
                    </a:cubicBezTo>
                    <a:cubicBezTo>
                      <a:pt x="8015" y="8662"/>
                      <a:pt x="8015" y="8662"/>
                      <a:pt x="8015" y="8662"/>
                    </a:cubicBezTo>
                    <a:cubicBezTo>
                      <a:pt x="8095" y="8524"/>
                      <a:pt x="8095" y="8524"/>
                      <a:pt x="8095" y="8524"/>
                    </a:cubicBezTo>
                    <a:cubicBezTo>
                      <a:pt x="8183" y="8574"/>
                      <a:pt x="8183" y="8574"/>
                      <a:pt x="8183" y="8574"/>
                    </a:cubicBezTo>
                    <a:cubicBezTo>
                      <a:pt x="8021" y="8848"/>
                      <a:pt x="8021" y="8848"/>
                      <a:pt x="8021" y="8848"/>
                    </a:cubicBezTo>
                    <a:cubicBezTo>
                      <a:pt x="8074" y="8880"/>
                      <a:pt x="8074" y="8880"/>
                      <a:pt x="8074" y="8880"/>
                    </a:cubicBezTo>
                    <a:lnTo>
                      <a:pt x="8208" y="8647"/>
                    </a:lnTo>
                    <a:close/>
                    <a:moveTo>
                      <a:pt x="954" y="8582"/>
                    </a:moveTo>
                    <a:cubicBezTo>
                      <a:pt x="1006" y="8515"/>
                      <a:pt x="1006" y="8515"/>
                      <a:pt x="1006" y="8515"/>
                    </a:cubicBezTo>
                    <a:cubicBezTo>
                      <a:pt x="1146" y="8625"/>
                      <a:pt x="1146" y="8625"/>
                      <a:pt x="1146" y="8625"/>
                    </a:cubicBezTo>
                    <a:cubicBezTo>
                      <a:pt x="1091" y="8693"/>
                      <a:pt x="1091" y="8693"/>
                      <a:pt x="1091" y="8693"/>
                    </a:cubicBezTo>
                    <a:lnTo>
                      <a:pt x="954" y="8582"/>
                    </a:lnTo>
                    <a:close/>
                    <a:moveTo>
                      <a:pt x="974" y="8579"/>
                    </a:moveTo>
                    <a:cubicBezTo>
                      <a:pt x="1089" y="8673"/>
                      <a:pt x="1089" y="8673"/>
                      <a:pt x="1089" y="8673"/>
                    </a:cubicBezTo>
                    <a:cubicBezTo>
                      <a:pt x="1126" y="8627"/>
                      <a:pt x="1126" y="8627"/>
                      <a:pt x="1126" y="8627"/>
                    </a:cubicBezTo>
                    <a:cubicBezTo>
                      <a:pt x="1008" y="8534"/>
                      <a:pt x="1008" y="8534"/>
                      <a:pt x="1008" y="8534"/>
                    </a:cubicBezTo>
                    <a:lnTo>
                      <a:pt x="974" y="8579"/>
                    </a:lnTo>
                    <a:close/>
                    <a:moveTo>
                      <a:pt x="448" y="9213"/>
                    </a:moveTo>
                    <a:cubicBezTo>
                      <a:pt x="318" y="9183"/>
                      <a:pt x="318" y="9183"/>
                      <a:pt x="318" y="9183"/>
                    </a:cubicBezTo>
                    <a:cubicBezTo>
                      <a:pt x="368" y="9048"/>
                      <a:pt x="368" y="9048"/>
                      <a:pt x="368" y="9048"/>
                    </a:cubicBezTo>
                    <a:cubicBezTo>
                      <a:pt x="521" y="8979"/>
                      <a:pt x="521" y="8979"/>
                      <a:pt x="521" y="8979"/>
                    </a:cubicBezTo>
                    <a:cubicBezTo>
                      <a:pt x="565" y="9018"/>
                      <a:pt x="565" y="9018"/>
                      <a:pt x="565" y="9018"/>
                    </a:cubicBezTo>
                    <a:cubicBezTo>
                      <a:pt x="540" y="9107"/>
                      <a:pt x="540" y="9107"/>
                      <a:pt x="540" y="9107"/>
                    </a:cubicBezTo>
                    <a:cubicBezTo>
                      <a:pt x="485" y="9095"/>
                      <a:pt x="485" y="9095"/>
                      <a:pt x="485" y="9095"/>
                    </a:cubicBezTo>
                    <a:lnTo>
                      <a:pt x="448" y="9213"/>
                    </a:lnTo>
                    <a:close/>
                    <a:moveTo>
                      <a:pt x="438" y="9197"/>
                    </a:moveTo>
                    <a:cubicBezTo>
                      <a:pt x="472" y="9091"/>
                      <a:pt x="472" y="9091"/>
                      <a:pt x="472" y="9091"/>
                    </a:cubicBezTo>
                    <a:cubicBezTo>
                      <a:pt x="475" y="9078"/>
                      <a:pt x="475" y="9078"/>
                      <a:pt x="475" y="9078"/>
                    </a:cubicBezTo>
                    <a:cubicBezTo>
                      <a:pt x="488" y="9081"/>
                      <a:pt x="488" y="9081"/>
                      <a:pt x="488" y="9081"/>
                    </a:cubicBezTo>
                    <a:cubicBezTo>
                      <a:pt x="531" y="9091"/>
                      <a:pt x="531" y="9091"/>
                      <a:pt x="531" y="9091"/>
                    </a:cubicBezTo>
                    <a:cubicBezTo>
                      <a:pt x="550" y="9023"/>
                      <a:pt x="550" y="9023"/>
                      <a:pt x="550" y="9023"/>
                    </a:cubicBezTo>
                    <a:cubicBezTo>
                      <a:pt x="519" y="8995"/>
                      <a:pt x="519" y="8995"/>
                      <a:pt x="519" y="8995"/>
                    </a:cubicBezTo>
                    <a:cubicBezTo>
                      <a:pt x="379" y="9058"/>
                      <a:pt x="379" y="9058"/>
                      <a:pt x="379" y="9058"/>
                    </a:cubicBezTo>
                    <a:cubicBezTo>
                      <a:pt x="336" y="9173"/>
                      <a:pt x="336" y="9173"/>
                      <a:pt x="336" y="9173"/>
                    </a:cubicBezTo>
                    <a:lnTo>
                      <a:pt x="438" y="9197"/>
                    </a:lnTo>
                    <a:close/>
                    <a:moveTo>
                      <a:pt x="1062" y="9151"/>
                    </a:moveTo>
                    <a:cubicBezTo>
                      <a:pt x="1478" y="8755"/>
                      <a:pt x="1478" y="8755"/>
                      <a:pt x="1478" y="8755"/>
                    </a:cubicBezTo>
                    <a:cubicBezTo>
                      <a:pt x="1541" y="8888"/>
                      <a:pt x="1541" y="8888"/>
                      <a:pt x="1541" y="8888"/>
                    </a:cubicBezTo>
                    <a:cubicBezTo>
                      <a:pt x="1051" y="9215"/>
                      <a:pt x="1051" y="9215"/>
                      <a:pt x="1051" y="9215"/>
                    </a:cubicBezTo>
                    <a:lnTo>
                      <a:pt x="1062" y="9151"/>
                    </a:lnTo>
                    <a:close/>
                    <a:moveTo>
                      <a:pt x="1070" y="9185"/>
                    </a:moveTo>
                    <a:cubicBezTo>
                      <a:pt x="1523" y="8883"/>
                      <a:pt x="1523" y="8883"/>
                      <a:pt x="1523" y="8883"/>
                    </a:cubicBezTo>
                    <a:cubicBezTo>
                      <a:pt x="1474" y="8779"/>
                      <a:pt x="1474" y="8779"/>
                      <a:pt x="1474" y="8779"/>
                    </a:cubicBezTo>
                    <a:cubicBezTo>
                      <a:pt x="1075" y="9158"/>
                      <a:pt x="1075" y="9158"/>
                      <a:pt x="1075" y="9158"/>
                    </a:cubicBezTo>
                    <a:lnTo>
                      <a:pt x="1070" y="9185"/>
                    </a:lnTo>
                    <a:close/>
                    <a:moveTo>
                      <a:pt x="7517" y="6033"/>
                    </a:moveTo>
                    <a:cubicBezTo>
                      <a:pt x="7432" y="6023"/>
                      <a:pt x="7432" y="6023"/>
                      <a:pt x="7432" y="6023"/>
                    </a:cubicBezTo>
                    <a:cubicBezTo>
                      <a:pt x="7456" y="5804"/>
                      <a:pt x="7456" y="5804"/>
                      <a:pt x="7456" y="5804"/>
                    </a:cubicBezTo>
                    <a:cubicBezTo>
                      <a:pt x="7463" y="5805"/>
                      <a:pt x="7463" y="5805"/>
                      <a:pt x="7463" y="5805"/>
                    </a:cubicBezTo>
                    <a:cubicBezTo>
                      <a:pt x="7637" y="5825"/>
                      <a:pt x="7637" y="5825"/>
                      <a:pt x="7637" y="5825"/>
                    </a:cubicBezTo>
                    <a:cubicBezTo>
                      <a:pt x="7645" y="5753"/>
                      <a:pt x="7645" y="5753"/>
                      <a:pt x="7645" y="5753"/>
                    </a:cubicBezTo>
                    <a:cubicBezTo>
                      <a:pt x="8014" y="5795"/>
                      <a:pt x="8014" y="5795"/>
                      <a:pt x="8014" y="5795"/>
                    </a:cubicBezTo>
                    <a:cubicBezTo>
                      <a:pt x="8006" y="5866"/>
                      <a:pt x="8006" y="5866"/>
                      <a:pt x="8006" y="5866"/>
                    </a:cubicBezTo>
                    <a:cubicBezTo>
                      <a:pt x="8140" y="5881"/>
                      <a:pt x="8140" y="5881"/>
                      <a:pt x="8140" y="5881"/>
                    </a:cubicBezTo>
                    <a:cubicBezTo>
                      <a:pt x="8115" y="6101"/>
                      <a:pt x="8115" y="6101"/>
                      <a:pt x="8115" y="6101"/>
                    </a:cubicBezTo>
                    <a:cubicBezTo>
                      <a:pt x="8053" y="6094"/>
                      <a:pt x="8053" y="6094"/>
                      <a:pt x="8053" y="6094"/>
                    </a:cubicBezTo>
                    <a:cubicBezTo>
                      <a:pt x="8024" y="6354"/>
                      <a:pt x="8024" y="6354"/>
                      <a:pt x="8024" y="6354"/>
                    </a:cubicBezTo>
                    <a:cubicBezTo>
                      <a:pt x="7912" y="6341"/>
                      <a:pt x="7912" y="6341"/>
                      <a:pt x="7912" y="6341"/>
                    </a:cubicBezTo>
                    <a:cubicBezTo>
                      <a:pt x="7941" y="6083"/>
                      <a:pt x="7941" y="6083"/>
                      <a:pt x="7941" y="6083"/>
                    </a:cubicBezTo>
                    <a:cubicBezTo>
                      <a:pt x="7668" y="6052"/>
                      <a:pt x="7668" y="6052"/>
                      <a:pt x="7668" y="6052"/>
                    </a:cubicBezTo>
                    <a:cubicBezTo>
                      <a:pt x="7656" y="6153"/>
                      <a:pt x="7656" y="6153"/>
                      <a:pt x="7656" y="6153"/>
                    </a:cubicBezTo>
                    <a:cubicBezTo>
                      <a:pt x="7505" y="6136"/>
                      <a:pt x="7505" y="6136"/>
                      <a:pt x="7505" y="6136"/>
                    </a:cubicBezTo>
                    <a:lnTo>
                      <a:pt x="7517" y="6033"/>
                    </a:lnTo>
                    <a:close/>
                    <a:moveTo>
                      <a:pt x="7533" y="6020"/>
                    </a:moveTo>
                    <a:cubicBezTo>
                      <a:pt x="7522" y="6123"/>
                      <a:pt x="7522" y="6123"/>
                      <a:pt x="7522" y="6123"/>
                    </a:cubicBezTo>
                    <a:cubicBezTo>
                      <a:pt x="7643" y="6137"/>
                      <a:pt x="7643" y="6137"/>
                      <a:pt x="7643" y="6137"/>
                    </a:cubicBezTo>
                    <a:cubicBezTo>
                      <a:pt x="7655" y="6035"/>
                      <a:pt x="7655" y="6035"/>
                      <a:pt x="7655" y="6035"/>
                    </a:cubicBezTo>
                    <a:cubicBezTo>
                      <a:pt x="7958" y="6070"/>
                      <a:pt x="7958" y="6070"/>
                      <a:pt x="7958" y="6070"/>
                    </a:cubicBezTo>
                    <a:cubicBezTo>
                      <a:pt x="7928" y="6328"/>
                      <a:pt x="7928" y="6328"/>
                      <a:pt x="7928" y="6328"/>
                    </a:cubicBezTo>
                    <a:cubicBezTo>
                      <a:pt x="8011" y="6338"/>
                      <a:pt x="8011" y="6338"/>
                      <a:pt x="8011" y="6338"/>
                    </a:cubicBezTo>
                    <a:cubicBezTo>
                      <a:pt x="8040" y="6077"/>
                      <a:pt x="8040" y="6077"/>
                      <a:pt x="8040" y="6077"/>
                    </a:cubicBezTo>
                    <a:cubicBezTo>
                      <a:pt x="8102" y="6084"/>
                      <a:pt x="8102" y="6084"/>
                      <a:pt x="8102" y="6084"/>
                    </a:cubicBezTo>
                    <a:cubicBezTo>
                      <a:pt x="8123" y="5894"/>
                      <a:pt x="8123" y="5894"/>
                      <a:pt x="8123" y="5894"/>
                    </a:cubicBezTo>
                    <a:cubicBezTo>
                      <a:pt x="7989" y="5879"/>
                      <a:pt x="7989" y="5879"/>
                      <a:pt x="7989" y="5879"/>
                    </a:cubicBezTo>
                    <a:cubicBezTo>
                      <a:pt x="7997" y="5808"/>
                      <a:pt x="7997" y="5808"/>
                      <a:pt x="7997" y="5808"/>
                    </a:cubicBezTo>
                    <a:cubicBezTo>
                      <a:pt x="7658" y="5770"/>
                      <a:pt x="7658" y="5770"/>
                      <a:pt x="7658" y="5770"/>
                    </a:cubicBezTo>
                    <a:cubicBezTo>
                      <a:pt x="7650" y="5841"/>
                      <a:pt x="7650" y="5841"/>
                      <a:pt x="7650" y="5841"/>
                    </a:cubicBezTo>
                    <a:cubicBezTo>
                      <a:pt x="7469" y="5820"/>
                      <a:pt x="7469" y="5820"/>
                      <a:pt x="7469" y="5820"/>
                    </a:cubicBezTo>
                    <a:cubicBezTo>
                      <a:pt x="7448" y="6010"/>
                      <a:pt x="7448" y="6010"/>
                      <a:pt x="7448" y="6010"/>
                    </a:cubicBezTo>
                    <a:lnTo>
                      <a:pt x="7533" y="6020"/>
                    </a:lnTo>
                    <a:close/>
                    <a:moveTo>
                      <a:pt x="259" y="8090"/>
                    </a:moveTo>
                    <a:cubicBezTo>
                      <a:pt x="235" y="8167"/>
                      <a:pt x="235" y="8167"/>
                      <a:pt x="235" y="8167"/>
                    </a:cubicBezTo>
                    <a:cubicBezTo>
                      <a:pt x="227" y="8161"/>
                      <a:pt x="227" y="8161"/>
                      <a:pt x="227" y="8161"/>
                    </a:cubicBezTo>
                    <a:cubicBezTo>
                      <a:pt x="56" y="8040"/>
                      <a:pt x="56" y="8040"/>
                      <a:pt x="56" y="8040"/>
                    </a:cubicBezTo>
                    <a:cubicBezTo>
                      <a:pt x="149" y="7859"/>
                      <a:pt x="149" y="7859"/>
                      <a:pt x="149" y="7859"/>
                    </a:cubicBezTo>
                    <a:cubicBezTo>
                      <a:pt x="232" y="8012"/>
                      <a:pt x="232" y="8012"/>
                      <a:pt x="232" y="8012"/>
                    </a:cubicBezTo>
                    <a:cubicBezTo>
                      <a:pt x="213" y="8072"/>
                      <a:pt x="213" y="8072"/>
                      <a:pt x="213" y="8072"/>
                    </a:cubicBezTo>
                    <a:lnTo>
                      <a:pt x="259" y="8090"/>
                    </a:lnTo>
                    <a:close/>
                    <a:moveTo>
                      <a:pt x="241" y="8099"/>
                    </a:moveTo>
                    <a:cubicBezTo>
                      <a:pt x="195" y="8081"/>
                      <a:pt x="195" y="8081"/>
                      <a:pt x="195" y="8081"/>
                    </a:cubicBezTo>
                    <a:cubicBezTo>
                      <a:pt x="216" y="8013"/>
                      <a:pt x="216" y="8013"/>
                      <a:pt x="216" y="8013"/>
                    </a:cubicBezTo>
                    <a:cubicBezTo>
                      <a:pt x="149" y="7890"/>
                      <a:pt x="149" y="7890"/>
                      <a:pt x="149" y="7890"/>
                    </a:cubicBezTo>
                    <a:cubicBezTo>
                      <a:pt x="75" y="8035"/>
                      <a:pt x="75" y="8035"/>
                      <a:pt x="75" y="8035"/>
                    </a:cubicBezTo>
                    <a:cubicBezTo>
                      <a:pt x="227" y="8143"/>
                      <a:pt x="227" y="8143"/>
                      <a:pt x="227" y="8143"/>
                    </a:cubicBezTo>
                    <a:lnTo>
                      <a:pt x="241" y="8099"/>
                    </a:lnTo>
                    <a:close/>
                    <a:moveTo>
                      <a:pt x="2594" y="7509"/>
                    </a:moveTo>
                    <a:cubicBezTo>
                      <a:pt x="2426" y="7796"/>
                      <a:pt x="2426" y="7796"/>
                      <a:pt x="2426" y="7796"/>
                    </a:cubicBezTo>
                    <a:cubicBezTo>
                      <a:pt x="2381" y="7800"/>
                      <a:pt x="2381" y="7800"/>
                      <a:pt x="2381" y="7800"/>
                    </a:cubicBezTo>
                    <a:cubicBezTo>
                      <a:pt x="2357" y="7917"/>
                      <a:pt x="2357" y="7917"/>
                      <a:pt x="2357" y="7917"/>
                    </a:cubicBezTo>
                    <a:cubicBezTo>
                      <a:pt x="2186" y="7998"/>
                      <a:pt x="2186" y="7998"/>
                      <a:pt x="2186" y="7998"/>
                    </a:cubicBezTo>
                    <a:cubicBezTo>
                      <a:pt x="2157" y="7985"/>
                      <a:pt x="2157" y="7985"/>
                      <a:pt x="2157" y="7985"/>
                    </a:cubicBezTo>
                    <a:cubicBezTo>
                      <a:pt x="2102" y="8073"/>
                      <a:pt x="2102" y="8073"/>
                      <a:pt x="2102" y="8073"/>
                    </a:cubicBezTo>
                    <a:cubicBezTo>
                      <a:pt x="1955" y="8015"/>
                      <a:pt x="1955" y="8015"/>
                      <a:pt x="1955" y="8015"/>
                    </a:cubicBezTo>
                    <a:cubicBezTo>
                      <a:pt x="1992" y="7936"/>
                      <a:pt x="1992" y="7936"/>
                      <a:pt x="1992" y="7936"/>
                    </a:cubicBezTo>
                    <a:cubicBezTo>
                      <a:pt x="2260" y="7847"/>
                      <a:pt x="2260" y="7847"/>
                      <a:pt x="2260" y="7847"/>
                    </a:cubicBezTo>
                    <a:cubicBezTo>
                      <a:pt x="2286" y="7749"/>
                      <a:pt x="2286" y="7749"/>
                      <a:pt x="2286" y="7749"/>
                    </a:cubicBezTo>
                    <a:cubicBezTo>
                      <a:pt x="2322" y="7745"/>
                      <a:pt x="2322" y="7745"/>
                      <a:pt x="2322" y="7745"/>
                    </a:cubicBezTo>
                    <a:cubicBezTo>
                      <a:pt x="2382" y="7641"/>
                      <a:pt x="2382" y="7641"/>
                      <a:pt x="2382" y="7641"/>
                    </a:cubicBezTo>
                    <a:cubicBezTo>
                      <a:pt x="2355" y="7613"/>
                      <a:pt x="2355" y="7613"/>
                      <a:pt x="2355" y="7613"/>
                    </a:cubicBezTo>
                    <a:cubicBezTo>
                      <a:pt x="2428" y="7394"/>
                      <a:pt x="2428" y="7394"/>
                      <a:pt x="2428" y="7394"/>
                    </a:cubicBezTo>
                    <a:cubicBezTo>
                      <a:pt x="2598" y="7503"/>
                      <a:pt x="2598" y="7503"/>
                      <a:pt x="2598" y="7503"/>
                    </a:cubicBezTo>
                    <a:lnTo>
                      <a:pt x="2594" y="7509"/>
                    </a:lnTo>
                    <a:close/>
                    <a:moveTo>
                      <a:pt x="2578" y="7508"/>
                    </a:moveTo>
                    <a:cubicBezTo>
                      <a:pt x="2436" y="7416"/>
                      <a:pt x="2436" y="7416"/>
                      <a:pt x="2436" y="7416"/>
                    </a:cubicBezTo>
                    <a:cubicBezTo>
                      <a:pt x="2372" y="7609"/>
                      <a:pt x="2372" y="7609"/>
                      <a:pt x="2372" y="7609"/>
                    </a:cubicBezTo>
                    <a:cubicBezTo>
                      <a:pt x="2400" y="7639"/>
                      <a:pt x="2400" y="7639"/>
                      <a:pt x="2400" y="7639"/>
                    </a:cubicBezTo>
                    <a:cubicBezTo>
                      <a:pt x="2331" y="7759"/>
                      <a:pt x="2331" y="7759"/>
                      <a:pt x="2331" y="7759"/>
                    </a:cubicBezTo>
                    <a:cubicBezTo>
                      <a:pt x="2297" y="7763"/>
                      <a:pt x="2297" y="7763"/>
                      <a:pt x="2297" y="7763"/>
                    </a:cubicBezTo>
                    <a:cubicBezTo>
                      <a:pt x="2272" y="7858"/>
                      <a:pt x="2272" y="7858"/>
                      <a:pt x="2272" y="7858"/>
                    </a:cubicBezTo>
                    <a:cubicBezTo>
                      <a:pt x="2003" y="7948"/>
                      <a:pt x="2003" y="7948"/>
                      <a:pt x="2003" y="7948"/>
                    </a:cubicBezTo>
                    <a:cubicBezTo>
                      <a:pt x="1975" y="8007"/>
                      <a:pt x="1975" y="8007"/>
                      <a:pt x="1975" y="8007"/>
                    </a:cubicBezTo>
                    <a:cubicBezTo>
                      <a:pt x="2096" y="8054"/>
                      <a:pt x="2096" y="8054"/>
                      <a:pt x="2096" y="8054"/>
                    </a:cubicBezTo>
                    <a:cubicBezTo>
                      <a:pt x="2151" y="7966"/>
                      <a:pt x="2151" y="7966"/>
                      <a:pt x="2151" y="7966"/>
                    </a:cubicBezTo>
                    <a:cubicBezTo>
                      <a:pt x="2185" y="7982"/>
                      <a:pt x="2185" y="7982"/>
                      <a:pt x="2185" y="7982"/>
                    </a:cubicBezTo>
                    <a:cubicBezTo>
                      <a:pt x="2344" y="7907"/>
                      <a:pt x="2344" y="7907"/>
                      <a:pt x="2344" y="7907"/>
                    </a:cubicBezTo>
                    <a:cubicBezTo>
                      <a:pt x="2368" y="7786"/>
                      <a:pt x="2368" y="7786"/>
                      <a:pt x="2368" y="7786"/>
                    </a:cubicBezTo>
                    <a:cubicBezTo>
                      <a:pt x="2417" y="7782"/>
                      <a:pt x="2417" y="7782"/>
                      <a:pt x="2417" y="7782"/>
                    </a:cubicBezTo>
                    <a:lnTo>
                      <a:pt x="2578" y="7508"/>
                    </a:lnTo>
                    <a:close/>
                    <a:moveTo>
                      <a:pt x="344" y="7866"/>
                    </a:moveTo>
                    <a:cubicBezTo>
                      <a:pt x="257" y="7821"/>
                      <a:pt x="257" y="7821"/>
                      <a:pt x="257" y="7821"/>
                    </a:cubicBezTo>
                    <a:cubicBezTo>
                      <a:pt x="368" y="7599"/>
                      <a:pt x="368" y="7599"/>
                      <a:pt x="368" y="7599"/>
                    </a:cubicBezTo>
                    <a:cubicBezTo>
                      <a:pt x="539" y="7827"/>
                      <a:pt x="539" y="7827"/>
                      <a:pt x="539" y="7827"/>
                    </a:cubicBezTo>
                    <a:cubicBezTo>
                      <a:pt x="534" y="7832"/>
                      <a:pt x="534" y="7832"/>
                      <a:pt x="534" y="7832"/>
                    </a:cubicBezTo>
                    <a:cubicBezTo>
                      <a:pt x="491" y="7873"/>
                      <a:pt x="491" y="7873"/>
                      <a:pt x="491" y="7873"/>
                    </a:cubicBezTo>
                    <a:cubicBezTo>
                      <a:pt x="422" y="7828"/>
                      <a:pt x="422" y="7828"/>
                      <a:pt x="422" y="7828"/>
                    </a:cubicBezTo>
                    <a:lnTo>
                      <a:pt x="344" y="7866"/>
                    </a:lnTo>
                    <a:close/>
                    <a:moveTo>
                      <a:pt x="277" y="7815"/>
                    </a:moveTo>
                    <a:cubicBezTo>
                      <a:pt x="344" y="7849"/>
                      <a:pt x="344" y="7849"/>
                      <a:pt x="344" y="7849"/>
                    </a:cubicBezTo>
                    <a:cubicBezTo>
                      <a:pt x="423" y="7811"/>
                      <a:pt x="423" y="7811"/>
                      <a:pt x="423" y="7811"/>
                    </a:cubicBezTo>
                    <a:cubicBezTo>
                      <a:pt x="489" y="7854"/>
                      <a:pt x="489" y="7854"/>
                      <a:pt x="489" y="7854"/>
                    </a:cubicBezTo>
                    <a:cubicBezTo>
                      <a:pt x="519" y="7826"/>
                      <a:pt x="519" y="7826"/>
                      <a:pt x="519" y="7826"/>
                    </a:cubicBezTo>
                    <a:cubicBezTo>
                      <a:pt x="371" y="7627"/>
                      <a:pt x="371" y="7627"/>
                      <a:pt x="371" y="7627"/>
                    </a:cubicBezTo>
                    <a:lnTo>
                      <a:pt x="277" y="7815"/>
                    </a:lnTo>
                    <a:close/>
                    <a:moveTo>
                      <a:pt x="363" y="7321"/>
                    </a:moveTo>
                    <a:cubicBezTo>
                      <a:pt x="315" y="7353"/>
                      <a:pt x="315" y="7353"/>
                      <a:pt x="315" y="7353"/>
                    </a:cubicBezTo>
                    <a:cubicBezTo>
                      <a:pt x="261" y="7272"/>
                      <a:pt x="261" y="7272"/>
                      <a:pt x="261" y="7272"/>
                    </a:cubicBezTo>
                    <a:cubicBezTo>
                      <a:pt x="309" y="7240"/>
                      <a:pt x="309" y="7240"/>
                      <a:pt x="309" y="7240"/>
                    </a:cubicBezTo>
                    <a:cubicBezTo>
                      <a:pt x="283" y="7201"/>
                      <a:pt x="283" y="7201"/>
                      <a:pt x="283" y="7201"/>
                    </a:cubicBezTo>
                    <a:cubicBezTo>
                      <a:pt x="355" y="7154"/>
                      <a:pt x="355" y="7154"/>
                      <a:pt x="355" y="7154"/>
                    </a:cubicBezTo>
                    <a:cubicBezTo>
                      <a:pt x="461" y="7313"/>
                      <a:pt x="461" y="7313"/>
                      <a:pt x="461" y="7313"/>
                    </a:cubicBezTo>
                    <a:cubicBezTo>
                      <a:pt x="455" y="7316"/>
                      <a:pt x="455" y="7316"/>
                      <a:pt x="455" y="7316"/>
                    </a:cubicBezTo>
                    <a:cubicBezTo>
                      <a:pt x="389" y="7360"/>
                      <a:pt x="389" y="7360"/>
                      <a:pt x="389" y="7360"/>
                    </a:cubicBezTo>
                    <a:lnTo>
                      <a:pt x="363" y="7321"/>
                    </a:lnTo>
                    <a:close/>
                    <a:moveTo>
                      <a:pt x="318" y="7335"/>
                    </a:moveTo>
                    <a:cubicBezTo>
                      <a:pt x="366" y="7303"/>
                      <a:pt x="366" y="7303"/>
                      <a:pt x="366" y="7303"/>
                    </a:cubicBezTo>
                    <a:cubicBezTo>
                      <a:pt x="392" y="7342"/>
                      <a:pt x="392" y="7342"/>
                      <a:pt x="392" y="7342"/>
                    </a:cubicBezTo>
                    <a:cubicBezTo>
                      <a:pt x="442" y="7309"/>
                      <a:pt x="442" y="7309"/>
                      <a:pt x="442" y="7309"/>
                    </a:cubicBezTo>
                    <a:cubicBezTo>
                      <a:pt x="352" y="7172"/>
                      <a:pt x="352" y="7172"/>
                      <a:pt x="352" y="7172"/>
                    </a:cubicBezTo>
                    <a:cubicBezTo>
                      <a:pt x="302" y="7205"/>
                      <a:pt x="302" y="7205"/>
                      <a:pt x="302" y="7205"/>
                    </a:cubicBezTo>
                    <a:cubicBezTo>
                      <a:pt x="327" y="7244"/>
                      <a:pt x="327" y="7244"/>
                      <a:pt x="327" y="7244"/>
                    </a:cubicBezTo>
                    <a:cubicBezTo>
                      <a:pt x="280" y="7276"/>
                      <a:pt x="280" y="7276"/>
                      <a:pt x="280" y="7276"/>
                    </a:cubicBezTo>
                    <a:lnTo>
                      <a:pt x="318" y="7335"/>
                    </a:lnTo>
                    <a:close/>
                    <a:moveTo>
                      <a:pt x="413" y="8293"/>
                    </a:moveTo>
                    <a:cubicBezTo>
                      <a:pt x="365" y="8221"/>
                      <a:pt x="365" y="8221"/>
                      <a:pt x="365" y="8221"/>
                    </a:cubicBezTo>
                    <a:cubicBezTo>
                      <a:pt x="489" y="8086"/>
                      <a:pt x="489" y="8086"/>
                      <a:pt x="489" y="8086"/>
                    </a:cubicBezTo>
                    <a:cubicBezTo>
                      <a:pt x="659" y="8306"/>
                      <a:pt x="659" y="8306"/>
                      <a:pt x="659" y="8306"/>
                    </a:cubicBezTo>
                    <a:cubicBezTo>
                      <a:pt x="653" y="8311"/>
                      <a:pt x="653" y="8311"/>
                      <a:pt x="653" y="8311"/>
                    </a:cubicBezTo>
                    <a:cubicBezTo>
                      <a:pt x="443" y="8483"/>
                      <a:pt x="443" y="8483"/>
                      <a:pt x="443" y="8483"/>
                    </a:cubicBezTo>
                    <a:cubicBezTo>
                      <a:pt x="384" y="8391"/>
                      <a:pt x="384" y="8391"/>
                      <a:pt x="384" y="8391"/>
                    </a:cubicBezTo>
                    <a:cubicBezTo>
                      <a:pt x="480" y="8299"/>
                      <a:pt x="480" y="8299"/>
                      <a:pt x="480" y="8299"/>
                    </a:cubicBezTo>
                    <a:cubicBezTo>
                      <a:pt x="460" y="8256"/>
                      <a:pt x="460" y="8256"/>
                      <a:pt x="460" y="8256"/>
                    </a:cubicBezTo>
                    <a:lnTo>
                      <a:pt x="413" y="8293"/>
                    </a:lnTo>
                    <a:close/>
                    <a:moveTo>
                      <a:pt x="384" y="8222"/>
                    </a:moveTo>
                    <a:cubicBezTo>
                      <a:pt x="416" y="8271"/>
                      <a:pt x="416" y="8271"/>
                      <a:pt x="416" y="8271"/>
                    </a:cubicBezTo>
                    <a:cubicBezTo>
                      <a:pt x="466" y="8233"/>
                      <a:pt x="466" y="8233"/>
                      <a:pt x="466" y="8233"/>
                    </a:cubicBezTo>
                    <a:cubicBezTo>
                      <a:pt x="497" y="8303"/>
                      <a:pt x="497" y="8303"/>
                      <a:pt x="497" y="8303"/>
                    </a:cubicBezTo>
                    <a:cubicBezTo>
                      <a:pt x="403" y="8394"/>
                      <a:pt x="403" y="8394"/>
                      <a:pt x="403" y="8394"/>
                    </a:cubicBezTo>
                    <a:cubicBezTo>
                      <a:pt x="446" y="8461"/>
                      <a:pt x="446" y="8461"/>
                      <a:pt x="446" y="8461"/>
                    </a:cubicBezTo>
                    <a:cubicBezTo>
                      <a:pt x="638" y="8304"/>
                      <a:pt x="638" y="8304"/>
                      <a:pt x="638" y="8304"/>
                    </a:cubicBezTo>
                    <a:cubicBezTo>
                      <a:pt x="488" y="8109"/>
                      <a:pt x="488" y="8109"/>
                      <a:pt x="488" y="8109"/>
                    </a:cubicBezTo>
                    <a:lnTo>
                      <a:pt x="384" y="8222"/>
                    </a:lnTo>
                    <a:close/>
                    <a:moveTo>
                      <a:pt x="3979" y="4193"/>
                    </a:moveTo>
                    <a:cubicBezTo>
                      <a:pt x="4080" y="4196"/>
                      <a:pt x="4080" y="4196"/>
                      <a:pt x="4080" y="4196"/>
                    </a:cubicBezTo>
                    <a:cubicBezTo>
                      <a:pt x="4077" y="4335"/>
                      <a:pt x="4077" y="4335"/>
                      <a:pt x="4077" y="4335"/>
                    </a:cubicBezTo>
                    <a:cubicBezTo>
                      <a:pt x="3976" y="4333"/>
                      <a:pt x="3976" y="4333"/>
                      <a:pt x="3976" y="4333"/>
                    </a:cubicBezTo>
                    <a:cubicBezTo>
                      <a:pt x="3976" y="4326"/>
                      <a:pt x="3976" y="4326"/>
                      <a:pt x="3976" y="4326"/>
                    </a:cubicBezTo>
                    <a:lnTo>
                      <a:pt x="3979" y="4193"/>
                    </a:lnTo>
                    <a:close/>
                    <a:moveTo>
                      <a:pt x="3989" y="4320"/>
                    </a:moveTo>
                    <a:cubicBezTo>
                      <a:pt x="4064" y="4322"/>
                      <a:pt x="4064" y="4322"/>
                      <a:pt x="4064" y="4322"/>
                    </a:cubicBezTo>
                    <a:cubicBezTo>
                      <a:pt x="4066" y="4208"/>
                      <a:pt x="4066" y="4208"/>
                      <a:pt x="4066" y="4208"/>
                    </a:cubicBezTo>
                    <a:cubicBezTo>
                      <a:pt x="3992" y="4207"/>
                      <a:pt x="3992" y="4207"/>
                      <a:pt x="3992" y="4207"/>
                    </a:cubicBezTo>
                    <a:lnTo>
                      <a:pt x="3989" y="4320"/>
                    </a:lnTo>
                    <a:close/>
                    <a:moveTo>
                      <a:pt x="3010" y="7636"/>
                    </a:moveTo>
                    <a:cubicBezTo>
                      <a:pt x="2992" y="7519"/>
                      <a:pt x="2992" y="7519"/>
                      <a:pt x="2992" y="7519"/>
                    </a:cubicBezTo>
                    <a:cubicBezTo>
                      <a:pt x="2999" y="7518"/>
                      <a:pt x="2999" y="7518"/>
                      <a:pt x="2999" y="7518"/>
                    </a:cubicBezTo>
                    <a:cubicBezTo>
                      <a:pt x="3000" y="7518"/>
                      <a:pt x="3000" y="7518"/>
                      <a:pt x="3000" y="7518"/>
                    </a:cubicBezTo>
                    <a:cubicBezTo>
                      <a:pt x="3003" y="7518"/>
                      <a:pt x="3052" y="7518"/>
                      <a:pt x="3101" y="7495"/>
                    </a:cubicBezTo>
                    <a:cubicBezTo>
                      <a:pt x="3244" y="7375"/>
                      <a:pt x="3244" y="7375"/>
                      <a:pt x="3244" y="7375"/>
                    </a:cubicBezTo>
                    <a:cubicBezTo>
                      <a:pt x="3363" y="7529"/>
                      <a:pt x="3363" y="7529"/>
                      <a:pt x="3363" y="7529"/>
                    </a:cubicBezTo>
                    <a:cubicBezTo>
                      <a:pt x="3357" y="7533"/>
                      <a:pt x="3357" y="7533"/>
                      <a:pt x="3357" y="7533"/>
                    </a:cubicBezTo>
                    <a:cubicBezTo>
                      <a:pt x="3282" y="7583"/>
                      <a:pt x="3282" y="7583"/>
                      <a:pt x="3282" y="7583"/>
                    </a:cubicBezTo>
                    <a:cubicBezTo>
                      <a:pt x="3262" y="7529"/>
                      <a:pt x="3262" y="7529"/>
                      <a:pt x="3262" y="7529"/>
                    </a:cubicBezTo>
                    <a:cubicBezTo>
                      <a:pt x="3248" y="7554"/>
                      <a:pt x="3216" y="7604"/>
                      <a:pt x="3175" y="7618"/>
                    </a:cubicBezTo>
                    <a:cubicBezTo>
                      <a:pt x="3123" y="7635"/>
                      <a:pt x="3017" y="7635"/>
                      <a:pt x="3017" y="7636"/>
                    </a:cubicBezTo>
                    <a:lnTo>
                      <a:pt x="3010" y="7636"/>
                    </a:lnTo>
                    <a:close/>
                    <a:moveTo>
                      <a:pt x="3009" y="7533"/>
                    </a:moveTo>
                    <a:cubicBezTo>
                      <a:pt x="3023" y="7621"/>
                      <a:pt x="3023" y="7621"/>
                      <a:pt x="3023" y="7621"/>
                    </a:cubicBezTo>
                    <a:cubicBezTo>
                      <a:pt x="3046" y="7620"/>
                      <a:pt x="3130" y="7617"/>
                      <a:pt x="3170" y="7604"/>
                    </a:cubicBezTo>
                    <a:cubicBezTo>
                      <a:pt x="3193" y="7597"/>
                      <a:pt x="3215" y="7573"/>
                      <a:pt x="3230" y="7551"/>
                    </a:cubicBezTo>
                    <a:cubicBezTo>
                      <a:pt x="3246" y="7528"/>
                      <a:pt x="3256" y="7508"/>
                      <a:pt x="3256" y="7508"/>
                    </a:cubicBezTo>
                    <a:cubicBezTo>
                      <a:pt x="3263" y="7492"/>
                      <a:pt x="3263" y="7492"/>
                      <a:pt x="3263" y="7492"/>
                    </a:cubicBezTo>
                    <a:cubicBezTo>
                      <a:pt x="3289" y="7561"/>
                      <a:pt x="3289" y="7561"/>
                      <a:pt x="3289" y="7561"/>
                    </a:cubicBezTo>
                    <a:cubicBezTo>
                      <a:pt x="3342" y="7525"/>
                      <a:pt x="3342" y="7525"/>
                      <a:pt x="3342" y="7525"/>
                    </a:cubicBezTo>
                    <a:cubicBezTo>
                      <a:pt x="3242" y="7396"/>
                      <a:pt x="3242" y="7396"/>
                      <a:pt x="3242" y="7396"/>
                    </a:cubicBezTo>
                    <a:cubicBezTo>
                      <a:pt x="3109" y="7507"/>
                      <a:pt x="3109" y="7507"/>
                      <a:pt x="3109" y="7507"/>
                    </a:cubicBezTo>
                    <a:cubicBezTo>
                      <a:pt x="3109" y="7508"/>
                      <a:pt x="3109" y="7508"/>
                      <a:pt x="3109" y="7508"/>
                    </a:cubicBezTo>
                    <a:cubicBezTo>
                      <a:pt x="3067" y="7527"/>
                      <a:pt x="3026" y="7532"/>
                      <a:pt x="3009" y="7533"/>
                    </a:cubicBezTo>
                    <a:close/>
                    <a:moveTo>
                      <a:pt x="2246" y="8262"/>
                    </a:moveTo>
                    <a:cubicBezTo>
                      <a:pt x="2269" y="8306"/>
                      <a:pt x="2269" y="8306"/>
                      <a:pt x="2269" y="8306"/>
                    </a:cubicBezTo>
                    <a:cubicBezTo>
                      <a:pt x="2293" y="8297"/>
                      <a:pt x="2293" y="8297"/>
                      <a:pt x="2293" y="8297"/>
                    </a:cubicBezTo>
                    <a:cubicBezTo>
                      <a:pt x="2346" y="8404"/>
                      <a:pt x="2346" y="8404"/>
                      <a:pt x="2346" y="8404"/>
                    </a:cubicBezTo>
                    <a:cubicBezTo>
                      <a:pt x="2071" y="8538"/>
                      <a:pt x="2071" y="8538"/>
                      <a:pt x="2071" y="8538"/>
                    </a:cubicBezTo>
                    <a:cubicBezTo>
                      <a:pt x="2018" y="8426"/>
                      <a:pt x="2018" y="8426"/>
                      <a:pt x="2018" y="8426"/>
                    </a:cubicBezTo>
                    <a:cubicBezTo>
                      <a:pt x="2135" y="8372"/>
                      <a:pt x="2135" y="8372"/>
                      <a:pt x="2135" y="8372"/>
                    </a:cubicBezTo>
                    <a:cubicBezTo>
                      <a:pt x="2128" y="8343"/>
                      <a:pt x="2128" y="8343"/>
                      <a:pt x="2128" y="8343"/>
                    </a:cubicBezTo>
                    <a:cubicBezTo>
                      <a:pt x="2142" y="8333"/>
                      <a:pt x="2142" y="8333"/>
                      <a:pt x="2142" y="8333"/>
                    </a:cubicBezTo>
                    <a:cubicBezTo>
                      <a:pt x="2116" y="8285"/>
                      <a:pt x="2116" y="8285"/>
                      <a:pt x="2116" y="8285"/>
                    </a:cubicBezTo>
                    <a:cubicBezTo>
                      <a:pt x="2146" y="8266"/>
                      <a:pt x="2146" y="8266"/>
                      <a:pt x="2146" y="8266"/>
                    </a:cubicBezTo>
                    <a:cubicBezTo>
                      <a:pt x="2162" y="8301"/>
                      <a:pt x="2162" y="8301"/>
                      <a:pt x="2162" y="8301"/>
                    </a:cubicBezTo>
                    <a:lnTo>
                      <a:pt x="2246" y="8262"/>
                    </a:lnTo>
                    <a:close/>
                    <a:moveTo>
                      <a:pt x="2257" y="8313"/>
                    </a:moveTo>
                    <a:cubicBezTo>
                      <a:pt x="2240" y="8280"/>
                      <a:pt x="2240" y="8280"/>
                      <a:pt x="2240" y="8280"/>
                    </a:cubicBezTo>
                    <a:cubicBezTo>
                      <a:pt x="2168" y="8314"/>
                      <a:pt x="2168" y="8314"/>
                      <a:pt x="2168" y="8314"/>
                    </a:cubicBezTo>
                    <a:cubicBezTo>
                      <a:pt x="2156" y="8320"/>
                      <a:pt x="2156" y="8320"/>
                      <a:pt x="2156" y="8320"/>
                    </a:cubicBezTo>
                    <a:cubicBezTo>
                      <a:pt x="2150" y="8307"/>
                      <a:pt x="2150" y="8307"/>
                      <a:pt x="2150" y="8307"/>
                    </a:cubicBezTo>
                    <a:cubicBezTo>
                      <a:pt x="2140" y="8286"/>
                      <a:pt x="2140" y="8286"/>
                      <a:pt x="2140" y="8286"/>
                    </a:cubicBezTo>
                    <a:cubicBezTo>
                      <a:pt x="2135" y="8290"/>
                      <a:pt x="2135" y="8290"/>
                      <a:pt x="2135" y="8290"/>
                    </a:cubicBezTo>
                    <a:cubicBezTo>
                      <a:pt x="2154" y="8326"/>
                      <a:pt x="2154" y="8326"/>
                      <a:pt x="2154" y="8326"/>
                    </a:cubicBezTo>
                    <a:cubicBezTo>
                      <a:pt x="2160" y="8337"/>
                      <a:pt x="2160" y="8337"/>
                      <a:pt x="2160" y="8337"/>
                    </a:cubicBezTo>
                    <a:cubicBezTo>
                      <a:pt x="2150" y="8344"/>
                      <a:pt x="2150" y="8344"/>
                      <a:pt x="2150" y="8344"/>
                    </a:cubicBezTo>
                    <a:cubicBezTo>
                      <a:pt x="2143" y="8349"/>
                      <a:pt x="2143" y="8349"/>
                      <a:pt x="2143" y="8349"/>
                    </a:cubicBezTo>
                    <a:cubicBezTo>
                      <a:pt x="2148" y="8369"/>
                      <a:pt x="2148" y="8369"/>
                      <a:pt x="2148" y="8369"/>
                    </a:cubicBezTo>
                    <a:cubicBezTo>
                      <a:pt x="2151" y="8380"/>
                      <a:pt x="2151" y="8380"/>
                      <a:pt x="2151" y="8380"/>
                    </a:cubicBezTo>
                    <a:cubicBezTo>
                      <a:pt x="2141" y="8385"/>
                      <a:pt x="2141" y="8385"/>
                      <a:pt x="2141" y="8385"/>
                    </a:cubicBezTo>
                    <a:cubicBezTo>
                      <a:pt x="2037" y="8433"/>
                      <a:pt x="2037" y="8433"/>
                      <a:pt x="2037" y="8433"/>
                    </a:cubicBezTo>
                    <a:cubicBezTo>
                      <a:pt x="2078" y="8519"/>
                      <a:pt x="2078" y="8519"/>
                      <a:pt x="2078" y="8519"/>
                    </a:cubicBezTo>
                    <a:cubicBezTo>
                      <a:pt x="2327" y="8397"/>
                      <a:pt x="2327" y="8397"/>
                      <a:pt x="2327" y="8397"/>
                    </a:cubicBezTo>
                    <a:cubicBezTo>
                      <a:pt x="2286" y="8315"/>
                      <a:pt x="2286" y="8315"/>
                      <a:pt x="2286" y="8315"/>
                    </a:cubicBezTo>
                    <a:cubicBezTo>
                      <a:pt x="2274" y="8319"/>
                      <a:pt x="2274" y="8319"/>
                      <a:pt x="2274" y="8319"/>
                    </a:cubicBezTo>
                    <a:cubicBezTo>
                      <a:pt x="2262" y="8324"/>
                      <a:pt x="2262" y="8324"/>
                      <a:pt x="2262" y="8324"/>
                    </a:cubicBezTo>
                    <a:lnTo>
                      <a:pt x="2257" y="8313"/>
                    </a:lnTo>
                    <a:close/>
                    <a:moveTo>
                      <a:pt x="492" y="8896"/>
                    </a:moveTo>
                    <a:cubicBezTo>
                      <a:pt x="332" y="8986"/>
                      <a:pt x="332" y="8986"/>
                      <a:pt x="332" y="8986"/>
                    </a:cubicBezTo>
                    <a:cubicBezTo>
                      <a:pt x="190" y="8847"/>
                      <a:pt x="190" y="8847"/>
                      <a:pt x="190" y="8847"/>
                    </a:cubicBezTo>
                    <a:cubicBezTo>
                      <a:pt x="259" y="8791"/>
                      <a:pt x="259" y="8791"/>
                      <a:pt x="259" y="8791"/>
                    </a:cubicBezTo>
                    <a:cubicBezTo>
                      <a:pt x="294" y="8812"/>
                      <a:pt x="294" y="8812"/>
                      <a:pt x="294" y="8812"/>
                    </a:cubicBezTo>
                    <a:cubicBezTo>
                      <a:pt x="320" y="8797"/>
                      <a:pt x="320" y="8797"/>
                      <a:pt x="320" y="8797"/>
                    </a:cubicBezTo>
                    <a:cubicBezTo>
                      <a:pt x="296" y="8758"/>
                      <a:pt x="296" y="8758"/>
                      <a:pt x="296" y="8758"/>
                    </a:cubicBezTo>
                    <a:cubicBezTo>
                      <a:pt x="392" y="8686"/>
                      <a:pt x="392" y="8686"/>
                      <a:pt x="392" y="8686"/>
                    </a:cubicBezTo>
                    <a:cubicBezTo>
                      <a:pt x="510" y="8790"/>
                      <a:pt x="510" y="8790"/>
                      <a:pt x="510" y="8790"/>
                    </a:cubicBezTo>
                    <a:cubicBezTo>
                      <a:pt x="495" y="8894"/>
                      <a:pt x="495" y="8894"/>
                      <a:pt x="495" y="8894"/>
                    </a:cubicBezTo>
                    <a:lnTo>
                      <a:pt x="492" y="8896"/>
                    </a:lnTo>
                    <a:close/>
                    <a:moveTo>
                      <a:pt x="481" y="8885"/>
                    </a:moveTo>
                    <a:cubicBezTo>
                      <a:pt x="494" y="8796"/>
                      <a:pt x="494" y="8796"/>
                      <a:pt x="494" y="8796"/>
                    </a:cubicBezTo>
                    <a:cubicBezTo>
                      <a:pt x="391" y="8705"/>
                      <a:pt x="391" y="8705"/>
                      <a:pt x="391" y="8705"/>
                    </a:cubicBezTo>
                    <a:cubicBezTo>
                      <a:pt x="316" y="8762"/>
                      <a:pt x="316" y="8762"/>
                      <a:pt x="316" y="8762"/>
                    </a:cubicBezTo>
                    <a:cubicBezTo>
                      <a:pt x="340" y="8803"/>
                      <a:pt x="340" y="8803"/>
                      <a:pt x="340" y="8803"/>
                    </a:cubicBezTo>
                    <a:cubicBezTo>
                      <a:pt x="294" y="8829"/>
                      <a:pt x="294" y="8829"/>
                      <a:pt x="294" y="8829"/>
                    </a:cubicBezTo>
                    <a:cubicBezTo>
                      <a:pt x="260" y="8809"/>
                      <a:pt x="260" y="8809"/>
                      <a:pt x="260" y="8809"/>
                    </a:cubicBezTo>
                    <a:cubicBezTo>
                      <a:pt x="212" y="8848"/>
                      <a:pt x="212" y="8848"/>
                      <a:pt x="212" y="8848"/>
                    </a:cubicBezTo>
                    <a:cubicBezTo>
                      <a:pt x="335" y="8968"/>
                      <a:pt x="335" y="8968"/>
                      <a:pt x="335" y="8968"/>
                    </a:cubicBezTo>
                    <a:lnTo>
                      <a:pt x="481" y="8885"/>
                    </a:lnTo>
                    <a:close/>
                    <a:moveTo>
                      <a:pt x="4543" y="4749"/>
                    </a:moveTo>
                    <a:cubicBezTo>
                      <a:pt x="4581" y="4770"/>
                      <a:pt x="4581" y="4770"/>
                      <a:pt x="4581" y="4770"/>
                    </a:cubicBezTo>
                    <a:cubicBezTo>
                      <a:pt x="4525" y="4872"/>
                      <a:pt x="4525" y="4872"/>
                      <a:pt x="4525" y="4872"/>
                    </a:cubicBezTo>
                    <a:cubicBezTo>
                      <a:pt x="4488" y="4852"/>
                      <a:pt x="4488" y="4852"/>
                      <a:pt x="4488" y="4852"/>
                    </a:cubicBezTo>
                    <a:cubicBezTo>
                      <a:pt x="4465" y="4893"/>
                      <a:pt x="4465" y="4893"/>
                      <a:pt x="4465" y="4893"/>
                    </a:cubicBezTo>
                    <a:cubicBezTo>
                      <a:pt x="4389" y="4852"/>
                      <a:pt x="4389" y="4852"/>
                      <a:pt x="4389" y="4852"/>
                    </a:cubicBezTo>
                    <a:cubicBezTo>
                      <a:pt x="4490" y="4667"/>
                      <a:pt x="4490" y="4667"/>
                      <a:pt x="4490" y="4667"/>
                    </a:cubicBezTo>
                    <a:cubicBezTo>
                      <a:pt x="4496" y="4670"/>
                      <a:pt x="4496" y="4670"/>
                      <a:pt x="4496" y="4670"/>
                    </a:cubicBezTo>
                    <a:cubicBezTo>
                      <a:pt x="4566" y="4708"/>
                      <a:pt x="4566" y="4708"/>
                      <a:pt x="4566" y="4708"/>
                    </a:cubicBezTo>
                    <a:lnTo>
                      <a:pt x="4543" y="4749"/>
                    </a:lnTo>
                    <a:close/>
                    <a:moveTo>
                      <a:pt x="4525" y="4755"/>
                    </a:moveTo>
                    <a:cubicBezTo>
                      <a:pt x="4548" y="4713"/>
                      <a:pt x="4548" y="4713"/>
                      <a:pt x="4548" y="4713"/>
                    </a:cubicBezTo>
                    <a:cubicBezTo>
                      <a:pt x="4495" y="4685"/>
                      <a:pt x="4495" y="4685"/>
                      <a:pt x="4495" y="4685"/>
                    </a:cubicBezTo>
                    <a:cubicBezTo>
                      <a:pt x="4407" y="4847"/>
                      <a:pt x="4407" y="4847"/>
                      <a:pt x="4407" y="4847"/>
                    </a:cubicBezTo>
                    <a:cubicBezTo>
                      <a:pt x="4460" y="4875"/>
                      <a:pt x="4460" y="4875"/>
                      <a:pt x="4460" y="4875"/>
                    </a:cubicBezTo>
                    <a:cubicBezTo>
                      <a:pt x="4482" y="4834"/>
                      <a:pt x="4482" y="4834"/>
                      <a:pt x="4482" y="4834"/>
                    </a:cubicBezTo>
                    <a:cubicBezTo>
                      <a:pt x="4520" y="4855"/>
                      <a:pt x="4520" y="4855"/>
                      <a:pt x="4520" y="4855"/>
                    </a:cubicBezTo>
                    <a:cubicBezTo>
                      <a:pt x="4563" y="4775"/>
                      <a:pt x="4563" y="4775"/>
                      <a:pt x="4563" y="4775"/>
                    </a:cubicBezTo>
                    <a:lnTo>
                      <a:pt x="4525" y="4755"/>
                    </a:lnTo>
                    <a:close/>
                    <a:moveTo>
                      <a:pt x="4979" y="5149"/>
                    </a:moveTo>
                    <a:cubicBezTo>
                      <a:pt x="4938" y="5163"/>
                      <a:pt x="4938" y="5163"/>
                      <a:pt x="4938" y="5163"/>
                    </a:cubicBezTo>
                    <a:cubicBezTo>
                      <a:pt x="4953" y="5207"/>
                      <a:pt x="4953" y="5207"/>
                      <a:pt x="4953" y="5207"/>
                    </a:cubicBezTo>
                    <a:cubicBezTo>
                      <a:pt x="4871" y="5234"/>
                      <a:pt x="4871" y="5234"/>
                      <a:pt x="4871" y="5234"/>
                    </a:cubicBezTo>
                    <a:cubicBezTo>
                      <a:pt x="4806" y="5033"/>
                      <a:pt x="4806" y="5033"/>
                      <a:pt x="4806" y="5033"/>
                    </a:cubicBezTo>
                    <a:cubicBezTo>
                      <a:pt x="4812" y="5031"/>
                      <a:pt x="4812" y="5031"/>
                      <a:pt x="4812" y="5031"/>
                    </a:cubicBezTo>
                    <a:cubicBezTo>
                      <a:pt x="4888" y="5007"/>
                      <a:pt x="4888" y="5007"/>
                      <a:pt x="4888" y="5007"/>
                    </a:cubicBezTo>
                    <a:cubicBezTo>
                      <a:pt x="4902" y="5052"/>
                      <a:pt x="4902" y="5052"/>
                      <a:pt x="4902" y="5052"/>
                    </a:cubicBezTo>
                    <a:cubicBezTo>
                      <a:pt x="4943" y="5038"/>
                      <a:pt x="4943" y="5038"/>
                      <a:pt x="4943" y="5038"/>
                    </a:cubicBezTo>
                    <a:lnTo>
                      <a:pt x="4979" y="5149"/>
                    </a:lnTo>
                    <a:close/>
                    <a:moveTo>
                      <a:pt x="4922" y="5154"/>
                    </a:moveTo>
                    <a:cubicBezTo>
                      <a:pt x="4963" y="5141"/>
                      <a:pt x="4963" y="5141"/>
                      <a:pt x="4963" y="5141"/>
                    </a:cubicBezTo>
                    <a:cubicBezTo>
                      <a:pt x="4935" y="5055"/>
                      <a:pt x="4935" y="5055"/>
                      <a:pt x="4935" y="5055"/>
                    </a:cubicBezTo>
                    <a:cubicBezTo>
                      <a:pt x="4894" y="5068"/>
                      <a:pt x="4894" y="5068"/>
                      <a:pt x="4894" y="5068"/>
                    </a:cubicBezTo>
                    <a:cubicBezTo>
                      <a:pt x="4879" y="5023"/>
                      <a:pt x="4879" y="5023"/>
                      <a:pt x="4879" y="5023"/>
                    </a:cubicBezTo>
                    <a:cubicBezTo>
                      <a:pt x="4822" y="5042"/>
                      <a:pt x="4822" y="5042"/>
                      <a:pt x="4822" y="5042"/>
                    </a:cubicBezTo>
                    <a:cubicBezTo>
                      <a:pt x="4879" y="5217"/>
                      <a:pt x="4879" y="5217"/>
                      <a:pt x="4879" y="5217"/>
                    </a:cubicBezTo>
                    <a:cubicBezTo>
                      <a:pt x="4936" y="5199"/>
                      <a:pt x="4936" y="5199"/>
                      <a:pt x="4936" y="5199"/>
                    </a:cubicBezTo>
                    <a:lnTo>
                      <a:pt x="4922" y="5154"/>
                    </a:lnTo>
                    <a:close/>
                    <a:moveTo>
                      <a:pt x="3509" y="7388"/>
                    </a:moveTo>
                    <a:cubicBezTo>
                      <a:pt x="3424" y="7455"/>
                      <a:pt x="3424" y="7455"/>
                      <a:pt x="3424" y="7455"/>
                    </a:cubicBezTo>
                    <a:cubicBezTo>
                      <a:pt x="3316" y="7328"/>
                      <a:pt x="3316" y="7328"/>
                      <a:pt x="3316" y="7328"/>
                    </a:cubicBezTo>
                    <a:cubicBezTo>
                      <a:pt x="3502" y="7304"/>
                      <a:pt x="3502" y="7304"/>
                      <a:pt x="3502" y="7304"/>
                    </a:cubicBezTo>
                    <a:cubicBezTo>
                      <a:pt x="3502" y="7312"/>
                      <a:pt x="3502" y="7312"/>
                      <a:pt x="3502" y="7312"/>
                    </a:cubicBezTo>
                    <a:lnTo>
                      <a:pt x="3509" y="7388"/>
                    </a:lnTo>
                    <a:close/>
                    <a:moveTo>
                      <a:pt x="3493" y="7381"/>
                    </a:moveTo>
                    <a:cubicBezTo>
                      <a:pt x="3488" y="7321"/>
                      <a:pt x="3488" y="7321"/>
                      <a:pt x="3488" y="7321"/>
                    </a:cubicBezTo>
                    <a:cubicBezTo>
                      <a:pt x="3345" y="7340"/>
                      <a:pt x="3345" y="7340"/>
                      <a:pt x="3345" y="7340"/>
                    </a:cubicBezTo>
                    <a:cubicBezTo>
                      <a:pt x="3426" y="7435"/>
                      <a:pt x="3426" y="7435"/>
                      <a:pt x="3426" y="7435"/>
                    </a:cubicBezTo>
                    <a:lnTo>
                      <a:pt x="3493" y="7381"/>
                    </a:lnTo>
                    <a:close/>
                    <a:moveTo>
                      <a:pt x="4236" y="4763"/>
                    </a:moveTo>
                    <a:cubicBezTo>
                      <a:pt x="4198" y="4742"/>
                      <a:pt x="4198" y="4742"/>
                      <a:pt x="4198" y="4742"/>
                    </a:cubicBezTo>
                    <a:cubicBezTo>
                      <a:pt x="4254" y="4640"/>
                      <a:pt x="4254" y="4640"/>
                      <a:pt x="4254" y="4640"/>
                    </a:cubicBezTo>
                    <a:cubicBezTo>
                      <a:pt x="4292" y="4660"/>
                      <a:pt x="4292" y="4660"/>
                      <a:pt x="4292" y="4660"/>
                    </a:cubicBezTo>
                    <a:cubicBezTo>
                      <a:pt x="4314" y="4619"/>
                      <a:pt x="4314" y="4619"/>
                      <a:pt x="4314" y="4619"/>
                    </a:cubicBezTo>
                    <a:cubicBezTo>
                      <a:pt x="4390" y="4660"/>
                      <a:pt x="4390" y="4660"/>
                      <a:pt x="4390" y="4660"/>
                    </a:cubicBezTo>
                    <a:cubicBezTo>
                      <a:pt x="4289" y="4845"/>
                      <a:pt x="4289" y="4845"/>
                      <a:pt x="4289" y="4845"/>
                    </a:cubicBezTo>
                    <a:cubicBezTo>
                      <a:pt x="4284" y="4842"/>
                      <a:pt x="4284" y="4842"/>
                      <a:pt x="4284" y="4842"/>
                    </a:cubicBezTo>
                    <a:cubicBezTo>
                      <a:pt x="4214" y="4804"/>
                      <a:pt x="4214" y="4804"/>
                      <a:pt x="4214" y="4804"/>
                    </a:cubicBezTo>
                    <a:lnTo>
                      <a:pt x="4236" y="4763"/>
                    </a:lnTo>
                    <a:close/>
                    <a:moveTo>
                      <a:pt x="4254" y="4758"/>
                    </a:moveTo>
                    <a:cubicBezTo>
                      <a:pt x="4231" y="4799"/>
                      <a:pt x="4231" y="4799"/>
                      <a:pt x="4231" y="4799"/>
                    </a:cubicBezTo>
                    <a:cubicBezTo>
                      <a:pt x="4284" y="4828"/>
                      <a:pt x="4284" y="4828"/>
                      <a:pt x="4284" y="4828"/>
                    </a:cubicBezTo>
                    <a:cubicBezTo>
                      <a:pt x="4372" y="4665"/>
                      <a:pt x="4372" y="4665"/>
                      <a:pt x="4372" y="4665"/>
                    </a:cubicBezTo>
                    <a:cubicBezTo>
                      <a:pt x="4319" y="4637"/>
                      <a:pt x="4319" y="4637"/>
                      <a:pt x="4319" y="4637"/>
                    </a:cubicBezTo>
                    <a:cubicBezTo>
                      <a:pt x="4297" y="4678"/>
                      <a:pt x="4297" y="4678"/>
                      <a:pt x="4297" y="4678"/>
                    </a:cubicBezTo>
                    <a:cubicBezTo>
                      <a:pt x="4259" y="4658"/>
                      <a:pt x="4259" y="4658"/>
                      <a:pt x="4259" y="4658"/>
                    </a:cubicBezTo>
                    <a:cubicBezTo>
                      <a:pt x="4216" y="4737"/>
                      <a:pt x="4216" y="4737"/>
                      <a:pt x="4216" y="4737"/>
                    </a:cubicBezTo>
                    <a:lnTo>
                      <a:pt x="4254" y="4758"/>
                    </a:lnTo>
                    <a:close/>
                    <a:moveTo>
                      <a:pt x="956" y="6550"/>
                    </a:moveTo>
                    <a:cubicBezTo>
                      <a:pt x="951" y="6545"/>
                      <a:pt x="951" y="6545"/>
                      <a:pt x="951" y="6545"/>
                    </a:cubicBezTo>
                    <a:cubicBezTo>
                      <a:pt x="985" y="6494"/>
                      <a:pt x="985" y="6494"/>
                      <a:pt x="985" y="6494"/>
                    </a:cubicBezTo>
                    <a:cubicBezTo>
                      <a:pt x="1345" y="6701"/>
                      <a:pt x="1345" y="6701"/>
                      <a:pt x="1345" y="6701"/>
                    </a:cubicBezTo>
                    <a:cubicBezTo>
                      <a:pt x="1336" y="6707"/>
                      <a:pt x="1336" y="6707"/>
                      <a:pt x="1336" y="6707"/>
                    </a:cubicBezTo>
                    <a:cubicBezTo>
                      <a:pt x="1267" y="6761"/>
                      <a:pt x="1267" y="6761"/>
                      <a:pt x="1267" y="6761"/>
                    </a:cubicBezTo>
                    <a:cubicBezTo>
                      <a:pt x="1221" y="6729"/>
                      <a:pt x="1221" y="6729"/>
                      <a:pt x="1221" y="6729"/>
                    </a:cubicBezTo>
                    <a:cubicBezTo>
                      <a:pt x="1224" y="6745"/>
                      <a:pt x="1228" y="6767"/>
                      <a:pt x="1228" y="6788"/>
                    </a:cubicBezTo>
                    <a:cubicBezTo>
                      <a:pt x="1228" y="6809"/>
                      <a:pt x="1225" y="6830"/>
                      <a:pt x="1210" y="6842"/>
                    </a:cubicBezTo>
                    <a:cubicBezTo>
                      <a:pt x="1199" y="6849"/>
                      <a:pt x="1186" y="6852"/>
                      <a:pt x="1172" y="6852"/>
                    </a:cubicBezTo>
                    <a:cubicBezTo>
                      <a:pt x="1134" y="6852"/>
                      <a:pt x="1091" y="6833"/>
                      <a:pt x="1090" y="6833"/>
                    </a:cubicBezTo>
                    <a:cubicBezTo>
                      <a:pt x="1088" y="6832"/>
                      <a:pt x="1088" y="6832"/>
                      <a:pt x="1088" y="6832"/>
                    </a:cubicBezTo>
                    <a:cubicBezTo>
                      <a:pt x="1053" y="6757"/>
                      <a:pt x="1053" y="6757"/>
                      <a:pt x="1053" y="6757"/>
                    </a:cubicBezTo>
                    <a:cubicBezTo>
                      <a:pt x="1068" y="6761"/>
                      <a:pt x="1068" y="6761"/>
                      <a:pt x="1068" y="6761"/>
                    </a:cubicBezTo>
                    <a:cubicBezTo>
                      <a:pt x="1068" y="6761"/>
                      <a:pt x="1077" y="6764"/>
                      <a:pt x="1087" y="6764"/>
                    </a:cubicBezTo>
                    <a:cubicBezTo>
                      <a:pt x="1100" y="6763"/>
                      <a:pt x="1108" y="6761"/>
                      <a:pt x="1108" y="6748"/>
                    </a:cubicBezTo>
                    <a:cubicBezTo>
                      <a:pt x="1108" y="6740"/>
                      <a:pt x="1105" y="6728"/>
                      <a:pt x="1096" y="6710"/>
                    </a:cubicBezTo>
                    <a:cubicBezTo>
                      <a:pt x="1053" y="6628"/>
                      <a:pt x="956" y="6550"/>
                      <a:pt x="956" y="6550"/>
                    </a:cubicBezTo>
                    <a:close/>
                    <a:moveTo>
                      <a:pt x="971" y="6542"/>
                    </a:moveTo>
                    <a:cubicBezTo>
                      <a:pt x="991" y="6560"/>
                      <a:pt x="1070" y="6629"/>
                      <a:pt x="1109" y="6703"/>
                    </a:cubicBezTo>
                    <a:cubicBezTo>
                      <a:pt x="1118" y="6722"/>
                      <a:pt x="1123" y="6736"/>
                      <a:pt x="1123" y="6748"/>
                    </a:cubicBezTo>
                    <a:cubicBezTo>
                      <a:pt x="1123" y="6759"/>
                      <a:pt x="1118" y="6768"/>
                      <a:pt x="1110" y="6773"/>
                    </a:cubicBezTo>
                    <a:cubicBezTo>
                      <a:pt x="1103" y="6777"/>
                      <a:pt x="1094" y="6778"/>
                      <a:pt x="1087" y="6779"/>
                    </a:cubicBezTo>
                    <a:cubicBezTo>
                      <a:pt x="1084" y="6779"/>
                      <a:pt x="1081" y="6778"/>
                      <a:pt x="1079" y="6778"/>
                    </a:cubicBezTo>
                    <a:cubicBezTo>
                      <a:pt x="1099" y="6820"/>
                      <a:pt x="1099" y="6820"/>
                      <a:pt x="1099" y="6820"/>
                    </a:cubicBezTo>
                    <a:cubicBezTo>
                      <a:pt x="1108" y="6824"/>
                      <a:pt x="1144" y="6837"/>
                      <a:pt x="1172" y="6837"/>
                    </a:cubicBezTo>
                    <a:cubicBezTo>
                      <a:pt x="1184" y="6837"/>
                      <a:pt x="1194" y="6835"/>
                      <a:pt x="1201" y="6830"/>
                    </a:cubicBezTo>
                    <a:cubicBezTo>
                      <a:pt x="1209" y="6824"/>
                      <a:pt x="1214" y="6808"/>
                      <a:pt x="1214" y="6788"/>
                    </a:cubicBezTo>
                    <a:cubicBezTo>
                      <a:pt x="1214" y="6754"/>
                      <a:pt x="1202" y="6714"/>
                      <a:pt x="1202" y="6714"/>
                    </a:cubicBezTo>
                    <a:cubicBezTo>
                      <a:pt x="1196" y="6694"/>
                      <a:pt x="1196" y="6694"/>
                      <a:pt x="1196" y="6694"/>
                    </a:cubicBezTo>
                    <a:cubicBezTo>
                      <a:pt x="1267" y="6743"/>
                      <a:pt x="1267" y="6743"/>
                      <a:pt x="1267" y="6743"/>
                    </a:cubicBezTo>
                    <a:cubicBezTo>
                      <a:pt x="1318" y="6702"/>
                      <a:pt x="1318" y="6702"/>
                      <a:pt x="1318" y="6702"/>
                    </a:cubicBezTo>
                    <a:cubicBezTo>
                      <a:pt x="990" y="6513"/>
                      <a:pt x="990" y="6513"/>
                      <a:pt x="990" y="6513"/>
                    </a:cubicBezTo>
                    <a:lnTo>
                      <a:pt x="971" y="6542"/>
                    </a:lnTo>
                    <a:close/>
                    <a:moveTo>
                      <a:pt x="739" y="6403"/>
                    </a:moveTo>
                    <a:cubicBezTo>
                      <a:pt x="724" y="6417"/>
                      <a:pt x="708" y="6433"/>
                      <a:pt x="691" y="6433"/>
                    </a:cubicBezTo>
                    <a:cubicBezTo>
                      <a:pt x="691" y="6433"/>
                      <a:pt x="690" y="6433"/>
                      <a:pt x="690" y="6433"/>
                    </a:cubicBezTo>
                    <a:cubicBezTo>
                      <a:pt x="683" y="6433"/>
                      <a:pt x="675" y="6428"/>
                      <a:pt x="672" y="6420"/>
                    </a:cubicBezTo>
                    <a:cubicBezTo>
                      <a:pt x="663" y="6395"/>
                      <a:pt x="616" y="6353"/>
                      <a:pt x="567" y="6317"/>
                    </a:cubicBezTo>
                    <a:cubicBezTo>
                      <a:pt x="518" y="6281"/>
                      <a:pt x="467" y="6248"/>
                      <a:pt x="449" y="6235"/>
                    </a:cubicBezTo>
                    <a:cubicBezTo>
                      <a:pt x="443" y="6231"/>
                      <a:pt x="443" y="6231"/>
                      <a:pt x="443" y="6231"/>
                    </a:cubicBezTo>
                    <a:cubicBezTo>
                      <a:pt x="469" y="6197"/>
                      <a:pt x="469" y="6197"/>
                      <a:pt x="469" y="6197"/>
                    </a:cubicBezTo>
                    <a:cubicBezTo>
                      <a:pt x="771" y="6367"/>
                      <a:pt x="771" y="6367"/>
                      <a:pt x="771" y="6367"/>
                    </a:cubicBezTo>
                    <a:cubicBezTo>
                      <a:pt x="765" y="6374"/>
                      <a:pt x="765" y="6374"/>
                      <a:pt x="765" y="6374"/>
                    </a:cubicBezTo>
                    <a:cubicBezTo>
                      <a:pt x="765" y="6374"/>
                      <a:pt x="754" y="6388"/>
                      <a:pt x="739" y="6403"/>
                    </a:cubicBezTo>
                    <a:close/>
                    <a:moveTo>
                      <a:pt x="729" y="6392"/>
                    </a:moveTo>
                    <a:cubicBezTo>
                      <a:pt x="737" y="6384"/>
                      <a:pt x="744" y="6377"/>
                      <a:pt x="748" y="6371"/>
                    </a:cubicBezTo>
                    <a:cubicBezTo>
                      <a:pt x="473" y="6216"/>
                      <a:pt x="473" y="6216"/>
                      <a:pt x="473" y="6216"/>
                    </a:cubicBezTo>
                    <a:cubicBezTo>
                      <a:pt x="464" y="6228"/>
                      <a:pt x="464" y="6228"/>
                      <a:pt x="464" y="6228"/>
                    </a:cubicBezTo>
                    <a:cubicBezTo>
                      <a:pt x="485" y="6242"/>
                      <a:pt x="531" y="6272"/>
                      <a:pt x="576" y="6305"/>
                    </a:cubicBezTo>
                    <a:cubicBezTo>
                      <a:pt x="625" y="6343"/>
                      <a:pt x="673" y="6382"/>
                      <a:pt x="686" y="6414"/>
                    </a:cubicBezTo>
                    <a:cubicBezTo>
                      <a:pt x="688" y="6419"/>
                      <a:pt x="688" y="6418"/>
                      <a:pt x="691" y="6419"/>
                    </a:cubicBezTo>
                    <a:cubicBezTo>
                      <a:pt x="697" y="6419"/>
                      <a:pt x="716" y="6406"/>
                      <a:pt x="729" y="6392"/>
                    </a:cubicBezTo>
                    <a:close/>
                    <a:moveTo>
                      <a:pt x="1019" y="7055"/>
                    </a:moveTo>
                    <a:cubicBezTo>
                      <a:pt x="914" y="7347"/>
                      <a:pt x="914" y="7347"/>
                      <a:pt x="914" y="7347"/>
                    </a:cubicBezTo>
                    <a:cubicBezTo>
                      <a:pt x="906" y="7341"/>
                      <a:pt x="906" y="7341"/>
                      <a:pt x="906" y="7341"/>
                    </a:cubicBezTo>
                    <a:cubicBezTo>
                      <a:pt x="748" y="7227"/>
                      <a:pt x="748" y="7227"/>
                      <a:pt x="748" y="7227"/>
                    </a:cubicBezTo>
                    <a:cubicBezTo>
                      <a:pt x="775" y="7136"/>
                      <a:pt x="775" y="7136"/>
                      <a:pt x="775" y="7136"/>
                    </a:cubicBezTo>
                    <a:cubicBezTo>
                      <a:pt x="709" y="7079"/>
                      <a:pt x="709" y="7079"/>
                      <a:pt x="709" y="7079"/>
                    </a:cubicBezTo>
                    <a:cubicBezTo>
                      <a:pt x="745" y="7024"/>
                      <a:pt x="745" y="7024"/>
                      <a:pt x="745" y="7024"/>
                    </a:cubicBezTo>
                    <a:cubicBezTo>
                      <a:pt x="529" y="6867"/>
                      <a:pt x="529" y="6867"/>
                      <a:pt x="529" y="6867"/>
                    </a:cubicBezTo>
                    <a:cubicBezTo>
                      <a:pt x="600" y="6765"/>
                      <a:pt x="600" y="6765"/>
                      <a:pt x="600" y="6765"/>
                    </a:cubicBezTo>
                    <a:cubicBezTo>
                      <a:pt x="711" y="6857"/>
                      <a:pt x="711" y="6857"/>
                      <a:pt x="711" y="6857"/>
                    </a:cubicBezTo>
                    <a:cubicBezTo>
                      <a:pt x="753" y="6788"/>
                      <a:pt x="753" y="6788"/>
                      <a:pt x="753" y="6788"/>
                    </a:cubicBezTo>
                    <a:cubicBezTo>
                      <a:pt x="859" y="6862"/>
                      <a:pt x="859" y="6862"/>
                      <a:pt x="859" y="6862"/>
                    </a:cubicBezTo>
                    <a:cubicBezTo>
                      <a:pt x="890" y="6841"/>
                      <a:pt x="890" y="6841"/>
                      <a:pt x="890" y="6841"/>
                    </a:cubicBezTo>
                    <a:lnTo>
                      <a:pt x="1019" y="7055"/>
                    </a:lnTo>
                    <a:close/>
                    <a:moveTo>
                      <a:pt x="1003" y="7056"/>
                    </a:moveTo>
                    <a:cubicBezTo>
                      <a:pt x="885" y="6862"/>
                      <a:pt x="885" y="6862"/>
                      <a:pt x="885" y="6862"/>
                    </a:cubicBezTo>
                    <a:cubicBezTo>
                      <a:pt x="859" y="6880"/>
                      <a:pt x="859" y="6880"/>
                      <a:pt x="859" y="6880"/>
                    </a:cubicBezTo>
                    <a:cubicBezTo>
                      <a:pt x="757" y="6809"/>
                      <a:pt x="757" y="6809"/>
                      <a:pt x="757" y="6809"/>
                    </a:cubicBezTo>
                    <a:cubicBezTo>
                      <a:pt x="715" y="6879"/>
                      <a:pt x="715" y="6879"/>
                      <a:pt x="715" y="6879"/>
                    </a:cubicBezTo>
                    <a:cubicBezTo>
                      <a:pt x="603" y="6786"/>
                      <a:pt x="603" y="6786"/>
                      <a:pt x="603" y="6786"/>
                    </a:cubicBezTo>
                    <a:cubicBezTo>
                      <a:pt x="549" y="6864"/>
                      <a:pt x="549" y="6864"/>
                      <a:pt x="549" y="6864"/>
                    </a:cubicBezTo>
                    <a:cubicBezTo>
                      <a:pt x="765" y="7021"/>
                      <a:pt x="765" y="7021"/>
                      <a:pt x="765" y="7021"/>
                    </a:cubicBezTo>
                    <a:cubicBezTo>
                      <a:pt x="729" y="7076"/>
                      <a:pt x="729" y="7076"/>
                      <a:pt x="729" y="7076"/>
                    </a:cubicBezTo>
                    <a:cubicBezTo>
                      <a:pt x="792" y="7131"/>
                      <a:pt x="792" y="7131"/>
                      <a:pt x="792" y="7131"/>
                    </a:cubicBezTo>
                    <a:cubicBezTo>
                      <a:pt x="765" y="7221"/>
                      <a:pt x="765" y="7221"/>
                      <a:pt x="765" y="7221"/>
                    </a:cubicBezTo>
                    <a:cubicBezTo>
                      <a:pt x="907" y="7323"/>
                      <a:pt x="907" y="7323"/>
                      <a:pt x="907" y="7323"/>
                    </a:cubicBezTo>
                    <a:lnTo>
                      <a:pt x="1003" y="7056"/>
                    </a:lnTo>
                    <a:close/>
                    <a:moveTo>
                      <a:pt x="3572" y="7593"/>
                    </a:moveTo>
                    <a:cubicBezTo>
                      <a:pt x="3569" y="7592"/>
                      <a:pt x="3591" y="7589"/>
                      <a:pt x="3591" y="7589"/>
                    </a:cubicBezTo>
                    <a:cubicBezTo>
                      <a:pt x="3577" y="7512"/>
                      <a:pt x="3577" y="7512"/>
                      <a:pt x="3577" y="7512"/>
                    </a:cubicBezTo>
                    <a:cubicBezTo>
                      <a:pt x="3659" y="7496"/>
                      <a:pt x="3659" y="7496"/>
                      <a:pt x="3659" y="7496"/>
                    </a:cubicBezTo>
                    <a:cubicBezTo>
                      <a:pt x="3676" y="7575"/>
                      <a:pt x="3676" y="7575"/>
                      <a:pt x="3676" y="7575"/>
                    </a:cubicBezTo>
                    <a:cubicBezTo>
                      <a:pt x="3750" y="7562"/>
                      <a:pt x="3750" y="7562"/>
                      <a:pt x="3750" y="7562"/>
                    </a:cubicBezTo>
                    <a:cubicBezTo>
                      <a:pt x="3764" y="7647"/>
                      <a:pt x="3764" y="7647"/>
                      <a:pt x="3764" y="7647"/>
                    </a:cubicBezTo>
                    <a:cubicBezTo>
                      <a:pt x="3588" y="7673"/>
                      <a:pt x="3588" y="7673"/>
                      <a:pt x="3588" y="7673"/>
                    </a:cubicBezTo>
                    <a:cubicBezTo>
                      <a:pt x="3588" y="7673"/>
                      <a:pt x="3574" y="7594"/>
                      <a:pt x="3572" y="7593"/>
                    </a:cubicBezTo>
                    <a:close/>
                    <a:moveTo>
                      <a:pt x="3589" y="7603"/>
                    </a:moveTo>
                    <a:cubicBezTo>
                      <a:pt x="3591" y="7614"/>
                      <a:pt x="3594" y="7631"/>
                      <a:pt x="3599" y="7658"/>
                    </a:cubicBezTo>
                    <a:cubicBezTo>
                      <a:pt x="3748" y="7635"/>
                      <a:pt x="3748" y="7635"/>
                      <a:pt x="3748" y="7635"/>
                    </a:cubicBezTo>
                    <a:cubicBezTo>
                      <a:pt x="3739" y="7579"/>
                      <a:pt x="3739" y="7579"/>
                      <a:pt x="3739" y="7579"/>
                    </a:cubicBezTo>
                    <a:cubicBezTo>
                      <a:pt x="3678" y="7589"/>
                      <a:pt x="3678" y="7589"/>
                      <a:pt x="3678" y="7589"/>
                    </a:cubicBezTo>
                    <a:cubicBezTo>
                      <a:pt x="3665" y="7591"/>
                      <a:pt x="3665" y="7591"/>
                      <a:pt x="3665" y="7591"/>
                    </a:cubicBezTo>
                    <a:cubicBezTo>
                      <a:pt x="3662" y="7578"/>
                      <a:pt x="3662" y="7578"/>
                      <a:pt x="3662" y="7578"/>
                    </a:cubicBezTo>
                    <a:cubicBezTo>
                      <a:pt x="3648" y="7512"/>
                      <a:pt x="3648" y="7512"/>
                      <a:pt x="3648" y="7512"/>
                    </a:cubicBezTo>
                    <a:cubicBezTo>
                      <a:pt x="3594" y="7523"/>
                      <a:pt x="3594" y="7523"/>
                      <a:pt x="3594" y="7523"/>
                    </a:cubicBezTo>
                    <a:cubicBezTo>
                      <a:pt x="3605" y="7586"/>
                      <a:pt x="3605" y="7586"/>
                      <a:pt x="3605" y="7586"/>
                    </a:cubicBezTo>
                    <a:cubicBezTo>
                      <a:pt x="3607" y="7600"/>
                      <a:pt x="3607" y="7600"/>
                      <a:pt x="3607" y="7600"/>
                    </a:cubicBezTo>
                    <a:cubicBezTo>
                      <a:pt x="3593" y="7603"/>
                      <a:pt x="3593" y="7603"/>
                      <a:pt x="3593" y="7603"/>
                    </a:cubicBezTo>
                    <a:cubicBezTo>
                      <a:pt x="3592" y="7603"/>
                      <a:pt x="3590" y="7603"/>
                      <a:pt x="3589" y="7603"/>
                    </a:cubicBezTo>
                    <a:close/>
                    <a:moveTo>
                      <a:pt x="7748" y="9240"/>
                    </a:moveTo>
                    <a:cubicBezTo>
                      <a:pt x="7800" y="9294"/>
                      <a:pt x="7800" y="9294"/>
                      <a:pt x="7800" y="9294"/>
                    </a:cubicBezTo>
                    <a:cubicBezTo>
                      <a:pt x="7746" y="9347"/>
                      <a:pt x="7746" y="9347"/>
                      <a:pt x="7746" y="9347"/>
                    </a:cubicBezTo>
                    <a:cubicBezTo>
                      <a:pt x="7741" y="9342"/>
                      <a:pt x="7741" y="9342"/>
                      <a:pt x="7741" y="9342"/>
                    </a:cubicBezTo>
                    <a:cubicBezTo>
                      <a:pt x="7610" y="9203"/>
                      <a:pt x="7610" y="9203"/>
                      <a:pt x="7610" y="9203"/>
                    </a:cubicBezTo>
                    <a:cubicBezTo>
                      <a:pt x="7645" y="9168"/>
                      <a:pt x="7645" y="9168"/>
                      <a:pt x="7645" y="9168"/>
                    </a:cubicBezTo>
                    <a:cubicBezTo>
                      <a:pt x="7637" y="9160"/>
                      <a:pt x="7637" y="9160"/>
                      <a:pt x="7637" y="9160"/>
                    </a:cubicBezTo>
                    <a:cubicBezTo>
                      <a:pt x="7632" y="9155"/>
                      <a:pt x="7632" y="9155"/>
                      <a:pt x="7632" y="9155"/>
                    </a:cubicBezTo>
                    <a:cubicBezTo>
                      <a:pt x="7702" y="9088"/>
                      <a:pt x="7702" y="9088"/>
                      <a:pt x="7702" y="9088"/>
                    </a:cubicBezTo>
                    <a:cubicBezTo>
                      <a:pt x="7800" y="9189"/>
                      <a:pt x="7800" y="9189"/>
                      <a:pt x="7800" y="9189"/>
                    </a:cubicBezTo>
                    <a:lnTo>
                      <a:pt x="7748" y="9240"/>
                    </a:lnTo>
                    <a:close/>
                    <a:moveTo>
                      <a:pt x="7729" y="9240"/>
                    </a:moveTo>
                    <a:cubicBezTo>
                      <a:pt x="7781" y="9189"/>
                      <a:pt x="7781" y="9189"/>
                      <a:pt x="7781" y="9189"/>
                    </a:cubicBezTo>
                    <a:cubicBezTo>
                      <a:pt x="7701" y="9106"/>
                      <a:pt x="7701" y="9106"/>
                      <a:pt x="7701" y="9106"/>
                    </a:cubicBezTo>
                    <a:cubicBezTo>
                      <a:pt x="7651" y="9156"/>
                      <a:pt x="7651" y="9156"/>
                      <a:pt x="7651" y="9156"/>
                    </a:cubicBezTo>
                    <a:cubicBezTo>
                      <a:pt x="7659" y="9164"/>
                      <a:pt x="7659" y="9164"/>
                      <a:pt x="7659" y="9164"/>
                    </a:cubicBezTo>
                    <a:cubicBezTo>
                      <a:pt x="7664" y="9169"/>
                      <a:pt x="7664" y="9169"/>
                      <a:pt x="7664" y="9169"/>
                    </a:cubicBezTo>
                    <a:cubicBezTo>
                      <a:pt x="7628" y="9203"/>
                      <a:pt x="7628" y="9203"/>
                      <a:pt x="7628" y="9203"/>
                    </a:cubicBezTo>
                    <a:cubicBezTo>
                      <a:pt x="7746" y="9328"/>
                      <a:pt x="7746" y="9328"/>
                      <a:pt x="7746" y="9328"/>
                    </a:cubicBezTo>
                    <a:cubicBezTo>
                      <a:pt x="7782" y="9294"/>
                      <a:pt x="7782" y="9294"/>
                      <a:pt x="7782" y="9294"/>
                    </a:cubicBezTo>
                    <a:lnTo>
                      <a:pt x="7729" y="9240"/>
                    </a:lnTo>
                    <a:close/>
                    <a:moveTo>
                      <a:pt x="4759" y="10106"/>
                    </a:moveTo>
                    <a:cubicBezTo>
                      <a:pt x="4747" y="9852"/>
                      <a:pt x="4747" y="9852"/>
                      <a:pt x="4747" y="9852"/>
                    </a:cubicBezTo>
                    <a:cubicBezTo>
                      <a:pt x="4831" y="9849"/>
                      <a:pt x="4831" y="9849"/>
                      <a:pt x="4831" y="9849"/>
                    </a:cubicBezTo>
                    <a:cubicBezTo>
                      <a:pt x="4843" y="10109"/>
                      <a:pt x="4843" y="10109"/>
                      <a:pt x="4843" y="10109"/>
                    </a:cubicBezTo>
                    <a:cubicBezTo>
                      <a:pt x="4759" y="10112"/>
                      <a:pt x="4759" y="10112"/>
                      <a:pt x="4759" y="10112"/>
                    </a:cubicBezTo>
                    <a:lnTo>
                      <a:pt x="4759" y="10106"/>
                    </a:lnTo>
                    <a:close/>
                    <a:moveTo>
                      <a:pt x="4761" y="9865"/>
                    </a:moveTo>
                    <a:cubicBezTo>
                      <a:pt x="4772" y="10099"/>
                      <a:pt x="4772" y="10099"/>
                      <a:pt x="4772" y="10099"/>
                    </a:cubicBezTo>
                    <a:cubicBezTo>
                      <a:pt x="4829" y="10096"/>
                      <a:pt x="4829" y="10096"/>
                      <a:pt x="4829" y="10096"/>
                    </a:cubicBezTo>
                    <a:cubicBezTo>
                      <a:pt x="4819" y="9862"/>
                      <a:pt x="4819" y="9862"/>
                      <a:pt x="4819" y="9862"/>
                    </a:cubicBezTo>
                    <a:lnTo>
                      <a:pt x="4761" y="9865"/>
                    </a:lnTo>
                    <a:close/>
                    <a:moveTo>
                      <a:pt x="2612" y="10012"/>
                    </a:moveTo>
                    <a:cubicBezTo>
                      <a:pt x="2615" y="10013"/>
                      <a:pt x="2687" y="10061"/>
                      <a:pt x="2687" y="10061"/>
                    </a:cubicBezTo>
                    <a:cubicBezTo>
                      <a:pt x="2699" y="10069"/>
                      <a:pt x="2699" y="10069"/>
                      <a:pt x="2699" y="10069"/>
                    </a:cubicBezTo>
                    <a:cubicBezTo>
                      <a:pt x="2685" y="10074"/>
                      <a:pt x="2685" y="10074"/>
                      <a:pt x="2685" y="10074"/>
                    </a:cubicBezTo>
                    <a:cubicBezTo>
                      <a:pt x="2685" y="10074"/>
                      <a:pt x="2581" y="10110"/>
                      <a:pt x="2465" y="10110"/>
                    </a:cubicBezTo>
                    <a:cubicBezTo>
                      <a:pt x="2459" y="10110"/>
                      <a:pt x="2453" y="10110"/>
                      <a:pt x="2447" y="10110"/>
                    </a:cubicBezTo>
                    <a:cubicBezTo>
                      <a:pt x="2324" y="10106"/>
                      <a:pt x="2224" y="10077"/>
                      <a:pt x="2224" y="10077"/>
                    </a:cubicBezTo>
                    <a:cubicBezTo>
                      <a:pt x="2218" y="10076"/>
                      <a:pt x="2218" y="10076"/>
                      <a:pt x="2218" y="10076"/>
                    </a:cubicBezTo>
                    <a:cubicBezTo>
                      <a:pt x="2265" y="9517"/>
                      <a:pt x="2265" y="9517"/>
                      <a:pt x="2265" y="9517"/>
                    </a:cubicBezTo>
                    <a:cubicBezTo>
                      <a:pt x="2313" y="9529"/>
                      <a:pt x="2313" y="9529"/>
                      <a:pt x="2313" y="9529"/>
                    </a:cubicBezTo>
                    <a:cubicBezTo>
                      <a:pt x="2449" y="9940"/>
                      <a:pt x="2449" y="9940"/>
                      <a:pt x="2449" y="9940"/>
                    </a:cubicBezTo>
                    <a:cubicBezTo>
                      <a:pt x="2454" y="9945"/>
                      <a:pt x="2471" y="9958"/>
                      <a:pt x="2496" y="9972"/>
                    </a:cubicBezTo>
                    <a:cubicBezTo>
                      <a:pt x="2525" y="9989"/>
                      <a:pt x="2566" y="10007"/>
                      <a:pt x="2609" y="10011"/>
                    </a:cubicBezTo>
                    <a:cubicBezTo>
                      <a:pt x="2609" y="10011"/>
                      <a:pt x="2609" y="10011"/>
                      <a:pt x="2609" y="10011"/>
                    </a:cubicBezTo>
                    <a:cubicBezTo>
                      <a:pt x="2612" y="10011"/>
                      <a:pt x="2612" y="10012"/>
                      <a:pt x="2612" y="10012"/>
                    </a:cubicBezTo>
                    <a:close/>
                    <a:moveTo>
                      <a:pt x="2617" y="10032"/>
                    </a:moveTo>
                    <a:cubicBezTo>
                      <a:pt x="2613" y="10030"/>
                      <a:pt x="2610" y="10028"/>
                      <a:pt x="2608" y="10027"/>
                    </a:cubicBezTo>
                    <a:cubicBezTo>
                      <a:pt x="2608" y="10026"/>
                      <a:pt x="2607" y="10026"/>
                      <a:pt x="2607" y="10026"/>
                    </a:cubicBezTo>
                    <a:cubicBezTo>
                      <a:pt x="2514" y="10016"/>
                      <a:pt x="2438" y="9951"/>
                      <a:pt x="2438" y="9950"/>
                    </a:cubicBezTo>
                    <a:cubicBezTo>
                      <a:pt x="2436" y="9949"/>
                      <a:pt x="2436" y="9949"/>
                      <a:pt x="2436" y="9949"/>
                    </a:cubicBezTo>
                    <a:cubicBezTo>
                      <a:pt x="2302" y="9541"/>
                      <a:pt x="2302" y="9541"/>
                      <a:pt x="2302" y="9541"/>
                    </a:cubicBezTo>
                    <a:cubicBezTo>
                      <a:pt x="2278" y="9535"/>
                      <a:pt x="2278" y="9535"/>
                      <a:pt x="2278" y="9535"/>
                    </a:cubicBezTo>
                    <a:cubicBezTo>
                      <a:pt x="2234" y="10065"/>
                      <a:pt x="2234" y="10065"/>
                      <a:pt x="2234" y="10065"/>
                    </a:cubicBezTo>
                    <a:cubicBezTo>
                      <a:pt x="2257" y="10071"/>
                      <a:pt x="2344" y="10092"/>
                      <a:pt x="2448" y="10095"/>
                    </a:cubicBezTo>
                    <a:cubicBezTo>
                      <a:pt x="2453" y="10095"/>
                      <a:pt x="2459" y="10095"/>
                      <a:pt x="2465" y="10095"/>
                    </a:cubicBezTo>
                    <a:cubicBezTo>
                      <a:pt x="2521" y="10095"/>
                      <a:pt x="2575" y="10087"/>
                      <a:pt x="2615" y="10078"/>
                    </a:cubicBezTo>
                    <a:cubicBezTo>
                      <a:pt x="2637" y="10073"/>
                      <a:pt x="2655" y="10068"/>
                      <a:pt x="2666" y="10065"/>
                    </a:cubicBezTo>
                    <a:cubicBezTo>
                      <a:pt x="2659" y="10060"/>
                      <a:pt x="2651" y="10055"/>
                      <a:pt x="2642" y="10049"/>
                    </a:cubicBezTo>
                    <a:cubicBezTo>
                      <a:pt x="2633" y="10043"/>
                      <a:pt x="2624" y="10037"/>
                      <a:pt x="2617" y="10032"/>
                    </a:cubicBezTo>
                    <a:close/>
                    <a:moveTo>
                      <a:pt x="4799" y="9293"/>
                    </a:moveTo>
                    <a:cubicBezTo>
                      <a:pt x="4810" y="9553"/>
                      <a:pt x="4810" y="9553"/>
                      <a:pt x="4810" y="9553"/>
                    </a:cubicBezTo>
                    <a:cubicBezTo>
                      <a:pt x="4726" y="9556"/>
                      <a:pt x="4726" y="9556"/>
                      <a:pt x="4726" y="9556"/>
                    </a:cubicBezTo>
                    <a:cubicBezTo>
                      <a:pt x="4726" y="9550"/>
                      <a:pt x="4726" y="9550"/>
                      <a:pt x="4726" y="9550"/>
                    </a:cubicBezTo>
                    <a:cubicBezTo>
                      <a:pt x="4715" y="9297"/>
                      <a:pt x="4715" y="9297"/>
                      <a:pt x="4715" y="9297"/>
                    </a:cubicBezTo>
                    <a:lnTo>
                      <a:pt x="4799" y="9293"/>
                    </a:lnTo>
                    <a:close/>
                    <a:moveTo>
                      <a:pt x="4797" y="9540"/>
                    </a:moveTo>
                    <a:cubicBezTo>
                      <a:pt x="4786" y="9307"/>
                      <a:pt x="4786" y="9307"/>
                      <a:pt x="4786" y="9307"/>
                    </a:cubicBezTo>
                    <a:cubicBezTo>
                      <a:pt x="4728" y="9309"/>
                      <a:pt x="4728" y="9309"/>
                      <a:pt x="4728" y="9309"/>
                    </a:cubicBezTo>
                    <a:cubicBezTo>
                      <a:pt x="4739" y="9543"/>
                      <a:pt x="4739" y="9543"/>
                      <a:pt x="4739" y="9543"/>
                    </a:cubicBezTo>
                    <a:lnTo>
                      <a:pt x="4797" y="9540"/>
                    </a:lnTo>
                    <a:close/>
                    <a:moveTo>
                      <a:pt x="5573" y="9448"/>
                    </a:moveTo>
                    <a:cubicBezTo>
                      <a:pt x="5430" y="9423"/>
                      <a:pt x="5430" y="9423"/>
                      <a:pt x="5430" y="9423"/>
                    </a:cubicBezTo>
                    <a:cubicBezTo>
                      <a:pt x="5442" y="9352"/>
                      <a:pt x="5442" y="9352"/>
                      <a:pt x="5442" y="9352"/>
                    </a:cubicBezTo>
                    <a:cubicBezTo>
                      <a:pt x="5591" y="9379"/>
                      <a:pt x="5591" y="9379"/>
                      <a:pt x="5591" y="9379"/>
                    </a:cubicBezTo>
                    <a:cubicBezTo>
                      <a:pt x="5579" y="9449"/>
                      <a:pt x="5579" y="9449"/>
                      <a:pt x="5579" y="9449"/>
                    </a:cubicBezTo>
                    <a:lnTo>
                      <a:pt x="5573" y="9448"/>
                    </a:lnTo>
                    <a:close/>
                    <a:moveTo>
                      <a:pt x="5569" y="9434"/>
                    </a:moveTo>
                    <a:cubicBezTo>
                      <a:pt x="5577" y="9389"/>
                      <a:pt x="5577" y="9389"/>
                      <a:pt x="5577" y="9389"/>
                    </a:cubicBezTo>
                    <a:cubicBezTo>
                      <a:pt x="5453" y="9367"/>
                      <a:pt x="5453" y="9367"/>
                      <a:pt x="5453" y="9367"/>
                    </a:cubicBezTo>
                    <a:cubicBezTo>
                      <a:pt x="5445" y="9412"/>
                      <a:pt x="5445" y="9412"/>
                      <a:pt x="5445" y="9412"/>
                    </a:cubicBezTo>
                    <a:lnTo>
                      <a:pt x="5569" y="9434"/>
                    </a:lnTo>
                    <a:close/>
                    <a:moveTo>
                      <a:pt x="4413" y="9519"/>
                    </a:moveTo>
                    <a:cubicBezTo>
                      <a:pt x="4341" y="9543"/>
                      <a:pt x="4341" y="9543"/>
                      <a:pt x="4341" y="9543"/>
                    </a:cubicBezTo>
                    <a:cubicBezTo>
                      <a:pt x="4339" y="9536"/>
                      <a:pt x="4339" y="9536"/>
                      <a:pt x="4339" y="9536"/>
                    </a:cubicBezTo>
                    <a:cubicBezTo>
                      <a:pt x="4281" y="9353"/>
                      <a:pt x="4281" y="9353"/>
                      <a:pt x="4281" y="9353"/>
                    </a:cubicBezTo>
                    <a:cubicBezTo>
                      <a:pt x="4328" y="9338"/>
                      <a:pt x="4328" y="9338"/>
                      <a:pt x="4328" y="9338"/>
                    </a:cubicBezTo>
                    <a:cubicBezTo>
                      <a:pt x="4325" y="9327"/>
                      <a:pt x="4325" y="9327"/>
                      <a:pt x="4325" y="9327"/>
                    </a:cubicBezTo>
                    <a:cubicBezTo>
                      <a:pt x="4322" y="9321"/>
                      <a:pt x="4322" y="9321"/>
                      <a:pt x="4322" y="9321"/>
                    </a:cubicBezTo>
                    <a:cubicBezTo>
                      <a:pt x="4414" y="9290"/>
                      <a:pt x="4414" y="9290"/>
                      <a:pt x="4414" y="9290"/>
                    </a:cubicBezTo>
                    <a:cubicBezTo>
                      <a:pt x="4459" y="9424"/>
                      <a:pt x="4459" y="9424"/>
                      <a:pt x="4459" y="9424"/>
                    </a:cubicBezTo>
                    <a:cubicBezTo>
                      <a:pt x="4389" y="9447"/>
                      <a:pt x="4389" y="9447"/>
                      <a:pt x="4389" y="9447"/>
                    </a:cubicBezTo>
                    <a:lnTo>
                      <a:pt x="4413" y="9519"/>
                    </a:lnTo>
                    <a:close/>
                    <a:moveTo>
                      <a:pt x="4349" y="9526"/>
                    </a:moveTo>
                    <a:cubicBezTo>
                      <a:pt x="4396" y="9511"/>
                      <a:pt x="4396" y="9511"/>
                      <a:pt x="4396" y="9511"/>
                    </a:cubicBezTo>
                    <a:cubicBezTo>
                      <a:pt x="4373" y="9439"/>
                      <a:pt x="4373" y="9439"/>
                      <a:pt x="4373" y="9439"/>
                    </a:cubicBezTo>
                    <a:cubicBezTo>
                      <a:pt x="4442" y="9416"/>
                      <a:pt x="4442" y="9416"/>
                      <a:pt x="4442" y="9416"/>
                    </a:cubicBezTo>
                    <a:cubicBezTo>
                      <a:pt x="4406" y="9307"/>
                      <a:pt x="4406" y="9307"/>
                      <a:pt x="4406" y="9307"/>
                    </a:cubicBezTo>
                    <a:cubicBezTo>
                      <a:pt x="4339" y="9329"/>
                      <a:pt x="4339" y="9329"/>
                      <a:pt x="4339" y="9329"/>
                    </a:cubicBezTo>
                    <a:cubicBezTo>
                      <a:pt x="4343" y="9340"/>
                      <a:pt x="4343" y="9340"/>
                      <a:pt x="4343" y="9340"/>
                    </a:cubicBezTo>
                    <a:cubicBezTo>
                      <a:pt x="4345" y="9346"/>
                      <a:pt x="4345" y="9346"/>
                      <a:pt x="4345" y="9346"/>
                    </a:cubicBezTo>
                    <a:cubicBezTo>
                      <a:pt x="4298" y="9362"/>
                      <a:pt x="4298" y="9362"/>
                      <a:pt x="4298" y="9362"/>
                    </a:cubicBezTo>
                    <a:lnTo>
                      <a:pt x="4349" y="9526"/>
                    </a:lnTo>
                    <a:close/>
                    <a:moveTo>
                      <a:pt x="2400" y="9273"/>
                    </a:moveTo>
                    <a:cubicBezTo>
                      <a:pt x="2640" y="9917"/>
                      <a:pt x="2640" y="9917"/>
                      <a:pt x="2640" y="9917"/>
                    </a:cubicBezTo>
                    <a:cubicBezTo>
                      <a:pt x="2627" y="9915"/>
                      <a:pt x="2627" y="9915"/>
                      <a:pt x="2627" y="9915"/>
                    </a:cubicBezTo>
                    <a:cubicBezTo>
                      <a:pt x="2627" y="9915"/>
                      <a:pt x="2517" y="9897"/>
                      <a:pt x="2476" y="9842"/>
                    </a:cubicBezTo>
                    <a:cubicBezTo>
                      <a:pt x="2476" y="9842"/>
                      <a:pt x="2476" y="9842"/>
                      <a:pt x="2476" y="9842"/>
                    </a:cubicBezTo>
                    <a:cubicBezTo>
                      <a:pt x="2475" y="9841"/>
                      <a:pt x="2475" y="9841"/>
                      <a:pt x="2475" y="9841"/>
                    </a:cubicBezTo>
                    <a:cubicBezTo>
                      <a:pt x="2475" y="9839"/>
                      <a:pt x="2364" y="9503"/>
                      <a:pt x="2351" y="9463"/>
                    </a:cubicBezTo>
                    <a:cubicBezTo>
                      <a:pt x="2270" y="9442"/>
                      <a:pt x="2270" y="9442"/>
                      <a:pt x="2270" y="9442"/>
                    </a:cubicBezTo>
                    <a:cubicBezTo>
                      <a:pt x="2243" y="9344"/>
                      <a:pt x="2243" y="9344"/>
                      <a:pt x="2243" y="9344"/>
                    </a:cubicBezTo>
                    <a:lnTo>
                      <a:pt x="2400" y="9273"/>
                    </a:lnTo>
                    <a:close/>
                    <a:moveTo>
                      <a:pt x="2617" y="9898"/>
                    </a:moveTo>
                    <a:cubicBezTo>
                      <a:pt x="2392" y="9293"/>
                      <a:pt x="2392" y="9293"/>
                      <a:pt x="2392" y="9293"/>
                    </a:cubicBezTo>
                    <a:cubicBezTo>
                      <a:pt x="2261" y="9353"/>
                      <a:pt x="2261" y="9353"/>
                      <a:pt x="2261" y="9353"/>
                    </a:cubicBezTo>
                    <a:cubicBezTo>
                      <a:pt x="2282" y="9430"/>
                      <a:pt x="2282" y="9430"/>
                      <a:pt x="2282" y="9430"/>
                    </a:cubicBezTo>
                    <a:cubicBezTo>
                      <a:pt x="2362" y="9451"/>
                      <a:pt x="2362" y="9451"/>
                      <a:pt x="2362" y="9451"/>
                    </a:cubicBezTo>
                    <a:cubicBezTo>
                      <a:pt x="2364" y="9455"/>
                      <a:pt x="2364" y="9455"/>
                      <a:pt x="2364" y="9455"/>
                    </a:cubicBezTo>
                    <a:cubicBezTo>
                      <a:pt x="2364" y="9455"/>
                      <a:pt x="2482" y="9814"/>
                      <a:pt x="2489" y="9835"/>
                    </a:cubicBezTo>
                    <a:cubicBezTo>
                      <a:pt x="2506" y="9858"/>
                      <a:pt x="2541" y="9875"/>
                      <a:pt x="2572" y="9885"/>
                    </a:cubicBezTo>
                    <a:cubicBezTo>
                      <a:pt x="2590" y="9891"/>
                      <a:pt x="2606" y="9896"/>
                      <a:pt x="2617" y="9898"/>
                    </a:cubicBezTo>
                    <a:close/>
                    <a:moveTo>
                      <a:pt x="5432" y="9680"/>
                    </a:moveTo>
                    <a:cubicBezTo>
                      <a:pt x="5583" y="9683"/>
                      <a:pt x="5583" y="9683"/>
                      <a:pt x="5583" y="9683"/>
                    </a:cubicBezTo>
                    <a:cubicBezTo>
                      <a:pt x="5582" y="9754"/>
                      <a:pt x="5582" y="9754"/>
                      <a:pt x="5582" y="9754"/>
                    </a:cubicBezTo>
                    <a:cubicBezTo>
                      <a:pt x="5576" y="9754"/>
                      <a:pt x="5576" y="9754"/>
                      <a:pt x="5576" y="9754"/>
                    </a:cubicBezTo>
                    <a:cubicBezTo>
                      <a:pt x="5431" y="9752"/>
                      <a:pt x="5431" y="9752"/>
                      <a:pt x="5431" y="9752"/>
                    </a:cubicBezTo>
                    <a:lnTo>
                      <a:pt x="5432" y="9680"/>
                    </a:lnTo>
                    <a:close/>
                    <a:moveTo>
                      <a:pt x="5444" y="9739"/>
                    </a:moveTo>
                    <a:cubicBezTo>
                      <a:pt x="5569" y="9741"/>
                      <a:pt x="5569" y="9741"/>
                      <a:pt x="5569" y="9741"/>
                    </a:cubicBezTo>
                    <a:cubicBezTo>
                      <a:pt x="5570" y="9695"/>
                      <a:pt x="5570" y="9695"/>
                      <a:pt x="5570" y="9695"/>
                    </a:cubicBezTo>
                    <a:cubicBezTo>
                      <a:pt x="5445" y="9693"/>
                      <a:pt x="5445" y="9693"/>
                      <a:pt x="5445" y="9693"/>
                    </a:cubicBezTo>
                    <a:lnTo>
                      <a:pt x="5444" y="9739"/>
                    </a:lnTo>
                    <a:close/>
                    <a:moveTo>
                      <a:pt x="1912" y="10206"/>
                    </a:moveTo>
                    <a:cubicBezTo>
                      <a:pt x="2073" y="10156"/>
                      <a:pt x="2073" y="10156"/>
                      <a:pt x="2073" y="10156"/>
                    </a:cubicBezTo>
                    <a:cubicBezTo>
                      <a:pt x="2041" y="10323"/>
                      <a:pt x="2041" y="10323"/>
                      <a:pt x="2041" y="10323"/>
                    </a:cubicBezTo>
                    <a:cubicBezTo>
                      <a:pt x="1914" y="10369"/>
                      <a:pt x="1914" y="10369"/>
                      <a:pt x="1914" y="10369"/>
                    </a:cubicBezTo>
                    <a:cubicBezTo>
                      <a:pt x="1778" y="10506"/>
                      <a:pt x="1778" y="10506"/>
                      <a:pt x="1778" y="10506"/>
                    </a:cubicBezTo>
                    <a:cubicBezTo>
                      <a:pt x="1653" y="10433"/>
                      <a:pt x="1653" y="10433"/>
                      <a:pt x="1653" y="10433"/>
                    </a:cubicBezTo>
                    <a:cubicBezTo>
                      <a:pt x="1668" y="10203"/>
                      <a:pt x="1668" y="10203"/>
                      <a:pt x="1668" y="10203"/>
                    </a:cubicBezTo>
                    <a:cubicBezTo>
                      <a:pt x="1810" y="10146"/>
                      <a:pt x="1810" y="10146"/>
                      <a:pt x="1810" y="10146"/>
                    </a:cubicBezTo>
                    <a:cubicBezTo>
                      <a:pt x="1798" y="10288"/>
                      <a:pt x="1798" y="10288"/>
                      <a:pt x="1798" y="10288"/>
                    </a:cubicBezTo>
                    <a:lnTo>
                      <a:pt x="1912" y="10206"/>
                    </a:lnTo>
                    <a:close/>
                    <a:moveTo>
                      <a:pt x="1918" y="10219"/>
                    </a:moveTo>
                    <a:cubicBezTo>
                      <a:pt x="1806" y="10299"/>
                      <a:pt x="1806" y="10299"/>
                      <a:pt x="1806" y="10299"/>
                    </a:cubicBezTo>
                    <a:cubicBezTo>
                      <a:pt x="1781" y="10317"/>
                      <a:pt x="1781" y="10317"/>
                      <a:pt x="1781" y="10317"/>
                    </a:cubicBezTo>
                    <a:cubicBezTo>
                      <a:pt x="1784" y="10287"/>
                      <a:pt x="1784" y="10287"/>
                      <a:pt x="1784" y="10287"/>
                    </a:cubicBezTo>
                    <a:cubicBezTo>
                      <a:pt x="1794" y="10167"/>
                      <a:pt x="1794" y="10167"/>
                      <a:pt x="1794" y="10167"/>
                    </a:cubicBezTo>
                    <a:cubicBezTo>
                      <a:pt x="1681" y="10212"/>
                      <a:pt x="1681" y="10212"/>
                      <a:pt x="1681" y="10212"/>
                    </a:cubicBezTo>
                    <a:cubicBezTo>
                      <a:pt x="1668" y="10425"/>
                      <a:pt x="1668" y="10425"/>
                      <a:pt x="1668" y="10425"/>
                    </a:cubicBezTo>
                    <a:cubicBezTo>
                      <a:pt x="1776" y="10489"/>
                      <a:pt x="1776" y="10489"/>
                      <a:pt x="1776" y="10489"/>
                    </a:cubicBezTo>
                    <a:cubicBezTo>
                      <a:pt x="1904" y="10359"/>
                      <a:pt x="1904" y="10359"/>
                      <a:pt x="1904" y="10359"/>
                    </a:cubicBezTo>
                    <a:cubicBezTo>
                      <a:pt x="1906" y="10357"/>
                      <a:pt x="1906" y="10357"/>
                      <a:pt x="1906" y="10357"/>
                    </a:cubicBezTo>
                    <a:cubicBezTo>
                      <a:pt x="1909" y="10356"/>
                      <a:pt x="1909" y="10356"/>
                      <a:pt x="1909" y="10356"/>
                    </a:cubicBezTo>
                    <a:cubicBezTo>
                      <a:pt x="2028" y="10312"/>
                      <a:pt x="2028" y="10312"/>
                      <a:pt x="2028" y="10312"/>
                    </a:cubicBezTo>
                    <a:cubicBezTo>
                      <a:pt x="2055" y="10176"/>
                      <a:pt x="2055" y="10176"/>
                      <a:pt x="2055" y="10176"/>
                    </a:cubicBezTo>
                    <a:lnTo>
                      <a:pt x="1918" y="10219"/>
                    </a:lnTo>
                    <a:close/>
                    <a:moveTo>
                      <a:pt x="5407" y="9207"/>
                    </a:moveTo>
                    <a:cubicBezTo>
                      <a:pt x="5556" y="9233"/>
                      <a:pt x="5556" y="9233"/>
                      <a:pt x="5556" y="9233"/>
                    </a:cubicBezTo>
                    <a:cubicBezTo>
                      <a:pt x="5544" y="9303"/>
                      <a:pt x="5544" y="9303"/>
                      <a:pt x="5544" y="9303"/>
                    </a:cubicBezTo>
                    <a:cubicBezTo>
                      <a:pt x="5538" y="9302"/>
                      <a:pt x="5538" y="9302"/>
                      <a:pt x="5538" y="9302"/>
                    </a:cubicBezTo>
                    <a:cubicBezTo>
                      <a:pt x="5395" y="9277"/>
                      <a:pt x="5395" y="9277"/>
                      <a:pt x="5395" y="9277"/>
                    </a:cubicBezTo>
                    <a:lnTo>
                      <a:pt x="5407" y="9207"/>
                    </a:lnTo>
                    <a:close/>
                    <a:moveTo>
                      <a:pt x="5410" y="9267"/>
                    </a:moveTo>
                    <a:cubicBezTo>
                      <a:pt x="5534" y="9288"/>
                      <a:pt x="5534" y="9288"/>
                      <a:pt x="5534" y="9288"/>
                    </a:cubicBezTo>
                    <a:cubicBezTo>
                      <a:pt x="5541" y="9243"/>
                      <a:pt x="5541" y="9243"/>
                      <a:pt x="5541" y="9243"/>
                    </a:cubicBezTo>
                    <a:cubicBezTo>
                      <a:pt x="5418" y="9221"/>
                      <a:pt x="5418" y="9221"/>
                      <a:pt x="5418" y="9221"/>
                    </a:cubicBezTo>
                    <a:lnTo>
                      <a:pt x="5410" y="9267"/>
                    </a:lnTo>
                    <a:close/>
                    <a:moveTo>
                      <a:pt x="8032" y="7550"/>
                    </a:moveTo>
                    <a:cubicBezTo>
                      <a:pt x="7929" y="7439"/>
                      <a:pt x="7929" y="7439"/>
                      <a:pt x="7929" y="7439"/>
                    </a:cubicBezTo>
                    <a:cubicBezTo>
                      <a:pt x="7985" y="7388"/>
                      <a:pt x="7985" y="7388"/>
                      <a:pt x="7985" y="7388"/>
                    </a:cubicBezTo>
                    <a:cubicBezTo>
                      <a:pt x="7989" y="7392"/>
                      <a:pt x="7989" y="7392"/>
                      <a:pt x="7989" y="7392"/>
                    </a:cubicBezTo>
                    <a:cubicBezTo>
                      <a:pt x="8088" y="7499"/>
                      <a:pt x="8088" y="7499"/>
                      <a:pt x="8088" y="7499"/>
                    </a:cubicBezTo>
                    <a:lnTo>
                      <a:pt x="8032" y="7550"/>
                    </a:lnTo>
                    <a:close/>
                    <a:moveTo>
                      <a:pt x="7948" y="7440"/>
                    </a:moveTo>
                    <a:cubicBezTo>
                      <a:pt x="8033" y="7532"/>
                      <a:pt x="8033" y="7532"/>
                      <a:pt x="8033" y="7532"/>
                    </a:cubicBezTo>
                    <a:cubicBezTo>
                      <a:pt x="8070" y="7498"/>
                      <a:pt x="8070" y="7498"/>
                      <a:pt x="8070" y="7498"/>
                    </a:cubicBezTo>
                    <a:cubicBezTo>
                      <a:pt x="7984" y="7406"/>
                      <a:pt x="7984" y="7406"/>
                      <a:pt x="7984" y="7406"/>
                    </a:cubicBezTo>
                    <a:lnTo>
                      <a:pt x="7948" y="7440"/>
                    </a:lnTo>
                    <a:close/>
                    <a:moveTo>
                      <a:pt x="5581" y="9873"/>
                    </a:moveTo>
                    <a:cubicBezTo>
                      <a:pt x="5595" y="9977"/>
                      <a:pt x="5595" y="9977"/>
                      <a:pt x="5595" y="9977"/>
                    </a:cubicBezTo>
                    <a:cubicBezTo>
                      <a:pt x="5448" y="9996"/>
                      <a:pt x="5448" y="9996"/>
                      <a:pt x="5448" y="9996"/>
                    </a:cubicBezTo>
                    <a:cubicBezTo>
                      <a:pt x="5447" y="9989"/>
                      <a:pt x="5447" y="9989"/>
                      <a:pt x="5447" y="9989"/>
                    </a:cubicBezTo>
                    <a:cubicBezTo>
                      <a:pt x="5435" y="9892"/>
                      <a:pt x="5435" y="9892"/>
                      <a:pt x="5435" y="9892"/>
                    </a:cubicBezTo>
                    <a:lnTo>
                      <a:pt x="5581" y="9873"/>
                    </a:lnTo>
                    <a:close/>
                    <a:moveTo>
                      <a:pt x="5580" y="9965"/>
                    </a:moveTo>
                    <a:cubicBezTo>
                      <a:pt x="5570" y="9888"/>
                      <a:pt x="5570" y="9888"/>
                      <a:pt x="5570" y="9888"/>
                    </a:cubicBezTo>
                    <a:cubicBezTo>
                      <a:pt x="5449" y="9903"/>
                      <a:pt x="5449" y="9903"/>
                      <a:pt x="5449" y="9903"/>
                    </a:cubicBezTo>
                    <a:cubicBezTo>
                      <a:pt x="5459" y="9981"/>
                      <a:pt x="5459" y="9981"/>
                      <a:pt x="5459" y="9981"/>
                    </a:cubicBezTo>
                    <a:lnTo>
                      <a:pt x="5580" y="9965"/>
                    </a:lnTo>
                    <a:close/>
                    <a:moveTo>
                      <a:pt x="7628" y="7535"/>
                    </a:moveTo>
                    <a:cubicBezTo>
                      <a:pt x="7712" y="7654"/>
                      <a:pt x="7712" y="7654"/>
                      <a:pt x="7712" y="7654"/>
                    </a:cubicBezTo>
                    <a:cubicBezTo>
                      <a:pt x="7650" y="7697"/>
                      <a:pt x="7650" y="7697"/>
                      <a:pt x="7650" y="7697"/>
                    </a:cubicBezTo>
                    <a:cubicBezTo>
                      <a:pt x="7563" y="7574"/>
                      <a:pt x="7563" y="7574"/>
                      <a:pt x="7563" y="7574"/>
                    </a:cubicBezTo>
                    <a:cubicBezTo>
                      <a:pt x="7625" y="7530"/>
                      <a:pt x="7625" y="7530"/>
                      <a:pt x="7625" y="7530"/>
                    </a:cubicBezTo>
                    <a:lnTo>
                      <a:pt x="7628" y="7535"/>
                    </a:lnTo>
                    <a:close/>
                    <a:moveTo>
                      <a:pt x="7693" y="7651"/>
                    </a:moveTo>
                    <a:cubicBezTo>
                      <a:pt x="7621" y="7548"/>
                      <a:pt x="7621" y="7548"/>
                      <a:pt x="7621" y="7548"/>
                    </a:cubicBezTo>
                    <a:cubicBezTo>
                      <a:pt x="7581" y="7577"/>
                      <a:pt x="7581" y="7577"/>
                      <a:pt x="7581" y="7577"/>
                    </a:cubicBezTo>
                    <a:cubicBezTo>
                      <a:pt x="7653" y="7679"/>
                      <a:pt x="7653" y="7679"/>
                      <a:pt x="7653" y="7679"/>
                    </a:cubicBezTo>
                    <a:lnTo>
                      <a:pt x="7693" y="7651"/>
                    </a:lnTo>
                    <a:close/>
                    <a:moveTo>
                      <a:pt x="7815" y="7475"/>
                    </a:moveTo>
                    <a:cubicBezTo>
                      <a:pt x="7914" y="7581"/>
                      <a:pt x="7914" y="7581"/>
                      <a:pt x="7914" y="7581"/>
                    </a:cubicBezTo>
                    <a:cubicBezTo>
                      <a:pt x="7858" y="7633"/>
                      <a:pt x="7858" y="7633"/>
                      <a:pt x="7858" y="7633"/>
                    </a:cubicBezTo>
                    <a:cubicBezTo>
                      <a:pt x="7755" y="7521"/>
                      <a:pt x="7755" y="7521"/>
                      <a:pt x="7755" y="7521"/>
                    </a:cubicBezTo>
                    <a:cubicBezTo>
                      <a:pt x="7811" y="7470"/>
                      <a:pt x="7811" y="7470"/>
                      <a:pt x="7811" y="7470"/>
                    </a:cubicBezTo>
                    <a:lnTo>
                      <a:pt x="7815" y="7475"/>
                    </a:lnTo>
                    <a:close/>
                    <a:moveTo>
                      <a:pt x="7895" y="7580"/>
                    </a:moveTo>
                    <a:cubicBezTo>
                      <a:pt x="7810" y="7488"/>
                      <a:pt x="7810" y="7488"/>
                      <a:pt x="7810" y="7488"/>
                    </a:cubicBezTo>
                    <a:cubicBezTo>
                      <a:pt x="7774" y="7522"/>
                      <a:pt x="7774" y="7522"/>
                      <a:pt x="7774" y="7522"/>
                    </a:cubicBezTo>
                    <a:cubicBezTo>
                      <a:pt x="7859" y="7614"/>
                      <a:pt x="7859" y="7614"/>
                      <a:pt x="7859" y="7614"/>
                    </a:cubicBezTo>
                    <a:lnTo>
                      <a:pt x="7895" y="7580"/>
                    </a:lnTo>
                    <a:close/>
                    <a:moveTo>
                      <a:pt x="8271" y="7239"/>
                    </a:moveTo>
                    <a:cubicBezTo>
                      <a:pt x="8312" y="7176"/>
                      <a:pt x="8312" y="7176"/>
                      <a:pt x="8312" y="7176"/>
                    </a:cubicBezTo>
                    <a:cubicBezTo>
                      <a:pt x="8318" y="7180"/>
                      <a:pt x="8318" y="7180"/>
                      <a:pt x="8318" y="7180"/>
                    </a:cubicBezTo>
                    <a:cubicBezTo>
                      <a:pt x="8439" y="7259"/>
                      <a:pt x="8439" y="7259"/>
                      <a:pt x="8439" y="7259"/>
                    </a:cubicBezTo>
                    <a:cubicBezTo>
                      <a:pt x="8397" y="7322"/>
                      <a:pt x="8397" y="7322"/>
                      <a:pt x="8397" y="7322"/>
                    </a:cubicBezTo>
                    <a:lnTo>
                      <a:pt x="8271" y="7239"/>
                    </a:lnTo>
                    <a:close/>
                    <a:moveTo>
                      <a:pt x="8289" y="7236"/>
                    </a:moveTo>
                    <a:cubicBezTo>
                      <a:pt x="8394" y="7304"/>
                      <a:pt x="8394" y="7304"/>
                      <a:pt x="8394" y="7304"/>
                    </a:cubicBezTo>
                    <a:cubicBezTo>
                      <a:pt x="8421" y="7263"/>
                      <a:pt x="8421" y="7263"/>
                      <a:pt x="8421" y="7263"/>
                    </a:cubicBezTo>
                    <a:cubicBezTo>
                      <a:pt x="8316" y="7194"/>
                      <a:pt x="8316" y="7194"/>
                      <a:pt x="8316" y="7194"/>
                    </a:cubicBezTo>
                    <a:lnTo>
                      <a:pt x="8289" y="7236"/>
                    </a:lnTo>
                    <a:close/>
                    <a:moveTo>
                      <a:pt x="8447" y="7121"/>
                    </a:moveTo>
                    <a:cubicBezTo>
                      <a:pt x="8378" y="7090"/>
                      <a:pt x="8378" y="7090"/>
                      <a:pt x="8378" y="7090"/>
                    </a:cubicBezTo>
                    <a:cubicBezTo>
                      <a:pt x="8439" y="6951"/>
                      <a:pt x="8439" y="6951"/>
                      <a:pt x="8439" y="6951"/>
                    </a:cubicBezTo>
                    <a:cubicBezTo>
                      <a:pt x="8508" y="6982"/>
                      <a:pt x="8508" y="6982"/>
                      <a:pt x="8508" y="6982"/>
                    </a:cubicBezTo>
                    <a:cubicBezTo>
                      <a:pt x="8506" y="6988"/>
                      <a:pt x="8506" y="6988"/>
                      <a:pt x="8506" y="6988"/>
                    </a:cubicBezTo>
                    <a:lnTo>
                      <a:pt x="8447" y="7121"/>
                    </a:lnTo>
                    <a:close/>
                    <a:moveTo>
                      <a:pt x="8440" y="7103"/>
                    </a:moveTo>
                    <a:cubicBezTo>
                      <a:pt x="8491" y="6989"/>
                      <a:pt x="8491" y="6989"/>
                      <a:pt x="8491" y="6989"/>
                    </a:cubicBezTo>
                    <a:cubicBezTo>
                      <a:pt x="8446" y="6969"/>
                      <a:pt x="8446" y="6969"/>
                      <a:pt x="8446" y="6969"/>
                    </a:cubicBezTo>
                    <a:cubicBezTo>
                      <a:pt x="8395" y="7083"/>
                      <a:pt x="8395" y="7083"/>
                      <a:pt x="8395" y="7083"/>
                    </a:cubicBezTo>
                    <a:lnTo>
                      <a:pt x="8440" y="7103"/>
                    </a:lnTo>
                    <a:close/>
                    <a:moveTo>
                      <a:pt x="4309" y="10821"/>
                    </a:moveTo>
                    <a:cubicBezTo>
                      <a:pt x="4335" y="10821"/>
                      <a:pt x="4335" y="10821"/>
                      <a:pt x="4335" y="10821"/>
                    </a:cubicBezTo>
                    <a:cubicBezTo>
                      <a:pt x="4403" y="10772"/>
                      <a:pt x="4403" y="10772"/>
                      <a:pt x="4403" y="10772"/>
                    </a:cubicBezTo>
                    <a:cubicBezTo>
                      <a:pt x="4430" y="10821"/>
                      <a:pt x="4430" y="10821"/>
                      <a:pt x="4430" y="10821"/>
                    </a:cubicBezTo>
                    <a:cubicBezTo>
                      <a:pt x="4447" y="10821"/>
                      <a:pt x="4447" y="10821"/>
                      <a:pt x="4447" y="10821"/>
                    </a:cubicBezTo>
                    <a:cubicBezTo>
                      <a:pt x="4408" y="10751"/>
                      <a:pt x="4408" y="10751"/>
                      <a:pt x="4408" y="10751"/>
                    </a:cubicBezTo>
                    <a:lnTo>
                      <a:pt x="4309" y="10821"/>
                    </a:lnTo>
                    <a:close/>
                    <a:moveTo>
                      <a:pt x="1240" y="7451"/>
                    </a:moveTo>
                    <a:cubicBezTo>
                      <a:pt x="1238" y="7451"/>
                      <a:pt x="1109" y="7335"/>
                      <a:pt x="1109" y="7335"/>
                    </a:cubicBezTo>
                    <a:cubicBezTo>
                      <a:pt x="1164" y="7268"/>
                      <a:pt x="1164" y="7268"/>
                      <a:pt x="1164" y="7268"/>
                    </a:cubicBezTo>
                    <a:cubicBezTo>
                      <a:pt x="1297" y="7387"/>
                      <a:pt x="1297" y="7387"/>
                      <a:pt x="1297" y="7387"/>
                    </a:cubicBezTo>
                    <a:lnTo>
                      <a:pt x="1240" y="7451"/>
                    </a:lnTo>
                    <a:close/>
                    <a:moveTo>
                      <a:pt x="1239" y="7431"/>
                    </a:moveTo>
                    <a:cubicBezTo>
                      <a:pt x="1278" y="7388"/>
                      <a:pt x="1278" y="7388"/>
                      <a:pt x="1278" y="7388"/>
                    </a:cubicBezTo>
                    <a:cubicBezTo>
                      <a:pt x="1166" y="7288"/>
                      <a:pt x="1166" y="7288"/>
                      <a:pt x="1166" y="7288"/>
                    </a:cubicBezTo>
                    <a:cubicBezTo>
                      <a:pt x="1128" y="7333"/>
                      <a:pt x="1128" y="7333"/>
                      <a:pt x="1128" y="7333"/>
                    </a:cubicBezTo>
                    <a:cubicBezTo>
                      <a:pt x="1166" y="7367"/>
                      <a:pt x="1218" y="7413"/>
                      <a:pt x="1239" y="7431"/>
                    </a:cubicBezTo>
                    <a:close/>
                    <a:moveTo>
                      <a:pt x="7503" y="7712"/>
                    </a:moveTo>
                    <a:cubicBezTo>
                      <a:pt x="7359" y="7695"/>
                      <a:pt x="7359" y="7695"/>
                      <a:pt x="7359" y="7695"/>
                    </a:cubicBezTo>
                    <a:cubicBezTo>
                      <a:pt x="7368" y="7619"/>
                      <a:pt x="7368" y="7619"/>
                      <a:pt x="7368" y="7619"/>
                    </a:cubicBezTo>
                    <a:cubicBezTo>
                      <a:pt x="7518" y="7638"/>
                      <a:pt x="7518" y="7638"/>
                      <a:pt x="7518" y="7638"/>
                    </a:cubicBezTo>
                    <a:cubicBezTo>
                      <a:pt x="7509" y="7713"/>
                      <a:pt x="7509" y="7713"/>
                      <a:pt x="7509" y="7713"/>
                    </a:cubicBezTo>
                    <a:lnTo>
                      <a:pt x="7503" y="7712"/>
                    </a:lnTo>
                    <a:close/>
                    <a:moveTo>
                      <a:pt x="7498" y="7698"/>
                    </a:moveTo>
                    <a:cubicBezTo>
                      <a:pt x="7504" y="7649"/>
                      <a:pt x="7504" y="7649"/>
                      <a:pt x="7504" y="7649"/>
                    </a:cubicBezTo>
                    <a:cubicBezTo>
                      <a:pt x="7379" y="7634"/>
                      <a:pt x="7379" y="7634"/>
                      <a:pt x="7379" y="7634"/>
                    </a:cubicBezTo>
                    <a:cubicBezTo>
                      <a:pt x="7373" y="7683"/>
                      <a:pt x="7373" y="7683"/>
                      <a:pt x="7373" y="7683"/>
                    </a:cubicBezTo>
                    <a:lnTo>
                      <a:pt x="7498" y="7698"/>
                    </a:lnTo>
                    <a:close/>
                    <a:moveTo>
                      <a:pt x="535" y="8037"/>
                    </a:moveTo>
                    <a:cubicBezTo>
                      <a:pt x="688" y="7864"/>
                      <a:pt x="688" y="7864"/>
                      <a:pt x="688" y="7864"/>
                    </a:cubicBezTo>
                    <a:cubicBezTo>
                      <a:pt x="867" y="8032"/>
                      <a:pt x="867" y="8032"/>
                      <a:pt x="867" y="8032"/>
                    </a:cubicBezTo>
                    <a:cubicBezTo>
                      <a:pt x="862" y="8037"/>
                      <a:pt x="862" y="8037"/>
                      <a:pt x="862" y="8037"/>
                    </a:cubicBezTo>
                    <a:cubicBezTo>
                      <a:pt x="814" y="8088"/>
                      <a:pt x="814" y="8088"/>
                      <a:pt x="814" y="8088"/>
                    </a:cubicBezTo>
                    <a:cubicBezTo>
                      <a:pt x="758" y="8032"/>
                      <a:pt x="758" y="8032"/>
                      <a:pt x="758" y="8032"/>
                    </a:cubicBezTo>
                    <a:cubicBezTo>
                      <a:pt x="721" y="8153"/>
                      <a:pt x="721" y="8153"/>
                      <a:pt x="721" y="8153"/>
                    </a:cubicBezTo>
                    <a:cubicBezTo>
                      <a:pt x="706" y="8152"/>
                      <a:pt x="706" y="8152"/>
                      <a:pt x="706" y="8152"/>
                    </a:cubicBezTo>
                    <a:cubicBezTo>
                      <a:pt x="685" y="8024"/>
                      <a:pt x="685" y="8024"/>
                      <a:pt x="685" y="8024"/>
                    </a:cubicBezTo>
                    <a:cubicBezTo>
                      <a:pt x="616" y="8123"/>
                      <a:pt x="616" y="8123"/>
                      <a:pt x="616" y="8123"/>
                    </a:cubicBezTo>
                    <a:lnTo>
                      <a:pt x="535" y="8037"/>
                    </a:lnTo>
                    <a:close/>
                    <a:moveTo>
                      <a:pt x="555" y="8036"/>
                    </a:moveTo>
                    <a:cubicBezTo>
                      <a:pt x="614" y="8100"/>
                      <a:pt x="614" y="8100"/>
                      <a:pt x="614" y="8100"/>
                    </a:cubicBezTo>
                    <a:cubicBezTo>
                      <a:pt x="694" y="7985"/>
                      <a:pt x="694" y="7985"/>
                      <a:pt x="694" y="7985"/>
                    </a:cubicBezTo>
                    <a:cubicBezTo>
                      <a:pt x="716" y="8119"/>
                      <a:pt x="716" y="8119"/>
                      <a:pt x="716" y="8119"/>
                    </a:cubicBezTo>
                    <a:cubicBezTo>
                      <a:pt x="751" y="8004"/>
                      <a:pt x="751" y="8004"/>
                      <a:pt x="751" y="8004"/>
                    </a:cubicBezTo>
                    <a:cubicBezTo>
                      <a:pt x="813" y="8066"/>
                      <a:pt x="813" y="8066"/>
                      <a:pt x="813" y="8066"/>
                    </a:cubicBezTo>
                    <a:cubicBezTo>
                      <a:pt x="846" y="8032"/>
                      <a:pt x="846" y="8032"/>
                      <a:pt x="846" y="8032"/>
                    </a:cubicBezTo>
                    <a:cubicBezTo>
                      <a:pt x="689" y="7885"/>
                      <a:pt x="689" y="7885"/>
                      <a:pt x="689" y="7885"/>
                    </a:cubicBezTo>
                    <a:lnTo>
                      <a:pt x="555" y="8036"/>
                    </a:lnTo>
                    <a:close/>
                    <a:moveTo>
                      <a:pt x="968" y="8445"/>
                    </a:moveTo>
                    <a:cubicBezTo>
                      <a:pt x="837" y="8317"/>
                      <a:pt x="837" y="8317"/>
                      <a:pt x="837" y="8317"/>
                    </a:cubicBezTo>
                    <a:cubicBezTo>
                      <a:pt x="942" y="8232"/>
                      <a:pt x="942" y="8232"/>
                      <a:pt x="942" y="8232"/>
                    </a:cubicBezTo>
                    <a:cubicBezTo>
                      <a:pt x="1019" y="8335"/>
                      <a:pt x="1019" y="8335"/>
                      <a:pt x="1019" y="8335"/>
                    </a:cubicBezTo>
                    <a:cubicBezTo>
                      <a:pt x="1017" y="8339"/>
                      <a:pt x="1017" y="8339"/>
                      <a:pt x="1017" y="8339"/>
                    </a:cubicBezTo>
                    <a:lnTo>
                      <a:pt x="968" y="8445"/>
                    </a:lnTo>
                    <a:close/>
                    <a:moveTo>
                      <a:pt x="963" y="8420"/>
                    </a:moveTo>
                    <a:cubicBezTo>
                      <a:pt x="1002" y="8336"/>
                      <a:pt x="1002" y="8336"/>
                      <a:pt x="1002" y="8336"/>
                    </a:cubicBezTo>
                    <a:cubicBezTo>
                      <a:pt x="939" y="8253"/>
                      <a:pt x="939" y="8253"/>
                      <a:pt x="939" y="8253"/>
                    </a:cubicBezTo>
                    <a:cubicBezTo>
                      <a:pt x="859" y="8318"/>
                      <a:pt x="859" y="8318"/>
                      <a:pt x="859" y="8318"/>
                    </a:cubicBezTo>
                    <a:lnTo>
                      <a:pt x="963" y="8420"/>
                    </a:lnTo>
                    <a:close/>
                    <a:moveTo>
                      <a:pt x="724" y="8400"/>
                    </a:moveTo>
                    <a:cubicBezTo>
                      <a:pt x="803" y="8354"/>
                      <a:pt x="803" y="8354"/>
                      <a:pt x="803" y="8354"/>
                    </a:cubicBezTo>
                    <a:cubicBezTo>
                      <a:pt x="934" y="8481"/>
                      <a:pt x="934" y="8481"/>
                      <a:pt x="934" y="8481"/>
                    </a:cubicBezTo>
                    <a:cubicBezTo>
                      <a:pt x="931" y="8486"/>
                      <a:pt x="931" y="8486"/>
                      <a:pt x="931" y="8486"/>
                    </a:cubicBezTo>
                    <a:cubicBezTo>
                      <a:pt x="902" y="8541"/>
                      <a:pt x="902" y="8541"/>
                      <a:pt x="902" y="8541"/>
                    </a:cubicBezTo>
                    <a:cubicBezTo>
                      <a:pt x="845" y="8545"/>
                      <a:pt x="845" y="8545"/>
                      <a:pt x="845" y="8545"/>
                    </a:cubicBezTo>
                    <a:lnTo>
                      <a:pt x="724" y="8400"/>
                    </a:lnTo>
                    <a:close/>
                    <a:moveTo>
                      <a:pt x="801" y="8372"/>
                    </a:moveTo>
                    <a:cubicBezTo>
                      <a:pt x="747" y="8404"/>
                      <a:pt x="747" y="8404"/>
                      <a:pt x="747" y="8404"/>
                    </a:cubicBezTo>
                    <a:cubicBezTo>
                      <a:pt x="851" y="8530"/>
                      <a:pt x="851" y="8530"/>
                      <a:pt x="851" y="8530"/>
                    </a:cubicBezTo>
                    <a:cubicBezTo>
                      <a:pt x="893" y="8527"/>
                      <a:pt x="893" y="8527"/>
                      <a:pt x="893" y="8527"/>
                    </a:cubicBezTo>
                    <a:cubicBezTo>
                      <a:pt x="916" y="8484"/>
                      <a:pt x="916" y="8484"/>
                      <a:pt x="916" y="8484"/>
                    </a:cubicBezTo>
                    <a:lnTo>
                      <a:pt x="801" y="8372"/>
                    </a:lnTo>
                    <a:close/>
                    <a:moveTo>
                      <a:pt x="8132" y="7310"/>
                    </a:moveTo>
                    <a:cubicBezTo>
                      <a:pt x="8253" y="7389"/>
                      <a:pt x="8253" y="7389"/>
                      <a:pt x="8253" y="7389"/>
                    </a:cubicBezTo>
                    <a:cubicBezTo>
                      <a:pt x="8212" y="7453"/>
                      <a:pt x="8212" y="7453"/>
                      <a:pt x="8212" y="7453"/>
                    </a:cubicBezTo>
                    <a:cubicBezTo>
                      <a:pt x="8085" y="7370"/>
                      <a:pt x="8085" y="7370"/>
                      <a:pt x="8085" y="7370"/>
                    </a:cubicBezTo>
                    <a:cubicBezTo>
                      <a:pt x="8126" y="7306"/>
                      <a:pt x="8126" y="7306"/>
                      <a:pt x="8126" y="7306"/>
                    </a:cubicBezTo>
                    <a:lnTo>
                      <a:pt x="8132" y="7310"/>
                    </a:lnTo>
                    <a:close/>
                    <a:moveTo>
                      <a:pt x="8235" y="7393"/>
                    </a:moveTo>
                    <a:cubicBezTo>
                      <a:pt x="8130" y="7325"/>
                      <a:pt x="8130" y="7325"/>
                      <a:pt x="8130" y="7325"/>
                    </a:cubicBezTo>
                    <a:cubicBezTo>
                      <a:pt x="8103" y="7366"/>
                      <a:pt x="8103" y="7366"/>
                      <a:pt x="8103" y="7366"/>
                    </a:cubicBezTo>
                    <a:cubicBezTo>
                      <a:pt x="8208" y="7435"/>
                      <a:pt x="8208" y="7435"/>
                      <a:pt x="8208" y="7435"/>
                    </a:cubicBezTo>
                    <a:lnTo>
                      <a:pt x="8235" y="7393"/>
                    </a:lnTo>
                    <a:close/>
                    <a:moveTo>
                      <a:pt x="936" y="7785"/>
                    </a:moveTo>
                    <a:cubicBezTo>
                      <a:pt x="991" y="7759"/>
                      <a:pt x="991" y="7759"/>
                      <a:pt x="991" y="7759"/>
                    </a:cubicBezTo>
                    <a:cubicBezTo>
                      <a:pt x="976" y="7716"/>
                      <a:pt x="976" y="7716"/>
                      <a:pt x="976" y="7716"/>
                    </a:cubicBezTo>
                    <a:cubicBezTo>
                      <a:pt x="1067" y="7679"/>
                      <a:pt x="1067" y="7679"/>
                      <a:pt x="1067" y="7679"/>
                    </a:cubicBezTo>
                    <a:cubicBezTo>
                      <a:pt x="1101" y="7777"/>
                      <a:pt x="1101" y="7777"/>
                      <a:pt x="1101" y="7777"/>
                    </a:cubicBezTo>
                    <a:cubicBezTo>
                      <a:pt x="1045" y="7800"/>
                      <a:pt x="1045" y="7800"/>
                      <a:pt x="1045" y="7800"/>
                    </a:cubicBezTo>
                    <a:cubicBezTo>
                      <a:pt x="1052" y="7819"/>
                      <a:pt x="1052" y="7819"/>
                      <a:pt x="1052" y="7819"/>
                    </a:cubicBezTo>
                    <a:cubicBezTo>
                      <a:pt x="1083" y="7809"/>
                      <a:pt x="1083" y="7809"/>
                      <a:pt x="1083" y="7809"/>
                    </a:cubicBezTo>
                    <a:cubicBezTo>
                      <a:pt x="1116" y="7908"/>
                      <a:pt x="1116" y="7908"/>
                      <a:pt x="1116" y="7908"/>
                    </a:cubicBezTo>
                    <a:cubicBezTo>
                      <a:pt x="1059" y="7932"/>
                      <a:pt x="1059" y="7932"/>
                      <a:pt x="1059" y="7932"/>
                    </a:cubicBezTo>
                    <a:cubicBezTo>
                      <a:pt x="1072" y="7974"/>
                      <a:pt x="1072" y="7974"/>
                      <a:pt x="1072" y="7974"/>
                    </a:cubicBezTo>
                    <a:cubicBezTo>
                      <a:pt x="984" y="8009"/>
                      <a:pt x="984" y="8009"/>
                      <a:pt x="984" y="8009"/>
                    </a:cubicBezTo>
                    <a:cubicBezTo>
                      <a:pt x="949" y="7915"/>
                      <a:pt x="949" y="7915"/>
                      <a:pt x="949" y="7915"/>
                    </a:cubicBezTo>
                    <a:cubicBezTo>
                      <a:pt x="1005" y="7889"/>
                      <a:pt x="1005" y="7889"/>
                      <a:pt x="1005" y="7889"/>
                    </a:cubicBezTo>
                    <a:cubicBezTo>
                      <a:pt x="999" y="7871"/>
                      <a:pt x="999" y="7871"/>
                      <a:pt x="999" y="7871"/>
                    </a:cubicBezTo>
                    <a:cubicBezTo>
                      <a:pt x="967" y="7880"/>
                      <a:pt x="967" y="7880"/>
                      <a:pt x="967" y="7880"/>
                    </a:cubicBezTo>
                    <a:lnTo>
                      <a:pt x="936" y="7785"/>
                    </a:lnTo>
                    <a:close/>
                    <a:moveTo>
                      <a:pt x="1008" y="7766"/>
                    </a:moveTo>
                    <a:cubicBezTo>
                      <a:pt x="997" y="7772"/>
                      <a:pt x="997" y="7772"/>
                      <a:pt x="997" y="7772"/>
                    </a:cubicBezTo>
                    <a:cubicBezTo>
                      <a:pt x="953" y="7792"/>
                      <a:pt x="953" y="7792"/>
                      <a:pt x="953" y="7792"/>
                    </a:cubicBezTo>
                    <a:cubicBezTo>
                      <a:pt x="976" y="7863"/>
                      <a:pt x="976" y="7863"/>
                      <a:pt x="976" y="7863"/>
                    </a:cubicBezTo>
                    <a:cubicBezTo>
                      <a:pt x="995" y="7857"/>
                      <a:pt x="995" y="7857"/>
                      <a:pt x="995" y="7857"/>
                    </a:cubicBezTo>
                    <a:cubicBezTo>
                      <a:pt x="1008" y="7854"/>
                      <a:pt x="1008" y="7854"/>
                      <a:pt x="1008" y="7854"/>
                    </a:cubicBezTo>
                    <a:cubicBezTo>
                      <a:pt x="1012" y="7866"/>
                      <a:pt x="1012" y="7866"/>
                      <a:pt x="1012" y="7866"/>
                    </a:cubicBezTo>
                    <a:cubicBezTo>
                      <a:pt x="1019" y="7885"/>
                      <a:pt x="1019" y="7885"/>
                      <a:pt x="1019" y="7885"/>
                    </a:cubicBezTo>
                    <a:cubicBezTo>
                      <a:pt x="1023" y="7897"/>
                      <a:pt x="1023" y="7897"/>
                      <a:pt x="1023" y="7897"/>
                    </a:cubicBezTo>
                    <a:cubicBezTo>
                      <a:pt x="1011" y="7902"/>
                      <a:pt x="1011" y="7902"/>
                      <a:pt x="1011" y="7902"/>
                    </a:cubicBezTo>
                    <a:cubicBezTo>
                      <a:pt x="967" y="7922"/>
                      <a:pt x="967" y="7922"/>
                      <a:pt x="967" y="7922"/>
                    </a:cubicBezTo>
                    <a:cubicBezTo>
                      <a:pt x="992" y="7991"/>
                      <a:pt x="992" y="7991"/>
                      <a:pt x="992" y="7991"/>
                    </a:cubicBezTo>
                    <a:cubicBezTo>
                      <a:pt x="1055" y="7966"/>
                      <a:pt x="1055" y="7966"/>
                      <a:pt x="1055" y="7966"/>
                    </a:cubicBezTo>
                    <a:cubicBezTo>
                      <a:pt x="1045" y="7936"/>
                      <a:pt x="1045" y="7936"/>
                      <a:pt x="1045" y="7936"/>
                    </a:cubicBezTo>
                    <a:cubicBezTo>
                      <a:pt x="1042" y="7924"/>
                      <a:pt x="1042" y="7924"/>
                      <a:pt x="1042" y="7924"/>
                    </a:cubicBezTo>
                    <a:cubicBezTo>
                      <a:pt x="1053" y="7919"/>
                      <a:pt x="1053" y="7919"/>
                      <a:pt x="1053" y="7919"/>
                    </a:cubicBezTo>
                    <a:cubicBezTo>
                      <a:pt x="1099" y="7900"/>
                      <a:pt x="1099" y="7900"/>
                      <a:pt x="1099" y="7900"/>
                    </a:cubicBezTo>
                    <a:cubicBezTo>
                      <a:pt x="1074" y="7827"/>
                      <a:pt x="1074" y="7827"/>
                      <a:pt x="1074" y="7827"/>
                    </a:cubicBezTo>
                    <a:cubicBezTo>
                      <a:pt x="1057" y="7833"/>
                      <a:pt x="1057" y="7833"/>
                      <a:pt x="1057" y="7833"/>
                    </a:cubicBezTo>
                    <a:cubicBezTo>
                      <a:pt x="1044" y="7837"/>
                      <a:pt x="1044" y="7837"/>
                      <a:pt x="1044" y="7837"/>
                    </a:cubicBezTo>
                    <a:cubicBezTo>
                      <a:pt x="1039" y="7824"/>
                      <a:pt x="1039" y="7824"/>
                      <a:pt x="1039" y="7824"/>
                    </a:cubicBezTo>
                    <a:cubicBezTo>
                      <a:pt x="1032" y="7805"/>
                      <a:pt x="1032" y="7805"/>
                      <a:pt x="1032" y="7805"/>
                    </a:cubicBezTo>
                    <a:cubicBezTo>
                      <a:pt x="1028" y="7792"/>
                      <a:pt x="1028" y="7792"/>
                      <a:pt x="1028" y="7792"/>
                    </a:cubicBezTo>
                    <a:cubicBezTo>
                      <a:pt x="1040" y="7787"/>
                      <a:pt x="1040" y="7787"/>
                      <a:pt x="1040" y="7787"/>
                    </a:cubicBezTo>
                    <a:cubicBezTo>
                      <a:pt x="1083" y="7769"/>
                      <a:pt x="1083" y="7769"/>
                      <a:pt x="1083" y="7769"/>
                    </a:cubicBezTo>
                    <a:cubicBezTo>
                      <a:pt x="1058" y="7698"/>
                      <a:pt x="1058" y="7698"/>
                      <a:pt x="1058" y="7698"/>
                    </a:cubicBezTo>
                    <a:cubicBezTo>
                      <a:pt x="993" y="7724"/>
                      <a:pt x="993" y="7724"/>
                      <a:pt x="993" y="7724"/>
                    </a:cubicBezTo>
                    <a:cubicBezTo>
                      <a:pt x="1004" y="7754"/>
                      <a:pt x="1004" y="7754"/>
                      <a:pt x="1004" y="7754"/>
                    </a:cubicBezTo>
                    <a:lnTo>
                      <a:pt x="1008" y="7766"/>
                    </a:lnTo>
                    <a:close/>
                    <a:moveTo>
                      <a:pt x="1038" y="7509"/>
                    </a:moveTo>
                    <a:cubicBezTo>
                      <a:pt x="1041" y="7500"/>
                      <a:pt x="1041" y="7500"/>
                      <a:pt x="1041" y="7500"/>
                    </a:cubicBezTo>
                    <a:cubicBezTo>
                      <a:pt x="1057" y="7450"/>
                      <a:pt x="1057" y="7450"/>
                      <a:pt x="1057" y="7450"/>
                    </a:cubicBezTo>
                    <a:cubicBezTo>
                      <a:pt x="1063" y="7430"/>
                      <a:pt x="1063" y="7430"/>
                      <a:pt x="1063" y="7430"/>
                    </a:cubicBezTo>
                    <a:cubicBezTo>
                      <a:pt x="1079" y="7444"/>
                      <a:pt x="1079" y="7444"/>
                      <a:pt x="1079" y="7444"/>
                    </a:cubicBezTo>
                    <a:cubicBezTo>
                      <a:pt x="1203" y="7553"/>
                      <a:pt x="1203" y="7553"/>
                      <a:pt x="1203" y="7553"/>
                    </a:cubicBezTo>
                    <a:cubicBezTo>
                      <a:pt x="1211" y="7559"/>
                      <a:pt x="1211" y="7559"/>
                      <a:pt x="1211" y="7559"/>
                    </a:cubicBezTo>
                    <a:cubicBezTo>
                      <a:pt x="1207" y="7568"/>
                      <a:pt x="1207" y="7568"/>
                      <a:pt x="1207" y="7568"/>
                    </a:cubicBezTo>
                    <a:cubicBezTo>
                      <a:pt x="1188" y="7618"/>
                      <a:pt x="1188" y="7618"/>
                      <a:pt x="1188" y="7618"/>
                    </a:cubicBezTo>
                    <a:cubicBezTo>
                      <a:pt x="1181" y="7636"/>
                      <a:pt x="1181" y="7636"/>
                      <a:pt x="1181" y="7636"/>
                    </a:cubicBezTo>
                    <a:cubicBezTo>
                      <a:pt x="1166" y="7623"/>
                      <a:pt x="1166" y="7623"/>
                      <a:pt x="1166" y="7623"/>
                    </a:cubicBezTo>
                    <a:cubicBezTo>
                      <a:pt x="1045" y="7515"/>
                      <a:pt x="1045" y="7515"/>
                      <a:pt x="1045" y="7515"/>
                    </a:cubicBezTo>
                    <a:lnTo>
                      <a:pt x="1038" y="7509"/>
                    </a:lnTo>
                    <a:close/>
                    <a:moveTo>
                      <a:pt x="1054" y="7504"/>
                    </a:moveTo>
                    <a:cubicBezTo>
                      <a:pt x="1175" y="7612"/>
                      <a:pt x="1175" y="7612"/>
                      <a:pt x="1175" y="7612"/>
                    </a:cubicBezTo>
                    <a:cubicBezTo>
                      <a:pt x="1194" y="7563"/>
                      <a:pt x="1194" y="7563"/>
                      <a:pt x="1194" y="7563"/>
                    </a:cubicBezTo>
                    <a:cubicBezTo>
                      <a:pt x="1070" y="7455"/>
                      <a:pt x="1070" y="7455"/>
                      <a:pt x="1070" y="7455"/>
                    </a:cubicBezTo>
                    <a:lnTo>
                      <a:pt x="1054" y="7504"/>
                    </a:lnTo>
                    <a:close/>
                    <a:moveTo>
                      <a:pt x="434" y="8638"/>
                    </a:moveTo>
                    <a:cubicBezTo>
                      <a:pt x="675" y="8444"/>
                      <a:pt x="675" y="8444"/>
                      <a:pt x="675" y="8444"/>
                    </a:cubicBezTo>
                    <a:cubicBezTo>
                      <a:pt x="675" y="8460"/>
                      <a:pt x="675" y="8460"/>
                      <a:pt x="675" y="8460"/>
                    </a:cubicBezTo>
                    <a:cubicBezTo>
                      <a:pt x="671" y="8651"/>
                      <a:pt x="671" y="8651"/>
                      <a:pt x="671" y="8651"/>
                    </a:cubicBezTo>
                    <a:cubicBezTo>
                      <a:pt x="537" y="8745"/>
                      <a:pt x="537" y="8745"/>
                      <a:pt x="537" y="8745"/>
                    </a:cubicBezTo>
                    <a:lnTo>
                      <a:pt x="434" y="8638"/>
                    </a:lnTo>
                    <a:close/>
                    <a:moveTo>
                      <a:pt x="660" y="8476"/>
                    </a:moveTo>
                    <a:cubicBezTo>
                      <a:pt x="456" y="8640"/>
                      <a:pt x="456" y="8640"/>
                      <a:pt x="456" y="8640"/>
                    </a:cubicBezTo>
                    <a:cubicBezTo>
                      <a:pt x="539" y="8726"/>
                      <a:pt x="539" y="8726"/>
                      <a:pt x="539" y="8726"/>
                    </a:cubicBezTo>
                    <a:cubicBezTo>
                      <a:pt x="656" y="8643"/>
                      <a:pt x="656" y="8643"/>
                      <a:pt x="656" y="8643"/>
                    </a:cubicBezTo>
                    <a:lnTo>
                      <a:pt x="660" y="8476"/>
                    </a:lnTo>
                    <a:close/>
                    <a:moveTo>
                      <a:pt x="2640" y="9117"/>
                    </a:moveTo>
                    <a:cubicBezTo>
                      <a:pt x="3163" y="9863"/>
                      <a:pt x="3163" y="9863"/>
                      <a:pt x="3163" y="9863"/>
                    </a:cubicBezTo>
                    <a:cubicBezTo>
                      <a:pt x="3157" y="9867"/>
                      <a:pt x="3157" y="9867"/>
                      <a:pt x="3157" y="9867"/>
                    </a:cubicBezTo>
                    <a:cubicBezTo>
                      <a:pt x="3022" y="9960"/>
                      <a:pt x="3022" y="9960"/>
                      <a:pt x="3022" y="9960"/>
                    </a:cubicBezTo>
                    <a:cubicBezTo>
                      <a:pt x="2873" y="9760"/>
                      <a:pt x="2873" y="9760"/>
                      <a:pt x="2873" y="9760"/>
                    </a:cubicBezTo>
                    <a:cubicBezTo>
                      <a:pt x="2931" y="9754"/>
                      <a:pt x="2931" y="9754"/>
                      <a:pt x="2931" y="9754"/>
                    </a:cubicBezTo>
                    <a:cubicBezTo>
                      <a:pt x="2644" y="9348"/>
                      <a:pt x="2644" y="9348"/>
                      <a:pt x="2644" y="9348"/>
                    </a:cubicBezTo>
                    <a:cubicBezTo>
                      <a:pt x="2641" y="9350"/>
                      <a:pt x="2641" y="9350"/>
                      <a:pt x="2641" y="9350"/>
                    </a:cubicBezTo>
                    <a:cubicBezTo>
                      <a:pt x="2837" y="9907"/>
                      <a:pt x="2837" y="9907"/>
                      <a:pt x="2837" y="9907"/>
                    </a:cubicBezTo>
                    <a:cubicBezTo>
                      <a:pt x="2896" y="9850"/>
                      <a:pt x="2896" y="9850"/>
                      <a:pt x="2896" y="9850"/>
                    </a:cubicBezTo>
                    <a:cubicBezTo>
                      <a:pt x="2941" y="10005"/>
                      <a:pt x="2941" y="10005"/>
                      <a:pt x="2941" y="10005"/>
                    </a:cubicBezTo>
                    <a:cubicBezTo>
                      <a:pt x="2799" y="10070"/>
                      <a:pt x="2799" y="10070"/>
                      <a:pt x="2799" y="10070"/>
                    </a:cubicBezTo>
                    <a:cubicBezTo>
                      <a:pt x="2468" y="9217"/>
                      <a:pt x="2468" y="9217"/>
                      <a:pt x="2468" y="9217"/>
                    </a:cubicBezTo>
                    <a:lnTo>
                      <a:pt x="2640" y="9117"/>
                    </a:lnTo>
                    <a:close/>
                    <a:moveTo>
                      <a:pt x="3143" y="9859"/>
                    </a:moveTo>
                    <a:cubicBezTo>
                      <a:pt x="2636" y="9137"/>
                      <a:pt x="2636" y="9137"/>
                      <a:pt x="2636" y="9137"/>
                    </a:cubicBezTo>
                    <a:cubicBezTo>
                      <a:pt x="2486" y="9224"/>
                      <a:pt x="2486" y="9224"/>
                      <a:pt x="2486" y="9224"/>
                    </a:cubicBezTo>
                    <a:cubicBezTo>
                      <a:pt x="2807" y="10050"/>
                      <a:pt x="2807" y="10050"/>
                      <a:pt x="2807" y="10050"/>
                    </a:cubicBezTo>
                    <a:cubicBezTo>
                      <a:pt x="2923" y="9997"/>
                      <a:pt x="2923" y="9997"/>
                      <a:pt x="2923" y="9997"/>
                    </a:cubicBezTo>
                    <a:cubicBezTo>
                      <a:pt x="2888" y="9878"/>
                      <a:pt x="2888" y="9878"/>
                      <a:pt x="2888" y="9878"/>
                    </a:cubicBezTo>
                    <a:cubicBezTo>
                      <a:pt x="2830" y="9933"/>
                      <a:pt x="2830" y="9933"/>
                      <a:pt x="2830" y="9933"/>
                    </a:cubicBezTo>
                    <a:cubicBezTo>
                      <a:pt x="2624" y="9345"/>
                      <a:pt x="2624" y="9345"/>
                      <a:pt x="2624" y="9345"/>
                    </a:cubicBezTo>
                    <a:cubicBezTo>
                      <a:pt x="2648" y="9328"/>
                      <a:pt x="2648" y="9328"/>
                      <a:pt x="2648" y="9328"/>
                    </a:cubicBezTo>
                    <a:cubicBezTo>
                      <a:pt x="2957" y="9766"/>
                      <a:pt x="2957" y="9766"/>
                      <a:pt x="2957" y="9766"/>
                    </a:cubicBezTo>
                    <a:cubicBezTo>
                      <a:pt x="2900" y="9772"/>
                      <a:pt x="2900" y="9772"/>
                      <a:pt x="2900" y="9772"/>
                    </a:cubicBezTo>
                    <a:cubicBezTo>
                      <a:pt x="3025" y="9940"/>
                      <a:pt x="3025" y="9940"/>
                      <a:pt x="3025" y="9940"/>
                    </a:cubicBezTo>
                    <a:lnTo>
                      <a:pt x="3143" y="9859"/>
                    </a:lnTo>
                    <a:close/>
                    <a:moveTo>
                      <a:pt x="975" y="7531"/>
                    </a:moveTo>
                    <a:cubicBezTo>
                      <a:pt x="1041" y="7350"/>
                      <a:pt x="1041" y="7350"/>
                      <a:pt x="1041" y="7350"/>
                    </a:cubicBezTo>
                    <a:cubicBezTo>
                      <a:pt x="1244" y="7524"/>
                      <a:pt x="1244" y="7524"/>
                      <a:pt x="1244" y="7524"/>
                    </a:cubicBezTo>
                    <a:cubicBezTo>
                      <a:pt x="1362" y="7385"/>
                      <a:pt x="1362" y="7385"/>
                      <a:pt x="1362" y="7385"/>
                    </a:cubicBezTo>
                    <a:cubicBezTo>
                      <a:pt x="1505" y="7478"/>
                      <a:pt x="1505" y="7478"/>
                      <a:pt x="1505" y="7478"/>
                    </a:cubicBezTo>
                    <a:cubicBezTo>
                      <a:pt x="1418" y="7604"/>
                      <a:pt x="1418" y="7604"/>
                      <a:pt x="1418" y="7604"/>
                    </a:cubicBezTo>
                    <a:cubicBezTo>
                      <a:pt x="1344" y="7604"/>
                      <a:pt x="1344" y="7604"/>
                      <a:pt x="1344" y="7604"/>
                    </a:cubicBezTo>
                    <a:cubicBezTo>
                      <a:pt x="1312" y="7648"/>
                      <a:pt x="1312" y="7648"/>
                      <a:pt x="1312" y="7648"/>
                    </a:cubicBezTo>
                    <a:cubicBezTo>
                      <a:pt x="1325" y="7724"/>
                      <a:pt x="1325" y="7724"/>
                      <a:pt x="1325" y="7724"/>
                    </a:cubicBezTo>
                    <a:cubicBezTo>
                      <a:pt x="1262" y="7819"/>
                      <a:pt x="1262" y="7819"/>
                      <a:pt x="1262" y="7819"/>
                    </a:cubicBezTo>
                    <a:cubicBezTo>
                      <a:pt x="1197" y="7865"/>
                      <a:pt x="1197" y="7865"/>
                      <a:pt x="1197" y="7865"/>
                    </a:cubicBezTo>
                    <a:cubicBezTo>
                      <a:pt x="1123" y="7661"/>
                      <a:pt x="1123" y="7661"/>
                      <a:pt x="1123" y="7661"/>
                    </a:cubicBezTo>
                    <a:lnTo>
                      <a:pt x="975" y="7531"/>
                    </a:lnTo>
                    <a:close/>
                    <a:moveTo>
                      <a:pt x="991" y="7527"/>
                    </a:moveTo>
                    <a:cubicBezTo>
                      <a:pt x="1132" y="7651"/>
                      <a:pt x="1132" y="7651"/>
                      <a:pt x="1132" y="7651"/>
                    </a:cubicBezTo>
                    <a:cubicBezTo>
                      <a:pt x="1135" y="7653"/>
                      <a:pt x="1135" y="7653"/>
                      <a:pt x="1135" y="7653"/>
                    </a:cubicBezTo>
                    <a:cubicBezTo>
                      <a:pt x="1136" y="7656"/>
                      <a:pt x="1136" y="7656"/>
                      <a:pt x="1136" y="7656"/>
                    </a:cubicBezTo>
                    <a:cubicBezTo>
                      <a:pt x="1204" y="7843"/>
                      <a:pt x="1204" y="7843"/>
                      <a:pt x="1204" y="7843"/>
                    </a:cubicBezTo>
                    <a:cubicBezTo>
                      <a:pt x="1252" y="7809"/>
                      <a:pt x="1252" y="7809"/>
                      <a:pt x="1252" y="7809"/>
                    </a:cubicBezTo>
                    <a:cubicBezTo>
                      <a:pt x="1310" y="7721"/>
                      <a:pt x="1310" y="7721"/>
                      <a:pt x="1310" y="7721"/>
                    </a:cubicBezTo>
                    <a:cubicBezTo>
                      <a:pt x="1298" y="7651"/>
                      <a:pt x="1298" y="7651"/>
                      <a:pt x="1298" y="7651"/>
                    </a:cubicBezTo>
                    <a:cubicBezTo>
                      <a:pt x="1297" y="7645"/>
                      <a:pt x="1297" y="7645"/>
                      <a:pt x="1297" y="7645"/>
                    </a:cubicBezTo>
                    <a:cubicBezTo>
                      <a:pt x="1300" y="7640"/>
                      <a:pt x="1300" y="7640"/>
                      <a:pt x="1300" y="7640"/>
                    </a:cubicBezTo>
                    <a:cubicBezTo>
                      <a:pt x="1332" y="7596"/>
                      <a:pt x="1332" y="7596"/>
                      <a:pt x="1332" y="7596"/>
                    </a:cubicBezTo>
                    <a:cubicBezTo>
                      <a:pt x="1336" y="7590"/>
                      <a:pt x="1336" y="7590"/>
                      <a:pt x="1336" y="7590"/>
                    </a:cubicBezTo>
                    <a:cubicBezTo>
                      <a:pt x="1344" y="7590"/>
                      <a:pt x="1344" y="7590"/>
                      <a:pt x="1344" y="7590"/>
                    </a:cubicBezTo>
                    <a:cubicBezTo>
                      <a:pt x="1411" y="7590"/>
                      <a:pt x="1411" y="7590"/>
                      <a:pt x="1411" y="7590"/>
                    </a:cubicBezTo>
                    <a:cubicBezTo>
                      <a:pt x="1486" y="7482"/>
                      <a:pt x="1486" y="7482"/>
                      <a:pt x="1486" y="7482"/>
                    </a:cubicBezTo>
                    <a:cubicBezTo>
                      <a:pt x="1365" y="7403"/>
                      <a:pt x="1365" y="7403"/>
                      <a:pt x="1365" y="7403"/>
                    </a:cubicBezTo>
                    <a:cubicBezTo>
                      <a:pt x="1255" y="7533"/>
                      <a:pt x="1255" y="7533"/>
                      <a:pt x="1255" y="7533"/>
                    </a:cubicBezTo>
                    <a:cubicBezTo>
                      <a:pt x="1246" y="7543"/>
                      <a:pt x="1246" y="7543"/>
                      <a:pt x="1246" y="7543"/>
                    </a:cubicBezTo>
                    <a:cubicBezTo>
                      <a:pt x="1235" y="7534"/>
                      <a:pt x="1235" y="7534"/>
                      <a:pt x="1235" y="7534"/>
                    </a:cubicBezTo>
                    <a:cubicBezTo>
                      <a:pt x="1047" y="7374"/>
                      <a:pt x="1047" y="7374"/>
                      <a:pt x="1047" y="7374"/>
                    </a:cubicBezTo>
                    <a:lnTo>
                      <a:pt x="991" y="7527"/>
                    </a:lnTo>
                    <a:close/>
                    <a:moveTo>
                      <a:pt x="715" y="9037"/>
                    </a:moveTo>
                    <a:cubicBezTo>
                      <a:pt x="816" y="8967"/>
                      <a:pt x="816" y="8967"/>
                      <a:pt x="816" y="8967"/>
                    </a:cubicBezTo>
                    <a:cubicBezTo>
                      <a:pt x="889" y="9035"/>
                      <a:pt x="889" y="9035"/>
                      <a:pt x="889" y="9035"/>
                    </a:cubicBezTo>
                    <a:cubicBezTo>
                      <a:pt x="965" y="8969"/>
                      <a:pt x="965" y="8969"/>
                      <a:pt x="965" y="8969"/>
                    </a:cubicBezTo>
                    <a:cubicBezTo>
                      <a:pt x="1028" y="9051"/>
                      <a:pt x="1028" y="9051"/>
                      <a:pt x="1028" y="9051"/>
                    </a:cubicBezTo>
                    <a:cubicBezTo>
                      <a:pt x="877" y="9194"/>
                      <a:pt x="877" y="9194"/>
                      <a:pt x="877" y="9194"/>
                    </a:cubicBezTo>
                    <a:lnTo>
                      <a:pt x="715" y="9037"/>
                    </a:lnTo>
                    <a:close/>
                    <a:moveTo>
                      <a:pt x="814" y="8985"/>
                    </a:moveTo>
                    <a:cubicBezTo>
                      <a:pt x="737" y="9039"/>
                      <a:pt x="737" y="9039"/>
                      <a:pt x="737" y="9039"/>
                    </a:cubicBezTo>
                    <a:cubicBezTo>
                      <a:pt x="877" y="9175"/>
                      <a:pt x="877" y="9175"/>
                      <a:pt x="877" y="9175"/>
                    </a:cubicBezTo>
                    <a:cubicBezTo>
                      <a:pt x="1009" y="9050"/>
                      <a:pt x="1009" y="9050"/>
                      <a:pt x="1009" y="9050"/>
                    </a:cubicBezTo>
                    <a:cubicBezTo>
                      <a:pt x="963" y="8990"/>
                      <a:pt x="963" y="8990"/>
                      <a:pt x="963" y="8990"/>
                    </a:cubicBezTo>
                    <a:cubicBezTo>
                      <a:pt x="898" y="9045"/>
                      <a:pt x="898" y="9045"/>
                      <a:pt x="898" y="9045"/>
                    </a:cubicBezTo>
                    <a:cubicBezTo>
                      <a:pt x="889" y="9053"/>
                      <a:pt x="889" y="9053"/>
                      <a:pt x="889" y="9053"/>
                    </a:cubicBezTo>
                    <a:cubicBezTo>
                      <a:pt x="880" y="9045"/>
                      <a:pt x="880" y="9045"/>
                      <a:pt x="880" y="9045"/>
                    </a:cubicBezTo>
                    <a:lnTo>
                      <a:pt x="814" y="8985"/>
                    </a:lnTo>
                    <a:close/>
                    <a:moveTo>
                      <a:pt x="3258" y="8827"/>
                    </a:moveTo>
                    <a:cubicBezTo>
                      <a:pt x="3243" y="8795"/>
                      <a:pt x="3243" y="8795"/>
                      <a:pt x="3243" y="8795"/>
                    </a:cubicBezTo>
                    <a:cubicBezTo>
                      <a:pt x="3523" y="8653"/>
                      <a:pt x="3523" y="8653"/>
                      <a:pt x="3523" y="8653"/>
                    </a:cubicBezTo>
                    <a:cubicBezTo>
                      <a:pt x="3547" y="8708"/>
                      <a:pt x="3547" y="8708"/>
                      <a:pt x="3547" y="8708"/>
                    </a:cubicBezTo>
                    <a:cubicBezTo>
                      <a:pt x="3795" y="8593"/>
                      <a:pt x="3795" y="8593"/>
                      <a:pt x="3795" y="8593"/>
                    </a:cubicBezTo>
                    <a:cubicBezTo>
                      <a:pt x="3798" y="8600"/>
                      <a:pt x="3798" y="8600"/>
                      <a:pt x="3798" y="8600"/>
                    </a:cubicBezTo>
                    <a:cubicBezTo>
                      <a:pt x="3917" y="8877"/>
                      <a:pt x="3917" y="8877"/>
                      <a:pt x="3917" y="8877"/>
                    </a:cubicBezTo>
                    <a:cubicBezTo>
                      <a:pt x="3802" y="8921"/>
                      <a:pt x="3802" y="8921"/>
                      <a:pt x="3802" y="8921"/>
                    </a:cubicBezTo>
                    <a:cubicBezTo>
                      <a:pt x="3824" y="8970"/>
                      <a:pt x="3824" y="8970"/>
                      <a:pt x="3824" y="8970"/>
                    </a:cubicBezTo>
                    <a:cubicBezTo>
                      <a:pt x="3815" y="8972"/>
                      <a:pt x="3815" y="8972"/>
                      <a:pt x="3815" y="8972"/>
                    </a:cubicBezTo>
                    <a:cubicBezTo>
                      <a:pt x="3815" y="8972"/>
                      <a:pt x="3731" y="8993"/>
                      <a:pt x="3674" y="9019"/>
                    </a:cubicBezTo>
                    <a:cubicBezTo>
                      <a:pt x="3616" y="9045"/>
                      <a:pt x="3551" y="9088"/>
                      <a:pt x="3551" y="9088"/>
                    </a:cubicBezTo>
                    <a:cubicBezTo>
                      <a:pt x="3545" y="9092"/>
                      <a:pt x="3545" y="9092"/>
                      <a:pt x="3545" y="9092"/>
                    </a:cubicBezTo>
                    <a:cubicBezTo>
                      <a:pt x="3515" y="9047"/>
                      <a:pt x="3515" y="9047"/>
                      <a:pt x="3515" y="9047"/>
                    </a:cubicBezTo>
                    <a:cubicBezTo>
                      <a:pt x="3506" y="9054"/>
                      <a:pt x="3483" y="9071"/>
                      <a:pt x="3435" y="9105"/>
                    </a:cubicBezTo>
                    <a:cubicBezTo>
                      <a:pt x="3372" y="9147"/>
                      <a:pt x="3368" y="9279"/>
                      <a:pt x="3369" y="9293"/>
                    </a:cubicBezTo>
                    <a:cubicBezTo>
                      <a:pt x="3369" y="9294"/>
                      <a:pt x="3369" y="9294"/>
                      <a:pt x="3369" y="9294"/>
                    </a:cubicBezTo>
                    <a:cubicBezTo>
                      <a:pt x="3355" y="9297"/>
                      <a:pt x="3355" y="9297"/>
                      <a:pt x="3355" y="9297"/>
                    </a:cubicBezTo>
                    <a:cubicBezTo>
                      <a:pt x="3161" y="8876"/>
                      <a:pt x="3161" y="8876"/>
                      <a:pt x="3161" y="8876"/>
                    </a:cubicBezTo>
                    <a:lnTo>
                      <a:pt x="3258" y="8827"/>
                    </a:lnTo>
                    <a:close/>
                    <a:moveTo>
                      <a:pt x="3262" y="8801"/>
                    </a:moveTo>
                    <a:cubicBezTo>
                      <a:pt x="3277" y="8834"/>
                      <a:pt x="3277" y="8834"/>
                      <a:pt x="3277" y="8834"/>
                    </a:cubicBezTo>
                    <a:cubicBezTo>
                      <a:pt x="3180" y="8883"/>
                      <a:pt x="3180" y="8883"/>
                      <a:pt x="3180" y="8883"/>
                    </a:cubicBezTo>
                    <a:cubicBezTo>
                      <a:pt x="3355" y="9263"/>
                      <a:pt x="3355" y="9263"/>
                      <a:pt x="3355" y="9263"/>
                    </a:cubicBezTo>
                    <a:cubicBezTo>
                      <a:pt x="3359" y="9217"/>
                      <a:pt x="3372" y="9131"/>
                      <a:pt x="3426" y="9093"/>
                    </a:cubicBezTo>
                    <a:cubicBezTo>
                      <a:pt x="3497" y="9043"/>
                      <a:pt x="3512" y="9031"/>
                      <a:pt x="3513" y="9031"/>
                    </a:cubicBezTo>
                    <a:cubicBezTo>
                      <a:pt x="3519" y="9026"/>
                      <a:pt x="3519" y="9026"/>
                      <a:pt x="3519" y="9026"/>
                    </a:cubicBezTo>
                    <a:cubicBezTo>
                      <a:pt x="3549" y="9072"/>
                      <a:pt x="3549" y="9072"/>
                      <a:pt x="3549" y="9072"/>
                    </a:cubicBezTo>
                    <a:cubicBezTo>
                      <a:pt x="3567" y="9061"/>
                      <a:pt x="3619" y="9028"/>
                      <a:pt x="3667" y="9006"/>
                    </a:cubicBezTo>
                    <a:cubicBezTo>
                      <a:pt x="3715" y="8984"/>
                      <a:pt x="3780" y="8966"/>
                      <a:pt x="3803" y="8960"/>
                    </a:cubicBezTo>
                    <a:cubicBezTo>
                      <a:pt x="3782" y="8913"/>
                      <a:pt x="3782" y="8913"/>
                      <a:pt x="3782" y="8913"/>
                    </a:cubicBezTo>
                    <a:cubicBezTo>
                      <a:pt x="3897" y="8869"/>
                      <a:pt x="3897" y="8869"/>
                      <a:pt x="3897" y="8869"/>
                    </a:cubicBezTo>
                    <a:cubicBezTo>
                      <a:pt x="3787" y="8613"/>
                      <a:pt x="3787" y="8613"/>
                      <a:pt x="3787" y="8613"/>
                    </a:cubicBezTo>
                    <a:cubicBezTo>
                      <a:pt x="3539" y="8727"/>
                      <a:pt x="3539" y="8727"/>
                      <a:pt x="3539" y="8727"/>
                    </a:cubicBezTo>
                    <a:cubicBezTo>
                      <a:pt x="3516" y="8673"/>
                      <a:pt x="3516" y="8673"/>
                      <a:pt x="3516" y="8673"/>
                    </a:cubicBezTo>
                    <a:lnTo>
                      <a:pt x="3262" y="8801"/>
                    </a:lnTo>
                    <a:close/>
                    <a:moveTo>
                      <a:pt x="2923" y="9074"/>
                    </a:moveTo>
                    <a:cubicBezTo>
                      <a:pt x="3091" y="8986"/>
                      <a:pt x="3091" y="8986"/>
                      <a:pt x="3091" y="8986"/>
                    </a:cubicBezTo>
                    <a:cubicBezTo>
                      <a:pt x="3344" y="9471"/>
                      <a:pt x="3344" y="9471"/>
                      <a:pt x="3344" y="9471"/>
                    </a:cubicBezTo>
                    <a:cubicBezTo>
                      <a:pt x="3343" y="9473"/>
                      <a:pt x="3343" y="9473"/>
                      <a:pt x="3343" y="9473"/>
                    </a:cubicBezTo>
                    <a:cubicBezTo>
                      <a:pt x="3343" y="9474"/>
                      <a:pt x="3316" y="9630"/>
                      <a:pt x="3284" y="9698"/>
                    </a:cubicBezTo>
                    <a:cubicBezTo>
                      <a:pt x="3283" y="9700"/>
                      <a:pt x="3280" y="9702"/>
                      <a:pt x="3277" y="9702"/>
                    </a:cubicBezTo>
                    <a:cubicBezTo>
                      <a:pt x="3272" y="9701"/>
                      <a:pt x="3273" y="9700"/>
                      <a:pt x="3272" y="9700"/>
                    </a:cubicBezTo>
                    <a:cubicBezTo>
                      <a:pt x="3264" y="9692"/>
                      <a:pt x="3237" y="9650"/>
                      <a:pt x="3209" y="9606"/>
                    </a:cubicBezTo>
                    <a:cubicBezTo>
                      <a:pt x="3182" y="9564"/>
                      <a:pt x="3156" y="9522"/>
                      <a:pt x="3156" y="9522"/>
                    </a:cubicBezTo>
                    <a:cubicBezTo>
                      <a:pt x="3154" y="9519"/>
                      <a:pt x="3154" y="9519"/>
                      <a:pt x="3154" y="9519"/>
                    </a:cubicBezTo>
                    <a:cubicBezTo>
                      <a:pt x="3156" y="9516"/>
                      <a:pt x="3156" y="9516"/>
                      <a:pt x="3156" y="9516"/>
                    </a:cubicBezTo>
                    <a:cubicBezTo>
                      <a:pt x="3156" y="9516"/>
                      <a:pt x="3180" y="9457"/>
                      <a:pt x="3183" y="9431"/>
                    </a:cubicBezTo>
                    <a:cubicBezTo>
                      <a:pt x="3178" y="9421"/>
                      <a:pt x="3144" y="9359"/>
                      <a:pt x="3111" y="9299"/>
                    </a:cubicBezTo>
                    <a:cubicBezTo>
                      <a:pt x="3083" y="9248"/>
                      <a:pt x="3055" y="9197"/>
                      <a:pt x="3045" y="9180"/>
                    </a:cubicBezTo>
                    <a:cubicBezTo>
                      <a:pt x="2987" y="9211"/>
                      <a:pt x="2987" y="9211"/>
                      <a:pt x="2987" y="9211"/>
                    </a:cubicBezTo>
                    <a:cubicBezTo>
                      <a:pt x="3100" y="9446"/>
                      <a:pt x="3100" y="9446"/>
                      <a:pt x="3100" y="9446"/>
                    </a:cubicBezTo>
                    <a:cubicBezTo>
                      <a:pt x="3070" y="9492"/>
                      <a:pt x="3070" y="9492"/>
                      <a:pt x="3070" y="9492"/>
                    </a:cubicBezTo>
                    <a:cubicBezTo>
                      <a:pt x="3255" y="9760"/>
                      <a:pt x="3255" y="9760"/>
                      <a:pt x="3255" y="9760"/>
                    </a:cubicBezTo>
                    <a:cubicBezTo>
                      <a:pt x="3212" y="9820"/>
                      <a:pt x="3212" y="9820"/>
                      <a:pt x="3212" y="9820"/>
                    </a:cubicBezTo>
                    <a:cubicBezTo>
                      <a:pt x="2735" y="9094"/>
                      <a:pt x="2735" y="9094"/>
                      <a:pt x="2735" y="9094"/>
                    </a:cubicBezTo>
                    <a:cubicBezTo>
                      <a:pt x="2892" y="9009"/>
                      <a:pt x="2892" y="9009"/>
                      <a:pt x="2892" y="9009"/>
                    </a:cubicBezTo>
                    <a:lnTo>
                      <a:pt x="2923" y="9074"/>
                    </a:lnTo>
                    <a:close/>
                    <a:moveTo>
                      <a:pt x="3084" y="9006"/>
                    </a:moveTo>
                    <a:cubicBezTo>
                      <a:pt x="2916" y="9095"/>
                      <a:pt x="2916" y="9095"/>
                      <a:pt x="2916" y="9095"/>
                    </a:cubicBezTo>
                    <a:cubicBezTo>
                      <a:pt x="2886" y="9030"/>
                      <a:pt x="2886" y="9030"/>
                      <a:pt x="2886" y="9030"/>
                    </a:cubicBezTo>
                    <a:cubicBezTo>
                      <a:pt x="2757" y="9100"/>
                      <a:pt x="2757" y="9100"/>
                      <a:pt x="2757" y="9100"/>
                    </a:cubicBezTo>
                    <a:cubicBezTo>
                      <a:pt x="3212" y="9794"/>
                      <a:pt x="3212" y="9794"/>
                      <a:pt x="3212" y="9794"/>
                    </a:cubicBezTo>
                    <a:cubicBezTo>
                      <a:pt x="3237" y="9760"/>
                      <a:pt x="3237" y="9760"/>
                      <a:pt x="3237" y="9760"/>
                    </a:cubicBezTo>
                    <a:cubicBezTo>
                      <a:pt x="3053" y="9493"/>
                      <a:pt x="3053" y="9493"/>
                      <a:pt x="3053" y="9493"/>
                    </a:cubicBezTo>
                    <a:cubicBezTo>
                      <a:pt x="3083" y="9445"/>
                      <a:pt x="3083" y="9445"/>
                      <a:pt x="3083" y="9445"/>
                    </a:cubicBezTo>
                    <a:cubicBezTo>
                      <a:pt x="2967" y="9205"/>
                      <a:pt x="2967" y="9205"/>
                      <a:pt x="2967" y="9205"/>
                    </a:cubicBezTo>
                    <a:cubicBezTo>
                      <a:pt x="3051" y="9160"/>
                      <a:pt x="3051" y="9160"/>
                      <a:pt x="3051" y="9160"/>
                    </a:cubicBezTo>
                    <a:cubicBezTo>
                      <a:pt x="3054" y="9166"/>
                      <a:pt x="3054" y="9166"/>
                      <a:pt x="3054" y="9166"/>
                    </a:cubicBezTo>
                    <a:cubicBezTo>
                      <a:pt x="3054" y="9166"/>
                      <a:pt x="3090" y="9230"/>
                      <a:pt x="3125" y="9295"/>
                    </a:cubicBezTo>
                    <a:cubicBezTo>
                      <a:pt x="3143" y="9327"/>
                      <a:pt x="3161" y="9360"/>
                      <a:pt x="3174" y="9384"/>
                    </a:cubicBezTo>
                    <a:cubicBezTo>
                      <a:pt x="3181" y="9396"/>
                      <a:pt x="3187" y="9407"/>
                      <a:pt x="3190" y="9414"/>
                    </a:cubicBezTo>
                    <a:cubicBezTo>
                      <a:pt x="3192" y="9418"/>
                      <a:pt x="3194" y="9421"/>
                      <a:pt x="3195" y="9423"/>
                    </a:cubicBezTo>
                    <a:cubicBezTo>
                      <a:pt x="3196" y="9424"/>
                      <a:pt x="3196" y="9425"/>
                      <a:pt x="3196" y="9425"/>
                    </a:cubicBezTo>
                    <a:cubicBezTo>
                      <a:pt x="3197" y="9427"/>
                      <a:pt x="3197" y="9425"/>
                      <a:pt x="3197" y="9430"/>
                    </a:cubicBezTo>
                    <a:cubicBezTo>
                      <a:pt x="3197" y="9430"/>
                      <a:pt x="3197" y="9430"/>
                      <a:pt x="3197" y="9430"/>
                    </a:cubicBezTo>
                    <a:cubicBezTo>
                      <a:pt x="3197" y="9430"/>
                      <a:pt x="3197" y="9430"/>
                      <a:pt x="3197" y="9430"/>
                    </a:cubicBezTo>
                    <a:cubicBezTo>
                      <a:pt x="3195" y="9456"/>
                      <a:pt x="3176" y="9504"/>
                      <a:pt x="3171" y="9518"/>
                    </a:cubicBezTo>
                    <a:cubicBezTo>
                      <a:pt x="3178" y="9528"/>
                      <a:pt x="3201" y="9566"/>
                      <a:pt x="3224" y="9603"/>
                    </a:cubicBezTo>
                    <a:cubicBezTo>
                      <a:pt x="3238" y="9625"/>
                      <a:pt x="3253" y="9647"/>
                      <a:pt x="3263" y="9663"/>
                    </a:cubicBezTo>
                    <a:cubicBezTo>
                      <a:pt x="3268" y="9670"/>
                      <a:pt x="3272" y="9676"/>
                      <a:pt x="3276" y="9681"/>
                    </a:cubicBezTo>
                    <a:cubicBezTo>
                      <a:pt x="3301" y="9617"/>
                      <a:pt x="3325" y="9492"/>
                      <a:pt x="3328" y="9473"/>
                    </a:cubicBezTo>
                    <a:lnTo>
                      <a:pt x="3084" y="9006"/>
                    </a:lnTo>
                    <a:close/>
                    <a:moveTo>
                      <a:pt x="3344" y="9006"/>
                    </a:moveTo>
                    <a:cubicBezTo>
                      <a:pt x="3301" y="8924"/>
                      <a:pt x="3301" y="8924"/>
                      <a:pt x="3301" y="8924"/>
                    </a:cubicBezTo>
                    <a:cubicBezTo>
                      <a:pt x="3683" y="8738"/>
                      <a:pt x="3683" y="8738"/>
                      <a:pt x="3683" y="8738"/>
                    </a:cubicBezTo>
                    <a:cubicBezTo>
                      <a:pt x="3703" y="8780"/>
                      <a:pt x="3703" y="8780"/>
                      <a:pt x="3703" y="8780"/>
                    </a:cubicBezTo>
                    <a:cubicBezTo>
                      <a:pt x="3698" y="8784"/>
                      <a:pt x="3698" y="8784"/>
                      <a:pt x="3698" y="8784"/>
                    </a:cubicBezTo>
                    <a:cubicBezTo>
                      <a:pt x="3698" y="8784"/>
                      <a:pt x="3657" y="8809"/>
                      <a:pt x="3602" y="8842"/>
                    </a:cubicBezTo>
                    <a:cubicBezTo>
                      <a:pt x="3600" y="8843"/>
                      <a:pt x="3599" y="8845"/>
                      <a:pt x="3599" y="8850"/>
                    </a:cubicBezTo>
                    <a:cubicBezTo>
                      <a:pt x="3599" y="8861"/>
                      <a:pt x="3607" y="8880"/>
                      <a:pt x="3615" y="8896"/>
                    </a:cubicBezTo>
                    <a:cubicBezTo>
                      <a:pt x="3623" y="8911"/>
                      <a:pt x="3631" y="8923"/>
                      <a:pt x="3631" y="8923"/>
                    </a:cubicBezTo>
                    <a:cubicBezTo>
                      <a:pt x="3636" y="8931"/>
                      <a:pt x="3636" y="8931"/>
                      <a:pt x="3636" y="8931"/>
                    </a:cubicBezTo>
                    <a:cubicBezTo>
                      <a:pt x="3510" y="8988"/>
                      <a:pt x="3510" y="8988"/>
                      <a:pt x="3510" y="8988"/>
                    </a:cubicBezTo>
                    <a:cubicBezTo>
                      <a:pt x="3507" y="8984"/>
                      <a:pt x="3507" y="8984"/>
                      <a:pt x="3507" y="8984"/>
                    </a:cubicBezTo>
                    <a:cubicBezTo>
                      <a:pt x="3507" y="8984"/>
                      <a:pt x="3497" y="8974"/>
                      <a:pt x="3484" y="8963"/>
                    </a:cubicBezTo>
                    <a:cubicBezTo>
                      <a:pt x="3470" y="8953"/>
                      <a:pt x="3453" y="8943"/>
                      <a:pt x="3442" y="8944"/>
                    </a:cubicBezTo>
                    <a:cubicBezTo>
                      <a:pt x="3439" y="8944"/>
                      <a:pt x="3436" y="8944"/>
                      <a:pt x="3434" y="8946"/>
                    </a:cubicBezTo>
                    <a:cubicBezTo>
                      <a:pt x="3381" y="8978"/>
                      <a:pt x="3351" y="9001"/>
                      <a:pt x="3351" y="9001"/>
                    </a:cubicBezTo>
                    <a:lnTo>
                      <a:pt x="3344" y="9006"/>
                    </a:lnTo>
                    <a:close/>
                    <a:moveTo>
                      <a:pt x="3321" y="8931"/>
                    </a:moveTo>
                    <a:cubicBezTo>
                      <a:pt x="3349" y="8984"/>
                      <a:pt x="3349" y="8984"/>
                      <a:pt x="3349" y="8984"/>
                    </a:cubicBezTo>
                    <a:cubicBezTo>
                      <a:pt x="3361" y="8975"/>
                      <a:pt x="3388" y="8957"/>
                      <a:pt x="3426" y="8933"/>
                    </a:cubicBezTo>
                    <a:cubicBezTo>
                      <a:pt x="3431" y="8930"/>
                      <a:pt x="3437" y="8929"/>
                      <a:pt x="3442" y="8929"/>
                    </a:cubicBezTo>
                    <a:cubicBezTo>
                      <a:pt x="3471" y="8930"/>
                      <a:pt x="3503" y="8960"/>
                      <a:pt x="3514" y="8970"/>
                    </a:cubicBezTo>
                    <a:cubicBezTo>
                      <a:pt x="3614" y="8924"/>
                      <a:pt x="3614" y="8924"/>
                      <a:pt x="3614" y="8924"/>
                    </a:cubicBezTo>
                    <a:cubicBezTo>
                      <a:pt x="3605" y="8909"/>
                      <a:pt x="3585" y="8875"/>
                      <a:pt x="3584" y="8850"/>
                    </a:cubicBezTo>
                    <a:cubicBezTo>
                      <a:pt x="3584" y="8843"/>
                      <a:pt x="3587" y="8834"/>
                      <a:pt x="3594" y="8830"/>
                    </a:cubicBezTo>
                    <a:cubicBezTo>
                      <a:pt x="3637" y="8804"/>
                      <a:pt x="3671" y="8783"/>
                      <a:pt x="3684" y="8775"/>
                    </a:cubicBezTo>
                    <a:cubicBezTo>
                      <a:pt x="3676" y="8757"/>
                      <a:pt x="3676" y="8757"/>
                      <a:pt x="3676" y="8757"/>
                    </a:cubicBezTo>
                    <a:lnTo>
                      <a:pt x="3321" y="8931"/>
                    </a:lnTo>
                    <a:close/>
                    <a:moveTo>
                      <a:pt x="658" y="8979"/>
                    </a:moveTo>
                    <a:cubicBezTo>
                      <a:pt x="590" y="8917"/>
                      <a:pt x="590" y="8917"/>
                      <a:pt x="590" y="8917"/>
                    </a:cubicBezTo>
                    <a:cubicBezTo>
                      <a:pt x="695" y="8852"/>
                      <a:pt x="695" y="8852"/>
                      <a:pt x="695" y="8852"/>
                    </a:cubicBezTo>
                    <a:cubicBezTo>
                      <a:pt x="765" y="8916"/>
                      <a:pt x="765" y="8916"/>
                      <a:pt x="765" y="8916"/>
                    </a:cubicBezTo>
                    <a:lnTo>
                      <a:pt x="658" y="8979"/>
                    </a:lnTo>
                    <a:close/>
                    <a:moveTo>
                      <a:pt x="613" y="8919"/>
                    </a:moveTo>
                    <a:cubicBezTo>
                      <a:pt x="659" y="8962"/>
                      <a:pt x="659" y="8962"/>
                      <a:pt x="659" y="8962"/>
                    </a:cubicBezTo>
                    <a:cubicBezTo>
                      <a:pt x="742" y="8914"/>
                      <a:pt x="742" y="8914"/>
                      <a:pt x="742" y="8914"/>
                    </a:cubicBezTo>
                    <a:cubicBezTo>
                      <a:pt x="693" y="8869"/>
                      <a:pt x="693" y="8869"/>
                      <a:pt x="693" y="8869"/>
                    </a:cubicBezTo>
                    <a:lnTo>
                      <a:pt x="613" y="8919"/>
                    </a:lnTo>
                    <a:close/>
                    <a:moveTo>
                      <a:pt x="532" y="9420"/>
                    </a:moveTo>
                    <a:cubicBezTo>
                      <a:pt x="532" y="9408"/>
                      <a:pt x="538" y="9396"/>
                      <a:pt x="539" y="9392"/>
                    </a:cubicBezTo>
                    <a:cubicBezTo>
                      <a:pt x="539" y="9392"/>
                      <a:pt x="539" y="9391"/>
                      <a:pt x="539" y="9390"/>
                    </a:cubicBezTo>
                    <a:cubicBezTo>
                      <a:pt x="539" y="9386"/>
                      <a:pt x="543" y="9386"/>
                      <a:pt x="543" y="9386"/>
                    </a:cubicBezTo>
                    <a:cubicBezTo>
                      <a:pt x="544" y="9386"/>
                      <a:pt x="546" y="9386"/>
                      <a:pt x="547" y="9387"/>
                    </a:cubicBezTo>
                    <a:cubicBezTo>
                      <a:pt x="547" y="9388"/>
                      <a:pt x="547" y="9388"/>
                      <a:pt x="548" y="9389"/>
                    </a:cubicBezTo>
                    <a:cubicBezTo>
                      <a:pt x="556" y="9394"/>
                      <a:pt x="590" y="9411"/>
                      <a:pt x="598" y="9415"/>
                    </a:cubicBezTo>
                    <a:cubicBezTo>
                      <a:pt x="607" y="9420"/>
                      <a:pt x="648" y="9423"/>
                      <a:pt x="684" y="9432"/>
                    </a:cubicBezTo>
                    <a:cubicBezTo>
                      <a:pt x="721" y="9443"/>
                      <a:pt x="732" y="9474"/>
                      <a:pt x="737" y="9504"/>
                    </a:cubicBezTo>
                    <a:cubicBezTo>
                      <a:pt x="743" y="9533"/>
                      <a:pt x="751" y="9536"/>
                      <a:pt x="775" y="9552"/>
                    </a:cubicBezTo>
                    <a:cubicBezTo>
                      <a:pt x="779" y="9555"/>
                      <a:pt x="784" y="9556"/>
                      <a:pt x="790" y="9556"/>
                    </a:cubicBezTo>
                    <a:cubicBezTo>
                      <a:pt x="812" y="9556"/>
                      <a:pt x="846" y="9538"/>
                      <a:pt x="883" y="9519"/>
                    </a:cubicBezTo>
                    <a:cubicBezTo>
                      <a:pt x="898" y="9511"/>
                      <a:pt x="909" y="9508"/>
                      <a:pt x="918" y="9508"/>
                    </a:cubicBezTo>
                    <a:cubicBezTo>
                      <a:pt x="940" y="9508"/>
                      <a:pt x="946" y="9525"/>
                      <a:pt x="946" y="9525"/>
                    </a:cubicBezTo>
                    <a:cubicBezTo>
                      <a:pt x="947" y="9529"/>
                      <a:pt x="947" y="9529"/>
                      <a:pt x="947" y="9529"/>
                    </a:cubicBezTo>
                    <a:cubicBezTo>
                      <a:pt x="944" y="9530"/>
                      <a:pt x="944" y="9530"/>
                      <a:pt x="944" y="9530"/>
                    </a:cubicBezTo>
                    <a:cubicBezTo>
                      <a:pt x="939" y="9532"/>
                      <a:pt x="925" y="9557"/>
                      <a:pt x="912" y="9582"/>
                    </a:cubicBezTo>
                    <a:cubicBezTo>
                      <a:pt x="897" y="9607"/>
                      <a:pt x="865" y="9638"/>
                      <a:pt x="821" y="9667"/>
                    </a:cubicBezTo>
                    <a:cubicBezTo>
                      <a:pt x="793" y="9685"/>
                      <a:pt x="759" y="9692"/>
                      <a:pt x="733" y="9692"/>
                    </a:cubicBezTo>
                    <a:cubicBezTo>
                      <a:pt x="717" y="9692"/>
                      <a:pt x="704" y="9689"/>
                      <a:pt x="696" y="9686"/>
                    </a:cubicBezTo>
                    <a:cubicBezTo>
                      <a:pt x="675" y="9678"/>
                      <a:pt x="615" y="9651"/>
                      <a:pt x="615" y="9651"/>
                    </a:cubicBezTo>
                    <a:cubicBezTo>
                      <a:pt x="610" y="9648"/>
                      <a:pt x="610" y="9648"/>
                      <a:pt x="610" y="9648"/>
                    </a:cubicBezTo>
                    <a:cubicBezTo>
                      <a:pt x="614" y="9644"/>
                      <a:pt x="614" y="9644"/>
                      <a:pt x="614" y="9644"/>
                    </a:cubicBezTo>
                    <a:cubicBezTo>
                      <a:pt x="614" y="9644"/>
                      <a:pt x="645" y="9608"/>
                      <a:pt x="645" y="9567"/>
                    </a:cubicBezTo>
                    <a:cubicBezTo>
                      <a:pt x="645" y="9562"/>
                      <a:pt x="644" y="9556"/>
                      <a:pt x="643" y="9551"/>
                    </a:cubicBezTo>
                    <a:cubicBezTo>
                      <a:pt x="633" y="9504"/>
                      <a:pt x="582" y="9477"/>
                      <a:pt x="549" y="9452"/>
                    </a:cubicBezTo>
                    <a:cubicBezTo>
                      <a:pt x="536" y="9442"/>
                      <a:pt x="532" y="9430"/>
                      <a:pt x="532" y="9420"/>
                    </a:cubicBezTo>
                    <a:close/>
                    <a:moveTo>
                      <a:pt x="540" y="9420"/>
                    </a:moveTo>
                    <a:cubicBezTo>
                      <a:pt x="540" y="9428"/>
                      <a:pt x="543" y="9437"/>
                      <a:pt x="554" y="9445"/>
                    </a:cubicBezTo>
                    <a:cubicBezTo>
                      <a:pt x="586" y="9470"/>
                      <a:pt x="639" y="9497"/>
                      <a:pt x="651" y="9549"/>
                    </a:cubicBezTo>
                    <a:cubicBezTo>
                      <a:pt x="652" y="9555"/>
                      <a:pt x="653" y="9561"/>
                      <a:pt x="653" y="9567"/>
                    </a:cubicBezTo>
                    <a:cubicBezTo>
                      <a:pt x="653" y="9603"/>
                      <a:pt x="632" y="9634"/>
                      <a:pt x="623" y="9645"/>
                    </a:cubicBezTo>
                    <a:cubicBezTo>
                      <a:pt x="638" y="9652"/>
                      <a:pt x="682" y="9672"/>
                      <a:pt x="699" y="9679"/>
                    </a:cubicBezTo>
                    <a:cubicBezTo>
                      <a:pt x="706" y="9681"/>
                      <a:pt x="718" y="9683"/>
                      <a:pt x="733" y="9683"/>
                    </a:cubicBezTo>
                    <a:cubicBezTo>
                      <a:pt x="758" y="9683"/>
                      <a:pt x="790" y="9677"/>
                      <a:pt x="817" y="9660"/>
                    </a:cubicBezTo>
                    <a:cubicBezTo>
                      <a:pt x="860" y="9631"/>
                      <a:pt x="891" y="9601"/>
                      <a:pt x="904" y="9578"/>
                    </a:cubicBezTo>
                    <a:cubicBezTo>
                      <a:pt x="917" y="9556"/>
                      <a:pt x="927" y="9534"/>
                      <a:pt x="937" y="9525"/>
                    </a:cubicBezTo>
                    <a:cubicBezTo>
                      <a:pt x="935" y="9522"/>
                      <a:pt x="930" y="9517"/>
                      <a:pt x="918" y="9517"/>
                    </a:cubicBezTo>
                    <a:cubicBezTo>
                      <a:pt x="911" y="9517"/>
                      <a:pt x="901" y="9519"/>
                      <a:pt x="887" y="9526"/>
                    </a:cubicBezTo>
                    <a:cubicBezTo>
                      <a:pt x="849" y="9545"/>
                      <a:pt x="816" y="9564"/>
                      <a:pt x="790" y="9564"/>
                    </a:cubicBezTo>
                    <a:cubicBezTo>
                      <a:pt x="783" y="9564"/>
                      <a:pt x="776" y="9562"/>
                      <a:pt x="770" y="9559"/>
                    </a:cubicBezTo>
                    <a:cubicBezTo>
                      <a:pt x="748" y="9544"/>
                      <a:pt x="734" y="9537"/>
                      <a:pt x="729" y="9505"/>
                    </a:cubicBezTo>
                    <a:cubicBezTo>
                      <a:pt x="723" y="9475"/>
                      <a:pt x="715" y="9449"/>
                      <a:pt x="681" y="9440"/>
                    </a:cubicBezTo>
                    <a:cubicBezTo>
                      <a:pt x="646" y="9431"/>
                      <a:pt x="608" y="9428"/>
                      <a:pt x="595" y="9422"/>
                    </a:cubicBezTo>
                    <a:cubicBezTo>
                      <a:pt x="589" y="9420"/>
                      <a:pt x="576" y="9413"/>
                      <a:pt x="564" y="9407"/>
                    </a:cubicBezTo>
                    <a:cubicBezTo>
                      <a:pt x="558" y="9404"/>
                      <a:pt x="552" y="9401"/>
                      <a:pt x="548" y="9398"/>
                    </a:cubicBezTo>
                    <a:cubicBezTo>
                      <a:pt x="547" y="9398"/>
                      <a:pt x="546" y="9398"/>
                      <a:pt x="546" y="9397"/>
                    </a:cubicBezTo>
                    <a:cubicBezTo>
                      <a:pt x="543" y="9403"/>
                      <a:pt x="540" y="9411"/>
                      <a:pt x="540" y="9420"/>
                    </a:cubicBezTo>
                    <a:close/>
                    <a:moveTo>
                      <a:pt x="596" y="9246"/>
                    </a:moveTo>
                    <a:cubicBezTo>
                      <a:pt x="642" y="9071"/>
                      <a:pt x="642" y="9071"/>
                      <a:pt x="642" y="9071"/>
                    </a:cubicBezTo>
                    <a:cubicBezTo>
                      <a:pt x="803" y="9234"/>
                      <a:pt x="803" y="9234"/>
                      <a:pt x="803" y="9234"/>
                    </a:cubicBezTo>
                    <a:lnTo>
                      <a:pt x="596" y="9246"/>
                    </a:lnTo>
                    <a:close/>
                    <a:moveTo>
                      <a:pt x="615" y="9231"/>
                    </a:moveTo>
                    <a:cubicBezTo>
                      <a:pt x="771" y="9222"/>
                      <a:pt x="771" y="9222"/>
                      <a:pt x="771" y="9222"/>
                    </a:cubicBezTo>
                    <a:cubicBezTo>
                      <a:pt x="650" y="9099"/>
                      <a:pt x="650" y="9099"/>
                      <a:pt x="650" y="9099"/>
                    </a:cubicBezTo>
                    <a:lnTo>
                      <a:pt x="615" y="9231"/>
                    </a:lnTo>
                    <a:close/>
                    <a:moveTo>
                      <a:pt x="5446" y="9516"/>
                    </a:moveTo>
                    <a:cubicBezTo>
                      <a:pt x="5595" y="9542"/>
                      <a:pt x="5595" y="9542"/>
                      <a:pt x="5595" y="9542"/>
                    </a:cubicBezTo>
                    <a:cubicBezTo>
                      <a:pt x="5583" y="9613"/>
                      <a:pt x="5583" y="9613"/>
                      <a:pt x="5583" y="9613"/>
                    </a:cubicBezTo>
                    <a:cubicBezTo>
                      <a:pt x="5577" y="9612"/>
                      <a:pt x="5577" y="9612"/>
                      <a:pt x="5577" y="9612"/>
                    </a:cubicBezTo>
                    <a:cubicBezTo>
                      <a:pt x="5434" y="9587"/>
                      <a:pt x="5434" y="9587"/>
                      <a:pt x="5434" y="9587"/>
                    </a:cubicBezTo>
                    <a:lnTo>
                      <a:pt x="5446" y="9516"/>
                    </a:lnTo>
                    <a:close/>
                    <a:moveTo>
                      <a:pt x="5449" y="9576"/>
                    </a:moveTo>
                    <a:cubicBezTo>
                      <a:pt x="5573" y="9598"/>
                      <a:pt x="5573" y="9598"/>
                      <a:pt x="5573" y="9598"/>
                    </a:cubicBezTo>
                    <a:cubicBezTo>
                      <a:pt x="5580" y="9553"/>
                      <a:pt x="5580" y="9553"/>
                      <a:pt x="5580" y="9553"/>
                    </a:cubicBezTo>
                    <a:cubicBezTo>
                      <a:pt x="5457" y="9531"/>
                      <a:pt x="5457" y="9531"/>
                      <a:pt x="5457" y="9531"/>
                    </a:cubicBezTo>
                    <a:lnTo>
                      <a:pt x="5449" y="9576"/>
                    </a:lnTo>
                    <a:close/>
                    <a:moveTo>
                      <a:pt x="816" y="10720"/>
                    </a:moveTo>
                    <a:cubicBezTo>
                      <a:pt x="757" y="10751"/>
                      <a:pt x="757" y="10751"/>
                      <a:pt x="757" y="10751"/>
                    </a:cubicBezTo>
                    <a:cubicBezTo>
                      <a:pt x="635" y="10529"/>
                      <a:pt x="635" y="10529"/>
                      <a:pt x="635" y="10529"/>
                    </a:cubicBezTo>
                    <a:cubicBezTo>
                      <a:pt x="693" y="10497"/>
                      <a:pt x="693" y="10497"/>
                      <a:pt x="693" y="10497"/>
                    </a:cubicBezTo>
                    <a:lnTo>
                      <a:pt x="816" y="10720"/>
                    </a:lnTo>
                    <a:close/>
                    <a:moveTo>
                      <a:pt x="762" y="10732"/>
                    </a:moveTo>
                    <a:cubicBezTo>
                      <a:pt x="797" y="10714"/>
                      <a:pt x="797" y="10714"/>
                      <a:pt x="797" y="10714"/>
                    </a:cubicBezTo>
                    <a:cubicBezTo>
                      <a:pt x="687" y="10516"/>
                      <a:pt x="687" y="10516"/>
                      <a:pt x="687" y="10516"/>
                    </a:cubicBezTo>
                    <a:cubicBezTo>
                      <a:pt x="653" y="10534"/>
                      <a:pt x="653" y="10534"/>
                      <a:pt x="653" y="10534"/>
                    </a:cubicBezTo>
                    <a:lnTo>
                      <a:pt x="762" y="10732"/>
                    </a:lnTo>
                    <a:close/>
                    <a:moveTo>
                      <a:pt x="4441" y="7077"/>
                    </a:moveTo>
                    <a:cubicBezTo>
                      <a:pt x="4336" y="7065"/>
                      <a:pt x="4336" y="7065"/>
                      <a:pt x="4336" y="7065"/>
                    </a:cubicBezTo>
                    <a:cubicBezTo>
                      <a:pt x="4342" y="6872"/>
                      <a:pt x="4342" y="6872"/>
                      <a:pt x="4342" y="6872"/>
                    </a:cubicBezTo>
                    <a:cubicBezTo>
                      <a:pt x="4413" y="6714"/>
                      <a:pt x="4413" y="6714"/>
                      <a:pt x="4413" y="6714"/>
                    </a:cubicBezTo>
                    <a:cubicBezTo>
                      <a:pt x="4509" y="6770"/>
                      <a:pt x="4509" y="6770"/>
                      <a:pt x="4509" y="6770"/>
                    </a:cubicBezTo>
                    <a:cubicBezTo>
                      <a:pt x="4448" y="7077"/>
                      <a:pt x="4448" y="7077"/>
                      <a:pt x="4448" y="7077"/>
                    </a:cubicBezTo>
                    <a:lnTo>
                      <a:pt x="4441" y="7077"/>
                    </a:lnTo>
                    <a:close/>
                    <a:moveTo>
                      <a:pt x="4436" y="7061"/>
                    </a:moveTo>
                    <a:cubicBezTo>
                      <a:pt x="4492" y="6778"/>
                      <a:pt x="4492" y="6778"/>
                      <a:pt x="4492" y="6778"/>
                    </a:cubicBezTo>
                    <a:cubicBezTo>
                      <a:pt x="4419" y="6735"/>
                      <a:pt x="4419" y="6735"/>
                      <a:pt x="4419" y="6735"/>
                    </a:cubicBezTo>
                    <a:cubicBezTo>
                      <a:pt x="4356" y="6875"/>
                      <a:pt x="4356" y="6875"/>
                      <a:pt x="4356" y="6875"/>
                    </a:cubicBezTo>
                    <a:cubicBezTo>
                      <a:pt x="4351" y="7052"/>
                      <a:pt x="4351" y="7052"/>
                      <a:pt x="4351" y="7052"/>
                    </a:cubicBezTo>
                    <a:lnTo>
                      <a:pt x="4436" y="7061"/>
                    </a:lnTo>
                    <a:close/>
                    <a:moveTo>
                      <a:pt x="4085" y="6477"/>
                    </a:moveTo>
                    <a:cubicBezTo>
                      <a:pt x="4067" y="6482"/>
                      <a:pt x="4067" y="6482"/>
                      <a:pt x="4067" y="6482"/>
                    </a:cubicBezTo>
                    <a:cubicBezTo>
                      <a:pt x="3966" y="6510"/>
                      <a:pt x="3966" y="6510"/>
                      <a:pt x="3966" y="6510"/>
                    </a:cubicBezTo>
                    <a:cubicBezTo>
                      <a:pt x="3945" y="6571"/>
                      <a:pt x="3945" y="6571"/>
                      <a:pt x="3945" y="6571"/>
                    </a:cubicBezTo>
                    <a:cubicBezTo>
                      <a:pt x="3842" y="6511"/>
                      <a:pt x="3842" y="6511"/>
                      <a:pt x="3842" y="6511"/>
                    </a:cubicBezTo>
                    <a:cubicBezTo>
                      <a:pt x="3898" y="6375"/>
                      <a:pt x="3898" y="6375"/>
                      <a:pt x="3898" y="6375"/>
                    </a:cubicBezTo>
                    <a:lnTo>
                      <a:pt x="4085" y="6477"/>
                    </a:lnTo>
                    <a:close/>
                    <a:moveTo>
                      <a:pt x="4046" y="6473"/>
                    </a:moveTo>
                    <a:cubicBezTo>
                      <a:pt x="3906" y="6396"/>
                      <a:pt x="3906" y="6396"/>
                      <a:pt x="3906" y="6396"/>
                    </a:cubicBezTo>
                    <a:cubicBezTo>
                      <a:pt x="3860" y="6504"/>
                      <a:pt x="3860" y="6504"/>
                      <a:pt x="3860" y="6504"/>
                    </a:cubicBezTo>
                    <a:cubicBezTo>
                      <a:pt x="3937" y="6549"/>
                      <a:pt x="3937" y="6549"/>
                      <a:pt x="3937" y="6549"/>
                    </a:cubicBezTo>
                    <a:cubicBezTo>
                      <a:pt x="3954" y="6498"/>
                      <a:pt x="3954" y="6498"/>
                      <a:pt x="3954" y="6498"/>
                    </a:cubicBezTo>
                    <a:lnTo>
                      <a:pt x="4046" y="6473"/>
                    </a:lnTo>
                    <a:close/>
                    <a:moveTo>
                      <a:pt x="3491" y="6002"/>
                    </a:moveTo>
                    <a:cubicBezTo>
                      <a:pt x="3634" y="6045"/>
                      <a:pt x="3634" y="6045"/>
                      <a:pt x="3634" y="6045"/>
                    </a:cubicBezTo>
                    <a:cubicBezTo>
                      <a:pt x="3631" y="6053"/>
                      <a:pt x="3631" y="6053"/>
                      <a:pt x="3631" y="6053"/>
                    </a:cubicBezTo>
                    <a:cubicBezTo>
                      <a:pt x="3575" y="6194"/>
                      <a:pt x="3575" y="6194"/>
                      <a:pt x="3575" y="6194"/>
                    </a:cubicBezTo>
                    <a:cubicBezTo>
                      <a:pt x="3421" y="6144"/>
                      <a:pt x="3421" y="6144"/>
                      <a:pt x="3421" y="6144"/>
                    </a:cubicBezTo>
                    <a:lnTo>
                      <a:pt x="3491" y="6002"/>
                    </a:lnTo>
                    <a:close/>
                    <a:moveTo>
                      <a:pt x="3498" y="6020"/>
                    </a:moveTo>
                    <a:cubicBezTo>
                      <a:pt x="3442" y="6135"/>
                      <a:pt x="3442" y="6135"/>
                      <a:pt x="3442" y="6135"/>
                    </a:cubicBezTo>
                    <a:cubicBezTo>
                      <a:pt x="3567" y="6176"/>
                      <a:pt x="3567" y="6176"/>
                      <a:pt x="3567" y="6176"/>
                    </a:cubicBezTo>
                    <a:cubicBezTo>
                      <a:pt x="3614" y="6055"/>
                      <a:pt x="3614" y="6055"/>
                      <a:pt x="3614" y="6055"/>
                    </a:cubicBezTo>
                    <a:lnTo>
                      <a:pt x="3498" y="6020"/>
                    </a:lnTo>
                    <a:close/>
                    <a:moveTo>
                      <a:pt x="5040" y="9822"/>
                    </a:moveTo>
                    <a:cubicBezTo>
                      <a:pt x="5051" y="10082"/>
                      <a:pt x="5051" y="10082"/>
                      <a:pt x="5051" y="10082"/>
                    </a:cubicBezTo>
                    <a:cubicBezTo>
                      <a:pt x="4967" y="10086"/>
                      <a:pt x="4967" y="10086"/>
                      <a:pt x="4967" y="10086"/>
                    </a:cubicBezTo>
                    <a:cubicBezTo>
                      <a:pt x="4967" y="10080"/>
                      <a:pt x="4967" y="10080"/>
                      <a:pt x="4967" y="10080"/>
                    </a:cubicBezTo>
                    <a:cubicBezTo>
                      <a:pt x="4956" y="9826"/>
                      <a:pt x="4956" y="9826"/>
                      <a:pt x="4956" y="9826"/>
                    </a:cubicBezTo>
                    <a:lnTo>
                      <a:pt x="5040" y="9822"/>
                    </a:lnTo>
                    <a:close/>
                    <a:moveTo>
                      <a:pt x="5038" y="10070"/>
                    </a:moveTo>
                    <a:cubicBezTo>
                      <a:pt x="5027" y="9836"/>
                      <a:pt x="5027" y="9836"/>
                      <a:pt x="5027" y="9836"/>
                    </a:cubicBezTo>
                    <a:cubicBezTo>
                      <a:pt x="4969" y="9839"/>
                      <a:pt x="4969" y="9839"/>
                      <a:pt x="4969" y="9839"/>
                    </a:cubicBezTo>
                    <a:cubicBezTo>
                      <a:pt x="4980" y="10072"/>
                      <a:pt x="4980" y="10072"/>
                      <a:pt x="4980" y="10072"/>
                    </a:cubicBezTo>
                    <a:lnTo>
                      <a:pt x="5038" y="10070"/>
                    </a:lnTo>
                    <a:close/>
                    <a:moveTo>
                      <a:pt x="3803" y="6124"/>
                    </a:moveTo>
                    <a:cubicBezTo>
                      <a:pt x="3727" y="6163"/>
                      <a:pt x="3727" y="6163"/>
                      <a:pt x="3727" y="6163"/>
                    </a:cubicBezTo>
                    <a:cubicBezTo>
                      <a:pt x="3805" y="6263"/>
                      <a:pt x="3805" y="6263"/>
                      <a:pt x="3805" y="6263"/>
                    </a:cubicBezTo>
                    <a:cubicBezTo>
                      <a:pt x="3767" y="6362"/>
                      <a:pt x="3767" y="6362"/>
                      <a:pt x="3767" y="6362"/>
                    </a:cubicBezTo>
                    <a:cubicBezTo>
                      <a:pt x="3342" y="6171"/>
                      <a:pt x="3342" y="6171"/>
                      <a:pt x="3342" y="6171"/>
                    </a:cubicBezTo>
                    <a:cubicBezTo>
                      <a:pt x="3346" y="6143"/>
                      <a:pt x="3346" y="6143"/>
                      <a:pt x="3346" y="6143"/>
                    </a:cubicBezTo>
                    <a:cubicBezTo>
                      <a:pt x="3303" y="6129"/>
                      <a:pt x="3303" y="6129"/>
                      <a:pt x="3303" y="6129"/>
                    </a:cubicBezTo>
                    <a:cubicBezTo>
                      <a:pt x="3370" y="6014"/>
                      <a:pt x="3370" y="6014"/>
                      <a:pt x="3370" y="6014"/>
                    </a:cubicBezTo>
                    <a:cubicBezTo>
                      <a:pt x="3396" y="6008"/>
                      <a:pt x="3396" y="6008"/>
                      <a:pt x="3396" y="6008"/>
                    </a:cubicBezTo>
                    <a:cubicBezTo>
                      <a:pt x="3438" y="5904"/>
                      <a:pt x="3438" y="5904"/>
                      <a:pt x="3438" y="5904"/>
                    </a:cubicBezTo>
                    <a:cubicBezTo>
                      <a:pt x="3853" y="6019"/>
                      <a:pt x="3853" y="6019"/>
                      <a:pt x="3853" y="6019"/>
                    </a:cubicBezTo>
                    <a:cubicBezTo>
                      <a:pt x="3849" y="6027"/>
                      <a:pt x="3849" y="6027"/>
                      <a:pt x="3849" y="6027"/>
                    </a:cubicBezTo>
                    <a:lnTo>
                      <a:pt x="3803" y="6124"/>
                    </a:lnTo>
                    <a:close/>
                    <a:moveTo>
                      <a:pt x="3792" y="6113"/>
                    </a:moveTo>
                    <a:cubicBezTo>
                      <a:pt x="3832" y="6029"/>
                      <a:pt x="3832" y="6029"/>
                      <a:pt x="3832" y="6029"/>
                    </a:cubicBezTo>
                    <a:cubicBezTo>
                      <a:pt x="3447" y="5922"/>
                      <a:pt x="3447" y="5922"/>
                      <a:pt x="3447" y="5922"/>
                    </a:cubicBezTo>
                    <a:cubicBezTo>
                      <a:pt x="3406" y="6020"/>
                      <a:pt x="3406" y="6020"/>
                      <a:pt x="3406" y="6020"/>
                    </a:cubicBezTo>
                    <a:cubicBezTo>
                      <a:pt x="3380" y="6027"/>
                      <a:pt x="3380" y="6027"/>
                      <a:pt x="3380" y="6027"/>
                    </a:cubicBezTo>
                    <a:cubicBezTo>
                      <a:pt x="3325" y="6121"/>
                      <a:pt x="3325" y="6121"/>
                      <a:pt x="3325" y="6121"/>
                    </a:cubicBezTo>
                    <a:cubicBezTo>
                      <a:pt x="3363" y="6133"/>
                      <a:pt x="3363" y="6133"/>
                      <a:pt x="3363" y="6133"/>
                    </a:cubicBezTo>
                    <a:cubicBezTo>
                      <a:pt x="3358" y="6162"/>
                      <a:pt x="3358" y="6162"/>
                      <a:pt x="3358" y="6162"/>
                    </a:cubicBezTo>
                    <a:cubicBezTo>
                      <a:pt x="3759" y="6342"/>
                      <a:pt x="3759" y="6342"/>
                      <a:pt x="3759" y="6342"/>
                    </a:cubicBezTo>
                    <a:cubicBezTo>
                      <a:pt x="3788" y="6266"/>
                      <a:pt x="3788" y="6266"/>
                      <a:pt x="3788" y="6266"/>
                    </a:cubicBezTo>
                    <a:cubicBezTo>
                      <a:pt x="3704" y="6158"/>
                      <a:pt x="3704" y="6158"/>
                      <a:pt x="3704" y="6158"/>
                    </a:cubicBezTo>
                    <a:lnTo>
                      <a:pt x="3792" y="6113"/>
                    </a:lnTo>
                    <a:close/>
                    <a:moveTo>
                      <a:pt x="3642" y="6531"/>
                    </a:moveTo>
                    <a:cubicBezTo>
                      <a:pt x="3487" y="6613"/>
                      <a:pt x="3487" y="6613"/>
                      <a:pt x="3487" y="6613"/>
                    </a:cubicBezTo>
                    <a:cubicBezTo>
                      <a:pt x="3157" y="6495"/>
                      <a:pt x="3157" y="6495"/>
                      <a:pt x="3157" y="6495"/>
                    </a:cubicBezTo>
                    <a:cubicBezTo>
                      <a:pt x="3283" y="6257"/>
                      <a:pt x="3283" y="6257"/>
                      <a:pt x="3283" y="6257"/>
                    </a:cubicBezTo>
                    <a:cubicBezTo>
                      <a:pt x="3652" y="6526"/>
                      <a:pt x="3652" y="6526"/>
                      <a:pt x="3652" y="6526"/>
                    </a:cubicBezTo>
                    <a:lnTo>
                      <a:pt x="3642" y="6531"/>
                    </a:lnTo>
                    <a:close/>
                    <a:moveTo>
                      <a:pt x="3624" y="6524"/>
                    </a:moveTo>
                    <a:cubicBezTo>
                      <a:pt x="3288" y="6279"/>
                      <a:pt x="3288" y="6279"/>
                      <a:pt x="3288" y="6279"/>
                    </a:cubicBezTo>
                    <a:cubicBezTo>
                      <a:pt x="3178" y="6487"/>
                      <a:pt x="3178" y="6487"/>
                      <a:pt x="3178" y="6487"/>
                    </a:cubicBezTo>
                    <a:cubicBezTo>
                      <a:pt x="3486" y="6597"/>
                      <a:pt x="3486" y="6597"/>
                      <a:pt x="3486" y="6597"/>
                    </a:cubicBezTo>
                    <a:lnTo>
                      <a:pt x="3624" y="6524"/>
                    </a:lnTo>
                    <a:close/>
                    <a:moveTo>
                      <a:pt x="5326" y="10496"/>
                    </a:moveTo>
                    <a:cubicBezTo>
                      <a:pt x="5255" y="10513"/>
                      <a:pt x="5255" y="10513"/>
                      <a:pt x="5255" y="10513"/>
                    </a:cubicBezTo>
                    <a:cubicBezTo>
                      <a:pt x="5268" y="10568"/>
                      <a:pt x="5268" y="10568"/>
                      <a:pt x="5268" y="10568"/>
                    </a:cubicBezTo>
                    <a:cubicBezTo>
                      <a:pt x="5262" y="10570"/>
                      <a:pt x="5262" y="10570"/>
                      <a:pt x="5262" y="10570"/>
                    </a:cubicBezTo>
                    <a:cubicBezTo>
                      <a:pt x="5149" y="10600"/>
                      <a:pt x="5149" y="10600"/>
                      <a:pt x="5149" y="10600"/>
                    </a:cubicBezTo>
                    <a:cubicBezTo>
                      <a:pt x="5122" y="10486"/>
                      <a:pt x="5122" y="10486"/>
                      <a:pt x="5122" y="10486"/>
                    </a:cubicBezTo>
                    <a:cubicBezTo>
                      <a:pt x="5132" y="10483"/>
                      <a:pt x="5132" y="10483"/>
                      <a:pt x="5132" y="10483"/>
                    </a:cubicBezTo>
                    <a:cubicBezTo>
                      <a:pt x="5120" y="10432"/>
                      <a:pt x="5120" y="10432"/>
                      <a:pt x="5120" y="10432"/>
                    </a:cubicBezTo>
                    <a:cubicBezTo>
                      <a:pt x="5300" y="10389"/>
                      <a:pt x="5300" y="10389"/>
                      <a:pt x="5300" y="10389"/>
                    </a:cubicBezTo>
                    <a:lnTo>
                      <a:pt x="5326" y="10496"/>
                    </a:lnTo>
                    <a:close/>
                    <a:moveTo>
                      <a:pt x="5239" y="10503"/>
                    </a:moveTo>
                    <a:cubicBezTo>
                      <a:pt x="5310" y="10486"/>
                      <a:pt x="5310" y="10486"/>
                      <a:pt x="5310" y="10486"/>
                    </a:cubicBezTo>
                    <a:cubicBezTo>
                      <a:pt x="5290" y="10405"/>
                      <a:pt x="5290" y="10405"/>
                      <a:pt x="5290" y="10405"/>
                    </a:cubicBezTo>
                    <a:cubicBezTo>
                      <a:pt x="5135" y="10442"/>
                      <a:pt x="5135" y="10442"/>
                      <a:pt x="5135" y="10442"/>
                    </a:cubicBezTo>
                    <a:cubicBezTo>
                      <a:pt x="5148" y="10493"/>
                      <a:pt x="5148" y="10493"/>
                      <a:pt x="5148" y="10493"/>
                    </a:cubicBezTo>
                    <a:cubicBezTo>
                      <a:pt x="5138" y="10495"/>
                      <a:pt x="5138" y="10495"/>
                      <a:pt x="5138" y="10495"/>
                    </a:cubicBezTo>
                    <a:cubicBezTo>
                      <a:pt x="5159" y="10584"/>
                      <a:pt x="5159" y="10584"/>
                      <a:pt x="5159" y="10584"/>
                    </a:cubicBezTo>
                    <a:cubicBezTo>
                      <a:pt x="5252" y="10559"/>
                      <a:pt x="5252" y="10559"/>
                      <a:pt x="5252" y="10559"/>
                    </a:cubicBezTo>
                    <a:lnTo>
                      <a:pt x="5239" y="10503"/>
                    </a:lnTo>
                    <a:close/>
                    <a:moveTo>
                      <a:pt x="790" y="10805"/>
                    </a:moveTo>
                    <a:cubicBezTo>
                      <a:pt x="798" y="10821"/>
                      <a:pt x="798" y="10821"/>
                      <a:pt x="798" y="10821"/>
                    </a:cubicBezTo>
                    <a:cubicBezTo>
                      <a:pt x="814" y="10821"/>
                      <a:pt x="814" y="10821"/>
                      <a:pt x="814" y="10821"/>
                    </a:cubicBezTo>
                    <a:cubicBezTo>
                      <a:pt x="808" y="10811"/>
                      <a:pt x="808" y="10811"/>
                      <a:pt x="808" y="10811"/>
                    </a:cubicBezTo>
                    <a:cubicBezTo>
                      <a:pt x="845" y="10789"/>
                      <a:pt x="845" y="10789"/>
                      <a:pt x="845" y="10789"/>
                    </a:cubicBezTo>
                    <a:cubicBezTo>
                      <a:pt x="865" y="10821"/>
                      <a:pt x="865" y="10821"/>
                      <a:pt x="865" y="10821"/>
                    </a:cubicBezTo>
                    <a:cubicBezTo>
                      <a:pt x="881" y="10821"/>
                      <a:pt x="881" y="10821"/>
                      <a:pt x="881" y="10821"/>
                    </a:cubicBezTo>
                    <a:cubicBezTo>
                      <a:pt x="850" y="10771"/>
                      <a:pt x="850" y="10771"/>
                      <a:pt x="850" y="10771"/>
                    </a:cubicBezTo>
                    <a:lnTo>
                      <a:pt x="790" y="10805"/>
                    </a:lnTo>
                    <a:close/>
                    <a:moveTo>
                      <a:pt x="623" y="5316"/>
                    </a:moveTo>
                    <a:cubicBezTo>
                      <a:pt x="500" y="5172"/>
                      <a:pt x="500" y="5172"/>
                      <a:pt x="500" y="5172"/>
                    </a:cubicBezTo>
                    <a:cubicBezTo>
                      <a:pt x="443" y="5218"/>
                      <a:pt x="443" y="5218"/>
                      <a:pt x="443" y="5218"/>
                    </a:cubicBezTo>
                    <a:cubicBezTo>
                      <a:pt x="307" y="5053"/>
                      <a:pt x="307" y="5053"/>
                      <a:pt x="307" y="5053"/>
                    </a:cubicBezTo>
                    <a:cubicBezTo>
                      <a:pt x="363" y="5000"/>
                      <a:pt x="363" y="5000"/>
                      <a:pt x="363" y="5000"/>
                    </a:cubicBezTo>
                    <a:cubicBezTo>
                      <a:pt x="202" y="4812"/>
                      <a:pt x="202" y="4812"/>
                      <a:pt x="202" y="4812"/>
                    </a:cubicBezTo>
                    <a:cubicBezTo>
                      <a:pt x="196" y="4817"/>
                      <a:pt x="196" y="4817"/>
                      <a:pt x="196" y="4817"/>
                    </a:cubicBezTo>
                    <a:cubicBezTo>
                      <a:pt x="3" y="4984"/>
                      <a:pt x="3" y="4984"/>
                      <a:pt x="3" y="4984"/>
                    </a:cubicBezTo>
                    <a:cubicBezTo>
                      <a:pt x="3" y="5003"/>
                      <a:pt x="3" y="5003"/>
                      <a:pt x="3" y="5003"/>
                    </a:cubicBezTo>
                    <a:cubicBezTo>
                      <a:pt x="200" y="4833"/>
                      <a:pt x="200" y="4833"/>
                      <a:pt x="200" y="4833"/>
                    </a:cubicBezTo>
                    <a:cubicBezTo>
                      <a:pt x="343" y="4998"/>
                      <a:pt x="343" y="4998"/>
                      <a:pt x="343" y="4998"/>
                    </a:cubicBezTo>
                    <a:cubicBezTo>
                      <a:pt x="287" y="5052"/>
                      <a:pt x="287" y="5052"/>
                      <a:pt x="287" y="5052"/>
                    </a:cubicBezTo>
                    <a:cubicBezTo>
                      <a:pt x="440" y="5238"/>
                      <a:pt x="440" y="5238"/>
                      <a:pt x="440" y="5238"/>
                    </a:cubicBezTo>
                    <a:cubicBezTo>
                      <a:pt x="498" y="5193"/>
                      <a:pt x="498" y="5193"/>
                      <a:pt x="498" y="5193"/>
                    </a:cubicBezTo>
                    <a:cubicBezTo>
                      <a:pt x="602" y="5314"/>
                      <a:pt x="602" y="5314"/>
                      <a:pt x="602" y="5314"/>
                    </a:cubicBezTo>
                    <a:cubicBezTo>
                      <a:pt x="82" y="5775"/>
                      <a:pt x="82" y="5775"/>
                      <a:pt x="82" y="5775"/>
                    </a:cubicBezTo>
                    <a:cubicBezTo>
                      <a:pt x="3" y="5683"/>
                      <a:pt x="3" y="5683"/>
                      <a:pt x="3" y="5683"/>
                    </a:cubicBezTo>
                    <a:cubicBezTo>
                      <a:pt x="3" y="5705"/>
                      <a:pt x="3" y="5705"/>
                      <a:pt x="3" y="5705"/>
                    </a:cubicBezTo>
                    <a:cubicBezTo>
                      <a:pt x="81" y="5796"/>
                      <a:pt x="81" y="5796"/>
                      <a:pt x="81" y="5796"/>
                    </a:cubicBezTo>
                    <a:lnTo>
                      <a:pt x="623" y="5316"/>
                    </a:lnTo>
                    <a:close/>
                    <a:moveTo>
                      <a:pt x="158" y="4431"/>
                    </a:moveTo>
                    <a:cubicBezTo>
                      <a:pt x="363" y="4671"/>
                      <a:pt x="363" y="4671"/>
                      <a:pt x="363" y="4671"/>
                    </a:cubicBezTo>
                    <a:cubicBezTo>
                      <a:pt x="905" y="4190"/>
                      <a:pt x="905" y="4190"/>
                      <a:pt x="905" y="4190"/>
                    </a:cubicBezTo>
                    <a:cubicBezTo>
                      <a:pt x="782" y="4047"/>
                      <a:pt x="782" y="4047"/>
                      <a:pt x="782" y="4047"/>
                    </a:cubicBezTo>
                    <a:cubicBezTo>
                      <a:pt x="725" y="4092"/>
                      <a:pt x="725" y="4092"/>
                      <a:pt x="725" y="4092"/>
                    </a:cubicBezTo>
                    <a:cubicBezTo>
                      <a:pt x="589" y="3928"/>
                      <a:pt x="589" y="3928"/>
                      <a:pt x="589" y="3928"/>
                    </a:cubicBezTo>
                    <a:cubicBezTo>
                      <a:pt x="645" y="3874"/>
                      <a:pt x="645" y="3874"/>
                      <a:pt x="645" y="3874"/>
                    </a:cubicBezTo>
                    <a:cubicBezTo>
                      <a:pt x="484" y="3687"/>
                      <a:pt x="484" y="3687"/>
                      <a:pt x="484" y="3687"/>
                    </a:cubicBezTo>
                    <a:cubicBezTo>
                      <a:pt x="478" y="3692"/>
                      <a:pt x="478" y="3692"/>
                      <a:pt x="478" y="3692"/>
                    </a:cubicBezTo>
                    <a:cubicBezTo>
                      <a:pt x="249" y="3890"/>
                      <a:pt x="249" y="3890"/>
                      <a:pt x="249" y="3890"/>
                    </a:cubicBezTo>
                    <a:cubicBezTo>
                      <a:pt x="221" y="3858"/>
                      <a:pt x="221" y="3858"/>
                      <a:pt x="221" y="3858"/>
                    </a:cubicBezTo>
                    <a:cubicBezTo>
                      <a:pt x="3" y="4045"/>
                      <a:pt x="3" y="4045"/>
                      <a:pt x="3" y="4045"/>
                    </a:cubicBezTo>
                    <a:cubicBezTo>
                      <a:pt x="3" y="4064"/>
                      <a:pt x="3" y="4064"/>
                      <a:pt x="3" y="4064"/>
                    </a:cubicBezTo>
                    <a:cubicBezTo>
                      <a:pt x="219" y="3879"/>
                      <a:pt x="219" y="3879"/>
                      <a:pt x="219" y="3879"/>
                    </a:cubicBezTo>
                    <a:cubicBezTo>
                      <a:pt x="247" y="3911"/>
                      <a:pt x="247" y="3911"/>
                      <a:pt x="247" y="3911"/>
                    </a:cubicBezTo>
                    <a:cubicBezTo>
                      <a:pt x="483" y="3708"/>
                      <a:pt x="483" y="3708"/>
                      <a:pt x="483" y="3708"/>
                    </a:cubicBezTo>
                    <a:cubicBezTo>
                      <a:pt x="625" y="3873"/>
                      <a:pt x="625" y="3873"/>
                      <a:pt x="625" y="3873"/>
                    </a:cubicBezTo>
                    <a:cubicBezTo>
                      <a:pt x="569" y="3927"/>
                      <a:pt x="569" y="3927"/>
                      <a:pt x="569" y="3927"/>
                    </a:cubicBezTo>
                    <a:cubicBezTo>
                      <a:pt x="722" y="4113"/>
                      <a:pt x="722" y="4113"/>
                      <a:pt x="722" y="4113"/>
                    </a:cubicBezTo>
                    <a:cubicBezTo>
                      <a:pt x="780" y="4068"/>
                      <a:pt x="780" y="4068"/>
                      <a:pt x="780" y="4068"/>
                    </a:cubicBezTo>
                    <a:cubicBezTo>
                      <a:pt x="884" y="4189"/>
                      <a:pt x="884" y="4189"/>
                      <a:pt x="884" y="4189"/>
                    </a:cubicBezTo>
                    <a:cubicBezTo>
                      <a:pt x="365" y="4650"/>
                      <a:pt x="365" y="4650"/>
                      <a:pt x="365" y="4650"/>
                    </a:cubicBezTo>
                    <a:cubicBezTo>
                      <a:pt x="159" y="4410"/>
                      <a:pt x="159" y="4410"/>
                      <a:pt x="159" y="4410"/>
                    </a:cubicBezTo>
                    <a:cubicBezTo>
                      <a:pt x="45" y="4507"/>
                      <a:pt x="45" y="4507"/>
                      <a:pt x="45" y="4507"/>
                    </a:cubicBezTo>
                    <a:cubicBezTo>
                      <a:pt x="3" y="4458"/>
                      <a:pt x="3" y="4458"/>
                      <a:pt x="3" y="4458"/>
                    </a:cubicBezTo>
                    <a:cubicBezTo>
                      <a:pt x="3" y="4480"/>
                      <a:pt x="3" y="4480"/>
                      <a:pt x="3" y="4480"/>
                    </a:cubicBezTo>
                    <a:cubicBezTo>
                      <a:pt x="44" y="4528"/>
                      <a:pt x="44" y="4528"/>
                      <a:pt x="44" y="4528"/>
                    </a:cubicBezTo>
                    <a:lnTo>
                      <a:pt x="158" y="4431"/>
                    </a:lnTo>
                    <a:close/>
                    <a:moveTo>
                      <a:pt x="20" y="6699"/>
                    </a:moveTo>
                    <a:cubicBezTo>
                      <a:pt x="3" y="6604"/>
                      <a:pt x="3" y="6604"/>
                      <a:pt x="3" y="6604"/>
                    </a:cubicBezTo>
                    <a:cubicBezTo>
                      <a:pt x="3" y="6525"/>
                      <a:pt x="3" y="6525"/>
                      <a:pt x="3" y="6525"/>
                    </a:cubicBezTo>
                    <a:cubicBezTo>
                      <a:pt x="22" y="6515"/>
                      <a:pt x="75" y="6486"/>
                      <a:pt x="117" y="6452"/>
                    </a:cubicBezTo>
                    <a:cubicBezTo>
                      <a:pt x="142" y="6431"/>
                      <a:pt x="161" y="6402"/>
                      <a:pt x="174" y="6378"/>
                    </a:cubicBezTo>
                    <a:cubicBezTo>
                      <a:pt x="188" y="6354"/>
                      <a:pt x="194" y="6335"/>
                      <a:pt x="195" y="6335"/>
                    </a:cubicBezTo>
                    <a:cubicBezTo>
                      <a:pt x="197" y="6327"/>
                      <a:pt x="197" y="6327"/>
                      <a:pt x="197" y="6327"/>
                    </a:cubicBezTo>
                    <a:cubicBezTo>
                      <a:pt x="205" y="6331"/>
                      <a:pt x="205" y="6331"/>
                      <a:pt x="205" y="6331"/>
                    </a:cubicBezTo>
                    <a:cubicBezTo>
                      <a:pt x="205" y="6331"/>
                      <a:pt x="238" y="6349"/>
                      <a:pt x="317" y="6388"/>
                    </a:cubicBezTo>
                    <a:cubicBezTo>
                      <a:pt x="398" y="6429"/>
                      <a:pt x="535" y="6527"/>
                      <a:pt x="535" y="6528"/>
                    </a:cubicBezTo>
                    <a:cubicBezTo>
                      <a:pt x="533" y="6540"/>
                      <a:pt x="533" y="6540"/>
                      <a:pt x="533" y="6540"/>
                    </a:cubicBezTo>
                    <a:cubicBezTo>
                      <a:pt x="411" y="6593"/>
                      <a:pt x="411" y="6593"/>
                      <a:pt x="411" y="6593"/>
                    </a:cubicBezTo>
                    <a:cubicBezTo>
                      <a:pt x="287" y="6515"/>
                      <a:pt x="287" y="6515"/>
                      <a:pt x="287" y="6515"/>
                    </a:cubicBezTo>
                    <a:cubicBezTo>
                      <a:pt x="313" y="6613"/>
                      <a:pt x="313" y="6613"/>
                      <a:pt x="313" y="6613"/>
                    </a:cubicBezTo>
                    <a:cubicBezTo>
                      <a:pt x="228" y="6676"/>
                      <a:pt x="228" y="6676"/>
                      <a:pt x="228" y="6676"/>
                    </a:cubicBezTo>
                    <a:cubicBezTo>
                      <a:pt x="139" y="6569"/>
                      <a:pt x="139" y="6569"/>
                      <a:pt x="139" y="6569"/>
                    </a:cubicBezTo>
                    <a:cubicBezTo>
                      <a:pt x="139" y="6691"/>
                      <a:pt x="139" y="6691"/>
                      <a:pt x="139" y="6691"/>
                    </a:cubicBezTo>
                    <a:lnTo>
                      <a:pt x="20" y="6699"/>
                    </a:lnTo>
                    <a:close/>
                    <a:moveTo>
                      <a:pt x="7" y="6540"/>
                    </a:moveTo>
                    <a:cubicBezTo>
                      <a:pt x="32" y="6683"/>
                      <a:pt x="32" y="6683"/>
                      <a:pt x="32" y="6683"/>
                    </a:cubicBezTo>
                    <a:cubicBezTo>
                      <a:pt x="124" y="6677"/>
                      <a:pt x="124" y="6677"/>
                      <a:pt x="124" y="6677"/>
                    </a:cubicBezTo>
                    <a:cubicBezTo>
                      <a:pt x="124" y="6549"/>
                      <a:pt x="124" y="6549"/>
                      <a:pt x="124" y="6549"/>
                    </a:cubicBezTo>
                    <a:cubicBezTo>
                      <a:pt x="138" y="6544"/>
                      <a:pt x="138" y="6544"/>
                      <a:pt x="138" y="6544"/>
                    </a:cubicBezTo>
                    <a:cubicBezTo>
                      <a:pt x="231" y="6656"/>
                      <a:pt x="231" y="6656"/>
                      <a:pt x="231" y="6656"/>
                    </a:cubicBezTo>
                    <a:cubicBezTo>
                      <a:pt x="296" y="6607"/>
                      <a:pt x="296" y="6607"/>
                      <a:pt x="296" y="6607"/>
                    </a:cubicBezTo>
                    <a:cubicBezTo>
                      <a:pt x="268" y="6501"/>
                      <a:pt x="268" y="6501"/>
                      <a:pt x="268" y="6501"/>
                    </a:cubicBezTo>
                    <a:cubicBezTo>
                      <a:pt x="279" y="6492"/>
                      <a:pt x="279" y="6492"/>
                      <a:pt x="279" y="6492"/>
                    </a:cubicBezTo>
                    <a:cubicBezTo>
                      <a:pt x="412" y="6576"/>
                      <a:pt x="412" y="6576"/>
                      <a:pt x="412" y="6576"/>
                    </a:cubicBezTo>
                    <a:cubicBezTo>
                      <a:pt x="515" y="6532"/>
                      <a:pt x="515" y="6532"/>
                      <a:pt x="515" y="6532"/>
                    </a:cubicBezTo>
                    <a:cubicBezTo>
                      <a:pt x="482" y="6508"/>
                      <a:pt x="376" y="6434"/>
                      <a:pt x="311" y="6402"/>
                    </a:cubicBezTo>
                    <a:cubicBezTo>
                      <a:pt x="252" y="6373"/>
                      <a:pt x="219" y="6355"/>
                      <a:pt x="205" y="6348"/>
                    </a:cubicBezTo>
                    <a:cubicBezTo>
                      <a:pt x="197" y="6369"/>
                      <a:pt x="170" y="6427"/>
                      <a:pt x="126" y="6463"/>
                    </a:cubicBezTo>
                    <a:cubicBezTo>
                      <a:pt x="81" y="6500"/>
                      <a:pt x="24" y="6531"/>
                      <a:pt x="7" y="6540"/>
                    </a:cubicBezTo>
                    <a:close/>
                    <a:moveTo>
                      <a:pt x="81" y="7186"/>
                    </a:moveTo>
                    <a:cubicBezTo>
                      <a:pt x="3" y="7152"/>
                      <a:pt x="3" y="7152"/>
                      <a:pt x="3" y="7152"/>
                    </a:cubicBezTo>
                    <a:cubicBezTo>
                      <a:pt x="3" y="7105"/>
                      <a:pt x="3" y="7105"/>
                      <a:pt x="3" y="7105"/>
                    </a:cubicBezTo>
                    <a:cubicBezTo>
                      <a:pt x="45" y="7009"/>
                      <a:pt x="45" y="7009"/>
                      <a:pt x="45" y="7009"/>
                    </a:cubicBezTo>
                    <a:cubicBezTo>
                      <a:pt x="140" y="7050"/>
                      <a:pt x="140" y="7050"/>
                      <a:pt x="140" y="7050"/>
                    </a:cubicBezTo>
                    <a:lnTo>
                      <a:pt x="81" y="7186"/>
                    </a:lnTo>
                    <a:close/>
                    <a:moveTo>
                      <a:pt x="74" y="7169"/>
                    </a:moveTo>
                    <a:cubicBezTo>
                      <a:pt x="123" y="7057"/>
                      <a:pt x="123" y="7057"/>
                      <a:pt x="123" y="7057"/>
                    </a:cubicBezTo>
                    <a:cubicBezTo>
                      <a:pt x="52" y="7026"/>
                      <a:pt x="52" y="7026"/>
                      <a:pt x="52" y="7026"/>
                    </a:cubicBezTo>
                    <a:cubicBezTo>
                      <a:pt x="3" y="7138"/>
                      <a:pt x="3" y="7138"/>
                      <a:pt x="3" y="7138"/>
                    </a:cubicBezTo>
                    <a:lnTo>
                      <a:pt x="74" y="7169"/>
                    </a:lnTo>
                    <a:close/>
                    <a:moveTo>
                      <a:pt x="4904" y="10227"/>
                    </a:moveTo>
                    <a:cubicBezTo>
                      <a:pt x="4929" y="10328"/>
                      <a:pt x="4929" y="10328"/>
                      <a:pt x="4929" y="10328"/>
                    </a:cubicBezTo>
                    <a:cubicBezTo>
                      <a:pt x="4785" y="10363"/>
                      <a:pt x="4785" y="10363"/>
                      <a:pt x="4785" y="10363"/>
                    </a:cubicBezTo>
                    <a:cubicBezTo>
                      <a:pt x="4783" y="10356"/>
                      <a:pt x="4783" y="10356"/>
                      <a:pt x="4783" y="10356"/>
                    </a:cubicBezTo>
                    <a:cubicBezTo>
                      <a:pt x="4760" y="10261"/>
                      <a:pt x="4760" y="10261"/>
                      <a:pt x="4760" y="10261"/>
                    </a:cubicBezTo>
                    <a:lnTo>
                      <a:pt x="4904" y="10227"/>
                    </a:lnTo>
                    <a:close/>
                    <a:moveTo>
                      <a:pt x="4913" y="10319"/>
                    </a:moveTo>
                    <a:cubicBezTo>
                      <a:pt x="4895" y="10242"/>
                      <a:pt x="4895" y="10242"/>
                      <a:pt x="4895" y="10242"/>
                    </a:cubicBezTo>
                    <a:cubicBezTo>
                      <a:pt x="4776" y="10271"/>
                      <a:pt x="4776" y="10271"/>
                      <a:pt x="4776" y="10271"/>
                    </a:cubicBezTo>
                    <a:cubicBezTo>
                      <a:pt x="4794" y="10347"/>
                      <a:pt x="4794" y="10347"/>
                      <a:pt x="4794" y="10347"/>
                    </a:cubicBezTo>
                    <a:lnTo>
                      <a:pt x="4913" y="10319"/>
                    </a:lnTo>
                    <a:close/>
                    <a:moveTo>
                      <a:pt x="155" y="7594"/>
                    </a:moveTo>
                    <a:cubicBezTo>
                      <a:pt x="59" y="7429"/>
                      <a:pt x="59" y="7429"/>
                      <a:pt x="59" y="7429"/>
                    </a:cubicBezTo>
                    <a:cubicBezTo>
                      <a:pt x="64" y="7426"/>
                      <a:pt x="64" y="7426"/>
                      <a:pt x="64" y="7426"/>
                    </a:cubicBezTo>
                    <a:cubicBezTo>
                      <a:pt x="133" y="7386"/>
                      <a:pt x="133" y="7386"/>
                      <a:pt x="133" y="7386"/>
                    </a:cubicBezTo>
                    <a:cubicBezTo>
                      <a:pt x="157" y="7426"/>
                      <a:pt x="157" y="7426"/>
                      <a:pt x="157" y="7426"/>
                    </a:cubicBezTo>
                    <a:cubicBezTo>
                      <a:pt x="206" y="7397"/>
                      <a:pt x="206" y="7397"/>
                      <a:pt x="206" y="7397"/>
                    </a:cubicBezTo>
                    <a:cubicBezTo>
                      <a:pt x="255" y="7481"/>
                      <a:pt x="255" y="7481"/>
                      <a:pt x="255" y="7481"/>
                    </a:cubicBezTo>
                    <a:cubicBezTo>
                      <a:pt x="206" y="7510"/>
                      <a:pt x="206" y="7510"/>
                      <a:pt x="206" y="7510"/>
                    </a:cubicBezTo>
                    <a:cubicBezTo>
                      <a:pt x="229" y="7550"/>
                      <a:pt x="229" y="7550"/>
                      <a:pt x="229" y="7550"/>
                    </a:cubicBezTo>
                    <a:lnTo>
                      <a:pt x="155" y="7594"/>
                    </a:lnTo>
                    <a:close/>
                    <a:moveTo>
                      <a:pt x="77" y="7434"/>
                    </a:moveTo>
                    <a:cubicBezTo>
                      <a:pt x="160" y="7576"/>
                      <a:pt x="160" y="7576"/>
                      <a:pt x="160" y="7576"/>
                    </a:cubicBezTo>
                    <a:cubicBezTo>
                      <a:pt x="211" y="7546"/>
                      <a:pt x="211" y="7546"/>
                      <a:pt x="211" y="7546"/>
                    </a:cubicBezTo>
                    <a:cubicBezTo>
                      <a:pt x="188" y="7505"/>
                      <a:pt x="188" y="7505"/>
                      <a:pt x="188" y="7505"/>
                    </a:cubicBezTo>
                    <a:cubicBezTo>
                      <a:pt x="237" y="7476"/>
                      <a:pt x="237" y="7476"/>
                      <a:pt x="237" y="7476"/>
                    </a:cubicBezTo>
                    <a:cubicBezTo>
                      <a:pt x="202" y="7415"/>
                      <a:pt x="202" y="7415"/>
                      <a:pt x="202" y="7415"/>
                    </a:cubicBezTo>
                    <a:cubicBezTo>
                      <a:pt x="152" y="7444"/>
                      <a:pt x="152" y="7444"/>
                      <a:pt x="152" y="7444"/>
                    </a:cubicBezTo>
                    <a:cubicBezTo>
                      <a:pt x="128" y="7404"/>
                      <a:pt x="128" y="7404"/>
                      <a:pt x="128" y="7404"/>
                    </a:cubicBezTo>
                    <a:lnTo>
                      <a:pt x="77" y="7434"/>
                    </a:lnTo>
                    <a:close/>
                    <a:moveTo>
                      <a:pt x="5510" y="7177"/>
                    </a:moveTo>
                    <a:cubicBezTo>
                      <a:pt x="5660" y="7195"/>
                      <a:pt x="5660" y="7195"/>
                      <a:pt x="5660" y="7195"/>
                    </a:cubicBezTo>
                    <a:cubicBezTo>
                      <a:pt x="5651" y="7270"/>
                      <a:pt x="5651" y="7270"/>
                      <a:pt x="5651" y="7270"/>
                    </a:cubicBezTo>
                    <a:cubicBezTo>
                      <a:pt x="5645" y="7270"/>
                      <a:pt x="5645" y="7270"/>
                      <a:pt x="5645" y="7270"/>
                    </a:cubicBezTo>
                    <a:cubicBezTo>
                      <a:pt x="5501" y="7252"/>
                      <a:pt x="5501" y="7252"/>
                      <a:pt x="5501" y="7252"/>
                    </a:cubicBezTo>
                    <a:lnTo>
                      <a:pt x="5510" y="7177"/>
                    </a:lnTo>
                    <a:close/>
                    <a:moveTo>
                      <a:pt x="5515" y="7241"/>
                    </a:moveTo>
                    <a:cubicBezTo>
                      <a:pt x="5640" y="7256"/>
                      <a:pt x="5640" y="7256"/>
                      <a:pt x="5640" y="7256"/>
                    </a:cubicBezTo>
                    <a:cubicBezTo>
                      <a:pt x="5646" y="7207"/>
                      <a:pt x="5646" y="7207"/>
                      <a:pt x="5646" y="7207"/>
                    </a:cubicBezTo>
                    <a:cubicBezTo>
                      <a:pt x="5521" y="7191"/>
                      <a:pt x="5521" y="7191"/>
                      <a:pt x="5521" y="7191"/>
                    </a:cubicBezTo>
                    <a:lnTo>
                      <a:pt x="5515" y="7241"/>
                    </a:lnTo>
                    <a:close/>
                    <a:moveTo>
                      <a:pt x="4703" y="10269"/>
                    </a:moveTo>
                    <a:cubicBezTo>
                      <a:pt x="4727" y="10371"/>
                      <a:pt x="4727" y="10371"/>
                      <a:pt x="4727" y="10371"/>
                    </a:cubicBezTo>
                    <a:cubicBezTo>
                      <a:pt x="4583" y="10405"/>
                      <a:pt x="4583" y="10405"/>
                      <a:pt x="4583" y="10405"/>
                    </a:cubicBezTo>
                    <a:cubicBezTo>
                      <a:pt x="4582" y="10399"/>
                      <a:pt x="4582" y="10399"/>
                      <a:pt x="4582" y="10399"/>
                    </a:cubicBezTo>
                    <a:cubicBezTo>
                      <a:pt x="4559" y="10304"/>
                      <a:pt x="4559" y="10304"/>
                      <a:pt x="4559" y="10304"/>
                    </a:cubicBezTo>
                    <a:lnTo>
                      <a:pt x="4703" y="10269"/>
                    </a:lnTo>
                    <a:close/>
                    <a:moveTo>
                      <a:pt x="4712" y="10361"/>
                    </a:moveTo>
                    <a:cubicBezTo>
                      <a:pt x="4693" y="10285"/>
                      <a:pt x="4693" y="10285"/>
                      <a:pt x="4693" y="10285"/>
                    </a:cubicBezTo>
                    <a:cubicBezTo>
                      <a:pt x="4574" y="10313"/>
                      <a:pt x="4574" y="10313"/>
                      <a:pt x="4574" y="10313"/>
                    </a:cubicBezTo>
                    <a:cubicBezTo>
                      <a:pt x="4593" y="10390"/>
                      <a:pt x="4593" y="10390"/>
                      <a:pt x="4593" y="10390"/>
                    </a:cubicBezTo>
                    <a:lnTo>
                      <a:pt x="4712" y="10361"/>
                    </a:lnTo>
                    <a:close/>
                    <a:moveTo>
                      <a:pt x="4185" y="10724"/>
                    </a:moveTo>
                    <a:cubicBezTo>
                      <a:pt x="4125" y="10666"/>
                      <a:pt x="4125" y="10666"/>
                      <a:pt x="4125" y="10666"/>
                    </a:cubicBezTo>
                    <a:cubicBezTo>
                      <a:pt x="4017" y="10705"/>
                      <a:pt x="4017" y="10705"/>
                      <a:pt x="4017" y="10705"/>
                    </a:cubicBezTo>
                    <a:cubicBezTo>
                      <a:pt x="4025" y="10761"/>
                      <a:pt x="4025" y="10761"/>
                      <a:pt x="4025" y="10761"/>
                    </a:cubicBezTo>
                    <a:cubicBezTo>
                      <a:pt x="3801" y="10810"/>
                      <a:pt x="3801" y="10810"/>
                      <a:pt x="3801" y="10810"/>
                    </a:cubicBezTo>
                    <a:cubicBezTo>
                      <a:pt x="3741" y="10773"/>
                      <a:pt x="3741" y="10773"/>
                      <a:pt x="3741" y="10773"/>
                    </a:cubicBezTo>
                    <a:cubicBezTo>
                      <a:pt x="3646" y="10820"/>
                      <a:pt x="3646" y="10820"/>
                      <a:pt x="3646" y="10820"/>
                    </a:cubicBezTo>
                    <a:cubicBezTo>
                      <a:pt x="3647" y="10821"/>
                      <a:pt x="3647" y="10821"/>
                      <a:pt x="3647" y="10821"/>
                    </a:cubicBezTo>
                    <a:cubicBezTo>
                      <a:pt x="3677" y="10821"/>
                      <a:pt x="3677" y="10821"/>
                      <a:pt x="3677" y="10821"/>
                    </a:cubicBezTo>
                    <a:cubicBezTo>
                      <a:pt x="3740" y="10790"/>
                      <a:pt x="3740" y="10790"/>
                      <a:pt x="3740" y="10790"/>
                    </a:cubicBezTo>
                    <a:cubicBezTo>
                      <a:pt x="3791" y="10821"/>
                      <a:pt x="3791" y="10821"/>
                      <a:pt x="3791" y="10821"/>
                    </a:cubicBezTo>
                    <a:cubicBezTo>
                      <a:pt x="3819" y="10821"/>
                      <a:pt x="3819" y="10821"/>
                      <a:pt x="3819" y="10821"/>
                    </a:cubicBezTo>
                    <a:cubicBezTo>
                      <a:pt x="4042" y="10773"/>
                      <a:pt x="4042" y="10773"/>
                      <a:pt x="4042" y="10773"/>
                    </a:cubicBezTo>
                    <a:cubicBezTo>
                      <a:pt x="4033" y="10715"/>
                      <a:pt x="4033" y="10715"/>
                      <a:pt x="4033" y="10715"/>
                    </a:cubicBezTo>
                    <a:cubicBezTo>
                      <a:pt x="4121" y="10683"/>
                      <a:pt x="4121" y="10683"/>
                      <a:pt x="4121" y="10683"/>
                    </a:cubicBezTo>
                    <a:cubicBezTo>
                      <a:pt x="4168" y="10728"/>
                      <a:pt x="4168" y="10728"/>
                      <a:pt x="4168" y="10728"/>
                    </a:cubicBezTo>
                    <a:cubicBezTo>
                      <a:pt x="4131" y="10821"/>
                      <a:pt x="4131" y="10821"/>
                      <a:pt x="4131" y="10821"/>
                    </a:cubicBezTo>
                    <a:cubicBezTo>
                      <a:pt x="4147" y="10821"/>
                      <a:pt x="4147" y="10821"/>
                      <a:pt x="4147" y="10821"/>
                    </a:cubicBezTo>
                    <a:cubicBezTo>
                      <a:pt x="4184" y="10729"/>
                      <a:pt x="4184" y="10729"/>
                      <a:pt x="4184" y="10729"/>
                    </a:cubicBezTo>
                    <a:lnTo>
                      <a:pt x="4185" y="10724"/>
                    </a:lnTo>
                    <a:close/>
                    <a:moveTo>
                      <a:pt x="1630" y="8707"/>
                    </a:moveTo>
                    <a:cubicBezTo>
                      <a:pt x="1630" y="8687"/>
                      <a:pt x="1635" y="8665"/>
                      <a:pt x="1642" y="8646"/>
                    </a:cubicBezTo>
                    <a:cubicBezTo>
                      <a:pt x="1656" y="8609"/>
                      <a:pt x="1682" y="8602"/>
                      <a:pt x="1690" y="8585"/>
                    </a:cubicBezTo>
                    <a:cubicBezTo>
                      <a:pt x="1692" y="8580"/>
                      <a:pt x="1693" y="8576"/>
                      <a:pt x="1693" y="8571"/>
                    </a:cubicBezTo>
                    <a:cubicBezTo>
                      <a:pt x="1693" y="8557"/>
                      <a:pt x="1684" y="8541"/>
                      <a:pt x="1676" y="8532"/>
                    </a:cubicBezTo>
                    <a:cubicBezTo>
                      <a:pt x="1672" y="8527"/>
                      <a:pt x="1669" y="8522"/>
                      <a:pt x="1670" y="8517"/>
                    </a:cubicBezTo>
                    <a:cubicBezTo>
                      <a:pt x="1670" y="8505"/>
                      <a:pt x="1679" y="8495"/>
                      <a:pt x="1688" y="8484"/>
                    </a:cubicBezTo>
                    <a:cubicBezTo>
                      <a:pt x="1702" y="8468"/>
                      <a:pt x="1740" y="8453"/>
                      <a:pt x="1743" y="8439"/>
                    </a:cubicBezTo>
                    <a:cubicBezTo>
                      <a:pt x="1748" y="8422"/>
                      <a:pt x="1753" y="8384"/>
                      <a:pt x="1797" y="8380"/>
                    </a:cubicBezTo>
                    <a:cubicBezTo>
                      <a:pt x="1799" y="8380"/>
                      <a:pt x="1800" y="8380"/>
                      <a:pt x="1801" y="8380"/>
                    </a:cubicBezTo>
                    <a:cubicBezTo>
                      <a:pt x="1835" y="8381"/>
                      <a:pt x="1843" y="8421"/>
                      <a:pt x="1843" y="8445"/>
                    </a:cubicBezTo>
                    <a:cubicBezTo>
                      <a:pt x="1843" y="8452"/>
                      <a:pt x="1842" y="8458"/>
                      <a:pt x="1841" y="8462"/>
                    </a:cubicBezTo>
                    <a:cubicBezTo>
                      <a:pt x="1834" y="8485"/>
                      <a:pt x="1787" y="8482"/>
                      <a:pt x="1767" y="8497"/>
                    </a:cubicBezTo>
                    <a:cubicBezTo>
                      <a:pt x="1761" y="8501"/>
                      <a:pt x="1759" y="8506"/>
                      <a:pt x="1759" y="8512"/>
                    </a:cubicBezTo>
                    <a:cubicBezTo>
                      <a:pt x="1759" y="8524"/>
                      <a:pt x="1771" y="8539"/>
                      <a:pt x="1781" y="8543"/>
                    </a:cubicBezTo>
                    <a:cubicBezTo>
                      <a:pt x="1797" y="8549"/>
                      <a:pt x="1854" y="8545"/>
                      <a:pt x="1881" y="8560"/>
                    </a:cubicBezTo>
                    <a:cubicBezTo>
                      <a:pt x="1892" y="8565"/>
                      <a:pt x="1898" y="8572"/>
                      <a:pt x="1898" y="8581"/>
                    </a:cubicBezTo>
                    <a:cubicBezTo>
                      <a:pt x="1897" y="8596"/>
                      <a:pt x="1882" y="8609"/>
                      <a:pt x="1854" y="8624"/>
                    </a:cubicBezTo>
                    <a:cubicBezTo>
                      <a:pt x="1810" y="8648"/>
                      <a:pt x="1761" y="8651"/>
                      <a:pt x="1739" y="8659"/>
                    </a:cubicBezTo>
                    <a:cubicBezTo>
                      <a:pt x="1716" y="8667"/>
                      <a:pt x="1706" y="8675"/>
                      <a:pt x="1695" y="8701"/>
                    </a:cubicBezTo>
                    <a:cubicBezTo>
                      <a:pt x="1683" y="8730"/>
                      <a:pt x="1655" y="8748"/>
                      <a:pt x="1655" y="8748"/>
                    </a:cubicBezTo>
                    <a:cubicBezTo>
                      <a:pt x="1653" y="8749"/>
                      <a:pt x="1653" y="8749"/>
                      <a:pt x="1653" y="8749"/>
                    </a:cubicBezTo>
                    <a:cubicBezTo>
                      <a:pt x="1652" y="8749"/>
                      <a:pt x="1652" y="8749"/>
                      <a:pt x="1652" y="8749"/>
                    </a:cubicBezTo>
                    <a:cubicBezTo>
                      <a:pt x="1635" y="8744"/>
                      <a:pt x="1630" y="8726"/>
                      <a:pt x="1630" y="8707"/>
                    </a:cubicBezTo>
                    <a:close/>
                    <a:moveTo>
                      <a:pt x="1638" y="8707"/>
                    </a:moveTo>
                    <a:cubicBezTo>
                      <a:pt x="1638" y="8725"/>
                      <a:pt x="1643" y="8737"/>
                      <a:pt x="1652" y="8740"/>
                    </a:cubicBezTo>
                    <a:cubicBezTo>
                      <a:pt x="1658" y="8736"/>
                      <a:pt x="1678" y="8720"/>
                      <a:pt x="1687" y="8698"/>
                    </a:cubicBezTo>
                    <a:cubicBezTo>
                      <a:pt x="1698" y="8670"/>
                      <a:pt x="1712" y="8659"/>
                      <a:pt x="1736" y="8651"/>
                    </a:cubicBezTo>
                    <a:cubicBezTo>
                      <a:pt x="1760" y="8642"/>
                      <a:pt x="1807" y="8640"/>
                      <a:pt x="1850" y="8617"/>
                    </a:cubicBezTo>
                    <a:cubicBezTo>
                      <a:pt x="1878" y="8603"/>
                      <a:pt x="1890" y="8589"/>
                      <a:pt x="1890" y="8581"/>
                    </a:cubicBezTo>
                    <a:cubicBezTo>
                      <a:pt x="1890" y="8576"/>
                      <a:pt x="1887" y="8572"/>
                      <a:pt x="1878" y="8567"/>
                    </a:cubicBezTo>
                    <a:cubicBezTo>
                      <a:pt x="1854" y="8554"/>
                      <a:pt x="1798" y="8558"/>
                      <a:pt x="1778" y="8551"/>
                    </a:cubicBezTo>
                    <a:cubicBezTo>
                      <a:pt x="1764" y="8545"/>
                      <a:pt x="1751" y="8528"/>
                      <a:pt x="1751" y="8512"/>
                    </a:cubicBezTo>
                    <a:cubicBezTo>
                      <a:pt x="1751" y="8504"/>
                      <a:pt x="1754" y="8496"/>
                      <a:pt x="1762" y="8490"/>
                    </a:cubicBezTo>
                    <a:cubicBezTo>
                      <a:pt x="1786" y="8475"/>
                      <a:pt x="1833" y="8472"/>
                      <a:pt x="1833" y="8460"/>
                    </a:cubicBezTo>
                    <a:cubicBezTo>
                      <a:pt x="1834" y="8457"/>
                      <a:pt x="1835" y="8451"/>
                      <a:pt x="1835" y="8445"/>
                    </a:cubicBezTo>
                    <a:cubicBezTo>
                      <a:pt x="1835" y="8434"/>
                      <a:pt x="1833" y="8419"/>
                      <a:pt x="1827" y="8407"/>
                    </a:cubicBezTo>
                    <a:cubicBezTo>
                      <a:pt x="1822" y="8396"/>
                      <a:pt x="1814" y="8388"/>
                      <a:pt x="1801" y="8388"/>
                    </a:cubicBezTo>
                    <a:cubicBezTo>
                      <a:pt x="1800" y="8388"/>
                      <a:pt x="1799" y="8388"/>
                      <a:pt x="1798" y="8388"/>
                    </a:cubicBezTo>
                    <a:cubicBezTo>
                      <a:pt x="1760" y="8392"/>
                      <a:pt x="1757" y="8423"/>
                      <a:pt x="1751" y="8441"/>
                    </a:cubicBezTo>
                    <a:cubicBezTo>
                      <a:pt x="1743" y="8463"/>
                      <a:pt x="1705" y="8475"/>
                      <a:pt x="1694" y="8489"/>
                    </a:cubicBezTo>
                    <a:cubicBezTo>
                      <a:pt x="1685" y="8500"/>
                      <a:pt x="1677" y="8510"/>
                      <a:pt x="1678" y="8517"/>
                    </a:cubicBezTo>
                    <a:cubicBezTo>
                      <a:pt x="1678" y="8520"/>
                      <a:pt x="1679" y="8523"/>
                      <a:pt x="1682" y="8526"/>
                    </a:cubicBezTo>
                    <a:cubicBezTo>
                      <a:pt x="1691" y="8537"/>
                      <a:pt x="1701" y="8554"/>
                      <a:pt x="1701" y="8571"/>
                    </a:cubicBezTo>
                    <a:cubicBezTo>
                      <a:pt x="1701" y="8577"/>
                      <a:pt x="1700" y="8583"/>
                      <a:pt x="1697" y="8588"/>
                    </a:cubicBezTo>
                    <a:cubicBezTo>
                      <a:pt x="1686" y="8610"/>
                      <a:pt x="1663" y="8615"/>
                      <a:pt x="1650" y="8649"/>
                    </a:cubicBezTo>
                    <a:cubicBezTo>
                      <a:pt x="1643" y="8667"/>
                      <a:pt x="1638" y="8689"/>
                      <a:pt x="1638" y="8707"/>
                    </a:cubicBezTo>
                    <a:close/>
                    <a:moveTo>
                      <a:pt x="6062" y="6595"/>
                    </a:moveTo>
                    <a:cubicBezTo>
                      <a:pt x="5918" y="6577"/>
                      <a:pt x="5918" y="6577"/>
                      <a:pt x="5918" y="6577"/>
                    </a:cubicBezTo>
                    <a:cubicBezTo>
                      <a:pt x="5927" y="6502"/>
                      <a:pt x="5927" y="6502"/>
                      <a:pt x="5927" y="6502"/>
                    </a:cubicBezTo>
                    <a:cubicBezTo>
                      <a:pt x="6077" y="6520"/>
                      <a:pt x="6077" y="6520"/>
                      <a:pt x="6077" y="6520"/>
                    </a:cubicBezTo>
                    <a:cubicBezTo>
                      <a:pt x="6068" y="6595"/>
                      <a:pt x="6068" y="6595"/>
                      <a:pt x="6068" y="6595"/>
                    </a:cubicBezTo>
                    <a:lnTo>
                      <a:pt x="6062" y="6595"/>
                    </a:lnTo>
                    <a:close/>
                    <a:moveTo>
                      <a:pt x="6057" y="6581"/>
                    </a:moveTo>
                    <a:cubicBezTo>
                      <a:pt x="6063" y="6532"/>
                      <a:pt x="6063" y="6532"/>
                      <a:pt x="6063" y="6532"/>
                    </a:cubicBezTo>
                    <a:cubicBezTo>
                      <a:pt x="5938" y="6516"/>
                      <a:pt x="5938" y="6516"/>
                      <a:pt x="5938" y="6516"/>
                    </a:cubicBezTo>
                    <a:cubicBezTo>
                      <a:pt x="5932" y="6565"/>
                      <a:pt x="5932" y="6565"/>
                      <a:pt x="5932" y="6565"/>
                    </a:cubicBezTo>
                    <a:lnTo>
                      <a:pt x="6057" y="6581"/>
                    </a:lnTo>
                    <a:close/>
                    <a:moveTo>
                      <a:pt x="3718" y="10675"/>
                    </a:moveTo>
                    <a:cubicBezTo>
                      <a:pt x="3771" y="10727"/>
                      <a:pt x="3771" y="10727"/>
                      <a:pt x="3771" y="10727"/>
                    </a:cubicBezTo>
                    <a:cubicBezTo>
                      <a:pt x="3985" y="10680"/>
                      <a:pt x="3985" y="10680"/>
                      <a:pt x="3985" y="10680"/>
                    </a:cubicBezTo>
                    <a:cubicBezTo>
                      <a:pt x="3966" y="10584"/>
                      <a:pt x="3966" y="10584"/>
                      <a:pt x="3966" y="10584"/>
                    </a:cubicBezTo>
                    <a:cubicBezTo>
                      <a:pt x="4096" y="10545"/>
                      <a:pt x="4096" y="10545"/>
                      <a:pt x="4096" y="10545"/>
                    </a:cubicBezTo>
                    <a:cubicBezTo>
                      <a:pt x="4097" y="10451"/>
                      <a:pt x="4097" y="10451"/>
                      <a:pt x="4097" y="10451"/>
                    </a:cubicBezTo>
                    <a:cubicBezTo>
                      <a:pt x="4097" y="10441"/>
                      <a:pt x="4097" y="10441"/>
                      <a:pt x="4097" y="10441"/>
                    </a:cubicBezTo>
                    <a:cubicBezTo>
                      <a:pt x="3301" y="10681"/>
                      <a:pt x="3301" y="10681"/>
                      <a:pt x="3301" y="10681"/>
                    </a:cubicBezTo>
                    <a:cubicBezTo>
                      <a:pt x="3404" y="10821"/>
                      <a:pt x="3404" y="10821"/>
                      <a:pt x="3404" y="10821"/>
                    </a:cubicBezTo>
                    <a:cubicBezTo>
                      <a:pt x="3423" y="10821"/>
                      <a:pt x="3423" y="10821"/>
                      <a:pt x="3423" y="10821"/>
                    </a:cubicBezTo>
                    <a:cubicBezTo>
                      <a:pt x="3326" y="10689"/>
                      <a:pt x="3326" y="10689"/>
                      <a:pt x="3326" y="10689"/>
                    </a:cubicBezTo>
                    <a:cubicBezTo>
                      <a:pt x="4082" y="10461"/>
                      <a:pt x="4082" y="10461"/>
                      <a:pt x="4082" y="10461"/>
                    </a:cubicBezTo>
                    <a:cubicBezTo>
                      <a:pt x="4081" y="10534"/>
                      <a:pt x="4081" y="10534"/>
                      <a:pt x="4081" y="10534"/>
                    </a:cubicBezTo>
                    <a:cubicBezTo>
                      <a:pt x="3949" y="10573"/>
                      <a:pt x="3949" y="10573"/>
                      <a:pt x="3949" y="10573"/>
                    </a:cubicBezTo>
                    <a:cubicBezTo>
                      <a:pt x="3968" y="10669"/>
                      <a:pt x="3968" y="10669"/>
                      <a:pt x="3968" y="10669"/>
                    </a:cubicBezTo>
                    <a:cubicBezTo>
                      <a:pt x="3776" y="10711"/>
                      <a:pt x="3776" y="10711"/>
                      <a:pt x="3776" y="10711"/>
                    </a:cubicBezTo>
                    <a:cubicBezTo>
                      <a:pt x="3719" y="10655"/>
                      <a:pt x="3719" y="10655"/>
                      <a:pt x="3719" y="10655"/>
                    </a:cubicBezTo>
                    <a:cubicBezTo>
                      <a:pt x="3554" y="10787"/>
                      <a:pt x="3554" y="10787"/>
                      <a:pt x="3554" y="10787"/>
                    </a:cubicBezTo>
                    <a:cubicBezTo>
                      <a:pt x="3571" y="10821"/>
                      <a:pt x="3571" y="10821"/>
                      <a:pt x="3571" y="10821"/>
                    </a:cubicBezTo>
                    <a:cubicBezTo>
                      <a:pt x="3587" y="10821"/>
                      <a:pt x="3587" y="10821"/>
                      <a:pt x="3587" y="10821"/>
                    </a:cubicBezTo>
                    <a:cubicBezTo>
                      <a:pt x="3572" y="10791"/>
                      <a:pt x="3572" y="10791"/>
                      <a:pt x="3572" y="10791"/>
                    </a:cubicBezTo>
                    <a:lnTo>
                      <a:pt x="3718" y="10675"/>
                    </a:lnTo>
                    <a:close/>
                    <a:moveTo>
                      <a:pt x="3731" y="5497"/>
                    </a:moveTo>
                    <a:cubicBezTo>
                      <a:pt x="3735" y="5572"/>
                      <a:pt x="3735" y="5572"/>
                      <a:pt x="3735" y="5572"/>
                    </a:cubicBezTo>
                    <a:cubicBezTo>
                      <a:pt x="3584" y="5581"/>
                      <a:pt x="3584" y="5581"/>
                      <a:pt x="3584" y="5581"/>
                    </a:cubicBezTo>
                    <a:cubicBezTo>
                      <a:pt x="3580" y="5506"/>
                      <a:pt x="3580" y="5506"/>
                      <a:pt x="3580" y="5506"/>
                    </a:cubicBezTo>
                    <a:cubicBezTo>
                      <a:pt x="3586" y="5505"/>
                      <a:pt x="3586" y="5505"/>
                      <a:pt x="3586" y="5505"/>
                    </a:cubicBezTo>
                    <a:lnTo>
                      <a:pt x="3731" y="5497"/>
                    </a:lnTo>
                    <a:close/>
                    <a:moveTo>
                      <a:pt x="3721" y="5560"/>
                    </a:moveTo>
                    <a:cubicBezTo>
                      <a:pt x="3718" y="5511"/>
                      <a:pt x="3718" y="5511"/>
                      <a:pt x="3718" y="5511"/>
                    </a:cubicBezTo>
                    <a:cubicBezTo>
                      <a:pt x="3593" y="5518"/>
                      <a:pt x="3593" y="5518"/>
                      <a:pt x="3593" y="5518"/>
                    </a:cubicBezTo>
                    <a:cubicBezTo>
                      <a:pt x="3596" y="5568"/>
                      <a:pt x="3596" y="5568"/>
                      <a:pt x="3596" y="5568"/>
                    </a:cubicBezTo>
                    <a:lnTo>
                      <a:pt x="3721" y="5560"/>
                    </a:lnTo>
                    <a:close/>
                    <a:moveTo>
                      <a:pt x="4357" y="10715"/>
                    </a:moveTo>
                    <a:cubicBezTo>
                      <a:pt x="4272" y="10775"/>
                      <a:pt x="4272" y="10775"/>
                      <a:pt x="4272" y="10775"/>
                    </a:cubicBezTo>
                    <a:cubicBezTo>
                      <a:pt x="4253" y="10821"/>
                      <a:pt x="4253" y="10821"/>
                      <a:pt x="4253" y="10821"/>
                    </a:cubicBezTo>
                    <a:cubicBezTo>
                      <a:pt x="4269" y="10821"/>
                      <a:pt x="4269" y="10821"/>
                      <a:pt x="4269" y="10821"/>
                    </a:cubicBezTo>
                    <a:cubicBezTo>
                      <a:pt x="4284" y="10784"/>
                      <a:pt x="4284" y="10784"/>
                      <a:pt x="4284" y="10784"/>
                    </a:cubicBezTo>
                    <a:cubicBezTo>
                      <a:pt x="4362" y="10730"/>
                      <a:pt x="4362" y="10730"/>
                      <a:pt x="4362" y="10730"/>
                    </a:cubicBezTo>
                    <a:cubicBezTo>
                      <a:pt x="4516" y="10715"/>
                      <a:pt x="4516" y="10715"/>
                      <a:pt x="4516" y="10715"/>
                    </a:cubicBezTo>
                    <a:cubicBezTo>
                      <a:pt x="4553" y="10821"/>
                      <a:pt x="4553" y="10821"/>
                      <a:pt x="4553" y="10821"/>
                    </a:cubicBezTo>
                    <a:cubicBezTo>
                      <a:pt x="4569" y="10821"/>
                      <a:pt x="4569" y="10821"/>
                      <a:pt x="4569" y="10821"/>
                    </a:cubicBezTo>
                    <a:cubicBezTo>
                      <a:pt x="4526" y="10699"/>
                      <a:pt x="4526" y="10699"/>
                      <a:pt x="4526" y="10699"/>
                    </a:cubicBezTo>
                    <a:lnTo>
                      <a:pt x="4357" y="10715"/>
                    </a:lnTo>
                    <a:close/>
                    <a:moveTo>
                      <a:pt x="7275" y="9967"/>
                    </a:moveTo>
                    <a:cubicBezTo>
                      <a:pt x="7328" y="10021"/>
                      <a:pt x="7328" y="10021"/>
                      <a:pt x="7328" y="10021"/>
                    </a:cubicBezTo>
                    <a:cubicBezTo>
                      <a:pt x="7273" y="10074"/>
                      <a:pt x="7273" y="10074"/>
                      <a:pt x="7273" y="10074"/>
                    </a:cubicBezTo>
                    <a:cubicBezTo>
                      <a:pt x="7269" y="10069"/>
                      <a:pt x="7269" y="10069"/>
                      <a:pt x="7269" y="10069"/>
                    </a:cubicBezTo>
                    <a:cubicBezTo>
                      <a:pt x="7137" y="9930"/>
                      <a:pt x="7137" y="9930"/>
                      <a:pt x="7137" y="9930"/>
                    </a:cubicBezTo>
                    <a:cubicBezTo>
                      <a:pt x="7172" y="9895"/>
                      <a:pt x="7172" y="9895"/>
                      <a:pt x="7172" y="9895"/>
                    </a:cubicBezTo>
                    <a:cubicBezTo>
                      <a:pt x="7164" y="9887"/>
                      <a:pt x="7164" y="9887"/>
                      <a:pt x="7164" y="9887"/>
                    </a:cubicBezTo>
                    <a:cubicBezTo>
                      <a:pt x="7160" y="9882"/>
                      <a:pt x="7160" y="9882"/>
                      <a:pt x="7160" y="9882"/>
                    </a:cubicBezTo>
                    <a:cubicBezTo>
                      <a:pt x="7229" y="9815"/>
                      <a:pt x="7229" y="9815"/>
                      <a:pt x="7229" y="9815"/>
                    </a:cubicBezTo>
                    <a:cubicBezTo>
                      <a:pt x="7327" y="9916"/>
                      <a:pt x="7327" y="9916"/>
                      <a:pt x="7327" y="9916"/>
                    </a:cubicBezTo>
                    <a:lnTo>
                      <a:pt x="7275" y="9967"/>
                    </a:lnTo>
                    <a:close/>
                    <a:moveTo>
                      <a:pt x="7256" y="9967"/>
                    </a:moveTo>
                    <a:cubicBezTo>
                      <a:pt x="7309" y="9916"/>
                      <a:pt x="7309" y="9916"/>
                      <a:pt x="7309" y="9916"/>
                    </a:cubicBezTo>
                    <a:cubicBezTo>
                      <a:pt x="7229" y="9833"/>
                      <a:pt x="7229" y="9833"/>
                      <a:pt x="7229" y="9833"/>
                    </a:cubicBezTo>
                    <a:cubicBezTo>
                      <a:pt x="7178" y="9883"/>
                      <a:pt x="7178" y="9883"/>
                      <a:pt x="7178" y="9883"/>
                    </a:cubicBezTo>
                    <a:cubicBezTo>
                      <a:pt x="7186" y="9891"/>
                      <a:pt x="7186" y="9891"/>
                      <a:pt x="7186" y="9891"/>
                    </a:cubicBezTo>
                    <a:cubicBezTo>
                      <a:pt x="7191" y="9896"/>
                      <a:pt x="7191" y="9896"/>
                      <a:pt x="7191" y="9896"/>
                    </a:cubicBezTo>
                    <a:cubicBezTo>
                      <a:pt x="7155" y="9930"/>
                      <a:pt x="7155" y="9930"/>
                      <a:pt x="7155" y="9930"/>
                    </a:cubicBezTo>
                    <a:cubicBezTo>
                      <a:pt x="7274" y="10055"/>
                      <a:pt x="7274" y="10055"/>
                      <a:pt x="7274" y="10055"/>
                    </a:cubicBezTo>
                    <a:cubicBezTo>
                      <a:pt x="7309" y="10021"/>
                      <a:pt x="7309" y="10021"/>
                      <a:pt x="7309" y="10021"/>
                    </a:cubicBezTo>
                    <a:lnTo>
                      <a:pt x="7256" y="9967"/>
                    </a:lnTo>
                    <a:close/>
                    <a:moveTo>
                      <a:pt x="5890" y="6676"/>
                    </a:moveTo>
                    <a:cubicBezTo>
                      <a:pt x="6040" y="6695"/>
                      <a:pt x="6040" y="6695"/>
                      <a:pt x="6040" y="6695"/>
                    </a:cubicBezTo>
                    <a:cubicBezTo>
                      <a:pt x="6031" y="6770"/>
                      <a:pt x="6031" y="6770"/>
                      <a:pt x="6031" y="6770"/>
                    </a:cubicBezTo>
                    <a:cubicBezTo>
                      <a:pt x="6025" y="6769"/>
                      <a:pt x="6025" y="6769"/>
                      <a:pt x="6025" y="6769"/>
                    </a:cubicBezTo>
                    <a:cubicBezTo>
                      <a:pt x="5881" y="6751"/>
                      <a:pt x="5881" y="6751"/>
                      <a:pt x="5881" y="6751"/>
                    </a:cubicBezTo>
                    <a:lnTo>
                      <a:pt x="5890" y="6676"/>
                    </a:lnTo>
                    <a:close/>
                    <a:moveTo>
                      <a:pt x="5895" y="6740"/>
                    </a:moveTo>
                    <a:cubicBezTo>
                      <a:pt x="6020" y="6755"/>
                      <a:pt x="6020" y="6755"/>
                      <a:pt x="6020" y="6755"/>
                    </a:cubicBezTo>
                    <a:cubicBezTo>
                      <a:pt x="6026" y="6706"/>
                      <a:pt x="6026" y="6706"/>
                      <a:pt x="6026" y="6706"/>
                    </a:cubicBezTo>
                    <a:cubicBezTo>
                      <a:pt x="5901" y="6691"/>
                      <a:pt x="5901" y="6691"/>
                      <a:pt x="5901" y="6691"/>
                    </a:cubicBezTo>
                    <a:lnTo>
                      <a:pt x="5895" y="6740"/>
                    </a:lnTo>
                    <a:close/>
                    <a:moveTo>
                      <a:pt x="76" y="8335"/>
                    </a:moveTo>
                    <a:cubicBezTo>
                      <a:pt x="3" y="8230"/>
                      <a:pt x="3" y="8230"/>
                      <a:pt x="3" y="8230"/>
                    </a:cubicBezTo>
                    <a:cubicBezTo>
                      <a:pt x="3" y="8253"/>
                      <a:pt x="3" y="8253"/>
                      <a:pt x="3" y="8253"/>
                    </a:cubicBezTo>
                    <a:cubicBezTo>
                      <a:pt x="58" y="8331"/>
                      <a:pt x="58" y="8331"/>
                      <a:pt x="58" y="8331"/>
                    </a:cubicBezTo>
                    <a:cubicBezTo>
                      <a:pt x="17" y="8360"/>
                      <a:pt x="17" y="8360"/>
                      <a:pt x="17" y="8360"/>
                    </a:cubicBezTo>
                    <a:cubicBezTo>
                      <a:pt x="3" y="8340"/>
                      <a:pt x="3" y="8340"/>
                      <a:pt x="3" y="8340"/>
                    </a:cubicBezTo>
                    <a:cubicBezTo>
                      <a:pt x="3" y="8363"/>
                      <a:pt x="3" y="8363"/>
                      <a:pt x="3" y="8363"/>
                    </a:cubicBezTo>
                    <a:cubicBezTo>
                      <a:pt x="14" y="8378"/>
                      <a:pt x="14" y="8378"/>
                      <a:pt x="14" y="8378"/>
                    </a:cubicBezTo>
                    <a:lnTo>
                      <a:pt x="76" y="8335"/>
                    </a:lnTo>
                    <a:close/>
                    <a:moveTo>
                      <a:pt x="5060" y="10302"/>
                    </a:moveTo>
                    <a:cubicBezTo>
                      <a:pt x="5045" y="10206"/>
                      <a:pt x="5045" y="10206"/>
                      <a:pt x="5045" y="10206"/>
                    </a:cubicBezTo>
                    <a:cubicBezTo>
                      <a:pt x="5191" y="10182"/>
                      <a:pt x="5191" y="10182"/>
                      <a:pt x="5191" y="10182"/>
                    </a:cubicBezTo>
                    <a:cubicBezTo>
                      <a:pt x="5208" y="10286"/>
                      <a:pt x="5208" y="10286"/>
                      <a:pt x="5208" y="10286"/>
                    </a:cubicBezTo>
                    <a:cubicBezTo>
                      <a:pt x="5062" y="10309"/>
                      <a:pt x="5062" y="10309"/>
                      <a:pt x="5062" y="10309"/>
                    </a:cubicBezTo>
                    <a:lnTo>
                      <a:pt x="5060" y="10302"/>
                    </a:lnTo>
                    <a:close/>
                    <a:moveTo>
                      <a:pt x="5060" y="10216"/>
                    </a:moveTo>
                    <a:cubicBezTo>
                      <a:pt x="5072" y="10294"/>
                      <a:pt x="5072" y="10294"/>
                      <a:pt x="5072" y="10294"/>
                    </a:cubicBezTo>
                    <a:cubicBezTo>
                      <a:pt x="5193" y="10275"/>
                      <a:pt x="5193" y="10275"/>
                      <a:pt x="5193" y="10275"/>
                    </a:cubicBezTo>
                    <a:cubicBezTo>
                      <a:pt x="5180" y="10197"/>
                      <a:pt x="5180" y="10197"/>
                      <a:pt x="5180" y="10197"/>
                    </a:cubicBezTo>
                    <a:lnTo>
                      <a:pt x="5060" y="10216"/>
                    </a:lnTo>
                    <a:close/>
                    <a:moveTo>
                      <a:pt x="3092" y="7240"/>
                    </a:moveTo>
                    <a:cubicBezTo>
                      <a:pt x="3053" y="7260"/>
                      <a:pt x="3053" y="7260"/>
                      <a:pt x="3053" y="7260"/>
                    </a:cubicBezTo>
                    <a:cubicBezTo>
                      <a:pt x="2947" y="7004"/>
                      <a:pt x="2947" y="7004"/>
                      <a:pt x="2947" y="7004"/>
                    </a:cubicBezTo>
                    <a:cubicBezTo>
                      <a:pt x="2984" y="6992"/>
                      <a:pt x="2984" y="6992"/>
                      <a:pt x="2984" y="6992"/>
                    </a:cubicBezTo>
                    <a:cubicBezTo>
                      <a:pt x="2935" y="6876"/>
                      <a:pt x="2935" y="6876"/>
                      <a:pt x="2935" y="6876"/>
                    </a:cubicBezTo>
                    <a:cubicBezTo>
                      <a:pt x="2997" y="6859"/>
                      <a:pt x="2997" y="6859"/>
                      <a:pt x="2997" y="6859"/>
                    </a:cubicBezTo>
                    <a:cubicBezTo>
                      <a:pt x="3000" y="6863"/>
                      <a:pt x="3000" y="6863"/>
                      <a:pt x="3000" y="6863"/>
                    </a:cubicBezTo>
                    <a:cubicBezTo>
                      <a:pt x="3000" y="6863"/>
                      <a:pt x="3022" y="6895"/>
                      <a:pt x="3053" y="6931"/>
                    </a:cubicBezTo>
                    <a:cubicBezTo>
                      <a:pt x="3083" y="6968"/>
                      <a:pt x="3123" y="7010"/>
                      <a:pt x="3157" y="7031"/>
                    </a:cubicBezTo>
                    <a:cubicBezTo>
                      <a:pt x="3229" y="7075"/>
                      <a:pt x="3335" y="7157"/>
                      <a:pt x="3335" y="7158"/>
                    </a:cubicBezTo>
                    <a:cubicBezTo>
                      <a:pt x="3354" y="7172"/>
                      <a:pt x="3354" y="7172"/>
                      <a:pt x="3354" y="7172"/>
                    </a:cubicBezTo>
                    <a:cubicBezTo>
                      <a:pt x="3330" y="7171"/>
                      <a:pt x="3330" y="7171"/>
                      <a:pt x="3330" y="7171"/>
                    </a:cubicBezTo>
                    <a:cubicBezTo>
                      <a:pt x="3319" y="7170"/>
                      <a:pt x="3309" y="7170"/>
                      <a:pt x="3300" y="7170"/>
                    </a:cubicBezTo>
                    <a:cubicBezTo>
                      <a:pt x="3200" y="7171"/>
                      <a:pt x="3198" y="7206"/>
                      <a:pt x="3197" y="7216"/>
                    </a:cubicBezTo>
                    <a:cubicBezTo>
                      <a:pt x="3197" y="7219"/>
                      <a:pt x="3197" y="7220"/>
                      <a:pt x="3197" y="7220"/>
                    </a:cubicBezTo>
                    <a:cubicBezTo>
                      <a:pt x="3198" y="7225"/>
                      <a:pt x="3198" y="7225"/>
                      <a:pt x="3198" y="7225"/>
                    </a:cubicBezTo>
                    <a:cubicBezTo>
                      <a:pt x="3113" y="7266"/>
                      <a:pt x="3113" y="7266"/>
                      <a:pt x="3113" y="7266"/>
                    </a:cubicBezTo>
                    <a:lnTo>
                      <a:pt x="3092" y="7240"/>
                    </a:lnTo>
                    <a:close/>
                    <a:moveTo>
                      <a:pt x="3060" y="7239"/>
                    </a:moveTo>
                    <a:cubicBezTo>
                      <a:pt x="3096" y="7221"/>
                      <a:pt x="3096" y="7221"/>
                      <a:pt x="3096" y="7221"/>
                    </a:cubicBezTo>
                    <a:cubicBezTo>
                      <a:pt x="3117" y="7247"/>
                      <a:pt x="3117" y="7247"/>
                      <a:pt x="3117" y="7247"/>
                    </a:cubicBezTo>
                    <a:cubicBezTo>
                      <a:pt x="3182" y="7217"/>
                      <a:pt x="3182" y="7217"/>
                      <a:pt x="3182" y="7217"/>
                    </a:cubicBezTo>
                    <a:cubicBezTo>
                      <a:pt x="3182" y="7217"/>
                      <a:pt x="3182" y="7216"/>
                      <a:pt x="3182" y="7216"/>
                    </a:cubicBezTo>
                    <a:cubicBezTo>
                      <a:pt x="3182" y="7207"/>
                      <a:pt x="3185" y="7191"/>
                      <a:pt x="3202" y="7178"/>
                    </a:cubicBezTo>
                    <a:cubicBezTo>
                      <a:pt x="3219" y="7165"/>
                      <a:pt x="3249" y="7155"/>
                      <a:pt x="3300" y="7155"/>
                    </a:cubicBezTo>
                    <a:cubicBezTo>
                      <a:pt x="3302" y="7155"/>
                      <a:pt x="3305" y="7155"/>
                      <a:pt x="3307" y="7155"/>
                    </a:cubicBezTo>
                    <a:cubicBezTo>
                      <a:pt x="3274" y="7130"/>
                      <a:pt x="3202" y="7076"/>
                      <a:pt x="3149" y="7044"/>
                    </a:cubicBezTo>
                    <a:cubicBezTo>
                      <a:pt x="3084" y="7003"/>
                      <a:pt x="3007" y="6898"/>
                      <a:pt x="2991" y="6876"/>
                    </a:cubicBezTo>
                    <a:cubicBezTo>
                      <a:pt x="2955" y="6885"/>
                      <a:pt x="2955" y="6885"/>
                      <a:pt x="2955" y="6885"/>
                    </a:cubicBezTo>
                    <a:cubicBezTo>
                      <a:pt x="3004" y="7001"/>
                      <a:pt x="3004" y="7001"/>
                      <a:pt x="3004" y="7001"/>
                    </a:cubicBezTo>
                    <a:cubicBezTo>
                      <a:pt x="2967" y="7014"/>
                      <a:pt x="2967" y="7014"/>
                      <a:pt x="2967" y="7014"/>
                    </a:cubicBezTo>
                    <a:lnTo>
                      <a:pt x="3060" y="7239"/>
                    </a:lnTo>
                    <a:close/>
                    <a:moveTo>
                      <a:pt x="3538" y="5176"/>
                    </a:moveTo>
                    <a:cubicBezTo>
                      <a:pt x="3580" y="5208"/>
                      <a:pt x="3580" y="5208"/>
                      <a:pt x="3580" y="5208"/>
                    </a:cubicBezTo>
                    <a:cubicBezTo>
                      <a:pt x="3466" y="5354"/>
                      <a:pt x="3466" y="5354"/>
                      <a:pt x="3466" y="5354"/>
                    </a:cubicBezTo>
                    <a:cubicBezTo>
                      <a:pt x="3379" y="5287"/>
                      <a:pt x="3379" y="5287"/>
                      <a:pt x="3379" y="5287"/>
                    </a:cubicBezTo>
                    <a:cubicBezTo>
                      <a:pt x="3424" y="5229"/>
                      <a:pt x="3424" y="5229"/>
                      <a:pt x="3424" y="5229"/>
                    </a:cubicBezTo>
                    <a:cubicBezTo>
                      <a:pt x="3379" y="5194"/>
                      <a:pt x="3379" y="5194"/>
                      <a:pt x="3379" y="5194"/>
                    </a:cubicBezTo>
                    <a:cubicBezTo>
                      <a:pt x="3383" y="5189"/>
                      <a:pt x="3383" y="5189"/>
                      <a:pt x="3383" y="5189"/>
                    </a:cubicBezTo>
                    <a:cubicBezTo>
                      <a:pt x="3452" y="5095"/>
                      <a:pt x="3452" y="5095"/>
                      <a:pt x="3452" y="5095"/>
                    </a:cubicBezTo>
                    <a:cubicBezTo>
                      <a:pt x="3545" y="5168"/>
                      <a:pt x="3545" y="5168"/>
                      <a:pt x="3545" y="5168"/>
                    </a:cubicBezTo>
                    <a:lnTo>
                      <a:pt x="3538" y="5176"/>
                    </a:lnTo>
                    <a:close/>
                    <a:moveTo>
                      <a:pt x="3520" y="5178"/>
                    </a:moveTo>
                    <a:cubicBezTo>
                      <a:pt x="3526" y="5170"/>
                      <a:pt x="3526" y="5170"/>
                      <a:pt x="3526" y="5170"/>
                    </a:cubicBezTo>
                    <a:cubicBezTo>
                      <a:pt x="3454" y="5114"/>
                      <a:pt x="3454" y="5114"/>
                      <a:pt x="3454" y="5114"/>
                    </a:cubicBezTo>
                    <a:cubicBezTo>
                      <a:pt x="3397" y="5192"/>
                      <a:pt x="3397" y="5192"/>
                      <a:pt x="3397" y="5192"/>
                    </a:cubicBezTo>
                    <a:cubicBezTo>
                      <a:pt x="3442" y="5227"/>
                      <a:pt x="3442" y="5227"/>
                      <a:pt x="3442" y="5227"/>
                    </a:cubicBezTo>
                    <a:cubicBezTo>
                      <a:pt x="3398" y="5285"/>
                      <a:pt x="3398" y="5285"/>
                      <a:pt x="3398" y="5285"/>
                    </a:cubicBezTo>
                    <a:cubicBezTo>
                      <a:pt x="3464" y="5336"/>
                      <a:pt x="3464" y="5336"/>
                      <a:pt x="3464" y="5336"/>
                    </a:cubicBezTo>
                    <a:cubicBezTo>
                      <a:pt x="3561" y="5210"/>
                      <a:pt x="3561" y="5210"/>
                      <a:pt x="3561" y="5210"/>
                    </a:cubicBezTo>
                    <a:lnTo>
                      <a:pt x="3520" y="5178"/>
                    </a:lnTo>
                    <a:close/>
                    <a:moveTo>
                      <a:pt x="3870" y="5799"/>
                    </a:moveTo>
                    <a:cubicBezTo>
                      <a:pt x="3881" y="5877"/>
                      <a:pt x="3881" y="5877"/>
                      <a:pt x="3881" y="5877"/>
                    </a:cubicBezTo>
                    <a:cubicBezTo>
                      <a:pt x="3738" y="5845"/>
                      <a:pt x="3738" y="5845"/>
                      <a:pt x="3738" y="5845"/>
                    </a:cubicBezTo>
                    <a:cubicBezTo>
                      <a:pt x="3731" y="5874"/>
                      <a:pt x="3731" y="5874"/>
                      <a:pt x="3731" y="5874"/>
                    </a:cubicBezTo>
                    <a:cubicBezTo>
                      <a:pt x="3488" y="5810"/>
                      <a:pt x="3488" y="5810"/>
                      <a:pt x="3488" y="5810"/>
                    </a:cubicBezTo>
                    <a:cubicBezTo>
                      <a:pt x="3533" y="5716"/>
                      <a:pt x="3533" y="5716"/>
                      <a:pt x="3533" y="5716"/>
                    </a:cubicBezTo>
                    <a:cubicBezTo>
                      <a:pt x="3869" y="5794"/>
                      <a:pt x="3869" y="5794"/>
                      <a:pt x="3869" y="5794"/>
                    </a:cubicBezTo>
                    <a:lnTo>
                      <a:pt x="3870" y="5799"/>
                    </a:lnTo>
                    <a:close/>
                    <a:moveTo>
                      <a:pt x="3863" y="5858"/>
                    </a:moveTo>
                    <a:cubicBezTo>
                      <a:pt x="3856" y="5806"/>
                      <a:pt x="3856" y="5806"/>
                      <a:pt x="3856" y="5806"/>
                    </a:cubicBezTo>
                    <a:cubicBezTo>
                      <a:pt x="3541" y="5733"/>
                      <a:pt x="3541" y="5733"/>
                      <a:pt x="3541" y="5733"/>
                    </a:cubicBezTo>
                    <a:cubicBezTo>
                      <a:pt x="3509" y="5801"/>
                      <a:pt x="3509" y="5801"/>
                      <a:pt x="3509" y="5801"/>
                    </a:cubicBezTo>
                    <a:cubicBezTo>
                      <a:pt x="3720" y="5856"/>
                      <a:pt x="3720" y="5856"/>
                      <a:pt x="3720" y="5856"/>
                    </a:cubicBezTo>
                    <a:cubicBezTo>
                      <a:pt x="3728" y="5827"/>
                      <a:pt x="3728" y="5827"/>
                      <a:pt x="3728" y="5827"/>
                    </a:cubicBezTo>
                    <a:lnTo>
                      <a:pt x="3863" y="5858"/>
                    </a:lnTo>
                    <a:close/>
                    <a:moveTo>
                      <a:pt x="3447" y="6773"/>
                    </a:moveTo>
                    <a:cubicBezTo>
                      <a:pt x="3446" y="6778"/>
                      <a:pt x="3446" y="6778"/>
                      <a:pt x="3446" y="6778"/>
                    </a:cubicBezTo>
                    <a:cubicBezTo>
                      <a:pt x="3423" y="6887"/>
                      <a:pt x="3423" y="6887"/>
                      <a:pt x="3423" y="6887"/>
                    </a:cubicBezTo>
                    <a:cubicBezTo>
                      <a:pt x="3384" y="6875"/>
                      <a:pt x="3384" y="6875"/>
                      <a:pt x="3384" y="6875"/>
                    </a:cubicBezTo>
                    <a:cubicBezTo>
                      <a:pt x="3354" y="6969"/>
                      <a:pt x="3354" y="6969"/>
                      <a:pt x="3354" y="6969"/>
                    </a:cubicBezTo>
                    <a:cubicBezTo>
                      <a:pt x="3345" y="6962"/>
                      <a:pt x="3345" y="6962"/>
                      <a:pt x="3345" y="6962"/>
                    </a:cubicBezTo>
                    <a:cubicBezTo>
                      <a:pt x="3345" y="6962"/>
                      <a:pt x="3315" y="6938"/>
                      <a:pt x="3255" y="6892"/>
                    </a:cubicBezTo>
                    <a:cubicBezTo>
                      <a:pt x="3192" y="6845"/>
                      <a:pt x="3163" y="6749"/>
                      <a:pt x="3163" y="6748"/>
                    </a:cubicBezTo>
                    <a:cubicBezTo>
                      <a:pt x="3162" y="6746"/>
                      <a:pt x="3162" y="6746"/>
                      <a:pt x="3162" y="6746"/>
                    </a:cubicBezTo>
                    <a:cubicBezTo>
                      <a:pt x="3193" y="6645"/>
                      <a:pt x="3193" y="6645"/>
                      <a:pt x="3193" y="6645"/>
                    </a:cubicBezTo>
                    <a:lnTo>
                      <a:pt x="3447" y="6773"/>
                    </a:lnTo>
                    <a:close/>
                    <a:moveTo>
                      <a:pt x="3431" y="6781"/>
                    </a:moveTo>
                    <a:cubicBezTo>
                      <a:pt x="3202" y="6666"/>
                      <a:pt x="3202" y="6666"/>
                      <a:pt x="3202" y="6666"/>
                    </a:cubicBezTo>
                    <a:cubicBezTo>
                      <a:pt x="3177" y="6746"/>
                      <a:pt x="3177" y="6746"/>
                      <a:pt x="3177" y="6746"/>
                    </a:cubicBezTo>
                    <a:cubicBezTo>
                      <a:pt x="3180" y="6752"/>
                      <a:pt x="3186" y="6772"/>
                      <a:pt x="3198" y="6796"/>
                    </a:cubicBezTo>
                    <a:cubicBezTo>
                      <a:pt x="3213" y="6825"/>
                      <a:pt x="3235" y="6859"/>
                      <a:pt x="3264" y="6881"/>
                    </a:cubicBezTo>
                    <a:cubicBezTo>
                      <a:pt x="3306" y="6912"/>
                      <a:pt x="3333" y="6934"/>
                      <a:pt x="3346" y="6944"/>
                    </a:cubicBezTo>
                    <a:cubicBezTo>
                      <a:pt x="3374" y="6857"/>
                      <a:pt x="3374" y="6857"/>
                      <a:pt x="3374" y="6857"/>
                    </a:cubicBezTo>
                    <a:cubicBezTo>
                      <a:pt x="3412" y="6868"/>
                      <a:pt x="3412" y="6868"/>
                      <a:pt x="3412" y="6868"/>
                    </a:cubicBezTo>
                    <a:lnTo>
                      <a:pt x="3431" y="6781"/>
                    </a:lnTo>
                    <a:close/>
                    <a:moveTo>
                      <a:pt x="5898" y="10227"/>
                    </a:moveTo>
                    <a:cubicBezTo>
                      <a:pt x="5751" y="10218"/>
                      <a:pt x="5751" y="10218"/>
                      <a:pt x="5751" y="10218"/>
                    </a:cubicBezTo>
                    <a:cubicBezTo>
                      <a:pt x="5751" y="10211"/>
                      <a:pt x="5751" y="10211"/>
                      <a:pt x="5751" y="10211"/>
                    </a:cubicBezTo>
                    <a:cubicBezTo>
                      <a:pt x="5757" y="10114"/>
                      <a:pt x="5757" y="10114"/>
                      <a:pt x="5757" y="10114"/>
                    </a:cubicBezTo>
                    <a:cubicBezTo>
                      <a:pt x="5905" y="10123"/>
                      <a:pt x="5905" y="10123"/>
                      <a:pt x="5905" y="10123"/>
                    </a:cubicBezTo>
                    <a:lnTo>
                      <a:pt x="5898" y="10227"/>
                    </a:lnTo>
                    <a:close/>
                    <a:moveTo>
                      <a:pt x="5891" y="10135"/>
                    </a:moveTo>
                    <a:cubicBezTo>
                      <a:pt x="5769" y="10127"/>
                      <a:pt x="5769" y="10127"/>
                      <a:pt x="5769" y="10127"/>
                    </a:cubicBezTo>
                    <a:cubicBezTo>
                      <a:pt x="5764" y="10206"/>
                      <a:pt x="5764" y="10206"/>
                      <a:pt x="5764" y="10206"/>
                    </a:cubicBezTo>
                    <a:cubicBezTo>
                      <a:pt x="5886" y="10213"/>
                      <a:pt x="5886" y="10213"/>
                      <a:pt x="5886" y="10213"/>
                    </a:cubicBezTo>
                    <a:lnTo>
                      <a:pt x="5891" y="10135"/>
                    </a:lnTo>
                    <a:close/>
                    <a:moveTo>
                      <a:pt x="3160" y="10728"/>
                    </a:moveTo>
                    <a:cubicBezTo>
                      <a:pt x="3154" y="10731"/>
                      <a:pt x="3154" y="10731"/>
                      <a:pt x="3154" y="10731"/>
                    </a:cubicBezTo>
                    <a:cubicBezTo>
                      <a:pt x="3154" y="10731"/>
                      <a:pt x="3044" y="10780"/>
                      <a:pt x="3000" y="10810"/>
                    </a:cubicBezTo>
                    <a:cubicBezTo>
                      <a:pt x="2994" y="10814"/>
                      <a:pt x="2989" y="10818"/>
                      <a:pt x="2985" y="10821"/>
                    </a:cubicBezTo>
                    <a:cubicBezTo>
                      <a:pt x="3010" y="10821"/>
                      <a:pt x="3010" y="10821"/>
                      <a:pt x="3010" y="10821"/>
                    </a:cubicBezTo>
                    <a:cubicBezTo>
                      <a:pt x="3048" y="10796"/>
                      <a:pt x="3133" y="10757"/>
                      <a:pt x="3155" y="10747"/>
                    </a:cubicBezTo>
                    <a:cubicBezTo>
                      <a:pt x="3214" y="10821"/>
                      <a:pt x="3214" y="10821"/>
                      <a:pt x="3214" y="10821"/>
                    </a:cubicBezTo>
                    <a:cubicBezTo>
                      <a:pt x="3233" y="10821"/>
                      <a:pt x="3233" y="10821"/>
                      <a:pt x="3233" y="10821"/>
                    </a:cubicBezTo>
                    <a:cubicBezTo>
                      <a:pt x="3163" y="10733"/>
                      <a:pt x="3163" y="10733"/>
                      <a:pt x="3163" y="10733"/>
                    </a:cubicBezTo>
                    <a:lnTo>
                      <a:pt x="3160" y="10728"/>
                    </a:lnTo>
                    <a:close/>
                    <a:moveTo>
                      <a:pt x="2310" y="10810"/>
                    </a:moveTo>
                    <a:cubicBezTo>
                      <a:pt x="2308" y="10810"/>
                      <a:pt x="2308" y="10810"/>
                      <a:pt x="2308" y="10810"/>
                    </a:cubicBezTo>
                    <a:cubicBezTo>
                      <a:pt x="2308" y="10810"/>
                      <a:pt x="2308" y="10810"/>
                      <a:pt x="2308" y="10810"/>
                    </a:cubicBezTo>
                    <a:cubicBezTo>
                      <a:pt x="2308" y="10810"/>
                      <a:pt x="2308" y="10810"/>
                      <a:pt x="2308" y="10810"/>
                    </a:cubicBezTo>
                    <a:cubicBezTo>
                      <a:pt x="2198" y="10813"/>
                      <a:pt x="2198" y="10813"/>
                      <a:pt x="2198" y="10813"/>
                    </a:cubicBezTo>
                    <a:cubicBezTo>
                      <a:pt x="2198" y="10813"/>
                      <a:pt x="2198" y="10813"/>
                      <a:pt x="2198" y="10813"/>
                    </a:cubicBezTo>
                    <a:cubicBezTo>
                      <a:pt x="2195" y="10813"/>
                      <a:pt x="2195" y="10813"/>
                      <a:pt x="2195" y="10813"/>
                    </a:cubicBezTo>
                    <a:cubicBezTo>
                      <a:pt x="2192" y="10814"/>
                      <a:pt x="2192" y="10814"/>
                      <a:pt x="2192" y="10814"/>
                    </a:cubicBezTo>
                    <a:cubicBezTo>
                      <a:pt x="2100" y="10821"/>
                      <a:pt x="2100" y="10821"/>
                      <a:pt x="2100" y="10821"/>
                    </a:cubicBezTo>
                    <a:cubicBezTo>
                      <a:pt x="2475" y="10821"/>
                      <a:pt x="2475" y="10821"/>
                      <a:pt x="2475" y="10821"/>
                    </a:cubicBezTo>
                    <a:cubicBezTo>
                      <a:pt x="2477" y="10817"/>
                      <a:pt x="2477" y="10817"/>
                      <a:pt x="2477" y="10817"/>
                    </a:cubicBezTo>
                    <a:lnTo>
                      <a:pt x="2310" y="10810"/>
                    </a:lnTo>
                    <a:close/>
                    <a:moveTo>
                      <a:pt x="6957" y="10106"/>
                    </a:moveTo>
                    <a:cubicBezTo>
                      <a:pt x="6952" y="10101"/>
                      <a:pt x="6952" y="10101"/>
                      <a:pt x="6952" y="10101"/>
                    </a:cubicBezTo>
                    <a:cubicBezTo>
                      <a:pt x="7022" y="10034"/>
                      <a:pt x="7022" y="10034"/>
                      <a:pt x="7022" y="10034"/>
                    </a:cubicBezTo>
                    <a:cubicBezTo>
                      <a:pt x="7120" y="10135"/>
                      <a:pt x="7120" y="10135"/>
                      <a:pt x="7120" y="10135"/>
                    </a:cubicBezTo>
                    <a:cubicBezTo>
                      <a:pt x="7068" y="10186"/>
                      <a:pt x="7068" y="10186"/>
                      <a:pt x="7068" y="10186"/>
                    </a:cubicBezTo>
                    <a:cubicBezTo>
                      <a:pt x="7120" y="10240"/>
                      <a:pt x="7120" y="10240"/>
                      <a:pt x="7120" y="10240"/>
                    </a:cubicBezTo>
                    <a:cubicBezTo>
                      <a:pt x="7066" y="10293"/>
                      <a:pt x="7066" y="10293"/>
                      <a:pt x="7066" y="10293"/>
                    </a:cubicBezTo>
                    <a:cubicBezTo>
                      <a:pt x="7061" y="10288"/>
                      <a:pt x="7061" y="10288"/>
                      <a:pt x="7061" y="10288"/>
                    </a:cubicBezTo>
                    <a:cubicBezTo>
                      <a:pt x="6930" y="10149"/>
                      <a:pt x="6930" y="10149"/>
                      <a:pt x="6930" y="10149"/>
                    </a:cubicBezTo>
                    <a:cubicBezTo>
                      <a:pt x="6965" y="10114"/>
                      <a:pt x="6965" y="10114"/>
                      <a:pt x="6965" y="10114"/>
                    </a:cubicBezTo>
                    <a:lnTo>
                      <a:pt x="6957" y="10106"/>
                    </a:lnTo>
                    <a:close/>
                    <a:moveTo>
                      <a:pt x="6971" y="10101"/>
                    </a:moveTo>
                    <a:cubicBezTo>
                      <a:pt x="6979" y="10110"/>
                      <a:pt x="6979" y="10110"/>
                      <a:pt x="6979" y="10110"/>
                    </a:cubicBezTo>
                    <a:cubicBezTo>
                      <a:pt x="6984" y="10115"/>
                      <a:pt x="6984" y="10115"/>
                      <a:pt x="6984" y="10115"/>
                    </a:cubicBezTo>
                    <a:cubicBezTo>
                      <a:pt x="6948" y="10149"/>
                      <a:pt x="6948" y="10149"/>
                      <a:pt x="6948" y="10149"/>
                    </a:cubicBezTo>
                    <a:cubicBezTo>
                      <a:pt x="7066" y="10274"/>
                      <a:pt x="7066" y="10274"/>
                      <a:pt x="7066" y="10274"/>
                    </a:cubicBezTo>
                    <a:cubicBezTo>
                      <a:pt x="7102" y="10240"/>
                      <a:pt x="7102" y="10240"/>
                      <a:pt x="7102" y="10240"/>
                    </a:cubicBezTo>
                    <a:cubicBezTo>
                      <a:pt x="7049" y="10186"/>
                      <a:pt x="7049" y="10186"/>
                      <a:pt x="7049" y="10186"/>
                    </a:cubicBezTo>
                    <a:cubicBezTo>
                      <a:pt x="7101" y="10135"/>
                      <a:pt x="7101" y="10135"/>
                      <a:pt x="7101" y="10135"/>
                    </a:cubicBezTo>
                    <a:cubicBezTo>
                      <a:pt x="7021" y="10052"/>
                      <a:pt x="7021" y="10052"/>
                      <a:pt x="7021" y="10052"/>
                    </a:cubicBezTo>
                    <a:lnTo>
                      <a:pt x="6971" y="10101"/>
                    </a:lnTo>
                    <a:close/>
                    <a:moveTo>
                      <a:pt x="1871" y="9598"/>
                    </a:moveTo>
                    <a:cubicBezTo>
                      <a:pt x="1847" y="9554"/>
                      <a:pt x="1847" y="9554"/>
                      <a:pt x="1847" y="9554"/>
                    </a:cubicBezTo>
                    <a:cubicBezTo>
                      <a:pt x="2126" y="9406"/>
                      <a:pt x="2126" y="9406"/>
                      <a:pt x="2126" y="9406"/>
                    </a:cubicBezTo>
                    <a:cubicBezTo>
                      <a:pt x="2065" y="9923"/>
                      <a:pt x="2065" y="9923"/>
                      <a:pt x="2065" y="9923"/>
                    </a:cubicBezTo>
                    <a:cubicBezTo>
                      <a:pt x="2007" y="9948"/>
                      <a:pt x="2007" y="9948"/>
                      <a:pt x="2007" y="9948"/>
                    </a:cubicBezTo>
                    <a:cubicBezTo>
                      <a:pt x="1826" y="9875"/>
                      <a:pt x="1826" y="9875"/>
                      <a:pt x="1826" y="9875"/>
                    </a:cubicBezTo>
                    <a:cubicBezTo>
                      <a:pt x="1902" y="9842"/>
                      <a:pt x="1902" y="9842"/>
                      <a:pt x="1902" y="9842"/>
                    </a:cubicBezTo>
                    <a:cubicBezTo>
                      <a:pt x="1934" y="9567"/>
                      <a:pt x="1934" y="9567"/>
                      <a:pt x="1934" y="9567"/>
                    </a:cubicBezTo>
                    <a:lnTo>
                      <a:pt x="1871" y="9598"/>
                    </a:lnTo>
                    <a:close/>
                    <a:moveTo>
                      <a:pt x="1866" y="9559"/>
                    </a:moveTo>
                    <a:cubicBezTo>
                      <a:pt x="1877" y="9580"/>
                      <a:pt x="1877" y="9580"/>
                      <a:pt x="1877" y="9580"/>
                    </a:cubicBezTo>
                    <a:cubicBezTo>
                      <a:pt x="1928" y="9555"/>
                      <a:pt x="1928" y="9555"/>
                      <a:pt x="1928" y="9555"/>
                    </a:cubicBezTo>
                    <a:cubicBezTo>
                      <a:pt x="1951" y="9544"/>
                      <a:pt x="1951" y="9544"/>
                      <a:pt x="1951" y="9544"/>
                    </a:cubicBezTo>
                    <a:cubicBezTo>
                      <a:pt x="1948" y="9569"/>
                      <a:pt x="1948" y="9569"/>
                      <a:pt x="1948" y="9569"/>
                    </a:cubicBezTo>
                    <a:cubicBezTo>
                      <a:pt x="1916" y="9844"/>
                      <a:pt x="1916" y="9844"/>
                      <a:pt x="1916" y="9844"/>
                    </a:cubicBezTo>
                    <a:cubicBezTo>
                      <a:pt x="1915" y="9852"/>
                      <a:pt x="1915" y="9852"/>
                      <a:pt x="1915" y="9852"/>
                    </a:cubicBezTo>
                    <a:cubicBezTo>
                      <a:pt x="1907" y="9855"/>
                      <a:pt x="1907" y="9855"/>
                      <a:pt x="1907" y="9855"/>
                    </a:cubicBezTo>
                    <a:cubicBezTo>
                      <a:pt x="1862" y="9874"/>
                      <a:pt x="1862" y="9874"/>
                      <a:pt x="1862" y="9874"/>
                    </a:cubicBezTo>
                    <a:cubicBezTo>
                      <a:pt x="2006" y="9933"/>
                      <a:pt x="2006" y="9933"/>
                      <a:pt x="2006" y="9933"/>
                    </a:cubicBezTo>
                    <a:cubicBezTo>
                      <a:pt x="2052" y="9913"/>
                      <a:pt x="2052" y="9913"/>
                      <a:pt x="2052" y="9913"/>
                    </a:cubicBezTo>
                    <a:cubicBezTo>
                      <a:pt x="2109" y="9430"/>
                      <a:pt x="2109" y="9430"/>
                      <a:pt x="2109" y="9430"/>
                    </a:cubicBezTo>
                    <a:lnTo>
                      <a:pt x="1866" y="9559"/>
                    </a:lnTo>
                    <a:close/>
                    <a:moveTo>
                      <a:pt x="50" y="8492"/>
                    </a:moveTo>
                    <a:cubicBezTo>
                      <a:pt x="22" y="8503"/>
                      <a:pt x="22" y="8503"/>
                      <a:pt x="22" y="8503"/>
                    </a:cubicBezTo>
                    <a:cubicBezTo>
                      <a:pt x="22" y="8503"/>
                      <a:pt x="15" y="8506"/>
                      <a:pt x="3" y="8511"/>
                    </a:cubicBezTo>
                    <a:cubicBezTo>
                      <a:pt x="3" y="8546"/>
                      <a:pt x="3" y="8546"/>
                      <a:pt x="3" y="8546"/>
                    </a:cubicBezTo>
                    <a:cubicBezTo>
                      <a:pt x="30" y="8515"/>
                      <a:pt x="30" y="8515"/>
                      <a:pt x="30" y="8515"/>
                    </a:cubicBezTo>
                    <a:lnTo>
                      <a:pt x="50" y="8492"/>
                    </a:lnTo>
                    <a:close/>
                    <a:moveTo>
                      <a:pt x="1230" y="9831"/>
                    </a:moveTo>
                    <a:cubicBezTo>
                      <a:pt x="1230" y="9831"/>
                      <a:pt x="1230" y="9831"/>
                      <a:pt x="1230" y="9831"/>
                    </a:cubicBezTo>
                    <a:cubicBezTo>
                      <a:pt x="1230" y="9831"/>
                      <a:pt x="1230" y="9831"/>
                      <a:pt x="1230" y="9831"/>
                    </a:cubicBezTo>
                    <a:cubicBezTo>
                      <a:pt x="1230" y="9831"/>
                      <a:pt x="1230" y="9831"/>
                      <a:pt x="1230" y="9831"/>
                    </a:cubicBezTo>
                    <a:close/>
                    <a:moveTo>
                      <a:pt x="4471" y="5008"/>
                    </a:moveTo>
                    <a:cubicBezTo>
                      <a:pt x="4547" y="5077"/>
                      <a:pt x="4547" y="5077"/>
                      <a:pt x="4547" y="5077"/>
                    </a:cubicBezTo>
                    <a:cubicBezTo>
                      <a:pt x="4448" y="5187"/>
                      <a:pt x="4448" y="5187"/>
                      <a:pt x="4448" y="5187"/>
                    </a:cubicBezTo>
                    <a:cubicBezTo>
                      <a:pt x="4372" y="5118"/>
                      <a:pt x="4372" y="5118"/>
                      <a:pt x="4372" y="5118"/>
                    </a:cubicBezTo>
                    <a:cubicBezTo>
                      <a:pt x="4376" y="5114"/>
                      <a:pt x="4376" y="5114"/>
                      <a:pt x="4376" y="5114"/>
                    </a:cubicBezTo>
                    <a:lnTo>
                      <a:pt x="4471" y="5008"/>
                    </a:lnTo>
                    <a:close/>
                    <a:moveTo>
                      <a:pt x="4472" y="5027"/>
                    </a:moveTo>
                    <a:cubicBezTo>
                      <a:pt x="4390" y="5117"/>
                      <a:pt x="4390" y="5117"/>
                      <a:pt x="4390" y="5117"/>
                    </a:cubicBezTo>
                    <a:cubicBezTo>
                      <a:pt x="4447" y="5169"/>
                      <a:pt x="4447" y="5169"/>
                      <a:pt x="4447" y="5169"/>
                    </a:cubicBezTo>
                    <a:cubicBezTo>
                      <a:pt x="4529" y="5078"/>
                      <a:pt x="4529" y="5078"/>
                      <a:pt x="4529" y="5078"/>
                    </a:cubicBezTo>
                    <a:lnTo>
                      <a:pt x="4472" y="5027"/>
                    </a:lnTo>
                    <a:close/>
                    <a:moveTo>
                      <a:pt x="1640" y="10101"/>
                    </a:moveTo>
                    <a:cubicBezTo>
                      <a:pt x="1301" y="9844"/>
                      <a:pt x="1301" y="9844"/>
                      <a:pt x="1301" y="9844"/>
                    </a:cubicBezTo>
                    <a:cubicBezTo>
                      <a:pt x="1518" y="9728"/>
                      <a:pt x="1518" y="9728"/>
                      <a:pt x="1518" y="9728"/>
                    </a:cubicBezTo>
                    <a:cubicBezTo>
                      <a:pt x="1540" y="9773"/>
                      <a:pt x="1540" y="9773"/>
                      <a:pt x="1540" y="9773"/>
                    </a:cubicBezTo>
                    <a:cubicBezTo>
                      <a:pt x="1496" y="9798"/>
                      <a:pt x="1496" y="9798"/>
                      <a:pt x="1496" y="9798"/>
                    </a:cubicBezTo>
                    <a:cubicBezTo>
                      <a:pt x="1671" y="9937"/>
                      <a:pt x="1671" y="9937"/>
                      <a:pt x="1671" y="9937"/>
                    </a:cubicBezTo>
                    <a:cubicBezTo>
                      <a:pt x="1716" y="9920"/>
                      <a:pt x="1716" y="9920"/>
                      <a:pt x="1716" y="9920"/>
                    </a:cubicBezTo>
                    <a:cubicBezTo>
                      <a:pt x="1951" y="9970"/>
                      <a:pt x="1951" y="9970"/>
                      <a:pt x="1951" y="9970"/>
                    </a:cubicBezTo>
                    <a:lnTo>
                      <a:pt x="1640" y="10101"/>
                    </a:lnTo>
                    <a:close/>
                    <a:moveTo>
                      <a:pt x="1327" y="9846"/>
                    </a:moveTo>
                    <a:cubicBezTo>
                      <a:pt x="1642" y="10085"/>
                      <a:pt x="1642" y="10085"/>
                      <a:pt x="1642" y="10085"/>
                    </a:cubicBezTo>
                    <a:cubicBezTo>
                      <a:pt x="1905" y="9975"/>
                      <a:pt x="1905" y="9975"/>
                      <a:pt x="1905" y="9975"/>
                    </a:cubicBezTo>
                    <a:cubicBezTo>
                      <a:pt x="1718" y="9934"/>
                      <a:pt x="1718" y="9934"/>
                      <a:pt x="1718" y="9934"/>
                    </a:cubicBezTo>
                    <a:cubicBezTo>
                      <a:pt x="1676" y="9950"/>
                      <a:pt x="1676" y="9950"/>
                      <a:pt x="1676" y="9950"/>
                    </a:cubicBezTo>
                    <a:cubicBezTo>
                      <a:pt x="1669" y="9953"/>
                      <a:pt x="1669" y="9953"/>
                      <a:pt x="1669" y="9953"/>
                    </a:cubicBezTo>
                    <a:cubicBezTo>
                      <a:pt x="1663" y="9948"/>
                      <a:pt x="1663" y="9948"/>
                      <a:pt x="1663" y="9948"/>
                    </a:cubicBezTo>
                    <a:cubicBezTo>
                      <a:pt x="1488" y="9809"/>
                      <a:pt x="1488" y="9809"/>
                      <a:pt x="1488" y="9809"/>
                    </a:cubicBezTo>
                    <a:cubicBezTo>
                      <a:pt x="1472" y="9797"/>
                      <a:pt x="1472" y="9797"/>
                      <a:pt x="1472" y="9797"/>
                    </a:cubicBezTo>
                    <a:cubicBezTo>
                      <a:pt x="1489" y="9786"/>
                      <a:pt x="1489" y="9786"/>
                      <a:pt x="1489" y="9786"/>
                    </a:cubicBezTo>
                    <a:cubicBezTo>
                      <a:pt x="1521" y="9767"/>
                      <a:pt x="1521" y="9767"/>
                      <a:pt x="1521" y="9767"/>
                    </a:cubicBezTo>
                    <a:cubicBezTo>
                      <a:pt x="1512" y="9747"/>
                      <a:pt x="1512" y="9747"/>
                      <a:pt x="1512" y="9747"/>
                    </a:cubicBezTo>
                    <a:lnTo>
                      <a:pt x="1327" y="9846"/>
                    </a:lnTo>
                    <a:close/>
                    <a:moveTo>
                      <a:pt x="3580" y="4770"/>
                    </a:moveTo>
                    <a:cubicBezTo>
                      <a:pt x="3654" y="4790"/>
                      <a:pt x="3654" y="4790"/>
                      <a:pt x="3654" y="4790"/>
                    </a:cubicBezTo>
                    <a:cubicBezTo>
                      <a:pt x="3614" y="4936"/>
                      <a:pt x="3614" y="4936"/>
                      <a:pt x="3614" y="4936"/>
                    </a:cubicBezTo>
                    <a:cubicBezTo>
                      <a:pt x="3541" y="4916"/>
                      <a:pt x="3541" y="4916"/>
                      <a:pt x="3541" y="4916"/>
                    </a:cubicBezTo>
                    <a:cubicBezTo>
                      <a:pt x="3543" y="4910"/>
                      <a:pt x="3543" y="4910"/>
                      <a:pt x="3543" y="4910"/>
                    </a:cubicBezTo>
                    <a:lnTo>
                      <a:pt x="3580" y="4770"/>
                    </a:lnTo>
                    <a:close/>
                    <a:moveTo>
                      <a:pt x="3590" y="4786"/>
                    </a:moveTo>
                    <a:cubicBezTo>
                      <a:pt x="3557" y="4907"/>
                      <a:pt x="3557" y="4907"/>
                      <a:pt x="3557" y="4907"/>
                    </a:cubicBezTo>
                    <a:cubicBezTo>
                      <a:pt x="3605" y="4920"/>
                      <a:pt x="3605" y="4920"/>
                      <a:pt x="3605" y="4920"/>
                    </a:cubicBezTo>
                    <a:cubicBezTo>
                      <a:pt x="3638" y="4799"/>
                      <a:pt x="3638" y="4799"/>
                      <a:pt x="3638" y="4799"/>
                    </a:cubicBezTo>
                    <a:lnTo>
                      <a:pt x="3590" y="4786"/>
                    </a:lnTo>
                    <a:close/>
                    <a:moveTo>
                      <a:pt x="1612" y="9796"/>
                    </a:moveTo>
                    <a:cubicBezTo>
                      <a:pt x="1581" y="9755"/>
                      <a:pt x="1581" y="9755"/>
                      <a:pt x="1581" y="9755"/>
                    </a:cubicBezTo>
                    <a:cubicBezTo>
                      <a:pt x="1584" y="9696"/>
                      <a:pt x="1584" y="9696"/>
                      <a:pt x="1584" y="9696"/>
                    </a:cubicBezTo>
                    <a:cubicBezTo>
                      <a:pt x="1806" y="9575"/>
                      <a:pt x="1806" y="9575"/>
                      <a:pt x="1806" y="9575"/>
                    </a:cubicBezTo>
                    <a:cubicBezTo>
                      <a:pt x="1830" y="9619"/>
                      <a:pt x="1830" y="9619"/>
                      <a:pt x="1830" y="9619"/>
                    </a:cubicBezTo>
                    <a:cubicBezTo>
                      <a:pt x="1823" y="9684"/>
                      <a:pt x="1823" y="9684"/>
                      <a:pt x="1823" y="9684"/>
                    </a:cubicBezTo>
                    <a:lnTo>
                      <a:pt x="1612" y="9796"/>
                    </a:lnTo>
                    <a:close/>
                    <a:moveTo>
                      <a:pt x="1595" y="9751"/>
                    </a:moveTo>
                    <a:cubicBezTo>
                      <a:pt x="1616" y="9778"/>
                      <a:pt x="1616" y="9778"/>
                      <a:pt x="1616" y="9778"/>
                    </a:cubicBezTo>
                    <a:cubicBezTo>
                      <a:pt x="1810" y="9675"/>
                      <a:pt x="1810" y="9675"/>
                      <a:pt x="1810" y="9675"/>
                    </a:cubicBezTo>
                    <a:cubicBezTo>
                      <a:pt x="1816" y="9622"/>
                      <a:pt x="1816" y="9622"/>
                      <a:pt x="1816" y="9622"/>
                    </a:cubicBezTo>
                    <a:cubicBezTo>
                      <a:pt x="1801" y="9594"/>
                      <a:pt x="1801" y="9594"/>
                      <a:pt x="1801" y="9594"/>
                    </a:cubicBezTo>
                    <a:cubicBezTo>
                      <a:pt x="1597" y="9704"/>
                      <a:pt x="1597" y="9704"/>
                      <a:pt x="1597" y="9704"/>
                    </a:cubicBezTo>
                    <a:lnTo>
                      <a:pt x="1595" y="9751"/>
                    </a:lnTo>
                    <a:close/>
                    <a:moveTo>
                      <a:pt x="1226" y="9828"/>
                    </a:moveTo>
                    <a:cubicBezTo>
                      <a:pt x="1226" y="9828"/>
                      <a:pt x="1226" y="9828"/>
                      <a:pt x="1226" y="9828"/>
                    </a:cubicBezTo>
                    <a:cubicBezTo>
                      <a:pt x="1227" y="9828"/>
                      <a:pt x="1227" y="9828"/>
                      <a:pt x="1227" y="9828"/>
                    </a:cubicBezTo>
                    <a:cubicBezTo>
                      <a:pt x="1226" y="9828"/>
                      <a:pt x="1226" y="9828"/>
                      <a:pt x="1226" y="9828"/>
                    </a:cubicBezTo>
                    <a:close/>
                    <a:moveTo>
                      <a:pt x="1228" y="9829"/>
                    </a:moveTo>
                    <a:cubicBezTo>
                      <a:pt x="1228" y="9829"/>
                      <a:pt x="1228" y="9829"/>
                      <a:pt x="1228" y="9829"/>
                    </a:cubicBezTo>
                    <a:cubicBezTo>
                      <a:pt x="1228" y="9829"/>
                      <a:pt x="1228" y="9829"/>
                      <a:pt x="1228" y="9829"/>
                    </a:cubicBezTo>
                    <a:cubicBezTo>
                      <a:pt x="1228" y="9829"/>
                      <a:pt x="1228" y="9829"/>
                      <a:pt x="1228" y="9829"/>
                    </a:cubicBezTo>
                    <a:close/>
                    <a:moveTo>
                      <a:pt x="1226" y="9828"/>
                    </a:moveTo>
                    <a:cubicBezTo>
                      <a:pt x="1226" y="9828"/>
                      <a:pt x="1226" y="9828"/>
                      <a:pt x="1226" y="9828"/>
                    </a:cubicBezTo>
                    <a:cubicBezTo>
                      <a:pt x="1226" y="9828"/>
                      <a:pt x="1226" y="9828"/>
                      <a:pt x="1226" y="9828"/>
                    </a:cubicBezTo>
                    <a:cubicBezTo>
                      <a:pt x="1226" y="9828"/>
                      <a:pt x="1226" y="9828"/>
                      <a:pt x="1226" y="9828"/>
                    </a:cubicBezTo>
                    <a:close/>
                    <a:moveTo>
                      <a:pt x="1872" y="7493"/>
                    </a:moveTo>
                    <a:cubicBezTo>
                      <a:pt x="1809" y="7421"/>
                      <a:pt x="1809" y="7421"/>
                      <a:pt x="1809" y="7421"/>
                    </a:cubicBezTo>
                    <a:cubicBezTo>
                      <a:pt x="1822" y="7304"/>
                      <a:pt x="1822" y="7304"/>
                      <a:pt x="1822" y="7304"/>
                    </a:cubicBezTo>
                    <a:cubicBezTo>
                      <a:pt x="1860" y="7324"/>
                      <a:pt x="1860" y="7324"/>
                      <a:pt x="1860" y="7324"/>
                    </a:cubicBezTo>
                    <a:cubicBezTo>
                      <a:pt x="2050" y="7095"/>
                      <a:pt x="2050" y="7095"/>
                      <a:pt x="2050" y="7095"/>
                    </a:cubicBezTo>
                    <a:cubicBezTo>
                      <a:pt x="2173" y="7189"/>
                      <a:pt x="2173" y="7189"/>
                      <a:pt x="2173" y="7189"/>
                    </a:cubicBezTo>
                    <a:cubicBezTo>
                      <a:pt x="2167" y="7195"/>
                      <a:pt x="2167" y="7195"/>
                      <a:pt x="2167" y="7195"/>
                    </a:cubicBezTo>
                    <a:cubicBezTo>
                      <a:pt x="2006" y="7339"/>
                      <a:pt x="2006" y="7339"/>
                      <a:pt x="2006" y="7339"/>
                    </a:cubicBezTo>
                    <a:cubicBezTo>
                      <a:pt x="1966" y="7313"/>
                      <a:pt x="1966" y="7313"/>
                      <a:pt x="1966" y="7313"/>
                    </a:cubicBezTo>
                    <a:cubicBezTo>
                      <a:pt x="1919" y="7381"/>
                      <a:pt x="1919" y="7381"/>
                      <a:pt x="1919" y="7381"/>
                    </a:cubicBezTo>
                    <a:cubicBezTo>
                      <a:pt x="1926" y="7419"/>
                      <a:pt x="1926" y="7419"/>
                      <a:pt x="1926" y="7419"/>
                    </a:cubicBezTo>
                    <a:lnTo>
                      <a:pt x="1872" y="7493"/>
                    </a:lnTo>
                    <a:close/>
                    <a:moveTo>
                      <a:pt x="1871" y="7469"/>
                    </a:moveTo>
                    <a:cubicBezTo>
                      <a:pt x="1910" y="7416"/>
                      <a:pt x="1910" y="7416"/>
                      <a:pt x="1910" y="7416"/>
                    </a:cubicBezTo>
                    <a:cubicBezTo>
                      <a:pt x="1904" y="7378"/>
                      <a:pt x="1904" y="7378"/>
                      <a:pt x="1904" y="7378"/>
                    </a:cubicBezTo>
                    <a:cubicBezTo>
                      <a:pt x="1962" y="7292"/>
                      <a:pt x="1962" y="7292"/>
                      <a:pt x="1962" y="7292"/>
                    </a:cubicBezTo>
                    <a:cubicBezTo>
                      <a:pt x="2004" y="7320"/>
                      <a:pt x="2004" y="7320"/>
                      <a:pt x="2004" y="7320"/>
                    </a:cubicBezTo>
                    <a:cubicBezTo>
                      <a:pt x="2150" y="7190"/>
                      <a:pt x="2150" y="7190"/>
                      <a:pt x="2150" y="7190"/>
                    </a:cubicBezTo>
                    <a:cubicBezTo>
                      <a:pt x="2053" y="7115"/>
                      <a:pt x="2053" y="7115"/>
                      <a:pt x="2053" y="7115"/>
                    </a:cubicBezTo>
                    <a:cubicBezTo>
                      <a:pt x="1864" y="7343"/>
                      <a:pt x="1864" y="7343"/>
                      <a:pt x="1864" y="7343"/>
                    </a:cubicBezTo>
                    <a:cubicBezTo>
                      <a:pt x="1834" y="7327"/>
                      <a:pt x="1834" y="7327"/>
                      <a:pt x="1834" y="7327"/>
                    </a:cubicBezTo>
                    <a:cubicBezTo>
                      <a:pt x="1825" y="7416"/>
                      <a:pt x="1825" y="7416"/>
                      <a:pt x="1825" y="7416"/>
                    </a:cubicBezTo>
                    <a:lnTo>
                      <a:pt x="1871" y="7469"/>
                    </a:lnTo>
                    <a:close/>
                    <a:moveTo>
                      <a:pt x="130" y="9543"/>
                    </a:moveTo>
                    <a:cubicBezTo>
                      <a:pt x="214" y="9702"/>
                      <a:pt x="214" y="9702"/>
                      <a:pt x="214" y="9702"/>
                    </a:cubicBezTo>
                    <a:cubicBezTo>
                      <a:pt x="139" y="9740"/>
                      <a:pt x="139" y="9740"/>
                      <a:pt x="139" y="9740"/>
                    </a:cubicBezTo>
                    <a:cubicBezTo>
                      <a:pt x="56" y="9582"/>
                      <a:pt x="56" y="9582"/>
                      <a:pt x="56" y="9582"/>
                    </a:cubicBezTo>
                    <a:lnTo>
                      <a:pt x="130" y="9543"/>
                    </a:lnTo>
                    <a:close/>
                    <a:moveTo>
                      <a:pt x="195" y="9696"/>
                    </a:moveTo>
                    <a:cubicBezTo>
                      <a:pt x="125" y="9562"/>
                      <a:pt x="125" y="9562"/>
                      <a:pt x="125" y="9562"/>
                    </a:cubicBezTo>
                    <a:cubicBezTo>
                      <a:pt x="75" y="9588"/>
                      <a:pt x="75" y="9588"/>
                      <a:pt x="75" y="9588"/>
                    </a:cubicBezTo>
                    <a:cubicBezTo>
                      <a:pt x="145" y="9722"/>
                      <a:pt x="145" y="9722"/>
                      <a:pt x="145" y="9722"/>
                    </a:cubicBezTo>
                    <a:lnTo>
                      <a:pt x="195" y="9696"/>
                    </a:lnTo>
                    <a:close/>
                    <a:moveTo>
                      <a:pt x="1743" y="7982"/>
                    </a:moveTo>
                    <a:cubicBezTo>
                      <a:pt x="1845" y="8033"/>
                      <a:pt x="1845" y="8033"/>
                      <a:pt x="1845" y="8033"/>
                    </a:cubicBezTo>
                    <a:cubicBezTo>
                      <a:pt x="1845" y="8033"/>
                      <a:pt x="1831" y="8083"/>
                      <a:pt x="1828" y="8083"/>
                    </a:cubicBezTo>
                    <a:cubicBezTo>
                      <a:pt x="1825" y="8083"/>
                      <a:pt x="2013" y="8174"/>
                      <a:pt x="2013" y="8174"/>
                    </a:cubicBezTo>
                    <a:cubicBezTo>
                      <a:pt x="2013" y="8174"/>
                      <a:pt x="1947" y="8221"/>
                      <a:pt x="1944" y="8221"/>
                    </a:cubicBezTo>
                    <a:cubicBezTo>
                      <a:pt x="1941" y="8221"/>
                      <a:pt x="1696" y="8229"/>
                      <a:pt x="1694" y="8229"/>
                    </a:cubicBezTo>
                    <a:cubicBezTo>
                      <a:pt x="1692" y="8229"/>
                      <a:pt x="1599" y="8106"/>
                      <a:pt x="1599" y="8106"/>
                    </a:cubicBezTo>
                    <a:lnTo>
                      <a:pt x="1743" y="7982"/>
                    </a:lnTo>
                    <a:close/>
                    <a:moveTo>
                      <a:pt x="1745" y="7999"/>
                    </a:moveTo>
                    <a:cubicBezTo>
                      <a:pt x="1618" y="8109"/>
                      <a:pt x="1618" y="8109"/>
                      <a:pt x="1618" y="8109"/>
                    </a:cubicBezTo>
                    <a:cubicBezTo>
                      <a:pt x="1647" y="8147"/>
                      <a:pt x="1688" y="8200"/>
                      <a:pt x="1700" y="8215"/>
                    </a:cubicBezTo>
                    <a:cubicBezTo>
                      <a:pt x="1715" y="8215"/>
                      <a:pt x="1756" y="8214"/>
                      <a:pt x="1800" y="8212"/>
                    </a:cubicBezTo>
                    <a:cubicBezTo>
                      <a:pt x="1888" y="8209"/>
                      <a:pt x="1929" y="8208"/>
                      <a:pt x="1941" y="8207"/>
                    </a:cubicBezTo>
                    <a:cubicBezTo>
                      <a:pt x="1947" y="8203"/>
                      <a:pt x="1966" y="8191"/>
                      <a:pt x="1986" y="8176"/>
                    </a:cubicBezTo>
                    <a:cubicBezTo>
                      <a:pt x="1968" y="8168"/>
                      <a:pt x="1941" y="8155"/>
                      <a:pt x="1914" y="8142"/>
                    </a:cubicBezTo>
                    <a:cubicBezTo>
                      <a:pt x="1812" y="8091"/>
                      <a:pt x="1812" y="8091"/>
                      <a:pt x="1815" y="8080"/>
                    </a:cubicBezTo>
                    <a:cubicBezTo>
                      <a:pt x="1817" y="8069"/>
                      <a:pt x="1817" y="8069"/>
                      <a:pt x="1817" y="8069"/>
                    </a:cubicBezTo>
                    <a:cubicBezTo>
                      <a:pt x="1820" y="8069"/>
                      <a:pt x="1820" y="8069"/>
                      <a:pt x="1820" y="8069"/>
                    </a:cubicBezTo>
                    <a:cubicBezTo>
                      <a:pt x="1822" y="8062"/>
                      <a:pt x="1825" y="8051"/>
                      <a:pt x="1828" y="8040"/>
                    </a:cubicBezTo>
                    <a:lnTo>
                      <a:pt x="1745" y="7999"/>
                    </a:lnTo>
                    <a:close/>
                    <a:moveTo>
                      <a:pt x="1958" y="7772"/>
                    </a:moveTo>
                    <a:cubicBezTo>
                      <a:pt x="1890" y="7742"/>
                      <a:pt x="1890" y="7742"/>
                      <a:pt x="1890" y="7742"/>
                    </a:cubicBezTo>
                    <a:cubicBezTo>
                      <a:pt x="1910" y="7576"/>
                      <a:pt x="1910" y="7576"/>
                      <a:pt x="1910" y="7576"/>
                    </a:cubicBezTo>
                    <a:cubicBezTo>
                      <a:pt x="1964" y="7538"/>
                      <a:pt x="1964" y="7538"/>
                      <a:pt x="1964" y="7538"/>
                    </a:cubicBezTo>
                    <a:cubicBezTo>
                      <a:pt x="2003" y="7566"/>
                      <a:pt x="2003" y="7566"/>
                      <a:pt x="2003" y="7566"/>
                    </a:cubicBezTo>
                    <a:cubicBezTo>
                      <a:pt x="2082" y="7495"/>
                      <a:pt x="2082" y="7495"/>
                      <a:pt x="2082" y="7495"/>
                    </a:cubicBezTo>
                    <a:cubicBezTo>
                      <a:pt x="2054" y="7455"/>
                      <a:pt x="2054" y="7455"/>
                      <a:pt x="2054" y="7455"/>
                    </a:cubicBezTo>
                    <a:cubicBezTo>
                      <a:pt x="2228" y="7250"/>
                      <a:pt x="2228" y="7250"/>
                      <a:pt x="2228" y="7250"/>
                    </a:cubicBezTo>
                    <a:cubicBezTo>
                      <a:pt x="2343" y="7322"/>
                      <a:pt x="2343" y="7322"/>
                      <a:pt x="2343" y="7322"/>
                    </a:cubicBezTo>
                    <a:cubicBezTo>
                      <a:pt x="2339" y="7329"/>
                      <a:pt x="2339" y="7329"/>
                      <a:pt x="2339" y="7329"/>
                    </a:cubicBezTo>
                    <a:cubicBezTo>
                      <a:pt x="2191" y="7560"/>
                      <a:pt x="2191" y="7560"/>
                      <a:pt x="2191" y="7560"/>
                    </a:cubicBezTo>
                    <a:cubicBezTo>
                      <a:pt x="2142" y="7537"/>
                      <a:pt x="2142" y="7537"/>
                      <a:pt x="2142" y="7537"/>
                    </a:cubicBezTo>
                    <a:cubicBezTo>
                      <a:pt x="2088" y="7601"/>
                      <a:pt x="2088" y="7601"/>
                      <a:pt x="2088" y="7601"/>
                    </a:cubicBezTo>
                    <a:cubicBezTo>
                      <a:pt x="2116" y="7651"/>
                      <a:pt x="2116" y="7651"/>
                      <a:pt x="2116" y="7651"/>
                    </a:cubicBezTo>
                    <a:lnTo>
                      <a:pt x="1958" y="7772"/>
                    </a:lnTo>
                    <a:close/>
                    <a:moveTo>
                      <a:pt x="1956" y="7755"/>
                    </a:moveTo>
                    <a:cubicBezTo>
                      <a:pt x="2097" y="7647"/>
                      <a:pt x="2097" y="7647"/>
                      <a:pt x="2097" y="7647"/>
                    </a:cubicBezTo>
                    <a:cubicBezTo>
                      <a:pt x="2070" y="7599"/>
                      <a:pt x="2070" y="7599"/>
                      <a:pt x="2070" y="7599"/>
                    </a:cubicBezTo>
                    <a:cubicBezTo>
                      <a:pt x="2138" y="7519"/>
                      <a:pt x="2138" y="7519"/>
                      <a:pt x="2138" y="7519"/>
                    </a:cubicBezTo>
                    <a:cubicBezTo>
                      <a:pt x="2186" y="7541"/>
                      <a:pt x="2186" y="7541"/>
                      <a:pt x="2186" y="7541"/>
                    </a:cubicBezTo>
                    <a:cubicBezTo>
                      <a:pt x="2322" y="7327"/>
                      <a:pt x="2322" y="7327"/>
                      <a:pt x="2322" y="7327"/>
                    </a:cubicBezTo>
                    <a:cubicBezTo>
                      <a:pt x="2231" y="7269"/>
                      <a:pt x="2231" y="7269"/>
                      <a:pt x="2231" y="7269"/>
                    </a:cubicBezTo>
                    <a:cubicBezTo>
                      <a:pt x="2072" y="7456"/>
                      <a:pt x="2072" y="7456"/>
                      <a:pt x="2072" y="7456"/>
                    </a:cubicBezTo>
                    <a:cubicBezTo>
                      <a:pt x="2101" y="7498"/>
                      <a:pt x="2101" y="7498"/>
                      <a:pt x="2101" y="7498"/>
                    </a:cubicBezTo>
                    <a:cubicBezTo>
                      <a:pt x="2003" y="7585"/>
                      <a:pt x="2003" y="7585"/>
                      <a:pt x="2003" y="7585"/>
                    </a:cubicBezTo>
                    <a:cubicBezTo>
                      <a:pt x="1964" y="7556"/>
                      <a:pt x="1964" y="7556"/>
                      <a:pt x="1964" y="7556"/>
                    </a:cubicBezTo>
                    <a:cubicBezTo>
                      <a:pt x="1924" y="7585"/>
                      <a:pt x="1924" y="7585"/>
                      <a:pt x="1924" y="7585"/>
                    </a:cubicBezTo>
                    <a:cubicBezTo>
                      <a:pt x="1906" y="7733"/>
                      <a:pt x="1906" y="7733"/>
                      <a:pt x="1906" y="7733"/>
                    </a:cubicBezTo>
                    <a:lnTo>
                      <a:pt x="1956" y="7755"/>
                    </a:lnTo>
                    <a:close/>
                    <a:moveTo>
                      <a:pt x="1841" y="6819"/>
                    </a:moveTo>
                    <a:cubicBezTo>
                      <a:pt x="2073" y="6472"/>
                      <a:pt x="2073" y="6472"/>
                      <a:pt x="2073" y="6472"/>
                    </a:cubicBezTo>
                    <a:cubicBezTo>
                      <a:pt x="2218" y="6555"/>
                      <a:pt x="2218" y="6555"/>
                      <a:pt x="2218" y="6555"/>
                    </a:cubicBezTo>
                    <a:cubicBezTo>
                      <a:pt x="2214" y="6562"/>
                      <a:pt x="2214" y="6562"/>
                      <a:pt x="2214" y="6562"/>
                    </a:cubicBezTo>
                    <a:cubicBezTo>
                      <a:pt x="1991" y="6920"/>
                      <a:pt x="1991" y="6920"/>
                      <a:pt x="1991" y="6920"/>
                    </a:cubicBezTo>
                    <a:lnTo>
                      <a:pt x="1841" y="6819"/>
                    </a:lnTo>
                    <a:close/>
                    <a:moveTo>
                      <a:pt x="1862" y="6815"/>
                    </a:moveTo>
                    <a:cubicBezTo>
                      <a:pt x="1987" y="6900"/>
                      <a:pt x="1987" y="6900"/>
                      <a:pt x="1987" y="6900"/>
                    </a:cubicBezTo>
                    <a:cubicBezTo>
                      <a:pt x="2198" y="6561"/>
                      <a:pt x="2198" y="6561"/>
                      <a:pt x="2198" y="6561"/>
                    </a:cubicBezTo>
                    <a:cubicBezTo>
                      <a:pt x="2078" y="6492"/>
                      <a:pt x="2078" y="6492"/>
                      <a:pt x="2078" y="6492"/>
                    </a:cubicBezTo>
                    <a:lnTo>
                      <a:pt x="1862" y="6815"/>
                    </a:lnTo>
                    <a:close/>
                    <a:moveTo>
                      <a:pt x="1509" y="6648"/>
                    </a:moveTo>
                    <a:cubicBezTo>
                      <a:pt x="1722" y="6272"/>
                      <a:pt x="1722" y="6272"/>
                      <a:pt x="1722" y="6272"/>
                    </a:cubicBezTo>
                    <a:cubicBezTo>
                      <a:pt x="1866" y="6364"/>
                      <a:pt x="1866" y="6364"/>
                      <a:pt x="1866" y="6364"/>
                    </a:cubicBezTo>
                    <a:cubicBezTo>
                      <a:pt x="1866" y="6368"/>
                      <a:pt x="1866" y="6368"/>
                      <a:pt x="1866" y="6368"/>
                    </a:cubicBezTo>
                    <a:cubicBezTo>
                      <a:pt x="1872" y="6473"/>
                      <a:pt x="1872" y="6473"/>
                      <a:pt x="1872" y="6473"/>
                    </a:cubicBezTo>
                    <a:cubicBezTo>
                      <a:pt x="1955" y="6536"/>
                      <a:pt x="1955" y="6536"/>
                      <a:pt x="1955" y="6536"/>
                    </a:cubicBezTo>
                    <a:cubicBezTo>
                      <a:pt x="1799" y="6701"/>
                      <a:pt x="1799" y="6701"/>
                      <a:pt x="1799" y="6701"/>
                    </a:cubicBezTo>
                    <a:cubicBezTo>
                      <a:pt x="1711" y="6675"/>
                      <a:pt x="1711" y="6675"/>
                      <a:pt x="1711" y="6675"/>
                    </a:cubicBezTo>
                    <a:cubicBezTo>
                      <a:pt x="1673" y="6741"/>
                      <a:pt x="1673" y="6741"/>
                      <a:pt x="1673" y="6741"/>
                    </a:cubicBezTo>
                    <a:lnTo>
                      <a:pt x="1509" y="6648"/>
                    </a:lnTo>
                    <a:close/>
                    <a:moveTo>
                      <a:pt x="1529" y="6642"/>
                    </a:moveTo>
                    <a:cubicBezTo>
                      <a:pt x="1667" y="6721"/>
                      <a:pt x="1667" y="6721"/>
                      <a:pt x="1667" y="6721"/>
                    </a:cubicBezTo>
                    <a:cubicBezTo>
                      <a:pt x="1704" y="6657"/>
                      <a:pt x="1704" y="6657"/>
                      <a:pt x="1704" y="6657"/>
                    </a:cubicBezTo>
                    <a:cubicBezTo>
                      <a:pt x="1795" y="6684"/>
                      <a:pt x="1795" y="6684"/>
                      <a:pt x="1795" y="6684"/>
                    </a:cubicBezTo>
                    <a:cubicBezTo>
                      <a:pt x="1933" y="6538"/>
                      <a:pt x="1933" y="6538"/>
                      <a:pt x="1933" y="6538"/>
                    </a:cubicBezTo>
                    <a:cubicBezTo>
                      <a:pt x="1858" y="6481"/>
                      <a:pt x="1858" y="6481"/>
                      <a:pt x="1858" y="6481"/>
                    </a:cubicBezTo>
                    <a:cubicBezTo>
                      <a:pt x="1852" y="6372"/>
                      <a:pt x="1852" y="6372"/>
                      <a:pt x="1852" y="6372"/>
                    </a:cubicBezTo>
                    <a:cubicBezTo>
                      <a:pt x="1727" y="6292"/>
                      <a:pt x="1727" y="6292"/>
                      <a:pt x="1727" y="6292"/>
                    </a:cubicBezTo>
                    <a:lnTo>
                      <a:pt x="1529" y="6642"/>
                    </a:lnTo>
                    <a:close/>
                    <a:moveTo>
                      <a:pt x="298" y="9592"/>
                    </a:moveTo>
                    <a:cubicBezTo>
                      <a:pt x="301" y="9538"/>
                      <a:pt x="301" y="9538"/>
                      <a:pt x="301" y="9538"/>
                    </a:cubicBezTo>
                    <a:cubicBezTo>
                      <a:pt x="259" y="9537"/>
                      <a:pt x="259" y="9537"/>
                      <a:pt x="259" y="9537"/>
                    </a:cubicBezTo>
                    <a:cubicBezTo>
                      <a:pt x="212" y="9450"/>
                      <a:pt x="212" y="9450"/>
                      <a:pt x="212" y="9450"/>
                    </a:cubicBezTo>
                    <a:cubicBezTo>
                      <a:pt x="224" y="9364"/>
                      <a:pt x="224" y="9364"/>
                      <a:pt x="224" y="9364"/>
                    </a:cubicBezTo>
                    <a:cubicBezTo>
                      <a:pt x="357" y="9316"/>
                      <a:pt x="357" y="9316"/>
                      <a:pt x="357" y="9316"/>
                    </a:cubicBezTo>
                    <a:cubicBezTo>
                      <a:pt x="397" y="9387"/>
                      <a:pt x="397" y="9387"/>
                      <a:pt x="397" y="9387"/>
                    </a:cubicBezTo>
                    <a:cubicBezTo>
                      <a:pt x="298" y="9388"/>
                      <a:pt x="298" y="9388"/>
                      <a:pt x="298" y="9388"/>
                    </a:cubicBezTo>
                    <a:cubicBezTo>
                      <a:pt x="291" y="9456"/>
                      <a:pt x="291" y="9456"/>
                      <a:pt x="291" y="9456"/>
                    </a:cubicBezTo>
                    <a:cubicBezTo>
                      <a:pt x="395" y="9456"/>
                      <a:pt x="395" y="9456"/>
                      <a:pt x="395" y="9456"/>
                    </a:cubicBezTo>
                    <a:cubicBezTo>
                      <a:pt x="382" y="9566"/>
                      <a:pt x="382" y="9566"/>
                      <a:pt x="382" y="9566"/>
                    </a:cubicBezTo>
                    <a:cubicBezTo>
                      <a:pt x="512" y="9838"/>
                      <a:pt x="512" y="9838"/>
                      <a:pt x="512" y="9838"/>
                    </a:cubicBezTo>
                    <a:cubicBezTo>
                      <a:pt x="444" y="9869"/>
                      <a:pt x="444" y="9869"/>
                      <a:pt x="444" y="9869"/>
                    </a:cubicBezTo>
                    <a:lnTo>
                      <a:pt x="298" y="9592"/>
                    </a:lnTo>
                    <a:close/>
                    <a:moveTo>
                      <a:pt x="302" y="9524"/>
                    </a:moveTo>
                    <a:cubicBezTo>
                      <a:pt x="316" y="9524"/>
                      <a:pt x="316" y="9524"/>
                      <a:pt x="316" y="9524"/>
                    </a:cubicBezTo>
                    <a:cubicBezTo>
                      <a:pt x="315" y="9539"/>
                      <a:pt x="315" y="9539"/>
                      <a:pt x="315" y="9539"/>
                    </a:cubicBezTo>
                    <a:cubicBezTo>
                      <a:pt x="312" y="9589"/>
                      <a:pt x="312" y="9589"/>
                      <a:pt x="312" y="9589"/>
                    </a:cubicBezTo>
                    <a:cubicBezTo>
                      <a:pt x="450" y="9851"/>
                      <a:pt x="450" y="9851"/>
                      <a:pt x="450" y="9851"/>
                    </a:cubicBezTo>
                    <a:cubicBezTo>
                      <a:pt x="493" y="9831"/>
                      <a:pt x="493" y="9831"/>
                      <a:pt x="493" y="9831"/>
                    </a:cubicBezTo>
                    <a:cubicBezTo>
                      <a:pt x="369" y="9572"/>
                      <a:pt x="369" y="9572"/>
                      <a:pt x="369" y="9572"/>
                    </a:cubicBezTo>
                    <a:cubicBezTo>
                      <a:pt x="367" y="9568"/>
                      <a:pt x="367" y="9568"/>
                      <a:pt x="367" y="9568"/>
                    </a:cubicBezTo>
                    <a:cubicBezTo>
                      <a:pt x="368" y="9564"/>
                      <a:pt x="368" y="9564"/>
                      <a:pt x="368" y="9564"/>
                    </a:cubicBezTo>
                    <a:cubicBezTo>
                      <a:pt x="379" y="9470"/>
                      <a:pt x="379" y="9470"/>
                      <a:pt x="379" y="9470"/>
                    </a:cubicBezTo>
                    <a:cubicBezTo>
                      <a:pt x="291" y="9470"/>
                      <a:pt x="291" y="9470"/>
                      <a:pt x="291" y="9470"/>
                    </a:cubicBezTo>
                    <a:cubicBezTo>
                      <a:pt x="275" y="9470"/>
                      <a:pt x="275" y="9470"/>
                      <a:pt x="275" y="9470"/>
                    </a:cubicBezTo>
                    <a:cubicBezTo>
                      <a:pt x="277" y="9454"/>
                      <a:pt x="277" y="9454"/>
                      <a:pt x="277" y="9454"/>
                    </a:cubicBezTo>
                    <a:cubicBezTo>
                      <a:pt x="284" y="9387"/>
                      <a:pt x="284" y="9387"/>
                      <a:pt x="284" y="9387"/>
                    </a:cubicBezTo>
                    <a:cubicBezTo>
                      <a:pt x="285" y="9374"/>
                      <a:pt x="285" y="9374"/>
                      <a:pt x="285" y="9374"/>
                    </a:cubicBezTo>
                    <a:cubicBezTo>
                      <a:pt x="298" y="9374"/>
                      <a:pt x="298" y="9374"/>
                      <a:pt x="298" y="9374"/>
                    </a:cubicBezTo>
                    <a:cubicBezTo>
                      <a:pt x="374" y="9373"/>
                      <a:pt x="374" y="9373"/>
                      <a:pt x="374" y="9373"/>
                    </a:cubicBezTo>
                    <a:cubicBezTo>
                      <a:pt x="351" y="9333"/>
                      <a:pt x="351" y="9333"/>
                      <a:pt x="351" y="9333"/>
                    </a:cubicBezTo>
                    <a:cubicBezTo>
                      <a:pt x="237" y="9374"/>
                      <a:pt x="237" y="9374"/>
                      <a:pt x="237" y="9374"/>
                    </a:cubicBezTo>
                    <a:cubicBezTo>
                      <a:pt x="226" y="9447"/>
                      <a:pt x="226" y="9447"/>
                      <a:pt x="226" y="9447"/>
                    </a:cubicBezTo>
                    <a:cubicBezTo>
                      <a:pt x="268" y="9523"/>
                      <a:pt x="268" y="9523"/>
                      <a:pt x="268" y="9523"/>
                    </a:cubicBezTo>
                    <a:lnTo>
                      <a:pt x="302" y="9524"/>
                    </a:lnTo>
                    <a:close/>
                    <a:moveTo>
                      <a:pt x="1227" y="9828"/>
                    </a:moveTo>
                    <a:cubicBezTo>
                      <a:pt x="1227" y="9828"/>
                      <a:pt x="1227" y="9828"/>
                      <a:pt x="1228" y="9828"/>
                    </a:cubicBezTo>
                    <a:cubicBezTo>
                      <a:pt x="1227" y="9828"/>
                      <a:pt x="1227" y="9828"/>
                      <a:pt x="1227" y="9828"/>
                    </a:cubicBezTo>
                    <a:cubicBezTo>
                      <a:pt x="1227" y="9828"/>
                      <a:pt x="1227" y="9828"/>
                      <a:pt x="1227" y="9828"/>
                    </a:cubicBezTo>
                    <a:close/>
                    <a:moveTo>
                      <a:pt x="5826" y="7031"/>
                    </a:moveTo>
                    <a:cubicBezTo>
                      <a:pt x="5977" y="7049"/>
                      <a:pt x="5977" y="7049"/>
                      <a:pt x="5977" y="7049"/>
                    </a:cubicBezTo>
                    <a:cubicBezTo>
                      <a:pt x="5967" y="7124"/>
                      <a:pt x="5967" y="7124"/>
                      <a:pt x="5967" y="7124"/>
                    </a:cubicBezTo>
                    <a:cubicBezTo>
                      <a:pt x="5961" y="7124"/>
                      <a:pt x="5961" y="7124"/>
                      <a:pt x="5961" y="7124"/>
                    </a:cubicBezTo>
                    <a:cubicBezTo>
                      <a:pt x="5817" y="7106"/>
                      <a:pt x="5817" y="7106"/>
                      <a:pt x="5817" y="7106"/>
                    </a:cubicBezTo>
                    <a:lnTo>
                      <a:pt x="5826" y="7031"/>
                    </a:lnTo>
                    <a:close/>
                    <a:moveTo>
                      <a:pt x="5832" y="7094"/>
                    </a:moveTo>
                    <a:cubicBezTo>
                      <a:pt x="5956" y="7110"/>
                      <a:pt x="5956" y="7110"/>
                      <a:pt x="5956" y="7110"/>
                    </a:cubicBezTo>
                    <a:cubicBezTo>
                      <a:pt x="5962" y="7061"/>
                      <a:pt x="5962" y="7061"/>
                      <a:pt x="5962" y="7061"/>
                    </a:cubicBezTo>
                    <a:cubicBezTo>
                      <a:pt x="5838" y="7045"/>
                      <a:pt x="5838" y="7045"/>
                      <a:pt x="5838" y="7045"/>
                    </a:cubicBezTo>
                    <a:lnTo>
                      <a:pt x="5832" y="7094"/>
                    </a:lnTo>
                    <a:close/>
                    <a:moveTo>
                      <a:pt x="3" y="10794"/>
                    </a:moveTo>
                    <a:cubicBezTo>
                      <a:pt x="3" y="10821"/>
                      <a:pt x="3" y="10821"/>
                      <a:pt x="3" y="10821"/>
                    </a:cubicBezTo>
                    <a:cubicBezTo>
                      <a:pt x="21" y="10821"/>
                      <a:pt x="21" y="10821"/>
                      <a:pt x="21" y="10821"/>
                    </a:cubicBezTo>
                    <a:lnTo>
                      <a:pt x="3" y="10794"/>
                    </a:lnTo>
                    <a:close/>
                    <a:moveTo>
                      <a:pt x="4518" y="10317"/>
                    </a:moveTo>
                    <a:cubicBezTo>
                      <a:pt x="4542" y="10418"/>
                      <a:pt x="4542" y="10418"/>
                      <a:pt x="4542" y="10418"/>
                    </a:cubicBezTo>
                    <a:cubicBezTo>
                      <a:pt x="4398" y="10453"/>
                      <a:pt x="4398" y="10453"/>
                      <a:pt x="4398" y="10453"/>
                    </a:cubicBezTo>
                    <a:cubicBezTo>
                      <a:pt x="4397" y="10447"/>
                      <a:pt x="4397" y="10447"/>
                      <a:pt x="4397" y="10447"/>
                    </a:cubicBezTo>
                    <a:cubicBezTo>
                      <a:pt x="4374" y="10351"/>
                      <a:pt x="4374" y="10351"/>
                      <a:pt x="4374" y="10351"/>
                    </a:cubicBezTo>
                    <a:lnTo>
                      <a:pt x="4518" y="10317"/>
                    </a:lnTo>
                    <a:close/>
                    <a:moveTo>
                      <a:pt x="4526" y="10409"/>
                    </a:moveTo>
                    <a:cubicBezTo>
                      <a:pt x="4508" y="10332"/>
                      <a:pt x="4508" y="10332"/>
                      <a:pt x="4508" y="10332"/>
                    </a:cubicBezTo>
                    <a:cubicBezTo>
                      <a:pt x="4389" y="10361"/>
                      <a:pt x="4389" y="10361"/>
                      <a:pt x="4389" y="10361"/>
                    </a:cubicBezTo>
                    <a:cubicBezTo>
                      <a:pt x="4408" y="10437"/>
                      <a:pt x="4408" y="10437"/>
                      <a:pt x="4408" y="10437"/>
                    </a:cubicBezTo>
                    <a:lnTo>
                      <a:pt x="4526" y="10409"/>
                    </a:lnTo>
                    <a:close/>
                    <a:moveTo>
                      <a:pt x="4331" y="10371"/>
                    </a:moveTo>
                    <a:cubicBezTo>
                      <a:pt x="4355" y="10473"/>
                      <a:pt x="4355" y="10473"/>
                      <a:pt x="4355" y="10473"/>
                    </a:cubicBezTo>
                    <a:cubicBezTo>
                      <a:pt x="4212" y="10507"/>
                      <a:pt x="4212" y="10507"/>
                      <a:pt x="4212" y="10507"/>
                    </a:cubicBezTo>
                    <a:cubicBezTo>
                      <a:pt x="4210" y="10501"/>
                      <a:pt x="4210" y="10501"/>
                      <a:pt x="4210" y="10501"/>
                    </a:cubicBezTo>
                    <a:cubicBezTo>
                      <a:pt x="4187" y="10406"/>
                      <a:pt x="4187" y="10406"/>
                      <a:pt x="4187" y="10406"/>
                    </a:cubicBezTo>
                    <a:lnTo>
                      <a:pt x="4331" y="10371"/>
                    </a:lnTo>
                    <a:close/>
                    <a:moveTo>
                      <a:pt x="4340" y="10463"/>
                    </a:moveTo>
                    <a:cubicBezTo>
                      <a:pt x="4321" y="10387"/>
                      <a:pt x="4321" y="10387"/>
                      <a:pt x="4321" y="10387"/>
                    </a:cubicBezTo>
                    <a:cubicBezTo>
                      <a:pt x="4203" y="10415"/>
                      <a:pt x="4203" y="10415"/>
                      <a:pt x="4203" y="10415"/>
                    </a:cubicBezTo>
                    <a:cubicBezTo>
                      <a:pt x="4221" y="10492"/>
                      <a:pt x="4221" y="10492"/>
                      <a:pt x="4221" y="10492"/>
                    </a:cubicBezTo>
                    <a:lnTo>
                      <a:pt x="4340" y="10463"/>
                    </a:lnTo>
                    <a:close/>
                    <a:moveTo>
                      <a:pt x="7113" y="7185"/>
                    </a:moveTo>
                    <a:cubicBezTo>
                      <a:pt x="7196" y="7221"/>
                      <a:pt x="7196" y="7221"/>
                      <a:pt x="7196" y="7221"/>
                    </a:cubicBezTo>
                    <a:cubicBezTo>
                      <a:pt x="7166" y="7291"/>
                      <a:pt x="7166" y="7291"/>
                      <a:pt x="7166" y="7291"/>
                    </a:cubicBezTo>
                    <a:cubicBezTo>
                      <a:pt x="7160" y="7288"/>
                      <a:pt x="7160" y="7288"/>
                      <a:pt x="7160" y="7288"/>
                    </a:cubicBezTo>
                    <a:cubicBezTo>
                      <a:pt x="7082" y="7254"/>
                      <a:pt x="7082" y="7254"/>
                      <a:pt x="7082" y="7254"/>
                    </a:cubicBezTo>
                    <a:lnTo>
                      <a:pt x="7113" y="7185"/>
                    </a:lnTo>
                    <a:close/>
                    <a:moveTo>
                      <a:pt x="7119" y="7202"/>
                    </a:moveTo>
                    <a:cubicBezTo>
                      <a:pt x="7100" y="7247"/>
                      <a:pt x="7100" y="7247"/>
                      <a:pt x="7100" y="7247"/>
                    </a:cubicBezTo>
                    <a:cubicBezTo>
                      <a:pt x="7159" y="7274"/>
                      <a:pt x="7159" y="7274"/>
                      <a:pt x="7159" y="7274"/>
                    </a:cubicBezTo>
                    <a:cubicBezTo>
                      <a:pt x="7179" y="7228"/>
                      <a:pt x="7179" y="7228"/>
                      <a:pt x="7179" y="7228"/>
                    </a:cubicBezTo>
                    <a:lnTo>
                      <a:pt x="7119" y="7202"/>
                    </a:lnTo>
                    <a:close/>
                    <a:moveTo>
                      <a:pt x="68" y="8650"/>
                    </a:moveTo>
                    <a:cubicBezTo>
                      <a:pt x="3" y="8668"/>
                      <a:pt x="3" y="8668"/>
                      <a:pt x="3" y="8668"/>
                    </a:cubicBezTo>
                    <a:cubicBezTo>
                      <a:pt x="3" y="8683"/>
                      <a:pt x="3" y="8683"/>
                      <a:pt x="3" y="8683"/>
                    </a:cubicBezTo>
                    <a:cubicBezTo>
                      <a:pt x="61" y="8667"/>
                      <a:pt x="61" y="8667"/>
                      <a:pt x="61" y="8667"/>
                    </a:cubicBezTo>
                    <a:cubicBezTo>
                      <a:pt x="108" y="8749"/>
                      <a:pt x="108" y="8749"/>
                      <a:pt x="108" y="8749"/>
                    </a:cubicBezTo>
                    <a:cubicBezTo>
                      <a:pt x="3" y="8838"/>
                      <a:pt x="3" y="8838"/>
                      <a:pt x="3" y="8838"/>
                    </a:cubicBezTo>
                    <a:cubicBezTo>
                      <a:pt x="3" y="8857"/>
                      <a:pt x="3" y="8857"/>
                      <a:pt x="3" y="8857"/>
                    </a:cubicBezTo>
                    <a:cubicBezTo>
                      <a:pt x="127" y="8752"/>
                      <a:pt x="127" y="8752"/>
                      <a:pt x="127" y="8752"/>
                    </a:cubicBezTo>
                    <a:lnTo>
                      <a:pt x="68" y="8650"/>
                    </a:lnTo>
                    <a:close/>
                    <a:moveTo>
                      <a:pt x="53" y="9406"/>
                    </a:moveTo>
                    <a:cubicBezTo>
                      <a:pt x="3" y="9327"/>
                      <a:pt x="3" y="9327"/>
                      <a:pt x="3" y="9327"/>
                    </a:cubicBezTo>
                    <a:cubicBezTo>
                      <a:pt x="3" y="9355"/>
                      <a:pt x="3" y="9355"/>
                      <a:pt x="3" y="9355"/>
                    </a:cubicBezTo>
                    <a:cubicBezTo>
                      <a:pt x="37" y="9408"/>
                      <a:pt x="37" y="9408"/>
                      <a:pt x="37" y="9408"/>
                    </a:cubicBezTo>
                    <a:cubicBezTo>
                      <a:pt x="10" y="9493"/>
                      <a:pt x="10" y="9493"/>
                      <a:pt x="10" y="9493"/>
                    </a:cubicBezTo>
                    <a:cubicBezTo>
                      <a:pt x="3" y="9494"/>
                      <a:pt x="3" y="9494"/>
                      <a:pt x="3" y="9494"/>
                    </a:cubicBezTo>
                    <a:cubicBezTo>
                      <a:pt x="3" y="9509"/>
                      <a:pt x="3" y="9509"/>
                      <a:pt x="3" y="9509"/>
                    </a:cubicBezTo>
                    <a:cubicBezTo>
                      <a:pt x="22" y="9506"/>
                      <a:pt x="22" y="9506"/>
                      <a:pt x="22" y="9506"/>
                    </a:cubicBezTo>
                    <a:lnTo>
                      <a:pt x="53" y="9406"/>
                    </a:lnTo>
                    <a:close/>
                    <a:moveTo>
                      <a:pt x="182" y="9126"/>
                    </a:moveTo>
                    <a:cubicBezTo>
                      <a:pt x="292" y="9026"/>
                      <a:pt x="292" y="9026"/>
                      <a:pt x="292" y="9026"/>
                    </a:cubicBezTo>
                    <a:cubicBezTo>
                      <a:pt x="298" y="9020"/>
                      <a:pt x="298" y="9020"/>
                      <a:pt x="298" y="9020"/>
                    </a:cubicBezTo>
                    <a:cubicBezTo>
                      <a:pt x="151" y="8886"/>
                      <a:pt x="151" y="8886"/>
                      <a:pt x="151" y="8886"/>
                    </a:cubicBezTo>
                    <a:cubicBezTo>
                      <a:pt x="3" y="9000"/>
                      <a:pt x="3" y="9000"/>
                      <a:pt x="3" y="9000"/>
                    </a:cubicBezTo>
                    <a:cubicBezTo>
                      <a:pt x="3" y="9019"/>
                      <a:pt x="3" y="9019"/>
                      <a:pt x="3" y="9019"/>
                    </a:cubicBezTo>
                    <a:cubicBezTo>
                      <a:pt x="150" y="8906"/>
                      <a:pt x="150" y="8906"/>
                      <a:pt x="150" y="8906"/>
                    </a:cubicBezTo>
                    <a:cubicBezTo>
                      <a:pt x="276" y="9020"/>
                      <a:pt x="276" y="9020"/>
                      <a:pt x="276" y="9020"/>
                    </a:cubicBezTo>
                    <a:cubicBezTo>
                      <a:pt x="176" y="9111"/>
                      <a:pt x="176" y="9111"/>
                      <a:pt x="176" y="9111"/>
                    </a:cubicBezTo>
                    <a:cubicBezTo>
                      <a:pt x="36" y="9104"/>
                      <a:pt x="36" y="9104"/>
                      <a:pt x="36" y="9104"/>
                    </a:cubicBezTo>
                    <a:cubicBezTo>
                      <a:pt x="3" y="9050"/>
                      <a:pt x="3" y="9050"/>
                      <a:pt x="3" y="9050"/>
                    </a:cubicBezTo>
                    <a:cubicBezTo>
                      <a:pt x="3" y="9078"/>
                      <a:pt x="3" y="9078"/>
                      <a:pt x="3" y="9078"/>
                    </a:cubicBezTo>
                    <a:cubicBezTo>
                      <a:pt x="27" y="9118"/>
                      <a:pt x="27" y="9118"/>
                      <a:pt x="27" y="9118"/>
                    </a:cubicBezTo>
                    <a:lnTo>
                      <a:pt x="182" y="9126"/>
                    </a:lnTo>
                    <a:close/>
                    <a:moveTo>
                      <a:pt x="3781" y="10295"/>
                    </a:moveTo>
                    <a:cubicBezTo>
                      <a:pt x="3711" y="10318"/>
                      <a:pt x="3711" y="10318"/>
                      <a:pt x="3711" y="10318"/>
                    </a:cubicBezTo>
                    <a:cubicBezTo>
                      <a:pt x="3735" y="10390"/>
                      <a:pt x="3735" y="10390"/>
                      <a:pt x="3735" y="10390"/>
                    </a:cubicBezTo>
                    <a:cubicBezTo>
                      <a:pt x="3663" y="10414"/>
                      <a:pt x="3663" y="10414"/>
                      <a:pt x="3663" y="10414"/>
                    </a:cubicBezTo>
                    <a:cubicBezTo>
                      <a:pt x="3661" y="10407"/>
                      <a:pt x="3661" y="10407"/>
                      <a:pt x="3661" y="10407"/>
                    </a:cubicBezTo>
                    <a:cubicBezTo>
                      <a:pt x="3603" y="10224"/>
                      <a:pt x="3603" y="10224"/>
                      <a:pt x="3603" y="10224"/>
                    </a:cubicBezTo>
                    <a:cubicBezTo>
                      <a:pt x="3650" y="10209"/>
                      <a:pt x="3650" y="10209"/>
                      <a:pt x="3650" y="10209"/>
                    </a:cubicBezTo>
                    <a:cubicBezTo>
                      <a:pt x="3647" y="10198"/>
                      <a:pt x="3647" y="10198"/>
                      <a:pt x="3647" y="10198"/>
                    </a:cubicBezTo>
                    <a:cubicBezTo>
                      <a:pt x="3644" y="10191"/>
                      <a:pt x="3644" y="10191"/>
                      <a:pt x="3644" y="10191"/>
                    </a:cubicBezTo>
                    <a:cubicBezTo>
                      <a:pt x="3736" y="10161"/>
                      <a:pt x="3736" y="10161"/>
                      <a:pt x="3736" y="10161"/>
                    </a:cubicBezTo>
                    <a:lnTo>
                      <a:pt x="3781" y="10295"/>
                    </a:lnTo>
                    <a:close/>
                    <a:moveTo>
                      <a:pt x="3695" y="10309"/>
                    </a:moveTo>
                    <a:cubicBezTo>
                      <a:pt x="3764" y="10287"/>
                      <a:pt x="3764" y="10287"/>
                      <a:pt x="3764" y="10287"/>
                    </a:cubicBezTo>
                    <a:cubicBezTo>
                      <a:pt x="3728" y="10178"/>
                      <a:pt x="3728" y="10178"/>
                      <a:pt x="3728" y="10178"/>
                    </a:cubicBezTo>
                    <a:cubicBezTo>
                      <a:pt x="3661" y="10200"/>
                      <a:pt x="3661" y="10200"/>
                      <a:pt x="3661" y="10200"/>
                    </a:cubicBezTo>
                    <a:cubicBezTo>
                      <a:pt x="3665" y="10211"/>
                      <a:pt x="3665" y="10211"/>
                      <a:pt x="3665" y="10211"/>
                    </a:cubicBezTo>
                    <a:cubicBezTo>
                      <a:pt x="3667" y="10217"/>
                      <a:pt x="3667" y="10217"/>
                      <a:pt x="3667" y="10217"/>
                    </a:cubicBezTo>
                    <a:cubicBezTo>
                      <a:pt x="3620" y="10233"/>
                      <a:pt x="3620" y="10233"/>
                      <a:pt x="3620" y="10233"/>
                    </a:cubicBezTo>
                    <a:cubicBezTo>
                      <a:pt x="3671" y="10397"/>
                      <a:pt x="3671" y="10397"/>
                      <a:pt x="3671" y="10397"/>
                    </a:cubicBezTo>
                    <a:cubicBezTo>
                      <a:pt x="3718" y="10381"/>
                      <a:pt x="3718" y="10381"/>
                      <a:pt x="3718" y="10381"/>
                    </a:cubicBezTo>
                    <a:lnTo>
                      <a:pt x="3695" y="10309"/>
                    </a:lnTo>
                    <a:close/>
                    <a:moveTo>
                      <a:pt x="7329" y="7305"/>
                    </a:moveTo>
                    <a:cubicBezTo>
                      <a:pt x="7252" y="7271"/>
                      <a:pt x="7252" y="7271"/>
                      <a:pt x="7252" y="7271"/>
                    </a:cubicBezTo>
                    <a:cubicBezTo>
                      <a:pt x="7282" y="7201"/>
                      <a:pt x="7282" y="7201"/>
                      <a:pt x="7282" y="7201"/>
                    </a:cubicBezTo>
                    <a:cubicBezTo>
                      <a:pt x="7366" y="7238"/>
                      <a:pt x="7366" y="7238"/>
                      <a:pt x="7366" y="7238"/>
                    </a:cubicBezTo>
                    <a:cubicBezTo>
                      <a:pt x="7335" y="7307"/>
                      <a:pt x="7335" y="7307"/>
                      <a:pt x="7335" y="7307"/>
                    </a:cubicBezTo>
                    <a:lnTo>
                      <a:pt x="7329" y="7305"/>
                    </a:lnTo>
                    <a:close/>
                    <a:moveTo>
                      <a:pt x="7329" y="7290"/>
                    </a:moveTo>
                    <a:cubicBezTo>
                      <a:pt x="7348" y="7245"/>
                      <a:pt x="7348" y="7245"/>
                      <a:pt x="7348" y="7245"/>
                    </a:cubicBezTo>
                    <a:cubicBezTo>
                      <a:pt x="7289" y="7218"/>
                      <a:pt x="7289" y="7218"/>
                      <a:pt x="7289" y="7218"/>
                    </a:cubicBezTo>
                    <a:cubicBezTo>
                      <a:pt x="7269" y="7264"/>
                      <a:pt x="7269" y="7264"/>
                      <a:pt x="7269" y="7264"/>
                    </a:cubicBezTo>
                    <a:lnTo>
                      <a:pt x="7329" y="7290"/>
                    </a:lnTo>
                    <a:close/>
                    <a:moveTo>
                      <a:pt x="3122" y="10380"/>
                    </a:moveTo>
                    <a:cubicBezTo>
                      <a:pt x="3276" y="10308"/>
                      <a:pt x="3276" y="10308"/>
                      <a:pt x="3276" y="10308"/>
                    </a:cubicBezTo>
                    <a:cubicBezTo>
                      <a:pt x="3280" y="10313"/>
                      <a:pt x="3280" y="10313"/>
                      <a:pt x="3280" y="10313"/>
                    </a:cubicBezTo>
                    <a:cubicBezTo>
                      <a:pt x="3280" y="10313"/>
                      <a:pt x="3292" y="10327"/>
                      <a:pt x="3304" y="10342"/>
                    </a:cubicBezTo>
                    <a:cubicBezTo>
                      <a:pt x="3310" y="10349"/>
                      <a:pt x="3317" y="10356"/>
                      <a:pt x="3322" y="10361"/>
                    </a:cubicBezTo>
                    <a:cubicBezTo>
                      <a:pt x="3325" y="10364"/>
                      <a:pt x="3327" y="10366"/>
                      <a:pt x="3328" y="10368"/>
                    </a:cubicBezTo>
                    <a:cubicBezTo>
                      <a:pt x="3329" y="10368"/>
                      <a:pt x="3329" y="10368"/>
                      <a:pt x="3329" y="10368"/>
                    </a:cubicBezTo>
                    <a:cubicBezTo>
                      <a:pt x="3341" y="10368"/>
                      <a:pt x="3341" y="10368"/>
                      <a:pt x="3341" y="10368"/>
                    </a:cubicBezTo>
                    <a:cubicBezTo>
                      <a:pt x="3334" y="10379"/>
                      <a:pt x="3334" y="10379"/>
                      <a:pt x="3334" y="10379"/>
                    </a:cubicBezTo>
                    <a:cubicBezTo>
                      <a:pt x="3334" y="10379"/>
                      <a:pt x="3324" y="10397"/>
                      <a:pt x="3314" y="10416"/>
                    </a:cubicBezTo>
                    <a:cubicBezTo>
                      <a:pt x="3309" y="10425"/>
                      <a:pt x="3303" y="10435"/>
                      <a:pt x="3300" y="10442"/>
                    </a:cubicBezTo>
                    <a:cubicBezTo>
                      <a:pt x="3298" y="10446"/>
                      <a:pt x="3296" y="10449"/>
                      <a:pt x="3295" y="10451"/>
                    </a:cubicBezTo>
                    <a:cubicBezTo>
                      <a:pt x="3296" y="10452"/>
                      <a:pt x="3297" y="10452"/>
                      <a:pt x="3297" y="10452"/>
                    </a:cubicBezTo>
                    <a:cubicBezTo>
                      <a:pt x="3318" y="10467"/>
                      <a:pt x="3372" y="10522"/>
                      <a:pt x="3372" y="10522"/>
                    </a:cubicBezTo>
                    <a:cubicBezTo>
                      <a:pt x="3383" y="10533"/>
                      <a:pt x="3383" y="10533"/>
                      <a:pt x="3383" y="10533"/>
                    </a:cubicBezTo>
                    <a:cubicBezTo>
                      <a:pt x="3152" y="10552"/>
                      <a:pt x="3152" y="10552"/>
                      <a:pt x="3152" y="10552"/>
                    </a:cubicBezTo>
                    <a:cubicBezTo>
                      <a:pt x="3150" y="10556"/>
                      <a:pt x="3147" y="10562"/>
                      <a:pt x="3144" y="10569"/>
                    </a:cubicBezTo>
                    <a:cubicBezTo>
                      <a:pt x="3140" y="10577"/>
                      <a:pt x="3136" y="10587"/>
                      <a:pt x="3134" y="10591"/>
                    </a:cubicBezTo>
                    <a:cubicBezTo>
                      <a:pt x="3135" y="10592"/>
                      <a:pt x="3135" y="10593"/>
                      <a:pt x="3136" y="10595"/>
                    </a:cubicBezTo>
                    <a:cubicBezTo>
                      <a:pt x="3134" y="10603"/>
                      <a:pt x="3132" y="10600"/>
                      <a:pt x="3132" y="10601"/>
                    </a:cubicBezTo>
                    <a:cubicBezTo>
                      <a:pt x="3127" y="10605"/>
                      <a:pt x="3078" y="10625"/>
                      <a:pt x="3028" y="10647"/>
                    </a:cubicBezTo>
                    <a:cubicBezTo>
                      <a:pt x="3003" y="10657"/>
                      <a:pt x="2978" y="10668"/>
                      <a:pt x="2960" y="10676"/>
                    </a:cubicBezTo>
                    <a:cubicBezTo>
                      <a:pt x="2951" y="10680"/>
                      <a:pt x="2943" y="10683"/>
                      <a:pt x="2938" y="10685"/>
                    </a:cubicBezTo>
                    <a:cubicBezTo>
                      <a:pt x="2935" y="10687"/>
                      <a:pt x="2933" y="10688"/>
                      <a:pt x="2932" y="10688"/>
                    </a:cubicBezTo>
                    <a:cubicBezTo>
                      <a:pt x="2931" y="10688"/>
                      <a:pt x="2931" y="10689"/>
                      <a:pt x="2931" y="10689"/>
                    </a:cubicBezTo>
                    <a:cubicBezTo>
                      <a:pt x="2930" y="10689"/>
                      <a:pt x="2928" y="10690"/>
                      <a:pt x="2926" y="10690"/>
                    </a:cubicBezTo>
                    <a:cubicBezTo>
                      <a:pt x="2926" y="10690"/>
                      <a:pt x="2924" y="10690"/>
                      <a:pt x="2922" y="10689"/>
                    </a:cubicBezTo>
                    <a:cubicBezTo>
                      <a:pt x="2920" y="10688"/>
                      <a:pt x="2919" y="10684"/>
                      <a:pt x="2919" y="10683"/>
                    </a:cubicBezTo>
                    <a:cubicBezTo>
                      <a:pt x="2919" y="10682"/>
                      <a:pt x="2919" y="10681"/>
                      <a:pt x="2920" y="10680"/>
                    </a:cubicBezTo>
                    <a:cubicBezTo>
                      <a:pt x="2920" y="10680"/>
                      <a:pt x="2920" y="10680"/>
                      <a:pt x="2920" y="10680"/>
                    </a:cubicBezTo>
                    <a:cubicBezTo>
                      <a:pt x="2920" y="10660"/>
                      <a:pt x="2895" y="10514"/>
                      <a:pt x="2895" y="10514"/>
                    </a:cubicBezTo>
                    <a:cubicBezTo>
                      <a:pt x="2893" y="10506"/>
                      <a:pt x="2893" y="10506"/>
                      <a:pt x="2893" y="10506"/>
                    </a:cubicBezTo>
                    <a:cubicBezTo>
                      <a:pt x="3090" y="10481"/>
                      <a:pt x="3090" y="10481"/>
                      <a:pt x="3090" y="10481"/>
                    </a:cubicBezTo>
                    <a:lnTo>
                      <a:pt x="3122" y="10380"/>
                    </a:lnTo>
                    <a:close/>
                    <a:moveTo>
                      <a:pt x="3134" y="10391"/>
                    </a:moveTo>
                    <a:cubicBezTo>
                      <a:pt x="3101" y="10495"/>
                      <a:pt x="3101" y="10495"/>
                      <a:pt x="3101" y="10495"/>
                    </a:cubicBezTo>
                    <a:cubicBezTo>
                      <a:pt x="2910" y="10519"/>
                      <a:pt x="2910" y="10519"/>
                      <a:pt x="2910" y="10519"/>
                    </a:cubicBezTo>
                    <a:cubicBezTo>
                      <a:pt x="2915" y="10546"/>
                      <a:pt x="2931" y="10637"/>
                      <a:pt x="2934" y="10671"/>
                    </a:cubicBezTo>
                    <a:cubicBezTo>
                      <a:pt x="2940" y="10668"/>
                      <a:pt x="2948" y="10665"/>
                      <a:pt x="2958" y="10661"/>
                    </a:cubicBezTo>
                    <a:cubicBezTo>
                      <a:pt x="2986" y="10648"/>
                      <a:pt x="3028" y="10630"/>
                      <a:pt x="3063" y="10616"/>
                    </a:cubicBezTo>
                    <a:cubicBezTo>
                      <a:pt x="3080" y="10608"/>
                      <a:pt x="3096" y="10602"/>
                      <a:pt x="3107" y="10597"/>
                    </a:cubicBezTo>
                    <a:cubicBezTo>
                      <a:pt x="3112" y="10595"/>
                      <a:pt x="3116" y="10593"/>
                      <a:pt x="3119" y="10591"/>
                    </a:cubicBezTo>
                    <a:cubicBezTo>
                      <a:pt x="3122" y="10576"/>
                      <a:pt x="3141" y="10542"/>
                      <a:pt x="3141" y="10541"/>
                    </a:cubicBezTo>
                    <a:cubicBezTo>
                      <a:pt x="3143" y="10538"/>
                      <a:pt x="3143" y="10538"/>
                      <a:pt x="3143" y="10538"/>
                    </a:cubicBezTo>
                    <a:cubicBezTo>
                      <a:pt x="3350" y="10521"/>
                      <a:pt x="3350" y="10521"/>
                      <a:pt x="3350" y="10521"/>
                    </a:cubicBezTo>
                    <a:cubicBezTo>
                      <a:pt x="3343" y="10514"/>
                      <a:pt x="3334" y="10505"/>
                      <a:pt x="3325" y="10496"/>
                    </a:cubicBezTo>
                    <a:cubicBezTo>
                      <a:pt x="3316" y="10488"/>
                      <a:pt x="3306" y="10479"/>
                      <a:pt x="3298" y="10472"/>
                    </a:cubicBezTo>
                    <a:cubicBezTo>
                      <a:pt x="3295" y="10469"/>
                      <a:pt x="3291" y="10466"/>
                      <a:pt x="3289" y="10464"/>
                    </a:cubicBezTo>
                    <a:cubicBezTo>
                      <a:pt x="3288" y="10464"/>
                      <a:pt x="3287" y="10463"/>
                      <a:pt x="3286" y="10463"/>
                    </a:cubicBezTo>
                    <a:cubicBezTo>
                      <a:pt x="3284" y="10463"/>
                      <a:pt x="3281" y="10461"/>
                      <a:pt x="3280" y="10459"/>
                    </a:cubicBezTo>
                    <a:cubicBezTo>
                      <a:pt x="3279" y="10457"/>
                      <a:pt x="3279" y="10456"/>
                      <a:pt x="3279" y="10455"/>
                    </a:cubicBezTo>
                    <a:cubicBezTo>
                      <a:pt x="3280" y="10448"/>
                      <a:pt x="3282" y="10444"/>
                      <a:pt x="3286" y="10436"/>
                    </a:cubicBezTo>
                    <a:cubicBezTo>
                      <a:pt x="3295" y="10418"/>
                      <a:pt x="3311" y="10390"/>
                      <a:pt x="3318" y="10378"/>
                    </a:cubicBezTo>
                    <a:cubicBezTo>
                      <a:pt x="3306" y="10367"/>
                      <a:pt x="3281" y="10338"/>
                      <a:pt x="3272" y="10326"/>
                    </a:cubicBezTo>
                    <a:lnTo>
                      <a:pt x="3134" y="10391"/>
                    </a:lnTo>
                    <a:close/>
                    <a:moveTo>
                      <a:pt x="4651" y="5130"/>
                    </a:moveTo>
                    <a:cubicBezTo>
                      <a:pt x="4727" y="5199"/>
                      <a:pt x="4727" y="5199"/>
                      <a:pt x="4727" y="5199"/>
                    </a:cubicBezTo>
                    <a:cubicBezTo>
                      <a:pt x="4628" y="5309"/>
                      <a:pt x="4628" y="5309"/>
                      <a:pt x="4628" y="5309"/>
                    </a:cubicBezTo>
                    <a:cubicBezTo>
                      <a:pt x="4551" y="5240"/>
                      <a:pt x="4551" y="5240"/>
                      <a:pt x="4551" y="5240"/>
                    </a:cubicBezTo>
                    <a:cubicBezTo>
                      <a:pt x="4556" y="5235"/>
                      <a:pt x="4556" y="5235"/>
                      <a:pt x="4556" y="5235"/>
                    </a:cubicBezTo>
                    <a:lnTo>
                      <a:pt x="4651" y="5130"/>
                    </a:lnTo>
                    <a:close/>
                    <a:moveTo>
                      <a:pt x="4652" y="5149"/>
                    </a:moveTo>
                    <a:cubicBezTo>
                      <a:pt x="4570" y="5239"/>
                      <a:pt x="4570" y="5239"/>
                      <a:pt x="4570" y="5239"/>
                    </a:cubicBezTo>
                    <a:cubicBezTo>
                      <a:pt x="4627" y="5291"/>
                      <a:pt x="4627" y="5291"/>
                      <a:pt x="4627" y="5291"/>
                    </a:cubicBezTo>
                    <a:cubicBezTo>
                      <a:pt x="4709" y="5200"/>
                      <a:pt x="4709" y="5200"/>
                      <a:pt x="4709" y="5200"/>
                    </a:cubicBezTo>
                    <a:lnTo>
                      <a:pt x="4652" y="5149"/>
                    </a:lnTo>
                    <a:close/>
                    <a:moveTo>
                      <a:pt x="5159" y="5865"/>
                    </a:moveTo>
                    <a:cubicBezTo>
                      <a:pt x="5102" y="5854"/>
                      <a:pt x="5102" y="5854"/>
                      <a:pt x="5102" y="5854"/>
                    </a:cubicBezTo>
                    <a:cubicBezTo>
                      <a:pt x="5104" y="5847"/>
                      <a:pt x="5104" y="5847"/>
                      <a:pt x="5104" y="5847"/>
                    </a:cubicBezTo>
                    <a:cubicBezTo>
                      <a:pt x="5123" y="5733"/>
                      <a:pt x="5123" y="5733"/>
                      <a:pt x="5123" y="5733"/>
                    </a:cubicBezTo>
                    <a:cubicBezTo>
                      <a:pt x="5239" y="5755"/>
                      <a:pt x="5239" y="5755"/>
                      <a:pt x="5239" y="5755"/>
                    </a:cubicBezTo>
                    <a:cubicBezTo>
                      <a:pt x="5237" y="5766"/>
                      <a:pt x="5237" y="5766"/>
                      <a:pt x="5237" y="5766"/>
                    </a:cubicBezTo>
                    <a:cubicBezTo>
                      <a:pt x="5288" y="5776"/>
                      <a:pt x="5288" y="5776"/>
                      <a:pt x="5288" y="5776"/>
                    </a:cubicBezTo>
                    <a:cubicBezTo>
                      <a:pt x="5252" y="5958"/>
                      <a:pt x="5252" y="5958"/>
                      <a:pt x="5252" y="5958"/>
                    </a:cubicBezTo>
                    <a:cubicBezTo>
                      <a:pt x="5144" y="5936"/>
                      <a:pt x="5144" y="5936"/>
                      <a:pt x="5144" y="5936"/>
                    </a:cubicBezTo>
                    <a:lnTo>
                      <a:pt x="5159" y="5865"/>
                    </a:lnTo>
                    <a:close/>
                    <a:moveTo>
                      <a:pt x="5174" y="5854"/>
                    </a:moveTo>
                    <a:cubicBezTo>
                      <a:pt x="5160" y="5926"/>
                      <a:pt x="5160" y="5926"/>
                      <a:pt x="5160" y="5926"/>
                    </a:cubicBezTo>
                    <a:cubicBezTo>
                      <a:pt x="5242" y="5942"/>
                      <a:pt x="5242" y="5942"/>
                      <a:pt x="5242" y="5942"/>
                    </a:cubicBezTo>
                    <a:cubicBezTo>
                      <a:pt x="5273" y="5786"/>
                      <a:pt x="5273" y="5786"/>
                      <a:pt x="5273" y="5786"/>
                    </a:cubicBezTo>
                    <a:cubicBezTo>
                      <a:pt x="5221" y="5776"/>
                      <a:pt x="5221" y="5776"/>
                      <a:pt x="5221" y="5776"/>
                    </a:cubicBezTo>
                    <a:cubicBezTo>
                      <a:pt x="5223" y="5766"/>
                      <a:pt x="5223" y="5766"/>
                      <a:pt x="5223" y="5766"/>
                    </a:cubicBezTo>
                    <a:cubicBezTo>
                      <a:pt x="5134" y="5748"/>
                      <a:pt x="5134" y="5748"/>
                      <a:pt x="5134" y="5748"/>
                    </a:cubicBezTo>
                    <a:cubicBezTo>
                      <a:pt x="5118" y="5843"/>
                      <a:pt x="5118" y="5843"/>
                      <a:pt x="5118" y="5843"/>
                    </a:cubicBezTo>
                    <a:lnTo>
                      <a:pt x="5174" y="5854"/>
                    </a:lnTo>
                    <a:close/>
                    <a:moveTo>
                      <a:pt x="7583" y="7229"/>
                    </a:moveTo>
                    <a:cubicBezTo>
                      <a:pt x="7447" y="7093"/>
                      <a:pt x="7447" y="7093"/>
                      <a:pt x="7447" y="7093"/>
                    </a:cubicBezTo>
                    <a:cubicBezTo>
                      <a:pt x="7482" y="7058"/>
                      <a:pt x="7482" y="7058"/>
                      <a:pt x="7482" y="7058"/>
                    </a:cubicBezTo>
                    <a:cubicBezTo>
                      <a:pt x="7473" y="7050"/>
                      <a:pt x="7473" y="7050"/>
                      <a:pt x="7473" y="7050"/>
                    </a:cubicBezTo>
                    <a:cubicBezTo>
                      <a:pt x="7469" y="7045"/>
                      <a:pt x="7469" y="7045"/>
                      <a:pt x="7469" y="7045"/>
                    </a:cubicBezTo>
                    <a:cubicBezTo>
                      <a:pt x="7536" y="6976"/>
                      <a:pt x="7536" y="6976"/>
                      <a:pt x="7536" y="6976"/>
                    </a:cubicBezTo>
                    <a:cubicBezTo>
                      <a:pt x="7637" y="7074"/>
                      <a:pt x="7637" y="7074"/>
                      <a:pt x="7637" y="7074"/>
                    </a:cubicBezTo>
                    <a:cubicBezTo>
                      <a:pt x="7586" y="7126"/>
                      <a:pt x="7586" y="7126"/>
                      <a:pt x="7586" y="7126"/>
                    </a:cubicBezTo>
                    <a:cubicBezTo>
                      <a:pt x="7641" y="7179"/>
                      <a:pt x="7641" y="7179"/>
                      <a:pt x="7641" y="7179"/>
                    </a:cubicBezTo>
                    <a:cubicBezTo>
                      <a:pt x="7588" y="7233"/>
                      <a:pt x="7588" y="7233"/>
                      <a:pt x="7588" y="7233"/>
                    </a:cubicBezTo>
                    <a:lnTo>
                      <a:pt x="7583" y="7229"/>
                    </a:lnTo>
                    <a:close/>
                    <a:moveTo>
                      <a:pt x="7466" y="7093"/>
                    </a:moveTo>
                    <a:cubicBezTo>
                      <a:pt x="7588" y="7215"/>
                      <a:pt x="7588" y="7215"/>
                      <a:pt x="7588" y="7215"/>
                    </a:cubicBezTo>
                    <a:cubicBezTo>
                      <a:pt x="7622" y="7179"/>
                      <a:pt x="7622" y="7179"/>
                      <a:pt x="7622" y="7179"/>
                    </a:cubicBezTo>
                    <a:cubicBezTo>
                      <a:pt x="7568" y="7127"/>
                      <a:pt x="7568" y="7127"/>
                      <a:pt x="7568" y="7127"/>
                    </a:cubicBezTo>
                    <a:cubicBezTo>
                      <a:pt x="7619" y="7074"/>
                      <a:pt x="7619" y="7074"/>
                      <a:pt x="7619" y="7074"/>
                    </a:cubicBezTo>
                    <a:cubicBezTo>
                      <a:pt x="7536" y="6994"/>
                      <a:pt x="7536" y="6994"/>
                      <a:pt x="7536" y="6994"/>
                    </a:cubicBezTo>
                    <a:cubicBezTo>
                      <a:pt x="7487" y="7045"/>
                      <a:pt x="7487" y="7045"/>
                      <a:pt x="7487" y="7045"/>
                    </a:cubicBezTo>
                    <a:cubicBezTo>
                      <a:pt x="7496" y="7053"/>
                      <a:pt x="7496" y="7053"/>
                      <a:pt x="7496" y="7053"/>
                    </a:cubicBezTo>
                    <a:cubicBezTo>
                      <a:pt x="7500" y="7058"/>
                      <a:pt x="7500" y="7058"/>
                      <a:pt x="7500" y="7058"/>
                    </a:cubicBezTo>
                    <a:lnTo>
                      <a:pt x="7466" y="7093"/>
                    </a:lnTo>
                    <a:close/>
                    <a:moveTo>
                      <a:pt x="3818" y="4851"/>
                    </a:moveTo>
                    <a:cubicBezTo>
                      <a:pt x="3949" y="4879"/>
                      <a:pt x="3949" y="4879"/>
                      <a:pt x="3949" y="4879"/>
                    </a:cubicBezTo>
                    <a:cubicBezTo>
                      <a:pt x="3920" y="5015"/>
                      <a:pt x="3920" y="5015"/>
                      <a:pt x="3920" y="5015"/>
                    </a:cubicBezTo>
                    <a:cubicBezTo>
                      <a:pt x="3789" y="4988"/>
                      <a:pt x="3789" y="4988"/>
                      <a:pt x="3789" y="4988"/>
                    </a:cubicBezTo>
                    <a:cubicBezTo>
                      <a:pt x="3790" y="4981"/>
                      <a:pt x="3790" y="4981"/>
                      <a:pt x="3790" y="4981"/>
                    </a:cubicBezTo>
                    <a:lnTo>
                      <a:pt x="3818" y="4851"/>
                    </a:lnTo>
                    <a:close/>
                    <a:moveTo>
                      <a:pt x="3828" y="4867"/>
                    </a:moveTo>
                    <a:cubicBezTo>
                      <a:pt x="3805" y="4977"/>
                      <a:pt x="3805" y="4977"/>
                      <a:pt x="3805" y="4977"/>
                    </a:cubicBezTo>
                    <a:cubicBezTo>
                      <a:pt x="3910" y="5000"/>
                      <a:pt x="3910" y="5000"/>
                      <a:pt x="3910" y="5000"/>
                    </a:cubicBezTo>
                    <a:cubicBezTo>
                      <a:pt x="3933" y="4889"/>
                      <a:pt x="3933" y="4889"/>
                      <a:pt x="3933" y="4889"/>
                    </a:cubicBezTo>
                    <a:lnTo>
                      <a:pt x="3828" y="4867"/>
                    </a:lnTo>
                    <a:close/>
                    <a:moveTo>
                      <a:pt x="4240" y="10018"/>
                    </a:moveTo>
                    <a:cubicBezTo>
                      <a:pt x="4279" y="10109"/>
                      <a:pt x="4279" y="10109"/>
                      <a:pt x="4279" y="10109"/>
                    </a:cubicBezTo>
                    <a:cubicBezTo>
                      <a:pt x="4125" y="10175"/>
                      <a:pt x="4125" y="10175"/>
                      <a:pt x="4125" y="10175"/>
                    </a:cubicBezTo>
                    <a:cubicBezTo>
                      <a:pt x="4060" y="10021"/>
                      <a:pt x="4060" y="10021"/>
                      <a:pt x="4060" y="10021"/>
                    </a:cubicBezTo>
                    <a:cubicBezTo>
                      <a:pt x="4146" y="9984"/>
                      <a:pt x="4146" y="9984"/>
                      <a:pt x="4146" y="9984"/>
                    </a:cubicBezTo>
                    <a:cubicBezTo>
                      <a:pt x="4112" y="9889"/>
                      <a:pt x="4112" y="9889"/>
                      <a:pt x="4112" y="9889"/>
                    </a:cubicBezTo>
                    <a:cubicBezTo>
                      <a:pt x="4275" y="9820"/>
                      <a:pt x="4275" y="9820"/>
                      <a:pt x="4275" y="9820"/>
                    </a:cubicBezTo>
                    <a:cubicBezTo>
                      <a:pt x="4336" y="9978"/>
                      <a:pt x="4336" y="9978"/>
                      <a:pt x="4336" y="9978"/>
                    </a:cubicBezTo>
                    <a:lnTo>
                      <a:pt x="4240" y="10018"/>
                    </a:lnTo>
                    <a:close/>
                    <a:moveTo>
                      <a:pt x="4223" y="10011"/>
                    </a:moveTo>
                    <a:cubicBezTo>
                      <a:pt x="4229" y="10008"/>
                      <a:pt x="4229" y="10008"/>
                      <a:pt x="4229" y="10008"/>
                    </a:cubicBezTo>
                    <a:cubicBezTo>
                      <a:pt x="4319" y="9971"/>
                      <a:pt x="4319" y="9971"/>
                      <a:pt x="4319" y="9971"/>
                    </a:cubicBezTo>
                    <a:cubicBezTo>
                      <a:pt x="4268" y="9838"/>
                      <a:pt x="4268" y="9838"/>
                      <a:pt x="4268" y="9838"/>
                    </a:cubicBezTo>
                    <a:cubicBezTo>
                      <a:pt x="4128" y="9896"/>
                      <a:pt x="4128" y="9896"/>
                      <a:pt x="4128" y="9896"/>
                    </a:cubicBezTo>
                    <a:cubicBezTo>
                      <a:pt x="4163" y="9991"/>
                      <a:pt x="4163" y="9991"/>
                      <a:pt x="4163" y="9991"/>
                    </a:cubicBezTo>
                    <a:cubicBezTo>
                      <a:pt x="4077" y="10028"/>
                      <a:pt x="4077" y="10028"/>
                      <a:pt x="4077" y="10028"/>
                    </a:cubicBezTo>
                    <a:cubicBezTo>
                      <a:pt x="4132" y="10157"/>
                      <a:pt x="4132" y="10157"/>
                      <a:pt x="4132" y="10157"/>
                    </a:cubicBezTo>
                    <a:cubicBezTo>
                      <a:pt x="4262" y="10102"/>
                      <a:pt x="4262" y="10102"/>
                      <a:pt x="4262" y="10102"/>
                    </a:cubicBezTo>
                    <a:lnTo>
                      <a:pt x="4223" y="10011"/>
                    </a:lnTo>
                    <a:close/>
                  </a:path>
                </a:pathLst>
              </a:custGeom>
              <a:gradFill>
                <a:gsLst>
                  <a:gs pos="34000">
                    <a:srgbClr val="827985">
                      <a:alpha val="0"/>
                    </a:srgbClr>
                  </a:gs>
                  <a:gs pos="100000">
                    <a:srgbClr val="58525A"/>
                  </a:gs>
                </a:gsLst>
                <a:lin ang="0" scaled="1"/>
              </a:gradFill>
              <a:ln>
                <a:noFill/>
              </a:ln>
            </p:spPr>
            <p:txBody>
              <a:bodyPr vert="horz" wrap="square" lIns="91440" tIns="45720" rIns="91440" bIns="45720" numCol="1" anchor="t" anchorCtr="0" compatLnSpc="1">
                <a:prstTxWarp prst="textNoShape">
                  <a:avLst/>
                </a:prstTxWarp>
              </a:bodyPr>
              <a:lstStyle/>
              <a:p>
                <a:endParaRPr lang="nl-NL" dirty="0"/>
              </a:p>
            </p:txBody>
          </p:sp>
          <p:sp>
            <p:nvSpPr>
              <p:cNvPr id="24" name="Freeform 10">
                <a:extLst>
                  <a:ext uri="{FF2B5EF4-FFF2-40B4-BE49-F238E27FC236}">
                    <a16:creationId xmlns:a16="http://schemas.microsoft.com/office/drawing/2014/main" id="{F7B7FE6C-4786-4E2F-BB6C-F8CFAE88D917}"/>
                  </a:ext>
                </a:extLst>
              </p:cNvPr>
              <p:cNvSpPr>
                <a:spLocks noSelect="1"/>
              </p:cNvSpPr>
              <p:nvPr userDrawn="1"/>
            </p:nvSpPr>
            <p:spPr bwMode="gray">
              <a:xfrm>
                <a:off x="6478588" y="0"/>
                <a:ext cx="5716588" cy="3432175"/>
              </a:xfrm>
              <a:custGeom>
                <a:avLst/>
                <a:gdLst>
                  <a:gd name="T0" fmla="*/ 15702 w 18004"/>
                  <a:gd name="T1" fmla="*/ 3526 h 10821"/>
                  <a:gd name="T2" fmla="*/ 17130 w 18004"/>
                  <a:gd name="T3" fmla="*/ 7977 h 10821"/>
                  <a:gd name="T4" fmla="*/ 14012 w 18004"/>
                  <a:gd name="T5" fmla="*/ 9898 h 10821"/>
                  <a:gd name="T6" fmla="*/ 13344 w 18004"/>
                  <a:gd name="T7" fmla="*/ 9492 h 10821"/>
                  <a:gd name="T8" fmla="*/ 11805 w 18004"/>
                  <a:gd name="T9" fmla="*/ 10355 h 10821"/>
                  <a:gd name="T10" fmla="*/ 7871 w 18004"/>
                  <a:gd name="T11" fmla="*/ 9880 h 10821"/>
                  <a:gd name="T12" fmla="*/ 6713 w 18004"/>
                  <a:gd name="T13" fmla="*/ 10821 h 10821"/>
                  <a:gd name="T14" fmla="*/ 3229 w 18004"/>
                  <a:gd name="T15" fmla="*/ 10660 h 10821"/>
                  <a:gd name="T16" fmla="*/ 4149 w 18004"/>
                  <a:gd name="T17" fmla="*/ 9274 h 10821"/>
                  <a:gd name="T18" fmla="*/ 1999 w 18004"/>
                  <a:gd name="T19" fmla="*/ 9999 h 10821"/>
                  <a:gd name="T20" fmla="*/ 610 w 18004"/>
                  <a:gd name="T21" fmla="*/ 10228 h 10821"/>
                  <a:gd name="T22" fmla="*/ 3619 w 18004"/>
                  <a:gd name="T23" fmla="*/ 8237 h 10821"/>
                  <a:gd name="T24" fmla="*/ 2497 w 18004"/>
                  <a:gd name="T25" fmla="*/ 7950 h 10821"/>
                  <a:gd name="T26" fmla="*/ 1374 w 18004"/>
                  <a:gd name="T27" fmla="*/ 8803 h 10821"/>
                  <a:gd name="T28" fmla="*/ 0 w 18004"/>
                  <a:gd name="T29" fmla="*/ 9237 h 10821"/>
                  <a:gd name="T30" fmla="*/ 1990 w 18004"/>
                  <a:gd name="T31" fmla="*/ 8265 h 10821"/>
                  <a:gd name="T32" fmla="*/ 1388 w 18004"/>
                  <a:gd name="T33" fmla="*/ 7195 h 10821"/>
                  <a:gd name="T34" fmla="*/ 173 w 18004"/>
                  <a:gd name="T35" fmla="*/ 7273 h 10821"/>
                  <a:gd name="T36" fmla="*/ 1274 w 18004"/>
                  <a:gd name="T37" fmla="*/ 4182 h 10821"/>
                  <a:gd name="T38" fmla="*/ 1887 w 18004"/>
                  <a:gd name="T39" fmla="*/ 1866 h 10821"/>
                  <a:gd name="T40" fmla="*/ 4186 w 18004"/>
                  <a:gd name="T41" fmla="*/ 1083 h 10821"/>
                  <a:gd name="T42" fmla="*/ 5498 w 18004"/>
                  <a:gd name="T43" fmla="*/ 637 h 10821"/>
                  <a:gd name="T44" fmla="*/ 7630 w 18004"/>
                  <a:gd name="T45" fmla="*/ 250 h 10821"/>
                  <a:gd name="T46" fmla="*/ 11442 w 18004"/>
                  <a:gd name="T47" fmla="*/ 1323 h 10821"/>
                  <a:gd name="T48" fmla="*/ 14013 w 18004"/>
                  <a:gd name="T49" fmla="*/ 0 h 10821"/>
                  <a:gd name="T50" fmla="*/ 13927 w 18004"/>
                  <a:gd name="T51" fmla="*/ 879 h 10821"/>
                  <a:gd name="T52" fmla="*/ 16196 w 18004"/>
                  <a:gd name="T53" fmla="*/ 1690 h 10821"/>
                  <a:gd name="T54" fmla="*/ 12561 w 18004"/>
                  <a:gd name="T55" fmla="*/ 2675 h 10821"/>
                  <a:gd name="T56" fmla="*/ 11691 w 18004"/>
                  <a:gd name="T57" fmla="*/ 7190 h 10821"/>
                  <a:gd name="T58" fmla="*/ 9016 w 18004"/>
                  <a:gd name="T59" fmla="*/ 7923 h 10821"/>
                  <a:gd name="T60" fmla="*/ 6161 w 18004"/>
                  <a:gd name="T61" fmla="*/ 4713 h 10821"/>
                  <a:gd name="T62" fmla="*/ 10542 w 18004"/>
                  <a:gd name="T63" fmla="*/ 2541 h 10821"/>
                  <a:gd name="T64" fmla="*/ 7811 w 18004"/>
                  <a:gd name="T65" fmla="*/ 4456 h 10821"/>
                  <a:gd name="T66" fmla="*/ 8523 w 18004"/>
                  <a:gd name="T67" fmla="*/ 2710 h 10821"/>
                  <a:gd name="T68" fmla="*/ 7802 w 18004"/>
                  <a:gd name="T69" fmla="*/ 4949 h 10821"/>
                  <a:gd name="T70" fmla="*/ 10763 w 18004"/>
                  <a:gd name="T71" fmla="*/ 2991 h 10821"/>
                  <a:gd name="T72" fmla="*/ 10676 w 18004"/>
                  <a:gd name="T73" fmla="*/ 2352 h 10821"/>
                  <a:gd name="T74" fmla="*/ 8570 w 18004"/>
                  <a:gd name="T75" fmla="*/ 2059 h 10821"/>
                  <a:gd name="T76" fmla="*/ 9352 w 18004"/>
                  <a:gd name="T77" fmla="*/ 1169 h 10821"/>
                  <a:gd name="T78" fmla="*/ 5329 w 18004"/>
                  <a:gd name="T79" fmla="*/ 2407 h 10821"/>
                  <a:gd name="T80" fmla="*/ 3627 w 18004"/>
                  <a:gd name="T81" fmla="*/ 1783 h 10821"/>
                  <a:gd name="T82" fmla="*/ 4165 w 18004"/>
                  <a:gd name="T83" fmla="*/ 3717 h 10821"/>
                  <a:gd name="T84" fmla="*/ 1284 w 18004"/>
                  <a:gd name="T85" fmla="*/ 4142 h 10821"/>
                  <a:gd name="T86" fmla="*/ 1418 w 18004"/>
                  <a:gd name="T87" fmla="*/ 6665 h 10821"/>
                  <a:gd name="T88" fmla="*/ 1465 w 18004"/>
                  <a:gd name="T89" fmla="*/ 7398 h 10821"/>
                  <a:gd name="T90" fmla="*/ 2966 w 18004"/>
                  <a:gd name="T91" fmla="*/ 6641 h 10821"/>
                  <a:gd name="T92" fmla="*/ 4792 w 18004"/>
                  <a:gd name="T93" fmla="*/ 5512 h 10821"/>
                  <a:gd name="T94" fmla="*/ 3967 w 18004"/>
                  <a:gd name="T95" fmla="*/ 8015 h 10821"/>
                  <a:gd name="T96" fmla="*/ 5929 w 18004"/>
                  <a:gd name="T97" fmla="*/ 6192 h 10821"/>
                  <a:gd name="T98" fmla="*/ 4370 w 18004"/>
                  <a:gd name="T99" fmla="*/ 7457 h 10821"/>
                  <a:gd name="T100" fmla="*/ 473 w 18004"/>
                  <a:gd name="T101" fmla="*/ 10061 h 10821"/>
                  <a:gd name="T102" fmla="*/ 602 w 18004"/>
                  <a:gd name="T103" fmla="*/ 10028 h 10821"/>
                  <a:gd name="T104" fmla="*/ 5284 w 18004"/>
                  <a:gd name="T105" fmla="*/ 9176 h 10821"/>
                  <a:gd name="T106" fmla="*/ 5362 w 18004"/>
                  <a:gd name="T107" fmla="*/ 9295 h 10821"/>
                  <a:gd name="T108" fmla="*/ 7973 w 18004"/>
                  <a:gd name="T109" fmla="*/ 8076 h 10821"/>
                  <a:gd name="T110" fmla="*/ 6625 w 18004"/>
                  <a:gd name="T111" fmla="*/ 7807 h 10821"/>
                  <a:gd name="T112" fmla="*/ 11191 w 18004"/>
                  <a:gd name="T113" fmla="*/ 8792 h 10821"/>
                  <a:gd name="T114" fmla="*/ 11701 w 18004"/>
                  <a:gd name="T115" fmla="*/ 7224 h 10821"/>
                  <a:gd name="T116" fmla="*/ 14051 w 18004"/>
                  <a:gd name="T117" fmla="*/ 5122 h 10821"/>
                  <a:gd name="T118" fmla="*/ 14607 w 18004"/>
                  <a:gd name="T119" fmla="*/ 8822 h 10821"/>
                  <a:gd name="T120" fmla="*/ 12590 w 18004"/>
                  <a:gd name="T121" fmla="*/ 2697 h 10821"/>
                  <a:gd name="T122" fmla="*/ 1265 w 18004"/>
                  <a:gd name="T123" fmla="*/ 10749 h 10821"/>
                  <a:gd name="T124" fmla="*/ 1762 w 18004"/>
                  <a:gd name="T125" fmla="*/ 8494 h 10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04" h="10821">
                    <a:moveTo>
                      <a:pt x="0" y="10819"/>
                    </a:moveTo>
                    <a:cubicBezTo>
                      <a:pt x="2" y="10821"/>
                      <a:pt x="2" y="10821"/>
                      <a:pt x="2" y="10821"/>
                    </a:cubicBezTo>
                    <a:cubicBezTo>
                      <a:pt x="0" y="10821"/>
                      <a:pt x="0" y="10821"/>
                      <a:pt x="0" y="10821"/>
                    </a:cubicBezTo>
                    <a:lnTo>
                      <a:pt x="0" y="10819"/>
                    </a:lnTo>
                    <a:close/>
                    <a:moveTo>
                      <a:pt x="1980" y="10654"/>
                    </a:moveTo>
                    <a:cubicBezTo>
                      <a:pt x="2004" y="10613"/>
                      <a:pt x="2019" y="10573"/>
                      <a:pt x="2068" y="10573"/>
                    </a:cubicBezTo>
                    <a:cubicBezTo>
                      <a:pt x="2117" y="10573"/>
                      <a:pt x="2157" y="10591"/>
                      <a:pt x="2165" y="10569"/>
                    </a:cubicBezTo>
                    <a:cubicBezTo>
                      <a:pt x="2173" y="10547"/>
                      <a:pt x="2155" y="10515"/>
                      <a:pt x="2120" y="10500"/>
                    </a:cubicBezTo>
                    <a:cubicBezTo>
                      <a:pt x="2093" y="10488"/>
                      <a:pt x="2031" y="10510"/>
                      <a:pt x="1971" y="10579"/>
                    </a:cubicBezTo>
                    <a:cubicBezTo>
                      <a:pt x="1911" y="10647"/>
                      <a:pt x="1851" y="10688"/>
                      <a:pt x="1800" y="10709"/>
                    </a:cubicBezTo>
                    <a:cubicBezTo>
                      <a:pt x="1749" y="10729"/>
                      <a:pt x="1654" y="10786"/>
                      <a:pt x="1655" y="10796"/>
                    </a:cubicBezTo>
                    <a:cubicBezTo>
                      <a:pt x="1657" y="10806"/>
                      <a:pt x="1711" y="10799"/>
                      <a:pt x="1752" y="10773"/>
                    </a:cubicBezTo>
                    <a:cubicBezTo>
                      <a:pt x="1793" y="10747"/>
                      <a:pt x="1852" y="10724"/>
                      <a:pt x="1889" y="10710"/>
                    </a:cubicBezTo>
                    <a:cubicBezTo>
                      <a:pt x="1926" y="10696"/>
                      <a:pt x="1957" y="10695"/>
                      <a:pt x="1980" y="10654"/>
                    </a:cubicBezTo>
                    <a:close/>
                    <a:moveTo>
                      <a:pt x="18004" y="673"/>
                    </a:moveTo>
                    <a:cubicBezTo>
                      <a:pt x="17970" y="697"/>
                      <a:pt x="17937" y="719"/>
                      <a:pt x="17905" y="741"/>
                    </a:cubicBezTo>
                    <a:cubicBezTo>
                      <a:pt x="17938" y="788"/>
                      <a:pt x="17972" y="841"/>
                      <a:pt x="18004" y="902"/>
                    </a:cubicBezTo>
                    <a:cubicBezTo>
                      <a:pt x="18004" y="981"/>
                      <a:pt x="18004" y="981"/>
                      <a:pt x="18004" y="981"/>
                    </a:cubicBezTo>
                    <a:cubicBezTo>
                      <a:pt x="17963" y="895"/>
                      <a:pt x="17919" y="823"/>
                      <a:pt x="17875" y="761"/>
                    </a:cubicBezTo>
                    <a:cubicBezTo>
                      <a:pt x="17428" y="1053"/>
                      <a:pt x="16715" y="1589"/>
                      <a:pt x="16205" y="1725"/>
                    </a:cubicBezTo>
                    <a:cubicBezTo>
                      <a:pt x="16172" y="1734"/>
                      <a:pt x="16139" y="1742"/>
                      <a:pt x="16105" y="1750"/>
                    </a:cubicBezTo>
                    <a:cubicBezTo>
                      <a:pt x="16107" y="1753"/>
                      <a:pt x="16107" y="1753"/>
                      <a:pt x="16107" y="1753"/>
                    </a:cubicBezTo>
                    <a:cubicBezTo>
                      <a:pt x="16110" y="1757"/>
                      <a:pt x="16110" y="1757"/>
                      <a:pt x="16110" y="1757"/>
                    </a:cubicBezTo>
                    <a:cubicBezTo>
                      <a:pt x="16087" y="1775"/>
                      <a:pt x="15755" y="2152"/>
                      <a:pt x="15705" y="2342"/>
                    </a:cubicBezTo>
                    <a:cubicBezTo>
                      <a:pt x="15674" y="2459"/>
                      <a:pt x="15642" y="2676"/>
                      <a:pt x="15642" y="2932"/>
                    </a:cubicBezTo>
                    <a:cubicBezTo>
                      <a:pt x="15642" y="3116"/>
                      <a:pt x="15658" y="3321"/>
                      <a:pt x="15702" y="3526"/>
                    </a:cubicBezTo>
                    <a:cubicBezTo>
                      <a:pt x="15753" y="3769"/>
                      <a:pt x="15830" y="4052"/>
                      <a:pt x="15894" y="4277"/>
                    </a:cubicBezTo>
                    <a:cubicBezTo>
                      <a:pt x="15926" y="4389"/>
                      <a:pt x="15955" y="4487"/>
                      <a:pt x="15976" y="4558"/>
                    </a:cubicBezTo>
                    <a:cubicBezTo>
                      <a:pt x="15986" y="4594"/>
                      <a:pt x="15995" y="4623"/>
                      <a:pt x="16001" y="4644"/>
                    </a:cubicBezTo>
                    <a:cubicBezTo>
                      <a:pt x="16003" y="4654"/>
                      <a:pt x="16006" y="4662"/>
                      <a:pt x="16007" y="4668"/>
                    </a:cubicBezTo>
                    <a:cubicBezTo>
                      <a:pt x="16008" y="4672"/>
                      <a:pt x="16009" y="4675"/>
                      <a:pt x="16009" y="4678"/>
                    </a:cubicBezTo>
                    <a:cubicBezTo>
                      <a:pt x="16097" y="4659"/>
                      <a:pt x="16097" y="4659"/>
                      <a:pt x="16097" y="4659"/>
                    </a:cubicBezTo>
                    <a:cubicBezTo>
                      <a:pt x="16098" y="4659"/>
                      <a:pt x="16569" y="4570"/>
                      <a:pt x="16967" y="4570"/>
                    </a:cubicBezTo>
                    <a:cubicBezTo>
                      <a:pt x="17006" y="4570"/>
                      <a:pt x="17044" y="4571"/>
                      <a:pt x="17080" y="4573"/>
                    </a:cubicBezTo>
                    <a:cubicBezTo>
                      <a:pt x="17425" y="4590"/>
                      <a:pt x="17807" y="4639"/>
                      <a:pt x="18004" y="4666"/>
                    </a:cubicBezTo>
                    <a:cubicBezTo>
                      <a:pt x="18004" y="4702"/>
                      <a:pt x="18004" y="4702"/>
                      <a:pt x="18004" y="4702"/>
                    </a:cubicBezTo>
                    <a:cubicBezTo>
                      <a:pt x="17809" y="4675"/>
                      <a:pt x="17424" y="4626"/>
                      <a:pt x="17078" y="4609"/>
                    </a:cubicBezTo>
                    <a:cubicBezTo>
                      <a:pt x="17042" y="4607"/>
                      <a:pt x="17005" y="4606"/>
                      <a:pt x="16967" y="4606"/>
                    </a:cubicBezTo>
                    <a:cubicBezTo>
                      <a:pt x="16771" y="4606"/>
                      <a:pt x="16555" y="4628"/>
                      <a:pt x="16388" y="4650"/>
                    </a:cubicBezTo>
                    <a:cubicBezTo>
                      <a:pt x="16222" y="4673"/>
                      <a:pt x="16105" y="4695"/>
                      <a:pt x="16104" y="4695"/>
                    </a:cubicBezTo>
                    <a:cubicBezTo>
                      <a:pt x="16027" y="4711"/>
                      <a:pt x="16027" y="4711"/>
                      <a:pt x="16027" y="4711"/>
                    </a:cubicBezTo>
                    <a:cubicBezTo>
                      <a:pt x="16045" y="4765"/>
                      <a:pt x="16076" y="4881"/>
                      <a:pt x="16076" y="5035"/>
                    </a:cubicBezTo>
                    <a:cubicBezTo>
                      <a:pt x="16076" y="5113"/>
                      <a:pt x="16068" y="5202"/>
                      <a:pt x="16046" y="5296"/>
                    </a:cubicBezTo>
                    <a:cubicBezTo>
                      <a:pt x="15962" y="5650"/>
                      <a:pt x="15694" y="5868"/>
                      <a:pt x="15600" y="6100"/>
                    </a:cubicBezTo>
                    <a:cubicBezTo>
                      <a:pt x="15525" y="6284"/>
                      <a:pt x="15465" y="6402"/>
                      <a:pt x="15465" y="6641"/>
                    </a:cubicBezTo>
                    <a:cubicBezTo>
                      <a:pt x="15465" y="6715"/>
                      <a:pt x="15471" y="6800"/>
                      <a:pt x="15484" y="6902"/>
                    </a:cubicBezTo>
                    <a:cubicBezTo>
                      <a:pt x="15530" y="7267"/>
                      <a:pt x="15626" y="8033"/>
                      <a:pt x="15655" y="8267"/>
                    </a:cubicBezTo>
                    <a:cubicBezTo>
                      <a:pt x="15655" y="8267"/>
                      <a:pt x="15655" y="8267"/>
                      <a:pt x="15655" y="8267"/>
                    </a:cubicBezTo>
                    <a:cubicBezTo>
                      <a:pt x="15655" y="8267"/>
                      <a:pt x="15658" y="8279"/>
                      <a:pt x="15660" y="8287"/>
                    </a:cubicBezTo>
                    <a:cubicBezTo>
                      <a:pt x="15678" y="8279"/>
                      <a:pt x="15691" y="8273"/>
                      <a:pt x="15691" y="8273"/>
                    </a:cubicBezTo>
                    <a:cubicBezTo>
                      <a:pt x="15697" y="8271"/>
                      <a:pt x="15697" y="8271"/>
                      <a:pt x="15697" y="8271"/>
                    </a:cubicBezTo>
                    <a:cubicBezTo>
                      <a:pt x="17130" y="7977"/>
                      <a:pt x="17130" y="7977"/>
                      <a:pt x="17130" y="7977"/>
                    </a:cubicBezTo>
                    <a:cubicBezTo>
                      <a:pt x="17133" y="7977"/>
                      <a:pt x="17133" y="7977"/>
                      <a:pt x="17133" y="7977"/>
                    </a:cubicBezTo>
                    <a:cubicBezTo>
                      <a:pt x="17133" y="7977"/>
                      <a:pt x="17380" y="7948"/>
                      <a:pt x="17628" y="7918"/>
                    </a:cubicBezTo>
                    <a:cubicBezTo>
                      <a:pt x="17753" y="7904"/>
                      <a:pt x="17877" y="7889"/>
                      <a:pt x="17971" y="7878"/>
                    </a:cubicBezTo>
                    <a:cubicBezTo>
                      <a:pt x="17983" y="7877"/>
                      <a:pt x="17994" y="7876"/>
                      <a:pt x="18004" y="7874"/>
                    </a:cubicBezTo>
                    <a:cubicBezTo>
                      <a:pt x="18004" y="7990"/>
                      <a:pt x="18004" y="7990"/>
                      <a:pt x="18004" y="7990"/>
                    </a:cubicBezTo>
                    <a:cubicBezTo>
                      <a:pt x="17904" y="8002"/>
                      <a:pt x="17763" y="8018"/>
                      <a:pt x="17624" y="8034"/>
                    </a:cubicBezTo>
                    <a:cubicBezTo>
                      <a:pt x="17396" y="8061"/>
                      <a:pt x="17174" y="8088"/>
                      <a:pt x="17148" y="8091"/>
                    </a:cubicBezTo>
                    <a:cubicBezTo>
                      <a:pt x="15731" y="8381"/>
                      <a:pt x="15731" y="8381"/>
                      <a:pt x="15731" y="8381"/>
                    </a:cubicBezTo>
                    <a:cubicBezTo>
                      <a:pt x="15707" y="8391"/>
                      <a:pt x="15606" y="8434"/>
                      <a:pt x="15581" y="8445"/>
                    </a:cubicBezTo>
                    <a:cubicBezTo>
                      <a:pt x="15581" y="8445"/>
                      <a:pt x="15581" y="8445"/>
                      <a:pt x="15581" y="8445"/>
                    </a:cubicBezTo>
                    <a:cubicBezTo>
                      <a:pt x="15573" y="8449"/>
                      <a:pt x="15523" y="8478"/>
                      <a:pt x="15453" y="8517"/>
                    </a:cubicBezTo>
                    <a:cubicBezTo>
                      <a:pt x="15347" y="8576"/>
                      <a:pt x="15193" y="8662"/>
                      <a:pt x="15041" y="8742"/>
                    </a:cubicBezTo>
                    <a:cubicBezTo>
                      <a:pt x="14890" y="8821"/>
                      <a:pt x="14743" y="8894"/>
                      <a:pt x="14646" y="8929"/>
                    </a:cubicBezTo>
                    <a:cubicBezTo>
                      <a:pt x="14522" y="8974"/>
                      <a:pt x="14406" y="9014"/>
                      <a:pt x="14318" y="9042"/>
                    </a:cubicBezTo>
                    <a:cubicBezTo>
                      <a:pt x="14274" y="9056"/>
                      <a:pt x="14237" y="9067"/>
                      <a:pt x="14210" y="9075"/>
                    </a:cubicBezTo>
                    <a:cubicBezTo>
                      <a:pt x="14197" y="9079"/>
                      <a:pt x="14185" y="9082"/>
                      <a:pt x="14176" y="9085"/>
                    </a:cubicBezTo>
                    <a:cubicBezTo>
                      <a:pt x="14172" y="9086"/>
                      <a:pt x="14168" y="9087"/>
                      <a:pt x="14164" y="9088"/>
                    </a:cubicBezTo>
                    <a:cubicBezTo>
                      <a:pt x="14161" y="9088"/>
                      <a:pt x="14159" y="9089"/>
                      <a:pt x="14154" y="9089"/>
                    </a:cubicBezTo>
                    <a:cubicBezTo>
                      <a:pt x="14142" y="9091"/>
                      <a:pt x="14087" y="9104"/>
                      <a:pt x="14017" y="9121"/>
                    </a:cubicBezTo>
                    <a:cubicBezTo>
                      <a:pt x="13845" y="9161"/>
                      <a:pt x="13566" y="9229"/>
                      <a:pt x="13459" y="9255"/>
                    </a:cubicBezTo>
                    <a:cubicBezTo>
                      <a:pt x="13465" y="9292"/>
                      <a:pt x="13468" y="9330"/>
                      <a:pt x="13468" y="9366"/>
                    </a:cubicBezTo>
                    <a:cubicBezTo>
                      <a:pt x="13468" y="9426"/>
                      <a:pt x="13462" y="9482"/>
                      <a:pt x="13455" y="9523"/>
                    </a:cubicBezTo>
                    <a:cubicBezTo>
                      <a:pt x="13452" y="9543"/>
                      <a:pt x="13449" y="9560"/>
                      <a:pt x="13445" y="9573"/>
                    </a:cubicBezTo>
                    <a:cubicBezTo>
                      <a:pt x="13476" y="9619"/>
                      <a:pt x="13533" y="9676"/>
                      <a:pt x="13596" y="9725"/>
                    </a:cubicBezTo>
                    <a:cubicBezTo>
                      <a:pt x="13668" y="9782"/>
                      <a:pt x="13750" y="9829"/>
                      <a:pt x="13797" y="9845"/>
                    </a:cubicBezTo>
                    <a:cubicBezTo>
                      <a:pt x="13849" y="9863"/>
                      <a:pt x="13927" y="9877"/>
                      <a:pt x="14012" y="9898"/>
                    </a:cubicBezTo>
                    <a:cubicBezTo>
                      <a:pt x="14097" y="9919"/>
                      <a:pt x="14189" y="9948"/>
                      <a:pt x="14273" y="10000"/>
                    </a:cubicBezTo>
                    <a:cubicBezTo>
                      <a:pt x="14422" y="10096"/>
                      <a:pt x="14503" y="10241"/>
                      <a:pt x="14521" y="10275"/>
                    </a:cubicBezTo>
                    <a:cubicBezTo>
                      <a:pt x="14540" y="10298"/>
                      <a:pt x="14631" y="10408"/>
                      <a:pt x="14730" y="10525"/>
                    </a:cubicBezTo>
                    <a:cubicBezTo>
                      <a:pt x="14785" y="10590"/>
                      <a:pt x="14842" y="10658"/>
                      <a:pt x="14889" y="10712"/>
                    </a:cubicBezTo>
                    <a:cubicBezTo>
                      <a:pt x="14936" y="10767"/>
                      <a:pt x="14976" y="10810"/>
                      <a:pt x="14988" y="10820"/>
                    </a:cubicBezTo>
                    <a:cubicBezTo>
                      <a:pt x="14988" y="10821"/>
                      <a:pt x="14988" y="10821"/>
                      <a:pt x="14988" y="10821"/>
                    </a:cubicBezTo>
                    <a:cubicBezTo>
                      <a:pt x="14832" y="10821"/>
                      <a:pt x="14832" y="10821"/>
                      <a:pt x="14832" y="10821"/>
                    </a:cubicBezTo>
                    <a:cubicBezTo>
                      <a:pt x="14823" y="10811"/>
                      <a:pt x="14813" y="10800"/>
                      <a:pt x="14803" y="10788"/>
                    </a:cubicBezTo>
                    <a:cubicBezTo>
                      <a:pt x="14659" y="10622"/>
                      <a:pt x="14429" y="10344"/>
                      <a:pt x="14429" y="10343"/>
                    </a:cubicBezTo>
                    <a:cubicBezTo>
                      <a:pt x="14424" y="10338"/>
                      <a:pt x="14424" y="10338"/>
                      <a:pt x="14424" y="10338"/>
                    </a:cubicBezTo>
                    <a:cubicBezTo>
                      <a:pt x="14421" y="10332"/>
                      <a:pt x="14421" y="10332"/>
                      <a:pt x="14421" y="10332"/>
                    </a:cubicBezTo>
                    <a:cubicBezTo>
                      <a:pt x="14421" y="10332"/>
                      <a:pt x="14421" y="10331"/>
                      <a:pt x="14419" y="10327"/>
                    </a:cubicBezTo>
                    <a:cubicBezTo>
                      <a:pt x="14404" y="10299"/>
                      <a:pt x="14329" y="10171"/>
                      <a:pt x="14212" y="10097"/>
                    </a:cubicBezTo>
                    <a:cubicBezTo>
                      <a:pt x="14145" y="10055"/>
                      <a:pt x="14064" y="10029"/>
                      <a:pt x="13984" y="10009"/>
                    </a:cubicBezTo>
                    <a:cubicBezTo>
                      <a:pt x="13934" y="9996"/>
                      <a:pt x="13885" y="9986"/>
                      <a:pt x="13839" y="9975"/>
                    </a:cubicBezTo>
                    <a:cubicBezTo>
                      <a:pt x="12807" y="10821"/>
                      <a:pt x="12807" y="10821"/>
                      <a:pt x="12807" y="10821"/>
                    </a:cubicBezTo>
                    <a:cubicBezTo>
                      <a:pt x="12750" y="10821"/>
                      <a:pt x="12750" y="10821"/>
                      <a:pt x="12750" y="10821"/>
                    </a:cubicBezTo>
                    <a:cubicBezTo>
                      <a:pt x="13777" y="9980"/>
                      <a:pt x="13777" y="9980"/>
                      <a:pt x="13777" y="9980"/>
                    </a:cubicBezTo>
                    <a:cubicBezTo>
                      <a:pt x="13778" y="9975"/>
                      <a:pt x="13781" y="9967"/>
                      <a:pt x="13782" y="9960"/>
                    </a:cubicBezTo>
                    <a:cubicBezTo>
                      <a:pt x="13775" y="9958"/>
                      <a:pt x="13767" y="9956"/>
                      <a:pt x="13760" y="9953"/>
                    </a:cubicBezTo>
                    <a:cubicBezTo>
                      <a:pt x="13691" y="9929"/>
                      <a:pt x="13606" y="9878"/>
                      <a:pt x="13526" y="9815"/>
                    </a:cubicBezTo>
                    <a:cubicBezTo>
                      <a:pt x="13445" y="9752"/>
                      <a:pt x="13372" y="9680"/>
                      <a:pt x="13332" y="9606"/>
                    </a:cubicBezTo>
                    <a:cubicBezTo>
                      <a:pt x="13330" y="9581"/>
                      <a:pt x="13330" y="9581"/>
                      <a:pt x="13330" y="9581"/>
                    </a:cubicBezTo>
                    <a:cubicBezTo>
                      <a:pt x="13331" y="9555"/>
                      <a:pt x="13331" y="9555"/>
                      <a:pt x="13331" y="9555"/>
                    </a:cubicBezTo>
                    <a:cubicBezTo>
                      <a:pt x="13331" y="9555"/>
                      <a:pt x="13331" y="9555"/>
                      <a:pt x="13332" y="9554"/>
                    </a:cubicBezTo>
                    <a:cubicBezTo>
                      <a:pt x="13333" y="9549"/>
                      <a:pt x="13339" y="9523"/>
                      <a:pt x="13344" y="9492"/>
                    </a:cubicBezTo>
                    <a:cubicBezTo>
                      <a:pt x="13349" y="9457"/>
                      <a:pt x="13353" y="9412"/>
                      <a:pt x="13353" y="9366"/>
                    </a:cubicBezTo>
                    <a:cubicBezTo>
                      <a:pt x="13353" y="9315"/>
                      <a:pt x="13347" y="9262"/>
                      <a:pt x="13334" y="9222"/>
                    </a:cubicBezTo>
                    <a:cubicBezTo>
                      <a:pt x="13313" y="9160"/>
                      <a:pt x="13273" y="9106"/>
                      <a:pt x="13201" y="9056"/>
                    </a:cubicBezTo>
                    <a:cubicBezTo>
                      <a:pt x="13129" y="9006"/>
                      <a:pt x="13024" y="8962"/>
                      <a:pt x="12881" y="8928"/>
                    </a:cubicBezTo>
                    <a:cubicBezTo>
                      <a:pt x="12592" y="8859"/>
                      <a:pt x="12333" y="8850"/>
                      <a:pt x="12124" y="8841"/>
                    </a:cubicBezTo>
                    <a:cubicBezTo>
                      <a:pt x="12019" y="8836"/>
                      <a:pt x="11790" y="8822"/>
                      <a:pt x="11587" y="8808"/>
                    </a:cubicBezTo>
                    <a:cubicBezTo>
                      <a:pt x="11485" y="8802"/>
                      <a:pt x="11390" y="8795"/>
                      <a:pt x="11321" y="8790"/>
                    </a:cubicBezTo>
                    <a:cubicBezTo>
                      <a:pt x="11286" y="8788"/>
                      <a:pt x="11257" y="8786"/>
                      <a:pt x="11237" y="8785"/>
                    </a:cubicBezTo>
                    <a:cubicBezTo>
                      <a:pt x="11237" y="8784"/>
                      <a:pt x="11236" y="8784"/>
                      <a:pt x="11236" y="8784"/>
                    </a:cubicBezTo>
                    <a:cubicBezTo>
                      <a:pt x="11226" y="8806"/>
                      <a:pt x="11226" y="8806"/>
                      <a:pt x="11226" y="8806"/>
                    </a:cubicBezTo>
                    <a:cubicBezTo>
                      <a:pt x="11220" y="8894"/>
                      <a:pt x="11194" y="9078"/>
                      <a:pt x="11080" y="9199"/>
                    </a:cubicBezTo>
                    <a:cubicBezTo>
                      <a:pt x="10965" y="9321"/>
                      <a:pt x="10775" y="9493"/>
                      <a:pt x="10696" y="9563"/>
                    </a:cubicBezTo>
                    <a:cubicBezTo>
                      <a:pt x="10760" y="9606"/>
                      <a:pt x="10919" y="9712"/>
                      <a:pt x="11073" y="9812"/>
                    </a:cubicBezTo>
                    <a:cubicBezTo>
                      <a:pt x="11274" y="9944"/>
                      <a:pt x="11397" y="10050"/>
                      <a:pt x="11397" y="10050"/>
                    </a:cubicBezTo>
                    <a:cubicBezTo>
                      <a:pt x="11399" y="10052"/>
                      <a:pt x="11399" y="10052"/>
                      <a:pt x="11399" y="10052"/>
                    </a:cubicBezTo>
                    <a:cubicBezTo>
                      <a:pt x="11681" y="10407"/>
                      <a:pt x="11681" y="10407"/>
                      <a:pt x="11681" y="10407"/>
                    </a:cubicBezTo>
                    <a:cubicBezTo>
                      <a:pt x="11692" y="10401"/>
                      <a:pt x="11721" y="10381"/>
                      <a:pt x="11782" y="10328"/>
                    </a:cubicBezTo>
                    <a:cubicBezTo>
                      <a:pt x="11825" y="10290"/>
                      <a:pt x="11871" y="10278"/>
                      <a:pt x="11908" y="10278"/>
                    </a:cubicBezTo>
                    <a:cubicBezTo>
                      <a:pt x="11961" y="10278"/>
                      <a:pt x="11997" y="10301"/>
                      <a:pt x="11999" y="10302"/>
                    </a:cubicBezTo>
                    <a:cubicBezTo>
                      <a:pt x="12000" y="10303"/>
                      <a:pt x="12000" y="10303"/>
                      <a:pt x="12000" y="10303"/>
                    </a:cubicBezTo>
                    <a:cubicBezTo>
                      <a:pt x="12615" y="10821"/>
                      <a:pt x="12615" y="10821"/>
                      <a:pt x="12615" y="10821"/>
                    </a:cubicBezTo>
                    <a:cubicBezTo>
                      <a:pt x="12559" y="10821"/>
                      <a:pt x="12559" y="10821"/>
                      <a:pt x="12559" y="10821"/>
                    </a:cubicBezTo>
                    <a:cubicBezTo>
                      <a:pt x="11979" y="10332"/>
                      <a:pt x="11979" y="10332"/>
                      <a:pt x="11979" y="10332"/>
                    </a:cubicBezTo>
                    <a:cubicBezTo>
                      <a:pt x="11978" y="10331"/>
                      <a:pt x="11977" y="10331"/>
                      <a:pt x="11975" y="10330"/>
                    </a:cubicBezTo>
                    <a:cubicBezTo>
                      <a:pt x="11965" y="10325"/>
                      <a:pt x="11940" y="10314"/>
                      <a:pt x="11908" y="10314"/>
                    </a:cubicBezTo>
                    <a:cubicBezTo>
                      <a:pt x="11878" y="10314"/>
                      <a:pt x="11843" y="10323"/>
                      <a:pt x="11805" y="10355"/>
                    </a:cubicBezTo>
                    <a:cubicBezTo>
                      <a:pt x="11756" y="10398"/>
                      <a:pt x="11727" y="10420"/>
                      <a:pt x="11710" y="10432"/>
                    </a:cubicBezTo>
                    <a:cubicBezTo>
                      <a:pt x="11707" y="10433"/>
                      <a:pt x="11706" y="10434"/>
                      <a:pt x="11704" y="10435"/>
                    </a:cubicBezTo>
                    <a:cubicBezTo>
                      <a:pt x="12010" y="10821"/>
                      <a:pt x="12010" y="10821"/>
                      <a:pt x="12010" y="10821"/>
                    </a:cubicBezTo>
                    <a:cubicBezTo>
                      <a:pt x="11964" y="10821"/>
                      <a:pt x="11964" y="10821"/>
                      <a:pt x="11964" y="10821"/>
                    </a:cubicBezTo>
                    <a:cubicBezTo>
                      <a:pt x="11372" y="10077"/>
                      <a:pt x="11372" y="10077"/>
                      <a:pt x="11372" y="10077"/>
                    </a:cubicBezTo>
                    <a:cubicBezTo>
                      <a:pt x="11366" y="10071"/>
                      <a:pt x="11337" y="10047"/>
                      <a:pt x="11288" y="10009"/>
                    </a:cubicBezTo>
                    <a:cubicBezTo>
                      <a:pt x="11233" y="9966"/>
                      <a:pt x="11153" y="9908"/>
                      <a:pt x="11053" y="9843"/>
                    </a:cubicBezTo>
                    <a:cubicBezTo>
                      <a:pt x="10892" y="9737"/>
                      <a:pt x="10727" y="9627"/>
                      <a:pt x="10668" y="9588"/>
                    </a:cubicBezTo>
                    <a:cubicBezTo>
                      <a:pt x="10665" y="9590"/>
                      <a:pt x="10663" y="9592"/>
                      <a:pt x="10662" y="9594"/>
                    </a:cubicBezTo>
                    <a:cubicBezTo>
                      <a:pt x="10082" y="10821"/>
                      <a:pt x="10082" y="10821"/>
                      <a:pt x="10082" y="10821"/>
                    </a:cubicBezTo>
                    <a:cubicBezTo>
                      <a:pt x="10042" y="10821"/>
                      <a:pt x="10042" y="10821"/>
                      <a:pt x="10042" y="10821"/>
                    </a:cubicBezTo>
                    <a:cubicBezTo>
                      <a:pt x="10632" y="9572"/>
                      <a:pt x="10632" y="9572"/>
                      <a:pt x="10632" y="9572"/>
                    </a:cubicBezTo>
                    <a:cubicBezTo>
                      <a:pt x="10635" y="9569"/>
                      <a:pt x="10635" y="9569"/>
                      <a:pt x="10635" y="9569"/>
                    </a:cubicBezTo>
                    <a:cubicBezTo>
                      <a:pt x="10635" y="9569"/>
                      <a:pt x="10635" y="9569"/>
                      <a:pt x="10635" y="9569"/>
                    </a:cubicBezTo>
                    <a:cubicBezTo>
                      <a:pt x="10603" y="9553"/>
                      <a:pt x="10506" y="9509"/>
                      <a:pt x="10397" y="9458"/>
                    </a:cubicBezTo>
                    <a:cubicBezTo>
                      <a:pt x="10261" y="9395"/>
                      <a:pt x="10105" y="9324"/>
                      <a:pt x="10024" y="9289"/>
                    </a:cubicBezTo>
                    <a:cubicBezTo>
                      <a:pt x="9864" y="9221"/>
                      <a:pt x="9466" y="9005"/>
                      <a:pt x="9296" y="8914"/>
                    </a:cubicBezTo>
                    <a:cubicBezTo>
                      <a:pt x="8596" y="10350"/>
                      <a:pt x="8596" y="10350"/>
                      <a:pt x="8596" y="10350"/>
                    </a:cubicBezTo>
                    <a:cubicBezTo>
                      <a:pt x="8596" y="10357"/>
                      <a:pt x="8596" y="10357"/>
                      <a:pt x="8596" y="10357"/>
                    </a:cubicBezTo>
                    <a:cubicBezTo>
                      <a:pt x="8595" y="10357"/>
                      <a:pt x="8594" y="10357"/>
                      <a:pt x="8593" y="10357"/>
                    </a:cubicBezTo>
                    <a:cubicBezTo>
                      <a:pt x="8367" y="10821"/>
                      <a:pt x="8367" y="10821"/>
                      <a:pt x="8367" y="10821"/>
                    </a:cubicBezTo>
                    <a:cubicBezTo>
                      <a:pt x="8327" y="10821"/>
                      <a:pt x="8327" y="10821"/>
                      <a:pt x="8327" y="10821"/>
                    </a:cubicBezTo>
                    <a:cubicBezTo>
                      <a:pt x="8561" y="10341"/>
                      <a:pt x="8561" y="10341"/>
                      <a:pt x="8561" y="10341"/>
                    </a:cubicBezTo>
                    <a:cubicBezTo>
                      <a:pt x="8539" y="10324"/>
                      <a:pt x="8539" y="10324"/>
                      <a:pt x="8539" y="10324"/>
                    </a:cubicBezTo>
                    <a:cubicBezTo>
                      <a:pt x="8518" y="10310"/>
                      <a:pt x="8492" y="10293"/>
                      <a:pt x="8461" y="10273"/>
                    </a:cubicBezTo>
                    <a:cubicBezTo>
                      <a:pt x="8273" y="10150"/>
                      <a:pt x="7940" y="9926"/>
                      <a:pt x="7871" y="9880"/>
                    </a:cubicBezTo>
                    <a:cubicBezTo>
                      <a:pt x="7867" y="9891"/>
                      <a:pt x="7861" y="9909"/>
                      <a:pt x="7854" y="9931"/>
                    </a:cubicBezTo>
                    <a:cubicBezTo>
                      <a:pt x="7813" y="10063"/>
                      <a:pt x="7725" y="10367"/>
                      <a:pt x="7649" y="10637"/>
                    </a:cubicBezTo>
                    <a:cubicBezTo>
                      <a:pt x="7631" y="10701"/>
                      <a:pt x="7613" y="10763"/>
                      <a:pt x="7597" y="10821"/>
                    </a:cubicBezTo>
                    <a:cubicBezTo>
                      <a:pt x="7570" y="10821"/>
                      <a:pt x="7570" y="10821"/>
                      <a:pt x="7570" y="10821"/>
                    </a:cubicBezTo>
                    <a:cubicBezTo>
                      <a:pt x="7597" y="10723"/>
                      <a:pt x="7629" y="10610"/>
                      <a:pt x="7661" y="10498"/>
                    </a:cubicBezTo>
                    <a:cubicBezTo>
                      <a:pt x="7707" y="10337"/>
                      <a:pt x="7753" y="10177"/>
                      <a:pt x="7789" y="10057"/>
                    </a:cubicBezTo>
                    <a:cubicBezTo>
                      <a:pt x="7806" y="9997"/>
                      <a:pt x="7822" y="9947"/>
                      <a:pt x="7833" y="9911"/>
                    </a:cubicBezTo>
                    <a:cubicBezTo>
                      <a:pt x="7838" y="9894"/>
                      <a:pt x="7843" y="9880"/>
                      <a:pt x="7847" y="9870"/>
                    </a:cubicBezTo>
                    <a:cubicBezTo>
                      <a:pt x="7848" y="9865"/>
                      <a:pt x="7850" y="9861"/>
                      <a:pt x="7851" y="9858"/>
                    </a:cubicBezTo>
                    <a:cubicBezTo>
                      <a:pt x="7852" y="9857"/>
                      <a:pt x="7853" y="9856"/>
                      <a:pt x="7853" y="9854"/>
                    </a:cubicBezTo>
                    <a:cubicBezTo>
                      <a:pt x="7855" y="9853"/>
                      <a:pt x="7854" y="9851"/>
                      <a:pt x="7858" y="9849"/>
                    </a:cubicBezTo>
                    <a:cubicBezTo>
                      <a:pt x="7870" y="9836"/>
                      <a:pt x="7930" y="9747"/>
                      <a:pt x="8011" y="9623"/>
                    </a:cubicBezTo>
                    <a:cubicBezTo>
                      <a:pt x="8134" y="9435"/>
                      <a:pt x="8308" y="9166"/>
                      <a:pt x="8451" y="8944"/>
                    </a:cubicBezTo>
                    <a:cubicBezTo>
                      <a:pt x="8569" y="8761"/>
                      <a:pt x="8666" y="8610"/>
                      <a:pt x="8696" y="8562"/>
                    </a:cubicBezTo>
                    <a:cubicBezTo>
                      <a:pt x="8695" y="8554"/>
                      <a:pt x="8695" y="8554"/>
                      <a:pt x="8695" y="8554"/>
                    </a:cubicBezTo>
                    <a:cubicBezTo>
                      <a:pt x="8688" y="8549"/>
                      <a:pt x="8681" y="8545"/>
                      <a:pt x="8675" y="8541"/>
                    </a:cubicBezTo>
                    <a:cubicBezTo>
                      <a:pt x="8581" y="8485"/>
                      <a:pt x="8164" y="8174"/>
                      <a:pt x="8083" y="8114"/>
                    </a:cubicBezTo>
                    <a:cubicBezTo>
                      <a:pt x="8067" y="8115"/>
                      <a:pt x="8058" y="8116"/>
                      <a:pt x="8058" y="8116"/>
                    </a:cubicBezTo>
                    <a:cubicBezTo>
                      <a:pt x="8057" y="8116"/>
                      <a:pt x="8057" y="8116"/>
                      <a:pt x="8057" y="8116"/>
                    </a:cubicBezTo>
                    <a:cubicBezTo>
                      <a:pt x="8047" y="8130"/>
                      <a:pt x="8047" y="8130"/>
                      <a:pt x="8047" y="8130"/>
                    </a:cubicBezTo>
                    <a:cubicBezTo>
                      <a:pt x="7241" y="9717"/>
                      <a:pt x="7241" y="9717"/>
                      <a:pt x="7241" y="9717"/>
                    </a:cubicBezTo>
                    <a:cubicBezTo>
                      <a:pt x="6842" y="9993"/>
                      <a:pt x="6842" y="9993"/>
                      <a:pt x="6842" y="9993"/>
                    </a:cubicBezTo>
                    <a:cubicBezTo>
                      <a:pt x="6840" y="9990"/>
                      <a:pt x="6840" y="9990"/>
                      <a:pt x="6840" y="9990"/>
                    </a:cubicBezTo>
                    <a:cubicBezTo>
                      <a:pt x="6837" y="9998"/>
                      <a:pt x="6837" y="9998"/>
                      <a:pt x="6837" y="9998"/>
                    </a:cubicBezTo>
                    <a:cubicBezTo>
                      <a:pt x="6750" y="10821"/>
                      <a:pt x="6750" y="10821"/>
                      <a:pt x="6750" y="10821"/>
                    </a:cubicBezTo>
                    <a:cubicBezTo>
                      <a:pt x="6713" y="10821"/>
                      <a:pt x="6713" y="10821"/>
                      <a:pt x="6713" y="10821"/>
                    </a:cubicBezTo>
                    <a:cubicBezTo>
                      <a:pt x="6802" y="9991"/>
                      <a:pt x="6802" y="9991"/>
                      <a:pt x="6802" y="9991"/>
                    </a:cubicBezTo>
                    <a:cubicBezTo>
                      <a:pt x="7479" y="7873"/>
                      <a:pt x="7479" y="7873"/>
                      <a:pt x="7479" y="7873"/>
                    </a:cubicBezTo>
                    <a:cubicBezTo>
                      <a:pt x="7480" y="7870"/>
                      <a:pt x="7481" y="7860"/>
                      <a:pt x="7482" y="7853"/>
                    </a:cubicBezTo>
                    <a:cubicBezTo>
                      <a:pt x="7385" y="7832"/>
                      <a:pt x="7294" y="7823"/>
                      <a:pt x="7211" y="7823"/>
                    </a:cubicBezTo>
                    <a:cubicBezTo>
                      <a:pt x="7146" y="7823"/>
                      <a:pt x="7086" y="7828"/>
                      <a:pt x="7030" y="7836"/>
                    </a:cubicBezTo>
                    <a:cubicBezTo>
                      <a:pt x="7024" y="7846"/>
                      <a:pt x="7024" y="7846"/>
                      <a:pt x="7024" y="7846"/>
                    </a:cubicBezTo>
                    <a:cubicBezTo>
                      <a:pt x="6944" y="8087"/>
                      <a:pt x="6299" y="9986"/>
                      <a:pt x="6282" y="10036"/>
                    </a:cubicBezTo>
                    <a:cubicBezTo>
                      <a:pt x="6129" y="10821"/>
                      <a:pt x="6129" y="10821"/>
                      <a:pt x="6129" y="10821"/>
                    </a:cubicBezTo>
                    <a:cubicBezTo>
                      <a:pt x="6092" y="10821"/>
                      <a:pt x="6092" y="10821"/>
                      <a:pt x="6092" y="10821"/>
                    </a:cubicBezTo>
                    <a:cubicBezTo>
                      <a:pt x="6247" y="10027"/>
                      <a:pt x="6247" y="10027"/>
                      <a:pt x="6247" y="10027"/>
                    </a:cubicBezTo>
                    <a:cubicBezTo>
                      <a:pt x="6247" y="10026"/>
                      <a:pt x="6247" y="10026"/>
                      <a:pt x="6247" y="10026"/>
                    </a:cubicBezTo>
                    <a:cubicBezTo>
                      <a:pt x="6247" y="10026"/>
                      <a:pt x="6247" y="10025"/>
                      <a:pt x="6247" y="10025"/>
                    </a:cubicBezTo>
                    <a:cubicBezTo>
                      <a:pt x="6228" y="10026"/>
                      <a:pt x="6137" y="10027"/>
                      <a:pt x="6000" y="10035"/>
                    </a:cubicBezTo>
                    <a:cubicBezTo>
                      <a:pt x="5941" y="10821"/>
                      <a:pt x="5941" y="10821"/>
                      <a:pt x="5941" y="10821"/>
                    </a:cubicBezTo>
                    <a:cubicBezTo>
                      <a:pt x="5904" y="10821"/>
                      <a:pt x="5904" y="10821"/>
                      <a:pt x="5904" y="10821"/>
                    </a:cubicBezTo>
                    <a:cubicBezTo>
                      <a:pt x="5964" y="10037"/>
                      <a:pt x="5964" y="10037"/>
                      <a:pt x="5964" y="10037"/>
                    </a:cubicBezTo>
                    <a:cubicBezTo>
                      <a:pt x="5911" y="10040"/>
                      <a:pt x="5854" y="10044"/>
                      <a:pt x="5792" y="10049"/>
                    </a:cubicBezTo>
                    <a:cubicBezTo>
                      <a:pt x="5558" y="10067"/>
                      <a:pt x="5263" y="10100"/>
                      <a:pt x="4977" y="10157"/>
                    </a:cubicBezTo>
                    <a:cubicBezTo>
                      <a:pt x="4981" y="10190"/>
                      <a:pt x="5015" y="10487"/>
                      <a:pt x="5052" y="10797"/>
                    </a:cubicBezTo>
                    <a:cubicBezTo>
                      <a:pt x="5052" y="10805"/>
                      <a:pt x="5053" y="10813"/>
                      <a:pt x="5054" y="10821"/>
                    </a:cubicBezTo>
                    <a:cubicBezTo>
                      <a:pt x="5018" y="10821"/>
                      <a:pt x="5018" y="10821"/>
                      <a:pt x="5018" y="10821"/>
                    </a:cubicBezTo>
                    <a:cubicBezTo>
                      <a:pt x="4981" y="10512"/>
                      <a:pt x="4947" y="10210"/>
                      <a:pt x="4941" y="10165"/>
                    </a:cubicBezTo>
                    <a:cubicBezTo>
                      <a:pt x="4907" y="10172"/>
                      <a:pt x="4873" y="10179"/>
                      <a:pt x="4840" y="10187"/>
                    </a:cubicBezTo>
                    <a:cubicBezTo>
                      <a:pt x="4513" y="10263"/>
                      <a:pt x="4099" y="10384"/>
                      <a:pt x="3767" y="10487"/>
                    </a:cubicBezTo>
                    <a:cubicBezTo>
                      <a:pt x="3601" y="10538"/>
                      <a:pt x="3456" y="10585"/>
                      <a:pt x="3352" y="10619"/>
                    </a:cubicBezTo>
                    <a:cubicBezTo>
                      <a:pt x="3300" y="10636"/>
                      <a:pt x="3258" y="10650"/>
                      <a:pt x="3229" y="10660"/>
                    </a:cubicBezTo>
                    <a:cubicBezTo>
                      <a:pt x="3219" y="10664"/>
                      <a:pt x="3211" y="10667"/>
                      <a:pt x="3204" y="10669"/>
                    </a:cubicBezTo>
                    <a:cubicBezTo>
                      <a:pt x="3319" y="10821"/>
                      <a:pt x="3319" y="10821"/>
                      <a:pt x="3319" y="10821"/>
                    </a:cubicBezTo>
                    <a:cubicBezTo>
                      <a:pt x="3270" y="10821"/>
                      <a:pt x="3270" y="10821"/>
                      <a:pt x="3270" y="10821"/>
                    </a:cubicBezTo>
                    <a:cubicBezTo>
                      <a:pt x="3166" y="10686"/>
                      <a:pt x="3166" y="10686"/>
                      <a:pt x="3166" y="10686"/>
                    </a:cubicBezTo>
                    <a:cubicBezTo>
                      <a:pt x="3120" y="10704"/>
                      <a:pt x="3012" y="10748"/>
                      <a:pt x="2920" y="10821"/>
                    </a:cubicBezTo>
                    <a:cubicBezTo>
                      <a:pt x="2751" y="10821"/>
                      <a:pt x="2751" y="10821"/>
                      <a:pt x="2751" y="10821"/>
                    </a:cubicBezTo>
                    <a:cubicBezTo>
                      <a:pt x="2749" y="10821"/>
                      <a:pt x="2748" y="10821"/>
                      <a:pt x="2747" y="10820"/>
                    </a:cubicBezTo>
                    <a:cubicBezTo>
                      <a:pt x="2674" y="10807"/>
                      <a:pt x="2571" y="10793"/>
                      <a:pt x="2453" y="10786"/>
                    </a:cubicBezTo>
                    <a:cubicBezTo>
                      <a:pt x="2356" y="10781"/>
                      <a:pt x="2274" y="10778"/>
                      <a:pt x="2204" y="10778"/>
                    </a:cubicBezTo>
                    <a:cubicBezTo>
                      <a:pt x="2102" y="10778"/>
                      <a:pt x="2026" y="10784"/>
                      <a:pt x="1967" y="10797"/>
                    </a:cubicBezTo>
                    <a:cubicBezTo>
                      <a:pt x="1945" y="10802"/>
                      <a:pt x="1917" y="10811"/>
                      <a:pt x="1884" y="10821"/>
                    </a:cubicBezTo>
                    <a:cubicBezTo>
                      <a:pt x="1771" y="10821"/>
                      <a:pt x="1771" y="10821"/>
                      <a:pt x="1771" y="10821"/>
                    </a:cubicBezTo>
                    <a:cubicBezTo>
                      <a:pt x="1842" y="10794"/>
                      <a:pt x="1913" y="10771"/>
                      <a:pt x="1959" y="10760"/>
                    </a:cubicBezTo>
                    <a:cubicBezTo>
                      <a:pt x="2022" y="10746"/>
                      <a:pt x="2101" y="10740"/>
                      <a:pt x="2204" y="10740"/>
                    </a:cubicBezTo>
                    <a:cubicBezTo>
                      <a:pt x="2275" y="10740"/>
                      <a:pt x="2358" y="10743"/>
                      <a:pt x="2455" y="10749"/>
                    </a:cubicBezTo>
                    <a:cubicBezTo>
                      <a:pt x="2670" y="10761"/>
                      <a:pt x="2842" y="10801"/>
                      <a:pt x="2876" y="10809"/>
                    </a:cubicBezTo>
                    <a:cubicBezTo>
                      <a:pt x="2885" y="10801"/>
                      <a:pt x="2891" y="10796"/>
                      <a:pt x="2891" y="10796"/>
                    </a:cubicBezTo>
                    <a:cubicBezTo>
                      <a:pt x="2892" y="10798"/>
                      <a:pt x="2892" y="10798"/>
                      <a:pt x="2892" y="10798"/>
                    </a:cubicBezTo>
                    <a:cubicBezTo>
                      <a:pt x="2947" y="10751"/>
                      <a:pt x="3003" y="10715"/>
                      <a:pt x="3059" y="10690"/>
                    </a:cubicBezTo>
                    <a:cubicBezTo>
                      <a:pt x="3091" y="10676"/>
                      <a:pt x="3120" y="10665"/>
                      <a:pt x="3141" y="10657"/>
                    </a:cubicBezTo>
                    <a:cubicBezTo>
                      <a:pt x="3151" y="10654"/>
                      <a:pt x="3159" y="10651"/>
                      <a:pt x="3164" y="10648"/>
                    </a:cubicBezTo>
                    <a:cubicBezTo>
                      <a:pt x="3165" y="10648"/>
                      <a:pt x="3165" y="10648"/>
                      <a:pt x="3166" y="10648"/>
                    </a:cubicBezTo>
                    <a:cubicBezTo>
                      <a:pt x="3167" y="10647"/>
                      <a:pt x="3168" y="10646"/>
                      <a:pt x="3168" y="10646"/>
                    </a:cubicBezTo>
                    <a:cubicBezTo>
                      <a:pt x="3173" y="10642"/>
                      <a:pt x="3174" y="10643"/>
                      <a:pt x="3177" y="10641"/>
                    </a:cubicBezTo>
                    <a:cubicBezTo>
                      <a:pt x="3243" y="10614"/>
                      <a:pt x="3975" y="10373"/>
                      <a:pt x="4580" y="10214"/>
                    </a:cubicBezTo>
                    <a:cubicBezTo>
                      <a:pt x="4149" y="9274"/>
                      <a:pt x="4149" y="9274"/>
                      <a:pt x="4149" y="9274"/>
                    </a:cubicBezTo>
                    <a:cubicBezTo>
                      <a:pt x="4035" y="8999"/>
                      <a:pt x="4035" y="8999"/>
                      <a:pt x="4035" y="8999"/>
                    </a:cubicBezTo>
                    <a:cubicBezTo>
                      <a:pt x="4030" y="8999"/>
                      <a:pt x="4025" y="8998"/>
                      <a:pt x="4020" y="8998"/>
                    </a:cubicBezTo>
                    <a:cubicBezTo>
                      <a:pt x="3974" y="9010"/>
                      <a:pt x="3856" y="9041"/>
                      <a:pt x="3742" y="9077"/>
                    </a:cubicBezTo>
                    <a:cubicBezTo>
                      <a:pt x="3601" y="9121"/>
                      <a:pt x="3530" y="9172"/>
                      <a:pt x="3490" y="9224"/>
                    </a:cubicBezTo>
                    <a:cubicBezTo>
                      <a:pt x="3450" y="9276"/>
                      <a:pt x="3441" y="9331"/>
                      <a:pt x="3426" y="9385"/>
                    </a:cubicBezTo>
                    <a:cubicBezTo>
                      <a:pt x="3398" y="9489"/>
                      <a:pt x="3389" y="9712"/>
                      <a:pt x="3299" y="9839"/>
                    </a:cubicBezTo>
                    <a:cubicBezTo>
                      <a:pt x="3255" y="9899"/>
                      <a:pt x="3231" y="9923"/>
                      <a:pt x="3183" y="9949"/>
                    </a:cubicBezTo>
                    <a:cubicBezTo>
                      <a:pt x="3134" y="9975"/>
                      <a:pt x="3062" y="10006"/>
                      <a:pt x="2912" y="10089"/>
                    </a:cubicBezTo>
                    <a:cubicBezTo>
                      <a:pt x="2748" y="10179"/>
                      <a:pt x="2576" y="10199"/>
                      <a:pt x="2458" y="10199"/>
                    </a:cubicBezTo>
                    <a:cubicBezTo>
                      <a:pt x="2398" y="10199"/>
                      <a:pt x="2355" y="10193"/>
                      <a:pt x="2332" y="10189"/>
                    </a:cubicBezTo>
                    <a:cubicBezTo>
                      <a:pt x="2332" y="10188"/>
                      <a:pt x="2332" y="10188"/>
                      <a:pt x="2332" y="10188"/>
                    </a:cubicBezTo>
                    <a:cubicBezTo>
                      <a:pt x="2332" y="10188"/>
                      <a:pt x="2329" y="10188"/>
                      <a:pt x="2325" y="10187"/>
                    </a:cubicBezTo>
                    <a:cubicBezTo>
                      <a:pt x="2216" y="10731"/>
                      <a:pt x="2216" y="10731"/>
                      <a:pt x="2216" y="10731"/>
                    </a:cubicBezTo>
                    <a:cubicBezTo>
                      <a:pt x="2192" y="10726"/>
                      <a:pt x="2192" y="10726"/>
                      <a:pt x="2192" y="10726"/>
                    </a:cubicBezTo>
                    <a:cubicBezTo>
                      <a:pt x="2301" y="10183"/>
                      <a:pt x="2301" y="10183"/>
                      <a:pt x="2301" y="10183"/>
                    </a:cubicBezTo>
                    <a:cubicBezTo>
                      <a:pt x="2261" y="10174"/>
                      <a:pt x="2189" y="10158"/>
                      <a:pt x="2139" y="10137"/>
                    </a:cubicBezTo>
                    <a:cubicBezTo>
                      <a:pt x="2070" y="10109"/>
                      <a:pt x="2011" y="10048"/>
                      <a:pt x="1992" y="10028"/>
                    </a:cubicBezTo>
                    <a:cubicBezTo>
                      <a:pt x="1627" y="10183"/>
                      <a:pt x="1627" y="10183"/>
                      <a:pt x="1627" y="10183"/>
                    </a:cubicBezTo>
                    <a:cubicBezTo>
                      <a:pt x="1625" y="10221"/>
                      <a:pt x="1609" y="10382"/>
                      <a:pt x="1609" y="10383"/>
                    </a:cubicBezTo>
                    <a:cubicBezTo>
                      <a:pt x="1585" y="10381"/>
                      <a:pt x="1585" y="10381"/>
                      <a:pt x="1585" y="10381"/>
                    </a:cubicBezTo>
                    <a:cubicBezTo>
                      <a:pt x="1585" y="10381"/>
                      <a:pt x="1585" y="10381"/>
                      <a:pt x="1585" y="10381"/>
                    </a:cubicBezTo>
                    <a:cubicBezTo>
                      <a:pt x="1585" y="10380"/>
                      <a:pt x="1601" y="10212"/>
                      <a:pt x="1603" y="10180"/>
                    </a:cubicBezTo>
                    <a:cubicBezTo>
                      <a:pt x="1344" y="9960"/>
                      <a:pt x="1344" y="9960"/>
                      <a:pt x="1344" y="9960"/>
                    </a:cubicBezTo>
                    <a:cubicBezTo>
                      <a:pt x="1359" y="9941"/>
                      <a:pt x="1359" y="9941"/>
                      <a:pt x="1359" y="9941"/>
                    </a:cubicBezTo>
                    <a:cubicBezTo>
                      <a:pt x="1617" y="10160"/>
                      <a:pt x="1617" y="10160"/>
                      <a:pt x="1617" y="10160"/>
                    </a:cubicBezTo>
                    <a:cubicBezTo>
                      <a:pt x="1999" y="9999"/>
                      <a:pt x="1999" y="9999"/>
                      <a:pt x="1999" y="9999"/>
                    </a:cubicBezTo>
                    <a:cubicBezTo>
                      <a:pt x="2005" y="10006"/>
                      <a:pt x="2005" y="10006"/>
                      <a:pt x="2005" y="10006"/>
                    </a:cubicBezTo>
                    <a:cubicBezTo>
                      <a:pt x="2005" y="10006"/>
                      <a:pt x="2022" y="10025"/>
                      <a:pt x="2048" y="10048"/>
                    </a:cubicBezTo>
                    <a:cubicBezTo>
                      <a:pt x="2075" y="10072"/>
                      <a:pt x="2111" y="10099"/>
                      <a:pt x="2148" y="10115"/>
                    </a:cubicBezTo>
                    <a:cubicBezTo>
                      <a:pt x="2203" y="10138"/>
                      <a:pt x="2291" y="10156"/>
                      <a:pt x="2327" y="10162"/>
                    </a:cubicBezTo>
                    <a:cubicBezTo>
                      <a:pt x="2329" y="10162"/>
                      <a:pt x="2329" y="10162"/>
                      <a:pt x="2329" y="10162"/>
                    </a:cubicBezTo>
                    <a:cubicBezTo>
                      <a:pt x="2328" y="10162"/>
                      <a:pt x="2369" y="10173"/>
                      <a:pt x="2458" y="10173"/>
                    </a:cubicBezTo>
                    <a:cubicBezTo>
                      <a:pt x="2573" y="10173"/>
                      <a:pt x="2741" y="10154"/>
                      <a:pt x="2899" y="10066"/>
                    </a:cubicBezTo>
                    <a:cubicBezTo>
                      <a:pt x="3049" y="9983"/>
                      <a:pt x="3124" y="9951"/>
                      <a:pt x="3170" y="9926"/>
                    </a:cubicBezTo>
                    <a:cubicBezTo>
                      <a:pt x="3216" y="9901"/>
                      <a:pt x="3234" y="9884"/>
                      <a:pt x="3277" y="9823"/>
                    </a:cubicBezTo>
                    <a:cubicBezTo>
                      <a:pt x="3361" y="9708"/>
                      <a:pt x="3372" y="9487"/>
                      <a:pt x="3401" y="9378"/>
                    </a:cubicBezTo>
                    <a:cubicBezTo>
                      <a:pt x="3415" y="9326"/>
                      <a:pt x="3425" y="9266"/>
                      <a:pt x="3469" y="9208"/>
                    </a:cubicBezTo>
                    <a:cubicBezTo>
                      <a:pt x="3513" y="9151"/>
                      <a:pt x="3590" y="9097"/>
                      <a:pt x="3734" y="9052"/>
                    </a:cubicBezTo>
                    <a:cubicBezTo>
                      <a:pt x="3838" y="9019"/>
                      <a:pt x="3945" y="8990"/>
                      <a:pt x="3999" y="8976"/>
                    </a:cubicBezTo>
                    <a:cubicBezTo>
                      <a:pt x="4003" y="8972"/>
                      <a:pt x="4011" y="8966"/>
                      <a:pt x="4018" y="8961"/>
                    </a:cubicBezTo>
                    <a:cubicBezTo>
                      <a:pt x="3810" y="8461"/>
                      <a:pt x="3810" y="8461"/>
                      <a:pt x="3810" y="8461"/>
                    </a:cubicBezTo>
                    <a:cubicBezTo>
                      <a:pt x="3582" y="8577"/>
                      <a:pt x="2822" y="8977"/>
                      <a:pt x="2107" y="9364"/>
                    </a:cubicBezTo>
                    <a:cubicBezTo>
                      <a:pt x="2085" y="9384"/>
                      <a:pt x="2085" y="9384"/>
                      <a:pt x="2085" y="9384"/>
                    </a:cubicBezTo>
                    <a:cubicBezTo>
                      <a:pt x="1714" y="9585"/>
                      <a:pt x="1373" y="9769"/>
                      <a:pt x="1107" y="9912"/>
                    </a:cubicBezTo>
                    <a:cubicBezTo>
                      <a:pt x="852" y="10050"/>
                      <a:pt x="683" y="10142"/>
                      <a:pt x="669" y="10150"/>
                    </a:cubicBezTo>
                    <a:cubicBezTo>
                      <a:pt x="665" y="10152"/>
                      <a:pt x="645" y="10164"/>
                      <a:pt x="619" y="10180"/>
                    </a:cubicBezTo>
                    <a:cubicBezTo>
                      <a:pt x="627" y="10190"/>
                      <a:pt x="636" y="10200"/>
                      <a:pt x="646" y="10211"/>
                    </a:cubicBezTo>
                    <a:cubicBezTo>
                      <a:pt x="766" y="10350"/>
                      <a:pt x="942" y="10555"/>
                      <a:pt x="1089" y="10724"/>
                    </a:cubicBezTo>
                    <a:cubicBezTo>
                      <a:pt x="1118" y="10758"/>
                      <a:pt x="1147" y="10791"/>
                      <a:pt x="1173" y="10821"/>
                    </a:cubicBezTo>
                    <a:cubicBezTo>
                      <a:pt x="1123" y="10821"/>
                      <a:pt x="1123" y="10821"/>
                      <a:pt x="1123" y="10821"/>
                    </a:cubicBezTo>
                    <a:cubicBezTo>
                      <a:pt x="1056" y="10743"/>
                      <a:pt x="978" y="10654"/>
                      <a:pt x="901" y="10564"/>
                    </a:cubicBezTo>
                    <a:cubicBezTo>
                      <a:pt x="795" y="10442"/>
                      <a:pt x="689" y="10320"/>
                      <a:pt x="610" y="10228"/>
                    </a:cubicBezTo>
                    <a:cubicBezTo>
                      <a:pt x="602" y="10218"/>
                      <a:pt x="594" y="10209"/>
                      <a:pt x="586" y="10199"/>
                    </a:cubicBezTo>
                    <a:cubicBezTo>
                      <a:pt x="543" y="10225"/>
                      <a:pt x="511" y="10246"/>
                      <a:pt x="469" y="10273"/>
                    </a:cubicBezTo>
                    <a:cubicBezTo>
                      <a:pt x="469" y="10273"/>
                      <a:pt x="396" y="10296"/>
                      <a:pt x="384" y="10297"/>
                    </a:cubicBezTo>
                    <a:cubicBezTo>
                      <a:pt x="298" y="10312"/>
                      <a:pt x="298" y="10312"/>
                      <a:pt x="298" y="10312"/>
                    </a:cubicBezTo>
                    <a:cubicBezTo>
                      <a:pt x="270" y="10317"/>
                      <a:pt x="237" y="10321"/>
                      <a:pt x="204" y="10324"/>
                    </a:cubicBezTo>
                    <a:cubicBezTo>
                      <a:pt x="166" y="10366"/>
                      <a:pt x="125" y="10409"/>
                      <a:pt x="85" y="10453"/>
                    </a:cubicBezTo>
                    <a:cubicBezTo>
                      <a:pt x="56" y="10484"/>
                      <a:pt x="28" y="10514"/>
                      <a:pt x="0" y="10544"/>
                    </a:cubicBezTo>
                    <a:cubicBezTo>
                      <a:pt x="0" y="10363"/>
                      <a:pt x="0" y="10363"/>
                      <a:pt x="0" y="10363"/>
                    </a:cubicBezTo>
                    <a:cubicBezTo>
                      <a:pt x="7" y="10356"/>
                      <a:pt x="13" y="10349"/>
                      <a:pt x="19" y="10343"/>
                    </a:cubicBezTo>
                    <a:cubicBezTo>
                      <a:pt x="13" y="10343"/>
                      <a:pt x="7" y="10344"/>
                      <a:pt x="0" y="10344"/>
                    </a:cubicBezTo>
                    <a:cubicBezTo>
                      <a:pt x="0" y="10080"/>
                      <a:pt x="0" y="10080"/>
                      <a:pt x="0" y="10080"/>
                    </a:cubicBezTo>
                    <a:cubicBezTo>
                      <a:pt x="32" y="10062"/>
                      <a:pt x="71" y="10047"/>
                      <a:pt x="112" y="10044"/>
                    </a:cubicBezTo>
                    <a:cubicBezTo>
                      <a:pt x="162" y="10039"/>
                      <a:pt x="225" y="10046"/>
                      <a:pt x="285" y="10056"/>
                    </a:cubicBezTo>
                    <a:cubicBezTo>
                      <a:pt x="310" y="10029"/>
                      <a:pt x="327" y="10011"/>
                      <a:pt x="332" y="10006"/>
                    </a:cubicBezTo>
                    <a:cubicBezTo>
                      <a:pt x="351" y="9986"/>
                      <a:pt x="373" y="9971"/>
                      <a:pt x="392" y="9958"/>
                    </a:cubicBezTo>
                    <a:cubicBezTo>
                      <a:pt x="414" y="9944"/>
                      <a:pt x="438" y="9932"/>
                      <a:pt x="444" y="9929"/>
                    </a:cubicBezTo>
                    <a:cubicBezTo>
                      <a:pt x="1276" y="9483"/>
                      <a:pt x="1276" y="9483"/>
                      <a:pt x="1276" y="9483"/>
                    </a:cubicBezTo>
                    <a:cubicBezTo>
                      <a:pt x="2197" y="8993"/>
                      <a:pt x="2197" y="8993"/>
                      <a:pt x="2197" y="8993"/>
                    </a:cubicBezTo>
                    <a:cubicBezTo>
                      <a:pt x="2201" y="8991"/>
                      <a:pt x="2201" y="8991"/>
                      <a:pt x="2201" y="8991"/>
                    </a:cubicBezTo>
                    <a:cubicBezTo>
                      <a:pt x="2201" y="8991"/>
                      <a:pt x="2260" y="8962"/>
                      <a:pt x="2393" y="8892"/>
                    </a:cubicBezTo>
                    <a:cubicBezTo>
                      <a:pt x="2593" y="8786"/>
                      <a:pt x="2893" y="8627"/>
                      <a:pt x="3147" y="8492"/>
                    </a:cubicBezTo>
                    <a:cubicBezTo>
                      <a:pt x="3274" y="8424"/>
                      <a:pt x="3390" y="8362"/>
                      <a:pt x="3475" y="8316"/>
                    </a:cubicBezTo>
                    <a:cubicBezTo>
                      <a:pt x="3518" y="8293"/>
                      <a:pt x="3554" y="8274"/>
                      <a:pt x="3579" y="8260"/>
                    </a:cubicBezTo>
                    <a:cubicBezTo>
                      <a:pt x="3592" y="8253"/>
                      <a:pt x="3602" y="8247"/>
                      <a:pt x="3609" y="8243"/>
                    </a:cubicBezTo>
                    <a:cubicBezTo>
                      <a:pt x="3613" y="8241"/>
                      <a:pt x="3615" y="8239"/>
                      <a:pt x="3617" y="8238"/>
                    </a:cubicBezTo>
                    <a:cubicBezTo>
                      <a:pt x="3618" y="8238"/>
                      <a:pt x="3619" y="8237"/>
                      <a:pt x="3619" y="8237"/>
                    </a:cubicBezTo>
                    <a:cubicBezTo>
                      <a:pt x="3636" y="8225"/>
                      <a:pt x="3679" y="8189"/>
                      <a:pt x="3733" y="8152"/>
                    </a:cubicBezTo>
                    <a:cubicBezTo>
                      <a:pt x="3788" y="8114"/>
                      <a:pt x="3856" y="8075"/>
                      <a:pt x="3933" y="8054"/>
                    </a:cubicBezTo>
                    <a:cubicBezTo>
                      <a:pt x="3936" y="8053"/>
                      <a:pt x="3939" y="8052"/>
                      <a:pt x="3942" y="8051"/>
                    </a:cubicBezTo>
                    <a:cubicBezTo>
                      <a:pt x="3936" y="8035"/>
                      <a:pt x="3936" y="8035"/>
                      <a:pt x="3936" y="8035"/>
                    </a:cubicBezTo>
                    <a:cubicBezTo>
                      <a:pt x="3928" y="8018"/>
                      <a:pt x="3904" y="7973"/>
                      <a:pt x="3894" y="7923"/>
                    </a:cubicBezTo>
                    <a:cubicBezTo>
                      <a:pt x="3893" y="7923"/>
                      <a:pt x="3893" y="7923"/>
                      <a:pt x="3893" y="7923"/>
                    </a:cubicBezTo>
                    <a:cubicBezTo>
                      <a:pt x="3893" y="7917"/>
                      <a:pt x="3893" y="7917"/>
                      <a:pt x="3893" y="7917"/>
                    </a:cubicBezTo>
                    <a:cubicBezTo>
                      <a:pt x="3893" y="7917"/>
                      <a:pt x="3892" y="7915"/>
                      <a:pt x="3892" y="7913"/>
                    </a:cubicBezTo>
                    <a:cubicBezTo>
                      <a:pt x="3892" y="7911"/>
                      <a:pt x="3891" y="7909"/>
                      <a:pt x="3891" y="7908"/>
                    </a:cubicBezTo>
                    <a:cubicBezTo>
                      <a:pt x="3891" y="7908"/>
                      <a:pt x="3891" y="7908"/>
                      <a:pt x="3891" y="7908"/>
                    </a:cubicBezTo>
                    <a:cubicBezTo>
                      <a:pt x="3886" y="7875"/>
                      <a:pt x="3869" y="7761"/>
                      <a:pt x="3869" y="7700"/>
                    </a:cubicBezTo>
                    <a:cubicBezTo>
                      <a:pt x="3869" y="7697"/>
                      <a:pt x="3869" y="7694"/>
                      <a:pt x="3869" y="7692"/>
                    </a:cubicBezTo>
                    <a:cubicBezTo>
                      <a:pt x="3868" y="7683"/>
                      <a:pt x="3866" y="7655"/>
                      <a:pt x="3863" y="7635"/>
                    </a:cubicBezTo>
                    <a:cubicBezTo>
                      <a:pt x="3861" y="7629"/>
                      <a:pt x="3860" y="7624"/>
                      <a:pt x="3859" y="7621"/>
                    </a:cubicBezTo>
                    <a:cubicBezTo>
                      <a:pt x="3858" y="7620"/>
                      <a:pt x="3858" y="7619"/>
                      <a:pt x="3858" y="7618"/>
                    </a:cubicBezTo>
                    <a:cubicBezTo>
                      <a:pt x="3671" y="7401"/>
                      <a:pt x="3671" y="7401"/>
                      <a:pt x="3671" y="7401"/>
                    </a:cubicBezTo>
                    <a:cubicBezTo>
                      <a:pt x="3669" y="7400"/>
                      <a:pt x="3669" y="7400"/>
                      <a:pt x="3669" y="7400"/>
                    </a:cubicBezTo>
                    <a:cubicBezTo>
                      <a:pt x="3669" y="7400"/>
                      <a:pt x="3632" y="7353"/>
                      <a:pt x="3576" y="7294"/>
                    </a:cubicBezTo>
                    <a:cubicBezTo>
                      <a:pt x="3563" y="7280"/>
                      <a:pt x="3549" y="7266"/>
                      <a:pt x="3535" y="7252"/>
                    </a:cubicBezTo>
                    <a:cubicBezTo>
                      <a:pt x="3520" y="7253"/>
                      <a:pt x="3472" y="7260"/>
                      <a:pt x="3416" y="7271"/>
                    </a:cubicBezTo>
                    <a:cubicBezTo>
                      <a:pt x="3348" y="7284"/>
                      <a:pt x="3270" y="7306"/>
                      <a:pt x="3233" y="7331"/>
                    </a:cubicBezTo>
                    <a:cubicBezTo>
                      <a:pt x="3157" y="7383"/>
                      <a:pt x="3011" y="7503"/>
                      <a:pt x="2845" y="7503"/>
                    </a:cubicBezTo>
                    <a:cubicBezTo>
                      <a:pt x="2832" y="7503"/>
                      <a:pt x="2818" y="7502"/>
                      <a:pt x="2804" y="7501"/>
                    </a:cubicBezTo>
                    <a:cubicBezTo>
                      <a:pt x="2770" y="7496"/>
                      <a:pt x="2738" y="7488"/>
                      <a:pt x="2707" y="7479"/>
                    </a:cubicBezTo>
                    <a:cubicBezTo>
                      <a:pt x="2700" y="7492"/>
                      <a:pt x="2700" y="7492"/>
                      <a:pt x="2700" y="7492"/>
                    </a:cubicBezTo>
                    <a:cubicBezTo>
                      <a:pt x="2497" y="7950"/>
                      <a:pt x="2497" y="7950"/>
                      <a:pt x="2497" y="7950"/>
                    </a:cubicBezTo>
                    <a:cubicBezTo>
                      <a:pt x="2497" y="7951"/>
                      <a:pt x="2497" y="7951"/>
                      <a:pt x="2497" y="7951"/>
                    </a:cubicBezTo>
                    <a:cubicBezTo>
                      <a:pt x="2497" y="7951"/>
                      <a:pt x="2497" y="7951"/>
                      <a:pt x="2497" y="7951"/>
                    </a:cubicBezTo>
                    <a:cubicBezTo>
                      <a:pt x="2495" y="7954"/>
                      <a:pt x="2495" y="7954"/>
                      <a:pt x="2495" y="7954"/>
                    </a:cubicBezTo>
                    <a:cubicBezTo>
                      <a:pt x="2493" y="7953"/>
                      <a:pt x="2493" y="7953"/>
                      <a:pt x="2493" y="7953"/>
                    </a:cubicBezTo>
                    <a:cubicBezTo>
                      <a:pt x="2271" y="8103"/>
                      <a:pt x="2271" y="8103"/>
                      <a:pt x="2271" y="8103"/>
                    </a:cubicBezTo>
                    <a:cubicBezTo>
                      <a:pt x="2532" y="8646"/>
                      <a:pt x="2532" y="8646"/>
                      <a:pt x="2532" y="8646"/>
                    </a:cubicBezTo>
                    <a:cubicBezTo>
                      <a:pt x="2534" y="8644"/>
                      <a:pt x="2534" y="8644"/>
                      <a:pt x="2534" y="8644"/>
                    </a:cubicBezTo>
                    <a:cubicBezTo>
                      <a:pt x="2592" y="8768"/>
                      <a:pt x="2592" y="8768"/>
                      <a:pt x="2592" y="8768"/>
                    </a:cubicBezTo>
                    <a:cubicBezTo>
                      <a:pt x="2569" y="8779"/>
                      <a:pt x="2569" y="8779"/>
                      <a:pt x="2569" y="8779"/>
                    </a:cubicBezTo>
                    <a:cubicBezTo>
                      <a:pt x="2520" y="8676"/>
                      <a:pt x="2520" y="8676"/>
                      <a:pt x="2520" y="8676"/>
                    </a:cubicBezTo>
                    <a:cubicBezTo>
                      <a:pt x="2519" y="8677"/>
                      <a:pt x="2519" y="8677"/>
                      <a:pt x="2519" y="8677"/>
                    </a:cubicBezTo>
                    <a:cubicBezTo>
                      <a:pt x="2251" y="8117"/>
                      <a:pt x="2251" y="8117"/>
                      <a:pt x="2251" y="8117"/>
                    </a:cubicBezTo>
                    <a:cubicBezTo>
                      <a:pt x="1998" y="8289"/>
                      <a:pt x="1998" y="8289"/>
                      <a:pt x="1998" y="8289"/>
                    </a:cubicBezTo>
                    <a:cubicBezTo>
                      <a:pt x="1658" y="8315"/>
                      <a:pt x="1658" y="8315"/>
                      <a:pt x="1658" y="8315"/>
                    </a:cubicBezTo>
                    <a:cubicBezTo>
                      <a:pt x="1644" y="8341"/>
                      <a:pt x="1581" y="8448"/>
                      <a:pt x="1519" y="8555"/>
                    </a:cubicBezTo>
                    <a:cubicBezTo>
                      <a:pt x="1483" y="8617"/>
                      <a:pt x="1447" y="8678"/>
                      <a:pt x="1421" y="8724"/>
                    </a:cubicBezTo>
                    <a:cubicBezTo>
                      <a:pt x="1407" y="8747"/>
                      <a:pt x="1396" y="8766"/>
                      <a:pt x="1388" y="8780"/>
                    </a:cubicBezTo>
                    <a:cubicBezTo>
                      <a:pt x="1384" y="8786"/>
                      <a:pt x="1381" y="8792"/>
                      <a:pt x="1379" y="8795"/>
                    </a:cubicBezTo>
                    <a:cubicBezTo>
                      <a:pt x="1378" y="8797"/>
                      <a:pt x="1377" y="8799"/>
                      <a:pt x="1377" y="8800"/>
                    </a:cubicBezTo>
                    <a:cubicBezTo>
                      <a:pt x="1376" y="8800"/>
                      <a:pt x="1376" y="8800"/>
                      <a:pt x="1376" y="8801"/>
                    </a:cubicBezTo>
                    <a:cubicBezTo>
                      <a:pt x="1376" y="8801"/>
                      <a:pt x="1376" y="8801"/>
                      <a:pt x="1376" y="8801"/>
                    </a:cubicBezTo>
                    <a:cubicBezTo>
                      <a:pt x="1376" y="8801"/>
                      <a:pt x="1376" y="8801"/>
                      <a:pt x="1376" y="8801"/>
                    </a:cubicBezTo>
                    <a:cubicBezTo>
                      <a:pt x="1376" y="8801"/>
                      <a:pt x="1376" y="8801"/>
                      <a:pt x="1376" y="8801"/>
                    </a:cubicBezTo>
                    <a:cubicBezTo>
                      <a:pt x="1376" y="8801"/>
                      <a:pt x="1375" y="8802"/>
                      <a:pt x="1375" y="8802"/>
                    </a:cubicBezTo>
                    <a:cubicBezTo>
                      <a:pt x="1375" y="8802"/>
                      <a:pt x="1375" y="8802"/>
                      <a:pt x="1375" y="8803"/>
                    </a:cubicBezTo>
                    <a:cubicBezTo>
                      <a:pt x="1375" y="8803"/>
                      <a:pt x="1374" y="8803"/>
                      <a:pt x="1374" y="8803"/>
                    </a:cubicBezTo>
                    <a:cubicBezTo>
                      <a:pt x="1373" y="8804"/>
                      <a:pt x="1373" y="8804"/>
                      <a:pt x="1372" y="8805"/>
                    </a:cubicBezTo>
                    <a:cubicBezTo>
                      <a:pt x="1372" y="8805"/>
                      <a:pt x="1372" y="8805"/>
                      <a:pt x="1372" y="8805"/>
                    </a:cubicBezTo>
                    <a:cubicBezTo>
                      <a:pt x="1359" y="8817"/>
                      <a:pt x="1232" y="8937"/>
                      <a:pt x="1108" y="9055"/>
                    </a:cubicBezTo>
                    <a:cubicBezTo>
                      <a:pt x="986" y="9171"/>
                      <a:pt x="867" y="9284"/>
                      <a:pt x="854" y="9297"/>
                    </a:cubicBezTo>
                    <a:cubicBezTo>
                      <a:pt x="876" y="9301"/>
                      <a:pt x="900" y="9308"/>
                      <a:pt x="925" y="9323"/>
                    </a:cubicBezTo>
                    <a:cubicBezTo>
                      <a:pt x="973" y="9354"/>
                      <a:pt x="1007" y="9420"/>
                      <a:pt x="1032" y="9479"/>
                    </a:cubicBezTo>
                    <a:cubicBezTo>
                      <a:pt x="1056" y="9538"/>
                      <a:pt x="1071" y="9590"/>
                      <a:pt x="1071" y="9591"/>
                    </a:cubicBezTo>
                    <a:cubicBezTo>
                      <a:pt x="1034" y="9601"/>
                      <a:pt x="1034" y="9601"/>
                      <a:pt x="1034" y="9601"/>
                    </a:cubicBezTo>
                    <a:cubicBezTo>
                      <a:pt x="1034" y="9600"/>
                      <a:pt x="1021" y="9550"/>
                      <a:pt x="997" y="9493"/>
                    </a:cubicBezTo>
                    <a:cubicBezTo>
                      <a:pt x="974" y="9437"/>
                      <a:pt x="939" y="9375"/>
                      <a:pt x="906" y="9355"/>
                    </a:cubicBezTo>
                    <a:cubicBezTo>
                      <a:pt x="874" y="9336"/>
                      <a:pt x="845" y="9332"/>
                      <a:pt x="819" y="9330"/>
                    </a:cubicBezTo>
                    <a:cubicBezTo>
                      <a:pt x="812" y="9330"/>
                      <a:pt x="806" y="9329"/>
                      <a:pt x="800" y="9329"/>
                    </a:cubicBezTo>
                    <a:cubicBezTo>
                      <a:pt x="776" y="9329"/>
                      <a:pt x="757" y="9333"/>
                      <a:pt x="738" y="9335"/>
                    </a:cubicBezTo>
                    <a:cubicBezTo>
                      <a:pt x="703" y="9340"/>
                      <a:pt x="677" y="9355"/>
                      <a:pt x="637" y="9356"/>
                    </a:cubicBezTo>
                    <a:cubicBezTo>
                      <a:pt x="596" y="9355"/>
                      <a:pt x="548" y="9333"/>
                      <a:pt x="508" y="9321"/>
                    </a:cubicBezTo>
                    <a:cubicBezTo>
                      <a:pt x="467" y="9307"/>
                      <a:pt x="389" y="9274"/>
                      <a:pt x="344" y="9274"/>
                    </a:cubicBezTo>
                    <a:cubicBezTo>
                      <a:pt x="342" y="9274"/>
                      <a:pt x="341" y="9274"/>
                      <a:pt x="340" y="9274"/>
                    </a:cubicBezTo>
                    <a:cubicBezTo>
                      <a:pt x="291" y="9277"/>
                      <a:pt x="270" y="9292"/>
                      <a:pt x="241" y="9302"/>
                    </a:cubicBezTo>
                    <a:cubicBezTo>
                      <a:pt x="230" y="9306"/>
                      <a:pt x="192" y="9323"/>
                      <a:pt x="159" y="9338"/>
                    </a:cubicBezTo>
                    <a:cubicBezTo>
                      <a:pt x="142" y="9346"/>
                      <a:pt x="126" y="9353"/>
                      <a:pt x="115" y="9359"/>
                    </a:cubicBezTo>
                    <a:cubicBezTo>
                      <a:pt x="111" y="9362"/>
                      <a:pt x="110" y="9366"/>
                      <a:pt x="110" y="9369"/>
                    </a:cubicBezTo>
                    <a:cubicBezTo>
                      <a:pt x="415" y="9934"/>
                      <a:pt x="415" y="9934"/>
                      <a:pt x="415" y="9934"/>
                    </a:cubicBezTo>
                    <a:cubicBezTo>
                      <a:pt x="382" y="9952"/>
                      <a:pt x="382" y="9952"/>
                      <a:pt x="382" y="9952"/>
                    </a:cubicBezTo>
                    <a:cubicBezTo>
                      <a:pt x="48" y="9331"/>
                      <a:pt x="48" y="9331"/>
                      <a:pt x="48" y="9331"/>
                    </a:cubicBezTo>
                    <a:cubicBezTo>
                      <a:pt x="48" y="9331"/>
                      <a:pt x="48" y="9331"/>
                      <a:pt x="48" y="9331"/>
                    </a:cubicBezTo>
                    <a:cubicBezTo>
                      <a:pt x="0" y="9237"/>
                      <a:pt x="0" y="9237"/>
                      <a:pt x="0" y="9237"/>
                    </a:cubicBezTo>
                    <a:cubicBezTo>
                      <a:pt x="0" y="9157"/>
                      <a:pt x="0" y="9157"/>
                      <a:pt x="0" y="9157"/>
                    </a:cubicBezTo>
                    <a:cubicBezTo>
                      <a:pt x="81" y="9315"/>
                      <a:pt x="81" y="9315"/>
                      <a:pt x="81" y="9315"/>
                    </a:cubicBezTo>
                    <a:cubicBezTo>
                      <a:pt x="81" y="9315"/>
                      <a:pt x="81" y="9315"/>
                      <a:pt x="81" y="9315"/>
                    </a:cubicBezTo>
                    <a:cubicBezTo>
                      <a:pt x="83" y="9321"/>
                      <a:pt x="83" y="9321"/>
                      <a:pt x="83" y="9321"/>
                    </a:cubicBezTo>
                    <a:cubicBezTo>
                      <a:pt x="88" y="9324"/>
                      <a:pt x="95" y="9324"/>
                      <a:pt x="100" y="9324"/>
                    </a:cubicBezTo>
                    <a:cubicBezTo>
                      <a:pt x="137" y="9307"/>
                      <a:pt x="208" y="9274"/>
                      <a:pt x="229" y="9266"/>
                    </a:cubicBezTo>
                    <a:cubicBezTo>
                      <a:pt x="250" y="9259"/>
                      <a:pt x="281" y="9239"/>
                      <a:pt x="338" y="9237"/>
                    </a:cubicBezTo>
                    <a:cubicBezTo>
                      <a:pt x="340" y="9237"/>
                      <a:pt x="342" y="9236"/>
                      <a:pt x="344" y="9236"/>
                    </a:cubicBezTo>
                    <a:cubicBezTo>
                      <a:pt x="404" y="9237"/>
                      <a:pt x="482" y="9273"/>
                      <a:pt x="520" y="9285"/>
                    </a:cubicBezTo>
                    <a:cubicBezTo>
                      <a:pt x="562" y="9298"/>
                      <a:pt x="610" y="9318"/>
                      <a:pt x="637" y="9318"/>
                    </a:cubicBezTo>
                    <a:cubicBezTo>
                      <a:pt x="665" y="9318"/>
                      <a:pt x="690" y="9304"/>
                      <a:pt x="733" y="9298"/>
                    </a:cubicBezTo>
                    <a:cubicBezTo>
                      <a:pt x="751" y="9296"/>
                      <a:pt x="772" y="9292"/>
                      <a:pt x="800" y="9292"/>
                    </a:cubicBezTo>
                    <a:cubicBezTo>
                      <a:pt x="807" y="9292"/>
                      <a:pt x="814" y="9292"/>
                      <a:pt x="822" y="9293"/>
                    </a:cubicBezTo>
                    <a:cubicBezTo>
                      <a:pt x="831" y="9293"/>
                      <a:pt x="840" y="9294"/>
                      <a:pt x="851" y="9296"/>
                    </a:cubicBezTo>
                    <a:cubicBezTo>
                      <a:pt x="836" y="9280"/>
                      <a:pt x="836" y="9280"/>
                      <a:pt x="836" y="9280"/>
                    </a:cubicBezTo>
                    <a:cubicBezTo>
                      <a:pt x="836" y="9280"/>
                      <a:pt x="965" y="9157"/>
                      <a:pt x="1095" y="9033"/>
                    </a:cubicBezTo>
                    <a:cubicBezTo>
                      <a:pt x="1161" y="8971"/>
                      <a:pt x="1226" y="8909"/>
                      <a:pt x="1275" y="8863"/>
                    </a:cubicBezTo>
                    <a:cubicBezTo>
                      <a:pt x="1299" y="8840"/>
                      <a:pt x="1320" y="8820"/>
                      <a:pt x="1334" y="8807"/>
                    </a:cubicBezTo>
                    <a:cubicBezTo>
                      <a:pt x="1341" y="8800"/>
                      <a:pt x="1347" y="8795"/>
                      <a:pt x="1351" y="8791"/>
                    </a:cubicBezTo>
                    <a:cubicBezTo>
                      <a:pt x="1352" y="8790"/>
                      <a:pt x="1352" y="8790"/>
                      <a:pt x="1353" y="8789"/>
                    </a:cubicBezTo>
                    <a:cubicBezTo>
                      <a:pt x="1357" y="8785"/>
                      <a:pt x="1357" y="8785"/>
                      <a:pt x="1357" y="8785"/>
                    </a:cubicBezTo>
                    <a:cubicBezTo>
                      <a:pt x="1379" y="8747"/>
                      <a:pt x="1603" y="8362"/>
                      <a:pt x="1636" y="8305"/>
                    </a:cubicBezTo>
                    <a:cubicBezTo>
                      <a:pt x="1307" y="7896"/>
                      <a:pt x="1307" y="7896"/>
                      <a:pt x="1307" y="7896"/>
                    </a:cubicBezTo>
                    <a:cubicBezTo>
                      <a:pt x="1326" y="7880"/>
                      <a:pt x="1326" y="7880"/>
                      <a:pt x="1326" y="7880"/>
                    </a:cubicBezTo>
                    <a:cubicBezTo>
                      <a:pt x="1657" y="8291"/>
                      <a:pt x="1657" y="8291"/>
                      <a:pt x="1657" y="8291"/>
                    </a:cubicBezTo>
                    <a:cubicBezTo>
                      <a:pt x="1990" y="8265"/>
                      <a:pt x="1990" y="8265"/>
                      <a:pt x="1990" y="8265"/>
                    </a:cubicBezTo>
                    <a:cubicBezTo>
                      <a:pt x="2465" y="7943"/>
                      <a:pt x="2465" y="7943"/>
                      <a:pt x="2465" y="7943"/>
                    </a:cubicBezTo>
                    <a:cubicBezTo>
                      <a:pt x="2668" y="7484"/>
                      <a:pt x="2668" y="7484"/>
                      <a:pt x="2668" y="7484"/>
                    </a:cubicBezTo>
                    <a:cubicBezTo>
                      <a:pt x="2668" y="7484"/>
                      <a:pt x="2668" y="7484"/>
                      <a:pt x="2668" y="7484"/>
                    </a:cubicBezTo>
                    <a:cubicBezTo>
                      <a:pt x="2673" y="7467"/>
                      <a:pt x="2673" y="7467"/>
                      <a:pt x="2673" y="7467"/>
                    </a:cubicBezTo>
                    <a:cubicBezTo>
                      <a:pt x="2566" y="7426"/>
                      <a:pt x="2487" y="7362"/>
                      <a:pt x="2424" y="7318"/>
                    </a:cubicBezTo>
                    <a:cubicBezTo>
                      <a:pt x="2336" y="7256"/>
                      <a:pt x="2089" y="7072"/>
                      <a:pt x="2018" y="7034"/>
                    </a:cubicBezTo>
                    <a:cubicBezTo>
                      <a:pt x="2004" y="7027"/>
                      <a:pt x="1975" y="7010"/>
                      <a:pt x="1937" y="6988"/>
                    </a:cubicBezTo>
                    <a:cubicBezTo>
                      <a:pt x="1929" y="6997"/>
                      <a:pt x="1910" y="7022"/>
                      <a:pt x="1889" y="7054"/>
                    </a:cubicBezTo>
                    <a:cubicBezTo>
                      <a:pt x="1850" y="7110"/>
                      <a:pt x="1797" y="7190"/>
                      <a:pt x="1752" y="7255"/>
                    </a:cubicBezTo>
                    <a:cubicBezTo>
                      <a:pt x="1731" y="7286"/>
                      <a:pt x="1712" y="7312"/>
                      <a:pt x="1697" y="7333"/>
                    </a:cubicBezTo>
                    <a:cubicBezTo>
                      <a:pt x="1310" y="7882"/>
                      <a:pt x="1310" y="7882"/>
                      <a:pt x="1310" y="7882"/>
                    </a:cubicBezTo>
                    <a:cubicBezTo>
                      <a:pt x="1312" y="7883"/>
                      <a:pt x="1312" y="7883"/>
                      <a:pt x="1312" y="7883"/>
                    </a:cubicBezTo>
                    <a:cubicBezTo>
                      <a:pt x="942" y="8181"/>
                      <a:pt x="942" y="8181"/>
                      <a:pt x="942" y="8181"/>
                    </a:cubicBezTo>
                    <a:cubicBezTo>
                      <a:pt x="0" y="8964"/>
                      <a:pt x="0" y="8964"/>
                      <a:pt x="0" y="8964"/>
                    </a:cubicBezTo>
                    <a:cubicBezTo>
                      <a:pt x="0" y="8917"/>
                      <a:pt x="0" y="8917"/>
                      <a:pt x="0" y="8917"/>
                    </a:cubicBezTo>
                    <a:cubicBezTo>
                      <a:pt x="924" y="8148"/>
                      <a:pt x="924" y="8148"/>
                      <a:pt x="924" y="8148"/>
                    </a:cubicBezTo>
                    <a:cubicBezTo>
                      <a:pt x="924" y="8148"/>
                      <a:pt x="924" y="8148"/>
                      <a:pt x="924" y="8148"/>
                    </a:cubicBezTo>
                    <a:cubicBezTo>
                      <a:pt x="927" y="8146"/>
                      <a:pt x="927" y="8146"/>
                      <a:pt x="927" y="8146"/>
                    </a:cubicBezTo>
                    <a:cubicBezTo>
                      <a:pt x="933" y="8141"/>
                      <a:pt x="933" y="8141"/>
                      <a:pt x="933" y="8141"/>
                    </a:cubicBezTo>
                    <a:cubicBezTo>
                      <a:pt x="933" y="8141"/>
                      <a:pt x="933" y="8141"/>
                      <a:pt x="933" y="8141"/>
                    </a:cubicBezTo>
                    <a:cubicBezTo>
                      <a:pt x="1282" y="7856"/>
                      <a:pt x="1282" y="7856"/>
                      <a:pt x="1282" y="7856"/>
                    </a:cubicBezTo>
                    <a:cubicBezTo>
                      <a:pt x="1553" y="7478"/>
                      <a:pt x="1553" y="7478"/>
                      <a:pt x="1553" y="7478"/>
                    </a:cubicBezTo>
                    <a:cubicBezTo>
                      <a:pt x="1549" y="7478"/>
                      <a:pt x="1548" y="7477"/>
                      <a:pt x="1546" y="7476"/>
                    </a:cubicBezTo>
                    <a:cubicBezTo>
                      <a:pt x="1517" y="7462"/>
                      <a:pt x="1362" y="7362"/>
                      <a:pt x="1362" y="7361"/>
                    </a:cubicBezTo>
                    <a:cubicBezTo>
                      <a:pt x="1355" y="7357"/>
                      <a:pt x="1355" y="7357"/>
                      <a:pt x="1355" y="7357"/>
                    </a:cubicBezTo>
                    <a:cubicBezTo>
                      <a:pt x="1388" y="7195"/>
                      <a:pt x="1388" y="7195"/>
                      <a:pt x="1388" y="7195"/>
                    </a:cubicBezTo>
                    <a:cubicBezTo>
                      <a:pt x="1364" y="7157"/>
                      <a:pt x="1364" y="7157"/>
                      <a:pt x="1364" y="7157"/>
                    </a:cubicBezTo>
                    <a:cubicBezTo>
                      <a:pt x="1269" y="7013"/>
                      <a:pt x="1269" y="7013"/>
                      <a:pt x="1269" y="7013"/>
                    </a:cubicBezTo>
                    <a:cubicBezTo>
                      <a:pt x="1260" y="7001"/>
                      <a:pt x="1260" y="7001"/>
                      <a:pt x="1260" y="7001"/>
                    </a:cubicBezTo>
                    <a:cubicBezTo>
                      <a:pt x="1257" y="7003"/>
                      <a:pt x="1254" y="7005"/>
                      <a:pt x="1252" y="7007"/>
                    </a:cubicBezTo>
                    <a:cubicBezTo>
                      <a:pt x="1202" y="7039"/>
                      <a:pt x="1154" y="7053"/>
                      <a:pt x="1124" y="7058"/>
                    </a:cubicBezTo>
                    <a:cubicBezTo>
                      <a:pt x="1123" y="7062"/>
                      <a:pt x="1122" y="7065"/>
                      <a:pt x="1122" y="7065"/>
                    </a:cubicBezTo>
                    <a:cubicBezTo>
                      <a:pt x="1122" y="7065"/>
                      <a:pt x="1121" y="7065"/>
                      <a:pt x="1121" y="7065"/>
                    </a:cubicBezTo>
                    <a:cubicBezTo>
                      <a:pt x="1121" y="7065"/>
                      <a:pt x="1121" y="7065"/>
                      <a:pt x="1121" y="7065"/>
                    </a:cubicBezTo>
                    <a:cubicBezTo>
                      <a:pt x="1049" y="7261"/>
                      <a:pt x="1049" y="7261"/>
                      <a:pt x="1049" y="7261"/>
                    </a:cubicBezTo>
                    <a:cubicBezTo>
                      <a:pt x="1047" y="7261"/>
                      <a:pt x="1047" y="7261"/>
                      <a:pt x="1047" y="7261"/>
                    </a:cubicBezTo>
                    <a:cubicBezTo>
                      <a:pt x="926" y="7566"/>
                      <a:pt x="926" y="7566"/>
                      <a:pt x="926" y="7566"/>
                    </a:cubicBezTo>
                    <a:cubicBezTo>
                      <a:pt x="924" y="7570"/>
                      <a:pt x="924" y="7570"/>
                      <a:pt x="924" y="7570"/>
                    </a:cubicBezTo>
                    <a:cubicBezTo>
                      <a:pt x="859" y="7625"/>
                      <a:pt x="859" y="7625"/>
                      <a:pt x="859" y="7625"/>
                    </a:cubicBezTo>
                    <a:cubicBezTo>
                      <a:pt x="285" y="8240"/>
                      <a:pt x="285" y="8240"/>
                      <a:pt x="285" y="8240"/>
                    </a:cubicBezTo>
                    <a:cubicBezTo>
                      <a:pt x="233" y="8292"/>
                      <a:pt x="157" y="8388"/>
                      <a:pt x="0" y="8454"/>
                    </a:cubicBezTo>
                    <a:cubicBezTo>
                      <a:pt x="0" y="8415"/>
                      <a:pt x="0" y="8415"/>
                      <a:pt x="0" y="8415"/>
                    </a:cubicBezTo>
                    <a:cubicBezTo>
                      <a:pt x="110" y="8366"/>
                      <a:pt x="175" y="8302"/>
                      <a:pt x="223" y="8252"/>
                    </a:cubicBezTo>
                    <a:cubicBezTo>
                      <a:pt x="215" y="8244"/>
                      <a:pt x="199" y="8231"/>
                      <a:pt x="176" y="8212"/>
                    </a:cubicBezTo>
                    <a:cubicBezTo>
                      <a:pt x="135" y="8179"/>
                      <a:pt x="73" y="8132"/>
                      <a:pt x="0" y="8088"/>
                    </a:cubicBezTo>
                    <a:cubicBezTo>
                      <a:pt x="0" y="8046"/>
                      <a:pt x="0" y="8046"/>
                      <a:pt x="0" y="8046"/>
                    </a:cubicBezTo>
                    <a:cubicBezTo>
                      <a:pt x="126" y="8120"/>
                      <a:pt x="223" y="8204"/>
                      <a:pt x="248" y="8226"/>
                    </a:cubicBezTo>
                    <a:cubicBezTo>
                      <a:pt x="252" y="8222"/>
                      <a:pt x="255" y="8219"/>
                      <a:pt x="259" y="8215"/>
                    </a:cubicBezTo>
                    <a:cubicBezTo>
                      <a:pt x="596" y="7856"/>
                      <a:pt x="596" y="7856"/>
                      <a:pt x="596" y="7856"/>
                    </a:cubicBezTo>
                    <a:cubicBezTo>
                      <a:pt x="594" y="7853"/>
                      <a:pt x="594" y="7853"/>
                      <a:pt x="594" y="7853"/>
                    </a:cubicBezTo>
                    <a:cubicBezTo>
                      <a:pt x="592" y="7855"/>
                      <a:pt x="592" y="7855"/>
                      <a:pt x="592" y="7855"/>
                    </a:cubicBezTo>
                    <a:cubicBezTo>
                      <a:pt x="173" y="7273"/>
                      <a:pt x="173" y="7273"/>
                      <a:pt x="173" y="7273"/>
                    </a:cubicBezTo>
                    <a:cubicBezTo>
                      <a:pt x="0" y="7208"/>
                      <a:pt x="0" y="7208"/>
                      <a:pt x="0" y="7208"/>
                    </a:cubicBezTo>
                    <a:cubicBezTo>
                      <a:pt x="0" y="7180"/>
                      <a:pt x="0" y="7180"/>
                      <a:pt x="0" y="7180"/>
                    </a:cubicBezTo>
                    <a:cubicBezTo>
                      <a:pt x="190" y="7251"/>
                      <a:pt x="190" y="7251"/>
                      <a:pt x="190" y="7251"/>
                    </a:cubicBezTo>
                    <a:cubicBezTo>
                      <a:pt x="608" y="7833"/>
                      <a:pt x="608" y="7833"/>
                      <a:pt x="608" y="7833"/>
                    </a:cubicBezTo>
                    <a:cubicBezTo>
                      <a:pt x="610" y="7834"/>
                      <a:pt x="612" y="7836"/>
                      <a:pt x="614" y="7837"/>
                    </a:cubicBezTo>
                    <a:cubicBezTo>
                      <a:pt x="864" y="7570"/>
                      <a:pt x="864" y="7570"/>
                      <a:pt x="864" y="7570"/>
                    </a:cubicBezTo>
                    <a:cubicBezTo>
                      <a:pt x="864" y="7572"/>
                      <a:pt x="864" y="7572"/>
                      <a:pt x="864" y="7572"/>
                    </a:cubicBezTo>
                    <a:cubicBezTo>
                      <a:pt x="894" y="7544"/>
                      <a:pt x="894" y="7544"/>
                      <a:pt x="894" y="7544"/>
                    </a:cubicBezTo>
                    <a:cubicBezTo>
                      <a:pt x="1023" y="7226"/>
                      <a:pt x="1023" y="7226"/>
                      <a:pt x="1023" y="7226"/>
                    </a:cubicBezTo>
                    <a:cubicBezTo>
                      <a:pt x="1023" y="7226"/>
                      <a:pt x="1023" y="7226"/>
                      <a:pt x="1023" y="7226"/>
                    </a:cubicBezTo>
                    <a:cubicBezTo>
                      <a:pt x="1082" y="7068"/>
                      <a:pt x="1082" y="7068"/>
                      <a:pt x="1082" y="7068"/>
                    </a:cubicBezTo>
                    <a:cubicBezTo>
                      <a:pt x="1079" y="7061"/>
                      <a:pt x="1073" y="7051"/>
                      <a:pt x="1064" y="7036"/>
                    </a:cubicBezTo>
                    <a:cubicBezTo>
                      <a:pt x="1021" y="6962"/>
                      <a:pt x="914" y="6795"/>
                      <a:pt x="752" y="6646"/>
                    </a:cubicBezTo>
                    <a:cubicBezTo>
                      <a:pt x="571" y="6479"/>
                      <a:pt x="334" y="6330"/>
                      <a:pt x="179" y="6261"/>
                    </a:cubicBezTo>
                    <a:cubicBezTo>
                      <a:pt x="179" y="6262"/>
                      <a:pt x="179" y="6262"/>
                      <a:pt x="179" y="6262"/>
                    </a:cubicBezTo>
                    <a:cubicBezTo>
                      <a:pt x="177" y="6263"/>
                      <a:pt x="177" y="6263"/>
                      <a:pt x="177" y="6263"/>
                    </a:cubicBezTo>
                    <a:cubicBezTo>
                      <a:pt x="146" y="6297"/>
                      <a:pt x="108" y="6374"/>
                      <a:pt x="2" y="6438"/>
                    </a:cubicBezTo>
                    <a:cubicBezTo>
                      <a:pt x="2" y="6438"/>
                      <a:pt x="1" y="6438"/>
                      <a:pt x="0" y="6439"/>
                    </a:cubicBezTo>
                    <a:cubicBezTo>
                      <a:pt x="0" y="6396"/>
                      <a:pt x="0" y="6396"/>
                      <a:pt x="0" y="6396"/>
                    </a:cubicBezTo>
                    <a:cubicBezTo>
                      <a:pt x="80" y="6342"/>
                      <a:pt x="112" y="6285"/>
                      <a:pt x="145" y="6246"/>
                    </a:cubicBezTo>
                    <a:cubicBezTo>
                      <a:pt x="127" y="6239"/>
                      <a:pt x="111" y="6233"/>
                      <a:pt x="97" y="6229"/>
                    </a:cubicBezTo>
                    <a:cubicBezTo>
                      <a:pt x="69" y="6221"/>
                      <a:pt x="37" y="6212"/>
                      <a:pt x="0" y="6203"/>
                    </a:cubicBezTo>
                    <a:cubicBezTo>
                      <a:pt x="0" y="6166"/>
                      <a:pt x="0" y="6166"/>
                      <a:pt x="0" y="6166"/>
                    </a:cubicBezTo>
                    <a:cubicBezTo>
                      <a:pt x="41" y="6175"/>
                      <a:pt x="77" y="6185"/>
                      <a:pt x="108" y="6195"/>
                    </a:cubicBezTo>
                    <a:cubicBezTo>
                      <a:pt x="124" y="6200"/>
                      <a:pt x="143" y="6207"/>
                      <a:pt x="163" y="6215"/>
                    </a:cubicBezTo>
                    <a:cubicBezTo>
                      <a:pt x="1274" y="4182"/>
                      <a:pt x="1274" y="4182"/>
                      <a:pt x="1274" y="4182"/>
                    </a:cubicBezTo>
                    <a:cubicBezTo>
                      <a:pt x="1271" y="4181"/>
                      <a:pt x="1271" y="4179"/>
                      <a:pt x="1269" y="4179"/>
                    </a:cubicBezTo>
                    <a:cubicBezTo>
                      <a:pt x="1264" y="4174"/>
                      <a:pt x="1260" y="4169"/>
                      <a:pt x="1252" y="4161"/>
                    </a:cubicBezTo>
                    <a:cubicBezTo>
                      <a:pt x="1152" y="4045"/>
                      <a:pt x="631" y="3365"/>
                      <a:pt x="534" y="3237"/>
                    </a:cubicBezTo>
                    <a:cubicBezTo>
                      <a:pt x="0" y="3807"/>
                      <a:pt x="0" y="3807"/>
                      <a:pt x="0" y="3807"/>
                    </a:cubicBezTo>
                    <a:cubicBezTo>
                      <a:pt x="0" y="3755"/>
                      <a:pt x="0" y="3755"/>
                      <a:pt x="0" y="3755"/>
                    </a:cubicBezTo>
                    <a:cubicBezTo>
                      <a:pt x="1245" y="2423"/>
                      <a:pt x="1245" y="2423"/>
                      <a:pt x="1245" y="2423"/>
                    </a:cubicBezTo>
                    <a:cubicBezTo>
                      <a:pt x="804" y="2083"/>
                      <a:pt x="804" y="2083"/>
                      <a:pt x="804" y="2083"/>
                    </a:cubicBezTo>
                    <a:cubicBezTo>
                      <a:pt x="802" y="2081"/>
                      <a:pt x="802" y="2081"/>
                      <a:pt x="802" y="2081"/>
                    </a:cubicBezTo>
                    <a:cubicBezTo>
                      <a:pt x="802" y="2080"/>
                      <a:pt x="737" y="1989"/>
                      <a:pt x="704" y="1891"/>
                    </a:cubicBezTo>
                    <a:cubicBezTo>
                      <a:pt x="697" y="1884"/>
                      <a:pt x="671" y="1861"/>
                      <a:pt x="633" y="1829"/>
                    </a:cubicBezTo>
                    <a:cubicBezTo>
                      <a:pt x="510" y="1725"/>
                      <a:pt x="254" y="1516"/>
                      <a:pt x="0" y="1309"/>
                    </a:cubicBezTo>
                    <a:cubicBezTo>
                      <a:pt x="0" y="1262"/>
                      <a:pt x="0" y="1262"/>
                      <a:pt x="0" y="1262"/>
                    </a:cubicBezTo>
                    <a:cubicBezTo>
                      <a:pt x="12" y="1271"/>
                      <a:pt x="23" y="1281"/>
                      <a:pt x="34" y="1290"/>
                    </a:cubicBezTo>
                    <a:cubicBezTo>
                      <a:pt x="207" y="1431"/>
                      <a:pt x="380" y="1573"/>
                      <a:pt x="511" y="1680"/>
                    </a:cubicBezTo>
                    <a:cubicBezTo>
                      <a:pt x="577" y="1734"/>
                      <a:pt x="631" y="1780"/>
                      <a:pt x="670" y="1813"/>
                    </a:cubicBezTo>
                    <a:cubicBezTo>
                      <a:pt x="689" y="1829"/>
                      <a:pt x="705" y="1842"/>
                      <a:pt x="715" y="1852"/>
                    </a:cubicBezTo>
                    <a:cubicBezTo>
                      <a:pt x="721" y="1857"/>
                      <a:pt x="725" y="1860"/>
                      <a:pt x="728" y="1863"/>
                    </a:cubicBezTo>
                    <a:cubicBezTo>
                      <a:pt x="730" y="1865"/>
                      <a:pt x="731" y="1866"/>
                      <a:pt x="732" y="1868"/>
                    </a:cubicBezTo>
                    <a:cubicBezTo>
                      <a:pt x="734" y="1869"/>
                      <a:pt x="735" y="1869"/>
                      <a:pt x="737" y="1875"/>
                    </a:cubicBezTo>
                    <a:cubicBezTo>
                      <a:pt x="738" y="1876"/>
                      <a:pt x="738" y="1876"/>
                      <a:pt x="738" y="1876"/>
                    </a:cubicBezTo>
                    <a:cubicBezTo>
                      <a:pt x="738" y="1876"/>
                      <a:pt x="738" y="1876"/>
                      <a:pt x="738" y="1876"/>
                    </a:cubicBezTo>
                    <a:cubicBezTo>
                      <a:pt x="752" y="1922"/>
                      <a:pt x="776" y="1969"/>
                      <a:pt x="796" y="2003"/>
                    </a:cubicBezTo>
                    <a:cubicBezTo>
                      <a:pt x="812" y="2031"/>
                      <a:pt x="826" y="2051"/>
                      <a:pt x="830" y="2058"/>
                    </a:cubicBezTo>
                    <a:cubicBezTo>
                      <a:pt x="1271" y="2398"/>
                      <a:pt x="1271" y="2398"/>
                      <a:pt x="1271" y="2398"/>
                    </a:cubicBezTo>
                    <a:cubicBezTo>
                      <a:pt x="1264" y="2406"/>
                      <a:pt x="1264" y="2406"/>
                      <a:pt x="1264" y="2406"/>
                    </a:cubicBezTo>
                    <a:cubicBezTo>
                      <a:pt x="1333" y="2346"/>
                      <a:pt x="1609" y="2106"/>
                      <a:pt x="1887" y="1866"/>
                    </a:cubicBezTo>
                    <a:cubicBezTo>
                      <a:pt x="2047" y="1727"/>
                      <a:pt x="2208" y="1589"/>
                      <a:pt x="2329" y="1485"/>
                    </a:cubicBezTo>
                    <a:cubicBezTo>
                      <a:pt x="2390" y="1433"/>
                      <a:pt x="2441" y="1389"/>
                      <a:pt x="2477" y="1359"/>
                    </a:cubicBezTo>
                    <a:cubicBezTo>
                      <a:pt x="2495" y="1344"/>
                      <a:pt x="2510" y="1332"/>
                      <a:pt x="2520" y="1323"/>
                    </a:cubicBezTo>
                    <a:cubicBezTo>
                      <a:pt x="2522" y="1322"/>
                      <a:pt x="2522" y="1322"/>
                      <a:pt x="2524" y="1320"/>
                    </a:cubicBezTo>
                    <a:cubicBezTo>
                      <a:pt x="2535" y="1301"/>
                      <a:pt x="2535" y="1301"/>
                      <a:pt x="2535" y="1301"/>
                    </a:cubicBezTo>
                    <a:cubicBezTo>
                      <a:pt x="2532" y="1297"/>
                      <a:pt x="2529" y="1293"/>
                      <a:pt x="2527" y="1288"/>
                    </a:cubicBezTo>
                    <a:cubicBezTo>
                      <a:pt x="2505" y="1241"/>
                      <a:pt x="2488" y="1175"/>
                      <a:pt x="2475" y="1118"/>
                    </a:cubicBezTo>
                    <a:cubicBezTo>
                      <a:pt x="2464" y="1066"/>
                      <a:pt x="2456" y="1023"/>
                      <a:pt x="2455" y="1016"/>
                    </a:cubicBezTo>
                    <a:cubicBezTo>
                      <a:pt x="2246" y="0"/>
                      <a:pt x="2246" y="0"/>
                      <a:pt x="2246" y="0"/>
                    </a:cubicBezTo>
                    <a:cubicBezTo>
                      <a:pt x="2363" y="0"/>
                      <a:pt x="2363" y="0"/>
                      <a:pt x="2363" y="0"/>
                    </a:cubicBezTo>
                    <a:cubicBezTo>
                      <a:pt x="2568" y="995"/>
                      <a:pt x="2568" y="995"/>
                      <a:pt x="2568" y="995"/>
                    </a:cubicBezTo>
                    <a:cubicBezTo>
                      <a:pt x="2568" y="996"/>
                      <a:pt x="2568" y="996"/>
                      <a:pt x="2568" y="996"/>
                    </a:cubicBezTo>
                    <a:cubicBezTo>
                      <a:pt x="2568" y="996"/>
                      <a:pt x="2575" y="1040"/>
                      <a:pt x="2587" y="1093"/>
                    </a:cubicBezTo>
                    <a:cubicBezTo>
                      <a:pt x="2599" y="1146"/>
                      <a:pt x="2616" y="1210"/>
                      <a:pt x="2631" y="1239"/>
                    </a:cubicBezTo>
                    <a:cubicBezTo>
                      <a:pt x="2642" y="1263"/>
                      <a:pt x="2665" y="1285"/>
                      <a:pt x="2696" y="1303"/>
                    </a:cubicBezTo>
                    <a:cubicBezTo>
                      <a:pt x="2726" y="1321"/>
                      <a:pt x="2761" y="1334"/>
                      <a:pt x="2789" y="1345"/>
                    </a:cubicBezTo>
                    <a:cubicBezTo>
                      <a:pt x="2847" y="1366"/>
                      <a:pt x="3616" y="1643"/>
                      <a:pt x="3893" y="1734"/>
                    </a:cubicBezTo>
                    <a:cubicBezTo>
                      <a:pt x="3917" y="1742"/>
                      <a:pt x="3940" y="1751"/>
                      <a:pt x="3964" y="1760"/>
                    </a:cubicBezTo>
                    <a:cubicBezTo>
                      <a:pt x="3964" y="1760"/>
                      <a:pt x="3964" y="1760"/>
                      <a:pt x="3964" y="1760"/>
                    </a:cubicBezTo>
                    <a:cubicBezTo>
                      <a:pt x="3966" y="1760"/>
                      <a:pt x="3971" y="1752"/>
                      <a:pt x="3975" y="1744"/>
                    </a:cubicBezTo>
                    <a:cubicBezTo>
                      <a:pt x="4042" y="1410"/>
                      <a:pt x="4042" y="1410"/>
                      <a:pt x="4042" y="1410"/>
                    </a:cubicBezTo>
                    <a:cubicBezTo>
                      <a:pt x="4043" y="1407"/>
                      <a:pt x="4043" y="1407"/>
                      <a:pt x="4043" y="1407"/>
                    </a:cubicBezTo>
                    <a:cubicBezTo>
                      <a:pt x="4043" y="1407"/>
                      <a:pt x="4071" y="1355"/>
                      <a:pt x="4112" y="1286"/>
                    </a:cubicBezTo>
                    <a:cubicBezTo>
                      <a:pt x="4132" y="1255"/>
                      <a:pt x="4150" y="1204"/>
                      <a:pt x="4164" y="1161"/>
                    </a:cubicBezTo>
                    <a:cubicBezTo>
                      <a:pt x="4177" y="1119"/>
                      <a:pt x="4186" y="1085"/>
                      <a:pt x="4186" y="1085"/>
                    </a:cubicBezTo>
                    <a:cubicBezTo>
                      <a:pt x="4186" y="1083"/>
                      <a:pt x="4186" y="1083"/>
                      <a:pt x="4186" y="1083"/>
                    </a:cubicBezTo>
                    <a:cubicBezTo>
                      <a:pt x="4425" y="619"/>
                      <a:pt x="4425" y="619"/>
                      <a:pt x="4425" y="619"/>
                    </a:cubicBezTo>
                    <a:cubicBezTo>
                      <a:pt x="4402" y="53"/>
                      <a:pt x="4402" y="53"/>
                      <a:pt x="4402" y="53"/>
                    </a:cubicBezTo>
                    <a:cubicBezTo>
                      <a:pt x="4355" y="0"/>
                      <a:pt x="4355" y="0"/>
                      <a:pt x="4355" y="0"/>
                    </a:cubicBezTo>
                    <a:cubicBezTo>
                      <a:pt x="4403" y="0"/>
                      <a:pt x="4403" y="0"/>
                      <a:pt x="4403" y="0"/>
                    </a:cubicBezTo>
                    <a:cubicBezTo>
                      <a:pt x="4427" y="28"/>
                      <a:pt x="4427" y="28"/>
                      <a:pt x="4427" y="28"/>
                    </a:cubicBezTo>
                    <a:cubicBezTo>
                      <a:pt x="4556" y="22"/>
                      <a:pt x="4664" y="12"/>
                      <a:pt x="4753" y="0"/>
                    </a:cubicBezTo>
                    <a:cubicBezTo>
                      <a:pt x="4959" y="0"/>
                      <a:pt x="4959" y="0"/>
                      <a:pt x="4959" y="0"/>
                    </a:cubicBezTo>
                    <a:cubicBezTo>
                      <a:pt x="4859" y="23"/>
                      <a:pt x="4687" y="52"/>
                      <a:pt x="4438" y="63"/>
                    </a:cubicBezTo>
                    <a:cubicBezTo>
                      <a:pt x="4461" y="606"/>
                      <a:pt x="4461" y="606"/>
                      <a:pt x="4461" y="606"/>
                    </a:cubicBezTo>
                    <a:cubicBezTo>
                      <a:pt x="4463" y="604"/>
                      <a:pt x="4463" y="604"/>
                      <a:pt x="4463" y="604"/>
                    </a:cubicBezTo>
                    <a:cubicBezTo>
                      <a:pt x="4463" y="604"/>
                      <a:pt x="4507" y="628"/>
                      <a:pt x="4588" y="663"/>
                    </a:cubicBezTo>
                    <a:cubicBezTo>
                      <a:pt x="4669" y="699"/>
                      <a:pt x="4786" y="745"/>
                      <a:pt x="4929" y="787"/>
                    </a:cubicBezTo>
                    <a:cubicBezTo>
                      <a:pt x="5093" y="836"/>
                      <a:pt x="5260" y="886"/>
                      <a:pt x="5395" y="921"/>
                    </a:cubicBezTo>
                    <a:cubicBezTo>
                      <a:pt x="5400" y="901"/>
                      <a:pt x="5413" y="857"/>
                      <a:pt x="5426" y="809"/>
                    </a:cubicBezTo>
                    <a:cubicBezTo>
                      <a:pt x="5443" y="742"/>
                      <a:pt x="5461" y="666"/>
                      <a:pt x="5462" y="636"/>
                    </a:cubicBezTo>
                    <a:cubicBezTo>
                      <a:pt x="5466" y="565"/>
                      <a:pt x="5481" y="539"/>
                      <a:pt x="5501" y="486"/>
                    </a:cubicBezTo>
                    <a:cubicBezTo>
                      <a:pt x="5507" y="473"/>
                      <a:pt x="5517" y="463"/>
                      <a:pt x="5531" y="450"/>
                    </a:cubicBezTo>
                    <a:cubicBezTo>
                      <a:pt x="5580" y="406"/>
                      <a:pt x="5682" y="338"/>
                      <a:pt x="5775" y="280"/>
                    </a:cubicBezTo>
                    <a:cubicBezTo>
                      <a:pt x="5821" y="251"/>
                      <a:pt x="5865" y="225"/>
                      <a:pt x="5897" y="206"/>
                    </a:cubicBezTo>
                    <a:cubicBezTo>
                      <a:pt x="5911" y="198"/>
                      <a:pt x="5922" y="191"/>
                      <a:pt x="5943" y="180"/>
                    </a:cubicBezTo>
                    <a:cubicBezTo>
                      <a:pt x="5961" y="211"/>
                      <a:pt x="5961" y="211"/>
                      <a:pt x="5961" y="211"/>
                    </a:cubicBezTo>
                    <a:cubicBezTo>
                      <a:pt x="5912" y="238"/>
                      <a:pt x="5824" y="291"/>
                      <a:pt x="5740" y="345"/>
                    </a:cubicBezTo>
                    <a:cubicBezTo>
                      <a:pt x="5689" y="378"/>
                      <a:pt x="5638" y="412"/>
                      <a:pt x="5600" y="441"/>
                    </a:cubicBezTo>
                    <a:cubicBezTo>
                      <a:pt x="5581" y="455"/>
                      <a:pt x="5565" y="468"/>
                      <a:pt x="5553" y="479"/>
                    </a:cubicBezTo>
                    <a:cubicBezTo>
                      <a:pt x="5542" y="489"/>
                      <a:pt x="5535" y="498"/>
                      <a:pt x="5535" y="499"/>
                    </a:cubicBezTo>
                    <a:cubicBezTo>
                      <a:pt x="5514" y="556"/>
                      <a:pt x="5502" y="571"/>
                      <a:pt x="5498" y="637"/>
                    </a:cubicBezTo>
                    <a:cubicBezTo>
                      <a:pt x="5495" y="701"/>
                      <a:pt x="5444" y="880"/>
                      <a:pt x="5429" y="930"/>
                    </a:cubicBezTo>
                    <a:cubicBezTo>
                      <a:pt x="5516" y="952"/>
                      <a:pt x="5587" y="966"/>
                      <a:pt x="5632" y="969"/>
                    </a:cubicBezTo>
                    <a:cubicBezTo>
                      <a:pt x="5645" y="969"/>
                      <a:pt x="5656" y="970"/>
                      <a:pt x="5667" y="970"/>
                    </a:cubicBezTo>
                    <a:cubicBezTo>
                      <a:pt x="5765" y="969"/>
                      <a:pt x="5823" y="944"/>
                      <a:pt x="5925" y="888"/>
                    </a:cubicBezTo>
                    <a:cubicBezTo>
                      <a:pt x="6038" y="827"/>
                      <a:pt x="6267" y="693"/>
                      <a:pt x="6268" y="693"/>
                    </a:cubicBezTo>
                    <a:cubicBezTo>
                      <a:pt x="6268" y="693"/>
                      <a:pt x="6268" y="693"/>
                      <a:pt x="6268" y="693"/>
                    </a:cubicBezTo>
                    <a:cubicBezTo>
                      <a:pt x="6269" y="693"/>
                      <a:pt x="6269" y="693"/>
                      <a:pt x="6269" y="693"/>
                    </a:cubicBezTo>
                    <a:cubicBezTo>
                      <a:pt x="6270" y="692"/>
                      <a:pt x="6320" y="667"/>
                      <a:pt x="6388" y="666"/>
                    </a:cubicBezTo>
                    <a:cubicBezTo>
                      <a:pt x="6458" y="666"/>
                      <a:pt x="6548" y="696"/>
                      <a:pt x="6612" y="805"/>
                    </a:cubicBezTo>
                    <a:cubicBezTo>
                      <a:pt x="6890" y="1307"/>
                      <a:pt x="6890" y="1307"/>
                      <a:pt x="6890" y="1307"/>
                    </a:cubicBezTo>
                    <a:cubicBezTo>
                      <a:pt x="6890" y="1308"/>
                      <a:pt x="6897" y="1321"/>
                      <a:pt x="6912" y="1342"/>
                    </a:cubicBezTo>
                    <a:cubicBezTo>
                      <a:pt x="6926" y="1363"/>
                      <a:pt x="6947" y="1391"/>
                      <a:pt x="6973" y="1417"/>
                    </a:cubicBezTo>
                    <a:cubicBezTo>
                      <a:pt x="6995" y="1439"/>
                      <a:pt x="7027" y="1458"/>
                      <a:pt x="7057" y="1480"/>
                    </a:cubicBezTo>
                    <a:cubicBezTo>
                      <a:pt x="7059" y="1467"/>
                      <a:pt x="7062" y="1451"/>
                      <a:pt x="7066" y="1434"/>
                    </a:cubicBezTo>
                    <a:cubicBezTo>
                      <a:pt x="7072" y="1402"/>
                      <a:pt x="7078" y="1365"/>
                      <a:pt x="7080" y="1351"/>
                    </a:cubicBezTo>
                    <a:cubicBezTo>
                      <a:pt x="7076" y="1344"/>
                      <a:pt x="7077" y="1342"/>
                      <a:pt x="7077" y="1338"/>
                    </a:cubicBezTo>
                    <a:cubicBezTo>
                      <a:pt x="7077" y="1326"/>
                      <a:pt x="7080" y="1310"/>
                      <a:pt x="7088" y="1294"/>
                    </a:cubicBezTo>
                    <a:cubicBezTo>
                      <a:pt x="7097" y="1278"/>
                      <a:pt x="7112" y="1261"/>
                      <a:pt x="7135" y="1257"/>
                    </a:cubicBezTo>
                    <a:cubicBezTo>
                      <a:pt x="7176" y="1251"/>
                      <a:pt x="7370" y="1216"/>
                      <a:pt x="7423" y="1193"/>
                    </a:cubicBezTo>
                    <a:cubicBezTo>
                      <a:pt x="7480" y="1170"/>
                      <a:pt x="7657" y="1132"/>
                      <a:pt x="7752" y="1122"/>
                    </a:cubicBezTo>
                    <a:cubicBezTo>
                      <a:pt x="7762" y="589"/>
                      <a:pt x="7762" y="589"/>
                      <a:pt x="7762" y="589"/>
                    </a:cubicBezTo>
                    <a:cubicBezTo>
                      <a:pt x="7598" y="267"/>
                      <a:pt x="7598" y="267"/>
                      <a:pt x="7598" y="267"/>
                    </a:cubicBezTo>
                    <a:cubicBezTo>
                      <a:pt x="7592" y="257"/>
                      <a:pt x="7521" y="139"/>
                      <a:pt x="7451" y="21"/>
                    </a:cubicBezTo>
                    <a:cubicBezTo>
                      <a:pt x="7447" y="14"/>
                      <a:pt x="7443" y="7"/>
                      <a:pt x="7439" y="0"/>
                    </a:cubicBezTo>
                    <a:cubicBezTo>
                      <a:pt x="7481" y="0"/>
                      <a:pt x="7481" y="0"/>
                      <a:pt x="7481" y="0"/>
                    </a:cubicBezTo>
                    <a:cubicBezTo>
                      <a:pt x="7555" y="125"/>
                      <a:pt x="7629" y="249"/>
                      <a:pt x="7630" y="250"/>
                    </a:cubicBezTo>
                    <a:cubicBezTo>
                      <a:pt x="7630" y="250"/>
                      <a:pt x="7630" y="250"/>
                      <a:pt x="7630" y="250"/>
                    </a:cubicBezTo>
                    <a:cubicBezTo>
                      <a:pt x="7798" y="581"/>
                      <a:pt x="7798" y="581"/>
                      <a:pt x="7798" y="581"/>
                    </a:cubicBezTo>
                    <a:cubicBezTo>
                      <a:pt x="7788" y="1120"/>
                      <a:pt x="7788" y="1120"/>
                      <a:pt x="7788" y="1120"/>
                    </a:cubicBezTo>
                    <a:cubicBezTo>
                      <a:pt x="7792" y="1120"/>
                      <a:pt x="7795" y="1119"/>
                      <a:pt x="7800" y="1119"/>
                    </a:cubicBezTo>
                    <a:cubicBezTo>
                      <a:pt x="7913" y="1119"/>
                      <a:pt x="8275" y="1141"/>
                      <a:pt x="8457" y="1147"/>
                    </a:cubicBezTo>
                    <a:cubicBezTo>
                      <a:pt x="8481" y="1148"/>
                      <a:pt x="8514" y="1148"/>
                      <a:pt x="8552" y="1148"/>
                    </a:cubicBezTo>
                    <a:cubicBezTo>
                      <a:pt x="8797" y="1148"/>
                      <a:pt x="9272" y="1133"/>
                      <a:pt x="9352" y="1133"/>
                    </a:cubicBezTo>
                    <a:cubicBezTo>
                      <a:pt x="9355" y="1133"/>
                      <a:pt x="9358" y="1133"/>
                      <a:pt x="9360" y="1133"/>
                    </a:cubicBezTo>
                    <a:cubicBezTo>
                      <a:pt x="9360" y="1133"/>
                      <a:pt x="9360" y="1133"/>
                      <a:pt x="9360" y="1133"/>
                    </a:cubicBezTo>
                    <a:cubicBezTo>
                      <a:pt x="9368" y="1129"/>
                      <a:pt x="9392" y="1113"/>
                      <a:pt x="9420" y="1094"/>
                    </a:cubicBezTo>
                    <a:cubicBezTo>
                      <a:pt x="9469" y="1060"/>
                      <a:pt x="9536" y="1013"/>
                      <a:pt x="9592" y="973"/>
                    </a:cubicBezTo>
                    <a:cubicBezTo>
                      <a:pt x="9620" y="954"/>
                      <a:pt x="9645" y="936"/>
                      <a:pt x="9663" y="923"/>
                    </a:cubicBezTo>
                    <a:cubicBezTo>
                      <a:pt x="9673" y="917"/>
                      <a:pt x="9681" y="912"/>
                      <a:pt x="9686" y="908"/>
                    </a:cubicBezTo>
                    <a:cubicBezTo>
                      <a:pt x="9689" y="906"/>
                      <a:pt x="9692" y="905"/>
                      <a:pt x="9694" y="904"/>
                    </a:cubicBezTo>
                    <a:cubicBezTo>
                      <a:pt x="9697" y="903"/>
                      <a:pt x="9696" y="901"/>
                      <a:pt x="9706" y="900"/>
                    </a:cubicBezTo>
                    <a:cubicBezTo>
                      <a:pt x="9809" y="900"/>
                      <a:pt x="9809" y="900"/>
                      <a:pt x="9809" y="900"/>
                    </a:cubicBezTo>
                    <a:cubicBezTo>
                      <a:pt x="9808" y="826"/>
                      <a:pt x="9796" y="526"/>
                      <a:pt x="9784" y="241"/>
                    </a:cubicBezTo>
                    <a:cubicBezTo>
                      <a:pt x="9781" y="157"/>
                      <a:pt x="9777" y="75"/>
                      <a:pt x="9774" y="0"/>
                    </a:cubicBezTo>
                    <a:cubicBezTo>
                      <a:pt x="9810" y="0"/>
                      <a:pt x="9810" y="0"/>
                      <a:pt x="9810" y="0"/>
                    </a:cubicBezTo>
                    <a:cubicBezTo>
                      <a:pt x="9824" y="330"/>
                      <a:pt x="9844" y="803"/>
                      <a:pt x="9845" y="900"/>
                    </a:cubicBezTo>
                    <a:cubicBezTo>
                      <a:pt x="10595" y="900"/>
                      <a:pt x="10595" y="900"/>
                      <a:pt x="10595" y="900"/>
                    </a:cubicBezTo>
                    <a:cubicBezTo>
                      <a:pt x="10597" y="900"/>
                      <a:pt x="10742" y="900"/>
                      <a:pt x="10855" y="1008"/>
                    </a:cubicBezTo>
                    <a:cubicBezTo>
                      <a:pt x="10907" y="1059"/>
                      <a:pt x="11028" y="1165"/>
                      <a:pt x="11136" y="1257"/>
                    </a:cubicBezTo>
                    <a:cubicBezTo>
                      <a:pt x="11210" y="1321"/>
                      <a:pt x="11277" y="1378"/>
                      <a:pt x="11312" y="1408"/>
                    </a:cubicBezTo>
                    <a:cubicBezTo>
                      <a:pt x="11340" y="1421"/>
                      <a:pt x="11340" y="1421"/>
                      <a:pt x="11340" y="1421"/>
                    </a:cubicBezTo>
                    <a:cubicBezTo>
                      <a:pt x="11377" y="1385"/>
                      <a:pt x="11411" y="1352"/>
                      <a:pt x="11442" y="1323"/>
                    </a:cubicBezTo>
                    <a:cubicBezTo>
                      <a:pt x="11488" y="1278"/>
                      <a:pt x="11526" y="1241"/>
                      <a:pt x="11552" y="1215"/>
                    </a:cubicBezTo>
                    <a:cubicBezTo>
                      <a:pt x="11565" y="1202"/>
                      <a:pt x="11576" y="1192"/>
                      <a:pt x="11583" y="1185"/>
                    </a:cubicBezTo>
                    <a:cubicBezTo>
                      <a:pt x="11585" y="1183"/>
                      <a:pt x="11586" y="1182"/>
                      <a:pt x="11588" y="1180"/>
                    </a:cubicBezTo>
                    <a:cubicBezTo>
                      <a:pt x="11591" y="1176"/>
                      <a:pt x="11591" y="1176"/>
                      <a:pt x="11593" y="1173"/>
                    </a:cubicBezTo>
                    <a:cubicBezTo>
                      <a:pt x="11608" y="1157"/>
                      <a:pt x="11648" y="1116"/>
                      <a:pt x="11692" y="1070"/>
                    </a:cubicBezTo>
                    <a:cubicBezTo>
                      <a:pt x="11715" y="1046"/>
                      <a:pt x="11739" y="1020"/>
                      <a:pt x="11758" y="998"/>
                    </a:cubicBezTo>
                    <a:cubicBezTo>
                      <a:pt x="11755" y="987"/>
                      <a:pt x="11755" y="987"/>
                      <a:pt x="11755" y="987"/>
                    </a:cubicBezTo>
                    <a:cubicBezTo>
                      <a:pt x="11718" y="927"/>
                      <a:pt x="11579" y="680"/>
                      <a:pt x="11576" y="252"/>
                    </a:cubicBezTo>
                    <a:cubicBezTo>
                      <a:pt x="11575" y="162"/>
                      <a:pt x="11574" y="77"/>
                      <a:pt x="11572" y="0"/>
                    </a:cubicBezTo>
                    <a:cubicBezTo>
                      <a:pt x="11608" y="0"/>
                      <a:pt x="11608" y="0"/>
                      <a:pt x="11608" y="0"/>
                    </a:cubicBezTo>
                    <a:cubicBezTo>
                      <a:pt x="11610" y="77"/>
                      <a:pt x="11611" y="162"/>
                      <a:pt x="11612" y="252"/>
                    </a:cubicBezTo>
                    <a:cubicBezTo>
                      <a:pt x="11614" y="493"/>
                      <a:pt x="11660" y="676"/>
                      <a:pt x="11705" y="798"/>
                    </a:cubicBezTo>
                    <a:cubicBezTo>
                      <a:pt x="11727" y="859"/>
                      <a:pt x="11750" y="904"/>
                      <a:pt x="11767" y="935"/>
                    </a:cubicBezTo>
                    <a:cubicBezTo>
                      <a:pt x="11769" y="939"/>
                      <a:pt x="11771" y="943"/>
                      <a:pt x="11774" y="947"/>
                    </a:cubicBezTo>
                    <a:cubicBezTo>
                      <a:pt x="11790" y="959"/>
                      <a:pt x="11790" y="959"/>
                      <a:pt x="11790" y="959"/>
                    </a:cubicBezTo>
                    <a:cubicBezTo>
                      <a:pt x="11790" y="959"/>
                      <a:pt x="11790" y="959"/>
                      <a:pt x="11790" y="959"/>
                    </a:cubicBezTo>
                    <a:cubicBezTo>
                      <a:pt x="11812" y="927"/>
                      <a:pt x="11851" y="881"/>
                      <a:pt x="11899" y="835"/>
                    </a:cubicBezTo>
                    <a:cubicBezTo>
                      <a:pt x="11947" y="788"/>
                      <a:pt x="12003" y="743"/>
                      <a:pt x="12062" y="716"/>
                    </a:cubicBezTo>
                    <a:cubicBezTo>
                      <a:pt x="12175" y="665"/>
                      <a:pt x="12293" y="664"/>
                      <a:pt x="12415" y="659"/>
                    </a:cubicBezTo>
                    <a:cubicBezTo>
                      <a:pt x="12480" y="656"/>
                      <a:pt x="12919" y="655"/>
                      <a:pt x="13363" y="652"/>
                    </a:cubicBezTo>
                    <a:cubicBezTo>
                      <a:pt x="13584" y="651"/>
                      <a:pt x="13805" y="650"/>
                      <a:pt x="13979" y="648"/>
                    </a:cubicBezTo>
                    <a:cubicBezTo>
                      <a:pt x="13987" y="648"/>
                      <a:pt x="13995" y="648"/>
                      <a:pt x="14002" y="648"/>
                    </a:cubicBezTo>
                    <a:cubicBezTo>
                      <a:pt x="14005" y="642"/>
                      <a:pt x="14005" y="642"/>
                      <a:pt x="14005" y="642"/>
                    </a:cubicBezTo>
                    <a:cubicBezTo>
                      <a:pt x="14010" y="630"/>
                      <a:pt x="14022" y="598"/>
                      <a:pt x="14036" y="558"/>
                    </a:cubicBezTo>
                    <a:cubicBezTo>
                      <a:pt x="14081" y="430"/>
                      <a:pt x="14152" y="211"/>
                      <a:pt x="14169" y="161"/>
                    </a:cubicBezTo>
                    <a:cubicBezTo>
                      <a:pt x="14013" y="0"/>
                      <a:pt x="14013" y="0"/>
                      <a:pt x="14013" y="0"/>
                    </a:cubicBezTo>
                    <a:cubicBezTo>
                      <a:pt x="14033" y="0"/>
                      <a:pt x="14033" y="0"/>
                      <a:pt x="14033" y="0"/>
                    </a:cubicBezTo>
                    <a:cubicBezTo>
                      <a:pt x="14063" y="0"/>
                      <a:pt x="14063" y="0"/>
                      <a:pt x="14063" y="0"/>
                    </a:cubicBezTo>
                    <a:cubicBezTo>
                      <a:pt x="14070" y="0"/>
                      <a:pt x="14070" y="0"/>
                      <a:pt x="14070" y="0"/>
                    </a:cubicBezTo>
                    <a:cubicBezTo>
                      <a:pt x="14214" y="145"/>
                      <a:pt x="14214" y="145"/>
                      <a:pt x="14214" y="145"/>
                    </a:cubicBezTo>
                    <a:cubicBezTo>
                      <a:pt x="14212" y="153"/>
                      <a:pt x="14212" y="153"/>
                      <a:pt x="14212" y="153"/>
                    </a:cubicBezTo>
                    <a:cubicBezTo>
                      <a:pt x="14212" y="153"/>
                      <a:pt x="14172" y="281"/>
                      <a:pt x="14131" y="409"/>
                    </a:cubicBezTo>
                    <a:cubicBezTo>
                      <a:pt x="14110" y="474"/>
                      <a:pt x="14089" y="538"/>
                      <a:pt x="14072" y="586"/>
                    </a:cubicBezTo>
                    <a:cubicBezTo>
                      <a:pt x="14064" y="607"/>
                      <a:pt x="14058" y="625"/>
                      <a:pt x="14052" y="638"/>
                    </a:cubicBezTo>
                    <a:cubicBezTo>
                      <a:pt x="14053" y="647"/>
                      <a:pt x="14053" y="647"/>
                      <a:pt x="14053" y="647"/>
                    </a:cubicBezTo>
                    <a:cubicBezTo>
                      <a:pt x="14188" y="646"/>
                      <a:pt x="14285" y="644"/>
                      <a:pt x="14308" y="642"/>
                    </a:cubicBezTo>
                    <a:cubicBezTo>
                      <a:pt x="14371" y="637"/>
                      <a:pt x="14453" y="630"/>
                      <a:pt x="14527" y="616"/>
                    </a:cubicBezTo>
                    <a:cubicBezTo>
                      <a:pt x="14601" y="603"/>
                      <a:pt x="14667" y="578"/>
                      <a:pt x="14694" y="553"/>
                    </a:cubicBezTo>
                    <a:cubicBezTo>
                      <a:pt x="14768" y="488"/>
                      <a:pt x="14827" y="374"/>
                      <a:pt x="14839" y="346"/>
                    </a:cubicBezTo>
                    <a:cubicBezTo>
                      <a:pt x="14844" y="335"/>
                      <a:pt x="14912" y="189"/>
                      <a:pt x="14999" y="0"/>
                    </a:cubicBezTo>
                    <a:cubicBezTo>
                      <a:pt x="15126" y="0"/>
                      <a:pt x="15126" y="0"/>
                      <a:pt x="15126" y="0"/>
                    </a:cubicBezTo>
                    <a:cubicBezTo>
                      <a:pt x="15028" y="212"/>
                      <a:pt x="14949" y="383"/>
                      <a:pt x="14944" y="394"/>
                    </a:cubicBezTo>
                    <a:cubicBezTo>
                      <a:pt x="14927" y="430"/>
                      <a:pt x="14867" y="552"/>
                      <a:pt x="14770" y="639"/>
                    </a:cubicBezTo>
                    <a:cubicBezTo>
                      <a:pt x="14711" y="690"/>
                      <a:pt x="14631" y="712"/>
                      <a:pt x="14549" y="729"/>
                    </a:cubicBezTo>
                    <a:cubicBezTo>
                      <a:pt x="14466" y="745"/>
                      <a:pt x="14381" y="751"/>
                      <a:pt x="14317" y="756"/>
                    </a:cubicBezTo>
                    <a:cubicBezTo>
                      <a:pt x="14279" y="759"/>
                      <a:pt x="14155" y="761"/>
                      <a:pt x="13980" y="763"/>
                    </a:cubicBezTo>
                    <a:cubicBezTo>
                      <a:pt x="13665" y="766"/>
                      <a:pt x="13194" y="768"/>
                      <a:pt x="12851" y="770"/>
                    </a:cubicBezTo>
                    <a:cubicBezTo>
                      <a:pt x="12850" y="784"/>
                      <a:pt x="12850" y="784"/>
                      <a:pt x="12850" y="784"/>
                    </a:cubicBezTo>
                    <a:cubicBezTo>
                      <a:pt x="12852" y="799"/>
                      <a:pt x="12856" y="818"/>
                      <a:pt x="12861" y="842"/>
                    </a:cubicBezTo>
                    <a:cubicBezTo>
                      <a:pt x="12863" y="854"/>
                      <a:pt x="12866" y="867"/>
                      <a:pt x="12870" y="880"/>
                    </a:cubicBezTo>
                    <a:cubicBezTo>
                      <a:pt x="12977" y="876"/>
                      <a:pt x="13092" y="875"/>
                      <a:pt x="13214" y="875"/>
                    </a:cubicBezTo>
                    <a:cubicBezTo>
                      <a:pt x="13437" y="875"/>
                      <a:pt x="13681" y="879"/>
                      <a:pt x="13927" y="879"/>
                    </a:cubicBezTo>
                    <a:cubicBezTo>
                      <a:pt x="13949" y="879"/>
                      <a:pt x="13972" y="879"/>
                      <a:pt x="13995" y="879"/>
                    </a:cubicBezTo>
                    <a:cubicBezTo>
                      <a:pt x="14324" y="878"/>
                      <a:pt x="14532" y="856"/>
                      <a:pt x="14674" y="823"/>
                    </a:cubicBezTo>
                    <a:cubicBezTo>
                      <a:pt x="14817" y="789"/>
                      <a:pt x="14894" y="746"/>
                      <a:pt x="14976" y="693"/>
                    </a:cubicBezTo>
                    <a:cubicBezTo>
                      <a:pt x="14976" y="693"/>
                      <a:pt x="14979" y="691"/>
                      <a:pt x="14983" y="687"/>
                    </a:cubicBezTo>
                    <a:cubicBezTo>
                      <a:pt x="15000" y="671"/>
                      <a:pt x="15032" y="627"/>
                      <a:pt x="15069" y="569"/>
                    </a:cubicBezTo>
                    <a:cubicBezTo>
                      <a:pt x="15153" y="437"/>
                      <a:pt x="15265" y="225"/>
                      <a:pt x="15380" y="0"/>
                    </a:cubicBezTo>
                    <a:cubicBezTo>
                      <a:pt x="15536" y="0"/>
                      <a:pt x="15536" y="0"/>
                      <a:pt x="15536" y="0"/>
                    </a:cubicBezTo>
                    <a:cubicBezTo>
                      <a:pt x="15452" y="168"/>
                      <a:pt x="15367" y="331"/>
                      <a:pt x="15291" y="466"/>
                    </a:cubicBezTo>
                    <a:cubicBezTo>
                      <a:pt x="15243" y="552"/>
                      <a:pt x="15199" y="626"/>
                      <a:pt x="15161" y="683"/>
                    </a:cubicBezTo>
                    <a:cubicBezTo>
                      <a:pt x="15142" y="712"/>
                      <a:pt x="15124" y="737"/>
                      <a:pt x="15107" y="758"/>
                    </a:cubicBezTo>
                    <a:cubicBezTo>
                      <a:pt x="15089" y="779"/>
                      <a:pt x="15074" y="795"/>
                      <a:pt x="15052" y="810"/>
                    </a:cubicBezTo>
                    <a:cubicBezTo>
                      <a:pt x="14965" y="867"/>
                      <a:pt x="14864" y="922"/>
                      <a:pt x="14706" y="959"/>
                    </a:cubicBezTo>
                    <a:cubicBezTo>
                      <a:pt x="14548" y="995"/>
                      <a:pt x="14331" y="1017"/>
                      <a:pt x="13995" y="1018"/>
                    </a:cubicBezTo>
                    <a:cubicBezTo>
                      <a:pt x="13972" y="1018"/>
                      <a:pt x="13950" y="1018"/>
                      <a:pt x="13927" y="1018"/>
                    </a:cubicBezTo>
                    <a:cubicBezTo>
                      <a:pt x="13679" y="1018"/>
                      <a:pt x="13435" y="1014"/>
                      <a:pt x="13214" y="1014"/>
                    </a:cubicBezTo>
                    <a:cubicBezTo>
                      <a:pt x="13264" y="1016"/>
                      <a:pt x="13264" y="1016"/>
                      <a:pt x="13264" y="1016"/>
                    </a:cubicBezTo>
                    <a:cubicBezTo>
                      <a:pt x="13206" y="1016"/>
                      <a:pt x="13082" y="1044"/>
                      <a:pt x="12933" y="1075"/>
                    </a:cubicBezTo>
                    <a:cubicBezTo>
                      <a:pt x="12996" y="1240"/>
                      <a:pt x="13105" y="1548"/>
                      <a:pt x="13133" y="1656"/>
                    </a:cubicBezTo>
                    <a:cubicBezTo>
                      <a:pt x="13158" y="1753"/>
                      <a:pt x="13180" y="1888"/>
                      <a:pt x="13187" y="1929"/>
                    </a:cubicBezTo>
                    <a:cubicBezTo>
                      <a:pt x="13251" y="1902"/>
                      <a:pt x="13316" y="1901"/>
                      <a:pt x="13364" y="1899"/>
                    </a:cubicBezTo>
                    <a:cubicBezTo>
                      <a:pt x="13365" y="1899"/>
                      <a:pt x="13365" y="1899"/>
                      <a:pt x="13365" y="1899"/>
                    </a:cubicBezTo>
                    <a:cubicBezTo>
                      <a:pt x="13366" y="1899"/>
                      <a:pt x="13366" y="1899"/>
                      <a:pt x="13366" y="1899"/>
                    </a:cubicBezTo>
                    <a:cubicBezTo>
                      <a:pt x="13366" y="1899"/>
                      <a:pt x="13521" y="1902"/>
                      <a:pt x="13735" y="1906"/>
                    </a:cubicBezTo>
                    <a:cubicBezTo>
                      <a:pt x="13949" y="1909"/>
                      <a:pt x="14221" y="1913"/>
                      <a:pt x="14455" y="1913"/>
                    </a:cubicBezTo>
                    <a:cubicBezTo>
                      <a:pt x="14687" y="1913"/>
                      <a:pt x="14883" y="1909"/>
                      <a:pt x="14938" y="1899"/>
                    </a:cubicBezTo>
                    <a:cubicBezTo>
                      <a:pt x="15115" y="1868"/>
                      <a:pt x="15693" y="1824"/>
                      <a:pt x="16196" y="1690"/>
                    </a:cubicBezTo>
                    <a:cubicBezTo>
                      <a:pt x="16692" y="1559"/>
                      <a:pt x="17406" y="1025"/>
                      <a:pt x="17853" y="732"/>
                    </a:cubicBezTo>
                    <a:cubicBezTo>
                      <a:pt x="17846" y="722"/>
                      <a:pt x="17838" y="712"/>
                      <a:pt x="17831" y="703"/>
                    </a:cubicBezTo>
                    <a:cubicBezTo>
                      <a:pt x="17701" y="543"/>
                      <a:pt x="17483" y="300"/>
                      <a:pt x="17018" y="0"/>
                    </a:cubicBezTo>
                    <a:cubicBezTo>
                      <a:pt x="17084" y="0"/>
                      <a:pt x="17084" y="0"/>
                      <a:pt x="17084" y="0"/>
                    </a:cubicBezTo>
                    <a:cubicBezTo>
                      <a:pt x="17520" y="288"/>
                      <a:pt x="17732" y="524"/>
                      <a:pt x="17859" y="680"/>
                    </a:cubicBezTo>
                    <a:cubicBezTo>
                      <a:pt x="17867" y="690"/>
                      <a:pt x="17875" y="701"/>
                      <a:pt x="17883" y="711"/>
                    </a:cubicBezTo>
                    <a:cubicBezTo>
                      <a:pt x="17922" y="686"/>
                      <a:pt x="17962" y="658"/>
                      <a:pt x="18004" y="628"/>
                    </a:cubicBezTo>
                    <a:lnTo>
                      <a:pt x="18004" y="673"/>
                    </a:lnTo>
                    <a:close/>
                    <a:moveTo>
                      <a:pt x="12548" y="1153"/>
                    </a:moveTo>
                    <a:cubicBezTo>
                      <a:pt x="12374" y="1200"/>
                      <a:pt x="12262" y="1254"/>
                      <a:pt x="12234" y="1270"/>
                    </a:cubicBezTo>
                    <a:cubicBezTo>
                      <a:pt x="12164" y="1309"/>
                      <a:pt x="11798" y="1605"/>
                      <a:pt x="11618" y="1731"/>
                    </a:cubicBezTo>
                    <a:cubicBezTo>
                      <a:pt x="11571" y="1774"/>
                      <a:pt x="11524" y="1818"/>
                      <a:pt x="11478" y="1861"/>
                    </a:cubicBezTo>
                    <a:cubicBezTo>
                      <a:pt x="11333" y="1997"/>
                      <a:pt x="11196" y="2127"/>
                      <a:pt x="11085" y="2230"/>
                    </a:cubicBezTo>
                    <a:cubicBezTo>
                      <a:pt x="11029" y="2281"/>
                      <a:pt x="10980" y="2325"/>
                      <a:pt x="10940" y="2359"/>
                    </a:cubicBezTo>
                    <a:cubicBezTo>
                      <a:pt x="10899" y="2394"/>
                      <a:pt x="10869" y="2419"/>
                      <a:pt x="10842" y="2435"/>
                    </a:cubicBezTo>
                    <a:cubicBezTo>
                      <a:pt x="10822" y="2447"/>
                      <a:pt x="10801" y="2455"/>
                      <a:pt x="10769" y="2467"/>
                    </a:cubicBezTo>
                    <a:cubicBezTo>
                      <a:pt x="10722" y="2484"/>
                      <a:pt x="10657" y="2505"/>
                      <a:pt x="10577" y="2530"/>
                    </a:cubicBezTo>
                    <a:cubicBezTo>
                      <a:pt x="10609" y="2651"/>
                      <a:pt x="10650" y="2803"/>
                      <a:pt x="10689" y="2958"/>
                    </a:cubicBezTo>
                    <a:cubicBezTo>
                      <a:pt x="10690" y="2957"/>
                      <a:pt x="10690" y="2957"/>
                      <a:pt x="10691" y="2957"/>
                    </a:cubicBezTo>
                    <a:cubicBezTo>
                      <a:pt x="10693" y="2956"/>
                      <a:pt x="10693" y="2956"/>
                      <a:pt x="10693" y="2956"/>
                    </a:cubicBezTo>
                    <a:cubicBezTo>
                      <a:pt x="10693" y="2956"/>
                      <a:pt x="10693" y="2956"/>
                      <a:pt x="10693" y="2956"/>
                    </a:cubicBezTo>
                    <a:cubicBezTo>
                      <a:pt x="10699" y="2956"/>
                      <a:pt x="12283" y="2922"/>
                      <a:pt x="12284" y="2922"/>
                    </a:cubicBezTo>
                    <a:cubicBezTo>
                      <a:pt x="12283" y="2922"/>
                      <a:pt x="12286" y="2922"/>
                      <a:pt x="12291" y="2922"/>
                    </a:cubicBezTo>
                    <a:cubicBezTo>
                      <a:pt x="12310" y="2922"/>
                      <a:pt x="12360" y="2924"/>
                      <a:pt x="12415" y="2942"/>
                    </a:cubicBezTo>
                    <a:cubicBezTo>
                      <a:pt x="12427" y="2913"/>
                      <a:pt x="12469" y="2816"/>
                      <a:pt x="12487" y="2778"/>
                    </a:cubicBezTo>
                    <a:cubicBezTo>
                      <a:pt x="12495" y="2762"/>
                      <a:pt x="12522" y="2726"/>
                      <a:pt x="12561" y="2675"/>
                    </a:cubicBezTo>
                    <a:cubicBezTo>
                      <a:pt x="12675" y="2528"/>
                      <a:pt x="12882" y="2275"/>
                      <a:pt x="12894" y="2260"/>
                    </a:cubicBezTo>
                    <a:cubicBezTo>
                      <a:pt x="12902" y="2248"/>
                      <a:pt x="13007" y="2092"/>
                      <a:pt x="13087" y="2001"/>
                    </a:cubicBezTo>
                    <a:cubicBezTo>
                      <a:pt x="13108" y="1978"/>
                      <a:pt x="13130" y="1960"/>
                      <a:pt x="13153" y="1947"/>
                    </a:cubicBezTo>
                    <a:cubicBezTo>
                      <a:pt x="13151" y="1937"/>
                      <a:pt x="13126" y="1775"/>
                      <a:pt x="13098" y="1665"/>
                    </a:cubicBezTo>
                    <a:cubicBezTo>
                      <a:pt x="13071" y="1560"/>
                      <a:pt x="12960" y="1245"/>
                      <a:pt x="12898" y="1083"/>
                    </a:cubicBezTo>
                    <a:cubicBezTo>
                      <a:pt x="12896" y="1083"/>
                      <a:pt x="12895" y="1083"/>
                      <a:pt x="12894" y="1084"/>
                    </a:cubicBezTo>
                    <a:cubicBezTo>
                      <a:pt x="12781" y="1107"/>
                      <a:pt x="12652" y="1124"/>
                      <a:pt x="12548" y="1153"/>
                    </a:cubicBezTo>
                    <a:close/>
                    <a:moveTo>
                      <a:pt x="10024" y="5765"/>
                    </a:moveTo>
                    <a:cubicBezTo>
                      <a:pt x="10024" y="6024"/>
                      <a:pt x="10000" y="6340"/>
                      <a:pt x="9995" y="6473"/>
                    </a:cubicBezTo>
                    <a:cubicBezTo>
                      <a:pt x="9995" y="6484"/>
                      <a:pt x="9995" y="6494"/>
                      <a:pt x="9995" y="6504"/>
                    </a:cubicBezTo>
                    <a:cubicBezTo>
                      <a:pt x="9995" y="6585"/>
                      <a:pt x="10007" y="6639"/>
                      <a:pt x="10020" y="6673"/>
                    </a:cubicBezTo>
                    <a:cubicBezTo>
                      <a:pt x="10026" y="6689"/>
                      <a:pt x="10033" y="6701"/>
                      <a:pt x="10038" y="6708"/>
                    </a:cubicBezTo>
                    <a:cubicBezTo>
                      <a:pt x="10041" y="6712"/>
                      <a:pt x="10043" y="6714"/>
                      <a:pt x="10045" y="6716"/>
                    </a:cubicBezTo>
                    <a:cubicBezTo>
                      <a:pt x="10045" y="6716"/>
                      <a:pt x="10045" y="6716"/>
                      <a:pt x="10045" y="6716"/>
                    </a:cubicBezTo>
                    <a:cubicBezTo>
                      <a:pt x="10048" y="6717"/>
                      <a:pt x="10048" y="6718"/>
                      <a:pt x="10050" y="6718"/>
                    </a:cubicBezTo>
                    <a:cubicBezTo>
                      <a:pt x="10079" y="6733"/>
                      <a:pt x="10255" y="6836"/>
                      <a:pt x="10425" y="6937"/>
                    </a:cubicBezTo>
                    <a:cubicBezTo>
                      <a:pt x="10510" y="6988"/>
                      <a:pt x="10594" y="7038"/>
                      <a:pt x="10656" y="7075"/>
                    </a:cubicBezTo>
                    <a:cubicBezTo>
                      <a:pt x="10687" y="7094"/>
                      <a:pt x="10713" y="7110"/>
                      <a:pt x="10731" y="7121"/>
                    </a:cubicBezTo>
                    <a:cubicBezTo>
                      <a:pt x="10740" y="7127"/>
                      <a:pt x="10747" y="7131"/>
                      <a:pt x="10752" y="7135"/>
                    </a:cubicBezTo>
                    <a:cubicBezTo>
                      <a:pt x="10754" y="7136"/>
                      <a:pt x="10755" y="7137"/>
                      <a:pt x="10757" y="7138"/>
                    </a:cubicBezTo>
                    <a:cubicBezTo>
                      <a:pt x="10818" y="7143"/>
                      <a:pt x="11354" y="7182"/>
                      <a:pt x="11355" y="7182"/>
                    </a:cubicBezTo>
                    <a:cubicBezTo>
                      <a:pt x="11355" y="7182"/>
                      <a:pt x="11541" y="7192"/>
                      <a:pt x="11639" y="7192"/>
                    </a:cubicBezTo>
                    <a:cubicBezTo>
                      <a:pt x="11654" y="7192"/>
                      <a:pt x="11666" y="7192"/>
                      <a:pt x="11676" y="7191"/>
                    </a:cubicBezTo>
                    <a:cubicBezTo>
                      <a:pt x="11681" y="7191"/>
                      <a:pt x="11684" y="7191"/>
                      <a:pt x="11687" y="7190"/>
                    </a:cubicBezTo>
                    <a:cubicBezTo>
                      <a:pt x="11689" y="7190"/>
                      <a:pt x="11690" y="7190"/>
                      <a:pt x="11690" y="7190"/>
                    </a:cubicBezTo>
                    <a:cubicBezTo>
                      <a:pt x="11691" y="7190"/>
                      <a:pt x="11691" y="7190"/>
                      <a:pt x="11691" y="7190"/>
                    </a:cubicBezTo>
                    <a:cubicBezTo>
                      <a:pt x="11692" y="7189"/>
                      <a:pt x="11692" y="7189"/>
                      <a:pt x="11692" y="7189"/>
                    </a:cubicBezTo>
                    <a:cubicBezTo>
                      <a:pt x="11693" y="7189"/>
                      <a:pt x="11693" y="7189"/>
                      <a:pt x="11693" y="7189"/>
                    </a:cubicBezTo>
                    <a:cubicBezTo>
                      <a:pt x="11800" y="7168"/>
                      <a:pt x="11875" y="7049"/>
                      <a:pt x="11920" y="6932"/>
                    </a:cubicBezTo>
                    <a:cubicBezTo>
                      <a:pt x="11942" y="6873"/>
                      <a:pt x="11958" y="6816"/>
                      <a:pt x="11968" y="6773"/>
                    </a:cubicBezTo>
                    <a:cubicBezTo>
                      <a:pt x="11977" y="6730"/>
                      <a:pt x="11981" y="6703"/>
                      <a:pt x="11981" y="6703"/>
                    </a:cubicBezTo>
                    <a:cubicBezTo>
                      <a:pt x="12255" y="4824"/>
                      <a:pt x="12255" y="4824"/>
                      <a:pt x="12255" y="4824"/>
                    </a:cubicBezTo>
                    <a:cubicBezTo>
                      <a:pt x="12255" y="4813"/>
                      <a:pt x="12251" y="4755"/>
                      <a:pt x="12251" y="4729"/>
                    </a:cubicBezTo>
                    <a:cubicBezTo>
                      <a:pt x="12251" y="4725"/>
                      <a:pt x="12251" y="4722"/>
                      <a:pt x="12251" y="4720"/>
                    </a:cubicBezTo>
                    <a:cubicBezTo>
                      <a:pt x="12252" y="4719"/>
                      <a:pt x="12252" y="4718"/>
                      <a:pt x="12252" y="4717"/>
                    </a:cubicBezTo>
                    <a:cubicBezTo>
                      <a:pt x="12233" y="4611"/>
                      <a:pt x="12183" y="4561"/>
                      <a:pt x="12128" y="4534"/>
                    </a:cubicBezTo>
                    <a:cubicBezTo>
                      <a:pt x="12073" y="4507"/>
                      <a:pt x="12011" y="4506"/>
                      <a:pt x="11972" y="4506"/>
                    </a:cubicBezTo>
                    <a:cubicBezTo>
                      <a:pt x="11931" y="4506"/>
                      <a:pt x="11826" y="4519"/>
                      <a:pt x="11695" y="4519"/>
                    </a:cubicBezTo>
                    <a:cubicBezTo>
                      <a:pt x="11583" y="4519"/>
                      <a:pt x="11451" y="4510"/>
                      <a:pt x="11318" y="4475"/>
                    </a:cubicBezTo>
                    <a:cubicBezTo>
                      <a:pt x="11166" y="4433"/>
                      <a:pt x="11058" y="4274"/>
                      <a:pt x="10982" y="4119"/>
                    </a:cubicBezTo>
                    <a:cubicBezTo>
                      <a:pt x="10907" y="3963"/>
                      <a:pt x="10864" y="3808"/>
                      <a:pt x="10853" y="3773"/>
                    </a:cubicBezTo>
                    <a:cubicBezTo>
                      <a:pt x="10851" y="3769"/>
                      <a:pt x="10849" y="3761"/>
                      <a:pt x="10846" y="3750"/>
                    </a:cubicBezTo>
                    <a:cubicBezTo>
                      <a:pt x="8035" y="4561"/>
                      <a:pt x="8035" y="4561"/>
                      <a:pt x="8035" y="4561"/>
                    </a:cubicBezTo>
                    <a:cubicBezTo>
                      <a:pt x="8013" y="4576"/>
                      <a:pt x="8013" y="4576"/>
                      <a:pt x="8013" y="4576"/>
                    </a:cubicBezTo>
                    <a:cubicBezTo>
                      <a:pt x="8328" y="5115"/>
                      <a:pt x="8328" y="5115"/>
                      <a:pt x="8328" y="5115"/>
                    </a:cubicBezTo>
                    <a:cubicBezTo>
                      <a:pt x="8329" y="5116"/>
                      <a:pt x="8329" y="5116"/>
                      <a:pt x="8329" y="5116"/>
                    </a:cubicBezTo>
                    <a:cubicBezTo>
                      <a:pt x="8448" y="5345"/>
                      <a:pt x="8627" y="5802"/>
                      <a:pt x="8647" y="6141"/>
                    </a:cubicBezTo>
                    <a:cubicBezTo>
                      <a:pt x="8653" y="6248"/>
                      <a:pt x="8655" y="6386"/>
                      <a:pt x="8655" y="6528"/>
                    </a:cubicBezTo>
                    <a:cubicBezTo>
                      <a:pt x="8655" y="6822"/>
                      <a:pt x="8646" y="7133"/>
                      <a:pt x="8642" y="7219"/>
                    </a:cubicBezTo>
                    <a:cubicBezTo>
                      <a:pt x="8639" y="7271"/>
                      <a:pt x="8635" y="7327"/>
                      <a:pt x="8635" y="7383"/>
                    </a:cubicBezTo>
                    <a:cubicBezTo>
                      <a:pt x="8635" y="7466"/>
                      <a:pt x="8644" y="7547"/>
                      <a:pt x="8674" y="7614"/>
                    </a:cubicBezTo>
                    <a:cubicBezTo>
                      <a:pt x="8722" y="7727"/>
                      <a:pt x="8865" y="7858"/>
                      <a:pt x="9016" y="7923"/>
                    </a:cubicBezTo>
                    <a:cubicBezTo>
                      <a:pt x="9171" y="7990"/>
                      <a:pt x="9728" y="8242"/>
                      <a:pt x="10212" y="8407"/>
                    </a:cubicBezTo>
                    <a:cubicBezTo>
                      <a:pt x="10217" y="8402"/>
                      <a:pt x="10223" y="8393"/>
                      <a:pt x="10228" y="8386"/>
                    </a:cubicBezTo>
                    <a:cubicBezTo>
                      <a:pt x="10673" y="7128"/>
                      <a:pt x="10673" y="7128"/>
                      <a:pt x="10673" y="7128"/>
                    </a:cubicBezTo>
                    <a:cubicBezTo>
                      <a:pt x="10657" y="7118"/>
                      <a:pt x="10638" y="7107"/>
                      <a:pt x="10617" y="7094"/>
                    </a:cubicBezTo>
                    <a:cubicBezTo>
                      <a:pt x="10517" y="7034"/>
                      <a:pt x="10372" y="6948"/>
                      <a:pt x="10252" y="6877"/>
                    </a:cubicBezTo>
                    <a:cubicBezTo>
                      <a:pt x="10192" y="6841"/>
                      <a:pt x="10137" y="6810"/>
                      <a:pt x="10098" y="6787"/>
                    </a:cubicBezTo>
                    <a:cubicBezTo>
                      <a:pt x="10078" y="6775"/>
                      <a:pt x="10061" y="6766"/>
                      <a:pt x="10050" y="6759"/>
                    </a:cubicBezTo>
                    <a:cubicBezTo>
                      <a:pt x="10044" y="6756"/>
                      <a:pt x="10040" y="6754"/>
                      <a:pt x="10036" y="6752"/>
                    </a:cubicBezTo>
                    <a:cubicBezTo>
                      <a:pt x="10035" y="6751"/>
                      <a:pt x="10034" y="6750"/>
                      <a:pt x="10033" y="6750"/>
                    </a:cubicBezTo>
                    <a:cubicBezTo>
                      <a:pt x="10033" y="6750"/>
                      <a:pt x="10032" y="6750"/>
                      <a:pt x="10032" y="6750"/>
                    </a:cubicBezTo>
                    <a:cubicBezTo>
                      <a:pt x="10033" y="6750"/>
                      <a:pt x="10033" y="6750"/>
                      <a:pt x="10033" y="6750"/>
                    </a:cubicBezTo>
                    <a:cubicBezTo>
                      <a:pt x="10022" y="6746"/>
                      <a:pt x="10017" y="6739"/>
                      <a:pt x="10009" y="6730"/>
                    </a:cubicBezTo>
                    <a:cubicBezTo>
                      <a:pt x="9987" y="6699"/>
                      <a:pt x="9959" y="6630"/>
                      <a:pt x="9959" y="6504"/>
                    </a:cubicBezTo>
                    <a:cubicBezTo>
                      <a:pt x="9959" y="6494"/>
                      <a:pt x="9959" y="6483"/>
                      <a:pt x="9959" y="6472"/>
                    </a:cubicBezTo>
                    <a:cubicBezTo>
                      <a:pt x="9964" y="6337"/>
                      <a:pt x="9988" y="6022"/>
                      <a:pt x="9988" y="5765"/>
                    </a:cubicBezTo>
                    <a:cubicBezTo>
                      <a:pt x="9988" y="5660"/>
                      <a:pt x="9984" y="5565"/>
                      <a:pt x="9973" y="5497"/>
                    </a:cubicBezTo>
                    <a:cubicBezTo>
                      <a:pt x="9955" y="5379"/>
                      <a:pt x="9867" y="5029"/>
                      <a:pt x="9784" y="4711"/>
                    </a:cubicBezTo>
                    <a:cubicBezTo>
                      <a:pt x="9701" y="4393"/>
                      <a:pt x="9623" y="4105"/>
                      <a:pt x="9623" y="4105"/>
                    </a:cubicBezTo>
                    <a:cubicBezTo>
                      <a:pt x="9658" y="4095"/>
                      <a:pt x="9658" y="4095"/>
                      <a:pt x="9658" y="4095"/>
                    </a:cubicBezTo>
                    <a:cubicBezTo>
                      <a:pt x="9658" y="4096"/>
                      <a:pt x="9970" y="5248"/>
                      <a:pt x="10009" y="5491"/>
                    </a:cubicBezTo>
                    <a:cubicBezTo>
                      <a:pt x="10020" y="5563"/>
                      <a:pt x="10024" y="5659"/>
                      <a:pt x="10024" y="5765"/>
                    </a:cubicBezTo>
                    <a:close/>
                    <a:moveTo>
                      <a:pt x="5191" y="3367"/>
                    </a:moveTo>
                    <a:cubicBezTo>
                      <a:pt x="5028" y="3744"/>
                      <a:pt x="5028" y="3744"/>
                      <a:pt x="5028" y="3744"/>
                    </a:cubicBezTo>
                    <a:cubicBezTo>
                      <a:pt x="5154" y="3781"/>
                      <a:pt x="5279" y="3822"/>
                      <a:pt x="5386" y="3868"/>
                    </a:cubicBezTo>
                    <a:cubicBezTo>
                      <a:pt x="5575" y="3949"/>
                      <a:pt x="5684" y="4076"/>
                      <a:pt x="5949" y="4224"/>
                    </a:cubicBezTo>
                    <a:cubicBezTo>
                      <a:pt x="6131" y="4327"/>
                      <a:pt x="6160" y="4561"/>
                      <a:pt x="6161" y="4713"/>
                    </a:cubicBezTo>
                    <a:cubicBezTo>
                      <a:pt x="6161" y="4770"/>
                      <a:pt x="6156" y="4816"/>
                      <a:pt x="6153" y="4840"/>
                    </a:cubicBezTo>
                    <a:cubicBezTo>
                      <a:pt x="7775" y="4912"/>
                      <a:pt x="7775" y="4912"/>
                      <a:pt x="7775" y="4912"/>
                    </a:cubicBezTo>
                    <a:cubicBezTo>
                      <a:pt x="7659" y="4754"/>
                      <a:pt x="7523" y="4606"/>
                      <a:pt x="7396" y="4465"/>
                    </a:cubicBezTo>
                    <a:cubicBezTo>
                      <a:pt x="7290" y="4348"/>
                      <a:pt x="7191" y="4237"/>
                      <a:pt x="7116" y="4127"/>
                    </a:cubicBezTo>
                    <a:cubicBezTo>
                      <a:pt x="7042" y="4018"/>
                      <a:pt x="6990" y="3908"/>
                      <a:pt x="6989" y="3791"/>
                    </a:cubicBezTo>
                    <a:cubicBezTo>
                      <a:pt x="6989" y="3774"/>
                      <a:pt x="6990" y="3756"/>
                      <a:pt x="6993" y="3739"/>
                    </a:cubicBezTo>
                    <a:cubicBezTo>
                      <a:pt x="7009" y="3628"/>
                      <a:pt x="7059" y="3538"/>
                      <a:pt x="7123" y="3468"/>
                    </a:cubicBezTo>
                    <a:cubicBezTo>
                      <a:pt x="7189" y="3397"/>
                      <a:pt x="7268" y="3346"/>
                      <a:pt x="7347" y="3307"/>
                    </a:cubicBezTo>
                    <a:cubicBezTo>
                      <a:pt x="7331" y="3275"/>
                      <a:pt x="7312" y="3239"/>
                      <a:pt x="7291" y="3203"/>
                    </a:cubicBezTo>
                    <a:cubicBezTo>
                      <a:pt x="7258" y="3148"/>
                      <a:pt x="7219" y="3095"/>
                      <a:pt x="7188" y="3072"/>
                    </a:cubicBezTo>
                    <a:cubicBezTo>
                      <a:pt x="7093" y="2997"/>
                      <a:pt x="6968" y="2975"/>
                      <a:pt x="6857" y="2951"/>
                    </a:cubicBezTo>
                    <a:cubicBezTo>
                      <a:pt x="6747" y="2925"/>
                      <a:pt x="6184" y="2782"/>
                      <a:pt x="6006" y="2728"/>
                    </a:cubicBezTo>
                    <a:cubicBezTo>
                      <a:pt x="5859" y="2685"/>
                      <a:pt x="5456" y="2565"/>
                      <a:pt x="5331" y="2528"/>
                    </a:cubicBezTo>
                    <a:cubicBezTo>
                      <a:pt x="5323" y="2540"/>
                      <a:pt x="5323" y="2540"/>
                      <a:pt x="5323" y="2540"/>
                    </a:cubicBezTo>
                    <a:cubicBezTo>
                      <a:pt x="5287" y="2667"/>
                      <a:pt x="5193" y="2957"/>
                      <a:pt x="5183" y="2989"/>
                    </a:cubicBezTo>
                    <a:lnTo>
                      <a:pt x="5191" y="3367"/>
                    </a:lnTo>
                    <a:close/>
                    <a:moveTo>
                      <a:pt x="10695" y="2975"/>
                    </a:moveTo>
                    <a:cubicBezTo>
                      <a:pt x="10695" y="2982"/>
                      <a:pt x="10695" y="2982"/>
                      <a:pt x="10695" y="2982"/>
                    </a:cubicBezTo>
                    <a:cubicBezTo>
                      <a:pt x="10695" y="2983"/>
                      <a:pt x="10696" y="2984"/>
                      <a:pt x="10696" y="2985"/>
                    </a:cubicBezTo>
                    <a:cubicBezTo>
                      <a:pt x="10695" y="2974"/>
                      <a:pt x="10695" y="2974"/>
                      <a:pt x="10695" y="2974"/>
                    </a:cubicBezTo>
                    <a:cubicBezTo>
                      <a:pt x="10695" y="2980"/>
                      <a:pt x="10695" y="2980"/>
                      <a:pt x="10695" y="2980"/>
                    </a:cubicBezTo>
                    <a:cubicBezTo>
                      <a:pt x="10695" y="2980"/>
                      <a:pt x="10695" y="2981"/>
                      <a:pt x="10695" y="2981"/>
                    </a:cubicBezTo>
                    <a:cubicBezTo>
                      <a:pt x="10695" y="2980"/>
                      <a:pt x="10695" y="2980"/>
                      <a:pt x="10695" y="2980"/>
                    </a:cubicBezTo>
                    <a:lnTo>
                      <a:pt x="10695" y="2975"/>
                    </a:lnTo>
                    <a:close/>
                    <a:moveTo>
                      <a:pt x="10655" y="2972"/>
                    </a:moveTo>
                    <a:cubicBezTo>
                      <a:pt x="10616" y="2816"/>
                      <a:pt x="10575" y="2662"/>
                      <a:pt x="10542" y="2541"/>
                    </a:cubicBezTo>
                    <a:cubicBezTo>
                      <a:pt x="10423" y="2577"/>
                      <a:pt x="10275" y="2620"/>
                      <a:pt x="10109" y="2667"/>
                    </a:cubicBezTo>
                    <a:cubicBezTo>
                      <a:pt x="9658" y="2795"/>
                      <a:pt x="9077" y="2953"/>
                      <a:pt x="8601" y="3082"/>
                    </a:cubicBezTo>
                    <a:cubicBezTo>
                      <a:pt x="8363" y="3146"/>
                      <a:pt x="8151" y="3203"/>
                      <a:pt x="7995" y="3246"/>
                    </a:cubicBezTo>
                    <a:cubicBezTo>
                      <a:pt x="7917" y="3267"/>
                      <a:pt x="7853" y="3284"/>
                      <a:pt x="7807" y="3297"/>
                    </a:cubicBezTo>
                    <a:cubicBezTo>
                      <a:pt x="7784" y="3304"/>
                      <a:pt x="7766" y="3309"/>
                      <a:pt x="7752" y="3313"/>
                    </a:cubicBezTo>
                    <a:cubicBezTo>
                      <a:pt x="7746" y="3315"/>
                      <a:pt x="7740" y="3317"/>
                      <a:pt x="7737" y="3318"/>
                    </a:cubicBezTo>
                    <a:cubicBezTo>
                      <a:pt x="7735" y="3319"/>
                      <a:pt x="7733" y="3319"/>
                      <a:pt x="7733" y="3320"/>
                    </a:cubicBezTo>
                    <a:cubicBezTo>
                      <a:pt x="7733" y="3320"/>
                      <a:pt x="7733" y="3320"/>
                      <a:pt x="7733" y="3320"/>
                    </a:cubicBezTo>
                    <a:cubicBezTo>
                      <a:pt x="7715" y="3327"/>
                      <a:pt x="7698" y="3331"/>
                      <a:pt x="7675" y="3338"/>
                    </a:cubicBezTo>
                    <a:cubicBezTo>
                      <a:pt x="7632" y="3350"/>
                      <a:pt x="7572" y="3366"/>
                      <a:pt x="7508" y="3390"/>
                    </a:cubicBezTo>
                    <a:cubicBezTo>
                      <a:pt x="7914" y="4405"/>
                      <a:pt x="7914" y="4405"/>
                      <a:pt x="7914" y="4405"/>
                    </a:cubicBezTo>
                    <a:cubicBezTo>
                      <a:pt x="7987" y="4531"/>
                      <a:pt x="7987" y="4531"/>
                      <a:pt x="7987" y="4531"/>
                    </a:cubicBezTo>
                    <a:cubicBezTo>
                      <a:pt x="8013" y="4530"/>
                      <a:pt x="8013" y="4530"/>
                      <a:pt x="8013" y="4530"/>
                    </a:cubicBezTo>
                    <a:cubicBezTo>
                      <a:pt x="10837" y="3715"/>
                      <a:pt x="10837" y="3715"/>
                      <a:pt x="10837" y="3715"/>
                    </a:cubicBezTo>
                    <a:cubicBezTo>
                      <a:pt x="10805" y="3587"/>
                      <a:pt x="10732" y="3276"/>
                      <a:pt x="10655" y="2972"/>
                    </a:cubicBezTo>
                    <a:close/>
                    <a:moveTo>
                      <a:pt x="7811" y="4456"/>
                    </a:moveTo>
                    <a:cubicBezTo>
                      <a:pt x="7402" y="3435"/>
                      <a:pt x="7402" y="3435"/>
                      <a:pt x="7402" y="3435"/>
                    </a:cubicBezTo>
                    <a:cubicBezTo>
                      <a:pt x="7387" y="3443"/>
                      <a:pt x="7371" y="3451"/>
                      <a:pt x="7356" y="3460"/>
                    </a:cubicBezTo>
                    <a:cubicBezTo>
                      <a:pt x="7242" y="3527"/>
                      <a:pt x="7152" y="3619"/>
                      <a:pt x="7131" y="3760"/>
                    </a:cubicBezTo>
                    <a:cubicBezTo>
                      <a:pt x="7129" y="3770"/>
                      <a:pt x="7128" y="3781"/>
                      <a:pt x="7128" y="3791"/>
                    </a:cubicBezTo>
                    <a:cubicBezTo>
                      <a:pt x="7128" y="3863"/>
                      <a:pt x="7164" y="3950"/>
                      <a:pt x="7232" y="4049"/>
                    </a:cubicBezTo>
                    <a:cubicBezTo>
                      <a:pt x="7332" y="4197"/>
                      <a:pt x="7497" y="4366"/>
                      <a:pt x="7662" y="4553"/>
                    </a:cubicBezTo>
                    <a:cubicBezTo>
                      <a:pt x="7763" y="4667"/>
                      <a:pt x="7864" y="4789"/>
                      <a:pt x="7951" y="4920"/>
                    </a:cubicBezTo>
                    <a:cubicBezTo>
                      <a:pt x="8058" y="4924"/>
                      <a:pt x="8058" y="4924"/>
                      <a:pt x="8058" y="4924"/>
                    </a:cubicBezTo>
                    <a:cubicBezTo>
                      <a:pt x="8082" y="4922"/>
                      <a:pt x="8082" y="4922"/>
                      <a:pt x="8082" y="4922"/>
                    </a:cubicBezTo>
                    <a:lnTo>
                      <a:pt x="7811" y="4456"/>
                    </a:lnTo>
                    <a:close/>
                    <a:moveTo>
                      <a:pt x="10506" y="2406"/>
                    </a:moveTo>
                    <a:cubicBezTo>
                      <a:pt x="10497" y="2375"/>
                      <a:pt x="10490" y="2349"/>
                      <a:pt x="10485" y="2330"/>
                    </a:cubicBezTo>
                    <a:cubicBezTo>
                      <a:pt x="10476" y="2318"/>
                      <a:pt x="10476" y="2318"/>
                      <a:pt x="10476" y="2318"/>
                    </a:cubicBezTo>
                    <a:cubicBezTo>
                      <a:pt x="10425" y="2331"/>
                      <a:pt x="10334" y="2353"/>
                      <a:pt x="10220" y="2382"/>
                    </a:cubicBezTo>
                    <a:cubicBezTo>
                      <a:pt x="9948" y="2451"/>
                      <a:pt x="9540" y="2554"/>
                      <a:pt x="9200" y="2640"/>
                    </a:cubicBezTo>
                    <a:cubicBezTo>
                      <a:pt x="9030" y="2683"/>
                      <a:pt x="8877" y="2722"/>
                      <a:pt x="8766" y="2750"/>
                    </a:cubicBezTo>
                    <a:cubicBezTo>
                      <a:pt x="8711" y="2764"/>
                      <a:pt x="8666" y="2775"/>
                      <a:pt x="8635" y="2783"/>
                    </a:cubicBezTo>
                    <a:cubicBezTo>
                      <a:pt x="8620" y="2786"/>
                      <a:pt x="8608" y="2790"/>
                      <a:pt x="8600" y="2792"/>
                    </a:cubicBezTo>
                    <a:cubicBezTo>
                      <a:pt x="8595" y="2793"/>
                      <a:pt x="8592" y="2793"/>
                      <a:pt x="8590" y="2794"/>
                    </a:cubicBezTo>
                    <a:cubicBezTo>
                      <a:pt x="8590" y="2794"/>
                      <a:pt x="8589" y="2794"/>
                      <a:pt x="8589" y="2794"/>
                    </a:cubicBezTo>
                    <a:cubicBezTo>
                      <a:pt x="8582" y="2796"/>
                      <a:pt x="8582" y="2796"/>
                      <a:pt x="8582" y="2796"/>
                    </a:cubicBezTo>
                    <a:cubicBezTo>
                      <a:pt x="8582" y="2796"/>
                      <a:pt x="8582" y="2796"/>
                      <a:pt x="8582" y="2796"/>
                    </a:cubicBezTo>
                    <a:cubicBezTo>
                      <a:pt x="8529" y="2812"/>
                      <a:pt x="8236" y="2903"/>
                      <a:pt x="7947" y="2992"/>
                    </a:cubicBezTo>
                    <a:cubicBezTo>
                      <a:pt x="7723" y="3061"/>
                      <a:pt x="7502" y="3129"/>
                      <a:pt x="7399" y="3161"/>
                    </a:cubicBezTo>
                    <a:cubicBezTo>
                      <a:pt x="7407" y="3175"/>
                      <a:pt x="7415" y="3190"/>
                      <a:pt x="7423" y="3204"/>
                    </a:cubicBezTo>
                    <a:cubicBezTo>
                      <a:pt x="7434" y="3224"/>
                      <a:pt x="7444" y="3244"/>
                      <a:pt x="7452" y="3262"/>
                    </a:cubicBezTo>
                    <a:cubicBezTo>
                      <a:pt x="7454" y="3261"/>
                      <a:pt x="7455" y="3261"/>
                      <a:pt x="7456" y="3260"/>
                    </a:cubicBezTo>
                    <a:cubicBezTo>
                      <a:pt x="7511" y="3240"/>
                      <a:pt x="7561" y="3225"/>
                      <a:pt x="7601" y="3214"/>
                    </a:cubicBezTo>
                    <a:cubicBezTo>
                      <a:pt x="7641" y="3203"/>
                      <a:pt x="7673" y="3194"/>
                      <a:pt x="7679" y="3191"/>
                    </a:cubicBezTo>
                    <a:cubicBezTo>
                      <a:pt x="7687" y="3188"/>
                      <a:pt x="7692" y="3186"/>
                      <a:pt x="7701" y="3183"/>
                    </a:cubicBezTo>
                    <a:cubicBezTo>
                      <a:pt x="7765" y="3163"/>
                      <a:pt x="7977" y="3106"/>
                      <a:pt x="8265" y="3028"/>
                    </a:cubicBezTo>
                    <a:cubicBezTo>
                      <a:pt x="8697" y="2911"/>
                      <a:pt x="9296" y="2750"/>
                      <a:pt x="9804" y="2608"/>
                    </a:cubicBezTo>
                    <a:cubicBezTo>
                      <a:pt x="10057" y="2538"/>
                      <a:pt x="10287" y="2472"/>
                      <a:pt x="10462" y="2419"/>
                    </a:cubicBezTo>
                    <a:cubicBezTo>
                      <a:pt x="10477" y="2415"/>
                      <a:pt x="10491" y="2410"/>
                      <a:pt x="10506" y="2406"/>
                    </a:cubicBezTo>
                    <a:close/>
                    <a:moveTo>
                      <a:pt x="8518" y="2722"/>
                    </a:moveTo>
                    <a:cubicBezTo>
                      <a:pt x="8519" y="2718"/>
                      <a:pt x="8521" y="2714"/>
                      <a:pt x="8523" y="2710"/>
                    </a:cubicBezTo>
                    <a:cubicBezTo>
                      <a:pt x="8523" y="2711"/>
                      <a:pt x="8523" y="2711"/>
                      <a:pt x="8523" y="2712"/>
                    </a:cubicBezTo>
                    <a:cubicBezTo>
                      <a:pt x="8520" y="2716"/>
                      <a:pt x="8519" y="2720"/>
                      <a:pt x="8518" y="2722"/>
                    </a:cubicBezTo>
                    <a:close/>
                    <a:moveTo>
                      <a:pt x="8538" y="2676"/>
                    </a:moveTo>
                    <a:cubicBezTo>
                      <a:pt x="8536" y="2625"/>
                      <a:pt x="8531" y="2526"/>
                      <a:pt x="8527" y="2443"/>
                    </a:cubicBezTo>
                    <a:cubicBezTo>
                      <a:pt x="7274" y="2467"/>
                      <a:pt x="7274" y="2467"/>
                      <a:pt x="7274" y="2467"/>
                    </a:cubicBezTo>
                    <a:cubicBezTo>
                      <a:pt x="7273" y="2467"/>
                      <a:pt x="7273" y="2467"/>
                      <a:pt x="7273" y="2467"/>
                    </a:cubicBezTo>
                    <a:cubicBezTo>
                      <a:pt x="7272" y="2467"/>
                      <a:pt x="7174" y="2451"/>
                      <a:pt x="7063" y="2434"/>
                    </a:cubicBezTo>
                    <a:cubicBezTo>
                      <a:pt x="6952" y="2418"/>
                      <a:pt x="6827" y="2402"/>
                      <a:pt x="6778" y="2402"/>
                    </a:cubicBezTo>
                    <a:cubicBezTo>
                      <a:pt x="6678" y="2402"/>
                      <a:pt x="6614" y="2419"/>
                      <a:pt x="6574" y="2475"/>
                    </a:cubicBezTo>
                    <a:cubicBezTo>
                      <a:pt x="6502" y="2728"/>
                      <a:pt x="6502" y="2728"/>
                      <a:pt x="6502" y="2728"/>
                    </a:cubicBezTo>
                    <a:cubicBezTo>
                      <a:pt x="6502" y="2733"/>
                      <a:pt x="6502" y="2738"/>
                      <a:pt x="6502" y="2743"/>
                    </a:cubicBezTo>
                    <a:cubicBezTo>
                      <a:pt x="6672" y="2787"/>
                      <a:pt x="6832" y="2827"/>
                      <a:pt x="6883" y="2839"/>
                    </a:cubicBezTo>
                    <a:cubicBezTo>
                      <a:pt x="6987" y="2863"/>
                      <a:pt x="7133" y="2884"/>
                      <a:pt x="7259" y="2981"/>
                    </a:cubicBezTo>
                    <a:cubicBezTo>
                      <a:pt x="7286" y="3003"/>
                      <a:pt x="7311" y="3031"/>
                      <a:pt x="7334" y="3060"/>
                    </a:cubicBezTo>
                    <a:cubicBezTo>
                      <a:pt x="7418" y="3034"/>
                      <a:pt x="7674" y="2956"/>
                      <a:pt x="7930" y="2877"/>
                    </a:cubicBezTo>
                    <a:cubicBezTo>
                      <a:pt x="8086" y="2829"/>
                      <a:pt x="8243" y="2781"/>
                      <a:pt x="8360" y="2744"/>
                    </a:cubicBezTo>
                    <a:cubicBezTo>
                      <a:pt x="8419" y="2726"/>
                      <a:pt x="8468" y="2711"/>
                      <a:pt x="8502" y="2701"/>
                    </a:cubicBezTo>
                    <a:cubicBezTo>
                      <a:pt x="8516" y="2696"/>
                      <a:pt x="8527" y="2693"/>
                      <a:pt x="8536" y="2690"/>
                    </a:cubicBezTo>
                    <a:lnTo>
                      <a:pt x="8538" y="2676"/>
                    </a:lnTo>
                    <a:close/>
                    <a:moveTo>
                      <a:pt x="6148" y="4876"/>
                    </a:moveTo>
                    <a:cubicBezTo>
                      <a:pt x="5935" y="6157"/>
                      <a:pt x="5935" y="6157"/>
                      <a:pt x="5935" y="6157"/>
                    </a:cubicBezTo>
                    <a:cubicBezTo>
                      <a:pt x="7161" y="6303"/>
                      <a:pt x="7161" y="6303"/>
                      <a:pt x="7161" y="6303"/>
                    </a:cubicBezTo>
                    <a:cubicBezTo>
                      <a:pt x="7161" y="6303"/>
                      <a:pt x="7510" y="6342"/>
                      <a:pt x="7861" y="6381"/>
                    </a:cubicBezTo>
                    <a:cubicBezTo>
                      <a:pt x="7999" y="6397"/>
                      <a:pt x="8136" y="6412"/>
                      <a:pt x="8253" y="6426"/>
                    </a:cubicBezTo>
                    <a:cubicBezTo>
                      <a:pt x="8236" y="6084"/>
                      <a:pt x="8138" y="5618"/>
                      <a:pt x="7970" y="5239"/>
                    </a:cubicBezTo>
                    <a:cubicBezTo>
                      <a:pt x="7926" y="5139"/>
                      <a:pt x="7868" y="5043"/>
                      <a:pt x="7802" y="4949"/>
                    </a:cubicBezTo>
                    <a:lnTo>
                      <a:pt x="6148" y="4876"/>
                    </a:lnTo>
                    <a:close/>
                    <a:moveTo>
                      <a:pt x="8393" y="6442"/>
                    </a:moveTo>
                    <a:cubicBezTo>
                      <a:pt x="8439" y="6448"/>
                      <a:pt x="8478" y="6452"/>
                      <a:pt x="8508" y="6456"/>
                    </a:cubicBezTo>
                    <a:cubicBezTo>
                      <a:pt x="8513" y="6457"/>
                      <a:pt x="8518" y="6457"/>
                      <a:pt x="8523" y="6458"/>
                    </a:cubicBezTo>
                    <a:cubicBezTo>
                      <a:pt x="8527" y="6458"/>
                      <a:pt x="8534" y="6459"/>
                      <a:pt x="8540" y="6459"/>
                    </a:cubicBezTo>
                    <a:cubicBezTo>
                      <a:pt x="8540" y="6343"/>
                      <a:pt x="8537" y="6234"/>
                      <a:pt x="8532" y="6148"/>
                    </a:cubicBezTo>
                    <a:cubicBezTo>
                      <a:pt x="8516" y="5842"/>
                      <a:pt x="8341" y="5386"/>
                      <a:pt x="8228" y="5171"/>
                    </a:cubicBezTo>
                    <a:cubicBezTo>
                      <a:pt x="8106" y="4963"/>
                      <a:pt x="8106" y="4963"/>
                      <a:pt x="8106" y="4963"/>
                    </a:cubicBezTo>
                    <a:cubicBezTo>
                      <a:pt x="7975" y="4957"/>
                      <a:pt x="7975" y="4957"/>
                      <a:pt x="7975" y="4957"/>
                    </a:cubicBezTo>
                    <a:cubicBezTo>
                      <a:pt x="8021" y="5029"/>
                      <a:pt x="8063" y="5104"/>
                      <a:pt x="8098" y="5183"/>
                    </a:cubicBezTo>
                    <a:cubicBezTo>
                      <a:pt x="8278" y="5590"/>
                      <a:pt x="8378" y="6078"/>
                      <a:pt x="8393" y="6442"/>
                    </a:cubicBezTo>
                    <a:close/>
                    <a:moveTo>
                      <a:pt x="12283" y="4694"/>
                    </a:moveTo>
                    <a:cubicBezTo>
                      <a:pt x="12353" y="4698"/>
                      <a:pt x="12704" y="4722"/>
                      <a:pt x="12889" y="4772"/>
                    </a:cubicBezTo>
                    <a:cubicBezTo>
                      <a:pt x="13059" y="4821"/>
                      <a:pt x="13059" y="4821"/>
                      <a:pt x="13059" y="4821"/>
                    </a:cubicBezTo>
                    <a:cubicBezTo>
                      <a:pt x="13067" y="4809"/>
                      <a:pt x="13082" y="4784"/>
                      <a:pt x="13103" y="4748"/>
                    </a:cubicBezTo>
                    <a:cubicBezTo>
                      <a:pt x="13136" y="4693"/>
                      <a:pt x="13181" y="4610"/>
                      <a:pt x="13232" y="4501"/>
                    </a:cubicBezTo>
                    <a:cubicBezTo>
                      <a:pt x="13267" y="4427"/>
                      <a:pt x="13278" y="4362"/>
                      <a:pt x="13278" y="4309"/>
                    </a:cubicBezTo>
                    <a:cubicBezTo>
                      <a:pt x="13278" y="4260"/>
                      <a:pt x="13268" y="4221"/>
                      <a:pt x="13259" y="4194"/>
                    </a:cubicBezTo>
                    <a:cubicBezTo>
                      <a:pt x="13254" y="4181"/>
                      <a:pt x="13249" y="4171"/>
                      <a:pt x="13246" y="4164"/>
                    </a:cubicBezTo>
                    <a:cubicBezTo>
                      <a:pt x="13242" y="4158"/>
                      <a:pt x="13240" y="4155"/>
                      <a:pt x="13240" y="4155"/>
                    </a:cubicBezTo>
                    <a:cubicBezTo>
                      <a:pt x="12501" y="3031"/>
                      <a:pt x="12501" y="3031"/>
                      <a:pt x="12501" y="3031"/>
                    </a:cubicBezTo>
                    <a:cubicBezTo>
                      <a:pt x="12428" y="2963"/>
                      <a:pt x="12319" y="2958"/>
                      <a:pt x="12291" y="2958"/>
                    </a:cubicBezTo>
                    <a:cubicBezTo>
                      <a:pt x="12287" y="2958"/>
                      <a:pt x="12285" y="2958"/>
                      <a:pt x="12285" y="2958"/>
                    </a:cubicBezTo>
                    <a:cubicBezTo>
                      <a:pt x="12283" y="2958"/>
                      <a:pt x="11887" y="2966"/>
                      <a:pt x="11490" y="2975"/>
                    </a:cubicBezTo>
                    <a:cubicBezTo>
                      <a:pt x="11291" y="2979"/>
                      <a:pt x="11092" y="2984"/>
                      <a:pt x="10943" y="2987"/>
                    </a:cubicBezTo>
                    <a:cubicBezTo>
                      <a:pt x="10869" y="2988"/>
                      <a:pt x="10807" y="2990"/>
                      <a:pt x="10763" y="2991"/>
                    </a:cubicBezTo>
                    <a:cubicBezTo>
                      <a:pt x="10742" y="2991"/>
                      <a:pt x="10724" y="2992"/>
                      <a:pt x="10713" y="2992"/>
                    </a:cubicBezTo>
                    <a:cubicBezTo>
                      <a:pt x="10707" y="2992"/>
                      <a:pt x="10703" y="2992"/>
                      <a:pt x="10700" y="2992"/>
                    </a:cubicBezTo>
                    <a:cubicBezTo>
                      <a:pt x="10699" y="2992"/>
                      <a:pt x="10698" y="2992"/>
                      <a:pt x="10698" y="2992"/>
                    </a:cubicBezTo>
                    <a:cubicBezTo>
                      <a:pt x="10789" y="3357"/>
                      <a:pt x="10875" y="3728"/>
                      <a:pt x="10887" y="3761"/>
                    </a:cubicBezTo>
                    <a:cubicBezTo>
                      <a:pt x="10899" y="3799"/>
                      <a:pt x="10941" y="3950"/>
                      <a:pt x="11015" y="4103"/>
                    </a:cubicBezTo>
                    <a:cubicBezTo>
                      <a:pt x="11088" y="4256"/>
                      <a:pt x="11195" y="4405"/>
                      <a:pt x="11327" y="4440"/>
                    </a:cubicBezTo>
                    <a:cubicBezTo>
                      <a:pt x="11456" y="4474"/>
                      <a:pt x="11585" y="4483"/>
                      <a:pt x="11695" y="4483"/>
                    </a:cubicBezTo>
                    <a:cubicBezTo>
                      <a:pt x="11825" y="4483"/>
                      <a:pt x="11926" y="4470"/>
                      <a:pt x="11972" y="4470"/>
                    </a:cubicBezTo>
                    <a:cubicBezTo>
                      <a:pt x="12011" y="4470"/>
                      <a:pt x="12080" y="4471"/>
                      <a:pt x="12144" y="4502"/>
                    </a:cubicBezTo>
                    <a:cubicBezTo>
                      <a:pt x="12205" y="4531"/>
                      <a:pt x="12261" y="4590"/>
                      <a:pt x="12283" y="4694"/>
                    </a:cubicBezTo>
                    <a:close/>
                    <a:moveTo>
                      <a:pt x="11138" y="1775"/>
                    </a:moveTo>
                    <a:cubicBezTo>
                      <a:pt x="11016" y="1892"/>
                      <a:pt x="10895" y="2008"/>
                      <a:pt x="10803" y="2096"/>
                    </a:cubicBezTo>
                    <a:cubicBezTo>
                      <a:pt x="10757" y="2140"/>
                      <a:pt x="10718" y="2177"/>
                      <a:pt x="10690" y="2204"/>
                    </a:cubicBezTo>
                    <a:cubicBezTo>
                      <a:pt x="10676" y="2217"/>
                      <a:pt x="10664" y="2228"/>
                      <a:pt x="10656" y="2236"/>
                    </a:cubicBezTo>
                    <a:cubicBezTo>
                      <a:pt x="10647" y="2244"/>
                      <a:pt x="10642" y="2249"/>
                      <a:pt x="10638" y="2253"/>
                    </a:cubicBezTo>
                    <a:cubicBezTo>
                      <a:pt x="10612" y="2274"/>
                      <a:pt x="10585" y="2284"/>
                      <a:pt x="10562" y="2293"/>
                    </a:cubicBezTo>
                    <a:cubicBezTo>
                      <a:pt x="10551" y="2297"/>
                      <a:pt x="10542" y="2300"/>
                      <a:pt x="10534" y="2302"/>
                    </a:cubicBezTo>
                    <a:cubicBezTo>
                      <a:pt x="10533" y="2303"/>
                      <a:pt x="10533" y="2303"/>
                      <a:pt x="10533" y="2303"/>
                    </a:cubicBezTo>
                    <a:cubicBezTo>
                      <a:pt x="10522" y="2306"/>
                      <a:pt x="10522" y="2306"/>
                      <a:pt x="10522" y="2306"/>
                    </a:cubicBezTo>
                    <a:cubicBezTo>
                      <a:pt x="10522" y="2306"/>
                      <a:pt x="10521" y="2306"/>
                      <a:pt x="10521" y="2306"/>
                    </a:cubicBezTo>
                    <a:cubicBezTo>
                      <a:pt x="10520" y="2306"/>
                      <a:pt x="10520" y="2306"/>
                      <a:pt x="10520" y="2306"/>
                    </a:cubicBezTo>
                    <a:cubicBezTo>
                      <a:pt x="10520" y="2307"/>
                      <a:pt x="10520" y="2307"/>
                      <a:pt x="10519" y="2307"/>
                    </a:cubicBezTo>
                    <a:cubicBezTo>
                      <a:pt x="10519" y="2307"/>
                      <a:pt x="10519" y="2307"/>
                      <a:pt x="10518" y="2307"/>
                    </a:cubicBezTo>
                    <a:cubicBezTo>
                      <a:pt x="10522" y="2328"/>
                      <a:pt x="10522" y="2328"/>
                      <a:pt x="10522" y="2328"/>
                    </a:cubicBezTo>
                    <a:cubicBezTo>
                      <a:pt x="10527" y="2346"/>
                      <a:pt x="10533" y="2368"/>
                      <a:pt x="10540" y="2395"/>
                    </a:cubicBezTo>
                    <a:cubicBezTo>
                      <a:pt x="10593" y="2379"/>
                      <a:pt x="10639" y="2364"/>
                      <a:pt x="10676" y="2352"/>
                    </a:cubicBezTo>
                    <a:cubicBezTo>
                      <a:pt x="10703" y="2343"/>
                      <a:pt x="10725" y="2335"/>
                      <a:pt x="10742" y="2328"/>
                    </a:cubicBezTo>
                    <a:cubicBezTo>
                      <a:pt x="10758" y="2322"/>
                      <a:pt x="10770" y="2316"/>
                      <a:pt x="10771" y="2316"/>
                    </a:cubicBezTo>
                    <a:cubicBezTo>
                      <a:pt x="10783" y="2309"/>
                      <a:pt x="10820" y="2280"/>
                      <a:pt x="10866" y="2239"/>
                    </a:cubicBezTo>
                    <a:cubicBezTo>
                      <a:pt x="11031" y="2095"/>
                      <a:pt x="11340" y="1796"/>
                      <a:pt x="11637" y="1523"/>
                    </a:cubicBezTo>
                    <a:cubicBezTo>
                      <a:pt x="11786" y="1386"/>
                      <a:pt x="11933" y="1256"/>
                      <a:pt x="12058" y="1153"/>
                    </a:cubicBezTo>
                    <a:cubicBezTo>
                      <a:pt x="12121" y="1102"/>
                      <a:pt x="12179" y="1058"/>
                      <a:pt x="12230" y="1023"/>
                    </a:cubicBezTo>
                    <a:cubicBezTo>
                      <a:pt x="12282" y="988"/>
                      <a:pt x="12325" y="962"/>
                      <a:pt x="12367" y="947"/>
                    </a:cubicBezTo>
                    <a:cubicBezTo>
                      <a:pt x="12461" y="915"/>
                      <a:pt x="12582" y="898"/>
                      <a:pt x="12726" y="887"/>
                    </a:cubicBezTo>
                    <a:cubicBezTo>
                      <a:pt x="12760" y="885"/>
                      <a:pt x="12796" y="883"/>
                      <a:pt x="12833" y="881"/>
                    </a:cubicBezTo>
                    <a:cubicBezTo>
                      <a:pt x="12824" y="844"/>
                      <a:pt x="12818" y="813"/>
                      <a:pt x="12814" y="792"/>
                    </a:cubicBezTo>
                    <a:cubicBezTo>
                      <a:pt x="12805" y="770"/>
                      <a:pt x="12805" y="770"/>
                      <a:pt x="12805" y="770"/>
                    </a:cubicBezTo>
                    <a:cubicBezTo>
                      <a:pt x="12603" y="771"/>
                      <a:pt x="12452" y="772"/>
                      <a:pt x="12419" y="774"/>
                    </a:cubicBezTo>
                    <a:cubicBezTo>
                      <a:pt x="12296" y="778"/>
                      <a:pt x="12193" y="782"/>
                      <a:pt x="12109" y="820"/>
                    </a:cubicBezTo>
                    <a:cubicBezTo>
                      <a:pt x="12071" y="837"/>
                      <a:pt x="12021" y="876"/>
                      <a:pt x="11979" y="917"/>
                    </a:cubicBezTo>
                    <a:cubicBezTo>
                      <a:pt x="11936" y="958"/>
                      <a:pt x="11900" y="1001"/>
                      <a:pt x="11885" y="1024"/>
                    </a:cubicBezTo>
                    <a:cubicBezTo>
                      <a:pt x="11873" y="1042"/>
                      <a:pt x="11855" y="1062"/>
                      <a:pt x="11833" y="1086"/>
                    </a:cubicBezTo>
                    <a:cubicBezTo>
                      <a:pt x="11801" y="1122"/>
                      <a:pt x="11762" y="1163"/>
                      <a:pt x="11730" y="1196"/>
                    </a:cubicBezTo>
                    <a:cubicBezTo>
                      <a:pt x="11714" y="1212"/>
                      <a:pt x="11701" y="1226"/>
                      <a:pt x="11691" y="1236"/>
                    </a:cubicBezTo>
                    <a:cubicBezTo>
                      <a:pt x="11687" y="1240"/>
                      <a:pt x="11684" y="1244"/>
                      <a:pt x="11682" y="1246"/>
                    </a:cubicBezTo>
                    <a:cubicBezTo>
                      <a:pt x="11679" y="1251"/>
                      <a:pt x="11679" y="1250"/>
                      <a:pt x="11678" y="1252"/>
                    </a:cubicBezTo>
                    <a:cubicBezTo>
                      <a:pt x="11674" y="1256"/>
                      <a:pt x="11673" y="1257"/>
                      <a:pt x="11670" y="1260"/>
                    </a:cubicBezTo>
                    <a:cubicBezTo>
                      <a:pt x="11631" y="1300"/>
                      <a:pt x="11382" y="1540"/>
                      <a:pt x="11138" y="1775"/>
                    </a:cubicBezTo>
                    <a:close/>
                    <a:moveTo>
                      <a:pt x="8661" y="1184"/>
                    </a:moveTo>
                    <a:cubicBezTo>
                      <a:pt x="8667" y="1245"/>
                      <a:pt x="8686" y="1464"/>
                      <a:pt x="8686" y="1565"/>
                    </a:cubicBezTo>
                    <a:cubicBezTo>
                      <a:pt x="8686" y="1583"/>
                      <a:pt x="8685" y="1597"/>
                      <a:pt x="8684" y="1607"/>
                    </a:cubicBezTo>
                    <a:cubicBezTo>
                      <a:pt x="8673" y="1675"/>
                      <a:pt x="8591" y="1983"/>
                      <a:pt x="8570" y="2059"/>
                    </a:cubicBezTo>
                    <a:cubicBezTo>
                      <a:pt x="8558" y="2103"/>
                      <a:pt x="8554" y="2168"/>
                      <a:pt x="8554" y="2227"/>
                    </a:cubicBezTo>
                    <a:cubicBezTo>
                      <a:pt x="8554" y="2263"/>
                      <a:pt x="8556" y="2297"/>
                      <a:pt x="8557" y="2325"/>
                    </a:cubicBezTo>
                    <a:cubicBezTo>
                      <a:pt x="8559" y="2378"/>
                      <a:pt x="8569" y="2564"/>
                      <a:pt x="8573" y="2656"/>
                    </a:cubicBezTo>
                    <a:cubicBezTo>
                      <a:pt x="8583" y="2678"/>
                      <a:pt x="8583" y="2678"/>
                      <a:pt x="8583" y="2678"/>
                    </a:cubicBezTo>
                    <a:cubicBezTo>
                      <a:pt x="8685" y="2652"/>
                      <a:pt x="9115" y="2543"/>
                      <a:pt x="9541" y="2436"/>
                    </a:cubicBezTo>
                    <a:cubicBezTo>
                      <a:pt x="10020" y="2315"/>
                      <a:pt x="10493" y="2195"/>
                      <a:pt x="10493" y="2195"/>
                    </a:cubicBezTo>
                    <a:cubicBezTo>
                      <a:pt x="10493" y="2195"/>
                      <a:pt x="10493" y="2195"/>
                      <a:pt x="10493" y="2195"/>
                    </a:cubicBezTo>
                    <a:cubicBezTo>
                      <a:pt x="10495" y="2194"/>
                      <a:pt x="10497" y="2194"/>
                      <a:pt x="10500" y="2193"/>
                    </a:cubicBezTo>
                    <a:cubicBezTo>
                      <a:pt x="10517" y="2189"/>
                      <a:pt x="10557" y="2172"/>
                      <a:pt x="10564" y="2165"/>
                    </a:cubicBezTo>
                    <a:cubicBezTo>
                      <a:pt x="10564" y="2165"/>
                      <a:pt x="10564" y="2165"/>
                      <a:pt x="10564" y="2164"/>
                    </a:cubicBezTo>
                    <a:cubicBezTo>
                      <a:pt x="10592" y="2139"/>
                      <a:pt x="10852" y="1891"/>
                      <a:pt x="11101" y="1651"/>
                    </a:cubicBezTo>
                    <a:cubicBezTo>
                      <a:pt x="11172" y="1583"/>
                      <a:pt x="11241" y="1516"/>
                      <a:pt x="11305" y="1454"/>
                    </a:cubicBezTo>
                    <a:cubicBezTo>
                      <a:pt x="11296" y="1441"/>
                      <a:pt x="11296" y="1441"/>
                      <a:pt x="11296" y="1441"/>
                    </a:cubicBezTo>
                    <a:cubicBezTo>
                      <a:pt x="11219" y="1376"/>
                      <a:pt x="10923" y="1124"/>
                      <a:pt x="10830" y="1034"/>
                    </a:cubicBezTo>
                    <a:cubicBezTo>
                      <a:pt x="10779" y="985"/>
                      <a:pt x="10721" y="961"/>
                      <a:pt x="10674" y="948"/>
                    </a:cubicBezTo>
                    <a:cubicBezTo>
                      <a:pt x="10651" y="942"/>
                      <a:pt x="10631" y="939"/>
                      <a:pt x="10617" y="938"/>
                    </a:cubicBezTo>
                    <a:cubicBezTo>
                      <a:pt x="10603" y="936"/>
                      <a:pt x="10595" y="936"/>
                      <a:pt x="10595" y="936"/>
                    </a:cubicBezTo>
                    <a:cubicBezTo>
                      <a:pt x="9710" y="936"/>
                      <a:pt x="9710" y="936"/>
                      <a:pt x="9710" y="936"/>
                    </a:cubicBezTo>
                    <a:cubicBezTo>
                      <a:pt x="9702" y="941"/>
                      <a:pt x="9679" y="956"/>
                      <a:pt x="9651" y="976"/>
                    </a:cubicBezTo>
                    <a:cubicBezTo>
                      <a:pt x="9603" y="1009"/>
                      <a:pt x="9536" y="1057"/>
                      <a:pt x="9480" y="1096"/>
                    </a:cubicBezTo>
                    <a:cubicBezTo>
                      <a:pt x="9452" y="1116"/>
                      <a:pt x="9427" y="1133"/>
                      <a:pt x="9407" y="1146"/>
                    </a:cubicBezTo>
                    <a:cubicBezTo>
                      <a:pt x="9398" y="1153"/>
                      <a:pt x="9390" y="1158"/>
                      <a:pt x="9383" y="1162"/>
                    </a:cubicBezTo>
                    <a:cubicBezTo>
                      <a:pt x="9380" y="1163"/>
                      <a:pt x="9377" y="1165"/>
                      <a:pt x="9375" y="1166"/>
                    </a:cubicBezTo>
                    <a:cubicBezTo>
                      <a:pt x="9372" y="1167"/>
                      <a:pt x="9371" y="1169"/>
                      <a:pt x="9363" y="1170"/>
                    </a:cubicBezTo>
                    <a:cubicBezTo>
                      <a:pt x="9362" y="1170"/>
                      <a:pt x="9361" y="1170"/>
                      <a:pt x="9360" y="1169"/>
                    </a:cubicBezTo>
                    <a:cubicBezTo>
                      <a:pt x="9358" y="1169"/>
                      <a:pt x="9355" y="1169"/>
                      <a:pt x="9352" y="1169"/>
                    </a:cubicBezTo>
                    <a:cubicBezTo>
                      <a:pt x="9284" y="1169"/>
                      <a:pt x="8918" y="1181"/>
                      <a:pt x="8661" y="1184"/>
                    </a:cubicBezTo>
                    <a:close/>
                    <a:moveTo>
                      <a:pt x="7087" y="1513"/>
                    </a:moveTo>
                    <a:cubicBezTo>
                      <a:pt x="7093" y="1564"/>
                      <a:pt x="7180" y="2310"/>
                      <a:pt x="7184" y="2416"/>
                    </a:cubicBezTo>
                    <a:cubicBezTo>
                      <a:pt x="7233" y="2424"/>
                      <a:pt x="7269" y="2430"/>
                      <a:pt x="7277" y="2431"/>
                    </a:cubicBezTo>
                    <a:cubicBezTo>
                      <a:pt x="8525" y="2407"/>
                      <a:pt x="8525" y="2407"/>
                      <a:pt x="8525" y="2407"/>
                    </a:cubicBezTo>
                    <a:cubicBezTo>
                      <a:pt x="8523" y="2372"/>
                      <a:pt x="8522" y="2343"/>
                      <a:pt x="8521" y="2326"/>
                    </a:cubicBezTo>
                    <a:cubicBezTo>
                      <a:pt x="8520" y="2299"/>
                      <a:pt x="8518" y="2264"/>
                      <a:pt x="8518" y="2227"/>
                    </a:cubicBezTo>
                    <a:cubicBezTo>
                      <a:pt x="8518" y="2166"/>
                      <a:pt x="8522" y="2100"/>
                      <a:pt x="8535" y="2050"/>
                    </a:cubicBezTo>
                    <a:cubicBezTo>
                      <a:pt x="8556" y="1975"/>
                      <a:pt x="8638" y="1664"/>
                      <a:pt x="8648" y="1602"/>
                    </a:cubicBezTo>
                    <a:cubicBezTo>
                      <a:pt x="8649" y="1595"/>
                      <a:pt x="8650" y="1582"/>
                      <a:pt x="8650" y="1565"/>
                    </a:cubicBezTo>
                    <a:cubicBezTo>
                      <a:pt x="8650" y="1466"/>
                      <a:pt x="8630" y="1241"/>
                      <a:pt x="8625" y="1184"/>
                    </a:cubicBezTo>
                    <a:cubicBezTo>
                      <a:pt x="8599" y="1184"/>
                      <a:pt x="8575" y="1184"/>
                      <a:pt x="8552" y="1184"/>
                    </a:cubicBezTo>
                    <a:cubicBezTo>
                      <a:pt x="8514" y="1184"/>
                      <a:pt x="8481" y="1184"/>
                      <a:pt x="8456" y="1183"/>
                    </a:cubicBezTo>
                    <a:cubicBezTo>
                      <a:pt x="8273" y="1177"/>
                      <a:pt x="7910" y="1155"/>
                      <a:pt x="7800" y="1155"/>
                    </a:cubicBezTo>
                    <a:cubicBezTo>
                      <a:pt x="7792" y="1155"/>
                      <a:pt x="7786" y="1156"/>
                      <a:pt x="7781" y="1156"/>
                    </a:cubicBezTo>
                    <a:cubicBezTo>
                      <a:pt x="7706" y="1159"/>
                      <a:pt x="7491" y="1204"/>
                      <a:pt x="7437" y="1227"/>
                    </a:cubicBezTo>
                    <a:cubicBezTo>
                      <a:pt x="7374" y="1252"/>
                      <a:pt x="7184" y="1286"/>
                      <a:pt x="7141" y="1293"/>
                    </a:cubicBezTo>
                    <a:cubicBezTo>
                      <a:pt x="7133" y="1294"/>
                      <a:pt x="7126" y="1301"/>
                      <a:pt x="7120" y="1311"/>
                    </a:cubicBezTo>
                    <a:cubicBezTo>
                      <a:pt x="7116" y="1319"/>
                      <a:pt x="7114" y="1329"/>
                      <a:pt x="7113" y="1335"/>
                    </a:cubicBezTo>
                    <a:cubicBezTo>
                      <a:pt x="7117" y="1343"/>
                      <a:pt x="7115" y="1344"/>
                      <a:pt x="7116" y="1347"/>
                    </a:cubicBezTo>
                    <a:cubicBezTo>
                      <a:pt x="7116" y="1363"/>
                      <a:pt x="7108" y="1402"/>
                      <a:pt x="7101" y="1441"/>
                    </a:cubicBezTo>
                    <a:cubicBezTo>
                      <a:pt x="7095" y="1474"/>
                      <a:pt x="7089" y="1504"/>
                      <a:pt x="7087" y="1513"/>
                    </a:cubicBezTo>
                    <a:close/>
                    <a:moveTo>
                      <a:pt x="4009" y="1758"/>
                    </a:moveTo>
                    <a:cubicBezTo>
                      <a:pt x="4010" y="1779"/>
                      <a:pt x="4010" y="1779"/>
                      <a:pt x="4010" y="1779"/>
                    </a:cubicBezTo>
                    <a:cubicBezTo>
                      <a:pt x="4238" y="1879"/>
                      <a:pt x="4446" y="2030"/>
                      <a:pt x="4484" y="2058"/>
                    </a:cubicBezTo>
                    <a:cubicBezTo>
                      <a:pt x="5329" y="2407"/>
                      <a:pt x="5329" y="2407"/>
                      <a:pt x="5329" y="2407"/>
                    </a:cubicBezTo>
                    <a:cubicBezTo>
                      <a:pt x="5371" y="2420"/>
                      <a:pt x="5871" y="2568"/>
                      <a:pt x="6039" y="2618"/>
                    </a:cubicBezTo>
                    <a:cubicBezTo>
                      <a:pt x="6119" y="2643"/>
                      <a:pt x="6287" y="2687"/>
                      <a:pt x="6453" y="2730"/>
                    </a:cubicBezTo>
                    <a:cubicBezTo>
                      <a:pt x="6469" y="2714"/>
                      <a:pt x="6469" y="2714"/>
                      <a:pt x="6469" y="2714"/>
                    </a:cubicBezTo>
                    <a:cubicBezTo>
                      <a:pt x="6541" y="2460"/>
                      <a:pt x="6541" y="2460"/>
                      <a:pt x="6541" y="2460"/>
                    </a:cubicBezTo>
                    <a:cubicBezTo>
                      <a:pt x="6543" y="2457"/>
                      <a:pt x="6543" y="2457"/>
                      <a:pt x="6543" y="2457"/>
                    </a:cubicBezTo>
                    <a:cubicBezTo>
                      <a:pt x="6593" y="2385"/>
                      <a:pt x="6674" y="2365"/>
                      <a:pt x="6778" y="2366"/>
                    </a:cubicBezTo>
                    <a:cubicBezTo>
                      <a:pt x="6845" y="2366"/>
                      <a:pt x="7023" y="2391"/>
                      <a:pt x="7148" y="2411"/>
                    </a:cubicBezTo>
                    <a:cubicBezTo>
                      <a:pt x="7145" y="2351"/>
                      <a:pt x="7122" y="2142"/>
                      <a:pt x="7100" y="1942"/>
                    </a:cubicBezTo>
                    <a:cubicBezTo>
                      <a:pt x="7078" y="1747"/>
                      <a:pt x="7056" y="1559"/>
                      <a:pt x="7052" y="1521"/>
                    </a:cubicBezTo>
                    <a:cubicBezTo>
                      <a:pt x="7022" y="1496"/>
                      <a:pt x="6980" y="1475"/>
                      <a:pt x="6947" y="1442"/>
                    </a:cubicBezTo>
                    <a:cubicBezTo>
                      <a:pt x="6892" y="1386"/>
                      <a:pt x="6859" y="1326"/>
                      <a:pt x="6858" y="1325"/>
                    </a:cubicBezTo>
                    <a:cubicBezTo>
                      <a:pt x="6580" y="823"/>
                      <a:pt x="6580" y="823"/>
                      <a:pt x="6580" y="823"/>
                    </a:cubicBezTo>
                    <a:cubicBezTo>
                      <a:pt x="6522" y="725"/>
                      <a:pt x="6449" y="703"/>
                      <a:pt x="6388" y="703"/>
                    </a:cubicBezTo>
                    <a:cubicBezTo>
                      <a:pt x="6359" y="702"/>
                      <a:pt x="6333" y="708"/>
                      <a:pt x="6314" y="714"/>
                    </a:cubicBezTo>
                    <a:cubicBezTo>
                      <a:pt x="6305" y="717"/>
                      <a:pt x="6297" y="719"/>
                      <a:pt x="6292" y="722"/>
                    </a:cubicBezTo>
                    <a:cubicBezTo>
                      <a:pt x="6288" y="723"/>
                      <a:pt x="6286" y="724"/>
                      <a:pt x="6285" y="725"/>
                    </a:cubicBezTo>
                    <a:cubicBezTo>
                      <a:pt x="6272" y="732"/>
                      <a:pt x="6052" y="860"/>
                      <a:pt x="5942" y="920"/>
                    </a:cubicBezTo>
                    <a:cubicBezTo>
                      <a:pt x="5840" y="976"/>
                      <a:pt x="5772" y="1006"/>
                      <a:pt x="5667" y="1006"/>
                    </a:cubicBezTo>
                    <a:cubicBezTo>
                      <a:pt x="5655" y="1006"/>
                      <a:pt x="5643" y="1005"/>
                      <a:pt x="5630" y="1005"/>
                    </a:cubicBezTo>
                    <a:cubicBezTo>
                      <a:pt x="5502" y="997"/>
                      <a:pt x="5208" y="908"/>
                      <a:pt x="4919" y="822"/>
                    </a:cubicBezTo>
                    <a:cubicBezTo>
                      <a:pt x="4667" y="747"/>
                      <a:pt x="4496" y="662"/>
                      <a:pt x="4455" y="640"/>
                    </a:cubicBezTo>
                    <a:cubicBezTo>
                      <a:pt x="4220" y="1096"/>
                      <a:pt x="4220" y="1096"/>
                      <a:pt x="4220" y="1096"/>
                    </a:cubicBezTo>
                    <a:cubicBezTo>
                      <a:pt x="4216" y="1114"/>
                      <a:pt x="4184" y="1237"/>
                      <a:pt x="4143" y="1305"/>
                    </a:cubicBezTo>
                    <a:cubicBezTo>
                      <a:pt x="4107" y="1365"/>
                      <a:pt x="4082" y="1411"/>
                      <a:pt x="4076" y="1422"/>
                    </a:cubicBezTo>
                    <a:lnTo>
                      <a:pt x="4009" y="1758"/>
                    </a:lnTo>
                    <a:close/>
                    <a:moveTo>
                      <a:pt x="3627" y="1783"/>
                    </a:moveTo>
                    <a:cubicBezTo>
                      <a:pt x="3205" y="3088"/>
                      <a:pt x="3205" y="3088"/>
                      <a:pt x="3205" y="3088"/>
                    </a:cubicBezTo>
                    <a:cubicBezTo>
                      <a:pt x="3200" y="3086"/>
                      <a:pt x="3200" y="3086"/>
                      <a:pt x="3200" y="3086"/>
                    </a:cubicBezTo>
                    <a:cubicBezTo>
                      <a:pt x="3357" y="3148"/>
                      <a:pt x="3672" y="3295"/>
                      <a:pt x="3939" y="3394"/>
                    </a:cubicBezTo>
                    <a:cubicBezTo>
                      <a:pt x="4259" y="3513"/>
                      <a:pt x="4557" y="3618"/>
                      <a:pt x="4757" y="3670"/>
                    </a:cubicBezTo>
                    <a:cubicBezTo>
                      <a:pt x="4832" y="3689"/>
                      <a:pt x="4912" y="3711"/>
                      <a:pt x="4993" y="3734"/>
                    </a:cubicBezTo>
                    <a:cubicBezTo>
                      <a:pt x="5155" y="3359"/>
                      <a:pt x="5155" y="3359"/>
                      <a:pt x="5155" y="3359"/>
                    </a:cubicBezTo>
                    <a:cubicBezTo>
                      <a:pt x="5146" y="2983"/>
                      <a:pt x="5146" y="2983"/>
                      <a:pt x="5146" y="2983"/>
                    </a:cubicBezTo>
                    <a:cubicBezTo>
                      <a:pt x="5147" y="2981"/>
                      <a:pt x="5147" y="2981"/>
                      <a:pt x="5147" y="2981"/>
                    </a:cubicBezTo>
                    <a:cubicBezTo>
                      <a:pt x="5147" y="2980"/>
                      <a:pt x="5186" y="2862"/>
                      <a:pt x="5224" y="2739"/>
                    </a:cubicBezTo>
                    <a:cubicBezTo>
                      <a:pt x="5244" y="2678"/>
                      <a:pt x="5263" y="2616"/>
                      <a:pt x="5277" y="2567"/>
                    </a:cubicBezTo>
                    <a:cubicBezTo>
                      <a:pt x="5283" y="2549"/>
                      <a:pt x="5287" y="2533"/>
                      <a:pt x="5291" y="2520"/>
                    </a:cubicBezTo>
                    <a:cubicBezTo>
                      <a:pt x="5291" y="2518"/>
                      <a:pt x="5291" y="2517"/>
                      <a:pt x="5291" y="2516"/>
                    </a:cubicBezTo>
                    <a:cubicBezTo>
                      <a:pt x="5291" y="2516"/>
                      <a:pt x="5291" y="2516"/>
                      <a:pt x="5291" y="2516"/>
                    </a:cubicBezTo>
                    <a:cubicBezTo>
                      <a:pt x="4427" y="2158"/>
                      <a:pt x="4427" y="2158"/>
                      <a:pt x="4427" y="2158"/>
                    </a:cubicBezTo>
                    <a:cubicBezTo>
                      <a:pt x="4421" y="2154"/>
                      <a:pt x="4421" y="2154"/>
                      <a:pt x="4421" y="2154"/>
                    </a:cubicBezTo>
                    <a:cubicBezTo>
                      <a:pt x="4421" y="2154"/>
                      <a:pt x="4403" y="2141"/>
                      <a:pt x="4372" y="2118"/>
                    </a:cubicBezTo>
                    <a:cubicBezTo>
                      <a:pt x="4276" y="2052"/>
                      <a:pt x="4056" y="1909"/>
                      <a:pt x="3857" y="1843"/>
                    </a:cubicBezTo>
                    <a:cubicBezTo>
                      <a:pt x="3802" y="1825"/>
                      <a:pt x="3727" y="1799"/>
                      <a:pt x="3643" y="1770"/>
                    </a:cubicBezTo>
                    <a:lnTo>
                      <a:pt x="3627" y="1783"/>
                    </a:lnTo>
                    <a:close/>
                    <a:moveTo>
                      <a:pt x="4274" y="3554"/>
                    </a:moveTo>
                    <a:cubicBezTo>
                      <a:pt x="4274" y="3554"/>
                      <a:pt x="4274" y="3554"/>
                      <a:pt x="4274" y="3554"/>
                    </a:cubicBezTo>
                    <a:cubicBezTo>
                      <a:pt x="4274" y="3554"/>
                      <a:pt x="4274" y="3554"/>
                      <a:pt x="4274" y="3554"/>
                    </a:cubicBezTo>
                    <a:cubicBezTo>
                      <a:pt x="4274" y="3554"/>
                      <a:pt x="4274" y="3554"/>
                      <a:pt x="4274" y="3554"/>
                    </a:cubicBezTo>
                    <a:close/>
                    <a:moveTo>
                      <a:pt x="4086" y="3904"/>
                    </a:moveTo>
                    <a:cubicBezTo>
                      <a:pt x="4087" y="3899"/>
                      <a:pt x="4087" y="3899"/>
                      <a:pt x="4087" y="3899"/>
                    </a:cubicBezTo>
                    <a:cubicBezTo>
                      <a:pt x="4087" y="3899"/>
                      <a:pt x="4126" y="3808"/>
                      <a:pt x="4165" y="3717"/>
                    </a:cubicBezTo>
                    <a:cubicBezTo>
                      <a:pt x="4185" y="3671"/>
                      <a:pt x="4205" y="3625"/>
                      <a:pt x="4221" y="3590"/>
                    </a:cubicBezTo>
                    <a:cubicBezTo>
                      <a:pt x="4228" y="3573"/>
                      <a:pt x="4235" y="3558"/>
                      <a:pt x="4240" y="3548"/>
                    </a:cubicBezTo>
                    <a:cubicBezTo>
                      <a:pt x="4241" y="3546"/>
                      <a:pt x="4242" y="3544"/>
                      <a:pt x="4243" y="3543"/>
                    </a:cubicBezTo>
                    <a:cubicBezTo>
                      <a:pt x="4142" y="3507"/>
                      <a:pt x="4036" y="3468"/>
                      <a:pt x="3927" y="3428"/>
                    </a:cubicBezTo>
                    <a:cubicBezTo>
                      <a:pt x="3606" y="3310"/>
                      <a:pt x="3214" y="3120"/>
                      <a:pt x="3118" y="3096"/>
                    </a:cubicBezTo>
                    <a:cubicBezTo>
                      <a:pt x="3076" y="3085"/>
                      <a:pt x="3014" y="3070"/>
                      <a:pt x="2940" y="3070"/>
                    </a:cubicBezTo>
                    <a:cubicBezTo>
                      <a:pt x="2838" y="3070"/>
                      <a:pt x="2714" y="3098"/>
                      <a:pt x="2590" y="3202"/>
                    </a:cubicBezTo>
                    <a:cubicBezTo>
                      <a:pt x="2517" y="3263"/>
                      <a:pt x="2402" y="3394"/>
                      <a:pt x="2246" y="3564"/>
                    </a:cubicBezTo>
                    <a:cubicBezTo>
                      <a:pt x="2097" y="3725"/>
                      <a:pt x="1934" y="3902"/>
                      <a:pt x="1807" y="4039"/>
                    </a:cubicBezTo>
                    <a:cubicBezTo>
                      <a:pt x="1743" y="4108"/>
                      <a:pt x="1689" y="4167"/>
                      <a:pt x="1650" y="4208"/>
                    </a:cubicBezTo>
                    <a:cubicBezTo>
                      <a:pt x="1632" y="4228"/>
                      <a:pt x="1617" y="4244"/>
                      <a:pt x="1606" y="4256"/>
                    </a:cubicBezTo>
                    <a:cubicBezTo>
                      <a:pt x="1609" y="4257"/>
                      <a:pt x="1612" y="4258"/>
                      <a:pt x="1612" y="4258"/>
                    </a:cubicBezTo>
                    <a:cubicBezTo>
                      <a:pt x="1614" y="4259"/>
                      <a:pt x="1614" y="4259"/>
                      <a:pt x="1614" y="4259"/>
                    </a:cubicBezTo>
                    <a:cubicBezTo>
                      <a:pt x="2447" y="4863"/>
                      <a:pt x="2447" y="4863"/>
                      <a:pt x="2447" y="4863"/>
                    </a:cubicBezTo>
                    <a:cubicBezTo>
                      <a:pt x="2910" y="5010"/>
                      <a:pt x="2910" y="5010"/>
                      <a:pt x="2910" y="5010"/>
                    </a:cubicBezTo>
                    <a:cubicBezTo>
                      <a:pt x="2916" y="4995"/>
                      <a:pt x="2942" y="4932"/>
                      <a:pt x="2961" y="4886"/>
                    </a:cubicBezTo>
                    <a:cubicBezTo>
                      <a:pt x="2983" y="4832"/>
                      <a:pt x="3026" y="4747"/>
                      <a:pt x="3149" y="4688"/>
                    </a:cubicBezTo>
                    <a:cubicBezTo>
                      <a:pt x="3192" y="4667"/>
                      <a:pt x="3235" y="4659"/>
                      <a:pt x="3282" y="4659"/>
                    </a:cubicBezTo>
                    <a:cubicBezTo>
                      <a:pt x="3374" y="4659"/>
                      <a:pt x="3482" y="4690"/>
                      <a:pt x="3647" y="4722"/>
                    </a:cubicBezTo>
                    <a:cubicBezTo>
                      <a:pt x="3743" y="4740"/>
                      <a:pt x="3858" y="4766"/>
                      <a:pt x="3980" y="4796"/>
                    </a:cubicBezTo>
                    <a:cubicBezTo>
                      <a:pt x="3986" y="4781"/>
                      <a:pt x="4002" y="4740"/>
                      <a:pt x="4021" y="4686"/>
                    </a:cubicBezTo>
                    <a:cubicBezTo>
                      <a:pt x="4044" y="4618"/>
                      <a:pt x="4071" y="4528"/>
                      <a:pt x="4086" y="4447"/>
                    </a:cubicBezTo>
                    <a:cubicBezTo>
                      <a:pt x="4096" y="4393"/>
                      <a:pt x="4100" y="4315"/>
                      <a:pt x="4099" y="4235"/>
                    </a:cubicBezTo>
                    <a:cubicBezTo>
                      <a:pt x="4100" y="4075"/>
                      <a:pt x="4086" y="3908"/>
                      <a:pt x="4086" y="3908"/>
                    </a:cubicBezTo>
                    <a:lnTo>
                      <a:pt x="4086" y="3904"/>
                    </a:lnTo>
                    <a:close/>
                    <a:moveTo>
                      <a:pt x="1284" y="4142"/>
                    </a:moveTo>
                    <a:cubicBezTo>
                      <a:pt x="1286" y="4144"/>
                      <a:pt x="1287" y="4146"/>
                      <a:pt x="1288" y="4147"/>
                    </a:cubicBezTo>
                    <a:cubicBezTo>
                      <a:pt x="1294" y="4148"/>
                      <a:pt x="1300" y="4150"/>
                      <a:pt x="1308" y="4152"/>
                    </a:cubicBezTo>
                    <a:cubicBezTo>
                      <a:pt x="1363" y="4168"/>
                      <a:pt x="1499" y="4217"/>
                      <a:pt x="1569" y="4242"/>
                    </a:cubicBezTo>
                    <a:cubicBezTo>
                      <a:pt x="1590" y="4220"/>
                      <a:pt x="1676" y="4128"/>
                      <a:pt x="1789" y="4005"/>
                    </a:cubicBezTo>
                    <a:cubicBezTo>
                      <a:pt x="1915" y="3869"/>
                      <a:pt x="2074" y="3696"/>
                      <a:pt x="2219" y="3539"/>
                    </a:cubicBezTo>
                    <a:cubicBezTo>
                      <a:pt x="2375" y="3370"/>
                      <a:pt x="2489" y="3239"/>
                      <a:pt x="2567" y="3174"/>
                    </a:cubicBezTo>
                    <a:cubicBezTo>
                      <a:pt x="2698" y="3064"/>
                      <a:pt x="2832" y="3034"/>
                      <a:pt x="2940" y="3034"/>
                    </a:cubicBezTo>
                    <a:cubicBezTo>
                      <a:pt x="3018" y="3034"/>
                      <a:pt x="3084" y="3050"/>
                      <a:pt x="3127" y="3061"/>
                    </a:cubicBezTo>
                    <a:cubicBezTo>
                      <a:pt x="3138" y="3064"/>
                      <a:pt x="3154" y="3069"/>
                      <a:pt x="3171" y="3075"/>
                    </a:cubicBezTo>
                    <a:cubicBezTo>
                      <a:pt x="3594" y="1769"/>
                      <a:pt x="3594" y="1769"/>
                      <a:pt x="3594" y="1769"/>
                    </a:cubicBezTo>
                    <a:cubicBezTo>
                      <a:pt x="3595" y="1754"/>
                      <a:pt x="3595" y="1754"/>
                      <a:pt x="3595" y="1754"/>
                    </a:cubicBezTo>
                    <a:cubicBezTo>
                      <a:pt x="3255" y="1635"/>
                      <a:pt x="2795" y="1469"/>
                      <a:pt x="2750" y="1453"/>
                    </a:cubicBezTo>
                    <a:cubicBezTo>
                      <a:pt x="2720" y="1442"/>
                      <a:pt x="2678" y="1426"/>
                      <a:pt x="2637" y="1401"/>
                    </a:cubicBezTo>
                    <a:cubicBezTo>
                      <a:pt x="2610" y="1385"/>
                      <a:pt x="2584" y="1365"/>
                      <a:pt x="2561" y="1339"/>
                    </a:cubicBezTo>
                    <a:cubicBezTo>
                      <a:pt x="2551" y="1345"/>
                      <a:pt x="2551" y="1345"/>
                      <a:pt x="2551" y="1345"/>
                    </a:cubicBezTo>
                    <a:cubicBezTo>
                      <a:pt x="2541" y="1353"/>
                      <a:pt x="2519" y="1371"/>
                      <a:pt x="2488" y="1397"/>
                    </a:cubicBezTo>
                    <a:cubicBezTo>
                      <a:pt x="2353" y="1511"/>
                      <a:pt x="2049" y="1773"/>
                      <a:pt x="1778" y="2008"/>
                    </a:cubicBezTo>
                    <a:cubicBezTo>
                      <a:pt x="1643" y="2125"/>
                      <a:pt x="1516" y="2235"/>
                      <a:pt x="1423" y="2315"/>
                    </a:cubicBezTo>
                    <a:cubicBezTo>
                      <a:pt x="1336" y="2391"/>
                      <a:pt x="1278" y="2441"/>
                      <a:pt x="1272" y="2447"/>
                    </a:cubicBezTo>
                    <a:cubicBezTo>
                      <a:pt x="558" y="3210"/>
                      <a:pt x="558" y="3210"/>
                      <a:pt x="558" y="3210"/>
                    </a:cubicBezTo>
                    <a:cubicBezTo>
                      <a:pt x="602" y="3267"/>
                      <a:pt x="757" y="3470"/>
                      <a:pt x="915" y="3674"/>
                    </a:cubicBezTo>
                    <a:cubicBezTo>
                      <a:pt x="1007" y="3794"/>
                      <a:pt x="1101" y="3914"/>
                      <a:pt x="1172" y="4004"/>
                    </a:cubicBezTo>
                    <a:cubicBezTo>
                      <a:pt x="1207" y="4049"/>
                      <a:pt x="1237" y="4086"/>
                      <a:pt x="1258" y="4112"/>
                    </a:cubicBezTo>
                    <a:cubicBezTo>
                      <a:pt x="1269" y="4125"/>
                      <a:pt x="1278" y="4136"/>
                      <a:pt x="1284" y="4142"/>
                    </a:cubicBezTo>
                    <a:close/>
                    <a:moveTo>
                      <a:pt x="1350" y="6805"/>
                    </a:moveTo>
                    <a:cubicBezTo>
                      <a:pt x="1389" y="6732"/>
                      <a:pt x="1418" y="6665"/>
                      <a:pt x="1418" y="6665"/>
                    </a:cubicBezTo>
                    <a:cubicBezTo>
                      <a:pt x="1419" y="6664"/>
                      <a:pt x="1419" y="6664"/>
                      <a:pt x="1419" y="6664"/>
                    </a:cubicBezTo>
                    <a:cubicBezTo>
                      <a:pt x="2415" y="4885"/>
                      <a:pt x="2415" y="4885"/>
                      <a:pt x="2415" y="4885"/>
                    </a:cubicBezTo>
                    <a:cubicBezTo>
                      <a:pt x="1597" y="4291"/>
                      <a:pt x="1597" y="4291"/>
                      <a:pt x="1597" y="4291"/>
                    </a:cubicBezTo>
                    <a:cubicBezTo>
                      <a:pt x="1584" y="4286"/>
                      <a:pt x="1517" y="4261"/>
                      <a:pt x="1447" y="4237"/>
                    </a:cubicBezTo>
                    <a:cubicBezTo>
                      <a:pt x="1408" y="4223"/>
                      <a:pt x="1369" y="4209"/>
                      <a:pt x="1337" y="4199"/>
                    </a:cubicBezTo>
                    <a:cubicBezTo>
                      <a:pt x="1327" y="4196"/>
                      <a:pt x="1318" y="4193"/>
                      <a:pt x="1310" y="4191"/>
                    </a:cubicBezTo>
                    <a:cubicBezTo>
                      <a:pt x="197" y="6229"/>
                      <a:pt x="197" y="6229"/>
                      <a:pt x="197" y="6229"/>
                    </a:cubicBezTo>
                    <a:cubicBezTo>
                      <a:pt x="357" y="6301"/>
                      <a:pt x="593" y="6451"/>
                      <a:pt x="776" y="6619"/>
                    </a:cubicBezTo>
                    <a:cubicBezTo>
                      <a:pt x="949" y="6778"/>
                      <a:pt x="1059" y="6955"/>
                      <a:pt x="1100" y="7026"/>
                    </a:cubicBezTo>
                    <a:cubicBezTo>
                      <a:pt x="1101" y="7025"/>
                      <a:pt x="1102" y="7025"/>
                      <a:pt x="1103" y="7025"/>
                    </a:cubicBezTo>
                    <a:cubicBezTo>
                      <a:pt x="1126" y="7022"/>
                      <a:pt x="1179" y="7011"/>
                      <a:pt x="1232" y="6977"/>
                    </a:cubicBezTo>
                    <a:cubicBezTo>
                      <a:pt x="1262" y="6958"/>
                      <a:pt x="1313" y="6878"/>
                      <a:pt x="1350" y="6805"/>
                    </a:cubicBezTo>
                    <a:close/>
                    <a:moveTo>
                      <a:pt x="1905" y="6970"/>
                    </a:moveTo>
                    <a:cubicBezTo>
                      <a:pt x="1754" y="6882"/>
                      <a:pt x="1510" y="6737"/>
                      <a:pt x="1443" y="6698"/>
                    </a:cubicBezTo>
                    <a:cubicBezTo>
                      <a:pt x="1432" y="6723"/>
                      <a:pt x="1409" y="6771"/>
                      <a:pt x="1382" y="6822"/>
                    </a:cubicBezTo>
                    <a:cubicBezTo>
                      <a:pt x="1350" y="6882"/>
                      <a:pt x="1315" y="6945"/>
                      <a:pt x="1279" y="6983"/>
                    </a:cubicBezTo>
                    <a:cubicBezTo>
                      <a:pt x="1283" y="6989"/>
                      <a:pt x="1283" y="6989"/>
                      <a:pt x="1283" y="6989"/>
                    </a:cubicBezTo>
                    <a:cubicBezTo>
                      <a:pt x="1283" y="6989"/>
                      <a:pt x="1283" y="6989"/>
                      <a:pt x="1283" y="6989"/>
                    </a:cubicBezTo>
                    <a:cubicBezTo>
                      <a:pt x="1387" y="7148"/>
                      <a:pt x="1387" y="7148"/>
                      <a:pt x="1387" y="7148"/>
                    </a:cubicBezTo>
                    <a:cubicBezTo>
                      <a:pt x="1387" y="7148"/>
                      <a:pt x="1387" y="7148"/>
                      <a:pt x="1387" y="7148"/>
                    </a:cubicBezTo>
                    <a:cubicBezTo>
                      <a:pt x="1395" y="7160"/>
                      <a:pt x="1395" y="7160"/>
                      <a:pt x="1395" y="7160"/>
                    </a:cubicBezTo>
                    <a:cubicBezTo>
                      <a:pt x="1412" y="7185"/>
                      <a:pt x="1412" y="7185"/>
                      <a:pt x="1412" y="7185"/>
                    </a:cubicBezTo>
                    <a:cubicBezTo>
                      <a:pt x="1411" y="7186"/>
                      <a:pt x="1411" y="7186"/>
                      <a:pt x="1411" y="7186"/>
                    </a:cubicBezTo>
                    <a:cubicBezTo>
                      <a:pt x="1415" y="7191"/>
                      <a:pt x="1415" y="7191"/>
                      <a:pt x="1415" y="7191"/>
                    </a:cubicBezTo>
                    <a:cubicBezTo>
                      <a:pt x="1382" y="7345"/>
                      <a:pt x="1382" y="7345"/>
                      <a:pt x="1382" y="7345"/>
                    </a:cubicBezTo>
                    <a:cubicBezTo>
                      <a:pt x="1396" y="7355"/>
                      <a:pt x="1430" y="7376"/>
                      <a:pt x="1465" y="7398"/>
                    </a:cubicBezTo>
                    <a:cubicBezTo>
                      <a:pt x="1488" y="7413"/>
                      <a:pt x="1511" y="7427"/>
                      <a:pt x="1528" y="7438"/>
                    </a:cubicBezTo>
                    <a:cubicBezTo>
                      <a:pt x="1537" y="7443"/>
                      <a:pt x="1545" y="7448"/>
                      <a:pt x="1550" y="7451"/>
                    </a:cubicBezTo>
                    <a:cubicBezTo>
                      <a:pt x="1553" y="7452"/>
                      <a:pt x="1555" y="7453"/>
                      <a:pt x="1556" y="7454"/>
                    </a:cubicBezTo>
                    <a:cubicBezTo>
                      <a:pt x="1557" y="7454"/>
                      <a:pt x="1558" y="7454"/>
                      <a:pt x="1558" y="7454"/>
                    </a:cubicBezTo>
                    <a:cubicBezTo>
                      <a:pt x="1555" y="7463"/>
                      <a:pt x="1555" y="7463"/>
                      <a:pt x="1555" y="7463"/>
                    </a:cubicBezTo>
                    <a:cubicBezTo>
                      <a:pt x="1555" y="7454"/>
                      <a:pt x="1555" y="7454"/>
                      <a:pt x="1555" y="7454"/>
                    </a:cubicBezTo>
                    <a:cubicBezTo>
                      <a:pt x="1555" y="7466"/>
                      <a:pt x="1555" y="7466"/>
                      <a:pt x="1555" y="7466"/>
                    </a:cubicBezTo>
                    <a:cubicBezTo>
                      <a:pt x="1556" y="7473"/>
                      <a:pt x="1556" y="7473"/>
                      <a:pt x="1556" y="7473"/>
                    </a:cubicBezTo>
                    <a:cubicBezTo>
                      <a:pt x="1643" y="7352"/>
                      <a:pt x="1643" y="7352"/>
                      <a:pt x="1643" y="7352"/>
                    </a:cubicBezTo>
                    <a:cubicBezTo>
                      <a:pt x="1640" y="7349"/>
                      <a:pt x="1640" y="7349"/>
                      <a:pt x="1640" y="7349"/>
                    </a:cubicBezTo>
                    <a:cubicBezTo>
                      <a:pt x="1640" y="7349"/>
                      <a:pt x="1640" y="7349"/>
                      <a:pt x="1640" y="7349"/>
                    </a:cubicBezTo>
                    <a:cubicBezTo>
                      <a:pt x="1640" y="7349"/>
                      <a:pt x="1640" y="7349"/>
                      <a:pt x="1640" y="7349"/>
                    </a:cubicBezTo>
                    <a:cubicBezTo>
                      <a:pt x="1645" y="7345"/>
                      <a:pt x="1666" y="7316"/>
                      <a:pt x="1691" y="7281"/>
                    </a:cubicBezTo>
                    <a:cubicBezTo>
                      <a:pt x="1691" y="7284"/>
                      <a:pt x="1691" y="7284"/>
                      <a:pt x="1691" y="7284"/>
                    </a:cubicBezTo>
                    <a:cubicBezTo>
                      <a:pt x="1709" y="7259"/>
                      <a:pt x="1709" y="7259"/>
                      <a:pt x="1709" y="7259"/>
                    </a:cubicBezTo>
                    <a:cubicBezTo>
                      <a:pt x="1746" y="7205"/>
                      <a:pt x="1789" y="7135"/>
                      <a:pt x="1828" y="7079"/>
                    </a:cubicBezTo>
                    <a:cubicBezTo>
                      <a:pt x="1850" y="7046"/>
                      <a:pt x="1870" y="7017"/>
                      <a:pt x="1886" y="6995"/>
                    </a:cubicBezTo>
                    <a:cubicBezTo>
                      <a:pt x="1894" y="6985"/>
                      <a:pt x="1900" y="6976"/>
                      <a:pt x="1905" y="6970"/>
                    </a:cubicBezTo>
                    <a:close/>
                    <a:moveTo>
                      <a:pt x="1934" y="6987"/>
                    </a:moveTo>
                    <a:cubicBezTo>
                      <a:pt x="1934" y="6987"/>
                      <a:pt x="1934" y="6987"/>
                      <a:pt x="1934" y="6987"/>
                    </a:cubicBezTo>
                    <a:cubicBezTo>
                      <a:pt x="1934" y="6987"/>
                      <a:pt x="1934" y="6987"/>
                      <a:pt x="1934" y="6987"/>
                    </a:cubicBezTo>
                    <a:cubicBezTo>
                      <a:pt x="1934" y="6987"/>
                      <a:pt x="1934" y="6987"/>
                      <a:pt x="1934" y="6987"/>
                    </a:cubicBezTo>
                    <a:close/>
                    <a:moveTo>
                      <a:pt x="3503" y="7219"/>
                    </a:moveTo>
                    <a:cubicBezTo>
                      <a:pt x="3465" y="7183"/>
                      <a:pt x="3426" y="7149"/>
                      <a:pt x="3392" y="7125"/>
                    </a:cubicBezTo>
                    <a:cubicBezTo>
                      <a:pt x="3275" y="7042"/>
                      <a:pt x="3169" y="6981"/>
                      <a:pt x="3083" y="6895"/>
                    </a:cubicBezTo>
                    <a:cubicBezTo>
                      <a:pt x="3007" y="6818"/>
                      <a:pt x="2966" y="6713"/>
                      <a:pt x="2966" y="6641"/>
                    </a:cubicBezTo>
                    <a:cubicBezTo>
                      <a:pt x="2966" y="6630"/>
                      <a:pt x="2967" y="6620"/>
                      <a:pt x="2969" y="6611"/>
                    </a:cubicBezTo>
                    <a:cubicBezTo>
                      <a:pt x="2972" y="6599"/>
                      <a:pt x="2981" y="6577"/>
                      <a:pt x="2998" y="6542"/>
                    </a:cubicBezTo>
                    <a:cubicBezTo>
                      <a:pt x="3102" y="6316"/>
                      <a:pt x="3465" y="5609"/>
                      <a:pt x="3520" y="5503"/>
                    </a:cubicBezTo>
                    <a:cubicBezTo>
                      <a:pt x="2943" y="5058"/>
                      <a:pt x="2943" y="5058"/>
                      <a:pt x="2943" y="5058"/>
                    </a:cubicBezTo>
                    <a:cubicBezTo>
                      <a:pt x="2447" y="4901"/>
                      <a:pt x="2447" y="4901"/>
                      <a:pt x="2447" y="4901"/>
                    </a:cubicBezTo>
                    <a:cubicBezTo>
                      <a:pt x="1459" y="6665"/>
                      <a:pt x="1459" y="6665"/>
                      <a:pt x="1459" y="6665"/>
                    </a:cubicBezTo>
                    <a:cubicBezTo>
                      <a:pt x="1497" y="6688"/>
                      <a:pt x="1601" y="6750"/>
                      <a:pt x="1712" y="6815"/>
                    </a:cubicBezTo>
                    <a:cubicBezTo>
                      <a:pt x="1850" y="6896"/>
                      <a:pt x="1999" y="6983"/>
                      <a:pt x="2035" y="7002"/>
                    </a:cubicBezTo>
                    <a:cubicBezTo>
                      <a:pt x="2113" y="7044"/>
                      <a:pt x="2357" y="7227"/>
                      <a:pt x="2444" y="7288"/>
                    </a:cubicBezTo>
                    <a:cubicBezTo>
                      <a:pt x="2533" y="7351"/>
                      <a:pt x="2644" y="7444"/>
                      <a:pt x="2809" y="7465"/>
                    </a:cubicBezTo>
                    <a:cubicBezTo>
                      <a:pt x="2821" y="7466"/>
                      <a:pt x="2833" y="7467"/>
                      <a:pt x="2845" y="7467"/>
                    </a:cubicBezTo>
                    <a:cubicBezTo>
                      <a:pt x="2993" y="7468"/>
                      <a:pt x="3135" y="7355"/>
                      <a:pt x="3213" y="7301"/>
                    </a:cubicBezTo>
                    <a:cubicBezTo>
                      <a:pt x="3259" y="7270"/>
                      <a:pt x="3339" y="7250"/>
                      <a:pt x="3408" y="7236"/>
                    </a:cubicBezTo>
                    <a:cubicBezTo>
                      <a:pt x="3445" y="7228"/>
                      <a:pt x="3479" y="7223"/>
                      <a:pt x="3503" y="7219"/>
                    </a:cubicBezTo>
                    <a:close/>
                    <a:moveTo>
                      <a:pt x="3904" y="7661"/>
                    </a:moveTo>
                    <a:cubicBezTo>
                      <a:pt x="4037" y="7603"/>
                      <a:pt x="4037" y="7603"/>
                      <a:pt x="4037" y="7603"/>
                    </a:cubicBezTo>
                    <a:cubicBezTo>
                      <a:pt x="4147" y="7548"/>
                      <a:pt x="4147" y="7548"/>
                      <a:pt x="4147" y="7548"/>
                    </a:cubicBezTo>
                    <a:cubicBezTo>
                      <a:pt x="4145" y="7545"/>
                      <a:pt x="4145" y="7545"/>
                      <a:pt x="4145" y="7545"/>
                    </a:cubicBezTo>
                    <a:cubicBezTo>
                      <a:pt x="4166" y="7539"/>
                      <a:pt x="4166" y="7539"/>
                      <a:pt x="4166" y="7539"/>
                    </a:cubicBezTo>
                    <a:cubicBezTo>
                      <a:pt x="4199" y="7523"/>
                      <a:pt x="4199" y="7523"/>
                      <a:pt x="4199" y="7523"/>
                    </a:cubicBezTo>
                    <a:cubicBezTo>
                      <a:pt x="4199" y="7523"/>
                      <a:pt x="4199" y="7523"/>
                      <a:pt x="4199" y="7523"/>
                    </a:cubicBezTo>
                    <a:cubicBezTo>
                      <a:pt x="4204" y="7520"/>
                      <a:pt x="4211" y="7517"/>
                      <a:pt x="4220" y="7512"/>
                    </a:cubicBezTo>
                    <a:cubicBezTo>
                      <a:pt x="4228" y="7507"/>
                      <a:pt x="4228" y="7507"/>
                      <a:pt x="4228" y="7507"/>
                    </a:cubicBezTo>
                    <a:cubicBezTo>
                      <a:pt x="4271" y="7486"/>
                      <a:pt x="4315" y="7459"/>
                      <a:pt x="4346" y="7430"/>
                    </a:cubicBezTo>
                    <a:cubicBezTo>
                      <a:pt x="4405" y="7376"/>
                      <a:pt x="4477" y="7188"/>
                      <a:pt x="4507" y="6959"/>
                    </a:cubicBezTo>
                    <a:cubicBezTo>
                      <a:pt x="4537" y="6728"/>
                      <a:pt x="4784" y="5548"/>
                      <a:pt x="4792" y="5512"/>
                    </a:cubicBezTo>
                    <a:cubicBezTo>
                      <a:pt x="4792" y="5508"/>
                      <a:pt x="4796" y="5477"/>
                      <a:pt x="4796" y="5431"/>
                    </a:cubicBezTo>
                    <a:cubicBezTo>
                      <a:pt x="4796" y="5366"/>
                      <a:pt x="4788" y="5273"/>
                      <a:pt x="4755" y="5189"/>
                    </a:cubicBezTo>
                    <a:cubicBezTo>
                      <a:pt x="4722" y="5104"/>
                      <a:pt x="4665" y="5030"/>
                      <a:pt x="4563" y="4997"/>
                    </a:cubicBezTo>
                    <a:cubicBezTo>
                      <a:pt x="4266" y="4901"/>
                      <a:pt x="3889" y="4805"/>
                      <a:pt x="3640" y="4757"/>
                    </a:cubicBezTo>
                    <a:cubicBezTo>
                      <a:pt x="3474" y="4725"/>
                      <a:pt x="3366" y="4695"/>
                      <a:pt x="3282" y="4695"/>
                    </a:cubicBezTo>
                    <a:cubicBezTo>
                      <a:pt x="3239" y="4695"/>
                      <a:pt x="3202" y="4702"/>
                      <a:pt x="3165" y="4720"/>
                    </a:cubicBezTo>
                    <a:cubicBezTo>
                      <a:pt x="3051" y="4776"/>
                      <a:pt x="3016" y="4848"/>
                      <a:pt x="2994" y="4900"/>
                    </a:cubicBezTo>
                    <a:cubicBezTo>
                      <a:pt x="2976" y="4944"/>
                      <a:pt x="2952" y="5002"/>
                      <a:pt x="2944" y="5020"/>
                    </a:cubicBezTo>
                    <a:cubicBezTo>
                      <a:pt x="2960" y="5025"/>
                      <a:pt x="2960" y="5025"/>
                      <a:pt x="2960" y="5025"/>
                    </a:cubicBezTo>
                    <a:cubicBezTo>
                      <a:pt x="3566" y="5492"/>
                      <a:pt x="3566" y="5492"/>
                      <a:pt x="3566" y="5492"/>
                    </a:cubicBezTo>
                    <a:cubicBezTo>
                      <a:pt x="3559" y="5506"/>
                      <a:pt x="3559" y="5506"/>
                      <a:pt x="3559" y="5506"/>
                    </a:cubicBezTo>
                    <a:cubicBezTo>
                      <a:pt x="3559" y="5506"/>
                      <a:pt x="3423" y="5770"/>
                      <a:pt x="3286" y="6041"/>
                    </a:cubicBezTo>
                    <a:cubicBezTo>
                      <a:pt x="3217" y="6177"/>
                      <a:pt x="3148" y="6315"/>
                      <a:pt x="3095" y="6422"/>
                    </a:cubicBezTo>
                    <a:cubicBezTo>
                      <a:pt x="3069" y="6476"/>
                      <a:pt x="3046" y="6522"/>
                      <a:pt x="3030" y="6557"/>
                    </a:cubicBezTo>
                    <a:cubicBezTo>
                      <a:pt x="3014" y="6591"/>
                      <a:pt x="3004" y="6616"/>
                      <a:pt x="3004" y="6619"/>
                    </a:cubicBezTo>
                    <a:cubicBezTo>
                      <a:pt x="3003" y="6625"/>
                      <a:pt x="3002" y="6633"/>
                      <a:pt x="3002" y="6641"/>
                    </a:cubicBezTo>
                    <a:cubicBezTo>
                      <a:pt x="3001" y="6700"/>
                      <a:pt x="3039" y="6801"/>
                      <a:pt x="3109" y="6870"/>
                    </a:cubicBezTo>
                    <a:cubicBezTo>
                      <a:pt x="3190" y="6951"/>
                      <a:pt x="3294" y="7012"/>
                      <a:pt x="3413" y="7096"/>
                    </a:cubicBezTo>
                    <a:cubicBezTo>
                      <a:pt x="3535" y="7182"/>
                      <a:pt x="3701" y="7379"/>
                      <a:pt x="3701" y="7379"/>
                    </a:cubicBezTo>
                    <a:cubicBezTo>
                      <a:pt x="3701" y="7379"/>
                      <a:pt x="3701" y="7379"/>
                      <a:pt x="3701" y="7379"/>
                    </a:cubicBezTo>
                    <a:cubicBezTo>
                      <a:pt x="3889" y="7597"/>
                      <a:pt x="3889" y="7597"/>
                      <a:pt x="3889" y="7597"/>
                    </a:cubicBezTo>
                    <a:cubicBezTo>
                      <a:pt x="3890" y="7598"/>
                      <a:pt x="3890" y="7598"/>
                      <a:pt x="3890" y="7598"/>
                    </a:cubicBezTo>
                    <a:cubicBezTo>
                      <a:pt x="3891" y="7600"/>
                      <a:pt x="3897" y="7610"/>
                      <a:pt x="3900" y="7629"/>
                    </a:cubicBezTo>
                    <a:cubicBezTo>
                      <a:pt x="3902" y="7639"/>
                      <a:pt x="3903" y="7651"/>
                      <a:pt x="3904" y="7661"/>
                    </a:cubicBezTo>
                    <a:close/>
                    <a:moveTo>
                      <a:pt x="3953" y="7984"/>
                    </a:moveTo>
                    <a:cubicBezTo>
                      <a:pt x="3958" y="7996"/>
                      <a:pt x="3963" y="8007"/>
                      <a:pt x="3967" y="8015"/>
                    </a:cubicBezTo>
                    <a:cubicBezTo>
                      <a:pt x="3968" y="8018"/>
                      <a:pt x="3970" y="8022"/>
                      <a:pt x="3971" y="8024"/>
                    </a:cubicBezTo>
                    <a:cubicBezTo>
                      <a:pt x="3972" y="8026"/>
                      <a:pt x="3972" y="8027"/>
                      <a:pt x="3973" y="8028"/>
                    </a:cubicBezTo>
                    <a:cubicBezTo>
                      <a:pt x="3980" y="8044"/>
                      <a:pt x="3980" y="8044"/>
                      <a:pt x="3980" y="8044"/>
                    </a:cubicBezTo>
                    <a:cubicBezTo>
                      <a:pt x="4008" y="8040"/>
                      <a:pt x="4035" y="8038"/>
                      <a:pt x="4062" y="8038"/>
                    </a:cubicBezTo>
                    <a:cubicBezTo>
                      <a:pt x="4150" y="8038"/>
                      <a:pt x="4237" y="8053"/>
                      <a:pt x="4341" y="8053"/>
                    </a:cubicBezTo>
                    <a:cubicBezTo>
                      <a:pt x="4367" y="8053"/>
                      <a:pt x="4394" y="8052"/>
                      <a:pt x="4423" y="8050"/>
                    </a:cubicBezTo>
                    <a:cubicBezTo>
                      <a:pt x="4523" y="8042"/>
                      <a:pt x="4693" y="8013"/>
                      <a:pt x="4837" y="7986"/>
                    </a:cubicBezTo>
                    <a:cubicBezTo>
                      <a:pt x="4980" y="7960"/>
                      <a:pt x="5098" y="7935"/>
                      <a:pt x="5098" y="7935"/>
                    </a:cubicBezTo>
                    <a:cubicBezTo>
                      <a:pt x="5106" y="7933"/>
                      <a:pt x="5106" y="7933"/>
                      <a:pt x="5106" y="7933"/>
                    </a:cubicBezTo>
                    <a:cubicBezTo>
                      <a:pt x="5114" y="7934"/>
                      <a:pt x="5114" y="7934"/>
                      <a:pt x="5114" y="7934"/>
                    </a:cubicBezTo>
                    <a:cubicBezTo>
                      <a:pt x="5115" y="7934"/>
                      <a:pt x="5470" y="7959"/>
                      <a:pt x="5833" y="7985"/>
                    </a:cubicBezTo>
                    <a:cubicBezTo>
                      <a:pt x="6040" y="8000"/>
                      <a:pt x="6249" y="8015"/>
                      <a:pt x="6394" y="8025"/>
                    </a:cubicBezTo>
                    <a:cubicBezTo>
                      <a:pt x="6400" y="8004"/>
                      <a:pt x="6406" y="7982"/>
                      <a:pt x="6412" y="7960"/>
                    </a:cubicBezTo>
                    <a:cubicBezTo>
                      <a:pt x="6433" y="7882"/>
                      <a:pt x="6459" y="7797"/>
                      <a:pt x="6513" y="7724"/>
                    </a:cubicBezTo>
                    <a:cubicBezTo>
                      <a:pt x="6542" y="7684"/>
                      <a:pt x="6567" y="7650"/>
                      <a:pt x="6600" y="7618"/>
                    </a:cubicBezTo>
                    <a:cubicBezTo>
                      <a:pt x="6650" y="7570"/>
                      <a:pt x="6714" y="7538"/>
                      <a:pt x="6811" y="7510"/>
                    </a:cubicBezTo>
                    <a:cubicBezTo>
                      <a:pt x="6908" y="7482"/>
                      <a:pt x="7044" y="7454"/>
                      <a:pt x="7256" y="7413"/>
                    </a:cubicBezTo>
                    <a:cubicBezTo>
                      <a:pt x="7805" y="7308"/>
                      <a:pt x="8093" y="7044"/>
                      <a:pt x="8209" y="6844"/>
                    </a:cubicBezTo>
                    <a:cubicBezTo>
                      <a:pt x="8236" y="6800"/>
                      <a:pt x="8257" y="6684"/>
                      <a:pt x="8256" y="6536"/>
                    </a:cubicBezTo>
                    <a:cubicBezTo>
                      <a:pt x="8256" y="6512"/>
                      <a:pt x="8256" y="6488"/>
                      <a:pt x="8255" y="6462"/>
                    </a:cubicBezTo>
                    <a:cubicBezTo>
                      <a:pt x="8059" y="6440"/>
                      <a:pt x="7804" y="6411"/>
                      <a:pt x="7588" y="6387"/>
                    </a:cubicBezTo>
                    <a:cubicBezTo>
                      <a:pt x="7390" y="6365"/>
                      <a:pt x="7226" y="6347"/>
                      <a:pt x="7174" y="6341"/>
                    </a:cubicBezTo>
                    <a:cubicBezTo>
                      <a:pt x="7016" y="7432"/>
                      <a:pt x="7016" y="7432"/>
                      <a:pt x="7016" y="7432"/>
                    </a:cubicBezTo>
                    <a:cubicBezTo>
                      <a:pt x="6980" y="7427"/>
                      <a:pt x="6980" y="7427"/>
                      <a:pt x="6980" y="7427"/>
                    </a:cubicBezTo>
                    <a:cubicBezTo>
                      <a:pt x="7138" y="6337"/>
                      <a:pt x="7138" y="6337"/>
                      <a:pt x="7138" y="6337"/>
                    </a:cubicBezTo>
                    <a:cubicBezTo>
                      <a:pt x="5929" y="6192"/>
                      <a:pt x="5929" y="6192"/>
                      <a:pt x="5929" y="6192"/>
                    </a:cubicBezTo>
                    <a:cubicBezTo>
                      <a:pt x="5726" y="7363"/>
                      <a:pt x="5726" y="7363"/>
                      <a:pt x="5726" y="7363"/>
                    </a:cubicBezTo>
                    <a:cubicBezTo>
                      <a:pt x="5690" y="7357"/>
                      <a:pt x="5690" y="7357"/>
                      <a:pt x="5690" y="7357"/>
                    </a:cubicBezTo>
                    <a:cubicBezTo>
                      <a:pt x="5893" y="6187"/>
                      <a:pt x="5893" y="6187"/>
                      <a:pt x="5893" y="6187"/>
                    </a:cubicBezTo>
                    <a:cubicBezTo>
                      <a:pt x="4736" y="5971"/>
                      <a:pt x="4736" y="5971"/>
                      <a:pt x="4736" y="5971"/>
                    </a:cubicBezTo>
                    <a:cubicBezTo>
                      <a:pt x="4743" y="5935"/>
                      <a:pt x="4743" y="5935"/>
                      <a:pt x="4743" y="5935"/>
                    </a:cubicBezTo>
                    <a:cubicBezTo>
                      <a:pt x="5899" y="6151"/>
                      <a:pt x="5899" y="6151"/>
                      <a:pt x="5899" y="6151"/>
                    </a:cubicBezTo>
                    <a:cubicBezTo>
                      <a:pt x="6115" y="4855"/>
                      <a:pt x="6115" y="4855"/>
                      <a:pt x="6115" y="4855"/>
                    </a:cubicBezTo>
                    <a:cubicBezTo>
                      <a:pt x="6115" y="4855"/>
                      <a:pt x="6125" y="4796"/>
                      <a:pt x="6125" y="4713"/>
                    </a:cubicBezTo>
                    <a:cubicBezTo>
                      <a:pt x="6125" y="4564"/>
                      <a:pt x="6093" y="4344"/>
                      <a:pt x="5931" y="4255"/>
                    </a:cubicBezTo>
                    <a:cubicBezTo>
                      <a:pt x="5662" y="4105"/>
                      <a:pt x="5552" y="3978"/>
                      <a:pt x="5372" y="3901"/>
                    </a:cubicBezTo>
                    <a:cubicBezTo>
                      <a:pt x="5190" y="3823"/>
                      <a:pt x="4949" y="3757"/>
                      <a:pt x="4748" y="3705"/>
                    </a:cubicBezTo>
                    <a:cubicBezTo>
                      <a:pt x="4622" y="3672"/>
                      <a:pt x="4459" y="3619"/>
                      <a:pt x="4277" y="3555"/>
                    </a:cubicBezTo>
                    <a:cubicBezTo>
                      <a:pt x="4272" y="3564"/>
                      <a:pt x="4261" y="3587"/>
                      <a:pt x="4249" y="3615"/>
                    </a:cubicBezTo>
                    <a:cubicBezTo>
                      <a:pt x="4206" y="3712"/>
                      <a:pt x="4134" y="3881"/>
                      <a:pt x="4122" y="3909"/>
                    </a:cubicBezTo>
                    <a:cubicBezTo>
                      <a:pt x="4124" y="3937"/>
                      <a:pt x="4136" y="4088"/>
                      <a:pt x="4136" y="4235"/>
                    </a:cubicBezTo>
                    <a:cubicBezTo>
                      <a:pt x="4136" y="4316"/>
                      <a:pt x="4132" y="4396"/>
                      <a:pt x="4122" y="4453"/>
                    </a:cubicBezTo>
                    <a:cubicBezTo>
                      <a:pt x="4095" y="4599"/>
                      <a:pt x="4033" y="4761"/>
                      <a:pt x="4016" y="4805"/>
                    </a:cubicBezTo>
                    <a:cubicBezTo>
                      <a:pt x="4202" y="4851"/>
                      <a:pt x="4401" y="4907"/>
                      <a:pt x="4574" y="4963"/>
                    </a:cubicBezTo>
                    <a:cubicBezTo>
                      <a:pt x="4688" y="5000"/>
                      <a:pt x="4753" y="5085"/>
                      <a:pt x="4789" y="5176"/>
                    </a:cubicBezTo>
                    <a:cubicBezTo>
                      <a:pt x="4824" y="5266"/>
                      <a:pt x="4832" y="5363"/>
                      <a:pt x="4832" y="5431"/>
                    </a:cubicBezTo>
                    <a:cubicBezTo>
                      <a:pt x="4832" y="5482"/>
                      <a:pt x="4827" y="5517"/>
                      <a:pt x="4827" y="5517"/>
                    </a:cubicBezTo>
                    <a:cubicBezTo>
                      <a:pt x="4827" y="5518"/>
                      <a:pt x="4827" y="5518"/>
                      <a:pt x="4827" y="5518"/>
                    </a:cubicBezTo>
                    <a:cubicBezTo>
                      <a:pt x="4827" y="5519"/>
                      <a:pt x="4827" y="5519"/>
                      <a:pt x="4827" y="5519"/>
                    </a:cubicBezTo>
                    <a:cubicBezTo>
                      <a:pt x="4827" y="5519"/>
                      <a:pt x="4764" y="5822"/>
                      <a:pt x="4696" y="6155"/>
                    </a:cubicBezTo>
                    <a:cubicBezTo>
                      <a:pt x="4629" y="6487"/>
                      <a:pt x="4558" y="6849"/>
                      <a:pt x="4543" y="6964"/>
                    </a:cubicBezTo>
                    <a:cubicBezTo>
                      <a:pt x="4511" y="7199"/>
                      <a:pt x="4443" y="7388"/>
                      <a:pt x="4370" y="7457"/>
                    </a:cubicBezTo>
                    <a:cubicBezTo>
                      <a:pt x="4324" y="7499"/>
                      <a:pt x="4251" y="7538"/>
                      <a:pt x="4206" y="7560"/>
                    </a:cubicBezTo>
                    <a:cubicBezTo>
                      <a:pt x="4206" y="7561"/>
                      <a:pt x="4206" y="7561"/>
                      <a:pt x="4206" y="7561"/>
                    </a:cubicBezTo>
                    <a:cubicBezTo>
                      <a:pt x="4053" y="7637"/>
                      <a:pt x="4053" y="7637"/>
                      <a:pt x="4053" y="7637"/>
                    </a:cubicBezTo>
                    <a:cubicBezTo>
                      <a:pt x="3907" y="7701"/>
                      <a:pt x="3907" y="7701"/>
                      <a:pt x="3907" y="7701"/>
                    </a:cubicBezTo>
                    <a:cubicBezTo>
                      <a:pt x="3907" y="7757"/>
                      <a:pt x="3925" y="7866"/>
                      <a:pt x="3930" y="7897"/>
                    </a:cubicBezTo>
                    <a:cubicBezTo>
                      <a:pt x="3932" y="7896"/>
                      <a:pt x="3932" y="7896"/>
                      <a:pt x="3932" y="7896"/>
                    </a:cubicBezTo>
                    <a:cubicBezTo>
                      <a:pt x="3931" y="7900"/>
                      <a:pt x="3931" y="7900"/>
                      <a:pt x="3931" y="7900"/>
                    </a:cubicBezTo>
                    <a:cubicBezTo>
                      <a:pt x="3935" y="7930"/>
                      <a:pt x="3943" y="7959"/>
                      <a:pt x="3953" y="7984"/>
                    </a:cubicBezTo>
                    <a:close/>
                    <a:moveTo>
                      <a:pt x="5114" y="8049"/>
                    </a:moveTo>
                    <a:cubicBezTo>
                      <a:pt x="5065" y="8059"/>
                      <a:pt x="4807" y="8112"/>
                      <a:pt x="4599" y="8144"/>
                    </a:cubicBezTo>
                    <a:cubicBezTo>
                      <a:pt x="4690" y="8138"/>
                      <a:pt x="4779" y="8137"/>
                      <a:pt x="4861" y="8136"/>
                    </a:cubicBezTo>
                    <a:cubicBezTo>
                      <a:pt x="4972" y="8136"/>
                      <a:pt x="5072" y="8140"/>
                      <a:pt x="5151" y="8143"/>
                    </a:cubicBezTo>
                    <a:cubicBezTo>
                      <a:pt x="5399" y="8155"/>
                      <a:pt x="5899" y="8211"/>
                      <a:pt x="6167" y="8210"/>
                    </a:cubicBezTo>
                    <a:cubicBezTo>
                      <a:pt x="6207" y="8210"/>
                      <a:pt x="6242" y="8209"/>
                      <a:pt x="6268" y="8207"/>
                    </a:cubicBezTo>
                    <a:cubicBezTo>
                      <a:pt x="6294" y="8204"/>
                      <a:pt x="6313" y="8199"/>
                      <a:pt x="6314" y="8198"/>
                    </a:cubicBezTo>
                    <a:cubicBezTo>
                      <a:pt x="6325" y="8194"/>
                      <a:pt x="6338" y="8182"/>
                      <a:pt x="6352" y="8153"/>
                    </a:cubicBezTo>
                    <a:cubicBezTo>
                      <a:pt x="6354" y="8148"/>
                      <a:pt x="6357" y="8143"/>
                      <a:pt x="6359" y="8138"/>
                    </a:cubicBezTo>
                    <a:cubicBezTo>
                      <a:pt x="5971" y="8110"/>
                      <a:pt x="5200" y="8055"/>
                      <a:pt x="5114" y="8049"/>
                    </a:cubicBezTo>
                    <a:close/>
                    <a:moveTo>
                      <a:pt x="492" y="10090"/>
                    </a:moveTo>
                    <a:cubicBezTo>
                      <a:pt x="491" y="10089"/>
                      <a:pt x="489" y="10086"/>
                      <a:pt x="487" y="10085"/>
                    </a:cubicBezTo>
                    <a:cubicBezTo>
                      <a:pt x="484" y="10081"/>
                      <a:pt x="482" y="10078"/>
                      <a:pt x="480" y="10076"/>
                    </a:cubicBezTo>
                    <a:cubicBezTo>
                      <a:pt x="479" y="10075"/>
                      <a:pt x="479" y="10074"/>
                      <a:pt x="478" y="10074"/>
                    </a:cubicBezTo>
                    <a:cubicBezTo>
                      <a:pt x="478" y="10073"/>
                      <a:pt x="477" y="10073"/>
                      <a:pt x="477" y="10072"/>
                    </a:cubicBezTo>
                    <a:cubicBezTo>
                      <a:pt x="477" y="10072"/>
                      <a:pt x="477" y="10072"/>
                      <a:pt x="476" y="10071"/>
                    </a:cubicBezTo>
                    <a:cubicBezTo>
                      <a:pt x="476" y="10071"/>
                      <a:pt x="476" y="10070"/>
                      <a:pt x="475" y="10069"/>
                    </a:cubicBezTo>
                    <a:cubicBezTo>
                      <a:pt x="475" y="10068"/>
                      <a:pt x="474" y="10068"/>
                      <a:pt x="473" y="10061"/>
                    </a:cubicBezTo>
                    <a:cubicBezTo>
                      <a:pt x="473" y="10059"/>
                      <a:pt x="474" y="10057"/>
                      <a:pt x="474" y="10056"/>
                    </a:cubicBezTo>
                    <a:cubicBezTo>
                      <a:pt x="475" y="10054"/>
                      <a:pt x="476" y="10053"/>
                      <a:pt x="477" y="10051"/>
                    </a:cubicBezTo>
                    <a:cubicBezTo>
                      <a:pt x="470" y="10054"/>
                      <a:pt x="464" y="10058"/>
                      <a:pt x="459" y="10062"/>
                    </a:cubicBezTo>
                    <a:cubicBezTo>
                      <a:pt x="447" y="10069"/>
                      <a:pt x="434" y="10079"/>
                      <a:pt x="426" y="10086"/>
                    </a:cubicBezTo>
                    <a:cubicBezTo>
                      <a:pt x="453" y="10093"/>
                      <a:pt x="472" y="10098"/>
                      <a:pt x="476" y="10099"/>
                    </a:cubicBezTo>
                    <a:cubicBezTo>
                      <a:pt x="482" y="10096"/>
                      <a:pt x="487" y="10093"/>
                      <a:pt x="492" y="10090"/>
                    </a:cubicBezTo>
                    <a:close/>
                    <a:moveTo>
                      <a:pt x="3757" y="8332"/>
                    </a:moveTo>
                    <a:cubicBezTo>
                      <a:pt x="3741" y="8295"/>
                      <a:pt x="3741" y="8295"/>
                      <a:pt x="3741" y="8295"/>
                    </a:cubicBezTo>
                    <a:cubicBezTo>
                      <a:pt x="3740" y="8293"/>
                      <a:pt x="3738" y="8292"/>
                      <a:pt x="3737" y="8291"/>
                    </a:cubicBezTo>
                    <a:cubicBezTo>
                      <a:pt x="3716" y="8307"/>
                      <a:pt x="3699" y="8321"/>
                      <a:pt x="3686" y="8331"/>
                    </a:cubicBezTo>
                    <a:cubicBezTo>
                      <a:pt x="3677" y="8337"/>
                      <a:pt x="3671" y="8340"/>
                      <a:pt x="3657" y="8348"/>
                    </a:cubicBezTo>
                    <a:cubicBezTo>
                      <a:pt x="3484" y="8445"/>
                      <a:pt x="2442" y="8992"/>
                      <a:pt x="2256" y="9093"/>
                    </a:cubicBezTo>
                    <a:cubicBezTo>
                      <a:pt x="2256" y="9093"/>
                      <a:pt x="2256" y="9093"/>
                      <a:pt x="2256" y="9093"/>
                    </a:cubicBezTo>
                    <a:cubicBezTo>
                      <a:pt x="2254" y="9095"/>
                      <a:pt x="2254" y="9095"/>
                      <a:pt x="2254" y="9095"/>
                    </a:cubicBezTo>
                    <a:cubicBezTo>
                      <a:pt x="2237" y="9104"/>
                      <a:pt x="2227" y="9109"/>
                      <a:pt x="2228" y="9110"/>
                    </a:cubicBezTo>
                    <a:cubicBezTo>
                      <a:pt x="2227" y="9109"/>
                      <a:pt x="2227" y="9109"/>
                      <a:pt x="2227" y="9109"/>
                    </a:cubicBezTo>
                    <a:cubicBezTo>
                      <a:pt x="1334" y="9592"/>
                      <a:pt x="1334" y="9592"/>
                      <a:pt x="1334" y="9592"/>
                    </a:cubicBezTo>
                    <a:cubicBezTo>
                      <a:pt x="500" y="10039"/>
                      <a:pt x="500" y="10039"/>
                      <a:pt x="500" y="10039"/>
                    </a:cubicBezTo>
                    <a:cubicBezTo>
                      <a:pt x="499" y="10039"/>
                      <a:pt x="499" y="10039"/>
                      <a:pt x="499" y="10039"/>
                    </a:cubicBezTo>
                    <a:cubicBezTo>
                      <a:pt x="499" y="10039"/>
                      <a:pt x="496" y="10040"/>
                      <a:pt x="493" y="10042"/>
                    </a:cubicBezTo>
                    <a:cubicBezTo>
                      <a:pt x="498" y="10042"/>
                      <a:pt x="502" y="10044"/>
                      <a:pt x="506" y="10048"/>
                    </a:cubicBezTo>
                    <a:cubicBezTo>
                      <a:pt x="506" y="10049"/>
                      <a:pt x="507" y="10050"/>
                      <a:pt x="508" y="10051"/>
                    </a:cubicBezTo>
                    <a:cubicBezTo>
                      <a:pt x="509" y="10053"/>
                      <a:pt x="516" y="10060"/>
                      <a:pt x="526" y="10071"/>
                    </a:cubicBezTo>
                    <a:cubicBezTo>
                      <a:pt x="592" y="10034"/>
                      <a:pt x="593" y="10034"/>
                      <a:pt x="600" y="10029"/>
                    </a:cubicBezTo>
                    <a:cubicBezTo>
                      <a:pt x="601" y="10028"/>
                      <a:pt x="601" y="10028"/>
                      <a:pt x="601" y="10028"/>
                    </a:cubicBezTo>
                    <a:cubicBezTo>
                      <a:pt x="602" y="10028"/>
                      <a:pt x="602" y="10028"/>
                      <a:pt x="602" y="10028"/>
                    </a:cubicBezTo>
                    <a:cubicBezTo>
                      <a:pt x="602" y="10028"/>
                      <a:pt x="1439" y="9585"/>
                      <a:pt x="2268" y="9138"/>
                    </a:cubicBezTo>
                    <a:cubicBezTo>
                      <a:pt x="2913" y="8790"/>
                      <a:pt x="3560" y="8432"/>
                      <a:pt x="3757" y="8332"/>
                    </a:cubicBezTo>
                    <a:close/>
                    <a:moveTo>
                      <a:pt x="4339" y="8167"/>
                    </a:moveTo>
                    <a:cubicBezTo>
                      <a:pt x="4226" y="8167"/>
                      <a:pt x="4136" y="8153"/>
                      <a:pt x="4062" y="8153"/>
                    </a:cubicBezTo>
                    <a:cubicBezTo>
                      <a:pt x="4026" y="8153"/>
                      <a:pt x="3994" y="8156"/>
                      <a:pt x="3963" y="8164"/>
                    </a:cubicBezTo>
                    <a:cubicBezTo>
                      <a:pt x="3905" y="8180"/>
                      <a:pt x="3846" y="8213"/>
                      <a:pt x="3797" y="8247"/>
                    </a:cubicBezTo>
                    <a:cubicBezTo>
                      <a:pt x="3788" y="8253"/>
                      <a:pt x="3780" y="8259"/>
                      <a:pt x="3772" y="8265"/>
                    </a:cubicBezTo>
                    <a:cubicBezTo>
                      <a:pt x="3781" y="8295"/>
                      <a:pt x="3781" y="8295"/>
                      <a:pt x="3781" y="8295"/>
                    </a:cubicBezTo>
                    <a:cubicBezTo>
                      <a:pt x="3789" y="8316"/>
                      <a:pt x="3789" y="8316"/>
                      <a:pt x="3789" y="8316"/>
                    </a:cubicBezTo>
                    <a:cubicBezTo>
                      <a:pt x="3953" y="8238"/>
                      <a:pt x="4145" y="8193"/>
                      <a:pt x="4339" y="8167"/>
                    </a:cubicBezTo>
                    <a:close/>
                    <a:moveTo>
                      <a:pt x="4181" y="9251"/>
                    </a:moveTo>
                    <a:cubicBezTo>
                      <a:pt x="4294" y="9245"/>
                      <a:pt x="4740" y="9218"/>
                      <a:pt x="4951" y="9184"/>
                    </a:cubicBezTo>
                    <a:cubicBezTo>
                      <a:pt x="5187" y="9146"/>
                      <a:pt x="5325" y="8976"/>
                      <a:pt x="5383" y="8913"/>
                    </a:cubicBezTo>
                    <a:cubicBezTo>
                      <a:pt x="5416" y="8877"/>
                      <a:pt x="5428" y="8826"/>
                      <a:pt x="5428" y="8763"/>
                    </a:cubicBezTo>
                    <a:cubicBezTo>
                      <a:pt x="5428" y="8726"/>
                      <a:pt x="5424" y="8685"/>
                      <a:pt x="5419" y="8642"/>
                    </a:cubicBezTo>
                    <a:cubicBezTo>
                      <a:pt x="5408" y="8555"/>
                      <a:pt x="5374" y="8377"/>
                      <a:pt x="5359" y="8297"/>
                    </a:cubicBezTo>
                    <a:cubicBezTo>
                      <a:pt x="5277" y="8291"/>
                      <a:pt x="5203" y="8285"/>
                      <a:pt x="5145" y="8283"/>
                    </a:cubicBezTo>
                    <a:cubicBezTo>
                      <a:pt x="5067" y="8279"/>
                      <a:pt x="4969" y="8276"/>
                      <a:pt x="4861" y="8276"/>
                    </a:cubicBezTo>
                    <a:cubicBezTo>
                      <a:pt x="4539" y="8275"/>
                      <a:pt x="4121" y="8308"/>
                      <a:pt x="3843" y="8445"/>
                    </a:cubicBezTo>
                    <a:cubicBezTo>
                      <a:pt x="4178" y="9250"/>
                      <a:pt x="4178" y="9250"/>
                      <a:pt x="4178" y="9250"/>
                    </a:cubicBezTo>
                    <a:lnTo>
                      <a:pt x="4181" y="9251"/>
                    </a:lnTo>
                    <a:close/>
                    <a:moveTo>
                      <a:pt x="5358" y="10042"/>
                    </a:moveTo>
                    <a:cubicBezTo>
                      <a:pt x="5366" y="9958"/>
                      <a:pt x="5391" y="9677"/>
                      <a:pt x="5391" y="9539"/>
                    </a:cubicBezTo>
                    <a:cubicBezTo>
                      <a:pt x="5391" y="9521"/>
                      <a:pt x="5390" y="9505"/>
                      <a:pt x="5390" y="9493"/>
                    </a:cubicBezTo>
                    <a:cubicBezTo>
                      <a:pt x="5385" y="9433"/>
                      <a:pt x="5361" y="9364"/>
                      <a:pt x="5337" y="9305"/>
                    </a:cubicBezTo>
                    <a:cubicBezTo>
                      <a:pt x="5313" y="9246"/>
                      <a:pt x="5290" y="9199"/>
                      <a:pt x="5284" y="9176"/>
                    </a:cubicBezTo>
                    <a:cubicBezTo>
                      <a:pt x="5280" y="9161"/>
                      <a:pt x="5265" y="9137"/>
                      <a:pt x="5251" y="9118"/>
                    </a:cubicBezTo>
                    <a:cubicBezTo>
                      <a:pt x="5243" y="9108"/>
                      <a:pt x="5236" y="9099"/>
                      <a:pt x="5230" y="9093"/>
                    </a:cubicBezTo>
                    <a:cubicBezTo>
                      <a:pt x="5159" y="9145"/>
                      <a:pt x="5068" y="9192"/>
                      <a:pt x="4955" y="9210"/>
                    </a:cubicBezTo>
                    <a:cubicBezTo>
                      <a:pt x="4745" y="9244"/>
                      <a:pt x="4316" y="9270"/>
                      <a:pt x="4190" y="9276"/>
                    </a:cubicBezTo>
                    <a:cubicBezTo>
                      <a:pt x="4190" y="9277"/>
                      <a:pt x="4190" y="9277"/>
                      <a:pt x="4190" y="9277"/>
                    </a:cubicBezTo>
                    <a:cubicBezTo>
                      <a:pt x="4616" y="10205"/>
                      <a:pt x="4616" y="10205"/>
                      <a:pt x="4616" y="10205"/>
                    </a:cubicBezTo>
                    <a:cubicBezTo>
                      <a:pt x="4690" y="10186"/>
                      <a:pt x="4763" y="10168"/>
                      <a:pt x="4832" y="10152"/>
                    </a:cubicBezTo>
                    <a:cubicBezTo>
                      <a:pt x="5001" y="10112"/>
                      <a:pt x="5178" y="10082"/>
                      <a:pt x="5346" y="10060"/>
                    </a:cubicBezTo>
                    <a:lnTo>
                      <a:pt x="5358" y="10042"/>
                    </a:lnTo>
                    <a:close/>
                    <a:moveTo>
                      <a:pt x="6619" y="8174"/>
                    </a:moveTo>
                    <a:cubicBezTo>
                      <a:pt x="6616" y="8173"/>
                      <a:pt x="6616" y="8173"/>
                      <a:pt x="6616" y="8173"/>
                    </a:cubicBezTo>
                    <a:cubicBezTo>
                      <a:pt x="6621" y="8154"/>
                      <a:pt x="6621" y="8154"/>
                      <a:pt x="6621" y="8154"/>
                    </a:cubicBezTo>
                    <a:cubicBezTo>
                      <a:pt x="6619" y="8154"/>
                      <a:pt x="6618" y="8154"/>
                      <a:pt x="6616" y="8154"/>
                    </a:cubicBezTo>
                    <a:cubicBezTo>
                      <a:pt x="6603" y="8154"/>
                      <a:pt x="6591" y="8153"/>
                      <a:pt x="6579" y="8153"/>
                    </a:cubicBezTo>
                    <a:cubicBezTo>
                      <a:pt x="6573" y="8152"/>
                      <a:pt x="6546" y="8151"/>
                      <a:pt x="6504" y="8148"/>
                    </a:cubicBezTo>
                    <a:cubicBezTo>
                      <a:pt x="6496" y="8170"/>
                      <a:pt x="6488" y="8193"/>
                      <a:pt x="6477" y="8214"/>
                    </a:cubicBezTo>
                    <a:cubicBezTo>
                      <a:pt x="6456" y="8258"/>
                      <a:pt x="6423" y="8302"/>
                      <a:pt x="6370" y="8326"/>
                    </a:cubicBezTo>
                    <a:cubicBezTo>
                      <a:pt x="6342" y="8338"/>
                      <a:pt x="6315" y="8342"/>
                      <a:pt x="6281" y="8345"/>
                    </a:cubicBezTo>
                    <a:cubicBezTo>
                      <a:pt x="6248" y="8349"/>
                      <a:pt x="6210" y="8350"/>
                      <a:pt x="6167" y="8350"/>
                    </a:cubicBezTo>
                    <a:cubicBezTo>
                      <a:pt x="5960" y="8350"/>
                      <a:pt x="5638" y="8320"/>
                      <a:pt x="5386" y="8299"/>
                    </a:cubicBezTo>
                    <a:cubicBezTo>
                      <a:pt x="5402" y="8382"/>
                      <a:pt x="5434" y="8553"/>
                      <a:pt x="5445" y="8639"/>
                    </a:cubicBezTo>
                    <a:cubicBezTo>
                      <a:pt x="5450" y="8682"/>
                      <a:pt x="5454" y="8724"/>
                      <a:pt x="5454" y="8763"/>
                    </a:cubicBezTo>
                    <a:cubicBezTo>
                      <a:pt x="5454" y="8828"/>
                      <a:pt x="5442" y="8887"/>
                      <a:pt x="5403" y="8930"/>
                    </a:cubicBezTo>
                    <a:cubicBezTo>
                      <a:pt x="5374" y="8961"/>
                      <a:pt x="5324" y="9021"/>
                      <a:pt x="5252" y="9077"/>
                    </a:cubicBezTo>
                    <a:cubicBezTo>
                      <a:pt x="5267" y="9096"/>
                      <a:pt x="5300" y="9136"/>
                      <a:pt x="5309" y="9170"/>
                    </a:cubicBezTo>
                    <a:cubicBezTo>
                      <a:pt x="5313" y="9186"/>
                      <a:pt x="5337" y="9236"/>
                      <a:pt x="5362" y="9295"/>
                    </a:cubicBezTo>
                    <a:cubicBezTo>
                      <a:pt x="5386" y="9355"/>
                      <a:pt x="5411" y="9426"/>
                      <a:pt x="5416" y="9491"/>
                    </a:cubicBezTo>
                    <a:cubicBezTo>
                      <a:pt x="5417" y="9505"/>
                      <a:pt x="5417" y="9521"/>
                      <a:pt x="5417" y="9539"/>
                    </a:cubicBezTo>
                    <a:cubicBezTo>
                      <a:pt x="5417" y="9675"/>
                      <a:pt x="5394" y="9943"/>
                      <a:pt x="5385" y="10036"/>
                    </a:cubicBezTo>
                    <a:cubicBezTo>
                      <a:pt x="5390" y="10054"/>
                      <a:pt x="5390" y="10054"/>
                      <a:pt x="5390" y="10054"/>
                    </a:cubicBezTo>
                    <a:cubicBezTo>
                      <a:pt x="5612" y="10025"/>
                      <a:pt x="5817" y="10009"/>
                      <a:pt x="5972" y="10000"/>
                    </a:cubicBezTo>
                    <a:lnTo>
                      <a:pt x="6619" y="8174"/>
                    </a:lnTo>
                    <a:close/>
                    <a:moveTo>
                      <a:pt x="6979" y="7868"/>
                    </a:moveTo>
                    <a:cubicBezTo>
                      <a:pt x="6978" y="7846"/>
                      <a:pt x="6978" y="7846"/>
                      <a:pt x="6978" y="7846"/>
                    </a:cubicBezTo>
                    <a:cubicBezTo>
                      <a:pt x="6922" y="7859"/>
                      <a:pt x="6883" y="7883"/>
                      <a:pt x="6857" y="7906"/>
                    </a:cubicBezTo>
                    <a:cubicBezTo>
                      <a:pt x="6843" y="7918"/>
                      <a:pt x="6833" y="7929"/>
                      <a:pt x="6827" y="7937"/>
                    </a:cubicBezTo>
                    <a:cubicBezTo>
                      <a:pt x="6824" y="7941"/>
                      <a:pt x="6822" y="7944"/>
                      <a:pt x="6821" y="7946"/>
                    </a:cubicBezTo>
                    <a:cubicBezTo>
                      <a:pt x="6820" y="7946"/>
                      <a:pt x="6820" y="7946"/>
                      <a:pt x="6820" y="7947"/>
                    </a:cubicBezTo>
                    <a:cubicBezTo>
                      <a:pt x="6800" y="7983"/>
                      <a:pt x="6781" y="8022"/>
                      <a:pt x="6767" y="8052"/>
                    </a:cubicBezTo>
                    <a:cubicBezTo>
                      <a:pt x="6752" y="8082"/>
                      <a:pt x="6743" y="8103"/>
                      <a:pt x="6743" y="8103"/>
                    </a:cubicBezTo>
                    <a:cubicBezTo>
                      <a:pt x="6737" y="8116"/>
                      <a:pt x="6737" y="8116"/>
                      <a:pt x="6737" y="8116"/>
                    </a:cubicBezTo>
                    <a:cubicBezTo>
                      <a:pt x="6726" y="8124"/>
                      <a:pt x="6726" y="8124"/>
                      <a:pt x="6726" y="8124"/>
                    </a:cubicBezTo>
                    <a:cubicBezTo>
                      <a:pt x="6706" y="8140"/>
                      <a:pt x="6685" y="8147"/>
                      <a:pt x="6665" y="8150"/>
                    </a:cubicBezTo>
                    <a:cubicBezTo>
                      <a:pt x="6011" y="9998"/>
                      <a:pt x="6011" y="9998"/>
                      <a:pt x="6011" y="9998"/>
                    </a:cubicBezTo>
                    <a:cubicBezTo>
                      <a:pt x="6159" y="9990"/>
                      <a:pt x="6251" y="9989"/>
                      <a:pt x="6251" y="9989"/>
                    </a:cubicBezTo>
                    <a:cubicBezTo>
                      <a:pt x="6251" y="10013"/>
                      <a:pt x="6251" y="10013"/>
                      <a:pt x="6251" y="10013"/>
                    </a:cubicBezTo>
                    <a:cubicBezTo>
                      <a:pt x="6264" y="9975"/>
                      <a:pt x="6306" y="9851"/>
                      <a:pt x="6365" y="9680"/>
                    </a:cubicBezTo>
                    <a:cubicBezTo>
                      <a:pt x="6470" y="9369"/>
                      <a:pt x="6629" y="8902"/>
                      <a:pt x="6761" y="8513"/>
                    </a:cubicBezTo>
                    <a:cubicBezTo>
                      <a:pt x="6827" y="8318"/>
                      <a:pt x="6886" y="8143"/>
                      <a:pt x="6929" y="8016"/>
                    </a:cubicBezTo>
                    <a:cubicBezTo>
                      <a:pt x="6950" y="7954"/>
                      <a:pt x="6967" y="7903"/>
                      <a:pt x="6979" y="7868"/>
                    </a:cubicBezTo>
                    <a:close/>
                    <a:moveTo>
                      <a:pt x="8018" y="8105"/>
                    </a:moveTo>
                    <a:cubicBezTo>
                      <a:pt x="8014" y="8102"/>
                      <a:pt x="7998" y="8092"/>
                      <a:pt x="7973" y="8076"/>
                    </a:cubicBezTo>
                    <a:cubicBezTo>
                      <a:pt x="7884" y="8019"/>
                      <a:pt x="7679" y="7899"/>
                      <a:pt x="7527" y="7862"/>
                    </a:cubicBezTo>
                    <a:cubicBezTo>
                      <a:pt x="7527" y="7862"/>
                      <a:pt x="7526" y="7862"/>
                      <a:pt x="7525" y="7862"/>
                    </a:cubicBezTo>
                    <a:cubicBezTo>
                      <a:pt x="7523" y="7865"/>
                      <a:pt x="7520" y="7869"/>
                      <a:pt x="7517" y="7873"/>
                    </a:cubicBezTo>
                    <a:cubicBezTo>
                      <a:pt x="6856" y="9940"/>
                      <a:pt x="6856" y="9940"/>
                      <a:pt x="6856" y="9940"/>
                    </a:cubicBezTo>
                    <a:cubicBezTo>
                      <a:pt x="7213" y="9693"/>
                      <a:pt x="7213" y="9693"/>
                      <a:pt x="7213" y="9693"/>
                    </a:cubicBezTo>
                    <a:cubicBezTo>
                      <a:pt x="8015" y="8113"/>
                      <a:pt x="8015" y="8113"/>
                      <a:pt x="8015" y="8113"/>
                    </a:cubicBezTo>
                    <a:cubicBezTo>
                      <a:pt x="8016" y="8110"/>
                      <a:pt x="8017" y="8108"/>
                      <a:pt x="8018" y="8105"/>
                    </a:cubicBezTo>
                    <a:close/>
                    <a:moveTo>
                      <a:pt x="8174" y="7989"/>
                    </a:moveTo>
                    <a:cubicBezTo>
                      <a:pt x="8246" y="7980"/>
                      <a:pt x="8336" y="7967"/>
                      <a:pt x="8406" y="7951"/>
                    </a:cubicBezTo>
                    <a:cubicBezTo>
                      <a:pt x="8467" y="7937"/>
                      <a:pt x="8542" y="7894"/>
                      <a:pt x="8600" y="7852"/>
                    </a:cubicBezTo>
                    <a:cubicBezTo>
                      <a:pt x="8625" y="7835"/>
                      <a:pt x="8646" y="7818"/>
                      <a:pt x="8663" y="7804"/>
                    </a:cubicBezTo>
                    <a:cubicBezTo>
                      <a:pt x="8624" y="7758"/>
                      <a:pt x="8591" y="7710"/>
                      <a:pt x="8569" y="7661"/>
                    </a:cubicBezTo>
                    <a:cubicBezTo>
                      <a:pt x="8529" y="7570"/>
                      <a:pt x="8521" y="7473"/>
                      <a:pt x="8520" y="7383"/>
                    </a:cubicBezTo>
                    <a:cubicBezTo>
                      <a:pt x="8520" y="7322"/>
                      <a:pt x="8525" y="7264"/>
                      <a:pt x="8527" y="7214"/>
                    </a:cubicBezTo>
                    <a:cubicBezTo>
                      <a:pt x="8531" y="7131"/>
                      <a:pt x="8540" y="6819"/>
                      <a:pt x="8540" y="6528"/>
                    </a:cubicBezTo>
                    <a:cubicBezTo>
                      <a:pt x="8540" y="6517"/>
                      <a:pt x="8540" y="6507"/>
                      <a:pt x="8540" y="6497"/>
                    </a:cubicBezTo>
                    <a:cubicBezTo>
                      <a:pt x="8535" y="6496"/>
                      <a:pt x="8529" y="6495"/>
                      <a:pt x="8522" y="6494"/>
                    </a:cubicBezTo>
                    <a:cubicBezTo>
                      <a:pt x="8512" y="6494"/>
                      <a:pt x="8512" y="6494"/>
                      <a:pt x="8512" y="6494"/>
                    </a:cubicBezTo>
                    <a:cubicBezTo>
                      <a:pt x="8512" y="6494"/>
                      <a:pt x="8512" y="6493"/>
                      <a:pt x="8512" y="6493"/>
                    </a:cubicBezTo>
                    <a:cubicBezTo>
                      <a:pt x="8483" y="6489"/>
                      <a:pt x="8442" y="6484"/>
                      <a:pt x="8395" y="6479"/>
                    </a:cubicBezTo>
                    <a:cubicBezTo>
                      <a:pt x="8395" y="6498"/>
                      <a:pt x="8396" y="6518"/>
                      <a:pt x="8396" y="6536"/>
                    </a:cubicBezTo>
                    <a:cubicBezTo>
                      <a:pt x="8395" y="6697"/>
                      <a:pt x="8379" y="6824"/>
                      <a:pt x="8329" y="6913"/>
                    </a:cubicBezTo>
                    <a:cubicBezTo>
                      <a:pt x="8191" y="7153"/>
                      <a:pt x="7865" y="7438"/>
                      <a:pt x="7283" y="7550"/>
                    </a:cubicBezTo>
                    <a:cubicBezTo>
                      <a:pt x="7001" y="7604"/>
                      <a:pt x="6856" y="7636"/>
                      <a:pt x="6778" y="7669"/>
                    </a:cubicBezTo>
                    <a:cubicBezTo>
                      <a:pt x="6739" y="7685"/>
                      <a:pt x="6717" y="7700"/>
                      <a:pt x="6696" y="7719"/>
                    </a:cubicBezTo>
                    <a:cubicBezTo>
                      <a:pt x="6675" y="7739"/>
                      <a:pt x="6654" y="7767"/>
                      <a:pt x="6625" y="7807"/>
                    </a:cubicBezTo>
                    <a:cubicBezTo>
                      <a:pt x="6584" y="7861"/>
                      <a:pt x="6559" y="7947"/>
                      <a:pt x="6536" y="8035"/>
                    </a:cubicBezTo>
                    <a:cubicBezTo>
                      <a:pt x="6563" y="8037"/>
                      <a:pt x="6580" y="8038"/>
                      <a:pt x="6584" y="8038"/>
                    </a:cubicBezTo>
                    <a:cubicBezTo>
                      <a:pt x="6596" y="8039"/>
                      <a:pt x="6606" y="8039"/>
                      <a:pt x="6616" y="8039"/>
                    </a:cubicBezTo>
                    <a:cubicBezTo>
                      <a:pt x="6629" y="8039"/>
                      <a:pt x="6640" y="8038"/>
                      <a:pt x="6647" y="8037"/>
                    </a:cubicBezTo>
                    <a:cubicBezTo>
                      <a:pt x="6661" y="8007"/>
                      <a:pt x="6689" y="7946"/>
                      <a:pt x="6720" y="7891"/>
                    </a:cubicBezTo>
                    <a:cubicBezTo>
                      <a:pt x="6720" y="7890"/>
                      <a:pt x="6720" y="7890"/>
                      <a:pt x="6720" y="7890"/>
                    </a:cubicBezTo>
                    <a:cubicBezTo>
                      <a:pt x="6721" y="7889"/>
                      <a:pt x="6721" y="7889"/>
                      <a:pt x="6721" y="7889"/>
                    </a:cubicBezTo>
                    <a:cubicBezTo>
                      <a:pt x="6725" y="7882"/>
                      <a:pt x="6797" y="7762"/>
                      <a:pt x="6971" y="7730"/>
                    </a:cubicBezTo>
                    <a:cubicBezTo>
                      <a:pt x="7043" y="7717"/>
                      <a:pt x="7123" y="7708"/>
                      <a:pt x="7211" y="7708"/>
                    </a:cubicBezTo>
                    <a:cubicBezTo>
                      <a:pt x="7316" y="7708"/>
                      <a:pt x="7431" y="7720"/>
                      <a:pt x="7555" y="7751"/>
                    </a:cubicBezTo>
                    <a:cubicBezTo>
                      <a:pt x="7759" y="7802"/>
                      <a:pt x="8001" y="7957"/>
                      <a:pt x="8068" y="8000"/>
                    </a:cubicBezTo>
                    <a:cubicBezTo>
                      <a:pt x="8089" y="7998"/>
                      <a:pt x="8128" y="7994"/>
                      <a:pt x="8174" y="7989"/>
                    </a:cubicBezTo>
                    <a:close/>
                    <a:moveTo>
                      <a:pt x="9264" y="8896"/>
                    </a:moveTo>
                    <a:cubicBezTo>
                      <a:pt x="9121" y="8818"/>
                      <a:pt x="8859" y="8654"/>
                      <a:pt x="8727" y="8573"/>
                    </a:cubicBezTo>
                    <a:cubicBezTo>
                      <a:pt x="8716" y="8579"/>
                      <a:pt x="8716" y="8579"/>
                      <a:pt x="8716" y="8579"/>
                    </a:cubicBezTo>
                    <a:cubicBezTo>
                      <a:pt x="8670" y="8652"/>
                      <a:pt x="8490" y="8933"/>
                      <a:pt x="8308" y="9214"/>
                    </a:cubicBezTo>
                    <a:cubicBezTo>
                      <a:pt x="8202" y="9377"/>
                      <a:pt x="8096" y="9541"/>
                      <a:pt x="8016" y="9663"/>
                    </a:cubicBezTo>
                    <a:cubicBezTo>
                      <a:pt x="7975" y="9725"/>
                      <a:pt x="7941" y="9776"/>
                      <a:pt x="7917" y="9811"/>
                    </a:cubicBezTo>
                    <a:cubicBezTo>
                      <a:pt x="7905" y="9829"/>
                      <a:pt x="7895" y="9843"/>
                      <a:pt x="7888" y="9853"/>
                    </a:cubicBezTo>
                    <a:cubicBezTo>
                      <a:pt x="7887" y="9855"/>
                      <a:pt x="7886" y="9856"/>
                      <a:pt x="7885" y="9857"/>
                    </a:cubicBezTo>
                    <a:cubicBezTo>
                      <a:pt x="7928" y="9886"/>
                      <a:pt x="8080" y="9988"/>
                      <a:pt x="8234" y="10091"/>
                    </a:cubicBezTo>
                    <a:cubicBezTo>
                      <a:pt x="8325" y="10152"/>
                      <a:pt x="8416" y="10212"/>
                      <a:pt x="8485" y="10257"/>
                    </a:cubicBezTo>
                    <a:cubicBezTo>
                      <a:pt x="8513" y="10276"/>
                      <a:pt x="8536" y="10291"/>
                      <a:pt x="8555" y="10303"/>
                    </a:cubicBezTo>
                    <a:cubicBezTo>
                      <a:pt x="8563" y="10304"/>
                      <a:pt x="8571" y="10305"/>
                      <a:pt x="8578" y="10305"/>
                    </a:cubicBezTo>
                    <a:lnTo>
                      <a:pt x="9264" y="8896"/>
                    </a:lnTo>
                    <a:close/>
                    <a:moveTo>
                      <a:pt x="11191" y="8792"/>
                    </a:moveTo>
                    <a:cubicBezTo>
                      <a:pt x="11191" y="8788"/>
                      <a:pt x="11191" y="8783"/>
                      <a:pt x="11190" y="8780"/>
                    </a:cubicBezTo>
                    <a:cubicBezTo>
                      <a:pt x="11120" y="8767"/>
                      <a:pt x="10710" y="8692"/>
                      <a:pt x="10247" y="8540"/>
                    </a:cubicBezTo>
                    <a:cubicBezTo>
                      <a:pt x="9739" y="8373"/>
                      <a:pt x="9132" y="8098"/>
                      <a:pt x="8970" y="8028"/>
                    </a:cubicBezTo>
                    <a:cubicBezTo>
                      <a:pt x="8889" y="7992"/>
                      <a:pt x="8811" y="7943"/>
                      <a:pt x="8745" y="7885"/>
                    </a:cubicBezTo>
                    <a:cubicBezTo>
                      <a:pt x="8720" y="7906"/>
                      <a:pt x="8684" y="7934"/>
                      <a:pt x="8641" y="7963"/>
                    </a:cubicBezTo>
                    <a:cubicBezTo>
                      <a:pt x="8581" y="8003"/>
                      <a:pt x="8509" y="8045"/>
                      <a:pt x="8432" y="8063"/>
                    </a:cubicBezTo>
                    <a:cubicBezTo>
                      <a:pt x="8342" y="8083"/>
                      <a:pt x="8230" y="8098"/>
                      <a:pt x="8152" y="8107"/>
                    </a:cubicBezTo>
                    <a:cubicBezTo>
                      <a:pt x="8159" y="8125"/>
                      <a:pt x="8159" y="8125"/>
                      <a:pt x="8159" y="8125"/>
                    </a:cubicBezTo>
                    <a:cubicBezTo>
                      <a:pt x="8208" y="8162"/>
                      <a:pt x="8280" y="8215"/>
                      <a:pt x="8355" y="8270"/>
                    </a:cubicBezTo>
                    <a:cubicBezTo>
                      <a:pt x="8493" y="8371"/>
                      <a:pt x="8644" y="8481"/>
                      <a:pt x="8693" y="8510"/>
                    </a:cubicBezTo>
                    <a:cubicBezTo>
                      <a:pt x="8796" y="8572"/>
                      <a:pt x="9139" y="8788"/>
                      <a:pt x="9297" y="8873"/>
                    </a:cubicBezTo>
                    <a:cubicBezTo>
                      <a:pt x="9456" y="8959"/>
                      <a:pt x="9877" y="9187"/>
                      <a:pt x="10038" y="9256"/>
                    </a:cubicBezTo>
                    <a:cubicBezTo>
                      <a:pt x="10202" y="9326"/>
                      <a:pt x="10663" y="9542"/>
                      <a:pt x="10663" y="9542"/>
                    </a:cubicBezTo>
                    <a:cubicBezTo>
                      <a:pt x="10664" y="9542"/>
                      <a:pt x="10664" y="9542"/>
                      <a:pt x="10664" y="9542"/>
                    </a:cubicBezTo>
                    <a:cubicBezTo>
                      <a:pt x="10665" y="9543"/>
                      <a:pt x="10665" y="9543"/>
                      <a:pt x="10665" y="9543"/>
                    </a:cubicBezTo>
                    <a:cubicBezTo>
                      <a:pt x="10693" y="9518"/>
                      <a:pt x="10738" y="9477"/>
                      <a:pt x="10790" y="9430"/>
                    </a:cubicBezTo>
                    <a:cubicBezTo>
                      <a:pt x="10876" y="9350"/>
                      <a:pt x="10981" y="9251"/>
                      <a:pt x="11054" y="9174"/>
                    </a:cubicBezTo>
                    <a:cubicBezTo>
                      <a:pt x="11154" y="9070"/>
                      <a:pt x="11182" y="8900"/>
                      <a:pt x="11189" y="8812"/>
                    </a:cubicBezTo>
                    <a:cubicBezTo>
                      <a:pt x="11190" y="8812"/>
                      <a:pt x="11189" y="8812"/>
                      <a:pt x="11189" y="8812"/>
                    </a:cubicBezTo>
                    <a:cubicBezTo>
                      <a:pt x="11189" y="8812"/>
                      <a:pt x="11189" y="8812"/>
                      <a:pt x="11189" y="8812"/>
                    </a:cubicBezTo>
                    <a:cubicBezTo>
                      <a:pt x="11190" y="8804"/>
                      <a:pt x="11191" y="8798"/>
                      <a:pt x="11191" y="8792"/>
                    </a:cubicBezTo>
                    <a:close/>
                    <a:moveTo>
                      <a:pt x="12488" y="8730"/>
                    </a:moveTo>
                    <a:cubicBezTo>
                      <a:pt x="12026" y="7226"/>
                      <a:pt x="12026" y="7226"/>
                      <a:pt x="12026" y="7226"/>
                    </a:cubicBezTo>
                    <a:cubicBezTo>
                      <a:pt x="12026" y="7226"/>
                      <a:pt x="12024" y="7219"/>
                      <a:pt x="12019" y="7208"/>
                    </a:cubicBezTo>
                    <a:cubicBezTo>
                      <a:pt x="12006" y="7173"/>
                      <a:pt x="11968" y="7101"/>
                      <a:pt x="11891" y="7072"/>
                    </a:cubicBezTo>
                    <a:cubicBezTo>
                      <a:pt x="11846" y="7145"/>
                      <a:pt x="11785" y="7206"/>
                      <a:pt x="11701" y="7224"/>
                    </a:cubicBezTo>
                    <a:cubicBezTo>
                      <a:pt x="11694" y="7226"/>
                      <a:pt x="11688" y="7227"/>
                      <a:pt x="11678" y="7227"/>
                    </a:cubicBezTo>
                    <a:cubicBezTo>
                      <a:pt x="11667" y="7228"/>
                      <a:pt x="11654" y="7228"/>
                      <a:pt x="11639" y="7228"/>
                    </a:cubicBezTo>
                    <a:cubicBezTo>
                      <a:pt x="11540" y="7228"/>
                      <a:pt x="11353" y="7218"/>
                      <a:pt x="11353" y="7218"/>
                    </a:cubicBezTo>
                    <a:cubicBezTo>
                      <a:pt x="11352" y="7218"/>
                      <a:pt x="11201" y="7207"/>
                      <a:pt x="11050" y="7196"/>
                    </a:cubicBezTo>
                    <a:cubicBezTo>
                      <a:pt x="10975" y="7190"/>
                      <a:pt x="10899" y="7185"/>
                      <a:pt x="10842" y="7181"/>
                    </a:cubicBezTo>
                    <a:cubicBezTo>
                      <a:pt x="10814" y="7178"/>
                      <a:pt x="10790" y="7177"/>
                      <a:pt x="10774" y="7175"/>
                    </a:cubicBezTo>
                    <a:cubicBezTo>
                      <a:pt x="10766" y="7175"/>
                      <a:pt x="10759" y="7174"/>
                      <a:pt x="10755" y="7174"/>
                    </a:cubicBezTo>
                    <a:cubicBezTo>
                      <a:pt x="10752" y="7174"/>
                      <a:pt x="10751" y="7174"/>
                      <a:pt x="10749" y="7173"/>
                    </a:cubicBezTo>
                    <a:cubicBezTo>
                      <a:pt x="10749" y="7173"/>
                      <a:pt x="10748" y="7173"/>
                      <a:pt x="10748" y="7173"/>
                    </a:cubicBezTo>
                    <a:cubicBezTo>
                      <a:pt x="10748" y="7173"/>
                      <a:pt x="10747" y="7173"/>
                      <a:pt x="10747" y="7173"/>
                    </a:cubicBezTo>
                    <a:cubicBezTo>
                      <a:pt x="10747" y="7173"/>
                      <a:pt x="10746" y="7173"/>
                      <a:pt x="10745" y="7173"/>
                    </a:cubicBezTo>
                    <a:cubicBezTo>
                      <a:pt x="10745" y="7173"/>
                      <a:pt x="10744" y="7173"/>
                      <a:pt x="10743" y="7172"/>
                    </a:cubicBezTo>
                    <a:cubicBezTo>
                      <a:pt x="10742" y="7172"/>
                      <a:pt x="10741" y="7171"/>
                      <a:pt x="10739" y="7170"/>
                    </a:cubicBezTo>
                    <a:cubicBezTo>
                      <a:pt x="10738" y="7170"/>
                      <a:pt x="10737" y="7169"/>
                      <a:pt x="10736" y="7167"/>
                    </a:cubicBezTo>
                    <a:cubicBezTo>
                      <a:pt x="10731" y="7164"/>
                      <a:pt x="10720" y="7157"/>
                      <a:pt x="10705" y="7147"/>
                    </a:cubicBezTo>
                    <a:cubicBezTo>
                      <a:pt x="10262" y="8400"/>
                      <a:pt x="10262" y="8400"/>
                      <a:pt x="10262" y="8400"/>
                    </a:cubicBezTo>
                    <a:cubicBezTo>
                      <a:pt x="10261" y="8424"/>
                      <a:pt x="10261" y="8424"/>
                      <a:pt x="10261" y="8424"/>
                    </a:cubicBezTo>
                    <a:cubicBezTo>
                      <a:pt x="10268" y="8426"/>
                      <a:pt x="10275" y="8428"/>
                      <a:pt x="10283" y="8431"/>
                    </a:cubicBezTo>
                    <a:cubicBezTo>
                      <a:pt x="10532" y="8513"/>
                      <a:pt x="10767" y="8573"/>
                      <a:pt x="10939" y="8611"/>
                    </a:cubicBezTo>
                    <a:cubicBezTo>
                      <a:pt x="11025" y="8631"/>
                      <a:pt x="11096" y="8645"/>
                      <a:pt x="11145" y="8654"/>
                    </a:cubicBezTo>
                    <a:cubicBezTo>
                      <a:pt x="11186" y="8663"/>
                      <a:pt x="11212" y="8667"/>
                      <a:pt x="11218" y="8668"/>
                    </a:cubicBezTo>
                    <a:cubicBezTo>
                      <a:pt x="11265" y="8672"/>
                      <a:pt x="11931" y="8717"/>
                      <a:pt x="12129" y="8726"/>
                    </a:cubicBezTo>
                    <a:cubicBezTo>
                      <a:pt x="12234" y="8731"/>
                      <a:pt x="12354" y="8735"/>
                      <a:pt x="12487" y="8748"/>
                    </a:cubicBezTo>
                    <a:cubicBezTo>
                      <a:pt x="12488" y="8742"/>
                      <a:pt x="12488" y="8733"/>
                      <a:pt x="12488" y="8730"/>
                    </a:cubicBezTo>
                    <a:close/>
                    <a:moveTo>
                      <a:pt x="15992" y="4718"/>
                    </a:moveTo>
                    <a:cubicBezTo>
                      <a:pt x="14051" y="5122"/>
                      <a:pt x="14051" y="5122"/>
                      <a:pt x="14051" y="5122"/>
                    </a:cubicBezTo>
                    <a:cubicBezTo>
                      <a:pt x="13567" y="5007"/>
                      <a:pt x="13567" y="5007"/>
                      <a:pt x="13567" y="5007"/>
                    </a:cubicBezTo>
                    <a:cubicBezTo>
                      <a:pt x="12880" y="4806"/>
                      <a:pt x="12880" y="4806"/>
                      <a:pt x="12880" y="4806"/>
                    </a:cubicBezTo>
                    <a:cubicBezTo>
                      <a:pt x="12781" y="4780"/>
                      <a:pt x="12627" y="4760"/>
                      <a:pt x="12500" y="4747"/>
                    </a:cubicBezTo>
                    <a:cubicBezTo>
                      <a:pt x="12406" y="4738"/>
                      <a:pt x="12327" y="4733"/>
                      <a:pt x="12291" y="4730"/>
                    </a:cubicBezTo>
                    <a:cubicBezTo>
                      <a:pt x="12291" y="4736"/>
                      <a:pt x="12291" y="4736"/>
                      <a:pt x="12291" y="4736"/>
                    </a:cubicBezTo>
                    <a:cubicBezTo>
                      <a:pt x="12287" y="4736"/>
                      <a:pt x="12287" y="4736"/>
                      <a:pt x="12287" y="4736"/>
                    </a:cubicBezTo>
                    <a:cubicBezTo>
                      <a:pt x="12288" y="4765"/>
                      <a:pt x="12292" y="4823"/>
                      <a:pt x="12292" y="4823"/>
                    </a:cubicBezTo>
                    <a:cubicBezTo>
                      <a:pt x="12292" y="4825"/>
                      <a:pt x="12292" y="4825"/>
                      <a:pt x="12292" y="4825"/>
                    </a:cubicBezTo>
                    <a:cubicBezTo>
                      <a:pt x="12017" y="6708"/>
                      <a:pt x="12017" y="6708"/>
                      <a:pt x="12017" y="6708"/>
                    </a:cubicBezTo>
                    <a:cubicBezTo>
                      <a:pt x="12017" y="6709"/>
                      <a:pt x="12000" y="6823"/>
                      <a:pt x="11954" y="6945"/>
                    </a:cubicBezTo>
                    <a:cubicBezTo>
                      <a:pt x="11941" y="6977"/>
                      <a:pt x="11927" y="7009"/>
                      <a:pt x="11910" y="7041"/>
                    </a:cubicBezTo>
                    <a:cubicBezTo>
                      <a:pt x="12028" y="7090"/>
                      <a:pt x="12060" y="7215"/>
                      <a:pt x="12060" y="7216"/>
                    </a:cubicBezTo>
                    <a:cubicBezTo>
                      <a:pt x="12525" y="8728"/>
                      <a:pt x="12525" y="8728"/>
                      <a:pt x="12525" y="8728"/>
                    </a:cubicBezTo>
                    <a:cubicBezTo>
                      <a:pt x="12525" y="8728"/>
                      <a:pt x="12526" y="8729"/>
                      <a:pt x="12526" y="8729"/>
                    </a:cubicBezTo>
                    <a:cubicBezTo>
                      <a:pt x="12534" y="8753"/>
                      <a:pt x="12534" y="8753"/>
                      <a:pt x="12534" y="8753"/>
                    </a:cubicBezTo>
                    <a:cubicBezTo>
                      <a:pt x="12651" y="8766"/>
                      <a:pt x="12776" y="8785"/>
                      <a:pt x="12907" y="8817"/>
                    </a:cubicBezTo>
                    <a:cubicBezTo>
                      <a:pt x="13059" y="8853"/>
                      <a:pt x="13177" y="8900"/>
                      <a:pt x="13266" y="8961"/>
                    </a:cubicBezTo>
                    <a:cubicBezTo>
                      <a:pt x="13341" y="9012"/>
                      <a:pt x="13394" y="9074"/>
                      <a:pt x="13427" y="9145"/>
                    </a:cubicBezTo>
                    <a:cubicBezTo>
                      <a:pt x="13490" y="9129"/>
                      <a:pt x="13622" y="9098"/>
                      <a:pt x="13755" y="9065"/>
                    </a:cubicBezTo>
                    <a:cubicBezTo>
                      <a:pt x="13847" y="9043"/>
                      <a:pt x="13940" y="9021"/>
                      <a:pt x="14011" y="9004"/>
                    </a:cubicBezTo>
                    <a:cubicBezTo>
                      <a:pt x="14046" y="8996"/>
                      <a:pt x="14076" y="8989"/>
                      <a:pt x="14098" y="8984"/>
                    </a:cubicBezTo>
                    <a:cubicBezTo>
                      <a:pt x="14109" y="8981"/>
                      <a:pt x="14118" y="8979"/>
                      <a:pt x="14125" y="8978"/>
                    </a:cubicBezTo>
                    <a:cubicBezTo>
                      <a:pt x="14128" y="8977"/>
                      <a:pt x="14131" y="8977"/>
                      <a:pt x="14133" y="8976"/>
                    </a:cubicBezTo>
                    <a:cubicBezTo>
                      <a:pt x="14136" y="8976"/>
                      <a:pt x="14136" y="8975"/>
                      <a:pt x="14141" y="8975"/>
                    </a:cubicBezTo>
                    <a:cubicBezTo>
                      <a:pt x="14154" y="8973"/>
                      <a:pt x="14217" y="8954"/>
                      <a:pt x="14299" y="8927"/>
                    </a:cubicBezTo>
                    <a:cubicBezTo>
                      <a:pt x="14384" y="8900"/>
                      <a:pt x="14492" y="8863"/>
                      <a:pt x="14607" y="8822"/>
                    </a:cubicBezTo>
                    <a:cubicBezTo>
                      <a:pt x="14722" y="8780"/>
                      <a:pt x="14949" y="8662"/>
                      <a:pt x="15146" y="8555"/>
                    </a:cubicBezTo>
                    <a:cubicBezTo>
                      <a:pt x="15245" y="8501"/>
                      <a:pt x="15337" y="8450"/>
                      <a:pt x="15407" y="8411"/>
                    </a:cubicBezTo>
                    <a:cubicBezTo>
                      <a:pt x="15441" y="8392"/>
                      <a:pt x="15470" y="8376"/>
                      <a:pt x="15491" y="8364"/>
                    </a:cubicBezTo>
                    <a:cubicBezTo>
                      <a:pt x="15502" y="8358"/>
                      <a:pt x="15511" y="8353"/>
                      <a:pt x="15517" y="8349"/>
                    </a:cubicBezTo>
                    <a:cubicBezTo>
                      <a:pt x="15525" y="8345"/>
                      <a:pt x="15528" y="8344"/>
                      <a:pt x="15534" y="8341"/>
                    </a:cubicBezTo>
                    <a:cubicBezTo>
                      <a:pt x="15548" y="8334"/>
                      <a:pt x="15587" y="8318"/>
                      <a:pt x="15622" y="8303"/>
                    </a:cubicBezTo>
                    <a:cubicBezTo>
                      <a:pt x="15622" y="8301"/>
                      <a:pt x="15621" y="8294"/>
                      <a:pt x="15621" y="8288"/>
                    </a:cubicBezTo>
                    <a:cubicBezTo>
                      <a:pt x="15610" y="8199"/>
                      <a:pt x="15586" y="8008"/>
                      <a:pt x="15559" y="7787"/>
                    </a:cubicBezTo>
                    <a:cubicBezTo>
                      <a:pt x="15521" y="7482"/>
                      <a:pt x="15476" y="7124"/>
                      <a:pt x="15448" y="6906"/>
                    </a:cubicBezTo>
                    <a:cubicBezTo>
                      <a:pt x="15435" y="6803"/>
                      <a:pt x="15429" y="6717"/>
                      <a:pt x="15429" y="6641"/>
                    </a:cubicBezTo>
                    <a:cubicBezTo>
                      <a:pt x="15429" y="6396"/>
                      <a:pt x="15492" y="6268"/>
                      <a:pt x="15567" y="6086"/>
                    </a:cubicBezTo>
                    <a:cubicBezTo>
                      <a:pt x="15669" y="5841"/>
                      <a:pt x="15931" y="5628"/>
                      <a:pt x="16010" y="5288"/>
                    </a:cubicBezTo>
                    <a:cubicBezTo>
                      <a:pt x="16032" y="5196"/>
                      <a:pt x="16040" y="5111"/>
                      <a:pt x="16040" y="5035"/>
                    </a:cubicBezTo>
                    <a:cubicBezTo>
                      <a:pt x="16040" y="4931"/>
                      <a:pt x="16025" y="4845"/>
                      <a:pt x="16011" y="4785"/>
                    </a:cubicBezTo>
                    <a:cubicBezTo>
                      <a:pt x="16004" y="4756"/>
                      <a:pt x="15997" y="4734"/>
                      <a:pt x="15992" y="4718"/>
                    </a:cubicBezTo>
                    <a:close/>
                    <a:moveTo>
                      <a:pt x="16056" y="1762"/>
                    </a:moveTo>
                    <a:cubicBezTo>
                      <a:pt x="15590" y="1868"/>
                      <a:pt x="15100" y="1907"/>
                      <a:pt x="14944" y="1935"/>
                    </a:cubicBezTo>
                    <a:cubicBezTo>
                      <a:pt x="14882" y="1946"/>
                      <a:pt x="14689" y="1949"/>
                      <a:pt x="14455" y="1949"/>
                    </a:cubicBezTo>
                    <a:cubicBezTo>
                      <a:pt x="13997" y="1949"/>
                      <a:pt x="13391" y="1936"/>
                      <a:pt x="13366" y="1935"/>
                    </a:cubicBezTo>
                    <a:cubicBezTo>
                      <a:pt x="13289" y="1938"/>
                      <a:pt x="13191" y="1939"/>
                      <a:pt x="13114" y="2025"/>
                    </a:cubicBezTo>
                    <a:cubicBezTo>
                      <a:pt x="13074" y="2070"/>
                      <a:pt x="13026" y="2135"/>
                      <a:pt x="12989" y="2187"/>
                    </a:cubicBezTo>
                    <a:cubicBezTo>
                      <a:pt x="12951" y="2240"/>
                      <a:pt x="12924" y="2280"/>
                      <a:pt x="12924" y="2281"/>
                    </a:cubicBezTo>
                    <a:cubicBezTo>
                      <a:pt x="12923" y="2281"/>
                      <a:pt x="12923" y="2281"/>
                      <a:pt x="12923" y="2281"/>
                    </a:cubicBezTo>
                    <a:cubicBezTo>
                      <a:pt x="12923" y="2282"/>
                      <a:pt x="12923" y="2282"/>
                      <a:pt x="12923" y="2282"/>
                    </a:cubicBezTo>
                    <a:cubicBezTo>
                      <a:pt x="12922" y="2282"/>
                      <a:pt x="12827" y="2399"/>
                      <a:pt x="12728" y="2522"/>
                    </a:cubicBezTo>
                    <a:cubicBezTo>
                      <a:pt x="12679" y="2584"/>
                      <a:pt x="12629" y="2647"/>
                      <a:pt x="12590" y="2697"/>
                    </a:cubicBezTo>
                    <a:cubicBezTo>
                      <a:pt x="12551" y="2747"/>
                      <a:pt x="12522" y="2787"/>
                      <a:pt x="12520" y="2793"/>
                    </a:cubicBezTo>
                    <a:cubicBezTo>
                      <a:pt x="12503" y="2830"/>
                      <a:pt x="12462" y="2925"/>
                      <a:pt x="12449" y="2955"/>
                    </a:cubicBezTo>
                    <a:cubicBezTo>
                      <a:pt x="12476" y="2967"/>
                      <a:pt x="12503" y="2983"/>
                      <a:pt x="12527" y="3006"/>
                    </a:cubicBezTo>
                    <a:cubicBezTo>
                      <a:pt x="12529" y="3007"/>
                      <a:pt x="12529" y="3007"/>
                      <a:pt x="12529" y="3007"/>
                    </a:cubicBezTo>
                    <a:cubicBezTo>
                      <a:pt x="13270" y="4135"/>
                      <a:pt x="13270" y="4135"/>
                      <a:pt x="13270" y="4135"/>
                    </a:cubicBezTo>
                    <a:cubicBezTo>
                      <a:pt x="13272" y="4137"/>
                      <a:pt x="13314" y="4201"/>
                      <a:pt x="13314" y="4309"/>
                    </a:cubicBezTo>
                    <a:cubicBezTo>
                      <a:pt x="13314" y="4367"/>
                      <a:pt x="13302" y="4437"/>
                      <a:pt x="13265" y="4516"/>
                    </a:cubicBezTo>
                    <a:cubicBezTo>
                      <a:pt x="13186" y="4684"/>
                      <a:pt x="13122" y="4790"/>
                      <a:pt x="13095" y="4832"/>
                    </a:cubicBezTo>
                    <a:cubicBezTo>
                      <a:pt x="13576" y="4972"/>
                      <a:pt x="13576" y="4972"/>
                      <a:pt x="13576" y="4972"/>
                    </a:cubicBezTo>
                    <a:cubicBezTo>
                      <a:pt x="14052" y="5085"/>
                      <a:pt x="14052" y="5085"/>
                      <a:pt x="14052" y="5085"/>
                    </a:cubicBezTo>
                    <a:cubicBezTo>
                      <a:pt x="15980" y="4684"/>
                      <a:pt x="15980" y="4684"/>
                      <a:pt x="15980" y="4684"/>
                    </a:cubicBezTo>
                    <a:cubicBezTo>
                      <a:pt x="15974" y="4684"/>
                      <a:pt x="15974" y="4684"/>
                      <a:pt x="15974" y="4684"/>
                    </a:cubicBezTo>
                    <a:cubicBezTo>
                      <a:pt x="15974" y="4684"/>
                      <a:pt x="15974" y="4684"/>
                      <a:pt x="15974" y="4684"/>
                    </a:cubicBezTo>
                    <a:cubicBezTo>
                      <a:pt x="15974" y="4684"/>
                      <a:pt x="15974" y="4684"/>
                      <a:pt x="15974" y="4684"/>
                    </a:cubicBezTo>
                    <a:cubicBezTo>
                      <a:pt x="15963" y="4630"/>
                      <a:pt x="15766" y="4005"/>
                      <a:pt x="15667" y="3534"/>
                    </a:cubicBezTo>
                    <a:cubicBezTo>
                      <a:pt x="15623" y="3326"/>
                      <a:pt x="15606" y="3118"/>
                      <a:pt x="15606" y="2932"/>
                    </a:cubicBezTo>
                    <a:cubicBezTo>
                      <a:pt x="15606" y="2672"/>
                      <a:pt x="15638" y="2454"/>
                      <a:pt x="15671" y="2332"/>
                    </a:cubicBezTo>
                    <a:cubicBezTo>
                      <a:pt x="15700" y="2224"/>
                      <a:pt x="15802" y="2075"/>
                      <a:pt x="15898" y="1951"/>
                    </a:cubicBezTo>
                    <a:cubicBezTo>
                      <a:pt x="15946" y="1889"/>
                      <a:pt x="15992" y="1834"/>
                      <a:pt x="16027" y="1794"/>
                    </a:cubicBezTo>
                    <a:cubicBezTo>
                      <a:pt x="16038" y="1781"/>
                      <a:pt x="16047" y="1771"/>
                      <a:pt x="16056" y="1762"/>
                    </a:cubicBezTo>
                    <a:close/>
                    <a:moveTo>
                      <a:pt x="1191" y="10575"/>
                    </a:moveTo>
                    <a:cubicBezTo>
                      <a:pt x="1177" y="10552"/>
                      <a:pt x="1104" y="10422"/>
                      <a:pt x="1034" y="10299"/>
                    </a:cubicBezTo>
                    <a:cubicBezTo>
                      <a:pt x="984" y="10211"/>
                      <a:pt x="921" y="10100"/>
                      <a:pt x="903" y="10067"/>
                    </a:cubicBezTo>
                    <a:cubicBezTo>
                      <a:pt x="869" y="10085"/>
                      <a:pt x="869" y="10085"/>
                      <a:pt x="869" y="10085"/>
                    </a:cubicBezTo>
                    <a:cubicBezTo>
                      <a:pt x="912" y="10161"/>
                      <a:pt x="1132" y="10550"/>
                      <a:pt x="1159" y="10595"/>
                    </a:cubicBezTo>
                    <a:cubicBezTo>
                      <a:pt x="1187" y="10643"/>
                      <a:pt x="1209" y="10684"/>
                      <a:pt x="1265" y="10749"/>
                    </a:cubicBezTo>
                    <a:cubicBezTo>
                      <a:pt x="1281" y="10768"/>
                      <a:pt x="1304" y="10794"/>
                      <a:pt x="1328" y="10821"/>
                    </a:cubicBezTo>
                    <a:cubicBezTo>
                      <a:pt x="1379" y="10821"/>
                      <a:pt x="1379" y="10821"/>
                      <a:pt x="1379" y="10821"/>
                    </a:cubicBezTo>
                    <a:cubicBezTo>
                      <a:pt x="1346" y="10785"/>
                      <a:pt x="1314" y="10749"/>
                      <a:pt x="1294" y="10725"/>
                    </a:cubicBezTo>
                    <a:cubicBezTo>
                      <a:pt x="1240" y="10661"/>
                      <a:pt x="1220" y="10624"/>
                      <a:pt x="1191" y="10575"/>
                    </a:cubicBezTo>
                    <a:close/>
                    <a:moveTo>
                      <a:pt x="695" y="9682"/>
                    </a:moveTo>
                    <a:cubicBezTo>
                      <a:pt x="715" y="9691"/>
                      <a:pt x="772" y="9692"/>
                      <a:pt x="816" y="9663"/>
                    </a:cubicBezTo>
                    <a:cubicBezTo>
                      <a:pt x="860" y="9635"/>
                      <a:pt x="891" y="9604"/>
                      <a:pt x="905" y="9580"/>
                    </a:cubicBezTo>
                    <a:cubicBezTo>
                      <a:pt x="919" y="9555"/>
                      <a:pt x="931" y="9531"/>
                      <a:pt x="939" y="9527"/>
                    </a:cubicBezTo>
                    <a:cubicBezTo>
                      <a:pt x="939" y="9527"/>
                      <a:pt x="930" y="9498"/>
                      <a:pt x="882" y="9522"/>
                    </a:cubicBezTo>
                    <a:cubicBezTo>
                      <a:pt x="834" y="9547"/>
                      <a:pt x="793" y="9570"/>
                      <a:pt x="770" y="9555"/>
                    </a:cubicBezTo>
                    <a:cubicBezTo>
                      <a:pt x="746" y="9540"/>
                      <a:pt x="736" y="9535"/>
                      <a:pt x="730" y="9505"/>
                    </a:cubicBezTo>
                    <a:cubicBezTo>
                      <a:pt x="725" y="9475"/>
                      <a:pt x="715" y="9446"/>
                      <a:pt x="680" y="9436"/>
                    </a:cubicBezTo>
                    <a:cubicBezTo>
                      <a:pt x="644" y="9427"/>
                      <a:pt x="604" y="9424"/>
                      <a:pt x="593" y="9419"/>
                    </a:cubicBezTo>
                    <a:cubicBezTo>
                      <a:pt x="584" y="9414"/>
                      <a:pt x="546" y="9396"/>
                      <a:pt x="541" y="9391"/>
                    </a:cubicBezTo>
                    <a:cubicBezTo>
                      <a:pt x="540" y="9396"/>
                      <a:pt x="519" y="9426"/>
                      <a:pt x="548" y="9449"/>
                    </a:cubicBezTo>
                    <a:cubicBezTo>
                      <a:pt x="581" y="9473"/>
                      <a:pt x="633" y="9501"/>
                      <a:pt x="644" y="9550"/>
                    </a:cubicBezTo>
                    <a:cubicBezTo>
                      <a:pt x="655" y="9599"/>
                      <a:pt x="614" y="9647"/>
                      <a:pt x="614" y="9647"/>
                    </a:cubicBezTo>
                    <a:cubicBezTo>
                      <a:pt x="614" y="9647"/>
                      <a:pt x="674" y="9674"/>
                      <a:pt x="695" y="9682"/>
                    </a:cubicBezTo>
                    <a:close/>
                    <a:moveTo>
                      <a:pt x="1643" y="8648"/>
                    </a:moveTo>
                    <a:cubicBezTo>
                      <a:pt x="1629" y="8683"/>
                      <a:pt x="1622" y="8738"/>
                      <a:pt x="1650" y="8745"/>
                    </a:cubicBezTo>
                    <a:cubicBezTo>
                      <a:pt x="1650" y="8745"/>
                      <a:pt x="1677" y="8727"/>
                      <a:pt x="1688" y="8700"/>
                    </a:cubicBezTo>
                    <a:cubicBezTo>
                      <a:pt x="1699" y="8673"/>
                      <a:pt x="1711" y="8663"/>
                      <a:pt x="1734" y="8655"/>
                    </a:cubicBezTo>
                    <a:cubicBezTo>
                      <a:pt x="1758" y="8647"/>
                      <a:pt x="1805" y="8644"/>
                      <a:pt x="1849" y="8621"/>
                    </a:cubicBezTo>
                    <a:cubicBezTo>
                      <a:pt x="1893" y="8597"/>
                      <a:pt x="1902" y="8577"/>
                      <a:pt x="1877" y="8563"/>
                    </a:cubicBezTo>
                    <a:cubicBezTo>
                      <a:pt x="1851" y="8550"/>
                      <a:pt x="1795" y="8554"/>
                      <a:pt x="1777" y="8547"/>
                    </a:cubicBezTo>
                    <a:cubicBezTo>
                      <a:pt x="1759" y="8540"/>
                      <a:pt x="1740" y="8509"/>
                      <a:pt x="1762" y="8494"/>
                    </a:cubicBezTo>
                    <a:cubicBezTo>
                      <a:pt x="1784" y="8478"/>
                      <a:pt x="1830" y="8478"/>
                      <a:pt x="1834" y="8461"/>
                    </a:cubicBezTo>
                    <a:cubicBezTo>
                      <a:pt x="1838" y="8443"/>
                      <a:pt x="1836" y="8380"/>
                      <a:pt x="1795" y="8384"/>
                    </a:cubicBezTo>
                    <a:cubicBezTo>
                      <a:pt x="1754" y="8388"/>
                      <a:pt x="1749" y="8422"/>
                      <a:pt x="1744" y="8440"/>
                    </a:cubicBezTo>
                    <a:cubicBezTo>
                      <a:pt x="1739" y="8458"/>
                      <a:pt x="1700" y="8472"/>
                      <a:pt x="1688" y="8487"/>
                    </a:cubicBezTo>
                    <a:cubicBezTo>
                      <a:pt x="1676" y="8502"/>
                      <a:pt x="1663" y="8515"/>
                      <a:pt x="1676" y="8529"/>
                    </a:cubicBezTo>
                    <a:cubicBezTo>
                      <a:pt x="1688" y="8543"/>
                      <a:pt x="1700" y="8567"/>
                      <a:pt x="1691" y="8586"/>
                    </a:cubicBezTo>
                    <a:cubicBezTo>
                      <a:pt x="1681" y="8606"/>
                      <a:pt x="1657" y="8612"/>
                      <a:pt x="1643" y="8648"/>
                    </a:cubicBezTo>
                    <a:close/>
                    <a:moveTo>
                      <a:pt x="1034" y="9601"/>
                    </a:moveTo>
                    <a:cubicBezTo>
                      <a:pt x="1034" y="9601"/>
                      <a:pt x="1034" y="9601"/>
                      <a:pt x="1034" y="9601"/>
                    </a:cubicBezTo>
                    <a:cubicBezTo>
                      <a:pt x="1034" y="9601"/>
                      <a:pt x="1034" y="9601"/>
                      <a:pt x="1034" y="9601"/>
                    </a:cubicBezTo>
                    <a:close/>
                    <a:moveTo>
                      <a:pt x="3516" y="7929"/>
                    </a:moveTo>
                    <a:cubicBezTo>
                      <a:pt x="3529" y="7886"/>
                      <a:pt x="3490" y="7835"/>
                      <a:pt x="3426" y="7814"/>
                    </a:cubicBezTo>
                    <a:cubicBezTo>
                      <a:pt x="3344" y="7788"/>
                      <a:pt x="3283" y="7804"/>
                      <a:pt x="3266" y="7845"/>
                    </a:cubicBezTo>
                    <a:cubicBezTo>
                      <a:pt x="3250" y="7886"/>
                      <a:pt x="3299" y="7950"/>
                      <a:pt x="3363" y="7968"/>
                    </a:cubicBezTo>
                    <a:cubicBezTo>
                      <a:pt x="3426" y="7987"/>
                      <a:pt x="3504" y="7972"/>
                      <a:pt x="3516" y="7929"/>
                    </a:cubicBezTo>
                    <a:close/>
                    <a:moveTo>
                      <a:pt x="321" y="10538"/>
                    </a:moveTo>
                    <a:cubicBezTo>
                      <a:pt x="321" y="10539"/>
                      <a:pt x="385" y="10697"/>
                      <a:pt x="439" y="10821"/>
                    </a:cubicBezTo>
                    <a:cubicBezTo>
                      <a:pt x="468" y="10821"/>
                      <a:pt x="468" y="10821"/>
                      <a:pt x="468" y="10821"/>
                    </a:cubicBezTo>
                    <a:cubicBezTo>
                      <a:pt x="412" y="10696"/>
                      <a:pt x="343" y="10524"/>
                      <a:pt x="343" y="10523"/>
                    </a:cubicBezTo>
                    <a:lnTo>
                      <a:pt x="321" y="10538"/>
                    </a:lnTo>
                    <a:close/>
                  </a:path>
                </a:pathLst>
              </a:custGeom>
              <a:solidFill>
                <a:srgbClr val="78BCDD"/>
              </a:solidFill>
              <a:ln>
                <a:noFill/>
              </a:ln>
            </p:spPr>
            <p:txBody>
              <a:bodyPr vert="horz" wrap="square" lIns="91440" tIns="45720" rIns="91440" bIns="45720" numCol="1" anchor="t" anchorCtr="0" compatLnSpc="1">
                <a:prstTxWarp prst="textNoShape">
                  <a:avLst/>
                </a:prstTxWarp>
              </a:bodyPr>
              <a:lstStyle/>
              <a:p>
                <a:endParaRPr lang="nl-NL" dirty="0"/>
              </a:p>
            </p:txBody>
          </p:sp>
        </p:grpSp>
      </p:grpSp>
      <p:sp>
        <p:nvSpPr>
          <p:cNvPr id="2" name="***Titel 1"/>
          <p:cNvSpPr>
            <a:spLocks noGrp="1" noSelect="1"/>
          </p:cNvSpPr>
          <p:nvPr>
            <p:ph type="ctrTitle" hasCustomPrompt="1"/>
          </p:nvPr>
        </p:nvSpPr>
        <p:spPr bwMode="gray">
          <a:xfrm>
            <a:off x="1152000" y="415055"/>
            <a:ext cx="10404000" cy="1470025"/>
          </a:xfrm>
        </p:spPr>
        <p:txBody>
          <a:bodyPr anchor="b" anchorCtr="0"/>
          <a:lstStyle>
            <a:lvl1pPr algn="l">
              <a:lnSpc>
                <a:spcPct val="96000"/>
              </a:lnSpc>
              <a:defRPr sz="4700" b="0" kern="0" spc="-180" baseline="0">
                <a:solidFill>
                  <a:schemeClr val="bg1"/>
                </a:solidFill>
                <a:latin typeface="Univers" panose="020B0603020202030204" pitchFamily="34" charset="0"/>
              </a:defRPr>
            </a:lvl1pPr>
          </a:lstStyle>
          <a:p>
            <a:r>
              <a:rPr lang="nl-NL" noProof="1"/>
              <a:t>[Titel,</a:t>
            </a:r>
            <a:br>
              <a:rPr lang="nl-NL" noProof="1"/>
            </a:br>
            <a:r>
              <a:rPr lang="nl-NL" noProof="1"/>
              <a:t>maximaal 2 regels]</a:t>
            </a:r>
          </a:p>
        </p:txBody>
      </p:sp>
      <p:sp>
        <p:nvSpPr>
          <p:cNvPr id="5" name="Rechthoek 4">
            <a:extLst>
              <a:ext uri="{FF2B5EF4-FFF2-40B4-BE49-F238E27FC236}">
                <a16:creationId xmlns:a16="http://schemas.microsoft.com/office/drawing/2014/main" id="{E5E8A69D-BCE4-474C-9544-22210D7F7A86}"/>
              </a:ext>
            </a:extLst>
          </p:cNvPr>
          <p:cNvSpPr>
            <a:spLocks noSelect="1"/>
          </p:cNvSpPr>
          <p:nvPr userDrawn="1"/>
        </p:nvSpPr>
        <p:spPr>
          <a:xfrm>
            <a:off x="568800" y="5913276"/>
            <a:ext cx="2648467" cy="79208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17" name="logo">
            <a:extLst>
              <a:ext uri="{FF2B5EF4-FFF2-40B4-BE49-F238E27FC236}">
                <a16:creationId xmlns:a16="http://schemas.microsoft.com/office/drawing/2014/main" id="{3D914ECC-8068-414F-AA0F-262DD3112D62}"/>
              </a:ext>
            </a:extLst>
          </p:cNvPr>
          <p:cNvGrpSpPr>
            <a:grpSpLocks noSelect="1" noChangeAspect="1"/>
          </p:cNvGrpSpPr>
          <p:nvPr userDrawn="1"/>
        </p:nvGrpSpPr>
        <p:grpSpPr bwMode="gray">
          <a:xfrm>
            <a:off x="638175" y="6030913"/>
            <a:ext cx="2481263" cy="508000"/>
            <a:chOff x="402" y="3799"/>
            <a:chExt cx="1563" cy="320"/>
          </a:xfrm>
        </p:grpSpPr>
        <p:sp>
          <p:nvSpPr>
            <p:cNvPr id="18" name="Freeform 21">
              <a:extLst>
                <a:ext uri="{FF2B5EF4-FFF2-40B4-BE49-F238E27FC236}">
                  <a16:creationId xmlns:a16="http://schemas.microsoft.com/office/drawing/2014/main" id="{B89CFD78-1671-45B4-A5BB-E8CDF8C13424}"/>
                </a:ext>
              </a:extLst>
            </p:cNvPr>
            <p:cNvSpPr>
              <a:spLocks noSelect="1"/>
            </p:cNvSpPr>
            <p:nvPr userDrawn="1"/>
          </p:nvSpPr>
          <p:spPr bwMode="gray">
            <a:xfrm>
              <a:off x="722" y="3799"/>
              <a:ext cx="1243" cy="320"/>
            </a:xfrm>
            <a:custGeom>
              <a:avLst/>
              <a:gdLst>
                <a:gd name="T0" fmla="*/ 92 w 6217"/>
                <a:gd name="T1" fmla="*/ 0 h 1604"/>
                <a:gd name="T2" fmla="*/ 92 w 6217"/>
                <a:gd name="T3" fmla="*/ 525 h 1604"/>
                <a:gd name="T4" fmla="*/ 762 w 6217"/>
                <a:gd name="T5" fmla="*/ 330 h 1604"/>
                <a:gd name="T6" fmla="*/ 957 w 6217"/>
                <a:gd name="T7" fmla="*/ 729 h 1604"/>
                <a:gd name="T8" fmla="*/ 1912 w 6217"/>
                <a:gd name="T9" fmla="*/ 0 h 1604"/>
                <a:gd name="T10" fmla="*/ 1821 w 6217"/>
                <a:gd name="T11" fmla="*/ 525 h 1604"/>
                <a:gd name="T12" fmla="*/ 3952 w 6217"/>
                <a:gd name="T13" fmla="*/ 1512 h 1604"/>
                <a:gd name="T14" fmla="*/ 3958 w 6217"/>
                <a:gd name="T15" fmla="*/ 1482 h 1604"/>
                <a:gd name="T16" fmla="*/ 4276 w 6217"/>
                <a:gd name="T17" fmla="*/ 1472 h 1604"/>
                <a:gd name="T18" fmla="*/ 4192 w 6217"/>
                <a:gd name="T19" fmla="*/ 1341 h 1604"/>
                <a:gd name="T20" fmla="*/ 4342 w 6217"/>
                <a:gd name="T21" fmla="*/ 1317 h 1604"/>
                <a:gd name="T22" fmla="*/ 4671 w 6217"/>
                <a:gd name="T23" fmla="*/ 1454 h 1604"/>
                <a:gd name="T24" fmla="*/ 4667 w 6217"/>
                <a:gd name="T25" fmla="*/ 1395 h 1604"/>
                <a:gd name="T26" fmla="*/ 4833 w 6217"/>
                <a:gd name="T27" fmla="*/ 1412 h 1604"/>
                <a:gd name="T28" fmla="*/ 4934 w 6217"/>
                <a:gd name="T29" fmla="*/ 1482 h 1604"/>
                <a:gd name="T30" fmla="*/ 5113 w 6217"/>
                <a:gd name="T31" fmla="*/ 1473 h 1604"/>
                <a:gd name="T32" fmla="*/ 5247 w 6217"/>
                <a:gd name="T33" fmla="*/ 1412 h 1604"/>
                <a:gd name="T34" fmla="*/ 5486 w 6217"/>
                <a:gd name="T35" fmla="*/ 1507 h 1604"/>
                <a:gd name="T36" fmla="*/ 5325 w 6217"/>
                <a:gd name="T37" fmla="*/ 1317 h 1604"/>
                <a:gd name="T38" fmla="*/ 5756 w 6217"/>
                <a:gd name="T39" fmla="*/ 1312 h 1604"/>
                <a:gd name="T40" fmla="*/ 5846 w 6217"/>
                <a:gd name="T41" fmla="*/ 1411 h 1604"/>
                <a:gd name="T42" fmla="*/ 6025 w 6217"/>
                <a:gd name="T43" fmla="*/ 1507 h 1604"/>
                <a:gd name="T44" fmla="*/ 5919 w 6217"/>
                <a:gd name="T45" fmla="*/ 1317 h 1604"/>
                <a:gd name="T46" fmla="*/ 6128 w 6217"/>
                <a:gd name="T47" fmla="*/ 1343 h 1604"/>
                <a:gd name="T48" fmla="*/ 6215 w 6217"/>
                <a:gd name="T49" fmla="*/ 1343 h 1604"/>
                <a:gd name="T50" fmla="*/ 2173 w 6217"/>
                <a:gd name="T51" fmla="*/ 1344 h 1604"/>
                <a:gd name="T52" fmla="*/ 2342 w 6217"/>
                <a:gd name="T53" fmla="*/ 1412 h 1604"/>
                <a:gd name="T54" fmla="*/ 2491 w 6217"/>
                <a:gd name="T55" fmla="*/ 1314 h 1604"/>
                <a:gd name="T56" fmla="*/ 2413 w 6217"/>
                <a:gd name="T57" fmla="*/ 1317 h 1604"/>
                <a:gd name="T58" fmla="*/ 2606 w 6217"/>
                <a:gd name="T59" fmla="*/ 1312 h 1604"/>
                <a:gd name="T60" fmla="*/ 2784 w 6217"/>
                <a:gd name="T61" fmla="*/ 1344 h 1604"/>
                <a:gd name="T62" fmla="*/ 2953 w 6217"/>
                <a:gd name="T63" fmla="*/ 1412 h 1604"/>
                <a:gd name="T64" fmla="*/ 2988 w 6217"/>
                <a:gd name="T65" fmla="*/ 1412 h 1604"/>
                <a:gd name="T66" fmla="*/ 3086 w 6217"/>
                <a:gd name="T67" fmla="*/ 1312 h 1604"/>
                <a:gd name="T68" fmla="*/ 3316 w 6217"/>
                <a:gd name="T69" fmla="*/ 1343 h 1604"/>
                <a:gd name="T70" fmla="*/ 3258 w 6217"/>
                <a:gd name="T71" fmla="*/ 1348 h 1604"/>
                <a:gd name="T72" fmla="*/ 3363 w 6217"/>
                <a:gd name="T73" fmla="*/ 1317 h 1604"/>
                <a:gd name="T74" fmla="*/ 3436 w 6217"/>
                <a:gd name="T75" fmla="*/ 1439 h 1604"/>
                <a:gd name="T76" fmla="*/ 3529 w 6217"/>
                <a:gd name="T77" fmla="*/ 1572 h 1604"/>
                <a:gd name="T78" fmla="*/ 3674 w 6217"/>
                <a:gd name="T79" fmla="*/ 1317 h 1604"/>
                <a:gd name="T80" fmla="*/ 32 w 6217"/>
                <a:gd name="T81" fmla="*/ 1473 h 1604"/>
                <a:gd name="T82" fmla="*/ 167 w 6217"/>
                <a:gd name="T83" fmla="*/ 1412 h 1604"/>
                <a:gd name="T84" fmla="*/ 266 w 6217"/>
                <a:gd name="T85" fmla="*/ 1412 h 1604"/>
                <a:gd name="T86" fmla="*/ 608 w 6217"/>
                <a:gd name="T87" fmla="*/ 1476 h 1604"/>
                <a:gd name="T88" fmla="*/ 606 w 6217"/>
                <a:gd name="T89" fmla="*/ 1317 h 1604"/>
                <a:gd name="T90" fmla="*/ 1032 w 6217"/>
                <a:gd name="T91" fmla="*/ 1507 h 1604"/>
                <a:gd name="T92" fmla="*/ 814 w 6217"/>
                <a:gd name="T93" fmla="*/ 1361 h 1604"/>
                <a:gd name="T94" fmla="*/ 833 w 6217"/>
                <a:gd name="T95" fmla="*/ 1317 h 1604"/>
                <a:gd name="T96" fmla="*/ 1068 w 6217"/>
                <a:gd name="T97" fmla="*/ 1195 h 1604"/>
                <a:gd name="T98" fmla="*/ 1293 w 6217"/>
                <a:gd name="T99" fmla="*/ 1412 h 1604"/>
                <a:gd name="T100" fmla="*/ 1497 w 6217"/>
                <a:gd name="T101" fmla="*/ 1507 h 1604"/>
                <a:gd name="T102" fmla="*/ 1330 w 6217"/>
                <a:gd name="T103" fmla="*/ 1317 h 1604"/>
                <a:gd name="T104" fmla="*/ 1638 w 6217"/>
                <a:gd name="T105" fmla="*/ 1312 h 1604"/>
                <a:gd name="T106" fmla="*/ 1707 w 6217"/>
                <a:gd name="T107" fmla="*/ 1200 h 1604"/>
                <a:gd name="T108" fmla="*/ 1854 w 6217"/>
                <a:gd name="T109" fmla="*/ 1512 h 1604"/>
                <a:gd name="T110" fmla="*/ 1923 w 6217"/>
                <a:gd name="T111" fmla="*/ 1346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17" h="1604">
                  <a:moveTo>
                    <a:pt x="92" y="702"/>
                  </a:moveTo>
                  <a:cubicBezTo>
                    <a:pt x="94" y="702"/>
                    <a:pt x="94" y="702"/>
                    <a:pt x="94" y="702"/>
                  </a:cubicBezTo>
                  <a:cubicBezTo>
                    <a:pt x="128" y="764"/>
                    <a:pt x="207" y="814"/>
                    <a:pt x="305" y="814"/>
                  </a:cubicBezTo>
                  <a:cubicBezTo>
                    <a:pt x="459" y="814"/>
                    <a:pt x="580" y="689"/>
                    <a:pt x="580" y="525"/>
                  </a:cubicBezTo>
                  <a:cubicBezTo>
                    <a:pt x="580" y="358"/>
                    <a:pt x="464" y="236"/>
                    <a:pt x="291" y="236"/>
                  </a:cubicBezTo>
                  <a:cubicBezTo>
                    <a:pt x="212" y="236"/>
                    <a:pt x="145" y="271"/>
                    <a:pt x="94" y="330"/>
                  </a:cubicBezTo>
                  <a:cubicBezTo>
                    <a:pt x="92" y="330"/>
                    <a:pt x="92" y="330"/>
                    <a:pt x="92" y="330"/>
                  </a:cubicBezTo>
                  <a:cubicBezTo>
                    <a:pt x="92" y="0"/>
                    <a:pt x="92" y="0"/>
                    <a:pt x="92" y="0"/>
                  </a:cubicBezTo>
                  <a:cubicBezTo>
                    <a:pt x="0" y="0"/>
                    <a:pt x="0" y="0"/>
                    <a:pt x="0" y="0"/>
                  </a:cubicBezTo>
                  <a:cubicBezTo>
                    <a:pt x="0" y="799"/>
                    <a:pt x="0" y="799"/>
                    <a:pt x="0" y="799"/>
                  </a:cubicBezTo>
                  <a:cubicBezTo>
                    <a:pt x="92" y="799"/>
                    <a:pt x="92" y="799"/>
                    <a:pt x="92" y="799"/>
                  </a:cubicBezTo>
                  <a:lnTo>
                    <a:pt x="92" y="702"/>
                  </a:lnTo>
                  <a:close/>
                  <a:moveTo>
                    <a:pt x="287" y="320"/>
                  </a:moveTo>
                  <a:cubicBezTo>
                    <a:pt x="405" y="320"/>
                    <a:pt x="482" y="410"/>
                    <a:pt x="482" y="525"/>
                  </a:cubicBezTo>
                  <a:cubicBezTo>
                    <a:pt x="482" y="640"/>
                    <a:pt x="405" y="729"/>
                    <a:pt x="287" y="729"/>
                  </a:cubicBezTo>
                  <a:cubicBezTo>
                    <a:pt x="168" y="729"/>
                    <a:pt x="92" y="640"/>
                    <a:pt x="92" y="525"/>
                  </a:cubicBezTo>
                  <a:cubicBezTo>
                    <a:pt x="92" y="410"/>
                    <a:pt x="168" y="320"/>
                    <a:pt x="287" y="320"/>
                  </a:cubicBezTo>
                  <a:close/>
                  <a:moveTo>
                    <a:pt x="762" y="702"/>
                  </a:moveTo>
                  <a:cubicBezTo>
                    <a:pt x="765" y="702"/>
                    <a:pt x="765" y="702"/>
                    <a:pt x="765" y="702"/>
                  </a:cubicBezTo>
                  <a:cubicBezTo>
                    <a:pt x="799" y="764"/>
                    <a:pt x="877" y="813"/>
                    <a:pt x="976" y="813"/>
                  </a:cubicBezTo>
                  <a:cubicBezTo>
                    <a:pt x="1130" y="813"/>
                    <a:pt x="1251" y="689"/>
                    <a:pt x="1251" y="525"/>
                  </a:cubicBezTo>
                  <a:cubicBezTo>
                    <a:pt x="1251" y="358"/>
                    <a:pt x="1135" y="236"/>
                    <a:pt x="962" y="236"/>
                  </a:cubicBezTo>
                  <a:cubicBezTo>
                    <a:pt x="882" y="236"/>
                    <a:pt x="815" y="271"/>
                    <a:pt x="765" y="330"/>
                  </a:cubicBezTo>
                  <a:cubicBezTo>
                    <a:pt x="762" y="330"/>
                    <a:pt x="762" y="330"/>
                    <a:pt x="762" y="330"/>
                  </a:cubicBezTo>
                  <a:cubicBezTo>
                    <a:pt x="762" y="250"/>
                    <a:pt x="762" y="250"/>
                    <a:pt x="762" y="250"/>
                  </a:cubicBezTo>
                  <a:cubicBezTo>
                    <a:pt x="671" y="250"/>
                    <a:pt x="671" y="250"/>
                    <a:pt x="671" y="250"/>
                  </a:cubicBezTo>
                  <a:cubicBezTo>
                    <a:pt x="671" y="1057"/>
                    <a:pt x="671" y="1057"/>
                    <a:pt x="671" y="1057"/>
                  </a:cubicBezTo>
                  <a:cubicBezTo>
                    <a:pt x="762" y="1057"/>
                    <a:pt x="762" y="1057"/>
                    <a:pt x="762" y="1057"/>
                  </a:cubicBezTo>
                  <a:lnTo>
                    <a:pt x="762" y="702"/>
                  </a:lnTo>
                  <a:close/>
                  <a:moveTo>
                    <a:pt x="957" y="320"/>
                  </a:moveTo>
                  <a:cubicBezTo>
                    <a:pt x="1076" y="320"/>
                    <a:pt x="1152" y="410"/>
                    <a:pt x="1152" y="525"/>
                  </a:cubicBezTo>
                  <a:cubicBezTo>
                    <a:pt x="1152" y="640"/>
                    <a:pt x="1076" y="729"/>
                    <a:pt x="957" y="729"/>
                  </a:cubicBezTo>
                  <a:cubicBezTo>
                    <a:pt x="839" y="729"/>
                    <a:pt x="762" y="640"/>
                    <a:pt x="762" y="525"/>
                  </a:cubicBezTo>
                  <a:cubicBezTo>
                    <a:pt x="762" y="410"/>
                    <a:pt x="839" y="320"/>
                    <a:pt x="957" y="320"/>
                  </a:cubicBezTo>
                  <a:close/>
                  <a:moveTo>
                    <a:pt x="1607" y="813"/>
                  </a:moveTo>
                  <a:cubicBezTo>
                    <a:pt x="1706" y="813"/>
                    <a:pt x="1785" y="764"/>
                    <a:pt x="1819" y="702"/>
                  </a:cubicBezTo>
                  <a:cubicBezTo>
                    <a:pt x="1821" y="702"/>
                    <a:pt x="1821" y="702"/>
                    <a:pt x="1821" y="702"/>
                  </a:cubicBezTo>
                  <a:cubicBezTo>
                    <a:pt x="1821" y="799"/>
                    <a:pt x="1821" y="799"/>
                    <a:pt x="1821" y="799"/>
                  </a:cubicBezTo>
                  <a:cubicBezTo>
                    <a:pt x="1912" y="799"/>
                    <a:pt x="1912" y="799"/>
                    <a:pt x="1912" y="799"/>
                  </a:cubicBezTo>
                  <a:cubicBezTo>
                    <a:pt x="1912" y="0"/>
                    <a:pt x="1912" y="0"/>
                    <a:pt x="1912" y="0"/>
                  </a:cubicBezTo>
                  <a:cubicBezTo>
                    <a:pt x="1821" y="0"/>
                    <a:pt x="1821" y="0"/>
                    <a:pt x="1821" y="0"/>
                  </a:cubicBezTo>
                  <a:cubicBezTo>
                    <a:pt x="1821" y="330"/>
                    <a:pt x="1821" y="330"/>
                    <a:pt x="1821" y="330"/>
                  </a:cubicBezTo>
                  <a:cubicBezTo>
                    <a:pt x="1819" y="330"/>
                    <a:pt x="1819" y="330"/>
                    <a:pt x="1819" y="330"/>
                  </a:cubicBezTo>
                  <a:cubicBezTo>
                    <a:pt x="1768" y="271"/>
                    <a:pt x="1701" y="236"/>
                    <a:pt x="1621" y="236"/>
                  </a:cubicBezTo>
                  <a:cubicBezTo>
                    <a:pt x="1449" y="236"/>
                    <a:pt x="1333" y="358"/>
                    <a:pt x="1333" y="525"/>
                  </a:cubicBezTo>
                  <a:cubicBezTo>
                    <a:pt x="1333" y="689"/>
                    <a:pt x="1454" y="813"/>
                    <a:pt x="1607" y="813"/>
                  </a:cubicBezTo>
                  <a:close/>
                  <a:moveTo>
                    <a:pt x="1626" y="320"/>
                  </a:moveTo>
                  <a:cubicBezTo>
                    <a:pt x="1745" y="320"/>
                    <a:pt x="1821" y="410"/>
                    <a:pt x="1821" y="525"/>
                  </a:cubicBezTo>
                  <a:cubicBezTo>
                    <a:pt x="1821" y="640"/>
                    <a:pt x="1745" y="729"/>
                    <a:pt x="1626" y="729"/>
                  </a:cubicBezTo>
                  <a:cubicBezTo>
                    <a:pt x="1507" y="729"/>
                    <a:pt x="1431" y="640"/>
                    <a:pt x="1431" y="525"/>
                  </a:cubicBezTo>
                  <a:cubicBezTo>
                    <a:pt x="1431" y="410"/>
                    <a:pt x="1507" y="320"/>
                    <a:pt x="1626" y="320"/>
                  </a:cubicBezTo>
                  <a:close/>
                  <a:moveTo>
                    <a:pt x="4026" y="1344"/>
                  </a:moveTo>
                  <a:cubicBezTo>
                    <a:pt x="4025" y="1344"/>
                    <a:pt x="4025" y="1344"/>
                    <a:pt x="4025" y="1344"/>
                  </a:cubicBezTo>
                  <a:cubicBezTo>
                    <a:pt x="4007" y="1324"/>
                    <a:pt x="3984" y="1312"/>
                    <a:pt x="3957" y="1312"/>
                  </a:cubicBezTo>
                  <a:cubicBezTo>
                    <a:pt x="3897" y="1312"/>
                    <a:pt x="3857" y="1354"/>
                    <a:pt x="3857" y="1412"/>
                  </a:cubicBezTo>
                  <a:cubicBezTo>
                    <a:pt x="3857" y="1469"/>
                    <a:pt x="3898" y="1512"/>
                    <a:pt x="3952" y="1512"/>
                  </a:cubicBezTo>
                  <a:cubicBezTo>
                    <a:pt x="3986" y="1512"/>
                    <a:pt x="4013" y="1495"/>
                    <a:pt x="4025" y="1473"/>
                  </a:cubicBezTo>
                  <a:cubicBezTo>
                    <a:pt x="4026" y="1473"/>
                    <a:pt x="4026" y="1473"/>
                    <a:pt x="4026" y="1473"/>
                  </a:cubicBezTo>
                  <a:cubicBezTo>
                    <a:pt x="4026" y="1507"/>
                    <a:pt x="4026" y="1507"/>
                    <a:pt x="4026" y="1507"/>
                  </a:cubicBezTo>
                  <a:cubicBezTo>
                    <a:pt x="4057" y="1507"/>
                    <a:pt x="4057" y="1507"/>
                    <a:pt x="4057" y="1507"/>
                  </a:cubicBezTo>
                  <a:cubicBezTo>
                    <a:pt x="4057" y="1200"/>
                    <a:pt x="4057" y="1200"/>
                    <a:pt x="4057" y="1200"/>
                  </a:cubicBezTo>
                  <a:cubicBezTo>
                    <a:pt x="4026" y="1200"/>
                    <a:pt x="4026" y="1200"/>
                    <a:pt x="4026" y="1200"/>
                  </a:cubicBezTo>
                  <a:lnTo>
                    <a:pt x="4026" y="1344"/>
                  </a:lnTo>
                  <a:close/>
                  <a:moveTo>
                    <a:pt x="3958" y="1482"/>
                  </a:moveTo>
                  <a:cubicBezTo>
                    <a:pt x="3917" y="1482"/>
                    <a:pt x="3891" y="1452"/>
                    <a:pt x="3891" y="1412"/>
                  </a:cubicBezTo>
                  <a:cubicBezTo>
                    <a:pt x="3891" y="1372"/>
                    <a:pt x="3917" y="1341"/>
                    <a:pt x="3958" y="1341"/>
                  </a:cubicBezTo>
                  <a:cubicBezTo>
                    <a:pt x="3999" y="1341"/>
                    <a:pt x="4026" y="1372"/>
                    <a:pt x="4026" y="1412"/>
                  </a:cubicBezTo>
                  <a:cubicBezTo>
                    <a:pt x="4026" y="1452"/>
                    <a:pt x="3999" y="1482"/>
                    <a:pt x="3958" y="1482"/>
                  </a:cubicBezTo>
                  <a:close/>
                  <a:moveTo>
                    <a:pt x="4193" y="1312"/>
                  </a:moveTo>
                  <a:cubicBezTo>
                    <a:pt x="4137" y="1312"/>
                    <a:pt x="4095" y="1353"/>
                    <a:pt x="4095" y="1412"/>
                  </a:cubicBezTo>
                  <a:cubicBezTo>
                    <a:pt x="4095" y="1467"/>
                    <a:pt x="4132" y="1512"/>
                    <a:pt x="4192" y="1512"/>
                  </a:cubicBezTo>
                  <a:cubicBezTo>
                    <a:pt x="4227" y="1512"/>
                    <a:pt x="4254" y="1501"/>
                    <a:pt x="4276" y="1472"/>
                  </a:cubicBezTo>
                  <a:cubicBezTo>
                    <a:pt x="4252" y="1454"/>
                    <a:pt x="4252" y="1454"/>
                    <a:pt x="4252" y="1454"/>
                  </a:cubicBezTo>
                  <a:cubicBezTo>
                    <a:pt x="4237" y="1473"/>
                    <a:pt x="4219" y="1482"/>
                    <a:pt x="4192" y="1482"/>
                  </a:cubicBezTo>
                  <a:cubicBezTo>
                    <a:pt x="4157" y="1482"/>
                    <a:pt x="4132" y="1454"/>
                    <a:pt x="4129" y="1421"/>
                  </a:cubicBezTo>
                  <a:cubicBezTo>
                    <a:pt x="4283" y="1421"/>
                    <a:pt x="4283" y="1421"/>
                    <a:pt x="4283" y="1421"/>
                  </a:cubicBezTo>
                  <a:cubicBezTo>
                    <a:pt x="4283" y="1411"/>
                    <a:pt x="4283" y="1411"/>
                    <a:pt x="4283" y="1411"/>
                  </a:cubicBezTo>
                  <a:cubicBezTo>
                    <a:pt x="4283" y="1348"/>
                    <a:pt x="4246" y="1312"/>
                    <a:pt x="4193" y="1312"/>
                  </a:cubicBezTo>
                  <a:close/>
                  <a:moveTo>
                    <a:pt x="4129" y="1395"/>
                  </a:moveTo>
                  <a:cubicBezTo>
                    <a:pt x="4133" y="1363"/>
                    <a:pt x="4157" y="1341"/>
                    <a:pt x="4192" y="1341"/>
                  </a:cubicBezTo>
                  <a:cubicBezTo>
                    <a:pt x="4227" y="1341"/>
                    <a:pt x="4248" y="1363"/>
                    <a:pt x="4249" y="1395"/>
                  </a:cubicBezTo>
                  <a:lnTo>
                    <a:pt x="4129" y="1395"/>
                  </a:lnTo>
                  <a:close/>
                  <a:moveTo>
                    <a:pt x="4459" y="1317"/>
                  </a:moveTo>
                  <a:cubicBezTo>
                    <a:pt x="4493" y="1317"/>
                    <a:pt x="4493" y="1317"/>
                    <a:pt x="4493" y="1317"/>
                  </a:cubicBezTo>
                  <a:cubicBezTo>
                    <a:pt x="4418" y="1507"/>
                    <a:pt x="4418" y="1507"/>
                    <a:pt x="4418" y="1507"/>
                  </a:cubicBezTo>
                  <a:cubicBezTo>
                    <a:pt x="4383" y="1507"/>
                    <a:pt x="4383" y="1507"/>
                    <a:pt x="4383" y="1507"/>
                  </a:cubicBezTo>
                  <a:cubicBezTo>
                    <a:pt x="4305" y="1317"/>
                    <a:pt x="4305" y="1317"/>
                    <a:pt x="4305" y="1317"/>
                  </a:cubicBezTo>
                  <a:cubicBezTo>
                    <a:pt x="4342" y="1317"/>
                    <a:pt x="4342" y="1317"/>
                    <a:pt x="4342" y="1317"/>
                  </a:cubicBezTo>
                  <a:cubicBezTo>
                    <a:pt x="4401" y="1466"/>
                    <a:pt x="4401" y="1466"/>
                    <a:pt x="4401" y="1466"/>
                  </a:cubicBezTo>
                  <a:cubicBezTo>
                    <a:pt x="4402" y="1466"/>
                    <a:pt x="4402" y="1466"/>
                    <a:pt x="4402" y="1466"/>
                  </a:cubicBezTo>
                  <a:lnTo>
                    <a:pt x="4459" y="1317"/>
                  </a:lnTo>
                  <a:close/>
                  <a:moveTo>
                    <a:pt x="4611" y="1312"/>
                  </a:moveTo>
                  <a:cubicBezTo>
                    <a:pt x="4555" y="1312"/>
                    <a:pt x="4514" y="1353"/>
                    <a:pt x="4514" y="1412"/>
                  </a:cubicBezTo>
                  <a:cubicBezTo>
                    <a:pt x="4514" y="1467"/>
                    <a:pt x="4550" y="1512"/>
                    <a:pt x="4610" y="1512"/>
                  </a:cubicBezTo>
                  <a:cubicBezTo>
                    <a:pt x="4645" y="1512"/>
                    <a:pt x="4672" y="1501"/>
                    <a:pt x="4695" y="1472"/>
                  </a:cubicBezTo>
                  <a:cubicBezTo>
                    <a:pt x="4671" y="1454"/>
                    <a:pt x="4671" y="1454"/>
                    <a:pt x="4671" y="1454"/>
                  </a:cubicBezTo>
                  <a:cubicBezTo>
                    <a:pt x="4656" y="1473"/>
                    <a:pt x="4637" y="1482"/>
                    <a:pt x="4610" y="1482"/>
                  </a:cubicBezTo>
                  <a:cubicBezTo>
                    <a:pt x="4576" y="1482"/>
                    <a:pt x="4550" y="1454"/>
                    <a:pt x="4548" y="1421"/>
                  </a:cubicBezTo>
                  <a:cubicBezTo>
                    <a:pt x="4702" y="1421"/>
                    <a:pt x="4702" y="1421"/>
                    <a:pt x="4702" y="1421"/>
                  </a:cubicBezTo>
                  <a:cubicBezTo>
                    <a:pt x="4702" y="1411"/>
                    <a:pt x="4702" y="1411"/>
                    <a:pt x="4702" y="1411"/>
                  </a:cubicBezTo>
                  <a:cubicBezTo>
                    <a:pt x="4702" y="1348"/>
                    <a:pt x="4665" y="1312"/>
                    <a:pt x="4611" y="1312"/>
                  </a:cubicBezTo>
                  <a:close/>
                  <a:moveTo>
                    <a:pt x="4548" y="1395"/>
                  </a:moveTo>
                  <a:cubicBezTo>
                    <a:pt x="4552" y="1363"/>
                    <a:pt x="4575" y="1341"/>
                    <a:pt x="4610" y="1341"/>
                  </a:cubicBezTo>
                  <a:cubicBezTo>
                    <a:pt x="4645" y="1341"/>
                    <a:pt x="4666" y="1363"/>
                    <a:pt x="4667" y="1395"/>
                  </a:cubicBezTo>
                  <a:lnTo>
                    <a:pt x="4548" y="1395"/>
                  </a:lnTo>
                  <a:close/>
                  <a:moveTo>
                    <a:pt x="4754" y="1200"/>
                  </a:moveTo>
                  <a:cubicBezTo>
                    <a:pt x="4786" y="1200"/>
                    <a:pt x="4786" y="1200"/>
                    <a:pt x="4786" y="1200"/>
                  </a:cubicBezTo>
                  <a:cubicBezTo>
                    <a:pt x="4786" y="1507"/>
                    <a:pt x="4786" y="1507"/>
                    <a:pt x="4786" y="1507"/>
                  </a:cubicBezTo>
                  <a:cubicBezTo>
                    <a:pt x="4754" y="1507"/>
                    <a:pt x="4754" y="1507"/>
                    <a:pt x="4754" y="1507"/>
                  </a:cubicBezTo>
                  <a:lnTo>
                    <a:pt x="4754" y="1200"/>
                  </a:lnTo>
                  <a:close/>
                  <a:moveTo>
                    <a:pt x="4934" y="1312"/>
                  </a:moveTo>
                  <a:cubicBezTo>
                    <a:pt x="4876" y="1312"/>
                    <a:pt x="4833" y="1352"/>
                    <a:pt x="4833" y="1412"/>
                  </a:cubicBezTo>
                  <a:cubicBezTo>
                    <a:pt x="4833" y="1471"/>
                    <a:pt x="4876" y="1512"/>
                    <a:pt x="4934" y="1512"/>
                  </a:cubicBezTo>
                  <a:cubicBezTo>
                    <a:pt x="4993" y="1512"/>
                    <a:pt x="5036" y="1471"/>
                    <a:pt x="5036" y="1412"/>
                  </a:cubicBezTo>
                  <a:cubicBezTo>
                    <a:pt x="5036" y="1352"/>
                    <a:pt x="4993" y="1312"/>
                    <a:pt x="4934" y="1312"/>
                  </a:cubicBezTo>
                  <a:close/>
                  <a:moveTo>
                    <a:pt x="4934" y="1482"/>
                  </a:moveTo>
                  <a:cubicBezTo>
                    <a:pt x="4893" y="1482"/>
                    <a:pt x="4867" y="1452"/>
                    <a:pt x="4867" y="1412"/>
                  </a:cubicBezTo>
                  <a:cubicBezTo>
                    <a:pt x="4867" y="1372"/>
                    <a:pt x="4893" y="1341"/>
                    <a:pt x="4934" y="1341"/>
                  </a:cubicBezTo>
                  <a:cubicBezTo>
                    <a:pt x="4975" y="1341"/>
                    <a:pt x="5002" y="1372"/>
                    <a:pt x="5002" y="1412"/>
                  </a:cubicBezTo>
                  <a:cubicBezTo>
                    <a:pt x="5002" y="1452"/>
                    <a:pt x="4975" y="1482"/>
                    <a:pt x="4934" y="1482"/>
                  </a:cubicBezTo>
                  <a:close/>
                  <a:moveTo>
                    <a:pt x="5182" y="1312"/>
                  </a:moveTo>
                  <a:cubicBezTo>
                    <a:pt x="5154" y="1312"/>
                    <a:pt x="5131" y="1324"/>
                    <a:pt x="5113" y="1344"/>
                  </a:cubicBezTo>
                  <a:cubicBezTo>
                    <a:pt x="5113" y="1344"/>
                    <a:pt x="5113" y="1344"/>
                    <a:pt x="5113" y="1344"/>
                  </a:cubicBezTo>
                  <a:cubicBezTo>
                    <a:pt x="5113" y="1317"/>
                    <a:pt x="5113" y="1317"/>
                    <a:pt x="5113" y="1317"/>
                  </a:cubicBezTo>
                  <a:cubicBezTo>
                    <a:pt x="5081" y="1317"/>
                    <a:pt x="5081" y="1317"/>
                    <a:pt x="5081" y="1317"/>
                  </a:cubicBezTo>
                  <a:cubicBezTo>
                    <a:pt x="5081" y="1600"/>
                    <a:pt x="5081" y="1600"/>
                    <a:pt x="5081" y="1600"/>
                  </a:cubicBezTo>
                  <a:cubicBezTo>
                    <a:pt x="5113" y="1600"/>
                    <a:pt x="5113" y="1600"/>
                    <a:pt x="5113" y="1600"/>
                  </a:cubicBezTo>
                  <a:cubicBezTo>
                    <a:pt x="5113" y="1473"/>
                    <a:pt x="5113" y="1473"/>
                    <a:pt x="5113" y="1473"/>
                  </a:cubicBezTo>
                  <a:cubicBezTo>
                    <a:pt x="5113" y="1473"/>
                    <a:pt x="5113" y="1473"/>
                    <a:pt x="5113" y="1473"/>
                  </a:cubicBezTo>
                  <a:cubicBezTo>
                    <a:pt x="5125" y="1495"/>
                    <a:pt x="5152" y="1512"/>
                    <a:pt x="5186" y="1512"/>
                  </a:cubicBezTo>
                  <a:cubicBezTo>
                    <a:pt x="5240" y="1512"/>
                    <a:pt x="5282" y="1469"/>
                    <a:pt x="5282" y="1412"/>
                  </a:cubicBezTo>
                  <a:cubicBezTo>
                    <a:pt x="5282" y="1354"/>
                    <a:pt x="5241" y="1312"/>
                    <a:pt x="5182" y="1312"/>
                  </a:cubicBezTo>
                  <a:close/>
                  <a:moveTo>
                    <a:pt x="5180" y="1482"/>
                  </a:moveTo>
                  <a:cubicBezTo>
                    <a:pt x="5139" y="1482"/>
                    <a:pt x="5113" y="1452"/>
                    <a:pt x="5113" y="1412"/>
                  </a:cubicBezTo>
                  <a:cubicBezTo>
                    <a:pt x="5113" y="1372"/>
                    <a:pt x="5139" y="1341"/>
                    <a:pt x="5180" y="1341"/>
                  </a:cubicBezTo>
                  <a:cubicBezTo>
                    <a:pt x="5221" y="1341"/>
                    <a:pt x="5247" y="1372"/>
                    <a:pt x="5247" y="1412"/>
                  </a:cubicBezTo>
                  <a:cubicBezTo>
                    <a:pt x="5247" y="1452"/>
                    <a:pt x="5221" y="1482"/>
                    <a:pt x="5180" y="1482"/>
                  </a:cubicBezTo>
                  <a:close/>
                  <a:moveTo>
                    <a:pt x="5613" y="1391"/>
                  </a:moveTo>
                  <a:cubicBezTo>
                    <a:pt x="5613" y="1507"/>
                    <a:pt x="5613" y="1507"/>
                    <a:pt x="5613" y="1507"/>
                  </a:cubicBezTo>
                  <a:cubicBezTo>
                    <a:pt x="5581" y="1507"/>
                    <a:pt x="5581" y="1507"/>
                    <a:pt x="5581" y="1507"/>
                  </a:cubicBezTo>
                  <a:cubicBezTo>
                    <a:pt x="5581" y="1393"/>
                    <a:pt x="5581" y="1393"/>
                    <a:pt x="5581" y="1393"/>
                  </a:cubicBezTo>
                  <a:cubicBezTo>
                    <a:pt x="5581" y="1367"/>
                    <a:pt x="5572" y="1341"/>
                    <a:pt x="5535" y="1341"/>
                  </a:cubicBezTo>
                  <a:cubicBezTo>
                    <a:pt x="5508" y="1341"/>
                    <a:pt x="5486" y="1363"/>
                    <a:pt x="5486" y="1397"/>
                  </a:cubicBezTo>
                  <a:cubicBezTo>
                    <a:pt x="5486" y="1507"/>
                    <a:pt x="5486" y="1507"/>
                    <a:pt x="5486" y="1507"/>
                  </a:cubicBezTo>
                  <a:cubicBezTo>
                    <a:pt x="5454" y="1507"/>
                    <a:pt x="5454" y="1507"/>
                    <a:pt x="5454" y="1507"/>
                  </a:cubicBezTo>
                  <a:cubicBezTo>
                    <a:pt x="5454" y="1399"/>
                    <a:pt x="5454" y="1399"/>
                    <a:pt x="5454" y="1399"/>
                  </a:cubicBezTo>
                  <a:cubicBezTo>
                    <a:pt x="5454" y="1357"/>
                    <a:pt x="5443" y="1341"/>
                    <a:pt x="5417" y="1341"/>
                  </a:cubicBezTo>
                  <a:cubicBezTo>
                    <a:pt x="5376" y="1341"/>
                    <a:pt x="5358" y="1371"/>
                    <a:pt x="5358" y="1414"/>
                  </a:cubicBezTo>
                  <a:cubicBezTo>
                    <a:pt x="5358" y="1507"/>
                    <a:pt x="5358" y="1507"/>
                    <a:pt x="5358" y="1507"/>
                  </a:cubicBezTo>
                  <a:cubicBezTo>
                    <a:pt x="5327" y="1507"/>
                    <a:pt x="5327" y="1507"/>
                    <a:pt x="5327" y="1507"/>
                  </a:cubicBezTo>
                  <a:cubicBezTo>
                    <a:pt x="5327" y="1362"/>
                    <a:pt x="5327" y="1362"/>
                    <a:pt x="5327" y="1362"/>
                  </a:cubicBezTo>
                  <a:cubicBezTo>
                    <a:pt x="5327" y="1344"/>
                    <a:pt x="5325" y="1329"/>
                    <a:pt x="5325" y="1317"/>
                  </a:cubicBezTo>
                  <a:cubicBezTo>
                    <a:pt x="5355" y="1317"/>
                    <a:pt x="5355" y="1317"/>
                    <a:pt x="5355" y="1317"/>
                  </a:cubicBezTo>
                  <a:cubicBezTo>
                    <a:pt x="5355" y="1327"/>
                    <a:pt x="5356" y="1337"/>
                    <a:pt x="5356" y="1348"/>
                  </a:cubicBezTo>
                  <a:cubicBezTo>
                    <a:pt x="5357" y="1348"/>
                    <a:pt x="5357" y="1348"/>
                    <a:pt x="5357" y="1348"/>
                  </a:cubicBezTo>
                  <a:cubicBezTo>
                    <a:pt x="5365" y="1329"/>
                    <a:pt x="5389" y="1312"/>
                    <a:pt x="5420" y="1312"/>
                  </a:cubicBezTo>
                  <a:cubicBezTo>
                    <a:pt x="5461" y="1312"/>
                    <a:pt x="5474" y="1335"/>
                    <a:pt x="5480" y="1348"/>
                  </a:cubicBezTo>
                  <a:cubicBezTo>
                    <a:pt x="5494" y="1326"/>
                    <a:pt x="5512" y="1312"/>
                    <a:pt x="5540" y="1312"/>
                  </a:cubicBezTo>
                  <a:cubicBezTo>
                    <a:pt x="5595" y="1312"/>
                    <a:pt x="5613" y="1342"/>
                    <a:pt x="5613" y="1391"/>
                  </a:cubicBezTo>
                  <a:close/>
                  <a:moveTo>
                    <a:pt x="5756" y="1312"/>
                  </a:moveTo>
                  <a:cubicBezTo>
                    <a:pt x="5700" y="1312"/>
                    <a:pt x="5658" y="1353"/>
                    <a:pt x="5658" y="1412"/>
                  </a:cubicBezTo>
                  <a:cubicBezTo>
                    <a:pt x="5658" y="1467"/>
                    <a:pt x="5695" y="1512"/>
                    <a:pt x="5754" y="1512"/>
                  </a:cubicBezTo>
                  <a:cubicBezTo>
                    <a:pt x="5790" y="1512"/>
                    <a:pt x="5817" y="1501"/>
                    <a:pt x="5839" y="1472"/>
                  </a:cubicBezTo>
                  <a:cubicBezTo>
                    <a:pt x="5815" y="1454"/>
                    <a:pt x="5815" y="1454"/>
                    <a:pt x="5815" y="1454"/>
                  </a:cubicBezTo>
                  <a:cubicBezTo>
                    <a:pt x="5800" y="1473"/>
                    <a:pt x="5782" y="1482"/>
                    <a:pt x="5754" y="1482"/>
                  </a:cubicBezTo>
                  <a:cubicBezTo>
                    <a:pt x="5720" y="1482"/>
                    <a:pt x="5695" y="1454"/>
                    <a:pt x="5692" y="1421"/>
                  </a:cubicBezTo>
                  <a:cubicBezTo>
                    <a:pt x="5846" y="1421"/>
                    <a:pt x="5846" y="1421"/>
                    <a:pt x="5846" y="1421"/>
                  </a:cubicBezTo>
                  <a:cubicBezTo>
                    <a:pt x="5846" y="1411"/>
                    <a:pt x="5846" y="1411"/>
                    <a:pt x="5846" y="1411"/>
                  </a:cubicBezTo>
                  <a:cubicBezTo>
                    <a:pt x="5846" y="1348"/>
                    <a:pt x="5809" y="1312"/>
                    <a:pt x="5756" y="1312"/>
                  </a:cubicBezTo>
                  <a:close/>
                  <a:moveTo>
                    <a:pt x="5692" y="1395"/>
                  </a:moveTo>
                  <a:cubicBezTo>
                    <a:pt x="5696" y="1363"/>
                    <a:pt x="5720" y="1341"/>
                    <a:pt x="5754" y="1341"/>
                  </a:cubicBezTo>
                  <a:cubicBezTo>
                    <a:pt x="5789" y="1341"/>
                    <a:pt x="5811" y="1363"/>
                    <a:pt x="5812" y="1395"/>
                  </a:cubicBezTo>
                  <a:lnTo>
                    <a:pt x="5692" y="1395"/>
                  </a:lnTo>
                  <a:close/>
                  <a:moveTo>
                    <a:pt x="6057" y="1389"/>
                  </a:moveTo>
                  <a:cubicBezTo>
                    <a:pt x="6057" y="1507"/>
                    <a:pt x="6057" y="1507"/>
                    <a:pt x="6057" y="1507"/>
                  </a:cubicBezTo>
                  <a:cubicBezTo>
                    <a:pt x="6025" y="1507"/>
                    <a:pt x="6025" y="1507"/>
                    <a:pt x="6025" y="1507"/>
                  </a:cubicBezTo>
                  <a:cubicBezTo>
                    <a:pt x="6025" y="1393"/>
                    <a:pt x="6025" y="1393"/>
                    <a:pt x="6025" y="1393"/>
                  </a:cubicBezTo>
                  <a:cubicBezTo>
                    <a:pt x="6025" y="1361"/>
                    <a:pt x="6011" y="1341"/>
                    <a:pt x="5982" y="1341"/>
                  </a:cubicBezTo>
                  <a:cubicBezTo>
                    <a:pt x="5941" y="1341"/>
                    <a:pt x="5923" y="1371"/>
                    <a:pt x="5923" y="1414"/>
                  </a:cubicBezTo>
                  <a:cubicBezTo>
                    <a:pt x="5923" y="1507"/>
                    <a:pt x="5923" y="1507"/>
                    <a:pt x="5923" y="1507"/>
                  </a:cubicBezTo>
                  <a:cubicBezTo>
                    <a:pt x="5891" y="1507"/>
                    <a:pt x="5891" y="1507"/>
                    <a:pt x="5891" y="1507"/>
                  </a:cubicBezTo>
                  <a:cubicBezTo>
                    <a:pt x="5891" y="1362"/>
                    <a:pt x="5891" y="1362"/>
                    <a:pt x="5891" y="1362"/>
                  </a:cubicBezTo>
                  <a:cubicBezTo>
                    <a:pt x="5891" y="1344"/>
                    <a:pt x="5889" y="1329"/>
                    <a:pt x="5889" y="1317"/>
                  </a:cubicBezTo>
                  <a:cubicBezTo>
                    <a:pt x="5919" y="1317"/>
                    <a:pt x="5919" y="1317"/>
                    <a:pt x="5919" y="1317"/>
                  </a:cubicBezTo>
                  <a:cubicBezTo>
                    <a:pt x="5919" y="1327"/>
                    <a:pt x="5920" y="1337"/>
                    <a:pt x="5920" y="1348"/>
                  </a:cubicBezTo>
                  <a:cubicBezTo>
                    <a:pt x="5921" y="1348"/>
                    <a:pt x="5921" y="1348"/>
                    <a:pt x="5921" y="1348"/>
                  </a:cubicBezTo>
                  <a:cubicBezTo>
                    <a:pt x="5930" y="1329"/>
                    <a:pt x="5953" y="1312"/>
                    <a:pt x="5984" y="1312"/>
                  </a:cubicBezTo>
                  <a:cubicBezTo>
                    <a:pt x="6034" y="1312"/>
                    <a:pt x="6057" y="1343"/>
                    <a:pt x="6057" y="1389"/>
                  </a:cubicBezTo>
                  <a:close/>
                  <a:moveTo>
                    <a:pt x="6217" y="1505"/>
                  </a:moveTo>
                  <a:cubicBezTo>
                    <a:pt x="6206" y="1510"/>
                    <a:pt x="6192" y="1512"/>
                    <a:pt x="6180" y="1512"/>
                  </a:cubicBezTo>
                  <a:cubicBezTo>
                    <a:pt x="6135" y="1512"/>
                    <a:pt x="6128" y="1487"/>
                    <a:pt x="6128" y="1448"/>
                  </a:cubicBezTo>
                  <a:cubicBezTo>
                    <a:pt x="6128" y="1343"/>
                    <a:pt x="6128" y="1343"/>
                    <a:pt x="6128" y="1343"/>
                  </a:cubicBezTo>
                  <a:cubicBezTo>
                    <a:pt x="6086" y="1343"/>
                    <a:pt x="6086" y="1343"/>
                    <a:pt x="6086" y="1343"/>
                  </a:cubicBezTo>
                  <a:cubicBezTo>
                    <a:pt x="6086" y="1317"/>
                    <a:pt x="6086" y="1317"/>
                    <a:pt x="6086" y="1317"/>
                  </a:cubicBezTo>
                  <a:cubicBezTo>
                    <a:pt x="6128" y="1317"/>
                    <a:pt x="6128" y="1317"/>
                    <a:pt x="6128" y="1317"/>
                  </a:cubicBezTo>
                  <a:cubicBezTo>
                    <a:pt x="6128" y="1263"/>
                    <a:pt x="6128" y="1263"/>
                    <a:pt x="6128" y="1263"/>
                  </a:cubicBezTo>
                  <a:cubicBezTo>
                    <a:pt x="6159" y="1263"/>
                    <a:pt x="6159" y="1263"/>
                    <a:pt x="6159" y="1263"/>
                  </a:cubicBezTo>
                  <a:cubicBezTo>
                    <a:pt x="6159" y="1317"/>
                    <a:pt x="6159" y="1317"/>
                    <a:pt x="6159" y="1317"/>
                  </a:cubicBezTo>
                  <a:cubicBezTo>
                    <a:pt x="6215" y="1317"/>
                    <a:pt x="6215" y="1317"/>
                    <a:pt x="6215" y="1317"/>
                  </a:cubicBezTo>
                  <a:cubicBezTo>
                    <a:pt x="6215" y="1343"/>
                    <a:pt x="6215" y="1343"/>
                    <a:pt x="6215" y="1343"/>
                  </a:cubicBezTo>
                  <a:cubicBezTo>
                    <a:pt x="6159" y="1343"/>
                    <a:pt x="6159" y="1343"/>
                    <a:pt x="6159" y="1343"/>
                  </a:cubicBezTo>
                  <a:cubicBezTo>
                    <a:pt x="6159" y="1439"/>
                    <a:pt x="6159" y="1439"/>
                    <a:pt x="6159" y="1439"/>
                  </a:cubicBezTo>
                  <a:cubicBezTo>
                    <a:pt x="6159" y="1463"/>
                    <a:pt x="6160" y="1482"/>
                    <a:pt x="6188" y="1482"/>
                  </a:cubicBezTo>
                  <a:cubicBezTo>
                    <a:pt x="6197" y="1482"/>
                    <a:pt x="6207" y="1480"/>
                    <a:pt x="6216" y="1476"/>
                  </a:cubicBezTo>
                  <a:lnTo>
                    <a:pt x="6217" y="1505"/>
                  </a:lnTo>
                  <a:close/>
                  <a:moveTo>
                    <a:pt x="2242" y="1312"/>
                  </a:moveTo>
                  <a:cubicBezTo>
                    <a:pt x="2215" y="1312"/>
                    <a:pt x="2191" y="1324"/>
                    <a:pt x="2174" y="1344"/>
                  </a:cubicBezTo>
                  <a:cubicBezTo>
                    <a:pt x="2173" y="1344"/>
                    <a:pt x="2173" y="1344"/>
                    <a:pt x="2173" y="1344"/>
                  </a:cubicBezTo>
                  <a:cubicBezTo>
                    <a:pt x="2173" y="1317"/>
                    <a:pt x="2173" y="1317"/>
                    <a:pt x="2173" y="1317"/>
                  </a:cubicBezTo>
                  <a:cubicBezTo>
                    <a:pt x="2141" y="1317"/>
                    <a:pt x="2141" y="1317"/>
                    <a:pt x="2141" y="1317"/>
                  </a:cubicBezTo>
                  <a:cubicBezTo>
                    <a:pt x="2141" y="1600"/>
                    <a:pt x="2141" y="1600"/>
                    <a:pt x="2141" y="1600"/>
                  </a:cubicBezTo>
                  <a:cubicBezTo>
                    <a:pt x="2173" y="1600"/>
                    <a:pt x="2173" y="1600"/>
                    <a:pt x="2173" y="1600"/>
                  </a:cubicBezTo>
                  <a:cubicBezTo>
                    <a:pt x="2173" y="1473"/>
                    <a:pt x="2173" y="1473"/>
                    <a:pt x="2173" y="1473"/>
                  </a:cubicBezTo>
                  <a:cubicBezTo>
                    <a:pt x="2174" y="1473"/>
                    <a:pt x="2174" y="1473"/>
                    <a:pt x="2174" y="1473"/>
                  </a:cubicBezTo>
                  <a:cubicBezTo>
                    <a:pt x="2186" y="1495"/>
                    <a:pt x="2213" y="1512"/>
                    <a:pt x="2247" y="1512"/>
                  </a:cubicBezTo>
                  <a:cubicBezTo>
                    <a:pt x="2300" y="1512"/>
                    <a:pt x="2342" y="1469"/>
                    <a:pt x="2342" y="1412"/>
                  </a:cubicBezTo>
                  <a:cubicBezTo>
                    <a:pt x="2342" y="1354"/>
                    <a:pt x="2302" y="1312"/>
                    <a:pt x="2242" y="1312"/>
                  </a:cubicBezTo>
                  <a:close/>
                  <a:moveTo>
                    <a:pt x="2241" y="1482"/>
                  </a:moveTo>
                  <a:cubicBezTo>
                    <a:pt x="2200" y="1482"/>
                    <a:pt x="2173" y="1452"/>
                    <a:pt x="2173" y="1412"/>
                  </a:cubicBezTo>
                  <a:cubicBezTo>
                    <a:pt x="2173" y="1372"/>
                    <a:pt x="2200" y="1341"/>
                    <a:pt x="2241" y="1341"/>
                  </a:cubicBezTo>
                  <a:cubicBezTo>
                    <a:pt x="2282" y="1341"/>
                    <a:pt x="2308" y="1372"/>
                    <a:pt x="2308" y="1412"/>
                  </a:cubicBezTo>
                  <a:cubicBezTo>
                    <a:pt x="2308" y="1452"/>
                    <a:pt x="2282" y="1482"/>
                    <a:pt x="2241" y="1482"/>
                  </a:cubicBezTo>
                  <a:close/>
                  <a:moveTo>
                    <a:pt x="2478" y="1312"/>
                  </a:moveTo>
                  <a:cubicBezTo>
                    <a:pt x="2482" y="1312"/>
                    <a:pt x="2487" y="1312"/>
                    <a:pt x="2491" y="1314"/>
                  </a:cubicBezTo>
                  <a:cubicBezTo>
                    <a:pt x="2489" y="1346"/>
                    <a:pt x="2489" y="1346"/>
                    <a:pt x="2489" y="1346"/>
                  </a:cubicBezTo>
                  <a:cubicBezTo>
                    <a:pt x="2484" y="1344"/>
                    <a:pt x="2478" y="1343"/>
                    <a:pt x="2472" y="1343"/>
                  </a:cubicBezTo>
                  <a:cubicBezTo>
                    <a:pt x="2433" y="1343"/>
                    <a:pt x="2416" y="1371"/>
                    <a:pt x="2416" y="1414"/>
                  </a:cubicBezTo>
                  <a:cubicBezTo>
                    <a:pt x="2416" y="1507"/>
                    <a:pt x="2416" y="1507"/>
                    <a:pt x="2416" y="1507"/>
                  </a:cubicBezTo>
                  <a:cubicBezTo>
                    <a:pt x="2385" y="1507"/>
                    <a:pt x="2385" y="1507"/>
                    <a:pt x="2385" y="1507"/>
                  </a:cubicBezTo>
                  <a:cubicBezTo>
                    <a:pt x="2385" y="1362"/>
                    <a:pt x="2385" y="1362"/>
                    <a:pt x="2385" y="1362"/>
                  </a:cubicBezTo>
                  <a:cubicBezTo>
                    <a:pt x="2385" y="1344"/>
                    <a:pt x="2383" y="1329"/>
                    <a:pt x="2383" y="1317"/>
                  </a:cubicBezTo>
                  <a:cubicBezTo>
                    <a:pt x="2413" y="1317"/>
                    <a:pt x="2413" y="1317"/>
                    <a:pt x="2413" y="1317"/>
                  </a:cubicBezTo>
                  <a:cubicBezTo>
                    <a:pt x="2413" y="1327"/>
                    <a:pt x="2414" y="1337"/>
                    <a:pt x="2414" y="1348"/>
                  </a:cubicBezTo>
                  <a:cubicBezTo>
                    <a:pt x="2415" y="1348"/>
                    <a:pt x="2415" y="1348"/>
                    <a:pt x="2415" y="1348"/>
                  </a:cubicBezTo>
                  <a:cubicBezTo>
                    <a:pt x="2423" y="1329"/>
                    <a:pt x="2447" y="1312"/>
                    <a:pt x="2478" y="1312"/>
                  </a:cubicBezTo>
                  <a:close/>
                  <a:moveTo>
                    <a:pt x="2606" y="1312"/>
                  </a:moveTo>
                  <a:cubicBezTo>
                    <a:pt x="2547" y="1312"/>
                    <a:pt x="2504" y="1352"/>
                    <a:pt x="2504" y="1412"/>
                  </a:cubicBezTo>
                  <a:cubicBezTo>
                    <a:pt x="2504" y="1471"/>
                    <a:pt x="2547" y="1512"/>
                    <a:pt x="2606" y="1512"/>
                  </a:cubicBezTo>
                  <a:cubicBezTo>
                    <a:pt x="2664" y="1512"/>
                    <a:pt x="2707" y="1471"/>
                    <a:pt x="2707" y="1412"/>
                  </a:cubicBezTo>
                  <a:cubicBezTo>
                    <a:pt x="2707" y="1352"/>
                    <a:pt x="2664" y="1312"/>
                    <a:pt x="2606" y="1312"/>
                  </a:cubicBezTo>
                  <a:close/>
                  <a:moveTo>
                    <a:pt x="2606" y="1482"/>
                  </a:moveTo>
                  <a:cubicBezTo>
                    <a:pt x="2565" y="1482"/>
                    <a:pt x="2538" y="1452"/>
                    <a:pt x="2538" y="1412"/>
                  </a:cubicBezTo>
                  <a:cubicBezTo>
                    <a:pt x="2538" y="1372"/>
                    <a:pt x="2565" y="1341"/>
                    <a:pt x="2606" y="1341"/>
                  </a:cubicBezTo>
                  <a:cubicBezTo>
                    <a:pt x="2647" y="1341"/>
                    <a:pt x="2673" y="1372"/>
                    <a:pt x="2673" y="1412"/>
                  </a:cubicBezTo>
                  <a:cubicBezTo>
                    <a:pt x="2673" y="1452"/>
                    <a:pt x="2647" y="1482"/>
                    <a:pt x="2606" y="1482"/>
                  </a:cubicBezTo>
                  <a:close/>
                  <a:moveTo>
                    <a:pt x="2853" y="1312"/>
                  </a:moveTo>
                  <a:cubicBezTo>
                    <a:pt x="2825" y="1312"/>
                    <a:pt x="2802" y="1324"/>
                    <a:pt x="2785" y="1344"/>
                  </a:cubicBezTo>
                  <a:cubicBezTo>
                    <a:pt x="2784" y="1344"/>
                    <a:pt x="2784" y="1344"/>
                    <a:pt x="2784" y="1344"/>
                  </a:cubicBezTo>
                  <a:cubicBezTo>
                    <a:pt x="2784" y="1317"/>
                    <a:pt x="2784" y="1317"/>
                    <a:pt x="2784" y="1317"/>
                  </a:cubicBezTo>
                  <a:cubicBezTo>
                    <a:pt x="2752" y="1317"/>
                    <a:pt x="2752" y="1317"/>
                    <a:pt x="2752" y="1317"/>
                  </a:cubicBezTo>
                  <a:cubicBezTo>
                    <a:pt x="2752" y="1600"/>
                    <a:pt x="2752" y="1600"/>
                    <a:pt x="2752" y="1600"/>
                  </a:cubicBezTo>
                  <a:cubicBezTo>
                    <a:pt x="2784" y="1600"/>
                    <a:pt x="2784" y="1600"/>
                    <a:pt x="2784" y="1600"/>
                  </a:cubicBezTo>
                  <a:cubicBezTo>
                    <a:pt x="2784" y="1473"/>
                    <a:pt x="2784" y="1473"/>
                    <a:pt x="2784" y="1473"/>
                  </a:cubicBezTo>
                  <a:cubicBezTo>
                    <a:pt x="2785" y="1473"/>
                    <a:pt x="2785" y="1473"/>
                    <a:pt x="2785" y="1473"/>
                  </a:cubicBezTo>
                  <a:cubicBezTo>
                    <a:pt x="2796" y="1495"/>
                    <a:pt x="2824" y="1512"/>
                    <a:pt x="2858" y="1512"/>
                  </a:cubicBezTo>
                  <a:cubicBezTo>
                    <a:pt x="2911" y="1512"/>
                    <a:pt x="2953" y="1469"/>
                    <a:pt x="2953" y="1412"/>
                  </a:cubicBezTo>
                  <a:cubicBezTo>
                    <a:pt x="2953" y="1354"/>
                    <a:pt x="2913" y="1312"/>
                    <a:pt x="2853" y="1312"/>
                  </a:cubicBezTo>
                  <a:close/>
                  <a:moveTo>
                    <a:pt x="2851" y="1482"/>
                  </a:moveTo>
                  <a:cubicBezTo>
                    <a:pt x="2810" y="1482"/>
                    <a:pt x="2784" y="1452"/>
                    <a:pt x="2784" y="1412"/>
                  </a:cubicBezTo>
                  <a:cubicBezTo>
                    <a:pt x="2784" y="1372"/>
                    <a:pt x="2810" y="1341"/>
                    <a:pt x="2851" y="1341"/>
                  </a:cubicBezTo>
                  <a:cubicBezTo>
                    <a:pt x="2892" y="1341"/>
                    <a:pt x="2919" y="1372"/>
                    <a:pt x="2919" y="1412"/>
                  </a:cubicBezTo>
                  <a:cubicBezTo>
                    <a:pt x="2919" y="1452"/>
                    <a:pt x="2892" y="1482"/>
                    <a:pt x="2851" y="1482"/>
                  </a:cubicBezTo>
                  <a:close/>
                  <a:moveTo>
                    <a:pt x="3086" y="1312"/>
                  </a:moveTo>
                  <a:cubicBezTo>
                    <a:pt x="3030" y="1312"/>
                    <a:pt x="2988" y="1353"/>
                    <a:pt x="2988" y="1412"/>
                  </a:cubicBezTo>
                  <a:cubicBezTo>
                    <a:pt x="2988" y="1467"/>
                    <a:pt x="3025" y="1512"/>
                    <a:pt x="3085" y="1512"/>
                  </a:cubicBezTo>
                  <a:cubicBezTo>
                    <a:pt x="3120" y="1512"/>
                    <a:pt x="3147" y="1501"/>
                    <a:pt x="3169" y="1472"/>
                  </a:cubicBezTo>
                  <a:cubicBezTo>
                    <a:pt x="3145" y="1454"/>
                    <a:pt x="3145" y="1454"/>
                    <a:pt x="3145" y="1454"/>
                  </a:cubicBezTo>
                  <a:cubicBezTo>
                    <a:pt x="3130" y="1473"/>
                    <a:pt x="3112" y="1482"/>
                    <a:pt x="3085" y="1482"/>
                  </a:cubicBezTo>
                  <a:cubicBezTo>
                    <a:pt x="3050" y="1482"/>
                    <a:pt x="3025" y="1454"/>
                    <a:pt x="3023" y="1421"/>
                  </a:cubicBezTo>
                  <a:cubicBezTo>
                    <a:pt x="3176" y="1421"/>
                    <a:pt x="3176" y="1421"/>
                    <a:pt x="3176" y="1421"/>
                  </a:cubicBezTo>
                  <a:cubicBezTo>
                    <a:pt x="3176" y="1411"/>
                    <a:pt x="3176" y="1411"/>
                    <a:pt x="3176" y="1411"/>
                  </a:cubicBezTo>
                  <a:cubicBezTo>
                    <a:pt x="3176" y="1348"/>
                    <a:pt x="3140" y="1312"/>
                    <a:pt x="3086" y="1312"/>
                  </a:cubicBezTo>
                  <a:close/>
                  <a:moveTo>
                    <a:pt x="3023" y="1395"/>
                  </a:moveTo>
                  <a:cubicBezTo>
                    <a:pt x="3027" y="1363"/>
                    <a:pt x="3050" y="1341"/>
                    <a:pt x="3085" y="1341"/>
                  </a:cubicBezTo>
                  <a:cubicBezTo>
                    <a:pt x="3120" y="1341"/>
                    <a:pt x="3141" y="1363"/>
                    <a:pt x="3142" y="1395"/>
                  </a:cubicBezTo>
                  <a:lnTo>
                    <a:pt x="3023" y="1395"/>
                  </a:lnTo>
                  <a:close/>
                  <a:moveTo>
                    <a:pt x="3322" y="1312"/>
                  </a:moveTo>
                  <a:cubicBezTo>
                    <a:pt x="3326" y="1312"/>
                    <a:pt x="3330" y="1312"/>
                    <a:pt x="3335" y="1314"/>
                  </a:cubicBezTo>
                  <a:cubicBezTo>
                    <a:pt x="3333" y="1346"/>
                    <a:pt x="3333" y="1346"/>
                    <a:pt x="3333" y="1346"/>
                  </a:cubicBezTo>
                  <a:cubicBezTo>
                    <a:pt x="3327" y="1344"/>
                    <a:pt x="3321" y="1343"/>
                    <a:pt x="3316" y="1343"/>
                  </a:cubicBezTo>
                  <a:cubicBezTo>
                    <a:pt x="3277" y="1343"/>
                    <a:pt x="3260" y="1371"/>
                    <a:pt x="3260" y="1414"/>
                  </a:cubicBezTo>
                  <a:cubicBezTo>
                    <a:pt x="3260" y="1507"/>
                    <a:pt x="3260" y="1507"/>
                    <a:pt x="3260" y="1507"/>
                  </a:cubicBezTo>
                  <a:cubicBezTo>
                    <a:pt x="3228" y="1507"/>
                    <a:pt x="3228" y="1507"/>
                    <a:pt x="3228" y="1507"/>
                  </a:cubicBezTo>
                  <a:cubicBezTo>
                    <a:pt x="3228" y="1362"/>
                    <a:pt x="3228" y="1362"/>
                    <a:pt x="3228" y="1362"/>
                  </a:cubicBezTo>
                  <a:cubicBezTo>
                    <a:pt x="3228" y="1344"/>
                    <a:pt x="3227" y="1329"/>
                    <a:pt x="3227" y="1317"/>
                  </a:cubicBezTo>
                  <a:cubicBezTo>
                    <a:pt x="3257" y="1317"/>
                    <a:pt x="3257" y="1317"/>
                    <a:pt x="3257" y="1317"/>
                  </a:cubicBezTo>
                  <a:cubicBezTo>
                    <a:pt x="3257" y="1327"/>
                    <a:pt x="3258" y="1337"/>
                    <a:pt x="3258" y="1348"/>
                  </a:cubicBezTo>
                  <a:cubicBezTo>
                    <a:pt x="3258" y="1348"/>
                    <a:pt x="3258" y="1348"/>
                    <a:pt x="3258" y="1348"/>
                  </a:cubicBezTo>
                  <a:cubicBezTo>
                    <a:pt x="3267" y="1329"/>
                    <a:pt x="3290" y="1312"/>
                    <a:pt x="3322" y="1312"/>
                  </a:cubicBezTo>
                  <a:close/>
                  <a:moveTo>
                    <a:pt x="3492" y="1476"/>
                  </a:moveTo>
                  <a:cubicBezTo>
                    <a:pt x="3494" y="1505"/>
                    <a:pt x="3494" y="1505"/>
                    <a:pt x="3494" y="1505"/>
                  </a:cubicBezTo>
                  <a:cubicBezTo>
                    <a:pt x="3483" y="1510"/>
                    <a:pt x="3468" y="1512"/>
                    <a:pt x="3457" y="1512"/>
                  </a:cubicBezTo>
                  <a:cubicBezTo>
                    <a:pt x="3412" y="1512"/>
                    <a:pt x="3404" y="1487"/>
                    <a:pt x="3404" y="1448"/>
                  </a:cubicBezTo>
                  <a:cubicBezTo>
                    <a:pt x="3404" y="1343"/>
                    <a:pt x="3404" y="1343"/>
                    <a:pt x="3404" y="1343"/>
                  </a:cubicBezTo>
                  <a:cubicBezTo>
                    <a:pt x="3363" y="1343"/>
                    <a:pt x="3363" y="1343"/>
                    <a:pt x="3363" y="1343"/>
                  </a:cubicBezTo>
                  <a:cubicBezTo>
                    <a:pt x="3363" y="1317"/>
                    <a:pt x="3363" y="1317"/>
                    <a:pt x="3363" y="1317"/>
                  </a:cubicBezTo>
                  <a:cubicBezTo>
                    <a:pt x="3404" y="1317"/>
                    <a:pt x="3404" y="1317"/>
                    <a:pt x="3404" y="1317"/>
                  </a:cubicBezTo>
                  <a:cubicBezTo>
                    <a:pt x="3404" y="1263"/>
                    <a:pt x="3404" y="1263"/>
                    <a:pt x="3404" y="1263"/>
                  </a:cubicBezTo>
                  <a:cubicBezTo>
                    <a:pt x="3436" y="1263"/>
                    <a:pt x="3436" y="1263"/>
                    <a:pt x="3436" y="1263"/>
                  </a:cubicBezTo>
                  <a:cubicBezTo>
                    <a:pt x="3436" y="1317"/>
                    <a:pt x="3436" y="1317"/>
                    <a:pt x="3436" y="1317"/>
                  </a:cubicBezTo>
                  <a:cubicBezTo>
                    <a:pt x="3492" y="1317"/>
                    <a:pt x="3492" y="1317"/>
                    <a:pt x="3492" y="1317"/>
                  </a:cubicBezTo>
                  <a:cubicBezTo>
                    <a:pt x="3492" y="1343"/>
                    <a:pt x="3492" y="1343"/>
                    <a:pt x="3492" y="1343"/>
                  </a:cubicBezTo>
                  <a:cubicBezTo>
                    <a:pt x="3436" y="1343"/>
                    <a:pt x="3436" y="1343"/>
                    <a:pt x="3436" y="1343"/>
                  </a:cubicBezTo>
                  <a:cubicBezTo>
                    <a:pt x="3436" y="1439"/>
                    <a:pt x="3436" y="1439"/>
                    <a:pt x="3436" y="1439"/>
                  </a:cubicBezTo>
                  <a:cubicBezTo>
                    <a:pt x="3436" y="1463"/>
                    <a:pt x="3436" y="1482"/>
                    <a:pt x="3464" y="1482"/>
                  </a:cubicBezTo>
                  <a:cubicBezTo>
                    <a:pt x="3474" y="1482"/>
                    <a:pt x="3484" y="1480"/>
                    <a:pt x="3492" y="1476"/>
                  </a:cubicBezTo>
                  <a:close/>
                  <a:moveTo>
                    <a:pt x="3674" y="1317"/>
                  </a:moveTo>
                  <a:cubicBezTo>
                    <a:pt x="3709" y="1317"/>
                    <a:pt x="3709" y="1317"/>
                    <a:pt x="3709" y="1317"/>
                  </a:cubicBezTo>
                  <a:cubicBezTo>
                    <a:pt x="3617" y="1550"/>
                    <a:pt x="3617" y="1550"/>
                    <a:pt x="3617" y="1550"/>
                  </a:cubicBezTo>
                  <a:cubicBezTo>
                    <a:pt x="3604" y="1582"/>
                    <a:pt x="3592" y="1604"/>
                    <a:pt x="3553" y="1604"/>
                  </a:cubicBezTo>
                  <a:cubicBezTo>
                    <a:pt x="3545" y="1604"/>
                    <a:pt x="3533" y="1604"/>
                    <a:pt x="3525" y="1600"/>
                  </a:cubicBezTo>
                  <a:cubicBezTo>
                    <a:pt x="3529" y="1572"/>
                    <a:pt x="3529" y="1572"/>
                    <a:pt x="3529" y="1572"/>
                  </a:cubicBezTo>
                  <a:cubicBezTo>
                    <a:pt x="3536" y="1574"/>
                    <a:pt x="3542" y="1575"/>
                    <a:pt x="3551" y="1575"/>
                  </a:cubicBezTo>
                  <a:cubicBezTo>
                    <a:pt x="3572" y="1575"/>
                    <a:pt x="3580" y="1563"/>
                    <a:pt x="3587" y="1544"/>
                  </a:cubicBezTo>
                  <a:cubicBezTo>
                    <a:pt x="3600" y="1508"/>
                    <a:pt x="3600" y="1508"/>
                    <a:pt x="3600" y="1508"/>
                  </a:cubicBezTo>
                  <a:cubicBezTo>
                    <a:pt x="3521" y="1317"/>
                    <a:pt x="3521" y="1317"/>
                    <a:pt x="3521" y="1317"/>
                  </a:cubicBezTo>
                  <a:cubicBezTo>
                    <a:pt x="3558" y="1317"/>
                    <a:pt x="3558" y="1317"/>
                    <a:pt x="3558" y="1317"/>
                  </a:cubicBezTo>
                  <a:cubicBezTo>
                    <a:pt x="3617" y="1466"/>
                    <a:pt x="3617" y="1466"/>
                    <a:pt x="3617" y="1466"/>
                  </a:cubicBezTo>
                  <a:cubicBezTo>
                    <a:pt x="3618" y="1466"/>
                    <a:pt x="3618" y="1466"/>
                    <a:pt x="3618" y="1466"/>
                  </a:cubicBezTo>
                  <a:lnTo>
                    <a:pt x="3674" y="1317"/>
                  </a:lnTo>
                  <a:close/>
                  <a:moveTo>
                    <a:pt x="101" y="1312"/>
                  </a:moveTo>
                  <a:cubicBezTo>
                    <a:pt x="73" y="1312"/>
                    <a:pt x="50" y="1324"/>
                    <a:pt x="33" y="1344"/>
                  </a:cubicBezTo>
                  <a:cubicBezTo>
                    <a:pt x="32" y="1344"/>
                    <a:pt x="32" y="1344"/>
                    <a:pt x="32" y="1344"/>
                  </a:cubicBezTo>
                  <a:cubicBezTo>
                    <a:pt x="32" y="1200"/>
                    <a:pt x="32" y="1200"/>
                    <a:pt x="32" y="1200"/>
                  </a:cubicBezTo>
                  <a:cubicBezTo>
                    <a:pt x="0" y="1200"/>
                    <a:pt x="0" y="1200"/>
                    <a:pt x="0" y="1200"/>
                  </a:cubicBezTo>
                  <a:cubicBezTo>
                    <a:pt x="0" y="1507"/>
                    <a:pt x="0" y="1507"/>
                    <a:pt x="0" y="1507"/>
                  </a:cubicBezTo>
                  <a:cubicBezTo>
                    <a:pt x="32" y="1507"/>
                    <a:pt x="32" y="1507"/>
                    <a:pt x="32" y="1507"/>
                  </a:cubicBezTo>
                  <a:cubicBezTo>
                    <a:pt x="32" y="1473"/>
                    <a:pt x="32" y="1473"/>
                    <a:pt x="32" y="1473"/>
                  </a:cubicBezTo>
                  <a:cubicBezTo>
                    <a:pt x="33" y="1473"/>
                    <a:pt x="33" y="1473"/>
                    <a:pt x="33" y="1473"/>
                  </a:cubicBezTo>
                  <a:cubicBezTo>
                    <a:pt x="45" y="1495"/>
                    <a:pt x="72" y="1512"/>
                    <a:pt x="106" y="1512"/>
                  </a:cubicBezTo>
                  <a:cubicBezTo>
                    <a:pt x="159" y="1512"/>
                    <a:pt x="201" y="1469"/>
                    <a:pt x="201" y="1412"/>
                  </a:cubicBezTo>
                  <a:cubicBezTo>
                    <a:pt x="201" y="1354"/>
                    <a:pt x="161" y="1312"/>
                    <a:pt x="101" y="1312"/>
                  </a:cubicBezTo>
                  <a:close/>
                  <a:moveTo>
                    <a:pt x="99" y="1482"/>
                  </a:moveTo>
                  <a:cubicBezTo>
                    <a:pt x="58" y="1482"/>
                    <a:pt x="32" y="1452"/>
                    <a:pt x="32" y="1412"/>
                  </a:cubicBezTo>
                  <a:cubicBezTo>
                    <a:pt x="32" y="1372"/>
                    <a:pt x="58" y="1341"/>
                    <a:pt x="99" y="1341"/>
                  </a:cubicBezTo>
                  <a:cubicBezTo>
                    <a:pt x="140" y="1341"/>
                    <a:pt x="167" y="1372"/>
                    <a:pt x="167" y="1412"/>
                  </a:cubicBezTo>
                  <a:cubicBezTo>
                    <a:pt x="167" y="1452"/>
                    <a:pt x="140" y="1482"/>
                    <a:pt x="99" y="1482"/>
                  </a:cubicBezTo>
                  <a:close/>
                  <a:moveTo>
                    <a:pt x="333" y="1312"/>
                  </a:moveTo>
                  <a:cubicBezTo>
                    <a:pt x="275" y="1312"/>
                    <a:pt x="232" y="1352"/>
                    <a:pt x="232" y="1412"/>
                  </a:cubicBezTo>
                  <a:cubicBezTo>
                    <a:pt x="232" y="1471"/>
                    <a:pt x="275" y="1512"/>
                    <a:pt x="333" y="1512"/>
                  </a:cubicBezTo>
                  <a:cubicBezTo>
                    <a:pt x="392" y="1512"/>
                    <a:pt x="435" y="1471"/>
                    <a:pt x="435" y="1412"/>
                  </a:cubicBezTo>
                  <a:cubicBezTo>
                    <a:pt x="435" y="1352"/>
                    <a:pt x="392" y="1312"/>
                    <a:pt x="333" y="1312"/>
                  </a:cubicBezTo>
                  <a:close/>
                  <a:moveTo>
                    <a:pt x="333" y="1482"/>
                  </a:moveTo>
                  <a:cubicBezTo>
                    <a:pt x="292" y="1482"/>
                    <a:pt x="266" y="1452"/>
                    <a:pt x="266" y="1412"/>
                  </a:cubicBezTo>
                  <a:cubicBezTo>
                    <a:pt x="266" y="1372"/>
                    <a:pt x="292" y="1341"/>
                    <a:pt x="333" y="1341"/>
                  </a:cubicBezTo>
                  <a:cubicBezTo>
                    <a:pt x="374" y="1341"/>
                    <a:pt x="401" y="1372"/>
                    <a:pt x="401" y="1412"/>
                  </a:cubicBezTo>
                  <a:cubicBezTo>
                    <a:pt x="401" y="1452"/>
                    <a:pt x="374" y="1482"/>
                    <a:pt x="333" y="1482"/>
                  </a:cubicBezTo>
                  <a:close/>
                  <a:moveTo>
                    <a:pt x="638" y="1462"/>
                  </a:moveTo>
                  <a:cubicBezTo>
                    <a:pt x="638" y="1479"/>
                    <a:pt x="640" y="1494"/>
                    <a:pt x="640" y="1507"/>
                  </a:cubicBezTo>
                  <a:cubicBezTo>
                    <a:pt x="610" y="1507"/>
                    <a:pt x="610" y="1507"/>
                    <a:pt x="610" y="1507"/>
                  </a:cubicBezTo>
                  <a:cubicBezTo>
                    <a:pt x="610" y="1497"/>
                    <a:pt x="609" y="1486"/>
                    <a:pt x="609" y="1476"/>
                  </a:cubicBezTo>
                  <a:cubicBezTo>
                    <a:pt x="608" y="1476"/>
                    <a:pt x="608" y="1476"/>
                    <a:pt x="608" y="1476"/>
                  </a:cubicBezTo>
                  <a:cubicBezTo>
                    <a:pt x="599" y="1494"/>
                    <a:pt x="576" y="1512"/>
                    <a:pt x="545" y="1512"/>
                  </a:cubicBezTo>
                  <a:cubicBezTo>
                    <a:pt x="495" y="1512"/>
                    <a:pt x="472" y="1480"/>
                    <a:pt x="472" y="1434"/>
                  </a:cubicBezTo>
                  <a:cubicBezTo>
                    <a:pt x="472" y="1317"/>
                    <a:pt x="472" y="1317"/>
                    <a:pt x="472" y="1317"/>
                  </a:cubicBezTo>
                  <a:cubicBezTo>
                    <a:pt x="504" y="1317"/>
                    <a:pt x="504" y="1317"/>
                    <a:pt x="504" y="1317"/>
                  </a:cubicBezTo>
                  <a:cubicBezTo>
                    <a:pt x="504" y="1431"/>
                    <a:pt x="504" y="1431"/>
                    <a:pt x="504" y="1431"/>
                  </a:cubicBezTo>
                  <a:cubicBezTo>
                    <a:pt x="504" y="1462"/>
                    <a:pt x="518" y="1482"/>
                    <a:pt x="547" y="1482"/>
                  </a:cubicBezTo>
                  <a:cubicBezTo>
                    <a:pt x="588" y="1482"/>
                    <a:pt x="606" y="1453"/>
                    <a:pt x="606" y="1409"/>
                  </a:cubicBezTo>
                  <a:cubicBezTo>
                    <a:pt x="606" y="1317"/>
                    <a:pt x="606" y="1317"/>
                    <a:pt x="606" y="1317"/>
                  </a:cubicBezTo>
                  <a:cubicBezTo>
                    <a:pt x="638" y="1317"/>
                    <a:pt x="638" y="1317"/>
                    <a:pt x="638" y="1317"/>
                  </a:cubicBezTo>
                  <a:lnTo>
                    <a:pt x="638" y="1462"/>
                  </a:lnTo>
                  <a:close/>
                  <a:moveTo>
                    <a:pt x="1032" y="1281"/>
                  </a:moveTo>
                  <a:cubicBezTo>
                    <a:pt x="1032" y="1317"/>
                    <a:pt x="1032" y="1317"/>
                    <a:pt x="1032" y="1317"/>
                  </a:cubicBezTo>
                  <a:cubicBezTo>
                    <a:pt x="1078" y="1317"/>
                    <a:pt x="1078" y="1317"/>
                    <a:pt x="1078" y="1317"/>
                  </a:cubicBezTo>
                  <a:cubicBezTo>
                    <a:pt x="1078" y="1343"/>
                    <a:pt x="1078" y="1343"/>
                    <a:pt x="1078" y="1343"/>
                  </a:cubicBezTo>
                  <a:cubicBezTo>
                    <a:pt x="1032" y="1343"/>
                    <a:pt x="1032" y="1343"/>
                    <a:pt x="1032" y="1343"/>
                  </a:cubicBezTo>
                  <a:cubicBezTo>
                    <a:pt x="1032" y="1507"/>
                    <a:pt x="1032" y="1507"/>
                    <a:pt x="1032" y="1507"/>
                  </a:cubicBezTo>
                  <a:cubicBezTo>
                    <a:pt x="1000" y="1507"/>
                    <a:pt x="1000" y="1507"/>
                    <a:pt x="1000" y="1507"/>
                  </a:cubicBezTo>
                  <a:cubicBezTo>
                    <a:pt x="1000" y="1343"/>
                    <a:pt x="1000" y="1343"/>
                    <a:pt x="1000" y="1343"/>
                  </a:cubicBezTo>
                  <a:cubicBezTo>
                    <a:pt x="953" y="1343"/>
                    <a:pt x="953" y="1343"/>
                    <a:pt x="953" y="1343"/>
                  </a:cubicBezTo>
                  <a:cubicBezTo>
                    <a:pt x="953" y="1343"/>
                    <a:pt x="953" y="1343"/>
                    <a:pt x="953" y="1343"/>
                  </a:cubicBezTo>
                  <a:cubicBezTo>
                    <a:pt x="900" y="1507"/>
                    <a:pt x="900" y="1507"/>
                    <a:pt x="900" y="1507"/>
                  </a:cubicBezTo>
                  <a:cubicBezTo>
                    <a:pt x="869" y="1507"/>
                    <a:pt x="869" y="1507"/>
                    <a:pt x="869" y="1507"/>
                  </a:cubicBezTo>
                  <a:cubicBezTo>
                    <a:pt x="815" y="1361"/>
                    <a:pt x="815" y="1361"/>
                    <a:pt x="815" y="1361"/>
                  </a:cubicBezTo>
                  <a:cubicBezTo>
                    <a:pt x="814" y="1361"/>
                    <a:pt x="814" y="1361"/>
                    <a:pt x="814" y="1361"/>
                  </a:cubicBezTo>
                  <a:cubicBezTo>
                    <a:pt x="766" y="1507"/>
                    <a:pt x="766" y="1507"/>
                    <a:pt x="766" y="1507"/>
                  </a:cubicBezTo>
                  <a:cubicBezTo>
                    <a:pt x="733" y="1507"/>
                    <a:pt x="733" y="1507"/>
                    <a:pt x="733" y="1507"/>
                  </a:cubicBezTo>
                  <a:cubicBezTo>
                    <a:pt x="671" y="1317"/>
                    <a:pt x="671" y="1317"/>
                    <a:pt x="671" y="1317"/>
                  </a:cubicBezTo>
                  <a:cubicBezTo>
                    <a:pt x="706" y="1317"/>
                    <a:pt x="706" y="1317"/>
                    <a:pt x="706" y="1317"/>
                  </a:cubicBezTo>
                  <a:cubicBezTo>
                    <a:pt x="750" y="1463"/>
                    <a:pt x="750" y="1463"/>
                    <a:pt x="750" y="1463"/>
                  </a:cubicBezTo>
                  <a:cubicBezTo>
                    <a:pt x="751" y="1463"/>
                    <a:pt x="751" y="1463"/>
                    <a:pt x="751" y="1463"/>
                  </a:cubicBezTo>
                  <a:cubicBezTo>
                    <a:pt x="800" y="1317"/>
                    <a:pt x="800" y="1317"/>
                    <a:pt x="800" y="1317"/>
                  </a:cubicBezTo>
                  <a:cubicBezTo>
                    <a:pt x="833" y="1317"/>
                    <a:pt x="833" y="1317"/>
                    <a:pt x="833" y="1317"/>
                  </a:cubicBezTo>
                  <a:cubicBezTo>
                    <a:pt x="883" y="1463"/>
                    <a:pt x="883" y="1463"/>
                    <a:pt x="883" y="1463"/>
                  </a:cubicBezTo>
                  <a:cubicBezTo>
                    <a:pt x="884" y="1463"/>
                    <a:pt x="884" y="1463"/>
                    <a:pt x="884" y="1463"/>
                  </a:cubicBezTo>
                  <a:cubicBezTo>
                    <a:pt x="927" y="1317"/>
                    <a:pt x="927" y="1317"/>
                    <a:pt x="927" y="1317"/>
                  </a:cubicBezTo>
                  <a:cubicBezTo>
                    <a:pt x="953" y="1317"/>
                    <a:pt x="953" y="1317"/>
                    <a:pt x="953" y="1317"/>
                  </a:cubicBezTo>
                  <a:cubicBezTo>
                    <a:pt x="961" y="1317"/>
                    <a:pt x="961" y="1317"/>
                    <a:pt x="961" y="1317"/>
                  </a:cubicBezTo>
                  <a:cubicBezTo>
                    <a:pt x="1000" y="1317"/>
                    <a:pt x="1000" y="1317"/>
                    <a:pt x="1000" y="1317"/>
                  </a:cubicBezTo>
                  <a:cubicBezTo>
                    <a:pt x="1000" y="1274"/>
                    <a:pt x="1000" y="1274"/>
                    <a:pt x="1000" y="1274"/>
                  </a:cubicBezTo>
                  <a:cubicBezTo>
                    <a:pt x="1000" y="1228"/>
                    <a:pt x="1016" y="1195"/>
                    <a:pt x="1068" y="1195"/>
                  </a:cubicBezTo>
                  <a:cubicBezTo>
                    <a:pt x="1076" y="1195"/>
                    <a:pt x="1086" y="1196"/>
                    <a:pt x="1092" y="1200"/>
                  </a:cubicBezTo>
                  <a:cubicBezTo>
                    <a:pt x="1088" y="1228"/>
                    <a:pt x="1088" y="1228"/>
                    <a:pt x="1088" y="1228"/>
                  </a:cubicBezTo>
                  <a:cubicBezTo>
                    <a:pt x="1081" y="1226"/>
                    <a:pt x="1073" y="1224"/>
                    <a:pt x="1066" y="1224"/>
                  </a:cubicBezTo>
                  <a:cubicBezTo>
                    <a:pt x="1033" y="1224"/>
                    <a:pt x="1032" y="1248"/>
                    <a:pt x="1032" y="1281"/>
                  </a:cubicBezTo>
                  <a:close/>
                  <a:moveTo>
                    <a:pt x="1191" y="1312"/>
                  </a:moveTo>
                  <a:cubicBezTo>
                    <a:pt x="1133" y="1312"/>
                    <a:pt x="1090" y="1352"/>
                    <a:pt x="1090" y="1412"/>
                  </a:cubicBezTo>
                  <a:cubicBezTo>
                    <a:pt x="1090" y="1471"/>
                    <a:pt x="1133" y="1512"/>
                    <a:pt x="1191" y="1512"/>
                  </a:cubicBezTo>
                  <a:cubicBezTo>
                    <a:pt x="1250" y="1512"/>
                    <a:pt x="1293" y="1471"/>
                    <a:pt x="1293" y="1412"/>
                  </a:cubicBezTo>
                  <a:cubicBezTo>
                    <a:pt x="1293" y="1352"/>
                    <a:pt x="1250" y="1312"/>
                    <a:pt x="1191" y="1312"/>
                  </a:cubicBezTo>
                  <a:close/>
                  <a:moveTo>
                    <a:pt x="1191" y="1482"/>
                  </a:moveTo>
                  <a:cubicBezTo>
                    <a:pt x="1150" y="1482"/>
                    <a:pt x="1124" y="1452"/>
                    <a:pt x="1124" y="1412"/>
                  </a:cubicBezTo>
                  <a:cubicBezTo>
                    <a:pt x="1124" y="1372"/>
                    <a:pt x="1150" y="1341"/>
                    <a:pt x="1191" y="1341"/>
                  </a:cubicBezTo>
                  <a:cubicBezTo>
                    <a:pt x="1233" y="1341"/>
                    <a:pt x="1259" y="1372"/>
                    <a:pt x="1259" y="1412"/>
                  </a:cubicBezTo>
                  <a:cubicBezTo>
                    <a:pt x="1259" y="1452"/>
                    <a:pt x="1233" y="1482"/>
                    <a:pt x="1191" y="1482"/>
                  </a:cubicBezTo>
                  <a:close/>
                  <a:moveTo>
                    <a:pt x="1497" y="1389"/>
                  </a:moveTo>
                  <a:cubicBezTo>
                    <a:pt x="1497" y="1507"/>
                    <a:pt x="1497" y="1507"/>
                    <a:pt x="1497" y="1507"/>
                  </a:cubicBezTo>
                  <a:cubicBezTo>
                    <a:pt x="1465" y="1507"/>
                    <a:pt x="1465" y="1507"/>
                    <a:pt x="1465" y="1507"/>
                  </a:cubicBezTo>
                  <a:cubicBezTo>
                    <a:pt x="1465" y="1393"/>
                    <a:pt x="1465" y="1393"/>
                    <a:pt x="1465" y="1393"/>
                  </a:cubicBezTo>
                  <a:cubicBezTo>
                    <a:pt x="1465" y="1361"/>
                    <a:pt x="1452" y="1341"/>
                    <a:pt x="1422" y="1341"/>
                  </a:cubicBezTo>
                  <a:cubicBezTo>
                    <a:pt x="1381" y="1341"/>
                    <a:pt x="1363" y="1371"/>
                    <a:pt x="1363" y="1414"/>
                  </a:cubicBezTo>
                  <a:cubicBezTo>
                    <a:pt x="1363" y="1507"/>
                    <a:pt x="1363" y="1507"/>
                    <a:pt x="1363" y="1507"/>
                  </a:cubicBezTo>
                  <a:cubicBezTo>
                    <a:pt x="1331" y="1507"/>
                    <a:pt x="1331" y="1507"/>
                    <a:pt x="1331" y="1507"/>
                  </a:cubicBezTo>
                  <a:cubicBezTo>
                    <a:pt x="1331" y="1362"/>
                    <a:pt x="1331" y="1362"/>
                    <a:pt x="1331" y="1362"/>
                  </a:cubicBezTo>
                  <a:cubicBezTo>
                    <a:pt x="1331" y="1344"/>
                    <a:pt x="1330" y="1329"/>
                    <a:pt x="1330" y="1317"/>
                  </a:cubicBezTo>
                  <a:cubicBezTo>
                    <a:pt x="1360" y="1317"/>
                    <a:pt x="1360" y="1317"/>
                    <a:pt x="1360" y="1317"/>
                  </a:cubicBezTo>
                  <a:cubicBezTo>
                    <a:pt x="1360" y="1327"/>
                    <a:pt x="1360" y="1337"/>
                    <a:pt x="1360" y="1348"/>
                  </a:cubicBezTo>
                  <a:cubicBezTo>
                    <a:pt x="1361" y="1348"/>
                    <a:pt x="1361" y="1348"/>
                    <a:pt x="1361" y="1348"/>
                  </a:cubicBezTo>
                  <a:cubicBezTo>
                    <a:pt x="1370" y="1329"/>
                    <a:pt x="1393" y="1312"/>
                    <a:pt x="1425" y="1312"/>
                  </a:cubicBezTo>
                  <a:cubicBezTo>
                    <a:pt x="1475" y="1312"/>
                    <a:pt x="1497" y="1343"/>
                    <a:pt x="1497" y="1389"/>
                  </a:cubicBezTo>
                  <a:close/>
                  <a:moveTo>
                    <a:pt x="1707" y="1344"/>
                  </a:moveTo>
                  <a:cubicBezTo>
                    <a:pt x="1706" y="1344"/>
                    <a:pt x="1706" y="1344"/>
                    <a:pt x="1706" y="1344"/>
                  </a:cubicBezTo>
                  <a:cubicBezTo>
                    <a:pt x="1689" y="1324"/>
                    <a:pt x="1666" y="1312"/>
                    <a:pt x="1638" y="1312"/>
                  </a:cubicBezTo>
                  <a:cubicBezTo>
                    <a:pt x="1578" y="1312"/>
                    <a:pt x="1538" y="1354"/>
                    <a:pt x="1538" y="1412"/>
                  </a:cubicBezTo>
                  <a:cubicBezTo>
                    <a:pt x="1538" y="1469"/>
                    <a:pt x="1580" y="1512"/>
                    <a:pt x="1633" y="1512"/>
                  </a:cubicBezTo>
                  <a:cubicBezTo>
                    <a:pt x="1667" y="1512"/>
                    <a:pt x="1695" y="1495"/>
                    <a:pt x="1706" y="1473"/>
                  </a:cubicBezTo>
                  <a:cubicBezTo>
                    <a:pt x="1707" y="1473"/>
                    <a:pt x="1707" y="1473"/>
                    <a:pt x="1707" y="1473"/>
                  </a:cubicBezTo>
                  <a:cubicBezTo>
                    <a:pt x="1707" y="1507"/>
                    <a:pt x="1707" y="1507"/>
                    <a:pt x="1707" y="1507"/>
                  </a:cubicBezTo>
                  <a:cubicBezTo>
                    <a:pt x="1739" y="1507"/>
                    <a:pt x="1739" y="1507"/>
                    <a:pt x="1739" y="1507"/>
                  </a:cubicBezTo>
                  <a:cubicBezTo>
                    <a:pt x="1739" y="1200"/>
                    <a:pt x="1739" y="1200"/>
                    <a:pt x="1739" y="1200"/>
                  </a:cubicBezTo>
                  <a:cubicBezTo>
                    <a:pt x="1707" y="1200"/>
                    <a:pt x="1707" y="1200"/>
                    <a:pt x="1707" y="1200"/>
                  </a:cubicBezTo>
                  <a:lnTo>
                    <a:pt x="1707" y="1344"/>
                  </a:lnTo>
                  <a:close/>
                  <a:moveTo>
                    <a:pt x="1640" y="1482"/>
                  </a:moveTo>
                  <a:cubicBezTo>
                    <a:pt x="1599" y="1482"/>
                    <a:pt x="1572" y="1452"/>
                    <a:pt x="1572" y="1412"/>
                  </a:cubicBezTo>
                  <a:cubicBezTo>
                    <a:pt x="1572" y="1372"/>
                    <a:pt x="1599" y="1341"/>
                    <a:pt x="1640" y="1341"/>
                  </a:cubicBezTo>
                  <a:cubicBezTo>
                    <a:pt x="1681" y="1341"/>
                    <a:pt x="1707" y="1372"/>
                    <a:pt x="1707" y="1412"/>
                  </a:cubicBezTo>
                  <a:cubicBezTo>
                    <a:pt x="1707" y="1452"/>
                    <a:pt x="1681" y="1482"/>
                    <a:pt x="1640" y="1482"/>
                  </a:cubicBezTo>
                  <a:close/>
                  <a:moveTo>
                    <a:pt x="1930" y="1452"/>
                  </a:moveTo>
                  <a:cubicBezTo>
                    <a:pt x="1930" y="1495"/>
                    <a:pt x="1891" y="1512"/>
                    <a:pt x="1854" y="1512"/>
                  </a:cubicBezTo>
                  <a:cubicBezTo>
                    <a:pt x="1821" y="1512"/>
                    <a:pt x="1798" y="1503"/>
                    <a:pt x="1780" y="1476"/>
                  </a:cubicBezTo>
                  <a:cubicBezTo>
                    <a:pt x="1805" y="1457"/>
                    <a:pt x="1805" y="1457"/>
                    <a:pt x="1805" y="1457"/>
                  </a:cubicBezTo>
                  <a:cubicBezTo>
                    <a:pt x="1817" y="1472"/>
                    <a:pt x="1831" y="1482"/>
                    <a:pt x="1854" y="1482"/>
                  </a:cubicBezTo>
                  <a:cubicBezTo>
                    <a:pt x="1873" y="1482"/>
                    <a:pt x="1895" y="1474"/>
                    <a:pt x="1895" y="1453"/>
                  </a:cubicBezTo>
                  <a:cubicBezTo>
                    <a:pt x="1895" y="1433"/>
                    <a:pt x="1875" y="1428"/>
                    <a:pt x="1855" y="1423"/>
                  </a:cubicBezTo>
                  <a:cubicBezTo>
                    <a:pt x="1819" y="1415"/>
                    <a:pt x="1788" y="1407"/>
                    <a:pt x="1788" y="1368"/>
                  </a:cubicBezTo>
                  <a:cubicBezTo>
                    <a:pt x="1788" y="1331"/>
                    <a:pt x="1823" y="1312"/>
                    <a:pt x="1859" y="1312"/>
                  </a:cubicBezTo>
                  <a:cubicBezTo>
                    <a:pt x="1886" y="1312"/>
                    <a:pt x="1910" y="1322"/>
                    <a:pt x="1923" y="1346"/>
                  </a:cubicBezTo>
                  <a:cubicBezTo>
                    <a:pt x="1897" y="1364"/>
                    <a:pt x="1897" y="1364"/>
                    <a:pt x="1897" y="1364"/>
                  </a:cubicBezTo>
                  <a:cubicBezTo>
                    <a:pt x="1889" y="1350"/>
                    <a:pt x="1875" y="1341"/>
                    <a:pt x="1857" y="1341"/>
                  </a:cubicBezTo>
                  <a:cubicBezTo>
                    <a:pt x="1839" y="1341"/>
                    <a:pt x="1819" y="1350"/>
                    <a:pt x="1819" y="1367"/>
                  </a:cubicBezTo>
                  <a:cubicBezTo>
                    <a:pt x="1819" y="1383"/>
                    <a:pt x="1842" y="1390"/>
                    <a:pt x="1867" y="1395"/>
                  </a:cubicBezTo>
                  <a:cubicBezTo>
                    <a:pt x="1901" y="1402"/>
                    <a:pt x="1930" y="1414"/>
                    <a:pt x="1930" y="14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19" name="Freeform 22">
              <a:extLst>
                <a:ext uri="{FF2B5EF4-FFF2-40B4-BE49-F238E27FC236}">
                  <a16:creationId xmlns:a16="http://schemas.microsoft.com/office/drawing/2014/main" id="{056F825F-F1D7-4C48-9C9A-4621405E9A59}"/>
                </a:ext>
              </a:extLst>
            </p:cNvPr>
            <p:cNvSpPr>
              <a:spLocks noSelect="1"/>
            </p:cNvSpPr>
            <p:nvPr userDrawn="1"/>
          </p:nvSpPr>
          <p:spPr bwMode="gray">
            <a:xfrm>
              <a:off x="402" y="3915"/>
              <a:ext cx="124" cy="124"/>
            </a:xfrm>
            <a:custGeom>
              <a:avLst/>
              <a:gdLst>
                <a:gd name="T0" fmla="*/ 124 w 124"/>
                <a:gd name="T1" fmla="*/ 80 h 124"/>
                <a:gd name="T2" fmla="*/ 80 w 124"/>
                <a:gd name="T3" fmla="*/ 124 h 124"/>
                <a:gd name="T4" fmla="*/ 0 w 124"/>
                <a:gd name="T5" fmla="*/ 44 h 124"/>
                <a:gd name="T6" fmla="*/ 43 w 124"/>
                <a:gd name="T7" fmla="*/ 0 h 124"/>
                <a:gd name="T8" fmla="*/ 84 w 124"/>
                <a:gd name="T9" fmla="*/ 40 h 124"/>
                <a:gd name="T10" fmla="*/ 124 w 124"/>
                <a:gd name="T11" fmla="*/ 80 h 124"/>
              </a:gdLst>
              <a:ahLst/>
              <a:cxnLst>
                <a:cxn ang="0">
                  <a:pos x="T0" y="T1"/>
                </a:cxn>
                <a:cxn ang="0">
                  <a:pos x="T2" y="T3"/>
                </a:cxn>
                <a:cxn ang="0">
                  <a:pos x="T4" y="T5"/>
                </a:cxn>
                <a:cxn ang="0">
                  <a:pos x="T6" y="T7"/>
                </a:cxn>
                <a:cxn ang="0">
                  <a:pos x="T8" y="T9"/>
                </a:cxn>
                <a:cxn ang="0">
                  <a:pos x="T10" y="T11"/>
                </a:cxn>
              </a:cxnLst>
              <a:rect l="0" t="0" r="r" b="b"/>
              <a:pathLst>
                <a:path w="124" h="124">
                  <a:moveTo>
                    <a:pt x="124" y="80"/>
                  </a:moveTo>
                  <a:lnTo>
                    <a:pt x="80" y="124"/>
                  </a:lnTo>
                  <a:lnTo>
                    <a:pt x="0" y="44"/>
                  </a:lnTo>
                  <a:lnTo>
                    <a:pt x="43" y="0"/>
                  </a:lnTo>
                  <a:lnTo>
                    <a:pt x="84" y="40"/>
                  </a:lnTo>
                  <a:lnTo>
                    <a:pt x="124" y="80"/>
                  </a:lnTo>
                  <a:close/>
                </a:path>
              </a:pathLst>
            </a:custGeom>
            <a:solidFill>
              <a:srgbClr val="C737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0" name="Freeform 23">
              <a:extLst>
                <a:ext uri="{FF2B5EF4-FFF2-40B4-BE49-F238E27FC236}">
                  <a16:creationId xmlns:a16="http://schemas.microsoft.com/office/drawing/2014/main" id="{20761D69-0BF0-4357-8229-0996157BCDCD}"/>
                </a:ext>
              </a:extLst>
            </p:cNvPr>
            <p:cNvSpPr>
              <a:spLocks noSelect="1"/>
            </p:cNvSpPr>
            <p:nvPr userDrawn="1"/>
          </p:nvSpPr>
          <p:spPr bwMode="gray">
            <a:xfrm>
              <a:off x="438" y="3873"/>
              <a:ext cx="124" cy="89"/>
            </a:xfrm>
            <a:custGeom>
              <a:avLst/>
              <a:gdLst>
                <a:gd name="T0" fmla="*/ 124 w 124"/>
                <a:gd name="T1" fmla="*/ 6 h 89"/>
                <a:gd name="T2" fmla="*/ 120 w 124"/>
                <a:gd name="T3" fmla="*/ 14 h 89"/>
                <a:gd name="T4" fmla="*/ 47 w 124"/>
                <a:gd name="T5" fmla="*/ 89 h 89"/>
                <a:gd name="T6" fmla="*/ 0 w 124"/>
                <a:gd name="T7" fmla="*/ 41 h 89"/>
                <a:gd name="T8" fmla="*/ 44 w 124"/>
                <a:gd name="T9" fmla="*/ 0 h 89"/>
                <a:gd name="T10" fmla="*/ 124 w 124"/>
                <a:gd name="T11" fmla="*/ 6 h 89"/>
              </a:gdLst>
              <a:ahLst/>
              <a:cxnLst>
                <a:cxn ang="0">
                  <a:pos x="T0" y="T1"/>
                </a:cxn>
                <a:cxn ang="0">
                  <a:pos x="T2" y="T3"/>
                </a:cxn>
                <a:cxn ang="0">
                  <a:pos x="T4" y="T5"/>
                </a:cxn>
                <a:cxn ang="0">
                  <a:pos x="T6" y="T7"/>
                </a:cxn>
                <a:cxn ang="0">
                  <a:pos x="T8" y="T9"/>
                </a:cxn>
                <a:cxn ang="0">
                  <a:pos x="T10" y="T11"/>
                </a:cxn>
              </a:cxnLst>
              <a:rect l="0" t="0" r="r" b="b"/>
              <a:pathLst>
                <a:path w="124" h="89">
                  <a:moveTo>
                    <a:pt x="124" y="6"/>
                  </a:moveTo>
                  <a:lnTo>
                    <a:pt x="120" y="14"/>
                  </a:lnTo>
                  <a:lnTo>
                    <a:pt x="47" y="89"/>
                  </a:lnTo>
                  <a:lnTo>
                    <a:pt x="0" y="41"/>
                  </a:lnTo>
                  <a:lnTo>
                    <a:pt x="44" y="0"/>
                  </a:lnTo>
                  <a:lnTo>
                    <a:pt x="124" y="6"/>
                  </a:lnTo>
                  <a:close/>
                </a:path>
              </a:pathLst>
            </a:custGeom>
            <a:solidFill>
              <a:srgbClr val="9C1E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1" name="Freeform 24">
              <a:extLst>
                <a:ext uri="{FF2B5EF4-FFF2-40B4-BE49-F238E27FC236}">
                  <a16:creationId xmlns:a16="http://schemas.microsoft.com/office/drawing/2014/main" id="{4C3FBA13-5216-47D4-9895-D18AEC111867}"/>
                </a:ext>
              </a:extLst>
            </p:cNvPr>
            <p:cNvSpPr>
              <a:spLocks noSelect="1"/>
            </p:cNvSpPr>
            <p:nvPr userDrawn="1"/>
          </p:nvSpPr>
          <p:spPr bwMode="gray">
            <a:xfrm>
              <a:off x="482" y="3879"/>
              <a:ext cx="83" cy="122"/>
            </a:xfrm>
            <a:custGeom>
              <a:avLst/>
              <a:gdLst>
                <a:gd name="T0" fmla="*/ 80 w 83"/>
                <a:gd name="T1" fmla="*/ 0 h 122"/>
                <a:gd name="T2" fmla="*/ 83 w 83"/>
                <a:gd name="T3" fmla="*/ 80 h 122"/>
                <a:gd name="T4" fmla="*/ 42 w 83"/>
                <a:gd name="T5" fmla="*/ 122 h 122"/>
                <a:gd name="T6" fmla="*/ 0 w 83"/>
                <a:gd name="T7" fmla="*/ 80 h 122"/>
                <a:gd name="T8" fmla="*/ 80 w 83"/>
                <a:gd name="T9" fmla="*/ 0 h 122"/>
              </a:gdLst>
              <a:ahLst/>
              <a:cxnLst>
                <a:cxn ang="0">
                  <a:pos x="T0" y="T1"/>
                </a:cxn>
                <a:cxn ang="0">
                  <a:pos x="T2" y="T3"/>
                </a:cxn>
                <a:cxn ang="0">
                  <a:pos x="T4" y="T5"/>
                </a:cxn>
                <a:cxn ang="0">
                  <a:pos x="T6" y="T7"/>
                </a:cxn>
                <a:cxn ang="0">
                  <a:pos x="T8" y="T9"/>
                </a:cxn>
              </a:cxnLst>
              <a:rect l="0" t="0" r="r" b="b"/>
              <a:pathLst>
                <a:path w="83" h="122">
                  <a:moveTo>
                    <a:pt x="80" y="0"/>
                  </a:moveTo>
                  <a:lnTo>
                    <a:pt x="83" y="80"/>
                  </a:lnTo>
                  <a:lnTo>
                    <a:pt x="42" y="122"/>
                  </a:lnTo>
                  <a:lnTo>
                    <a:pt x="0" y="80"/>
                  </a:lnTo>
                  <a:lnTo>
                    <a:pt x="80" y="0"/>
                  </a:lnTo>
                  <a:close/>
                </a:path>
              </a:pathLst>
            </a:custGeom>
            <a:solidFill>
              <a:srgbClr val="C816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2" name="Freeform 25">
              <a:extLst>
                <a:ext uri="{FF2B5EF4-FFF2-40B4-BE49-F238E27FC236}">
                  <a16:creationId xmlns:a16="http://schemas.microsoft.com/office/drawing/2014/main" id="{63FE74A7-7D46-4DDA-9223-2CC2BBEA887D}"/>
                </a:ext>
              </a:extLst>
            </p:cNvPr>
            <p:cNvSpPr>
              <a:spLocks noSelect="1"/>
            </p:cNvSpPr>
            <p:nvPr userDrawn="1"/>
          </p:nvSpPr>
          <p:spPr bwMode="gray">
            <a:xfrm>
              <a:off x="522" y="3879"/>
              <a:ext cx="120" cy="160"/>
            </a:xfrm>
            <a:custGeom>
              <a:avLst/>
              <a:gdLst>
                <a:gd name="T0" fmla="*/ 120 w 120"/>
                <a:gd name="T1" fmla="*/ 0 h 160"/>
                <a:gd name="T2" fmla="*/ 120 w 120"/>
                <a:gd name="T3" fmla="*/ 80 h 160"/>
                <a:gd name="T4" fmla="*/ 40 w 120"/>
                <a:gd name="T5" fmla="*/ 160 h 160"/>
                <a:gd name="T6" fmla="*/ 0 w 120"/>
                <a:gd name="T7" fmla="*/ 120 h 160"/>
                <a:gd name="T8" fmla="*/ 40 w 120"/>
                <a:gd name="T9" fmla="*/ 80 h 160"/>
                <a:gd name="T10" fmla="*/ 40 w 120"/>
                <a:gd name="T11" fmla="*/ 0 h 160"/>
                <a:gd name="T12" fmla="*/ 120 w 120"/>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20" h="160">
                  <a:moveTo>
                    <a:pt x="120" y="0"/>
                  </a:moveTo>
                  <a:lnTo>
                    <a:pt x="120" y="80"/>
                  </a:lnTo>
                  <a:lnTo>
                    <a:pt x="40" y="160"/>
                  </a:lnTo>
                  <a:lnTo>
                    <a:pt x="0" y="120"/>
                  </a:lnTo>
                  <a:lnTo>
                    <a:pt x="40" y="80"/>
                  </a:lnTo>
                  <a:lnTo>
                    <a:pt x="40" y="0"/>
                  </a:lnTo>
                  <a:lnTo>
                    <a:pt x="120" y="0"/>
                  </a:lnTo>
                  <a:close/>
                </a:path>
              </a:pathLst>
            </a:custGeom>
            <a:solidFill>
              <a:srgbClr val="BFCE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3" name="Freeform 26">
              <a:extLst>
                <a:ext uri="{FF2B5EF4-FFF2-40B4-BE49-F238E27FC236}">
                  <a16:creationId xmlns:a16="http://schemas.microsoft.com/office/drawing/2014/main" id="{AE6F7C02-17F5-4A71-95E5-AB7D4FD984E8}"/>
                </a:ext>
              </a:extLst>
            </p:cNvPr>
            <p:cNvSpPr>
              <a:spLocks noSelect="1"/>
            </p:cNvSpPr>
            <p:nvPr userDrawn="1"/>
          </p:nvSpPr>
          <p:spPr bwMode="gray">
            <a:xfrm>
              <a:off x="402" y="3799"/>
              <a:ext cx="160" cy="120"/>
            </a:xfrm>
            <a:custGeom>
              <a:avLst/>
              <a:gdLst>
                <a:gd name="T0" fmla="*/ 160 w 160"/>
                <a:gd name="T1" fmla="*/ 0 h 120"/>
                <a:gd name="T2" fmla="*/ 160 w 160"/>
                <a:gd name="T3" fmla="*/ 80 h 120"/>
                <a:gd name="T4" fmla="*/ 80 w 160"/>
                <a:gd name="T5" fmla="*/ 80 h 120"/>
                <a:gd name="T6" fmla="*/ 40 w 160"/>
                <a:gd name="T7" fmla="*/ 120 h 120"/>
                <a:gd name="T8" fmla="*/ 0 w 160"/>
                <a:gd name="T9" fmla="*/ 80 h 120"/>
                <a:gd name="T10" fmla="*/ 80 w 160"/>
                <a:gd name="T11" fmla="*/ 0 h 120"/>
                <a:gd name="T12" fmla="*/ 160 w 160"/>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60" h="120">
                  <a:moveTo>
                    <a:pt x="160" y="0"/>
                  </a:moveTo>
                  <a:lnTo>
                    <a:pt x="160" y="80"/>
                  </a:lnTo>
                  <a:lnTo>
                    <a:pt x="80" y="80"/>
                  </a:lnTo>
                  <a:lnTo>
                    <a:pt x="40" y="120"/>
                  </a:lnTo>
                  <a:lnTo>
                    <a:pt x="0" y="80"/>
                  </a:lnTo>
                  <a:lnTo>
                    <a:pt x="80" y="0"/>
                  </a:lnTo>
                  <a:lnTo>
                    <a:pt x="160" y="0"/>
                  </a:lnTo>
                  <a:close/>
                </a:path>
              </a:pathLst>
            </a:custGeom>
            <a:solidFill>
              <a:srgbClr val="78BC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grpSp>
      <p:grpSp>
        <p:nvGrpSpPr>
          <p:cNvPr id="4" name="Groep 3"/>
          <p:cNvGrpSpPr>
            <a:grpSpLocks noSelect="1"/>
          </p:cNvGrpSpPr>
          <p:nvPr userDrawn="1"/>
        </p:nvGrpSpPr>
        <p:grpSpPr bwMode="gray">
          <a:xfrm>
            <a:off x="6478588" y="5715581"/>
            <a:ext cx="5716588" cy="1146175"/>
            <a:chOff x="6478588" y="5713200"/>
            <a:chExt cx="5716588" cy="1146175"/>
          </a:xfrm>
        </p:grpSpPr>
        <p:sp>
          <p:nvSpPr>
            <p:cNvPr id="25" name="---Onder grijs">
              <a:extLst>
                <a:ext uri="{FF2B5EF4-FFF2-40B4-BE49-F238E27FC236}">
                  <a16:creationId xmlns:a16="http://schemas.microsoft.com/office/drawing/2014/main" id="{2A16FA18-9949-499B-9868-DC6C119593BC}"/>
                </a:ext>
              </a:extLst>
            </p:cNvPr>
            <p:cNvSpPr>
              <a:spLocks noSelect="1"/>
            </p:cNvSpPr>
            <p:nvPr userDrawn="1"/>
          </p:nvSpPr>
          <p:spPr bwMode="gray">
            <a:xfrm>
              <a:off x="6478588" y="5713200"/>
              <a:ext cx="5716588" cy="1146175"/>
            </a:xfrm>
            <a:custGeom>
              <a:avLst/>
              <a:gdLst>
                <a:gd name="T0" fmla="*/ 4081 w 18004"/>
                <a:gd name="T1" fmla="*/ 69 h 3615"/>
                <a:gd name="T2" fmla="*/ 4999 w 18004"/>
                <a:gd name="T3" fmla="*/ 0 h 3615"/>
                <a:gd name="T4" fmla="*/ 4922 w 18004"/>
                <a:gd name="T5" fmla="*/ 564 h 3615"/>
                <a:gd name="T6" fmla="*/ 5139 w 18004"/>
                <a:gd name="T7" fmla="*/ 3404 h 3615"/>
                <a:gd name="T8" fmla="*/ 5117 w 18004"/>
                <a:gd name="T9" fmla="*/ 3600 h 3615"/>
                <a:gd name="T10" fmla="*/ 4520 w 18004"/>
                <a:gd name="T11" fmla="*/ 3310 h 3615"/>
                <a:gd name="T12" fmla="*/ 3509 w 18004"/>
                <a:gd name="T13" fmla="*/ 3411 h 3615"/>
                <a:gd name="T14" fmla="*/ 3318 w 18004"/>
                <a:gd name="T15" fmla="*/ 3258 h 3615"/>
                <a:gd name="T16" fmla="*/ 3293 w 18004"/>
                <a:gd name="T17" fmla="*/ 3107 h 3615"/>
                <a:gd name="T18" fmla="*/ 4189 w 18004"/>
                <a:gd name="T19" fmla="*/ 2929 h 3615"/>
                <a:gd name="T20" fmla="*/ 5553 w 18004"/>
                <a:gd name="T21" fmla="*/ 2498 h 3615"/>
                <a:gd name="T22" fmla="*/ 5134 w 18004"/>
                <a:gd name="T23" fmla="*/ 2164 h 3615"/>
                <a:gd name="T24" fmla="*/ 131 w 18004"/>
                <a:gd name="T25" fmla="*/ 2201 h 3615"/>
                <a:gd name="T26" fmla="*/ 191 w 18004"/>
                <a:gd name="T27" fmla="*/ 1972 h 3615"/>
                <a:gd name="T28" fmla="*/ 5445 w 18004"/>
                <a:gd name="T29" fmla="*/ 2827 h 3615"/>
                <a:gd name="T30" fmla="*/ 5083 w 18004"/>
                <a:gd name="T31" fmla="*/ 2970 h 3615"/>
                <a:gd name="T32" fmla="*/ 1260 w 18004"/>
                <a:gd name="T33" fmla="*/ 967 h 3615"/>
                <a:gd name="T34" fmla="*/ 1850 w 18004"/>
                <a:gd name="T35" fmla="*/ 455 h 3615"/>
                <a:gd name="T36" fmla="*/ 2989 w 18004"/>
                <a:gd name="T37" fmla="*/ 761 h 3615"/>
                <a:gd name="T38" fmla="*/ 2974 w 18004"/>
                <a:gd name="T39" fmla="*/ 832 h 3615"/>
                <a:gd name="T40" fmla="*/ 14992 w 18004"/>
                <a:gd name="T41" fmla="*/ 0 h 3615"/>
                <a:gd name="T42" fmla="*/ 13818 w 18004"/>
                <a:gd name="T43" fmla="*/ 328 h 3615"/>
                <a:gd name="T44" fmla="*/ 11201 w 18004"/>
                <a:gd name="T45" fmla="*/ 553 h 3615"/>
                <a:gd name="T46" fmla="*/ 10915 w 18004"/>
                <a:gd name="T47" fmla="*/ 574 h 3615"/>
                <a:gd name="T48" fmla="*/ 9185 w 18004"/>
                <a:gd name="T49" fmla="*/ 270 h 3615"/>
                <a:gd name="T50" fmla="*/ 7684 w 18004"/>
                <a:gd name="T51" fmla="*/ 1941 h 3615"/>
                <a:gd name="T52" fmla="*/ 5023 w 18004"/>
                <a:gd name="T53" fmla="*/ 219 h 3615"/>
                <a:gd name="T54" fmla="*/ 4581 w 18004"/>
                <a:gd name="T55" fmla="*/ 160 h 3615"/>
                <a:gd name="T56" fmla="*/ 3894 w 18004"/>
                <a:gd name="T57" fmla="*/ 0 h 3615"/>
                <a:gd name="T58" fmla="*/ 3629 w 18004"/>
                <a:gd name="T59" fmla="*/ 130 h 3615"/>
                <a:gd name="T60" fmla="*/ 3932 w 18004"/>
                <a:gd name="T61" fmla="*/ 1715 h 3615"/>
                <a:gd name="T62" fmla="*/ 2644 w 18004"/>
                <a:gd name="T63" fmla="*/ 291 h 3615"/>
                <a:gd name="T64" fmla="*/ 2031 w 18004"/>
                <a:gd name="T65" fmla="*/ 788 h 3615"/>
                <a:gd name="T66" fmla="*/ 1231 w 18004"/>
                <a:gd name="T67" fmla="*/ 3438 h 3615"/>
                <a:gd name="T68" fmla="*/ 2824 w 18004"/>
                <a:gd name="T69" fmla="*/ 2477 h 3615"/>
                <a:gd name="T70" fmla="*/ 3349 w 18004"/>
                <a:gd name="T71" fmla="*/ 3566 h 3615"/>
                <a:gd name="T72" fmla="*/ 4923 w 18004"/>
                <a:gd name="T73" fmla="*/ 1907 h 3615"/>
                <a:gd name="T74" fmla="*/ 5580 w 18004"/>
                <a:gd name="T75" fmla="*/ 3534 h 3615"/>
                <a:gd name="T76" fmla="*/ 7546 w 18004"/>
                <a:gd name="T77" fmla="*/ 3600 h 3615"/>
                <a:gd name="T78" fmla="*/ 11144 w 18004"/>
                <a:gd name="T79" fmla="*/ 2799 h 3615"/>
                <a:gd name="T80" fmla="*/ 15308 w 18004"/>
                <a:gd name="T81" fmla="*/ 3532 h 3615"/>
                <a:gd name="T82" fmla="*/ 17257 w 18004"/>
                <a:gd name="T83" fmla="*/ 2238 h 3615"/>
                <a:gd name="T84" fmla="*/ 17477 w 18004"/>
                <a:gd name="T85" fmla="*/ 2376 h 3615"/>
                <a:gd name="T86" fmla="*/ 3078 w 18004"/>
                <a:gd name="T87" fmla="*/ 342 h 3615"/>
                <a:gd name="T88" fmla="*/ 2516 w 18004"/>
                <a:gd name="T89" fmla="*/ 425 h 3615"/>
                <a:gd name="T90" fmla="*/ 3403 w 18004"/>
                <a:gd name="T91" fmla="*/ 1858 h 3615"/>
                <a:gd name="T92" fmla="*/ 2351 w 18004"/>
                <a:gd name="T93" fmla="*/ 1567 h 3615"/>
                <a:gd name="T94" fmla="*/ 3095 w 18004"/>
                <a:gd name="T95" fmla="*/ 1820 h 3615"/>
                <a:gd name="T96" fmla="*/ 4144 w 18004"/>
                <a:gd name="T97" fmla="*/ 1955 h 3615"/>
                <a:gd name="T98" fmla="*/ 3814 w 18004"/>
                <a:gd name="T99" fmla="*/ 2784 h 3615"/>
                <a:gd name="T100" fmla="*/ 3970 w 18004"/>
                <a:gd name="T101" fmla="*/ 2899 h 3615"/>
                <a:gd name="T102" fmla="*/ 3602 w 18004"/>
                <a:gd name="T103" fmla="*/ 3224 h 3615"/>
                <a:gd name="T104" fmla="*/ 4289 w 18004"/>
                <a:gd name="T105" fmla="*/ 3336 h 3615"/>
                <a:gd name="T106" fmla="*/ 3844 w 18004"/>
                <a:gd name="T107" fmla="*/ 2396 h 3615"/>
                <a:gd name="T108" fmla="*/ 4974 w 18004"/>
                <a:gd name="T109" fmla="*/ 3218 h 3615"/>
                <a:gd name="T110" fmla="*/ 6695 w 18004"/>
                <a:gd name="T111" fmla="*/ 1906 h 3615"/>
                <a:gd name="T112" fmla="*/ 10817 w 18004"/>
                <a:gd name="T113" fmla="*/ 606 h 3615"/>
                <a:gd name="T114" fmla="*/ 11184 w 18004"/>
                <a:gd name="T115" fmla="*/ 541 h 3615"/>
                <a:gd name="T116" fmla="*/ 7822 w 18004"/>
                <a:gd name="T117" fmla="*/ 958 h 3615"/>
                <a:gd name="T118" fmla="*/ 9048 w 18004"/>
                <a:gd name="T119" fmla="*/ 1695 h 3615"/>
                <a:gd name="T120" fmla="*/ 12939 w 18004"/>
                <a:gd name="T121" fmla="*/ 2718 h 3615"/>
                <a:gd name="T122" fmla="*/ 101 w 18004"/>
                <a:gd name="T123" fmla="*/ 552 h 3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04" h="3615">
                  <a:moveTo>
                    <a:pt x="3946" y="222"/>
                  </a:moveTo>
                  <a:cubicBezTo>
                    <a:pt x="3999" y="168"/>
                    <a:pt x="3999" y="168"/>
                    <a:pt x="3999" y="168"/>
                  </a:cubicBezTo>
                  <a:cubicBezTo>
                    <a:pt x="4051" y="219"/>
                    <a:pt x="4051" y="219"/>
                    <a:pt x="4051" y="219"/>
                  </a:cubicBezTo>
                  <a:cubicBezTo>
                    <a:pt x="4150" y="118"/>
                    <a:pt x="4150" y="118"/>
                    <a:pt x="4150" y="118"/>
                  </a:cubicBezTo>
                  <a:cubicBezTo>
                    <a:pt x="4081" y="51"/>
                    <a:pt x="4081" y="51"/>
                    <a:pt x="4081" y="51"/>
                  </a:cubicBezTo>
                  <a:cubicBezTo>
                    <a:pt x="4076" y="55"/>
                    <a:pt x="4076" y="55"/>
                    <a:pt x="4076" y="55"/>
                  </a:cubicBezTo>
                  <a:cubicBezTo>
                    <a:pt x="4068" y="64"/>
                    <a:pt x="4068" y="64"/>
                    <a:pt x="4068" y="64"/>
                  </a:cubicBezTo>
                  <a:cubicBezTo>
                    <a:pt x="4033" y="29"/>
                    <a:pt x="4033" y="29"/>
                    <a:pt x="4033" y="29"/>
                  </a:cubicBezTo>
                  <a:cubicBezTo>
                    <a:pt x="3896" y="164"/>
                    <a:pt x="3896" y="164"/>
                    <a:pt x="3896" y="164"/>
                  </a:cubicBezTo>
                  <a:cubicBezTo>
                    <a:pt x="3892" y="169"/>
                    <a:pt x="3892" y="169"/>
                    <a:pt x="3892" y="169"/>
                  </a:cubicBezTo>
                  <a:lnTo>
                    <a:pt x="3946" y="222"/>
                  </a:lnTo>
                  <a:close/>
                  <a:moveTo>
                    <a:pt x="4033" y="47"/>
                  </a:moveTo>
                  <a:cubicBezTo>
                    <a:pt x="4068" y="82"/>
                    <a:pt x="4068" y="82"/>
                    <a:pt x="4068" y="82"/>
                  </a:cubicBezTo>
                  <a:cubicBezTo>
                    <a:pt x="4073" y="78"/>
                    <a:pt x="4073" y="78"/>
                    <a:pt x="4073" y="78"/>
                  </a:cubicBezTo>
                  <a:cubicBezTo>
                    <a:pt x="4081" y="69"/>
                    <a:pt x="4081" y="69"/>
                    <a:pt x="4081" y="69"/>
                  </a:cubicBezTo>
                  <a:cubicBezTo>
                    <a:pt x="4131" y="119"/>
                    <a:pt x="4131" y="119"/>
                    <a:pt x="4131" y="119"/>
                  </a:cubicBezTo>
                  <a:cubicBezTo>
                    <a:pt x="4051" y="200"/>
                    <a:pt x="4051" y="200"/>
                    <a:pt x="4051" y="200"/>
                  </a:cubicBezTo>
                  <a:cubicBezTo>
                    <a:pt x="3999" y="149"/>
                    <a:pt x="3999" y="149"/>
                    <a:pt x="3999" y="149"/>
                  </a:cubicBezTo>
                  <a:cubicBezTo>
                    <a:pt x="3946" y="203"/>
                    <a:pt x="3946" y="203"/>
                    <a:pt x="3946" y="203"/>
                  </a:cubicBezTo>
                  <a:cubicBezTo>
                    <a:pt x="3910" y="169"/>
                    <a:pt x="3910" y="169"/>
                    <a:pt x="3910" y="169"/>
                  </a:cubicBezTo>
                  <a:lnTo>
                    <a:pt x="4033" y="47"/>
                  </a:lnTo>
                  <a:close/>
                  <a:moveTo>
                    <a:pt x="4831" y="23"/>
                  </a:moveTo>
                  <a:cubicBezTo>
                    <a:pt x="4831" y="0"/>
                    <a:pt x="4831" y="0"/>
                    <a:pt x="4831" y="0"/>
                  </a:cubicBezTo>
                  <a:cubicBezTo>
                    <a:pt x="4844" y="0"/>
                    <a:pt x="4844" y="0"/>
                    <a:pt x="4844" y="0"/>
                  </a:cubicBezTo>
                  <a:cubicBezTo>
                    <a:pt x="4844" y="16"/>
                    <a:pt x="4844" y="16"/>
                    <a:pt x="4844" y="16"/>
                  </a:cubicBezTo>
                  <a:cubicBezTo>
                    <a:pt x="4902" y="16"/>
                    <a:pt x="4902" y="16"/>
                    <a:pt x="4902" y="16"/>
                  </a:cubicBezTo>
                  <a:cubicBezTo>
                    <a:pt x="4902" y="89"/>
                    <a:pt x="4902" y="89"/>
                    <a:pt x="4902" y="89"/>
                  </a:cubicBezTo>
                  <a:cubicBezTo>
                    <a:pt x="4986" y="88"/>
                    <a:pt x="4986" y="88"/>
                    <a:pt x="4986" y="88"/>
                  </a:cubicBezTo>
                  <a:cubicBezTo>
                    <a:pt x="4985" y="0"/>
                    <a:pt x="4985" y="0"/>
                    <a:pt x="4985" y="0"/>
                  </a:cubicBezTo>
                  <a:cubicBezTo>
                    <a:pt x="4999" y="0"/>
                    <a:pt x="4999" y="0"/>
                    <a:pt x="4999" y="0"/>
                  </a:cubicBezTo>
                  <a:cubicBezTo>
                    <a:pt x="4999" y="101"/>
                    <a:pt x="4999" y="101"/>
                    <a:pt x="4999" y="101"/>
                  </a:cubicBezTo>
                  <a:cubicBezTo>
                    <a:pt x="4889" y="102"/>
                    <a:pt x="4889" y="102"/>
                    <a:pt x="4889" y="102"/>
                  </a:cubicBezTo>
                  <a:cubicBezTo>
                    <a:pt x="4889" y="29"/>
                    <a:pt x="4889" y="29"/>
                    <a:pt x="4889" y="29"/>
                  </a:cubicBezTo>
                  <a:cubicBezTo>
                    <a:pt x="4832" y="29"/>
                    <a:pt x="4832" y="29"/>
                    <a:pt x="4832" y="29"/>
                  </a:cubicBezTo>
                  <a:lnTo>
                    <a:pt x="4831" y="23"/>
                  </a:lnTo>
                  <a:close/>
                  <a:moveTo>
                    <a:pt x="4724" y="465"/>
                  </a:moveTo>
                  <a:cubicBezTo>
                    <a:pt x="4725" y="635"/>
                    <a:pt x="4725" y="635"/>
                    <a:pt x="4725" y="635"/>
                  </a:cubicBezTo>
                  <a:cubicBezTo>
                    <a:pt x="4810" y="636"/>
                    <a:pt x="4810" y="636"/>
                    <a:pt x="4810" y="636"/>
                  </a:cubicBezTo>
                  <a:cubicBezTo>
                    <a:pt x="4811" y="733"/>
                    <a:pt x="4811" y="733"/>
                    <a:pt x="4811" y="733"/>
                  </a:cubicBezTo>
                  <a:cubicBezTo>
                    <a:pt x="4933" y="733"/>
                    <a:pt x="4933" y="733"/>
                    <a:pt x="4933" y="733"/>
                  </a:cubicBezTo>
                  <a:cubicBezTo>
                    <a:pt x="4936" y="551"/>
                    <a:pt x="4936" y="551"/>
                    <a:pt x="4936" y="551"/>
                  </a:cubicBezTo>
                  <a:cubicBezTo>
                    <a:pt x="4852" y="550"/>
                    <a:pt x="4852" y="550"/>
                    <a:pt x="4852" y="550"/>
                  </a:cubicBezTo>
                  <a:cubicBezTo>
                    <a:pt x="4855" y="466"/>
                    <a:pt x="4855" y="466"/>
                    <a:pt x="4855" y="466"/>
                  </a:cubicBezTo>
                  <a:lnTo>
                    <a:pt x="4724" y="465"/>
                  </a:lnTo>
                  <a:close/>
                  <a:moveTo>
                    <a:pt x="4922" y="564"/>
                  </a:moveTo>
                  <a:cubicBezTo>
                    <a:pt x="4920" y="720"/>
                    <a:pt x="4920" y="720"/>
                    <a:pt x="4920" y="720"/>
                  </a:cubicBezTo>
                  <a:cubicBezTo>
                    <a:pt x="4824" y="720"/>
                    <a:pt x="4824" y="720"/>
                    <a:pt x="4824" y="720"/>
                  </a:cubicBezTo>
                  <a:cubicBezTo>
                    <a:pt x="4823" y="630"/>
                    <a:pt x="4823" y="630"/>
                    <a:pt x="4823" y="630"/>
                  </a:cubicBezTo>
                  <a:cubicBezTo>
                    <a:pt x="4823" y="623"/>
                    <a:pt x="4823" y="623"/>
                    <a:pt x="4823" y="623"/>
                  </a:cubicBezTo>
                  <a:cubicBezTo>
                    <a:pt x="4738" y="622"/>
                    <a:pt x="4738" y="622"/>
                    <a:pt x="4738" y="622"/>
                  </a:cubicBezTo>
                  <a:cubicBezTo>
                    <a:pt x="4737" y="478"/>
                    <a:pt x="4737" y="478"/>
                    <a:pt x="4737" y="478"/>
                  </a:cubicBezTo>
                  <a:cubicBezTo>
                    <a:pt x="4841" y="479"/>
                    <a:pt x="4841" y="479"/>
                    <a:pt x="4841" y="479"/>
                  </a:cubicBezTo>
                  <a:cubicBezTo>
                    <a:pt x="4838" y="563"/>
                    <a:pt x="4838" y="563"/>
                    <a:pt x="4838" y="563"/>
                  </a:cubicBezTo>
                  <a:lnTo>
                    <a:pt x="4922" y="564"/>
                  </a:lnTo>
                  <a:close/>
                  <a:moveTo>
                    <a:pt x="5139" y="3404"/>
                  </a:moveTo>
                  <a:cubicBezTo>
                    <a:pt x="5156" y="3294"/>
                    <a:pt x="5156" y="3294"/>
                    <a:pt x="5156" y="3294"/>
                  </a:cubicBezTo>
                  <a:cubicBezTo>
                    <a:pt x="5002" y="3271"/>
                    <a:pt x="5002" y="3271"/>
                    <a:pt x="5002" y="3271"/>
                  </a:cubicBezTo>
                  <a:cubicBezTo>
                    <a:pt x="4986" y="3381"/>
                    <a:pt x="4986" y="3381"/>
                    <a:pt x="4986" y="3381"/>
                  </a:cubicBezTo>
                  <a:cubicBezTo>
                    <a:pt x="5133" y="3403"/>
                    <a:pt x="5133" y="3403"/>
                    <a:pt x="5133" y="3403"/>
                  </a:cubicBezTo>
                  <a:lnTo>
                    <a:pt x="5139" y="3404"/>
                  </a:lnTo>
                  <a:close/>
                  <a:moveTo>
                    <a:pt x="5001" y="3370"/>
                  </a:moveTo>
                  <a:cubicBezTo>
                    <a:pt x="5013" y="3286"/>
                    <a:pt x="5013" y="3286"/>
                    <a:pt x="5013" y="3286"/>
                  </a:cubicBezTo>
                  <a:cubicBezTo>
                    <a:pt x="5141" y="3305"/>
                    <a:pt x="5141" y="3305"/>
                    <a:pt x="5141" y="3305"/>
                  </a:cubicBezTo>
                  <a:cubicBezTo>
                    <a:pt x="5128" y="3389"/>
                    <a:pt x="5128" y="3389"/>
                    <a:pt x="5128" y="3389"/>
                  </a:cubicBezTo>
                  <a:lnTo>
                    <a:pt x="5001" y="3370"/>
                  </a:lnTo>
                  <a:close/>
                  <a:moveTo>
                    <a:pt x="4974" y="3592"/>
                  </a:moveTo>
                  <a:cubicBezTo>
                    <a:pt x="5028" y="3600"/>
                    <a:pt x="5028" y="3600"/>
                    <a:pt x="5028" y="3600"/>
                  </a:cubicBezTo>
                  <a:cubicBezTo>
                    <a:pt x="5121" y="3614"/>
                    <a:pt x="5121" y="3614"/>
                    <a:pt x="5121" y="3614"/>
                  </a:cubicBezTo>
                  <a:cubicBezTo>
                    <a:pt x="5128" y="3615"/>
                    <a:pt x="5128" y="3615"/>
                    <a:pt x="5128" y="3615"/>
                  </a:cubicBezTo>
                  <a:cubicBezTo>
                    <a:pt x="5130" y="3600"/>
                    <a:pt x="5130" y="3600"/>
                    <a:pt x="5130" y="3600"/>
                  </a:cubicBezTo>
                  <a:cubicBezTo>
                    <a:pt x="5144" y="3505"/>
                    <a:pt x="5144" y="3505"/>
                    <a:pt x="5144" y="3505"/>
                  </a:cubicBezTo>
                  <a:cubicBezTo>
                    <a:pt x="4991" y="3482"/>
                    <a:pt x="4991" y="3482"/>
                    <a:pt x="4991" y="3482"/>
                  </a:cubicBezTo>
                  <a:lnTo>
                    <a:pt x="4974" y="3592"/>
                  </a:lnTo>
                  <a:close/>
                  <a:moveTo>
                    <a:pt x="5129" y="3516"/>
                  </a:moveTo>
                  <a:cubicBezTo>
                    <a:pt x="5117" y="3600"/>
                    <a:pt x="5117" y="3600"/>
                    <a:pt x="5117" y="3600"/>
                  </a:cubicBezTo>
                  <a:cubicBezTo>
                    <a:pt x="5117" y="3600"/>
                    <a:pt x="5117" y="3600"/>
                    <a:pt x="5117" y="3600"/>
                  </a:cubicBezTo>
                  <a:cubicBezTo>
                    <a:pt x="5116" y="3600"/>
                    <a:pt x="5116" y="3600"/>
                    <a:pt x="5116" y="3600"/>
                  </a:cubicBezTo>
                  <a:cubicBezTo>
                    <a:pt x="4989" y="3581"/>
                    <a:pt x="4989" y="3581"/>
                    <a:pt x="4989" y="3581"/>
                  </a:cubicBezTo>
                  <a:cubicBezTo>
                    <a:pt x="5002" y="3497"/>
                    <a:pt x="5002" y="3497"/>
                    <a:pt x="5002" y="3497"/>
                  </a:cubicBezTo>
                  <a:lnTo>
                    <a:pt x="5129" y="3516"/>
                  </a:lnTo>
                  <a:close/>
                  <a:moveTo>
                    <a:pt x="4531" y="3325"/>
                  </a:moveTo>
                  <a:cubicBezTo>
                    <a:pt x="4548" y="3215"/>
                    <a:pt x="4548" y="3215"/>
                    <a:pt x="4548" y="3215"/>
                  </a:cubicBezTo>
                  <a:cubicBezTo>
                    <a:pt x="4394" y="3192"/>
                    <a:pt x="4394" y="3192"/>
                    <a:pt x="4394" y="3192"/>
                  </a:cubicBezTo>
                  <a:cubicBezTo>
                    <a:pt x="4378" y="3302"/>
                    <a:pt x="4378" y="3302"/>
                    <a:pt x="4378" y="3302"/>
                  </a:cubicBezTo>
                  <a:cubicBezTo>
                    <a:pt x="4525" y="3324"/>
                    <a:pt x="4525" y="3324"/>
                    <a:pt x="4525" y="3324"/>
                  </a:cubicBezTo>
                  <a:lnTo>
                    <a:pt x="4531" y="3325"/>
                  </a:lnTo>
                  <a:close/>
                  <a:moveTo>
                    <a:pt x="4393" y="3291"/>
                  </a:moveTo>
                  <a:cubicBezTo>
                    <a:pt x="4405" y="3207"/>
                    <a:pt x="4405" y="3207"/>
                    <a:pt x="4405" y="3207"/>
                  </a:cubicBezTo>
                  <a:cubicBezTo>
                    <a:pt x="4533" y="3226"/>
                    <a:pt x="4533" y="3226"/>
                    <a:pt x="4533" y="3226"/>
                  </a:cubicBezTo>
                  <a:cubicBezTo>
                    <a:pt x="4520" y="3310"/>
                    <a:pt x="4520" y="3310"/>
                    <a:pt x="4520" y="3310"/>
                  </a:cubicBezTo>
                  <a:lnTo>
                    <a:pt x="4393" y="3291"/>
                  </a:lnTo>
                  <a:close/>
                  <a:moveTo>
                    <a:pt x="4508" y="3529"/>
                  </a:moveTo>
                  <a:cubicBezTo>
                    <a:pt x="4524" y="3419"/>
                    <a:pt x="4524" y="3419"/>
                    <a:pt x="4524" y="3419"/>
                  </a:cubicBezTo>
                  <a:cubicBezTo>
                    <a:pt x="4371" y="3396"/>
                    <a:pt x="4371" y="3396"/>
                    <a:pt x="4371" y="3396"/>
                  </a:cubicBezTo>
                  <a:cubicBezTo>
                    <a:pt x="4354" y="3506"/>
                    <a:pt x="4354" y="3506"/>
                    <a:pt x="4354" y="3506"/>
                  </a:cubicBezTo>
                  <a:cubicBezTo>
                    <a:pt x="4501" y="3528"/>
                    <a:pt x="4501" y="3528"/>
                    <a:pt x="4501" y="3528"/>
                  </a:cubicBezTo>
                  <a:lnTo>
                    <a:pt x="4508" y="3529"/>
                  </a:lnTo>
                  <a:close/>
                  <a:moveTo>
                    <a:pt x="4369" y="3495"/>
                  </a:moveTo>
                  <a:cubicBezTo>
                    <a:pt x="4382" y="3411"/>
                    <a:pt x="4382" y="3411"/>
                    <a:pt x="4382" y="3411"/>
                  </a:cubicBezTo>
                  <a:cubicBezTo>
                    <a:pt x="4509" y="3430"/>
                    <a:pt x="4509" y="3430"/>
                    <a:pt x="4509" y="3430"/>
                  </a:cubicBezTo>
                  <a:cubicBezTo>
                    <a:pt x="4497" y="3514"/>
                    <a:pt x="4497" y="3514"/>
                    <a:pt x="4497" y="3514"/>
                  </a:cubicBezTo>
                  <a:lnTo>
                    <a:pt x="4369" y="3495"/>
                  </a:lnTo>
                  <a:close/>
                  <a:moveTo>
                    <a:pt x="3356" y="3514"/>
                  </a:moveTo>
                  <a:cubicBezTo>
                    <a:pt x="3507" y="3517"/>
                    <a:pt x="3507" y="3517"/>
                    <a:pt x="3507" y="3517"/>
                  </a:cubicBezTo>
                  <a:cubicBezTo>
                    <a:pt x="3509" y="3411"/>
                    <a:pt x="3509" y="3411"/>
                    <a:pt x="3509" y="3411"/>
                  </a:cubicBezTo>
                  <a:cubicBezTo>
                    <a:pt x="3365" y="3409"/>
                    <a:pt x="3365" y="3409"/>
                    <a:pt x="3365" y="3409"/>
                  </a:cubicBezTo>
                  <a:cubicBezTo>
                    <a:pt x="3358" y="3408"/>
                    <a:pt x="3358" y="3408"/>
                    <a:pt x="3358" y="3408"/>
                  </a:cubicBezTo>
                  <a:lnTo>
                    <a:pt x="3356" y="3514"/>
                  </a:lnTo>
                  <a:close/>
                  <a:moveTo>
                    <a:pt x="3371" y="3421"/>
                  </a:moveTo>
                  <a:cubicBezTo>
                    <a:pt x="3497" y="3424"/>
                    <a:pt x="3497" y="3424"/>
                    <a:pt x="3497" y="3424"/>
                  </a:cubicBezTo>
                  <a:cubicBezTo>
                    <a:pt x="3495" y="3504"/>
                    <a:pt x="3495" y="3504"/>
                    <a:pt x="3495" y="3504"/>
                  </a:cubicBezTo>
                  <a:cubicBezTo>
                    <a:pt x="3369" y="3502"/>
                    <a:pt x="3369" y="3502"/>
                    <a:pt x="3369" y="3502"/>
                  </a:cubicBezTo>
                  <a:lnTo>
                    <a:pt x="3371" y="3421"/>
                  </a:lnTo>
                  <a:close/>
                  <a:moveTo>
                    <a:pt x="3305" y="3246"/>
                  </a:moveTo>
                  <a:cubicBezTo>
                    <a:pt x="3303" y="3351"/>
                    <a:pt x="3303" y="3351"/>
                    <a:pt x="3303" y="3351"/>
                  </a:cubicBezTo>
                  <a:cubicBezTo>
                    <a:pt x="3454" y="3354"/>
                    <a:pt x="3454" y="3354"/>
                    <a:pt x="3454" y="3354"/>
                  </a:cubicBezTo>
                  <a:cubicBezTo>
                    <a:pt x="3457" y="3249"/>
                    <a:pt x="3457" y="3249"/>
                    <a:pt x="3457" y="3249"/>
                  </a:cubicBezTo>
                  <a:cubicBezTo>
                    <a:pt x="3312" y="3246"/>
                    <a:pt x="3312" y="3246"/>
                    <a:pt x="3312" y="3246"/>
                  </a:cubicBezTo>
                  <a:lnTo>
                    <a:pt x="3305" y="3246"/>
                  </a:lnTo>
                  <a:close/>
                  <a:moveTo>
                    <a:pt x="3318" y="3258"/>
                  </a:moveTo>
                  <a:cubicBezTo>
                    <a:pt x="3444" y="3261"/>
                    <a:pt x="3444" y="3261"/>
                    <a:pt x="3444" y="3261"/>
                  </a:cubicBezTo>
                  <a:cubicBezTo>
                    <a:pt x="3442" y="3341"/>
                    <a:pt x="3442" y="3341"/>
                    <a:pt x="3442" y="3341"/>
                  </a:cubicBezTo>
                  <a:cubicBezTo>
                    <a:pt x="3316" y="3339"/>
                    <a:pt x="3316" y="3339"/>
                    <a:pt x="3316" y="3339"/>
                  </a:cubicBezTo>
                  <a:lnTo>
                    <a:pt x="3318" y="3258"/>
                  </a:lnTo>
                  <a:close/>
                  <a:moveTo>
                    <a:pt x="3281" y="3094"/>
                  </a:moveTo>
                  <a:cubicBezTo>
                    <a:pt x="3278" y="3200"/>
                    <a:pt x="3278" y="3200"/>
                    <a:pt x="3278" y="3200"/>
                  </a:cubicBezTo>
                  <a:cubicBezTo>
                    <a:pt x="3430" y="3203"/>
                    <a:pt x="3430" y="3203"/>
                    <a:pt x="3430" y="3203"/>
                  </a:cubicBezTo>
                  <a:cubicBezTo>
                    <a:pt x="3432" y="3097"/>
                    <a:pt x="3432" y="3097"/>
                    <a:pt x="3432" y="3097"/>
                  </a:cubicBezTo>
                  <a:cubicBezTo>
                    <a:pt x="3287" y="3094"/>
                    <a:pt x="3287" y="3094"/>
                    <a:pt x="3287" y="3094"/>
                  </a:cubicBezTo>
                  <a:lnTo>
                    <a:pt x="3281" y="3094"/>
                  </a:lnTo>
                  <a:close/>
                  <a:moveTo>
                    <a:pt x="3293" y="3107"/>
                  </a:moveTo>
                  <a:cubicBezTo>
                    <a:pt x="3419" y="3110"/>
                    <a:pt x="3419" y="3110"/>
                    <a:pt x="3419" y="3110"/>
                  </a:cubicBezTo>
                  <a:cubicBezTo>
                    <a:pt x="3417" y="3190"/>
                    <a:pt x="3417" y="3190"/>
                    <a:pt x="3417" y="3190"/>
                  </a:cubicBezTo>
                  <a:cubicBezTo>
                    <a:pt x="3291" y="3187"/>
                    <a:pt x="3291" y="3187"/>
                    <a:pt x="3291" y="3187"/>
                  </a:cubicBezTo>
                  <a:lnTo>
                    <a:pt x="3293" y="3107"/>
                  </a:lnTo>
                  <a:close/>
                  <a:moveTo>
                    <a:pt x="3896" y="2899"/>
                  </a:moveTo>
                  <a:cubicBezTo>
                    <a:pt x="3752" y="2896"/>
                    <a:pt x="3752" y="2896"/>
                    <a:pt x="3752" y="2896"/>
                  </a:cubicBezTo>
                  <a:cubicBezTo>
                    <a:pt x="3745" y="2896"/>
                    <a:pt x="3745" y="2896"/>
                    <a:pt x="3745" y="2896"/>
                  </a:cubicBezTo>
                  <a:cubicBezTo>
                    <a:pt x="3743" y="3001"/>
                    <a:pt x="3743" y="3001"/>
                    <a:pt x="3743" y="3001"/>
                  </a:cubicBezTo>
                  <a:cubicBezTo>
                    <a:pt x="3894" y="3004"/>
                    <a:pt x="3894" y="3004"/>
                    <a:pt x="3894" y="3004"/>
                  </a:cubicBezTo>
                  <a:lnTo>
                    <a:pt x="3896" y="2899"/>
                  </a:lnTo>
                  <a:close/>
                  <a:moveTo>
                    <a:pt x="3882" y="2992"/>
                  </a:moveTo>
                  <a:cubicBezTo>
                    <a:pt x="3756" y="2989"/>
                    <a:pt x="3756" y="2989"/>
                    <a:pt x="3756" y="2989"/>
                  </a:cubicBezTo>
                  <a:cubicBezTo>
                    <a:pt x="3758" y="2909"/>
                    <a:pt x="3758" y="2909"/>
                    <a:pt x="3758" y="2909"/>
                  </a:cubicBezTo>
                  <a:cubicBezTo>
                    <a:pt x="3884" y="2911"/>
                    <a:pt x="3884" y="2911"/>
                    <a:pt x="3884" y="2911"/>
                  </a:cubicBezTo>
                  <a:lnTo>
                    <a:pt x="3882" y="2992"/>
                  </a:lnTo>
                  <a:close/>
                  <a:moveTo>
                    <a:pt x="4038" y="2926"/>
                  </a:moveTo>
                  <a:cubicBezTo>
                    <a:pt x="4036" y="3032"/>
                    <a:pt x="4036" y="3032"/>
                    <a:pt x="4036" y="3032"/>
                  </a:cubicBezTo>
                  <a:cubicBezTo>
                    <a:pt x="4187" y="3035"/>
                    <a:pt x="4187" y="3035"/>
                    <a:pt x="4187" y="3035"/>
                  </a:cubicBezTo>
                  <a:cubicBezTo>
                    <a:pt x="4189" y="2929"/>
                    <a:pt x="4189" y="2929"/>
                    <a:pt x="4189" y="2929"/>
                  </a:cubicBezTo>
                  <a:cubicBezTo>
                    <a:pt x="4044" y="2926"/>
                    <a:pt x="4044" y="2926"/>
                    <a:pt x="4044" y="2926"/>
                  </a:cubicBezTo>
                  <a:lnTo>
                    <a:pt x="4038" y="2926"/>
                  </a:lnTo>
                  <a:close/>
                  <a:moveTo>
                    <a:pt x="4050" y="2939"/>
                  </a:moveTo>
                  <a:cubicBezTo>
                    <a:pt x="4176" y="2942"/>
                    <a:pt x="4176" y="2942"/>
                    <a:pt x="4176" y="2942"/>
                  </a:cubicBezTo>
                  <a:cubicBezTo>
                    <a:pt x="4174" y="3022"/>
                    <a:pt x="4174" y="3022"/>
                    <a:pt x="4174" y="3022"/>
                  </a:cubicBezTo>
                  <a:cubicBezTo>
                    <a:pt x="4048" y="3019"/>
                    <a:pt x="4048" y="3019"/>
                    <a:pt x="4048" y="3019"/>
                  </a:cubicBezTo>
                  <a:lnTo>
                    <a:pt x="4050" y="2939"/>
                  </a:lnTo>
                  <a:close/>
                  <a:moveTo>
                    <a:pt x="5368" y="2474"/>
                  </a:moveTo>
                  <a:cubicBezTo>
                    <a:pt x="5367" y="2481"/>
                    <a:pt x="5367" y="2481"/>
                    <a:pt x="5367" y="2481"/>
                  </a:cubicBezTo>
                  <a:cubicBezTo>
                    <a:pt x="5563" y="2513"/>
                    <a:pt x="5563" y="2513"/>
                    <a:pt x="5563" y="2513"/>
                  </a:cubicBezTo>
                  <a:cubicBezTo>
                    <a:pt x="5579" y="2417"/>
                    <a:pt x="5579" y="2417"/>
                    <a:pt x="5579" y="2417"/>
                  </a:cubicBezTo>
                  <a:cubicBezTo>
                    <a:pt x="5383" y="2385"/>
                    <a:pt x="5383" y="2385"/>
                    <a:pt x="5383" y="2385"/>
                  </a:cubicBezTo>
                  <a:lnTo>
                    <a:pt x="5368" y="2474"/>
                  </a:lnTo>
                  <a:close/>
                  <a:moveTo>
                    <a:pt x="5564" y="2428"/>
                  </a:moveTo>
                  <a:cubicBezTo>
                    <a:pt x="5553" y="2498"/>
                    <a:pt x="5553" y="2498"/>
                    <a:pt x="5553" y="2498"/>
                  </a:cubicBezTo>
                  <a:cubicBezTo>
                    <a:pt x="5382" y="2470"/>
                    <a:pt x="5382" y="2470"/>
                    <a:pt x="5382" y="2470"/>
                  </a:cubicBezTo>
                  <a:cubicBezTo>
                    <a:pt x="5394" y="2400"/>
                    <a:pt x="5394" y="2400"/>
                    <a:pt x="5394" y="2400"/>
                  </a:cubicBezTo>
                  <a:lnTo>
                    <a:pt x="5564" y="2428"/>
                  </a:lnTo>
                  <a:close/>
                  <a:moveTo>
                    <a:pt x="5460" y="2333"/>
                  </a:moveTo>
                  <a:cubicBezTo>
                    <a:pt x="5487" y="2144"/>
                    <a:pt x="5487" y="2144"/>
                    <a:pt x="5487" y="2144"/>
                  </a:cubicBezTo>
                  <a:cubicBezTo>
                    <a:pt x="5488" y="2137"/>
                    <a:pt x="5488" y="2137"/>
                    <a:pt x="5488" y="2137"/>
                  </a:cubicBezTo>
                  <a:cubicBezTo>
                    <a:pt x="5166" y="2091"/>
                    <a:pt x="5166" y="2091"/>
                    <a:pt x="5166" y="2091"/>
                  </a:cubicBezTo>
                  <a:cubicBezTo>
                    <a:pt x="5158" y="2153"/>
                    <a:pt x="5158" y="2153"/>
                    <a:pt x="5158" y="2153"/>
                  </a:cubicBezTo>
                  <a:cubicBezTo>
                    <a:pt x="5123" y="2150"/>
                    <a:pt x="5123" y="2150"/>
                    <a:pt x="5123" y="2150"/>
                  </a:cubicBezTo>
                  <a:cubicBezTo>
                    <a:pt x="5110" y="2235"/>
                    <a:pt x="5110" y="2235"/>
                    <a:pt x="5110" y="2235"/>
                  </a:cubicBezTo>
                  <a:cubicBezTo>
                    <a:pt x="5143" y="2241"/>
                    <a:pt x="5143" y="2241"/>
                    <a:pt x="5143" y="2241"/>
                  </a:cubicBezTo>
                  <a:cubicBezTo>
                    <a:pt x="5138" y="2288"/>
                    <a:pt x="5138" y="2288"/>
                    <a:pt x="5138" y="2288"/>
                  </a:cubicBezTo>
                  <a:lnTo>
                    <a:pt x="5460" y="2333"/>
                  </a:lnTo>
                  <a:close/>
                  <a:moveTo>
                    <a:pt x="5125" y="2224"/>
                  </a:moveTo>
                  <a:cubicBezTo>
                    <a:pt x="5134" y="2164"/>
                    <a:pt x="5134" y="2164"/>
                    <a:pt x="5134" y="2164"/>
                  </a:cubicBezTo>
                  <a:cubicBezTo>
                    <a:pt x="5169" y="2167"/>
                    <a:pt x="5169" y="2167"/>
                    <a:pt x="5169" y="2167"/>
                  </a:cubicBezTo>
                  <a:cubicBezTo>
                    <a:pt x="5178" y="2105"/>
                    <a:pt x="5178" y="2105"/>
                    <a:pt x="5178" y="2105"/>
                  </a:cubicBezTo>
                  <a:cubicBezTo>
                    <a:pt x="5473" y="2148"/>
                    <a:pt x="5473" y="2148"/>
                    <a:pt x="5473" y="2148"/>
                  </a:cubicBezTo>
                  <a:cubicBezTo>
                    <a:pt x="5449" y="2318"/>
                    <a:pt x="5449" y="2318"/>
                    <a:pt x="5449" y="2318"/>
                  </a:cubicBezTo>
                  <a:cubicBezTo>
                    <a:pt x="5152" y="2277"/>
                    <a:pt x="5152" y="2277"/>
                    <a:pt x="5152" y="2277"/>
                  </a:cubicBezTo>
                  <a:cubicBezTo>
                    <a:pt x="5157" y="2230"/>
                    <a:pt x="5157" y="2230"/>
                    <a:pt x="5157" y="2230"/>
                  </a:cubicBezTo>
                  <a:lnTo>
                    <a:pt x="5125" y="2224"/>
                  </a:lnTo>
                  <a:close/>
                  <a:moveTo>
                    <a:pt x="215" y="1986"/>
                  </a:moveTo>
                  <a:cubicBezTo>
                    <a:pt x="196" y="1955"/>
                    <a:pt x="196" y="1955"/>
                    <a:pt x="196" y="1955"/>
                  </a:cubicBezTo>
                  <a:cubicBezTo>
                    <a:pt x="121" y="1990"/>
                    <a:pt x="121" y="1990"/>
                    <a:pt x="121" y="1990"/>
                  </a:cubicBezTo>
                  <a:cubicBezTo>
                    <a:pt x="138" y="2026"/>
                    <a:pt x="138" y="2026"/>
                    <a:pt x="138" y="2026"/>
                  </a:cubicBezTo>
                  <a:cubicBezTo>
                    <a:pt x="84" y="2049"/>
                    <a:pt x="84" y="2049"/>
                    <a:pt x="84" y="2049"/>
                  </a:cubicBezTo>
                  <a:cubicBezTo>
                    <a:pt x="105" y="2093"/>
                    <a:pt x="105" y="2093"/>
                    <a:pt x="105" y="2093"/>
                  </a:cubicBezTo>
                  <a:cubicBezTo>
                    <a:pt x="88" y="2099"/>
                    <a:pt x="88" y="2099"/>
                    <a:pt x="88" y="2099"/>
                  </a:cubicBezTo>
                  <a:cubicBezTo>
                    <a:pt x="131" y="2201"/>
                    <a:pt x="131" y="2201"/>
                    <a:pt x="131" y="2201"/>
                  </a:cubicBezTo>
                  <a:cubicBezTo>
                    <a:pt x="158" y="2191"/>
                    <a:pt x="158" y="2191"/>
                    <a:pt x="158" y="2191"/>
                  </a:cubicBezTo>
                  <a:cubicBezTo>
                    <a:pt x="236" y="2366"/>
                    <a:pt x="236" y="2366"/>
                    <a:pt x="236" y="2366"/>
                  </a:cubicBezTo>
                  <a:cubicBezTo>
                    <a:pt x="404" y="2288"/>
                    <a:pt x="404" y="2288"/>
                    <a:pt x="404" y="2288"/>
                  </a:cubicBezTo>
                  <a:cubicBezTo>
                    <a:pt x="410" y="2286"/>
                    <a:pt x="410" y="2286"/>
                    <a:pt x="410" y="2286"/>
                  </a:cubicBezTo>
                  <a:cubicBezTo>
                    <a:pt x="267" y="1964"/>
                    <a:pt x="267" y="1964"/>
                    <a:pt x="267" y="1964"/>
                  </a:cubicBezTo>
                  <a:lnTo>
                    <a:pt x="215" y="1986"/>
                  </a:lnTo>
                  <a:close/>
                  <a:moveTo>
                    <a:pt x="243" y="2348"/>
                  </a:moveTo>
                  <a:cubicBezTo>
                    <a:pt x="165" y="2174"/>
                    <a:pt x="165" y="2174"/>
                    <a:pt x="165" y="2174"/>
                  </a:cubicBezTo>
                  <a:cubicBezTo>
                    <a:pt x="138" y="2184"/>
                    <a:pt x="138" y="2184"/>
                    <a:pt x="138" y="2184"/>
                  </a:cubicBezTo>
                  <a:cubicBezTo>
                    <a:pt x="105" y="2107"/>
                    <a:pt x="105" y="2107"/>
                    <a:pt x="105" y="2107"/>
                  </a:cubicBezTo>
                  <a:cubicBezTo>
                    <a:pt x="122" y="2100"/>
                    <a:pt x="122" y="2100"/>
                    <a:pt x="122" y="2100"/>
                  </a:cubicBezTo>
                  <a:cubicBezTo>
                    <a:pt x="102" y="2056"/>
                    <a:pt x="102" y="2056"/>
                    <a:pt x="102" y="2056"/>
                  </a:cubicBezTo>
                  <a:cubicBezTo>
                    <a:pt x="155" y="2033"/>
                    <a:pt x="155" y="2033"/>
                    <a:pt x="155" y="2033"/>
                  </a:cubicBezTo>
                  <a:cubicBezTo>
                    <a:pt x="139" y="1996"/>
                    <a:pt x="139" y="1996"/>
                    <a:pt x="139" y="1996"/>
                  </a:cubicBezTo>
                  <a:cubicBezTo>
                    <a:pt x="191" y="1972"/>
                    <a:pt x="191" y="1972"/>
                    <a:pt x="191" y="1972"/>
                  </a:cubicBezTo>
                  <a:cubicBezTo>
                    <a:pt x="209" y="2002"/>
                    <a:pt x="209" y="2002"/>
                    <a:pt x="209" y="2002"/>
                  </a:cubicBezTo>
                  <a:cubicBezTo>
                    <a:pt x="260" y="1981"/>
                    <a:pt x="260" y="1981"/>
                    <a:pt x="260" y="1981"/>
                  </a:cubicBezTo>
                  <a:cubicBezTo>
                    <a:pt x="393" y="2279"/>
                    <a:pt x="393" y="2279"/>
                    <a:pt x="393" y="2279"/>
                  </a:cubicBezTo>
                  <a:lnTo>
                    <a:pt x="243" y="2348"/>
                  </a:lnTo>
                  <a:close/>
                  <a:moveTo>
                    <a:pt x="5037" y="2921"/>
                  </a:moveTo>
                  <a:cubicBezTo>
                    <a:pt x="5077" y="2925"/>
                    <a:pt x="5077" y="2925"/>
                    <a:pt x="5077" y="2925"/>
                  </a:cubicBezTo>
                  <a:cubicBezTo>
                    <a:pt x="5068" y="2982"/>
                    <a:pt x="5068" y="2982"/>
                    <a:pt x="5068" y="2982"/>
                  </a:cubicBezTo>
                  <a:cubicBezTo>
                    <a:pt x="5111" y="2986"/>
                    <a:pt x="5111" y="2986"/>
                    <a:pt x="5111" y="2986"/>
                  </a:cubicBezTo>
                  <a:cubicBezTo>
                    <a:pt x="5109" y="3006"/>
                    <a:pt x="5109" y="3006"/>
                    <a:pt x="5109" y="3006"/>
                  </a:cubicBezTo>
                  <a:cubicBezTo>
                    <a:pt x="5215" y="3020"/>
                    <a:pt x="5215" y="3020"/>
                    <a:pt x="5215" y="3020"/>
                  </a:cubicBezTo>
                  <a:cubicBezTo>
                    <a:pt x="5216" y="3015"/>
                    <a:pt x="5216" y="3015"/>
                    <a:pt x="5216" y="3015"/>
                  </a:cubicBezTo>
                  <a:cubicBezTo>
                    <a:pt x="5220" y="3002"/>
                    <a:pt x="5220" y="3002"/>
                    <a:pt x="5220" y="3002"/>
                  </a:cubicBezTo>
                  <a:cubicBezTo>
                    <a:pt x="5415" y="3027"/>
                    <a:pt x="5415" y="3027"/>
                    <a:pt x="5415" y="3027"/>
                  </a:cubicBezTo>
                  <a:cubicBezTo>
                    <a:pt x="5444" y="2834"/>
                    <a:pt x="5444" y="2834"/>
                    <a:pt x="5444" y="2834"/>
                  </a:cubicBezTo>
                  <a:cubicBezTo>
                    <a:pt x="5445" y="2827"/>
                    <a:pt x="5445" y="2827"/>
                    <a:pt x="5445" y="2827"/>
                  </a:cubicBezTo>
                  <a:cubicBezTo>
                    <a:pt x="5091" y="2782"/>
                    <a:pt x="5091" y="2782"/>
                    <a:pt x="5091" y="2782"/>
                  </a:cubicBezTo>
                  <a:cubicBezTo>
                    <a:pt x="5082" y="2837"/>
                    <a:pt x="5082" y="2837"/>
                    <a:pt x="5082" y="2837"/>
                  </a:cubicBezTo>
                  <a:cubicBezTo>
                    <a:pt x="5049" y="2833"/>
                    <a:pt x="5049" y="2833"/>
                    <a:pt x="5049" y="2833"/>
                  </a:cubicBezTo>
                  <a:lnTo>
                    <a:pt x="5037" y="2921"/>
                  </a:lnTo>
                  <a:close/>
                  <a:moveTo>
                    <a:pt x="5060" y="2848"/>
                  </a:moveTo>
                  <a:cubicBezTo>
                    <a:pt x="5093" y="2851"/>
                    <a:pt x="5093" y="2851"/>
                    <a:pt x="5093" y="2851"/>
                  </a:cubicBezTo>
                  <a:cubicBezTo>
                    <a:pt x="5102" y="2796"/>
                    <a:pt x="5102" y="2796"/>
                    <a:pt x="5102" y="2796"/>
                  </a:cubicBezTo>
                  <a:cubicBezTo>
                    <a:pt x="5430" y="2838"/>
                    <a:pt x="5430" y="2838"/>
                    <a:pt x="5430" y="2838"/>
                  </a:cubicBezTo>
                  <a:cubicBezTo>
                    <a:pt x="5404" y="3013"/>
                    <a:pt x="5404" y="3013"/>
                    <a:pt x="5404" y="3013"/>
                  </a:cubicBezTo>
                  <a:cubicBezTo>
                    <a:pt x="5211" y="2988"/>
                    <a:pt x="5211" y="2988"/>
                    <a:pt x="5211" y="2988"/>
                  </a:cubicBezTo>
                  <a:cubicBezTo>
                    <a:pt x="5209" y="2993"/>
                    <a:pt x="5209" y="2993"/>
                    <a:pt x="5209" y="2993"/>
                  </a:cubicBezTo>
                  <a:cubicBezTo>
                    <a:pt x="5205" y="3006"/>
                    <a:pt x="5205" y="3006"/>
                    <a:pt x="5205" y="3006"/>
                  </a:cubicBezTo>
                  <a:cubicBezTo>
                    <a:pt x="5123" y="2995"/>
                    <a:pt x="5123" y="2995"/>
                    <a:pt x="5123" y="2995"/>
                  </a:cubicBezTo>
                  <a:cubicBezTo>
                    <a:pt x="5126" y="2974"/>
                    <a:pt x="5126" y="2974"/>
                    <a:pt x="5126" y="2974"/>
                  </a:cubicBezTo>
                  <a:cubicBezTo>
                    <a:pt x="5083" y="2970"/>
                    <a:pt x="5083" y="2970"/>
                    <a:pt x="5083" y="2970"/>
                  </a:cubicBezTo>
                  <a:cubicBezTo>
                    <a:pt x="5092" y="2913"/>
                    <a:pt x="5092" y="2913"/>
                    <a:pt x="5092" y="2913"/>
                  </a:cubicBezTo>
                  <a:cubicBezTo>
                    <a:pt x="5052" y="2909"/>
                    <a:pt x="5052" y="2909"/>
                    <a:pt x="5052" y="2909"/>
                  </a:cubicBezTo>
                  <a:lnTo>
                    <a:pt x="5060" y="2848"/>
                  </a:lnTo>
                  <a:close/>
                  <a:moveTo>
                    <a:pt x="4495" y="20"/>
                  </a:moveTo>
                  <a:cubicBezTo>
                    <a:pt x="4347" y="9"/>
                    <a:pt x="4347" y="9"/>
                    <a:pt x="4347" y="9"/>
                  </a:cubicBezTo>
                  <a:cubicBezTo>
                    <a:pt x="4348" y="2"/>
                    <a:pt x="4348" y="2"/>
                    <a:pt x="4348" y="2"/>
                  </a:cubicBezTo>
                  <a:cubicBezTo>
                    <a:pt x="4348" y="0"/>
                    <a:pt x="4348" y="0"/>
                    <a:pt x="4348" y="0"/>
                  </a:cubicBezTo>
                  <a:cubicBezTo>
                    <a:pt x="4405" y="0"/>
                    <a:pt x="4405" y="0"/>
                    <a:pt x="4405" y="0"/>
                  </a:cubicBezTo>
                  <a:cubicBezTo>
                    <a:pt x="4483" y="6"/>
                    <a:pt x="4483" y="6"/>
                    <a:pt x="4483" y="6"/>
                  </a:cubicBezTo>
                  <a:cubicBezTo>
                    <a:pt x="4483" y="0"/>
                    <a:pt x="4483" y="0"/>
                    <a:pt x="4483" y="0"/>
                  </a:cubicBezTo>
                  <a:cubicBezTo>
                    <a:pt x="4496" y="0"/>
                    <a:pt x="4496" y="0"/>
                    <a:pt x="4496" y="0"/>
                  </a:cubicBezTo>
                  <a:lnTo>
                    <a:pt x="4495" y="20"/>
                  </a:lnTo>
                  <a:close/>
                  <a:moveTo>
                    <a:pt x="485" y="380"/>
                  </a:moveTo>
                  <a:cubicBezTo>
                    <a:pt x="384" y="676"/>
                    <a:pt x="384" y="676"/>
                    <a:pt x="384" y="676"/>
                  </a:cubicBezTo>
                  <a:cubicBezTo>
                    <a:pt x="1260" y="967"/>
                    <a:pt x="1260" y="967"/>
                    <a:pt x="1260" y="967"/>
                  </a:cubicBezTo>
                  <a:cubicBezTo>
                    <a:pt x="1342" y="718"/>
                    <a:pt x="1342" y="718"/>
                    <a:pt x="1342" y="718"/>
                  </a:cubicBezTo>
                  <a:cubicBezTo>
                    <a:pt x="1558" y="787"/>
                    <a:pt x="1558" y="787"/>
                    <a:pt x="1558" y="787"/>
                  </a:cubicBezTo>
                  <a:cubicBezTo>
                    <a:pt x="1594" y="678"/>
                    <a:pt x="1594" y="678"/>
                    <a:pt x="1594" y="678"/>
                  </a:cubicBezTo>
                  <a:cubicBezTo>
                    <a:pt x="1774" y="739"/>
                    <a:pt x="1774" y="739"/>
                    <a:pt x="1774" y="739"/>
                  </a:cubicBezTo>
                  <a:cubicBezTo>
                    <a:pt x="1866" y="453"/>
                    <a:pt x="1866" y="453"/>
                    <a:pt x="1866" y="453"/>
                  </a:cubicBezTo>
                  <a:cubicBezTo>
                    <a:pt x="1868" y="446"/>
                    <a:pt x="1868" y="446"/>
                    <a:pt x="1868" y="446"/>
                  </a:cubicBezTo>
                  <a:cubicBezTo>
                    <a:pt x="996" y="154"/>
                    <a:pt x="996" y="154"/>
                    <a:pt x="996" y="154"/>
                  </a:cubicBezTo>
                  <a:cubicBezTo>
                    <a:pt x="903" y="449"/>
                    <a:pt x="903" y="449"/>
                    <a:pt x="903" y="449"/>
                  </a:cubicBezTo>
                  <a:cubicBezTo>
                    <a:pt x="1129" y="525"/>
                    <a:pt x="1129" y="525"/>
                    <a:pt x="1129" y="525"/>
                  </a:cubicBezTo>
                  <a:cubicBezTo>
                    <a:pt x="1106" y="589"/>
                    <a:pt x="1106" y="589"/>
                    <a:pt x="1106" y="589"/>
                  </a:cubicBezTo>
                  <a:lnTo>
                    <a:pt x="485" y="380"/>
                  </a:lnTo>
                  <a:close/>
                  <a:moveTo>
                    <a:pt x="1148" y="516"/>
                  </a:moveTo>
                  <a:cubicBezTo>
                    <a:pt x="922" y="440"/>
                    <a:pt x="922" y="440"/>
                    <a:pt x="922" y="440"/>
                  </a:cubicBezTo>
                  <a:cubicBezTo>
                    <a:pt x="1005" y="173"/>
                    <a:pt x="1005" y="173"/>
                    <a:pt x="1005" y="173"/>
                  </a:cubicBezTo>
                  <a:cubicBezTo>
                    <a:pt x="1850" y="455"/>
                    <a:pt x="1850" y="455"/>
                    <a:pt x="1850" y="455"/>
                  </a:cubicBezTo>
                  <a:cubicBezTo>
                    <a:pt x="1764" y="720"/>
                    <a:pt x="1764" y="720"/>
                    <a:pt x="1764" y="720"/>
                  </a:cubicBezTo>
                  <a:cubicBezTo>
                    <a:pt x="1585" y="660"/>
                    <a:pt x="1585" y="660"/>
                    <a:pt x="1585" y="660"/>
                  </a:cubicBezTo>
                  <a:cubicBezTo>
                    <a:pt x="1549" y="769"/>
                    <a:pt x="1549" y="769"/>
                    <a:pt x="1549" y="769"/>
                  </a:cubicBezTo>
                  <a:cubicBezTo>
                    <a:pt x="1332" y="699"/>
                    <a:pt x="1332" y="699"/>
                    <a:pt x="1332" y="699"/>
                  </a:cubicBezTo>
                  <a:cubicBezTo>
                    <a:pt x="1251" y="948"/>
                    <a:pt x="1251" y="948"/>
                    <a:pt x="1251" y="948"/>
                  </a:cubicBezTo>
                  <a:cubicBezTo>
                    <a:pt x="403" y="667"/>
                    <a:pt x="403" y="667"/>
                    <a:pt x="403" y="667"/>
                  </a:cubicBezTo>
                  <a:cubicBezTo>
                    <a:pt x="495" y="399"/>
                    <a:pt x="495" y="399"/>
                    <a:pt x="495" y="399"/>
                  </a:cubicBezTo>
                  <a:cubicBezTo>
                    <a:pt x="1115" y="608"/>
                    <a:pt x="1115" y="608"/>
                    <a:pt x="1115" y="608"/>
                  </a:cubicBezTo>
                  <a:lnTo>
                    <a:pt x="1148" y="516"/>
                  </a:lnTo>
                  <a:close/>
                  <a:moveTo>
                    <a:pt x="3004" y="922"/>
                  </a:moveTo>
                  <a:cubicBezTo>
                    <a:pt x="3142" y="921"/>
                    <a:pt x="3142" y="921"/>
                    <a:pt x="3142" y="921"/>
                  </a:cubicBezTo>
                  <a:cubicBezTo>
                    <a:pt x="3142" y="827"/>
                    <a:pt x="3142" y="827"/>
                    <a:pt x="3142" y="827"/>
                  </a:cubicBezTo>
                  <a:cubicBezTo>
                    <a:pt x="3142" y="819"/>
                    <a:pt x="3142" y="819"/>
                    <a:pt x="3142" y="819"/>
                  </a:cubicBezTo>
                  <a:cubicBezTo>
                    <a:pt x="2989" y="817"/>
                    <a:pt x="2989" y="817"/>
                    <a:pt x="2989" y="817"/>
                  </a:cubicBezTo>
                  <a:cubicBezTo>
                    <a:pt x="2989" y="761"/>
                    <a:pt x="2989" y="761"/>
                    <a:pt x="2989" y="761"/>
                  </a:cubicBezTo>
                  <a:cubicBezTo>
                    <a:pt x="2841" y="763"/>
                    <a:pt x="2841" y="763"/>
                    <a:pt x="2841" y="763"/>
                  </a:cubicBezTo>
                  <a:cubicBezTo>
                    <a:pt x="2840" y="770"/>
                    <a:pt x="2840" y="770"/>
                    <a:pt x="2840" y="770"/>
                  </a:cubicBezTo>
                  <a:cubicBezTo>
                    <a:pt x="2839" y="784"/>
                    <a:pt x="2839" y="784"/>
                    <a:pt x="2839" y="784"/>
                  </a:cubicBezTo>
                  <a:cubicBezTo>
                    <a:pt x="2487" y="784"/>
                    <a:pt x="2487" y="784"/>
                    <a:pt x="2487" y="784"/>
                  </a:cubicBezTo>
                  <a:cubicBezTo>
                    <a:pt x="2486" y="1056"/>
                    <a:pt x="2486" y="1056"/>
                    <a:pt x="2486" y="1056"/>
                  </a:cubicBezTo>
                  <a:cubicBezTo>
                    <a:pt x="2999" y="975"/>
                    <a:pt x="2999" y="975"/>
                    <a:pt x="2999" y="975"/>
                  </a:cubicBezTo>
                  <a:lnTo>
                    <a:pt x="3004" y="922"/>
                  </a:lnTo>
                  <a:close/>
                  <a:moveTo>
                    <a:pt x="2986" y="962"/>
                  </a:moveTo>
                  <a:cubicBezTo>
                    <a:pt x="2501" y="1038"/>
                    <a:pt x="2501" y="1038"/>
                    <a:pt x="2501" y="1038"/>
                  </a:cubicBezTo>
                  <a:cubicBezTo>
                    <a:pt x="2502" y="798"/>
                    <a:pt x="2502" y="798"/>
                    <a:pt x="2502" y="798"/>
                  </a:cubicBezTo>
                  <a:cubicBezTo>
                    <a:pt x="2853" y="799"/>
                    <a:pt x="2853" y="799"/>
                    <a:pt x="2853" y="799"/>
                  </a:cubicBezTo>
                  <a:cubicBezTo>
                    <a:pt x="2853" y="792"/>
                    <a:pt x="2853" y="792"/>
                    <a:pt x="2853" y="792"/>
                  </a:cubicBezTo>
                  <a:cubicBezTo>
                    <a:pt x="2854" y="778"/>
                    <a:pt x="2854" y="778"/>
                    <a:pt x="2854" y="778"/>
                  </a:cubicBezTo>
                  <a:cubicBezTo>
                    <a:pt x="2974" y="776"/>
                    <a:pt x="2974" y="776"/>
                    <a:pt x="2974" y="776"/>
                  </a:cubicBezTo>
                  <a:cubicBezTo>
                    <a:pt x="2974" y="832"/>
                    <a:pt x="2974" y="832"/>
                    <a:pt x="2974" y="832"/>
                  </a:cubicBezTo>
                  <a:cubicBezTo>
                    <a:pt x="3127" y="834"/>
                    <a:pt x="3127" y="834"/>
                    <a:pt x="3127" y="834"/>
                  </a:cubicBezTo>
                  <a:cubicBezTo>
                    <a:pt x="3128" y="906"/>
                    <a:pt x="3128" y="906"/>
                    <a:pt x="3128" y="906"/>
                  </a:cubicBezTo>
                  <a:cubicBezTo>
                    <a:pt x="2991" y="908"/>
                    <a:pt x="2991" y="908"/>
                    <a:pt x="2991" y="908"/>
                  </a:cubicBezTo>
                  <a:lnTo>
                    <a:pt x="2986" y="962"/>
                  </a:lnTo>
                  <a:close/>
                  <a:moveTo>
                    <a:pt x="18004" y="1864"/>
                  </a:moveTo>
                  <a:cubicBezTo>
                    <a:pt x="17944" y="1913"/>
                    <a:pt x="17882" y="1964"/>
                    <a:pt x="17823" y="2012"/>
                  </a:cubicBezTo>
                  <a:cubicBezTo>
                    <a:pt x="17654" y="2149"/>
                    <a:pt x="17502" y="2272"/>
                    <a:pt x="17430" y="2329"/>
                  </a:cubicBezTo>
                  <a:cubicBezTo>
                    <a:pt x="17380" y="2277"/>
                    <a:pt x="17340" y="2230"/>
                    <a:pt x="17306" y="2195"/>
                  </a:cubicBezTo>
                  <a:cubicBezTo>
                    <a:pt x="17288" y="2173"/>
                    <a:pt x="16823" y="1638"/>
                    <a:pt x="16201" y="1271"/>
                  </a:cubicBezTo>
                  <a:cubicBezTo>
                    <a:pt x="16011" y="1158"/>
                    <a:pt x="15772" y="1016"/>
                    <a:pt x="15532" y="888"/>
                  </a:cubicBezTo>
                  <a:cubicBezTo>
                    <a:pt x="15407" y="822"/>
                    <a:pt x="15282" y="757"/>
                    <a:pt x="15163" y="696"/>
                  </a:cubicBezTo>
                  <a:cubicBezTo>
                    <a:pt x="15178" y="694"/>
                    <a:pt x="15178" y="694"/>
                    <a:pt x="15178" y="694"/>
                  </a:cubicBezTo>
                  <a:cubicBezTo>
                    <a:pt x="15174" y="672"/>
                    <a:pt x="15160" y="617"/>
                    <a:pt x="15138" y="533"/>
                  </a:cubicBezTo>
                  <a:cubicBezTo>
                    <a:pt x="15116" y="450"/>
                    <a:pt x="15086" y="342"/>
                    <a:pt x="15054" y="223"/>
                  </a:cubicBezTo>
                  <a:cubicBezTo>
                    <a:pt x="15034" y="152"/>
                    <a:pt x="15013" y="76"/>
                    <a:pt x="14992" y="0"/>
                  </a:cubicBezTo>
                  <a:cubicBezTo>
                    <a:pt x="14924" y="0"/>
                    <a:pt x="14924" y="0"/>
                    <a:pt x="14924" y="0"/>
                  </a:cubicBezTo>
                  <a:cubicBezTo>
                    <a:pt x="14981" y="207"/>
                    <a:pt x="15038" y="413"/>
                    <a:pt x="15075" y="550"/>
                  </a:cubicBezTo>
                  <a:cubicBezTo>
                    <a:pt x="15088" y="598"/>
                    <a:pt x="15098" y="639"/>
                    <a:pt x="15105" y="666"/>
                  </a:cubicBezTo>
                  <a:cubicBezTo>
                    <a:pt x="14874" y="549"/>
                    <a:pt x="14672" y="449"/>
                    <a:pt x="14552" y="390"/>
                  </a:cubicBezTo>
                  <a:cubicBezTo>
                    <a:pt x="14494" y="361"/>
                    <a:pt x="14454" y="341"/>
                    <a:pt x="14442" y="335"/>
                  </a:cubicBezTo>
                  <a:cubicBezTo>
                    <a:pt x="14435" y="329"/>
                    <a:pt x="14427" y="328"/>
                    <a:pt x="14423" y="327"/>
                  </a:cubicBezTo>
                  <a:cubicBezTo>
                    <a:pt x="13986" y="280"/>
                    <a:pt x="13986" y="280"/>
                    <a:pt x="13986" y="280"/>
                  </a:cubicBezTo>
                  <a:cubicBezTo>
                    <a:pt x="13984" y="254"/>
                    <a:pt x="13974" y="150"/>
                    <a:pt x="13959" y="0"/>
                  </a:cubicBezTo>
                  <a:cubicBezTo>
                    <a:pt x="13806" y="0"/>
                    <a:pt x="13806" y="0"/>
                    <a:pt x="13806" y="0"/>
                  </a:cubicBezTo>
                  <a:cubicBezTo>
                    <a:pt x="13818" y="121"/>
                    <a:pt x="13827" y="215"/>
                    <a:pt x="13831" y="263"/>
                  </a:cubicBezTo>
                  <a:cubicBezTo>
                    <a:pt x="13379" y="214"/>
                    <a:pt x="13379" y="214"/>
                    <a:pt x="13379" y="214"/>
                  </a:cubicBezTo>
                  <a:cubicBezTo>
                    <a:pt x="12998" y="0"/>
                    <a:pt x="12998" y="0"/>
                    <a:pt x="12998" y="0"/>
                  </a:cubicBezTo>
                  <a:cubicBezTo>
                    <a:pt x="12863" y="0"/>
                    <a:pt x="12863" y="0"/>
                    <a:pt x="12863" y="0"/>
                  </a:cubicBezTo>
                  <a:cubicBezTo>
                    <a:pt x="13359" y="278"/>
                    <a:pt x="13359" y="278"/>
                    <a:pt x="13359" y="278"/>
                  </a:cubicBezTo>
                  <a:cubicBezTo>
                    <a:pt x="13818" y="328"/>
                    <a:pt x="13818" y="328"/>
                    <a:pt x="13818" y="328"/>
                  </a:cubicBezTo>
                  <a:cubicBezTo>
                    <a:pt x="13134" y="2295"/>
                    <a:pt x="13134" y="2295"/>
                    <a:pt x="13134" y="2295"/>
                  </a:cubicBezTo>
                  <a:cubicBezTo>
                    <a:pt x="12166" y="1912"/>
                    <a:pt x="12166" y="1912"/>
                    <a:pt x="12166" y="1912"/>
                  </a:cubicBezTo>
                  <a:cubicBezTo>
                    <a:pt x="11973" y="640"/>
                    <a:pt x="11973" y="640"/>
                    <a:pt x="11973" y="640"/>
                  </a:cubicBezTo>
                  <a:cubicBezTo>
                    <a:pt x="11843" y="36"/>
                    <a:pt x="11843" y="36"/>
                    <a:pt x="11843" y="36"/>
                  </a:cubicBezTo>
                  <a:cubicBezTo>
                    <a:pt x="11830" y="29"/>
                    <a:pt x="11830" y="29"/>
                    <a:pt x="11830" y="29"/>
                  </a:cubicBezTo>
                  <a:cubicBezTo>
                    <a:pt x="11830" y="29"/>
                    <a:pt x="11830" y="29"/>
                    <a:pt x="11830" y="29"/>
                  </a:cubicBezTo>
                  <a:cubicBezTo>
                    <a:pt x="11830" y="29"/>
                    <a:pt x="11829" y="29"/>
                    <a:pt x="11829" y="29"/>
                  </a:cubicBezTo>
                  <a:cubicBezTo>
                    <a:pt x="11849" y="0"/>
                    <a:pt x="11849" y="0"/>
                    <a:pt x="11849" y="0"/>
                  </a:cubicBezTo>
                  <a:cubicBezTo>
                    <a:pt x="11716" y="0"/>
                    <a:pt x="11716" y="0"/>
                    <a:pt x="11716" y="0"/>
                  </a:cubicBezTo>
                  <a:cubicBezTo>
                    <a:pt x="11748" y="44"/>
                    <a:pt x="11771" y="66"/>
                    <a:pt x="11784" y="77"/>
                  </a:cubicBezTo>
                  <a:cubicBezTo>
                    <a:pt x="11899" y="610"/>
                    <a:pt x="11899" y="610"/>
                    <a:pt x="11899" y="610"/>
                  </a:cubicBezTo>
                  <a:cubicBezTo>
                    <a:pt x="11002" y="771"/>
                    <a:pt x="11002" y="771"/>
                    <a:pt x="11002" y="771"/>
                  </a:cubicBezTo>
                  <a:cubicBezTo>
                    <a:pt x="10980" y="642"/>
                    <a:pt x="10980" y="642"/>
                    <a:pt x="10980" y="642"/>
                  </a:cubicBezTo>
                  <a:cubicBezTo>
                    <a:pt x="11209" y="603"/>
                    <a:pt x="11209" y="603"/>
                    <a:pt x="11209" y="603"/>
                  </a:cubicBezTo>
                  <a:cubicBezTo>
                    <a:pt x="11201" y="553"/>
                    <a:pt x="11201" y="553"/>
                    <a:pt x="11201" y="553"/>
                  </a:cubicBezTo>
                  <a:cubicBezTo>
                    <a:pt x="11295" y="537"/>
                    <a:pt x="11295" y="537"/>
                    <a:pt x="11295" y="537"/>
                  </a:cubicBezTo>
                  <a:cubicBezTo>
                    <a:pt x="11273" y="406"/>
                    <a:pt x="11273" y="406"/>
                    <a:pt x="11273" y="406"/>
                  </a:cubicBezTo>
                  <a:cubicBezTo>
                    <a:pt x="11178" y="422"/>
                    <a:pt x="11178" y="422"/>
                    <a:pt x="11178" y="422"/>
                  </a:cubicBezTo>
                  <a:cubicBezTo>
                    <a:pt x="11149" y="254"/>
                    <a:pt x="11149" y="254"/>
                    <a:pt x="11149" y="254"/>
                  </a:cubicBezTo>
                  <a:cubicBezTo>
                    <a:pt x="11108" y="261"/>
                    <a:pt x="11108" y="261"/>
                    <a:pt x="11108" y="261"/>
                  </a:cubicBezTo>
                  <a:cubicBezTo>
                    <a:pt x="11090" y="170"/>
                    <a:pt x="11090" y="170"/>
                    <a:pt x="11090" y="170"/>
                  </a:cubicBezTo>
                  <a:cubicBezTo>
                    <a:pt x="11089" y="163"/>
                    <a:pt x="11089" y="163"/>
                    <a:pt x="11089" y="163"/>
                  </a:cubicBezTo>
                  <a:cubicBezTo>
                    <a:pt x="11005" y="177"/>
                    <a:pt x="11005" y="177"/>
                    <a:pt x="11005" y="177"/>
                  </a:cubicBezTo>
                  <a:cubicBezTo>
                    <a:pt x="11022" y="275"/>
                    <a:pt x="11022" y="275"/>
                    <a:pt x="11022" y="275"/>
                  </a:cubicBezTo>
                  <a:cubicBezTo>
                    <a:pt x="10872" y="300"/>
                    <a:pt x="10872" y="300"/>
                    <a:pt x="10872" y="300"/>
                  </a:cubicBezTo>
                  <a:cubicBezTo>
                    <a:pt x="10880" y="348"/>
                    <a:pt x="10880" y="348"/>
                    <a:pt x="10880" y="348"/>
                  </a:cubicBezTo>
                  <a:cubicBezTo>
                    <a:pt x="10721" y="375"/>
                    <a:pt x="10721" y="375"/>
                    <a:pt x="10721" y="375"/>
                  </a:cubicBezTo>
                  <a:cubicBezTo>
                    <a:pt x="10740" y="484"/>
                    <a:pt x="10740" y="484"/>
                    <a:pt x="10740" y="484"/>
                  </a:cubicBezTo>
                  <a:cubicBezTo>
                    <a:pt x="10895" y="458"/>
                    <a:pt x="10895" y="458"/>
                    <a:pt x="10895" y="458"/>
                  </a:cubicBezTo>
                  <a:cubicBezTo>
                    <a:pt x="10915" y="574"/>
                    <a:pt x="10915" y="574"/>
                    <a:pt x="10915" y="574"/>
                  </a:cubicBezTo>
                  <a:cubicBezTo>
                    <a:pt x="10800" y="594"/>
                    <a:pt x="10800" y="594"/>
                    <a:pt x="10800" y="594"/>
                  </a:cubicBezTo>
                  <a:cubicBezTo>
                    <a:pt x="10835" y="801"/>
                    <a:pt x="10835" y="801"/>
                    <a:pt x="10835" y="801"/>
                  </a:cubicBezTo>
                  <a:cubicBezTo>
                    <a:pt x="10313" y="894"/>
                    <a:pt x="10313" y="894"/>
                    <a:pt x="10313" y="894"/>
                  </a:cubicBezTo>
                  <a:cubicBezTo>
                    <a:pt x="10311" y="878"/>
                    <a:pt x="10309" y="856"/>
                    <a:pt x="10307" y="831"/>
                  </a:cubicBezTo>
                  <a:cubicBezTo>
                    <a:pt x="10301" y="773"/>
                    <a:pt x="10294" y="697"/>
                    <a:pt x="10286" y="620"/>
                  </a:cubicBezTo>
                  <a:cubicBezTo>
                    <a:pt x="10274" y="498"/>
                    <a:pt x="10262" y="376"/>
                    <a:pt x="10257" y="332"/>
                  </a:cubicBezTo>
                  <a:cubicBezTo>
                    <a:pt x="10296" y="298"/>
                    <a:pt x="10391" y="195"/>
                    <a:pt x="10392" y="14"/>
                  </a:cubicBezTo>
                  <a:cubicBezTo>
                    <a:pt x="10392" y="9"/>
                    <a:pt x="10391" y="5"/>
                    <a:pt x="10391" y="0"/>
                  </a:cubicBezTo>
                  <a:cubicBezTo>
                    <a:pt x="10325" y="0"/>
                    <a:pt x="10325" y="0"/>
                    <a:pt x="10325" y="0"/>
                  </a:cubicBezTo>
                  <a:cubicBezTo>
                    <a:pt x="10325" y="5"/>
                    <a:pt x="10326" y="10"/>
                    <a:pt x="10326" y="14"/>
                  </a:cubicBezTo>
                  <a:cubicBezTo>
                    <a:pt x="10326" y="174"/>
                    <a:pt x="10238" y="262"/>
                    <a:pt x="10212" y="285"/>
                  </a:cubicBezTo>
                  <a:cubicBezTo>
                    <a:pt x="9251" y="271"/>
                    <a:pt x="9251" y="271"/>
                    <a:pt x="9251" y="271"/>
                  </a:cubicBezTo>
                  <a:cubicBezTo>
                    <a:pt x="9235" y="0"/>
                    <a:pt x="9235" y="0"/>
                    <a:pt x="9235" y="0"/>
                  </a:cubicBezTo>
                  <a:cubicBezTo>
                    <a:pt x="9169" y="0"/>
                    <a:pt x="9169" y="0"/>
                    <a:pt x="9169" y="0"/>
                  </a:cubicBezTo>
                  <a:cubicBezTo>
                    <a:pt x="9185" y="270"/>
                    <a:pt x="9185" y="270"/>
                    <a:pt x="9185" y="270"/>
                  </a:cubicBezTo>
                  <a:cubicBezTo>
                    <a:pt x="9160" y="270"/>
                    <a:pt x="9160" y="270"/>
                    <a:pt x="9160" y="270"/>
                  </a:cubicBezTo>
                  <a:cubicBezTo>
                    <a:pt x="9150" y="285"/>
                    <a:pt x="9150" y="285"/>
                    <a:pt x="9150" y="285"/>
                  </a:cubicBezTo>
                  <a:cubicBezTo>
                    <a:pt x="9150" y="285"/>
                    <a:pt x="9102" y="360"/>
                    <a:pt x="9045" y="446"/>
                  </a:cubicBezTo>
                  <a:cubicBezTo>
                    <a:pt x="8989" y="533"/>
                    <a:pt x="8924" y="631"/>
                    <a:pt x="8891" y="677"/>
                  </a:cubicBezTo>
                  <a:cubicBezTo>
                    <a:pt x="8891" y="677"/>
                    <a:pt x="8891" y="678"/>
                    <a:pt x="8890" y="678"/>
                  </a:cubicBezTo>
                  <a:cubicBezTo>
                    <a:pt x="7749" y="0"/>
                    <a:pt x="7749" y="0"/>
                    <a:pt x="7749" y="0"/>
                  </a:cubicBezTo>
                  <a:cubicBezTo>
                    <a:pt x="7595" y="0"/>
                    <a:pt x="7595" y="0"/>
                    <a:pt x="7595" y="0"/>
                  </a:cubicBezTo>
                  <a:cubicBezTo>
                    <a:pt x="7528" y="121"/>
                    <a:pt x="7528" y="121"/>
                    <a:pt x="7528" y="121"/>
                  </a:cubicBezTo>
                  <a:cubicBezTo>
                    <a:pt x="7528" y="123"/>
                    <a:pt x="7528" y="123"/>
                    <a:pt x="7528" y="123"/>
                  </a:cubicBezTo>
                  <a:cubicBezTo>
                    <a:pt x="7526" y="126"/>
                    <a:pt x="7503" y="181"/>
                    <a:pt x="7503" y="275"/>
                  </a:cubicBezTo>
                  <a:cubicBezTo>
                    <a:pt x="7503" y="343"/>
                    <a:pt x="7515" y="430"/>
                    <a:pt x="7556" y="532"/>
                  </a:cubicBezTo>
                  <a:cubicBezTo>
                    <a:pt x="7642" y="746"/>
                    <a:pt x="7752" y="965"/>
                    <a:pt x="7771" y="1002"/>
                  </a:cubicBezTo>
                  <a:cubicBezTo>
                    <a:pt x="7847" y="1703"/>
                    <a:pt x="7847" y="1703"/>
                    <a:pt x="7847" y="1703"/>
                  </a:cubicBezTo>
                  <a:cubicBezTo>
                    <a:pt x="7759" y="1945"/>
                    <a:pt x="7759" y="1945"/>
                    <a:pt x="7759" y="1945"/>
                  </a:cubicBezTo>
                  <a:cubicBezTo>
                    <a:pt x="7722" y="1943"/>
                    <a:pt x="7694" y="1942"/>
                    <a:pt x="7684" y="1941"/>
                  </a:cubicBezTo>
                  <a:cubicBezTo>
                    <a:pt x="7683" y="1941"/>
                    <a:pt x="7682" y="1941"/>
                    <a:pt x="7681" y="1941"/>
                  </a:cubicBezTo>
                  <a:cubicBezTo>
                    <a:pt x="7681" y="1941"/>
                    <a:pt x="7557" y="1936"/>
                    <a:pt x="7373" y="1930"/>
                  </a:cubicBezTo>
                  <a:cubicBezTo>
                    <a:pt x="7331" y="1928"/>
                    <a:pt x="7286" y="1927"/>
                    <a:pt x="7239" y="1925"/>
                  </a:cubicBezTo>
                  <a:cubicBezTo>
                    <a:pt x="6718" y="439"/>
                    <a:pt x="6718" y="439"/>
                    <a:pt x="6718" y="439"/>
                  </a:cubicBezTo>
                  <a:cubicBezTo>
                    <a:pt x="6725" y="395"/>
                    <a:pt x="6759" y="187"/>
                    <a:pt x="6790" y="0"/>
                  </a:cubicBezTo>
                  <a:cubicBezTo>
                    <a:pt x="6723" y="0"/>
                    <a:pt x="6723" y="0"/>
                    <a:pt x="6723" y="0"/>
                  </a:cubicBezTo>
                  <a:cubicBezTo>
                    <a:pt x="6720" y="20"/>
                    <a:pt x="6717" y="39"/>
                    <a:pt x="6714" y="59"/>
                  </a:cubicBezTo>
                  <a:cubicBezTo>
                    <a:pt x="6689" y="209"/>
                    <a:pt x="6664" y="359"/>
                    <a:pt x="6655" y="414"/>
                  </a:cubicBezTo>
                  <a:cubicBezTo>
                    <a:pt x="6562" y="433"/>
                    <a:pt x="6481" y="441"/>
                    <a:pt x="6411" y="441"/>
                  </a:cubicBezTo>
                  <a:cubicBezTo>
                    <a:pt x="6259" y="441"/>
                    <a:pt x="6151" y="408"/>
                    <a:pt x="6051" y="385"/>
                  </a:cubicBezTo>
                  <a:cubicBezTo>
                    <a:pt x="5979" y="369"/>
                    <a:pt x="5736" y="306"/>
                    <a:pt x="5512" y="247"/>
                  </a:cubicBezTo>
                  <a:cubicBezTo>
                    <a:pt x="5316" y="195"/>
                    <a:pt x="5135" y="147"/>
                    <a:pt x="5091" y="135"/>
                  </a:cubicBezTo>
                  <a:cubicBezTo>
                    <a:pt x="5092" y="92"/>
                    <a:pt x="5093" y="47"/>
                    <a:pt x="5094" y="0"/>
                  </a:cubicBezTo>
                  <a:cubicBezTo>
                    <a:pt x="5029" y="0"/>
                    <a:pt x="5029" y="0"/>
                    <a:pt x="5029" y="0"/>
                  </a:cubicBezTo>
                  <a:cubicBezTo>
                    <a:pt x="5027" y="79"/>
                    <a:pt x="5025" y="154"/>
                    <a:pt x="5023" y="219"/>
                  </a:cubicBezTo>
                  <a:cubicBezTo>
                    <a:pt x="5020" y="325"/>
                    <a:pt x="5017" y="406"/>
                    <a:pt x="5016" y="440"/>
                  </a:cubicBezTo>
                  <a:cubicBezTo>
                    <a:pt x="4598" y="162"/>
                    <a:pt x="4598" y="162"/>
                    <a:pt x="4598" y="162"/>
                  </a:cubicBezTo>
                  <a:cubicBezTo>
                    <a:pt x="4591" y="174"/>
                    <a:pt x="4591" y="174"/>
                    <a:pt x="4591" y="174"/>
                  </a:cubicBezTo>
                  <a:cubicBezTo>
                    <a:pt x="5016" y="456"/>
                    <a:pt x="5016" y="456"/>
                    <a:pt x="5016" y="456"/>
                  </a:cubicBezTo>
                  <a:cubicBezTo>
                    <a:pt x="5016" y="456"/>
                    <a:pt x="5016" y="457"/>
                    <a:pt x="5016" y="457"/>
                  </a:cubicBezTo>
                  <a:cubicBezTo>
                    <a:pt x="5015" y="459"/>
                    <a:pt x="5015" y="459"/>
                    <a:pt x="5015" y="459"/>
                  </a:cubicBezTo>
                  <a:cubicBezTo>
                    <a:pt x="5080" y="1026"/>
                    <a:pt x="5080" y="1026"/>
                    <a:pt x="5080" y="1026"/>
                  </a:cubicBezTo>
                  <a:cubicBezTo>
                    <a:pt x="4608" y="716"/>
                    <a:pt x="4608" y="716"/>
                    <a:pt x="4608" y="716"/>
                  </a:cubicBezTo>
                  <a:cubicBezTo>
                    <a:pt x="4354" y="244"/>
                    <a:pt x="4354" y="244"/>
                    <a:pt x="4354" y="244"/>
                  </a:cubicBezTo>
                  <a:cubicBezTo>
                    <a:pt x="4381" y="237"/>
                    <a:pt x="4419" y="225"/>
                    <a:pt x="4457" y="213"/>
                  </a:cubicBezTo>
                  <a:cubicBezTo>
                    <a:pt x="4523" y="193"/>
                    <a:pt x="4588" y="172"/>
                    <a:pt x="4588" y="172"/>
                  </a:cubicBezTo>
                  <a:cubicBezTo>
                    <a:pt x="4592" y="171"/>
                    <a:pt x="4592" y="171"/>
                    <a:pt x="4592" y="171"/>
                  </a:cubicBezTo>
                  <a:cubicBezTo>
                    <a:pt x="4646" y="0"/>
                    <a:pt x="4646" y="0"/>
                    <a:pt x="4646" y="0"/>
                  </a:cubicBezTo>
                  <a:cubicBezTo>
                    <a:pt x="4632" y="0"/>
                    <a:pt x="4632" y="0"/>
                    <a:pt x="4632" y="0"/>
                  </a:cubicBezTo>
                  <a:cubicBezTo>
                    <a:pt x="4581" y="160"/>
                    <a:pt x="4581" y="160"/>
                    <a:pt x="4581" y="160"/>
                  </a:cubicBezTo>
                  <a:cubicBezTo>
                    <a:pt x="4566" y="165"/>
                    <a:pt x="4510" y="182"/>
                    <a:pt x="4453" y="200"/>
                  </a:cubicBezTo>
                  <a:cubicBezTo>
                    <a:pt x="4414" y="212"/>
                    <a:pt x="4374" y="224"/>
                    <a:pt x="4347" y="232"/>
                  </a:cubicBezTo>
                  <a:cubicBezTo>
                    <a:pt x="4294" y="132"/>
                    <a:pt x="4294" y="132"/>
                    <a:pt x="4294" y="132"/>
                  </a:cubicBezTo>
                  <a:cubicBezTo>
                    <a:pt x="4307" y="0"/>
                    <a:pt x="4307" y="0"/>
                    <a:pt x="4307" y="0"/>
                  </a:cubicBezTo>
                  <a:cubicBezTo>
                    <a:pt x="4262" y="0"/>
                    <a:pt x="4262" y="0"/>
                    <a:pt x="4262" y="0"/>
                  </a:cubicBezTo>
                  <a:cubicBezTo>
                    <a:pt x="4248" y="142"/>
                    <a:pt x="4248" y="142"/>
                    <a:pt x="4248" y="142"/>
                  </a:cubicBezTo>
                  <a:cubicBezTo>
                    <a:pt x="4390" y="407"/>
                    <a:pt x="4390" y="407"/>
                    <a:pt x="4390" y="407"/>
                  </a:cubicBezTo>
                  <a:cubicBezTo>
                    <a:pt x="4374" y="417"/>
                    <a:pt x="4346" y="435"/>
                    <a:pt x="4317" y="453"/>
                  </a:cubicBezTo>
                  <a:cubicBezTo>
                    <a:pt x="4278" y="479"/>
                    <a:pt x="4239" y="504"/>
                    <a:pt x="4225" y="515"/>
                  </a:cubicBezTo>
                  <a:cubicBezTo>
                    <a:pt x="4224" y="514"/>
                    <a:pt x="4223" y="514"/>
                    <a:pt x="4222" y="513"/>
                  </a:cubicBezTo>
                  <a:cubicBezTo>
                    <a:pt x="4217" y="509"/>
                    <a:pt x="4210" y="504"/>
                    <a:pt x="4201" y="498"/>
                  </a:cubicBezTo>
                  <a:cubicBezTo>
                    <a:pt x="4182" y="485"/>
                    <a:pt x="4156" y="467"/>
                    <a:pt x="4124" y="446"/>
                  </a:cubicBezTo>
                  <a:cubicBezTo>
                    <a:pt x="4061" y="403"/>
                    <a:pt x="3977" y="346"/>
                    <a:pt x="3891" y="289"/>
                  </a:cubicBezTo>
                  <a:cubicBezTo>
                    <a:pt x="3859" y="267"/>
                    <a:pt x="3826" y="245"/>
                    <a:pt x="3795" y="224"/>
                  </a:cubicBezTo>
                  <a:cubicBezTo>
                    <a:pt x="3894" y="0"/>
                    <a:pt x="3894" y="0"/>
                    <a:pt x="3894" y="0"/>
                  </a:cubicBezTo>
                  <a:cubicBezTo>
                    <a:pt x="3878" y="0"/>
                    <a:pt x="3878" y="0"/>
                    <a:pt x="3878" y="0"/>
                  </a:cubicBezTo>
                  <a:cubicBezTo>
                    <a:pt x="3783" y="216"/>
                    <a:pt x="3783" y="216"/>
                    <a:pt x="3783" y="216"/>
                  </a:cubicBezTo>
                  <a:cubicBezTo>
                    <a:pt x="3663" y="135"/>
                    <a:pt x="3559" y="66"/>
                    <a:pt x="3537" y="50"/>
                  </a:cubicBezTo>
                  <a:cubicBezTo>
                    <a:pt x="3537" y="49"/>
                    <a:pt x="3537" y="48"/>
                    <a:pt x="3538" y="46"/>
                  </a:cubicBezTo>
                  <a:cubicBezTo>
                    <a:pt x="3538" y="40"/>
                    <a:pt x="3539" y="33"/>
                    <a:pt x="3539" y="24"/>
                  </a:cubicBezTo>
                  <a:cubicBezTo>
                    <a:pt x="3540" y="17"/>
                    <a:pt x="3540" y="9"/>
                    <a:pt x="3540" y="0"/>
                  </a:cubicBezTo>
                  <a:cubicBezTo>
                    <a:pt x="3526" y="0"/>
                    <a:pt x="3526" y="0"/>
                    <a:pt x="3526" y="0"/>
                  </a:cubicBezTo>
                  <a:cubicBezTo>
                    <a:pt x="3525" y="24"/>
                    <a:pt x="3524" y="43"/>
                    <a:pt x="3523" y="49"/>
                  </a:cubicBezTo>
                  <a:cubicBezTo>
                    <a:pt x="3522" y="50"/>
                    <a:pt x="3522" y="51"/>
                    <a:pt x="3522" y="52"/>
                  </a:cubicBezTo>
                  <a:cubicBezTo>
                    <a:pt x="3520" y="60"/>
                    <a:pt x="3520" y="60"/>
                    <a:pt x="3520" y="60"/>
                  </a:cubicBezTo>
                  <a:cubicBezTo>
                    <a:pt x="3526" y="60"/>
                    <a:pt x="3526" y="60"/>
                    <a:pt x="3526" y="60"/>
                  </a:cubicBezTo>
                  <a:cubicBezTo>
                    <a:pt x="3526" y="60"/>
                    <a:pt x="3526" y="60"/>
                    <a:pt x="3526" y="60"/>
                  </a:cubicBezTo>
                  <a:cubicBezTo>
                    <a:pt x="3528" y="61"/>
                    <a:pt x="3530" y="62"/>
                    <a:pt x="3532" y="64"/>
                  </a:cubicBezTo>
                  <a:cubicBezTo>
                    <a:pt x="3537" y="67"/>
                    <a:pt x="3544" y="72"/>
                    <a:pt x="3553" y="78"/>
                  </a:cubicBezTo>
                  <a:cubicBezTo>
                    <a:pt x="3572" y="91"/>
                    <a:pt x="3598" y="108"/>
                    <a:pt x="3629" y="130"/>
                  </a:cubicBezTo>
                  <a:cubicBezTo>
                    <a:pt x="3692" y="172"/>
                    <a:pt x="3776" y="228"/>
                    <a:pt x="3861" y="285"/>
                  </a:cubicBezTo>
                  <a:cubicBezTo>
                    <a:pt x="4029" y="398"/>
                    <a:pt x="4202" y="514"/>
                    <a:pt x="4220" y="528"/>
                  </a:cubicBezTo>
                  <a:cubicBezTo>
                    <a:pt x="4221" y="531"/>
                    <a:pt x="4224" y="531"/>
                    <a:pt x="4226" y="531"/>
                  </a:cubicBezTo>
                  <a:cubicBezTo>
                    <a:pt x="4226" y="531"/>
                    <a:pt x="4230" y="532"/>
                    <a:pt x="4232" y="528"/>
                  </a:cubicBezTo>
                  <a:cubicBezTo>
                    <a:pt x="4232" y="528"/>
                    <a:pt x="4232" y="528"/>
                    <a:pt x="4232" y="527"/>
                  </a:cubicBezTo>
                  <a:cubicBezTo>
                    <a:pt x="4233" y="527"/>
                    <a:pt x="4235" y="525"/>
                    <a:pt x="4237" y="523"/>
                  </a:cubicBezTo>
                  <a:cubicBezTo>
                    <a:pt x="4242" y="520"/>
                    <a:pt x="4249" y="515"/>
                    <a:pt x="4258" y="509"/>
                  </a:cubicBezTo>
                  <a:cubicBezTo>
                    <a:pt x="4275" y="498"/>
                    <a:pt x="4298" y="483"/>
                    <a:pt x="4320" y="468"/>
                  </a:cubicBezTo>
                  <a:cubicBezTo>
                    <a:pt x="4350" y="449"/>
                    <a:pt x="4380" y="430"/>
                    <a:pt x="4397" y="419"/>
                  </a:cubicBezTo>
                  <a:cubicBezTo>
                    <a:pt x="4566" y="734"/>
                    <a:pt x="4566" y="734"/>
                    <a:pt x="4566" y="734"/>
                  </a:cubicBezTo>
                  <a:cubicBezTo>
                    <a:pt x="4206" y="1801"/>
                    <a:pt x="4206" y="1801"/>
                    <a:pt x="4206" y="1801"/>
                  </a:cubicBezTo>
                  <a:cubicBezTo>
                    <a:pt x="4188" y="1802"/>
                    <a:pt x="4167" y="1803"/>
                    <a:pt x="4144" y="1803"/>
                  </a:cubicBezTo>
                  <a:cubicBezTo>
                    <a:pt x="4113" y="1803"/>
                    <a:pt x="4080" y="1801"/>
                    <a:pt x="4053" y="1798"/>
                  </a:cubicBezTo>
                  <a:cubicBezTo>
                    <a:pt x="4025" y="1794"/>
                    <a:pt x="4003" y="1787"/>
                    <a:pt x="3997" y="1784"/>
                  </a:cubicBezTo>
                  <a:cubicBezTo>
                    <a:pt x="3989" y="1781"/>
                    <a:pt x="3959" y="1752"/>
                    <a:pt x="3932" y="1715"/>
                  </a:cubicBezTo>
                  <a:cubicBezTo>
                    <a:pt x="3905" y="1677"/>
                    <a:pt x="3878" y="1631"/>
                    <a:pt x="3855" y="1592"/>
                  </a:cubicBezTo>
                  <a:cubicBezTo>
                    <a:pt x="3848" y="1579"/>
                    <a:pt x="3826" y="1534"/>
                    <a:pt x="3802" y="1479"/>
                  </a:cubicBezTo>
                  <a:cubicBezTo>
                    <a:pt x="3783" y="1433"/>
                    <a:pt x="3760" y="1379"/>
                    <a:pt x="3737" y="1324"/>
                  </a:cubicBezTo>
                  <a:cubicBezTo>
                    <a:pt x="3739" y="1289"/>
                    <a:pt x="3749" y="1110"/>
                    <a:pt x="3755" y="1038"/>
                  </a:cubicBezTo>
                  <a:cubicBezTo>
                    <a:pt x="3756" y="1026"/>
                    <a:pt x="3756" y="1014"/>
                    <a:pt x="3756" y="1000"/>
                  </a:cubicBezTo>
                  <a:cubicBezTo>
                    <a:pt x="3756" y="945"/>
                    <a:pt x="3750" y="864"/>
                    <a:pt x="3733" y="777"/>
                  </a:cubicBezTo>
                  <a:cubicBezTo>
                    <a:pt x="3716" y="691"/>
                    <a:pt x="3690" y="600"/>
                    <a:pt x="3641" y="525"/>
                  </a:cubicBezTo>
                  <a:cubicBezTo>
                    <a:pt x="3607" y="475"/>
                    <a:pt x="3554" y="432"/>
                    <a:pt x="3490" y="384"/>
                  </a:cubicBezTo>
                  <a:cubicBezTo>
                    <a:pt x="3426" y="337"/>
                    <a:pt x="3351" y="289"/>
                    <a:pt x="3280" y="244"/>
                  </a:cubicBezTo>
                  <a:cubicBezTo>
                    <a:pt x="3150" y="164"/>
                    <a:pt x="3030" y="99"/>
                    <a:pt x="3009" y="88"/>
                  </a:cubicBezTo>
                  <a:cubicBezTo>
                    <a:pt x="3009" y="86"/>
                    <a:pt x="3009" y="85"/>
                    <a:pt x="3009" y="83"/>
                  </a:cubicBezTo>
                  <a:cubicBezTo>
                    <a:pt x="3009" y="55"/>
                    <a:pt x="3005" y="27"/>
                    <a:pt x="2999" y="0"/>
                  </a:cubicBezTo>
                  <a:cubicBezTo>
                    <a:pt x="2834" y="0"/>
                    <a:pt x="2834" y="0"/>
                    <a:pt x="2834" y="0"/>
                  </a:cubicBezTo>
                  <a:cubicBezTo>
                    <a:pt x="2845" y="26"/>
                    <a:pt x="2851" y="54"/>
                    <a:pt x="2851" y="83"/>
                  </a:cubicBezTo>
                  <a:cubicBezTo>
                    <a:pt x="2851" y="198"/>
                    <a:pt x="2758" y="291"/>
                    <a:pt x="2644" y="291"/>
                  </a:cubicBezTo>
                  <a:cubicBezTo>
                    <a:pt x="2529" y="291"/>
                    <a:pt x="2436" y="198"/>
                    <a:pt x="2436" y="83"/>
                  </a:cubicBezTo>
                  <a:cubicBezTo>
                    <a:pt x="2436" y="54"/>
                    <a:pt x="2442" y="26"/>
                    <a:pt x="2454" y="0"/>
                  </a:cubicBezTo>
                  <a:cubicBezTo>
                    <a:pt x="2289" y="0"/>
                    <a:pt x="2289" y="0"/>
                    <a:pt x="2289" y="0"/>
                  </a:cubicBezTo>
                  <a:cubicBezTo>
                    <a:pt x="2283" y="27"/>
                    <a:pt x="2278" y="55"/>
                    <a:pt x="2278" y="83"/>
                  </a:cubicBezTo>
                  <a:cubicBezTo>
                    <a:pt x="2278" y="95"/>
                    <a:pt x="2279" y="106"/>
                    <a:pt x="2280" y="118"/>
                  </a:cubicBezTo>
                  <a:cubicBezTo>
                    <a:pt x="2227" y="110"/>
                    <a:pt x="2153" y="98"/>
                    <a:pt x="2073" y="86"/>
                  </a:cubicBezTo>
                  <a:cubicBezTo>
                    <a:pt x="1919" y="61"/>
                    <a:pt x="1741" y="31"/>
                    <a:pt x="1656" y="11"/>
                  </a:cubicBezTo>
                  <a:cubicBezTo>
                    <a:pt x="1643" y="8"/>
                    <a:pt x="1631" y="4"/>
                    <a:pt x="1619" y="0"/>
                  </a:cubicBezTo>
                  <a:cubicBezTo>
                    <a:pt x="1258" y="0"/>
                    <a:pt x="1258" y="0"/>
                    <a:pt x="1258" y="0"/>
                  </a:cubicBezTo>
                  <a:cubicBezTo>
                    <a:pt x="1369" y="66"/>
                    <a:pt x="1477" y="125"/>
                    <a:pt x="1621" y="159"/>
                  </a:cubicBezTo>
                  <a:cubicBezTo>
                    <a:pt x="1717" y="181"/>
                    <a:pt x="1893" y="211"/>
                    <a:pt x="2049" y="236"/>
                  </a:cubicBezTo>
                  <a:cubicBezTo>
                    <a:pt x="2170" y="255"/>
                    <a:pt x="2290" y="274"/>
                    <a:pt x="2337" y="281"/>
                  </a:cubicBezTo>
                  <a:cubicBezTo>
                    <a:pt x="2351" y="304"/>
                    <a:pt x="2368" y="325"/>
                    <a:pt x="2387" y="343"/>
                  </a:cubicBezTo>
                  <a:cubicBezTo>
                    <a:pt x="2367" y="370"/>
                    <a:pt x="2325" y="424"/>
                    <a:pt x="2274" y="490"/>
                  </a:cubicBezTo>
                  <a:cubicBezTo>
                    <a:pt x="2200" y="584"/>
                    <a:pt x="2108" y="701"/>
                    <a:pt x="2031" y="788"/>
                  </a:cubicBezTo>
                  <a:cubicBezTo>
                    <a:pt x="1982" y="846"/>
                    <a:pt x="1935" y="894"/>
                    <a:pt x="1919" y="906"/>
                  </a:cubicBezTo>
                  <a:cubicBezTo>
                    <a:pt x="1912" y="911"/>
                    <a:pt x="1891" y="923"/>
                    <a:pt x="1864" y="937"/>
                  </a:cubicBezTo>
                  <a:cubicBezTo>
                    <a:pt x="1836" y="952"/>
                    <a:pt x="1801" y="968"/>
                    <a:pt x="1760" y="987"/>
                  </a:cubicBezTo>
                  <a:cubicBezTo>
                    <a:pt x="1679" y="1023"/>
                    <a:pt x="1577" y="1066"/>
                    <a:pt x="1472" y="1109"/>
                  </a:cubicBezTo>
                  <a:cubicBezTo>
                    <a:pt x="1261" y="1195"/>
                    <a:pt x="1034" y="1282"/>
                    <a:pt x="917" y="1329"/>
                  </a:cubicBezTo>
                  <a:cubicBezTo>
                    <a:pt x="680" y="1422"/>
                    <a:pt x="342" y="1579"/>
                    <a:pt x="340" y="1580"/>
                  </a:cubicBezTo>
                  <a:cubicBezTo>
                    <a:pt x="340" y="1580"/>
                    <a:pt x="204" y="1645"/>
                    <a:pt x="0" y="1743"/>
                  </a:cubicBezTo>
                  <a:cubicBezTo>
                    <a:pt x="0" y="1913"/>
                    <a:pt x="0" y="1913"/>
                    <a:pt x="0" y="1913"/>
                  </a:cubicBezTo>
                  <a:cubicBezTo>
                    <a:pt x="24" y="1901"/>
                    <a:pt x="47" y="1890"/>
                    <a:pt x="69" y="1880"/>
                  </a:cubicBezTo>
                  <a:cubicBezTo>
                    <a:pt x="271" y="1782"/>
                    <a:pt x="405" y="1718"/>
                    <a:pt x="405" y="1718"/>
                  </a:cubicBezTo>
                  <a:cubicBezTo>
                    <a:pt x="406" y="1718"/>
                    <a:pt x="441" y="1701"/>
                    <a:pt x="496" y="1676"/>
                  </a:cubicBezTo>
                  <a:cubicBezTo>
                    <a:pt x="513" y="1711"/>
                    <a:pt x="542" y="1775"/>
                    <a:pt x="579" y="1857"/>
                  </a:cubicBezTo>
                  <a:cubicBezTo>
                    <a:pt x="637" y="1984"/>
                    <a:pt x="715" y="2155"/>
                    <a:pt x="793" y="2329"/>
                  </a:cubicBezTo>
                  <a:cubicBezTo>
                    <a:pt x="951" y="2675"/>
                    <a:pt x="1113" y="3033"/>
                    <a:pt x="1128" y="3071"/>
                  </a:cubicBezTo>
                  <a:cubicBezTo>
                    <a:pt x="1142" y="3105"/>
                    <a:pt x="1187" y="3265"/>
                    <a:pt x="1231" y="3438"/>
                  </a:cubicBezTo>
                  <a:cubicBezTo>
                    <a:pt x="1244" y="3491"/>
                    <a:pt x="1257" y="3546"/>
                    <a:pt x="1270" y="3600"/>
                  </a:cubicBezTo>
                  <a:cubicBezTo>
                    <a:pt x="1337" y="3600"/>
                    <a:pt x="1337" y="3600"/>
                    <a:pt x="1337" y="3600"/>
                  </a:cubicBezTo>
                  <a:cubicBezTo>
                    <a:pt x="1324" y="3541"/>
                    <a:pt x="1309" y="3481"/>
                    <a:pt x="1294" y="3422"/>
                  </a:cubicBezTo>
                  <a:cubicBezTo>
                    <a:pt x="1250" y="3246"/>
                    <a:pt x="1206" y="3091"/>
                    <a:pt x="1189" y="3046"/>
                  </a:cubicBezTo>
                  <a:cubicBezTo>
                    <a:pt x="1172" y="3004"/>
                    <a:pt x="1011" y="2649"/>
                    <a:pt x="853" y="2301"/>
                  </a:cubicBezTo>
                  <a:cubicBezTo>
                    <a:pt x="831" y="2252"/>
                    <a:pt x="809" y="2204"/>
                    <a:pt x="787" y="2156"/>
                  </a:cubicBezTo>
                  <a:cubicBezTo>
                    <a:pt x="2314" y="1770"/>
                    <a:pt x="2314" y="1770"/>
                    <a:pt x="2314" y="1770"/>
                  </a:cubicBezTo>
                  <a:cubicBezTo>
                    <a:pt x="2322" y="1811"/>
                    <a:pt x="2331" y="1847"/>
                    <a:pt x="2342" y="1872"/>
                  </a:cubicBezTo>
                  <a:cubicBezTo>
                    <a:pt x="2373" y="1937"/>
                    <a:pt x="2446" y="1969"/>
                    <a:pt x="2530" y="1969"/>
                  </a:cubicBezTo>
                  <a:cubicBezTo>
                    <a:pt x="2530" y="1969"/>
                    <a:pt x="2531" y="1969"/>
                    <a:pt x="2531" y="1969"/>
                  </a:cubicBezTo>
                  <a:cubicBezTo>
                    <a:pt x="2537" y="1969"/>
                    <a:pt x="2542" y="1968"/>
                    <a:pt x="2548" y="1968"/>
                  </a:cubicBezTo>
                  <a:cubicBezTo>
                    <a:pt x="2586" y="1966"/>
                    <a:pt x="2648" y="1965"/>
                    <a:pt x="2715" y="1962"/>
                  </a:cubicBezTo>
                  <a:cubicBezTo>
                    <a:pt x="2820" y="2460"/>
                    <a:pt x="2820" y="2460"/>
                    <a:pt x="2820" y="2460"/>
                  </a:cubicBezTo>
                  <a:cubicBezTo>
                    <a:pt x="2820" y="2461"/>
                    <a:pt x="2820" y="2461"/>
                    <a:pt x="2820" y="2462"/>
                  </a:cubicBezTo>
                  <a:cubicBezTo>
                    <a:pt x="2820" y="2468"/>
                    <a:pt x="2821" y="2473"/>
                    <a:pt x="2824" y="2477"/>
                  </a:cubicBezTo>
                  <a:cubicBezTo>
                    <a:pt x="3044" y="3519"/>
                    <a:pt x="3044" y="3519"/>
                    <a:pt x="3044" y="3519"/>
                  </a:cubicBezTo>
                  <a:cubicBezTo>
                    <a:pt x="1522" y="3600"/>
                    <a:pt x="1522" y="3600"/>
                    <a:pt x="1522" y="3600"/>
                  </a:cubicBezTo>
                  <a:cubicBezTo>
                    <a:pt x="2367" y="3600"/>
                    <a:pt x="2367" y="3600"/>
                    <a:pt x="2367" y="3600"/>
                  </a:cubicBezTo>
                  <a:cubicBezTo>
                    <a:pt x="3053" y="3564"/>
                    <a:pt x="3053" y="3564"/>
                    <a:pt x="3053" y="3564"/>
                  </a:cubicBezTo>
                  <a:cubicBezTo>
                    <a:pt x="3061" y="3600"/>
                    <a:pt x="3061" y="3600"/>
                    <a:pt x="3061" y="3600"/>
                  </a:cubicBezTo>
                  <a:cubicBezTo>
                    <a:pt x="3128" y="3600"/>
                    <a:pt x="3128" y="3600"/>
                    <a:pt x="3128" y="3600"/>
                  </a:cubicBezTo>
                  <a:cubicBezTo>
                    <a:pt x="3123" y="3577"/>
                    <a:pt x="3123" y="3577"/>
                    <a:pt x="3123" y="3577"/>
                  </a:cubicBezTo>
                  <a:cubicBezTo>
                    <a:pt x="3170" y="3578"/>
                    <a:pt x="3256" y="3579"/>
                    <a:pt x="3343" y="3580"/>
                  </a:cubicBezTo>
                  <a:cubicBezTo>
                    <a:pt x="3472" y="3581"/>
                    <a:pt x="3605" y="3583"/>
                    <a:pt x="3616" y="3585"/>
                  </a:cubicBezTo>
                  <a:cubicBezTo>
                    <a:pt x="3620" y="3586"/>
                    <a:pt x="3644" y="3592"/>
                    <a:pt x="3676" y="3600"/>
                  </a:cubicBezTo>
                  <a:cubicBezTo>
                    <a:pt x="3734" y="3600"/>
                    <a:pt x="3734" y="3600"/>
                    <a:pt x="3734" y="3600"/>
                  </a:cubicBezTo>
                  <a:cubicBezTo>
                    <a:pt x="3673" y="3585"/>
                    <a:pt x="3622" y="3572"/>
                    <a:pt x="3620" y="3571"/>
                  </a:cubicBezTo>
                  <a:cubicBezTo>
                    <a:pt x="3615" y="3570"/>
                    <a:pt x="3608" y="3570"/>
                    <a:pt x="3593" y="3570"/>
                  </a:cubicBezTo>
                  <a:cubicBezTo>
                    <a:pt x="3577" y="3569"/>
                    <a:pt x="3556" y="3569"/>
                    <a:pt x="3531" y="3569"/>
                  </a:cubicBezTo>
                  <a:cubicBezTo>
                    <a:pt x="3481" y="3568"/>
                    <a:pt x="3415" y="3567"/>
                    <a:pt x="3349" y="3566"/>
                  </a:cubicBezTo>
                  <a:cubicBezTo>
                    <a:pt x="3258" y="3565"/>
                    <a:pt x="3167" y="3564"/>
                    <a:pt x="3120" y="3563"/>
                  </a:cubicBezTo>
                  <a:cubicBezTo>
                    <a:pt x="3080" y="3374"/>
                    <a:pt x="3080" y="3374"/>
                    <a:pt x="3080" y="3374"/>
                  </a:cubicBezTo>
                  <a:cubicBezTo>
                    <a:pt x="3581" y="3366"/>
                    <a:pt x="3581" y="3366"/>
                    <a:pt x="3581" y="3366"/>
                  </a:cubicBezTo>
                  <a:cubicBezTo>
                    <a:pt x="3604" y="3376"/>
                    <a:pt x="3929" y="3505"/>
                    <a:pt x="3969" y="3520"/>
                  </a:cubicBezTo>
                  <a:cubicBezTo>
                    <a:pt x="3969" y="3539"/>
                    <a:pt x="3969" y="3552"/>
                    <a:pt x="3969" y="3555"/>
                  </a:cubicBezTo>
                  <a:cubicBezTo>
                    <a:pt x="3958" y="3600"/>
                    <a:pt x="3958" y="3600"/>
                    <a:pt x="3958" y="3600"/>
                  </a:cubicBezTo>
                  <a:cubicBezTo>
                    <a:pt x="3972" y="3600"/>
                    <a:pt x="3972" y="3600"/>
                    <a:pt x="3972" y="3600"/>
                  </a:cubicBezTo>
                  <a:cubicBezTo>
                    <a:pt x="3982" y="3557"/>
                    <a:pt x="3982" y="3557"/>
                    <a:pt x="3982" y="3557"/>
                  </a:cubicBezTo>
                  <a:cubicBezTo>
                    <a:pt x="3982" y="3556"/>
                    <a:pt x="3982" y="3556"/>
                    <a:pt x="3982" y="3556"/>
                  </a:cubicBezTo>
                  <a:cubicBezTo>
                    <a:pt x="3982" y="3556"/>
                    <a:pt x="3983" y="3544"/>
                    <a:pt x="3983" y="3523"/>
                  </a:cubicBezTo>
                  <a:cubicBezTo>
                    <a:pt x="4018" y="3529"/>
                    <a:pt x="4146" y="3546"/>
                    <a:pt x="4274" y="3563"/>
                  </a:cubicBezTo>
                  <a:cubicBezTo>
                    <a:pt x="4394" y="3578"/>
                    <a:pt x="4514" y="3594"/>
                    <a:pt x="4554" y="3599"/>
                  </a:cubicBezTo>
                  <a:cubicBezTo>
                    <a:pt x="4554" y="3600"/>
                    <a:pt x="4554" y="3600"/>
                    <a:pt x="4554" y="3600"/>
                  </a:cubicBezTo>
                  <a:cubicBezTo>
                    <a:pt x="4707" y="3600"/>
                    <a:pt x="4707" y="3600"/>
                    <a:pt x="4707" y="3600"/>
                  </a:cubicBezTo>
                  <a:cubicBezTo>
                    <a:pt x="4923" y="1907"/>
                    <a:pt x="4923" y="1907"/>
                    <a:pt x="4923" y="1907"/>
                  </a:cubicBezTo>
                  <a:cubicBezTo>
                    <a:pt x="4987" y="1895"/>
                    <a:pt x="4987" y="1895"/>
                    <a:pt x="4987" y="1895"/>
                  </a:cubicBezTo>
                  <a:cubicBezTo>
                    <a:pt x="4976" y="1986"/>
                    <a:pt x="4955" y="2149"/>
                    <a:pt x="4928" y="2362"/>
                  </a:cubicBezTo>
                  <a:cubicBezTo>
                    <a:pt x="4887" y="2688"/>
                    <a:pt x="4831" y="3129"/>
                    <a:pt x="4771" y="3600"/>
                  </a:cubicBezTo>
                  <a:cubicBezTo>
                    <a:pt x="4925" y="3600"/>
                    <a:pt x="4925" y="3600"/>
                    <a:pt x="4925" y="3600"/>
                  </a:cubicBezTo>
                  <a:cubicBezTo>
                    <a:pt x="4932" y="3547"/>
                    <a:pt x="4938" y="3495"/>
                    <a:pt x="4945" y="3443"/>
                  </a:cubicBezTo>
                  <a:cubicBezTo>
                    <a:pt x="5515" y="3527"/>
                    <a:pt x="5515" y="3527"/>
                    <a:pt x="5515" y="3527"/>
                  </a:cubicBezTo>
                  <a:cubicBezTo>
                    <a:pt x="5507" y="3600"/>
                    <a:pt x="5507" y="3600"/>
                    <a:pt x="5507" y="3600"/>
                  </a:cubicBezTo>
                  <a:cubicBezTo>
                    <a:pt x="5573" y="3600"/>
                    <a:pt x="5573" y="3600"/>
                    <a:pt x="5573" y="3600"/>
                  </a:cubicBezTo>
                  <a:cubicBezTo>
                    <a:pt x="5575" y="3579"/>
                    <a:pt x="5575" y="3579"/>
                    <a:pt x="5575" y="3579"/>
                  </a:cubicBezTo>
                  <a:cubicBezTo>
                    <a:pt x="5579" y="3580"/>
                    <a:pt x="5582" y="3580"/>
                    <a:pt x="5586" y="3581"/>
                  </a:cubicBezTo>
                  <a:cubicBezTo>
                    <a:pt x="5607" y="3584"/>
                    <a:pt x="5636" y="3589"/>
                    <a:pt x="5670" y="3594"/>
                  </a:cubicBezTo>
                  <a:cubicBezTo>
                    <a:pt x="5684" y="3596"/>
                    <a:pt x="5700" y="3598"/>
                    <a:pt x="5715" y="3600"/>
                  </a:cubicBezTo>
                  <a:cubicBezTo>
                    <a:pt x="6043" y="3600"/>
                    <a:pt x="6043" y="3600"/>
                    <a:pt x="6043" y="3600"/>
                  </a:cubicBezTo>
                  <a:cubicBezTo>
                    <a:pt x="5925" y="3584"/>
                    <a:pt x="5786" y="3565"/>
                    <a:pt x="5686" y="3551"/>
                  </a:cubicBezTo>
                  <a:cubicBezTo>
                    <a:pt x="5640" y="3544"/>
                    <a:pt x="5602" y="3538"/>
                    <a:pt x="5580" y="3534"/>
                  </a:cubicBezTo>
                  <a:cubicBezTo>
                    <a:pt x="5733" y="2024"/>
                    <a:pt x="5733" y="2024"/>
                    <a:pt x="5733" y="2024"/>
                  </a:cubicBezTo>
                  <a:cubicBezTo>
                    <a:pt x="5860" y="2028"/>
                    <a:pt x="6366" y="2046"/>
                    <a:pt x="6830" y="2063"/>
                  </a:cubicBezTo>
                  <a:cubicBezTo>
                    <a:pt x="6291" y="3600"/>
                    <a:pt x="6291" y="3600"/>
                    <a:pt x="6291" y="3600"/>
                  </a:cubicBezTo>
                  <a:cubicBezTo>
                    <a:pt x="6339" y="3600"/>
                    <a:pt x="6339" y="3600"/>
                    <a:pt x="6339" y="3600"/>
                  </a:cubicBezTo>
                  <a:cubicBezTo>
                    <a:pt x="6878" y="2065"/>
                    <a:pt x="6878" y="2065"/>
                    <a:pt x="6878" y="2065"/>
                  </a:cubicBezTo>
                  <a:cubicBezTo>
                    <a:pt x="7276" y="2079"/>
                    <a:pt x="7632" y="2092"/>
                    <a:pt x="7672" y="2093"/>
                  </a:cubicBezTo>
                  <a:cubicBezTo>
                    <a:pt x="7672" y="2093"/>
                    <a:pt x="7673" y="2093"/>
                    <a:pt x="7673" y="2093"/>
                  </a:cubicBezTo>
                  <a:cubicBezTo>
                    <a:pt x="7674" y="2093"/>
                    <a:pt x="7675" y="2093"/>
                    <a:pt x="7675" y="2093"/>
                  </a:cubicBezTo>
                  <a:cubicBezTo>
                    <a:pt x="7676" y="2094"/>
                    <a:pt x="7678" y="2094"/>
                    <a:pt x="7679" y="2094"/>
                  </a:cubicBezTo>
                  <a:cubicBezTo>
                    <a:pt x="7683" y="2094"/>
                    <a:pt x="7687" y="2094"/>
                    <a:pt x="7693" y="2094"/>
                  </a:cubicBezTo>
                  <a:cubicBezTo>
                    <a:pt x="7698" y="2094"/>
                    <a:pt x="7704" y="2095"/>
                    <a:pt x="7710" y="2095"/>
                  </a:cubicBezTo>
                  <a:cubicBezTo>
                    <a:pt x="7412" y="3445"/>
                    <a:pt x="7412" y="3445"/>
                    <a:pt x="7412" y="3445"/>
                  </a:cubicBezTo>
                  <a:cubicBezTo>
                    <a:pt x="7411" y="3447"/>
                    <a:pt x="7408" y="3460"/>
                    <a:pt x="7408" y="3479"/>
                  </a:cubicBezTo>
                  <a:cubicBezTo>
                    <a:pt x="7408" y="3508"/>
                    <a:pt x="7416" y="3555"/>
                    <a:pt x="7451" y="3600"/>
                  </a:cubicBezTo>
                  <a:cubicBezTo>
                    <a:pt x="7546" y="3600"/>
                    <a:pt x="7546" y="3600"/>
                    <a:pt x="7546" y="3600"/>
                  </a:cubicBezTo>
                  <a:cubicBezTo>
                    <a:pt x="7532" y="3591"/>
                    <a:pt x="7521" y="3581"/>
                    <a:pt x="7512" y="3571"/>
                  </a:cubicBezTo>
                  <a:cubicBezTo>
                    <a:pt x="7479" y="3535"/>
                    <a:pt x="7474" y="3500"/>
                    <a:pt x="7474" y="3479"/>
                  </a:cubicBezTo>
                  <a:cubicBezTo>
                    <a:pt x="7474" y="3470"/>
                    <a:pt x="7475" y="3463"/>
                    <a:pt x="7475" y="3462"/>
                  </a:cubicBezTo>
                  <a:cubicBezTo>
                    <a:pt x="7475" y="3462"/>
                    <a:pt x="7475" y="3461"/>
                    <a:pt x="7476" y="3460"/>
                  </a:cubicBezTo>
                  <a:cubicBezTo>
                    <a:pt x="7776" y="2099"/>
                    <a:pt x="7776" y="2099"/>
                    <a:pt x="7776" y="2099"/>
                  </a:cubicBezTo>
                  <a:cubicBezTo>
                    <a:pt x="7806" y="2101"/>
                    <a:pt x="7837" y="2104"/>
                    <a:pt x="7864" y="2108"/>
                  </a:cubicBezTo>
                  <a:cubicBezTo>
                    <a:pt x="7929" y="2117"/>
                    <a:pt x="9328" y="2325"/>
                    <a:pt x="10022" y="2429"/>
                  </a:cubicBezTo>
                  <a:cubicBezTo>
                    <a:pt x="10254" y="2463"/>
                    <a:pt x="10407" y="2486"/>
                    <a:pt x="10407" y="2486"/>
                  </a:cubicBezTo>
                  <a:cubicBezTo>
                    <a:pt x="10408" y="2486"/>
                    <a:pt x="10408" y="2486"/>
                    <a:pt x="10408" y="2486"/>
                  </a:cubicBezTo>
                  <a:cubicBezTo>
                    <a:pt x="10410" y="2486"/>
                    <a:pt x="10410" y="2486"/>
                    <a:pt x="10410" y="2486"/>
                  </a:cubicBezTo>
                  <a:cubicBezTo>
                    <a:pt x="10410" y="2486"/>
                    <a:pt x="10411" y="2486"/>
                    <a:pt x="10416" y="2487"/>
                  </a:cubicBezTo>
                  <a:cubicBezTo>
                    <a:pt x="10420" y="2488"/>
                    <a:pt x="10426" y="2488"/>
                    <a:pt x="10435" y="2490"/>
                  </a:cubicBezTo>
                  <a:cubicBezTo>
                    <a:pt x="10451" y="2492"/>
                    <a:pt x="10476" y="2497"/>
                    <a:pt x="10504" y="2503"/>
                  </a:cubicBezTo>
                  <a:cubicBezTo>
                    <a:pt x="10562" y="2516"/>
                    <a:pt x="10638" y="2537"/>
                    <a:pt x="10709" y="2569"/>
                  </a:cubicBezTo>
                  <a:cubicBezTo>
                    <a:pt x="10782" y="2602"/>
                    <a:pt x="10965" y="2699"/>
                    <a:pt x="11144" y="2799"/>
                  </a:cubicBezTo>
                  <a:cubicBezTo>
                    <a:pt x="11323" y="2899"/>
                    <a:pt x="11503" y="3002"/>
                    <a:pt x="11575" y="3047"/>
                  </a:cubicBezTo>
                  <a:cubicBezTo>
                    <a:pt x="12437" y="3600"/>
                    <a:pt x="12437" y="3600"/>
                    <a:pt x="12437" y="3600"/>
                  </a:cubicBezTo>
                  <a:cubicBezTo>
                    <a:pt x="12714" y="3600"/>
                    <a:pt x="12714" y="3600"/>
                    <a:pt x="12714" y="3600"/>
                  </a:cubicBezTo>
                  <a:cubicBezTo>
                    <a:pt x="12695" y="3587"/>
                    <a:pt x="12695" y="3587"/>
                    <a:pt x="12695" y="3587"/>
                  </a:cubicBezTo>
                  <a:cubicBezTo>
                    <a:pt x="12956" y="3043"/>
                    <a:pt x="13187" y="2549"/>
                    <a:pt x="13248" y="2418"/>
                  </a:cubicBezTo>
                  <a:cubicBezTo>
                    <a:pt x="13253" y="2421"/>
                    <a:pt x="13258" y="2424"/>
                    <a:pt x="13262" y="2427"/>
                  </a:cubicBezTo>
                  <a:cubicBezTo>
                    <a:pt x="13322" y="2464"/>
                    <a:pt x="13393" y="2523"/>
                    <a:pt x="13442" y="2609"/>
                  </a:cubicBezTo>
                  <a:cubicBezTo>
                    <a:pt x="13495" y="2701"/>
                    <a:pt x="13534" y="2766"/>
                    <a:pt x="13588" y="2822"/>
                  </a:cubicBezTo>
                  <a:cubicBezTo>
                    <a:pt x="13643" y="2878"/>
                    <a:pt x="13710" y="2921"/>
                    <a:pt x="13816" y="2969"/>
                  </a:cubicBezTo>
                  <a:cubicBezTo>
                    <a:pt x="14023" y="3062"/>
                    <a:pt x="15214" y="3563"/>
                    <a:pt x="15269" y="3585"/>
                  </a:cubicBezTo>
                  <a:cubicBezTo>
                    <a:pt x="15269" y="3585"/>
                    <a:pt x="15270" y="3586"/>
                    <a:pt x="15271" y="3587"/>
                  </a:cubicBezTo>
                  <a:cubicBezTo>
                    <a:pt x="15274" y="3588"/>
                    <a:pt x="15277" y="3591"/>
                    <a:pt x="15282" y="3594"/>
                  </a:cubicBezTo>
                  <a:cubicBezTo>
                    <a:pt x="15285" y="3596"/>
                    <a:pt x="15288" y="3598"/>
                    <a:pt x="15291" y="3600"/>
                  </a:cubicBezTo>
                  <a:cubicBezTo>
                    <a:pt x="15404" y="3600"/>
                    <a:pt x="15404" y="3600"/>
                    <a:pt x="15404" y="3600"/>
                  </a:cubicBezTo>
                  <a:cubicBezTo>
                    <a:pt x="15360" y="3568"/>
                    <a:pt x="15325" y="3543"/>
                    <a:pt x="15308" y="3532"/>
                  </a:cubicBezTo>
                  <a:cubicBezTo>
                    <a:pt x="15303" y="3529"/>
                    <a:pt x="15301" y="3528"/>
                    <a:pt x="15295" y="3525"/>
                  </a:cubicBezTo>
                  <a:cubicBezTo>
                    <a:pt x="15276" y="3517"/>
                    <a:pt x="14050" y="3002"/>
                    <a:pt x="13843" y="2909"/>
                  </a:cubicBezTo>
                  <a:cubicBezTo>
                    <a:pt x="13741" y="2863"/>
                    <a:pt x="13682" y="2825"/>
                    <a:pt x="13635" y="2777"/>
                  </a:cubicBezTo>
                  <a:cubicBezTo>
                    <a:pt x="13589" y="2729"/>
                    <a:pt x="13552" y="2668"/>
                    <a:pt x="13499" y="2576"/>
                  </a:cubicBezTo>
                  <a:cubicBezTo>
                    <a:pt x="13435" y="2466"/>
                    <a:pt x="13343" y="2397"/>
                    <a:pt x="13274" y="2357"/>
                  </a:cubicBezTo>
                  <a:cubicBezTo>
                    <a:pt x="13974" y="345"/>
                    <a:pt x="13974" y="345"/>
                    <a:pt x="13974" y="345"/>
                  </a:cubicBezTo>
                  <a:cubicBezTo>
                    <a:pt x="14410" y="392"/>
                    <a:pt x="14410" y="392"/>
                    <a:pt x="14410" y="392"/>
                  </a:cubicBezTo>
                  <a:cubicBezTo>
                    <a:pt x="14410" y="392"/>
                    <a:pt x="14411" y="393"/>
                    <a:pt x="14412" y="393"/>
                  </a:cubicBezTo>
                  <a:cubicBezTo>
                    <a:pt x="14416" y="396"/>
                    <a:pt x="14423" y="399"/>
                    <a:pt x="14431" y="403"/>
                  </a:cubicBezTo>
                  <a:cubicBezTo>
                    <a:pt x="14447" y="411"/>
                    <a:pt x="14471" y="423"/>
                    <a:pt x="14501" y="438"/>
                  </a:cubicBezTo>
                  <a:cubicBezTo>
                    <a:pt x="14561" y="468"/>
                    <a:pt x="14647" y="510"/>
                    <a:pt x="14750" y="561"/>
                  </a:cubicBezTo>
                  <a:cubicBezTo>
                    <a:pt x="14956" y="664"/>
                    <a:pt x="15229" y="801"/>
                    <a:pt x="15501" y="946"/>
                  </a:cubicBezTo>
                  <a:cubicBezTo>
                    <a:pt x="15740" y="1073"/>
                    <a:pt x="15978" y="1215"/>
                    <a:pt x="16168" y="1327"/>
                  </a:cubicBezTo>
                  <a:cubicBezTo>
                    <a:pt x="16635" y="1603"/>
                    <a:pt x="17015" y="1978"/>
                    <a:pt x="17175" y="2148"/>
                  </a:cubicBezTo>
                  <a:cubicBezTo>
                    <a:pt x="17228" y="2205"/>
                    <a:pt x="17257" y="2238"/>
                    <a:pt x="17257" y="2238"/>
                  </a:cubicBezTo>
                  <a:cubicBezTo>
                    <a:pt x="17258" y="2239"/>
                    <a:pt x="17258" y="2239"/>
                    <a:pt x="17258" y="2239"/>
                  </a:cubicBezTo>
                  <a:cubicBezTo>
                    <a:pt x="17258" y="2239"/>
                    <a:pt x="17258" y="2239"/>
                    <a:pt x="17258" y="2239"/>
                  </a:cubicBezTo>
                  <a:cubicBezTo>
                    <a:pt x="17290" y="2273"/>
                    <a:pt x="17330" y="2319"/>
                    <a:pt x="17379" y="2370"/>
                  </a:cubicBezTo>
                  <a:cubicBezTo>
                    <a:pt x="17353" y="2394"/>
                    <a:pt x="17260" y="2479"/>
                    <a:pt x="17160" y="2592"/>
                  </a:cubicBezTo>
                  <a:cubicBezTo>
                    <a:pt x="17042" y="2726"/>
                    <a:pt x="16913" y="2896"/>
                    <a:pt x="16871" y="3058"/>
                  </a:cubicBezTo>
                  <a:cubicBezTo>
                    <a:pt x="16831" y="3214"/>
                    <a:pt x="16836" y="3342"/>
                    <a:pt x="16806" y="3455"/>
                  </a:cubicBezTo>
                  <a:cubicBezTo>
                    <a:pt x="16793" y="3505"/>
                    <a:pt x="16775" y="3552"/>
                    <a:pt x="16743" y="3600"/>
                  </a:cubicBezTo>
                  <a:cubicBezTo>
                    <a:pt x="16819" y="3600"/>
                    <a:pt x="16819" y="3600"/>
                    <a:pt x="16819" y="3600"/>
                  </a:cubicBezTo>
                  <a:cubicBezTo>
                    <a:pt x="16843" y="3558"/>
                    <a:pt x="16859" y="3515"/>
                    <a:pt x="16870" y="3471"/>
                  </a:cubicBezTo>
                  <a:cubicBezTo>
                    <a:pt x="16902" y="3345"/>
                    <a:pt x="16897" y="3220"/>
                    <a:pt x="16934" y="3074"/>
                  </a:cubicBezTo>
                  <a:cubicBezTo>
                    <a:pt x="16987" y="2862"/>
                    <a:pt x="17240" y="2593"/>
                    <a:pt x="17363" y="2475"/>
                  </a:cubicBezTo>
                  <a:cubicBezTo>
                    <a:pt x="17395" y="2445"/>
                    <a:pt x="17417" y="2425"/>
                    <a:pt x="17425" y="2417"/>
                  </a:cubicBezTo>
                  <a:cubicBezTo>
                    <a:pt x="17555" y="2545"/>
                    <a:pt x="17740" y="2698"/>
                    <a:pt x="18004" y="2813"/>
                  </a:cubicBezTo>
                  <a:cubicBezTo>
                    <a:pt x="18004" y="2741"/>
                    <a:pt x="18004" y="2741"/>
                    <a:pt x="18004" y="2741"/>
                  </a:cubicBezTo>
                  <a:cubicBezTo>
                    <a:pt x="17767" y="2633"/>
                    <a:pt x="17598" y="2495"/>
                    <a:pt x="17477" y="2376"/>
                  </a:cubicBezTo>
                  <a:cubicBezTo>
                    <a:pt x="17571" y="2300"/>
                    <a:pt x="17789" y="2125"/>
                    <a:pt x="18004" y="1949"/>
                  </a:cubicBezTo>
                  <a:lnTo>
                    <a:pt x="18004" y="1864"/>
                  </a:lnTo>
                  <a:close/>
                  <a:moveTo>
                    <a:pt x="2973" y="242"/>
                  </a:moveTo>
                  <a:cubicBezTo>
                    <a:pt x="2975" y="243"/>
                    <a:pt x="2978" y="244"/>
                    <a:pt x="2980" y="246"/>
                  </a:cubicBezTo>
                  <a:cubicBezTo>
                    <a:pt x="3010" y="263"/>
                    <a:pt x="3052" y="286"/>
                    <a:pt x="3099" y="314"/>
                  </a:cubicBezTo>
                  <a:cubicBezTo>
                    <a:pt x="3194" y="370"/>
                    <a:pt x="3312" y="442"/>
                    <a:pt x="3399" y="507"/>
                  </a:cubicBezTo>
                  <a:cubicBezTo>
                    <a:pt x="3457" y="549"/>
                    <a:pt x="3503" y="592"/>
                    <a:pt x="3514" y="609"/>
                  </a:cubicBezTo>
                  <a:cubicBezTo>
                    <a:pt x="3544" y="655"/>
                    <a:pt x="3569" y="731"/>
                    <a:pt x="3583" y="806"/>
                  </a:cubicBezTo>
                  <a:cubicBezTo>
                    <a:pt x="3597" y="876"/>
                    <a:pt x="3603" y="946"/>
                    <a:pt x="3603" y="991"/>
                  </a:cubicBezTo>
                  <a:cubicBezTo>
                    <a:pt x="3602" y="987"/>
                    <a:pt x="3601" y="984"/>
                    <a:pt x="3600" y="982"/>
                  </a:cubicBezTo>
                  <a:cubicBezTo>
                    <a:pt x="3587" y="945"/>
                    <a:pt x="3563" y="880"/>
                    <a:pt x="3538" y="815"/>
                  </a:cubicBezTo>
                  <a:cubicBezTo>
                    <a:pt x="3512" y="749"/>
                    <a:pt x="3485" y="685"/>
                    <a:pt x="3463" y="645"/>
                  </a:cubicBezTo>
                  <a:cubicBezTo>
                    <a:pt x="3423" y="571"/>
                    <a:pt x="3373" y="504"/>
                    <a:pt x="3303" y="458"/>
                  </a:cubicBezTo>
                  <a:cubicBezTo>
                    <a:pt x="3282" y="444"/>
                    <a:pt x="3252" y="428"/>
                    <a:pt x="3211" y="408"/>
                  </a:cubicBezTo>
                  <a:cubicBezTo>
                    <a:pt x="3171" y="387"/>
                    <a:pt x="3124" y="364"/>
                    <a:pt x="3078" y="342"/>
                  </a:cubicBezTo>
                  <a:cubicBezTo>
                    <a:pt x="3030" y="319"/>
                    <a:pt x="2983" y="297"/>
                    <a:pt x="2951" y="281"/>
                  </a:cubicBezTo>
                  <a:cubicBezTo>
                    <a:pt x="2959" y="268"/>
                    <a:pt x="2966" y="255"/>
                    <a:pt x="2973" y="242"/>
                  </a:cubicBezTo>
                  <a:close/>
                  <a:moveTo>
                    <a:pt x="2285" y="1567"/>
                  </a:moveTo>
                  <a:cubicBezTo>
                    <a:pt x="2285" y="1570"/>
                    <a:pt x="2285" y="1575"/>
                    <a:pt x="2286" y="1579"/>
                  </a:cubicBezTo>
                  <a:cubicBezTo>
                    <a:pt x="2288" y="1604"/>
                    <a:pt x="2294" y="1654"/>
                    <a:pt x="2302" y="1706"/>
                  </a:cubicBezTo>
                  <a:cubicBezTo>
                    <a:pt x="759" y="2095"/>
                    <a:pt x="759" y="2095"/>
                    <a:pt x="759" y="2095"/>
                  </a:cubicBezTo>
                  <a:cubicBezTo>
                    <a:pt x="667" y="1892"/>
                    <a:pt x="588" y="1718"/>
                    <a:pt x="556" y="1649"/>
                  </a:cubicBezTo>
                  <a:cubicBezTo>
                    <a:pt x="571" y="1642"/>
                    <a:pt x="586" y="1635"/>
                    <a:pt x="603" y="1628"/>
                  </a:cubicBezTo>
                  <a:cubicBezTo>
                    <a:pt x="716" y="1578"/>
                    <a:pt x="858" y="1516"/>
                    <a:pt x="973" y="1471"/>
                  </a:cubicBezTo>
                  <a:cubicBezTo>
                    <a:pt x="1074" y="1430"/>
                    <a:pt x="1262" y="1358"/>
                    <a:pt x="1449" y="1283"/>
                  </a:cubicBezTo>
                  <a:cubicBezTo>
                    <a:pt x="1637" y="1207"/>
                    <a:pt x="1825" y="1129"/>
                    <a:pt x="1933" y="1073"/>
                  </a:cubicBezTo>
                  <a:cubicBezTo>
                    <a:pt x="1965" y="1057"/>
                    <a:pt x="1989" y="1043"/>
                    <a:pt x="2010" y="1028"/>
                  </a:cubicBezTo>
                  <a:cubicBezTo>
                    <a:pt x="2049" y="998"/>
                    <a:pt x="2093" y="950"/>
                    <a:pt x="2147" y="888"/>
                  </a:cubicBezTo>
                  <a:cubicBezTo>
                    <a:pt x="2200" y="827"/>
                    <a:pt x="2259" y="755"/>
                    <a:pt x="2314" y="685"/>
                  </a:cubicBezTo>
                  <a:cubicBezTo>
                    <a:pt x="2409" y="567"/>
                    <a:pt x="2493" y="456"/>
                    <a:pt x="2516" y="425"/>
                  </a:cubicBezTo>
                  <a:cubicBezTo>
                    <a:pt x="2556" y="440"/>
                    <a:pt x="2599" y="449"/>
                    <a:pt x="2644" y="449"/>
                  </a:cubicBezTo>
                  <a:cubicBezTo>
                    <a:pt x="2714" y="449"/>
                    <a:pt x="2779" y="429"/>
                    <a:pt x="2834" y="395"/>
                  </a:cubicBezTo>
                  <a:cubicBezTo>
                    <a:pt x="2855" y="405"/>
                    <a:pt x="2904" y="428"/>
                    <a:pt x="2947" y="448"/>
                  </a:cubicBezTo>
                  <a:cubicBezTo>
                    <a:pt x="3008" y="477"/>
                    <a:pt x="3084" y="514"/>
                    <a:pt x="3142" y="544"/>
                  </a:cubicBezTo>
                  <a:cubicBezTo>
                    <a:pt x="3180" y="563"/>
                    <a:pt x="3212" y="580"/>
                    <a:pt x="3219" y="585"/>
                  </a:cubicBezTo>
                  <a:cubicBezTo>
                    <a:pt x="3260" y="612"/>
                    <a:pt x="3296" y="656"/>
                    <a:pt x="3329" y="718"/>
                  </a:cubicBezTo>
                  <a:cubicBezTo>
                    <a:pt x="3344" y="744"/>
                    <a:pt x="3371" y="808"/>
                    <a:pt x="3396" y="871"/>
                  </a:cubicBezTo>
                  <a:cubicBezTo>
                    <a:pt x="3421" y="934"/>
                    <a:pt x="3444" y="998"/>
                    <a:pt x="3456" y="1032"/>
                  </a:cubicBezTo>
                  <a:cubicBezTo>
                    <a:pt x="3467" y="1062"/>
                    <a:pt x="3499" y="1144"/>
                    <a:pt x="3539" y="1243"/>
                  </a:cubicBezTo>
                  <a:cubicBezTo>
                    <a:pt x="3578" y="1341"/>
                    <a:pt x="3625" y="1453"/>
                    <a:pt x="3663" y="1540"/>
                  </a:cubicBezTo>
                  <a:cubicBezTo>
                    <a:pt x="3688" y="1598"/>
                    <a:pt x="3708" y="1641"/>
                    <a:pt x="3723" y="1668"/>
                  </a:cubicBezTo>
                  <a:cubicBezTo>
                    <a:pt x="3742" y="1700"/>
                    <a:pt x="3764" y="1737"/>
                    <a:pt x="3788" y="1774"/>
                  </a:cubicBezTo>
                  <a:cubicBezTo>
                    <a:pt x="3758" y="1783"/>
                    <a:pt x="3718" y="1796"/>
                    <a:pt x="3673" y="1808"/>
                  </a:cubicBezTo>
                  <a:cubicBezTo>
                    <a:pt x="3583" y="1834"/>
                    <a:pt x="3475" y="1859"/>
                    <a:pt x="3419" y="1859"/>
                  </a:cubicBezTo>
                  <a:cubicBezTo>
                    <a:pt x="3413" y="1859"/>
                    <a:pt x="3408" y="1858"/>
                    <a:pt x="3403" y="1858"/>
                  </a:cubicBezTo>
                  <a:cubicBezTo>
                    <a:pt x="3357" y="1853"/>
                    <a:pt x="3287" y="1835"/>
                    <a:pt x="3227" y="1817"/>
                  </a:cubicBezTo>
                  <a:cubicBezTo>
                    <a:pt x="3183" y="1803"/>
                    <a:pt x="3141" y="1788"/>
                    <a:pt x="3120" y="1780"/>
                  </a:cubicBezTo>
                  <a:cubicBezTo>
                    <a:pt x="3127" y="1767"/>
                    <a:pt x="3132" y="1753"/>
                    <a:pt x="3134" y="1740"/>
                  </a:cubicBezTo>
                  <a:cubicBezTo>
                    <a:pt x="3137" y="1723"/>
                    <a:pt x="3138" y="1703"/>
                    <a:pt x="3138" y="1682"/>
                  </a:cubicBezTo>
                  <a:cubicBezTo>
                    <a:pt x="3137" y="1615"/>
                    <a:pt x="3129" y="1533"/>
                    <a:pt x="3103" y="1480"/>
                  </a:cubicBezTo>
                  <a:cubicBezTo>
                    <a:pt x="3073" y="1418"/>
                    <a:pt x="3013" y="1351"/>
                    <a:pt x="2896" y="1344"/>
                  </a:cubicBezTo>
                  <a:cubicBezTo>
                    <a:pt x="2883" y="1343"/>
                    <a:pt x="2867" y="1342"/>
                    <a:pt x="2851" y="1342"/>
                  </a:cubicBezTo>
                  <a:cubicBezTo>
                    <a:pt x="2728" y="1342"/>
                    <a:pt x="2531" y="1367"/>
                    <a:pt x="2436" y="1394"/>
                  </a:cubicBezTo>
                  <a:cubicBezTo>
                    <a:pt x="2328" y="1422"/>
                    <a:pt x="2284" y="1502"/>
                    <a:pt x="2285" y="1567"/>
                  </a:cubicBezTo>
                  <a:close/>
                  <a:moveTo>
                    <a:pt x="2545" y="1903"/>
                  </a:moveTo>
                  <a:cubicBezTo>
                    <a:pt x="2540" y="1903"/>
                    <a:pt x="2536" y="1903"/>
                    <a:pt x="2531" y="1903"/>
                  </a:cubicBezTo>
                  <a:cubicBezTo>
                    <a:pt x="2460" y="1903"/>
                    <a:pt x="2416" y="1878"/>
                    <a:pt x="2401" y="1844"/>
                  </a:cubicBezTo>
                  <a:cubicBezTo>
                    <a:pt x="2392" y="1825"/>
                    <a:pt x="2379" y="1767"/>
                    <a:pt x="2370" y="1712"/>
                  </a:cubicBezTo>
                  <a:cubicBezTo>
                    <a:pt x="2360" y="1655"/>
                    <a:pt x="2353" y="1598"/>
                    <a:pt x="2351" y="1574"/>
                  </a:cubicBezTo>
                  <a:cubicBezTo>
                    <a:pt x="2351" y="1572"/>
                    <a:pt x="2351" y="1569"/>
                    <a:pt x="2351" y="1567"/>
                  </a:cubicBezTo>
                  <a:cubicBezTo>
                    <a:pt x="2352" y="1528"/>
                    <a:pt x="2370" y="1482"/>
                    <a:pt x="2454" y="1457"/>
                  </a:cubicBezTo>
                  <a:cubicBezTo>
                    <a:pt x="2538" y="1433"/>
                    <a:pt x="2737" y="1407"/>
                    <a:pt x="2851" y="1408"/>
                  </a:cubicBezTo>
                  <a:cubicBezTo>
                    <a:pt x="2866" y="1408"/>
                    <a:pt x="2880" y="1408"/>
                    <a:pt x="2891" y="1409"/>
                  </a:cubicBezTo>
                  <a:cubicBezTo>
                    <a:pt x="2986" y="1418"/>
                    <a:pt x="3016" y="1457"/>
                    <a:pt x="3044" y="1509"/>
                  </a:cubicBezTo>
                  <a:cubicBezTo>
                    <a:pt x="3061" y="1542"/>
                    <a:pt x="3073" y="1622"/>
                    <a:pt x="3072" y="1682"/>
                  </a:cubicBezTo>
                  <a:cubicBezTo>
                    <a:pt x="3072" y="1701"/>
                    <a:pt x="3071" y="1718"/>
                    <a:pt x="3069" y="1731"/>
                  </a:cubicBezTo>
                  <a:cubicBezTo>
                    <a:pt x="3102" y="1735"/>
                    <a:pt x="3102" y="1735"/>
                    <a:pt x="3102" y="1735"/>
                  </a:cubicBezTo>
                  <a:cubicBezTo>
                    <a:pt x="3069" y="1731"/>
                    <a:pt x="3069" y="1731"/>
                    <a:pt x="3069" y="1731"/>
                  </a:cubicBezTo>
                  <a:cubicBezTo>
                    <a:pt x="3069" y="1741"/>
                    <a:pt x="3054" y="1772"/>
                    <a:pt x="3027" y="1799"/>
                  </a:cubicBezTo>
                  <a:cubicBezTo>
                    <a:pt x="3001" y="1827"/>
                    <a:pt x="2965" y="1854"/>
                    <a:pt x="2924" y="1868"/>
                  </a:cubicBezTo>
                  <a:cubicBezTo>
                    <a:pt x="2883" y="1882"/>
                    <a:pt x="2809" y="1891"/>
                    <a:pt x="2736" y="1895"/>
                  </a:cubicBezTo>
                  <a:cubicBezTo>
                    <a:pt x="2662" y="1900"/>
                    <a:pt x="2589" y="1900"/>
                    <a:pt x="2545" y="1903"/>
                  </a:cubicBezTo>
                  <a:close/>
                  <a:moveTo>
                    <a:pt x="3099" y="1832"/>
                  </a:moveTo>
                  <a:cubicBezTo>
                    <a:pt x="3095" y="1820"/>
                    <a:pt x="3095" y="1820"/>
                    <a:pt x="3095" y="1820"/>
                  </a:cubicBezTo>
                  <a:cubicBezTo>
                    <a:pt x="3095" y="1820"/>
                    <a:pt x="3095" y="1820"/>
                    <a:pt x="3095" y="1820"/>
                  </a:cubicBezTo>
                  <a:lnTo>
                    <a:pt x="3099" y="1832"/>
                  </a:lnTo>
                  <a:close/>
                  <a:moveTo>
                    <a:pt x="2781" y="1957"/>
                  </a:moveTo>
                  <a:cubicBezTo>
                    <a:pt x="2842" y="1952"/>
                    <a:pt x="2901" y="1945"/>
                    <a:pt x="2945" y="1930"/>
                  </a:cubicBezTo>
                  <a:cubicBezTo>
                    <a:pt x="2998" y="1911"/>
                    <a:pt x="3043" y="1878"/>
                    <a:pt x="3075" y="1844"/>
                  </a:cubicBezTo>
                  <a:cubicBezTo>
                    <a:pt x="3078" y="1841"/>
                    <a:pt x="3080" y="1838"/>
                    <a:pt x="3083" y="1835"/>
                  </a:cubicBezTo>
                  <a:cubicBezTo>
                    <a:pt x="3083" y="1835"/>
                    <a:pt x="3084" y="1836"/>
                    <a:pt x="3084" y="1836"/>
                  </a:cubicBezTo>
                  <a:cubicBezTo>
                    <a:pt x="3091" y="1839"/>
                    <a:pt x="3100" y="1842"/>
                    <a:pt x="3110" y="1846"/>
                  </a:cubicBezTo>
                  <a:cubicBezTo>
                    <a:pt x="3132" y="1854"/>
                    <a:pt x="3161" y="1864"/>
                    <a:pt x="3193" y="1875"/>
                  </a:cubicBezTo>
                  <a:cubicBezTo>
                    <a:pt x="3258" y="1895"/>
                    <a:pt x="3337" y="1917"/>
                    <a:pt x="3396" y="1923"/>
                  </a:cubicBezTo>
                  <a:cubicBezTo>
                    <a:pt x="3403" y="1924"/>
                    <a:pt x="3411" y="1924"/>
                    <a:pt x="3419" y="1924"/>
                  </a:cubicBezTo>
                  <a:cubicBezTo>
                    <a:pt x="3491" y="1924"/>
                    <a:pt x="3598" y="1897"/>
                    <a:pt x="3691" y="1871"/>
                  </a:cubicBezTo>
                  <a:cubicBezTo>
                    <a:pt x="3748" y="1855"/>
                    <a:pt x="3798" y="1840"/>
                    <a:pt x="3829" y="1830"/>
                  </a:cubicBezTo>
                  <a:cubicBezTo>
                    <a:pt x="3856" y="1865"/>
                    <a:pt x="3885" y="1896"/>
                    <a:pt x="3926" y="1919"/>
                  </a:cubicBezTo>
                  <a:cubicBezTo>
                    <a:pt x="3960" y="1937"/>
                    <a:pt x="3995" y="1944"/>
                    <a:pt x="4033" y="1949"/>
                  </a:cubicBezTo>
                  <a:cubicBezTo>
                    <a:pt x="4070" y="1954"/>
                    <a:pt x="4108" y="1955"/>
                    <a:pt x="4144" y="1955"/>
                  </a:cubicBezTo>
                  <a:cubicBezTo>
                    <a:pt x="4177" y="1955"/>
                    <a:pt x="4207" y="1954"/>
                    <a:pt x="4232" y="1952"/>
                  </a:cubicBezTo>
                  <a:cubicBezTo>
                    <a:pt x="4255" y="1950"/>
                    <a:pt x="4338" y="1946"/>
                    <a:pt x="4435" y="1941"/>
                  </a:cubicBezTo>
                  <a:cubicBezTo>
                    <a:pt x="4400" y="1976"/>
                    <a:pt x="4354" y="2021"/>
                    <a:pt x="4298" y="2068"/>
                  </a:cubicBezTo>
                  <a:cubicBezTo>
                    <a:pt x="4172" y="2175"/>
                    <a:pt x="4002" y="2291"/>
                    <a:pt x="3829" y="2332"/>
                  </a:cubicBezTo>
                  <a:cubicBezTo>
                    <a:pt x="3704" y="2361"/>
                    <a:pt x="3639" y="2361"/>
                    <a:pt x="3482" y="2376"/>
                  </a:cubicBezTo>
                  <a:cubicBezTo>
                    <a:pt x="3345" y="2389"/>
                    <a:pt x="3190" y="2402"/>
                    <a:pt x="3069" y="2411"/>
                  </a:cubicBezTo>
                  <a:cubicBezTo>
                    <a:pt x="2984" y="2418"/>
                    <a:pt x="2917" y="2423"/>
                    <a:pt x="2880" y="2426"/>
                  </a:cubicBezTo>
                  <a:lnTo>
                    <a:pt x="2781" y="1957"/>
                  </a:lnTo>
                  <a:close/>
                  <a:moveTo>
                    <a:pt x="2894" y="2491"/>
                  </a:moveTo>
                  <a:cubicBezTo>
                    <a:pt x="2900" y="2491"/>
                    <a:pt x="2907" y="2490"/>
                    <a:pt x="2914" y="2489"/>
                  </a:cubicBezTo>
                  <a:cubicBezTo>
                    <a:pt x="2952" y="2487"/>
                    <a:pt x="3004" y="2482"/>
                    <a:pt x="3066" y="2478"/>
                  </a:cubicBezTo>
                  <a:cubicBezTo>
                    <a:pt x="3189" y="2468"/>
                    <a:pt x="3347" y="2455"/>
                    <a:pt x="3488" y="2441"/>
                  </a:cubicBezTo>
                  <a:cubicBezTo>
                    <a:pt x="3596" y="2431"/>
                    <a:pt x="3663" y="2428"/>
                    <a:pt x="3739" y="2416"/>
                  </a:cubicBezTo>
                  <a:cubicBezTo>
                    <a:pt x="3821" y="2784"/>
                    <a:pt x="3821" y="2784"/>
                    <a:pt x="3821" y="2784"/>
                  </a:cubicBezTo>
                  <a:cubicBezTo>
                    <a:pt x="3819" y="2784"/>
                    <a:pt x="3816" y="2784"/>
                    <a:pt x="3814" y="2784"/>
                  </a:cubicBezTo>
                  <a:cubicBezTo>
                    <a:pt x="3446" y="2804"/>
                    <a:pt x="3306" y="2825"/>
                    <a:pt x="3305" y="2825"/>
                  </a:cubicBezTo>
                  <a:cubicBezTo>
                    <a:pt x="3291" y="2827"/>
                    <a:pt x="3291" y="2827"/>
                    <a:pt x="3291" y="2827"/>
                  </a:cubicBezTo>
                  <a:cubicBezTo>
                    <a:pt x="3295" y="2854"/>
                    <a:pt x="3295" y="2854"/>
                    <a:pt x="3295" y="2854"/>
                  </a:cubicBezTo>
                  <a:cubicBezTo>
                    <a:pt x="3285" y="2855"/>
                    <a:pt x="3270" y="2856"/>
                    <a:pt x="3253" y="2858"/>
                  </a:cubicBezTo>
                  <a:cubicBezTo>
                    <a:pt x="3219" y="2861"/>
                    <a:pt x="3172" y="2866"/>
                    <a:pt x="3126" y="2870"/>
                  </a:cubicBezTo>
                  <a:cubicBezTo>
                    <a:pt x="3069" y="2876"/>
                    <a:pt x="3012" y="2881"/>
                    <a:pt x="2977" y="2884"/>
                  </a:cubicBezTo>
                  <a:lnTo>
                    <a:pt x="2894" y="2491"/>
                  </a:lnTo>
                  <a:close/>
                  <a:moveTo>
                    <a:pt x="2980" y="2898"/>
                  </a:moveTo>
                  <a:cubicBezTo>
                    <a:pt x="3058" y="2891"/>
                    <a:pt x="3242" y="2873"/>
                    <a:pt x="3297" y="2868"/>
                  </a:cubicBezTo>
                  <a:cubicBezTo>
                    <a:pt x="3300" y="2892"/>
                    <a:pt x="3300" y="2892"/>
                    <a:pt x="3300" y="2892"/>
                  </a:cubicBezTo>
                  <a:cubicBezTo>
                    <a:pt x="3315" y="2890"/>
                    <a:pt x="3348" y="2885"/>
                    <a:pt x="3428" y="2877"/>
                  </a:cubicBezTo>
                  <a:cubicBezTo>
                    <a:pt x="3508" y="2870"/>
                    <a:pt x="3634" y="2860"/>
                    <a:pt x="3818" y="2850"/>
                  </a:cubicBezTo>
                  <a:cubicBezTo>
                    <a:pt x="3831" y="2849"/>
                    <a:pt x="3845" y="2848"/>
                    <a:pt x="3859" y="2848"/>
                  </a:cubicBezTo>
                  <a:cubicBezTo>
                    <a:pt x="3895" y="2848"/>
                    <a:pt x="3932" y="2851"/>
                    <a:pt x="3969" y="2855"/>
                  </a:cubicBezTo>
                  <a:cubicBezTo>
                    <a:pt x="3970" y="2867"/>
                    <a:pt x="3970" y="2881"/>
                    <a:pt x="3970" y="2899"/>
                  </a:cubicBezTo>
                  <a:cubicBezTo>
                    <a:pt x="3971" y="2941"/>
                    <a:pt x="3971" y="2998"/>
                    <a:pt x="3971" y="3060"/>
                  </a:cubicBezTo>
                  <a:cubicBezTo>
                    <a:pt x="3928" y="3058"/>
                    <a:pt x="3544" y="3046"/>
                    <a:pt x="3533" y="3046"/>
                  </a:cubicBezTo>
                  <a:cubicBezTo>
                    <a:pt x="3521" y="3046"/>
                    <a:pt x="3191" y="3054"/>
                    <a:pt x="3191" y="3054"/>
                  </a:cubicBezTo>
                  <a:cubicBezTo>
                    <a:pt x="3015" y="3064"/>
                    <a:pt x="3015" y="3064"/>
                    <a:pt x="3015" y="3064"/>
                  </a:cubicBezTo>
                  <a:lnTo>
                    <a:pt x="2980" y="2898"/>
                  </a:lnTo>
                  <a:close/>
                  <a:moveTo>
                    <a:pt x="3969" y="3505"/>
                  </a:moveTo>
                  <a:cubicBezTo>
                    <a:pt x="3913" y="3483"/>
                    <a:pt x="3585" y="3353"/>
                    <a:pt x="3585" y="3353"/>
                  </a:cubicBezTo>
                  <a:cubicBezTo>
                    <a:pt x="3583" y="3352"/>
                    <a:pt x="3583" y="3352"/>
                    <a:pt x="3583" y="3352"/>
                  </a:cubicBezTo>
                  <a:cubicBezTo>
                    <a:pt x="3077" y="3360"/>
                    <a:pt x="3077" y="3360"/>
                    <a:pt x="3077" y="3360"/>
                  </a:cubicBezTo>
                  <a:cubicBezTo>
                    <a:pt x="3051" y="3235"/>
                    <a:pt x="3051" y="3235"/>
                    <a:pt x="3051" y="3235"/>
                  </a:cubicBezTo>
                  <a:cubicBezTo>
                    <a:pt x="3600" y="3238"/>
                    <a:pt x="3600" y="3238"/>
                    <a:pt x="3600" y="3238"/>
                  </a:cubicBezTo>
                  <a:cubicBezTo>
                    <a:pt x="3971" y="3305"/>
                    <a:pt x="3971" y="3305"/>
                    <a:pt x="3971" y="3305"/>
                  </a:cubicBezTo>
                  <a:cubicBezTo>
                    <a:pt x="3970" y="3387"/>
                    <a:pt x="3970" y="3459"/>
                    <a:pt x="3969" y="3505"/>
                  </a:cubicBezTo>
                  <a:close/>
                  <a:moveTo>
                    <a:pt x="3971" y="3291"/>
                  </a:moveTo>
                  <a:cubicBezTo>
                    <a:pt x="3602" y="3224"/>
                    <a:pt x="3602" y="3224"/>
                    <a:pt x="3602" y="3224"/>
                  </a:cubicBezTo>
                  <a:cubicBezTo>
                    <a:pt x="3048" y="3221"/>
                    <a:pt x="3048" y="3221"/>
                    <a:pt x="3048" y="3221"/>
                  </a:cubicBezTo>
                  <a:cubicBezTo>
                    <a:pt x="3018" y="3078"/>
                    <a:pt x="3018" y="3078"/>
                    <a:pt x="3018" y="3078"/>
                  </a:cubicBezTo>
                  <a:cubicBezTo>
                    <a:pt x="3191" y="3068"/>
                    <a:pt x="3191" y="3068"/>
                    <a:pt x="3191" y="3068"/>
                  </a:cubicBezTo>
                  <a:cubicBezTo>
                    <a:pt x="3192" y="3068"/>
                    <a:pt x="3522" y="3060"/>
                    <a:pt x="3533" y="3060"/>
                  </a:cubicBezTo>
                  <a:cubicBezTo>
                    <a:pt x="3543" y="3060"/>
                    <a:pt x="3935" y="3073"/>
                    <a:pt x="3971" y="3074"/>
                  </a:cubicBezTo>
                  <a:cubicBezTo>
                    <a:pt x="3971" y="3075"/>
                    <a:pt x="3972" y="3077"/>
                    <a:pt x="3972" y="3079"/>
                  </a:cubicBezTo>
                  <a:cubicBezTo>
                    <a:pt x="3972" y="3148"/>
                    <a:pt x="3971" y="3222"/>
                    <a:pt x="3971" y="3291"/>
                  </a:cubicBezTo>
                  <a:close/>
                  <a:moveTo>
                    <a:pt x="4555" y="3586"/>
                  </a:moveTo>
                  <a:cubicBezTo>
                    <a:pt x="4516" y="3580"/>
                    <a:pt x="4396" y="3565"/>
                    <a:pt x="4276" y="3549"/>
                  </a:cubicBezTo>
                  <a:cubicBezTo>
                    <a:pt x="4144" y="3531"/>
                    <a:pt x="4010" y="3513"/>
                    <a:pt x="3983" y="3509"/>
                  </a:cubicBezTo>
                  <a:cubicBezTo>
                    <a:pt x="3983" y="3464"/>
                    <a:pt x="3984" y="3390"/>
                    <a:pt x="3985" y="3307"/>
                  </a:cubicBezTo>
                  <a:cubicBezTo>
                    <a:pt x="4054" y="3317"/>
                    <a:pt x="4471" y="3376"/>
                    <a:pt x="4580" y="3390"/>
                  </a:cubicBezTo>
                  <a:lnTo>
                    <a:pt x="4555" y="3586"/>
                  </a:lnTo>
                  <a:close/>
                  <a:moveTo>
                    <a:pt x="4582" y="3376"/>
                  </a:moveTo>
                  <a:cubicBezTo>
                    <a:pt x="4531" y="3370"/>
                    <a:pt x="4409" y="3353"/>
                    <a:pt x="4289" y="3336"/>
                  </a:cubicBezTo>
                  <a:cubicBezTo>
                    <a:pt x="4153" y="3317"/>
                    <a:pt x="4018" y="3298"/>
                    <a:pt x="3985" y="3293"/>
                  </a:cubicBezTo>
                  <a:cubicBezTo>
                    <a:pt x="3985" y="3224"/>
                    <a:pt x="3985" y="3148"/>
                    <a:pt x="3985" y="3079"/>
                  </a:cubicBezTo>
                  <a:cubicBezTo>
                    <a:pt x="3985" y="3078"/>
                    <a:pt x="3985" y="3077"/>
                    <a:pt x="3985" y="3075"/>
                  </a:cubicBezTo>
                  <a:cubicBezTo>
                    <a:pt x="4609" y="3169"/>
                    <a:pt x="4609" y="3169"/>
                    <a:pt x="4609" y="3169"/>
                  </a:cubicBezTo>
                  <a:lnTo>
                    <a:pt x="4582" y="3376"/>
                  </a:lnTo>
                  <a:close/>
                  <a:moveTo>
                    <a:pt x="4610" y="3156"/>
                  </a:moveTo>
                  <a:cubicBezTo>
                    <a:pt x="3985" y="3061"/>
                    <a:pt x="3985" y="3061"/>
                    <a:pt x="3985" y="3061"/>
                  </a:cubicBezTo>
                  <a:cubicBezTo>
                    <a:pt x="3985" y="2974"/>
                    <a:pt x="3985" y="2899"/>
                    <a:pt x="3983" y="2857"/>
                  </a:cubicBezTo>
                  <a:cubicBezTo>
                    <a:pt x="4212" y="2887"/>
                    <a:pt x="4452" y="2988"/>
                    <a:pt x="4569" y="3043"/>
                  </a:cubicBezTo>
                  <a:cubicBezTo>
                    <a:pt x="4591" y="3053"/>
                    <a:pt x="4609" y="3062"/>
                    <a:pt x="4621" y="3068"/>
                  </a:cubicBezTo>
                  <a:lnTo>
                    <a:pt x="4610" y="3156"/>
                  </a:lnTo>
                  <a:close/>
                  <a:moveTo>
                    <a:pt x="4630" y="2999"/>
                  </a:moveTo>
                  <a:cubicBezTo>
                    <a:pt x="4516" y="2943"/>
                    <a:pt x="4186" y="2793"/>
                    <a:pt x="3888" y="2783"/>
                  </a:cubicBezTo>
                  <a:cubicBezTo>
                    <a:pt x="3803" y="2405"/>
                    <a:pt x="3803" y="2405"/>
                    <a:pt x="3803" y="2405"/>
                  </a:cubicBezTo>
                  <a:cubicBezTo>
                    <a:pt x="3816" y="2402"/>
                    <a:pt x="3830" y="2399"/>
                    <a:pt x="3844" y="2396"/>
                  </a:cubicBezTo>
                  <a:cubicBezTo>
                    <a:pt x="4162" y="2319"/>
                    <a:pt x="4445" y="2029"/>
                    <a:pt x="4530" y="1936"/>
                  </a:cubicBezTo>
                  <a:cubicBezTo>
                    <a:pt x="4541" y="1936"/>
                    <a:pt x="4551" y="1935"/>
                    <a:pt x="4562" y="1934"/>
                  </a:cubicBezTo>
                  <a:cubicBezTo>
                    <a:pt x="4640" y="1931"/>
                    <a:pt x="4715" y="1927"/>
                    <a:pt x="4767" y="1925"/>
                  </a:cubicBezTo>
                  <a:lnTo>
                    <a:pt x="4630" y="2999"/>
                  </a:lnTo>
                  <a:close/>
                  <a:moveTo>
                    <a:pt x="4828" y="1769"/>
                  </a:moveTo>
                  <a:cubicBezTo>
                    <a:pt x="4803" y="1770"/>
                    <a:pt x="4683" y="1776"/>
                    <a:pt x="4555" y="1782"/>
                  </a:cubicBezTo>
                  <a:cubicBezTo>
                    <a:pt x="4439" y="1788"/>
                    <a:pt x="4319" y="1794"/>
                    <a:pt x="4255" y="1798"/>
                  </a:cubicBezTo>
                  <a:cubicBezTo>
                    <a:pt x="4602" y="766"/>
                    <a:pt x="4602" y="766"/>
                    <a:pt x="4602" y="766"/>
                  </a:cubicBezTo>
                  <a:cubicBezTo>
                    <a:pt x="5087" y="1084"/>
                    <a:pt x="5087" y="1084"/>
                    <a:pt x="5087" y="1084"/>
                  </a:cubicBezTo>
                  <a:cubicBezTo>
                    <a:pt x="5093" y="1136"/>
                    <a:pt x="5093" y="1136"/>
                    <a:pt x="5093" y="1136"/>
                  </a:cubicBezTo>
                  <a:cubicBezTo>
                    <a:pt x="5054" y="1728"/>
                    <a:pt x="5054" y="1728"/>
                    <a:pt x="5054" y="1728"/>
                  </a:cubicBezTo>
                  <a:lnTo>
                    <a:pt x="4828" y="1769"/>
                  </a:lnTo>
                  <a:close/>
                  <a:moveTo>
                    <a:pt x="5516" y="3513"/>
                  </a:moveTo>
                  <a:cubicBezTo>
                    <a:pt x="4947" y="3429"/>
                    <a:pt x="4947" y="3429"/>
                    <a:pt x="4947" y="3429"/>
                  </a:cubicBezTo>
                  <a:cubicBezTo>
                    <a:pt x="4956" y="3357"/>
                    <a:pt x="4965" y="3287"/>
                    <a:pt x="4974" y="3218"/>
                  </a:cubicBezTo>
                  <a:cubicBezTo>
                    <a:pt x="5538" y="3302"/>
                    <a:pt x="5538" y="3302"/>
                    <a:pt x="5538" y="3302"/>
                  </a:cubicBezTo>
                  <a:lnTo>
                    <a:pt x="5516" y="3513"/>
                  </a:lnTo>
                  <a:close/>
                  <a:moveTo>
                    <a:pt x="5539" y="3288"/>
                  </a:moveTo>
                  <a:cubicBezTo>
                    <a:pt x="4975" y="3204"/>
                    <a:pt x="4975" y="3204"/>
                    <a:pt x="4975" y="3204"/>
                  </a:cubicBezTo>
                  <a:cubicBezTo>
                    <a:pt x="5005" y="2972"/>
                    <a:pt x="5032" y="2755"/>
                    <a:pt x="5056" y="2566"/>
                  </a:cubicBezTo>
                  <a:cubicBezTo>
                    <a:pt x="5603" y="2656"/>
                    <a:pt x="5603" y="2656"/>
                    <a:pt x="5603" y="2656"/>
                  </a:cubicBezTo>
                  <a:lnTo>
                    <a:pt x="5539" y="3288"/>
                  </a:lnTo>
                  <a:close/>
                  <a:moveTo>
                    <a:pt x="5605" y="2642"/>
                  </a:moveTo>
                  <a:cubicBezTo>
                    <a:pt x="5058" y="2552"/>
                    <a:pt x="5058" y="2552"/>
                    <a:pt x="5058" y="2552"/>
                  </a:cubicBezTo>
                  <a:cubicBezTo>
                    <a:pt x="5098" y="2239"/>
                    <a:pt x="5127" y="2003"/>
                    <a:pt x="5141" y="1896"/>
                  </a:cubicBezTo>
                  <a:cubicBezTo>
                    <a:pt x="5202" y="1910"/>
                    <a:pt x="5288" y="1929"/>
                    <a:pt x="5374" y="1948"/>
                  </a:cubicBezTo>
                  <a:cubicBezTo>
                    <a:pt x="5497" y="1976"/>
                    <a:pt x="5621" y="2004"/>
                    <a:pt x="5667" y="2015"/>
                  </a:cubicBezTo>
                  <a:cubicBezTo>
                    <a:pt x="5668" y="2017"/>
                    <a:pt x="5668" y="2017"/>
                    <a:pt x="5668" y="2017"/>
                  </a:cubicBezTo>
                  <a:lnTo>
                    <a:pt x="5605" y="2642"/>
                  </a:lnTo>
                  <a:close/>
                  <a:moveTo>
                    <a:pt x="6695" y="1906"/>
                  </a:moveTo>
                  <a:cubicBezTo>
                    <a:pt x="6241" y="1889"/>
                    <a:pt x="5787" y="1873"/>
                    <a:pt x="5718" y="1871"/>
                  </a:cubicBezTo>
                  <a:cubicBezTo>
                    <a:pt x="5713" y="1870"/>
                    <a:pt x="5706" y="1868"/>
                    <a:pt x="5698" y="1866"/>
                  </a:cubicBezTo>
                  <a:cubicBezTo>
                    <a:pt x="5682" y="1862"/>
                    <a:pt x="5659" y="1857"/>
                    <a:pt x="5632" y="1851"/>
                  </a:cubicBezTo>
                  <a:cubicBezTo>
                    <a:pt x="5577" y="1838"/>
                    <a:pt x="5505" y="1822"/>
                    <a:pt x="5430" y="1805"/>
                  </a:cubicBezTo>
                  <a:cubicBezTo>
                    <a:pt x="5306" y="1777"/>
                    <a:pt x="5178" y="1748"/>
                    <a:pt x="5119" y="1735"/>
                  </a:cubicBezTo>
                  <a:cubicBezTo>
                    <a:pt x="5159" y="1135"/>
                    <a:pt x="5159" y="1135"/>
                    <a:pt x="5159" y="1135"/>
                  </a:cubicBezTo>
                  <a:cubicBezTo>
                    <a:pt x="5081" y="457"/>
                    <a:pt x="5081" y="457"/>
                    <a:pt x="5081" y="457"/>
                  </a:cubicBezTo>
                  <a:cubicBezTo>
                    <a:pt x="5082" y="440"/>
                    <a:pt x="5086" y="339"/>
                    <a:pt x="5090" y="203"/>
                  </a:cubicBezTo>
                  <a:cubicBezTo>
                    <a:pt x="5228" y="240"/>
                    <a:pt x="5903" y="420"/>
                    <a:pt x="6037" y="449"/>
                  </a:cubicBezTo>
                  <a:cubicBezTo>
                    <a:pt x="6133" y="471"/>
                    <a:pt x="6249" y="506"/>
                    <a:pt x="6410" y="506"/>
                  </a:cubicBezTo>
                  <a:cubicBezTo>
                    <a:pt x="6411" y="506"/>
                    <a:pt x="6411" y="506"/>
                    <a:pt x="6411" y="506"/>
                  </a:cubicBezTo>
                  <a:cubicBezTo>
                    <a:pt x="6484" y="506"/>
                    <a:pt x="6568" y="498"/>
                    <a:pt x="6662" y="479"/>
                  </a:cubicBezTo>
                  <a:cubicBezTo>
                    <a:pt x="7169" y="1923"/>
                    <a:pt x="7169" y="1923"/>
                    <a:pt x="7169" y="1923"/>
                  </a:cubicBezTo>
                  <a:cubicBezTo>
                    <a:pt x="7023" y="1917"/>
                    <a:pt x="6859" y="1911"/>
                    <a:pt x="6695" y="1906"/>
                  </a:cubicBezTo>
                  <a:close/>
                  <a:moveTo>
                    <a:pt x="10817" y="606"/>
                  </a:moveTo>
                  <a:cubicBezTo>
                    <a:pt x="10932" y="586"/>
                    <a:pt x="10932" y="586"/>
                    <a:pt x="10932" y="586"/>
                  </a:cubicBezTo>
                  <a:cubicBezTo>
                    <a:pt x="10907" y="441"/>
                    <a:pt x="10907" y="441"/>
                    <a:pt x="10907" y="441"/>
                  </a:cubicBezTo>
                  <a:cubicBezTo>
                    <a:pt x="10752" y="467"/>
                    <a:pt x="10752" y="467"/>
                    <a:pt x="10752" y="467"/>
                  </a:cubicBezTo>
                  <a:cubicBezTo>
                    <a:pt x="10738" y="387"/>
                    <a:pt x="10738" y="387"/>
                    <a:pt x="10738" y="387"/>
                  </a:cubicBezTo>
                  <a:cubicBezTo>
                    <a:pt x="10897" y="360"/>
                    <a:pt x="10897" y="360"/>
                    <a:pt x="10897" y="360"/>
                  </a:cubicBezTo>
                  <a:cubicBezTo>
                    <a:pt x="10889" y="313"/>
                    <a:pt x="10889" y="313"/>
                    <a:pt x="10889" y="313"/>
                  </a:cubicBezTo>
                  <a:cubicBezTo>
                    <a:pt x="11039" y="287"/>
                    <a:pt x="11039" y="287"/>
                    <a:pt x="11039" y="287"/>
                  </a:cubicBezTo>
                  <a:cubicBezTo>
                    <a:pt x="11022" y="189"/>
                    <a:pt x="11022" y="189"/>
                    <a:pt x="11022" y="189"/>
                  </a:cubicBezTo>
                  <a:cubicBezTo>
                    <a:pt x="11077" y="180"/>
                    <a:pt x="11077" y="180"/>
                    <a:pt x="11077" y="180"/>
                  </a:cubicBezTo>
                  <a:cubicBezTo>
                    <a:pt x="11096" y="278"/>
                    <a:pt x="11096" y="278"/>
                    <a:pt x="11096" y="278"/>
                  </a:cubicBezTo>
                  <a:cubicBezTo>
                    <a:pt x="11137" y="271"/>
                    <a:pt x="11137" y="271"/>
                    <a:pt x="11137" y="271"/>
                  </a:cubicBezTo>
                  <a:cubicBezTo>
                    <a:pt x="11165" y="439"/>
                    <a:pt x="11165" y="439"/>
                    <a:pt x="11165" y="439"/>
                  </a:cubicBezTo>
                  <a:cubicBezTo>
                    <a:pt x="11260" y="423"/>
                    <a:pt x="11260" y="423"/>
                    <a:pt x="11260" y="423"/>
                  </a:cubicBezTo>
                  <a:cubicBezTo>
                    <a:pt x="11278" y="525"/>
                    <a:pt x="11278" y="525"/>
                    <a:pt x="11278" y="525"/>
                  </a:cubicBezTo>
                  <a:cubicBezTo>
                    <a:pt x="11184" y="541"/>
                    <a:pt x="11184" y="541"/>
                    <a:pt x="11184" y="541"/>
                  </a:cubicBezTo>
                  <a:cubicBezTo>
                    <a:pt x="11192" y="591"/>
                    <a:pt x="11192" y="591"/>
                    <a:pt x="11192" y="591"/>
                  </a:cubicBezTo>
                  <a:cubicBezTo>
                    <a:pt x="10963" y="630"/>
                    <a:pt x="10963" y="630"/>
                    <a:pt x="10963" y="630"/>
                  </a:cubicBezTo>
                  <a:cubicBezTo>
                    <a:pt x="10986" y="764"/>
                    <a:pt x="10986" y="764"/>
                    <a:pt x="10986" y="764"/>
                  </a:cubicBezTo>
                  <a:cubicBezTo>
                    <a:pt x="10847" y="788"/>
                    <a:pt x="10847" y="788"/>
                    <a:pt x="10847" y="788"/>
                  </a:cubicBezTo>
                  <a:lnTo>
                    <a:pt x="10817" y="606"/>
                  </a:lnTo>
                  <a:close/>
                  <a:moveTo>
                    <a:pt x="7759" y="829"/>
                  </a:moveTo>
                  <a:cubicBezTo>
                    <a:pt x="7717" y="740"/>
                    <a:pt x="7663" y="622"/>
                    <a:pt x="7617" y="507"/>
                  </a:cubicBezTo>
                  <a:cubicBezTo>
                    <a:pt x="7579" y="414"/>
                    <a:pt x="7569" y="335"/>
                    <a:pt x="7569" y="275"/>
                  </a:cubicBezTo>
                  <a:cubicBezTo>
                    <a:pt x="7569" y="203"/>
                    <a:pt x="7584" y="158"/>
                    <a:pt x="7587" y="150"/>
                  </a:cubicBezTo>
                  <a:cubicBezTo>
                    <a:pt x="7658" y="22"/>
                    <a:pt x="7658" y="22"/>
                    <a:pt x="7658" y="22"/>
                  </a:cubicBezTo>
                  <a:cubicBezTo>
                    <a:pt x="8871" y="743"/>
                    <a:pt x="8871" y="743"/>
                    <a:pt x="8871" y="743"/>
                  </a:cubicBezTo>
                  <a:cubicBezTo>
                    <a:pt x="8874" y="765"/>
                    <a:pt x="8879" y="807"/>
                    <a:pt x="8886" y="863"/>
                  </a:cubicBezTo>
                  <a:cubicBezTo>
                    <a:pt x="8850" y="865"/>
                    <a:pt x="8788" y="870"/>
                    <a:pt x="8709" y="877"/>
                  </a:cubicBezTo>
                  <a:cubicBezTo>
                    <a:pt x="8601" y="886"/>
                    <a:pt x="8464" y="899"/>
                    <a:pt x="8329" y="911"/>
                  </a:cubicBezTo>
                  <a:cubicBezTo>
                    <a:pt x="8106" y="931"/>
                    <a:pt x="7890" y="952"/>
                    <a:pt x="7822" y="958"/>
                  </a:cubicBezTo>
                  <a:cubicBezTo>
                    <a:pt x="7810" y="934"/>
                    <a:pt x="7787" y="888"/>
                    <a:pt x="7759" y="829"/>
                  </a:cubicBezTo>
                  <a:close/>
                  <a:moveTo>
                    <a:pt x="7885" y="1957"/>
                  </a:moveTo>
                  <a:cubicBezTo>
                    <a:pt x="7866" y="1954"/>
                    <a:pt x="7846" y="1952"/>
                    <a:pt x="7827" y="1950"/>
                  </a:cubicBezTo>
                  <a:cubicBezTo>
                    <a:pt x="7914" y="1711"/>
                    <a:pt x="7914" y="1711"/>
                    <a:pt x="7914" y="1711"/>
                  </a:cubicBezTo>
                  <a:cubicBezTo>
                    <a:pt x="7839" y="1022"/>
                    <a:pt x="7839" y="1022"/>
                    <a:pt x="7839" y="1022"/>
                  </a:cubicBezTo>
                  <a:cubicBezTo>
                    <a:pt x="7892" y="1017"/>
                    <a:pt x="8005" y="1007"/>
                    <a:pt x="8139" y="994"/>
                  </a:cubicBezTo>
                  <a:cubicBezTo>
                    <a:pt x="8326" y="977"/>
                    <a:pt x="8553" y="956"/>
                    <a:pt x="8714" y="942"/>
                  </a:cubicBezTo>
                  <a:cubicBezTo>
                    <a:pt x="8795" y="935"/>
                    <a:pt x="8861" y="930"/>
                    <a:pt x="8895" y="928"/>
                  </a:cubicBezTo>
                  <a:cubicBezTo>
                    <a:pt x="8900" y="969"/>
                    <a:pt x="8905" y="1013"/>
                    <a:pt x="8911" y="1060"/>
                  </a:cubicBezTo>
                  <a:cubicBezTo>
                    <a:pt x="8934" y="1245"/>
                    <a:pt x="8962" y="1466"/>
                    <a:pt x="8978" y="1613"/>
                  </a:cubicBezTo>
                  <a:cubicBezTo>
                    <a:pt x="8981" y="1641"/>
                    <a:pt x="8983" y="1668"/>
                    <a:pt x="8983" y="1695"/>
                  </a:cubicBezTo>
                  <a:cubicBezTo>
                    <a:pt x="8983" y="1901"/>
                    <a:pt x="8898" y="2064"/>
                    <a:pt x="8875" y="2104"/>
                  </a:cubicBezTo>
                  <a:cubicBezTo>
                    <a:pt x="8367" y="2028"/>
                    <a:pt x="7923" y="1962"/>
                    <a:pt x="7885" y="1957"/>
                  </a:cubicBezTo>
                  <a:close/>
                  <a:moveTo>
                    <a:pt x="8944" y="2114"/>
                  </a:moveTo>
                  <a:cubicBezTo>
                    <a:pt x="8979" y="2047"/>
                    <a:pt x="9048" y="1891"/>
                    <a:pt x="9048" y="1695"/>
                  </a:cubicBezTo>
                  <a:cubicBezTo>
                    <a:pt x="9048" y="1666"/>
                    <a:pt x="9047" y="1636"/>
                    <a:pt x="9043" y="1605"/>
                  </a:cubicBezTo>
                  <a:cubicBezTo>
                    <a:pt x="9013" y="1332"/>
                    <a:pt x="8945" y="802"/>
                    <a:pt x="8935" y="728"/>
                  </a:cubicBezTo>
                  <a:cubicBezTo>
                    <a:pt x="8936" y="726"/>
                    <a:pt x="8937" y="725"/>
                    <a:pt x="8938" y="723"/>
                  </a:cubicBezTo>
                  <a:cubicBezTo>
                    <a:pt x="8947" y="711"/>
                    <a:pt x="8959" y="694"/>
                    <a:pt x="8973" y="674"/>
                  </a:cubicBezTo>
                  <a:cubicBezTo>
                    <a:pt x="9000" y="635"/>
                    <a:pt x="9035" y="582"/>
                    <a:pt x="9069" y="530"/>
                  </a:cubicBezTo>
                  <a:cubicBezTo>
                    <a:pt x="9122" y="449"/>
                    <a:pt x="9174" y="369"/>
                    <a:pt x="9196" y="336"/>
                  </a:cubicBezTo>
                  <a:cubicBezTo>
                    <a:pt x="10193" y="350"/>
                    <a:pt x="10193" y="350"/>
                    <a:pt x="10193" y="350"/>
                  </a:cubicBezTo>
                  <a:cubicBezTo>
                    <a:pt x="10198" y="400"/>
                    <a:pt x="10209" y="509"/>
                    <a:pt x="10220" y="619"/>
                  </a:cubicBezTo>
                  <a:cubicBezTo>
                    <a:pt x="10233" y="749"/>
                    <a:pt x="10246" y="882"/>
                    <a:pt x="10250" y="923"/>
                  </a:cubicBezTo>
                  <a:cubicBezTo>
                    <a:pt x="10116" y="1096"/>
                    <a:pt x="10116" y="1096"/>
                    <a:pt x="10116" y="1096"/>
                  </a:cubicBezTo>
                  <a:cubicBezTo>
                    <a:pt x="10140" y="1765"/>
                    <a:pt x="10140" y="1765"/>
                    <a:pt x="10140" y="1765"/>
                  </a:cubicBezTo>
                  <a:cubicBezTo>
                    <a:pt x="9986" y="1891"/>
                    <a:pt x="9986" y="1891"/>
                    <a:pt x="9986" y="1891"/>
                  </a:cubicBezTo>
                  <a:cubicBezTo>
                    <a:pt x="9864" y="2251"/>
                    <a:pt x="9864" y="2251"/>
                    <a:pt x="9864" y="2251"/>
                  </a:cubicBezTo>
                  <a:cubicBezTo>
                    <a:pt x="9593" y="2210"/>
                    <a:pt x="9260" y="2161"/>
                    <a:pt x="8944" y="2114"/>
                  </a:cubicBezTo>
                  <a:close/>
                  <a:moveTo>
                    <a:pt x="12939" y="2718"/>
                  </a:moveTo>
                  <a:cubicBezTo>
                    <a:pt x="12838" y="2931"/>
                    <a:pt x="12707" y="3209"/>
                    <a:pt x="12566" y="3502"/>
                  </a:cubicBezTo>
                  <a:cubicBezTo>
                    <a:pt x="11657" y="2919"/>
                    <a:pt x="11657" y="2919"/>
                    <a:pt x="11657" y="2919"/>
                  </a:cubicBezTo>
                  <a:cubicBezTo>
                    <a:pt x="11578" y="2869"/>
                    <a:pt x="11399" y="2766"/>
                    <a:pt x="11218" y="2666"/>
                  </a:cubicBezTo>
                  <a:cubicBezTo>
                    <a:pt x="11036" y="2565"/>
                    <a:pt x="10856" y="2468"/>
                    <a:pt x="10772" y="2430"/>
                  </a:cubicBezTo>
                  <a:cubicBezTo>
                    <a:pt x="10612" y="2358"/>
                    <a:pt x="10452" y="2338"/>
                    <a:pt x="10429" y="2335"/>
                  </a:cubicBezTo>
                  <a:cubicBezTo>
                    <a:pt x="10424" y="2334"/>
                    <a:pt x="10220" y="2304"/>
                    <a:pt x="9930" y="2261"/>
                  </a:cubicBezTo>
                  <a:cubicBezTo>
                    <a:pt x="10042" y="1930"/>
                    <a:pt x="10042" y="1930"/>
                    <a:pt x="10042" y="1930"/>
                  </a:cubicBezTo>
                  <a:cubicBezTo>
                    <a:pt x="10207" y="1795"/>
                    <a:pt x="10207" y="1795"/>
                    <a:pt x="10207" y="1795"/>
                  </a:cubicBezTo>
                  <a:cubicBezTo>
                    <a:pt x="10182" y="1118"/>
                    <a:pt x="10182" y="1118"/>
                    <a:pt x="10182" y="1118"/>
                  </a:cubicBezTo>
                  <a:cubicBezTo>
                    <a:pt x="10302" y="963"/>
                    <a:pt x="10302" y="963"/>
                    <a:pt x="10302" y="963"/>
                  </a:cubicBezTo>
                  <a:cubicBezTo>
                    <a:pt x="11912" y="675"/>
                    <a:pt x="11912" y="675"/>
                    <a:pt x="11912" y="675"/>
                  </a:cubicBezTo>
                  <a:cubicBezTo>
                    <a:pt x="12107" y="1959"/>
                    <a:pt x="12107" y="1959"/>
                    <a:pt x="12107" y="1959"/>
                  </a:cubicBezTo>
                  <a:cubicBezTo>
                    <a:pt x="13109" y="2355"/>
                    <a:pt x="13109" y="2355"/>
                    <a:pt x="13109" y="2355"/>
                  </a:cubicBezTo>
                  <a:cubicBezTo>
                    <a:pt x="13082" y="2414"/>
                    <a:pt x="13021" y="2544"/>
                    <a:pt x="12939" y="2718"/>
                  </a:cubicBezTo>
                  <a:close/>
                  <a:moveTo>
                    <a:pt x="101" y="552"/>
                  </a:moveTo>
                  <a:cubicBezTo>
                    <a:pt x="66" y="564"/>
                    <a:pt x="33" y="576"/>
                    <a:pt x="0" y="587"/>
                  </a:cubicBezTo>
                  <a:cubicBezTo>
                    <a:pt x="0" y="539"/>
                    <a:pt x="0" y="539"/>
                    <a:pt x="0" y="539"/>
                  </a:cubicBezTo>
                  <a:cubicBezTo>
                    <a:pt x="28" y="529"/>
                    <a:pt x="57" y="519"/>
                    <a:pt x="86" y="509"/>
                  </a:cubicBezTo>
                  <a:cubicBezTo>
                    <a:pt x="211" y="466"/>
                    <a:pt x="283" y="418"/>
                    <a:pt x="325" y="361"/>
                  </a:cubicBezTo>
                  <a:cubicBezTo>
                    <a:pt x="366" y="305"/>
                    <a:pt x="380" y="236"/>
                    <a:pt x="380" y="146"/>
                  </a:cubicBezTo>
                  <a:cubicBezTo>
                    <a:pt x="380" y="102"/>
                    <a:pt x="376" y="54"/>
                    <a:pt x="372" y="0"/>
                  </a:cubicBezTo>
                  <a:cubicBezTo>
                    <a:pt x="417" y="0"/>
                    <a:pt x="417" y="0"/>
                    <a:pt x="417" y="0"/>
                  </a:cubicBezTo>
                  <a:cubicBezTo>
                    <a:pt x="422" y="53"/>
                    <a:pt x="425" y="101"/>
                    <a:pt x="425" y="146"/>
                  </a:cubicBezTo>
                  <a:cubicBezTo>
                    <a:pt x="425" y="240"/>
                    <a:pt x="411" y="320"/>
                    <a:pt x="361" y="388"/>
                  </a:cubicBezTo>
                  <a:cubicBezTo>
                    <a:pt x="312" y="456"/>
                    <a:pt x="230" y="508"/>
                    <a:pt x="101" y="552"/>
                  </a:cubicBezTo>
                  <a:close/>
                </a:path>
              </a:pathLst>
            </a:custGeom>
            <a:gradFill>
              <a:gsLst>
                <a:gs pos="40000">
                  <a:srgbClr val="FFFFFF"/>
                </a:gs>
                <a:gs pos="100000">
                  <a:srgbClr val="B0AAB2"/>
                </a:gs>
              </a:gsLst>
              <a:lin ang="0" scaled="1"/>
            </a:gradFill>
            <a:ln>
              <a:noFill/>
            </a:ln>
          </p:spPr>
          <p:txBody>
            <a:bodyPr vert="horz" wrap="square" lIns="91440" tIns="45720" rIns="91440" bIns="45720" numCol="1" anchor="t" anchorCtr="0" compatLnSpc="1">
              <a:prstTxWarp prst="textNoShape">
                <a:avLst/>
              </a:prstTxWarp>
            </a:bodyPr>
            <a:lstStyle/>
            <a:p>
              <a:endParaRPr lang="nl-NL" dirty="0"/>
            </a:p>
          </p:txBody>
        </p:sp>
        <p:sp>
          <p:nvSpPr>
            <p:cNvPr id="26" name="---Onder wit">
              <a:extLst>
                <a:ext uri="{FF2B5EF4-FFF2-40B4-BE49-F238E27FC236}">
                  <a16:creationId xmlns:a16="http://schemas.microsoft.com/office/drawing/2014/main" id="{5C774F85-65AA-4261-88A2-53A329D8FA08}"/>
                </a:ext>
              </a:extLst>
            </p:cNvPr>
            <p:cNvSpPr>
              <a:spLocks noSelect="1"/>
            </p:cNvSpPr>
            <p:nvPr userDrawn="1"/>
          </p:nvSpPr>
          <p:spPr bwMode="gray">
            <a:xfrm>
              <a:off x="6478588" y="5713200"/>
              <a:ext cx="5716588" cy="1141413"/>
            </a:xfrm>
            <a:custGeom>
              <a:avLst/>
              <a:gdLst>
                <a:gd name="T0" fmla="*/ 98 w 18004"/>
                <a:gd name="T1" fmla="*/ 543 h 3600"/>
                <a:gd name="T2" fmla="*/ 16855 w 18004"/>
                <a:gd name="T3" fmla="*/ 3468 h 3600"/>
                <a:gd name="T4" fmla="*/ 16175 w 18004"/>
                <a:gd name="T5" fmla="*/ 1314 h 3600"/>
                <a:gd name="T6" fmla="*/ 13264 w 18004"/>
                <a:gd name="T7" fmla="*/ 2369 h 3600"/>
                <a:gd name="T8" fmla="*/ 15276 w 18004"/>
                <a:gd name="T9" fmla="*/ 3572 h 3600"/>
                <a:gd name="T10" fmla="*/ 12667 w 18004"/>
                <a:gd name="T11" fmla="*/ 3600 h 3600"/>
                <a:gd name="T12" fmla="*/ 10410 w 18004"/>
                <a:gd name="T13" fmla="*/ 2467 h 3600"/>
                <a:gd name="T14" fmla="*/ 7522 w 18004"/>
                <a:gd name="T15" fmla="*/ 3600 h 3600"/>
                <a:gd name="T16" fmla="*/ 7674 w 18004"/>
                <a:gd name="T17" fmla="*/ 2075 h 3600"/>
                <a:gd name="T18" fmla="*/ 5720 w 18004"/>
                <a:gd name="T19" fmla="*/ 2014 h 3600"/>
                <a:gd name="T20" fmla="*/ 5562 w 18004"/>
                <a:gd name="T21" fmla="*/ 3568 h 3600"/>
                <a:gd name="T22" fmla="*/ 4906 w 18004"/>
                <a:gd name="T23" fmla="*/ 3600 h 3600"/>
                <a:gd name="T24" fmla="*/ 4575 w 18004"/>
                <a:gd name="T25" fmla="*/ 3029 h 3600"/>
                <a:gd name="T26" fmla="*/ 3487 w 18004"/>
                <a:gd name="T27" fmla="*/ 2427 h 3600"/>
                <a:gd name="T28" fmla="*/ 1699 w 18004"/>
                <a:gd name="T29" fmla="*/ 3600 h 3600"/>
                <a:gd name="T30" fmla="*/ 2530 w 18004"/>
                <a:gd name="T31" fmla="*/ 1954 h 3600"/>
                <a:gd name="T32" fmla="*/ 592 w 18004"/>
                <a:gd name="T33" fmla="*/ 1850 h 3600"/>
                <a:gd name="T34" fmla="*/ 1479 w 18004"/>
                <a:gd name="T35" fmla="*/ 1127 h 3600"/>
                <a:gd name="T36" fmla="*/ 2348 w 18004"/>
                <a:gd name="T37" fmla="*/ 261 h 3600"/>
                <a:gd name="T38" fmla="*/ 2303 w 18004"/>
                <a:gd name="T39" fmla="*/ 140 h 3600"/>
                <a:gd name="T40" fmla="*/ 2989 w 18004"/>
                <a:gd name="T41" fmla="*/ 83 h 3600"/>
                <a:gd name="T42" fmla="*/ 3479 w 18004"/>
                <a:gd name="T43" fmla="*/ 399 h 3600"/>
                <a:gd name="T44" fmla="*/ 4050 w 18004"/>
                <a:gd name="T45" fmla="*/ 1816 h 3600"/>
                <a:gd name="T46" fmla="*/ 4600 w 18004"/>
                <a:gd name="T47" fmla="*/ 722 h 3600"/>
                <a:gd name="T48" fmla="*/ 5077 w 18004"/>
                <a:gd name="T49" fmla="*/ 147 h 3600"/>
                <a:gd name="T50" fmla="*/ 6703 w 18004"/>
                <a:gd name="T51" fmla="*/ 440 h 3600"/>
                <a:gd name="T52" fmla="*/ 7785 w 18004"/>
                <a:gd name="T53" fmla="*/ 998 h 3600"/>
                <a:gd name="T54" fmla="*/ 8894 w 18004"/>
                <a:gd name="T55" fmla="*/ 698 h 3600"/>
                <a:gd name="T56" fmla="*/ 10217 w 18004"/>
                <a:gd name="T57" fmla="*/ 300 h 3600"/>
                <a:gd name="T58" fmla="*/ 10299 w 18004"/>
                <a:gd name="T59" fmla="*/ 903 h 3600"/>
                <a:gd name="T60" fmla="*/ 11809 w 18004"/>
                <a:gd name="T61" fmla="*/ 31 h 3600"/>
                <a:gd name="T62" fmla="*/ 13842 w 18004"/>
                <a:gd name="T63" fmla="*/ 315 h 3600"/>
                <a:gd name="T64" fmla="*/ 13942 w 18004"/>
                <a:gd name="T65" fmla="*/ 20 h 3600"/>
                <a:gd name="T66" fmla="*/ 14940 w 18004"/>
                <a:gd name="T67" fmla="*/ 0 h 3600"/>
                <a:gd name="T68" fmla="*/ 17832 w 18004"/>
                <a:gd name="T69" fmla="*/ 2023 h 3600"/>
                <a:gd name="T70" fmla="*/ 3446 w 18004"/>
                <a:gd name="T71" fmla="*/ 654 h 3600"/>
                <a:gd name="T72" fmla="*/ 2963 w 18004"/>
                <a:gd name="T73" fmla="*/ 215 h 3600"/>
                <a:gd name="T74" fmla="*/ 3123 w 18004"/>
                <a:gd name="T75" fmla="*/ 1682 h 3600"/>
                <a:gd name="T76" fmla="*/ 3740 w 18004"/>
                <a:gd name="T77" fmla="*/ 1659 h 3600"/>
                <a:gd name="T78" fmla="*/ 2835 w 18004"/>
                <a:gd name="T79" fmla="*/ 372 h 3600"/>
                <a:gd name="T80" fmla="*/ 1815 w 18004"/>
                <a:gd name="T81" fmla="*/ 1109 h 3600"/>
                <a:gd name="T82" fmla="*/ 3094 w 18004"/>
                <a:gd name="T83" fmla="*/ 1818 h 3600"/>
                <a:gd name="T84" fmla="*/ 2892 w 18004"/>
                <a:gd name="T85" fmla="*/ 1394 h 3600"/>
                <a:gd name="T86" fmla="*/ 3832 w 18004"/>
                <a:gd name="T87" fmla="*/ 2346 h 3600"/>
                <a:gd name="T88" fmla="*/ 3826 w 18004"/>
                <a:gd name="T89" fmla="*/ 1815 h 3600"/>
                <a:gd name="T90" fmla="*/ 2940 w 18004"/>
                <a:gd name="T91" fmla="*/ 1916 h 3600"/>
                <a:gd name="T92" fmla="*/ 4516 w 18004"/>
                <a:gd name="T93" fmla="*/ 1929 h 3600"/>
                <a:gd name="T94" fmla="*/ 5108 w 18004"/>
                <a:gd name="T95" fmla="*/ 1136 h 3600"/>
                <a:gd name="T96" fmla="*/ 6672 w 18004"/>
                <a:gd name="T97" fmla="*/ 463 h 3600"/>
                <a:gd name="T98" fmla="*/ 5426 w 18004"/>
                <a:gd name="T99" fmla="*/ 1823 h 3600"/>
                <a:gd name="T100" fmla="*/ 8905 w 18004"/>
                <a:gd name="T101" fmla="*/ 889 h 3600"/>
                <a:gd name="T102" fmla="*/ 7652 w 18004"/>
                <a:gd name="T103" fmla="*/ 2 h 3600"/>
                <a:gd name="T104" fmla="*/ 8891 w 18004"/>
                <a:gd name="T105" fmla="*/ 2104 h 3600"/>
                <a:gd name="T106" fmla="*/ 7810 w 18004"/>
                <a:gd name="T107" fmla="*/ 1952 h 3600"/>
                <a:gd name="T108" fmla="*/ 10265 w 18004"/>
                <a:gd name="T109" fmla="*/ 927 h 3600"/>
                <a:gd name="T110" fmla="*/ 8931 w 18004"/>
                <a:gd name="T111" fmla="*/ 2107 h 3600"/>
                <a:gd name="T112" fmla="*/ 9916 w 18004"/>
                <a:gd name="T113" fmla="*/ 2256 h 3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004" h="3600">
                  <a:moveTo>
                    <a:pt x="98" y="543"/>
                  </a:moveTo>
                  <a:cubicBezTo>
                    <a:pt x="64" y="555"/>
                    <a:pt x="32" y="566"/>
                    <a:pt x="0" y="577"/>
                  </a:cubicBezTo>
                  <a:cubicBezTo>
                    <a:pt x="0" y="549"/>
                    <a:pt x="0" y="549"/>
                    <a:pt x="0" y="549"/>
                  </a:cubicBezTo>
                  <a:cubicBezTo>
                    <a:pt x="29" y="539"/>
                    <a:pt x="58" y="529"/>
                    <a:pt x="89" y="518"/>
                  </a:cubicBezTo>
                  <a:cubicBezTo>
                    <a:pt x="340" y="430"/>
                    <a:pt x="387" y="327"/>
                    <a:pt x="389" y="146"/>
                  </a:cubicBezTo>
                  <a:cubicBezTo>
                    <a:pt x="389" y="102"/>
                    <a:pt x="386" y="53"/>
                    <a:pt x="382" y="0"/>
                  </a:cubicBezTo>
                  <a:cubicBezTo>
                    <a:pt x="408" y="0"/>
                    <a:pt x="408" y="0"/>
                    <a:pt x="408" y="0"/>
                  </a:cubicBezTo>
                  <a:cubicBezTo>
                    <a:pt x="412" y="53"/>
                    <a:pt x="415" y="101"/>
                    <a:pt x="415" y="146"/>
                  </a:cubicBezTo>
                  <a:cubicBezTo>
                    <a:pt x="417" y="333"/>
                    <a:pt x="354" y="457"/>
                    <a:pt x="98" y="543"/>
                  </a:cubicBezTo>
                  <a:close/>
                  <a:moveTo>
                    <a:pt x="18004" y="1930"/>
                  </a:moveTo>
                  <a:cubicBezTo>
                    <a:pt x="17776" y="2116"/>
                    <a:pt x="17541" y="2305"/>
                    <a:pt x="17455" y="2374"/>
                  </a:cubicBezTo>
                  <a:cubicBezTo>
                    <a:pt x="17578" y="2498"/>
                    <a:pt x="17753" y="2645"/>
                    <a:pt x="18004" y="2758"/>
                  </a:cubicBezTo>
                  <a:cubicBezTo>
                    <a:pt x="18004" y="2797"/>
                    <a:pt x="18004" y="2797"/>
                    <a:pt x="18004" y="2797"/>
                  </a:cubicBezTo>
                  <a:cubicBezTo>
                    <a:pt x="17739" y="2681"/>
                    <a:pt x="17554" y="2525"/>
                    <a:pt x="17426" y="2397"/>
                  </a:cubicBezTo>
                  <a:cubicBezTo>
                    <a:pt x="17422" y="2400"/>
                    <a:pt x="17420" y="2402"/>
                    <a:pt x="17420" y="2402"/>
                  </a:cubicBezTo>
                  <a:cubicBezTo>
                    <a:pt x="17420" y="2402"/>
                    <a:pt x="17394" y="2425"/>
                    <a:pt x="17353" y="2465"/>
                  </a:cubicBezTo>
                  <a:cubicBezTo>
                    <a:pt x="17229" y="2583"/>
                    <a:pt x="16975" y="2852"/>
                    <a:pt x="16920" y="3070"/>
                  </a:cubicBezTo>
                  <a:cubicBezTo>
                    <a:pt x="16882" y="3218"/>
                    <a:pt x="16887" y="3344"/>
                    <a:pt x="16855" y="3468"/>
                  </a:cubicBezTo>
                  <a:cubicBezTo>
                    <a:pt x="16844" y="3512"/>
                    <a:pt x="16828" y="3556"/>
                    <a:pt x="16803" y="3600"/>
                  </a:cubicBezTo>
                  <a:cubicBezTo>
                    <a:pt x="16761" y="3600"/>
                    <a:pt x="16761" y="3600"/>
                    <a:pt x="16761" y="3600"/>
                  </a:cubicBezTo>
                  <a:cubicBezTo>
                    <a:pt x="16790" y="3553"/>
                    <a:pt x="16808" y="3507"/>
                    <a:pt x="16820" y="3459"/>
                  </a:cubicBezTo>
                  <a:cubicBezTo>
                    <a:pt x="16850" y="3342"/>
                    <a:pt x="16846" y="3215"/>
                    <a:pt x="16885" y="3061"/>
                  </a:cubicBezTo>
                  <a:cubicBezTo>
                    <a:pt x="16966" y="2749"/>
                    <a:pt x="17396" y="2376"/>
                    <a:pt x="17397" y="2375"/>
                  </a:cubicBezTo>
                  <a:cubicBezTo>
                    <a:pt x="17397" y="2375"/>
                    <a:pt x="17398" y="2373"/>
                    <a:pt x="17401" y="2371"/>
                  </a:cubicBezTo>
                  <a:cubicBezTo>
                    <a:pt x="17347" y="2315"/>
                    <a:pt x="17303" y="2266"/>
                    <a:pt x="17269" y="2229"/>
                  </a:cubicBezTo>
                  <a:cubicBezTo>
                    <a:pt x="17268" y="2229"/>
                    <a:pt x="17239" y="2195"/>
                    <a:pt x="17186" y="2138"/>
                  </a:cubicBezTo>
                  <a:cubicBezTo>
                    <a:pt x="17025" y="1968"/>
                    <a:pt x="16644" y="1591"/>
                    <a:pt x="16175" y="1314"/>
                  </a:cubicBezTo>
                  <a:cubicBezTo>
                    <a:pt x="15985" y="1202"/>
                    <a:pt x="15747" y="1060"/>
                    <a:pt x="15508" y="933"/>
                  </a:cubicBezTo>
                  <a:cubicBezTo>
                    <a:pt x="15236" y="788"/>
                    <a:pt x="14962" y="650"/>
                    <a:pt x="14756" y="548"/>
                  </a:cubicBezTo>
                  <a:cubicBezTo>
                    <a:pt x="14654" y="497"/>
                    <a:pt x="14568" y="455"/>
                    <a:pt x="14508" y="425"/>
                  </a:cubicBezTo>
                  <a:cubicBezTo>
                    <a:pt x="14478" y="410"/>
                    <a:pt x="14454" y="398"/>
                    <a:pt x="14438" y="390"/>
                  </a:cubicBezTo>
                  <a:cubicBezTo>
                    <a:pt x="14430" y="386"/>
                    <a:pt x="14423" y="382"/>
                    <a:pt x="14419" y="380"/>
                  </a:cubicBezTo>
                  <a:cubicBezTo>
                    <a:pt x="14417" y="379"/>
                    <a:pt x="14416" y="378"/>
                    <a:pt x="14415" y="378"/>
                  </a:cubicBezTo>
                  <a:cubicBezTo>
                    <a:pt x="13960" y="328"/>
                    <a:pt x="13960" y="328"/>
                    <a:pt x="13960" y="328"/>
                  </a:cubicBezTo>
                  <a:cubicBezTo>
                    <a:pt x="13254" y="2358"/>
                    <a:pt x="13254" y="2358"/>
                    <a:pt x="13254" y="2358"/>
                  </a:cubicBezTo>
                  <a:cubicBezTo>
                    <a:pt x="13257" y="2361"/>
                    <a:pt x="13260" y="2365"/>
                    <a:pt x="13264" y="2369"/>
                  </a:cubicBezTo>
                  <a:cubicBezTo>
                    <a:pt x="13332" y="2407"/>
                    <a:pt x="13423" y="2475"/>
                    <a:pt x="13486" y="2583"/>
                  </a:cubicBezTo>
                  <a:cubicBezTo>
                    <a:pt x="13593" y="2767"/>
                    <a:pt x="13631" y="2829"/>
                    <a:pt x="13837" y="2923"/>
                  </a:cubicBezTo>
                  <a:cubicBezTo>
                    <a:pt x="14044" y="3016"/>
                    <a:pt x="15269" y="3531"/>
                    <a:pt x="15289" y="3539"/>
                  </a:cubicBezTo>
                  <a:cubicBezTo>
                    <a:pt x="15296" y="3542"/>
                    <a:pt x="15302" y="3546"/>
                    <a:pt x="15316" y="3555"/>
                  </a:cubicBezTo>
                  <a:cubicBezTo>
                    <a:pt x="15331" y="3566"/>
                    <a:pt x="15353" y="3582"/>
                    <a:pt x="15379" y="3600"/>
                  </a:cubicBezTo>
                  <a:cubicBezTo>
                    <a:pt x="15317" y="3600"/>
                    <a:pt x="15317" y="3600"/>
                    <a:pt x="15317" y="3600"/>
                  </a:cubicBezTo>
                  <a:cubicBezTo>
                    <a:pt x="15308" y="3594"/>
                    <a:pt x="15299" y="3588"/>
                    <a:pt x="15293" y="3583"/>
                  </a:cubicBezTo>
                  <a:cubicBezTo>
                    <a:pt x="15288" y="3580"/>
                    <a:pt x="15283" y="3577"/>
                    <a:pt x="15280" y="3575"/>
                  </a:cubicBezTo>
                  <a:cubicBezTo>
                    <a:pt x="15278" y="3574"/>
                    <a:pt x="15277" y="3573"/>
                    <a:pt x="15276" y="3572"/>
                  </a:cubicBezTo>
                  <a:cubicBezTo>
                    <a:pt x="15276" y="3572"/>
                    <a:pt x="15276" y="3572"/>
                    <a:pt x="15275" y="3572"/>
                  </a:cubicBezTo>
                  <a:cubicBezTo>
                    <a:pt x="15245" y="3560"/>
                    <a:pt x="14031" y="3049"/>
                    <a:pt x="13822" y="2956"/>
                  </a:cubicBezTo>
                  <a:cubicBezTo>
                    <a:pt x="13612" y="2862"/>
                    <a:pt x="13560" y="2785"/>
                    <a:pt x="13455" y="2601"/>
                  </a:cubicBezTo>
                  <a:cubicBezTo>
                    <a:pt x="13404" y="2513"/>
                    <a:pt x="13331" y="2452"/>
                    <a:pt x="13270" y="2414"/>
                  </a:cubicBezTo>
                  <a:cubicBezTo>
                    <a:pt x="13262" y="2409"/>
                    <a:pt x="13253" y="2404"/>
                    <a:pt x="13245" y="2399"/>
                  </a:cubicBezTo>
                  <a:cubicBezTo>
                    <a:pt x="13238" y="2397"/>
                    <a:pt x="13238" y="2397"/>
                    <a:pt x="13238" y="2397"/>
                  </a:cubicBezTo>
                  <a:cubicBezTo>
                    <a:pt x="13188" y="2503"/>
                    <a:pt x="12945" y="3022"/>
                    <a:pt x="12671" y="3593"/>
                  </a:cubicBezTo>
                  <a:cubicBezTo>
                    <a:pt x="12681" y="3600"/>
                    <a:pt x="12681" y="3600"/>
                    <a:pt x="12681" y="3600"/>
                  </a:cubicBezTo>
                  <a:cubicBezTo>
                    <a:pt x="12667" y="3600"/>
                    <a:pt x="12667" y="3600"/>
                    <a:pt x="12667" y="3600"/>
                  </a:cubicBezTo>
                  <a:cubicBezTo>
                    <a:pt x="12540" y="3600"/>
                    <a:pt x="12540" y="3600"/>
                    <a:pt x="12540" y="3600"/>
                  </a:cubicBezTo>
                  <a:cubicBezTo>
                    <a:pt x="12472" y="3600"/>
                    <a:pt x="12472" y="3600"/>
                    <a:pt x="12472" y="3600"/>
                  </a:cubicBezTo>
                  <a:cubicBezTo>
                    <a:pt x="11585" y="3032"/>
                    <a:pt x="11585" y="3032"/>
                    <a:pt x="11585" y="3032"/>
                  </a:cubicBezTo>
                  <a:cubicBezTo>
                    <a:pt x="11440" y="2939"/>
                    <a:pt x="10867" y="2619"/>
                    <a:pt x="10717" y="2552"/>
                  </a:cubicBezTo>
                  <a:cubicBezTo>
                    <a:pt x="10644" y="2519"/>
                    <a:pt x="10567" y="2497"/>
                    <a:pt x="10508" y="2485"/>
                  </a:cubicBezTo>
                  <a:cubicBezTo>
                    <a:pt x="10479" y="2478"/>
                    <a:pt x="10455" y="2474"/>
                    <a:pt x="10438" y="2471"/>
                  </a:cubicBezTo>
                  <a:cubicBezTo>
                    <a:pt x="10421" y="2468"/>
                    <a:pt x="10412" y="2468"/>
                    <a:pt x="10412" y="2467"/>
                  </a:cubicBezTo>
                  <a:cubicBezTo>
                    <a:pt x="10411" y="2467"/>
                    <a:pt x="10411" y="2467"/>
                    <a:pt x="10411" y="2467"/>
                  </a:cubicBezTo>
                  <a:cubicBezTo>
                    <a:pt x="10410" y="2467"/>
                    <a:pt x="10410" y="2467"/>
                    <a:pt x="10410" y="2467"/>
                  </a:cubicBezTo>
                  <a:cubicBezTo>
                    <a:pt x="10409" y="2467"/>
                    <a:pt x="10256" y="2444"/>
                    <a:pt x="10025" y="2410"/>
                  </a:cubicBezTo>
                  <a:cubicBezTo>
                    <a:pt x="9331" y="2307"/>
                    <a:pt x="7932" y="2098"/>
                    <a:pt x="7867" y="2089"/>
                  </a:cubicBezTo>
                  <a:cubicBezTo>
                    <a:pt x="7836" y="2085"/>
                    <a:pt x="7800" y="2082"/>
                    <a:pt x="7768" y="2080"/>
                  </a:cubicBezTo>
                  <a:cubicBezTo>
                    <a:pt x="7761" y="2098"/>
                    <a:pt x="7761" y="2098"/>
                    <a:pt x="7761" y="2098"/>
                  </a:cubicBezTo>
                  <a:cubicBezTo>
                    <a:pt x="7461" y="3457"/>
                    <a:pt x="7461" y="3457"/>
                    <a:pt x="7461" y="3457"/>
                  </a:cubicBezTo>
                  <a:cubicBezTo>
                    <a:pt x="7461" y="3458"/>
                    <a:pt x="7461" y="3459"/>
                    <a:pt x="7460" y="3463"/>
                  </a:cubicBezTo>
                  <a:cubicBezTo>
                    <a:pt x="7460" y="3466"/>
                    <a:pt x="7459" y="3472"/>
                    <a:pt x="7459" y="3479"/>
                  </a:cubicBezTo>
                  <a:cubicBezTo>
                    <a:pt x="7459" y="3503"/>
                    <a:pt x="7465" y="3542"/>
                    <a:pt x="7501" y="3581"/>
                  </a:cubicBezTo>
                  <a:cubicBezTo>
                    <a:pt x="7507" y="3588"/>
                    <a:pt x="7514" y="3594"/>
                    <a:pt x="7522" y="3600"/>
                  </a:cubicBezTo>
                  <a:cubicBezTo>
                    <a:pt x="7470" y="3600"/>
                    <a:pt x="7470" y="3600"/>
                    <a:pt x="7470" y="3600"/>
                  </a:cubicBezTo>
                  <a:cubicBezTo>
                    <a:pt x="7431" y="3555"/>
                    <a:pt x="7423" y="3508"/>
                    <a:pt x="7423" y="3479"/>
                  </a:cubicBezTo>
                  <a:cubicBezTo>
                    <a:pt x="7423" y="3461"/>
                    <a:pt x="7426" y="3450"/>
                    <a:pt x="7426" y="3449"/>
                  </a:cubicBezTo>
                  <a:cubicBezTo>
                    <a:pt x="7727" y="2088"/>
                    <a:pt x="7727" y="2088"/>
                    <a:pt x="7727" y="2088"/>
                  </a:cubicBezTo>
                  <a:cubicBezTo>
                    <a:pt x="7727" y="2077"/>
                    <a:pt x="7727" y="2077"/>
                    <a:pt x="7727" y="2077"/>
                  </a:cubicBezTo>
                  <a:cubicBezTo>
                    <a:pt x="7714" y="2076"/>
                    <a:pt x="7702" y="2076"/>
                    <a:pt x="7694" y="2075"/>
                  </a:cubicBezTo>
                  <a:cubicBezTo>
                    <a:pt x="7688" y="2075"/>
                    <a:pt x="7683" y="2075"/>
                    <a:pt x="7680" y="2075"/>
                  </a:cubicBezTo>
                  <a:cubicBezTo>
                    <a:pt x="7679" y="2075"/>
                    <a:pt x="7677" y="2075"/>
                    <a:pt x="7676" y="2075"/>
                  </a:cubicBezTo>
                  <a:cubicBezTo>
                    <a:pt x="7676" y="2075"/>
                    <a:pt x="7675" y="2075"/>
                    <a:pt x="7674" y="2075"/>
                  </a:cubicBezTo>
                  <a:cubicBezTo>
                    <a:pt x="7674" y="2075"/>
                    <a:pt x="7674" y="2075"/>
                    <a:pt x="7673" y="2074"/>
                  </a:cubicBezTo>
                  <a:cubicBezTo>
                    <a:pt x="7635" y="2073"/>
                    <a:pt x="7276" y="2060"/>
                    <a:pt x="6875" y="2046"/>
                  </a:cubicBezTo>
                  <a:cubicBezTo>
                    <a:pt x="6874" y="2048"/>
                    <a:pt x="6873" y="2051"/>
                    <a:pt x="6872" y="2053"/>
                  </a:cubicBezTo>
                  <a:cubicBezTo>
                    <a:pt x="6329" y="3600"/>
                    <a:pt x="6329" y="3600"/>
                    <a:pt x="6329" y="3600"/>
                  </a:cubicBezTo>
                  <a:cubicBezTo>
                    <a:pt x="6301" y="3600"/>
                    <a:pt x="6301" y="3600"/>
                    <a:pt x="6301" y="3600"/>
                  </a:cubicBezTo>
                  <a:cubicBezTo>
                    <a:pt x="6843" y="2057"/>
                    <a:pt x="6843" y="2057"/>
                    <a:pt x="6843" y="2057"/>
                  </a:cubicBezTo>
                  <a:cubicBezTo>
                    <a:pt x="6842" y="2045"/>
                    <a:pt x="6842" y="2045"/>
                    <a:pt x="6842" y="2045"/>
                  </a:cubicBezTo>
                  <a:cubicBezTo>
                    <a:pt x="6358" y="2027"/>
                    <a:pt x="5825" y="2008"/>
                    <a:pt x="5722" y="2005"/>
                  </a:cubicBezTo>
                  <a:cubicBezTo>
                    <a:pt x="5721" y="2008"/>
                    <a:pt x="5720" y="2011"/>
                    <a:pt x="5720" y="2014"/>
                  </a:cubicBezTo>
                  <a:cubicBezTo>
                    <a:pt x="5565" y="3540"/>
                    <a:pt x="5565" y="3540"/>
                    <a:pt x="5565" y="3540"/>
                  </a:cubicBezTo>
                  <a:cubicBezTo>
                    <a:pt x="5572" y="3542"/>
                    <a:pt x="5572" y="3542"/>
                    <a:pt x="5572" y="3542"/>
                  </a:cubicBezTo>
                  <a:cubicBezTo>
                    <a:pt x="5619" y="3551"/>
                    <a:pt x="5778" y="3573"/>
                    <a:pt x="5931" y="3594"/>
                  </a:cubicBezTo>
                  <a:cubicBezTo>
                    <a:pt x="5945" y="3596"/>
                    <a:pt x="5959" y="3598"/>
                    <a:pt x="5973" y="3600"/>
                  </a:cubicBezTo>
                  <a:cubicBezTo>
                    <a:pt x="5783" y="3600"/>
                    <a:pt x="5783" y="3600"/>
                    <a:pt x="5783" y="3600"/>
                  </a:cubicBezTo>
                  <a:cubicBezTo>
                    <a:pt x="5742" y="3595"/>
                    <a:pt x="5704" y="3589"/>
                    <a:pt x="5672" y="3584"/>
                  </a:cubicBezTo>
                  <a:cubicBezTo>
                    <a:pt x="5637" y="3579"/>
                    <a:pt x="5608" y="3575"/>
                    <a:pt x="5587" y="3572"/>
                  </a:cubicBezTo>
                  <a:cubicBezTo>
                    <a:pt x="5580" y="3570"/>
                    <a:pt x="5573" y="3569"/>
                    <a:pt x="5568" y="3568"/>
                  </a:cubicBezTo>
                  <a:cubicBezTo>
                    <a:pt x="5562" y="3568"/>
                    <a:pt x="5562" y="3568"/>
                    <a:pt x="5562" y="3568"/>
                  </a:cubicBezTo>
                  <a:cubicBezTo>
                    <a:pt x="5558" y="3600"/>
                    <a:pt x="5558" y="3600"/>
                    <a:pt x="5558" y="3600"/>
                  </a:cubicBezTo>
                  <a:cubicBezTo>
                    <a:pt x="5522" y="3600"/>
                    <a:pt x="5522" y="3600"/>
                    <a:pt x="5522" y="3600"/>
                  </a:cubicBezTo>
                  <a:cubicBezTo>
                    <a:pt x="5682" y="2029"/>
                    <a:pt x="5682" y="2029"/>
                    <a:pt x="5682" y="2029"/>
                  </a:cubicBezTo>
                  <a:cubicBezTo>
                    <a:pt x="5681" y="2029"/>
                    <a:pt x="5681" y="2029"/>
                    <a:pt x="5681" y="2029"/>
                  </a:cubicBezTo>
                  <a:cubicBezTo>
                    <a:pt x="5680" y="2002"/>
                    <a:pt x="5680" y="2002"/>
                    <a:pt x="5680" y="2002"/>
                  </a:cubicBezTo>
                  <a:cubicBezTo>
                    <a:pt x="5677" y="1998"/>
                    <a:pt x="5677" y="1998"/>
                    <a:pt x="5677" y="1998"/>
                  </a:cubicBezTo>
                  <a:cubicBezTo>
                    <a:pt x="5659" y="1994"/>
                    <a:pt x="5626" y="1986"/>
                    <a:pt x="5585" y="1977"/>
                  </a:cubicBezTo>
                  <a:cubicBezTo>
                    <a:pt x="5453" y="1947"/>
                    <a:pt x="5234" y="1898"/>
                    <a:pt x="5125" y="1873"/>
                  </a:cubicBezTo>
                  <a:cubicBezTo>
                    <a:pt x="5102" y="2051"/>
                    <a:pt x="5011" y="2777"/>
                    <a:pt x="4906" y="3600"/>
                  </a:cubicBezTo>
                  <a:cubicBezTo>
                    <a:pt x="4790" y="3600"/>
                    <a:pt x="4790" y="3600"/>
                    <a:pt x="4790" y="3600"/>
                  </a:cubicBezTo>
                  <a:cubicBezTo>
                    <a:pt x="4845" y="3168"/>
                    <a:pt x="4897" y="2762"/>
                    <a:pt x="4937" y="2447"/>
                  </a:cubicBezTo>
                  <a:cubicBezTo>
                    <a:pt x="4972" y="2170"/>
                    <a:pt x="4998" y="1965"/>
                    <a:pt x="5009" y="1872"/>
                  </a:cubicBezTo>
                  <a:cubicBezTo>
                    <a:pt x="4906" y="1891"/>
                    <a:pt x="4906" y="1891"/>
                    <a:pt x="4906" y="1891"/>
                  </a:cubicBezTo>
                  <a:cubicBezTo>
                    <a:pt x="4688" y="3600"/>
                    <a:pt x="4688" y="3600"/>
                    <a:pt x="4688" y="3600"/>
                  </a:cubicBezTo>
                  <a:cubicBezTo>
                    <a:pt x="4573" y="3600"/>
                    <a:pt x="4573" y="3600"/>
                    <a:pt x="4573" y="3600"/>
                  </a:cubicBezTo>
                  <a:cubicBezTo>
                    <a:pt x="4641" y="3064"/>
                    <a:pt x="4641" y="3064"/>
                    <a:pt x="4641" y="3064"/>
                  </a:cubicBezTo>
                  <a:cubicBezTo>
                    <a:pt x="4637" y="3062"/>
                    <a:pt x="4633" y="3058"/>
                    <a:pt x="4629" y="3055"/>
                  </a:cubicBezTo>
                  <a:cubicBezTo>
                    <a:pt x="4616" y="3049"/>
                    <a:pt x="4598" y="3040"/>
                    <a:pt x="4575" y="3029"/>
                  </a:cubicBezTo>
                  <a:cubicBezTo>
                    <a:pt x="4436" y="2964"/>
                    <a:pt x="4124" y="2833"/>
                    <a:pt x="3859" y="2834"/>
                  </a:cubicBezTo>
                  <a:cubicBezTo>
                    <a:pt x="3845" y="2834"/>
                    <a:pt x="3831" y="2834"/>
                    <a:pt x="3817" y="2835"/>
                  </a:cubicBezTo>
                  <a:cubicBezTo>
                    <a:pt x="3634" y="2845"/>
                    <a:pt x="3507" y="2855"/>
                    <a:pt x="3427" y="2863"/>
                  </a:cubicBezTo>
                  <a:cubicBezTo>
                    <a:pt x="3347" y="2870"/>
                    <a:pt x="3313" y="2875"/>
                    <a:pt x="3313" y="2875"/>
                  </a:cubicBezTo>
                  <a:cubicBezTo>
                    <a:pt x="3307" y="2840"/>
                    <a:pt x="3307" y="2840"/>
                    <a:pt x="3307" y="2840"/>
                  </a:cubicBezTo>
                  <a:cubicBezTo>
                    <a:pt x="3308" y="2840"/>
                    <a:pt x="3447" y="2819"/>
                    <a:pt x="3815" y="2799"/>
                  </a:cubicBezTo>
                  <a:cubicBezTo>
                    <a:pt x="3823" y="2798"/>
                    <a:pt x="3831" y="2798"/>
                    <a:pt x="3839" y="2798"/>
                  </a:cubicBezTo>
                  <a:cubicBezTo>
                    <a:pt x="3750" y="2400"/>
                    <a:pt x="3750" y="2400"/>
                    <a:pt x="3750" y="2400"/>
                  </a:cubicBezTo>
                  <a:cubicBezTo>
                    <a:pt x="3670" y="2413"/>
                    <a:pt x="3602" y="2416"/>
                    <a:pt x="3487" y="2427"/>
                  </a:cubicBezTo>
                  <a:cubicBezTo>
                    <a:pt x="3346" y="2440"/>
                    <a:pt x="3188" y="2453"/>
                    <a:pt x="3065" y="2463"/>
                  </a:cubicBezTo>
                  <a:cubicBezTo>
                    <a:pt x="3003" y="2468"/>
                    <a:pt x="2951" y="2472"/>
                    <a:pt x="2913" y="2475"/>
                  </a:cubicBezTo>
                  <a:cubicBezTo>
                    <a:pt x="2898" y="2476"/>
                    <a:pt x="2885" y="2477"/>
                    <a:pt x="2876" y="2478"/>
                  </a:cubicBezTo>
                  <a:cubicBezTo>
                    <a:pt x="3113" y="3600"/>
                    <a:pt x="3113" y="3600"/>
                    <a:pt x="3113" y="3600"/>
                  </a:cubicBezTo>
                  <a:cubicBezTo>
                    <a:pt x="3076" y="3600"/>
                    <a:pt x="3076" y="3600"/>
                    <a:pt x="3076" y="3600"/>
                  </a:cubicBezTo>
                  <a:cubicBezTo>
                    <a:pt x="3066" y="3554"/>
                    <a:pt x="3066" y="3554"/>
                    <a:pt x="3066" y="3554"/>
                  </a:cubicBezTo>
                  <a:cubicBezTo>
                    <a:pt x="3063" y="3554"/>
                    <a:pt x="3063" y="3554"/>
                    <a:pt x="3063" y="3554"/>
                  </a:cubicBezTo>
                  <a:cubicBezTo>
                    <a:pt x="2190" y="3600"/>
                    <a:pt x="2190" y="3600"/>
                    <a:pt x="2190" y="3600"/>
                  </a:cubicBezTo>
                  <a:cubicBezTo>
                    <a:pt x="1699" y="3600"/>
                    <a:pt x="1699" y="3600"/>
                    <a:pt x="1699" y="3600"/>
                  </a:cubicBezTo>
                  <a:cubicBezTo>
                    <a:pt x="3042" y="3528"/>
                    <a:pt x="3042" y="3528"/>
                    <a:pt x="3042" y="3528"/>
                  </a:cubicBezTo>
                  <a:cubicBezTo>
                    <a:pt x="3060" y="3525"/>
                    <a:pt x="3060" y="3525"/>
                    <a:pt x="3060" y="3525"/>
                  </a:cubicBezTo>
                  <a:cubicBezTo>
                    <a:pt x="2837" y="2471"/>
                    <a:pt x="2837" y="2471"/>
                    <a:pt x="2837" y="2471"/>
                  </a:cubicBezTo>
                  <a:cubicBezTo>
                    <a:pt x="2836" y="2469"/>
                    <a:pt x="2835" y="2466"/>
                    <a:pt x="2835" y="2462"/>
                  </a:cubicBezTo>
                  <a:cubicBezTo>
                    <a:pt x="2835" y="2461"/>
                    <a:pt x="2835" y="2460"/>
                    <a:pt x="2835" y="2459"/>
                  </a:cubicBezTo>
                  <a:cubicBezTo>
                    <a:pt x="2727" y="1946"/>
                    <a:pt x="2727" y="1946"/>
                    <a:pt x="2727" y="1946"/>
                  </a:cubicBezTo>
                  <a:cubicBezTo>
                    <a:pt x="2656" y="1950"/>
                    <a:pt x="2588" y="1951"/>
                    <a:pt x="2548" y="1953"/>
                  </a:cubicBezTo>
                  <a:cubicBezTo>
                    <a:pt x="2542" y="1954"/>
                    <a:pt x="2536" y="1954"/>
                    <a:pt x="2531" y="1954"/>
                  </a:cubicBezTo>
                  <a:cubicBezTo>
                    <a:pt x="2530" y="1954"/>
                    <a:pt x="2530" y="1954"/>
                    <a:pt x="2530" y="1954"/>
                  </a:cubicBezTo>
                  <a:cubicBezTo>
                    <a:pt x="2449" y="1954"/>
                    <a:pt x="2382" y="1924"/>
                    <a:pt x="2355" y="1865"/>
                  </a:cubicBezTo>
                  <a:cubicBezTo>
                    <a:pt x="2344" y="1841"/>
                    <a:pt x="2334" y="1798"/>
                    <a:pt x="2325" y="1752"/>
                  </a:cubicBezTo>
                  <a:cubicBezTo>
                    <a:pt x="766" y="2146"/>
                    <a:pt x="766" y="2146"/>
                    <a:pt x="766" y="2146"/>
                  </a:cubicBezTo>
                  <a:cubicBezTo>
                    <a:pt x="943" y="2534"/>
                    <a:pt x="1156" y="3005"/>
                    <a:pt x="1175" y="3052"/>
                  </a:cubicBezTo>
                  <a:cubicBezTo>
                    <a:pt x="1197" y="3107"/>
                    <a:pt x="1269" y="3369"/>
                    <a:pt x="1322" y="3600"/>
                  </a:cubicBezTo>
                  <a:cubicBezTo>
                    <a:pt x="1285" y="3600"/>
                    <a:pt x="1285" y="3600"/>
                    <a:pt x="1285" y="3600"/>
                  </a:cubicBezTo>
                  <a:cubicBezTo>
                    <a:pt x="1232" y="3372"/>
                    <a:pt x="1162" y="3115"/>
                    <a:pt x="1142" y="3065"/>
                  </a:cubicBezTo>
                  <a:cubicBezTo>
                    <a:pt x="1126" y="3027"/>
                    <a:pt x="964" y="2669"/>
                    <a:pt x="807" y="2322"/>
                  </a:cubicBezTo>
                  <a:cubicBezTo>
                    <a:pt x="728" y="2149"/>
                    <a:pt x="650" y="1978"/>
                    <a:pt x="592" y="1850"/>
                  </a:cubicBezTo>
                  <a:cubicBezTo>
                    <a:pt x="554" y="1766"/>
                    <a:pt x="524" y="1702"/>
                    <a:pt x="509" y="1667"/>
                  </a:cubicBezTo>
                  <a:cubicBezTo>
                    <a:pt x="498" y="1655"/>
                    <a:pt x="498" y="1655"/>
                    <a:pt x="498" y="1655"/>
                  </a:cubicBezTo>
                  <a:cubicBezTo>
                    <a:pt x="437" y="1682"/>
                    <a:pt x="398" y="1701"/>
                    <a:pt x="398" y="1701"/>
                  </a:cubicBezTo>
                  <a:cubicBezTo>
                    <a:pt x="398" y="1700"/>
                    <a:pt x="264" y="1765"/>
                    <a:pt x="61" y="1862"/>
                  </a:cubicBezTo>
                  <a:cubicBezTo>
                    <a:pt x="41" y="1872"/>
                    <a:pt x="21" y="1882"/>
                    <a:pt x="0" y="1892"/>
                  </a:cubicBezTo>
                  <a:cubicBezTo>
                    <a:pt x="0" y="1764"/>
                    <a:pt x="0" y="1764"/>
                    <a:pt x="0" y="1764"/>
                  </a:cubicBezTo>
                  <a:cubicBezTo>
                    <a:pt x="209" y="1664"/>
                    <a:pt x="348" y="1597"/>
                    <a:pt x="349" y="1597"/>
                  </a:cubicBezTo>
                  <a:cubicBezTo>
                    <a:pt x="350" y="1596"/>
                    <a:pt x="688" y="1439"/>
                    <a:pt x="924" y="1346"/>
                  </a:cubicBezTo>
                  <a:cubicBezTo>
                    <a:pt x="1041" y="1300"/>
                    <a:pt x="1268" y="1213"/>
                    <a:pt x="1479" y="1127"/>
                  </a:cubicBezTo>
                  <a:cubicBezTo>
                    <a:pt x="1585" y="1083"/>
                    <a:pt x="1686" y="1041"/>
                    <a:pt x="1768" y="1004"/>
                  </a:cubicBezTo>
                  <a:cubicBezTo>
                    <a:pt x="1849" y="968"/>
                    <a:pt x="1912" y="935"/>
                    <a:pt x="1930" y="921"/>
                  </a:cubicBezTo>
                  <a:cubicBezTo>
                    <a:pt x="1950" y="907"/>
                    <a:pt x="1995" y="859"/>
                    <a:pt x="2046" y="801"/>
                  </a:cubicBezTo>
                  <a:cubicBezTo>
                    <a:pt x="2122" y="713"/>
                    <a:pt x="2215" y="596"/>
                    <a:pt x="2289" y="502"/>
                  </a:cubicBezTo>
                  <a:cubicBezTo>
                    <a:pt x="2339" y="438"/>
                    <a:pt x="2379" y="385"/>
                    <a:pt x="2400" y="357"/>
                  </a:cubicBezTo>
                  <a:cubicBezTo>
                    <a:pt x="2400" y="357"/>
                    <a:pt x="2400" y="357"/>
                    <a:pt x="2400" y="357"/>
                  </a:cubicBezTo>
                  <a:cubicBezTo>
                    <a:pt x="2400" y="357"/>
                    <a:pt x="2402" y="355"/>
                    <a:pt x="2405" y="352"/>
                  </a:cubicBezTo>
                  <a:cubicBezTo>
                    <a:pt x="2408" y="347"/>
                    <a:pt x="2411" y="343"/>
                    <a:pt x="2413" y="340"/>
                  </a:cubicBezTo>
                  <a:cubicBezTo>
                    <a:pt x="2388" y="317"/>
                    <a:pt x="2366" y="291"/>
                    <a:pt x="2348" y="261"/>
                  </a:cubicBezTo>
                  <a:cubicBezTo>
                    <a:pt x="2346" y="261"/>
                    <a:pt x="2343" y="261"/>
                    <a:pt x="2340" y="260"/>
                  </a:cubicBezTo>
                  <a:cubicBezTo>
                    <a:pt x="2339" y="262"/>
                    <a:pt x="2339" y="262"/>
                    <a:pt x="2339" y="262"/>
                  </a:cubicBezTo>
                  <a:cubicBezTo>
                    <a:pt x="2335" y="261"/>
                    <a:pt x="1811" y="184"/>
                    <a:pt x="1626" y="141"/>
                  </a:cubicBezTo>
                  <a:cubicBezTo>
                    <a:pt x="1496" y="110"/>
                    <a:pt x="1396" y="59"/>
                    <a:pt x="1295" y="0"/>
                  </a:cubicBezTo>
                  <a:cubicBezTo>
                    <a:pt x="1558" y="0"/>
                    <a:pt x="1558" y="0"/>
                    <a:pt x="1558" y="0"/>
                  </a:cubicBezTo>
                  <a:cubicBezTo>
                    <a:pt x="1588" y="11"/>
                    <a:pt x="1619" y="21"/>
                    <a:pt x="1652" y="29"/>
                  </a:cubicBezTo>
                  <a:cubicBezTo>
                    <a:pt x="1738" y="49"/>
                    <a:pt x="1916" y="80"/>
                    <a:pt x="2070" y="104"/>
                  </a:cubicBezTo>
                  <a:cubicBezTo>
                    <a:pt x="2154" y="118"/>
                    <a:pt x="2231" y="129"/>
                    <a:pt x="2284" y="137"/>
                  </a:cubicBezTo>
                  <a:cubicBezTo>
                    <a:pt x="2286" y="138"/>
                    <a:pt x="2295" y="139"/>
                    <a:pt x="2303" y="140"/>
                  </a:cubicBezTo>
                  <a:cubicBezTo>
                    <a:pt x="2300" y="121"/>
                    <a:pt x="2298" y="103"/>
                    <a:pt x="2298" y="83"/>
                  </a:cubicBezTo>
                  <a:cubicBezTo>
                    <a:pt x="2298" y="55"/>
                    <a:pt x="2302" y="27"/>
                    <a:pt x="2309" y="0"/>
                  </a:cubicBezTo>
                  <a:cubicBezTo>
                    <a:pt x="2435" y="0"/>
                    <a:pt x="2435" y="0"/>
                    <a:pt x="2435" y="0"/>
                  </a:cubicBezTo>
                  <a:cubicBezTo>
                    <a:pt x="2424" y="26"/>
                    <a:pt x="2419" y="54"/>
                    <a:pt x="2419" y="83"/>
                  </a:cubicBezTo>
                  <a:cubicBezTo>
                    <a:pt x="2419" y="207"/>
                    <a:pt x="2519" y="308"/>
                    <a:pt x="2644" y="308"/>
                  </a:cubicBezTo>
                  <a:cubicBezTo>
                    <a:pt x="2768" y="308"/>
                    <a:pt x="2869" y="207"/>
                    <a:pt x="2869" y="83"/>
                  </a:cubicBezTo>
                  <a:cubicBezTo>
                    <a:pt x="2869" y="54"/>
                    <a:pt x="2863" y="26"/>
                    <a:pt x="2853" y="0"/>
                  </a:cubicBezTo>
                  <a:cubicBezTo>
                    <a:pt x="2979" y="0"/>
                    <a:pt x="2979" y="0"/>
                    <a:pt x="2979" y="0"/>
                  </a:cubicBezTo>
                  <a:cubicBezTo>
                    <a:pt x="2985" y="27"/>
                    <a:pt x="2989" y="55"/>
                    <a:pt x="2989" y="83"/>
                  </a:cubicBezTo>
                  <a:cubicBezTo>
                    <a:pt x="2989" y="88"/>
                    <a:pt x="2989" y="93"/>
                    <a:pt x="2988" y="98"/>
                  </a:cubicBezTo>
                  <a:cubicBezTo>
                    <a:pt x="2991" y="99"/>
                    <a:pt x="2994" y="101"/>
                    <a:pt x="2996" y="102"/>
                  </a:cubicBezTo>
                  <a:cubicBezTo>
                    <a:pt x="2996" y="102"/>
                    <a:pt x="2996" y="102"/>
                    <a:pt x="2996" y="102"/>
                  </a:cubicBezTo>
                  <a:cubicBezTo>
                    <a:pt x="2996" y="102"/>
                    <a:pt x="2996" y="102"/>
                    <a:pt x="2996" y="102"/>
                  </a:cubicBezTo>
                  <a:cubicBezTo>
                    <a:pt x="2996" y="102"/>
                    <a:pt x="2997" y="103"/>
                    <a:pt x="2998" y="103"/>
                  </a:cubicBezTo>
                  <a:cubicBezTo>
                    <a:pt x="3004" y="106"/>
                    <a:pt x="3009" y="109"/>
                    <a:pt x="3008" y="108"/>
                  </a:cubicBezTo>
                  <a:cubicBezTo>
                    <a:pt x="3008" y="108"/>
                    <a:pt x="3009" y="109"/>
                    <a:pt x="3009" y="109"/>
                  </a:cubicBezTo>
                  <a:cubicBezTo>
                    <a:pt x="3045" y="129"/>
                    <a:pt x="3153" y="189"/>
                    <a:pt x="3270" y="260"/>
                  </a:cubicBezTo>
                  <a:cubicBezTo>
                    <a:pt x="3341" y="304"/>
                    <a:pt x="3416" y="353"/>
                    <a:pt x="3479" y="399"/>
                  </a:cubicBezTo>
                  <a:cubicBezTo>
                    <a:pt x="3542" y="447"/>
                    <a:pt x="3594" y="490"/>
                    <a:pt x="3625" y="536"/>
                  </a:cubicBezTo>
                  <a:cubicBezTo>
                    <a:pt x="3716" y="677"/>
                    <a:pt x="3736" y="893"/>
                    <a:pt x="3737" y="1000"/>
                  </a:cubicBezTo>
                  <a:cubicBezTo>
                    <a:pt x="3737" y="1013"/>
                    <a:pt x="3737" y="1025"/>
                    <a:pt x="3736" y="1036"/>
                  </a:cubicBezTo>
                  <a:cubicBezTo>
                    <a:pt x="3730" y="1103"/>
                    <a:pt x="3721" y="1280"/>
                    <a:pt x="3719" y="1330"/>
                  </a:cubicBezTo>
                  <a:cubicBezTo>
                    <a:pt x="3742" y="1386"/>
                    <a:pt x="3765" y="1440"/>
                    <a:pt x="3785" y="1486"/>
                  </a:cubicBezTo>
                  <a:cubicBezTo>
                    <a:pt x="3809" y="1542"/>
                    <a:pt x="3830" y="1587"/>
                    <a:pt x="3839" y="1602"/>
                  </a:cubicBezTo>
                  <a:cubicBezTo>
                    <a:pt x="3862" y="1641"/>
                    <a:pt x="3889" y="1687"/>
                    <a:pt x="3917" y="1726"/>
                  </a:cubicBezTo>
                  <a:cubicBezTo>
                    <a:pt x="3944" y="1764"/>
                    <a:pt x="3975" y="1795"/>
                    <a:pt x="3988" y="1801"/>
                  </a:cubicBezTo>
                  <a:cubicBezTo>
                    <a:pt x="3997" y="1806"/>
                    <a:pt x="4022" y="1813"/>
                    <a:pt x="4050" y="1816"/>
                  </a:cubicBezTo>
                  <a:cubicBezTo>
                    <a:pt x="4079" y="1820"/>
                    <a:pt x="4113" y="1822"/>
                    <a:pt x="4144" y="1822"/>
                  </a:cubicBezTo>
                  <a:cubicBezTo>
                    <a:pt x="4167" y="1822"/>
                    <a:pt x="4189" y="1821"/>
                    <a:pt x="4208" y="1820"/>
                  </a:cubicBezTo>
                  <a:cubicBezTo>
                    <a:pt x="4210" y="1816"/>
                    <a:pt x="4211" y="1812"/>
                    <a:pt x="4213" y="1809"/>
                  </a:cubicBezTo>
                  <a:cubicBezTo>
                    <a:pt x="4576" y="733"/>
                    <a:pt x="4576" y="733"/>
                    <a:pt x="4576" y="733"/>
                  </a:cubicBezTo>
                  <a:cubicBezTo>
                    <a:pt x="4257" y="140"/>
                    <a:pt x="4257" y="140"/>
                    <a:pt x="4257" y="140"/>
                  </a:cubicBezTo>
                  <a:cubicBezTo>
                    <a:pt x="4271" y="0"/>
                    <a:pt x="4271" y="0"/>
                    <a:pt x="4271" y="0"/>
                  </a:cubicBezTo>
                  <a:cubicBezTo>
                    <a:pt x="4297" y="0"/>
                    <a:pt x="4297" y="0"/>
                    <a:pt x="4297" y="0"/>
                  </a:cubicBezTo>
                  <a:cubicBezTo>
                    <a:pt x="4284" y="134"/>
                    <a:pt x="4284" y="134"/>
                    <a:pt x="4284" y="134"/>
                  </a:cubicBezTo>
                  <a:cubicBezTo>
                    <a:pt x="4600" y="722"/>
                    <a:pt x="4600" y="722"/>
                    <a:pt x="4600" y="722"/>
                  </a:cubicBezTo>
                  <a:cubicBezTo>
                    <a:pt x="5081" y="1038"/>
                    <a:pt x="5081" y="1038"/>
                    <a:pt x="5081" y="1038"/>
                  </a:cubicBezTo>
                  <a:cubicBezTo>
                    <a:pt x="5086" y="1039"/>
                    <a:pt x="5092" y="1040"/>
                    <a:pt x="5097" y="1041"/>
                  </a:cubicBezTo>
                  <a:cubicBezTo>
                    <a:pt x="5030" y="459"/>
                    <a:pt x="5030" y="459"/>
                    <a:pt x="5030" y="459"/>
                  </a:cubicBezTo>
                  <a:cubicBezTo>
                    <a:pt x="5030" y="457"/>
                    <a:pt x="5030" y="457"/>
                    <a:pt x="5030" y="457"/>
                  </a:cubicBezTo>
                  <a:cubicBezTo>
                    <a:pt x="5030" y="457"/>
                    <a:pt x="5039" y="245"/>
                    <a:pt x="5043" y="0"/>
                  </a:cubicBezTo>
                  <a:cubicBezTo>
                    <a:pt x="5079" y="0"/>
                    <a:pt x="5079" y="0"/>
                    <a:pt x="5079" y="0"/>
                  </a:cubicBezTo>
                  <a:cubicBezTo>
                    <a:pt x="5078" y="53"/>
                    <a:pt x="5077" y="104"/>
                    <a:pt x="5076" y="152"/>
                  </a:cubicBezTo>
                  <a:cubicBezTo>
                    <a:pt x="5077" y="147"/>
                    <a:pt x="5077" y="147"/>
                    <a:pt x="5077" y="147"/>
                  </a:cubicBezTo>
                  <a:cubicBezTo>
                    <a:pt x="5077" y="147"/>
                    <a:pt x="5077" y="147"/>
                    <a:pt x="5077" y="147"/>
                  </a:cubicBezTo>
                  <a:cubicBezTo>
                    <a:pt x="5078" y="147"/>
                    <a:pt x="5283" y="202"/>
                    <a:pt x="5508" y="261"/>
                  </a:cubicBezTo>
                  <a:cubicBezTo>
                    <a:pt x="5732" y="320"/>
                    <a:pt x="5975" y="384"/>
                    <a:pt x="6048" y="400"/>
                  </a:cubicBezTo>
                  <a:cubicBezTo>
                    <a:pt x="6147" y="422"/>
                    <a:pt x="6256" y="456"/>
                    <a:pt x="6411" y="456"/>
                  </a:cubicBezTo>
                  <a:cubicBezTo>
                    <a:pt x="6485" y="456"/>
                    <a:pt x="6570" y="447"/>
                    <a:pt x="6668" y="427"/>
                  </a:cubicBezTo>
                  <a:cubicBezTo>
                    <a:pt x="6675" y="382"/>
                    <a:pt x="6702" y="222"/>
                    <a:pt x="6728" y="61"/>
                  </a:cubicBezTo>
                  <a:cubicBezTo>
                    <a:pt x="6732" y="41"/>
                    <a:pt x="6735" y="20"/>
                    <a:pt x="6738" y="0"/>
                  </a:cubicBezTo>
                  <a:cubicBezTo>
                    <a:pt x="6775" y="0"/>
                    <a:pt x="6775" y="0"/>
                    <a:pt x="6775" y="0"/>
                  </a:cubicBezTo>
                  <a:cubicBezTo>
                    <a:pt x="6770" y="27"/>
                    <a:pt x="6766" y="53"/>
                    <a:pt x="6762" y="80"/>
                  </a:cubicBezTo>
                  <a:cubicBezTo>
                    <a:pt x="6734" y="248"/>
                    <a:pt x="6707" y="411"/>
                    <a:pt x="6703" y="440"/>
                  </a:cubicBezTo>
                  <a:cubicBezTo>
                    <a:pt x="7225" y="1931"/>
                    <a:pt x="7225" y="1931"/>
                    <a:pt x="7225" y="1931"/>
                  </a:cubicBezTo>
                  <a:cubicBezTo>
                    <a:pt x="7232" y="1944"/>
                    <a:pt x="7232" y="1944"/>
                    <a:pt x="7232" y="1944"/>
                  </a:cubicBezTo>
                  <a:cubicBezTo>
                    <a:pt x="7282" y="1945"/>
                    <a:pt x="7329" y="1947"/>
                    <a:pt x="7372" y="1949"/>
                  </a:cubicBezTo>
                  <a:cubicBezTo>
                    <a:pt x="7557" y="1955"/>
                    <a:pt x="7680" y="1960"/>
                    <a:pt x="7680" y="1960"/>
                  </a:cubicBezTo>
                  <a:cubicBezTo>
                    <a:pt x="7681" y="1960"/>
                    <a:pt x="7682" y="1960"/>
                    <a:pt x="7683" y="1960"/>
                  </a:cubicBezTo>
                  <a:cubicBezTo>
                    <a:pt x="7692" y="1960"/>
                    <a:pt x="7725" y="1962"/>
                    <a:pt x="7765" y="1964"/>
                  </a:cubicBezTo>
                  <a:cubicBezTo>
                    <a:pt x="7771" y="1953"/>
                    <a:pt x="7771" y="1953"/>
                    <a:pt x="7771" y="1953"/>
                  </a:cubicBezTo>
                  <a:cubicBezTo>
                    <a:pt x="7862" y="1705"/>
                    <a:pt x="7862" y="1705"/>
                    <a:pt x="7862" y="1705"/>
                  </a:cubicBezTo>
                  <a:cubicBezTo>
                    <a:pt x="7785" y="998"/>
                    <a:pt x="7785" y="998"/>
                    <a:pt x="7785" y="998"/>
                  </a:cubicBezTo>
                  <a:cubicBezTo>
                    <a:pt x="7771" y="970"/>
                    <a:pt x="7658" y="745"/>
                    <a:pt x="7570" y="526"/>
                  </a:cubicBezTo>
                  <a:cubicBezTo>
                    <a:pt x="7530" y="427"/>
                    <a:pt x="7518" y="341"/>
                    <a:pt x="7518" y="275"/>
                  </a:cubicBezTo>
                  <a:cubicBezTo>
                    <a:pt x="7518" y="184"/>
                    <a:pt x="7541" y="130"/>
                    <a:pt x="7541" y="129"/>
                  </a:cubicBezTo>
                  <a:cubicBezTo>
                    <a:pt x="7542" y="128"/>
                    <a:pt x="7542" y="128"/>
                    <a:pt x="7542" y="128"/>
                  </a:cubicBezTo>
                  <a:cubicBezTo>
                    <a:pt x="7612" y="0"/>
                    <a:pt x="7612" y="0"/>
                    <a:pt x="7612" y="0"/>
                  </a:cubicBezTo>
                  <a:cubicBezTo>
                    <a:pt x="7650" y="0"/>
                    <a:pt x="7650" y="0"/>
                    <a:pt x="7650" y="0"/>
                  </a:cubicBezTo>
                  <a:cubicBezTo>
                    <a:pt x="7653" y="0"/>
                    <a:pt x="7653" y="0"/>
                    <a:pt x="7653" y="0"/>
                  </a:cubicBezTo>
                  <a:cubicBezTo>
                    <a:pt x="7720" y="0"/>
                    <a:pt x="7720" y="0"/>
                    <a:pt x="7720" y="0"/>
                  </a:cubicBezTo>
                  <a:cubicBezTo>
                    <a:pt x="8894" y="698"/>
                    <a:pt x="8894" y="698"/>
                    <a:pt x="8894" y="698"/>
                  </a:cubicBezTo>
                  <a:cubicBezTo>
                    <a:pt x="8904" y="684"/>
                    <a:pt x="8920" y="662"/>
                    <a:pt x="8938" y="635"/>
                  </a:cubicBezTo>
                  <a:cubicBezTo>
                    <a:pt x="9020" y="513"/>
                    <a:pt x="9162" y="294"/>
                    <a:pt x="9163" y="293"/>
                  </a:cubicBezTo>
                  <a:cubicBezTo>
                    <a:pt x="9168" y="285"/>
                    <a:pt x="9168" y="285"/>
                    <a:pt x="9168" y="285"/>
                  </a:cubicBezTo>
                  <a:cubicBezTo>
                    <a:pt x="9201" y="285"/>
                    <a:pt x="9201" y="285"/>
                    <a:pt x="9201" y="285"/>
                  </a:cubicBezTo>
                  <a:cubicBezTo>
                    <a:pt x="9184" y="0"/>
                    <a:pt x="9184" y="0"/>
                    <a:pt x="9184" y="0"/>
                  </a:cubicBezTo>
                  <a:cubicBezTo>
                    <a:pt x="9220" y="0"/>
                    <a:pt x="9220" y="0"/>
                    <a:pt x="9220" y="0"/>
                  </a:cubicBezTo>
                  <a:cubicBezTo>
                    <a:pt x="9237" y="286"/>
                    <a:pt x="9237" y="286"/>
                    <a:pt x="9237" y="286"/>
                  </a:cubicBezTo>
                  <a:cubicBezTo>
                    <a:pt x="9235" y="286"/>
                    <a:pt x="9235" y="286"/>
                    <a:pt x="9235" y="286"/>
                  </a:cubicBezTo>
                  <a:cubicBezTo>
                    <a:pt x="10217" y="300"/>
                    <a:pt x="10217" y="300"/>
                    <a:pt x="10217" y="300"/>
                  </a:cubicBezTo>
                  <a:cubicBezTo>
                    <a:pt x="10217" y="299"/>
                    <a:pt x="10217" y="299"/>
                    <a:pt x="10217" y="299"/>
                  </a:cubicBezTo>
                  <a:cubicBezTo>
                    <a:pt x="10241" y="280"/>
                    <a:pt x="10341" y="188"/>
                    <a:pt x="10341" y="14"/>
                  </a:cubicBezTo>
                  <a:cubicBezTo>
                    <a:pt x="10341" y="10"/>
                    <a:pt x="10340" y="5"/>
                    <a:pt x="10340" y="0"/>
                  </a:cubicBezTo>
                  <a:cubicBezTo>
                    <a:pt x="10376" y="0"/>
                    <a:pt x="10376" y="0"/>
                    <a:pt x="10376" y="0"/>
                  </a:cubicBezTo>
                  <a:cubicBezTo>
                    <a:pt x="10376" y="5"/>
                    <a:pt x="10377" y="10"/>
                    <a:pt x="10377" y="14"/>
                  </a:cubicBezTo>
                  <a:cubicBezTo>
                    <a:pt x="10377" y="200"/>
                    <a:pt x="10273" y="300"/>
                    <a:pt x="10242" y="326"/>
                  </a:cubicBezTo>
                  <a:cubicBezTo>
                    <a:pt x="10246" y="361"/>
                    <a:pt x="10258" y="491"/>
                    <a:pt x="10271" y="621"/>
                  </a:cubicBezTo>
                  <a:cubicBezTo>
                    <a:pt x="10279" y="698"/>
                    <a:pt x="10287" y="775"/>
                    <a:pt x="10292" y="833"/>
                  </a:cubicBezTo>
                  <a:cubicBezTo>
                    <a:pt x="10295" y="862"/>
                    <a:pt x="10297" y="886"/>
                    <a:pt x="10299" y="903"/>
                  </a:cubicBezTo>
                  <a:cubicBezTo>
                    <a:pt x="10299" y="906"/>
                    <a:pt x="10300" y="909"/>
                    <a:pt x="10300" y="911"/>
                  </a:cubicBezTo>
                  <a:cubicBezTo>
                    <a:pt x="11917" y="622"/>
                    <a:pt x="11917" y="622"/>
                    <a:pt x="11917" y="622"/>
                  </a:cubicBezTo>
                  <a:cubicBezTo>
                    <a:pt x="11798" y="69"/>
                    <a:pt x="11798" y="69"/>
                    <a:pt x="11798" y="69"/>
                  </a:cubicBezTo>
                  <a:cubicBezTo>
                    <a:pt x="11787" y="61"/>
                    <a:pt x="11765" y="42"/>
                    <a:pt x="11734" y="0"/>
                  </a:cubicBezTo>
                  <a:cubicBezTo>
                    <a:pt x="11780" y="0"/>
                    <a:pt x="11780" y="0"/>
                    <a:pt x="11780" y="0"/>
                  </a:cubicBezTo>
                  <a:cubicBezTo>
                    <a:pt x="11781" y="2"/>
                    <a:pt x="11783" y="3"/>
                    <a:pt x="11784" y="5"/>
                  </a:cubicBezTo>
                  <a:cubicBezTo>
                    <a:pt x="11787" y="0"/>
                    <a:pt x="11787" y="0"/>
                    <a:pt x="11787" y="0"/>
                  </a:cubicBezTo>
                  <a:cubicBezTo>
                    <a:pt x="11831" y="0"/>
                    <a:pt x="11831" y="0"/>
                    <a:pt x="11831" y="0"/>
                  </a:cubicBezTo>
                  <a:cubicBezTo>
                    <a:pt x="11809" y="31"/>
                    <a:pt x="11809" y="31"/>
                    <a:pt x="11809" y="31"/>
                  </a:cubicBezTo>
                  <a:cubicBezTo>
                    <a:pt x="11811" y="33"/>
                    <a:pt x="11813" y="35"/>
                    <a:pt x="11814" y="36"/>
                  </a:cubicBezTo>
                  <a:cubicBezTo>
                    <a:pt x="11818" y="39"/>
                    <a:pt x="11820" y="41"/>
                    <a:pt x="11821" y="42"/>
                  </a:cubicBezTo>
                  <a:cubicBezTo>
                    <a:pt x="11822" y="42"/>
                    <a:pt x="11822" y="42"/>
                    <a:pt x="11823" y="42"/>
                  </a:cubicBezTo>
                  <a:cubicBezTo>
                    <a:pt x="11823" y="42"/>
                    <a:pt x="11823" y="42"/>
                    <a:pt x="11823" y="42"/>
                  </a:cubicBezTo>
                  <a:cubicBezTo>
                    <a:pt x="11830" y="46"/>
                    <a:pt x="11830" y="46"/>
                    <a:pt x="11830" y="46"/>
                  </a:cubicBezTo>
                  <a:cubicBezTo>
                    <a:pt x="11958" y="643"/>
                    <a:pt x="11958" y="643"/>
                    <a:pt x="11958" y="643"/>
                  </a:cubicBezTo>
                  <a:cubicBezTo>
                    <a:pt x="12153" y="1922"/>
                    <a:pt x="12153" y="1922"/>
                    <a:pt x="12153" y="1922"/>
                  </a:cubicBezTo>
                  <a:cubicBezTo>
                    <a:pt x="13147" y="2315"/>
                    <a:pt x="13147" y="2315"/>
                    <a:pt x="13147" y="2315"/>
                  </a:cubicBezTo>
                  <a:cubicBezTo>
                    <a:pt x="13842" y="315"/>
                    <a:pt x="13842" y="315"/>
                    <a:pt x="13842" y="315"/>
                  </a:cubicBezTo>
                  <a:cubicBezTo>
                    <a:pt x="13363" y="263"/>
                    <a:pt x="13363" y="263"/>
                    <a:pt x="13363" y="263"/>
                  </a:cubicBezTo>
                  <a:cubicBezTo>
                    <a:pt x="12894" y="0"/>
                    <a:pt x="12894" y="0"/>
                    <a:pt x="12894" y="0"/>
                  </a:cubicBezTo>
                  <a:cubicBezTo>
                    <a:pt x="12967" y="0"/>
                    <a:pt x="12967" y="0"/>
                    <a:pt x="12967" y="0"/>
                  </a:cubicBezTo>
                  <a:cubicBezTo>
                    <a:pt x="13374" y="228"/>
                    <a:pt x="13374" y="228"/>
                    <a:pt x="13374" y="228"/>
                  </a:cubicBezTo>
                  <a:cubicBezTo>
                    <a:pt x="13842" y="279"/>
                    <a:pt x="13842" y="279"/>
                    <a:pt x="13842" y="279"/>
                  </a:cubicBezTo>
                  <a:cubicBezTo>
                    <a:pt x="13852" y="280"/>
                    <a:pt x="13852" y="280"/>
                    <a:pt x="13852" y="280"/>
                  </a:cubicBezTo>
                  <a:cubicBezTo>
                    <a:pt x="13848" y="240"/>
                    <a:pt x="13838" y="139"/>
                    <a:pt x="13825" y="0"/>
                  </a:cubicBezTo>
                  <a:cubicBezTo>
                    <a:pt x="13941" y="0"/>
                    <a:pt x="13941" y="0"/>
                    <a:pt x="13941" y="0"/>
                  </a:cubicBezTo>
                  <a:cubicBezTo>
                    <a:pt x="13941" y="7"/>
                    <a:pt x="13942" y="14"/>
                    <a:pt x="13942" y="20"/>
                  </a:cubicBezTo>
                  <a:cubicBezTo>
                    <a:pt x="13958" y="184"/>
                    <a:pt x="13968" y="288"/>
                    <a:pt x="13968" y="288"/>
                  </a:cubicBezTo>
                  <a:cubicBezTo>
                    <a:pt x="13968" y="292"/>
                    <a:pt x="13968" y="292"/>
                    <a:pt x="13968" y="292"/>
                  </a:cubicBezTo>
                  <a:cubicBezTo>
                    <a:pt x="13970" y="292"/>
                    <a:pt x="13973" y="293"/>
                    <a:pt x="13975" y="294"/>
                  </a:cubicBezTo>
                  <a:cubicBezTo>
                    <a:pt x="14422" y="342"/>
                    <a:pt x="14422" y="342"/>
                    <a:pt x="14422" y="342"/>
                  </a:cubicBezTo>
                  <a:cubicBezTo>
                    <a:pt x="14423" y="342"/>
                    <a:pt x="14429" y="342"/>
                    <a:pt x="14434" y="347"/>
                  </a:cubicBezTo>
                  <a:cubicBezTo>
                    <a:pt x="14443" y="352"/>
                    <a:pt x="14481" y="372"/>
                    <a:pt x="14537" y="399"/>
                  </a:cubicBezTo>
                  <a:cubicBezTo>
                    <a:pt x="14660" y="460"/>
                    <a:pt x="14878" y="567"/>
                    <a:pt x="15126" y="694"/>
                  </a:cubicBezTo>
                  <a:cubicBezTo>
                    <a:pt x="15116" y="646"/>
                    <a:pt x="15066" y="458"/>
                    <a:pt x="15005" y="237"/>
                  </a:cubicBezTo>
                  <a:cubicBezTo>
                    <a:pt x="14984" y="161"/>
                    <a:pt x="14962" y="81"/>
                    <a:pt x="14940" y="0"/>
                  </a:cubicBezTo>
                  <a:cubicBezTo>
                    <a:pt x="14977" y="0"/>
                    <a:pt x="14977" y="0"/>
                    <a:pt x="14977" y="0"/>
                  </a:cubicBezTo>
                  <a:cubicBezTo>
                    <a:pt x="14998" y="77"/>
                    <a:pt x="15020" y="154"/>
                    <a:pt x="15040" y="227"/>
                  </a:cubicBezTo>
                  <a:cubicBezTo>
                    <a:pt x="15105" y="465"/>
                    <a:pt x="15158" y="658"/>
                    <a:pt x="15163" y="696"/>
                  </a:cubicBezTo>
                  <a:cubicBezTo>
                    <a:pt x="15138" y="700"/>
                    <a:pt x="15138" y="700"/>
                    <a:pt x="15138" y="700"/>
                  </a:cubicBezTo>
                  <a:cubicBezTo>
                    <a:pt x="15262" y="763"/>
                    <a:pt x="15394" y="831"/>
                    <a:pt x="15525" y="901"/>
                  </a:cubicBezTo>
                  <a:cubicBezTo>
                    <a:pt x="15765" y="1029"/>
                    <a:pt x="16004" y="1171"/>
                    <a:pt x="16193" y="1283"/>
                  </a:cubicBezTo>
                  <a:cubicBezTo>
                    <a:pt x="16825" y="1657"/>
                    <a:pt x="17295" y="2204"/>
                    <a:pt x="17296" y="2205"/>
                  </a:cubicBezTo>
                  <a:cubicBezTo>
                    <a:pt x="17331" y="2243"/>
                    <a:pt x="17374" y="2293"/>
                    <a:pt x="17429" y="2349"/>
                  </a:cubicBezTo>
                  <a:cubicBezTo>
                    <a:pt x="17495" y="2296"/>
                    <a:pt x="17655" y="2168"/>
                    <a:pt x="17832" y="2023"/>
                  </a:cubicBezTo>
                  <a:cubicBezTo>
                    <a:pt x="17889" y="1977"/>
                    <a:pt x="17947" y="1930"/>
                    <a:pt x="18004" y="1883"/>
                  </a:cubicBezTo>
                  <a:lnTo>
                    <a:pt x="18004" y="1930"/>
                  </a:lnTo>
                  <a:close/>
                  <a:moveTo>
                    <a:pt x="2922" y="287"/>
                  </a:moveTo>
                  <a:cubicBezTo>
                    <a:pt x="2941" y="297"/>
                    <a:pt x="2941" y="297"/>
                    <a:pt x="2941" y="297"/>
                  </a:cubicBezTo>
                  <a:cubicBezTo>
                    <a:pt x="2941" y="297"/>
                    <a:pt x="2941" y="297"/>
                    <a:pt x="2941" y="297"/>
                  </a:cubicBezTo>
                  <a:cubicBezTo>
                    <a:pt x="2974" y="313"/>
                    <a:pt x="3021" y="335"/>
                    <a:pt x="3070" y="359"/>
                  </a:cubicBezTo>
                  <a:cubicBezTo>
                    <a:pt x="3116" y="381"/>
                    <a:pt x="3163" y="404"/>
                    <a:pt x="3203" y="424"/>
                  </a:cubicBezTo>
                  <a:cubicBezTo>
                    <a:pt x="3243" y="445"/>
                    <a:pt x="3273" y="461"/>
                    <a:pt x="3293" y="474"/>
                  </a:cubicBezTo>
                  <a:cubicBezTo>
                    <a:pt x="3359" y="518"/>
                    <a:pt x="3407" y="581"/>
                    <a:pt x="3446" y="654"/>
                  </a:cubicBezTo>
                  <a:cubicBezTo>
                    <a:pt x="3468" y="693"/>
                    <a:pt x="3494" y="756"/>
                    <a:pt x="3520" y="822"/>
                  </a:cubicBezTo>
                  <a:cubicBezTo>
                    <a:pt x="3546" y="887"/>
                    <a:pt x="3570" y="951"/>
                    <a:pt x="3582" y="988"/>
                  </a:cubicBezTo>
                  <a:cubicBezTo>
                    <a:pt x="3587" y="1001"/>
                    <a:pt x="3599" y="1033"/>
                    <a:pt x="3616" y="1076"/>
                  </a:cubicBezTo>
                  <a:cubicBezTo>
                    <a:pt x="3618" y="1057"/>
                    <a:pt x="3620" y="1040"/>
                    <a:pt x="3621" y="1026"/>
                  </a:cubicBezTo>
                  <a:cubicBezTo>
                    <a:pt x="3622" y="1020"/>
                    <a:pt x="3622" y="1011"/>
                    <a:pt x="3622" y="1000"/>
                  </a:cubicBezTo>
                  <a:cubicBezTo>
                    <a:pt x="3624" y="910"/>
                    <a:pt x="3597" y="697"/>
                    <a:pt x="3529" y="599"/>
                  </a:cubicBezTo>
                  <a:cubicBezTo>
                    <a:pt x="3516" y="578"/>
                    <a:pt x="3469" y="535"/>
                    <a:pt x="3411" y="492"/>
                  </a:cubicBezTo>
                  <a:cubicBezTo>
                    <a:pt x="3322" y="426"/>
                    <a:pt x="3204" y="353"/>
                    <a:pt x="3109" y="298"/>
                  </a:cubicBezTo>
                  <a:cubicBezTo>
                    <a:pt x="3044" y="260"/>
                    <a:pt x="2991" y="230"/>
                    <a:pt x="2963" y="215"/>
                  </a:cubicBezTo>
                  <a:cubicBezTo>
                    <a:pt x="2952" y="241"/>
                    <a:pt x="2938" y="265"/>
                    <a:pt x="2922" y="287"/>
                  </a:cubicBezTo>
                  <a:close/>
                  <a:moveTo>
                    <a:pt x="2319" y="1717"/>
                  </a:moveTo>
                  <a:cubicBezTo>
                    <a:pt x="2309" y="1660"/>
                    <a:pt x="2303" y="1605"/>
                    <a:pt x="2300" y="1578"/>
                  </a:cubicBezTo>
                  <a:cubicBezTo>
                    <a:pt x="2300" y="1574"/>
                    <a:pt x="2300" y="1570"/>
                    <a:pt x="2300" y="1566"/>
                  </a:cubicBezTo>
                  <a:cubicBezTo>
                    <a:pt x="2299" y="1508"/>
                    <a:pt x="2338" y="1436"/>
                    <a:pt x="2440" y="1408"/>
                  </a:cubicBezTo>
                  <a:cubicBezTo>
                    <a:pt x="2533" y="1382"/>
                    <a:pt x="2730" y="1357"/>
                    <a:pt x="2851" y="1357"/>
                  </a:cubicBezTo>
                  <a:cubicBezTo>
                    <a:pt x="2867" y="1357"/>
                    <a:pt x="2882" y="1357"/>
                    <a:pt x="2895" y="1358"/>
                  </a:cubicBezTo>
                  <a:cubicBezTo>
                    <a:pt x="3007" y="1366"/>
                    <a:pt x="3060" y="1427"/>
                    <a:pt x="3089" y="1487"/>
                  </a:cubicBezTo>
                  <a:cubicBezTo>
                    <a:pt x="3113" y="1535"/>
                    <a:pt x="3123" y="1617"/>
                    <a:pt x="3123" y="1682"/>
                  </a:cubicBezTo>
                  <a:cubicBezTo>
                    <a:pt x="3123" y="1703"/>
                    <a:pt x="3122" y="1722"/>
                    <a:pt x="3120" y="1738"/>
                  </a:cubicBezTo>
                  <a:cubicBezTo>
                    <a:pt x="3117" y="1753"/>
                    <a:pt x="3110" y="1770"/>
                    <a:pt x="3100" y="1787"/>
                  </a:cubicBezTo>
                  <a:cubicBezTo>
                    <a:pt x="3108" y="1792"/>
                    <a:pt x="3160" y="1811"/>
                    <a:pt x="3220" y="1830"/>
                  </a:cubicBezTo>
                  <a:cubicBezTo>
                    <a:pt x="3281" y="1849"/>
                    <a:pt x="3352" y="1867"/>
                    <a:pt x="3402" y="1873"/>
                  </a:cubicBezTo>
                  <a:cubicBezTo>
                    <a:pt x="3407" y="1873"/>
                    <a:pt x="3412" y="1873"/>
                    <a:pt x="3419" y="1873"/>
                  </a:cubicBezTo>
                  <a:cubicBezTo>
                    <a:pt x="3479" y="1874"/>
                    <a:pt x="3586" y="1848"/>
                    <a:pt x="3677" y="1823"/>
                  </a:cubicBezTo>
                  <a:cubicBezTo>
                    <a:pt x="3724" y="1809"/>
                    <a:pt x="3766" y="1796"/>
                    <a:pt x="3796" y="1787"/>
                  </a:cubicBezTo>
                  <a:cubicBezTo>
                    <a:pt x="3812" y="1775"/>
                    <a:pt x="3812" y="1775"/>
                    <a:pt x="3812" y="1775"/>
                  </a:cubicBezTo>
                  <a:cubicBezTo>
                    <a:pt x="3785" y="1736"/>
                    <a:pt x="3760" y="1694"/>
                    <a:pt x="3740" y="1659"/>
                  </a:cubicBezTo>
                  <a:cubicBezTo>
                    <a:pt x="3725" y="1634"/>
                    <a:pt x="3705" y="1590"/>
                    <a:pt x="3680" y="1532"/>
                  </a:cubicBezTo>
                  <a:cubicBezTo>
                    <a:pt x="3605" y="1360"/>
                    <a:pt x="3494" y="1083"/>
                    <a:pt x="3474" y="1026"/>
                  </a:cubicBezTo>
                  <a:cubicBezTo>
                    <a:pt x="3462" y="991"/>
                    <a:pt x="3438" y="927"/>
                    <a:pt x="3413" y="864"/>
                  </a:cubicBezTo>
                  <a:cubicBezTo>
                    <a:pt x="3389" y="801"/>
                    <a:pt x="3361" y="737"/>
                    <a:pt x="3346" y="709"/>
                  </a:cubicBezTo>
                  <a:cubicBezTo>
                    <a:pt x="3311" y="646"/>
                    <a:pt x="3274" y="599"/>
                    <a:pt x="3229" y="569"/>
                  </a:cubicBezTo>
                  <a:cubicBezTo>
                    <a:pt x="3221" y="563"/>
                    <a:pt x="3189" y="546"/>
                    <a:pt x="3151" y="527"/>
                  </a:cubicBezTo>
                  <a:cubicBezTo>
                    <a:pt x="3035" y="468"/>
                    <a:pt x="2847" y="380"/>
                    <a:pt x="2846" y="380"/>
                  </a:cubicBezTo>
                  <a:cubicBezTo>
                    <a:pt x="2847" y="378"/>
                    <a:pt x="2847" y="378"/>
                    <a:pt x="2847" y="378"/>
                  </a:cubicBezTo>
                  <a:cubicBezTo>
                    <a:pt x="2835" y="372"/>
                    <a:pt x="2835" y="372"/>
                    <a:pt x="2835" y="372"/>
                  </a:cubicBezTo>
                  <a:cubicBezTo>
                    <a:pt x="2834" y="371"/>
                    <a:pt x="2834" y="371"/>
                    <a:pt x="2834" y="371"/>
                  </a:cubicBezTo>
                  <a:cubicBezTo>
                    <a:pt x="2780" y="407"/>
                    <a:pt x="2714" y="429"/>
                    <a:pt x="2644" y="429"/>
                  </a:cubicBezTo>
                  <a:cubicBezTo>
                    <a:pt x="2597" y="429"/>
                    <a:pt x="2552" y="419"/>
                    <a:pt x="2511" y="402"/>
                  </a:cubicBezTo>
                  <a:cubicBezTo>
                    <a:pt x="2505" y="409"/>
                    <a:pt x="2499" y="418"/>
                    <a:pt x="2499" y="418"/>
                  </a:cubicBezTo>
                  <a:cubicBezTo>
                    <a:pt x="2499" y="418"/>
                    <a:pt x="2499" y="418"/>
                    <a:pt x="2498" y="418"/>
                  </a:cubicBezTo>
                  <a:cubicBezTo>
                    <a:pt x="2470" y="455"/>
                    <a:pt x="2390" y="560"/>
                    <a:pt x="2300" y="673"/>
                  </a:cubicBezTo>
                  <a:cubicBezTo>
                    <a:pt x="2244" y="743"/>
                    <a:pt x="2185" y="815"/>
                    <a:pt x="2132" y="876"/>
                  </a:cubicBezTo>
                  <a:cubicBezTo>
                    <a:pt x="2079" y="937"/>
                    <a:pt x="2035" y="985"/>
                    <a:pt x="1999" y="1012"/>
                  </a:cubicBezTo>
                  <a:cubicBezTo>
                    <a:pt x="1962" y="1040"/>
                    <a:pt x="1899" y="1070"/>
                    <a:pt x="1815" y="1109"/>
                  </a:cubicBezTo>
                  <a:cubicBezTo>
                    <a:pt x="1565" y="1222"/>
                    <a:pt x="1141" y="1384"/>
                    <a:pt x="966" y="1453"/>
                  </a:cubicBezTo>
                  <a:cubicBezTo>
                    <a:pt x="851" y="1499"/>
                    <a:pt x="708" y="1561"/>
                    <a:pt x="595" y="1611"/>
                  </a:cubicBezTo>
                  <a:cubicBezTo>
                    <a:pt x="576" y="1620"/>
                    <a:pt x="558" y="1628"/>
                    <a:pt x="540" y="1635"/>
                  </a:cubicBezTo>
                  <a:cubicBezTo>
                    <a:pt x="542" y="1654"/>
                    <a:pt x="542" y="1654"/>
                    <a:pt x="542" y="1654"/>
                  </a:cubicBezTo>
                  <a:cubicBezTo>
                    <a:pt x="574" y="1723"/>
                    <a:pt x="656" y="1903"/>
                    <a:pt x="751" y="2113"/>
                  </a:cubicBezTo>
                  <a:lnTo>
                    <a:pt x="2319" y="1717"/>
                  </a:lnTo>
                  <a:close/>
                  <a:moveTo>
                    <a:pt x="3090" y="1803"/>
                  </a:moveTo>
                  <a:cubicBezTo>
                    <a:pt x="3090" y="1803"/>
                    <a:pt x="3090" y="1803"/>
                    <a:pt x="3090" y="1803"/>
                  </a:cubicBezTo>
                  <a:cubicBezTo>
                    <a:pt x="3094" y="1818"/>
                    <a:pt x="3094" y="1818"/>
                    <a:pt x="3094" y="1818"/>
                  </a:cubicBezTo>
                  <a:lnTo>
                    <a:pt x="3090" y="1803"/>
                  </a:lnTo>
                  <a:close/>
                  <a:moveTo>
                    <a:pt x="2929" y="1882"/>
                  </a:moveTo>
                  <a:cubicBezTo>
                    <a:pt x="2972" y="1866"/>
                    <a:pt x="3010" y="1839"/>
                    <a:pt x="3038" y="1809"/>
                  </a:cubicBezTo>
                  <a:cubicBezTo>
                    <a:pt x="3066" y="1780"/>
                    <a:pt x="3082" y="1749"/>
                    <a:pt x="3084" y="1733"/>
                  </a:cubicBezTo>
                  <a:cubicBezTo>
                    <a:pt x="3102" y="1735"/>
                    <a:pt x="3102" y="1735"/>
                    <a:pt x="3102" y="1735"/>
                  </a:cubicBezTo>
                  <a:cubicBezTo>
                    <a:pt x="3084" y="1733"/>
                    <a:pt x="3084" y="1733"/>
                    <a:pt x="3084" y="1733"/>
                  </a:cubicBezTo>
                  <a:cubicBezTo>
                    <a:pt x="3086" y="1719"/>
                    <a:pt x="3087" y="1701"/>
                    <a:pt x="3087" y="1682"/>
                  </a:cubicBezTo>
                  <a:cubicBezTo>
                    <a:pt x="3087" y="1621"/>
                    <a:pt x="3076" y="1540"/>
                    <a:pt x="3057" y="1503"/>
                  </a:cubicBezTo>
                  <a:cubicBezTo>
                    <a:pt x="3029" y="1448"/>
                    <a:pt x="2992" y="1403"/>
                    <a:pt x="2892" y="1394"/>
                  </a:cubicBezTo>
                  <a:cubicBezTo>
                    <a:pt x="2880" y="1393"/>
                    <a:pt x="2866" y="1393"/>
                    <a:pt x="2851" y="1393"/>
                  </a:cubicBezTo>
                  <a:cubicBezTo>
                    <a:pt x="2735" y="1393"/>
                    <a:pt x="2537" y="1418"/>
                    <a:pt x="2450" y="1443"/>
                  </a:cubicBezTo>
                  <a:cubicBezTo>
                    <a:pt x="2360" y="1468"/>
                    <a:pt x="2337" y="1522"/>
                    <a:pt x="2336" y="1566"/>
                  </a:cubicBezTo>
                  <a:cubicBezTo>
                    <a:pt x="2336" y="1570"/>
                    <a:pt x="2336" y="1572"/>
                    <a:pt x="2336" y="1575"/>
                  </a:cubicBezTo>
                  <a:cubicBezTo>
                    <a:pt x="2340" y="1626"/>
                    <a:pt x="2366" y="1804"/>
                    <a:pt x="2388" y="1850"/>
                  </a:cubicBezTo>
                  <a:cubicBezTo>
                    <a:pt x="2406" y="1891"/>
                    <a:pt x="2457" y="1918"/>
                    <a:pt x="2531" y="1918"/>
                  </a:cubicBezTo>
                  <a:cubicBezTo>
                    <a:pt x="2536" y="1918"/>
                    <a:pt x="2541" y="1918"/>
                    <a:pt x="2546" y="1917"/>
                  </a:cubicBezTo>
                  <a:cubicBezTo>
                    <a:pt x="2632" y="1913"/>
                    <a:pt x="2841" y="1913"/>
                    <a:pt x="2929" y="1882"/>
                  </a:cubicBezTo>
                  <a:close/>
                  <a:moveTo>
                    <a:pt x="3832" y="2346"/>
                  </a:moveTo>
                  <a:cubicBezTo>
                    <a:pt x="4009" y="2305"/>
                    <a:pt x="4181" y="2187"/>
                    <a:pt x="4308" y="2079"/>
                  </a:cubicBezTo>
                  <a:cubicBezTo>
                    <a:pt x="4370" y="2027"/>
                    <a:pt x="4420" y="1977"/>
                    <a:pt x="4457" y="1939"/>
                  </a:cubicBezTo>
                  <a:cubicBezTo>
                    <a:pt x="4459" y="1921"/>
                    <a:pt x="4459" y="1921"/>
                    <a:pt x="4459" y="1921"/>
                  </a:cubicBezTo>
                  <a:cubicBezTo>
                    <a:pt x="4352" y="1926"/>
                    <a:pt x="4256" y="1931"/>
                    <a:pt x="4230" y="1933"/>
                  </a:cubicBezTo>
                  <a:cubicBezTo>
                    <a:pt x="4206" y="1935"/>
                    <a:pt x="4176" y="1937"/>
                    <a:pt x="4144" y="1937"/>
                  </a:cubicBezTo>
                  <a:cubicBezTo>
                    <a:pt x="4109" y="1937"/>
                    <a:pt x="4071" y="1935"/>
                    <a:pt x="4035" y="1930"/>
                  </a:cubicBezTo>
                  <a:cubicBezTo>
                    <a:pt x="3999" y="1925"/>
                    <a:pt x="3966" y="1918"/>
                    <a:pt x="3935" y="1902"/>
                  </a:cubicBezTo>
                  <a:cubicBezTo>
                    <a:pt x="3896" y="1881"/>
                    <a:pt x="3867" y="1849"/>
                    <a:pt x="3839" y="1813"/>
                  </a:cubicBezTo>
                  <a:cubicBezTo>
                    <a:pt x="3835" y="1813"/>
                    <a:pt x="3831" y="1814"/>
                    <a:pt x="3826" y="1815"/>
                  </a:cubicBezTo>
                  <a:cubicBezTo>
                    <a:pt x="3748" y="1840"/>
                    <a:pt x="3529" y="1909"/>
                    <a:pt x="3419" y="1909"/>
                  </a:cubicBezTo>
                  <a:cubicBezTo>
                    <a:pt x="3411" y="1909"/>
                    <a:pt x="3404" y="1909"/>
                    <a:pt x="3398" y="1908"/>
                  </a:cubicBezTo>
                  <a:cubicBezTo>
                    <a:pt x="3340" y="1902"/>
                    <a:pt x="3262" y="1881"/>
                    <a:pt x="3197" y="1861"/>
                  </a:cubicBezTo>
                  <a:cubicBezTo>
                    <a:pt x="3165" y="1850"/>
                    <a:pt x="3136" y="1840"/>
                    <a:pt x="3115" y="1832"/>
                  </a:cubicBezTo>
                  <a:cubicBezTo>
                    <a:pt x="3105" y="1829"/>
                    <a:pt x="3097" y="1825"/>
                    <a:pt x="3090" y="1822"/>
                  </a:cubicBezTo>
                  <a:cubicBezTo>
                    <a:pt x="3087" y="1821"/>
                    <a:pt x="3085" y="1820"/>
                    <a:pt x="3082" y="1819"/>
                  </a:cubicBezTo>
                  <a:cubicBezTo>
                    <a:pt x="3081" y="1818"/>
                    <a:pt x="3080" y="1817"/>
                    <a:pt x="3079" y="1816"/>
                  </a:cubicBezTo>
                  <a:cubicBezTo>
                    <a:pt x="3074" y="1822"/>
                    <a:pt x="3070" y="1828"/>
                    <a:pt x="3064" y="1834"/>
                  </a:cubicBezTo>
                  <a:cubicBezTo>
                    <a:pt x="3033" y="1867"/>
                    <a:pt x="2991" y="1898"/>
                    <a:pt x="2940" y="1916"/>
                  </a:cubicBezTo>
                  <a:cubicBezTo>
                    <a:pt x="2896" y="1931"/>
                    <a:pt x="2830" y="1939"/>
                    <a:pt x="2763" y="1944"/>
                  </a:cubicBezTo>
                  <a:cubicBezTo>
                    <a:pt x="2868" y="2442"/>
                    <a:pt x="2868" y="2442"/>
                    <a:pt x="2868" y="2442"/>
                  </a:cubicBezTo>
                  <a:cubicBezTo>
                    <a:pt x="2868" y="2442"/>
                    <a:pt x="2869" y="2442"/>
                    <a:pt x="2869" y="2442"/>
                  </a:cubicBezTo>
                  <a:cubicBezTo>
                    <a:pt x="2944" y="2436"/>
                    <a:pt x="3240" y="2414"/>
                    <a:pt x="3484" y="2391"/>
                  </a:cubicBezTo>
                  <a:cubicBezTo>
                    <a:pt x="3640" y="2376"/>
                    <a:pt x="3706" y="2376"/>
                    <a:pt x="3832" y="2346"/>
                  </a:cubicBezTo>
                  <a:close/>
                  <a:moveTo>
                    <a:pt x="4789" y="1905"/>
                  </a:moveTo>
                  <a:cubicBezTo>
                    <a:pt x="4737" y="1907"/>
                    <a:pt x="4651" y="1911"/>
                    <a:pt x="4562" y="1916"/>
                  </a:cubicBezTo>
                  <a:cubicBezTo>
                    <a:pt x="4551" y="1916"/>
                    <a:pt x="4541" y="1917"/>
                    <a:pt x="4530" y="1917"/>
                  </a:cubicBezTo>
                  <a:cubicBezTo>
                    <a:pt x="4516" y="1929"/>
                    <a:pt x="4516" y="1929"/>
                    <a:pt x="4516" y="1929"/>
                  </a:cubicBezTo>
                  <a:cubicBezTo>
                    <a:pt x="4429" y="2023"/>
                    <a:pt x="4150" y="2308"/>
                    <a:pt x="3840" y="2381"/>
                  </a:cubicBezTo>
                  <a:cubicBezTo>
                    <a:pt x="3821" y="2386"/>
                    <a:pt x="3803" y="2390"/>
                    <a:pt x="3786" y="2393"/>
                  </a:cubicBezTo>
                  <a:cubicBezTo>
                    <a:pt x="3876" y="2798"/>
                    <a:pt x="3876" y="2798"/>
                    <a:pt x="3876" y="2798"/>
                  </a:cubicBezTo>
                  <a:cubicBezTo>
                    <a:pt x="4176" y="2804"/>
                    <a:pt x="4517" y="2960"/>
                    <a:pt x="4628" y="3015"/>
                  </a:cubicBezTo>
                  <a:cubicBezTo>
                    <a:pt x="4647" y="3019"/>
                    <a:pt x="4647" y="3019"/>
                    <a:pt x="4647" y="3019"/>
                  </a:cubicBezTo>
                  <a:lnTo>
                    <a:pt x="4789" y="1905"/>
                  </a:lnTo>
                  <a:close/>
                  <a:moveTo>
                    <a:pt x="5064" y="1745"/>
                  </a:moveTo>
                  <a:cubicBezTo>
                    <a:pt x="5066" y="1737"/>
                    <a:pt x="5068" y="1724"/>
                    <a:pt x="5069" y="1718"/>
                  </a:cubicBezTo>
                  <a:cubicBezTo>
                    <a:pt x="5108" y="1136"/>
                    <a:pt x="5108" y="1136"/>
                    <a:pt x="5108" y="1136"/>
                  </a:cubicBezTo>
                  <a:cubicBezTo>
                    <a:pt x="5102" y="1083"/>
                    <a:pt x="5102" y="1083"/>
                    <a:pt x="5102" y="1083"/>
                  </a:cubicBezTo>
                  <a:cubicBezTo>
                    <a:pt x="4597" y="752"/>
                    <a:pt x="4597" y="752"/>
                    <a:pt x="4597" y="752"/>
                  </a:cubicBezTo>
                  <a:cubicBezTo>
                    <a:pt x="4244" y="1801"/>
                    <a:pt x="4244" y="1801"/>
                    <a:pt x="4244" y="1801"/>
                  </a:cubicBezTo>
                  <a:cubicBezTo>
                    <a:pt x="4242" y="1817"/>
                    <a:pt x="4242" y="1817"/>
                    <a:pt x="4242" y="1817"/>
                  </a:cubicBezTo>
                  <a:cubicBezTo>
                    <a:pt x="4360" y="1810"/>
                    <a:pt x="4786" y="1790"/>
                    <a:pt x="4830" y="1788"/>
                  </a:cubicBezTo>
                  <a:lnTo>
                    <a:pt x="5064" y="1745"/>
                  </a:lnTo>
                  <a:close/>
                  <a:moveTo>
                    <a:pt x="7186" y="1942"/>
                  </a:moveTo>
                  <a:cubicBezTo>
                    <a:pt x="7185" y="1926"/>
                    <a:pt x="7185" y="1926"/>
                    <a:pt x="7185" y="1926"/>
                  </a:cubicBezTo>
                  <a:cubicBezTo>
                    <a:pt x="6672" y="463"/>
                    <a:pt x="6672" y="463"/>
                    <a:pt x="6672" y="463"/>
                  </a:cubicBezTo>
                  <a:cubicBezTo>
                    <a:pt x="6573" y="483"/>
                    <a:pt x="6487" y="492"/>
                    <a:pt x="6411" y="492"/>
                  </a:cubicBezTo>
                  <a:cubicBezTo>
                    <a:pt x="6411" y="492"/>
                    <a:pt x="6411" y="492"/>
                    <a:pt x="6411" y="492"/>
                  </a:cubicBezTo>
                  <a:cubicBezTo>
                    <a:pt x="6251" y="492"/>
                    <a:pt x="6137" y="456"/>
                    <a:pt x="6040" y="435"/>
                  </a:cubicBezTo>
                  <a:cubicBezTo>
                    <a:pt x="5900" y="404"/>
                    <a:pt x="5154" y="205"/>
                    <a:pt x="5075" y="184"/>
                  </a:cubicBezTo>
                  <a:cubicBezTo>
                    <a:pt x="5071" y="333"/>
                    <a:pt x="5067" y="444"/>
                    <a:pt x="5066" y="458"/>
                  </a:cubicBezTo>
                  <a:cubicBezTo>
                    <a:pt x="5144" y="1135"/>
                    <a:pt x="5144" y="1135"/>
                    <a:pt x="5144" y="1135"/>
                  </a:cubicBezTo>
                  <a:cubicBezTo>
                    <a:pt x="5105" y="1731"/>
                    <a:pt x="5105" y="1731"/>
                    <a:pt x="5105" y="1731"/>
                  </a:cubicBezTo>
                  <a:cubicBezTo>
                    <a:pt x="5108" y="1752"/>
                    <a:pt x="5108" y="1752"/>
                    <a:pt x="5108" y="1752"/>
                  </a:cubicBezTo>
                  <a:cubicBezTo>
                    <a:pt x="5163" y="1764"/>
                    <a:pt x="5297" y="1794"/>
                    <a:pt x="5426" y="1823"/>
                  </a:cubicBezTo>
                  <a:cubicBezTo>
                    <a:pt x="5500" y="1840"/>
                    <a:pt x="5573" y="1857"/>
                    <a:pt x="5628" y="1869"/>
                  </a:cubicBezTo>
                  <a:cubicBezTo>
                    <a:pt x="5655" y="1875"/>
                    <a:pt x="5678" y="1881"/>
                    <a:pt x="5694" y="1884"/>
                  </a:cubicBezTo>
                  <a:cubicBezTo>
                    <a:pt x="5702" y="1886"/>
                    <a:pt x="5708" y="1888"/>
                    <a:pt x="5713" y="1889"/>
                  </a:cubicBezTo>
                  <a:cubicBezTo>
                    <a:pt x="5714" y="1889"/>
                    <a:pt x="5715" y="1889"/>
                    <a:pt x="5715" y="1890"/>
                  </a:cubicBezTo>
                  <a:cubicBezTo>
                    <a:pt x="5777" y="1892"/>
                    <a:pt x="6235" y="1908"/>
                    <a:pt x="6694" y="1924"/>
                  </a:cubicBezTo>
                  <a:cubicBezTo>
                    <a:pt x="6865" y="1931"/>
                    <a:pt x="7036" y="1937"/>
                    <a:pt x="7186" y="1942"/>
                  </a:cubicBezTo>
                  <a:close/>
                  <a:moveTo>
                    <a:pt x="8904" y="889"/>
                  </a:moveTo>
                  <a:cubicBezTo>
                    <a:pt x="8905" y="889"/>
                    <a:pt x="8905" y="889"/>
                    <a:pt x="8905" y="889"/>
                  </a:cubicBezTo>
                  <a:cubicBezTo>
                    <a:pt x="8905" y="889"/>
                    <a:pt x="8905" y="889"/>
                    <a:pt x="8905" y="889"/>
                  </a:cubicBezTo>
                  <a:lnTo>
                    <a:pt x="8904" y="889"/>
                  </a:lnTo>
                  <a:close/>
                  <a:moveTo>
                    <a:pt x="8903" y="895"/>
                  </a:moveTo>
                  <a:cubicBezTo>
                    <a:pt x="8905" y="895"/>
                    <a:pt x="8905" y="895"/>
                    <a:pt x="8905" y="895"/>
                  </a:cubicBezTo>
                  <a:cubicBezTo>
                    <a:pt x="8905" y="895"/>
                    <a:pt x="8905" y="895"/>
                    <a:pt x="8905" y="895"/>
                  </a:cubicBezTo>
                  <a:lnTo>
                    <a:pt x="8903" y="895"/>
                  </a:lnTo>
                  <a:close/>
                  <a:moveTo>
                    <a:pt x="7813" y="974"/>
                  </a:moveTo>
                  <a:cubicBezTo>
                    <a:pt x="7925" y="963"/>
                    <a:pt x="8770" y="883"/>
                    <a:pt x="8903" y="877"/>
                  </a:cubicBezTo>
                  <a:cubicBezTo>
                    <a:pt x="8894" y="806"/>
                    <a:pt x="8887" y="754"/>
                    <a:pt x="8885" y="734"/>
                  </a:cubicBezTo>
                  <a:cubicBezTo>
                    <a:pt x="7652" y="2"/>
                    <a:pt x="7652" y="2"/>
                    <a:pt x="7652" y="2"/>
                  </a:cubicBezTo>
                  <a:cubicBezTo>
                    <a:pt x="7574" y="144"/>
                    <a:pt x="7574" y="144"/>
                    <a:pt x="7574" y="144"/>
                  </a:cubicBezTo>
                  <a:cubicBezTo>
                    <a:pt x="7574" y="145"/>
                    <a:pt x="7573" y="147"/>
                    <a:pt x="7571" y="151"/>
                  </a:cubicBezTo>
                  <a:cubicBezTo>
                    <a:pt x="7566" y="168"/>
                    <a:pt x="7554" y="211"/>
                    <a:pt x="7554" y="275"/>
                  </a:cubicBezTo>
                  <a:cubicBezTo>
                    <a:pt x="7554" y="337"/>
                    <a:pt x="7565" y="417"/>
                    <a:pt x="7603" y="513"/>
                  </a:cubicBezTo>
                  <a:cubicBezTo>
                    <a:pt x="7650" y="628"/>
                    <a:pt x="7704" y="746"/>
                    <a:pt x="7746" y="836"/>
                  </a:cubicBezTo>
                  <a:cubicBezTo>
                    <a:pt x="7778" y="902"/>
                    <a:pt x="7803" y="953"/>
                    <a:pt x="7813" y="974"/>
                  </a:cubicBezTo>
                  <a:close/>
                  <a:moveTo>
                    <a:pt x="7883" y="1976"/>
                  </a:moveTo>
                  <a:cubicBezTo>
                    <a:pt x="7920" y="1981"/>
                    <a:pt x="8367" y="2047"/>
                    <a:pt x="8875" y="2123"/>
                  </a:cubicBezTo>
                  <a:cubicBezTo>
                    <a:pt x="8877" y="2121"/>
                    <a:pt x="8885" y="2110"/>
                    <a:pt x="8891" y="2104"/>
                  </a:cubicBezTo>
                  <a:cubicBezTo>
                    <a:pt x="8894" y="2100"/>
                    <a:pt x="8896" y="2095"/>
                    <a:pt x="8899" y="2090"/>
                  </a:cubicBezTo>
                  <a:cubicBezTo>
                    <a:pt x="8932" y="2028"/>
                    <a:pt x="8997" y="1879"/>
                    <a:pt x="8997" y="1695"/>
                  </a:cubicBezTo>
                  <a:cubicBezTo>
                    <a:pt x="8997" y="1668"/>
                    <a:pt x="8996" y="1640"/>
                    <a:pt x="8993" y="1611"/>
                  </a:cubicBezTo>
                  <a:cubicBezTo>
                    <a:pt x="8976" y="1464"/>
                    <a:pt x="8949" y="1243"/>
                    <a:pt x="8926" y="1058"/>
                  </a:cubicBezTo>
                  <a:cubicBezTo>
                    <a:pt x="8919" y="1006"/>
                    <a:pt x="8913" y="956"/>
                    <a:pt x="8908" y="913"/>
                  </a:cubicBezTo>
                  <a:cubicBezTo>
                    <a:pt x="8848" y="915"/>
                    <a:pt x="8586" y="938"/>
                    <a:pt x="8334" y="961"/>
                  </a:cubicBezTo>
                  <a:cubicBezTo>
                    <a:pt x="8106" y="982"/>
                    <a:pt x="7885" y="1003"/>
                    <a:pt x="7823" y="1009"/>
                  </a:cubicBezTo>
                  <a:cubicBezTo>
                    <a:pt x="7899" y="1709"/>
                    <a:pt x="7899" y="1709"/>
                    <a:pt x="7899" y="1709"/>
                  </a:cubicBezTo>
                  <a:cubicBezTo>
                    <a:pt x="7810" y="1952"/>
                    <a:pt x="7810" y="1952"/>
                    <a:pt x="7810" y="1952"/>
                  </a:cubicBezTo>
                  <a:cubicBezTo>
                    <a:pt x="7811" y="1968"/>
                    <a:pt x="7811" y="1968"/>
                    <a:pt x="7811" y="1968"/>
                  </a:cubicBezTo>
                  <a:cubicBezTo>
                    <a:pt x="7835" y="1970"/>
                    <a:pt x="7859" y="1973"/>
                    <a:pt x="7883" y="1976"/>
                  </a:cubicBezTo>
                  <a:close/>
                  <a:moveTo>
                    <a:pt x="8925" y="2130"/>
                  </a:moveTo>
                  <a:cubicBezTo>
                    <a:pt x="9249" y="2178"/>
                    <a:pt x="9593" y="2230"/>
                    <a:pt x="9870" y="2271"/>
                  </a:cubicBezTo>
                  <a:cubicBezTo>
                    <a:pt x="9877" y="2258"/>
                    <a:pt x="9877" y="2258"/>
                    <a:pt x="9877" y="2258"/>
                  </a:cubicBezTo>
                  <a:cubicBezTo>
                    <a:pt x="9999" y="1900"/>
                    <a:pt x="9999" y="1900"/>
                    <a:pt x="9999" y="1900"/>
                  </a:cubicBezTo>
                  <a:cubicBezTo>
                    <a:pt x="10155" y="1772"/>
                    <a:pt x="10155" y="1772"/>
                    <a:pt x="10155" y="1772"/>
                  </a:cubicBezTo>
                  <a:cubicBezTo>
                    <a:pt x="10131" y="1101"/>
                    <a:pt x="10131" y="1101"/>
                    <a:pt x="10131" y="1101"/>
                  </a:cubicBezTo>
                  <a:cubicBezTo>
                    <a:pt x="10265" y="927"/>
                    <a:pt x="10265" y="927"/>
                    <a:pt x="10265" y="927"/>
                  </a:cubicBezTo>
                  <a:cubicBezTo>
                    <a:pt x="10260" y="868"/>
                    <a:pt x="10216" y="426"/>
                    <a:pt x="10207" y="336"/>
                  </a:cubicBezTo>
                  <a:cubicBezTo>
                    <a:pt x="9188" y="321"/>
                    <a:pt x="9188" y="321"/>
                    <a:pt x="9188" y="321"/>
                  </a:cubicBezTo>
                  <a:cubicBezTo>
                    <a:pt x="9170" y="348"/>
                    <a:pt x="9114" y="435"/>
                    <a:pt x="9057" y="522"/>
                  </a:cubicBezTo>
                  <a:cubicBezTo>
                    <a:pt x="9022" y="574"/>
                    <a:pt x="8987" y="626"/>
                    <a:pt x="8960" y="666"/>
                  </a:cubicBezTo>
                  <a:cubicBezTo>
                    <a:pt x="8947" y="686"/>
                    <a:pt x="8935" y="703"/>
                    <a:pt x="8927" y="715"/>
                  </a:cubicBezTo>
                  <a:cubicBezTo>
                    <a:pt x="8924" y="718"/>
                    <a:pt x="8922" y="721"/>
                    <a:pt x="8920" y="724"/>
                  </a:cubicBezTo>
                  <a:cubicBezTo>
                    <a:pt x="8925" y="767"/>
                    <a:pt x="8997" y="1324"/>
                    <a:pt x="9028" y="1607"/>
                  </a:cubicBezTo>
                  <a:cubicBezTo>
                    <a:pt x="9032" y="1637"/>
                    <a:pt x="9033" y="1666"/>
                    <a:pt x="9033" y="1695"/>
                  </a:cubicBezTo>
                  <a:cubicBezTo>
                    <a:pt x="9033" y="1887"/>
                    <a:pt x="8965" y="2041"/>
                    <a:pt x="8931" y="2107"/>
                  </a:cubicBezTo>
                  <a:lnTo>
                    <a:pt x="8925" y="2130"/>
                  </a:lnTo>
                  <a:close/>
                  <a:moveTo>
                    <a:pt x="13133" y="2349"/>
                  </a:moveTo>
                  <a:cubicBezTo>
                    <a:pt x="12120" y="1948"/>
                    <a:pt x="12120" y="1948"/>
                    <a:pt x="12120" y="1948"/>
                  </a:cubicBezTo>
                  <a:cubicBezTo>
                    <a:pt x="11924" y="657"/>
                    <a:pt x="11924" y="657"/>
                    <a:pt x="11924" y="657"/>
                  </a:cubicBezTo>
                  <a:cubicBezTo>
                    <a:pt x="10294" y="949"/>
                    <a:pt x="10294" y="949"/>
                    <a:pt x="10294" y="949"/>
                  </a:cubicBezTo>
                  <a:cubicBezTo>
                    <a:pt x="10167" y="1113"/>
                    <a:pt x="10167" y="1113"/>
                    <a:pt x="10167" y="1113"/>
                  </a:cubicBezTo>
                  <a:cubicBezTo>
                    <a:pt x="10192" y="1789"/>
                    <a:pt x="10192" y="1789"/>
                    <a:pt x="10192" y="1789"/>
                  </a:cubicBezTo>
                  <a:cubicBezTo>
                    <a:pt x="10030" y="1922"/>
                    <a:pt x="10030" y="1922"/>
                    <a:pt x="10030" y="1922"/>
                  </a:cubicBezTo>
                  <a:cubicBezTo>
                    <a:pt x="9916" y="2256"/>
                    <a:pt x="9916" y="2256"/>
                    <a:pt x="9916" y="2256"/>
                  </a:cubicBezTo>
                  <a:cubicBezTo>
                    <a:pt x="9914" y="2277"/>
                    <a:pt x="9914" y="2277"/>
                    <a:pt x="9914" y="2277"/>
                  </a:cubicBezTo>
                  <a:cubicBezTo>
                    <a:pt x="10204" y="2321"/>
                    <a:pt x="10411" y="2351"/>
                    <a:pt x="10426" y="2354"/>
                  </a:cubicBezTo>
                  <a:cubicBezTo>
                    <a:pt x="10442" y="2356"/>
                    <a:pt x="10604" y="2375"/>
                    <a:pt x="10764" y="2447"/>
                  </a:cubicBezTo>
                  <a:cubicBezTo>
                    <a:pt x="10928" y="2521"/>
                    <a:pt x="11492" y="2837"/>
                    <a:pt x="11647" y="2935"/>
                  </a:cubicBezTo>
                  <a:cubicBezTo>
                    <a:pt x="12574" y="3529"/>
                    <a:pt x="12574" y="3529"/>
                    <a:pt x="12574" y="3529"/>
                  </a:cubicBezTo>
                  <a:cubicBezTo>
                    <a:pt x="12718" y="3229"/>
                    <a:pt x="12853" y="2944"/>
                    <a:pt x="12956" y="2726"/>
                  </a:cubicBezTo>
                  <a:cubicBezTo>
                    <a:pt x="13045" y="2536"/>
                    <a:pt x="13110" y="2399"/>
                    <a:pt x="13133" y="23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grpSp>
      <p:sp>
        <p:nvSpPr>
          <p:cNvPr id="27" name="---Tijdelijke aanduiding voor afbeelding 27">
            <a:extLst>
              <a:ext uri="{FF2B5EF4-FFF2-40B4-BE49-F238E27FC236}">
                <a16:creationId xmlns:a16="http://schemas.microsoft.com/office/drawing/2014/main" id="{E9D235B2-EC52-4838-8404-559B6643285B}"/>
              </a:ext>
            </a:extLst>
          </p:cNvPr>
          <p:cNvSpPr>
            <a:spLocks noGrp="1" noSelect="1"/>
          </p:cNvSpPr>
          <p:nvPr>
            <p:ph type="pic" sz="quarter" idx="13" hasCustomPrompt="1"/>
          </p:nvPr>
        </p:nvSpPr>
        <p:spPr bwMode="gray">
          <a:xfrm>
            <a:off x="0" y="2284560"/>
            <a:ext cx="12195001" cy="3425678"/>
          </a:xfrm>
          <a:custGeom>
            <a:avLst/>
            <a:gdLst>
              <a:gd name="connsiteX0" fmla="*/ 1144440 w 12195001"/>
              <a:gd name="connsiteY0" fmla="*/ 0 h 3425678"/>
              <a:gd name="connsiteX1" fmla="*/ 12195001 w 12195001"/>
              <a:gd name="connsiteY1" fmla="*/ 0 h 3425678"/>
              <a:gd name="connsiteX2" fmla="*/ 12195001 w 12195001"/>
              <a:gd name="connsiteY2" fmla="*/ 3425678 h 3425678"/>
              <a:gd name="connsiteX3" fmla="*/ 0 w 12195001"/>
              <a:gd name="connsiteY3" fmla="*/ 3425678 h 3425678"/>
              <a:gd name="connsiteX4" fmla="*/ 0 w 12195001"/>
              <a:gd name="connsiteY4" fmla="*/ 1141266 h 34256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5001" h="3425678">
                <a:moveTo>
                  <a:pt x="1144440" y="0"/>
                </a:moveTo>
                <a:lnTo>
                  <a:pt x="12195001" y="0"/>
                </a:lnTo>
                <a:lnTo>
                  <a:pt x="12195001" y="3425678"/>
                </a:lnTo>
                <a:lnTo>
                  <a:pt x="0" y="3425678"/>
                </a:lnTo>
                <a:lnTo>
                  <a:pt x="0" y="1141266"/>
                </a:lnTo>
                <a:close/>
              </a:path>
            </a:pathLst>
          </a:custGeom>
          <a:noFill/>
        </p:spPr>
        <p:txBody>
          <a:bodyPr wrap="square" anchor="ctr" anchorCtr="0">
            <a:noAutofit/>
          </a:bodyPr>
          <a:lstStyle>
            <a:lvl1pPr marL="270108" indent="-270108" algn="r" defTabSz="1088937" rtl="0" eaLnBrk="1" latinLnBrk="0" hangingPunct="1">
              <a:spcBef>
                <a:spcPts val="0"/>
              </a:spcBef>
              <a:buFont typeface="Arial" pitchFamily="34" charset="0"/>
              <a:buNone/>
              <a:defRPr/>
            </a:lvl1pPr>
          </a:lstStyle>
          <a:p>
            <a:r>
              <a:rPr lang="nl-NL" dirty="0"/>
              <a:t>[&lt;&lt;Klik op icoon en voeg afbeelding in]</a:t>
            </a:r>
          </a:p>
        </p:txBody>
      </p:sp>
      <p:sp>
        <p:nvSpPr>
          <p:cNvPr id="28" name="+++Freeform 7 (PHJU)">
            <a:extLst>
              <a:ext uri="{FF2B5EF4-FFF2-40B4-BE49-F238E27FC236}">
                <a16:creationId xmlns:a16="http://schemas.microsoft.com/office/drawing/2014/main" id="{A0A06089-3BC5-4754-BE2B-DA06BCF70FED}"/>
              </a:ext>
            </a:extLst>
          </p:cNvPr>
          <p:cNvSpPr>
            <a:spLocks noGrp="1" noSelect="1"/>
          </p:cNvSpPr>
          <p:nvPr>
            <p:ph type="body" idx="1001" hasCustomPrompt="1"/>
            <p:custDataLst>
              <p:custData r:id="rId1"/>
            </p:custDataLst>
          </p:nvPr>
        </p:nvSpPr>
        <p:spPr bwMode="gray">
          <a:xfrm>
            <a:off x="568800" y="2279520"/>
            <a:ext cx="11626921" cy="1147680"/>
          </a:xfrm>
          <a:custGeom>
            <a:avLst/>
            <a:gdLst>
              <a:gd name="T0" fmla="*/ 363 w 7324"/>
              <a:gd name="T1" fmla="*/ 723 h 723"/>
              <a:gd name="T2" fmla="*/ 7324 w 7324"/>
              <a:gd name="T3" fmla="*/ 723 h 723"/>
              <a:gd name="T4" fmla="*/ 7324 w 7324"/>
              <a:gd name="T5" fmla="*/ 0 h 723"/>
              <a:gd name="T6" fmla="*/ 363 w 7324"/>
              <a:gd name="T7" fmla="*/ 0 h 723"/>
              <a:gd name="T8" fmla="*/ 0 w 7324"/>
              <a:gd name="T9" fmla="*/ 362 h 723"/>
              <a:gd name="T10" fmla="*/ 363 w 7324"/>
              <a:gd name="T11" fmla="*/ 723 h 723"/>
            </a:gdLst>
            <a:ahLst/>
            <a:cxnLst>
              <a:cxn ang="0">
                <a:pos x="T0" y="T1"/>
              </a:cxn>
              <a:cxn ang="0">
                <a:pos x="T2" y="T3"/>
              </a:cxn>
              <a:cxn ang="0">
                <a:pos x="T4" y="T5"/>
              </a:cxn>
              <a:cxn ang="0">
                <a:pos x="T6" y="T7"/>
              </a:cxn>
              <a:cxn ang="0">
                <a:pos x="T8" y="T9"/>
              </a:cxn>
              <a:cxn ang="0">
                <a:pos x="T10" y="T11"/>
              </a:cxn>
            </a:cxnLst>
            <a:rect l="0" t="0" r="r" b="b"/>
            <a:pathLst>
              <a:path w="7324" h="723">
                <a:moveTo>
                  <a:pt x="363" y="723"/>
                </a:moveTo>
                <a:lnTo>
                  <a:pt x="7324" y="723"/>
                </a:lnTo>
                <a:lnTo>
                  <a:pt x="7324" y="0"/>
                </a:lnTo>
                <a:lnTo>
                  <a:pt x="363" y="0"/>
                </a:lnTo>
                <a:lnTo>
                  <a:pt x="0" y="362"/>
                </a:lnTo>
                <a:lnTo>
                  <a:pt x="363" y="723"/>
                </a:lnTo>
                <a:close/>
              </a:path>
            </a:pathLst>
          </a:custGeom>
          <a:solidFill>
            <a:srgbClr val="58525A">
              <a:alpha val="80000"/>
            </a:srgbClr>
          </a:solidFill>
          <a:ln>
            <a:noFill/>
          </a:ln>
        </p:spPr>
        <p:txBody>
          <a:bodyPr vert="horz" wrap="square" lIns="91440" tIns="45720" rIns="91440" bIns="45720" numCol="1" anchor="t" anchorCtr="0" compatLnSpc="1">
            <a:prstTxWarp prst="textNoShape">
              <a:avLst/>
            </a:prstTxWarp>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29" name="+++Freeform 7 (PHJU)">
            <a:extLst>
              <a:ext uri="{FF2B5EF4-FFF2-40B4-BE49-F238E27FC236}">
                <a16:creationId xmlns:a16="http://schemas.microsoft.com/office/drawing/2014/main" id="{DFB6E3E5-83EE-4AAC-B303-30F2D54FA564}"/>
              </a:ext>
            </a:extLst>
          </p:cNvPr>
          <p:cNvSpPr>
            <a:spLocks noGrp="1" noSelect="1"/>
          </p:cNvSpPr>
          <p:nvPr>
            <p:ph type="body" idx="1002" hasCustomPrompt="1"/>
            <p:custDataLst>
              <p:custData r:id="rId2"/>
            </p:custDataLst>
          </p:nvPr>
        </p:nvSpPr>
        <p:spPr bwMode="gray">
          <a:xfrm>
            <a:off x="560519" y="2279520"/>
            <a:ext cx="11636640" cy="1147680"/>
          </a:xfrm>
          <a:custGeom>
            <a:avLst/>
            <a:gdLst>
              <a:gd name="T0" fmla="*/ 363 w 7324"/>
              <a:gd name="T1" fmla="*/ 723 h 723"/>
              <a:gd name="T2" fmla="*/ 7324 w 7324"/>
              <a:gd name="T3" fmla="*/ 723 h 723"/>
              <a:gd name="T4" fmla="*/ 7324 w 7324"/>
              <a:gd name="T5" fmla="*/ 0 h 723"/>
              <a:gd name="T6" fmla="*/ 363 w 7324"/>
              <a:gd name="T7" fmla="*/ 0 h 723"/>
              <a:gd name="T8" fmla="*/ 0 w 7324"/>
              <a:gd name="T9" fmla="*/ 362 h 723"/>
              <a:gd name="T10" fmla="*/ 363 w 7324"/>
              <a:gd name="T11" fmla="*/ 723 h 723"/>
            </a:gdLst>
            <a:ahLst/>
            <a:cxnLst>
              <a:cxn ang="0">
                <a:pos x="T0" y="T1"/>
              </a:cxn>
              <a:cxn ang="0">
                <a:pos x="T2" y="T3"/>
              </a:cxn>
              <a:cxn ang="0">
                <a:pos x="T4" y="T5"/>
              </a:cxn>
              <a:cxn ang="0">
                <a:pos x="T6" y="T7"/>
              </a:cxn>
              <a:cxn ang="0">
                <a:pos x="T8" y="T9"/>
              </a:cxn>
              <a:cxn ang="0">
                <a:pos x="T10" y="T11"/>
              </a:cxn>
            </a:cxnLst>
            <a:rect l="0" t="0" r="r" b="b"/>
            <a:pathLst>
              <a:path w="7324" h="723">
                <a:moveTo>
                  <a:pt x="363" y="723"/>
                </a:moveTo>
                <a:lnTo>
                  <a:pt x="7324" y="723"/>
                </a:lnTo>
                <a:lnTo>
                  <a:pt x="7324" y="0"/>
                </a:lnTo>
                <a:lnTo>
                  <a:pt x="363" y="0"/>
                </a:lnTo>
                <a:lnTo>
                  <a:pt x="0" y="362"/>
                </a:lnTo>
                <a:lnTo>
                  <a:pt x="363" y="723"/>
                </a:lnTo>
                <a:close/>
              </a:path>
            </a:pathLst>
          </a:custGeom>
          <a:solidFill>
            <a:srgbClr val="78BDDE">
              <a:alpha val="80000"/>
            </a:srgbClr>
          </a:solidFill>
          <a:ln>
            <a:noFill/>
          </a:ln>
        </p:spPr>
        <p:txBody>
          <a:bodyPr vert="horz" wrap="square" lIns="91440" tIns="45720" rIns="91440" bIns="45720" numCol="1" anchor="t" anchorCtr="0" compatLnSpc="1">
            <a:prstTxWarp prst="textNoShape">
              <a:avLst/>
            </a:prstTxWarp>
          </a:bodyPr>
          <a:lstStyle>
            <a:lvl1pPr marL="270108" indent="-270108" algn="l" defTabSz="1088937" rtl="0" eaLnBrk="1" latinLnBrk="0" hangingPunct="1">
              <a:spcBef>
                <a:spcPts val="0"/>
              </a:spcBef>
              <a:buFont typeface="Arial" pitchFamily="34" charset="0"/>
              <a:buNone/>
              <a:defRPr lang="nl-NL" dirty="0"/>
            </a:lvl1pPr>
          </a:lstStyle>
          <a:p>
            <a:r>
              <a:rPr lang="nl-NL" dirty="0"/>
              <a:t> </a:t>
            </a:r>
          </a:p>
        </p:txBody>
      </p:sp>
      <p:sp>
        <p:nvSpPr>
          <p:cNvPr id="3" name="Ondertitel 2"/>
          <p:cNvSpPr>
            <a:spLocks noGrp="1" noSelect="1"/>
          </p:cNvSpPr>
          <p:nvPr>
            <p:ph type="subTitle" idx="1" hasCustomPrompt="1"/>
          </p:nvPr>
        </p:nvSpPr>
        <p:spPr bwMode="gray">
          <a:xfrm>
            <a:off x="1152000" y="2697803"/>
            <a:ext cx="10404000" cy="324000"/>
          </a:xfrm>
        </p:spPr>
        <p:txBody>
          <a:bodyPr anchor="ctr" anchorCtr="0">
            <a:noAutofit/>
          </a:bodyPr>
          <a:lstStyle>
            <a:lvl1pPr marL="0" indent="0" algn="l">
              <a:lnSpc>
                <a:spcPct val="100000"/>
              </a:lnSpc>
              <a:buNone/>
              <a:defRPr sz="1800" b="1" i="0" cap="all" spc="70" baseline="0">
                <a:solidFill>
                  <a:schemeClr val="bg1"/>
                </a:solidFill>
                <a:latin typeface="Univers" panose="020B0603020202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noProof="1"/>
              <a:t>[presentator en/of datum]</a:t>
            </a:r>
          </a:p>
        </p:txBody>
      </p:sp>
      <p:sp>
        <p:nvSpPr>
          <p:cNvPr id="10" name="witdriehoek">
            <a:extLst>
              <a:ext uri="{FF2B5EF4-FFF2-40B4-BE49-F238E27FC236}">
                <a16:creationId xmlns:a16="http://schemas.microsoft.com/office/drawing/2014/main" id="{D79580E9-FC86-4F30-BCAF-9E3F69A4E7CF}"/>
              </a:ext>
            </a:extLst>
          </p:cNvPr>
          <p:cNvSpPr>
            <a:spLocks noSelect="1"/>
          </p:cNvSpPr>
          <p:nvPr userDrawn="1"/>
        </p:nvSpPr>
        <p:spPr bwMode="auto">
          <a:xfrm>
            <a:off x="0" y="2286001"/>
            <a:ext cx="571500" cy="1143000"/>
          </a:xfrm>
          <a:custGeom>
            <a:avLst/>
            <a:gdLst>
              <a:gd name="T0" fmla="*/ 360 w 360"/>
              <a:gd name="T1" fmla="*/ 360 h 720"/>
              <a:gd name="T2" fmla="*/ 0 w 360"/>
              <a:gd name="T3" fmla="*/ 720 h 720"/>
              <a:gd name="T4" fmla="*/ 0 w 360"/>
              <a:gd name="T5" fmla="*/ 0 h 720"/>
              <a:gd name="T6" fmla="*/ 360 w 360"/>
              <a:gd name="T7" fmla="*/ 360 h 720"/>
            </a:gdLst>
            <a:ahLst/>
            <a:cxnLst>
              <a:cxn ang="0">
                <a:pos x="T0" y="T1"/>
              </a:cxn>
              <a:cxn ang="0">
                <a:pos x="T2" y="T3"/>
              </a:cxn>
              <a:cxn ang="0">
                <a:pos x="T4" y="T5"/>
              </a:cxn>
              <a:cxn ang="0">
                <a:pos x="T6" y="T7"/>
              </a:cxn>
            </a:cxnLst>
            <a:rect l="0" t="0" r="r" b="b"/>
            <a:pathLst>
              <a:path w="360" h="720">
                <a:moveTo>
                  <a:pt x="360" y="360"/>
                </a:moveTo>
                <a:lnTo>
                  <a:pt x="0" y="720"/>
                </a:lnTo>
                <a:lnTo>
                  <a:pt x="0" y="0"/>
                </a:lnTo>
                <a:lnTo>
                  <a:pt x="360" y="3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x-none"/>
          </a:p>
        </p:txBody>
      </p:sp>
      <p:sp>
        <p:nvSpPr>
          <p:cNvPr id="11" name="kleurdriehoek">
            <a:extLst>
              <a:ext uri="{FF2B5EF4-FFF2-40B4-BE49-F238E27FC236}">
                <a16:creationId xmlns:a16="http://schemas.microsoft.com/office/drawing/2014/main" id="{1F419B63-9E74-4BB3-B48C-B7AC2F232A74}"/>
              </a:ext>
            </a:extLst>
          </p:cNvPr>
          <p:cNvSpPr>
            <a:spLocks noSelect="1"/>
          </p:cNvSpPr>
          <p:nvPr userDrawn="1"/>
        </p:nvSpPr>
        <p:spPr bwMode="auto">
          <a:xfrm>
            <a:off x="0" y="2286001"/>
            <a:ext cx="1144588" cy="571500"/>
          </a:xfrm>
          <a:custGeom>
            <a:avLst/>
            <a:gdLst>
              <a:gd name="T0" fmla="*/ 360 w 721"/>
              <a:gd name="T1" fmla="*/ 360 h 360"/>
              <a:gd name="T2" fmla="*/ 0 w 721"/>
              <a:gd name="T3" fmla="*/ 0 h 360"/>
              <a:gd name="T4" fmla="*/ 721 w 721"/>
              <a:gd name="T5" fmla="*/ 0 h 360"/>
              <a:gd name="T6" fmla="*/ 360 w 721"/>
              <a:gd name="T7" fmla="*/ 360 h 360"/>
            </a:gdLst>
            <a:ahLst/>
            <a:cxnLst>
              <a:cxn ang="0">
                <a:pos x="T0" y="T1"/>
              </a:cxn>
              <a:cxn ang="0">
                <a:pos x="T2" y="T3"/>
              </a:cxn>
              <a:cxn ang="0">
                <a:pos x="T4" y="T5"/>
              </a:cxn>
              <a:cxn ang="0">
                <a:pos x="T6" y="T7"/>
              </a:cxn>
            </a:cxnLst>
            <a:rect l="0" t="0" r="r" b="b"/>
            <a:pathLst>
              <a:path w="721" h="360">
                <a:moveTo>
                  <a:pt x="360" y="360"/>
                </a:moveTo>
                <a:lnTo>
                  <a:pt x="0" y="0"/>
                </a:lnTo>
                <a:lnTo>
                  <a:pt x="721" y="0"/>
                </a:lnTo>
                <a:lnTo>
                  <a:pt x="360" y="360"/>
                </a:lnTo>
                <a:close/>
              </a:path>
            </a:pathLst>
          </a:custGeom>
          <a:solidFill>
            <a:srgbClr val="78BD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x-none" dirty="0"/>
          </a:p>
        </p:txBody>
      </p:sp>
    </p:spTree>
    <p:extLst>
      <p:ext uri="{BB962C8B-B14F-4D97-AF65-F5344CB8AC3E}">
        <p14:creationId xmlns:p14="http://schemas.microsoft.com/office/powerpoint/2010/main" val="8352537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5000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00" fill="hold"/>
                                        <p:tgtEl>
                                          <p:spTgt spid="12"/>
                                        </p:tgtEl>
                                        <p:attrNameLst>
                                          <p:attrName>ppt_x</p:attrName>
                                        </p:attrNameLst>
                                      </p:cBhvr>
                                      <p:tavLst>
                                        <p:tav tm="0">
                                          <p:val>
                                            <p:strVal val="#ppt_x"/>
                                          </p:val>
                                        </p:tav>
                                        <p:tav tm="100000">
                                          <p:val>
                                            <p:strVal val="#ppt_x"/>
                                          </p:val>
                                        </p:tav>
                                      </p:tavLst>
                                    </p:anim>
                                    <p:anim calcmode="lin" valueType="num">
                                      <p:cBhvr additive="base">
                                        <p:cTn id="8" dur="700" fill="hold"/>
                                        <p:tgtEl>
                                          <p:spTgt spid="12"/>
                                        </p:tgtEl>
                                        <p:attrNameLst>
                                          <p:attrName>ppt_y</p:attrName>
                                        </p:attrNameLst>
                                      </p:cBhvr>
                                      <p:tavLst>
                                        <p:tav tm="0">
                                          <p:val>
                                            <p:strVal val="0-#ppt_h/2"/>
                                          </p:val>
                                        </p:tav>
                                        <p:tav tm="100000">
                                          <p:val>
                                            <p:strVal val="#ppt_y"/>
                                          </p:val>
                                        </p:tav>
                                      </p:tavLst>
                                    </p:anim>
                                  </p:childTnLst>
                                </p:cTn>
                              </p:par>
                              <p:par>
                                <p:cTn id="9" presetID="2" presetClass="entr" presetSubtype="4" decel="50000" fill="hold" grpId="0" nodeType="withEffect">
                                  <p:stCondLst>
                                    <p:cond delay="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700" fill="hold"/>
                                        <p:tgtEl>
                                          <p:spTgt spid="27"/>
                                        </p:tgtEl>
                                        <p:attrNameLst>
                                          <p:attrName>ppt_x</p:attrName>
                                        </p:attrNameLst>
                                      </p:cBhvr>
                                      <p:tavLst>
                                        <p:tav tm="0">
                                          <p:val>
                                            <p:strVal val="#ppt_x"/>
                                          </p:val>
                                        </p:tav>
                                        <p:tav tm="100000">
                                          <p:val>
                                            <p:strVal val="#ppt_x"/>
                                          </p:val>
                                        </p:tav>
                                      </p:tavLst>
                                    </p:anim>
                                    <p:anim calcmode="lin" valueType="num">
                                      <p:cBhvr additive="base">
                                        <p:cTn id="12" dur="700" fill="hold"/>
                                        <p:tgtEl>
                                          <p:spTgt spid="27"/>
                                        </p:tgtEl>
                                        <p:attrNameLst>
                                          <p:attrName>ppt_y</p:attrName>
                                        </p:attrNameLst>
                                      </p:cBhvr>
                                      <p:tavLst>
                                        <p:tav tm="0">
                                          <p:val>
                                            <p:strVal val="1+#ppt_h/2"/>
                                          </p:val>
                                        </p:tav>
                                        <p:tav tm="100000">
                                          <p:val>
                                            <p:strVal val="#ppt_y"/>
                                          </p:val>
                                        </p:tav>
                                      </p:tavLst>
                                    </p:anim>
                                  </p:childTnLst>
                                </p:cTn>
                              </p:par>
                              <p:par>
                                <p:cTn id="13" presetID="2" presetClass="entr" presetSubtype="4" decel="5000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700" fill="hold"/>
                                        <p:tgtEl>
                                          <p:spTgt spid="4"/>
                                        </p:tgtEl>
                                        <p:attrNameLst>
                                          <p:attrName>ppt_x</p:attrName>
                                        </p:attrNameLst>
                                      </p:cBhvr>
                                      <p:tavLst>
                                        <p:tav tm="0">
                                          <p:val>
                                            <p:strVal val="#ppt_x"/>
                                          </p:val>
                                        </p:tav>
                                        <p:tav tm="100000">
                                          <p:val>
                                            <p:strVal val="#ppt_x"/>
                                          </p:val>
                                        </p:tav>
                                      </p:tavLst>
                                    </p:anim>
                                    <p:anim calcmode="lin" valueType="num">
                                      <p:cBhvr additive="base">
                                        <p:cTn id="16" dur="700" fill="hold"/>
                                        <p:tgtEl>
                                          <p:spTgt spid="4"/>
                                        </p:tgtEl>
                                        <p:attrNameLst>
                                          <p:attrName>ppt_y</p:attrName>
                                        </p:attrNameLst>
                                      </p:cBhvr>
                                      <p:tavLst>
                                        <p:tav tm="0">
                                          <p:val>
                                            <p:strVal val="1+#ppt_h/2"/>
                                          </p:val>
                                        </p:tav>
                                        <p:tav tm="100000">
                                          <p:val>
                                            <p:strVal val="#ppt_y"/>
                                          </p:val>
                                        </p:tav>
                                      </p:tavLst>
                                    </p:anim>
                                  </p:childTnLst>
                                </p:cTn>
                              </p:par>
                              <p:par>
                                <p:cTn id="17" presetID="64" presetClass="path" presetSubtype="0" decel="62500" fill="hold" grpId="0" nodeType="withEffect">
                                  <p:stCondLst>
                                    <p:cond delay="0"/>
                                  </p:stCondLst>
                                  <p:childTnLst>
                                    <p:animMotion origin="layout" path="M -0.00026 0.58959 L 1.91617E-6 -2.59259E-6 " pathEditMode="relative" rAng="0" ptsTypes="AA">
                                      <p:cBhvr>
                                        <p:cTn id="18" dur="800" fill="hold"/>
                                        <p:tgtEl>
                                          <p:spTgt spid="2"/>
                                        </p:tgtEl>
                                        <p:attrNameLst>
                                          <p:attrName>ppt_x</p:attrName>
                                          <p:attrName>ppt_y</p:attrName>
                                        </p:attrNameLst>
                                      </p:cBhvr>
                                      <p:rCtr x="13" y="-29491"/>
                                    </p:animMotion>
                                  </p:childTnLst>
                                </p:cTn>
                              </p:par>
                              <p:par>
                                <p:cTn id="19" presetID="10" presetClass="entr" presetSubtype="0" fill="hold" grpId="0" nodeType="withEffect">
                                  <p:stCondLst>
                                    <p:cond delay="500"/>
                                  </p:stCondLst>
                                  <p:childTnLst>
                                    <p:set>
                                      <p:cBhvr>
                                        <p:cTn id="20" dur="1" fill="hold">
                                          <p:stCondLst>
                                            <p:cond delay="0"/>
                                          </p:stCondLst>
                                        </p:cTn>
                                        <p:tgtEl>
                                          <p:spTgt spid="28">
                                            <p:bg/>
                                          </p:spTgt>
                                        </p:tgtEl>
                                        <p:attrNameLst>
                                          <p:attrName>style.visibility</p:attrName>
                                        </p:attrNameLst>
                                      </p:cBhvr>
                                      <p:to>
                                        <p:strVal val="visible"/>
                                      </p:to>
                                    </p:set>
                                    <p:animEffect transition="in" filter="fade">
                                      <p:cBhvr>
                                        <p:cTn id="21" dur="200"/>
                                        <p:tgtEl>
                                          <p:spTgt spid="28">
                                            <p:bg/>
                                          </p:spTgt>
                                        </p:tgtEl>
                                      </p:cBhvr>
                                    </p:animEffect>
                                  </p:childTnLst>
                                </p:cTn>
                              </p:par>
                              <p:par>
                                <p:cTn id="22" presetID="10" presetClass="entr" presetSubtype="0" fill="hold" grpId="0" nodeType="withEffect">
                                  <p:stCondLst>
                                    <p:cond delay="500"/>
                                  </p:stCondLst>
                                  <p:childTnLst>
                                    <p:set>
                                      <p:cBhvr>
                                        <p:cTn id="23" dur="1" fill="hold">
                                          <p:stCondLst>
                                            <p:cond delay="0"/>
                                          </p:stCondLst>
                                        </p:cTn>
                                        <p:tgtEl>
                                          <p:spTgt spid="28">
                                            <p:txEl>
                                              <p:pRg st="0" end="0"/>
                                            </p:txEl>
                                          </p:spTgt>
                                        </p:tgtEl>
                                        <p:attrNameLst>
                                          <p:attrName>style.visibility</p:attrName>
                                        </p:attrNameLst>
                                      </p:cBhvr>
                                      <p:to>
                                        <p:strVal val="visible"/>
                                      </p:to>
                                    </p:set>
                                    <p:animEffect transition="in" filter="fade">
                                      <p:cBhvr>
                                        <p:cTn id="24" dur="200"/>
                                        <p:tgtEl>
                                          <p:spTgt spid="28">
                                            <p:txEl>
                                              <p:pRg st="0" end="0"/>
                                            </p:txEl>
                                          </p:spTgt>
                                        </p:tgtEl>
                                      </p:cBhvr>
                                    </p:animEffect>
                                  </p:childTnLst>
                                </p:cTn>
                              </p:par>
                              <p:par>
                                <p:cTn id="25" presetID="10" presetClass="entr" presetSubtype="0" fill="hold" grpId="0" nodeType="withEffect">
                                  <p:stCondLst>
                                    <p:cond delay="500"/>
                                  </p:stCondLst>
                                  <p:childTnLst>
                                    <p:set>
                                      <p:cBhvr>
                                        <p:cTn id="26" dur="1" fill="hold">
                                          <p:stCondLst>
                                            <p:cond delay="0"/>
                                          </p:stCondLst>
                                        </p:cTn>
                                        <p:tgtEl>
                                          <p:spTgt spid="29">
                                            <p:bg/>
                                          </p:spTgt>
                                        </p:tgtEl>
                                        <p:attrNameLst>
                                          <p:attrName>style.visibility</p:attrName>
                                        </p:attrNameLst>
                                      </p:cBhvr>
                                      <p:to>
                                        <p:strVal val="visible"/>
                                      </p:to>
                                    </p:set>
                                    <p:animEffect transition="in" filter="fade">
                                      <p:cBhvr>
                                        <p:cTn id="27" dur="200"/>
                                        <p:tgtEl>
                                          <p:spTgt spid="29">
                                            <p:bg/>
                                          </p:spTgt>
                                        </p:tgtEl>
                                      </p:cBhvr>
                                    </p:animEffect>
                                  </p:childTnLst>
                                </p:cTn>
                              </p:par>
                              <p:par>
                                <p:cTn id="28" presetID="10" presetClass="entr" presetSubtype="0" fill="hold" grpId="0" nodeType="withEffect">
                                  <p:stCondLst>
                                    <p:cond delay="500"/>
                                  </p:stCondLst>
                                  <p:childTnLst>
                                    <p:set>
                                      <p:cBhvr>
                                        <p:cTn id="29" dur="1" fill="hold">
                                          <p:stCondLst>
                                            <p:cond delay="0"/>
                                          </p:stCondLst>
                                        </p:cTn>
                                        <p:tgtEl>
                                          <p:spTgt spid="29">
                                            <p:txEl>
                                              <p:pRg st="0" end="0"/>
                                            </p:txEl>
                                          </p:spTgt>
                                        </p:tgtEl>
                                        <p:attrNameLst>
                                          <p:attrName>style.visibility</p:attrName>
                                        </p:attrNameLst>
                                      </p:cBhvr>
                                      <p:to>
                                        <p:strVal val="visible"/>
                                      </p:to>
                                    </p:set>
                                    <p:animEffect transition="in" filter="fade">
                                      <p:cBhvr>
                                        <p:cTn id="30" dur="200"/>
                                        <p:tgtEl>
                                          <p:spTgt spid="29">
                                            <p:txEl>
                                              <p:pRg st="0" end="0"/>
                                            </p:txEl>
                                          </p:spTgt>
                                        </p:tgtEl>
                                      </p:cBhvr>
                                    </p:animEffect>
                                  </p:childTnLst>
                                </p:cTn>
                              </p:par>
                            </p:childTnLst>
                          </p:cTn>
                        </p:par>
                        <p:par>
                          <p:cTn id="31" fill="hold">
                            <p:stCondLst>
                              <p:cond delay="800"/>
                            </p:stCondLst>
                            <p:childTnLst>
                              <p:par>
                                <p:cTn id="32" presetID="10" presetClass="entr" presetSubtype="0" fill="hold" grpId="0" nodeType="afterEffect">
                                  <p:stCondLst>
                                    <p:cond delay="0"/>
                                  </p:stCondLst>
                                  <p:childTnLst>
                                    <p:set>
                                      <p:cBhvr>
                                        <p:cTn id="33" dur="1" fill="hold">
                                          <p:stCondLst>
                                            <p:cond delay="0"/>
                                          </p:stCondLst>
                                        </p:cTn>
                                        <p:tgtEl>
                                          <p:spTgt spid="3">
                                            <p:txEl>
                                              <p:pRg st="0" end="0"/>
                                            </p:txEl>
                                          </p:spTgt>
                                        </p:tgtEl>
                                        <p:attrNameLst>
                                          <p:attrName>style.visibility</p:attrName>
                                        </p:attrNameLst>
                                      </p:cBhvr>
                                      <p:to>
                                        <p:strVal val="visible"/>
                                      </p:to>
                                    </p:set>
                                    <p:animEffect transition="in" filter="fade">
                                      <p:cBhvr>
                                        <p:cTn id="34" dur="500"/>
                                        <p:tgtEl>
                                          <p:spTgt spid="3">
                                            <p:txEl>
                                              <p:pRg st="0" end="0"/>
                                            </p:txEl>
                                          </p:spTgt>
                                        </p:tgtEl>
                                      </p:cBhvr>
                                    </p:animEffect>
                                  </p:childTnLst>
                                </p:cTn>
                              </p:par>
                            </p:childTnLst>
                          </p:cTn>
                        </p:par>
                        <p:par>
                          <p:cTn id="35" fill="hold">
                            <p:stCondLst>
                              <p:cond delay="1300"/>
                            </p:stCondLst>
                            <p:childTnLst>
                              <p:par>
                                <p:cTn id="36" presetID="1" presetClass="entr" presetSubtype="0" fill="hold" grpId="0" nodeType="afterEffect">
                                  <p:stCondLst>
                                    <p:cond delay="0"/>
                                  </p:stCondLst>
                                  <p:childTnLst>
                                    <p:set>
                                      <p:cBhvr>
                                        <p:cTn id="37"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7" grpId="0"/>
      <p:bldP spid="28" grpId="0" uiExpand="1" build="p" animBg="1">
        <p:tmplLst>
          <p:tmpl>
            <p:tnLst>
              <p:par>
                <p:cTn presetID="10" presetClass="entr" presetSubtype="0" fill="hold" nodeType="withEffect">
                  <p:stCondLst>
                    <p:cond delay="500"/>
                  </p:stCondLst>
                  <p:childTnLst>
                    <p:set>
                      <p:cBhvr>
                        <p:cTn dur="1" fill="hold">
                          <p:stCondLst>
                            <p:cond delay="0"/>
                          </p:stCondLst>
                        </p:cTn>
                        <p:tgtEl>
                          <p:spTgt spid="28"/>
                        </p:tgtEl>
                        <p:attrNameLst>
                          <p:attrName>style.visibility</p:attrName>
                        </p:attrNameLst>
                      </p:cBhvr>
                      <p:to>
                        <p:strVal val="visible"/>
                      </p:to>
                    </p:set>
                    <p:animEffect transition="in" filter="fade">
                      <p:cBhvr>
                        <p:cTn dur="200"/>
                        <p:tgtEl>
                          <p:spTgt spid="28"/>
                        </p:tgtEl>
                      </p:cBhvr>
                    </p:animEffect>
                  </p:childTnLst>
                </p:cTn>
              </p:par>
            </p:tnLst>
          </p:tmpl>
          <p:tmpl lvl="1">
            <p:tnLst>
              <p:par>
                <p:cTn presetID="10" presetClass="entr" presetSubtype="0" fill="hold" nodeType="withEffect">
                  <p:stCondLst>
                    <p:cond delay="500"/>
                  </p:stCondLst>
                  <p:childTnLst>
                    <p:set>
                      <p:cBhvr>
                        <p:cTn dur="1" fill="hold">
                          <p:stCondLst>
                            <p:cond delay="0"/>
                          </p:stCondLst>
                        </p:cTn>
                        <p:tgtEl>
                          <p:spTgt spid="28"/>
                        </p:tgtEl>
                        <p:attrNameLst>
                          <p:attrName>style.visibility</p:attrName>
                        </p:attrNameLst>
                      </p:cBhvr>
                      <p:to>
                        <p:strVal val="visible"/>
                      </p:to>
                    </p:set>
                    <p:animEffect transition="in" filter="fade">
                      <p:cBhvr>
                        <p:cTn dur="200"/>
                        <p:tgtEl>
                          <p:spTgt spid="28"/>
                        </p:tgtEl>
                      </p:cBhvr>
                    </p:animEffect>
                  </p:childTnLst>
                </p:cTn>
              </p:par>
            </p:tnLst>
          </p:tmpl>
        </p:tmplLst>
      </p:bldP>
      <p:bldP spid="29" grpId="0" uiExpand="1" build="p" animBg="1">
        <p:tmplLst>
          <p:tmpl>
            <p:tnLst>
              <p:par>
                <p:cTn presetID="10" presetClass="entr" presetSubtype="0" fill="hold" nodeType="withEffect">
                  <p:stCondLst>
                    <p:cond delay="500"/>
                  </p:stCondLst>
                  <p:childTnLst>
                    <p:set>
                      <p:cBhvr>
                        <p:cTn dur="1" fill="hold">
                          <p:stCondLst>
                            <p:cond delay="0"/>
                          </p:stCondLst>
                        </p:cTn>
                        <p:tgtEl>
                          <p:spTgt spid="29"/>
                        </p:tgtEl>
                        <p:attrNameLst>
                          <p:attrName>style.visibility</p:attrName>
                        </p:attrNameLst>
                      </p:cBhvr>
                      <p:to>
                        <p:strVal val="visible"/>
                      </p:to>
                    </p:set>
                    <p:animEffect transition="in" filter="fade">
                      <p:cBhvr>
                        <p:cTn dur="200"/>
                        <p:tgtEl>
                          <p:spTgt spid="29"/>
                        </p:tgtEl>
                      </p:cBhvr>
                    </p:animEffect>
                  </p:childTnLst>
                </p:cTn>
              </p:par>
            </p:tnLst>
          </p:tmpl>
          <p:tmpl lvl="1">
            <p:tnLst>
              <p:par>
                <p:cTn presetID="10" presetClass="entr" presetSubtype="0" fill="hold" nodeType="withEffect">
                  <p:stCondLst>
                    <p:cond delay="500"/>
                  </p:stCondLst>
                  <p:childTnLst>
                    <p:set>
                      <p:cBhvr>
                        <p:cTn dur="1" fill="hold">
                          <p:stCondLst>
                            <p:cond delay="0"/>
                          </p:stCondLst>
                        </p:cTn>
                        <p:tgtEl>
                          <p:spTgt spid="29"/>
                        </p:tgtEl>
                        <p:attrNameLst>
                          <p:attrName>style.visibility</p:attrName>
                        </p:attrNameLst>
                      </p:cBhvr>
                      <p:to>
                        <p:strVal val="visible"/>
                      </p:to>
                    </p:set>
                    <p:animEffect transition="in" filter="fade">
                      <p:cBhvr>
                        <p:cTn dur="200"/>
                        <p:tgtEl>
                          <p:spTgt spid="29"/>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11" grpId="0"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Hoofdstukdia met eigen foto (groen)">
    <p:spTree>
      <p:nvGrpSpPr>
        <p:cNvPr id="1" name=""/>
        <p:cNvGrpSpPr/>
        <p:nvPr/>
      </p:nvGrpSpPr>
      <p:grpSpPr>
        <a:xfrm>
          <a:off x="0" y="0"/>
          <a:ext cx="0" cy="0"/>
          <a:chOff x="0" y="0"/>
          <a:chExt cx="0" cy="0"/>
        </a:xfrm>
      </p:grpSpPr>
      <p:sp>
        <p:nvSpPr>
          <p:cNvPr id="7" name="Vrije vorm: vorm 9">
            <a:extLst>
              <a:ext uri="{FF2B5EF4-FFF2-40B4-BE49-F238E27FC236}">
                <a16:creationId xmlns:a16="http://schemas.microsoft.com/office/drawing/2014/main" id="{D4237D0C-6A65-43B0-9664-D5C08664B193}"/>
              </a:ext>
            </a:extLst>
          </p:cNvPr>
          <p:cNvSpPr>
            <a:spLocks noGrp="1" noSelect="1"/>
          </p:cNvSpPr>
          <p:nvPr>
            <p:ph type="body" idx="1000" hasCustomPrompt="1"/>
            <p:custDataLst>
              <p:custData r:id="rId1"/>
            </p:custDataLst>
          </p:nvPr>
        </p:nvSpPr>
        <p:spPr bwMode="gray">
          <a:xfrm>
            <a:off x="0" y="0"/>
            <a:ext cx="5780160" cy="6857999"/>
          </a:xfrm>
          <a:custGeom>
            <a:avLst/>
            <a:gdLst>
              <a:gd name="connsiteX0" fmla="*/ 0 w 5780088"/>
              <a:gd name="connsiteY0" fmla="*/ 0 h 6851650"/>
              <a:gd name="connsiteX1" fmla="*/ 4383088 w 5780088"/>
              <a:gd name="connsiteY1" fmla="*/ 0 h 6851650"/>
              <a:gd name="connsiteX2" fmla="*/ 5780088 w 5780088"/>
              <a:gd name="connsiteY2" fmla="*/ 0 h 6851650"/>
              <a:gd name="connsiteX3" fmla="*/ 5780088 w 5780088"/>
              <a:gd name="connsiteY3" fmla="*/ 5456238 h 6851650"/>
              <a:gd name="connsiteX4" fmla="*/ 5081588 w 5780088"/>
              <a:gd name="connsiteY4" fmla="*/ 6154738 h 6851650"/>
              <a:gd name="connsiteX5" fmla="*/ 5081588 w 5780088"/>
              <a:gd name="connsiteY5" fmla="*/ 6154738 h 6851650"/>
              <a:gd name="connsiteX6" fmla="*/ 4383088 w 5780088"/>
              <a:gd name="connsiteY6" fmla="*/ 6851650 h 6851650"/>
              <a:gd name="connsiteX7" fmla="*/ 0 w 5780088"/>
              <a:gd name="connsiteY7" fmla="*/ 6851650 h 685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80088" h="6851650">
                <a:moveTo>
                  <a:pt x="0" y="0"/>
                </a:moveTo>
                <a:lnTo>
                  <a:pt x="4383088" y="0"/>
                </a:lnTo>
                <a:lnTo>
                  <a:pt x="5780088" y="0"/>
                </a:lnTo>
                <a:lnTo>
                  <a:pt x="5780088" y="5456238"/>
                </a:lnTo>
                <a:lnTo>
                  <a:pt x="5081588" y="6154738"/>
                </a:lnTo>
                <a:lnTo>
                  <a:pt x="5081588" y="6154738"/>
                </a:lnTo>
                <a:lnTo>
                  <a:pt x="4383088" y="6851650"/>
                </a:lnTo>
                <a:lnTo>
                  <a:pt x="0" y="6851650"/>
                </a:lnTo>
                <a:close/>
              </a:path>
            </a:pathLst>
          </a:custGeom>
          <a:solidFill>
            <a:srgbClr val="C0CF47"/>
          </a:solidFill>
          <a:ln>
            <a:noFill/>
          </a:ln>
        </p:spPr>
        <p:txBody>
          <a:bodyPr vert="horz" wrap="square" lIns="91440" tIns="45720" rIns="91440" bIns="45720" numCol="1" anchor="t" anchorCtr="0" compatLnSpc="1">
            <a:prstTxWarp prst="textNoShape">
              <a:avLst/>
            </a:prstTxWarp>
            <a:noAutofit/>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8" name="Tijdelijke aanduiding voor afbeelding 17">
            <a:extLst>
              <a:ext uri="{FF2B5EF4-FFF2-40B4-BE49-F238E27FC236}">
                <a16:creationId xmlns:a16="http://schemas.microsoft.com/office/drawing/2014/main" id="{CCEA4C94-9671-4803-ADEE-73024B5AC58D}"/>
              </a:ext>
            </a:extLst>
          </p:cNvPr>
          <p:cNvSpPr>
            <a:spLocks noGrp="1" noSelect="1"/>
          </p:cNvSpPr>
          <p:nvPr>
            <p:ph type="pic" idx="13" hasCustomPrompt="1"/>
          </p:nvPr>
        </p:nvSpPr>
        <p:spPr bwMode="gray">
          <a:xfrm>
            <a:off x="4383000" y="0"/>
            <a:ext cx="7812000" cy="6857999"/>
          </a:xfrm>
          <a:custGeom>
            <a:avLst/>
            <a:gdLst>
              <a:gd name="connsiteX0" fmla="*/ 0 w 7812000"/>
              <a:gd name="connsiteY0" fmla="*/ 0 h 6851520"/>
              <a:gd name="connsiteX1" fmla="*/ 7812000 w 7812000"/>
              <a:gd name="connsiteY1" fmla="*/ 0 h 6851520"/>
              <a:gd name="connsiteX2" fmla="*/ 7812000 w 7812000"/>
              <a:gd name="connsiteY2" fmla="*/ 6851520 h 6851520"/>
              <a:gd name="connsiteX3" fmla="*/ 1396847 w 7812000"/>
              <a:gd name="connsiteY3" fmla="*/ 6851520 h 6851520"/>
              <a:gd name="connsiteX4" fmla="*/ 698413 w 7812000"/>
              <a:gd name="connsiteY4" fmla="*/ 6154673 h 6851520"/>
              <a:gd name="connsiteX5" fmla="*/ 698412 w 7812000"/>
              <a:gd name="connsiteY5" fmla="*/ 6154673 h 6851520"/>
              <a:gd name="connsiteX6" fmla="*/ 0 w 7812000"/>
              <a:gd name="connsiteY6" fmla="*/ 5456261 h 6851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12000" h="6851520">
                <a:moveTo>
                  <a:pt x="0" y="0"/>
                </a:moveTo>
                <a:lnTo>
                  <a:pt x="7812000" y="0"/>
                </a:lnTo>
                <a:lnTo>
                  <a:pt x="7812000" y="6851520"/>
                </a:lnTo>
                <a:lnTo>
                  <a:pt x="1396847" y="6851520"/>
                </a:lnTo>
                <a:lnTo>
                  <a:pt x="698413" y="6154673"/>
                </a:lnTo>
                <a:lnTo>
                  <a:pt x="698412" y="6154673"/>
                </a:lnTo>
                <a:lnTo>
                  <a:pt x="0" y="5456261"/>
                </a:lnTo>
                <a:close/>
              </a:path>
            </a:pathLst>
          </a:custGeom>
          <a:noFill/>
        </p:spPr>
        <p:txBody>
          <a:bodyPr wrap="square" anchor="ctr" anchorCtr="1">
            <a:noAutofit/>
          </a:bodyPr>
          <a:lstStyle>
            <a:lvl1pPr marL="270108" indent="-270108" algn="l" defTabSz="1088937" rtl="0" eaLnBrk="1" latinLnBrk="0" hangingPunct="1">
              <a:spcBef>
                <a:spcPts val="0"/>
              </a:spcBef>
              <a:buFont typeface="Arial" pitchFamily="34" charset="0"/>
              <a:buNone/>
              <a:defRPr/>
            </a:lvl1pPr>
          </a:lstStyle>
          <a:p>
            <a:r>
              <a:rPr lang="nl-NL" dirty="0"/>
              <a:t>[Klik op icoon en voeg afbeelding in]</a:t>
            </a:r>
          </a:p>
        </p:txBody>
      </p:sp>
      <p:sp>
        <p:nvSpPr>
          <p:cNvPr id="9" name="Freeform 7 (PHJU)">
            <a:extLst>
              <a:ext uri="{FF2B5EF4-FFF2-40B4-BE49-F238E27FC236}">
                <a16:creationId xmlns:a16="http://schemas.microsoft.com/office/drawing/2014/main" id="{B28D01B1-372B-4C4F-8C07-4CB2BF8A6902}"/>
              </a:ext>
            </a:extLst>
          </p:cNvPr>
          <p:cNvSpPr>
            <a:spLocks noGrp="1" noSelect="1"/>
          </p:cNvSpPr>
          <p:nvPr>
            <p:ph type="body" idx="1001" hasCustomPrompt="1"/>
            <p:custDataLst>
              <p:custData r:id="rId2"/>
            </p:custDataLst>
          </p:nvPr>
        </p:nvSpPr>
        <p:spPr bwMode="gray">
          <a:xfrm>
            <a:off x="4380811" y="0"/>
            <a:ext cx="1397160" cy="6163200"/>
          </a:xfrm>
          <a:custGeom>
            <a:avLst/>
            <a:gdLst>
              <a:gd name="T0" fmla="*/ 880 w 880"/>
              <a:gd name="T1" fmla="*/ 0 h 3877"/>
              <a:gd name="T2" fmla="*/ 880 w 880"/>
              <a:gd name="T3" fmla="*/ 3437 h 3877"/>
              <a:gd name="T4" fmla="*/ 440 w 880"/>
              <a:gd name="T5" fmla="*/ 3877 h 3877"/>
              <a:gd name="T6" fmla="*/ 0 w 880"/>
              <a:gd name="T7" fmla="*/ 3437 h 3877"/>
              <a:gd name="T8" fmla="*/ 0 w 880"/>
              <a:gd name="T9" fmla="*/ 0 h 3877"/>
              <a:gd name="T10" fmla="*/ 880 w 880"/>
              <a:gd name="T11" fmla="*/ 0 h 3877"/>
            </a:gdLst>
            <a:ahLst/>
            <a:cxnLst>
              <a:cxn ang="0">
                <a:pos x="T0" y="T1"/>
              </a:cxn>
              <a:cxn ang="0">
                <a:pos x="T2" y="T3"/>
              </a:cxn>
              <a:cxn ang="0">
                <a:pos x="T4" y="T5"/>
              </a:cxn>
              <a:cxn ang="0">
                <a:pos x="T6" y="T7"/>
              </a:cxn>
              <a:cxn ang="0">
                <a:pos x="T8" y="T9"/>
              </a:cxn>
              <a:cxn ang="0">
                <a:pos x="T10" y="T11"/>
              </a:cxn>
            </a:cxnLst>
            <a:rect l="0" t="0" r="r" b="b"/>
            <a:pathLst>
              <a:path w="880" h="3877">
                <a:moveTo>
                  <a:pt x="880" y="0"/>
                </a:moveTo>
                <a:lnTo>
                  <a:pt x="880" y="3437"/>
                </a:lnTo>
                <a:lnTo>
                  <a:pt x="440" y="3877"/>
                </a:lnTo>
                <a:lnTo>
                  <a:pt x="0" y="3437"/>
                </a:lnTo>
                <a:lnTo>
                  <a:pt x="0" y="0"/>
                </a:lnTo>
                <a:lnTo>
                  <a:pt x="880" y="0"/>
                </a:lnTo>
                <a:close/>
              </a:path>
            </a:pathLst>
          </a:custGeom>
          <a:solidFill>
            <a:srgbClr val="58525A">
              <a:alpha val="80000"/>
            </a:srgbClr>
          </a:solidFill>
          <a:ln>
            <a:noFill/>
          </a:ln>
        </p:spPr>
        <p:txBody>
          <a:bodyPr vert="horz" wrap="square" lIns="91440" tIns="45720" rIns="91440" bIns="45720" numCol="1" anchor="t" anchorCtr="0" compatLnSpc="1">
            <a:prstTxWarp prst="textNoShape">
              <a:avLst/>
            </a:prstTxWarp>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10" name="Freeform 7 (PHJU)">
            <a:extLst>
              <a:ext uri="{FF2B5EF4-FFF2-40B4-BE49-F238E27FC236}">
                <a16:creationId xmlns:a16="http://schemas.microsoft.com/office/drawing/2014/main" id="{A06D5172-CC86-4C26-BDFF-12D9BB33D925}"/>
              </a:ext>
            </a:extLst>
          </p:cNvPr>
          <p:cNvSpPr>
            <a:spLocks noGrp="1" noSelect="1"/>
          </p:cNvSpPr>
          <p:nvPr>
            <p:ph type="body" idx="1003" hasCustomPrompt="1"/>
            <p:custDataLst>
              <p:custData r:id="rId3"/>
            </p:custDataLst>
          </p:nvPr>
        </p:nvSpPr>
        <p:spPr bwMode="gray">
          <a:xfrm>
            <a:off x="4381920" y="0"/>
            <a:ext cx="1397160" cy="6171840"/>
          </a:xfrm>
          <a:custGeom>
            <a:avLst/>
            <a:gdLst>
              <a:gd name="T0" fmla="*/ 880 w 880"/>
              <a:gd name="T1" fmla="*/ 0 h 3877"/>
              <a:gd name="T2" fmla="*/ 880 w 880"/>
              <a:gd name="T3" fmla="*/ 3437 h 3877"/>
              <a:gd name="T4" fmla="*/ 440 w 880"/>
              <a:gd name="T5" fmla="*/ 3877 h 3877"/>
              <a:gd name="T6" fmla="*/ 0 w 880"/>
              <a:gd name="T7" fmla="*/ 3437 h 3877"/>
              <a:gd name="T8" fmla="*/ 0 w 880"/>
              <a:gd name="T9" fmla="*/ 0 h 3877"/>
              <a:gd name="T10" fmla="*/ 880 w 880"/>
              <a:gd name="T11" fmla="*/ 0 h 3877"/>
            </a:gdLst>
            <a:ahLst/>
            <a:cxnLst>
              <a:cxn ang="0">
                <a:pos x="T0" y="T1"/>
              </a:cxn>
              <a:cxn ang="0">
                <a:pos x="T2" y="T3"/>
              </a:cxn>
              <a:cxn ang="0">
                <a:pos x="T4" y="T5"/>
              </a:cxn>
              <a:cxn ang="0">
                <a:pos x="T6" y="T7"/>
              </a:cxn>
              <a:cxn ang="0">
                <a:pos x="T8" y="T9"/>
              </a:cxn>
              <a:cxn ang="0">
                <a:pos x="T10" y="T11"/>
              </a:cxn>
            </a:cxnLst>
            <a:rect l="0" t="0" r="r" b="b"/>
            <a:pathLst>
              <a:path w="880" h="3877">
                <a:moveTo>
                  <a:pt x="880" y="0"/>
                </a:moveTo>
                <a:lnTo>
                  <a:pt x="880" y="3437"/>
                </a:lnTo>
                <a:lnTo>
                  <a:pt x="440" y="3877"/>
                </a:lnTo>
                <a:lnTo>
                  <a:pt x="0" y="3437"/>
                </a:lnTo>
                <a:lnTo>
                  <a:pt x="0" y="0"/>
                </a:lnTo>
                <a:lnTo>
                  <a:pt x="880" y="0"/>
                </a:lnTo>
                <a:close/>
              </a:path>
            </a:pathLst>
          </a:custGeom>
          <a:solidFill>
            <a:srgbClr val="C0CF47">
              <a:alpha val="80000"/>
            </a:srgbClr>
          </a:solidFill>
          <a:ln>
            <a:noFill/>
          </a:ln>
        </p:spPr>
        <p:txBody>
          <a:bodyPr vert="horz" wrap="square" lIns="91440" tIns="45720" rIns="91440" bIns="45720" numCol="1" anchor="t" anchorCtr="0" compatLnSpc="1">
            <a:prstTxWarp prst="textNoShape">
              <a:avLst/>
            </a:prstTxWarp>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13" name="Logo (PHJU)">
            <a:extLst>
              <a:ext uri="{FF2B5EF4-FFF2-40B4-BE49-F238E27FC236}">
                <a16:creationId xmlns:a16="http://schemas.microsoft.com/office/drawing/2014/main" id="{86FE5542-5787-4DBC-AD23-6C2E6214DE2A}"/>
              </a:ext>
            </a:extLst>
          </p:cNvPr>
          <p:cNvSpPr>
            <a:spLocks noGrp="1" noSelect="1"/>
          </p:cNvSpPr>
          <p:nvPr userDrawn="1">
            <p:ph type="body" idx="1002" hasCustomPrompt="1"/>
            <p:custDataLst>
              <p:custData r:id="rId4"/>
            </p:custDataLst>
          </p:nvPr>
        </p:nvSpPr>
        <p:spPr bwMode="gray">
          <a:xfrm>
            <a:off x="638175" y="6030913"/>
            <a:ext cx="2481263" cy="508000"/>
          </a:xfrm>
          <a:custGeom>
            <a:avLst/>
            <a:gdLst>
              <a:gd name="T0" fmla="*/ 1692 w 7817"/>
              <a:gd name="T1" fmla="*/ 0 h 1604"/>
              <a:gd name="T2" fmla="*/ 1692 w 7817"/>
              <a:gd name="T3" fmla="*/ 525 h 1604"/>
              <a:gd name="T4" fmla="*/ 2362 w 7817"/>
              <a:gd name="T5" fmla="*/ 330 h 1604"/>
              <a:gd name="T6" fmla="*/ 2557 w 7817"/>
              <a:gd name="T7" fmla="*/ 729 h 1604"/>
              <a:gd name="T8" fmla="*/ 3512 w 7817"/>
              <a:gd name="T9" fmla="*/ 0 h 1604"/>
              <a:gd name="T10" fmla="*/ 3421 w 7817"/>
              <a:gd name="T11" fmla="*/ 525 h 1604"/>
              <a:gd name="T12" fmla="*/ 5552 w 7817"/>
              <a:gd name="T13" fmla="*/ 1512 h 1604"/>
              <a:gd name="T14" fmla="*/ 5558 w 7817"/>
              <a:gd name="T15" fmla="*/ 1482 h 1604"/>
              <a:gd name="T16" fmla="*/ 5876 w 7817"/>
              <a:gd name="T17" fmla="*/ 1472 h 1604"/>
              <a:gd name="T18" fmla="*/ 5792 w 7817"/>
              <a:gd name="T19" fmla="*/ 1341 h 1604"/>
              <a:gd name="T20" fmla="*/ 5942 w 7817"/>
              <a:gd name="T21" fmla="*/ 1317 h 1604"/>
              <a:gd name="T22" fmla="*/ 6271 w 7817"/>
              <a:gd name="T23" fmla="*/ 1454 h 1604"/>
              <a:gd name="T24" fmla="*/ 6267 w 7817"/>
              <a:gd name="T25" fmla="*/ 1395 h 1604"/>
              <a:gd name="T26" fmla="*/ 6433 w 7817"/>
              <a:gd name="T27" fmla="*/ 1412 h 1604"/>
              <a:gd name="T28" fmla="*/ 6534 w 7817"/>
              <a:gd name="T29" fmla="*/ 1482 h 1604"/>
              <a:gd name="T30" fmla="*/ 6713 w 7817"/>
              <a:gd name="T31" fmla="*/ 1473 h 1604"/>
              <a:gd name="T32" fmla="*/ 6847 w 7817"/>
              <a:gd name="T33" fmla="*/ 1412 h 1604"/>
              <a:gd name="T34" fmla="*/ 7086 w 7817"/>
              <a:gd name="T35" fmla="*/ 1507 h 1604"/>
              <a:gd name="T36" fmla="*/ 6925 w 7817"/>
              <a:gd name="T37" fmla="*/ 1317 h 1604"/>
              <a:gd name="T38" fmla="*/ 7356 w 7817"/>
              <a:gd name="T39" fmla="*/ 1312 h 1604"/>
              <a:gd name="T40" fmla="*/ 7446 w 7817"/>
              <a:gd name="T41" fmla="*/ 1411 h 1604"/>
              <a:gd name="T42" fmla="*/ 7625 w 7817"/>
              <a:gd name="T43" fmla="*/ 1507 h 1604"/>
              <a:gd name="T44" fmla="*/ 7519 w 7817"/>
              <a:gd name="T45" fmla="*/ 1317 h 1604"/>
              <a:gd name="T46" fmla="*/ 7728 w 7817"/>
              <a:gd name="T47" fmla="*/ 1343 h 1604"/>
              <a:gd name="T48" fmla="*/ 7815 w 7817"/>
              <a:gd name="T49" fmla="*/ 1343 h 1604"/>
              <a:gd name="T50" fmla="*/ 3773 w 7817"/>
              <a:gd name="T51" fmla="*/ 1344 h 1604"/>
              <a:gd name="T52" fmla="*/ 3942 w 7817"/>
              <a:gd name="T53" fmla="*/ 1412 h 1604"/>
              <a:gd name="T54" fmla="*/ 4091 w 7817"/>
              <a:gd name="T55" fmla="*/ 1314 h 1604"/>
              <a:gd name="T56" fmla="*/ 4013 w 7817"/>
              <a:gd name="T57" fmla="*/ 1317 h 1604"/>
              <a:gd name="T58" fmla="*/ 4206 w 7817"/>
              <a:gd name="T59" fmla="*/ 1312 h 1604"/>
              <a:gd name="T60" fmla="*/ 4384 w 7817"/>
              <a:gd name="T61" fmla="*/ 1344 h 1604"/>
              <a:gd name="T62" fmla="*/ 4553 w 7817"/>
              <a:gd name="T63" fmla="*/ 1412 h 1604"/>
              <a:gd name="T64" fmla="*/ 4588 w 7817"/>
              <a:gd name="T65" fmla="*/ 1412 h 1604"/>
              <a:gd name="T66" fmla="*/ 4686 w 7817"/>
              <a:gd name="T67" fmla="*/ 1312 h 1604"/>
              <a:gd name="T68" fmla="*/ 4916 w 7817"/>
              <a:gd name="T69" fmla="*/ 1343 h 1604"/>
              <a:gd name="T70" fmla="*/ 4858 w 7817"/>
              <a:gd name="T71" fmla="*/ 1348 h 1604"/>
              <a:gd name="T72" fmla="*/ 4963 w 7817"/>
              <a:gd name="T73" fmla="*/ 1317 h 1604"/>
              <a:gd name="T74" fmla="*/ 5036 w 7817"/>
              <a:gd name="T75" fmla="*/ 1439 h 1604"/>
              <a:gd name="T76" fmla="*/ 5129 w 7817"/>
              <a:gd name="T77" fmla="*/ 1572 h 1604"/>
              <a:gd name="T78" fmla="*/ 5274 w 7817"/>
              <a:gd name="T79" fmla="*/ 1317 h 1604"/>
              <a:gd name="T80" fmla="*/ 1632 w 7817"/>
              <a:gd name="T81" fmla="*/ 1473 h 1604"/>
              <a:gd name="T82" fmla="*/ 1767 w 7817"/>
              <a:gd name="T83" fmla="*/ 1412 h 1604"/>
              <a:gd name="T84" fmla="*/ 1866 w 7817"/>
              <a:gd name="T85" fmla="*/ 1412 h 1604"/>
              <a:gd name="T86" fmla="*/ 2208 w 7817"/>
              <a:gd name="T87" fmla="*/ 1476 h 1604"/>
              <a:gd name="T88" fmla="*/ 2206 w 7817"/>
              <a:gd name="T89" fmla="*/ 1317 h 1604"/>
              <a:gd name="T90" fmla="*/ 2632 w 7817"/>
              <a:gd name="T91" fmla="*/ 1507 h 1604"/>
              <a:gd name="T92" fmla="*/ 2414 w 7817"/>
              <a:gd name="T93" fmla="*/ 1361 h 1604"/>
              <a:gd name="T94" fmla="*/ 2433 w 7817"/>
              <a:gd name="T95" fmla="*/ 1317 h 1604"/>
              <a:gd name="T96" fmla="*/ 2668 w 7817"/>
              <a:gd name="T97" fmla="*/ 1195 h 1604"/>
              <a:gd name="T98" fmla="*/ 2893 w 7817"/>
              <a:gd name="T99" fmla="*/ 1412 h 1604"/>
              <a:gd name="T100" fmla="*/ 3097 w 7817"/>
              <a:gd name="T101" fmla="*/ 1507 h 1604"/>
              <a:gd name="T102" fmla="*/ 2930 w 7817"/>
              <a:gd name="T103" fmla="*/ 1317 h 1604"/>
              <a:gd name="T104" fmla="*/ 3238 w 7817"/>
              <a:gd name="T105" fmla="*/ 1312 h 1604"/>
              <a:gd name="T106" fmla="*/ 3307 w 7817"/>
              <a:gd name="T107" fmla="*/ 1200 h 1604"/>
              <a:gd name="T108" fmla="*/ 3454 w 7817"/>
              <a:gd name="T109" fmla="*/ 1512 h 1604"/>
              <a:gd name="T110" fmla="*/ 3523 w 7817"/>
              <a:gd name="T111" fmla="*/ 1346 h 1604"/>
              <a:gd name="T112" fmla="*/ 0 w 7817"/>
              <a:gd name="T113" fmla="*/ 403 h 1604"/>
              <a:gd name="T114" fmla="*/ 814 w 7817"/>
              <a:gd name="T115" fmla="*/ 386 h 1604"/>
              <a:gd name="T116" fmla="*/ 50 w 7817"/>
              <a:gd name="T117" fmla="*/ 403 h 1604"/>
              <a:gd name="T118" fmla="*/ 218 w 7817"/>
              <a:gd name="T119" fmla="*/ 621 h 1604"/>
              <a:gd name="T120" fmla="*/ 1165 w 7817"/>
              <a:gd name="T121" fmla="*/ 42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17" h="1604">
                <a:moveTo>
                  <a:pt x="1692" y="702"/>
                </a:moveTo>
                <a:cubicBezTo>
                  <a:pt x="1694" y="702"/>
                  <a:pt x="1694" y="702"/>
                  <a:pt x="1694" y="702"/>
                </a:cubicBezTo>
                <a:cubicBezTo>
                  <a:pt x="1728" y="764"/>
                  <a:pt x="1807" y="814"/>
                  <a:pt x="1905" y="814"/>
                </a:cubicBezTo>
                <a:cubicBezTo>
                  <a:pt x="2059" y="814"/>
                  <a:pt x="2180" y="689"/>
                  <a:pt x="2180" y="525"/>
                </a:cubicBezTo>
                <a:cubicBezTo>
                  <a:pt x="2180" y="358"/>
                  <a:pt x="2064" y="236"/>
                  <a:pt x="1891" y="236"/>
                </a:cubicBezTo>
                <a:cubicBezTo>
                  <a:pt x="1812" y="236"/>
                  <a:pt x="1745" y="271"/>
                  <a:pt x="1694" y="330"/>
                </a:cubicBezTo>
                <a:cubicBezTo>
                  <a:pt x="1692" y="330"/>
                  <a:pt x="1692" y="330"/>
                  <a:pt x="1692" y="330"/>
                </a:cubicBezTo>
                <a:cubicBezTo>
                  <a:pt x="1692" y="0"/>
                  <a:pt x="1692" y="0"/>
                  <a:pt x="1692" y="0"/>
                </a:cubicBezTo>
                <a:cubicBezTo>
                  <a:pt x="1600" y="0"/>
                  <a:pt x="1600" y="0"/>
                  <a:pt x="1600" y="0"/>
                </a:cubicBezTo>
                <a:cubicBezTo>
                  <a:pt x="1600" y="799"/>
                  <a:pt x="1600" y="799"/>
                  <a:pt x="1600" y="799"/>
                </a:cubicBezTo>
                <a:cubicBezTo>
                  <a:pt x="1692" y="799"/>
                  <a:pt x="1692" y="799"/>
                  <a:pt x="1692" y="799"/>
                </a:cubicBezTo>
                <a:lnTo>
                  <a:pt x="1692" y="702"/>
                </a:lnTo>
                <a:close/>
                <a:moveTo>
                  <a:pt x="1887" y="320"/>
                </a:moveTo>
                <a:cubicBezTo>
                  <a:pt x="2005" y="320"/>
                  <a:pt x="2082" y="410"/>
                  <a:pt x="2082" y="525"/>
                </a:cubicBezTo>
                <a:cubicBezTo>
                  <a:pt x="2082" y="640"/>
                  <a:pt x="2005" y="729"/>
                  <a:pt x="1887" y="729"/>
                </a:cubicBezTo>
                <a:cubicBezTo>
                  <a:pt x="1768" y="729"/>
                  <a:pt x="1692" y="640"/>
                  <a:pt x="1692" y="525"/>
                </a:cubicBezTo>
                <a:cubicBezTo>
                  <a:pt x="1692" y="410"/>
                  <a:pt x="1768" y="320"/>
                  <a:pt x="1887" y="320"/>
                </a:cubicBezTo>
                <a:close/>
                <a:moveTo>
                  <a:pt x="2362" y="702"/>
                </a:moveTo>
                <a:cubicBezTo>
                  <a:pt x="2365" y="702"/>
                  <a:pt x="2365" y="702"/>
                  <a:pt x="2365" y="702"/>
                </a:cubicBezTo>
                <a:cubicBezTo>
                  <a:pt x="2399" y="764"/>
                  <a:pt x="2477" y="814"/>
                  <a:pt x="2576" y="814"/>
                </a:cubicBezTo>
                <a:cubicBezTo>
                  <a:pt x="2730" y="814"/>
                  <a:pt x="2851" y="689"/>
                  <a:pt x="2851" y="525"/>
                </a:cubicBezTo>
                <a:cubicBezTo>
                  <a:pt x="2851" y="358"/>
                  <a:pt x="2735" y="236"/>
                  <a:pt x="2562" y="236"/>
                </a:cubicBezTo>
                <a:cubicBezTo>
                  <a:pt x="2482" y="236"/>
                  <a:pt x="2415" y="271"/>
                  <a:pt x="2365" y="330"/>
                </a:cubicBezTo>
                <a:cubicBezTo>
                  <a:pt x="2362" y="330"/>
                  <a:pt x="2362" y="330"/>
                  <a:pt x="2362" y="330"/>
                </a:cubicBezTo>
                <a:cubicBezTo>
                  <a:pt x="2362" y="250"/>
                  <a:pt x="2362" y="250"/>
                  <a:pt x="2362" y="250"/>
                </a:cubicBezTo>
                <a:cubicBezTo>
                  <a:pt x="2271" y="250"/>
                  <a:pt x="2271" y="250"/>
                  <a:pt x="2271" y="250"/>
                </a:cubicBezTo>
                <a:cubicBezTo>
                  <a:pt x="2271" y="1057"/>
                  <a:pt x="2271" y="1057"/>
                  <a:pt x="2271" y="1057"/>
                </a:cubicBezTo>
                <a:cubicBezTo>
                  <a:pt x="2362" y="1057"/>
                  <a:pt x="2362" y="1057"/>
                  <a:pt x="2362" y="1057"/>
                </a:cubicBezTo>
                <a:lnTo>
                  <a:pt x="2362" y="702"/>
                </a:lnTo>
                <a:close/>
                <a:moveTo>
                  <a:pt x="2557" y="320"/>
                </a:moveTo>
                <a:cubicBezTo>
                  <a:pt x="2676" y="320"/>
                  <a:pt x="2752" y="410"/>
                  <a:pt x="2752" y="525"/>
                </a:cubicBezTo>
                <a:cubicBezTo>
                  <a:pt x="2752" y="640"/>
                  <a:pt x="2676" y="729"/>
                  <a:pt x="2557" y="729"/>
                </a:cubicBezTo>
                <a:cubicBezTo>
                  <a:pt x="2439" y="729"/>
                  <a:pt x="2362" y="640"/>
                  <a:pt x="2362" y="525"/>
                </a:cubicBezTo>
                <a:cubicBezTo>
                  <a:pt x="2362" y="410"/>
                  <a:pt x="2439" y="320"/>
                  <a:pt x="2557" y="320"/>
                </a:cubicBezTo>
                <a:close/>
                <a:moveTo>
                  <a:pt x="3207" y="814"/>
                </a:moveTo>
                <a:cubicBezTo>
                  <a:pt x="3306" y="814"/>
                  <a:pt x="3385" y="764"/>
                  <a:pt x="3419" y="702"/>
                </a:cubicBezTo>
                <a:cubicBezTo>
                  <a:pt x="3421" y="702"/>
                  <a:pt x="3421" y="702"/>
                  <a:pt x="3421" y="702"/>
                </a:cubicBezTo>
                <a:cubicBezTo>
                  <a:pt x="3421" y="799"/>
                  <a:pt x="3421" y="799"/>
                  <a:pt x="3421" y="799"/>
                </a:cubicBezTo>
                <a:cubicBezTo>
                  <a:pt x="3512" y="799"/>
                  <a:pt x="3512" y="799"/>
                  <a:pt x="3512" y="799"/>
                </a:cubicBezTo>
                <a:cubicBezTo>
                  <a:pt x="3512" y="0"/>
                  <a:pt x="3512" y="0"/>
                  <a:pt x="3512" y="0"/>
                </a:cubicBezTo>
                <a:cubicBezTo>
                  <a:pt x="3421" y="0"/>
                  <a:pt x="3421" y="0"/>
                  <a:pt x="3421" y="0"/>
                </a:cubicBezTo>
                <a:cubicBezTo>
                  <a:pt x="3421" y="330"/>
                  <a:pt x="3421" y="330"/>
                  <a:pt x="3421" y="330"/>
                </a:cubicBezTo>
                <a:cubicBezTo>
                  <a:pt x="3419" y="330"/>
                  <a:pt x="3419" y="330"/>
                  <a:pt x="3419" y="330"/>
                </a:cubicBezTo>
                <a:cubicBezTo>
                  <a:pt x="3368" y="271"/>
                  <a:pt x="3301" y="236"/>
                  <a:pt x="3221" y="236"/>
                </a:cubicBezTo>
                <a:cubicBezTo>
                  <a:pt x="3049" y="236"/>
                  <a:pt x="2933" y="358"/>
                  <a:pt x="2933" y="525"/>
                </a:cubicBezTo>
                <a:cubicBezTo>
                  <a:pt x="2933" y="689"/>
                  <a:pt x="3054" y="814"/>
                  <a:pt x="3207" y="814"/>
                </a:cubicBezTo>
                <a:close/>
                <a:moveTo>
                  <a:pt x="3226" y="320"/>
                </a:moveTo>
                <a:cubicBezTo>
                  <a:pt x="3345" y="320"/>
                  <a:pt x="3421" y="410"/>
                  <a:pt x="3421" y="525"/>
                </a:cubicBezTo>
                <a:cubicBezTo>
                  <a:pt x="3421" y="640"/>
                  <a:pt x="3345" y="729"/>
                  <a:pt x="3226" y="729"/>
                </a:cubicBezTo>
                <a:cubicBezTo>
                  <a:pt x="3107" y="729"/>
                  <a:pt x="3031" y="640"/>
                  <a:pt x="3031" y="525"/>
                </a:cubicBezTo>
                <a:cubicBezTo>
                  <a:pt x="3031" y="410"/>
                  <a:pt x="3107" y="320"/>
                  <a:pt x="3226" y="320"/>
                </a:cubicBezTo>
                <a:close/>
                <a:moveTo>
                  <a:pt x="5626" y="1344"/>
                </a:moveTo>
                <a:cubicBezTo>
                  <a:pt x="5625" y="1344"/>
                  <a:pt x="5625" y="1344"/>
                  <a:pt x="5625" y="1344"/>
                </a:cubicBezTo>
                <a:cubicBezTo>
                  <a:pt x="5607" y="1324"/>
                  <a:pt x="5584" y="1312"/>
                  <a:pt x="5557" y="1312"/>
                </a:cubicBezTo>
                <a:cubicBezTo>
                  <a:pt x="5497" y="1312"/>
                  <a:pt x="5457" y="1354"/>
                  <a:pt x="5457" y="1412"/>
                </a:cubicBezTo>
                <a:cubicBezTo>
                  <a:pt x="5457" y="1469"/>
                  <a:pt x="5498" y="1512"/>
                  <a:pt x="5552" y="1512"/>
                </a:cubicBezTo>
                <a:cubicBezTo>
                  <a:pt x="5586" y="1512"/>
                  <a:pt x="5613" y="1495"/>
                  <a:pt x="5625" y="1473"/>
                </a:cubicBezTo>
                <a:cubicBezTo>
                  <a:pt x="5626" y="1473"/>
                  <a:pt x="5626" y="1473"/>
                  <a:pt x="5626" y="1473"/>
                </a:cubicBezTo>
                <a:cubicBezTo>
                  <a:pt x="5626" y="1507"/>
                  <a:pt x="5626" y="1507"/>
                  <a:pt x="5626" y="1507"/>
                </a:cubicBezTo>
                <a:cubicBezTo>
                  <a:pt x="5657" y="1507"/>
                  <a:pt x="5657" y="1507"/>
                  <a:pt x="5657" y="1507"/>
                </a:cubicBezTo>
                <a:cubicBezTo>
                  <a:pt x="5657" y="1200"/>
                  <a:pt x="5657" y="1200"/>
                  <a:pt x="5657" y="1200"/>
                </a:cubicBezTo>
                <a:cubicBezTo>
                  <a:pt x="5626" y="1200"/>
                  <a:pt x="5626" y="1200"/>
                  <a:pt x="5626" y="1200"/>
                </a:cubicBezTo>
                <a:lnTo>
                  <a:pt x="5626" y="1344"/>
                </a:lnTo>
                <a:close/>
                <a:moveTo>
                  <a:pt x="5558" y="1482"/>
                </a:moveTo>
                <a:cubicBezTo>
                  <a:pt x="5517" y="1482"/>
                  <a:pt x="5491" y="1452"/>
                  <a:pt x="5491" y="1412"/>
                </a:cubicBezTo>
                <a:cubicBezTo>
                  <a:pt x="5491" y="1372"/>
                  <a:pt x="5517" y="1341"/>
                  <a:pt x="5558" y="1341"/>
                </a:cubicBezTo>
                <a:cubicBezTo>
                  <a:pt x="5599" y="1341"/>
                  <a:pt x="5626" y="1372"/>
                  <a:pt x="5626" y="1412"/>
                </a:cubicBezTo>
                <a:cubicBezTo>
                  <a:pt x="5626" y="1452"/>
                  <a:pt x="5599" y="1482"/>
                  <a:pt x="5558" y="1482"/>
                </a:cubicBezTo>
                <a:close/>
                <a:moveTo>
                  <a:pt x="5793" y="1312"/>
                </a:moveTo>
                <a:cubicBezTo>
                  <a:pt x="5737" y="1312"/>
                  <a:pt x="5695" y="1353"/>
                  <a:pt x="5695" y="1412"/>
                </a:cubicBezTo>
                <a:cubicBezTo>
                  <a:pt x="5695" y="1467"/>
                  <a:pt x="5732" y="1512"/>
                  <a:pt x="5792" y="1512"/>
                </a:cubicBezTo>
                <a:cubicBezTo>
                  <a:pt x="5827" y="1512"/>
                  <a:pt x="5854" y="1501"/>
                  <a:pt x="5876" y="1472"/>
                </a:cubicBezTo>
                <a:cubicBezTo>
                  <a:pt x="5852" y="1454"/>
                  <a:pt x="5852" y="1454"/>
                  <a:pt x="5852" y="1454"/>
                </a:cubicBezTo>
                <a:cubicBezTo>
                  <a:pt x="5837" y="1473"/>
                  <a:pt x="5819" y="1482"/>
                  <a:pt x="5792" y="1482"/>
                </a:cubicBezTo>
                <a:cubicBezTo>
                  <a:pt x="5757" y="1482"/>
                  <a:pt x="5732" y="1454"/>
                  <a:pt x="5729" y="1421"/>
                </a:cubicBezTo>
                <a:cubicBezTo>
                  <a:pt x="5883" y="1421"/>
                  <a:pt x="5883" y="1421"/>
                  <a:pt x="5883" y="1421"/>
                </a:cubicBezTo>
                <a:cubicBezTo>
                  <a:pt x="5883" y="1411"/>
                  <a:pt x="5883" y="1411"/>
                  <a:pt x="5883" y="1411"/>
                </a:cubicBezTo>
                <a:cubicBezTo>
                  <a:pt x="5883" y="1348"/>
                  <a:pt x="5846" y="1312"/>
                  <a:pt x="5793" y="1312"/>
                </a:cubicBezTo>
                <a:close/>
                <a:moveTo>
                  <a:pt x="5729" y="1395"/>
                </a:moveTo>
                <a:cubicBezTo>
                  <a:pt x="5733" y="1363"/>
                  <a:pt x="5757" y="1341"/>
                  <a:pt x="5792" y="1341"/>
                </a:cubicBezTo>
                <a:cubicBezTo>
                  <a:pt x="5827" y="1341"/>
                  <a:pt x="5848" y="1363"/>
                  <a:pt x="5849" y="1395"/>
                </a:cubicBezTo>
                <a:lnTo>
                  <a:pt x="5729" y="1395"/>
                </a:lnTo>
                <a:close/>
                <a:moveTo>
                  <a:pt x="6059" y="1317"/>
                </a:moveTo>
                <a:cubicBezTo>
                  <a:pt x="6093" y="1317"/>
                  <a:pt x="6093" y="1317"/>
                  <a:pt x="6093" y="1317"/>
                </a:cubicBezTo>
                <a:cubicBezTo>
                  <a:pt x="6018" y="1507"/>
                  <a:pt x="6018" y="1507"/>
                  <a:pt x="6018" y="1507"/>
                </a:cubicBezTo>
                <a:cubicBezTo>
                  <a:pt x="5983" y="1507"/>
                  <a:pt x="5983" y="1507"/>
                  <a:pt x="5983" y="1507"/>
                </a:cubicBezTo>
                <a:cubicBezTo>
                  <a:pt x="5905" y="1317"/>
                  <a:pt x="5905" y="1317"/>
                  <a:pt x="5905" y="1317"/>
                </a:cubicBezTo>
                <a:cubicBezTo>
                  <a:pt x="5942" y="1317"/>
                  <a:pt x="5942" y="1317"/>
                  <a:pt x="5942" y="1317"/>
                </a:cubicBezTo>
                <a:cubicBezTo>
                  <a:pt x="6001" y="1466"/>
                  <a:pt x="6001" y="1466"/>
                  <a:pt x="6001" y="1466"/>
                </a:cubicBezTo>
                <a:cubicBezTo>
                  <a:pt x="6002" y="1466"/>
                  <a:pt x="6002" y="1466"/>
                  <a:pt x="6002" y="1466"/>
                </a:cubicBezTo>
                <a:lnTo>
                  <a:pt x="6059" y="1317"/>
                </a:lnTo>
                <a:close/>
                <a:moveTo>
                  <a:pt x="6211" y="1312"/>
                </a:moveTo>
                <a:cubicBezTo>
                  <a:pt x="6155" y="1312"/>
                  <a:pt x="6114" y="1353"/>
                  <a:pt x="6114" y="1412"/>
                </a:cubicBezTo>
                <a:cubicBezTo>
                  <a:pt x="6114" y="1467"/>
                  <a:pt x="6150" y="1512"/>
                  <a:pt x="6210" y="1512"/>
                </a:cubicBezTo>
                <a:cubicBezTo>
                  <a:pt x="6245" y="1512"/>
                  <a:pt x="6272" y="1501"/>
                  <a:pt x="6295" y="1472"/>
                </a:cubicBezTo>
                <a:cubicBezTo>
                  <a:pt x="6271" y="1454"/>
                  <a:pt x="6271" y="1454"/>
                  <a:pt x="6271" y="1454"/>
                </a:cubicBezTo>
                <a:cubicBezTo>
                  <a:pt x="6256" y="1473"/>
                  <a:pt x="6237" y="1482"/>
                  <a:pt x="6210" y="1482"/>
                </a:cubicBezTo>
                <a:cubicBezTo>
                  <a:pt x="6176" y="1482"/>
                  <a:pt x="6150" y="1454"/>
                  <a:pt x="6148" y="1421"/>
                </a:cubicBezTo>
                <a:cubicBezTo>
                  <a:pt x="6302" y="1421"/>
                  <a:pt x="6302" y="1421"/>
                  <a:pt x="6302" y="1421"/>
                </a:cubicBezTo>
                <a:cubicBezTo>
                  <a:pt x="6302" y="1411"/>
                  <a:pt x="6302" y="1411"/>
                  <a:pt x="6302" y="1411"/>
                </a:cubicBezTo>
                <a:cubicBezTo>
                  <a:pt x="6302" y="1348"/>
                  <a:pt x="6265" y="1312"/>
                  <a:pt x="6211" y="1312"/>
                </a:cubicBezTo>
                <a:close/>
                <a:moveTo>
                  <a:pt x="6148" y="1395"/>
                </a:moveTo>
                <a:cubicBezTo>
                  <a:pt x="6152" y="1363"/>
                  <a:pt x="6175" y="1341"/>
                  <a:pt x="6210" y="1341"/>
                </a:cubicBezTo>
                <a:cubicBezTo>
                  <a:pt x="6245" y="1341"/>
                  <a:pt x="6266" y="1363"/>
                  <a:pt x="6267" y="1395"/>
                </a:cubicBezTo>
                <a:lnTo>
                  <a:pt x="6148" y="1395"/>
                </a:lnTo>
                <a:close/>
                <a:moveTo>
                  <a:pt x="6354" y="1200"/>
                </a:moveTo>
                <a:cubicBezTo>
                  <a:pt x="6386" y="1200"/>
                  <a:pt x="6386" y="1200"/>
                  <a:pt x="6386" y="1200"/>
                </a:cubicBezTo>
                <a:cubicBezTo>
                  <a:pt x="6386" y="1507"/>
                  <a:pt x="6386" y="1507"/>
                  <a:pt x="6386" y="1507"/>
                </a:cubicBezTo>
                <a:cubicBezTo>
                  <a:pt x="6354" y="1507"/>
                  <a:pt x="6354" y="1507"/>
                  <a:pt x="6354" y="1507"/>
                </a:cubicBezTo>
                <a:lnTo>
                  <a:pt x="6354" y="1200"/>
                </a:lnTo>
                <a:close/>
                <a:moveTo>
                  <a:pt x="6534" y="1312"/>
                </a:moveTo>
                <a:cubicBezTo>
                  <a:pt x="6476" y="1312"/>
                  <a:pt x="6433" y="1352"/>
                  <a:pt x="6433" y="1412"/>
                </a:cubicBezTo>
                <a:cubicBezTo>
                  <a:pt x="6433" y="1471"/>
                  <a:pt x="6476" y="1512"/>
                  <a:pt x="6534" y="1512"/>
                </a:cubicBezTo>
                <a:cubicBezTo>
                  <a:pt x="6593" y="1512"/>
                  <a:pt x="6636" y="1471"/>
                  <a:pt x="6636" y="1412"/>
                </a:cubicBezTo>
                <a:cubicBezTo>
                  <a:pt x="6636" y="1352"/>
                  <a:pt x="6593" y="1312"/>
                  <a:pt x="6534" y="1312"/>
                </a:cubicBezTo>
                <a:close/>
                <a:moveTo>
                  <a:pt x="6534" y="1482"/>
                </a:moveTo>
                <a:cubicBezTo>
                  <a:pt x="6493" y="1482"/>
                  <a:pt x="6467" y="1452"/>
                  <a:pt x="6467" y="1412"/>
                </a:cubicBezTo>
                <a:cubicBezTo>
                  <a:pt x="6467" y="1372"/>
                  <a:pt x="6493" y="1341"/>
                  <a:pt x="6534" y="1341"/>
                </a:cubicBezTo>
                <a:cubicBezTo>
                  <a:pt x="6575" y="1341"/>
                  <a:pt x="6602" y="1372"/>
                  <a:pt x="6602" y="1412"/>
                </a:cubicBezTo>
                <a:cubicBezTo>
                  <a:pt x="6602" y="1452"/>
                  <a:pt x="6575" y="1482"/>
                  <a:pt x="6534" y="1482"/>
                </a:cubicBezTo>
                <a:close/>
                <a:moveTo>
                  <a:pt x="6782" y="1312"/>
                </a:moveTo>
                <a:cubicBezTo>
                  <a:pt x="6754" y="1312"/>
                  <a:pt x="6731" y="1324"/>
                  <a:pt x="6713" y="1344"/>
                </a:cubicBezTo>
                <a:cubicBezTo>
                  <a:pt x="6713" y="1344"/>
                  <a:pt x="6713" y="1344"/>
                  <a:pt x="6713" y="1344"/>
                </a:cubicBezTo>
                <a:cubicBezTo>
                  <a:pt x="6713" y="1317"/>
                  <a:pt x="6713" y="1317"/>
                  <a:pt x="6713" y="1317"/>
                </a:cubicBezTo>
                <a:cubicBezTo>
                  <a:pt x="6681" y="1317"/>
                  <a:pt x="6681" y="1317"/>
                  <a:pt x="6681" y="1317"/>
                </a:cubicBezTo>
                <a:cubicBezTo>
                  <a:pt x="6681" y="1600"/>
                  <a:pt x="6681" y="1600"/>
                  <a:pt x="6681" y="1600"/>
                </a:cubicBezTo>
                <a:cubicBezTo>
                  <a:pt x="6713" y="1600"/>
                  <a:pt x="6713" y="1600"/>
                  <a:pt x="6713" y="1600"/>
                </a:cubicBezTo>
                <a:cubicBezTo>
                  <a:pt x="6713" y="1473"/>
                  <a:pt x="6713" y="1473"/>
                  <a:pt x="6713" y="1473"/>
                </a:cubicBezTo>
                <a:cubicBezTo>
                  <a:pt x="6713" y="1473"/>
                  <a:pt x="6713" y="1473"/>
                  <a:pt x="6713" y="1473"/>
                </a:cubicBezTo>
                <a:cubicBezTo>
                  <a:pt x="6725" y="1495"/>
                  <a:pt x="6752" y="1512"/>
                  <a:pt x="6786" y="1512"/>
                </a:cubicBezTo>
                <a:cubicBezTo>
                  <a:pt x="6840" y="1512"/>
                  <a:pt x="6882" y="1469"/>
                  <a:pt x="6882" y="1412"/>
                </a:cubicBezTo>
                <a:cubicBezTo>
                  <a:pt x="6882" y="1354"/>
                  <a:pt x="6841" y="1312"/>
                  <a:pt x="6782" y="1312"/>
                </a:cubicBezTo>
                <a:close/>
                <a:moveTo>
                  <a:pt x="6780" y="1482"/>
                </a:moveTo>
                <a:cubicBezTo>
                  <a:pt x="6739" y="1482"/>
                  <a:pt x="6713" y="1452"/>
                  <a:pt x="6713" y="1412"/>
                </a:cubicBezTo>
                <a:cubicBezTo>
                  <a:pt x="6713" y="1372"/>
                  <a:pt x="6739" y="1341"/>
                  <a:pt x="6780" y="1341"/>
                </a:cubicBezTo>
                <a:cubicBezTo>
                  <a:pt x="6821" y="1341"/>
                  <a:pt x="6847" y="1372"/>
                  <a:pt x="6847" y="1412"/>
                </a:cubicBezTo>
                <a:cubicBezTo>
                  <a:pt x="6847" y="1452"/>
                  <a:pt x="6821" y="1482"/>
                  <a:pt x="6780" y="1482"/>
                </a:cubicBezTo>
                <a:close/>
                <a:moveTo>
                  <a:pt x="7213" y="1391"/>
                </a:moveTo>
                <a:cubicBezTo>
                  <a:pt x="7213" y="1507"/>
                  <a:pt x="7213" y="1507"/>
                  <a:pt x="7213" y="1507"/>
                </a:cubicBezTo>
                <a:cubicBezTo>
                  <a:pt x="7181" y="1507"/>
                  <a:pt x="7181" y="1507"/>
                  <a:pt x="7181" y="1507"/>
                </a:cubicBezTo>
                <a:cubicBezTo>
                  <a:pt x="7181" y="1393"/>
                  <a:pt x="7181" y="1393"/>
                  <a:pt x="7181" y="1393"/>
                </a:cubicBezTo>
                <a:cubicBezTo>
                  <a:pt x="7181" y="1367"/>
                  <a:pt x="7172" y="1341"/>
                  <a:pt x="7135" y="1341"/>
                </a:cubicBezTo>
                <a:cubicBezTo>
                  <a:pt x="7108" y="1341"/>
                  <a:pt x="7086" y="1363"/>
                  <a:pt x="7086" y="1397"/>
                </a:cubicBezTo>
                <a:cubicBezTo>
                  <a:pt x="7086" y="1507"/>
                  <a:pt x="7086" y="1507"/>
                  <a:pt x="7086" y="1507"/>
                </a:cubicBezTo>
                <a:cubicBezTo>
                  <a:pt x="7054" y="1507"/>
                  <a:pt x="7054" y="1507"/>
                  <a:pt x="7054" y="1507"/>
                </a:cubicBezTo>
                <a:cubicBezTo>
                  <a:pt x="7054" y="1399"/>
                  <a:pt x="7054" y="1399"/>
                  <a:pt x="7054" y="1399"/>
                </a:cubicBezTo>
                <a:cubicBezTo>
                  <a:pt x="7054" y="1357"/>
                  <a:pt x="7043" y="1341"/>
                  <a:pt x="7017" y="1341"/>
                </a:cubicBezTo>
                <a:cubicBezTo>
                  <a:pt x="6976" y="1341"/>
                  <a:pt x="6958" y="1371"/>
                  <a:pt x="6958" y="1414"/>
                </a:cubicBezTo>
                <a:cubicBezTo>
                  <a:pt x="6958" y="1507"/>
                  <a:pt x="6958" y="1507"/>
                  <a:pt x="6958" y="1507"/>
                </a:cubicBezTo>
                <a:cubicBezTo>
                  <a:pt x="6927" y="1507"/>
                  <a:pt x="6927" y="1507"/>
                  <a:pt x="6927" y="1507"/>
                </a:cubicBezTo>
                <a:cubicBezTo>
                  <a:pt x="6927" y="1362"/>
                  <a:pt x="6927" y="1362"/>
                  <a:pt x="6927" y="1362"/>
                </a:cubicBezTo>
                <a:cubicBezTo>
                  <a:pt x="6927" y="1344"/>
                  <a:pt x="6925" y="1329"/>
                  <a:pt x="6925" y="1317"/>
                </a:cubicBezTo>
                <a:cubicBezTo>
                  <a:pt x="6955" y="1317"/>
                  <a:pt x="6955" y="1317"/>
                  <a:pt x="6955" y="1317"/>
                </a:cubicBezTo>
                <a:cubicBezTo>
                  <a:pt x="6955" y="1327"/>
                  <a:pt x="6956" y="1337"/>
                  <a:pt x="6956" y="1348"/>
                </a:cubicBezTo>
                <a:cubicBezTo>
                  <a:pt x="6957" y="1348"/>
                  <a:pt x="6957" y="1348"/>
                  <a:pt x="6957" y="1348"/>
                </a:cubicBezTo>
                <a:cubicBezTo>
                  <a:pt x="6965" y="1329"/>
                  <a:pt x="6989" y="1312"/>
                  <a:pt x="7020" y="1312"/>
                </a:cubicBezTo>
                <a:cubicBezTo>
                  <a:pt x="7061" y="1312"/>
                  <a:pt x="7074" y="1335"/>
                  <a:pt x="7080" y="1348"/>
                </a:cubicBezTo>
                <a:cubicBezTo>
                  <a:pt x="7094" y="1326"/>
                  <a:pt x="7112" y="1312"/>
                  <a:pt x="7140" y="1312"/>
                </a:cubicBezTo>
                <a:cubicBezTo>
                  <a:pt x="7195" y="1312"/>
                  <a:pt x="7213" y="1342"/>
                  <a:pt x="7213" y="1391"/>
                </a:cubicBezTo>
                <a:close/>
                <a:moveTo>
                  <a:pt x="7356" y="1312"/>
                </a:moveTo>
                <a:cubicBezTo>
                  <a:pt x="7300" y="1312"/>
                  <a:pt x="7258" y="1353"/>
                  <a:pt x="7258" y="1412"/>
                </a:cubicBezTo>
                <a:cubicBezTo>
                  <a:pt x="7258" y="1467"/>
                  <a:pt x="7295" y="1512"/>
                  <a:pt x="7354" y="1512"/>
                </a:cubicBezTo>
                <a:cubicBezTo>
                  <a:pt x="7390" y="1512"/>
                  <a:pt x="7417" y="1501"/>
                  <a:pt x="7439" y="1472"/>
                </a:cubicBezTo>
                <a:cubicBezTo>
                  <a:pt x="7415" y="1454"/>
                  <a:pt x="7415" y="1454"/>
                  <a:pt x="7415" y="1454"/>
                </a:cubicBezTo>
                <a:cubicBezTo>
                  <a:pt x="7400" y="1473"/>
                  <a:pt x="7382" y="1482"/>
                  <a:pt x="7354" y="1482"/>
                </a:cubicBezTo>
                <a:cubicBezTo>
                  <a:pt x="7320" y="1482"/>
                  <a:pt x="7295" y="1454"/>
                  <a:pt x="7292" y="1421"/>
                </a:cubicBezTo>
                <a:cubicBezTo>
                  <a:pt x="7446" y="1421"/>
                  <a:pt x="7446" y="1421"/>
                  <a:pt x="7446" y="1421"/>
                </a:cubicBezTo>
                <a:cubicBezTo>
                  <a:pt x="7446" y="1411"/>
                  <a:pt x="7446" y="1411"/>
                  <a:pt x="7446" y="1411"/>
                </a:cubicBezTo>
                <a:cubicBezTo>
                  <a:pt x="7446" y="1348"/>
                  <a:pt x="7409" y="1312"/>
                  <a:pt x="7356" y="1312"/>
                </a:cubicBezTo>
                <a:close/>
                <a:moveTo>
                  <a:pt x="7292" y="1395"/>
                </a:moveTo>
                <a:cubicBezTo>
                  <a:pt x="7296" y="1363"/>
                  <a:pt x="7320" y="1341"/>
                  <a:pt x="7354" y="1341"/>
                </a:cubicBezTo>
                <a:cubicBezTo>
                  <a:pt x="7389" y="1341"/>
                  <a:pt x="7411" y="1363"/>
                  <a:pt x="7412" y="1395"/>
                </a:cubicBezTo>
                <a:lnTo>
                  <a:pt x="7292" y="1395"/>
                </a:lnTo>
                <a:close/>
                <a:moveTo>
                  <a:pt x="7657" y="1389"/>
                </a:moveTo>
                <a:cubicBezTo>
                  <a:pt x="7657" y="1507"/>
                  <a:pt x="7657" y="1507"/>
                  <a:pt x="7657" y="1507"/>
                </a:cubicBezTo>
                <a:cubicBezTo>
                  <a:pt x="7625" y="1507"/>
                  <a:pt x="7625" y="1507"/>
                  <a:pt x="7625" y="1507"/>
                </a:cubicBezTo>
                <a:cubicBezTo>
                  <a:pt x="7625" y="1393"/>
                  <a:pt x="7625" y="1393"/>
                  <a:pt x="7625" y="1393"/>
                </a:cubicBezTo>
                <a:cubicBezTo>
                  <a:pt x="7625" y="1361"/>
                  <a:pt x="7611" y="1341"/>
                  <a:pt x="7582" y="1341"/>
                </a:cubicBezTo>
                <a:cubicBezTo>
                  <a:pt x="7541" y="1341"/>
                  <a:pt x="7523" y="1371"/>
                  <a:pt x="7523" y="1414"/>
                </a:cubicBezTo>
                <a:cubicBezTo>
                  <a:pt x="7523" y="1507"/>
                  <a:pt x="7523" y="1507"/>
                  <a:pt x="7523" y="1507"/>
                </a:cubicBezTo>
                <a:cubicBezTo>
                  <a:pt x="7491" y="1507"/>
                  <a:pt x="7491" y="1507"/>
                  <a:pt x="7491" y="1507"/>
                </a:cubicBezTo>
                <a:cubicBezTo>
                  <a:pt x="7491" y="1362"/>
                  <a:pt x="7491" y="1362"/>
                  <a:pt x="7491" y="1362"/>
                </a:cubicBezTo>
                <a:cubicBezTo>
                  <a:pt x="7491" y="1344"/>
                  <a:pt x="7489" y="1329"/>
                  <a:pt x="7489" y="1317"/>
                </a:cubicBezTo>
                <a:cubicBezTo>
                  <a:pt x="7519" y="1317"/>
                  <a:pt x="7519" y="1317"/>
                  <a:pt x="7519" y="1317"/>
                </a:cubicBezTo>
                <a:cubicBezTo>
                  <a:pt x="7519" y="1327"/>
                  <a:pt x="7520" y="1337"/>
                  <a:pt x="7520" y="1348"/>
                </a:cubicBezTo>
                <a:cubicBezTo>
                  <a:pt x="7521" y="1348"/>
                  <a:pt x="7521" y="1348"/>
                  <a:pt x="7521" y="1348"/>
                </a:cubicBezTo>
                <a:cubicBezTo>
                  <a:pt x="7530" y="1329"/>
                  <a:pt x="7553" y="1312"/>
                  <a:pt x="7584" y="1312"/>
                </a:cubicBezTo>
                <a:cubicBezTo>
                  <a:pt x="7634" y="1312"/>
                  <a:pt x="7657" y="1343"/>
                  <a:pt x="7657" y="1389"/>
                </a:cubicBezTo>
                <a:close/>
                <a:moveTo>
                  <a:pt x="7817" y="1505"/>
                </a:moveTo>
                <a:cubicBezTo>
                  <a:pt x="7806" y="1510"/>
                  <a:pt x="7792" y="1512"/>
                  <a:pt x="7780" y="1512"/>
                </a:cubicBezTo>
                <a:cubicBezTo>
                  <a:pt x="7735" y="1512"/>
                  <a:pt x="7728" y="1487"/>
                  <a:pt x="7728" y="1448"/>
                </a:cubicBezTo>
                <a:cubicBezTo>
                  <a:pt x="7728" y="1343"/>
                  <a:pt x="7728" y="1343"/>
                  <a:pt x="7728" y="1343"/>
                </a:cubicBezTo>
                <a:cubicBezTo>
                  <a:pt x="7686" y="1343"/>
                  <a:pt x="7686" y="1343"/>
                  <a:pt x="7686" y="1343"/>
                </a:cubicBezTo>
                <a:cubicBezTo>
                  <a:pt x="7686" y="1317"/>
                  <a:pt x="7686" y="1317"/>
                  <a:pt x="7686" y="1317"/>
                </a:cubicBezTo>
                <a:cubicBezTo>
                  <a:pt x="7728" y="1317"/>
                  <a:pt x="7728" y="1317"/>
                  <a:pt x="7728" y="1317"/>
                </a:cubicBezTo>
                <a:cubicBezTo>
                  <a:pt x="7728" y="1263"/>
                  <a:pt x="7728" y="1263"/>
                  <a:pt x="7728" y="1263"/>
                </a:cubicBezTo>
                <a:cubicBezTo>
                  <a:pt x="7759" y="1263"/>
                  <a:pt x="7759" y="1263"/>
                  <a:pt x="7759" y="1263"/>
                </a:cubicBezTo>
                <a:cubicBezTo>
                  <a:pt x="7759" y="1317"/>
                  <a:pt x="7759" y="1317"/>
                  <a:pt x="7759" y="1317"/>
                </a:cubicBezTo>
                <a:cubicBezTo>
                  <a:pt x="7815" y="1317"/>
                  <a:pt x="7815" y="1317"/>
                  <a:pt x="7815" y="1317"/>
                </a:cubicBezTo>
                <a:cubicBezTo>
                  <a:pt x="7815" y="1343"/>
                  <a:pt x="7815" y="1343"/>
                  <a:pt x="7815" y="1343"/>
                </a:cubicBezTo>
                <a:cubicBezTo>
                  <a:pt x="7759" y="1343"/>
                  <a:pt x="7759" y="1343"/>
                  <a:pt x="7759" y="1343"/>
                </a:cubicBezTo>
                <a:cubicBezTo>
                  <a:pt x="7759" y="1439"/>
                  <a:pt x="7759" y="1439"/>
                  <a:pt x="7759" y="1439"/>
                </a:cubicBezTo>
                <a:cubicBezTo>
                  <a:pt x="7759" y="1463"/>
                  <a:pt x="7760" y="1482"/>
                  <a:pt x="7788" y="1482"/>
                </a:cubicBezTo>
                <a:cubicBezTo>
                  <a:pt x="7797" y="1482"/>
                  <a:pt x="7807" y="1480"/>
                  <a:pt x="7816" y="1476"/>
                </a:cubicBezTo>
                <a:lnTo>
                  <a:pt x="7817" y="1505"/>
                </a:lnTo>
                <a:close/>
                <a:moveTo>
                  <a:pt x="3842" y="1312"/>
                </a:moveTo>
                <a:cubicBezTo>
                  <a:pt x="3815" y="1312"/>
                  <a:pt x="3791" y="1324"/>
                  <a:pt x="3774" y="1344"/>
                </a:cubicBezTo>
                <a:cubicBezTo>
                  <a:pt x="3773" y="1344"/>
                  <a:pt x="3773" y="1344"/>
                  <a:pt x="3773" y="1344"/>
                </a:cubicBezTo>
                <a:cubicBezTo>
                  <a:pt x="3773" y="1317"/>
                  <a:pt x="3773" y="1317"/>
                  <a:pt x="3773" y="1317"/>
                </a:cubicBezTo>
                <a:cubicBezTo>
                  <a:pt x="3741" y="1317"/>
                  <a:pt x="3741" y="1317"/>
                  <a:pt x="3741" y="1317"/>
                </a:cubicBezTo>
                <a:cubicBezTo>
                  <a:pt x="3741" y="1600"/>
                  <a:pt x="3741" y="1600"/>
                  <a:pt x="3741" y="1600"/>
                </a:cubicBezTo>
                <a:cubicBezTo>
                  <a:pt x="3773" y="1600"/>
                  <a:pt x="3773" y="1600"/>
                  <a:pt x="3773" y="1600"/>
                </a:cubicBezTo>
                <a:cubicBezTo>
                  <a:pt x="3773" y="1473"/>
                  <a:pt x="3773" y="1473"/>
                  <a:pt x="3773" y="1473"/>
                </a:cubicBezTo>
                <a:cubicBezTo>
                  <a:pt x="3774" y="1473"/>
                  <a:pt x="3774" y="1473"/>
                  <a:pt x="3774" y="1473"/>
                </a:cubicBezTo>
                <a:cubicBezTo>
                  <a:pt x="3786" y="1495"/>
                  <a:pt x="3813" y="1512"/>
                  <a:pt x="3847" y="1512"/>
                </a:cubicBezTo>
                <a:cubicBezTo>
                  <a:pt x="3900" y="1512"/>
                  <a:pt x="3942" y="1469"/>
                  <a:pt x="3942" y="1412"/>
                </a:cubicBezTo>
                <a:cubicBezTo>
                  <a:pt x="3942" y="1354"/>
                  <a:pt x="3902" y="1312"/>
                  <a:pt x="3842" y="1312"/>
                </a:cubicBezTo>
                <a:close/>
                <a:moveTo>
                  <a:pt x="3841" y="1482"/>
                </a:moveTo>
                <a:cubicBezTo>
                  <a:pt x="3800" y="1482"/>
                  <a:pt x="3773" y="1452"/>
                  <a:pt x="3773" y="1412"/>
                </a:cubicBezTo>
                <a:cubicBezTo>
                  <a:pt x="3773" y="1372"/>
                  <a:pt x="3800" y="1341"/>
                  <a:pt x="3841" y="1341"/>
                </a:cubicBezTo>
                <a:cubicBezTo>
                  <a:pt x="3882" y="1341"/>
                  <a:pt x="3908" y="1372"/>
                  <a:pt x="3908" y="1412"/>
                </a:cubicBezTo>
                <a:cubicBezTo>
                  <a:pt x="3908" y="1452"/>
                  <a:pt x="3882" y="1482"/>
                  <a:pt x="3841" y="1482"/>
                </a:cubicBezTo>
                <a:close/>
                <a:moveTo>
                  <a:pt x="4078" y="1312"/>
                </a:moveTo>
                <a:cubicBezTo>
                  <a:pt x="4082" y="1312"/>
                  <a:pt x="4087" y="1312"/>
                  <a:pt x="4091" y="1314"/>
                </a:cubicBezTo>
                <a:cubicBezTo>
                  <a:pt x="4089" y="1346"/>
                  <a:pt x="4089" y="1346"/>
                  <a:pt x="4089" y="1346"/>
                </a:cubicBezTo>
                <a:cubicBezTo>
                  <a:pt x="4084" y="1344"/>
                  <a:pt x="4078" y="1343"/>
                  <a:pt x="4072" y="1343"/>
                </a:cubicBezTo>
                <a:cubicBezTo>
                  <a:pt x="4033" y="1343"/>
                  <a:pt x="4016" y="1371"/>
                  <a:pt x="4016" y="1414"/>
                </a:cubicBezTo>
                <a:cubicBezTo>
                  <a:pt x="4016" y="1507"/>
                  <a:pt x="4016" y="1507"/>
                  <a:pt x="4016" y="1507"/>
                </a:cubicBezTo>
                <a:cubicBezTo>
                  <a:pt x="3985" y="1507"/>
                  <a:pt x="3985" y="1507"/>
                  <a:pt x="3985" y="1507"/>
                </a:cubicBezTo>
                <a:cubicBezTo>
                  <a:pt x="3985" y="1362"/>
                  <a:pt x="3985" y="1362"/>
                  <a:pt x="3985" y="1362"/>
                </a:cubicBezTo>
                <a:cubicBezTo>
                  <a:pt x="3985" y="1344"/>
                  <a:pt x="3983" y="1329"/>
                  <a:pt x="3983" y="1317"/>
                </a:cubicBezTo>
                <a:cubicBezTo>
                  <a:pt x="4013" y="1317"/>
                  <a:pt x="4013" y="1317"/>
                  <a:pt x="4013" y="1317"/>
                </a:cubicBezTo>
                <a:cubicBezTo>
                  <a:pt x="4013" y="1327"/>
                  <a:pt x="4014" y="1337"/>
                  <a:pt x="4014" y="1348"/>
                </a:cubicBezTo>
                <a:cubicBezTo>
                  <a:pt x="4015" y="1348"/>
                  <a:pt x="4015" y="1348"/>
                  <a:pt x="4015" y="1348"/>
                </a:cubicBezTo>
                <a:cubicBezTo>
                  <a:pt x="4023" y="1329"/>
                  <a:pt x="4047" y="1312"/>
                  <a:pt x="4078" y="1312"/>
                </a:cubicBezTo>
                <a:close/>
                <a:moveTo>
                  <a:pt x="4206" y="1312"/>
                </a:moveTo>
                <a:cubicBezTo>
                  <a:pt x="4147" y="1312"/>
                  <a:pt x="4104" y="1352"/>
                  <a:pt x="4104" y="1412"/>
                </a:cubicBezTo>
                <a:cubicBezTo>
                  <a:pt x="4104" y="1471"/>
                  <a:pt x="4147" y="1512"/>
                  <a:pt x="4206" y="1512"/>
                </a:cubicBezTo>
                <a:cubicBezTo>
                  <a:pt x="4264" y="1512"/>
                  <a:pt x="4307" y="1471"/>
                  <a:pt x="4307" y="1412"/>
                </a:cubicBezTo>
                <a:cubicBezTo>
                  <a:pt x="4307" y="1352"/>
                  <a:pt x="4264" y="1312"/>
                  <a:pt x="4206" y="1312"/>
                </a:cubicBezTo>
                <a:close/>
                <a:moveTo>
                  <a:pt x="4206" y="1482"/>
                </a:moveTo>
                <a:cubicBezTo>
                  <a:pt x="4165" y="1482"/>
                  <a:pt x="4138" y="1452"/>
                  <a:pt x="4138" y="1412"/>
                </a:cubicBezTo>
                <a:cubicBezTo>
                  <a:pt x="4138" y="1372"/>
                  <a:pt x="4165" y="1341"/>
                  <a:pt x="4206" y="1341"/>
                </a:cubicBezTo>
                <a:cubicBezTo>
                  <a:pt x="4247" y="1341"/>
                  <a:pt x="4273" y="1372"/>
                  <a:pt x="4273" y="1412"/>
                </a:cubicBezTo>
                <a:cubicBezTo>
                  <a:pt x="4273" y="1452"/>
                  <a:pt x="4247" y="1482"/>
                  <a:pt x="4206" y="1482"/>
                </a:cubicBezTo>
                <a:close/>
                <a:moveTo>
                  <a:pt x="4453" y="1312"/>
                </a:moveTo>
                <a:cubicBezTo>
                  <a:pt x="4425" y="1312"/>
                  <a:pt x="4402" y="1324"/>
                  <a:pt x="4385" y="1344"/>
                </a:cubicBezTo>
                <a:cubicBezTo>
                  <a:pt x="4384" y="1344"/>
                  <a:pt x="4384" y="1344"/>
                  <a:pt x="4384" y="1344"/>
                </a:cubicBezTo>
                <a:cubicBezTo>
                  <a:pt x="4384" y="1317"/>
                  <a:pt x="4384" y="1317"/>
                  <a:pt x="4384" y="1317"/>
                </a:cubicBezTo>
                <a:cubicBezTo>
                  <a:pt x="4352" y="1317"/>
                  <a:pt x="4352" y="1317"/>
                  <a:pt x="4352" y="1317"/>
                </a:cubicBezTo>
                <a:cubicBezTo>
                  <a:pt x="4352" y="1600"/>
                  <a:pt x="4352" y="1600"/>
                  <a:pt x="4352" y="1600"/>
                </a:cubicBezTo>
                <a:cubicBezTo>
                  <a:pt x="4384" y="1600"/>
                  <a:pt x="4384" y="1600"/>
                  <a:pt x="4384" y="1600"/>
                </a:cubicBezTo>
                <a:cubicBezTo>
                  <a:pt x="4384" y="1473"/>
                  <a:pt x="4384" y="1473"/>
                  <a:pt x="4384" y="1473"/>
                </a:cubicBezTo>
                <a:cubicBezTo>
                  <a:pt x="4385" y="1473"/>
                  <a:pt x="4385" y="1473"/>
                  <a:pt x="4385" y="1473"/>
                </a:cubicBezTo>
                <a:cubicBezTo>
                  <a:pt x="4396" y="1495"/>
                  <a:pt x="4424" y="1512"/>
                  <a:pt x="4458" y="1512"/>
                </a:cubicBezTo>
                <a:cubicBezTo>
                  <a:pt x="4511" y="1512"/>
                  <a:pt x="4553" y="1469"/>
                  <a:pt x="4553" y="1412"/>
                </a:cubicBezTo>
                <a:cubicBezTo>
                  <a:pt x="4553" y="1354"/>
                  <a:pt x="4513" y="1312"/>
                  <a:pt x="4453" y="1312"/>
                </a:cubicBezTo>
                <a:close/>
                <a:moveTo>
                  <a:pt x="4451" y="1482"/>
                </a:moveTo>
                <a:cubicBezTo>
                  <a:pt x="4410" y="1482"/>
                  <a:pt x="4384" y="1452"/>
                  <a:pt x="4384" y="1412"/>
                </a:cubicBezTo>
                <a:cubicBezTo>
                  <a:pt x="4384" y="1372"/>
                  <a:pt x="4410" y="1341"/>
                  <a:pt x="4451" y="1341"/>
                </a:cubicBezTo>
                <a:cubicBezTo>
                  <a:pt x="4492" y="1341"/>
                  <a:pt x="4519" y="1372"/>
                  <a:pt x="4519" y="1412"/>
                </a:cubicBezTo>
                <a:cubicBezTo>
                  <a:pt x="4519" y="1452"/>
                  <a:pt x="4492" y="1482"/>
                  <a:pt x="4451" y="1482"/>
                </a:cubicBezTo>
                <a:close/>
                <a:moveTo>
                  <a:pt x="4686" y="1312"/>
                </a:moveTo>
                <a:cubicBezTo>
                  <a:pt x="4630" y="1312"/>
                  <a:pt x="4588" y="1353"/>
                  <a:pt x="4588" y="1412"/>
                </a:cubicBezTo>
                <a:cubicBezTo>
                  <a:pt x="4588" y="1467"/>
                  <a:pt x="4625" y="1512"/>
                  <a:pt x="4685" y="1512"/>
                </a:cubicBezTo>
                <a:cubicBezTo>
                  <a:pt x="4720" y="1512"/>
                  <a:pt x="4747" y="1501"/>
                  <a:pt x="4769" y="1472"/>
                </a:cubicBezTo>
                <a:cubicBezTo>
                  <a:pt x="4745" y="1454"/>
                  <a:pt x="4745" y="1454"/>
                  <a:pt x="4745" y="1454"/>
                </a:cubicBezTo>
                <a:cubicBezTo>
                  <a:pt x="4730" y="1473"/>
                  <a:pt x="4712" y="1482"/>
                  <a:pt x="4685" y="1482"/>
                </a:cubicBezTo>
                <a:cubicBezTo>
                  <a:pt x="4650" y="1482"/>
                  <a:pt x="4625" y="1454"/>
                  <a:pt x="4623" y="1421"/>
                </a:cubicBezTo>
                <a:cubicBezTo>
                  <a:pt x="4776" y="1421"/>
                  <a:pt x="4776" y="1421"/>
                  <a:pt x="4776" y="1421"/>
                </a:cubicBezTo>
                <a:cubicBezTo>
                  <a:pt x="4776" y="1411"/>
                  <a:pt x="4776" y="1411"/>
                  <a:pt x="4776" y="1411"/>
                </a:cubicBezTo>
                <a:cubicBezTo>
                  <a:pt x="4776" y="1348"/>
                  <a:pt x="4740" y="1312"/>
                  <a:pt x="4686" y="1312"/>
                </a:cubicBezTo>
                <a:close/>
                <a:moveTo>
                  <a:pt x="4623" y="1395"/>
                </a:moveTo>
                <a:cubicBezTo>
                  <a:pt x="4627" y="1363"/>
                  <a:pt x="4650" y="1341"/>
                  <a:pt x="4685" y="1341"/>
                </a:cubicBezTo>
                <a:cubicBezTo>
                  <a:pt x="4720" y="1341"/>
                  <a:pt x="4741" y="1363"/>
                  <a:pt x="4742" y="1395"/>
                </a:cubicBezTo>
                <a:lnTo>
                  <a:pt x="4623" y="1395"/>
                </a:lnTo>
                <a:close/>
                <a:moveTo>
                  <a:pt x="4922" y="1312"/>
                </a:moveTo>
                <a:cubicBezTo>
                  <a:pt x="4926" y="1312"/>
                  <a:pt x="4930" y="1312"/>
                  <a:pt x="4935" y="1314"/>
                </a:cubicBezTo>
                <a:cubicBezTo>
                  <a:pt x="4933" y="1346"/>
                  <a:pt x="4933" y="1346"/>
                  <a:pt x="4933" y="1346"/>
                </a:cubicBezTo>
                <a:cubicBezTo>
                  <a:pt x="4927" y="1344"/>
                  <a:pt x="4921" y="1343"/>
                  <a:pt x="4916" y="1343"/>
                </a:cubicBezTo>
                <a:cubicBezTo>
                  <a:pt x="4877" y="1343"/>
                  <a:pt x="4860" y="1371"/>
                  <a:pt x="4860" y="1414"/>
                </a:cubicBezTo>
                <a:cubicBezTo>
                  <a:pt x="4860" y="1507"/>
                  <a:pt x="4860" y="1507"/>
                  <a:pt x="4860" y="1507"/>
                </a:cubicBezTo>
                <a:cubicBezTo>
                  <a:pt x="4828" y="1507"/>
                  <a:pt x="4828" y="1507"/>
                  <a:pt x="4828" y="1507"/>
                </a:cubicBezTo>
                <a:cubicBezTo>
                  <a:pt x="4828" y="1362"/>
                  <a:pt x="4828" y="1362"/>
                  <a:pt x="4828" y="1362"/>
                </a:cubicBezTo>
                <a:cubicBezTo>
                  <a:pt x="4828" y="1344"/>
                  <a:pt x="4827" y="1329"/>
                  <a:pt x="4827" y="1317"/>
                </a:cubicBezTo>
                <a:cubicBezTo>
                  <a:pt x="4857" y="1317"/>
                  <a:pt x="4857" y="1317"/>
                  <a:pt x="4857" y="1317"/>
                </a:cubicBezTo>
                <a:cubicBezTo>
                  <a:pt x="4857" y="1327"/>
                  <a:pt x="4858" y="1337"/>
                  <a:pt x="4858" y="1348"/>
                </a:cubicBezTo>
                <a:cubicBezTo>
                  <a:pt x="4858" y="1348"/>
                  <a:pt x="4858" y="1348"/>
                  <a:pt x="4858" y="1348"/>
                </a:cubicBezTo>
                <a:cubicBezTo>
                  <a:pt x="4867" y="1329"/>
                  <a:pt x="4890" y="1312"/>
                  <a:pt x="4922" y="1312"/>
                </a:cubicBezTo>
                <a:close/>
                <a:moveTo>
                  <a:pt x="5092" y="1476"/>
                </a:moveTo>
                <a:cubicBezTo>
                  <a:pt x="5094" y="1505"/>
                  <a:pt x="5094" y="1505"/>
                  <a:pt x="5094" y="1505"/>
                </a:cubicBezTo>
                <a:cubicBezTo>
                  <a:pt x="5083" y="1510"/>
                  <a:pt x="5068" y="1512"/>
                  <a:pt x="5057" y="1512"/>
                </a:cubicBezTo>
                <a:cubicBezTo>
                  <a:pt x="5012" y="1512"/>
                  <a:pt x="5004" y="1487"/>
                  <a:pt x="5004" y="1448"/>
                </a:cubicBezTo>
                <a:cubicBezTo>
                  <a:pt x="5004" y="1343"/>
                  <a:pt x="5004" y="1343"/>
                  <a:pt x="5004" y="1343"/>
                </a:cubicBezTo>
                <a:cubicBezTo>
                  <a:pt x="4963" y="1343"/>
                  <a:pt x="4963" y="1343"/>
                  <a:pt x="4963" y="1343"/>
                </a:cubicBezTo>
                <a:cubicBezTo>
                  <a:pt x="4963" y="1317"/>
                  <a:pt x="4963" y="1317"/>
                  <a:pt x="4963" y="1317"/>
                </a:cubicBezTo>
                <a:cubicBezTo>
                  <a:pt x="5004" y="1317"/>
                  <a:pt x="5004" y="1317"/>
                  <a:pt x="5004" y="1317"/>
                </a:cubicBezTo>
                <a:cubicBezTo>
                  <a:pt x="5004" y="1263"/>
                  <a:pt x="5004" y="1263"/>
                  <a:pt x="5004" y="1263"/>
                </a:cubicBezTo>
                <a:cubicBezTo>
                  <a:pt x="5036" y="1263"/>
                  <a:pt x="5036" y="1263"/>
                  <a:pt x="5036" y="1263"/>
                </a:cubicBezTo>
                <a:cubicBezTo>
                  <a:pt x="5036" y="1317"/>
                  <a:pt x="5036" y="1317"/>
                  <a:pt x="5036" y="1317"/>
                </a:cubicBezTo>
                <a:cubicBezTo>
                  <a:pt x="5092" y="1317"/>
                  <a:pt x="5092" y="1317"/>
                  <a:pt x="5092" y="1317"/>
                </a:cubicBezTo>
                <a:cubicBezTo>
                  <a:pt x="5092" y="1343"/>
                  <a:pt x="5092" y="1343"/>
                  <a:pt x="5092" y="1343"/>
                </a:cubicBezTo>
                <a:cubicBezTo>
                  <a:pt x="5036" y="1343"/>
                  <a:pt x="5036" y="1343"/>
                  <a:pt x="5036" y="1343"/>
                </a:cubicBezTo>
                <a:cubicBezTo>
                  <a:pt x="5036" y="1439"/>
                  <a:pt x="5036" y="1439"/>
                  <a:pt x="5036" y="1439"/>
                </a:cubicBezTo>
                <a:cubicBezTo>
                  <a:pt x="5036" y="1463"/>
                  <a:pt x="5036" y="1482"/>
                  <a:pt x="5064" y="1482"/>
                </a:cubicBezTo>
                <a:cubicBezTo>
                  <a:pt x="5074" y="1482"/>
                  <a:pt x="5084" y="1480"/>
                  <a:pt x="5092" y="1476"/>
                </a:cubicBezTo>
                <a:close/>
                <a:moveTo>
                  <a:pt x="5274" y="1317"/>
                </a:moveTo>
                <a:cubicBezTo>
                  <a:pt x="5309" y="1317"/>
                  <a:pt x="5309" y="1317"/>
                  <a:pt x="5309" y="1317"/>
                </a:cubicBezTo>
                <a:cubicBezTo>
                  <a:pt x="5217" y="1550"/>
                  <a:pt x="5217" y="1550"/>
                  <a:pt x="5217" y="1550"/>
                </a:cubicBezTo>
                <a:cubicBezTo>
                  <a:pt x="5204" y="1582"/>
                  <a:pt x="5192" y="1604"/>
                  <a:pt x="5153" y="1604"/>
                </a:cubicBezTo>
                <a:cubicBezTo>
                  <a:pt x="5145" y="1604"/>
                  <a:pt x="5133" y="1604"/>
                  <a:pt x="5125" y="1600"/>
                </a:cubicBezTo>
                <a:cubicBezTo>
                  <a:pt x="5129" y="1572"/>
                  <a:pt x="5129" y="1572"/>
                  <a:pt x="5129" y="1572"/>
                </a:cubicBezTo>
                <a:cubicBezTo>
                  <a:pt x="5136" y="1574"/>
                  <a:pt x="5142" y="1575"/>
                  <a:pt x="5151" y="1575"/>
                </a:cubicBezTo>
                <a:cubicBezTo>
                  <a:pt x="5172" y="1575"/>
                  <a:pt x="5180" y="1563"/>
                  <a:pt x="5187" y="1544"/>
                </a:cubicBezTo>
                <a:cubicBezTo>
                  <a:pt x="5200" y="1508"/>
                  <a:pt x="5200" y="1508"/>
                  <a:pt x="5200" y="1508"/>
                </a:cubicBezTo>
                <a:cubicBezTo>
                  <a:pt x="5121" y="1317"/>
                  <a:pt x="5121" y="1317"/>
                  <a:pt x="5121" y="1317"/>
                </a:cubicBezTo>
                <a:cubicBezTo>
                  <a:pt x="5158" y="1317"/>
                  <a:pt x="5158" y="1317"/>
                  <a:pt x="5158" y="1317"/>
                </a:cubicBezTo>
                <a:cubicBezTo>
                  <a:pt x="5217" y="1466"/>
                  <a:pt x="5217" y="1466"/>
                  <a:pt x="5217" y="1466"/>
                </a:cubicBezTo>
                <a:cubicBezTo>
                  <a:pt x="5218" y="1466"/>
                  <a:pt x="5218" y="1466"/>
                  <a:pt x="5218" y="1466"/>
                </a:cubicBezTo>
                <a:lnTo>
                  <a:pt x="5274" y="1317"/>
                </a:lnTo>
                <a:close/>
                <a:moveTo>
                  <a:pt x="1701" y="1312"/>
                </a:moveTo>
                <a:cubicBezTo>
                  <a:pt x="1673" y="1312"/>
                  <a:pt x="1650" y="1324"/>
                  <a:pt x="1633" y="1344"/>
                </a:cubicBezTo>
                <a:cubicBezTo>
                  <a:pt x="1632" y="1344"/>
                  <a:pt x="1632" y="1344"/>
                  <a:pt x="1632" y="1344"/>
                </a:cubicBezTo>
                <a:cubicBezTo>
                  <a:pt x="1632" y="1200"/>
                  <a:pt x="1632" y="1200"/>
                  <a:pt x="1632" y="1200"/>
                </a:cubicBezTo>
                <a:cubicBezTo>
                  <a:pt x="1600" y="1200"/>
                  <a:pt x="1600" y="1200"/>
                  <a:pt x="1600" y="1200"/>
                </a:cubicBezTo>
                <a:cubicBezTo>
                  <a:pt x="1600" y="1507"/>
                  <a:pt x="1600" y="1507"/>
                  <a:pt x="1600" y="1507"/>
                </a:cubicBezTo>
                <a:cubicBezTo>
                  <a:pt x="1632" y="1507"/>
                  <a:pt x="1632" y="1507"/>
                  <a:pt x="1632" y="1507"/>
                </a:cubicBezTo>
                <a:cubicBezTo>
                  <a:pt x="1632" y="1473"/>
                  <a:pt x="1632" y="1473"/>
                  <a:pt x="1632" y="1473"/>
                </a:cubicBezTo>
                <a:cubicBezTo>
                  <a:pt x="1633" y="1473"/>
                  <a:pt x="1633" y="1473"/>
                  <a:pt x="1633" y="1473"/>
                </a:cubicBezTo>
                <a:cubicBezTo>
                  <a:pt x="1645" y="1495"/>
                  <a:pt x="1672" y="1512"/>
                  <a:pt x="1706" y="1512"/>
                </a:cubicBezTo>
                <a:cubicBezTo>
                  <a:pt x="1759" y="1512"/>
                  <a:pt x="1801" y="1469"/>
                  <a:pt x="1801" y="1412"/>
                </a:cubicBezTo>
                <a:cubicBezTo>
                  <a:pt x="1801" y="1354"/>
                  <a:pt x="1761" y="1312"/>
                  <a:pt x="1701" y="1312"/>
                </a:cubicBezTo>
                <a:close/>
                <a:moveTo>
                  <a:pt x="1699" y="1482"/>
                </a:moveTo>
                <a:cubicBezTo>
                  <a:pt x="1658" y="1482"/>
                  <a:pt x="1632" y="1452"/>
                  <a:pt x="1632" y="1412"/>
                </a:cubicBezTo>
                <a:cubicBezTo>
                  <a:pt x="1632" y="1372"/>
                  <a:pt x="1658" y="1341"/>
                  <a:pt x="1699" y="1341"/>
                </a:cubicBezTo>
                <a:cubicBezTo>
                  <a:pt x="1740" y="1341"/>
                  <a:pt x="1767" y="1372"/>
                  <a:pt x="1767" y="1412"/>
                </a:cubicBezTo>
                <a:cubicBezTo>
                  <a:pt x="1767" y="1452"/>
                  <a:pt x="1740" y="1482"/>
                  <a:pt x="1699" y="1482"/>
                </a:cubicBezTo>
                <a:close/>
                <a:moveTo>
                  <a:pt x="1933" y="1312"/>
                </a:moveTo>
                <a:cubicBezTo>
                  <a:pt x="1875" y="1312"/>
                  <a:pt x="1832" y="1352"/>
                  <a:pt x="1832" y="1412"/>
                </a:cubicBezTo>
                <a:cubicBezTo>
                  <a:pt x="1832" y="1471"/>
                  <a:pt x="1875" y="1512"/>
                  <a:pt x="1933" y="1512"/>
                </a:cubicBezTo>
                <a:cubicBezTo>
                  <a:pt x="1992" y="1512"/>
                  <a:pt x="2035" y="1471"/>
                  <a:pt x="2035" y="1412"/>
                </a:cubicBezTo>
                <a:cubicBezTo>
                  <a:pt x="2035" y="1352"/>
                  <a:pt x="1992" y="1312"/>
                  <a:pt x="1933" y="1312"/>
                </a:cubicBezTo>
                <a:close/>
                <a:moveTo>
                  <a:pt x="1933" y="1482"/>
                </a:moveTo>
                <a:cubicBezTo>
                  <a:pt x="1892" y="1482"/>
                  <a:pt x="1866" y="1452"/>
                  <a:pt x="1866" y="1412"/>
                </a:cubicBezTo>
                <a:cubicBezTo>
                  <a:pt x="1866" y="1372"/>
                  <a:pt x="1892" y="1341"/>
                  <a:pt x="1933" y="1341"/>
                </a:cubicBezTo>
                <a:cubicBezTo>
                  <a:pt x="1974" y="1341"/>
                  <a:pt x="2001" y="1372"/>
                  <a:pt x="2001" y="1412"/>
                </a:cubicBezTo>
                <a:cubicBezTo>
                  <a:pt x="2001" y="1452"/>
                  <a:pt x="1974" y="1482"/>
                  <a:pt x="1933" y="1482"/>
                </a:cubicBezTo>
                <a:close/>
                <a:moveTo>
                  <a:pt x="2238" y="1462"/>
                </a:moveTo>
                <a:cubicBezTo>
                  <a:pt x="2238" y="1479"/>
                  <a:pt x="2240" y="1494"/>
                  <a:pt x="2240" y="1507"/>
                </a:cubicBezTo>
                <a:cubicBezTo>
                  <a:pt x="2210" y="1507"/>
                  <a:pt x="2210" y="1507"/>
                  <a:pt x="2210" y="1507"/>
                </a:cubicBezTo>
                <a:cubicBezTo>
                  <a:pt x="2210" y="1497"/>
                  <a:pt x="2209" y="1486"/>
                  <a:pt x="2209" y="1476"/>
                </a:cubicBezTo>
                <a:cubicBezTo>
                  <a:pt x="2208" y="1476"/>
                  <a:pt x="2208" y="1476"/>
                  <a:pt x="2208" y="1476"/>
                </a:cubicBezTo>
                <a:cubicBezTo>
                  <a:pt x="2199" y="1494"/>
                  <a:pt x="2176" y="1512"/>
                  <a:pt x="2145" y="1512"/>
                </a:cubicBezTo>
                <a:cubicBezTo>
                  <a:pt x="2095" y="1512"/>
                  <a:pt x="2072" y="1480"/>
                  <a:pt x="2072" y="1434"/>
                </a:cubicBezTo>
                <a:cubicBezTo>
                  <a:pt x="2072" y="1317"/>
                  <a:pt x="2072" y="1317"/>
                  <a:pt x="2072" y="1317"/>
                </a:cubicBezTo>
                <a:cubicBezTo>
                  <a:pt x="2104" y="1317"/>
                  <a:pt x="2104" y="1317"/>
                  <a:pt x="2104" y="1317"/>
                </a:cubicBezTo>
                <a:cubicBezTo>
                  <a:pt x="2104" y="1431"/>
                  <a:pt x="2104" y="1431"/>
                  <a:pt x="2104" y="1431"/>
                </a:cubicBezTo>
                <a:cubicBezTo>
                  <a:pt x="2104" y="1463"/>
                  <a:pt x="2118" y="1482"/>
                  <a:pt x="2147" y="1482"/>
                </a:cubicBezTo>
                <a:cubicBezTo>
                  <a:pt x="2188" y="1482"/>
                  <a:pt x="2206" y="1453"/>
                  <a:pt x="2206" y="1409"/>
                </a:cubicBezTo>
                <a:cubicBezTo>
                  <a:pt x="2206" y="1317"/>
                  <a:pt x="2206" y="1317"/>
                  <a:pt x="2206" y="1317"/>
                </a:cubicBezTo>
                <a:cubicBezTo>
                  <a:pt x="2238" y="1317"/>
                  <a:pt x="2238" y="1317"/>
                  <a:pt x="2238" y="1317"/>
                </a:cubicBezTo>
                <a:lnTo>
                  <a:pt x="2238" y="1462"/>
                </a:lnTo>
                <a:close/>
                <a:moveTo>
                  <a:pt x="2632" y="1281"/>
                </a:moveTo>
                <a:cubicBezTo>
                  <a:pt x="2632" y="1317"/>
                  <a:pt x="2632" y="1317"/>
                  <a:pt x="2632" y="1317"/>
                </a:cubicBezTo>
                <a:cubicBezTo>
                  <a:pt x="2678" y="1317"/>
                  <a:pt x="2678" y="1317"/>
                  <a:pt x="2678" y="1317"/>
                </a:cubicBezTo>
                <a:cubicBezTo>
                  <a:pt x="2678" y="1343"/>
                  <a:pt x="2678" y="1343"/>
                  <a:pt x="2678" y="1343"/>
                </a:cubicBezTo>
                <a:cubicBezTo>
                  <a:pt x="2632" y="1343"/>
                  <a:pt x="2632" y="1343"/>
                  <a:pt x="2632" y="1343"/>
                </a:cubicBezTo>
                <a:cubicBezTo>
                  <a:pt x="2632" y="1507"/>
                  <a:pt x="2632" y="1507"/>
                  <a:pt x="2632" y="1507"/>
                </a:cubicBezTo>
                <a:cubicBezTo>
                  <a:pt x="2600" y="1507"/>
                  <a:pt x="2600" y="1507"/>
                  <a:pt x="2600" y="1507"/>
                </a:cubicBezTo>
                <a:cubicBezTo>
                  <a:pt x="2600" y="1343"/>
                  <a:pt x="2600" y="1343"/>
                  <a:pt x="2600" y="1343"/>
                </a:cubicBezTo>
                <a:cubicBezTo>
                  <a:pt x="2553" y="1343"/>
                  <a:pt x="2553" y="1343"/>
                  <a:pt x="2553" y="1343"/>
                </a:cubicBezTo>
                <a:cubicBezTo>
                  <a:pt x="2553" y="1343"/>
                  <a:pt x="2553" y="1343"/>
                  <a:pt x="2553" y="1343"/>
                </a:cubicBezTo>
                <a:cubicBezTo>
                  <a:pt x="2500" y="1507"/>
                  <a:pt x="2500" y="1507"/>
                  <a:pt x="2500" y="1507"/>
                </a:cubicBezTo>
                <a:cubicBezTo>
                  <a:pt x="2469" y="1507"/>
                  <a:pt x="2469" y="1507"/>
                  <a:pt x="2469" y="1507"/>
                </a:cubicBezTo>
                <a:cubicBezTo>
                  <a:pt x="2415" y="1361"/>
                  <a:pt x="2415" y="1361"/>
                  <a:pt x="2415" y="1361"/>
                </a:cubicBezTo>
                <a:cubicBezTo>
                  <a:pt x="2414" y="1361"/>
                  <a:pt x="2414" y="1361"/>
                  <a:pt x="2414" y="1361"/>
                </a:cubicBezTo>
                <a:cubicBezTo>
                  <a:pt x="2366" y="1507"/>
                  <a:pt x="2366" y="1507"/>
                  <a:pt x="2366" y="1507"/>
                </a:cubicBezTo>
                <a:cubicBezTo>
                  <a:pt x="2333" y="1507"/>
                  <a:pt x="2333" y="1507"/>
                  <a:pt x="2333" y="1507"/>
                </a:cubicBezTo>
                <a:cubicBezTo>
                  <a:pt x="2271" y="1317"/>
                  <a:pt x="2271" y="1317"/>
                  <a:pt x="2271" y="1317"/>
                </a:cubicBezTo>
                <a:cubicBezTo>
                  <a:pt x="2306" y="1317"/>
                  <a:pt x="2306" y="1317"/>
                  <a:pt x="2306" y="1317"/>
                </a:cubicBezTo>
                <a:cubicBezTo>
                  <a:pt x="2350" y="1463"/>
                  <a:pt x="2350" y="1463"/>
                  <a:pt x="2350" y="1463"/>
                </a:cubicBezTo>
                <a:cubicBezTo>
                  <a:pt x="2351" y="1463"/>
                  <a:pt x="2351" y="1463"/>
                  <a:pt x="2351" y="1463"/>
                </a:cubicBezTo>
                <a:cubicBezTo>
                  <a:pt x="2400" y="1317"/>
                  <a:pt x="2400" y="1317"/>
                  <a:pt x="2400" y="1317"/>
                </a:cubicBezTo>
                <a:cubicBezTo>
                  <a:pt x="2433" y="1317"/>
                  <a:pt x="2433" y="1317"/>
                  <a:pt x="2433" y="1317"/>
                </a:cubicBezTo>
                <a:cubicBezTo>
                  <a:pt x="2483" y="1463"/>
                  <a:pt x="2483" y="1463"/>
                  <a:pt x="2483" y="1463"/>
                </a:cubicBezTo>
                <a:cubicBezTo>
                  <a:pt x="2484" y="1463"/>
                  <a:pt x="2484" y="1463"/>
                  <a:pt x="2484" y="1463"/>
                </a:cubicBezTo>
                <a:cubicBezTo>
                  <a:pt x="2527" y="1317"/>
                  <a:pt x="2527" y="1317"/>
                  <a:pt x="2527" y="1317"/>
                </a:cubicBezTo>
                <a:cubicBezTo>
                  <a:pt x="2553" y="1317"/>
                  <a:pt x="2553" y="1317"/>
                  <a:pt x="2553" y="1317"/>
                </a:cubicBezTo>
                <a:cubicBezTo>
                  <a:pt x="2561" y="1317"/>
                  <a:pt x="2561" y="1317"/>
                  <a:pt x="2561" y="1317"/>
                </a:cubicBezTo>
                <a:cubicBezTo>
                  <a:pt x="2600" y="1317"/>
                  <a:pt x="2600" y="1317"/>
                  <a:pt x="2600" y="1317"/>
                </a:cubicBezTo>
                <a:cubicBezTo>
                  <a:pt x="2600" y="1274"/>
                  <a:pt x="2600" y="1274"/>
                  <a:pt x="2600" y="1274"/>
                </a:cubicBezTo>
                <a:cubicBezTo>
                  <a:pt x="2600" y="1228"/>
                  <a:pt x="2616" y="1195"/>
                  <a:pt x="2668" y="1195"/>
                </a:cubicBezTo>
                <a:cubicBezTo>
                  <a:pt x="2676" y="1195"/>
                  <a:pt x="2686" y="1196"/>
                  <a:pt x="2692" y="1200"/>
                </a:cubicBezTo>
                <a:cubicBezTo>
                  <a:pt x="2688" y="1228"/>
                  <a:pt x="2688" y="1228"/>
                  <a:pt x="2688" y="1228"/>
                </a:cubicBezTo>
                <a:cubicBezTo>
                  <a:pt x="2681" y="1226"/>
                  <a:pt x="2673" y="1224"/>
                  <a:pt x="2666" y="1224"/>
                </a:cubicBezTo>
                <a:cubicBezTo>
                  <a:pt x="2633" y="1224"/>
                  <a:pt x="2632" y="1248"/>
                  <a:pt x="2632" y="1281"/>
                </a:cubicBezTo>
                <a:close/>
                <a:moveTo>
                  <a:pt x="2791" y="1312"/>
                </a:moveTo>
                <a:cubicBezTo>
                  <a:pt x="2733" y="1312"/>
                  <a:pt x="2690" y="1352"/>
                  <a:pt x="2690" y="1412"/>
                </a:cubicBezTo>
                <a:cubicBezTo>
                  <a:pt x="2690" y="1471"/>
                  <a:pt x="2733" y="1512"/>
                  <a:pt x="2791" y="1512"/>
                </a:cubicBezTo>
                <a:cubicBezTo>
                  <a:pt x="2850" y="1512"/>
                  <a:pt x="2893" y="1471"/>
                  <a:pt x="2893" y="1412"/>
                </a:cubicBezTo>
                <a:cubicBezTo>
                  <a:pt x="2893" y="1352"/>
                  <a:pt x="2850" y="1312"/>
                  <a:pt x="2791" y="1312"/>
                </a:cubicBezTo>
                <a:close/>
                <a:moveTo>
                  <a:pt x="2791" y="1482"/>
                </a:moveTo>
                <a:cubicBezTo>
                  <a:pt x="2750" y="1482"/>
                  <a:pt x="2724" y="1452"/>
                  <a:pt x="2724" y="1412"/>
                </a:cubicBezTo>
                <a:cubicBezTo>
                  <a:pt x="2724" y="1372"/>
                  <a:pt x="2750" y="1341"/>
                  <a:pt x="2791" y="1341"/>
                </a:cubicBezTo>
                <a:cubicBezTo>
                  <a:pt x="2833" y="1341"/>
                  <a:pt x="2859" y="1372"/>
                  <a:pt x="2859" y="1412"/>
                </a:cubicBezTo>
                <a:cubicBezTo>
                  <a:pt x="2859" y="1452"/>
                  <a:pt x="2833" y="1482"/>
                  <a:pt x="2791" y="1482"/>
                </a:cubicBezTo>
                <a:close/>
                <a:moveTo>
                  <a:pt x="3097" y="1389"/>
                </a:moveTo>
                <a:cubicBezTo>
                  <a:pt x="3097" y="1507"/>
                  <a:pt x="3097" y="1507"/>
                  <a:pt x="3097" y="1507"/>
                </a:cubicBezTo>
                <a:cubicBezTo>
                  <a:pt x="3065" y="1507"/>
                  <a:pt x="3065" y="1507"/>
                  <a:pt x="3065" y="1507"/>
                </a:cubicBezTo>
                <a:cubicBezTo>
                  <a:pt x="3065" y="1393"/>
                  <a:pt x="3065" y="1393"/>
                  <a:pt x="3065" y="1393"/>
                </a:cubicBezTo>
                <a:cubicBezTo>
                  <a:pt x="3065" y="1361"/>
                  <a:pt x="3052" y="1341"/>
                  <a:pt x="3022" y="1341"/>
                </a:cubicBezTo>
                <a:cubicBezTo>
                  <a:pt x="2981" y="1341"/>
                  <a:pt x="2963" y="1371"/>
                  <a:pt x="2963" y="1414"/>
                </a:cubicBezTo>
                <a:cubicBezTo>
                  <a:pt x="2963" y="1507"/>
                  <a:pt x="2963" y="1507"/>
                  <a:pt x="2963" y="1507"/>
                </a:cubicBezTo>
                <a:cubicBezTo>
                  <a:pt x="2931" y="1507"/>
                  <a:pt x="2931" y="1507"/>
                  <a:pt x="2931" y="1507"/>
                </a:cubicBezTo>
                <a:cubicBezTo>
                  <a:pt x="2931" y="1362"/>
                  <a:pt x="2931" y="1362"/>
                  <a:pt x="2931" y="1362"/>
                </a:cubicBezTo>
                <a:cubicBezTo>
                  <a:pt x="2931" y="1344"/>
                  <a:pt x="2930" y="1329"/>
                  <a:pt x="2930" y="1317"/>
                </a:cubicBezTo>
                <a:cubicBezTo>
                  <a:pt x="2960" y="1317"/>
                  <a:pt x="2960" y="1317"/>
                  <a:pt x="2960" y="1317"/>
                </a:cubicBezTo>
                <a:cubicBezTo>
                  <a:pt x="2960" y="1327"/>
                  <a:pt x="2960" y="1337"/>
                  <a:pt x="2960" y="1348"/>
                </a:cubicBezTo>
                <a:cubicBezTo>
                  <a:pt x="2961" y="1348"/>
                  <a:pt x="2961" y="1348"/>
                  <a:pt x="2961" y="1348"/>
                </a:cubicBezTo>
                <a:cubicBezTo>
                  <a:pt x="2970" y="1329"/>
                  <a:pt x="2993" y="1312"/>
                  <a:pt x="3025" y="1312"/>
                </a:cubicBezTo>
                <a:cubicBezTo>
                  <a:pt x="3075" y="1312"/>
                  <a:pt x="3097" y="1343"/>
                  <a:pt x="3097" y="1389"/>
                </a:cubicBezTo>
                <a:close/>
                <a:moveTo>
                  <a:pt x="3307" y="1344"/>
                </a:moveTo>
                <a:cubicBezTo>
                  <a:pt x="3306" y="1344"/>
                  <a:pt x="3306" y="1344"/>
                  <a:pt x="3306" y="1344"/>
                </a:cubicBezTo>
                <a:cubicBezTo>
                  <a:pt x="3289" y="1324"/>
                  <a:pt x="3266" y="1312"/>
                  <a:pt x="3238" y="1312"/>
                </a:cubicBezTo>
                <a:cubicBezTo>
                  <a:pt x="3178" y="1312"/>
                  <a:pt x="3138" y="1354"/>
                  <a:pt x="3138" y="1412"/>
                </a:cubicBezTo>
                <a:cubicBezTo>
                  <a:pt x="3138" y="1469"/>
                  <a:pt x="3180" y="1512"/>
                  <a:pt x="3233" y="1512"/>
                </a:cubicBezTo>
                <a:cubicBezTo>
                  <a:pt x="3267" y="1512"/>
                  <a:pt x="3295" y="1495"/>
                  <a:pt x="3306" y="1473"/>
                </a:cubicBezTo>
                <a:cubicBezTo>
                  <a:pt x="3307" y="1473"/>
                  <a:pt x="3307" y="1473"/>
                  <a:pt x="3307" y="1473"/>
                </a:cubicBezTo>
                <a:cubicBezTo>
                  <a:pt x="3307" y="1507"/>
                  <a:pt x="3307" y="1507"/>
                  <a:pt x="3307" y="1507"/>
                </a:cubicBezTo>
                <a:cubicBezTo>
                  <a:pt x="3339" y="1507"/>
                  <a:pt x="3339" y="1507"/>
                  <a:pt x="3339" y="1507"/>
                </a:cubicBezTo>
                <a:cubicBezTo>
                  <a:pt x="3339" y="1200"/>
                  <a:pt x="3339" y="1200"/>
                  <a:pt x="3339" y="1200"/>
                </a:cubicBezTo>
                <a:cubicBezTo>
                  <a:pt x="3307" y="1200"/>
                  <a:pt x="3307" y="1200"/>
                  <a:pt x="3307" y="1200"/>
                </a:cubicBezTo>
                <a:lnTo>
                  <a:pt x="3307" y="1344"/>
                </a:lnTo>
                <a:close/>
                <a:moveTo>
                  <a:pt x="3240" y="1482"/>
                </a:moveTo>
                <a:cubicBezTo>
                  <a:pt x="3199" y="1482"/>
                  <a:pt x="3172" y="1452"/>
                  <a:pt x="3172" y="1412"/>
                </a:cubicBezTo>
                <a:cubicBezTo>
                  <a:pt x="3172" y="1372"/>
                  <a:pt x="3199" y="1341"/>
                  <a:pt x="3240" y="1341"/>
                </a:cubicBezTo>
                <a:cubicBezTo>
                  <a:pt x="3281" y="1341"/>
                  <a:pt x="3307" y="1372"/>
                  <a:pt x="3307" y="1412"/>
                </a:cubicBezTo>
                <a:cubicBezTo>
                  <a:pt x="3307" y="1452"/>
                  <a:pt x="3281" y="1482"/>
                  <a:pt x="3240" y="1482"/>
                </a:cubicBezTo>
                <a:close/>
                <a:moveTo>
                  <a:pt x="3530" y="1452"/>
                </a:moveTo>
                <a:cubicBezTo>
                  <a:pt x="3530" y="1495"/>
                  <a:pt x="3491" y="1512"/>
                  <a:pt x="3454" y="1512"/>
                </a:cubicBezTo>
                <a:cubicBezTo>
                  <a:pt x="3421" y="1512"/>
                  <a:pt x="3398" y="1503"/>
                  <a:pt x="3380" y="1476"/>
                </a:cubicBezTo>
                <a:cubicBezTo>
                  <a:pt x="3405" y="1457"/>
                  <a:pt x="3405" y="1457"/>
                  <a:pt x="3405" y="1457"/>
                </a:cubicBezTo>
                <a:cubicBezTo>
                  <a:pt x="3417" y="1472"/>
                  <a:pt x="3431" y="1482"/>
                  <a:pt x="3454" y="1482"/>
                </a:cubicBezTo>
                <a:cubicBezTo>
                  <a:pt x="3473" y="1482"/>
                  <a:pt x="3495" y="1474"/>
                  <a:pt x="3495" y="1453"/>
                </a:cubicBezTo>
                <a:cubicBezTo>
                  <a:pt x="3495" y="1433"/>
                  <a:pt x="3475" y="1428"/>
                  <a:pt x="3455" y="1423"/>
                </a:cubicBezTo>
                <a:cubicBezTo>
                  <a:pt x="3419" y="1415"/>
                  <a:pt x="3388" y="1407"/>
                  <a:pt x="3388" y="1368"/>
                </a:cubicBezTo>
                <a:cubicBezTo>
                  <a:pt x="3388" y="1331"/>
                  <a:pt x="3423" y="1312"/>
                  <a:pt x="3459" y="1312"/>
                </a:cubicBezTo>
                <a:cubicBezTo>
                  <a:pt x="3486" y="1312"/>
                  <a:pt x="3510" y="1322"/>
                  <a:pt x="3523" y="1346"/>
                </a:cubicBezTo>
                <a:cubicBezTo>
                  <a:pt x="3497" y="1364"/>
                  <a:pt x="3497" y="1364"/>
                  <a:pt x="3497" y="1364"/>
                </a:cubicBezTo>
                <a:cubicBezTo>
                  <a:pt x="3489" y="1350"/>
                  <a:pt x="3475" y="1341"/>
                  <a:pt x="3457" y="1341"/>
                </a:cubicBezTo>
                <a:cubicBezTo>
                  <a:pt x="3439" y="1341"/>
                  <a:pt x="3419" y="1350"/>
                  <a:pt x="3419" y="1367"/>
                </a:cubicBezTo>
                <a:cubicBezTo>
                  <a:pt x="3419" y="1383"/>
                  <a:pt x="3442" y="1390"/>
                  <a:pt x="3467" y="1395"/>
                </a:cubicBezTo>
                <a:cubicBezTo>
                  <a:pt x="3501" y="1402"/>
                  <a:pt x="3530" y="1414"/>
                  <a:pt x="3530" y="1452"/>
                </a:cubicBezTo>
                <a:close/>
                <a:moveTo>
                  <a:pt x="814" y="0"/>
                </a:moveTo>
                <a:cubicBezTo>
                  <a:pt x="404" y="0"/>
                  <a:pt x="404" y="0"/>
                  <a:pt x="404" y="0"/>
                </a:cubicBezTo>
                <a:cubicBezTo>
                  <a:pt x="0" y="403"/>
                  <a:pt x="0" y="403"/>
                  <a:pt x="0" y="403"/>
                </a:cubicBezTo>
                <a:cubicBezTo>
                  <a:pt x="193" y="596"/>
                  <a:pt x="193" y="596"/>
                  <a:pt x="193" y="596"/>
                </a:cubicBezTo>
                <a:cubicBezTo>
                  <a:pt x="0" y="789"/>
                  <a:pt x="0" y="789"/>
                  <a:pt x="0" y="789"/>
                </a:cubicBezTo>
                <a:cubicBezTo>
                  <a:pt x="411" y="1200"/>
                  <a:pt x="411" y="1200"/>
                  <a:pt x="411" y="1200"/>
                </a:cubicBezTo>
                <a:cubicBezTo>
                  <a:pt x="604" y="1007"/>
                  <a:pt x="604" y="1007"/>
                  <a:pt x="604" y="1007"/>
                </a:cubicBezTo>
                <a:cubicBezTo>
                  <a:pt x="797" y="1200"/>
                  <a:pt x="797" y="1200"/>
                  <a:pt x="797" y="1200"/>
                </a:cubicBezTo>
                <a:cubicBezTo>
                  <a:pt x="1200" y="796"/>
                  <a:pt x="1200" y="796"/>
                  <a:pt x="1200" y="796"/>
                </a:cubicBezTo>
                <a:cubicBezTo>
                  <a:pt x="1200" y="386"/>
                  <a:pt x="1200" y="386"/>
                  <a:pt x="1200" y="386"/>
                </a:cubicBezTo>
                <a:cubicBezTo>
                  <a:pt x="814" y="386"/>
                  <a:pt x="814" y="386"/>
                  <a:pt x="814" y="386"/>
                </a:cubicBezTo>
                <a:lnTo>
                  <a:pt x="814" y="0"/>
                </a:lnTo>
                <a:close/>
                <a:moveTo>
                  <a:pt x="50" y="403"/>
                </a:moveTo>
                <a:cubicBezTo>
                  <a:pt x="418" y="35"/>
                  <a:pt x="418" y="35"/>
                  <a:pt x="418" y="35"/>
                </a:cubicBezTo>
                <a:cubicBezTo>
                  <a:pt x="779" y="35"/>
                  <a:pt x="779" y="35"/>
                  <a:pt x="779" y="35"/>
                </a:cubicBezTo>
                <a:cubicBezTo>
                  <a:pt x="779" y="386"/>
                  <a:pt x="779" y="386"/>
                  <a:pt x="779" y="386"/>
                </a:cubicBezTo>
                <a:cubicBezTo>
                  <a:pt x="404" y="386"/>
                  <a:pt x="404" y="386"/>
                  <a:pt x="404" y="386"/>
                </a:cubicBezTo>
                <a:cubicBezTo>
                  <a:pt x="218" y="571"/>
                  <a:pt x="218" y="571"/>
                  <a:pt x="218" y="571"/>
                </a:cubicBezTo>
                <a:lnTo>
                  <a:pt x="50" y="403"/>
                </a:lnTo>
                <a:close/>
                <a:moveTo>
                  <a:pt x="755" y="420"/>
                </a:moveTo>
                <a:cubicBezTo>
                  <a:pt x="411" y="764"/>
                  <a:pt x="411" y="764"/>
                  <a:pt x="411" y="764"/>
                </a:cubicBezTo>
                <a:cubicBezTo>
                  <a:pt x="242" y="596"/>
                  <a:pt x="242" y="596"/>
                  <a:pt x="242" y="596"/>
                </a:cubicBezTo>
                <a:cubicBezTo>
                  <a:pt x="418" y="420"/>
                  <a:pt x="418" y="420"/>
                  <a:pt x="418" y="420"/>
                </a:cubicBezTo>
                <a:lnTo>
                  <a:pt x="755" y="420"/>
                </a:lnTo>
                <a:close/>
                <a:moveTo>
                  <a:pt x="411" y="1150"/>
                </a:moveTo>
                <a:cubicBezTo>
                  <a:pt x="49" y="789"/>
                  <a:pt x="49" y="789"/>
                  <a:pt x="49" y="789"/>
                </a:cubicBezTo>
                <a:cubicBezTo>
                  <a:pt x="218" y="621"/>
                  <a:pt x="218" y="621"/>
                  <a:pt x="218" y="621"/>
                </a:cubicBezTo>
                <a:cubicBezTo>
                  <a:pt x="579" y="982"/>
                  <a:pt x="579" y="982"/>
                  <a:pt x="579" y="982"/>
                </a:cubicBezTo>
                <a:lnTo>
                  <a:pt x="411" y="1150"/>
                </a:lnTo>
                <a:close/>
                <a:moveTo>
                  <a:pt x="435" y="789"/>
                </a:moveTo>
                <a:cubicBezTo>
                  <a:pt x="779" y="445"/>
                  <a:pt x="779" y="445"/>
                  <a:pt x="779" y="445"/>
                </a:cubicBezTo>
                <a:cubicBezTo>
                  <a:pt x="779" y="782"/>
                  <a:pt x="779" y="782"/>
                  <a:pt x="779" y="782"/>
                </a:cubicBezTo>
                <a:cubicBezTo>
                  <a:pt x="604" y="957"/>
                  <a:pt x="604" y="957"/>
                  <a:pt x="604" y="957"/>
                </a:cubicBezTo>
                <a:lnTo>
                  <a:pt x="435" y="789"/>
                </a:lnTo>
                <a:close/>
                <a:moveTo>
                  <a:pt x="1165" y="420"/>
                </a:moveTo>
                <a:cubicBezTo>
                  <a:pt x="1165" y="782"/>
                  <a:pt x="1165" y="782"/>
                  <a:pt x="1165" y="782"/>
                </a:cubicBezTo>
                <a:cubicBezTo>
                  <a:pt x="797" y="1150"/>
                  <a:pt x="797" y="1150"/>
                  <a:pt x="797" y="1150"/>
                </a:cubicBezTo>
                <a:cubicBezTo>
                  <a:pt x="628" y="982"/>
                  <a:pt x="628" y="982"/>
                  <a:pt x="628" y="982"/>
                </a:cubicBezTo>
                <a:cubicBezTo>
                  <a:pt x="814" y="796"/>
                  <a:pt x="814" y="796"/>
                  <a:pt x="814" y="796"/>
                </a:cubicBezTo>
                <a:cubicBezTo>
                  <a:pt x="814" y="420"/>
                  <a:pt x="814" y="420"/>
                  <a:pt x="814" y="420"/>
                </a:cubicBezTo>
                <a:lnTo>
                  <a:pt x="1165" y="4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lgn="l" defTabSz="1088937" rtl="0" eaLnBrk="1" latinLnBrk="0" hangingPunct="1">
              <a:lnSpc>
                <a:spcPct val="114000"/>
              </a:lnSpc>
              <a:spcBef>
                <a:spcPts val="0"/>
              </a:spcBef>
              <a:buFont typeface="Arial" pitchFamily="34" charset="0"/>
              <a:buNone/>
              <a:defRPr/>
            </a:lvl1pPr>
          </a:lstStyle>
          <a:p>
            <a:r>
              <a:rPr lang="nl-NL" dirty="0"/>
              <a:t> </a:t>
            </a:r>
          </a:p>
        </p:txBody>
      </p:sp>
      <p:sp>
        <p:nvSpPr>
          <p:cNvPr id="3" name="***Tijdelijke aanduiding voor tekst 2"/>
          <p:cNvSpPr>
            <a:spLocks noGrp="1" noSelect="1"/>
          </p:cNvSpPr>
          <p:nvPr>
            <p:ph type="body" sz="quarter" idx="14" hasCustomPrompt="1"/>
          </p:nvPr>
        </p:nvSpPr>
        <p:spPr bwMode="gray">
          <a:xfrm>
            <a:off x="638426" y="729135"/>
            <a:ext cx="3348000" cy="3815989"/>
          </a:xfrm>
        </p:spPr>
        <p:txBody>
          <a:bodyPr>
            <a:noAutofit/>
          </a:bodyPr>
          <a:lstStyle>
            <a:lvl1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1pPr>
            <a:lvl2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2pPr>
            <a:lvl3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3pPr>
            <a:lvl4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4pPr>
            <a:lvl5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5pPr>
            <a:lvl6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6pPr>
            <a:lvl7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7pPr>
            <a:lvl8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8pPr>
            <a:lvl9pPr marL="0" indent="0">
              <a:lnSpc>
                <a:spcPct val="105000"/>
              </a:lnSpc>
              <a:spcBef>
                <a:spcPts val="0"/>
              </a:spcBef>
              <a:spcAft>
                <a:spcPts val="0"/>
              </a:spcAft>
              <a:buNone/>
              <a:defRPr sz="3000" b="0">
                <a:solidFill>
                  <a:schemeClr val="bg1"/>
                </a:solidFill>
                <a:latin typeface="Univers" panose="020B0603020202030204" pitchFamily="34" charset="0"/>
              </a:defRPr>
            </a:lvl9pPr>
          </a:lstStyle>
          <a:p>
            <a:pPr lvl="0"/>
            <a:r>
              <a:rPr lang="nl-NL" dirty="0"/>
              <a:t>[Hier is ruimte voor een kop of hoofdstuktitel die over maximaal 8 regels loopt. </a:t>
            </a:r>
            <a:r>
              <a:rPr lang="nl-NL" dirty="0" err="1"/>
              <a:t>Etum</a:t>
            </a:r>
            <a:r>
              <a:rPr lang="nl-NL" dirty="0"/>
              <a:t> as </a:t>
            </a:r>
            <a:r>
              <a:rPr lang="nl-NL" dirty="0" err="1"/>
              <a:t>aniet</a:t>
            </a:r>
            <a:r>
              <a:rPr lang="nl-NL" dirty="0"/>
              <a:t> </a:t>
            </a:r>
            <a:r>
              <a:rPr lang="nl-NL" dirty="0" err="1"/>
              <a:t>postrum</a:t>
            </a:r>
            <a:r>
              <a:rPr lang="nl-NL" dirty="0"/>
              <a:t> </a:t>
            </a:r>
            <a:r>
              <a:rPr lang="nl-NL" dirty="0" err="1"/>
              <a:t>coribus</a:t>
            </a:r>
            <a:r>
              <a:rPr lang="nl-NL" dirty="0"/>
              <a:t> </a:t>
            </a:r>
            <a:r>
              <a:rPr lang="nl-NL" dirty="0" err="1"/>
              <a:t>idis</a:t>
            </a:r>
            <a:r>
              <a:rPr lang="nl-NL" dirty="0"/>
              <a:t> &gt; lijnt links en boven.]</a:t>
            </a:r>
          </a:p>
        </p:txBody>
      </p:sp>
      <p:sp>
        <p:nvSpPr>
          <p:cNvPr id="11" name="witdriehoek">
            <a:extLst>
              <a:ext uri="{FF2B5EF4-FFF2-40B4-BE49-F238E27FC236}">
                <a16:creationId xmlns:a16="http://schemas.microsoft.com/office/drawing/2014/main" id="{15944F09-7FBA-4C3D-B27B-4FA9E6400920}"/>
              </a:ext>
            </a:extLst>
          </p:cNvPr>
          <p:cNvSpPr>
            <a:spLocks noSelect="1"/>
          </p:cNvSpPr>
          <p:nvPr userDrawn="1"/>
        </p:nvSpPr>
        <p:spPr bwMode="auto">
          <a:xfrm>
            <a:off x="4384675" y="6156326"/>
            <a:ext cx="1395413" cy="696913"/>
          </a:xfrm>
          <a:custGeom>
            <a:avLst/>
            <a:gdLst>
              <a:gd name="T0" fmla="*/ 879 w 879"/>
              <a:gd name="T1" fmla="*/ 439 h 439"/>
              <a:gd name="T2" fmla="*/ 0 w 879"/>
              <a:gd name="T3" fmla="*/ 439 h 439"/>
              <a:gd name="T4" fmla="*/ 439 w 879"/>
              <a:gd name="T5" fmla="*/ 0 h 439"/>
              <a:gd name="T6" fmla="*/ 879 w 879"/>
              <a:gd name="T7" fmla="*/ 439 h 439"/>
            </a:gdLst>
            <a:ahLst/>
            <a:cxnLst>
              <a:cxn ang="0">
                <a:pos x="T0" y="T1"/>
              </a:cxn>
              <a:cxn ang="0">
                <a:pos x="T2" y="T3"/>
              </a:cxn>
              <a:cxn ang="0">
                <a:pos x="T4" y="T5"/>
              </a:cxn>
              <a:cxn ang="0">
                <a:pos x="T6" y="T7"/>
              </a:cxn>
            </a:cxnLst>
            <a:rect l="0" t="0" r="r" b="b"/>
            <a:pathLst>
              <a:path w="879" h="439">
                <a:moveTo>
                  <a:pt x="879" y="439"/>
                </a:moveTo>
                <a:lnTo>
                  <a:pt x="0" y="439"/>
                </a:lnTo>
                <a:lnTo>
                  <a:pt x="439" y="0"/>
                </a:lnTo>
                <a:lnTo>
                  <a:pt x="879"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x-none" dirty="0"/>
          </a:p>
        </p:txBody>
      </p:sp>
      <p:sp>
        <p:nvSpPr>
          <p:cNvPr id="12" name="kleurdriehoek">
            <a:extLst>
              <a:ext uri="{FF2B5EF4-FFF2-40B4-BE49-F238E27FC236}">
                <a16:creationId xmlns:a16="http://schemas.microsoft.com/office/drawing/2014/main" id="{E19B14FD-1E43-480E-95DC-A45C4D277E10}"/>
              </a:ext>
            </a:extLst>
          </p:cNvPr>
          <p:cNvSpPr>
            <a:spLocks noSelect="1"/>
          </p:cNvSpPr>
          <p:nvPr userDrawn="1"/>
        </p:nvSpPr>
        <p:spPr bwMode="auto">
          <a:xfrm>
            <a:off x="4384675" y="5459413"/>
            <a:ext cx="696913" cy="1393825"/>
          </a:xfrm>
          <a:custGeom>
            <a:avLst/>
            <a:gdLst>
              <a:gd name="T0" fmla="*/ 0 w 439"/>
              <a:gd name="T1" fmla="*/ 878 h 878"/>
              <a:gd name="T2" fmla="*/ 0 w 439"/>
              <a:gd name="T3" fmla="*/ 0 h 878"/>
              <a:gd name="T4" fmla="*/ 439 w 439"/>
              <a:gd name="T5" fmla="*/ 439 h 878"/>
              <a:gd name="T6" fmla="*/ 0 w 439"/>
              <a:gd name="T7" fmla="*/ 878 h 878"/>
            </a:gdLst>
            <a:ahLst/>
            <a:cxnLst>
              <a:cxn ang="0">
                <a:pos x="T0" y="T1"/>
              </a:cxn>
              <a:cxn ang="0">
                <a:pos x="T2" y="T3"/>
              </a:cxn>
              <a:cxn ang="0">
                <a:pos x="T4" y="T5"/>
              </a:cxn>
              <a:cxn ang="0">
                <a:pos x="T6" y="T7"/>
              </a:cxn>
            </a:cxnLst>
            <a:rect l="0" t="0" r="r" b="b"/>
            <a:pathLst>
              <a:path w="439" h="878">
                <a:moveTo>
                  <a:pt x="0" y="878"/>
                </a:moveTo>
                <a:lnTo>
                  <a:pt x="0" y="0"/>
                </a:lnTo>
                <a:lnTo>
                  <a:pt x="439" y="439"/>
                </a:lnTo>
                <a:lnTo>
                  <a:pt x="0" y="87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x-none" dirty="0"/>
          </a:p>
        </p:txBody>
      </p:sp>
    </p:spTree>
    <p:extLst>
      <p:ext uri="{BB962C8B-B14F-4D97-AF65-F5344CB8AC3E}">
        <p14:creationId xmlns:p14="http://schemas.microsoft.com/office/powerpoint/2010/main" val="2652999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5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00" fill="hold"/>
                                        <p:tgtEl>
                                          <p:spTgt spid="8"/>
                                        </p:tgtEl>
                                        <p:attrNameLst>
                                          <p:attrName>ppt_x</p:attrName>
                                        </p:attrNameLst>
                                      </p:cBhvr>
                                      <p:tavLst>
                                        <p:tav tm="0">
                                          <p:val>
                                            <p:strVal val="1+#ppt_w/2"/>
                                          </p:val>
                                        </p:tav>
                                        <p:tav tm="100000">
                                          <p:val>
                                            <p:strVal val="#ppt_x"/>
                                          </p:val>
                                        </p:tav>
                                      </p:tavLst>
                                    </p:anim>
                                    <p:anim calcmode="lin" valueType="num">
                                      <p:cBhvr additive="base">
                                        <p:cTn id="8" dur="7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decel="50000" fill="hold" grpId="0" nodeType="withEffect">
                                  <p:stCondLst>
                                    <p:cond delay="0"/>
                                  </p:stCondLst>
                                  <p:childTnLst>
                                    <p:set>
                                      <p:cBhvr>
                                        <p:cTn id="10" dur="1" fill="hold">
                                          <p:stCondLst>
                                            <p:cond delay="0"/>
                                          </p:stCondLst>
                                        </p:cTn>
                                        <p:tgtEl>
                                          <p:spTgt spid="7">
                                            <p:bg/>
                                          </p:spTgt>
                                        </p:tgtEl>
                                        <p:attrNameLst>
                                          <p:attrName>style.visibility</p:attrName>
                                        </p:attrNameLst>
                                      </p:cBhvr>
                                      <p:to>
                                        <p:strVal val="visible"/>
                                      </p:to>
                                    </p:set>
                                    <p:anim calcmode="lin" valueType="num">
                                      <p:cBhvr additive="base">
                                        <p:cTn id="11" dur="700" fill="hold"/>
                                        <p:tgtEl>
                                          <p:spTgt spid="7">
                                            <p:bg/>
                                          </p:spTgt>
                                        </p:tgtEl>
                                        <p:attrNameLst>
                                          <p:attrName>ppt_x</p:attrName>
                                        </p:attrNameLst>
                                      </p:cBhvr>
                                      <p:tavLst>
                                        <p:tav tm="0">
                                          <p:val>
                                            <p:strVal val="0-#ppt_w/2"/>
                                          </p:val>
                                        </p:tav>
                                        <p:tav tm="100000">
                                          <p:val>
                                            <p:strVal val="#ppt_x"/>
                                          </p:val>
                                        </p:tav>
                                      </p:tavLst>
                                    </p:anim>
                                    <p:anim calcmode="lin" valueType="num">
                                      <p:cBhvr additive="base">
                                        <p:cTn id="12" dur="700" fill="hold"/>
                                        <p:tgtEl>
                                          <p:spTgt spid="7">
                                            <p:bg/>
                                          </p:spTgt>
                                        </p:tgtEl>
                                        <p:attrNameLst>
                                          <p:attrName>ppt_y</p:attrName>
                                        </p:attrNameLst>
                                      </p:cBhvr>
                                      <p:tavLst>
                                        <p:tav tm="0">
                                          <p:val>
                                            <p:strVal val="#ppt_y"/>
                                          </p:val>
                                        </p:tav>
                                        <p:tav tm="100000">
                                          <p:val>
                                            <p:strVal val="#ppt_y"/>
                                          </p:val>
                                        </p:tav>
                                      </p:tavLst>
                                    </p:anim>
                                  </p:childTnLst>
                                </p:cTn>
                              </p:par>
                              <p:par>
                                <p:cTn id="13" presetID="2" presetClass="entr" presetSubtype="8" decel="50000" fill="hold" grpId="0" nodeType="withEffect">
                                  <p:stCondLst>
                                    <p:cond delay="0"/>
                                  </p:stCondLst>
                                  <p:childTnLst>
                                    <p:set>
                                      <p:cBhvr>
                                        <p:cTn id="14" dur="1" fill="hold">
                                          <p:stCondLst>
                                            <p:cond delay="0"/>
                                          </p:stCondLst>
                                        </p:cTn>
                                        <p:tgtEl>
                                          <p:spTgt spid="7">
                                            <p:txEl>
                                              <p:pRg st="0" end="0"/>
                                            </p:txEl>
                                          </p:spTgt>
                                        </p:tgtEl>
                                        <p:attrNameLst>
                                          <p:attrName>style.visibility</p:attrName>
                                        </p:attrNameLst>
                                      </p:cBhvr>
                                      <p:to>
                                        <p:strVal val="visible"/>
                                      </p:to>
                                    </p:set>
                                    <p:anim calcmode="lin" valueType="num">
                                      <p:cBhvr additive="base">
                                        <p:cTn id="15" dur="7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16" dur="700" fill="hold"/>
                                        <p:tgtEl>
                                          <p:spTgt spid="7">
                                            <p:txEl>
                                              <p:pRg st="0" end="0"/>
                                            </p:txEl>
                                          </p:spTgt>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60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200"/>
                                        <p:tgtEl>
                                          <p:spTgt spid="9"/>
                                        </p:tgtEl>
                                      </p:cBhvr>
                                    </p:animEffect>
                                  </p:childTnLst>
                                </p:cTn>
                              </p:par>
                              <p:par>
                                <p:cTn id="20" presetID="10" presetClass="entr" presetSubtype="0" fill="hold" grpId="0" nodeType="withEffect">
                                  <p:stCondLst>
                                    <p:cond delay="60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200"/>
                                        <p:tgtEl>
                                          <p:spTgt spid="10"/>
                                        </p:tgtEl>
                                      </p:cBhvr>
                                    </p:animEffect>
                                  </p:childTnLst>
                                </p:cTn>
                              </p:par>
                            </p:childTnLst>
                          </p:cTn>
                        </p:par>
                        <p:par>
                          <p:cTn id="23" fill="hold">
                            <p:stCondLst>
                              <p:cond delay="800"/>
                            </p:stCondLst>
                            <p:childTnLst>
                              <p:par>
                                <p:cTn id="24" presetID="1" presetClass="entr" presetSubtype="0" fill="hold" grpId="0" nodeType="afterEffect">
                                  <p:stCondLst>
                                    <p:cond delay="0"/>
                                  </p:stCondLst>
                                  <p:childTnLst>
                                    <p:set>
                                      <p:cBhvr>
                                        <p:cTn id="25"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animBg="1">
        <p:tmplLst>
          <p:tmpl>
            <p:tnLst>
              <p:par>
                <p:cTn presetID="2" presetClass="entr" presetSubtype="8" decel="50000" fill="hold" nodeType="withEffect">
                  <p:stCondLst>
                    <p:cond delay="0"/>
                  </p:stCondLst>
                  <p:childTnLst>
                    <p:set>
                      <p:cBhvr>
                        <p:cTn dur="1" fill="hold">
                          <p:stCondLst>
                            <p:cond delay="0"/>
                          </p:stCondLst>
                        </p:cTn>
                        <p:tgtEl>
                          <p:spTgt spid="7"/>
                        </p:tgtEl>
                        <p:attrNameLst>
                          <p:attrName>style.visibility</p:attrName>
                        </p:attrNameLst>
                      </p:cBhvr>
                      <p:to>
                        <p:strVal val="visible"/>
                      </p:to>
                    </p:set>
                    <p:anim calcmode="lin" valueType="num">
                      <p:cBhvr additive="base">
                        <p:cTn dur="700" fill="hold"/>
                        <p:tgtEl>
                          <p:spTgt spid="7"/>
                        </p:tgtEl>
                        <p:attrNameLst>
                          <p:attrName>ppt_x</p:attrName>
                        </p:attrNameLst>
                      </p:cBhvr>
                      <p:tavLst>
                        <p:tav tm="0">
                          <p:val>
                            <p:strVal val="0-#ppt_w/2"/>
                          </p:val>
                        </p:tav>
                        <p:tav tm="100000">
                          <p:val>
                            <p:strVal val="#ppt_x"/>
                          </p:val>
                        </p:tav>
                      </p:tavLst>
                    </p:anim>
                    <p:anim calcmode="lin" valueType="num">
                      <p:cBhvr additive="base">
                        <p:cTn dur="700" fill="hold"/>
                        <p:tgtEl>
                          <p:spTgt spid="7"/>
                        </p:tgtEl>
                        <p:attrNameLst>
                          <p:attrName>ppt_y</p:attrName>
                        </p:attrNameLst>
                      </p:cBhvr>
                      <p:tavLst>
                        <p:tav tm="0">
                          <p:val>
                            <p:strVal val="#ppt_y"/>
                          </p:val>
                        </p:tav>
                        <p:tav tm="100000">
                          <p:val>
                            <p:strVal val="#ppt_y"/>
                          </p:val>
                        </p:tav>
                      </p:tavLst>
                    </p:anim>
                  </p:childTnLst>
                </p:cTn>
              </p:par>
            </p:tnLst>
          </p:tmpl>
          <p:tmpl lvl="1">
            <p:tnLst>
              <p:par>
                <p:cTn presetID="2" presetClass="entr" presetSubtype="8" decel="50000" fill="hold" nodeType="withEffect">
                  <p:stCondLst>
                    <p:cond delay="0"/>
                  </p:stCondLst>
                  <p:childTnLst>
                    <p:set>
                      <p:cBhvr>
                        <p:cTn dur="1" fill="hold">
                          <p:stCondLst>
                            <p:cond delay="0"/>
                          </p:stCondLst>
                        </p:cTn>
                        <p:tgtEl>
                          <p:spTgt spid="7"/>
                        </p:tgtEl>
                        <p:attrNameLst>
                          <p:attrName>style.visibility</p:attrName>
                        </p:attrNameLst>
                      </p:cBhvr>
                      <p:to>
                        <p:strVal val="visible"/>
                      </p:to>
                    </p:set>
                    <p:anim calcmode="lin" valueType="num">
                      <p:cBhvr additive="base">
                        <p:cTn dur="700" fill="hold"/>
                        <p:tgtEl>
                          <p:spTgt spid="7"/>
                        </p:tgtEl>
                        <p:attrNameLst>
                          <p:attrName>ppt_x</p:attrName>
                        </p:attrNameLst>
                      </p:cBhvr>
                      <p:tavLst>
                        <p:tav tm="0">
                          <p:val>
                            <p:strVal val="0-#ppt_w/2"/>
                          </p:val>
                        </p:tav>
                        <p:tav tm="100000">
                          <p:val>
                            <p:strVal val="#ppt_x"/>
                          </p:val>
                        </p:tav>
                      </p:tavLst>
                    </p:anim>
                    <p:anim calcmode="lin" valueType="num">
                      <p:cBhvr additive="base">
                        <p:cTn dur="700" fill="hold"/>
                        <p:tgtEl>
                          <p:spTgt spid="7"/>
                        </p:tgtEl>
                        <p:attrNameLst>
                          <p:attrName>ppt_y</p:attrName>
                        </p:attrNameLst>
                      </p:cBhvr>
                      <p:tavLst>
                        <p:tav tm="0">
                          <p:val>
                            <p:strVal val="#ppt_y"/>
                          </p:val>
                        </p:tav>
                        <p:tav tm="100000">
                          <p:val>
                            <p:strVal val="#ppt_y"/>
                          </p:val>
                        </p:tav>
                      </p:tavLst>
                    </p:anim>
                  </p:childTnLst>
                </p:cTn>
              </p:par>
            </p:tnLst>
          </p:tmpl>
        </p:tmplLst>
      </p:bldP>
      <p:bldP spid="8" grpId="0"/>
      <p:bldP spid="9" grpId="0" animBg="1">
        <p:tmplLst>
          <p:tmpl>
            <p:tnLst>
              <p:par>
                <p:cTn presetID="10" presetClass="entr" presetSubtype="0" fill="hold" nodeType="withEffect">
                  <p:stCondLst>
                    <p:cond delay="600"/>
                  </p:stCondLst>
                  <p:childTnLst>
                    <p:set>
                      <p:cBhvr>
                        <p:cTn dur="1" fill="hold">
                          <p:stCondLst>
                            <p:cond delay="0"/>
                          </p:stCondLst>
                        </p:cTn>
                        <p:tgtEl>
                          <p:spTgt spid="9"/>
                        </p:tgtEl>
                        <p:attrNameLst>
                          <p:attrName>style.visibility</p:attrName>
                        </p:attrNameLst>
                      </p:cBhvr>
                      <p:to>
                        <p:strVal val="visible"/>
                      </p:to>
                    </p:set>
                    <p:animEffect transition="in" filter="fade">
                      <p:cBhvr>
                        <p:cTn dur="200"/>
                        <p:tgtEl>
                          <p:spTgt spid="9"/>
                        </p:tgtEl>
                      </p:cBhvr>
                    </p:animEffect>
                  </p:childTnLst>
                </p:cTn>
              </p:par>
            </p:tnLst>
          </p:tmpl>
        </p:tmplLst>
      </p:bldP>
      <p:bldP spid="10" grpId="0" animBg="1">
        <p:tmplLst>
          <p:tmpl>
            <p:tnLst>
              <p:par>
                <p:cTn presetID="10" presetClass="entr" presetSubtype="0" fill="hold" nodeType="withEffect">
                  <p:stCondLst>
                    <p:cond delay="600"/>
                  </p:stCondLst>
                  <p:childTnLst>
                    <p:set>
                      <p:cBhvr>
                        <p:cTn dur="1" fill="hold">
                          <p:stCondLst>
                            <p:cond delay="0"/>
                          </p:stCondLst>
                        </p:cTn>
                        <p:tgtEl>
                          <p:spTgt spid="10"/>
                        </p:tgtEl>
                        <p:attrNameLst>
                          <p:attrName>style.visibility</p:attrName>
                        </p:attrNameLst>
                      </p:cBhvr>
                      <p:to>
                        <p:strVal val="visible"/>
                      </p:to>
                    </p:set>
                    <p:animEffect transition="in" filter="fade">
                      <p:cBhvr>
                        <p:cTn dur="200"/>
                        <p:tgtEl>
                          <p:spTgt spid="10"/>
                        </p:tgtEl>
                      </p:cBhvr>
                    </p:animEffect>
                  </p:childTnLst>
                </p:cTn>
              </p:par>
            </p:tnLst>
          </p:tmpl>
        </p:tmplLst>
      </p:bldP>
      <p:bldP spid="12" grpId="0" animBg="1"/>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Hoofdstukdia met eigen foto (rood)">
    <p:bg>
      <p:bgPr>
        <a:solidFill>
          <a:schemeClr val="bg1"/>
        </a:solidFill>
        <a:effectLst/>
      </p:bgPr>
    </p:bg>
    <p:spTree>
      <p:nvGrpSpPr>
        <p:cNvPr id="1" name=""/>
        <p:cNvGrpSpPr/>
        <p:nvPr/>
      </p:nvGrpSpPr>
      <p:grpSpPr>
        <a:xfrm>
          <a:off x="0" y="0"/>
          <a:ext cx="0" cy="0"/>
          <a:chOff x="0" y="0"/>
          <a:chExt cx="0" cy="0"/>
        </a:xfrm>
      </p:grpSpPr>
      <p:sp>
        <p:nvSpPr>
          <p:cNvPr id="10" name="Tijdelijke aanduiding voor tekst 9">
            <a:extLst>
              <a:ext uri="{FF2B5EF4-FFF2-40B4-BE49-F238E27FC236}">
                <a16:creationId xmlns:a16="http://schemas.microsoft.com/office/drawing/2014/main" id="{D4237D0C-6A65-43B0-9664-D5C08664B193}"/>
              </a:ext>
            </a:extLst>
          </p:cNvPr>
          <p:cNvSpPr>
            <a:spLocks noGrp="1" noSelect="1"/>
          </p:cNvSpPr>
          <p:nvPr>
            <p:ph type="body" idx="1000" hasCustomPrompt="1"/>
            <p:custDataLst>
              <p:custData r:id="rId1"/>
            </p:custDataLst>
          </p:nvPr>
        </p:nvSpPr>
        <p:spPr bwMode="gray">
          <a:xfrm>
            <a:off x="0" y="0"/>
            <a:ext cx="5780160" cy="6857999"/>
          </a:xfrm>
          <a:custGeom>
            <a:avLst/>
            <a:gdLst>
              <a:gd name="connsiteX0" fmla="*/ 0 w 5780088"/>
              <a:gd name="connsiteY0" fmla="*/ 0 h 6851650"/>
              <a:gd name="connsiteX1" fmla="*/ 4383088 w 5780088"/>
              <a:gd name="connsiteY1" fmla="*/ 0 h 6851650"/>
              <a:gd name="connsiteX2" fmla="*/ 5780088 w 5780088"/>
              <a:gd name="connsiteY2" fmla="*/ 0 h 6851650"/>
              <a:gd name="connsiteX3" fmla="*/ 5780088 w 5780088"/>
              <a:gd name="connsiteY3" fmla="*/ 5456238 h 6851650"/>
              <a:gd name="connsiteX4" fmla="*/ 5081588 w 5780088"/>
              <a:gd name="connsiteY4" fmla="*/ 6154738 h 6851650"/>
              <a:gd name="connsiteX5" fmla="*/ 5081588 w 5780088"/>
              <a:gd name="connsiteY5" fmla="*/ 6154738 h 6851650"/>
              <a:gd name="connsiteX6" fmla="*/ 4383088 w 5780088"/>
              <a:gd name="connsiteY6" fmla="*/ 6851650 h 6851650"/>
              <a:gd name="connsiteX7" fmla="*/ 0 w 5780088"/>
              <a:gd name="connsiteY7" fmla="*/ 6851650 h 685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80088" h="6851650">
                <a:moveTo>
                  <a:pt x="0" y="0"/>
                </a:moveTo>
                <a:lnTo>
                  <a:pt x="4383088" y="0"/>
                </a:lnTo>
                <a:lnTo>
                  <a:pt x="5780088" y="0"/>
                </a:lnTo>
                <a:lnTo>
                  <a:pt x="5780088" y="5456238"/>
                </a:lnTo>
                <a:lnTo>
                  <a:pt x="5081588" y="6154738"/>
                </a:lnTo>
                <a:lnTo>
                  <a:pt x="5081588" y="6154738"/>
                </a:lnTo>
                <a:lnTo>
                  <a:pt x="4383088" y="6851650"/>
                </a:lnTo>
                <a:lnTo>
                  <a:pt x="0" y="6851650"/>
                </a:lnTo>
                <a:close/>
              </a:path>
            </a:pathLst>
          </a:custGeom>
          <a:solidFill>
            <a:srgbClr val="C73735"/>
          </a:solidFill>
          <a:ln>
            <a:noFill/>
          </a:ln>
        </p:spPr>
        <p:txBody>
          <a:bodyPr vert="horz" wrap="square" lIns="91440" tIns="45720" rIns="91440" bIns="45720" numCol="1" anchor="t" anchorCtr="0" compatLnSpc="1">
            <a:prstTxWarp prst="textNoShape">
              <a:avLst/>
            </a:prstTxWarp>
            <a:noAutofit/>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12" name="Tijdelijke aanduiding voor afbeelding 17">
            <a:extLst>
              <a:ext uri="{FF2B5EF4-FFF2-40B4-BE49-F238E27FC236}">
                <a16:creationId xmlns:a16="http://schemas.microsoft.com/office/drawing/2014/main" id="{CCEA4C94-9671-4803-ADEE-73024B5AC58D}"/>
              </a:ext>
            </a:extLst>
          </p:cNvPr>
          <p:cNvSpPr>
            <a:spLocks noGrp="1" noSelect="1"/>
          </p:cNvSpPr>
          <p:nvPr>
            <p:ph type="pic" idx="13" hasCustomPrompt="1"/>
          </p:nvPr>
        </p:nvSpPr>
        <p:spPr bwMode="gray">
          <a:xfrm>
            <a:off x="4392000" y="0"/>
            <a:ext cx="7812000" cy="6857999"/>
          </a:xfrm>
          <a:custGeom>
            <a:avLst/>
            <a:gdLst>
              <a:gd name="connsiteX0" fmla="*/ 0 w 7812000"/>
              <a:gd name="connsiteY0" fmla="*/ 0 h 6851520"/>
              <a:gd name="connsiteX1" fmla="*/ 7812000 w 7812000"/>
              <a:gd name="connsiteY1" fmla="*/ 0 h 6851520"/>
              <a:gd name="connsiteX2" fmla="*/ 7812000 w 7812000"/>
              <a:gd name="connsiteY2" fmla="*/ 6851520 h 6851520"/>
              <a:gd name="connsiteX3" fmla="*/ 1396847 w 7812000"/>
              <a:gd name="connsiteY3" fmla="*/ 6851520 h 6851520"/>
              <a:gd name="connsiteX4" fmla="*/ 698413 w 7812000"/>
              <a:gd name="connsiteY4" fmla="*/ 6154673 h 6851520"/>
              <a:gd name="connsiteX5" fmla="*/ 698412 w 7812000"/>
              <a:gd name="connsiteY5" fmla="*/ 6154673 h 6851520"/>
              <a:gd name="connsiteX6" fmla="*/ 0 w 7812000"/>
              <a:gd name="connsiteY6" fmla="*/ 5456261 h 6851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12000" h="6851520">
                <a:moveTo>
                  <a:pt x="0" y="0"/>
                </a:moveTo>
                <a:lnTo>
                  <a:pt x="7812000" y="0"/>
                </a:lnTo>
                <a:lnTo>
                  <a:pt x="7812000" y="6851520"/>
                </a:lnTo>
                <a:lnTo>
                  <a:pt x="1396847" y="6851520"/>
                </a:lnTo>
                <a:lnTo>
                  <a:pt x="698413" y="6154673"/>
                </a:lnTo>
                <a:lnTo>
                  <a:pt x="698412" y="6154673"/>
                </a:lnTo>
                <a:lnTo>
                  <a:pt x="0" y="5456261"/>
                </a:lnTo>
                <a:close/>
              </a:path>
            </a:pathLst>
          </a:custGeom>
          <a:noFill/>
        </p:spPr>
        <p:txBody>
          <a:bodyPr wrap="square" anchor="ctr" anchorCtr="1">
            <a:noAutofit/>
          </a:bodyPr>
          <a:lstStyle>
            <a:lvl1pPr marL="270108" indent="-270108" algn="l" defTabSz="1088937" rtl="0" eaLnBrk="1" latinLnBrk="0" hangingPunct="1">
              <a:spcBef>
                <a:spcPts val="0"/>
              </a:spcBef>
              <a:buFont typeface="Arial" pitchFamily="34" charset="0"/>
              <a:buNone/>
              <a:defRPr/>
            </a:lvl1pPr>
          </a:lstStyle>
          <a:p>
            <a:r>
              <a:rPr lang="nl-NL" dirty="0"/>
              <a:t>[Klik op icoon en voeg afbeelding in]</a:t>
            </a:r>
          </a:p>
        </p:txBody>
      </p:sp>
      <p:sp>
        <p:nvSpPr>
          <p:cNvPr id="13" name="Logo (PHJU)">
            <a:extLst>
              <a:ext uri="{FF2B5EF4-FFF2-40B4-BE49-F238E27FC236}">
                <a16:creationId xmlns:a16="http://schemas.microsoft.com/office/drawing/2014/main" id="{86FE5542-5787-4DBC-AD23-6C2E6214DE2A}"/>
              </a:ext>
            </a:extLst>
          </p:cNvPr>
          <p:cNvSpPr>
            <a:spLocks noGrp="1" noSelect="1"/>
          </p:cNvSpPr>
          <p:nvPr userDrawn="1">
            <p:ph type="body" idx="1002" hasCustomPrompt="1"/>
            <p:custDataLst>
              <p:custData r:id="rId2"/>
            </p:custDataLst>
          </p:nvPr>
        </p:nvSpPr>
        <p:spPr bwMode="gray">
          <a:xfrm>
            <a:off x="638175" y="6030913"/>
            <a:ext cx="2481263" cy="508000"/>
          </a:xfrm>
          <a:custGeom>
            <a:avLst/>
            <a:gdLst>
              <a:gd name="T0" fmla="*/ 1692 w 7817"/>
              <a:gd name="T1" fmla="*/ 0 h 1604"/>
              <a:gd name="T2" fmla="*/ 1692 w 7817"/>
              <a:gd name="T3" fmla="*/ 525 h 1604"/>
              <a:gd name="T4" fmla="*/ 2362 w 7817"/>
              <a:gd name="T5" fmla="*/ 330 h 1604"/>
              <a:gd name="T6" fmla="*/ 2557 w 7817"/>
              <a:gd name="T7" fmla="*/ 729 h 1604"/>
              <a:gd name="T8" fmla="*/ 3512 w 7817"/>
              <a:gd name="T9" fmla="*/ 0 h 1604"/>
              <a:gd name="T10" fmla="*/ 3421 w 7817"/>
              <a:gd name="T11" fmla="*/ 525 h 1604"/>
              <a:gd name="T12" fmla="*/ 5552 w 7817"/>
              <a:gd name="T13" fmla="*/ 1512 h 1604"/>
              <a:gd name="T14" fmla="*/ 5558 w 7817"/>
              <a:gd name="T15" fmla="*/ 1482 h 1604"/>
              <a:gd name="T16" fmla="*/ 5876 w 7817"/>
              <a:gd name="T17" fmla="*/ 1472 h 1604"/>
              <a:gd name="T18" fmla="*/ 5792 w 7817"/>
              <a:gd name="T19" fmla="*/ 1341 h 1604"/>
              <a:gd name="T20" fmla="*/ 5942 w 7817"/>
              <a:gd name="T21" fmla="*/ 1317 h 1604"/>
              <a:gd name="T22" fmla="*/ 6271 w 7817"/>
              <a:gd name="T23" fmla="*/ 1454 h 1604"/>
              <a:gd name="T24" fmla="*/ 6267 w 7817"/>
              <a:gd name="T25" fmla="*/ 1395 h 1604"/>
              <a:gd name="T26" fmla="*/ 6433 w 7817"/>
              <a:gd name="T27" fmla="*/ 1412 h 1604"/>
              <a:gd name="T28" fmla="*/ 6534 w 7817"/>
              <a:gd name="T29" fmla="*/ 1482 h 1604"/>
              <a:gd name="T30" fmla="*/ 6713 w 7817"/>
              <a:gd name="T31" fmla="*/ 1473 h 1604"/>
              <a:gd name="T32" fmla="*/ 6847 w 7817"/>
              <a:gd name="T33" fmla="*/ 1412 h 1604"/>
              <a:gd name="T34" fmla="*/ 7086 w 7817"/>
              <a:gd name="T35" fmla="*/ 1507 h 1604"/>
              <a:gd name="T36" fmla="*/ 6925 w 7817"/>
              <a:gd name="T37" fmla="*/ 1317 h 1604"/>
              <a:gd name="T38" fmla="*/ 7356 w 7817"/>
              <a:gd name="T39" fmla="*/ 1312 h 1604"/>
              <a:gd name="T40" fmla="*/ 7446 w 7817"/>
              <a:gd name="T41" fmla="*/ 1411 h 1604"/>
              <a:gd name="T42" fmla="*/ 7625 w 7817"/>
              <a:gd name="T43" fmla="*/ 1507 h 1604"/>
              <a:gd name="T44" fmla="*/ 7519 w 7817"/>
              <a:gd name="T45" fmla="*/ 1317 h 1604"/>
              <a:gd name="T46" fmla="*/ 7728 w 7817"/>
              <a:gd name="T47" fmla="*/ 1343 h 1604"/>
              <a:gd name="T48" fmla="*/ 7815 w 7817"/>
              <a:gd name="T49" fmla="*/ 1343 h 1604"/>
              <a:gd name="T50" fmla="*/ 3773 w 7817"/>
              <a:gd name="T51" fmla="*/ 1344 h 1604"/>
              <a:gd name="T52" fmla="*/ 3942 w 7817"/>
              <a:gd name="T53" fmla="*/ 1412 h 1604"/>
              <a:gd name="T54" fmla="*/ 4091 w 7817"/>
              <a:gd name="T55" fmla="*/ 1314 h 1604"/>
              <a:gd name="T56" fmla="*/ 4013 w 7817"/>
              <a:gd name="T57" fmla="*/ 1317 h 1604"/>
              <a:gd name="T58" fmla="*/ 4206 w 7817"/>
              <a:gd name="T59" fmla="*/ 1312 h 1604"/>
              <a:gd name="T60" fmla="*/ 4384 w 7817"/>
              <a:gd name="T61" fmla="*/ 1344 h 1604"/>
              <a:gd name="T62" fmla="*/ 4553 w 7817"/>
              <a:gd name="T63" fmla="*/ 1412 h 1604"/>
              <a:gd name="T64" fmla="*/ 4588 w 7817"/>
              <a:gd name="T65" fmla="*/ 1412 h 1604"/>
              <a:gd name="T66" fmla="*/ 4686 w 7817"/>
              <a:gd name="T67" fmla="*/ 1312 h 1604"/>
              <a:gd name="T68" fmla="*/ 4916 w 7817"/>
              <a:gd name="T69" fmla="*/ 1343 h 1604"/>
              <a:gd name="T70" fmla="*/ 4858 w 7817"/>
              <a:gd name="T71" fmla="*/ 1348 h 1604"/>
              <a:gd name="T72" fmla="*/ 4963 w 7817"/>
              <a:gd name="T73" fmla="*/ 1317 h 1604"/>
              <a:gd name="T74" fmla="*/ 5036 w 7817"/>
              <a:gd name="T75" fmla="*/ 1439 h 1604"/>
              <a:gd name="T76" fmla="*/ 5129 w 7817"/>
              <a:gd name="T77" fmla="*/ 1572 h 1604"/>
              <a:gd name="T78" fmla="*/ 5274 w 7817"/>
              <a:gd name="T79" fmla="*/ 1317 h 1604"/>
              <a:gd name="T80" fmla="*/ 1632 w 7817"/>
              <a:gd name="T81" fmla="*/ 1473 h 1604"/>
              <a:gd name="T82" fmla="*/ 1767 w 7817"/>
              <a:gd name="T83" fmla="*/ 1412 h 1604"/>
              <a:gd name="T84" fmla="*/ 1866 w 7817"/>
              <a:gd name="T85" fmla="*/ 1412 h 1604"/>
              <a:gd name="T86" fmla="*/ 2208 w 7817"/>
              <a:gd name="T87" fmla="*/ 1476 h 1604"/>
              <a:gd name="T88" fmla="*/ 2206 w 7817"/>
              <a:gd name="T89" fmla="*/ 1317 h 1604"/>
              <a:gd name="T90" fmla="*/ 2632 w 7817"/>
              <a:gd name="T91" fmla="*/ 1507 h 1604"/>
              <a:gd name="T92" fmla="*/ 2414 w 7817"/>
              <a:gd name="T93" fmla="*/ 1361 h 1604"/>
              <a:gd name="T94" fmla="*/ 2433 w 7817"/>
              <a:gd name="T95" fmla="*/ 1317 h 1604"/>
              <a:gd name="T96" fmla="*/ 2668 w 7817"/>
              <a:gd name="T97" fmla="*/ 1195 h 1604"/>
              <a:gd name="T98" fmla="*/ 2893 w 7817"/>
              <a:gd name="T99" fmla="*/ 1412 h 1604"/>
              <a:gd name="T100" fmla="*/ 3097 w 7817"/>
              <a:gd name="T101" fmla="*/ 1507 h 1604"/>
              <a:gd name="T102" fmla="*/ 2930 w 7817"/>
              <a:gd name="T103" fmla="*/ 1317 h 1604"/>
              <a:gd name="T104" fmla="*/ 3238 w 7817"/>
              <a:gd name="T105" fmla="*/ 1312 h 1604"/>
              <a:gd name="T106" fmla="*/ 3307 w 7817"/>
              <a:gd name="T107" fmla="*/ 1200 h 1604"/>
              <a:gd name="T108" fmla="*/ 3454 w 7817"/>
              <a:gd name="T109" fmla="*/ 1512 h 1604"/>
              <a:gd name="T110" fmla="*/ 3523 w 7817"/>
              <a:gd name="T111" fmla="*/ 1346 h 1604"/>
              <a:gd name="T112" fmla="*/ 0 w 7817"/>
              <a:gd name="T113" fmla="*/ 403 h 1604"/>
              <a:gd name="T114" fmla="*/ 814 w 7817"/>
              <a:gd name="T115" fmla="*/ 386 h 1604"/>
              <a:gd name="T116" fmla="*/ 50 w 7817"/>
              <a:gd name="T117" fmla="*/ 403 h 1604"/>
              <a:gd name="T118" fmla="*/ 218 w 7817"/>
              <a:gd name="T119" fmla="*/ 621 h 1604"/>
              <a:gd name="T120" fmla="*/ 1165 w 7817"/>
              <a:gd name="T121" fmla="*/ 42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17" h="1604">
                <a:moveTo>
                  <a:pt x="1692" y="702"/>
                </a:moveTo>
                <a:cubicBezTo>
                  <a:pt x="1694" y="702"/>
                  <a:pt x="1694" y="702"/>
                  <a:pt x="1694" y="702"/>
                </a:cubicBezTo>
                <a:cubicBezTo>
                  <a:pt x="1728" y="764"/>
                  <a:pt x="1807" y="814"/>
                  <a:pt x="1905" y="814"/>
                </a:cubicBezTo>
                <a:cubicBezTo>
                  <a:pt x="2059" y="814"/>
                  <a:pt x="2180" y="689"/>
                  <a:pt x="2180" y="525"/>
                </a:cubicBezTo>
                <a:cubicBezTo>
                  <a:pt x="2180" y="358"/>
                  <a:pt x="2064" y="236"/>
                  <a:pt x="1891" y="236"/>
                </a:cubicBezTo>
                <a:cubicBezTo>
                  <a:pt x="1812" y="236"/>
                  <a:pt x="1745" y="271"/>
                  <a:pt x="1694" y="330"/>
                </a:cubicBezTo>
                <a:cubicBezTo>
                  <a:pt x="1692" y="330"/>
                  <a:pt x="1692" y="330"/>
                  <a:pt x="1692" y="330"/>
                </a:cubicBezTo>
                <a:cubicBezTo>
                  <a:pt x="1692" y="0"/>
                  <a:pt x="1692" y="0"/>
                  <a:pt x="1692" y="0"/>
                </a:cubicBezTo>
                <a:cubicBezTo>
                  <a:pt x="1600" y="0"/>
                  <a:pt x="1600" y="0"/>
                  <a:pt x="1600" y="0"/>
                </a:cubicBezTo>
                <a:cubicBezTo>
                  <a:pt x="1600" y="799"/>
                  <a:pt x="1600" y="799"/>
                  <a:pt x="1600" y="799"/>
                </a:cubicBezTo>
                <a:cubicBezTo>
                  <a:pt x="1692" y="799"/>
                  <a:pt x="1692" y="799"/>
                  <a:pt x="1692" y="799"/>
                </a:cubicBezTo>
                <a:lnTo>
                  <a:pt x="1692" y="702"/>
                </a:lnTo>
                <a:close/>
                <a:moveTo>
                  <a:pt x="1887" y="320"/>
                </a:moveTo>
                <a:cubicBezTo>
                  <a:pt x="2005" y="320"/>
                  <a:pt x="2082" y="410"/>
                  <a:pt x="2082" y="525"/>
                </a:cubicBezTo>
                <a:cubicBezTo>
                  <a:pt x="2082" y="640"/>
                  <a:pt x="2005" y="729"/>
                  <a:pt x="1887" y="729"/>
                </a:cubicBezTo>
                <a:cubicBezTo>
                  <a:pt x="1768" y="729"/>
                  <a:pt x="1692" y="640"/>
                  <a:pt x="1692" y="525"/>
                </a:cubicBezTo>
                <a:cubicBezTo>
                  <a:pt x="1692" y="410"/>
                  <a:pt x="1768" y="320"/>
                  <a:pt x="1887" y="320"/>
                </a:cubicBezTo>
                <a:close/>
                <a:moveTo>
                  <a:pt x="2362" y="702"/>
                </a:moveTo>
                <a:cubicBezTo>
                  <a:pt x="2365" y="702"/>
                  <a:pt x="2365" y="702"/>
                  <a:pt x="2365" y="702"/>
                </a:cubicBezTo>
                <a:cubicBezTo>
                  <a:pt x="2399" y="764"/>
                  <a:pt x="2477" y="814"/>
                  <a:pt x="2576" y="814"/>
                </a:cubicBezTo>
                <a:cubicBezTo>
                  <a:pt x="2730" y="814"/>
                  <a:pt x="2851" y="689"/>
                  <a:pt x="2851" y="525"/>
                </a:cubicBezTo>
                <a:cubicBezTo>
                  <a:pt x="2851" y="358"/>
                  <a:pt x="2735" y="236"/>
                  <a:pt x="2562" y="236"/>
                </a:cubicBezTo>
                <a:cubicBezTo>
                  <a:pt x="2482" y="236"/>
                  <a:pt x="2415" y="271"/>
                  <a:pt x="2365" y="330"/>
                </a:cubicBezTo>
                <a:cubicBezTo>
                  <a:pt x="2362" y="330"/>
                  <a:pt x="2362" y="330"/>
                  <a:pt x="2362" y="330"/>
                </a:cubicBezTo>
                <a:cubicBezTo>
                  <a:pt x="2362" y="250"/>
                  <a:pt x="2362" y="250"/>
                  <a:pt x="2362" y="250"/>
                </a:cubicBezTo>
                <a:cubicBezTo>
                  <a:pt x="2271" y="250"/>
                  <a:pt x="2271" y="250"/>
                  <a:pt x="2271" y="250"/>
                </a:cubicBezTo>
                <a:cubicBezTo>
                  <a:pt x="2271" y="1057"/>
                  <a:pt x="2271" y="1057"/>
                  <a:pt x="2271" y="1057"/>
                </a:cubicBezTo>
                <a:cubicBezTo>
                  <a:pt x="2362" y="1057"/>
                  <a:pt x="2362" y="1057"/>
                  <a:pt x="2362" y="1057"/>
                </a:cubicBezTo>
                <a:lnTo>
                  <a:pt x="2362" y="702"/>
                </a:lnTo>
                <a:close/>
                <a:moveTo>
                  <a:pt x="2557" y="320"/>
                </a:moveTo>
                <a:cubicBezTo>
                  <a:pt x="2676" y="320"/>
                  <a:pt x="2752" y="410"/>
                  <a:pt x="2752" y="525"/>
                </a:cubicBezTo>
                <a:cubicBezTo>
                  <a:pt x="2752" y="640"/>
                  <a:pt x="2676" y="729"/>
                  <a:pt x="2557" y="729"/>
                </a:cubicBezTo>
                <a:cubicBezTo>
                  <a:pt x="2439" y="729"/>
                  <a:pt x="2362" y="640"/>
                  <a:pt x="2362" y="525"/>
                </a:cubicBezTo>
                <a:cubicBezTo>
                  <a:pt x="2362" y="410"/>
                  <a:pt x="2439" y="320"/>
                  <a:pt x="2557" y="320"/>
                </a:cubicBezTo>
                <a:close/>
                <a:moveTo>
                  <a:pt x="3207" y="814"/>
                </a:moveTo>
                <a:cubicBezTo>
                  <a:pt x="3306" y="814"/>
                  <a:pt x="3385" y="764"/>
                  <a:pt x="3419" y="702"/>
                </a:cubicBezTo>
                <a:cubicBezTo>
                  <a:pt x="3421" y="702"/>
                  <a:pt x="3421" y="702"/>
                  <a:pt x="3421" y="702"/>
                </a:cubicBezTo>
                <a:cubicBezTo>
                  <a:pt x="3421" y="799"/>
                  <a:pt x="3421" y="799"/>
                  <a:pt x="3421" y="799"/>
                </a:cubicBezTo>
                <a:cubicBezTo>
                  <a:pt x="3512" y="799"/>
                  <a:pt x="3512" y="799"/>
                  <a:pt x="3512" y="799"/>
                </a:cubicBezTo>
                <a:cubicBezTo>
                  <a:pt x="3512" y="0"/>
                  <a:pt x="3512" y="0"/>
                  <a:pt x="3512" y="0"/>
                </a:cubicBezTo>
                <a:cubicBezTo>
                  <a:pt x="3421" y="0"/>
                  <a:pt x="3421" y="0"/>
                  <a:pt x="3421" y="0"/>
                </a:cubicBezTo>
                <a:cubicBezTo>
                  <a:pt x="3421" y="330"/>
                  <a:pt x="3421" y="330"/>
                  <a:pt x="3421" y="330"/>
                </a:cubicBezTo>
                <a:cubicBezTo>
                  <a:pt x="3419" y="330"/>
                  <a:pt x="3419" y="330"/>
                  <a:pt x="3419" y="330"/>
                </a:cubicBezTo>
                <a:cubicBezTo>
                  <a:pt x="3368" y="271"/>
                  <a:pt x="3301" y="236"/>
                  <a:pt x="3221" y="236"/>
                </a:cubicBezTo>
                <a:cubicBezTo>
                  <a:pt x="3049" y="236"/>
                  <a:pt x="2933" y="358"/>
                  <a:pt x="2933" y="525"/>
                </a:cubicBezTo>
                <a:cubicBezTo>
                  <a:pt x="2933" y="689"/>
                  <a:pt x="3054" y="814"/>
                  <a:pt x="3207" y="814"/>
                </a:cubicBezTo>
                <a:close/>
                <a:moveTo>
                  <a:pt x="3226" y="320"/>
                </a:moveTo>
                <a:cubicBezTo>
                  <a:pt x="3345" y="320"/>
                  <a:pt x="3421" y="410"/>
                  <a:pt x="3421" y="525"/>
                </a:cubicBezTo>
                <a:cubicBezTo>
                  <a:pt x="3421" y="640"/>
                  <a:pt x="3345" y="729"/>
                  <a:pt x="3226" y="729"/>
                </a:cubicBezTo>
                <a:cubicBezTo>
                  <a:pt x="3107" y="729"/>
                  <a:pt x="3031" y="640"/>
                  <a:pt x="3031" y="525"/>
                </a:cubicBezTo>
                <a:cubicBezTo>
                  <a:pt x="3031" y="410"/>
                  <a:pt x="3107" y="320"/>
                  <a:pt x="3226" y="320"/>
                </a:cubicBezTo>
                <a:close/>
                <a:moveTo>
                  <a:pt x="5626" y="1344"/>
                </a:moveTo>
                <a:cubicBezTo>
                  <a:pt x="5625" y="1344"/>
                  <a:pt x="5625" y="1344"/>
                  <a:pt x="5625" y="1344"/>
                </a:cubicBezTo>
                <a:cubicBezTo>
                  <a:pt x="5607" y="1324"/>
                  <a:pt x="5584" y="1312"/>
                  <a:pt x="5557" y="1312"/>
                </a:cubicBezTo>
                <a:cubicBezTo>
                  <a:pt x="5497" y="1312"/>
                  <a:pt x="5457" y="1354"/>
                  <a:pt x="5457" y="1412"/>
                </a:cubicBezTo>
                <a:cubicBezTo>
                  <a:pt x="5457" y="1469"/>
                  <a:pt x="5498" y="1512"/>
                  <a:pt x="5552" y="1512"/>
                </a:cubicBezTo>
                <a:cubicBezTo>
                  <a:pt x="5586" y="1512"/>
                  <a:pt x="5613" y="1495"/>
                  <a:pt x="5625" y="1473"/>
                </a:cubicBezTo>
                <a:cubicBezTo>
                  <a:pt x="5626" y="1473"/>
                  <a:pt x="5626" y="1473"/>
                  <a:pt x="5626" y="1473"/>
                </a:cubicBezTo>
                <a:cubicBezTo>
                  <a:pt x="5626" y="1507"/>
                  <a:pt x="5626" y="1507"/>
                  <a:pt x="5626" y="1507"/>
                </a:cubicBezTo>
                <a:cubicBezTo>
                  <a:pt x="5657" y="1507"/>
                  <a:pt x="5657" y="1507"/>
                  <a:pt x="5657" y="1507"/>
                </a:cubicBezTo>
                <a:cubicBezTo>
                  <a:pt x="5657" y="1200"/>
                  <a:pt x="5657" y="1200"/>
                  <a:pt x="5657" y="1200"/>
                </a:cubicBezTo>
                <a:cubicBezTo>
                  <a:pt x="5626" y="1200"/>
                  <a:pt x="5626" y="1200"/>
                  <a:pt x="5626" y="1200"/>
                </a:cubicBezTo>
                <a:lnTo>
                  <a:pt x="5626" y="1344"/>
                </a:lnTo>
                <a:close/>
                <a:moveTo>
                  <a:pt x="5558" y="1482"/>
                </a:moveTo>
                <a:cubicBezTo>
                  <a:pt x="5517" y="1482"/>
                  <a:pt x="5491" y="1452"/>
                  <a:pt x="5491" y="1412"/>
                </a:cubicBezTo>
                <a:cubicBezTo>
                  <a:pt x="5491" y="1372"/>
                  <a:pt x="5517" y="1341"/>
                  <a:pt x="5558" y="1341"/>
                </a:cubicBezTo>
                <a:cubicBezTo>
                  <a:pt x="5599" y="1341"/>
                  <a:pt x="5626" y="1372"/>
                  <a:pt x="5626" y="1412"/>
                </a:cubicBezTo>
                <a:cubicBezTo>
                  <a:pt x="5626" y="1452"/>
                  <a:pt x="5599" y="1482"/>
                  <a:pt x="5558" y="1482"/>
                </a:cubicBezTo>
                <a:close/>
                <a:moveTo>
                  <a:pt x="5793" y="1312"/>
                </a:moveTo>
                <a:cubicBezTo>
                  <a:pt x="5737" y="1312"/>
                  <a:pt x="5695" y="1353"/>
                  <a:pt x="5695" y="1412"/>
                </a:cubicBezTo>
                <a:cubicBezTo>
                  <a:pt x="5695" y="1467"/>
                  <a:pt x="5732" y="1512"/>
                  <a:pt x="5792" y="1512"/>
                </a:cubicBezTo>
                <a:cubicBezTo>
                  <a:pt x="5827" y="1512"/>
                  <a:pt x="5854" y="1501"/>
                  <a:pt x="5876" y="1472"/>
                </a:cubicBezTo>
                <a:cubicBezTo>
                  <a:pt x="5852" y="1454"/>
                  <a:pt x="5852" y="1454"/>
                  <a:pt x="5852" y="1454"/>
                </a:cubicBezTo>
                <a:cubicBezTo>
                  <a:pt x="5837" y="1473"/>
                  <a:pt x="5819" y="1482"/>
                  <a:pt x="5792" y="1482"/>
                </a:cubicBezTo>
                <a:cubicBezTo>
                  <a:pt x="5757" y="1482"/>
                  <a:pt x="5732" y="1454"/>
                  <a:pt x="5729" y="1421"/>
                </a:cubicBezTo>
                <a:cubicBezTo>
                  <a:pt x="5883" y="1421"/>
                  <a:pt x="5883" y="1421"/>
                  <a:pt x="5883" y="1421"/>
                </a:cubicBezTo>
                <a:cubicBezTo>
                  <a:pt x="5883" y="1411"/>
                  <a:pt x="5883" y="1411"/>
                  <a:pt x="5883" y="1411"/>
                </a:cubicBezTo>
                <a:cubicBezTo>
                  <a:pt x="5883" y="1348"/>
                  <a:pt x="5846" y="1312"/>
                  <a:pt x="5793" y="1312"/>
                </a:cubicBezTo>
                <a:close/>
                <a:moveTo>
                  <a:pt x="5729" y="1395"/>
                </a:moveTo>
                <a:cubicBezTo>
                  <a:pt x="5733" y="1363"/>
                  <a:pt x="5757" y="1341"/>
                  <a:pt x="5792" y="1341"/>
                </a:cubicBezTo>
                <a:cubicBezTo>
                  <a:pt x="5827" y="1341"/>
                  <a:pt x="5848" y="1363"/>
                  <a:pt x="5849" y="1395"/>
                </a:cubicBezTo>
                <a:lnTo>
                  <a:pt x="5729" y="1395"/>
                </a:lnTo>
                <a:close/>
                <a:moveTo>
                  <a:pt x="6059" y="1317"/>
                </a:moveTo>
                <a:cubicBezTo>
                  <a:pt x="6093" y="1317"/>
                  <a:pt x="6093" y="1317"/>
                  <a:pt x="6093" y="1317"/>
                </a:cubicBezTo>
                <a:cubicBezTo>
                  <a:pt x="6018" y="1507"/>
                  <a:pt x="6018" y="1507"/>
                  <a:pt x="6018" y="1507"/>
                </a:cubicBezTo>
                <a:cubicBezTo>
                  <a:pt x="5983" y="1507"/>
                  <a:pt x="5983" y="1507"/>
                  <a:pt x="5983" y="1507"/>
                </a:cubicBezTo>
                <a:cubicBezTo>
                  <a:pt x="5905" y="1317"/>
                  <a:pt x="5905" y="1317"/>
                  <a:pt x="5905" y="1317"/>
                </a:cubicBezTo>
                <a:cubicBezTo>
                  <a:pt x="5942" y="1317"/>
                  <a:pt x="5942" y="1317"/>
                  <a:pt x="5942" y="1317"/>
                </a:cubicBezTo>
                <a:cubicBezTo>
                  <a:pt x="6001" y="1466"/>
                  <a:pt x="6001" y="1466"/>
                  <a:pt x="6001" y="1466"/>
                </a:cubicBezTo>
                <a:cubicBezTo>
                  <a:pt x="6002" y="1466"/>
                  <a:pt x="6002" y="1466"/>
                  <a:pt x="6002" y="1466"/>
                </a:cubicBezTo>
                <a:lnTo>
                  <a:pt x="6059" y="1317"/>
                </a:lnTo>
                <a:close/>
                <a:moveTo>
                  <a:pt x="6211" y="1312"/>
                </a:moveTo>
                <a:cubicBezTo>
                  <a:pt x="6155" y="1312"/>
                  <a:pt x="6114" y="1353"/>
                  <a:pt x="6114" y="1412"/>
                </a:cubicBezTo>
                <a:cubicBezTo>
                  <a:pt x="6114" y="1467"/>
                  <a:pt x="6150" y="1512"/>
                  <a:pt x="6210" y="1512"/>
                </a:cubicBezTo>
                <a:cubicBezTo>
                  <a:pt x="6245" y="1512"/>
                  <a:pt x="6272" y="1501"/>
                  <a:pt x="6295" y="1472"/>
                </a:cubicBezTo>
                <a:cubicBezTo>
                  <a:pt x="6271" y="1454"/>
                  <a:pt x="6271" y="1454"/>
                  <a:pt x="6271" y="1454"/>
                </a:cubicBezTo>
                <a:cubicBezTo>
                  <a:pt x="6256" y="1473"/>
                  <a:pt x="6237" y="1482"/>
                  <a:pt x="6210" y="1482"/>
                </a:cubicBezTo>
                <a:cubicBezTo>
                  <a:pt x="6176" y="1482"/>
                  <a:pt x="6150" y="1454"/>
                  <a:pt x="6148" y="1421"/>
                </a:cubicBezTo>
                <a:cubicBezTo>
                  <a:pt x="6302" y="1421"/>
                  <a:pt x="6302" y="1421"/>
                  <a:pt x="6302" y="1421"/>
                </a:cubicBezTo>
                <a:cubicBezTo>
                  <a:pt x="6302" y="1411"/>
                  <a:pt x="6302" y="1411"/>
                  <a:pt x="6302" y="1411"/>
                </a:cubicBezTo>
                <a:cubicBezTo>
                  <a:pt x="6302" y="1348"/>
                  <a:pt x="6265" y="1312"/>
                  <a:pt x="6211" y="1312"/>
                </a:cubicBezTo>
                <a:close/>
                <a:moveTo>
                  <a:pt x="6148" y="1395"/>
                </a:moveTo>
                <a:cubicBezTo>
                  <a:pt x="6152" y="1363"/>
                  <a:pt x="6175" y="1341"/>
                  <a:pt x="6210" y="1341"/>
                </a:cubicBezTo>
                <a:cubicBezTo>
                  <a:pt x="6245" y="1341"/>
                  <a:pt x="6266" y="1363"/>
                  <a:pt x="6267" y="1395"/>
                </a:cubicBezTo>
                <a:lnTo>
                  <a:pt x="6148" y="1395"/>
                </a:lnTo>
                <a:close/>
                <a:moveTo>
                  <a:pt x="6354" y="1200"/>
                </a:moveTo>
                <a:cubicBezTo>
                  <a:pt x="6386" y="1200"/>
                  <a:pt x="6386" y="1200"/>
                  <a:pt x="6386" y="1200"/>
                </a:cubicBezTo>
                <a:cubicBezTo>
                  <a:pt x="6386" y="1507"/>
                  <a:pt x="6386" y="1507"/>
                  <a:pt x="6386" y="1507"/>
                </a:cubicBezTo>
                <a:cubicBezTo>
                  <a:pt x="6354" y="1507"/>
                  <a:pt x="6354" y="1507"/>
                  <a:pt x="6354" y="1507"/>
                </a:cubicBezTo>
                <a:lnTo>
                  <a:pt x="6354" y="1200"/>
                </a:lnTo>
                <a:close/>
                <a:moveTo>
                  <a:pt x="6534" y="1312"/>
                </a:moveTo>
                <a:cubicBezTo>
                  <a:pt x="6476" y="1312"/>
                  <a:pt x="6433" y="1352"/>
                  <a:pt x="6433" y="1412"/>
                </a:cubicBezTo>
                <a:cubicBezTo>
                  <a:pt x="6433" y="1471"/>
                  <a:pt x="6476" y="1512"/>
                  <a:pt x="6534" y="1512"/>
                </a:cubicBezTo>
                <a:cubicBezTo>
                  <a:pt x="6593" y="1512"/>
                  <a:pt x="6636" y="1471"/>
                  <a:pt x="6636" y="1412"/>
                </a:cubicBezTo>
                <a:cubicBezTo>
                  <a:pt x="6636" y="1352"/>
                  <a:pt x="6593" y="1312"/>
                  <a:pt x="6534" y="1312"/>
                </a:cubicBezTo>
                <a:close/>
                <a:moveTo>
                  <a:pt x="6534" y="1482"/>
                </a:moveTo>
                <a:cubicBezTo>
                  <a:pt x="6493" y="1482"/>
                  <a:pt x="6467" y="1452"/>
                  <a:pt x="6467" y="1412"/>
                </a:cubicBezTo>
                <a:cubicBezTo>
                  <a:pt x="6467" y="1372"/>
                  <a:pt x="6493" y="1341"/>
                  <a:pt x="6534" y="1341"/>
                </a:cubicBezTo>
                <a:cubicBezTo>
                  <a:pt x="6575" y="1341"/>
                  <a:pt x="6602" y="1372"/>
                  <a:pt x="6602" y="1412"/>
                </a:cubicBezTo>
                <a:cubicBezTo>
                  <a:pt x="6602" y="1452"/>
                  <a:pt x="6575" y="1482"/>
                  <a:pt x="6534" y="1482"/>
                </a:cubicBezTo>
                <a:close/>
                <a:moveTo>
                  <a:pt x="6782" y="1312"/>
                </a:moveTo>
                <a:cubicBezTo>
                  <a:pt x="6754" y="1312"/>
                  <a:pt x="6731" y="1324"/>
                  <a:pt x="6713" y="1344"/>
                </a:cubicBezTo>
                <a:cubicBezTo>
                  <a:pt x="6713" y="1344"/>
                  <a:pt x="6713" y="1344"/>
                  <a:pt x="6713" y="1344"/>
                </a:cubicBezTo>
                <a:cubicBezTo>
                  <a:pt x="6713" y="1317"/>
                  <a:pt x="6713" y="1317"/>
                  <a:pt x="6713" y="1317"/>
                </a:cubicBezTo>
                <a:cubicBezTo>
                  <a:pt x="6681" y="1317"/>
                  <a:pt x="6681" y="1317"/>
                  <a:pt x="6681" y="1317"/>
                </a:cubicBezTo>
                <a:cubicBezTo>
                  <a:pt x="6681" y="1600"/>
                  <a:pt x="6681" y="1600"/>
                  <a:pt x="6681" y="1600"/>
                </a:cubicBezTo>
                <a:cubicBezTo>
                  <a:pt x="6713" y="1600"/>
                  <a:pt x="6713" y="1600"/>
                  <a:pt x="6713" y="1600"/>
                </a:cubicBezTo>
                <a:cubicBezTo>
                  <a:pt x="6713" y="1473"/>
                  <a:pt x="6713" y="1473"/>
                  <a:pt x="6713" y="1473"/>
                </a:cubicBezTo>
                <a:cubicBezTo>
                  <a:pt x="6713" y="1473"/>
                  <a:pt x="6713" y="1473"/>
                  <a:pt x="6713" y="1473"/>
                </a:cubicBezTo>
                <a:cubicBezTo>
                  <a:pt x="6725" y="1495"/>
                  <a:pt x="6752" y="1512"/>
                  <a:pt x="6786" y="1512"/>
                </a:cubicBezTo>
                <a:cubicBezTo>
                  <a:pt x="6840" y="1512"/>
                  <a:pt x="6882" y="1469"/>
                  <a:pt x="6882" y="1412"/>
                </a:cubicBezTo>
                <a:cubicBezTo>
                  <a:pt x="6882" y="1354"/>
                  <a:pt x="6841" y="1312"/>
                  <a:pt x="6782" y="1312"/>
                </a:cubicBezTo>
                <a:close/>
                <a:moveTo>
                  <a:pt x="6780" y="1482"/>
                </a:moveTo>
                <a:cubicBezTo>
                  <a:pt x="6739" y="1482"/>
                  <a:pt x="6713" y="1452"/>
                  <a:pt x="6713" y="1412"/>
                </a:cubicBezTo>
                <a:cubicBezTo>
                  <a:pt x="6713" y="1372"/>
                  <a:pt x="6739" y="1341"/>
                  <a:pt x="6780" y="1341"/>
                </a:cubicBezTo>
                <a:cubicBezTo>
                  <a:pt x="6821" y="1341"/>
                  <a:pt x="6847" y="1372"/>
                  <a:pt x="6847" y="1412"/>
                </a:cubicBezTo>
                <a:cubicBezTo>
                  <a:pt x="6847" y="1452"/>
                  <a:pt x="6821" y="1482"/>
                  <a:pt x="6780" y="1482"/>
                </a:cubicBezTo>
                <a:close/>
                <a:moveTo>
                  <a:pt x="7213" y="1391"/>
                </a:moveTo>
                <a:cubicBezTo>
                  <a:pt x="7213" y="1507"/>
                  <a:pt x="7213" y="1507"/>
                  <a:pt x="7213" y="1507"/>
                </a:cubicBezTo>
                <a:cubicBezTo>
                  <a:pt x="7181" y="1507"/>
                  <a:pt x="7181" y="1507"/>
                  <a:pt x="7181" y="1507"/>
                </a:cubicBezTo>
                <a:cubicBezTo>
                  <a:pt x="7181" y="1393"/>
                  <a:pt x="7181" y="1393"/>
                  <a:pt x="7181" y="1393"/>
                </a:cubicBezTo>
                <a:cubicBezTo>
                  <a:pt x="7181" y="1367"/>
                  <a:pt x="7172" y="1341"/>
                  <a:pt x="7135" y="1341"/>
                </a:cubicBezTo>
                <a:cubicBezTo>
                  <a:pt x="7108" y="1341"/>
                  <a:pt x="7086" y="1363"/>
                  <a:pt x="7086" y="1397"/>
                </a:cubicBezTo>
                <a:cubicBezTo>
                  <a:pt x="7086" y="1507"/>
                  <a:pt x="7086" y="1507"/>
                  <a:pt x="7086" y="1507"/>
                </a:cubicBezTo>
                <a:cubicBezTo>
                  <a:pt x="7054" y="1507"/>
                  <a:pt x="7054" y="1507"/>
                  <a:pt x="7054" y="1507"/>
                </a:cubicBezTo>
                <a:cubicBezTo>
                  <a:pt x="7054" y="1399"/>
                  <a:pt x="7054" y="1399"/>
                  <a:pt x="7054" y="1399"/>
                </a:cubicBezTo>
                <a:cubicBezTo>
                  <a:pt x="7054" y="1357"/>
                  <a:pt x="7043" y="1341"/>
                  <a:pt x="7017" y="1341"/>
                </a:cubicBezTo>
                <a:cubicBezTo>
                  <a:pt x="6976" y="1341"/>
                  <a:pt x="6958" y="1371"/>
                  <a:pt x="6958" y="1414"/>
                </a:cubicBezTo>
                <a:cubicBezTo>
                  <a:pt x="6958" y="1507"/>
                  <a:pt x="6958" y="1507"/>
                  <a:pt x="6958" y="1507"/>
                </a:cubicBezTo>
                <a:cubicBezTo>
                  <a:pt x="6927" y="1507"/>
                  <a:pt x="6927" y="1507"/>
                  <a:pt x="6927" y="1507"/>
                </a:cubicBezTo>
                <a:cubicBezTo>
                  <a:pt x="6927" y="1362"/>
                  <a:pt x="6927" y="1362"/>
                  <a:pt x="6927" y="1362"/>
                </a:cubicBezTo>
                <a:cubicBezTo>
                  <a:pt x="6927" y="1344"/>
                  <a:pt x="6925" y="1329"/>
                  <a:pt x="6925" y="1317"/>
                </a:cubicBezTo>
                <a:cubicBezTo>
                  <a:pt x="6955" y="1317"/>
                  <a:pt x="6955" y="1317"/>
                  <a:pt x="6955" y="1317"/>
                </a:cubicBezTo>
                <a:cubicBezTo>
                  <a:pt x="6955" y="1327"/>
                  <a:pt x="6956" y="1337"/>
                  <a:pt x="6956" y="1348"/>
                </a:cubicBezTo>
                <a:cubicBezTo>
                  <a:pt x="6957" y="1348"/>
                  <a:pt x="6957" y="1348"/>
                  <a:pt x="6957" y="1348"/>
                </a:cubicBezTo>
                <a:cubicBezTo>
                  <a:pt x="6965" y="1329"/>
                  <a:pt x="6989" y="1312"/>
                  <a:pt x="7020" y="1312"/>
                </a:cubicBezTo>
                <a:cubicBezTo>
                  <a:pt x="7061" y="1312"/>
                  <a:pt x="7074" y="1335"/>
                  <a:pt x="7080" y="1348"/>
                </a:cubicBezTo>
                <a:cubicBezTo>
                  <a:pt x="7094" y="1326"/>
                  <a:pt x="7112" y="1312"/>
                  <a:pt x="7140" y="1312"/>
                </a:cubicBezTo>
                <a:cubicBezTo>
                  <a:pt x="7195" y="1312"/>
                  <a:pt x="7213" y="1342"/>
                  <a:pt x="7213" y="1391"/>
                </a:cubicBezTo>
                <a:close/>
                <a:moveTo>
                  <a:pt x="7356" y="1312"/>
                </a:moveTo>
                <a:cubicBezTo>
                  <a:pt x="7300" y="1312"/>
                  <a:pt x="7258" y="1353"/>
                  <a:pt x="7258" y="1412"/>
                </a:cubicBezTo>
                <a:cubicBezTo>
                  <a:pt x="7258" y="1467"/>
                  <a:pt x="7295" y="1512"/>
                  <a:pt x="7354" y="1512"/>
                </a:cubicBezTo>
                <a:cubicBezTo>
                  <a:pt x="7390" y="1512"/>
                  <a:pt x="7417" y="1501"/>
                  <a:pt x="7439" y="1472"/>
                </a:cubicBezTo>
                <a:cubicBezTo>
                  <a:pt x="7415" y="1454"/>
                  <a:pt x="7415" y="1454"/>
                  <a:pt x="7415" y="1454"/>
                </a:cubicBezTo>
                <a:cubicBezTo>
                  <a:pt x="7400" y="1473"/>
                  <a:pt x="7382" y="1482"/>
                  <a:pt x="7354" y="1482"/>
                </a:cubicBezTo>
                <a:cubicBezTo>
                  <a:pt x="7320" y="1482"/>
                  <a:pt x="7295" y="1454"/>
                  <a:pt x="7292" y="1421"/>
                </a:cubicBezTo>
                <a:cubicBezTo>
                  <a:pt x="7446" y="1421"/>
                  <a:pt x="7446" y="1421"/>
                  <a:pt x="7446" y="1421"/>
                </a:cubicBezTo>
                <a:cubicBezTo>
                  <a:pt x="7446" y="1411"/>
                  <a:pt x="7446" y="1411"/>
                  <a:pt x="7446" y="1411"/>
                </a:cubicBezTo>
                <a:cubicBezTo>
                  <a:pt x="7446" y="1348"/>
                  <a:pt x="7409" y="1312"/>
                  <a:pt x="7356" y="1312"/>
                </a:cubicBezTo>
                <a:close/>
                <a:moveTo>
                  <a:pt x="7292" y="1395"/>
                </a:moveTo>
                <a:cubicBezTo>
                  <a:pt x="7296" y="1363"/>
                  <a:pt x="7320" y="1341"/>
                  <a:pt x="7354" y="1341"/>
                </a:cubicBezTo>
                <a:cubicBezTo>
                  <a:pt x="7389" y="1341"/>
                  <a:pt x="7411" y="1363"/>
                  <a:pt x="7412" y="1395"/>
                </a:cubicBezTo>
                <a:lnTo>
                  <a:pt x="7292" y="1395"/>
                </a:lnTo>
                <a:close/>
                <a:moveTo>
                  <a:pt x="7657" y="1389"/>
                </a:moveTo>
                <a:cubicBezTo>
                  <a:pt x="7657" y="1507"/>
                  <a:pt x="7657" y="1507"/>
                  <a:pt x="7657" y="1507"/>
                </a:cubicBezTo>
                <a:cubicBezTo>
                  <a:pt x="7625" y="1507"/>
                  <a:pt x="7625" y="1507"/>
                  <a:pt x="7625" y="1507"/>
                </a:cubicBezTo>
                <a:cubicBezTo>
                  <a:pt x="7625" y="1393"/>
                  <a:pt x="7625" y="1393"/>
                  <a:pt x="7625" y="1393"/>
                </a:cubicBezTo>
                <a:cubicBezTo>
                  <a:pt x="7625" y="1361"/>
                  <a:pt x="7611" y="1341"/>
                  <a:pt x="7582" y="1341"/>
                </a:cubicBezTo>
                <a:cubicBezTo>
                  <a:pt x="7541" y="1341"/>
                  <a:pt x="7523" y="1371"/>
                  <a:pt x="7523" y="1414"/>
                </a:cubicBezTo>
                <a:cubicBezTo>
                  <a:pt x="7523" y="1507"/>
                  <a:pt x="7523" y="1507"/>
                  <a:pt x="7523" y="1507"/>
                </a:cubicBezTo>
                <a:cubicBezTo>
                  <a:pt x="7491" y="1507"/>
                  <a:pt x="7491" y="1507"/>
                  <a:pt x="7491" y="1507"/>
                </a:cubicBezTo>
                <a:cubicBezTo>
                  <a:pt x="7491" y="1362"/>
                  <a:pt x="7491" y="1362"/>
                  <a:pt x="7491" y="1362"/>
                </a:cubicBezTo>
                <a:cubicBezTo>
                  <a:pt x="7491" y="1344"/>
                  <a:pt x="7489" y="1329"/>
                  <a:pt x="7489" y="1317"/>
                </a:cubicBezTo>
                <a:cubicBezTo>
                  <a:pt x="7519" y="1317"/>
                  <a:pt x="7519" y="1317"/>
                  <a:pt x="7519" y="1317"/>
                </a:cubicBezTo>
                <a:cubicBezTo>
                  <a:pt x="7519" y="1327"/>
                  <a:pt x="7520" y="1337"/>
                  <a:pt x="7520" y="1348"/>
                </a:cubicBezTo>
                <a:cubicBezTo>
                  <a:pt x="7521" y="1348"/>
                  <a:pt x="7521" y="1348"/>
                  <a:pt x="7521" y="1348"/>
                </a:cubicBezTo>
                <a:cubicBezTo>
                  <a:pt x="7530" y="1329"/>
                  <a:pt x="7553" y="1312"/>
                  <a:pt x="7584" y="1312"/>
                </a:cubicBezTo>
                <a:cubicBezTo>
                  <a:pt x="7634" y="1312"/>
                  <a:pt x="7657" y="1343"/>
                  <a:pt x="7657" y="1389"/>
                </a:cubicBezTo>
                <a:close/>
                <a:moveTo>
                  <a:pt x="7817" y="1505"/>
                </a:moveTo>
                <a:cubicBezTo>
                  <a:pt x="7806" y="1510"/>
                  <a:pt x="7792" y="1512"/>
                  <a:pt x="7780" y="1512"/>
                </a:cubicBezTo>
                <a:cubicBezTo>
                  <a:pt x="7735" y="1512"/>
                  <a:pt x="7728" y="1487"/>
                  <a:pt x="7728" y="1448"/>
                </a:cubicBezTo>
                <a:cubicBezTo>
                  <a:pt x="7728" y="1343"/>
                  <a:pt x="7728" y="1343"/>
                  <a:pt x="7728" y="1343"/>
                </a:cubicBezTo>
                <a:cubicBezTo>
                  <a:pt x="7686" y="1343"/>
                  <a:pt x="7686" y="1343"/>
                  <a:pt x="7686" y="1343"/>
                </a:cubicBezTo>
                <a:cubicBezTo>
                  <a:pt x="7686" y="1317"/>
                  <a:pt x="7686" y="1317"/>
                  <a:pt x="7686" y="1317"/>
                </a:cubicBezTo>
                <a:cubicBezTo>
                  <a:pt x="7728" y="1317"/>
                  <a:pt x="7728" y="1317"/>
                  <a:pt x="7728" y="1317"/>
                </a:cubicBezTo>
                <a:cubicBezTo>
                  <a:pt x="7728" y="1263"/>
                  <a:pt x="7728" y="1263"/>
                  <a:pt x="7728" y="1263"/>
                </a:cubicBezTo>
                <a:cubicBezTo>
                  <a:pt x="7759" y="1263"/>
                  <a:pt x="7759" y="1263"/>
                  <a:pt x="7759" y="1263"/>
                </a:cubicBezTo>
                <a:cubicBezTo>
                  <a:pt x="7759" y="1317"/>
                  <a:pt x="7759" y="1317"/>
                  <a:pt x="7759" y="1317"/>
                </a:cubicBezTo>
                <a:cubicBezTo>
                  <a:pt x="7815" y="1317"/>
                  <a:pt x="7815" y="1317"/>
                  <a:pt x="7815" y="1317"/>
                </a:cubicBezTo>
                <a:cubicBezTo>
                  <a:pt x="7815" y="1343"/>
                  <a:pt x="7815" y="1343"/>
                  <a:pt x="7815" y="1343"/>
                </a:cubicBezTo>
                <a:cubicBezTo>
                  <a:pt x="7759" y="1343"/>
                  <a:pt x="7759" y="1343"/>
                  <a:pt x="7759" y="1343"/>
                </a:cubicBezTo>
                <a:cubicBezTo>
                  <a:pt x="7759" y="1439"/>
                  <a:pt x="7759" y="1439"/>
                  <a:pt x="7759" y="1439"/>
                </a:cubicBezTo>
                <a:cubicBezTo>
                  <a:pt x="7759" y="1463"/>
                  <a:pt x="7760" y="1482"/>
                  <a:pt x="7788" y="1482"/>
                </a:cubicBezTo>
                <a:cubicBezTo>
                  <a:pt x="7797" y="1482"/>
                  <a:pt x="7807" y="1480"/>
                  <a:pt x="7816" y="1476"/>
                </a:cubicBezTo>
                <a:lnTo>
                  <a:pt x="7817" y="1505"/>
                </a:lnTo>
                <a:close/>
                <a:moveTo>
                  <a:pt x="3842" y="1312"/>
                </a:moveTo>
                <a:cubicBezTo>
                  <a:pt x="3815" y="1312"/>
                  <a:pt x="3791" y="1324"/>
                  <a:pt x="3774" y="1344"/>
                </a:cubicBezTo>
                <a:cubicBezTo>
                  <a:pt x="3773" y="1344"/>
                  <a:pt x="3773" y="1344"/>
                  <a:pt x="3773" y="1344"/>
                </a:cubicBezTo>
                <a:cubicBezTo>
                  <a:pt x="3773" y="1317"/>
                  <a:pt x="3773" y="1317"/>
                  <a:pt x="3773" y="1317"/>
                </a:cubicBezTo>
                <a:cubicBezTo>
                  <a:pt x="3741" y="1317"/>
                  <a:pt x="3741" y="1317"/>
                  <a:pt x="3741" y="1317"/>
                </a:cubicBezTo>
                <a:cubicBezTo>
                  <a:pt x="3741" y="1600"/>
                  <a:pt x="3741" y="1600"/>
                  <a:pt x="3741" y="1600"/>
                </a:cubicBezTo>
                <a:cubicBezTo>
                  <a:pt x="3773" y="1600"/>
                  <a:pt x="3773" y="1600"/>
                  <a:pt x="3773" y="1600"/>
                </a:cubicBezTo>
                <a:cubicBezTo>
                  <a:pt x="3773" y="1473"/>
                  <a:pt x="3773" y="1473"/>
                  <a:pt x="3773" y="1473"/>
                </a:cubicBezTo>
                <a:cubicBezTo>
                  <a:pt x="3774" y="1473"/>
                  <a:pt x="3774" y="1473"/>
                  <a:pt x="3774" y="1473"/>
                </a:cubicBezTo>
                <a:cubicBezTo>
                  <a:pt x="3786" y="1495"/>
                  <a:pt x="3813" y="1512"/>
                  <a:pt x="3847" y="1512"/>
                </a:cubicBezTo>
                <a:cubicBezTo>
                  <a:pt x="3900" y="1512"/>
                  <a:pt x="3942" y="1469"/>
                  <a:pt x="3942" y="1412"/>
                </a:cubicBezTo>
                <a:cubicBezTo>
                  <a:pt x="3942" y="1354"/>
                  <a:pt x="3902" y="1312"/>
                  <a:pt x="3842" y="1312"/>
                </a:cubicBezTo>
                <a:close/>
                <a:moveTo>
                  <a:pt x="3841" y="1482"/>
                </a:moveTo>
                <a:cubicBezTo>
                  <a:pt x="3800" y="1482"/>
                  <a:pt x="3773" y="1452"/>
                  <a:pt x="3773" y="1412"/>
                </a:cubicBezTo>
                <a:cubicBezTo>
                  <a:pt x="3773" y="1372"/>
                  <a:pt x="3800" y="1341"/>
                  <a:pt x="3841" y="1341"/>
                </a:cubicBezTo>
                <a:cubicBezTo>
                  <a:pt x="3882" y="1341"/>
                  <a:pt x="3908" y="1372"/>
                  <a:pt x="3908" y="1412"/>
                </a:cubicBezTo>
                <a:cubicBezTo>
                  <a:pt x="3908" y="1452"/>
                  <a:pt x="3882" y="1482"/>
                  <a:pt x="3841" y="1482"/>
                </a:cubicBezTo>
                <a:close/>
                <a:moveTo>
                  <a:pt x="4078" y="1312"/>
                </a:moveTo>
                <a:cubicBezTo>
                  <a:pt x="4082" y="1312"/>
                  <a:pt x="4087" y="1312"/>
                  <a:pt x="4091" y="1314"/>
                </a:cubicBezTo>
                <a:cubicBezTo>
                  <a:pt x="4089" y="1346"/>
                  <a:pt x="4089" y="1346"/>
                  <a:pt x="4089" y="1346"/>
                </a:cubicBezTo>
                <a:cubicBezTo>
                  <a:pt x="4084" y="1344"/>
                  <a:pt x="4078" y="1343"/>
                  <a:pt x="4072" y="1343"/>
                </a:cubicBezTo>
                <a:cubicBezTo>
                  <a:pt x="4033" y="1343"/>
                  <a:pt x="4016" y="1371"/>
                  <a:pt x="4016" y="1414"/>
                </a:cubicBezTo>
                <a:cubicBezTo>
                  <a:pt x="4016" y="1507"/>
                  <a:pt x="4016" y="1507"/>
                  <a:pt x="4016" y="1507"/>
                </a:cubicBezTo>
                <a:cubicBezTo>
                  <a:pt x="3985" y="1507"/>
                  <a:pt x="3985" y="1507"/>
                  <a:pt x="3985" y="1507"/>
                </a:cubicBezTo>
                <a:cubicBezTo>
                  <a:pt x="3985" y="1362"/>
                  <a:pt x="3985" y="1362"/>
                  <a:pt x="3985" y="1362"/>
                </a:cubicBezTo>
                <a:cubicBezTo>
                  <a:pt x="3985" y="1344"/>
                  <a:pt x="3983" y="1329"/>
                  <a:pt x="3983" y="1317"/>
                </a:cubicBezTo>
                <a:cubicBezTo>
                  <a:pt x="4013" y="1317"/>
                  <a:pt x="4013" y="1317"/>
                  <a:pt x="4013" y="1317"/>
                </a:cubicBezTo>
                <a:cubicBezTo>
                  <a:pt x="4013" y="1327"/>
                  <a:pt x="4014" y="1337"/>
                  <a:pt x="4014" y="1348"/>
                </a:cubicBezTo>
                <a:cubicBezTo>
                  <a:pt x="4015" y="1348"/>
                  <a:pt x="4015" y="1348"/>
                  <a:pt x="4015" y="1348"/>
                </a:cubicBezTo>
                <a:cubicBezTo>
                  <a:pt x="4023" y="1329"/>
                  <a:pt x="4047" y="1312"/>
                  <a:pt x="4078" y="1312"/>
                </a:cubicBezTo>
                <a:close/>
                <a:moveTo>
                  <a:pt x="4206" y="1312"/>
                </a:moveTo>
                <a:cubicBezTo>
                  <a:pt x="4147" y="1312"/>
                  <a:pt x="4104" y="1352"/>
                  <a:pt x="4104" y="1412"/>
                </a:cubicBezTo>
                <a:cubicBezTo>
                  <a:pt x="4104" y="1471"/>
                  <a:pt x="4147" y="1512"/>
                  <a:pt x="4206" y="1512"/>
                </a:cubicBezTo>
                <a:cubicBezTo>
                  <a:pt x="4264" y="1512"/>
                  <a:pt x="4307" y="1471"/>
                  <a:pt x="4307" y="1412"/>
                </a:cubicBezTo>
                <a:cubicBezTo>
                  <a:pt x="4307" y="1352"/>
                  <a:pt x="4264" y="1312"/>
                  <a:pt x="4206" y="1312"/>
                </a:cubicBezTo>
                <a:close/>
                <a:moveTo>
                  <a:pt x="4206" y="1482"/>
                </a:moveTo>
                <a:cubicBezTo>
                  <a:pt x="4165" y="1482"/>
                  <a:pt x="4138" y="1452"/>
                  <a:pt x="4138" y="1412"/>
                </a:cubicBezTo>
                <a:cubicBezTo>
                  <a:pt x="4138" y="1372"/>
                  <a:pt x="4165" y="1341"/>
                  <a:pt x="4206" y="1341"/>
                </a:cubicBezTo>
                <a:cubicBezTo>
                  <a:pt x="4247" y="1341"/>
                  <a:pt x="4273" y="1372"/>
                  <a:pt x="4273" y="1412"/>
                </a:cubicBezTo>
                <a:cubicBezTo>
                  <a:pt x="4273" y="1452"/>
                  <a:pt x="4247" y="1482"/>
                  <a:pt x="4206" y="1482"/>
                </a:cubicBezTo>
                <a:close/>
                <a:moveTo>
                  <a:pt x="4453" y="1312"/>
                </a:moveTo>
                <a:cubicBezTo>
                  <a:pt x="4425" y="1312"/>
                  <a:pt x="4402" y="1324"/>
                  <a:pt x="4385" y="1344"/>
                </a:cubicBezTo>
                <a:cubicBezTo>
                  <a:pt x="4384" y="1344"/>
                  <a:pt x="4384" y="1344"/>
                  <a:pt x="4384" y="1344"/>
                </a:cubicBezTo>
                <a:cubicBezTo>
                  <a:pt x="4384" y="1317"/>
                  <a:pt x="4384" y="1317"/>
                  <a:pt x="4384" y="1317"/>
                </a:cubicBezTo>
                <a:cubicBezTo>
                  <a:pt x="4352" y="1317"/>
                  <a:pt x="4352" y="1317"/>
                  <a:pt x="4352" y="1317"/>
                </a:cubicBezTo>
                <a:cubicBezTo>
                  <a:pt x="4352" y="1600"/>
                  <a:pt x="4352" y="1600"/>
                  <a:pt x="4352" y="1600"/>
                </a:cubicBezTo>
                <a:cubicBezTo>
                  <a:pt x="4384" y="1600"/>
                  <a:pt x="4384" y="1600"/>
                  <a:pt x="4384" y="1600"/>
                </a:cubicBezTo>
                <a:cubicBezTo>
                  <a:pt x="4384" y="1473"/>
                  <a:pt x="4384" y="1473"/>
                  <a:pt x="4384" y="1473"/>
                </a:cubicBezTo>
                <a:cubicBezTo>
                  <a:pt x="4385" y="1473"/>
                  <a:pt x="4385" y="1473"/>
                  <a:pt x="4385" y="1473"/>
                </a:cubicBezTo>
                <a:cubicBezTo>
                  <a:pt x="4396" y="1495"/>
                  <a:pt x="4424" y="1512"/>
                  <a:pt x="4458" y="1512"/>
                </a:cubicBezTo>
                <a:cubicBezTo>
                  <a:pt x="4511" y="1512"/>
                  <a:pt x="4553" y="1469"/>
                  <a:pt x="4553" y="1412"/>
                </a:cubicBezTo>
                <a:cubicBezTo>
                  <a:pt x="4553" y="1354"/>
                  <a:pt x="4513" y="1312"/>
                  <a:pt x="4453" y="1312"/>
                </a:cubicBezTo>
                <a:close/>
                <a:moveTo>
                  <a:pt x="4451" y="1482"/>
                </a:moveTo>
                <a:cubicBezTo>
                  <a:pt x="4410" y="1482"/>
                  <a:pt x="4384" y="1452"/>
                  <a:pt x="4384" y="1412"/>
                </a:cubicBezTo>
                <a:cubicBezTo>
                  <a:pt x="4384" y="1372"/>
                  <a:pt x="4410" y="1341"/>
                  <a:pt x="4451" y="1341"/>
                </a:cubicBezTo>
                <a:cubicBezTo>
                  <a:pt x="4492" y="1341"/>
                  <a:pt x="4519" y="1372"/>
                  <a:pt x="4519" y="1412"/>
                </a:cubicBezTo>
                <a:cubicBezTo>
                  <a:pt x="4519" y="1452"/>
                  <a:pt x="4492" y="1482"/>
                  <a:pt x="4451" y="1482"/>
                </a:cubicBezTo>
                <a:close/>
                <a:moveTo>
                  <a:pt x="4686" y="1312"/>
                </a:moveTo>
                <a:cubicBezTo>
                  <a:pt x="4630" y="1312"/>
                  <a:pt x="4588" y="1353"/>
                  <a:pt x="4588" y="1412"/>
                </a:cubicBezTo>
                <a:cubicBezTo>
                  <a:pt x="4588" y="1467"/>
                  <a:pt x="4625" y="1512"/>
                  <a:pt x="4685" y="1512"/>
                </a:cubicBezTo>
                <a:cubicBezTo>
                  <a:pt x="4720" y="1512"/>
                  <a:pt x="4747" y="1501"/>
                  <a:pt x="4769" y="1472"/>
                </a:cubicBezTo>
                <a:cubicBezTo>
                  <a:pt x="4745" y="1454"/>
                  <a:pt x="4745" y="1454"/>
                  <a:pt x="4745" y="1454"/>
                </a:cubicBezTo>
                <a:cubicBezTo>
                  <a:pt x="4730" y="1473"/>
                  <a:pt x="4712" y="1482"/>
                  <a:pt x="4685" y="1482"/>
                </a:cubicBezTo>
                <a:cubicBezTo>
                  <a:pt x="4650" y="1482"/>
                  <a:pt x="4625" y="1454"/>
                  <a:pt x="4623" y="1421"/>
                </a:cubicBezTo>
                <a:cubicBezTo>
                  <a:pt x="4776" y="1421"/>
                  <a:pt x="4776" y="1421"/>
                  <a:pt x="4776" y="1421"/>
                </a:cubicBezTo>
                <a:cubicBezTo>
                  <a:pt x="4776" y="1411"/>
                  <a:pt x="4776" y="1411"/>
                  <a:pt x="4776" y="1411"/>
                </a:cubicBezTo>
                <a:cubicBezTo>
                  <a:pt x="4776" y="1348"/>
                  <a:pt x="4740" y="1312"/>
                  <a:pt x="4686" y="1312"/>
                </a:cubicBezTo>
                <a:close/>
                <a:moveTo>
                  <a:pt x="4623" y="1395"/>
                </a:moveTo>
                <a:cubicBezTo>
                  <a:pt x="4627" y="1363"/>
                  <a:pt x="4650" y="1341"/>
                  <a:pt x="4685" y="1341"/>
                </a:cubicBezTo>
                <a:cubicBezTo>
                  <a:pt x="4720" y="1341"/>
                  <a:pt x="4741" y="1363"/>
                  <a:pt x="4742" y="1395"/>
                </a:cubicBezTo>
                <a:lnTo>
                  <a:pt x="4623" y="1395"/>
                </a:lnTo>
                <a:close/>
                <a:moveTo>
                  <a:pt x="4922" y="1312"/>
                </a:moveTo>
                <a:cubicBezTo>
                  <a:pt x="4926" y="1312"/>
                  <a:pt x="4930" y="1312"/>
                  <a:pt x="4935" y="1314"/>
                </a:cubicBezTo>
                <a:cubicBezTo>
                  <a:pt x="4933" y="1346"/>
                  <a:pt x="4933" y="1346"/>
                  <a:pt x="4933" y="1346"/>
                </a:cubicBezTo>
                <a:cubicBezTo>
                  <a:pt x="4927" y="1344"/>
                  <a:pt x="4921" y="1343"/>
                  <a:pt x="4916" y="1343"/>
                </a:cubicBezTo>
                <a:cubicBezTo>
                  <a:pt x="4877" y="1343"/>
                  <a:pt x="4860" y="1371"/>
                  <a:pt x="4860" y="1414"/>
                </a:cubicBezTo>
                <a:cubicBezTo>
                  <a:pt x="4860" y="1507"/>
                  <a:pt x="4860" y="1507"/>
                  <a:pt x="4860" y="1507"/>
                </a:cubicBezTo>
                <a:cubicBezTo>
                  <a:pt x="4828" y="1507"/>
                  <a:pt x="4828" y="1507"/>
                  <a:pt x="4828" y="1507"/>
                </a:cubicBezTo>
                <a:cubicBezTo>
                  <a:pt x="4828" y="1362"/>
                  <a:pt x="4828" y="1362"/>
                  <a:pt x="4828" y="1362"/>
                </a:cubicBezTo>
                <a:cubicBezTo>
                  <a:pt x="4828" y="1344"/>
                  <a:pt x="4827" y="1329"/>
                  <a:pt x="4827" y="1317"/>
                </a:cubicBezTo>
                <a:cubicBezTo>
                  <a:pt x="4857" y="1317"/>
                  <a:pt x="4857" y="1317"/>
                  <a:pt x="4857" y="1317"/>
                </a:cubicBezTo>
                <a:cubicBezTo>
                  <a:pt x="4857" y="1327"/>
                  <a:pt x="4858" y="1337"/>
                  <a:pt x="4858" y="1348"/>
                </a:cubicBezTo>
                <a:cubicBezTo>
                  <a:pt x="4858" y="1348"/>
                  <a:pt x="4858" y="1348"/>
                  <a:pt x="4858" y="1348"/>
                </a:cubicBezTo>
                <a:cubicBezTo>
                  <a:pt x="4867" y="1329"/>
                  <a:pt x="4890" y="1312"/>
                  <a:pt x="4922" y="1312"/>
                </a:cubicBezTo>
                <a:close/>
                <a:moveTo>
                  <a:pt x="5092" y="1476"/>
                </a:moveTo>
                <a:cubicBezTo>
                  <a:pt x="5094" y="1505"/>
                  <a:pt x="5094" y="1505"/>
                  <a:pt x="5094" y="1505"/>
                </a:cubicBezTo>
                <a:cubicBezTo>
                  <a:pt x="5083" y="1510"/>
                  <a:pt x="5068" y="1512"/>
                  <a:pt x="5057" y="1512"/>
                </a:cubicBezTo>
                <a:cubicBezTo>
                  <a:pt x="5012" y="1512"/>
                  <a:pt x="5004" y="1487"/>
                  <a:pt x="5004" y="1448"/>
                </a:cubicBezTo>
                <a:cubicBezTo>
                  <a:pt x="5004" y="1343"/>
                  <a:pt x="5004" y="1343"/>
                  <a:pt x="5004" y="1343"/>
                </a:cubicBezTo>
                <a:cubicBezTo>
                  <a:pt x="4963" y="1343"/>
                  <a:pt x="4963" y="1343"/>
                  <a:pt x="4963" y="1343"/>
                </a:cubicBezTo>
                <a:cubicBezTo>
                  <a:pt x="4963" y="1317"/>
                  <a:pt x="4963" y="1317"/>
                  <a:pt x="4963" y="1317"/>
                </a:cubicBezTo>
                <a:cubicBezTo>
                  <a:pt x="5004" y="1317"/>
                  <a:pt x="5004" y="1317"/>
                  <a:pt x="5004" y="1317"/>
                </a:cubicBezTo>
                <a:cubicBezTo>
                  <a:pt x="5004" y="1263"/>
                  <a:pt x="5004" y="1263"/>
                  <a:pt x="5004" y="1263"/>
                </a:cubicBezTo>
                <a:cubicBezTo>
                  <a:pt x="5036" y="1263"/>
                  <a:pt x="5036" y="1263"/>
                  <a:pt x="5036" y="1263"/>
                </a:cubicBezTo>
                <a:cubicBezTo>
                  <a:pt x="5036" y="1317"/>
                  <a:pt x="5036" y="1317"/>
                  <a:pt x="5036" y="1317"/>
                </a:cubicBezTo>
                <a:cubicBezTo>
                  <a:pt x="5092" y="1317"/>
                  <a:pt x="5092" y="1317"/>
                  <a:pt x="5092" y="1317"/>
                </a:cubicBezTo>
                <a:cubicBezTo>
                  <a:pt x="5092" y="1343"/>
                  <a:pt x="5092" y="1343"/>
                  <a:pt x="5092" y="1343"/>
                </a:cubicBezTo>
                <a:cubicBezTo>
                  <a:pt x="5036" y="1343"/>
                  <a:pt x="5036" y="1343"/>
                  <a:pt x="5036" y="1343"/>
                </a:cubicBezTo>
                <a:cubicBezTo>
                  <a:pt x="5036" y="1439"/>
                  <a:pt x="5036" y="1439"/>
                  <a:pt x="5036" y="1439"/>
                </a:cubicBezTo>
                <a:cubicBezTo>
                  <a:pt x="5036" y="1463"/>
                  <a:pt x="5036" y="1482"/>
                  <a:pt x="5064" y="1482"/>
                </a:cubicBezTo>
                <a:cubicBezTo>
                  <a:pt x="5074" y="1482"/>
                  <a:pt x="5084" y="1480"/>
                  <a:pt x="5092" y="1476"/>
                </a:cubicBezTo>
                <a:close/>
                <a:moveTo>
                  <a:pt x="5274" y="1317"/>
                </a:moveTo>
                <a:cubicBezTo>
                  <a:pt x="5309" y="1317"/>
                  <a:pt x="5309" y="1317"/>
                  <a:pt x="5309" y="1317"/>
                </a:cubicBezTo>
                <a:cubicBezTo>
                  <a:pt x="5217" y="1550"/>
                  <a:pt x="5217" y="1550"/>
                  <a:pt x="5217" y="1550"/>
                </a:cubicBezTo>
                <a:cubicBezTo>
                  <a:pt x="5204" y="1582"/>
                  <a:pt x="5192" y="1604"/>
                  <a:pt x="5153" y="1604"/>
                </a:cubicBezTo>
                <a:cubicBezTo>
                  <a:pt x="5145" y="1604"/>
                  <a:pt x="5133" y="1604"/>
                  <a:pt x="5125" y="1600"/>
                </a:cubicBezTo>
                <a:cubicBezTo>
                  <a:pt x="5129" y="1572"/>
                  <a:pt x="5129" y="1572"/>
                  <a:pt x="5129" y="1572"/>
                </a:cubicBezTo>
                <a:cubicBezTo>
                  <a:pt x="5136" y="1574"/>
                  <a:pt x="5142" y="1575"/>
                  <a:pt x="5151" y="1575"/>
                </a:cubicBezTo>
                <a:cubicBezTo>
                  <a:pt x="5172" y="1575"/>
                  <a:pt x="5180" y="1563"/>
                  <a:pt x="5187" y="1544"/>
                </a:cubicBezTo>
                <a:cubicBezTo>
                  <a:pt x="5200" y="1508"/>
                  <a:pt x="5200" y="1508"/>
                  <a:pt x="5200" y="1508"/>
                </a:cubicBezTo>
                <a:cubicBezTo>
                  <a:pt x="5121" y="1317"/>
                  <a:pt x="5121" y="1317"/>
                  <a:pt x="5121" y="1317"/>
                </a:cubicBezTo>
                <a:cubicBezTo>
                  <a:pt x="5158" y="1317"/>
                  <a:pt x="5158" y="1317"/>
                  <a:pt x="5158" y="1317"/>
                </a:cubicBezTo>
                <a:cubicBezTo>
                  <a:pt x="5217" y="1466"/>
                  <a:pt x="5217" y="1466"/>
                  <a:pt x="5217" y="1466"/>
                </a:cubicBezTo>
                <a:cubicBezTo>
                  <a:pt x="5218" y="1466"/>
                  <a:pt x="5218" y="1466"/>
                  <a:pt x="5218" y="1466"/>
                </a:cubicBezTo>
                <a:lnTo>
                  <a:pt x="5274" y="1317"/>
                </a:lnTo>
                <a:close/>
                <a:moveTo>
                  <a:pt x="1701" y="1312"/>
                </a:moveTo>
                <a:cubicBezTo>
                  <a:pt x="1673" y="1312"/>
                  <a:pt x="1650" y="1324"/>
                  <a:pt x="1633" y="1344"/>
                </a:cubicBezTo>
                <a:cubicBezTo>
                  <a:pt x="1632" y="1344"/>
                  <a:pt x="1632" y="1344"/>
                  <a:pt x="1632" y="1344"/>
                </a:cubicBezTo>
                <a:cubicBezTo>
                  <a:pt x="1632" y="1200"/>
                  <a:pt x="1632" y="1200"/>
                  <a:pt x="1632" y="1200"/>
                </a:cubicBezTo>
                <a:cubicBezTo>
                  <a:pt x="1600" y="1200"/>
                  <a:pt x="1600" y="1200"/>
                  <a:pt x="1600" y="1200"/>
                </a:cubicBezTo>
                <a:cubicBezTo>
                  <a:pt x="1600" y="1507"/>
                  <a:pt x="1600" y="1507"/>
                  <a:pt x="1600" y="1507"/>
                </a:cubicBezTo>
                <a:cubicBezTo>
                  <a:pt x="1632" y="1507"/>
                  <a:pt x="1632" y="1507"/>
                  <a:pt x="1632" y="1507"/>
                </a:cubicBezTo>
                <a:cubicBezTo>
                  <a:pt x="1632" y="1473"/>
                  <a:pt x="1632" y="1473"/>
                  <a:pt x="1632" y="1473"/>
                </a:cubicBezTo>
                <a:cubicBezTo>
                  <a:pt x="1633" y="1473"/>
                  <a:pt x="1633" y="1473"/>
                  <a:pt x="1633" y="1473"/>
                </a:cubicBezTo>
                <a:cubicBezTo>
                  <a:pt x="1645" y="1495"/>
                  <a:pt x="1672" y="1512"/>
                  <a:pt x="1706" y="1512"/>
                </a:cubicBezTo>
                <a:cubicBezTo>
                  <a:pt x="1759" y="1512"/>
                  <a:pt x="1801" y="1469"/>
                  <a:pt x="1801" y="1412"/>
                </a:cubicBezTo>
                <a:cubicBezTo>
                  <a:pt x="1801" y="1354"/>
                  <a:pt x="1761" y="1312"/>
                  <a:pt x="1701" y="1312"/>
                </a:cubicBezTo>
                <a:close/>
                <a:moveTo>
                  <a:pt x="1699" y="1482"/>
                </a:moveTo>
                <a:cubicBezTo>
                  <a:pt x="1658" y="1482"/>
                  <a:pt x="1632" y="1452"/>
                  <a:pt x="1632" y="1412"/>
                </a:cubicBezTo>
                <a:cubicBezTo>
                  <a:pt x="1632" y="1372"/>
                  <a:pt x="1658" y="1341"/>
                  <a:pt x="1699" y="1341"/>
                </a:cubicBezTo>
                <a:cubicBezTo>
                  <a:pt x="1740" y="1341"/>
                  <a:pt x="1767" y="1372"/>
                  <a:pt x="1767" y="1412"/>
                </a:cubicBezTo>
                <a:cubicBezTo>
                  <a:pt x="1767" y="1452"/>
                  <a:pt x="1740" y="1482"/>
                  <a:pt x="1699" y="1482"/>
                </a:cubicBezTo>
                <a:close/>
                <a:moveTo>
                  <a:pt x="1933" y="1312"/>
                </a:moveTo>
                <a:cubicBezTo>
                  <a:pt x="1875" y="1312"/>
                  <a:pt x="1832" y="1352"/>
                  <a:pt x="1832" y="1412"/>
                </a:cubicBezTo>
                <a:cubicBezTo>
                  <a:pt x="1832" y="1471"/>
                  <a:pt x="1875" y="1512"/>
                  <a:pt x="1933" y="1512"/>
                </a:cubicBezTo>
                <a:cubicBezTo>
                  <a:pt x="1992" y="1512"/>
                  <a:pt x="2035" y="1471"/>
                  <a:pt x="2035" y="1412"/>
                </a:cubicBezTo>
                <a:cubicBezTo>
                  <a:pt x="2035" y="1352"/>
                  <a:pt x="1992" y="1312"/>
                  <a:pt x="1933" y="1312"/>
                </a:cubicBezTo>
                <a:close/>
                <a:moveTo>
                  <a:pt x="1933" y="1482"/>
                </a:moveTo>
                <a:cubicBezTo>
                  <a:pt x="1892" y="1482"/>
                  <a:pt x="1866" y="1452"/>
                  <a:pt x="1866" y="1412"/>
                </a:cubicBezTo>
                <a:cubicBezTo>
                  <a:pt x="1866" y="1372"/>
                  <a:pt x="1892" y="1341"/>
                  <a:pt x="1933" y="1341"/>
                </a:cubicBezTo>
                <a:cubicBezTo>
                  <a:pt x="1974" y="1341"/>
                  <a:pt x="2001" y="1372"/>
                  <a:pt x="2001" y="1412"/>
                </a:cubicBezTo>
                <a:cubicBezTo>
                  <a:pt x="2001" y="1452"/>
                  <a:pt x="1974" y="1482"/>
                  <a:pt x="1933" y="1482"/>
                </a:cubicBezTo>
                <a:close/>
                <a:moveTo>
                  <a:pt x="2238" y="1462"/>
                </a:moveTo>
                <a:cubicBezTo>
                  <a:pt x="2238" y="1479"/>
                  <a:pt x="2240" y="1494"/>
                  <a:pt x="2240" y="1507"/>
                </a:cubicBezTo>
                <a:cubicBezTo>
                  <a:pt x="2210" y="1507"/>
                  <a:pt x="2210" y="1507"/>
                  <a:pt x="2210" y="1507"/>
                </a:cubicBezTo>
                <a:cubicBezTo>
                  <a:pt x="2210" y="1497"/>
                  <a:pt x="2209" y="1486"/>
                  <a:pt x="2209" y="1476"/>
                </a:cubicBezTo>
                <a:cubicBezTo>
                  <a:pt x="2208" y="1476"/>
                  <a:pt x="2208" y="1476"/>
                  <a:pt x="2208" y="1476"/>
                </a:cubicBezTo>
                <a:cubicBezTo>
                  <a:pt x="2199" y="1494"/>
                  <a:pt x="2176" y="1512"/>
                  <a:pt x="2145" y="1512"/>
                </a:cubicBezTo>
                <a:cubicBezTo>
                  <a:pt x="2095" y="1512"/>
                  <a:pt x="2072" y="1480"/>
                  <a:pt x="2072" y="1434"/>
                </a:cubicBezTo>
                <a:cubicBezTo>
                  <a:pt x="2072" y="1317"/>
                  <a:pt x="2072" y="1317"/>
                  <a:pt x="2072" y="1317"/>
                </a:cubicBezTo>
                <a:cubicBezTo>
                  <a:pt x="2104" y="1317"/>
                  <a:pt x="2104" y="1317"/>
                  <a:pt x="2104" y="1317"/>
                </a:cubicBezTo>
                <a:cubicBezTo>
                  <a:pt x="2104" y="1431"/>
                  <a:pt x="2104" y="1431"/>
                  <a:pt x="2104" y="1431"/>
                </a:cubicBezTo>
                <a:cubicBezTo>
                  <a:pt x="2104" y="1463"/>
                  <a:pt x="2118" y="1482"/>
                  <a:pt x="2147" y="1482"/>
                </a:cubicBezTo>
                <a:cubicBezTo>
                  <a:pt x="2188" y="1482"/>
                  <a:pt x="2206" y="1453"/>
                  <a:pt x="2206" y="1409"/>
                </a:cubicBezTo>
                <a:cubicBezTo>
                  <a:pt x="2206" y="1317"/>
                  <a:pt x="2206" y="1317"/>
                  <a:pt x="2206" y="1317"/>
                </a:cubicBezTo>
                <a:cubicBezTo>
                  <a:pt x="2238" y="1317"/>
                  <a:pt x="2238" y="1317"/>
                  <a:pt x="2238" y="1317"/>
                </a:cubicBezTo>
                <a:lnTo>
                  <a:pt x="2238" y="1462"/>
                </a:lnTo>
                <a:close/>
                <a:moveTo>
                  <a:pt x="2632" y="1281"/>
                </a:moveTo>
                <a:cubicBezTo>
                  <a:pt x="2632" y="1317"/>
                  <a:pt x="2632" y="1317"/>
                  <a:pt x="2632" y="1317"/>
                </a:cubicBezTo>
                <a:cubicBezTo>
                  <a:pt x="2678" y="1317"/>
                  <a:pt x="2678" y="1317"/>
                  <a:pt x="2678" y="1317"/>
                </a:cubicBezTo>
                <a:cubicBezTo>
                  <a:pt x="2678" y="1343"/>
                  <a:pt x="2678" y="1343"/>
                  <a:pt x="2678" y="1343"/>
                </a:cubicBezTo>
                <a:cubicBezTo>
                  <a:pt x="2632" y="1343"/>
                  <a:pt x="2632" y="1343"/>
                  <a:pt x="2632" y="1343"/>
                </a:cubicBezTo>
                <a:cubicBezTo>
                  <a:pt x="2632" y="1507"/>
                  <a:pt x="2632" y="1507"/>
                  <a:pt x="2632" y="1507"/>
                </a:cubicBezTo>
                <a:cubicBezTo>
                  <a:pt x="2600" y="1507"/>
                  <a:pt x="2600" y="1507"/>
                  <a:pt x="2600" y="1507"/>
                </a:cubicBezTo>
                <a:cubicBezTo>
                  <a:pt x="2600" y="1343"/>
                  <a:pt x="2600" y="1343"/>
                  <a:pt x="2600" y="1343"/>
                </a:cubicBezTo>
                <a:cubicBezTo>
                  <a:pt x="2553" y="1343"/>
                  <a:pt x="2553" y="1343"/>
                  <a:pt x="2553" y="1343"/>
                </a:cubicBezTo>
                <a:cubicBezTo>
                  <a:pt x="2553" y="1343"/>
                  <a:pt x="2553" y="1343"/>
                  <a:pt x="2553" y="1343"/>
                </a:cubicBezTo>
                <a:cubicBezTo>
                  <a:pt x="2500" y="1507"/>
                  <a:pt x="2500" y="1507"/>
                  <a:pt x="2500" y="1507"/>
                </a:cubicBezTo>
                <a:cubicBezTo>
                  <a:pt x="2469" y="1507"/>
                  <a:pt x="2469" y="1507"/>
                  <a:pt x="2469" y="1507"/>
                </a:cubicBezTo>
                <a:cubicBezTo>
                  <a:pt x="2415" y="1361"/>
                  <a:pt x="2415" y="1361"/>
                  <a:pt x="2415" y="1361"/>
                </a:cubicBezTo>
                <a:cubicBezTo>
                  <a:pt x="2414" y="1361"/>
                  <a:pt x="2414" y="1361"/>
                  <a:pt x="2414" y="1361"/>
                </a:cubicBezTo>
                <a:cubicBezTo>
                  <a:pt x="2366" y="1507"/>
                  <a:pt x="2366" y="1507"/>
                  <a:pt x="2366" y="1507"/>
                </a:cubicBezTo>
                <a:cubicBezTo>
                  <a:pt x="2333" y="1507"/>
                  <a:pt x="2333" y="1507"/>
                  <a:pt x="2333" y="1507"/>
                </a:cubicBezTo>
                <a:cubicBezTo>
                  <a:pt x="2271" y="1317"/>
                  <a:pt x="2271" y="1317"/>
                  <a:pt x="2271" y="1317"/>
                </a:cubicBezTo>
                <a:cubicBezTo>
                  <a:pt x="2306" y="1317"/>
                  <a:pt x="2306" y="1317"/>
                  <a:pt x="2306" y="1317"/>
                </a:cubicBezTo>
                <a:cubicBezTo>
                  <a:pt x="2350" y="1463"/>
                  <a:pt x="2350" y="1463"/>
                  <a:pt x="2350" y="1463"/>
                </a:cubicBezTo>
                <a:cubicBezTo>
                  <a:pt x="2351" y="1463"/>
                  <a:pt x="2351" y="1463"/>
                  <a:pt x="2351" y="1463"/>
                </a:cubicBezTo>
                <a:cubicBezTo>
                  <a:pt x="2400" y="1317"/>
                  <a:pt x="2400" y="1317"/>
                  <a:pt x="2400" y="1317"/>
                </a:cubicBezTo>
                <a:cubicBezTo>
                  <a:pt x="2433" y="1317"/>
                  <a:pt x="2433" y="1317"/>
                  <a:pt x="2433" y="1317"/>
                </a:cubicBezTo>
                <a:cubicBezTo>
                  <a:pt x="2483" y="1463"/>
                  <a:pt x="2483" y="1463"/>
                  <a:pt x="2483" y="1463"/>
                </a:cubicBezTo>
                <a:cubicBezTo>
                  <a:pt x="2484" y="1463"/>
                  <a:pt x="2484" y="1463"/>
                  <a:pt x="2484" y="1463"/>
                </a:cubicBezTo>
                <a:cubicBezTo>
                  <a:pt x="2527" y="1317"/>
                  <a:pt x="2527" y="1317"/>
                  <a:pt x="2527" y="1317"/>
                </a:cubicBezTo>
                <a:cubicBezTo>
                  <a:pt x="2553" y="1317"/>
                  <a:pt x="2553" y="1317"/>
                  <a:pt x="2553" y="1317"/>
                </a:cubicBezTo>
                <a:cubicBezTo>
                  <a:pt x="2561" y="1317"/>
                  <a:pt x="2561" y="1317"/>
                  <a:pt x="2561" y="1317"/>
                </a:cubicBezTo>
                <a:cubicBezTo>
                  <a:pt x="2600" y="1317"/>
                  <a:pt x="2600" y="1317"/>
                  <a:pt x="2600" y="1317"/>
                </a:cubicBezTo>
                <a:cubicBezTo>
                  <a:pt x="2600" y="1274"/>
                  <a:pt x="2600" y="1274"/>
                  <a:pt x="2600" y="1274"/>
                </a:cubicBezTo>
                <a:cubicBezTo>
                  <a:pt x="2600" y="1228"/>
                  <a:pt x="2616" y="1195"/>
                  <a:pt x="2668" y="1195"/>
                </a:cubicBezTo>
                <a:cubicBezTo>
                  <a:pt x="2676" y="1195"/>
                  <a:pt x="2686" y="1196"/>
                  <a:pt x="2692" y="1200"/>
                </a:cubicBezTo>
                <a:cubicBezTo>
                  <a:pt x="2688" y="1228"/>
                  <a:pt x="2688" y="1228"/>
                  <a:pt x="2688" y="1228"/>
                </a:cubicBezTo>
                <a:cubicBezTo>
                  <a:pt x="2681" y="1226"/>
                  <a:pt x="2673" y="1224"/>
                  <a:pt x="2666" y="1224"/>
                </a:cubicBezTo>
                <a:cubicBezTo>
                  <a:pt x="2633" y="1224"/>
                  <a:pt x="2632" y="1248"/>
                  <a:pt x="2632" y="1281"/>
                </a:cubicBezTo>
                <a:close/>
                <a:moveTo>
                  <a:pt x="2791" y="1312"/>
                </a:moveTo>
                <a:cubicBezTo>
                  <a:pt x="2733" y="1312"/>
                  <a:pt x="2690" y="1352"/>
                  <a:pt x="2690" y="1412"/>
                </a:cubicBezTo>
                <a:cubicBezTo>
                  <a:pt x="2690" y="1471"/>
                  <a:pt x="2733" y="1512"/>
                  <a:pt x="2791" y="1512"/>
                </a:cubicBezTo>
                <a:cubicBezTo>
                  <a:pt x="2850" y="1512"/>
                  <a:pt x="2893" y="1471"/>
                  <a:pt x="2893" y="1412"/>
                </a:cubicBezTo>
                <a:cubicBezTo>
                  <a:pt x="2893" y="1352"/>
                  <a:pt x="2850" y="1312"/>
                  <a:pt x="2791" y="1312"/>
                </a:cubicBezTo>
                <a:close/>
                <a:moveTo>
                  <a:pt x="2791" y="1482"/>
                </a:moveTo>
                <a:cubicBezTo>
                  <a:pt x="2750" y="1482"/>
                  <a:pt x="2724" y="1452"/>
                  <a:pt x="2724" y="1412"/>
                </a:cubicBezTo>
                <a:cubicBezTo>
                  <a:pt x="2724" y="1372"/>
                  <a:pt x="2750" y="1341"/>
                  <a:pt x="2791" y="1341"/>
                </a:cubicBezTo>
                <a:cubicBezTo>
                  <a:pt x="2833" y="1341"/>
                  <a:pt x="2859" y="1372"/>
                  <a:pt x="2859" y="1412"/>
                </a:cubicBezTo>
                <a:cubicBezTo>
                  <a:pt x="2859" y="1452"/>
                  <a:pt x="2833" y="1482"/>
                  <a:pt x="2791" y="1482"/>
                </a:cubicBezTo>
                <a:close/>
                <a:moveTo>
                  <a:pt x="3097" y="1389"/>
                </a:moveTo>
                <a:cubicBezTo>
                  <a:pt x="3097" y="1507"/>
                  <a:pt x="3097" y="1507"/>
                  <a:pt x="3097" y="1507"/>
                </a:cubicBezTo>
                <a:cubicBezTo>
                  <a:pt x="3065" y="1507"/>
                  <a:pt x="3065" y="1507"/>
                  <a:pt x="3065" y="1507"/>
                </a:cubicBezTo>
                <a:cubicBezTo>
                  <a:pt x="3065" y="1393"/>
                  <a:pt x="3065" y="1393"/>
                  <a:pt x="3065" y="1393"/>
                </a:cubicBezTo>
                <a:cubicBezTo>
                  <a:pt x="3065" y="1361"/>
                  <a:pt x="3052" y="1341"/>
                  <a:pt x="3022" y="1341"/>
                </a:cubicBezTo>
                <a:cubicBezTo>
                  <a:pt x="2981" y="1341"/>
                  <a:pt x="2963" y="1371"/>
                  <a:pt x="2963" y="1414"/>
                </a:cubicBezTo>
                <a:cubicBezTo>
                  <a:pt x="2963" y="1507"/>
                  <a:pt x="2963" y="1507"/>
                  <a:pt x="2963" y="1507"/>
                </a:cubicBezTo>
                <a:cubicBezTo>
                  <a:pt x="2931" y="1507"/>
                  <a:pt x="2931" y="1507"/>
                  <a:pt x="2931" y="1507"/>
                </a:cubicBezTo>
                <a:cubicBezTo>
                  <a:pt x="2931" y="1362"/>
                  <a:pt x="2931" y="1362"/>
                  <a:pt x="2931" y="1362"/>
                </a:cubicBezTo>
                <a:cubicBezTo>
                  <a:pt x="2931" y="1344"/>
                  <a:pt x="2930" y="1329"/>
                  <a:pt x="2930" y="1317"/>
                </a:cubicBezTo>
                <a:cubicBezTo>
                  <a:pt x="2960" y="1317"/>
                  <a:pt x="2960" y="1317"/>
                  <a:pt x="2960" y="1317"/>
                </a:cubicBezTo>
                <a:cubicBezTo>
                  <a:pt x="2960" y="1327"/>
                  <a:pt x="2960" y="1337"/>
                  <a:pt x="2960" y="1348"/>
                </a:cubicBezTo>
                <a:cubicBezTo>
                  <a:pt x="2961" y="1348"/>
                  <a:pt x="2961" y="1348"/>
                  <a:pt x="2961" y="1348"/>
                </a:cubicBezTo>
                <a:cubicBezTo>
                  <a:pt x="2970" y="1329"/>
                  <a:pt x="2993" y="1312"/>
                  <a:pt x="3025" y="1312"/>
                </a:cubicBezTo>
                <a:cubicBezTo>
                  <a:pt x="3075" y="1312"/>
                  <a:pt x="3097" y="1343"/>
                  <a:pt x="3097" y="1389"/>
                </a:cubicBezTo>
                <a:close/>
                <a:moveTo>
                  <a:pt x="3307" y="1344"/>
                </a:moveTo>
                <a:cubicBezTo>
                  <a:pt x="3306" y="1344"/>
                  <a:pt x="3306" y="1344"/>
                  <a:pt x="3306" y="1344"/>
                </a:cubicBezTo>
                <a:cubicBezTo>
                  <a:pt x="3289" y="1324"/>
                  <a:pt x="3266" y="1312"/>
                  <a:pt x="3238" y="1312"/>
                </a:cubicBezTo>
                <a:cubicBezTo>
                  <a:pt x="3178" y="1312"/>
                  <a:pt x="3138" y="1354"/>
                  <a:pt x="3138" y="1412"/>
                </a:cubicBezTo>
                <a:cubicBezTo>
                  <a:pt x="3138" y="1469"/>
                  <a:pt x="3180" y="1512"/>
                  <a:pt x="3233" y="1512"/>
                </a:cubicBezTo>
                <a:cubicBezTo>
                  <a:pt x="3267" y="1512"/>
                  <a:pt x="3295" y="1495"/>
                  <a:pt x="3306" y="1473"/>
                </a:cubicBezTo>
                <a:cubicBezTo>
                  <a:pt x="3307" y="1473"/>
                  <a:pt x="3307" y="1473"/>
                  <a:pt x="3307" y="1473"/>
                </a:cubicBezTo>
                <a:cubicBezTo>
                  <a:pt x="3307" y="1507"/>
                  <a:pt x="3307" y="1507"/>
                  <a:pt x="3307" y="1507"/>
                </a:cubicBezTo>
                <a:cubicBezTo>
                  <a:pt x="3339" y="1507"/>
                  <a:pt x="3339" y="1507"/>
                  <a:pt x="3339" y="1507"/>
                </a:cubicBezTo>
                <a:cubicBezTo>
                  <a:pt x="3339" y="1200"/>
                  <a:pt x="3339" y="1200"/>
                  <a:pt x="3339" y="1200"/>
                </a:cubicBezTo>
                <a:cubicBezTo>
                  <a:pt x="3307" y="1200"/>
                  <a:pt x="3307" y="1200"/>
                  <a:pt x="3307" y="1200"/>
                </a:cubicBezTo>
                <a:lnTo>
                  <a:pt x="3307" y="1344"/>
                </a:lnTo>
                <a:close/>
                <a:moveTo>
                  <a:pt x="3240" y="1482"/>
                </a:moveTo>
                <a:cubicBezTo>
                  <a:pt x="3199" y="1482"/>
                  <a:pt x="3172" y="1452"/>
                  <a:pt x="3172" y="1412"/>
                </a:cubicBezTo>
                <a:cubicBezTo>
                  <a:pt x="3172" y="1372"/>
                  <a:pt x="3199" y="1341"/>
                  <a:pt x="3240" y="1341"/>
                </a:cubicBezTo>
                <a:cubicBezTo>
                  <a:pt x="3281" y="1341"/>
                  <a:pt x="3307" y="1372"/>
                  <a:pt x="3307" y="1412"/>
                </a:cubicBezTo>
                <a:cubicBezTo>
                  <a:pt x="3307" y="1452"/>
                  <a:pt x="3281" y="1482"/>
                  <a:pt x="3240" y="1482"/>
                </a:cubicBezTo>
                <a:close/>
                <a:moveTo>
                  <a:pt x="3530" y="1452"/>
                </a:moveTo>
                <a:cubicBezTo>
                  <a:pt x="3530" y="1495"/>
                  <a:pt x="3491" y="1512"/>
                  <a:pt x="3454" y="1512"/>
                </a:cubicBezTo>
                <a:cubicBezTo>
                  <a:pt x="3421" y="1512"/>
                  <a:pt x="3398" y="1503"/>
                  <a:pt x="3380" y="1476"/>
                </a:cubicBezTo>
                <a:cubicBezTo>
                  <a:pt x="3405" y="1457"/>
                  <a:pt x="3405" y="1457"/>
                  <a:pt x="3405" y="1457"/>
                </a:cubicBezTo>
                <a:cubicBezTo>
                  <a:pt x="3417" y="1472"/>
                  <a:pt x="3431" y="1482"/>
                  <a:pt x="3454" y="1482"/>
                </a:cubicBezTo>
                <a:cubicBezTo>
                  <a:pt x="3473" y="1482"/>
                  <a:pt x="3495" y="1474"/>
                  <a:pt x="3495" y="1453"/>
                </a:cubicBezTo>
                <a:cubicBezTo>
                  <a:pt x="3495" y="1433"/>
                  <a:pt x="3475" y="1428"/>
                  <a:pt x="3455" y="1423"/>
                </a:cubicBezTo>
                <a:cubicBezTo>
                  <a:pt x="3419" y="1415"/>
                  <a:pt x="3388" y="1407"/>
                  <a:pt x="3388" y="1368"/>
                </a:cubicBezTo>
                <a:cubicBezTo>
                  <a:pt x="3388" y="1331"/>
                  <a:pt x="3423" y="1312"/>
                  <a:pt x="3459" y="1312"/>
                </a:cubicBezTo>
                <a:cubicBezTo>
                  <a:pt x="3486" y="1312"/>
                  <a:pt x="3510" y="1322"/>
                  <a:pt x="3523" y="1346"/>
                </a:cubicBezTo>
                <a:cubicBezTo>
                  <a:pt x="3497" y="1364"/>
                  <a:pt x="3497" y="1364"/>
                  <a:pt x="3497" y="1364"/>
                </a:cubicBezTo>
                <a:cubicBezTo>
                  <a:pt x="3489" y="1350"/>
                  <a:pt x="3475" y="1341"/>
                  <a:pt x="3457" y="1341"/>
                </a:cubicBezTo>
                <a:cubicBezTo>
                  <a:pt x="3439" y="1341"/>
                  <a:pt x="3419" y="1350"/>
                  <a:pt x="3419" y="1367"/>
                </a:cubicBezTo>
                <a:cubicBezTo>
                  <a:pt x="3419" y="1383"/>
                  <a:pt x="3442" y="1390"/>
                  <a:pt x="3467" y="1395"/>
                </a:cubicBezTo>
                <a:cubicBezTo>
                  <a:pt x="3501" y="1402"/>
                  <a:pt x="3530" y="1414"/>
                  <a:pt x="3530" y="1452"/>
                </a:cubicBezTo>
                <a:close/>
                <a:moveTo>
                  <a:pt x="814" y="0"/>
                </a:moveTo>
                <a:cubicBezTo>
                  <a:pt x="404" y="0"/>
                  <a:pt x="404" y="0"/>
                  <a:pt x="404" y="0"/>
                </a:cubicBezTo>
                <a:cubicBezTo>
                  <a:pt x="0" y="403"/>
                  <a:pt x="0" y="403"/>
                  <a:pt x="0" y="403"/>
                </a:cubicBezTo>
                <a:cubicBezTo>
                  <a:pt x="193" y="596"/>
                  <a:pt x="193" y="596"/>
                  <a:pt x="193" y="596"/>
                </a:cubicBezTo>
                <a:cubicBezTo>
                  <a:pt x="0" y="789"/>
                  <a:pt x="0" y="789"/>
                  <a:pt x="0" y="789"/>
                </a:cubicBezTo>
                <a:cubicBezTo>
                  <a:pt x="411" y="1200"/>
                  <a:pt x="411" y="1200"/>
                  <a:pt x="411" y="1200"/>
                </a:cubicBezTo>
                <a:cubicBezTo>
                  <a:pt x="604" y="1007"/>
                  <a:pt x="604" y="1007"/>
                  <a:pt x="604" y="1007"/>
                </a:cubicBezTo>
                <a:cubicBezTo>
                  <a:pt x="797" y="1200"/>
                  <a:pt x="797" y="1200"/>
                  <a:pt x="797" y="1200"/>
                </a:cubicBezTo>
                <a:cubicBezTo>
                  <a:pt x="1200" y="796"/>
                  <a:pt x="1200" y="796"/>
                  <a:pt x="1200" y="796"/>
                </a:cubicBezTo>
                <a:cubicBezTo>
                  <a:pt x="1200" y="386"/>
                  <a:pt x="1200" y="386"/>
                  <a:pt x="1200" y="386"/>
                </a:cubicBezTo>
                <a:cubicBezTo>
                  <a:pt x="814" y="386"/>
                  <a:pt x="814" y="386"/>
                  <a:pt x="814" y="386"/>
                </a:cubicBezTo>
                <a:lnTo>
                  <a:pt x="814" y="0"/>
                </a:lnTo>
                <a:close/>
                <a:moveTo>
                  <a:pt x="50" y="403"/>
                </a:moveTo>
                <a:cubicBezTo>
                  <a:pt x="418" y="35"/>
                  <a:pt x="418" y="35"/>
                  <a:pt x="418" y="35"/>
                </a:cubicBezTo>
                <a:cubicBezTo>
                  <a:pt x="779" y="35"/>
                  <a:pt x="779" y="35"/>
                  <a:pt x="779" y="35"/>
                </a:cubicBezTo>
                <a:cubicBezTo>
                  <a:pt x="779" y="386"/>
                  <a:pt x="779" y="386"/>
                  <a:pt x="779" y="386"/>
                </a:cubicBezTo>
                <a:cubicBezTo>
                  <a:pt x="404" y="386"/>
                  <a:pt x="404" y="386"/>
                  <a:pt x="404" y="386"/>
                </a:cubicBezTo>
                <a:cubicBezTo>
                  <a:pt x="218" y="571"/>
                  <a:pt x="218" y="571"/>
                  <a:pt x="218" y="571"/>
                </a:cubicBezTo>
                <a:lnTo>
                  <a:pt x="50" y="403"/>
                </a:lnTo>
                <a:close/>
                <a:moveTo>
                  <a:pt x="755" y="420"/>
                </a:moveTo>
                <a:cubicBezTo>
                  <a:pt x="411" y="764"/>
                  <a:pt x="411" y="764"/>
                  <a:pt x="411" y="764"/>
                </a:cubicBezTo>
                <a:cubicBezTo>
                  <a:pt x="242" y="596"/>
                  <a:pt x="242" y="596"/>
                  <a:pt x="242" y="596"/>
                </a:cubicBezTo>
                <a:cubicBezTo>
                  <a:pt x="418" y="420"/>
                  <a:pt x="418" y="420"/>
                  <a:pt x="418" y="420"/>
                </a:cubicBezTo>
                <a:lnTo>
                  <a:pt x="755" y="420"/>
                </a:lnTo>
                <a:close/>
                <a:moveTo>
                  <a:pt x="411" y="1150"/>
                </a:moveTo>
                <a:cubicBezTo>
                  <a:pt x="49" y="789"/>
                  <a:pt x="49" y="789"/>
                  <a:pt x="49" y="789"/>
                </a:cubicBezTo>
                <a:cubicBezTo>
                  <a:pt x="218" y="621"/>
                  <a:pt x="218" y="621"/>
                  <a:pt x="218" y="621"/>
                </a:cubicBezTo>
                <a:cubicBezTo>
                  <a:pt x="579" y="982"/>
                  <a:pt x="579" y="982"/>
                  <a:pt x="579" y="982"/>
                </a:cubicBezTo>
                <a:lnTo>
                  <a:pt x="411" y="1150"/>
                </a:lnTo>
                <a:close/>
                <a:moveTo>
                  <a:pt x="435" y="789"/>
                </a:moveTo>
                <a:cubicBezTo>
                  <a:pt x="779" y="445"/>
                  <a:pt x="779" y="445"/>
                  <a:pt x="779" y="445"/>
                </a:cubicBezTo>
                <a:cubicBezTo>
                  <a:pt x="779" y="782"/>
                  <a:pt x="779" y="782"/>
                  <a:pt x="779" y="782"/>
                </a:cubicBezTo>
                <a:cubicBezTo>
                  <a:pt x="604" y="957"/>
                  <a:pt x="604" y="957"/>
                  <a:pt x="604" y="957"/>
                </a:cubicBezTo>
                <a:lnTo>
                  <a:pt x="435" y="789"/>
                </a:lnTo>
                <a:close/>
                <a:moveTo>
                  <a:pt x="1165" y="420"/>
                </a:moveTo>
                <a:cubicBezTo>
                  <a:pt x="1165" y="782"/>
                  <a:pt x="1165" y="782"/>
                  <a:pt x="1165" y="782"/>
                </a:cubicBezTo>
                <a:cubicBezTo>
                  <a:pt x="797" y="1150"/>
                  <a:pt x="797" y="1150"/>
                  <a:pt x="797" y="1150"/>
                </a:cubicBezTo>
                <a:cubicBezTo>
                  <a:pt x="628" y="982"/>
                  <a:pt x="628" y="982"/>
                  <a:pt x="628" y="982"/>
                </a:cubicBezTo>
                <a:cubicBezTo>
                  <a:pt x="814" y="796"/>
                  <a:pt x="814" y="796"/>
                  <a:pt x="814" y="796"/>
                </a:cubicBezTo>
                <a:cubicBezTo>
                  <a:pt x="814" y="420"/>
                  <a:pt x="814" y="420"/>
                  <a:pt x="814" y="420"/>
                </a:cubicBezTo>
                <a:lnTo>
                  <a:pt x="1165" y="4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lgn="l" defTabSz="1088937" rtl="0" eaLnBrk="1" latinLnBrk="0" hangingPunct="1">
              <a:lnSpc>
                <a:spcPct val="114000"/>
              </a:lnSpc>
              <a:spcBef>
                <a:spcPts val="0"/>
              </a:spcBef>
              <a:buFont typeface="Arial" pitchFamily="34" charset="0"/>
              <a:buNone/>
              <a:defRPr/>
            </a:lvl1pPr>
          </a:lstStyle>
          <a:p>
            <a:r>
              <a:rPr lang="nl-NL" dirty="0"/>
              <a:t> </a:t>
            </a:r>
          </a:p>
        </p:txBody>
      </p:sp>
      <p:sp>
        <p:nvSpPr>
          <p:cNvPr id="14" name="Freeform 7 (PHJU)">
            <a:extLst>
              <a:ext uri="{FF2B5EF4-FFF2-40B4-BE49-F238E27FC236}">
                <a16:creationId xmlns:a16="http://schemas.microsoft.com/office/drawing/2014/main" id="{B28D01B1-372B-4C4F-8C07-4CB2BF8A6902}"/>
              </a:ext>
            </a:extLst>
          </p:cNvPr>
          <p:cNvSpPr>
            <a:spLocks noGrp="1" noSelect="1"/>
          </p:cNvSpPr>
          <p:nvPr>
            <p:ph type="body" idx="1001" hasCustomPrompt="1"/>
            <p:custDataLst>
              <p:custData r:id="rId3"/>
            </p:custDataLst>
          </p:nvPr>
        </p:nvSpPr>
        <p:spPr bwMode="gray">
          <a:xfrm>
            <a:off x="4382964" y="0"/>
            <a:ext cx="1397160" cy="6163200"/>
          </a:xfrm>
          <a:custGeom>
            <a:avLst/>
            <a:gdLst>
              <a:gd name="T0" fmla="*/ 880 w 880"/>
              <a:gd name="T1" fmla="*/ 0 h 3877"/>
              <a:gd name="T2" fmla="*/ 880 w 880"/>
              <a:gd name="T3" fmla="*/ 3437 h 3877"/>
              <a:gd name="T4" fmla="*/ 440 w 880"/>
              <a:gd name="T5" fmla="*/ 3877 h 3877"/>
              <a:gd name="T6" fmla="*/ 0 w 880"/>
              <a:gd name="T7" fmla="*/ 3437 h 3877"/>
              <a:gd name="T8" fmla="*/ 0 w 880"/>
              <a:gd name="T9" fmla="*/ 0 h 3877"/>
              <a:gd name="T10" fmla="*/ 880 w 880"/>
              <a:gd name="T11" fmla="*/ 0 h 3877"/>
            </a:gdLst>
            <a:ahLst/>
            <a:cxnLst>
              <a:cxn ang="0">
                <a:pos x="T0" y="T1"/>
              </a:cxn>
              <a:cxn ang="0">
                <a:pos x="T2" y="T3"/>
              </a:cxn>
              <a:cxn ang="0">
                <a:pos x="T4" y="T5"/>
              </a:cxn>
              <a:cxn ang="0">
                <a:pos x="T6" y="T7"/>
              </a:cxn>
              <a:cxn ang="0">
                <a:pos x="T8" y="T9"/>
              </a:cxn>
              <a:cxn ang="0">
                <a:pos x="T10" y="T11"/>
              </a:cxn>
            </a:cxnLst>
            <a:rect l="0" t="0" r="r" b="b"/>
            <a:pathLst>
              <a:path w="880" h="3877">
                <a:moveTo>
                  <a:pt x="880" y="0"/>
                </a:moveTo>
                <a:lnTo>
                  <a:pt x="880" y="3437"/>
                </a:lnTo>
                <a:lnTo>
                  <a:pt x="440" y="3877"/>
                </a:lnTo>
                <a:lnTo>
                  <a:pt x="0" y="3437"/>
                </a:lnTo>
                <a:lnTo>
                  <a:pt x="0" y="0"/>
                </a:lnTo>
                <a:lnTo>
                  <a:pt x="880" y="0"/>
                </a:lnTo>
                <a:close/>
              </a:path>
            </a:pathLst>
          </a:custGeom>
          <a:solidFill>
            <a:srgbClr val="58525A">
              <a:alpha val="77000"/>
            </a:srgbClr>
          </a:solidFill>
          <a:ln>
            <a:noFill/>
          </a:ln>
        </p:spPr>
        <p:txBody>
          <a:bodyPr vert="horz" wrap="square" lIns="91440" tIns="45720" rIns="91440" bIns="45720" numCol="1" anchor="t" anchorCtr="0" compatLnSpc="1">
            <a:prstTxWarp prst="textNoShape">
              <a:avLst/>
            </a:prstTxWarp>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7" name="Freeform 7 (PHJU)">
            <a:extLst>
              <a:ext uri="{FF2B5EF4-FFF2-40B4-BE49-F238E27FC236}">
                <a16:creationId xmlns:a16="http://schemas.microsoft.com/office/drawing/2014/main" id="{DF664907-20B7-465B-8234-CC4161FAAC8F}"/>
              </a:ext>
            </a:extLst>
          </p:cNvPr>
          <p:cNvSpPr>
            <a:spLocks noGrp="1" noSelect="1"/>
          </p:cNvSpPr>
          <p:nvPr>
            <p:ph type="body" idx="1003" hasCustomPrompt="1"/>
            <p:custDataLst>
              <p:custData r:id="rId4"/>
            </p:custDataLst>
          </p:nvPr>
        </p:nvSpPr>
        <p:spPr bwMode="gray">
          <a:xfrm>
            <a:off x="4381920" y="0"/>
            <a:ext cx="1397160" cy="6171840"/>
          </a:xfrm>
          <a:custGeom>
            <a:avLst/>
            <a:gdLst>
              <a:gd name="T0" fmla="*/ 880 w 880"/>
              <a:gd name="T1" fmla="*/ 0 h 3877"/>
              <a:gd name="T2" fmla="*/ 880 w 880"/>
              <a:gd name="T3" fmla="*/ 3437 h 3877"/>
              <a:gd name="T4" fmla="*/ 440 w 880"/>
              <a:gd name="T5" fmla="*/ 3877 h 3877"/>
              <a:gd name="T6" fmla="*/ 0 w 880"/>
              <a:gd name="T7" fmla="*/ 3437 h 3877"/>
              <a:gd name="T8" fmla="*/ 0 w 880"/>
              <a:gd name="T9" fmla="*/ 0 h 3877"/>
              <a:gd name="T10" fmla="*/ 880 w 880"/>
              <a:gd name="T11" fmla="*/ 0 h 3877"/>
            </a:gdLst>
            <a:ahLst/>
            <a:cxnLst>
              <a:cxn ang="0">
                <a:pos x="T0" y="T1"/>
              </a:cxn>
              <a:cxn ang="0">
                <a:pos x="T2" y="T3"/>
              </a:cxn>
              <a:cxn ang="0">
                <a:pos x="T4" y="T5"/>
              </a:cxn>
              <a:cxn ang="0">
                <a:pos x="T6" y="T7"/>
              </a:cxn>
              <a:cxn ang="0">
                <a:pos x="T8" y="T9"/>
              </a:cxn>
              <a:cxn ang="0">
                <a:pos x="T10" y="T11"/>
              </a:cxn>
            </a:cxnLst>
            <a:rect l="0" t="0" r="r" b="b"/>
            <a:pathLst>
              <a:path w="880" h="3877">
                <a:moveTo>
                  <a:pt x="880" y="0"/>
                </a:moveTo>
                <a:lnTo>
                  <a:pt x="880" y="3437"/>
                </a:lnTo>
                <a:lnTo>
                  <a:pt x="440" y="3877"/>
                </a:lnTo>
                <a:lnTo>
                  <a:pt x="0" y="3437"/>
                </a:lnTo>
                <a:lnTo>
                  <a:pt x="0" y="0"/>
                </a:lnTo>
                <a:lnTo>
                  <a:pt x="880" y="0"/>
                </a:lnTo>
                <a:close/>
              </a:path>
            </a:pathLst>
          </a:custGeom>
          <a:solidFill>
            <a:srgbClr val="C73735">
              <a:alpha val="77000"/>
            </a:srgbClr>
          </a:solidFill>
          <a:ln>
            <a:noFill/>
          </a:ln>
        </p:spPr>
        <p:txBody>
          <a:bodyPr vert="horz" wrap="square" lIns="91440" tIns="45720" rIns="91440" bIns="45720" numCol="1" anchor="t" anchorCtr="0" compatLnSpc="1">
            <a:prstTxWarp prst="textNoShape">
              <a:avLst/>
            </a:prstTxWarp>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3" name="***Tijdelijke aanduiding voor tekst 2"/>
          <p:cNvSpPr>
            <a:spLocks noGrp="1" noSelect="1"/>
          </p:cNvSpPr>
          <p:nvPr>
            <p:ph type="body" sz="quarter" idx="14" hasCustomPrompt="1"/>
          </p:nvPr>
        </p:nvSpPr>
        <p:spPr bwMode="gray">
          <a:xfrm>
            <a:off x="638426" y="729135"/>
            <a:ext cx="3348000" cy="3779985"/>
          </a:xfrm>
        </p:spPr>
        <p:txBody>
          <a:bodyPr>
            <a:noAutofit/>
          </a:bodyPr>
          <a:lstStyle>
            <a:lvl1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1pPr>
            <a:lvl2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2pPr>
            <a:lvl3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3pPr>
            <a:lvl4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4pPr>
            <a:lvl5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5pPr>
            <a:lvl6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6pPr>
            <a:lvl7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7pPr>
            <a:lvl8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8pPr>
            <a:lvl9pPr marL="0" indent="0">
              <a:lnSpc>
                <a:spcPct val="105000"/>
              </a:lnSpc>
              <a:spcBef>
                <a:spcPts val="0"/>
              </a:spcBef>
              <a:spcAft>
                <a:spcPts val="0"/>
              </a:spcAft>
              <a:buNone/>
              <a:defRPr sz="3000" b="0">
                <a:solidFill>
                  <a:schemeClr val="bg1"/>
                </a:solidFill>
                <a:latin typeface="Univers" panose="020B0603020202030204" pitchFamily="34" charset="0"/>
              </a:defRPr>
            </a:lvl9pPr>
          </a:lstStyle>
          <a:p>
            <a:pPr lvl="0"/>
            <a:r>
              <a:rPr lang="nl-NL" dirty="0"/>
              <a:t>[Hier is ruimte voor een kop of hoofdstuktitel die over maximaal 8 regels loopt. </a:t>
            </a:r>
            <a:r>
              <a:rPr lang="nl-NL" dirty="0" err="1"/>
              <a:t>Etum</a:t>
            </a:r>
            <a:r>
              <a:rPr lang="nl-NL" dirty="0"/>
              <a:t> as </a:t>
            </a:r>
            <a:r>
              <a:rPr lang="nl-NL" dirty="0" err="1"/>
              <a:t>aniet</a:t>
            </a:r>
            <a:r>
              <a:rPr lang="nl-NL" dirty="0"/>
              <a:t> </a:t>
            </a:r>
            <a:r>
              <a:rPr lang="nl-NL" dirty="0" err="1"/>
              <a:t>postrum</a:t>
            </a:r>
            <a:r>
              <a:rPr lang="nl-NL" dirty="0"/>
              <a:t> </a:t>
            </a:r>
            <a:r>
              <a:rPr lang="nl-NL" dirty="0" err="1"/>
              <a:t>coribus</a:t>
            </a:r>
            <a:r>
              <a:rPr lang="nl-NL" dirty="0"/>
              <a:t> </a:t>
            </a:r>
            <a:r>
              <a:rPr lang="nl-NL" dirty="0" err="1"/>
              <a:t>idis</a:t>
            </a:r>
            <a:r>
              <a:rPr lang="nl-NL" dirty="0"/>
              <a:t> &gt; lijnt links en boven.]</a:t>
            </a:r>
          </a:p>
        </p:txBody>
      </p:sp>
      <p:sp>
        <p:nvSpPr>
          <p:cNvPr id="8" name="witdriehoek">
            <a:extLst>
              <a:ext uri="{FF2B5EF4-FFF2-40B4-BE49-F238E27FC236}">
                <a16:creationId xmlns:a16="http://schemas.microsoft.com/office/drawing/2014/main" id="{0D511E54-7D4D-498B-859C-4C9CB294D5EE}"/>
              </a:ext>
            </a:extLst>
          </p:cNvPr>
          <p:cNvSpPr>
            <a:spLocks noSelect="1"/>
          </p:cNvSpPr>
          <p:nvPr userDrawn="1"/>
        </p:nvSpPr>
        <p:spPr bwMode="auto">
          <a:xfrm>
            <a:off x="4384675" y="6156326"/>
            <a:ext cx="1395413" cy="696913"/>
          </a:xfrm>
          <a:custGeom>
            <a:avLst/>
            <a:gdLst>
              <a:gd name="T0" fmla="*/ 879 w 879"/>
              <a:gd name="T1" fmla="*/ 439 h 439"/>
              <a:gd name="T2" fmla="*/ 0 w 879"/>
              <a:gd name="T3" fmla="*/ 439 h 439"/>
              <a:gd name="T4" fmla="*/ 439 w 879"/>
              <a:gd name="T5" fmla="*/ 0 h 439"/>
              <a:gd name="T6" fmla="*/ 879 w 879"/>
              <a:gd name="T7" fmla="*/ 439 h 439"/>
            </a:gdLst>
            <a:ahLst/>
            <a:cxnLst>
              <a:cxn ang="0">
                <a:pos x="T0" y="T1"/>
              </a:cxn>
              <a:cxn ang="0">
                <a:pos x="T2" y="T3"/>
              </a:cxn>
              <a:cxn ang="0">
                <a:pos x="T4" y="T5"/>
              </a:cxn>
              <a:cxn ang="0">
                <a:pos x="T6" y="T7"/>
              </a:cxn>
            </a:cxnLst>
            <a:rect l="0" t="0" r="r" b="b"/>
            <a:pathLst>
              <a:path w="879" h="439">
                <a:moveTo>
                  <a:pt x="879" y="439"/>
                </a:moveTo>
                <a:lnTo>
                  <a:pt x="0" y="439"/>
                </a:lnTo>
                <a:lnTo>
                  <a:pt x="439" y="0"/>
                </a:lnTo>
                <a:lnTo>
                  <a:pt x="879"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x-none" dirty="0"/>
          </a:p>
        </p:txBody>
      </p:sp>
      <p:sp>
        <p:nvSpPr>
          <p:cNvPr id="9" name="kleurdriehoek">
            <a:extLst>
              <a:ext uri="{FF2B5EF4-FFF2-40B4-BE49-F238E27FC236}">
                <a16:creationId xmlns:a16="http://schemas.microsoft.com/office/drawing/2014/main" id="{0A39878D-CFDF-4E87-AFDB-C9405885DC69}"/>
              </a:ext>
            </a:extLst>
          </p:cNvPr>
          <p:cNvSpPr>
            <a:spLocks noSelect="1"/>
          </p:cNvSpPr>
          <p:nvPr userDrawn="1"/>
        </p:nvSpPr>
        <p:spPr bwMode="auto">
          <a:xfrm>
            <a:off x="4384675" y="5459413"/>
            <a:ext cx="696913" cy="1393825"/>
          </a:xfrm>
          <a:custGeom>
            <a:avLst/>
            <a:gdLst>
              <a:gd name="T0" fmla="*/ 0 w 439"/>
              <a:gd name="T1" fmla="*/ 878 h 878"/>
              <a:gd name="T2" fmla="*/ 0 w 439"/>
              <a:gd name="T3" fmla="*/ 0 h 878"/>
              <a:gd name="T4" fmla="*/ 439 w 439"/>
              <a:gd name="T5" fmla="*/ 439 h 878"/>
              <a:gd name="T6" fmla="*/ 0 w 439"/>
              <a:gd name="T7" fmla="*/ 878 h 878"/>
            </a:gdLst>
            <a:ahLst/>
            <a:cxnLst>
              <a:cxn ang="0">
                <a:pos x="T0" y="T1"/>
              </a:cxn>
              <a:cxn ang="0">
                <a:pos x="T2" y="T3"/>
              </a:cxn>
              <a:cxn ang="0">
                <a:pos x="T4" y="T5"/>
              </a:cxn>
              <a:cxn ang="0">
                <a:pos x="T6" y="T7"/>
              </a:cxn>
            </a:cxnLst>
            <a:rect l="0" t="0" r="r" b="b"/>
            <a:pathLst>
              <a:path w="439" h="878">
                <a:moveTo>
                  <a:pt x="0" y="878"/>
                </a:moveTo>
                <a:lnTo>
                  <a:pt x="0" y="0"/>
                </a:lnTo>
                <a:lnTo>
                  <a:pt x="439" y="439"/>
                </a:lnTo>
                <a:lnTo>
                  <a:pt x="0" y="878"/>
                </a:lnTo>
                <a:close/>
              </a:path>
            </a:pathLst>
          </a:custGeom>
          <a:solidFill>
            <a:srgbClr val="C73735"/>
          </a:solidFill>
          <a:ln>
            <a:noFill/>
          </a:ln>
        </p:spPr>
        <p:txBody>
          <a:bodyPr vert="horz" wrap="square" lIns="91440" tIns="45720" rIns="91440" bIns="45720" numCol="1" anchor="t" anchorCtr="0" compatLnSpc="1">
            <a:prstTxWarp prst="textNoShape">
              <a:avLst/>
            </a:prstTxWarp>
          </a:bodyPr>
          <a:lstStyle/>
          <a:p>
            <a:endParaRPr lang="x-none" dirty="0"/>
          </a:p>
        </p:txBody>
      </p:sp>
    </p:spTree>
    <p:extLst>
      <p:ext uri="{BB962C8B-B14F-4D97-AF65-F5344CB8AC3E}">
        <p14:creationId xmlns:p14="http://schemas.microsoft.com/office/powerpoint/2010/main" val="6176388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5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00" fill="hold"/>
                                        <p:tgtEl>
                                          <p:spTgt spid="12"/>
                                        </p:tgtEl>
                                        <p:attrNameLst>
                                          <p:attrName>ppt_x</p:attrName>
                                        </p:attrNameLst>
                                      </p:cBhvr>
                                      <p:tavLst>
                                        <p:tav tm="0">
                                          <p:val>
                                            <p:strVal val="1+#ppt_w/2"/>
                                          </p:val>
                                        </p:tav>
                                        <p:tav tm="100000">
                                          <p:val>
                                            <p:strVal val="#ppt_x"/>
                                          </p:val>
                                        </p:tav>
                                      </p:tavLst>
                                    </p:anim>
                                    <p:anim calcmode="lin" valueType="num">
                                      <p:cBhvr additive="base">
                                        <p:cTn id="8" dur="70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8" decel="50000" fill="hold" grpId="0" nodeType="withEffect">
                                  <p:stCondLst>
                                    <p:cond delay="0"/>
                                  </p:stCondLst>
                                  <p:childTnLst>
                                    <p:set>
                                      <p:cBhvr>
                                        <p:cTn id="10" dur="1" fill="hold">
                                          <p:stCondLst>
                                            <p:cond delay="0"/>
                                          </p:stCondLst>
                                        </p:cTn>
                                        <p:tgtEl>
                                          <p:spTgt spid="10">
                                            <p:bg/>
                                          </p:spTgt>
                                        </p:tgtEl>
                                        <p:attrNameLst>
                                          <p:attrName>style.visibility</p:attrName>
                                        </p:attrNameLst>
                                      </p:cBhvr>
                                      <p:to>
                                        <p:strVal val="visible"/>
                                      </p:to>
                                    </p:set>
                                    <p:anim calcmode="lin" valueType="num">
                                      <p:cBhvr additive="base">
                                        <p:cTn id="11" dur="700" fill="hold"/>
                                        <p:tgtEl>
                                          <p:spTgt spid="10">
                                            <p:bg/>
                                          </p:spTgt>
                                        </p:tgtEl>
                                        <p:attrNameLst>
                                          <p:attrName>ppt_x</p:attrName>
                                        </p:attrNameLst>
                                      </p:cBhvr>
                                      <p:tavLst>
                                        <p:tav tm="0">
                                          <p:val>
                                            <p:strVal val="0-#ppt_w/2"/>
                                          </p:val>
                                        </p:tav>
                                        <p:tav tm="100000">
                                          <p:val>
                                            <p:strVal val="#ppt_x"/>
                                          </p:val>
                                        </p:tav>
                                      </p:tavLst>
                                    </p:anim>
                                    <p:anim calcmode="lin" valueType="num">
                                      <p:cBhvr additive="base">
                                        <p:cTn id="12" dur="700" fill="hold"/>
                                        <p:tgtEl>
                                          <p:spTgt spid="10">
                                            <p:bg/>
                                          </p:spTgt>
                                        </p:tgtEl>
                                        <p:attrNameLst>
                                          <p:attrName>ppt_y</p:attrName>
                                        </p:attrNameLst>
                                      </p:cBhvr>
                                      <p:tavLst>
                                        <p:tav tm="0">
                                          <p:val>
                                            <p:strVal val="#ppt_y"/>
                                          </p:val>
                                        </p:tav>
                                        <p:tav tm="100000">
                                          <p:val>
                                            <p:strVal val="#ppt_y"/>
                                          </p:val>
                                        </p:tav>
                                      </p:tavLst>
                                    </p:anim>
                                  </p:childTnLst>
                                </p:cTn>
                              </p:par>
                              <p:par>
                                <p:cTn id="13" presetID="2" presetClass="entr" presetSubtype="8" decel="50000" fill="hold" grpId="0" nodeType="withEffect">
                                  <p:stCondLst>
                                    <p:cond delay="0"/>
                                  </p:stCondLst>
                                  <p:childTnLst>
                                    <p:set>
                                      <p:cBhvr>
                                        <p:cTn id="14" dur="1" fill="hold">
                                          <p:stCondLst>
                                            <p:cond delay="0"/>
                                          </p:stCondLst>
                                        </p:cTn>
                                        <p:tgtEl>
                                          <p:spTgt spid="10">
                                            <p:txEl>
                                              <p:pRg st="0" end="0"/>
                                            </p:txEl>
                                          </p:spTgt>
                                        </p:tgtEl>
                                        <p:attrNameLst>
                                          <p:attrName>style.visibility</p:attrName>
                                        </p:attrNameLst>
                                      </p:cBhvr>
                                      <p:to>
                                        <p:strVal val="visible"/>
                                      </p:to>
                                    </p:set>
                                    <p:anim calcmode="lin" valueType="num">
                                      <p:cBhvr additive="base">
                                        <p:cTn id="15" dur="7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16" dur="700" fill="hold"/>
                                        <p:tgtEl>
                                          <p:spTgt spid="10">
                                            <p:txEl>
                                              <p:pRg st="0" end="0"/>
                                            </p:txEl>
                                          </p:spTgt>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60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200"/>
                                        <p:tgtEl>
                                          <p:spTgt spid="14"/>
                                        </p:tgtEl>
                                      </p:cBhvr>
                                    </p:animEffect>
                                  </p:childTnLst>
                                </p:cTn>
                              </p:par>
                              <p:par>
                                <p:cTn id="20" presetID="10" presetClass="entr" presetSubtype="0" fill="hold" grpId="0" nodeType="withEffect">
                                  <p:stCondLst>
                                    <p:cond delay="6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200"/>
                                        <p:tgtEl>
                                          <p:spTgt spid="7"/>
                                        </p:tgtEl>
                                      </p:cBhvr>
                                    </p:animEffect>
                                  </p:childTnLst>
                                </p:cTn>
                              </p:par>
                            </p:childTnLst>
                          </p:cTn>
                        </p:par>
                        <p:par>
                          <p:cTn id="23" fill="hold">
                            <p:stCondLst>
                              <p:cond delay="800"/>
                            </p:stCondLst>
                            <p:childTnLst>
                              <p:par>
                                <p:cTn id="24" presetID="1" presetClass="entr" presetSubtype="0" fill="hold" grpId="0" nodeType="afterEffect">
                                  <p:stCondLst>
                                    <p:cond delay="0"/>
                                  </p:stCondLst>
                                  <p:childTnLst>
                                    <p:set>
                                      <p:cBhvr>
                                        <p:cTn id="25"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p" animBg="1">
        <p:tmplLst>
          <p:tmpl>
            <p:tnLst>
              <p:par>
                <p:cTn presetID="2" presetClass="entr" presetSubtype="8" decel="5000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 calcmode="lin" valueType="num">
                      <p:cBhvr additive="base">
                        <p:cTn dur="700" fill="hold"/>
                        <p:tgtEl>
                          <p:spTgt spid="10"/>
                        </p:tgtEl>
                        <p:attrNameLst>
                          <p:attrName>ppt_x</p:attrName>
                        </p:attrNameLst>
                      </p:cBhvr>
                      <p:tavLst>
                        <p:tav tm="0">
                          <p:val>
                            <p:strVal val="0-#ppt_w/2"/>
                          </p:val>
                        </p:tav>
                        <p:tav tm="100000">
                          <p:val>
                            <p:strVal val="#ppt_x"/>
                          </p:val>
                        </p:tav>
                      </p:tavLst>
                    </p:anim>
                    <p:anim calcmode="lin" valueType="num">
                      <p:cBhvr additive="base">
                        <p:cTn dur="700" fill="hold"/>
                        <p:tgtEl>
                          <p:spTgt spid="10"/>
                        </p:tgtEl>
                        <p:attrNameLst>
                          <p:attrName>ppt_y</p:attrName>
                        </p:attrNameLst>
                      </p:cBhvr>
                      <p:tavLst>
                        <p:tav tm="0">
                          <p:val>
                            <p:strVal val="#ppt_y"/>
                          </p:val>
                        </p:tav>
                        <p:tav tm="100000">
                          <p:val>
                            <p:strVal val="#ppt_y"/>
                          </p:val>
                        </p:tav>
                      </p:tavLst>
                    </p:anim>
                  </p:childTnLst>
                </p:cTn>
              </p:par>
            </p:tnLst>
          </p:tmpl>
          <p:tmpl lvl="1">
            <p:tnLst>
              <p:par>
                <p:cTn presetID="2" presetClass="entr" presetSubtype="8" decel="5000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 calcmode="lin" valueType="num">
                      <p:cBhvr additive="base">
                        <p:cTn dur="700" fill="hold"/>
                        <p:tgtEl>
                          <p:spTgt spid="10"/>
                        </p:tgtEl>
                        <p:attrNameLst>
                          <p:attrName>ppt_x</p:attrName>
                        </p:attrNameLst>
                      </p:cBhvr>
                      <p:tavLst>
                        <p:tav tm="0">
                          <p:val>
                            <p:strVal val="0-#ppt_w/2"/>
                          </p:val>
                        </p:tav>
                        <p:tav tm="100000">
                          <p:val>
                            <p:strVal val="#ppt_x"/>
                          </p:val>
                        </p:tav>
                      </p:tavLst>
                    </p:anim>
                    <p:anim calcmode="lin" valueType="num">
                      <p:cBhvr additive="base">
                        <p:cTn dur="700" fill="hold"/>
                        <p:tgtEl>
                          <p:spTgt spid="10"/>
                        </p:tgtEl>
                        <p:attrNameLst>
                          <p:attrName>ppt_y</p:attrName>
                        </p:attrNameLst>
                      </p:cBhvr>
                      <p:tavLst>
                        <p:tav tm="0">
                          <p:val>
                            <p:strVal val="#ppt_y"/>
                          </p:val>
                        </p:tav>
                        <p:tav tm="100000">
                          <p:val>
                            <p:strVal val="#ppt_y"/>
                          </p:val>
                        </p:tav>
                      </p:tavLst>
                    </p:anim>
                  </p:childTnLst>
                </p:cTn>
              </p:par>
            </p:tnLst>
          </p:tmpl>
        </p:tmplLst>
      </p:bldP>
      <p:bldP spid="12" grpId="0"/>
      <p:bldP spid="14" grpId="0" animBg="1">
        <p:tmplLst>
          <p:tmpl>
            <p:tnLst>
              <p:par>
                <p:cTn presetID="10" presetClass="entr" presetSubtype="0" fill="hold" nodeType="withEffect">
                  <p:stCondLst>
                    <p:cond delay="600"/>
                  </p:stCondLst>
                  <p:childTnLst>
                    <p:set>
                      <p:cBhvr>
                        <p:cTn dur="1" fill="hold">
                          <p:stCondLst>
                            <p:cond delay="0"/>
                          </p:stCondLst>
                        </p:cTn>
                        <p:tgtEl>
                          <p:spTgt spid="14"/>
                        </p:tgtEl>
                        <p:attrNameLst>
                          <p:attrName>style.visibility</p:attrName>
                        </p:attrNameLst>
                      </p:cBhvr>
                      <p:to>
                        <p:strVal val="visible"/>
                      </p:to>
                    </p:set>
                    <p:animEffect transition="in" filter="fade">
                      <p:cBhvr>
                        <p:cTn dur="200"/>
                        <p:tgtEl>
                          <p:spTgt spid="14"/>
                        </p:tgtEl>
                      </p:cBhvr>
                    </p:animEffect>
                  </p:childTnLst>
                </p:cTn>
              </p:par>
            </p:tnLst>
          </p:tmpl>
        </p:tmplLst>
      </p:bldP>
      <p:bldP spid="7" grpId="0" animBg="1">
        <p:tmplLst>
          <p:tmpl>
            <p:tnLst>
              <p:par>
                <p:cTn presetID="10" presetClass="entr" presetSubtype="0" fill="hold" nodeType="withEffect">
                  <p:stCondLst>
                    <p:cond delay="600"/>
                  </p:stCondLst>
                  <p:childTnLst>
                    <p:set>
                      <p:cBhvr>
                        <p:cTn dur="1" fill="hold">
                          <p:stCondLst>
                            <p:cond delay="0"/>
                          </p:stCondLst>
                        </p:cTn>
                        <p:tgtEl>
                          <p:spTgt spid="7"/>
                        </p:tgtEl>
                        <p:attrNameLst>
                          <p:attrName>style.visibility</p:attrName>
                        </p:attrNameLst>
                      </p:cBhvr>
                      <p:to>
                        <p:strVal val="visible"/>
                      </p:to>
                    </p:set>
                    <p:animEffect transition="in" filter="fade">
                      <p:cBhvr>
                        <p:cTn dur="200"/>
                        <p:tgtEl>
                          <p:spTgt spid="7"/>
                        </p:tgtEl>
                      </p:cBhvr>
                    </p:animEffect>
                  </p:childTnLst>
                </p:cTn>
              </p:par>
            </p:tnLst>
          </p:tmpl>
        </p:tmplLst>
      </p:bldP>
      <p:bldP spid="9" grpId="0" animBg="1"/>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Hoofdstukdia (blauw)">
    <p:spTree>
      <p:nvGrpSpPr>
        <p:cNvPr id="1" name=""/>
        <p:cNvGrpSpPr/>
        <p:nvPr/>
      </p:nvGrpSpPr>
      <p:grpSpPr>
        <a:xfrm>
          <a:off x="0" y="0"/>
          <a:ext cx="0" cy="0"/>
          <a:chOff x="0" y="0"/>
          <a:chExt cx="0" cy="0"/>
        </a:xfrm>
      </p:grpSpPr>
      <p:sp>
        <p:nvSpPr>
          <p:cNvPr id="7" name="Vrije vorm: vorm 9">
            <a:extLst>
              <a:ext uri="{FF2B5EF4-FFF2-40B4-BE49-F238E27FC236}">
                <a16:creationId xmlns:a16="http://schemas.microsoft.com/office/drawing/2014/main" id="{D4237D0C-6A65-43B0-9664-D5C08664B193}"/>
              </a:ext>
            </a:extLst>
          </p:cNvPr>
          <p:cNvSpPr>
            <a:spLocks noGrp="1" noSelect="1"/>
          </p:cNvSpPr>
          <p:nvPr>
            <p:ph type="body" idx="1000" hasCustomPrompt="1"/>
            <p:custDataLst>
              <p:custData r:id="rId1"/>
            </p:custDataLst>
          </p:nvPr>
        </p:nvSpPr>
        <p:spPr bwMode="gray">
          <a:xfrm>
            <a:off x="0" y="0"/>
            <a:ext cx="5780160" cy="6857999"/>
          </a:xfrm>
          <a:custGeom>
            <a:avLst/>
            <a:gdLst>
              <a:gd name="connsiteX0" fmla="*/ 0 w 5780088"/>
              <a:gd name="connsiteY0" fmla="*/ 0 h 6851650"/>
              <a:gd name="connsiteX1" fmla="*/ 4383088 w 5780088"/>
              <a:gd name="connsiteY1" fmla="*/ 0 h 6851650"/>
              <a:gd name="connsiteX2" fmla="*/ 5780088 w 5780088"/>
              <a:gd name="connsiteY2" fmla="*/ 0 h 6851650"/>
              <a:gd name="connsiteX3" fmla="*/ 5780088 w 5780088"/>
              <a:gd name="connsiteY3" fmla="*/ 5456238 h 6851650"/>
              <a:gd name="connsiteX4" fmla="*/ 5081588 w 5780088"/>
              <a:gd name="connsiteY4" fmla="*/ 6154738 h 6851650"/>
              <a:gd name="connsiteX5" fmla="*/ 5081588 w 5780088"/>
              <a:gd name="connsiteY5" fmla="*/ 6154738 h 6851650"/>
              <a:gd name="connsiteX6" fmla="*/ 4383088 w 5780088"/>
              <a:gd name="connsiteY6" fmla="*/ 6851650 h 6851650"/>
              <a:gd name="connsiteX7" fmla="*/ 0 w 5780088"/>
              <a:gd name="connsiteY7" fmla="*/ 6851650 h 685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80088" h="6851650">
                <a:moveTo>
                  <a:pt x="0" y="0"/>
                </a:moveTo>
                <a:lnTo>
                  <a:pt x="4383088" y="0"/>
                </a:lnTo>
                <a:lnTo>
                  <a:pt x="5780088" y="0"/>
                </a:lnTo>
                <a:lnTo>
                  <a:pt x="5780088" y="5456238"/>
                </a:lnTo>
                <a:lnTo>
                  <a:pt x="5081588" y="6154738"/>
                </a:lnTo>
                <a:lnTo>
                  <a:pt x="5081588" y="6154738"/>
                </a:lnTo>
                <a:lnTo>
                  <a:pt x="4383088" y="6851650"/>
                </a:lnTo>
                <a:lnTo>
                  <a:pt x="0" y="6851650"/>
                </a:lnTo>
                <a:close/>
              </a:path>
            </a:pathLst>
          </a:custGeom>
          <a:solidFill>
            <a:srgbClr val="78BDDE"/>
          </a:solidFill>
          <a:ln>
            <a:noFill/>
          </a:ln>
        </p:spPr>
        <p:txBody>
          <a:bodyPr vert="horz" wrap="square" lIns="91440" tIns="45720" rIns="91440" bIns="45720" numCol="1" anchor="t" anchorCtr="0" compatLnSpc="1">
            <a:prstTxWarp prst="textNoShape">
              <a:avLst/>
            </a:prstTxWarp>
            <a:noAutofit/>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8" name="Tijdelijke aanduiding voor afbeelding 17">
            <a:extLst>
              <a:ext uri="{FF2B5EF4-FFF2-40B4-BE49-F238E27FC236}">
                <a16:creationId xmlns:a16="http://schemas.microsoft.com/office/drawing/2014/main" id="{CCEA4C94-9671-4803-ADEE-73024B5AC58D}"/>
              </a:ext>
            </a:extLst>
          </p:cNvPr>
          <p:cNvSpPr>
            <a:spLocks noGrp="1" noSelect="1"/>
          </p:cNvSpPr>
          <p:nvPr>
            <p:ph type="pic" idx="13" hasCustomPrompt="1"/>
          </p:nvPr>
        </p:nvSpPr>
        <p:spPr bwMode="gray">
          <a:xfrm>
            <a:off x="4383176" y="0"/>
            <a:ext cx="7812000" cy="6857999"/>
          </a:xfrm>
          <a:custGeom>
            <a:avLst/>
            <a:gdLst>
              <a:gd name="connsiteX0" fmla="*/ 0 w 7812000"/>
              <a:gd name="connsiteY0" fmla="*/ 0 h 6851520"/>
              <a:gd name="connsiteX1" fmla="*/ 7812000 w 7812000"/>
              <a:gd name="connsiteY1" fmla="*/ 0 h 6851520"/>
              <a:gd name="connsiteX2" fmla="*/ 7812000 w 7812000"/>
              <a:gd name="connsiteY2" fmla="*/ 6851520 h 6851520"/>
              <a:gd name="connsiteX3" fmla="*/ 1396847 w 7812000"/>
              <a:gd name="connsiteY3" fmla="*/ 6851520 h 6851520"/>
              <a:gd name="connsiteX4" fmla="*/ 698413 w 7812000"/>
              <a:gd name="connsiteY4" fmla="*/ 6154673 h 6851520"/>
              <a:gd name="connsiteX5" fmla="*/ 698412 w 7812000"/>
              <a:gd name="connsiteY5" fmla="*/ 6154673 h 6851520"/>
              <a:gd name="connsiteX6" fmla="*/ 0 w 7812000"/>
              <a:gd name="connsiteY6" fmla="*/ 5456261 h 6851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12000" h="6851520">
                <a:moveTo>
                  <a:pt x="0" y="0"/>
                </a:moveTo>
                <a:lnTo>
                  <a:pt x="7812000" y="0"/>
                </a:lnTo>
                <a:lnTo>
                  <a:pt x="7812000" y="6851520"/>
                </a:lnTo>
                <a:lnTo>
                  <a:pt x="1396847" y="6851520"/>
                </a:lnTo>
                <a:lnTo>
                  <a:pt x="698413" y="6154673"/>
                </a:lnTo>
                <a:lnTo>
                  <a:pt x="698412" y="6154673"/>
                </a:lnTo>
                <a:lnTo>
                  <a:pt x="0" y="5456261"/>
                </a:lnTo>
                <a:close/>
              </a:path>
            </a:pathLst>
          </a:custGeom>
          <a:blipFill>
            <a:blip r:embed="rId6"/>
            <a:stretch>
              <a:fillRect/>
            </a:stretch>
          </a:blipFill>
        </p:spPr>
        <p:txBody>
          <a:bodyPr wrap="square">
            <a:noAutofit/>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9" name="Freeform 7 (PHJU)">
            <a:extLst>
              <a:ext uri="{FF2B5EF4-FFF2-40B4-BE49-F238E27FC236}">
                <a16:creationId xmlns:a16="http://schemas.microsoft.com/office/drawing/2014/main" id="{B28D01B1-372B-4C4F-8C07-4CB2BF8A6902}"/>
              </a:ext>
            </a:extLst>
          </p:cNvPr>
          <p:cNvSpPr>
            <a:spLocks noGrp="1" noSelect="1"/>
          </p:cNvSpPr>
          <p:nvPr>
            <p:ph type="body" idx="1001" hasCustomPrompt="1"/>
            <p:custDataLst>
              <p:custData r:id="rId2"/>
            </p:custDataLst>
          </p:nvPr>
        </p:nvSpPr>
        <p:spPr bwMode="gray">
          <a:xfrm>
            <a:off x="4383360" y="-1"/>
            <a:ext cx="1397160" cy="6163200"/>
          </a:xfrm>
          <a:custGeom>
            <a:avLst/>
            <a:gdLst>
              <a:gd name="T0" fmla="*/ 880 w 880"/>
              <a:gd name="T1" fmla="*/ 0 h 3877"/>
              <a:gd name="T2" fmla="*/ 880 w 880"/>
              <a:gd name="T3" fmla="*/ 3437 h 3877"/>
              <a:gd name="T4" fmla="*/ 440 w 880"/>
              <a:gd name="T5" fmla="*/ 3877 h 3877"/>
              <a:gd name="T6" fmla="*/ 0 w 880"/>
              <a:gd name="T7" fmla="*/ 3437 h 3877"/>
              <a:gd name="T8" fmla="*/ 0 w 880"/>
              <a:gd name="T9" fmla="*/ 0 h 3877"/>
              <a:gd name="T10" fmla="*/ 880 w 880"/>
              <a:gd name="T11" fmla="*/ 0 h 3877"/>
            </a:gdLst>
            <a:ahLst/>
            <a:cxnLst>
              <a:cxn ang="0">
                <a:pos x="T0" y="T1"/>
              </a:cxn>
              <a:cxn ang="0">
                <a:pos x="T2" y="T3"/>
              </a:cxn>
              <a:cxn ang="0">
                <a:pos x="T4" y="T5"/>
              </a:cxn>
              <a:cxn ang="0">
                <a:pos x="T6" y="T7"/>
              </a:cxn>
              <a:cxn ang="0">
                <a:pos x="T8" y="T9"/>
              </a:cxn>
              <a:cxn ang="0">
                <a:pos x="T10" y="T11"/>
              </a:cxn>
            </a:cxnLst>
            <a:rect l="0" t="0" r="r" b="b"/>
            <a:pathLst>
              <a:path w="880" h="3877">
                <a:moveTo>
                  <a:pt x="880" y="0"/>
                </a:moveTo>
                <a:lnTo>
                  <a:pt x="880" y="3437"/>
                </a:lnTo>
                <a:lnTo>
                  <a:pt x="440" y="3877"/>
                </a:lnTo>
                <a:lnTo>
                  <a:pt x="0" y="3437"/>
                </a:lnTo>
                <a:lnTo>
                  <a:pt x="0" y="0"/>
                </a:lnTo>
                <a:lnTo>
                  <a:pt x="880" y="0"/>
                </a:lnTo>
                <a:close/>
              </a:path>
            </a:pathLst>
          </a:custGeom>
          <a:solidFill>
            <a:srgbClr val="58525A">
              <a:alpha val="80000"/>
            </a:srgbClr>
          </a:solidFill>
          <a:ln>
            <a:noFill/>
          </a:ln>
        </p:spPr>
        <p:txBody>
          <a:bodyPr vert="horz" wrap="square" lIns="91440" tIns="45720" rIns="91440" bIns="45720" numCol="1" anchor="t" anchorCtr="0" compatLnSpc="1">
            <a:prstTxWarp prst="textNoShape">
              <a:avLst/>
            </a:prstTxWarp>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10" name="Freeform 7 (PHJU)">
            <a:extLst>
              <a:ext uri="{FF2B5EF4-FFF2-40B4-BE49-F238E27FC236}">
                <a16:creationId xmlns:a16="http://schemas.microsoft.com/office/drawing/2014/main" id="{9442974F-7123-4BB0-AA80-04BDBEC27E95}"/>
              </a:ext>
            </a:extLst>
          </p:cNvPr>
          <p:cNvSpPr>
            <a:spLocks noGrp="1" noSelect="1"/>
          </p:cNvSpPr>
          <p:nvPr>
            <p:ph type="body" idx="1003" hasCustomPrompt="1"/>
            <p:custDataLst>
              <p:custData r:id="rId3"/>
            </p:custDataLst>
          </p:nvPr>
        </p:nvSpPr>
        <p:spPr bwMode="gray">
          <a:xfrm>
            <a:off x="4381920" y="0"/>
            <a:ext cx="1397160" cy="6171840"/>
          </a:xfrm>
          <a:custGeom>
            <a:avLst/>
            <a:gdLst>
              <a:gd name="T0" fmla="*/ 880 w 880"/>
              <a:gd name="T1" fmla="*/ 0 h 3877"/>
              <a:gd name="T2" fmla="*/ 880 w 880"/>
              <a:gd name="T3" fmla="*/ 3437 h 3877"/>
              <a:gd name="T4" fmla="*/ 440 w 880"/>
              <a:gd name="T5" fmla="*/ 3877 h 3877"/>
              <a:gd name="T6" fmla="*/ 0 w 880"/>
              <a:gd name="T7" fmla="*/ 3437 h 3877"/>
              <a:gd name="T8" fmla="*/ 0 w 880"/>
              <a:gd name="T9" fmla="*/ 0 h 3877"/>
              <a:gd name="T10" fmla="*/ 880 w 880"/>
              <a:gd name="T11" fmla="*/ 0 h 3877"/>
            </a:gdLst>
            <a:ahLst/>
            <a:cxnLst>
              <a:cxn ang="0">
                <a:pos x="T0" y="T1"/>
              </a:cxn>
              <a:cxn ang="0">
                <a:pos x="T2" y="T3"/>
              </a:cxn>
              <a:cxn ang="0">
                <a:pos x="T4" y="T5"/>
              </a:cxn>
              <a:cxn ang="0">
                <a:pos x="T6" y="T7"/>
              </a:cxn>
              <a:cxn ang="0">
                <a:pos x="T8" y="T9"/>
              </a:cxn>
              <a:cxn ang="0">
                <a:pos x="T10" y="T11"/>
              </a:cxn>
            </a:cxnLst>
            <a:rect l="0" t="0" r="r" b="b"/>
            <a:pathLst>
              <a:path w="880" h="3877">
                <a:moveTo>
                  <a:pt x="880" y="0"/>
                </a:moveTo>
                <a:lnTo>
                  <a:pt x="880" y="3437"/>
                </a:lnTo>
                <a:lnTo>
                  <a:pt x="440" y="3877"/>
                </a:lnTo>
                <a:lnTo>
                  <a:pt x="0" y="3437"/>
                </a:lnTo>
                <a:lnTo>
                  <a:pt x="0" y="0"/>
                </a:lnTo>
                <a:lnTo>
                  <a:pt x="880" y="0"/>
                </a:lnTo>
                <a:close/>
              </a:path>
            </a:pathLst>
          </a:custGeom>
          <a:solidFill>
            <a:srgbClr val="78BDDE">
              <a:alpha val="80000"/>
            </a:srgbClr>
          </a:solidFill>
          <a:ln>
            <a:noFill/>
          </a:ln>
        </p:spPr>
        <p:txBody>
          <a:bodyPr vert="horz" wrap="square" lIns="91440" tIns="45720" rIns="91440" bIns="45720" numCol="1" anchor="t" anchorCtr="0" compatLnSpc="1">
            <a:prstTxWarp prst="textNoShape">
              <a:avLst/>
            </a:prstTxWarp>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13" name="Logo (PHJU)">
            <a:extLst>
              <a:ext uri="{FF2B5EF4-FFF2-40B4-BE49-F238E27FC236}">
                <a16:creationId xmlns:a16="http://schemas.microsoft.com/office/drawing/2014/main" id="{86FE5542-5787-4DBC-AD23-6C2E6214DE2A}"/>
              </a:ext>
            </a:extLst>
          </p:cNvPr>
          <p:cNvSpPr>
            <a:spLocks noGrp="1" noSelect="1"/>
          </p:cNvSpPr>
          <p:nvPr userDrawn="1">
            <p:ph type="body" idx="1002" hasCustomPrompt="1"/>
            <p:custDataLst>
              <p:custData r:id="rId4"/>
            </p:custDataLst>
          </p:nvPr>
        </p:nvSpPr>
        <p:spPr bwMode="gray">
          <a:xfrm>
            <a:off x="638175" y="6030913"/>
            <a:ext cx="2481263" cy="508000"/>
          </a:xfrm>
          <a:custGeom>
            <a:avLst/>
            <a:gdLst>
              <a:gd name="T0" fmla="*/ 1692 w 7817"/>
              <a:gd name="T1" fmla="*/ 0 h 1604"/>
              <a:gd name="T2" fmla="*/ 1692 w 7817"/>
              <a:gd name="T3" fmla="*/ 525 h 1604"/>
              <a:gd name="T4" fmla="*/ 2362 w 7817"/>
              <a:gd name="T5" fmla="*/ 330 h 1604"/>
              <a:gd name="T6" fmla="*/ 2557 w 7817"/>
              <a:gd name="T7" fmla="*/ 729 h 1604"/>
              <a:gd name="T8" fmla="*/ 3512 w 7817"/>
              <a:gd name="T9" fmla="*/ 0 h 1604"/>
              <a:gd name="T10" fmla="*/ 3421 w 7817"/>
              <a:gd name="T11" fmla="*/ 525 h 1604"/>
              <a:gd name="T12" fmla="*/ 5552 w 7817"/>
              <a:gd name="T13" fmla="*/ 1512 h 1604"/>
              <a:gd name="T14" fmla="*/ 5558 w 7817"/>
              <a:gd name="T15" fmla="*/ 1482 h 1604"/>
              <a:gd name="T16" fmla="*/ 5876 w 7817"/>
              <a:gd name="T17" fmla="*/ 1472 h 1604"/>
              <a:gd name="T18" fmla="*/ 5792 w 7817"/>
              <a:gd name="T19" fmla="*/ 1341 h 1604"/>
              <a:gd name="T20" fmla="*/ 5942 w 7817"/>
              <a:gd name="T21" fmla="*/ 1317 h 1604"/>
              <a:gd name="T22" fmla="*/ 6271 w 7817"/>
              <a:gd name="T23" fmla="*/ 1454 h 1604"/>
              <a:gd name="T24" fmla="*/ 6267 w 7817"/>
              <a:gd name="T25" fmla="*/ 1395 h 1604"/>
              <a:gd name="T26" fmla="*/ 6433 w 7817"/>
              <a:gd name="T27" fmla="*/ 1412 h 1604"/>
              <a:gd name="T28" fmla="*/ 6534 w 7817"/>
              <a:gd name="T29" fmla="*/ 1482 h 1604"/>
              <a:gd name="T30" fmla="*/ 6713 w 7817"/>
              <a:gd name="T31" fmla="*/ 1473 h 1604"/>
              <a:gd name="T32" fmla="*/ 6847 w 7817"/>
              <a:gd name="T33" fmla="*/ 1412 h 1604"/>
              <a:gd name="T34" fmla="*/ 7086 w 7817"/>
              <a:gd name="T35" fmla="*/ 1507 h 1604"/>
              <a:gd name="T36" fmla="*/ 6925 w 7817"/>
              <a:gd name="T37" fmla="*/ 1317 h 1604"/>
              <a:gd name="T38" fmla="*/ 7356 w 7817"/>
              <a:gd name="T39" fmla="*/ 1312 h 1604"/>
              <a:gd name="T40" fmla="*/ 7446 w 7817"/>
              <a:gd name="T41" fmla="*/ 1411 h 1604"/>
              <a:gd name="T42" fmla="*/ 7625 w 7817"/>
              <a:gd name="T43" fmla="*/ 1507 h 1604"/>
              <a:gd name="T44" fmla="*/ 7519 w 7817"/>
              <a:gd name="T45" fmla="*/ 1317 h 1604"/>
              <a:gd name="T46" fmla="*/ 7728 w 7817"/>
              <a:gd name="T47" fmla="*/ 1343 h 1604"/>
              <a:gd name="T48" fmla="*/ 7815 w 7817"/>
              <a:gd name="T49" fmla="*/ 1343 h 1604"/>
              <a:gd name="T50" fmla="*/ 3773 w 7817"/>
              <a:gd name="T51" fmla="*/ 1344 h 1604"/>
              <a:gd name="T52" fmla="*/ 3942 w 7817"/>
              <a:gd name="T53" fmla="*/ 1412 h 1604"/>
              <a:gd name="T54" fmla="*/ 4091 w 7817"/>
              <a:gd name="T55" fmla="*/ 1314 h 1604"/>
              <a:gd name="T56" fmla="*/ 4013 w 7817"/>
              <a:gd name="T57" fmla="*/ 1317 h 1604"/>
              <a:gd name="T58" fmla="*/ 4206 w 7817"/>
              <a:gd name="T59" fmla="*/ 1312 h 1604"/>
              <a:gd name="T60" fmla="*/ 4384 w 7817"/>
              <a:gd name="T61" fmla="*/ 1344 h 1604"/>
              <a:gd name="T62" fmla="*/ 4553 w 7817"/>
              <a:gd name="T63" fmla="*/ 1412 h 1604"/>
              <a:gd name="T64" fmla="*/ 4588 w 7817"/>
              <a:gd name="T65" fmla="*/ 1412 h 1604"/>
              <a:gd name="T66" fmla="*/ 4686 w 7817"/>
              <a:gd name="T67" fmla="*/ 1312 h 1604"/>
              <a:gd name="T68" fmla="*/ 4916 w 7817"/>
              <a:gd name="T69" fmla="*/ 1343 h 1604"/>
              <a:gd name="T70" fmla="*/ 4858 w 7817"/>
              <a:gd name="T71" fmla="*/ 1348 h 1604"/>
              <a:gd name="T72" fmla="*/ 4963 w 7817"/>
              <a:gd name="T73" fmla="*/ 1317 h 1604"/>
              <a:gd name="T74" fmla="*/ 5036 w 7817"/>
              <a:gd name="T75" fmla="*/ 1439 h 1604"/>
              <a:gd name="T76" fmla="*/ 5129 w 7817"/>
              <a:gd name="T77" fmla="*/ 1572 h 1604"/>
              <a:gd name="T78" fmla="*/ 5274 w 7817"/>
              <a:gd name="T79" fmla="*/ 1317 h 1604"/>
              <a:gd name="T80" fmla="*/ 1632 w 7817"/>
              <a:gd name="T81" fmla="*/ 1473 h 1604"/>
              <a:gd name="T82" fmla="*/ 1767 w 7817"/>
              <a:gd name="T83" fmla="*/ 1412 h 1604"/>
              <a:gd name="T84" fmla="*/ 1866 w 7817"/>
              <a:gd name="T85" fmla="*/ 1412 h 1604"/>
              <a:gd name="T86" fmla="*/ 2208 w 7817"/>
              <a:gd name="T87" fmla="*/ 1476 h 1604"/>
              <a:gd name="T88" fmla="*/ 2206 w 7817"/>
              <a:gd name="T89" fmla="*/ 1317 h 1604"/>
              <a:gd name="T90" fmla="*/ 2632 w 7817"/>
              <a:gd name="T91" fmla="*/ 1507 h 1604"/>
              <a:gd name="T92" fmla="*/ 2414 w 7817"/>
              <a:gd name="T93" fmla="*/ 1361 h 1604"/>
              <a:gd name="T94" fmla="*/ 2433 w 7817"/>
              <a:gd name="T95" fmla="*/ 1317 h 1604"/>
              <a:gd name="T96" fmla="*/ 2668 w 7817"/>
              <a:gd name="T97" fmla="*/ 1195 h 1604"/>
              <a:gd name="T98" fmla="*/ 2893 w 7817"/>
              <a:gd name="T99" fmla="*/ 1412 h 1604"/>
              <a:gd name="T100" fmla="*/ 3097 w 7817"/>
              <a:gd name="T101" fmla="*/ 1507 h 1604"/>
              <a:gd name="T102" fmla="*/ 2930 w 7817"/>
              <a:gd name="T103" fmla="*/ 1317 h 1604"/>
              <a:gd name="T104" fmla="*/ 3238 w 7817"/>
              <a:gd name="T105" fmla="*/ 1312 h 1604"/>
              <a:gd name="T106" fmla="*/ 3307 w 7817"/>
              <a:gd name="T107" fmla="*/ 1200 h 1604"/>
              <a:gd name="T108" fmla="*/ 3454 w 7817"/>
              <a:gd name="T109" fmla="*/ 1512 h 1604"/>
              <a:gd name="T110" fmla="*/ 3523 w 7817"/>
              <a:gd name="T111" fmla="*/ 1346 h 1604"/>
              <a:gd name="T112" fmla="*/ 0 w 7817"/>
              <a:gd name="T113" fmla="*/ 403 h 1604"/>
              <a:gd name="T114" fmla="*/ 814 w 7817"/>
              <a:gd name="T115" fmla="*/ 386 h 1604"/>
              <a:gd name="T116" fmla="*/ 50 w 7817"/>
              <a:gd name="T117" fmla="*/ 403 h 1604"/>
              <a:gd name="T118" fmla="*/ 218 w 7817"/>
              <a:gd name="T119" fmla="*/ 621 h 1604"/>
              <a:gd name="T120" fmla="*/ 1165 w 7817"/>
              <a:gd name="T121" fmla="*/ 42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17" h="1604">
                <a:moveTo>
                  <a:pt x="1692" y="702"/>
                </a:moveTo>
                <a:cubicBezTo>
                  <a:pt x="1694" y="702"/>
                  <a:pt x="1694" y="702"/>
                  <a:pt x="1694" y="702"/>
                </a:cubicBezTo>
                <a:cubicBezTo>
                  <a:pt x="1728" y="764"/>
                  <a:pt x="1807" y="814"/>
                  <a:pt x="1905" y="814"/>
                </a:cubicBezTo>
                <a:cubicBezTo>
                  <a:pt x="2059" y="814"/>
                  <a:pt x="2180" y="689"/>
                  <a:pt x="2180" y="525"/>
                </a:cubicBezTo>
                <a:cubicBezTo>
                  <a:pt x="2180" y="358"/>
                  <a:pt x="2064" y="236"/>
                  <a:pt x="1891" y="236"/>
                </a:cubicBezTo>
                <a:cubicBezTo>
                  <a:pt x="1812" y="236"/>
                  <a:pt x="1745" y="271"/>
                  <a:pt x="1694" y="330"/>
                </a:cubicBezTo>
                <a:cubicBezTo>
                  <a:pt x="1692" y="330"/>
                  <a:pt x="1692" y="330"/>
                  <a:pt x="1692" y="330"/>
                </a:cubicBezTo>
                <a:cubicBezTo>
                  <a:pt x="1692" y="0"/>
                  <a:pt x="1692" y="0"/>
                  <a:pt x="1692" y="0"/>
                </a:cubicBezTo>
                <a:cubicBezTo>
                  <a:pt x="1600" y="0"/>
                  <a:pt x="1600" y="0"/>
                  <a:pt x="1600" y="0"/>
                </a:cubicBezTo>
                <a:cubicBezTo>
                  <a:pt x="1600" y="799"/>
                  <a:pt x="1600" y="799"/>
                  <a:pt x="1600" y="799"/>
                </a:cubicBezTo>
                <a:cubicBezTo>
                  <a:pt x="1692" y="799"/>
                  <a:pt x="1692" y="799"/>
                  <a:pt x="1692" y="799"/>
                </a:cubicBezTo>
                <a:lnTo>
                  <a:pt x="1692" y="702"/>
                </a:lnTo>
                <a:close/>
                <a:moveTo>
                  <a:pt x="1887" y="320"/>
                </a:moveTo>
                <a:cubicBezTo>
                  <a:pt x="2005" y="320"/>
                  <a:pt x="2082" y="410"/>
                  <a:pt x="2082" y="525"/>
                </a:cubicBezTo>
                <a:cubicBezTo>
                  <a:pt x="2082" y="640"/>
                  <a:pt x="2005" y="729"/>
                  <a:pt x="1887" y="729"/>
                </a:cubicBezTo>
                <a:cubicBezTo>
                  <a:pt x="1768" y="729"/>
                  <a:pt x="1692" y="640"/>
                  <a:pt x="1692" y="525"/>
                </a:cubicBezTo>
                <a:cubicBezTo>
                  <a:pt x="1692" y="410"/>
                  <a:pt x="1768" y="320"/>
                  <a:pt x="1887" y="320"/>
                </a:cubicBezTo>
                <a:close/>
                <a:moveTo>
                  <a:pt x="2362" y="702"/>
                </a:moveTo>
                <a:cubicBezTo>
                  <a:pt x="2365" y="702"/>
                  <a:pt x="2365" y="702"/>
                  <a:pt x="2365" y="702"/>
                </a:cubicBezTo>
                <a:cubicBezTo>
                  <a:pt x="2399" y="764"/>
                  <a:pt x="2477" y="814"/>
                  <a:pt x="2576" y="814"/>
                </a:cubicBezTo>
                <a:cubicBezTo>
                  <a:pt x="2730" y="814"/>
                  <a:pt x="2851" y="689"/>
                  <a:pt x="2851" y="525"/>
                </a:cubicBezTo>
                <a:cubicBezTo>
                  <a:pt x="2851" y="358"/>
                  <a:pt x="2735" y="236"/>
                  <a:pt x="2562" y="236"/>
                </a:cubicBezTo>
                <a:cubicBezTo>
                  <a:pt x="2482" y="236"/>
                  <a:pt x="2415" y="271"/>
                  <a:pt x="2365" y="330"/>
                </a:cubicBezTo>
                <a:cubicBezTo>
                  <a:pt x="2362" y="330"/>
                  <a:pt x="2362" y="330"/>
                  <a:pt x="2362" y="330"/>
                </a:cubicBezTo>
                <a:cubicBezTo>
                  <a:pt x="2362" y="250"/>
                  <a:pt x="2362" y="250"/>
                  <a:pt x="2362" y="250"/>
                </a:cubicBezTo>
                <a:cubicBezTo>
                  <a:pt x="2271" y="250"/>
                  <a:pt x="2271" y="250"/>
                  <a:pt x="2271" y="250"/>
                </a:cubicBezTo>
                <a:cubicBezTo>
                  <a:pt x="2271" y="1057"/>
                  <a:pt x="2271" y="1057"/>
                  <a:pt x="2271" y="1057"/>
                </a:cubicBezTo>
                <a:cubicBezTo>
                  <a:pt x="2362" y="1057"/>
                  <a:pt x="2362" y="1057"/>
                  <a:pt x="2362" y="1057"/>
                </a:cubicBezTo>
                <a:lnTo>
                  <a:pt x="2362" y="702"/>
                </a:lnTo>
                <a:close/>
                <a:moveTo>
                  <a:pt x="2557" y="320"/>
                </a:moveTo>
                <a:cubicBezTo>
                  <a:pt x="2676" y="320"/>
                  <a:pt x="2752" y="410"/>
                  <a:pt x="2752" y="525"/>
                </a:cubicBezTo>
                <a:cubicBezTo>
                  <a:pt x="2752" y="640"/>
                  <a:pt x="2676" y="729"/>
                  <a:pt x="2557" y="729"/>
                </a:cubicBezTo>
                <a:cubicBezTo>
                  <a:pt x="2439" y="729"/>
                  <a:pt x="2362" y="640"/>
                  <a:pt x="2362" y="525"/>
                </a:cubicBezTo>
                <a:cubicBezTo>
                  <a:pt x="2362" y="410"/>
                  <a:pt x="2439" y="320"/>
                  <a:pt x="2557" y="320"/>
                </a:cubicBezTo>
                <a:close/>
                <a:moveTo>
                  <a:pt x="3207" y="814"/>
                </a:moveTo>
                <a:cubicBezTo>
                  <a:pt x="3306" y="814"/>
                  <a:pt x="3385" y="764"/>
                  <a:pt x="3419" y="702"/>
                </a:cubicBezTo>
                <a:cubicBezTo>
                  <a:pt x="3421" y="702"/>
                  <a:pt x="3421" y="702"/>
                  <a:pt x="3421" y="702"/>
                </a:cubicBezTo>
                <a:cubicBezTo>
                  <a:pt x="3421" y="799"/>
                  <a:pt x="3421" y="799"/>
                  <a:pt x="3421" y="799"/>
                </a:cubicBezTo>
                <a:cubicBezTo>
                  <a:pt x="3512" y="799"/>
                  <a:pt x="3512" y="799"/>
                  <a:pt x="3512" y="799"/>
                </a:cubicBezTo>
                <a:cubicBezTo>
                  <a:pt x="3512" y="0"/>
                  <a:pt x="3512" y="0"/>
                  <a:pt x="3512" y="0"/>
                </a:cubicBezTo>
                <a:cubicBezTo>
                  <a:pt x="3421" y="0"/>
                  <a:pt x="3421" y="0"/>
                  <a:pt x="3421" y="0"/>
                </a:cubicBezTo>
                <a:cubicBezTo>
                  <a:pt x="3421" y="330"/>
                  <a:pt x="3421" y="330"/>
                  <a:pt x="3421" y="330"/>
                </a:cubicBezTo>
                <a:cubicBezTo>
                  <a:pt x="3419" y="330"/>
                  <a:pt x="3419" y="330"/>
                  <a:pt x="3419" y="330"/>
                </a:cubicBezTo>
                <a:cubicBezTo>
                  <a:pt x="3368" y="271"/>
                  <a:pt x="3301" y="236"/>
                  <a:pt x="3221" y="236"/>
                </a:cubicBezTo>
                <a:cubicBezTo>
                  <a:pt x="3049" y="236"/>
                  <a:pt x="2933" y="358"/>
                  <a:pt x="2933" y="525"/>
                </a:cubicBezTo>
                <a:cubicBezTo>
                  <a:pt x="2933" y="689"/>
                  <a:pt x="3054" y="814"/>
                  <a:pt x="3207" y="814"/>
                </a:cubicBezTo>
                <a:close/>
                <a:moveTo>
                  <a:pt x="3226" y="320"/>
                </a:moveTo>
                <a:cubicBezTo>
                  <a:pt x="3345" y="320"/>
                  <a:pt x="3421" y="410"/>
                  <a:pt x="3421" y="525"/>
                </a:cubicBezTo>
                <a:cubicBezTo>
                  <a:pt x="3421" y="640"/>
                  <a:pt x="3345" y="729"/>
                  <a:pt x="3226" y="729"/>
                </a:cubicBezTo>
                <a:cubicBezTo>
                  <a:pt x="3107" y="729"/>
                  <a:pt x="3031" y="640"/>
                  <a:pt x="3031" y="525"/>
                </a:cubicBezTo>
                <a:cubicBezTo>
                  <a:pt x="3031" y="410"/>
                  <a:pt x="3107" y="320"/>
                  <a:pt x="3226" y="320"/>
                </a:cubicBezTo>
                <a:close/>
                <a:moveTo>
                  <a:pt x="5626" y="1344"/>
                </a:moveTo>
                <a:cubicBezTo>
                  <a:pt x="5625" y="1344"/>
                  <a:pt x="5625" y="1344"/>
                  <a:pt x="5625" y="1344"/>
                </a:cubicBezTo>
                <a:cubicBezTo>
                  <a:pt x="5607" y="1324"/>
                  <a:pt x="5584" y="1312"/>
                  <a:pt x="5557" y="1312"/>
                </a:cubicBezTo>
                <a:cubicBezTo>
                  <a:pt x="5497" y="1312"/>
                  <a:pt x="5457" y="1354"/>
                  <a:pt x="5457" y="1412"/>
                </a:cubicBezTo>
                <a:cubicBezTo>
                  <a:pt x="5457" y="1469"/>
                  <a:pt x="5498" y="1512"/>
                  <a:pt x="5552" y="1512"/>
                </a:cubicBezTo>
                <a:cubicBezTo>
                  <a:pt x="5586" y="1512"/>
                  <a:pt x="5613" y="1495"/>
                  <a:pt x="5625" y="1473"/>
                </a:cubicBezTo>
                <a:cubicBezTo>
                  <a:pt x="5626" y="1473"/>
                  <a:pt x="5626" y="1473"/>
                  <a:pt x="5626" y="1473"/>
                </a:cubicBezTo>
                <a:cubicBezTo>
                  <a:pt x="5626" y="1507"/>
                  <a:pt x="5626" y="1507"/>
                  <a:pt x="5626" y="1507"/>
                </a:cubicBezTo>
                <a:cubicBezTo>
                  <a:pt x="5657" y="1507"/>
                  <a:pt x="5657" y="1507"/>
                  <a:pt x="5657" y="1507"/>
                </a:cubicBezTo>
                <a:cubicBezTo>
                  <a:pt x="5657" y="1200"/>
                  <a:pt x="5657" y="1200"/>
                  <a:pt x="5657" y="1200"/>
                </a:cubicBezTo>
                <a:cubicBezTo>
                  <a:pt x="5626" y="1200"/>
                  <a:pt x="5626" y="1200"/>
                  <a:pt x="5626" y="1200"/>
                </a:cubicBezTo>
                <a:lnTo>
                  <a:pt x="5626" y="1344"/>
                </a:lnTo>
                <a:close/>
                <a:moveTo>
                  <a:pt x="5558" y="1482"/>
                </a:moveTo>
                <a:cubicBezTo>
                  <a:pt x="5517" y="1482"/>
                  <a:pt x="5491" y="1452"/>
                  <a:pt x="5491" y="1412"/>
                </a:cubicBezTo>
                <a:cubicBezTo>
                  <a:pt x="5491" y="1372"/>
                  <a:pt x="5517" y="1341"/>
                  <a:pt x="5558" y="1341"/>
                </a:cubicBezTo>
                <a:cubicBezTo>
                  <a:pt x="5599" y="1341"/>
                  <a:pt x="5626" y="1372"/>
                  <a:pt x="5626" y="1412"/>
                </a:cubicBezTo>
                <a:cubicBezTo>
                  <a:pt x="5626" y="1452"/>
                  <a:pt x="5599" y="1482"/>
                  <a:pt x="5558" y="1482"/>
                </a:cubicBezTo>
                <a:close/>
                <a:moveTo>
                  <a:pt x="5793" y="1312"/>
                </a:moveTo>
                <a:cubicBezTo>
                  <a:pt x="5737" y="1312"/>
                  <a:pt x="5695" y="1353"/>
                  <a:pt x="5695" y="1412"/>
                </a:cubicBezTo>
                <a:cubicBezTo>
                  <a:pt x="5695" y="1467"/>
                  <a:pt x="5732" y="1512"/>
                  <a:pt x="5792" y="1512"/>
                </a:cubicBezTo>
                <a:cubicBezTo>
                  <a:pt x="5827" y="1512"/>
                  <a:pt x="5854" y="1501"/>
                  <a:pt x="5876" y="1472"/>
                </a:cubicBezTo>
                <a:cubicBezTo>
                  <a:pt x="5852" y="1454"/>
                  <a:pt x="5852" y="1454"/>
                  <a:pt x="5852" y="1454"/>
                </a:cubicBezTo>
                <a:cubicBezTo>
                  <a:pt x="5837" y="1473"/>
                  <a:pt x="5819" y="1482"/>
                  <a:pt x="5792" y="1482"/>
                </a:cubicBezTo>
                <a:cubicBezTo>
                  <a:pt x="5757" y="1482"/>
                  <a:pt x="5732" y="1454"/>
                  <a:pt x="5729" y="1421"/>
                </a:cubicBezTo>
                <a:cubicBezTo>
                  <a:pt x="5883" y="1421"/>
                  <a:pt x="5883" y="1421"/>
                  <a:pt x="5883" y="1421"/>
                </a:cubicBezTo>
                <a:cubicBezTo>
                  <a:pt x="5883" y="1411"/>
                  <a:pt x="5883" y="1411"/>
                  <a:pt x="5883" y="1411"/>
                </a:cubicBezTo>
                <a:cubicBezTo>
                  <a:pt x="5883" y="1348"/>
                  <a:pt x="5846" y="1312"/>
                  <a:pt x="5793" y="1312"/>
                </a:cubicBezTo>
                <a:close/>
                <a:moveTo>
                  <a:pt x="5729" y="1395"/>
                </a:moveTo>
                <a:cubicBezTo>
                  <a:pt x="5733" y="1363"/>
                  <a:pt x="5757" y="1341"/>
                  <a:pt x="5792" y="1341"/>
                </a:cubicBezTo>
                <a:cubicBezTo>
                  <a:pt x="5827" y="1341"/>
                  <a:pt x="5848" y="1363"/>
                  <a:pt x="5849" y="1395"/>
                </a:cubicBezTo>
                <a:lnTo>
                  <a:pt x="5729" y="1395"/>
                </a:lnTo>
                <a:close/>
                <a:moveTo>
                  <a:pt x="6059" y="1317"/>
                </a:moveTo>
                <a:cubicBezTo>
                  <a:pt x="6093" y="1317"/>
                  <a:pt x="6093" y="1317"/>
                  <a:pt x="6093" y="1317"/>
                </a:cubicBezTo>
                <a:cubicBezTo>
                  <a:pt x="6018" y="1507"/>
                  <a:pt x="6018" y="1507"/>
                  <a:pt x="6018" y="1507"/>
                </a:cubicBezTo>
                <a:cubicBezTo>
                  <a:pt x="5983" y="1507"/>
                  <a:pt x="5983" y="1507"/>
                  <a:pt x="5983" y="1507"/>
                </a:cubicBezTo>
                <a:cubicBezTo>
                  <a:pt x="5905" y="1317"/>
                  <a:pt x="5905" y="1317"/>
                  <a:pt x="5905" y="1317"/>
                </a:cubicBezTo>
                <a:cubicBezTo>
                  <a:pt x="5942" y="1317"/>
                  <a:pt x="5942" y="1317"/>
                  <a:pt x="5942" y="1317"/>
                </a:cubicBezTo>
                <a:cubicBezTo>
                  <a:pt x="6001" y="1466"/>
                  <a:pt x="6001" y="1466"/>
                  <a:pt x="6001" y="1466"/>
                </a:cubicBezTo>
                <a:cubicBezTo>
                  <a:pt x="6002" y="1466"/>
                  <a:pt x="6002" y="1466"/>
                  <a:pt x="6002" y="1466"/>
                </a:cubicBezTo>
                <a:lnTo>
                  <a:pt x="6059" y="1317"/>
                </a:lnTo>
                <a:close/>
                <a:moveTo>
                  <a:pt x="6211" y="1312"/>
                </a:moveTo>
                <a:cubicBezTo>
                  <a:pt x="6155" y="1312"/>
                  <a:pt x="6114" y="1353"/>
                  <a:pt x="6114" y="1412"/>
                </a:cubicBezTo>
                <a:cubicBezTo>
                  <a:pt x="6114" y="1467"/>
                  <a:pt x="6150" y="1512"/>
                  <a:pt x="6210" y="1512"/>
                </a:cubicBezTo>
                <a:cubicBezTo>
                  <a:pt x="6245" y="1512"/>
                  <a:pt x="6272" y="1501"/>
                  <a:pt x="6295" y="1472"/>
                </a:cubicBezTo>
                <a:cubicBezTo>
                  <a:pt x="6271" y="1454"/>
                  <a:pt x="6271" y="1454"/>
                  <a:pt x="6271" y="1454"/>
                </a:cubicBezTo>
                <a:cubicBezTo>
                  <a:pt x="6256" y="1473"/>
                  <a:pt x="6237" y="1482"/>
                  <a:pt x="6210" y="1482"/>
                </a:cubicBezTo>
                <a:cubicBezTo>
                  <a:pt x="6176" y="1482"/>
                  <a:pt x="6150" y="1454"/>
                  <a:pt x="6148" y="1421"/>
                </a:cubicBezTo>
                <a:cubicBezTo>
                  <a:pt x="6302" y="1421"/>
                  <a:pt x="6302" y="1421"/>
                  <a:pt x="6302" y="1421"/>
                </a:cubicBezTo>
                <a:cubicBezTo>
                  <a:pt x="6302" y="1411"/>
                  <a:pt x="6302" y="1411"/>
                  <a:pt x="6302" y="1411"/>
                </a:cubicBezTo>
                <a:cubicBezTo>
                  <a:pt x="6302" y="1348"/>
                  <a:pt x="6265" y="1312"/>
                  <a:pt x="6211" y="1312"/>
                </a:cubicBezTo>
                <a:close/>
                <a:moveTo>
                  <a:pt x="6148" y="1395"/>
                </a:moveTo>
                <a:cubicBezTo>
                  <a:pt x="6152" y="1363"/>
                  <a:pt x="6175" y="1341"/>
                  <a:pt x="6210" y="1341"/>
                </a:cubicBezTo>
                <a:cubicBezTo>
                  <a:pt x="6245" y="1341"/>
                  <a:pt x="6266" y="1363"/>
                  <a:pt x="6267" y="1395"/>
                </a:cubicBezTo>
                <a:lnTo>
                  <a:pt x="6148" y="1395"/>
                </a:lnTo>
                <a:close/>
                <a:moveTo>
                  <a:pt x="6354" y="1200"/>
                </a:moveTo>
                <a:cubicBezTo>
                  <a:pt x="6386" y="1200"/>
                  <a:pt x="6386" y="1200"/>
                  <a:pt x="6386" y="1200"/>
                </a:cubicBezTo>
                <a:cubicBezTo>
                  <a:pt x="6386" y="1507"/>
                  <a:pt x="6386" y="1507"/>
                  <a:pt x="6386" y="1507"/>
                </a:cubicBezTo>
                <a:cubicBezTo>
                  <a:pt x="6354" y="1507"/>
                  <a:pt x="6354" y="1507"/>
                  <a:pt x="6354" y="1507"/>
                </a:cubicBezTo>
                <a:lnTo>
                  <a:pt x="6354" y="1200"/>
                </a:lnTo>
                <a:close/>
                <a:moveTo>
                  <a:pt x="6534" y="1312"/>
                </a:moveTo>
                <a:cubicBezTo>
                  <a:pt x="6476" y="1312"/>
                  <a:pt x="6433" y="1352"/>
                  <a:pt x="6433" y="1412"/>
                </a:cubicBezTo>
                <a:cubicBezTo>
                  <a:pt x="6433" y="1471"/>
                  <a:pt x="6476" y="1512"/>
                  <a:pt x="6534" y="1512"/>
                </a:cubicBezTo>
                <a:cubicBezTo>
                  <a:pt x="6593" y="1512"/>
                  <a:pt x="6636" y="1471"/>
                  <a:pt x="6636" y="1412"/>
                </a:cubicBezTo>
                <a:cubicBezTo>
                  <a:pt x="6636" y="1352"/>
                  <a:pt x="6593" y="1312"/>
                  <a:pt x="6534" y="1312"/>
                </a:cubicBezTo>
                <a:close/>
                <a:moveTo>
                  <a:pt x="6534" y="1482"/>
                </a:moveTo>
                <a:cubicBezTo>
                  <a:pt x="6493" y="1482"/>
                  <a:pt x="6467" y="1452"/>
                  <a:pt x="6467" y="1412"/>
                </a:cubicBezTo>
                <a:cubicBezTo>
                  <a:pt x="6467" y="1372"/>
                  <a:pt x="6493" y="1341"/>
                  <a:pt x="6534" y="1341"/>
                </a:cubicBezTo>
                <a:cubicBezTo>
                  <a:pt x="6575" y="1341"/>
                  <a:pt x="6602" y="1372"/>
                  <a:pt x="6602" y="1412"/>
                </a:cubicBezTo>
                <a:cubicBezTo>
                  <a:pt x="6602" y="1452"/>
                  <a:pt x="6575" y="1482"/>
                  <a:pt x="6534" y="1482"/>
                </a:cubicBezTo>
                <a:close/>
                <a:moveTo>
                  <a:pt x="6782" y="1312"/>
                </a:moveTo>
                <a:cubicBezTo>
                  <a:pt x="6754" y="1312"/>
                  <a:pt x="6731" y="1324"/>
                  <a:pt x="6713" y="1344"/>
                </a:cubicBezTo>
                <a:cubicBezTo>
                  <a:pt x="6713" y="1344"/>
                  <a:pt x="6713" y="1344"/>
                  <a:pt x="6713" y="1344"/>
                </a:cubicBezTo>
                <a:cubicBezTo>
                  <a:pt x="6713" y="1317"/>
                  <a:pt x="6713" y="1317"/>
                  <a:pt x="6713" y="1317"/>
                </a:cubicBezTo>
                <a:cubicBezTo>
                  <a:pt x="6681" y="1317"/>
                  <a:pt x="6681" y="1317"/>
                  <a:pt x="6681" y="1317"/>
                </a:cubicBezTo>
                <a:cubicBezTo>
                  <a:pt x="6681" y="1600"/>
                  <a:pt x="6681" y="1600"/>
                  <a:pt x="6681" y="1600"/>
                </a:cubicBezTo>
                <a:cubicBezTo>
                  <a:pt x="6713" y="1600"/>
                  <a:pt x="6713" y="1600"/>
                  <a:pt x="6713" y="1600"/>
                </a:cubicBezTo>
                <a:cubicBezTo>
                  <a:pt x="6713" y="1473"/>
                  <a:pt x="6713" y="1473"/>
                  <a:pt x="6713" y="1473"/>
                </a:cubicBezTo>
                <a:cubicBezTo>
                  <a:pt x="6713" y="1473"/>
                  <a:pt x="6713" y="1473"/>
                  <a:pt x="6713" y="1473"/>
                </a:cubicBezTo>
                <a:cubicBezTo>
                  <a:pt x="6725" y="1495"/>
                  <a:pt x="6752" y="1512"/>
                  <a:pt x="6786" y="1512"/>
                </a:cubicBezTo>
                <a:cubicBezTo>
                  <a:pt x="6840" y="1512"/>
                  <a:pt x="6882" y="1469"/>
                  <a:pt x="6882" y="1412"/>
                </a:cubicBezTo>
                <a:cubicBezTo>
                  <a:pt x="6882" y="1354"/>
                  <a:pt x="6841" y="1312"/>
                  <a:pt x="6782" y="1312"/>
                </a:cubicBezTo>
                <a:close/>
                <a:moveTo>
                  <a:pt x="6780" y="1482"/>
                </a:moveTo>
                <a:cubicBezTo>
                  <a:pt x="6739" y="1482"/>
                  <a:pt x="6713" y="1452"/>
                  <a:pt x="6713" y="1412"/>
                </a:cubicBezTo>
                <a:cubicBezTo>
                  <a:pt x="6713" y="1372"/>
                  <a:pt x="6739" y="1341"/>
                  <a:pt x="6780" y="1341"/>
                </a:cubicBezTo>
                <a:cubicBezTo>
                  <a:pt x="6821" y="1341"/>
                  <a:pt x="6847" y="1372"/>
                  <a:pt x="6847" y="1412"/>
                </a:cubicBezTo>
                <a:cubicBezTo>
                  <a:pt x="6847" y="1452"/>
                  <a:pt x="6821" y="1482"/>
                  <a:pt x="6780" y="1482"/>
                </a:cubicBezTo>
                <a:close/>
                <a:moveTo>
                  <a:pt x="7213" y="1391"/>
                </a:moveTo>
                <a:cubicBezTo>
                  <a:pt x="7213" y="1507"/>
                  <a:pt x="7213" y="1507"/>
                  <a:pt x="7213" y="1507"/>
                </a:cubicBezTo>
                <a:cubicBezTo>
                  <a:pt x="7181" y="1507"/>
                  <a:pt x="7181" y="1507"/>
                  <a:pt x="7181" y="1507"/>
                </a:cubicBezTo>
                <a:cubicBezTo>
                  <a:pt x="7181" y="1393"/>
                  <a:pt x="7181" y="1393"/>
                  <a:pt x="7181" y="1393"/>
                </a:cubicBezTo>
                <a:cubicBezTo>
                  <a:pt x="7181" y="1367"/>
                  <a:pt x="7172" y="1341"/>
                  <a:pt x="7135" y="1341"/>
                </a:cubicBezTo>
                <a:cubicBezTo>
                  <a:pt x="7108" y="1341"/>
                  <a:pt x="7086" y="1363"/>
                  <a:pt x="7086" y="1397"/>
                </a:cubicBezTo>
                <a:cubicBezTo>
                  <a:pt x="7086" y="1507"/>
                  <a:pt x="7086" y="1507"/>
                  <a:pt x="7086" y="1507"/>
                </a:cubicBezTo>
                <a:cubicBezTo>
                  <a:pt x="7054" y="1507"/>
                  <a:pt x="7054" y="1507"/>
                  <a:pt x="7054" y="1507"/>
                </a:cubicBezTo>
                <a:cubicBezTo>
                  <a:pt x="7054" y="1399"/>
                  <a:pt x="7054" y="1399"/>
                  <a:pt x="7054" y="1399"/>
                </a:cubicBezTo>
                <a:cubicBezTo>
                  <a:pt x="7054" y="1357"/>
                  <a:pt x="7043" y="1341"/>
                  <a:pt x="7017" y="1341"/>
                </a:cubicBezTo>
                <a:cubicBezTo>
                  <a:pt x="6976" y="1341"/>
                  <a:pt x="6958" y="1371"/>
                  <a:pt x="6958" y="1414"/>
                </a:cubicBezTo>
                <a:cubicBezTo>
                  <a:pt x="6958" y="1507"/>
                  <a:pt x="6958" y="1507"/>
                  <a:pt x="6958" y="1507"/>
                </a:cubicBezTo>
                <a:cubicBezTo>
                  <a:pt x="6927" y="1507"/>
                  <a:pt x="6927" y="1507"/>
                  <a:pt x="6927" y="1507"/>
                </a:cubicBezTo>
                <a:cubicBezTo>
                  <a:pt x="6927" y="1362"/>
                  <a:pt x="6927" y="1362"/>
                  <a:pt x="6927" y="1362"/>
                </a:cubicBezTo>
                <a:cubicBezTo>
                  <a:pt x="6927" y="1344"/>
                  <a:pt x="6925" y="1329"/>
                  <a:pt x="6925" y="1317"/>
                </a:cubicBezTo>
                <a:cubicBezTo>
                  <a:pt x="6955" y="1317"/>
                  <a:pt x="6955" y="1317"/>
                  <a:pt x="6955" y="1317"/>
                </a:cubicBezTo>
                <a:cubicBezTo>
                  <a:pt x="6955" y="1327"/>
                  <a:pt x="6956" y="1337"/>
                  <a:pt x="6956" y="1348"/>
                </a:cubicBezTo>
                <a:cubicBezTo>
                  <a:pt x="6957" y="1348"/>
                  <a:pt x="6957" y="1348"/>
                  <a:pt x="6957" y="1348"/>
                </a:cubicBezTo>
                <a:cubicBezTo>
                  <a:pt x="6965" y="1329"/>
                  <a:pt x="6989" y="1312"/>
                  <a:pt x="7020" y="1312"/>
                </a:cubicBezTo>
                <a:cubicBezTo>
                  <a:pt x="7061" y="1312"/>
                  <a:pt x="7074" y="1335"/>
                  <a:pt x="7080" y="1348"/>
                </a:cubicBezTo>
                <a:cubicBezTo>
                  <a:pt x="7094" y="1326"/>
                  <a:pt x="7112" y="1312"/>
                  <a:pt x="7140" y="1312"/>
                </a:cubicBezTo>
                <a:cubicBezTo>
                  <a:pt x="7195" y="1312"/>
                  <a:pt x="7213" y="1342"/>
                  <a:pt x="7213" y="1391"/>
                </a:cubicBezTo>
                <a:close/>
                <a:moveTo>
                  <a:pt x="7356" y="1312"/>
                </a:moveTo>
                <a:cubicBezTo>
                  <a:pt x="7300" y="1312"/>
                  <a:pt x="7258" y="1353"/>
                  <a:pt x="7258" y="1412"/>
                </a:cubicBezTo>
                <a:cubicBezTo>
                  <a:pt x="7258" y="1467"/>
                  <a:pt x="7295" y="1512"/>
                  <a:pt x="7354" y="1512"/>
                </a:cubicBezTo>
                <a:cubicBezTo>
                  <a:pt x="7390" y="1512"/>
                  <a:pt x="7417" y="1501"/>
                  <a:pt x="7439" y="1472"/>
                </a:cubicBezTo>
                <a:cubicBezTo>
                  <a:pt x="7415" y="1454"/>
                  <a:pt x="7415" y="1454"/>
                  <a:pt x="7415" y="1454"/>
                </a:cubicBezTo>
                <a:cubicBezTo>
                  <a:pt x="7400" y="1473"/>
                  <a:pt x="7382" y="1482"/>
                  <a:pt x="7354" y="1482"/>
                </a:cubicBezTo>
                <a:cubicBezTo>
                  <a:pt x="7320" y="1482"/>
                  <a:pt x="7295" y="1454"/>
                  <a:pt x="7292" y="1421"/>
                </a:cubicBezTo>
                <a:cubicBezTo>
                  <a:pt x="7446" y="1421"/>
                  <a:pt x="7446" y="1421"/>
                  <a:pt x="7446" y="1421"/>
                </a:cubicBezTo>
                <a:cubicBezTo>
                  <a:pt x="7446" y="1411"/>
                  <a:pt x="7446" y="1411"/>
                  <a:pt x="7446" y="1411"/>
                </a:cubicBezTo>
                <a:cubicBezTo>
                  <a:pt x="7446" y="1348"/>
                  <a:pt x="7409" y="1312"/>
                  <a:pt x="7356" y="1312"/>
                </a:cubicBezTo>
                <a:close/>
                <a:moveTo>
                  <a:pt x="7292" y="1395"/>
                </a:moveTo>
                <a:cubicBezTo>
                  <a:pt x="7296" y="1363"/>
                  <a:pt x="7320" y="1341"/>
                  <a:pt x="7354" y="1341"/>
                </a:cubicBezTo>
                <a:cubicBezTo>
                  <a:pt x="7389" y="1341"/>
                  <a:pt x="7411" y="1363"/>
                  <a:pt x="7412" y="1395"/>
                </a:cubicBezTo>
                <a:lnTo>
                  <a:pt x="7292" y="1395"/>
                </a:lnTo>
                <a:close/>
                <a:moveTo>
                  <a:pt x="7657" y="1389"/>
                </a:moveTo>
                <a:cubicBezTo>
                  <a:pt x="7657" y="1507"/>
                  <a:pt x="7657" y="1507"/>
                  <a:pt x="7657" y="1507"/>
                </a:cubicBezTo>
                <a:cubicBezTo>
                  <a:pt x="7625" y="1507"/>
                  <a:pt x="7625" y="1507"/>
                  <a:pt x="7625" y="1507"/>
                </a:cubicBezTo>
                <a:cubicBezTo>
                  <a:pt x="7625" y="1393"/>
                  <a:pt x="7625" y="1393"/>
                  <a:pt x="7625" y="1393"/>
                </a:cubicBezTo>
                <a:cubicBezTo>
                  <a:pt x="7625" y="1361"/>
                  <a:pt x="7611" y="1341"/>
                  <a:pt x="7582" y="1341"/>
                </a:cubicBezTo>
                <a:cubicBezTo>
                  <a:pt x="7541" y="1341"/>
                  <a:pt x="7523" y="1371"/>
                  <a:pt x="7523" y="1414"/>
                </a:cubicBezTo>
                <a:cubicBezTo>
                  <a:pt x="7523" y="1507"/>
                  <a:pt x="7523" y="1507"/>
                  <a:pt x="7523" y="1507"/>
                </a:cubicBezTo>
                <a:cubicBezTo>
                  <a:pt x="7491" y="1507"/>
                  <a:pt x="7491" y="1507"/>
                  <a:pt x="7491" y="1507"/>
                </a:cubicBezTo>
                <a:cubicBezTo>
                  <a:pt x="7491" y="1362"/>
                  <a:pt x="7491" y="1362"/>
                  <a:pt x="7491" y="1362"/>
                </a:cubicBezTo>
                <a:cubicBezTo>
                  <a:pt x="7491" y="1344"/>
                  <a:pt x="7489" y="1329"/>
                  <a:pt x="7489" y="1317"/>
                </a:cubicBezTo>
                <a:cubicBezTo>
                  <a:pt x="7519" y="1317"/>
                  <a:pt x="7519" y="1317"/>
                  <a:pt x="7519" y="1317"/>
                </a:cubicBezTo>
                <a:cubicBezTo>
                  <a:pt x="7519" y="1327"/>
                  <a:pt x="7520" y="1337"/>
                  <a:pt x="7520" y="1348"/>
                </a:cubicBezTo>
                <a:cubicBezTo>
                  <a:pt x="7521" y="1348"/>
                  <a:pt x="7521" y="1348"/>
                  <a:pt x="7521" y="1348"/>
                </a:cubicBezTo>
                <a:cubicBezTo>
                  <a:pt x="7530" y="1329"/>
                  <a:pt x="7553" y="1312"/>
                  <a:pt x="7584" y="1312"/>
                </a:cubicBezTo>
                <a:cubicBezTo>
                  <a:pt x="7634" y="1312"/>
                  <a:pt x="7657" y="1343"/>
                  <a:pt x="7657" y="1389"/>
                </a:cubicBezTo>
                <a:close/>
                <a:moveTo>
                  <a:pt x="7817" y="1505"/>
                </a:moveTo>
                <a:cubicBezTo>
                  <a:pt x="7806" y="1510"/>
                  <a:pt x="7792" y="1512"/>
                  <a:pt x="7780" y="1512"/>
                </a:cubicBezTo>
                <a:cubicBezTo>
                  <a:pt x="7735" y="1512"/>
                  <a:pt x="7728" y="1487"/>
                  <a:pt x="7728" y="1448"/>
                </a:cubicBezTo>
                <a:cubicBezTo>
                  <a:pt x="7728" y="1343"/>
                  <a:pt x="7728" y="1343"/>
                  <a:pt x="7728" y="1343"/>
                </a:cubicBezTo>
                <a:cubicBezTo>
                  <a:pt x="7686" y="1343"/>
                  <a:pt x="7686" y="1343"/>
                  <a:pt x="7686" y="1343"/>
                </a:cubicBezTo>
                <a:cubicBezTo>
                  <a:pt x="7686" y="1317"/>
                  <a:pt x="7686" y="1317"/>
                  <a:pt x="7686" y="1317"/>
                </a:cubicBezTo>
                <a:cubicBezTo>
                  <a:pt x="7728" y="1317"/>
                  <a:pt x="7728" y="1317"/>
                  <a:pt x="7728" y="1317"/>
                </a:cubicBezTo>
                <a:cubicBezTo>
                  <a:pt x="7728" y="1263"/>
                  <a:pt x="7728" y="1263"/>
                  <a:pt x="7728" y="1263"/>
                </a:cubicBezTo>
                <a:cubicBezTo>
                  <a:pt x="7759" y="1263"/>
                  <a:pt x="7759" y="1263"/>
                  <a:pt x="7759" y="1263"/>
                </a:cubicBezTo>
                <a:cubicBezTo>
                  <a:pt x="7759" y="1317"/>
                  <a:pt x="7759" y="1317"/>
                  <a:pt x="7759" y="1317"/>
                </a:cubicBezTo>
                <a:cubicBezTo>
                  <a:pt x="7815" y="1317"/>
                  <a:pt x="7815" y="1317"/>
                  <a:pt x="7815" y="1317"/>
                </a:cubicBezTo>
                <a:cubicBezTo>
                  <a:pt x="7815" y="1343"/>
                  <a:pt x="7815" y="1343"/>
                  <a:pt x="7815" y="1343"/>
                </a:cubicBezTo>
                <a:cubicBezTo>
                  <a:pt x="7759" y="1343"/>
                  <a:pt x="7759" y="1343"/>
                  <a:pt x="7759" y="1343"/>
                </a:cubicBezTo>
                <a:cubicBezTo>
                  <a:pt x="7759" y="1439"/>
                  <a:pt x="7759" y="1439"/>
                  <a:pt x="7759" y="1439"/>
                </a:cubicBezTo>
                <a:cubicBezTo>
                  <a:pt x="7759" y="1463"/>
                  <a:pt x="7760" y="1482"/>
                  <a:pt x="7788" y="1482"/>
                </a:cubicBezTo>
                <a:cubicBezTo>
                  <a:pt x="7797" y="1482"/>
                  <a:pt x="7807" y="1480"/>
                  <a:pt x="7816" y="1476"/>
                </a:cubicBezTo>
                <a:lnTo>
                  <a:pt x="7817" y="1505"/>
                </a:lnTo>
                <a:close/>
                <a:moveTo>
                  <a:pt x="3842" y="1312"/>
                </a:moveTo>
                <a:cubicBezTo>
                  <a:pt x="3815" y="1312"/>
                  <a:pt x="3791" y="1324"/>
                  <a:pt x="3774" y="1344"/>
                </a:cubicBezTo>
                <a:cubicBezTo>
                  <a:pt x="3773" y="1344"/>
                  <a:pt x="3773" y="1344"/>
                  <a:pt x="3773" y="1344"/>
                </a:cubicBezTo>
                <a:cubicBezTo>
                  <a:pt x="3773" y="1317"/>
                  <a:pt x="3773" y="1317"/>
                  <a:pt x="3773" y="1317"/>
                </a:cubicBezTo>
                <a:cubicBezTo>
                  <a:pt x="3741" y="1317"/>
                  <a:pt x="3741" y="1317"/>
                  <a:pt x="3741" y="1317"/>
                </a:cubicBezTo>
                <a:cubicBezTo>
                  <a:pt x="3741" y="1600"/>
                  <a:pt x="3741" y="1600"/>
                  <a:pt x="3741" y="1600"/>
                </a:cubicBezTo>
                <a:cubicBezTo>
                  <a:pt x="3773" y="1600"/>
                  <a:pt x="3773" y="1600"/>
                  <a:pt x="3773" y="1600"/>
                </a:cubicBezTo>
                <a:cubicBezTo>
                  <a:pt x="3773" y="1473"/>
                  <a:pt x="3773" y="1473"/>
                  <a:pt x="3773" y="1473"/>
                </a:cubicBezTo>
                <a:cubicBezTo>
                  <a:pt x="3774" y="1473"/>
                  <a:pt x="3774" y="1473"/>
                  <a:pt x="3774" y="1473"/>
                </a:cubicBezTo>
                <a:cubicBezTo>
                  <a:pt x="3786" y="1495"/>
                  <a:pt x="3813" y="1512"/>
                  <a:pt x="3847" y="1512"/>
                </a:cubicBezTo>
                <a:cubicBezTo>
                  <a:pt x="3900" y="1512"/>
                  <a:pt x="3942" y="1469"/>
                  <a:pt x="3942" y="1412"/>
                </a:cubicBezTo>
                <a:cubicBezTo>
                  <a:pt x="3942" y="1354"/>
                  <a:pt x="3902" y="1312"/>
                  <a:pt x="3842" y="1312"/>
                </a:cubicBezTo>
                <a:close/>
                <a:moveTo>
                  <a:pt x="3841" y="1482"/>
                </a:moveTo>
                <a:cubicBezTo>
                  <a:pt x="3800" y="1482"/>
                  <a:pt x="3773" y="1452"/>
                  <a:pt x="3773" y="1412"/>
                </a:cubicBezTo>
                <a:cubicBezTo>
                  <a:pt x="3773" y="1372"/>
                  <a:pt x="3800" y="1341"/>
                  <a:pt x="3841" y="1341"/>
                </a:cubicBezTo>
                <a:cubicBezTo>
                  <a:pt x="3882" y="1341"/>
                  <a:pt x="3908" y="1372"/>
                  <a:pt x="3908" y="1412"/>
                </a:cubicBezTo>
                <a:cubicBezTo>
                  <a:pt x="3908" y="1452"/>
                  <a:pt x="3882" y="1482"/>
                  <a:pt x="3841" y="1482"/>
                </a:cubicBezTo>
                <a:close/>
                <a:moveTo>
                  <a:pt x="4078" y="1312"/>
                </a:moveTo>
                <a:cubicBezTo>
                  <a:pt x="4082" y="1312"/>
                  <a:pt x="4087" y="1312"/>
                  <a:pt x="4091" y="1314"/>
                </a:cubicBezTo>
                <a:cubicBezTo>
                  <a:pt x="4089" y="1346"/>
                  <a:pt x="4089" y="1346"/>
                  <a:pt x="4089" y="1346"/>
                </a:cubicBezTo>
                <a:cubicBezTo>
                  <a:pt x="4084" y="1344"/>
                  <a:pt x="4078" y="1343"/>
                  <a:pt x="4072" y="1343"/>
                </a:cubicBezTo>
                <a:cubicBezTo>
                  <a:pt x="4033" y="1343"/>
                  <a:pt x="4016" y="1371"/>
                  <a:pt x="4016" y="1414"/>
                </a:cubicBezTo>
                <a:cubicBezTo>
                  <a:pt x="4016" y="1507"/>
                  <a:pt x="4016" y="1507"/>
                  <a:pt x="4016" y="1507"/>
                </a:cubicBezTo>
                <a:cubicBezTo>
                  <a:pt x="3985" y="1507"/>
                  <a:pt x="3985" y="1507"/>
                  <a:pt x="3985" y="1507"/>
                </a:cubicBezTo>
                <a:cubicBezTo>
                  <a:pt x="3985" y="1362"/>
                  <a:pt x="3985" y="1362"/>
                  <a:pt x="3985" y="1362"/>
                </a:cubicBezTo>
                <a:cubicBezTo>
                  <a:pt x="3985" y="1344"/>
                  <a:pt x="3983" y="1329"/>
                  <a:pt x="3983" y="1317"/>
                </a:cubicBezTo>
                <a:cubicBezTo>
                  <a:pt x="4013" y="1317"/>
                  <a:pt x="4013" y="1317"/>
                  <a:pt x="4013" y="1317"/>
                </a:cubicBezTo>
                <a:cubicBezTo>
                  <a:pt x="4013" y="1327"/>
                  <a:pt x="4014" y="1337"/>
                  <a:pt x="4014" y="1348"/>
                </a:cubicBezTo>
                <a:cubicBezTo>
                  <a:pt x="4015" y="1348"/>
                  <a:pt x="4015" y="1348"/>
                  <a:pt x="4015" y="1348"/>
                </a:cubicBezTo>
                <a:cubicBezTo>
                  <a:pt x="4023" y="1329"/>
                  <a:pt x="4047" y="1312"/>
                  <a:pt x="4078" y="1312"/>
                </a:cubicBezTo>
                <a:close/>
                <a:moveTo>
                  <a:pt x="4206" y="1312"/>
                </a:moveTo>
                <a:cubicBezTo>
                  <a:pt x="4147" y="1312"/>
                  <a:pt x="4104" y="1352"/>
                  <a:pt x="4104" y="1412"/>
                </a:cubicBezTo>
                <a:cubicBezTo>
                  <a:pt x="4104" y="1471"/>
                  <a:pt x="4147" y="1512"/>
                  <a:pt x="4206" y="1512"/>
                </a:cubicBezTo>
                <a:cubicBezTo>
                  <a:pt x="4264" y="1512"/>
                  <a:pt x="4307" y="1471"/>
                  <a:pt x="4307" y="1412"/>
                </a:cubicBezTo>
                <a:cubicBezTo>
                  <a:pt x="4307" y="1352"/>
                  <a:pt x="4264" y="1312"/>
                  <a:pt x="4206" y="1312"/>
                </a:cubicBezTo>
                <a:close/>
                <a:moveTo>
                  <a:pt x="4206" y="1482"/>
                </a:moveTo>
                <a:cubicBezTo>
                  <a:pt x="4165" y="1482"/>
                  <a:pt x="4138" y="1452"/>
                  <a:pt x="4138" y="1412"/>
                </a:cubicBezTo>
                <a:cubicBezTo>
                  <a:pt x="4138" y="1372"/>
                  <a:pt x="4165" y="1341"/>
                  <a:pt x="4206" y="1341"/>
                </a:cubicBezTo>
                <a:cubicBezTo>
                  <a:pt x="4247" y="1341"/>
                  <a:pt x="4273" y="1372"/>
                  <a:pt x="4273" y="1412"/>
                </a:cubicBezTo>
                <a:cubicBezTo>
                  <a:pt x="4273" y="1452"/>
                  <a:pt x="4247" y="1482"/>
                  <a:pt x="4206" y="1482"/>
                </a:cubicBezTo>
                <a:close/>
                <a:moveTo>
                  <a:pt x="4453" y="1312"/>
                </a:moveTo>
                <a:cubicBezTo>
                  <a:pt x="4425" y="1312"/>
                  <a:pt x="4402" y="1324"/>
                  <a:pt x="4385" y="1344"/>
                </a:cubicBezTo>
                <a:cubicBezTo>
                  <a:pt x="4384" y="1344"/>
                  <a:pt x="4384" y="1344"/>
                  <a:pt x="4384" y="1344"/>
                </a:cubicBezTo>
                <a:cubicBezTo>
                  <a:pt x="4384" y="1317"/>
                  <a:pt x="4384" y="1317"/>
                  <a:pt x="4384" y="1317"/>
                </a:cubicBezTo>
                <a:cubicBezTo>
                  <a:pt x="4352" y="1317"/>
                  <a:pt x="4352" y="1317"/>
                  <a:pt x="4352" y="1317"/>
                </a:cubicBezTo>
                <a:cubicBezTo>
                  <a:pt x="4352" y="1600"/>
                  <a:pt x="4352" y="1600"/>
                  <a:pt x="4352" y="1600"/>
                </a:cubicBezTo>
                <a:cubicBezTo>
                  <a:pt x="4384" y="1600"/>
                  <a:pt x="4384" y="1600"/>
                  <a:pt x="4384" y="1600"/>
                </a:cubicBezTo>
                <a:cubicBezTo>
                  <a:pt x="4384" y="1473"/>
                  <a:pt x="4384" y="1473"/>
                  <a:pt x="4384" y="1473"/>
                </a:cubicBezTo>
                <a:cubicBezTo>
                  <a:pt x="4385" y="1473"/>
                  <a:pt x="4385" y="1473"/>
                  <a:pt x="4385" y="1473"/>
                </a:cubicBezTo>
                <a:cubicBezTo>
                  <a:pt x="4396" y="1495"/>
                  <a:pt x="4424" y="1512"/>
                  <a:pt x="4458" y="1512"/>
                </a:cubicBezTo>
                <a:cubicBezTo>
                  <a:pt x="4511" y="1512"/>
                  <a:pt x="4553" y="1469"/>
                  <a:pt x="4553" y="1412"/>
                </a:cubicBezTo>
                <a:cubicBezTo>
                  <a:pt x="4553" y="1354"/>
                  <a:pt x="4513" y="1312"/>
                  <a:pt x="4453" y="1312"/>
                </a:cubicBezTo>
                <a:close/>
                <a:moveTo>
                  <a:pt x="4451" y="1482"/>
                </a:moveTo>
                <a:cubicBezTo>
                  <a:pt x="4410" y="1482"/>
                  <a:pt x="4384" y="1452"/>
                  <a:pt x="4384" y="1412"/>
                </a:cubicBezTo>
                <a:cubicBezTo>
                  <a:pt x="4384" y="1372"/>
                  <a:pt x="4410" y="1341"/>
                  <a:pt x="4451" y="1341"/>
                </a:cubicBezTo>
                <a:cubicBezTo>
                  <a:pt x="4492" y="1341"/>
                  <a:pt x="4519" y="1372"/>
                  <a:pt x="4519" y="1412"/>
                </a:cubicBezTo>
                <a:cubicBezTo>
                  <a:pt x="4519" y="1452"/>
                  <a:pt x="4492" y="1482"/>
                  <a:pt x="4451" y="1482"/>
                </a:cubicBezTo>
                <a:close/>
                <a:moveTo>
                  <a:pt x="4686" y="1312"/>
                </a:moveTo>
                <a:cubicBezTo>
                  <a:pt x="4630" y="1312"/>
                  <a:pt x="4588" y="1353"/>
                  <a:pt x="4588" y="1412"/>
                </a:cubicBezTo>
                <a:cubicBezTo>
                  <a:pt x="4588" y="1467"/>
                  <a:pt x="4625" y="1512"/>
                  <a:pt x="4685" y="1512"/>
                </a:cubicBezTo>
                <a:cubicBezTo>
                  <a:pt x="4720" y="1512"/>
                  <a:pt x="4747" y="1501"/>
                  <a:pt x="4769" y="1472"/>
                </a:cubicBezTo>
                <a:cubicBezTo>
                  <a:pt x="4745" y="1454"/>
                  <a:pt x="4745" y="1454"/>
                  <a:pt x="4745" y="1454"/>
                </a:cubicBezTo>
                <a:cubicBezTo>
                  <a:pt x="4730" y="1473"/>
                  <a:pt x="4712" y="1482"/>
                  <a:pt x="4685" y="1482"/>
                </a:cubicBezTo>
                <a:cubicBezTo>
                  <a:pt x="4650" y="1482"/>
                  <a:pt x="4625" y="1454"/>
                  <a:pt x="4623" y="1421"/>
                </a:cubicBezTo>
                <a:cubicBezTo>
                  <a:pt x="4776" y="1421"/>
                  <a:pt x="4776" y="1421"/>
                  <a:pt x="4776" y="1421"/>
                </a:cubicBezTo>
                <a:cubicBezTo>
                  <a:pt x="4776" y="1411"/>
                  <a:pt x="4776" y="1411"/>
                  <a:pt x="4776" y="1411"/>
                </a:cubicBezTo>
                <a:cubicBezTo>
                  <a:pt x="4776" y="1348"/>
                  <a:pt x="4740" y="1312"/>
                  <a:pt x="4686" y="1312"/>
                </a:cubicBezTo>
                <a:close/>
                <a:moveTo>
                  <a:pt x="4623" y="1395"/>
                </a:moveTo>
                <a:cubicBezTo>
                  <a:pt x="4627" y="1363"/>
                  <a:pt x="4650" y="1341"/>
                  <a:pt x="4685" y="1341"/>
                </a:cubicBezTo>
                <a:cubicBezTo>
                  <a:pt x="4720" y="1341"/>
                  <a:pt x="4741" y="1363"/>
                  <a:pt x="4742" y="1395"/>
                </a:cubicBezTo>
                <a:lnTo>
                  <a:pt x="4623" y="1395"/>
                </a:lnTo>
                <a:close/>
                <a:moveTo>
                  <a:pt x="4922" y="1312"/>
                </a:moveTo>
                <a:cubicBezTo>
                  <a:pt x="4926" y="1312"/>
                  <a:pt x="4930" y="1312"/>
                  <a:pt x="4935" y="1314"/>
                </a:cubicBezTo>
                <a:cubicBezTo>
                  <a:pt x="4933" y="1346"/>
                  <a:pt x="4933" y="1346"/>
                  <a:pt x="4933" y="1346"/>
                </a:cubicBezTo>
                <a:cubicBezTo>
                  <a:pt x="4927" y="1344"/>
                  <a:pt x="4921" y="1343"/>
                  <a:pt x="4916" y="1343"/>
                </a:cubicBezTo>
                <a:cubicBezTo>
                  <a:pt x="4877" y="1343"/>
                  <a:pt x="4860" y="1371"/>
                  <a:pt x="4860" y="1414"/>
                </a:cubicBezTo>
                <a:cubicBezTo>
                  <a:pt x="4860" y="1507"/>
                  <a:pt x="4860" y="1507"/>
                  <a:pt x="4860" y="1507"/>
                </a:cubicBezTo>
                <a:cubicBezTo>
                  <a:pt x="4828" y="1507"/>
                  <a:pt x="4828" y="1507"/>
                  <a:pt x="4828" y="1507"/>
                </a:cubicBezTo>
                <a:cubicBezTo>
                  <a:pt x="4828" y="1362"/>
                  <a:pt x="4828" y="1362"/>
                  <a:pt x="4828" y="1362"/>
                </a:cubicBezTo>
                <a:cubicBezTo>
                  <a:pt x="4828" y="1344"/>
                  <a:pt x="4827" y="1329"/>
                  <a:pt x="4827" y="1317"/>
                </a:cubicBezTo>
                <a:cubicBezTo>
                  <a:pt x="4857" y="1317"/>
                  <a:pt x="4857" y="1317"/>
                  <a:pt x="4857" y="1317"/>
                </a:cubicBezTo>
                <a:cubicBezTo>
                  <a:pt x="4857" y="1327"/>
                  <a:pt x="4858" y="1337"/>
                  <a:pt x="4858" y="1348"/>
                </a:cubicBezTo>
                <a:cubicBezTo>
                  <a:pt x="4858" y="1348"/>
                  <a:pt x="4858" y="1348"/>
                  <a:pt x="4858" y="1348"/>
                </a:cubicBezTo>
                <a:cubicBezTo>
                  <a:pt x="4867" y="1329"/>
                  <a:pt x="4890" y="1312"/>
                  <a:pt x="4922" y="1312"/>
                </a:cubicBezTo>
                <a:close/>
                <a:moveTo>
                  <a:pt x="5092" y="1476"/>
                </a:moveTo>
                <a:cubicBezTo>
                  <a:pt x="5094" y="1505"/>
                  <a:pt x="5094" y="1505"/>
                  <a:pt x="5094" y="1505"/>
                </a:cubicBezTo>
                <a:cubicBezTo>
                  <a:pt x="5083" y="1510"/>
                  <a:pt x="5068" y="1512"/>
                  <a:pt x="5057" y="1512"/>
                </a:cubicBezTo>
                <a:cubicBezTo>
                  <a:pt x="5012" y="1512"/>
                  <a:pt x="5004" y="1487"/>
                  <a:pt x="5004" y="1448"/>
                </a:cubicBezTo>
                <a:cubicBezTo>
                  <a:pt x="5004" y="1343"/>
                  <a:pt x="5004" y="1343"/>
                  <a:pt x="5004" y="1343"/>
                </a:cubicBezTo>
                <a:cubicBezTo>
                  <a:pt x="4963" y="1343"/>
                  <a:pt x="4963" y="1343"/>
                  <a:pt x="4963" y="1343"/>
                </a:cubicBezTo>
                <a:cubicBezTo>
                  <a:pt x="4963" y="1317"/>
                  <a:pt x="4963" y="1317"/>
                  <a:pt x="4963" y="1317"/>
                </a:cubicBezTo>
                <a:cubicBezTo>
                  <a:pt x="5004" y="1317"/>
                  <a:pt x="5004" y="1317"/>
                  <a:pt x="5004" y="1317"/>
                </a:cubicBezTo>
                <a:cubicBezTo>
                  <a:pt x="5004" y="1263"/>
                  <a:pt x="5004" y="1263"/>
                  <a:pt x="5004" y="1263"/>
                </a:cubicBezTo>
                <a:cubicBezTo>
                  <a:pt x="5036" y="1263"/>
                  <a:pt x="5036" y="1263"/>
                  <a:pt x="5036" y="1263"/>
                </a:cubicBezTo>
                <a:cubicBezTo>
                  <a:pt x="5036" y="1317"/>
                  <a:pt x="5036" y="1317"/>
                  <a:pt x="5036" y="1317"/>
                </a:cubicBezTo>
                <a:cubicBezTo>
                  <a:pt x="5092" y="1317"/>
                  <a:pt x="5092" y="1317"/>
                  <a:pt x="5092" y="1317"/>
                </a:cubicBezTo>
                <a:cubicBezTo>
                  <a:pt x="5092" y="1343"/>
                  <a:pt x="5092" y="1343"/>
                  <a:pt x="5092" y="1343"/>
                </a:cubicBezTo>
                <a:cubicBezTo>
                  <a:pt x="5036" y="1343"/>
                  <a:pt x="5036" y="1343"/>
                  <a:pt x="5036" y="1343"/>
                </a:cubicBezTo>
                <a:cubicBezTo>
                  <a:pt x="5036" y="1439"/>
                  <a:pt x="5036" y="1439"/>
                  <a:pt x="5036" y="1439"/>
                </a:cubicBezTo>
                <a:cubicBezTo>
                  <a:pt x="5036" y="1463"/>
                  <a:pt x="5036" y="1482"/>
                  <a:pt x="5064" y="1482"/>
                </a:cubicBezTo>
                <a:cubicBezTo>
                  <a:pt x="5074" y="1482"/>
                  <a:pt x="5084" y="1480"/>
                  <a:pt x="5092" y="1476"/>
                </a:cubicBezTo>
                <a:close/>
                <a:moveTo>
                  <a:pt x="5274" y="1317"/>
                </a:moveTo>
                <a:cubicBezTo>
                  <a:pt x="5309" y="1317"/>
                  <a:pt x="5309" y="1317"/>
                  <a:pt x="5309" y="1317"/>
                </a:cubicBezTo>
                <a:cubicBezTo>
                  <a:pt x="5217" y="1550"/>
                  <a:pt x="5217" y="1550"/>
                  <a:pt x="5217" y="1550"/>
                </a:cubicBezTo>
                <a:cubicBezTo>
                  <a:pt x="5204" y="1582"/>
                  <a:pt x="5192" y="1604"/>
                  <a:pt x="5153" y="1604"/>
                </a:cubicBezTo>
                <a:cubicBezTo>
                  <a:pt x="5145" y="1604"/>
                  <a:pt x="5133" y="1604"/>
                  <a:pt x="5125" y="1600"/>
                </a:cubicBezTo>
                <a:cubicBezTo>
                  <a:pt x="5129" y="1572"/>
                  <a:pt x="5129" y="1572"/>
                  <a:pt x="5129" y="1572"/>
                </a:cubicBezTo>
                <a:cubicBezTo>
                  <a:pt x="5136" y="1574"/>
                  <a:pt x="5142" y="1575"/>
                  <a:pt x="5151" y="1575"/>
                </a:cubicBezTo>
                <a:cubicBezTo>
                  <a:pt x="5172" y="1575"/>
                  <a:pt x="5180" y="1563"/>
                  <a:pt x="5187" y="1544"/>
                </a:cubicBezTo>
                <a:cubicBezTo>
                  <a:pt x="5200" y="1508"/>
                  <a:pt x="5200" y="1508"/>
                  <a:pt x="5200" y="1508"/>
                </a:cubicBezTo>
                <a:cubicBezTo>
                  <a:pt x="5121" y="1317"/>
                  <a:pt x="5121" y="1317"/>
                  <a:pt x="5121" y="1317"/>
                </a:cubicBezTo>
                <a:cubicBezTo>
                  <a:pt x="5158" y="1317"/>
                  <a:pt x="5158" y="1317"/>
                  <a:pt x="5158" y="1317"/>
                </a:cubicBezTo>
                <a:cubicBezTo>
                  <a:pt x="5217" y="1466"/>
                  <a:pt x="5217" y="1466"/>
                  <a:pt x="5217" y="1466"/>
                </a:cubicBezTo>
                <a:cubicBezTo>
                  <a:pt x="5218" y="1466"/>
                  <a:pt x="5218" y="1466"/>
                  <a:pt x="5218" y="1466"/>
                </a:cubicBezTo>
                <a:lnTo>
                  <a:pt x="5274" y="1317"/>
                </a:lnTo>
                <a:close/>
                <a:moveTo>
                  <a:pt x="1701" y="1312"/>
                </a:moveTo>
                <a:cubicBezTo>
                  <a:pt x="1673" y="1312"/>
                  <a:pt x="1650" y="1324"/>
                  <a:pt x="1633" y="1344"/>
                </a:cubicBezTo>
                <a:cubicBezTo>
                  <a:pt x="1632" y="1344"/>
                  <a:pt x="1632" y="1344"/>
                  <a:pt x="1632" y="1344"/>
                </a:cubicBezTo>
                <a:cubicBezTo>
                  <a:pt x="1632" y="1200"/>
                  <a:pt x="1632" y="1200"/>
                  <a:pt x="1632" y="1200"/>
                </a:cubicBezTo>
                <a:cubicBezTo>
                  <a:pt x="1600" y="1200"/>
                  <a:pt x="1600" y="1200"/>
                  <a:pt x="1600" y="1200"/>
                </a:cubicBezTo>
                <a:cubicBezTo>
                  <a:pt x="1600" y="1507"/>
                  <a:pt x="1600" y="1507"/>
                  <a:pt x="1600" y="1507"/>
                </a:cubicBezTo>
                <a:cubicBezTo>
                  <a:pt x="1632" y="1507"/>
                  <a:pt x="1632" y="1507"/>
                  <a:pt x="1632" y="1507"/>
                </a:cubicBezTo>
                <a:cubicBezTo>
                  <a:pt x="1632" y="1473"/>
                  <a:pt x="1632" y="1473"/>
                  <a:pt x="1632" y="1473"/>
                </a:cubicBezTo>
                <a:cubicBezTo>
                  <a:pt x="1633" y="1473"/>
                  <a:pt x="1633" y="1473"/>
                  <a:pt x="1633" y="1473"/>
                </a:cubicBezTo>
                <a:cubicBezTo>
                  <a:pt x="1645" y="1495"/>
                  <a:pt x="1672" y="1512"/>
                  <a:pt x="1706" y="1512"/>
                </a:cubicBezTo>
                <a:cubicBezTo>
                  <a:pt x="1759" y="1512"/>
                  <a:pt x="1801" y="1469"/>
                  <a:pt x="1801" y="1412"/>
                </a:cubicBezTo>
                <a:cubicBezTo>
                  <a:pt x="1801" y="1354"/>
                  <a:pt x="1761" y="1312"/>
                  <a:pt x="1701" y="1312"/>
                </a:cubicBezTo>
                <a:close/>
                <a:moveTo>
                  <a:pt x="1699" y="1482"/>
                </a:moveTo>
                <a:cubicBezTo>
                  <a:pt x="1658" y="1482"/>
                  <a:pt x="1632" y="1452"/>
                  <a:pt x="1632" y="1412"/>
                </a:cubicBezTo>
                <a:cubicBezTo>
                  <a:pt x="1632" y="1372"/>
                  <a:pt x="1658" y="1341"/>
                  <a:pt x="1699" y="1341"/>
                </a:cubicBezTo>
                <a:cubicBezTo>
                  <a:pt x="1740" y="1341"/>
                  <a:pt x="1767" y="1372"/>
                  <a:pt x="1767" y="1412"/>
                </a:cubicBezTo>
                <a:cubicBezTo>
                  <a:pt x="1767" y="1452"/>
                  <a:pt x="1740" y="1482"/>
                  <a:pt x="1699" y="1482"/>
                </a:cubicBezTo>
                <a:close/>
                <a:moveTo>
                  <a:pt x="1933" y="1312"/>
                </a:moveTo>
                <a:cubicBezTo>
                  <a:pt x="1875" y="1312"/>
                  <a:pt x="1832" y="1352"/>
                  <a:pt x="1832" y="1412"/>
                </a:cubicBezTo>
                <a:cubicBezTo>
                  <a:pt x="1832" y="1471"/>
                  <a:pt x="1875" y="1512"/>
                  <a:pt x="1933" y="1512"/>
                </a:cubicBezTo>
                <a:cubicBezTo>
                  <a:pt x="1992" y="1512"/>
                  <a:pt x="2035" y="1471"/>
                  <a:pt x="2035" y="1412"/>
                </a:cubicBezTo>
                <a:cubicBezTo>
                  <a:pt x="2035" y="1352"/>
                  <a:pt x="1992" y="1312"/>
                  <a:pt x="1933" y="1312"/>
                </a:cubicBezTo>
                <a:close/>
                <a:moveTo>
                  <a:pt x="1933" y="1482"/>
                </a:moveTo>
                <a:cubicBezTo>
                  <a:pt x="1892" y="1482"/>
                  <a:pt x="1866" y="1452"/>
                  <a:pt x="1866" y="1412"/>
                </a:cubicBezTo>
                <a:cubicBezTo>
                  <a:pt x="1866" y="1372"/>
                  <a:pt x="1892" y="1341"/>
                  <a:pt x="1933" y="1341"/>
                </a:cubicBezTo>
                <a:cubicBezTo>
                  <a:pt x="1974" y="1341"/>
                  <a:pt x="2001" y="1372"/>
                  <a:pt x="2001" y="1412"/>
                </a:cubicBezTo>
                <a:cubicBezTo>
                  <a:pt x="2001" y="1452"/>
                  <a:pt x="1974" y="1482"/>
                  <a:pt x="1933" y="1482"/>
                </a:cubicBezTo>
                <a:close/>
                <a:moveTo>
                  <a:pt x="2238" y="1462"/>
                </a:moveTo>
                <a:cubicBezTo>
                  <a:pt x="2238" y="1479"/>
                  <a:pt x="2240" y="1494"/>
                  <a:pt x="2240" y="1507"/>
                </a:cubicBezTo>
                <a:cubicBezTo>
                  <a:pt x="2210" y="1507"/>
                  <a:pt x="2210" y="1507"/>
                  <a:pt x="2210" y="1507"/>
                </a:cubicBezTo>
                <a:cubicBezTo>
                  <a:pt x="2210" y="1497"/>
                  <a:pt x="2209" y="1486"/>
                  <a:pt x="2209" y="1476"/>
                </a:cubicBezTo>
                <a:cubicBezTo>
                  <a:pt x="2208" y="1476"/>
                  <a:pt x="2208" y="1476"/>
                  <a:pt x="2208" y="1476"/>
                </a:cubicBezTo>
                <a:cubicBezTo>
                  <a:pt x="2199" y="1494"/>
                  <a:pt x="2176" y="1512"/>
                  <a:pt x="2145" y="1512"/>
                </a:cubicBezTo>
                <a:cubicBezTo>
                  <a:pt x="2095" y="1512"/>
                  <a:pt x="2072" y="1480"/>
                  <a:pt x="2072" y="1434"/>
                </a:cubicBezTo>
                <a:cubicBezTo>
                  <a:pt x="2072" y="1317"/>
                  <a:pt x="2072" y="1317"/>
                  <a:pt x="2072" y="1317"/>
                </a:cubicBezTo>
                <a:cubicBezTo>
                  <a:pt x="2104" y="1317"/>
                  <a:pt x="2104" y="1317"/>
                  <a:pt x="2104" y="1317"/>
                </a:cubicBezTo>
                <a:cubicBezTo>
                  <a:pt x="2104" y="1431"/>
                  <a:pt x="2104" y="1431"/>
                  <a:pt x="2104" y="1431"/>
                </a:cubicBezTo>
                <a:cubicBezTo>
                  <a:pt x="2104" y="1463"/>
                  <a:pt x="2118" y="1482"/>
                  <a:pt x="2147" y="1482"/>
                </a:cubicBezTo>
                <a:cubicBezTo>
                  <a:pt x="2188" y="1482"/>
                  <a:pt x="2206" y="1453"/>
                  <a:pt x="2206" y="1409"/>
                </a:cubicBezTo>
                <a:cubicBezTo>
                  <a:pt x="2206" y="1317"/>
                  <a:pt x="2206" y="1317"/>
                  <a:pt x="2206" y="1317"/>
                </a:cubicBezTo>
                <a:cubicBezTo>
                  <a:pt x="2238" y="1317"/>
                  <a:pt x="2238" y="1317"/>
                  <a:pt x="2238" y="1317"/>
                </a:cubicBezTo>
                <a:lnTo>
                  <a:pt x="2238" y="1462"/>
                </a:lnTo>
                <a:close/>
                <a:moveTo>
                  <a:pt x="2632" y="1281"/>
                </a:moveTo>
                <a:cubicBezTo>
                  <a:pt x="2632" y="1317"/>
                  <a:pt x="2632" y="1317"/>
                  <a:pt x="2632" y="1317"/>
                </a:cubicBezTo>
                <a:cubicBezTo>
                  <a:pt x="2678" y="1317"/>
                  <a:pt x="2678" y="1317"/>
                  <a:pt x="2678" y="1317"/>
                </a:cubicBezTo>
                <a:cubicBezTo>
                  <a:pt x="2678" y="1343"/>
                  <a:pt x="2678" y="1343"/>
                  <a:pt x="2678" y="1343"/>
                </a:cubicBezTo>
                <a:cubicBezTo>
                  <a:pt x="2632" y="1343"/>
                  <a:pt x="2632" y="1343"/>
                  <a:pt x="2632" y="1343"/>
                </a:cubicBezTo>
                <a:cubicBezTo>
                  <a:pt x="2632" y="1507"/>
                  <a:pt x="2632" y="1507"/>
                  <a:pt x="2632" y="1507"/>
                </a:cubicBezTo>
                <a:cubicBezTo>
                  <a:pt x="2600" y="1507"/>
                  <a:pt x="2600" y="1507"/>
                  <a:pt x="2600" y="1507"/>
                </a:cubicBezTo>
                <a:cubicBezTo>
                  <a:pt x="2600" y="1343"/>
                  <a:pt x="2600" y="1343"/>
                  <a:pt x="2600" y="1343"/>
                </a:cubicBezTo>
                <a:cubicBezTo>
                  <a:pt x="2553" y="1343"/>
                  <a:pt x="2553" y="1343"/>
                  <a:pt x="2553" y="1343"/>
                </a:cubicBezTo>
                <a:cubicBezTo>
                  <a:pt x="2553" y="1343"/>
                  <a:pt x="2553" y="1343"/>
                  <a:pt x="2553" y="1343"/>
                </a:cubicBezTo>
                <a:cubicBezTo>
                  <a:pt x="2500" y="1507"/>
                  <a:pt x="2500" y="1507"/>
                  <a:pt x="2500" y="1507"/>
                </a:cubicBezTo>
                <a:cubicBezTo>
                  <a:pt x="2469" y="1507"/>
                  <a:pt x="2469" y="1507"/>
                  <a:pt x="2469" y="1507"/>
                </a:cubicBezTo>
                <a:cubicBezTo>
                  <a:pt x="2415" y="1361"/>
                  <a:pt x="2415" y="1361"/>
                  <a:pt x="2415" y="1361"/>
                </a:cubicBezTo>
                <a:cubicBezTo>
                  <a:pt x="2414" y="1361"/>
                  <a:pt x="2414" y="1361"/>
                  <a:pt x="2414" y="1361"/>
                </a:cubicBezTo>
                <a:cubicBezTo>
                  <a:pt x="2366" y="1507"/>
                  <a:pt x="2366" y="1507"/>
                  <a:pt x="2366" y="1507"/>
                </a:cubicBezTo>
                <a:cubicBezTo>
                  <a:pt x="2333" y="1507"/>
                  <a:pt x="2333" y="1507"/>
                  <a:pt x="2333" y="1507"/>
                </a:cubicBezTo>
                <a:cubicBezTo>
                  <a:pt x="2271" y="1317"/>
                  <a:pt x="2271" y="1317"/>
                  <a:pt x="2271" y="1317"/>
                </a:cubicBezTo>
                <a:cubicBezTo>
                  <a:pt x="2306" y="1317"/>
                  <a:pt x="2306" y="1317"/>
                  <a:pt x="2306" y="1317"/>
                </a:cubicBezTo>
                <a:cubicBezTo>
                  <a:pt x="2350" y="1463"/>
                  <a:pt x="2350" y="1463"/>
                  <a:pt x="2350" y="1463"/>
                </a:cubicBezTo>
                <a:cubicBezTo>
                  <a:pt x="2351" y="1463"/>
                  <a:pt x="2351" y="1463"/>
                  <a:pt x="2351" y="1463"/>
                </a:cubicBezTo>
                <a:cubicBezTo>
                  <a:pt x="2400" y="1317"/>
                  <a:pt x="2400" y="1317"/>
                  <a:pt x="2400" y="1317"/>
                </a:cubicBezTo>
                <a:cubicBezTo>
                  <a:pt x="2433" y="1317"/>
                  <a:pt x="2433" y="1317"/>
                  <a:pt x="2433" y="1317"/>
                </a:cubicBezTo>
                <a:cubicBezTo>
                  <a:pt x="2483" y="1463"/>
                  <a:pt x="2483" y="1463"/>
                  <a:pt x="2483" y="1463"/>
                </a:cubicBezTo>
                <a:cubicBezTo>
                  <a:pt x="2484" y="1463"/>
                  <a:pt x="2484" y="1463"/>
                  <a:pt x="2484" y="1463"/>
                </a:cubicBezTo>
                <a:cubicBezTo>
                  <a:pt x="2527" y="1317"/>
                  <a:pt x="2527" y="1317"/>
                  <a:pt x="2527" y="1317"/>
                </a:cubicBezTo>
                <a:cubicBezTo>
                  <a:pt x="2553" y="1317"/>
                  <a:pt x="2553" y="1317"/>
                  <a:pt x="2553" y="1317"/>
                </a:cubicBezTo>
                <a:cubicBezTo>
                  <a:pt x="2561" y="1317"/>
                  <a:pt x="2561" y="1317"/>
                  <a:pt x="2561" y="1317"/>
                </a:cubicBezTo>
                <a:cubicBezTo>
                  <a:pt x="2600" y="1317"/>
                  <a:pt x="2600" y="1317"/>
                  <a:pt x="2600" y="1317"/>
                </a:cubicBezTo>
                <a:cubicBezTo>
                  <a:pt x="2600" y="1274"/>
                  <a:pt x="2600" y="1274"/>
                  <a:pt x="2600" y="1274"/>
                </a:cubicBezTo>
                <a:cubicBezTo>
                  <a:pt x="2600" y="1228"/>
                  <a:pt x="2616" y="1195"/>
                  <a:pt x="2668" y="1195"/>
                </a:cubicBezTo>
                <a:cubicBezTo>
                  <a:pt x="2676" y="1195"/>
                  <a:pt x="2686" y="1196"/>
                  <a:pt x="2692" y="1200"/>
                </a:cubicBezTo>
                <a:cubicBezTo>
                  <a:pt x="2688" y="1228"/>
                  <a:pt x="2688" y="1228"/>
                  <a:pt x="2688" y="1228"/>
                </a:cubicBezTo>
                <a:cubicBezTo>
                  <a:pt x="2681" y="1226"/>
                  <a:pt x="2673" y="1224"/>
                  <a:pt x="2666" y="1224"/>
                </a:cubicBezTo>
                <a:cubicBezTo>
                  <a:pt x="2633" y="1224"/>
                  <a:pt x="2632" y="1248"/>
                  <a:pt x="2632" y="1281"/>
                </a:cubicBezTo>
                <a:close/>
                <a:moveTo>
                  <a:pt x="2791" y="1312"/>
                </a:moveTo>
                <a:cubicBezTo>
                  <a:pt x="2733" y="1312"/>
                  <a:pt x="2690" y="1352"/>
                  <a:pt x="2690" y="1412"/>
                </a:cubicBezTo>
                <a:cubicBezTo>
                  <a:pt x="2690" y="1471"/>
                  <a:pt x="2733" y="1512"/>
                  <a:pt x="2791" y="1512"/>
                </a:cubicBezTo>
                <a:cubicBezTo>
                  <a:pt x="2850" y="1512"/>
                  <a:pt x="2893" y="1471"/>
                  <a:pt x="2893" y="1412"/>
                </a:cubicBezTo>
                <a:cubicBezTo>
                  <a:pt x="2893" y="1352"/>
                  <a:pt x="2850" y="1312"/>
                  <a:pt x="2791" y="1312"/>
                </a:cubicBezTo>
                <a:close/>
                <a:moveTo>
                  <a:pt x="2791" y="1482"/>
                </a:moveTo>
                <a:cubicBezTo>
                  <a:pt x="2750" y="1482"/>
                  <a:pt x="2724" y="1452"/>
                  <a:pt x="2724" y="1412"/>
                </a:cubicBezTo>
                <a:cubicBezTo>
                  <a:pt x="2724" y="1372"/>
                  <a:pt x="2750" y="1341"/>
                  <a:pt x="2791" y="1341"/>
                </a:cubicBezTo>
                <a:cubicBezTo>
                  <a:pt x="2833" y="1341"/>
                  <a:pt x="2859" y="1372"/>
                  <a:pt x="2859" y="1412"/>
                </a:cubicBezTo>
                <a:cubicBezTo>
                  <a:pt x="2859" y="1452"/>
                  <a:pt x="2833" y="1482"/>
                  <a:pt x="2791" y="1482"/>
                </a:cubicBezTo>
                <a:close/>
                <a:moveTo>
                  <a:pt x="3097" y="1389"/>
                </a:moveTo>
                <a:cubicBezTo>
                  <a:pt x="3097" y="1507"/>
                  <a:pt x="3097" y="1507"/>
                  <a:pt x="3097" y="1507"/>
                </a:cubicBezTo>
                <a:cubicBezTo>
                  <a:pt x="3065" y="1507"/>
                  <a:pt x="3065" y="1507"/>
                  <a:pt x="3065" y="1507"/>
                </a:cubicBezTo>
                <a:cubicBezTo>
                  <a:pt x="3065" y="1393"/>
                  <a:pt x="3065" y="1393"/>
                  <a:pt x="3065" y="1393"/>
                </a:cubicBezTo>
                <a:cubicBezTo>
                  <a:pt x="3065" y="1361"/>
                  <a:pt x="3052" y="1341"/>
                  <a:pt x="3022" y="1341"/>
                </a:cubicBezTo>
                <a:cubicBezTo>
                  <a:pt x="2981" y="1341"/>
                  <a:pt x="2963" y="1371"/>
                  <a:pt x="2963" y="1414"/>
                </a:cubicBezTo>
                <a:cubicBezTo>
                  <a:pt x="2963" y="1507"/>
                  <a:pt x="2963" y="1507"/>
                  <a:pt x="2963" y="1507"/>
                </a:cubicBezTo>
                <a:cubicBezTo>
                  <a:pt x="2931" y="1507"/>
                  <a:pt x="2931" y="1507"/>
                  <a:pt x="2931" y="1507"/>
                </a:cubicBezTo>
                <a:cubicBezTo>
                  <a:pt x="2931" y="1362"/>
                  <a:pt x="2931" y="1362"/>
                  <a:pt x="2931" y="1362"/>
                </a:cubicBezTo>
                <a:cubicBezTo>
                  <a:pt x="2931" y="1344"/>
                  <a:pt x="2930" y="1329"/>
                  <a:pt x="2930" y="1317"/>
                </a:cubicBezTo>
                <a:cubicBezTo>
                  <a:pt x="2960" y="1317"/>
                  <a:pt x="2960" y="1317"/>
                  <a:pt x="2960" y="1317"/>
                </a:cubicBezTo>
                <a:cubicBezTo>
                  <a:pt x="2960" y="1327"/>
                  <a:pt x="2960" y="1337"/>
                  <a:pt x="2960" y="1348"/>
                </a:cubicBezTo>
                <a:cubicBezTo>
                  <a:pt x="2961" y="1348"/>
                  <a:pt x="2961" y="1348"/>
                  <a:pt x="2961" y="1348"/>
                </a:cubicBezTo>
                <a:cubicBezTo>
                  <a:pt x="2970" y="1329"/>
                  <a:pt x="2993" y="1312"/>
                  <a:pt x="3025" y="1312"/>
                </a:cubicBezTo>
                <a:cubicBezTo>
                  <a:pt x="3075" y="1312"/>
                  <a:pt x="3097" y="1343"/>
                  <a:pt x="3097" y="1389"/>
                </a:cubicBezTo>
                <a:close/>
                <a:moveTo>
                  <a:pt x="3307" y="1344"/>
                </a:moveTo>
                <a:cubicBezTo>
                  <a:pt x="3306" y="1344"/>
                  <a:pt x="3306" y="1344"/>
                  <a:pt x="3306" y="1344"/>
                </a:cubicBezTo>
                <a:cubicBezTo>
                  <a:pt x="3289" y="1324"/>
                  <a:pt x="3266" y="1312"/>
                  <a:pt x="3238" y="1312"/>
                </a:cubicBezTo>
                <a:cubicBezTo>
                  <a:pt x="3178" y="1312"/>
                  <a:pt x="3138" y="1354"/>
                  <a:pt x="3138" y="1412"/>
                </a:cubicBezTo>
                <a:cubicBezTo>
                  <a:pt x="3138" y="1469"/>
                  <a:pt x="3180" y="1512"/>
                  <a:pt x="3233" y="1512"/>
                </a:cubicBezTo>
                <a:cubicBezTo>
                  <a:pt x="3267" y="1512"/>
                  <a:pt x="3295" y="1495"/>
                  <a:pt x="3306" y="1473"/>
                </a:cubicBezTo>
                <a:cubicBezTo>
                  <a:pt x="3307" y="1473"/>
                  <a:pt x="3307" y="1473"/>
                  <a:pt x="3307" y="1473"/>
                </a:cubicBezTo>
                <a:cubicBezTo>
                  <a:pt x="3307" y="1507"/>
                  <a:pt x="3307" y="1507"/>
                  <a:pt x="3307" y="1507"/>
                </a:cubicBezTo>
                <a:cubicBezTo>
                  <a:pt x="3339" y="1507"/>
                  <a:pt x="3339" y="1507"/>
                  <a:pt x="3339" y="1507"/>
                </a:cubicBezTo>
                <a:cubicBezTo>
                  <a:pt x="3339" y="1200"/>
                  <a:pt x="3339" y="1200"/>
                  <a:pt x="3339" y="1200"/>
                </a:cubicBezTo>
                <a:cubicBezTo>
                  <a:pt x="3307" y="1200"/>
                  <a:pt x="3307" y="1200"/>
                  <a:pt x="3307" y="1200"/>
                </a:cubicBezTo>
                <a:lnTo>
                  <a:pt x="3307" y="1344"/>
                </a:lnTo>
                <a:close/>
                <a:moveTo>
                  <a:pt x="3240" y="1482"/>
                </a:moveTo>
                <a:cubicBezTo>
                  <a:pt x="3199" y="1482"/>
                  <a:pt x="3172" y="1452"/>
                  <a:pt x="3172" y="1412"/>
                </a:cubicBezTo>
                <a:cubicBezTo>
                  <a:pt x="3172" y="1372"/>
                  <a:pt x="3199" y="1341"/>
                  <a:pt x="3240" y="1341"/>
                </a:cubicBezTo>
                <a:cubicBezTo>
                  <a:pt x="3281" y="1341"/>
                  <a:pt x="3307" y="1372"/>
                  <a:pt x="3307" y="1412"/>
                </a:cubicBezTo>
                <a:cubicBezTo>
                  <a:pt x="3307" y="1452"/>
                  <a:pt x="3281" y="1482"/>
                  <a:pt x="3240" y="1482"/>
                </a:cubicBezTo>
                <a:close/>
                <a:moveTo>
                  <a:pt x="3530" y="1452"/>
                </a:moveTo>
                <a:cubicBezTo>
                  <a:pt x="3530" y="1495"/>
                  <a:pt x="3491" y="1512"/>
                  <a:pt x="3454" y="1512"/>
                </a:cubicBezTo>
                <a:cubicBezTo>
                  <a:pt x="3421" y="1512"/>
                  <a:pt x="3398" y="1503"/>
                  <a:pt x="3380" y="1476"/>
                </a:cubicBezTo>
                <a:cubicBezTo>
                  <a:pt x="3405" y="1457"/>
                  <a:pt x="3405" y="1457"/>
                  <a:pt x="3405" y="1457"/>
                </a:cubicBezTo>
                <a:cubicBezTo>
                  <a:pt x="3417" y="1472"/>
                  <a:pt x="3431" y="1482"/>
                  <a:pt x="3454" y="1482"/>
                </a:cubicBezTo>
                <a:cubicBezTo>
                  <a:pt x="3473" y="1482"/>
                  <a:pt x="3495" y="1474"/>
                  <a:pt x="3495" y="1453"/>
                </a:cubicBezTo>
                <a:cubicBezTo>
                  <a:pt x="3495" y="1433"/>
                  <a:pt x="3475" y="1428"/>
                  <a:pt x="3455" y="1423"/>
                </a:cubicBezTo>
                <a:cubicBezTo>
                  <a:pt x="3419" y="1415"/>
                  <a:pt x="3388" y="1407"/>
                  <a:pt x="3388" y="1368"/>
                </a:cubicBezTo>
                <a:cubicBezTo>
                  <a:pt x="3388" y="1331"/>
                  <a:pt x="3423" y="1312"/>
                  <a:pt x="3459" y="1312"/>
                </a:cubicBezTo>
                <a:cubicBezTo>
                  <a:pt x="3486" y="1312"/>
                  <a:pt x="3510" y="1322"/>
                  <a:pt x="3523" y="1346"/>
                </a:cubicBezTo>
                <a:cubicBezTo>
                  <a:pt x="3497" y="1364"/>
                  <a:pt x="3497" y="1364"/>
                  <a:pt x="3497" y="1364"/>
                </a:cubicBezTo>
                <a:cubicBezTo>
                  <a:pt x="3489" y="1350"/>
                  <a:pt x="3475" y="1341"/>
                  <a:pt x="3457" y="1341"/>
                </a:cubicBezTo>
                <a:cubicBezTo>
                  <a:pt x="3439" y="1341"/>
                  <a:pt x="3419" y="1350"/>
                  <a:pt x="3419" y="1367"/>
                </a:cubicBezTo>
                <a:cubicBezTo>
                  <a:pt x="3419" y="1383"/>
                  <a:pt x="3442" y="1390"/>
                  <a:pt x="3467" y="1395"/>
                </a:cubicBezTo>
                <a:cubicBezTo>
                  <a:pt x="3501" y="1402"/>
                  <a:pt x="3530" y="1414"/>
                  <a:pt x="3530" y="1452"/>
                </a:cubicBezTo>
                <a:close/>
                <a:moveTo>
                  <a:pt x="814" y="0"/>
                </a:moveTo>
                <a:cubicBezTo>
                  <a:pt x="404" y="0"/>
                  <a:pt x="404" y="0"/>
                  <a:pt x="404" y="0"/>
                </a:cubicBezTo>
                <a:cubicBezTo>
                  <a:pt x="0" y="403"/>
                  <a:pt x="0" y="403"/>
                  <a:pt x="0" y="403"/>
                </a:cubicBezTo>
                <a:cubicBezTo>
                  <a:pt x="193" y="596"/>
                  <a:pt x="193" y="596"/>
                  <a:pt x="193" y="596"/>
                </a:cubicBezTo>
                <a:cubicBezTo>
                  <a:pt x="0" y="789"/>
                  <a:pt x="0" y="789"/>
                  <a:pt x="0" y="789"/>
                </a:cubicBezTo>
                <a:cubicBezTo>
                  <a:pt x="411" y="1200"/>
                  <a:pt x="411" y="1200"/>
                  <a:pt x="411" y="1200"/>
                </a:cubicBezTo>
                <a:cubicBezTo>
                  <a:pt x="604" y="1007"/>
                  <a:pt x="604" y="1007"/>
                  <a:pt x="604" y="1007"/>
                </a:cubicBezTo>
                <a:cubicBezTo>
                  <a:pt x="797" y="1200"/>
                  <a:pt x="797" y="1200"/>
                  <a:pt x="797" y="1200"/>
                </a:cubicBezTo>
                <a:cubicBezTo>
                  <a:pt x="1200" y="796"/>
                  <a:pt x="1200" y="796"/>
                  <a:pt x="1200" y="796"/>
                </a:cubicBezTo>
                <a:cubicBezTo>
                  <a:pt x="1200" y="386"/>
                  <a:pt x="1200" y="386"/>
                  <a:pt x="1200" y="386"/>
                </a:cubicBezTo>
                <a:cubicBezTo>
                  <a:pt x="814" y="386"/>
                  <a:pt x="814" y="386"/>
                  <a:pt x="814" y="386"/>
                </a:cubicBezTo>
                <a:lnTo>
                  <a:pt x="814" y="0"/>
                </a:lnTo>
                <a:close/>
                <a:moveTo>
                  <a:pt x="50" y="403"/>
                </a:moveTo>
                <a:cubicBezTo>
                  <a:pt x="418" y="35"/>
                  <a:pt x="418" y="35"/>
                  <a:pt x="418" y="35"/>
                </a:cubicBezTo>
                <a:cubicBezTo>
                  <a:pt x="779" y="35"/>
                  <a:pt x="779" y="35"/>
                  <a:pt x="779" y="35"/>
                </a:cubicBezTo>
                <a:cubicBezTo>
                  <a:pt x="779" y="386"/>
                  <a:pt x="779" y="386"/>
                  <a:pt x="779" y="386"/>
                </a:cubicBezTo>
                <a:cubicBezTo>
                  <a:pt x="404" y="386"/>
                  <a:pt x="404" y="386"/>
                  <a:pt x="404" y="386"/>
                </a:cubicBezTo>
                <a:cubicBezTo>
                  <a:pt x="218" y="571"/>
                  <a:pt x="218" y="571"/>
                  <a:pt x="218" y="571"/>
                </a:cubicBezTo>
                <a:lnTo>
                  <a:pt x="50" y="403"/>
                </a:lnTo>
                <a:close/>
                <a:moveTo>
                  <a:pt x="755" y="420"/>
                </a:moveTo>
                <a:cubicBezTo>
                  <a:pt x="411" y="764"/>
                  <a:pt x="411" y="764"/>
                  <a:pt x="411" y="764"/>
                </a:cubicBezTo>
                <a:cubicBezTo>
                  <a:pt x="242" y="596"/>
                  <a:pt x="242" y="596"/>
                  <a:pt x="242" y="596"/>
                </a:cubicBezTo>
                <a:cubicBezTo>
                  <a:pt x="418" y="420"/>
                  <a:pt x="418" y="420"/>
                  <a:pt x="418" y="420"/>
                </a:cubicBezTo>
                <a:lnTo>
                  <a:pt x="755" y="420"/>
                </a:lnTo>
                <a:close/>
                <a:moveTo>
                  <a:pt x="411" y="1150"/>
                </a:moveTo>
                <a:cubicBezTo>
                  <a:pt x="49" y="789"/>
                  <a:pt x="49" y="789"/>
                  <a:pt x="49" y="789"/>
                </a:cubicBezTo>
                <a:cubicBezTo>
                  <a:pt x="218" y="621"/>
                  <a:pt x="218" y="621"/>
                  <a:pt x="218" y="621"/>
                </a:cubicBezTo>
                <a:cubicBezTo>
                  <a:pt x="579" y="982"/>
                  <a:pt x="579" y="982"/>
                  <a:pt x="579" y="982"/>
                </a:cubicBezTo>
                <a:lnTo>
                  <a:pt x="411" y="1150"/>
                </a:lnTo>
                <a:close/>
                <a:moveTo>
                  <a:pt x="435" y="789"/>
                </a:moveTo>
                <a:cubicBezTo>
                  <a:pt x="779" y="445"/>
                  <a:pt x="779" y="445"/>
                  <a:pt x="779" y="445"/>
                </a:cubicBezTo>
                <a:cubicBezTo>
                  <a:pt x="779" y="782"/>
                  <a:pt x="779" y="782"/>
                  <a:pt x="779" y="782"/>
                </a:cubicBezTo>
                <a:cubicBezTo>
                  <a:pt x="604" y="957"/>
                  <a:pt x="604" y="957"/>
                  <a:pt x="604" y="957"/>
                </a:cubicBezTo>
                <a:lnTo>
                  <a:pt x="435" y="789"/>
                </a:lnTo>
                <a:close/>
                <a:moveTo>
                  <a:pt x="1165" y="420"/>
                </a:moveTo>
                <a:cubicBezTo>
                  <a:pt x="1165" y="782"/>
                  <a:pt x="1165" y="782"/>
                  <a:pt x="1165" y="782"/>
                </a:cubicBezTo>
                <a:cubicBezTo>
                  <a:pt x="797" y="1150"/>
                  <a:pt x="797" y="1150"/>
                  <a:pt x="797" y="1150"/>
                </a:cubicBezTo>
                <a:cubicBezTo>
                  <a:pt x="628" y="982"/>
                  <a:pt x="628" y="982"/>
                  <a:pt x="628" y="982"/>
                </a:cubicBezTo>
                <a:cubicBezTo>
                  <a:pt x="814" y="796"/>
                  <a:pt x="814" y="796"/>
                  <a:pt x="814" y="796"/>
                </a:cubicBezTo>
                <a:cubicBezTo>
                  <a:pt x="814" y="420"/>
                  <a:pt x="814" y="420"/>
                  <a:pt x="814" y="420"/>
                </a:cubicBezTo>
                <a:lnTo>
                  <a:pt x="1165" y="4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lgn="l" defTabSz="1088937" rtl="0" eaLnBrk="1" latinLnBrk="0" hangingPunct="1">
              <a:lnSpc>
                <a:spcPct val="114000"/>
              </a:lnSpc>
              <a:spcBef>
                <a:spcPts val="0"/>
              </a:spcBef>
              <a:buFont typeface="Arial" pitchFamily="34" charset="0"/>
              <a:buNone/>
              <a:defRPr/>
            </a:lvl1pPr>
          </a:lstStyle>
          <a:p>
            <a:r>
              <a:rPr lang="nl-NL" dirty="0"/>
              <a:t> </a:t>
            </a:r>
          </a:p>
        </p:txBody>
      </p:sp>
      <p:sp>
        <p:nvSpPr>
          <p:cNvPr id="3" name="***Tijdelijke aanduiding voor tekst 2"/>
          <p:cNvSpPr>
            <a:spLocks noGrp="1" noSelect="1"/>
          </p:cNvSpPr>
          <p:nvPr>
            <p:ph type="body" sz="quarter" idx="14" hasCustomPrompt="1"/>
          </p:nvPr>
        </p:nvSpPr>
        <p:spPr bwMode="gray">
          <a:xfrm>
            <a:off x="638426" y="729135"/>
            <a:ext cx="3348000" cy="3815989"/>
          </a:xfrm>
        </p:spPr>
        <p:txBody>
          <a:bodyPr>
            <a:noAutofit/>
          </a:bodyPr>
          <a:lstStyle>
            <a:lvl1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1pPr>
            <a:lvl2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2pPr>
            <a:lvl3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3pPr>
            <a:lvl4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4pPr>
            <a:lvl5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5pPr>
            <a:lvl6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6pPr>
            <a:lvl7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7pPr>
            <a:lvl8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8pPr>
            <a:lvl9pPr marL="0" indent="0">
              <a:lnSpc>
                <a:spcPct val="105000"/>
              </a:lnSpc>
              <a:spcBef>
                <a:spcPts val="0"/>
              </a:spcBef>
              <a:spcAft>
                <a:spcPts val="0"/>
              </a:spcAft>
              <a:buNone/>
              <a:defRPr sz="3000" b="0">
                <a:solidFill>
                  <a:schemeClr val="bg1"/>
                </a:solidFill>
                <a:latin typeface="Univers" panose="020B0603020202030204" pitchFamily="34" charset="0"/>
              </a:defRPr>
            </a:lvl9pPr>
          </a:lstStyle>
          <a:p>
            <a:pPr lvl="0"/>
            <a:r>
              <a:rPr lang="nl-NL" dirty="0"/>
              <a:t>[Hier is ruimte voor een kop of hoofdstuktitel die over maximaal 8 regels loopt. </a:t>
            </a:r>
            <a:r>
              <a:rPr lang="nl-NL" dirty="0" err="1"/>
              <a:t>Etum</a:t>
            </a:r>
            <a:r>
              <a:rPr lang="nl-NL" dirty="0"/>
              <a:t> as </a:t>
            </a:r>
            <a:r>
              <a:rPr lang="nl-NL" dirty="0" err="1"/>
              <a:t>aniet</a:t>
            </a:r>
            <a:r>
              <a:rPr lang="nl-NL" dirty="0"/>
              <a:t> </a:t>
            </a:r>
            <a:r>
              <a:rPr lang="nl-NL" dirty="0" err="1"/>
              <a:t>postrum</a:t>
            </a:r>
            <a:r>
              <a:rPr lang="nl-NL" dirty="0"/>
              <a:t> </a:t>
            </a:r>
            <a:r>
              <a:rPr lang="nl-NL" dirty="0" err="1"/>
              <a:t>coribus</a:t>
            </a:r>
            <a:r>
              <a:rPr lang="nl-NL" dirty="0"/>
              <a:t> </a:t>
            </a:r>
            <a:r>
              <a:rPr lang="nl-NL" dirty="0" err="1"/>
              <a:t>idis</a:t>
            </a:r>
            <a:r>
              <a:rPr lang="nl-NL" dirty="0"/>
              <a:t> &gt; lijnt links en boven.]</a:t>
            </a:r>
          </a:p>
        </p:txBody>
      </p:sp>
      <p:sp>
        <p:nvSpPr>
          <p:cNvPr id="11" name="witdriehoek">
            <a:extLst>
              <a:ext uri="{FF2B5EF4-FFF2-40B4-BE49-F238E27FC236}">
                <a16:creationId xmlns:a16="http://schemas.microsoft.com/office/drawing/2014/main" id="{605F9575-449B-449B-9DA1-DD0CCE5BAC8F}"/>
              </a:ext>
            </a:extLst>
          </p:cNvPr>
          <p:cNvSpPr>
            <a:spLocks noSelect="1"/>
          </p:cNvSpPr>
          <p:nvPr userDrawn="1"/>
        </p:nvSpPr>
        <p:spPr bwMode="auto">
          <a:xfrm>
            <a:off x="4384675" y="6156326"/>
            <a:ext cx="1395413" cy="696913"/>
          </a:xfrm>
          <a:custGeom>
            <a:avLst/>
            <a:gdLst>
              <a:gd name="T0" fmla="*/ 879 w 879"/>
              <a:gd name="T1" fmla="*/ 439 h 439"/>
              <a:gd name="T2" fmla="*/ 0 w 879"/>
              <a:gd name="T3" fmla="*/ 439 h 439"/>
              <a:gd name="T4" fmla="*/ 439 w 879"/>
              <a:gd name="T5" fmla="*/ 0 h 439"/>
              <a:gd name="T6" fmla="*/ 879 w 879"/>
              <a:gd name="T7" fmla="*/ 439 h 439"/>
            </a:gdLst>
            <a:ahLst/>
            <a:cxnLst>
              <a:cxn ang="0">
                <a:pos x="T0" y="T1"/>
              </a:cxn>
              <a:cxn ang="0">
                <a:pos x="T2" y="T3"/>
              </a:cxn>
              <a:cxn ang="0">
                <a:pos x="T4" y="T5"/>
              </a:cxn>
              <a:cxn ang="0">
                <a:pos x="T6" y="T7"/>
              </a:cxn>
            </a:cxnLst>
            <a:rect l="0" t="0" r="r" b="b"/>
            <a:pathLst>
              <a:path w="879" h="439">
                <a:moveTo>
                  <a:pt x="879" y="439"/>
                </a:moveTo>
                <a:lnTo>
                  <a:pt x="0" y="439"/>
                </a:lnTo>
                <a:lnTo>
                  <a:pt x="439" y="0"/>
                </a:lnTo>
                <a:lnTo>
                  <a:pt x="879"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x-none" dirty="0"/>
          </a:p>
        </p:txBody>
      </p:sp>
      <p:sp>
        <p:nvSpPr>
          <p:cNvPr id="12" name="kleurdriehoek">
            <a:extLst>
              <a:ext uri="{FF2B5EF4-FFF2-40B4-BE49-F238E27FC236}">
                <a16:creationId xmlns:a16="http://schemas.microsoft.com/office/drawing/2014/main" id="{4F041339-B9DB-439B-8A15-E03A57055D42}"/>
              </a:ext>
            </a:extLst>
          </p:cNvPr>
          <p:cNvSpPr>
            <a:spLocks noSelect="1"/>
          </p:cNvSpPr>
          <p:nvPr userDrawn="1"/>
        </p:nvSpPr>
        <p:spPr bwMode="auto">
          <a:xfrm>
            <a:off x="4384675" y="5459413"/>
            <a:ext cx="696913" cy="1393825"/>
          </a:xfrm>
          <a:custGeom>
            <a:avLst/>
            <a:gdLst>
              <a:gd name="T0" fmla="*/ 0 w 439"/>
              <a:gd name="T1" fmla="*/ 878 h 878"/>
              <a:gd name="T2" fmla="*/ 0 w 439"/>
              <a:gd name="T3" fmla="*/ 0 h 878"/>
              <a:gd name="T4" fmla="*/ 439 w 439"/>
              <a:gd name="T5" fmla="*/ 439 h 878"/>
              <a:gd name="T6" fmla="*/ 0 w 439"/>
              <a:gd name="T7" fmla="*/ 878 h 878"/>
            </a:gdLst>
            <a:ahLst/>
            <a:cxnLst>
              <a:cxn ang="0">
                <a:pos x="T0" y="T1"/>
              </a:cxn>
              <a:cxn ang="0">
                <a:pos x="T2" y="T3"/>
              </a:cxn>
              <a:cxn ang="0">
                <a:pos x="T4" y="T5"/>
              </a:cxn>
              <a:cxn ang="0">
                <a:pos x="T6" y="T7"/>
              </a:cxn>
            </a:cxnLst>
            <a:rect l="0" t="0" r="r" b="b"/>
            <a:pathLst>
              <a:path w="439" h="878">
                <a:moveTo>
                  <a:pt x="0" y="878"/>
                </a:moveTo>
                <a:lnTo>
                  <a:pt x="0" y="0"/>
                </a:lnTo>
                <a:lnTo>
                  <a:pt x="439" y="439"/>
                </a:lnTo>
                <a:lnTo>
                  <a:pt x="0" y="878"/>
                </a:lnTo>
                <a:close/>
              </a:path>
            </a:pathLst>
          </a:custGeom>
          <a:solidFill>
            <a:srgbClr val="78BD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x-none" dirty="0"/>
          </a:p>
        </p:txBody>
      </p:sp>
    </p:spTree>
    <p:extLst>
      <p:ext uri="{BB962C8B-B14F-4D97-AF65-F5344CB8AC3E}">
        <p14:creationId xmlns:p14="http://schemas.microsoft.com/office/powerpoint/2010/main" val="35054285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5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00" fill="hold"/>
                                        <p:tgtEl>
                                          <p:spTgt spid="8"/>
                                        </p:tgtEl>
                                        <p:attrNameLst>
                                          <p:attrName>ppt_x</p:attrName>
                                        </p:attrNameLst>
                                      </p:cBhvr>
                                      <p:tavLst>
                                        <p:tav tm="0">
                                          <p:val>
                                            <p:strVal val="1+#ppt_w/2"/>
                                          </p:val>
                                        </p:tav>
                                        <p:tav tm="100000">
                                          <p:val>
                                            <p:strVal val="#ppt_x"/>
                                          </p:val>
                                        </p:tav>
                                      </p:tavLst>
                                    </p:anim>
                                    <p:anim calcmode="lin" valueType="num">
                                      <p:cBhvr additive="base">
                                        <p:cTn id="8" dur="7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decel="50000" fill="hold" grpId="0" nodeType="withEffect">
                                  <p:stCondLst>
                                    <p:cond delay="0"/>
                                  </p:stCondLst>
                                  <p:childTnLst>
                                    <p:set>
                                      <p:cBhvr>
                                        <p:cTn id="10" dur="1" fill="hold">
                                          <p:stCondLst>
                                            <p:cond delay="0"/>
                                          </p:stCondLst>
                                        </p:cTn>
                                        <p:tgtEl>
                                          <p:spTgt spid="7">
                                            <p:bg/>
                                          </p:spTgt>
                                        </p:tgtEl>
                                        <p:attrNameLst>
                                          <p:attrName>style.visibility</p:attrName>
                                        </p:attrNameLst>
                                      </p:cBhvr>
                                      <p:to>
                                        <p:strVal val="visible"/>
                                      </p:to>
                                    </p:set>
                                    <p:anim calcmode="lin" valueType="num">
                                      <p:cBhvr additive="base">
                                        <p:cTn id="11" dur="700" fill="hold"/>
                                        <p:tgtEl>
                                          <p:spTgt spid="7">
                                            <p:bg/>
                                          </p:spTgt>
                                        </p:tgtEl>
                                        <p:attrNameLst>
                                          <p:attrName>ppt_x</p:attrName>
                                        </p:attrNameLst>
                                      </p:cBhvr>
                                      <p:tavLst>
                                        <p:tav tm="0">
                                          <p:val>
                                            <p:strVal val="0-#ppt_w/2"/>
                                          </p:val>
                                        </p:tav>
                                        <p:tav tm="100000">
                                          <p:val>
                                            <p:strVal val="#ppt_x"/>
                                          </p:val>
                                        </p:tav>
                                      </p:tavLst>
                                    </p:anim>
                                    <p:anim calcmode="lin" valueType="num">
                                      <p:cBhvr additive="base">
                                        <p:cTn id="12" dur="700" fill="hold"/>
                                        <p:tgtEl>
                                          <p:spTgt spid="7">
                                            <p:bg/>
                                          </p:spTgt>
                                        </p:tgtEl>
                                        <p:attrNameLst>
                                          <p:attrName>ppt_y</p:attrName>
                                        </p:attrNameLst>
                                      </p:cBhvr>
                                      <p:tavLst>
                                        <p:tav tm="0">
                                          <p:val>
                                            <p:strVal val="#ppt_y"/>
                                          </p:val>
                                        </p:tav>
                                        <p:tav tm="100000">
                                          <p:val>
                                            <p:strVal val="#ppt_y"/>
                                          </p:val>
                                        </p:tav>
                                      </p:tavLst>
                                    </p:anim>
                                  </p:childTnLst>
                                </p:cTn>
                              </p:par>
                              <p:par>
                                <p:cTn id="13" presetID="2" presetClass="entr" presetSubtype="8" decel="50000" fill="hold" grpId="0" nodeType="withEffect">
                                  <p:stCondLst>
                                    <p:cond delay="0"/>
                                  </p:stCondLst>
                                  <p:childTnLst>
                                    <p:set>
                                      <p:cBhvr>
                                        <p:cTn id="14" dur="1" fill="hold">
                                          <p:stCondLst>
                                            <p:cond delay="0"/>
                                          </p:stCondLst>
                                        </p:cTn>
                                        <p:tgtEl>
                                          <p:spTgt spid="7">
                                            <p:txEl>
                                              <p:pRg st="0" end="0"/>
                                            </p:txEl>
                                          </p:spTgt>
                                        </p:tgtEl>
                                        <p:attrNameLst>
                                          <p:attrName>style.visibility</p:attrName>
                                        </p:attrNameLst>
                                      </p:cBhvr>
                                      <p:to>
                                        <p:strVal val="visible"/>
                                      </p:to>
                                    </p:set>
                                    <p:anim calcmode="lin" valueType="num">
                                      <p:cBhvr additive="base">
                                        <p:cTn id="15" dur="7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16" dur="700" fill="hold"/>
                                        <p:tgtEl>
                                          <p:spTgt spid="7">
                                            <p:txEl>
                                              <p:pRg st="0" end="0"/>
                                            </p:txEl>
                                          </p:spTgt>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60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200"/>
                                        <p:tgtEl>
                                          <p:spTgt spid="9"/>
                                        </p:tgtEl>
                                      </p:cBhvr>
                                    </p:animEffect>
                                  </p:childTnLst>
                                </p:cTn>
                              </p:par>
                              <p:par>
                                <p:cTn id="20" presetID="10" presetClass="entr" presetSubtype="0" fill="hold" grpId="0" nodeType="withEffect">
                                  <p:stCondLst>
                                    <p:cond delay="60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200"/>
                                        <p:tgtEl>
                                          <p:spTgt spid="10"/>
                                        </p:tgtEl>
                                      </p:cBhvr>
                                    </p:animEffect>
                                  </p:childTnLst>
                                </p:cTn>
                              </p:par>
                            </p:childTnLst>
                          </p:cTn>
                        </p:par>
                        <p:par>
                          <p:cTn id="23" fill="hold">
                            <p:stCondLst>
                              <p:cond delay="800"/>
                            </p:stCondLst>
                            <p:childTnLst>
                              <p:par>
                                <p:cTn id="24" presetID="1" presetClass="entr" presetSubtype="0" fill="hold" grpId="0" nodeType="afterEffect">
                                  <p:stCondLst>
                                    <p:cond delay="0"/>
                                  </p:stCondLst>
                                  <p:childTnLst>
                                    <p:set>
                                      <p:cBhvr>
                                        <p:cTn id="25"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animBg="1">
        <p:tmplLst>
          <p:tmpl>
            <p:tnLst>
              <p:par>
                <p:cTn presetID="2" presetClass="entr" presetSubtype="8" decel="50000" fill="hold" nodeType="withEffect">
                  <p:stCondLst>
                    <p:cond delay="0"/>
                  </p:stCondLst>
                  <p:childTnLst>
                    <p:set>
                      <p:cBhvr>
                        <p:cTn dur="1" fill="hold">
                          <p:stCondLst>
                            <p:cond delay="0"/>
                          </p:stCondLst>
                        </p:cTn>
                        <p:tgtEl>
                          <p:spTgt spid="7"/>
                        </p:tgtEl>
                        <p:attrNameLst>
                          <p:attrName>style.visibility</p:attrName>
                        </p:attrNameLst>
                      </p:cBhvr>
                      <p:to>
                        <p:strVal val="visible"/>
                      </p:to>
                    </p:set>
                    <p:anim calcmode="lin" valueType="num">
                      <p:cBhvr additive="base">
                        <p:cTn dur="700" fill="hold"/>
                        <p:tgtEl>
                          <p:spTgt spid="7"/>
                        </p:tgtEl>
                        <p:attrNameLst>
                          <p:attrName>ppt_x</p:attrName>
                        </p:attrNameLst>
                      </p:cBhvr>
                      <p:tavLst>
                        <p:tav tm="0">
                          <p:val>
                            <p:strVal val="0-#ppt_w/2"/>
                          </p:val>
                        </p:tav>
                        <p:tav tm="100000">
                          <p:val>
                            <p:strVal val="#ppt_x"/>
                          </p:val>
                        </p:tav>
                      </p:tavLst>
                    </p:anim>
                    <p:anim calcmode="lin" valueType="num">
                      <p:cBhvr additive="base">
                        <p:cTn dur="700" fill="hold"/>
                        <p:tgtEl>
                          <p:spTgt spid="7"/>
                        </p:tgtEl>
                        <p:attrNameLst>
                          <p:attrName>ppt_y</p:attrName>
                        </p:attrNameLst>
                      </p:cBhvr>
                      <p:tavLst>
                        <p:tav tm="0">
                          <p:val>
                            <p:strVal val="#ppt_y"/>
                          </p:val>
                        </p:tav>
                        <p:tav tm="100000">
                          <p:val>
                            <p:strVal val="#ppt_y"/>
                          </p:val>
                        </p:tav>
                      </p:tavLst>
                    </p:anim>
                  </p:childTnLst>
                </p:cTn>
              </p:par>
            </p:tnLst>
          </p:tmpl>
          <p:tmpl lvl="1">
            <p:tnLst>
              <p:par>
                <p:cTn presetID="2" presetClass="entr" presetSubtype="8" decel="50000" fill="hold" nodeType="withEffect">
                  <p:stCondLst>
                    <p:cond delay="0"/>
                  </p:stCondLst>
                  <p:childTnLst>
                    <p:set>
                      <p:cBhvr>
                        <p:cTn dur="1" fill="hold">
                          <p:stCondLst>
                            <p:cond delay="0"/>
                          </p:stCondLst>
                        </p:cTn>
                        <p:tgtEl>
                          <p:spTgt spid="7"/>
                        </p:tgtEl>
                        <p:attrNameLst>
                          <p:attrName>style.visibility</p:attrName>
                        </p:attrNameLst>
                      </p:cBhvr>
                      <p:to>
                        <p:strVal val="visible"/>
                      </p:to>
                    </p:set>
                    <p:anim calcmode="lin" valueType="num">
                      <p:cBhvr additive="base">
                        <p:cTn dur="700" fill="hold"/>
                        <p:tgtEl>
                          <p:spTgt spid="7"/>
                        </p:tgtEl>
                        <p:attrNameLst>
                          <p:attrName>ppt_x</p:attrName>
                        </p:attrNameLst>
                      </p:cBhvr>
                      <p:tavLst>
                        <p:tav tm="0">
                          <p:val>
                            <p:strVal val="0-#ppt_w/2"/>
                          </p:val>
                        </p:tav>
                        <p:tav tm="100000">
                          <p:val>
                            <p:strVal val="#ppt_x"/>
                          </p:val>
                        </p:tav>
                      </p:tavLst>
                    </p:anim>
                    <p:anim calcmode="lin" valueType="num">
                      <p:cBhvr additive="base">
                        <p:cTn dur="700" fill="hold"/>
                        <p:tgtEl>
                          <p:spTgt spid="7"/>
                        </p:tgtEl>
                        <p:attrNameLst>
                          <p:attrName>ppt_y</p:attrName>
                        </p:attrNameLst>
                      </p:cBhvr>
                      <p:tavLst>
                        <p:tav tm="0">
                          <p:val>
                            <p:strVal val="#ppt_y"/>
                          </p:val>
                        </p:tav>
                        <p:tav tm="100000">
                          <p:val>
                            <p:strVal val="#ppt_y"/>
                          </p:val>
                        </p:tav>
                      </p:tavLst>
                    </p:anim>
                  </p:childTnLst>
                </p:cTn>
              </p:par>
            </p:tnLst>
          </p:tmpl>
        </p:tmplLst>
      </p:bldP>
      <p:bldP spid="8" grpId="0" animBg="1"/>
      <p:bldP spid="9" grpId="0" animBg="1">
        <p:tmplLst>
          <p:tmpl>
            <p:tnLst>
              <p:par>
                <p:cTn presetID="10" presetClass="entr" presetSubtype="0" fill="hold" nodeType="withEffect">
                  <p:stCondLst>
                    <p:cond delay="600"/>
                  </p:stCondLst>
                  <p:childTnLst>
                    <p:set>
                      <p:cBhvr>
                        <p:cTn dur="1" fill="hold">
                          <p:stCondLst>
                            <p:cond delay="0"/>
                          </p:stCondLst>
                        </p:cTn>
                        <p:tgtEl>
                          <p:spTgt spid="9"/>
                        </p:tgtEl>
                        <p:attrNameLst>
                          <p:attrName>style.visibility</p:attrName>
                        </p:attrNameLst>
                      </p:cBhvr>
                      <p:to>
                        <p:strVal val="visible"/>
                      </p:to>
                    </p:set>
                    <p:animEffect transition="in" filter="fade">
                      <p:cBhvr>
                        <p:cTn dur="200"/>
                        <p:tgtEl>
                          <p:spTgt spid="9"/>
                        </p:tgtEl>
                      </p:cBhvr>
                    </p:animEffect>
                  </p:childTnLst>
                </p:cTn>
              </p:par>
            </p:tnLst>
          </p:tmpl>
        </p:tmplLst>
      </p:bldP>
      <p:bldP spid="10" grpId="0" animBg="1">
        <p:tmplLst>
          <p:tmpl>
            <p:tnLst>
              <p:par>
                <p:cTn presetID="10" presetClass="entr" presetSubtype="0" fill="hold" nodeType="withEffect">
                  <p:stCondLst>
                    <p:cond delay="600"/>
                  </p:stCondLst>
                  <p:childTnLst>
                    <p:set>
                      <p:cBhvr>
                        <p:cTn dur="1" fill="hold">
                          <p:stCondLst>
                            <p:cond delay="0"/>
                          </p:stCondLst>
                        </p:cTn>
                        <p:tgtEl>
                          <p:spTgt spid="10"/>
                        </p:tgtEl>
                        <p:attrNameLst>
                          <p:attrName>style.visibility</p:attrName>
                        </p:attrNameLst>
                      </p:cBhvr>
                      <p:to>
                        <p:strVal val="visible"/>
                      </p:to>
                    </p:set>
                    <p:animEffect transition="in" filter="fade">
                      <p:cBhvr>
                        <p:cTn dur="200"/>
                        <p:tgtEl>
                          <p:spTgt spid="10"/>
                        </p:tgtEl>
                      </p:cBhvr>
                    </p:animEffect>
                  </p:childTnLst>
                </p:cTn>
              </p:par>
            </p:tnLst>
          </p:tmpl>
        </p:tmplLst>
      </p:bldP>
      <p:bldP spid="12" grpId="0" animBg="1"/>
    </p:bld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Hoofdstukdia (groen)">
    <p:spTree>
      <p:nvGrpSpPr>
        <p:cNvPr id="1" name=""/>
        <p:cNvGrpSpPr/>
        <p:nvPr/>
      </p:nvGrpSpPr>
      <p:grpSpPr>
        <a:xfrm>
          <a:off x="0" y="0"/>
          <a:ext cx="0" cy="0"/>
          <a:chOff x="0" y="0"/>
          <a:chExt cx="0" cy="0"/>
        </a:xfrm>
      </p:grpSpPr>
      <p:sp>
        <p:nvSpPr>
          <p:cNvPr id="7" name="Vrije vorm: vorm 9">
            <a:extLst>
              <a:ext uri="{FF2B5EF4-FFF2-40B4-BE49-F238E27FC236}">
                <a16:creationId xmlns:a16="http://schemas.microsoft.com/office/drawing/2014/main" id="{D4237D0C-6A65-43B0-9664-D5C08664B193}"/>
              </a:ext>
            </a:extLst>
          </p:cNvPr>
          <p:cNvSpPr>
            <a:spLocks noGrp="1" noSelect="1"/>
          </p:cNvSpPr>
          <p:nvPr>
            <p:ph type="body" idx="1000" hasCustomPrompt="1"/>
            <p:custDataLst>
              <p:custData r:id="rId1"/>
            </p:custDataLst>
          </p:nvPr>
        </p:nvSpPr>
        <p:spPr bwMode="gray">
          <a:xfrm>
            <a:off x="0" y="0"/>
            <a:ext cx="5780088" cy="6857999"/>
          </a:xfrm>
          <a:custGeom>
            <a:avLst/>
            <a:gdLst>
              <a:gd name="connsiteX0" fmla="*/ 0 w 5780088"/>
              <a:gd name="connsiteY0" fmla="*/ 0 h 6851650"/>
              <a:gd name="connsiteX1" fmla="*/ 4383088 w 5780088"/>
              <a:gd name="connsiteY1" fmla="*/ 0 h 6851650"/>
              <a:gd name="connsiteX2" fmla="*/ 5780088 w 5780088"/>
              <a:gd name="connsiteY2" fmla="*/ 0 h 6851650"/>
              <a:gd name="connsiteX3" fmla="*/ 5780088 w 5780088"/>
              <a:gd name="connsiteY3" fmla="*/ 5456238 h 6851650"/>
              <a:gd name="connsiteX4" fmla="*/ 5081588 w 5780088"/>
              <a:gd name="connsiteY4" fmla="*/ 6154738 h 6851650"/>
              <a:gd name="connsiteX5" fmla="*/ 5081588 w 5780088"/>
              <a:gd name="connsiteY5" fmla="*/ 6154738 h 6851650"/>
              <a:gd name="connsiteX6" fmla="*/ 4383088 w 5780088"/>
              <a:gd name="connsiteY6" fmla="*/ 6851650 h 6851650"/>
              <a:gd name="connsiteX7" fmla="*/ 0 w 5780088"/>
              <a:gd name="connsiteY7" fmla="*/ 6851650 h 685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80088" h="6851650">
                <a:moveTo>
                  <a:pt x="0" y="0"/>
                </a:moveTo>
                <a:lnTo>
                  <a:pt x="4383088" y="0"/>
                </a:lnTo>
                <a:lnTo>
                  <a:pt x="5780088" y="0"/>
                </a:lnTo>
                <a:lnTo>
                  <a:pt x="5780088" y="5456238"/>
                </a:lnTo>
                <a:lnTo>
                  <a:pt x="5081588" y="6154738"/>
                </a:lnTo>
                <a:lnTo>
                  <a:pt x="5081588" y="6154738"/>
                </a:lnTo>
                <a:lnTo>
                  <a:pt x="4383088" y="6851650"/>
                </a:lnTo>
                <a:lnTo>
                  <a:pt x="0" y="6851650"/>
                </a:lnTo>
                <a:close/>
              </a:path>
            </a:pathLst>
          </a:custGeom>
          <a:solidFill>
            <a:srgbClr val="C0CF47"/>
          </a:solidFill>
          <a:ln>
            <a:noFill/>
          </a:ln>
        </p:spPr>
        <p:txBody>
          <a:bodyPr vert="horz" wrap="square" lIns="91440" tIns="45720" rIns="91440" bIns="45720" numCol="1" anchor="t" anchorCtr="0" compatLnSpc="1">
            <a:prstTxWarp prst="textNoShape">
              <a:avLst/>
            </a:prstTxWarp>
            <a:noAutofit/>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8" name="Tijdelijke aanduiding voor afbeelding 17">
            <a:extLst>
              <a:ext uri="{FF2B5EF4-FFF2-40B4-BE49-F238E27FC236}">
                <a16:creationId xmlns:a16="http://schemas.microsoft.com/office/drawing/2014/main" id="{CCEA4C94-9671-4803-ADEE-73024B5AC58D}"/>
              </a:ext>
            </a:extLst>
          </p:cNvPr>
          <p:cNvSpPr>
            <a:spLocks noGrp="1" noSelect="1"/>
          </p:cNvSpPr>
          <p:nvPr>
            <p:ph type="pic" idx="13" hasCustomPrompt="1"/>
          </p:nvPr>
        </p:nvSpPr>
        <p:spPr bwMode="gray">
          <a:xfrm>
            <a:off x="4383176" y="0"/>
            <a:ext cx="7812000" cy="6857999"/>
          </a:xfrm>
          <a:custGeom>
            <a:avLst/>
            <a:gdLst>
              <a:gd name="connsiteX0" fmla="*/ 0 w 7812000"/>
              <a:gd name="connsiteY0" fmla="*/ 0 h 6851520"/>
              <a:gd name="connsiteX1" fmla="*/ 7812000 w 7812000"/>
              <a:gd name="connsiteY1" fmla="*/ 0 h 6851520"/>
              <a:gd name="connsiteX2" fmla="*/ 7812000 w 7812000"/>
              <a:gd name="connsiteY2" fmla="*/ 6851520 h 6851520"/>
              <a:gd name="connsiteX3" fmla="*/ 1396847 w 7812000"/>
              <a:gd name="connsiteY3" fmla="*/ 6851520 h 6851520"/>
              <a:gd name="connsiteX4" fmla="*/ 698413 w 7812000"/>
              <a:gd name="connsiteY4" fmla="*/ 6154673 h 6851520"/>
              <a:gd name="connsiteX5" fmla="*/ 698412 w 7812000"/>
              <a:gd name="connsiteY5" fmla="*/ 6154673 h 6851520"/>
              <a:gd name="connsiteX6" fmla="*/ 0 w 7812000"/>
              <a:gd name="connsiteY6" fmla="*/ 5456261 h 6851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12000" h="6851520">
                <a:moveTo>
                  <a:pt x="0" y="0"/>
                </a:moveTo>
                <a:lnTo>
                  <a:pt x="7812000" y="0"/>
                </a:lnTo>
                <a:lnTo>
                  <a:pt x="7812000" y="6851520"/>
                </a:lnTo>
                <a:lnTo>
                  <a:pt x="1396847" y="6851520"/>
                </a:lnTo>
                <a:lnTo>
                  <a:pt x="698413" y="6154673"/>
                </a:lnTo>
                <a:lnTo>
                  <a:pt x="698412" y="6154673"/>
                </a:lnTo>
                <a:lnTo>
                  <a:pt x="0" y="5456261"/>
                </a:lnTo>
                <a:close/>
              </a:path>
            </a:pathLst>
          </a:custGeom>
          <a:blipFill>
            <a:blip r:embed="rId6"/>
            <a:stretch>
              <a:fillRect/>
            </a:stretch>
          </a:blipFill>
        </p:spPr>
        <p:txBody>
          <a:bodyPr wrap="square">
            <a:noAutofit/>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9" name="Freeform 7 (PHJU)">
            <a:extLst>
              <a:ext uri="{FF2B5EF4-FFF2-40B4-BE49-F238E27FC236}">
                <a16:creationId xmlns:a16="http://schemas.microsoft.com/office/drawing/2014/main" id="{B28D01B1-372B-4C4F-8C07-4CB2BF8A6902}"/>
              </a:ext>
            </a:extLst>
          </p:cNvPr>
          <p:cNvSpPr>
            <a:spLocks noGrp="1" noSelect="1"/>
          </p:cNvSpPr>
          <p:nvPr>
            <p:ph type="body" idx="1001" hasCustomPrompt="1"/>
            <p:custDataLst>
              <p:custData r:id="rId2"/>
            </p:custDataLst>
          </p:nvPr>
        </p:nvSpPr>
        <p:spPr bwMode="gray">
          <a:xfrm>
            <a:off x="4383000" y="0"/>
            <a:ext cx="1397160" cy="6163200"/>
          </a:xfrm>
          <a:custGeom>
            <a:avLst/>
            <a:gdLst>
              <a:gd name="T0" fmla="*/ 880 w 880"/>
              <a:gd name="T1" fmla="*/ 0 h 3877"/>
              <a:gd name="T2" fmla="*/ 880 w 880"/>
              <a:gd name="T3" fmla="*/ 3437 h 3877"/>
              <a:gd name="T4" fmla="*/ 440 w 880"/>
              <a:gd name="T5" fmla="*/ 3877 h 3877"/>
              <a:gd name="T6" fmla="*/ 0 w 880"/>
              <a:gd name="T7" fmla="*/ 3437 h 3877"/>
              <a:gd name="T8" fmla="*/ 0 w 880"/>
              <a:gd name="T9" fmla="*/ 0 h 3877"/>
              <a:gd name="T10" fmla="*/ 880 w 880"/>
              <a:gd name="T11" fmla="*/ 0 h 3877"/>
            </a:gdLst>
            <a:ahLst/>
            <a:cxnLst>
              <a:cxn ang="0">
                <a:pos x="T0" y="T1"/>
              </a:cxn>
              <a:cxn ang="0">
                <a:pos x="T2" y="T3"/>
              </a:cxn>
              <a:cxn ang="0">
                <a:pos x="T4" y="T5"/>
              </a:cxn>
              <a:cxn ang="0">
                <a:pos x="T6" y="T7"/>
              </a:cxn>
              <a:cxn ang="0">
                <a:pos x="T8" y="T9"/>
              </a:cxn>
              <a:cxn ang="0">
                <a:pos x="T10" y="T11"/>
              </a:cxn>
            </a:cxnLst>
            <a:rect l="0" t="0" r="r" b="b"/>
            <a:pathLst>
              <a:path w="880" h="3877">
                <a:moveTo>
                  <a:pt x="880" y="0"/>
                </a:moveTo>
                <a:lnTo>
                  <a:pt x="880" y="3437"/>
                </a:lnTo>
                <a:lnTo>
                  <a:pt x="440" y="3877"/>
                </a:lnTo>
                <a:lnTo>
                  <a:pt x="0" y="3437"/>
                </a:lnTo>
                <a:lnTo>
                  <a:pt x="0" y="0"/>
                </a:lnTo>
                <a:lnTo>
                  <a:pt x="880" y="0"/>
                </a:lnTo>
                <a:close/>
              </a:path>
            </a:pathLst>
          </a:custGeom>
          <a:solidFill>
            <a:srgbClr val="58525A">
              <a:alpha val="80000"/>
            </a:srgbClr>
          </a:solidFill>
          <a:ln>
            <a:noFill/>
          </a:ln>
        </p:spPr>
        <p:txBody>
          <a:bodyPr vert="horz" wrap="square" lIns="91440" tIns="45720" rIns="91440" bIns="45720" numCol="1" anchor="t" anchorCtr="0" compatLnSpc="1">
            <a:prstTxWarp prst="textNoShape">
              <a:avLst/>
            </a:prstTxWarp>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10" name="Freeform 7 (PHJU)">
            <a:extLst>
              <a:ext uri="{FF2B5EF4-FFF2-40B4-BE49-F238E27FC236}">
                <a16:creationId xmlns:a16="http://schemas.microsoft.com/office/drawing/2014/main" id="{EC15E000-C843-4DDD-BDD4-CE41AD8D06A1}"/>
              </a:ext>
            </a:extLst>
          </p:cNvPr>
          <p:cNvSpPr>
            <a:spLocks noGrp="1" noSelect="1"/>
          </p:cNvSpPr>
          <p:nvPr>
            <p:ph type="body" idx="1003" hasCustomPrompt="1"/>
            <p:custDataLst>
              <p:custData r:id="rId3"/>
            </p:custDataLst>
          </p:nvPr>
        </p:nvSpPr>
        <p:spPr bwMode="gray">
          <a:xfrm>
            <a:off x="4381920" y="0"/>
            <a:ext cx="1397160" cy="6171840"/>
          </a:xfrm>
          <a:custGeom>
            <a:avLst/>
            <a:gdLst>
              <a:gd name="T0" fmla="*/ 880 w 880"/>
              <a:gd name="T1" fmla="*/ 0 h 3877"/>
              <a:gd name="T2" fmla="*/ 880 w 880"/>
              <a:gd name="T3" fmla="*/ 3437 h 3877"/>
              <a:gd name="T4" fmla="*/ 440 w 880"/>
              <a:gd name="T5" fmla="*/ 3877 h 3877"/>
              <a:gd name="T6" fmla="*/ 0 w 880"/>
              <a:gd name="T7" fmla="*/ 3437 h 3877"/>
              <a:gd name="T8" fmla="*/ 0 w 880"/>
              <a:gd name="T9" fmla="*/ 0 h 3877"/>
              <a:gd name="T10" fmla="*/ 880 w 880"/>
              <a:gd name="T11" fmla="*/ 0 h 3877"/>
            </a:gdLst>
            <a:ahLst/>
            <a:cxnLst>
              <a:cxn ang="0">
                <a:pos x="T0" y="T1"/>
              </a:cxn>
              <a:cxn ang="0">
                <a:pos x="T2" y="T3"/>
              </a:cxn>
              <a:cxn ang="0">
                <a:pos x="T4" y="T5"/>
              </a:cxn>
              <a:cxn ang="0">
                <a:pos x="T6" y="T7"/>
              </a:cxn>
              <a:cxn ang="0">
                <a:pos x="T8" y="T9"/>
              </a:cxn>
              <a:cxn ang="0">
                <a:pos x="T10" y="T11"/>
              </a:cxn>
            </a:cxnLst>
            <a:rect l="0" t="0" r="r" b="b"/>
            <a:pathLst>
              <a:path w="880" h="3877">
                <a:moveTo>
                  <a:pt x="880" y="0"/>
                </a:moveTo>
                <a:lnTo>
                  <a:pt x="880" y="3437"/>
                </a:lnTo>
                <a:lnTo>
                  <a:pt x="440" y="3877"/>
                </a:lnTo>
                <a:lnTo>
                  <a:pt x="0" y="3437"/>
                </a:lnTo>
                <a:lnTo>
                  <a:pt x="0" y="0"/>
                </a:lnTo>
                <a:lnTo>
                  <a:pt x="880" y="0"/>
                </a:lnTo>
                <a:close/>
              </a:path>
            </a:pathLst>
          </a:custGeom>
          <a:solidFill>
            <a:srgbClr val="C0CF47">
              <a:alpha val="80000"/>
            </a:srgbClr>
          </a:solidFill>
          <a:ln>
            <a:noFill/>
          </a:ln>
        </p:spPr>
        <p:txBody>
          <a:bodyPr vert="horz" wrap="square" lIns="91440" tIns="45720" rIns="91440" bIns="45720" numCol="1" anchor="t" anchorCtr="0" compatLnSpc="1">
            <a:prstTxWarp prst="textNoShape">
              <a:avLst/>
            </a:prstTxWarp>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13" name="Logo (PHJU)">
            <a:extLst>
              <a:ext uri="{FF2B5EF4-FFF2-40B4-BE49-F238E27FC236}">
                <a16:creationId xmlns:a16="http://schemas.microsoft.com/office/drawing/2014/main" id="{86FE5542-5787-4DBC-AD23-6C2E6214DE2A}"/>
              </a:ext>
            </a:extLst>
          </p:cNvPr>
          <p:cNvSpPr>
            <a:spLocks noGrp="1" noSelect="1"/>
          </p:cNvSpPr>
          <p:nvPr userDrawn="1">
            <p:ph type="body" idx="1002" hasCustomPrompt="1"/>
            <p:custDataLst>
              <p:custData r:id="rId4"/>
            </p:custDataLst>
          </p:nvPr>
        </p:nvSpPr>
        <p:spPr bwMode="gray">
          <a:xfrm>
            <a:off x="638175" y="6030913"/>
            <a:ext cx="2481263" cy="508000"/>
          </a:xfrm>
          <a:custGeom>
            <a:avLst/>
            <a:gdLst>
              <a:gd name="T0" fmla="*/ 1692 w 7817"/>
              <a:gd name="T1" fmla="*/ 0 h 1604"/>
              <a:gd name="T2" fmla="*/ 1692 w 7817"/>
              <a:gd name="T3" fmla="*/ 525 h 1604"/>
              <a:gd name="T4" fmla="*/ 2362 w 7817"/>
              <a:gd name="T5" fmla="*/ 330 h 1604"/>
              <a:gd name="T6" fmla="*/ 2557 w 7817"/>
              <a:gd name="T7" fmla="*/ 729 h 1604"/>
              <a:gd name="T8" fmla="*/ 3512 w 7817"/>
              <a:gd name="T9" fmla="*/ 0 h 1604"/>
              <a:gd name="T10" fmla="*/ 3421 w 7817"/>
              <a:gd name="T11" fmla="*/ 525 h 1604"/>
              <a:gd name="T12" fmla="*/ 5552 w 7817"/>
              <a:gd name="T13" fmla="*/ 1512 h 1604"/>
              <a:gd name="T14" fmla="*/ 5558 w 7817"/>
              <a:gd name="T15" fmla="*/ 1482 h 1604"/>
              <a:gd name="T16" fmla="*/ 5876 w 7817"/>
              <a:gd name="T17" fmla="*/ 1472 h 1604"/>
              <a:gd name="T18" fmla="*/ 5792 w 7817"/>
              <a:gd name="T19" fmla="*/ 1341 h 1604"/>
              <a:gd name="T20" fmla="*/ 5942 w 7817"/>
              <a:gd name="T21" fmla="*/ 1317 h 1604"/>
              <a:gd name="T22" fmla="*/ 6271 w 7817"/>
              <a:gd name="T23" fmla="*/ 1454 h 1604"/>
              <a:gd name="T24" fmla="*/ 6267 w 7817"/>
              <a:gd name="T25" fmla="*/ 1395 h 1604"/>
              <a:gd name="T26" fmla="*/ 6433 w 7817"/>
              <a:gd name="T27" fmla="*/ 1412 h 1604"/>
              <a:gd name="T28" fmla="*/ 6534 w 7817"/>
              <a:gd name="T29" fmla="*/ 1482 h 1604"/>
              <a:gd name="T30" fmla="*/ 6713 w 7817"/>
              <a:gd name="T31" fmla="*/ 1473 h 1604"/>
              <a:gd name="T32" fmla="*/ 6847 w 7817"/>
              <a:gd name="T33" fmla="*/ 1412 h 1604"/>
              <a:gd name="T34" fmla="*/ 7086 w 7817"/>
              <a:gd name="T35" fmla="*/ 1507 h 1604"/>
              <a:gd name="T36" fmla="*/ 6925 w 7817"/>
              <a:gd name="T37" fmla="*/ 1317 h 1604"/>
              <a:gd name="T38" fmla="*/ 7356 w 7817"/>
              <a:gd name="T39" fmla="*/ 1312 h 1604"/>
              <a:gd name="T40" fmla="*/ 7446 w 7817"/>
              <a:gd name="T41" fmla="*/ 1411 h 1604"/>
              <a:gd name="T42" fmla="*/ 7625 w 7817"/>
              <a:gd name="T43" fmla="*/ 1507 h 1604"/>
              <a:gd name="T44" fmla="*/ 7519 w 7817"/>
              <a:gd name="T45" fmla="*/ 1317 h 1604"/>
              <a:gd name="T46" fmla="*/ 7728 w 7817"/>
              <a:gd name="T47" fmla="*/ 1343 h 1604"/>
              <a:gd name="T48" fmla="*/ 7815 w 7817"/>
              <a:gd name="T49" fmla="*/ 1343 h 1604"/>
              <a:gd name="T50" fmla="*/ 3773 w 7817"/>
              <a:gd name="T51" fmla="*/ 1344 h 1604"/>
              <a:gd name="T52" fmla="*/ 3942 w 7817"/>
              <a:gd name="T53" fmla="*/ 1412 h 1604"/>
              <a:gd name="T54" fmla="*/ 4091 w 7817"/>
              <a:gd name="T55" fmla="*/ 1314 h 1604"/>
              <a:gd name="T56" fmla="*/ 4013 w 7817"/>
              <a:gd name="T57" fmla="*/ 1317 h 1604"/>
              <a:gd name="T58" fmla="*/ 4206 w 7817"/>
              <a:gd name="T59" fmla="*/ 1312 h 1604"/>
              <a:gd name="T60" fmla="*/ 4384 w 7817"/>
              <a:gd name="T61" fmla="*/ 1344 h 1604"/>
              <a:gd name="T62" fmla="*/ 4553 w 7817"/>
              <a:gd name="T63" fmla="*/ 1412 h 1604"/>
              <a:gd name="T64" fmla="*/ 4588 w 7817"/>
              <a:gd name="T65" fmla="*/ 1412 h 1604"/>
              <a:gd name="T66" fmla="*/ 4686 w 7817"/>
              <a:gd name="T67" fmla="*/ 1312 h 1604"/>
              <a:gd name="T68" fmla="*/ 4916 w 7817"/>
              <a:gd name="T69" fmla="*/ 1343 h 1604"/>
              <a:gd name="T70" fmla="*/ 4858 w 7817"/>
              <a:gd name="T71" fmla="*/ 1348 h 1604"/>
              <a:gd name="T72" fmla="*/ 4963 w 7817"/>
              <a:gd name="T73" fmla="*/ 1317 h 1604"/>
              <a:gd name="T74" fmla="*/ 5036 w 7817"/>
              <a:gd name="T75" fmla="*/ 1439 h 1604"/>
              <a:gd name="T76" fmla="*/ 5129 w 7817"/>
              <a:gd name="T77" fmla="*/ 1572 h 1604"/>
              <a:gd name="T78" fmla="*/ 5274 w 7817"/>
              <a:gd name="T79" fmla="*/ 1317 h 1604"/>
              <a:gd name="T80" fmla="*/ 1632 w 7817"/>
              <a:gd name="T81" fmla="*/ 1473 h 1604"/>
              <a:gd name="T82" fmla="*/ 1767 w 7817"/>
              <a:gd name="T83" fmla="*/ 1412 h 1604"/>
              <a:gd name="T84" fmla="*/ 1866 w 7817"/>
              <a:gd name="T85" fmla="*/ 1412 h 1604"/>
              <a:gd name="T86" fmla="*/ 2208 w 7817"/>
              <a:gd name="T87" fmla="*/ 1476 h 1604"/>
              <a:gd name="T88" fmla="*/ 2206 w 7817"/>
              <a:gd name="T89" fmla="*/ 1317 h 1604"/>
              <a:gd name="T90" fmla="*/ 2632 w 7817"/>
              <a:gd name="T91" fmla="*/ 1507 h 1604"/>
              <a:gd name="T92" fmla="*/ 2414 w 7817"/>
              <a:gd name="T93" fmla="*/ 1361 h 1604"/>
              <a:gd name="T94" fmla="*/ 2433 w 7817"/>
              <a:gd name="T95" fmla="*/ 1317 h 1604"/>
              <a:gd name="T96" fmla="*/ 2668 w 7817"/>
              <a:gd name="T97" fmla="*/ 1195 h 1604"/>
              <a:gd name="T98" fmla="*/ 2893 w 7817"/>
              <a:gd name="T99" fmla="*/ 1412 h 1604"/>
              <a:gd name="T100" fmla="*/ 3097 w 7817"/>
              <a:gd name="T101" fmla="*/ 1507 h 1604"/>
              <a:gd name="T102" fmla="*/ 2930 w 7817"/>
              <a:gd name="T103" fmla="*/ 1317 h 1604"/>
              <a:gd name="T104" fmla="*/ 3238 w 7817"/>
              <a:gd name="T105" fmla="*/ 1312 h 1604"/>
              <a:gd name="T106" fmla="*/ 3307 w 7817"/>
              <a:gd name="T107" fmla="*/ 1200 h 1604"/>
              <a:gd name="T108" fmla="*/ 3454 w 7817"/>
              <a:gd name="T109" fmla="*/ 1512 h 1604"/>
              <a:gd name="T110" fmla="*/ 3523 w 7817"/>
              <a:gd name="T111" fmla="*/ 1346 h 1604"/>
              <a:gd name="T112" fmla="*/ 0 w 7817"/>
              <a:gd name="T113" fmla="*/ 403 h 1604"/>
              <a:gd name="T114" fmla="*/ 814 w 7817"/>
              <a:gd name="T115" fmla="*/ 386 h 1604"/>
              <a:gd name="T116" fmla="*/ 50 w 7817"/>
              <a:gd name="T117" fmla="*/ 403 h 1604"/>
              <a:gd name="T118" fmla="*/ 218 w 7817"/>
              <a:gd name="T119" fmla="*/ 621 h 1604"/>
              <a:gd name="T120" fmla="*/ 1165 w 7817"/>
              <a:gd name="T121" fmla="*/ 42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17" h="1604">
                <a:moveTo>
                  <a:pt x="1692" y="702"/>
                </a:moveTo>
                <a:cubicBezTo>
                  <a:pt x="1694" y="702"/>
                  <a:pt x="1694" y="702"/>
                  <a:pt x="1694" y="702"/>
                </a:cubicBezTo>
                <a:cubicBezTo>
                  <a:pt x="1728" y="764"/>
                  <a:pt x="1807" y="814"/>
                  <a:pt x="1905" y="814"/>
                </a:cubicBezTo>
                <a:cubicBezTo>
                  <a:pt x="2059" y="814"/>
                  <a:pt x="2180" y="689"/>
                  <a:pt x="2180" y="525"/>
                </a:cubicBezTo>
                <a:cubicBezTo>
                  <a:pt x="2180" y="358"/>
                  <a:pt x="2064" y="236"/>
                  <a:pt x="1891" y="236"/>
                </a:cubicBezTo>
                <a:cubicBezTo>
                  <a:pt x="1812" y="236"/>
                  <a:pt x="1745" y="271"/>
                  <a:pt x="1694" y="330"/>
                </a:cubicBezTo>
                <a:cubicBezTo>
                  <a:pt x="1692" y="330"/>
                  <a:pt x="1692" y="330"/>
                  <a:pt x="1692" y="330"/>
                </a:cubicBezTo>
                <a:cubicBezTo>
                  <a:pt x="1692" y="0"/>
                  <a:pt x="1692" y="0"/>
                  <a:pt x="1692" y="0"/>
                </a:cubicBezTo>
                <a:cubicBezTo>
                  <a:pt x="1600" y="0"/>
                  <a:pt x="1600" y="0"/>
                  <a:pt x="1600" y="0"/>
                </a:cubicBezTo>
                <a:cubicBezTo>
                  <a:pt x="1600" y="799"/>
                  <a:pt x="1600" y="799"/>
                  <a:pt x="1600" y="799"/>
                </a:cubicBezTo>
                <a:cubicBezTo>
                  <a:pt x="1692" y="799"/>
                  <a:pt x="1692" y="799"/>
                  <a:pt x="1692" y="799"/>
                </a:cubicBezTo>
                <a:lnTo>
                  <a:pt x="1692" y="702"/>
                </a:lnTo>
                <a:close/>
                <a:moveTo>
                  <a:pt x="1887" y="320"/>
                </a:moveTo>
                <a:cubicBezTo>
                  <a:pt x="2005" y="320"/>
                  <a:pt x="2082" y="410"/>
                  <a:pt x="2082" y="525"/>
                </a:cubicBezTo>
                <a:cubicBezTo>
                  <a:pt x="2082" y="640"/>
                  <a:pt x="2005" y="729"/>
                  <a:pt x="1887" y="729"/>
                </a:cubicBezTo>
                <a:cubicBezTo>
                  <a:pt x="1768" y="729"/>
                  <a:pt x="1692" y="640"/>
                  <a:pt x="1692" y="525"/>
                </a:cubicBezTo>
                <a:cubicBezTo>
                  <a:pt x="1692" y="410"/>
                  <a:pt x="1768" y="320"/>
                  <a:pt x="1887" y="320"/>
                </a:cubicBezTo>
                <a:close/>
                <a:moveTo>
                  <a:pt x="2362" y="702"/>
                </a:moveTo>
                <a:cubicBezTo>
                  <a:pt x="2365" y="702"/>
                  <a:pt x="2365" y="702"/>
                  <a:pt x="2365" y="702"/>
                </a:cubicBezTo>
                <a:cubicBezTo>
                  <a:pt x="2399" y="764"/>
                  <a:pt x="2477" y="814"/>
                  <a:pt x="2576" y="814"/>
                </a:cubicBezTo>
                <a:cubicBezTo>
                  <a:pt x="2730" y="814"/>
                  <a:pt x="2851" y="689"/>
                  <a:pt x="2851" y="525"/>
                </a:cubicBezTo>
                <a:cubicBezTo>
                  <a:pt x="2851" y="358"/>
                  <a:pt x="2735" y="236"/>
                  <a:pt x="2562" y="236"/>
                </a:cubicBezTo>
                <a:cubicBezTo>
                  <a:pt x="2482" y="236"/>
                  <a:pt x="2415" y="271"/>
                  <a:pt x="2365" y="330"/>
                </a:cubicBezTo>
                <a:cubicBezTo>
                  <a:pt x="2362" y="330"/>
                  <a:pt x="2362" y="330"/>
                  <a:pt x="2362" y="330"/>
                </a:cubicBezTo>
                <a:cubicBezTo>
                  <a:pt x="2362" y="250"/>
                  <a:pt x="2362" y="250"/>
                  <a:pt x="2362" y="250"/>
                </a:cubicBezTo>
                <a:cubicBezTo>
                  <a:pt x="2271" y="250"/>
                  <a:pt x="2271" y="250"/>
                  <a:pt x="2271" y="250"/>
                </a:cubicBezTo>
                <a:cubicBezTo>
                  <a:pt x="2271" y="1057"/>
                  <a:pt x="2271" y="1057"/>
                  <a:pt x="2271" y="1057"/>
                </a:cubicBezTo>
                <a:cubicBezTo>
                  <a:pt x="2362" y="1057"/>
                  <a:pt x="2362" y="1057"/>
                  <a:pt x="2362" y="1057"/>
                </a:cubicBezTo>
                <a:lnTo>
                  <a:pt x="2362" y="702"/>
                </a:lnTo>
                <a:close/>
                <a:moveTo>
                  <a:pt x="2557" y="320"/>
                </a:moveTo>
                <a:cubicBezTo>
                  <a:pt x="2676" y="320"/>
                  <a:pt x="2752" y="410"/>
                  <a:pt x="2752" y="525"/>
                </a:cubicBezTo>
                <a:cubicBezTo>
                  <a:pt x="2752" y="640"/>
                  <a:pt x="2676" y="729"/>
                  <a:pt x="2557" y="729"/>
                </a:cubicBezTo>
                <a:cubicBezTo>
                  <a:pt x="2439" y="729"/>
                  <a:pt x="2362" y="640"/>
                  <a:pt x="2362" y="525"/>
                </a:cubicBezTo>
                <a:cubicBezTo>
                  <a:pt x="2362" y="410"/>
                  <a:pt x="2439" y="320"/>
                  <a:pt x="2557" y="320"/>
                </a:cubicBezTo>
                <a:close/>
                <a:moveTo>
                  <a:pt x="3207" y="814"/>
                </a:moveTo>
                <a:cubicBezTo>
                  <a:pt x="3306" y="814"/>
                  <a:pt x="3385" y="764"/>
                  <a:pt x="3419" y="702"/>
                </a:cubicBezTo>
                <a:cubicBezTo>
                  <a:pt x="3421" y="702"/>
                  <a:pt x="3421" y="702"/>
                  <a:pt x="3421" y="702"/>
                </a:cubicBezTo>
                <a:cubicBezTo>
                  <a:pt x="3421" y="799"/>
                  <a:pt x="3421" y="799"/>
                  <a:pt x="3421" y="799"/>
                </a:cubicBezTo>
                <a:cubicBezTo>
                  <a:pt x="3512" y="799"/>
                  <a:pt x="3512" y="799"/>
                  <a:pt x="3512" y="799"/>
                </a:cubicBezTo>
                <a:cubicBezTo>
                  <a:pt x="3512" y="0"/>
                  <a:pt x="3512" y="0"/>
                  <a:pt x="3512" y="0"/>
                </a:cubicBezTo>
                <a:cubicBezTo>
                  <a:pt x="3421" y="0"/>
                  <a:pt x="3421" y="0"/>
                  <a:pt x="3421" y="0"/>
                </a:cubicBezTo>
                <a:cubicBezTo>
                  <a:pt x="3421" y="330"/>
                  <a:pt x="3421" y="330"/>
                  <a:pt x="3421" y="330"/>
                </a:cubicBezTo>
                <a:cubicBezTo>
                  <a:pt x="3419" y="330"/>
                  <a:pt x="3419" y="330"/>
                  <a:pt x="3419" y="330"/>
                </a:cubicBezTo>
                <a:cubicBezTo>
                  <a:pt x="3368" y="271"/>
                  <a:pt x="3301" y="236"/>
                  <a:pt x="3221" y="236"/>
                </a:cubicBezTo>
                <a:cubicBezTo>
                  <a:pt x="3049" y="236"/>
                  <a:pt x="2933" y="358"/>
                  <a:pt x="2933" y="525"/>
                </a:cubicBezTo>
                <a:cubicBezTo>
                  <a:pt x="2933" y="689"/>
                  <a:pt x="3054" y="814"/>
                  <a:pt x="3207" y="814"/>
                </a:cubicBezTo>
                <a:close/>
                <a:moveTo>
                  <a:pt x="3226" y="320"/>
                </a:moveTo>
                <a:cubicBezTo>
                  <a:pt x="3345" y="320"/>
                  <a:pt x="3421" y="410"/>
                  <a:pt x="3421" y="525"/>
                </a:cubicBezTo>
                <a:cubicBezTo>
                  <a:pt x="3421" y="640"/>
                  <a:pt x="3345" y="729"/>
                  <a:pt x="3226" y="729"/>
                </a:cubicBezTo>
                <a:cubicBezTo>
                  <a:pt x="3107" y="729"/>
                  <a:pt x="3031" y="640"/>
                  <a:pt x="3031" y="525"/>
                </a:cubicBezTo>
                <a:cubicBezTo>
                  <a:pt x="3031" y="410"/>
                  <a:pt x="3107" y="320"/>
                  <a:pt x="3226" y="320"/>
                </a:cubicBezTo>
                <a:close/>
                <a:moveTo>
                  <a:pt x="5626" y="1344"/>
                </a:moveTo>
                <a:cubicBezTo>
                  <a:pt x="5625" y="1344"/>
                  <a:pt x="5625" y="1344"/>
                  <a:pt x="5625" y="1344"/>
                </a:cubicBezTo>
                <a:cubicBezTo>
                  <a:pt x="5607" y="1324"/>
                  <a:pt x="5584" y="1312"/>
                  <a:pt x="5557" y="1312"/>
                </a:cubicBezTo>
                <a:cubicBezTo>
                  <a:pt x="5497" y="1312"/>
                  <a:pt x="5457" y="1354"/>
                  <a:pt x="5457" y="1412"/>
                </a:cubicBezTo>
                <a:cubicBezTo>
                  <a:pt x="5457" y="1469"/>
                  <a:pt x="5498" y="1512"/>
                  <a:pt x="5552" y="1512"/>
                </a:cubicBezTo>
                <a:cubicBezTo>
                  <a:pt x="5586" y="1512"/>
                  <a:pt x="5613" y="1495"/>
                  <a:pt x="5625" y="1473"/>
                </a:cubicBezTo>
                <a:cubicBezTo>
                  <a:pt x="5626" y="1473"/>
                  <a:pt x="5626" y="1473"/>
                  <a:pt x="5626" y="1473"/>
                </a:cubicBezTo>
                <a:cubicBezTo>
                  <a:pt x="5626" y="1507"/>
                  <a:pt x="5626" y="1507"/>
                  <a:pt x="5626" y="1507"/>
                </a:cubicBezTo>
                <a:cubicBezTo>
                  <a:pt x="5657" y="1507"/>
                  <a:pt x="5657" y="1507"/>
                  <a:pt x="5657" y="1507"/>
                </a:cubicBezTo>
                <a:cubicBezTo>
                  <a:pt x="5657" y="1200"/>
                  <a:pt x="5657" y="1200"/>
                  <a:pt x="5657" y="1200"/>
                </a:cubicBezTo>
                <a:cubicBezTo>
                  <a:pt x="5626" y="1200"/>
                  <a:pt x="5626" y="1200"/>
                  <a:pt x="5626" y="1200"/>
                </a:cubicBezTo>
                <a:lnTo>
                  <a:pt x="5626" y="1344"/>
                </a:lnTo>
                <a:close/>
                <a:moveTo>
                  <a:pt x="5558" y="1482"/>
                </a:moveTo>
                <a:cubicBezTo>
                  <a:pt x="5517" y="1482"/>
                  <a:pt x="5491" y="1452"/>
                  <a:pt x="5491" y="1412"/>
                </a:cubicBezTo>
                <a:cubicBezTo>
                  <a:pt x="5491" y="1372"/>
                  <a:pt x="5517" y="1341"/>
                  <a:pt x="5558" y="1341"/>
                </a:cubicBezTo>
                <a:cubicBezTo>
                  <a:pt x="5599" y="1341"/>
                  <a:pt x="5626" y="1372"/>
                  <a:pt x="5626" y="1412"/>
                </a:cubicBezTo>
                <a:cubicBezTo>
                  <a:pt x="5626" y="1452"/>
                  <a:pt x="5599" y="1482"/>
                  <a:pt x="5558" y="1482"/>
                </a:cubicBezTo>
                <a:close/>
                <a:moveTo>
                  <a:pt x="5793" y="1312"/>
                </a:moveTo>
                <a:cubicBezTo>
                  <a:pt x="5737" y="1312"/>
                  <a:pt x="5695" y="1353"/>
                  <a:pt x="5695" y="1412"/>
                </a:cubicBezTo>
                <a:cubicBezTo>
                  <a:pt x="5695" y="1467"/>
                  <a:pt x="5732" y="1512"/>
                  <a:pt x="5792" y="1512"/>
                </a:cubicBezTo>
                <a:cubicBezTo>
                  <a:pt x="5827" y="1512"/>
                  <a:pt x="5854" y="1501"/>
                  <a:pt x="5876" y="1472"/>
                </a:cubicBezTo>
                <a:cubicBezTo>
                  <a:pt x="5852" y="1454"/>
                  <a:pt x="5852" y="1454"/>
                  <a:pt x="5852" y="1454"/>
                </a:cubicBezTo>
                <a:cubicBezTo>
                  <a:pt x="5837" y="1473"/>
                  <a:pt x="5819" y="1482"/>
                  <a:pt x="5792" y="1482"/>
                </a:cubicBezTo>
                <a:cubicBezTo>
                  <a:pt x="5757" y="1482"/>
                  <a:pt x="5732" y="1454"/>
                  <a:pt x="5729" y="1421"/>
                </a:cubicBezTo>
                <a:cubicBezTo>
                  <a:pt x="5883" y="1421"/>
                  <a:pt x="5883" y="1421"/>
                  <a:pt x="5883" y="1421"/>
                </a:cubicBezTo>
                <a:cubicBezTo>
                  <a:pt x="5883" y="1411"/>
                  <a:pt x="5883" y="1411"/>
                  <a:pt x="5883" y="1411"/>
                </a:cubicBezTo>
                <a:cubicBezTo>
                  <a:pt x="5883" y="1348"/>
                  <a:pt x="5846" y="1312"/>
                  <a:pt x="5793" y="1312"/>
                </a:cubicBezTo>
                <a:close/>
                <a:moveTo>
                  <a:pt x="5729" y="1395"/>
                </a:moveTo>
                <a:cubicBezTo>
                  <a:pt x="5733" y="1363"/>
                  <a:pt x="5757" y="1341"/>
                  <a:pt x="5792" y="1341"/>
                </a:cubicBezTo>
                <a:cubicBezTo>
                  <a:pt x="5827" y="1341"/>
                  <a:pt x="5848" y="1363"/>
                  <a:pt x="5849" y="1395"/>
                </a:cubicBezTo>
                <a:lnTo>
                  <a:pt x="5729" y="1395"/>
                </a:lnTo>
                <a:close/>
                <a:moveTo>
                  <a:pt x="6059" y="1317"/>
                </a:moveTo>
                <a:cubicBezTo>
                  <a:pt x="6093" y="1317"/>
                  <a:pt x="6093" y="1317"/>
                  <a:pt x="6093" y="1317"/>
                </a:cubicBezTo>
                <a:cubicBezTo>
                  <a:pt x="6018" y="1507"/>
                  <a:pt x="6018" y="1507"/>
                  <a:pt x="6018" y="1507"/>
                </a:cubicBezTo>
                <a:cubicBezTo>
                  <a:pt x="5983" y="1507"/>
                  <a:pt x="5983" y="1507"/>
                  <a:pt x="5983" y="1507"/>
                </a:cubicBezTo>
                <a:cubicBezTo>
                  <a:pt x="5905" y="1317"/>
                  <a:pt x="5905" y="1317"/>
                  <a:pt x="5905" y="1317"/>
                </a:cubicBezTo>
                <a:cubicBezTo>
                  <a:pt x="5942" y="1317"/>
                  <a:pt x="5942" y="1317"/>
                  <a:pt x="5942" y="1317"/>
                </a:cubicBezTo>
                <a:cubicBezTo>
                  <a:pt x="6001" y="1466"/>
                  <a:pt x="6001" y="1466"/>
                  <a:pt x="6001" y="1466"/>
                </a:cubicBezTo>
                <a:cubicBezTo>
                  <a:pt x="6002" y="1466"/>
                  <a:pt x="6002" y="1466"/>
                  <a:pt x="6002" y="1466"/>
                </a:cubicBezTo>
                <a:lnTo>
                  <a:pt x="6059" y="1317"/>
                </a:lnTo>
                <a:close/>
                <a:moveTo>
                  <a:pt x="6211" y="1312"/>
                </a:moveTo>
                <a:cubicBezTo>
                  <a:pt x="6155" y="1312"/>
                  <a:pt x="6114" y="1353"/>
                  <a:pt x="6114" y="1412"/>
                </a:cubicBezTo>
                <a:cubicBezTo>
                  <a:pt x="6114" y="1467"/>
                  <a:pt x="6150" y="1512"/>
                  <a:pt x="6210" y="1512"/>
                </a:cubicBezTo>
                <a:cubicBezTo>
                  <a:pt x="6245" y="1512"/>
                  <a:pt x="6272" y="1501"/>
                  <a:pt x="6295" y="1472"/>
                </a:cubicBezTo>
                <a:cubicBezTo>
                  <a:pt x="6271" y="1454"/>
                  <a:pt x="6271" y="1454"/>
                  <a:pt x="6271" y="1454"/>
                </a:cubicBezTo>
                <a:cubicBezTo>
                  <a:pt x="6256" y="1473"/>
                  <a:pt x="6237" y="1482"/>
                  <a:pt x="6210" y="1482"/>
                </a:cubicBezTo>
                <a:cubicBezTo>
                  <a:pt x="6176" y="1482"/>
                  <a:pt x="6150" y="1454"/>
                  <a:pt x="6148" y="1421"/>
                </a:cubicBezTo>
                <a:cubicBezTo>
                  <a:pt x="6302" y="1421"/>
                  <a:pt x="6302" y="1421"/>
                  <a:pt x="6302" y="1421"/>
                </a:cubicBezTo>
                <a:cubicBezTo>
                  <a:pt x="6302" y="1411"/>
                  <a:pt x="6302" y="1411"/>
                  <a:pt x="6302" y="1411"/>
                </a:cubicBezTo>
                <a:cubicBezTo>
                  <a:pt x="6302" y="1348"/>
                  <a:pt x="6265" y="1312"/>
                  <a:pt x="6211" y="1312"/>
                </a:cubicBezTo>
                <a:close/>
                <a:moveTo>
                  <a:pt x="6148" y="1395"/>
                </a:moveTo>
                <a:cubicBezTo>
                  <a:pt x="6152" y="1363"/>
                  <a:pt x="6175" y="1341"/>
                  <a:pt x="6210" y="1341"/>
                </a:cubicBezTo>
                <a:cubicBezTo>
                  <a:pt x="6245" y="1341"/>
                  <a:pt x="6266" y="1363"/>
                  <a:pt x="6267" y="1395"/>
                </a:cubicBezTo>
                <a:lnTo>
                  <a:pt x="6148" y="1395"/>
                </a:lnTo>
                <a:close/>
                <a:moveTo>
                  <a:pt x="6354" y="1200"/>
                </a:moveTo>
                <a:cubicBezTo>
                  <a:pt x="6386" y="1200"/>
                  <a:pt x="6386" y="1200"/>
                  <a:pt x="6386" y="1200"/>
                </a:cubicBezTo>
                <a:cubicBezTo>
                  <a:pt x="6386" y="1507"/>
                  <a:pt x="6386" y="1507"/>
                  <a:pt x="6386" y="1507"/>
                </a:cubicBezTo>
                <a:cubicBezTo>
                  <a:pt x="6354" y="1507"/>
                  <a:pt x="6354" y="1507"/>
                  <a:pt x="6354" y="1507"/>
                </a:cubicBezTo>
                <a:lnTo>
                  <a:pt x="6354" y="1200"/>
                </a:lnTo>
                <a:close/>
                <a:moveTo>
                  <a:pt x="6534" y="1312"/>
                </a:moveTo>
                <a:cubicBezTo>
                  <a:pt x="6476" y="1312"/>
                  <a:pt x="6433" y="1352"/>
                  <a:pt x="6433" y="1412"/>
                </a:cubicBezTo>
                <a:cubicBezTo>
                  <a:pt x="6433" y="1471"/>
                  <a:pt x="6476" y="1512"/>
                  <a:pt x="6534" y="1512"/>
                </a:cubicBezTo>
                <a:cubicBezTo>
                  <a:pt x="6593" y="1512"/>
                  <a:pt x="6636" y="1471"/>
                  <a:pt x="6636" y="1412"/>
                </a:cubicBezTo>
                <a:cubicBezTo>
                  <a:pt x="6636" y="1352"/>
                  <a:pt x="6593" y="1312"/>
                  <a:pt x="6534" y="1312"/>
                </a:cubicBezTo>
                <a:close/>
                <a:moveTo>
                  <a:pt x="6534" y="1482"/>
                </a:moveTo>
                <a:cubicBezTo>
                  <a:pt x="6493" y="1482"/>
                  <a:pt x="6467" y="1452"/>
                  <a:pt x="6467" y="1412"/>
                </a:cubicBezTo>
                <a:cubicBezTo>
                  <a:pt x="6467" y="1372"/>
                  <a:pt x="6493" y="1341"/>
                  <a:pt x="6534" y="1341"/>
                </a:cubicBezTo>
                <a:cubicBezTo>
                  <a:pt x="6575" y="1341"/>
                  <a:pt x="6602" y="1372"/>
                  <a:pt x="6602" y="1412"/>
                </a:cubicBezTo>
                <a:cubicBezTo>
                  <a:pt x="6602" y="1452"/>
                  <a:pt x="6575" y="1482"/>
                  <a:pt x="6534" y="1482"/>
                </a:cubicBezTo>
                <a:close/>
                <a:moveTo>
                  <a:pt x="6782" y="1312"/>
                </a:moveTo>
                <a:cubicBezTo>
                  <a:pt x="6754" y="1312"/>
                  <a:pt x="6731" y="1324"/>
                  <a:pt x="6713" y="1344"/>
                </a:cubicBezTo>
                <a:cubicBezTo>
                  <a:pt x="6713" y="1344"/>
                  <a:pt x="6713" y="1344"/>
                  <a:pt x="6713" y="1344"/>
                </a:cubicBezTo>
                <a:cubicBezTo>
                  <a:pt x="6713" y="1317"/>
                  <a:pt x="6713" y="1317"/>
                  <a:pt x="6713" y="1317"/>
                </a:cubicBezTo>
                <a:cubicBezTo>
                  <a:pt x="6681" y="1317"/>
                  <a:pt x="6681" y="1317"/>
                  <a:pt x="6681" y="1317"/>
                </a:cubicBezTo>
                <a:cubicBezTo>
                  <a:pt x="6681" y="1600"/>
                  <a:pt x="6681" y="1600"/>
                  <a:pt x="6681" y="1600"/>
                </a:cubicBezTo>
                <a:cubicBezTo>
                  <a:pt x="6713" y="1600"/>
                  <a:pt x="6713" y="1600"/>
                  <a:pt x="6713" y="1600"/>
                </a:cubicBezTo>
                <a:cubicBezTo>
                  <a:pt x="6713" y="1473"/>
                  <a:pt x="6713" y="1473"/>
                  <a:pt x="6713" y="1473"/>
                </a:cubicBezTo>
                <a:cubicBezTo>
                  <a:pt x="6713" y="1473"/>
                  <a:pt x="6713" y="1473"/>
                  <a:pt x="6713" y="1473"/>
                </a:cubicBezTo>
                <a:cubicBezTo>
                  <a:pt x="6725" y="1495"/>
                  <a:pt x="6752" y="1512"/>
                  <a:pt x="6786" y="1512"/>
                </a:cubicBezTo>
                <a:cubicBezTo>
                  <a:pt x="6840" y="1512"/>
                  <a:pt x="6882" y="1469"/>
                  <a:pt x="6882" y="1412"/>
                </a:cubicBezTo>
                <a:cubicBezTo>
                  <a:pt x="6882" y="1354"/>
                  <a:pt x="6841" y="1312"/>
                  <a:pt x="6782" y="1312"/>
                </a:cubicBezTo>
                <a:close/>
                <a:moveTo>
                  <a:pt x="6780" y="1482"/>
                </a:moveTo>
                <a:cubicBezTo>
                  <a:pt x="6739" y="1482"/>
                  <a:pt x="6713" y="1452"/>
                  <a:pt x="6713" y="1412"/>
                </a:cubicBezTo>
                <a:cubicBezTo>
                  <a:pt x="6713" y="1372"/>
                  <a:pt x="6739" y="1341"/>
                  <a:pt x="6780" y="1341"/>
                </a:cubicBezTo>
                <a:cubicBezTo>
                  <a:pt x="6821" y="1341"/>
                  <a:pt x="6847" y="1372"/>
                  <a:pt x="6847" y="1412"/>
                </a:cubicBezTo>
                <a:cubicBezTo>
                  <a:pt x="6847" y="1452"/>
                  <a:pt x="6821" y="1482"/>
                  <a:pt x="6780" y="1482"/>
                </a:cubicBezTo>
                <a:close/>
                <a:moveTo>
                  <a:pt x="7213" y="1391"/>
                </a:moveTo>
                <a:cubicBezTo>
                  <a:pt x="7213" y="1507"/>
                  <a:pt x="7213" y="1507"/>
                  <a:pt x="7213" y="1507"/>
                </a:cubicBezTo>
                <a:cubicBezTo>
                  <a:pt x="7181" y="1507"/>
                  <a:pt x="7181" y="1507"/>
                  <a:pt x="7181" y="1507"/>
                </a:cubicBezTo>
                <a:cubicBezTo>
                  <a:pt x="7181" y="1393"/>
                  <a:pt x="7181" y="1393"/>
                  <a:pt x="7181" y="1393"/>
                </a:cubicBezTo>
                <a:cubicBezTo>
                  <a:pt x="7181" y="1367"/>
                  <a:pt x="7172" y="1341"/>
                  <a:pt x="7135" y="1341"/>
                </a:cubicBezTo>
                <a:cubicBezTo>
                  <a:pt x="7108" y="1341"/>
                  <a:pt x="7086" y="1363"/>
                  <a:pt x="7086" y="1397"/>
                </a:cubicBezTo>
                <a:cubicBezTo>
                  <a:pt x="7086" y="1507"/>
                  <a:pt x="7086" y="1507"/>
                  <a:pt x="7086" y="1507"/>
                </a:cubicBezTo>
                <a:cubicBezTo>
                  <a:pt x="7054" y="1507"/>
                  <a:pt x="7054" y="1507"/>
                  <a:pt x="7054" y="1507"/>
                </a:cubicBezTo>
                <a:cubicBezTo>
                  <a:pt x="7054" y="1399"/>
                  <a:pt x="7054" y="1399"/>
                  <a:pt x="7054" y="1399"/>
                </a:cubicBezTo>
                <a:cubicBezTo>
                  <a:pt x="7054" y="1357"/>
                  <a:pt x="7043" y="1341"/>
                  <a:pt x="7017" y="1341"/>
                </a:cubicBezTo>
                <a:cubicBezTo>
                  <a:pt x="6976" y="1341"/>
                  <a:pt x="6958" y="1371"/>
                  <a:pt x="6958" y="1414"/>
                </a:cubicBezTo>
                <a:cubicBezTo>
                  <a:pt x="6958" y="1507"/>
                  <a:pt x="6958" y="1507"/>
                  <a:pt x="6958" y="1507"/>
                </a:cubicBezTo>
                <a:cubicBezTo>
                  <a:pt x="6927" y="1507"/>
                  <a:pt x="6927" y="1507"/>
                  <a:pt x="6927" y="1507"/>
                </a:cubicBezTo>
                <a:cubicBezTo>
                  <a:pt x="6927" y="1362"/>
                  <a:pt x="6927" y="1362"/>
                  <a:pt x="6927" y="1362"/>
                </a:cubicBezTo>
                <a:cubicBezTo>
                  <a:pt x="6927" y="1344"/>
                  <a:pt x="6925" y="1329"/>
                  <a:pt x="6925" y="1317"/>
                </a:cubicBezTo>
                <a:cubicBezTo>
                  <a:pt x="6955" y="1317"/>
                  <a:pt x="6955" y="1317"/>
                  <a:pt x="6955" y="1317"/>
                </a:cubicBezTo>
                <a:cubicBezTo>
                  <a:pt x="6955" y="1327"/>
                  <a:pt x="6956" y="1337"/>
                  <a:pt x="6956" y="1348"/>
                </a:cubicBezTo>
                <a:cubicBezTo>
                  <a:pt x="6957" y="1348"/>
                  <a:pt x="6957" y="1348"/>
                  <a:pt x="6957" y="1348"/>
                </a:cubicBezTo>
                <a:cubicBezTo>
                  <a:pt x="6965" y="1329"/>
                  <a:pt x="6989" y="1312"/>
                  <a:pt x="7020" y="1312"/>
                </a:cubicBezTo>
                <a:cubicBezTo>
                  <a:pt x="7061" y="1312"/>
                  <a:pt x="7074" y="1335"/>
                  <a:pt x="7080" y="1348"/>
                </a:cubicBezTo>
                <a:cubicBezTo>
                  <a:pt x="7094" y="1326"/>
                  <a:pt x="7112" y="1312"/>
                  <a:pt x="7140" y="1312"/>
                </a:cubicBezTo>
                <a:cubicBezTo>
                  <a:pt x="7195" y="1312"/>
                  <a:pt x="7213" y="1342"/>
                  <a:pt x="7213" y="1391"/>
                </a:cubicBezTo>
                <a:close/>
                <a:moveTo>
                  <a:pt x="7356" y="1312"/>
                </a:moveTo>
                <a:cubicBezTo>
                  <a:pt x="7300" y="1312"/>
                  <a:pt x="7258" y="1353"/>
                  <a:pt x="7258" y="1412"/>
                </a:cubicBezTo>
                <a:cubicBezTo>
                  <a:pt x="7258" y="1467"/>
                  <a:pt x="7295" y="1512"/>
                  <a:pt x="7354" y="1512"/>
                </a:cubicBezTo>
                <a:cubicBezTo>
                  <a:pt x="7390" y="1512"/>
                  <a:pt x="7417" y="1501"/>
                  <a:pt x="7439" y="1472"/>
                </a:cubicBezTo>
                <a:cubicBezTo>
                  <a:pt x="7415" y="1454"/>
                  <a:pt x="7415" y="1454"/>
                  <a:pt x="7415" y="1454"/>
                </a:cubicBezTo>
                <a:cubicBezTo>
                  <a:pt x="7400" y="1473"/>
                  <a:pt x="7382" y="1482"/>
                  <a:pt x="7354" y="1482"/>
                </a:cubicBezTo>
                <a:cubicBezTo>
                  <a:pt x="7320" y="1482"/>
                  <a:pt x="7295" y="1454"/>
                  <a:pt x="7292" y="1421"/>
                </a:cubicBezTo>
                <a:cubicBezTo>
                  <a:pt x="7446" y="1421"/>
                  <a:pt x="7446" y="1421"/>
                  <a:pt x="7446" y="1421"/>
                </a:cubicBezTo>
                <a:cubicBezTo>
                  <a:pt x="7446" y="1411"/>
                  <a:pt x="7446" y="1411"/>
                  <a:pt x="7446" y="1411"/>
                </a:cubicBezTo>
                <a:cubicBezTo>
                  <a:pt x="7446" y="1348"/>
                  <a:pt x="7409" y="1312"/>
                  <a:pt x="7356" y="1312"/>
                </a:cubicBezTo>
                <a:close/>
                <a:moveTo>
                  <a:pt x="7292" y="1395"/>
                </a:moveTo>
                <a:cubicBezTo>
                  <a:pt x="7296" y="1363"/>
                  <a:pt x="7320" y="1341"/>
                  <a:pt x="7354" y="1341"/>
                </a:cubicBezTo>
                <a:cubicBezTo>
                  <a:pt x="7389" y="1341"/>
                  <a:pt x="7411" y="1363"/>
                  <a:pt x="7412" y="1395"/>
                </a:cubicBezTo>
                <a:lnTo>
                  <a:pt x="7292" y="1395"/>
                </a:lnTo>
                <a:close/>
                <a:moveTo>
                  <a:pt x="7657" y="1389"/>
                </a:moveTo>
                <a:cubicBezTo>
                  <a:pt x="7657" y="1507"/>
                  <a:pt x="7657" y="1507"/>
                  <a:pt x="7657" y="1507"/>
                </a:cubicBezTo>
                <a:cubicBezTo>
                  <a:pt x="7625" y="1507"/>
                  <a:pt x="7625" y="1507"/>
                  <a:pt x="7625" y="1507"/>
                </a:cubicBezTo>
                <a:cubicBezTo>
                  <a:pt x="7625" y="1393"/>
                  <a:pt x="7625" y="1393"/>
                  <a:pt x="7625" y="1393"/>
                </a:cubicBezTo>
                <a:cubicBezTo>
                  <a:pt x="7625" y="1361"/>
                  <a:pt x="7611" y="1341"/>
                  <a:pt x="7582" y="1341"/>
                </a:cubicBezTo>
                <a:cubicBezTo>
                  <a:pt x="7541" y="1341"/>
                  <a:pt x="7523" y="1371"/>
                  <a:pt x="7523" y="1414"/>
                </a:cubicBezTo>
                <a:cubicBezTo>
                  <a:pt x="7523" y="1507"/>
                  <a:pt x="7523" y="1507"/>
                  <a:pt x="7523" y="1507"/>
                </a:cubicBezTo>
                <a:cubicBezTo>
                  <a:pt x="7491" y="1507"/>
                  <a:pt x="7491" y="1507"/>
                  <a:pt x="7491" y="1507"/>
                </a:cubicBezTo>
                <a:cubicBezTo>
                  <a:pt x="7491" y="1362"/>
                  <a:pt x="7491" y="1362"/>
                  <a:pt x="7491" y="1362"/>
                </a:cubicBezTo>
                <a:cubicBezTo>
                  <a:pt x="7491" y="1344"/>
                  <a:pt x="7489" y="1329"/>
                  <a:pt x="7489" y="1317"/>
                </a:cubicBezTo>
                <a:cubicBezTo>
                  <a:pt x="7519" y="1317"/>
                  <a:pt x="7519" y="1317"/>
                  <a:pt x="7519" y="1317"/>
                </a:cubicBezTo>
                <a:cubicBezTo>
                  <a:pt x="7519" y="1327"/>
                  <a:pt x="7520" y="1337"/>
                  <a:pt x="7520" y="1348"/>
                </a:cubicBezTo>
                <a:cubicBezTo>
                  <a:pt x="7521" y="1348"/>
                  <a:pt x="7521" y="1348"/>
                  <a:pt x="7521" y="1348"/>
                </a:cubicBezTo>
                <a:cubicBezTo>
                  <a:pt x="7530" y="1329"/>
                  <a:pt x="7553" y="1312"/>
                  <a:pt x="7584" y="1312"/>
                </a:cubicBezTo>
                <a:cubicBezTo>
                  <a:pt x="7634" y="1312"/>
                  <a:pt x="7657" y="1343"/>
                  <a:pt x="7657" y="1389"/>
                </a:cubicBezTo>
                <a:close/>
                <a:moveTo>
                  <a:pt x="7817" y="1505"/>
                </a:moveTo>
                <a:cubicBezTo>
                  <a:pt x="7806" y="1510"/>
                  <a:pt x="7792" y="1512"/>
                  <a:pt x="7780" y="1512"/>
                </a:cubicBezTo>
                <a:cubicBezTo>
                  <a:pt x="7735" y="1512"/>
                  <a:pt x="7728" y="1487"/>
                  <a:pt x="7728" y="1448"/>
                </a:cubicBezTo>
                <a:cubicBezTo>
                  <a:pt x="7728" y="1343"/>
                  <a:pt x="7728" y="1343"/>
                  <a:pt x="7728" y="1343"/>
                </a:cubicBezTo>
                <a:cubicBezTo>
                  <a:pt x="7686" y="1343"/>
                  <a:pt x="7686" y="1343"/>
                  <a:pt x="7686" y="1343"/>
                </a:cubicBezTo>
                <a:cubicBezTo>
                  <a:pt x="7686" y="1317"/>
                  <a:pt x="7686" y="1317"/>
                  <a:pt x="7686" y="1317"/>
                </a:cubicBezTo>
                <a:cubicBezTo>
                  <a:pt x="7728" y="1317"/>
                  <a:pt x="7728" y="1317"/>
                  <a:pt x="7728" y="1317"/>
                </a:cubicBezTo>
                <a:cubicBezTo>
                  <a:pt x="7728" y="1263"/>
                  <a:pt x="7728" y="1263"/>
                  <a:pt x="7728" y="1263"/>
                </a:cubicBezTo>
                <a:cubicBezTo>
                  <a:pt x="7759" y="1263"/>
                  <a:pt x="7759" y="1263"/>
                  <a:pt x="7759" y="1263"/>
                </a:cubicBezTo>
                <a:cubicBezTo>
                  <a:pt x="7759" y="1317"/>
                  <a:pt x="7759" y="1317"/>
                  <a:pt x="7759" y="1317"/>
                </a:cubicBezTo>
                <a:cubicBezTo>
                  <a:pt x="7815" y="1317"/>
                  <a:pt x="7815" y="1317"/>
                  <a:pt x="7815" y="1317"/>
                </a:cubicBezTo>
                <a:cubicBezTo>
                  <a:pt x="7815" y="1343"/>
                  <a:pt x="7815" y="1343"/>
                  <a:pt x="7815" y="1343"/>
                </a:cubicBezTo>
                <a:cubicBezTo>
                  <a:pt x="7759" y="1343"/>
                  <a:pt x="7759" y="1343"/>
                  <a:pt x="7759" y="1343"/>
                </a:cubicBezTo>
                <a:cubicBezTo>
                  <a:pt x="7759" y="1439"/>
                  <a:pt x="7759" y="1439"/>
                  <a:pt x="7759" y="1439"/>
                </a:cubicBezTo>
                <a:cubicBezTo>
                  <a:pt x="7759" y="1463"/>
                  <a:pt x="7760" y="1482"/>
                  <a:pt x="7788" y="1482"/>
                </a:cubicBezTo>
                <a:cubicBezTo>
                  <a:pt x="7797" y="1482"/>
                  <a:pt x="7807" y="1480"/>
                  <a:pt x="7816" y="1476"/>
                </a:cubicBezTo>
                <a:lnTo>
                  <a:pt x="7817" y="1505"/>
                </a:lnTo>
                <a:close/>
                <a:moveTo>
                  <a:pt x="3842" y="1312"/>
                </a:moveTo>
                <a:cubicBezTo>
                  <a:pt x="3815" y="1312"/>
                  <a:pt x="3791" y="1324"/>
                  <a:pt x="3774" y="1344"/>
                </a:cubicBezTo>
                <a:cubicBezTo>
                  <a:pt x="3773" y="1344"/>
                  <a:pt x="3773" y="1344"/>
                  <a:pt x="3773" y="1344"/>
                </a:cubicBezTo>
                <a:cubicBezTo>
                  <a:pt x="3773" y="1317"/>
                  <a:pt x="3773" y="1317"/>
                  <a:pt x="3773" y="1317"/>
                </a:cubicBezTo>
                <a:cubicBezTo>
                  <a:pt x="3741" y="1317"/>
                  <a:pt x="3741" y="1317"/>
                  <a:pt x="3741" y="1317"/>
                </a:cubicBezTo>
                <a:cubicBezTo>
                  <a:pt x="3741" y="1600"/>
                  <a:pt x="3741" y="1600"/>
                  <a:pt x="3741" y="1600"/>
                </a:cubicBezTo>
                <a:cubicBezTo>
                  <a:pt x="3773" y="1600"/>
                  <a:pt x="3773" y="1600"/>
                  <a:pt x="3773" y="1600"/>
                </a:cubicBezTo>
                <a:cubicBezTo>
                  <a:pt x="3773" y="1473"/>
                  <a:pt x="3773" y="1473"/>
                  <a:pt x="3773" y="1473"/>
                </a:cubicBezTo>
                <a:cubicBezTo>
                  <a:pt x="3774" y="1473"/>
                  <a:pt x="3774" y="1473"/>
                  <a:pt x="3774" y="1473"/>
                </a:cubicBezTo>
                <a:cubicBezTo>
                  <a:pt x="3786" y="1495"/>
                  <a:pt x="3813" y="1512"/>
                  <a:pt x="3847" y="1512"/>
                </a:cubicBezTo>
                <a:cubicBezTo>
                  <a:pt x="3900" y="1512"/>
                  <a:pt x="3942" y="1469"/>
                  <a:pt x="3942" y="1412"/>
                </a:cubicBezTo>
                <a:cubicBezTo>
                  <a:pt x="3942" y="1354"/>
                  <a:pt x="3902" y="1312"/>
                  <a:pt x="3842" y="1312"/>
                </a:cubicBezTo>
                <a:close/>
                <a:moveTo>
                  <a:pt x="3841" y="1482"/>
                </a:moveTo>
                <a:cubicBezTo>
                  <a:pt x="3800" y="1482"/>
                  <a:pt x="3773" y="1452"/>
                  <a:pt x="3773" y="1412"/>
                </a:cubicBezTo>
                <a:cubicBezTo>
                  <a:pt x="3773" y="1372"/>
                  <a:pt x="3800" y="1341"/>
                  <a:pt x="3841" y="1341"/>
                </a:cubicBezTo>
                <a:cubicBezTo>
                  <a:pt x="3882" y="1341"/>
                  <a:pt x="3908" y="1372"/>
                  <a:pt x="3908" y="1412"/>
                </a:cubicBezTo>
                <a:cubicBezTo>
                  <a:pt x="3908" y="1452"/>
                  <a:pt x="3882" y="1482"/>
                  <a:pt x="3841" y="1482"/>
                </a:cubicBezTo>
                <a:close/>
                <a:moveTo>
                  <a:pt x="4078" y="1312"/>
                </a:moveTo>
                <a:cubicBezTo>
                  <a:pt x="4082" y="1312"/>
                  <a:pt x="4087" y="1312"/>
                  <a:pt x="4091" y="1314"/>
                </a:cubicBezTo>
                <a:cubicBezTo>
                  <a:pt x="4089" y="1346"/>
                  <a:pt x="4089" y="1346"/>
                  <a:pt x="4089" y="1346"/>
                </a:cubicBezTo>
                <a:cubicBezTo>
                  <a:pt x="4084" y="1344"/>
                  <a:pt x="4078" y="1343"/>
                  <a:pt x="4072" y="1343"/>
                </a:cubicBezTo>
                <a:cubicBezTo>
                  <a:pt x="4033" y="1343"/>
                  <a:pt x="4016" y="1371"/>
                  <a:pt x="4016" y="1414"/>
                </a:cubicBezTo>
                <a:cubicBezTo>
                  <a:pt x="4016" y="1507"/>
                  <a:pt x="4016" y="1507"/>
                  <a:pt x="4016" y="1507"/>
                </a:cubicBezTo>
                <a:cubicBezTo>
                  <a:pt x="3985" y="1507"/>
                  <a:pt x="3985" y="1507"/>
                  <a:pt x="3985" y="1507"/>
                </a:cubicBezTo>
                <a:cubicBezTo>
                  <a:pt x="3985" y="1362"/>
                  <a:pt x="3985" y="1362"/>
                  <a:pt x="3985" y="1362"/>
                </a:cubicBezTo>
                <a:cubicBezTo>
                  <a:pt x="3985" y="1344"/>
                  <a:pt x="3983" y="1329"/>
                  <a:pt x="3983" y="1317"/>
                </a:cubicBezTo>
                <a:cubicBezTo>
                  <a:pt x="4013" y="1317"/>
                  <a:pt x="4013" y="1317"/>
                  <a:pt x="4013" y="1317"/>
                </a:cubicBezTo>
                <a:cubicBezTo>
                  <a:pt x="4013" y="1327"/>
                  <a:pt x="4014" y="1337"/>
                  <a:pt x="4014" y="1348"/>
                </a:cubicBezTo>
                <a:cubicBezTo>
                  <a:pt x="4015" y="1348"/>
                  <a:pt x="4015" y="1348"/>
                  <a:pt x="4015" y="1348"/>
                </a:cubicBezTo>
                <a:cubicBezTo>
                  <a:pt x="4023" y="1329"/>
                  <a:pt x="4047" y="1312"/>
                  <a:pt x="4078" y="1312"/>
                </a:cubicBezTo>
                <a:close/>
                <a:moveTo>
                  <a:pt x="4206" y="1312"/>
                </a:moveTo>
                <a:cubicBezTo>
                  <a:pt x="4147" y="1312"/>
                  <a:pt x="4104" y="1352"/>
                  <a:pt x="4104" y="1412"/>
                </a:cubicBezTo>
                <a:cubicBezTo>
                  <a:pt x="4104" y="1471"/>
                  <a:pt x="4147" y="1512"/>
                  <a:pt x="4206" y="1512"/>
                </a:cubicBezTo>
                <a:cubicBezTo>
                  <a:pt x="4264" y="1512"/>
                  <a:pt x="4307" y="1471"/>
                  <a:pt x="4307" y="1412"/>
                </a:cubicBezTo>
                <a:cubicBezTo>
                  <a:pt x="4307" y="1352"/>
                  <a:pt x="4264" y="1312"/>
                  <a:pt x="4206" y="1312"/>
                </a:cubicBezTo>
                <a:close/>
                <a:moveTo>
                  <a:pt x="4206" y="1482"/>
                </a:moveTo>
                <a:cubicBezTo>
                  <a:pt x="4165" y="1482"/>
                  <a:pt x="4138" y="1452"/>
                  <a:pt x="4138" y="1412"/>
                </a:cubicBezTo>
                <a:cubicBezTo>
                  <a:pt x="4138" y="1372"/>
                  <a:pt x="4165" y="1341"/>
                  <a:pt x="4206" y="1341"/>
                </a:cubicBezTo>
                <a:cubicBezTo>
                  <a:pt x="4247" y="1341"/>
                  <a:pt x="4273" y="1372"/>
                  <a:pt x="4273" y="1412"/>
                </a:cubicBezTo>
                <a:cubicBezTo>
                  <a:pt x="4273" y="1452"/>
                  <a:pt x="4247" y="1482"/>
                  <a:pt x="4206" y="1482"/>
                </a:cubicBezTo>
                <a:close/>
                <a:moveTo>
                  <a:pt x="4453" y="1312"/>
                </a:moveTo>
                <a:cubicBezTo>
                  <a:pt x="4425" y="1312"/>
                  <a:pt x="4402" y="1324"/>
                  <a:pt x="4385" y="1344"/>
                </a:cubicBezTo>
                <a:cubicBezTo>
                  <a:pt x="4384" y="1344"/>
                  <a:pt x="4384" y="1344"/>
                  <a:pt x="4384" y="1344"/>
                </a:cubicBezTo>
                <a:cubicBezTo>
                  <a:pt x="4384" y="1317"/>
                  <a:pt x="4384" y="1317"/>
                  <a:pt x="4384" y="1317"/>
                </a:cubicBezTo>
                <a:cubicBezTo>
                  <a:pt x="4352" y="1317"/>
                  <a:pt x="4352" y="1317"/>
                  <a:pt x="4352" y="1317"/>
                </a:cubicBezTo>
                <a:cubicBezTo>
                  <a:pt x="4352" y="1600"/>
                  <a:pt x="4352" y="1600"/>
                  <a:pt x="4352" y="1600"/>
                </a:cubicBezTo>
                <a:cubicBezTo>
                  <a:pt x="4384" y="1600"/>
                  <a:pt x="4384" y="1600"/>
                  <a:pt x="4384" y="1600"/>
                </a:cubicBezTo>
                <a:cubicBezTo>
                  <a:pt x="4384" y="1473"/>
                  <a:pt x="4384" y="1473"/>
                  <a:pt x="4384" y="1473"/>
                </a:cubicBezTo>
                <a:cubicBezTo>
                  <a:pt x="4385" y="1473"/>
                  <a:pt x="4385" y="1473"/>
                  <a:pt x="4385" y="1473"/>
                </a:cubicBezTo>
                <a:cubicBezTo>
                  <a:pt x="4396" y="1495"/>
                  <a:pt x="4424" y="1512"/>
                  <a:pt x="4458" y="1512"/>
                </a:cubicBezTo>
                <a:cubicBezTo>
                  <a:pt x="4511" y="1512"/>
                  <a:pt x="4553" y="1469"/>
                  <a:pt x="4553" y="1412"/>
                </a:cubicBezTo>
                <a:cubicBezTo>
                  <a:pt x="4553" y="1354"/>
                  <a:pt x="4513" y="1312"/>
                  <a:pt x="4453" y="1312"/>
                </a:cubicBezTo>
                <a:close/>
                <a:moveTo>
                  <a:pt x="4451" y="1482"/>
                </a:moveTo>
                <a:cubicBezTo>
                  <a:pt x="4410" y="1482"/>
                  <a:pt x="4384" y="1452"/>
                  <a:pt x="4384" y="1412"/>
                </a:cubicBezTo>
                <a:cubicBezTo>
                  <a:pt x="4384" y="1372"/>
                  <a:pt x="4410" y="1341"/>
                  <a:pt x="4451" y="1341"/>
                </a:cubicBezTo>
                <a:cubicBezTo>
                  <a:pt x="4492" y="1341"/>
                  <a:pt x="4519" y="1372"/>
                  <a:pt x="4519" y="1412"/>
                </a:cubicBezTo>
                <a:cubicBezTo>
                  <a:pt x="4519" y="1452"/>
                  <a:pt x="4492" y="1482"/>
                  <a:pt x="4451" y="1482"/>
                </a:cubicBezTo>
                <a:close/>
                <a:moveTo>
                  <a:pt x="4686" y="1312"/>
                </a:moveTo>
                <a:cubicBezTo>
                  <a:pt x="4630" y="1312"/>
                  <a:pt x="4588" y="1353"/>
                  <a:pt x="4588" y="1412"/>
                </a:cubicBezTo>
                <a:cubicBezTo>
                  <a:pt x="4588" y="1467"/>
                  <a:pt x="4625" y="1512"/>
                  <a:pt x="4685" y="1512"/>
                </a:cubicBezTo>
                <a:cubicBezTo>
                  <a:pt x="4720" y="1512"/>
                  <a:pt x="4747" y="1501"/>
                  <a:pt x="4769" y="1472"/>
                </a:cubicBezTo>
                <a:cubicBezTo>
                  <a:pt x="4745" y="1454"/>
                  <a:pt x="4745" y="1454"/>
                  <a:pt x="4745" y="1454"/>
                </a:cubicBezTo>
                <a:cubicBezTo>
                  <a:pt x="4730" y="1473"/>
                  <a:pt x="4712" y="1482"/>
                  <a:pt x="4685" y="1482"/>
                </a:cubicBezTo>
                <a:cubicBezTo>
                  <a:pt x="4650" y="1482"/>
                  <a:pt x="4625" y="1454"/>
                  <a:pt x="4623" y="1421"/>
                </a:cubicBezTo>
                <a:cubicBezTo>
                  <a:pt x="4776" y="1421"/>
                  <a:pt x="4776" y="1421"/>
                  <a:pt x="4776" y="1421"/>
                </a:cubicBezTo>
                <a:cubicBezTo>
                  <a:pt x="4776" y="1411"/>
                  <a:pt x="4776" y="1411"/>
                  <a:pt x="4776" y="1411"/>
                </a:cubicBezTo>
                <a:cubicBezTo>
                  <a:pt x="4776" y="1348"/>
                  <a:pt x="4740" y="1312"/>
                  <a:pt x="4686" y="1312"/>
                </a:cubicBezTo>
                <a:close/>
                <a:moveTo>
                  <a:pt x="4623" y="1395"/>
                </a:moveTo>
                <a:cubicBezTo>
                  <a:pt x="4627" y="1363"/>
                  <a:pt x="4650" y="1341"/>
                  <a:pt x="4685" y="1341"/>
                </a:cubicBezTo>
                <a:cubicBezTo>
                  <a:pt x="4720" y="1341"/>
                  <a:pt x="4741" y="1363"/>
                  <a:pt x="4742" y="1395"/>
                </a:cubicBezTo>
                <a:lnTo>
                  <a:pt x="4623" y="1395"/>
                </a:lnTo>
                <a:close/>
                <a:moveTo>
                  <a:pt x="4922" y="1312"/>
                </a:moveTo>
                <a:cubicBezTo>
                  <a:pt x="4926" y="1312"/>
                  <a:pt x="4930" y="1312"/>
                  <a:pt x="4935" y="1314"/>
                </a:cubicBezTo>
                <a:cubicBezTo>
                  <a:pt x="4933" y="1346"/>
                  <a:pt x="4933" y="1346"/>
                  <a:pt x="4933" y="1346"/>
                </a:cubicBezTo>
                <a:cubicBezTo>
                  <a:pt x="4927" y="1344"/>
                  <a:pt x="4921" y="1343"/>
                  <a:pt x="4916" y="1343"/>
                </a:cubicBezTo>
                <a:cubicBezTo>
                  <a:pt x="4877" y="1343"/>
                  <a:pt x="4860" y="1371"/>
                  <a:pt x="4860" y="1414"/>
                </a:cubicBezTo>
                <a:cubicBezTo>
                  <a:pt x="4860" y="1507"/>
                  <a:pt x="4860" y="1507"/>
                  <a:pt x="4860" y="1507"/>
                </a:cubicBezTo>
                <a:cubicBezTo>
                  <a:pt x="4828" y="1507"/>
                  <a:pt x="4828" y="1507"/>
                  <a:pt x="4828" y="1507"/>
                </a:cubicBezTo>
                <a:cubicBezTo>
                  <a:pt x="4828" y="1362"/>
                  <a:pt x="4828" y="1362"/>
                  <a:pt x="4828" y="1362"/>
                </a:cubicBezTo>
                <a:cubicBezTo>
                  <a:pt x="4828" y="1344"/>
                  <a:pt x="4827" y="1329"/>
                  <a:pt x="4827" y="1317"/>
                </a:cubicBezTo>
                <a:cubicBezTo>
                  <a:pt x="4857" y="1317"/>
                  <a:pt x="4857" y="1317"/>
                  <a:pt x="4857" y="1317"/>
                </a:cubicBezTo>
                <a:cubicBezTo>
                  <a:pt x="4857" y="1327"/>
                  <a:pt x="4858" y="1337"/>
                  <a:pt x="4858" y="1348"/>
                </a:cubicBezTo>
                <a:cubicBezTo>
                  <a:pt x="4858" y="1348"/>
                  <a:pt x="4858" y="1348"/>
                  <a:pt x="4858" y="1348"/>
                </a:cubicBezTo>
                <a:cubicBezTo>
                  <a:pt x="4867" y="1329"/>
                  <a:pt x="4890" y="1312"/>
                  <a:pt x="4922" y="1312"/>
                </a:cubicBezTo>
                <a:close/>
                <a:moveTo>
                  <a:pt x="5092" y="1476"/>
                </a:moveTo>
                <a:cubicBezTo>
                  <a:pt x="5094" y="1505"/>
                  <a:pt x="5094" y="1505"/>
                  <a:pt x="5094" y="1505"/>
                </a:cubicBezTo>
                <a:cubicBezTo>
                  <a:pt x="5083" y="1510"/>
                  <a:pt x="5068" y="1512"/>
                  <a:pt x="5057" y="1512"/>
                </a:cubicBezTo>
                <a:cubicBezTo>
                  <a:pt x="5012" y="1512"/>
                  <a:pt x="5004" y="1487"/>
                  <a:pt x="5004" y="1448"/>
                </a:cubicBezTo>
                <a:cubicBezTo>
                  <a:pt x="5004" y="1343"/>
                  <a:pt x="5004" y="1343"/>
                  <a:pt x="5004" y="1343"/>
                </a:cubicBezTo>
                <a:cubicBezTo>
                  <a:pt x="4963" y="1343"/>
                  <a:pt x="4963" y="1343"/>
                  <a:pt x="4963" y="1343"/>
                </a:cubicBezTo>
                <a:cubicBezTo>
                  <a:pt x="4963" y="1317"/>
                  <a:pt x="4963" y="1317"/>
                  <a:pt x="4963" y="1317"/>
                </a:cubicBezTo>
                <a:cubicBezTo>
                  <a:pt x="5004" y="1317"/>
                  <a:pt x="5004" y="1317"/>
                  <a:pt x="5004" y="1317"/>
                </a:cubicBezTo>
                <a:cubicBezTo>
                  <a:pt x="5004" y="1263"/>
                  <a:pt x="5004" y="1263"/>
                  <a:pt x="5004" y="1263"/>
                </a:cubicBezTo>
                <a:cubicBezTo>
                  <a:pt x="5036" y="1263"/>
                  <a:pt x="5036" y="1263"/>
                  <a:pt x="5036" y="1263"/>
                </a:cubicBezTo>
                <a:cubicBezTo>
                  <a:pt x="5036" y="1317"/>
                  <a:pt x="5036" y="1317"/>
                  <a:pt x="5036" y="1317"/>
                </a:cubicBezTo>
                <a:cubicBezTo>
                  <a:pt x="5092" y="1317"/>
                  <a:pt x="5092" y="1317"/>
                  <a:pt x="5092" y="1317"/>
                </a:cubicBezTo>
                <a:cubicBezTo>
                  <a:pt x="5092" y="1343"/>
                  <a:pt x="5092" y="1343"/>
                  <a:pt x="5092" y="1343"/>
                </a:cubicBezTo>
                <a:cubicBezTo>
                  <a:pt x="5036" y="1343"/>
                  <a:pt x="5036" y="1343"/>
                  <a:pt x="5036" y="1343"/>
                </a:cubicBezTo>
                <a:cubicBezTo>
                  <a:pt x="5036" y="1439"/>
                  <a:pt x="5036" y="1439"/>
                  <a:pt x="5036" y="1439"/>
                </a:cubicBezTo>
                <a:cubicBezTo>
                  <a:pt x="5036" y="1463"/>
                  <a:pt x="5036" y="1482"/>
                  <a:pt x="5064" y="1482"/>
                </a:cubicBezTo>
                <a:cubicBezTo>
                  <a:pt x="5074" y="1482"/>
                  <a:pt x="5084" y="1480"/>
                  <a:pt x="5092" y="1476"/>
                </a:cubicBezTo>
                <a:close/>
                <a:moveTo>
                  <a:pt x="5274" y="1317"/>
                </a:moveTo>
                <a:cubicBezTo>
                  <a:pt x="5309" y="1317"/>
                  <a:pt x="5309" y="1317"/>
                  <a:pt x="5309" y="1317"/>
                </a:cubicBezTo>
                <a:cubicBezTo>
                  <a:pt x="5217" y="1550"/>
                  <a:pt x="5217" y="1550"/>
                  <a:pt x="5217" y="1550"/>
                </a:cubicBezTo>
                <a:cubicBezTo>
                  <a:pt x="5204" y="1582"/>
                  <a:pt x="5192" y="1604"/>
                  <a:pt x="5153" y="1604"/>
                </a:cubicBezTo>
                <a:cubicBezTo>
                  <a:pt x="5145" y="1604"/>
                  <a:pt x="5133" y="1604"/>
                  <a:pt x="5125" y="1600"/>
                </a:cubicBezTo>
                <a:cubicBezTo>
                  <a:pt x="5129" y="1572"/>
                  <a:pt x="5129" y="1572"/>
                  <a:pt x="5129" y="1572"/>
                </a:cubicBezTo>
                <a:cubicBezTo>
                  <a:pt x="5136" y="1574"/>
                  <a:pt x="5142" y="1575"/>
                  <a:pt x="5151" y="1575"/>
                </a:cubicBezTo>
                <a:cubicBezTo>
                  <a:pt x="5172" y="1575"/>
                  <a:pt x="5180" y="1563"/>
                  <a:pt x="5187" y="1544"/>
                </a:cubicBezTo>
                <a:cubicBezTo>
                  <a:pt x="5200" y="1508"/>
                  <a:pt x="5200" y="1508"/>
                  <a:pt x="5200" y="1508"/>
                </a:cubicBezTo>
                <a:cubicBezTo>
                  <a:pt x="5121" y="1317"/>
                  <a:pt x="5121" y="1317"/>
                  <a:pt x="5121" y="1317"/>
                </a:cubicBezTo>
                <a:cubicBezTo>
                  <a:pt x="5158" y="1317"/>
                  <a:pt x="5158" y="1317"/>
                  <a:pt x="5158" y="1317"/>
                </a:cubicBezTo>
                <a:cubicBezTo>
                  <a:pt x="5217" y="1466"/>
                  <a:pt x="5217" y="1466"/>
                  <a:pt x="5217" y="1466"/>
                </a:cubicBezTo>
                <a:cubicBezTo>
                  <a:pt x="5218" y="1466"/>
                  <a:pt x="5218" y="1466"/>
                  <a:pt x="5218" y="1466"/>
                </a:cubicBezTo>
                <a:lnTo>
                  <a:pt x="5274" y="1317"/>
                </a:lnTo>
                <a:close/>
                <a:moveTo>
                  <a:pt x="1701" y="1312"/>
                </a:moveTo>
                <a:cubicBezTo>
                  <a:pt x="1673" y="1312"/>
                  <a:pt x="1650" y="1324"/>
                  <a:pt x="1633" y="1344"/>
                </a:cubicBezTo>
                <a:cubicBezTo>
                  <a:pt x="1632" y="1344"/>
                  <a:pt x="1632" y="1344"/>
                  <a:pt x="1632" y="1344"/>
                </a:cubicBezTo>
                <a:cubicBezTo>
                  <a:pt x="1632" y="1200"/>
                  <a:pt x="1632" y="1200"/>
                  <a:pt x="1632" y="1200"/>
                </a:cubicBezTo>
                <a:cubicBezTo>
                  <a:pt x="1600" y="1200"/>
                  <a:pt x="1600" y="1200"/>
                  <a:pt x="1600" y="1200"/>
                </a:cubicBezTo>
                <a:cubicBezTo>
                  <a:pt x="1600" y="1507"/>
                  <a:pt x="1600" y="1507"/>
                  <a:pt x="1600" y="1507"/>
                </a:cubicBezTo>
                <a:cubicBezTo>
                  <a:pt x="1632" y="1507"/>
                  <a:pt x="1632" y="1507"/>
                  <a:pt x="1632" y="1507"/>
                </a:cubicBezTo>
                <a:cubicBezTo>
                  <a:pt x="1632" y="1473"/>
                  <a:pt x="1632" y="1473"/>
                  <a:pt x="1632" y="1473"/>
                </a:cubicBezTo>
                <a:cubicBezTo>
                  <a:pt x="1633" y="1473"/>
                  <a:pt x="1633" y="1473"/>
                  <a:pt x="1633" y="1473"/>
                </a:cubicBezTo>
                <a:cubicBezTo>
                  <a:pt x="1645" y="1495"/>
                  <a:pt x="1672" y="1512"/>
                  <a:pt x="1706" y="1512"/>
                </a:cubicBezTo>
                <a:cubicBezTo>
                  <a:pt x="1759" y="1512"/>
                  <a:pt x="1801" y="1469"/>
                  <a:pt x="1801" y="1412"/>
                </a:cubicBezTo>
                <a:cubicBezTo>
                  <a:pt x="1801" y="1354"/>
                  <a:pt x="1761" y="1312"/>
                  <a:pt x="1701" y="1312"/>
                </a:cubicBezTo>
                <a:close/>
                <a:moveTo>
                  <a:pt x="1699" y="1482"/>
                </a:moveTo>
                <a:cubicBezTo>
                  <a:pt x="1658" y="1482"/>
                  <a:pt x="1632" y="1452"/>
                  <a:pt x="1632" y="1412"/>
                </a:cubicBezTo>
                <a:cubicBezTo>
                  <a:pt x="1632" y="1372"/>
                  <a:pt x="1658" y="1341"/>
                  <a:pt x="1699" y="1341"/>
                </a:cubicBezTo>
                <a:cubicBezTo>
                  <a:pt x="1740" y="1341"/>
                  <a:pt x="1767" y="1372"/>
                  <a:pt x="1767" y="1412"/>
                </a:cubicBezTo>
                <a:cubicBezTo>
                  <a:pt x="1767" y="1452"/>
                  <a:pt x="1740" y="1482"/>
                  <a:pt x="1699" y="1482"/>
                </a:cubicBezTo>
                <a:close/>
                <a:moveTo>
                  <a:pt x="1933" y="1312"/>
                </a:moveTo>
                <a:cubicBezTo>
                  <a:pt x="1875" y="1312"/>
                  <a:pt x="1832" y="1352"/>
                  <a:pt x="1832" y="1412"/>
                </a:cubicBezTo>
                <a:cubicBezTo>
                  <a:pt x="1832" y="1471"/>
                  <a:pt x="1875" y="1512"/>
                  <a:pt x="1933" y="1512"/>
                </a:cubicBezTo>
                <a:cubicBezTo>
                  <a:pt x="1992" y="1512"/>
                  <a:pt x="2035" y="1471"/>
                  <a:pt x="2035" y="1412"/>
                </a:cubicBezTo>
                <a:cubicBezTo>
                  <a:pt x="2035" y="1352"/>
                  <a:pt x="1992" y="1312"/>
                  <a:pt x="1933" y="1312"/>
                </a:cubicBezTo>
                <a:close/>
                <a:moveTo>
                  <a:pt x="1933" y="1482"/>
                </a:moveTo>
                <a:cubicBezTo>
                  <a:pt x="1892" y="1482"/>
                  <a:pt x="1866" y="1452"/>
                  <a:pt x="1866" y="1412"/>
                </a:cubicBezTo>
                <a:cubicBezTo>
                  <a:pt x="1866" y="1372"/>
                  <a:pt x="1892" y="1341"/>
                  <a:pt x="1933" y="1341"/>
                </a:cubicBezTo>
                <a:cubicBezTo>
                  <a:pt x="1974" y="1341"/>
                  <a:pt x="2001" y="1372"/>
                  <a:pt x="2001" y="1412"/>
                </a:cubicBezTo>
                <a:cubicBezTo>
                  <a:pt x="2001" y="1452"/>
                  <a:pt x="1974" y="1482"/>
                  <a:pt x="1933" y="1482"/>
                </a:cubicBezTo>
                <a:close/>
                <a:moveTo>
                  <a:pt x="2238" y="1462"/>
                </a:moveTo>
                <a:cubicBezTo>
                  <a:pt x="2238" y="1479"/>
                  <a:pt x="2240" y="1494"/>
                  <a:pt x="2240" y="1507"/>
                </a:cubicBezTo>
                <a:cubicBezTo>
                  <a:pt x="2210" y="1507"/>
                  <a:pt x="2210" y="1507"/>
                  <a:pt x="2210" y="1507"/>
                </a:cubicBezTo>
                <a:cubicBezTo>
                  <a:pt x="2210" y="1497"/>
                  <a:pt x="2209" y="1486"/>
                  <a:pt x="2209" y="1476"/>
                </a:cubicBezTo>
                <a:cubicBezTo>
                  <a:pt x="2208" y="1476"/>
                  <a:pt x="2208" y="1476"/>
                  <a:pt x="2208" y="1476"/>
                </a:cubicBezTo>
                <a:cubicBezTo>
                  <a:pt x="2199" y="1494"/>
                  <a:pt x="2176" y="1512"/>
                  <a:pt x="2145" y="1512"/>
                </a:cubicBezTo>
                <a:cubicBezTo>
                  <a:pt x="2095" y="1512"/>
                  <a:pt x="2072" y="1480"/>
                  <a:pt x="2072" y="1434"/>
                </a:cubicBezTo>
                <a:cubicBezTo>
                  <a:pt x="2072" y="1317"/>
                  <a:pt x="2072" y="1317"/>
                  <a:pt x="2072" y="1317"/>
                </a:cubicBezTo>
                <a:cubicBezTo>
                  <a:pt x="2104" y="1317"/>
                  <a:pt x="2104" y="1317"/>
                  <a:pt x="2104" y="1317"/>
                </a:cubicBezTo>
                <a:cubicBezTo>
                  <a:pt x="2104" y="1431"/>
                  <a:pt x="2104" y="1431"/>
                  <a:pt x="2104" y="1431"/>
                </a:cubicBezTo>
                <a:cubicBezTo>
                  <a:pt x="2104" y="1463"/>
                  <a:pt x="2118" y="1482"/>
                  <a:pt x="2147" y="1482"/>
                </a:cubicBezTo>
                <a:cubicBezTo>
                  <a:pt x="2188" y="1482"/>
                  <a:pt x="2206" y="1453"/>
                  <a:pt x="2206" y="1409"/>
                </a:cubicBezTo>
                <a:cubicBezTo>
                  <a:pt x="2206" y="1317"/>
                  <a:pt x="2206" y="1317"/>
                  <a:pt x="2206" y="1317"/>
                </a:cubicBezTo>
                <a:cubicBezTo>
                  <a:pt x="2238" y="1317"/>
                  <a:pt x="2238" y="1317"/>
                  <a:pt x="2238" y="1317"/>
                </a:cubicBezTo>
                <a:lnTo>
                  <a:pt x="2238" y="1462"/>
                </a:lnTo>
                <a:close/>
                <a:moveTo>
                  <a:pt x="2632" y="1281"/>
                </a:moveTo>
                <a:cubicBezTo>
                  <a:pt x="2632" y="1317"/>
                  <a:pt x="2632" y="1317"/>
                  <a:pt x="2632" y="1317"/>
                </a:cubicBezTo>
                <a:cubicBezTo>
                  <a:pt x="2678" y="1317"/>
                  <a:pt x="2678" y="1317"/>
                  <a:pt x="2678" y="1317"/>
                </a:cubicBezTo>
                <a:cubicBezTo>
                  <a:pt x="2678" y="1343"/>
                  <a:pt x="2678" y="1343"/>
                  <a:pt x="2678" y="1343"/>
                </a:cubicBezTo>
                <a:cubicBezTo>
                  <a:pt x="2632" y="1343"/>
                  <a:pt x="2632" y="1343"/>
                  <a:pt x="2632" y="1343"/>
                </a:cubicBezTo>
                <a:cubicBezTo>
                  <a:pt x="2632" y="1507"/>
                  <a:pt x="2632" y="1507"/>
                  <a:pt x="2632" y="1507"/>
                </a:cubicBezTo>
                <a:cubicBezTo>
                  <a:pt x="2600" y="1507"/>
                  <a:pt x="2600" y="1507"/>
                  <a:pt x="2600" y="1507"/>
                </a:cubicBezTo>
                <a:cubicBezTo>
                  <a:pt x="2600" y="1343"/>
                  <a:pt x="2600" y="1343"/>
                  <a:pt x="2600" y="1343"/>
                </a:cubicBezTo>
                <a:cubicBezTo>
                  <a:pt x="2553" y="1343"/>
                  <a:pt x="2553" y="1343"/>
                  <a:pt x="2553" y="1343"/>
                </a:cubicBezTo>
                <a:cubicBezTo>
                  <a:pt x="2553" y="1343"/>
                  <a:pt x="2553" y="1343"/>
                  <a:pt x="2553" y="1343"/>
                </a:cubicBezTo>
                <a:cubicBezTo>
                  <a:pt x="2500" y="1507"/>
                  <a:pt x="2500" y="1507"/>
                  <a:pt x="2500" y="1507"/>
                </a:cubicBezTo>
                <a:cubicBezTo>
                  <a:pt x="2469" y="1507"/>
                  <a:pt x="2469" y="1507"/>
                  <a:pt x="2469" y="1507"/>
                </a:cubicBezTo>
                <a:cubicBezTo>
                  <a:pt x="2415" y="1361"/>
                  <a:pt x="2415" y="1361"/>
                  <a:pt x="2415" y="1361"/>
                </a:cubicBezTo>
                <a:cubicBezTo>
                  <a:pt x="2414" y="1361"/>
                  <a:pt x="2414" y="1361"/>
                  <a:pt x="2414" y="1361"/>
                </a:cubicBezTo>
                <a:cubicBezTo>
                  <a:pt x="2366" y="1507"/>
                  <a:pt x="2366" y="1507"/>
                  <a:pt x="2366" y="1507"/>
                </a:cubicBezTo>
                <a:cubicBezTo>
                  <a:pt x="2333" y="1507"/>
                  <a:pt x="2333" y="1507"/>
                  <a:pt x="2333" y="1507"/>
                </a:cubicBezTo>
                <a:cubicBezTo>
                  <a:pt x="2271" y="1317"/>
                  <a:pt x="2271" y="1317"/>
                  <a:pt x="2271" y="1317"/>
                </a:cubicBezTo>
                <a:cubicBezTo>
                  <a:pt x="2306" y="1317"/>
                  <a:pt x="2306" y="1317"/>
                  <a:pt x="2306" y="1317"/>
                </a:cubicBezTo>
                <a:cubicBezTo>
                  <a:pt x="2350" y="1463"/>
                  <a:pt x="2350" y="1463"/>
                  <a:pt x="2350" y="1463"/>
                </a:cubicBezTo>
                <a:cubicBezTo>
                  <a:pt x="2351" y="1463"/>
                  <a:pt x="2351" y="1463"/>
                  <a:pt x="2351" y="1463"/>
                </a:cubicBezTo>
                <a:cubicBezTo>
                  <a:pt x="2400" y="1317"/>
                  <a:pt x="2400" y="1317"/>
                  <a:pt x="2400" y="1317"/>
                </a:cubicBezTo>
                <a:cubicBezTo>
                  <a:pt x="2433" y="1317"/>
                  <a:pt x="2433" y="1317"/>
                  <a:pt x="2433" y="1317"/>
                </a:cubicBezTo>
                <a:cubicBezTo>
                  <a:pt x="2483" y="1463"/>
                  <a:pt x="2483" y="1463"/>
                  <a:pt x="2483" y="1463"/>
                </a:cubicBezTo>
                <a:cubicBezTo>
                  <a:pt x="2484" y="1463"/>
                  <a:pt x="2484" y="1463"/>
                  <a:pt x="2484" y="1463"/>
                </a:cubicBezTo>
                <a:cubicBezTo>
                  <a:pt x="2527" y="1317"/>
                  <a:pt x="2527" y="1317"/>
                  <a:pt x="2527" y="1317"/>
                </a:cubicBezTo>
                <a:cubicBezTo>
                  <a:pt x="2553" y="1317"/>
                  <a:pt x="2553" y="1317"/>
                  <a:pt x="2553" y="1317"/>
                </a:cubicBezTo>
                <a:cubicBezTo>
                  <a:pt x="2561" y="1317"/>
                  <a:pt x="2561" y="1317"/>
                  <a:pt x="2561" y="1317"/>
                </a:cubicBezTo>
                <a:cubicBezTo>
                  <a:pt x="2600" y="1317"/>
                  <a:pt x="2600" y="1317"/>
                  <a:pt x="2600" y="1317"/>
                </a:cubicBezTo>
                <a:cubicBezTo>
                  <a:pt x="2600" y="1274"/>
                  <a:pt x="2600" y="1274"/>
                  <a:pt x="2600" y="1274"/>
                </a:cubicBezTo>
                <a:cubicBezTo>
                  <a:pt x="2600" y="1228"/>
                  <a:pt x="2616" y="1195"/>
                  <a:pt x="2668" y="1195"/>
                </a:cubicBezTo>
                <a:cubicBezTo>
                  <a:pt x="2676" y="1195"/>
                  <a:pt x="2686" y="1196"/>
                  <a:pt x="2692" y="1200"/>
                </a:cubicBezTo>
                <a:cubicBezTo>
                  <a:pt x="2688" y="1228"/>
                  <a:pt x="2688" y="1228"/>
                  <a:pt x="2688" y="1228"/>
                </a:cubicBezTo>
                <a:cubicBezTo>
                  <a:pt x="2681" y="1226"/>
                  <a:pt x="2673" y="1224"/>
                  <a:pt x="2666" y="1224"/>
                </a:cubicBezTo>
                <a:cubicBezTo>
                  <a:pt x="2633" y="1224"/>
                  <a:pt x="2632" y="1248"/>
                  <a:pt x="2632" y="1281"/>
                </a:cubicBezTo>
                <a:close/>
                <a:moveTo>
                  <a:pt x="2791" y="1312"/>
                </a:moveTo>
                <a:cubicBezTo>
                  <a:pt x="2733" y="1312"/>
                  <a:pt x="2690" y="1352"/>
                  <a:pt x="2690" y="1412"/>
                </a:cubicBezTo>
                <a:cubicBezTo>
                  <a:pt x="2690" y="1471"/>
                  <a:pt x="2733" y="1512"/>
                  <a:pt x="2791" y="1512"/>
                </a:cubicBezTo>
                <a:cubicBezTo>
                  <a:pt x="2850" y="1512"/>
                  <a:pt x="2893" y="1471"/>
                  <a:pt x="2893" y="1412"/>
                </a:cubicBezTo>
                <a:cubicBezTo>
                  <a:pt x="2893" y="1352"/>
                  <a:pt x="2850" y="1312"/>
                  <a:pt x="2791" y="1312"/>
                </a:cubicBezTo>
                <a:close/>
                <a:moveTo>
                  <a:pt x="2791" y="1482"/>
                </a:moveTo>
                <a:cubicBezTo>
                  <a:pt x="2750" y="1482"/>
                  <a:pt x="2724" y="1452"/>
                  <a:pt x="2724" y="1412"/>
                </a:cubicBezTo>
                <a:cubicBezTo>
                  <a:pt x="2724" y="1372"/>
                  <a:pt x="2750" y="1341"/>
                  <a:pt x="2791" y="1341"/>
                </a:cubicBezTo>
                <a:cubicBezTo>
                  <a:pt x="2833" y="1341"/>
                  <a:pt x="2859" y="1372"/>
                  <a:pt x="2859" y="1412"/>
                </a:cubicBezTo>
                <a:cubicBezTo>
                  <a:pt x="2859" y="1452"/>
                  <a:pt x="2833" y="1482"/>
                  <a:pt x="2791" y="1482"/>
                </a:cubicBezTo>
                <a:close/>
                <a:moveTo>
                  <a:pt x="3097" y="1389"/>
                </a:moveTo>
                <a:cubicBezTo>
                  <a:pt x="3097" y="1507"/>
                  <a:pt x="3097" y="1507"/>
                  <a:pt x="3097" y="1507"/>
                </a:cubicBezTo>
                <a:cubicBezTo>
                  <a:pt x="3065" y="1507"/>
                  <a:pt x="3065" y="1507"/>
                  <a:pt x="3065" y="1507"/>
                </a:cubicBezTo>
                <a:cubicBezTo>
                  <a:pt x="3065" y="1393"/>
                  <a:pt x="3065" y="1393"/>
                  <a:pt x="3065" y="1393"/>
                </a:cubicBezTo>
                <a:cubicBezTo>
                  <a:pt x="3065" y="1361"/>
                  <a:pt x="3052" y="1341"/>
                  <a:pt x="3022" y="1341"/>
                </a:cubicBezTo>
                <a:cubicBezTo>
                  <a:pt x="2981" y="1341"/>
                  <a:pt x="2963" y="1371"/>
                  <a:pt x="2963" y="1414"/>
                </a:cubicBezTo>
                <a:cubicBezTo>
                  <a:pt x="2963" y="1507"/>
                  <a:pt x="2963" y="1507"/>
                  <a:pt x="2963" y="1507"/>
                </a:cubicBezTo>
                <a:cubicBezTo>
                  <a:pt x="2931" y="1507"/>
                  <a:pt x="2931" y="1507"/>
                  <a:pt x="2931" y="1507"/>
                </a:cubicBezTo>
                <a:cubicBezTo>
                  <a:pt x="2931" y="1362"/>
                  <a:pt x="2931" y="1362"/>
                  <a:pt x="2931" y="1362"/>
                </a:cubicBezTo>
                <a:cubicBezTo>
                  <a:pt x="2931" y="1344"/>
                  <a:pt x="2930" y="1329"/>
                  <a:pt x="2930" y="1317"/>
                </a:cubicBezTo>
                <a:cubicBezTo>
                  <a:pt x="2960" y="1317"/>
                  <a:pt x="2960" y="1317"/>
                  <a:pt x="2960" y="1317"/>
                </a:cubicBezTo>
                <a:cubicBezTo>
                  <a:pt x="2960" y="1327"/>
                  <a:pt x="2960" y="1337"/>
                  <a:pt x="2960" y="1348"/>
                </a:cubicBezTo>
                <a:cubicBezTo>
                  <a:pt x="2961" y="1348"/>
                  <a:pt x="2961" y="1348"/>
                  <a:pt x="2961" y="1348"/>
                </a:cubicBezTo>
                <a:cubicBezTo>
                  <a:pt x="2970" y="1329"/>
                  <a:pt x="2993" y="1312"/>
                  <a:pt x="3025" y="1312"/>
                </a:cubicBezTo>
                <a:cubicBezTo>
                  <a:pt x="3075" y="1312"/>
                  <a:pt x="3097" y="1343"/>
                  <a:pt x="3097" y="1389"/>
                </a:cubicBezTo>
                <a:close/>
                <a:moveTo>
                  <a:pt x="3307" y="1344"/>
                </a:moveTo>
                <a:cubicBezTo>
                  <a:pt x="3306" y="1344"/>
                  <a:pt x="3306" y="1344"/>
                  <a:pt x="3306" y="1344"/>
                </a:cubicBezTo>
                <a:cubicBezTo>
                  <a:pt x="3289" y="1324"/>
                  <a:pt x="3266" y="1312"/>
                  <a:pt x="3238" y="1312"/>
                </a:cubicBezTo>
                <a:cubicBezTo>
                  <a:pt x="3178" y="1312"/>
                  <a:pt x="3138" y="1354"/>
                  <a:pt x="3138" y="1412"/>
                </a:cubicBezTo>
                <a:cubicBezTo>
                  <a:pt x="3138" y="1469"/>
                  <a:pt x="3180" y="1512"/>
                  <a:pt x="3233" y="1512"/>
                </a:cubicBezTo>
                <a:cubicBezTo>
                  <a:pt x="3267" y="1512"/>
                  <a:pt x="3295" y="1495"/>
                  <a:pt x="3306" y="1473"/>
                </a:cubicBezTo>
                <a:cubicBezTo>
                  <a:pt x="3307" y="1473"/>
                  <a:pt x="3307" y="1473"/>
                  <a:pt x="3307" y="1473"/>
                </a:cubicBezTo>
                <a:cubicBezTo>
                  <a:pt x="3307" y="1507"/>
                  <a:pt x="3307" y="1507"/>
                  <a:pt x="3307" y="1507"/>
                </a:cubicBezTo>
                <a:cubicBezTo>
                  <a:pt x="3339" y="1507"/>
                  <a:pt x="3339" y="1507"/>
                  <a:pt x="3339" y="1507"/>
                </a:cubicBezTo>
                <a:cubicBezTo>
                  <a:pt x="3339" y="1200"/>
                  <a:pt x="3339" y="1200"/>
                  <a:pt x="3339" y="1200"/>
                </a:cubicBezTo>
                <a:cubicBezTo>
                  <a:pt x="3307" y="1200"/>
                  <a:pt x="3307" y="1200"/>
                  <a:pt x="3307" y="1200"/>
                </a:cubicBezTo>
                <a:lnTo>
                  <a:pt x="3307" y="1344"/>
                </a:lnTo>
                <a:close/>
                <a:moveTo>
                  <a:pt x="3240" y="1482"/>
                </a:moveTo>
                <a:cubicBezTo>
                  <a:pt x="3199" y="1482"/>
                  <a:pt x="3172" y="1452"/>
                  <a:pt x="3172" y="1412"/>
                </a:cubicBezTo>
                <a:cubicBezTo>
                  <a:pt x="3172" y="1372"/>
                  <a:pt x="3199" y="1341"/>
                  <a:pt x="3240" y="1341"/>
                </a:cubicBezTo>
                <a:cubicBezTo>
                  <a:pt x="3281" y="1341"/>
                  <a:pt x="3307" y="1372"/>
                  <a:pt x="3307" y="1412"/>
                </a:cubicBezTo>
                <a:cubicBezTo>
                  <a:pt x="3307" y="1452"/>
                  <a:pt x="3281" y="1482"/>
                  <a:pt x="3240" y="1482"/>
                </a:cubicBezTo>
                <a:close/>
                <a:moveTo>
                  <a:pt x="3530" y="1452"/>
                </a:moveTo>
                <a:cubicBezTo>
                  <a:pt x="3530" y="1495"/>
                  <a:pt x="3491" y="1512"/>
                  <a:pt x="3454" y="1512"/>
                </a:cubicBezTo>
                <a:cubicBezTo>
                  <a:pt x="3421" y="1512"/>
                  <a:pt x="3398" y="1503"/>
                  <a:pt x="3380" y="1476"/>
                </a:cubicBezTo>
                <a:cubicBezTo>
                  <a:pt x="3405" y="1457"/>
                  <a:pt x="3405" y="1457"/>
                  <a:pt x="3405" y="1457"/>
                </a:cubicBezTo>
                <a:cubicBezTo>
                  <a:pt x="3417" y="1472"/>
                  <a:pt x="3431" y="1482"/>
                  <a:pt x="3454" y="1482"/>
                </a:cubicBezTo>
                <a:cubicBezTo>
                  <a:pt x="3473" y="1482"/>
                  <a:pt x="3495" y="1474"/>
                  <a:pt x="3495" y="1453"/>
                </a:cubicBezTo>
                <a:cubicBezTo>
                  <a:pt x="3495" y="1433"/>
                  <a:pt x="3475" y="1428"/>
                  <a:pt x="3455" y="1423"/>
                </a:cubicBezTo>
                <a:cubicBezTo>
                  <a:pt x="3419" y="1415"/>
                  <a:pt x="3388" y="1407"/>
                  <a:pt x="3388" y="1368"/>
                </a:cubicBezTo>
                <a:cubicBezTo>
                  <a:pt x="3388" y="1331"/>
                  <a:pt x="3423" y="1312"/>
                  <a:pt x="3459" y="1312"/>
                </a:cubicBezTo>
                <a:cubicBezTo>
                  <a:pt x="3486" y="1312"/>
                  <a:pt x="3510" y="1322"/>
                  <a:pt x="3523" y="1346"/>
                </a:cubicBezTo>
                <a:cubicBezTo>
                  <a:pt x="3497" y="1364"/>
                  <a:pt x="3497" y="1364"/>
                  <a:pt x="3497" y="1364"/>
                </a:cubicBezTo>
                <a:cubicBezTo>
                  <a:pt x="3489" y="1350"/>
                  <a:pt x="3475" y="1341"/>
                  <a:pt x="3457" y="1341"/>
                </a:cubicBezTo>
                <a:cubicBezTo>
                  <a:pt x="3439" y="1341"/>
                  <a:pt x="3419" y="1350"/>
                  <a:pt x="3419" y="1367"/>
                </a:cubicBezTo>
                <a:cubicBezTo>
                  <a:pt x="3419" y="1383"/>
                  <a:pt x="3442" y="1390"/>
                  <a:pt x="3467" y="1395"/>
                </a:cubicBezTo>
                <a:cubicBezTo>
                  <a:pt x="3501" y="1402"/>
                  <a:pt x="3530" y="1414"/>
                  <a:pt x="3530" y="1452"/>
                </a:cubicBezTo>
                <a:close/>
                <a:moveTo>
                  <a:pt x="814" y="0"/>
                </a:moveTo>
                <a:cubicBezTo>
                  <a:pt x="404" y="0"/>
                  <a:pt x="404" y="0"/>
                  <a:pt x="404" y="0"/>
                </a:cubicBezTo>
                <a:cubicBezTo>
                  <a:pt x="0" y="403"/>
                  <a:pt x="0" y="403"/>
                  <a:pt x="0" y="403"/>
                </a:cubicBezTo>
                <a:cubicBezTo>
                  <a:pt x="193" y="596"/>
                  <a:pt x="193" y="596"/>
                  <a:pt x="193" y="596"/>
                </a:cubicBezTo>
                <a:cubicBezTo>
                  <a:pt x="0" y="789"/>
                  <a:pt x="0" y="789"/>
                  <a:pt x="0" y="789"/>
                </a:cubicBezTo>
                <a:cubicBezTo>
                  <a:pt x="411" y="1200"/>
                  <a:pt x="411" y="1200"/>
                  <a:pt x="411" y="1200"/>
                </a:cubicBezTo>
                <a:cubicBezTo>
                  <a:pt x="604" y="1007"/>
                  <a:pt x="604" y="1007"/>
                  <a:pt x="604" y="1007"/>
                </a:cubicBezTo>
                <a:cubicBezTo>
                  <a:pt x="797" y="1200"/>
                  <a:pt x="797" y="1200"/>
                  <a:pt x="797" y="1200"/>
                </a:cubicBezTo>
                <a:cubicBezTo>
                  <a:pt x="1200" y="796"/>
                  <a:pt x="1200" y="796"/>
                  <a:pt x="1200" y="796"/>
                </a:cubicBezTo>
                <a:cubicBezTo>
                  <a:pt x="1200" y="386"/>
                  <a:pt x="1200" y="386"/>
                  <a:pt x="1200" y="386"/>
                </a:cubicBezTo>
                <a:cubicBezTo>
                  <a:pt x="814" y="386"/>
                  <a:pt x="814" y="386"/>
                  <a:pt x="814" y="386"/>
                </a:cubicBezTo>
                <a:lnTo>
                  <a:pt x="814" y="0"/>
                </a:lnTo>
                <a:close/>
                <a:moveTo>
                  <a:pt x="50" y="403"/>
                </a:moveTo>
                <a:cubicBezTo>
                  <a:pt x="418" y="35"/>
                  <a:pt x="418" y="35"/>
                  <a:pt x="418" y="35"/>
                </a:cubicBezTo>
                <a:cubicBezTo>
                  <a:pt x="779" y="35"/>
                  <a:pt x="779" y="35"/>
                  <a:pt x="779" y="35"/>
                </a:cubicBezTo>
                <a:cubicBezTo>
                  <a:pt x="779" y="386"/>
                  <a:pt x="779" y="386"/>
                  <a:pt x="779" y="386"/>
                </a:cubicBezTo>
                <a:cubicBezTo>
                  <a:pt x="404" y="386"/>
                  <a:pt x="404" y="386"/>
                  <a:pt x="404" y="386"/>
                </a:cubicBezTo>
                <a:cubicBezTo>
                  <a:pt x="218" y="571"/>
                  <a:pt x="218" y="571"/>
                  <a:pt x="218" y="571"/>
                </a:cubicBezTo>
                <a:lnTo>
                  <a:pt x="50" y="403"/>
                </a:lnTo>
                <a:close/>
                <a:moveTo>
                  <a:pt x="755" y="420"/>
                </a:moveTo>
                <a:cubicBezTo>
                  <a:pt x="411" y="764"/>
                  <a:pt x="411" y="764"/>
                  <a:pt x="411" y="764"/>
                </a:cubicBezTo>
                <a:cubicBezTo>
                  <a:pt x="242" y="596"/>
                  <a:pt x="242" y="596"/>
                  <a:pt x="242" y="596"/>
                </a:cubicBezTo>
                <a:cubicBezTo>
                  <a:pt x="418" y="420"/>
                  <a:pt x="418" y="420"/>
                  <a:pt x="418" y="420"/>
                </a:cubicBezTo>
                <a:lnTo>
                  <a:pt x="755" y="420"/>
                </a:lnTo>
                <a:close/>
                <a:moveTo>
                  <a:pt x="411" y="1150"/>
                </a:moveTo>
                <a:cubicBezTo>
                  <a:pt x="49" y="789"/>
                  <a:pt x="49" y="789"/>
                  <a:pt x="49" y="789"/>
                </a:cubicBezTo>
                <a:cubicBezTo>
                  <a:pt x="218" y="621"/>
                  <a:pt x="218" y="621"/>
                  <a:pt x="218" y="621"/>
                </a:cubicBezTo>
                <a:cubicBezTo>
                  <a:pt x="579" y="982"/>
                  <a:pt x="579" y="982"/>
                  <a:pt x="579" y="982"/>
                </a:cubicBezTo>
                <a:lnTo>
                  <a:pt x="411" y="1150"/>
                </a:lnTo>
                <a:close/>
                <a:moveTo>
                  <a:pt x="435" y="789"/>
                </a:moveTo>
                <a:cubicBezTo>
                  <a:pt x="779" y="445"/>
                  <a:pt x="779" y="445"/>
                  <a:pt x="779" y="445"/>
                </a:cubicBezTo>
                <a:cubicBezTo>
                  <a:pt x="779" y="782"/>
                  <a:pt x="779" y="782"/>
                  <a:pt x="779" y="782"/>
                </a:cubicBezTo>
                <a:cubicBezTo>
                  <a:pt x="604" y="957"/>
                  <a:pt x="604" y="957"/>
                  <a:pt x="604" y="957"/>
                </a:cubicBezTo>
                <a:lnTo>
                  <a:pt x="435" y="789"/>
                </a:lnTo>
                <a:close/>
                <a:moveTo>
                  <a:pt x="1165" y="420"/>
                </a:moveTo>
                <a:cubicBezTo>
                  <a:pt x="1165" y="782"/>
                  <a:pt x="1165" y="782"/>
                  <a:pt x="1165" y="782"/>
                </a:cubicBezTo>
                <a:cubicBezTo>
                  <a:pt x="797" y="1150"/>
                  <a:pt x="797" y="1150"/>
                  <a:pt x="797" y="1150"/>
                </a:cubicBezTo>
                <a:cubicBezTo>
                  <a:pt x="628" y="982"/>
                  <a:pt x="628" y="982"/>
                  <a:pt x="628" y="982"/>
                </a:cubicBezTo>
                <a:cubicBezTo>
                  <a:pt x="814" y="796"/>
                  <a:pt x="814" y="796"/>
                  <a:pt x="814" y="796"/>
                </a:cubicBezTo>
                <a:cubicBezTo>
                  <a:pt x="814" y="420"/>
                  <a:pt x="814" y="420"/>
                  <a:pt x="814" y="420"/>
                </a:cubicBezTo>
                <a:lnTo>
                  <a:pt x="1165" y="4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lgn="l" defTabSz="1088937" rtl="0" eaLnBrk="1" latinLnBrk="0" hangingPunct="1">
              <a:lnSpc>
                <a:spcPct val="114000"/>
              </a:lnSpc>
              <a:spcBef>
                <a:spcPts val="0"/>
              </a:spcBef>
              <a:buFont typeface="Arial" pitchFamily="34" charset="0"/>
              <a:buNone/>
              <a:defRPr/>
            </a:lvl1pPr>
          </a:lstStyle>
          <a:p>
            <a:r>
              <a:rPr lang="nl-NL" dirty="0"/>
              <a:t> </a:t>
            </a:r>
          </a:p>
        </p:txBody>
      </p:sp>
      <p:sp>
        <p:nvSpPr>
          <p:cNvPr id="3" name="***Tijdelijke aanduiding voor tekst 2"/>
          <p:cNvSpPr>
            <a:spLocks noGrp="1" noSelect="1"/>
          </p:cNvSpPr>
          <p:nvPr>
            <p:ph type="body" sz="quarter" idx="14" hasCustomPrompt="1"/>
          </p:nvPr>
        </p:nvSpPr>
        <p:spPr bwMode="gray">
          <a:xfrm>
            <a:off x="638426" y="729135"/>
            <a:ext cx="3348000" cy="3815989"/>
          </a:xfrm>
        </p:spPr>
        <p:txBody>
          <a:bodyPr>
            <a:noAutofit/>
          </a:bodyPr>
          <a:lstStyle>
            <a:lvl1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1pPr>
            <a:lvl2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2pPr>
            <a:lvl3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3pPr>
            <a:lvl4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4pPr>
            <a:lvl5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5pPr>
            <a:lvl6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6pPr>
            <a:lvl7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7pPr>
            <a:lvl8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8pPr>
            <a:lvl9pPr marL="0" indent="0">
              <a:lnSpc>
                <a:spcPct val="105000"/>
              </a:lnSpc>
              <a:spcBef>
                <a:spcPts val="0"/>
              </a:spcBef>
              <a:spcAft>
                <a:spcPts val="0"/>
              </a:spcAft>
              <a:buNone/>
              <a:defRPr sz="3000" b="0">
                <a:solidFill>
                  <a:schemeClr val="bg1"/>
                </a:solidFill>
                <a:latin typeface="Univers" panose="020B0603020202030204" pitchFamily="34" charset="0"/>
              </a:defRPr>
            </a:lvl9pPr>
          </a:lstStyle>
          <a:p>
            <a:pPr lvl="0"/>
            <a:r>
              <a:rPr lang="nl-NL" dirty="0"/>
              <a:t>[Hier is ruimte voor een kop of hoofdstuktitel die over maximaal 8 regels loopt. </a:t>
            </a:r>
            <a:r>
              <a:rPr lang="nl-NL" dirty="0" err="1"/>
              <a:t>Etum</a:t>
            </a:r>
            <a:r>
              <a:rPr lang="nl-NL" dirty="0"/>
              <a:t> as </a:t>
            </a:r>
            <a:r>
              <a:rPr lang="nl-NL" dirty="0" err="1"/>
              <a:t>aniet</a:t>
            </a:r>
            <a:r>
              <a:rPr lang="nl-NL" dirty="0"/>
              <a:t> </a:t>
            </a:r>
            <a:r>
              <a:rPr lang="nl-NL" dirty="0" err="1"/>
              <a:t>postrum</a:t>
            </a:r>
            <a:r>
              <a:rPr lang="nl-NL" dirty="0"/>
              <a:t> </a:t>
            </a:r>
            <a:r>
              <a:rPr lang="nl-NL" dirty="0" err="1"/>
              <a:t>coribus</a:t>
            </a:r>
            <a:r>
              <a:rPr lang="nl-NL" dirty="0"/>
              <a:t> </a:t>
            </a:r>
            <a:r>
              <a:rPr lang="nl-NL" dirty="0" err="1"/>
              <a:t>idis</a:t>
            </a:r>
            <a:r>
              <a:rPr lang="nl-NL" dirty="0"/>
              <a:t> &gt; lijnt links en boven.]</a:t>
            </a:r>
          </a:p>
        </p:txBody>
      </p:sp>
      <p:sp>
        <p:nvSpPr>
          <p:cNvPr id="11" name="witdriehoek">
            <a:extLst>
              <a:ext uri="{FF2B5EF4-FFF2-40B4-BE49-F238E27FC236}">
                <a16:creationId xmlns:a16="http://schemas.microsoft.com/office/drawing/2014/main" id="{58EEE4CF-B8FF-4BF2-B3EE-1E8B0B1FC050}"/>
              </a:ext>
            </a:extLst>
          </p:cNvPr>
          <p:cNvSpPr>
            <a:spLocks noSelect="1"/>
          </p:cNvSpPr>
          <p:nvPr userDrawn="1"/>
        </p:nvSpPr>
        <p:spPr bwMode="auto">
          <a:xfrm>
            <a:off x="4384675" y="6156326"/>
            <a:ext cx="1395413" cy="696913"/>
          </a:xfrm>
          <a:custGeom>
            <a:avLst/>
            <a:gdLst>
              <a:gd name="T0" fmla="*/ 879 w 879"/>
              <a:gd name="T1" fmla="*/ 439 h 439"/>
              <a:gd name="T2" fmla="*/ 0 w 879"/>
              <a:gd name="T3" fmla="*/ 439 h 439"/>
              <a:gd name="T4" fmla="*/ 439 w 879"/>
              <a:gd name="T5" fmla="*/ 0 h 439"/>
              <a:gd name="T6" fmla="*/ 879 w 879"/>
              <a:gd name="T7" fmla="*/ 439 h 439"/>
            </a:gdLst>
            <a:ahLst/>
            <a:cxnLst>
              <a:cxn ang="0">
                <a:pos x="T0" y="T1"/>
              </a:cxn>
              <a:cxn ang="0">
                <a:pos x="T2" y="T3"/>
              </a:cxn>
              <a:cxn ang="0">
                <a:pos x="T4" y="T5"/>
              </a:cxn>
              <a:cxn ang="0">
                <a:pos x="T6" y="T7"/>
              </a:cxn>
            </a:cxnLst>
            <a:rect l="0" t="0" r="r" b="b"/>
            <a:pathLst>
              <a:path w="879" h="439">
                <a:moveTo>
                  <a:pt x="879" y="439"/>
                </a:moveTo>
                <a:lnTo>
                  <a:pt x="0" y="439"/>
                </a:lnTo>
                <a:lnTo>
                  <a:pt x="439" y="0"/>
                </a:lnTo>
                <a:lnTo>
                  <a:pt x="879"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x-none" dirty="0"/>
          </a:p>
        </p:txBody>
      </p:sp>
      <p:sp>
        <p:nvSpPr>
          <p:cNvPr id="12" name="kleurdriehoek">
            <a:extLst>
              <a:ext uri="{FF2B5EF4-FFF2-40B4-BE49-F238E27FC236}">
                <a16:creationId xmlns:a16="http://schemas.microsoft.com/office/drawing/2014/main" id="{59435DD0-AED7-4ED9-B7EC-3E5B5F008249}"/>
              </a:ext>
            </a:extLst>
          </p:cNvPr>
          <p:cNvSpPr>
            <a:spLocks noSelect="1"/>
          </p:cNvSpPr>
          <p:nvPr userDrawn="1"/>
        </p:nvSpPr>
        <p:spPr bwMode="auto">
          <a:xfrm>
            <a:off x="4384675" y="5459413"/>
            <a:ext cx="696913" cy="1393825"/>
          </a:xfrm>
          <a:custGeom>
            <a:avLst/>
            <a:gdLst>
              <a:gd name="T0" fmla="*/ 0 w 439"/>
              <a:gd name="T1" fmla="*/ 878 h 878"/>
              <a:gd name="T2" fmla="*/ 0 w 439"/>
              <a:gd name="T3" fmla="*/ 0 h 878"/>
              <a:gd name="T4" fmla="*/ 439 w 439"/>
              <a:gd name="T5" fmla="*/ 439 h 878"/>
              <a:gd name="T6" fmla="*/ 0 w 439"/>
              <a:gd name="T7" fmla="*/ 878 h 878"/>
            </a:gdLst>
            <a:ahLst/>
            <a:cxnLst>
              <a:cxn ang="0">
                <a:pos x="T0" y="T1"/>
              </a:cxn>
              <a:cxn ang="0">
                <a:pos x="T2" y="T3"/>
              </a:cxn>
              <a:cxn ang="0">
                <a:pos x="T4" y="T5"/>
              </a:cxn>
              <a:cxn ang="0">
                <a:pos x="T6" y="T7"/>
              </a:cxn>
            </a:cxnLst>
            <a:rect l="0" t="0" r="r" b="b"/>
            <a:pathLst>
              <a:path w="439" h="878">
                <a:moveTo>
                  <a:pt x="0" y="878"/>
                </a:moveTo>
                <a:lnTo>
                  <a:pt x="0" y="0"/>
                </a:lnTo>
                <a:lnTo>
                  <a:pt x="439" y="439"/>
                </a:lnTo>
                <a:lnTo>
                  <a:pt x="0" y="878"/>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x-none" dirty="0"/>
          </a:p>
        </p:txBody>
      </p:sp>
    </p:spTree>
    <p:extLst>
      <p:ext uri="{BB962C8B-B14F-4D97-AF65-F5344CB8AC3E}">
        <p14:creationId xmlns:p14="http://schemas.microsoft.com/office/powerpoint/2010/main" val="19606152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5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00" fill="hold"/>
                                        <p:tgtEl>
                                          <p:spTgt spid="8"/>
                                        </p:tgtEl>
                                        <p:attrNameLst>
                                          <p:attrName>ppt_x</p:attrName>
                                        </p:attrNameLst>
                                      </p:cBhvr>
                                      <p:tavLst>
                                        <p:tav tm="0">
                                          <p:val>
                                            <p:strVal val="1+#ppt_w/2"/>
                                          </p:val>
                                        </p:tav>
                                        <p:tav tm="100000">
                                          <p:val>
                                            <p:strVal val="#ppt_x"/>
                                          </p:val>
                                        </p:tav>
                                      </p:tavLst>
                                    </p:anim>
                                    <p:anim calcmode="lin" valueType="num">
                                      <p:cBhvr additive="base">
                                        <p:cTn id="8" dur="7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decel="50000" fill="hold" grpId="0" nodeType="withEffect">
                                  <p:stCondLst>
                                    <p:cond delay="0"/>
                                  </p:stCondLst>
                                  <p:childTnLst>
                                    <p:set>
                                      <p:cBhvr>
                                        <p:cTn id="10" dur="1" fill="hold">
                                          <p:stCondLst>
                                            <p:cond delay="0"/>
                                          </p:stCondLst>
                                        </p:cTn>
                                        <p:tgtEl>
                                          <p:spTgt spid="7">
                                            <p:bg/>
                                          </p:spTgt>
                                        </p:tgtEl>
                                        <p:attrNameLst>
                                          <p:attrName>style.visibility</p:attrName>
                                        </p:attrNameLst>
                                      </p:cBhvr>
                                      <p:to>
                                        <p:strVal val="visible"/>
                                      </p:to>
                                    </p:set>
                                    <p:anim calcmode="lin" valueType="num">
                                      <p:cBhvr additive="base">
                                        <p:cTn id="11" dur="700" fill="hold"/>
                                        <p:tgtEl>
                                          <p:spTgt spid="7">
                                            <p:bg/>
                                          </p:spTgt>
                                        </p:tgtEl>
                                        <p:attrNameLst>
                                          <p:attrName>ppt_x</p:attrName>
                                        </p:attrNameLst>
                                      </p:cBhvr>
                                      <p:tavLst>
                                        <p:tav tm="0">
                                          <p:val>
                                            <p:strVal val="0-#ppt_w/2"/>
                                          </p:val>
                                        </p:tav>
                                        <p:tav tm="100000">
                                          <p:val>
                                            <p:strVal val="#ppt_x"/>
                                          </p:val>
                                        </p:tav>
                                      </p:tavLst>
                                    </p:anim>
                                    <p:anim calcmode="lin" valueType="num">
                                      <p:cBhvr additive="base">
                                        <p:cTn id="12" dur="700" fill="hold"/>
                                        <p:tgtEl>
                                          <p:spTgt spid="7">
                                            <p:bg/>
                                          </p:spTgt>
                                        </p:tgtEl>
                                        <p:attrNameLst>
                                          <p:attrName>ppt_y</p:attrName>
                                        </p:attrNameLst>
                                      </p:cBhvr>
                                      <p:tavLst>
                                        <p:tav tm="0">
                                          <p:val>
                                            <p:strVal val="#ppt_y"/>
                                          </p:val>
                                        </p:tav>
                                        <p:tav tm="100000">
                                          <p:val>
                                            <p:strVal val="#ppt_y"/>
                                          </p:val>
                                        </p:tav>
                                      </p:tavLst>
                                    </p:anim>
                                  </p:childTnLst>
                                </p:cTn>
                              </p:par>
                              <p:par>
                                <p:cTn id="13" presetID="2" presetClass="entr" presetSubtype="8" decel="50000" fill="hold" grpId="0" nodeType="withEffect">
                                  <p:stCondLst>
                                    <p:cond delay="0"/>
                                  </p:stCondLst>
                                  <p:childTnLst>
                                    <p:set>
                                      <p:cBhvr>
                                        <p:cTn id="14" dur="1" fill="hold">
                                          <p:stCondLst>
                                            <p:cond delay="0"/>
                                          </p:stCondLst>
                                        </p:cTn>
                                        <p:tgtEl>
                                          <p:spTgt spid="7">
                                            <p:txEl>
                                              <p:pRg st="0" end="0"/>
                                            </p:txEl>
                                          </p:spTgt>
                                        </p:tgtEl>
                                        <p:attrNameLst>
                                          <p:attrName>style.visibility</p:attrName>
                                        </p:attrNameLst>
                                      </p:cBhvr>
                                      <p:to>
                                        <p:strVal val="visible"/>
                                      </p:to>
                                    </p:set>
                                    <p:anim calcmode="lin" valueType="num">
                                      <p:cBhvr additive="base">
                                        <p:cTn id="15" dur="7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16" dur="700" fill="hold"/>
                                        <p:tgtEl>
                                          <p:spTgt spid="7">
                                            <p:txEl>
                                              <p:pRg st="0" end="0"/>
                                            </p:txEl>
                                          </p:spTgt>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60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200"/>
                                        <p:tgtEl>
                                          <p:spTgt spid="9"/>
                                        </p:tgtEl>
                                      </p:cBhvr>
                                    </p:animEffect>
                                  </p:childTnLst>
                                </p:cTn>
                              </p:par>
                              <p:par>
                                <p:cTn id="20" presetID="10" presetClass="entr" presetSubtype="0" fill="hold" grpId="0" nodeType="withEffect">
                                  <p:stCondLst>
                                    <p:cond delay="60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200"/>
                                        <p:tgtEl>
                                          <p:spTgt spid="10"/>
                                        </p:tgtEl>
                                      </p:cBhvr>
                                    </p:animEffect>
                                  </p:childTnLst>
                                </p:cTn>
                              </p:par>
                            </p:childTnLst>
                          </p:cTn>
                        </p:par>
                        <p:par>
                          <p:cTn id="23" fill="hold">
                            <p:stCondLst>
                              <p:cond delay="800"/>
                            </p:stCondLst>
                            <p:childTnLst>
                              <p:par>
                                <p:cTn id="24" presetID="1" presetClass="entr" presetSubtype="0" fill="hold" grpId="0" nodeType="afterEffect">
                                  <p:stCondLst>
                                    <p:cond delay="0"/>
                                  </p:stCondLst>
                                  <p:childTnLst>
                                    <p:set>
                                      <p:cBhvr>
                                        <p:cTn id="25"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animBg="1">
        <p:tmplLst>
          <p:tmpl>
            <p:tnLst>
              <p:par>
                <p:cTn presetID="2" presetClass="entr" presetSubtype="8" decel="50000" fill="hold" nodeType="withEffect">
                  <p:stCondLst>
                    <p:cond delay="0"/>
                  </p:stCondLst>
                  <p:childTnLst>
                    <p:set>
                      <p:cBhvr>
                        <p:cTn dur="1" fill="hold">
                          <p:stCondLst>
                            <p:cond delay="0"/>
                          </p:stCondLst>
                        </p:cTn>
                        <p:tgtEl>
                          <p:spTgt spid="7"/>
                        </p:tgtEl>
                        <p:attrNameLst>
                          <p:attrName>style.visibility</p:attrName>
                        </p:attrNameLst>
                      </p:cBhvr>
                      <p:to>
                        <p:strVal val="visible"/>
                      </p:to>
                    </p:set>
                    <p:anim calcmode="lin" valueType="num">
                      <p:cBhvr additive="base">
                        <p:cTn dur="700" fill="hold"/>
                        <p:tgtEl>
                          <p:spTgt spid="7"/>
                        </p:tgtEl>
                        <p:attrNameLst>
                          <p:attrName>ppt_x</p:attrName>
                        </p:attrNameLst>
                      </p:cBhvr>
                      <p:tavLst>
                        <p:tav tm="0">
                          <p:val>
                            <p:strVal val="0-#ppt_w/2"/>
                          </p:val>
                        </p:tav>
                        <p:tav tm="100000">
                          <p:val>
                            <p:strVal val="#ppt_x"/>
                          </p:val>
                        </p:tav>
                      </p:tavLst>
                    </p:anim>
                    <p:anim calcmode="lin" valueType="num">
                      <p:cBhvr additive="base">
                        <p:cTn dur="700" fill="hold"/>
                        <p:tgtEl>
                          <p:spTgt spid="7"/>
                        </p:tgtEl>
                        <p:attrNameLst>
                          <p:attrName>ppt_y</p:attrName>
                        </p:attrNameLst>
                      </p:cBhvr>
                      <p:tavLst>
                        <p:tav tm="0">
                          <p:val>
                            <p:strVal val="#ppt_y"/>
                          </p:val>
                        </p:tav>
                        <p:tav tm="100000">
                          <p:val>
                            <p:strVal val="#ppt_y"/>
                          </p:val>
                        </p:tav>
                      </p:tavLst>
                    </p:anim>
                  </p:childTnLst>
                </p:cTn>
              </p:par>
            </p:tnLst>
          </p:tmpl>
          <p:tmpl lvl="1">
            <p:tnLst>
              <p:par>
                <p:cTn presetID="2" presetClass="entr" presetSubtype="8" decel="50000" fill="hold" nodeType="withEffect">
                  <p:stCondLst>
                    <p:cond delay="0"/>
                  </p:stCondLst>
                  <p:childTnLst>
                    <p:set>
                      <p:cBhvr>
                        <p:cTn dur="1" fill="hold">
                          <p:stCondLst>
                            <p:cond delay="0"/>
                          </p:stCondLst>
                        </p:cTn>
                        <p:tgtEl>
                          <p:spTgt spid="7"/>
                        </p:tgtEl>
                        <p:attrNameLst>
                          <p:attrName>style.visibility</p:attrName>
                        </p:attrNameLst>
                      </p:cBhvr>
                      <p:to>
                        <p:strVal val="visible"/>
                      </p:to>
                    </p:set>
                    <p:anim calcmode="lin" valueType="num">
                      <p:cBhvr additive="base">
                        <p:cTn dur="700" fill="hold"/>
                        <p:tgtEl>
                          <p:spTgt spid="7"/>
                        </p:tgtEl>
                        <p:attrNameLst>
                          <p:attrName>ppt_x</p:attrName>
                        </p:attrNameLst>
                      </p:cBhvr>
                      <p:tavLst>
                        <p:tav tm="0">
                          <p:val>
                            <p:strVal val="0-#ppt_w/2"/>
                          </p:val>
                        </p:tav>
                        <p:tav tm="100000">
                          <p:val>
                            <p:strVal val="#ppt_x"/>
                          </p:val>
                        </p:tav>
                      </p:tavLst>
                    </p:anim>
                    <p:anim calcmode="lin" valueType="num">
                      <p:cBhvr additive="base">
                        <p:cTn dur="700" fill="hold"/>
                        <p:tgtEl>
                          <p:spTgt spid="7"/>
                        </p:tgtEl>
                        <p:attrNameLst>
                          <p:attrName>ppt_y</p:attrName>
                        </p:attrNameLst>
                      </p:cBhvr>
                      <p:tavLst>
                        <p:tav tm="0">
                          <p:val>
                            <p:strVal val="#ppt_y"/>
                          </p:val>
                        </p:tav>
                        <p:tav tm="100000">
                          <p:val>
                            <p:strVal val="#ppt_y"/>
                          </p:val>
                        </p:tav>
                      </p:tavLst>
                    </p:anim>
                  </p:childTnLst>
                </p:cTn>
              </p:par>
            </p:tnLst>
          </p:tmpl>
        </p:tmplLst>
      </p:bldP>
      <p:bldP spid="8" grpId="0" animBg="1"/>
      <p:bldP spid="9" grpId="0" animBg="1">
        <p:tmplLst>
          <p:tmpl>
            <p:tnLst>
              <p:par>
                <p:cTn presetID="10" presetClass="entr" presetSubtype="0" fill="hold" nodeType="withEffect">
                  <p:stCondLst>
                    <p:cond delay="600"/>
                  </p:stCondLst>
                  <p:childTnLst>
                    <p:set>
                      <p:cBhvr>
                        <p:cTn dur="1" fill="hold">
                          <p:stCondLst>
                            <p:cond delay="0"/>
                          </p:stCondLst>
                        </p:cTn>
                        <p:tgtEl>
                          <p:spTgt spid="9"/>
                        </p:tgtEl>
                        <p:attrNameLst>
                          <p:attrName>style.visibility</p:attrName>
                        </p:attrNameLst>
                      </p:cBhvr>
                      <p:to>
                        <p:strVal val="visible"/>
                      </p:to>
                    </p:set>
                    <p:animEffect transition="in" filter="fade">
                      <p:cBhvr>
                        <p:cTn dur="200"/>
                        <p:tgtEl>
                          <p:spTgt spid="9"/>
                        </p:tgtEl>
                      </p:cBhvr>
                    </p:animEffect>
                  </p:childTnLst>
                </p:cTn>
              </p:par>
            </p:tnLst>
          </p:tmpl>
        </p:tmplLst>
      </p:bldP>
      <p:bldP spid="10" grpId="0" animBg="1">
        <p:tmplLst>
          <p:tmpl>
            <p:tnLst>
              <p:par>
                <p:cTn presetID="10" presetClass="entr" presetSubtype="0" fill="hold" nodeType="withEffect">
                  <p:stCondLst>
                    <p:cond delay="600"/>
                  </p:stCondLst>
                  <p:childTnLst>
                    <p:set>
                      <p:cBhvr>
                        <p:cTn dur="1" fill="hold">
                          <p:stCondLst>
                            <p:cond delay="0"/>
                          </p:stCondLst>
                        </p:cTn>
                        <p:tgtEl>
                          <p:spTgt spid="10"/>
                        </p:tgtEl>
                        <p:attrNameLst>
                          <p:attrName>style.visibility</p:attrName>
                        </p:attrNameLst>
                      </p:cBhvr>
                      <p:to>
                        <p:strVal val="visible"/>
                      </p:to>
                    </p:set>
                    <p:animEffect transition="in" filter="fade">
                      <p:cBhvr>
                        <p:cTn dur="200"/>
                        <p:tgtEl>
                          <p:spTgt spid="10"/>
                        </p:tgtEl>
                      </p:cBhvr>
                    </p:animEffect>
                  </p:childTnLst>
                </p:cTn>
              </p:par>
            </p:tnLst>
          </p:tmpl>
        </p:tmplLst>
      </p:bldP>
      <p:bldP spid="12" grpId="0" animBg="1"/>
    </p:bld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Hoofdstukdia (rood)">
    <p:bg>
      <p:bgPr>
        <a:solidFill>
          <a:schemeClr val="bg1"/>
        </a:solidFill>
        <a:effectLst/>
      </p:bgPr>
    </p:bg>
    <p:spTree>
      <p:nvGrpSpPr>
        <p:cNvPr id="1" name=""/>
        <p:cNvGrpSpPr/>
        <p:nvPr/>
      </p:nvGrpSpPr>
      <p:grpSpPr>
        <a:xfrm>
          <a:off x="0" y="0"/>
          <a:ext cx="0" cy="0"/>
          <a:chOff x="0" y="0"/>
          <a:chExt cx="0" cy="0"/>
        </a:xfrm>
      </p:grpSpPr>
      <p:sp>
        <p:nvSpPr>
          <p:cNvPr id="10" name="Tijdelijke aanduiding voor tekst 9">
            <a:extLst>
              <a:ext uri="{FF2B5EF4-FFF2-40B4-BE49-F238E27FC236}">
                <a16:creationId xmlns:a16="http://schemas.microsoft.com/office/drawing/2014/main" id="{D4237D0C-6A65-43B0-9664-D5C08664B193}"/>
              </a:ext>
            </a:extLst>
          </p:cNvPr>
          <p:cNvSpPr>
            <a:spLocks noGrp="1" noSelect="1"/>
          </p:cNvSpPr>
          <p:nvPr>
            <p:ph type="body" idx="1000" hasCustomPrompt="1"/>
            <p:custDataLst>
              <p:custData r:id="rId1"/>
            </p:custDataLst>
          </p:nvPr>
        </p:nvSpPr>
        <p:spPr bwMode="gray">
          <a:xfrm>
            <a:off x="0" y="0"/>
            <a:ext cx="5780088" cy="6857999"/>
          </a:xfrm>
          <a:custGeom>
            <a:avLst/>
            <a:gdLst>
              <a:gd name="connsiteX0" fmla="*/ 0 w 5780088"/>
              <a:gd name="connsiteY0" fmla="*/ 0 h 6851650"/>
              <a:gd name="connsiteX1" fmla="*/ 4383088 w 5780088"/>
              <a:gd name="connsiteY1" fmla="*/ 0 h 6851650"/>
              <a:gd name="connsiteX2" fmla="*/ 5780088 w 5780088"/>
              <a:gd name="connsiteY2" fmla="*/ 0 h 6851650"/>
              <a:gd name="connsiteX3" fmla="*/ 5780088 w 5780088"/>
              <a:gd name="connsiteY3" fmla="*/ 5456238 h 6851650"/>
              <a:gd name="connsiteX4" fmla="*/ 5081588 w 5780088"/>
              <a:gd name="connsiteY4" fmla="*/ 6154738 h 6851650"/>
              <a:gd name="connsiteX5" fmla="*/ 5081588 w 5780088"/>
              <a:gd name="connsiteY5" fmla="*/ 6154738 h 6851650"/>
              <a:gd name="connsiteX6" fmla="*/ 4383088 w 5780088"/>
              <a:gd name="connsiteY6" fmla="*/ 6851650 h 6851650"/>
              <a:gd name="connsiteX7" fmla="*/ 0 w 5780088"/>
              <a:gd name="connsiteY7" fmla="*/ 6851650 h 685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80088" h="6851650">
                <a:moveTo>
                  <a:pt x="0" y="0"/>
                </a:moveTo>
                <a:lnTo>
                  <a:pt x="4383088" y="0"/>
                </a:lnTo>
                <a:lnTo>
                  <a:pt x="5780088" y="0"/>
                </a:lnTo>
                <a:lnTo>
                  <a:pt x="5780088" y="5456238"/>
                </a:lnTo>
                <a:lnTo>
                  <a:pt x="5081588" y="6154738"/>
                </a:lnTo>
                <a:lnTo>
                  <a:pt x="5081588" y="6154738"/>
                </a:lnTo>
                <a:lnTo>
                  <a:pt x="4383088" y="6851650"/>
                </a:lnTo>
                <a:lnTo>
                  <a:pt x="0" y="6851650"/>
                </a:lnTo>
                <a:close/>
              </a:path>
            </a:pathLst>
          </a:custGeom>
          <a:solidFill>
            <a:srgbClr val="C73735"/>
          </a:solidFill>
          <a:ln>
            <a:noFill/>
          </a:ln>
        </p:spPr>
        <p:txBody>
          <a:bodyPr vert="horz" wrap="square" lIns="91440" tIns="45720" rIns="91440" bIns="45720" numCol="1" anchor="t" anchorCtr="0" compatLnSpc="1">
            <a:prstTxWarp prst="textNoShape">
              <a:avLst/>
            </a:prstTxWarp>
            <a:noAutofit/>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12" name="Tijdelijke aanduiding voor afbeelding 17">
            <a:extLst>
              <a:ext uri="{FF2B5EF4-FFF2-40B4-BE49-F238E27FC236}">
                <a16:creationId xmlns:a16="http://schemas.microsoft.com/office/drawing/2014/main" id="{CCEA4C94-9671-4803-ADEE-73024B5AC58D}"/>
              </a:ext>
            </a:extLst>
          </p:cNvPr>
          <p:cNvSpPr>
            <a:spLocks noGrp="1" noSelect="1"/>
          </p:cNvSpPr>
          <p:nvPr>
            <p:ph type="pic" idx="13" hasCustomPrompt="1"/>
          </p:nvPr>
        </p:nvSpPr>
        <p:spPr bwMode="gray">
          <a:xfrm>
            <a:off x="4383176" y="0"/>
            <a:ext cx="7812000" cy="6857999"/>
          </a:xfrm>
          <a:custGeom>
            <a:avLst/>
            <a:gdLst>
              <a:gd name="connsiteX0" fmla="*/ 0 w 7812000"/>
              <a:gd name="connsiteY0" fmla="*/ 0 h 6851520"/>
              <a:gd name="connsiteX1" fmla="*/ 7812000 w 7812000"/>
              <a:gd name="connsiteY1" fmla="*/ 0 h 6851520"/>
              <a:gd name="connsiteX2" fmla="*/ 7812000 w 7812000"/>
              <a:gd name="connsiteY2" fmla="*/ 6851520 h 6851520"/>
              <a:gd name="connsiteX3" fmla="*/ 1396847 w 7812000"/>
              <a:gd name="connsiteY3" fmla="*/ 6851520 h 6851520"/>
              <a:gd name="connsiteX4" fmla="*/ 698413 w 7812000"/>
              <a:gd name="connsiteY4" fmla="*/ 6154673 h 6851520"/>
              <a:gd name="connsiteX5" fmla="*/ 698412 w 7812000"/>
              <a:gd name="connsiteY5" fmla="*/ 6154673 h 6851520"/>
              <a:gd name="connsiteX6" fmla="*/ 0 w 7812000"/>
              <a:gd name="connsiteY6" fmla="*/ 5456261 h 6851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12000" h="6851520">
                <a:moveTo>
                  <a:pt x="0" y="0"/>
                </a:moveTo>
                <a:lnTo>
                  <a:pt x="7812000" y="0"/>
                </a:lnTo>
                <a:lnTo>
                  <a:pt x="7812000" y="6851520"/>
                </a:lnTo>
                <a:lnTo>
                  <a:pt x="1396847" y="6851520"/>
                </a:lnTo>
                <a:lnTo>
                  <a:pt x="698413" y="6154673"/>
                </a:lnTo>
                <a:lnTo>
                  <a:pt x="698412" y="6154673"/>
                </a:lnTo>
                <a:lnTo>
                  <a:pt x="0" y="5456261"/>
                </a:lnTo>
                <a:close/>
              </a:path>
            </a:pathLst>
          </a:custGeom>
          <a:blipFill>
            <a:blip r:embed="rId6"/>
            <a:stretch>
              <a:fillRect/>
            </a:stretch>
          </a:blipFill>
        </p:spPr>
        <p:txBody>
          <a:bodyPr wrap="square">
            <a:noAutofit/>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13" name="Logo (PHJU)">
            <a:extLst>
              <a:ext uri="{FF2B5EF4-FFF2-40B4-BE49-F238E27FC236}">
                <a16:creationId xmlns:a16="http://schemas.microsoft.com/office/drawing/2014/main" id="{86FE5542-5787-4DBC-AD23-6C2E6214DE2A}"/>
              </a:ext>
            </a:extLst>
          </p:cNvPr>
          <p:cNvSpPr>
            <a:spLocks noGrp="1" noSelect="1"/>
          </p:cNvSpPr>
          <p:nvPr userDrawn="1">
            <p:ph type="body" idx="1002" hasCustomPrompt="1"/>
            <p:custDataLst>
              <p:custData r:id="rId2"/>
            </p:custDataLst>
          </p:nvPr>
        </p:nvSpPr>
        <p:spPr bwMode="gray">
          <a:xfrm>
            <a:off x="638175" y="6030913"/>
            <a:ext cx="2481263" cy="508000"/>
          </a:xfrm>
          <a:custGeom>
            <a:avLst/>
            <a:gdLst>
              <a:gd name="T0" fmla="*/ 1692 w 7817"/>
              <a:gd name="T1" fmla="*/ 0 h 1604"/>
              <a:gd name="T2" fmla="*/ 1692 w 7817"/>
              <a:gd name="T3" fmla="*/ 525 h 1604"/>
              <a:gd name="T4" fmla="*/ 2362 w 7817"/>
              <a:gd name="T5" fmla="*/ 330 h 1604"/>
              <a:gd name="T6" fmla="*/ 2557 w 7817"/>
              <a:gd name="T7" fmla="*/ 729 h 1604"/>
              <a:gd name="T8" fmla="*/ 3512 w 7817"/>
              <a:gd name="T9" fmla="*/ 0 h 1604"/>
              <a:gd name="T10" fmla="*/ 3421 w 7817"/>
              <a:gd name="T11" fmla="*/ 525 h 1604"/>
              <a:gd name="T12" fmla="*/ 5552 w 7817"/>
              <a:gd name="T13" fmla="*/ 1512 h 1604"/>
              <a:gd name="T14" fmla="*/ 5558 w 7817"/>
              <a:gd name="T15" fmla="*/ 1482 h 1604"/>
              <a:gd name="T16" fmla="*/ 5876 w 7817"/>
              <a:gd name="T17" fmla="*/ 1472 h 1604"/>
              <a:gd name="T18" fmla="*/ 5792 w 7817"/>
              <a:gd name="T19" fmla="*/ 1341 h 1604"/>
              <a:gd name="T20" fmla="*/ 5942 w 7817"/>
              <a:gd name="T21" fmla="*/ 1317 h 1604"/>
              <a:gd name="T22" fmla="*/ 6271 w 7817"/>
              <a:gd name="T23" fmla="*/ 1454 h 1604"/>
              <a:gd name="T24" fmla="*/ 6267 w 7817"/>
              <a:gd name="T25" fmla="*/ 1395 h 1604"/>
              <a:gd name="T26" fmla="*/ 6433 w 7817"/>
              <a:gd name="T27" fmla="*/ 1412 h 1604"/>
              <a:gd name="T28" fmla="*/ 6534 w 7817"/>
              <a:gd name="T29" fmla="*/ 1482 h 1604"/>
              <a:gd name="T30" fmla="*/ 6713 w 7817"/>
              <a:gd name="T31" fmla="*/ 1473 h 1604"/>
              <a:gd name="T32" fmla="*/ 6847 w 7817"/>
              <a:gd name="T33" fmla="*/ 1412 h 1604"/>
              <a:gd name="T34" fmla="*/ 7086 w 7817"/>
              <a:gd name="T35" fmla="*/ 1507 h 1604"/>
              <a:gd name="T36" fmla="*/ 6925 w 7817"/>
              <a:gd name="T37" fmla="*/ 1317 h 1604"/>
              <a:gd name="T38" fmla="*/ 7356 w 7817"/>
              <a:gd name="T39" fmla="*/ 1312 h 1604"/>
              <a:gd name="T40" fmla="*/ 7446 w 7817"/>
              <a:gd name="T41" fmla="*/ 1411 h 1604"/>
              <a:gd name="T42" fmla="*/ 7625 w 7817"/>
              <a:gd name="T43" fmla="*/ 1507 h 1604"/>
              <a:gd name="T44" fmla="*/ 7519 w 7817"/>
              <a:gd name="T45" fmla="*/ 1317 h 1604"/>
              <a:gd name="T46" fmla="*/ 7728 w 7817"/>
              <a:gd name="T47" fmla="*/ 1343 h 1604"/>
              <a:gd name="T48" fmla="*/ 7815 w 7817"/>
              <a:gd name="T49" fmla="*/ 1343 h 1604"/>
              <a:gd name="T50" fmla="*/ 3773 w 7817"/>
              <a:gd name="T51" fmla="*/ 1344 h 1604"/>
              <a:gd name="T52" fmla="*/ 3942 w 7817"/>
              <a:gd name="T53" fmla="*/ 1412 h 1604"/>
              <a:gd name="T54" fmla="*/ 4091 w 7817"/>
              <a:gd name="T55" fmla="*/ 1314 h 1604"/>
              <a:gd name="T56" fmla="*/ 4013 w 7817"/>
              <a:gd name="T57" fmla="*/ 1317 h 1604"/>
              <a:gd name="T58" fmla="*/ 4206 w 7817"/>
              <a:gd name="T59" fmla="*/ 1312 h 1604"/>
              <a:gd name="T60" fmla="*/ 4384 w 7817"/>
              <a:gd name="T61" fmla="*/ 1344 h 1604"/>
              <a:gd name="T62" fmla="*/ 4553 w 7817"/>
              <a:gd name="T63" fmla="*/ 1412 h 1604"/>
              <a:gd name="T64" fmla="*/ 4588 w 7817"/>
              <a:gd name="T65" fmla="*/ 1412 h 1604"/>
              <a:gd name="T66" fmla="*/ 4686 w 7817"/>
              <a:gd name="T67" fmla="*/ 1312 h 1604"/>
              <a:gd name="T68" fmla="*/ 4916 w 7817"/>
              <a:gd name="T69" fmla="*/ 1343 h 1604"/>
              <a:gd name="T70" fmla="*/ 4858 w 7817"/>
              <a:gd name="T71" fmla="*/ 1348 h 1604"/>
              <a:gd name="T72" fmla="*/ 4963 w 7817"/>
              <a:gd name="T73" fmla="*/ 1317 h 1604"/>
              <a:gd name="T74" fmla="*/ 5036 w 7817"/>
              <a:gd name="T75" fmla="*/ 1439 h 1604"/>
              <a:gd name="T76" fmla="*/ 5129 w 7817"/>
              <a:gd name="T77" fmla="*/ 1572 h 1604"/>
              <a:gd name="T78" fmla="*/ 5274 w 7817"/>
              <a:gd name="T79" fmla="*/ 1317 h 1604"/>
              <a:gd name="T80" fmla="*/ 1632 w 7817"/>
              <a:gd name="T81" fmla="*/ 1473 h 1604"/>
              <a:gd name="T82" fmla="*/ 1767 w 7817"/>
              <a:gd name="T83" fmla="*/ 1412 h 1604"/>
              <a:gd name="T84" fmla="*/ 1866 w 7817"/>
              <a:gd name="T85" fmla="*/ 1412 h 1604"/>
              <a:gd name="T86" fmla="*/ 2208 w 7817"/>
              <a:gd name="T87" fmla="*/ 1476 h 1604"/>
              <a:gd name="T88" fmla="*/ 2206 w 7817"/>
              <a:gd name="T89" fmla="*/ 1317 h 1604"/>
              <a:gd name="T90" fmla="*/ 2632 w 7817"/>
              <a:gd name="T91" fmla="*/ 1507 h 1604"/>
              <a:gd name="T92" fmla="*/ 2414 w 7817"/>
              <a:gd name="T93" fmla="*/ 1361 h 1604"/>
              <a:gd name="T94" fmla="*/ 2433 w 7817"/>
              <a:gd name="T95" fmla="*/ 1317 h 1604"/>
              <a:gd name="T96" fmla="*/ 2668 w 7817"/>
              <a:gd name="T97" fmla="*/ 1195 h 1604"/>
              <a:gd name="T98" fmla="*/ 2893 w 7817"/>
              <a:gd name="T99" fmla="*/ 1412 h 1604"/>
              <a:gd name="T100" fmla="*/ 3097 w 7817"/>
              <a:gd name="T101" fmla="*/ 1507 h 1604"/>
              <a:gd name="T102" fmla="*/ 2930 w 7817"/>
              <a:gd name="T103" fmla="*/ 1317 h 1604"/>
              <a:gd name="T104" fmla="*/ 3238 w 7817"/>
              <a:gd name="T105" fmla="*/ 1312 h 1604"/>
              <a:gd name="T106" fmla="*/ 3307 w 7817"/>
              <a:gd name="T107" fmla="*/ 1200 h 1604"/>
              <a:gd name="T108" fmla="*/ 3454 w 7817"/>
              <a:gd name="T109" fmla="*/ 1512 h 1604"/>
              <a:gd name="T110" fmla="*/ 3523 w 7817"/>
              <a:gd name="T111" fmla="*/ 1346 h 1604"/>
              <a:gd name="T112" fmla="*/ 0 w 7817"/>
              <a:gd name="T113" fmla="*/ 403 h 1604"/>
              <a:gd name="T114" fmla="*/ 814 w 7817"/>
              <a:gd name="T115" fmla="*/ 386 h 1604"/>
              <a:gd name="T116" fmla="*/ 50 w 7817"/>
              <a:gd name="T117" fmla="*/ 403 h 1604"/>
              <a:gd name="T118" fmla="*/ 218 w 7817"/>
              <a:gd name="T119" fmla="*/ 621 h 1604"/>
              <a:gd name="T120" fmla="*/ 1165 w 7817"/>
              <a:gd name="T121" fmla="*/ 42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17" h="1604">
                <a:moveTo>
                  <a:pt x="1692" y="702"/>
                </a:moveTo>
                <a:cubicBezTo>
                  <a:pt x="1694" y="702"/>
                  <a:pt x="1694" y="702"/>
                  <a:pt x="1694" y="702"/>
                </a:cubicBezTo>
                <a:cubicBezTo>
                  <a:pt x="1728" y="764"/>
                  <a:pt x="1807" y="814"/>
                  <a:pt x="1905" y="814"/>
                </a:cubicBezTo>
                <a:cubicBezTo>
                  <a:pt x="2059" y="814"/>
                  <a:pt x="2180" y="689"/>
                  <a:pt x="2180" y="525"/>
                </a:cubicBezTo>
                <a:cubicBezTo>
                  <a:pt x="2180" y="358"/>
                  <a:pt x="2064" y="236"/>
                  <a:pt x="1891" y="236"/>
                </a:cubicBezTo>
                <a:cubicBezTo>
                  <a:pt x="1812" y="236"/>
                  <a:pt x="1745" y="271"/>
                  <a:pt x="1694" y="330"/>
                </a:cubicBezTo>
                <a:cubicBezTo>
                  <a:pt x="1692" y="330"/>
                  <a:pt x="1692" y="330"/>
                  <a:pt x="1692" y="330"/>
                </a:cubicBezTo>
                <a:cubicBezTo>
                  <a:pt x="1692" y="0"/>
                  <a:pt x="1692" y="0"/>
                  <a:pt x="1692" y="0"/>
                </a:cubicBezTo>
                <a:cubicBezTo>
                  <a:pt x="1600" y="0"/>
                  <a:pt x="1600" y="0"/>
                  <a:pt x="1600" y="0"/>
                </a:cubicBezTo>
                <a:cubicBezTo>
                  <a:pt x="1600" y="799"/>
                  <a:pt x="1600" y="799"/>
                  <a:pt x="1600" y="799"/>
                </a:cubicBezTo>
                <a:cubicBezTo>
                  <a:pt x="1692" y="799"/>
                  <a:pt x="1692" y="799"/>
                  <a:pt x="1692" y="799"/>
                </a:cubicBezTo>
                <a:lnTo>
                  <a:pt x="1692" y="702"/>
                </a:lnTo>
                <a:close/>
                <a:moveTo>
                  <a:pt x="1887" y="320"/>
                </a:moveTo>
                <a:cubicBezTo>
                  <a:pt x="2005" y="320"/>
                  <a:pt x="2082" y="410"/>
                  <a:pt x="2082" y="525"/>
                </a:cubicBezTo>
                <a:cubicBezTo>
                  <a:pt x="2082" y="640"/>
                  <a:pt x="2005" y="729"/>
                  <a:pt x="1887" y="729"/>
                </a:cubicBezTo>
                <a:cubicBezTo>
                  <a:pt x="1768" y="729"/>
                  <a:pt x="1692" y="640"/>
                  <a:pt x="1692" y="525"/>
                </a:cubicBezTo>
                <a:cubicBezTo>
                  <a:pt x="1692" y="410"/>
                  <a:pt x="1768" y="320"/>
                  <a:pt x="1887" y="320"/>
                </a:cubicBezTo>
                <a:close/>
                <a:moveTo>
                  <a:pt x="2362" y="702"/>
                </a:moveTo>
                <a:cubicBezTo>
                  <a:pt x="2365" y="702"/>
                  <a:pt x="2365" y="702"/>
                  <a:pt x="2365" y="702"/>
                </a:cubicBezTo>
                <a:cubicBezTo>
                  <a:pt x="2399" y="764"/>
                  <a:pt x="2477" y="814"/>
                  <a:pt x="2576" y="814"/>
                </a:cubicBezTo>
                <a:cubicBezTo>
                  <a:pt x="2730" y="814"/>
                  <a:pt x="2851" y="689"/>
                  <a:pt x="2851" y="525"/>
                </a:cubicBezTo>
                <a:cubicBezTo>
                  <a:pt x="2851" y="358"/>
                  <a:pt x="2735" y="236"/>
                  <a:pt x="2562" y="236"/>
                </a:cubicBezTo>
                <a:cubicBezTo>
                  <a:pt x="2482" y="236"/>
                  <a:pt x="2415" y="271"/>
                  <a:pt x="2365" y="330"/>
                </a:cubicBezTo>
                <a:cubicBezTo>
                  <a:pt x="2362" y="330"/>
                  <a:pt x="2362" y="330"/>
                  <a:pt x="2362" y="330"/>
                </a:cubicBezTo>
                <a:cubicBezTo>
                  <a:pt x="2362" y="250"/>
                  <a:pt x="2362" y="250"/>
                  <a:pt x="2362" y="250"/>
                </a:cubicBezTo>
                <a:cubicBezTo>
                  <a:pt x="2271" y="250"/>
                  <a:pt x="2271" y="250"/>
                  <a:pt x="2271" y="250"/>
                </a:cubicBezTo>
                <a:cubicBezTo>
                  <a:pt x="2271" y="1057"/>
                  <a:pt x="2271" y="1057"/>
                  <a:pt x="2271" y="1057"/>
                </a:cubicBezTo>
                <a:cubicBezTo>
                  <a:pt x="2362" y="1057"/>
                  <a:pt x="2362" y="1057"/>
                  <a:pt x="2362" y="1057"/>
                </a:cubicBezTo>
                <a:lnTo>
                  <a:pt x="2362" y="702"/>
                </a:lnTo>
                <a:close/>
                <a:moveTo>
                  <a:pt x="2557" y="320"/>
                </a:moveTo>
                <a:cubicBezTo>
                  <a:pt x="2676" y="320"/>
                  <a:pt x="2752" y="410"/>
                  <a:pt x="2752" y="525"/>
                </a:cubicBezTo>
                <a:cubicBezTo>
                  <a:pt x="2752" y="640"/>
                  <a:pt x="2676" y="729"/>
                  <a:pt x="2557" y="729"/>
                </a:cubicBezTo>
                <a:cubicBezTo>
                  <a:pt x="2439" y="729"/>
                  <a:pt x="2362" y="640"/>
                  <a:pt x="2362" y="525"/>
                </a:cubicBezTo>
                <a:cubicBezTo>
                  <a:pt x="2362" y="410"/>
                  <a:pt x="2439" y="320"/>
                  <a:pt x="2557" y="320"/>
                </a:cubicBezTo>
                <a:close/>
                <a:moveTo>
                  <a:pt x="3207" y="814"/>
                </a:moveTo>
                <a:cubicBezTo>
                  <a:pt x="3306" y="814"/>
                  <a:pt x="3385" y="764"/>
                  <a:pt x="3419" y="702"/>
                </a:cubicBezTo>
                <a:cubicBezTo>
                  <a:pt x="3421" y="702"/>
                  <a:pt x="3421" y="702"/>
                  <a:pt x="3421" y="702"/>
                </a:cubicBezTo>
                <a:cubicBezTo>
                  <a:pt x="3421" y="799"/>
                  <a:pt x="3421" y="799"/>
                  <a:pt x="3421" y="799"/>
                </a:cubicBezTo>
                <a:cubicBezTo>
                  <a:pt x="3512" y="799"/>
                  <a:pt x="3512" y="799"/>
                  <a:pt x="3512" y="799"/>
                </a:cubicBezTo>
                <a:cubicBezTo>
                  <a:pt x="3512" y="0"/>
                  <a:pt x="3512" y="0"/>
                  <a:pt x="3512" y="0"/>
                </a:cubicBezTo>
                <a:cubicBezTo>
                  <a:pt x="3421" y="0"/>
                  <a:pt x="3421" y="0"/>
                  <a:pt x="3421" y="0"/>
                </a:cubicBezTo>
                <a:cubicBezTo>
                  <a:pt x="3421" y="330"/>
                  <a:pt x="3421" y="330"/>
                  <a:pt x="3421" y="330"/>
                </a:cubicBezTo>
                <a:cubicBezTo>
                  <a:pt x="3419" y="330"/>
                  <a:pt x="3419" y="330"/>
                  <a:pt x="3419" y="330"/>
                </a:cubicBezTo>
                <a:cubicBezTo>
                  <a:pt x="3368" y="271"/>
                  <a:pt x="3301" y="236"/>
                  <a:pt x="3221" y="236"/>
                </a:cubicBezTo>
                <a:cubicBezTo>
                  <a:pt x="3049" y="236"/>
                  <a:pt x="2933" y="358"/>
                  <a:pt x="2933" y="525"/>
                </a:cubicBezTo>
                <a:cubicBezTo>
                  <a:pt x="2933" y="689"/>
                  <a:pt x="3054" y="814"/>
                  <a:pt x="3207" y="814"/>
                </a:cubicBezTo>
                <a:close/>
                <a:moveTo>
                  <a:pt x="3226" y="320"/>
                </a:moveTo>
                <a:cubicBezTo>
                  <a:pt x="3345" y="320"/>
                  <a:pt x="3421" y="410"/>
                  <a:pt x="3421" y="525"/>
                </a:cubicBezTo>
                <a:cubicBezTo>
                  <a:pt x="3421" y="640"/>
                  <a:pt x="3345" y="729"/>
                  <a:pt x="3226" y="729"/>
                </a:cubicBezTo>
                <a:cubicBezTo>
                  <a:pt x="3107" y="729"/>
                  <a:pt x="3031" y="640"/>
                  <a:pt x="3031" y="525"/>
                </a:cubicBezTo>
                <a:cubicBezTo>
                  <a:pt x="3031" y="410"/>
                  <a:pt x="3107" y="320"/>
                  <a:pt x="3226" y="320"/>
                </a:cubicBezTo>
                <a:close/>
                <a:moveTo>
                  <a:pt x="5626" y="1344"/>
                </a:moveTo>
                <a:cubicBezTo>
                  <a:pt x="5625" y="1344"/>
                  <a:pt x="5625" y="1344"/>
                  <a:pt x="5625" y="1344"/>
                </a:cubicBezTo>
                <a:cubicBezTo>
                  <a:pt x="5607" y="1324"/>
                  <a:pt x="5584" y="1312"/>
                  <a:pt x="5557" y="1312"/>
                </a:cubicBezTo>
                <a:cubicBezTo>
                  <a:pt x="5497" y="1312"/>
                  <a:pt x="5457" y="1354"/>
                  <a:pt x="5457" y="1412"/>
                </a:cubicBezTo>
                <a:cubicBezTo>
                  <a:pt x="5457" y="1469"/>
                  <a:pt x="5498" y="1512"/>
                  <a:pt x="5552" y="1512"/>
                </a:cubicBezTo>
                <a:cubicBezTo>
                  <a:pt x="5586" y="1512"/>
                  <a:pt x="5613" y="1495"/>
                  <a:pt x="5625" y="1473"/>
                </a:cubicBezTo>
                <a:cubicBezTo>
                  <a:pt x="5626" y="1473"/>
                  <a:pt x="5626" y="1473"/>
                  <a:pt x="5626" y="1473"/>
                </a:cubicBezTo>
                <a:cubicBezTo>
                  <a:pt x="5626" y="1507"/>
                  <a:pt x="5626" y="1507"/>
                  <a:pt x="5626" y="1507"/>
                </a:cubicBezTo>
                <a:cubicBezTo>
                  <a:pt x="5657" y="1507"/>
                  <a:pt x="5657" y="1507"/>
                  <a:pt x="5657" y="1507"/>
                </a:cubicBezTo>
                <a:cubicBezTo>
                  <a:pt x="5657" y="1200"/>
                  <a:pt x="5657" y="1200"/>
                  <a:pt x="5657" y="1200"/>
                </a:cubicBezTo>
                <a:cubicBezTo>
                  <a:pt x="5626" y="1200"/>
                  <a:pt x="5626" y="1200"/>
                  <a:pt x="5626" y="1200"/>
                </a:cubicBezTo>
                <a:lnTo>
                  <a:pt x="5626" y="1344"/>
                </a:lnTo>
                <a:close/>
                <a:moveTo>
                  <a:pt x="5558" y="1482"/>
                </a:moveTo>
                <a:cubicBezTo>
                  <a:pt x="5517" y="1482"/>
                  <a:pt x="5491" y="1452"/>
                  <a:pt x="5491" y="1412"/>
                </a:cubicBezTo>
                <a:cubicBezTo>
                  <a:pt x="5491" y="1372"/>
                  <a:pt x="5517" y="1341"/>
                  <a:pt x="5558" y="1341"/>
                </a:cubicBezTo>
                <a:cubicBezTo>
                  <a:pt x="5599" y="1341"/>
                  <a:pt x="5626" y="1372"/>
                  <a:pt x="5626" y="1412"/>
                </a:cubicBezTo>
                <a:cubicBezTo>
                  <a:pt x="5626" y="1452"/>
                  <a:pt x="5599" y="1482"/>
                  <a:pt x="5558" y="1482"/>
                </a:cubicBezTo>
                <a:close/>
                <a:moveTo>
                  <a:pt x="5793" y="1312"/>
                </a:moveTo>
                <a:cubicBezTo>
                  <a:pt x="5737" y="1312"/>
                  <a:pt x="5695" y="1353"/>
                  <a:pt x="5695" y="1412"/>
                </a:cubicBezTo>
                <a:cubicBezTo>
                  <a:pt x="5695" y="1467"/>
                  <a:pt x="5732" y="1512"/>
                  <a:pt x="5792" y="1512"/>
                </a:cubicBezTo>
                <a:cubicBezTo>
                  <a:pt x="5827" y="1512"/>
                  <a:pt x="5854" y="1501"/>
                  <a:pt x="5876" y="1472"/>
                </a:cubicBezTo>
                <a:cubicBezTo>
                  <a:pt x="5852" y="1454"/>
                  <a:pt x="5852" y="1454"/>
                  <a:pt x="5852" y="1454"/>
                </a:cubicBezTo>
                <a:cubicBezTo>
                  <a:pt x="5837" y="1473"/>
                  <a:pt x="5819" y="1482"/>
                  <a:pt x="5792" y="1482"/>
                </a:cubicBezTo>
                <a:cubicBezTo>
                  <a:pt x="5757" y="1482"/>
                  <a:pt x="5732" y="1454"/>
                  <a:pt x="5729" y="1421"/>
                </a:cubicBezTo>
                <a:cubicBezTo>
                  <a:pt x="5883" y="1421"/>
                  <a:pt x="5883" y="1421"/>
                  <a:pt x="5883" y="1421"/>
                </a:cubicBezTo>
                <a:cubicBezTo>
                  <a:pt x="5883" y="1411"/>
                  <a:pt x="5883" y="1411"/>
                  <a:pt x="5883" y="1411"/>
                </a:cubicBezTo>
                <a:cubicBezTo>
                  <a:pt x="5883" y="1348"/>
                  <a:pt x="5846" y="1312"/>
                  <a:pt x="5793" y="1312"/>
                </a:cubicBezTo>
                <a:close/>
                <a:moveTo>
                  <a:pt x="5729" y="1395"/>
                </a:moveTo>
                <a:cubicBezTo>
                  <a:pt x="5733" y="1363"/>
                  <a:pt x="5757" y="1341"/>
                  <a:pt x="5792" y="1341"/>
                </a:cubicBezTo>
                <a:cubicBezTo>
                  <a:pt x="5827" y="1341"/>
                  <a:pt x="5848" y="1363"/>
                  <a:pt x="5849" y="1395"/>
                </a:cubicBezTo>
                <a:lnTo>
                  <a:pt x="5729" y="1395"/>
                </a:lnTo>
                <a:close/>
                <a:moveTo>
                  <a:pt x="6059" y="1317"/>
                </a:moveTo>
                <a:cubicBezTo>
                  <a:pt x="6093" y="1317"/>
                  <a:pt x="6093" y="1317"/>
                  <a:pt x="6093" y="1317"/>
                </a:cubicBezTo>
                <a:cubicBezTo>
                  <a:pt x="6018" y="1507"/>
                  <a:pt x="6018" y="1507"/>
                  <a:pt x="6018" y="1507"/>
                </a:cubicBezTo>
                <a:cubicBezTo>
                  <a:pt x="5983" y="1507"/>
                  <a:pt x="5983" y="1507"/>
                  <a:pt x="5983" y="1507"/>
                </a:cubicBezTo>
                <a:cubicBezTo>
                  <a:pt x="5905" y="1317"/>
                  <a:pt x="5905" y="1317"/>
                  <a:pt x="5905" y="1317"/>
                </a:cubicBezTo>
                <a:cubicBezTo>
                  <a:pt x="5942" y="1317"/>
                  <a:pt x="5942" y="1317"/>
                  <a:pt x="5942" y="1317"/>
                </a:cubicBezTo>
                <a:cubicBezTo>
                  <a:pt x="6001" y="1466"/>
                  <a:pt x="6001" y="1466"/>
                  <a:pt x="6001" y="1466"/>
                </a:cubicBezTo>
                <a:cubicBezTo>
                  <a:pt x="6002" y="1466"/>
                  <a:pt x="6002" y="1466"/>
                  <a:pt x="6002" y="1466"/>
                </a:cubicBezTo>
                <a:lnTo>
                  <a:pt x="6059" y="1317"/>
                </a:lnTo>
                <a:close/>
                <a:moveTo>
                  <a:pt x="6211" y="1312"/>
                </a:moveTo>
                <a:cubicBezTo>
                  <a:pt x="6155" y="1312"/>
                  <a:pt x="6114" y="1353"/>
                  <a:pt x="6114" y="1412"/>
                </a:cubicBezTo>
                <a:cubicBezTo>
                  <a:pt x="6114" y="1467"/>
                  <a:pt x="6150" y="1512"/>
                  <a:pt x="6210" y="1512"/>
                </a:cubicBezTo>
                <a:cubicBezTo>
                  <a:pt x="6245" y="1512"/>
                  <a:pt x="6272" y="1501"/>
                  <a:pt x="6295" y="1472"/>
                </a:cubicBezTo>
                <a:cubicBezTo>
                  <a:pt x="6271" y="1454"/>
                  <a:pt x="6271" y="1454"/>
                  <a:pt x="6271" y="1454"/>
                </a:cubicBezTo>
                <a:cubicBezTo>
                  <a:pt x="6256" y="1473"/>
                  <a:pt x="6237" y="1482"/>
                  <a:pt x="6210" y="1482"/>
                </a:cubicBezTo>
                <a:cubicBezTo>
                  <a:pt x="6176" y="1482"/>
                  <a:pt x="6150" y="1454"/>
                  <a:pt x="6148" y="1421"/>
                </a:cubicBezTo>
                <a:cubicBezTo>
                  <a:pt x="6302" y="1421"/>
                  <a:pt x="6302" y="1421"/>
                  <a:pt x="6302" y="1421"/>
                </a:cubicBezTo>
                <a:cubicBezTo>
                  <a:pt x="6302" y="1411"/>
                  <a:pt x="6302" y="1411"/>
                  <a:pt x="6302" y="1411"/>
                </a:cubicBezTo>
                <a:cubicBezTo>
                  <a:pt x="6302" y="1348"/>
                  <a:pt x="6265" y="1312"/>
                  <a:pt x="6211" y="1312"/>
                </a:cubicBezTo>
                <a:close/>
                <a:moveTo>
                  <a:pt x="6148" y="1395"/>
                </a:moveTo>
                <a:cubicBezTo>
                  <a:pt x="6152" y="1363"/>
                  <a:pt x="6175" y="1341"/>
                  <a:pt x="6210" y="1341"/>
                </a:cubicBezTo>
                <a:cubicBezTo>
                  <a:pt x="6245" y="1341"/>
                  <a:pt x="6266" y="1363"/>
                  <a:pt x="6267" y="1395"/>
                </a:cubicBezTo>
                <a:lnTo>
                  <a:pt x="6148" y="1395"/>
                </a:lnTo>
                <a:close/>
                <a:moveTo>
                  <a:pt x="6354" y="1200"/>
                </a:moveTo>
                <a:cubicBezTo>
                  <a:pt x="6386" y="1200"/>
                  <a:pt x="6386" y="1200"/>
                  <a:pt x="6386" y="1200"/>
                </a:cubicBezTo>
                <a:cubicBezTo>
                  <a:pt x="6386" y="1507"/>
                  <a:pt x="6386" y="1507"/>
                  <a:pt x="6386" y="1507"/>
                </a:cubicBezTo>
                <a:cubicBezTo>
                  <a:pt x="6354" y="1507"/>
                  <a:pt x="6354" y="1507"/>
                  <a:pt x="6354" y="1507"/>
                </a:cubicBezTo>
                <a:lnTo>
                  <a:pt x="6354" y="1200"/>
                </a:lnTo>
                <a:close/>
                <a:moveTo>
                  <a:pt x="6534" y="1312"/>
                </a:moveTo>
                <a:cubicBezTo>
                  <a:pt x="6476" y="1312"/>
                  <a:pt x="6433" y="1352"/>
                  <a:pt x="6433" y="1412"/>
                </a:cubicBezTo>
                <a:cubicBezTo>
                  <a:pt x="6433" y="1471"/>
                  <a:pt x="6476" y="1512"/>
                  <a:pt x="6534" y="1512"/>
                </a:cubicBezTo>
                <a:cubicBezTo>
                  <a:pt x="6593" y="1512"/>
                  <a:pt x="6636" y="1471"/>
                  <a:pt x="6636" y="1412"/>
                </a:cubicBezTo>
                <a:cubicBezTo>
                  <a:pt x="6636" y="1352"/>
                  <a:pt x="6593" y="1312"/>
                  <a:pt x="6534" y="1312"/>
                </a:cubicBezTo>
                <a:close/>
                <a:moveTo>
                  <a:pt x="6534" y="1482"/>
                </a:moveTo>
                <a:cubicBezTo>
                  <a:pt x="6493" y="1482"/>
                  <a:pt x="6467" y="1452"/>
                  <a:pt x="6467" y="1412"/>
                </a:cubicBezTo>
                <a:cubicBezTo>
                  <a:pt x="6467" y="1372"/>
                  <a:pt x="6493" y="1341"/>
                  <a:pt x="6534" y="1341"/>
                </a:cubicBezTo>
                <a:cubicBezTo>
                  <a:pt x="6575" y="1341"/>
                  <a:pt x="6602" y="1372"/>
                  <a:pt x="6602" y="1412"/>
                </a:cubicBezTo>
                <a:cubicBezTo>
                  <a:pt x="6602" y="1452"/>
                  <a:pt x="6575" y="1482"/>
                  <a:pt x="6534" y="1482"/>
                </a:cubicBezTo>
                <a:close/>
                <a:moveTo>
                  <a:pt x="6782" y="1312"/>
                </a:moveTo>
                <a:cubicBezTo>
                  <a:pt x="6754" y="1312"/>
                  <a:pt x="6731" y="1324"/>
                  <a:pt x="6713" y="1344"/>
                </a:cubicBezTo>
                <a:cubicBezTo>
                  <a:pt x="6713" y="1344"/>
                  <a:pt x="6713" y="1344"/>
                  <a:pt x="6713" y="1344"/>
                </a:cubicBezTo>
                <a:cubicBezTo>
                  <a:pt x="6713" y="1317"/>
                  <a:pt x="6713" y="1317"/>
                  <a:pt x="6713" y="1317"/>
                </a:cubicBezTo>
                <a:cubicBezTo>
                  <a:pt x="6681" y="1317"/>
                  <a:pt x="6681" y="1317"/>
                  <a:pt x="6681" y="1317"/>
                </a:cubicBezTo>
                <a:cubicBezTo>
                  <a:pt x="6681" y="1600"/>
                  <a:pt x="6681" y="1600"/>
                  <a:pt x="6681" y="1600"/>
                </a:cubicBezTo>
                <a:cubicBezTo>
                  <a:pt x="6713" y="1600"/>
                  <a:pt x="6713" y="1600"/>
                  <a:pt x="6713" y="1600"/>
                </a:cubicBezTo>
                <a:cubicBezTo>
                  <a:pt x="6713" y="1473"/>
                  <a:pt x="6713" y="1473"/>
                  <a:pt x="6713" y="1473"/>
                </a:cubicBezTo>
                <a:cubicBezTo>
                  <a:pt x="6713" y="1473"/>
                  <a:pt x="6713" y="1473"/>
                  <a:pt x="6713" y="1473"/>
                </a:cubicBezTo>
                <a:cubicBezTo>
                  <a:pt x="6725" y="1495"/>
                  <a:pt x="6752" y="1512"/>
                  <a:pt x="6786" y="1512"/>
                </a:cubicBezTo>
                <a:cubicBezTo>
                  <a:pt x="6840" y="1512"/>
                  <a:pt x="6882" y="1469"/>
                  <a:pt x="6882" y="1412"/>
                </a:cubicBezTo>
                <a:cubicBezTo>
                  <a:pt x="6882" y="1354"/>
                  <a:pt x="6841" y="1312"/>
                  <a:pt x="6782" y="1312"/>
                </a:cubicBezTo>
                <a:close/>
                <a:moveTo>
                  <a:pt x="6780" y="1482"/>
                </a:moveTo>
                <a:cubicBezTo>
                  <a:pt x="6739" y="1482"/>
                  <a:pt x="6713" y="1452"/>
                  <a:pt x="6713" y="1412"/>
                </a:cubicBezTo>
                <a:cubicBezTo>
                  <a:pt x="6713" y="1372"/>
                  <a:pt x="6739" y="1341"/>
                  <a:pt x="6780" y="1341"/>
                </a:cubicBezTo>
                <a:cubicBezTo>
                  <a:pt x="6821" y="1341"/>
                  <a:pt x="6847" y="1372"/>
                  <a:pt x="6847" y="1412"/>
                </a:cubicBezTo>
                <a:cubicBezTo>
                  <a:pt x="6847" y="1452"/>
                  <a:pt x="6821" y="1482"/>
                  <a:pt x="6780" y="1482"/>
                </a:cubicBezTo>
                <a:close/>
                <a:moveTo>
                  <a:pt x="7213" y="1391"/>
                </a:moveTo>
                <a:cubicBezTo>
                  <a:pt x="7213" y="1507"/>
                  <a:pt x="7213" y="1507"/>
                  <a:pt x="7213" y="1507"/>
                </a:cubicBezTo>
                <a:cubicBezTo>
                  <a:pt x="7181" y="1507"/>
                  <a:pt x="7181" y="1507"/>
                  <a:pt x="7181" y="1507"/>
                </a:cubicBezTo>
                <a:cubicBezTo>
                  <a:pt x="7181" y="1393"/>
                  <a:pt x="7181" y="1393"/>
                  <a:pt x="7181" y="1393"/>
                </a:cubicBezTo>
                <a:cubicBezTo>
                  <a:pt x="7181" y="1367"/>
                  <a:pt x="7172" y="1341"/>
                  <a:pt x="7135" y="1341"/>
                </a:cubicBezTo>
                <a:cubicBezTo>
                  <a:pt x="7108" y="1341"/>
                  <a:pt x="7086" y="1363"/>
                  <a:pt x="7086" y="1397"/>
                </a:cubicBezTo>
                <a:cubicBezTo>
                  <a:pt x="7086" y="1507"/>
                  <a:pt x="7086" y="1507"/>
                  <a:pt x="7086" y="1507"/>
                </a:cubicBezTo>
                <a:cubicBezTo>
                  <a:pt x="7054" y="1507"/>
                  <a:pt x="7054" y="1507"/>
                  <a:pt x="7054" y="1507"/>
                </a:cubicBezTo>
                <a:cubicBezTo>
                  <a:pt x="7054" y="1399"/>
                  <a:pt x="7054" y="1399"/>
                  <a:pt x="7054" y="1399"/>
                </a:cubicBezTo>
                <a:cubicBezTo>
                  <a:pt x="7054" y="1357"/>
                  <a:pt x="7043" y="1341"/>
                  <a:pt x="7017" y="1341"/>
                </a:cubicBezTo>
                <a:cubicBezTo>
                  <a:pt x="6976" y="1341"/>
                  <a:pt x="6958" y="1371"/>
                  <a:pt x="6958" y="1414"/>
                </a:cubicBezTo>
                <a:cubicBezTo>
                  <a:pt x="6958" y="1507"/>
                  <a:pt x="6958" y="1507"/>
                  <a:pt x="6958" y="1507"/>
                </a:cubicBezTo>
                <a:cubicBezTo>
                  <a:pt x="6927" y="1507"/>
                  <a:pt x="6927" y="1507"/>
                  <a:pt x="6927" y="1507"/>
                </a:cubicBezTo>
                <a:cubicBezTo>
                  <a:pt x="6927" y="1362"/>
                  <a:pt x="6927" y="1362"/>
                  <a:pt x="6927" y="1362"/>
                </a:cubicBezTo>
                <a:cubicBezTo>
                  <a:pt x="6927" y="1344"/>
                  <a:pt x="6925" y="1329"/>
                  <a:pt x="6925" y="1317"/>
                </a:cubicBezTo>
                <a:cubicBezTo>
                  <a:pt x="6955" y="1317"/>
                  <a:pt x="6955" y="1317"/>
                  <a:pt x="6955" y="1317"/>
                </a:cubicBezTo>
                <a:cubicBezTo>
                  <a:pt x="6955" y="1327"/>
                  <a:pt x="6956" y="1337"/>
                  <a:pt x="6956" y="1348"/>
                </a:cubicBezTo>
                <a:cubicBezTo>
                  <a:pt x="6957" y="1348"/>
                  <a:pt x="6957" y="1348"/>
                  <a:pt x="6957" y="1348"/>
                </a:cubicBezTo>
                <a:cubicBezTo>
                  <a:pt x="6965" y="1329"/>
                  <a:pt x="6989" y="1312"/>
                  <a:pt x="7020" y="1312"/>
                </a:cubicBezTo>
                <a:cubicBezTo>
                  <a:pt x="7061" y="1312"/>
                  <a:pt x="7074" y="1335"/>
                  <a:pt x="7080" y="1348"/>
                </a:cubicBezTo>
                <a:cubicBezTo>
                  <a:pt x="7094" y="1326"/>
                  <a:pt x="7112" y="1312"/>
                  <a:pt x="7140" y="1312"/>
                </a:cubicBezTo>
                <a:cubicBezTo>
                  <a:pt x="7195" y="1312"/>
                  <a:pt x="7213" y="1342"/>
                  <a:pt x="7213" y="1391"/>
                </a:cubicBezTo>
                <a:close/>
                <a:moveTo>
                  <a:pt x="7356" y="1312"/>
                </a:moveTo>
                <a:cubicBezTo>
                  <a:pt x="7300" y="1312"/>
                  <a:pt x="7258" y="1353"/>
                  <a:pt x="7258" y="1412"/>
                </a:cubicBezTo>
                <a:cubicBezTo>
                  <a:pt x="7258" y="1467"/>
                  <a:pt x="7295" y="1512"/>
                  <a:pt x="7354" y="1512"/>
                </a:cubicBezTo>
                <a:cubicBezTo>
                  <a:pt x="7390" y="1512"/>
                  <a:pt x="7417" y="1501"/>
                  <a:pt x="7439" y="1472"/>
                </a:cubicBezTo>
                <a:cubicBezTo>
                  <a:pt x="7415" y="1454"/>
                  <a:pt x="7415" y="1454"/>
                  <a:pt x="7415" y="1454"/>
                </a:cubicBezTo>
                <a:cubicBezTo>
                  <a:pt x="7400" y="1473"/>
                  <a:pt x="7382" y="1482"/>
                  <a:pt x="7354" y="1482"/>
                </a:cubicBezTo>
                <a:cubicBezTo>
                  <a:pt x="7320" y="1482"/>
                  <a:pt x="7295" y="1454"/>
                  <a:pt x="7292" y="1421"/>
                </a:cubicBezTo>
                <a:cubicBezTo>
                  <a:pt x="7446" y="1421"/>
                  <a:pt x="7446" y="1421"/>
                  <a:pt x="7446" y="1421"/>
                </a:cubicBezTo>
                <a:cubicBezTo>
                  <a:pt x="7446" y="1411"/>
                  <a:pt x="7446" y="1411"/>
                  <a:pt x="7446" y="1411"/>
                </a:cubicBezTo>
                <a:cubicBezTo>
                  <a:pt x="7446" y="1348"/>
                  <a:pt x="7409" y="1312"/>
                  <a:pt x="7356" y="1312"/>
                </a:cubicBezTo>
                <a:close/>
                <a:moveTo>
                  <a:pt x="7292" y="1395"/>
                </a:moveTo>
                <a:cubicBezTo>
                  <a:pt x="7296" y="1363"/>
                  <a:pt x="7320" y="1341"/>
                  <a:pt x="7354" y="1341"/>
                </a:cubicBezTo>
                <a:cubicBezTo>
                  <a:pt x="7389" y="1341"/>
                  <a:pt x="7411" y="1363"/>
                  <a:pt x="7412" y="1395"/>
                </a:cubicBezTo>
                <a:lnTo>
                  <a:pt x="7292" y="1395"/>
                </a:lnTo>
                <a:close/>
                <a:moveTo>
                  <a:pt x="7657" y="1389"/>
                </a:moveTo>
                <a:cubicBezTo>
                  <a:pt x="7657" y="1507"/>
                  <a:pt x="7657" y="1507"/>
                  <a:pt x="7657" y="1507"/>
                </a:cubicBezTo>
                <a:cubicBezTo>
                  <a:pt x="7625" y="1507"/>
                  <a:pt x="7625" y="1507"/>
                  <a:pt x="7625" y="1507"/>
                </a:cubicBezTo>
                <a:cubicBezTo>
                  <a:pt x="7625" y="1393"/>
                  <a:pt x="7625" y="1393"/>
                  <a:pt x="7625" y="1393"/>
                </a:cubicBezTo>
                <a:cubicBezTo>
                  <a:pt x="7625" y="1361"/>
                  <a:pt x="7611" y="1341"/>
                  <a:pt x="7582" y="1341"/>
                </a:cubicBezTo>
                <a:cubicBezTo>
                  <a:pt x="7541" y="1341"/>
                  <a:pt x="7523" y="1371"/>
                  <a:pt x="7523" y="1414"/>
                </a:cubicBezTo>
                <a:cubicBezTo>
                  <a:pt x="7523" y="1507"/>
                  <a:pt x="7523" y="1507"/>
                  <a:pt x="7523" y="1507"/>
                </a:cubicBezTo>
                <a:cubicBezTo>
                  <a:pt x="7491" y="1507"/>
                  <a:pt x="7491" y="1507"/>
                  <a:pt x="7491" y="1507"/>
                </a:cubicBezTo>
                <a:cubicBezTo>
                  <a:pt x="7491" y="1362"/>
                  <a:pt x="7491" y="1362"/>
                  <a:pt x="7491" y="1362"/>
                </a:cubicBezTo>
                <a:cubicBezTo>
                  <a:pt x="7491" y="1344"/>
                  <a:pt x="7489" y="1329"/>
                  <a:pt x="7489" y="1317"/>
                </a:cubicBezTo>
                <a:cubicBezTo>
                  <a:pt x="7519" y="1317"/>
                  <a:pt x="7519" y="1317"/>
                  <a:pt x="7519" y="1317"/>
                </a:cubicBezTo>
                <a:cubicBezTo>
                  <a:pt x="7519" y="1327"/>
                  <a:pt x="7520" y="1337"/>
                  <a:pt x="7520" y="1348"/>
                </a:cubicBezTo>
                <a:cubicBezTo>
                  <a:pt x="7521" y="1348"/>
                  <a:pt x="7521" y="1348"/>
                  <a:pt x="7521" y="1348"/>
                </a:cubicBezTo>
                <a:cubicBezTo>
                  <a:pt x="7530" y="1329"/>
                  <a:pt x="7553" y="1312"/>
                  <a:pt x="7584" y="1312"/>
                </a:cubicBezTo>
                <a:cubicBezTo>
                  <a:pt x="7634" y="1312"/>
                  <a:pt x="7657" y="1343"/>
                  <a:pt x="7657" y="1389"/>
                </a:cubicBezTo>
                <a:close/>
                <a:moveTo>
                  <a:pt x="7817" y="1505"/>
                </a:moveTo>
                <a:cubicBezTo>
                  <a:pt x="7806" y="1510"/>
                  <a:pt x="7792" y="1512"/>
                  <a:pt x="7780" y="1512"/>
                </a:cubicBezTo>
                <a:cubicBezTo>
                  <a:pt x="7735" y="1512"/>
                  <a:pt x="7728" y="1487"/>
                  <a:pt x="7728" y="1448"/>
                </a:cubicBezTo>
                <a:cubicBezTo>
                  <a:pt x="7728" y="1343"/>
                  <a:pt x="7728" y="1343"/>
                  <a:pt x="7728" y="1343"/>
                </a:cubicBezTo>
                <a:cubicBezTo>
                  <a:pt x="7686" y="1343"/>
                  <a:pt x="7686" y="1343"/>
                  <a:pt x="7686" y="1343"/>
                </a:cubicBezTo>
                <a:cubicBezTo>
                  <a:pt x="7686" y="1317"/>
                  <a:pt x="7686" y="1317"/>
                  <a:pt x="7686" y="1317"/>
                </a:cubicBezTo>
                <a:cubicBezTo>
                  <a:pt x="7728" y="1317"/>
                  <a:pt x="7728" y="1317"/>
                  <a:pt x="7728" y="1317"/>
                </a:cubicBezTo>
                <a:cubicBezTo>
                  <a:pt x="7728" y="1263"/>
                  <a:pt x="7728" y="1263"/>
                  <a:pt x="7728" y="1263"/>
                </a:cubicBezTo>
                <a:cubicBezTo>
                  <a:pt x="7759" y="1263"/>
                  <a:pt x="7759" y="1263"/>
                  <a:pt x="7759" y="1263"/>
                </a:cubicBezTo>
                <a:cubicBezTo>
                  <a:pt x="7759" y="1317"/>
                  <a:pt x="7759" y="1317"/>
                  <a:pt x="7759" y="1317"/>
                </a:cubicBezTo>
                <a:cubicBezTo>
                  <a:pt x="7815" y="1317"/>
                  <a:pt x="7815" y="1317"/>
                  <a:pt x="7815" y="1317"/>
                </a:cubicBezTo>
                <a:cubicBezTo>
                  <a:pt x="7815" y="1343"/>
                  <a:pt x="7815" y="1343"/>
                  <a:pt x="7815" y="1343"/>
                </a:cubicBezTo>
                <a:cubicBezTo>
                  <a:pt x="7759" y="1343"/>
                  <a:pt x="7759" y="1343"/>
                  <a:pt x="7759" y="1343"/>
                </a:cubicBezTo>
                <a:cubicBezTo>
                  <a:pt x="7759" y="1439"/>
                  <a:pt x="7759" y="1439"/>
                  <a:pt x="7759" y="1439"/>
                </a:cubicBezTo>
                <a:cubicBezTo>
                  <a:pt x="7759" y="1463"/>
                  <a:pt x="7760" y="1482"/>
                  <a:pt x="7788" y="1482"/>
                </a:cubicBezTo>
                <a:cubicBezTo>
                  <a:pt x="7797" y="1482"/>
                  <a:pt x="7807" y="1480"/>
                  <a:pt x="7816" y="1476"/>
                </a:cubicBezTo>
                <a:lnTo>
                  <a:pt x="7817" y="1505"/>
                </a:lnTo>
                <a:close/>
                <a:moveTo>
                  <a:pt x="3842" y="1312"/>
                </a:moveTo>
                <a:cubicBezTo>
                  <a:pt x="3815" y="1312"/>
                  <a:pt x="3791" y="1324"/>
                  <a:pt x="3774" y="1344"/>
                </a:cubicBezTo>
                <a:cubicBezTo>
                  <a:pt x="3773" y="1344"/>
                  <a:pt x="3773" y="1344"/>
                  <a:pt x="3773" y="1344"/>
                </a:cubicBezTo>
                <a:cubicBezTo>
                  <a:pt x="3773" y="1317"/>
                  <a:pt x="3773" y="1317"/>
                  <a:pt x="3773" y="1317"/>
                </a:cubicBezTo>
                <a:cubicBezTo>
                  <a:pt x="3741" y="1317"/>
                  <a:pt x="3741" y="1317"/>
                  <a:pt x="3741" y="1317"/>
                </a:cubicBezTo>
                <a:cubicBezTo>
                  <a:pt x="3741" y="1600"/>
                  <a:pt x="3741" y="1600"/>
                  <a:pt x="3741" y="1600"/>
                </a:cubicBezTo>
                <a:cubicBezTo>
                  <a:pt x="3773" y="1600"/>
                  <a:pt x="3773" y="1600"/>
                  <a:pt x="3773" y="1600"/>
                </a:cubicBezTo>
                <a:cubicBezTo>
                  <a:pt x="3773" y="1473"/>
                  <a:pt x="3773" y="1473"/>
                  <a:pt x="3773" y="1473"/>
                </a:cubicBezTo>
                <a:cubicBezTo>
                  <a:pt x="3774" y="1473"/>
                  <a:pt x="3774" y="1473"/>
                  <a:pt x="3774" y="1473"/>
                </a:cubicBezTo>
                <a:cubicBezTo>
                  <a:pt x="3786" y="1495"/>
                  <a:pt x="3813" y="1512"/>
                  <a:pt x="3847" y="1512"/>
                </a:cubicBezTo>
                <a:cubicBezTo>
                  <a:pt x="3900" y="1512"/>
                  <a:pt x="3942" y="1469"/>
                  <a:pt x="3942" y="1412"/>
                </a:cubicBezTo>
                <a:cubicBezTo>
                  <a:pt x="3942" y="1354"/>
                  <a:pt x="3902" y="1312"/>
                  <a:pt x="3842" y="1312"/>
                </a:cubicBezTo>
                <a:close/>
                <a:moveTo>
                  <a:pt x="3841" y="1482"/>
                </a:moveTo>
                <a:cubicBezTo>
                  <a:pt x="3800" y="1482"/>
                  <a:pt x="3773" y="1452"/>
                  <a:pt x="3773" y="1412"/>
                </a:cubicBezTo>
                <a:cubicBezTo>
                  <a:pt x="3773" y="1372"/>
                  <a:pt x="3800" y="1341"/>
                  <a:pt x="3841" y="1341"/>
                </a:cubicBezTo>
                <a:cubicBezTo>
                  <a:pt x="3882" y="1341"/>
                  <a:pt x="3908" y="1372"/>
                  <a:pt x="3908" y="1412"/>
                </a:cubicBezTo>
                <a:cubicBezTo>
                  <a:pt x="3908" y="1452"/>
                  <a:pt x="3882" y="1482"/>
                  <a:pt x="3841" y="1482"/>
                </a:cubicBezTo>
                <a:close/>
                <a:moveTo>
                  <a:pt x="4078" y="1312"/>
                </a:moveTo>
                <a:cubicBezTo>
                  <a:pt x="4082" y="1312"/>
                  <a:pt x="4087" y="1312"/>
                  <a:pt x="4091" y="1314"/>
                </a:cubicBezTo>
                <a:cubicBezTo>
                  <a:pt x="4089" y="1346"/>
                  <a:pt x="4089" y="1346"/>
                  <a:pt x="4089" y="1346"/>
                </a:cubicBezTo>
                <a:cubicBezTo>
                  <a:pt x="4084" y="1344"/>
                  <a:pt x="4078" y="1343"/>
                  <a:pt x="4072" y="1343"/>
                </a:cubicBezTo>
                <a:cubicBezTo>
                  <a:pt x="4033" y="1343"/>
                  <a:pt x="4016" y="1371"/>
                  <a:pt x="4016" y="1414"/>
                </a:cubicBezTo>
                <a:cubicBezTo>
                  <a:pt x="4016" y="1507"/>
                  <a:pt x="4016" y="1507"/>
                  <a:pt x="4016" y="1507"/>
                </a:cubicBezTo>
                <a:cubicBezTo>
                  <a:pt x="3985" y="1507"/>
                  <a:pt x="3985" y="1507"/>
                  <a:pt x="3985" y="1507"/>
                </a:cubicBezTo>
                <a:cubicBezTo>
                  <a:pt x="3985" y="1362"/>
                  <a:pt x="3985" y="1362"/>
                  <a:pt x="3985" y="1362"/>
                </a:cubicBezTo>
                <a:cubicBezTo>
                  <a:pt x="3985" y="1344"/>
                  <a:pt x="3983" y="1329"/>
                  <a:pt x="3983" y="1317"/>
                </a:cubicBezTo>
                <a:cubicBezTo>
                  <a:pt x="4013" y="1317"/>
                  <a:pt x="4013" y="1317"/>
                  <a:pt x="4013" y="1317"/>
                </a:cubicBezTo>
                <a:cubicBezTo>
                  <a:pt x="4013" y="1327"/>
                  <a:pt x="4014" y="1337"/>
                  <a:pt x="4014" y="1348"/>
                </a:cubicBezTo>
                <a:cubicBezTo>
                  <a:pt x="4015" y="1348"/>
                  <a:pt x="4015" y="1348"/>
                  <a:pt x="4015" y="1348"/>
                </a:cubicBezTo>
                <a:cubicBezTo>
                  <a:pt x="4023" y="1329"/>
                  <a:pt x="4047" y="1312"/>
                  <a:pt x="4078" y="1312"/>
                </a:cubicBezTo>
                <a:close/>
                <a:moveTo>
                  <a:pt x="4206" y="1312"/>
                </a:moveTo>
                <a:cubicBezTo>
                  <a:pt x="4147" y="1312"/>
                  <a:pt x="4104" y="1352"/>
                  <a:pt x="4104" y="1412"/>
                </a:cubicBezTo>
                <a:cubicBezTo>
                  <a:pt x="4104" y="1471"/>
                  <a:pt x="4147" y="1512"/>
                  <a:pt x="4206" y="1512"/>
                </a:cubicBezTo>
                <a:cubicBezTo>
                  <a:pt x="4264" y="1512"/>
                  <a:pt x="4307" y="1471"/>
                  <a:pt x="4307" y="1412"/>
                </a:cubicBezTo>
                <a:cubicBezTo>
                  <a:pt x="4307" y="1352"/>
                  <a:pt x="4264" y="1312"/>
                  <a:pt x="4206" y="1312"/>
                </a:cubicBezTo>
                <a:close/>
                <a:moveTo>
                  <a:pt x="4206" y="1482"/>
                </a:moveTo>
                <a:cubicBezTo>
                  <a:pt x="4165" y="1482"/>
                  <a:pt x="4138" y="1452"/>
                  <a:pt x="4138" y="1412"/>
                </a:cubicBezTo>
                <a:cubicBezTo>
                  <a:pt x="4138" y="1372"/>
                  <a:pt x="4165" y="1341"/>
                  <a:pt x="4206" y="1341"/>
                </a:cubicBezTo>
                <a:cubicBezTo>
                  <a:pt x="4247" y="1341"/>
                  <a:pt x="4273" y="1372"/>
                  <a:pt x="4273" y="1412"/>
                </a:cubicBezTo>
                <a:cubicBezTo>
                  <a:pt x="4273" y="1452"/>
                  <a:pt x="4247" y="1482"/>
                  <a:pt x="4206" y="1482"/>
                </a:cubicBezTo>
                <a:close/>
                <a:moveTo>
                  <a:pt x="4453" y="1312"/>
                </a:moveTo>
                <a:cubicBezTo>
                  <a:pt x="4425" y="1312"/>
                  <a:pt x="4402" y="1324"/>
                  <a:pt x="4385" y="1344"/>
                </a:cubicBezTo>
                <a:cubicBezTo>
                  <a:pt x="4384" y="1344"/>
                  <a:pt x="4384" y="1344"/>
                  <a:pt x="4384" y="1344"/>
                </a:cubicBezTo>
                <a:cubicBezTo>
                  <a:pt x="4384" y="1317"/>
                  <a:pt x="4384" y="1317"/>
                  <a:pt x="4384" y="1317"/>
                </a:cubicBezTo>
                <a:cubicBezTo>
                  <a:pt x="4352" y="1317"/>
                  <a:pt x="4352" y="1317"/>
                  <a:pt x="4352" y="1317"/>
                </a:cubicBezTo>
                <a:cubicBezTo>
                  <a:pt x="4352" y="1600"/>
                  <a:pt x="4352" y="1600"/>
                  <a:pt x="4352" y="1600"/>
                </a:cubicBezTo>
                <a:cubicBezTo>
                  <a:pt x="4384" y="1600"/>
                  <a:pt x="4384" y="1600"/>
                  <a:pt x="4384" y="1600"/>
                </a:cubicBezTo>
                <a:cubicBezTo>
                  <a:pt x="4384" y="1473"/>
                  <a:pt x="4384" y="1473"/>
                  <a:pt x="4384" y="1473"/>
                </a:cubicBezTo>
                <a:cubicBezTo>
                  <a:pt x="4385" y="1473"/>
                  <a:pt x="4385" y="1473"/>
                  <a:pt x="4385" y="1473"/>
                </a:cubicBezTo>
                <a:cubicBezTo>
                  <a:pt x="4396" y="1495"/>
                  <a:pt x="4424" y="1512"/>
                  <a:pt x="4458" y="1512"/>
                </a:cubicBezTo>
                <a:cubicBezTo>
                  <a:pt x="4511" y="1512"/>
                  <a:pt x="4553" y="1469"/>
                  <a:pt x="4553" y="1412"/>
                </a:cubicBezTo>
                <a:cubicBezTo>
                  <a:pt x="4553" y="1354"/>
                  <a:pt x="4513" y="1312"/>
                  <a:pt x="4453" y="1312"/>
                </a:cubicBezTo>
                <a:close/>
                <a:moveTo>
                  <a:pt x="4451" y="1482"/>
                </a:moveTo>
                <a:cubicBezTo>
                  <a:pt x="4410" y="1482"/>
                  <a:pt x="4384" y="1452"/>
                  <a:pt x="4384" y="1412"/>
                </a:cubicBezTo>
                <a:cubicBezTo>
                  <a:pt x="4384" y="1372"/>
                  <a:pt x="4410" y="1341"/>
                  <a:pt x="4451" y="1341"/>
                </a:cubicBezTo>
                <a:cubicBezTo>
                  <a:pt x="4492" y="1341"/>
                  <a:pt x="4519" y="1372"/>
                  <a:pt x="4519" y="1412"/>
                </a:cubicBezTo>
                <a:cubicBezTo>
                  <a:pt x="4519" y="1452"/>
                  <a:pt x="4492" y="1482"/>
                  <a:pt x="4451" y="1482"/>
                </a:cubicBezTo>
                <a:close/>
                <a:moveTo>
                  <a:pt x="4686" y="1312"/>
                </a:moveTo>
                <a:cubicBezTo>
                  <a:pt x="4630" y="1312"/>
                  <a:pt x="4588" y="1353"/>
                  <a:pt x="4588" y="1412"/>
                </a:cubicBezTo>
                <a:cubicBezTo>
                  <a:pt x="4588" y="1467"/>
                  <a:pt x="4625" y="1512"/>
                  <a:pt x="4685" y="1512"/>
                </a:cubicBezTo>
                <a:cubicBezTo>
                  <a:pt x="4720" y="1512"/>
                  <a:pt x="4747" y="1501"/>
                  <a:pt x="4769" y="1472"/>
                </a:cubicBezTo>
                <a:cubicBezTo>
                  <a:pt x="4745" y="1454"/>
                  <a:pt x="4745" y="1454"/>
                  <a:pt x="4745" y="1454"/>
                </a:cubicBezTo>
                <a:cubicBezTo>
                  <a:pt x="4730" y="1473"/>
                  <a:pt x="4712" y="1482"/>
                  <a:pt x="4685" y="1482"/>
                </a:cubicBezTo>
                <a:cubicBezTo>
                  <a:pt x="4650" y="1482"/>
                  <a:pt x="4625" y="1454"/>
                  <a:pt x="4623" y="1421"/>
                </a:cubicBezTo>
                <a:cubicBezTo>
                  <a:pt x="4776" y="1421"/>
                  <a:pt x="4776" y="1421"/>
                  <a:pt x="4776" y="1421"/>
                </a:cubicBezTo>
                <a:cubicBezTo>
                  <a:pt x="4776" y="1411"/>
                  <a:pt x="4776" y="1411"/>
                  <a:pt x="4776" y="1411"/>
                </a:cubicBezTo>
                <a:cubicBezTo>
                  <a:pt x="4776" y="1348"/>
                  <a:pt x="4740" y="1312"/>
                  <a:pt x="4686" y="1312"/>
                </a:cubicBezTo>
                <a:close/>
                <a:moveTo>
                  <a:pt x="4623" y="1395"/>
                </a:moveTo>
                <a:cubicBezTo>
                  <a:pt x="4627" y="1363"/>
                  <a:pt x="4650" y="1341"/>
                  <a:pt x="4685" y="1341"/>
                </a:cubicBezTo>
                <a:cubicBezTo>
                  <a:pt x="4720" y="1341"/>
                  <a:pt x="4741" y="1363"/>
                  <a:pt x="4742" y="1395"/>
                </a:cubicBezTo>
                <a:lnTo>
                  <a:pt x="4623" y="1395"/>
                </a:lnTo>
                <a:close/>
                <a:moveTo>
                  <a:pt x="4922" y="1312"/>
                </a:moveTo>
                <a:cubicBezTo>
                  <a:pt x="4926" y="1312"/>
                  <a:pt x="4930" y="1312"/>
                  <a:pt x="4935" y="1314"/>
                </a:cubicBezTo>
                <a:cubicBezTo>
                  <a:pt x="4933" y="1346"/>
                  <a:pt x="4933" y="1346"/>
                  <a:pt x="4933" y="1346"/>
                </a:cubicBezTo>
                <a:cubicBezTo>
                  <a:pt x="4927" y="1344"/>
                  <a:pt x="4921" y="1343"/>
                  <a:pt x="4916" y="1343"/>
                </a:cubicBezTo>
                <a:cubicBezTo>
                  <a:pt x="4877" y="1343"/>
                  <a:pt x="4860" y="1371"/>
                  <a:pt x="4860" y="1414"/>
                </a:cubicBezTo>
                <a:cubicBezTo>
                  <a:pt x="4860" y="1507"/>
                  <a:pt x="4860" y="1507"/>
                  <a:pt x="4860" y="1507"/>
                </a:cubicBezTo>
                <a:cubicBezTo>
                  <a:pt x="4828" y="1507"/>
                  <a:pt x="4828" y="1507"/>
                  <a:pt x="4828" y="1507"/>
                </a:cubicBezTo>
                <a:cubicBezTo>
                  <a:pt x="4828" y="1362"/>
                  <a:pt x="4828" y="1362"/>
                  <a:pt x="4828" y="1362"/>
                </a:cubicBezTo>
                <a:cubicBezTo>
                  <a:pt x="4828" y="1344"/>
                  <a:pt x="4827" y="1329"/>
                  <a:pt x="4827" y="1317"/>
                </a:cubicBezTo>
                <a:cubicBezTo>
                  <a:pt x="4857" y="1317"/>
                  <a:pt x="4857" y="1317"/>
                  <a:pt x="4857" y="1317"/>
                </a:cubicBezTo>
                <a:cubicBezTo>
                  <a:pt x="4857" y="1327"/>
                  <a:pt x="4858" y="1337"/>
                  <a:pt x="4858" y="1348"/>
                </a:cubicBezTo>
                <a:cubicBezTo>
                  <a:pt x="4858" y="1348"/>
                  <a:pt x="4858" y="1348"/>
                  <a:pt x="4858" y="1348"/>
                </a:cubicBezTo>
                <a:cubicBezTo>
                  <a:pt x="4867" y="1329"/>
                  <a:pt x="4890" y="1312"/>
                  <a:pt x="4922" y="1312"/>
                </a:cubicBezTo>
                <a:close/>
                <a:moveTo>
                  <a:pt x="5092" y="1476"/>
                </a:moveTo>
                <a:cubicBezTo>
                  <a:pt x="5094" y="1505"/>
                  <a:pt x="5094" y="1505"/>
                  <a:pt x="5094" y="1505"/>
                </a:cubicBezTo>
                <a:cubicBezTo>
                  <a:pt x="5083" y="1510"/>
                  <a:pt x="5068" y="1512"/>
                  <a:pt x="5057" y="1512"/>
                </a:cubicBezTo>
                <a:cubicBezTo>
                  <a:pt x="5012" y="1512"/>
                  <a:pt x="5004" y="1487"/>
                  <a:pt x="5004" y="1448"/>
                </a:cubicBezTo>
                <a:cubicBezTo>
                  <a:pt x="5004" y="1343"/>
                  <a:pt x="5004" y="1343"/>
                  <a:pt x="5004" y="1343"/>
                </a:cubicBezTo>
                <a:cubicBezTo>
                  <a:pt x="4963" y="1343"/>
                  <a:pt x="4963" y="1343"/>
                  <a:pt x="4963" y="1343"/>
                </a:cubicBezTo>
                <a:cubicBezTo>
                  <a:pt x="4963" y="1317"/>
                  <a:pt x="4963" y="1317"/>
                  <a:pt x="4963" y="1317"/>
                </a:cubicBezTo>
                <a:cubicBezTo>
                  <a:pt x="5004" y="1317"/>
                  <a:pt x="5004" y="1317"/>
                  <a:pt x="5004" y="1317"/>
                </a:cubicBezTo>
                <a:cubicBezTo>
                  <a:pt x="5004" y="1263"/>
                  <a:pt x="5004" y="1263"/>
                  <a:pt x="5004" y="1263"/>
                </a:cubicBezTo>
                <a:cubicBezTo>
                  <a:pt x="5036" y="1263"/>
                  <a:pt x="5036" y="1263"/>
                  <a:pt x="5036" y="1263"/>
                </a:cubicBezTo>
                <a:cubicBezTo>
                  <a:pt x="5036" y="1317"/>
                  <a:pt x="5036" y="1317"/>
                  <a:pt x="5036" y="1317"/>
                </a:cubicBezTo>
                <a:cubicBezTo>
                  <a:pt x="5092" y="1317"/>
                  <a:pt x="5092" y="1317"/>
                  <a:pt x="5092" y="1317"/>
                </a:cubicBezTo>
                <a:cubicBezTo>
                  <a:pt x="5092" y="1343"/>
                  <a:pt x="5092" y="1343"/>
                  <a:pt x="5092" y="1343"/>
                </a:cubicBezTo>
                <a:cubicBezTo>
                  <a:pt x="5036" y="1343"/>
                  <a:pt x="5036" y="1343"/>
                  <a:pt x="5036" y="1343"/>
                </a:cubicBezTo>
                <a:cubicBezTo>
                  <a:pt x="5036" y="1439"/>
                  <a:pt x="5036" y="1439"/>
                  <a:pt x="5036" y="1439"/>
                </a:cubicBezTo>
                <a:cubicBezTo>
                  <a:pt x="5036" y="1463"/>
                  <a:pt x="5036" y="1482"/>
                  <a:pt x="5064" y="1482"/>
                </a:cubicBezTo>
                <a:cubicBezTo>
                  <a:pt x="5074" y="1482"/>
                  <a:pt x="5084" y="1480"/>
                  <a:pt x="5092" y="1476"/>
                </a:cubicBezTo>
                <a:close/>
                <a:moveTo>
                  <a:pt x="5274" y="1317"/>
                </a:moveTo>
                <a:cubicBezTo>
                  <a:pt x="5309" y="1317"/>
                  <a:pt x="5309" y="1317"/>
                  <a:pt x="5309" y="1317"/>
                </a:cubicBezTo>
                <a:cubicBezTo>
                  <a:pt x="5217" y="1550"/>
                  <a:pt x="5217" y="1550"/>
                  <a:pt x="5217" y="1550"/>
                </a:cubicBezTo>
                <a:cubicBezTo>
                  <a:pt x="5204" y="1582"/>
                  <a:pt x="5192" y="1604"/>
                  <a:pt x="5153" y="1604"/>
                </a:cubicBezTo>
                <a:cubicBezTo>
                  <a:pt x="5145" y="1604"/>
                  <a:pt x="5133" y="1604"/>
                  <a:pt x="5125" y="1600"/>
                </a:cubicBezTo>
                <a:cubicBezTo>
                  <a:pt x="5129" y="1572"/>
                  <a:pt x="5129" y="1572"/>
                  <a:pt x="5129" y="1572"/>
                </a:cubicBezTo>
                <a:cubicBezTo>
                  <a:pt x="5136" y="1574"/>
                  <a:pt x="5142" y="1575"/>
                  <a:pt x="5151" y="1575"/>
                </a:cubicBezTo>
                <a:cubicBezTo>
                  <a:pt x="5172" y="1575"/>
                  <a:pt x="5180" y="1563"/>
                  <a:pt x="5187" y="1544"/>
                </a:cubicBezTo>
                <a:cubicBezTo>
                  <a:pt x="5200" y="1508"/>
                  <a:pt x="5200" y="1508"/>
                  <a:pt x="5200" y="1508"/>
                </a:cubicBezTo>
                <a:cubicBezTo>
                  <a:pt x="5121" y="1317"/>
                  <a:pt x="5121" y="1317"/>
                  <a:pt x="5121" y="1317"/>
                </a:cubicBezTo>
                <a:cubicBezTo>
                  <a:pt x="5158" y="1317"/>
                  <a:pt x="5158" y="1317"/>
                  <a:pt x="5158" y="1317"/>
                </a:cubicBezTo>
                <a:cubicBezTo>
                  <a:pt x="5217" y="1466"/>
                  <a:pt x="5217" y="1466"/>
                  <a:pt x="5217" y="1466"/>
                </a:cubicBezTo>
                <a:cubicBezTo>
                  <a:pt x="5218" y="1466"/>
                  <a:pt x="5218" y="1466"/>
                  <a:pt x="5218" y="1466"/>
                </a:cubicBezTo>
                <a:lnTo>
                  <a:pt x="5274" y="1317"/>
                </a:lnTo>
                <a:close/>
                <a:moveTo>
                  <a:pt x="1701" y="1312"/>
                </a:moveTo>
                <a:cubicBezTo>
                  <a:pt x="1673" y="1312"/>
                  <a:pt x="1650" y="1324"/>
                  <a:pt x="1633" y="1344"/>
                </a:cubicBezTo>
                <a:cubicBezTo>
                  <a:pt x="1632" y="1344"/>
                  <a:pt x="1632" y="1344"/>
                  <a:pt x="1632" y="1344"/>
                </a:cubicBezTo>
                <a:cubicBezTo>
                  <a:pt x="1632" y="1200"/>
                  <a:pt x="1632" y="1200"/>
                  <a:pt x="1632" y="1200"/>
                </a:cubicBezTo>
                <a:cubicBezTo>
                  <a:pt x="1600" y="1200"/>
                  <a:pt x="1600" y="1200"/>
                  <a:pt x="1600" y="1200"/>
                </a:cubicBezTo>
                <a:cubicBezTo>
                  <a:pt x="1600" y="1507"/>
                  <a:pt x="1600" y="1507"/>
                  <a:pt x="1600" y="1507"/>
                </a:cubicBezTo>
                <a:cubicBezTo>
                  <a:pt x="1632" y="1507"/>
                  <a:pt x="1632" y="1507"/>
                  <a:pt x="1632" y="1507"/>
                </a:cubicBezTo>
                <a:cubicBezTo>
                  <a:pt x="1632" y="1473"/>
                  <a:pt x="1632" y="1473"/>
                  <a:pt x="1632" y="1473"/>
                </a:cubicBezTo>
                <a:cubicBezTo>
                  <a:pt x="1633" y="1473"/>
                  <a:pt x="1633" y="1473"/>
                  <a:pt x="1633" y="1473"/>
                </a:cubicBezTo>
                <a:cubicBezTo>
                  <a:pt x="1645" y="1495"/>
                  <a:pt x="1672" y="1512"/>
                  <a:pt x="1706" y="1512"/>
                </a:cubicBezTo>
                <a:cubicBezTo>
                  <a:pt x="1759" y="1512"/>
                  <a:pt x="1801" y="1469"/>
                  <a:pt x="1801" y="1412"/>
                </a:cubicBezTo>
                <a:cubicBezTo>
                  <a:pt x="1801" y="1354"/>
                  <a:pt x="1761" y="1312"/>
                  <a:pt x="1701" y="1312"/>
                </a:cubicBezTo>
                <a:close/>
                <a:moveTo>
                  <a:pt x="1699" y="1482"/>
                </a:moveTo>
                <a:cubicBezTo>
                  <a:pt x="1658" y="1482"/>
                  <a:pt x="1632" y="1452"/>
                  <a:pt x="1632" y="1412"/>
                </a:cubicBezTo>
                <a:cubicBezTo>
                  <a:pt x="1632" y="1372"/>
                  <a:pt x="1658" y="1341"/>
                  <a:pt x="1699" y="1341"/>
                </a:cubicBezTo>
                <a:cubicBezTo>
                  <a:pt x="1740" y="1341"/>
                  <a:pt x="1767" y="1372"/>
                  <a:pt x="1767" y="1412"/>
                </a:cubicBezTo>
                <a:cubicBezTo>
                  <a:pt x="1767" y="1452"/>
                  <a:pt x="1740" y="1482"/>
                  <a:pt x="1699" y="1482"/>
                </a:cubicBezTo>
                <a:close/>
                <a:moveTo>
                  <a:pt x="1933" y="1312"/>
                </a:moveTo>
                <a:cubicBezTo>
                  <a:pt x="1875" y="1312"/>
                  <a:pt x="1832" y="1352"/>
                  <a:pt x="1832" y="1412"/>
                </a:cubicBezTo>
                <a:cubicBezTo>
                  <a:pt x="1832" y="1471"/>
                  <a:pt x="1875" y="1512"/>
                  <a:pt x="1933" y="1512"/>
                </a:cubicBezTo>
                <a:cubicBezTo>
                  <a:pt x="1992" y="1512"/>
                  <a:pt x="2035" y="1471"/>
                  <a:pt x="2035" y="1412"/>
                </a:cubicBezTo>
                <a:cubicBezTo>
                  <a:pt x="2035" y="1352"/>
                  <a:pt x="1992" y="1312"/>
                  <a:pt x="1933" y="1312"/>
                </a:cubicBezTo>
                <a:close/>
                <a:moveTo>
                  <a:pt x="1933" y="1482"/>
                </a:moveTo>
                <a:cubicBezTo>
                  <a:pt x="1892" y="1482"/>
                  <a:pt x="1866" y="1452"/>
                  <a:pt x="1866" y="1412"/>
                </a:cubicBezTo>
                <a:cubicBezTo>
                  <a:pt x="1866" y="1372"/>
                  <a:pt x="1892" y="1341"/>
                  <a:pt x="1933" y="1341"/>
                </a:cubicBezTo>
                <a:cubicBezTo>
                  <a:pt x="1974" y="1341"/>
                  <a:pt x="2001" y="1372"/>
                  <a:pt x="2001" y="1412"/>
                </a:cubicBezTo>
                <a:cubicBezTo>
                  <a:pt x="2001" y="1452"/>
                  <a:pt x="1974" y="1482"/>
                  <a:pt x="1933" y="1482"/>
                </a:cubicBezTo>
                <a:close/>
                <a:moveTo>
                  <a:pt x="2238" y="1462"/>
                </a:moveTo>
                <a:cubicBezTo>
                  <a:pt x="2238" y="1479"/>
                  <a:pt x="2240" y="1494"/>
                  <a:pt x="2240" y="1507"/>
                </a:cubicBezTo>
                <a:cubicBezTo>
                  <a:pt x="2210" y="1507"/>
                  <a:pt x="2210" y="1507"/>
                  <a:pt x="2210" y="1507"/>
                </a:cubicBezTo>
                <a:cubicBezTo>
                  <a:pt x="2210" y="1497"/>
                  <a:pt x="2209" y="1486"/>
                  <a:pt x="2209" y="1476"/>
                </a:cubicBezTo>
                <a:cubicBezTo>
                  <a:pt x="2208" y="1476"/>
                  <a:pt x="2208" y="1476"/>
                  <a:pt x="2208" y="1476"/>
                </a:cubicBezTo>
                <a:cubicBezTo>
                  <a:pt x="2199" y="1494"/>
                  <a:pt x="2176" y="1512"/>
                  <a:pt x="2145" y="1512"/>
                </a:cubicBezTo>
                <a:cubicBezTo>
                  <a:pt x="2095" y="1512"/>
                  <a:pt x="2072" y="1480"/>
                  <a:pt x="2072" y="1434"/>
                </a:cubicBezTo>
                <a:cubicBezTo>
                  <a:pt x="2072" y="1317"/>
                  <a:pt x="2072" y="1317"/>
                  <a:pt x="2072" y="1317"/>
                </a:cubicBezTo>
                <a:cubicBezTo>
                  <a:pt x="2104" y="1317"/>
                  <a:pt x="2104" y="1317"/>
                  <a:pt x="2104" y="1317"/>
                </a:cubicBezTo>
                <a:cubicBezTo>
                  <a:pt x="2104" y="1431"/>
                  <a:pt x="2104" y="1431"/>
                  <a:pt x="2104" y="1431"/>
                </a:cubicBezTo>
                <a:cubicBezTo>
                  <a:pt x="2104" y="1463"/>
                  <a:pt x="2118" y="1482"/>
                  <a:pt x="2147" y="1482"/>
                </a:cubicBezTo>
                <a:cubicBezTo>
                  <a:pt x="2188" y="1482"/>
                  <a:pt x="2206" y="1453"/>
                  <a:pt x="2206" y="1409"/>
                </a:cubicBezTo>
                <a:cubicBezTo>
                  <a:pt x="2206" y="1317"/>
                  <a:pt x="2206" y="1317"/>
                  <a:pt x="2206" y="1317"/>
                </a:cubicBezTo>
                <a:cubicBezTo>
                  <a:pt x="2238" y="1317"/>
                  <a:pt x="2238" y="1317"/>
                  <a:pt x="2238" y="1317"/>
                </a:cubicBezTo>
                <a:lnTo>
                  <a:pt x="2238" y="1462"/>
                </a:lnTo>
                <a:close/>
                <a:moveTo>
                  <a:pt x="2632" y="1281"/>
                </a:moveTo>
                <a:cubicBezTo>
                  <a:pt x="2632" y="1317"/>
                  <a:pt x="2632" y="1317"/>
                  <a:pt x="2632" y="1317"/>
                </a:cubicBezTo>
                <a:cubicBezTo>
                  <a:pt x="2678" y="1317"/>
                  <a:pt x="2678" y="1317"/>
                  <a:pt x="2678" y="1317"/>
                </a:cubicBezTo>
                <a:cubicBezTo>
                  <a:pt x="2678" y="1343"/>
                  <a:pt x="2678" y="1343"/>
                  <a:pt x="2678" y="1343"/>
                </a:cubicBezTo>
                <a:cubicBezTo>
                  <a:pt x="2632" y="1343"/>
                  <a:pt x="2632" y="1343"/>
                  <a:pt x="2632" y="1343"/>
                </a:cubicBezTo>
                <a:cubicBezTo>
                  <a:pt x="2632" y="1507"/>
                  <a:pt x="2632" y="1507"/>
                  <a:pt x="2632" y="1507"/>
                </a:cubicBezTo>
                <a:cubicBezTo>
                  <a:pt x="2600" y="1507"/>
                  <a:pt x="2600" y="1507"/>
                  <a:pt x="2600" y="1507"/>
                </a:cubicBezTo>
                <a:cubicBezTo>
                  <a:pt x="2600" y="1343"/>
                  <a:pt x="2600" y="1343"/>
                  <a:pt x="2600" y="1343"/>
                </a:cubicBezTo>
                <a:cubicBezTo>
                  <a:pt x="2553" y="1343"/>
                  <a:pt x="2553" y="1343"/>
                  <a:pt x="2553" y="1343"/>
                </a:cubicBezTo>
                <a:cubicBezTo>
                  <a:pt x="2553" y="1343"/>
                  <a:pt x="2553" y="1343"/>
                  <a:pt x="2553" y="1343"/>
                </a:cubicBezTo>
                <a:cubicBezTo>
                  <a:pt x="2500" y="1507"/>
                  <a:pt x="2500" y="1507"/>
                  <a:pt x="2500" y="1507"/>
                </a:cubicBezTo>
                <a:cubicBezTo>
                  <a:pt x="2469" y="1507"/>
                  <a:pt x="2469" y="1507"/>
                  <a:pt x="2469" y="1507"/>
                </a:cubicBezTo>
                <a:cubicBezTo>
                  <a:pt x="2415" y="1361"/>
                  <a:pt x="2415" y="1361"/>
                  <a:pt x="2415" y="1361"/>
                </a:cubicBezTo>
                <a:cubicBezTo>
                  <a:pt x="2414" y="1361"/>
                  <a:pt x="2414" y="1361"/>
                  <a:pt x="2414" y="1361"/>
                </a:cubicBezTo>
                <a:cubicBezTo>
                  <a:pt x="2366" y="1507"/>
                  <a:pt x="2366" y="1507"/>
                  <a:pt x="2366" y="1507"/>
                </a:cubicBezTo>
                <a:cubicBezTo>
                  <a:pt x="2333" y="1507"/>
                  <a:pt x="2333" y="1507"/>
                  <a:pt x="2333" y="1507"/>
                </a:cubicBezTo>
                <a:cubicBezTo>
                  <a:pt x="2271" y="1317"/>
                  <a:pt x="2271" y="1317"/>
                  <a:pt x="2271" y="1317"/>
                </a:cubicBezTo>
                <a:cubicBezTo>
                  <a:pt x="2306" y="1317"/>
                  <a:pt x="2306" y="1317"/>
                  <a:pt x="2306" y="1317"/>
                </a:cubicBezTo>
                <a:cubicBezTo>
                  <a:pt x="2350" y="1463"/>
                  <a:pt x="2350" y="1463"/>
                  <a:pt x="2350" y="1463"/>
                </a:cubicBezTo>
                <a:cubicBezTo>
                  <a:pt x="2351" y="1463"/>
                  <a:pt x="2351" y="1463"/>
                  <a:pt x="2351" y="1463"/>
                </a:cubicBezTo>
                <a:cubicBezTo>
                  <a:pt x="2400" y="1317"/>
                  <a:pt x="2400" y="1317"/>
                  <a:pt x="2400" y="1317"/>
                </a:cubicBezTo>
                <a:cubicBezTo>
                  <a:pt x="2433" y="1317"/>
                  <a:pt x="2433" y="1317"/>
                  <a:pt x="2433" y="1317"/>
                </a:cubicBezTo>
                <a:cubicBezTo>
                  <a:pt x="2483" y="1463"/>
                  <a:pt x="2483" y="1463"/>
                  <a:pt x="2483" y="1463"/>
                </a:cubicBezTo>
                <a:cubicBezTo>
                  <a:pt x="2484" y="1463"/>
                  <a:pt x="2484" y="1463"/>
                  <a:pt x="2484" y="1463"/>
                </a:cubicBezTo>
                <a:cubicBezTo>
                  <a:pt x="2527" y="1317"/>
                  <a:pt x="2527" y="1317"/>
                  <a:pt x="2527" y="1317"/>
                </a:cubicBezTo>
                <a:cubicBezTo>
                  <a:pt x="2553" y="1317"/>
                  <a:pt x="2553" y="1317"/>
                  <a:pt x="2553" y="1317"/>
                </a:cubicBezTo>
                <a:cubicBezTo>
                  <a:pt x="2561" y="1317"/>
                  <a:pt x="2561" y="1317"/>
                  <a:pt x="2561" y="1317"/>
                </a:cubicBezTo>
                <a:cubicBezTo>
                  <a:pt x="2600" y="1317"/>
                  <a:pt x="2600" y="1317"/>
                  <a:pt x="2600" y="1317"/>
                </a:cubicBezTo>
                <a:cubicBezTo>
                  <a:pt x="2600" y="1274"/>
                  <a:pt x="2600" y="1274"/>
                  <a:pt x="2600" y="1274"/>
                </a:cubicBezTo>
                <a:cubicBezTo>
                  <a:pt x="2600" y="1228"/>
                  <a:pt x="2616" y="1195"/>
                  <a:pt x="2668" y="1195"/>
                </a:cubicBezTo>
                <a:cubicBezTo>
                  <a:pt x="2676" y="1195"/>
                  <a:pt x="2686" y="1196"/>
                  <a:pt x="2692" y="1200"/>
                </a:cubicBezTo>
                <a:cubicBezTo>
                  <a:pt x="2688" y="1228"/>
                  <a:pt x="2688" y="1228"/>
                  <a:pt x="2688" y="1228"/>
                </a:cubicBezTo>
                <a:cubicBezTo>
                  <a:pt x="2681" y="1226"/>
                  <a:pt x="2673" y="1224"/>
                  <a:pt x="2666" y="1224"/>
                </a:cubicBezTo>
                <a:cubicBezTo>
                  <a:pt x="2633" y="1224"/>
                  <a:pt x="2632" y="1248"/>
                  <a:pt x="2632" y="1281"/>
                </a:cubicBezTo>
                <a:close/>
                <a:moveTo>
                  <a:pt x="2791" y="1312"/>
                </a:moveTo>
                <a:cubicBezTo>
                  <a:pt x="2733" y="1312"/>
                  <a:pt x="2690" y="1352"/>
                  <a:pt x="2690" y="1412"/>
                </a:cubicBezTo>
                <a:cubicBezTo>
                  <a:pt x="2690" y="1471"/>
                  <a:pt x="2733" y="1512"/>
                  <a:pt x="2791" y="1512"/>
                </a:cubicBezTo>
                <a:cubicBezTo>
                  <a:pt x="2850" y="1512"/>
                  <a:pt x="2893" y="1471"/>
                  <a:pt x="2893" y="1412"/>
                </a:cubicBezTo>
                <a:cubicBezTo>
                  <a:pt x="2893" y="1352"/>
                  <a:pt x="2850" y="1312"/>
                  <a:pt x="2791" y="1312"/>
                </a:cubicBezTo>
                <a:close/>
                <a:moveTo>
                  <a:pt x="2791" y="1482"/>
                </a:moveTo>
                <a:cubicBezTo>
                  <a:pt x="2750" y="1482"/>
                  <a:pt x="2724" y="1452"/>
                  <a:pt x="2724" y="1412"/>
                </a:cubicBezTo>
                <a:cubicBezTo>
                  <a:pt x="2724" y="1372"/>
                  <a:pt x="2750" y="1341"/>
                  <a:pt x="2791" y="1341"/>
                </a:cubicBezTo>
                <a:cubicBezTo>
                  <a:pt x="2833" y="1341"/>
                  <a:pt x="2859" y="1372"/>
                  <a:pt x="2859" y="1412"/>
                </a:cubicBezTo>
                <a:cubicBezTo>
                  <a:pt x="2859" y="1452"/>
                  <a:pt x="2833" y="1482"/>
                  <a:pt x="2791" y="1482"/>
                </a:cubicBezTo>
                <a:close/>
                <a:moveTo>
                  <a:pt x="3097" y="1389"/>
                </a:moveTo>
                <a:cubicBezTo>
                  <a:pt x="3097" y="1507"/>
                  <a:pt x="3097" y="1507"/>
                  <a:pt x="3097" y="1507"/>
                </a:cubicBezTo>
                <a:cubicBezTo>
                  <a:pt x="3065" y="1507"/>
                  <a:pt x="3065" y="1507"/>
                  <a:pt x="3065" y="1507"/>
                </a:cubicBezTo>
                <a:cubicBezTo>
                  <a:pt x="3065" y="1393"/>
                  <a:pt x="3065" y="1393"/>
                  <a:pt x="3065" y="1393"/>
                </a:cubicBezTo>
                <a:cubicBezTo>
                  <a:pt x="3065" y="1361"/>
                  <a:pt x="3052" y="1341"/>
                  <a:pt x="3022" y="1341"/>
                </a:cubicBezTo>
                <a:cubicBezTo>
                  <a:pt x="2981" y="1341"/>
                  <a:pt x="2963" y="1371"/>
                  <a:pt x="2963" y="1414"/>
                </a:cubicBezTo>
                <a:cubicBezTo>
                  <a:pt x="2963" y="1507"/>
                  <a:pt x="2963" y="1507"/>
                  <a:pt x="2963" y="1507"/>
                </a:cubicBezTo>
                <a:cubicBezTo>
                  <a:pt x="2931" y="1507"/>
                  <a:pt x="2931" y="1507"/>
                  <a:pt x="2931" y="1507"/>
                </a:cubicBezTo>
                <a:cubicBezTo>
                  <a:pt x="2931" y="1362"/>
                  <a:pt x="2931" y="1362"/>
                  <a:pt x="2931" y="1362"/>
                </a:cubicBezTo>
                <a:cubicBezTo>
                  <a:pt x="2931" y="1344"/>
                  <a:pt x="2930" y="1329"/>
                  <a:pt x="2930" y="1317"/>
                </a:cubicBezTo>
                <a:cubicBezTo>
                  <a:pt x="2960" y="1317"/>
                  <a:pt x="2960" y="1317"/>
                  <a:pt x="2960" y="1317"/>
                </a:cubicBezTo>
                <a:cubicBezTo>
                  <a:pt x="2960" y="1327"/>
                  <a:pt x="2960" y="1337"/>
                  <a:pt x="2960" y="1348"/>
                </a:cubicBezTo>
                <a:cubicBezTo>
                  <a:pt x="2961" y="1348"/>
                  <a:pt x="2961" y="1348"/>
                  <a:pt x="2961" y="1348"/>
                </a:cubicBezTo>
                <a:cubicBezTo>
                  <a:pt x="2970" y="1329"/>
                  <a:pt x="2993" y="1312"/>
                  <a:pt x="3025" y="1312"/>
                </a:cubicBezTo>
                <a:cubicBezTo>
                  <a:pt x="3075" y="1312"/>
                  <a:pt x="3097" y="1343"/>
                  <a:pt x="3097" y="1389"/>
                </a:cubicBezTo>
                <a:close/>
                <a:moveTo>
                  <a:pt x="3307" y="1344"/>
                </a:moveTo>
                <a:cubicBezTo>
                  <a:pt x="3306" y="1344"/>
                  <a:pt x="3306" y="1344"/>
                  <a:pt x="3306" y="1344"/>
                </a:cubicBezTo>
                <a:cubicBezTo>
                  <a:pt x="3289" y="1324"/>
                  <a:pt x="3266" y="1312"/>
                  <a:pt x="3238" y="1312"/>
                </a:cubicBezTo>
                <a:cubicBezTo>
                  <a:pt x="3178" y="1312"/>
                  <a:pt x="3138" y="1354"/>
                  <a:pt x="3138" y="1412"/>
                </a:cubicBezTo>
                <a:cubicBezTo>
                  <a:pt x="3138" y="1469"/>
                  <a:pt x="3180" y="1512"/>
                  <a:pt x="3233" y="1512"/>
                </a:cubicBezTo>
                <a:cubicBezTo>
                  <a:pt x="3267" y="1512"/>
                  <a:pt x="3295" y="1495"/>
                  <a:pt x="3306" y="1473"/>
                </a:cubicBezTo>
                <a:cubicBezTo>
                  <a:pt x="3307" y="1473"/>
                  <a:pt x="3307" y="1473"/>
                  <a:pt x="3307" y="1473"/>
                </a:cubicBezTo>
                <a:cubicBezTo>
                  <a:pt x="3307" y="1507"/>
                  <a:pt x="3307" y="1507"/>
                  <a:pt x="3307" y="1507"/>
                </a:cubicBezTo>
                <a:cubicBezTo>
                  <a:pt x="3339" y="1507"/>
                  <a:pt x="3339" y="1507"/>
                  <a:pt x="3339" y="1507"/>
                </a:cubicBezTo>
                <a:cubicBezTo>
                  <a:pt x="3339" y="1200"/>
                  <a:pt x="3339" y="1200"/>
                  <a:pt x="3339" y="1200"/>
                </a:cubicBezTo>
                <a:cubicBezTo>
                  <a:pt x="3307" y="1200"/>
                  <a:pt x="3307" y="1200"/>
                  <a:pt x="3307" y="1200"/>
                </a:cubicBezTo>
                <a:lnTo>
                  <a:pt x="3307" y="1344"/>
                </a:lnTo>
                <a:close/>
                <a:moveTo>
                  <a:pt x="3240" y="1482"/>
                </a:moveTo>
                <a:cubicBezTo>
                  <a:pt x="3199" y="1482"/>
                  <a:pt x="3172" y="1452"/>
                  <a:pt x="3172" y="1412"/>
                </a:cubicBezTo>
                <a:cubicBezTo>
                  <a:pt x="3172" y="1372"/>
                  <a:pt x="3199" y="1341"/>
                  <a:pt x="3240" y="1341"/>
                </a:cubicBezTo>
                <a:cubicBezTo>
                  <a:pt x="3281" y="1341"/>
                  <a:pt x="3307" y="1372"/>
                  <a:pt x="3307" y="1412"/>
                </a:cubicBezTo>
                <a:cubicBezTo>
                  <a:pt x="3307" y="1452"/>
                  <a:pt x="3281" y="1482"/>
                  <a:pt x="3240" y="1482"/>
                </a:cubicBezTo>
                <a:close/>
                <a:moveTo>
                  <a:pt x="3530" y="1452"/>
                </a:moveTo>
                <a:cubicBezTo>
                  <a:pt x="3530" y="1495"/>
                  <a:pt x="3491" y="1512"/>
                  <a:pt x="3454" y="1512"/>
                </a:cubicBezTo>
                <a:cubicBezTo>
                  <a:pt x="3421" y="1512"/>
                  <a:pt x="3398" y="1503"/>
                  <a:pt x="3380" y="1476"/>
                </a:cubicBezTo>
                <a:cubicBezTo>
                  <a:pt x="3405" y="1457"/>
                  <a:pt x="3405" y="1457"/>
                  <a:pt x="3405" y="1457"/>
                </a:cubicBezTo>
                <a:cubicBezTo>
                  <a:pt x="3417" y="1472"/>
                  <a:pt x="3431" y="1482"/>
                  <a:pt x="3454" y="1482"/>
                </a:cubicBezTo>
                <a:cubicBezTo>
                  <a:pt x="3473" y="1482"/>
                  <a:pt x="3495" y="1474"/>
                  <a:pt x="3495" y="1453"/>
                </a:cubicBezTo>
                <a:cubicBezTo>
                  <a:pt x="3495" y="1433"/>
                  <a:pt x="3475" y="1428"/>
                  <a:pt x="3455" y="1423"/>
                </a:cubicBezTo>
                <a:cubicBezTo>
                  <a:pt x="3419" y="1415"/>
                  <a:pt x="3388" y="1407"/>
                  <a:pt x="3388" y="1368"/>
                </a:cubicBezTo>
                <a:cubicBezTo>
                  <a:pt x="3388" y="1331"/>
                  <a:pt x="3423" y="1312"/>
                  <a:pt x="3459" y="1312"/>
                </a:cubicBezTo>
                <a:cubicBezTo>
                  <a:pt x="3486" y="1312"/>
                  <a:pt x="3510" y="1322"/>
                  <a:pt x="3523" y="1346"/>
                </a:cubicBezTo>
                <a:cubicBezTo>
                  <a:pt x="3497" y="1364"/>
                  <a:pt x="3497" y="1364"/>
                  <a:pt x="3497" y="1364"/>
                </a:cubicBezTo>
                <a:cubicBezTo>
                  <a:pt x="3489" y="1350"/>
                  <a:pt x="3475" y="1341"/>
                  <a:pt x="3457" y="1341"/>
                </a:cubicBezTo>
                <a:cubicBezTo>
                  <a:pt x="3439" y="1341"/>
                  <a:pt x="3419" y="1350"/>
                  <a:pt x="3419" y="1367"/>
                </a:cubicBezTo>
                <a:cubicBezTo>
                  <a:pt x="3419" y="1383"/>
                  <a:pt x="3442" y="1390"/>
                  <a:pt x="3467" y="1395"/>
                </a:cubicBezTo>
                <a:cubicBezTo>
                  <a:pt x="3501" y="1402"/>
                  <a:pt x="3530" y="1414"/>
                  <a:pt x="3530" y="1452"/>
                </a:cubicBezTo>
                <a:close/>
                <a:moveTo>
                  <a:pt x="814" y="0"/>
                </a:moveTo>
                <a:cubicBezTo>
                  <a:pt x="404" y="0"/>
                  <a:pt x="404" y="0"/>
                  <a:pt x="404" y="0"/>
                </a:cubicBezTo>
                <a:cubicBezTo>
                  <a:pt x="0" y="403"/>
                  <a:pt x="0" y="403"/>
                  <a:pt x="0" y="403"/>
                </a:cubicBezTo>
                <a:cubicBezTo>
                  <a:pt x="193" y="596"/>
                  <a:pt x="193" y="596"/>
                  <a:pt x="193" y="596"/>
                </a:cubicBezTo>
                <a:cubicBezTo>
                  <a:pt x="0" y="789"/>
                  <a:pt x="0" y="789"/>
                  <a:pt x="0" y="789"/>
                </a:cubicBezTo>
                <a:cubicBezTo>
                  <a:pt x="411" y="1200"/>
                  <a:pt x="411" y="1200"/>
                  <a:pt x="411" y="1200"/>
                </a:cubicBezTo>
                <a:cubicBezTo>
                  <a:pt x="604" y="1007"/>
                  <a:pt x="604" y="1007"/>
                  <a:pt x="604" y="1007"/>
                </a:cubicBezTo>
                <a:cubicBezTo>
                  <a:pt x="797" y="1200"/>
                  <a:pt x="797" y="1200"/>
                  <a:pt x="797" y="1200"/>
                </a:cubicBezTo>
                <a:cubicBezTo>
                  <a:pt x="1200" y="796"/>
                  <a:pt x="1200" y="796"/>
                  <a:pt x="1200" y="796"/>
                </a:cubicBezTo>
                <a:cubicBezTo>
                  <a:pt x="1200" y="386"/>
                  <a:pt x="1200" y="386"/>
                  <a:pt x="1200" y="386"/>
                </a:cubicBezTo>
                <a:cubicBezTo>
                  <a:pt x="814" y="386"/>
                  <a:pt x="814" y="386"/>
                  <a:pt x="814" y="386"/>
                </a:cubicBezTo>
                <a:lnTo>
                  <a:pt x="814" y="0"/>
                </a:lnTo>
                <a:close/>
                <a:moveTo>
                  <a:pt x="50" y="403"/>
                </a:moveTo>
                <a:cubicBezTo>
                  <a:pt x="418" y="35"/>
                  <a:pt x="418" y="35"/>
                  <a:pt x="418" y="35"/>
                </a:cubicBezTo>
                <a:cubicBezTo>
                  <a:pt x="779" y="35"/>
                  <a:pt x="779" y="35"/>
                  <a:pt x="779" y="35"/>
                </a:cubicBezTo>
                <a:cubicBezTo>
                  <a:pt x="779" y="386"/>
                  <a:pt x="779" y="386"/>
                  <a:pt x="779" y="386"/>
                </a:cubicBezTo>
                <a:cubicBezTo>
                  <a:pt x="404" y="386"/>
                  <a:pt x="404" y="386"/>
                  <a:pt x="404" y="386"/>
                </a:cubicBezTo>
                <a:cubicBezTo>
                  <a:pt x="218" y="571"/>
                  <a:pt x="218" y="571"/>
                  <a:pt x="218" y="571"/>
                </a:cubicBezTo>
                <a:lnTo>
                  <a:pt x="50" y="403"/>
                </a:lnTo>
                <a:close/>
                <a:moveTo>
                  <a:pt x="755" y="420"/>
                </a:moveTo>
                <a:cubicBezTo>
                  <a:pt x="411" y="764"/>
                  <a:pt x="411" y="764"/>
                  <a:pt x="411" y="764"/>
                </a:cubicBezTo>
                <a:cubicBezTo>
                  <a:pt x="242" y="596"/>
                  <a:pt x="242" y="596"/>
                  <a:pt x="242" y="596"/>
                </a:cubicBezTo>
                <a:cubicBezTo>
                  <a:pt x="418" y="420"/>
                  <a:pt x="418" y="420"/>
                  <a:pt x="418" y="420"/>
                </a:cubicBezTo>
                <a:lnTo>
                  <a:pt x="755" y="420"/>
                </a:lnTo>
                <a:close/>
                <a:moveTo>
                  <a:pt x="411" y="1150"/>
                </a:moveTo>
                <a:cubicBezTo>
                  <a:pt x="49" y="789"/>
                  <a:pt x="49" y="789"/>
                  <a:pt x="49" y="789"/>
                </a:cubicBezTo>
                <a:cubicBezTo>
                  <a:pt x="218" y="621"/>
                  <a:pt x="218" y="621"/>
                  <a:pt x="218" y="621"/>
                </a:cubicBezTo>
                <a:cubicBezTo>
                  <a:pt x="579" y="982"/>
                  <a:pt x="579" y="982"/>
                  <a:pt x="579" y="982"/>
                </a:cubicBezTo>
                <a:lnTo>
                  <a:pt x="411" y="1150"/>
                </a:lnTo>
                <a:close/>
                <a:moveTo>
                  <a:pt x="435" y="789"/>
                </a:moveTo>
                <a:cubicBezTo>
                  <a:pt x="779" y="445"/>
                  <a:pt x="779" y="445"/>
                  <a:pt x="779" y="445"/>
                </a:cubicBezTo>
                <a:cubicBezTo>
                  <a:pt x="779" y="782"/>
                  <a:pt x="779" y="782"/>
                  <a:pt x="779" y="782"/>
                </a:cubicBezTo>
                <a:cubicBezTo>
                  <a:pt x="604" y="957"/>
                  <a:pt x="604" y="957"/>
                  <a:pt x="604" y="957"/>
                </a:cubicBezTo>
                <a:lnTo>
                  <a:pt x="435" y="789"/>
                </a:lnTo>
                <a:close/>
                <a:moveTo>
                  <a:pt x="1165" y="420"/>
                </a:moveTo>
                <a:cubicBezTo>
                  <a:pt x="1165" y="782"/>
                  <a:pt x="1165" y="782"/>
                  <a:pt x="1165" y="782"/>
                </a:cubicBezTo>
                <a:cubicBezTo>
                  <a:pt x="797" y="1150"/>
                  <a:pt x="797" y="1150"/>
                  <a:pt x="797" y="1150"/>
                </a:cubicBezTo>
                <a:cubicBezTo>
                  <a:pt x="628" y="982"/>
                  <a:pt x="628" y="982"/>
                  <a:pt x="628" y="982"/>
                </a:cubicBezTo>
                <a:cubicBezTo>
                  <a:pt x="814" y="796"/>
                  <a:pt x="814" y="796"/>
                  <a:pt x="814" y="796"/>
                </a:cubicBezTo>
                <a:cubicBezTo>
                  <a:pt x="814" y="420"/>
                  <a:pt x="814" y="420"/>
                  <a:pt x="814" y="420"/>
                </a:cubicBezTo>
                <a:lnTo>
                  <a:pt x="1165" y="4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lgn="l" defTabSz="1088937" rtl="0" eaLnBrk="1" latinLnBrk="0" hangingPunct="1">
              <a:lnSpc>
                <a:spcPct val="114000"/>
              </a:lnSpc>
              <a:spcBef>
                <a:spcPts val="0"/>
              </a:spcBef>
              <a:buFont typeface="Arial" pitchFamily="34" charset="0"/>
              <a:buNone/>
              <a:defRPr/>
            </a:lvl1pPr>
          </a:lstStyle>
          <a:p>
            <a:r>
              <a:rPr lang="nl-NL" dirty="0"/>
              <a:t> </a:t>
            </a:r>
          </a:p>
        </p:txBody>
      </p:sp>
      <p:sp>
        <p:nvSpPr>
          <p:cNvPr id="14" name="Freeform 7 (PHJU)">
            <a:extLst>
              <a:ext uri="{FF2B5EF4-FFF2-40B4-BE49-F238E27FC236}">
                <a16:creationId xmlns:a16="http://schemas.microsoft.com/office/drawing/2014/main" id="{B28D01B1-372B-4C4F-8C07-4CB2BF8A6902}"/>
              </a:ext>
            </a:extLst>
          </p:cNvPr>
          <p:cNvSpPr>
            <a:spLocks noGrp="1" noSelect="1"/>
          </p:cNvSpPr>
          <p:nvPr>
            <p:ph type="body" idx="1001" hasCustomPrompt="1"/>
            <p:custDataLst>
              <p:custData r:id="rId3"/>
            </p:custDataLst>
          </p:nvPr>
        </p:nvSpPr>
        <p:spPr bwMode="gray">
          <a:xfrm>
            <a:off x="4381920" y="0"/>
            <a:ext cx="1397160" cy="6163200"/>
          </a:xfrm>
          <a:custGeom>
            <a:avLst/>
            <a:gdLst>
              <a:gd name="T0" fmla="*/ 880 w 880"/>
              <a:gd name="T1" fmla="*/ 0 h 3877"/>
              <a:gd name="T2" fmla="*/ 880 w 880"/>
              <a:gd name="T3" fmla="*/ 3437 h 3877"/>
              <a:gd name="T4" fmla="*/ 440 w 880"/>
              <a:gd name="T5" fmla="*/ 3877 h 3877"/>
              <a:gd name="T6" fmla="*/ 0 w 880"/>
              <a:gd name="T7" fmla="*/ 3437 h 3877"/>
              <a:gd name="T8" fmla="*/ 0 w 880"/>
              <a:gd name="T9" fmla="*/ 0 h 3877"/>
              <a:gd name="T10" fmla="*/ 880 w 880"/>
              <a:gd name="T11" fmla="*/ 0 h 3877"/>
            </a:gdLst>
            <a:ahLst/>
            <a:cxnLst>
              <a:cxn ang="0">
                <a:pos x="T0" y="T1"/>
              </a:cxn>
              <a:cxn ang="0">
                <a:pos x="T2" y="T3"/>
              </a:cxn>
              <a:cxn ang="0">
                <a:pos x="T4" y="T5"/>
              </a:cxn>
              <a:cxn ang="0">
                <a:pos x="T6" y="T7"/>
              </a:cxn>
              <a:cxn ang="0">
                <a:pos x="T8" y="T9"/>
              </a:cxn>
              <a:cxn ang="0">
                <a:pos x="T10" y="T11"/>
              </a:cxn>
            </a:cxnLst>
            <a:rect l="0" t="0" r="r" b="b"/>
            <a:pathLst>
              <a:path w="880" h="3877">
                <a:moveTo>
                  <a:pt x="880" y="0"/>
                </a:moveTo>
                <a:lnTo>
                  <a:pt x="880" y="3437"/>
                </a:lnTo>
                <a:lnTo>
                  <a:pt x="440" y="3877"/>
                </a:lnTo>
                <a:lnTo>
                  <a:pt x="0" y="3437"/>
                </a:lnTo>
                <a:lnTo>
                  <a:pt x="0" y="0"/>
                </a:lnTo>
                <a:lnTo>
                  <a:pt x="880" y="0"/>
                </a:lnTo>
                <a:close/>
              </a:path>
            </a:pathLst>
          </a:custGeom>
          <a:solidFill>
            <a:srgbClr val="58525A">
              <a:alpha val="77000"/>
            </a:srgbClr>
          </a:solidFill>
          <a:ln>
            <a:noFill/>
          </a:ln>
        </p:spPr>
        <p:txBody>
          <a:bodyPr vert="horz" wrap="square" lIns="91440" tIns="45720" rIns="91440" bIns="45720" numCol="1" anchor="t" anchorCtr="0" compatLnSpc="1">
            <a:prstTxWarp prst="textNoShape">
              <a:avLst/>
            </a:prstTxWarp>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7" name="Freeform 7 (PHJU)">
            <a:extLst>
              <a:ext uri="{FF2B5EF4-FFF2-40B4-BE49-F238E27FC236}">
                <a16:creationId xmlns:a16="http://schemas.microsoft.com/office/drawing/2014/main" id="{96B669EB-B05D-4F9F-9E79-2E945D460328}"/>
              </a:ext>
            </a:extLst>
          </p:cNvPr>
          <p:cNvSpPr>
            <a:spLocks noGrp="1" noSelect="1"/>
          </p:cNvSpPr>
          <p:nvPr>
            <p:ph type="body" idx="1003" hasCustomPrompt="1"/>
            <p:custDataLst>
              <p:custData r:id="rId4"/>
            </p:custDataLst>
          </p:nvPr>
        </p:nvSpPr>
        <p:spPr bwMode="gray">
          <a:xfrm>
            <a:off x="4381920" y="0"/>
            <a:ext cx="1397160" cy="6171840"/>
          </a:xfrm>
          <a:custGeom>
            <a:avLst/>
            <a:gdLst>
              <a:gd name="T0" fmla="*/ 880 w 880"/>
              <a:gd name="T1" fmla="*/ 0 h 3877"/>
              <a:gd name="T2" fmla="*/ 880 w 880"/>
              <a:gd name="T3" fmla="*/ 3437 h 3877"/>
              <a:gd name="T4" fmla="*/ 440 w 880"/>
              <a:gd name="T5" fmla="*/ 3877 h 3877"/>
              <a:gd name="T6" fmla="*/ 0 w 880"/>
              <a:gd name="T7" fmla="*/ 3437 h 3877"/>
              <a:gd name="T8" fmla="*/ 0 w 880"/>
              <a:gd name="T9" fmla="*/ 0 h 3877"/>
              <a:gd name="T10" fmla="*/ 880 w 880"/>
              <a:gd name="T11" fmla="*/ 0 h 3877"/>
            </a:gdLst>
            <a:ahLst/>
            <a:cxnLst>
              <a:cxn ang="0">
                <a:pos x="T0" y="T1"/>
              </a:cxn>
              <a:cxn ang="0">
                <a:pos x="T2" y="T3"/>
              </a:cxn>
              <a:cxn ang="0">
                <a:pos x="T4" y="T5"/>
              </a:cxn>
              <a:cxn ang="0">
                <a:pos x="T6" y="T7"/>
              </a:cxn>
              <a:cxn ang="0">
                <a:pos x="T8" y="T9"/>
              </a:cxn>
              <a:cxn ang="0">
                <a:pos x="T10" y="T11"/>
              </a:cxn>
            </a:cxnLst>
            <a:rect l="0" t="0" r="r" b="b"/>
            <a:pathLst>
              <a:path w="880" h="3877">
                <a:moveTo>
                  <a:pt x="880" y="0"/>
                </a:moveTo>
                <a:lnTo>
                  <a:pt x="880" y="3437"/>
                </a:lnTo>
                <a:lnTo>
                  <a:pt x="440" y="3877"/>
                </a:lnTo>
                <a:lnTo>
                  <a:pt x="0" y="3437"/>
                </a:lnTo>
                <a:lnTo>
                  <a:pt x="0" y="0"/>
                </a:lnTo>
                <a:lnTo>
                  <a:pt x="880" y="0"/>
                </a:lnTo>
                <a:close/>
              </a:path>
            </a:pathLst>
          </a:custGeom>
          <a:solidFill>
            <a:srgbClr val="C73735">
              <a:alpha val="77000"/>
            </a:srgbClr>
          </a:solidFill>
          <a:ln>
            <a:noFill/>
          </a:ln>
        </p:spPr>
        <p:txBody>
          <a:bodyPr vert="horz" wrap="square" lIns="91440" tIns="45720" rIns="91440" bIns="45720" numCol="1" anchor="t" anchorCtr="0" compatLnSpc="1">
            <a:prstTxWarp prst="textNoShape">
              <a:avLst/>
            </a:prstTxWarp>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3" name="***Tijdelijke aanduiding voor tekst 2"/>
          <p:cNvSpPr>
            <a:spLocks noGrp="1" noSelect="1"/>
          </p:cNvSpPr>
          <p:nvPr>
            <p:ph type="body" sz="quarter" idx="14" hasCustomPrompt="1"/>
          </p:nvPr>
        </p:nvSpPr>
        <p:spPr bwMode="gray">
          <a:xfrm>
            <a:off x="638426" y="729135"/>
            <a:ext cx="3348000" cy="3779985"/>
          </a:xfrm>
        </p:spPr>
        <p:txBody>
          <a:bodyPr>
            <a:noAutofit/>
          </a:bodyPr>
          <a:lstStyle>
            <a:lvl1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1pPr>
            <a:lvl2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2pPr>
            <a:lvl3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3pPr>
            <a:lvl4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4pPr>
            <a:lvl5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5pPr>
            <a:lvl6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6pPr>
            <a:lvl7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7pPr>
            <a:lvl8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8pPr>
            <a:lvl9pPr marL="0" indent="0">
              <a:lnSpc>
                <a:spcPct val="105000"/>
              </a:lnSpc>
              <a:spcBef>
                <a:spcPts val="0"/>
              </a:spcBef>
              <a:spcAft>
                <a:spcPts val="0"/>
              </a:spcAft>
              <a:buNone/>
              <a:defRPr sz="3000" b="0">
                <a:solidFill>
                  <a:schemeClr val="bg1"/>
                </a:solidFill>
                <a:latin typeface="Univers" panose="020B0603020202030204" pitchFamily="34" charset="0"/>
              </a:defRPr>
            </a:lvl9pPr>
          </a:lstStyle>
          <a:p>
            <a:pPr lvl="0"/>
            <a:r>
              <a:rPr lang="nl-NL" dirty="0"/>
              <a:t>[Hier is ruimte voor een kop of hoofdstuktitel die over maximaal 8 regels loopt. </a:t>
            </a:r>
            <a:r>
              <a:rPr lang="nl-NL" dirty="0" err="1"/>
              <a:t>Etum</a:t>
            </a:r>
            <a:r>
              <a:rPr lang="nl-NL" dirty="0"/>
              <a:t> as </a:t>
            </a:r>
            <a:r>
              <a:rPr lang="nl-NL" dirty="0" err="1"/>
              <a:t>aniet</a:t>
            </a:r>
            <a:r>
              <a:rPr lang="nl-NL" dirty="0"/>
              <a:t> </a:t>
            </a:r>
            <a:r>
              <a:rPr lang="nl-NL" dirty="0" err="1"/>
              <a:t>postrum</a:t>
            </a:r>
            <a:r>
              <a:rPr lang="nl-NL" dirty="0"/>
              <a:t> </a:t>
            </a:r>
            <a:r>
              <a:rPr lang="nl-NL" dirty="0" err="1"/>
              <a:t>coribus</a:t>
            </a:r>
            <a:r>
              <a:rPr lang="nl-NL" dirty="0"/>
              <a:t> </a:t>
            </a:r>
            <a:r>
              <a:rPr lang="nl-NL" dirty="0" err="1"/>
              <a:t>idis</a:t>
            </a:r>
            <a:r>
              <a:rPr lang="nl-NL" dirty="0"/>
              <a:t> &gt; lijnt links en boven.]</a:t>
            </a:r>
          </a:p>
        </p:txBody>
      </p:sp>
      <p:sp>
        <p:nvSpPr>
          <p:cNvPr id="8" name="witdriehoek">
            <a:extLst>
              <a:ext uri="{FF2B5EF4-FFF2-40B4-BE49-F238E27FC236}">
                <a16:creationId xmlns:a16="http://schemas.microsoft.com/office/drawing/2014/main" id="{7A8792AC-9BB0-45B0-8EE6-CB530D1A3B4A}"/>
              </a:ext>
            </a:extLst>
          </p:cNvPr>
          <p:cNvSpPr>
            <a:spLocks noSelect="1"/>
          </p:cNvSpPr>
          <p:nvPr userDrawn="1"/>
        </p:nvSpPr>
        <p:spPr bwMode="auto">
          <a:xfrm>
            <a:off x="4384675" y="6156326"/>
            <a:ext cx="1395413" cy="696913"/>
          </a:xfrm>
          <a:custGeom>
            <a:avLst/>
            <a:gdLst>
              <a:gd name="T0" fmla="*/ 879 w 879"/>
              <a:gd name="T1" fmla="*/ 439 h 439"/>
              <a:gd name="T2" fmla="*/ 0 w 879"/>
              <a:gd name="T3" fmla="*/ 439 h 439"/>
              <a:gd name="T4" fmla="*/ 439 w 879"/>
              <a:gd name="T5" fmla="*/ 0 h 439"/>
              <a:gd name="T6" fmla="*/ 879 w 879"/>
              <a:gd name="T7" fmla="*/ 439 h 439"/>
            </a:gdLst>
            <a:ahLst/>
            <a:cxnLst>
              <a:cxn ang="0">
                <a:pos x="T0" y="T1"/>
              </a:cxn>
              <a:cxn ang="0">
                <a:pos x="T2" y="T3"/>
              </a:cxn>
              <a:cxn ang="0">
                <a:pos x="T4" y="T5"/>
              </a:cxn>
              <a:cxn ang="0">
                <a:pos x="T6" y="T7"/>
              </a:cxn>
            </a:cxnLst>
            <a:rect l="0" t="0" r="r" b="b"/>
            <a:pathLst>
              <a:path w="879" h="439">
                <a:moveTo>
                  <a:pt x="879" y="439"/>
                </a:moveTo>
                <a:lnTo>
                  <a:pt x="0" y="439"/>
                </a:lnTo>
                <a:lnTo>
                  <a:pt x="439" y="0"/>
                </a:lnTo>
                <a:lnTo>
                  <a:pt x="879"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x-none" dirty="0"/>
          </a:p>
        </p:txBody>
      </p:sp>
      <p:sp>
        <p:nvSpPr>
          <p:cNvPr id="9" name="kleurdriehoek">
            <a:extLst>
              <a:ext uri="{FF2B5EF4-FFF2-40B4-BE49-F238E27FC236}">
                <a16:creationId xmlns:a16="http://schemas.microsoft.com/office/drawing/2014/main" id="{96756B05-3221-49ED-99C6-EEA5C59B0AED}"/>
              </a:ext>
            </a:extLst>
          </p:cNvPr>
          <p:cNvSpPr>
            <a:spLocks noSelect="1"/>
          </p:cNvSpPr>
          <p:nvPr userDrawn="1"/>
        </p:nvSpPr>
        <p:spPr bwMode="auto">
          <a:xfrm>
            <a:off x="4384675" y="5459413"/>
            <a:ext cx="696913" cy="1393825"/>
          </a:xfrm>
          <a:custGeom>
            <a:avLst/>
            <a:gdLst>
              <a:gd name="T0" fmla="*/ 0 w 439"/>
              <a:gd name="T1" fmla="*/ 878 h 878"/>
              <a:gd name="T2" fmla="*/ 0 w 439"/>
              <a:gd name="T3" fmla="*/ 0 h 878"/>
              <a:gd name="T4" fmla="*/ 439 w 439"/>
              <a:gd name="T5" fmla="*/ 439 h 878"/>
              <a:gd name="T6" fmla="*/ 0 w 439"/>
              <a:gd name="T7" fmla="*/ 878 h 878"/>
            </a:gdLst>
            <a:ahLst/>
            <a:cxnLst>
              <a:cxn ang="0">
                <a:pos x="T0" y="T1"/>
              </a:cxn>
              <a:cxn ang="0">
                <a:pos x="T2" y="T3"/>
              </a:cxn>
              <a:cxn ang="0">
                <a:pos x="T4" y="T5"/>
              </a:cxn>
              <a:cxn ang="0">
                <a:pos x="T6" y="T7"/>
              </a:cxn>
            </a:cxnLst>
            <a:rect l="0" t="0" r="r" b="b"/>
            <a:pathLst>
              <a:path w="439" h="878">
                <a:moveTo>
                  <a:pt x="0" y="878"/>
                </a:moveTo>
                <a:lnTo>
                  <a:pt x="0" y="0"/>
                </a:lnTo>
                <a:lnTo>
                  <a:pt x="439" y="439"/>
                </a:lnTo>
                <a:lnTo>
                  <a:pt x="0" y="878"/>
                </a:lnTo>
                <a:close/>
              </a:path>
            </a:pathLst>
          </a:custGeom>
          <a:solidFill>
            <a:srgbClr val="C73735"/>
          </a:solidFill>
          <a:ln>
            <a:noFill/>
          </a:ln>
        </p:spPr>
        <p:txBody>
          <a:bodyPr vert="horz" wrap="square" lIns="91440" tIns="45720" rIns="91440" bIns="45720" numCol="1" anchor="t" anchorCtr="0" compatLnSpc="1">
            <a:prstTxWarp prst="textNoShape">
              <a:avLst/>
            </a:prstTxWarp>
          </a:bodyPr>
          <a:lstStyle/>
          <a:p>
            <a:endParaRPr lang="x-none" dirty="0"/>
          </a:p>
        </p:txBody>
      </p:sp>
    </p:spTree>
    <p:extLst>
      <p:ext uri="{BB962C8B-B14F-4D97-AF65-F5344CB8AC3E}">
        <p14:creationId xmlns:p14="http://schemas.microsoft.com/office/powerpoint/2010/main" val="441115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5000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700" fill="hold"/>
                                        <p:tgtEl>
                                          <p:spTgt spid="12"/>
                                        </p:tgtEl>
                                        <p:attrNameLst>
                                          <p:attrName>ppt_x</p:attrName>
                                        </p:attrNameLst>
                                      </p:cBhvr>
                                      <p:tavLst>
                                        <p:tav tm="0">
                                          <p:val>
                                            <p:strVal val="1+#ppt_w/2"/>
                                          </p:val>
                                        </p:tav>
                                        <p:tav tm="100000">
                                          <p:val>
                                            <p:strVal val="#ppt_x"/>
                                          </p:val>
                                        </p:tav>
                                      </p:tavLst>
                                    </p:anim>
                                    <p:anim calcmode="lin" valueType="num">
                                      <p:cBhvr additive="base">
                                        <p:cTn id="8" dur="700" fill="hold"/>
                                        <p:tgtEl>
                                          <p:spTgt spid="12"/>
                                        </p:tgtEl>
                                        <p:attrNameLst>
                                          <p:attrName>ppt_y</p:attrName>
                                        </p:attrNameLst>
                                      </p:cBhvr>
                                      <p:tavLst>
                                        <p:tav tm="0">
                                          <p:val>
                                            <p:strVal val="#ppt_y"/>
                                          </p:val>
                                        </p:tav>
                                        <p:tav tm="100000">
                                          <p:val>
                                            <p:strVal val="#ppt_y"/>
                                          </p:val>
                                        </p:tav>
                                      </p:tavLst>
                                    </p:anim>
                                  </p:childTnLst>
                                </p:cTn>
                              </p:par>
                              <p:par>
                                <p:cTn id="9" presetID="2" presetClass="entr" presetSubtype="8" decel="50000" fill="hold" grpId="0" nodeType="withEffect">
                                  <p:stCondLst>
                                    <p:cond delay="0"/>
                                  </p:stCondLst>
                                  <p:childTnLst>
                                    <p:set>
                                      <p:cBhvr>
                                        <p:cTn id="10" dur="1" fill="hold">
                                          <p:stCondLst>
                                            <p:cond delay="0"/>
                                          </p:stCondLst>
                                        </p:cTn>
                                        <p:tgtEl>
                                          <p:spTgt spid="10">
                                            <p:bg/>
                                          </p:spTgt>
                                        </p:tgtEl>
                                        <p:attrNameLst>
                                          <p:attrName>style.visibility</p:attrName>
                                        </p:attrNameLst>
                                      </p:cBhvr>
                                      <p:to>
                                        <p:strVal val="visible"/>
                                      </p:to>
                                    </p:set>
                                    <p:anim calcmode="lin" valueType="num">
                                      <p:cBhvr additive="base">
                                        <p:cTn id="11" dur="700" fill="hold"/>
                                        <p:tgtEl>
                                          <p:spTgt spid="10">
                                            <p:bg/>
                                          </p:spTgt>
                                        </p:tgtEl>
                                        <p:attrNameLst>
                                          <p:attrName>ppt_x</p:attrName>
                                        </p:attrNameLst>
                                      </p:cBhvr>
                                      <p:tavLst>
                                        <p:tav tm="0">
                                          <p:val>
                                            <p:strVal val="0-#ppt_w/2"/>
                                          </p:val>
                                        </p:tav>
                                        <p:tav tm="100000">
                                          <p:val>
                                            <p:strVal val="#ppt_x"/>
                                          </p:val>
                                        </p:tav>
                                      </p:tavLst>
                                    </p:anim>
                                    <p:anim calcmode="lin" valueType="num">
                                      <p:cBhvr additive="base">
                                        <p:cTn id="12" dur="700" fill="hold"/>
                                        <p:tgtEl>
                                          <p:spTgt spid="10">
                                            <p:bg/>
                                          </p:spTgt>
                                        </p:tgtEl>
                                        <p:attrNameLst>
                                          <p:attrName>ppt_y</p:attrName>
                                        </p:attrNameLst>
                                      </p:cBhvr>
                                      <p:tavLst>
                                        <p:tav tm="0">
                                          <p:val>
                                            <p:strVal val="#ppt_y"/>
                                          </p:val>
                                        </p:tav>
                                        <p:tav tm="100000">
                                          <p:val>
                                            <p:strVal val="#ppt_y"/>
                                          </p:val>
                                        </p:tav>
                                      </p:tavLst>
                                    </p:anim>
                                  </p:childTnLst>
                                </p:cTn>
                              </p:par>
                              <p:par>
                                <p:cTn id="13" presetID="2" presetClass="entr" presetSubtype="8" decel="50000" fill="hold" grpId="0" nodeType="withEffect">
                                  <p:stCondLst>
                                    <p:cond delay="0"/>
                                  </p:stCondLst>
                                  <p:childTnLst>
                                    <p:set>
                                      <p:cBhvr>
                                        <p:cTn id="14" dur="1" fill="hold">
                                          <p:stCondLst>
                                            <p:cond delay="0"/>
                                          </p:stCondLst>
                                        </p:cTn>
                                        <p:tgtEl>
                                          <p:spTgt spid="10">
                                            <p:txEl>
                                              <p:pRg st="0" end="0"/>
                                            </p:txEl>
                                          </p:spTgt>
                                        </p:tgtEl>
                                        <p:attrNameLst>
                                          <p:attrName>style.visibility</p:attrName>
                                        </p:attrNameLst>
                                      </p:cBhvr>
                                      <p:to>
                                        <p:strVal val="visible"/>
                                      </p:to>
                                    </p:set>
                                    <p:anim calcmode="lin" valueType="num">
                                      <p:cBhvr additive="base">
                                        <p:cTn id="15" dur="700" fill="hold"/>
                                        <p:tgtEl>
                                          <p:spTgt spid="10">
                                            <p:txEl>
                                              <p:pRg st="0" end="0"/>
                                            </p:txEl>
                                          </p:spTgt>
                                        </p:tgtEl>
                                        <p:attrNameLst>
                                          <p:attrName>ppt_x</p:attrName>
                                        </p:attrNameLst>
                                      </p:cBhvr>
                                      <p:tavLst>
                                        <p:tav tm="0">
                                          <p:val>
                                            <p:strVal val="0-#ppt_w/2"/>
                                          </p:val>
                                        </p:tav>
                                        <p:tav tm="100000">
                                          <p:val>
                                            <p:strVal val="#ppt_x"/>
                                          </p:val>
                                        </p:tav>
                                      </p:tavLst>
                                    </p:anim>
                                    <p:anim calcmode="lin" valueType="num">
                                      <p:cBhvr additive="base">
                                        <p:cTn id="16" dur="700" fill="hold"/>
                                        <p:tgtEl>
                                          <p:spTgt spid="10">
                                            <p:txEl>
                                              <p:pRg st="0" end="0"/>
                                            </p:txEl>
                                          </p:spTgt>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60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200"/>
                                        <p:tgtEl>
                                          <p:spTgt spid="14"/>
                                        </p:tgtEl>
                                      </p:cBhvr>
                                    </p:animEffect>
                                  </p:childTnLst>
                                </p:cTn>
                              </p:par>
                              <p:par>
                                <p:cTn id="20" presetID="10" presetClass="entr" presetSubtype="0" fill="hold" grpId="0" nodeType="withEffect">
                                  <p:stCondLst>
                                    <p:cond delay="60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200"/>
                                        <p:tgtEl>
                                          <p:spTgt spid="7"/>
                                        </p:tgtEl>
                                      </p:cBhvr>
                                    </p:animEffect>
                                  </p:childTnLst>
                                </p:cTn>
                              </p:par>
                            </p:childTnLst>
                          </p:cTn>
                        </p:par>
                        <p:par>
                          <p:cTn id="23" fill="hold">
                            <p:stCondLst>
                              <p:cond delay="800"/>
                            </p:stCondLst>
                            <p:childTnLst>
                              <p:par>
                                <p:cTn id="24" presetID="1" presetClass="entr" presetSubtype="0" fill="hold" grpId="0" nodeType="afterEffect">
                                  <p:stCondLst>
                                    <p:cond delay="0"/>
                                  </p:stCondLst>
                                  <p:childTnLst>
                                    <p:set>
                                      <p:cBhvr>
                                        <p:cTn id="25"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p" animBg="1">
        <p:tmplLst>
          <p:tmpl>
            <p:tnLst>
              <p:par>
                <p:cTn presetID="2" presetClass="entr" presetSubtype="8" decel="5000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 calcmode="lin" valueType="num">
                      <p:cBhvr additive="base">
                        <p:cTn dur="700" fill="hold"/>
                        <p:tgtEl>
                          <p:spTgt spid="10"/>
                        </p:tgtEl>
                        <p:attrNameLst>
                          <p:attrName>ppt_x</p:attrName>
                        </p:attrNameLst>
                      </p:cBhvr>
                      <p:tavLst>
                        <p:tav tm="0">
                          <p:val>
                            <p:strVal val="0-#ppt_w/2"/>
                          </p:val>
                        </p:tav>
                        <p:tav tm="100000">
                          <p:val>
                            <p:strVal val="#ppt_x"/>
                          </p:val>
                        </p:tav>
                      </p:tavLst>
                    </p:anim>
                    <p:anim calcmode="lin" valueType="num">
                      <p:cBhvr additive="base">
                        <p:cTn dur="700" fill="hold"/>
                        <p:tgtEl>
                          <p:spTgt spid="10"/>
                        </p:tgtEl>
                        <p:attrNameLst>
                          <p:attrName>ppt_y</p:attrName>
                        </p:attrNameLst>
                      </p:cBhvr>
                      <p:tavLst>
                        <p:tav tm="0">
                          <p:val>
                            <p:strVal val="#ppt_y"/>
                          </p:val>
                        </p:tav>
                        <p:tav tm="100000">
                          <p:val>
                            <p:strVal val="#ppt_y"/>
                          </p:val>
                        </p:tav>
                      </p:tavLst>
                    </p:anim>
                  </p:childTnLst>
                </p:cTn>
              </p:par>
            </p:tnLst>
          </p:tmpl>
          <p:tmpl lvl="1">
            <p:tnLst>
              <p:par>
                <p:cTn presetID="2" presetClass="entr" presetSubtype="8" decel="5000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 calcmode="lin" valueType="num">
                      <p:cBhvr additive="base">
                        <p:cTn dur="700" fill="hold"/>
                        <p:tgtEl>
                          <p:spTgt spid="10"/>
                        </p:tgtEl>
                        <p:attrNameLst>
                          <p:attrName>ppt_x</p:attrName>
                        </p:attrNameLst>
                      </p:cBhvr>
                      <p:tavLst>
                        <p:tav tm="0">
                          <p:val>
                            <p:strVal val="0-#ppt_w/2"/>
                          </p:val>
                        </p:tav>
                        <p:tav tm="100000">
                          <p:val>
                            <p:strVal val="#ppt_x"/>
                          </p:val>
                        </p:tav>
                      </p:tavLst>
                    </p:anim>
                    <p:anim calcmode="lin" valueType="num">
                      <p:cBhvr additive="base">
                        <p:cTn dur="700" fill="hold"/>
                        <p:tgtEl>
                          <p:spTgt spid="10"/>
                        </p:tgtEl>
                        <p:attrNameLst>
                          <p:attrName>ppt_y</p:attrName>
                        </p:attrNameLst>
                      </p:cBhvr>
                      <p:tavLst>
                        <p:tav tm="0">
                          <p:val>
                            <p:strVal val="#ppt_y"/>
                          </p:val>
                        </p:tav>
                        <p:tav tm="100000">
                          <p:val>
                            <p:strVal val="#ppt_y"/>
                          </p:val>
                        </p:tav>
                      </p:tavLst>
                    </p:anim>
                  </p:childTnLst>
                </p:cTn>
              </p:par>
            </p:tnLst>
          </p:tmpl>
        </p:tmplLst>
      </p:bldP>
      <p:bldP spid="12" grpId="0" animBg="1"/>
      <p:bldP spid="14" grpId="0" animBg="1">
        <p:tmplLst>
          <p:tmpl>
            <p:tnLst>
              <p:par>
                <p:cTn presetID="10" presetClass="entr" presetSubtype="0" fill="hold" nodeType="withEffect">
                  <p:stCondLst>
                    <p:cond delay="600"/>
                  </p:stCondLst>
                  <p:childTnLst>
                    <p:set>
                      <p:cBhvr>
                        <p:cTn dur="1" fill="hold">
                          <p:stCondLst>
                            <p:cond delay="0"/>
                          </p:stCondLst>
                        </p:cTn>
                        <p:tgtEl>
                          <p:spTgt spid="14"/>
                        </p:tgtEl>
                        <p:attrNameLst>
                          <p:attrName>style.visibility</p:attrName>
                        </p:attrNameLst>
                      </p:cBhvr>
                      <p:to>
                        <p:strVal val="visible"/>
                      </p:to>
                    </p:set>
                    <p:animEffect transition="in" filter="fade">
                      <p:cBhvr>
                        <p:cTn dur="200"/>
                        <p:tgtEl>
                          <p:spTgt spid="14"/>
                        </p:tgtEl>
                      </p:cBhvr>
                    </p:animEffect>
                  </p:childTnLst>
                </p:cTn>
              </p:par>
            </p:tnLst>
          </p:tmpl>
        </p:tmplLst>
      </p:bldP>
      <p:bldP spid="7" grpId="0" animBg="1">
        <p:tmplLst>
          <p:tmpl>
            <p:tnLst>
              <p:par>
                <p:cTn presetID="10" presetClass="entr" presetSubtype="0" fill="hold" nodeType="withEffect">
                  <p:stCondLst>
                    <p:cond delay="600"/>
                  </p:stCondLst>
                  <p:childTnLst>
                    <p:set>
                      <p:cBhvr>
                        <p:cTn dur="1" fill="hold">
                          <p:stCondLst>
                            <p:cond delay="0"/>
                          </p:stCondLst>
                        </p:cTn>
                        <p:tgtEl>
                          <p:spTgt spid="7"/>
                        </p:tgtEl>
                        <p:attrNameLst>
                          <p:attrName>style.visibility</p:attrName>
                        </p:attrNameLst>
                      </p:cBhvr>
                      <p:to>
                        <p:strVal val="visible"/>
                      </p:to>
                    </p:set>
                    <p:animEffect transition="in" filter="fade">
                      <p:cBhvr>
                        <p:cTn dur="200"/>
                        <p:tgtEl>
                          <p:spTgt spid="7"/>
                        </p:tgtEl>
                      </p:cBhvr>
                    </p:animEffect>
                  </p:childTnLst>
                </p:cTn>
              </p:par>
            </p:tnLst>
          </p:tmpl>
        </p:tmplLst>
      </p:bldP>
      <p:bldP spid="9" grpId="0" animBg="1"/>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en 2 kaders">
    <p:spTree>
      <p:nvGrpSpPr>
        <p:cNvPr id="1" name=""/>
        <p:cNvGrpSpPr/>
        <p:nvPr/>
      </p:nvGrpSpPr>
      <p:grpSpPr>
        <a:xfrm>
          <a:off x="0" y="0"/>
          <a:ext cx="0" cy="0"/>
          <a:chOff x="0" y="0"/>
          <a:chExt cx="0" cy="0"/>
        </a:xfrm>
      </p:grpSpPr>
      <p:sp>
        <p:nvSpPr>
          <p:cNvPr id="9" name="Tijdelijke aanduiding voor inhoud R"/>
          <p:cNvSpPr>
            <a:spLocks noGrp="1" noSelect="1"/>
          </p:cNvSpPr>
          <p:nvPr>
            <p:ph sz="quarter" idx="13" hasCustomPrompt="1"/>
          </p:nvPr>
        </p:nvSpPr>
        <p:spPr bwMode="gray">
          <a:xfrm>
            <a:off x="6624000" y="1674000"/>
            <a:ext cx="4968000" cy="4608000"/>
          </a:xfrm>
        </p:spPr>
        <p:txBody>
          <a:bodyPr/>
          <a:lstStyle>
            <a:lvl1pPr>
              <a:defRPr/>
            </a:lvl1pPr>
          </a:lstStyle>
          <a:p>
            <a:pPr lvl="0"/>
            <a:r>
              <a:rPr lang="nl-NL" noProof="1"/>
              <a:t>[Typ tekst of klik op een pictogram om een object in te voegen]</a:t>
            </a:r>
          </a:p>
        </p:txBody>
      </p:sp>
      <p:sp>
        <p:nvSpPr>
          <p:cNvPr id="11" name="Tijdelijke aanduiding voor inhoud L"/>
          <p:cNvSpPr>
            <a:spLocks noGrp="1" noSelect="1"/>
          </p:cNvSpPr>
          <p:nvPr>
            <p:ph sz="quarter" idx="14" hasCustomPrompt="1"/>
          </p:nvPr>
        </p:nvSpPr>
        <p:spPr bwMode="gray">
          <a:xfrm>
            <a:off x="1440000" y="1674000"/>
            <a:ext cx="4968000" cy="4608000"/>
          </a:xfrm>
        </p:spPr>
        <p:txBody>
          <a:bodyPr/>
          <a:lstStyle>
            <a:lvl1pPr>
              <a:defRPr/>
            </a:lvl1pPr>
          </a:lstStyle>
          <a:p>
            <a:pPr lvl="0"/>
            <a:r>
              <a:rPr lang="nl-NL" noProof="1"/>
              <a:t>[Typ tekst of klik op een pictogram om een object in te voegen]</a:t>
            </a:r>
          </a:p>
        </p:txBody>
      </p:sp>
      <p:sp>
        <p:nvSpPr>
          <p:cNvPr id="2" name="Title 1">
            <a:extLst>
              <a:ext uri="{FF2B5EF4-FFF2-40B4-BE49-F238E27FC236}">
                <a16:creationId xmlns:a16="http://schemas.microsoft.com/office/drawing/2014/main" id="{3EB71F1A-CDE7-4CF7-87B9-2ACBE5FB8A64}"/>
              </a:ext>
            </a:extLst>
          </p:cNvPr>
          <p:cNvSpPr>
            <a:spLocks noGrp="1" noSelect="1"/>
          </p:cNvSpPr>
          <p:nvPr>
            <p:ph type="title" hasCustomPrompt="1"/>
          </p:nvPr>
        </p:nvSpPr>
        <p:spPr/>
        <p:txBody>
          <a:bodyPr/>
          <a:lstStyle>
            <a:lvl1pPr>
              <a:lnSpc>
                <a:spcPct val="100000"/>
              </a:lnSpc>
              <a:defRPr/>
            </a:lvl1pPr>
          </a:lstStyle>
          <a:p>
            <a:r>
              <a:rPr lang="nl-NL" noProof="1"/>
              <a:t>[Titel,</a:t>
            </a:r>
            <a:br>
              <a:rPr lang="nl-NL" noProof="1"/>
            </a:br>
            <a:r>
              <a:rPr lang="nl-NL" noProof="1"/>
              <a:t>maximaal 2 regels]</a:t>
            </a:r>
            <a:endParaRPr lang="x-none"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2" name="Titel 1"/>
          <p:cNvSpPr>
            <a:spLocks noGrp="1" noSelect="1"/>
          </p:cNvSpPr>
          <p:nvPr>
            <p:ph type="title" hasCustomPrompt="1"/>
          </p:nvPr>
        </p:nvSpPr>
        <p:spPr bwMode="gray"/>
        <p:txBody>
          <a:bodyPr/>
          <a:lstStyle>
            <a:lvl1pPr>
              <a:lnSpc>
                <a:spcPct val="100000"/>
              </a:lnSpc>
              <a:defRPr/>
            </a:lvl1pPr>
          </a:lstStyle>
          <a:p>
            <a:r>
              <a:rPr lang="nl-NL" noProof="1"/>
              <a:t>[Titel,</a:t>
            </a:r>
            <a:br>
              <a:rPr lang="nl-NL" noProof="1"/>
            </a:br>
            <a:r>
              <a:rPr lang="nl-NL" noProof="1"/>
              <a:t>maximaal 2 regels]</a:t>
            </a:r>
          </a:p>
        </p:txBody>
      </p:sp>
      <p:sp>
        <p:nvSpPr>
          <p:cNvPr id="5" name="Tijdelijke aanduiding voor tabel 4"/>
          <p:cNvSpPr>
            <a:spLocks noGrp="1" noSelect="1"/>
          </p:cNvSpPr>
          <p:nvPr>
            <p:ph type="tbl" sz="quarter" idx="10" hasCustomPrompt="1"/>
          </p:nvPr>
        </p:nvSpPr>
        <p:spPr bwMode="gray">
          <a:xfrm>
            <a:off x="1439862" y="1954213"/>
            <a:ext cx="9036000" cy="3852000"/>
          </a:xfrm>
        </p:spPr>
        <p:txBody>
          <a:bodyPr/>
          <a:lstStyle>
            <a:lvl1pPr>
              <a:defRPr/>
            </a:lvl1pPr>
          </a:lstStyle>
          <a:p>
            <a:r>
              <a:rPr lang="nl-NL" dirty="0"/>
              <a:t>[Klik op het icoon om een tabel in te voegen]</a:t>
            </a:r>
          </a:p>
        </p:txBody>
      </p:sp>
    </p:spTree>
    <p:extLst>
      <p:ext uri="{BB962C8B-B14F-4D97-AF65-F5344CB8AC3E}">
        <p14:creationId xmlns:p14="http://schemas.microsoft.com/office/powerpoint/2010/main" val="27248394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Einddia">
    <p:spTree>
      <p:nvGrpSpPr>
        <p:cNvPr id="1" name=""/>
        <p:cNvGrpSpPr/>
        <p:nvPr/>
      </p:nvGrpSpPr>
      <p:grpSpPr>
        <a:xfrm>
          <a:off x="0" y="0"/>
          <a:ext cx="0" cy="0"/>
          <a:chOff x="0" y="0"/>
          <a:chExt cx="0" cy="0"/>
        </a:xfrm>
      </p:grpSpPr>
      <p:grpSp>
        <p:nvGrpSpPr>
          <p:cNvPr id="29" name="logo">
            <a:extLst>
              <a:ext uri="{FF2B5EF4-FFF2-40B4-BE49-F238E27FC236}">
                <a16:creationId xmlns:a16="http://schemas.microsoft.com/office/drawing/2014/main" id="{841FFCCB-311C-4659-8426-73885D2BC884}"/>
              </a:ext>
            </a:extLst>
          </p:cNvPr>
          <p:cNvGrpSpPr>
            <a:grpSpLocks noSelect="1" noChangeAspect="1"/>
          </p:cNvGrpSpPr>
          <p:nvPr userDrawn="1"/>
        </p:nvGrpSpPr>
        <p:grpSpPr bwMode="gray">
          <a:xfrm>
            <a:off x="638175" y="6030913"/>
            <a:ext cx="2481263" cy="508000"/>
            <a:chOff x="402" y="3799"/>
            <a:chExt cx="1563" cy="320"/>
          </a:xfrm>
        </p:grpSpPr>
        <p:sp>
          <p:nvSpPr>
            <p:cNvPr id="30" name="Freeform 21">
              <a:extLst>
                <a:ext uri="{FF2B5EF4-FFF2-40B4-BE49-F238E27FC236}">
                  <a16:creationId xmlns:a16="http://schemas.microsoft.com/office/drawing/2014/main" id="{F373204D-87AE-404B-82EC-DC2DDE88A767}"/>
                </a:ext>
              </a:extLst>
            </p:cNvPr>
            <p:cNvSpPr>
              <a:spLocks noSelect="1"/>
            </p:cNvSpPr>
            <p:nvPr userDrawn="1"/>
          </p:nvSpPr>
          <p:spPr bwMode="gray">
            <a:xfrm>
              <a:off x="722" y="3799"/>
              <a:ext cx="1243" cy="320"/>
            </a:xfrm>
            <a:custGeom>
              <a:avLst/>
              <a:gdLst>
                <a:gd name="T0" fmla="*/ 92 w 6217"/>
                <a:gd name="T1" fmla="*/ 0 h 1604"/>
                <a:gd name="T2" fmla="*/ 92 w 6217"/>
                <a:gd name="T3" fmla="*/ 525 h 1604"/>
                <a:gd name="T4" fmla="*/ 762 w 6217"/>
                <a:gd name="T5" fmla="*/ 330 h 1604"/>
                <a:gd name="T6" fmla="*/ 957 w 6217"/>
                <a:gd name="T7" fmla="*/ 729 h 1604"/>
                <a:gd name="T8" fmla="*/ 1912 w 6217"/>
                <a:gd name="T9" fmla="*/ 0 h 1604"/>
                <a:gd name="T10" fmla="*/ 1821 w 6217"/>
                <a:gd name="T11" fmla="*/ 525 h 1604"/>
                <a:gd name="T12" fmla="*/ 3952 w 6217"/>
                <a:gd name="T13" fmla="*/ 1512 h 1604"/>
                <a:gd name="T14" fmla="*/ 3958 w 6217"/>
                <a:gd name="T15" fmla="*/ 1482 h 1604"/>
                <a:gd name="T16" fmla="*/ 4276 w 6217"/>
                <a:gd name="T17" fmla="*/ 1472 h 1604"/>
                <a:gd name="T18" fmla="*/ 4192 w 6217"/>
                <a:gd name="T19" fmla="*/ 1341 h 1604"/>
                <a:gd name="T20" fmla="*/ 4342 w 6217"/>
                <a:gd name="T21" fmla="*/ 1317 h 1604"/>
                <a:gd name="T22" fmla="*/ 4671 w 6217"/>
                <a:gd name="T23" fmla="*/ 1454 h 1604"/>
                <a:gd name="T24" fmla="*/ 4667 w 6217"/>
                <a:gd name="T25" fmla="*/ 1395 h 1604"/>
                <a:gd name="T26" fmla="*/ 4833 w 6217"/>
                <a:gd name="T27" fmla="*/ 1412 h 1604"/>
                <a:gd name="T28" fmla="*/ 4934 w 6217"/>
                <a:gd name="T29" fmla="*/ 1482 h 1604"/>
                <a:gd name="T30" fmla="*/ 5113 w 6217"/>
                <a:gd name="T31" fmla="*/ 1473 h 1604"/>
                <a:gd name="T32" fmla="*/ 5247 w 6217"/>
                <a:gd name="T33" fmla="*/ 1412 h 1604"/>
                <a:gd name="T34" fmla="*/ 5486 w 6217"/>
                <a:gd name="T35" fmla="*/ 1507 h 1604"/>
                <a:gd name="T36" fmla="*/ 5325 w 6217"/>
                <a:gd name="T37" fmla="*/ 1317 h 1604"/>
                <a:gd name="T38" fmla="*/ 5756 w 6217"/>
                <a:gd name="T39" fmla="*/ 1312 h 1604"/>
                <a:gd name="T40" fmla="*/ 5846 w 6217"/>
                <a:gd name="T41" fmla="*/ 1411 h 1604"/>
                <a:gd name="T42" fmla="*/ 6025 w 6217"/>
                <a:gd name="T43" fmla="*/ 1507 h 1604"/>
                <a:gd name="T44" fmla="*/ 5919 w 6217"/>
                <a:gd name="T45" fmla="*/ 1317 h 1604"/>
                <a:gd name="T46" fmla="*/ 6128 w 6217"/>
                <a:gd name="T47" fmla="*/ 1343 h 1604"/>
                <a:gd name="T48" fmla="*/ 6215 w 6217"/>
                <a:gd name="T49" fmla="*/ 1343 h 1604"/>
                <a:gd name="T50" fmla="*/ 2173 w 6217"/>
                <a:gd name="T51" fmla="*/ 1344 h 1604"/>
                <a:gd name="T52" fmla="*/ 2342 w 6217"/>
                <a:gd name="T53" fmla="*/ 1412 h 1604"/>
                <a:gd name="T54" fmla="*/ 2491 w 6217"/>
                <a:gd name="T55" fmla="*/ 1314 h 1604"/>
                <a:gd name="T56" fmla="*/ 2413 w 6217"/>
                <a:gd name="T57" fmla="*/ 1317 h 1604"/>
                <a:gd name="T58" fmla="*/ 2606 w 6217"/>
                <a:gd name="T59" fmla="*/ 1312 h 1604"/>
                <a:gd name="T60" fmla="*/ 2784 w 6217"/>
                <a:gd name="T61" fmla="*/ 1344 h 1604"/>
                <a:gd name="T62" fmla="*/ 2953 w 6217"/>
                <a:gd name="T63" fmla="*/ 1412 h 1604"/>
                <a:gd name="T64" fmla="*/ 2988 w 6217"/>
                <a:gd name="T65" fmla="*/ 1412 h 1604"/>
                <a:gd name="T66" fmla="*/ 3086 w 6217"/>
                <a:gd name="T67" fmla="*/ 1312 h 1604"/>
                <a:gd name="T68" fmla="*/ 3316 w 6217"/>
                <a:gd name="T69" fmla="*/ 1343 h 1604"/>
                <a:gd name="T70" fmla="*/ 3258 w 6217"/>
                <a:gd name="T71" fmla="*/ 1348 h 1604"/>
                <a:gd name="T72" fmla="*/ 3363 w 6217"/>
                <a:gd name="T73" fmla="*/ 1317 h 1604"/>
                <a:gd name="T74" fmla="*/ 3436 w 6217"/>
                <a:gd name="T75" fmla="*/ 1439 h 1604"/>
                <a:gd name="T76" fmla="*/ 3529 w 6217"/>
                <a:gd name="T77" fmla="*/ 1572 h 1604"/>
                <a:gd name="T78" fmla="*/ 3674 w 6217"/>
                <a:gd name="T79" fmla="*/ 1317 h 1604"/>
                <a:gd name="T80" fmla="*/ 32 w 6217"/>
                <a:gd name="T81" fmla="*/ 1473 h 1604"/>
                <a:gd name="T82" fmla="*/ 167 w 6217"/>
                <a:gd name="T83" fmla="*/ 1412 h 1604"/>
                <a:gd name="T84" fmla="*/ 266 w 6217"/>
                <a:gd name="T85" fmla="*/ 1412 h 1604"/>
                <a:gd name="T86" fmla="*/ 608 w 6217"/>
                <a:gd name="T87" fmla="*/ 1476 h 1604"/>
                <a:gd name="T88" fmla="*/ 606 w 6217"/>
                <a:gd name="T89" fmla="*/ 1317 h 1604"/>
                <a:gd name="T90" fmla="*/ 1032 w 6217"/>
                <a:gd name="T91" fmla="*/ 1507 h 1604"/>
                <a:gd name="T92" fmla="*/ 814 w 6217"/>
                <a:gd name="T93" fmla="*/ 1361 h 1604"/>
                <a:gd name="T94" fmla="*/ 833 w 6217"/>
                <a:gd name="T95" fmla="*/ 1317 h 1604"/>
                <a:gd name="T96" fmla="*/ 1068 w 6217"/>
                <a:gd name="T97" fmla="*/ 1195 h 1604"/>
                <a:gd name="T98" fmla="*/ 1293 w 6217"/>
                <a:gd name="T99" fmla="*/ 1412 h 1604"/>
                <a:gd name="T100" fmla="*/ 1497 w 6217"/>
                <a:gd name="T101" fmla="*/ 1507 h 1604"/>
                <a:gd name="T102" fmla="*/ 1330 w 6217"/>
                <a:gd name="T103" fmla="*/ 1317 h 1604"/>
                <a:gd name="T104" fmla="*/ 1638 w 6217"/>
                <a:gd name="T105" fmla="*/ 1312 h 1604"/>
                <a:gd name="T106" fmla="*/ 1707 w 6217"/>
                <a:gd name="T107" fmla="*/ 1200 h 1604"/>
                <a:gd name="T108" fmla="*/ 1854 w 6217"/>
                <a:gd name="T109" fmla="*/ 1512 h 1604"/>
                <a:gd name="T110" fmla="*/ 1923 w 6217"/>
                <a:gd name="T111" fmla="*/ 1346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17" h="1604">
                  <a:moveTo>
                    <a:pt x="92" y="702"/>
                  </a:moveTo>
                  <a:cubicBezTo>
                    <a:pt x="94" y="702"/>
                    <a:pt x="94" y="702"/>
                    <a:pt x="94" y="702"/>
                  </a:cubicBezTo>
                  <a:cubicBezTo>
                    <a:pt x="128" y="764"/>
                    <a:pt x="207" y="814"/>
                    <a:pt x="305" y="814"/>
                  </a:cubicBezTo>
                  <a:cubicBezTo>
                    <a:pt x="459" y="814"/>
                    <a:pt x="580" y="689"/>
                    <a:pt x="580" y="525"/>
                  </a:cubicBezTo>
                  <a:cubicBezTo>
                    <a:pt x="580" y="358"/>
                    <a:pt x="464" y="236"/>
                    <a:pt x="291" y="236"/>
                  </a:cubicBezTo>
                  <a:cubicBezTo>
                    <a:pt x="212" y="236"/>
                    <a:pt x="145" y="271"/>
                    <a:pt x="94" y="330"/>
                  </a:cubicBezTo>
                  <a:cubicBezTo>
                    <a:pt x="92" y="330"/>
                    <a:pt x="92" y="330"/>
                    <a:pt x="92" y="330"/>
                  </a:cubicBezTo>
                  <a:cubicBezTo>
                    <a:pt x="92" y="0"/>
                    <a:pt x="92" y="0"/>
                    <a:pt x="92" y="0"/>
                  </a:cubicBezTo>
                  <a:cubicBezTo>
                    <a:pt x="0" y="0"/>
                    <a:pt x="0" y="0"/>
                    <a:pt x="0" y="0"/>
                  </a:cubicBezTo>
                  <a:cubicBezTo>
                    <a:pt x="0" y="799"/>
                    <a:pt x="0" y="799"/>
                    <a:pt x="0" y="799"/>
                  </a:cubicBezTo>
                  <a:cubicBezTo>
                    <a:pt x="92" y="799"/>
                    <a:pt x="92" y="799"/>
                    <a:pt x="92" y="799"/>
                  </a:cubicBezTo>
                  <a:lnTo>
                    <a:pt x="92" y="702"/>
                  </a:lnTo>
                  <a:close/>
                  <a:moveTo>
                    <a:pt x="287" y="320"/>
                  </a:moveTo>
                  <a:cubicBezTo>
                    <a:pt x="405" y="320"/>
                    <a:pt x="482" y="410"/>
                    <a:pt x="482" y="525"/>
                  </a:cubicBezTo>
                  <a:cubicBezTo>
                    <a:pt x="482" y="640"/>
                    <a:pt x="405" y="729"/>
                    <a:pt x="287" y="729"/>
                  </a:cubicBezTo>
                  <a:cubicBezTo>
                    <a:pt x="168" y="729"/>
                    <a:pt x="92" y="640"/>
                    <a:pt x="92" y="525"/>
                  </a:cubicBezTo>
                  <a:cubicBezTo>
                    <a:pt x="92" y="410"/>
                    <a:pt x="168" y="320"/>
                    <a:pt x="287" y="320"/>
                  </a:cubicBezTo>
                  <a:close/>
                  <a:moveTo>
                    <a:pt x="762" y="702"/>
                  </a:moveTo>
                  <a:cubicBezTo>
                    <a:pt x="765" y="702"/>
                    <a:pt x="765" y="702"/>
                    <a:pt x="765" y="702"/>
                  </a:cubicBezTo>
                  <a:cubicBezTo>
                    <a:pt x="799" y="764"/>
                    <a:pt x="877" y="813"/>
                    <a:pt x="976" y="813"/>
                  </a:cubicBezTo>
                  <a:cubicBezTo>
                    <a:pt x="1130" y="813"/>
                    <a:pt x="1251" y="689"/>
                    <a:pt x="1251" y="525"/>
                  </a:cubicBezTo>
                  <a:cubicBezTo>
                    <a:pt x="1251" y="358"/>
                    <a:pt x="1135" y="236"/>
                    <a:pt x="962" y="236"/>
                  </a:cubicBezTo>
                  <a:cubicBezTo>
                    <a:pt x="882" y="236"/>
                    <a:pt x="815" y="271"/>
                    <a:pt x="765" y="330"/>
                  </a:cubicBezTo>
                  <a:cubicBezTo>
                    <a:pt x="762" y="330"/>
                    <a:pt x="762" y="330"/>
                    <a:pt x="762" y="330"/>
                  </a:cubicBezTo>
                  <a:cubicBezTo>
                    <a:pt x="762" y="250"/>
                    <a:pt x="762" y="250"/>
                    <a:pt x="762" y="250"/>
                  </a:cubicBezTo>
                  <a:cubicBezTo>
                    <a:pt x="671" y="250"/>
                    <a:pt x="671" y="250"/>
                    <a:pt x="671" y="250"/>
                  </a:cubicBezTo>
                  <a:cubicBezTo>
                    <a:pt x="671" y="1057"/>
                    <a:pt x="671" y="1057"/>
                    <a:pt x="671" y="1057"/>
                  </a:cubicBezTo>
                  <a:cubicBezTo>
                    <a:pt x="762" y="1057"/>
                    <a:pt x="762" y="1057"/>
                    <a:pt x="762" y="1057"/>
                  </a:cubicBezTo>
                  <a:lnTo>
                    <a:pt x="762" y="702"/>
                  </a:lnTo>
                  <a:close/>
                  <a:moveTo>
                    <a:pt x="957" y="320"/>
                  </a:moveTo>
                  <a:cubicBezTo>
                    <a:pt x="1076" y="320"/>
                    <a:pt x="1152" y="410"/>
                    <a:pt x="1152" y="525"/>
                  </a:cubicBezTo>
                  <a:cubicBezTo>
                    <a:pt x="1152" y="640"/>
                    <a:pt x="1076" y="729"/>
                    <a:pt x="957" y="729"/>
                  </a:cubicBezTo>
                  <a:cubicBezTo>
                    <a:pt x="839" y="729"/>
                    <a:pt x="762" y="640"/>
                    <a:pt x="762" y="525"/>
                  </a:cubicBezTo>
                  <a:cubicBezTo>
                    <a:pt x="762" y="410"/>
                    <a:pt x="839" y="320"/>
                    <a:pt x="957" y="320"/>
                  </a:cubicBezTo>
                  <a:close/>
                  <a:moveTo>
                    <a:pt x="1607" y="813"/>
                  </a:moveTo>
                  <a:cubicBezTo>
                    <a:pt x="1706" y="813"/>
                    <a:pt x="1785" y="764"/>
                    <a:pt x="1819" y="702"/>
                  </a:cubicBezTo>
                  <a:cubicBezTo>
                    <a:pt x="1821" y="702"/>
                    <a:pt x="1821" y="702"/>
                    <a:pt x="1821" y="702"/>
                  </a:cubicBezTo>
                  <a:cubicBezTo>
                    <a:pt x="1821" y="799"/>
                    <a:pt x="1821" y="799"/>
                    <a:pt x="1821" y="799"/>
                  </a:cubicBezTo>
                  <a:cubicBezTo>
                    <a:pt x="1912" y="799"/>
                    <a:pt x="1912" y="799"/>
                    <a:pt x="1912" y="799"/>
                  </a:cubicBezTo>
                  <a:cubicBezTo>
                    <a:pt x="1912" y="0"/>
                    <a:pt x="1912" y="0"/>
                    <a:pt x="1912" y="0"/>
                  </a:cubicBezTo>
                  <a:cubicBezTo>
                    <a:pt x="1821" y="0"/>
                    <a:pt x="1821" y="0"/>
                    <a:pt x="1821" y="0"/>
                  </a:cubicBezTo>
                  <a:cubicBezTo>
                    <a:pt x="1821" y="330"/>
                    <a:pt x="1821" y="330"/>
                    <a:pt x="1821" y="330"/>
                  </a:cubicBezTo>
                  <a:cubicBezTo>
                    <a:pt x="1819" y="330"/>
                    <a:pt x="1819" y="330"/>
                    <a:pt x="1819" y="330"/>
                  </a:cubicBezTo>
                  <a:cubicBezTo>
                    <a:pt x="1768" y="271"/>
                    <a:pt x="1701" y="236"/>
                    <a:pt x="1621" y="236"/>
                  </a:cubicBezTo>
                  <a:cubicBezTo>
                    <a:pt x="1449" y="236"/>
                    <a:pt x="1333" y="358"/>
                    <a:pt x="1333" y="525"/>
                  </a:cubicBezTo>
                  <a:cubicBezTo>
                    <a:pt x="1333" y="689"/>
                    <a:pt x="1454" y="813"/>
                    <a:pt x="1607" y="813"/>
                  </a:cubicBezTo>
                  <a:close/>
                  <a:moveTo>
                    <a:pt x="1626" y="320"/>
                  </a:moveTo>
                  <a:cubicBezTo>
                    <a:pt x="1745" y="320"/>
                    <a:pt x="1821" y="410"/>
                    <a:pt x="1821" y="525"/>
                  </a:cubicBezTo>
                  <a:cubicBezTo>
                    <a:pt x="1821" y="640"/>
                    <a:pt x="1745" y="729"/>
                    <a:pt x="1626" y="729"/>
                  </a:cubicBezTo>
                  <a:cubicBezTo>
                    <a:pt x="1507" y="729"/>
                    <a:pt x="1431" y="640"/>
                    <a:pt x="1431" y="525"/>
                  </a:cubicBezTo>
                  <a:cubicBezTo>
                    <a:pt x="1431" y="410"/>
                    <a:pt x="1507" y="320"/>
                    <a:pt x="1626" y="320"/>
                  </a:cubicBezTo>
                  <a:close/>
                  <a:moveTo>
                    <a:pt x="4026" y="1344"/>
                  </a:moveTo>
                  <a:cubicBezTo>
                    <a:pt x="4025" y="1344"/>
                    <a:pt x="4025" y="1344"/>
                    <a:pt x="4025" y="1344"/>
                  </a:cubicBezTo>
                  <a:cubicBezTo>
                    <a:pt x="4007" y="1324"/>
                    <a:pt x="3984" y="1312"/>
                    <a:pt x="3957" y="1312"/>
                  </a:cubicBezTo>
                  <a:cubicBezTo>
                    <a:pt x="3897" y="1312"/>
                    <a:pt x="3857" y="1354"/>
                    <a:pt x="3857" y="1412"/>
                  </a:cubicBezTo>
                  <a:cubicBezTo>
                    <a:pt x="3857" y="1469"/>
                    <a:pt x="3898" y="1512"/>
                    <a:pt x="3952" y="1512"/>
                  </a:cubicBezTo>
                  <a:cubicBezTo>
                    <a:pt x="3986" y="1512"/>
                    <a:pt x="4013" y="1495"/>
                    <a:pt x="4025" y="1473"/>
                  </a:cubicBezTo>
                  <a:cubicBezTo>
                    <a:pt x="4026" y="1473"/>
                    <a:pt x="4026" y="1473"/>
                    <a:pt x="4026" y="1473"/>
                  </a:cubicBezTo>
                  <a:cubicBezTo>
                    <a:pt x="4026" y="1507"/>
                    <a:pt x="4026" y="1507"/>
                    <a:pt x="4026" y="1507"/>
                  </a:cubicBezTo>
                  <a:cubicBezTo>
                    <a:pt x="4057" y="1507"/>
                    <a:pt x="4057" y="1507"/>
                    <a:pt x="4057" y="1507"/>
                  </a:cubicBezTo>
                  <a:cubicBezTo>
                    <a:pt x="4057" y="1200"/>
                    <a:pt x="4057" y="1200"/>
                    <a:pt x="4057" y="1200"/>
                  </a:cubicBezTo>
                  <a:cubicBezTo>
                    <a:pt x="4026" y="1200"/>
                    <a:pt x="4026" y="1200"/>
                    <a:pt x="4026" y="1200"/>
                  </a:cubicBezTo>
                  <a:lnTo>
                    <a:pt x="4026" y="1344"/>
                  </a:lnTo>
                  <a:close/>
                  <a:moveTo>
                    <a:pt x="3958" y="1482"/>
                  </a:moveTo>
                  <a:cubicBezTo>
                    <a:pt x="3917" y="1482"/>
                    <a:pt x="3891" y="1452"/>
                    <a:pt x="3891" y="1412"/>
                  </a:cubicBezTo>
                  <a:cubicBezTo>
                    <a:pt x="3891" y="1372"/>
                    <a:pt x="3917" y="1341"/>
                    <a:pt x="3958" y="1341"/>
                  </a:cubicBezTo>
                  <a:cubicBezTo>
                    <a:pt x="3999" y="1341"/>
                    <a:pt x="4026" y="1372"/>
                    <a:pt x="4026" y="1412"/>
                  </a:cubicBezTo>
                  <a:cubicBezTo>
                    <a:pt x="4026" y="1452"/>
                    <a:pt x="3999" y="1482"/>
                    <a:pt x="3958" y="1482"/>
                  </a:cubicBezTo>
                  <a:close/>
                  <a:moveTo>
                    <a:pt x="4193" y="1312"/>
                  </a:moveTo>
                  <a:cubicBezTo>
                    <a:pt x="4137" y="1312"/>
                    <a:pt x="4095" y="1353"/>
                    <a:pt x="4095" y="1412"/>
                  </a:cubicBezTo>
                  <a:cubicBezTo>
                    <a:pt x="4095" y="1467"/>
                    <a:pt x="4132" y="1512"/>
                    <a:pt x="4192" y="1512"/>
                  </a:cubicBezTo>
                  <a:cubicBezTo>
                    <a:pt x="4227" y="1512"/>
                    <a:pt x="4254" y="1501"/>
                    <a:pt x="4276" y="1472"/>
                  </a:cubicBezTo>
                  <a:cubicBezTo>
                    <a:pt x="4252" y="1454"/>
                    <a:pt x="4252" y="1454"/>
                    <a:pt x="4252" y="1454"/>
                  </a:cubicBezTo>
                  <a:cubicBezTo>
                    <a:pt x="4237" y="1473"/>
                    <a:pt x="4219" y="1482"/>
                    <a:pt x="4192" y="1482"/>
                  </a:cubicBezTo>
                  <a:cubicBezTo>
                    <a:pt x="4157" y="1482"/>
                    <a:pt x="4132" y="1454"/>
                    <a:pt x="4129" y="1421"/>
                  </a:cubicBezTo>
                  <a:cubicBezTo>
                    <a:pt x="4283" y="1421"/>
                    <a:pt x="4283" y="1421"/>
                    <a:pt x="4283" y="1421"/>
                  </a:cubicBezTo>
                  <a:cubicBezTo>
                    <a:pt x="4283" y="1411"/>
                    <a:pt x="4283" y="1411"/>
                    <a:pt x="4283" y="1411"/>
                  </a:cubicBezTo>
                  <a:cubicBezTo>
                    <a:pt x="4283" y="1348"/>
                    <a:pt x="4246" y="1312"/>
                    <a:pt x="4193" y="1312"/>
                  </a:cubicBezTo>
                  <a:close/>
                  <a:moveTo>
                    <a:pt x="4129" y="1395"/>
                  </a:moveTo>
                  <a:cubicBezTo>
                    <a:pt x="4133" y="1363"/>
                    <a:pt x="4157" y="1341"/>
                    <a:pt x="4192" y="1341"/>
                  </a:cubicBezTo>
                  <a:cubicBezTo>
                    <a:pt x="4227" y="1341"/>
                    <a:pt x="4248" y="1363"/>
                    <a:pt x="4249" y="1395"/>
                  </a:cubicBezTo>
                  <a:lnTo>
                    <a:pt x="4129" y="1395"/>
                  </a:lnTo>
                  <a:close/>
                  <a:moveTo>
                    <a:pt x="4459" y="1317"/>
                  </a:moveTo>
                  <a:cubicBezTo>
                    <a:pt x="4493" y="1317"/>
                    <a:pt x="4493" y="1317"/>
                    <a:pt x="4493" y="1317"/>
                  </a:cubicBezTo>
                  <a:cubicBezTo>
                    <a:pt x="4418" y="1507"/>
                    <a:pt x="4418" y="1507"/>
                    <a:pt x="4418" y="1507"/>
                  </a:cubicBezTo>
                  <a:cubicBezTo>
                    <a:pt x="4383" y="1507"/>
                    <a:pt x="4383" y="1507"/>
                    <a:pt x="4383" y="1507"/>
                  </a:cubicBezTo>
                  <a:cubicBezTo>
                    <a:pt x="4305" y="1317"/>
                    <a:pt x="4305" y="1317"/>
                    <a:pt x="4305" y="1317"/>
                  </a:cubicBezTo>
                  <a:cubicBezTo>
                    <a:pt x="4342" y="1317"/>
                    <a:pt x="4342" y="1317"/>
                    <a:pt x="4342" y="1317"/>
                  </a:cubicBezTo>
                  <a:cubicBezTo>
                    <a:pt x="4401" y="1466"/>
                    <a:pt x="4401" y="1466"/>
                    <a:pt x="4401" y="1466"/>
                  </a:cubicBezTo>
                  <a:cubicBezTo>
                    <a:pt x="4402" y="1466"/>
                    <a:pt x="4402" y="1466"/>
                    <a:pt x="4402" y="1466"/>
                  </a:cubicBezTo>
                  <a:lnTo>
                    <a:pt x="4459" y="1317"/>
                  </a:lnTo>
                  <a:close/>
                  <a:moveTo>
                    <a:pt x="4611" y="1312"/>
                  </a:moveTo>
                  <a:cubicBezTo>
                    <a:pt x="4555" y="1312"/>
                    <a:pt x="4514" y="1353"/>
                    <a:pt x="4514" y="1412"/>
                  </a:cubicBezTo>
                  <a:cubicBezTo>
                    <a:pt x="4514" y="1467"/>
                    <a:pt x="4550" y="1512"/>
                    <a:pt x="4610" y="1512"/>
                  </a:cubicBezTo>
                  <a:cubicBezTo>
                    <a:pt x="4645" y="1512"/>
                    <a:pt x="4672" y="1501"/>
                    <a:pt x="4695" y="1472"/>
                  </a:cubicBezTo>
                  <a:cubicBezTo>
                    <a:pt x="4671" y="1454"/>
                    <a:pt x="4671" y="1454"/>
                    <a:pt x="4671" y="1454"/>
                  </a:cubicBezTo>
                  <a:cubicBezTo>
                    <a:pt x="4656" y="1473"/>
                    <a:pt x="4637" y="1482"/>
                    <a:pt x="4610" y="1482"/>
                  </a:cubicBezTo>
                  <a:cubicBezTo>
                    <a:pt x="4576" y="1482"/>
                    <a:pt x="4550" y="1454"/>
                    <a:pt x="4548" y="1421"/>
                  </a:cubicBezTo>
                  <a:cubicBezTo>
                    <a:pt x="4702" y="1421"/>
                    <a:pt x="4702" y="1421"/>
                    <a:pt x="4702" y="1421"/>
                  </a:cubicBezTo>
                  <a:cubicBezTo>
                    <a:pt x="4702" y="1411"/>
                    <a:pt x="4702" y="1411"/>
                    <a:pt x="4702" y="1411"/>
                  </a:cubicBezTo>
                  <a:cubicBezTo>
                    <a:pt x="4702" y="1348"/>
                    <a:pt x="4665" y="1312"/>
                    <a:pt x="4611" y="1312"/>
                  </a:cubicBezTo>
                  <a:close/>
                  <a:moveTo>
                    <a:pt x="4548" y="1395"/>
                  </a:moveTo>
                  <a:cubicBezTo>
                    <a:pt x="4552" y="1363"/>
                    <a:pt x="4575" y="1341"/>
                    <a:pt x="4610" y="1341"/>
                  </a:cubicBezTo>
                  <a:cubicBezTo>
                    <a:pt x="4645" y="1341"/>
                    <a:pt x="4666" y="1363"/>
                    <a:pt x="4667" y="1395"/>
                  </a:cubicBezTo>
                  <a:lnTo>
                    <a:pt x="4548" y="1395"/>
                  </a:lnTo>
                  <a:close/>
                  <a:moveTo>
                    <a:pt x="4754" y="1200"/>
                  </a:moveTo>
                  <a:cubicBezTo>
                    <a:pt x="4786" y="1200"/>
                    <a:pt x="4786" y="1200"/>
                    <a:pt x="4786" y="1200"/>
                  </a:cubicBezTo>
                  <a:cubicBezTo>
                    <a:pt x="4786" y="1507"/>
                    <a:pt x="4786" y="1507"/>
                    <a:pt x="4786" y="1507"/>
                  </a:cubicBezTo>
                  <a:cubicBezTo>
                    <a:pt x="4754" y="1507"/>
                    <a:pt x="4754" y="1507"/>
                    <a:pt x="4754" y="1507"/>
                  </a:cubicBezTo>
                  <a:lnTo>
                    <a:pt x="4754" y="1200"/>
                  </a:lnTo>
                  <a:close/>
                  <a:moveTo>
                    <a:pt x="4934" y="1312"/>
                  </a:moveTo>
                  <a:cubicBezTo>
                    <a:pt x="4876" y="1312"/>
                    <a:pt x="4833" y="1352"/>
                    <a:pt x="4833" y="1412"/>
                  </a:cubicBezTo>
                  <a:cubicBezTo>
                    <a:pt x="4833" y="1471"/>
                    <a:pt x="4876" y="1512"/>
                    <a:pt x="4934" y="1512"/>
                  </a:cubicBezTo>
                  <a:cubicBezTo>
                    <a:pt x="4993" y="1512"/>
                    <a:pt x="5036" y="1471"/>
                    <a:pt x="5036" y="1412"/>
                  </a:cubicBezTo>
                  <a:cubicBezTo>
                    <a:pt x="5036" y="1352"/>
                    <a:pt x="4993" y="1312"/>
                    <a:pt x="4934" y="1312"/>
                  </a:cubicBezTo>
                  <a:close/>
                  <a:moveTo>
                    <a:pt x="4934" y="1482"/>
                  </a:moveTo>
                  <a:cubicBezTo>
                    <a:pt x="4893" y="1482"/>
                    <a:pt x="4867" y="1452"/>
                    <a:pt x="4867" y="1412"/>
                  </a:cubicBezTo>
                  <a:cubicBezTo>
                    <a:pt x="4867" y="1372"/>
                    <a:pt x="4893" y="1341"/>
                    <a:pt x="4934" y="1341"/>
                  </a:cubicBezTo>
                  <a:cubicBezTo>
                    <a:pt x="4975" y="1341"/>
                    <a:pt x="5002" y="1372"/>
                    <a:pt x="5002" y="1412"/>
                  </a:cubicBezTo>
                  <a:cubicBezTo>
                    <a:pt x="5002" y="1452"/>
                    <a:pt x="4975" y="1482"/>
                    <a:pt x="4934" y="1482"/>
                  </a:cubicBezTo>
                  <a:close/>
                  <a:moveTo>
                    <a:pt x="5182" y="1312"/>
                  </a:moveTo>
                  <a:cubicBezTo>
                    <a:pt x="5154" y="1312"/>
                    <a:pt x="5131" y="1324"/>
                    <a:pt x="5113" y="1344"/>
                  </a:cubicBezTo>
                  <a:cubicBezTo>
                    <a:pt x="5113" y="1344"/>
                    <a:pt x="5113" y="1344"/>
                    <a:pt x="5113" y="1344"/>
                  </a:cubicBezTo>
                  <a:cubicBezTo>
                    <a:pt x="5113" y="1317"/>
                    <a:pt x="5113" y="1317"/>
                    <a:pt x="5113" y="1317"/>
                  </a:cubicBezTo>
                  <a:cubicBezTo>
                    <a:pt x="5081" y="1317"/>
                    <a:pt x="5081" y="1317"/>
                    <a:pt x="5081" y="1317"/>
                  </a:cubicBezTo>
                  <a:cubicBezTo>
                    <a:pt x="5081" y="1600"/>
                    <a:pt x="5081" y="1600"/>
                    <a:pt x="5081" y="1600"/>
                  </a:cubicBezTo>
                  <a:cubicBezTo>
                    <a:pt x="5113" y="1600"/>
                    <a:pt x="5113" y="1600"/>
                    <a:pt x="5113" y="1600"/>
                  </a:cubicBezTo>
                  <a:cubicBezTo>
                    <a:pt x="5113" y="1473"/>
                    <a:pt x="5113" y="1473"/>
                    <a:pt x="5113" y="1473"/>
                  </a:cubicBezTo>
                  <a:cubicBezTo>
                    <a:pt x="5113" y="1473"/>
                    <a:pt x="5113" y="1473"/>
                    <a:pt x="5113" y="1473"/>
                  </a:cubicBezTo>
                  <a:cubicBezTo>
                    <a:pt x="5125" y="1495"/>
                    <a:pt x="5152" y="1512"/>
                    <a:pt x="5186" y="1512"/>
                  </a:cubicBezTo>
                  <a:cubicBezTo>
                    <a:pt x="5240" y="1512"/>
                    <a:pt x="5282" y="1469"/>
                    <a:pt x="5282" y="1412"/>
                  </a:cubicBezTo>
                  <a:cubicBezTo>
                    <a:pt x="5282" y="1354"/>
                    <a:pt x="5241" y="1312"/>
                    <a:pt x="5182" y="1312"/>
                  </a:cubicBezTo>
                  <a:close/>
                  <a:moveTo>
                    <a:pt x="5180" y="1482"/>
                  </a:moveTo>
                  <a:cubicBezTo>
                    <a:pt x="5139" y="1482"/>
                    <a:pt x="5113" y="1452"/>
                    <a:pt x="5113" y="1412"/>
                  </a:cubicBezTo>
                  <a:cubicBezTo>
                    <a:pt x="5113" y="1372"/>
                    <a:pt x="5139" y="1341"/>
                    <a:pt x="5180" y="1341"/>
                  </a:cubicBezTo>
                  <a:cubicBezTo>
                    <a:pt x="5221" y="1341"/>
                    <a:pt x="5247" y="1372"/>
                    <a:pt x="5247" y="1412"/>
                  </a:cubicBezTo>
                  <a:cubicBezTo>
                    <a:pt x="5247" y="1452"/>
                    <a:pt x="5221" y="1482"/>
                    <a:pt x="5180" y="1482"/>
                  </a:cubicBezTo>
                  <a:close/>
                  <a:moveTo>
                    <a:pt x="5613" y="1391"/>
                  </a:moveTo>
                  <a:cubicBezTo>
                    <a:pt x="5613" y="1507"/>
                    <a:pt x="5613" y="1507"/>
                    <a:pt x="5613" y="1507"/>
                  </a:cubicBezTo>
                  <a:cubicBezTo>
                    <a:pt x="5581" y="1507"/>
                    <a:pt x="5581" y="1507"/>
                    <a:pt x="5581" y="1507"/>
                  </a:cubicBezTo>
                  <a:cubicBezTo>
                    <a:pt x="5581" y="1393"/>
                    <a:pt x="5581" y="1393"/>
                    <a:pt x="5581" y="1393"/>
                  </a:cubicBezTo>
                  <a:cubicBezTo>
                    <a:pt x="5581" y="1367"/>
                    <a:pt x="5572" y="1341"/>
                    <a:pt x="5535" y="1341"/>
                  </a:cubicBezTo>
                  <a:cubicBezTo>
                    <a:pt x="5508" y="1341"/>
                    <a:pt x="5486" y="1363"/>
                    <a:pt x="5486" y="1397"/>
                  </a:cubicBezTo>
                  <a:cubicBezTo>
                    <a:pt x="5486" y="1507"/>
                    <a:pt x="5486" y="1507"/>
                    <a:pt x="5486" y="1507"/>
                  </a:cubicBezTo>
                  <a:cubicBezTo>
                    <a:pt x="5454" y="1507"/>
                    <a:pt x="5454" y="1507"/>
                    <a:pt x="5454" y="1507"/>
                  </a:cubicBezTo>
                  <a:cubicBezTo>
                    <a:pt x="5454" y="1399"/>
                    <a:pt x="5454" y="1399"/>
                    <a:pt x="5454" y="1399"/>
                  </a:cubicBezTo>
                  <a:cubicBezTo>
                    <a:pt x="5454" y="1357"/>
                    <a:pt x="5443" y="1341"/>
                    <a:pt x="5417" y="1341"/>
                  </a:cubicBezTo>
                  <a:cubicBezTo>
                    <a:pt x="5376" y="1341"/>
                    <a:pt x="5358" y="1371"/>
                    <a:pt x="5358" y="1414"/>
                  </a:cubicBezTo>
                  <a:cubicBezTo>
                    <a:pt x="5358" y="1507"/>
                    <a:pt x="5358" y="1507"/>
                    <a:pt x="5358" y="1507"/>
                  </a:cubicBezTo>
                  <a:cubicBezTo>
                    <a:pt x="5327" y="1507"/>
                    <a:pt x="5327" y="1507"/>
                    <a:pt x="5327" y="1507"/>
                  </a:cubicBezTo>
                  <a:cubicBezTo>
                    <a:pt x="5327" y="1362"/>
                    <a:pt x="5327" y="1362"/>
                    <a:pt x="5327" y="1362"/>
                  </a:cubicBezTo>
                  <a:cubicBezTo>
                    <a:pt x="5327" y="1344"/>
                    <a:pt x="5325" y="1329"/>
                    <a:pt x="5325" y="1317"/>
                  </a:cubicBezTo>
                  <a:cubicBezTo>
                    <a:pt x="5355" y="1317"/>
                    <a:pt x="5355" y="1317"/>
                    <a:pt x="5355" y="1317"/>
                  </a:cubicBezTo>
                  <a:cubicBezTo>
                    <a:pt x="5355" y="1327"/>
                    <a:pt x="5356" y="1337"/>
                    <a:pt x="5356" y="1348"/>
                  </a:cubicBezTo>
                  <a:cubicBezTo>
                    <a:pt x="5357" y="1348"/>
                    <a:pt x="5357" y="1348"/>
                    <a:pt x="5357" y="1348"/>
                  </a:cubicBezTo>
                  <a:cubicBezTo>
                    <a:pt x="5365" y="1329"/>
                    <a:pt x="5389" y="1312"/>
                    <a:pt x="5420" y="1312"/>
                  </a:cubicBezTo>
                  <a:cubicBezTo>
                    <a:pt x="5461" y="1312"/>
                    <a:pt x="5474" y="1335"/>
                    <a:pt x="5480" y="1348"/>
                  </a:cubicBezTo>
                  <a:cubicBezTo>
                    <a:pt x="5494" y="1326"/>
                    <a:pt x="5512" y="1312"/>
                    <a:pt x="5540" y="1312"/>
                  </a:cubicBezTo>
                  <a:cubicBezTo>
                    <a:pt x="5595" y="1312"/>
                    <a:pt x="5613" y="1342"/>
                    <a:pt x="5613" y="1391"/>
                  </a:cubicBezTo>
                  <a:close/>
                  <a:moveTo>
                    <a:pt x="5756" y="1312"/>
                  </a:moveTo>
                  <a:cubicBezTo>
                    <a:pt x="5700" y="1312"/>
                    <a:pt x="5658" y="1353"/>
                    <a:pt x="5658" y="1412"/>
                  </a:cubicBezTo>
                  <a:cubicBezTo>
                    <a:pt x="5658" y="1467"/>
                    <a:pt x="5695" y="1512"/>
                    <a:pt x="5754" y="1512"/>
                  </a:cubicBezTo>
                  <a:cubicBezTo>
                    <a:pt x="5790" y="1512"/>
                    <a:pt x="5817" y="1501"/>
                    <a:pt x="5839" y="1472"/>
                  </a:cubicBezTo>
                  <a:cubicBezTo>
                    <a:pt x="5815" y="1454"/>
                    <a:pt x="5815" y="1454"/>
                    <a:pt x="5815" y="1454"/>
                  </a:cubicBezTo>
                  <a:cubicBezTo>
                    <a:pt x="5800" y="1473"/>
                    <a:pt x="5782" y="1482"/>
                    <a:pt x="5754" y="1482"/>
                  </a:cubicBezTo>
                  <a:cubicBezTo>
                    <a:pt x="5720" y="1482"/>
                    <a:pt x="5695" y="1454"/>
                    <a:pt x="5692" y="1421"/>
                  </a:cubicBezTo>
                  <a:cubicBezTo>
                    <a:pt x="5846" y="1421"/>
                    <a:pt x="5846" y="1421"/>
                    <a:pt x="5846" y="1421"/>
                  </a:cubicBezTo>
                  <a:cubicBezTo>
                    <a:pt x="5846" y="1411"/>
                    <a:pt x="5846" y="1411"/>
                    <a:pt x="5846" y="1411"/>
                  </a:cubicBezTo>
                  <a:cubicBezTo>
                    <a:pt x="5846" y="1348"/>
                    <a:pt x="5809" y="1312"/>
                    <a:pt x="5756" y="1312"/>
                  </a:cubicBezTo>
                  <a:close/>
                  <a:moveTo>
                    <a:pt x="5692" y="1395"/>
                  </a:moveTo>
                  <a:cubicBezTo>
                    <a:pt x="5696" y="1363"/>
                    <a:pt x="5720" y="1341"/>
                    <a:pt x="5754" y="1341"/>
                  </a:cubicBezTo>
                  <a:cubicBezTo>
                    <a:pt x="5789" y="1341"/>
                    <a:pt x="5811" y="1363"/>
                    <a:pt x="5812" y="1395"/>
                  </a:cubicBezTo>
                  <a:lnTo>
                    <a:pt x="5692" y="1395"/>
                  </a:lnTo>
                  <a:close/>
                  <a:moveTo>
                    <a:pt x="6057" y="1389"/>
                  </a:moveTo>
                  <a:cubicBezTo>
                    <a:pt x="6057" y="1507"/>
                    <a:pt x="6057" y="1507"/>
                    <a:pt x="6057" y="1507"/>
                  </a:cubicBezTo>
                  <a:cubicBezTo>
                    <a:pt x="6025" y="1507"/>
                    <a:pt x="6025" y="1507"/>
                    <a:pt x="6025" y="1507"/>
                  </a:cubicBezTo>
                  <a:cubicBezTo>
                    <a:pt x="6025" y="1393"/>
                    <a:pt x="6025" y="1393"/>
                    <a:pt x="6025" y="1393"/>
                  </a:cubicBezTo>
                  <a:cubicBezTo>
                    <a:pt x="6025" y="1361"/>
                    <a:pt x="6011" y="1341"/>
                    <a:pt x="5982" y="1341"/>
                  </a:cubicBezTo>
                  <a:cubicBezTo>
                    <a:pt x="5941" y="1341"/>
                    <a:pt x="5923" y="1371"/>
                    <a:pt x="5923" y="1414"/>
                  </a:cubicBezTo>
                  <a:cubicBezTo>
                    <a:pt x="5923" y="1507"/>
                    <a:pt x="5923" y="1507"/>
                    <a:pt x="5923" y="1507"/>
                  </a:cubicBezTo>
                  <a:cubicBezTo>
                    <a:pt x="5891" y="1507"/>
                    <a:pt x="5891" y="1507"/>
                    <a:pt x="5891" y="1507"/>
                  </a:cubicBezTo>
                  <a:cubicBezTo>
                    <a:pt x="5891" y="1362"/>
                    <a:pt x="5891" y="1362"/>
                    <a:pt x="5891" y="1362"/>
                  </a:cubicBezTo>
                  <a:cubicBezTo>
                    <a:pt x="5891" y="1344"/>
                    <a:pt x="5889" y="1329"/>
                    <a:pt x="5889" y="1317"/>
                  </a:cubicBezTo>
                  <a:cubicBezTo>
                    <a:pt x="5919" y="1317"/>
                    <a:pt x="5919" y="1317"/>
                    <a:pt x="5919" y="1317"/>
                  </a:cubicBezTo>
                  <a:cubicBezTo>
                    <a:pt x="5919" y="1327"/>
                    <a:pt x="5920" y="1337"/>
                    <a:pt x="5920" y="1348"/>
                  </a:cubicBezTo>
                  <a:cubicBezTo>
                    <a:pt x="5921" y="1348"/>
                    <a:pt x="5921" y="1348"/>
                    <a:pt x="5921" y="1348"/>
                  </a:cubicBezTo>
                  <a:cubicBezTo>
                    <a:pt x="5930" y="1329"/>
                    <a:pt x="5953" y="1312"/>
                    <a:pt x="5984" y="1312"/>
                  </a:cubicBezTo>
                  <a:cubicBezTo>
                    <a:pt x="6034" y="1312"/>
                    <a:pt x="6057" y="1343"/>
                    <a:pt x="6057" y="1389"/>
                  </a:cubicBezTo>
                  <a:close/>
                  <a:moveTo>
                    <a:pt x="6217" y="1505"/>
                  </a:moveTo>
                  <a:cubicBezTo>
                    <a:pt x="6206" y="1510"/>
                    <a:pt x="6192" y="1512"/>
                    <a:pt x="6180" y="1512"/>
                  </a:cubicBezTo>
                  <a:cubicBezTo>
                    <a:pt x="6135" y="1512"/>
                    <a:pt x="6128" y="1487"/>
                    <a:pt x="6128" y="1448"/>
                  </a:cubicBezTo>
                  <a:cubicBezTo>
                    <a:pt x="6128" y="1343"/>
                    <a:pt x="6128" y="1343"/>
                    <a:pt x="6128" y="1343"/>
                  </a:cubicBezTo>
                  <a:cubicBezTo>
                    <a:pt x="6086" y="1343"/>
                    <a:pt x="6086" y="1343"/>
                    <a:pt x="6086" y="1343"/>
                  </a:cubicBezTo>
                  <a:cubicBezTo>
                    <a:pt x="6086" y="1317"/>
                    <a:pt x="6086" y="1317"/>
                    <a:pt x="6086" y="1317"/>
                  </a:cubicBezTo>
                  <a:cubicBezTo>
                    <a:pt x="6128" y="1317"/>
                    <a:pt x="6128" y="1317"/>
                    <a:pt x="6128" y="1317"/>
                  </a:cubicBezTo>
                  <a:cubicBezTo>
                    <a:pt x="6128" y="1263"/>
                    <a:pt x="6128" y="1263"/>
                    <a:pt x="6128" y="1263"/>
                  </a:cubicBezTo>
                  <a:cubicBezTo>
                    <a:pt x="6159" y="1263"/>
                    <a:pt x="6159" y="1263"/>
                    <a:pt x="6159" y="1263"/>
                  </a:cubicBezTo>
                  <a:cubicBezTo>
                    <a:pt x="6159" y="1317"/>
                    <a:pt x="6159" y="1317"/>
                    <a:pt x="6159" y="1317"/>
                  </a:cubicBezTo>
                  <a:cubicBezTo>
                    <a:pt x="6215" y="1317"/>
                    <a:pt x="6215" y="1317"/>
                    <a:pt x="6215" y="1317"/>
                  </a:cubicBezTo>
                  <a:cubicBezTo>
                    <a:pt x="6215" y="1343"/>
                    <a:pt x="6215" y="1343"/>
                    <a:pt x="6215" y="1343"/>
                  </a:cubicBezTo>
                  <a:cubicBezTo>
                    <a:pt x="6159" y="1343"/>
                    <a:pt x="6159" y="1343"/>
                    <a:pt x="6159" y="1343"/>
                  </a:cubicBezTo>
                  <a:cubicBezTo>
                    <a:pt x="6159" y="1439"/>
                    <a:pt x="6159" y="1439"/>
                    <a:pt x="6159" y="1439"/>
                  </a:cubicBezTo>
                  <a:cubicBezTo>
                    <a:pt x="6159" y="1463"/>
                    <a:pt x="6160" y="1482"/>
                    <a:pt x="6188" y="1482"/>
                  </a:cubicBezTo>
                  <a:cubicBezTo>
                    <a:pt x="6197" y="1482"/>
                    <a:pt x="6207" y="1480"/>
                    <a:pt x="6216" y="1476"/>
                  </a:cubicBezTo>
                  <a:lnTo>
                    <a:pt x="6217" y="1505"/>
                  </a:lnTo>
                  <a:close/>
                  <a:moveTo>
                    <a:pt x="2242" y="1312"/>
                  </a:moveTo>
                  <a:cubicBezTo>
                    <a:pt x="2215" y="1312"/>
                    <a:pt x="2191" y="1324"/>
                    <a:pt x="2174" y="1344"/>
                  </a:cubicBezTo>
                  <a:cubicBezTo>
                    <a:pt x="2173" y="1344"/>
                    <a:pt x="2173" y="1344"/>
                    <a:pt x="2173" y="1344"/>
                  </a:cubicBezTo>
                  <a:cubicBezTo>
                    <a:pt x="2173" y="1317"/>
                    <a:pt x="2173" y="1317"/>
                    <a:pt x="2173" y="1317"/>
                  </a:cubicBezTo>
                  <a:cubicBezTo>
                    <a:pt x="2141" y="1317"/>
                    <a:pt x="2141" y="1317"/>
                    <a:pt x="2141" y="1317"/>
                  </a:cubicBezTo>
                  <a:cubicBezTo>
                    <a:pt x="2141" y="1600"/>
                    <a:pt x="2141" y="1600"/>
                    <a:pt x="2141" y="1600"/>
                  </a:cubicBezTo>
                  <a:cubicBezTo>
                    <a:pt x="2173" y="1600"/>
                    <a:pt x="2173" y="1600"/>
                    <a:pt x="2173" y="1600"/>
                  </a:cubicBezTo>
                  <a:cubicBezTo>
                    <a:pt x="2173" y="1473"/>
                    <a:pt x="2173" y="1473"/>
                    <a:pt x="2173" y="1473"/>
                  </a:cubicBezTo>
                  <a:cubicBezTo>
                    <a:pt x="2174" y="1473"/>
                    <a:pt x="2174" y="1473"/>
                    <a:pt x="2174" y="1473"/>
                  </a:cubicBezTo>
                  <a:cubicBezTo>
                    <a:pt x="2186" y="1495"/>
                    <a:pt x="2213" y="1512"/>
                    <a:pt x="2247" y="1512"/>
                  </a:cubicBezTo>
                  <a:cubicBezTo>
                    <a:pt x="2300" y="1512"/>
                    <a:pt x="2342" y="1469"/>
                    <a:pt x="2342" y="1412"/>
                  </a:cubicBezTo>
                  <a:cubicBezTo>
                    <a:pt x="2342" y="1354"/>
                    <a:pt x="2302" y="1312"/>
                    <a:pt x="2242" y="1312"/>
                  </a:cubicBezTo>
                  <a:close/>
                  <a:moveTo>
                    <a:pt x="2241" y="1482"/>
                  </a:moveTo>
                  <a:cubicBezTo>
                    <a:pt x="2200" y="1482"/>
                    <a:pt x="2173" y="1452"/>
                    <a:pt x="2173" y="1412"/>
                  </a:cubicBezTo>
                  <a:cubicBezTo>
                    <a:pt x="2173" y="1372"/>
                    <a:pt x="2200" y="1341"/>
                    <a:pt x="2241" y="1341"/>
                  </a:cubicBezTo>
                  <a:cubicBezTo>
                    <a:pt x="2282" y="1341"/>
                    <a:pt x="2308" y="1372"/>
                    <a:pt x="2308" y="1412"/>
                  </a:cubicBezTo>
                  <a:cubicBezTo>
                    <a:pt x="2308" y="1452"/>
                    <a:pt x="2282" y="1482"/>
                    <a:pt x="2241" y="1482"/>
                  </a:cubicBezTo>
                  <a:close/>
                  <a:moveTo>
                    <a:pt x="2478" y="1312"/>
                  </a:moveTo>
                  <a:cubicBezTo>
                    <a:pt x="2482" y="1312"/>
                    <a:pt x="2487" y="1312"/>
                    <a:pt x="2491" y="1314"/>
                  </a:cubicBezTo>
                  <a:cubicBezTo>
                    <a:pt x="2489" y="1346"/>
                    <a:pt x="2489" y="1346"/>
                    <a:pt x="2489" y="1346"/>
                  </a:cubicBezTo>
                  <a:cubicBezTo>
                    <a:pt x="2484" y="1344"/>
                    <a:pt x="2478" y="1343"/>
                    <a:pt x="2472" y="1343"/>
                  </a:cubicBezTo>
                  <a:cubicBezTo>
                    <a:pt x="2433" y="1343"/>
                    <a:pt x="2416" y="1371"/>
                    <a:pt x="2416" y="1414"/>
                  </a:cubicBezTo>
                  <a:cubicBezTo>
                    <a:pt x="2416" y="1507"/>
                    <a:pt x="2416" y="1507"/>
                    <a:pt x="2416" y="1507"/>
                  </a:cubicBezTo>
                  <a:cubicBezTo>
                    <a:pt x="2385" y="1507"/>
                    <a:pt x="2385" y="1507"/>
                    <a:pt x="2385" y="1507"/>
                  </a:cubicBezTo>
                  <a:cubicBezTo>
                    <a:pt x="2385" y="1362"/>
                    <a:pt x="2385" y="1362"/>
                    <a:pt x="2385" y="1362"/>
                  </a:cubicBezTo>
                  <a:cubicBezTo>
                    <a:pt x="2385" y="1344"/>
                    <a:pt x="2383" y="1329"/>
                    <a:pt x="2383" y="1317"/>
                  </a:cubicBezTo>
                  <a:cubicBezTo>
                    <a:pt x="2413" y="1317"/>
                    <a:pt x="2413" y="1317"/>
                    <a:pt x="2413" y="1317"/>
                  </a:cubicBezTo>
                  <a:cubicBezTo>
                    <a:pt x="2413" y="1327"/>
                    <a:pt x="2414" y="1337"/>
                    <a:pt x="2414" y="1348"/>
                  </a:cubicBezTo>
                  <a:cubicBezTo>
                    <a:pt x="2415" y="1348"/>
                    <a:pt x="2415" y="1348"/>
                    <a:pt x="2415" y="1348"/>
                  </a:cubicBezTo>
                  <a:cubicBezTo>
                    <a:pt x="2423" y="1329"/>
                    <a:pt x="2447" y="1312"/>
                    <a:pt x="2478" y="1312"/>
                  </a:cubicBezTo>
                  <a:close/>
                  <a:moveTo>
                    <a:pt x="2606" y="1312"/>
                  </a:moveTo>
                  <a:cubicBezTo>
                    <a:pt x="2547" y="1312"/>
                    <a:pt x="2504" y="1352"/>
                    <a:pt x="2504" y="1412"/>
                  </a:cubicBezTo>
                  <a:cubicBezTo>
                    <a:pt x="2504" y="1471"/>
                    <a:pt x="2547" y="1512"/>
                    <a:pt x="2606" y="1512"/>
                  </a:cubicBezTo>
                  <a:cubicBezTo>
                    <a:pt x="2664" y="1512"/>
                    <a:pt x="2707" y="1471"/>
                    <a:pt x="2707" y="1412"/>
                  </a:cubicBezTo>
                  <a:cubicBezTo>
                    <a:pt x="2707" y="1352"/>
                    <a:pt x="2664" y="1312"/>
                    <a:pt x="2606" y="1312"/>
                  </a:cubicBezTo>
                  <a:close/>
                  <a:moveTo>
                    <a:pt x="2606" y="1482"/>
                  </a:moveTo>
                  <a:cubicBezTo>
                    <a:pt x="2565" y="1482"/>
                    <a:pt x="2538" y="1452"/>
                    <a:pt x="2538" y="1412"/>
                  </a:cubicBezTo>
                  <a:cubicBezTo>
                    <a:pt x="2538" y="1372"/>
                    <a:pt x="2565" y="1341"/>
                    <a:pt x="2606" y="1341"/>
                  </a:cubicBezTo>
                  <a:cubicBezTo>
                    <a:pt x="2647" y="1341"/>
                    <a:pt x="2673" y="1372"/>
                    <a:pt x="2673" y="1412"/>
                  </a:cubicBezTo>
                  <a:cubicBezTo>
                    <a:pt x="2673" y="1452"/>
                    <a:pt x="2647" y="1482"/>
                    <a:pt x="2606" y="1482"/>
                  </a:cubicBezTo>
                  <a:close/>
                  <a:moveTo>
                    <a:pt x="2853" y="1312"/>
                  </a:moveTo>
                  <a:cubicBezTo>
                    <a:pt x="2825" y="1312"/>
                    <a:pt x="2802" y="1324"/>
                    <a:pt x="2785" y="1344"/>
                  </a:cubicBezTo>
                  <a:cubicBezTo>
                    <a:pt x="2784" y="1344"/>
                    <a:pt x="2784" y="1344"/>
                    <a:pt x="2784" y="1344"/>
                  </a:cubicBezTo>
                  <a:cubicBezTo>
                    <a:pt x="2784" y="1317"/>
                    <a:pt x="2784" y="1317"/>
                    <a:pt x="2784" y="1317"/>
                  </a:cubicBezTo>
                  <a:cubicBezTo>
                    <a:pt x="2752" y="1317"/>
                    <a:pt x="2752" y="1317"/>
                    <a:pt x="2752" y="1317"/>
                  </a:cubicBezTo>
                  <a:cubicBezTo>
                    <a:pt x="2752" y="1600"/>
                    <a:pt x="2752" y="1600"/>
                    <a:pt x="2752" y="1600"/>
                  </a:cubicBezTo>
                  <a:cubicBezTo>
                    <a:pt x="2784" y="1600"/>
                    <a:pt x="2784" y="1600"/>
                    <a:pt x="2784" y="1600"/>
                  </a:cubicBezTo>
                  <a:cubicBezTo>
                    <a:pt x="2784" y="1473"/>
                    <a:pt x="2784" y="1473"/>
                    <a:pt x="2784" y="1473"/>
                  </a:cubicBezTo>
                  <a:cubicBezTo>
                    <a:pt x="2785" y="1473"/>
                    <a:pt x="2785" y="1473"/>
                    <a:pt x="2785" y="1473"/>
                  </a:cubicBezTo>
                  <a:cubicBezTo>
                    <a:pt x="2796" y="1495"/>
                    <a:pt x="2824" y="1512"/>
                    <a:pt x="2858" y="1512"/>
                  </a:cubicBezTo>
                  <a:cubicBezTo>
                    <a:pt x="2911" y="1512"/>
                    <a:pt x="2953" y="1469"/>
                    <a:pt x="2953" y="1412"/>
                  </a:cubicBezTo>
                  <a:cubicBezTo>
                    <a:pt x="2953" y="1354"/>
                    <a:pt x="2913" y="1312"/>
                    <a:pt x="2853" y="1312"/>
                  </a:cubicBezTo>
                  <a:close/>
                  <a:moveTo>
                    <a:pt x="2851" y="1482"/>
                  </a:moveTo>
                  <a:cubicBezTo>
                    <a:pt x="2810" y="1482"/>
                    <a:pt x="2784" y="1452"/>
                    <a:pt x="2784" y="1412"/>
                  </a:cubicBezTo>
                  <a:cubicBezTo>
                    <a:pt x="2784" y="1372"/>
                    <a:pt x="2810" y="1341"/>
                    <a:pt x="2851" y="1341"/>
                  </a:cubicBezTo>
                  <a:cubicBezTo>
                    <a:pt x="2892" y="1341"/>
                    <a:pt x="2919" y="1372"/>
                    <a:pt x="2919" y="1412"/>
                  </a:cubicBezTo>
                  <a:cubicBezTo>
                    <a:pt x="2919" y="1452"/>
                    <a:pt x="2892" y="1482"/>
                    <a:pt x="2851" y="1482"/>
                  </a:cubicBezTo>
                  <a:close/>
                  <a:moveTo>
                    <a:pt x="3086" y="1312"/>
                  </a:moveTo>
                  <a:cubicBezTo>
                    <a:pt x="3030" y="1312"/>
                    <a:pt x="2988" y="1353"/>
                    <a:pt x="2988" y="1412"/>
                  </a:cubicBezTo>
                  <a:cubicBezTo>
                    <a:pt x="2988" y="1467"/>
                    <a:pt x="3025" y="1512"/>
                    <a:pt x="3085" y="1512"/>
                  </a:cubicBezTo>
                  <a:cubicBezTo>
                    <a:pt x="3120" y="1512"/>
                    <a:pt x="3147" y="1501"/>
                    <a:pt x="3169" y="1472"/>
                  </a:cubicBezTo>
                  <a:cubicBezTo>
                    <a:pt x="3145" y="1454"/>
                    <a:pt x="3145" y="1454"/>
                    <a:pt x="3145" y="1454"/>
                  </a:cubicBezTo>
                  <a:cubicBezTo>
                    <a:pt x="3130" y="1473"/>
                    <a:pt x="3112" y="1482"/>
                    <a:pt x="3085" y="1482"/>
                  </a:cubicBezTo>
                  <a:cubicBezTo>
                    <a:pt x="3050" y="1482"/>
                    <a:pt x="3025" y="1454"/>
                    <a:pt x="3023" y="1421"/>
                  </a:cubicBezTo>
                  <a:cubicBezTo>
                    <a:pt x="3176" y="1421"/>
                    <a:pt x="3176" y="1421"/>
                    <a:pt x="3176" y="1421"/>
                  </a:cubicBezTo>
                  <a:cubicBezTo>
                    <a:pt x="3176" y="1411"/>
                    <a:pt x="3176" y="1411"/>
                    <a:pt x="3176" y="1411"/>
                  </a:cubicBezTo>
                  <a:cubicBezTo>
                    <a:pt x="3176" y="1348"/>
                    <a:pt x="3140" y="1312"/>
                    <a:pt x="3086" y="1312"/>
                  </a:cubicBezTo>
                  <a:close/>
                  <a:moveTo>
                    <a:pt x="3023" y="1395"/>
                  </a:moveTo>
                  <a:cubicBezTo>
                    <a:pt x="3027" y="1363"/>
                    <a:pt x="3050" y="1341"/>
                    <a:pt x="3085" y="1341"/>
                  </a:cubicBezTo>
                  <a:cubicBezTo>
                    <a:pt x="3120" y="1341"/>
                    <a:pt x="3141" y="1363"/>
                    <a:pt x="3142" y="1395"/>
                  </a:cubicBezTo>
                  <a:lnTo>
                    <a:pt x="3023" y="1395"/>
                  </a:lnTo>
                  <a:close/>
                  <a:moveTo>
                    <a:pt x="3322" y="1312"/>
                  </a:moveTo>
                  <a:cubicBezTo>
                    <a:pt x="3326" y="1312"/>
                    <a:pt x="3330" y="1312"/>
                    <a:pt x="3335" y="1314"/>
                  </a:cubicBezTo>
                  <a:cubicBezTo>
                    <a:pt x="3333" y="1346"/>
                    <a:pt x="3333" y="1346"/>
                    <a:pt x="3333" y="1346"/>
                  </a:cubicBezTo>
                  <a:cubicBezTo>
                    <a:pt x="3327" y="1344"/>
                    <a:pt x="3321" y="1343"/>
                    <a:pt x="3316" y="1343"/>
                  </a:cubicBezTo>
                  <a:cubicBezTo>
                    <a:pt x="3277" y="1343"/>
                    <a:pt x="3260" y="1371"/>
                    <a:pt x="3260" y="1414"/>
                  </a:cubicBezTo>
                  <a:cubicBezTo>
                    <a:pt x="3260" y="1507"/>
                    <a:pt x="3260" y="1507"/>
                    <a:pt x="3260" y="1507"/>
                  </a:cubicBezTo>
                  <a:cubicBezTo>
                    <a:pt x="3228" y="1507"/>
                    <a:pt x="3228" y="1507"/>
                    <a:pt x="3228" y="1507"/>
                  </a:cubicBezTo>
                  <a:cubicBezTo>
                    <a:pt x="3228" y="1362"/>
                    <a:pt x="3228" y="1362"/>
                    <a:pt x="3228" y="1362"/>
                  </a:cubicBezTo>
                  <a:cubicBezTo>
                    <a:pt x="3228" y="1344"/>
                    <a:pt x="3227" y="1329"/>
                    <a:pt x="3227" y="1317"/>
                  </a:cubicBezTo>
                  <a:cubicBezTo>
                    <a:pt x="3257" y="1317"/>
                    <a:pt x="3257" y="1317"/>
                    <a:pt x="3257" y="1317"/>
                  </a:cubicBezTo>
                  <a:cubicBezTo>
                    <a:pt x="3257" y="1327"/>
                    <a:pt x="3258" y="1337"/>
                    <a:pt x="3258" y="1348"/>
                  </a:cubicBezTo>
                  <a:cubicBezTo>
                    <a:pt x="3258" y="1348"/>
                    <a:pt x="3258" y="1348"/>
                    <a:pt x="3258" y="1348"/>
                  </a:cubicBezTo>
                  <a:cubicBezTo>
                    <a:pt x="3267" y="1329"/>
                    <a:pt x="3290" y="1312"/>
                    <a:pt x="3322" y="1312"/>
                  </a:cubicBezTo>
                  <a:close/>
                  <a:moveTo>
                    <a:pt x="3492" y="1476"/>
                  </a:moveTo>
                  <a:cubicBezTo>
                    <a:pt x="3494" y="1505"/>
                    <a:pt x="3494" y="1505"/>
                    <a:pt x="3494" y="1505"/>
                  </a:cubicBezTo>
                  <a:cubicBezTo>
                    <a:pt x="3483" y="1510"/>
                    <a:pt x="3468" y="1512"/>
                    <a:pt x="3457" y="1512"/>
                  </a:cubicBezTo>
                  <a:cubicBezTo>
                    <a:pt x="3412" y="1512"/>
                    <a:pt x="3404" y="1487"/>
                    <a:pt x="3404" y="1448"/>
                  </a:cubicBezTo>
                  <a:cubicBezTo>
                    <a:pt x="3404" y="1343"/>
                    <a:pt x="3404" y="1343"/>
                    <a:pt x="3404" y="1343"/>
                  </a:cubicBezTo>
                  <a:cubicBezTo>
                    <a:pt x="3363" y="1343"/>
                    <a:pt x="3363" y="1343"/>
                    <a:pt x="3363" y="1343"/>
                  </a:cubicBezTo>
                  <a:cubicBezTo>
                    <a:pt x="3363" y="1317"/>
                    <a:pt x="3363" y="1317"/>
                    <a:pt x="3363" y="1317"/>
                  </a:cubicBezTo>
                  <a:cubicBezTo>
                    <a:pt x="3404" y="1317"/>
                    <a:pt x="3404" y="1317"/>
                    <a:pt x="3404" y="1317"/>
                  </a:cubicBezTo>
                  <a:cubicBezTo>
                    <a:pt x="3404" y="1263"/>
                    <a:pt x="3404" y="1263"/>
                    <a:pt x="3404" y="1263"/>
                  </a:cubicBezTo>
                  <a:cubicBezTo>
                    <a:pt x="3436" y="1263"/>
                    <a:pt x="3436" y="1263"/>
                    <a:pt x="3436" y="1263"/>
                  </a:cubicBezTo>
                  <a:cubicBezTo>
                    <a:pt x="3436" y="1317"/>
                    <a:pt x="3436" y="1317"/>
                    <a:pt x="3436" y="1317"/>
                  </a:cubicBezTo>
                  <a:cubicBezTo>
                    <a:pt x="3492" y="1317"/>
                    <a:pt x="3492" y="1317"/>
                    <a:pt x="3492" y="1317"/>
                  </a:cubicBezTo>
                  <a:cubicBezTo>
                    <a:pt x="3492" y="1343"/>
                    <a:pt x="3492" y="1343"/>
                    <a:pt x="3492" y="1343"/>
                  </a:cubicBezTo>
                  <a:cubicBezTo>
                    <a:pt x="3436" y="1343"/>
                    <a:pt x="3436" y="1343"/>
                    <a:pt x="3436" y="1343"/>
                  </a:cubicBezTo>
                  <a:cubicBezTo>
                    <a:pt x="3436" y="1439"/>
                    <a:pt x="3436" y="1439"/>
                    <a:pt x="3436" y="1439"/>
                  </a:cubicBezTo>
                  <a:cubicBezTo>
                    <a:pt x="3436" y="1463"/>
                    <a:pt x="3436" y="1482"/>
                    <a:pt x="3464" y="1482"/>
                  </a:cubicBezTo>
                  <a:cubicBezTo>
                    <a:pt x="3474" y="1482"/>
                    <a:pt x="3484" y="1480"/>
                    <a:pt x="3492" y="1476"/>
                  </a:cubicBezTo>
                  <a:close/>
                  <a:moveTo>
                    <a:pt x="3674" y="1317"/>
                  </a:moveTo>
                  <a:cubicBezTo>
                    <a:pt x="3709" y="1317"/>
                    <a:pt x="3709" y="1317"/>
                    <a:pt x="3709" y="1317"/>
                  </a:cubicBezTo>
                  <a:cubicBezTo>
                    <a:pt x="3617" y="1550"/>
                    <a:pt x="3617" y="1550"/>
                    <a:pt x="3617" y="1550"/>
                  </a:cubicBezTo>
                  <a:cubicBezTo>
                    <a:pt x="3604" y="1582"/>
                    <a:pt x="3592" y="1604"/>
                    <a:pt x="3553" y="1604"/>
                  </a:cubicBezTo>
                  <a:cubicBezTo>
                    <a:pt x="3545" y="1604"/>
                    <a:pt x="3533" y="1604"/>
                    <a:pt x="3525" y="1600"/>
                  </a:cubicBezTo>
                  <a:cubicBezTo>
                    <a:pt x="3529" y="1572"/>
                    <a:pt x="3529" y="1572"/>
                    <a:pt x="3529" y="1572"/>
                  </a:cubicBezTo>
                  <a:cubicBezTo>
                    <a:pt x="3536" y="1574"/>
                    <a:pt x="3542" y="1575"/>
                    <a:pt x="3551" y="1575"/>
                  </a:cubicBezTo>
                  <a:cubicBezTo>
                    <a:pt x="3572" y="1575"/>
                    <a:pt x="3580" y="1563"/>
                    <a:pt x="3587" y="1544"/>
                  </a:cubicBezTo>
                  <a:cubicBezTo>
                    <a:pt x="3600" y="1508"/>
                    <a:pt x="3600" y="1508"/>
                    <a:pt x="3600" y="1508"/>
                  </a:cubicBezTo>
                  <a:cubicBezTo>
                    <a:pt x="3521" y="1317"/>
                    <a:pt x="3521" y="1317"/>
                    <a:pt x="3521" y="1317"/>
                  </a:cubicBezTo>
                  <a:cubicBezTo>
                    <a:pt x="3558" y="1317"/>
                    <a:pt x="3558" y="1317"/>
                    <a:pt x="3558" y="1317"/>
                  </a:cubicBezTo>
                  <a:cubicBezTo>
                    <a:pt x="3617" y="1466"/>
                    <a:pt x="3617" y="1466"/>
                    <a:pt x="3617" y="1466"/>
                  </a:cubicBezTo>
                  <a:cubicBezTo>
                    <a:pt x="3618" y="1466"/>
                    <a:pt x="3618" y="1466"/>
                    <a:pt x="3618" y="1466"/>
                  </a:cubicBezTo>
                  <a:lnTo>
                    <a:pt x="3674" y="1317"/>
                  </a:lnTo>
                  <a:close/>
                  <a:moveTo>
                    <a:pt x="101" y="1312"/>
                  </a:moveTo>
                  <a:cubicBezTo>
                    <a:pt x="73" y="1312"/>
                    <a:pt x="50" y="1324"/>
                    <a:pt x="33" y="1344"/>
                  </a:cubicBezTo>
                  <a:cubicBezTo>
                    <a:pt x="32" y="1344"/>
                    <a:pt x="32" y="1344"/>
                    <a:pt x="32" y="1344"/>
                  </a:cubicBezTo>
                  <a:cubicBezTo>
                    <a:pt x="32" y="1200"/>
                    <a:pt x="32" y="1200"/>
                    <a:pt x="32" y="1200"/>
                  </a:cubicBezTo>
                  <a:cubicBezTo>
                    <a:pt x="0" y="1200"/>
                    <a:pt x="0" y="1200"/>
                    <a:pt x="0" y="1200"/>
                  </a:cubicBezTo>
                  <a:cubicBezTo>
                    <a:pt x="0" y="1507"/>
                    <a:pt x="0" y="1507"/>
                    <a:pt x="0" y="1507"/>
                  </a:cubicBezTo>
                  <a:cubicBezTo>
                    <a:pt x="32" y="1507"/>
                    <a:pt x="32" y="1507"/>
                    <a:pt x="32" y="1507"/>
                  </a:cubicBezTo>
                  <a:cubicBezTo>
                    <a:pt x="32" y="1473"/>
                    <a:pt x="32" y="1473"/>
                    <a:pt x="32" y="1473"/>
                  </a:cubicBezTo>
                  <a:cubicBezTo>
                    <a:pt x="33" y="1473"/>
                    <a:pt x="33" y="1473"/>
                    <a:pt x="33" y="1473"/>
                  </a:cubicBezTo>
                  <a:cubicBezTo>
                    <a:pt x="45" y="1495"/>
                    <a:pt x="72" y="1512"/>
                    <a:pt x="106" y="1512"/>
                  </a:cubicBezTo>
                  <a:cubicBezTo>
                    <a:pt x="159" y="1512"/>
                    <a:pt x="201" y="1469"/>
                    <a:pt x="201" y="1412"/>
                  </a:cubicBezTo>
                  <a:cubicBezTo>
                    <a:pt x="201" y="1354"/>
                    <a:pt x="161" y="1312"/>
                    <a:pt x="101" y="1312"/>
                  </a:cubicBezTo>
                  <a:close/>
                  <a:moveTo>
                    <a:pt x="99" y="1482"/>
                  </a:moveTo>
                  <a:cubicBezTo>
                    <a:pt x="58" y="1482"/>
                    <a:pt x="32" y="1452"/>
                    <a:pt x="32" y="1412"/>
                  </a:cubicBezTo>
                  <a:cubicBezTo>
                    <a:pt x="32" y="1372"/>
                    <a:pt x="58" y="1341"/>
                    <a:pt x="99" y="1341"/>
                  </a:cubicBezTo>
                  <a:cubicBezTo>
                    <a:pt x="140" y="1341"/>
                    <a:pt x="167" y="1372"/>
                    <a:pt x="167" y="1412"/>
                  </a:cubicBezTo>
                  <a:cubicBezTo>
                    <a:pt x="167" y="1452"/>
                    <a:pt x="140" y="1482"/>
                    <a:pt x="99" y="1482"/>
                  </a:cubicBezTo>
                  <a:close/>
                  <a:moveTo>
                    <a:pt x="333" y="1312"/>
                  </a:moveTo>
                  <a:cubicBezTo>
                    <a:pt x="275" y="1312"/>
                    <a:pt x="232" y="1352"/>
                    <a:pt x="232" y="1412"/>
                  </a:cubicBezTo>
                  <a:cubicBezTo>
                    <a:pt x="232" y="1471"/>
                    <a:pt x="275" y="1512"/>
                    <a:pt x="333" y="1512"/>
                  </a:cubicBezTo>
                  <a:cubicBezTo>
                    <a:pt x="392" y="1512"/>
                    <a:pt x="435" y="1471"/>
                    <a:pt x="435" y="1412"/>
                  </a:cubicBezTo>
                  <a:cubicBezTo>
                    <a:pt x="435" y="1352"/>
                    <a:pt x="392" y="1312"/>
                    <a:pt x="333" y="1312"/>
                  </a:cubicBezTo>
                  <a:close/>
                  <a:moveTo>
                    <a:pt x="333" y="1482"/>
                  </a:moveTo>
                  <a:cubicBezTo>
                    <a:pt x="292" y="1482"/>
                    <a:pt x="266" y="1452"/>
                    <a:pt x="266" y="1412"/>
                  </a:cubicBezTo>
                  <a:cubicBezTo>
                    <a:pt x="266" y="1372"/>
                    <a:pt x="292" y="1341"/>
                    <a:pt x="333" y="1341"/>
                  </a:cubicBezTo>
                  <a:cubicBezTo>
                    <a:pt x="374" y="1341"/>
                    <a:pt x="401" y="1372"/>
                    <a:pt x="401" y="1412"/>
                  </a:cubicBezTo>
                  <a:cubicBezTo>
                    <a:pt x="401" y="1452"/>
                    <a:pt x="374" y="1482"/>
                    <a:pt x="333" y="1482"/>
                  </a:cubicBezTo>
                  <a:close/>
                  <a:moveTo>
                    <a:pt x="638" y="1462"/>
                  </a:moveTo>
                  <a:cubicBezTo>
                    <a:pt x="638" y="1479"/>
                    <a:pt x="640" y="1494"/>
                    <a:pt x="640" y="1507"/>
                  </a:cubicBezTo>
                  <a:cubicBezTo>
                    <a:pt x="610" y="1507"/>
                    <a:pt x="610" y="1507"/>
                    <a:pt x="610" y="1507"/>
                  </a:cubicBezTo>
                  <a:cubicBezTo>
                    <a:pt x="610" y="1497"/>
                    <a:pt x="609" y="1486"/>
                    <a:pt x="609" y="1476"/>
                  </a:cubicBezTo>
                  <a:cubicBezTo>
                    <a:pt x="608" y="1476"/>
                    <a:pt x="608" y="1476"/>
                    <a:pt x="608" y="1476"/>
                  </a:cubicBezTo>
                  <a:cubicBezTo>
                    <a:pt x="599" y="1494"/>
                    <a:pt x="576" y="1512"/>
                    <a:pt x="545" y="1512"/>
                  </a:cubicBezTo>
                  <a:cubicBezTo>
                    <a:pt x="495" y="1512"/>
                    <a:pt x="472" y="1480"/>
                    <a:pt x="472" y="1434"/>
                  </a:cubicBezTo>
                  <a:cubicBezTo>
                    <a:pt x="472" y="1317"/>
                    <a:pt x="472" y="1317"/>
                    <a:pt x="472" y="1317"/>
                  </a:cubicBezTo>
                  <a:cubicBezTo>
                    <a:pt x="504" y="1317"/>
                    <a:pt x="504" y="1317"/>
                    <a:pt x="504" y="1317"/>
                  </a:cubicBezTo>
                  <a:cubicBezTo>
                    <a:pt x="504" y="1431"/>
                    <a:pt x="504" y="1431"/>
                    <a:pt x="504" y="1431"/>
                  </a:cubicBezTo>
                  <a:cubicBezTo>
                    <a:pt x="504" y="1462"/>
                    <a:pt x="518" y="1482"/>
                    <a:pt x="547" y="1482"/>
                  </a:cubicBezTo>
                  <a:cubicBezTo>
                    <a:pt x="588" y="1482"/>
                    <a:pt x="606" y="1453"/>
                    <a:pt x="606" y="1409"/>
                  </a:cubicBezTo>
                  <a:cubicBezTo>
                    <a:pt x="606" y="1317"/>
                    <a:pt x="606" y="1317"/>
                    <a:pt x="606" y="1317"/>
                  </a:cubicBezTo>
                  <a:cubicBezTo>
                    <a:pt x="638" y="1317"/>
                    <a:pt x="638" y="1317"/>
                    <a:pt x="638" y="1317"/>
                  </a:cubicBezTo>
                  <a:lnTo>
                    <a:pt x="638" y="1462"/>
                  </a:lnTo>
                  <a:close/>
                  <a:moveTo>
                    <a:pt x="1032" y="1281"/>
                  </a:moveTo>
                  <a:cubicBezTo>
                    <a:pt x="1032" y="1317"/>
                    <a:pt x="1032" y="1317"/>
                    <a:pt x="1032" y="1317"/>
                  </a:cubicBezTo>
                  <a:cubicBezTo>
                    <a:pt x="1078" y="1317"/>
                    <a:pt x="1078" y="1317"/>
                    <a:pt x="1078" y="1317"/>
                  </a:cubicBezTo>
                  <a:cubicBezTo>
                    <a:pt x="1078" y="1343"/>
                    <a:pt x="1078" y="1343"/>
                    <a:pt x="1078" y="1343"/>
                  </a:cubicBezTo>
                  <a:cubicBezTo>
                    <a:pt x="1032" y="1343"/>
                    <a:pt x="1032" y="1343"/>
                    <a:pt x="1032" y="1343"/>
                  </a:cubicBezTo>
                  <a:cubicBezTo>
                    <a:pt x="1032" y="1507"/>
                    <a:pt x="1032" y="1507"/>
                    <a:pt x="1032" y="1507"/>
                  </a:cubicBezTo>
                  <a:cubicBezTo>
                    <a:pt x="1000" y="1507"/>
                    <a:pt x="1000" y="1507"/>
                    <a:pt x="1000" y="1507"/>
                  </a:cubicBezTo>
                  <a:cubicBezTo>
                    <a:pt x="1000" y="1343"/>
                    <a:pt x="1000" y="1343"/>
                    <a:pt x="1000" y="1343"/>
                  </a:cubicBezTo>
                  <a:cubicBezTo>
                    <a:pt x="953" y="1343"/>
                    <a:pt x="953" y="1343"/>
                    <a:pt x="953" y="1343"/>
                  </a:cubicBezTo>
                  <a:cubicBezTo>
                    <a:pt x="953" y="1343"/>
                    <a:pt x="953" y="1343"/>
                    <a:pt x="953" y="1343"/>
                  </a:cubicBezTo>
                  <a:cubicBezTo>
                    <a:pt x="900" y="1507"/>
                    <a:pt x="900" y="1507"/>
                    <a:pt x="900" y="1507"/>
                  </a:cubicBezTo>
                  <a:cubicBezTo>
                    <a:pt x="869" y="1507"/>
                    <a:pt x="869" y="1507"/>
                    <a:pt x="869" y="1507"/>
                  </a:cubicBezTo>
                  <a:cubicBezTo>
                    <a:pt x="815" y="1361"/>
                    <a:pt x="815" y="1361"/>
                    <a:pt x="815" y="1361"/>
                  </a:cubicBezTo>
                  <a:cubicBezTo>
                    <a:pt x="814" y="1361"/>
                    <a:pt x="814" y="1361"/>
                    <a:pt x="814" y="1361"/>
                  </a:cubicBezTo>
                  <a:cubicBezTo>
                    <a:pt x="766" y="1507"/>
                    <a:pt x="766" y="1507"/>
                    <a:pt x="766" y="1507"/>
                  </a:cubicBezTo>
                  <a:cubicBezTo>
                    <a:pt x="733" y="1507"/>
                    <a:pt x="733" y="1507"/>
                    <a:pt x="733" y="1507"/>
                  </a:cubicBezTo>
                  <a:cubicBezTo>
                    <a:pt x="671" y="1317"/>
                    <a:pt x="671" y="1317"/>
                    <a:pt x="671" y="1317"/>
                  </a:cubicBezTo>
                  <a:cubicBezTo>
                    <a:pt x="706" y="1317"/>
                    <a:pt x="706" y="1317"/>
                    <a:pt x="706" y="1317"/>
                  </a:cubicBezTo>
                  <a:cubicBezTo>
                    <a:pt x="750" y="1463"/>
                    <a:pt x="750" y="1463"/>
                    <a:pt x="750" y="1463"/>
                  </a:cubicBezTo>
                  <a:cubicBezTo>
                    <a:pt x="751" y="1463"/>
                    <a:pt x="751" y="1463"/>
                    <a:pt x="751" y="1463"/>
                  </a:cubicBezTo>
                  <a:cubicBezTo>
                    <a:pt x="800" y="1317"/>
                    <a:pt x="800" y="1317"/>
                    <a:pt x="800" y="1317"/>
                  </a:cubicBezTo>
                  <a:cubicBezTo>
                    <a:pt x="833" y="1317"/>
                    <a:pt x="833" y="1317"/>
                    <a:pt x="833" y="1317"/>
                  </a:cubicBezTo>
                  <a:cubicBezTo>
                    <a:pt x="883" y="1463"/>
                    <a:pt x="883" y="1463"/>
                    <a:pt x="883" y="1463"/>
                  </a:cubicBezTo>
                  <a:cubicBezTo>
                    <a:pt x="884" y="1463"/>
                    <a:pt x="884" y="1463"/>
                    <a:pt x="884" y="1463"/>
                  </a:cubicBezTo>
                  <a:cubicBezTo>
                    <a:pt x="927" y="1317"/>
                    <a:pt x="927" y="1317"/>
                    <a:pt x="927" y="1317"/>
                  </a:cubicBezTo>
                  <a:cubicBezTo>
                    <a:pt x="953" y="1317"/>
                    <a:pt x="953" y="1317"/>
                    <a:pt x="953" y="1317"/>
                  </a:cubicBezTo>
                  <a:cubicBezTo>
                    <a:pt x="961" y="1317"/>
                    <a:pt x="961" y="1317"/>
                    <a:pt x="961" y="1317"/>
                  </a:cubicBezTo>
                  <a:cubicBezTo>
                    <a:pt x="1000" y="1317"/>
                    <a:pt x="1000" y="1317"/>
                    <a:pt x="1000" y="1317"/>
                  </a:cubicBezTo>
                  <a:cubicBezTo>
                    <a:pt x="1000" y="1274"/>
                    <a:pt x="1000" y="1274"/>
                    <a:pt x="1000" y="1274"/>
                  </a:cubicBezTo>
                  <a:cubicBezTo>
                    <a:pt x="1000" y="1228"/>
                    <a:pt x="1016" y="1195"/>
                    <a:pt x="1068" y="1195"/>
                  </a:cubicBezTo>
                  <a:cubicBezTo>
                    <a:pt x="1076" y="1195"/>
                    <a:pt x="1086" y="1196"/>
                    <a:pt x="1092" y="1200"/>
                  </a:cubicBezTo>
                  <a:cubicBezTo>
                    <a:pt x="1088" y="1228"/>
                    <a:pt x="1088" y="1228"/>
                    <a:pt x="1088" y="1228"/>
                  </a:cubicBezTo>
                  <a:cubicBezTo>
                    <a:pt x="1081" y="1226"/>
                    <a:pt x="1073" y="1224"/>
                    <a:pt x="1066" y="1224"/>
                  </a:cubicBezTo>
                  <a:cubicBezTo>
                    <a:pt x="1033" y="1224"/>
                    <a:pt x="1032" y="1248"/>
                    <a:pt x="1032" y="1281"/>
                  </a:cubicBezTo>
                  <a:close/>
                  <a:moveTo>
                    <a:pt x="1191" y="1312"/>
                  </a:moveTo>
                  <a:cubicBezTo>
                    <a:pt x="1133" y="1312"/>
                    <a:pt x="1090" y="1352"/>
                    <a:pt x="1090" y="1412"/>
                  </a:cubicBezTo>
                  <a:cubicBezTo>
                    <a:pt x="1090" y="1471"/>
                    <a:pt x="1133" y="1512"/>
                    <a:pt x="1191" y="1512"/>
                  </a:cubicBezTo>
                  <a:cubicBezTo>
                    <a:pt x="1250" y="1512"/>
                    <a:pt x="1293" y="1471"/>
                    <a:pt x="1293" y="1412"/>
                  </a:cubicBezTo>
                  <a:cubicBezTo>
                    <a:pt x="1293" y="1352"/>
                    <a:pt x="1250" y="1312"/>
                    <a:pt x="1191" y="1312"/>
                  </a:cubicBezTo>
                  <a:close/>
                  <a:moveTo>
                    <a:pt x="1191" y="1482"/>
                  </a:moveTo>
                  <a:cubicBezTo>
                    <a:pt x="1150" y="1482"/>
                    <a:pt x="1124" y="1452"/>
                    <a:pt x="1124" y="1412"/>
                  </a:cubicBezTo>
                  <a:cubicBezTo>
                    <a:pt x="1124" y="1372"/>
                    <a:pt x="1150" y="1341"/>
                    <a:pt x="1191" y="1341"/>
                  </a:cubicBezTo>
                  <a:cubicBezTo>
                    <a:pt x="1233" y="1341"/>
                    <a:pt x="1259" y="1372"/>
                    <a:pt x="1259" y="1412"/>
                  </a:cubicBezTo>
                  <a:cubicBezTo>
                    <a:pt x="1259" y="1452"/>
                    <a:pt x="1233" y="1482"/>
                    <a:pt x="1191" y="1482"/>
                  </a:cubicBezTo>
                  <a:close/>
                  <a:moveTo>
                    <a:pt x="1497" y="1389"/>
                  </a:moveTo>
                  <a:cubicBezTo>
                    <a:pt x="1497" y="1507"/>
                    <a:pt x="1497" y="1507"/>
                    <a:pt x="1497" y="1507"/>
                  </a:cubicBezTo>
                  <a:cubicBezTo>
                    <a:pt x="1465" y="1507"/>
                    <a:pt x="1465" y="1507"/>
                    <a:pt x="1465" y="1507"/>
                  </a:cubicBezTo>
                  <a:cubicBezTo>
                    <a:pt x="1465" y="1393"/>
                    <a:pt x="1465" y="1393"/>
                    <a:pt x="1465" y="1393"/>
                  </a:cubicBezTo>
                  <a:cubicBezTo>
                    <a:pt x="1465" y="1361"/>
                    <a:pt x="1452" y="1341"/>
                    <a:pt x="1422" y="1341"/>
                  </a:cubicBezTo>
                  <a:cubicBezTo>
                    <a:pt x="1381" y="1341"/>
                    <a:pt x="1363" y="1371"/>
                    <a:pt x="1363" y="1414"/>
                  </a:cubicBezTo>
                  <a:cubicBezTo>
                    <a:pt x="1363" y="1507"/>
                    <a:pt x="1363" y="1507"/>
                    <a:pt x="1363" y="1507"/>
                  </a:cubicBezTo>
                  <a:cubicBezTo>
                    <a:pt x="1331" y="1507"/>
                    <a:pt x="1331" y="1507"/>
                    <a:pt x="1331" y="1507"/>
                  </a:cubicBezTo>
                  <a:cubicBezTo>
                    <a:pt x="1331" y="1362"/>
                    <a:pt x="1331" y="1362"/>
                    <a:pt x="1331" y="1362"/>
                  </a:cubicBezTo>
                  <a:cubicBezTo>
                    <a:pt x="1331" y="1344"/>
                    <a:pt x="1330" y="1329"/>
                    <a:pt x="1330" y="1317"/>
                  </a:cubicBezTo>
                  <a:cubicBezTo>
                    <a:pt x="1360" y="1317"/>
                    <a:pt x="1360" y="1317"/>
                    <a:pt x="1360" y="1317"/>
                  </a:cubicBezTo>
                  <a:cubicBezTo>
                    <a:pt x="1360" y="1327"/>
                    <a:pt x="1360" y="1337"/>
                    <a:pt x="1360" y="1348"/>
                  </a:cubicBezTo>
                  <a:cubicBezTo>
                    <a:pt x="1361" y="1348"/>
                    <a:pt x="1361" y="1348"/>
                    <a:pt x="1361" y="1348"/>
                  </a:cubicBezTo>
                  <a:cubicBezTo>
                    <a:pt x="1370" y="1329"/>
                    <a:pt x="1393" y="1312"/>
                    <a:pt x="1425" y="1312"/>
                  </a:cubicBezTo>
                  <a:cubicBezTo>
                    <a:pt x="1475" y="1312"/>
                    <a:pt x="1497" y="1343"/>
                    <a:pt x="1497" y="1389"/>
                  </a:cubicBezTo>
                  <a:close/>
                  <a:moveTo>
                    <a:pt x="1707" y="1344"/>
                  </a:moveTo>
                  <a:cubicBezTo>
                    <a:pt x="1706" y="1344"/>
                    <a:pt x="1706" y="1344"/>
                    <a:pt x="1706" y="1344"/>
                  </a:cubicBezTo>
                  <a:cubicBezTo>
                    <a:pt x="1689" y="1324"/>
                    <a:pt x="1666" y="1312"/>
                    <a:pt x="1638" y="1312"/>
                  </a:cubicBezTo>
                  <a:cubicBezTo>
                    <a:pt x="1578" y="1312"/>
                    <a:pt x="1538" y="1354"/>
                    <a:pt x="1538" y="1412"/>
                  </a:cubicBezTo>
                  <a:cubicBezTo>
                    <a:pt x="1538" y="1469"/>
                    <a:pt x="1580" y="1512"/>
                    <a:pt x="1633" y="1512"/>
                  </a:cubicBezTo>
                  <a:cubicBezTo>
                    <a:pt x="1667" y="1512"/>
                    <a:pt x="1695" y="1495"/>
                    <a:pt x="1706" y="1473"/>
                  </a:cubicBezTo>
                  <a:cubicBezTo>
                    <a:pt x="1707" y="1473"/>
                    <a:pt x="1707" y="1473"/>
                    <a:pt x="1707" y="1473"/>
                  </a:cubicBezTo>
                  <a:cubicBezTo>
                    <a:pt x="1707" y="1507"/>
                    <a:pt x="1707" y="1507"/>
                    <a:pt x="1707" y="1507"/>
                  </a:cubicBezTo>
                  <a:cubicBezTo>
                    <a:pt x="1739" y="1507"/>
                    <a:pt x="1739" y="1507"/>
                    <a:pt x="1739" y="1507"/>
                  </a:cubicBezTo>
                  <a:cubicBezTo>
                    <a:pt x="1739" y="1200"/>
                    <a:pt x="1739" y="1200"/>
                    <a:pt x="1739" y="1200"/>
                  </a:cubicBezTo>
                  <a:cubicBezTo>
                    <a:pt x="1707" y="1200"/>
                    <a:pt x="1707" y="1200"/>
                    <a:pt x="1707" y="1200"/>
                  </a:cubicBezTo>
                  <a:lnTo>
                    <a:pt x="1707" y="1344"/>
                  </a:lnTo>
                  <a:close/>
                  <a:moveTo>
                    <a:pt x="1640" y="1482"/>
                  </a:moveTo>
                  <a:cubicBezTo>
                    <a:pt x="1599" y="1482"/>
                    <a:pt x="1572" y="1452"/>
                    <a:pt x="1572" y="1412"/>
                  </a:cubicBezTo>
                  <a:cubicBezTo>
                    <a:pt x="1572" y="1372"/>
                    <a:pt x="1599" y="1341"/>
                    <a:pt x="1640" y="1341"/>
                  </a:cubicBezTo>
                  <a:cubicBezTo>
                    <a:pt x="1681" y="1341"/>
                    <a:pt x="1707" y="1372"/>
                    <a:pt x="1707" y="1412"/>
                  </a:cubicBezTo>
                  <a:cubicBezTo>
                    <a:pt x="1707" y="1452"/>
                    <a:pt x="1681" y="1482"/>
                    <a:pt x="1640" y="1482"/>
                  </a:cubicBezTo>
                  <a:close/>
                  <a:moveTo>
                    <a:pt x="1930" y="1452"/>
                  </a:moveTo>
                  <a:cubicBezTo>
                    <a:pt x="1930" y="1495"/>
                    <a:pt x="1891" y="1512"/>
                    <a:pt x="1854" y="1512"/>
                  </a:cubicBezTo>
                  <a:cubicBezTo>
                    <a:pt x="1821" y="1512"/>
                    <a:pt x="1798" y="1503"/>
                    <a:pt x="1780" y="1476"/>
                  </a:cubicBezTo>
                  <a:cubicBezTo>
                    <a:pt x="1805" y="1457"/>
                    <a:pt x="1805" y="1457"/>
                    <a:pt x="1805" y="1457"/>
                  </a:cubicBezTo>
                  <a:cubicBezTo>
                    <a:pt x="1817" y="1472"/>
                    <a:pt x="1831" y="1482"/>
                    <a:pt x="1854" y="1482"/>
                  </a:cubicBezTo>
                  <a:cubicBezTo>
                    <a:pt x="1873" y="1482"/>
                    <a:pt x="1895" y="1474"/>
                    <a:pt x="1895" y="1453"/>
                  </a:cubicBezTo>
                  <a:cubicBezTo>
                    <a:pt x="1895" y="1433"/>
                    <a:pt x="1875" y="1428"/>
                    <a:pt x="1855" y="1423"/>
                  </a:cubicBezTo>
                  <a:cubicBezTo>
                    <a:pt x="1819" y="1415"/>
                    <a:pt x="1788" y="1407"/>
                    <a:pt x="1788" y="1368"/>
                  </a:cubicBezTo>
                  <a:cubicBezTo>
                    <a:pt x="1788" y="1331"/>
                    <a:pt x="1823" y="1312"/>
                    <a:pt x="1859" y="1312"/>
                  </a:cubicBezTo>
                  <a:cubicBezTo>
                    <a:pt x="1886" y="1312"/>
                    <a:pt x="1910" y="1322"/>
                    <a:pt x="1923" y="1346"/>
                  </a:cubicBezTo>
                  <a:cubicBezTo>
                    <a:pt x="1897" y="1364"/>
                    <a:pt x="1897" y="1364"/>
                    <a:pt x="1897" y="1364"/>
                  </a:cubicBezTo>
                  <a:cubicBezTo>
                    <a:pt x="1889" y="1350"/>
                    <a:pt x="1875" y="1341"/>
                    <a:pt x="1857" y="1341"/>
                  </a:cubicBezTo>
                  <a:cubicBezTo>
                    <a:pt x="1839" y="1341"/>
                    <a:pt x="1819" y="1350"/>
                    <a:pt x="1819" y="1367"/>
                  </a:cubicBezTo>
                  <a:cubicBezTo>
                    <a:pt x="1819" y="1383"/>
                    <a:pt x="1842" y="1390"/>
                    <a:pt x="1867" y="1395"/>
                  </a:cubicBezTo>
                  <a:cubicBezTo>
                    <a:pt x="1901" y="1402"/>
                    <a:pt x="1930" y="1414"/>
                    <a:pt x="1930" y="14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31" name="Freeform 22">
              <a:extLst>
                <a:ext uri="{FF2B5EF4-FFF2-40B4-BE49-F238E27FC236}">
                  <a16:creationId xmlns:a16="http://schemas.microsoft.com/office/drawing/2014/main" id="{0AE78C93-E2A8-46C1-A4A8-551A7D426E56}"/>
                </a:ext>
              </a:extLst>
            </p:cNvPr>
            <p:cNvSpPr>
              <a:spLocks noSelect="1"/>
            </p:cNvSpPr>
            <p:nvPr userDrawn="1"/>
          </p:nvSpPr>
          <p:spPr bwMode="gray">
            <a:xfrm>
              <a:off x="402" y="3915"/>
              <a:ext cx="124" cy="124"/>
            </a:xfrm>
            <a:custGeom>
              <a:avLst/>
              <a:gdLst>
                <a:gd name="T0" fmla="*/ 124 w 124"/>
                <a:gd name="T1" fmla="*/ 80 h 124"/>
                <a:gd name="T2" fmla="*/ 80 w 124"/>
                <a:gd name="T3" fmla="*/ 124 h 124"/>
                <a:gd name="T4" fmla="*/ 0 w 124"/>
                <a:gd name="T5" fmla="*/ 44 h 124"/>
                <a:gd name="T6" fmla="*/ 43 w 124"/>
                <a:gd name="T7" fmla="*/ 0 h 124"/>
                <a:gd name="T8" fmla="*/ 84 w 124"/>
                <a:gd name="T9" fmla="*/ 40 h 124"/>
                <a:gd name="T10" fmla="*/ 124 w 124"/>
                <a:gd name="T11" fmla="*/ 80 h 124"/>
              </a:gdLst>
              <a:ahLst/>
              <a:cxnLst>
                <a:cxn ang="0">
                  <a:pos x="T0" y="T1"/>
                </a:cxn>
                <a:cxn ang="0">
                  <a:pos x="T2" y="T3"/>
                </a:cxn>
                <a:cxn ang="0">
                  <a:pos x="T4" y="T5"/>
                </a:cxn>
                <a:cxn ang="0">
                  <a:pos x="T6" y="T7"/>
                </a:cxn>
                <a:cxn ang="0">
                  <a:pos x="T8" y="T9"/>
                </a:cxn>
                <a:cxn ang="0">
                  <a:pos x="T10" y="T11"/>
                </a:cxn>
              </a:cxnLst>
              <a:rect l="0" t="0" r="r" b="b"/>
              <a:pathLst>
                <a:path w="124" h="124">
                  <a:moveTo>
                    <a:pt x="124" y="80"/>
                  </a:moveTo>
                  <a:lnTo>
                    <a:pt x="80" y="124"/>
                  </a:lnTo>
                  <a:lnTo>
                    <a:pt x="0" y="44"/>
                  </a:lnTo>
                  <a:lnTo>
                    <a:pt x="43" y="0"/>
                  </a:lnTo>
                  <a:lnTo>
                    <a:pt x="84" y="40"/>
                  </a:lnTo>
                  <a:lnTo>
                    <a:pt x="124" y="80"/>
                  </a:lnTo>
                  <a:close/>
                </a:path>
              </a:pathLst>
            </a:custGeom>
            <a:solidFill>
              <a:srgbClr val="C737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32" name="Freeform 23">
              <a:extLst>
                <a:ext uri="{FF2B5EF4-FFF2-40B4-BE49-F238E27FC236}">
                  <a16:creationId xmlns:a16="http://schemas.microsoft.com/office/drawing/2014/main" id="{9AEED007-626A-4E90-8038-EC6A33ED1E2F}"/>
                </a:ext>
              </a:extLst>
            </p:cNvPr>
            <p:cNvSpPr>
              <a:spLocks noSelect="1"/>
            </p:cNvSpPr>
            <p:nvPr userDrawn="1"/>
          </p:nvSpPr>
          <p:spPr bwMode="gray">
            <a:xfrm>
              <a:off x="438" y="3873"/>
              <a:ext cx="124" cy="89"/>
            </a:xfrm>
            <a:custGeom>
              <a:avLst/>
              <a:gdLst>
                <a:gd name="T0" fmla="*/ 124 w 124"/>
                <a:gd name="T1" fmla="*/ 6 h 89"/>
                <a:gd name="T2" fmla="*/ 120 w 124"/>
                <a:gd name="T3" fmla="*/ 14 h 89"/>
                <a:gd name="T4" fmla="*/ 47 w 124"/>
                <a:gd name="T5" fmla="*/ 89 h 89"/>
                <a:gd name="T6" fmla="*/ 0 w 124"/>
                <a:gd name="T7" fmla="*/ 41 h 89"/>
                <a:gd name="T8" fmla="*/ 44 w 124"/>
                <a:gd name="T9" fmla="*/ 0 h 89"/>
                <a:gd name="T10" fmla="*/ 124 w 124"/>
                <a:gd name="T11" fmla="*/ 6 h 89"/>
              </a:gdLst>
              <a:ahLst/>
              <a:cxnLst>
                <a:cxn ang="0">
                  <a:pos x="T0" y="T1"/>
                </a:cxn>
                <a:cxn ang="0">
                  <a:pos x="T2" y="T3"/>
                </a:cxn>
                <a:cxn ang="0">
                  <a:pos x="T4" y="T5"/>
                </a:cxn>
                <a:cxn ang="0">
                  <a:pos x="T6" y="T7"/>
                </a:cxn>
                <a:cxn ang="0">
                  <a:pos x="T8" y="T9"/>
                </a:cxn>
                <a:cxn ang="0">
                  <a:pos x="T10" y="T11"/>
                </a:cxn>
              </a:cxnLst>
              <a:rect l="0" t="0" r="r" b="b"/>
              <a:pathLst>
                <a:path w="124" h="89">
                  <a:moveTo>
                    <a:pt x="124" y="6"/>
                  </a:moveTo>
                  <a:lnTo>
                    <a:pt x="120" y="14"/>
                  </a:lnTo>
                  <a:lnTo>
                    <a:pt x="47" y="89"/>
                  </a:lnTo>
                  <a:lnTo>
                    <a:pt x="0" y="41"/>
                  </a:lnTo>
                  <a:lnTo>
                    <a:pt x="44" y="0"/>
                  </a:lnTo>
                  <a:lnTo>
                    <a:pt x="124" y="6"/>
                  </a:lnTo>
                  <a:close/>
                </a:path>
              </a:pathLst>
            </a:custGeom>
            <a:solidFill>
              <a:srgbClr val="9C1E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33" name="Freeform 24">
              <a:extLst>
                <a:ext uri="{FF2B5EF4-FFF2-40B4-BE49-F238E27FC236}">
                  <a16:creationId xmlns:a16="http://schemas.microsoft.com/office/drawing/2014/main" id="{80F853C5-0E8C-4A53-A31B-17C89D9EC548}"/>
                </a:ext>
              </a:extLst>
            </p:cNvPr>
            <p:cNvSpPr>
              <a:spLocks noSelect="1"/>
            </p:cNvSpPr>
            <p:nvPr userDrawn="1"/>
          </p:nvSpPr>
          <p:spPr bwMode="gray">
            <a:xfrm>
              <a:off x="482" y="3879"/>
              <a:ext cx="83" cy="122"/>
            </a:xfrm>
            <a:custGeom>
              <a:avLst/>
              <a:gdLst>
                <a:gd name="T0" fmla="*/ 80 w 83"/>
                <a:gd name="T1" fmla="*/ 0 h 122"/>
                <a:gd name="T2" fmla="*/ 83 w 83"/>
                <a:gd name="T3" fmla="*/ 80 h 122"/>
                <a:gd name="T4" fmla="*/ 42 w 83"/>
                <a:gd name="T5" fmla="*/ 122 h 122"/>
                <a:gd name="T6" fmla="*/ 0 w 83"/>
                <a:gd name="T7" fmla="*/ 80 h 122"/>
                <a:gd name="T8" fmla="*/ 80 w 83"/>
                <a:gd name="T9" fmla="*/ 0 h 122"/>
              </a:gdLst>
              <a:ahLst/>
              <a:cxnLst>
                <a:cxn ang="0">
                  <a:pos x="T0" y="T1"/>
                </a:cxn>
                <a:cxn ang="0">
                  <a:pos x="T2" y="T3"/>
                </a:cxn>
                <a:cxn ang="0">
                  <a:pos x="T4" y="T5"/>
                </a:cxn>
                <a:cxn ang="0">
                  <a:pos x="T6" y="T7"/>
                </a:cxn>
                <a:cxn ang="0">
                  <a:pos x="T8" y="T9"/>
                </a:cxn>
              </a:cxnLst>
              <a:rect l="0" t="0" r="r" b="b"/>
              <a:pathLst>
                <a:path w="83" h="122">
                  <a:moveTo>
                    <a:pt x="80" y="0"/>
                  </a:moveTo>
                  <a:lnTo>
                    <a:pt x="83" y="80"/>
                  </a:lnTo>
                  <a:lnTo>
                    <a:pt x="42" y="122"/>
                  </a:lnTo>
                  <a:lnTo>
                    <a:pt x="0" y="80"/>
                  </a:lnTo>
                  <a:lnTo>
                    <a:pt x="80" y="0"/>
                  </a:lnTo>
                  <a:close/>
                </a:path>
              </a:pathLst>
            </a:custGeom>
            <a:solidFill>
              <a:srgbClr val="C816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34" name="Freeform 25">
              <a:extLst>
                <a:ext uri="{FF2B5EF4-FFF2-40B4-BE49-F238E27FC236}">
                  <a16:creationId xmlns:a16="http://schemas.microsoft.com/office/drawing/2014/main" id="{0DCE676A-AEBA-499E-B585-A747859D9A08}"/>
                </a:ext>
              </a:extLst>
            </p:cNvPr>
            <p:cNvSpPr>
              <a:spLocks noSelect="1"/>
            </p:cNvSpPr>
            <p:nvPr userDrawn="1"/>
          </p:nvSpPr>
          <p:spPr bwMode="gray">
            <a:xfrm>
              <a:off x="522" y="3879"/>
              <a:ext cx="120" cy="160"/>
            </a:xfrm>
            <a:custGeom>
              <a:avLst/>
              <a:gdLst>
                <a:gd name="T0" fmla="*/ 120 w 120"/>
                <a:gd name="T1" fmla="*/ 0 h 160"/>
                <a:gd name="T2" fmla="*/ 120 w 120"/>
                <a:gd name="T3" fmla="*/ 80 h 160"/>
                <a:gd name="T4" fmla="*/ 40 w 120"/>
                <a:gd name="T5" fmla="*/ 160 h 160"/>
                <a:gd name="T6" fmla="*/ 0 w 120"/>
                <a:gd name="T7" fmla="*/ 120 h 160"/>
                <a:gd name="T8" fmla="*/ 40 w 120"/>
                <a:gd name="T9" fmla="*/ 80 h 160"/>
                <a:gd name="T10" fmla="*/ 40 w 120"/>
                <a:gd name="T11" fmla="*/ 0 h 160"/>
                <a:gd name="T12" fmla="*/ 120 w 120"/>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20" h="160">
                  <a:moveTo>
                    <a:pt x="120" y="0"/>
                  </a:moveTo>
                  <a:lnTo>
                    <a:pt x="120" y="80"/>
                  </a:lnTo>
                  <a:lnTo>
                    <a:pt x="40" y="160"/>
                  </a:lnTo>
                  <a:lnTo>
                    <a:pt x="0" y="120"/>
                  </a:lnTo>
                  <a:lnTo>
                    <a:pt x="40" y="80"/>
                  </a:lnTo>
                  <a:lnTo>
                    <a:pt x="40" y="0"/>
                  </a:lnTo>
                  <a:lnTo>
                    <a:pt x="120" y="0"/>
                  </a:lnTo>
                  <a:close/>
                </a:path>
              </a:pathLst>
            </a:custGeom>
            <a:solidFill>
              <a:srgbClr val="BFCE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35" name="Freeform 26">
              <a:extLst>
                <a:ext uri="{FF2B5EF4-FFF2-40B4-BE49-F238E27FC236}">
                  <a16:creationId xmlns:a16="http://schemas.microsoft.com/office/drawing/2014/main" id="{CBBE7F16-FAE0-47E6-8179-EBE1C4C4F88B}"/>
                </a:ext>
              </a:extLst>
            </p:cNvPr>
            <p:cNvSpPr>
              <a:spLocks noSelect="1"/>
            </p:cNvSpPr>
            <p:nvPr userDrawn="1"/>
          </p:nvSpPr>
          <p:spPr bwMode="gray">
            <a:xfrm>
              <a:off x="402" y="3799"/>
              <a:ext cx="160" cy="120"/>
            </a:xfrm>
            <a:custGeom>
              <a:avLst/>
              <a:gdLst>
                <a:gd name="T0" fmla="*/ 160 w 160"/>
                <a:gd name="T1" fmla="*/ 0 h 120"/>
                <a:gd name="T2" fmla="*/ 160 w 160"/>
                <a:gd name="T3" fmla="*/ 80 h 120"/>
                <a:gd name="T4" fmla="*/ 80 w 160"/>
                <a:gd name="T5" fmla="*/ 80 h 120"/>
                <a:gd name="T6" fmla="*/ 40 w 160"/>
                <a:gd name="T7" fmla="*/ 120 h 120"/>
                <a:gd name="T8" fmla="*/ 0 w 160"/>
                <a:gd name="T9" fmla="*/ 80 h 120"/>
                <a:gd name="T10" fmla="*/ 80 w 160"/>
                <a:gd name="T11" fmla="*/ 0 h 120"/>
                <a:gd name="T12" fmla="*/ 160 w 160"/>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60" h="120">
                  <a:moveTo>
                    <a:pt x="160" y="0"/>
                  </a:moveTo>
                  <a:lnTo>
                    <a:pt x="160" y="80"/>
                  </a:lnTo>
                  <a:lnTo>
                    <a:pt x="80" y="80"/>
                  </a:lnTo>
                  <a:lnTo>
                    <a:pt x="40" y="120"/>
                  </a:lnTo>
                  <a:lnTo>
                    <a:pt x="0" y="80"/>
                  </a:lnTo>
                  <a:lnTo>
                    <a:pt x="80" y="0"/>
                  </a:lnTo>
                  <a:lnTo>
                    <a:pt x="160" y="0"/>
                  </a:lnTo>
                  <a:close/>
                </a:path>
              </a:pathLst>
            </a:custGeom>
            <a:solidFill>
              <a:srgbClr val="78BC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grpSp>
      <p:sp>
        <p:nvSpPr>
          <p:cNvPr id="27" name="Freeform 12">
            <a:extLst>
              <a:ext uri="{FF2B5EF4-FFF2-40B4-BE49-F238E27FC236}">
                <a16:creationId xmlns:a16="http://schemas.microsoft.com/office/drawing/2014/main" id="{1577D240-18FE-4756-B207-97F326D8C69F}"/>
              </a:ext>
            </a:extLst>
          </p:cNvPr>
          <p:cNvSpPr>
            <a:spLocks noSelect="1"/>
          </p:cNvSpPr>
          <p:nvPr userDrawn="1"/>
        </p:nvSpPr>
        <p:spPr bwMode="gray">
          <a:xfrm>
            <a:off x="0" y="0"/>
            <a:ext cx="1154160" cy="5720400"/>
          </a:xfrm>
          <a:custGeom>
            <a:avLst/>
            <a:gdLst>
              <a:gd name="T0" fmla="*/ 0 w 727"/>
              <a:gd name="T1" fmla="*/ 0 h 3597"/>
              <a:gd name="T2" fmla="*/ 0 w 727"/>
              <a:gd name="T3" fmla="*/ 2874 h 3597"/>
              <a:gd name="T4" fmla="*/ 0 w 727"/>
              <a:gd name="T5" fmla="*/ 3597 h 3597"/>
              <a:gd name="T6" fmla="*/ 3 w 727"/>
              <a:gd name="T7" fmla="*/ 3597 h 3597"/>
              <a:gd name="T8" fmla="*/ 363 w 727"/>
              <a:gd name="T9" fmla="*/ 3237 h 3597"/>
              <a:gd name="T10" fmla="*/ 727 w 727"/>
              <a:gd name="T11" fmla="*/ 2874 h 3597"/>
              <a:gd name="T12" fmla="*/ 727 w 727"/>
              <a:gd name="T13" fmla="*/ 0 h 3597"/>
              <a:gd name="T14" fmla="*/ 0 w 727"/>
              <a:gd name="T15" fmla="*/ 0 h 35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7" h="3597">
                <a:moveTo>
                  <a:pt x="0" y="0"/>
                </a:moveTo>
                <a:lnTo>
                  <a:pt x="0" y="2874"/>
                </a:lnTo>
                <a:lnTo>
                  <a:pt x="0" y="3597"/>
                </a:lnTo>
                <a:lnTo>
                  <a:pt x="3" y="3597"/>
                </a:lnTo>
                <a:lnTo>
                  <a:pt x="363" y="3237"/>
                </a:lnTo>
                <a:lnTo>
                  <a:pt x="727" y="2874"/>
                </a:lnTo>
                <a:lnTo>
                  <a:pt x="727" y="0"/>
                </a:lnTo>
                <a:lnTo>
                  <a:pt x="0" y="0"/>
                </a:lnTo>
                <a:close/>
              </a:path>
            </a:pathLst>
          </a:custGeom>
          <a:solidFill>
            <a:srgbClr val="AFAB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grpSp>
        <p:nvGrpSpPr>
          <p:cNvPr id="2" name="Group 1">
            <a:extLst>
              <a:ext uri="{FF2B5EF4-FFF2-40B4-BE49-F238E27FC236}">
                <a16:creationId xmlns:a16="http://schemas.microsoft.com/office/drawing/2014/main" id="{D58BA7EE-D9AE-4B84-9D32-203396F77CDC}"/>
              </a:ext>
            </a:extLst>
          </p:cNvPr>
          <p:cNvGrpSpPr>
            <a:grpSpLocks noSelect="1"/>
          </p:cNvGrpSpPr>
          <p:nvPr userDrawn="1"/>
        </p:nvGrpSpPr>
        <p:grpSpPr>
          <a:xfrm>
            <a:off x="174" y="0"/>
            <a:ext cx="12195001" cy="6858000"/>
            <a:chOff x="174" y="0"/>
            <a:chExt cx="12195001" cy="6858000"/>
          </a:xfrm>
        </p:grpSpPr>
        <p:sp>
          <p:nvSpPr>
            <p:cNvPr id="19" name="Vrije vorm: vorm 18">
              <a:extLst>
                <a:ext uri="{FF2B5EF4-FFF2-40B4-BE49-F238E27FC236}">
                  <a16:creationId xmlns:a16="http://schemas.microsoft.com/office/drawing/2014/main" id="{F2EFDF21-C74F-4ABD-BF1D-17DFECDEEB9F}"/>
                </a:ext>
              </a:extLst>
            </p:cNvPr>
            <p:cNvSpPr>
              <a:spLocks noSelect="1"/>
            </p:cNvSpPr>
            <p:nvPr userDrawn="1"/>
          </p:nvSpPr>
          <p:spPr bwMode="gray">
            <a:xfrm>
              <a:off x="174" y="0"/>
              <a:ext cx="12195000" cy="5710292"/>
            </a:xfrm>
            <a:custGeom>
              <a:avLst/>
              <a:gdLst>
                <a:gd name="connsiteX0" fmla="*/ 0 w 12195175"/>
                <a:gd name="connsiteY0" fmla="*/ 0 h 5710238"/>
                <a:gd name="connsiteX1" fmla="*/ 1145424 w 12195175"/>
                <a:gd name="connsiteY1" fmla="*/ 0 h 5710238"/>
                <a:gd name="connsiteX2" fmla="*/ 1151779 w 12195175"/>
                <a:gd name="connsiteY2" fmla="*/ 0 h 5710238"/>
                <a:gd name="connsiteX3" fmla="*/ 1154113 w 12195175"/>
                <a:gd name="connsiteY3" fmla="*/ 0 h 5710238"/>
                <a:gd name="connsiteX4" fmla="*/ 12195175 w 12195175"/>
                <a:gd name="connsiteY4" fmla="*/ 0 h 5710238"/>
                <a:gd name="connsiteX5" fmla="*/ 12195175 w 12195175"/>
                <a:gd name="connsiteY5" fmla="*/ 5710238 h 5710238"/>
                <a:gd name="connsiteX6" fmla="*/ 1151779 w 12195175"/>
                <a:gd name="connsiteY6" fmla="*/ 5710238 h 5710238"/>
                <a:gd name="connsiteX7" fmla="*/ 1140658 w 12195175"/>
                <a:gd name="connsiteY7" fmla="*/ 5710238 h 5710238"/>
                <a:gd name="connsiteX8" fmla="*/ 567119 w 12195175"/>
                <a:gd name="connsiteY8" fmla="*/ 5138738 h 5710238"/>
                <a:gd name="connsiteX9" fmla="*/ 571699 w 12195175"/>
                <a:gd name="connsiteY9" fmla="*/ 5134174 h 5710238"/>
                <a:gd name="connsiteX10" fmla="*/ 0 w 12195175"/>
                <a:gd name="connsiteY10" fmla="*/ 4562476 h 5710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95175" h="5710238">
                  <a:moveTo>
                    <a:pt x="0" y="0"/>
                  </a:moveTo>
                  <a:lnTo>
                    <a:pt x="1145424" y="0"/>
                  </a:lnTo>
                  <a:lnTo>
                    <a:pt x="1151779" y="0"/>
                  </a:lnTo>
                  <a:lnTo>
                    <a:pt x="1154113" y="0"/>
                  </a:lnTo>
                  <a:lnTo>
                    <a:pt x="12195175" y="0"/>
                  </a:lnTo>
                  <a:lnTo>
                    <a:pt x="12195175" y="5710238"/>
                  </a:lnTo>
                  <a:lnTo>
                    <a:pt x="1151779" y="5710238"/>
                  </a:lnTo>
                  <a:lnTo>
                    <a:pt x="1140658" y="5710238"/>
                  </a:lnTo>
                  <a:lnTo>
                    <a:pt x="567119" y="5138738"/>
                  </a:lnTo>
                  <a:lnTo>
                    <a:pt x="571699" y="5134174"/>
                  </a:lnTo>
                  <a:lnTo>
                    <a:pt x="0" y="4562476"/>
                  </a:lnTo>
                  <a:close/>
                </a:path>
              </a:pathLst>
            </a:custGeom>
            <a:solidFill>
              <a:srgbClr val="76BC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nl-NL" dirty="0"/>
            </a:p>
          </p:txBody>
        </p:sp>
        <p:sp>
          <p:nvSpPr>
            <p:cNvPr id="6" name="Freeform 5">
              <a:extLst>
                <a:ext uri="{FF2B5EF4-FFF2-40B4-BE49-F238E27FC236}">
                  <a16:creationId xmlns:a16="http://schemas.microsoft.com/office/drawing/2014/main" id="{32FEE5CB-8BAC-4FE7-87B3-4EAC6B41E173}"/>
                </a:ext>
              </a:extLst>
            </p:cNvPr>
            <p:cNvSpPr>
              <a:spLocks noSelect="1"/>
            </p:cNvSpPr>
            <p:nvPr userDrawn="1"/>
          </p:nvSpPr>
          <p:spPr bwMode="gray">
            <a:xfrm>
              <a:off x="6478669" y="5710320"/>
              <a:ext cx="5716506" cy="1147680"/>
            </a:xfrm>
            <a:custGeom>
              <a:avLst/>
              <a:gdLst>
                <a:gd name="T0" fmla="*/ 4081 w 18004"/>
                <a:gd name="T1" fmla="*/ 69 h 3615"/>
                <a:gd name="T2" fmla="*/ 4999 w 18004"/>
                <a:gd name="T3" fmla="*/ 0 h 3615"/>
                <a:gd name="T4" fmla="*/ 4922 w 18004"/>
                <a:gd name="T5" fmla="*/ 564 h 3615"/>
                <a:gd name="T6" fmla="*/ 5139 w 18004"/>
                <a:gd name="T7" fmla="*/ 3404 h 3615"/>
                <a:gd name="T8" fmla="*/ 5117 w 18004"/>
                <a:gd name="T9" fmla="*/ 3600 h 3615"/>
                <a:gd name="T10" fmla="*/ 4520 w 18004"/>
                <a:gd name="T11" fmla="*/ 3310 h 3615"/>
                <a:gd name="T12" fmla="*/ 3509 w 18004"/>
                <a:gd name="T13" fmla="*/ 3411 h 3615"/>
                <a:gd name="T14" fmla="*/ 3318 w 18004"/>
                <a:gd name="T15" fmla="*/ 3258 h 3615"/>
                <a:gd name="T16" fmla="*/ 3293 w 18004"/>
                <a:gd name="T17" fmla="*/ 3107 h 3615"/>
                <a:gd name="T18" fmla="*/ 4189 w 18004"/>
                <a:gd name="T19" fmla="*/ 2929 h 3615"/>
                <a:gd name="T20" fmla="*/ 5553 w 18004"/>
                <a:gd name="T21" fmla="*/ 2498 h 3615"/>
                <a:gd name="T22" fmla="*/ 5134 w 18004"/>
                <a:gd name="T23" fmla="*/ 2164 h 3615"/>
                <a:gd name="T24" fmla="*/ 131 w 18004"/>
                <a:gd name="T25" fmla="*/ 2201 h 3615"/>
                <a:gd name="T26" fmla="*/ 191 w 18004"/>
                <a:gd name="T27" fmla="*/ 1972 h 3615"/>
                <a:gd name="T28" fmla="*/ 5445 w 18004"/>
                <a:gd name="T29" fmla="*/ 2827 h 3615"/>
                <a:gd name="T30" fmla="*/ 5083 w 18004"/>
                <a:gd name="T31" fmla="*/ 2970 h 3615"/>
                <a:gd name="T32" fmla="*/ 1260 w 18004"/>
                <a:gd name="T33" fmla="*/ 967 h 3615"/>
                <a:gd name="T34" fmla="*/ 1850 w 18004"/>
                <a:gd name="T35" fmla="*/ 455 h 3615"/>
                <a:gd name="T36" fmla="*/ 2989 w 18004"/>
                <a:gd name="T37" fmla="*/ 761 h 3615"/>
                <a:gd name="T38" fmla="*/ 2974 w 18004"/>
                <a:gd name="T39" fmla="*/ 832 h 3615"/>
                <a:gd name="T40" fmla="*/ 14992 w 18004"/>
                <a:gd name="T41" fmla="*/ 0 h 3615"/>
                <a:gd name="T42" fmla="*/ 13818 w 18004"/>
                <a:gd name="T43" fmla="*/ 328 h 3615"/>
                <a:gd name="T44" fmla="*/ 11201 w 18004"/>
                <a:gd name="T45" fmla="*/ 553 h 3615"/>
                <a:gd name="T46" fmla="*/ 10915 w 18004"/>
                <a:gd name="T47" fmla="*/ 574 h 3615"/>
                <a:gd name="T48" fmla="*/ 9185 w 18004"/>
                <a:gd name="T49" fmla="*/ 270 h 3615"/>
                <a:gd name="T50" fmla="*/ 7684 w 18004"/>
                <a:gd name="T51" fmla="*/ 1941 h 3615"/>
                <a:gd name="T52" fmla="*/ 5023 w 18004"/>
                <a:gd name="T53" fmla="*/ 219 h 3615"/>
                <a:gd name="T54" fmla="*/ 4581 w 18004"/>
                <a:gd name="T55" fmla="*/ 160 h 3615"/>
                <a:gd name="T56" fmla="*/ 3894 w 18004"/>
                <a:gd name="T57" fmla="*/ 0 h 3615"/>
                <a:gd name="T58" fmla="*/ 3629 w 18004"/>
                <a:gd name="T59" fmla="*/ 130 h 3615"/>
                <a:gd name="T60" fmla="*/ 3932 w 18004"/>
                <a:gd name="T61" fmla="*/ 1715 h 3615"/>
                <a:gd name="T62" fmla="*/ 2644 w 18004"/>
                <a:gd name="T63" fmla="*/ 291 h 3615"/>
                <a:gd name="T64" fmla="*/ 2031 w 18004"/>
                <a:gd name="T65" fmla="*/ 788 h 3615"/>
                <a:gd name="T66" fmla="*/ 1231 w 18004"/>
                <a:gd name="T67" fmla="*/ 3438 h 3615"/>
                <a:gd name="T68" fmla="*/ 2824 w 18004"/>
                <a:gd name="T69" fmla="*/ 2477 h 3615"/>
                <a:gd name="T70" fmla="*/ 3349 w 18004"/>
                <a:gd name="T71" fmla="*/ 3566 h 3615"/>
                <a:gd name="T72" fmla="*/ 4923 w 18004"/>
                <a:gd name="T73" fmla="*/ 1907 h 3615"/>
                <a:gd name="T74" fmla="*/ 5580 w 18004"/>
                <a:gd name="T75" fmla="*/ 3534 h 3615"/>
                <a:gd name="T76" fmla="*/ 7546 w 18004"/>
                <a:gd name="T77" fmla="*/ 3600 h 3615"/>
                <a:gd name="T78" fmla="*/ 11144 w 18004"/>
                <a:gd name="T79" fmla="*/ 2799 h 3615"/>
                <a:gd name="T80" fmla="*/ 15308 w 18004"/>
                <a:gd name="T81" fmla="*/ 3532 h 3615"/>
                <a:gd name="T82" fmla="*/ 17257 w 18004"/>
                <a:gd name="T83" fmla="*/ 2238 h 3615"/>
                <a:gd name="T84" fmla="*/ 17477 w 18004"/>
                <a:gd name="T85" fmla="*/ 2376 h 3615"/>
                <a:gd name="T86" fmla="*/ 3078 w 18004"/>
                <a:gd name="T87" fmla="*/ 342 h 3615"/>
                <a:gd name="T88" fmla="*/ 2516 w 18004"/>
                <a:gd name="T89" fmla="*/ 425 h 3615"/>
                <a:gd name="T90" fmla="*/ 3403 w 18004"/>
                <a:gd name="T91" fmla="*/ 1858 h 3615"/>
                <a:gd name="T92" fmla="*/ 2351 w 18004"/>
                <a:gd name="T93" fmla="*/ 1567 h 3615"/>
                <a:gd name="T94" fmla="*/ 3095 w 18004"/>
                <a:gd name="T95" fmla="*/ 1820 h 3615"/>
                <a:gd name="T96" fmla="*/ 4144 w 18004"/>
                <a:gd name="T97" fmla="*/ 1955 h 3615"/>
                <a:gd name="T98" fmla="*/ 3814 w 18004"/>
                <a:gd name="T99" fmla="*/ 2784 h 3615"/>
                <a:gd name="T100" fmla="*/ 3970 w 18004"/>
                <a:gd name="T101" fmla="*/ 2899 h 3615"/>
                <a:gd name="T102" fmla="*/ 3602 w 18004"/>
                <a:gd name="T103" fmla="*/ 3224 h 3615"/>
                <a:gd name="T104" fmla="*/ 4289 w 18004"/>
                <a:gd name="T105" fmla="*/ 3336 h 3615"/>
                <a:gd name="T106" fmla="*/ 3844 w 18004"/>
                <a:gd name="T107" fmla="*/ 2396 h 3615"/>
                <a:gd name="T108" fmla="*/ 4974 w 18004"/>
                <a:gd name="T109" fmla="*/ 3218 h 3615"/>
                <a:gd name="T110" fmla="*/ 6695 w 18004"/>
                <a:gd name="T111" fmla="*/ 1906 h 3615"/>
                <a:gd name="T112" fmla="*/ 10817 w 18004"/>
                <a:gd name="T113" fmla="*/ 606 h 3615"/>
                <a:gd name="T114" fmla="*/ 11184 w 18004"/>
                <a:gd name="T115" fmla="*/ 541 h 3615"/>
                <a:gd name="T116" fmla="*/ 7822 w 18004"/>
                <a:gd name="T117" fmla="*/ 958 h 3615"/>
                <a:gd name="T118" fmla="*/ 9048 w 18004"/>
                <a:gd name="T119" fmla="*/ 1695 h 3615"/>
                <a:gd name="T120" fmla="*/ 12939 w 18004"/>
                <a:gd name="T121" fmla="*/ 2718 h 3615"/>
                <a:gd name="T122" fmla="*/ 101 w 18004"/>
                <a:gd name="T123" fmla="*/ 552 h 3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04" h="3615">
                  <a:moveTo>
                    <a:pt x="3946" y="222"/>
                  </a:moveTo>
                  <a:cubicBezTo>
                    <a:pt x="3999" y="168"/>
                    <a:pt x="3999" y="168"/>
                    <a:pt x="3999" y="168"/>
                  </a:cubicBezTo>
                  <a:cubicBezTo>
                    <a:pt x="4051" y="219"/>
                    <a:pt x="4051" y="219"/>
                    <a:pt x="4051" y="219"/>
                  </a:cubicBezTo>
                  <a:cubicBezTo>
                    <a:pt x="4150" y="118"/>
                    <a:pt x="4150" y="118"/>
                    <a:pt x="4150" y="118"/>
                  </a:cubicBezTo>
                  <a:cubicBezTo>
                    <a:pt x="4081" y="51"/>
                    <a:pt x="4081" y="51"/>
                    <a:pt x="4081" y="51"/>
                  </a:cubicBezTo>
                  <a:cubicBezTo>
                    <a:pt x="4076" y="55"/>
                    <a:pt x="4076" y="55"/>
                    <a:pt x="4076" y="55"/>
                  </a:cubicBezTo>
                  <a:cubicBezTo>
                    <a:pt x="4068" y="64"/>
                    <a:pt x="4068" y="64"/>
                    <a:pt x="4068" y="64"/>
                  </a:cubicBezTo>
                  <a:cubicBezTo>
                    <a:pt x="4033" y="29"/>
                    <a:pt x="4033" y="29"/>
                    <a:pt x="4033" y="29"/>
                  </a:cubicBezTo>
                  <a:cubicBezTo>
                    <a:pt x="3896" y="164"/>
                    <a:pt x="3896" y="164"/>
                    <a:pt x="3896" y="164"/>
                  </a:cubicBezTo>
                  <a:cubicBezTo>
                    <a:pt x="3892" y="169"/>
                    <a:pt x="3892" y="169"/>
                    <a:pt x="3892" y="169"/>
                  </a:cubicBezTo>
                  <a:lnTo>
                    <a:pt x="3946" y="222"/>
                  </a:lnTo>
                  <a:close/>
                  <a:moveTo>
                    <a:pt x="4033" y="47"/>
                  </a:moveTo>
                  <a:cubicBezTo>
                    <a:pt x="4068" y="82"/>
                    <a:pt x="4068" y="82"/>
                    <a:pt x="4068" y="82"/>
                  </a:cubicBezTo>
                  <a:cubicBezTo>
                    <a:pt x="4073" y="78"/>
                    <a:pt x="4073" y="78"/>
                    <a:pt x="4073" y="78"/>
                  </a:cubicBezTo>
                  <a:cubicBezTo>
                    <a:pt x="4081" y="69"/>
                    <a:pt x="4081" y="69"/>
                    <a:pt x="4081" y="69"/>
                  </a:cubicBezTo>
                  <a:cubicBezTo>
                    <a:pt x="4131" y="119"/>
                    <a:pt x="4131" y="119"/>
                    <a:pt x="4131" y="119"/>
                  </a:cubicBezTo>
                  <a:cubicBezTo>
                    <a:pt x="4051" y="200"/>
                    <a:pt x="4051" y="200"/>
                    <a:pt x="4051" y="200"/>
                  </a:cubicBezTo>
                  <a:cubicBezTo>
                    <a:pt x="3999" y="149"/>
                    <a:pt x="3999" y="149"/>
                    <a:pt x="3999" y="149"/>
                  </a:cubicBezTo>
                  <a:cubicBezTo>
                    <a:pt x="3946" y="203"/>
                    <a:pt x="3946" y="203"/>
                    <a:pt x="3946" y="203"/>
                  </a:cubicBezTo>
                  <a:cubicBezTo>
                    <a:pt x="3910" y="169"/>
                    <a:pt x="3910" y="169"/>
                    <a:pt x="3910" y="169"/>
                  </a:cubicBezTo>
                  <a:lnTo>
                    <a:pt x="4033" y="47"/>
                  </a:lnTo>
                  <a:close/>
                  <a:moveTo>
                    <a:pt x="4831" y="23"/>
                  </a:moveTo>
                  <a:cubicBezTo>
                    <a:pt x="4831" y="0"/>
                    <a:pt x="4831" y="0"/>
                    <a:pt x="4831" y="0"/>
                  </a:cubicBezTo>
                  <a:cubicBezTo>
                    <a:pt x="4844" y="0"/>
                    <a:pt x="4844" y="0"/>
                    <a:pt x="4844" y="0"/>
                  </a:cubicBezTo>
                  <a:cubicBezTo>
                    <a:pt x="4844" y="16"/>
                    <a:pt x="4844" y="16"/>
                    <a:pt x="4844" y="16"/>
                  </a:cubicBezTo>
                  <a:cubicBezTo>
                    <a:pt x="4902" y="16"/>
                    <a:pt x="4902" y="16"/>
                    <a:pt x="4902" y="16"/>
                  </a:cubicBezTo>
                  <a:cubicBezTo>
                    <a:pt x="4902" y="89"/>
                    <a:pt x="4902" y="89"/>
                    <a:pt x="4902" y="89"/>
                  </a:cubicBezTo>
                  <a:cubicBezTo>
                    <a:pt x="4986" y="88"/>
                    <a:pt x="4986" y="88"/>
                    <a:pt x="4986" y="88"/>
                  </a:cubicBezTo>
                  <a:cubicBezTo>
                    <a:pt x="4985" y="0"/>
                    <a:pt x="4985" y="0"/>
                    <a:pt x="4985" y="0"/>
                  </a:cubicBezTo>
                  <a:cubicBezTo>
                    <a:pt x="4999" y="0"/>
                    <a:pt x="4999" y="0"/>
                    <a:pt x="4999" y="0"/>
                  </a:cubicBezTo>
                  <a:cubicBezTo>
                    <a:pt x="4999" y="101"/>
                    <a:pt x="4999" y="101"/>
                    <a:pt x="4999" y="101"/>
                  </a:cubicBezTo>
                  <a:cubicBezTo>
                    <a:pt x="4889" y="102"/>
                    <a:pt x="4889" y="102"/>
                    <a:pt x="4889" y="102"/>
                  </a:cubicBezTo>
                  <a:cubicBezTo>
                    <a:pt x="4889" y="29"/>
                    <a:pt x="4889" y="29"/>
                    <a:pt x="4889" y="29"/>
                  </a:cubicBezTo>
                  <a:cubicBezTo>
                    <a:pt x="4832" y="29"/>
                    <a:pt x="4832" y="29"/>
                    <a:pt x="4832" y="29"/>
                  </a:cubicBezTo>
                  <a:lnTo>
                    <a:pt x="4831" y="23"/>
                  </a:lnTo>
                  <a:close/>
                  <a:moveTo>
                    <a:pt x="4724" y="465"/>
                  </a:moveTo>
                  <a:cubicBezTo>
                    <a:pt x="4725" y="635"/>
                    <a:pt x="4725" y="635"/>
                    <a:pt x="4725" y="635"/>
                  </a:cubicBezTo>
                  <a:cubicBezTo>
                    <a:pt x="4810" y="636"/>
                    <a:pt x="4810" y="636"/>
                    <a:pt x="4810" y="636"/>
                  </a:cubicBezTo>
                  <a:cubicBezTo>
                    <a:pt x="4811" y="733"/>
                    <a:pt x="4811" y="733"/>
                    <a:pt x="4811" y="733"/>
                  </a:cubicBezTo>
                  <a:cubicBezTo>
                    <a:pt x="4933" y="733"/>
                    <a:pt x="4933" y="733"/>
                    <a:pt x="4933" y="733"/>
                  </a:cubicBezTo>
                  <a:cubicBezTo>
                    <a:pt x="4936" y="551"/>
                    <a:pt x="4936" y="551"/>
                    <a:pt x="4936" y="551"/>
                  </a:cubicBezTo>
                  <a:cubicBezTo>
                    <a:pt x="4852" y="550"/>
                    <a:pt x="4852" y="550"/>
                    <a:pt x="4852" y="550"/>
                  </a:cubicBezTo>
                  <a:cubicBezTo>
                    <a:pt x="4855" y="466"/>
                    <a:pt x="4855" y="466"/>
                    <a:pt x="4855" y="466"/>
                  </a:cubicBezTo>
                  <a:lnTo>
                    <a:pt x="4724" y="465"/>
                  </a:lnTo>
                  <a:close/>
                  <a:moveTo>
                    <a:pt x="4922" y="564"/>
                  </a:moveTo>
                  <a:cubicBezTo>
                    <a:pt x="4920" y="720"/>
                    <a:pt x="4920" y="720"/>
                    <a:pt x="4920" y="720"/>
                  </a:cubicBezTo>
                  <a:cubicBezTo>
                    <a:pt x="4824" y="720"/>
                    <a:pt x="4824" y="720"/>
                    <a:pt x="4824" y="720"/>
                  </a:cubicBezTo>
                  <a:cubicBezTo>
                    <a:pt x="4823" y="630"/>
                    <a:pt x="4823" y="630"/>
                    <a:pt x="4823" y="630"/>
                  </a:cubicBezTo>
                  <a:cubicBezTo>
                    <a:pt x="4823" y="623"/>
                    <a:pt x="4823" y="623"/>
                    <a:pt x="4823" y="623"/>
                  </a:cubicBezTo>
                  <a:cubicBezTo>
                    <a:pt x="4738" y="622"/>
                    <a:pt x="4738" y="622"/>
                    <a:pt x="4738" y="622"/>
                  </a:cubicBezTo>
                  <a:cubicBezTo>
                    <a:pt x="4737" y="478"/>
                    <a:pt x="4737" y="478"/>
                    <a:pt x="4737" y="478"/>
                  </a:cubicBezTo>
                  <a:cubicBezTo>
                    <a:pt x="4841" y="479"/>
                    <a:pt x="4841" y="479"/>
                    <a:pt x="4841" y="479"/>
                  </a:cubicBezTo>
                  <a:cubicBezTo>
                    <a:pt x="4838" y="563"/>
                    <a:pt x="4838" y="563"/>
                    <a:pt x="4838" y="563"/>
                  </a:cubicBezTo>
                  <a:lnTo>
                    <a:pt x="4922" y="564"/>
                  </a:lnTo>
                  <a:close/>
                  <a:moveTo>
                    <a:pt x="5139" y="3404"/>
                  </a:moveTo>
                  <a:cubicBezTo>
                    <a:pt x="5156" y="3294"/>
                    <a:pt x="5156" y="3294"/>
                    <a:pt x="5156" y="3294"/>
                  </a:cubicBezTo>
                  <a:cubicBezTo>
                    <a:pt x="5002" y="3271"/>
                    <a:pt x="5002" y="3271"/>
                    <a:pt x="5002" y="3271"/>
                  </a:cubicBezTo>
                  <a:cubicBezTo>
                    <a:pt x="4986" y="3381"/>
                    <a:pt x="4986" y="3381"/>
                    <a:pt x="4986" y="3381"/>
                  </a:cubicBezTo>
                  <a:cubicBezTo>
                    <a:pt x="5133" y="3403"/>
                    <a:pt x="5133" y="3403"/>
                    <a:pt x="5133" y="3403"/>
                  </a:cubicBezTo>
                  <a:lnTo>
                    <a:pt x="5139" y="3404"/>
                  </a:lnTo>
                  <a:close/>
                  <a:moveTo>
                    <a:pt x="5001" y="3370"/>
                  </a:moveTo>
                  <a:cubicBezTo>
                    <a:pt x="5013" y="3286"/>
                    <a:pt x="5013" y="3286"/>
                    <a:pt x="5013" y="3286"/>
                  </a:cubicBezTo>
                  <a:cubicBezTo>
                    <a:pt x="5141" y="3305"/>
                    <a:pt x="5141" y="3305"/>
                    <a:pt x="5141" y="3305"/>
                  </a:cubicBezTo>
                  <a:cubicBezTo>
                    <a:pt x="5128" y="3389"/>
                    <a:pt x="5128" y="3389"/>
                    <a:pt x="5128" y="3389"/>
                  </a:cubicBezTo>
                  <a:lnTo>
                    <a:pt x="5001" y="3370"/>
                  </a:lnTo>
                  <a:close/>
                  <a:moveTo>
                    <a:pt x="4974" y="3592"/>
                  </a:moveTo>
                  <a:cubicBezTo>
                    <a:pt x="5028" y="3600"/>
                    <a:pt x="5028" y="3600"/>
                    <a:pt x="5028" y="3600"/>
                  </a:cubicBezTo>
                  <a:cubicBezTo>
                    <a:pt x="5121" y="3614"/>
                    <a:pt x="5121" y="3614"/>
                    <a:pt x="5121" y="3614"/>
                  </a:cubicBezTo>
                  <a:cubicBezTo>
                    <a:pt x="5128" y="3615"/>
                    <a:pt x="5128" y="3615"/>
                    <a:pt x="5128" y="3615"/>
                  </a:cubicBezTo>
                  <a:cubicBezTo>
                    <a:pt x="5130" y="3600"/>
                    <a:pt x="5130" y="3600"/>
                    <a:pt x="5130" y="3600"/>
                  </a:cubicBezTo>
                  <a:cubicBezTo>
                    <a:pt x="5144" y="3505"/>
                    <a:pt x="5144" y="3505"/>
                    <a:pt x="5144" y="3505"/>
                  </a:cubicBezTo>
                  <a:cubicBezTo>
                    <a:pt x="4991" y="3482"/>
                    <a:pt x="4991" y="3482"/>
                    <a:pt x="4991" y="3482"/>
                  </a:cubicBezTo>
                  <a:lnTo>
                    <a:pt x="4974" y="3592"/>
                  </a:lnTo>
                  <a:close/>
                  <a:moveTo>
                    <a:pt x="5129" y="3516"/>
                  </a:moveTo>
                  <a:cubicBezTo>
                    <a:pt x="5117" y="3600"/>
                    <a:pt x="5117" y="3600"/>
                    <a:pt x="5117" y="3600"/>
                  </a:cubicBezTo>
                  <a:cubicBezTo>
                    <a:pt x="5117" y="3600"/>
                    <a:pt x="5117" y="3600"/>
                    <a:pt x="5117" y="3600"/>
                  </a:cubicBezTo>
                  <a:cubicBezTo>
                    <a:pt x="5116" y="3600"/>
                    <a:pt x="5116" y="3600"/>
                    <a:pt x="5116" y="3600"/>
                  </a:cubicBezTo>
                  <a:cubicBezTo>
                    <a:pt x="4989" y="3581"/>
                    <a:pt x="4989" y="3581"/>
                    <a:pt x="4989" y="3581"/>
                  </a:cubicBezTo>
                  <a:cubicBezTo>
                    <a:pt x="5002" y="3497"/>
                    <a:pt x="5002" y="3497"/>
                    <a:pt x="5002" y="3497"/>
                  </a:cubicBezTo>
                  <a:lnTo>
                    <a:pt x="5129" y="3516"/>
                  </a:lnTo>
                  <a:close/>
                  <a:moveTo>
                    <a:pt x="4531" y="3325"/>
                  </a:moveTo>
                  <a:cubicBezTo>
                    <a:pt x="4548" y="3215"/>
                    <a:pt x="4548" y="3215"/>
                    <a:pt x="4548" y="3215"/>
                  </a:cubicBezTo>
                  <a:cubicBezTo>
                    <a:pt x="4394" y="3192"/>
                    <a:pt x="4394" y="3192"/>
                    <a:pt x="4394" y="3192"/>
                  </a:cubicBezTo>
                  <a:cubicBezTo>
                    <a:pt x="4378" y="3302"/>
                    <a:pt x="4378" y="3302"/>
                    <a:pt x="4378" y="3302"/>
                  </a:cubicBezTo>
                  <a:cubicBezTo>
                    <a:pt x="4525" y="3324"/>
                    <a:pt x="4525" y="3324"/>
                    <a:pt x="4525" y="3324"/>
                  </a:cubicBezTo>
                  <a:lnTo>
                    <a:pt x="4531" y="3325"/>
                  </a:lnTo>
                  <a:close/>
                  <a:moveTo>
                    <a:pt x="4393" y="3291"/>
                  </a:moveTo>
                  <a:cubicBezTo>
                    <a:pt x="4405" y="3207"/>
                    <a:pt x="4405" y="3207"/>
                    <a:pt x="4405" y="3207"/>
                  </a:cubicBezTo>
                  <a:cubicBezTo>
                    <a:pt x="4533" y="3226"/>
                    <a:pt x="4533" y="3226"/>
                    <a:pt x="4533" y="3226"/>
                  </a:cubicBezTo>
                  <a:cubicBezTo>
                    <a:pt x="4520" y="3310"/>
                    <a:pt x="4520" y="3310"/>
                    <a:pt x="4520" y="3310"/>
                  </a:cubicBezTo>
                  <a:lnTo>
                    <a:pt x="4393" y="3291"/>
                  </a:lnTo>
                  <a:close/>
                  <a:moveTo>
                    <a:pt x="4508" y="3529"/>
                  </a:moveTo>
                  <a:cubicBezTo>
                    <a:pt x="4524" y="3419"/>
                    <a:pt x="4524" y="3419"/>
                    <a:pt x="4524" y="3419"/>
                  </a:cubicBezTo>
                  <a:cubicBezTo>
                    <a:pt x="4371" y="3396"/>
                    <a:pt x="4371" y="3396"/>
                    <a:pt x="4371" y="3396"/>
                  </a:cubicBezTo>
                  <a:cubicBezTo>
                    <a:pt x="4354" y="3506"/>
                    <a:pt x="4354" y="3506"/>
                    <a:pt x="4354" y="3506"/>
                  </a:cubicBezTo>
                  <a:cubicBezTo>
                    <a:pt x="4501" y="3528"/>
                    <a:pt x="4501" y="3528"/>
                    <a:pt x="4501" y="3528"/>
                  </a:cubicBezTo>
                  <a:lnTo>
                    <a:pt x="4508" y="3529"/>
                  </a:lnTo>
                  <a:close/>
                  <a:moveTo>
                    <a:pt x="4369" y="3495"/>
                  </a:moveTo>
                  <a:cubicBezTo>
                    <a:pt x="4382" y="3411"/>
                    <a:pt x="4382" y="3411"/>
                    <a:pt x="4382" y="3411"/>
                  </a:cubicBezTo>
                  <a:cubicBezTo>
                    <a:pt x="4509" y="3430"/>
                    <a:pt x="4509" y="3430"/>
                    <a:pt x="4509" y="3430"/>
                  </a:cubicBezTo>
                  <a:cubicBezTo>
                    <a:pt x="4497" y="3514"/>
                    <a:pt x="4497" y="3514"/>
                    <a:pt x="4497" y="3514"/>
                  </a:cubicBezTo>
                  <a:lnTo>
                    <a:pt x="4369" y="3495"/>
                  </a:lnTo>
                  <a:close/>
                  <a:moveTo>
                    <a:pt x="3356" y="3514"/>
                  </a:moveTo>
                  <a:cubicBezTo>
                    <a:pt x="3507" y="3517"/>
                    <a:pt x="3507" y="3517"/>
                    <a:pt x="3507" y="3517"/>
                  </a:cubicBezTo>
                  <a:cubicBezTo>
                    <a:pt x="3509" y="3411"/>
                    <a:pt x="3509" y="3411"/>
                    <a:pt x="3509" y="3411"/>
                  </a:cubicBezTo>
                  <a:cubicBezTo>
                    <a:pt x="3365" y="3409"/>
                    <a:pt x="3365" y="3409"/>
                    <a:pt x="3365" y="3409"/>
                  </a:cubicBezTo>
                  <a:cubicBezTo>
                    <a:pt x="3358" y="3408"/>
                    <a:pt x="3358" y="3408"/>
                    <a:pt x="3358" y="3408"/>
                  </a:cubicBezTo>
                  <a:lnTo>
                    <a:pt x="3356" y="3514"/>
                  </a:lnTo>
                  <a:close/>
                  <a:moveTo>
                    <a:pt x="3371" y="3421"/>
                  </a:moveTo>
                  <a:cubicBezTo>
                    <a:pt x="3497" y="3424"/>
                    <a:pt x="3497" y="3424"/>
                    <a:pt x="3497" y="3424"/>
                  </a:cubicBezTo>
                  <a:cubicBezTo>
                    <a:pt x="3495" y="3504"/>
                    <a:pt x="3495" y="3504"/>
                    <a:pt x="3495" y="3504"/>
                  </a:cubicBezTo>
                  <a:cubicBezTo>
                    <a:pt x="3369" y="3502"/>
                    <a:pt x="3369" y="3502"/>
                    <a:pt x="3369" y="3502"/>
                  </a:cubicBezTo>
                  <a:lnTo>
                    <a:pt x="3371" y="3421"/>
                  </a:lnTo>
                  <a:close/>
                  <a:moveTo>
                    <a:pt x="3305" y="3246"/>
                  </a:moveTo>
                  <a:cubicBezTo>
                    <a:pt x="3303" y="3351"/>
                    <a:pt x="3303" y="3351"/>
                    <a:pt x="3303" y="3351"/>
                  </a:cubicBezTo>
                  <a:cubicBezTo>
                    <a:pt x="3454" y="3354"/>
                    <a:pt x="3454" y="3354"/>
                    <a:pt x="3454" y="3354"/>
                  </a:cubicBezTo>
                  <a:cubicBezTo>
                    <a:pt x="3457" y="3249"/>
                    <a:pt x="3457" y="3249"/>
                    <a:pt x="3457" y="3249"/>
                  </a:cubicBezTo>
                  <a:cubicBezTo>
                    <a:pt x="3312" y="3246"/>
                    <a:pt x="3312" y="3246"/>
                    <a:pt x="3312" y="3246"/>
                  </a:cubicBezTo>
                  <a:lnTo>
                    <a:pt x="3305" y="3246"/>
                  </a:lnTo>
                  <a:close/>
                  <a:moveTo>
                    <a:pt x="3318" y="3258"/>
                  </a:moveTo>
                  <a:cubicBezTo>
                    <a:pt x="3444" y="3261"/>
                    <a:pt x="3444" y="3261"/>
                    <a:pt x="3444" y="3261"/>
                  </a:cubicBezTo>
                  <a:cubicBezTo>
                    <a:pt x="3442" y="3341"/>
                    <a:pt x="3442" y="3341"/>
                    <a:pt x="3442" y="3341"/>
                  </a:cubicBezTo>
                  <a:cubicBezTo>
                    <a:pt x="3316" y="3339"/>
                    <a:pt x="3316" y="3339"/>
                    <a:pt x="3316" y="3339"/>
                  </a:cubicBezTo>
                  <a:lnTo>
                    <a:pt x="3318" y="3258"/>
                  </a:lnTo>
                  <a:close/>
                  <a:moveTo>
                    <a:pt x="3281" y="3094"/>
                  </a:moveTo>
                  <a:cubicBezTo>
                    <a:pt x="3278" y="3200"/>
                    <a:pt x="3278" y="3200"/>
                    <a:pt x="3278" y="3200"/>
                  </a:cubicBezTo>
                  <a:cubicBezTo>
                    <a:pt x="3430" y="3203"/>
                    <a:pt x="3430" y="3203"/>
                    <a:pt x="3430" y="3203"/>
                  </a:cubicBezTo>
                  <a:cubicBezTo>
                    <a:pt x="3432" y="3097"/>
                    <a:pt x="3432" y="3097"/>
                    <a:pt x="3432" y="3097"/>
                  </a:cubicBezTo>
                  <a:cubicBezTo>
                    <a:pt x="3287" y="3094"/>
                    <a:pt x="3287" y="3094"/>
                    <a:pt x="3287" y="3094"/>
                  </a:cubicBezTo>
                  <a:lnTo>
                    <a:pt x="3281" y="3094"/>
                  </a:lnTo>
                  <a:close/>
                  <a:moveTo>
                    <a:pt x="3293" y="3107"/>
                  </a:moveTo>
                  <a:cubicBezTo>
                    <a:pt x="3419" y="3110"/>
                    <a:pt x="3419" y="3110"/>
                    <a:pt x="3419" y="3110"/>
                  </a:cubicBezTo>
                  <a:cubicBezTo>
                    <a:pt x="3417" y="3190"/>
                    <a:pt x="3417" y="3190"/>
                    <a:pt x="3417" y="3190"/>
                  </a:cubicBezTo>
                  <a:cubicBezTo>
                    <a:pt x="3291" y="3187"/>
                    <a:pt x="3291" y="3187"/>
                    <a:pt x="3291" y="3187"/>
                  </a:cubicBezTo>
                  <a:lnTo>
                    <a:pt x="3293" y="3107"/>
                  </a:lnTo>
                  <a:close/>
                  <a:moveTo>
                    <a:pt x="3896" y="2899"/>
                  </a:moveTo>
                  <a:cubicBezTo>
                    <a:pt x="3752" y="2896"/>
                    <a:pt x="3752" y="2896"/>
                    <a:pt x="3752" y="2896"/>
                  </a:cubicBezTo>
                  <a:cubicBezTo>
                    <a:pt x="3745" y="2896"/>
                    <a:pt x="3745" y="2896"/>
                    <a:pt x="3745" y="2896"/>
                  </a:cubicBezTo>
                  <a:cubicBezTo>
                    <a:pt x="3743" y="3001"/>
                    <a:pt x="3743" y="3001"/>
                    <a:pt x="3743" y="3001"/>
                  </a:cubicBezTo>
                  <a:cubicBezTo>
                    <a:pt x="3894" y="3004"/>
                    <a:pt x="3894" y="3004"/>
                    <a:pt x="3894" y="3004"/>
                  </a:cubicBezTo>
                  <a:lnTo>
                    <a:pt x="3896" y="2899"/>
                  </a:lnTo>
                  <a:close/>
                  <a:moveTo>
                    <a:pt x="3882" y="2992"/>
                  </a:moveTo>
                  <a:cubicBezTo>
                    <a:pt x="3756" y="2989"/>
                    <a:pt x="3756" y="2989"/>
                    <a:pt x="3756" y="2989"/>
                  </a:cubicBezTo>
                  <a:cubicBezTo>
                    <a:pt x="3758" y="2909"/>
                    <a:pt x="3758" y="2909"/>
                    <a:pt x="3758" y="2909"/>
                  </a:cubicBezTo>
                  <a:cubicBezTo>
                    <a:pt x="3884" y="2911"/>
                    <a:pt x="3884" y="2911"/>
                    <a:pt x="3884" y="2911"/>
                  </a:cubicBezTo>
                  <a:lnTo>
                    <a:pt x="3882" y="2992"/>
                  </a:lnTo>
                  <a:close/>
                  <a:moveTo>
                    <a:pt x="4038" y="2926"/>
                  </a:moveTo>
                  <a:cubicBezTo>
                    <a:pt x="4036" y="3032"/>
                    <a:pt x="4036" y="3032"/>
                    <a:pt x="4036" y="3032"/>
                  </a:cubicBezTo>
                  <a:cubicBezTo>
                    <a:pt x="4187" y="3035"/>
                    <a:pt x="4187" y="3035"/>
                    <a:pt x="4187" y="3035"/>
                  </a:cubicBezTo>
                  <a:cubicBezTo>
                    <a:pt x="4189" y="2929"/>
                    <a:pt x="4189" y="2929"/>
                    <a:pt x="4189" y="2929"/>
                  </a:cubicBezTo>
                  <a:cubicBezTo>
                    <a:pt x="4044" y="2926"/>
                    <a:pt x="4044" y="2926"/>
                    <a:pt x="4044" y="2926"/>
                  </a:cubicBezTo>
                  <a:lnTo>
                    <a:pt x="4038" y="2926"/>
                  </a:lnTo>
                  <a:close/>
                  <a:moveTo>
                    <a:pt x="4050" y="2939"/>
                  </a:moveTo>
                  <a:cubicBezTo>
                    <a:pt x="4176" y="2942"/>
                    <a:pt x="4176" y="2942"/>
                    <a:pt x="4176" y="2942"/>
                  </a:cubicBezTo>
                  <a:cubicBezTo>
                    <a:pt x="4174" y="3022"/>
                    <a:pt x="4174" y="3022"/>
                    <a:pt x="4174" y="3022"/>
                  </a:cubicBezTo>
                  <a:cubicBezTo>
                    <a:pt x="4048" y="3019"/>
                    <a:pt x="4048" y="3019"/>
                    <a:pt x="4048" y="3019"/>
                  </a:cubicBezTo>
                  <a:lnTo>
                    <a:pt x="4050" y="2939"/>
                  </a:lnTo>
                  <a:close/>
                  <a:moveTo>
                    <a:pt x="5368" y="2474"/>
                  </a:moveTo>
                  <a:cubicBezTo>
                    <a:pt x="5367" y="2481"/>
                    <a:pt x="5367" y="2481"/>
                    <a:pt x="5367" y="2481"/>
                  </a:cubicBezTo>
                  <a:cubicBezTo>
                    <a:pt x="5563" y="2513"/>
                    <a:pt x="5563" y="2513"/>
                    <a:pt x="5563" y="2513"/>
                  </a:cubicBezTo>
                  <a:cubicBezTo>
                    <a:pt x="5579" y="2417"/>
                    <a:pt x="5579" y="2417"/>
                    <a:pt x="5579" y="2417"/>
                  </a:cubicBezTo>
                  <a:cubicBezTo>
                    <a:pt x="5383" y="2385"/>
                    <a:pt x="5383" y="2385"/>
                    <a:pt x="5383" y="2385"/>
                  </a:cubicBezTo>
                  <a:lnTo>
                    <a:pt x="5368" y="2474"/>
                  </a:lnTo>
                  <a:close/>
                  <a:moveTo>
                    <a:pt x="5564" y="2428"/>
                  </a:moveTo>
                  <a:cubicBezTo>
                    <a:pt x="5553" y="2498"/>
                    <a:pt x="5553" y="2498"/>
                    <a:pt x="5553" y="2498"/>
                  </a:cubicBezTo>
                  <a:cubicBezTo>
                    <a:pt x="5382" y="2470"/>
                    <a:pt x="5382" y="2470"/>
                    <a:pt x="5382" y="2470"/>
                  </a:cubicBezTo>
                  <a:cubicBezTo>
                    <a:pt x="5394" y="2400"/>
                    <a:pt x="5394" y="2400"/>
                    <a:pt x="5394" y="2400"/>
                  </a:cubicBezTo>
                  <a:lnTo>
                    <a:pt x="5564" y="2428"/>
                  </a:lnTo>
                  <a:close/>
                  <a:moveTo>
                    <a:pt x="5460" y="2333"/>
                  </a:moveTo>
                  <a:cubicBezTo>
                    <a:pt x="5487" y="2144"/>
                    <a:pt x="5487" y="2144"/>
                    <a:pt x="5487" y="2144"/>
                  </a:cubicBezTo>
                  <a:cubicBezTo>
                    <a:pt x="5488" y="2137"/>
                    <a:pt x="5488" y="2137"/>
                    <a:pt x="5488" y="2137"/>
                  </a:cubicBezTo>
                  <a:cubicBezTo>
                    <a:pt x="5166" y="2091"/>
                    <a:pt x="5166" y="2091"/>
                    <a:pt x="5166" y="2091"/>
                  </a:cubicBezTo>
                  <a:cubicBezTo>
                    <a:pt x="5158" y="2153"/>
                    <a:pt x="5158" y="2153"/>
                    <a:pt x="5158" y="2153"/>
                  </a:cubicBezTo>
                  <a:cubicBezTo>
                    <a:pt x="5123" y="2150"/>
                    <a:pt x="5123" y="2150"/>
                    <a:pt x="5123" y="2150"/>
                  </a:cubicBezTo>
                  <a:cubicBezTo>
                    <a:pt x="5110" y="2235"/>
                    <a:pt x="5110" y="2235"/>
                    <a:pt x="5110" y="2235"/>
                  </a:cubicBezTo>
                  <a:cubicBezTo>
                    <a:pt x="5143" y="2241"/>
                    <a:pt x="5143" y="2241"/>
                    <a:pt x="5143" y="2241"/>
                  </a:cubicBezTo>
                  <a:cubicBezTo>
                    <a:pt x="5138" y="2288"/>
                    <a:pt x="5138" y="2288"/>
                    <a:pt x="5138" y="2288"/>
                  </a:cubicBezTo>
                  <a:lnTo>
                    <a:pt x="5460" y="2333"/>
                  </a:lnTo>
                  <a:close/>
                  <a:moveTo>
                    <a:pt x="5125" y="2224"/>
                  </a:moveTo>
                  <a:cubicBezTo>
                    <a:pt x="5134" y="2164"/>
                    <a:pt x="5134" y="2164"/>
                    <a:pt x="5134" y="2164"/>
                  </a:cubicBezTo>
                  <a:cubicBezTo>
                    <a:pt x="5169" y="2167"/>
                    <a:pt x="5169" y="2167"/>
                    <a:pt x="5169" y="2167"/>
                  </a:cubicBezTo>
                  <a:cubicBezTo>
                    <a:pt x="5178" y="2105"/>
                    <a:pt x="5178" y="2105"/>
                    <a:pt x="5178" y="2105"/>
                  </a:cubicBezTo>
                  <a:cubicBezTo>
                    <a:pt x="5473" y="2148"/>
                    <a:pt x="5473" y="2148"/>
                    <a:pt x="5473" y="2148"/>
                  </a:cubicBezTo>
                  <a:cubicBezTo>
                    <a:pt x="5449" y="2318"/>
                    <a:pt x="5449" y="2318"/>
                    <a:pt x="5449" y="2318"/>
                  </a:cubicBezTo>
                  <a:cubicBezTo>
                    <a:pt x="5152" y="2277"/>
                    <a:pt x="5152" y="2277"/>
                    <a:pt x="5152" y="2277"/>
                  </a:cubicBezTo>
                  <a:cubicBezTo>
                    <a:pt x="5157" y="2230"/>
                    <a:pt x="5157" y="2230"/>
                    <a:pt x="5157" y="2230"/>
                  </a:cubicBezTo>
                  <a:lnTo>
                    <a:pt x="5125" y="2224"/>
                  </a:lnTo>
                  <a:close/>
                  <a:moveTo>
                    <a:pt x="215" y="1986"/>
                  </a:moveTo>
                  <a:cubicBezTo>
                    <a:pt x="196" y="1955"/>
                    <a:pt x="196" y="1955"/>
                    <a:pt x="196" y="1955"/>
                  </a:cubicBezTo>
                  <a:cubicBezTo>
                    <a:pt x="121" y="1990"/>
                    <a:pt x="121" y="1990"/>
                    <a:pt x="121" y="1990"/>
                  </a:cubicBezTo>
                  <a:cubicBezTo>
                    <a:pt x="138" y="2026"/>
                    <a:pt x="138" y="2026"/>
                    <a:pt x="138" y="2026"/>
                  </a:cubicBezTo>
                  <a:cubicBezTo>
                    <a:pt x="84" y="2049"/>
                    <a:pt x="84" y="2049"/>
                    <a:pt x="84" y="2049"/>
                  </a:cubicBezTo>
                  <a:cubicBezTo>
                    <a:pt x="105" y="2093"/>
                    <a:pt x="105" y="2093"/>
                    <a:pt x="105" y="2093"/>
                  </a:cubicBezTo>
                  <a:cubicBezTo>
                    <a:pt x="88" y="2099"/>
                    <a:pt x="88" y="2099"/>
                    <a:pt x="88" y="2099"/>
                  </a:cubicBezTo>
                  <a:cubicBezTo>
                    <a:pt x="131" y="2201"/>
                    <a:pt x="131" y="2201"/>
                    <a:pt x="131" y="2201"/>
                  </a:cubicBezTo>
                  <a:cubicBezTo>
                    <a:pt x="158" y="2191"/>
                    <a:pt x="158" y="2191"/>
                    <a:pt x="158" y="2191"/>
                  </a:cubicBezTo>
                  <a:cubicBezTo>
                    <a:pt x="236" y="2366"/>
                    <a:pt x="236" y="2366"/>
                    <a:pt x="236" y="2366"/>
                  </a:cubicBezTo>
                  <a:cubicBezTo>
                    <a:pt x="404" y="2288"/>
                    <a:pt x="404" y="2288"/>
                    <a:pt x="404" y="2288"/>
                  </a:cubicBezTo>
                  <a:cubicBezTo>
                    <a:pt x="410" y="2286"/>
                    <a:pt x="410" y="2286"/>
                    <a:pt x="410" y="2286"/>
                  </a:cubicBezTo>
                  <a:cubicBezTo>
                    <a:pt x="267" y="1964"/>
                    <a:pt x="267" y="1964"/>
                    <a:pt x="267" y="1964"/>
                  </a:cubicBezTo>
                  <a:lnTo>
                    <a:pt x="215" y="1986"/>
                  </a:lnTo>
                  <a:close/>
                  <a:moveTo>
                    <a:pt x="243" y="2348"/>
                  </a:moveTo>
                  <a:cubicBezTo>
                    <a:pt x="165" y="2174"/>
                    <a:pt x="165" y="2174"/>
                    <a:pt x="165" y="2174"/>
                  </a:cubicBezTo>
                  <a:cubicBezTo>
                    <a:pt x="138" y="2184"/>
                    <a:pt x="138" y="2184"/>
                    <a:pt x="138" y="2184"/>
                  </a:cubicBezTo>
                  <a:cubicBezTo>
                    <a:pt x="105" y="2107"/>
                    <a:pt x="105" y="2107"/>
                    <a:pt x="105" y="2107"/>
                  </a:cubicBezTo>
                  <a:cubicBezTo>
                    <a:pt x="122" y="2100"/>
                    <a:pt x="122" y="2100"/>
                    <a:pt x="122" y="2100"/>
                  </a:cubicBezTo>
                  <a:cubicBezTo>
                    <a:pt x="102" y="2056"/>
                    <a:pt x="102" y="2056"/>
                    <a:pt x="102" y="2056"/>
                  </a:cubicBezTo>
                  <a:cubicBezTo>
                    <a:pt x="155" y="2033"/>
                    <a:pt x="155" y="2033"/>
                    <a:pt x="155" y="2033"/>
                  </a:cubicBezTo>
                  <a:cubicBezTo>
                    <a:pt x="139" y="1996"/>
                    <a:pt x="139" y="1996"/>
                    <a:pt x="139" y="1996"/>
                  </a:cubicBezTo>
                  <a:cubicBezTo>
                    <a:pt x="191" y="1972"/>
                    <a:pt x="191" y="1972"/>
                    <a:pt x="191" y="1972"/>
                  </a:cubicBezTo>
                  <a:cubicBezTo>
                    <a:pt x="209" y="2002"/>
                    <a:pt x="209" y="2002"/>
                    <a:pt x="209" y="2002"/>
                  </a:cubicBezTo>
                  <a:cubicBezTo>
                    <a:pt x="260" y="1981"/>
                    <a:pt x="260" y="1981"/>
                    <a:pt x="260" y="1981"/>
                  </a:cubicBezTo>
                  <a:cubicBezTo>
                    <a:pt x="393" y="2279"/>
                    <a:pt x="393" y="2279"/>
                    <a:pt x="393" y="2279"/>
                  </a:cubicBezTo>
                  <a:lnTo>
                    <a:pt x="243" y="2348"/>
                  </a:lnTo>
                  <a:close/>
                  <a:moveTo>
                    <a:pt x="5037" y="2921"/>
                  </a:moveTo>
                  <a:cubicBezTo>
                    <a:pt x="5077" y="2925"/>
                    <a:pt x="5077" y="2925"/>
                    <a:pt x="5077" y="2925"/>
                  </a:cubicBezTo>
                  <a:cubicBezTo>
                    <a:pt x="5068" y="2982"/>
                    <a:pt x="5068" y="2982"/>
                    <a:pt x="5068" y="2982"/>
                  </a:cubicBezTo>
                  <a:cubicBezTo>
                    <a:pt x="5111" y="2986"/>
                    <a:pt x="5111" y="2986"/>
                    <a:pt x="5111" y="2986"/>
                  </a:cubicBezTo>
                  <a:cubicBezTo>
                    <a:pt x="5109" y="3006"/>
                    <a:pt x="5109" y="3006"/>
                    <a:pt x="5109" y="3006"/>
                  </a:cubicBezTo>
                  <a:cubicBezTo>
                    <a:pt x="5215" y="3020"/>
                    <a:pt x="5215" y="3020"/>
                    <a:pt x="5215" y="3020"/>
                  </a:cubicBezTo>
                  <a:cubicBezTo>
                    <a:pt x="5216" y="3015"/>
                    <a:pt x="5216" y="3015"/>
                    <a:pt x="5216" y="3015"/>
                  </a:cubicBezTo>
                  <a:cubicBezTo>
                    <a:pt x="5220" y="3002"/>
                    <a:pt x="5220" y="3002"/>
                    <a:pt x="5220" y="3002"/>
                  </a:cubicBezTo>
                  <a:cubicBezTo>
                    <a:pt x="5415" y="3027"/>
                    <a:pt x="5415" y="3027"/>
                    <a:pt x="5415" y="3027"/>
                  </a:cubicBezTo>
                  <a:cubicBezTo>
                    <a:pt x="5444" y="2834"/>
                    <a:pt x="5444" y="2834"/>
                    <a:pt x="5444" y="2834"/>
                  </a:cubicBezTo>
                  <a:cubicBezTo>
                    <a:pt x="5445" y="2827"/>
                    <a:pt x="5445" y="2827"/>
                    <a:pt x="5445" y="2827"/>
                  </a:cubicBezTo>
                  <a:cubicBezTo>
                    <a:pt x="5091" y="2782"/>
                    <a:pt x="5091" y="2782"/>
                    <a:pt x="5091" y="2782"/>
                  </a:cubicBezTo>
                  <a:cubicBezTo>
                    <a:pt x="5082" y="2837"/>
                    <a:pt x="5082" y="2837"/>
                    <a:pt x="5082" y="2837"/>
                  </a:cubicBezTo>
                  <a:cubicBezTo>
                    <a:pt x="5049" y="2833"/>
                    <a:pt x="5049" y="2833"/>
                    <a:pt x="5049" y="2833"/>
                  </a:cubicBezTo>
                  <a:lnTo>
                    <a:pt x="5037" y="2921"/>
                  </a:lnTo>
                  <a:close/>
                  <a:moveTo>
                    <a:pt x="5060" y="2848"/>
                  </a:moveTo>
                  <a:cubicBezTo>
                    <a:pt x="5093" y="2851"/>
                    <a:pt x="5093" y="2851"/>
                    <a:pt x="5093" y="2851"/>
                  </a:cubicBezTo>
                  <a:cubicBezTo>
                    <a:pt x="5102" y="2796"/>
                    <a:pt x="5102" y="2796"/>
                    <a:pt x="5102" y="2796"/>
                  </a:cubicBezTo>
                  <a:cubicBezTo>
                    <a:pt x="5430" y="2838"/>
                    <a:pt x="5430" y="2838"/>
                    <a:pt x="5430" y="2838"/>
                  </a:cubicBezTo>
                  <a:cubicBezTo>
                    <a:pt x="5404" y="3013"/>
                    <a:pt x="5404" y="3013"/>
                    <a:pt x="5404" y="3013"/>
                  </a:cubicBezTo>
                  <a:cubicBezTo>
                    <a:pt x="5211" y="2988"/>
                    <a:pt x="5211" y="2988"/>
                    <a:pt x="5211" y="2988"/>
                  </a:cubicBezTo>
                  <a:cubicBezTo>
                    <a:pt x="5209" y="2993"/>
                    <a:pt x="5209" y="2993"/>
                    <a:pt x="5209" y="2993"/>
                  </a:cubicBezTo>
                  <a:cubicBezTo>
                    <a:pt x="5205" y="3006"/>
                    <a:pt x="5205" y="3006"/>
                    <a:pt x="5205" y="3006"/>
                  </a:cubicBezTo>
                  <a:cubicBezTo>
                    <a:pt x="5123" y="2995"/>
                    <a:pt x="5123" y="2995"/>
                    <a:pt x="5123" y="2995"/>
                  </a:cubicBezTo>
                  <a:cubicBezTo>
                    <a:pt x="5126" y="2974"/>
                    <a:pt x="5126" y="2974"/>
                    <a:pt x="5126" y="2974"/>
                  </a:cubicBezTo>
                  <a:cubicBezTo>
                    <a:pt x="5083" y="2970"/>
                    <a:pt x="5083" y="2970"/>
                    <a:pt x="5083" y="2970"/>
                  </a:cubicBezTo>
                  <a:cubicBezTo>
                    <a:pt x="5092" y="2913"/>
                    <a:pt x="5092" y="2913"/>
                    <a:pt x="5092" y="2913"/>
                  </a:cubicBezTo>
                  <a:cubicBezTo>
                    <a:pt x="5052" y="2909"/>
                    <a:pt x="5052" y="2909"/>
                    <a:pt x="5052" y="2909"/>
                  </a:cubicBezTo>
                  <a:lnTo>
                    <a:pt x="5060" y="2848"/>
                  </a:lnTo>
                  <a:close/>
                  <a:moveTo>
                    <a:pt x="4495" y="20"/>
                  </a:moveTo>
                  <a:cubicBezTo>
                    <a:pt x="4347" y="9"/>
                    <a:pt x="4347" y="9"/>
                    <a:pt x="4347" y="9"/>
                  </a:cubicBezTo>
                  <a:cubicBezTo>
                    <a:pt x="4348" y="2"/>
                    <a:pt x="4348" y="2"/>
                    <a:pt x="4348" y="2"/>
                  </a:cubicBezTo>
                  <a:cubicBezTo>
                    <a:pt x="4348" y="0"/>
                    <a:pt x="4348" y="0"/>
                    <a:pt x="4348" y="0"/>
                  </a:cubicBezTo>
                  <a:cubicBezTo>
                    <a:pt x="4405" y="0"/>
                    <a:pt x="4405" y="0"/>
                    <a:pt x="4405" y="0"/>
                  </a:cubicBezTo>
                  <a:cubicBezTo>
                    <a:pt x="4483" y="6"/>
                    <a:pt x="4483" y="6"/>
                    <a:pt x="4483" y="6"/>
                  </a:cubicBezTo>
                  <a:cubicBezTo>
                    <a:pt x="4483" y="0"/>
                    <a:pt x="4483" y="0"/>
                    <a:pt x="4483" y="0"/>
                  </a:cubicBezTo>
                  <a:cubicBezTo>
                    <a:pt x="4496" y="0"/>
                    <a:pt x="4496" y="0"/>
                    <a:pt x="4496" y="0"/>
                  </a:cubicBezTo>
                  <a:lnTo>
                    <a:pt x="4495" y="20"/>
                  </a:lnTo>
                  <a:close/>
                  <a:moveTo>
                    <a:pt x="485" y="380"/>
                  </a:moveTo>
                  <a:cubicBezTo>
                    <a:pt x="384" y="676"/>
                    <a:pt x="384" y="676"/>
                    <a:pt x="384" y="676"/>
                  </a:cubicBezTo>
                  <a:cubicBezTo>
                    <a:pt x="1260" y="967"/>
                    <a:pt x="1260" y="967"/>
                    <a:pt x="1260" y="967"/>
                  </a:cubicBezTo>
                  <a:cubicBezTo>
                    <a:pt x="1342" y="718"/>
                    <a:pt x="1342" y="718"/>
                    <a:pt x="1342" y="718"/>
                  </a:cubicBezTo>
                  <a:cubicBezTo>
                    <a:pt x="1558" y="787"/>
                    <a:pt x="1558" y="787"/>
                    <a:pt x="1558" y="787"/>
                  </a:cubicBezTo>
                  <a:cubicBezTo>
                    <a:pt x="1594" y="678"/>
                    <a:pt x="1594" y="678"/>
                    <a:pt x="1594" y="678"/>
                  </a:cubicBezTo>
                  <a:cubicBezTo>
                    <a:pt x="1774" y="739"/>
                    <a:pt x="1774" y="739"/>
                    <a:pt x="1774" y="739"/>
                  </a:cubicBezTo>
                  <a:cubicBezTo>
                    <a:pt x="1866" y="453"/>
                    <a:pt x="1866" y="453"/>
                    <a:pt x="1866" y="453"/>
                  </a:cubicBezTo>
                  <a:cubicBezTo>
                    <a:pt x="1868" y="446"/>
                    <a:pt x="1868" y="446"/>
                    <a:pt x="1868" y="446"/>
                  </a:cubicBezTo>
                  <a:cubicBezTo>
                    <a:pt x="996" y="154"/>
                    <a:pt x="996" y="154"/>
                    <a:pt x="996" y="154"/>
                  </a:cubicBezTo>
                  <a:cubicBezTo>
                    <a:pt x="903" y="449"/>
                    <a:pt x="903" y="449"/>
                    <a:pt x="903" y="449"/>
                  </a:cubicBezTo>
                  <a:cubicBezTo>
                    <a:pt x="1129" y="525"/>
                    <a:pt x="1129" y="525"/>
                    <a:pt x="1129" y="525"/>
                  </a:cubicBezTo>
                  <a:cubicBezTo>
                    <a:pt x="1106" y="589"/>
                    <a:pt x="1106" y="589"/>
                    <a:pt x="1106" y="589"/>
                  </a:cubicBezTo>
                  <a:lnTo>
                    <a:pt x="485" y="380"/>
                  </a:lnTo>
                  <a:close/>
                  <a:moveTo>
                    <a:pt x="1148" y="516"/>
                  </a:moveTo>
                  <a:cubicBezTo>
                    <a:pt x="922" y="440"/>
                    <a:pt x="922" y="440"/>
                    <a:pt x="922" y="440"/>
                  </a:cubicBezTo>
                  <a:cubicBezTo>
                    <a:pt x="1005" y="173"/>
                    <a:pt x="1005" y="173"/>
                    <a:pt x="1005" y="173"/>
                  </a:cubicBezTo>
                  <a:cubicBezTo>
                    <a:pt x="1850" y="455"/>
                    <a:pt x="1850" y="455"/>
                    <a:pt x="1850" y="455"/>
                  </a:cubicBezTo>
                  <a:cubicBezTo>
                    <a:pt x="1764" y="720"/>
                    <a:pt x="1764" y="720"/>
                    <a:pt x="1764" y="720"/>
                  </a:cubicBezTo>
                  <a:cubicBezTo>
                    <a:pt x="1585" y="660"/>
                    <a:pt x="1585" y="660"/>
                    <a:pt x="1585" y="660"/>
                  </a:cubicBezTo>
                  <a:cubicBezTo>
                    <a:pt x="1549" y="769"/>
                    <a:pt x="1549" y="769"/>
                    <a:pt x="1549" y="769"/>
                  </a:cubicBezTo>
                  <a:cubicBezTo>
                    <a:pt x="1332" y="699"/>
                    <a:pt x="1332" y="699"/>
                    <a:pt x="1332" y="699"/>
                  </a:cubicBezTo>
                  <a:cubicBezTo>
                    <a:pt x="1251" y="948"/>
                    <a:pt x="1251" y="948"/>
                    <a:pt x="1251" y="948"/>
                  </a:cubicBezTo>
                  <a:cubicBezTo>
                    <a:pt x="403" y="667"/>
                    <a:pt x="403" y="667"/>
                    <a:pt x="403" y="667"/>
                  </a:cubicBezTo>
                  <a:cubicBezTo>
                    <a:pt x="495" y="399"/>
                    <a:pt x="495" y="399"/>
                    <a:pt x="495" y="399"/>
                  </a:cubicBezTo>
                  <a:cubicBezTo>
                    <a:pt x="1115" y="608"/>
                    <a:pt x="1115" y="608"/>
                    <a:pt x="1115" y="608"/>
                  </a:cubicBezTo>
                  <a:lnTo>
                    <a:pt x="1148" y="516"/>
                  </a:lnTo>
                  <a:close/>
                  <a:moveTo>
                    <a:pt x="3004" y="922"/>
                  </a:moveTo>
                  <a:cubicBezTo>
                    <a:pt x="3142" y="921"/>
                    <a:pt x="3142" y="921"/>
                    <a:pt x="3142" y="921"/>
                  </a:cubicBezTo>
                  <a:cubicBezTo>
                    <a:pt x="3142" y="827"/>
                    <a:pt x="3142" y="827"/>
                    <a:pt x="3142" y="827"/>
                  </a:cubicBezTo>
                  <a:cubicBezTo>
                    <a:pt x="3142" y="819"/>
                    <a:pt x="3142" y="819"/>
                    <a:pt x="3142" y="819"/>
                  </a:cubicBezTo>
                  <a:cubicBezTo>
                    <a:pt x="2989" y="817"/>
                    <a:pt x="2989" y="817"/>
                    <a:pt x="2989" y="817"/>
                  </a:cubicBezTo>
                  <a:cubicBezTo>
                    <a:pt x="2989" y="761"/>
                    <a:pt x="2989" y="761"/>
                    <a:pt x="2989" y="761"/>
                  </a:cubicBezTo>
                  <a:cubicBezTo>
                    <a:pt x="2841" y="763"/>
                    <a:pt x="2841" y="763"/>
                    <a:pt x="2841" y="763"/>
                  </a:cubicBezTo>
                  <a:cubicBezTo>
                    <a:pt x="2840" y="770"/>
                    <a:pt x="2840" y="770"/>
                    <a:pt x="2840" y="770"/>
                  </a:cubicBezTo>
                  <a:cubicBezTo>
                    <a:pt x="2839" y="784"/>
                    <a:pt x="2839" y="784"/>
                    <a:pt x="2839" y="784"/>
                  </a:cubicBezTo>
                  <a:cubicBezTo>
                    <a:pt x="2487" y="784"/>
                    <a:pt x="2487" y="784"/>
                    <a:pt x="2487" y="784"/>
                  </a:cubicBezTo>
                  <a:cubicBezTo>
                    <a:pt x="2486" y="1056"/>
                    <a:pt x="2486" y="1056"/>
                    <a:pt x="2486" y="1056"/>
                  </a:cubicBezTo>
                  <a:cubicBezTo>
                    <a:pt x="2999" y="975"/>
                    <a:pt x="2999" y="975"/>
                    <a:pt x="2999" y="975"/>
                  </a:cubicBezTo>
                  <a:lnTo>
                    <a:pt x="3004" y="922"/>
                  </a:lnTo>
                  <a:close/>
                  <a:moveTo>
                    <a:pt x="2986" y="962"/>
                  </a:moveTo>
                  <a:cubicBezTo>
                    <a:pt x="2501" y="1038"/>
                    <a:pt x="2501" y="1038"/>
                    <a:pt x="2501" y="1038"/>
                  </a:cubicBezTo>
                  <a:cubicBezTo>
                    <a:pt x="2502" y="798"/>
                    <a:pt x="2502" y="798"/>
                    <a:pt x="2502" y="798"/>
                  </a:cubicBezTo>
                  <a:cubicBezTo>
                    <a:pt x="2853" y="799"/>
                    <a:pt x="2853" y="799"/>
                    <a:pt x="2853" y="799"/>
                  </a:cubicBezTo>
                  <a:cubicBezTo>
                    <a:pt x="2853" y="792"/>
                    <a:pt x="2853" y="792"/>
                    <a:pt x="2853" y="792"/>
                  </a:cubicBezTo>
                  <a:cubicBezTo>
                    <a:pt x="2854" y="778"/>
                    <a:pt x="2854" y="778"/>
                    <a:pt x="2854" y="778"/>
                  </a:cubicBezTo>
                  <a:cubicBezTo>
                    <a:pt x="2974" y="776"/>
                    <a:pt x="2974" y="776"/>
                    <a:pt x="2974" y="776"/>
                  </a:cubicBezTo>
                  <a:cubicBezTo>
                    <a:pt x="2974" y="832"/>
                    <a:pt x="2974" y="832"/>
                    <a:pt x="2974" y="832"/>
                  </a:cubicBezTo>
                  <a:cubicBezTo>
                    <a:pt x="3127" y="834"/>
                    <a:pt x="3127" y="834"/>
                    <a:pt x="3127" y="834"/>
                  </a:cubicBezTo>
                  <a:cubicBezTo>
                    <a:pt x="3128" y="906"/>
                    <a:pt x="3128" y="906"/>
                    <a:pt x="3128" y="906"/>
                  </a:cubicBezTo>
                  <a:cubicBezTo>
                    <a:pt x="2991" y="908"/>
                    <a:pt x="2991" y="908"/>
                    <a:pt x="2991" y="908"/>
                  </a:cubicBezTo>
                  <a:lnTo>
                    <a:pt x="2986" y="962"/>
                  </a:lnTo>
                  <a:close/>
                  <a:moveTo>
                    <a:pt x="18004" y="1864"/>
                  </a:moveTo>
                  <a:cubicBezTo>
                    <a:pt x="17944" y="1913"/>
                    <a:pt x="17882" y="1964"/>
                    <a:pt x="17823" y="2012"/>
                  </a:cubicBezTo>
                  <a:cubicBezTo>
                    <a:pt x="17654" y="2149"/>
                    <a:pt x="17502" y="2272"/>
                    <a:pt x="17430" y="2329"/>
                  </a:cubicBezTo>
                  <a:cubicBezTo>
                    <a:pt x="17380" y="2277"/>
                    <a:pt x="17340" y="2230"/>
                    <a:pt x="17306" y="2195"/>
                  </a:cubicBezTo>
                  <a:cubicBezTo>
                    <a:pt x="17288" y="2173"/>
                    <a:pt x="16823" y="1638"/>
                    <a:pt x="16201" y="1271"/>
                  </a:cubicBezTo>
                  <a:cubicBezTo>
                    <a:pt x="16011" y="1158"/>
                    <a:pt x="15772" y="1016"/>
                    <a:pt x="15532" y="888"/>
                  </a:cubicBezTo>
                  <a:cubicBezTo>
                    <a:pt x="15407" y="822"/>
                    <a:pt x="15282" y="757"/>
                    <a:pt x="15163" y="696"/>
                  </a:cubicBezTo>
                  <a:cubicBezTo>
                    <a:pt x="15178" y="694"/>
                    <a:pt x="15178" y="694"/>
                    <a:pt x="15178" y="694"/>
                  </a:cubicBezTo>
                  <a:cubicBezTo>
                    <a:pt x="15174" y="672"/>
                    <a:pt x="15160" y="617"/>
                    <a:pt x="15138" y="533"/>
                  </a:cubicBezTo>
                  <a:cubicBezTo>
                    <a:pt x="15116" y="450"/>
                    <a:pt x="15086" y="342"/>
                    <a:pt x="15054" y="223"/>
                  </a:cubicBezTo>
                  <a:cubicBezTo>
                    <a:pt x="15034" y="152"/>
                    <a:pt x="15013" y="76"/>
                    <a:pt x="14992" y="0"/>
                  </a:cubicBezTo>
                  <a:cubicBezTo>
                    <a:pt x="14924" y="0"/>
                    <a:pt x="14924" y="0"/>
                    <a:pt x="14924" y="0"/>
                  </a:cubicBezTo>
                  <a:cubicBezTo>
                    <a:pt x="14981" y="207"/>
                    <a:pt x="15038" y="413"/>
                    <a:pt x="15075" y="550"/>
                  </a:cubicBezTo>
                  <a:cubicBezTo>
                    <a:pt x="15088" y="598"/>
                    <a:pt x="15098" y="639"/>
                    <a:pt x="15105" y="666"/>
                  </a:cubicBezTo>
                  <a:cubicBezTo>
                    <a:pt x="14874" y="549"/>
                    <a:pt x="14672" y="449"/>
                    <a:pt x="14552" y="390"/>
                  </a:cubicBezTo>
                  <a:cubicBezTo>
                    <a:pt x="14494" y="361"/>
                    <a:pt x="14454" y="341"/>
                    <a:pt x="14442" y="335"/>
                  </a:cubicBezTo>
                  <a:cubicBezTo>
                    <a:pt x="14435" y="329"/>
                    <a:pt x="14427" y="328"/>
                    <a:pt x="14423" y="327"/>
                  </a:cubicBezTo>
                  <a:cubicBezTo>
                    <a:pt x="13986" y="280"/>
                    <a:pt x="13986" y="280"/>
                    <a:pt x="13986" y="280"/>
                  </a:cubicBezTo>
                  <a:cubicBezTo>
                    <a:pt x="13984" y="254"/>
                    <a:pt x="13974" y="150"/>
                    <a:pt x="13959" y="0"/>
                  </a:cubicBezTo>
                  <a:cubicBezTo>
                    <a:pt x="13806" y="0"/>
                    <a:pt x="13806" y="0"/>
                    <a:pt x="13806" y="0"/>
                  </a:cubicBezTo>
                  <a:cubicBezTo>
                    <a:pt x="13818" y="121"/>
                    <a:pt x="13827" y="215"/>
                    <a:pt x="13831" y="263"/>
                  </a:cubicBezTo>
                  <a:cubicBezTo>
                    <a:pt x="13379" y="214"/>
                    <a:pt x="13379" y="214"/>
                    <a:pt x="13379" y="214"/>
                  </a:cubicBezTo>
                  <a:cubicBezTo>
                    <a:pt x="12998" y="0"/>
                    <a:pt x="12998" y="0"/>
                    <a:pt x="12998" y="0"/>
                  </a:cubicBezTo>
                  <a:cubicBezTo>
                    <a:pt x="12863" y="0"/>
                    <a:pt x="12863" y="0"/>
                    <a:pt x="12863" y="0"/>
                  </a:cubicBezTo>
                  <a:cubicBezTo>
                    <a:pt x="13359" y="278"/>
                    <a:pt x="13359" y="278"/>
                    <a:pt x="13359" y="278"/>
                  </a:cubicBezTo>
                  <a:cubicBezTo>
                    <a:pt x="13818" y="328"/>
                    <a:pt x="13818" y="328"/>
                    <a:pt x="13818" y="328"/>
                  </a:cubicBezTo>
                  <a:cubicBezTo>
                    <a:pt x="13134" y="2295"/>
                    <a:pt x="13134" y="2295"/>
                    <a:pt x="13134" y="2295"/>
                  </a:cubicBezTo>
                  <a:cubicBezTo>
                    <a:pt x="12166" y="1912"/>
                    <a:pt x="12166" y="1912"/>
                    <a:pt x="12166" y="1912"/>
                  </a:cubicBezTo>
                  <a:cubicBezTo>
                    <a:pt x="11973" y="640"/>
                    <a:pt x="11973" y="640"/>
                    <a:pt x="11973" y="640"/>
                  </a:cubicBezTo>
                  <a:cubicBezTo>
                    <a:pt x="11843" y="36"/>
                    <a:pt x="11843" y="36"/>
                    <a:pt x="11843" y="36"/>
                  </a:cubicBezTo>
                  <a:cubicBezTo>
                    <a:pt x="11830" y="29"/>
                    <a:pt x="11830" y="29"/>
                    <a:pt x="11830" y="29"/>
                  </a:cubicBezTo>
                  <a:cubicBezTo>
                    <a:pt x="11830" y="29"/>
                    <a:pt x="11830" y="29"/>
                    <a:pt x="11830" y="29"/>
                  </a:cubicBezTo>
                  <a:cubicBezTo>
                    <a:pt x="11830" y="29"/>
                    <a:pt x="11829" y="29"/>
                    <a:pt x="11829" y="29"/>
                  </a:cubicBezTo>
                  <a:cubicBezTo>
                    <a:pt x="11849" y="0"/>
                    <a:pt x="11849" y="0"/>
                    <a:pt x="11849" y="0"/>
                  </a:cubicBezTo>
                  <a:cubicBezTo>
                    <a:pt x="11716" y="0"/>
                    <a:pt x="11716" y="0"/>
                    <a:pt x="11716" y="0"/>
                  </a:cubicBezTo>
                  <a:cubicBezTo>
                    <a:pt x="11748" y="44"/>
                    <a:pt x="11771" y="66"/>
                    <a:pt x="11784" y="77"/>
                  </a:cubicBezTo>
                  <a:cubicBezTo>
                    <a:pt x="11899" y="610"/>
                    <a:pt x="11899" y="610"/>
                    <a:pt x="11899" y="610"/>
                  </a:cubicBezTo>
                  <a:cubicBezTo>
                    <a:pt x="11002" y="771"/>
                    <a:pt x="11002" y="771"/>
                    <a:pt x="11002" y="771"/>
                  </a:cubicBezTo>
                  <a:cubicBezTo>
                    <a:pt x="10980" y="642"/>
                    <a:pt x="10980" y="642"/>
                    <a:pt x="10980" y="642"/>
                  </a:cubicBezTo>
                  <a:cubicBezTo>
                    <a:pt x="11209" y="603"/>
                    <a:pt x="11209" y="603"/>
                    <a:pt x="11209" y="603"/>
                  </a:cubicBezTo>
                  <a:cubicBezTo>
                    <a:pt x="11201" y="553"/>
                    <a:pt x="11201" y="553"/>
                    <a:pt x="11201" y="553"/>
                  </a:cubicBezTo>
                  <a:cubicBezTo>
                    <a:pt x="11295" y="537"/>
                    <a:pt x="11295" y="537"/>
                    <a:pt x="11295" y="537"/>
                  </a:cubicBezTo>
                  <a:cubicBezTo>
                    <a:pt x="11273" y="406"/>
                    <a:pt x="11273" y="406"/>
                    <a:pt x="11273" y="406"/>
                  </a:cubicBezTo>
                  <a:cubicBezTo>
                    <a:pt x="11178" y="422"/>
                    <a:pt x="11178" y="422"/>
                    <a:pt x="11178" y="422"/>
                  </a:cubicBezTo>
                  <a:cubicBezTo>
                    <a:pt x="11149" y="254"/>
                    <a:pt x="11149" y="254"/>
                    <a:pt x="11149" y="254"/>
                  </a:cubicBezTo>
                  <a:cubicBezTo>
                    <a:pt x="11108" y="261"/>
                    <a:pt x="11108" y="261"/>
                    <a:pt x="11108" y="261"/>
                  </a:cubicBezTo>
                  <a:cubicBezTo>
                    <a:pt x="11090" y="170"/>
                    <a:pt x="11090" y="170"/>
                    <a:pt x="11090" y="170"/>
                  </a:cubicBezTo>
                  <a:cubicBezTo>
                    <a:pt x="11089" y="163"/>
                    <a:pt x="11089" y="163"/>
                    <a:pt x="11089" y="163"/>
                  </a:cubicBezTo>
                  <a:cubicBezTo>
                    <a:pt x="11005" y="177"/>
                    <a:pt x="11005" y="177"/>
                    <a:pt x="11005" y="177"/>
                  </a:cubicBezTo>
                  <a:cubicBezTo>
                    <a:pt x="11022" y="275"/>
                    <a:pt x="11022" y="275"/>
                    <a:pt x="11022" y="275"/>
                  </a:cubicBezTo>
                  <a:cubicBezTo>
                    <a:pt x="10872" y="300"/>
                    <a:pt x="10872" y="300"/>
                    <a:pt x="10872" y="300"/>
                  </a:cubicBezTo>
                  <a:cubicBezTo>
                    <a:pt x="10880" y="348"/>
                    <a:pt x="10880" y="348"/>
                    <a:pt x="10880" y="348"/>
                  </a:cubicBezTo>
                  <a:cubicBezTo>
                    <a:pt x="10721" y="375"/>
                    <a:pt x="10721" y="375"/>
                    <a:pt x="10721" y="375"/>
                  </a:cubicBezTo>
                  <a:cubicBezTo>
                    <a:pt x="10740" y="484"/>
                    <a:pt x="10740" y="484"/>
                    <a:pt x="10740" y="484"/>
                  </a:cubicBezTo>
                  <a:cubicBezTo>
                    <a:pt x="10895" y="458"/>
                    <a:pt x="10895" y="458"/>
                    <a:pt x="10895" y="458"/>
                  </a:cubicBezTo>
                  <a:cubicBezTo>
                    <a:pt x="10915" y="574"/>
                    <a:pt x="10915" y="574"/>
                    <a:pt x="10915" y="574"/>
                  </a:cubicBezTo>
                  <a:cubicBezTo>
                    <a:pt x="10800" y="594"/>
                    <a:pt x="10800" y="594"/>
                    <a:pt x="10800" y="594"/>
                  </a:cubicBezTo>
                  <a:cubicBezTo>
                    <a:pt x="10835" y="801"/>
                    <a:pt x="10835" y="801"/>
                    <a:pt x="10835" y="801"/>
                  </a:cubicBezTo>
                  <a:cubicBezTo>
                    <a:pt x="10313" y="894"/>
                    <a:pt x="10313" y="894"/>
                    <a:pt x="10313" y="894"/>
                  </a:cubicBezTo>
                  <a:cubicBezTo>
                    <a:pt x="10311" y="878"/>
                    <a:pt x="10309" y="856"/>
                    <a:pt x="10307" y="831"/>
                  </a:cubicBezTo>
                  <a:cubicBezTo>
                    <a:pt x="10301" y="773"/>
                    <a:pt x="10294" y="697"/>
                    <a:pt x="10286" y="620"/>
                  </a:cubicBezTo>
                  <a:cubicBezTo>
                    <a:pt x="10274" y="498"/>
                    <a:pt x="10262" y="376"/>
                    <a:pt x="10257" y="332"/>
                  </a:cubicBezTo>
                  <a:cubicBezTo>
                    <a:pt x="10296" y="298"/>
                    <a:pt x="10391" y="195"/>
                    <a:pt x="10392" y="14"/>
                  </a:cubicBezTo>
                  <a:cubicBezTo>
                    <a:pt x="10392" y="9"/>
                    <a:pt x="10391" y="5"/>
                    <a:pt x="10391" y="0"/>
                  </a:cubicBezTo>
                  <a:cubicBezTo>
                    <a:pt x="10325" y="0"/>
                    <a:pt x="10325" y="0"/>
                    <a:pt x="10325" y="0"/>
                  </a:cubicBezTo>
                  <a:cubicBezTo>
                    <a:pt x="10325" y="5"/>
                    <a:pt x="10326" y="10"/>
                    <a:pt x="10326" y="14"/>
                  </a:cubicBezTo>
                  <a:cubicBezTo>
                    <a:pt x="10326" y="174"/>
                    <a:pt x="10238" y="262"/>
                    <a:pt x="10212" y="285"/>
                  </a:cubicBezTo>
                  <a:cubicBezTo>
                    <a:pt x="9251" y="271"/>
                    <a:pt x="9251" y="271"/>
                    <a:pt x="9251" y="271"/>
                  </a:cubicBezTo>
                  <a:cubicBezTo>
                    <a:pt x="9235" y="0"/>
                    <a:pt x="9235" y="0"/>
                    <a:pt x="9235" y="0"/>
                  </a:cubicBezTo>
                  <a:cubicBezTo>
                    <a:pt x="9169" y="0"/>
                    <a:pt x="9169" y="0"/>
                    <a:pt x="9169" y="0"/>
                  </a:cubicBezTo>
                  <a:cubicBezTo>
                    <a:pt x="9185" y="270"/>
                    <a:pt x="9185" y="270"/>
                    <a:pt x="9185" y="270"/>
                  </a:cubicBezTo>
                  <a:cubicBezTo>
                    <a:pt x="9160" y="270"/>
                    <a:pt x="9160" y="270"/>
                    <a:pt x="9160" y="270"/>
                  </a:cubicBezTo>
                  <a:cubicBezTo>
                    <a:pt x="9150" y="285"/>
                    <a:pt x="9150" y="285"/>
                    <a:pt x="9150" y="285"/>
                  </a:cubicBezTo>
                  <a:cubicBezTo>
                    <a:pt x="9150" y="285"/>
                    <a:pt x="9102" y="360"/>
                    <a:pt x="9045" y="446"/>
                  </a:cubicBezTo>
                  <a:cubicBezTo>
                    <a:pt x="8989" y="533"/>
                    <a:pt x="8924" y="631"/>
                    <a:pt x="8891" y="677"/>
                  </a:cubicBezTo>
                  <a:cubicBezTo>
                    <a:pt x="8891" y="677"/>
                    <a:pt x="8891" y="678"/>
                    <a:pt x="8890" y="678"/>
                  </a:cubicBezTo>
                  <a:cubicBezTo>
                    <a:pt x="7749" y="0"/>
                    <a:pt x="7749" y="0"/>
                    <a:pt x="7749" y="0"/>
                  </a:cubicBezTo>
                  <a:cubicBezTo>
                    <a:pt x="7595" y="0"/>
                    <a:pt x="7595" y="0"/>
                    <a:pt x="7595" y="0"/>
                  </a:cubicBezTo>
                  <a:cubicBezTo>
                    <a:pt x="7528" y="121"/>
                    <a:pt x="7528" y="121"/>
                    <a:pt x="7528" y="121"/>
                  </a:cubicBezTo>
                  <a:cubicBezTo>
                    <a:pt x="7528" y="123"/>
                    <a:pt x="7528" y="123"/>
                    <a:pt x="7528" y="123"/>
                  </a:cubicBezTo>
                  <a:cubicBezTo>
                    <a:pt x="7526" y="126"/>
                    <a:pt x="7503" y="181"/>
                    <a:pt x="7503" y="275"/>
                  </a:cubicBezTo>
                  <a:cubicBezTo>
                    <a:pt x="7503" y="343"/>
                    <a:pt x="7515" y="430"/>
                    <a:pt x="7556" y="532"/>
                  </a:cubicBezTo>
                  <a:cubicBezTo>
                    <a:pt x="7642" y="746"/>
                    <a:pt x="7752" y="965"/>
                    <a:pt x="7771" y="1002"/>
                  </a:cubicBezTo>
                  <a:cubicBezTo>
                    <a:pt x="7847" y="1703"/>
                    <a:pt x="7847" y="1703"/>
                    <a:pt x="7847" y="1703"/>
                  </a:cubicBezTo>
                  <a:cubicBezTo>
                    <a:pt x="7759" y="1945"/>
                    <a:pt x="7759" y="1945"/>
                    <a:pt x="7759" y="1945"/>
                  </a:cubicBezTo>
                  <a:cubicBezTo>
                    <a:pt x="7722" y="1943"/>
                    <a:pt x="7694" y="1942"/>
                    <a:pt x="7684" y="1941"/>
                  </a:cubicBezTo>
                  <a:cubicBezTo>
                    <a:pt x="7683" y="1941"/>
                    <a:pt x="7682" y="1941"/>
                    <a:pt x="7681" y="1941"/>
                  </a:cubicBezTo>
                  <a:cubicBezTo>
                    <a:pt x="7681" y="1941"/>
                    <a:pt x="7557" y="1936"/>
                    <a:pt x="7373" y="1930"/>
                  </a:cubicBezTo>
                  <a:cubicBezTo>
                    <a:pt x="7331" y="1928"/>
                    <a:pt x="7286" y="1927"/>
                    <a:pt x="7239" y="1925"/>
                  </a:cubicBezTo>
                  <a:cubicBezTo>
                    <a:pt x="6718" y="439"/>
                    <a:pt x="6718" y="439"/>
                    <a:pt x="6718" y="439"/>
                  </a:cubicBezTo>
                  <a:cubicBezTo>
                    <a:pt x="6725" y="395"/>
                    <a:pt x="6759" y="187"/>
                    <a:pt x="6790" y="0"/>
                  </a:cubicBezTo>
                  <a:cubicBezTo>
                    <a:pt x="6723" y="0"/>
                    <a:pt x="6723" y="0"/>
                    <a:pt x="6723" y="0"/>
                  </a:cubicBezTo>
                  <a:cubicBezTo>
                    <a:pt x="6720" y="20"/>
                    <a:pt x="6717" y="39"/>
                    <a:pt x="6714" y="59"/>
                  </a:cubicBezTo>
                  <a:cubicBezTo>
                    <a:pt x="6689" y="209"/>
                    <a:pt x="6664" y="359"/>
                    <a:pt x="6655" y="414"/>
                  </a:cubicBezTo>
                  <a:cubicBezTo>
                    <a:pt x="6562" y="433"/>
                    <a:pt x="6481" y="441"/>
                    <a:pt x="6411" y="441"/>
                  </a:cubicBezTo>
                  <a:cubicBezTo>
                    <a:pt x="6259" y="441"/>
                    <a:pt x="6151" y="408"/>
                    <a:pt x="6051" y="385"/>
                  </a:cubicBezTo>
                  <a:cubicBezTo>
                    <a:pt x="5979" y="369"/>
                    <a:pt x="5736" y="306"/>
                    <a:pt x="5512" y="247"/>
                  </a:cubicBezTo>
                  <a:cubicBezTo>
                    <a:pt x="5316" y="195"/>
                    <a:pt x="5135" y="147"/>
                    <a:pt x="5091" y="135"/>
                  </a:cubicBezTo>
                  <a:cubicBezTo>
                    <a:pt x="5092" y="92"/>
                    <a:pt x="5093" y="47"/>
                    <a:pt x="5094" y="0"/>
                  </a:cubicBezTo>
                  <a:cubicBezTo>
                    <a:pt x="5029" y="0"/>
                    <a:pt x="5029" y="0"/>
                    <a:pt x="5029" y="0"/>
                  </a:cubicBezTo>
                  <a:cubicBezTo>
                    <a:pt x="5027" y="79"/>
                    <a:pt x="5025" y="154"/>
                    <a:pt x="5023" y="219"/>
                  </a:cubicBezTo>
                  <a:cubicBezTo>
                    <a:pt x="5020" y="325"/>
                    <a:pt x="5017" y="406"/>
                    <a:pt x="5016" y="440"/>
                  </a:cubicBezTo>
                  <a:cubicBezTo>
                    <a:pt x="4598" y="162"/>
                    <a:pt x="4598" y="162"/>
                    <a:pt x="4598" y="162"/>
                  </a:cubicBezTo>
                  <a:cubicBezTo>
                    <a:pt x="4591" y="174"/>
                    <a:pt x="4591" y="174"/>
                    <a:pt x="4591" y="174"/>
                  </a:cubicBezTo>
                  <a:cubicBezTo>
                    <a:pt x="5016" y="456"/>
                    <a:pt x="5016" y="456"/>
                    <a:pt x="5016" y="456"/>
                  </a:cubicBezTo>
                  <a:cubicBezTo>
                    <a:pt x="5016" y="456"/>
                    <a:pt x="5016" y="457"/>
                    <a:pt x="5016" y="457"/>
                  </a:cubicBezTo>
                  <a:cubicBezTo>
                    <a:pt x="5015" y="459"/>
                    <a:pt x="5015" y="459"/>
                    <a:pt x="5015" y="459"/>
                  </a:cubicBezTo>
                  <a:cubicBezTo>
                    <a:pt x="5080" y="1026"/>
                    <a:pt x="5080" y="1026"/>
                    <a:pt x="5080" y="1026"/>
                  </a:cubicBezTo>
                  <a:cubicBezTo>
                    <a:pt x="4608" y="716"/>
                    <a:pt x="4608" y="716"/>
                    <a:pt x="4608" y="716"/>
                  </a:cubicBezTo>
                  <a:cubicBezTo>
                    <a:pt x="4354" y="244"/>
                    <a:pt x="4354" y="244"/>
                    <a:pt x="4354" y="244"/>
                  </a:cubicBezTo>
                  <a:cubicBezTo>
                    <a:pt x="4381" y="237"/>
                    <a:pt x="4419" y="225"/>
                    <a:pt x="4457" y="213"/>
                  </a:cubicBezTo>
                  <a:cubicBezTo>
                    <a:pt x="4523" y="193"/>
                    <a:pt x="4588" y="172"/>
                    <a:pt x="4588" y="172"/>
                  </a:cubicBezTo>
                  <a:cubicBezTo>
                    <a:pt x="4592" y="171"/>
                    <a:pt x="4592" y="171"/>
                    <a:pt x="4592" y="171"/>
                  </a:cubicBezTo>
                  <a:cubicBezTo>
                    <a:pt x="4646" y="0"/>
                    <a:pt x="4646" y="0"/>
                    <a:pt x="4646" y="0"/>
                  </a:cubicBezTo>
                  <a:cubicBezTo>
                    <a:pt x="4632" y="0"/>
                    <a:pt x="4632" y="0"/>
                    <a:pt x="4632" y="0"/>
                  </a:cubicBezTo>
                  <a:cubicBezTo>
                    <a:pt x="4581" y="160"/>
                    <a:pt x="4581" y="160"/>
                    <a:pt x="4581" y="160"/>
                  </a:cubicBezTo>
                  <a:cubicBezTo>
                    <a:pt x="4566" y="165"/>
                    <a:pt x="4510" y="182"/>
                    <a:pt x="4453" y="200"/>
                  </a:cubicBezTo>
                  <a:cubicBezTo>
                    <a:pt x="4414" y="212"/>
                    <a:pt x="4374" y="224"/>
                    <a:pt x="4347" y="232"/>
                  </a:cubicBezTo>
                  <a:cubicBezTo>
                    <a:pt x="4294" y="132"/>
                    <a:pt x="4294" y="132"/>
                    <a:pt x="4294" y="132"/>
                  </a:cubicBezTo>
                  <a:cubicBezTo>
                    <a:pt x="4307" y="0"/>
                    <a:pt x="4307" y="0"/>
                    <a:pt x="4307" y="0"/>
                  </a:cubicBezTo>
                  <a:cubicBezTo>
                    <a:pt x="4262" y="0"/>
                    <a:pt x="4262" y="0"/>
                    <a:pt x="4262" y="0"/>
                  </a:cubicBezTo>
                  <a:cubicBezTo>
                    <a:pt x="4248" y="142"/>
                    <a:pt x="4248" y="142"/>
                    <a:pt x="4248" y="142"/>
                  </a:cubicBezTo>
                  <a:cubicBezTo>
                    <a:pt x="4390" y="407"/>
                    <a:pt x="4390" y="407"/>
                    <a:pt x="4390" y="407"/>
                  </a:cubicBezTo>
                  <a:cubicBezTo>
                    <a:pt x="4374" y="417"/>
                    <a:pt x="4346" y="435"/>
                    <a:pt x="4317" y="453"/>
                  </a:cubicBezTo>
                  <a:cubicBezTo>
                    <a:pt x="4278" y="479"/>
                    <a:pt x="4239" y="504"/>
                    <a:pt x="4225" y="515"/>
                  </a:cubicBezTo>
                  <a:cubicBezTo>
                    <a:pt x="4224" y="514"/>
                    <a:pt x="4223" y="514"/>
                    <a:pt x="4222" y="513"/>
                  </a:cubicBezTo>
                  <a:cubicBezTo>
                    <a:pt x="4217" y="509"/>
                    <a:pt x="4210" y="504"/>
                    <a:pt x="4201" y="498"/>
                  </a:cubicBezTo>
                  <a:cubicBezTo>
                    <a:pt x="4182" y="485"/>
                    <a:pt x="4156" y="467"/>
                    <a:pt x="4124" y="446"/>
                  </a:cubicBezTo>
                  <a:cubicBezTo>
                    <a:pt x="4061" y="403"/>
                    <a:pt x="3977" y="346"/>
                    <a:pt x="3891" y="289"/>
                  </a:cubicBezTo>
                  <a:cubicBezTo>
                    <a:pt x="3859" y="267"/>
                    <a:pt x="3826" y="245"/>
                    <a:pt x="3795" y="224"/>
                  </a:cubicBezTo>
                  <a:cubicBezTo>
                    <a:pt x="3894" y="0"/>
                    <a:pt x="3894" y="0"/>
                    <a:pt x="3894" y="0"/>
                  </a:cubicBezTo>
                  <a:cubicBezTo>
                    <a:pt x="3878" y="0"/>
                    <a:pt x="3878" y="0"/>
                    <a:pt x="3878" y="0"/>
                  </a:cubicBezTo>
                  <a:cubicBezTo>
                    <a:pt x="3783" y="216"/>
                    <a:pt x="3783" y="216"/>
                    <a:pt x="3783" y="216"/>
                  </a:cubicBezTo>
                  <a:cubicBezTo>
                    <a:pt x="3663" y="135"/>
                    <a:pt x="3559" y="66"/>
                    <a:pt x="3537" y="50"/>
                  </a:cubicBezTo>
                  <a:cubicBezTo>
                    <a:pt x="3537" y="49"/>
                    <a:pt x="3537" y="48"/>
                    <a:pt x="3538" y="46"/>
                  </a:cubicBezTo>
                  <a:cubicBezTo>
                    <a:pt x="3538" y="40"/>
                    <a:pt x="3539" y="33"/>
                    <a:pt x="3539" y="24"/>
                  </a:cubicBezTo>
                  <a:cubicBezTo>
                    <a:pt x="3540" y="17"/>
                    <a:pt x="3540" y="9"/>
                    <a:pt x="3540" y="0"/>
                  </a:cubicBezTo>
                  <a:cubicBezTo>
                    <a:pt x="3526" y="0"/>
                    <a:pt x="3526" y="0"/>
                    <a:pt x="3526" y="0"/>
                  </a:cubicBezTo>
                  <a:cubicBezTo>
                    <a:pt x="3525" y="24"/>
                    <a:pt x="3524" y="43"/>
                    <a:pt x="3523" y="49"/>
                  </a:cubicBezTo>
                  <a:cubicBezTo>
                    <a:pt x="3522" y="50"/>
                    <a:pt x="3522" y="51"/>
                    <a:pt x="3522" y="52"/>
                  </a:cubicBezTo>
                  <a:cubicBezTo>
                    <a:pt x="3520" y="60"/>
                    <a:pt x="3520" y="60"/>
                    <a:pt x="3520" y="60"/>
                  </a:cubicBezTo>
                  <a:cubicBezTo>
                    <a:pt x="3526" y="60"/>
                    <a:pt x="3526" y="60"/>
                    <a:pt x="3526" y="60"/>
                  </a:cubicBezTo>
                  <a:cubicBezTo>
                    <a:pt x="3526" y="60"/>
                    <a:pt x="3526" y="60"/>
                    <a:pt x="3526" y="60"/>
                  </a:cubicBezTo>
                  <a:cubicBezTo>
                    <a:pt x="3528" y="61"/>
                    <a:pt x="3530" y="62"/>
                    <a:pt x="3532" y="64"/>
                  </a:cubicBezTo>
                  <a:cubicBezTo>
                    <a:pt x="3537" y="67"/>
                    <a:pt x="3544" y="72"/>
                    <a:pt x="3553" y="78"/>
                  </a:cubicBezTo>
                  <a:cubicBezTo>
                    <a:pt x="3572" y="91"/>
                    <a:pt x="3598" y="108"/>
                    <a:pt x="3629" y="130"/>
                  </a:cubicBezTo>
                  <a:cubicBezTo>
                    <a:pt x="3692" y="172"/>
                    <a:pt x="3776" y="228"/>
                    <a:pt x="3861" y="285"/>
                  </a:cubicBezTo>
                  <a:cubicBezTo>
                    <a:pt x="4029" y="398"/>
                    <a:pt x="4202" y="514"/>
                    <a:pt x="4220" y="528"/>
                  </a:cubicBezTo>
                  <a:cubicBezTo>
                    <a:pt x="4221" y="531"/>
                    <a:pt x="4224" y="531"/>
                    <a:pt x="4226" y="531"/>
                  </a:cubicBezTo>
                  <a:cubicBezTo>
                    <a:pt x="4226" y="531"/>
                    <a:pt x="4230" y="532"/>
                    <a:pt x="4232" y="528"/>
                  </a:cubicBezTo>
                  <a:cubicBezTo>
                    <a:pt x="4232" y="528"/>
                    <a:pt x="4232" y="528"/>
                    <a:pt x="4232" y="527"/>
                  </a:cubicBezTo>
                  <a:cubicBezTo>
                    <a:pt x="4233" y="527"/>
                    <a:pt x="4235" y="525"/>
                    <a:pt x="4237" y="523"/>
                  </a:cubicBezTo>
                  <a:cubicBezTo>
                    <a:pt x="4242" y="520"/>
                    <a:pt x="4249" y="515"/>
                    <a:pt x="4258" y="509"/>
                  </a:cubicBezTo>
                  <a:cubicBezTo>
                    <a:pt x="4275" y="498"/>
                    <a:pt x="4298" y="483"/>
                    <a:pt x="4320" y="468"/>
                  </a:cubicBezTo>
                  <a:cubicBezTo>
                    <a:pt x="4350" y="449"/>
                    <a:pt x="4380" y="430"/>
                    <a:pt x="4397" y="419"/>
                  </a:cubicBezTo>
                  <a:cubicBezTo>
                    <a:pt x="4566" y="734"/>
                    <a:pt x="4566" y="734"/>
                    <a:pt x="4566" y="734"/>
                  </a:cubicBezTo>
                  <a:cubicBezTo>
                    <a:pt x="4206" y="1801"/>
                    <a:pt x="4206" y="1801"/>
                    <a:pt x="4206" y="1801"/>
                  </a:cubicBezTo>
                  <a:cubicBezTo>
                    <a:pt x="4188" y="1802"/>
                    <a:pt x="4167" y="1803"/>
                    <a:pt x="4144" y="1803"/>
                  </a:cubicBezTo>
                  <a:cubicBezTo>
                    <a:pt x="4113" y="1803"/>
                    <a:pt x="4080" y="1801"/>
                    <a:pt x="4053" y="1798"/>
                  </a:cubicBezTo>
                  <a:cubicBezTo>
                    <a:pt x="4025" y="1794"/>
                    <a:pt x="4003" y="1787"/>
                    <a:pt x="3997" y="1784"/>
                  </a:cubicBezTo>
                  <a:cubicBezTo>
                    <a:pt x="3989" y="1781"/>
                    <a:pt x="3959" y="1752"/>
                    <a:pt x="3932" y="1715"/>
                  </a:cubicBezTo>
                  <a:cubicBezTo>
                    <a:pt x="3905" y="1677"/>
                    <a:pt x="3878" y="1631"/>
                    <a:pt x="3855" y="1592"/>
                  </a:cubicBezTo>
                  <a:cubicBezTo>
                    <a:pt x="3848" y="1579"/>
                    <a:pt x="3826" y="1534"/>
                    <a:pt x="3802" y="1479"/>
                  </a:cubicBezTo>
                  <a:cubicBezTo>
                    <a:pt x="3783" y="1433"/>
                    <a:pt x="3760" y="1379"/>
                    <a:pt x="3737" y="1324"/>
                  </a:cubicBezTo>
                  <a:cubicBezTo>
                    <a:pt x="3739" y="1289"/>
                    <a:pt x="3749" y="1110"/>
                    <a:pt x="3755" y="1038"/>
                  </a:cubicBezTo>
                  <a:cubicBezTo>
                    <a:pt x="3756" y="1026"/>
                    <a:pt x="3756" y="1014"/>
                    <a:pt x="3756" y="1000"/>
                  </a:cubicBezTo>
                  <a:cubicBezTo>
                    <a:pt x="3756" y="945"/>
                    <a:pt x="3750" y="864"/>
                    <a:pt x="3733" y="777"/>
                  </a:cubicBezTo>
                  <a:cubicBezTo>
                    <a:pt x="3716" y="691"/>
                    <a:pt x="3690" y="600"/>
                    <a:pt x="3641" y="525"/>
                  </a:cubicBezTo>
                  <a:cubicBezTo>
                    <a:pt x="3607" y="475"/>
                    <a:pt x="3554" y="432"/>
                    <a:pt x="3490" y="384"/>
                  </a:cubicBezTo>
                  <a:cubicBezTo>
                    <a:pt x="3426" y="337"/>
                    <a:pt x="3351" y="289"/>
                    <a:pt x="3280" y="244"/>
                  </a:cubicBezTo>
                  <a:cubicBezTo>
                    <a:pt x="3150" y="164"/>
                    <a:pt x="3030" y="99"/>
                    <a:pt x="3009" y="88"/>
                  </a:cubicBezTo>
                  <a:cubicBezTo>
                    <a:pt x="3009" y="86"/>
                    <a:pt x="3009" y="85"/>
                    <a:pt x="3009" y="83"/>
                  </a:cubicBezTo>
                  <a:cubicBezTo>
                    <a:pt x="3009" y="55"/>
                    <a:pt x="3005" y="27"/>
                    <a:pt x="2999" y="0"/>
                  </a:cubicBezTo>
                  <a:cubicBezTo>
                    <a:pt x="2834" y="0"/>
                    <a:pt x="2834" y="0"/>
                    <a:pt x="2834" y="0"/>
                  </a:cubicBezTo>
                  <a:cubicBezTo>
                    <a:pt x="2845" y="26"/>
                    <a:pt x="2851" y="54"/>
                    <a:pt x="2851" y="83"/>
                  </a:cubicBezTo>
                  <a:cubicBezTo>
                    <a:pt x="2851" y="198"/>
                    <a:pt x="2758" y="291"/>
                    <a:pt x="2644" y="291"/>
                  </a:cubicBezTo>
                  <a:cubicBezTo>
                    <a:pt x="2529" y="291"/>
                    <a:pt x="2436" y="198"/>
                    <a:pt x="2436" y="83"/>
                  </a:cubicBezTo>
                  <a:cubicBezTo>
                    <a:pt x="2436" y="54"/>
                    <a:pt x="2442" y="26"/>
                    <a:pt x="2454" y="0"/>
                  </a:cubicBezTo>
                  <a:cubicBezTo>
                    <a:pt x="2289" y="0"/>
                    <a:pt x="2289" y="0"/>
                    <a:pt x="2289" y="0"/>
                  </a:cubicBezTo>
                  <a:cubicBezTo>
                    <a:pt x="2283" y="27"/>
                    <a:pt x="2278" y="55"/>
                    <a:pt x="2278" y="83"/>
                  </a:cubicBezTo>
                  <a:cubicBezTo>
                    <a:pt x="2278" y="95"/>
                    <a:pt x="2279" y="106"/>
                    <a:pt x="2280" y="118"/>
                  </a:cubicBezTo>
                  <a:cubicBezTo>
                    <a:pt x="2227" y="110"/>
                    <a:pt x="2153" y="98"/>
                    <a:pt x="2073" y="86"/>
                  </a:cubicBezTo>
                  <a:cubicBezTo>
                    <a:pt x="1919" y="61"/>
                    <a:pt x="1741" y="31"/>
                    <a:pt x="1656" y="11"/>
                  </a:cubicBezTo>
                  <a:cubicBezTo>
                    <a:pt x="1643" y="8"/>
                    <a:pt x="1631" y="4"/>
                    <a:pt x="1619" y="0"/>
                  </a:cubicBezTo>
                  <a:cubicBezTo>
                    <a:pt x="1258" y="0"/>
                    <a:pt x="1258" y="0"/>
                    <a:pt x="1258" y="0"/>
                  </a:cubicBezTo>
                  <a:cubicBezTo>
                    <a:pt x="1369" y="66"/>
                    <a:pt x="1477" y="125"/>
                    <a:pt x="1621" y="159"/>
                  </a:cubicBezTo>
                  <a:cubicBezTo>
                    <a:pt x="1717" y="181"/>
                    <a:pt x="1893" y="211"/>
                    <a:pt x="2049" y="236"/>
                  </a:cubicBezTo>
                  <a:cubicBezTo>
                    <a:pt x="2170" y="255"/>
                    <a:pt x="2290" y="274"/>
                    <a:pt x="2337" y="281"/>
                  </a:cubicBezTo>
                  <a:cubicBezTo>
                    <a:pt x="2351" y="304"/>
                    <a:pt x="2368" y="325"/>
                    <a:pt x="2387" y="343"/>
                  </a:cubicBezTo>
                  <a:cubicBezTo>
                    <a:pt x="2367" y="370"/>
                    <a:pt x="2325" y="424"/>
                    <a:pt x="2274" y="490"/>
                  </a:cubicBezTo>
                  <a:cubicBezTo>
                    <a:pt x="2200" y="584"/>
                    <a:pt x="2108" y="701"/>
                    <a:pt x="2031" y="788"/>
                  </a:cubicBezTo>
                  <a:cubicBezTo>
                    <a:pt x="1982" y="846"/>
                    <a:pt x="1935" y="894"/>
                    <a:pt x="1919" y="906"/>
                  </a:cubicBezTo>
                  <a:cubicBezTo>
                    <a:pt x="1912" y="911"/>
                    <a:pt x="1891" y="923"/>
                    <a:pt x="1864" y="937"/>
                  </a:cubicBezTo>
                  <a:cubicBezTo>
                    <a:pt x="1836" y="952"/>
                    <a:pt x="1801" y="968"/>
                    <a:pt x="1760" y="987"/>
                  </a:cubicBezTo>
                  <a:cubicBezTo>
                    <a:pt x="1679" y="1023"/>
                    <a:pt x="1577" y="1066"/>
                    <a:pt x="1472" y="1109"/>
                  </a:cubicBezTo>
                  <a:cubicBezTo>
                    <a:pt x="1261" y="1195"/>
                    <a:pt x="1034" y="1282"/>
                    <a:pt x="917" y="1329"/>
                  </a:cubicBezTo>
                  <a:cubicBezTo>
                    <a:pt x="680" y="1422"/>
                    <a:pt x="342" y="1579"/>
                    <a:pt x="340" y="1580"/>
                  </a:cubicBezTo>
                  <a:cubicBezTo>
                    <a:pt x="340" y="1580"/>
                    <a:pt x="204" y="1645"/>
                    <a:pt x="0" y="1743"/>
                  </a:cubicBezTo>
                  <a:cubicBezTo>
                    <a:pt x="0" y="1913"/>
                    <a:pt x="0" y="1913"/>
                    <a:pt x="0" y="1913"/>
                  </a:cubicBezTo>
                  <a:cubicBezTo>
                    <a:pt x="24" y="1901"/>
                    <a:pt x="47" y="1890"/>
                    <a:pt x="69" y="1880"/>
                  </a:cubicBezTo>
                  <a:cubicBezTo>
                    <a:pt x="271" y="1782"/>
                    <a:pt x="405" y="1718"/>
                    <a:pt x="405" y="1718"/>
                  </a:cubicBezTo>
                  <a:cubicBezTo>
                    <a:pt x="406" y="1718"/>
                    <a:pt x="441" y="1701"/>
                    <a:pt x="496" y="1676"/>
                  </a:cubicBezTo>
                  <a:cubicBezTo>
                    <a:pt x="513" y="1711"/>
                    <a:pt x="542" y="1775"/>
                    <a:pt x="579" y="1857"/>
                  </a:cubicBezTo>
                  <a:cubicBezTo>
                    <a:pt x="637" y="1984"/>
                    <a:pt x="715" y="2155"/>
                    <a:pt x="793" y="2329"/>
                  </a:cubicBezTo>
                  <a:cubicBezTo>
                    <a:pt x="951" y="2675"/>
                    <a:pt x="1113" y="3033"/>
                    <a:pt x="1128" y="3071"/>
                  </a:cubicBezTo>
                  <a:cubicBezTo>
                    <a:pt x="1142" y="3105"/>
                    <a:pt x="1187" y="3265"/>
                    <a:pt x="1231" y="3438"/>
                  </a:cubicBezTo>
                  <a:cubicBezTo>
                    <a:pt x="1244" y="3491"/>
                    <a:pt x="1257" y="3546"/>
                    <a:pt x="1270" y="3600"/>
                  </a:cubicBezTo>
                  <a:cubicBezTo>
                    <a:pt x="1337" y="3600"/>
                    <a:pt x="1337" y="3600"/>
                    <a:pt x="1337" y="3600"/>
                  </a:cubicBezTo>
                  <a:cubicBezTo>
                    <a:pt x="1324" y="3541"/>
                    <a:pt x="1309" y="3481"/>
                    <a:pt x="1294" y="3422"/>
                  </a:cubicBezTo>
                  <a:cubicBezTo>
                    <a:pt x="1250" y="3246"/>
                    <a:pt x="1206" y="3091"/>
                    <a:pt x="1189" y="3046"/>
                  </a:cubicBezTo>
                  <a:cubicBezTo>
                    <a:pt x="1172" y="3004"/>
                    <a:pt x="1011" y="2649"/>
                    <a:pt x="853" y="2301"/>
                  </a:cubicBezTo>
                  <a:cubicBezTo>
                    <a:pt x="831" y="2252"/>
                    <a:pt x="809" y="2204"/>
                    <a:pt x="787" y="2156"/>
                  </a:cubicBezTo>
                  <a:cubicBezTo>
                    <a:pt x="2314" y="1770"/>
                    <a:pt x="2314" y="1770"/>
                    <a:pt x="2314" y="1770"/>
                  </a:cubicBezTo>
                  <a:cubicBezTo>
                    <a:pt x="2322" y="1811"/>
                    <a:pt x="2331" y="1847"/>
                    <a:pt x="2342" y="1872"/>
                  </a:cubicBezTo>
                  <a:cubicBezTo>
                    <a:pt x="2373" y="1937"/>
                    <a:pt x="2446" y="1969"/>
                    <a:pt x="2530" y="1969"/>
                  </a:cubicBezTo>
                  <a:cubicBezTo>
                    <a:pt x="2530" y="1969"/>
                    <a:pt x="2531" y="1969"/>
                    <a:pt x="2531" y="1969"/>
                  </a:cubicBezTo>
                  <a:cubicBezTo>
                    <a:pt x="2537" y="1969"/>
                    <a:pt x="2542" y="1968"/>
                    <a:pt x="2548" y="1968"/>
                  </a:cubicBezTo>
                  <a:cubicBezTo>
                    <a:pt x="2586" y="1966"/>
                    <a:pt x="2648" y="1965"/>
                    <a:pt x="2715" y="1962"/>
                  </a:cubicBezTo>
                  <a:cubicBezTo>
                    <a:pt x="2820" y="2460"/>
                    <a:pt x="2820" y="2460"/>
                    <a:pt x="2820" y="2460"/>
                  </a:cubicBezTo>
                  <a:cubicBezTo>
                    <a:pt x="2820" y="2461"/>
                    <a:pt x="2820" y="2461"/>
                    <a:pt x="2820" y="2462"/>
                  </a:cubicBezTo>
                  <a:cubicBezTo>
                    <a:pt x="2820" y="2468"/>
                    <a:pt x="2821" y="2473"/>
                    <a:pt x="2824" y="2477"/>
                  </a:cubicBezTo>
                  <a:cubicBezTo>
                    <a:pt x="3044" y="3519"/>
                    <a:pt x="3044" y="3519"/>
                    <a:pt x="3044" y="3519"/>
                  </a:cubicBezTo>
                  <a:cubicBezTo>
                    <a:pt x="1522" y="3600"/>
                    <a:pt x="1522" y="3600"/>
                    <a:pt x="1522" y="3600"/>
                  </a:cubicBezTo>
                  <a:cubicBezTo>
                    <a:pt x="2367" y="3600"/>
                    <a:pt x="2367" y="3600"/>
                    <a:pt x="2367" y="3600"/>
                  </a:cubicBezTo>
                  <a:cubicBezTo>
                    <a:pt x="3053" y="3564"/>
                    <a:pt x="3053" y="3564"/>
                    <a:pt x="3053" y="3564"/>
                  </a:cubicBezTo>
                  <a:cubicBezTo>
                    <a:pt x="3061" y="3600"/>
                    <a:pt x="3061" y="3600"/>
                    <a:pt x="3061" y="3600"/>
                  </a:cubicBezTo>
                  <a:cubicBezTo>
                    <a:pt x="3128" y="3600"/>
                    <a:pt x="3128" y="3600"/>
                    <a:pt x="3128" y="3600"/>
                  </a:cubicBezTo>
                  <a:cubicBezTo>
                    <a:pt x="3123" y="3577"/>
                    <a:pt x="3123" y="3577"/>
                    <a:pt x="3123" y="3577"/>
                  </a:cubicBezTo>
                  <a:cubicBezTo>
                    <a:pt x="3170" y="3578"/>
                    <a:pt x="3256" y="3579"/>
                    <a:pt x="3343" y="3580"/>
                  </a:cubicBezTo>
                  <a:cubicBezTo>
                    <a:pt x="3472" y="3581"/>
                    <a:pt x="3605" y="3583"/>
                    <a:pt x="3616" y="3585"/>
                  </a:cubicBezTo>
                  <a:cubicBezTo>
                    <a:pt x="3620" y="3586"/>
                    <a:pt x="3644" y="3592"/>
                    <a:pt x="3676" y="3600"/>
                  </a:cubicBezTo>
                  <a:cubicBezTo>
                    <a:pt x="3734" y="3600"/>
                    <a:pt x="3734" y="3600"/>
                    <a:pt x="3734" y="3600"/>
                  </a:cubicBezTo>
                  <a:cubicBezTo>
                    <a:pt x="3673" y="3585"/>
                    <a:pt x="3622" y="3572"/>
                    <a:pt x="3620" y="3571"/>
                  </a:cubicBezTo>
                  <a:cubicBezTo>
                    <a:pt x="3615" y="3570"/>
                    <a:pt x="3608" y="3570"/>
                    <a:pt x="3593" y="3570"/>
                  </a:cubicBezTo>
                  <a:cubicBezTo>
                    <a:pt x="3577" y="3569"/>
                    <a:pt x="3556" y="3569"/>
                    <a:pt x="3531" y="3569"/>
                  </a:cubicBezTo>
                  <a:cubicBezTo>
                    <a:pt x="3481" y="3568"/>
                    <a:pt x="3415" y="3567"/>
                    <a:pt x="3349" y="3566"/>
                  </a:cubicBezTo>
                  <a:cubicBezTo>
                    <a:pt x="3258" y="3565"/>
                    <a:pt x="3167" y="3564"/>
                    <a:pt x="3120" y="3563"/>
                  </a:cubicBezTo>
                  <a:cubicBezTo>
                    <a:pt x="3080" y="3374"/>
                    <a:pt x="3080" y="3374"/>
                    <a:pt x="3080" y="3374"/>
                  </a:cubicBezTo>
                  <a:cubicBezTo>
                    <a:pt x="3581" y="3366"/>
                    <a:pt x="3581" y="3366"/>
                    <a:pt x="3581" y="3366"/>
                  </a:cubicBezTo>
                  <a:cubicBezTo>
                    <a:pt x="3604" y="3376"/>
                    <a:pt x="3929" y="3505"/>
                    <a:pt x="3969" y="3520"/>
                  </a:cubicBezTo>
                  <a:cubicBezTo>
                    <a:pt x="3969" y="3539"/>
                    <a:pt x="3969" y="3552"/>
                    <a:pt x="3969" y="3555"/>
                  </a:cubicBezTo>
                  <a:cubicBezTo>
                    <a:pt x="3958" y="3600"/>
                    <a:pt x="3958" y="3600"/>
                    <a:pt x="3958" y="3600"/>
                  </a:cubicBezTo>
                  <a:cubicBezTo>
                    <a:pt x="3972" y="3600"/>
                    <a:pt x="3972" y="3600"/>
                    <a:pt x="3972" y="3600"/>
                  </a:cubicBezTo>
                  <a:cubicBezTo>
                    <a:pt x="3982" y="3557"/>
                    <a:pt x="3982" y="3557"/>
                    <a:pt x="3982" y="3557"/>
                  </a:cubicBezTo>
                  <a:cubicBezTo>
                    <a:pt x="3982" y="3556"/>
                    <a:pt x="3982" y="3556"/>
                    <a:pt x="3982" y="3556"/>
                  </a:cubicBezTo>
                  <a:cubicBezTo>
                    <a:pt x="3982" y="3556"/>
                    <a:pt x="3983" y="3544"/>
                    <a:pt x="3983" y="3523"/>
                  </a:cubicBezTo>
                  <a:cubicBezTo>
                    <a:pt x="4018" y="3529"/>
                    <a:pt x="4146" y="3546"/>
                    <a:pt x="4274" y="3563"/>
                  </a:cubicBezTo>
                  <a:cubicBezTo>
                    <a:pt x="4394" y="3578"/>
                    <a:pt x="4514" y="3594"/>
                    <a:pt x="4554" y="3599"/>
                  </a:cubicBezTo>
                  <a:cubicBezTo>
                    <a:pt x="4554" y="3600"/>
                    <a:pt x="4554" y="3600"/>
                    <a:pt x="4554" y="3600"/>
                  </a:cubicBezTo>
                  <a:cubicBezTo>
                    <a:pt x="4707" y="3600"/>
                    <a:pt x="4707" y="3600"/>
                    <a:pt x="4707" y="3600"/>
                  </a:cubicBezTo>
                  <a:cubicBezTo>
                    <a:pt x="4923" y="1907"/>
                    <a:pt x="4923" y="1907"/>
                    <a:pt x="4923" y="1907"/>
                  </a:cubicBezTo>
                  <a:cubicBezTo>
                    <a:pt x="4987" y="1895"/>
                    <a:pt x="4987" y="1895"/>
                    <a:pt x="4987" y="1895"/>
                  </a:cubicBezTo>
                  <a:cubicBezTo>
                    <a:pt x="4976" y="1986"/>
                    <a:pt x="4955" y="2149"/>
                    <a:pt x="4928" y="2362"/>
                  </a:cubicBezTo>
                  <a:cubicBezTo>
                    <a:pt x="4887" y="2688"/>
                    <a:pt x="4831" y="3129"/>
                    <a:pt x="4771" y="3600"/>
                  </a:cubicBezTo>
                  <a:cubicBezTo>
                    <a:pt x="4925" y="3600"/>
                    <a:pt x="4925" y="3600"/>
                    <a:pt x="4925" y="3600"/>
                  </a:cubicBezTo>
                  <a:cubicBezTo>
                    <a:pt x="4932" y="3547"/>
                    <a:pt x="4938" y="3495"/>
                    <a:pt x="4945" y="3443"/>
                  </a:cubicBezTo>
                  <a:cubicBezTo>
                    <a:pt x="5515" y="3527"/>
                    <a:pt x="5515" y="3527"/>
                    <a:pt x="5515" y="3527"/>
                  </a:cubicBezTo>
                  <a:cubicBezTo>
                    <a:pt x="5507" y="3600"/>
                    <a:pt x="5507" y="3600"/>
                    <a:pt x="5507" y="3600"/>
                  </a:cubicBezTo>
                  <a:cubicBezTo>
                    <a:pt x="5573" y="3600"/>
                    <a:pt x="5573" y="3600"/>
                    <a:pt x="5573" y="3600"/>
                  </a:cubicBezTo>
                  <a:cubicBezTo>
                    <a:pt x="5575" y="3579"/>
                    <a:pt x="5575" y="3579"/>
                    <a:pt x="5575" y="3579"/>
                  </a:cubicBezTo>
                  <a:cubicBezTo>
                    <a:pt x="5579" y="3580"/>
                    <a:pt x="5582" y="3580"/>
                    <a:pt x="5586" y="3581"/>
                  </a:cubicBezTo>
                  <a:cubicBezTo>
                    <a:pt x="5607" y="3584"/>
                    <a:pt x="5636" y="3589"/>
                    <a:pt x="5670" y="3594"/>
                  </a:cubicBezTo>
                  <a:cubicBezTo>
                    <a:pt x="5684" y="3596"/>
                    <a:pt x="5700" y="3598"/>
                    <a:pt x="5715" y="3600"/>
                  </a:cubicBezTo>
                  <a:cubicBezTo>
                    <a:pt x="6043" y="3600"/>
                    <a:pt x="6043" y="3600"/>
                    <a:pt x="6043" y="3600"/>
                  </a:cubicBezTo>
                  <a:cubicBezTo>
                    <a:pt x="5925" y="3584"/>
                    <a:pt x="5786" y="3565"/>
                    <a:pt x="5686" y="3551"/>
                  </a:cubicBezTo>
                  <a:cubicBezTo>
                    <a:pt x="5640" y="3544"/>
                    <a:pt x="5602" y="3538"/>
                    <a:pt x="5580" y="3534"/>
                  </a:cubicBezTo>
                  <a:cubicBezTo>
                    <a:pt x="5733" y="2024"/>
                    <a:pt x="5733" y="2024"/>
                    <a:pt x="5733" y="2024"/>
                  </a:cubicBezTo>
                  <a:cubicBezTo>
                    <a:pt x="5860" y="2028"/>
                    <a:pt x="6366" y="2046"/>
                    <a:pt x="6830" y="2063"/>
                  </a:cubicBezTo>
                  <a:cubicBezTo>
                    <a:pt x="6291" y="3600"/>
                    <a:pt x="6291" y="3600"/>
                    <a:pt x="6291" y="3600"/>
                  </a:cubicBezTo>
                  <a:cubicBezTo>
                    <a:pt x="6339" y="3600"/>
                    <a:pt x="6339" y="3600"/>
                    <a:pt x="6339" y="3600"/>
                  </a:cubicBezTo>
                  <a:cubicBezTo>
                    <a:pt x="6878" y="2065"/>
                    <a:pt x="6878" y="2065"/>
                    <a:pt x="6878" y="2065"/>
                  </a:cubicBezTo>
                  <a:cubicBezTo>
                    <a:pt x="7276" y="2079"/>
                    <a:pt x="7632" y="2092"/>
                    <a:pt x="7672" y="2093"/>
                  </a:cubicBezTo>
                  <a:cubicBezTo>
                    <a:pt x="7672" y="2093"/>
                    <a:pt x="7673" y="2093"/>
                    <a:pt x="7673" y="2093"/>
                  </a:cubicBezTo>
                  <a:cubicBezTo>
                    <a:pt x="7674" y="2093"/>
                    <a:pt x="7675" y="2093"/>
                    <a:pt x="7675" y="2093"/>
                  </a:cubicBezTo>
                  <a:cubicBezTo>
                    <a:pt x="7676" y="2094"/>
                    <a:pt x="7678" y="2094"/>
                    <a:pt x="7679" y="2094"/>
                  </a:cubicBezTo>
                  <a:cubicBezTo>
                    <a:pt x="7683" y="2094"/>
                    <a:pt x="7687" y="2094"/>
                    <a:pt x="7693" y="2094"/>
                  </a:cubicBezTo>
                  <a:cubicBezTo>
                    <a:pt x="7698" y="2094"/>
                    <a:pt x="7704" y="2095"/>
                    <a:pt x="7710" y="2095"/>
                  </a:cubicBezTo>
                  <a:cubicBezTo>
                    <a:pt x="7412" y="3445"/>
                    <a:pt x="7412" y="3445"/>
                    <a:pt x="7412" y="3445"/>
                  </a:cubicBezTo>
                  <a:cubicBezTo>
                    <a:pt x="7411" y="3447"/>
                    <a:pt x="7408" y="3460"/>
                    <a:pt x="7408" y="3479"/>
                  </a:cubicBezTo>
                  <a:cubicBezTo>
                    <a:pt x="7408" y="3508"/>
                    <a:pt x="7416" y="3555"/>
                    <a:pt x="7451" y="3600"/>
                  </a:cubicBezTo>
                  <a:cubicBezTo>
                    <a:pt x="7546" y="3600"/>
                    <a:pt x="7546" y="3600"/>
                    <a:pt x="7546" y="3600"/>
                  </a:cubicBezTo>
                  <a:cubicBezTo>
                    <a:pt x="7532" y="3591"/>
                    <a:pt x="7521" y="3581"/>
                    <a:pt x="7512" y="3571"/>
                  </a:cubicBezTo>
                  <a:cubicBezTo>
                    <a:pt x="7479" y="3535"/>
                    <a:pt x="7474" y="3500"/>
                    <a:pt x="7474" y="3479"/>
                  </a:cubicBezTo>
                  <a:cubicBezTo>
                    <a:pt x="7474" y="3470"/>
                    <a:pt x="7475" y="3463"/>
                    <a:pt x="7475" y="3462"/>
                  </a:cubicBezTo>
                  <a:cubicBezTo>
                    <a:pt x="7475" y="3462"/>
                    <a:pt x="7475" y="3461"/>
                    <a:pt x="7476" y="3460"/>
                  </a:cubicBezTo>
                  <a:cubicBezTo>
                    <a:pt x="7776" y="2099"/>
                    <a:pt x="7776" y="2099"/>
                    <a:pt x="7776" y="2099"/>
                  </a:cubicBezTo>
                  <a:cubicBezTo>
                    <a:pt x="7806" y="2101"/>
                    <a:pt x="7837" y="2104"/>
                    <a:pt x="7864" y="2108"/>
                  </a:cubicBezTo>
                  <a:cubicBezTo>
                    <a:pt x="7929" y="2117"/>
                    <a:pt x="9328" y="2325"/>
                    <a:pt x="10022" y="2429"/>
                  </a:cubicBezTo>
                  <a:cubicBezTo>
                    <a:pt x="10254" y="2463"/>
                    <a:pt x="10407" y="2486"/>
                    <a:pt x="10407" y="2486"/>
                  </a:cubicBezTo>
                  <a:cubicBezTo>
                    <a:pt x="10408" y="2486"/>
                    <a:pt x="10408" y="2486"/>
                    <a:pt x="10408" y="2486"/>
                  </a:cubicBezTo>
                  <a:cubicBezTo>
                    <a:pt x="10410" y="2486"/>
                    <a:pt x="10410" y="2486"/>
                    <a:pt x="10410" y="2486"/>
                  </a:cubicBezTo>
                  <a:cubicBezTo>
                    <a:pt x="10410" y="2486"/>
                    <a:pt x="10411" y="2486"/>
                    <a:pt x="10416" y="2487"/>
                  </a:cubicBezTo>
                  <a:cubicBezTo>
                    <a:pt x="10420" y="2488"/>
                    <a:pt x="10426" y="2488"/>
                    <a:pt x="10435" y="2490"/>
                  </a:cubicBezTo>
                  <a:cubicBezTo>
                    <a:pt x="10451" y="2492"/>
                    <a:pt x="10476" y="2497"/>
                    <a:pt x="10504" y="2503"/>
                  </a:cubicBezTo>
                  <a:cubicBezTo>
                    <a:pt x="10562" y="2516"/>
                    <a:pt x="10638" y="2537"/>
                    <a:pt x="10709" y="2569"/>
                  </a:cubicBezTo>
                  <a:cubicBezTo>
                    <a:pt x="10782" y="2602"/>
                    <a:pt x="10965" y="2699"/>
                    <a:pt x="11144" y="2799"/>
                  </a:cubicBezTo>
                  <a:cubicBezTo>
                    <a:pt x="11323" y="2899"/>
                    <a:pt x="11503" y="3002"/>
                    <a:pt x="11575" y="3047"/>
                  </a:cubicBezTo>
                  <a:cubicBezTo>
                    <a:pt x="12437" y="3600"/>
                    <a:pt x="12437" y="3600"/>
                    <a:pt x="12437" y="3600"/>
                  </a:cubicBezTo>
                  <a:cubicBezTo>
                    <a:pt x="12714" y="3600"/>
                    <a:pt x="12714" y="3600"/>
                    <a:pt x="12714" y="3600"/>
                  </a:cubicBezTo>
                  <a:cubicBezTo>
                    <a:pt x="12695" y="3587"/>
                    <a:pt x="12695" y="3587"/>
                    <a:pt x="12695" y="3587"/>
                  </a:cubicBezTo>
                  <a:cubicBezTo>
                    <a:pt x="12956" y="3043"/>
                    <a:pt x="13187" y="2549"/>
                    <a:pt x="13248" y="2418"/>
                  </a:cubicBezTo>
                  <a:cubicBezTo>
                    <a:pt x="13253" y="2421"/>
                    <a:pt x="13258" y="2424"/>
                    <a:pt x="13262" y="2427"/>
                  </a:cubicBezTo>
                  <a:cubicBezTo>
                    <a:pt x="13322" y="2464"/>
                    <a:pt x="13393" y="2523"/>
                    <a:pt x="13442" y="2609"/>
                  </a:cubicBezTo>
                  <a:cubicBezTo>
                    <a:pt x="13495" y="2701"/>
                    <a:pt x="13534" y="2766"/>
                    <a:pt x="13588" y="2822"/>
                  </a:cubicBezTo>
                  <a:cubicBezTo>
                    <a:pt x="13643" y="2878"/>
                    <a:pt x="13710" y="2921"/>
                    <a:pt x="13816" y="2969"/>
                  </a:cubicBezTo>
                  <a:cubicBezTo>
                    <a:pt x="14023" y="3062"/>
                    <a:pt x="15214" y="3563"/>
                    <a:pt x="15269" y="3585"/>
                  </a:cubicBezTo>
                  <a:cubicBezTo>
                    <a:pt x="15269" y="3585"/>
                    <a:pt x="15270" y="3586"/>
                    <a:pt x="15271" y="3587"/>
                  </a:cubicBezTo>
                  <a:cubicBezTo>
                    <a:pt x="15274" y="3588"/>
                    <a:pt x="15277" y="3591"/>
                    <a:pt x="15282" y="3594"/>
                  </a:cubicBezTo>
                  <a:cubicBezTo>
                    <a:pt x="15285" y="3596"/>
                    <a:pt x="15288" y="3598"/>
                    <a:pt x="15291" y="3600"/>
                  </a:cubicBezTo>
                  <a:cubicBezTo>
                    <a:pt x="15404" y="3600"/>
                    <a:pt x="15404" y="3600"/>
                    <a:pt x="15404" y="3600"/>
                  </a:cubicBezTo>
                  <a:cubicBezTo>
                    <a:pt x="15360" y="3568"/>
                    <a:pt x="15325" y="3543"/>
                    <a:pt x="15308" y="3532"/>
                  </a:cubicBezTo>
                  <a:cubicBezTo>
                    <a:pt x="15303" y="3529"/>
                    <a:pt x="15301" y="3528"/>
                    <a:pt x="15295" y="3525"/>
                  </a:cubicBezTo>
                  <a:cubicBezTo>
                    <a:pt x="15276" y="3517"/>
                    <a:pt x="14050" y="3002"/>
                    <a:pt x="13843" y="2909"/>
                  </a:cubicBezTo>
                  <a:cubicBezTo>
                    <a:pt x="13741" y="2863"/>
                    <a:pt x="13682" y="2825"/>
                    <a:pt x="13635" y="2777"/>
                  </a:cubicBezTo>
                  <a:cubicBezTo>
                    <a:pt x="13589" y="2729"/>
                    <a:pt x="13552" y="2668"/>
                    <a:pt x="13499" y="2576"/>
                  </a:cubicBezTo>
                  <a:cubicBezTo>
                    <a:pt x="13435" y="2466"/>
                    <a:pt x="13343" y="2397"/>
                    <a:pt x="13274" y="2357"/>
                  </a:cubicBezTo>
                  <a:cubicBezTo>
                    <a:pt x="13974" y="345"/>
                    <a:pt x="13974" y="345"/>
                    <a:pt x="13974" y="345"/>
                  </a:cubicBezTo>
                  <a:cubicBezTo>
                    <a:pt x="14410" y="392"/>
                    <a:pt x="14410" y="392"/>
                    <a:pt x="14410" y="392"/>
                  </a:cubicBezTo>
                  <a:cubicBezTo>
                    <a:pt x="14410" y="392"/>
                    <a:pt x="14411" y="393"/>
                    <a:pt x="14412" y="393"/>
                  </a:cubicBezTo>
                  <a:cubicBezTo>
                    <a:pt x="14416" y="396"/>
                    <a:pt x="14423" y="399"/>
                    <a:pt x="14431" y="403"/>
                  </a:cubicBezTo>
                  <a:cubicBezTo>
                    <a:pt x="14447" y="411"/>
                    <a:pt x="14471" y="423"/>
                    <a:pt x="14501" y="438"/>
                  </a:cubicBezTo>
                  <a:cubicBezTo>
                    <a:pt x="14561" y="468"/>
                    <a:pt x="14647" y="510"/>
                    <a:pt x="14750" y="561"/>
                  </a:cubicBezTo>
                  <a:cubicBezTo>
                    <a:pt x="14956" y="664"/>
                    <a:pt x="15229" y="801"/>
                    <a:pt x="15501" y="946"/>
                  </a:cubicBezTo>
                  <a:cubicBezTo>
                    <a:pt x="15740" y="1073"/>
                    <a:pt x="15978" y="1215"/>
                    <a:pt x="16168" y="1327"/>
                  </a:cubicBezTo>
                  <a:cubicBezTo>
                    <a:pt x="16635" y="1603"/>
                    <a:pt x="17015" y="1978"/>
                    <a:pt x="17175" y="2148"/>
                  </a:cubicBezTo>
                  <a:cubicBezTo>
                    <a:pt x="17228" y="2205"/>
                    <a:pt x="17257" y="2238"/>
                    <a:pt x="17257" y="2238"/>
                  </a:cubicBezTo>
                  <a:cubicBezTo>
                    <a:pt x="17258" y="2239"/>
                    <a:pt x="17258" y="2239"/>
                    <a:pt x="17258" y="2239"/>
                  </a:cubicBezTo>
                  <a:cubicBezTo>
                    <a:pt x="17258" y="2239"/>
                    <a:pt x="17258" y="2239"/>
                    <a:pt x="17258" y="2239"/>
                  </a:cubicBezTo>
                  <a:cubicBezTo>
                    <a:pt x="17290" y="2273"/>
                    <a:pt x="17330" y="2319"/>
                    <a:pt x="17379" y="2370"/>
                  </a:cubicBezTo>
                  <a:cubicBezTo>
                    <a:pt x="17353" y="2394"/>
                    <a:pt x="17260" y="2479"/>
                    <a:pt x="17160" y="2592"/>
                  </a:cubicBezTo>
                  <a:cubicBezTo>
                    <a:pt x="17042" y="2726"/>
                    <a:pt x="16913" y="2896"/>
                    <a:pt x="16871" y="3058"/>
                  </a:cubicBezTo>
                  <a:cubicBezTo>
                    <a:pt x="16831" y="3214"/>
                    <a:pt x="16836" y="3342"/>
                    <a:pt x="16806" y="3455"/>
                  </a:cubicBezTo>
                  <a:cubicBezTo>
                    <a:pt x="16793" y="3505"/>
                    <a:pt x="16775" y="3552"/>
                    <a:pt x="16743" y="3600"/>
                  </a:cubicBezTo>
                  <a:cubicBezTo>
                    <a:pt x="16819" y="3600"/>
                    <a:pt x="16819" y="3600"/>
                    <a:pt x="16819" y="3600"/>
                  </a:cubicBezTo>
                  <a:cubicBezTo>
                    <a:pt x="16843" y="3558"/>
                    <a:pt x="16859" y="3515"/>
                    <a:pt x="16870" y="3471"/>
                  </a:cubicBezTo>
                  <a:cubicBezTo>
                    <a:pt x="16902" y="3345"/>
                    <a:pt x="16897" y="3220"/>
                    <a:pt x="16934" y="3074"/>
                  </a:cubicBezTo>
                  <a:cubicBezTo>
                    <a:pt x="16987" y="2862"/>
                    <a:pt x="17240" y="2593"/>
                    <a:pt x="17363" y="2475"/>
                  </a:cubicBezTo>
                  <a:cubicBezTo>
                    <a:pt x="17395" y="2445"/>
                    <a:pt x="17417" y="2425"/>
                    <a:pt x="17425" y="2417"/>
                  </a:cubicBezTo>
                  <a:cubicBezTo>
                    <a:pt x="17555" y="2545"/>
                    <a:pt x="17740" y="2698"/>
                    <a:pt x="18004" y="2813"/>
                  </a:cubicBezTo>
                  <a:cubicBezTo>
                    <a:pt x="18004" y="2741"/>
                    <a:pt x="18004" y="2741"/>
                    <a:pt x="18004" y="2741"/>
                  </a:cubicBezTo>
                  <a:cubicBezTo>
                    <a:pt x="17767" y="2633"/>
                    <a:pt x="17598" y="2495"/>
                    <a:pt x="17477" y="2376"/>
                  </a:cubicBezTo>
                  <a:cubicBezTo>
                    <a:pt x="17571" y="2300"/>
                    <a:pt x="17789" y="2125"/>
                    <a:pt x="18004" y="1949"/>
                  </a:cubicBezTo>
                  <a:lnTo>
                    <a:pt x="18004" y="1864"/>
                  </a:lnTo>
                  <a:close/>
                  <a:moveTo>
                    <a:pt x="2973" y="242"/>
                  </a:moveTo>
                  <a:cubicBezTo>
                    <a:pt x="2975" y="243"/>
                    <a:pt x="2978" y="244"/>
                    <a:pt x="2980" y="246"/>
                  </a:cubicBezTo>
                  <a:cubicBezTo>
                    <a:pt x="3010" y="263"/>
                    <a:pt x="3052" y="286"/>
                    <a:pt x="3099" y="314"/>
                  </a:cubicBezTo>
                  <a:cubicBezTo>
                    <a:pt x="3194" y="370"/>
                    <a:pt x="3312" y="442"/>
                    <a:pt x="3399" y="507"/>
                  </a:cubicBezTo>
                  <a:cubicBezTo>
                    <a:pt x="3457" y="549"/>
                    <a:pt x="3503" y="592"/>
                    <a:pt x="3514" y="609"/>
                  </a:cubicBezTo>
                  <a:cubicBezTo>
                    <a:pt x="3544" y="655"/>
                    <a:pt x="3569" y="731"/>
                    <a:pt x="3583" y="806"/>
                  </a:cubicBezTo>
                  <a:cubicBezTo>
                    <a:pt x="3597" y="876"/>
                    <a:pt x="3603" y="946"/>
                    <a:pt x="3603" y="991"/>
                  </a:cubicBezTo>
                  <a:cubicBezTo>
                    <a:pt x="3602" y="987"/>
                    <a:pt x="3601" y="984"/>
                    <a:pt x="3600" y="982"/>
                  </a:cubicBezTo>
                  <a:cubicBezTo>
                    <a:pt x="3587" y="945"/>
                    <a:pt x="3563" y="880"/>
                    <a:pt x="3538" y="815"/>
                  </a:cubicBezTo>
                  <a:cubicBezTo>
                    <a:pt x="3512" y="749"/>
                    <a:pt x="3485" y="685"/>
                    <a:pt x="3463" y="645"/>
                  </a:cubicBezTo>
                  <a:cubicBezTo>
                    <a:pt x="3423" y="571"/>
                    <a:pt x="3373" y="504"/>
                    <a:pt x="3303" y="458"/>
                  </a:cubicBezTo>
                  <a:cubicBezTo>
                    <a:pt x="3282" y="444"/>
                    <a:pt x="3252" y="428"/>
                    <a:pt x="3211" y="408"/>
                  </a:cubicBezTo>
                  <a:cubicBezTo>
                    <a:pt x="3171" y="387"/>
                    <a:pt x="3124" y="364"/>
                    <a:pt x="3078" y="342"/>
                  </a:cubicBezTo>
                  <a:cubicBezTo>
                    <a:pt x="3030" y="319"/>
                    <a:pt x="2983" y="297"/>
                    <a:pt x="2951" y="281"/>
                  </a:cubicBezTo>
                  <a:cubicBezTo>
                    <a:pt x="2959" y="268"/>
                    <a:pt x="2966" y="255"/>
                    <a:pt x="2973" y="242"/>
                  </a:cubicBezTo>
                  <a:close/>
                  <a:moveTo>
                    <a:pt x="2285" y="1567"/>
                  </a:moveTo>
                  <a:cubicBezTo>
                    <a:pt x="2285" y="1570"/>
                    <a:pt x="2285" y="1575"/>
                    <a:pt x="2286" y="1579"/>
                  </a:cubicBezTo>
                  <a:cubicBezTo>
                    <a:pt x="2288" y="1604"/>
                    <a:pt x="2294" y="1654"/>
                    <a:pt x="2302" y="1706"/>
                  </a:cubicBezTo>
                  <a:cubicBezTo>
                    <a:pt x="759" y="2095"/>
                    <a:pt x="759" y="2095"/>
                    <a:pt x="759" y="2095"/>
                  </a:cubicBezTo>
                  <a:cubicBezTo>
                    <a:pt x="667" y="1892"/>
                    <a:pt x="588" y="1718"/>
                    <a:pt x="556" y="1649"/>
                  </a:cubicBezTo>
                  <a:cubicBezTo>
                    <a:pt x="571" y="1642"/>
                    <a:pt x="586" y="1635"/>
                    <a:pt x="603" y="1628"/>
                  </a:cubicBezTo>
                  <a:cubicBezTo>
                    <a:pt x="716" y="1578"/>
                    <a:pt x="858" y="1516"/>
                    <a:pt x="973" y="1471"/>
                  </a:cubicBezTo>
                  <a:cubicBezTo>
                    <a:pt x="1074" y="1430"/>
                    <a:pt x="1262" y="1358"/>
                    <a:pt x="1449" y="1283"/>
                  </a:cubicBezTo>
                  <a:cubicBezTo>
                    <a:pt x="1637" y="1207"/>
                    <a:pt x="1825" y="1129"/>
                    <a:pt x="1933" y="1073"/>
                  </a:cubicBezTo>
                  <a:cubicBezTo>
                    <a:pt x="1965" y="1057"/>
                    <a:pt x="1989" y="1043"/>
                    <a:pt x="2010" y="1028"/>
                  </a:cubicBezTo>
                  <a:cubicBezTo>
                    <a:pt x="2049" y="998"/>
                    <a:pt x="2093" y="950"/>
                    <a:pt x="2147" y="888"/>
                  </a:cubicBezTo>
                  <a:cubicBezTo>
                    <a:pt x="2200" y="827"/>
                    <a:pt x="2259" y="755"/>
                    <a:pt x="2314" y="685"/>
                  </a:cubicBezTo>
                  <a:cubicBezTo>
                    <a:pt x="2409" y="567"/>
                    <a:pt x="2493" y="456"/>
                    <a:pt x="2516" y="425"/>
                  </a:cubicBezTo>
                  <a:cubicBezTo>
                    <a:pt x="2556" y="440"/>
                    <a:pt x="2599" y="449"/>
                    <a:pt x="2644" y="449"/>
                  </a:cubicBezTo>
                  <a:cubicBezTo>
                    <a:pt x="2714" y="449"/>
                    <a:pt x="2779" y="429"/>
                    <a:pt x="2834" y="395"/>
                  </a:cubicBezTo>
                  <a:cubicBezTo>
                    <a:pt x="2855" y="405"/>
                    <a:pt x="2904" y="428"/>
                    <a:pt x="2947" y="448"/>
                  </a:cubicBezTo>
                  <a:cubicBezTo>
                    <a:pt x="3008" y="477"/>
                    <a:pt x="3084" y="514"/>
                    <a:pt x="3142" y="544"/>
                  </a:cubicBezTo>
                  <a:cubicBezTo>
                    <a:pt x="3180" y="563"/>
                    <a:pt x="3212" y="580"/>
                    <a:pt x="3219" y="585"/>
                  </a:cubicBezTo>
                  <a:cubicBezTo>
                    <a:pt x="3260" y="612"/>
                    <a:pt x="3296" y="656"/>
                    <a:pt x="3329" y="718"/>
                  </a:cubicBezTo>
                  <a:cubicBezTo>
                    <a:pt x="3344" y="744"/>
                    <a:pt x="3371" y="808"/>
                    <a:pt x="3396" y="871"/>
                  </a:cubicBezTo>
                  <a:cubicBezTo>
                    <a:pt x="3421" y="934"/>
                    <a:pt x="3444" y="998"/>
                    <a:pt x="3456" y="1032"/>
                  </a:cubicBezTo>
                  <a:cubicBezTo>
                    <a:pt x="3467" y="1062"/>
                    <a:pt x="3499" y="1144"/>
                    <a:pt x="3539" y="1243"/>
                  </a:cubicBezTo>
                  <a:cubicBezTo>
                    <a:pt x="3578" y="1341"/>
                    <a:pt x="3625" y="1453"/>
                    <a:pt x="3663" y="1540"/>
                  </a:cubicBezTo>
                  <a:cubicBezTo>
                    <a:pt x="3688" y="1598"/>
                    <a:pt x="3708" y="1641"/>
                    <a:pt x="3723" y="1668"/>
                  </a:cubicBezTo>
                  <a:cubicBezTo>
                    <a:pt x="3742" y="1700"/>
                    <a:pt x="3764" y="1737"/>
                    <a:pt x="3788" y="1774"/>
                  </a:cubicBezTo>
                  <a:cubicBezTo>
                    <a:pt x="3758" y="1783"/>
                    <a:pt x="3718" y="1796"/>
                    <a:pt x="3673" y="1808"/>
                  </a:cubicBezTo>
                  <a:cubicBezTo>
                    <a:pt x="3583" y="1834"/>
                    <a:pt x="3475" y="1859"/>
                    <a:pt x="3419" y="1859"/>
                  </a:cubicBezTo>
                  <a:cubicBezTo>
                    <a:pt x="3413" y="1859"/>
                    <a:pt x="3408" y="1858"/>
                    <a:pt x="3403" y="1858"/>
                  </a:cubicBezTo>
                  <a:cubicBezTo>
                    <a:pt x="3357" y="1853"/>
                    <a:pt x="3287" y="1835"/>
                    <a:pt x="3227" y="1817"/>
                  </a:cubicBezTo>
                  <a:cubicBezTo>
                    <a:pt x="3183" y="1803"/>
                    <a:pt x="3141" y="1788"/>
                    <a:pt x="3120" y="1780"/>
                  </a:cubicBezTo>
                  <a:cubicBezTo>
                    <a:pt x="3127" y="1767"/>
                    <a:pt x="3132" y="1753"/>
                    <a:pt x="3134" y="1740"/>
                  </a:cubicBezTo>
                  <a:cubicBezTo>
                    <a:pt x="3137" y="1723"/>
                    <a:pt x="3138" y="1703"/>
                    <a:pt x="3138" y="1682"/>
                  </a:cubicBezTo>
                  <a:cubicBezTo>
                    <a:pt x="3137" y="1615"/>
                    <a:pt x="3129" y="1533"/>
                    <a:pt x="3103" y="1480"/>
                  </a:cubicBezTo>
                  <a:cubicBezTo>
                    <a:pt x="3073" y="1418"/>
                    <a:pt x="3013" y="1351"/>
                    <a:pt x="2896" y="1344"/>
                  </a:cubicBezTo>
                  <a:cubicBezTo>
                    <a:pt x="2883" y="1343"/>
                    <a:pt x="2867" y="1342"/>
                    <a:pt x="2851" y="1342"/>
                  </a:cubicBezTo>
                  <a:cubicBezTo>
                    <a:pt x="2728" y="1342"/>
                    <a:pt x="2531" y="1367"/>
                    <a:pt x="2436" y="1394"/>
                  </a:cubicBezTo>
                  <a:cubicBezTo>
                    <a:pt x="2328" y="1422"/>
                    <a:pt x="2284" y="1502"/>
                    <a:pt x="2285" y="1567"/>
                  </a:cubicBezTo>
                  <a:close/>
                  <a:moveTo>
                    <a:pt x="2545" y="1903"/>
                  </a:moveTo>
                  <a:cubicBezTo>
                    <a:pt x="2540" y="1903"/>
                    <a:pt x="2536" y="1903"/>
                    <a:pt x="2531" y="1903"/>
                  </a:cubicBezTo>
                  <a:cubicBezTo>
                    <a:pt x="2460" y="1903"/>
                    <a:pt x="2416" y="1878"/>
                    <a:pt x="2401" y="1844"/>
                  </a:cubicBezTo>
                  <a:cubicBezTo>
                    <a:pt x="2392" y="1825"/>
                    <a:pt x="2379" y="1767"/>
                    <a:pt x="2370" y="1712"/>
                  </a:cubicBezTo>
                  <a:cubicBezTo>
                    <a:pt x="2360" y="1655"/>
                    <a:pt x="2353" y="1598"/>
                    <a:pt x="2351" y="1574"/>
                  </a:cubicBezTo>
                  <a:cubicBezTo>
                    <a:pt x="2351" y="1572"/>
                    <a:pt x="2351" y="1569"/>
                    <a:pt x="2351" y="1567"/>
                  </a:cubicBezTo>
                  <a:cubicBezTo>
                    <a:pt x="2352" y="1528"/>
                    <a:pt x="2370" y="1482"/>
                    <a:pt x="2454" y="1457"/>
                  </a:cubicBezTo>
                  <a:cubicBezTo>
                    <a:pt x="2538" y="1433"/>
                    <a:pt x="2737" y="1407"/>
                    <a:pt x="2851" y="1408"/>
                  </a:cubicBezTo>
                  <a:cubicBezTo>
                    <a:pt x="2866" y="1408"/>
                    <a:pt x="2880" y="1408"/>
                    <a:pt x="2891" y="1409"/>
                  </a:cubicBezTo>
                  <a:cubicBezTo>
                    <a:pt x="2986" y="1418"/>
                    <a:pt x="3016" y="1457"/>
                    <a:pt x="3044" y="1509"/>
                  </a:cubicBezTo>
                  <a:cubicBezTo>
                    <a:pt x="3061" y="1542"/>
                    <a:pt x="3073" y="1622"/>
                    <a:pt x="3072" y="1682"/>
                  </a:cubicBezTo>
                  <a:cubicBezTo>
                    <a:pt x="3072" y="1701"/>
                    <a:pt x="3071" y="1718"/>
                    <a:pt x="3069" y="1731"/>
                  </a:cubicBezTo>
                  <a:cubicBezTo>
                    <a:pt x="3102" y="1735"/>
                    <a:pt x="3102" y="1735"/>
                    <a:pt x="3102" y="1735"/>
                  </a:cubicBezTo>
                  <a:cubicBezTo>
                    <a:pt x="3069" y="1731"/>
                    <a:pt x="3069" y="1731"/>
                    <a:pt x="3069" y="1731"/>
                  </a:cubicBezTo>
                  <a:cubicBezTo>
                    <a:pt x="3069" y="1741"/>
                    <a:pt x="3054" y="1772"/>
                    <a:pt x="3027" y="1799"/>
                  </a:cubicBezTo>
                  <a:cubicBezTo>
                    <a:pt x="3001" y="1827"/>
                    <a:pt x="2965" y="1854"/>
                    <a:pt x="2924" y="1868"/>
                  </a:cubicBezTo>
                  <a:cubicBezTo>
                    <a:pt x="2883" y="1882"/>
                    <a:pt x="2809" y="1891"/>
                    <a:pt x="2736" y="1895"/>
                  </a:cubicBezTo>
                  <a:cubicBezTo>
                    <a:pt x="2662" y="1900"/>
                    <a:pt x="2589" y="1900"/>
                    <a:pt x="2545" y="1903"/>
                  </a:cubicBezTo>
                  <a:close/>
                  <a:moveTo>
                    <a:pt x="3099" y="1832"/>
                  </a:moveTo>
                  <a:cubicBezTo>
                    <a:pt x="3095" y="1820"/>
                    <a:pt x="3095" y="1820"/>
                    <a:pt x="3095" y="1820"/>
                  </a:cubicBezTo>
                  <a:cubicBezTo>
                    <a:pt x="3095" y="1820"/>
                    <a:pt x="3095" y="1820"/>
                    <a:pt x="3095" y="1820"/>
                  </a:cubicBezTo>
                  <a:lnTo>
                    <a:pt x="3099" y="1832"/>
                  </a:lnTo>
                  <a:close/>
                  <a:moveTo>
                    <a:pt x="2781" y="1957"/>
                  </a:moveTo>
                  <a:cubicBezTo>
                    <a:pt x="2842" y="1952"/>
                    <a:pt x="2901" y="1945"/>
                    <a:pt x="2945" y="1930"/>
                  </a:cubicBezTo>
                  <a:cubicBezTo>
                    <a:pt x="2998" y="1911"/>
                    <a:pt x="3043" y="1878"/>
                    <a:pt x="3075" y="1844"/>
                  </a:cubicBezTo>
                  <a:cubicBezTo>
                    <a:pt x="3078" y="1841"/>
                    <a:pt x="3080" y="1838"/>
                    <a:pt x="3083" y="1835"/>
                  </a:cubicBezTo>
                  <a:cubicBezTo>
                    <a:pt x="3083" y="1835"/>
                    <a:pt x="3084" y="1836"/>
                    <a:pt x="3084" y="1836"/>
                  </a:cubicBezTo>
                  <a:cubicBezTo>
                    <a:pt x="3091" y="1839"/>
                    <a:pt x="3100" y="1842"/>
                    <a:pt x="3110" y="1846"/>
                  </a:cubicBezTo>
                  <a:cubicBezTo>
                    <a:pt x="3132" y="1854"/>
                    <a:pt x="3161" y="1864"/>
                    <a:pt x="3193" y="1875"/>
                  </a:cubicBezTo>
                  <a:cubicBezTo>
                    <a:pt x="3258" y="1895"/>
                    <a:pt x="3337" y="1917"/>
                    <a:pt x="3396" y="1923"/>
                  </a:cubicBezTo>
                  <a:cubicBezTo>
                    <a:pt x="3403" y="1924"/>
                    <a:pt x="3411" y="1924"/>
                    <a:pt x="3419" y="1924"/>
                  </a:cubicBezTo>
                  <a:cubicBezTo>
                    <a:pt x="3491" y="1924"/>
                    <a:pt x="3598" y="1897"/>
                    <a:pt x="3691" y="1871"/>
                  </a:cubicBezTo>
                  <a:cubicBezTo>
                    <a:pt x="3748" y="1855"/>
                    <a:pt x="3798" y="1840"/>
                    <a:pt x="3829" y="1830"/>
                  </a:cubicBezTo>
                  <a:cubicBezTo>
                    <a:pt x="3856" y="1865"/>
                    <a:pt x="3885" y="1896"/>
                    <a:pt x="3926" y="1919"/>
                  </a:cubicBezTo>
                  <a:cubicBezTo>
                    <a:pt x="3960" y="1937"/>
                    <a:pt x="3995" y="1944"/>
                    <a:pt x="4033" y="1949"/>
                  </a:cubicBezTo>
                  <a:cubicBezTo>
                    <a:pt x="4070" y="1954"/>
                    <a:pt x="4108" y="1955"/>
                    <a:pt x="4144" y="1955"/>
                  </a:cubicBezTo>
                  <a:cubicBezTo>
                    <a:pt x="4177" y="1955"/>
                    <a:pt x="4207" y="1954"/>
                    <a:pt x="4232" y="1952"/>
                  </a:cubicBezTo>
                  <a:cubicBezTo>
                    <a:pt x="4255" y="1950"/>
                    <a:pt x="4338" y="1946"/>
                    <a:pt x="4435" y="1941"/>
                  </a:cubicBezTo>
                  <a:cubicBezTo>
                    <a:pt x="4400" y="1976"/>
                    <a:pt x="4354" y="2021"/>
                    <a:pt x="4298" y="2068"/>
                  </a:cubicBezTo>
                  <a:cubicBezTo>
                    <a:pt x="4172" y="2175"/>
                    <a:pt x="4002" y="2291"/>
                    <a:pt x="3829" y="2332"/>
                  </a:cubicBezTo>
                  <a:cubicBezTo>
                    <a:pt x="3704" y="2361"/>
                    <a:pt x="3639" y="2361"/>
                    <a:pt x="3482" y="2376"/>
                  </a:cubicBezTo>
                  <a:cubicBezTo>
                    <a:pt x="3345" y="2389"/>
                    <a:pt x="3190" y="2402"/>
                    <a:pt x="3069" y="2411"/>
                  </a:cubicBezTo>
                  <a:cubicBezTo>
                    <a:pt x="2984" y="2418"/>
                    <a:pt x="2917" y="2423"/>
                    <a:pt x="2880" y="2426"/>
                  </a:cubicBezTo>
                  <a:lnTo>
                    <a:pt x="2781" y="1957"/>
                  </a:lnTo>
                  <a:close/>
                  <a:moveTo>
                    <a:pt x="2894" y="2491"/>
                  </a:moveTo>
                  <a:cubicBezTo>
                    <a:pt x="2900" y="2491"/>
                    <a:pt x="2907" y="2490"/>
                    <a:pt x="2914" y="2489"/>
                  </a:cubicBezTo>
                  <a:cubicBezTo>
                    <a:pt x="2952" y="2487"/>
                    <a:pt x="3004" y="2482"/>
                    <a:pt x="3066" y="2478"/>
                  </a:cubicBezTo>
                  <a:cubicBezTo>
                    <a:pt x="3189" y="2468"/>
                    <a:pt x="3347" y="2455"/>
                    <a:pt x="3488" y="2441"/>
                  </a:cubicBezTo>
                  <a:cubicBezTo>
                    <a:pt x="3596" y="2431"/>
                    <a:pt x="3663" y="2428"/>
                    <a:pt x="3739" y="2416"/>
                  </a:cubicBezTo>
                  <a:cubicBezTo>
                    <a:pt x="3821" y="2784"/>
                    <a:pt x="3821" y="2784"/>
                    <a:pt x="3821" y="2784"/>
                  </a:cubicBezTo>
                  <a:cubicBezTo>
                    <a:pt x="3819" y="2784"/>
                    <a:pt x="3816" y="2784"/>
                    <a:pt x="3814" y="2784"/>
                  </a:cubicBezTo>
                  <a:cubicBezTo>
                    <a:pt x="3446" y="2804"/>
                    <a:pt x="3306" y="2825"/>
                    <a:pt x="3305" y="2825"/>
                  </a:cubicBezTo>
                  <a:cubicBezTo>
                    <a:pt x="3291" y="2827"/>
                    <a:pt x="3291" y="2827"/>
                    <a:pt x="3291" y="2827"/>
                  </a:cubicBezTo>
                  <a:cubicBezTo>
                    <a:pt x="3295" y="2854"/>
                    <a:pt x="3295" y="2854"/>
                    <a:pt x="3295" y="2854"/>
                  </a:cubicBezTo>
                  <a:cubicBezTo>
                    <a:pt x="3285" y="2855"/>
                    <a:pt x="3270" y="2856"/>
                    <a:pt x="3253" y="2858"/>
                  </a:cubicBezTo>
                  <a:cubicBezTo>
                    <a:pt x="3219" y="2861"/>
                    <a:pt x="3172" y="2866"/>
                    <a:pt x="3126" y="2870"/>
                  </a:cubicBezTo>
                  <a:cubicBezTo>
                    <a:pt x="3069" y="2876"/>
                    <a:pt x="3012" y="2881"/>
                    <a:pt x="2977" y="2884"/>
                  </a:cubicBezTo>
                  <a:lnTo>
                    <a:pt x="2894" y="2491"/>
                  </a:lnTo>
                  <a:close/>
                  <a:moveTo>
                    <a:pt x="2980" y="2898"/>
                  </a:moveTo>
                  <a:cubicBezTo>
                    <a:pt x="3058" y="2891"/>
                    <a:pt x="3242" y="2873"/>
                    <a:pt x="3297" y="2868"/>
                  </a:cubicBezTo>
                  <a:cubicBezTo>
                    <a:pt x="3300" y="2892"/>
                    <a:pt x="3300" y="2892"/>
                    <a:pt x="3300" y="2892"/>
                  </a:cubicBezTo>
                  <a:cubicBezTo>
                    <a:pt x="3315" y="2890"/>
                    <a:pt x="3348" y="2885"/>
                    <a:pt x="3428" y="2877"/>
                  </a:cubicBezTo>
                  <a:cubicBezTo>
                    <a:pt x="3508" y="2870"/>
                    <a:pt x="3634" y="2860"/>
                    <a:pt x="3818" y="2850"/>
                  </a:cubicBezTo>
                  <a:cubicBezTo>
                    <a:pt x="3831" y="2849"/>
                    <a:pt x="3845" y="2848"/>
                    <a:pt x="3859" y="2848"/>
                  </a:cubicBezTo>
                  <a:cubicBezTo>
                    <a:pt x="3895" y="2848"/>
                    <a:pt x="3932" y="2851"/>
                    <a:pt x="3969" y="2855"/>
                  </a:cubicBezTo>
                  <a:cubicBezTo>
                    <a:pt x="3970" y="2867"/>
                    <a:pt x="3970" y="2881"/>
                    <a:pt x="3970" y="2899"/>
                  </a:cubicBezTo>
                  <a:cubicBezTo>
                    <a:pt x="3971" y="2941"/>
                    <a:pt x="3971" y="2998"/>
                    <a:pt x="3971" y="3060"/>
                  </a:cubicBezTo>
                  <a:cubicBezTo>
                    <a:pt x="3928" y="3058"/>
                    <a:pt x="3544" y="3046"/>
                    <a:pt x="3533" y="3046"/>
                  </a:cubicBezTo>
                  <a:cubicBezTo>
                    <a:pt x="3521" y="3046"/>
                    <a:pt x="3191" y="3054"/>
                    <a:pt x="3191" y="3054"/>
                  </a:cubicBezTo>
                  <a:cubicBezTo>
                    <a:pt x="3015" y="3064"/>
                    <a:pt x="3015" y="3064"/>
                    <a:pt x="3015" y="3064"/>
                  </a:cubicBezTo>
                  <a:lnTo>
                    <a:pt x="2980" y="2898"/>
                  </a:lnTo>
                  <a:close/>
                  <a:moveTo>
                    <a:pt x="3969" y="3505"/>
                  </a:moveTo>
                  <a:cubicBezTo>
                    <a:pt x="3913" y="3483"/>
                    <a:pt x="3585" y="3353"/>
                    <a:pt x="3585" y="3353"/>
                  </a:cubicBezTo>
                  <a:cubicBezTo>
                    <a:pt x="3583" y="3352"/>
                    <a:pt x="3583" y="3352"/>
                    <a:pt x="3583" y="3352"/>
                  </a:cubicBezTo>
                  <a:cubicBezTo>
                    <a:pt x="3077" y="3360"/>
                    <a:pt x="3077" y="3360"/>
                    <a:pt x="3077" y="3360"/>
                  </a:cubicBezTo>
                  <a:cubicBezTo>
                    <a:pt x="3051" y="3235"/>
                    <a:pt x="3051" y="3235"/>
                    <a:pt x="3051" y="3235"/>
                  </a:cubicBezTo>
                  <a:cubicBezTo>
                    <a:pt x="3600" y="3238"/>
                    <a:pt x="3600" y="3238"/>
                    <a:pt x="3600" y="3238"/>
                  </a:cubicBezTo>
                  <a:cubicBezTo>
                    <a:pt x="3971" y="3305"/>
                    <a:pt x="3971" y="3305"/>
                    <a:pt x="3971" y="3305"/>
                  </a:cubicBezTo>
                  <a:cubicBezTo>
                    <a:pt x="3970" y="3387"/>
                    <a:pt x="3970" y="3459"/>
                    <a:pt x="3969" y="3505"/>
                  </a:cubicBezTo>
                  <a:close/>
                  <a:moveTo>
                    <a:pt x="3971" y="3291"/>
                  </a:moveTo>
                  <a:cubicBezTo>
                    <a:pt x="3602" y="3224"/>
                    <a:pt x="3602" y="3224"/>
                    <a:pt x="3602" y="3224"/>
                  </a:cubicBezTo>
                  <a:cubicBezTo>
                    <a:pt x="3048" y="3221"/>
                    <a:pt x="3048" y="3221"/>
                    <a:pt x="3048" y="3221"/>
                  </a:cubicBezTo>
                  <a:cubicBezTo>
                    <a:pt x="3018" y="3078"/>
                    <a:pt x="3018" y="3078"/>
                    <a:pt x="3018" y="3078"/>
                  </a:cubicBezTo>
                  <a:cubicBezTo>
                    <a:pt x="3191" y="3068"/>
                    <a:pt x="3191" y="3068"/>
                    <a:pt x="3191" y="3068"/>
                  </a:cubicBezTo>
                  <a:cubicBezTo>
                    <a:pt x="3192" y="3068"/>
                    <a:pt x="3522" y="3060"/>
                    <a:pt x="3533" y="3060"/>
                  </a:cubicBezTo>
                  <a:cubicBezTo>
                    <a:pt x="3543" y="3060"/>
                    <a:pt x="3935" y="3073"/>
                    <a:pt x="3971" y="3074"/>
                  </a:cubicBezTo>
                  <a:cubicBezTo>
                    <a:pt x="3971" y="3075"/>
                    <a:pt x="3972" y="3077"/>
                    <a:pt x="3972" y="3079"/>
                  </a:cubicBezTo>
                  <a:cubicBezTo>
                    <a:pt x="3972" y="3148"/>
                    <a:pt x="3971" y="3222"/>
                    <a:pt x="3971" y="3291"/>
                  </a:cubicBezTo>
                  <a:close/>
                  <a:moveTo>
                    <a:pt x="4555" y="3586"/>
                  </a:moveTo>
                  <a:cubicBezTo>
                    <a:pt x="4516" y="3580"/>
                    <a:pt x="4396" y="3565"/>
                    <a:pt x="4276" y="3549"/>
                  </a:cubicBezTo>
                  <a:cubicBezTo>
                    <a:pt x="4144" y="3531"/>
                    <a:pt x="4010" y="3513"/>
                    <a:pt x="3983" y="3509"/>
                  </a:cubicBezTo>
                  <a:cubicBezTo>
                    <a:pt x="3983" y="3464"/>
                    <a:pt x="3984" y="3390"/>
                    <a:pt x="3985" y="3307"/>
                  </a:cubicBezTo>
                  <a:cubicBezTo>
                    <a:pt x="4054" y="3317"/>
                    <a:pt x="4471" y="3376"/>
                    <a:pt x="4580" y="3390"/>
                  </a:cubicBezTo>
                  <a:lnTo>
                    <a:pt x="4555" y="3586"/>
                  </a:lnTo>
                  <a:close/>
                  <a:moveTo>
                    <a:pt x="4582" y="3376"/>
                  </a:moveTo>
                  <a:cubicBezTo>
                    <a:pt x="4531" y="3370"/>
                    <a:pt x="4409" y="3353"/>
                    <a:pt x="4289" y="3336"/>
                  </a:cubicBezTo>
                  <a:cubicBezTo>
                    <a:pt x="4153" y="3317"/>
                    <a:pt x="4018" y="3298"/>
                    <a:pt x="3985" y="3293"/>
                  </a:cubicBezTo>
                  <a:cubicBezTo>
                    <a:pt x="3985" y="3224"/>
                    <a:pt x="3985" y="3148"/>
                    <a:pt x="3985" y="3079"/>
                  </a:cubicBezTo>
                  <a:cubicBezTo>
                    <a:pt x="3985" y="3078"/>
                    <a:pt x="3985" y="3077"/>
                    <a:pt x="3985" y="3075"/>
                  </a:cubicBezTo>
                  <a:cubicBezTo>
                    <a:pt x="4609" y="3169"/>
                    <a:pt x="4609" y="3169"/>
                    <a:pt x="4609" y="3169"/>
                  </a:cubicBezTo>
                  <a:lnTo>
                    <a:pt x="4582" y="3376"/>
                  </a:lnTo>
                  <a:close/>
                  <a:moveTo>
                    <a:pt x="4610" y="3156"/>
                  </a:moveTo>
                  <a:cubicBezTo>
                    <a:pt x="3985" y="3061"/>
                    <a:pt x="3985" y="3061"/>
                    <a:pt x="3985" y="3061"/>
                  </a:cubicBezTo>
                  <a:cubicBezTo>
                    <a:pt x="3985" y="2974"/>
                    <a:pt x="3985" y="2899"/>
                    <a:pt x="3983" y="2857"/>
                  </a:cubicBezTo>
                  <a:cubicBezTo>
                    <a:pt x="4212" y="2887"/>
                    <a:pt x="4452" y="2988"/>
                    <a:pt x="4569" y="3043"/>
                  </a:cubicBezTo>
                  <a:cubicBezTo>
                    <a:pt x="4591" y="3053"/>
                    <a:pt x="4609" y="3062"/>
                    <a:pt x="4621" y="3068"/>
                  </a:cubicBezTo>
                  <a:lnTo>
                    <a:pt x="4610" y="3156"/>
                  </a:lnTo>
                  <a:close/>
                  <a:moveTo>
                    <a:pt x="4630" y="2999"/>
                  </a:moveTo>
                  <a:cubicBezTo>
                    <a:pt x="4516" y="2943"/>
                    <a:pt x="4186" y="2793"/>
                    <a:pt x="3888" y="2783"/>
                  </a:cubicBezTo>
                  <a:cubicBezTo>
                    <a:pt x="3803" y="2405"/>
                    <a:pt x="3803" y="2405"/>
                    <a:pt x="3803" y="2405"/>
                  </a:cubicBezTo>
                  <a:cubicBezTo>
                    <a:pt x="3816" y="2402"/>
                    <a:pt x="3830" y="2399"/>
                    <a:pt x="3844" y="2396"/>
                  </a:cubicBezTo>
                  <a:cubicBezTo>
                    <a:pt x="4162" y="2319"/>
                    <a:pt x="4445" y="2029"/>
                    <a:pt x="4530" y="1936"/>
                  </a:cubicBezTo>
                  <a:cubicBezTo>
                    <a:pt x="4541" y="1936"/>
                    <a:pt x="4551" y="1935"/>
                    <a:pt x="4562" y="1934"/>
                  </a:cubicBezTo>
                  <a:cubicBezTo>
                    <a:pt x="4640" y="1931"/>
                    <a:pt x="4715" y="1927"/>
                    <a:pt x="4767" y="1925"/>
                  </a:cubicBezTo>
                  <a:lnTo>
                    <a:pt x="4630" y="2999"/>
                  </a:lnTo>
                  <a:close/>
                  <a:moveTo>
                    <a:pt x="4828" y="1769"/>
                  </a:moveTo>
                  <a:cubicBezTo>
                    <a:pt x="4803" y="1770"/>
                    <a:pt x="4683" y="1776"/>
                    <a:pt x="4555" y="1782"/>
                  </a:cubicBezTo>
                  <a:cubicBezTo>
                    <a:pt x="4439" y="1788"/>
                    <a:pt x="4319" y="1794"/>
                    <a:pt x="4255" y="1798"/>
                  </a:cubicBezTo>
                  <a:cubicBezTo>
                    <a:pt x="4602" y="766"/>
                    <a:pt x="4602" y="766"/>
                    <a:pt x="4602" y="766"/>
                  </a:cubicBezTo>
                  <a:cubicBezTo>
                    <a:pt x="5087" y="1084"/>
                    <a:pt x="5087" y="1084"/>
                    <a:pt x="5087" y="1084"/>
                  </a:cubicBezTo>
                  <a:cubicBezTo>
                    <a:pt x="5093" y="1136"/>
                    <a:pt x="5093" y="1136"/>
                    <a:pt x="5093" y="1136"/>
                  </a:cubicBezTo>
                  <a:cubicBezTo>
                    <a:pt x="5054" y="1728"/>
                    <a:pt x="5054" y="1728"/>
                    <a:pt x="5054" y="1728"/>
                  </a:cubicBezTo>
                  <a:lnTo>
                    <a:pt x="4828" y="1769"/>
                  </a:lnTo>
                  <a:close/>
                  <a:moveTo>
                    <a:pt x="5516" y="3513"/>
                  </a:moveTo>
                  <a:cubicBezTo>
                    <a:pt x="4947" y="3429"/>
                    <a:pt x="4947" y="3429"/>
                    <a:pt x="4947" y="3429"/>
                  </a:cubicBezTo>
                  <a:cubicBezTo>
                    <a:pt x="4956" y="3357"/>
                    <a:pt x="4965" y="3287"/>
                    <a:pt x="4974" y="3218"/>
                  </a:cubicBezTo>
                  <a:cubicBezTo>
                    <a:pt x="5538" y="3302"/>
                    <a:pt x="5538" y="3302"/>
                    <a:pt x="5538" y="3302"/>
                  </a:cubicBezTo>
                  <a:lnTo>
                    <a:pt x="5516" y="3513"/>
                  </a:lnTo>
                  <a:close/>
                  <a:moveTo>
                    <a:pt x="5539" y="3288"/>
                  </a:moveTo>
                  <a:cubicBezTo>
                    <a:pt x="4975" y="3204"/>
                    <a:pt x="4975" y="3204"/>
                    <a:pt x="4975" y="3204"/>
                  </a:cubicBezTo>
                  <a:cubicBezTo>
                    <a:pt x="5005" y="2972"/>
                    <a:pt x="5032" y="2755"/>
                    <a:pt x="5056" y="2566"/>
                  </a:cubicBezTo>
                  <a:cubicBezTo>
                    <a:pt x="5603" y="2656"/>
                    <a:pt x="5603" y="2656"/>
                    <a:pt x="5603" y="2656"/>
                  </a:cubicBezTo>
                  <a:lnTo>
                    <a:pt x="5539" y="3288"/>
                  </a:lnTo>
                  <a:close/>
                  <a:moveTo>
                    <a:pt x="5605" y="2642"/>
                  </a:moveTo>
                  <a:cubicBezTo>
                    <a:pt x="5058" y="2552"/>
                    <a:pt x="5058" y="2552"/>
                    <a:pt x="5058" y="2552"/>
                  </a:cubicBezTo>
                  <a:cubicBezTo>
                    <a:pt x="5098" y="2239"/>
                    <a:pt x="5127" y="2003"/>
                    <a:pt x="5141" y="1896"/>
                  </a:cubicBezTo>
                  <a:cubicBezTo>
                    <a:pt x="5202" y="1910"/>
                    <a:pt x="5288" y="1929"/>
                    <a:pt x="5374" y="1948"/>
                  </a:cubicBezTo>
                  <a:cubicBezTo>
                    <a:pt x="5497" y="1976"/>
                    <a:pt x="5621" y="2004"/>
                    <a:pt x="5667" y="2015"/>
                  </a:cubicBezTo>
                  <a:cubicBezTo>
                    <a:pt x="5668" y="2017"/>
                    <a:pt x="5668" y="2017"/>
                    <a:pt x="5668" y="2017"/>
                  </a:cubicBezTo>
                  <a:lnTo>
                    <a:pt x="5605" y="2642"/>
                  </a:lnTo>
                  <a:close/>
                  <a:moveTo>
                    <a:pt x="6695" y="1906"/>
                  </a:moveTo>
                  <a:cubicBezTo>
                    <a:pt x="6241" y="1889"/>
                    <a:pt x="5787" y="1873"/>
                    <a:pt x="5718" y="1871"/>
                  </a:cubicBezTo>
                  <a:cubicBezTo>
                    <a:pt x="5713" y="1870"/>
                    <a:pt x="5706" y="1868"/>
                    <a:pt x="5698" y="1866"/>
                  </a:cubicBezTo>
                  <a:cubicBezTo>
                    <a:pt x="5682" y="1862"/>
                    <a:pt x="5659" y="1857"/>
                    <a:pt x="5632" y="1851"/>
                  </a:cubicBezTo>
                  <a:cubicBezTo>
                    <a:pt x="5577" y="1838"/>
                    <a:pt x="5505" y="1822"/>
                    <a:pt x="5430" y="1805"/>
                  </a:cubicBezTo>
                  <a:cubicBezTo>
                    <a:pt x="5306" y="1777"/>
                    <a:pt x="5178" y="1748"/>
                    <a:pt x="5119" y="1735"/>
                  </a:cubicBezTo>
                  <a:cubicBezTo>
                    <a:pt x="5159" y="1135"/>
                    <a:pt x="5159" y="1135"/>
                    <a:pt x="5159" y="1135"/>
                  </a:cubicBezTo>
                  <a:cubicBezTo>
                    <a:pt x="5081" y="457"/>
                    <a:pt x="5081" y="457"/>
                    <a:pt x="5081" y="457"/>
                  </a:cubicBezTo>
                  <a:cubicBezTo>
                    <a:pt x="5082" y="440"/>
                    <a:pt x="5086" y="339"/>
                    <a:pt x="5090" y="203"/>
                  </a:cubicBezTo>
                  <a:cubicBezTo>
                    <a:pt x="5228" y="240"/>
                    <a:pt x="5903" y="420"/>
                    <a:pt x="6037" y="449"/>
                  </a:cubicBezTo>
                  <a:cubicBezTo>
                    <a:pt x="6133" y="471"/>
                    <a:pt x="6249" y="506"/>
                    <a:pt x="6410" y="506"/>
                  </a:cubicBezTo>
                  <a:cubicBezTo>
                    <a:pt x="6411" y="506"/>
                    <a:pt x="6411" y="506"/>
                    <a:pt x="6411" y="506"/>
                  </a:cubicBezTo>
                  <a:cubicBezTo>
                    <a:pt x="6484" y="506"/>
                    <a:pt x="6568" y="498"/>
                    <a:pt x="6662" y="479"/>
                  </a:cubicBezTo>
                  <a:cubicBezTo>
                    <a:pt x="7169" y="1923"/>
                    <a:pt x="7169" y="1923"/>
                    <a:pt x="7169" y="1923"/>
                  </a:cubicBezTo>
                  <a:cubicBezTo>
                    <a:pt x="7023" y="1917"/>
                    <a:pt x="6859" y="1911"/>
                    <a:pt x="6695" y="1906"/>
                  </a:cubicBezTo>
                  <a:close/>
                  <a:moveTo>
                    <a:pt x="10817" y="606"/>
                  </a:moveTo>
                  <a:cubicBezTo>
                    <a:pt x="10932" y="586"/>
                    <a:pt x="10932" y="586"/>
                    <a:pt x="10932" y="586"/>
                  </a:cubicBezTo>
                  <a:cubicBezTo>
                    <a:pt x="10907" y="441"/>
                    <a:pt x="10907" y="441"/>
                    <a:pt x="10907" y="441"/>
                  </a:cubicBezTo>
                  <a:cubicBezTo>
                    <a:pt x="10752" y="467"/>
                    <a:pt x="10752" y="467"/>
                    <a:pt x="10752" y="467"/>
                  </a:cubicBezTo>
                  <a:cubicBezTo>
                    <a:pt x="10738" y="387"/>
                    <a:pt x="10738" y="387"/>
                    <a:pt x="10738" y="387"/>
                  </a:cubicBezTo>
                  <a:cubicBezTo>
                    <a:pt x="10897" y="360"/>
                    <a:pt x="10897" y="360"/>
                    <a:pt x="10897" y="360"/>
                  </a:cubicBezTo>
                  <a:cubicBezTo>
                    <a:pt x="10889" y="313"/>
                    <a:pt x="10889" y="313"/>
                    <a:pt x="10889" y="313"/>
                  </a:cubicBezTo>
                  <a:cubicBezTo>
                    <a:pt x="11039" y="287"/>
                    <a:pt x="11039" y="287"/>
                    <a:pt x="11039" y="287"/>
                  </a:cubicBezTo>
                  <a:cubicBezTo>
                    <a:pt x="11022" y="189"/>
                    <a:pt x="11022" y="189"/>
                    <a:pt x="11022" y="189"/>
                  </a:cubicBezTo>
                  <a:cubicBezTo>
                    <a:pt x="11077" y="180"/>
                    <a:pt x="11077" y="180"/>
                    <a:pt x="11077" y="180"/>
                  </a:cubicBezTo>
                  <a:cubicBezTo>
                    <a:pt x="11096" y="278"/>
                    <a:pt x="11096" y="278"/>
                    <a:pt x="11096" y="278"/>
                  </a:cubicBezTo>
                  <a:cubicBezTo>
                    <a:pt x="11137" y="271"/>
                    <a:pt x="11137" y="271"/>
                    <a:pt x="11137" y="271"/>
                  </a:cubicBezTo>
                  <a:cubicBezTo>
                    <a:pt x="11165" y="439"/>
                    <a:pt x="11165" y="439"/>
                    <a:pt x="11165" y="439"/>
                  </a:cubicBezTo>
                  <a:cubicBezTo>
                    <a:pt x="11260" y="423"/>
                    <a:pt x="11260" y="423"/>
                    <a:pt x="11260" y="423"/>
                  </a:cubicBezTo>
                  <a:cubicBezTo>
                    <a:pt x="11278" y="525"/>
                    <a:pt x="11278" y="525"/>
                    <a:pt x="11278" y="525"/>
                  </a:cubicBezTo>
                  <a:cubicBezTo>
                    <a:pt x="11184" y="541"/>
                    <a:pt x="11184" y="541"/>
                    <a:pt x="11184" y="541"/>
                  </a:cubicBezTo>
                  <a:cubicBezTo>
                    <a:pt x="11192" y="591"/>
                    <a:pt x="11192" y="591"/>
                    <a:pt x="11192" y="591"/>
                  </a:cubicBezTo>
                  <a:cubicBezTo>
                    <a:pt x="10963" y="630"/>
                    <a:pt x="10963" y="630"/>
                    <a:pt x="10963" y="630"/>
                  </a:cubicBezTo>
                  <a:cubicBezTo>
                    <a:pt x="10986" y="764"/>
                    <a:pt x="10986" y="764"/>
                    <a:pt x="10986" y="764"/>
                  </a:cubicBezTo>
                  <a:cubicBezTo>
                    <a:pt x="10847" y="788"/>
                    <a:pt x="10847" y="788"/>
                    <a:pt x="10847" y="788"/>
                  </a:cubicBezTo>
                  <a:lnTo>
                    <a:pt x="10817" y="606"/>
                  </a:lnTo>
                  <a:close/>
                  <a:moveTo>
                    <a:pt x="7759" y="829"/>
                  </a:moveTo>
                  <a:cubicBezTo>
                    <a:pt x="7717" y="740"/>
                    <a:pt x="7663" y="622"/>
                    <a:pt x="7617" y="507"/>
                  </a:cubicBezTo>
                  <a:cubicBezTo>
                    <a:pt x="7579" y="414"/>
                    <a:pt x="7569" y="335"/>
                    <a:pt x="7569" y="275"/>
                  </a:cubicBezTo>
                  <a:cubicBezTo>
                    <a:pt x="7569" y="203"/>
                    <a:pt x="7584" y="158"/>
                    <a:pt x="7587" y="150"/>
                  </a:cubicBezTo>
                  <a:cubicBezTo>
                    <a:pt x="7658" y="22"/>
                    <a:pt x="7658" y="22"/>
                    <a:pt x="7658" y="22"/>
                  </a:cubicBezTo>
                  <a:cubicBezTo>
                    <a:pt x="8871" y="743"/>
                    <a:pt x="8871" y="743"/>
                    <a:pt x="8871" y="743"/>
                  </a:cubicBezTo>
                  <a:cubicBezTo>
                    <a:pt x="8874" y="765"/>
                    <a:pt x="8879" y="807"/>
                    <a:pt x="8886" y="863"/>
                  </a:cubicBezTo>
                  <a:cubicBezTo>
                    <a:pt x="8850" y="865"/>
                    <a:pt x="8788" y="870"/>
                    <a:pt x="8709" y="877"/>
                  </a:cubicBezTo>
                  <a:cubicBezTo>
                    <a:pt x="8601" y="886"/>
                    <a:pt x="8464" y="899"/>
                    <a:pt x="8329" y="911"/>
                  </a:cubicBezTo>
                  <a:cubicBezTo>
                    <a:pt x="8106" y="931"/>
                    <a:pt x="7890" y="952"/>
                    <a:pt x="7822" y="958"/>
                  </a:cubicBezTo>
                  <a:cubicBezTo>
                    <a:pt x="7810" y="934"/>
                    <a:pt x="7787" y="888"/>
                    <a:pt x="7759" y="829"/>
                  </a:cubicBezTo>
                  <a:close/>
                  <a:moveTo>
                    <a:pt x="7885" y="1957"/>
                  </a:moveTo>
                  <a:cubicBezTo>
                    <a:pt x="7866" y="1954"/>
                    <a:pt x="7846" y="1952"/>
                    <a:pt x="7827" y="1950"/>
                  </a:cubicBezTo>
                  <a:cubicBezTo>
                    <a:pt x="7914" y="1711"/>
                    <a:pt x="7914" y="1711"/>
                    <a:pt x="7914" y="1711"/>
                  </a:cubicBezTo>
                  <a:cubicBezTo>
                    <a:pt x="7839" y="1022"/>
                    <a:pt x="7839" y="1022"/>
                    <a:pt x="7839" y="1022"/>
                  </a:cubicBezTo>
                  <a:cubicBezTo>
                    <a:pt x="7892" y="1017"/>
                    <a:pt x="8005" y="1007"/>
                    <a:pt x="8139" y="994"/>
                  </a:cubicBezTo>
                  <a:cubicBezTo>
                    <a:pt x="8326" y="977"/>
                    <a:pt x="8553" y="956"/>
                    <a:pt x="8714" y="942"/>
                  </a:cubicBezTo>
                  <a:cubicBezTo>
                    <a:pt x="8795" y="935"/>
                    <a:pt x="8861" y="930"/>
                    <a:pt x="8895" y="928"/>
                  </a:cubicBezTo>
                  <a:cubicBezTo>
                    <a:pt x="8900" y="969"/>
                    <a:pt x="8905" y="1013"/>
                    <a:pt x="8911" y="1060"/>
                  </a:cubicBezTo>
                  <a:cubicBezTo>
                    <a:pt x="8934" y="1245"/>
                    <a:pt x="8962" y="1466"/>
                    <a:pt x="8978" y="1613"/>
                  </a:cubicBezTo>
                  <a:cubicBezTo>
                    <a:pt x="8981" y="1641"/>
                    <a:pt x="8983" y="1668"/>
                    <a:pt x="8983" y="1695"/>
                  </a:cubicBezTo>
                  <a:cubicBezTo>
                    <a:pt x="8983" y="1901"/>
                    <a:pt x="8898" y="2064"/>
                    <a:pt x="8875" y="2104"/>
                  </a:cubicBezTo>
                  <a:cubicBezTo>
                    <a:pt x="8367" y="2028"/>
                    <a:pt x="7923" y="1962"/>
                    <a:pt x="7885" y="1957"/>
                  </a:cubicBezTo>
                  <a:close/>
                  <a:moveTo>
                    <a:pt x="8944" y="2114"/>
                  </a:moveTo>
                  <a:cubicBezTo>
                    <a:pt x="8979" y="2047"/>
                    <a:pt x="9048" y="1891"/>
                    <a:pt x="9048" y="1695"/>
                  </a:cubicBezTo>
                  <a:cubicBezTo>
                    <a:pt x="9048" y="1666"/>
                    <a:pt x="9047" y="1636"/>
                    <a:pt x="9043" y="1605"/>
                  </a:cubicBezTo>
                  <a:cubicBezTo>
                    <a:pt x="9013" y="1332"/>
                    <a:pt x="8945" y="802"/>
                    <a:pt x="8935" y="728"/>
                  </a:cubicBezTo>
                  <a:cubicBezTo>
                    <a:pt x="8936" y="726"/>
                    <a:pt x="8937" y="725"/>
                    <a:pt x="8938" y="723"/>
                  </a:cubicBezTo>
                  <a:cubicBezTo>
                    <a:pt x="8947" y="711"/>
                    <a:pt x="8959" y="694"/>
                    <a:pt x="8973" y="674"/>
                  </a:cubicBezTo>
                  <a:cubicBezTo>
                    <a:pt x="9000" y="635"/>
                    <a:pt x="9035" y="582"/>
                    <a:pt x="9069" y="530"/>
                  </a:cubicBezTo>
                  <a:cubicBezTo>
                    <a:pt x="9122" y="449"/>
                    <a:pt x="9174" y="369"/>
                    <a:pt x="9196" y="336"/>
                  </a:cubicBezTo>
                  <a:cubicBezTo>
                    <a:pt x="10193" y="350"/>
                    <a:pt x="10193" y="350"/>
                    <a:pt x="10193" y="350"/>
                  </a:cubicBezTo>
                  <a:cubicBezTo>
                    <a:pt x="10198" y="400"/>
                    <a:pt x="10209" y="509"/>
                    <a:pt x="10220" y="619"/>
                  </a:cubicBezTo>
                  <a:cubicBezTo>
                    <a:pt x="10233" y="749"/>
                    <a:pt x="10246" y="882"/>
                    <a:pt x="10250" y="923"/>
                  </a:cubicBezTo>
                  <a:cubicBezTo>
                    <a:pt x="10116" y="1096"/>
                    <a:pt x="10116" y="1096"/>
                    <a:pt x="10116" y="1096"/>
                  </a:cubicBezTo>
                  <a:cubicBezTo>
                    <a:pt x="10140" y="1765"/>
                    <a:pt x="10140" y="1765"/>
                    <a:pt x="10140" y="1765"/>
                  </a:cubicBezTo>
                  <a:cubicBezTo>
                    <a:pt x="9986" y="1891"/>
                    <a:pt x="9986" y="1891"/>
                    <a:pt x="9986" y="1891"/>
                  </a:cubicBezTo>
                  <a:cubicBezTo>
                    <a:pt x="9864" y="2251"/>
                    <a:pt x="9864" y="2251"/>
                    <a:pt x="9864" y="2251"/>
                  </a:cubicBezTo>
                  <a:cubicBezTo>
                    <a:pt x="9593" y="2210"/>
                    <a:pt x="9260" y="2161"/>
                    <a:pt x="8944" y="2114"/>
                  </a:cubicBezTo>
                  <a:close/>
                  <a:moveTo>
                    <a:pt x="12939" y="2718"/>
                  </a:moveTo>
                  <a:cubicBezTo>
                    <a:pt x="12838" y="2931"/>
                    <a:pt x="12707" y="3209"/>
                    <a:pt x="12566" y="3502"/>
                  </a:cubicBezTo>
                  <a:cubicBezTo>
                    <a:pt x="11657" y="2919"/>
                    <a:pt x="11657" y="2919"/>
                    <a:pt x="11657" y="2919"/>
                  </a:cubicBezTo>
                  <a:cubicBezTo>
                    <a:pt x="11578" y="2869"/>
                    <a:pt x="11399" y="2766"/>
                    <a:pt x="11218" y="2666"/>
                  </a:cubicBezTo>
                  <a:cubicBezTo>
                    <a:pt x="11036" y="2565"/>
                    <a:pt x="10856" y="2468"/>
                    <a:pt x="10772" y="2430"/>
                  </a:cubicBezTo>
                  <a:cubicBezTo>
                    <a:pt x="10612" y="2358"/>
                    <a:pt x="10452" y="2338"/>
                    <a:pt x="10429" y="2335"/>
                  </a:cubicBezTo>
                  <a:cubicBezTo>
                    <a:pt x="10424" y="2334"/>
                    <a:pt x="10220" y="2304"/>
                    <a:pt x="9930" y="2261"/>
                  </a:cubicBezTo>
                  <a:cubicBezTo>
                    <a:pt x="10042" y="1930"/>
                    <a:pt x="10042" y="1930"/>
                    <a:pt x="10042" y="1930"/>
                  </a:cubicBezTo>
                  <a:cubicBezTo>
                    <a:pt x="10207" y="1795"/>
                    <a:pt x="10207" y="1795"/>
                    <a:pt x="10207" y="1795"/>
                  </a:cubicBezTo>
                  <a:cubicBezTo>
                    <a:pt x="10182" y="1118"/>
                    <a:pt x="10182" y="1118"/>
                    <a:pt x="10182" y="1118"/>
                  </a:cubicBezTo>
                  <a:cubicBezTo>
                    <a:pt x="10302" y="963"/>
                    <a:pt x="10302" y="963"/>
                    <a:pt x="10302" y="963"/>
                  </a:cubicBezTo>
                  <a:cubicBezTo>
                    <a:pt x="11912" y="675"/>
                    <a:pt x="11912" y="675"/>
                    <a:pt x="11912" y="675"/>
                  </a:cubicBezTo>
                  <a:cubicBezTo>
                    <a:pt x="12107" y="1959"/>
                    <a:pt x="12107" y="1959"/>
                    <a:pt x="12107" y="1959"/>
                  </a:cubicBezTo>
                  <a:cubicBezTo>
                    <a:pt x="13109" y="2355"/>
                    <a:pt x="13109" y="2355"/>
                    <a:pt x="13109" y="2355"/>
                  </a:cubicBezTo>
                  <a:cubicBezTo>
                    <a:pt x="13082" y="2414"/>
                    <a:pt x="13021" y="2544"/>
                    <a:pt x="12939" y="2718"/>
                  </a:cubicBezTo>
                  <a:close/>
                  <a:moveTo>
                    <a:pt x="101" y="552"/>
                  </a:moveTo>
                  <a:cubicBezTo>
                    <a:pt x="66" y="564"/>
                    <a:pt x="33" y="576"/>
                    <a:pt x="0" y="587"/>
                  </a:cubicBezTo>
                  <a:cubicBezTo>
                    <a:pt x="0" y="539"/>
                    <a:pt x="0" y="539"/>
                    <a:pt x="0" y="539"/>
                  </a:cubicBezTo>
                  <a:cubicBezTo>
                    <a:pt x="28" y="529"/>
                    <a:pt x="57" y="519"/>
                    <a:pt x="86" y="509"/>
                  </a:cubicBezTo>
                  <a:cubicBezTo>
                    <a:pt x="211" y="466"/>
                    <a:pt x="283" y="418"/>
                    <a:pt x="325" y="361"/>
                  </a:cubicBezTo>
                  <a:cubicBezTo>
                    <a:pt x="366" y="305"/>
                    <a:pt x="380" y="236"/>
                    <a:pt x="380" y="146"/>
                  </a:cubicBezTo>
                  <a:cubicBezTo>
                    <a:pt x="380" y="102"/>
                    <a:pt x="376" y="54"/>
                    <a:pt x="372" y="0"/>
                  </a:cubicBezTo>
                  <a:cubicBezTo>
                    <a:pt x="417" y="0"/>
                    <a:pt x="417" y="0"/>
                    <a:pt x="417" y="0"/>
                  </a:cubicBezTo>
                  <a:cubicBezTo>
                    <a:pt x="422" y="53"/>
                    <a:pt x="425" y="101"/>
                    <a:pt x="425" y="146"/>
                  </a:cubicBezTo>
                  <a:cubicBezTo>
                    <a:pt x="425" y="240"/>
                    <a:pt x="411" y="320"/>
                    <a:pt x="361" y="388"/>
                  </a:cubicBezTo>
                  <a:cubicBezTo>
                    <a:pt x="312" y="456"/>
                    <a:pt x="230" y="508"/>
                    <a:pt x="101" y="552"/>
                  </a:cubicBezTo>
                  <a:close/>
                </a:path>
              </a:pathLst>
            </a:custGeom>
            <a:gradFill>
              <a:gsLst>
                <a:gs pos="40000">
                  <a:srgbClr val="FFFFFF"/>
                </a:gs>
                <a:gs pos="100000">
                  <a:srgbClr val="B0AAB2"/>
                </a:gs>
              </a:gsLst>
              <a:lin ang="0" scaled="1"/>
            </a:gradFill>
            <a:ln>
              <a:noFill/>
            </a:ln>
          </p:spPr>
          <p:txBody>
            <a:bodyPr vert="horz" wrap="square" lIns="91440" tIns="45720" rIns="91440" bIns="45720" numCol="1" anchor="t" anchorCtr="0" compatLnSpc="1">
              <a:prstTxWarp prst="textNoShape">
                <a:avLst/>
              </a:prstTxWarp>
            </a:bodyPr>
            <a:lstStyle/>
            <a:p>
              <a:endParaRPr lang="nl-NL" dirty="0"/>
            </a:p>
          </p:txBody>
        </p:sp>
        <p:sp>
          <p:nvSpPr>
            <p:cNvPr id="7" name="Freeform 6">
              <a:extLst>
                <a:ext uri="{FF2B5EF4-FFF2-40B4-BE49-F238E27FC236}">
                  <a16:creationId xmlns:a16="http://schemas.microsoft.com/office/drawing/2014/main" id="{46C450F8-7C8D-4C02-88DB-8CE9F590B7C0}"/>
                </a:ext>
              </a:extLst>
            </p:cNvPr>
            <p:cNvSpPr>
              <a:spLocks noSelect="1"/>
            </p:cNvSpPr>
            <p:nvPr userDrawn="1"/>
          </p:nvSpPr>
          <p:spPr bwMode="gray">
            <a:xfrm>
              <a:off x="6478669" y="5710320"/>
              <a:ext cx="5716506" cy="1147680"/>
            </a:xfrm>
            <a:custGeom>
              <a:avLst/>
              <a:gdLst>
                <a:gd name="T0" fmla="*/ 98 w 18004"/>
                <a:gd name="T1" fmla="*/ 543 h 3600"/>
                <a:gd name="T2" fmla="*/ 16855 w 18004"/>
                <a:gd name="T3" fmla="*/ 3468 h 3600"/>
                <a:gd name="T4" fmla="*/ 16175 w 18004"/>
                <a:gd name="T5" fmla="*/ 1314 h 3600"/>
                <a:gd name="T6" fmla="*/ 13264 w 18004"/>
                <a:gd name="T7" fmla="*/ 2369 h 3600"/>
                <a:gd name="T8" fmla="*/ 15276 w 18004"/>
                <a:gd name="T9" fmla="*/ 3572 h 3600"/>
                <a:gd name="T10" fmla="*/ 12667 w 18004"/>
                <a:gd name="T11" fmla="*/ 3600 h 3600"/>
                <a:gd name="T12" fmla="*/ 10410 w 18004"/>
                <a:gd name="T13" fmla="*/ 2467 h 3600"/>
                <a:gd name="T14" fmla="*/ 7522 w 18004"/>
                <a:gd name="T15" fmla="*/ 3600 h 3600"/>
                <a:gd name="T16" fmla="*/ 7674 w 18004"/>
                <a:gd name="T17" fmla="*/ 2075 h 3600"/>
                <a:gd name="T18" fmla="*/ 5720 w 18004"/>
                <a:gd name="T19" fmla="*/ 2014 h 3600"/>
                <a:gd name="T20" fmla="*/ 5562 w 18004"/>
                <a:gd name="T21" fmla="*/ 3568 h 3600"/>
                <a:gd name="T22" fmla="*/ 4906 w 18004"/>
                <a:gd name="T23" fmla="*/ 3600 h 3600"/>
                <a:gd name="T24" fmla="*/ 4575 w 18004"/>
                <a:gd name="T25" fmla="*/ 3029 h 3600"/>
                <a:gd name="T26" fmla="*/ 3487 w 18004"/>
                <a:gd name="T27" fmla="*/ 2427 h 3600"/>
                <a:gd name="T28" fmla="*/ 1699 w 18004"/>
                <a:gd name="T29" fmla="*/ 3600 h 3600"/>
                <a:gd name="T30" fmla="*/ 2530 w 18004"/>
                <a:gd name="T31" fmla="*/ 1954 h 3600"/>
                <a:gd name="T32" fmla="*/ 592 w 18004"/>
                <a:gd name="T33" fmla="*/ 1850 h 3600"/>
                <a:gd name="T34" fmla="*/ 1479 w 18004"/>
                <a:gd name="T35" fmla="*/ 1127 h 3600"/>
                <a:gd name="T36" fmla="*/ 2348 w 18004"/>
                <a:gd name="T37" fmla="*/ 261 h 3600"/>
                <a:gd name="T38" fmla="*/ 2303 w 18004"/>
                <a:gd name="T39" fmla="*/ 140 h 3600"/>
                <a:gd name="T40" fmla="*/ 2989 w 18004"/>
                <a:gd name="T41" fmla="*/ 83 h 3600"/>
                <a:gd name="T42" fmla="*/ 3479 w 18004"/>
                <a:gd name="T43" fmla="*/ 399 h 3600"/>
                <a:gd name="T44" fmla="*/ 4050 w 18004"/>
                <a:gd name="T45" fmla="*/ 1816 h 3600"/>
                <a:gd name="T46" fmla="*/ 4600 w 18004"/>
                <a:gd name="T47" fmla="*/ 722 h 3600"/>
                <a:gd name="T48" fmla="*/ 5077 w 18004"/>
                <a:gd name="T49" fmla="*/ 147 h 3600"/>
                <a:gd name="T50" fmla="*/ 6703 w 18004"/>
                <a:gd name="T51" fmla="*/ 440 h 3600"/>
                <a:gd name="T52" fmla="*/ 7785 w 18004"/>
                <a:gd name="T53" fmla="*/ 998 h 3600"/>
                <a:gd name="T54" fmla="*/ 8894 w 18004"/>
                <a:gd name="T55" fmla="*/ 698 h 3600"/>
                <a:gd name="T56" fmla="*/ 10217 w 18004"/>
                <a:gd name="T57" fmla="*/ 300 h 3600"/>
                <a:gd name="T58" fmla="*/ 10299 w 18004"/>
                <a:gd name="T59" fmla="*/ 903 h 3600"/>
                <a:gd name="T60" fmla="*/ 11809 w 18004"/>
                <a:gd name="T61" fmla="*/ 31 h 3600"/>
                <a:gd name="T62" fmla="*/ 13842 w 18004"/>
                <a:gd name="T63" fmla="*/ 315 h 3600"/>
                <a:gd name="T64" fmla="*/ 13942 w 18004"/>
                <a:gd name="T65" fmla="*/ 20 h 3600"/>
                <a:gd name="T66" fmla="*/ 14940 w 18004"/>
                <a:gd name="T67" fmla="*/ 0 h 3600"/>
                <a:gd name="T68" fmla="*/ 17832 w 18004"/>
                <a:gd name="T69" fmla="*/ 2023 h 3600"/>
                <a:gd name="T70" fmla="*/ 3446 w 18004"/>
                <a:gd name="T71" fmla="*/ 654 h 3600"/>
                <a:gd name="T72" fmla="*/ 2963 w 18004"/>
                <a:gd name="T73" fmla="*/ 215 h 3600"/>
                <a:gd name="T74" fmla="*/ 3123 w 18004"/>
                <a:gd name="T75" fmla="*/ 1682 h 3600"/>
                <a:gd name="T76" fmla="*/ 3740 w 18004"/>
                <a:gd name="T77" fmla="*/ 1659 h 3600"/>
                <a:gd name="T78" fmla="*/ 2835 w 18004"/>
                <a:gd name="T79" fmla="*/ 372 h 3600"/>
                <a:gd name="T80" fmla="*/ 1815 w 18004"/>
                <a:gd name="T81" fmla="*/ 1109 h 3600"/>
                <a:gd name="T82" fmla="*/ 3094 w 18004"/>
                <a:gd name="T83" fmla="*/ 1818 h 3600"/>
                <a:gd name="T84" fmla="*/ 2892 w 18004"/>
                <a:gd name="T85" fmla="*/ 1394 h 3600"/>
                <a:gd name="T86" fmla="*/ 3832 w 18004"/>
                <a:gd name="T87" fmla="*/ 2346 h 3600"/>
                <a:gd name="T88" fmla="*/ 3826 w 18004"/>
                <a:gd name="T89" fmla="*/ 1815 h 3600"/>
                <a:gd name="T90" fmla="*/ 2940 w 18004"/>
                <a:gd name="T91" fmla="*/ 1916 h 3600"/>
                <a:gd name="T92" fmla="*/ 4516 w 18004"/>
                <a:gd name="T93" fmla="*/ 1929 h 3600"/>
                <a:gd name="T94" fmla="*/ 5108 w 18004"/>
                <a:gd name="T95" fmla="*/ 1136 h 3600"/>
                <a:gd name="T96" fmla="*/ 6672 w 18004"/>
                <a:gd name="T97" fmla="*/ 463 h 3600"/>
                <a:gd name="T98" fmla="*/ 5426 w 18004"/>
                <a:gd name="T99" fmla="*/ 1823 h 3600"/>
                <a:gd name="T100" fmla="*/ 8905 w 18004"/>
                <a:gd name="T101" fmla="*/ 889 h 3600"/>
                <a:gd name="T102" fmla="*/ 7652 w 18004"/>
                <a:gd name="T103" fmla="*/ 2 h 3600"/>
                <a:gd name="T104" fmla="*/ 8891 w 18004"/>
                <a:gd name="T105" fmla="*/ 2104 h 3600"/>
                <a:gd name="T106" fmla="*/ 7810 w 18004"/>
                <a:gd name="T107" fmla="*/ 1952 h 3600"/>
                <a:gd name="T108" fmla="*/ 10265 w 18004"/>
                <a:gd name="T109" fmla="*/ 927 h 3600"/>
                <a:gd name="T110" fmla="*/ 8931 w 18004"/>
                <a:gd name="T111" fmla="*/ 2107 h 3600"/>
                <a:gd name="T112" fmla="*/ 9916 w 18004"/>
                <a:gd name="T113" fmla="*/ 2256 h 3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004" h="3600">
                  <a:moveTo>
                    <a:pt x="98" y="543"/>
                  </a:moveTo>
                  <a:cubicBezTo>
                    <a:pt x="64" y="555"/>
                    <a:pt x="32" y="566"/>
                    <a:pt x="0" y="577"/>
                  </a:cubicBezTo>
                  <a:cubicBezTo>
                    <a:pt x="0" y="549"/>
                    <a:pt x="0" y="549"/>
                    <a:pt x="0" y="549"/>
                  </a:cubicBezTo>
                  <a:cubicBezTo>
                    <a:pt x="29" y="539"/>
                    <a:pt x="58" y="529"/>
                    <a:pt x="89" y="518"/>
                  </a:cubicBezTo>
                  <a:cubicBezTo>
                    <a:pt x="340" y="430"/>
                    <a:pt x="387" y="327"/>
                    <a:pt x="389" y="146"/>
                  </a:cubicBezTo>
                  <a:cubicBezTo>
                    <a:pt x="389" y="102"/>
                    <a:pt x="386" y="53"/>
                    <a:pt x="382" y="0"/>
                  </a:cubicBezTo>
                  <a:cubicBezTo>
                    <a:pt x="408" y="0"/>
                    <a:pt x="408" y="0"/>
                    <a:pt x="408" y="0"/>
                  </a:cubicBezTo>
                  <a:cubicBezTo>
                    <a:pt x="412" y="53"/>
                    <a:pt x="415" y="101"/>
                    <a:pt x="415" y="146"/>
                  </a:cubicBezTo>
                  <a:cubicBezTo>
                    <a:pt x="417" y="333"/>
                    <a:pt x="354" y="457"/>
                    <a:pt x="98" y="543"/>
                  </a:cubicBezTo>
                  <a:close/>
                  <a:moveTo>
                    <a:pt x="18004" y="1930"/>
                  </a:moveTo>
                  <a:cubicBezTo>
                    <a:pt x="17776" y="2116"/>
                    <a:pt x="17541" y="2305"/>
                    <a:pt x="17455" y="2374"/>
                  </a:cubicBezTo>
                  <a:cubicBezTo>
                    <a:pt x="17578" y="2498"/>
                    <a:pt x="17753" y="2645"/>
                    <a:pt x="18004" y="2758"/>
                  </a:cubicBezTo>
                  <a:cubicBezTo>
                    <a:pt x="18004" y="2797"/>
                    <a:pt x="18004" y="2797"/>
                    <a:pt x="18004" y="2797"/>
                  </a:cubicBezTo>
                  <a:cubicBezTo>
                    <a:pt x="17739" y="2681"/>
                    <a:pt x="17554" y="2525"/>
                    <a:pt x="17426" y="2397"/>
                  </a:cubicBezTo>
                  <a:cubicBezTo>
                    <a:pt x="17422" y="2400"/>
                    <a:pt x="17420" y="2402"/>
                    <a:pt x="17420" y="2402"/>
                  </a:cubicBezTo>
                  <a:cubicBezTo>
                    <a:pt x="17420" y="2402"/>
                    <a:pt x="17394" y="2425"/>
                    <a:pt x="17353" y="2465"/>
                  </a:cubicBezTo>
                  <a:cubicBezTo>
                    <a:pt x="17229" y="2583"/>
                    <a:pt x="16975" y="2852"/>
                    <a:pt x="16920" y="3070"/>
                  </a:cubicBezTo>
                  <a:cubicBezTo>
                    <a:pt x="16882" y="3218"/>
                    <a:pt x="16887" y="3344"/>
                    <a:pt x="16855" y="3468"/>
                  </a:cubicBezTo>
                  <a:cubicBezTo>
                    <a:pt x="16844" y="3512"/>
                    <a:pt x="16828" y="3556"/>
                    <a:pt x="16803" y="3600"/>
                  </a:cubicBezTo>
                  <a:cubicBezTo>
                    <a:pt x="16761" y="3600"/>
                    <a:pt x="16761" y="3600"/>
                    <a:pt x="16761" y="3600"/>
                  </a:cubicBezTo>
                  <a:cubicBezTo>
                    <a:pt x="16790" y="3553"/>
                    <a:pt x="16808" y="3507"/>
                    <a:pt x="16820" y="3459"/>
                  </a:cubicBezTo>
                  <a:cubicBezTo>
                    <a:pt x="16850" y="3342"/>
                    <a:pt x="16846" y="3215"/>
                    <a:pt x="16885" y="3061"/>
                  </a:cubicBezTo>
                  <a:cubicBezTo>
                    <a:pt x="16966" y="2749"/>
                    <a:pt x="17396" y="2376"/>
                    <a:pt x="17397" y="2375"/>
                  </a:cubicBezTo>
                  <a:cubicBezTo>
                    <a:pt x="17397" y="2375"/>
                    <a:pt x="17398" y="2373"/>
                    <a:pt x="17401" y="2371"/>
                  </a:cubicBezTo>
                  <a:cubicBezTo>
                    <a:pt x="17347" y="2315"/>
                    <a:pt x="17303" y="2266"/>
                    <a:pt x="17269" y="2229"/>
                  </a:cubicBezTo>
                  <a:cubicBezTo>
                    <a:pt x="17268" y="2229"/>
                    <a:pt x="17239" y="2195"/>
                    <a:pt x="17186" y="2138"/>
                  </a:cubicBezTo>
                  <a:cubicBezTo>
                    <a:pt x="17025" y="1968"/>
                    <a:pt x="16644" y="1591"/>
                    <a:pt x="16175" y="1314"/>
                  </a:cubicBezTo>
                  <a:cubicBezTo>
                    <a:pt x="15985" y="1202"/>
                    <a:pt x="15747" y="1060"/>
                    <a:pt x="15508" y="933"/>
                  </a:cubicBezTo>
                  <a:cubicBezTo>
                    <a:pt x="15236" y="788"/>
                    <a:pt x="14962" y="650"/>
                    <a:pt x="14756" y="548"/>
                  </a:cubicBezTo>
                  <a:cubicBezTo>
                    <a:pt x="14654" y="497"/>
                    <a:pt x="14568" y="455"/>
                    <a:pt x="14508" y="425"/>
                  </a:cubicBezTo>
                  <a:cubicBezTo>
                    <a:pt x="14478" y="410"/>
                    <a:pt x="14454" y="398"/>
                    <a:pt x="14438" y="390"/>
                  </a:cubicBezTo>
                  <a:cubicBezTo>
                    <a:pt x="14430" y="386"/>
                    <a:pt x="14423" y="382"/>
                    <a:pt x="14419" y="380"/>
                  </a:cubicBezTo>
                  <a:cubicBezTo>
                    <a:pt x="14417" y="379"/>
                    <a:pt x="14416" y="378"/>
                    <a:pt x="14415" y="378"/>
                  </a:cubicBezTo>
                  <a:cubicBezTo>
                    <a:pt x="13960" y="328"/>
                    <a:pt x="13960" y="328"/>
                    <a:pt x="13960" y="328"/>
                  </a:cubicBezTo>
                  <a:cubicBezTo>
                    <a:pt x="13254" y="2358"/>
                    <a:pt x="13254" y="2358"/>
                    <a:pt x="13254" y="2358"/>
                  </a:cubicBezTo>
                  <a:cubicBezTo>
                    <a:pt x="13257" y="2361"/>
                    <a:pt x="13260" y="2365"/>
                    <a:pt x="13264" y="2369"/>
                  </a:cubicBezTo>
                  <a:cubicBezTo>
                    <a:pt x="13332" y="2407"/>
                    <a:pt x="13423" y="2475"/>
                    <a:pt x="13486" y="2583"/>
                  </a:cubicBezTo>
                  <a:cubicBezTo>
                    <a:pt x="13593" y="2767"/>
                    <a:pt x="13631" y="2829"/>
                    <a:pt x="13837" y="2923"/>
                  </a:cubicBezTo>
                  <a:cubicBezTo>
                    <a:pt x="14044" y="3016"/>
                    <a:pt x="15269" y="3531"/>
                    <a:pt x="15289" y="3539"/>
                  </a:cubicBezTo>
                  <a:cubicBezTo>
                    <a:pt x="15296" y="3542"/>
                    <a:pt x="15302" y="3546"/>
                    <a:pt x="15316" y="3555"/>
                  </a:cubicBezTo>
                  <a:cubicBezTo>
                    <a:pt x="15331" y="3566"/>
                    <a:pt x="15353" y="3582"/>
                    <a:pt x="15379" y="3600"/>
                  </a:cubicBezTo>
                  <a:cubicBezTo>
                    <a:pt x="15317" y="3600"/>
                    <a:pt x="15317" y="3600"/>
                    <a:pt x="15317" y="3600"/>
                  </a:cubicBezTo>
                  <a:cubicBezTo>
                    <a:pt x="15308" y="3594"/>
                    <a:pt x="15299" y="3588"/>
                    <a:pt x="15293" y="3583"/>
                  </a:cubicBezTo>
                  <a:cubicBezTo>
                    <a:pt x="15288" y="3580"/>
                    <a:pt x="15283" y="3577"/>
                    <a:pt x="15280" y="3575"/>
                  </a:cubicBezTo>
                  <a:cubicBezTo>
                    <a:pt x="15278" y="3574"/>
                    <a:pt x="15277" y="3573"/>
                    <a:pt x="15276" y="3572"/>
                  </a:cubicBezTo>
                  <a:cubicBezTo>
                    <a:pt x="15276" y="3572"/>
                    <a:pt x="15276" y="3572"/>
                    <a:pt x="15275" y="3572"/>
                  </a:cubicBezTo>
                  <a:cubicBezTo>
                    <a:pt x="15245" y="3560"/>
                    <a:pt x="14031" y="3049"/>
                    <a:pt x="13822" y="2956"/>
                  </a:cubicBezTo>
                  <a:cubicBezTo>
                    <a:pt x="13612" y="2862"/>
                    <a:pt x="13560" y="2785"/>
                    <a:pt x="13455" y="2601"/>
                  </a:cubicBezTo>
                  <a:cubicBezTo>
                    <a:pt x="13404" y="2513"/>
                    <a:pt x="13331" y="2452"/>
                    <a:pt x="13270" y="2414"/>
                  </a:cubicBezTo>
                  <a:cubicBezTo>
                    <a:pt x="13262" y="2409"/>
                    <a:pt x="13253" y="2404"/>
                    <a:pt x="13245" y="2399"/>
                  </a:cubicBezTo>
                  <a:cubicBezTo>
                    <a:pt x="13238" y="2397"/>
                    <a:pt x="13238" y="2397"/>
                    <a:pt x="13238" y="2397"/>
                  </a:cubicBezTo>
                  <a:cubicBezTo>
                    <a:pt x="13188" y="2503"/>
                    <a:pt x="12945" y="3022"/>
                    <a:pt x="12671" y="3593"/>
                  </a:cubicBezTo>
                  <a:cubicBezTo>
                    <a:pt x="12681" y="3600"/>
                    <a:pt x="12681" y="3600"/>
                    <a:pt x="12681" y="3600"/>
                  </a:cubicBezTo>
                  <a:cubicBezTo>
                    <a:pt x="12667" y="3600"/>
                    <a:pt x="12667" y="3600"/>
                    <a:pt x="12667" y="3600"/>
                  </a:cubicBezTo>
                  <a:cubicBezTo>
                    <a:pt x="12540" y="3600"/>
                    <a:pt x="12540" y="3600"/>
                    <a:pt x="12540" y="3600"/>
                  </a:cubicBezTo>
                  <a:cubicBezTo>
                    <a:pt x="12472" y="3600"/>
                    <a:pt x="12472" y="3600"/>
                    <a:pt x="12472" y="3600"/>
                  </a:cubicBezTo>
                  <a:cubicBezTo>
                    <a:pt x="11585" y="3032"/>
                    <a:pt x="11585" y="3032"/>
                    <a:pt x="11585" y="3032"/>
                  </a:cubicBezTo>
                  <a:cubicBezTo>
                    <a:pt x="11440" y="2939"/>
                    <a:pt x="10867" y="2619"/>
                    <a:pt x="10717" y="2552"/>
                  </a:cubicBezTo>
                  <a:cubicBezTo>
                    <a:pt x="10644" y="2519"/>
                    <a:pt x="10567" y="2497"/>
                    <a:pt x="10508" y="2485"/>
                  </a:cubicBezTo>
                  <a:cubicBezTo>
                    <a:pt x="10479" y="2478"/>
                    <a:pt x="10455" y="2474"/>
                    <a:pt x="10438" y="2471"/>
                  </a:cubicBezTo>
                  <a:cubicBezTo>
                    <a:pt x="10421" y="2468"/>
                    <a:pt x="10412" y="2468"/>
                    <a:pt x="10412" y="2467"/>
                  </a:cubicBezTo>
                  <a:cubicBezTo>
                    <a:pt x="10411" y="2467"/>
                    <a:pt x="10411" y="2467"/>
                    <a:pt x="10411" y="2467"/>
                  </a:cubicBezTo>
                  <a:cubicBezTo>
                    <a:pt x="10410" y="2467"/>
                    <a:pt x="10410" y="2467"/>
                    <a:pt x="10410" y="2467"/>
                  </a:cubicBezTo>
                  <a:cubicBezTo>
                    <a:pt x="10409" y="2467"/>
                    <a:pt x="10256" y="2444"/>
                    <a:pt x="10025" y="2410"/>
                  </a:cubicBezTo>
                  <a:cubicBezTo>
                    <a:pt x="9331" y="2307"/>
                    <a:pt x="7932" y="2098"/>
                    <a:pt x="7867" y="2089"/>
                  </a:cubicBezTo>
                  <a:cubicBezTo>
                    <a:pt x="7836" y="2085"/>
                    <a:pt x="7800" y="2082"/>
                    <a:pt x="7768" y="2080"/>
                  </a:cubicBezTo>
                  <a:cubicBezTo>
                    <a:pt x="7761" y="2098"/>
                    <a:pt x="7761" y="2098"/>
                    <a:pt x="7761" y="2098"/>
                  </a:cubicBezTo>
                  <a:cubicBezTo>
                    <a:pt x="7461" y="3457"/>
                    <a:pt x="7461" y="3457"/>
                    <a:pt x="7461" y="3457"/>
                  </a:cubicBezTo>
                  <a:cubicBezTo>
                    <a:pt x="7461" y="3458"/>
                    <a:pt x="7461" y="3459"/>
                    <a:pt x="7460" y="3463"/>
                  </a:cubicBezTo>
                  <a:cubicBezTo>
                    <a:pt x="7460" y="3466"/>
                    <a:pt x="7459" y="3472"/>
                    <a:pt x="7459" y="3479"/>
                  </a:cubicBezTo>
                  <a:cubicBezTo>
                    <a:pt x="7459" y="3503"/>
                    <a:pt x="7465" y="3542"/>
                    <a:pt x="7501" y="3581"/>
                  </a:cubicBezTo>
                  <a:cubicBezTo>
                    <a:pt x="7507" y="3588"/>
                    <a:pt x="7514" y="3594"/>
                    <a:pt x="7522" y="3600"/>
                  </a:cubicBezTo>
                  <a:cubicBezTo>
                    <a:pt x="7470" y="3600"/>
                    <a:pt x="7470" y="3600"/>
                    <a:pt x="7470" y="3600"/>
                  </a:cubicBezTo>
                  <a:cubicBezTo>
                    <a:pt x="7431" y="3555"/>
                    <a:pt x="7423" y="3508"/>
                    <a:pt x="7423" y="3479"/>
                  </a:cubicBezTo>
                  <a:cubicBezTo>
                    <a:pt x="7423" y="3461"/>
                    <a:pt x="7426" y="3450"/>
                    <a:pt x="7426" y="3449"/>
                  </a:cubicBezTo>
                  <a:cubicBezTo>
                    <a:pt x="7727" y="2088"/>
                    <a:pt x="7727" y="2088"/>
                    <a:pt x="7727" y="2088"/>
                  </a:cubicBezTo>
                  <a:cubicBezTo>
                    <a:pt x="7727" y="2077"/>
                    <a:pt x="7727" y="2077"/>
                    <a:pt x="7727" y="2077"/>
                  </a:cubicBezTo>
                  <a:cubicBezTo>
                    <a:pt x="7714" y="2076"/>
                    <a:pt x="7702" y="2076"/>
                    <a:pt x="7694" y="2075"/>
                  </a:cubicBezTo>
                  <a:cubicBezTo>
                    <a:pt x="7688" y="2075"/>
                    <a:pt x="7683" y="2075"/>
                    <a:pt x="7680" y="2075"/>
                  </a:cubicBezTo>
                  <a:cubicBezTo>
                    <a:pt x="7679" y="2075"/>
                    <a:pt x="7677" y="2075"/>
                    <a:pt x="7676" y="2075"/>
                  </a:cubicBezTo>
                  <a:cubicBezTo>
                    <a:pt x="7676" y="2075"/>
                    <a:pt x="7675" y="2075"/>
                    <a:pt x="7674" y="2075"/>
                  </a:cubicBezTo>
                  <a:cubicBezTo>
                    <a:pt x="7674" y="2075"/>
                    <a:pt x="7674" y="2075"/>
                    <a:pt x="7673" y="2074"/>
                  </a:cubicBezTo>
                  <a:cubicBezTo>
                    <a:pt x="7635" y="2073"/>
                    <a:pt x="7276" y="2060"/>
                    <a:pt x="6875" y="2046"/>
                  </a:cubicBezTo>
                  <a:cubicBezTo>
                    <a:pt x="6874" y="2048"/>
                    <a:pt x="6873" y="2051"/>
                    <a:pt x="6872" y="2053"/>
                  </a:cubicBezTo>
                  <a:cubicBezTo>
                    <a:pt x="6329" y="3600"/>
                    <a:pt x="6329" y="3600"/>
                    <a:pt x="6329" y="3600"/>
                  </a:cubicBezTo>
                  <a:cubicBezTo>
                    <a:pt x="6301" y="3600"/>
                    <a:pt x="6301" y="3600"/>
                    <a:pt x="6301" y="3600"/>
                  </a:cubicBezTo>
                  <a:cubicBezTo>
                    <a:pt x="6843" y="2057"/>
                    <a:pt x="6843" y="2057"/>
                    <a:pt x="6843" y="2057"/>
                  </a:cubicBezTo>
                  <a:cubicBezTo>
                    <a:pt x="6842" y="2045"/>
                    <a:pt x="6842" y="2045"/>
                    <a:pt x="6842" y="2045"/>
                  </a:cubicBezTo>
                  <a:cubicBezTo>
                    <a:pt x="6358" y="2027"/>
                    <a:pt x="5825" y="2008"/>
                    <a:pt x="5722" y="2005"/>
                  </a:cubicBezTo>
                  <a:cubicBezTo>
                    <a:pt x="5721" y="2008"/>
                    <a:pt x="5720" y="2011"/>
                    <a:pt x="5720" y="2014"/>
                  </a:cubicBezTo>
                  <a:cubicBezTo>
                    <a:pt x="5565" y="3540"/>
                    <a:pt x="5565" y="3540"/>
                    <a:pt x="5565" y="3540"/>
                  </a:cubicBezTo>
                  <a:cubicBezTo>
                    <a:pt x="5572" y="3542"/>
                    <a:pt x="5572" y="3542"/>
                    <a:pt x="5572" y="3542"/>
                  </a:cubicBezTo>
                  <a:cubicBezTo>
                    <a:pt x="5619" y="3551"/>
                    <a:pt x="5778" y="3573"/>
                    <a:pt x="5931" y="3594"/>
                  </a:cubicBezTo>
                  <a:cubicBezTo>
                    <a:pt x="5945" y="3596"/>
                    <a:pt x="5959" y="3598"/>
                    <a:pt x="5973" y="3600"/>
                  </a:cubicBezTo>
                  <a:cubicBezTo>
                    <a:pt x="5783" y="3600"/>
                    <a:pt x="5783" y="3600"/>
                    <a:pt x="5783" y="3600"/>
                  </a:cubicBezTo>
                  <a:cubicBezTo>
                    <a:pt x="5742" y="3595"/>
                    <a:pt x="5704" y="3589"/>
                    <a:pt x="5672" y="3584"/>
                  </a:cubicBezTo>
                  <a:cubicBezTo>
                    <a:pt x="5637" y="3579"/>
                    <a:pt x="5608" y="3575"/>
                    <a:pt x="5587" y="3572"/>
                  </a:cubicBezTo>
                  <a:cubicBezTo>
                    <a:pt x="5580" y="3570"/>
                    <a:pt x="5573" y="3569"/>
                    <a:pt x="5568" y="3568"/>
                  </a:cubicBezTo>
                  <a:cubicBezTo>
                    <a:pt x="5562" y="3568"/>
                    <a:pt x="5562" y="3568"/>
                    <a:pt x="5562" y="3568"/>
                  </a:cubicBezTo>
                  <a:cubicBezTo>
                    <a:pt x="5558" y="3600"/>
                    <a:pt x="5558" y="3600"/>
                    <a:pt x="5558" y="3600"/>
                  </a:cubicBezTo>
                  <a:cubicBezTo>
                    <a:pt x="5522" y="3600"/>
                    <a:pt x="5522" y="3600"/>
                    <a:pt x="5522" y="3600"/>
                  </a:cubicBezTo>
                  <a:cubicBezTo>
                    <a:pt x="5682" y="2029"/>
                    <a:pt x="5682" y="2029"/>
                    <a:pt x="5682" y="2029"/>
                  </a:cubicBezTo>
                  <a:cubicBezTo>
                    <a:pt x="5681" y="2029"/>
                    <a:pt x="5681" y="2029"/>
                    <a:pt x="5681" y="2029"/>
                  </a:cubicBezTo>
                  <a:cubicBezTo>
                    <a:pt x="5680" y="2002"/>
                    <a:pt x="5680" y="2002"/>
                    <a:pt x="5680" y="2002"/>
                  </a:cubicBezTo>
                  <a:cubicBezTo>
                    <a:pt x="5677" y="1998"/>
                    <a:pt x="5677" y="1998"/>
                    <a:pt x="5677" y="1998"/>
                  </a:cubicBezTo>
                  <a:cubicBezTo>
                    <a:pt x="5659" y="1994"/>
                    <a:pt x="5626" y="1986"/>
                    <a:pt x="5585" y="1977"/>
                  </a:cubicBezTo>
                  <a:cubicBezTo>
                    <a:pt x="5453" y="1947"/>
                    <a:pt x="5234" y="1898"/>
                    <a:pt x="5125" y="1873"/>
                  </a:cubicBezTo>
                  <a:cubicBezTo>
                    <a:pt x="5102" y="2051"/>
                    <a:pt x="5011" y="2777"/>
                    <a:pt x="4906" y="3600"/>
                  </a:cubicBezTo>
                  <a:cubicBezTo>
                    <a:pt x="4790" y="3600"/>
                    <a:pt x="4790" y="3600"/>
                    <a:pt x="4790" y="3600"/>
                  </a:cubicBezTo>
                  <a:cubicBezTo>
                    <a:pt x="4845" y="3168"/>
                    <a:pt x="4897" y="2762"/>
                    <a:pt x="4937" y="2447"/>
                  </a:cubicBezTo>
                  <a:cubicBezTo>
                    <a:pt x="4972" y="2170"/>
                    <a:pt x="4998" y="1965"/>
                    <a:pt x="5009" y="1872"/>
                  </a:cubicBezTo>
                  <a:cubicBezTo>
                    <a:pt x="4906" y="1891"/>
                    <a:pt x="4906" y="1891"/>
                    <a:pt x="4906" y="1891"/>
                  </a:cubicBezTo>
                  <a:cubicBezTo>
                    <a:pt x="4688" y="3600"/>
                    <a:pt x="4688" y="3600"/>
                    <a:pt x="4688" y="3600"/>
                  </a:cubicBezTo>
                  <a:cubicBezTo>
                    <a:pt x="4573" y="3600"/>
                    <a:pt x="4573" y="3600"/>
                    <a:pt x="4573" y="3600"/>
                  </a:cubicBezTo>
                  <a:cubicBezTo>
                    <a:pt x="4641" y="3064"/>
                    <a:pt x="4641" y="3064"/>
                    <a:pt x="4641" y="3064"/>
                  </a:cubicBezTo>
                  <a:cubicBezTo>
                    <a:pt x="4637" y="3062"/>
                    <a:pt x="4633" y="3058"/>
                    <a:pt x="4629" y="3055"/>
                  </a:cubicBezTo>
                  <a:cubicBezTo>
                    <a:pt x="4616" y="3049"/>
                    <a:pt x="4598" y="3040"/>
                    <a:pt x="4575" y="3029"/>
                  </a:cubicBezTo>
                  <a:cubicBezTo>
                    <a:pt x="4436" y="2964"/>
                    <a:pt x="4124" y="2833"/>
                    <a:pt x="3859" y="2834"/>
                  </a:cubicBezTo>
                  <a:cubicBezTo>
                    <a:pt x="3845" y="2834"/>
                    <a:pt x="3831" y="2834"/>
                    <a:pt x="3817" y="2835"/>
                  </a:cubicBezTo>
                  <a:cubicBezTo>
                    <a:pt x="3634" y="2845"/>
                    <a:pt x="3507" y="2855"/>
                    <a:pt x="3427" y="2863"/>
                  </a:cubicBezTo>
                  <a:cubicBezTo>
                    <a:pt x="3347" y="2870"/>
                    <a:pt x="3313" y="2875"/>
                    <a:pt x="3313" y="2875"/>
                  </a:cubicBezTo>
                  <a:cubicBezTo>
                    <a:pt x="3307" y="2840"/>
                    <a:pt x="3307" y="2840"/>
                    <a:pt x="3307" y="2840"/>
                  </a:cubicBezTo>
                  <a:cubicBezTo>
                    <a:pt x="3308" y="2840"/>
                    <a:pt x="3447" y="2819"/>
                    <a:pt x="3815" y="2799"/>
                  </a:cubicBezTo>
                  <a:cubicBezTo>
                    <a:pt x="3823" y="2798"/>
                    <a:pt x="3831" y="2798"/>
                    <a:pt x="3839" y="2798"/>
                  </a:cubicBezTo>
                  <a:cubicBezTo>
                    <a:pt x="3750" y="2400"/>
                    <a:pt x="3750" y="2400"/>
                    <a:pt x="3750" y="2400"/>
                  </a:cubicBezTo>
                  <a:cubicBezTo>
                    <a:pt x="3670" y="2413"/>
                    <a:pt x="3602" y="2416"/>
                    <a:pt x="3487" y="2427"/>
                  </a:cubicBezTo>
                  <a:cubicBezTo>
                    <a:pt x="3346" y="2440"/>
                    <a:pt x="3188" y="2453"/>
                    <a:pt x="3065" y="2463"/>
                  </a:cubicBezTo>
                  <a:cubicBezTo>
                    <a:pt x="3003" y="2468"/>
                    <a:pt x="2951" y="2472"/>
                    <a:pt x="2913" y="2475"/>
                  </a:cubicBezTo>
                  <a:cubicBezTo>
                    <a:pt x="2898" y="2476"/>
                    <a:pt x="2885" y="2477"/>
                    <a:pt x="2876" y="2478"/>
                  </a:cubicBezTo>
                  <a:cubicBezTo>
                    <a:pt x="3113" y="3600"/>
                    <a:pt x="3113" y="3600"/>
                    <a:pt x="3113" y="3600"/>
                  </a:cubicBezTo>
                  <a:cubicBezTo>
                    <a:pt x="3076" y="3600"/>
                    <a:pt x="3076" y="3600"/>
                    <a:pt x="3076" y="3600"/>
                  </a:cubicBezTo>
                  <a:cubicBezTo>
                    <a:pt x="3066" y="3554"/>
                    <a:pt x="3066" y="3554"/>
                    <a:pt x="3066" y="3554"/>
                  </a:cubicBezTo>
                  <a:cubicBezTo>
                    <a:pt x="3063" y="3554"/>
                    <a:pt x="3063" y="3554"/>
                    <a:pt x="3063" y="3554"/>
                  </a:cubicBezTo>
                  <a:cubicBezTo>
                    <a:pt x="2190" y="3600"/>
                    <a:pt x="2190" y="3600"/>
                    <a:pt x="2190" y="3600"/>
                  </a:cubicBezTo>
                  <a:cubicBezTo>
                    <a:pt x="1699" y="3600"/>
                    <a:pt x="1699" y="3600"/>
                    <a:pt x="1699" y="3600"/>
                  </a:cubicBezTo>
                  <a:cubicBezTo>
                    <a:pt x="3042" y="3528"/>
                    <a:pt x="3042" y="3528"/>
                    <a:pt x="3042" y="3528"/>
                  </a:cubicBezTo>
                  <a:cubicBezTo>
                    <a:pt x="3060" y="3525"/>
                    <a:pt x="3060" y="3525"/>
                    <a:pt x="3060" y="3525"/>
                  </a:cubicBezTo>
                  <a:cubicBezTo>
                    <a:pt x="2837" y="2471"/>
                    <a:pt x="2837" y="2471"/>
                    <a:pt x="2837" y="2471"/>
                  </a:cubicBezTo>
                  <a:cubicBezTo>
                    <a:pt x="2836" y="2469"/>
                    <a:pt x="2835" y="2466"/>
                    <a:pt x="2835" y="2462"/>
                  </a:cubicBezTo>
                  <a:cubicBezTo>
                    <a:pt x="2835" y="2461"/>
                    <a:pt x="2835" y="2460"/>
                    <a:pt x="2835" y="2459"/>
                  </a:cubicBezTo>
                  <a:cubicBezTo>
                    <a:pt x="2727" y="1946"/>
                    <a:pt x="2727" y="1946"/>
                    <a:pt x="2727" y="1946"/>
                  </a:cubicBezTo>
                  <a:cubicBezTo>
                    <a:pt x="2656" y="1950"/>
                    <a:pt x="2588" y="1951"/>
                    <a:pt x="2548" y="1953"/>
                  </a:cubicBezTo>
                  <a:cubicBezTo>
                    <a:pt x="2542" y="1954"/>
                    <a:pt x="2536" y="1954"/>
                    <a:pt x="2531" y="1954"/>
                  </a:cubicBezTo>
                  <a:cubicBezTo>
                    <a:pt x="2530" y="1954"/>
                    <a:pt x="2530" y="1954"/>
                    <a:pt x="2530" y="1954"/>
                  </a:cubicBezTo>
                  <a:cubicBezTo>
                    <a:pt x="2449" y="1954"/>
                    <a:pt x="2382" y="1924"/>
                    <a:pt x="2355" y="1865"/>
                  </a:cubicBezTo>
                  <a:cubicBezTo>
                    <a:pt x="2344" y="1841"/>
                    <a:pt x="2334" y="1798"/>
                    <a:pt x="2325" y="1752"/>
                  </a:cubicBezTo>
                  <a:cubicBezTo>
                    <a:pt x="766" y="2146"/>
                    <a:pt x="766" y="2146"/>
                    <a:pt x="766" y="2146"/>
                  </a:cubicBezTo>
                  <a:cubicBezTo>
                    <a:pt x="943" y="2534"/>
                    <a:pt x="1156" y="3005"/>
                    <a:pt x="1175" y="3052"/>
                  </a:cubicBezTo>
                  <a:cubicBezTo>
                    <a:pt x="1197" y="3107"/>
                    <a:pt x="1269" y="3369"/>
                    <a:pt x="1322" y="3600"/>
                  </a:cubicBezTo>
                  <a:cubicBezTo>
                    <a:pt x="1285" y="3600"/>
                    <a:pt x="1285" y="3600"/>
                    <a:pt x="1285" y="3600"/>
                  </a:cubicBezTo>
                  <a:cubicBezTo>
                    <a:pt x="1232" y="3372"/>
                    <a:pt x="1162" y="3115"/>
                    <a:pt x="1142" y="3065"/>
                  </a:cubicBezTo>
                  <a:cubicBezTo>
                    <a:pt x="1126" y="3027"/>
                    <a:pt x="964" y="2669"/>
                    <a:pt x="807" y="2322"/>
                  </a:cubicBezTo>
                  <a:cubicBezTo>
                    <a:pt x="728" y="2149"/>
                    <a:pt x="650" y="1978"/>
                    <a:pt x="592" y="1850"/>
                  </a:cubicBezTo>
                  <a:cubicBezTo>
                    <a:pt x="554" y="1766"/>
                    <a:pt x="524" y="1702"/>
                    <a:pt x="509" y="1667"/>
                  </a:cubicBezTo>
                  <a:cubicBezTo>
                    <a:pt x="498" y="1655"/>
                    <a:pt x="498" y="1655"/>
                    <a:pt x="498" y="1655"/>
                  </a:cubicBezTo>
                  <a:cubicBezTo>
                    <a:pt x="437" y="1682"/>
                    <a:pt x="398" y="1701"/>
                    <a:pt x="398" y="1701"/>
                  </a:cubicBezTo>
                  <a:cubicBezTo>
                    <a:pt x="398" y="1700"/>
                    <a:pt x="264" y="1765"/>
                    <a:pt x="61" y="1862"/>
                  </a:cubicBezTo>
                  <a:cubicBezTo>
                    <a:pt x="41" y="1872"/>
                    <a:pt x="21" y="1882"/>
                    <a:pt x="0" y="1892"/>
                  </a:cubicBezTo>
                  <a:cubicBezTo>
                    <a:pt x="0" y="1764"/>
                    <a:pt x="0" y="1764"/>
                    <a:pt x="0" y="1764"/>
                  </a:cubicBezTo>
                  <a:cubicBezTo>
                    <a:pt x="209" y="1664"/>
                    <a:pt x="348" y="1597"/>
                    <a:pt x="349" y="1597"/>
                  </a:cubicBezTo>
                  <a:cubicBezTo>
                    <a:pt x="350" y="1596"/>
                    <a:pt x="688" y="1439"/>
                    <a:pt x="924" y="1346"/>
                  </a:cubicBezTo>
                  <a:cubicBezTo>
                    <a:pt x="1041" y="1300"/>
                    <a:pt x="1268" y="1213"/>
                    <a:pt x="1479" y="1127"/>
                  </a:cubicBezTo>
                  <a:cubicBezTo>
                    <a:pt x="1585" y="1083"/>
                    <a:pt x="1686" y="1041"/>
                    <a:pt x="1768" y="1004"/>
                  </a:cubicBezTo>
                  <a:cubicBezTo>
                    <a:pt x="1849" y="968"/>
                    <a:pt x="1912" y="935"/>
                    <a:pt x="1930" y="921"/>
                  </a:cubicBezTo>
                  <a:cubicBezTo>
                    <a:pt x="1950" y="907"/>
                    <a:pt x="1995" y="859"/>
                    <a:pt x="2046" y="801"/>
                  </a:cubicBezTo>
                  <a:cubicBezTo>
                    <a:pt x="2122" y="713"/>
                    <a:pt x="2215" y="596"/>
                    <a:pt x="2289" y="502"/>
                  </a:cubicBezTo>
                  <a:cubicBezTo>
                    <a:pt x="2339" y="438"/>
                    <a:pt x="2379" y="385"/>
                    <a:pt x="2400" y="357"/>
                  </a:cubicBezTo>
                  <a:cubicBezTo>
                    <a:pt x="2400" y="357"/>
                    <a:pt x="2400" y="357"/>
                    <a:pt x="2400" y="357"/>
                  </a:cubicBezTo>
                  <a:cubicBezTo>
                    <a:pt x="2400" y="357"/>
                    <a:pt x="2402" y="355"/>
                    <a:pt x="2405" y="352"/>
                  </a:cubicBezTo>
                  <a:cubicBezTo>
                    <a:pt x="2408" y="347"/>
                    <a:pt x="2411" y="343"/>
                    <a:pt x="2413" y="340"/>
                  </a:cubicBezTo>
                  <a:cubicBezTo>
                    <a:pt x="2388" y="317"/>
                    <a:pt x="2366" y="291"/>
                    <a:pt x="2348" y="261"/>
                  </a:cubicBezTo>
                  <a:cubicBezTo>
                    <a:pt x="2346" y="261"/>
                    <a:pt x="2343" y="261"/>
                    <a:pt x="2340" y="260"/>
                  </a:cubicBezTo>
                  <a:cubicBezTo>
                    <a:pt x="2339" y="262"/>
                    <a:pt x="2339" y="262"/>
                    <a:pt x="2339" y="262"/>
                  </a:cubicBezTo>
                  <a:cubicBezTo>
                    <a:pt x="2335" y="261"/>
                    <a:pt x="1811" y="184"/>
                    <a:pt x="1626" y="141"/>
                  </a:cubicBezTo>
                  <a:cubicBezTo>
                    <a:pt x="1496" y="110"/>
                    <a:pt x="1396" y="59"/>
                    <a:pt x="1295" y="0"/>
                  </a:cubicBezTo>
                  <a:cubicBezTo>
                    <a:pt x="1558" y="0"/>
                    <a:pt x="1558" y="0"/>
                    <a:pt x="1558" y="0"/>
                  </a:cubicBezTo>
                  <a:cubicBezTo>
                    <a:pt x="1588" y="11"/>
                    <a:pt x="1619" y="21"/>
                    <a:pt x="1652" y="29"/>
                  </a:cubicBezTo>
                  <a:cubicBezTo>
                    <a:pt x="1738" y="49"/>
                    <a:pt x="1916" y="80"/>
                    <a:pt x="2070" y="104"/>
                  </a:cubicBezTo>
                  <a:cubicBezTo>
                    <a:pt x="2154" y="118"/>
                    <a:pt x="2231" y="129"/>
                    <a:pt x="2284" y="137"/>
                  </a:cubicBezTo>
                  <a:cubicBezTo>
                    <a:pt x="2286" y="138"/>
                    <a:pt x="2295" y="139"/>
                    <a:pt x="2303" y="140"/>
                  </a:cubicBezTo>
                  <a:cubicBezTo>
                    <a:pt x="2300" y="121"/>
                    <a:pt x="2298" y="103"/>
                    <a:pt x="2298" y="83"/>
                  </a:cubicBezTo>
                  <a:cubicBezTo>
                    <a:pt x="2298" y="55"/>
                    <a:pt x="2302" y="27"/>
                    <a:pt x="2309" y="0"/>
                  </a:cubicBezTo>
                  <a:cubicBezTo>
                    <a:pt x="2435" y="0"/>
                    <a:pt x="2435" y="0"/>
                    <a:pt x="2435" y="0"/>
                  </a:cubicBezTo>
                  <a:cubicBezTo>
                    <a:pt x="2424" y="26"/>
                    <a:pt x="2419" y="54"/>
                    <a:pt x="2419" y="83"/>
                  </a:cubicBezTo>
                  <a:cubicBezTo>
                    <a:pt x="2419" y="207"/>
                    <a:pt x="2519" y="308"/>
                    <a:pt x="2644" y="308"/>
                  </a:cubicBezTo>
                  <a:cubicBezTo>
                    <a:pt x="2768" y="308"/>
                    <a:pt x="2869" y="207"/>
                    <a:pt x="2869" y="83"/>
                  </a:cubicBezTo>
                  <a:cubicBezTo>
                    <a:pt x="2869" y="54"/>
                    <a:pt x="2863" y="26"/>
                    <a:pt x="2853" y="0"/>
                  </a:cubicBezTo>
                  <a:cubicBezTo>
                    <a:pt x="2979" y="0"/>
                    <a:pt x="2979" y="0"/>
                    <a:pt x="2979" y="0"/>
                  </a:cubicBezTo>
                  <a:cubicBezTo>
                    <a:pt x="2985" y="27"/>
                    <a:pt x="2989" y="55"/>
                    <a:pt x="2989" y="83"/>
                  </a:cubicBezTo>
                  <a:cubicBezTo>
                    <a:pt x="2989" y="88"/>
                    <a:pt x="2989" y="93"/>
                    <a:pt x="2988" y="98"/>
                  </a:cubicBezTo>
                  <a:cubicBezTo>
                    <a:pt x="2991" y="99"/>
                    <a:pt x="2994" y="101"/>
                    <a:pt x="2996" y="102"/>
                  </a:cubicBezTo>
                  <a:cubicBezTo>
                    <a:pt x="2996" y="102"/>
                    <a:pt x="2996" y="102"/>
                    <a:pt x="2996" y="102"/>
                  </a:cubicBezTo>
                  <a:cubicBezTo>
                    <a:pt x="2996" y="102"/>
                    <a:pt x="2996" y="102"/>
                    <a:pt x="2996" y="102"/>
                  </a:cubicBezTo>
                  <a:cubicBezTo>
                    <a:pt x="2996" y="102"/>
                    <a:pt x="2997" y="103"/>
                    <a:pt x="2998" y="103"/>
                  </a:cubicBezTo>
                  <a:cubicBezTo>
                    <a:pt x="3004" y="106"/>
                    <a:pt x="3009" y="109"/>
                    <a:pt x="3008" y="108"/>
                  </a:cubicBezTo>
                  <a:cubicBezTo>
                    <a:pt x="3008" y="108"/>
                    <a:pt x="3009" y="109"/>
                    <a:pt x="3009" y="109"/>
                  </a:cubicBezTo>
                  <a:cubicBezTo>
                    <a:pt x="3045" y="129"/>
                    <a:pt x="3153" y="189"/>
                    <a:pt x="3270" y="260"/>
                  </a:cubicBezTo>
                  <a:cubicBezTo>
                    <a:pt x="3341" y="304"/>
                    <a:pt x="3416" y="353"/>
                    <a:pt x="3479" y="399"/>
                  </a:cubicBezTo>
                  <a:cubicBezTo>
                    <a:pt x="3542" y="447"/>
                    <a:pt x="3594" y="490"/>
                    <a:pt x="3625" y="536"/>
                  </a:cubicBezTo>
                  <a:cubicBezTo>
                    <a:pt x="3716" y="677"/>
                    <a:pt x="3736" y="893"/>
                    <a:pt x="3737" y="1000"/>
                  </a:cubicBezTo>
                  <a:cubicBezTo>
                    <a:pt x="3737" y="1013"/>
                    <a:pt x="3737" y="1025"/>
                    <a:pt x="3736" y="1036"/>
                  </a:cubicBezTo>
                  <a:cubicBezTo>
                    <a:pt x="3730" y="1103"/>
                    <a:pt x="3721" y="1280"/>
                    <a:pt x="3719" y="1330"/>
                  </a:cubicBezTo>
                  <a:cubicBezTo>
                    <a:pt x="3742" y="1386"/>
                    <a:pt x="3765" y="1440"/>
                    <a:pt x="3785" y="1486"/>
                  </a:cubicBezTo>
                  <a:cubicBezTo>
                    <a:pt x="3809" y="1542"/>
                    <a:pt x="3830" y="1587"/>
                    <a:pt x="3839" y="1602"/>
                  </a:cubicBezTo>
                  <a:cubicBezTo>
                    <a:pt x="3862" y="1641"/>
                    <a:pt x="3889" y="1687"/>
                    <a:pt x="3917" y="1726"/>
                  </a:cubicBezTo>
                  <a:cubicBezTo>
                    <a:pt x="3944" y="1764"/>
                    <a:pt x="3975" y="1795"/>
                    <a:pt x="3988" y="1801"/>
                  </a:cubicBezTo>
                  <a:cubicBezTo>
                    <a:pt x="3997" y="1806"/>
                    <a:pt x="4022" y="1813"/>
                    <a:pt x="4050" y="1816"/>
                  </a:cubicBezTo>
                  <a:cubicBezTo>
                    <a:pt x="4079" y="1820"/>
                    <a:pt x="4113" y="1822"/>
                    <a:pt x="4144" y="1822"/>
                  </a:cubicBezTo>
                  <a:cubicBezTo>
                    <a:pt x="4167" y="1822"/>
                    <a:pt x="4189" y="1821"/>
                    <a:pt x="4208" y="1820"/>
                  </a:cubicBezTo>
                  <a:cubicBezTo>
                    <a:pt x="4210" y="1816"/>
                    <a:pt x="4211" y="1812"/>
                    <a:pt x="4213" y="1809"/>
                  </a:cubicBezTo>
                  <a:cubicBezTo>
                    <a:pt x="4576" y="733"/>
                    <a:pt x="4576" y="733"/>
                    <a:pt x="4576" y="733"/>
                  </a:cubicBezTo>
                  <a:cubicBezTo>
                    <a:pt x="4257" y="140"/>
                    <a:pt x="4257" y="140"/>
                    <a:pt x="4257" y="140"/>
                  </a:cubicBezTo>
                  <a:cubicBezTo>
                    <a:pt x="4271" y="0"/>
                    <a:pt x="4271" y="0"/>
                    <a:pt x="4271" y="0"/>
                  </a:cubicBezTo>
                  <a:cubicBezTo>
                    <a:pt x="4297" y="0"/>
                    <a:pt x="4297" y="0"/>
                    <a:pt x="4297" y="0"/>
                  </a:cubicBezTo>
                  <a:cubicBezTo>
                    <a:pt x="4284" y="134"/>
                    <a:pt x="4284" y="134"/>
                    <a:pt x="4284" y="134"/>
                  </a:cubicBezTo>
                  <a:cubicBezTo>
                    <a:pt x="4600" y="722"/>
                    <a:pt x="4600" y="722"/>
                    <a:pt x="4600" y="722"/>
                  </a:cubicBezTo>
                  <a:cubicBezTo>
                    <a:pt x="5081" y="1038"/>
                    <a:pt x="5081" y="1038"/>
                    <a:pt x="5081" y="1038"/>
                  </a:cubicBezTo>
                  <a:cubicBezTo>
                    <a:pt x="5086" y="1039"/>
                    <a:pt x="5092" y="1040"/>
                    <a:pt x="5097" y="1041"/>
                  </a:cubicBezTo>
                  <a:cubicBezTo>
                    <a:pt x="5030" y="459"/>
                    <a:pt x="5030" y="459"/>
                    <a:pt x="5030" y="459"/>
                  </a:cubicBezTo>
                  <a:cubicBezTo>
                    <a:pt x="5030" y="457"/>
                    <a:pt x="5030" y="457"/>
                    <a:pt x="5030" y="457"/>
                  </a:cubicBezTo>
                  <a:cubicBezTo>
                    <a:pt x="5030" y="457"/>
                    <a:pt x="5039" y="245"/>
                    <a:pt x="5043" y="0"/>
                  </a:cubicBezTo>
                  <a:cubicBezTo>
                    <a:pt x="5079" y="0"/>
                    <a:pt x="5079" y="0"/>
                    <a:pt x="5079" y="0"/>
                  </a:cubicBezTo>
                  <a:cubicBezTo>
                    <a:pt x="5078" y="53"/>
                    <a:pt x="5077" y="104"/>
                    <a:pt x="5076" y="152"/>
                  </a:cubicBezTo>
                  <a:cubicBezTo>
                    <a:pt x="5077" y="147"/>
                    <a:pt x="5077" y="147"/>
                    <a:pt x="5077" y="147"/>
                  </a:cubicBezTo>
                  <a:cubicBezTo>
                    <a:pt x="5077" y="147"/>
                    <a:pt x="5077" y="147"/>
                    <a:pt x="5077" y="147"/>
                  </a:cubicBezTo>
                  <a:cubicBezTo>
                    <a:pt x="5078" y="147"/>
                    <a:pt x="5283" y="202"/>
                    <a:pt x="5508" y="261"/>
                  </a:cubicBezTo>
                  <a:cubicBezTo>
                    <a:pt x="5732" y="320"/>
                    <a:pt x="5975" y="384"/>
                    <a:pt x="6048" y="400"/>
                  </a:cubicBezTo>
                  <a:cubicBezTo>
                    <a:pt x="6147" y="422"/>
                    <a:pt x="6256" y="456"/>
                    <a:pt x="6411" y="456"/>
                  </a:cubicBezTo>
                  <a:cubicBezTo>
                    <a:pt x="6485" y="456"/>
                    <a:pt x="6570" y="447"/>
                    <a:pt x="6668" y="427"/>
                  </a:cubicBezTo>
                  <a:cubicBezTo>
                    <a:pt x="6675" y="382"/>
                    <a:pt x="6702" y="222"/>
                    <a:pt x="6728" y="61"/>
                  </a:cubicBezTo>
                  <a:cubicBezTo>
                    <a:pt x="6732" y="41"/>
                    <a:pt x="6735" y="20"/>
                    <a:pt x="6738" y="0"/>
                  </a:cubicBezTo>
                  <a:cubicBezTo>
                    <a:pt x="6775" y="0"/>
                    <a:pt x="6775" y="0"/>
                    <a:pt x="6775" y="0"/>
                  </a:cubicBezTo>
                  <a:cubicBezTo>
                    <a:pt x="6770" y="27"/>
                    <a:pt x="6766" y="53"/>
                    <a:pt x="6762" y="80"/>
                  </a:cubicBezTo>
                  <a:cubicBezTo>
                    <a:pt x="6734" y="248"/>
                    <a:pt x="6707" y="411"/>
                    <a:pt x="6703" y="440"/>
                  </a:cubicBezTo>
                  <a:cubicBezTo>
                    <a:pt x="7225" y="1931"/>
                    <a:pt x="7225" y="1931"/>
                    <a:pt x="7225" y="1931"/>
                  </a:cubicBezTo>
                  <a:cubicBezTo>
                    <a:pt x="7232" y="1944"/>
                    <a:pt x="7232" y="1944"/>
                    <a:pt x="7232" y="1944"/>
                  </a:cubicBezTo>
                  <a:cubicBezTo>
                    <a:pt x="7282" y="1945"/>
                    <a:pt x="7329" y="1947"/>
                    <a:pt x="7372" y="1949"/>
                  </a:cubicBezTo>
                  <a:cubicBezTo>
                    <a:pt x="7557" y="1955"/>
                    <a:pt x="7680" y="1960"/>
                    <a:pt x="7680" y="1960"/>
                  </a:cubicBezTo>
                  <a:cubicBezTo>
                    <a:pt x="7681" y="1960"/>
                    <a:pt x="7682" y="1960"/>
                    <a:pt x="7683" y="1960"/>
                  </a:cubicBezTo>
                  <a:cubicBezTo>
                    <a:pt x="7692" y="1960"/>
                    <a:pt x="7725" y="1962"/>
                    <a:pt x="7765" y="1964"/>
                  </a:cubicBezTo>
                  <a:cubicBezTo>
                    <a:pt x="7771" y="1953"/>
                    <a:pt x="7771" y="1953"/>
                    <a:pt x="7771" y="1953"/>
                  </a:cubicBezTo>
                  <a:cubicBezTo>
                    <a:pt x="7862" y="1705"/>
                    <a:pt x="7862" y="1705"/>
                    <a:pt x="7862" y="1705"/>
                  </a:cubicBezTo>
                  <a:cubicBezTo>
                    <a:pt x="7785" y="998"/>
                    <a:pt x="7785" y="998"/>
                    <a:pt x="7785" y="998"/>
                  </a:cubicBezTo>
                  <a:cubicBezTo>
                    <a:pt x="7771" y="970"/>
                    <a:pt x="7658" y="745"/>
                    <a:pt x="7570" y="526"/>
                  </a:cubicBezTo>
                  <a:cubicBezTo>
                    <a:pt x="7530" y="427"/>
                    <a:pt x="7518" y="341"/>
                    <a:pt x="7518" y="275"/>
                  </a:cubicBezTo>
                  <a:cubicBezTo>
                    <a:pt x="7518" y="184"/>
                    <a:pt x="7541" y="130"/>
                    <a:pt x="7541" y="129"/>
                  </a:cubicBezTo>
                  <a:cubicBezTo>
                    <a:pt x="7542" y="128"/>
                    <a:pt x="7542" y="128"/>
                    <a:pt x="7542" y="128"/>
                  </a:cubicBezTo>
                  <a:cubicBezTo>
                    <a:pt x="7612" y="0"/>
                    <a:pt x="7612" y="0"/>
                    <a:pt x="7612" y="0"/>
                  </a:cubicBezTo>
                  <a:cubicBezTo>
                    <a:pt x="7650" y="0"/>
                    <a:pt x="7650" y="0"/>
                    <a:pt x="7650" y="0"/>
                  </a:cubicBezTo>
                  <a:cubicBezTo>
                    <a:pt x="7653" y="0"/>
                    <a:pt x="7653" y="0"/>
                    <a:pt x="7653" y="0"/>
                  </a:cubicBezTo>
                  <a:cubicBezTo>
                    <a:pt x="7720" y="0"/>
                    <a:pt x="7720" y="0"/>
                    <a:pt x="7720" y="0"/>
                  </a:cubicBezTo>
                  <a:cubicBezTo>
                    <a:pt x="8894" y="698"/>
                    <a:pt x="8894" y="698"/>
                    <a:pt x="8894" y="698"/>
                  </a:cubicBezTo>
                  <a:cubicBezTo>
                    <a:pt x="8904" y="684"/>
                    <a:pt x="8920" y="662"/>
                    <a:pt x="8938" y="635"/>
                  </a:cubicBezTo>
                  <a:cubicBezTo>
                    <a:pt x="9020" y="513"/>
                    <a:pt x="9162" y="294"/>
                    <a:pt x="9163" y="293"/>
                  </a:cubicBezTo>
                  <a:cubicBezTo>
                    <a:pt x="9168" y="285"/>
                    <a:pt x="9168" y="285"/>
                    <a:pt x="9168" y="285"/>
                  </a:cubicBezTo>
                  <a:cubicBezTo>
                    <a:pt x="9201" y="285"/>
                    <a:pt x="9201" y="285"/>
                    <a:pt x="9201" y="285"/>
                  </a:cubicBezTo>
                  <a:cubicBezTo>
                    <a:pt x="9184" y="0"/>
                    <a:pt x="9184" y="0"/>
                    <a:pt x="9184" y="0"/>
                  </a:cubicBezTo>
                  <a:cubicBezTo>
                    <a:pt x="9220" y="0"/>
                    <a:pt x="9220" y="0"/>
                    <a:pt x="9220" y="0"/>
                  </a:cubicBezTo>
                  <a:cubicBezTo>
                    <a:pt x="9237" y="286"/>
                    <a:pt x="9237" y="286"/>
                    <a:pt x="9237" y="286"/>
                  </a:cubicBezTo>
                  <a:cubicBezTo>
                    <a:pt x="9235" y="286"/>
                    <a:pt x="9235" y="286"/>
                    <a:pt x="9235" y="286"/>
                  </a:cubicBezTo>
                  <a:cubicBezTo>
                    <a:pt x="10217" y="300"/>
                    <a:pt x="10217" y="300"/>
                    <a:pt x="10217" y="300"/>
                  </a:cubicBezTo>
                  <a:cubicBezTo>
                    <a:pt x="10217" y="299"/>
                    <a:pt x="10217" y="299"/>
                    <a:pt x="10217" y="299"/>
                  </a:cubicBezTo>
                  <a:cubicBezTo>
                    <a:pt x="10241" y="280"/>
                    <a:pt x="10341" y="188"/>
                    <a:pt x="10341" y="14"/>
                  </a:cubicBezTo>
                  <a:cubicBezTo>
                    <a:pt x="10341" y="10"/>
                    <a:pt x="10340" y="5"/>
                    <a:pt x="10340" y="0"/>
                  </a:cubicBezTo>
                  <a:cubicBezTo>
                    <a:pt x="10376" y="0"/>
                    <a:pt x="10376" y="0"/>
                    <a:pt x="10376" y="0"/>
                  </a:cubicBezTo>
                  <a:cubicBezTo>
                    <a:pt x="10376" y="5"/>
                    <a:pt x="10377" y="10"/>
                    <a:pt x="10377" y="14"/>
                  </a:cubicBezTo>
                  <a:cubicBezTo>
                    <a:pt x="10377" y="200"/>
                    <a:pt x="10273" y="300"/>
                    <a:pt x="10242" y="326"/>
                  </a:cubicBezTo>
                  <a:cubicBezTo>
                    <a:pt x="10246" y="361"/>
                    <a:pt x="10258" y="491"/>
                    <a:pt x="10271" y="621"/>
                  </a:cubicBezTo>
                  <a:cubicBezTo>
                    <a:pt x="10279" y="698"/>
                    <a:pt x="10287" y="775"/>
                    <a:pt x="10292" y="833"/>
                  </a:cubicBezTo>
                  <a:cubicBezTo>
                    <a:pt x="10295" y="862"/>
                    <a:pt x="10297" y="886"/>
                    <a:pt x="10299" y="903"/>
                  </a:cubicBezTo>
                  <a:cubicBezTo>
                    <a:pt x="10299" y="906"/>
                    <a:pt x="10300" y="909"/>
                    <a:pt x="10300" y="911"/>
                  </a:cubicBezTo>
                  <a:cubicBezTo>
                    <a:pt x="11917" y="622"/>
                    <a:pt x="11917" y="622"/>
                    <a:pt x="11917" y="622"/>
                  </a:cubicBezTo>
                  <a:cubicBezTo>
                    <a:pt x="11798" y="69"/>
                    <a:pt x="11798" y="69"/>
                    <a:pt x="11798" y="69"/>
                  </a:cubicBezTo>
                  <a:cubicBezTo>
                    <a:pt x="11787" y="61"/>
                    <a:pt x="11765" y="42"/>
                    <a:pt x="11734" y="0"/>
                  </a:cubicBezTo>
                  <a:cubicBezTo>
                    <a:pt x="11780" y="0"/>
                    <a:pt x="11780" y="0"/>
                    <a:pt x="11780" y="0"/>
                  </a:cubicBezTo>
                  <a:cubicBezTo>
                    <a:pt x="11781" y="2"/>
                    <a:pt x="11783" y="3"/>
                    <a:pt x="11784" y="5"/>
                  </a:cubicBezTo>
                  <a:cubicBezTo>
                    <a:pt x="11787" y="0"/>
                    <a:pt x="11787" y="0"/>
                    <a:pt x="11787" y="0"/>
                  </a:cubicBezTo>
                  <a:cubicBezTo>
                    <a:pt x="11831" y="0"/>
                    <a:pt x="11831" y="0"/>
                    <a:pt x="11831" y="0"/>
                  </a:cubicBezTo>
                  <a:cubicBezTo>
                    <a:pt x="11809" y="31"/>
                    <a:pt x="11809" y="31"/>
                    <a:pt x="11809" y="31"/>
                  </a:cubicBezTo>
                  <a:cubicBezTo>
                    <a:pt x="11811" y="33"/>
                    <a:pt x="11813" y="35"/>
                    <a:pt x="11814" y="36"/>
                  </a:cubicBezTo>
                  <a:cubicBezTo>
                    <a:pt x="11818" y="39"/>
                    <a:pt x="11820" y="41"/>
                    <a:pt x="11821" y="42"/>
                  </a:cubicBezTo>
                  <a:cubicBezTo>
                    <a:pt x="11822" y="42"/>
                    <a:pt x="11822" y="42"/>
                    <a:pt x="11823" y="42"/>
                  </a:cubicBezTo>
                  <a:cubicBezTo>
                    <a:pt x="11823" y="42"/>
                    <a:pt x="11823" y="42"/>
                    <a:pt x="11823" y="42"/>
                  </a:cubicBezTo>
                  <a:cubicBezTo>
                    <a:pt x="11830" y="46"/>
                    <a:pt x="11830" y="46"/>
                    <a:pt x="11830" y="46"/>
                  </a:cubicBezTo>
                  <a:cubicBezTo>
                    <a:pt x="11958" y="643"/>
                    <a:pt x="11958" y="643"/>
                    <a:pt x="11958" y="643"/>
                  </a:cubicBezTo>
                  <a:cubicBezTo>
                    <a:pt x="12153" y="1922"/>
                    <a:pt x="12153" y="1922"/>
                    <a:pt x="12153" y="1922"/>
                  </a:cubicBezTo>
                  <a:cubicBezTo>
                    <a:pt x="13147" y="2315"/>
                    <a:pt x="13147" y="2315"/>
                    <a:pt x="13147" y="2315"/>
                  </a:cubicBezTo>
                  <a:cubicBezTo>
                    <a:pt x="13842" y="315"/>
                    <a:pt x="13842" y="315"/>
                    <a:pt x="13842" y="315"/>
                  </a:cubicBezTo>
                  <a:cubicBezTo>
                    <a:pt x="13363" y="263"/>
                    <a:pt x="13363" y="263"/>
                    <a:pt x="13363" y="263"/>
                  </a:cubicBezTo>
                  <a:cubicBezTo>
                    <a:pt x="12894" y="0"/>
                    <a:pt x="12894" y="0"/>
                    <a:pt x="12894" y="0"/>
                  </a:cubicBezTo>
                  <a:cubicBezTo>
                    <a:pt x="12967" y="0"/>
                    <a:pt x="12967" y="0"/>
                    <a:pt x="12967" y="0"/>
                  </a:cubicBezTo>
                  <a:cubicBezTo>
                    <a:pt x="13374" y="228"/>
                    <a:pt x="13374" y="228"/>
                    <a:pt x="13374" y="228"/>
                  </a:cubicBezTo>
                  <a:cubicBezTo>
                    <a:pt x="13842" y="279"/>
                    <a:pt x="13842" y="279"/>
                    <a:pt x="13842" y="279"/>
                  </a:cubicBezTo>
                  <a:cubicBezTo>
                    <a:pt x="13852" y="280"/>
                    <a:pt x="13852" y="280"/>
                    <a:pt x="13852" y="280"/>
                  </a:cubicBezTo>
                  <a:cubicBezTo>
                    <a:pt x="13848" y="240"/>
                    <a:pt x="13838" y="139"/>
                    <a:pt x="13825" y="0"/>
                  </a:cubicBezTo>
                  <a:cubicBezTo>
                    <a:pt x="13941" y="0"/>
                    <a:pt x="13941" y="0"/>
                    <a:pt x="13941" y="0"/>
                  </a:cubicBezTo>
                  <a:cubicBezTo>
                    <a:pt x="13941" y="7"/>
                    <a:pt x="13942" y="14"/>
                    <a:pt x="13942" y="20"/>
                  </a:cubicBezTo>
                  <a:cubicBezTo>
                    <a:pt x="13958" y="184"/>
                    <a:pt x="13968" y="288"/>
                    <a:pt x="13968" y="288"/>
                  </a:cubicBezTo>
                  <a:cubicBezTo>
                    <a:pt x="13968" y="292"/>
                    <a:pt x="13968" y="292"/>
                    <a:pt x="13968" y="292"/>
                  </a:cubicBezTo>
                  <a:cubicBezTo>
                    <a:pt x="13970" y="292"/>
                    <a:pt x="13973" y="293"/>
                    <a:pt x="13975" y="294"/>
                  </a:cubicBezTo>
                  <a:cubicBezTo>
                    <a:pt x="14422" y="342"/>
                    <a:pt x="14422" y="342"/>
                    <a:pt x="14422" y="342"/>
                  </a:cubicBezTo>
                  <a:cubicBezTo>
                    <a:pt x="14423" y="342"/>
                    <a:pt x="14429" y="342"/>
                    <a:pt x="14434" y="347"/>
                  </a:cubicBezTo>
                  <a:cubicBezTo>
                    <a:pt x="14443" y="352"/>
                    <a:pt x="14481" y="372"/>
                    <a:pt x="14537" y="399"/>
                  </a:cubicBezTo>
                  <a:cubicBezTo>
                    <a:pt x="14660" y="460"/>
                    <a:pt x="14878" y="567"/>
                    <a:pt x="15126" y="694"/>
                  </a:cubicBezTo>
                  <a:cubicBezTo>
                    <a:pt x="15116" y="646"/>
                    <a:pt x="15066" y="458"/>
                    <a:pt x="15005" y="237"/>
                  </a:cubicBezTo>
                  <a:cubicBezTo>
                    <a:pt x="14984" y="161"/>
                    <a:pt x="14962" y="81"/>
                    <a:pt x="14940" y="0"/>
                  </a:cubicBezTo>
                  <a:cubicBezTo>
                    <a:pt x="14977" y="0"/>
                    <a:pt x="14977" y="0"/>
                    <a:pt x="14977" y="0"/>
                  </a:cubicBezTo>
                  <a:cubicBezTo>
                    <a:pt x="14998" y="77"/>
                    <a:pt x="15020" y="154"/>
                    <a:pt x="15040" y="227"/>
                  </a:cubicBezTo>
                  <a:cubicBezTo>
                    <a:pt x="15105" y="465"/>
                    <a:pt x="15158" y="658"/>
                    <a:pt x="15163" y="696"/>
                  </a:cubicBezTo>
                  <a:cubicBezTo>
                    <a:pt x="15138" y="700"/>
                    <a:pt x="15138" y="700"/>
                    <a:pt x="15138" y="700"/>
                  </a:cubicBezTo>
                  <a:cubicBezTo>
                    <a:pt x="15262" y="763"/>
                    <a:pt x="15394" y="831"/>
                    <a:pt x="15525" y="901"/>
                  </a:cubicBezTo>
                  <a:cubicBezTo>
                    <a:pt x="15765" y="1029"/>
                    <a:pt x="16004" y="1171"/>
                    <a:pt x="16193" y="1283"/>
                  </a:cubicBezTo>
                  <a:cubicBezTo>
                    <a:pt x="16825" y="1657"/>
                    <a:pt x="17295" y="2204"/>
                    <a:pt x="17296" y="2205"/>
                  </a:cubicBezTo>
                  <a:cubicBezTo>
                    <a:pt x="17331" y="2243"/>
                    <a:pt x="17374" y="2293"/>
                    <a:pt x="17429" y="2349"/>
                  </a:cubicBezTo>
                  <a:cubicBezTo>
                    <a:pt x="17495" y="2296"/>
                    <a:pt x="17655" y="2168"/>
                    <a:pt x="17832" y="2023"/>
                  </a:cubicBezTo>
                  <a:cubicBezTo>
                    <a:pt x="17889" y="1977"/>
                    <a:pt x="17947" y="1930"/>
                    <a:pt x="18004" y="1883"/>
                  </a:cubicBezTo>
                  <a:lnTo>
                    <a:pt x="18004" y="1930"/>
                  </a:lnTo>
                  <a:close/>
                  <a:moveTo>
                    <a:pt x="2922" y="287"/>
                  </a:moveTo>
                  <a:cubicBezTo>
                    <a:pt x="2941" y="297"/>
                    <a:pt x="2941" y="297"/>
                    <a:pt x="2941" y="297"/>
                  </a:cubicBezTo>
                  <a:cubicBezTo>
                    <a:pt x="2941" y="297"/>
                    <a:pt x="2941" y="297"/>
                    <a:pt x="2941" y="297"/>
                  </a:cubicBezTo>
                  <a:cubicBezTo>
                    <a:pt x="2974" y="313"/>
                    <a:pt x="3021" y="335"/>
                    <a:pt x="3070" y="359"/>
                  </a:cubicBezTo>
                  <a:cubicBezTo>
                    <a:pt x="3116" y="381"/>
                    <a:pt x="3163" y="404"/>
                    <a:pt x="3203" y="424"/>
                  </a:cubicBezTo>
                  <a:cubicBezTo>
                    <a:pt x="3243" y="445"/>
                    <a:pt x="3273" y="461"/>
                    <a:pt x="3293" y="474"/>
                  </a:cubicBezTo>
                  <a:cubicBezTo>
                    <a:pt x="3359" y="518"/>
                    <a:pt x="3407" y="581"/>
                    <a:pt x="3446" y="654"/>
                  </a:cubicBezTo>
                  <a:cubicBezTo>
                    <a:pt x="3468" y="693"/>
                    <a:pt x="3494" y="756"/>
                    <a:pt x="3520" y="822"/>
                  </a:cubicBezTo>
                  <a:cubicBezTo>
                    <a:pt x="3546" y="887"/>
                    <a:pt x="3570" y="951"/>
                    <a:pt x="3582" y="988"/>
                  </a:cubicBezTo>
                  <a:cubicBezTo>
                    <a:pt x="3587" y="1001"/>
                    <a:pt x="3599" y="1033"/>
                    <a:pt x="3616" y="1076"/>
                  </a:cubicBezTo>
                  <a:cubicBezTo>
                    <a:pt x="3618" y="1057"/>
                    <a:pt x="3620" y="1040"/>
                    <a:pt x="3621" y="1026"/>
                  </a:cubicBezTo>
                  <a:cubicBezTo>
                    <a:pt x="3622" y="1020"/>
                    <a:pt x="3622" y="1011"/>
                    <a:pt x="3622" y="1000"/>
                  </a:cubicBezTo>
                  <a:cubicBezTo>
                    <a:pt x="3624" y="910"/>
                    <a:pt x="3597" y="697"/>
                    <a:pt x="3529" y="599"/>
                  </a:cubicBezTo>
                  <a:cubicBezTo>
                    <a:pt x="3516" y="578"/>
                    <a:pt x="3469" y="535"/>
                    <a:pt x="3411" y="492"/>
                  </a:cubicBezTo>
                  <a:cubicBezTo>
                    <a:pt x="3322" y="426"/>
                    <a:pt x="3204" y="353"/>
                    <a:pt x="3109" y="298"/>
                  </a:cubicBezTo>
                  <a:cubicBezTo>
                    <a:pt x="3044" y="260"/>
                    <a:pt x="2991" y="230"/>
                    <a:pt x="2963" y="215"/>
                  </a:cubicBezTo>
                  <a:cubicBezTo>
                    <a:pt x="2952" y="241"/>
                    <a:pt x="2938" y="265"/>
                    <a:pt x="2922" y="287"/>
                  </a:cubicBezTo>
                  <a:close/>
                  <a:moveTo>
                    <a:pt x="2319" y="1717"/>
                  </a:moveTo>
                  <a:cubicBezTo>
                    <a:pt x="2309" y="1660"/>
                    <a:pt x="2303" y="1605"/>
                    <a:pt x="2300" y="1578"/>
                  </a:cubicBezTo>
                  <a:cubicBezTo>
                    <a:pt x="2300" y="1574"/>
                    <a:pt x="2300" y="1570"/>
                    <a:pt x="2300" y="1566"/>
                  </a:cubicBezTo>
                  <a:cubicBezTo>
                    <a:pt x="2299" y="1508"/>
                    <a:pt x="2338" y="1436"/>
                    <a:pt x="2440" y="1408"/>
                  </a:cubicBezTo>
                  <a:cubicBezTo>
                    <a:pt x="2533" y="1382"/>
                    <a:pt x="2730" y="1357"/>
                    <a:pt x="2851" y="1357"/>
                  </a:cubicBezTo>
                  <a:cubicBezTo>
                    <a:pt x="2867" y="1357"/>
                    <a:pt x="2882" y="1357"/>
                    <a:pt x="2895" y="1358"/>
                  </a:cubicBezTo>
                  <a:cubicBezTo>
                    <a:pt x="3007" y="1366"/>
                    <a:pt x="3060" y="1427"/>
                    <a:pt x="3089" y="1487"/>
                  </a:cubicBezTo>
                  <a:cubicBezTo>
                    <a:pt x="3113" y="1535"/>
                    <a:pt x="3123" y="1617"/>
                    <a:pt x="3123" y="1682"/>
                  </a:cubicBezTo>
                  <a:cubicBezTo>
                    <a:pt x="3123" y="1703"/>
                    <a:pt x="3122" y="1722"/>
                    <a:pt x="3120" y="1738"/>
                  </a:cubicBezTo>
                  <a:cubicBezTo>
                    <a:pt x="3117" y="1753"/>
                    <a:pt x="3110" y="1770"/>
                    <a:pt x="3100" y="1787"/>
                  </a:cubicBezTo>
                  <a:cubicBezTo>
                    <a:pt x="3108" y="1792"/>
                    <a:pt x="3160" y="1811"/>
                    <a:pt x="3220" y="1830"/>
                  </a:cubicBezTo>
                  <a:cubicBezTo>
                    <a:pt x="3281" y="1849"/>
                    <a:pt x="3352" y="1867"/>
                    <a:pt x="3402" y="1873"/>
                  </a:cubicBezTo>
                  <a:cubicBezTo>
                    <a:pt x="3407" y="1873"/>
                    <a:pt x="3412" y="1873"/>
                    <a:pt x="3419" y="1873"/>
                  </a:cubicBezTo>
                  <a:cubicBezTo>
                    <a:pt x="3479" y="1874"/>
                    <a:pt x="3586" y="1848"/>
                    <a:pt x="3677" y="1823"/>
                  </a:cubicBezTo>
                  <a:cubicBezTo>
                    <a:pt x="3724" y="1809"/>
                    <a:pt x="3766" y="1796"/>
                    <a:pt x="3796" y="1787"/>
                  </a:cubicBezTo>
                  <a:cubicBezTo>
                    <a:pt x="3812" y="1775"/>
                    <a:pt x="3812" y="1775"/>
                    <a:pt x="3812" y="1775"/>
                  </a:cubicBezTo>
                  <a:cubicBezTo>
                    <a:pt x="3785" y="1736"/>
                    <a:pt x="3760" y="1694"/>
                    <a:pt x="3740" y="1659"/>
                  </a:cubicBezTo>
                  <a:cubicBezTo>
                    <a:pt x="3725" y="1634"/>
                    <a:pt x="3705" y="1590"/>
                    <a:pt x="3680" y="1532"/>
                  </a:cubicBezTo>
                  <a:cubicBezTo>
                    <a:pt x="3605" y="1360"/>
                    <a:pt x="3494" y="1083"/>
                    <a:pt x="3474" y="1026"/>
                  </a:cubicBezTo>
                  <a:cubicBezTo>
                    <a:pt x="3462" y="991"/>
                    <a:pt x="3438" y="927"/>
                    <a:pt x="3413" y="864"/>
                  </a:cubicBezTo>
                  <a:cubicBezTo>
                    <a:pt x="3389" y="801"/>
                    <a:pt x="3361" y="737"/>
                    <a:pt x="3346" y="709"/>
                  </a:cubicBezTo>
                  <a:cubicBezTo>
                    <a:pt x="3311" y="646"/>
                    <a:pt x="3274" y="599"/>
                    <a:pt x="3229" y="569"/>
                  </a:cubicBezTo>
                  <a:cubicBezTo>
                    <a:pt x="3221" y="563"/>
                    <a:pt x="3189" y="546"/>
                    <a:pt x="3151" y="527"/>
                  </a:cubicBezTo>
                  <a:cubicBezTo>
                    <a:pt x="3035" y="468"/>
                    <a:pt x="2847" y="380"/>
                    <a:pt x="2846" y="380"/>
                  </a:cubicBezTo>
                  <a:cubicBezTo>
                    <a:pt x="2847" y="378"/>
                    <a:pt x="2847" y="378"/>
                    <a:pt x="2847" y="378"/>
                  </a:cubicBezTo>
                  <a:cubicBezTo>
                    <a:pt x="2835" y="372"/>
                    <a:pt x="2835" y="372"/>
                    <a:pt x="2835" y="372"/>
                  </a:cubicBezTo>
                  <a:cubicBezTo>
                    <a:pt x="2834" y="371"/>
                    <a:pt x="2834" y="371"/>
                    <a:pt x="2834" y="371"/>
                  </a:cubicBezTo>
                  <a:cubicBezTo>
                    <a:pt x="2780" y="407"/>
                    <a:pt x="2714" y="429"/>
                    <a:pt x="2644" y="429"/>
                  </a:cubicBezTo>
                  <a:cubicBezTo>
                    <a:pt x="2597" y="429"/>
                    <a:pt x="2552" y="419"/>
                    <a:pt x="2511" y="402"/>
                  </a:cubicBezTo>
                  <a:cubicBezTo>
                    <a:pt x="2505" y="409"/>
                    <a:pt x="2499" y="418"/>
                    <a:pt x="2499" y="418"/>
                  </a:cubicBezTo>
                  <a:cubicBezTo>
                    <a:pt x="2499" y="418"/>
                    <a:pt x="2499" y="418"/>
                    <a:pt x="2498" y="418"/>
                  </a:cubicBezTo>
                  <a:cubicBezTo>
                    <a:pt x="2470" y="455"/>
                    <a:pt x="2390" y="560"/>
                    <a:pt x="2300" y="673"/>
                  </a:cubicBezTo>
                  <a:cubicBezTo>
                    <a:pt x="2244" y="743"/>
                    <a:pt x="2185" y="815"/>
                    <a:pt x="2132" y="876"/>
                  </a:cubicBezTo>
                  <a:cubicBezTo>
                    <a:pt x="2079" y="937"/>
                    <a:pt x="2035" y="985"/>
                    <a:pt x="1999" y="1012"/>
                  </a:cubicBezTo>
                  <a:cubicBezTo>
                    <a:pt x="1962" y="1040"/>
                    <a:pt x="1899" y="1070"/>
                    <a:pt x="1815" y="1109"/>
                  </a:cubicBezTo>
                  <a:cubicBezTo>
                    <a:pt x="1565" y="1222"/>
                    <a:pt x="1141" y="1384"/>
                    <a:pt x="966" y="1453"/>
                  </a:cubicBezTo>
                  <a:cubicBezTo>
                    <a:pt x="851" y="1499"/>
                    <a:pt x="708" y="1561"/>
                    <a:pt x="595" y="1611"/>
                  </a:cubicBezTo>
                  <a:cubicBezTo>
                    <a:pt x="576" y="1620"/>
                    <a:pt x="558" y="1628"/>
                    <a:pt x="540" y="1635"/>
                  </a:cubicBezTo>
                  <a:cubicBezTo>
                    <a:pt x="542" y="1654"/>
                    <a:pt x="542" y="1654"/>
                    <a:pt x="542" y="1654"/>
                  </a:cubicBezTo>
                  <a:cubicBezTo>
                    <a:pt x="574" y="1723"/>
                    <a:pt x="656" y="1903"/>
                    <a:pt x="751" y="2113"/>
                  </a:cubicBezTo>
                  <a:lnTo>
                    <a:pt x="2319" y="1717"/>
                  </a:lnTo>
                  <a:close/>
                  <a:moveTo>
                    <a:pt x="3090" y="1803"/>
                  </a:moveTo>
                  <a:cubicBezTo>
                    <a:pt x="3090" y="1803"/>
                    <a:pt x="3090" y="1803"/>
                    <a:pt x="3090" y="1803"/>
                  </a:cubicBezTo>
                  <a:cubicBezTo>
                    <a:pt x="3094" y="1818"/>
                    <a:pt x="3094" y="1818"/>
                    <a:pt x="3094" y="1818"/>
                  </a:cubicBezTo>
                  <a:lnTo>
                    <a:pt x="3090" y="1803"/>
                  </a:lnTo>
                  <a:close/>
                  <a:moveTo>
                    <a:pt x="2929" y="1882"/>
                  </a:moveTo>
                  <a:cubicBezTo>
                    <a:pt x="2972" y="1866"/>
                    <a:pt x="3010" y="1839"/>
                    <a:pt x="3038" y="1809"/>
                  </a:cubicBezTo>
                  <a:cubicBezTo>
                    <a:pt x="3066" y="1780"/>
                    <a:pt x="3082" y="1749"/>
                    <a:pt x="3084" y="1733"/>
                  </a:cubicBezTo>
                  <a:cubicBezTo>
                    <a:pt x="3102" y="1735"/>
                    <a:pt x="3102" y="1735"/>
                    <a:pt x="3102" y="1735"/>
                  </a:cubicBezTo>
                  <a:cubicBezTo>
                    <a:pt x="3084" y="1733"/>
                    <a:pt x="3084" y="1733"/>
                    <a:pt x="3084" y="1733"/>
                  </a:cubicBezTo>
                  <a:cubicBezTo>
                    <a:pt x="3086" y="1719"/>
                    <a:pt x="3087" y="1701"/>
                    <a:pt x="3087" y="1682"/>
                  </a:cubicBezTo>
                  <a:cubicBezTo>
                    <a:pt x="3087" y="1621"/>
                    <a:pt x="3076" y="1540"/>
                    <a:pt x="3057" y="1503"/>
                  </a:cubicBezTo>
                  <a:cubicBezTo>
                    <a:pt x="3029" y="1448"/>
                    <a:pt x="2992" y="1403"/>
                    <a:pt x="2892" y="1394"/>
                  </a:cubicBezTo>
                  <a:cubicBezTo>
                    <a:pt x="2880" y="1393"/>
                    <a:pt x="2866" y="1393"/>
                    <a:pt x="2851" y="1393"/>
                  </a:cubicBezTo>
                  <a:cubicBezTo>
                    <a:pt x="2735" y="1393"/>
                    <a:pt x="2537" y="1418"/>
                    <a:pt x="2450" y="1443"/>
                  </a:cubicBezTo>
                  <a:cubicBezTo>
                    <a:pt x="2360" y="1468"/>
                    <a:pt x="2337" y="1522"/>
                    <a:pt x="2336" y="1566"/>
                  </a:cubicBezTo>
                  <a:cubicBezTo>
                    <a:pt x="2336" y="1570"/>
                    <a:pt x="2336" y="1572"/>
                    <a:pt x="2336" y="1575"/>
                  </a:cubicBezTo>
                  <a:cubicBezTo>
                    <a:pt x="2340" y="1626"/>
                    <a:pt x="2366" y="1804"/>
                    <a:pt x="2388" y="1850"/>
                  </a:cubicBezTo>
                  <a:cubicBezTo>
                    <a:pt x="2406" y="1891"/>
                    <a:pt x="2457" y="1918"/>
                    <a:pt x="2531" y="1918"/>
                  </a:cubicBezTo>
                  <a:cubicBezTo>
                    <a:pt x="2536" y="1918"/>
                    <a:pt x="2541" y="1918"/>
                    <a:pt x="2546" y="1917"/>
                  </a:cubicBezTo>
                  <a:cubicBezTo>
                    <a:pt x="2632" y="1913"/>
                    <a:pt x="2841" y="1913"/>
                    <a:pt x="2929" y="1882"/>
                  </a:cubicBezTo>
                  <a:close/>
                  <a:moveTo>
                    <a:pt x="3832" y="2346"/>
                  </a:moveTo>
                  <a:cubicBezTo>
                    <a:pt x="4009" y="2305"/>
                    <a:pt x="4181" y="2187"/>
                    <a:pt x="4308" y="2079"/>
                  </a:cubicBezTo>
                  <a:cubicBezTo>
                    <a:pt x="4370" y="2027"/>
                    <a:pt x="4420" y="1977"/>
                    <a:pt x="4457" y="1939"/>
                  </a:cubicBezTo>
                  <a:cubicBezTo>
                    <a:pt x="4459" y="1921"/>
                    <a:pt x="4459" y="1921"/>
                    <a:pt x="4459" y="1921"/>
                  </a:cubicBezTo>
                  <a:cubicBezTo>
                    <a:pt x="4352" y="1926"/>
                    <a:pt x="4256" y="1931"/>
                    <a:pt x="4230" y="1933"/>
                  </a:cubicBezTo>
                  <a:cubicBezTo>
                    <a:pt x="4206" y="1935"/>
                    <a:pt x="4176" y="1937"/>
                    <a:pt x="4144" y="1937"/>
                  </a:cubicBezTo>
                  <a:cubicBezTo>
                    <a:pt x="4109" y="1937"/>
                    <a:pt x="4071" y="1935"/>
                    <a:pt x="4035" y="1930"/>
                  </a:cubicBezTo>
                  <a:cubicBezTo>
                    <a:pt x="3999" y="1925"/>
                    <a:pt x="3966" y="1918"/>
                    <a:pt x="3935" y="1902"/>
                  </a:cubicBezTo>
                  <a:cubicBezTo>
                    <a:pt x="3896" y="1881"/>
                    <a:pt x="3867" y="1849"/>
                    <a:pt x="3839" y="1813"/>
                  </a:cubicBezTo>
                  <a:cubicBezTo>
                    <a:pt x="3835" y="1813"/>
                    <a:pt x="3831" y="1814"/>
                    <a:pt x="3826" y="1815"/>
                  </a:cubicBezTo>
                  <a:cubicBezTo>
                    <a:pt x="3748" y="1840"/>
                    <a:pt x="3529" y="1909"/>
                    <a:pt x="3419" y="1909"/>
                  </a:cubicBezTo>
                  <a:cubicBezTo>
                    <a:pt x="3411" y="1909"/>
                    <a:pt x="3404" y="1909"/>
                    <a:pt x="3398" y="1908"/>
                  </a:cubicBezTo>
                  <a:cubicBezTo>
                    <a:pt x="3340" y="1902"/>
                    <a:pt x="3262" y="1881"/>
                    <a:pt x="3197" y="1861"/>
                  </a:cubicBezTo>
                  <a:cubicBezTo>
                    <a:pt x="3165" y="1850"/>
                    <a:pt x="3136" y="1840"/>
                    <a:pt x="3115" y="1832"/>
                  </a:cubicBezTo>
                  <a:cubicBezTo>
                    <a:pt x="3105" y="1829"/>
                    <a:pt x="3097" y="1825"/>
                    <a:pt x="3090" y="1822"/>
                  </a:cubicBezTo>
                  <a:cubicBezTo>
                    <a:pt x="3087" y="1821"/>
                    <a:pt x="3085" y="1820"/>
                    <a:pt x="3082" y="1819"/>
                  </a:cubicBezTo>
                  <a:cubicBezTo>
                    <a:pt x="3081" y="1818"/>
                    <a:pt x="3080" y="1817"/>
                    <a:pt x="3079" y="1816"/>
                  </a:cubicBezTo>
                  <a:cubicBezTo>
                    <a:pt x="3074" y="1822"/>
                    <a:pt x="3070" y="1828"/>
                    <a:pt x="3064" y="1834"/>
                  </a:cubicBezTo>
                  <a:cubicBezTo>
                    <a:pt x="3033" y="1867"/>
                    <a:pt x="2991" y="1898"/>
                    <a:pt x="2940" y="1916"/>
                  </a:cubicBezTo>
                  <a:cubicBezTo>
                    <a:pt x="2896" y="1931"/>
                    <a:pt x="2830" y="1939"/>
                    <a:pt x="2763" y="1944"/>
                  </a:cubicBezTo>
                  <a:cubicBezTo>
                    <a:pt x="2868" y="2442"/>
                    <a:pt x="2868" y="2442"/>
                    <a:pt x="2868" y="2442"/>
                  </a:cubicBezTo>
                  <a:cubicBezTo>
                    <a:pt x="2868" y="2442"/>
                    <a:pt x="2869" y="2442"/>
                    <a:pt x="2869" y="2442"/>
                  </a:cubicBezTo>
                  <a:cubicBezTo>
                    <a:pt x="2944" y="2436"/>
                    <a:pt x="3240" y="2414"/>
                    <a:pt x="3484" y="2391"/>
                  </a:cubicBezTo>
                  <a:cubicBezTo>
                    <a:pt x="3640" y="2376"/>
                    <a:pt x="3706" y="2376"/>
                    <a:pt x="3832" y="2346"/>
                  </a:cubicBezTo>
                  <a:close/>
                  <a:moveTo>
                    <a:pt x="4789" y="1905"/>
                  </a:moveTo>
                  <a:cubicBezTo>
                    <a:pt x="4737" y="1907"/>
                    <a:pt x="4651" y="1911"/>
                    <a:pt x="4562" y="1916"/>
                  </a:cubicBezTo>
                  <a:cubicBezTo>
                    <a:pt x="4551" y="1916"/>
                    <a:pt x="4541" y="1917"/>
                    <a:pt x="4530" y="1917"/>
                  </a:cubicBezTo>
                  <a:cubicBezTo>
                    <a:pt x="4516" y="1929"/>
                    <a:pt x="4516" y="1929"/>
                    <a:pt x="4516" y="1929"/>
                  </a:cubicBezTo>
                  <a:cubicBezTo>
                    <a:pt x="4429" y="2023"/>
                    <a:pt x="4150" y="2308"/>
                    <a:pt x="3840" y="2381"/>
                  </a:cubicBezTo>
                  <a:cubicBezTo>
                    <a:pt x="3821" y="2386"/>
                    <a:pt x="3803" y="2390"/>
                    <a:pt x="3786" y="2393"/>
                  </a:cubicBezTo>
                  <a:cubicBezTo>
                    <a:pt x="3876" y="2798"/>
                    <a:pt x="3876" y="2798"/>
                    <a:pt x="3876" y="2798"/>
                  </a:cubicBezTo>
                  <a:cubicBezTo>
                    <a:pt x="4176" y="2804"/>
                    <a:pt x="4517" y="2960"/>
                    <a:pt x="4628" y="3015"/>
                  </a:cubicBezTo>
                  <a:cubicBezTo>
                    <a:pt x="4647" y="3019"/>
                    <a:pt x="4647" y="3019"/>
                    <a:pt x="4647" y="3019"/>
                  </a:cubicBezTo>
                  <a:lnTo>
                    <a:pt x="4789" y="1905"/>
                  </a:lnTo>
                  <a:close/>
                  <a:moveTo>
                    <a:pt x="5064" y="1745"/>
                  </a:moveTo>
                  <a:cubicBezTo>
                    <a:pt x="5066" y="1737"/>
                    <a:pt x="5068" y="1724"/>
                    <a:pt x="5069" y="1718"/>
                  </a:cubicBezTo>
                  <a:cubicBezTo>
                    <a:pt x="5108" y="1136"/>
                    <a:pt x="5108" y="1136"/>
                    <a:pt x="5108" y="1136"/>
                  </a:cubicBezTo>
                  <a:cubicBezTo>
                    <a:pt x="5102" y="1083"/>
                    <a:pt x="5102" y="1083"/>
                    <a:pt x="5102" y="1083"/>
                  </a:cubicBezTo>
                  <a:cubicBezTo>
                    <a:pt x="4597" y="752"/>
                    <a:pt x="4597" y="752"/>
                    <a:pt x="4597" y="752"/>
                  </a:cubicBezTo>
                  <a:cubicBezTo>
                    <a:pt x="4244" y="1801"/>
                    <a:pt x="4244" y="1801"/>
                    <a:pt x="4244" y="1801"/>
                  </a:cubicBezTo>
                  <a:cubicBezTo>
                    <a:pt x="4242" y="1817"/>
                    <a:pt x="4242" y="1817"/>
                    <a:pt x="4242" y="1817"/>
                  </a:cubicBezTo>
                  <a:cubicBezTo>
                    <a:pt x="4360" y="1810"/>
                    <a:pt x="4786" y="1790"/>
                    <a:pt x="4830" y="1788"/>
                  </a:cubicBezTo>
                  <a:lnTo>
                    <a:pt x="5064" y="1745"/>
                  </a:lnTo>
                  <a:close/>
                  <a:moveTo>
                    <a:pt x="7186" y="1942"/>
                  </a:moveTo>
                  <a:cubicBezTo>
                    <a:pt x="7185" y="1926"/>
                    <a:pt x="7185" y="1926"/>
                    <a:pt x="7185" y="1926"/>
                  </a:cubicBezTo>
                  <a:cubicBezTo>
                    <a:pt x="6672" y="463"/>
                    <a:pt x="6672" y="463"/>
                    <a:pt x="6672" y="463"/>
                  </a:cubicBezTo>
                  <a:cubicBezTo>
                    <a:pt x="6573" y="483"/>
                    <a:pt x="6487" y="492"/>
                    <a:pt x="6411" y="492"/>
                  </a:cubicBezTo>
                  <a:cubicBezTo>
                    <a:pt x="6411" y="492"/>
                    <a:pt x="6411" y="492"/>
                    <a:pt x="6411" y="492"/>
                  </a:cubicBezTo>
                  <a:cubicBezTo>
                    <a:pt x="6251" y="492"/>
                    <a:pt x="6137" y="456"/>
                    <a:pt x="6040" y="435"/>
                  </a:cubicBezTo>
                  <a:cubicBezTo>
                    <a:pt x="5900" y="404"/>
                    <a:pt x="5154" y="205"/>
                    <a:pt x="5075" y="184"/>
                  </a:cubicBezTo>
                  <a:cubicBezTo>
                    <a:pt x="5071" y="333"/>
                    <a:pt x="5067" y="444"/>
                    <a:pt x="5066" y="458"/>
                  </a:cubicBezTo>
                  <a:cubicBezTo>
                    <a:pt x="5144" y="1135"/>
                    <a:pt x="5144" y="1135"/>
                    <a:pt x="5144" y="1135"/>
                  </a:cubicBezTo>
                  <a:cubicBezTo>
                    <a:pt x="5105" y="1731"/>
                    <a:pt x="5105" y="1731"/>
                    <a:pt x="5105" y="1731"/>
                  </a:cubicBezTo>
                  <a:cubicBezTo>
                    <a:pt x="5108" y="1752"/>
                    <a:pt x="5108" y="1752"/>
                    <a:pt x="5108" y="1752"/>
                  </a:cubicBezTo>
                  <a:cubicBezTo>
                    <a:pt x="5163" y="1764"/>
                    <a:pt x="5297" y="1794"/>
                    <a:pt x="5426" y="1823"/>
                  </a:cubicBezTo>
                  <a:cubicBezTo>
                    <a:pt x="5500" y="1840"/>
                    <a:pt x="5573" y="1857"/>
                    <a:pt x="5628" y="1869"/>
                  </a:cubicBezTo>
                  <a:cubicBezTo>
                    <a:pt x="5655" y="1875"/>
                    <a:pt x="5678" y="1881"/>
                    <a:pt x="5694" y="1884"/>
                  </a:cubicBezTo>
                  <a:cubicBezTo>
                    <a:pt x="5702" y="1886"/>
                    <a:pt x="5708" y="1888"/>
                    <a:pt x="5713" y="1889"/>
                  </a:cubicBezTo>
                  <a:cubicBezTo>
                    <a:pt x="5714" y="1889"/>
                    <a:pt x="5715" y="1889"/>
                    <a:pt x="5715" y="1890"/>
                  </a:cubicBezTo>
                  <a:cubicBezTo>
                    <a:pt x="5777" y="1892"/>
                    <a:pt x="6235" y="1908"/>
                    <a:pt x="6694" y="1924"/>
                  </a:cubicBezTo>
                  <a:cubicBezTo>
                    <a:pt x="6865" y="1931"/>
                    <a:pt x="7036" y="1937"/>
                    <a:pt x="7186" y="1942"/>
                  </a:cubicBezTo>
                  <a:close/>
                  <a:moveTo>
                    <a:pt x="8904" y="889"/>
                  </a:moveTo>
                  <a:cubicBezTo>
                    <a:pt x="8905" y="889"/>
                    <a:pt x="8905" y="889"/>
                    <a:pt x="8905" y="889"/>
                  </a:cubicBezTo>
                  <a:cubicBezTo>
                    <a:pt x="8905" y="889"/>
                    <a:pt x="8905" y="889"/>
                    <a:pt x="8905" y="889"/>
                  </a:cubicBezTo>
                  <a:lnTo>
                    <a:pt x="8904" y="889"/>
                  </a:lnTo>
                  <a:close/>
                  <a:moveTo>
                    <a:pt x="8903" y="895"/>
                  </a:moveTo>
                  <a:cubicBezTo>
                    <a:pt x="8905" y="895"/>
                    <a:pt x="8905" y="895"/>
                    <a:pt x="8905" y="895"/>
                  </a:cubicBezTo>
                  <a:cubicBezTo>
                    <a:pt x="8905" y="895"/>
                    <a:pt x="8905" y="895"/>
                    <a:pt x="8905" y="895"/>
                  </a:cubicBezTo>
                  <a:lnTo>
                    <a:pt x="8903" y="895"/>
                  </a:lnTo>
                  <a:close/>
                  <a:moveTo>
                    <a:pt x="7813" y="974"/>
                  </a:moveTo>
                  <a:cubicBezTo>
                    <a:pt x="7925" y="963"/>
                    <a:pt x="8770" y="883"/>
                    <a:pt x="8903" y="877"/>
                  </a:cubicBezTo>
                  <a:cubicBezTo>
                    <a:pt x="8894" y="806"/>
                    <a:pt x="8887" y="754"/>
                    <a:pt x="8885" y="734"/>
                  </a:cubicBezTo>
                  <a:cubicBezTo>
                    <a:pt x="7652" y="2"/>
                    <a:pt x="7652" y="2"/>
                    <a:pt x="7652" y="2"/>
                  </a:cubicBezTo>
                  <a:cubicBezTo>
                    <a:pt x="7574" y="144"/>
                    <a:pt x="7574" y="144"/>
                    <a:pt x="7574" y="144"/>
                  </a:cubicBezTo>
                  <a:cubicBezTo>
                    <a:pt x="7574" y="145"/>
                    <a:pt x="7573" y="147"/>
                    <a:pt x="7571" y="151"/>
                  </a:cubicBezTo>
                  <a:cubicBezTo>
                    <a:pt x="7566" y="168"/>
                    <a:pt x="7554" y="211"/>
                    <a:pt x="7554" y="275"/>
                  </a:cubicBezTo>
                  <a:cubicBezTo>
                    <a:pt x="7554" y="337"/>
                    <a:pt x="7565" y="417"/>
                    <a:pt x="7603" y="513"/>
                  </a:cubicBezTo>
                  <a:cubicBezTo>
                    <a:pt x="7650" y="628"/>
                    <a:pt x="7704" y="746"/>
                    <a:pt x="7746" y="836"/>
                  </a:cubicBezTo>
                  <a:cubicBezTo>
                    <a:pt x="7778" y="902"/>
                    <a:pt x="7803" y="953"/>
                    <a:pt x="7813" y="974"/>
                  </a:cubicBezTo>
                  <a:close/>
                  <a:moveTo>
                    <a:pt x="7883" y="1976"/>
                  </a:moveTo>
                  <a:cubicBezTo>
                    <a:pt x="7920" y="1981"/>
                    <a:pt x="8367" y="2047"/>
                    <a:pt x="8875" y="2123"/>
                  </a:cubicBezTo>
                  <a:cubicBezTo>
                    <a:pt x="8877" y="2121"/>
                    <a:pt x="8885" y="2110"/>
                    <a:pt x="8891" y="2104"/>
                  </a:cubicBezTo>
                  <a:cubicBezTo>
                    <a:pt x="8894" y="2100"/>
                    <a:pt x="8896" y="2095"/>
                    <a:pt x="8899" y="2090"/>
                  </a:cubicBezTo>
                  <a:cubicBezTo>
                    <a:pt x="8932" y="2028"/>
                    <a:pt x="8997" y="1879"/>
                    <a:pt x="8997" y="1695"/>
                  </a:cubicBezTo>
                  <a:cubicBezTo>
                    <a:pt x="8997" y="1668"/>
                    <a:pt x="8996" y="1640"/>
                    <a:pt x="8993" y="1611"/>
                  </a:cubicBezTo>
                  <a:cubicBezTo>
                    <a:pt x="8976" y="1464"/>
                    <a:pt x="8949" y="1243"/>
                    <a:pt x="8926" y="1058"/>
                  </a:cubicBezTo>
                  <a:cubicBezTo>
                    <a:pt x="8919" y="1006"/>
                    <a:pt x="8913" y="956"/>
                    <a:pt x="8908" y="913"/>
                  </a:cubicBezTo>
                  <a:cubicBezTo>
                    <a:pt x="8848" y="915"/>
                    <a:pt x="8586" y="938"/>
                    <a:pt x="8334" y="961"/>
                  </a:cubicBezTo>
                  <a:cubicBezTo>
                    <a:pt x="8106" y="982"/>
                    <a:pt x="7885" y="1003"/>
                    <a:pt x="7823" y="1009"/>
                  </a:cubicBezTo>
                  <a:cubicBezTo>
                    <a:pt x="7899" y="1709"/>
                    <a:pt x="7899" y="1709"/>
                    <a:pt x="7899" y="1709"/>
                  </a:cubicBezTo>
                  <a:cubicBezTo>
                    <a:pt x="7810" y="1952"/>
                    <a:pt x="7810" y="1952"/>
                    <a:pt x="7810" y="1952"/>
                  </a:cubicBezTo>
                  <a:cubicBezTo>
                    <a:pt x="7811" y="1968"/>
                    <a:pt x="7811" y="1968"/>
                    <a:pt x="7811" y="1968"/>
                  </a:cubicBezTo>
                  <a:cubicBezTo>
                    <a:pt x="7835" y="1970"/>
                    <a:pt x="7859" y="1973"/>
                    <a:pt x="7883" y="1976"/>
                  </a:cubicBezTo>
                  <a:close/>
                  <a:moveTo>
                    <a:pt x="8925" y="2130"/>
                  </a:moveTo>
                  <a:cubicBezTo>
                    <a:pt x="9249" y="2178"/>
                    <a:pt x="9593" y="2230"/>
                    <a:pt x="9870" y="2271"/>
                  </a:cubicBezTo>
                  <a:cubicBezTo>
                    <a:pt x="9877" y="2258"/>
                    <a:pt x="9877" y="2258"/>
                    <a:pt x="9877" y="2258"/>
                  </a:cubicBezTo>
                  <a:cubicBezTo>
                    <a:pt x="9999" y="1900"/>
                    <a:pt x="9999" y="1900"/>
                    <a:pt x="9999" y="1900"/>
                  </a:cubicBezTo>
                  <a:cubicBezTo>
                    <a:pt x="10155" y="1772"/>
                    <a:pt x="10155" y="1772"/>
                    <a:pt x="10155" y="1772"/>
                  </a:cubicBezTo>
                  <a:cubicBezTo>
                    <a:pt x="10131" y="1101"/>
                    <a:pt x="10131" y="1101"/>
                    <a:pt x="10131" y="1101"/>
                  </a:cubicBezTo>
                  <a:cubicBezTo>
                    <a:pt x="10265" y="927"/>
                    <a:pt x="10265" y="927"/>
                    <a:pt x="10265" y="927"/>
                  </a:cubicBezTo>
                  <a:cubicBezTo>
                    <a:pt x="10260" y="868"/>
                    <a:pt x="10216" y="426"/>
                    <a:pt x="10207" y="336"/>
                  </a:cubicBezTo>
                  <a:cubicBezTo>
                    <a:pt x="9188" y="321"/>
                    <a:pt x="9188" y="321"/>
                    <a:pt x="9188" y="321"/>
                  </a:cubicBezTo>
                  <a:cubicBezTo>
                    <a:pt x="9170" y="348"/>
                    <a:pt x="9114" y="435"/>
                    <a:pt x="9057" y="522"/>
                  </a:cubicBezTo>
                  <a:cubicBezTo>
                    <a:pt x="9022" y="574"/>
                    <a:pt x="8987" y="626"/>
                    <a:pt x="8960" y="666"/>
                  </a:cubicBezTo>
                  <a:cubicBezTo>
                    <a:pt x="8947" y="686"/>
                    <a:pt x="8935" y="703"/>
                    <a:pt x="8927" y="715"/>
                  </a:cubicBezTo>
                  <a:cubicBezTo>
                    <a:pt x="8924" y="718"/>
                    <a:pt x="8922" y="721"/>
                    <a:pt x="8920" y="724"/>
                  </a:cubicBezTo>
                  <a:cubicBezTo>
                    <a:pt x="8925" y="767"/>
                    <a:pt x="8997" y="1324"/>
                    <a:pt x="9028" y="1607"/>
                  </a:cubicBezTo>
                  <a:cubicBezTo>
                    <a:pt x="9032" y="1637"/>
                    <a:pt x="9033" y="1666"/>
                    <a:pt x="9033" y="1695"/>
                  </a:cubicBezTo>
                  <a:cubicBezTo>
                    <a:pt x="9033" y="1887"/>
                    <a:pt x="8965" y="2041"/>
                    <a:pt x="8931" y="2107"/>
                  </a:cubicBezTo>
                  <a:lnTo>
                    <a:pt x="8925" y="2130"/>
                  </a:lnTo>
                  <a:close/>
                  <a:moveTo>
                    <a:pt x="13133" y="2349"/>
                  </a:moveTo>
                  <a:cubicBezTo>
                    <a:pt x="12120" y="1948"/>
                    <a:pt x="12120" y="1948"/>
                    <a:pt x="12120" y="1948"/>
                  </a:cubicBezTo>
                  <a:cubicBezTo>
                    <a:pt x="11924" y="657"/>
                    <a:pt x="11924" y="657"/>
                    <a:pt x="11924" y="657"/>
                  </a:cubicBezTo>
                  <a:cubicBezTo>
                    <a:pt x="10294" y="949"/>
                    <a:pt x="10294" y="949"/>
                    <a:pt x="10294" y="949"/>
                  </a:cubicBezTo>
                  <a:cubicBezTo>
                    <a:pt x="10167" y="1113"/>
                    <a:pt x="10167" y="1113"/>
                    <a:pt x="10167" y="1113"/>
                  </a:cubicBezTo>
                  <a:cubicBezTo>
                    <a:pt x="10192" y="1789"/>
                    <a:pt x="10192" y="1789"/>
                    <a:pt x="10192" y="1789"/>
                  </a:cubicBezTo>
                  <a:cubicBezTo>
                    <a:pt x="10030" y="1922"/>
                    <a:pt x="10030" y="1922"/>
                    <a:pt x="10030" y="1922"/>
                  </a:cubicBezTo>
                  <a:cubicBezTo>
                    <a:pt x="9916" y="2256"/>
                    <a:pt x="9916" y="2256"/>
                    <a:pt x="9916" y="2256"/>
                  </a:cubicBezTo>
                  <a:cubicBezTo>
                    <a:pt x="9914" y="2277"/>
                    <a:pt x="9914" y="2277"/>
                    <a:pt x="9914" y="2277"/>
                  </a:cubicBezTo>
                  <a:cubicBezTo>
                    <a:pt x="10204" y="2321"/>
                    <a:pt x="10411" y="2351"/>
                    <a:pt x="10426" y="2354"/>
                  </a:cubicBezTo>
                  <a:cubicBezTo>
                    <a:pt x="10442" y="2356"/>
                    <a:pt x="10604" y="2375"/>
                    <a:pt x="10764" y="2447"/>
                  </a:cubicBezTo>
                  <a:cubicBezTo>
                    <a:pt x="10928" y="2521"/>
                    <a:pt x="11492" y="2837"/>
                    <a:pt x="11647" y="2935"/>
                  </a:cubicBezTo>
                  <a:cubicBezTo>
                    <a:pt x="12574" y="3529"/>
                    <a:pt x="12574" y="3529"/>
                    <a:pt x="12574" y="3529"/>
                  </a:cubicBezTo>
                  <a:cubicBezTo>
                    <a:pt x="12718" y="3229"/>
                    <a:pt x="12853" y="2944"/>
                    <a:pt x="12956" y="2726"/>
                  </a:cubicBezTo>
                  <a:cubicBezTo>
                    <a:pt x="13045" y="2536"/>
                    <a:pt x="13110" y="2399"/>
                    <a:pt x="13133" y="23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0" name="gradient plankaart">
              <a:extLst>
                <a:ext uri="{FF2B5EF4-FFF2-40B4-BE49-F238E27FC236}">
                  <a16:creationId xmlns:a16="http://schemas.microsoft.com/office/drawing/2014/main" id="{60F29002-D83D-4586-BCC7-57A24C884B88}"/>
                </a:ext>
              </a:extLst>
            </p:cNvPr>
            <p:cNvSpPr>
              <a:spLocks noSelect="1"/>
            </p:cNvSpPr>
            <p:nvPr userDrawn="1"/>
          </p:nvSpPr>
          <p:spPr bwMode="gray">
            <a:xfrm>
              <a:off x="6475320" y="0"/>
              <a:ext cx="5719680" cy="5710320"/>
            </a:xfrm>
            <a:custGeom>
              <a:avLst/>
              <a:gdLst>
                <a:gd name="connsiteX0" fmla="*/ 1534734 w 5719680"/>
                <a:gd name="connsiteY0" fmla="*/ 5674195 h 5704395"/>
                <a:gd name="connsiteX1" fmla="*/ 1572213 w 5719680"/>
                <a:gd name="connsiteY1" fmla="*/ 5674195 h 5704395"/>
                <a:gd name="connsiteX2" fmla="*/ 1572213 w 5719680"/>
                <a:gd name="connsiteY2" fmla="*/ 5677364 h 5704395"/>
                <a:gd name="connsiteX3" fmla="*/ 1588730 w 5719680"/>
                <a:gd name="connsiteY3" fmla="*/ 5677364 h 5704395"/>
                <a:gd name="connsiteX4" fmla="*/ 1589047 w 5719680"/>
                <a:gd name="connsiteY4" fmla="*/ 5703982 h 5704395"/>
                <a:gd name="connsiteX5" fmla="*/ 1584601 w 5719680"/>
                <a:gd name="connsiteY5" fmla="*/ 5703982 h 5704395"/>
                <a:gd name="connsiteX6" fmla="*/ 1584601 w 5719680"/>
                <a:gd name="connsiteY6" fmla="*/ 5681483 h 5704395"/>
                <a:gd name="connsiteX7" fmla="*/ 1568084 w 5719680"/>
                <a:gd name="connsiteY7" fmla="*/ 5681483 h 5704395"/>
                <a:gd name="connsiteX8" fmla="*/ 1568084 w 5719680"/>
                <a:gd name="connsiteY8" fmla="*/ 5678315 h 5704395"/>
                <a:gd name="connsiteX9" fmla="*/ 1539181 w 5719680"/>
                <a:gd name="connsiteY9" fmla="*/ 5678315 h 5704395"/>
                <a:gd name="connsiteX10" fmla="*/ 1539816 w 5719680"/>
                <a:gd name="connsiteY10" fmla="*/ 5703982 h 5704395"/>
                <a:gd name="connsiteX11" fmla="*/ 1535687 w 5719680"/>
                <a:gd name="connsiteY11" fmla="*/ 5703982 h 5704395"/>
                <a:gd name="connsiteX12" fmla="*/ 1534734 w 5719680"/>
                <a:gd name="connsiteY12" fmla="*/ 5674195 h 5704395"/>
                <a:gd name="connsiteX13" fmla="*/ 1384501 w 5719680"/>
                <a:gd name="connsiteY13" fmla="*/ 5673878 h 5704395"/>
                <a:gd name="connsiteX14" fmla="*/ 1431508 w 5719680"/>
                <a:gd name="connsiteY14" fmla="*/ 5677364 h 5704395"/>
                <a:gd name="connsiteX15" fmla="*/ 1429285 w 5719680"/>
                <a:gd name="connsiteY15" fmla="*/ 5703982 h 5704395"/>
                <a:gd name="connsiteX16" fmla="*/ 1429265 w 5719680"/>
                <a:gd name="connsiteY16" fmla="*/ 5704395 h 5704395"/>
                <a:gd name="connsiteX17" fmla="*/ 1425156 w 5719680"/>
                <a:gd name="connsiteY17" fmla="*/ 5704395 h 5704395"/>
                <a:gd name="connsiteX18" fmla="*/ 1425156 w 5719680"/>
                <a:gd name="connsiteY18" fmla="*/ 5703982 h 5704395"/>
                <a:gd name="connsiteX19" fmla="*/ 1427062 w 5719680"/>
                <a:gd name="connsiteY19" fmla="*/ 5681167 h 5704395"/>
                <a:gd name="connsiteX20" fmla="*/ 1388312 w 5719680"/>
                <a:gd name="connsiteY20" fmla="*/ 5678315 h 5704395"/>
                <a:gd name="connsiteX21" fmla="*/ 1386406 w 5719680"/>
                <a:gd name="connsiteY21" fmla="*/ 5703032 h 5704395"/>
                <a:gd name="connsiteX22" fmla="*/ 1400382 w 5719680"/>
                <a:gd name="connsiteY22" fmla="*/ 5703982 h 5704395"/>
                <a:gd name="connsiteX23" fmla="*/ 1403479 w 5719680"/>
                <a:gd name="connsiteY23" fmla="*/ 5704220 h 5704395"/>
                <a:gd name="connsiteX24" fmla="*/ 1405762 w 5719680"/>
                <a:gd name="connsiteY24" fmla="*/ 5704395 h 5704395"/>
                <a:gd name="connsiteX25" fmla="*/ 1382277 w 5719680"/>
                <a:gd name="connsiteY25" fmla="*/ 5704395 h 5704395"/>
                <a:gd name="connsiteX26" fmla="*/ 1382277 w 5719680"/>
                <a:gd name="connsiteY26" fmla="*/ 5703982 h 5704395"/>
                <a:gd name="connsiteX27" fmla="*/ 2661328 w 5719680"/>
                <a:gd name="connsiteY27" fmla="*/ 5614937 h 5704395"/>
                <a:gd name="connsiteX28" fmla="*/ 2661328 w 5719680"/>
                <a:gd name="connsiteY28" fmla="*/ 5636485 h 5704395"/>
                <a:gd name="connsiteX29" fmla="*/ 2683244 w 5719680"/>
                <a:gd name="connsiteY29" fmla="*/ 5636802 h 5704395"/>
                <a:gd name="connsiteX30" fmla="*/ 2683244 w 5719680"/>
                <a:gd name="connsiteY30" fmla="*/ 5614937 h 5704395"/>
                <a:gd name="connsiteX31" fmla="*/ 2661328 w 5719680"/>
                <a:gd name="connsiteY31" fmla="*/ 5614937 h 5704395"/>
                <a:gd name="connsiteX32" fmla="*/ 2578747 w 5719680"/>
                <a:gd name="connsiteY32" fmla="*/ 5611451 h 5704395"/>
                <a:gd name="connsiteX33" fmla="*/ 2554926 w 5719680"/>
                <a:gd name="connsiteY33" fmla="*/ 5612402 h 5704395"/>
                <a:gd name="connsiteX34" fmla="*/ 2555244 w 5719680"/>
                <a:gd name="connsiteY34" fmla="*/ 5618423 h 5704395"/>
                <a:gd name="connsiteX35" fmla="*/ 2555244 w 5719680"/>
                <a:gd name="connsiteY35" fmla="*/ 5620641 h 5704395"/>
                <a:gd name="connsiteX36" fmla="*/ 2531422 w 5719680"/>
                <a:gd name="connsiteY36" fmla="*/ 5620958 h 5704395"/>
                <a:gd name="connsiteX37" fmla="*/ 2532375 w 5719680"/>
                <a:gd name="connsiteY37" fmla="*/ 5641239 h 5704395"/>
                <a:gd name="connsiteX38" fmla="*/ 2521894 w 5719680"/>
                <a:gd name="connsiteY38" fmla="*/ 5642189 h 5704395"/>
                <a:gd name="connsiteX39" fmla="*/ 2522211 w 5719680"/>
                <a:gd name="connsiteY39" fmla="*/ 5655816 h 5704395"/>
                <a:gd name="connsiteX40" fmla="*/ 2528246 w 5719680"/>
                <a:gd name="connsiteY40" fmla="*/ 5656132 h 5704395"/>
                <a:gd name="connsiteX41" fmla="*/ 2530152 w 5719680"/>
                <a:gd name="connsiteY41" fmla="*/ 5656132 h 5704395"/>
                <a:gd name="connsiteX42" fmla="*/ 2531104 w 5719680"/>
                <a:gd name="connsiteY42" fmla="*/ 5673561 h 5704395"/>
                <a:gd name="connsiteX43" fmla="*/ 2573666 w 5719680"/>
                <a:gd name="connsiteY43" fmla="*/ 5673244 h 5704395"/>
                <a:gd name="connsiteX44" fmla="*/ 2575254 w 5719680"/>
                <a:gd name="connsiteY44" fmla="*/ 5686871 h 5704395"/>
                <a:gd name="connsiteX45" fmla="*/ 2593676 w 5719680"/>
                <a:gd name="connsiteY45" fmla="*/ 5687187 h 5704395"/>
                <a:gd name="connsiteX46" fmla="*/ 2593676 w 5719680"/>
                <a:gd name="connsiteY46" fmla="*/ 5673878 h 5704395"/>
                <a:gd name="connsiteX47" fmla="*/ 2622261 w 5719680"/>
                <a:gd name="connsiteY47" fmla="*/ 5673244 h 5704395"/>
                <a:gd name="connsiteX48" fmla="*/ 2621944 w 5719680"/>
                <a:gd name="connsiteY48" fmla="*/ 5620641 h 5704395"/>
                <a:gd name="connsiteX49" fmla="*/ 2579382 w 5719680"/>
                <a:gd name="connsiteY49" fmla="*/ 5620641 h 5704395"/>
                <a:gd name="connsiteX50" fmla="*/ 2578747 w 5719680"/>
                <a:gd name="connsiteY50" fmla="*/ 5611451 h 5704395"/>
                <a:gd name="connsiteX51" fmla="*/ 2657199 w 5719680"/>
                <a:gd name="connsiteY51" fmla="*/ 5610501 h 5704395"/>
                <a:gd name="connsiteX52" fmla="*/ 2687373 w 5719680"/>
                <a:gd name="connsiteY52" fmla="*/ 5610817 h 5704395"/>
                <a:gd name="connsiteX53" fmla="*/ 2687373 w 5719680"/>
                <a:gd name="connsiteY53" fmla="*/ 5640922 h 5704395"/>
                <a:gd name="connsiteX54" fmla="*/ 2685150 w 5719680"/>
                <a:gd name="connsiteY54" fmla="*/ 5640922 h 5704395"/>
                <a:gd name="connsiteX55" fmla="*/ 2657199 w 5719680"/>
                <a:gd name="connsiteY55" fmla="*/ 5640605 h 5704395"/>
                <a:gd name="connsiteX56" fmla="*/ 2582559 w 5719680"/>
                <a:gd name="connsiteY56" fmla="*/ 5607332 h 5704395"/>
                <a:gd name="connsiteX57" fmla="*/ 2583194 w 5719680"/>
                <a:gd name="connsiteY57" fmla="*/ 5616521 h 5704395"/>
                <a:gd name="connsiteX58" fmla="*/ 2626072 w 5719680"/>
                <a:gd name="connsiteY58" fmla="*/ 5616521 h 5704395"/>
                <a:gd name="connsiteX59" fmla="*/ 2626390 w 5719680"/>
                <a:gd name="connsiteY59" fmla="*/ 5677047 h 5704395"/>
                <a:gd name="connsiteX60" fmla="*/ 2624167 w 5719680"/>
                <a:gd name="connsiteY60" fmla="*/ 5677364 h 5704395"/>
                <a:gd name="connsiteX61" fmla="*/ 2597804 w 5719680"/>
                <a:gd name="connsiteY61" fmla="*/ 5677998 h 5704395"/>
                <a:gd name="connsiteX62" fmla="*/ 2597804 w 5719680"/>
                <a:gd name="connsiteY62" fmla="*/ 5691624 h 5704395"/>
                <a:gd name="connsiteX63" fmla="*/ 2571442 w 5719680"/>
                <a:gd name="connsiteY63" fmla="*/ 5690990 h 5704395"/>
                <a:gd name="connsiteX64" fmla="*/ 2569854 w 5719680"/>
                <a:gd name="connsiteY64" fmla="*/ 5677681 h 5704395"/>
                <a:gd name="connsiteX65" fmla="*/ 2526976 w 5719680"/>
                <a:gd name="connsiteY65" fmla="*/ 5677998 h 5704395"/>
                <a:gd name="connsiteX66" fmla="*/ 2526340 w 5719680"/>
                <a:gd name="connsiteY66" fmla="*/ 5660252 h 5704395"/>
                <a:gd name="connsiteX67" fmla="*/ 2519988 w 5719680"/>
                <a:gd name="connsiteY67" fmla="*/ 5659935 h 5704395"/>
                <a:gd name="connsiteX68" fmla="*/ 2518082 w 5719680"/>
                <a:gd name="connsiteY68" fmla="*/ 5659618 h 5704395"/>
                <a:gd name="connsiteX69" fmla="*/ 2517447 w 5719680"/>
                <a:gd name="connsiteY69" fmla="*/ 5638387 h 5704395"/>
                <a:gd name="connsiteX70" fmla="*/ 2527928 w 5719680"/>
                <a:gd name="connsiteY70" fmla="*/ 5637436 h 5704395"/>
                <a:gd name="connsiteX71" fmla="*/ 2526976 w 5719680"/>
                <a:gd name="connsiteY71" fmla="*/ 5616838 h 5704395"/>
                <a:gd name="connsiteX72" fmla="*/ 2550797 w 5719680"/>
                <a:gd name="connsiteY72" fmla="*/ 5616521 h 5704395"/>
                <a:gd name="connsiteX73" fmla="*/ 2550479 w 5719680"/>
                <a:gd name="connsiteY73" fmla="*/ 5610501 h 5704395"/>
                <a:gd name="connsiteX74" fmla="*/ 2550479 w 5719680"/>
                <a:gd name="connsiteY74" fmla="*/ 5608599 h 5704395"/>
                <a:gd name="connsiteX75" fmla="*/ 2582559 w 5719680"/>
                <a:gd name="connsiteY75" fmla="*/ 5607332 h 5704395"/>
                <a:gd name="connsiteX76" fmla="*/ 1262535 w 5719680"/>
                <a:gd name="connsiteY76" fmla="*/ 5564869 h 5704395"/>
                <a:gd name="connsiteX77" fmla="*/ 1231091 w 5719680"/>
                <a:gd name="connsiteY77" fmla="*/ 5587368 h 5704395"/>
                <a:gd name="connsiteX78" fmla="*/ 1245384 w 5719680"/>
                <a:gd name="connsiteY78" fmla="*/ 5607649 h 5704395"/>
                <a:gd name="connsiteX79" fmla="*/ 1277146 w 5719680"/>
                <a:gd name="connsiteY79" fmla="*/ 5585150 h 5704395"/>
                <a:gd name="connsiteX80" fmla="*/ 1262535 w 5719680"/>
                <a:gd name="connsiteY80" fmla="*/ 5564869 h 5704395"/>
                <a:gd name="connsiteX81" fmla="*/ 1263488 w 5719680"/>
                <a:gd name="connsiteY81" fmla="*/ 5559165 h 5704395"/>
                <a:gd name="connsiteX82" fmla="*/ 1282863 w 5719680"/>
                <a:gd name="connsiteY82" fmla="*/ 5586100 h 5704395"/>
                <a:gd name="connsiteX83" fmla="*/ 1244431 w 5719680"/>
                <a:gd name="connsiteY83" fmla="*/ 5613353 h 5704395"/>
                <a:gd name="connsiteX84" fmla="*/ 1243160 w 5719680"/>
                <a:gd name="connsiteY84" fmla="*/ 5611451 h 5704395"/>
                <a:gd name="connsiteX85" fmla="*/ 1225374 w 5719680"/>
                <a:gd name="connsiteY85" fmla="*/ 5586417 h 5704395"/>
                <a:gd name="connsiteX86" fmla="*/ 1127865 w 5719680"/>
                <a:gd name="connsiteY86" fmla="*/ 5526208 h 5704395"/>
                <a:gd name="connsiteX87" fmla="*/ 1089433 w 5719680"/>
                <a:gd name="connsiteY87" fmla="*/ 5532546 h 5704395"/>
                <a:gd name="connsiteX88" fmla="*/ 1093562 w 5719680"/>
                <a:gd name="connsiteY88" fmla="*/ 5556313 h 5704395"/>
                <a:gd name="connsiteX89" fmla="*/ 1071646 w 5719680"/>
                <a:gd name="connsiteY89" fmla="*/ 5560115 h 5704395"/>
                <a:gd name="connsiteX90" fmla="*/ 1074187 w 5719680"/>
                <a:gd name="connsiteY90" fmla="*/ 5575643 h 5704395"/>
                <a:gd name="connsiteX91" fmla="*/ 1133582 w 5719680"/>
                <a:gd name="connsiteY91" fmla="*/ 5565186 h 5704395"/>
                <a:gd name="connsiteX92" fmla="*/ 1135805 w 5719680"/>
                <a:gd name="connsiteY92" fmla="*/ 5578495 h 5704395"/>
                <a:gd name="connsiteX93" fmla="*/ 1108808 w 5719680"/>
                <a:gd name="connsiteY93" fmla="*/ 5583248 h 5704395"/>
                <a:gd name="connsiteX94" fmla="*/ 1111666 w 5719680"/>
                <a:gd name="connsiteY94" fmla="*/ 5599409 h 5704395"/>
                <a:gd name="connsiteX95" fmla="*/ 1169155 w 5719680"/>
                <a:gd name="connsiteY95" fmla="*/ 5589269 h 5704395"/>
                <a:gd name="connsiteX96" fmla="*/ 1166297 w 5719680"/>
                <a:gd name="connsiteY96" fmla="*/ 5572157 h 5704395"/>
                <a:gd name="connsiteX97" fmla="*/ 1170426 w 5719680"/>
                <a:gd name="connsiteY97" fmla="*/ 5571523 h 5704395"/>
                <a:gd name="connsiteX98" fmla="*/ 1166614 w 5719680"/>
                <a:gd name="connsiteY98" fmla="*/ 5548707 h 5704395"/>
                <a:gd name="connsiteX99" fmla="*/ 1132629 w 5719680"/>
                <a:gd name="connsiteY99" fmla="*/ 5554728 h 5704395"/>
                <a:gd name="connsiteX100" fmla="*/ 1127865 w 5719680"/>
                <a:gd name="connsiteY100" fmla="*/ 5526208 h 5704395"/>
                <a:gd name="connsiteX101" fmla="*/ 1131358 w 5719680"/>
                <a:gd name="connsiteY101" fmla="*/ 5521138 h 5704395"/>
                <a:gd name="connsiteX102" fmla="*/ 1136123 w 5719680"/>
                <a:gd name="connsiteY102" fmla="*/ 5549658 h 5704395"/>
                <a:gd name="connsiteX103" fmla="*/ 1170108 w 5719680"/>
                <a:gd name="connsiteY103" fmla="*/ 5543954 h 5704395"/>
                <a:gd name="connsiteX104" fmla="*/ 1170426 w 5719680"/>
                <a:gd name="connsiteY104" fmla="*/ 5546172 h 5704395"/>
                <a:gd name="connsiteX105" fmla="*/ 1175507 w 5719680"/>
                <a:gd name="connsiteY105" fmla="*/ 5575009 h 5704395"/>
                <a:gd name="connsiteX106" fmla="*/ 1171378 w 5719680"/>
                <a:gd name="connsiteY106" fmla="*/ 5575643 h 5704395"/>
                <a:gd name="connsiteX107" fmla="*/ 1174237 w 5719680"/>
                <a:gd name="connsiteY107" fmla="*/ 5592755 h 5704395"/>
                <a:gd name="connsiteX108" fmla="*/ 1108172 w 5719680"/>
                <a:gd name="connsiteY108" fmla="*/ 5604163 h 5704395"/>
                <a:gd name="connsiteX109" fmla="*/ 1103726 w 5719680"/>
                <a:gd name="connsiteY109" fmla="*/ 5579762 h 5704395"/>
                <a:gd name="connsiteX110" fmla="*/ 1131041 w 5719680"/>
                <a:gd name="connsiteY110" fmla="*/ 5575009 h 5704395"/>
                <a:gd name="connsiteX111" fmla="*/ 1130088 w 5719680"/>
                <a:gd name="connsiteY111" fmla="*/ 5570256 h 5704395"/>
                <a:gd name="connsiteX112" fmla="*/ 1070693 w 5719680"/>
                <a:gd name="connsiteY112" fmla="*/ 5580396 h 5704395"/>
                <a:gd name="connsiteX113" fmla="*/ 1066882 w 5719680"/>
                <a:gd name="connsiteY113" fmla="*/ 5556630 h 5704395"/>
                <a:gd name="connsiteX114" fmla="*/ 1088798 w 5719680"/>
                <a:gd name="connsiteY114" fmla="*/ 5552827 h 5704395"/>
                <a:gd name="connsiteX115" fmla="*/ 1084669 w 5719680"/>
                <a:gd name="connsiteY115" fmla="*/ 5529060 h 5704395"/>
                <a:gd name="connsiteX116" fmla="*/ 1131358 w 5719680"/>
                <a:gd name="connsiteY116" fmla="*/ 5521138 h 5704395"/>
                <a:gd name="connsiteX117" fmla="*/ 425609 w 5719680"/>
                <a:gd name="connsiteY117" fmla="*/ 5514800 h 5704395"/>
                <a:gd name="connsiteX118" fmla="*/ 412587 w 5719680"/>
                <a:gd name="connsiteY118" fmla="*/ 5544588 h 5704395"/>
                <a:gd name="connsiteX119" fmla="*/ 439902 w 5719680"/>
                <a:gd name="connsiteY119" fmla="*/ 5555045 h 5704395"/>
                <a:gd name="connsiteX120" fmla="*/ 446890 w 5719680"/>
                <a:gd name="connsiteY120" fmla="*/ 5537299 h 5704395"/>
                <a:gd name="connsiteX121" fmla="*/ 432915 w 5719680"/>
                <a:gd name="connsiteY121" fmla="*/ 5531912 h 5704395"/>
                <a:gd name="connsiteX122" fmla="*/ 437679 w 5719680"/>
                <a:gd name="connsiteY122" fmla="*/ 5519237 h 5704395"/>
                <a:gd name="connsiteX123" fmla="*/ 425609 w 5719680"/>
                <a:gd name="connsiteY123" fmla="*/ 5514800 h 5704395"/>
                <a:gd name="connsiteX124" fmla="*/ 410999 w 5719680"/>
                <a:gd name="connsiteY124" fmla="*/ 5509096 h 5704395"/>
                <a:gd name="connsiteX125" fmla="*/ 406235 w 5719680"/>
                <a:gd name="connsiteY125" fmla="*/ 5521772 h 5704395"/>
                <a:gd name="connsiteX126" fmla="*/ 392259 w 5719680"/>
                <a:gd name="connsiteY126" fmla="*/ 5516385 h 5704395"/>
                <a:gd name="connsiteX127" fmla="*/ 385272 w 5719680"/>
                <a:gd name="connsiteY127" fmla="*/ 5534131 h 5704395"/>
                <a:gd name="connsiteX128" fmla="*/ 408458 w 5719680"/>
                <a:gd name="connsiteY128" fmla="*/ 5543003 h 5704395"/>
                <a:gd name="connsiteX129" fmla="*/ 421480 w 5719680"/>
                <a:gd name="connsiteY129" fmla="*/ 5513216 h 5704395"/>
                <a:gd name="connsiteX130" fmla="*/ 410999 w 5719680"/>
                <a:gd name="connsiteY130" fmla="*/ 5509096 h 5704395"/>
                <a:gd name="connsiteX131" fmla="*/ 329053 w 5719680"/>
                <a:gd name="connsiteY131" fmla="*/ 5478675 h 5704395"/>
                <a:gd name="connsiteX132" fmla="*/ 326830 w 5719680"/>
                <a:gd name="connsiteY132" fmla="*/ 5482161 h 5704395"/>
                <a:gd name="connsiteX133" fmla="*/ 310314 w 5719680"/>
                <a:gd name="connsiteY133" fmla="*/ 5505294 h 5704395"/>
                <a:gd name="connsiteX134" fmla="*/ 336041 w 5719680"/>
                <a:gd name="connsiteY134" fmla="*/ 5520504 h 5704395"/>
                <a:gd name="connsiteX135" fmla="*/ 345887 w 5719680"/>
                <a:gd name="connsiteY135" fmla="*/ 5504026 h 5704395"/>
                <a:gd name="connsiteX136" fmla="*/ 332865 w 5719680"/>
                <a:gd name="connsiteY136" fmla="*/ 5496421 h 5704395"/>
                <a:gd name="connsiteX137" fmla="*/ 339852 w 5719680"/>
                <a:gd name="connsiteY137" fmla="*/ 5484696 h 5704395"/>
                <a:gd name="connsiteX138" fmla="*/ 329053 w 5719680"/>
                <a:gd name="connsiteY138" fmla="*/ 5478675 h 5704395"/>
                <a:gd name="connsiteX139" fmla="*/ 601888 w 5719680"/>
                <a:gd name="connsiteY139" fmla="*/ 5476140 h 5704395"/>
                <a:gd name="connsiteX140" fmla="*/ 601253 w 5719680"/>
                <a:gd name="connsiteY140" fmla="*/ 5476457 h 5704395"/>
                <a:gd name="connsiteX141" fmla="*/ 595218 w 5719680"/>
                <a:gd name="connsiteY141" fmla="*/ 5488499 h 5704395"/>
                <a:gd name="connsiteX142" fmla="*/ 592042 w 5719680"/>
                <a:gd name="connsiteY142" fmla="*/ 5486281 h 5704395"/>
                <a:gd name="connsiteX143" fmla="*/ 577431 w 5719680"/>
                <a:gd name="connsiteY143" fmla="*/ 5521772 h 5704395"/>
                <a:gd name="connsiteX144" fmla="*/ 534235 w 5719680"/>
                <a:gd name="connsiteY144" fmla="*/ 5509413 h 5704395"/>
                <a:gd name="connsiteX145" fmla="*/ 506285 w 5719680"/>
                <a:gd name="connsiteY145" fmla="*/ 5586100 h 5704395"/>
                <a:gd name="connsiteX146" fmla="*/ 567267 w 5719680"/>
                <a:gd name="connsiteY146" fmla="*/ 5598459 h 5704395"/>
                <a:gd name="connsiteX147" fmla="*/ 737829 w 5719680"/>
                <a:gd name="connsiteY147" fmla="*/ 5632366 h 5704395"/>
                <a:gd name="connsiteX148" fmla="*/ 799764 w 5719680"/>
                <a:gd name="connsiteY148" fmla="*/ 5593389 h 5704395"/>
                <a:gd name="connsiteX149" fmla="*/ 800717 w 5719680"/>
                <a:gd name="connsiteY149" fmla="*/ 5512265 h 5704395"/>
                <a:gd name="connsiteX150" fmla="*/ 601888 w 5719680"/>
                <a:gd name="connsiteY150" fmla="*/ 5476140 h 5704395"/>
                <a:gd name="connsiteX151" fmla="*/ 1538228 w 5719680"/>
                <a:gd name="connsiteY151" fmla="*/ 5472337 h 5704395"/>
                <a:gd name="connsiteX152" fmla="*/ 1520124 w 5719680"/>
                <a:gd name="connsiteY152" fmla="*/ 5504026 h 5704395"/>
                <a:gd name="connsiteX153" fmla="*/ 1540134 w 5719680"/>
                <a:gd name="connsiteY153" fmla="*/ 5515434 h 5704395"/>
                <a:gd name="connsiteX154" fmla="*/ 1528382 w 5719680"/>
                <a:gd name="connsiteY154" fmla="*/ 5536349 h 5704395"/>
                <a:gd name="connsiteX155" fmla="*/ 1541722 w 5719680"/>
                <a:gd name="connsiteY155" fmla="*/ 5543954 h 5704395"/>
                <a:gd name="connsiteX156" fmla="*/ 1568402 w 5719680"/>
                <a:gd name="connsiteY156" fmla="*/ 5496421 h 5704395"/>
                <a:gd name="connsiteX157" fmla="*/ 1554744 w 5719680"/>
                <a:gd name="connsiteY157" fmla="*/ 5488499 h 5704395"/>
                <a:gd name="connsiteX158" fmla="*/ 1557603 w 5719680"/>
                <a:gd name="connsiteY158" fmla="*/ 5483429 h 5704395"/>
                <a:gd name="connsiteX159" fmla="*/ 1538228 w 5719680"/>
                <a:gd name="connsiteY159" fmla="*/ 5472337 h 5704395"/>
                <a:gd name="connsiteX160" fmla="*/ 2095967 w 5719680"/>
                <a:gd name="connsiteY160" fmla="*/ 5470753 h 5704395"/>
                <a:gd name="connsiteX161" fmla="*/ 2095967 w 5719680"/>
                <a:gd name="connsiteY161" fmla="*/ 5472021 h 5704395"/>
                <a:gd name="connsiteX162" fmla="*/ 2095967 w 5719680"/>
                <a:gd name="connsiteY162" fmla="*/ 5474239 h 5704395"/>
                <a:gd name="connsiteX163" fmla="*/ 2079450 w 5719680"/>
                <a:gd name="connsiteY163" fmla="*/ 5473922 h 5704395"/>
                <a:gd name="connsiteX164" fmla="*/ 2079133 w 5719680"/>
                <a:gd name="connsiteY164" fmla="*/ 5524307 h 5704395"/>
                <a:gd name="connsiteX165" fmla="*/ 2105495 w 5719680"/>
                <a:gd name="connsiteY165" fmla="*/ 5524624 h 5704395"/>
                <a:gd name="connsiteX166" fmla="*/ 2105813 w 5719680"/>
                <a:gd name="connsiteY166" fmla="*/ 5501491 h 5704395"/>
                <a:gd name="connsiteX167" fmla="*/ 2124235 w 5719680"/>
                <a:gd name="connsiteY167" fmla="*/ 5501491 h 5704395"/>
                <a:gd name="connsiteX168" fmla="*/ 2124870 w 5719680"/>
                <a:gd name="connsiteY168" fmla="*/ 5471070 h 5704395"/>
                <a:gd name="connsiteX169" fmla="*/ 2095967 w 5719680"/>
                <a:gd name="connsiteY169" fmla="*/ 5470753 h 5704395"/>
                <a:gd name="connsiteX170" fmla="*/ 315078 w 5719680"/>
                <a:gd name="connsiteY170" fmla="*/ 5470119 h 5704395"/>
                <a:gd name="connsiteX171" fmla="*/ 308091 w 5719680"/>
                <a:gd name="connsiteY171" fmla="*/ 5482161 h 5704395"/>
                <a:gd name="connsiteX172" fmla="*/ 295386 w 5719680"/>
                <a:gd name="connsiteY172" fmla="*/ 5474556 h 5704395"/>
                <a:gd name="connsiteX173" fmla="*/ 285540 w 5719680"/>
                <a:gd name="connsiteY173" fmla="*/ 5491034 h 5704395"/>
                <a:gd name="connsiteX174" fmla="*/ 306502 w 5719680"/>
                <a:gd name="connsiteY174" fmla="*/ 5503076 h 5704395"/>
                <a:gd name="connsiteX175" fmla="*/ 325242 w 5719680"/>
                <a:gd name="connsiteY175" fmla="*/ 5476457 h 5704395"/>
                <a:gd name="connsiteX176" fmla="*/ 315078 w 5719680"/>
                <a:gd name="connsiteY176" fmla="*/ 5470119 h 5704395"/>
                <a:gd name="connsiteX177" fmla="*/ 1329235 w 5719680"/>
                <a:gd name="connsiteY177" fmla="*/ 5467267 h 5704395"/>
                <a:gd name="connsiteX178" fmla="*/ 1328600 w 5719680"/>
                <a:gd name="connsiteY178" fmla="*/ 5483745 h 5704395"/>
                <a:gd name="connsiteX179" fmla="*/ 1325424 w 5719680"/>
                <a:gd name="connsiteY179" fmla="*/ 5483429 h 5704395"/>
                <a:gd name="connsiteX180" fmla="*/ 1324471 w 5719680"/>
                <a:gd name="connsiteY180" fmla="*/ 5512582 h 5704395"/>
                <a:gd name="connsiteX181" fmla="*/ 1354962 w 5719680"/>
                <a:gd name="connsiteY181" fmla="*/ 5512582 h 5704395"/>
                <a:gd name="connsiteX182" fmla="*/ 1355597 w 5719680"/>
                <a:gd name="connsiteY182" fmla="*/ 5494520 h 5704395"/>
                <a:gd name="connsiteX183" fmla="*/ 1378784 w 5719680"/>
                <a:gd name="connsiteY183" fmla="*/ 5495153 h 5704395"/>
                <a:gd name="connsiteX184" fmla="*/ 1379736 w 5719680"/>
                <a:gd name="connsiteY184" fmla="*/ 5468852 h 5704395"/>
                <a:gd name="connsiteX185" fmla="*/ 1329235 w 5719680"/>
                <a:gd name="connsiteY185" fmla="*/ 5467267 h 5704395"/>
                <a:gd name="connsiteX186" fmla="*/ 2091838 w 5719680"/>
                <a:gd name="connsiteY186" fmla="*/ 5466633 h 5704395"/>
                <a:gd name="connsiteX187" fmla="*/ 2129317 w 5719680"/>
                <a:gd name="connsiteY187" fmla="*/ 5466950 h 5704395"/>
                <a:gd name="connsiteX188" fmla="*/ 2128046 w 5719680"/>
                <a:gd name="connsiteY188" fmla="*/ 5505611 h 5704395"/>
                <a:gd name="connsiteX189" fmla="*/ 2126140 w 5719680"/>
                <a:gd name="connsiteY189" fmla="*/ 5505611 h 5704395"/>
                <a:gd name="connsiteX190" fmla="*/ 2109942 w 5719680"/>
                <a:gd name="connsiteY190" fmla="*/ 5505611 h 5704395"/>
                <a:gd name="connsiteX191" fmla="*/ 2109942 w 5719680"/>
                <a:gd name="connsiteY191" fmla="*/ 5528743 h 5704395"/>
                <a:gd name="connsiteX192" fmla="*/ 2075004 w 5719680"/>
                <a:gd name="connsiteY192" fmla="*/ 5528427 h 5704395"/>
                <a:gd name="connsiteX193" fmla="*/ 2075322 w 5719680"/>
                <a:gd name="connsiteY193" fmla="*/ 5469802 h 5704395"/>
                <a:gd name="connsiteX194" fmla="*/ 2091838 w 5719680"/>
                <a:gd name="connsiteY194" fmla="*/ 5469802 h 5704395"/>
                <a:gd name="connsiteX195" fmla="*/ 2091838 w 5719680"/>
                <a:gd name="connsiteY195" fmla="*/ 5468535 h 5704395"/>
                <a:gd name="connsiteX196" fmla="*/ 1536640 w 5719680"/>
                <a:gd name="connsiteY196" fmla="*/ 5466633 h 5704395"/>
                <a:gd name="connsiteX197" fmla="*/ 1563320 w 5719680"/>
                <a:gd name="connsiteY197" fmla="*/ 5481844 h 5704395"/>
                <a:gd name="connsiteX198" fmla="*/ 1560462 w 5719680"/>
                <a:gd name="connsiteY198" fmla="*/ 5486914 h 5704395"/>
                <a:gd name="connsiteX199" fmla="*/ 1574119 w 5719680"/>
                <a:gd name="connsiteY199" fmla="*/ 5494836 h 5704395"/>
                <a:gd name="connsiteX200" fmla="*/ 1543628 w 5719680"/>
                <a:gd name="connsiteY200" fmla="*/ 5549658 h 5704395"/>
                <a:gd name="connsiteX201" fmla="*/ 1541722 w 5719680"/>
                <a:gd name="connsiteY201" fmla="*/ 5548707 h 5704395"/>
                <a:gd name="connsiteX202" fmla="*/ 1522665 w 5719680"/>
                <a:gd name="connsiteY202" fmla="*/ 5537933 h 5704395"/>
                <a:gd name="connsiteX203" fmla="*/ 1534417 w 5719680"/>
                <a:gd name="connsiteY203" fmla="*/ 5517019 h 5704395"/>
                <a:gd name="connsiteX204" fmla="*/ 1514407 w 5719680"/>
                <a:gd name="connsiteY204" fmla="*/ 5505611 h 5704395"/>
                <a:gd name="connsiteX205" fmla="*/ 1536640 w 5719680"/>
                <a:gd name="connsiteY205" fmla="*/ 5466633 h 5704395"/>
                <a:gd name="connsiteX206" fmla="*/ 1325106 w 5719680"/>
                <a:gd name="connsiteY206" fmla="*/ 5462831 h 5704395"/>
                <a:gd name="connsiteX207" fmla="*/ 1383865 w 5719680"/>
                <a:gd name="connsiteY207" fmla="*/ 5464732 h 5704395"/>
                <a:gd name="connsiteX208" fmla="*/ 1382913 w 5719680"/>
                <a:gd name="connsiteY208" fmla="*/ 5499590 h 5704395"/>
                <a:gd name="connsiteX209" fmla="*/ 1359726 w 5719680"/>
                <a:gd name="connsiteY209" fmla="*/ 5498639 h 5704395"/>
                <a:gd name="connsiteX210" fmla="*/ 1359091 w 5719680"/>
                <a:gd name="connsiteY210" fmla="*/ 5517019 h 5704395"/>
                <a:gd name="connsiteX211" fmla="*/ 1357185 w 5719680"/>
                <a:gd name="connsiteY211" fmla="*/ 5516702 h 5704395"/>
                <a:gd name="connsiteX212" fmla="*/ 1320024 w 5719680"/>
                <a:gd name="connsiteY212" fmla="*/ 5516702 h 5704395"/>
                <a:gd name="connsiteX213" fmla="*/ 1321295 w 5719680"/>
                <a:gd name="connsiteY213" fmla="*/ 5479309 h 5704395"/>
                <a:gd name="connsiteX214" fmla="*/ 1324471 w 5719680"/>
                <a:gd name="connsiteY214" fmla="*/ 5479309 h 5704395"/>
                <a:gd name="connsiteX215" fmla="*/ 779119 w 5719680"/>
                <a:gd name="connsiteY215" fmla="*/ 5456493 h 5704395"/>
                <a:gd name="connsiteX216" fmla="*/ 779437 w 5719680"/>
                <a:gd name="connsiteY216" fmla="*/ 5492301 h 5704395"/>
                <a:gd name="connsiteX217" fmla="*/ 813740 w 5719680"/>
                <a:gd name="connsiteY217" fmla="*/ 5491034 h 5704395"/>
                <a:gd name="connsiteX218" fmla="*/ 813422 w 5719680"/>
                <a:gd name="connsiteY218" fmla="*/ 5462197 h 5704395"/>
                <a:gd name="connsiteX219" fmla="*/ 1540769 w 5719680"/>
                <a:gd name="connsiteY219" fmla="*/ 5446036 h 5704395"/>
                <a:gd name="connsiteX220" fmla="*/ 1509007 w 5719680"/>
                <a:gd name="connsiteY220" fmla="*/ 5446986 h 5704395"/>
                <a:gd name="connsiteX221" fmla="*/ 1438814 w 5719680"/>
                <a:gd name="connsiteY221" fmla="*/ 5449205 h 5704395"/>
                <a:gd name="connsiteX222" fmla="*/ 1434684 w 5719680"/>
                <a:gd name="connsiteY222" fmla="*/ 5490717 h 5704395"/>
                <a:gd name="connsiteX223" fmla="*/ 1431508 w 5719680"/>
                <a:gd name="connsiteY223" fmla="*/ 5534447 h 5704395"/>
                <a:gd name="connsiteX224" fmla="*/ 1431826 w 5719680"/>
                <a:gd name="connsiteY224" fmla="*/ 5534131 h 5704395"/>
                <a:gd name="connsiteX225" fmla="*/ 1433414 w 5719680"/>
                <a:gd name="connsiteY225" fmla="*/ 5533814 h 5704395"/>
                <a:gd name="connsiteX226" fmla="*/ 1499479 w 5719680"/>
                <a:gd name="connsiteY226" fmla="*/ 5627613 h 5704395"/>
                <a:gd name="connsiteX227" fmla="*/ 1599211 w 5719680"/>
                <a:gd name="connsiteY227" fmla="*/ 5615888 h 5704395"/>
                <a:gd name="connsiteX228" fmla="*/ 1597623 w 5719680"/>
                <a:gd name="connsiteY228" fmla="*/ 5533180 h 5704395"/>
                <a:gd name="connsiteX229" fmla="*/ 1592223 w 5719680"/>
                <a:gd name="connsiteY229" fmla="*/ 5482478 h 5704395"/>
                <a:gd name="connsiteX230" fmla="*/ 1572213 w 5719680"/>
                <a:gd name="connsiteY230" fmla="*/ 5452057 h 5704395"/>
                <a:gd name="connsiteX231" fmla="*/ 1540769 w 5719680"/>
                <a:gd name="connsiteY231" fmla="*/ 5446036 h 5704395"/>
                <a:gd name="connsiteX232" fmla="*/ 698762 w 5719680"/>
                <a:gd name="connsiteY232" fmla="*/ 5443184 h 5704395"/>
                <a:gd name="connsiteX233" fmla="*/ 694950 w 5719680"/>
                <a:gd name="connsiteY233" fmla="*/ 5488499 h 5704395"/>
                <a:gd name="connsiteX234" fmla="*/ 820092 w 5719680"/>
                <a:gd name="connsiteY234" fmla="*/ 5511315 h 5704395"/>
                <a:gd name="connsiteX235" fmla="*/ 818822 w 5719680"/>
                <a:gd name="connsiteY235" fmla="*/ 5462831 h 5704395"/>
                <a:gd name="connsiteX236" fmla="*/ 817551 w 5719680"/>
                <a:gd name="connsiteY236" fmla="*/ 5462831 h 5704395"/>
                <a:gd name="connsiteX237" fmla="*/ 817869 w 5719680"/>
                <a:gd name="connsiteY237" fmla="*/ 5494836 h 5704395"/>
                <a:gd name="connsiteX238" fmla="*/ 775308 w 5719680"/>
                <a:gd name="connsiteY238" fmla="*/ 5496738 h 5704395"/>
                <a:gd name="connsiteX239" fmla="*/ 774990 w 5719680"/>
                <a:gd name="connsiteY239" fmla="*/ 5455859 h 5704395"/>
                <a:gd name="connsiteX240" fmla="*/ 698762 w 5719680"/>
                <a:gd name="connsiteY240" fmla="*/ 5443184 h 5704395"/>
                <a:gd name="connsiteX241" fmla="*/ 1989882 w 5719680"/>
                <a:gd name="connsiteY241" fmla="*/ 5436846 h 5704395"/>
                <a:gd name="connsiteX242" fmla="*/ 1960979 w 5719680"/>
                <a:gd name="connsiteY242" fmla="*/ 5437163 h 5704395"/>
                <a:gd name="connsiteX243" fmla="*/ 1961932 w 5719680"/>
                <a:gd name="connsiteY243" fmla="*/ 5467584 h 5704395"/>
                <a:gd name="connsiteX244" fmla="*/ 1980354 w 5719680"/>
                <a:gd name="connsiteY244" fmla="*/ 5467584 h 5704395"/>
                <a:gd name="connsiteX245" fmla="*/ 1980354 w 5719680"/>
                <a:gd name="connsiteY245" fmla="*/ 5490717 h 5704395"/>
                <a:gd name="connsiteX246" fmla="*/ 2007033 w 5719680"/>
                <a:gd name="connsiteY246" fmla="*/ 5490400 h 5704395"/>
                <a:gd name="connsiteX247" fmla="*/ 2006716 w 5719680"/>
                <a:gd name="connsiteY247" fmla="*/ 5440015 h 5704395"/>
                <a:gd name="connsiteX248" fmla="*/ 1989882 w 5719680"/>
                <a:gd name="connsiteY248" fmla="*/ 5440015 h 5704395"/>
                <a:gd name="connsiteX249" fmla="*/ 1989882 w 5719680"/>
                <a:gd name="connsiteY249" fmla="*/ 5436846 h 5704395"/>
                <a:gd name="connsiteX250" fmla="*/ 359545 w 5719680"/>
                <a:gd name="connsiteY250" fmla="*/ 5435895 h 5704395"/>
                <a:gd name="connsiteX251" fmla="*/ 331594 w 5719680"/>
                <a:gd name="connsiteY251" fmla="*/ 5475189 h 5704395"/>
                <a:gd name="connsiteX252" fmla="*/ 345570 w 5719680"/>
                <a:gd name="connsiteY252" fmla="*/ 5483112 h 5704395"/>
                <a:gd name="connsiteX253" fmla="*/ 338582 w 5719680"/>
                <a:gd name="connsiteY253" fmla="*/ 5495153 h 5704395"/>
                <a:gd name="connsiteX254" fmla="*/ 351604 w 5719680"/>
                <a:gd name="connsiteY254" fmla="*/ 5502442 h 5704395"/>
                <a:gd name="connsiteX255" fmla="*/ 337629 w 5719680"/>
                <a:gd name="connsiteY255" fmla="*/ 5526208 h 5704395"/>
                <a:gd name="connsiteX256" fmla="*/ 308091 w 5719680"/>
                <a:gd name="connsiteY256" fmla="*/ 5508780 h 5704395"/>
                <a:gd name="connsiteX257" fmla="*/ 306185 w 5719680"/>
                <a:gd name="connsiteY257" fmla="*/ 5511315 h 5704395"/>
                <a:gd name="connsiteX258" fmla="*/ 299197 w 5719680"/>
                <a:gd name="connsiteY258" fmla="*/ 5520821 h 5704395"/>
                <a:gd name="connsiteX259" fmla="*/ 298880 w 5719680"/>
                <a:gd name="connsiteY259" fmla="*/ 5521138 h 5704395"/>
                <a:gd name="connsiteX260" fmla="*/ 398612 w 5719680"/>
                <a:gd name="connsiteY260" fmla="*/ 5564552 h 5704395"/>
                <a:gd name="connsiteX261" fmla="*/ 399247 w 5719680"/>
                <a:gd name="connsiteY261" fmla="*/ 5564552 h 5704395"/>
                <a:gd name="connsiteX262" fmla="*/ 406870 w 5719680"/>
                <a:gd name="connsiteY262" fmla="*/ 5546806 h 5704395"/>
                <a:gd name="connsiteX263" fmla="*/ 379872 w 5719680"/>
                <a:gd name="connsiteY263" fmla="*/ 5536666 h 5704395"/>
                <a:gd name="connsiteX264" fmla="*/ 380825 w 5719680"/>
                <a:gd name="connsiteY264" fmla="*/ 5534764 h 5704395"/>
                <a:gd name="connsiteX265" fmla="*/ 389719 w 5719680"/>
                <a:gd name="connsiteY265" fmla="*/ 5510998 h 5704395"/>
                <a:gd name="connsiteX266" fmla="*/ 403694 w 5719680"/>
                <a:gd name="connsiteY266" fmla="*/ 5516385 h 5704395"/>
                <a:gd name="connsiteX267" fmla="*/ 408458 w 5719680"/>
                <a:gd name="connsiteY267" fmla="*/ 5503709 h 5704395"/>
                <a:gd name="connsiteX268" fmla="*/ 423069 w 5719680"/>
                <a:gd name="connsiteY268" fmla="*/ 5509096 h 5704395"/>
                <a:gd name="connsiteX269" fmla="*/ 435456 w 5719680"/>
                <a:gd name="connsiteY269" fmla="*/ 5481210 h 5704395"/>
                <a:gd name="connsiteX270" fmla="*/ 439585 w 5719680"/>
                <a:gd name="connsiteY270" fmla="*/ 5482795 h 5704395"/>
                <a:gd name="connsiteX271" fmla="*/ 427515 w 5719680"/>
                <a:gd name="connsiteY271" fmla="*/ 5510681 h 5704395"/>
                <a:gd name="connsiteX272" fmla="*/ 443079 w 5719680"/>
                <a:gd name="connsiteY272" fmla="*/ 5517019 h 5704395"/>
                <a:gd name="connsiteX273" fmla="*/ 438314 w 5719680"/>
                <a:gd name="connsiteY273" fmla="*/ 5529694 h 5704395"/>
                <a:gd name="connsiteX274" fmla="*/ 452289 w 5719680"/>
                <a:gd name="connsiteY274" fmla="*/ 5535081 h 5704395"/>
                <a:gd name="connsiteX275" fmla="*/ 442443 w 5719680"/>
                <a:gd name="connsiteY275" fmla="*/ 5560432 h 5704395"/>
                <a:gd name="connsiteX276" fmla="*/ 410999 w 5719680"/>
                <a:gd name="connsiteY276" fmla="*/ 5548391 h 5704395"/>
                <a:gd name="connsiteX277" fmla="*/ 403694 w 5719680"/>
                <a:gd name="connsiteY277" fmla="*/ 5565502 h 5704395"/>
                <a:gd name="connsiteX278" fmla="*/ 501838 w 5719680"/>
                <a:gd name="connsiteY278" fmla="*/ 5585466 h 5704395"/>
                <a:gd name="connsiteX279" fmla="*/ 529788 w 5719680"/>
                <a:gd name="connsiteY279" fmla="*/ 5508146 h 5704395"/>
                <a:gd name="connsiteX280" fmla="*/ 382413 w 5719680"/>
                <a:gd name="connsiteY280" fmla="*/ 5465683 h 5704395"/>
                <a:gd name="connsiteX281" fmla="*/ 359545 w 5719680"/>
                <a:gd name="connsiteY281" fmla="*/ 5435895 h 5704395"/>
                <a:gd name="connsiteX282" fmla="*/ 1994011 w 5719680"/>
                <a:gd name="connsiteY282" fmla="*/ 5432726 h 5704395"/>
                <a:gd name="connsiteX283" fmla="*/ 1994011 w 5719680"/>
                <a:gd name="connsiteY283" fmla="*/ 5435895 h 5704395"/>
                <a:gd name="connsiteX284" fmla="*/ 2010845 w 5719680"/>
                <a:gd name="connsiteY284" fmla="*/ 5435895 h 5704395"/>
                <a:gd name="connsiteX285" fmla="*/ 2011162 w 5719680"/>
                <a:gd name="connsiteY285" fmla="*/ 5494520 h 5704395"/>
                <a:gd name="connsiteX286" fmla="*/ 1976224 w 5719680"/>
                <a:gd name="connsiteY286" fmla="*/ 5494836 h 5704395"/>
                <a:gd name="connsiteX287" fmla="*/ 1976224 w 5719680"/>
                <a:gd name="connsiteY287" fmla="*/ 5471704 h 5704395"/>
                <a:gd name="connsiteX288" fmla="*/ 1957802 w 5719680"/>
                <a:gd name="connsiteY288" fmla="*/ 5471704 h 5704395"/>
                <a:gd name="connsiteX289" fmla="*/ 1957802 w 5719680"/>
                <a:gd name="connsiteY289" fmla="*/ 5469802 h 5704395"/>
                <a:gd name="connsiteX290" fmla="*/ 1956850 w 5719680"/>
                <a:gd name="connsiteY290" fmla="*/ 5433043 h 5704395"/>
                <a:gd name="connsiteX291" fmla="*/ 1994011 w 5719680"/>
                <a:gd name="connsiteY291" fmla="*/ 5432726 h 5704395"/>
                <a:gd name="connsiteX292" fmla="*/ 531377 w 5719680"/>
                <a:gd name="connsiteY292" fmla="*/ 5431776 h 5704395"/>
                <a:gd name="connsiteX293" fmla="*/ 513272 w 5719680"/>
                <a:gd name="connsiteY293" fmla="*/ 5462197 h 5704395"/>
                <a:gd name="connsiteX294" fmla="*/ 544081 w 5719680"/>
                <a:gd name="connsiteY294" fmla="*/ 5479943 h 5704395"/>
                <a:gd name="connsiteX295" fmla="*/ 561868 w 5719680"/>
                <a:gd name="connsiteY295" fmla="*/ 5449522 h 5704395"/>
                <a:gd name="connsiteX296" fmla="*/ 531377 w 5719680"/>
                <a:gd name="connsiteY296" fmla="*/ 5431776 h 5704395"/>
                <a:gd name="connsiteX297" fmla="*/ 2066110 w 5719680"/>
                <a:gd name="connsiteY297" fmla="*/ 5427022 h 5704395"/>
                <a:gd name="connsiteX298" fmla="*/ 2056582 w 5719680"/>
                <a:gd name="connsiteY298" fmla="*/ 5482795 h 5704395"/>
                <a:gd name="connsiteX299" fmla="*/ 2056264 w 5719680"/>
                <a:gd name="connsiteY299" fmla="*/ 5484062 h 5704395"/>
                <a:gd name="connsiteX300" fmla="*/ 2035937 w 5719680"/>
                <a:gd name="connsiteY300" fmla="*/ 5491351 h 5704395"/>
                <a:gd name="connsiteX301" fmla="*/ 2012115 w 5719680"/>
                <a:gd name="connsiteY301" fmla="*/ 5565819 h 5704395"/>
                <a:gd name="connsiteX302" fmla="*/ 2147421 w 5719680"/>
                <a:gd name="connsiteY302" fmla="*/ 5589269 h 5704395"/>
                <a:gd name="connsiteX303" fmla="*/ 2159173 w 5719680"/>
                <a:gd name="connsiteY303" fmla="*/ 5590537 h 5704395"/>
                <a:gd name="connsiteX304" fmla="*/ 2196334 w 5719680"/>
                <a:gd name="connsiteY304" fmla="*/ 5506561 h 5704395"/>
                <a:gd name="connsiteX305" fmla="*/ 2164890 w 5719680"/>
                <a:gd name="connsiteY305" fmla="*/ 5448571 h 5704395"/>
                <a:gd name="connsiteX306" fmla="*/ 2066110 w 5719680"/>
                <a:gd name="connsiteY306" fmla="*/ 5427022 h 5704395"/>
                <a:gd name="connsiteX307" fmla="*/ 529788 w 5719680"/>
                <a:gd name="connsiteY307" fmla="*/ 5426072 h 5704395"/>
                <a:gd name="connsiteX308" fmla="*/ 531694 w 5719680"/>
                <a:gd name="connsiteY308" fmla="*/ 5427022 h 5704395"/>
                <a:gd name="connsiteX309" fmla="*/ 567585 w 5719680"/>
                <a:gd name="connsiteY309" fmla="*/ 5447937 h 5704395"/>
                <a:gd name="connsiteX310" fmla="*/ 545352 w 5719680"/>
                <a:gd name="connsiteY310" fmla="*/ 5485647 h 5704395"/>
                <a:gd name="connsiteX311" fmla="*/ 507555 w 5719680"/>
                <a:gd name="connsiteY311" fmla="*/ 5463781 h 5704395"/>
                <a:gd name="connsiteX312" fmla="*/ 529788 w 5719680"/>
                <a:gd name="connsiteY312" fmla="*/ 5426072 h 5704395"/>
                <a:gd name="connsiteX313" fmla="*/ 1033214 w 5719680"/>
                <a:gd name="connsiteY313" fmla="*/ 5405157 h 5704395"/>
                <a:gd name="connsiteX314" fmla="*/ 994147 w 5719680"/>
                <a:gd name="connsiteY314" fmla="*/ 5443501 h 5704395"/>
                <a:gd name="connsiteX315" fmla="*/ 1005264 w 5719680"/>
                <a:gd name="connsiteY315" fmla="*/ 5454275 h 5704395"/>
                <a:gd name="connsiteX316" fmla="*/ 1022098 w 5719680"/>
                <a:gd name="connsiteY316" fmla="*/ 5437163 h 5704395"/>
                <a:gd name="connsiteX317" fmla="*/ 1038931 w 5719680"/>
                <a:gd name="connsiteY317" fmla="*/ 5453641 h 5704395"/>
                <a:gd name="connsiteX318" fmla="*/ 1064341 w 5719680"/>
                <a:gd name="connsiteY318" fmla="*/ 5427656 h 5704395"/>
                <a:gd name="connsiteX319" fmla="*/ 1048460 w 5719680"/>
                <a:gd name="connsiteY319" fmla="*/ 5411812 h 5704395"/>
                <a:gd name="connsiteX320" fmla="*/ 1045919 w 5719680"/>
                <a:gd name="connsiteY320" fmla="*/ 5414664 h 5704395"/>
                <a:gd name="connsiteX321" fmla="*/ 1044331 w 5719680"/>
                <a:gd name="connsiteY321" fmla="*/ 5415931 h 5704395"/>
                <a:gd name="connsiteX322" fmla="*/ 1033214 w 5719680"/>
                <a:gd name="connsiteY322" fmla="*/ 5405157 h 5704395"/>
                <a:gd name="connsiteX323" fmla="*/ 816916 w 5719680"/>
                <a:gd name="connsiteY323" fmla="*/ 5403890 h 5704395"/>
                <a:gd name="connsiteX324" fmla="*/ 817551 w 5719680"/>
                <a:gd name="connsiteY324" fmla="*/ 5458394 h 5704395"/>
                <a:gd name="connsiteX325" fmla="*/ 818822 w 5719680"/>
                <a:gd name="connsiteY325" fmla="*/ 5458394 h 5704395"/>
                <a:gd name="connsiteX326" fmla="*/ 817869 w 5719680"/>
                <a:gd name="connsiteY326" fmla="*/ 5403890 h 5704395"/>
                <a:gd name="connsiteX327" fmla="*/ 523436 w 5719680"/>
                <a:gd name="connsiteY327" fmla="*/ 5402622 h 5704395"/>
                <a:gd name="connsiteX328" fmla="*/ 485004 w 5719680"/>
                <a:gd name="connsiteY328" fmla="*/ 5490717 h 5704395"/>
                <a:gd name="connsiteX329" fmla="*/ 574890 w 5719680"/>
                <a:gd name="connsiteY329" fmla="*/ 5516385 h 5704395"/>
                <a:gd name="connsiteX330" fmla="*/ 589183 w 5719680"/>
                <a:gd name="connsiteY330" fmla="*/ 5481844 h 5704395"/>
                <a:gd name="connsiteX331" fmla="*/ 583466 w 5719680"/>
                <a:gd name="connsiteY331" fmla="*/ 5466000 h 5704395"/>
                <a:gd name="connsiteX332" fmla="*/ 575208 w 5719680"/>
                <a:gd name="connsiteY332" fmla="*/ 5444768 h 5704395"/>
                <a:gd name="connsiteX333" fmla="*/ 532647 w 5719680"/>
                <a:gd name="connsiteY333" fmla="*/ 5408326 h 5704395"/>
                <a:gd name="connsiteX334" fmla="*/ 523436 w 5719680"/>
                <a:gd name="connsiteY334" fmla="*/ 5402622 h 5704395"/>
                <a:gd name="connsiteX335" fmla="*/ 778802 w 5719680"/>
                <a:gd name="connsiteY335" fmla="*/ 5401355 h 5704395"/>
                <a:gd name="connsiteX336" fmla="*/ 779119 w 5719680"/>
                <a:gd name="connsiteY336" fmla="*/ 5452057 h 5704395"/>
                <a:gd name="connsiteX337" fmla="*/ 813422 w 5719680"/>
                <a:gd name="connsiteY337" fmla="*/ 5457444 h 5704395"/>
                <a:gd name="connsiteX338" fmla="*/ 812787 w 5719680"/>
                <a:gd name="connsiteY338" fmla="*/ 5403573 h 5704395"/>
                <a:gd name="connsiteX339" fmla="*/ 1032897 w 5719680"/>
                <a:gd name="connsiteY339" fmla="*/ 5399136 h 5704395"/>
                <a:gd name="connsiteX340" fmla="*/ 1044331 w 5719680"/>
                <a:gd name="connsiteY340" fmla="*/ 5410227 h 5704395"/>
                <a:gd name="connsiteX341" fmla="*/ 1046872 w 5719680"/>
                <a:gd name="connsiteY341" fmla="*/ 5407375 h 5704395"/>
                <a:gd name="connsiteX342" fmla="*/ 1048460 w 5719680"/>
                <a:gd name="connsiteY342" fmla="*/ 5406108 h 5704395"/>
                <a:gd name="connsiteX343" fmla="*/ 1070376 w 5719680"/>
                <a:gd name="connsiteY343" fmla="*/ 5427339 h 5704395"/>
                <a:gd name="connsiteX344" fmla="*/ 1038931 w 5719680"/>
                <a:gd name="connsiteY344" fmla="*/ 5459345 h 5704395"/>
                <a:gd name="connsiteX345" fmla="*/ 1022415 w 5719680"/>
                <a:gd name="connsiteY345" fmla="*/ 5443184 h 5704395"/>
                <a:gd name="connsiteX346" fmla="*/ 1005581 w 5719680"/>
                <a:gd name="connsiteY346" fmla="*/ 5460296 h 5704395"/>
                <a:gd name="connsiteX347" fmla="*/ 988112 w 5719680"/>
                <a:gd name="connsiteY347" fmla="*/ 5443501 h 5704395"/>
                <a:gd name="connsiteX348" fmla="*/ 989701 w 5719680"/>
                <a:gd name="connsiteY348" fmla="*/ 5441916 h 5704395"/>
                <a:gd name="connsiteX349" fmla="*/ 1032897 w 5719680"/>
                <a:gd name="connsiteY349" fmla="*/ 5399136 h 5704395"/>
                <a:gd name="connsiteX350" fmla="*/ 3741232 w 5719680"/>
                <a:gd name="connsiteY350" fmla="*/ 5397869 h 5704395"/>
                <a:gd name="connsiteX351" fmla="*/ 3708200 w 5719680"/>
                <a:gd name="connsiteY351" fmla="*/ 5421952 h 5704395"/>
                <a:gd name="connsiteX352" fmla="*/ 3724081 w 5719680"/>
                <a:gd name="connsiteY352" fmla="*/ 5443818 h 5704395"/>
                <a:gd name="connsiteX353" fmla="*/ 3757113 w 5719680"/>
                <a:gd name="connsiteY353" fmla="*/ 5419734 h 5704395"/>
                <a:gd name="connsiteX354" fmla="*/ 3741232 w 5719680"/>
                <a:gd name="connsiteY354" fmla="*/ 5397869 h 5704395"/>
                <a:gd name="connsiteX355" fmla="*/ 2002269 w 5719680"/>
                <a:gd name="connsiteY355" fmla="*/ 5393749 h 5704395"/>
                <a:gd name="connsiteX356" fmla="*/ 1983847 w 5719680"/>
                <a:gd name="connsiteY356" fmla="*/ 5404523 h 5704395"/>
                <a:gd name="connsiteX357" fmla="*/ 1983212 w 5719680"/>
                <a:gd name="connsiteY357" fmla="*/ 5404840 h 5704395"/>
                <a:gd name="connsiteX358" fmla="*/ 1922547 w 5719680"/>
                <a:gd name="connsiteY358" fmla="*/ 5401355 h 5704395"/>
                <a:gd name="connsiteX359" fmla="*/ 1920959 w 5719680"/>
                <a:gd name="connsiteY359" fmla="*/ 5440015 h 5704395"/>
                <a:gd name="connsiteX360" fmla="*/ 1912701 w 5719680"/>
                <a:gd name="connsiteY360" fmla="*/ 5538250 h 5704395"/>
                <a:gd name="connsiteX361" fmla="*/ 1967649 w 5719680"/>
                <a:gd name="connsiteY361" fmla="*/ 5552193 h 5704395"/>
                <a:gd name="connsiteX362" fmla="*/ 2007669 w 5719680"/>
                <a:gd name="connsiteY362" fmla="*/ 5564552 h 5704395"/>
                <a:gd name="connsiteX363" fmla="*/ 2032443 w 5719680"/>
                <a:gd name="connsiteY363" fmla="*/ 5487865 h 5704395"/>
                <a:gd name="connsiteX364" fmla="*/ 2052453 w 5719680"/>
                <a:gd name="connsiteY364" fmla="*/ 5480893 h 5704395"/>
                <a:gd name="connsiteX365" fmla="*/ 2061664 w 5719680"/>
                <a:gd name="connsiteY365" fmla="*/ 5427022 h 5704395"/>
                <a:gd name="connsiteX366" fmla="*/ 2065158 w 5719680"/>
                <a:gd name="connsiteY366" fmla="*/ 5408643 h 5704395"/>
                <a:gd name="connsiteX367" fmla="*/ 2032443 w 5719680"/>
                <a:gd name="connsiteY367" fmla="*/ 5401038 h 5704395"/>
                <a:gd name="connsiteX368" fmla="*/ 2002269 w 5719680"/>
                <a:gd name="connsiteY368" fmla="*/ 5393749 h 5704395"/>
                <a:gd name="connsiteX369" fmla="*/ 3742185 w 5719680"/>
                <a:gd name="connsiteY369" fmla="*/ 5392165 h 5704395"/>
                <a:gd name="connsiteX370" fmla="*/ 3762830 w 5719680"/>
                <a:gd name="connsiteY370" fmla="*/ 5420685 h 5704395"/>
                <a:gd name="connsiteX371" fmla="*/ 3723128 w 5719680"/>
                <a:gd name="connsiteY371" fmla="*/ 5449522 h 5704395"/>
                <a:gd name="connsiteX372" fmla="*/ 3702165 w 5719680"/>
                <a:gd name="connsiteY372" fmla="*/ 5421002 h 5704395"/>
                <a:gd name="connsiteX373" fmla="*/ 3704071 w 5719680"/>
                <a:gd name="connsiteY373" fmla="*/ 5419734 h 5704395"/>
                <a:gd name="connsiteX374" fmla="*/ 187713 w 5719680"/>
                <a:gd name="connsiteY374" fmla="*/ 5389630 h 5704395"/>
                <a:gd name="connsiteX375" fmla="*/ 168656 w 5719680"/>
                <a:gd name="connsiteY375" fmla="*/ 5416248 h 5704395"/>
                <a:gd name="connsiteX376" fmla="*/ 188666 w 5719680"/>
                <a:gd name="connsiteY376" fmla="*/ 5432093 h 5704395"/>
                <a:gd name="connsiteX377" fmla="*/ 200735 w 5719680"/>
                <a:gd name="connsiteY377" fmla="*/ 5417199 h 5704395"/>
                <a:gd name="connsiteX378" fmla="*/ 188983 w 5719680"/>
                <a:gd name="connsiteY378" fmla="*/ 5408009 h 5704395"/>
                <a:gd name="connsiteX379" fmla="*/ 197242 w 5719680"/>
                <a:gd name="connsiteY379" fmla="*/ 5397235 h 5704395"/>
                <a:gd name="connsiteX380" fmla="*/ 187713 w 5719680"/>
                <a:gd name="connsiteY380" fmla="*/ 5389630 h 5704395"/>
                <a:gd name="connsiteX381" fmla="*/ 467218 w 5719680"/>
                <a:gd name="connsiteY381" fmla="*/ 5387411 h 5704395"/>
                <a:gd name="connsiteX382" fmla="*/ 449431 w 5719680"/>
                <a:gd name="connsiteY382" fmla="*/ 5417833 h 5704395"/>
                <a:gd name="connsiteX383" fmla="*/ 480240 w 5719680"/>
                <a:gd name="connsiteY383" fmla="*/ 5435578 h 5704395"/>
                <a:gd name="connsiteX384" fmla="*/ 498027 w 5719680"/>
                <a:gd name="connsiteY384" fmla="*/ 5405157 h 5704395"/>
                <a:gd name="connsiteX385" fmla="*/ 467218 w 5719680"/>
                <a:gd name="connsiteY385" fmla="*/ 5387411 h 5704395"/>
                <a:gd name="connsiteX386" fmla="*/ 465947 w 5719680"/>
                <a:gd name="connsiteY386" fmla="*/ 5381707 h 5704395"/>
                <a:gd name="connsiteX387" fmla="*/ 467535 w 5719680"/>
                <a:gd name="connsiteY387" fmla="*/ 5382658 h 5704395"/>
                <a:gd name="connsiteX388" fmla="*/ 503744 w 5719680"/>
                <a:gd name="connsiteY388" fmla="*/ 5403573 h 5704395"/>
                <a:gd name="connsiteX389" fmla="*/ 481510 w 5719680"/>
                <a:gd name="connsiteY389" fmla="*/ 5441282 h 5704395"/>
                <a:gd name="connsiteX390" fmla="*/ 443714 w 5719680"/>
                <a:gd name="connsiteY390" fmla="*/ 5419417 h 5704395"/>
                <a:gd name="connsiteX391" fmla="*/ 465947 w 5719680"/>
                <a:gd name="connsiteY391" fmla="*/ 5381707 h 5704395"/>
                <a:gd name="connsiteX392" fmla="*/ 309996 w 5719680"/>
                <a:gd name="connsiteY392" fmla="*/ 5380440 h 5704395"/>
                <a:gd name="connsiteX393" fmla="*/ 227415 w 5719680"/>
                <a:gd name="connsiteY393" fmla="*/ 5490400 h 5704395"/>
                <a:gd name="connsiteX394" fmla="*/ 294751 w 5719680"/>
                <a:gd name="connsiteY394" fmla="*/ 5519554 h 5704395"/>
                <a:gd name="connsiteX395" fmla="*/ 304279 w 5719680"/>
                <a:gd name="connsiteY395" fmla="*/ 5506561 h 5704395"/>
                <a:gd name="connsiteX396" fmla="*/ 279822 w 5719680"/>
                <a:gd name="connsiteY396" fmla="*/ 5492301 h 5704395"/>
                <a:gd name="connsiteX397" fmla="*/ 281093 w 5719680"/>
                <a:gd name="connsiteY397" fmla="*/ 5490717 h 5704395"/>
                <a:gd name="connsiteX398" fmla="*/ 293798 w 5719680"/>
                <a:gd name="connsiteY398" fmla="*/ 5468852 h 5704395"/>
                <a:gd name="connsiteX399" fmla="*/ 306502 w 5719680"/>
                <a:gd name="connsiteY399" fmla="*/ 5476457 h 5704395"/>
                <a:gd name="connsiteX400" fmla="*/ 313490 w 5719680"/>
                <a:gd name="connsiteY400" fmla="*/ 5464415 h 5704395"/>
                <a:gd name="connsiteX401" fmla="*/ 327783 w 5719680"/>
                <a:gd name="connsiteY401" fmla="*/ 5472971 h 5704395"/>
                <a:gd name="connsiteX402" fmla="*/ 347793 w 5719680"/>
                <a:gd name="connsiteY402" fmla="*/ 5444451 h 5704395"/>
                <a:gd name="connsiteX403" fmla="*/ 354780 w 5719680"/>
                <a:gd name="connsiteY403" fmla="*/ 5434628 h 5704395"/>
                <a:gd name="connsiteX404" fmla="*/ 356686 w 5719680"/>
                <a:gd name="connsiteY404" fmla="*/ 5432410 h 5704395"/>
                <a:gd name="connsiteX405" fmla="*/ 328100 w 5719680"/>
                <a:gd name="connsiteY405" fmla="*/ 5395017 h 5704395"/>
                <a:gd name="connsiteX406" fmla="*/ 309996 w 5719680"/>
                <a:gd name="connsiteY406" fmla="*/ 5380440 h 5704395"/>
                <a:gd name="connsiteX407" fmla="*/ 175008 w 5719680"/>
                <a:gd name="connsiteY407" fmla="*/ 5379489 h 5704395"/>
                <a:gd name="connsiteX408" fmla="*/ 166433 w 5719680"/>
                <a:gd name="connsiteY408" fmla="*/ 5390263 h 5704395"/>
                <a:gd name="connsiteX409" fmla="*/ 154681 w 5719680"/>
                <a:gd name="connsiteY409" fmla="*/ 5381074 h 5704395"/>
                <a:gd name="connsiteX410" fmla="*/ 142929 w 5719680"/>
                <a:gd name="connsiteY410" fmla="*/ 5395967 h 5704395"/>
                <a:gd name="connsiteX411" fmla="*/ 165162 w 5719680"/>
                <a:gd name="connsiteY411" fmla="*/ 5413396 h 5704395"/>
                <a:gd name="connsiteX412" fmla="*/ 184219 w 5719680"/>
                <a:gd name="connsiteY412" fmla="*/ 5387095 h 5704395"/>
                <a:gd name="connsiteX413" fmla="*/ 175008 w 5719680"/>
                <a:gd name="connsiteY413" fmla="*/ 5379489 h 5704395"/>
                <a:gd name="connsiteX414" fmla="*/ 1242525 w 5719680"/>
                <a:gd name="connsiteY414" fmla="*/ 5371567 h 5704395"/>
                <a:gd name="connsiteX415" fmla="*/ 1211081 w 5719680"/>
                <a:gd name="connsiteY415" fmla="*/ 5394066 h 5704395"/>
                <a:gd name="connsiteX416" fmla="*/ 1225374 w 5719680"/>
                <a:gd name="connsiteY416" fmla="*/ 5414347 h 5704395"/>
                <a:gd name="connsiteX417" fmla="*/ 1257136 w 5719680"/>
                <a:gd name="connsiteY417" fmla="*/ 5391848 h 5704395"/>
                <a:gd name="connsiteX418" fmla="*/ 1242525 w 5719680"/>
                <a:gd name="connsiteY418" fmla="*/ 5371567 h 5704395"/>
                <a:gd name="connsiteX419" fmla="*/ 1163120 w 5719680"/>
                <a:gd name="connsiteY419" fmla="*/ 5368081 h 5704395"/>
                <a:gd name="connsiteX420" fmla="*/ 958891 w 5719680"/>
                <a:gd name="connsiteY420" fmla="*/ 5402939 h 5704395"/>
                <a:gd name="connsiteX421" fmla="*/ 976361 w 5719680"/>
                <a:gd name="connsiteY421" fmla="*/ 5470436 h 5704395"/>
                <a:gd name="connsiteX422" fmla="*/ 1013840 w 5719680"/>
                <a:gd name="connsiteY422" fmla="*/ 5549341 h 5704395"/>
                <a:gd name="connsiteX423" fmla="*/ 1016063 w 5719680"/>
                <a:gd name="connsiteY423" fmla="*/ 5551559 h 5704395"/>
                <a:gd name="connsiteX424" fmla="*/ 1016380 w 5719680"/>
                <a:gd name="connsiteY424" fmla="*/ 5551559 h 5704395"/>
                <a:gd name="connsiteX425" fmla="*/ 1179319 w 5719680"/>
                <a:gd name="connsiteY425" fmla="*/ 5461246 h 5704395"/>
                <a:gd name="connsiteX426" fmla="*/ 1163120 w 5719680"/>
                <a:gd name="connsiteY426" fmla="*/ 5368081 h 5704395"/>
                <a:gd name="connsiteX427" fmla="*/ 816281 w 5719680"/>
                <a:gd name="connsiteY427" fmla="*/ 5366814 h 5704395"/>
                <a:gd name="connsiteX428" fmla="*/ 816916 w 5719680"/>
                <a:gd name="connsiteY428" fmla="*/ 5399453 h 5704395"/>
                <a:gd name="connsiteX429" fmla="*/ 817869 w 5719680"/>
                <a:gd name="connsiteY429" fmla="*/ 5399453 h 5704395"/>
                <a:gd name="connsiteX430" fmla="*/ 817551 w 5719680"/>
                <a:gd name="connsiteY430" fmla="*/ 5366814 h 5704395"/>
                <a:gd name="connsiteX431" fmla="*/ 1004629 w 5719680"/>
                <a:gd name="connsiteY431" fmla="*/ 5366180 h 5704395"/>
                <a:gd name="connsiteX432" fmla="*/ 949045 w 5719680"/>
                <a:gd name="connsiteY432" fmla="*/ 5373785 h 5704395"/>
                <a:gd name="connsiteX433" fmla="*/ 949998 w 5719680"/>
                <a:gd name="connsiteY433" fmla="*/ 5389947 h 5704395"/>
                <a:gd name="connsiteX434" fmla="*/ 1004629 w 5719680"/>
                <a:gd name="connsiteY434" fmla="*/ 5380757 h 5704395"/>
                <a:gd name="connsiteX435" fmla="*/ 1004629 w 5719680"/>
                <a:gd name="connsiteY435" fmla="*/ 5366180 h 5704395"/>
                <a:gd name="connsiteX436" fmla="*/ 1243478 w 5719680"/>
                <a:gd name="connsiteY436" fmla="*/ 5365863 h 5704395"/>
                <a:gd name="connsiteX437" fmla="*/ 1262853 w 5719680"/>
                <a:gd name="connsiteY437" fmla="*/ 5392799 h 5704395"/>
                <a:gd name="connsiteX438" fmla="*/ 1224421 w 5719680"/>
                <a:gd name="connsiteY438" fmla="*/ 5420051 h 5704395"/>
                <a:gd name="connsiteX439" fmla="*/ 1223150 w 5719680"/>
                <a:gd name="connsiteY439" fmla="*/ 5418150 h 5704395"/>
                <a:gd name="connsiteX440" fmla="*/ 1205364 w 5719680"/>
                <a:gd name="connsiteY440" fmla="*/ 5393115 h 5704395"/>
                <a:gd name="connsiteX441" fmla="*/ 778802 w 5719680"/>
                <a:gd name="connsiteY441" fmla="*/ 5363011 h 5704395"/>
                <a:gd name="connsiteX442" fmla="*/ 778802 w 5719680"/>
                <a:gd name="connsiteY442" fmla="*/ 5396918 h 5704395"/>
                <a:gd name="connsiteX443" fmla="*/ 812787 w 5719680"/>
                <a:gd name="connsiteY443" fmla="*/ 5399136 h 5704395"/>
                <a:gd name="connsiteX444" fmla="*/ 812152 w 5719680"/>
                <a:gd name="connsiteY444" fmla="*/ 5366497 h 5704395"/>
                <a:gd name="connsiteX445" fmla="*/ 2137257 w 5719680"/>
                <a:gd name="connsiteY445" fmla="*/ 5360793 h 5704395"/>
                <a:gd name="connsiteX446" fmla="*/ 2138210 w 5719680"/>
                <a:gd name="connsiteY446" fmla="*/ 5391531 h 5704395"/>
                <a:gd name="connsiteX447" fmla="*/ 2156632 w 5719680"/>
                <a:gd name="connsiteY447" fmla="*/ 5391531 h 5704395"/>
                <a:gd name="connsiteX448" fmla="*/ 2156950 w 5719680"/>
                <a:gd name="connsiteY448" fmla="*/ 5414664 h 5704395"/>
                <a:gd name="connsiteX449" fmla="*/ 2183312 w 5719680"/>
                <a:gd name="connsiteY449" fmla="*/ 5414347 h 5704395"/>
                <a:gd name="connsiteX450" fmla="*/ 2182994 w 5719680"/>
                <a:gd name="connsiteY450" fmla="*/ 5363962 h 5704395"/>
                <a:gd name="connsiteX451" fmla="*/ 2166478 w 5719680"/>
                <a:gd name="connsiteY451" fmla="*/ 5363962 h 5704395"/>
                <a:gd name="connsiteX452" fmla="*/ 2166478 w 5719680"/>
                <a:gd name="connsiteY452" fmla="*/ 5360793 h 5704395"/>
                <a:gd name="connsiteX453" fmla="*/ 2137257 w 5719680"/>
                <a:gd name="connsiteY453" fmla="*/ 5360793 h 5704395"/>
                <a:gd name="connsiteX454" fmla="*/ 2133128 w 5719680"/>
                <a:gd name="connsiteY454" fmla="*/ 5356673 h 5704395"/>
                <a:gd name="connsiteX455" fmla="*/ 2170607 w 5719680"/>
                <a:gd name="connsiteY455" fmla="*/ 5356673 h 5704395"/>
                <a:gd name="connsiteX456" fmla="*/ 2170607 w 5719680"/>
                <a:gd name="connsiteY456" fmla="*/ 5359842 h 5704395"/>
                <a:gd name="connsiteX457" fmla="*/ 2187123 w 5719680"/>
                <a:gd name="connsiteY457" fmla="*/ 5359842 h 5704395"/>
                <a:gd name="connsiteX458" fmla="*/ 2187441 w 5719680"/>
                <a:gd name="connsiteY458" fmla="*/ 5418466 h 5704395"/>
                <a:gd name="connsiteX459" fmla="*/ 2152503 w 5719680"/>
                <a:gd name="connsiteY459" fmla="*/ 5418783 h 5704395"/>
                <a:gd name="connsiteX460" fmla="*/ 2152503 w 5719680"/>
                <a:gd name="connsiteY460" fmla="*/ 5395651 h 5704395"/>
                <a:gd name="connsiteX461" fmla="*/ 2134398 w 5719680"/>
                <a:gd name="connsiteY461" fmla="*/ 5395651 h 5704395"/>
                <a:gd name="connsiteX462" fmla="*/ 2134398 w 5719680"/>
                <a:gd name="connsiteY462" fmla="*/ 5393749 h 5704395"/>
                <a:gd name="connsiteX463" fmla="*/ 2133128 w 5719680"/>
                <a:gd name="connsiteY463" fmla="*/ 5356673 h 5704395"/>
                <a:gd name="connsiteX464" fmla="*/ 1260312 w 5719680"/>
                <a:gd name="connsiteY464" fmla="*/ 5351286 h 5704395"/>
                <a:gd name="connsiteX465" fmla="*/ 1177096 w 5719680"/>
                <a:gd name="connsiteY465" fmla="*/ 5365546 h 5704395"/>
                <a:gd name="connsiteX466" fmla="*/ 1203140 w 5719680"/>
                <a:gd name="connsiteY466" fmla="*/ 5511948 h 5704395"/>
                <a:gd name="connsiteX467" fmla="*/ 1273652 w 5719680"/>
                <a:gd name="connsiteY467" fmla="*/ 5510047 h 5704395"/>
                <a:gd name="connsiteX468" fmla="*/ 1274287 w 5719680"/>
                <a:gd name="connsiteY468" fmla="*/ 5510047 h 5704395"/>
                <a:gd name="connsiteX469" fmla="*/ 1353692 w 5719680"/>
                <a:gd name="connsiteY469" fmla="*/ 5560432 h 5704395"/>
                <a:gd name="connsiteX470" fmla="*/ 1351468 w 5719680"/>
                <a:gd name="connsiteY470" fmla="*/ 5564235 h 5704395"/>
                <a:gd name="connsiteX471" fmla="*/ 1273016 w 5719680"/>
                <a:gd name="connsiteY471" fmla="*/ 5514484 h 5704395"/>
                <a:gd name="connsiteX472" fmla="*/ 1234585 w 5719680"/>
                <a:gd name="connsiteY472" fmla="*/ 5515434 h 5704395"/>
                <a:gd name="connsiteX473" fmla="*/ 1207905 w 5719680"/>
                <a:gd name="connsiteY473" fmla="*/ 5516068 h 5704395"/>
                <a:gd name="connsiteX474" fmla="*/ 1203776 w 5719680"/>
                <a:gd name="connsiteY474" fmla="*/ 5516068 h 5704395"/>
                <a:gd name="connsiteX475" fmla="*/ 1221880 w 5719680"/>
                <a:gd name="connsiteY475" fmla="*/ 5618740 h 5704395"/>
                <a:gd name="connsiteX476" fmla="*/ 1324153 w 5719680"/>
                <a:gd name="connsiteY476" fmla="*/ 5630148 h 5704395"/>
                <a:gd name="connsiteX477" fmla="*/ 1338764 w 5719680"/>
                <a:gd name="connsiteY477" fmla="*/ 5597825 h 5704395"/>
                <a:gd name="connsiteX478" fmla="*/ 1349245 w 5719680"/>
                <a:gd name="connsiteY478" fmla="*/ 5574375 h 5704395"/>
                <a:gd name="connsiteX479" fmla="*/ 1352421 w 5719680"/>
                <a:gd name="connsiteY479" fmla="*/ 5566136 h 5704395"/>
                <a:gd name="connsiteX480" fmla="*/ 1353374 w 5719680"/>
                <a:gd name="connsiteY480" fmla="*/ 5563284 h 5704395"/>
                <a:gd name="connsiteX481" fmla="*/ 1353692 w 5719680"/>
                <a:gd name="connsiteY481" fmla="*/ 5562650 h 5704395"/>
                <a:gd name="connsiteX482" fmla="*/ 1353374 w 5719680"/>
                <a:gd name="connsiteY482" fmla="*/ 5562334 h 5704395"/>
                <a:gd name="connsiteX483" fmla="*/ 1354962 w 5719680"/>
                <a:gd name="connsiteY483" fmla="*/ 5560115 h 5704395"/>
                <a:gd name="connsiteX484" fmla="*/ 1431191 w 5719680"/>
                <a:gd name="connsiteY484" fmla="*/ 5534447 h 5704395"/>
                <a:gd name="connsiteX485" fmla="*/ 1427062 w 5719680"/>
                <a:gd name="connsiteY485" fmla="*/ 5534131 h 5704395"/>
                <a:gd name="connsiteX486" fmla="*/ 1430555 w 5719680"/>
                <a:gd name="connsiteY486" fmla="*/ 5488182 h 5704395"/>
                <a:gd name="connsiteX487" fmla="*/ 1433414 w 5719680"/>
                <a:gd name="connsiteY487" fmla="*/ 5456176 h 5704395"/>
                <a:gd name="connsiteX488" fmla="*/ 1434049 w 5719680"/>
                <a:gd name="connsiteY488" fmla="*/ 5449205 h 5704395"/>
                <a:gd name="connsiteX489" fmla="*/ 1428332 w 5719680"/>
                <a:gd name="connsiteY489" fmla="*/ 5449205 h 5704395"/>
                <a:gd name="connsiteX490" fmla="*/ 1423250 w 5719680"/>
                <a:gd name="connsiteY490" fmla="*/ 5449205 h 5704395"/>
                <a:gd name="connsiteX491" fmla="*/ 1423250 w 5719680"/>
                <a:gd name="connsiteY491" fmla="*/ 5449522 h 5704395"/>
                <a:gd name="connsiteX492" fmla="*/ 1420074 w 5719680"/>
                <a:gd name="connsiteY492" fmla="*/ 5449205 h 5704395"/>
                <a:gd name="connsiteX493" fmla="*/ 1355280 w 5719680"/>
                <a:gd name="connsiteY493" fmla="*/ 5444451 h 5704395"/>
                <a:gd name="connsiteX494" fmla="*/ 1311131 w 5719680"/>
                <a:gd name="connsiteY494" fmla="*/ 5431776 h 5704395"/>
                <a:gd name="connsiteX495" fmla="*/ 1276510 w 5719680"/>
                <a:gd name="connsiteY495" fmla="*/ 5510681 h 5704395"/>
                <a:gd name="connsiteX496" fmla="*/ 1272381 w 5719680"/>
                <a:gd name="connsiteY496" fmla="*/ 5508780 h 5704395"/>
                <a:gd name="connsiteX497" fmla="*/ 1307319 w 5719680"/>
                <a:gd name="connsiteY497" fmla="*/ 5429558 h 5704395"/>
                <a:gd name="connsiteX498" fmla="*/ 1289533 w 5719680"/>
                <a:gd name="connsiteY498" fmla="*/ 5417199 h 5704395"/>
                <a:gd name="connsiteX499" fmla="*/ 1260312 w 5719680"/>
                <a:gd name="connsiteY499" fmla="*/ 5351286 h 5704395"/>
                <a:gd name="connsiteX500" fmla="*/ 406870 w 5719680"/>
                <a:gd name="connsiteY500" fmla="*/ 5346850 h 5704395"/>
                <a:gd name="connsiteX501" fmla="*/ 389083 w 5719680"/>
                <a:gd name="connsiteY501" fmla="*/ 5377271 h 5704395"/>
                <a:gd name="connsiteX502" fmla="*/ 419575 w 5719680"/>
                <a:gd name="connsiteY502" fmla="*/ 5395334 h 5704395"/>
                <a:gd name="connsiteX503" fmla="*/ 437679 w 5719680"/>
                <a:gd name="connsiteY503" fmla="*/ 5364596 h 5704395"/>
                <a:gd name="connsiteX504" fmla="*/ 406870 w 5719680"/>
                <a:gd name="connsiteY504" fmla="*/ 5346850 h 5704395"/>
                <a:gd name="connsiteX505" fmla="*/ 3752984 w 5719680"/>
                <a:gd name="connsiteY505" fmla="*/ 5346216 h 5704395"/>
                <a:gd name="connsiteX506" fmla="*/ 3745361 w 5719680"/>
                <a:gd name="connsiteY506" fmla="*/ 5349068 h 5704395"/>
                <a:gd name="connsiteX507" fmla="*/ 3666274 w 5719680"/>
                <a:gd name="connsiteY507" fmla="*/ 5379806 h 5704395"/>
                <a:gd name="connsiteX508" fmla="*/ 3666592 w 5719680"/>
                <a:gd name="connsiteY508" fmla="*/ 5394066 h 5704395"/>
                <a:gd name="connsiteX509" fmla="*/ 3666592 w 5719680"/>
                <a:gd name="connsiteY509" fmla="*/ 5401355 h 5704395"/>
                <a:gd name="connsiteX510" fmla="*/ 3669768 w 5719680"/>
                <a:gd name="connsiteY510" fmla="*/ 5401355 h 5704395"/>
                <a:gd name="connsiteX511" fmla="*/ 3679296 w 5719680"/>
                <a:gd name="connsiteY511" fmla="*/ 5517969 h 5704395"/>
                <a:gd name="connsiteX512" fmla="*/ 3709788 w 5719680"/>
                <a:gd name="connsiteY512" fmla="*/ 5642506 h 5704395"/>
                <a:gd name="connsiteX513" fmla="*/ 3743773 w 5719680"/>
                <a:gd name="connsiteY513" fmla="*/ 5697645 h 5704395"/>
                <a:gd name="connsiteX514" fmla="*/ 3842870 w 5719680"/>
                <a:gd name="connsiteY514" fmla="*/ 5555679 h 5704395"/>
                <a:gd name="connsiteX515" fmla="*/ 942375 w 5719680"/>
                <a:gd name="connsiteY515" fmla="*/ 5336393 h 5704395"/>
                <a:gd name="connsiteX516" fmla="*/ 904896 w 5719680"/>
                <a:gd name="connsiteY516" fmla="*/ 5341146 h 5704395"/>
                <a:gd name="connsiteX517" fmla="*/ 909978 w 5719680"/>
                <a:gd name="connsiteY517" fmla="*/ 5375053 h 5704395"/>
                <a:gd name="connsiteX518" fmla="*/ 944599 w 5719680"/>
                <a:gd name="connsiteY518" fmla="*/ 5370300 h 5704395"/>
                <a:gd name="connsiteX519" fmla="*/ 942693 w 5719680"/>
                <a:gd name="connsiteY519" fmla="*/ 5337660 h 5704395"/>
                <a:gd name="connsiteX520" fmla="*/ 942375 w 5719680"/>
                <a:gd name="connsiteY520" fmla="*/ 5336393 h 5704395"/>
                <a:gd name="connsiteX521" fmla="*/ 416399 w 5719680"/>
                <a:gd name="connsiteY521" fmla="*/ 5335125 h 5704395"/>
                <a:gd name="connsiteX522" fmla="*/ 406870 w 5719680"/>
                <a:gd name="connsiteY522" fmla="*/ 5342097 h 5704395"/>
                <a:gd name="connsiteX523" fmla="*/ 407188 w 5719680"/>
                <a:gd name="connsiteY523" fmla="*/ 5342097 h 5704395"/>
                <a:gd name="connsiteX524" fmla="*/ 443396 w 5719680"/>
                <a:gd name="connsiteY524" fmla="*/ 5363328 h 5704395"/>
                <a:gd name="connsiteX525" fmla="*/ 421163 w 5719680"/>
                <a:gd name="connsiteY525" fmla="*/ 5401038 h 5704395"/>
                <a:gd name="connsiteX526" fmla="*/ 383366 w 5719680"/>
                <a:gd name="connsiteY526" fmla="*/ 5378856 h 5704395"/>
                <a:gd name="connsiteX527" fmla="*/ 403376 w 5719680"/>
                <a:gd name="connsiteY527" fmla="*/ 5344632 h 5704395"/>
                <a:gd name="connsiteX528" fmla="*/ 332865 w 5719680"/>
                <a:gd name="connsiteY528" fmla="*/ 5394066 h 5704395"/>
                <a:gd name="connsiteX529" fmla="*/ 384954 w 5719680"/>
                <a:gd name="connsiteY529" fmla="*/ 5461880 h 5704395"/>
                <a:gd name="connsiteX530" fmla="*/ 480875 w 5719680"/>
                <a:gd name="connsiteY530" fmla="*/ 5489449 h 5704395"/>
                <a:gd name="connsiteX531" fmla="*/ 519625 w 5719680"/>
                <a:gd name="connsiteY531" fmla="*/ 5400404 h 5704395"/>
                <a:gd name="connsiteX532" fmla="*/ 455466 w 5719680"/>
                <a:gd name="connsiteY532" fmla="*/ 5364596 h 5704395"/>
                <a:gd name="connsiteX533" fmla="*/ 386225 w 5719680"/>
                <a:gd name="connsiteY533" fmla="*/ 5460296 h 5704395"/>
                <a:gd name="connsiteX534" fmla="*/ 382413 w 5719680"/>
                <a:gd name="connsiteY534" fmla="*/ 5457761 h 5704395"/>
                <a:gd name="connsiteX535" fmla="*/ 451654 w 5719680"/>
                <a:gd name="connsiteY535" fmla="*/ 5362060 h 5704395"/>
                <a:gd name="connsiteX536" fmla="*/ 426245 w 5719680"/>
                <a:gd name="connsiteY536" fmla="*/ 5344632 h 5704395"/>
                <a:gd name="connsiteX537" fmla="*/ 416399 w 5719680"/>
                <a:gd name="connsiteY537" fmla="*/ 5335125 h 5704395"/>
                <a:gd name="connsiteX538" fmla="*/ 230592 w 5719680"/>
                <a:gd name="connsiteY538" fmla="*/ 5332590 h 5704395"/>
                <a:gd name="connsiteX539" fmla="*/ 192477 w 5719680"/>
                <a:gd name="connsiteY539" fmla="*/ 5383292 h 5704395"/>
                <a:gd name="connsiteX540" fmla="*/ 190254 w 5719680"/>
                <a:gd name="connsiteY540" fmla="*/ 5386461 h 5704395"/>
                <a:gd name="connsiteX541" fmla="*/ 203276 w 5719680"/>
                <a:gd name="connsiteY541" fmla="*/ 5396601 h 5704395"/>
                <a:gd name="connsiteX542" fmla="*/ 194701 w 5719680"/>
                <a:gd name="connsiteY542" fmla="*/ 5407375 h 5704395"/>
                <a:gd name="connsiteX543" fmla="*/ 206452 w 5719680"/>
                <a:gd name="connsiteY543" fmla="*/ 5416565 h 5704395"/>
                <a:gd name="connsiteX544" fmla="*/ 189301 w 5719680"/>
                <a:gd name="connsiteY544" fmla="*/ 5438114 h 5704395"/>
                <a:gd name="connsiteX545" fmla="*/ 166115 w 5719680"/>
                <a:gd name="connsiteY545" fmla="*/ 5419417 h 5704395"/>
                <a:gd name="connsiteX546" fmla="*/ 159763 w 5719680"/>
                <a:gd name="connsiteY546" fmla="*/ 5428607 h 5704395"/>
                <a:gd name="connsiteX547" fmla="*/ 222333 w 5719680"/>
                <a:gd name="connsiteY547" fmla="*/ 5488182 h 5704395"/>
                <a:gd name="connsiteX548" fmla="*/ 223286 w 5719680"/>
                <a:gd name="connsiteY548" fmla="*/ 5488499 h 5704395"/>
                <a:gd name="connsiteX549" fmla="*/ 306502 w 5719680"/>
                <a:gd name="connsiteY549" fmla="*/ 5377905 h 5704395"/>
                <a:gd name="connsiteX550" fmla="*/ 283951 w 5719680"/>
                <a:gd name="connsiteY550" fmla="*/ 5359842 h 5704395"/>
                <a:gd name="connsiteX551" fmla="*/ 257907 w 5719680"/>
                <a:gd name="connsiteY551" fmla="*/ 5345899 h 5704395"/>
                <a:gd name="connsiteX552" fmla="*/ 239167 w 5719680"/>
                <a:gd name="connsiteY552" fmla="*/ 5336393 h 5704395"/>
                <a:gd name="connsiteX553" fmla="*/ 232497 w 5719680"/>
                <a:gd name="connsiteY553" fmla="*/ 5333541 h 5704395"/>
                <a:gd name="connsiteX554" fmla="*/ 230592 w 5719680"/>
                <a:gd name="connsiteY554" fmla="*/ 5332590 h 5704395"/>
                <a:gd name="connsiteX555" fmla="*/ 2141068 w 5719680"/>
                <a:gd name="connsiteY555" fmla="*/ 5331005 h 5704395"/>
                <a:gd name="connsiteX556" fmla="*/ 2076274 w 5719680"/>
                <a:gd name="connsiteY556" fmla="*/ 5373468 h 5704395"/>
                <a:gd name="connsiteX557" fmla="*/ 2072780 w 5719680"/>
                <a:gd name="connsiteY557" fmla="*/ 5391531 h 5704395"/>
                <a:gd name="connsiteX558" fmla="*/ 2067063 w 5719680"/>
                <a:gd name="connsiteY558" fmla="*/ 5422586 h 5704395"/>
                <a:gd name="connsiteX559" fmla="*/ 2167748 w 5719680"/>
                <a:gd name="connsiteY559" fmla="*/ 5444768 h 5704395"/>
                <a:gd name="connsiteX560" fmla="*/ 2198558 w 5719680"/>
                <a:gd name="connsiteY560" fmla="*/ 5501491 h 5704395"/>
                <a:gd name="connsiteX561" fmla="*/ 2266210 w 5719680"/>
                <a:gd name="connsiteY561" fmla="*/ 5348117 h 5704395"/>
                <a:gd name="connsiteX562" fmla="*/ 2140751 w 5719680"/>
                <a:gd name="connsiteY562" fmla="*/ 5333857 h 5704395"/>
                <a:gd name="connsiteX563" fmla="*/ 2141068 w 5719680"/>
                <a:gd name="connsiteY563" fmla="*/ 5331005 h 5704395"/>
                <a:gd name="connsiteX564" fmla="*/ 815963 w 5719680"/>
                <a:gd name="connsiteY564" fmla="*/ 5329421 h 5704395"/>
                <a:gd name="connsiteX565" fmla="*/ 816281 w 5719680"/>
                <a:gd name="connsiteY565" fmla="*/ 5362377 h 5704395"/>
                <a:gd name="connsiteX566" fmla="*/ 817551 w 5719680"/>
                <a:gd name="connsiteY566" fmla="*/ 5362377 h 5704395"/>
                <a:gd name="connsiteX567" fmla="*/ 817233 w 5719680"/>
                <a:gd name="connsiteY567" fmla="*/ 5361744 h 5704395"/>
                <a:gd name="connsiteX568" fmla="*/ 817233 w 5719680"/>
                <a:gd name="connsiteY568" fmla="*/ 5329738 h 5704395"/>
                <a:gd name="connsiteX569" fmla="*/ 815963 w 5719680"/>
                <a:gd name="connsiteY569" fmla="*/ 5329421 h 5704395"/>
                <a:gd name="connsiteX570" fmla="*/ 1004629 w 5719680"/>
                <a:gd name="connsiteY570" fmla="*/ 5328153 h 5704395"/>
                <a:gd name="connsiteX571" fmla="*/ 946822 w 5719680"/>
                <a:gd name="connsiteY571" fmla="*/ 5335759 h 5704395"/>
                <a:gd name="connsiteX572" fmla="*/ 949045 w 5719680"/>
                <a:gd name="connsiteY572" fmla="*/ 5369666 h 5704395"/>
                <a:gd name="connsiteX573" fmla="*/ 976678 w 5719680"/>
                <a:gd name="connsiteY573" fmla="*/ 5365863 h 5704395"/>
                <a:gd name="connsiteX574" fmla="*/ 1004629 w 5719680"/>
                <a:gd name="connsiteY574" fmla="*/ 5362060 h 5704395"/>
                <a:gd name="connsiteX575" fmla="*/ 1004629 w 5719680"/>
                <a:gd name="connsiteY575" fmla="*/ 5347167 h 5704395"/>
                <a:gd name="connsiteX576" fmla="*/ 1004629 w 5719680"/>
                <a:gd name="connsiteY576" fmla="*/ 5328153 h 5704395"/>
                <a:gd name="connsiteX577" fmla="*/ 778484 w 5719680"/>
                <a:gd name="connsiteY577" fmla="*/ 5326569 h 5704395"/>
                <a:gd name="connsiteX578" fmla="*/ 778802 w 5719680"/>
                <a:gd name="connsiteY578" fmla="*/ 5358575 h 5704395"/>
                <a:gd name="connsiteX579" fmla="*/ 812152 w 5719680"/>
                <a:gd name="connsiteY579" fmla="*/ 5362060 h 5704395"/>
                <a:gd name="connsiteX580" fmla="*/ 811834 w 5719680"/>
                <a:gd name="connsiteY580" fmla="*/ 5329104 h 5704395"/>
                <a:gd name="connsiteX581" fmla="*/ 778484 w 5719680"/>
                <a:gd name="connsiteY581" fmla="*/ 5326569 h 5704395"/>
                <a:gd name="connsiteX582" fmla="*/ 1039884 w 5719680"/>
                <a:gd name="connsiteY582" fmla="*/ 5323400 h 5704395"/>
                <a:gd name="connsiteX583" fmla="*/ 1009075 w 5719680"/>
                <a:gd name="connsiteY583" fmla="*/ 5327520 h 5704395"/>
                <a:gd name="connsiteX584" fmla="*/ 1009075 w 5719680"/>
                <a:gd name="connsiteY584" fmla="*/ 5347167 h 5704395"/>
                <a:gd name="connsiteX585" fmla="*/ 1009075 w 5719680"/>
                <a:gd name="connsiteY585" fmla="*/ 5361427 h 5704395"/>
                <a:gd name="connsiteX586" fmla="*/ 1024003 w 5719680"/>
                <a:gd name="connsiteY586" fmla="*/ 5359525 h 5704395"/>
                <a:gd name="connsiteX587" fmla="*/ 1039567 w 5719680"/>
                <a:gd name="connsiteY587" fmla="*/ 5357307 h 5704395"/>
                <a:gd name="connsiteX588" fmla="*/ 1043378 w 5719680"/>
                <a:gd name="connsiteY588" fmla="*/ 5356673 h 5704395"/>
                <a:gd name="connsiteX589" fmla="*/ 1042743 w 5719680"/>
                <a:gd name="connsiteY589" fmla="*/ 5351920 h 5704395"/>
                <a:gd name="connsiteX590" fmla="*/ 1039884 w 5719680"/>
                <a:gd name="connsiteY590" fmla="*/ 5323400 h 5704395"/>
                <a:gd name="connsiteX591" fmla="*/ 708608 w 5719680"/>
                <a:gd name="connsiteY591" fmla="*/ 5321499 h 5704395"/>
                <a:gd name="connsiteX592" fmla="*/ 699079 w 5719680"/>
                <a:gd name="connsiteY592" fmla="*/ 5438747 h 5704395"/>
                <a:gd name="connsiteX593" fmla="*/ 774990 w 5719680"/>
                <a:gd name="connsiteY593" fmla="*/ 5451106 h 5704395"/>
                <a:gd name="connsiteX594" fmla="*/ 774673 w 5719680"/>
                <a:gd name="connsiteY594" fmla="*/ 5401038 h 5704395"/>
                <a:gd name="connsiteX595" fmla="*/ 703526 w 5719680"/>
                <a:gd name="connsiteY595" fmla="*/ 5396601 h 5704395"/>
                <a:gd name="connsiteX596" fmla="*/ 703844 w 5719680"/>
                <a:gd name="connsiteY596" fmla="*/ 5392165 h 5704395"/>
                <a:gd name="connsiteX597" fmla="*/ 774673 w 5719680"/>
                <a:gd name="connsiteY597" fmla="*/ 5396601 h 5704395"/>
                <a:gd name="connsiteX598" fmla="*/ 774673 w 5719680"/>
                <a:gd name="connsiteY598" fmla="*/ 5362377 h 5704395"/>
                <a:gd name="connsiteX599" fmla="*/ 706067 w 5719680"/>
                <a:gd name="connsiteY599" fmla="*/ 5355406 h 5704395"/>
                <a:gd name="connsiteX600" fmla="*/ 706385 w 5719680"/>
                <a:gd name="connsiteY600" fmla="*/ 5350969 h 5704395"/>
                <a:gd name="connsiteX601" fmla="*/ 774673 w 5719680"/>
                <a:gd name="connsiteY601" fmla="*/ 5357941 h 5704395"/>
                <a:gd name="connsiteX602" fmla="*/ 774355 w 5719680"/>
                <a:gd name="connsiteY602" fmla="*/ 5326252 h 5704395"/>
                <a:gd name="connsiteX603" fmla="*/ 708608 w 5719680"/>
                <a:gd name="connsiteY603" fmla="*/ 5321499 h 5704395"/>
                <a:gd name="connsiteX604" fmla="*/ 359545 w 5719680"/>
                <a:gd name="connsiteY604" fmla="*/ 5314210 h 5704395"/>
                <a:gd name="connsiteX605" fmla="*/ 324607 w 5719680"/>
                <a:gd name="connsiteY605" fmla="*/ 5318647 h 5704395"/>
                <a:gd name="connsiteX606" fmla="*/ 329053 w 5719680"/>
                <a:gd name="connsiteY606" fmla="*/ 5353821 h 5704395"/>
                <a:gd name="connsiteX607" fmla="*/ 364309 w 5719680"/>
                <a:gd name="connsiteY607" fmla="*/ 5349385 h 5704395"/>
                <a:gd name="connsiteX608" fmla="*/ 359545 w 5719680"/>
                <a:gd name="connsiteY608" fmla="*/ 5314210 h 5704395"/>
                <a:gd name="connsiteX609" fmla="*/ 811516 w 5719680"/>
                <a:gd name="connsiteY609" fmla="*/ 5312943 h 5704395"/>
                <a:gd name="connsiteX610" fmla="*/ 778484 w 5719680"/>
                <a:gd name="connsiteY610" fmla="*/ 5313577 h 5704395"/>
                <a:gd name="connsiteX611" fmla="*/ 778484 w 5719680"/>
                <a:gd name="connsiteY611" fmla="*/ 5322133 h 5704395"/>
                <a:gd name="connsiteX612" fmla="*/ 811834 w 5719680"/>
                <a:gd name="connsiteY612" fmla="*/ 5324668 h 5704395"/>
                <a:gd name="connsiteX613" fmla="*/ 811516 w 5719680"/>
                <a:gd name="connsiteY613" fmla="*/ 5312943 h 5704395"/>
                <a:gd name="connsiteX614" fmla="*/ 363356 w 5719680"/>
                <a:gd name="connsiteY614" fmla="*/ 5309774 h 5704395"/>
                <a:gd name="connsiteX615" fmla="*/ 368756 w 5719680"/>
                <a:gd name="connsiteY615" fmla="*/ 5352871 h 5704395"/>
                <a:gd name="connsiteX616" fmla="*/ 325242 w 5719680"/>
                <a:gd name="connsiteY616" fmla="*/ 5358575 h 5704395"/>
                <a:gd name="connsiteX617" fmla="*/ 319842 w 5719680"/>
                <a:gd name="connsiteY617" fmla="*/ 5315161 h 5704395"/>
                <a:gd name="connsiteX618" fmla="*/ 321748 w 5719680"/>
                <a:gd name="connsiteY618" fmla="*/ 5314844 h 5704395"/>
                <a:gd name="connsiteX619" fmla="*/ 363356 w 5719680"/>
                <a:gd name="connsiteY619" fmla="*/ 5309774 h 5704395"/>
                <a:gd name="connsiteX620" fmla="*/ 1965425 w 5719680"/>
                <a:gd name="connsiteY620" fmla="*/ 5304070 h 5704395"/>
                <a:gd name="connsiteX621" fmla="*/ 1955897 w 5719680"/>
                <a:gd name="connsiteY621" fmla="*/ 5316745 h 5704395"/>
                <a:gd name="connsiteX622" fmla="*/ 1987659 w 5719680"/>
                <a:gd name="connsiteY622" fmla="*/ 5340512 h 5704395"/>
                <a:gd name="connsiteX623" fmla="*/ 1997187 w 5719680"/>
                <a:gd name="connsiteY623" fmla="*/ 5327837 h 5704395"/>
                <a:gd name="connsiteX624" fmla="*/ 1965425 w 5719680"/>
                <a:gd name="connsiteY624" fmla="*/ 5304070 h 5704395"/>
                <a:gd name="connsiteX625" fmla="*/ 1964472 w 5719680"/>
                <a:gd name="connsiteY625" fmla="*/ 5298366 h 5704395"/>
                <a:gd name="connsiteX626" fmla="*/ 1966061 w 5719680"/>
                <a:gd name="connsiteY626" fmla="*/ 5299634 h 5704395"/>
                <a:gd name="connsiteX627" fmla="*/ 2002904 w 5719680"/>
                <a:gd name="connsiteY627" fmla="*/ 5327203 h 5704395"/>
                <a:gd name="connsiteX628" fmla="*/ 1988612 w 5719680"/>
                <a:gd name="connsiteY628" fmla="*/ 5346216 h 5704395"/>
                <a:gd name="connsiteX629" fmla="*/ 1950180 w 5719680"/>
                <a:gd name="connsiteY629" fmla="*/ 5317379 h 5704395"/>
                <a:gd name="connsiteX630" fmla="*/ 1964472 w 5719680"/>
                <a:gd name="connsiteY630" fmla="*/ 5298366 h 5704395"/>
                <a:gd name="connsiteX631" fmla="*/ 3660557 w 5719680"/>
                <a:gd name="connsiteY631" fmla="*/ 5295514 h 5704395"/>
                <a:gd name="connsiteX632" fmla="*/ 3633560 w 5719680"/>
                <a:gd name="connsiteY632" fmla="*/ 5326252 h 5704395"/>
                <a:gd name="connsiteX633" fmla="*/ 3653887 w 5719680"/>
                <a:gd name="connsiteY633" fmla="*/ 5343998 h 5704395"/>
                <a:gd name="connsiteX634" fmla="*/ 3680885 w 5719680"/>
                <a:gd name="connsiteY634" fmla="*/ 5313260 h 5704395"/>
                <a:gd name="connsiteX635" fmla="*/ 308726 w 5719680"/>
                <a:gd name="connsiteY635" fmla="*/ 5293930 h 5704395"/>
                <a:gd name="connsiteX636" fmla="*/ 298244 w 5719680"/>
                <a:gd name="connsiteY636" fmla="*/ 5327520 h 5704395"/>
                <a:gd name="connsiteX637" fmla="*/ 287763 w 5719680"/>
                <a:gd name="connsiteY637" fmla="*/ 5357307 h 5704395"/>
                <a:gd name="connsiteX638" fmla="*/ 329689 w 5719680"/>
                <a:gd name="connsiteY638" fmla="*/ 5390580 h 5704395"/>
                <a:gd name="connsiteX639" fmla="*/ 372567 w 5719680"/>
                <a:gd name="connsiteY639" fmla="*/ 5361110 h 5704395"/>
                <a:gd name="connsiteX640" fmla="*/ 402741 w 5719680"/>
                <a:gd name="connsiteY640" fmla="*/ 5339561 h 5704395"/>
                <a:gd name="connsiteX641" fmla="*/ 412587 w 5719680"/>
                <a:gd name="connsiteY641" fmla="*/ 5332273 h 5704395"/>
                <a:gd name="connsiteX642" fmla="*/ 413858 w 5719680"/>
                <a:gd name="connsiteY642" fmla="*/ 5331322 h 5704395"/>
                <a:gd name="connsiteX643" fmla="*/ 406870 w 5719680"/>
                <a:gd name="connsiteY643" fmla="*/ 5311675 h 5704395"/>
                <a:gd name="connsiteX644" fmla="*/ 408140 w 5719680"/>
                <a:gd name="connsiteY644" fmla="*/ 5303753 h 5704395"/>
                <a:gd name="connsiteX645" fmla="*/ 710831 w 5719680"/>
                <a:gd name="connsiteY645" fmla="*/ 5292662 h 5704395"/>
                <a:gd name="connsiteX646" fmla="*/ 708925 w 5719680"/>
                <a:gd name="connsiteY646" fmla="*/ 5317062 h 5704395"/>
                <a:gd name="connsiteX647" fmla="*/ 774355 w 5719680"/>
                <a:gd name="connsiteY647" fmla="*/ 5321816 h 5704395"/>
                <a:gd name="connsiteX648" fmla="*/ 774355 w 5719680"/>
                <a:gd name="connsiteY648" fmla="*/ 5309457 h 5704395"/>
                <a:gd name="connsiteX649" fmla="*/ 815645 w 5719680"/>
                <a:gd name="connsiteY649" fmla="*/ 5308823 h 5704395"/>
                <a:gd name="connsiteX650" fmla="*/ 815963 w 5719680"/>
                <a:gd name="connsiteY650" fmla="*/ 5310725 h 5704395"/>
                <a:gd name="connsiteX651" fmla="*/ 815963 w 5719680"/>
                <a:gd name="connsiteY651" fmla="*/ 5324985 h 5704395"/>
                <a:gd name="connsiteX652" fmla="*/ 817233 w 5719680"/>
                <a:gd name="connsiteY652" fmla="*/ 5325301 h 5704395"/>
                <a:gd name="connsiteX653" fmla="*/ 816916 w 5719680"/>
                <a:gd name="connsiteY653" fmla="*/ 5305021 h 5704395"/>
                <a:gd name="connsiteX654" fmla="*/ 780390 w 5719680"/>
                <a:gd name="connsiteY654" fmla="*/ 5303753 h 5704395"/>
                <a:gd name="connsiteX655" fmla="*/ 710831 w 5719680"/>
                <a:gd name="connsiteY655" fmla="*/ 5292662 h 5704395"/>
                <a:gd name="connsiteX656" fmla="*/ 3660240 w 5719680"/>
                <a:gd name="connsiteY656" fmla="*/ 5289810 h 5704395"/>
                <a:gd name="connsiteX657" fmla="*/ 3686920 w 5719680"/>
                <a:gd name="connsiteY657" fmla="*/ 5312943 h 5704395"/>
                <a:gd name="connsiteX658" fmla="*/ 3654205 w 5719680"/>
                <a:gd name="connsiteY658" fmla="*/ 5349702 h 5704395"/>
                <a:gd name="connsiteX659" fmla="*/ 3627842 w 5719680"/>
                <a:gd name="connsiteY659" fmla="*/ 5326569 h 5704395"/>
                <a:gd name="connsiteX660" fmla="*/ 3629113 w 5719680"/>
                <a:gd name="connsiteY660" fmla="*/ 5324985 h 5704395"/>
                <a:gd name="connsiteX661" fmla="*/ 938881 w 5719680"/>
                <a:gd name="connsiteY661" fmla="*/ 5287592 h 5704395"/>
                <a:gd name="connsiteX662" fmla="*/ 837879 w 5719680"/>
                <a:gd name="connsiteY662" fmla="*/ 5298683 h 5704395"/>
                <a:gd name="connsiteX663" fmla="*/ 838196 w 5719680"/>
                <a:gd name="connsiteY663" fmla="*/ 5361427 h 5704395"/>
                <a:gd name="connsiteX664" fmla="*/ 838832 w 5719680"/>
                <a:gd name="connsiteY664" fmla="*/ 5409277 h 5704395"/>
                <a:gd name="connsiteX665" fmla="*/ 945869 w 5719680"/>
                <a:gd name="connsiteY665" fmla="*/ 5390897 h 5704395"/>
                <a:gd name="connsiteX666" fmla="*/ 944916 w 5719680"/>
                <a:gd name="connsiteY666" fmla="*/ 5374419 h 5704395"/>
                <a:gd name="connsiteX667" fmla="*/ 908390 w 5719680"/>
                <a:gd name="connsiteY667" fmla="*/ 5379489 h 5704395"/>
                <a:gd name="connsiteX668" fmla="*/ 906484 w 5719680"/>
                <a:gd name="connsiteY668" fmla="*/ 5379806 h 5704395"/>
                <a:gd name="connsiteX669" fmla="*/ 900132 w 5719680"/>
                <a:gd name="connsiteY669" fmla="*/ 5337660 h 5704395"/>
                <a:gd name="connsiteX670" fmla="*/ 942058 w 5719680"/>
                <a:gd name="connsiteY670" fmla="*/ 5332273 h 5704395"/>
                <a:gd name="connsiteX671" fmla="*/ 939834 w 5719680"/>
                <a:gd name="connsiteY671" fmla="*/ 5297415 h 5704395"/>
                <a:gd name="connsiteX672" fmla="*/ 938881 w 5719680"/>
                <a:gd name="connsiteY672" fmla="*/ 5287592 h 5704395"/>
                <a:gd name="connsiteX673" fmla="*/ 1975589 w 5719680"/>
                <a:gd name="connsiteY673" fmla="*/ 5287275 h 5704395"/>
                <a:gd name="connsiteX674" fmla="*/ 1924135 w 5719680"/>
                <a:gd name="connsiteY674" fmla="*/ 5300901 h 5704395"/>
                <a:gd name="connsiteX675" fmla="*/ 1922229 w 5719680"/>
                <a:gd name="connsiteY675" fmla="*/ 5300901 h 5704395"/>
                <a:gd name="connsiteX676" fmla="*/ 1922864 w 5719680"/>
                <a:gd name="connsiteY676" fmla="*/ 5355406 h 5704395"/>
                <a:gd name="connsiteX677" fmla="*/ 1922547 w 5719680"/>
                <a:gd name="connsiteY677" fmla="*/ 5396918 h 5704395"/>
                <a:gd name="connsiteX678" fmla="*/ 1982259 w 5719680"/>
                <a:gd name="connsiteY678" fmla="*/ 5400404 h 5704395"/>
                <a:gd name="connsiteX679" fmla="*/ 2000681 w 5719680"/>
                <a:gd name="connsiteY679" fmla="*/ 5389630 h 5704395"/>
                <a:gd name="connsiteX680" fmla="*/ 2001634 w 5719680"/>
                <a:gd name="connsiteY680" fmla="*/ 5389313 h 5704395"/>
                <a:gd name="connsiteX681" fmla="*/ 2033396 w 5719680"/>
                <a:gd name="connsiteY681" fmla="*/ 5396918 h 5704395"/>
                <a:gd name="connsiteX682" fmla="*/ 2065158 w 5719680"/>
                <a:gd name="connsiteY682" fmla="*/ 5404207 h 5704395"/>
                <a:gd name="connsiteX683" fmla="*/ 2065158 w 5719680"/>
                <a:gd name="connsiteY683" fmla="*/ 5405318 h 5704395"/>
                <a:gd name="connsiteX684" fmla="*/ 2064840 w 5719680"/>
                <a:gd name="connsiteY684" fmla="*/ 5404207 h 5704395"/>
                <a:gd name="connsiteX685" fmla="*/ 2065158 w 5719680"/>
                <a:gd name="connsiteY685" fmla="*/ 5405474 h 5704395"/>
                <a:gd name="connsiteX686" fmla="*/ 2065158 w 5719680"/>
                <a:gd name="connsiteY686" fmla="*/ 5405318 h 5704395"/>
                <a:gd name="connsiteX687" fmla="*/ 2065475 w 5719680"/>
                <a:gd name="connsiteY687" fmla="*/ 5406425 h 5704395"/>
                <a:gd name="connsiteX688" fmla="*/ 2068652 w 5719680"/>
                <a:gd name="connsiteY688" fmla="*/ 5388996 h 5704395"/>
                <a:gd name="connsiteX689" fmla="*/ 2071192 w 5719680"/>
                <a:gd name="connsiteY689" fmla="*/ 5376320 h 5704395"/>
                <a:gd name="connsiteX690" fmla="*/ 2071828 w 5719680"/>
                <a:gd name="connsiteY690" fmla="*/ 5372835 h 5704395"/>
                <a:gd name="connsiteX691" fmla="*/ 2071828 w 5719680"/>
                <a:gd name="connsiteY691" fmla="*/ 5372518 h 5704395"/>
                <a:gd name="connsiteX692" fmla="*/ 1975589 w 5719680"/>
                <a:gd name="connsiteY692" fmla="*/ 5287275 h 5704395"/>
                <a:gd name="connsiteX693" fmla="*/ 2007986 w 5719680"/>
                <a:gd name="connsiteY693" fmla="*/ 5284423 h 5704395"/>
                <a:gd name="connsiteX694" fmla="*/ 1998458 w 5719680"/>
                <a:gd name="connsiteY694" fmla="*/ 5297098 h 5704395"/>
                <a:gd name="connsiteX695" fmla="*/ 2030537 w 5719680"/>
                <a:gd name="connsiteY695" fmla="*/ 5320865 h 5704395"/>
                <a:gd name="connsiteX696" fmla="*/ 2039748 w 5719680"/>
                <a:gd name="connsiteY696" fmla="*/ 5308190 h 5704395"/>
                <a:gd name="connsiteX697" fmla="*/ 2007986 w 5719680"/>
                <a:gd name="connsiteY697" fmla="*/ 5284423 h 5704395"/>
                <a:gd name="connsiteX698" fmla="*/ 1003993 w 5719680"/>
                <a:gd name="connsiteY698" fmla="*/ 5279986 h 5704395"/>
                <a:gd name="connsiteX699" fmla="*/ 943328 w 5719680"/>
                <a:gd name="connsiteY699" fmla="*/ 5286958 h 5704395"/>
                <a:gd name="connsiteX700" fmla="*/ 946504 w 5719680"/>
                <a:gd name="connsiteY700" fmla="*/ 5331639 h 5704395"/>
                <a:gd name="connsiteX701" fmla="*/ 1004629 w 5719680"/>
                <a:gd name="connsiteY701" fmla="*/ 5324034 h 5704395"/>
                <a:gd name="connsiteX702" fmla="*/ 1004311 w 5719680"/>
                <a:gd name="connsiteY702" fmla="*/ 5299317 h 5704395"/>
                <a:gd name="connsiteX703" fmla="*/ 1003993 w 5719680"/>
                <a:gd name="connsiteY703" fmla="*/ 5281888 h 5704395"/>
                <a:gd name="connsiteX704" fmla="*/ 1003993 w 5719680"/>
                <a:gd name="connsiteY704" fmla="*/ 5279986 h 5704395"/>
                <a:gd name="connsiteX705" fmla="*/ 68924 w 5719680"/>
                <a:gd name="connsiteY705" fmla="*/ 5276501 h 5704395"/>
                <a:gd name="connsiteX706" fmla="*/ 48914 w 5719680"/>
                <a:gd name="connsiteY706" fmla="*/ 5302486 h 5704395"/>
                <a:gd name="connsiteX707" fmla="*/ 70194 w 5719680"/>
                <a:gd name="connsiteY707" fmla="*/ 5319281 h 5704395"/>
                <a:gd name="connsiteX708" fmla="*/ 81946 w 5719680"/>
                <a:gd name="connsiteY708" fmla="*/ 5304387 h 5704395"/>
                <a:gd name="connsiteX709" fmla="*/ 70512 w 5719680"/>
                <a:gd name="connsiteY709" fmla="*/ 5294880 h 5704395"/>
                <a:gd name="connsiteX710" fmla="*/ 78770 w 5719680"/>
                <a:gd name="connsiteY710" fmla="*/ 5284423 h 5704395"/>
                <a:gd name="connsiteX711" fmla="*/ 3466810 w 5719680"/>
                <a:gd name="connsiteY711" fmla="*/ 5274599 h 5704395"/>
                <a:gd name="connsiteX712" fmla="*/ 3434095 w 5719680"/>
                <a:gd name="connsiteY712" fmla="*/ 5299317 h 5704395"/>
                <a:gd name="connsiteX713" fmla="*/ 3450294 w 5719680"/>
                <a:gd name="connsiteY713" fmla="*/ 5320865 h 5704395"/>
                <a:gd name="connsiteX714" fmla="*/ 3483008 w 5719680"/>
                <a:gd name="connsiteY714" fmla="*/ 5296148 h 5704395"/>
                <a:gd name="connsiteX715" fmla="*/ 3466810 w 5719680"/>
                <a:gd name="connsiteY715" fmla="*/ 5274599 h 5704395"/>
                <a:gd name="connsiteX716" fmla="*/ 1062435 w 5719680"/>
                <a:gd name="connsiteY716" fmla="*/ 5271747 h 5704395"/>
                <a:gd name="connsiteX717" fmla="*/ 1008440 w 5719680"/>
                <a:gd name="connsiteY717" fmla="*/ 5279353 h 5704395"/>
                <a:gd name="connsiteX718" fmla="*/ 1009075 w 5719680"/>
                <a:gd name="connsiteY718" fmla="*/ 5323400 h 5704395"/>
                <a:gd name="connsiteX719" fmla="*/ 1043696 w 5719680"/>
                <a:gd name="connsiteY719" fmla="*/ 5318647 h 5704395"/>
                <a:gd name="connsiteX720" fmla="*/ 1044013 w 5719680"/>
                <a:gd name="connsiteY720" fmla="*/ 5320865 h 5704395"/>
                <a:gd name="connsiteX721" fmla="*/ 1045601 w 5719680"/>
                <a:gd name="connsiteY721" fmla="*/ 5339561 h 5704395"/>
                <a:gd name="connsiteX722" fmla="*/ 1046872 w 5719680"/>
                <a:gd name="connsiteY722" fmla="*/ 5352237 h 5704395"/>
                <a:gd name="connsiteX723" fmla="*/ 1047507 w 5719680"/>
                <a:gd name="connsiteY723" fmla="*/ 5356356 h 5704395"/>
                <a:gd name="connsiteX724" fmla="*/ 1047507 w 5719680"/>
                <a:gd name="connsiteY724" fmla="*/ 5357307 h 5704395"/>
                <a:gd name="connsiteX725" fmla="*/ 1047825 w 5719680"/>
                <a:gd name="connsiteY725" fmla="*/ 5357307 h 5704395"/>
                <a:gd name="connsiteX726" fmla="*/ 1047825 w 5719680"/>
                <a:gd name="connsiteY726" fmla="*/ 5358892 h 5704395"/>
                <a:gd name="connsiteX727" fmla="*/ 1047825 w 5719680"/>
                <a:gd name="connsiteY727" fmla="*/ 5359525 h 5704395"/>
                <a:gd name="connsiteX728" fmla="*/ 1047190 w 5719680"/>
                <a:gd name="connsiteY728" fmla="*/ 5360159 h 5704395"/>
                <a:gd name="connsiteX729" fmla="*/ 1046554 w 5719680"/>
                <a:gd name="connsiteY729" fmla="*/ 5360476 h 5704395"/>
                <a:gd name="connsiteX730" fmla="*/ 1046237 w 5719680"/>
                <a:gd name="connsiteY730" fmla="*/ 5360476 h 5704395"/>
                <a:gd name="connsiteX731" fmla="*/ 1009075 w 5719680"/>
                <a:gd name="connsiteY731" fmla="*/ 5365546 h 5704395"/>
                <a:gd name="connsiteX732" fmla="*/ 1009075 w 5719680"/>
                <a:gd name="connsiteY732" fmla="*/ 5380123 h 5704395"/>
                <a:gd name="connsiteX733" fmla="*/ 1076728 w 5719680"/>
                <a:gd name="connsiteY733" fmla="*/ 5368398 h 5704395"/>
                <a:gd name="connsiteX734" fmla="*/ 1069423 w 5719680"/>
                <a:gd name="connsiteY734" fmla="*/ 5318647 h 5704395"/>
                <a:gd name="connsiteX735" fmla="*/ 1064023 w 5719680"/>
                <a:gd name="connsiteY735" fmla="*/ 5282205 h 5704395"/>
                <a:gd name="connsiteX736" fmla="*/ 1062435 w 5719680"/>
                <a:gd name="connsiteY736" fmla="*/ 5271747 h 5704395"/>
                <a:gd name="connsiteX737" fmla="*/ 3467762 w 5719680"/>
                <a:gd name="connsiteY737" fmla="*/ 5268895 h 5704395"/>
                <a:gd name="connsiteX738" fmla="*/ 3488725 w 5719680"/>
                <a:gd name="connsiteY738" fmla="*/ 5297098 h 5704395"/>
                <a:gd name="connsiteX739" fmla="*/ 3449340 w 5719680"/>
                <a:gd name="connsiteY739" fmla="*/ 5326569 h 5704395"/>
                <a:gd name="connsiteX740" fmla="*/ 3428378 w 5719680"/>
                <a:gd name="connsiteY740" fmla="*/ 5298366 h 5704395"/>
                <a:gd name="connsiteX741" fmla="*/ 3429966 w 5719680"/>
                <a:gd name="connsiteY741" fmla="*/ 5297098 h 5704395"/>
                <a:gd name="connsiteX742" fmla="*/ 480875 w 5719680"/>
                <a:gd name="connsiteY742" fmla="*/ 5268262 h 5704395"/>
                <a:gd name="connsiteX743" fmla="*/ 462453 w 5719680"/>
                <a:gd name="connsiteY743" fmla="*/ 5291078 h 5704395"/>
                <a:gd name="connsiteX744" fmla="*/ 489133 w 5719680"/>
                <a:gd name="connsiteY744" fmla="*/ 5312626 h 5704395"/>
                <a:gd name="connsiteX745" fmla="*/ 506602 w 5719680"/>
                <a:gd name="connsiteY745" fmla="*/ 5290444 h 5704395"/>
                <a:gd name="connsiteX746" fmla="*/ 486910 w 5719680"/>
                <a:gd name="connsiteY746" fmla="*/ 5273649 h 5704395"/>
                <a:gd name="connsiteX747" fmla="*/ 480875 w 5719680"/>
                <a:gd name="connsiteY747" fmla="*/ 5268262 h 5704395"/>
                <a:gd name="connsiteX748" fmla="*/ 56536 w 5719680"/>
                <a:gd name="connsiteY748" fmla="*/ 5266360 h 5704395"/>
                <a:gd name="connsiteX749" fmla="*/ 47961 w 5719680"/>
                <a:gd name="connsiteY749" fmla="*/ 5277134 h 5704395"/>
                <a:gd name="connsiteX750" fmla="*/ 36209 w 5719680"/>
                <a:gd name="connsiteY750" fmla="*/ 5267945 h 5704395"/>
                <a:gd name="connsiteX751" fmla="*/ 24457 w 5719680"/>
                <a:gd name="connsiteY751" fmla="*/ 5282838 h 5704395"/>
                <a:gd name="connsiteX752" fmla="*/ 45420 w 5719680"/>
                <a:gd name="connsiteY752" fmla="*/ 5299634 h 5704395"/>
                <a:gd name="connsiteX753" fmla="*/ 65430 w 5719680"/>
                <a:gd name="connsiteY753" fmla="*/ 5273649 h 5704395"/>
                <a:gd name="connsiteX754" fmla="*/ 56536 w 5719680"/>
                <a:gd name="connsiteY754" fmla="*/ 5266360 h 5704395"/>
                <a:gd name="connsiteX755" fmla="*/ 1995599 w 5719680"/>
                <a:gd name="connsiteY755" fmla="*/ 5265727 h 5704395"/>
                <a:gd name="connsiteX756" fmla="*/ 1985435 w 5719680"/>
                <a:gd name="connsiteY756" fmla="*/ 5279353 h 5704395"/>
                <a:gd name="connsiteX757" fmla="*/ 1979401 w 5719680"/>
                <a:gd name="connsiteY757" fmla="*/ 5284423 h 5704395"/>
                <a:gd name="connsiteX758" fmla="*/ 1993376 w 5719680"/>
                <a:gd name="connsiteY758" fmla="*/ 5297098 h 5704395"/>
                <a:gd name="connsiteX759" fmla="*/ 2007351 w 5719680"/>
                <a:gd name="connsiteY759" fmla="*/ 5278719 h 5704395"/>
                <a:gd name="connsiteX760" fmla="*/ 2008939 w 5719680"/>
                <a:gd name="connsiteY760" fmla="*/ 5279986 h 5704395"/>
                <a:gd name="connsiteX761" fmla="*/ 2045783 w 5719680"/>
                <a:gd name="connsiteY761" fmla="*/ 5307556 h 5704395"/>
                <a:gd name="connsiteX762" fmla="*/ 2031172 w 5719680"/>
                <a:gd name="connsiteY762" fmla="*/ 5326569 h 5704395"/>
                <a:gd name="connsiteX763" fmla="*/ 2002269 w 5719680"/>
                <a:gd name="connsiteY763" fmla="*/ 5305021 h 5704395"/>
                <a:gd name="connsiteX764" fmla="*/ 2074686 w 5719680"/>
                <a:gd name="connsiteY764" fmla="*/ 5369349 h 5704395"/>
                <a:gd name="connsiteX765" fmla="*/ 2107083 w 5719680"/>
                <a:gd name="connsiteY765" fmla="*/ 5348117 h 5704395"/>
                <a:gd name="connsiteX766" fmla="*/ 2138528 w 5719680"/>
                <a:gd name="connsiteY766" fmla="*/ 5327520 h 5704395"/>
                <a:gd name="connsiteX767" fmla="*/ 2134398 w 5719680"/>
                <a:gd name="connsiteY767" fmla="*/ 5297415 h 5704395"/>
                <a:gd name="connsiteX768" fmla="*/ 1995599 w 5719680"/>
                <a:gd name="connsiteY768" fmla="*/ 5265727 h 5704395"/>
                <a:gd name="connsiteX769" fmla="*/ 3306094 w 5719680"/>
                <a:gd name="connsiteY769" fmla="*/ 5262241 h 5704395"/>
                <a:gd name="connsiteX770" fmla="*/ 3306412 w 5719680"/>
                <a:gd name="connsiteY770" fmla="*/ 5289176 h 5704395"/>
                <a:gd name="connsiteX771" fmla="*/ 3347385 w 5719680"/>
                <a:gd name="connsiteY771" fmla="*/ 5288859 h 5704395"/>
                <a:gd name="connsiteX772" fmla="*/ 3347067 w 5719680"/>
                <a:gd name="connsiteY772" fmla="*/ 5262241 h 5704395"/>
                <a:gd name="connsiteX773" fmla="*/ 3306094 w 5719680"/>
                <a:gd name="connsiteY773" fmla="*/ 5262241 h 5704395"/>
                <a:gd name="connsiteX774" fmla="*/ 661283 w 5719680"/>
                <a:gd name="connsiteY774" fmla="*/ 5258755 h 5704395"/>
                <a:gd name="connsiteX775" fmla="*/ 642543 w 5719680"/>
                <a:gd name="connsiteY775" fmla="*/ 5319597 h 5704395"/>
                <a:gd name="connsiteX776" fmla="*/ 628886 w 5719680"/>
                <a:gd name="connsiteY776" fmla="*/ 5363962 h 5704395"/>
                <a:gd name="connsiteX777" fmla="*/ 624121 w 5719680"/>
                <a:gd name="connsiteY777" fmla="*/ 5378539 h 5704395"/>
                <a:gd name="connsiteX778" fmla="*/ 622533 w 5719680"/>
                <a:gd name="connsiteY778" fmla="*/ 5382658 h 5704395"/>
                <a:gd name="connsiteX779" fmla="*/ 621898 w 5719680"/>
                <a:gd name="connsiteY779" fmla="*/ 5383926 h 5704395"/>
                <a:gd name="connsiteX780" fmla="*/ 621580 w 5719680"/>
                <a:gd name="connsiteY780" fmla="*/ 5384243 h 5704395"/>
                <a:gd name="connsiteX781" fmla="*/ 620627 w 5719680"/>
                <a:gd name="connsiteY781" fmla="*/ 5385193 h 5704395"/>
                <a:gd name="connsiteX782" fmla="*/ 619992 w 5719680"/>
                <a:gd name="connsiteY782" fmla="*/ 5385510 h 5704395"/>
                <a:gd name="connsiteX783" fmla="*/ 599029 w 5719680"/>
                <a:gd name="connsiteY783" fmla="*/ 5405474 h 5704395"/>
                <a:gd name="connsiteX784" fmla="*/ 583784 w 5719680"/>
                <a:gd name="connsiteY784" fmla="*/ 5420685 h 5704395"/>
                <a:gd name="connsiteX785" fmla="*/ 593947 w 5719680"/>
                <a:gd name="connsiteY785" fmla="*/ 5435578 h 5704395"/>
                <a:gd name="connsiteX786" fmla="*/ 604429 w 5719680"/>
                <a:gd name="connsiteY786" fmla="*/ 5462514 h 5704395"/>
                <a:gd name="connsiteX787" fmla="*/ 606970 w 5719680"/>
                <a:gd name="connsiteY787" fmla="*/ 5471387 h 5704395"/>
                <a:gd name="connsiteX788" fmla="*/ 607605 w 5719680"/>
                <a:gd name="connsiteY788" fmla="*/ 5472654 h 5704395"/>
                <a:gd name="connsiteX789" fmla="*/ 690504 w 5719680"/>
                <a:gd name="connsiteY789" fmla="*/ 5487548 h 5704395"/>
                <a:gd name="connsiteX790" fmla="*/ 694315 w 5719680"/>
                <a:gd name="connsiteY790" fmla="*/ 5442233 h 5704395"/>
                <a:gd name="connsiteX791" fmla="*/ 693997 w 5719680"/>
                <a:gd name="connsiteY791" fmla="*/ 5442233 h 5704395"/>
                <a:gd name="connsiteX792" fmla="*/ 694633 w 5719680"/>
                <a:gd name="connsiteY792" fmla="*/ 5437797 h 5704395"/>
                <a:gd name="connsiteX793" fmla="*/ 694633 w 5719680"/>
                <a:gd name="connsiteY793" fmla="*/ 5438114 h 5704395"/>
                <a:gd name="connsiteX794" fmla="*/ 706385 w 5719680"/>
                <a:gd name="connsiteY794" fmla="*/ 5290761 h 5704395"/>
                <a:gd name="connsiteX795" fmla="*/ 661283 w 5719680"/>
                <a:gd name="connsiteY795" fmla="*/ 5258755 h 5704395"/>
                <a:gd name="connsiteX796" fmla="*/ 3351196 w 5719680"/>
                <a:gd name="connsiteY796" fmla="*/ 5257804 h 5704395"/>
                <a:gd name="connsiteX797" fmla="*/ 3351514 w 5719680"/>
                <a:gd name="connsiteY797" fmla="*/ 5293296 h 5704395"/>
                <a:gd name="connsiteX798" fmla="*/ 3302283 w 5719680"/>
                <a:gd name="connsiteY798" fmla="*/ 5293296 h 5704395"/>
                <a:gd name="connsiteX799" fmla="*/ 3301966 w 5719680"/>
                <a:gd name="connsiteY799" fmla="*/ 5258121 h 5704395"/>
                <a:gd name="connsiteX800" fmla="*/ 3304189 w 5719680"/>
                <a:gd name="connsiteY800" fmla="*/ 5258121 h 5704395"/>
                <a:gd name="connsiteX801" fmla="*/ 468806 w 5719680"/>
                <a:gd name="connsiteY801" fmla="*/ 5257487 h 5704395"/>
                <a:gd name="connsiteX802" fmla="*/ 433550 w 5719680"/>
                <a:gd name="connsiteY802" fmla="*/ 5300584 h 5704395"/>
                <a:gd name="connsiteX803" fmla="*/ 432915 w 5719680"/>
                <a:gd name="connsiteY803" fmla="*/ 5301535 h 5704395"/>
                <a:gd name="connsiteX804" fmla="*/ 427833 w 5719680"/>
                <a:gd name="connsiteY804" fmla="*/ 5311675 h 5704395"/>
                <a:gd name="connsiteX805" fmla="*/ 439267 w 5719680"/>
                <a:gd name="connsiteY805" fmla="*/ 5328153 h 5704395"/>
                <a:gd name="connsiteX806" fmla="*/ 543764 w 5719680"/>
                <a:gd name="connsiteY806" fmla="*/ 5390580 h 5704395"/>
                <a:gd name="connsiteX807" fmla="*/ 580607 w 5719680"/>
                <a:gd name="connsiteY807" fmla="*/ 5417516 h 5704395"/>
                <a:gd name="connsiteX808" fmla="*/ 614910 w 5719680"/>
                <a:gd name="connsiteY808" fmla="*/ 5382658 h 5704395"/>
                <a:gd name="connsiteX809" fmla="*/ 539952 w 5719680"/>
                <a:gd name="connsiteY809" fmla="*/ 5318647 h 5704395"/>
                <a:gd name="connsiteX810" fmla="*/ 509778 w 5719680"/>
                <a:gd name="connsiteY810" fmla="*/ 5293296 h 5704395"/>
                <a:gd name="connsiteX811" fmla="*/ 489768 w 5719680"/>
                <a:gd name="connsiteY811" fmla="*/ 5318330 h 5704395"/>
                <a:gd name="connsiteX812" fmla="*/ 456419 w 5719680"/>
                <a:gd name="connsiteY812" fmla="*/ 5291711 h 5704395"/>
                <a:gd name="connsiteX813" fmla="*/ 477699 w 5719680"/>
                <a:gd name="connsiteY813" fmla="*/ 5265410 h 5704395"/>
                <a:gd name="connsiteX814" fmla="*/ 469441 w 5719680"/>
                <a:gd name="connsiteY814" fmla="*/ 5258121 h 5704395"/>
                <a:gd name="connsiteX815" fmla="*/ 468806 w 5719680"/>
                <a:gd name="connsiteY815" fmla="*/ 5257487 h 5704395"/>
                <a:gd name="connsiteX816" fmla="*/ 3464269 w 5719680"/>
                <a:gd name="connsiteY816" fmla="*/ 5247030 h 5704395"/>
                <a:gd name="connsiteX817" fmla="*/ 3415355 w 5719680"/>
                <a:gd name="connsiteY817" fmla="*/ 5285057 h 5704395"/>
                <a:gd name="connsiteX818" fmla="*/ 3322928 w 5719680"/>
                <a:gd name="connsiteY818" fmla="*/ 5356990 h 5704395"/>
                <a:gd name="connsiteX819" fmla="*/ 3444259 w 5719680"/>
                <a:gd name="connsiteY819" fmla="*/ 5463781 h 5704395"/>
                <a:gd name="connsiteX820" fmla="*/ 3649440 w 5719680"/>
                <a:gd name="connsiteY820" fmla="*/ 5417199 h 5704395"/>
                <a:gd name="connsiteX821" fmla="*/ 3648805 w 5719680"/>
                <a:gd name="connsiteY821" fmla="*/ 5401355 h 5704395"/>
                <a:gd name="connsiteX822" fmla="*/ 3662145 w 5719680"/>
                <a:gd name="connsiteY822" fmla="*/ 5401355 h 5704395"/>
                <a:gd name="connsiteX823" fmla="*/ 3662145 w 5719680"/>
                <a:gd name="connsiteY823" fmla="*/ 5394066 h 5704395"/>
                <a:gd name="connsiteX824" fmla="*/ 3661828 w 5719680"/>
                <a:gd name="connsiteY824" fmla="*/ 5379489 h 5704395"/>
                <a:gd name="connsiteX825" fmla="*/ 3464269 w 5719680"/>
                <a:gd name="connsiteY825" fmla="*/ 5247030 h 5704395"/>
                <a:gd name="connsiteX826" fmla="*/ 2197287 w 5719680"/>
                <a:gd name="connsiteY826" fmla="*/ 5240692 h 5704395"/>
                <a:gd name="connsiteX827" fmla="*/ 2197287 w 5719680"/>
                <a:gd name="connsiteY827" fmla="*/ 5241960 h 5704395"/>
                <a:gd name="connsiteX828" fmla="*/ 2197287 w 5719680"/>
                <a:gd name="connsiteY828" fmla="*/ 5244178 h 5704395"/>
                <a:gd name="connsiteX829" fmla="*/ 2180771 w 5719680"/>
                <a:gd name="connsiteY829" fmla="*/ 5243861 h 5704395"/>
                <a:gd name="connsiteX830" fmla="*/ 2180453 w 5719680"/>
                <a:gd name="connsiteY830" fmla="*/ 5294563 h 5704395"/>
                <a:gd name="connsiteX831" fmla="*/ 2206816 w 5719680"/>
                <a:gd name="connsiteY831" fmla="*/ 5294563 h 5704395"/>
                <a:gd name="connsiteX832" fmla="*/ 2207133 w 5719680"/>
                <a:gd name="connsiteY832" fmla="*/ 5271431 h 5704395"/>
                <a:gd name="connsiteX833" fmla="*/ 2225555 w 5719680"/>
                <a:gd name="connsiteY833" fmla="*/ 5271747 h 5704395"/>
                <a:gd name="connsiteX834" fmla="*/ 2226190 w 5719680"/>
                <a:gd name="connsiteY834" fmla="*/ 5241009 h 5704395"/>
                <a:gd name="connsiteX835" fmla="*/ 2197287 w 5719680"/>
                <a:gd name="connsiteY835" fmla="*/ 5240692 h 5704395"/>
                <a:gd name="connsiteX836" fmla="*/ 553927 w 5719680"/>
                <a:gd name="connsiteY836" fmla="*/ 5238157 h 5704395"/>
                <a:gd name="connsiteX837" fmla="*/ 512637 w 5719680"/>
                <a:gd name="connsiteY837" fmla="*/ 5289810 h 5704395"/>
                <a:gd name="connsiteX838" fmla="*/ 544399 w 5719680"/>
                <a:gd name="connsiteY838" fmla="*/ 5317062 h 5704395"/>
                <a:gd name="connsiteX839" fmla="*/ 618722 w 5719680"/>
                <a:gd name="connsiteY839" fmla="*/ 5380123 h 5704395"/>
                <a:gd name="connsiteX840" fmla="*/ 639685 w 5719680"/>
                <a:gd name="connsiteY840" fmla="*/ 5313577 h 5704395"/>
                <a:gd name="connsiteX841" fmla="*/ 640637 w 5719680"/>
                <a:gd name="connsiteY841" fmla="*/ 5310408 h 5704395"/>
                <a:gd name="connsiteX842" fmla="*/ 553927 w 5719680"/>
                <a:gd name="connsiteY842" fmla="*/ 5238157 h 5704395"/>
                <a:gd name="connsiteX843" fmla="*/ 2193158 w 5719680"/>
                <a:gd name="connsiteY843" fmla="*/ 5236573 h 5704395"/>
                <a:gd name="connsiteX844" fmla="*/ 2230637 w 5719680"/>
                <a:gd name="connsiteY844" fmla="*/ 5236890 h 5704395"/>
                <a:gd name="connsiteX845" fmla="*/ 2229366 w 5719680"/>
                <a:gd name="connsiteY845" fmla="*/ 5275867 h 5704395"/>
                <a:gd name="connsiteX846" fmla="*/ 2227461 w 5719680"/>
                <a:gd name="connsiteY846" fmla="*/ 5275867 h 5704395"/>
                <a:gd name="connsiteX847" fmla="*/ 2211262 w 5719680"/>
                <a:gd name="connsiteY847" fmla="*/ 5275550 h 5704395"/>
                <a:gd name="connsiteX848" fmla="*/ 2211262 w 5719680"/>
                <a:gd name="connsiteY848" fmla="*/ 5298683 h 5704395"/>
                <a:gd name="connsiteX849" fmla="*/ 2176324 w 5719680"/>
                <a:gd name="connsiteY849" fmla="*/ 5298683 h 5704395"/>
                <a:gd name="connsiteX850" fmla="*/ 2176642 w 5719680"/>
                <a:gd name="connsiteY850" fmla="*/ 5239742 h 5704395"/>
                <a:gd name="connsiteX851" fmla="*/ 2193158 w 5719680"/>
                <a:gd name="connsiteY851" fmla="*/ 5240059 h 5704395"/>
                <a:gd name="connsiteX852" fmla="*/ 2193158 w 5719680"/>
                <a:gd name="connsiteY852" fmla="*/ 5238791 h 5704395"/>
                <a:gd name="connsiteX853" fmla="*/ 334135 w 5719680"/>
                <a:gd name="connsiteY853" fmla="*/ 5235939 h 5704395"/>
                <a:gd name="connsiteX854" fmla="*/ 329689 w 5719680"/>
                <a:gd name="connsiteY854" fmla="*/ 5271114 h 5704395"/>
                <a:gd name="connsiteX855" fmla="*/ 364944 w 5719680"/>
                <a:gd name="connsiteY855" fmla="*/ 5275233 h 5704395"/>
                <a:gd name="connsiteX856" fmla="*/ 369073 w 5719680"/>
                <a:gd name="connsiteY856" fmla="*/ 5240375 h 5704395"/>
                <a:gd name="connsiteX857" fmla="*/ 330324 w 5719680"/>
                <a:gd name="connsiteY857" fmla="*/ 5231186 h 5704395"/>
                <a:gd name="connsiteX858" fmla="*/ 332547 w 5719680"/>
                <a:gd name="connsiteY858" fmla="*/ 5231503 h 5704395"/>
                <a:gd name="connsiteX859" fmla="*/ 373838 w 5719680"/>
                <a:gd name="connsiteY859" fmla="*/ 5236573 h 5704395"/>
                <a:gd name="connsiteX860" fmla="*/ 368438 w 5719680"/>
                <a:gd name="connsiteY860" fmla="*/ 5279986 h 5704395"/>
                <a:gd name="connsiteX861" fmla="*/ 324924 w 5719680"/>
                <a:gd name="connsiteY861" fmla="*/ 5274599 h 5704395"/>
                <a:gd name="connsiteX862" fmla="*/ 330324 w 5719680"/>
                <a:gd name="connsiteY862" fmla="*/ 5231186 h 5704395"/>
                <a:gd name="connsiteX863" fmla="*/ 295386 w 5719680"/>
                <a:gd name="connsiteY863" fmla="*/ 5224214 h 5704395"/>
                <a:gd name="connsiteX864" fmla="*/ 280775 w 5719680"/>
                <a:gd name="connsiteY864" fmla="*/ 5225482 h 5704395"/>
                <a:gd name="connsiteX865" fmla="*/ 278870 w 5719680"/>
                <a:gd name="connsiteY865" fmla="*/ 5226432 h 5704395"/>
                <a:gd name="connsiteX866" fmla="*/ 278870 w 5719680"/>
                <a:gd name="connsiteY866" fmla="*/ 5225799 h 5704395"/>
                <a:gd name="connsiteX867" fmla="*/ 222651 w 5719680"/>
                <a:gd name="connsiteY867" fmla="*/ 5229601 h 5704395"/>
                <a:gd name="connsiteX868" fmla="*/ 202323 w 5719680"/>
                <a:gd name="connsiteY868" fmla="*/ 5254635 h 5704395"/>
                <a:gd name="connsiteX869" fmla="*/ 109261 w 5719680"/>
                <a:gd name="connsiteY869" fmla="*/ 5380440 h 5704395"/>
                <a:gd name="connsiteX870" fmla="*/ 156269 w 5719680"/>
                <a:gd name="connsiteY870" fmla="*/ 5425438 h 5704395"/>
                <a:gd name="connsiteX871" fmla="*/ 162621 w 5719680"/>
                <a:gd name="connsiteY871" fmla="*/ 5416882 h 5704395"/>
                <a:gd name="connsiteX872" fmla="*/ 136894 w 5719680"/>
                <a:gd name="connsiteY872" fmla="*/ 5396601 h 5704395"/>
                <a:gd name="connsiteX873" fmla="*/ 138164 w 5719680"/>
                <a:gd name="connsiteY873" fmla="*/ 5394700 h 5704395"/>
                <a:gd name="connsiteX874" fmla="*/ 154045 w 5719680"/>
                <a:gd name="connsiteY874" fmla="*/ 5375053 h 5704395"/>
                <a:gd name="connsiteX875" fmla="*/ 165797 w 5719680"/>
                <a:gd name="connsiteY875" fmla="*/ 5384243 h 5704395"/>
                <a:gd name="connsiteX876" fmla="*/ 174373 w 5719680"/>
                <a:gd name="connsiteY876" fmla="*/ 5373785 h 5704395"/>
                <a:gd name="connsiteX877" fmla="*/ 186760 w 5719680"/>
                <a:gd name="connsiteY877" fmla="*/ 5383609 h 5704395"/>
                <a:gd name="connsiteX878" fmla="*/ 189936 w 5719680"/>
                <a:gd name="connsiteY878" fmla="*/ 5379489 h 5704395"/>
                <a:gd name="connsiteX879" fmla="*/ 215346 w 5719680"/>
                <a:gd name="connsiteY879" fmla="*/ 5344948 h 5704395"/>
                <a:gd name="connsiteX880" fmla="*/ 224239 w 5719680"/>
                <a:gd name="connsiteY880" fmla="*/ 5333541 h 5704395"/>
                <a:gd name="connsiteX881" fmla="*/ 226780 w 5719680"/>
                <a:gd name="connsiteY881" fmla="*/ 5330055 h 5704395"/>
                <a:gd name="connsiteX882" fmla="*/ 229003 w 5719680"/>
                <a:gd name="connsiteY882" fmla="*/ 5328153 h 5704395"/>
                <a:gd name="connsiteX883" fmla="*/ 229956 w 5719680"/>
                <a:gd name="connsiteY883" fmla="*/ 5327837 h 5704395"/>
                <a:gd name="connsiteX884" fmla="*/ 241073 w 5719680"/>
                <a:gd name="connsiteY884" fmla="*/ 5332590 h 5704395"/>
                <a:gd name="connsiteX885" fmla="*/ 283951 w 5719680"/>
                <a:gd name="connsiteY885" fmla="*/ 5354772 h 5704395"/>
                <a:gd name="connsiteX886" fmla="*/ 293798 w 5719680"/>
                <a:gd name="connsiteY886" fmla="*/ 5326252 h 5704395"/>
                <a:gd name="connsiteX887" fmla="*/ 304597 w 5719680"/>
                <a:gd name="connsiteY887" fmla="*/ 5292028 h 5704395"/>
                <a:gd name="connsiteX888" fmla="*/ 304597 w 5719680"/>
                <a:gd name="connsiteY888" fmla="*/ 5291711 h 5704395"/>
                <a:gd name="connsiteX889" fmla="*/ 306185 w 5719680"/>
                <a:gd name="connsiteY889" fmla="*/ 5291711 h 5704395"/>
                <a:gd name="connsiteX890" fmla="*/ 306820 w 5719680"/>
                <a:gd name="connsiteY890" fmla="*/ 5289810 h 5704395"/>
                <a:gd name="connsiteX891" fmla="*/ 295386 w 5719680"/>
                <a:gd name="connsiteY891" fmla="*/ 5224214 h 5704395"/>
                <a:gd name="connsiteX892" fmla="*/ 1347022 w 5719680"/>
                <a:gd name="connsiteY892" fmla="*/ 5222630 h 5704395"/>
                <a:gd name="connsiteX893" fmla="*/ 1347022 w 5719680"/>
                <a:gd name="connsiteY893" fmla="*/ 5231820 h 5704395"/>
                <a:gd name="connsiteX894" fmla="*/ 1327012 w 5719680"/>
                <a:gd name="connsiteY894" fmla="*/ 5231820 h 5704395"/>
                <a:gd name="connsiteX895" fmla="*/ 1327012 w 5719680"/>
                <a:gd name="connsiteY895" fmla="*/ 5242594 h 5704395"/>
                <a:gd name="connsiteX896" fmla="*/ 1318754 w 5719680"/>
                <a:gd name="connsiteY896" fmla="*/ 5242594 h 5704395"/>
                <a:gd name="connsiteX897" fmla="*/ 1318754 w 5719680"/>
                <a:gd name="connsiteY897" fmla="*/ 5258438 h 5704395"/>
                <a:gd name="connsiteX898" fmla="*/ 1323200 w 5719680"/>
                <a:gd name="connsiteY898" fmla="*/ 5258438 h 5704395"/>
                <a:gd name="connsiteX899" fmla="*/ 1325424 w 5719680"/>
                <a:gd name="connsiteY899" fmla="*/ 5258438 h 5704395"/>
                <a:gd name="connsiteX900" fmla="*/ 1325424 w 5719680"/>
                <a:gd name="connsiteY900" fmla="*/ 5271747 h 5704395"/>
                <a:gd name="connsiteX901" fmla="*/ 1328600 w 5719680"/>
                <a:gd name="connsiteY901" fmla="*/ 5272381 h 5704395"/>
                <a:gd name="connsiteX902" fmla="*/ 1330188 w 5719680"/>
                <a:gd name="connsiteY902" fmla="*/ 5272698 h 5704395"/>
                <a:gd name="connsiteX903" fmla="*/ 1330188 w 5719680"/>
                <a:gd name="connsiteY903" fmla="*/ 5274599 h 5704395"/>
                <a:gd name="connsiteX904" fmla="*/ 1330188 w 5719680"/>
                <a:gd name="connsiteY904" fmla="*/ 5284740 h 5704395"/>
                <a:gd name="connsiteX905" fmla="*/ 1352739 w 5719680"/>
                <a:gd name="connsiteY905" fmla="*/ 5284740 h 5704395"/>
                <a:gd name="connsiteX906" fmla="*/ 1352739 w 5719680"/>
                <a:gd name="connsiteY906" fmla="*/ 5273332 h 5704395"/>
                <a:gd name="connsiteX907" fmla="*/ 1377513 w 5719680"/>
                <a:gd name="connsiteY907" fmla="*/ 5273332 h 5704395"/>
                <a:gd name="connsiteX908" fmla="*/ 1377513 w 5719680"/>
                <a:gd name="connsiteY908" fmla="*/ 5231820 h 5704395"/>
                <a:gd name="connsiteX909" fmla="*/ 1362585 w 5719680"/>
                <a:gd name="connsiteY909" fmla="*/ 5231820 h 5704395"/>
                <a:gd name="connsiteX910" fmla="*/ 1362585 w 5719680"/>
                <a:gd name="connsiteY910" fmla="*/ 5222630 h 5704395"/>
                <a:gd name="connsiteX911" fmla="*/ 1347022 w 5719680"/>
                <a:gd name="connsiteY911" fmla="*/ 5222630 h 5704395"/>
                <a:gd name="connsiteX912" fmla="*/ 1342893 w 5719680"/>
                <a:gd name="connsiteY912" fmla="*/ 5218510 h 5704395"/>
                <a:gd name="connsiteX913" fmla="*/ 1366714 w 5719680"/>
                <a:gd name="connsiteY913" fmla="*/ 5218510 h 5704395"/>
                <a:gd name="connsiteX914" fmla="*/ 1366714 w 5719680"/>
                <a:gd name="connsiteY914" fmla="*/ 5227700 h 5704395"/>
                <a:gd name="connsiteX915" fmla="*/ 1381642 w 5719680"/>
                <a:gd name="connsiteY915" fmla="*/ 5227700 h 5704395"/>
                <a:gd name="connsiteX916" fmla="*/ 1381642 w 5719680"/>
                <a:gd name="connsiteY916" fmla="*/ 5277451 h 5704395"/>
                <a:gd name="connsiteX917" fmla="*/ 1356868 w 5719680"/>
                <a:gd name="connsiteY917" fmla="*/ 5277451 h 5704395"/>
                <a:gd name="connsiteX918" fmla="*/ 1356868 w 5719680"/>
                <a:gd name="connsiteY918" fmla="*/ 5288859 h 5704395"/>
                <a:gd name="connsiteX919" fmla="*/ 1326059 w 5719680"/>
                <a:gd name="connsiteY919" fmla="*/ 5288859 h 5704395"/>
                <a:gd name="connsiteX920" fmla="*/ 1326059 w 5719680"/>
                <a:gd name="connsiteY920" fmla="*/ 5276184 h 5704395"/>
                <a:gd name="connsiteX921" fmla="*/ 1322883 w 5719680"/>
                <a:gd name="connsiteY921" fmla="*/ 5275550 h 5704395"/>
                <a:gd name="connsiteX922" fmla="*/ 1321295 w 5719680"/>
                <a:gd name="connsiteY922" fmla="*/ 5275233 h 5704395"/>
                <a:gd name="connsiteX923" fmla="*/ 1321295 w 5719680"/>
                <a:gd name="connsiteY923" fmla="*/ 5262558 h 5704395"/>
                <a:gd name="connsiteX924" fmla="*/ 1316530 w 5719680"/>
                <a:gd name="connsiteY924" fmla="*/ 5262558 h 5704395"/>
                <a:gd name="connsiteX925" fmla="*/ 1314625 w 5719680"/>
                <a:gd name="connsiteY925" fmla="*/ 5262558 h 5704395"/>
                <a:gd name="connsiteX926" fmla="*/ 1314625 w 5719680"/>
                <a:gd name="connsiteY926" fmla="*/ 5238474 h 5704395"/>
                <a:gd name="connsiteX927" fmla="*/ 1322883 w 5719680"/>
                <a:gd name="connsiteY927" fmla="*/ 5238474 h 5704395"/>
                <a:gd name="connsiteX928" fmla="*/ 1322883 w 5719680"/>
                <a:gd name="connsiteY928" fmla="*/ 5227700 h 5704395"/>
                <a:gd name="connsiteX929" fmla="*/ 1342893 w 5719680"/>
                <a:gd name="connsiteY929" fmla="*/ 5227700 h 5704395"/>
                <a:gd name="connsiteX930" fmla="*/ 1342893 w 5719680"/>
                <a:gd name="connsiteY930" fmla="*/ 5218510 h 5704395"/>
                <a:gd name="connsiteX931" fmla="*/ 524389 w 5719680"/>
                <a:gd name="connsiteY931" fmla="*/ 5213440 h 5704395"/>
                <a:gd name="connsiteX932" fmla="*/ 483734 w 5719680"/>
                <a:gd name="connsiteY932" fmla="*/ 5264776 h 5704395"/>
                <a:gd name="connsiteX933" fmla="*/ 509461 w 5719680"/>
                <a:gd name="connsiteY933" fmla="*/ 5286958 h 5704395"/>
                <a:gd name="connsiteX934" fmla="*/ 550751 w 5719680"/>
                <a:gd name="connsiteY934" fmla="*/ 5235305 h 5704395"/>
                <a:gd name="connsiteX935" fmla="*/ 2050230 w 5719680"/>
                <a:gd name="connsiteY935" fmla="*/ 5213123 h 5704395"/>
                <a:gd name="connsiteX936" fmla="*/ 2010210 w 5719680"/>
                <a:gd name="connsiteY936" fmla="*/ 5213440 h 5704395"/>
                <a:gd name="connsiteX937" fmla="*/ 2010527 w 5719680"/>
                <a:gd name="connsiteY937" fmla="*/ 5229284 h 5704395"/>
                <a:gd name="connsiteX938" fmla="*/ 2050230 w 5719680"/>
                <a:gd name="connsiteY938" fmla="*/ 5228968 h 5704395"/>
                <a:gd name="connsiteX939" fmla="*/ 2050230 w 5719680"/>
                <a:gd name="connsiteY939" fmla="*/ 5213123 h 5704395"/>
                <a:gd name="connsiteX940" fmla="*/ 2054359 w 5719680"/>
                <a:gd name="connsiteY940" fmla="*/ 5209004 h 5704395"/>
                <a:gd name="connsiteX941" fmla="*/ 2054359 w 5719680"/>
                <a:gd name="connsiteY941" fmla="*/ 5233087 h 5704395"/>
                <a:gd name="connsiteX942" fmla="*/ 2006398 w 5719680"/>
                <a:gd name="connsiteY942" fmla="*/ 5233404 h 5704395"/>
                <a:gd name="connsiteX943" fmla="*/ 2006081 w 5719680"/>
                <a:gd name="connsiteY943" fmla="*/ 5209320 h 5704395"/>
                <a:gd name="connsiteX944" fmla="*/ 2008304 w 5719680"/>
                <a:gd name="connsiteY944" fmla="*/ 5209320 h 5704395"/>
                <a:gd name="connsiteX945" fmla="*/ 1243796 w 5719680"/>
                <a:gd name="connsiteY945" fmla="*/ 5207419 h 5704395"/>
                <a:gd name="connsiteX946" fmla="*/ 1212034 w 5719680"/>
                <a:gd name="connsiteY946" fmla="*/ 5229918 h 5704395"/>
                <a:gd name="connsiteX947" fmla="*/ 1226327 w 5719680"/>
                <a:gd name="connsiteY947" fmla="*/ 5250199 h 5704395"/>
                <a:gd name="connsiteX948" fmla="*/ 1258088 w 5719680"/>
                <a:gd name="connsiteY948" fmla="*/ 5227700 h 5704395"/>
                <a:gd name="connsiteX949" fmla="*/ 1243796 w 5719680"/>
                <a:gd name="connsiteY949" fmla="*/ 5207419 h 5704395"/>
                <a:gd name="connsiteX950" fmla="*/ 512637 w 5719680"/>
                <a:gd name="connsiteY950" fmla="*/ 5203616 h 5704395"/>
                <a:gd name="connsiteX951" fmla="*/ 471664 w 5719680"/>
                <a:gd name="connsiteY951" fmla="*/ 5254319 h 5704395"/>
                <a:gd name="connsiteX952" fmla="*/ 480558 w 5719680"/>
                <a:gd name="connsiteY952" fmla="*/ 5261924 h 5704395"/>
                <a:gd name="connsiteX953" fmla="*/ 521213 w 5719680"/>
                <a:gd name="connsiteY953" fmla="*/ 5210905 h 5704395"/>
                <a:gd name="connsiteX954" fmla="*/ 512637 w 5719680"/>
                <a:gd name="connsiteY954" fmla="*/ 5203616 h 5704395"/>
                <a:gd name="connsiteX955" fmla="*/ 1244748 w 5719680"/>
                <a:gd name="connsiteY955" fmla="*/ 5201715 h 5704395"/>
                <a:gd name="connsiteX956" fmla="*/ 1263806 w 5719680"/>
                <a:gd name="connsiteY956" fmla="*/ 5228651 h 5704395"/>
                <a:gd name="connsiteX957" fmla="*/ 1225374 w 5719680"/>
                <a:gd name="connsiteY957" fmla="*/ 5255903 h 5704395"/>
                <a:gd name="connsiteX958" fmla="*/ 1224421 w 5719680"/>
                <a:gd name="connsiteY958" fmla="*/ 5254002 h 5704395"/>
                <a:gd name="connsiteX959" fmla="*/ 1206317 w 5719680"/>
                <a:gd name="connsiteY959" fmla="*/ 5228968 h 5704395"/>
                <a:gd name="connsiteX960" fmla="*/ 1244748 w 5719680"/>
                <a:gd name="connsiteY960" fmla="*/ 5201715 h 5704395"/>
                <a:gd name="connsiteX961" fmla="*/ 429421 w 5719680"/>
                <a:gd name="connsiteY961" fmla="*/ 5198863 h 5704395"/>
                <a:gd name="connsiteX962" fmla="*/ 405917 w 5719680"/>
                <a:gd name="connsiteY962" fmla="*/ 5225165 h 5704395"/>
                <a:gd name="connsiteX963" fmla="*/ 432597 w 5719680"/>
                <a:gd name="connsiteY963" fmla="*/ 5248615 h 5704395"/>
                <a:gd name="connsiteX964" fmla="*/ 456101 w 5719680"/>
                <a:gd name="connsiteY964" fmla="*/ 5222313 h 5704395"/>
                <a:gd name="connsiteX965" fmla="*/ 429421 w 5719680"/>
                <a:gd name="connsiteY965" fmla="*/ 5198863 h 5704395"/>
                <a:gd name="connsiteX966" fmla="*/ 791506 w 5719680"/>
                <a:gd name="connsiteY966" fmla="*/ 5192842 h 5704395"/>
                <a:gd name="connsiteX967" fmla="*/ 753074 w 5719680"/>
                <a:gd name="connsiteY967" fmla="*/ 5197596 h 5704395"/>
                <a:gd name="connsiteX968" fmla="*/ 756251 w 5719680"/>
                <a:gd name="connsiteY968" fmla="*/ 5222313 h 5704395"/>
                <a:gd name="connsiteX969" fmla="*/ 794683 w 5719680"/>
                <a:gd name="connsiteY969" fmla="*/ 5217560 h 5704395"/>
                <a:gd name="connsiteX970" fmla="*/ 791506 w 5719680"/>
                <a:gd name="connsiteY970" fmla="*/ 5192842 h 5704395"/>
                <a:gd name="connsiteX971" fmla="*/ 429103 w 5719680"/>
                <a:gd name="connsiteY971" fmla="*/ 5192842 h 5704395"/>
                <a:gd name="connsiteX972" fmla="*/ 430691 w 5719680"/>
                <a:gd name="connsiteY972" fmla="*/ 5194427 h 5704395"/>
                <a:gd name="connsiteX973" fmla="*/ 461818 w 5719680"/>
                <a:gd name="connsiteY973" fmla="*/ 5221996 h 5704395"/>
                <a:gd name="connsiteX974" fmla="*/ 432915 w 5719680"/>
                <a:gd name="connsiteY974" fmla="*/ 5254635 h 5704395"/>
                <a:gd name="connsiteX975" fmla="*/ 400200 w 5719680"/>
                <a:gd name="connsiteY975" fmla="*/ 5225482 h 5704395"/>
                <a:gd name="connsiteX976" fmla="*/ 429103 w 5719680"/>
                <a:gd name="connsiteY976" fmla="*/ 5192842 h 5704395"/>
                <a:gd name="connsiteX977" fmla="*/ 3332774 w 5719680"/>
                <a:gd name="connsiteY977" fmla="*/ 5189673 h 5704395"/>
                <a:gd name="connsiteX978" fmla="*/ 3266392 w 5719680"/>
                <a:gd name="connsiteY978" fmla="*/ 5277451 h 5704395"/>
                <a:gd name="connsiteX979" fmla="*/ 3311494 w 5719680"/>
                <a:gd name="connsiteY979" fmla="*/ 5346850 h 5704395"/>
                <a:gd name="connsiteX980" fmla="*/ 3312129 w 5719680"/>
                <a:gd name="connsiteY980" fmla="*/ 5347484 h 5704395"/>
                <a:gd name="connsiteX981" fmla="*/ 3413132 w 5719680"/>
                <a:gd name="connsiteY981" fmla="*/ 5268579 h 5704395"/>
                <a:gd name="connsiteX982" fmla="*/ 3450294 w 5719680"/>
                <a:gd name="connsiteY982" fmla="*/ 5239742 h 5704395"/>
                <a:gd name="connsiteX983" fmla="*/ 3332774 w 5719680"/>
                <a:gd name="connsiteY983" fmla="*/ 5189673 h 5704395"/>
                <a:gd name="connsiteX984" fmla="*/ 2277962 w 5719680"/>
                <a:gd name="connsiteY984" fmla="*/ 5188406 h 5704395"/>
                <a:gd name="connsiteX985" fmla="*/ 2238260 w 5719680"/>
                <a:gd name="connsiteY985" fmla="*/ 5208370 h 5704395"/>
                <a:gd name="connsiteX986" fmla="*/ 2233813 w 5719680"/>
                <a:gd name="connsiteY986" fmla="*/ 5209004 h 5704395"/>
                <a:gd name="connsiteX987" fmla="*/ 2172830 w 5719680"/>
                <a:gd name="connsiteY987" fmla="*/ 5211222 h 5704395"/>
                <a:gd name="connsiteX988" fmla="*/ 2169019 w 5719680"/>
                <a:gd name="connsiteY988" fmla="*/ 5234038 h 5704395"/>
                <a:gd name="connsiteX989" fmla="*/ 2169019 w 5719680"/>
                <a:gd name="connsiteY989" fmla="*/ 5234988 h 5704395"/>
                <a:gd name="connsiteX990" fmla="*/ 2132810 w 5719680"/>
                <a:gd name="connsiteY990" fmla="*/ 5253685 h 5704395"/>
                <a:gd name="connsiteX991" fmla="*/ 2143292 w 5719680"/>
                <a:gd name="connsiteY991" fmla="*/ 5329421 h 5704395"/>
                <a:gd name="connsiteX992" fmla="*/ 2142974 w 5719680"/>
                <a:gd name="connsiteY992" fmla="*/ 5329738 h 5704395"/>
                <a:gd name="connsiteX993" fmla="*/ 2268116 w 5719680"/>
                <a:gd name="connsiteY993" fmla="*/ 5343681 h 5704395"/>
                <a:gd name="connsiteX994" fmla="*/ 2283680 w 5719680"/>
                <a:gd name="connsiteY994" fmla="*/ 5308823 h 5704395"/>
                <a:gd name="connsiteX995" fmla="*/ 2332593 w 5719680"/>
                <a:gd name="connsiteY995" fmla="*/ 5197279 h 5704395"/>
                <a:gd name="connsiteX996" fmla="*/ 2277962 w 5719680"/>
                <a:gd name="connsiteY996" fmla="*/ 5188406 h 5704395"/>
                <a:gd name="connsiteX997" fmla="*/ 795318 w 5719680"/>
                <a:gd name="connsiteY997" fmla="*/ 5188406 h 5704395"/>
                <a:gd name="connsiteX998" fmla="*/ 799129 w 5719680"/>
                <a:gd name="connsiteY998" fmla="*/ 5221362 h 5704395"/>
                <a:gd name="connsiteX999" fmla="*/ 752757 w 5719680"/>
                <a:gd name="connsiteY999" fmla="*/ 5227066 h 5704395"/>
                <a:gd name="connsiteX1000" fmla="*/ 752439 w 5719680"/>
                <a:gd name="connsiteY1000" fmla="*/ 5224848 h 5704395"/>
                <a:gd name="connsiteX1001" fmla="*/ 748628 w 5719680"/>
                <a:gd name="connsiteY1001" fmla="*/ 5194110 h 5704395"/>
                <a:gd name="connsiteX1002" fmla="*/ 2006398 w 5719680"/>
                <a:gd name="connsiteY1002" fmla="*/ 5184920 h 5704395"/>
                <a:gd name="connsiteX1003" fmla="*/ 2005128 w 5719680"/>
                <a:gd name="connsiteY1003" fmla="*/ 5224848 h 5704395"/>
                <a:gd name="connsiteX1004" fmla="*/ 1997822 w 5719680"/>
                <a:gd name="connsiteY1004" fmla="*/ 5261607 h 5704395"/>
                <a:gd name="connsiteX1005" fmla="*/ 2133763 w 5719680"/>
                <a:gd name="connsiteY1005" fmla="*/ 5292979 h 5704395"/>
                <a:gd name="connsiteX1006" fmla="*/ 2128046 w 5719680"/>
                <a:gd name="connsiteY1006" fmla="*/ 5251150 h 5704395"/>
                <a:gd name="connsiteX1007" fmla="*/ 2163937 w 5719680"/>
                <a:gd name="connsiteY1007" fmla="*/ 5232770 h 5704395"/>
                <a:gd name="connsiteX1008" fmla="*/ 2058488 w 5719680"/>
                <a:gd name="connsiteY1008" fmla="*/ 5207736 h 5704395"/>
                <a:gd name="connsiteX1009" fmla="*/ 2056582 w 5719680"/>
                <a:gd name="connsiteY1009" fmla="*/ 5207419 h 5704395"/>
                <a:gd name="connsiteX1010" fmla="*/ 2056582 w 5719680"/>
                <a:gd name="connsiteY1010" fmla="*/ 5188406 h 5704395"/>
                <a:gd name="connsiteX1011" fmla="*/ 2006398 w 5719680"/>
                <a:gd name="connsiteY1011" fmla="*/ 5184920 h 5704395"/>
                <a:gd name="connsiteX1012" fmla="*/ 547257 w 5719680"/>
                <a:gd name="connsiteY1012" fmla="*/ 5184920 h 5704395"/>
                <a:gd name="connsiteX1013" fmla="*/ 527247 w 5719680"/>
                <a:gd name="connsiteY1013" fmla="*/ 5209954 h 5704395"/>
                <a:gd name="connsiteX1014" fmla="*/ 553292 w 5719680"/>
                <a:gd name="connsiteY1014" fmla="*/ 5231820 h 5704395"/>
                <a:gd name="connsiteX1015" fmla="*/ 573937 w 5719680"/>
                <a:gd name="connsiteY1015" fmla="*/ 5206152 h 5704395"/>
                <a:gd name="connsiteX1016" fmla="*/ 547257 w 5719680"/>
                <a:gd name="connsiteY1016" fmla="*/ 5184920 h 5704395"/>
                <a:gd name="connsiteX1017" fmla="*/ 1271 w 5719680"/>
                <a:gd name="connsiteY1017" fmla="*/ 5179533 h 5704395"/>
                <a:gd name="connsiteX1018" fmla="*/ 14611 w 5719680"/>
                <a:gd name="connsiteY1018" fmla="*/ 5206468 h 5704395"/>
                <a:gd name="connsiteX1019" fmla="*/ 1271 w 5719680"/>
                <a:gd name="connsiteY1019" fmla="*/ 5221045 h 5704395"/>
                <a:gd name="connsiteX1020" fmla="*/ 1271 w 5719680"/>
                <a:gd name="connsiteY1020" fmla="*/ 5214391 h 5704395"/>
                <a:gd name="connsiteX1021" fmla="*/ 9211 w 5719680"/>
                <a:gd name="connsiteY1021" fmla="*/ 5205835 h 5704395"/>
                <a:gd name="connsiteX1022" fmla="*/ 1271 w 5719680"/>
                <a:gd name="connsiteY1022" fmla="*/ 5189673 h 5704395"/>
                <a:gd name="connsiteX1023" fmla="*/ 1271 w 5719680"/>
                <a:gd name="connsiteY1023" fmla="*/ 5179533 h 5704395"/>
                <a:gd name="connsiteX1024" fmla="*/ 677799 w 5719680"/>
                <a:gd name="connsiteY1024" fmla="*/ 5168442 h 5704395"/>
                <a:gd name="connsiteX1025" fmla="*/ 655248 w 5719680"/>
                <a:gd name="connsiteY1025" fmla="*/ 5199814 h 5704395"/>
                <a:gd name="connsiteX1026" fmla="*/ 675575 w 5719680"/>
                <a:gd name="connsiteY1026" fmla="*/ 5214391 h 5704395"/>
                <a:gd name="connsiteX1027" fmla="*/ 698126 w 5719680"/>
                <a:gd name="connsiteY1027" fmla="*/ 5183019 h 5704395"/>
                <a:gd name="connsiteX1028" fmla="*/ 677799 w 5719680"/>
                <a:gd name="connsiteY1028" fmla="*/ 5168442 h 5704395"/>
                <a:gd name="connsiteX1029" fmla="*/ 1617633 w 5719680"/>
                <a:gd name="connsiteY1029" fmla="*/ 5167808 h 5704395"/>
                <a:gd name="connsiteX1030" fmla="*/ 1617633 w 5719680"/>
                <a:gd name="connsiteY1030" fmla="*/ 5189990 h 5704395"/>
                <a:gd name="connsiteX1031" fmla="*/ 1574754 w 5719680"/>
                <a:gd name="connsiteY1031" fmla="*/ 5189990 h 5704395"/>
                <a:gd name="connsiteX1032" fmla="*/ 1574754 w 5719680"/>
                <a:gd name="connsiteY1032" fmla="*/ 5250833 h 5704395"/>
                <a:gd name="connsiteX1033" fmla="*/ 1594447 w 5719680"/>
                <a:gd name="connsiteY1033" fmla="*/ 5250833 h 5704395"/>
                <a:gd name="connsiteX1034" fmla="*/ 1594447 w 5719680"/>
                <a:gd name="connsiteY1034" fmla="*/ 5333857 h 5704395"/>
                <a:gd name="connsiteX1035" fmla="*/ 1620809 w 5719680"/>
                <a:gd name="connsiteY1035" fmla="*/ 5333857 h 5704395"/>
                <a:gd name="connsiteX1036" fmla="*/ 1620809 w 5719680"/>
                <a:gd name="connsiteY1036" fmla="*/ 5251467 h 5704395"/>
                <a:gd name="connsiteX1037" fmla="*/ 1717683 w 5719680"/>
                <a:gd name="connsiteY1037" fmla="*/ 5251467 h 5704395"/>
                <a:gd name="connsiteX1038" fmla="*/ 1717683 w 5719680"/>
                <a:gd name="connsiteY1038" fmla="*/ 5283789 h 5704395"/>
                <a:gd name="connsiteX1039" fmla="*/ 1756750 w 5719680"/>
                <a:gd name="connsiteY1039" fmla="*/ 5283789 h 5704395"/>
                <a:gd name="connsiteX1040" fmla="*/ 1756750 w 5719680"/>
                <a:gd name="connsiteY1040" fmla="*/ 5250833 h 5704395"/>
                <a:gd name="connsiteX1041" fmla="*/ 1783748 w 5719680"/>
                <a:gd name="connsiteY1041" fmla="*/ 5250833 h 5704395"/>
                <a:gd name="connsiteX1042" fmla="*/ 1784065 w 5719680"/>
                <a:gd name="connsiteY1042" fmla="*/ 5190307 h 5704395"/>
                <a:gd name="connsiteX1043" fmla="*/ 1726259 w 5719680"/>
                <a:gd name="connsiteY1043" fmla="*/ 5190307 h 5704395"/>
                <a:gd name="connsiteX1044" fmla="*/ 1726259 w 5719680"/>
                <a:gd name="connsiteY1044" fmla="*/ 5167808 h 5704395"/>
                <a:gd name="connsiteX1045" fmla="*/ 1617633 w 5719680"/>
                <a:gd name="connsiteY1045" fmla="*/ 5167808 h 5704395"/>
                <a:gd name="connsiteX1046" fmla="*/ 963656 w 5719680"/>
                <a:gd name="connsiteY1046" fmla="*/ 5163372 h 5704395"/>
                <a:gd name="connsiteX1047" fmla="*/ 932212 w 5719680"/>
                <a:gd name="connsiteY1047" fmla="*/ 5185871 h 5704395"/>
                <a:gd name="connsiteX1048" fmla="*/ 946504 w 5719680"/>
                <a:gd name="connsiteY1048" fmla="*/ 5206152 h 5704395"/>
                <a:gd name="connsiteX1049" fmla="*/ 978266 w 5719680"/>
                <a:gd name="connsiteY1049" fmla="*/ 5183653 h 5704395"/>
                <a:gd name="connsiteX1050" fmla="*/ 963656 w 5719680"/>
                <a:gd name="connsiteY1050" fmla="*/ 5163372 h 5704395"/>
                <a:gd name="connsiteX1051" fmla="*/ 1613186 w 5719680"/>
                <a:gd name="connsiteY1051" fmla="*/ 5163055 h 5704395"/>
                <a:gd name="connsiteX1052" fmla="*/ 1731023 w 5719680"/>
                <a:gd name="connsiteY1052" fmla="*/ 5163055 h 5704395"/>
                <a:gd name="connsiteX1053" fmla="*/ 1731023 w 5719680"/>
                <a:gd name="connsiteY1053" fmla="*/ 5185871 h 5704395"/>
                <a:gd name="connsiteX1054" fmla="*/ 1788829 w 5719680"/>
                <a:gd name="connsiteY1054" fmla="*/ 5185871 h 5704395"/>
                <a:gd name="connsiteX1055" fmla="*/ 1788829 w 5719680"/>
                <a:gd name="connsiteY1055" fmla="*/ 5188089 h 5704395"/>
                <a:gd name="connsiteX1056" fmla="*/ 1788512 w 5719680"/>
                <a:gd name="connsiteY1056" fmla="*/ 5255586 h 5704395"/>
                <a:gd name="connsiteX1057" fmla="*/ 1761197 w 5719680"/>
                <a:gd name="connsiteY1057" fmla="*/ 5255586 h 5704395"/>
                <a:gd name="connsiteX1058" fmla="*/ 1761197 w 5719680"/>
                <a:gd name="connsiteY1058" fmla="*/ 5288542 h 5704395"/>
                <a:gd name="connsiteX1059" fmla="*/ 1712919 w 5719680"/>
                <a:gd name="connsiteY1059" fmla="*/ 5288542 h 5704395"/>
                <a:gd name="connsiteX1060" fmla="*/ 1712919 w 5719680"/>
                <a:gd name="connsiteY1060" fmla="*/ 5256220 h 5704395"/>
                <a:gd name="connsiteX1061" fmla="*/ 1625573 w 5719680"/>
                <a:gd name="connsiteY1061" fmla="*/ 5256220 h 5704395"/>
                <a:gd name="connsiteX1062" fmla="*/ 1625573 w 5719680"/>
                <a:gd name="connsiteY1062" fmla="*/ 5338611 h 5704395"/>
                <a:gd name="connsiteX1063" fmla="*/ 1589682 w 5719680"/>
                <a:gd name="connsiteY1063" fmla="*/ 5338611 h 5704395"/>
                <a:gd name="connsiteX1064" fmla="*/ 1589682 w 5719680"/>
                <a:gd name="connsiteY1064" fmla="*/ 5255586 h 5704395"/>
                <a:gd name="connsiteX1065" fmla="*/ 1570308 w 5719680"/>
                <a:gd name="connsiteY1065" fmla="*/ 5255586 h 5704395"/>
                <a:gd name="connsiteX1066" fmla="*/ 1570308 w 5719680"/>
                <a:gd name="connsiteY1066" fmla="*/ 5185554 h 5704395"/>
                <a:gd name="connsiteX1067" fmla="*/ 1613186 w 5719680"/>
                <a:gd name="connsiteY1067" fmla="*/ 5185554 h 5704395"/>
                <a:gd name="connsiteX1068" fmla="*/ 1613186 w 5719680"/>
                <a:gd name="connsiteY1068" fmla="*/ 5163055 h 5704395"/>
                <a:gd name="connsiteX1069" fmla="*/ 676846 w 5719680"/>
                <a:gd name="connsiteY1069" fmla="*/ 5162738 h 5704395"/>
                <a:gd name="connsiteX1070" fmla="*/ 703844 w 5719680"/>
                <a:gd name="connsiteY1070" fmla="*/ 5182068 h 5704395"/>
                <a:gd name="connsiteX1071" fmla="*/ 676528 w 5719680"/>
                <a:gd name="connsiteY1071" fmla="*/ 5220095 h 5704395"/>
                <a:gd name="connsiteX1072" fmla="*/ 674940 w 5719680"/>
                <a:gd name="connsiteY1072" fmla="*/ 5218827 h 5704395"/>
                <a:gd name="connsiteX1073" fmla="*/ 649531 w 5719680"/>
                <a:gd name="connsiteY1073" fmla="*/ 5200765 h 5704395"/>
                <a:gd name="connsiteX1074" fmla="*/ 676846 w 5719680"/>
                <a:gd name="connsiteY1074" fmla="*/ 5162738 h 5704395"/>
                <a:gd name="connsiteX1075" fmla="*/ 728300 w 5719680"/>
                <a:gd name="connsiteY1075" fmla="*/ 5157985 h 5704395"/>
                <a:gd name="connsiteX1076" fmla="*/ 707337 w 5719680"/>
                <a:gd name="connsiteY1076" fmla="*/ 5215024 h 5704395"/>
                <a:gd name="connsiteX1077" fmla="*/ 750216 w 5719680"/>
                <a:gd name="connsiteY1077" fmla="*/ 5279986 h 5704395"/>
                <a:gd name="connsiteX1078" fmla="*/ 781660 w 5719680"/>
                <a:gd name="connsiteY1078" fmla="*/ 5282838 h 5704395"/>
                <a:gd name="connsiteX1079" fmla="*/ 816916 w 5719680"/>
                <a:gd name="connsiteY1079" fmla="*/ 5284423 h 5704395"/>
                <a:gd name="connsiteX1080" fmla="*/ 816916 w 5719680"/>
                <a:gd name="connsiteY1080" fmla="*/ 5269529 h 5704395"/>
                <a:gd name="connsiteX1081" fmla="*/ 817233 w 5719680"/>
                <a:gd name="connsiteY1081" fmla="*/ 5172245 h 5704395"/>
                <a:gd name="connsiteX1082" fmla="*/ 728300 w 5719680"/>
                <a:gd name="connsiteY1082" fmla="*/ 5157985 h 5704395"/>
                <a:gd name="connsiteX1083" fmla="*/ 964609 w 5719680"/>
                <a:gd name="connsiteY1083" fmla="*/ 5157668 h 5704395"/>
                <a:gd name="connsiteX1084" fmla="*/ 983983 w 5719680"/>
                <a:gd name="connsiteY1084" fmla="*/ 5184603 h 5704395"/>
                <a:gd name="connsiteX1085" fmla="*/ 945551 w 5719680"/>
                <a:gd name="connsiteY1085" fmla="*/ 5211856 h 5704395"/>
                <a:gd name="connsiteX1086" fmla="*/ 944599 w 5719680"/>
                <a:gd name="connsiteY1086" fmla="*/ 5210271 h 5704395"/>
                <a:gd name="connsiteX1087" fmla="*/ 926494 w 5719680"/>
                <a:gd name="connsiteY1087" fmla="*/ 5184920 h 5704395"/>
                <a:gd name="connsiteX1088" fmla="*/ 964609 w 5719680"/>
                <a:gd name="connsiteY1088" fmla="*/ 5157668 h 5704395"/>
                <a:gd name="connsiteX1089" fmla="*/ 550751 w 5719680"/>
                <a:gd name="connsiteY1089" fmla="*/ 5157351 h 5704395"/>
                <a:gd name="connsiteX1090" fmla="*/ 515496 w 5719680"/>
                <a:gd name="connsiteY1090" fmla="*/ 5200448 h 5704395"/>
                <a:gd name="connsiteX1091" fmla="*/ 524071 w 5719680"/>
                <a:gd name="connsiteY1091" fmla="*/ 5207419 h 5704395"/>
                <a:gd name="connsiteX1092" fmla="*/ 546622 w 5719680"/>
                <a:gd name="connsiteY1092" fmla="*/ 5179216 h 5704395"/>
                <a:gd name="connsiteX1093" fmla="*/ 579972 w 5719680"/>
                <a:gd name="connsiteY1093" fmla="*/ 5205201 h 5704395"/>
                <a:gd name="connsiteX1094" fmla="*/ 578384 w 5719680"/>
                <a:gd name="connsiteY1094" fmla="*/ 5207102 h 5704395"/>
                <a:gd name="connsiteX1095" fmla="*/ 556468 w 5719680"/>
                <a:gd name="connsiteY1095" fmla="*/ 5234672 h 5704395"/>
                <a:gd name="connsiteX1096" fmla="*/ 641908 w 5719680"/>
                <a:gd name="connsiteY1096" fmla="*/ 5305971 h 5704395"/>
                <a:gd name="connsiteX1097" fmla="*/ 653025 w 5719680"/>
                <a:gd name="connsiteY1097" fmla="*/ 5269846 h 5704395"/>
                <a:gd name="connsiteX1098" fmla="*/ 657471 w 5719680"/>
                <a:gd name="connsiteY1098" fmla="*/ 5255586 h 5704395"/>
                <a:gd name="connsiteX1099" fmla="*/ 654295 w 5719680"/>
                <a:gd name="connsiteY1099" fmla="*/ 5252734 h 5704395"/>
                <a:gd name="connsiteX1100" fmla="*/ 613005 w 5719680"/>
                <a:gd name="connsiteY1100" fmla="*/ 5215975 h 5704395"/>
                <a:gd name="connsiteX1101" fmla="*/ 613005 w 5719680"/>
                <a:gd name="connsiteY1101" fmla="*/ 5215658 h 5704395"/>
                <a:gd name="connsiteX1102" fmla="*/ 612687 w 5719680"/>
                <a:gd name="connsiteY1102" fmla="*/ 5215658 h 5704395"/>
                <a:gd name="connsiteX1103" fmla="*/ 550751 w 5719680"/>
                <a:gd name="connsiteY1103" fmla="*/ 5157351 h 5704395"/>
                <a:gd name="connsiteX1104" fmla="*/ 1137393 w 5719680"/>
                <a:gd name="connsiteY1104" fmla="*/ 5155766 h 5704395"/>
                <a:gd name="connsiteX1105" fmla="*/ 1074822 w 5719680"/>
                <a:gd name="connsiteY1105" fmla="*/ 5259389 h 5704395"/>
                <a:gd name="connsiteX1106" fmla="*/ 1075140 w 5719680"/>
                <a:gd name="connsiteY1106" fmla="*/ 5260023 h 5704395"/>
                <a:gd name="connsiteX1107" fmla="*/ 1075775 w 5719680"/>
                <a:gd name="connsiteY1107" fmla="*/ 5261924 h 5704395"/>
                <a:gd name="connsiteX1108" fmla="*/ 1075775 w 5719680"/>
                <a:gd name="connsiteY1108" fmla="*/ 5262875 h 5704395"/>
                <a:gd name="connsiteX1109" fmla="*/ 1075775 w 5719680"/>
                <a:gd name="connsiteY1109" fmla="*/ 5263191 h 5704395"/>
                <a:gd name="connsiteX1110" fmla="*/ 1084033 w 5719680"/>
                <a:gd name="connsiteY1110" fmla="*/ 5318964 h 5704395"/>
                <a:gd name="connsiteX1111" fmla="*/ 1091021 w 5719680"/>
                <a:gd name="connsiteY1111" fmla="*/ 5365863 h 5704395"/>
                <a:gd name="connsiteX1112" fmla="*/ 1172967 w 5719680"/>
                <a:gd name="connsiteY1112" fmla="*/ 5351920 h 5704395"/>
                <a:gd name="connsiteX1113" fmla="*/ 1167567 w 5719680"/>
                <a:gd name="connsiteY1113" fmla="*/ 5248615 h 5704395"/>
                <a:gd name="connsiteX1114" fmla="*/ 1106584 w 5719680"/>
                <a:gd name="connsiteY1114" fmla="*/ 5209637 h 5704395"/>
                <a:gd name="connsiteX1115" fmla="*/ 1108808 w 5719680"/>
                <a:gd name="connsiteY1115" fmla="*/ 5205835 h 5704395"/>
                <a:gd name="connsiteX1116" fmla="*/ 1171696 w 5719680"/>
                <a:gd name="connsiteY1116" fmla="*/ 5246079 h 5704395"/>
                <a:gd name="connsiteX1117" fmla="*/ 1177413 w 5719680"/>
                <a:gd name="connsiteY1117" fmla="*/ 5350969 h 5704395"/>
                <a:gd name="connsiteX1118" fmla="*/ 1259041 w 5719680"/>
                <a:gd name="connsiteY1118" fmla="*/ 5337026 h 5704395"/>
                <a:gd name="connsiteX1119" fmla="*/ 1258724 w 5719680"/>
                <a:gd name="connsiteY1119" fmla="*/ 5321816 h 5704395"/>
                <a:gd name="connsiteX1120" fmla="*/ 1258724 w 5719680"/>
                <a:gd name="connsiteY1120" fmla="*/ 5317696 h 5704395"/>
                <a:gd name="connsiteX1121" fmla="*/ 1271428 w 5719680"/>
                <a:gd name="connsiteY1121" fmla="*/ 5221679 h 5704395"/>
                <a:gd name="connsiteX1122" fmla="*/ 1280639 w 5719680"/>
                <a:gd name="connsiteY1122" fmla="*/ 5202666 h 5704395"/>
                <a:gd name="connsiteX1123" fmla="*/ 1281592 w 5719680"/>
                <a:gd name="connsiteY1123" fmla="*/ 5201081 h 5704395"/>
                <a:gd name="connsiteX1124" fmla="*/ 1210763 w 5719680"/>
                <a:gd name="connsiteY1124" fmla="*/ 5179216 h 5704395"/>
                <a:gd name="connsiteX1125" fmla="*/ 1159309 w 5719680"/>
                <a:gd name="connsiteY1125" fmla="*/ 5163055 h 5704395"/>
                <a:gd name="connsiteX1126" fmla="*/ 1142158 w 5719680"/>
                <a:gd name="connsiteY1126" fmla="*/ 5157668 h 5704395"/>
                <a:gd name="connsiteX1127" fmla="*/ 1137393 w 5719680"/>
                <a:gd name="connsiteY1127" fmla="*/ 5155766 h 5704395"/>
                <a:gd name="connsiteX1128" fmla="*/ 675258 w 5719680"/>
                <a:gd name="connsiteY1128" fmla="*/ 5144358 h 5704395"/>
                <a:gd name="connsiteX1129" fmla="*/ 627297 w 5719680"/>
                <a:gd name="connsiteY1129" fmla="*/ 5200448 h 5704395"/>
                <a:gd name="connsiteX1130" fmla="*/ 667953 w 5719680"/>
                <a:gd name="connsiteY1130" fmla="*/ 5237207 h 5704395"/>
                <a:gd name="connsiteX1131" fmla="*/ 716866 w 5719680"/>
                <a:gd name="connsiteY1131" fmla="*/ 5272698 h 5704395"/>
                <a:gd name="connsiteX1132" fmla="*/ 744181 w 5719680"/>
                <a:gd name="connsiteY1132" fmla="*/ 5279353 h 5704395"/>
                <a:gd name="connsiteX1133" fmla="*/ 702255 w 5719680"/>
                <a:gd name="connsiteY1133" fmla="*/ 5215658 h 5704395"/>
                <a:gd name="connsiteX1134" fmla="*/ 723854 w 5719680"/>
                <a:gd name="connsiteY1134" fmla="*/ 5157034 h 5704395"/>
                <a:gd name="connsiteX1135" fmla="*/ 692409 w 5719680"/>
                <a:gd name="connsiteY1135" fmla="*/ 5151964 h 5704395"/>
                <a:gd name="connsiteX1136" fmla="*/ 692092 w 5719680"/>
                <a:gd name="connsiteY1136" fmla="*/ 5151964 h 5704395"/>
                <a:gd name="connsiteX1137" fmla="*/ 675258 w 5719680"/>
                <a:gd name="connsiteY1137" fmla="*/ 5144358 h 5704395"/>
                <a:gd name="connsiteX1138" fmla="*/ 2051818 w 5719680"/>
                <a:gd name="connsiteY1138" fmla="*/ 5144042 h 5704395"/>
                <a:gd name="connsiteX1139" fmla="*/ 2012115 w 5719680"/>
                <a:gd name="connsiteY1139" fmla="*/ 5144358 h 5704395"/>
                <a:gd name="connsiteX1140" fmla="*/ 2012115 w 5719680"/>
                <a:gd name="connsiteY1140" fmla="*/ 5159886 h 5704395"/>
                <a:gd name="connsiteX1141" fmla="*/ 2051818 w 5719680"/>
                <a:gd name="connsiteY1141" fmla="*/ 5159886 h 5704395"/>
                <a:gd name="connsiteX1142" fmla="*/ 2051818 w 5719680"/>
                <a:gd name="connsiteY1142" fmla="*/ 5144042 h 5704395"/>
                <a:gd name="connsiteX1143" fmla="*/ 2055947 w 5719680"/>
                <a:gd name="connsiteY1143" fmla="*/ 5139922 h 5704395"/>
                <a:gd name="connsiteX1144" fmla="*/ 2055947 w 5719680"/>
                <a:gd name="connsiteY1144" fmla="*/ 5163689 h 5704395"/>
                <a:gd name="connsiteX1145" fmla="*/ 2007986 w 5719680"/>
                <a:gd name="connsiteY1145" fmla="*/ 5164322 h 5704395"/>
                <a:gd name="connsiteX1146" fmla="*/ 2007669 w 5719680"/>
                <a:gd name="connsiteY1146" fmla="*/ 5140239 h 5704395"/>
                <a:gd name="connsiteX1147" fmla="*/ 2009892 w 5719680"/>
                <a:gd name="connsiteY1147" fmla="*/ 5140239 h 5704395"/>
                <a:gd name="connsiteX1148" fmla="*/ 1046554 w 5719680"/>
                <a:gd name="connsiteY1148" fmla="*/ 5138021 h 5704395"/>
                <a:gd name="connsiteX1149" fmla="*/ 1047507 w 5719680"/>
                <a:gd name="connsiteY1149" fmla="*/ 5168759 h 5704395"/>
                <a:gd name="connsiteX1150" fmla="*/ 1065929 w 5719680"/>
                <a:gd name="connsiteY1150" fmla="*/ 5168759 h 5704395"/>
                <a:gd name="connsiteX1151" fmla="*/ 1065929 w 5719680"/>
                <a:gd name="connsiteY1151" fmla="*/ 5191892 h 5704395"/>
                <a:gd name="connsiteX1152" fmla="*/ 1092609 w 5719680"/>
                <a:gd name="connsiteY1152" fmla="*/ 5191575 h 5704395"/>
                <a:gd name="connsiteX1153" fmla="*/ 1092291 w 5719680"/>
                <a:gd name="connsiteY1153" fmla="*/ 5141190 h 5704395"/>
                <a:gd name="connsiteX1154" fmla="*/ 1075775 w 5719680"/>
                <a:gd name="connsiteY1154" fmla="*/ 5141190 h 5704395"/>
                <a:gd name="connsiteX1155" fmla="*/ 1075458 w 5719680"/>
                <a:gd name="connsiteY1155" fmla="*/ 5138021 h 5704395"/>
                <a:gd name="connsiteX1156" fmla="*/ 325560 w 5719680"/>
                <a:gd name="connsiteY1156" fmla="*/ 5137704 h 5704395"/>
                <a:gd name="connsiteX1157" fmla="*/ 317301 w 5719680"/>
                <a:gd name="connsiteY1157" fmla="*/ 5162738 h 5704395"/>
                <a:gd name="connsiteX1158" fmla="*/ 338264 w 5719680"/>
                <a:gd name="connsiteY1158" fmla="*/ 5148795 h 5704395"/>
                <a:gd name="connsiteX1159" fmla="*/ 325560 w 5719680"/>
                <a:gd name="connsiteY1159" fmla="*/ 5137704 h 5704395"/>
                <a:gd name="connsiteX1160" fmla="*/ 3610056 w 5719680"/>
                <a:gd name="connsiteY1160" fmla="*/ 5134218 h 5704395"/>
                <a:gd name="connsiteX1161" fmla="*/ 3467762 w 5719680"/>
                <a:gd name="connsiteY1161" fmla="*/ 5244178 h 5704395"/>
                <a:gd name="connsiteX1162" fmla="*/ 3664368 w 5719680"/>
                <a:gd name="connsiteY1162" fmla="*/ 5376004 h 5704395"/>
                <a:gd name="connsiteX1163" fmla="*/ 3710741 w 5719680"/>
                <a:gd name="connsiteY1163" fmla="*/ 5357941 h 5704395"/>
                <a:gd name="connsiteX1164" fmla="*/ 3743773 w 5719680"/>
                <a:gd name="connsiteY1164" fmla="*/ 5344948 h 5704395"/>
                <a:gd name="connsiteX1165" fmla="*/ 3751078 w 5719680"/>
                <a:gd name="connsiteY1165" fmla="*/ 5342097 h 5704395"/>
                <a:gd name="connsiteX1166" fmla="*/ 3712964 w 5719680"/>
                <a:gd name="connsiteY1166" fmla="*/ 5253368 h 5704395"/>
                <a:gd name="connsiteX1167" fmla="*/ 3711694 w 5719680"/>
                <a:gd name="connsiteY1167" fmla="*/ 5250833 h 5704395"/>
                <a:gd name="connsiteX1168" fmla="*/ 3610056 w 5719680"/>
                <a:gd name="connsiteY1168" fmla="*/ 5134218 h 5704395"/>
                <a:gd name="connsiteX1169" fmla="*/ 1042425 w 5719680"/>
                <a:gd name="connsiteY1169" fmla="*/ 5133901 h 5704395"/>
                <a:gd name="connsiteX1170" fmla="*/ 1079587 w 5719680"/>
                <a:gd name="connsiteY1170" fmla="*/ 5133901 h 5704395"/>
                <a:gd name="connsiteX1171" fmla="*/ 1079904 w 5719680"/>
                <a:gd name="connsiteY1171" fmla="*/ 5137070 h 5704395"/>
                <a:gd name="connsiteX1172" fmla="*/ 1096420 w 5719680"/>
                <a:gd name="connsiteY1172" fmla="*/ 5137070 h 5704395"/>
                <a:gd name="connsiteX1173" fmla="*/ 1096738 w 5719680"/>
                <a:gd name="connsiteY1173" fmla="*/ 5195694 h 5704395"/>
                <a:gd name="connsiteX1174" fmla="*/ 1061800 w 5719680"/>
                <a:gd name="connsiteY1174" fmla="*/ 5196011 h 5704395"/>
                <a:gd name="connsiteX1175" fmla="*/ 1061800 w 5719680"/>
                <a:gd name="connsiteY1175" fmla="*/ 5172878 h 5704395"/>
                <a:gd name="connsiteX1176" fmla="*/ 1043696 w 5719680"/>
                <a:gd name="connsiteY1176" fmla="*/ 5172878 h 5704395"/>
                <a:gd name="connsiteX1177" fmla="*/ 1043378 w 5719680"/>
                <a:gd name="connsiteY1177" fmla="*/ 5170977 h 5704395"/>
                <a:gd name="connsiteX1178" fmla="*/ 1042425 w 5719680"/>
                <a:gd name="connsiteY1178" fmla="*/ 5133901 h 5704395"/>
                <a:gd name="connsiteX1179" fmla="*/ 621263 w 5719680"/>
                <a:gd name="connsiteY1179" fmla="*/ 5131049 h 5704395"/>
                <a:gd name="connsiteX1180" fmla="*/ 598712 w 5719680"/>
                <a:gd name="connsiteY1180" fmla="*/ 5162421 h 5704395"/>
                <a:gd name="connsiteX1181" fmla="*/ 619039 w 5719680"/>
                <a:gd name="connsiteY1181" fmla="*/ 5176998 h 5704395"/>
                <a:gd name="connsiteX1182" fmla="*/ 641590 w 5719680"/>
                <a:gd name="connsiteY1182" fmla="*/ 5145309 h 5704395"/>
                <a:gd name="connsiteX1183" fmla="*/ 621263 w 5719680"/>
                <a:gd name="connsiteY1183" fmla="*/ 5131049 h 5704395"/>
                <a:gd name="connsiteX1184" fmla="*/ 323336 w 5719680"/>
                <a:gd name="connsiteY1184" fmla="*/ 5129465 h 5704395"/>
                <a:gd name="connsiteX1185" fmla="*/ 345887 w 5719680"/>
                <a:gd name="connsiteY1185" fmla="*/ 5149429 h 5704395"/>
                <a:gd name="connsiteX1186" fmla="*/ 343346 w 5719680"/>
                <a:gd name="connsiteY1186" fmla="*/ 5151013 h 5704395"/>
                <a:gd name="connsiteX1187" fmla="*/ 308726 w 5719680"/>
                <a:gd name="connsiteY1187" fmla="*/ 5174146 h 5704395"/>
                <a:gd name="connsiteX1188" fmla="*/ 323336 w 5719680"/>
                <a:gd name="connsiteY1188" fmla="*/ 5129465 h 5704395"/>
                <a:gd name="connsiteX1189" fmla="*/ 1414674 w 5719680"/>
                <a:gd name="connsiteY1189" fmla="*/ 5128831 h 5704395"/>
                <a:gd name="connsiteX1190" fmla="*/ 1363538 w 5719680"/>
                <a:gd name="connsiteY1190" fmla="*/ 5164956 h 5704395"/>
                <a:gd name="connsiteX1191" fmla="*/ 1320024 w 5719680"/>
                <a:gd name="connsiteY1191" fmla="*/ 5195694 h 5704395"/>
                <a:gd name="connsiteX1192" fmla="*/ 1305731 w 5719680"/>
                <a:gd name="connsiteY1192" fmla="*/ 5206468 h 5704395"/>
                <a:gd name="connsiteX1193" fmla="*/ 1301602 w 5719680"/>
                <a:gd name="connsiteY1193" fmla="*/ 5209320 h 5704395"/>
                <a:gd name="connsiteX1194" fmla="*/ 1301602 w 5719680"/>
                <a:gd name="connsiteY1194" fmla="*/ 5209637 h 5704395"/>
                <a:gd name="connsiteX1195" fmla="*/ 1300332 w 5719680"/>
                <a:gd name="connsiteY1195" fmla="*/ 5210905 h 5704395"/>
                <a:gd name="connsiteX1196" fmla="*/ 1289215 w 5719680"/>
                <a:gd name="connsiteY1196" fmla="*/ 5234988 h 5704395"/>
                <a:gd name="connsiteX1197" fmla="*/ 1279369 w 5719680"/>
                <a:gd name="connsiteY1197" fmla="*/ 5317696 h 5704395"/>
                <a:gd name="connsiteX1198" fmla="*/ 1279369 w 5719680"/>
                <a:gd name="connsiteY1198" fmla="*/ 5321816 h 5704395"/>
                <a:gd name="connsiteX1199" fmla="*/ 1303826 w 5719680"/>
                <a:gd name="connsiteY1199" fmla="*/ 5401988 h 5704395"/>
                <a:gd name="connsiteX1200" fmla="*/ 1359091 w 5719680"/>
                <a:gd name="connsiteY1200" fmla="*/ 5423854 h 5704395"/>
                <a:gd name="connsiteX1201" fmla="*/ 1408640 w 5719680"/>
                <a:gd name="connsiteY1201" fmla="*/ 5427973 h 5704395"/>
                <a:gd name="connsiteX1202" fmla="*/ 1407687 w 5719680"/>
                <a:gd name="connsiteY1202" fmla="*/ 5409594 h 5704395"/>
                <a:gd name="connsiteX1203" fmla="*/ 1406099 w 5719680"/>
                <a:gd name="connsiteY1203" fmla="*/ 5374102 h 5704395"/>
                <a:gd name="connsiteX1204" fmla="*/ 1405146 w 5719680"/>
                <a:gd name="connsiteY1204" fmla="*/ 5356040 h 5704395"/>
                <a:gd name="connsiteX1205" fmla="*/ 1427379 w 5719680"/>
                <a:gd name="connsiteY1205" fmla="*/ 5237523 h 5704395"/>
                <a:gd name="connsiteX1206" fmla="*/ 1433414 w 5719680"/>
                <a:gd name="connsiteY1206" fmla="*/ 5194427 h 5704395"/>
                <a:gd name="connsiteX1207" fmla="*/ 1421027 w 5719680"/>
                <a:gd name="connsiteY1207" fmla="*/ 5139605 h 5704395"/>
                <a:gd name="connsiteX1208" fmla="*/ 1414674 w 5719680"/>
                <a:gd name="connsiteY1208" fmla="*/ 5128831 h 5704395"/>
                <a:gd name="connsiteX1209" fmla="*/ 1189800 w 5719680"/>
                <a:gd name="connsiteY1209" fmla="*/ 5128831 h 5704395"/>
                <a:gd name="connsiteX1210" fmla="*/ 1188530 w 5719680"/>
                <a:gd name="connsiteY1210" fmla="*/ 5144358 h 5704395"/>
                <a:gd name="connsiteX1211" fmla="*/ 1227915 w 5719680"/>
                <a:gd name="connsiteY1211" fmla="*/ 5148161 h 5704395"/>
                <a:gd name="connsiteX1212" fmla="*/ 1229503 w 5719680"/>
                <a:gd name="connsiteY1212" fmla="*/ 5132634 h 5704395"/>
                <a:gd name="connsiteX1213" fmla="*/ 1189800 w 5719680"/>
                <a:gd name="connsiteY1213" fmla="*/ 5128831 h 5704395"/>
                <a:gd name="connsiteX1214" fmla="*/ 3011980 w 5719680"/>
                <a:gd name="connsiteY1214" fmla="*/ 5127247 h 5704395"/>
                <a:gd name="connsiteX1215" fmla="*/ 2990699 w 5719680"/>
                <a:gd name="connsiteY1215" fmla="*/ 5134218 h 5704395"/>
                <a:gd name="connsiteX1216" fmla="*/ 2991652 w 5719680"/>
                <a:gd name="connsiteY1216" fmla="*/ 5137704 h 5704395"/>
                <a:gd name="connsiteX1217" fmla="*/ 2992287 w 5719680"/>
                <a:gd name="connsiteY1217" fmla="*/ 5139605 h 5704395"/>
                <a:gd name="connsiteX1218" fmla="*/ 2977359 w 5719680"/>
                <a:gd name="connsiteY1218" fmla="*/ 5144358 h 5704395"/>
                <a:gd name="connsiteX1219" fmla="*/ 2993240 w 5719680"/>
                <a:gd name="connsiteY1219" fmla="*/ 5196645 h 5704395"/>
                <a:gd name="connsiteX1220" fmla="*/ 3008168 w 5719680"/>
                <a:gd name="connsiteY1220" fmla="*/ 5191892 h 5704395"/>
                <a:gd name="connsiteX1221" fmla="*/ 3000863 w 5719680"/>
                <a:gd name="connsiteY1221" fmla="*/ 5169076 h 5704395"/>
                <a:gd name="connsiteX1222" fmla="*/ 3023096 w 5719680"/>
                <a:gd name="connsiteY1222" fmla="*/ 5161787 h 5704395"/>
                <a:gd name="connsiteX1223" fmla="*/ 3011980 w 5719680"/>
                <a:gd name="connsiteY1223" fmla="*/ 5127247 h 5704395"/>
                <a:gd name="connsiteX1224" fmla="*/ 620310 w 5719680"/>
                <a:gd name="connsiteY1224" fmla="*/ 5125345 h 5704395"/>
                <a:gd name="connsiteX1225" fmla="*/ 647307 w 5719680"/>
                <a:gd name="connsiteY1225" fmla="*/ 5144358 h 5704395"/>
                <a:gd name="connsiteX1226" fmla="*/ 619992 w 5719680"/>
                <a:gd name="connsiteY1226" fmla="*/ 5182702 h 5704395"/>
                <a:gd name="connsiteX1227" fmla="*/ 618404 w 5719680"/>
                <a:gd name="connsiteY1227" fmla="*/ 5181434 h 5704395"/>
                <a:gd name="connsiteX1228" fmla="*/ 592995 w 5719680"/>
                <a:gd name="connsiteY1228" fmla="*/ 5163372 h 5704395"/>
                <a:gd name="connsiteX1229" fmla="*/ 620310 w 5719680"/>
                <a:gd name="connsiteY1229" fmla="*/ 5125345 h 5704395"/>
                <a:gd name="connsiteX1230" fmla="*/ 1186307 w 5719680"/>
                <a:gd name="connsiteY1230" fmla="*/ 5124395 h 5704395"/>
                <a:gd name="connsiteX1231" fmla="*/ 1188212 w 5719680"/>
                <a:gd name="connsiteY1231" fmla="*/ 5124395 h 5704395"/>
                <a:gd name="connsiteX1232" fmla="*/ 1233949 w 5719680"/>
                <a:gd name="connsiteY1232" fmla="*/ 5128831 h 5704395"/>
                <a:gd name="connsiteX1233" fmla="*/ 1231726 w 5719680"/>
                <a:gd name="connsiteY1233" fmla="*/ 5152914 h 5704395"/>
                <a:gd name="connsiteX1234" fmla="*/ 1183766 w 5719680"/>
                <a:gd name="connsiteY1234" fmla="*/ 5148161 h 5704395"/>
                <a:gd name="connsiteX1235" fmla="*/ 1186307 w 5719680"/>
                <a:gd name="connsiteY1235" fmla="*/ 5124395 h 5704395"/>
                <a:gd name="connsiteX1236" fmla="*/ 3180635 w 5719680"/>
                <a:gd name="connsiteY1236" fmla="*/ 5122810 h 5704395"/>
                <a:gd name="connsiteX1237" fmla="*/ 3180635 w 5719680"/>
                <a:gd name="connsiteY1237" fmla="*/ 5150696 h 5704395"/>
                <a:gd name="connsiteX1238" fmla="*/ 3155226 w 5719680"/>
                <a:gd name="connsiteY1238" fmla="*/ 5150696 h 5704395"/>
                <a:gd name="connsiteX1239" fmla="*/ 3155226 w 5719680"/>
                <a:gd name="connsiteY1239" fmla="*/ 5201081 h 5704395"/>
                <a:gd name="connsiteX1240" fmla="*/ 3188258 w 5719680"/>
                <a:gd name="connsiteY1240" fmla="*/ 5201081 h 5704395"/>
                <a:gd name="connsiteX1241" fmla="*/ 3188258 w 5719680"/>
                <a:gd name="connsiteY1241" fmla="*/ 5168759 h 5704395"/>
                <a:gd name="connsiteX1242" fmla="*/ 3190164 w 5719680"/>
                <a:gd name="connsiteY1242" fmla="*/ 5168759 h 5704395"/>
                <a:gd name="connsiteX1243" fmla="*/ 3215573 w 5719680"/>
                <a:gd name="connsiteY1243" fmla="*/ 5168759 h 5704395"/>
                <a:gd name="connsiteX1244" fmla="*/ 3215573 w 5719680"/>
                <a:gd name="connsiteY1244" fmla="*/ 5122810 h 5704395"/>
                <a:gd name="connsiteX1245" fmla="*/ 3180635 w 5719680"/>
                <a:gd name="connsiteY1245" fmla="*/ 5122810 h 5704395"/>
                <a:gd name="connsiteX1246" fmla="*/ 3014520 w 5719680"/>
                <a:gd name="connsiteY1246" fmla="*/ 5121859 h 5704395"/>
                <a:gd name="connsiteX1247" fmla="*/ 3028178 w 5719680"/>
                <a:gd name="connsiteY1247" fmla="*/ 5164639 h 5704395"/>
                <a:gd name="connsiteX1248" fmla="*/ 3006262 w 5719680"/>
                <a:gd name="connsiteY1248" fmla="*/ 5171611 h 5704395"/>
                <a:gd name="connsiteX1249" fmla="*/ 3013568 w 5719680"/>
                <a:gd name="connsiteY1249" fmla="*/ 5194427 h 5704395"/>
                <a:gd name="connsiteX1250" fmla="*/ 2990699 w 5719680"/>
                <a:gd name="connsiteY1250" fmla="*/ 5201715 h 5704395"/>
                <a:gd name="connsiteX1251" fmla="*/ 2990064 w 5719680"/>
                <a:gd name="connsiteY1251" fmla="*/ 5199814 h 5704395"/>
                <a:gd name="connsiteX1252" fmla="*/ 2972277 w 5719680"/>
                <a:gd name="connsiteY1252" fmla="*/ 5141823 h 5704395"/>
                <a:gd name="connsiteX1253" fmla="*/ 2987205 w 5719680"/>
                <a:gd name="connsiteY1253" fmla="*/ 5136753 h 5704395"/>
                <a:gd name="connsiteX1254" fmla="*/ 2985935 w 5719680"/>
                <a:gd name="connsiteY1254" fmla="*/ 5133267 h 5704395"/>
                <a:gd name="connsiteX1255" fmla="*/ 2985300 w 5719680"/>
                <a:gd name="connsiteY1255" fmla="*/ 5131366 h 5704395"/>
                <a:gd name="connsiteX1256" fmla="*/ 3014520 w 5719680"/>
                <a:gd name="connsiteY1256" fmla="*/ 5121859 h 5704395"/>
                <a:gd name="connsiteX1257" fmla="*/ 736876 w 5719680"/>
                <a:gd name="connsiteY1257" fmla="*/ 5120275 h 5704395"/>
                <a:gd name="connsiteX1258" fmla="*/ 735288 w 5719680"/>
                <a:gd name="connsiteY1258" fmla="*/ 5135802 h 5704395"/>
                <a:gd name="connsiteX1259" fmla="*/ 774990 w 5719680"/>
                <a:gd name="connsiteY1259" fmla="*/ 5139605 h 5704395"/>
                <a:gd name="connsiteX1260" fmla="*/ 776578 w 5719680"/>
                <a:gd name="connsiteY1260" fmla="*/ 5124078 h 5704395"/>
                <a:gd name="connsiteX1261" fmla="*/ 736876 w 5719680"/>
                <a:gd name="connsiteY1261" fmla="*/ 5120275 h 5704395"/>
                <a:gd name="connsiteX1262" fmla="*/ 3176824 w 5719680"/>
                <a:gd name="connsiteY1262" fmla="*/ 5119007 h 5704395"/>
                <a:gd name="connsiteX1263" fmla="*/ 3219384 w 5719680"/>
                <a:gd name="connsiteY1263" fmla="*/ 5119007 h 5704395"/>
                <a:gd name="connsiteX1264" fmla="*/ 3219384 w 5719680"/>
                <a:gd name="connsiteY1264" fmla="*/ 5172561 h 5704395"/>
                <a:gd name="connsiteX1265" fmla="*/ 3192069 w 5719680"/>
                <a:gd name="connsiteY1265" fmla="*/ 5172561 h 5704395"/>
                <a:gd name="connsiteX1266" fmla="*/ 3192069 w 5719680"/>
                <a:gd name="connsiteY1266" fmla="*/ 5204884 h 5704395"/>
                <a:gd name="connsiteX1267" fmla="*/ 3151414 w 5719680"/>
                <a:gd name="connsiteY1267" fmla="*/ 5204884 h 5704395"/>
                <a:gd name="connsiteX1268" fmla="*/ 3151414 w 5719680"/>
                <a:gd name="connsiteY1268" fmla="*/ 5146894 h 5704395"/>
                <a:gd name="connsiteX1269" fmla="*/ 3176824 w 5719680"/>
                <a:gd name="connsiteY1269" fmla="*/ 5146894 h 5704395"/>
                <a:gd name="connsiteX1270" fmla="*/ 1873634 w 5719680"/>
                <a:gd name="connsiteY1270" fmla="*/ 5118691 h 5704395"/>
                <a:gd name="connsiteX1271" fmla="*/ 1435320 w 5719680"/>
                <a:gd name="connsiteY1271" fmla="*/ 5122493 h 5704395"/>
                <a:gd name="connsiteX1272" fmla="*/ 1454377 w 5719680"/>
                <a:gd name="connsiteY1272" fmla="*/ 5194427 h 5704395"/>
                <a:gd name="connsiteX1273" fmla="*/ 1447707 w 5719680"/>
                <a:gd name="connsiteY1273" fmla="*/ 5242911 h 5704395"/>
                <a:gd name="connsiteX1274" fmla="*/ 1426109 w 5719680"/>
                <a:gd name="connsiteY1274" fmla="*/ 5356040 h 5704395"/>
                <a:gd name="connsiteX1275" fmla="*/ 1426744 w 5719680"/>
                <a:gd name="connsiteY1275" fmla="*/ 5372518 h 5704395"/>
                <a:gd name="connsiteX1276" fmla="*/ 1428650 w 5719680"/>
                <a:gd name="connsiteY1276" fmla="*/ 5415931 h 5704395"/>
                <a:gd name="connsiteX1277" fmla="*/ 1429603 w 5719680"/>
                <a:gd name="connsiteY1277" fmla="*/ 5428290 h 5704395"/>
                <a:gd name="connsiteX1278" fmla="*/ 1508372 w 5719680"/>
                <a:gd name="connsiteY1278" fmla="*/ 5426389 h 5704395"/>
                <a:gd name="connsiteX1279" fmla="*/ 1540769 w 5719680"/>
                <a:gd name="connsiteY1279" fmla="*/ 5425121 h 5704395"/>
                <a:gd name="connsiteX1280" fmla="*/ 1582695 w 5719680"/>
                <a:gd name="connsiteY1280" fmla="*/ 5434311 h 5704395"/>
                <a:gd name="connsiteX1281" fmla="*/ 1612233 w 5719680"/>
                <a:gd name="connsiteY1281" fmla="*/ 5476457 h 5704395"/>
                <a:gd name="connsiteX1282" fmla="*/ 1613186 w 5719680"/>
                <a:gd name="connsiteY1282" fmla="*/ 5481210 h 5704395"/>
                <a:gd name="connsiteX1283" fmla="*/ 1815509 w 5719680"/>
                <a:gd name="connsiteY1283" fmla="*/ 5515751 h 5704395"/>
                <a:gd name="connsiteX1284" fmla="*/ 1892373 w 5719680"/>
                <a:gd name="connsiteY1284" fmla="*/ 5533180 h 5704395"/>
                <a:gd name="connsiteX1285" fmla="*/ 1900314 w 5719680"/>
                <a:gd name="connsiteY1285" fmla="*/ 5438747 h 5704395"/>
                <a:gd name="connsiteX1286" fmla="*/ 1902219 w 5719680"/>
                <a:gd name="connsiteY1286" fmla="*/ 5355406 h 5704395"/>
                <a:gd name="connsiteX1287" fmla="*/ 1901584 w 5719680"/>
                <a:gd name="connsiteY1287" fmla="*/ 5297415 h 5704395"/>
                <a:gd name="connsiteX1288" fmla="*/ 1886338 w 5719680"/>
                <a:gd name="connsiteY1288" fmla="*/ 5183653 h 5704395"/>
                <a:gd name="connsiteX1289" fmla="*/ 1873634 w 5719680"/>
                <a:gd name="connsiteY1289" fmla="*/ 5118691 h 5704395"/>
                <a:gd name="connsiteX1290" fmla="*/ 2007351 w 5719680"/>
                <a:gd name="connsiteY1290" fmla="*/ 5115839 h 5704395"/>
                <a:gd name="connsiteX1291" fmla="*/ 2006398 w 5719680"/>
                <a:gd name="connsiteY1291" fmla="*/ 5180484 h 5704395"/>
                <a:gd name="connsiteX1292" fmla="*/ 2061029 w 5719680"/>
                <a:gd name="connsiteY1292" fmla="*/ 5184286 h 5704395"/>
                <a:gd name="connsiteX1293" fmla="*/ 2061029 w 5719680"/>
                <a:gd name="connsiteY1293" fmla="*/ 5203933 h 5704395"/>
                <a:gd name="connsiteX1294" fmla="*/ 2112165 w 5719680"/>
                <a:gd name="connsiteY1294" fmla="*/ 5216292 h 5704395"/>
                <a:gd name="connsiteX1295" fmla="*/ 2165525 w 5719680"/>
                <a:gd name="connsiteY1295" fmla="*/ 5228651 h 5704395"/>
                <a:gd name="connsiteX1296" fmla="*/ 2177277 w 5719680"/>
                <a:gd name="connsiteY1296" fmla="*/ 5159569 h 5704395"/>
                <a:gd name="connsiteX1297" fmla="*/ 2062299 w 5719680"/>
                <a:gd name="connsiteY1297" fmla="*/ 5136119 h 5704395"/>
                <a:gd name="connsiteX1298" fmla="*/ 2064205 w 5719680"/>
                <a:gd name="connsiteY1298" fmla="*/ 5116155 h 5704395"/>
                <a:gd name="connsiteX1299" fmla="*/ 2007351 w 5719680"/>
                <a:gd name="connsiteY1299" fmla="*/ 5115839 h 5704395"/>
                <a:gd name="connsiteX1300" fmla="*/ 733064 w 5719680"/>
                <a:gd name="connsiteY1300" fmla="*/ 5115522 h 5704395"/>
                <a:gd name="connsiteX1301" fmla="*/ 735288 w 5719680"/>
                <a:gd name="connsiteY1301" fmla="*/ 5115839 h 5704395"/>
                <a:gd name="connsiteX1302" fmla="*/ 781025 w 5719680"/>
                <a:gd name="connsiteY1302" fmla="*/ 5120275 h 5704395"/>
                <a:gd name="connsiteX1303" fmla="*/ 778802 w 5719680"/>
                <a:gd name="connsiteY1303" fmla="*/ 5144042 h 5704395"/>
                <a:gd name="connsiteX1304" fmla="*/ 730841 w 5719680"/>
                <a:gd name="connsiteY1304" fmla="*/ 5139605 h 5704395"/>
                <a:gd name="connsiteX1305" fmla="*/ 733064 w 5719680"/>
                <a:gd name="connsiteY1305" fmla="*/ 5115522 h 5704395"/>
                <a:gd name="connsiteX1306" fmla="*/ 607923 w 5719680"/>
                <a:gd name="connsiteY1306" fmla="*/ 5114254 h 5704395"/>
                <a:gd name="connsiteX1307" fmla="*/ 571079 w 5719680"/>
                <a:gd name="connsiteY1307" fmla="*/ 5148161 h 5704395"/>
                <a:gd name="connsiteX1308" fmla="*/ 571714 w 5719680"/>
                <a:gd name="connsiteY1308" fmla="*/ 5148478 h 5704395"/>
                <a:gd name="connsiteX1309" fmla="*/ 624121 w 5719680"/>
                <a:gd name="connsiteY1309" fmla="*/ 5197596 h 5704395"/>
                <a:gd name="connsiteX1310" fmla="*/ 671129 w 5719680"/>
                <a:gd name="connsiteY1310" fmla="*/ 5142457 h 5704395"/>
                <a:gd name="connsiteX1311" fmla="*/ 649531 w 5719680"/>
                <a:gd name="connsiteY1311" fmla="*/ 5132950 h 5704395"/>
                <a:gd name="connsiteX1312" fmla="*/ 619992 w 5719680"/>
                <a:gd name="connsiteY1312" fmla="*/ 5119641 h 5704395"/>
                <a:gd name="connsiteX1313" fmla="*/ 610464 w 5719680"/>
                <a:gd name="connsiteY1313" fmla="*/ 5115205 h 5704395"/>
                <a:gd name="connsiteX1314" fmla="*/ 607923 w 5719680"/>
                <a:gd name="connsiteY1314" fmla="*/ 5114254 h 5704395"/>
                <a:gd name="connsiteX1315" fmla="*/ 488180 w 5719680"/>
                <a:gd name="connsiteY1315" fmla="*/ 5098410 h 5704395"/>
                <a:gd name="connsiteX1316" fmla="*/ 419257 w 5719680"/>
                <a:gd name="connsiteY1316" fmla="*/ 5182068 h 5704395"/>
                <a:gd name="connsiteX1317" fmla="*/ 418304 w 5719680"/>
                <a:gd name="connsiteY1317" fmla="*/ 5183336 h 5704395"/>
                <a:gd name="connsiteX1318" fmla="*/ 392259 w 5719680"/>
                <a:gd name="connsiteY1318" fmla="*/ 5171611 h 5704395"/>
                <a:gd name="connsiteX1319" fmla="*/ 378920 w 5719680"/>
                <a:gd name="connsiteY1319" fmla="*/ 5193476 h 5704395"/>
                <a:gd name="connsiteX1320" fmla="*/ 368120 w 5719680"/>
                <a:gd name="connsiteY1320" fmla="*/ 5209954 h 5704395"/>
                <a:gd name="connsiteX1321" fmla="*/ 364309 w 5719680"/>
                <a:gd name="connsiteY1321" fmla="*/ 5215341 h 5704395"/>
                <a:gd name="connsiteX1322" fmla="*/ 363356 w 5719680"/>
                <a:gd name="connsiteY1322" fmla="*/ 5216926 h 5704395"/>
                <a:gd name="connsiteX1323" fmla="*/ 397659 w 5719680"/>
                <a:gd name="connsiteY1323" fmla="*/ 5245763 h 5704395"/>
                <a:gd name="connsiteX1324" fmla="*/ 430056 w 5719680"/>
                <a:gd name="connsiteY1324" fmla="*/ 5271431 h 5704395"/>
                <a:gd name="connsiteX1325" fmla="*/ 427515 w 5719680"/>
                <a:gd name="connsiteY1325" fmla="*/ 5274916 h 5704395"/>
                <a:gd name="connsiteX1326" fmla="*/ 393212 w 5719680"/>
                <a:gd name="connsiteY1326" fmla="*/ 5247981 h 5704395"/>
                <a:gd name="connsiteX1327" fmla="*/ 369709 w 5719680"/>
                <a:gd name="connsiteY1327" fmla="*/ 5228651 h 5704395"/>
                <a:gd name="connsiteX1328" fmla="*/ 361768 w 5719680"/>
                <a:gd name="connsiteY1328" fmla="*/ 5221679 h 5704395"/>
                <a:gd name="connsiteX1329" fmla="*/ 359545 w 5719680"/>
                <a:gd name="connsiteY1329" fmla="*/ 5219144 h 5704395"/>
                <a:gd name="connsiteX1330" fmla="*/ 359227 w 5719680"/>
                <a:gd name="connsiteY1330" fmla="*/ 5218827 h 5704395"/>
                <a:gd name="connsiteX1331" fmla="*/ 339852 w 5719680"/>
                <a:gd name="connsiteY1331" fmla="*/ 5220728 h 5704395"/>
                <a:gd name="connsiteX1332" fmla="*/ 299832 w 5719680"/>
                <a:gd name="connsiteY1332" fmla="*/ 5223897 h 5704395"/>
                <a:gd name="connsiteX1333" fmla="*/ 311267 w 5719680"/>
                <a:gd name="connsiteY1333" fmla="*/ 5289493 h 5704395"/>
                <a:gd name="connsiteX1334" fmla="*/ 310631 w 5719680"/>
                <a:gd name="connsiteY1334" fmla="*/ 5289493 h 5704395"/>
                <a:gd name="connsiteX1335" fmla="*/ 409411 w 5719680"/>
                <a:gd name="connsiteY1335" fmla="*/ 5299634 h 5704395"/>
                <a:gd name="connsiteX1336" fmla="*/ 418622 w 5719680"/>
                <a:gd name="connsiteY1336" fmla="*/ 5286324 h 5704395"/>
                <a:gd name="connsiteX1337" fmla="*/ 535506 w 5719680"/>
                <a:gd name="connsiteY1337" fmla="*/ 5143091 h 5704395"/>
                <a:gd name="connsiteX1338" fmla="*/ 488180 w 5719680"/>
                <a:gd name="connsiteY1338" fmla="*/ 5098410 h 5704395"/>
                <a:gd name="connsiteX1339" fmla="*/ 2318618 w 5719680"/>
                <a:gd name="connsiteY1339" fmla="*/ 5095875 h 5704395"/>
                <a:gd name="connsiteX1340" fmla="*/ 2289714 w 5719680"/>
                <a:gd name="connsiteY1340" fmla="*/ 5096191 h 5704395"/>
                <a:gd name="connsiteX1341" fmla="*/ 2290667 w 5719680"/>
                <a:gd name="connsiteY1341" fmla="*/ 5126613 h 5704395"/>
                <a:gd name="connsiteX1342" fmla="*/ 2308771 w 5719680"/>
                <a:gd name="connsiteY1342" fmla="*/ 5126613 h 5704395"/>
                <a:gd name="connsiteX1343" fmla="*/ 2309089 w 5719680"/>
                <a:gd name="connsiteY1343" fmla="*/ 5149746 h 5704395"/>
                <a:gd name="connsiteX1344" fmla="*/ 2335451 w 5719680"/>
                <a:gd name="connsiteY1344" fmla="*/ 5149429 h 5704395"/>
                <a:gd name="connsiteX1345" fmla="*/ 2335134 w 5719680"/>
                <a:gd name="connsiteY1345" fmla="*/ 5099043 h 5704395"/>
                <a:gd name="connsiteX1346" fmla="*/ 2318618 w 5719680"/>
                <a:gd name="connsiteY1346" fmla="*/ 5099360 h 5704395"/>
                <a:gd name="connsiteX1347" fmla="*/ 2318618 w 5719680"/>
                <a:gd name="connsiteY1347" fmla="*/ 5095875 h 5704395"/>
                <a:gd name="connsiteX1348" fmla="*/ 2322746 w 5719680"/>
                <a:gd name="connsiteY1348" fmla="*/ 5091755 h 5704395"/>
                <a:gd name="connsiteX1349" fmla="*/ 2322746 w 5719680"/>
                <a:gd name="connsiteY1349" fmla="*/ 5094924 h 5704395"/>
                <a:gd name="connsiteX1350" fmla="*/ 2339263 w 5719680"/>
                <a:gd name="connsiteY1350" fmla="*/ 5094924 h 5704395"/>
                <a:gd name="connsiteX1351" fmla="*/ 2339580 w 5719680"/>
                <a:gd name="connsiteY1351" fmla="*/ 5153548 h 5704395"/>
                <a:gd name="connsiteX1352" fmla="*/ 2304960 w 5719680"/>
                <a:gd name="connsiteY1352" fmla="*/ 5153865 h 5704395"/>
                <a:gd name="connsiteX1353" fmla="*/ 2304642 w 5719680"/>
                <a:gd name="connsiteY1353" fmla="*/ 5130732 h 5704395"/>
                <a:gd name="connsiteX1354" fmla="*/ 2286538 w 5719680"/>
                <a:gd name="connsiteY1354" fmla="*/ 5131049 h 5704395"/>
                <a:gd name="connsiteX1355" fmla="*/ 2286538 w 5719680"/>
                <a:gd name="connsiteY1355" fmla="*/ 5128831 h 5704395"/>
                <a:gd name="connsiteX1356" fmla="*/ 2285268 w 5719680"/>
                <a:gd name="connsiteY1356" fmla="*/ 5092072 h 5704395"/>
                <a:gd name="connsiteX1357" fmla="*/ 2322746 w 5719680"/>
                <a:gd name="connsiteY1357" fmla="*/ 5091755 h 5704395"/>
                <a:gd name="connsiteX1358" fmla="*/ 3476656 w 5719680"/>
                <a:gd name="connsiteY1358" fmla="*/ 5088586 h 5704395"/>
                <a:gd name="connsiteX1359" fmla="*/ 3432189 w 5719680"/>
                <a:gd name="connsiteY1359" fmla="*/ 5112353 h 5704395"/>
                <a:gd name="connsiteX1360" fmla="*/ 3439812 w 5719680"/>
                <a:gd name="connsiteY1360" fmla="*/ 5126930 h 5704395"/>
                <a:gd name="connsiteX1361" fmla="*/ 3436954 w 5719680"/>
                <a:gd name="connsiteY1361" fmla="*/ 5128514 h 5704395"/>
                <a:gd name="connsiteX1362" fmla="*/ 3450294 w 5719680"/>
                <a:gd name="connsiteY1362" fmla="*/ 5153865 h 5704395"/>
                <a:gd name="connsiteX1363" fmla="*/ 3477291 w 5719680"/>
                <a:gd name="connsiteY1363" fmla="*/ 5138971 h 5704395"/>
                <a:gd name="connsiteX1364" fmla="*/ 3468715 w 5719680"/>
                <a:gd name="connsiteY1364" fmla="*/ 5122810 h 5704395"/>
                <a:gd name="connsiteX1365" fmla="*/ 3489043 w 5719680"/>
                <a:gd name="connsiteY1365" fmla="*/ 5112036 h 5704395"/>
                <a:gd name="connsiteX1366" fmla="*/ 3476656 w 5719680"/>
                <a:gd name="connsiteY1366" fmla="*/ 5088586 h 5704395"/>
                <a:gd name="connsiteX1367" fmla="*/ 141023 w 5719680"/>
                <a:gd name="connsiteY1367" fmla="*/ 5086051 h 5704395"/>
                <a:gd name="connsiteX1368" fmla="*/ 137847 w 5719680"/>
                <a:gd name="connsiteY1368" fmla="*/ 5104114 h 5704395"/>
                <a:gd name="connsiteX1369" fmla="*/ 218522 w 5719680"/>
                <a:gd name="connsiteY1369" fmla="*/ 5197913 h 5704395"/>
                <a:gd name="connsiteX1370" fmla="*/ 249649 w 5719680"/>
                <a:gd name="connsiteY1370" fmla="*/ 5195377 h 5704395"/>
                <a:gd name="connsiteX1371" fmla="*/ 244249 w 5719680"/>
                <a:gd name="connsiteY1371" fmla="*/ 5138338 h 5704395"/>
                <a:gd name="connsiteX1372" fmla="*/ 141023 w 5719680"/>
                <a:gd name="connsiteY1372" fmla="*/ 5086051 h 5704395"/>
                <a:gd name="connsiteX1373" fmla="*/ 4353602 w 5719680"/>
                <a:gd name="connsiteY1373" fmla="*/ 5083833 h 5704395"/>
                <a:gd name="connsiteX1374" fmla="*/ 4345978 w 5719680"/>
                <a:gd name="connsiteY1374" fmla="*/ 5084150 h 5704395"/>
                <a:gd name="connsiteX1375" fmla="*/ 4346614 w 5719680"/>
                <a:gd name="connsiteY1375" fmla="*/ 5100945 h 5704395"/>
                <a:gd name="connsiteX1376" fmla="*/ 4344708 w 5719680"/>
                <a:gd name="connsiteY1376" fmla="*/ 5100945 h 5704395"/>
                <a:gd name="connsiteX1377" fmla="*/ 4345026 w 5719680"/>
                <a:gd name="connsiteY1377" fmla="*/ 5101262 h 5704395"/>
                <a:gd name="connsiteX1378" fmla="*/ 4353284 w 5719680"/>
                <a:gd name="connsiteY1378" fmla="*/ 5102846 h 5704395"/>
                <a:gd name="connsiteX1379" fmla="*/ 4353602 w 5719680"/>
                <a:gd name="connsiteY1379" fmla="*/ 5102846 h 5704395"/>
                <a:gd name="connsiteX1380" fmla="*/ 53678 w 5719680"/>
                <a:gd name="connsiteY1380" fmla="*/ 5083833 h 5704395"/>
                <a:gd name="connsiteX1381" fmla="*/ 57172 w 5719680"/>
                <a:gd name="connsiteY1381" fmla="*/ 5086368 h 5704395"/>
                <a:gd name="connsiteX1382" fmla="*/ 1271 w 5719680"/>
                <a:gd name="connsiteY1382" fmla="*/ 5164006 h 5704395"/>
                <a:gd name="connsiteX1383" fmla="*/ 1271 w 5719680"/>
                <a:gd name="connsiteY1383" fmla="*/ 5156400 h 5704395"/>
                <a:gd name="connsiteX1384" fmla="*/ 23822 w 5719680"/>
                <a:gd name="connsiteY1384" fmla="*/ 5125345 h 5704395"/>
                <a:gd name="connsiteX1385" fmla="*/ 1271 w 5719680"/>
                <a:gd name="connsiteY1385" fmla="*/ 5109501 h 5704395"/>
                <a:gd name="connsiteX1386" fmla="*/ 1271 w 5719680"/>
                <a:gd name="connsiteY1386" fmla="*/ 5103797 h 5704395"/>
                <a:gd name="connsiteX1387" fmla="*/ 26363 w 5719680"/>
                <a:gd name="connsiteY1387" fmla="*/ 5121859 h 5704395"/>
                <a:gd name="connsiteX1388" fmla="*/ 53678 w 5719680"/>
                <a:gd name="connsiteY1388" fmla="*/ 5083833 h 5704395"/>
                <a:gd name="connsiteX1389" fmla="*/ 4357095 w 5719680"/>
                <a:gd name="connsiteY1389" fmla="*/ 5083516 h 5704395"/>
                <a:gd name="connsiteX1390" fmla="*/ 4367259 w 5719680"/>
                <a:gd name="connsiteY1390" fmla="*/ 5098727 h 5704395"/>
                <a:gd name="connsiteX1391" fmla="*/ 4357095 w 5719680"/>
                <a:gd name="connsiteY1391" fmla="*/ 5083516 h 5704395"/>
                <a:gd name="connsiteX1392" fmla="*/ 640002 w 5719680"/>
                <a:gd name="connsiteY1392" fmla="*/ 5083516 h 5704395"/>
                <a:gd name="connsiteX1393" fmla="*/ 640002 w 5719680"/>
                <a:gd name="connsiteY1393" fmla="*/ 5084467 h 5704395"/>
                <a:gd name="connsiteX1394" fmla="*/ 611416 w 5719680"/>
                <a:gd name="connsiteY1394" fmla="*/ 5110768 h 5704395"/>
                <a:gd name="connsiteX1395" fmla="*/ 652707 w 5719680"/>
                <a:gd name="connsiteY1395" fmla="*/ 5129465 h 5704395"/>
                <a:gd name="connsiteX1396" fmla="*/ 693680 w 5719680"/>
                <a:gd name="connsiteY1396" fmla="*/ 5147844 h 5704395"/>
                <a:gd name="connsiteX1397" fmla="*/ 817233 w 5719680"/>
                <a:gd name="connsiteY1397" fmla="*/ 5167808 h 5704395"/>
                <a:gd name="connsiteX1398" fmla="*/ 817869 w 5719680"/>
                <a:gd name="connsiteY1398" fmla="*/ 5108233 h 5704395"/>
                <a:gd name="connsiteX1399" fmla="*/ 694633 w 5719680"/>
                <a:gd name="connsiteY1399" fmla="*/ 5101895 h 5704395"/>
                <a:gd name="connsiteX1400" fmla="*/ 640002 w 5719680"/>
                <a:gd name="connsiteY1400" fmla="*/ 5083516 h 5704395"/>
                <a:gd name="connsiteX1401" fmla="*/ 3478562 w 5719680"/>
                <a:gd name="connsiteY1401" fmla="*/ 5082882 h 5704395"/>
                <a:gd name="connsiteX1402" fmla="*/ 3494760 w 5719680"/>
                <a:gd name="connsiteY1402" fmla="*/ 5113620 h 5704395"/>
                <a:gd name="connsiteX1403" fmla="*/ 3474115 w 5719680"/>
                <a:gd name="connsiteY1403" fmla="*/ 5124711 h 5704395"/>
                <a:gd name="connsiteX1404" fmla="*/ 3482690 w 5719680"/>
                <a:gd name="connsiteY1404" fmla="*/ 5140556 h 5704395"/>
                <a:gd name="connsiteX1405" fmla="*/ 3481102 w 5719680"/>
                <a:gd name="connsiteY1405" fmla="*/ 5141506 h 5704395"/>
                <a:gd name="connsiteX1406" fmla="*/ 3448705 w 5719680"/>
                <a:gd name="connsiteY1406" fmla="*/ 5159569 h 5704395"/>
                <a:gd name="connsiteX1407" fmla="*/ 3431236 w 5719680"/>
                <a:gd name="connsiteY1407" fmla="*/ 5126613 h 5704395"/>
                <a:gd name="connsiteX1408" fmla="*/ 3434095 w 5719680"/>
                <a:gd name="connsiteY1408" fmla="*/ 5125028 h 5704395"/>
                <a:gd name="connsiteX1409" fmla="*/ 3426472 w 5719680"/>
                <a:gd name="connsiteY1409" fmla="*/ 5110451 h 5704395"/>
                <a:gd name="connsiteX1410" fmla="*/ 3478562 w 5719680"/>
                <a:gd name="connsiteY1410" fmla="*/ 5082882 h 5704395"/>
                <a:gd name="connsiteX1411" fmla="*/ 1244748 w 5719680"/>
                <a:gd name="connsiteY1411" fmla="*/ 5080664 h 5704395"/>
                <a:gd name="connsiteX1412" fmla="*/ 1243160 w 5719680"/>
                <a:gd name="connsiteY1412" fmla="*/ 5096508 h 5704395"/>
                <a:gd name="connsiteX1413" fmla="*/ 1282863 w 5719680"/>
                <a:gd name="connsiteY1413" fmla="*/ 5100311 h 5704395"/>
                <a:gd name="connsiteX1414" fmla="*/ 1284451 w 5719680"/>
                <a:gd name="connsiteY1414" fmla="*/ 5084467 h 5704395"/>
                <a:gd name="connsiteX1415" fmla="*/ 1244748 w 5719680"/>
                <a:gd name="connsiteY1415" fmla="*/ 5080664 h 5704395"/>
                <a:gd name="connsiteX1416" fmla="*/ 137212 w 5719680"/>
                <a:gd name="connsiteY1416" fmla="*/ 5079080 h 5704395"/>
                <a:gd name="connsiteX1417" fmla="*/ 248696 w 5719680"/>
                <a:gd name="connsiteY1417" fmla="*/ 5135169 h 5704395"/>
                <a:gd name="connsiteX1418" fmla="*/ 254731 w 5719680"/>
                <a:gd name="connsiteY1418" fmla="*/ 5199497 h 5704395"/>
                <a:gd name="connsiteX1419" fmla="*/ 252190 w 5719680"/>
                <a:gd name="connsiteY1419" fmla="*/ 5199814 h 5704395"/>
                <a:gd name="connsiteX1420" fmla="*/ 216616 w 5719680"/>
                <a:gd name="connsiteY1420" fmla="*/ 5202666 h 5704395"/>
                <a:gd name="connsiteX1421" fmla="*/ 132765 w 5719680"/>
                <a:gd name="connsiteY1421" fmla="*/ 5105381 h 5704395"/>
                <a:gd name="connsiteX1422" fmla="*/ 137212 w 5719680"/>
                <a:gd name="connsiteY1422" fmla="*/ 5079080 h 5704395"/>
                <a:gd name="connsiteX1423" fmla="*/ 2055629 w 5719680"/>
                <a:gd name="connsiteY1423" fmla="*/ 5076544 h 5704395"/>
                <a:gd name="connsiteX1424" fmla="*/ 2015927 w 5719680"/>
                <a:gd name="connsiteY1424" fmla="*/ 5076861 h 5704395"/>
                <a:gd name="connsiteX1425" fmla="*/ 2016244 w 5719680"/>
                <a:gd name="connsiteY1425" fmla="*/ 5092706 h 5704395"/>
                <a:gd name="connsiteX1426" fmla="*/ 2055947 w 5719680"/>
                <a:gd name="connsiteY1426" fmla="*/ 5092389 h 5704395"/>
                <a:gd name="connsiteX1427" fmla="*/ 2055629 w 5719680"/>
                <a:gd name="connsiteY1427" fmla="*/ 5076544 h 5704395"/>
                <a:gd name="connsiteX1428" fmla="*/ 1240937 w 5719680"/>
                <a:gd name="connsiteY1428" fmla="*/ 5076228 h 5704395"/>
                <a:gd name="connsiteX1429" fmla="*/ 1243160 w 5719680"/>
                <a:gd name="connsiteY1429" fmla="*/ 5076544 h 5704395"/>
                <a:gd name="connsiteX1430" fmla="*/ 1288897 w 5719680"/>
                <a:gd name="connsiteY1430" fmla="*/ 5080981 h 5704395"/>
                <a:gd name="connsiteX1431" fmla="*/ 1286674 w 5719680"/>
                <a:gd name="connsiteY1431" fmla="*/ 5104747 h 5704395"/>
                <a:gd name="connsiteX1432" fmla="*/ 1238714 w 5719680"/>
                <a:gd name="connsiteY1432" fmla="*/ 5099994 h 5704395"/>
                <a:gd name="connsiteX1433" fmla="*/ 1240937 w 5719680"/>
                <a:gd name="connsiteY1433" fmla="*/ 5076228 h 5704395"/>
                <a:gd name="connsiteX1434" fmla="*/ 2060076 w 5719680"/>
                <a:gd name="connsiteY1434" fmla="*/ 5072425 h 5704395"/>
                <a:gd name="connsiteX1435" fmla="*/ 2060076 w 5719680"/>
                <a:gd name="connsiteY1435" fmla="*/ 5096508 h 5704395"/>
                <a:gd name="connsiteX1436" fmla="*/ 2012115 w 5719680"/>
                <a:gd name="connsiteY1436" fmla="*/ 5096825 h 5704395"/>
                <a:gd name="connsiteX1437" fmla="*/ 2011798 w 5719680"/>
                <a:gd name="connsiteY1437" fmla="*/ 5072742 h 5704395"/>
                <a:gd name="connsiteX1438" fmla="*/ 2014021 w 5719680"/>
                <a:gd name="connsiteY1438" fmla="*/ 5072742 h 5704395"/>
                <a:gd name="connsiteX1439" fmla="*/ 871546 w 5719680"/>
                <a:gd name="connsiteY1439" fmla="*/ 5069256 h 5704395"/>
                <a:gd name="connsiteX1440" fmla="*/ 869958 w 5719680"/>
                <a:gd name="connsiteY1440" fmla="*/ 5084784 h 5704395"/>
                <a:gd name="connsiteX1441" fmla="*/ 909661 w 5719680"/>
                <a:gd name="connsiteY1441" fmla="*/ 5088586 h 5704395"/>
                <a:gd name="connsiteX1442" fmla="*/ 911249 w 5719680"/>
                <a:gd name="connsiteY1442" fmla="*/ 5073059 h 5704395"/>
                <a:gd name="connsiteX1443" fmla="*/ 871546 w 5719680"/>
                <a:gd name="connsiteY1443" fmla="*/ 5069256 h 5704395"/>
                <a:gd name="connsiteX1444" fmla="*/ 2197287 w 5719680"/>
                <a:gd name="connsiteY1444" fmla="*/ 5067355 h 5704395"/>
                <a:gd name="connsiteX1445" fmla="*/ 2173783 w 5719680"/>
                <a:gd name="connsiteY1445" fmla="*/ 5206785 h 5704395"/>
                <a:gd name="connsiteX1446" fmla="*/ 2203004 w 5719680"/>
                <a:gd name="connsiteY1446" fmla="*/ 5205835 h 5704395"/>
                <a:gd name="connsiteX1447" fmla="*/ 2225555 w 5719680"/>
                <a:gd name="connsiteY1447" fmla="*/ 5205201 h 5704395"/>
                <a:gd name="connsiteX1448" fmla="*/ 2233496 w 5719680"/>
                <a:gd name="connsiteY1448" fmla="*/ 5204567 h 5704395"/>
                <a:gd name="connsiteX1449" fmla="*/ 2235719 w 5719680"/>
                <a:gd name="connsiteY1449" fmla="*/ 5204250 h 5704395"/>
                <a:gd name="connsiteX1450" fmla="*/ 2236354 w 5719680"/>
                <a:gd name="connsiteY1450" fmla="*/ 5204250 h 5704395"/>
                <a:gd name="connsiteX1451" fmla="*/ 2276692 w 5719680"/>
                <a:gd name="connsiteY1451" fmla="*/ 5184286 h 5704395"/>
                <a:gd name="connsiteX1452" fmla="*/ 2277327 w 5719680"/>
                <a:gd name="connsiteY1452" fmla="*/ 5183969 h 5704395"/>
                <a:gd name="connsiteX1453" fmla="*/ 2334498 w 5719680"/>
                <a:gd name="connsiteY1453" fmla="*/ 5193159 h 5704395"/>
                <a:gd name="connsiteX1454" fmla="*/ 2366578 w 5719680"/>
                <a:gd name="connsiteY1454" fmla="*/ 5120275 h 5704395"/>
                <a:gd name="connsiteX1455" fmla="*/ 2387223 w 5719680"/>
                <a:gd name="connsiteY1455" fmla="*/ 5073059 h 5704395"/>
                <a:gd name="connsiteX1456" fmla="*/ 2197287 w 5719680"/>
                <a:gd name="connsiteY1456" fmla="*/ 5067355 h 5704395"/>
                <a:gd name="connsiteX1457" fmla="*/ 867735 w 5719680"/>
                <a:gd name="connsiteY1457" fmla="*/ 5064820 h 5704395"/>
                <a:gd name="connsiteX1458" fmla="*/ 869958 w 5719680"/>
                <a:gd name="connsiteY1458" fmla="*/ 5064820 h 5704395"/>
                <a:gd name="connsiteX1459" fmla="*/ 915695 w 5719680"/>
                <a:gd name="connsiteY1459" fmla="*/ 5069256 h 5704395"/>
                <a:gd name="connsiteX1460" fmla="*/ 913472 w 5719680"/>
                <a:gd name="connsiteY1460" fmla="*/ 5093340 h 5704395"/>
                <a:gd name="connsiteX1461" fmla="*/ 865512 w 5719680"/>
                <a:gd name="connsiteY1461" fmla="*/ 5088586 h 5704395"/>
                <a:gd name="connsiteX1462" fmla="*/ 867735 w 5719680"/>
                <a:gd name="connsiteY1462" fmla="*/ 5064820 h 5704395"/>
                <a:gd name="connsiteX1463" fmla="*/ 2007669 w 5719680"/>
                <a:gd name="connsiteY1463" fmla="*/ 5061968 h 5704395"/>
                <a:gd name="connsiteX1464" fmla="*/ 2007669 w 5719680"/>
                <a:gd name="connsiteY1464" fmla="*/ 5111402 h 5704395"/>
                <a:gd name="connsiteX1465" fmla="*/ 2068969 w 5719680"/>
                <a:gd name="connsiteY1465" fmla="*/ 5112036 h 5704395"/>
                <a:gd name="connsiteX1466" fmla="*/ 2067063 w 5719680"/>
                <a:gd name="connsiteY1466" fmla="*/ 5132634 h 5704395"/>
                <a:gd name="connsiteX1467" fmla="*/ 2177912 w 5719680"/>
                <a:gd name="connsiteY1467" fmla="*/ 5155450 h 5704395"/>
                <a:gd name="connsiteX1468" fmla="*/ 2179183 w 5719680"/>
                <a:gd name="connsiteY1468" fmla="*/ 5147527 h 5704395"/>
                <a:gd name="connsiteX1469" fmla="*/ 2189347 w 5719680"/>
                <a:gd name="connsiteY1469" fmla="*/ 5088586 h 5704395"/>
                <a:gd name="connsiteX1470" fmla="*/ 2192523 w 5719680"/>
                <a:gd name="connsiteY1470" fmla="*/ 5068939 h 5704395"/>
                <a:gd name="connsiteX1471" fmla="*/ 2192840 w 5719680"/>
                <a:gd name="connsiteY1471" fmla="*/ 5067355 h 5704395"/>
                <a:gd name="connsiteX1472" fmla="*/ 2007669 w 5719680"/>
                <a:gd name="connsiteY1472" fmla="*/ 5061968 h 5704395"/>
                <a:gd name="connsiteX1473" fmla="*/ 1964472 w 5719680"/>
                <a:gd name="connsiteY1473" fmla="*/ 5060383 h 5704395"/>
                <a:gd name="connsiteX1474" fmla="*/ 1893644 w 5719680"/>
                <a:gd name="connsiteY1474" fmla="*/ 5112670 h 5704395"/>
                <a:gd name="connsiteX1475" fmla="*/ 1921276 w 5719680"/>
                <a:gd name="connsiteY1475" fmla="*/ 5279986 h 5704395"/>
                <a:gd name="connsiteX1476" fmla="*/ 1924135 w 5719680"/>
                <a:gd name="connsiteY1476" fmla="*/ 5280303 h 5704395"/>
                <a:gd name="connsiteX1477" fmla="*/ 1971142 w 5719680"/>
                <a:gd name="connsiteY1477" fmla="*/ 5264459 h 5704395"/>
                <a:gd name="connsiteX1478" fmla="*/ 1984482 w 5719680"/>
                <a:gd name="connsiteY1478" fmla="*/ 5224214 h 5704395"/>
                <a:gd name="connsiteX1479" fmla="*/ 1987024 w 5719680"/>
                <a:gd name="connsiteY1479" fmla="*/ 5061334 h 5704395"/>
                <a:gd name="connsiteX1480" fmla="*/ 1964472 w 5719680"/>
                <a:gd name="connsiteY1480" fmla="*/ 5060383 h 5704395"/>
                <a:gd name="connsiteX1481" fmla="*/ 683516 w 5719680"/>
                <a:gd name="connsiteY1481" fmla="*/ 5057214 h 5704395"/>
                <a:gd name="connsiteX1482" fmla="*/ 681928 w 5719680"/>
                <a:gd name="connsiteY1482" fmla="*/ 5072742 h 5704395"/>
                <a:gd name="connsiteX1483" fmla="*/ 721630 w 5719680"/>
                <a:gd name="connsiteY1483" fmla="*/ 5076544 h 5704395"/>
                <a:gd name="connsiteX1484" fmla="*/ 722901 w 5719680"/>
                <a:gd name="connsiteY1484" fmla="*/ 5061017 h 5704395"/>
                <a:gd name="connsiteX1485" fmla="*/ 683516 w 5719680"/>
                <a:gd name="connsiteY1485" fmla="*/ 5057214 h 5704395"/>
                <a:gd name="connsiteX1486" fmla="*/ 679705 w 5719680"/>
                <a:gd name="connsiteY1486" fmla="*/ 5052778 h 5704395"/>
                <a:gd name="connsiteX1487" fmla="*/ 681610 w 5719680"/>
                <a:gd name="connsiteY1487" fmla="*/ 5052778 h 5704395"/>
                <a:gd name="connsiteX1488" fmla="*/ 727665 w 5719680"/>
                <a:gd name="connsiteY1488" fmla="*/ 5057214 h 5704395"/>
                <a:gd name="connsiteX1489" fmla="*/ 725124 w 5719680"/>
                <a:gd name="connsiteY1489" fmla="*/ 5081298 h 5704395"/>
                <a:gd name="connsiteX1490" fmla="*/ 677164 w 5719680"/>
                <a:gd name="connsiteY1490" fmla="*/ 5076544 h 5704395"/>
                <a:gd name="connsiteX1491" fmla="*/ 679705 w 5719680"/>
                <a:gd name="connsiteY1491" fmla="*/ 5052778 h 5704395"/>
                <a:gd name="connsiteX1492" fmla="*/ 302056 w 5719680"/>
                <a:gd name="connsiteY1492" fmla="*/ 5049926 h 5704395"/>
                <a:gd name="connsiteX1493" fmla="*/ 282046 w 5719680"/>
                <a:gd name="connsiteY1493" fmla="*/ 5126930 h 5704395"/>
                <a:gd name="connsiteX1494" fmla="*/ 294751 w 5719680"/>
                <a:gd name="connsiteY1494" fmla="*/ 5199497 h 5704395"/>
                <a:gd name="connsiteX1495" fmla="*/ 350334 w 5719680"/>
                <a:gd name="connsiteY1495" fmla="*/ 5195694 h 5704395"/>
                <a:gd name="connsiteX1496" fmla="*/ 384637 w 5719680"/>
                <a:gd name="connsiteY1496" fmla="*/ 5141506 h 5704395"/>
                <a:gd name="connsiteX1497" fmla="*/ 416081 w 5719680"/>
                <a:gd name="connsiteY1497" fmla="*/ 5158935 h 5704395"/>
                <a:gd name="connsiteX1498" fmla="*/ 463724 w 5719680"/>
                <a:gd name="connsiteY1498" fmla="*/ 5097776 h 5704395"/>
                <a:gd name="connsiteX1499" fmla="*/ 440538 w 5719680"/>
                <a:gd name="connsiteY1499" fmla="*/ 5078129 h 5704395"/>
                <a:gd name="connsiteX1500" fmla="*/ 424339 w 5719680"/>
                <a:gd name="connsiteY1500" fmla="*/ 5098727 h 5704395"/>
                <a:gd name="connsiteX1501" fmla="*/ 396071 w 5719680"/>
                <a:gd name="connsiteY1501" fmla="*/ 5085417 h 5704395"/>
                <a:gd name="connsiteX1502" fmla="*/ 362721 w 5719680"/>
                <a:gd name="connsiteY1502" fmla="*/ 5125345 h 5704395"/>
                <a:gd name="connsiteX1503" fmla="*/ 334135 w 5719680"/>
                <a:gd name="connsiteY1503" fmla="*/ 5105381 h 5704395"/>
                <a:gd name="connsiteX1504" fmla="*/ 343664 w 5719680"/>
                <a:gd name="connsiteY1504" fmla="*/ 5057214 h 5704395"/>
                <a:gd name="connsiteX1505" fmla="*/ 302056 w 5719680"/>
                <a:gd name="connsiteY1505" fmla="*/ 5049926 h 5704395"/>
                <a:gd name="connsiteX1506" fmla="*/ 1259359 w 5719680"/>
                <a:gd name="connsiteY1506" fmla="*/ 5048341 h 5704395"/>
                <a:gd name="connsiteX1507" fmla="*/ 1198058 w 5719680"/>
                <a:gd name="connsiteY1507" fmla="*/ 5102529 h 5704395"/>
                <a:gd name="connsiteX1508" fmla="*/ 1140569 w 5719680"/>
                <a:gd name="connsiteY1508" fmla="*/ 5152281 h 5704395"/>
                <a:gd name="connsiteX1509" fmla="*/ 1216480 w 5719680"/>
                <a:gd name="connsiteY1509" fmla="*/ 5176364 h 5704395"/>
                <a:gd name="connsiteX1510" fmla="*/ 1284451 w 5719680"/>
                <a:gd name="connsiteY1510" fmla="*/ 5197596 h 5704395"/>
                <a:gd name="connsiteX1511" fmla="*/ 1285086 w 5719680"/>
                <a:gd name="connsiteY1511" fmla="*/ 5196962 h 5704395"/>
                <a:gd name="connsiteX1512" fmla="*/ 1286356 w 5719680"/>
                <a:gd name="connsiteY1512" fmla="*/ 5195061 h 5704395"/>
                <a:gd name="connsiteX1513" fmla="*/ 1289533 w 5719680"/>
                <a:gd name="connsiteY1513" fmla="*/ 5192525 h 5704395"/>
                <a:gd name="connsiteX1514" fmla="*/ 1319706 w 5719680"/>
                <a:gd name="connsiteY1514" fmla="*/ 5170660 h 5704395"/>
                <a:gd name="connsiteX1515" fmla="*/ 1209175 w 5719680"/>
                <a:gd name="connsiteY1515" fmla="*/ 5094607 h 5704395"/>
                <a:gd name="connsiteX1516" fmla="*/ 1211716 w 5719680"/>
                <a:gd name="connsiteY1516" fmla="*/ 5090804 h 5704395"/>
                <a:gd name="connsiteX1517" fmla="*/ 1323518 w 5719680"/>
                <a:gd name="connsiteY1517" fmla="*/ 5167808 h 5704395"/>
                <a:gd name="connsiteX1518" fmla="*/ 1358138 w 5719680"/>
                <a:gd name="connsiteY1518" fmla="*/ 5143408 h 5704395"/>
                <a:gd name="connsiteX1519" fmla="*/ 1259359 w 5719680"/>
                <a:gd name="connsiteY1519" fmla="*/ 5048341 h 5704395"/>
                <a:gd name="connsiteX1520" fmla="*/ 841690 w 5719680"/>
                <a:gd name="connsiteY1520" fmla="*/ 5047391 h 5704395"/>
                <a:gd name="connsiteX1521" fmla="*/ 838832 w 5719680"/>
                <a:gd name="connsiteY1521" fmla="*/ 5072108 h 5704395"/>
                <a:gd name="connsiteX1522" fmla="*/ 838514 w 5719680"/>
                <a:gd name="connsiteY1522" fmla="*/ 5138971 h 5704395"/>
                <a:gd name="connsiteX1523" fmla="*/ 991924 w 5719680"/>
                <a:gd name="connsiteY1523" fmla="*/ 5134535 h 5704395"/>
                <a:gd name="connsiteX1524" fmla="*/ 991924 w 5719680"/>
                <a:gd name="connsiteY1524" fmla="*/ 5138971 h 5704395"/>
                <a:gd name="connsiteX1525" fmla="*/ 838196 w 5719680"/>
                <a:gd name="connsiteY1525" fmla="*/ 5143408 h 5704395"/>
                <a:gd name="connsiteX1526" fmla="*/ 837879 w 5719680"/>
                <a:gd name="connsiteY1526" fmla="*/ 5269529 h 5704395"/>
                <a:gd name="connsiteX1527" fmla="*/ 837879 w 5719680"/>
                <a:gd name="connsiteY1527" fmla="*/ 5284423 h 5704395"/>
                <a:gd name="connsiteX1528" fmla="*/ 946822 w 5719680"/>
                <a:gd name="connsiteY1528" fmla="*/ 5272064 h 5704395"/>
                <a:gd name="connsiteX1529" fmla="*/ 976361 w 5719680"/>
                <a:gd name="connsiteY1529" fmla="*/ 5268895 h 5704395"/>
                <a:gd name="connsiteX1530" fmla="*/ 1010663 w 5719680"/>
                <a:gd name="connsiteY1530" fmla="*/ 5155766 h 5704395"/>
                <a:gd name="connsiteX1531" fmla="*/ 992241 w 5719680"/>
                <a:gd name="connsiteY1531" fmla="*/ 5138338 h 5704395"/>
                <a:gd name="connsiteX1532" fmla="*/ 992241 w 5719680"/>
                <a:gd name="connsiteY1532" fmla="*/ 5137387 h 5704395"/>
                <a:gd name="connsiteX1533" fmla="*/ 1000500 w 5719680"/>
                <a:gd name="connsiteY1533" fmla="*/ 5063869 h 5704395"/>
                <a:gd name="connsiteX1534" fmla="*/ 841690 w 5719680"/>
                <a:gd name="connsiteY1534" fmla="*/ 5047391 h 5704395"/>
                <a:gd name="connsiteX1535" fmla="*/ 298562 w 5719680"/>
                <a:gd name="connsiteY1535" fmla="*/ 5044539 h 5704395"/>
                <a:gd name="connsiteX1536" fmla="*/ 349063 w 5719680"/>
                <a:gd name="connsiteY1536" fmla="*/ 5053729 h 5704395"/>
                <a:gd name="connsiteX1537" fmla="*/ 339217 w 5719680"/>
                <a:gd name="connsiteY1537" fmla="*/ 5103163 h 5704395"/>
                <a:gd name="connsiteX1538" fmla="*/ 361768 w 5719680"/>
                <a:gd name="connsiteY1538" fmla="*/ 5119007 h 5704395"/>
                <a:gd name="connsiteX1539" fmla="*/ 394800 w 5719680"/>
                <a:gd name="connsiteY1539" fmla="*/ 5079713 h 5704395"/>
                <a:gd name="connsiteX1540" fmla="*/ 423069 w 5719680"/>
                <a:gd name="connsiteY1540" fmla="*/ 5092706 h 5704395"/>
                <a:gd name="connsiteX1541" fmla="*/ 439902 w 5719680"/>
                <a:gd name="connsiteY1541" fmla="*/ 5071157 h 5704395"/>
                <a:gd name="connsiteX1542" fmla="*/ 470076 w 5719680"/>
                <a:gd name="connsiteY1542" fmla="*/ 5097142 h 5704395"/>
                <a:gd name="connsiteX1543" fmla="*/ 468806 w 5719680"/>
                <a:gd name="connsiteY1543" fmla="*/ 5099043 h 5704395"/>
                <a:gd name="connsiteX1544" fmla="*/ 417034 w 5719680"/>
                <a:gd name="connsiteY1544" fmla="*/ 5164956 h 5704395"/>
                <a:gd name="connsiteX1545" fmla="*/ 386225 w 5719680"/>
                <a:gd name="connsiteY1545" fmla="*/ 5147527 h 5704395"/>
                <a:gd name="connsiteX1546" fmla="*/ 352875 w 5719680"/>
                <a:gd name="connsiteY1546" fmla="*/ 5200131 h 5704395"/>
                <a:gd name="connsiteX1547" fmla="*/ 290939 w 5719680"/>
                <a:gd name="connsiteY1547" fmla="*/ 5204250 h 5704395"/>
                <a:gd name="connsiteX1548" fmla="*/ 277281 w 5719680"/>
                <a:gd name="connsiteY1548" fmla="*/ 5126930 h 5704395"/>
                <a:gd name="connsiteX1549" fmla="*/ 298562 w 5719680"/>
                <a:gd name="connsiteY1549" fmla="*/ 5044539 h 5704395"/>
                <a:gd name="connsiteX1550" fmla="*/ 3133310 w 5719680"/>
                <a:gd name="connsiteY1550" fmla="*/ 5041370 h 5704395"/>
                <a:gd name="connsiteX1551" fmla="*/ 3105359 w 5719680"/>
                <a:gd name="connsiteY1551" fmla="*/ 5175413 h 5704395"/>
                <a:gd name="connsiteX1552" fmla="*/ 3085349 w 5719680"/>
                <a:gd name="connsiteY1552" fmla="*/ 5268262 h 5704395"/>
                <a:gd name="connsiteX1553" fmla="*/ 3078362 w 5719680"/>
                <a:gd name="connsiteY1553" fmla="*/ 5299000 h 5704395"/>
                <a:gd name="connsiteX1554" fmla="*/ 3076774 w 5719680"/>
                <a:gd name="connsiteY1554" fmla="*/ 5305338 h 5704395"/>
                <a:gd name="connsiteX1555" fmla="*/ 3077091 w 5719680"/>
                <a:gd name="connsiteY1555" fmla="*/ 5305654 h 5704395"/>
                <a:gd name="connsiteX1556" fmla="*/ 3162213 w 5719680"/>
                <a:gd name="connsiteY1556" fmla="*/ 5355406 h 5704395"/>
                <a:gd name="connsiteX1557" fmla="*/ 3224149 w 5719680"/>
                <a:gd name="connsiteY1557" fmla="*/ 5407059 h 5704395"/>
                <a:gd name="connsiteX1558" fmla="*/ 3227642 w 5719680"/>
                <a:gd name="connsiteY1558" fmla="*/ 5413396 h 5704395"/>
                <a:gd name="connsiteX1559" fmla="*/ 3308636 w 5719680"/>
                <a:gd name="connsiteY1559" fmla="*/ 5350336 h 5704395"/>
                <a:gd name="connsiteX1560" fmla="*/ 3308000 w 5719680"/>
                <a:gd name="connsiteY1560" fmla="*/ 5349702 h 5704395"/>
                <a:gd name="connsiteX1561" fmla="*/ 3260992 w 5719680"/>
                <a:gd name="connsiteY1561" fmla="*/ 5277134 h 5704395"/>
                <a:gd name="connsiteX1562" fmla="*/ 3328963 w 5719680"/>
                <a:gd name="connsiteY1562" fmla="*/ 5187138 h 5704395"/>
                <a:gd name="connsiteX1563" fmla="*/ 3217479 w 5719680"/>
                <a:gd name="connsiteY1563" fmla="*/ 5067988 h 5704395"/>
                <a:gd name="connsiteX1564" fmla="*/ 3133310 w 5719680"/>
                <a:gd name="connsiteY1564" fmla="*/ 5041370 h 5704395"/>
                <a:gd name="connsiteX1565" fmla="*/ 1007487 w 5719680"/>
                <a:gd name="connsiteY1565" fmla="*/ 5038835 h 5704395"/>
                <a:gd name="connsiteX1566" fmla="*/ 996688 w 5719680"/>
                <a:gd name="connsiteY1566" fmla="*/ 5136753 h 5704395"/>
                <a:gd name="connsiteX1567" fmla="*/ 1015745 w 5719680"/>
                <a:gd name="connsiteY1567" fmla="*/ 5154499 h 5704395"/>
                <a:gd name="connsiteX1568" fmla="*/ 981125 w 5719680"/>
                <a:gd name="connsiteY1568" fmla="*/ 5268262 h 5704395"/>
                <a:gd name="connsiteX1569" fmla="*/ 1030038 w 5719680"/>
                <a:gd name="connsiteY1569" fmla="*/ 5262241 h 5704395"/>
                <a:gd name="connsiteX1570" fmla="*/ 1057036 w 5719680"/>
                <a:gd name="connsiteY1570" fmla="*/ 5258121 h 5704395"/>
                <a:gd name="connsiteX1571" fmla="*/ 1064341 w 5719680"/>
                <a:gd name="connsiteY1571" fmla="*/ 5256854 h 5704395"/>
                <a:gd name="connsiteX1572" fmla="*/ 1064659 w 5719680"/>
                <a:gd name="connsiteY1572" fmla="*/ 5256854 h 5704395"/>
                <a:gd name="connsiteX1573" fmla="*/ 1068470 w 5719680"/>
                <a:gd name="connsiteY1573" fmla="*/ 5255586 h 5704395"/>
                <a:gd name="connsiteX1574" fmla="*/ 1071646 w 5719680"/>
                <a:gd name="connsiteY1574" fmla="*/ 5256220 h 5704395"/>
                <a:gd name="connsiteX1575" fmla="*/ 1133899 w 5719680"/>
                <a:gd name="connsiteY1575" fmla="*/ 5152914 h 5704395"/>
                <a:gd name="connsiteX1576" fmla="*/ 1094515 w 5719680"/>
                <a:gd name="connsiteY1576" fmla="*/ 5075594 h 5704395"/>
                <a:gd name="connsiteX1577" fmla="*/ 1007487 w 5719680"/>
                <a:gd name="connsiteY1577" fmla="*/ 5038835 h 5704395"/>
                <a:gd name="connsiteX1578" fmla="*/ 3343256 w 5719680"/>
                <a:gd name="connsiteY1578" fmla="*/ 5036617 h 5704395"/>
                <a:gd name="connsiteX1579" fmla="*/ 3298789 w 5719680"/>
                <a:gd name="connsiteY1579" fmla="*/ 5060066 h 5704395"/>
                <a:gd name="connsiteX1580" fmla="*/ 3306412 w 5719680"/>
                <a:gd name="connsiteY1580" fmla="*/ 5074960 h 5704395"/>
                <a:gd name="connsiteX1581" fmla="*/ 3303554 w 5719680"/>
                <a:gd name="connsiteY1581" fmla="*/ 5076228 h 5704395"/>
                <a:gd name="connsiteX1582" fmla="*/ 3317211 w 5719680"/>
                <a:gd name="connsiteY1582" fmla="*/ 5101895 h 5704395"/>
                <a:gd name="connsiteX1583" fmla="*/ 3343891 w 5719680"/>
                <a:gd name="connsiteY1583" fmla="*/ 5087002 h 5704395"/>
                <a:gd name="connsiteX1584" fmla="*/ 3335316 w 5719680"/>
                <a:gd name="connsiteY1584" fmla="*/ 5070840 h 5704395"/>
                <a:gd name="connsiteX1585" fmla="*/ 3355960 w 5719680"/>
                <a:gd name="connsiteY1585" fmla="*/ 5060066 h 5704395"/>
                <a:gd name="connsiteX1586" fmla="*/ 3343256 w 5719680"/>
                <a:gd name="connsiteY1586" fmla="*/ 5036617 h 5704395"/>
                <a:gd name="connsiteX1587" fmla="*/ 740687 w 5719680"/>
                <a:gd name="connsiteY1587" fmla="*/ 5033765 h 5704395"/>
                <a:gd name="connsiteX1588" fmla="*/ 739417 w 5719680"/>
                <a:gd name="connsiteY1588" fmla="*/ 5034081 h 5704395"/>
                <a:gd name="connsiteX1589" fmla="*/ 637461 w 5719680"/>
                <a:gd name="connsiteY1589" fmla="*/ 5046440 h 5704395"/>
                <a:gd name="connsiteX1590" fmla="*/ 639685 w 5719680"/>
                <a:gd name="connsiteY1590" fmla="*/ 5078763 h 5704395"/>
                <a:gd name="connsiteX1591" fmla="*/ 695268 w 5719680"/>
                <a:gd name="connsiteY1591" fmla="*/ 5097776 h 5704395"/>
                <a:gd name="connsiteX1592" fmla="*/ 817869 w 5719680"/>
                <a:gd name="connsiteY1592" fmla="*/ 5104114 h 5704395"/>
                <a:gd name="connsiteX1593" fmla="*/ 817869 w 5719680"/>
                <a:gd name="connsiteY1593" fmla="*/ 5072108 h 5704395"/>
                <a:gd name="connsiteX1594" fmla="*/ 819457 w 5719680"/>
                <a:gd name="connsiteY1594" fmla="*/ 5053095 h 5704395"/>
                <a:gd name="connsiteX1595" fmla="*/ 744181 w 5719680"/>
                <a:gd name="connsiteY1595" fmla="*/ 5042637 h 5704395"/>
                <a:gd name="connsiteX1596" fmla="*/ 741958 w 5719680"/>
                <a:gd name="connsiteY1596" fmla="*/ 5036617 h 5704395"/>
                <a:gd name="connsiteX1597" fmla="*/ 741323 w 5719680"/>
                <a:gd name="connsiteY1597" fmla="*/ 5035032 h 5704395"/>
                <a:gd name="connsiteX1598" fmla="*/ 740687 w 5719680"/>
                <a:gd name="connsiteY1598" fmla="*/ 5033765 h 5704395"/>
                <a:gd name="connsiteX1599" fmla="*/ 3345162 w 5719680"/>
                <a:gd name="connsiteY1599" fmla="*/ 5030913 h 5704395"/>
                <a:gd name="connsiteX1600" fmla="*/ 3361360 w 5719680"/>
                <a:gd name="connsiteY1600" fmla="*/ 5061651 h 5704395"/>
                <a:gd name="connsiteX1601" fmla="*/ 3341032 w 5719680"/>
                <a:gd name="connsiteY1601" fmla="*/ 5072425 h 5704395"/>
                <a:gd name="connsiteX1602" fmla="*/ 3349608 w 5719680"/>
                <a:gd name="connsiteY1602" fmla="*/ 5088586 h 5704395"/>
                <a:gd name="connsiteX1603" fmla="*/ 3347702 w 5719680"/>
                <a:gd name="connsiteY1603" fmla="*/ 5089537 h 5704395"/>
                <a:gd name="connsiteX1604" fmla="*/ 3315306 w 5719680"/>
                <a:gd name="connsiteY1604" fmla="*/ 5107599 h 5704395"/>
                <a:gd name="connsiteX1605" fmla="*/ 3297836 w 5719680"/>
                <a:gd name="connsiteY1605" fmla="*/ 5074643 h 5704395"/>
                <a:gd name="connsiteX1606" fmla="*/ 3301012 w 5719680"/>
                <a:gd name="connsiteY1606" fmla="*/ 5073059 h 5704395"/>
                <a:gd name="connsiteX1607" fmla="*/ 3293072 w 5719680"/>
                <a:gd name="connsiteY1607" fmla="*/ 5058482 h 5704395"/>
                <a:gd name="connsiteX1608" fmla="*/ 3345162 w 5719680"/>
                <a:gd name="connsiteY1608" fmla="*/ 5030913 h 5704395"/>
                <a:gd name="connsiteX1609" fmla="*/ 1629702 w 5719680"/>
                <a:gd name="connsiteY1609" fmla="*/ 5029962 h 5704395"/>
                <a:gd name="connsiteX1610" fmla="*/ 1626209 w 5719680"/>
                <a:gd name="connsiteY1610" fmla="*/ 5099994 h 5704395"/>
                <a:gd name="connsiteX1611" fmla="*/ 1768502 w 5719680"/>
                <a:gd name="connsiteY1611" fmla="*/ 5098727 h 5704395"/>
                <a:gd name="connsiteX1612" fmla="*/ 1763738 w 5719680"/>
                <a:gd name="connsiteY1612" fmla="*/ 5031863 h 5704395"/>
                <a:gd name="connsiteX1613" fmla="*/ 1699579 w 5719680"/>
                <a:gd name="connsiteY1613" fmla="*/ 5032497 h 5704395"/>
                <a:gd name="connsiteX1614" fmla="*/ 1653206 w 5719680"/>
                <a:gd name="connsiteY1614" fmla="*/ 5033131 h 5704395"/>
                <a:gd name="connsiteX1615" fmla="*/ 1637325 w 5719680"/>
                <a:gd name="connsiteY1615" fmla="*/ 5033448 h 5704395"/>
                <a:gd name="connsiteX1616" fmla="*/ 1632561 w 5719680"/>
                <a:gd name="connsiteY1616" fmla="*/ 5033448 h 5704395"/>
                <a:gd name="connsiteX1617" fmla="*/ 1631291 w 5719680"/>
                <a:gd name="connsiteY1617" fmla="*/ 5033765 h 5704395"/>
                <a:gd name="connsiteX1618" fmla="*/ 1629702 w 5719680"/>
                <a:gd name="connsiteY1618" fmla="*/ 5029962 h 5704395"/>
                <a:gd name="connsiteX1619" fmla="*/ 1327012 w 5719680"/>
                <a:gd name="connsiteY1619" fmla="*/ 5029962 h 5704395"/>
                <a:gd name="connsiteX1620" fmla="*/ 1326059 w 5719680"/>
                <a:gd name="connsiteY1620" fmla="*/ 5046757 h 5704395"/>
                <a:gd name="connsiteX1621" fmla="*/ 1322883 w 5719680"/>
                <a:gd name="connsiteY1621" fmla="*/ 5046440 h 5704395"/>
                <a:gd name="connsiteX1622" fmla="*/ 1321295 w 5719680"/>
                <a:gd name="connsiteY1622" fmla="*/ 5075277 h 5704395"/>
                <a:gd name="connsiteX1623" fmla="*/ 1352104 w 5719680"/>
                <a:gd name="connsiteY1623" fmla="*/ 5076228 h 5704395"/>
                <a:gd name="connsiteX1624" fmla="*/ 1352739 w 5719680"/>
                <a:gd name="connsiteY1624" fmla="*/ 5057848 h 5704395"/>
                <a:gd name="connsiteX1625" fmla="*/ 1376243 w 5719680"/>
                <a:gd name="connsiteY1625" fmla="*/ 5059116 h 5704395"/>
                <a:gd name="connsiteX1626" fmla="*/ 1377513 w 5719680"/>
                <a:gd name="connsiteY1626" fmla="*/ 5032497 h 5704395"/>
                <a:gd name="connsiteX1627" fmla="*/ 1327012 w 5719680"/>
                <a:gd name="connsiteY1627" fmla="*/ 5029962 h 5704395"/>
                <a:gd name="connsiteX1628" fmla="*/ 1322883 w 5719680"/>
                <a:gd name="connsiteY1628" fmla="*/ 5025842 h 5704395"/>
                <a:gd name="connsiteX1629" fmla="*/ 1381642 w 5719680"/>
                <a:gd name="connsiteY1629" fmla="*/ 5028694 h 5704395"/>
                <a:gd name="connsiteX1630" fmla="*/ 1380054 w 5719680"/>
                <a:gd name="connsiteY1630" fmla="*/ 5063552 h 5704395"/>
                <a:gd name="connsiteX1631" fmla="*/ 1356868 w 5719680"/>
                <a:gd name="connsiteY1631" fmla="*/ 5062284 h 5704395"/>
                <a:gd name="connsiteX1632" fmla="*/ 1355915 w 5719680"/>
                <a:gd name="connsiteY1632" fmla="*/ 5080347 h 5704395"/>
                <a:gd name="connsiteX1633" fmla="*/ 1354009 w 5719680"/>
                <a:gd name="connsiteY1633" fmla="*/ 5080347 h 5704395"/>
                <a:gd name="connsiteX1634" fmla="*/ 1316848 w 5719680"/>
                <a:gd name="connsiteY1634" fmla="*/ 5079396 h 5704395"/>
                <a:gd name="connsiteX1635" fmla="*/ 1318754 w 5719680"/>
                <a:gd name="connsiteY1635" fmla="*/ 5042004 h 5704395"/>
                <a:gd name="connsiteX1636" fmla="*/ 1322247 w 5719680"/>
                <a:gd name="connsiteY1636" fmla="*/ 5042321 h 5704395"/>
                <a:gd name="connsiteX1637" fmla="*/ 1322883 w 5719680"/>
                <a:gd name="connsiteY1637" fmla="*/ 5025842 h 5704395"/>
                <a:gd name="connsiteX1638" fmla="*/ 2736604 w 5719680"/>
                <a:gd name="connsiteY1638" fmla="*/ 5024575 h 5704395"/>
                <a:gd name="connsiteX1639" fmla="*/ 2733745 w 5719680"/>
                <a:gd name="connsiteY1639" fmla="*/ 5159252 h 5704395"/>
                <a:gd name="connsiteX1640" fmla="*/ 2807115 w 5719680"/>
                <a:gd name="connsiteY1640" fmla="*/ 5202349 h 5704395"/>
                <a:gd name="connsiteX1641" fmla="*/ 2890014 w 5719680"/>
                <a:gd name="connsiteY1641" fmla="*/ 5246079 h 5704395"/>
                <a:gd name="connsiteX1642" fmla="*/ 2902401 w 5719680"/>
                <a:gd name="connsiteY1642" fmla="*/ 5064820 h 5704395"/>
                <a:gd name="connsiteX1643" fmla="*/ 2901766 w 5719680"/>
                <a:gd name="connsiteY1643" fmla="*/ 5065136 h 5704395"/>
                <a:gd name="connsiteX1644" fmla="*/ 2901130 w 5719680"/>
                <a:gd name="connsiteY1644" fmla="*/ 5065136 h 5704395"/>
                <a:gd name="connsiteX1645" fmla="*/ 2815056 w 5719680"/>
                <a:gd name="connsiteY1645" fmla="*/ 5043588 h 5704395"/>
                <a:gd name="connsiteX1646" fmla="*/ 2736604 w 5719680"/>
                <a:gd name="connsiteY1646" fmla="*/ 5024575 h 5704395"/>
                <a:gd name="connsiteX1647" fmla="*/ 944281 w 5719680"/>
                <a:gd name="connsiteY1647" fmla="*/ 5024575 h 5704395"/>
                <a:gd name="connsiteX1648" fmla="*/ 943011 w 5719680"/>
                <a:gd name="connsiteY1648" fmla="*/ 5040102 h 5704395"/>
                <a:gd name="connsiteX1649" fmla="*/ 982395 w 5719680"/>
                <a:gd name="connsiteY1649" fmla="*/ 5043905 h 5704395"/>
                <a:gd name="connsiteX1650" fmla="*/ 983983 w 5719680"/>
                <a:gd name="connsiteY1650" fmla="*/ 5028377 h 5704395"/>
                <a:gd name="connsiteX1651" fmla="*/ 944281 w 5719680"/>
                <a:gd name="connsiteY1651" fmla="*/ 5024575 h 5704395"/>
                <a:gd name="connsiteX1652" fmla="*/ 940787 w 5719680"/>
                <a:gd name="connsiteY1652" fmla="*/ 5020138 h 5704395"/>
                <a:gd name="connsiteX1653" fmla="*/ 942693 w 5719680"/>
                <a:gd name="connsiteY1653" fmla="*/ 5020138 h 5704395"/>
                <a:gd name="connsiteX1654" fmla="*/ 988430 w 5719680"/>
                <a:gd name="connsiteY1654" fmla="*/ 5024575 h 5704395"/>
                <a:gd name="connsiteX1655" fmla="*/ 986207 w 5719680"/>
                <a:gd name="connsiteY1655" fmla="*/ 5048341 h 5704395"/>
                <a:gd name="connsiteX1656" fmla="*/ 938246 w 5719680"/>
                <a:gd name="connsiteY1656" fmla="*/ 5043905 h 5704395"/>
                <a:gd name="connsiteX1657" fmla="*/ 940787 w 5719680"/>
                <a:gd name="connsiteY1657" fmla="*/ 5020138 h 5704395"/>
                <a:gd name="connsiteX1658" fmla="*/ 1500114 w 5719680"/>
                <a:gd name="connsiteY1658" fmla="*/ 5016336 h 5704395"/>
                <a:gd name="connsiteX1659" fmla="*/ 1453742 w 5719680"/>
                <a:gd name="connsiteY1659" fmla="*/ 5027744 h 5704395"/>
                <a:gd name="connsiteX1660" fmla="*/ 1412769 w 5719680"/>
                <a:gd name="connsiteY1660" fmla="*/ 5037884 h 5704395"/>
                <a:gd name="connsiteX1661" fmla="*/ 1413722 w 5719680"/>
                <a:gd name="connsiteY1661" fmla="*/ 5042954 h 5704395"/>
                <a:gd name="connsiteX1662" fmla="*/ 1424838 w 5719680"/>
                <a:gd name="connsiteY1662" fmla="*/ 5101579 h 5704395"/>
                <a:gd name="connsiteX1663" fmla="*/ 1526476 w 5719680"/>
                <a:gd name="connsiteY1663" fmla="*/ 5100945 h 5704395"/>
                <a:gd name="connsiteX1664" fmla="*/ 1529335 w 5719680"/>
                <a:gd name="connsiteY1664" fmla="*/ 5022357 h 5704395"/>
                <a:gd name="connsiteX1665" fmla="*/ 1500114 w 5719680"/>
                <a:gd name="connsiteY1665" fmla="*/ 5016336 h 5704395"/>
                <a:gd name="connsiteX1666" fmla="*/ 38432 w 5719680"/>
                <a:gd name="connsiteY1666" fmla="*/ 5014751 h 5704395"/>
                <a:gd name="connsiteX1667" fmla="*/ 8894 w 5719680"/>
                <a:gd name="connsiteY1667" fmla="*/ 5054045 h 5704395"/>
                <a:gd name="connsiteX1668" fmla="*/ 121966 w 5719680"/>
                <a:gd name="connsiteY1668" fmla="*/ 5113303 h 5704395"/>
                <a:gd name="connsiteX1669" fmla="*/ 121966 w 5719680"/>
                <a:gd name="connsiteY1669" fmla="*/ 5113620 h 5704395"/>
                <a:gd name="connsiteX1670" fmla="*/ 171832 w 5719680"/>
                <a:gd name="connsiteY1670" fmla="*/ 5169393 h 5704395"/>
                <a:gd name="connsiteX1671" fmla="*/ 206770 w 5719680"/>
                <a:gd name="connsiteY1671" fmla="*/ 5208053 h 5704395"/>
                <a:gd name="connsiteX1672" fmla="*/ 218522 w 5719680"/>
                <a:gd name="connsiteY1672" fmla="*/ 5220728 h 5704395"/>
                <a:gd name="connsiteX1673" fmla="*/ 222016 w 5719680"/>
                <a:gd name="connsiteY1673" fmla="*/ 5224531 h 5704395"/>
                <a:gd name="connsiteX1674" fmla="*/ 222651 w 5719680"/>
                <a:gd name="connsiteY1674" fmla="*/ 5225165 h 5704395"/>
                <a:gd name="connsiteX1675" fmla="*/ 276964 w 5719680"/>
                <a:gd name="connsiteY1675" fmla="*/ 5221362 h 5704395"/>
                <a:gd name="connsiteX1676" fmla="*/ 263306 w 5719680"/>
                <a:gd name="connsiteY1676" fmla="*/ 5132950 h 5704395"/>
                <a:gd name="connsiteX1677" fmla="*/ 263306 w 5719680"/>
                <a:gd name="connsiteY1677" fmla="*/ 5132317 h 5704395"/>
                <a:gd name="connsiteX1678" fmla="*/ 263306 w 5719680"/>
                <a:gd name="connsiteY1678" fmla="*/ 5132000 h 5704395"/>
                <a:gd name="connsiteX1679" fmla="*/ 38432 w 5719680"/>
                <a:gd name="connsiteY1679" fmla="*/ 5014751 h 5704395"/>
                <a:gd name="connsiteX1680" fmla="*/ 389401 w 5719680"/>
                <a:gd name="connsiteY1680" fmla="*/ 5011899 h 5704395"/>
                <a:gd name="connsiteX1681" fmla="*/ 364944 w 5719680"/>
                <a:gd name="connsiteY1681" fmla="*/ 5038835 h 5704395"/>
                <a:gd name="connsiteX1682" fmla="*/ 290304 w 5719680"/>
                <a:gd name="connsiteY1682" fmla="*/ 5027110 h 5704395"/>
                <a:gd name="connsiteX1683" fmla="*/ 267753 w 5719680"/>
                <a:gd name="connsiteY1683" fmla="*/ 5132634 h 5704395"/>
                <a:gd name="connsiteX1684" fmla="*/ 281411 w 5719680"/>
                <a:gd name="connsiteY1684" fmla="*/ 5221045 h 5704395"/>
                <a:gd name="connsiteX1685" fmla="*/ 294433 w 5719680"/>
                <a:gd name="connsiteY1685" fmla="*/ 5220095 h 5704395"/>
                <a:gd name="connsiteX1686" fmla="*/ 339535 w 5719680"/>
                <a:gd name="connsiteY1686" fmla="*/ 5216292 h 5704395"/>
                <a:gd name="connsiteX1687" fmla="*/ 354145 w 5719680"/>
                <a:gd name="connsiteY1687" fmla="*/ 5214708 h 5704395"/>
                <a:gd name="connsiteX1688" fmla="*/ 358592 w 5719680"/>
                <a:gd name="connsiteY1688" fmla="*/ 5214391 h 5704395"/>
                <a:gd name="connsiteX1689" fmla="*/ 359545 w 5719680"/>
                <a:gd name="connsiteY1689" fmla="*/ 5214391 h 5704395"/>
                <a:gd name="connsiteX1690" fmla="*/ 375743 w 5719680"/>
                <a:gd name="connsiteY1690" fmla="*/ 5189990 h 5704395"/>
                <a:gd name="connsiteX1691" fmla="*/ 389719 w 5719680"/>
                <a:gd name="connsiteY1691" fmla="*/ 5167808 h 5704395"/>
                <a:gd name="connsiteX1692" fmla="*/ 390671 w 5719680"/>
                <a:gd name="connsiteY1692" fmla="*/ 5166224 h 5704395"/>
                <a:gd name="connsiteX1693" fmla="*/ 417034 w 5719680"/>
                <a:gd name="connsiteY1693" fmla="*/ 5177949 h 5704395"/>
                <a:gd name="connsiteX1694" fmla="*/ 451654 w 5719680"/>
                <a:gd name="connsiteY1694" fmla="*/ 5136753 h 5704395"/>
                <a:gd name="connsiteX1695" fmla="*/ 476111 w 5719680"/>
                <a:gd name="connsiteY1695" fmla="*/ 5106966 h 5704395"/>
                <a:gd name="connsiteX1696" fmla="*/ 484051 w 5719680"/>
                <a:gd name="connsiteY1696" fmla="*/ 5096508 h 5704395"/>
                <a:gd name="connsiteX1697" fmla="*/ 485004 w 5719680"/>
                <a:gd name="connsiteY1697" fmla="*/ 5095241 h 5704395"/>
                <a:gd name="connsiteX1698" fmla="*/ 483734 w 5719680"/>
                <a:gd name="connsiteY1698" fmla="*/ 5093973 h 5704395"/>
                <a:gd name="connsiteX1699" fmla="*/ 426245 w 5719680"/>
                <a:gd name="connsiteY1699" fmla="*/ 5043271 h 5704395"/>
                <a:gd name="connsiteX1700" fmla="*/ 389401 w 5719680"/>
                <a:gd name="connsiteY1700" fmla="*/ 5011899 h 5704395"/>
                <a:gd name="connsiteX1701" fmla="*/ 3023731 w 5719680"/>
                <a:gd name="connsiteY1701" fmla="*/ 5006829 h 5704395"/>
                <a:gd name="connsiteX1702" fmla="*/ 2907165 w 5719680"/>
                <a:gd name="connsiteY1702" fmla="*/ 5062601 h 5704395"/>
                <a:gd name="connsiteX1703" fmla="*/ 2894143 w 5719680"/>
                <a:gd name="connsiteY1703" fmla="*/ 5248298 h 5704395"/>
                <a:gd name="connsiteX1704" fmla="*/ 2920505 w 5719680"/>
                <a:gd name="connsiteY1704" fmla="*/ 5258438 h 5704395"/>
                <a:gd name="connsiteX1705" fmla="*/ 3072644 w 5719680"/>
                <a:gd name="connsiteY1705" fmla="*/ 5303753 h 5704395"/>
                <a:gd name="connsiteX1706" fmla="*/ 3081856 w 5719680"/>
                <a:gd name="connsiteY1706" fmla="*/ 5263825 h 5704395"/>
                <a:gd name="connsiteX1707" fmla="*/ 3129181 w 5719680"/>
                <a:gd name="connsiteY1707" fmla="*/ 5040102 h 5704395"/>
                <a:gd name="connsiteX1708" fmla="*/ 3023731 w 5719680"/>
                <a:gd name="connsiteY1708" fmla="*/ 5006829 h 5704395"/>
                <a:gd name="connsiteX1709" fmla="*/ 1192024 w 5719680"/>
                <a:gd name="connsiteY1709" fmla="*/ 5003660 h 5704395"/>
                <a:gd name="connsiteX1710" fmla="*/ 1173919 w 5719680"/>
                <a:gd name="connsiteY1710" fmla="*/ 5035349 h 5704395"/>
                <a:gd name="connsiteX1711" fmla="*/ 1193929 w 5719680"/>
                <a:gd name="connsiteY1711" fmla="*/ 5046757 h 5704395"/>
                <a:gd name="connsiteX1712" fmla="*/ 1181860 w 5719680"/>
                <a:gd name="connsiteY1712" fmla="*/ 5067672 h 5704395"/>
                <a:gd name="connsiteX1713" fmla="*/ 1195517 w 5719680"/>
                <a:gd name="connsiteY1713" fmla="*/ 5075594 h 5704395"/>
                <a:gd name="connsiteX1714" fmla="*/ 1222197 w 5719680"/>
                <a:gd name="connsiteY1714" fmla="*/ 5027744 h 5704395"/>
                <a:gd name="connsiteX1715" fmla="*/ 1208540 w 5719680"/>
                <a:gd name="connsiteY1715" fmla="*/ 5019822 h 5704395"/>
                <a:gd name="connsiteX1716" fmla="*/ 1211398 w 5719680"/>
                <a:gd name="connsiteY1716" fmla="*/ 5014751 h 5704395"/>
                <a:gd name="connsiteX1717" fmla="*/ 1192024 w 5719680"/>
                <a:gd name="connsiteY1717" fmla="*/ 5003660 h 5704395"/>
                <a:gd name="connsiteX1718" fmla="*/ 1190436 w 5719680"/>
                <a:gd name="connsiteY1718" fmla="*/ 4997956 h 5704395"/>
                <a:gd name="connsiteX1719" fmla="*/ 1217116 w 5719680"/>
                <a:gd name="connsiteY1719" fmla="*/ 5013484 h 5704395"/>
                <a:gd name="connsiteX1720" fmla="*/ 1214257 w 5719680"/>
                <a:gd name="connsiteY1720" fmla="*/ 5018237 h 5704395"/>
                <a:gd name="connsiteX1721" fmla="*/ 1227915 w 5719680"/>
                <a:gd name="connsiteY1721" fmla="*/ 5026159 h 5704395"/>
                <a:gd name="connsiteX1722" fmla="*/ 1197106 w 5719680"/>
                <a:gd name="connsiteY1722" fmla="*/ 5081298 h 5704395"/>
                <a:gd name="connsiteX1723" fmla="*/ 1195200 w 5719680"/>
                <a:gd name="connsiteY1723" fmla="*/ 5080030 h 5704395"/>
                <a:gd name="connsiteX1724" fmla="*/ 1176143 w 5719680"/>
                <a:gd name="connsiteY1724" fmla="*/ 5069256 h 5704395"/>
                <a:gd name="connsiteX1725" fmla="*/ 1188212 w 5719680"/>
                <a:gd name="connsiteY1725" fmla="*/ 5048341 h 5704395"/>
                <a:gd name="connsiteX1726" fmla="*/ 1168202 w 5719680"/>
                <a:gd name="connsiteY1726" fmla="*/ 5036933 h 5704395"/>
                <a:gd name="connsiteX1727" fmla="*/ 1190436 w 5719680"/>
                <a:gd name="connsiteY1727" fmla="*/ 4997956 h 5704395"/>
                <a:gd name="connsiteX1728" fmla="*/ 163256 w 5719680"/>
                <a:gd name="connsiteY1728" fmla="*/ 4989083 h 5704395"/>
                <a:gd name="connsiteX1729" fmla="*/ 130224 w 5719680"/>
                <a:gd name="connsiteY1729" fmla="*/ 5037567 h 5704395"/>
                <a:gd name="connsiteX1730" fmla="*/ 249649 w 5719680"/>
                <a:gd name="connsiteY1730" fmla="*/ 5093023 h 5704395"/>
                <a:gd name="connsiteX1731" fmla="*/ 259495 w 5719680"/>
                <a:gd name="connsiteY1731" fmla="*/ 5041053 h 5704395"/>
                <a:gd name="connsiteX1732" fmla="*/ 202959 w 5719680"/>
                <a:gd name="connsiteY1732" fmla="*/ 5028377 h 5704395"/>
                <a:gd name="connsiteX1733" fmla="*/ 163256 w 5719680"/>
                <a:gd name="connsiteY1733" fmla="*/ 4989083 h 5704395"/>
                <a:gd name="connsiteX1734" fmla="*/ 1381007 w 5719680"/>
                <a:gd name="connsiteY1734" fmla="*/ 4988450 h 5704395"/>
                <a:gd name="connsiteX1735" fmla="*/ 1322565 w 5719680"/>
                <a:gd name="connsiteY1735" fmla="*/ 5016970 h 5704395"/>
                <a:gd name="connsiteX1736" fmla="*/ 1279686 w 5719680"/>
                <a:gd name="connsiteY1736" fmla="*/ 5037567 h 5704395"/>
                <a:gd name="connsiteX1737" fmla="*/ 1265711 w 5719680"/>
                <a:gd name="connsiteY1737" fmla="*/ 5044539 h 5704395"/>
                <a:gd name="connsiteX1738" fmla="*/ 1263170 w 5719680"/>
                <a:gd name="connsiteY1738" fmla="*/ 5045806 h 5704395"/>
                <a:gd name="connsiteX1739" fmla="*/ 1313036 w 5719680"/>
                <a:gd name="connsiteY1739" fmla="*/ 5094290 h 5704395"/>
                <a:gd name="connsiteX1740" fmla="*/ 1349245 w 5719680"/>
                <a:gd name="connsiteY1740" fmla="*/ 5129148 h 5704395"/>
                <a:gd name="connsiteX1741" fmla="*/ 1361632 w 5719680"/>
                <a:gd name="connsiteY1741" fmla="*/ 5140556 h 5704395"/>
                <a:gd name="connsiteX1742" fmla="*/ 1361950 w 5719680"/>
                <a:gd name="connsiteY1742" fmla="*/ 5140556 h 5704395"/>
                <a:gd name="connsiteX1743" fmla="*/ 1405146 w 5719680"/>
                <a:gd name="connsiteY1743" fmla="*/ 5110135 h 5704395"/>
                <a:gd name="connsiteX1744" fmla="*/ 1393394 w 5719680"/>
                <a:gd name="connsiteY1744" fmla="*/ 5046757 h 5704395"/>
                <a:gd name="connsiteX1745" fmla="*/ 1381007 w 5719680"/>
                <a:gd name="connsiteY1745" fmla="*/ 4988450 h 5704395"/>
                <a:gd name="connsiteX1746" fmla="*/ 2074369 w 5719680"/>
                <a:gd name="connsiteY1746" fmla="*/ 4987816 h 5704395"/>
                <a:gd name="connsiteX1747" fmla="*/ 2074686 w 5719680"/>
                <a:gd name="connsiteY1747" fmla="*/ 5027427 h 5704395"/>
                <a:gd name="connsiteX1748" fmla="*/ 2088662 w 5719680"/>
                <a:gd name="connsiteY1748" fmla="*/ 5027427 h 5704395"/>
                <a:gd name="connsiteX1749" fmla="*/ 2088344 w 5719680"/>
                <a:gd name="connsiteY1749" fmla="*/ 4987816 h 5704395"/>
                <a:gd name="connsiteX1750" fmla="*/ 2074369 w 5719680"/>
                <a:gd name="connsiteY1750" fmla="*/ 4987816 h 5704395"/>
                <a:gd name="connsiteX1751" fmla="*/ 2092473 w 5719680"/>
                <a:gd name="connsiteY1751" fmla="*/ 4983379 h 5704395"/>
                <a:gd name="connsiteX1752" fmla="*/ 2092473 w 5719680"/>
                <a:gd name="connsiteY1752" fmla="*/ 4985598 h 5704395"/>
                <a:gd name="connsiteX1753" fmla="*/ 2093108 w 5719680"/>
                <a:gd name="connsiteY1753" fmla="*/ 5031546 h 5704395"/>
                <a:gd name="connsiteX1754" fmla="*/ 2070557 w 5719680"/>
                <a:gd name="connsiteY1754" fmla="*/ 5031546 h 5704395"/>
                <a:gd name="connsiteX1755" fmla="*/ 2070240 w 5719680"/>
                <a:gd name="connsiteY1755" fmla="*/ 4983696 h 5704395"/>
                <a:gd name="connsiteX1756" fmla="*/ 2092473 w 5719680"/>
                <a:gd name="connsiteY1756" fmla="*/ 4983379 h 5704395"/>
                <a:gd name="connsiteX1757" fmla="*/ 162621 w 5719680"/>
                <a:gd name="connsiteY1757" fmla="*/ 4981795 h 5704395"/>
                <a:gd name="connsiteX1758" fmla="*/ 205182 w 5719680"/>
                <a:gd name="connsiteY1758" fmla="*/ 5023941 h 5704395"/>
                <a:gd name="connsiteX1759" fmla="*/ 264894 w 5719680"/>
                <a:gd name="connsiteY1759" fmla="*/ 5037567 h 5704395"/>
                <a:gd name="connsiteX1760" fmla="*/ 264577 w 5719680"/>
                <a:gd name="connsiteY1760" fmla="*/ 5039785 h 5704395"/>
                <a:gd name="connsiteX1761" fmla="*/ 253142 w 5719680"/>
                <a:gd name="connsiteY1761" fmla="*/ 5099677 h 5704395"/>
                <a:gd name="connsiteX1762" fmla="*/ 123236 w 5719680"/>
                <a:gd name="connsiteY1762" fmla="*/ 5039469 h 5704395"/>
                <a:gd name="connsiteX1763" fmla="*/ 162621 w 5719680"/>
                <a:gd name="connsiteY1763" fmla="*/ 4981795 h 5704395"/>
                <a:gd name="connsiteX1764" fmla="*/ 2350062 w 5719680"/>
                <a:gd name="connsiteY1764" fmla="*/ 4977042 h 5704395"/>
                <a:gd name="connsiteX1765" fmla="*/ 2331322 w 5719680"/>
                <a:gd name="connsiteY1765" fmla="*/ 4977359 h 5704395"/>
                <a:gd name="connsiteX1766" fmla="*/ 2331958 w 5719680"/>
                <a:gd name="connsiteY1766" fmla="*/ 5026476 h 5704395"/>
                <a:gd name="connsiteX1767" fmla="*/ 2362449 w 5719680"/>
                <a:gd name="connsiteY1767" fmla="*/ 5026793 h 5704395"/>
                <a:gd name="connsiteX1768" fmla="*/ 2362766 w 5719680"/>
                <a:gd name="connsiteY1768" fmla="*/ 4996055 h 5704395"/>
                <a:gd name="connsiteX1769" fmla="*/ 2350062 w 5719680"/>
                <a:gd name="connsiteY1769" fmla="*/ 4977042 h 5704395"/>
                <a:gd name="connsiteX1770" fmla="*/ 1994964 w 5719680"/>
                <a:gd name="connsiteY1770" fmla="*/ 4973239 h 5704395"/>
                <a:gd name="connsiteX1771" fmla="*/ 1980989 w 5719680"/>
                <a:gd name="connsiteY1771" fmla="*/ 4973556 h 5704395"/>
                <a:gd name="connsiteX1772" fmla="*/ 1980989 w 5719680"/>
                <a:gd name="connsiteY1772" fmla="*/ 5013167 h 5704395"/>
                <a:gd name="connsiteX1773" fmla="*/ 1995282 w 5719680"/>
                <a:gd name="connsiteY1773" fmla="*/ 5013167 h 5704395"/>
                <a:gd name="connsiteX1774" fmla="*/ 1994964 w 5719680"/>
                <a:gd name="connsiteY1774" fmla="*/ 4973239 h 5704395"/>
                <a:gd name="connsiteX1775" fmla="*/ 2254141 w 5719680"/>
                <a:gd name="connsiteY1775" fmla="*/ 4972922 h 5704395"/>
                <a:gd name="connsiteX1776" fmla="*/ 2225238 w 5719680"/>
                <a:gd name="connsiteY1776" fmla="*/ 4973239 h 5704395"/>
                <a:gd name="connsiteX1777" fmla="*/ 2226190 w 5719680"/>
                <a:gd name="connsiteY1777" fmla="*/ 5003660 h 5704395"/>
                <a:gd name="connsiteX1778" fmla="*/ 2244295 w 5719680"/>
                <a:gd name="connsiteY1778" fmla="*/ 5003660 h 5704395"/>
                <a:gd name="connsiteX1779" fmla="*/ 2244612 w 5719680"/>
                <a:gd name="connsiteY1779" fmla="*/ 5026793 h 5704395"/>
                <a:gd name="connsiteX1780" fmla="*/ 2270975 w 5719680"/>
                <a:gd name="connsiteY1780" fmla="*/ 5026476 h 5704395"/>
                <a:gd name="connsiteX1781" fmla="*/ 2270657 w 5719680"/>
                <a:gd name="connsiteY1781" fmla="*/ 4976091 h 5704395"/>
                <a:gd name="connsiteX1782" fmla="*/ 2254141 w 5719680"/>
                <a:gd name="connsiteY1782" fmla="*/ 4976091 h 5704395"/>
                <a:gd name="connsiteX1783" fmla="*/ 2254141 w 5719680"/>
                <a:gd name="connsiteY1783" fmla="*/ 4972922 h 5704395"/>
                <a:gd name="connsiteX1784" fmla="*/ 1999093 w 5719680"/>
                <a:gd name="connsiteY1784" fmla="*/ 4969119 h 5704395"/>
                <a:gd name="connsiteX1785" fmla="*/ 1999093 w 5719680"/>
                <a:gd name="connsiteY1785" fmla="*/ 4971338 h 5704395"/>
                <a:gd name="connsiteX1786" fmla="*/ 1999411 w 5719680"/>
                <a:gd name="connsiteY1786" fmla="*/ 5017286 h 5704395"/>
                <a:gd name="connsiteX1787" fmla="*/ 1976860 w 5719680"/>
                <a:gd name="connsiteY1787" fmla="*/ 5017286 h 5704395"/>
                <a:gd name="connsiteX1788" fmla="*/ 1976542 w 5719680"/>
                <a:gd name="connsiteY1788" fmla="*/ 4969436 h 5704395"/>
                <a:gd name="connsiteX1789" fmla="*/ 1999093 w 5719680"/>
                <a:gd name="connsiteY1789" fmla="*/ 4969119 h 5704395"/>
                <a:gd name="connsiteX1790" fmla="*/ 2258270 w 5719680"/>
                <a:gd name="connsiteY1790" fmla="*/ 4968803 h 5704395"/>
                <a:gd name="connsiteX1791" fmla="*/ 2258270 w 5719680"/>
                <a:gd name="connsiteY1791" fmla="*/ 4971971 h 5704395"/>
                <a:gd name="connsiteX1792" fmla="*/ 2274786 w 5719680"/>
                <a:gd name="connsiteY1792" fmla="*/ 4971971 h 5704395"/>
                <a:gd name="connsiteX1793" fmla="*/ 2275421 w 5719680"/>
                <a:gd name="connsiteY1793" fmla="*/ 5030596 h 5704395"/>
                <a:gd name="connsiteX1794" fmla="*/ 2240483 w 5719680"/>
                <a:gd name="connsiteY1794" fmla="*/ 5030913 h 5704395"/>
                <a:gd name="connsiteX1795" fmla="*/ 2240166 w 5719680"/>
                <a:gd name="connsiteY1795" fmla="*/ 5007780 h 5704395"/>
                <a:gd name="connsiteX1796" fmla="*/ 2222062 w 5719680"/>
                <a:gd name="connsiteY1796" fmla="*/ 5007780 h 5704395"/>
                <a:gd name="connsiteX1797" fmla="*/ 2222062 w 5719680"/>
                <a:gd name="connsiteY1797" fmla="*/ 5005878 h 5704395"/>
                <a:gd name="connsiteX1798" fmla="*/ 2220791 w 5719680"/>
                <a:gd name="connsiteY1798" fmla="*/ 4969119 h 5704395"/>
                <a:gd name="connsiteX1799" fmla="*/ 2258270 w 5719680"/>
                <a:gd name="connsiteY1799" fmla="*/ 4968803 h 5704395"/>
                <a:gd name="connsiteX1800" fmla="*/ 1783748 w 5719680"/>
                <a:gd name="connsiteY1800" fmla="*/ 4967852 h 5704395"/>
                <a:gd name="connsiteX1801" fmla="*/ 1784065 w 5719680"/>
                <a:gd name="connsiteY1801" fmla="*/ 5013484 h 5704395"/>
                <a:gd name="connsiteX1802" fmla="*/ 1810745 w 5719680"/>
                <a:gd name="connsiteY1802" fmla="*/ 5013801 h 5704395"/>
                <a:gd name="connsiteX1803" fmla="*/ 1810745 w 5719680"/>
                <a:gd name="connsiteY1803" fmla="*/ 5016019 h 5704395"/>
                <a:gd name="connsiteX1804" fmla="*/ 1811063 w 5719680"/>
                <a:gd name="connsiteY1804" fmla="*/ 5044539 h 5704395"/>
                <a:gd name="connsiteX1805" fmla="*/ 1841872 w 5719680"/>
                <a:gd name="connsiteY1805" fmla="*/ 5044539 h 5704395"/>
                <a:gd name="connsiteX1806" fmla="*/ 1842507 w 5719680"/>
                <a:gd name="connsiteY1806" fmla="*/ 4995104 h 5704395"/>
                <a:gd name="connsiteX1807" fmla="*/ 1815827 w 5719680"/>
                <a:gd name="connsiteY1807" fmla="*/ 4994787 h 5704395"/>
                <a:gd name="connsiteX1808" fmla="*/ 1816780 w 5719680"/>
                <a:gd name="connsiteY1808" fmla="*/ 4968169 h 5704395"/>
                <a:gd name="connsiteX1809" fmla="*/ 1779619 w 5719680"/>
                <a:gd name="connsiteY1809" fmla="*/ 4963732 h 5704395"/>
                <a:gd name="connsiteX1810" fmla="*/ 1820909 w 5719680"/>
                <a:gd name="connsiteY1810" fmla="*/ 4964049 h 5704395"/>
                <a:gd name="connsiteX1811" fmla="*/ 1819956 w 5719680"/>
                <a:gd name="connsiteY1811" fmla="*/ 4990668 h 5704395"/>
                <a:gd name="connsiteX1812" fmla="*/ 1846636 w 5719680"/>
                <a:gd name="connsiteY1812" fmla="*/ 4990985 h 5704395"/>
                <a:gd name="connsiteX1813" fmla="*/ 1846001 w 5719680"/>
                <a:gd name="connsiteY1813" fmla="*/ 5048658 h 5704395"/>
                <a:gd name="connsiteX1814" fmla="*/ 1806934 w 5719680"/>
                <a:gd name="connsiteY1814" fmla="*/ 5048658 h 5704395"/>
                <a:gd name="connsiteX1815" fmla="*/ 1806616 w 5719680"/>
                <a:gd name="connsiteY1815" fmla="*/ 5017920 h 5704395"/>
                <a:gd name="connsiteX1816" fmla="*/ 1779936 w 5719680"/>
                <a:gd name="connsiteY1816" fmla="*/ 5017603 h 5704395"/>
                <a:gd name="connsiteX1817" fmla="*/ 1779619 w 5719680"/>
                <a:gd name="connsiteY1817" fmla="*/ 4963732 h 5704395"/>
                <a:gd name="connsiteX1818" fmla="*/ 30174 w 5719680"/>
                <a:gd name="connsiteY1818" fmla="*/ 4961197 h 5704395"/>
                <a:gd name="connsiteX1819" fmla="*/ 6035 w 5719680"/>
                <a:gd name="connsiteY1819" fmla="*/ 4993203 h 5704395"/>
                <a:gd name="connsiteX1820" fmla="*/ 37162 w 5719680"/>
                <a:gd name="connsiteY1820" fmla="*/ 5009364 h 5704395"/>
                <a:gd name="connsiteX1821" fmla="*/ 58124 w 5719680"/>
                <a:gd name="connsiteY1821" fmla="*/ 4981795 h 5704395"/>
                <a:gd name="connsiteX1822" fmla="*/ 30174 w 5719680"/>
                <a:gd name="connsiteY1822" fmla="*/ 4961197 h 5704395"/>
                <a:gd name="connsiteX1823" fmla="*/ 927130 w 5719680"/>
                <a:gd name="connsiteY1823" fmla="*/ 4959930 h 5704395"/>
                <a:gd name="connsiteX1824" fmla="*/ 926494 w 5719680"/>
                <a:gd name="connsiteY1824" fmla="*/ 4960247 h 5704395"/>
                <a:gd name="connsiteX1825" fmla="*/ 923001 w 5719680"/>
                <a:gd name="connsiteY1825" fmla="*/ 4961514 h 5704395"/>
                <a:gd name="connsiteX1826" fmla="*/ 874087 w 5719680"/>
                <a:gd name="connsiteY1826" fmla="*/ 4993203 h 5704395"/>
                <a:gd name="connsiteX1827" fmla="*/ 842961 w 5719680"/>
                <a:gd name="connsiteY1827" fmla="*/ 5042954 h 5704395"/>
                <a:gd name="connsiteX1828" fmla="*/ 1001135 w 5719680"/>
                <a:gd name="connsiteY1828" fmla="*/ 5059432 h 5704395"/>
                <a:gd name="connsiteX1829" fmla="*/ 1003358 w 5719680"/>
                <a:gd name="connsiteY1829" fmla="*/ 5035349 h 5704395"/>
                <a:gd name="connsiteX1830" fmla="*/ 965561 w 5719680"/>
                <a:gd name="connsiteY1830" fmla="*/ 4997956 h 5704395"/>
                <a:gd name="connsiteX1831" fmla="*/ 937293 w 5719680"/>
                <a:gd name="connsiteY1831" fmla="*/ 4970070 h 5704395"/>
                <a:gd name="connsiteX1832" fmla="*/ 928082 w 5719680"/>
                <a:gd name="connsiteY1832" fmla="*/ 4960880 h 5704395"/>
                <a:gd name="connsiteX1833" fmla="*/ 927130 w 5719680"/>
                <a:gd name="connsiteY1833" fmla="*/ 4959930 h 5704395"/>
                <a:gd name="connsiteX1834" fmla="*/ 2036572 w 5719680"/>
                <a:gd name="connsiteY1834" fmla="*/ 4957711 h 5704395"/>
                <a:gd name="connsiteX1835" fmla="*/ 1964472 w 5719680"/>
                <a:gd name="connsiteY1835" fmla="*/ 4961831 h 5704395"/>
                <a:gd name="connsiteX1836" fmla="*/ 1970825 w 5719680"/>
                <a:gd name="connsiteY1836" fmla="*/ 5039785 h 5704395"/>
                <a:gd name="connsiteX1837" fmla="*/ 2034666 w 5719680"/>
                <a:gd name="connsiteY1837" fmla="*/ 5041687 h 5704395"/>
                <a:gd name="connsiteX1838" fmla="*/ 2036572 w 5719680"/>
                <a:gd name="connsiteY1838" fmla="*/ 4957711 h 5704395"/>
                <a:gd name="connsiteX1839" fmla="*/ 643496 w 5719680"/>
                <a:gd name="connsiteY1839" fmla="*/ 4952007 h 5704395"/>
                <a:gd name="connsiteX1840" fmla="*/ 604746 w 5719680"/>
                <a:gd name="connsiteY1840" fmla="*/ 5016970 h 5704395"/>
                <a:gd name="connsiteX1841" fmla="*/ 572667 w 5719680"/>
                <a:gd name="connsiteY1841" fmla="*/ 4995738 h 5704395"/>
                <a:gd name="connsiteX1842" fmla="*/ 517401 w 5719680"/>
                <a:gd name="connsiteY1842" fmla="*/ 5077495 h 5704395"/>
                <a:gd name="connsiteX1843" fmla="*/ 565679 w 5719680"/>
                <a:gd name="connsiteY1843" fmla="*/ 5122493 h 5704395"/>
                <a:gd name="connsiteX1844" fmla="*/ 589501 w 5719680"/>
                <a:gd name="connsiteY1844" fmla="*/ 5099994 h 5704395"/>
                <a:gd name="connsiteX1845" fmla="*/ 551069 w 5719680"/>
                <a:gd name="connsiteY1845" fmla="*/ 5066087 h 5704395"/>
                <a:gd name="connsiteX1846" fmla="*/ 580290 w 5719680"/>
                <a:gd name="connsiteY1846" fmla="*/ 5030596 h 5704395"/>
                <a:gd name="connsiteX1847" fmla="*/ 620627 w 5719680"/>
                <a:gd name="connsiteY1847" fmla="*/ 5035666 h 5704395"/>
                <a:gd name="connsiteX1848" fmla="*/ 703208 w 5719680"/>
                <a:gd name="connsiteY1848" fmla="*/ 5012533 h 5704395"/>
                <a:gd name="connsiteX1849" fmla="*/ 679705 w 5719680"/>
                <a:gd name="connsiteY1849" fmla="*/ 4986231 h 5704395"/>
                <a:gd name="connsiteX1850" fmla="*/ 643496 w 5719680"/>
                <a:gd name="connsiteY1850" fmla="*/ 4952007 h 5704395"/>
                <a:gd name="connsiteX1851" fmla="*/ 2390082 w 5719680"/>
                <a:gd name="connsiteY1851" fmla="*/ 4949789 h 5704395"/>
                <a:gd name="connsiteX1852" fmla="*/ 2357050 w 5719680"/>
                <a:gd name="connsiteY1852" fmla="*/ 4950106 h 5704395"/>
                <a:gd name="connsiteX1853" fmla="*/ 2358002 w 5719680"/>
                <a:gd name="connsiteY1853" fmla="*/ 4976725 h 5704395"/>
                <a:gd name="connsiteX1854" fmla="*/ 2355461 w 5719680"/>
                <a:gd name="connsiteY1854" fmla="*/ 4976725 h 5704395"/>
                <a:gd name="connsiteX1855" fmla="*/ 2360543 w 5719680"/>
                <a:gd name="connsiteY1855" fmla="*/ 4984647 h 5704395"/>
                <a:gd name="connsiteX1856" fmla="*/ 2367848 w 5719680"/>
                <a:gd name="connsiteY1856" fmla="*/ 4995738 h 5704395"/>
                <a:gd name="connsiteX1857" fmla="*/ 2389764 w 5719680"/>
                <a:gd name="connsiteY1857" fmla="*/ 4995421 h 5704395"/>
                <a:gd name="connsiteX1858" fmla="*/ 2390082 w 5719680"/>
                <a:gd name="connsiteY1858" fmla="*/ 4949789 h 5704395"/>
                <a:gd name="connsiteX1859" fmla="*/ 642543 w 5719680"/>
                <a:gd name="connsiteY1859" fmla="*/ 4944719 h 5704395"/>
                <a:gd name="connsiteX1860" fmla="*/ 644449 w 5719680"/>
                <a:gd name="connsiteY1860" fmla="*/ 4946620 h 5704395"/>
                <a:gd name="connsiteX1861" fmla="*/ 682881 w 5719680"/>
                <a:gd name="connsiteY1861" fmla="*/ 4983063 h 5704395"/>
                <a:gd name="connsiteX1862" fmla="*/ 711784 w 5719680"/>
                <a:gd name="connsiteY1862" fmla="*/ 5015068 h 5704395"/>
                <a:gd name="connsiteX1863" fmla="*/ 621263 w 5719680"/>
                <a:gd name="connsiteY1863" fmla="*/ 5040419 h 5704395"/>
                <a:gd name="connsiteX1864" fmla="*/ 582196 w 5719680"/>
                <a:gd name="connsiteY1864" fmla="*/ 5035666 h 5704395"/>
                <a:gd name="connsiteX1865" fmla="*/ 557739 w 5719680"/>
                <a:gd name="connsiteY1865" fmla="*/ 5065453 h 5704395"/>
                <a:gd name="connsiteX1866" fmla="*/ 596488 w 5719680"/>
                <a:gd name="connsiteY1866" fmla="*/ 5099994 h 5704395"/>
                <a:gd name="connsiteX1867" fmla="*/ 565679 w 5719680"/>
                <a:gd name="connsiteY1867" fmla="*/ 5128831 h 5704395"/>
                <a:gd name="connsiteX1868" fmla="*/ 511367 w 5719680"/>
                <a:gd name="connsiteY1868" fmla="*/ 5078129 h 5704395"/>
                <a:gd name="connsiteX1869" fmla="*/ 571397 w 5719680"/>
                <a:gd name="connsiteY1869" fmla="*/ 4989083 h 5704395"/>
                <a:gd name="connsiteX1870" fmla="*/ 603158 w 5719680"/>
                <a:gd name="connsiteY1870" fmla="*/ 5010315 h 5704395"/>
                <a:gd name="connsiteX1871" fmla="*/ 642543 w 5719680"/>
                <a:gd name="connsiteY1871" fmla="*/ 4944719 h 5704395"/>
                <a:gd name="connsiteX1872" fmla="*/ 1005899 w 5719680"/>
                <a:gd name="connsiteY1872" fmla="*/ 4938381 h 5704395"/>
                <a:gd name="connsiteX1873" fmla="*/ 972231 w 5719680"/>
                <a:gd name="connsiteY1873" fmla="*/ 4958028 h 5704395"/>
                <a:gd name="connsiteX1874" fmla="*/ 984936 w 5719680"/>
                <a:gd name="connsiteY1874" fmla="*/ 4979260 h 5704395"/>
                <a:gd name="connsiteX1875" fmla="*/ 1018286 w 5719680"/>
                <a:gd name="connsiteY1875" fmla="*/ 4959930 h 5704395"/>
                <a:gd name="connsiteX1876" fmla="*/ 1005899 w 5719680"/>
                <a:gd name="connsiteY1876" fmla="*/ 4938381 h 5704395"/>
                <a:gd name="connsiteX1877" fmla="*/ 2177277 w 5719680"/>
                <a:gd name="connsiteY1877" fmla="*/ 4938064 h 5704395"/>
                <a:gd name="connsiteX1878" fmla="*/ 2145515 w 5719680"/>
                <a:gd name="connsiteY1878" fmla="*/ 4960563 h 5704395"/>
                <a:gd name="connsiteX1879" fmla="*/ 2160126 w 5719680"/>
                <a:gd name="connsiteY1879" fmla="*/ 4980844 h 5704395"/>
                <a:gd name="connsiteX1880" fmla="*/ 2191570 w 5719680"/>
                <a:gd name="connsiteY1880" fmla="*/ 4958345 h 5704395"/>
                <a:gd name="connsiteX1881" fmla="*/ 2177277 w 5719680"/>
                <a:gd name="connsiteY1881" fmla="*/ 4938064 h 5704395"/>
                <a:gd name="connsiteX1882" fmla="*/ 1007487 w 5719680"/>
                <a:gd name="connsiteY1882" fmla="*/ 4932994 h 5704395"/>
                <a:gd name="connsiteX1883" fmla="*/ 1024003 w 5719680"/>
                <a:gd name="connsiteY1883" fmla="*/ 4961514 h 5704395"/>
                <a:gd name="connsiteX1884" fmla="*/ 983348 w 5719680"/>
                <a:gd name="connsiteY1884" fmla="*/ 4984964 h 5704395"/>
                <a:gd name="connsiteX1885" fmla="*/ 982395 w 5719680"/>
                <a:gd name="connsiteY1885" fmla="*/ 4983379 h 5704395"/>
                <a:gd name="connsiteX1886" fmla="*/ 966832 w 5719680"/>
                <a:gd name="connsiteY1886" fmla="*/ 4956444 h 5704395"/>
                <a:gd name="connsiteX1887" fmla="*/ 2178230 w 5719680"/>
                <a:gd name="connsiteY1887" fmla="*/ 4932360 h 5704395"/>
                <a:gd name="connsiteX1888" fmla="*/ 2197287 w 5719680"/>
                <a:gd name="connsiteY1888" fmla="*/ 4959296 h 5704395"/>
                <a:gd name="connsiteX1889" fmla="*/ 2159173 w 5719680"/>
                <a:gd name="connsiteY1889" fmla="*/ 4986548 h 5704395"/>
                <a:gd name="connsiteX1890" fmla="*/ 2157902 w 5719680"/>
                <a:gd name="connsiteY1890" fmla="*/ 4984964 h 5704395"/>
                <a:gd name="connsiteX1891" fmla="*/ 2139798 w 5719680"/>
                <a:gd name="connsiteY1891" fmla="*/ 4959613 h 5704395"/>
                <a:gd name="connsiteX1892" fmla="*/ 639685 w 5719680"/>
                <a:gd name="connsiteY1892" fmla="*/ 4928241 h 5704395"/>
                <a:gd name="connsiteX1893" fmla="*/ 637144 w 5719680"/>
                <a:gd name="connsiteY1893" fmla="*/ 4929508 h 5704395"/>
                <a:gd name="connsiteX1894" fmla="*/ 599982 w 5719680"/>
                <a:gd name="connsiteY1894" fmla="*/ 4993203 h 5704395"/>
                <a:gd name="connsiteX1895" fmla="*/ 569173 w 5719680"/>
                <a:gd name="connsiteY1895" fmla="*/ 4974823 h 5704395"/>
                <a:gd name="connsiteX1896" fmla="*/ 498344 w 5719680"/>
                <a:gd name="connsiteY1896" fmla="*/ 5079396 h 5704395"/>
                <a:gd name="connsiteX1897" fmla="*/ 567903 w 5719680"/>
                <a:gd name="connsiteY1897" fmla="*/ 5144992 h 5704395"/>
                <a:gd name="connsiteX1898" fmla="*/ 635556 w 5719680"/>
                <a:gd name="connsiteY1898" fmla="*/ 5082565 h 5704395"/>
                <a:gd name="connsiteX1899" fmla="*/ 632697 w 5719680"/>
                <a:gd name="connsiteY1899" fmla="*/ 5042637 h 5704395"/>
                <a:gd name="connsiteX1900" fmla="*/ 634920 w 5719680"/>
                <a:gd name="connsiteY1900" fmla="*/ 5042321 h 5704395"/>
                <a:gd name="connsiteX1901" fmla="*/ 687645 w 5719680"/>
                <a:gd name="connsiteY1901" fmla="*/ 5035983 h 5704395"/>
                <a:gd name="connsiteX1902" fmla="*/ 723854 w 5719680"/>
                <a:gd name="connsiteY1902" fmla="*/ 5031546 h 5704395"/>
                <a:gd name="connsiteX1903" fmla="*/ 735605 w 5719680"/>
                <a:gd name="connsiteY1903" fmla="*/ 5029962 h 5704395"/>
                <a:gd name="connsiteX1904" fmla="*/ 738782 w 5719680"/>
                <a:gd name="connsiteY1904" fmla="*/ 5029645 h 5704395"/>
                <a:gd name="connsiteX1905" fmla="*/ 672717 w 5719680"/>
                <a:gd name="connsiteY1905" fmla="*/ 4952958 h 5704395"/>
                <a:gd name="connsiteX1906" fmla="*/ 639685 w 5719680"/>
                <a:gd name="connsiteY1906" fmla="*/ 4928241 h 5704395"/>
                <a:gd name="connsiteX1907" fmla="*/ 2317665 w 5719680"/>
                <a:gd name="connsiteY1907" fmla="*/ 4926973 h 5704395"/>
                <a:gd name="connsiteX1908" fmla="*/ 2280821 w 5719680"/>
                <a:gd name="connsiteY1908" fmla="*/ 4935529 h 5704395"/>
                <a:gd name="connsiteX1909" fmla="*/ 2295114 w 5719680"/>
                <a:gd name="connsiteY1909" fmla="*/ 5049609 h 5704395"/>
                <a:gd name="connsiteX1910" fmla="*/ 2395481 w 5719680"/>
                <a:gd name="connsiteY1910" fmla="*/ 5052461 h 5704395"/>
                <a:gd name="connsiteX1911" fmla="*/ 2395481 w 5719680"/>
                <a:gd name="connsiteY1911" fmla="*/ 5054362 h 5704395"/>
                <a:gd name="connsiteX1912" fmla="*/ 2398340 w 5719680"/>
                <a:gd name="connsiteY1912" fmla="*/ 5048341 h 5704395"/>
                <a:gd name="connsiteX1913" fmla="*/ 2366896 w 5719680"/>
                <a:gd name="connsiteY1913" fmla="*/ 5002393 h 5704395"/>
                <a:gd name="connsiteX1914" fmla="*/ 2366578 w 5719680"/>
                <a:gd name="connsiteY1914" fmla="*/ 5030913 h 5704395"/>
                <a:gd name="connsiteX1915" fmla="*/ 2327828 w 5719680"/>
                <a:gd name="connsiteY1915" fmla="*/ 5030913 h 5704395"/>
                <a:gd name="connsiteX1916" fmla="*/ 2327193 w 5719680"/>
                <a:gd name="connsiteY1916" fmla="*/ 4973239 h 5704395"/>
                <a:gd name="connsiteX1917" fmla="*/ 2347521 w 5719680"/>
                <a:gd name="connsiteY1917" fmla="*/ 4972922 h 5704395"/>
                <a:gd name="connsiteX1918" fmla="*/ 2317665 w 5719680"/>
                <a:gd name="connsiteY1918" fmla="*/ 4926973 h 5704395"/>
                <a:gd name="connsiteX1919" fmla="*/ 257907 w 5719680"/>
                <a:gd name="connsiteY1919" fmla="*/ 4926656 h 5704395"/>
                <a:gd name="connsiteX1920" fmla="*/ 220745 w 5719680"/>
                <a:gd name="connsiteY1920" fmla="*/ 5011266 h 5704395"/>
                <a:gd name="connsiteX1921" fmla="*/ 362721 w 5719680"/>
                <a:gd name="connsiteY1921" fmla="*/ 5033131 h 5704395"/>
                <a:gd name="connsiteX1922" fmla="*/ 385590 w 5719680"/>
                <a:gd name="connsiteY1922" fmla="*/ 5008414 h 5704395"/>
                <a:gd name="connsiteX1923" fmla="*/ 367485 w 5719680"/>
                <a:gd name="connsiteY1923" fmla="*/ 4991935 h 5704395"/>
                <a:gd name="connsiteX1924" fmla="*/ 358274 w 5719680"/>
                <a:gd name="connsiteY1924" fmla="*/ 5002076 h 5704395"/>
                <a:gd name="connsiteX1925" fmla="*/ 330959 w 5719680"/>
                <a:gd name="connsiteY1925" fmla="*/ 5012850 h 5704395"/>
                <a:gd name="connsiteX1926" fmla="*/ 297609 w 5719680"/>
                <a:gd name="connsiteY1926" fmla="*/ 4996689 h 5704395"/>
                <a:gd name="connsiteX1927" fmla="*/ 278552 w 5719680"/>
                <a:gd name="connsiteY1927" fmla="*/ 4979894 h 5704395"/>
                <a:gd name="connsiteX1928" fmla="*/ 274105 w 5719680"/>
                <a:gd name="connsiteY1928" fmla="*/ 4979260 h 5704395"/>
                <a:gd name="connsiteX1929" fmla="*/ 256636 w 5719680"/>
                <a:gd name="connsiteY1929" fmla="*/ 4986231 h 5704395"/>
                <a:gd name="connsiteX1930" fmla="*/ 247425 w 5719680"/>
                <a:gd name="connsiteY1930" fmla="*/ 5004294 h 5704395"/>
                <a:gd name="connsiteX1931" fmla="*/ 248061 w 5719680"/>
                <a:gd name="connsiteY1931" fmla="*/ 5011582 h 5704395"/>
                <a:gd name="connsiteX1932" fmla="*/ 239802 w 5719680"/>
                <a:gd name="connsiteY1932" fmla="*/ 5006829 h 5704395"/>
                <a:gd name="connsiteX1933" fmla="*/ 239802 w 5719680"/>
                <a:gd name="connsiteY1933" fmla="*/ 5004294 h 5704395"/>
                <a:gd name="connsiteX1934" fmla="*/ 274105 w 5719680"/>
                <a:gd name="connsiteY1934" fmla="*/ 4971655 h 5704395"/>
                <a:gd name="connsiteX1935" fmla="*/ 280775 w 5719680"/>
                <a:gd name="connsiteY1935" fmla="*/ 4972605 h 5704395"/>
                <a:gd name="connsiteX1936" fmla="*/ 302691 w 5719680"/>
                <a:gd name="connsiteY1936" fmla="*/ 4990985 h 5704395"/>
                <a:gd name="connsiteX1937" fmla="*/ 330959 w 5719680"/>
                <a:gd name="connsiteY1937" fmla="*/ 5004928 h 5704395"/>
                <a:gd name="connsiteX1938" fmla="*/ 353510 w 5719680"/>
                <a:gd name="connsiteY1938" fmla="*/ 4995738 h 5704395"/>
                <a:gd name="connsiteX1939" fmla="*/ 361768 w 5719680"/>
                <a:gd name="connsiteY1939" fmla="*/ 4986865 h 5704395"/>
                <a:gd name="connsiteX1940" fmla="*/ 361133 w 5719680"/>
                <a:gd name="connsiteY1940" fmla="*/ 4986548 h 5704395"/>
                <a:gd name="connsiteX1941" fmla="*/ 316031 w 5719680"/>
                <a:gd name="connsiteY1941" fmla="*/ 4953592 h 5704395"/>
                <a:gd name="connsiteX1942" fmla="*/ 257907 w 5719680"/>
                <a:gd name="connsiteY1942" fmla="*/ 4926656 h 5704395"/>
                <a:gd name="connsiteX1943" fmla="*/ 1355915 w 5719680"/>
                <a:gd name="connsiteY1943" fmla="*/ 4921269 h 5704395"/>
                <a:gd name="connsiteX1944" fmla="*/ 1227279 w 5719680"/>
                <a:gd name="connsiteY1944" fmla="*/ 5000174 h 5704395"/>
                <a:gd name="connsiteX1945" fmla="*/ 1179319 w 5719680"/>
                <a:gd name="connsiteY1945" fmla="*/ 4989717 h 5704395"/>
                <a:gd name="connsiteX1946" fmla="*/ 1098644 w 5719680"/>
                <a:gd name="connsiteY1946" fmla="*/ 5074326 h 5704395"/>
                <a:gd name="connsiteX1947" fmla="*/ 1137076 w 5719680"/>
                <a:gd name="connsiteY1947" fmla="*/ 5149429 h 5704395"/>
                <a:gd name="connsiteX1948" fmla="*/ 1196470 w 5719680"/>
                <a:gd name="connsiteY1948" fmla="*/ 5098093 h 5704395"/>
                <a:gd name="connsiteX1949" fmla="*/ 1238714 w 5719680"/>
                <a:gd name="connsiteY1949" fmla="*/ 5061017 h 5704395"/>
                <a:gd name="connsiteX1950" fmla="*/ 1252689 w 5719680"/>
                <a:gd name="connsiteY1950" fmla="*/ 5048658 h 5704395"/>
                <a:gd name="connsiteX1951" fmla="*/ 1256500 w 5719680"/>
                <a:gd name="connsiteY1951" fmla="*/ 5045173 h 5704395"/>
                <a:gd name="connsiteX1952" fmla="*/ 1257453 w 5719680"/>
                <a:gd name="connsiteY1952" fmla="*/ 5044222 h 5704395"/>
                <a:gd name="connsiteX1953" fmla="*/ 1258088 w 5719680"/>
                <a:gd name="connsiteY1953" fmla="*/ 5043588 h 5704395"/>
                <a:gd name="connsiteX1954" fmla="*/ 1258088 w 5719680"/>
                <a:gd name="connsiteY1954" fmla="*/ 5043271 h 5704395"/>
                <a:gd name="connsiteX1955" fmla="*/ 1278734 w 5719680"/>
                <a:gd name="connsiteY1955" fmla="*/ 5033131 h 5704395"/>
                <a:gd name="connsiteX1956" fmla="*/ 1380054 w 5719680"/>
                <a:gd name="connsiteY1956" fmla="*/ 4984013 h 5704395"/>
                <a:gd name="connsiteX1957" fmla="*/ 1371796 w 5719680"/>
                <a:gd name="connsiteY1957" fmla="*/ 4952324 h 5704395"/>
                <a:gd name="connsiteX1958" fmla="*/ 1356868 w 5719680"/>
                <a:gd name="connsiteY1958" fmla="*/ 4921269 h 5704395"/>
                <a:gd name="connsiteX1959" fmla="*/ 1355915 w 5719680"/>
                <a:gd name="connsiteY1959" fmla="*/ 4921269 h 5704395"/>
                <a:gd name="connsiteX1960" fmla="*/ 796271 w 5719680"/>
                <a:gd name="connsiteY1960" fmla="*/ 4919368 h 5704395"/>
                <a:gd name="connsiteX1961" fmla="*/ 732429 w 5719680"/>
                <a:gd name="connsiteY1961" fmla="*/ 4941867 h 5704395"/>
                <a:gd name="connsiteX1962" fmla="*/ 701303 w 5719680"/>
                <a:gd name="connsiteY1962" fmla="*/ 4949156 h 5704395"/>
                <a:gd name="connsiteX1963" fmla="*/ 759109 w 5719680"/>
                <a:gd name="connsiteY1963" fmla="*/ 5023624 h 5704395"/>
                <a:gd name="connsiteX1964" fmla="*/ 824221 w 5719680"/>
                <a:gd name="connsiteY1964" fmla="*/ 5032814 h 5704395"/>
                <a:gd name="connsiteX1965" fmla="*/ 845184 w 5719680"/>
                <a:gd name="connsiteY1965" fmla="*/ 4994154 h 5704395"/>
                <a:gd name="connsiteX1966" fmla="*/ 818186 w 5719680"/>
                <a:gd name="connsiteY1966" fmla="*/ 4952641 h 5704395"/>
                <a:gd name="connsiteX1967" fmla="*/ 800082 w 5719680"/>
                <a:gd name="connsiteY1967" fmla="*/ 4925072 h 5704395"/>
                <a:gd name="connsiteX1968" fmla="*/ 796271 w 5719680"/>
                <a:gd name="connsiteY1968" fmla="*/ 4919368 h 5704395"/>
                <a:gd name="connsiteX1969" fmla="*/ 2039430 w 5719680"/>
                <a:gd name="connsiteY1969" fmla="*/ 4917784 h 5704395"/>
                <a:gd name="connsiteX1970" fmla="*/ 2039430 w 5719680"/>
                <a:gd name="connsiteY1970" fmla="*/ 4932044 h 5704395"/>
                <a:gd name="connsiteX1971" fmla="*/ 2079450 w 5719680"/>
                <a:gd name="connsiteY1971" fmla="*/ 4932044 h 5704395"/>
                <a:gd name="connsiteX1972" fmla="*/ 2079133 w 5719680"/>
                <a:gd name="connsiteY1972" fmla="*/ 4917784 h 5704395"/>
                <a:gd name="connsiteX1973" fmla="*/ 3310541 w 5719680"/>
                <a:gd name="connsiteY1973" fmla="*/ 4917467 h 5704395"/>
                <a:gd name="connsiteX1974" fmla="*/ 3266710 w 5719680"/>
                <a:gd name="connsiteY1974" fmla="*/ 4989717 h 5704395"/>
                <a:gd name="connsiteX1975" fmla="*/ 3221290 w 5719680"/>
                <a:gd name="connsiteY1975" fmla="*/ 5065770 h 5704395"/>
                <a:gd name="connsiteX1976" fmla="*/ 3333092 w 5719680"/>
                <a:gd name="connsiteY1976" fmla="*/ 5185237 h 5704395"/>
                <a:gd name="connsiteX1977" fmla="*/ 3454105 w 5719680"/>
                <a:gd name="connsiteY1977" fmla="*/ 5236573 h 5704395"/>
                <a:gd name="connsiteX1978" fmla="*/ 3546532 w 5719680"/>
                <a:gd name="connsiteY1978" fmla="*/ 5164639 h 5704395"/>
                <a:gd name="connsiteX1979" fmla="*/ 3591316 w 5719680"/>
                <a:gd name="connsiteY1979" fmla="*/ 5130415 h 5704395"/>
                <a:gd name="connsiteX1980" fmla="*/ 3597986 w 5719680"/>
                <a:gd name="connsiteY1980" fmla="*/ 5125028 h 5704395"/>
                <a:gd name="connsiteX1981" fmla="*/ 3591952 w 5719680"/>
                <a:gd name="connsiteY1981" fmla="*/ 5120592 h 5704395"/>
                <a:gd name="connsiteX1982" fmla="*/ 3339127 w 5719680"/>
                <a:gd name="connsiteY1982" fmla="*/ 4939332 h 5704395"/>
                <a:gd name="connsiteX1983" fmla="*/ 3310541 w 5719680"/>
                <a:gd name="connsiteY1983" fmla="*/ 4917467 h 5704395"/>
                <a:gd name="connsiteX1984" fmla="*/ 2035302 w 5719680"/>
                <a:gd name="connsiteY1984" fmla="*/ 4913664 h 5704395"/>
                <a:gd name="connsiteX1985" fmla="*/ 2037525 w 5719680"/>
                <a:gd name="connsiteY1985" fmla="*/ 4913664 h 5704395"/>
                <a:gd name="connsiteX1986" fmla="*/ 2083580 w 5719680"/>
                <a:gd name="connsiteY1986" fmla="*/ 4913664 h 5704395"/>
                <a:gd name="connsiteX1987" fmla="*/ 2083580 w 5719680"/>
                <a:gd name="connsiteY1987" fmla="*/ 4936163 h 5704395"/>
                <a:gd name="connsiteX1988" fmla="*/ 2035302 w 5719680"/>
                <a:gd name="connsiteY1988" fmla="*/ 4936163 h 5704395"/>
                <a:gd name="connsiteX1989" fmla="*/ 2035302 w 5719680"/>
                <a:gd name="connsiteY1989" fmla="*/ 4913664 h 5704395"/>
                <a:gd name="connsiteX1990" fmla="*/ 1016698 w 5719680"/>
                <a:gd name="connsiteY1990" fmla="*/ 4910178 h 5704395"/>
                <a:gd name="connsiteX1991" fmla="*/ 931259 w 5719680"/>
                <a:gd name="connsiteY1991" fmla="*/ 4957711 h 5704395"/>
                <a:gd name="connsiteX1992" fmla="*/ 1009393 w 5719680"/>
                <a:gd name="connsiteY1992" fmla="*/ 5035032 h 5704395"/>
                <a:gd name="connsiteX1993" fmla="*/ 1052271 w 5719680"/>
                <a:gd name="connsiteY1993" fmla="*/ 5053095 h 5704395"/>
                <a:gd name="connsiteX1994" fmla="*/ 1052271 w 5719680"/>
                <a:gd name="connsiteY1994" fmla="*/ 5052778 h 5704395"/>
                <a:gd name="connsiteX1995" fmla="*/ 1051001 w 5719680"/>
                <a:gd name="connsiteY1995" fmla="*/ 5051510 h 5704395"/>
                <a:gd name="connsiteX1996" fmla="*/ 1059259 w 5719680"/>
                <a:gd name="connsiteY1996" fmla="*/ 5025209 h 5704395"/>
                <a:gd name="connsiteX1997" fmla="*/ 1064976 w 5719680"/>
                <a:gd name="connsiteY1997" fmla="*/ 5003343 h 5704395"/>
                <a:gd name="connsiteX1998" fmla="*/ 1038931 w 5719680"/>
                <a:gd name="connsiteY1998" fmla="*/ 4953592 h 5704395"/>
                <a:gd name="connsiteX1999" fmla="*/ 1020827 w 5719680"/>
                <a:gd name="connsiteY1999" fmla="*/ 4918417 h 5704395"/>
                <a:gd name="connsiteX2000" fmla="*/ 1016698 w 5719680"/>
                <a:gd name="connsiteY2000" fmla="*/ 4910178 h 5704395"/>
                <a:gd name="connsiteX2001" fmla="*/ 905849 w 5719680"/>
                <a:gd name="connsiteY2001" fmla="*/ 4907643 h 5704395"/>
                <a:gd name="connsiteX2002" fmla="*/ 872499 w 5719680"/>
                <a:gd name="connsiteY2002" fmla="*/ 4927290 h 5704395"/>
                <a:gd name="connsiteX2003" fmla="*/ 884886 w 5719680"/>
                <a:gd name="connsiteY2003" fmla="*/ 4948522 h 5704395"/>
                <a:gd name="connsiteX2004" fmla="*/ 918554 w 5719680"/>
                <a:gd name="connsiteY2004" fmla="*/ 4929192 h 5704395"/>
                <a:gd name="connsiteX2005" fmla="*/ 905849 w 5719680"/>
                <a:gd name="connsiteY2005" fmla="*/ 4907643 h 5704395"/>
                <a:gd name="connsiteX2006" fmla="*/ 2334181 w 5719680"/>
                <a:gd name="connsiteY2006" fmla="*/ 4905425 h 5704395"/>
                <a:gd name="connsiteX2007" fmla="*/ 2328464 w 5719680"/>
                <a:gd name="connsiteY2007" fmla="*/ 4914615 h 5704395"/>
                <a:gd name="connsiteX2008" fmla="*/ 2323382 w 5719680"/>
                <a:gd name="connsiteY2008" fmla="*/ 4922220 h 5704395"/>
                <a:gd name="connsiteX2009" fmla="*/ 2321476 w 5719680"/>
                <a:gd name="connsiteY2009" fmla="*/ 4924755 h 5704395"/>
                <a:gd name="connsiteX2010" fmla="*/ 2352603 w 5719680"/>
                <a:gd name="connsiteY2010" fmla="*/ 4972605 h 5704395"/>
                <a:gd name="connsiteX2011" fmla="*/ 2353556 w 5719680"/>
                <a:gd name="connsiteY2011" fmla="*/ 4972605 h 5704395"/>
                <a:gd name="connsiteX2012" fmla="*/ 2352603 w 5719680"/>
                <a:gd name="connsiteY2012" fmla="*/ 4945987 h 5704395"/>
                <a:gd name="connsiteX2013" fmla="*/ 2394211 w 5719680"/>
                <a:gd name="connsiteY2013" fmla="*/ 4945670 h 5704395"/>
                <a:gd name="connsiteX2014" fmla="*/ 2393893 w 5719680"/>
                <a:gd name="connsiteY2014" fmla="*/ 4999541 h 5704395"/>
                <a:gd name="connsiteX2015" fmla="*/ 2370389 w 5719680"/>
                <a:gd name="connsiteY2015" fmla="*/ 4999858 h 5704395"/>
                <a:gd name="connsiteX2016" fmla="*/ 2388494 w 5719680"/>
                <a:gd name="connsiteY2016" fmla="*/ 5027110 h 5704395"/>
                <a:gd name="connsiteX2017" fmla="*/ 2398340 w 5719680"/>
                <a:gd name="connsiteY2017" fmla="*/ 5041053 h 5704395"/>
                <a:gd name="connsiteX2018" fmla="*/ 2400246 w 5719680"/>
                <a:gd name="connsiteY2018" fmla="*/ 5043905 h 5704395"/>
                <a:gd name="connsiteX2019" fmla="*/ 2403422 w 5719680"/>
                <a:gd name="connsiteY2019" fmla="*/ 5036617 h 5704395"/>
                <a:gd name="connsiteX2020" fmla="*/ 2421844 w 5719680"/>
                <a:gd name="connsiteY2020" fmla="*/ 4923804 h 5704395"/>
                <a:gd name="connsiteX2021" fmla="*/ 2378648 w 5719680"/>
                <a:gd name="connsiteY2021" fmla="*/ 4914615 h 5704395"/>
                <a:gd name="connsiteX2022" fmla="*/ 2334181 w 5719680"/>
                <a:gd name="connsiteY2022" fmla="*/ 4905425 h 5704395"/>
                <a:gd name="connsiteX2023" fmla="*/ 132130 w 5719680"/>
                <a:gd name="connsiteY2023" fmla="*/ 4904791 h 5704395"/>
                <a:gd name="connsiteX2024" fmla="*/ 99733 w 5719680"/>
                <a:gd name="connsiteY2024" fmla="*/ 4907009 h 5704395"/>
                <a:gd name="connsiteX2025" fmla="*/ 101638 w 5719680"/>
                <a:gd name="connsiteY2025" fmla="*/ 4925706 h 5704395"/>
                <a:gd name="connsiteX2026" fmla="*/ 111802 w 5719680"/>
                <a:gd name="connsiteY2026" fmla="*/ 4925072 h 5704395"/>
                <a:gd name="connsiteX2027" fmla="*/ 137847 w 5719680"/>
                <a:gd name="connsiteY2027" fmla="*/ 4935846 h 5704395"/>
                <a:gd name="connsiteX2028" fmla="*/ 160715 w 5719680"/>
                <a:gd name="connsiteY2028" fmla="*/ 4938064 h 5704395"/>
                <a:gd name="connsiteX2029" fmla="*/ 161668 w 5719680"/>
                <a:gd name="connsiteY2029" fmla="*/ 4938064 h 5704395"/>
                <a:gd name="connsiteX2030" fmla="*/ 162303 w 5719680"/>
                <a:gd name="connsiteY2030" fmla="*/ 4938381 h 5704395"/>
                <a:gd name="connsiteX2031" fmla="*/ 180725 w 5719680"/>
                <a:gd name="connsiteY2031" fmla="*/ 4947254 h 5704395"/>
                <a:gd name="connsiteX2032" fmla="*/ 189936 w 5719680"/>
                <a:gd name="connsiteY2032" fmla="*/ 4942818 h 5704395"/>
                <a:gd name="connsiteX2033" fmla="*/ 196606 w 5719680"/>
                <a:gd name="connsiteY2033" fmla="*/ 4944402 h 5704395"/>
                <a:gd name="connsiteX2034" fmla="*/ 213122 w 5719680"/>
                <a:gd name="connsiteY2034" fmla="*/ 4952324 h 5704395"/>
                <a:gd name="connsiteX2035" fmla="*/ 225827 w 5719680"/>
                <a:gd name="connsiteY2035" fmla="*/ 4935846 h 5704395"/>
                <a:gd name="connsiteX2036" fmla="*/ 169926 w 5719680"/>
                <a:gd name="connsiteY2036" fmla="*/ 4907960 h 5704395"/>
                <a:gd name="connsiteX2037" fmla="*/ 132130 w 5719680"/>
                <a:gd name="connsiteY2037" fmla="*/ 4904791 h 5704395"/>
                <a:gd name="connsiteX2038" fmla="*/ 1839966 w 5719680"/>
                <a:gd name="connsiteY2038" fmla="*/ 4903524 h 5704395"/>
                <a:gd name="connsiteX2039" fmla="*/ 1735470 w 5719680"/>
                <a:gd name="connsiteY2039" fmla="*/ 4934579 h 5704395"/>
                <a:gd name="connsiteX2040" fmla="*/ 1633196 w 5719680"/>
                <a:gd name="connsiteY2040" fmla="*/ 4965000 h 5704395"/>
                <a:gd name="connsiteX2041" fmla="*/ 1629702 w 5719680"/>
                <a:gd name="connsiteY2041" fmla="*/ 5029645 h 5704395"/>
                <a:gd name="connsiteX2042" fmla="*/ 1637325 w 5719680"/>
                <a:gd name="connsiteY2042" fmla="*/ 5029011 h 5704395"/>
                <a:gd name="connsiteX2043" fmla="*/ 1765961 w 5719680"/>
                <a:gd name="connsiteY2043" fmla="*/ 5027427 h 5704395"/>
                <a:gd name="connsiteX2044" fmla="*/ 1767867 w 5719680"/>
                <a:gd name="connsiteY2044" fmla="*/ 5027427 h 5704395"/>
                <a:gd name="connsiteX2045" fmla="*/ 1772949 w 5719680"/>
                <a:gd name="connsiteY2045" fmla="*/ 5098727 h 5704395"/>
                <a:gd name="connsiteX2046" fmla="*/ 1878716 w 5719680"/>
                <a:gd name="connsiteY2046" fmla="*/ 5097776 h 5704395"/>
                <a:gd name="connsiteX2047" fmla="*/ 1950180 w 5719680"/>
                <a:gd name="connsiteY2047" fmla="*/ 5045173 h 5704395"/>
                <a:gd name="connsiteX2048" fmla="*/ 1946368 w 5719680"/>
                <a:gd name="connsiteY2048" fmla="*/ 4996372 h 5704395"/>
                <a:gd name="connsiteX2049" fmla="*/ 1850448 w 5719680"/>
                <a:gd name="connsiteY2049" fmla="*/ 4973556 h 5704395"/>
                <a:gd name="connsiteX2050" fmla="*/ 1850448 w 5719680"/>
                <a:gd name="connsiteY2050" fmla="*/ 4972288 h 5704395"/>
                <a:gd name="connsiteX2051" fmla="*/ 1845683 w 5719680"/>
                <a:gd name="connsiteY2051" fmla="*/ 4936797 h 5704395"/>
                <a:gd name="connsiteX2052" fmla="*/ 1841872 w 5719680"/>
                <a:gd name="connsiteY2052" fmla="*/ 4912397 h 5704395"/>
                <a:gd name="connsiteX2053" fmla="*/ 1840284 w 5719680"/>
                <a:gd name="connsiteY2053" fmla="*/ 4904791 h 5704395"/>
                <a:gd name="connsiteX2054" fmla="*/ 1839966 w 5719680"/>
                <a:gd name="connsiteY2054" fmla="*/ 4903524 h 5704395"/>
                <a:gd name="connsiteX2055" fmla="*/ 907437 w 5719680"/>
                <a:gd name="connsiteY2055" fmla="*/ 4902256 h 5704395"/>
                <a:gd name="connsiteX2056" fmla="*/ 923953 w 5719680"/>
                <a:gd name="connsiteY2056" fmla="*/ 4930776 h 5704395"/>
                <a:gd name="connsiteX2057" fmla="*/ 883298 w 5719680"/>
                <a:gd name="connsiteY2057" fmla="*/ 4954226 h 5704395"/>
                <a:gd name="connsiteX2058" fmla="*/ 882345 w 5719680"/>
                <a:gd name="connsiteY2058" fmla="*/ 4952641 h 5704395"/>
                <a:gd name="connsiteX2059" fmla="*/ 866782 w 5719680"/>
                <a:gd name="connsiteY2059" fmla="*/ 4925706 h 5704395"/>
                <a:gd name="connsiteX2060" fmla="*/ 907437 w 5719680"/>
                <a:gd name="connsiteY2060" fmla="*/ 4902256 h 5704395"/>
                <a:gd name="connsiteX2061" fmla="*/ 118353 w 5719680"/>
                <a:gd name="connsiteY2061" fmla="*/ 4900791 h 5704395"/>
                <a:gd name="connsiteX2062" fmla="*/ 170562 w 5719680"/>
                <a:gd name="connsiteY2062" fmla="*/ 4903841 h 5704395"/>
                <a:gd name="connsiteX2063" fmla="*/ 231862 w 5719680"/>
                <a:gd name="connsiteY2063" fmla="*/ 4935212 h 5704395"/>
                <a:gd name="connsiteX2064" fmla="*/ 214393 w 5719680"/>
                <a:gd name="connsiteY2064" fmla="*/ 4957711 h 5704395"/>
                <a:gd name="connsiteX2065" fmla="*/ 194701 w 5719680"/>
                <a:gd name="connsiteY2065" fmla="*/ 4948205 h 5704395"/>
                <a:gd name="connsiteX2066" fmla="*/ 182313 w 5719680"/>
                <a:gd name="connsiteY2066" fmla="*/ 4952958 h 5704395"/>
                <a:gd name="connsiteX2067" fmla="*/ 160398 w 5719680"/>
                <a:gd name="connsiteY2067" fmla="*/ 4942501 h 5704395"/>
                <a:gd name="connsiteX2068" fmla="*/ 134035 w 5719680"/>
                <a:gd name="connsiteY2068" fmla="*/ 4939966 h 5704395"/>
                <a:gd name="connsiteX2069" fmla="*/ 97509 w 5719680"/>
                <a:gd name="connsiteY2069" fmla="*/ 4930459 h 5704395"/>
                <a:gd name="connsiteX2070" fmla="*/ 94968 w 5719680"/>
                <a:gd name="connsiteY2070" fmla="*/ 4903207 h 5704395"/>
                <a:gd name="connsiteX2071" fmla="*/ 118353 w 5719680"/>
                <a:gd name="connsiteY2071" fmla="*/ 4900791 h 5704395"/>
                <a:gd name="connsiteX2072" fmla="*/ 1437861 w 5719680"/>
                <a:gd name="connsiteY2072" fmla="*/ 4900038 h 5704395"/>
                <a:gd name="connsiteX2073" fmla="*/ 1406099 w 5719680"/>
                <a:gd name="connsiteY2073" fmla="*/ 4922220 h 5704395"/>
                <a:gd name="connsiteX2074" fmla="*/ 1420392 w 5719680"/>
                <a:gd name="connsiteY2074" fmla="*/ 4942501 h 5704395"/>
                <a:gd name="connsiteX2075" fmla="*/ 1452154 w 5719680"/>
                <a:gd name="connsiteY2075" fmla="*/ 4920319 h 5704395"/>
                <a:gd name="connsiteX2076" fmla="*/ 1437861 w 5719680"/>
                <a:gd name="connsiteY2076" fmla="*/ 4900038 h 5704395"/>
                <a:gd name="connsiteX2077" fmla="*/ 1563320 w 5719680"/>
                <a:gd name="connsiteY2077" fmla="*/ 4897503 h 5704395"/>
                <a:gd name="connsiteX2078" fmla="*/ 1506149 w 5719680"/>
                <a:gd name="connsiteY2078" fmla="*/ 4923804 h 5704395"/>
                <a:gd name="connsiteX2079" fmla="*/ 1517901 w 5719680"/>
                <a:gd name="connsiteY2079" fmla="*/ 4987499 h 5704395"/>
                <a:gd name="connsiteX2080" fmla="*/ 1552521 w 5719680"/>
                <a:gd name="connsiteY2080" fmla="*/ 4992569 h 5704395"/>
                <a:gd name="connsiteX2081" fmla="*/ 1553156 w 5719680"/>
                <a:gd name="connsiteY2081" fmla="*/ 5077812 h 5704395"/>
                <a:gd name="connsiteX2082" fmla="*/ 1600164 w 5719680"/>
                <a:gd name="connsiteY2082" fmla="*/ 5077178 h 5704395"/>
                <a:gd name="connsiteX2083" fmla="*/ 1607151 w 5719680"/>
                <a:gd name="connsiteY2083" fmla="*/ 4929192 h 5704395"/>
                <a:gd name="connsiteX2084" fmla="*/ 1572849 w 5719680"/>
                <a:gd name="connsiteY2084" fmla="*/ 4937114 h 5704395"/>
                <a:gd name="connsiteX2085" fmla="*/ 1563320 w 5719680"/>
                <a:gd name="connsiteY2085" fmla="*/ 4897503 h 5704395"/>
                <a:gd name="connsiteX2086" fmla="*/ 1126912 w 5719680"/>
                <a:gd name="connsiteY2086" fmla="*/ 4896235 h 5704395"/>
                <a:gd name="connsiteX2087" fmla="*/ 1126594 w 5719680"/>
                <a:gd name="connsiteY2087" fmla="*/ 4896552 h 5704395"/>
                <a:gd name="connsiteX2088" fmla="*/ 1136440 w 5719680"/>
                <a:gd name="connsiteY2088" fmla="*/ 4913030 h 5704395"/>
                <a:gd name="connsiteX2089" fmla="*/ 1136758 w 5719680"/>
                <a:gd name="connsiteY2089" fmla="*/ 4913030 h 5704395"/>
                <a:gd name="connsiteX2090" fmla="*/ 1126912 w 5719680"/>
                <a:gd name="connsiteY2090" fmla="*/ 4896235 h 5704395"/>
                <a:gd name="connsiteX2091" fmla="*/ 1438814 w 5719680"/>
                <a:gd name="connsiteY2091" fmla="*/ 4894334 h 5704395"/>
                <a:gd name="connsiteX2092" fmla="*/ 1457871 w 5719680"/>
                <a:gd name="connsiteY2092" fmla="*/ 4921269 h 5704395"/>
                <a:gd name="connsiteX2093" fmla="*/ 1419439 w 5719680"/>
                <a:gd name="connsiteY2093" fmla="*/ 4948205 h 5704395"/>
                <a:gd name="connsiteX2094" fmla="*/ 1418168 w 5719680"/>
                <a:gd name="connsiteY2094" fmla="*/ 4946620 h 5704395"/>
                <a:gd name="connsiteX2095" fmla="*/ 1400382 w 5719680"/>
                <a:gd name="connsiteY2095" fmla="*/ 4921269 h 5704395"/>
                <a:gd name="connsiteX2096" fmla="*/ 1119924 w 5719680"/>
                <a:gd name="connsiteY2096" fmla="*/ 4894017 h 5704395"/>
                <a:gd name="connsiteX2097" fmla="*/ 1090703 w 5719680"/>
                <a:gd name="connsiteY2097" fmla="*/ 4910812 h 5704395"/>
                <a:gd name="connsiteX2098" fmla="*/ 1103090 w 5719680"/>
                <a:gd name="connsiteY2098" fmla="*/ 4932360 h 5704395"/>
                <a:gd name="connsiteX2099" fmla="*/ 1132629 w 5719680"/>
                <a:gd name="connsiteY2099" fmla="*/ 4915249 h 5704395"/>
                <a:gd name="connsiteX2100" fmla="*/ 1566496 w 5719680"/>
                <a:gd name="connsiteY2100" fmla="*/ 4890848 h 5704395"/>
                <a:gd name="connsiteX2101" fmla="*/ 1576342 w 5719680"/>
                <a:gd name="connsiteY2101" fmla="*/ 4931410 h 5704395"/>
                <a:gd name="connsiteX2102" fmla="*/ 1612233 w 5719680"/>
                <a:gd name="connsiteY2102" fmla="*/ 4923171 h 5704395"/>
                <a:gd name="connsiteX2103" fmla="*/ 1611916 w 5719680"/>
                <a:gd name="connsiteY2103" fmla="*/ 4926340 h 5704395"/>
                <a:gd name="connsiteX2104" fmla="*/ 1604611 w 5719680"/>
                <a:gd name="connsiteY2104" fmla="*/ 5081932 h 5704395"/>
                <a:gd name="connsiteX2105" fmla="*/ 1548392 w 5719680"/>
                <a:gd name="connsiteY2105" fmla="*/ 5082565 h 5704395"/>
                <a:gd name="connsiteX2106" fmla="*/ 1547757 w 5719680"/>
                <a:gd name="connsiteY2106" fmla="*/ 4996372 h 5704395"/>
                <a:gd name="connsiteX2107" fmla="*/ 1513772 w 5719680"/>
                <a:gd name="connsiteY2107" fmla="*/ 4991618 h 5704395"/>
                <a:gd name="connsiteX2108" fmla="*/ 1501067 w 5719680"/>
                <a:gd name="connsiteY2108" fmla="*/ 4920952 h 5704395"/>
                <a:gd name="connsiteX2109" fmla="*/ 1566496 w 5719680"/>
                <a:gd name="connsiteY2109" fmla="*/ 4890848 h 5704395"/>
                <a:gd name="connsiteX2110" fmla="*/ 73370 w 5719680"/>
                <a:gd name="connsiteY2110" fmla="*/ 4887996 h 5704395"/>
                <a:gd name="connsiteX2111" fmla="*/ 38432 w 5719680"/>
                <a:gd name="connsiteY2111" fmla="*/ 4932994 h 5704395"/>
                <a:gd name="connsiteX2112" fmla="*/ 226780 w 5719680"/>
                <a:gd name="connsiteY2112" fmla="*/ 4984964 h 5704395"/>
                <a:gd name="connsiteX2113" fmla="*/ 253142 w 5719680"/>
                <a:gd name="connsiteY2113" fmla="*/ 4925072 h 5704395"/>
                <a:gd name="connsiteX2114" fmla="*/ 236626 w 5719680"/>
                <a:gd name="connsiteY2114" fmla="*/ 4919685 h 5704395"/>
                <a:gd name="connsiteX2115" fmla="*/ 122283 w 5719680"/>
                <a:gd name="connsiteY2115" fmla="*/ 4894651 h 5704395"/>
                <a:gd name="connsiteX2116" fmla="*/ 82581 w 5719680"/>
                <a:gd name="connsiteY2116" fmla="*/ 4889264 h 5704395"/>
                <a:gd name="connsiteX2117" fmla="*/ 73370 w 5719680"/>
                <a:gd name="connsiteY2117" fmla="*/ 4887996 h 5704395"/>
                <a:gd name="connsiteX2118" fmla="*/ 2937339 w 5719680"/>
                <a:gd name="connsiteY2118" fmla="*/ 4882609 h 5704395"/>
                <a:gd name="connsiteX2119" fmla="*/ 2901766 w 5719680"/>
                <a:gd name="connsiteY2119" fmla="*/ 4894017 h 5704395"/>
                <a:gd name="connsiteX2120" fmla="*/ 2910977 w 5719680"/>
                <a:gd name="connsiteY2120" fmla="*/ 4921586 h 5704395"/>
                <a:gd name="connsiteX2121" fmla="*/ 2879215 w 5719680"/>
                <a:gd name="connsiteY2121" fmla="*/ 4931727 h 5704395"/>
                <a:gd name="connsiteX2122" fmla="*/ 2886520 w 5719680"/>
                <a:gd name="connsiteY2122" fmla="*/ 4953909 h 5704395"/>
                <a:gd name="connsiteX2123" fmla="*/ 2888426 w 5719680"/>
                <a:gd name="connsiteY2123" fmla="*/ 4953275 h 5704395"/>
                <a:gd name="connsiteX2124" fmla="*/ 2890332 w 5719680"/>
                <a:gd name="connsiteY2124" fmla="*/ 4952641 h 5704395"/>
                <a:gd name="connsiteX2125" fmla="*/ 2895731 w 5719680"/>
                <a:gd name="connsiteY2125" fmla="*/ 4969119 h 5704395"/>
                <a:gd name="connsiteX2126" fmla="*/ 2949408 w 5719680"/>
                <a:gd name="connsiteY2126" fmla="*/ 4952007 h 5704395"/>
                <a:gd name="connsiteX2127" fmla="*/ 2944326 w 5719680"/>
                <a:gd name="connsiteY2127" fmla="*/ 4936163 h 5704395"/>
                <a:gd name="connsiteX2128" fmla="*/ 2918917 w 5719680"/>
                <a:gd name="connsiteY2128" fmla="*/ 4944402 h 5704395"/>
                <a:gd name="connsiteX2129" fmla="*/ 2914788 w 5719680"/>
                <a:gd name="connsiteY2129" fmla="*/ 4931727 h 5704395"/>
                <a:gd name="connsiteX2130" fmla="*/ 2970054 w 5719680"/>
                <a:gd name="connsiteY2130" fmla="*/ 4913981 h 5704395"/>
                <a:gd name="connsiteX2131" fmla="*/ 2965290 w 5719680"/>
                <a:gd name="connsiteY2131" fmla="*/ 4899087 h 5704395"/>
                <a:gd name="connsiteX2132" fmla="*/ 2944644 w 5719680"/>
                <a:gd name="connsiteY2132" fmla="*/ 4905425 h 5704395"/>
                <a:gd name="connsiteX2133" fmla="*/ 2937339 w 5719680"/>
                <a:gd name="connsiteY2133" fmla="*/ 4882609 h 5704395"/>
                <a:gd name="connsiteX2134" fmla="*/ 2940198 w 5719680"/>
                <a:gd name="connsiteY2134" fmla="*/ 4877539 h 5704395"/>
                <a:gd name="connsiteX2135" fmla="*/ 2947503 w 5719680"/>
                <a:gd name="connsiteY2135" fmla="*/ 4900355 h 5704395"/>
                <a:gd name="connsiteX2136" fmla="*/ 2968148 w 5719680"/>
                <a:gd name="connsiteY2136" fmla="*/ 4893700 h 5704395"/>
                <a:gd name="connsiteX2137" fmla="*/ 2975453 w 5719680"/>
                <a:gd name="connsiteY2137" fmla="*/ 4916516 h 5704395"/>
                <a:gd name="connsiteX2138" fmla="*/ 2920188 w 5719680"/>
                <a:gd name="connsiteY2138" fmla="*/ 4934262 h 5704395"/>
                <a:gd name="connsiteX2139" fmla="*/ 2921776 w 5719680"/>
                <a:gd name="connsiteY2139" fmla="*/ 4939015 h 5704395"/>
                <a:gd name="connsiteX2140" fmla="*/ 2946868 w 5719680"/>
                <a:gd name="connsiteY2140" fmla="*/ 4930776 h 5704395"/>
                <a:gd name="connsiteX2141" fmla="*/ 2954490 w 5719680"/>
                <a:gd name="connsiteY2141" fmla="*/ 4954543 h 5704395"/>
                <a:gd name="connsiteX2142" fmla="*/ 2892872 w 5719680"/>
                <a:gd name="connsiteY2142" fmla="*/ 4974507 h 5704395"/>
                <a:gd name="connsiteX2143" fmla="*/ 2887790 w 5719680"/>
                <a:gd name="connsiteY2143" fmla="*/ 4958028 h 5704395"/>
                <a:gd name="connsiteX2144" fmla="*/ 2885567 w 5719680"/>
                <a:gd name="connsiteY2144" fmla="*/ 4958345 h 5704395"/>
                <a:gd name="connsiteX2145" fmla="*/ 2883662 w 5719680"/>
                <a:gd name="connsiteY2145" fmla="*/ 4958979 h 5704395"/>
                <a:gd name="connsiteX2146" fmla="*/ 2874133 w 5719680"/>
                <a:gd name="connsiteY2146" fmla="*/ 4929192 h 5704395"/>
                <a:gd name="connsiteX2147" fmla="*/ 2876038 w 5719680"/>
                <a:gd name="connsiteY2147" fmla="*/ 4928558 h 5704395"/>
                <a:gd name="connsiteX2148" fmla="*/ 2905577 w 5719680"/>
                <a:gd name="connsiteY2148" fmla="*/ 4919051 h 5704395"/>
                <a:gd name="connsiteX2149" fmla="*/ 2896684 w 5719680"/>
                <a:gd name="connsiteY2149" fmla="*/ 4891482 h 5704395"/>
                <a:gd name="connsiteX2150" fmla="*/ 2940198 w 5719680"/>
                <a:gd name="connsiteY2150" fmla="*/ 4877539 h 5704395"/>
                <a:gd name="connsiteX2151" fmla="*/ 3108536 w 5719680"/>
                <a:gd name="connsiteY2151" fmla="*/ 4866448 h 5704395"/>
                <a:gd name="connsiteX2152" fmla="*/ 3108536 w 5719680"/>
                <a:gd name="connsiteY2152" fmla="*/ 4912397 h 5704395"/>
                <a:gd name="connsiteX2153" fmla="*/ 3135851 w 5719680"/>
                <a:gd name="connsiteY2153" fmla="*/ 4912397 h 5704395"/>
                <a:gd name="connsiteX2154" fmla="*/ 3135851 w 5719680"/>
                <a:gd name="connsiteY2154" fmla="*/ 4914298 h 5704395"/>
                <a:gd name="connsiteX2155" fmla="*/ 3135851 w 5719680"/>
                <a:gd name="connsiteY2155" fmla="*/ 4944402 h 5704395"/>
                <a:gd name="connsiteX2156" fmla="*/ 3168883 w 5719680"/>
                <a:gd name="connsiteY2156" fmla="*/ 4944402 h 5704395"/>
                <a:gd name="connsiteX2157" fmla="*/ 3168883 w 5719680"/>
                <a:gd name="connsiteY2157" fmla="*/ 4894334 h 5704395"/>
                <a:gd name="connsiteX2158" fmla="*/ 3143474 w 5719680"/>
                <a:gd name="connsiteY2158" fmla="*/ 4894334 h 5704395"/>
                <a:gd name="connsiteX2159" fmla="*/ 3143474 w 5719680"/>
                <a:gd name="connsiteY2159" fmla="*/ 4866448 h 5704395"/>
                <a:gd name="connsiteX2160" fmla="*/ 3108536 w 5719680"/>
                <a:gd name="connsiteY2160" fmla="*/ 4866448 h 5704395"/>
                <a:gd name="connsiteX2161" fmla="*/ 2007986 w 5719680"/>
                <a:gd name="connsiteY2161" fmla="*/ 4864546 h 5704395"/>
                <a:gd name="connsiteX2162" fmla="*/ 1975272 w 5719680"/>
                <a:gd name="connsiteY2162" fmla="*/ 4866448 h 5704395"/>
                <a:gd name="connsiteX2163" fmla="*/ 1974954 w 5719680"/>
                <a:gd name="connsiteY2163" fmla="*/ 4877222 h 5704395"/>
                <a:gd name="connsiteX2164" fmla="*/ 1988612 w 5719680"/>
                <a:gd name="connsiteY2164" fmla="*/ 4877222 h 5704395"/>
                <a:gd name="connsiteX2165" fmla="*/ 1988294 w 5719680"/>
                <a:gd name="connsiteY2165" fmla="*/ 4892116 h 5704395"/>
                <a:gd name="connsiteX2166" fmla="*/ 2007351 w 5719680"/>
                <a:gd name="connsiteY2166" fmla="*/ 4892433 h 5704395"/>
                <a:gd name="connsiteX2167" fmla="*/ 2007986 w 5719680"/>
                <a:gd name="connsiteY2167" fmla="*/ 4864546 h 5704395"/>
                <a:gd name="connsiteX2168" fmla="*/ 1101185 w 5719680"/>
                <a:gd name="connsiteY2168" fmla="*/ 4862962 h 5704395"/>
                <a:gd name="connsiteX2169" fmla="*/ 1020510 w 5719680"/>
                <a:gd name="connsiteY2169" fmla="*/ 4907960 h 5704395"/>
                <a:gd name="connsiteX2170" fmla="*/ 1043696 w 5719680"/>
                <a:gd name="connsiteY2170" fmla="*/ 4952641 h 5704395"/>
                <a:gd name="connsiteX2171" fmla="*/ 1069423 w 5719680"/>
                <a:gd name="connsiteY2171" fmla="*/ 5002076 h 5704395"/>
                <a:gd name="connsiteX2172" fmla="*/ 1069740 w 5719680"/>
                <a:gd name="connsiteY2172" fmla="*/ 5002710 h 5704395"/>
                <a:gd name="connsiteX2173" fmla="*/ 1069423 w 5719680"/>
                <a:gd name="connsiteY2173" fmla="*/ 5003660 h 5704395"/>
                <a:gd name="connsiteX2174" fmla="*/ 1062753 w 5719680"/>
                <a:gd name="connsiteY2174" fmla="*/ 5028694 h 5704395"/>
                <a:gd name="connsiteX2175" fmla="*/ 1057671 w 5719680"/>
                <a:gd name="connsiteY2175" fmla="*/ 5045806 h 5704395"/>
                <a:gd name="connsiteX2176" fmla="*/ 1055765 w 5719680"/>
                <a:gd name="connsiteY2176" fmla="*/ 5051827 h 5704395"/>
                <a:gd name="connsiteX2177" fmla="*/ 1054812 w 5719680"/>
                <a:gd name="connsiteY2177" fmla="*/ 5053729 h 5704395"/>
                <a:gd name="connsiteX2178" fmla="*/ 1054495 w 5719680"/>
                <a:gd name="connsiteY2178" fmla="*/ 5054045 h 5704395"/>
                <a:gd name="connsiteX2179" fmla="*/ 1095468 w 5719680"/>
                <a:gd name="connsiteY2179" fmla="*/ 5071157 h 5704395"/>
                <a:gd name="connsiteX2180" fmla="*/ 1175825 w 5719680"/>
                <a:gd name="connsiteY2180" fmla="*/ 4987182 h 5704395"/>
                <a:gd name="connsiteX2181" fmla="*/ 1134852 w 5719680"/>
                <a:gd name="connsiteY2181" fmla="*/ 4918734 h 5704395"/>
                <a:gd name="connsiteX2182" fmla="*/ 1101820 w 5719680"/>
                <a:gd name="connsiteY2182" fmla="*/ 4938064 h 5704395"/>
                <a:gd name="connsiteX2183" fmla="*/ 1100549 w 5719680"/>
                <a:gd name="connsiteY2183" fmla="*/ 4936163 h 5704395"/>
                <a:gd name="connsiteX2184" fmla="*/ 1084986 w 5719680"/>
                <a:gd name="connsiteY2184" fmla="*/ 4909228 h 5704395"/>
                <a:gd name="connsiteX2185" fmla="*/ 1117701 w 5719680"/>
                <a:gd name="connsiteY2185" fmla="*/ 4890531 h 5704395"/>
                <a:gd name="connsiteX2186" fmla="*/ 1101185 w 5719680"/>
                <a:gd name="connsiteY2186" fmla="*/ 4862962 h 5704395"/>
                <a:gd name="connsiteX2187" fmla="*/ 3104724 w 5719680"/>
                <a:gd name="connsiteY2187" fmla="*/ 4862645 h 5704395"/>
                <a:gd name="connsiteX2188" fmla="*/ 3147285 w 5719680"/>
                <a:gd name="connsiteY2188" fmla="*/ 4862645 h 5704395"/>
                <a:gd name="connsiteX2189" fmla="*/ 3147285 w 5719680"/>
                <a:gd name="connsiteY2189" fmla="*/ 4890531 h 5704395"/>
                <a:gd name="connsiteX2190" fmla="*/ 3172694 w 5719680"/>
                <a:gd name="connsiteY2190" fmla="*/ 4890531 h 5704395"/>
                <a:gd name="connsiteX2191" fmla="*/ 3172694 w 5719680"/>
                <a:gd name="connsiteY2191" fmla="*/ 4948205 h 5704395"/>
                <a:gd name="connsiteX2192" fmla="*/ 3132039 w 5719680"/>
                <a:gd name="connsiteY2192" fmla="*/ 4948205 h 5704395"/>
                <a:gd name="connsiteX2193" fmla="*/ 3132039 w 5719680"/>
                <a:gd name="connsiteY2193" fmla="*/ 4916199 h 5704395"/>
                <a:gd name="connsiteX2194" fmla="*/ 3104724 w 5719680"/>
                <a:gd name="connsiteY2194" fmla="*/ 4916199 h 5704395"/>
                <a:gd name="connsiteX2195" fmla="*/ 3104724 w 5719680"/>
                <a:gd name="connsiteY2195" fmla="*/ 4862645 h 5704395"/>
                <a:gd name="connsiteX2196" fmla="*/ 2126140 w 5719680"/>
                <a:gd name="connsiteY2196" fmla="*/ 4856624 h 5704395"/>
                <a:gd name="connsiteX2197" fmla="*/ 2012115 w 5719680"/>
                <a:gd name="connsiteY2197" fmla="*/ 4864230 h 5704395"/>
                <a:gd name="connsiteX2198" fmla="*/ 2011480 w 5719680"/>
                <a:gd name="connsiteY2198" fmla="*/ 4896869 h 5704395"/>
                <a:gd name="connsiteX2199" fmla="*/ 2009574 w 5719680"/>
                <a:gd name="connsiteY2199" fmla="*/ 4896869 h 5704395"/>
                <a:gd name="connsiteX2200" fmla="*/ 1984165 w 5719680"/>
                <a:gd name="connsiteY2200" fmla="*/ 4896235 h 5704395"/>
                <a:gd name="connsiteX2201" fmla="*/ 1984482 w 5719680"/>
                <a:gd name="connsiteY2201" fmla="*/ 4881341 h 5704395"/>
                <a:gd name="connsiteX2202" fmla="*/ 1970825 w 5719680"/>
                <a:gd name="connsiteY2202" fmla="*/ 4881341 h 5704395"/>
                <a:gd name="connsiteX2203" fmla="*/ 1971142 w 5719680"/>
                <a:gd name="connsiteY2203" fmla="*/ 4866765 h 5704395"/>
                <a:gd name="connsiteX2204" fmla="*/ 1957167 w 5719680"/>
                <a:gd name="connsiteY2204" fmla="*/ 4867715 h 5704395"/>
                <a:gd name="connsiteX2205" fmla="*/ 1960026 w 5719680"/>
                <a:gd name="connsiteY2205" fmla="*/ 4904157 h 5704395"/>
                <a:gd name="connsiteX2206" fmla="*/ 2124552 w 5719680"/>
                <a:gd name="connsiteY2206" fmla="*/ 4893066 h 5704395"/>
                <a:gd name="connsiteX2207" fmla="*/ 2124870 w 5719680"/>
                <a:gd name="connsiteY2207" fmla="*/ 4897503 h 5704395"/>
                <a:gd name="connsiteX2208" fmla="*/ 1960344 w 5719680"/>
                <a:gd name="connsiteY2208" fmla="*/ 4908594 h 5704395"/>
                <a:gd name="connsiteX2209" fmla="*/ 1964155 w 5719680"/>
                <a:gd name="connsiteY2209" fmla="*/ 4957395 h 5704395"/>
                <a:gd name="connsiteX2210" fmla="*/ 2123917 w 5719680"/>
                <a:gd name="connsiteY2210" fmla="*/ 4948205 h 5704395"/>
                <a:gd name="connsiteX2211" fmla="*/ 2124235 w 5719680"/>
                <a:gd name="connsiteY2211" fmla="*/ 4952641 h 5704395"/>
                <a:gd name="connsiteX2212" fmla="*/ 2040701 w 5719680"/>
                <a:gd name="connsiteY2212" fmla="*/ 4957395 h 5704395"/>
                <a:gd name="connsiteX2213" fmla="*/ 2039113 w 5719680"/>
                <a:gd name="connsiteY2213" fmla="*/ 5042004 h 5704395"/>
                <a:gd name="connsiteX2214" fmla="*/ 2123282 w 5719680"/>
                <a:gd name="connsiteY2214" fmla="*/ 5044539 h 5704395"/>
                <a:gd name="connsiteX2215" fmla="*/ 2126140 w 5719680"/>
                <a:gd name="connsiteY2215" fmla="*/ 4856624 h 5704395"/>
                <a:gd name="connsiteX2216" fmla="*/ 1392441 w 5719680"/>
                <a:gd name="connsiteY2216" fmla="*/ 4855674 h 5704395"/>
                <a:gd name="connsiteX2217" fmla="*/ 1392441 w 5719680"/>
                <a:gd name="connsiteY2217" fmla="*/ 4868032 h 5704395"/>
                <a:gd name="connsiteX2218" fmla="*/ 1391806 w 5719680"/>
                <a:gd name="connsiteY2218" fmla="*/ 4868032 h 5704395"/>
                <a:gd name="connsiteX2219" fmla="*/ 1391806 w 5719680"/>
                <a:gd name="connsiteY2219" fmla="*/ 4876271 h 5704395"/>
                <a:gd name="connsiteX2220" fmla="*/ 1407687 w 5719680"/>
                <a:gd name="connsiteY2220" fmla="*/ 4876271 h 5704395"/>
                <a:gd name="connsiteX2221" fmla="*/ 1407687 w 5719680"/>
                <a:gd name="connsiteY2221" fmla="*/ 4855674 h 5704395"/>
                <a:gd name="connsiteX2222" fmla="*/ 1147557 w 5719680"/>
                <a:gd name="connsiteY2222" fmla="*/ 4850920 h 5704395"/>
                <a:gd name="connsiteX2223" fmla="*/ 1113889 w 5719680"/>
                <a:gd name="connsiteY2223" fmla="*/ 4870250 h 5704395"/>
                <a:gd name="connsiteX2224" fmla="*/ 1123736 w 5719680"/>
                <a:gd name="connsiteY2224" fmla="*/ 4887045 h 5704395"/>
                <a:gd name="connsiteX2225" fmla="*/ 1125641 w 5719680"/>
                <a:gd name="connsiteY2225" fmla="*/ 4885778 h 5704395"/>
                <a:gd name="connsiteX2226" fmla="*/ 1128500 w 5719680"/>
                <a:gd name="connsiteY2226" fmla="*/ 4890531 h 5704395"/>
                <a:gd name="connsiteX2227" fmla="*/ 1159944 w 5719680"/>
                <a:gd name="connsiteY2227" fmla="*/ 4872469 h 5704395"/>
                <a:gd name="connsiteX2228" fmla="*/ 1147557 w 5719680"/>
                <a:gd name="connsiteY2228" fmla="*/ 4850920 h 5704395"/>
                <a:gd name="connsiteX2229" fmla="*/ 1646536 w 5719680"/>
                <a:gd name="connsiteY2229" fmla="*/ 4846484 h 5704395"/>
                <a:gd name="connsiteX2230" fmla="*/ 1643995 w 5719680"/>
                <a:gd name="connsiteY2230" fmla="*/ 4846801 h 5704395"/>
                <a:gd name="connsiteX2231" fmla="*/ 1648124 w 5719680"/>
                <a:gd name="connsiteY2231" fmla="*/ 4867082 h 5704395"/>
                <a:gd name="connsiteX2232" fmla="*/ 1651936 w 5719680"/>
                <a:gd name="connsiteY2232" fmla="*/ 4886095 h 5704395"/>
                <a:gd name="connsiteX2233" fmla="*/ 1676075 w 5719680"/>
                <a:gd name="connsiteY2233" fmla="*/ 4881025 h 5704395"/>
                <a:gd name="connsiteX2234" fmla="*/ 1671946 w 5719680"/>
                <a:gd name="connsiteY2234" fmla="*/ 4846484 h 5704395"/>
                <a:gd name="connsiteX2235" fmla="*/ 1657971 w 5719680"/>
                <a:gd name="connsiteY2235" fmla="*/ 4846484 h 5704395"/>
                <a:gd name="connsiteX2236" fmla="*/ 1646536 w 5719680"/>
                <a:gd name="connsiteY2236" fmla="*/ 4846484 h 5704395"/>
                <a:gd name="connsiteX2237" fmla="*/ 1372749 w 5719680"/>
                <a:gd name="connsiteY2237" fmla="*/ 4842998 h 5704395"/>
                <a:gd name="connsiteX2238" fmla="*/ 1372749 w 5719680"/>
                <a:gd name="connsiteY2238" fmla="*/ 4863596 h 5704395"/>
                <a:gd name="connsiteX2239" fmla="*/ 1387677 w 5719680"/>
                <a:gd name="connsiteY2239" fmla="*/ 4863596 h 5704395"/>
                <a:gd name="connsiteX2240" fmla="*/ 1387677 w 5719680"/>
                <a:gd name="connsiteY2240" fmla="*/ 4851554 h 5704395"/>
                <a:gd name="connsiteX2241" fmla="*/ 1388312 w 5719680"/>
                <a:gd name="connsiteY2241" fmla="*/ 4851554 h 5704395"/>
                <a:gd name="connsiteX2242" fmla="*/ 1388312 w 5719680"/>
                <a:gd name="connsiteY2242" fmla="*/ 4846484 h 5704395"/>
                <a:gd name="connsiteX2243" fmla="*/ 1382595 w 5719680"/>
                <a:gd name="connsiteY2243" fmla="*/ 4846484 h 5704395"/>
                <a:gd name="connsiteX2244" fmla="*/ 1382595 w 5719680"/>
                <a:gd name="connsiteY2244" fmla="*/ 4844266 h 5704395"/>
                <a:gd name="connsiteX2245" fmla="*/ 1382595 w 5719680"/>
                <a:gd name="connsiteY2245" fmla="*/ 4842998 h 5704395"/>
                <a:gd name="connsiteX2246" fmla="*/ 1372749 w 5719680"/>
                <a:gd name="connsiteY2246" fmla="*/ 4842998 h 5704395"/>
                <a:gd name="connsiteX2247" fmla="*/ 1673851 w 5719680"/>
                <a:gd name="connsiteY2247" fmla="*/ 4841731 h 5704395"/>
                <a:gd name="connsiteX2248" fmla="*/ 1676075 w 5719680"/>
                <a:gd name="connsiteY2248" fmla="*/ 4841731 h 5704395"/>
                <a:gd name="connsiteX2249" fmla="*/ 1676392 w 5719680"/>
                <a:gd name="connsiteY2249" fmla="*/ 4843949 h 5704395"/>
                <a:gd name="connsiteX2250" fmla="*/ 1681157 w 5719680"/>
                <a:gd name="connsiteY2250" fmla="*/ 4884510 h 5704395"/>
                <a:gd name="connsiteX2251" fmla="*/ 1648442 w 5719680"/>
                <a:gd name="connsiteY2251" fmla="*/ 4891799 h 5704395"/>
                <a:gd name="connsiteX2252" fmla="*/ 1647807 w 5719680"/>
                <a:gd name="connsiteY2252" fmla="*/ 4889581 h 5704395"/>
                <a:gd name="connsiteX2253" fmla="*/ 1638913 w 5719680"/>
                <a:gd name="connsiteY2253" fmla="*/ 4844583 h 5704395"/>
                <a:gd name="connsiteX2254" fmla="*/ 1638913 w 5719680"/>
                <a:gd name="connsiteY2254" fmla="*/ 4843949 h 5704395"/>
                <a:gd name="connsiteX2255" fmla="*/ 1640501 w 5719680"/>
                <a:gd name="connsiteY2255" fmla="*/ 4842364 h 5704395"/>
                <a:gd name="connsiteX2256" fmla="*/ 1640501 w 5719680"/>
                <a:gd name="connsiteY2256" fmla="*/ 4842047 h 5704395"/>
                <a:gd name="connsiteX2257" fmla="*/ 1641772 w 5719680"/>
                <a:gd name="connsiteY2257" fmla="*/ 4842047 h 5704395"/>
                <a:gd name="connsiteX2258" fmla="*/ 1642725 w 5719680"/>
                <a:gd name="connsiteY2258" fmla="*/ 4842047 h 5704395"/>
                <a:gd name="connsiteX2259" fmla="*/ 1673851 w 5719680"/>
                <a:gd name="connsiteY2259" fmla="*/ 4841731 h 5704395"/>
                <a:gd name="connsiteX2260" fmla="*/ 1892373 w 5719680"/>
                <a:gd name="connsiteY2260" fmla="*/ 4841097 h 5704395"/>
                <a:gd name="connsiteX2261" fmla="*/ 1863470 w 5719680"/>
                <a:gd name="connsiteY2261" fmla="*/ 4841414 h 5704395"/>
                <a:gd name="connsiteX2262" fmla="*/ 1864423 w 5719680"/>
                <a:gd name="connsiteY2262" fmla="*/ 4871835 h 5704395"/>
                <a:gd name="connsiteX2263" fmla="*/ 1882527 w 5719680"/>
                <a:gd name="connsiteY2263" fmla="*/ 4871835 h 5704395"/>
                <a:gd name="connsiteX2264" fmla="*/ 1882845 w 5719680"/>
                <a:gd name="connsiteY2264" fmla="*/ 4894968 h 5704395"/>
                <a:gd name="connsiteX2265" fmla="*/ 1909207 w 5719680"/>
                <a:gd name="connsiteY2265" fmla="*/ 4894651 h 5704395"/>
                <a:gd name="connsiteX2266" fmla="*/ 1908889 w 5719680"/>
                <a:gd name="connsiteY2266" fmla="*/ 4844266 h 5704395"/>
                <a:gd name="connsiteX2267" fmla="*/ 1892373 w 5719680"/>
                <a:gd name="connsiteY2267" fmla="*/ 4844583 h 5704395"/>
                <a:gd name="connsiteX2268" fmla="*/ 1892373 w 5719680"/>
                <a:gd name="connsiteY2268" fmla="*/ 4841097 h 5704395"/>
                <a:gd name="connsiteX2269" fmla="*/ 110849 w 5719680"/>
                <a:gd name="connsiteY2269" fmla="*/ 4839512 h 5704395"/>
                <a:gd name="connsiteX2270" fmla="*/ 88616 w 5719680"/>
                <a:gd name="connsiteY2270" fmla="*/ 4868032 h 5704395"/>
                <a:gd name="connsiteX2271" fmla="*/ 125460 w 5719680"/>
                <a:gd name="connsiteY2271" fmla="*/ 4873102 h 5704395"/>
                <a:gd name="connsiteX2272" fmla="*/ 242343 w 5719680"/>
                <a:gd name="connsiteY2272" fmla="*/ 4898770 h 5704395"/>
                <a:gd name="connsiteX2273" fmla="*/ 325877 w 5719680"/>
                <a:gd name="connsiteY2273" fmla="*/ 4934262 h 5704395"/>
                <a:gd name="connsiteX2274" fmla="*/ 352557 w 5719680"/>
                <a:gd name="connsiteY2274" fmla="*/ 4951691 h 5704395"/>
                <a:gd name="connsiteX2275" fmla="*/ 328100 w 5719680"/>
                <a:gd name="connsiteY2275" fmla="*/ 4929508 h 5704395"/>
                <a:gd name="connsiteX2276" fmla="*/ 271247 w 5719680"/>
                <a:gd name="connsiteY2276" fmla="*/ 4896235 h 5704395"/>
                <a:gd name="connsiteX2277" fmla="*/ 125777 w 5719680"/>
                <a:gd name="connsiteY2277" fmla="*/ 4863279 h 5704395"/>
                <a:gd name="connsiteX2278" fmla="*/ 110849 w 5719680"/>
                <a:gd name="connsiteY2278" fmla="*/ 4839512 h 5704395"/>
                <a:gd name="connsiteX2279" fmla="*/ 2391670 w 5719680"/>
                <a:gd name="connsiteY2279" fmla="*/ 4837928 h 5704395"/>
                <a:gd name="connsiteX2280" fmla="*/ 2387223 w 5719680"/>
                <a:gd name="connsiteY2280" fmla="*/ 4867082 h 5704395"/>
                <a:gd name="connsiteX2281" fmla="*/ 2405963 w 5719680"/>
                <a:gd name="connsiteY2281" fmla="*/ 4869617 h 5704395"/>
                <a:gd name="connsiteX2282" fmla="*/ 2408186 w 5719680"/>
                <a:gd name="connsiteY2282" fmla="*/ 4855040 h 5704395"/>
                <a:gd name="connsiteX2283" fmla="*/ 2421844 w 5719680"/>
                <a:gd name="connsiteY2283" fmla="*/ 4856941 h 5704395"/>
                <a:gd name="connsiteX2284" fmla="*/ 2424067 w 5719680"/>
                <a:gd name="connsiteY2284" fmla="*/ 4843632 h 5704395"/>
                <a:gd name="connsiteX2285" fmla="*/ 1896502 w 5719680"/>
                <a:gd name="connsiteY2285" fmla="*/ 4836977 h 5704395"/>
                <a:gd name="connsiteX2286" fmla="*/ 1896502 w 5719680"/>
                <a:gd name="connsiteY2286" fmla="*/ 4840146 h 5704395"/>
                <a:gd name="connsiteX2287" fmla="*/ 1913018 w 5719680"/>
                <a:gd name="connsiteY2287" fmla="*/ 4840146 h 5704395"/>
                <a:gd name="connsiteX2288" fmla="*/ 1913654 w 5719680"/>
                <a:gd name="connsiteY2288" fmla="*/ 4898770 h 5704395"/>
                <a:gd name="connsiteX2289" fmla="*/ 1878716 w 5719680"/>
                <a:gd name="connsiteY2289" fmla="*/ 4899087 h 5704395"/>
                <a:gd name="connsiteX2290" fmla="*/ 1878398 w 5719680"/>
                <a:gd name="connsiteY2290" fmla="*/ 4875954 h 5704395"/>
                <a:gd name="connsiteX2291" fmla="*/ 1860294 w 5719680"/>
                <a:gd name="connsiteY2291" fmla="*/ 4875954 h 5704395"/>
                <a:gd name="connsiteX2292" fmla="*/ 1860294 w 5719680"/>
                <a:gd name="connsiteY2292" fmla="*/ 4874053 h 5704395"/>
                <a:gd name="connsiteX2293" fmla="*/ 1859023 w 5719680"/>
                <a:gd name="connsiteY2293" fmla="*/ 4837294 h 5704395"/>
                <a:gd name="connsiteX2294" fmla="*/ 1896502 w 5719680"/>
                <a:gd name="connsiteY2294" fmla="*/ 4836977 h 5704395"/>
                <a:gd name="connsiteX2295" fmla="*/ 1271 w 5719680"/>
                <a:gd name="connsiteY2295" fmla="*/ 4836977 h 5704395"/>
                <a:gd name="connsiteX2296" fmla="*/ 45737 w 5719680"/>
                <a:gd name="connsiteY2296" fmla="*/ 4875004 h 5704395"/>
                <a:gd name="connsiteX2297" fmla="*/ 44149 w 5719680"/>
                <a:gd name="connsiteY2297" fmla="*/ 4876905 h 5704395"/>
                <a:gd name="connsiteX2298" fmla="*/ 1271 w 5719680"/>
                <a:gd name="connsiteY2298" fmla="*/ 4929192 h 5704395"/>
                <a:gd name="connsiteX2299" fmla="*/ 1271 w 5719680"/>
                <a:gd name="connsiteY2299" fmla="*/ 4921903 h 5704395"/>
                <a:gd name="connsiteX2300" fmla="*/ 39067 w 5719680"/>
                <a:gd name="connsiteY2300" fmla="*/ 4875638 h 5704395"/>
                <a:gd name="connsiteX2301" fmla="*/ 1271 w 5719680"/>
                <a:gd name="connsiteY2301" fmla="*/ 4842998 h 5704395"/>
                <a:gd name="connsiteX2302" fmla="*/ 1271 w 5719680"/>
                <a:gd name="connsiteY2302" fmla="*/ 4836977 h 5704395"/>
                <a:gd name="connsiteX2303" fmla="*/ 1022415 w 5719680"/>
                <a:gd name="connsiteY2303" fmla="*/ 4836343 h 5704395"/>
                <a:gd name="connsiteX2304" fmla="*/ 988748 w 5719680"/>
                <a:gd name="connsiteY2304" fmla="*/ 4855674 h 5704395"/>
                <a:gd name="connsiteX2305" fmla="*/ 1001452 w 5719680"/>
                <a:gd name="connsiteY2305" fmla="*/ 4877222 h 5704395"/>
                <a:gd name="connsiteX2306" fmla="*/ 1034802 w 5719680"/>
                <a:gd name="connsiteY2306" fmla="*/ 4857892 h 5704395"/>
                <a:gd name="connsiteX2307" fmla="*/ 1022415 w 5719680"/>
                <a:gd name="connsiteY2307" fmla="*/ 4836343 h 5704395"/>
                <a:gd name="connsiteX2308" fmla="*/ 478652 w 5719680"/>
                <a:gd name="connsiteY2308" fmla="*/ 4835710 h 5704395"/>
                <a:gd name="connsiteX2309" fmla="*/ 403059 w 5719680"/>
                <a:gd name="connsiteY2309" fmla="*/ 4928241 h 5704395"/>
                <a:gd name="connsiteX2310" fmla="*/ 464359 w 5719680"/>
                <a:gd name="connsiteY2310" fmla="*/ 4979894 h 5704395"/>
                <a:gd name="connsiteX2311" fmla="*/ 447525 w 5719680"/>
                <a:gd name="connsiteY2311" fmla="*/ 5008097 h 5704395"/>
                <a:gd name="connsiteX2312" fmla="*/ 474523 w 5719680"/>
                <a:gd name="connsiteY2312" fmla="*/ 5033765 h 5704395"/>
                <a:gd name="connsiteX2313" fmla="*/ 502791 w 5719680"/>
                <a:gd name="connsiteY2313" fmla="*/ 4967852 h 5704395"/>
                <a:gd name="connsiteX2314" fmla="*/ 448796 w 5719680"/>
                <a:gd name="connsiteY2314" fmla="*/ 4927290 h 5704395"/>
                <a:gd name="connsiteX2315" fmla="*/ 487863 w 5719680"/>
                <a:gd name="connsiteY2315" fmla="*/ 4877539 h 5704395"/>
                <a:gd name="connsiteX2316" fmla="*/ 527247 w 5719680"/>
                <a:gd name="connsiteY2316" fmla="*/ 4902890 h 5704395"/>
                <a:gd name="connsiteX2317" fmla="*/ 516131 w 5719680"/>
                <a:gd name="connsiteY2317" fmla="*/ 4919368 h 5704395"/>
                <a:gd name="connsiteX2318" fmla="*/ 581560 w 5719680"/>
                <a:gd name="connsiteY2318" fmla="*/ 4956127 h 5704395"/>
                <a:gd name="connsiteX2319" fmla="*/ 596171 w 5719680"/>
                <a:gd name="connsiteY2319" fmla="*/ 4925072 h 5704395"/>
                <a:gd name="connsiteX2320" fmla="*/ 478652 w 5719680"/>
                <a:gd name="connsiteY2320" fmla="*/ 4835710 h 5704395"/>
                <a:gd name="connsiteX2321" fmla="*/ 1989564 w 5719680"/>
                <a:gd name="connsiteY2321" fmla="*/ 4833808 h 5704395"/>
                <a:gd name="connsiteX2322" fmla="*/ 1989247 w 5719680"/>
                <a:gd name="connsiteY2322" fmla="*/ 4848702 h 5704395"/>
                <a:gd name="connsiteX2323" fmla="*/ 1975589 w 5719680"/>
                <a:gd name="connsiteY2323" fmla="*/ 4848385 h 5704395"/>
                <a:gd name="connsiteX2324" fmla="*/ 1975272 w 5719680"/>
                <a:gd name="connsiteY2324" fmla="*/ 4862011 h 5704395"/>
                <a:gd name="connsiteX2325" fmla="*/ 2007986 w 5719680"/>
                <a:gd name="connsiteY2325" fmla="*/ 4860110 h 5704395"/>
                <a:gd name="connsiteX2326" fmla="*/ 2008622 w 5719680"/>
                <a:gd name="connsiteY2326" fmla="*/ 4834125 h 5704395"/>
                <a:gd name="connsiteX2327" fmla="*/ 1989564 w 5719680"/>
                <a:gd name="connsiteY2327" fmla="*/ 4833808 h 5704395"/>
                <a:gd name="connsiteX2328" fmla="*/ 1526476 w 5719680"/>
                <a:gd name="connsiteY2328" fmla="*/ 4832224 h 5704395"/>
                <a:gd name="connsiteX2329" fmla="*/ 1488362 w 5719680"/>
                <a:gd name="connsiteY2329" fmla="*/ 4853138 h 5704395"/>
                <a:gd name="connsiteX2330" fmla="*/ 1408322 w 5719680"/>
                <a:gd name="connsiteY2330" fmla="*/ 4897820 h 5704395"/>
                <a:gd name="connsiteX2331" fmla="*/ 1381960 w 5719680"/>
                <a:gd name="connsiteY2331" fmla="*/ 4912713 h 5704395"/>
                <a:gd name="connsiteX2332" fmla="*/ 1377195 w 5719680"/>
                <a:gd name="connsiteY2332" fmla="*/ 4915249 h 5704395"/>
                <a:gd name="connsiteX2333" fmla="*/ 1391488 w 5719680"/>
                <a:gd name="connsiteY2333" fmla="*/ 4945670 h 5704395"/>
                <a:gd name="connsiteX2334" fmla="*/ 1411816 w 5719680"/>
                <a:gd name="connsiteY2334" fmla="*/ 5033448 h 5704395"/>
                <a:gd name="connsiteX2335" fmla="*/ 1452471 w 5719680"/>
                <a:gd name="connsiteY2335" fmla="*/ 5023307 h 5704395"/>
                <a:gd name="connsiteX2336" fmla="*/ 1497573 w 5719680"/>
                <a:gd name="connsiteY2336" fmla="*/ 5012216 h 5704395"/>
                <a:gd name="connsiteX2337" fmla="*/ 1479469 w 5719680"/>
                <a:gd name="connsiteY2337" fmla="*/ 4915565 h 5704395"/>
                <a:gd name="connsiteX2338" fmla="*/ 1481057 w 5719680"/>
                <a:gd name="connsiteY2338" fmla="*/ 4914615 h 5704395"/>
                <a:gd name="connsiteX2339" fmla="*/ 1510913 w 5719680"/>
                <a:gd name="connsiteY2339" fmla="*/ 4896235 h 5704395"/>
                <a:gd name="connsiteX2340" fmla="*/ 1531558 w 5719680"/>
                <a:gd name="connsiteY2340" fmla="*/ 4883560 h 5704395"/>
                <a:gd name="connsiteX2341" fmla="*/ 1538228 w 5719680"/>
                <a:gd name="connsiteY2341" fmla="*/ 4879123 h 5704395"/>
                <a:gd name="connsiteX2342" fmla="*/ 1539181 w 5719680"/>
                <a:gd name="connsiteY2342" fmla="*/ 4878490 h 5704395"/>
                <a:gd name="connsiteX2343" fmla="*/ 1526476 w 5719680"/>
                <a:gd name="connsiteY2343" fmla="*/ 4832224 h 5704395"/>
                <a:gd name="connsiteX2344" fmla="*/ 902038 w 5719680"/>
                <a:gd name="connsiteY2344" fmla="*/ 4831273 h 5704395"/>
                <a:gd name="connsiteX2345" fmla="*/ 824539 w 5719680"/>
                <a:gd name="connsiteY2345" fmla="*/ 4904474 h 5704395"/>
                <a:gd name="connsiteX2346" fmla="*/ 823586 w 5719680"/>
                <a:gd name="connsiteY2346" fmla="*/ 4905108 h 5704395"/>
                <a:gd name="connsiteX2347" fmla="*/ 822633 w 5719680"/>
                <a:gd name="connsiteY2347" fmla="*/ 4905742 h 5704395"/>
                <a:gd name="connsiteX2348" fmla="*/ 800400 w 5719680"/>
                <a:gd name="connsiteY2348" fmla="*/ 4917467 h 5704395"/>
                <a:gd name="connsiteX2349" fmla="*/ 804846 w 5719680"/>
                <a:gd name="connsiteY2349" fmla="*/ 4924438 h 5704395"/>
                <a:gd name="connsiteX2350" fmla="*/ 832797 w 5719680"/>
                <a:gd name="connsiteY2350" fmla="*/ 4966584 h 5704395"/>
                <a:gd name="connsiteX2351" fmla="*/ 844549 w 5719680"/>
                <a:gd name="connsiteY2351" fmla="*/ 4984330 h 5704395"/>
                <a:gd name="connsiteX2352" fmla="*/ 848043 w 5719680"/>
                <a:gd name="connsiteY2352" fmla="*/ 4990034 h 5704395"/>
                <a:gd name="connsiteX2353" fmla="*/ 848043 w 5719680"/>
                <a:gd name="connsiteY2353" fmla="*/ 4990351 h 5704395"/>
                <a:gd name="connsiteX2354" fmla="*/ 869005 w 5719680"/>
                <a:gd name="connsiteY2354" fmla="*/ 4969753 h 5704395"/>
                <a:gd name="connsiteX2355" fmla="*/ 918554 w 5719680"/>
                <a:gd name="connsiteY2355" fmla="*/ 4940916 h 5704395"/>
                <a:gd name="connsiteX2356" fmla="*/ 966514 w 5719680"/>
                <a:gd name="connsiteY2356" fmla="*/ 4914298 h 5704395"/>
                <a:gd name="connsiteX2357" fmla="*/ 931576 w 5719680"/>
                <a:gd name="connsiteY2357" fmla="*/ 4868983 h 5704395"/>
                <a:gd name="connsiteX2358" fmla="*/ 906802 w 5719680"/>
                <a:gd name="connsiteY2358" fmla="*/ 4837294 h 5704395"/>
                <a:gd name="connsiteX2359" fmla="*/ 902038 w 5719680"/>
                <a:gd name="connsiteY2359" fmla="*/ 4831273 h 5704395"/>
                <a:gd name="connsiteX2360" fmla="*/ 1024003 w 5719680"/>
                <a:gd name="connsiteY2360" fmla="*/ 4830639 h 5704395"/>
                <a:gd name="connsiteX2361" fmla="*/ 1040520 w 5719680"/>
                <a:gd name="connsiteY2361" fmla="*/ 4859159 h 5704395"/>
                <a:gd name="connsiteX2362" fmla="*/ 999864 w 5719680"/>
                <a:gd name="connsiteY2362" fmla="*/ 4882609 h 5704395"/>
                <a:gd name="connsiteX2363" fmla="*/ 998911 w 5719680"/>
                <a:gd name="connsiteY2363" fmla="*/ 4881025 h 5704395"/>
                <a:gd name="connsiteX2364" fmla="*/ 983348 w 5719680"/>
                <a:gd name="connsiteY2364" fmla="*/ 4854089 h 5704395"/>
                <a:gd name="connsiteX2365" fmla="*/ 1024003 w 5719680"/>
                <a:gd name="connsiteY2365" fmla="*/ 4830639 h 5704395"/>
                <a:gd name="connsiteX2366" fmla="*/ 478017 w 5719680"/>
                <a:gd name="connsiteY2366" fmla="*/ 4829055 h 5704395"/>
                <a:gd name="connsiteX2367" fmla="*/ 601888 w 5719680"/>
                <a:gd name="connsiteY2367" fmla="*/ 4923804 h 5704395"/>
                <a:gd name="connsiteX2368" fmla="*/ 601253 w 5719680"/>
                <a:gd name="connsiteY2368" fmla="*/ 4925389 h 5704395"/>
                <a:gd name="connsiteX2369" fmla="*/ 583784 w 5719680"/>
                <a:gd name="connsiteY2369" fmla="*/ 4962782 h 5704395"/>
                <a:gd name="connsiteX2370" fmla="*/ 509461 w 5719680"/>
                <a:gd name="connsiteY2370" fmla="*/ 4921269 h 5704395"/>
                <a:gd name="connsiteX2371" fmla="*/ 520895 w 5719680"/>
                <a:gd name="connsiteY2371" fmla="*/ 4904474 h 5704395"/>
                <a:gd name="connsiteX2372" fmla="*/ 489133 w 5719680"/>
                <a:gd name="connsiteY2372" fmla="*/ 4883877 h 5704395"/>
                <a:gd name="connsiteX2373" fmla="*/ 455466 w 5719680"/>
                <a:gd name="connsiteY2373" fmla="*/ 4926656 h 5704395"/>
                <a:gd name="connsiteX2374" fmla="*/ 508826 w 5719680"/>
                <a:gd name="connsiteY2374" fmla="*/ 4966267 h 5704395"/>
                <a:gd name="connsiteX2375" fmla="*/ 476111 w 5719680"/>
                <a:gd name="connsiteY2375" fmla="*/ 5042004 h 5704395"/>
                <a:gd name="connsiteX2376" fmla="*/ 441490 w 5719680"/>
                <a:gd name="connsiteY2376" fmla="*/ 5009047 h 5704395"/>
                <a:gd name="connsiteX2377" fmla="*/ 458324 w 5719680"/>
                <a:gd name="connsiteY2377" fmla="*/ 4980844 h 5704395"/>
                <a:gd name="connsiteX2378" fmla="*/ 396706 w 5719680"/>
                <a:gd name="connsiteY2378" fmla="*/ 4928875 h 5704395"/>
                <a:gd name="connsiteX2379" fmla="*/ 478017 w 5719680"/>
                <a:gd name="connsiteY2379" fmla="*/ 4829055 h 5704395"/>
                <a:gd name="connsiteX2380" fmla="*/ 652072 w 5719680"/>
                <a:gd name="connsiteY2380" fmla="*/ 4825252 h 5704395"/>
                <a:gd name="connsiteX2381" fmla="*/ 626662 w 5719680"/>
                <a:gd name="connsiteY2381" fmla="*/ 4854406 h 5704395"/>
                <a:gd name="connsiteX2382" fmla="*/ 645402 w 5719680"/>
                <a:gd name="connsiteY2382" fmla="*/ 4870567 h 5704395"/>
                <a:gd name="connsiteX2383" fmla="*/ 670811 w 5719680"/>
                <a:gd name="connsiteY2383" fmla="*/ 4841414 h 5704395"/>
                <a:gd name="connsiteX2384" fmla="*/ 652072 w 5719680"/>
                <a:gd name="connsiteY2384" fmla="*/ 4825252 h 5704395"/>
                <a:gd name="connsiteX2385" fmla="*/ 3016108 w 5719680"/>
                <a:gd name="connsiteY2385" fmla="*/ 4823985 h 5704395"/>
                <a:gd name="connsiteX2386" fmla="*/ 3025637 w 5719680"/>
                <a:gd name="connsiteY2386" fmla="*/ 5002710 h 5704395"/>
                <a:gd name="connsiteX2387" fmla="*/ 3217479 w 5719680"/>
                <a:gd name="connsiteY2387" fmla="*/ 5063552 h 5704395"/>
                <a:gd name="connsiteX2388" fmla="*/ 3264169 w 5719680"/>
                <a:gd name="connsiteY2388" fmla="*/ 4985598 h 5704395"/>
                <a:gd name="connsiteX2389" fmla="*/ 3297201 w 5719680"/>
                <a:gd name="connsiteY2389" fmla="*/ 4930776 h 5704395"/>
                <a:gd name="connsiteX2390" fmla="*/ 3307047 w 5719680"/>
                <a:gd name="connsiteY2390" fmla="*/ 4914932 h 5704395"/>
                <a:gd name="connsiteX2391" fmla="*/ 3204139 w 5719680"/>
                <a:gd name="connsiteY2391" fmla="*/ 4836343 h 5704395"/>
                <a:gd name="connsiteX2392" fmla="*/ 3016108 w 5719680"/>
                <a:gd name="connsiteY2392" fmla="*/ 4823985 h 5704395"/>
                <a:gd name="connsiteX2393" fmla="*/ 1386724 w 5719680"/>
                <a:gd name="connsiteY2393" fmla="*/ 4821767 h 5704395"/>
                <a:gd name="connsiteX2394" fmla="*/ 1386724 w 5719680"/>
                <a:gd name="connsiteY2394" fmla="*/ 4838879 h 5704395"/>
                <a:gd name="connsiteX2395" fmla="*/ 1392441 w 5719680"/>
                <a:gd name="connsiteY2395" fmla="*/ 4838879 h 5704395"/>
                <a:gd name="connsiteX2396" fmla="*/ 1392441 w 5719680"/>
                <a:gd name="connsiteY2396" fmla="*/ 4842364 h 5704395"/>
                <a:gd name="connsiteX2397" fmla="*/ 1402605 w 5719680"/>
                <a:gd name="connsiteY2397" fmla="*/ 4842364 h 5704395"/>
                <a:gd name="connsiteX2398" fmla="*/ 1402605 w 5719680"/>
                <a:gd name="connsiteY2398" fmla="*/ 4821767 h 5704395"/>
                <a:gd name="connsiteX2399" fmla="*/ 1386724 w 5719680"/>
                <a:gd name="connsiteY2399" fmla="*/ 4821767 h 5704395"/>
                <a:gd name="connsiteX2400" fmla="*/ 2281456 w 5719680"/>
                <a:gd name="connsiteY2400" fmla="*/ 4819548 h 5704395"/>
                <a:gd name="connsiteX2401" fmla="*/ 2257635 w 5719680"/>
                <a:gd name="connsiteY2401" fmla="*/ 4824302 h 5704395"/>
                <a:gd name="connsiteX2402" fmla="*/ 2258905 w 5719680"/>
                <a:gd name="connsiteY2402" fmla="*/ 4911446 h 5704395"/>
                <a:gd name="connsiteX2403" fmla="*/ 2278915 w 5719680"/>
                <a:gd name="connsiteY2403" fmla="*/ 4920952 h 5704395"/>
                <a:gd name="connsiteX2404" fmla="*/ 2280186 w 5719680"/>
                <a:gd name="connsiteY2404" fmla="*/ 4931410 h 5704395"/>
                <a:gd name="connsiteX2405" fmla="*/ 2317665 w 5719680"/>
                <a:gd name="connsiteY2405" fmla="*/ 4922537 h 5704395"/>
                <a:gd name="connsiteX2406" fmla="*/ 2324970 w 5719680"/>
                <a:gd name="connsiteY2406" fmla="*/ 4911763 h 5704395"/>
                <a:gd name="connsiteX2407" fmla="*/ 2331005 w 5719680"/>
                <a:gd name="connsiteY2407" fmla="*/ 4901939 h 5704395"/>
                <a:gd name="connsiteX2408" fmla="*/ 2331958 w 5719680"/>
                <a:gd name="connsiteY2408" fmla="*/ 4900672 h 5704395"/>
                <a:gd name="connsiteX2409" fmla="*/ 2333546 w 5719680"/>
                <a:gd name="connsiteY2409" fmla="*/ 4900989 h 5704395"/>
                <a:gd name="connsiteX2410" fmla="*/ 2380553 w 5719680"/>
                <a:gd name="connsiteY2410" fmla="*/ 4910812 h 5704395"/>
                <a:gd name="connsiteX2411" fmla="*/ 2413268 w 5719680"/>
                <a:gd name="connsiteY2411" fmla="*/ 4917467 h 5704395"/>
                <a:gd name="connsiteX2412" fmla="*/ 2422479 w 5719680"/>
                <a:gd name="connsiteY2412" fmla="*/ 4919685 h 5704395"/>
                <a:gd name="connsiteX2413" fmla="*/ 2434866 w 5719680"/>
                <a:gd name="connsiteY2413" fmla="*/ 4845216 h 5704395"/>
                <a:gd name="connsiteX2414" fmla="*/ 2427878 w 5719680"/>
                <a:gd name="connsiteY2414" fmla="*/ 4844266 h 5704395"/>
                <a:gd name="connsiteX2415" fmla="*/ 2425338 w 5719680"/>
                <a:gd name="connsiteY2415" fmla="*/ 4861694 h 5704395"/>
                <a:gd name="connsiteX2416" fmla="*/ 2411680 w 5719680"/>
                <a:gd name="connsiteY2416" fmla="*/ 4859793 h 5704395"/>
                <a:gd name="connsiteX2417" fmla="*/ 2409456 w 5719680"/>
                <a:gd name="connsiteY2417" fmla="*/ 4874370 h 5704395"/>
                <a:gd name="connsiteX2418" fmla="*/ 2382459 w 5719680"/>
                <a:gd name="connsiteY2418" fmla="*/ 4870567 h 5704395"/>
                <a:gd name="connsiteX2419" fmla="*/ 2387541 w 5719680"/>
                <a:gd name="connsiteY2419" fmla="*/ 4837294 h 5704395"/>
                <a:gd name="connsiteX2420" fmla="*/ 2281456 w 5719680"/>
                <a:gd name="connsiteY2420" fmla="*/ 4819548 h 5704395"/>
                <a:gd name="connsiteX2421" fmla="*/ 651436 w 5719680"/>
                <a:gd name="connsiteY2421" fmla="*/ 4819231 h 5704395"/>
                <a:gd name="connsiteX2422" fmla="*/ 676528 w 5719680"/>
                <a:gd name="connsiteY2422" fmla="*/ 4841097 h 5704395"/>
                <a:gd name="connsiteX2423" fmla="*/ 645719 w 5719680"/>
                <a:gd name="connsiteY2423" fmla="*/ 4876271 h 5704395"/>
                <a:gd name="connsiteX2424" fmla="*/ 644131 w 5719680"/>
                <a:gd name="connsiteY2424" fmla="*/ 4875004 h 5704395"/>
                <a:gd name="connsiteX2425" fmla="*/ 620627 w 5719680"/>
                <a:gd name="connsiteY2425" fmla="*/ 4854723 h 5704395"/>
                <a:gd name="connsiteX2426" fmla="*/ 651436 w 5719680"/>
                <a:gd name="connsiteY2426" fmla="*/ 4819231 h 5704395"/>
                <a:gd name="connsiteX2427" fmla="*/ 2186170 w 5719680"/>
                <a:gd name="connsiteY2427" fmla="*/ 4818915 h 5704395"/>
                <a:gd name="connsiteX2428" fmla="*/ 2182359 w 5719680"/>
                <a:gd name="connsiteY2428" fmla="*/ 4908277 h 5704395"/>
                <a:gd name="connsiteX2429" fmla="*/ 2216026 w 5719680"/>
                <a:gd name="connsiteY2429" fmla="*/ 4914298 h 5704395"/>
                <a:gd name="connsiteX2430" fmla="*/ 2216026 w 5719680"/>
                <a:gd name="connsiteY2430" fmla="*/ 4916199 h 5704395"/>
                <a:gd name="connsiteX2431" fmla="*/ 2208086 w 5719680"/>
                <a:gd name="connsiteY2431" fmla="*/ 5046757 h 5704395"/>
                <a:gd name="connsiteX2432" fmla="*/ 2208086 w 5719680"/>
                <a:gd name="connsiteY2432" fmla="*/ 5047074 h 5704395"/>
                <a:gd name="connsiteX2433" fmla="*/ 2290667 w 5719680"/>
                <a:gd name="connsiteY2433" fmla="*/ 5049609 h 5704395"/>
                <a:gd name="connsiteX2434" fmla="*/ 2274786 w 5719680"/>
                <a:gd name="connsiteY2434" fmla="*/ 4924121 h 5704395"/>
                <a:gd name="connsiteX2435" fmla="*/ 2254458 w 5719680"/>
                <a:gd name="connsiteY2435" fmla="*/ 4914298 h 5704395"/>
                <a:gd name="connsiteX2436" fmla="*/ 2253188 w 5719680"/>
                <a:gd name="connsiteY2436" fmla="*/ 4824935 h 5704395"/>
                <a:gd name="connsiteX2437" fmla="*/ 2231272 w 5719680"/>
                <a:gd name="connsiteY2437" fmla="*/ 4829372 h 5704395"/>
                <a:gd name="connsiteX2438" fmla="*/ 2186170 w 5719680"/>
                <a:gd name="connsiteY2438" fmla="*/ 4818915 h 5704395"/>
                <a:gd name="connsiteX2439" fmla="*/ 1382595 w 5719680"/>
                <a:gd name="connsiteY2439" fmla="*/ 4817647 h 5704395"/>
                <a:gd name="connsiteX2440" fmla="*/ 1406734 w 5719680"/>
                <a:gd name="connsiteY2440" fmla="*/ 4817647 h 5704395"/>
                <a:gd name="connsiteX2441" fmla="*/ 1406734 w 5719680"/>
                <a:gd name="connsiteY2441" fmla="*/ 4846484 h 5704395"/>
                <a:gd name="connsiteX2442" fmla="*/ 1392441 w 5719680"/>
                <a:gd name="connsiteY2442" fmla="*/ 4846484 h 5704395"/>
                <a:gd name="connsiteX2443" fmla="*/ 1392441 w 5719680"/>
                <a:gd name="connsiteY2443" fmla="*/ 4851554 h 5704395"/>
                <a:gd name="connsiteX2444" fmla="*/ 1411816 w 5719680"/>
                <a:gd name="connsiteY2444" fmla="*/ 4851554 h 5704395"/>
                <a:gd name="connsiteX2445" fmla="*/ 1411816 w 5719680"/>
                <a:gd name="connsiteY2445" fmla="*/ 4880391 h 5704395"/>
                <a:gd name="connsiteX2446" fmla="*/ 1387677 w 5719680"/>
                <a:gd name="connsiteY2446" fmla="*/ 4880391 h 5704395"/>
                <a:gd name="connsiteX2447" fmla="*/ 1387677 w 5719680"/>
                <a:gd name="connsiteY2447" fmla="*/ 4878490 h 5704395"/>
                <a:gd name="connsiteX2448" fmla="*/ 1387677 w 5719680"/>
                <a:gd name="connsiteY2448" fmla="*/ 4868032 h 5704395"/>
                <a:gd name="connsiteX2449" fmla="*/ 1368302 w 5719680"/>
                <a:gd name="connsiteY2449" fmla="*/ 4868032 h 5704395"/>
                <a:gd name="connsiteX2450" fmla="*/ 1368302 w 5719680"/>
                <a:gd name="connsiteY2450" fmla="*/ 4865814 h 5704395"/>
                <a:gd name="connsiteX2451" fmla="*/ 1368302 w 5719680"/>
                <a:gd name="connsiteY2451" fmla="*/ 4838879 h 5704395"/>
                <a:gd name="connsiteX2452" fmla="*/ 1382595 w 5719680"/>
                <a:gd name="connsiteY2452" fmla="*/ 4838879 h 5704395"/>
                <a:gd name="connsiteX2453" fmla="*/ 1382595 w 5719680"/>
                <a:gd name="connsiteY2453" fmla="*/ 4817647 h 5704395"/>
                <a:gd name="connsiteX2454" fmla="*/ 2822678 w 5719680"/>
                <a:gd name="connsiteY2454" fmla="*/ 4810992 h 5704395"/>
                <a:gd name="connsiteX2455" fmla="*/ 2782024 w 5719680"/>
                <a:gd name="connsiteY2455" fmla="*/ 4820182 h 5704395"/>
                <a:gd name="connsiteX2456" fmla="*/ 2740098 w 5719680"/>
                <a:gd name="connsiteY2456" fmla="*/ 4881658 h 5704395"/>
                <a:gd name="connsiteX2457" fmla="*/ 2736604 w 5719680"/>
                <a:gd name="connsiteY2457" fmla="*/ 5020138 h 5704395"/>
                <a:gd name="connsiteX2458" fmla="*/ 2816008 w 5719680"/>
                <a:gd name="connsiteY2458" fmla="*/ 5039469 h 5704395"/>
                <a:gd name="connsiteX2459" fmla="*/ 2901448 w 5719680"/>
                <a:gd name="connsiteY2459" fmla="*/ 5060700 h 5704395"/>
                <a:gd name="connsiteX2460" fmla="*/ 2903354 w 5719680"/>
                <a:gd name="connsiteY2460" fmla="*/ 5059749 h 5704395"/>
                <a:gd name="connsiteX2461" fmla="*/ 2902718 w 5719680"/>
                <a:gd name="connsiteY2461" fmla="*/ 5059432 h 5704395"/>
                <a:gd name="connsiteX2462" fmla="*/ 2903036 w 5719680"/>
                <a:gd name="connsiteY2462" fmla="*/ 5059116 h 5704395"/>
                <a:gd name="connsiteX2463" fmla="*/ 2904624 w 5719680"/>
                <a:gd name="connsiteY2463" fmla="*/ 5058165 h 5704395"/>
                <a:gd name="connsiteX2464" fmla="*/ 2905577 w 5719680"/>
                <a:gd name="connsiteY2464" fmla="*/ 5058482 h 5704395"/>
                <a:gd name="connsiteX2465" fmla="*/ 3021190 w 5719680"/>
                <a:gd name="connsiteY2465" fmla="*/ 5003026 h 5704395"/>
                <a:gd name="connsiteX2466" fmla="*/ 3011662 w 5719680"/>
                <a:gd name="connsiteY2466" fmla="*/ 4823668 h 5704395"/>
                <a:gd name="connsiteX2467" fmla="*/ 2822678 w 5719680"/>
                <a:gd name="connsiteY2467" fmla="*/ 4810992 h 5704395"/>
                <a:gd name="connsiteX2468" fmla="*/ 481193 w 5719680"/>
                <a:gd name="connsiteY2468" fmla="*/ 4810359 h 5704395"/>
                <a:gd name="connsiteX2469" fmla="*/ 383684 w 5719680"/>
                <a:gd name="connsiteY2469" fmla="*/ 4927924 h 5704395"/>
                <a:gd name="connsiteX2470" fmla="*/ 443714 w 5719680"/>
                <a:gd name="connsiteY2470" fmla="*/ 4980844 h 5704395"/>
                <a:gd name="connsiteX2471" fmla="*/ 419892 w 5719680"/>
                <a:gd name="connsiteY2471" fmla="*/ 5009364 h 5704395"/>
                <a:gd name="connsiteX2472" fmla="*/ 495168 w 5719680"/>
                <a:gd name="connsiteY2472" fmla="*/ 5076228 h 5704395"/>
                <a:gd name="connsiteX2473" fmla="*/ 567903 w 5719680"/>
                <a:gd name="connsiteY2473" fmla="*/ 4968803 h 5704395"/>
                <a:gd name="connsiteX2474" fmla="*/ 598394 w 5719680"/>
                <a:gd name="connsiteY2474" fmla="*/ 4986865 h 5704395"/>
                <a:gd name="connsiteX2475" fmla="*/ 634285 w 5719680"/>
                <a:gd name="connsiteY2475" fmla="*/ 4925706 h 5704395"/>
                <a:gd name="connsiteX2476" fmla="*/ 634920 w 5719680"/>
                <a:gd name="connsiteY2476" fmla="*/ 4925706 h 5704395"/>
                <a:gd name="connsiteX2477" fmla="*/ 635556 w 5719680"/>
                <a:gd name="connsiteY2477" fmla="*/ 4925389 h 5704395"/>
                <a:gd name="connsiteX2478" fmla="*/ 481193 w 5719680"/>
                <a:gd name="connsiteY2478" fmla="*/ 4810359 h 5704395"/>
                <a:gd name="connsiteX2479" fmla="*/ 2396116 w 5719680"/>
                <a:gd name="connsiteY2479" fmla="*/ 4809091 h 5704395"/>
                <a:gd name="connsiteX2480" fmla="*/ 2392305 w 5719680"/>
                <a:gd name="connsiteY2480" fmla="*/ 4833808 h 5704395"/>
                <a:gd name="connsiteX2481" fmla="*/ 2424702 w 5719680"/>
                <a:gd name="connsiteY2481" fmla="*/ 4839195 h 5704395"/>
                <a:gd name="connsiteX2482" fmla="*/ 2426290 w 5719680"/>
                <a:gd name="connsiteY2482" fmla="*/ 4828738 h 5704395"/>
                <a:gd name="connsiteX2483" fmla="*/ 2412633 w 5719680"/>
                <a:gd name="connsiteY2483" fmla="*/ 4826837 h 5704395"/>
                <a:gd name="connsiteX2484" fmla="*/ 2414856 w 5719680"/>
                <a:gd name="connsiteY2484" fmla="*/ 4811943 h 5704395"/>
                <a:gd name="connsiteX2485" fmla="*/ 2396116 w 5719680"/>
                <a:gd name="connsiteY2485" fmla="*/ 4809091 h 5704395"/>
                <a:gd name="connsiteX2486" fmla="*/ 2137257 w 5719680"/>
                <a:gd name="connsiteY2486" fmla="*/ 4807824 h 5704395"/>
                <a:gd name="connsiteX2487" fmla="*/ 2138528 w 5719680"/>
                <a:gd name="connsiteY2487" fmla="*/ 4855674 h 5704395"/>
                <a:gd name="connsiteX2488" fmla="*/ 2130587 w 5719680"/>
                <a:gd name="connsiteY2488" fmla="*/ 4856307 h 5704395"/>
                <a:gd name="connsiteX2489" fmla="*/ 2127728 w 5719680"/>
                <a:gd name="connsiteY2489" fmla="*/ 5044539 h 5704395"/>
                <a:gd name="connsiteX2490" fmla="*/ 2203640 w 5719680"/>
                <a:gd name="connsiteY2490" fmla="*/ 5046757 h 5704395"/>
                <a:gd name="connsiteX2491" fmla="*/ 2211580 w 5719680"/>
                <a:gd name="connsiteY2491" fmla="*/ 4917784 h 5704395"/>
                <a:gd name="connsiteX2492" fmla="*/ 2177595 w 5719680"/>
                <a:gd name="connsiteY2492" fmla="*/ 4912080 h 5704395"/>
                <a:gd name="connsiteX2493" fmla="*/ 2181724 w 5719680"/>
                <a:gd name="connsiteY2493" fmla="*/ 4817964 h 5704395"/>
                <a:gd name="connsiteX2494" fmla="*/ 2137257 w 5719680"/>
                <a:gd name="connsiteY2494" fmla="*/ 4807824 h 5704395"/>
                <a:gd name="connsiteX2495" fmla="*/ 1748174 w 5719680"/>
                <a:gd name="connsiteY2495" fmla="*/ 4805922 h 5704395"/>
                <a:gd name="connsiteX2496" fmla="*/ 1748492 w 5719680"/>
                <a:gd name="connsiteY2496" fmla="*/ 4809091 h 5704395"/>
                <a:gd name="connsiteX2497" fmla="*/ 1748492 w 5719680"/>
                <a:gd name="connsiteY2497" fmla="*/ 4926023 h 5704395"/>
                <a:gd name="connsiteX2498" fmla="*/ 1840284 w 5719680"/>
                <a:gd name="connsiteY2498" fmla="*/ 4899087 h 5704395"/>
                <a:gd name="connsiteX2499" fmla="*/ 1840601 w 5719680"/>
                <a:gd name="connsiteY2499" fmla="*/ 4898770 h 5704395"/>
                <a:gd name="connsiteX2500" fmla="*/ 1840919 w 5719680"/>
                <a:gd name="connsiteY2500" fmla="*/ 4898770 h 5704395"/>
                <a:gd name="connsiteX2501" fmla="*/ 1843460 w 5719680"/>
                <a:gd name="connsiteY2501" fmla="*/ 4900989 h 5704395"/>
                <a:gd name="connsiteX2502" fmla="*/ 1854577 w 5719680"/>
                <a:gd name="connsiteY2502" fmla="*/ 4970070 h 5704395"/>
                <a:gd name="connsiteX2503" fmla="*/ 1946051 w 5719680"/>
                <a:gd name="connsiteY2503" fmla="*/ 4991618 h 5704395"/>
                <a:gd name="connsiteX2504" fmla="*/ 1931758 w 5719680"/>
                <a:gd name="connsiteY2504" fmla="*/ 4808457 h 5704395"/>
                <a:gd name="connsiteX2505" fmla="*/ 1850448 w 5719680"/>
                <a:gd name="connsiteY2505" fmla="*/ 4809725 h 5704395"/>
                <a:gd name="connsiteX2506" fmla="*/ 1748174 w 5719680"/>
                <a:gd name="connsiteY2506" fmla="*/ 4805922 h 5704395"/>
                <a:gd name="connsiteX2507" fmla="*/ 1205681 w 5719680"/>
                <a:gd name="connsiteY2507" fmla="*/ 4804972 h 5704395"/>
                <a:gd name="connsiteX2508" fmla="*/ 1104996 w 5719680"/>
                <a:gd name="connsiteY2508" fmla="*/ 4860744 h 5704395"/>
                <a:gd name="connsiteX2509" fmla="*/ 1109443 w 5719680"/>
                <a:gd name="connsiteY2509" fmla="*/ 4868032 h 5704395"/>
                <a:gd name="connsiteX2510" fmla="*/ 1149145 w 5719680"/>
                <a:gd name="connsiteY2510" fmla="*/ 4845216 h 5704395"/>
                <a:gd name="connsiteX2511" fmla="*/ 1165661 w 5719680"/>
                <a:gd name="connsiteY2511" fmla="*/ 4873736 h 5704395"/>
                <a:gd name="connsiteX2512" fmla="*/ 1130406 w 5719680"/>
                <a:gd name="connsiteY2512" fmla="*/ 4894017 h 5704395"/>
                <a:gd name="connsiteX2513" fmla="*/ 1142475 w 5719680"/>
                <a:gd name="connsiteY2513" fmla="*/ 4914615 h 5704395"/>
                <a:gd name="connsiteX2514" fmla="*/ 1138664 w 5719680"/>
                <a:gd name="connsiteY2514" fmla="*/ 4916516 h 5704395"/>
                <a:gd name="connsiteX2515" fmla="*/ 1179954 w 5719680"/>
                <a:gd name="connsiteY2515" fmla="*/ 4985598 h 5704395"/>
                <a:gd name="connsiteX2516" fmla="*/ 1226327 w 5719680"/>
                <a:gd name="connsiteY2516" fmla="*/ 4995421 h 5704395"/>
                <a:gd name="connsiteX2517" fmla="*/ 1299061 w 5719680"/>
                <a:gd name="connsiteY2517" fmla="*/ 4951057 h 5704395"/>
                <a:gd name="connsiteX2518" fmla="*/ 1205681 w 5719680"/>
                <a:gd name="connsiteY2518" fmla="*/ 4804972 h 5704395"/>
                <a:gd name="connsiteX2519" fmla="*/ 1700849 w 5719680"/>
                <a:gd name="connsiteY2519" fmla="*/ 4803704 h 5704395"/>
                <a:gd name="connsiteX2520" fmla="*/ 1620491 w 5719680"/>
                <a:gd name="connsiteY2520" fmla="*/ 4807190 h 5704395"/>
                <a:gd name="connsiteX2521" fmla="*/ 1591906 w 5719680"/>
                <a:gd name="connsiteY2521" fmla="*/ 4845216 h 5704395"/>
                <a:gd name="connsiteX2522" fmla="*/ 1593494 w 5719680"/>
                <a:gd name="connsiteY2522" fmla="*/ 4907643 h 5704395"/>
                <a:gd name="connsiteX2523" fmla="*/ 1630655 w 5719680"/>
                <a:gd name="connsiteY2523" fmla="*/ 4899087 h 5704395"/>
                <a:gd name="connsiteX2524" fmla="*/ 1630973 w 5719680"/>
                <a:gd name="connsiteY2524" fmla="*/ 4936480 h 5704395"/>
                <a:gd name="connsiteX2525" fmla="*/ 1720224 w 5719680"/>
                <a:gd name="connsiteY2525" fmla="*/ 4911129 h 5704395"/>
                <a:gd name="connsiteX2526" fmla="*/ 1700849 w 5719680"/>
                <a:gd name="connsiteY2526" fmla="*/ 4803704 h 5704395"/>
                <a:gd name="connsiteX2527" fmla="*/ 187078 w 5719680"/>
                <a:gd name="connsiteY2527" fmla="*/ 4803387 h 5704395"/>
                <a:gd name="connsiteX2528" fmla="*/ 161351 w 5719680"/>
                <a:gd name="connsiteY2528" fmla="*/ 4811309 h 5704395"/>
                <a:gd name="connsiteX2529" fmla="*/ 142611 w 5719680"/>
                <a:gd name="connsiteY2529" fmla="*/ 4840780 h 5704395"/>
                <a:gd name="connsiteX2530" fmla="*/ 146423 w 5719680"/>
                <a:gd name="connsiteY2530" fmla="*/ 4848702 h 5704395"/>
                <a:gd name="connsiteX2531" fmla="*/ 164209 w 5719680"/>
                <a:gd name="connsiteY2531" fmla="*/ 4854089 h 5704395"/>
                <a:gd name="connsiteX2532" fmla="*/ 195336 w 5719680"/>
                <a:gd name="connsiteY2532" fmla="*/ 4841731 h 5704395"/>
                <a:gd name="connsiteX2533" fmla="*/ 208358 w 5719680"/>
                <a:gd name="connsiteY2533" fmla="*/ 4820499 h 5704395"/>
                <a:gd name="connsiteX2534" fmla="*/ 204229 w 5719680"/>
                <a:gd name="connsiteY2534" fmla="*/ 4810359 h 5704395"/>
                <a:gd name="connsiteX2535" fmla="*/ 187078 w 5719680"/>
                <a:gd name="connsiteY2535" fmla="*/ 4803387 h 5704395"/>
                <a:gd name="connsiteX2536" fmla="*/ 521530 w 5719680"/>
                <a:gd name="connsiteY2536" fmla="*/ 4803070 h 5704395"/>
                <a:gd name="connsiteX2537" fmla="*/ 520578 w 5719680"/>
                <a:gd name="connsiteY2537" fmla="*/ 4804972 h 5704395"/>
                <a:gd name="connsiteX2538" fmla="*/ 518037 w 5719680"/>
                <a:gd name="connsiteY2538" fmla="*/ 4810992 h 5704395"/>
                <a:gd name="connsiteX2539" fmla="*/ 549481 w 5719680"/>
                <a:gd name="connsiteY2539" fmla="*/ 4834759 h 5704395"/>
                <a:gd name="connsiteX2540" fmla="*/ 553610 w 5719680"/>
                <a:gd name="connsiteY2540" fmla="*/ 4825569 h 5704395"/>
                <a:gd name="connsiteX2541" fmla="*/ 521530 w 5719680"/>
                <a:gd name="connsiteY2541" fmla="*/ 4803070 h 5704395"/>
                <a:gd name="connsiteX2542" fmla="*/ 775308 w 5719680"/>
                <a:gd name="connsiteY2542" fmla="*/ 4802436 h 5704395"/>
                <a:gd name="connsiteX2543" fmla="*/ 746404 w 5719680"/>
                <a:gd name="connsiteY2543" fmla="*/ 4802753 h 5704395"/>
                <a:gd name="connsiteX2544" fmla="*/ 747357 w 5719680"/>
                <a:gd name="connsiteY2544" fmla="*/ 4833175 h 5704395"/>
                <a:gd name="connsiteX2545" fmla="*/ 765779 w 5719680"/>
                <a:gd name="connsiteY2545" fmla="*/ 4833175 h 5704395"/>
                <a:gd name="connsiteX2546" fmla="*/ 765779 w 5719680"/>
                <a:gd name="connsiteY2546" fmla="*/ 4856307 h 5704395"/>
                <a:gd name="connsiteX2547" fmla="*/ 792459 w 5719680"/>
                <a:gd name="connsiteY2547" fmla="*/ 4856307 h 5704395"/>
                <a:gd name="connsiteX2548" fmla="*/ 791824 w 5719680"/>
                <a:gd name="connsiteY2548" fmla="*/ 4805605 h 5704395"/>
                <a:gd name="connsiteX2549" fmla="*/ 775308 w 5719680"/>
                <a:gd name="connsiteY2549" fmla="*/ 4805922 h 5704395"/>
                <a:gd name="connsiteX2550" fmla="*/ 775308 w 5719680"/>
                <a:gd name="connsiteY2550" fmla="*/ 4802436 h 5704395"/>
                <a:gd name="connsiteX2551" fmla="*/ 187078 w 5719680"/>
                <a:gd name="connsiteY2551" fmla="*/ 4800852 h 5704395"/>
                <a:gd name="connsiteX2552" fmla="*/ 206452 w 5719680"/>
                <a:gd name="connsiteY2552" fmla="*/ 4808774 h 5704395"/>
                <a:gd name="connsiteX2553" fmla="*/ 210899 w 5719680"/>
                <a:gd name="connsiteY2553" fmla="*/ 4820499 h 5704395"/>
                <a:gd name="connsiteX2554" fmla="*/ 197242 w 5719680"/>
                <a:gd name="connsiteY2554" fmla="*/ 4843632 h 5704395"/>
                <a:gd name="connsiteX2555" fmla="*/ 164209 w 5719680"/>
                <a:gd name="connsiteY2555" fmla="*/ 4856624 h 5704395"/>
                <a:gd name="connsiteX2556" fmla="*/ 144834 w 5719680"/>
                <a:gd name="connsiteY2556" fmla="*/ 4850920 h 5704395"/>
                <a:gd name="connsiteX2557" fmla="*/ 140070 w 5719680"/>
                <a:gd name="connsiteY2557" fmla="*/ 4840780 h 5704395"/>
                <a:gd name="connsiteX2558" fmla="*/ 159763 w 5719680"/>
                <a:gd name="connsiteY2558" fmla="*/ 4809091 h 5704395"/>
                <a:gd name="connsiteX2559" fmla="*/ 187078 w 5719680"/>
                <a:gd name="connsiteY2559" fmla="*/ 4800852 h 5704395"/>
                <a:gd name="connsiteX2560" fmla="*/ 1704660 w 5719680"/>
                <a:gd name="connsiteY2560" fmla="*/ 4798951 h 5704395"/>
                <a:gd name="connsiteX2561" fmla="*/ 1704978 w 5719680"/>
                <a:gd name="connsiteY2561" fmla="*/ 4800852 h 5704395"/>
                <a:gd name="connsiteX2562" fmla="*/ 1725623 w 5719680"/>
                <a:gd name="connsiteY2562" fmla="*/ 4914298 h 5704395"/>
                <a:gd name="connsiteX2563" fmla="*/ 1626209 w 5719680"/>
                <a:gd name="connsiteY2563" fmla="*/ 4942818 h 5704395"/>
                <a:gd name="connsiteX2564" fmla="*/ 1625891 w 5719680"/>
                <a:gd name="connsiteY2564" fmla="*/ 4904791 h 5704395"/>
                <a:gd name="connsiteX2565" fmla="*/ 1589047 w 5719680"/>
                <a:gd name="connsiteY2565" fmla="*/ 4913664 h 5704395"/>
                <a:gd name="connsiteX2566" fmla="*/ 1587142 w 5719680"/>
                <a:gd name="connsiteY2566" fmla="*/ 4843949 h 5704395"/>
                <a:gd name="connsiteX2567" fmla="*/ 1617951 w 5719680"/>
                <a:gd name="connsiteY2567" fmla="*/ 4802753 h 5704395"/>
                <a:gd name="connsiteX2568" fmla="*/ 1704660 w 5719680"/>
                <a:gd name="connsiteY2568" fmla="*/ 4798951 h 5704395"/>
                <a:gd name="connsiteX2569" fmla="*/ 779437 w 5719680"/>
                <a:gd name="connsiteY2569" fmla="*/ 4798317 h 5704395"/>
                <a:gd name="connsiteX2570" fmla="*/ 779437 w 5719680"/>
                <a:gd name="connsiteY2570" fmla="*/ 4801486 h 5704395"/>
                <a:gd name="connsiteX2571" fmla="*/ 795953 w 5719680"/>
                <a:gd name="connsiteY2571" fmla="*/ 4801486 h 5704395"/>
                <a:gd name="connsiteX2572" fmla="*/ 796588 w 5719680"/>
                <a:gd name="connsiteY2572" fmla="*/ 4860427 h 5704395"/>
                <a:gd name="connsiteX2573" fmla="*/ 761650 w 5719680"/>
                <a:gd name="connsiteY2573" fmla="*/ 4860427 h 5704395"/>
                <a:gd name="connsiteX2574" fmla="*/ 761650 w 5719680"/>
                <a:gd name="connsiteY2574" fmla="*/ 4837294 h 5704395"/>
                <a:gd name="connsiteX2575" fmla="*/ 743228 w 5719680"/>
                <a:gd name="connsiteY2575" fmla="*/ 4837611 h 5704395"/>
                <a:gd name="connsiteX2576" fmla="*/ 743228 w 5719680"/>
                <a:gd name="connsiteY2576" fmla="*/ 4835393 h 5704395"/>
                <a:gd name="connsiteX2577" fmla="*/ 742275 w 5719680"/>
                <a:gd name="connsiteY2577" fmla="*/ 4798634 h 5704395"/>
                <a:gd name="connsiteX2578" fmla="*/ 779437 w 5719680"/>
                <a:gd name="connsiteY2578" fmla="*/ 4798317 h 5704395"/>
                <a:gd name="connsiteX2579" fmla="*/ 1402923 w 5719680"/>
                <a:gd name="connsiteY2579" fmla="*/ 4795148 h 5704395"/>
                <a:gd name="connsiteX2580" fmla="*/ 1333046 w 5719680"/>
                <a:gd name="connsiteY2580" fmla="*/ 4836977 h 5704395"/>
                <a:gd name="connsiteX2581" fmla="*/ 1334317 w 5719680"/>
                <a:gd name="connsiteY2581" fmla="*/ 4839195 h 5704395"/>
                <a:gd name="connsiteX2582" fmla="*/ 1370208 w 5719680"/>
                <a:gd name="connsiteY2582" fmla="*/ 4901939 h 5704395"/>
                <a:gd name="connsiteX2583" fmla="*/ 1375290 w 5719680"/>
                <a:gd name="connsiteY2583" fmla="*/ 4911446 h 5704395"/>
                <a:gd name="connsiteX2584" fmla="*/ 1446754 w 5719680"/>
                <a:gd name="connsiteY2584" fmla="*/ 4871201 h 5704395"/>
                <a:gd name="connsiteX2585" fmla="*/ 1402923 w 5719680"/>
                <a:gd name="connsiteY2585" fmla="*/ 4795148 h 5704395"/>
                <a:gd name="connsiteX2586" fmla="*/ 1266982 w 5719680"/>
                <a:gd name="connsiteY2586" fmla="*/ 4794197 h 5704395"/>
                <a:gd name="connsiteX2587" fmla="*/ 1233314 w 5719680"/>
                <a:gd name="connsiteY2587" fmla="*/ 4813527 h 5704395"/>
                <a:gd name="connsiteX2588" fmla="*/ 1245701 w 5719680"/>
                <a:gd name="connsiteY2588" fmla="*/ 4835076 h 5704395"/>
                <a:gd name="connsiteX2589" fmla="*/ 1279369 w 5719680"/>
                <a:gd name="connsiteY2589" fmla="*/ 4815746 h 5704395"/>
                <a:gd name="connsiteX2590" fmla="*/ 1266982 w 5719680"/>
                <a:gd name="connsiteY2590" fmla="*/ 4794197 h 5704395"/>
                <a:gd name="connsiteX2591" fmla="*/ 573620 w 5719680"/>
                <a:gd name="connsiteY2591" fmla="*/ 4793247 h 5704395"/>
                <a:gd name="connsiteX2592" fmla="*/ 566632 w 5719680"/>
                <a:gd name="connsiteY2592" fmla="*/ 4807824 h 5704395"/>
                <a:gd name="connsiteX2593" fmla="*/ 559009 w 5719680"/>
                <a:gd name="connsiteY2593" fmla="*/ 4824302 h 5704395"/>
                <a:gd name="connsiteX2594" fmla="*/ 575843 w 5719680"/>
                <a:gd name="connsiteY2594" fmla="*/ 4836343 h 5704395"/>
                <a:gd name="connsiteX2595" fmla="*/ 595218 w 5719680"/>
                <a:gd name="connsiteY2595" fmla="*/ 4808774 h 5704395"/>
                <a:gd name="connsiteX2596" fmla="*/ 573620 w 5719680"/>
                <a:gd name="connsiteY2596" fmla="*/ 4793247 h 5704395"/>
                <a:gd name="connsiteX2597" fmla="*/ 1268252 w 5719680"/>
                <a:gd name="connsiteY2597" fmla="*/ 4788810 h 5704395"/>
                <a:gd name="connsiteX2598" fmla="*/ 1285086 w 5719680"/>
                <a:gd name="connsiteY2598" fmla="*/ 4817330 h 5704395"/>
                <a:gd name="connsiteX2599" fmla="*/ 1244431 w 5719680"/>
                <a:gd name="connsiteY2599" fmla="*/ 4840780 h 5704395"/>
                <a:gd name="connsiteX2600" fmla="*/ 1243478 w 5719680"/>
                <a:gd name="connsiteY2600" fmla="*/ 4838879 h 5704395"/>
                <a:gd name="connsiteX2601" fmla="*/ 1227597 w 5719680"/>
                <a:gd name="connsiteY2601" fmla="*/ 4812260 h 5704395"/>
                <a:gd name="connsiteX2602" fmla="*/ 1126594 w 5719680"/>
                <a:gd name="connsiteY2602" fmla="*/ 4788810 h 5704395"/>
                <a:gd name="connsiteX2603" fmla="*/ 1092927 w 5719680"/>
                <a:gd name="connsiteY2603" fmla="*/ 4808140 h 5704395"/>
                <a:gd name="connsiteX2604" fmla="*/ 1105314 w 5719680"/>
                <a:gd name="connsiteY2604" fmla="*/ 4829689 h 5704395"/>
                <a:gd name="connsiteX2605" fmla="*/ 1138346 w 5719680"/>
                <a:gd name="connsiteY2605" fmla="*/ 4810675 h 5704395"/>
                <a:gd name="connsiteX2606" fmla="*/ 1133582 w 5719680"/>
                <a:gd name="connsiteY2606" fmla="*/ 4800852 h 5704395"/>
                <a:gd name="connsiteX2607" fmla="*/ 487545 w 5719680"/>
                <a:gd name="connsiteY2607" fmla="*/ 4778987 h 5704395"/>
                <a:gd name="connsiteX2608" fmla="*/ 484687 w 5719680"/>
                <a:gd name="connsiteY2608" fmla="*/ 4785641 h 5704395"/>
                <a:gd name="connsiteX2609" fmla="*/ 484369 w 5719680"/>
                <a:gd name="connsiteY2609" fmla="*/ 4785958 h 5704395"/>
                <a:gd name="connsiteX2610" fmla="*/ 495486 w 5719680"/>
                <a:gd name="connsiteY2610" fmla="*/ 4794197 h 5704395"/>
                <a:gd name="connsiteX2611" fmla="*/ 514225 w 5719680"/>
                <a:gd name="connsiteY2611" fmla="*/ 4808457 h 5704395"/>
                <a:gd name="connsiteX2612" fmla="*/ 518037 w 5719680"/>
                <a:gd name="connsiteY2612" fmla="*/ 4800218 h 5704395"/>
                <a:gd name="connsiteX2613" fmla="*/ 487545 w 5719680"/>
                <a:gd name="connsiteY2613" fmla="*/ 4778987 h 5704395"/>
                <a:gd name="connsiteX2614" fmla="*/ 968420 w 5719680"/>
                <a:gd name="connsiteY2614" fmla="*/ 4775818 h 5704395"/>
                <a:gd name="connsiteX2615" fmla="*/ 921095 w 5719680"/>
                <a:gd name="connsiteY2615" fmla="*/ 4814478 h 5704395"/>
                <a:gd name="connsiteX2616" fmla="*/ 905532 w 5719680"/>
                <a:gd name="connsiteY2616" fmla="*/ 4828104 h 5704395"/>
                <a:gd name="connsiteX2617" fmla="*/ 936976 w 5719680"/>
                <a:gd name="connsiteY2617" fmla="*/ 4868349 h 5704395"/>
                <a:gd name="connsiteX2618" fmla="*/ 961750 w 5719680"/>
                <a:gd name="connsiteY2618" fmla="*/ 4900355 h 5704395"/>
                <a:gd name="connsiteX2619" fmla="*/ 969691 w 5719680"/>
                <a:gd name="connsiteY2619" fmla="*/ 4911446 h 5704395"/>
                <a:gd name="connsiteX2620" fmla="*/ 970326 w 5719680"/>
                <a:gd name="connsiteY2620" fmla="*/ 4912080 h 5704395"/>
                <a:gd name="connsiteX2621" fmla="*/ 1070376 w 5719680"/>
                <a:gd name="connsiteY2621" fmla="*/ 4856307 h 5704395"/>
                <a:gd name="connsiteX2622" fmla="*/ 1045601 w 5719680"/>
                <a:gd name="connsiteY2622" fmla="*/ 4827471 h 5704395"/>
                <a:gd name="connsiteX2623" fmla="*/ 1003676 w 5719680"/>
                <a:gd name="connsiteY2623" fmla="*/ 4799584 h 5704395"/>
                <a:gd name="connsiteX2624" fmla="*/ 974455 w 5719680"/>
                <a:gd name="connsiteY2624" fmla="*/ 4779937 h 5704395"/>
                <a:gd name="connsiteX2625" fmla="*/ 968420 w 5719680"/>
                <a:gd name="connsiteY2625" fmla="*/ 4775818 h 5704395"/>
                <a:gd name="connsiteX2626" fmla="*/ 363039 w 5719680"/>
                <a:gd name="connsiteY2626" fmla="*/ 4774867 h 5704395"/>
                <a:gd name="connsiteX2627" fmla="*/ 362086 w 5719680"/>
                <a:gd name="connsiteY2627" fmla="*/ 4794197 h 5704395"/>
                <a:gd name="connsiteX2628" fmla="*/ 383366 w 5719680"/>
                <a:gd name="connsiteY2628" fmla="*/ 4814795 h 5704395"/>
                <a:gd name="connsiteX2629" fmla="*/ 392577 w 5719680"/>
                <a:gd name="connsiteY2629" fmla="*/ 4804972 h 5704395"/>
                <a:gd name="connsiteX2630" fmla="*/ 363039 w 5719680"/>
                <a:gd name="connsiteY2630" fmla="*/ 4774867 h 5704395"/>
                <a:gd name="connsiteX2631" fmla="*/ 1268887 w 5719680"/>
                <a:gd name="connsiteY2631" fmla="*/ 4769797 h 5704395"/>
                <a:gd name="connsiteX2632" fmla="*/ 1209493 w 5719680"/>
                <a:gd name="connsiteY2632" fmla="*/ 4802753 h 5704395"/>
                <a:gd name="connsiteX2633" fmla="*/ 1302873 w 5719680"/>
                <a:gd name="connsiteY2633" fmla="*/ 4948522 h 5704395"/>
                <a:gd name="connsiteX2634" fmla="*/ 1301602 w 5719680"/>
                <a:gd name="connsiteY2634" fmla="*/ 4949472 h 5704395"/>
                <a:gd name="connsiteX2635" fmla="*/ 1354327 w 5719680"/>
                <a:gd name="connsiteY2635" fmla="*/ 4917150 h 5704395"/>
                <a:gd name="connsiteX2636" fmla="*/ 1354645 w 5719680"/>
                <a:gd name="connsiteY2636" fmla="*/ 4917150 h 5704395"/>
                <a:gd name="connsiteX2637" fmla="*/ 1351786 w 5719680"/>
                <a:gd name="connsiteY2637" fmla="*/ 4912080 h 5704395"/>
                <a:gd name="connsiteX2638" fmla="*/ 1298426 w 5719680"/>
                <a:gd name="connsiteY2638" fmla="*/ 4818915 h 5704395"/>
                <a:gd name="connsiteX2639" fmla="*/ 1268887 w 5719680"/>
                <a:gd name="connsiteY2639" fmla="*/ 4769797 h 5704395"/>
                <a:gd name="connsiteX2640" fmla="*/ 538047 w 5719680"/>
                <a:gd name="connsiteY2640" fmla="*/ 4767579 h 5704395"/>
                <a:gd name="connsiteX2641" fmla="*/ 532965 w 5719680"/>
                <a:gd name="connsiteY2641" fmla="*/ 4778670 h 5704395"/>
                <a:gd name="connsiteX2642" fmla="*/ 523436 w 5719680"/>
                <a:gd name="connsiteY2642" fmla="*/ 4798951 h 5704395"/>
                <a:gd name="connsiteX2643" fmla="*/ 555198 w 5719680"/>
                <a:gd name="connsiteY2643" fmla="*/ 4821767 h 5704395"/>
                <a:gd name="connsiteX2644" fmla="*/ 569808 w 5719680"/>
                <a:gd name="connsiteY2644" fmla="*/ 4790712 h 5704395"/>
                <a:gd name="connsiteX2645" fmla="*/ 538047 w 5719680"/>
                <a:gd name="connsiteY2645" fmla="*/ 4767579 h 5704395"/>
                <a:gd name="connsiteX2646" fmla="*/ 2283997 w 5719680"/>
                <a:gd name="connsiteY2646" fmla="*/ 4766945 h 5704395"/>
                <a:gd name="connsiteX2647" fmla="*/ 2283680 w 5719680"/>
                <a:gd name="connsiteY2647" fmla="*/ 4815429 h 5704395"/>
                <a:gd name="connsiteX2648" fmla="*/ 2388176 w 5719680"/>
                <a:gd name="connsiteY2648" fmla="*/ 4832858 h 5704395"/>
                <a:gd name="connsiteX2649" fmla="*/ 2392623 w 5719680"/>
                <a:gd name="connsiteY2649" fmla="*/ 4804338 h 5704395"/>
                <a:gd name="connsiteX2650" fmla="*/ 2394528 w 5719680"/>
                <a:gd name="connsiteY2650" fmla="*/ 4804655 h 5704395"/>
                <a:gd name="connsiteX2651" fmla="*/ 2419620 w 5719680"/>
                <a:gd name="connsiteY2651" fmla="*/ 4808457 h 5704395"/>
                <a:gd name="connsiteX2652" fmla="*/ 2417397 w 5719680"/>
                <a:gd name="connsiteY2652" fmla="*/ 4823351 h 5704395"/>
                <a:gd name="connsiteX2653" fmla="*/ 2430737 w 5719680"/>
                <a:gd name="connsiteY2653" fmla="*/ 4825252 h 5704395"/>
                <a:gd name="connsiteX2654" fmla="*/ 2428831 w 5719680"/>
                <a:gd name="connsiteY2654" fmla="*/ 4839829 h 5704395"/>
                <a:gd name="connsiteX2655" fmla="*/ 2435501 w 5719680"/>
                <a:gd name="connsiteY2655" fmla="*/ 4841097 h 5704395"/>
                <a:gd name="connsiteX2656" fmla="*/ 2442171 w 5719680"/>
                <a:gd name="connsiteY2656" fmla="*/ 4801169 h 5704395"/>
                <a:gd name="connsiteX2657" fmla="*/ 2364037 w 5719680"/>
                <a:gd name="connsiteY2657" fmla="*/ 4784057 h 5704395"/>
                <a:gd name="connsiteX2658" fmla="*/ 2283997 w 5719680"/>
                <a:gd name="connsiteY2658" fmla="*/ 4766945 h 5704395"/>
                <a:gd name="connsiteX2659" fmla="*/ 359227 w 5719680"/>
                <a:gd name="connsiteY2659" fmla="*/ 4764093 h 5704395"/>
                <a:gd name="connsiteX2660" fmla="*/ 399247 w 5719680"/>
                <a:gd name="connsiteY2660" fmla="*/ 4804972 h 5704395"/>
                <a:gd name="connsiteX2661" fmla="*/ 397659 w 5719680"/>
                <a:gd name="connsiteY2661" fmla="*/ 4806556 h 5704395"/>
                <a:gd name="connsiteX2662" fmla="*/ 383366 w 5719680"/>
                <a:gd name="connsiteY2662" fmla="*/ 4821450 h 5704395"/>
                <a:gd name="connsiteX2663" fmla="*/ 357004 w 5719680"/>
                <a:gd name="connsiteY2663" fmla="*/ 4795782 h 5704395"/>
                <a:gd name="connsiteX2664" fmla="*/ 359227 w 5719680"/>
                <a:gd name="connsiteY2664" fmla="*/ 4764093 h 5704395"/>
                <a:gd name="connsiteX2665" fmla="*/ 1963837 w 5719680"/>
                <a:gd name="connsiteY2665" fmla="*/ 4762192 h 5704395"/>
                <a:gd name="connsiteX2666" fmla="*/ 1963520 w 5719680"/>
                <a:gd name="connsiteY2666" fmla="*/ 4771698 h 5704395"/>
                <a:gd name="connsiteX2667" fmla="*/ 1977177 w 5719680"/>
                <a:gd name="connsiteY2667" fmla="*/ 4771698 h 5704395"/>
                <a:gd name="connsiteX2668" fmla="*/ 1976860 w 5719680"/>
                <a:gd name="connsiteY2668" fmla="*/ 4786592 h 5704395"/>
                <a:gd name="connsiteX2669" fmla="*/ 1995917 w 5719680"/>
                <a:gd name="connsiteY2669" fmla="*/ 4786909 h 5704395"/>
                <a:gd name="connsiteX2670" fmla="*/ 1996552 w 5719680"/>
                <a:gd name="connsiteY2670" fmla="*/ 4763142 h 5704395"/>
                <a:gd name="connsiteX2671" fmla="*/ 1964472 w 5719680"/>
                <a:gd name="connsiteY2671" fmla="*/ 4762192 h 5704395"/>
                <a:gd name="connsiteX2672" fmla="*/ 1963837 w 5719680"/>
                <a:gd name="connsiteY2672" fmla="*/ 4762192 h 5704395"/>
                <a:gd name="connsiteX2673" fmla="*/ 1948909 w 5719680"/>
                <a:gd name="connsiteY2673" fmla="*/ 4761558 h 5704395"/>
                <a:gd name="connsiteX2674" fmla="*/ 1952721 w 5719680"/>
                <a:gd name="connsiteY2674" fmla="*/ 4812577 h 5704395"/>
                <a:gd name="connsiteX2675" fmla="*/ 2081992 w 5719680"/>
                <a:gd name="connsiteY2675" fmla="*/ 4813211 h 5704395"/>
                <a:gd name="connsiteX2676" fmla="*/ 2094061 w 5719680"/>
                <a:gd name="connsiteY2676" fmla="*/ 4813211 h 5704395"/>
                <a:gd name="connsiteX2677" fmla="*/ 2097237 w 5719680"/>
                <a:gd name="connsiteY2677" fmla="*/ 4813211 h 5704395"/>
                <a:gd name="connsiteX2678" fmla="*/ 2095649 w 5719680"/>
                <a:gd name="connsiteY2678" fmla="*/ 4766311 h 5704395"/>
                <a:gd name="connsiteX2679" fmla="*/ 2018785 w 5719680"/>
                <a:gd name="connsiteY2679" fmla="*/ 4763776 h 5704395"/>
                <a:gd name="connsiteX2680" fmla="*/ 2000681 w 5719680"/>
                <a:gd name="connsiteY2680" fmla="*/ 4763459 h 5704395"/>
                <a:gd name="connsiteX2681" fmla="*/ 2000046 w 5719680"/>
                <a:gd name="connsiteY2681" fmla="*/ 4791345 h 5704395"/>
                <a:gd name="connsiteX2682" fmla="*/ 1998140 w 5719680"/>
                <a:gd name="connsiteY2682" fmla="*/ 4791345 h 5704395"/>
                <a:gd name="connsiteX2683" fmla="*/ 1972731 w 5719680"/>
                <a:gd name="connsiteY2683" fmla="*/ 4790712 h 5704395"/>
                <a:gd name="connsiteX2684" fmla="*/ 1973048 w 5719680"/>
                <a:gd name="connsiteY2684" fmla="*/ 4775818 h 5704395"/>
                <a:gd name="connsiteX2685" fmla="*/ 1959391 w 5719680"/>
                <a:gd name="connsiteY2685" fmla="*/ 4775501 h 5704395"/>
                <a:gd name="connsiteX2686" fmla="*/ 1959391 w 5719680"/>
                <a:gd name="connsiteY2686" fmla="*/ 4761875 h 5704395"/>
                <a:gd name="connsiteX2687" fmla="*/ 1948909 w 5719680"/>
                <a:gd name="connsiteY2687" fmla="*/ 4761558 h 5704395"/>
                <a:gd name="connsiteX2688" fmla="*/ 1156768 w 5719680"/>
                <a:gd name="connsiteY2688" fmla="*/ 4753636 h 5704395"/>
                <a:gd name="connsiteX2689" fmla="*/ 1124053 w 5719680"/>
                <a:gd name="connsiteY2689" fmla="*/ 4772332 h 5704395"/>
                <a:gd name="connsiteX2690" fmla="*/ 1132629 w 5719680"/>
                <a:gd name="connsiteY2690" fmla="*/ 4789127 h 5704395"/>
                <a:gd name="connsiteX2691" fmla="*/ 1135805 w 5719680"/>
                <a:gd name="connsiteY2691" fmla="*/ 4794514 h 5704395"/>
                <a:gd name="connsiteX2692" fmla="*/ 1169155 w 5719680"/>
                <a:gd name="connsiteY2692" fmla="*/ 4775184 h 5704395"/>
                <a:gd name="connsiteX2693" fmla="*/ 1156768 w 5719680"/>
                <a:gd name="connsiteY2693" fmla="*/ 4753636 h 5704395"/>
                <a:gd name="connsiteX2694" fmla="*/ 2404374 w 5719680"/>
                <a:gd name="connsiteY2694" fmla="*/ 4750467 h 5704395"/>
                <a:gd name="connsiteX2695" fmla="*/ 2399928 w 5719680"/>
                <a:gd name="connsiteY2695" fmla="*/ 4780571 h 5704395"/>
                <a:gd name="connsiteX2696" fmla="*/ 2418668 w 5719680"/>
                <a:gd name="connsiteY2696" fmla="*/ 4783423 h 5704395"/>
                <a:gd name="connsiteX2697" fmla="*/ 2420891 w 5719680"/>
                <a:gd name="connsiteY2697" fmla="*/ 4768846 h 5704395"/>
                <a:gd name="connsiteX2698" fmla="*/ 2434548 w 5719680"/>
                <a:gd name="connsiteY2698" fmla="*/ 4770748 h 5704395"/>
                <a:gd name="connsiteX2699" fmla="*/ 2436772 w 5719680"/>
                <a:gd name="connsiteY2699" fmla="*/ 4756805 h 5704395"/>
                <a:gd name="connsiteX2700" fmla="*/ 504061 w 5719680"/>
                <a:gd name="connsiteY2700" fmla="*/ 4743178 h 5704395"/>
                <a:gd name="connsiteX2701" fmla="*/ 500250 w 5719680"/>
                <a:gd name="connsiteY2701" fmla="*/ 4751417 h 5704395"/>
                <a:gd name="connsiteX2702" fmla="*/ 489451 w 5719680"/>
                <a:gd name="connsiteY2702" fmla="*/ 4774867 h 5704395"/>
                <a:gd name="connsiteX2703" fmla="*/ 519625 w 5719680"/>
                <a:gd name="connsiteY2703" fmla="*/ 4796416 h 5704395"/>
                <a:gd name="connsiteX2704" fmla="*/ 534235 w 5719680"/>
                <a:gd name="connsiteY2704" fmla="*/ 4765044 h 5704395"/>
                <a:gd name="connsiteX2705" fmla="*/ 504061 w 5719680"/>
                <a:gd name="connsiteY2705" fmla="*/ 4743178 h 5704395"/>
                <a:gd name="connsiteX2706" fmla="*/ 1353692 w 5719680"/>
                <a:gd name="connsiteY2706" fmla="*/ 4738425 h 5704395"/>
                <a:gd name="connsiteX2707" fmla="*/ 1305096 w 5719680"/>
                <a:gd name="connsiteY2707" fmla="*/ 4762825 h 5704395"/>
                <a:gd name="connsiteX2708" fmla="*/ 1322247 w 5719680"/>
                <a:gd name="connsiteY2708" fmla="*/ 4788493 h 5704395"/>
                <a:gd name="connsiteX2709" fmla="*/ 1349245 w 5719680"/>
                <a:gd name="connsiteY2709" fmla="*/ 4775818 h 5704395"/>
                <a:gd name="connsiteX2710" fmla="*/ 1363220 w 5719680"/>
                <a:gd name="connsiteY2710" fmla="*/ 4798317 h 5704395"/>
                <a:gd name="connsiteX2711" fmla="*/ 1381007 w 5719680"/>
                <a:gd name="connsiteY2711" fmla="*/ 4786909 h 5704395"/>
                <a:gd name="connsiteX2712" fmla="*/ 1353692 w 5719680"/>
                <a:gd name="connsiteY2712" fmla="*/ 4738425 h 5704395"/>
                <a:gd name="connsiteX2713" fmla="*/ 1869187 w 5719680"/>
                <a:gd name="connsiteY2713" fmla="*/ 4733672 h 5704395"/>
                <a:gd name="connsiteX2714" fmla="*/ 1869505 w 5719680"/>
                <a:gd name="connsiteY2714" fmla="*/ 4773283 h 5704395"/>
                <a:gd name="connsiteX2715" fmla="*/ 1883798 w 5719680"/>
                <a:gd name="connsiteY2715" fmla="*/ 4773283 h 5704395"/>
                <a:gd name="connsiteX2716" fmla="*/ 1883480 w 5719680"/>
                <a:gd name="connsiteY2716" fmla="*/ 4733672 h 5704395"/>
                <a:gd name="connsiteX2717" fmla="*/ 1355280 w 5719680"/>
                <a:gd name="connsiteY2717" fmla="*/ 4732087 h 5704395"/>
                <a:gd name="connsiteX2718" fmla="*/ 1387359 w 5719680"/>
                <a:gd name="connsiteY2718" fmla="*/ 4788493 h 5704395"/>
                <a:gd name="connsiteX2719" fmla="*/ 1385454 w 5719680"/>
                <a:gd name="connsiteY2719" fmla="*/ 4789761 h 5704395"/>
                <a:gd name="connsiteX2720" fmla="*/ 1361632 w 5719680"/>
                <a:gd name="connsiteY2720" fmla="*/ 4804655 h 5704395"/>
                <a:gd name="connsiteX2721" fmla="*/ 1347339 w 5719680"/>
                <a:gd name="connsiteY2721" fmla="*/ 4781839 h 5704395"/>
                <a:gd name="connsiteX2722" fmla="*/ 1320659 w 5719680"/>
                <a:gd name="connsiteY2722" fmla="*/ 4794514 h 5704395"/>
                <a:gd name="connsiteX2723" fmla="*/ 1298426 w 5719680"/>
                <a:gd name="connsiteY2723" fmla="*/ 4760924 h 5704395"/>
                <a:gd name="connsiteX2724" fmla="*/ 191842 w 5719680"/>
                <a:gd name="connsiteY2724" fmla="*/ 4730820 h 5704395"/>
                <a:gd name="connsiteX2725" fmla="*/ 185172 w 5719680"/>
                <a:gd name="connsiteY2725" fmla="*/ 4741594 h 5704395"/>
                <a:gd name="connsiteX2726" fmla="*/ 118154 w 5719680"/>
                <a:gd name="connsiteY2726" fmla="*/ 4830006 h 5704395"/>
                <a:gd name="connsiteX2727" fmla="*/ 118154 w 5719680"/>
                <a:gd name="connsiteY2727" fmla="*/ 4831907 h 5704395"/>
                <a:gd name="connsiteX2728" fmla="*/ 128001 w 5719680"/>
                <a:gd name="connsiteY2728" fmla="*/ 4855990 h 5704395"/>
                <a:gd name="connsiteX2729" fmla="*/ 274423 w 5719680"/>
                <a:gd name="connsiteY2729" fmla="*/ 4889264 h 5704395"/>
                <a:gd name="connsiteX2730" fmla="*/ 332865 w 5719680"/>
                <a:gd name="connsiteY2730" fmla="*/ 4923488 h 5704395"/>
                <a:gd name="connsiteX2731" fmla="*/ 370026 w 5719680"/>
                <a:gd name="connsiteY2731" fmla="*/ 4965634 h 5704395"/>
                <a:gd name="connsiteX2732" fmla="*/ 375426 w 5719680"/>
                <a:gd name="connsiteY2732" fmla="*/ 4970070 h 5704395"/>
                <a:gd name="connsiteX2733" fmla="*/ 400518 w 5719680"/>
                <a:gd name="connsiteY2733" fmla="*/ 4991935 h 5704395"/>
                <a:gd name="connsiteX2734" fmla="*/ 403059 w 5719680"/>
                <a:gd name="connsiteY2734" fmla="*/ 4992569 h 5704395"/>
                <a:gd name="connsiteX2735" fmla="*/ 414493 w 5719680"/>
                <a:gd name="connsiteY2735" fmla="*/ 5004611 h 5704395"/>
                <a:gd name="connsiteX2736" fmla="*/ 416081 w 5719680"/>
                <a:gd name="connsiteY2736" fmla="*/ 5006195 h 5704395"/>
                <a:gd name="connsiteX2737" fmla="*/ 436409 w 5719680"/>
                <a:gd name="connsiteY2737" fmla="*/ 4981478 h 5704395"/>
                <a:gd name="connsiteX2738" fmla="*/ 293162 w 5719680"/>
                <a:gd name="connsiteY2738" fmla="*/ 4855040 h 5704395"/>
                <a:gd name="connsiteX2739" fmla="*/ 287445 w 5719680"/>
                <a:gd name="connsiteY2739" fmla="*/ 4876588 h 5704395"/>
                <a:gd name="connsiteX2740" fmla="*/ 219792 w 5719680"/>
                <a:gd name="connsiteY2740" fmla="*/ 4849653 h 5704395"/>
                <a:gd name="connsiteX2741" fmla="*/ 241391 w 5719680"/>
                <a:gd name="connsiteY2741" fmla="*/ 4764093 h 5704395"/>
                <a:gd name="connsiteX2742" fmla="*/ 191842 w 5719680"/>
                <a:gd name="connsiteY2742" fmla="*/ 4730820 h 5704395"/>
                <a:gd name="connsiteX2743" fmla="*/ 485957 w 5719680"/>
                <a:gd name="connsiteY2743" fmla="*/ 4730186 h 5704395"/>
                <a:gd name="connsiteX2744" fmla="*/ 465312 w 5719680"/>
                <a:gd name="connsiteY2744" fmla="*/ 4758072 h 5704395"/>
                <a:gd name="connsiteX2745" fmla="*/ 485639 w 5719680"/>
                <a:gd name="connsiteY2745" fmla="*/ 4772332 h 5704395"/>
                <a:gd name="connsiteX2746" fmla="*/ 500250 w 5719680"/>
                <a:gd name="connsiteY2746" fmla="*/ 4740643 h 5704395"/>
                <a:gd name="connsiteX2747" fmla="*/ 485957 w 5719680"/>
                <a:gd name="connsiteY2747" fmla="*/ 4730186 h 5704395"/>
                <a:gd name="connsiteX2748" fmla="*/ 1030673 w 5719680"/>
                <a:gd name="connsiteY2748" fmla="*/ 4729235 h 5704395"/>
                <a:gd name="connsiteX2749" fmla="*/ 997959 w 5719680"/>
                <a:gd name="connsiteY2749" fmla="*/ 4752051 h 5704395"/>
                <a:gd name="connsiteX2750" fmla="*/ 972231 w 5719680"/>
                <a:gd name="connsiteY2750" fmla="*/ 4772966 h 5704395"/>
                <a:gd name="connsiteX2751" fmla="*/ 1009075 w 5719680"/>
                <a:gd name="connsiteY2751" fmla="*/ 4798000 h 5704395"/>
                <a:gd name="connsiteX2752" fmla="*/ 1048460 w 5719680"/>
                <a:gd name="connsiteY2752" fmla="*/ 4823985 h 5704395"/>
                <a:gd name="connsiteX2753" fmla="*/ 1048778 w 5719680"/>
                <a:gd name="connsiteY2753" fmla="*/ 4823985 h 5704395"/>
                <a:gd name="connsiteX2754" fmla="*/ 1074187 w 5719680"/>
                <a:gd name="connsiteY2754" fmla="*/ 4854406 h 5704395"/>
                <a:gd name="connsiteX2755" fmla="*/ 1141522 w 5719680"/>
                <a:gd name="connsiteY2755" fmla="*/ 4816696 h 5704395"/>
                <a:gd name="connsiteX2756" fmla="*/ 1140252 w 5719680"/>
                <a:gd name="connsiteY2756" fmla="*/ 4814478 h 5704395"/>
                <a:gd name="connsiteX2757" fmla="*/ 1104043 w 5719680"/>
                <a:gd name="connsiteY2757" fmla="*/ 4835393 h 5704395"/>
                <a:gd name="connsiteX2758" fmla="*/ 1102773 w 5719680"/>
                <a:gd name="connsiteY2758" fmla="*/ 4833491 h 5704395"/>
                <a:gd name="connsiteX2759" fmla="*/ 1087209 w 5719680"/>
                <a:gd name="connsiteY2759" fmla="*/ 4806873 h 5704395"/>
                <a:gd name="connsiteX2760" fmla="*/ 1125324 w 5719680"/>
                <a:gd name="connsiteY2760" fmla="*/ 4784691 h 5704395"/>
                <a:gd name="connsiteX2761" fmla="*/ 1117701 w 5719680"/>
                <a:gd name="connsiteY2761" fmla="*/ 4771381 h 5704395"/>
                <a:gd name="connsiteX2762" fmla="*/ 1118654 w 5719680"/>
                <a:gd name="connsiteY2762" fmla="*/ 4771065 h 5704395"/>
                <a:gd name="connsiteX2763" fmla="*/ 1115795 w 5719680"/>
                <a:gd name="connsiteY2763" fmla="*/ 4765677 h 5704395"/>
                <a:gd name="connsiteX2764" fmla="*/ 1978130 w 5719680"/>
                <a:gd name="connsiteY2764" fmla="*/ 4728285 h 5704395"/>
                <a:gd name="connsiteX2765" fmla="*/ 1977812 w 5719680"/>
                <a:gd name="connsiteY2765" fmla="*/ 4743178 h 5704395"/>
                <a:gd name="connsiteX2766" fmla="*/ 1964155 w 5719680"/>
                <a:gd name="connsiteY2766" fmla="*/ 4742861 h 5704395"/>
                <a:gd name="connsiteX2767" fmla="*/ 1963837 w 5719680"/>
                <a:gd name="connsiteY2767" fmla="*/ 4757755 h 5704395"/>
                <a:gd name="connsiteX2768" fmla="*/ 1996552 w 5719680"/>
                <a:gd name="connsiteY2768" fmla="*/ 4758706 h 5704395"/>
                <a:gd name="connsiteX2769" fmla="*/ 1997187 w 5719680"/>
                <a:gd name="connsiteY2769" fmla="*/ 4728602 h 5704395"/>
                <a:gd name="connsiteX2770" fmla="*/ 1978130 w 5719680"/>
                <a:gd name="connsiteY2770" fmla="*/ 4728285 h 5704395"/>
                <a:gd name="connsiteX2771" fmla="*/ 2284315 w 5719680"/>
                <a:gd name="connsiteY2771" fmla="*/ 4727017 h 5704395"/>
                <a:gd name="connsiteX2772" fmla="*/ 2283997 w 5719680"/>
                <a:gd name="connsiteY2772" fmla="*/ 4762509 h 5704395"/>
                <a:gd name="connsiteX2773" fmla="*/ 2364990 w 5719680"/>
                <a:gd name="connsiteY2773" fmla="*/ 4779620 h 5704395"/>
                <a:gd name="connsiteX2774" fmla="*/ 2442806 w 5719680"/>
                <a:gd name="connsiteY2774" fmla="*/ 4796732 h 5704395"/>
                <a:gd name="connsiteX2775" fmla="*/ 2448841 w 5719680"/>
                <a:gd name="connsiteY2775" fmla="*/ 4759023 h 5704395"/>
                <a:gd name="connsiteX2776" fmla="*/ 2440901 w 5719680"/>
                <a:gd name="connsiteY2776" fmla="*/ 4757438 h 5704395"/>
                <a:gd name="connsiteX2777" fmla="*/ 2438042 w 5719680"/>
                <a:gd name="connsiteY2777" fmla="*/ 4775501 h 5704395"/>
                <a:gd name="connsiteX2778" fmla="*/ 2424384 w 5719680"/>
                <a:gd name="connsiteY2778" fmla="*/ 4773283 h 5704395"/>
                <a:gd name="connsiteX2779" fmla="*/ 2422161 w 5719680"/>
                <a:gd name="connsiteY2779" fmla="*/ 4788176 h 5704395"/>
                <a:gd name="connsiteX2780" fmla="*/ 2395164 w 5719680"/>
                <a:gd name="connsiteY2780" fmla="*/ 4784057 h 5704395"/>
                <a:gd name="connsiteX2781" fmla="*/ 2400563 w 5719680"/>
                <a:gd name="connsiteY2781" fmla="*/ 4749516 h 5704395"/>
                <a:gd name="connsiteX2782" fmla="*/ 2284315 w 5719680"/>
                <a:gd name="connsiteY2782" fmla="*/ 4727017 h 5704395"/>
                <a:gd name="connsiteX2783" fmla="*/ 2432008 w 5719680"/>
                <a:gd name="connsiteY2783" fmla="*/ 4723848 h 5704395"/>
                <a:gd name="connsiteX2784" fmla="*/ 2430102 w 5719680"/>
                <a:gd name="connsiteY2784" fmla="*/ 4736841 h 5704395"/>
                <a:gd name="connsiteX2785" fmla="*/ 2443759 w 5719680"/>
                <a:gd name="connsiteY2785" fmla="*/ 4738742 h 5704395"/>
                <a:gd name="connsiteX2786" fmla="*/ 2441536 w 5719680"/>
                <a:gd name="connsiteY2786" fmla="*/ 4753002 h 5704395"/>
                <a:gd name="connsiteX2787" fmla="*/ 2449794 w 5719680"/>
                <a:gd name="connsiteY2787" fmla="*/ 4754586 h 5704395"/>
                <a:gd name="connsiteX2788" fmla="*/ 2453923 w 5719680"/>
                <a:gd name="connsiteY2788" fmla="*/ 4728602 h 5704395"/>
                <a:gd name="connsiteX2789" fmla="*/ 2432008 w 5719680"/>
                <a:gd name="connsiteY2789" fmla="*/ 4723848 h 5704395"/>
                <a:gd name="connsiteX2790" fmla="*/ 2408821 w 5719680"/>
                <a:gd name="connsiteY2790" fmla="*/ 4722898 h 5704395"/>
                <a:gd name="connsiteX2791" fmla="*/ 2405328 w 5719680"/>
                <a:gd name="connsiteY2791" fmla="*/ 4746030 h 5704395"/>
                <a:gd name="connsiteX2792" fmla="*/ 2437407 w 5719680"/>
                <a:gd name="connsiteY2792" fmla="*/ 4752368 h 5704395"/>
                <a:gd name="connsiteX2793" fmla="*/ 2438995 w 5719680"/>
                <a:gd name="connsiteY2793" fmla="*/ 4742545 h 5704395"/>
                <a:gd name="connsiteX2794" fmla="*/ 2425338 w 5719680"/>
                <a:gd name="connsiteY2794" fmla="*/ 4740326 h 5704395"/>
                <a:gd name="connsiteX2795" fmla="*/ 2427561 w 5719680"/>
                <a:gd name="connsiteY2795" fmla="*/ 4725750 h 5704395"/>
                <a:gd name="connsiteX2796" fmla="*/ 2408821 w 5719680"/>
                <a:gd name="connsiteY2796" fmla="*/ 4722898 h 5704395"/>
                <a:gd name="connsiteX2797" fmla="*/ 336676 w 5719680"/>
                <a:gd name="connsiteY2797" fmla="*/ 4721313 h 5704395"/>
                <a:gd name="connsiteX2798" fmla="*/ 321113 w 5719680"/>
                <a:gd name="connsiteY2798" fmla="*/ 4739376 h 5704395"/>
                <a:gd name="connsiteX2799" fmla="*/ 340805 w 5719680"/>
                <a:gd name="connsiteY2799" fmla="*/ 4781205 h 5704395"/>
                <a:gd name="connsiteX2800" fmla="*/ 332230 w 5719680"/>
                <a:gd name="connsiteY2800" fmla="*/ 4816379 h 5704395"/>
                <a:gd name="connsiteX2801" fmla="*/ 365897 w 5719680"/>
                <a:gd name="connsiteY2801" fmla="*/ 4842681 h 5704395"/>
                <a:gd name="connsiteX2802" fmla="*/ 348428 w 5719680"/>
                <a:gd name="connsiteY2802" fmla="*/ 4876271 h 5704395"/>
                <a:gd name="connsiteX2803" fmla="*/ 378602 w 5719680"/>
                <a:gd name="connsiteY2803" fmla="*/ 4902256 h 5704395"/>
                <a:gd name="connsiteX2804" fmla="*/ 450701 w 5719680"/>
                <a:gd name="connsiteY2804" fmla="*/ 4808457 h 5704395"/>
                <a:gd name="connsiteX2805" fmla="*/ 336676 w 5719680"/>
                <a:gd name="connsiteY2805" fmla="*/ 4721313 h 5704395"/>
                <a:gd name="connsiteX2806" fmla="*/ 1359091 w 5719680"/>
                <a:gd name="connsiteY2806" fmla="*/ 4718778 h 5704395"/>
                <a:gd name="connsiteX2807" fmla="*/ 1294615 w 5719680"/>
                <a:gd name="connsiteY2807" fmla="*/ 4755220 h 5704395"/>
                <a:gd name="connsiteX2808" fmla="*/ 1286992 w 5719680"/>
                <a:gd name="connsiteY2808" fmla="*/ 4759657 h 5704395"/>
                <a:gd name="connsiteX2809" fmla="*/ 1330823 w 5719680"/>
                <a:gd name="connsiteY2809" fmla="*/ 4833175 h 5704395"/>
                <a:gd name="connsiteX2810" fmla="*/ 1400699 w 5719680"/>
                <a:gd name="connsiteY2810" fmla="*/ 4791345 h 5704395"/>
                <a:gd name="connsiteX2811" fmla="*/ 1359091 w 5719680"/>
                <a:gd name="connsiteY2811" fmla="*/ 4718778 h 5704395"/>
                <a:gd name="connsiteX2812" fmla="*/ 758474 w 5719680"/>
                <a:gd name="connsiteY2812" fmla="*/ 4716560 h 5704395"/>
                <a:gd name="connsiteX2813" fmla="*/ 653977 w 5719680"/>
                <a:gd name="connsiteY2813" fmla="*/ 4912713 h 5704395"/>
                <a:gd name="connsiteX2814" fmla="*/ 680975 w 5719680"/>
                <a:gd name="connsiteY2814" fmla="*/ 4932994 h 5704395"/>
                <a:gd name="connsiteX2815" fmla="*/ 727983 w 5719680"/>
                <a:gd name="connsiteY2815" fmla="*/ 4921586 h 5704395"/>
                <a:gd name="connsiteX2816" fmla="*/ 785154 w 5719680"/>
                <a:gd name="connsiteY2816" fmla="*/ 4901622 h 5704395"/>
                <a:gd name="connsiteX2817" fmla="*/ 804846 w 5719680"/>
                <a:gd name="connsiteY2817" fmla="*/ 4891799 h 5704395"/>
                <a:gd name="connsiteX2818" fmla="*/ 811199 w 5719680"/>
                <a:gd name="connsiteY2818" fmla="*/ 4888313 h 5704395"/>
                <a:gd name="connsiteX2819" fmla="*/ 838196 w 5719680"/>
                <a:gd name="connsiteY2819" fmla="*/ 4862328 h 5704395"/>
                <a:gd name="connsiteX2820" fmla="*/ 821680 w 5719680"/>
                <a:gd name="connsiteY2820" fmla="*/ 4781205 h 5704395"/>
                <a:gd name="connsiteX2821" fmla="*/ 758474 w 5719680"/>
                <a:gd name="connsiteY2821" fmla="*/ 4716560 h 5704395"/>
                <a:gd name="connsiteX2822" fmla="*/ 336359 w 5719680"/>
                <a:gd name="connsiteY2822" fmla="*/ 4714975 h 5704395"/>
                <a:gd name="connsiteX2823" fmla="*/ 457371 w 5719680"/>
                <a:gd name="connsiteY2823" fmla="*/ 4807507 h 5704395"/>
                <a:gd name="connsiteX2824" fmla="*/ 455783 w 5719680"/>
                <a:gd name="connsiteY2824" fmla="*/ 4809408 h 5704395"/>
                <a:gd name="connsiteX2825" fmla="*/ 379237 w 5719680"/>
                <a:gd name="connsiteY2825" fmla="*/ 4909228 h 5704395"/>
                <a:gd name="connsiteX2826" fmla="*/ 342393 w 5719680"/>
                <a:gd name="connsiteY2826" fmla="*/ 4877222 h 5704395"/>
                <a:gd name="connsiteX2827" fmla="*/ 359862 w 5719680"/>
                <a:gd name="connsiteY2827" fmla="*/ 4843949 h 5704395"/>
                <a:gd name="connsiteX2828" fmla="*/ 326830 w 5719680"/>
                <a:gd name="connsiteY2828" fmla="*/ 4817964 h 5704395"/>
                <a:gd name="connsiteX2829" fmla="*/ 336041 w 5719680"/>
                <a:gd name="connsiteY2829" fmla="*/ 4781839 h 5704395"/>
                <a:gd name="connsiteX2830" fmla="*/ 315396 w 5719680"/>
                <a:gd name="connsiteY2830" fmla="*/ 4738425 h 5704395"/>
                <a:gd name="connsiteX2831" fmla="*/ 336359 w 5719680"/>
                <a:gd name="connsiteY2831" fmla="*/ 4714975 h 5704395"/>
                <a:gd name="connsiteX2832" fmla="*/ 612687 w 5719680"/>
                <a:gd name="connsiteY2832" fmla="*/ 4711173 h 5704395"/>
                <a:gd name="connsiteX2833" fmla="*/ 603794 w 5719680"/>
                <a:gd name="connsiteY2833" fmla="*/ 4729552 h 5704395"/>
                <a:gd name="connsiteX2834" fmla="*/ 575208 w 5719680"/>
                <a:gd name="connsiteY2834" fmla="*/ 4789444 h 5704395"/>
                <a:gd name="connsiteX2835" fmla="*/ 600935 w 5719680"/>
                <a:gd name="connsiteY2835" fmla="*/ 4807824 h 5704395"/>
                <a:gd name="connsiteX2836" fmla="*/ 599665 w 5719680"/>
                <a:gd name="connsiteY2836" fmla="*/ 4809408 h 5704395"/>
                <a:gd name="connsiteX2837" fmla="*/ 576796 w 5719680"/>
                <a:gd name="connsiteY2837" fmla="*/ 4842047 h 5704395"/>
                <a:gd name="connsiteX2838" fmla="*/ 557104 w 5719680"/>
                <a:gd name="connsiteY2838" fmla="*/ 4828104 h 5704395"/>
                <a:gd name="connsiteX2839" fmla="*/ 554563 w 5719680"/>
                <a:gd name="connsiteY2839" fmla="*/ 4834125 h 5704395"/>
                <a:gd name="connsiteX2840" fmla="*/ 552975 w 5719680"/>
                <a:gd name="connsiteY2840" fmla="*/ 4837294 h 5704395"/>
                <a:gd name="connsiteX2841" fmla="*/ 580607 w 5719680"/>
                <a:gd name="connsiteY2841" fmla="*/ 4858209 h 5704395"/>
                <a:gd name="connsiteX2842" fmla="*/ 646355 w 5719680"/>
                <a:gd name="connsiteY2842" fmla="*/ 4719729 h 5704395"/>
                <a:gd name="connsiteX2843" fmla="*/ 612687 w 5719680"/>
                <a:gd name="connsiteY2843" fmla="*/ 4711173 h 5704395"/>
                <a:gd name="connsiteX2844" fmla="*/ 1944780 w 5719680"/>
                <a:gd name="connsiteY2844" fmla="*/ 4709271 h 5704395"/>
                <a:gd name="connsiteX2845" fmla="*/ 1948592 w 5719680"/>
                <a:gd name="connsiteY2845" fmla="*/ 4757121 h 5704395"/>
                <a:gd name="connsiteX2846" fmla="*/ 1959708 w 5719680"/>
                <a:gd name="connsiteY2846" fmla="*/ 4757438 h 5704395"/>
                <a:gd name="connsiteX2847" fmla="*/ 1960026 w 5719680"/>
                <a:gd name="connsiteY2847" fmla="*/ 4738742 h 5704395"/>
                <a:gd name="connsiteX2848" fmla="*/ 1973684 w 5719680"/>
                <a:gd name="connsiteY2848" fmla="*/ 4738742 h 5704395"/>
                <a:gd name="connsiteX2849" fmla="*/ 1974001 w 5719680"/>
                <a:gd name="connsiteY2849" fmla="*/ 4723848 h 5704395"/>
                <a:gd name="connsiteX2850" fmla="*/ 2001316 w 5719680"/>
                <a:gd name="connsiteY2850" fmla="*/ 4724482 h 5704395"/>
                <a:gd name="connsiteX2851" fmla="*/ 2000681 w 5719680"/>
                <a:gd name="connsiteY2851" fmla="*/ 4759023 h 5704395"/>
                <a:gd name="connsiteX2852" fmla="*/ 2020373 w 5719680"/>
                <a:gd name="connsiteY2852" fmla="*/ 4759657 h 5704395"/>
                <a:gd name="connsiteX2853" fmla="*/ 2095332 w 5719680"/>
                <a:gd name="connsiteY2853" fmla="*/ 4761875 h 5704395"/>
                <a:gd name="connsiteX2854" fmla="*/ 2093743 w 5719680"/>
                <a:gd name="connsiteY2854" fmla="*/ 4717510 h 5704395"/>
                <a:gd name="connsiteX2855" fmla="*/ 1944780 w 5719680"/>
                <a:gd name="connsiteY2855" fmla="*/ 4709271 h 5704395"/>
                <a:gd name="connsiteX2856" fmla="*/ 1481374 w 5719680"/>
                <a:gd name="connsiteY2856" fmla="*/ 4706102 h 5704395"/>
                <a:gd name="connsiteX2857" fmla="*/ 1434049 w 5719680"/>
                <a:gd name="connsiteY2857" fmla="*/ 4730503 h 5704395"/>
                <a:gd name="connsiteX2858" fmla="*/ 1473434 w 5719680"/>
                <a:gd name="connsiteY2858" fmla="*/ 4795782 h 5704395"/>
                <a:gd name="connsiteX2859" fmla="*/ 1521077 w 5719680"/>
                <a:gd name="connsiteY2859" fmla="*/ 4770748 h 5704395"/>
                <a:gd name="connsiteX2860" fmla="*/ 1481374 w 5719680"/>
                <a:gd name="connsiteY2860" fmla="*/ 4706102 h 5704395"/>
                <a:gd name="connsiteX2861" fmla="*/ 1179319 w 5719680"/>
                <a:gd name="connsiteY2861" fmla="*/ 4704518 h 5704395"/>
                <a:gd name="connsiteX2862" fmla="*/ 1081492 w 5719680"/>
                <a:gd name="connsiteY2862" fmla="*/ 4712123 h 5704395"/>
                <a:gd name="connsiteX2863" fmla="*/ 1080539 w 5719680"/>
                <a:gd name="connsiteY2863" fmla="*/ 4712440 h 5704395"/>
                <a:gd name="connsiteX2864" fmla="*/ 1079587 w 5719680"/>
                <a:gd name="connsiteY2864" fmla="*/ 4712440 h 5704395"/>
                <a:gd name="connsiteX2865" fmla="*/ 1078316 w 5719680"/>
                <a:gd name="connsiteY2865" fmla="*/ 4712440 h 5704395"/>
                <a:gd name="connsiteX2866" fmla="*/ 1035755 w 5719680"/>
                <a:gd name="connsiteY2866" fmla="*/ 4726383 h 5704395"/>
                <a:gd name="connsiteX2867" fmla="*/ 1118971 w 5719680"/>
                <a:gd name="connsiteY2867" fmla="*/ 4762192 h 5704395"/>
                <a:gd name="connsiteX2868" fmla="*/ 1122465 w 5719680"/>
                <a:gd name="connsiteY2868" fmla="*/ 4768846 h 5704395"/>
                <a:gd name="connsiteX2869" fmla="*/ 1158356 w 5719680"/>
                <a:gd name="connsiteY2869" fmla="*/ 4747932 h 5704395"/>
                <a:gd name="connsiteX2870" fmla="*/ 1174872 w 5719680"/>
                <a:gd name="connsiteY2870" fmla="*/ 4776768 h 5704395"/>
                <a:gd name="connsiteX2871" fmla="*/ 1137076 w 5719680"/>
                <a:gd name="connsiteY2871" fmla="*/ 4798317 h 5704395"/>
                <a:gd name="connsiteX2872" fmla="*/ 1139934 w 5719680"/>
                <a:gd name="connsiteY2872" fmla="*/ 4803704 h 5704395"/>
                <a:gd name="connsiteX2873" fmla="*/ 1144698 w 5719680"/>
                <a:gd name="connsiteY2873" fmla="*/ 4811943 h 5704395"/>
                <a:gd name="connsiteX2874" fmla="*/ 1144063 w 5719680"/>
                <a:gd name="connsiteY2874" fmla="*/ 4812260 h 5704395"/>
                <a:gd name="connsiteX2875" fmla="*/ 1145334 w 5719680"/>
                <a:gd name="connsiteY2875" fmla="*/ 4814795 h 5704395"/>
                <a:gd name="connsiteX2876" fmla="*/ 1256818 w 5719680"/>
                <a:gd name="connsiteY2876" fmla="*/ 4752685 h 5704395"/>
                <a:gd name="connsiteX2877" fmla="*/ 1237443 w 5719680"/>
                <a:gd name="connsiteY2877" fmla="*/ 4705786 h 5704395"/>
                <a:gd name="connsiteX2878" fmla="*/ 1179319 w 5719680"/>
                <a:gd name="connsiteY2878" fmla="*/ 4704518 h 5704395"/>
                <a:gd name="connsiteX2879" fmla="*/ 1728482 w 5719680"/>
                <a:gd name="connsiteY2879" fmla="*/ 4700399 h 5704395"/>
                <a:gd name="connsiteX2880" fmla="*/ 1605246 w 5719680"/>
                <a:gd name="connsiteY2880" fmla="*/ 4788493 h 5704395"/>
                <a:gd name="connsiteX2881" fmla="*/ 1530605 w 5719680"/>
                <a:gd name="connsiteY2881" fmla="*/ 4830006 h 5704395"/>
                <a:gd name="connsiteX2882" fmla="*/ 1536640 w 5719680"/>
                <a:gd name="connsiteY2882" fmla="*/ 4854089 h 5704395"/>
                <a:gd name="connsiteX2883" fmla="*/ 1541087 w 5719680"/>
                <a:gd name="connsiteY2883" fmla="*/ 4870884 h 5704395"/>
                <a:gd name="connsiteX2884" fmla="*/ 1542992 w 5719680"/>
                <a:gd name="connsiteY2884" fmla="*/ 4875954 h 5704395"/>
                <a:gd name="connsiteX2885" fmla="*/ 1543310 w 5719680"/>
                <a:gd name="connsiteY2885" fmla="*/ 4877222 h 5704395"/>
                <a:gd name="connsiteX2886" fmla="*/ 1544263 w 5719680"/>
                <a:gd name="connsiteY2886" fmla="*/ 4879123 h 5704395"/>
                <a:gd name="connsiteX2887" fmla="*/ 1543310 w 5719680"/>
                <a:gd name="connsiteY2887" fmla="*/ 4880708 h 5704395"/>
                <a:gd name="connsiteX2888" fmla="*/ 1484551 w 5719680"/>
                <a:gd name="connsiteY2888" fmla="*/ 4917784 h 5704395"/>
                <a:gd name="connsiteX2889" fmla="*/ 1502337 w 5719680"/>
                <a:gd name="connsiteY2889" fmla="*/ 5012216 h 5704395"/>
                <a:gd name="connsiteX2890" fmla="*/ 1533782 w 5719680"/>
                <a:gd name="connsiteY2890" fmla="*/ 5018871 h 5704395"/>
                <a:gd name="connsiteX2891" fmla="*/ 1530923 w 5719680"/>
                <a:gd name="connsiteY2891" fmla="*/ 5100628 h 5704395"/>
                <a:gd name="connsiteX2892" fmla="*/ 1621762 w 5719680"/>
                <a:gd name="connsiteY2892" fmla="*/ 5099994 h 5704395"/>
                <a:gd name="connsiteX2893" fmla="*/ 1629067 w 5719680"/>
                <a:gd name="connsiteY2893" fmla="*/ 4961831 h 5704395"/>
                <a:gd name="connsiteX2894" fmla="*/ 1630655 w 5719680"/>
                <a:gd name="connsiteY2894" fmla="*/ 4961197 h 5704395"/>
                <a:gd name="connsiteX2895" fmla="*/ 1744045 w 5719680"/>
                <a:gd name="connsiteY2895" fmla="*/ 4927290 h 5704395"/>
                <a:gd name="connsiteX2896" fmla="*/ 1744045 w 5719680"/>
                <a:gd name="connsiteY2896" fmla="*/ 4809408 h 5704395"/>
                <a:gd name="connsiteX2897" fmla="*/ 1728482 w 5719680"/>
                <a:gd name="connsiteY2897" fmla="*/ 4700399 h 5704395"/>
                <a:gd name="connsiteX2898" fmla="*/ 1482963 w 5719680"/>
                <a:gd name="connsiteY2898" fmla="*/ 4700082 h 5704395"/>
                <a:gd name="connsiteX2899" fmla="*/ 1484233 w 5719680"/>
                <a:gd name="connsiteY2899" fmla="*/ 4701983 h 5704395"/>
                <a:gd name="connsiteX2900" fmla="*/ 1527747 w 5719680"/>
                <a:gd name="connsiteY2900" fmla="*/ 4772332 h 5704395"/>
                <a:gd name="connsiteX2901" fmla="*/ 1471528 w 5719680"/>
                <a:gd name="connsiteY2901" fmla="*/ 4802120 h 5704395"/>
                <a:gd name="connsiteX2902" fmla="*/ 1427379 w 5719680"/>
                <a:gd name="connsiteY2902" fmla="*/ 4728602 h 5704395"/>
                <a:gd name="connsiteX2903" fmla="*/ 1482963 w 5719680"/>
                <a:gd name="connsiteY2903" fmla="*/ 4700082 h 5704395"/>
                <a:gd name="connsiteX2904" fmla="*/ 570126 w 5719680"/>
                <a:gd name="connsiteY2904" fmla="*/ 4700082 h 5704395"/>
                <a:gd name="connsiteX2905" fmla="*/ 539635 w 5719680"/>
                <a:gd name="connsiteY2905" fmla="*/ 4763776 h 5704395"/>
                <a:gd name="connsiteX2906" fmla="*/ 571714 w 5719680"/>
                <a:gd name="connsiteY2906" fmla="*/ 4786592 h 5704395"/>
                <a:gd name="connsiteX2907" fmla="*/ 608240 w 5719680"/>
                <a:gd name="connsiteY2907" fmla="*/ 4709905 h 5704395"/>
                <a:gd name="connsiteX2908" fmla="*/ 570126 w 5719680"/>
                <a:gd name="connsiteY2908" fmla="*/ 4700082 h 5704395"/>
                <a:gd name="connsiteX2909" fmla="*/ 330959 w 5719680"/>
                <a:gd name="connsiteY2909" fmla="*/ 4698497 h 5704395"/>
                <a:gd name="connsiteX2910" fmla="*/ 300468 w 5719680"/>
                <a:gd name="connsiteY2910" fmla="*/ 4735573 h 5704395"/>
                <a:gd name="connsiteX2911" fmla="*/ 314761 w 5719680"/>
                <a:gd name="connsiteY2911" fmla="*/ 4774233 h 5704395"/>
                <a:gd name="connsiteX2912" fmla="*/ 294115 w 5719680"/>
                <a:gd name="connsiteY2912" fmla="*/ 4851871 h 5704395"/>
                <a:gd name="connsiteX2913" fmla="*/ 295386 w 5719680"/>
                <a:gd name="connsiteY2913" fmla="*/ 4850286 h 5704395"/>
                <a:gd name="connsiteX2914" fmla="*/ 380508 w 5719680"/>
                <a:gd name="connsiteY2914" fmla="*/ 4925072 h 5704395"/>
                <a:gd name="connsiteX2915" fmla="*/ 477381 w 5719680"/>
                <a:gd name="connsiteY2915" fmla="*/ 4807507 h 5704395"/>
                <a:gd name="connsiteX2916" fmla="*/ 330959 w 5719680"/>
                <a:gd name="connsiteY2916" fmla="*/ 4698497 h 5704395"/>
                <a:gd name="connsiteX2917" fmla="*/ 440855 w 5719680"/>
                <a:gd name="connsiteY2917" fmla="*/ 4697230 h 5704395"/>
                <a:gd name="connsiteX2918" fmla="*/ 437361 w 5719680"/>
                <a:gd name="connsiteY2918" fmla="*/ 4704518 h 5704395"/>
                <a:gd name="connsiteX2919" fmla="*/ 425927 w 5719680"/>
                <a:gd name="connsiteY2919" fmla="*/ 4728602 h 5704395"/>
                <a:gd name="connsiteX2920" fmla="*/ 444984 w 5719680"/>
                <a:gd name="connsiteY2920" fmla="*/ 4741911 h 5704395"/>
                <a:gd name="connsiteX2921" fmla="*/ 464359 w 5719680"/>
                <a:gd name="connsiteY2921" fmla="*/ 4714342 h 5704395"/>
                <a:gd name="connsiteX2922" fmla="*/ 440855 w 5719680"/>
                <a:gd name="connsiteY2922" fmla="*/ 4697230 h 5704395"/>
                <a:gd name="connsiteX2923" fmla="*/ 1887609 w 5719680"/>
                <a:gd name="connsiteY2923" fmla="*/ 4692159 h 5704395"/>
                <a:gd name="connsiteX2924" fmla="*/ 1887927 w 5719680"/>
                <a:gd name="connsiteY2924" fmla="*/ 4732087 h 5704395"/>
                <a:gd name="connsiteX2925" fmla="*/ 1902219 w 5719680"/>
                <a:gd name="connsiteY2925" fmla="*/ 4731770 h 5704395"/>
                <a:gd name="connsiteX2926" fmla="*/ 1901902 w 5719680"/>
                <a:gd name="connsiteY2926" fmla="*/ 4692159 h 5704395"/>
                <a:gd name="connsiteX2927" fmla="*/ 2284632 w 5719680"/>
                <a:gd name="connsiteY2927" fmla="*/ 4691843 h 5704395"/>
                <a:gd name="connsiteX2928" fmla="*/ 2284315 w 5719680"/>
                <a:gd name="connsiteY2928" fmla="*/ 4722581 h 5704395"/>
                <a:gd name="connsiteX2929" fmla="*/ 2401198 w 5719680"/>
                <a:gd name="connsiteY2929" fmla="*/ 4745080 h 5704395"/>
                <a:gd name="connsiteX2930" fmla="*/ 2405328 w 5719680"/>
                <a:gd name="connsiteY2930" fmla="*/ 4718144 h 5704395"/>
                <a:gd name="connsiteX2931" fmla="*/ 2405963 w 5719680"/>
                <a:gd name="connsiteY2931" fmla="*/ 4718144 h 5704395"/>
                <a:gd name="connsiteX2932" fmla="*/ 2370707 w 5719680"/>
                <a:gd name="connsiteY2932" fmla="*/ 4710539 h 5704395"/>
                <a:gd name="connsiteX2933" fmla="*/ 2284632 w 5719680"/>
                <a:gd name="connsiteY2933" fmla="*/ 4691843 h 5704395"/>
                <a:gd name="connsiteX2934" fmla="*/ 708925 w 5719680"/>
                <a:gd name="connsiteY2934" fmla="*/ 4689941 h 5704395"/>
                <a:gd name="connsiteX2935" fmla="*/ 683516 w 5719680"/>
                <a:gd name="connsiteY2935" fmla="*/ 4719095 h 5704395"/>
                <a:gd name="connsiteX2936" fmla="*/ 702255 w 5719680"/>
                <a:gd name="connsiteY2936" fmla="*/ 4735573 h 5704395"/>
                <a:gd name="connsiteX2937" fmla="*/ 727665 w 5719680"/>
                <a:gd name="connsiteY2937" fmla="*/ 4706419 h 5704395"/>
                <a:gd name="connsiteX2938" fmla="*/ 708925 w 5719680"/>
                <a:gd name="connsiteY2938" fmla="*/ 4689941 h 5704395"/>
                <a:gd name="connsiteX2939" fmla="*/ 1883480 w 5719680"/>
                <a:gd name="connsiteY2939" fmla="*/ 4688040 h 5704395"/>
                <a:gd name="connsiteX2940" fmla="*/ 1906031 w 5719680"/>
                <a:gd name="connsiteY2940" fmla="*/ 4688040 h 5704395"/>
                <a:gd name="connsiteX2941" fmla="*/ 1906031 w 5719680"/>
                <a:gd name="connsiteY2941" fmla="*/ 4689941 h 5704395"/>
                <a:gd name="connsiteX2942" fmla="*/ 1906348 w 5719680"/>
                <a:gd name="connsiteY2942" fmla="*/ 4735890 h 5704395"/>
                <a:gd name="connsiteX2943" fmla="*/ 1887609 w 5719680"/>
                <a:gd name="connsiteY2943" fmla="*/ 4736207 h 5704395"/>
                <a:gd name="connsiteX2944" fmla="*/ 1887927 w 5719680"/>
                <a:gd name="connsiteY2944" fmla="*/ 4777402 h 5704395"/>
                <a:gd name="connsiteX2945" fmla="*/ 1865376 w 5719680"/>
                <a:gd name="connsiteY2945" fmla="*/ 4777402 h 5704395"/>
                <a:gd name="connsiteX2946" fmla="*/ 1865058 w 5719680"/>
                <a:gd name="connsiteY2946" fmla="*/ 4729552 h 5704395"/>
                <a:gd name="connsiteX2947" fmla="*/ 1883798 w 5719680"/>
                <a:gd name="connsiteY2947" fmla="*/ 4729235 h 5704395"/>
                <a:gd name="connsiteX2948" fmla="*/ 1883480 w 5719680"/>
                <a:gd name="connsiteY2948" fmla="*/ 4688040 h 5704395"/>
                <a:gd name="connsiteX2949" fmla="*/ 708608 w 5719680"/>
                <a:gd name="connsiteY2949" fmla="*/ 4684237 h 5704395"/>
                <a:gd name="connsiteX2950" fmla="*/ 733382 w 5719680"/>
                <a:gd name="connsiteY2950" fmla="*/ 4705786 h 5704395"/>
                <a:gd name="connsiteX2951" fmla="*/ 702573 w 5719680"/>
                <a:gd name="connsiteY2951" fmla="*/ 4741277 h 5704395"/>
                <a:gd name="connsiteX2952" fmla="*/ 701303 w 5719680"/>
                <a:gd name="connsiteY2952" fmla="*/ 4740009 h 5704395"/>
                <a:gd name="connsiteX2953" fmla="*/ 677799 w 5719680"/>
                <a:gd name="connsiteY2953" fmla="*/ 4719729 h 5704395"/>
                <a:gd name="connsiteX2954" fmla="*/ 708608 w 5719680"/>
                <a:gd name="connsiteY2954" fmla="*/ 4684237 h 5704395"/>
                <a:gd name="connsiteX2955" fmla="*/ 257907 w 5719680"/>
                <a:gd name="connsiteY2955" fmla="*/ 4682336 h 5704395"/>
                <a:gd name="connsiteX2956" fmla="*/ 248061 w 5719680"/>
                <a:gd name="connsiteY2956" fmla="*/ 4721947 h 5704395"/>
                <a:gd name="connsiteX2957" fmla="*/ 271882 w 5719680"/>
                <a:gd name="connsiteY2957" fmla="*/ 4693744 h 5704395"/>
                <a:gd name="connsiteX2958" fmla="*/ 257907 w 5719680"/>
                <a:gd name="connsiteY2958" fmla="*/ 4682336 h 5704395"/>
                <a:gd name="connsiteX2959" fmla="*/ 418939 w 5719680"/>
                <a:gd name="connsiteY2959" fmla="*/ 4681385 h 5704395"/>
                <a:gd name="connsiteX2960" fmla="*/ 398294 w 5719680"/>
                <a:gd name="connsiteY2960" fmla="*/ 4708954 h 5704395"/>
                <a:gd name="connsiteX2961" fmla="*/ 422433 w 5719680"/>
                <a:gd name="connsiteY2961" fmla="*/ 4726066 h 5704395"/>
                <a:gd name="connsiteX2962" fmla="*/ 437044 w 5719680"/>
                <a:gd name="connsiteY2962" fmla="*/ 4694695 h 5704395"/>
                <a:gd name="connsiteX2963" fmla="*/ 418939 w 5719680"/>
                <a:gd name="connsiteY2963" fmla="*/ 4681385 h 5704395"/>
                <a:gd name="connsiteX2964" fmla="*/ 2418350 w 5719680"/>
                <a:gd name="connsiteY2964" fmla="*/ 4676315 h 5704395"/>
                <a:gd name="connsiteX2965" fmla="*/ 2413903 w 5719680"/>
                <a:gd name="connsiteY2965" fmla="*/ 4706419 h 5704395"/>
                <a:gd name="connsiteX2966" fmla="*/ 2432643 w 5719680"/>
                <a:gd name="connsiteY2966" fmla="*/ 4709271 h 5704395"/>
                <a:gd name="connsiteX2967" fmla="*/ 2434866 w 5719680"/>
                <a:gd name="connsiteY2967" fmla="*/ 4694695 h 5704395"/>
                <a:gd name="connsiteX2968" fmla="*/ 2448524 w 5719680"/>
                <a:gd name="connsiteY2968" fmla="*/ 4696596 h 5704395"/>
                <a:gd name="connsiteX2969" fmla="*/ 2450747 w 5719680"/>
                <a:gd name="connsiteY2969" fmla="*/ 4682336 h 5704395"/>
                <a:gd name="connsiteX2970" fmla="*/ 2418350 w 5719680"/>
                <a:gd name="connsiteY2970" fmla="*/ 4676315 h 5704395"/>
                <a:gd name="connsiteX2971" fmla="*/ 255048 w 5719680"/>
                <a:gd name="connsiteY2971" fmla="*/ 4674097 h 5704395"/>
                <a:gd name="connsiteX2972" fmla="*/ 260765 w 5719680"/>
                <a:gd name="connsiteY2972" fmla="*/ 4678850 h 5704395"/>
                <a:gd name="connsiteX2973" fmla="*/ 274741 w 5719680"/>
                <a:gd name="connsiteY2973" fmla="*/ 4690575 h 5704395"/>
                <a:gd name="connsiteX2974" fmla="*/ 277917 w 5719680"/>
                <a:gd name="connsiteY2974" fmla="*/ 4693427 h 5704395"/>
                <a:gd name="connsiteX2975" fmla="*/ 275058 w 5719680"/>
                <a:gd name="connsiteY2975" fmla="*/ 4696596 h 5704395"/>
                <a:gd name="connsiteX2976" fmla="*/ 251554 w 5719680"/>
                <a:gd name="connsiteY2976" fmla="*/ 4724799 h 5704395"/>
                <a:gd name="connsiteX2977" fmla="*/ 243614 w 5719680"/>
                <a:gd name="connsiteY2977" fmla="*/ 4720679 h 5704395"/>
                <a:gd name="connsiteX2978" fmla="*/ 253460 w 5719680"/>
                <a:gd name="connsiteY2978" fmla="*/ 4681068 h 5704395"/>
                <a:gd name="connsiteX2979" fmla="*/ 255048 w 5719680"/>
                <a:gd name="connsiteY2979" fmla="*/ 4674097 h 5704395"/>
                <a:gd name="connsiteX2980" fmla="*/ 2116612 w 5719680"/>
                <a:gd name="connsiteY2980" fmla="*/ 4663640 h 5704395"/>
                <a:gd name="connsiteX2981" fmla="*/ 2116930 w 5719680"/>
                <a:gd name="connsiteY2981" fmla="*/ 4703250 h 5704395"/>
                <a:gd name="connsiteX2982" fmla="*/ 2130905 w 5719680"/>
                <a:gd name="connsiteY2982" fmla="*/ 4703250 h 5704395"/>
                <a:gd name="connsiteX2983" fmla="*/ 2130587 w 5719680"/>
                <a:gd name="connsiteY2983" fmla="*/ 4663640 h 5704395"/>
                <a:gd name="connsiteX2984" fmla="*/ 2221744 w 5719680"/>
                <a:gd name="connsiteY2984" fmla="*/ 4663006 h 5704395"/>
                <a:gd name="connsiteX2985" fmla="*/ 2211262 w 5719680"/>
                <a:gd name="connsiteY2985" fmla="*/ 4663323 h 5704395"/>
                <a:gd name="connsiteX2986" fmla="*/ 2211580 w 5719680"/>
                <a:gd name="connsiteY2986" fmla="*/ 4676949 h 5704395"/>
                <a:gd name="connsiteX2987" fmla="*/ 2196652 w 5719680"/>
                <a:gd name="connsiteY2987" fmla="*/ 4677266 h 5704395"/>
                <a:gd name="connsiteX2988" fmla="*/ 2196970 w 5719680"/>
                <a:gd name="connsiteY2988" fmla="*/ 4696279 h 5704395"/>
                <a:gd name="connsiteX2989" fmla="*/ 2223332 w 5719680"/>
                <a:gd name="connsiteY2989" fmla="*/ 4695645 h 5704395"/>
                <a:gd name="connsiteX2990" fmla="*/ 2221744 w 5719680"/>
                <a:gd name="connsiteY2990" fmla="*/ 4663006 h 5704395"/>
                <a:gd name="connsiteX2991" fmla="*/ 2239848 w 5719680"/>
                <a:gd name="connsiteY2991" fmla="*/ 4662689 h 5704395"/>
                <a:gd name="connsiteX2992" fmla="*/ 2226190 w 5719680"/>
                <a:gd name="connsiteY2992" fmla="*/ 4663006 h 5704395"/>
                <a:gd name="connsiteX2993" fmla="*/ 2227778 w 5719680"/>
                <a:gd name="connsiteY2993" fmla="*/ 4695645 h 5704395"/>
                <a:gd name="connsiteX2994" fmla="*/ 2255729 w 5719680"/>
                <a:gd name="connsiteY2994" fmla="*/ 4695011 h 5704395"/>
                <a:gd name="connsiteX2995" fmla="*/ 2255094 w 5719680"/>
                <a:gd name="connsiteY2995" fmla="*/ 4675998 h 5704395"/>
                <a:gd name="connsiteX2996" fmla="*/ 2240166 w 5719680"/>
                <a:gd name="connsiteY2996" fmla="*/ 4676315 h 5704395"/>
                <a:gd name="connsiteX2997" fmla="*/ 2239848 w 5719680"/>
                <a:gd name="connsiteY2997" fmla="*/ 4662689 h 5704395"/>
                <a:gd name="connsiteX2998" fmla="*/ 2036890 w 5719680"/>
                <a:gd name="connsiteY2998" fmla="*/ 4660471 h 5704395"/>
                <a:gd name="connsiteX2999" fmla="*/ 2036890 w 5719680"/>
                <a:gd name="connsiteY2999" fmla="*/ 4681068 h 5704395"/>
                <a:gd name="connsiteX3000" fmla="*/ 2052453 w 5719680"/>
                <a:gd name="connsiteY3000" fmla="*/ 4681068 h 5704395"/>
                <a:gd name="connsiteX3001" fmla="*/ 2052453 w 5719680"/>
                <a:gd name="connsiteY3001" fmla="*/ 4660471 h 5704395"/>
                <a:gd name="connsiteX3002" fmla="*/ 2036890 w 5719680"/>
                <a:gd name="connsiteY3002" fmla="*/ 4660471 h 5704395"/>
                <a:gd name="connsiteX3003" fmla="*/ 2112483 w 5719680"/>
                <a:gd name="connsiteY3003" fmla="*/ 4659520 h 5704395"/>
                <a:gd name="connsiteX3004" fmla="*/ 2134716 w 5719680"/>
                <a:gd name="connsiteY3004" fmla="*/ 4659520 h 5704395"/>
                <a:gd name="connsiteX3005" fmla="*/ 2134716 w 5719680"/>
                <a:gd name="connsiteY3005" fmla="*/ 4661421 h 5704395"/>
                <a:gd name="connsiteX3006" fmla="*/ 2135352 w 5719680"/>
                <a:gd name="connsiteY3006" fmla="*/ 4707370 h 5704395"/>
                <a:gd name="connsiteX3007" fmla="*/ 2112800 w 5719680"/>
                <a:gd name="connsiteY3007" fmla="*/ 4707687 h 5704395"/>
                <a:gd name="connsiteX3008" fmla="*/ 2112483 w 5719680"/>
                <a:gd name="connsiteY3008" fmla="*/ 4659520 h 5704395"/>
                <a:gd name="connsiteX3009" fmla="*/ 1961296 w 5719680"/>
                <a:gd name="connsiteY3009" fmla="*/ 4658886 h 5704395"/>
                <a:gd name="connsiteX3010" fmla="*/ 1961296 w 5719680"/>
                <a:gd name="connsiteY3010" fmla="*/ 4679484 h 5704395"/>
                <a:gd name="connsiteX3011" fmla="*/ 1977177 w 5719680"/>
                <a:gd name="connsiteY3011" fmla="*/ 4679484 h 5704395"/>
                <a:gd name="connsiteX3012" fmla="*/ 1977177 w 5719680"/>
                <a:gd name="connsiteY3012" fmla="*/ 4658886 h 5704395"/>
                <a:gd name="connsiteX3013" fmla="*/ 1961296 w 5719680"/>
                <a:gd name="connsiteY3013" fmla="*/ 4658886 h 5704395"/>
                <a:gd name="connsiteX3014" fmla="*/ 2032760 w 5719680"/>
                <a:gd name="connsiteY3014" fmla="*/ 4656351 h 5704395"/>
                <a:gd name="connsiteX3015" fmla="*/ 2056582 w 5719680"/>
                <a:gd name="connsiteY3015" fmla="*/ 4656351 h 5704395"/>
                <a:gd name="connsiteX3016" fmla="*/ 2056582 w 5719680"/>
                <a:gd name="connsiteY3016" fmla="*/ 4685188 h 5704395"/>
                <a:gd name="connsiteX3017" fmla="*/ 2032760 w 5719680"/>
                <a:gd name="connsiteY3017" fmla="*/ 4685188 h 5704395"/>
                <a:gd name="connsiteX3018" fmla="*/ 2032760 w 5719680"/>
                <a:gd name="connsiteY3018" fmla="*/ 4683287 h 5704395"/>
                <a:gd name="connsiteX3019" fmla="*/ 2032760 w 5719680"/>
                <a:gd name="connsiteY3019" fmla="*/ 4656351 h 5704395"/>
                <a:gd name="connsiteX3020" fmla="*/ 1495350 w 5719680"/>
                <a:gd name="connsiteY3020" fmla="*/ 4656034 h 5704395"/>
                <a:gd name="connsiteX3021" fmla="*/ 1380689 w 5719680"/>
                <a:gd name="connsiteY3021" fmla="*/ 4720046 h 5704395"/>
                <a:gd name="connsiteX3022" fmla="*/ 1456600 w 5719680"/>
                <a:gd name="connsiteY3022" fmla="*/ 4852188 h 5704395"/>
                <a:gd name="connsiteX3023" fmla="*/ 1579836 w 5719680"/>
                <a:gd name="connsiteY3023" fmla="*/ 4782472 h 5704395"/>
                <a:gd name="connsiteX3024" fmla="*/ 1495350 w 5719680"/>
                <a:gd name="connsiteY3024" fmla="*/ 4656034 h 5704395"/>
                <a:gd name="connsiteX3025" fmla="*/ 1957167 w 5719680"/>
                <a:gd name="connsiteY3025" fmla="*/ 4654767 h 5704395"/>
                <a:gd name="connsiteX3026" fmla="*/ 1981306 w 5719680"/>
                <a:gd name="connsiteY3026" fmla="*/ 4654767 h 5704395"/>
                <a:gd name="connsiteX3027" fmla="*/ 1981306 w 5719680"/>
                <a:gd name="connsiteY3027" fmla="*/ 4683603 h 5704395"/>
                <a:gd name="connsiteX3028" fmla="*/ 1957167 w 5719680"/>
                <a:gd name="connsiteY3028" fmla="*/ 4683603 h 5704395"/>
                <a:gd name="connsiteX3029" fmla="*/ 1957167 w 5719680"/>
                <a:gd name="connsiteY3029" fmla="*/ 4681385 h 5704395"/>
                <a:gd name="connsiteX3030" fmla="*/ 1957167 w 5719680"/>
                <a:gd name="connsiteY3030" fmla="*/ 4654767 h 5704395"/>
                <a:gd name="connsiteX3031" fmla="*/ 2284632 w 5719680"/>
                <a:gd name="connsiteY3031" fmla="*/ 4651598 h 5704395"/>
                <a:gd name="connsiteX3032" fmla="*/ 2284632 w 5719680"/>
                <a:gd name="connsiteY3032" fmla="*/ 4659837 h 5704395"/>
                <a:gd name="connsiteX3033" fmla="*/ 2284632 w 5719680"/>
                <a:gd name="connsiteY3033" fmla="*/ 4687406 h 5704395"/>
                <a:gd name="connsiteX3034" fmla="*/ 2372613 w 5719680"/>
                <a:gd name="connsiteY3034" fmla="*/ 4706419 h 5704395"/>
                <a:gd name="connsiteX3035" fmla="*/ 2433913 w 5719680"/>
                <a:gd name="connsiteY3035" fmla="*/ 4719729 h 5704395"/>
                <a:gd name="connsiteX3036" fmla="*/ 2454241 w 5719680"/>
                <a:gd name="connsiteY3036" fmla="*/ 4724165 h 5704395"/>
                <a:gd name="connsiteX3037" fmla="*/ 2454558 w 5719680"/>
                <a:gd name="connsiteY3037" fmla="*/ 4724482 h 5704395"/>
                <a:gd name="connsiteX3038" fmla="*/ 2461228 w 5719680"/>
                <a:gd name="connsiteY3038" fmla="*/ 4684237 h 5704395"/>
                <a:gd name="connsiteX3039" fmla="*/ 2454876 w 5719680"/>
                <a:gd name="connsiteY3039" fmla="*/ 4682970 h 5704395"/>
                <a:gd name="connsiteX3040" fmla="*/ 2452018 w 5719680"/>
                <a:gd name="connsiteY3040" fmla="*/ 4701349 h 5704395"/>
                <a:gd name="connsiteX3041" fmla="*/ 2438360 w 5719680"/>
                <a:gd name="connsiteY3041" fmla="*/ 4699448 h 5704395"/>
                <a:gd name="connsiteX3042" fmla="*/ 2436136 w 5719680"/>
                <a:gd name="connsiteY3042" fmla="*/ 4714025 h 5704395"/>
                <a:gd name="connsiteX3043" fmla="*/ 2409139 w 5719680"/>
                <a:gd name="connsiteY3043" fmla="*/ 4709905 h 5704395"/>
                <a:gd name="connsiteX3044" fmla="*/ 2414221 w 5719680"/>
                <a:gd name="connsiteY3044" fmla="*/ 4675681 h 5704395"/>
                <a:gd name="connsiteX3045" fmla="*/ 2284632 w 5719680"/>
                <a:gd name="connsiteY3045" fmla="*/ 4651598 h 5704395"/>
                <a:gd name="connsiteX3046" fmla="*/ 2095332 w 5719680"/>
                <a:gd name="connsiteY3046" fmla="*/ 4650330 h 5704395"/>
                <a:gd name="connsiteX3047" fmla="*/ 2103272 w 5719680"/>
                <a:gd name="connsiteY3047" fmla="*/ 4853455 h 5704395"/>
                <a:gd name="connsiteX3048" fmla="*/ 2098825 w 5719680"/>
                <a:gd name="connsiteY3048" fmla="*/ 4853772 h 5704395"/>
                <a:gd name="connsiteX3049" fmla="*/ 2097555 w 5719680"/>
                <a:gd name="connsiteY3049" fmla="*/ 4817647 h 5704395"/>
                <a:gd name="connsiteX3050" fmla="*/ 2081992 w 5719680"/>
                <a:gd name="connsiteY3050" fmla="*/ 4817647 h 5704395"/>
                <a:gd name="connsiteX3051" fmla="*/ 1997505 w 5719680"/>
                <a:gd name="connsiteY3051" fmla="*/ 4817330 h 5704395"/>
                <a:gd name="connsiteX3052" fmla="*/ 1959391 w 5719680"/>
                <a:gd name="connsiteY3052" fmla="*/ 4817013 h 5704395"/>
                <a:gd name="connsiteX3053" fmla="*/ 1953038 w 5719680"/>
                <a:gd name="connsiteY3053" fmla="*/ 4817013 h 5704395"/>
                <a:gd name="connsiteX3054" fmla="*/ 1956850 w 5719680"/>
                <a:gd name="connsiteY3054" fmla="*/ 4863279 h 5704395"/>
                <a:gd name="connsiteX3055" fmla="*/ 1971142 w 5719680"/>
                <a:gd name="connsiteY3055" fmla="*/ 4862328 h 5704395"/>
                <a:gd name="connsiteX3056" fmla="*/ 1971460 w 5719680"/>
                <a:gd name="connsiteY3056" fmla="*/ 4844266 h 5704395"/>
                <a:gd name="connsiteX3057" fmla="*/ 1985118 w 5719680"/>
                <a:gd name="connsiteY3057" fmla="*/ 4844583 h 5704395"/>
                <a:gd name="connsiteX3058" fmla="*/ 1985435 w 5719680"/>
                <a:gd name="connsiteY3058" fmla="*/ 4829689 h 5704395"/>
                <a:gd name="connsiteX3059" fmla="*/ 2012751 w 5719680"/>
                <a:gd name="connsiteY3059" fmla="*/ 4830006 h 5704395"/>
                <a:gd name="connsiteX3060" fmla="*/ 2012115 w 5719680"/>
                <a:gd name="connsiteY3060" fmla="*/ 4859793 h 5704395"/>
                <a:gd name="connsiteX3061" fmla="*/ 2134081 w 5719680"/>
                <a:gd name="connsiteY3061" fmla="*/ 4851554 h 5704395"/>
                <a:gd name="connsiteX3062" fmla="*/ 2132810 w 5719680"/>
                <a:gd name="connsiteY3062" fmla="*/ 4802120 h 5704395"/>
                <a:gd name="connsiteX3063" fmla="*/ 2154408 w 5719680"/>
                <a:gd name="connsiteY3063" fmla="*/ 4807190 h 5704395"/>
                <a:gd name="connsiteX3064" fmla="*/ 2153456 w 5719680"/>
                <a:gd name="connsiteY3064" fmla="*/ 4797683 h 5704395"/>
                <a:gd name="connsiteX3065" fmla="*/ 2151868 w 5719680"/>
                <a:gd name="connsiteY3065" fmla="*/ 4650330 h 5704395"/>
                <a:gd name="connsiteX3066" fmla="*/ 2095332 w 5719680"/>
                <a:gd name="connsiteY3066" fmla="*/ 4650330 h 5704395"/>
                <a:gd name="connsiteX3067" fmla="*/ 2016562 w 5719680"/>
                <a:gd name="connsiteY3067" fmla="*/ 4650330 h 5704395"/>
                <a:gd name="connsiteX3068" fmla="*/ 2020056 w 5719680"/>
                <a:gd name="connsiteY3068" fmla="*/ 4708954 h 5704395"/>
                <a:gd name="connsiteX3069" fmla="*/ 2093426 w 5719680"/>
                <a:gd name="connsiteY3069" fmla="*/ 4713074 h 5704395"/>
                <a:gd name="connsiteX3070" fmla="*/ 2090885 w 5719680"/>
                <a:gd name="connsiteY3070" fmla="*/ 4650330 h 5704395"/>
                <a:gd name="connsiteX3071" fmla="*/ 2016562 w 5719680"/>
                <a:gd name="connsiteY3071" fmla="*/ 4650330 h 5704395"/>
                <a:gd name="connsiteX3072" fmla="*/ 2012115 w 5719680"/>
                <a:gd name="connsiteY3072" fmla="*/ 4650330 h 5704395"/>
                <a:gd name="connsiteX3073" fmla="*/ 1940016 w 5719680"/>
                <a:gd name="connsiteY3073" fmla="*/ 4650647 h 5704395"/>
                <a:gd name="connsiteX3074" fmla="*/ 1944462 w 5719680"/>
                <a:gd name="connsiteY3074" fmla="*/ 4704835 h 5704395"/>
                <a:gd name="connsiteX3075" fmla="*/ 2015609 w 5719680"/>
                <a:gd name="connsiteY3075" fmla="*/ 4708638 h 5704395"/>
                <a:gd name="connsiteX3076" fmla="*/ 2012115 w 5719680"/>
                <a:gd name="connsiteY3076" fmla="*/ 4650330 h 5704395"/>
                <a:gd name="connsiteX3077" fmla="*/ 1919053 w 5719680"/>
                <a:gd name="connsiteY3077" fmla="*/ 4650330 h 5704395"/>
                <a:gd name="connsiteX3078" fmla="*/ 1832026 w 5719680"/>
                <a:gd name="connsiteY3078" fmla="*/ 4702934 h 5704395"/>
                <a:gd name="connsiteX3079" fmla="*/ 1741187 w 5719680"/>
                <a:gd name="connsiteY3079" fmla="*/ 4757121 h 5704395"/>
                <a:gd name="connsiteX3080" fmla="*/ 1747539 w 5719680"/>
                <a:gd name="connsiteY3080" fmla="*/ 4801486 h 5704395"/>
                <a:gd name="connsiteX3081" fmla="*/ 1850765 w 5719680"/>
                <a:gd name="connsiteY3081" fmla="*/ 4805288 h 5704395"/>
                <a:gd name="connsiteX3082" fmla="*/ 1931122 w 5719680"/>
                <a:gd name="connsiteY3082" fmla="*/ 4804021 h 5704395"/>
                <a:gd name="connsiteX3083" fmla="*/ 1919053 w 5719680"/>
                <a:gd name="connsiteY3083" fmla="*/ 4650330 h 5704395"/>
                <a:gd name="connsiteX3084" fmla="*/ 2221108 w 5719680"/>
                <a:gd name="connsiteY3084" fmla="*/ 4650013 h 5704395"/>
                <a:gd name="connsiteX3085" fmla="*/ 2155997 w 5719680"/>
                <a:gd name="connsiteY3085" fmla="*/ 4650330 h 5704395"/>
                <a:gd name="connsiteX3086" fmla="*/ 2156314 w 5719680"/>
                <a:gd name="connsiteY3086" fmla="*/ 4724799 h 5704395"/>
                <a:gd name="connsiteX3087" fmla="*/ 2157267 w 5719680"/>
                <a:gd name="connsiteY3087" fmla="*/ 4780571 h 5704395"/>
                <a:gd name="connsiteX3088" fmla="*/ 2157902 w 5719680"/>
                <a:gd name="connsiteY3088" fmla="*/ 4798951 h 5704395"/>
                <a:gd name="connsiteX3089" fmla="*/ 2158220 w 5719680"/>
                <a:gd name="connsiteY3089" fmla="*/ 4804021 h 5704395"/>
                <a:gd name="connsiteX3090" fmla="*/ 2158538 w 5719680"/>
                <a:gd name="connsiteY3090" fmla="*/ 4805288 h 5704395"/>
                <a:gd name="connsiteX3091" fmla="*/ 2157902 w 5719680"/>
                <a:gd name="connsiteY3091" fmla="*/ 4805288 h 5704395"/>
                <a:gd name="connsiteX3092" fmla="*/ 2158220 w 5719680"/>
                <a:gd name="connsiteY3092" fmla="*/ 4804972 h 5704395"/>
                <a:gd name="connsiteX3093" fmla="*/ 2156632 w 5719680"/>
                <a:gd name="connsiteY3093" fmla="*/ 4805922 h 5704395"/>
                <a:gd name="connsiteX3094" fmla="*/ 2156632 w 5719680"/>
                <a:gd name="connsiteY3094" fmla="*/ 4807507 h 5704395"/>
                <a:gd name="connsiteX3095" fmla="*/ 2229049 w 5719680"/>
                <a:gd name="connsiteY3095" fmla="*/ 4824302 h 5704395"/>
                <a:gd name="connsiteX3096" fmla="*/ 2223332 w 5719680"/>
                <a:gd name="connsiteY3096" fmla="*/ 4699765 h 5704395"/>
                <a:gd name="connsiteX3097" fmla="*/ 2193158 w 5719680"/>
                <a:gd name="connsiteY3097" fmla="*/ 4700715 h 5704395"/>
                <a:gd name="connsiteX3098" fmla="*/ 2193158 w 5719680"/>
                <a:gd name="connsiteY3098" fmla="*/ 4698497 h 5704395"/>
                <a:gd name="connsiteX3099" fmla="*/ 2192523 w 5719680"/>
                <a:gd name="connsiteY3099" fmla="*/ 4673463 h 5704395"/>
                <a:gd name="connsiteX3100" fmla="*/ 2207133 w 5719680"/>
                <a:gd name="connsiteY3100" fmla="*/ 4672829 h 5704395"/>
                <a:gd name="connsiteX3101" fmla="*/ 2206816 w 5719680"/>
                <a:gd name="connsiteY3101" fmla="*/ 4659203 h 5704395"/>
                <a:gd name="connsiteX3102" fmla="*/ 2221744 w 5719680"/>
                <a:gd name="connsiteY3102" fmla="*/ 4658886 h 5704395"/>
                <a:gd name="connsiteX3103" fmla="*/ 2221108 w 5719680"/>
                <a:gd name="connsiteY3103" fmla="*/ 4650013 h 5704395"/>
                <a:gd name="connsiteX3104" fmla="*/ 2279868 w 5719680"/>
                <a:gd name="connsiteY3104" fmla="*/ 4649696 h 5704395"/>
                <a:gd name="connsiteX3105" fmla="*/ 2225555 w 5719680"/>
                <a:gd name="connsiteY3105" fmla="*/ 4650013 h 5704395"/>
                <a:gd name="connsiteX3106" fmla="*/ 2225873 w 5719680"/>
                <a:gd name="connsiteY3106" fmla="*/ 4658886 h 5704395"/>
                <a:gd name="connsiteX3107" fmla="*/ 2243977 w 5719680"/>
                <a:gd name="connsiteY3107" fmla="*/ 4658569 h 5704395"/>
                <a:gd name="connsiteX3108" fmla="*/ 2244295 w 5719680"/>
                <a:gd name="connsiteY3108" fmla="*/ 4672195 h 5704395"/>
                <a:gd name="connsiteX3109" fmla="*/ 2259223 w 5719680"/>
                <a:gd name="connsiteY3109" fmla="*/ 4671562 h 5704395"/>
                <a:gd name="connsiteX3110" fmla="*/ 2259858 w 5719680"/>
                <a:gd name="connsiteY3110" fmla="*/ 4699131 h 5704395"/>
                <a:gd name="connsiteX3111" fmla="*/ 2227778 w 5719680"/>
                <a:gd name="connsiteY3111" fmla="*/ 4699765 h 5704395"/>
                <a:gd name="connsiteX3112" fmla="*/ 2233496 w 5719680"/>
                <a:gd name="connsiteY3112" fmla="*/ 4824302 h 5704395"/>
                <a:gd name="connsiteX3113" fmla="*/ 2279233 w 5719680"/>
                <a:gd name="connsiteY3113" fmla="*/ 4815429 h 5704395"/>
                <a:gd name="connsiteX3114" fmla="*/ 2280186 w 5719680"/>
                <a:gd name="connsiteY3114" fmla="*/ 4659837 h 5704395"/>
                <a:gd name="connsiteX3115" fmla="*/ 2280186 w 5719680"/>
                <a:gd name="connsiteY3115" fmla="*/ 4650647 h 5704395"/>
                <a:gd name="connsiteX3116" fmla="*/ 2279868 w 5719680"/>
                <a:gd name="connsiteY3116" fmla="*/ 4650647 h 5704395"/>
                <a:gd name="connsiteX3117" fmla="*/ 2279868 w 5719680"/>
                <a:gd name="connsiteY3117" fmla="*/ 4649696 h 5704395"/>
                <a:gd name="connsiteX3118" fmla="*/ 1496938 w 5719680"/>
                <a:gd name="connsiteY3118" fmla="*/ 4649696 h 5704395"/>
                <a:gd name="connsiteX3119" fmla="*/ 1586506 w 5719680"/>
                <a:gd name="connsiteY3119" fmla="*/ 4784057 h 5704395"/>
                <a:gd name="connsiteX3120" fmla="*/ 1584283 w 5719680"/>
                <a:gd name="connsiteY3120" fmla="*/ 4785324 h 5704395"/>
                <a:gd name="connsiteX3121" fmla="*/ 1455012 w 5719680"/>
                <a:gd name="connsiteY3121" fmla="*/ 4858526 h 5704395"/>
                <a:gd name="connsiteX3122" fmla="*/ 1374337 w 5719680"/>
                <a:gd name="connsiteY3122" fmla="*/ 4718461 h 5704395"/>
                <a:gd name="connsiteX3123" fmla="*/ 1496938 w 5719680"/>
                <a:gd name="connsiteY3123" fmla="*/ 4649696 h 5704395"/>
                <a:gd name="connsiteX3124" fmla="*/ 2422796 w 5719680"/>
                <a:gd name="connsiteY3124" fmla="*/ 4648746 h 5704395"/>
                <a:gd name="connsiteX3125" fmla="*/ 2418985 w 5719680"/>
                <a:gd name="connsiteY3125" fmla="*/ 4671879 h 5704395"/>
                <a:gd name="connsiteX3126" fmla="*/ 2451382 w 5719680"/>
                <a:gd name="connsiteY3126" fmla="*/ 4677899 h 5704395"/>
                <a:gd name="connsiteX3127" fmla="*/ 2452970 w 5719680"/>
                <a:gd name="connsiteY3127" fmla="*/ 4668393 h 5704395"/>
                <a:gd name="connsiteX3128" fmla="*/ 2439313 w 5719680"/>
                <a:gd name="connsiteY3128" fmla="*/ 4666175 h 5704395"/>
                <a:gd name="connsiteX3129" fmla="*/ 2441536 w 5719680"/>
                <a:gd name="connsiteY3129" fmla="*/ 4651598 h 5704395"/>
                <a:gd name="connsiteX3130" fmla="*/ 2422796 w 5719680"/>
                <a:gd name="connsiteY3130" fmla="*/ 4648746 h 5704395"/>
                <a:gd name="connsiteX3131" fmla="*/ 240438 w 5719680"/>
                <a:gd name="connsiteY3131" fmla="*/ 4645894 h 5704395"/>
                <a:gd name="connsiteX3132" fmla="*/ 230592 w 5719680"/>
                <a:gd name="connsiteY3132" fmla="*/ 4686772 h 5704395"/>
                <a:gd name="connsiteX3133" fmla="*/ 213440 w 5719680"/>
                <a:gd name="connsiteY3133" fmla="*/ 4721947 h 5704395"/>
                <a:gd name="connsiteX3134" fmla="*/ 276964 w 5719680"/>
                <a:gd name="connsiteY3134" fmla="*/ 4765044 h 5704395"/>
                <a:gd name="connsiteX3135" fmla="*/ 279822 w 5719680"/>
                <a:gd name="connsiteY3135" fmla="*/ 4724165 h 5704395"/>
                <a:gd name="connsiteX3136" fmla="*/ 279822 w 5719680"/>
                <a:gd name="connsiteY3136" fmla="*/ 4722264 h 5704395"/>
                <a:gd name="connsiteX3137" fmla="*/ 281093 w 5719680"/>
                <a:gd name="connsiteY3137" fmla="*/ 4721313 h 5704395"/>
                <a:gd name="connsiteX3138" fmla="*/ 308408 w 5719680"/>
                <a:gd name="connsiteY3138" fmla="*/ 4695645 h 5704395"/>
                <a:gd name="connsiteX3139" fmla="*/ 240438 w 5719680"/>
                <a:gd name="connsiteY3139" fmla="*/ 4645894 h 5704395"/>
                <a:gd name="connsiteX3140" fmla="*/ 176596 w 5719680"/>
                <a:gd name="connsiteY3140" fmla="*/ 4645577 h 5704395"/>
                <a:gd name="connsiteX3141" fmla="*/ 169291 w 5719680"/>
                <a:gd name="connsiteY3141" fmla="*/ 4681068 h 5704395"/>
                <a:gd name="connsiteX3142" fmla="*/ 146740 w 5719680"/>
                <a:gd name="connsiteY3142" fmla="*/ 4738742 h 5704395"/>
                <a:gd name="connsiteX3143" fmla="*/ 127048 w 5719680"/>
                <a:gd name="connsiteY3143" fmla="*/ 4783106 h 5704395"/>
                <a:gd name="connsiteX3144" fmla="*/ 167068 w 5719680"/>
                <a:gd name="connsiteY3144" fmla="*/ 4729235 h 5704395"/>
                <a:gd name="connsiteX3145" fmla="*/ 196289 w 5719680"/>
                <a:gd name="connsiteY3145" fmla="*/ 4661104 h 5704395"/>
                <a:gd name="connsiteX3146" fmla="*/ 190254 w 5719680"/>
                <a:gd name="connsiteY3146" fmla="*/ 4656034 h 5704395"/>
                <a:gd name="connsiteX3147" fmla="*/ 176596 w 5719680"/>
                <a:gd name="connsiteY3147" fmla="*/ 4645577 h 5704395"/>
                <a:gd name="connsiteX3148" fmla="*/ 687010 w 5719680"/>
                <a:gd name="connsiteY3148" fmla="*/ 4645260 h 5704395"/>
                <a:gd name="connsiteX3149" fmla="*/ 633015 w 5719680"/>
                <a:gd name="connsiteY3149" fmla="*/ 4757438 h 5704395"/>
                <a:gd name="connsiteX3150" fmla="*/ 595853 w 5719680"/>
                <a:gd name="connsiteY3150" fmla="*/ 4835710 h 5704395"/>
                <a:gd name="connsiteX3151" fmla="*/ 584419 w 5719680"/>
                <a:gd name="connsiteY3151" fmla="*/ 4860744 h 5704395"/>
                <a:gd name="connsiteX3152" fmla="*/ 650166 w 5719680"/>
                <a:gd name="connsiteY3152" fmla="*/ 4910178 h 5704395"/>
                <a:gd name="connsiteX3153" fmla="*/ 713372 w 5719680"/>
                <a:gd name="connsiteY3153" fmla="*/ 4792613 h 5704395"/>
                <a:gd name="connsiteX3154" fmla="*/ 755298 w 5719680"/>
                <a:gd name="connsiteY3154" fmla="*/ 4713074 h 5704395"/>
                <a:gd name="connsiteX3155" fmla="*/ 701938 w 5719680"/>
                <a:gd name="connsiteY3155" fmla="*/ 4658252 h 5704395"/>
                <a:gd name="connsiteX3156" fmla="*/ 687010 w 5719680"/>
                <a:gd name="connsiteY3156" fmla="*/ 4645260 h 5704395"/>
                <a:gd name="connsiteX3157" fmla="*/ 551704 w 5719680"/>
                <a:gd name="connsiteY3157" fmla="*/ 4643042 h 5704395"/>
                <a:gd name="connsiteX3158" fmla="*/ 537411 w 5719680"/>
                <a:gd name="connsiteY3158" fmla="*/ 4672829 h 5704395"/>
                <a:gd name="connsiteX3159" fmla="*/ 505967 w 5719680"/>
                <a:gd name="connsiteY3159" fmla="*/ 4739376 h 5704395"/>
                <a:gd name="connsiteX3160" fmla="*/ 536141 w 5719680"/>
                <a:gd name="connsiteY3160" fmla="*/ 4761241 h 5704395"/>
                <a:gd name="connsiteX3161" fmla="*/ 577431 w 5719680"/>
                <a:gd name="connsiteY3161" fmla="*/ 4674414 h 5704395"/>
                <a:gd name="connsiteX3162" fmla="*/ 597759 w 5719680"/>
                <a:gd name="connsiteY3162" fmla="*/ 4642091 h 5704395"/>
                <a:gd name="connsiteX3163" fmla="*/ 572032 w 5719680"/>
                <a:gd name="connsiteY3163" fmla="*/ 4695962 h 5704395"/>
                <a:gd name="connsiteX3164" fmla="*/ 610146 w 5719680"/>
                <a:gd name="connsiteY3164" fmla="*/ 4705786 h 5704395"/>
                <a:gd name="connsiteX3165" fmla="*/ 629838 w 5719680"/>
                <a:gd name="connsiteY3165" fmla="*/ 4664907 h 5704395"/>
                <a:gd name="connsiteX3166" fmla="*/ 597759 w 5719680"/>
                <a:gd name="connsiteY3166" fmla="*/ 4642091 h 5704395"/>
                <a:gd name="connsiteX3167" fmla="*/ 372567 w 5719680"/>
                <a:gd name="connsiteY3167" fmla="*/ 4640190 h 5704395"/>
                <a:gd name="connsiteX3168" fmla="*/ 356051 w 5719680"/>
                <a:gd name="connsiteY3168" fmla="*/ 4674414 h 5704395"/>
                <a:gd name="connsiteX3169" fmla="*/ 369073 w 5719680"/>
                <a:gd name="connsiteY3169" fmla="*/ 4683603 h 5704395"/>
                <a:gd name="connsiteX3170" fmla="*/ 384954 w 5719680"/>
                <a:gd name="connsiteY3170" fmla="*/ 4650647 h 5704395"/>
                <a:gd name="connsiteX3171" fmla="*/ 372567 w 5719680"/>
                <a:gd name="connsiteY3171" fmla="*/ 4640190 h 5704395"/>
                <a:gd name="connsiteX3172" fmla="*/ 1498526 w 5719680"/>
                <a:gd name="connsiteY3172" fmla="*/ 4639556 h 5704395"/>
                <a:gd name="connsiteX3173" fmla="*/ 1362903 w 5719680"/>
                <a:gd name="connsiteY3173" fmla="*/ 4716560 h 5704395"/>
                <a:gd name="connsiteX3174" fmla="*/ 1450883 w 5719680"/>
                <a:gd name="connsiteY3174" fmla="*/ 4868983 h 5704395"/>
                <a:gd name="connsiteX3175" fmla="*/ 1487409 w 5719680"/>
                <a:gd name="connsiteY3175" fmla="*/ 4848702 h 5704395"/>
                <a:gd name="connsiteX3176" fmla="*/ 1600482 w 5719680"/>
                <a:gd name="connsiteY3176" fmla="*/ 4785958 h 5704395"/>
                <a:gd name="connsiteX3177" fmla="*/ 1498526 w 5719680"/>
                <a:gd name="connsiteY3177" fmla="*/ 4639556 h 5704395"/>
                <a:gd name="connsiteX3178" fmla="*/ 236944 w 5719680"/>
                <a:gd name="connsiteY3178" fmla="*/ 4637972 h 5704395"/>
                <a:gd name="connsiteX3179" fmla="*/ 315396 w 5719680"/>
                <a:gd name="connsiteY3179" fmla="*/ 4695011 h 5704395"/>
                <a:gd name="connsiteX3180" fmla="*/ 284269 w 5719680"/>
                <a:gd name="connsiteY3180" fmla="*/ 4724482 h 5704395"/>
                <a:gd name="connsiteX3181" fmla="*/ 280775 w 5719680"/>
                <a:gd name="connsiteY3181" fmla="*/ 4772966 h 5704395"/>
                <a:gd name="connsiteX3182" fmla="*/ 207723 w 5719680"/>
                <a:gd name="connsiteY3182" fmla="*/ 4723531 h 5704395"/>
                <a:gd name="connsiteX3183" fmla="*/ 226462 w 5719680"/>
                <a:gd name="connsiteY3183" fmla="*/ 4685188 h 5704395"/>
                <a:gd name="connsiteX3184" fmla="*/ 236944 w 5719680"/>
                <a:gd name="connsiteY3184" fmla="*/ 4637972 h 5704395"/>
                <a:gd name="connsiteX3185" fmla="*/ 161668 w 5719680"/>
                <a:gd name="connsiteY3185" fmla="*/ 4634169 h 5704395"/>
                <a:gd name="connsiteX3186" fmla="*/ 125142 w 5719680"/>
                <a:gd name="connsiteY3186" fmla="*/ 4720046 h 5704395"/>
                <a:gd name="connsiteX3187" fmla="*/ 91792 w 5719680"/>
                <a:gd name="connsiteY3187" fmla="*/ 4706736 h 5704395"/>
                <a:gd name="connsiteX3188" fmla="*/ 26045 w 5719680"/>
                <a:gd name="connsiteY3188" fmla="*/ 4819548 h 5704395"/>
                <a:gd name="connsiteX3189" fmla="*/ 70194 w 5719680"/>
                <a:gd name="connsiteY3189" fmla="*/ 4857258 h 5704395"/>
                <a:gd name="connsiteX3190" fmla="*/ 86710 w 5719680"/>
                <a:gd name="connsiteY3190" fmla="*/ 4835710 h 5704395"/>
                <a:gd name="connsiteX3191" fmla="*/ 114343 w 5719680"/>
                <a:gd name="connsiteY3191" fmla="*/ 4799268 h 5704395"/>
                <a:gd name="connsiteX3192" fmla="*/ 140705 w 5719680"/>
                <a:gd name="connsiteY3192" fmla="*/ 4733672 h 5704395"/>
                <a:gd name="connsiteX3193" fmla="*/ 161668 w 5719680"/>
                <a:gd name="connsiteY3193" fmla="*/ 4679167 h 5704395"/>
                <a:gd name="connsiteX3194" fmla="*/ 169926 w 5719680"/>
                <a:gd name="connsiteY3194" fmla="*/ 4640190 h 5704395"/>
                <a:gd name="connsiteX3195" fmla="*/ 161668 w 5719680"/>
                <a:gd name="connsiteY3195" fmla="*/ 4634169 h 5704395"/>
                <a:gd name="connsiteX3196" fmla="*/ 650166 w 5719680"/>
                <a:gd name="connsiteY3196" fmla="*/ 4632584 h 5704395"/>
                <a:gd name="connsiteX3197" fmla="*/ 635556 w 5719680"/>
                <a:gd name="connsiteY3197" fmla="*/ 4663640 h 5704395"/>
                <a:gd name="connsiteX3198" fmla="*/ 653342 w 5719680"/>
                <a:gd name="connsiteY3198" fmla="*/ 4676315 h 5704395"/>
                <a:gd name="connsiteX3199" fmla="*/ 672399 w 5719680"/>
                <a:gd name="connsiteY3199" fmla="*/ 4648746 h 5704395"/>
                <a:gd name="connsiteX3200" fmla="*/ 650166 w 5719680"/>
                <a:gd name="connsiteY3200" fmla="*/ 4632584 h 5704395"/>
                <a:gd name="connsiteX3201" fmla="*/ 1619539 w 5719680"/>
                <a:gd name="connsiteY3201" fmla="*/ 4623395 h 5704395"/>
                <a:gd name="connsiteX3202" fmla="*/ 1572531 w 5719680"/>
                <a:gd name="connsiteY3202" fmla="*/ 4647478 h 5704395"/>
                <a:gd name="connsiteX3203" fmla="*/ 1617633 w 5719680"/>
                <a:gd name="connsiteY3203" fmla="*/ 4714658 h 5704395"/>
                <a:gd name="connsiteX3204" fmla="*/ 1659241 w 5719680"/>
                <a:gd name="connsiteY3204" fmla="*/ 4687723 h 5704395"/>
                <a:gd name="connsiteX3205" fmla="*/ 1619539 w 5719680"/>
                <a:gd name="connsiteY3205" fmla="*/ 4623395 h 5704395"/>
                <a:gd name="connsiteX3206" fmla="*/ 2412315 w 5719680"/>
                <a:gd name="connsiteY3206" fmla="*/ 4623078 h 5704395"/>
                <a:gd name="connsiteX3207" fmla="*/ 2323064 w 5719680"/>
                <a:gd name="connsiteY3207" fmla="*/ 4649380 h 5704395"/>
                <a:gd name="connsiteX3208" fmla="*/ 2298290 w 5719680"/>
                <a:gd name="connsiteY3208" fmla="*/ 4649380 h 5704395"/>
                <a:gd name="connsiteX3209" fmla="*/ 2374836 w 5719680"/>
                <a:gd name="connsiteY3209" fmla="*/ 4663640 h 5704395"/>
                <a:gd name="connsiteX3210" fmla="*/ 2415174 w 5719680"/>
                <a:gd name="connsiteY3210" fmla="*/ 4671245 h 5704395"/>
                <a:gd name="connsiteX3211" fmla="*/ 2419303 w 5719680"/>
                <a:gd name="connsiteY3211" fmla="*/ 4643992 h 5704395"/>
                <a:gd name="connsiteX3212" fmla="*/ 2421208 w 5719680"/>
                <a:gd name="connsiteY3212" fmla="*/ 4644309 h 5704395"/>
                <a:gd name="connsiteX3213" fmla="*/ 2446300 w 5719680"/>
                <a:gd name="connsiteY3213" fmla="*/ 4648112 h 5704395"/>
                <a:gd name="connsiteX3214" fmla="*/ 2444077 w 5719680"/>
                <a:gd name="connsiteY3214" fmla="*/ 4662689 h 5704395"/>
                <a:gd name="connsiteX3215" fmla="*/ 2457417 w 5719680"/>
                <a:gd name="connsiteY3215" fmla="*/ 4664907 h 5704395"/>
                <a:gd name="connsiteX3216" fmla="*/ 2455511 w 5719680"/>
                <a:gd name="connsiteY3216" fmla="*/ 4678533 h 5704395"/>
                <a:gd name="connsiteX3217" fmla="*/ 2461864 w 5719680"/>
                <a:gd name="connsiteY3217" fmla="*/ 4679801 h 5704395"/>
                <a:gd name="connsiteX3218" fmla="*/ 2467263 w 5719680"/>
                <a:gd name="connsiteY3218" fmla="*/ 4646844 h 5704395"/>
                <a:gd name="connsiteX3219" fmla="*/ 2412315 w 5719680"/>
                <a:gd name="connsiteY3219" fmla="*/ 4623078 h 5704395"/>
                <a:gd name="connsiteX3220" fmla="*/ 230592 w 5719680"/>
                <a:gd name="connsiteY3220" fmla="*/ 4623078 h 5704395"/>
                <a:gd name="connsiteX3221" fmla="*/ 219792 w 5719680"/>
                <a:gd name="connsiteY3221" fmla="*/ 4659837 h 5704395"/>
                <a:gd name="connsiteX3222" fmla="*/ 194065 w 5719680"/>
                <a:gd name="connsiteY3222" fmla="*/ 4726066 h 5704395"/>
                <a:gd name="connsiteX3223" fmla="*/ 247108 w 5719680"/>
                <a:gd name="connsiteY3223" fmla="*/ 4761875 h 5704395"/>
                <a:gd name="connsiteX3224" fmla="*/ 225827 w 5719680"/>
                <a:gd name="connsiteY3224" fmla="*/ 4846484 h 5704395"/>
                <a:gd name="connsiteX3225" fmla="*/ 283951 w 5719680"/>
                <a:gd name="connsiteY3225" fmla="*/ 4869617 h 5704395"/>
                <a:gd name="connsiteX3226" fmla="*/ 309361 w 5719680"/>
                <a:gd name="connsiteY3226" fmla="*/ 4774233 h 5704395"/>
                <a:gd name="connsiteX3227" fmla="*/ 294433 w 5719680"/>
                <a:gd name="connsiteY3227" fmla="*/ 4734622 h 5704395"/>
                <a:gd name="connsiteX3228" fmla="*/ 326512 w 5719680"/>
                <a:gd name="connsiteY3228" fmla="*/ 4695328 h 5704395"/>
                <a:gd name="connsiteX3229" fmla="*/ 656836 w 5719680"/>
                <a:gd name="connsiteY3229" fmla="*/ 4619275 h 5704395"/>
                <a:gd name="connsiteX3230" fmla="*/ 652072 w 5719680"/>
                <a:gd name="connsiteY3230" fmla="*/ 4628782 h 5704395"/>
                <a:gd name="connsiteX3231" fmla="*/ 678116 w 5719680"/>
                <a:gd name="connsiteY3231" fmla="*/ 4647795 h 5704395"/>
                <a:gd name="connsiteX3232" fmla="*/ 677164 w 5719680"/>
                <a:gd name="connsiteY3232" fmla="*/ 4649380 h 5704395"/>
                <a:gd name="connsiteX3233" fmla="*/ 654295 w 5719680"/>
                <a:gd name="connsiteY3233" fmla="*/ 4682019 h 5704395"/>
                <a:gd name="connsiteX3234" fmla="*/ 633650 w 5719680"/>
                <a:gd name="connsiteY3234" fmla="*/ 4667442 h 5704395"/>
                <a:gd name="connsiteX3235" fmla="*/ 614593 w 5719680"/>
                <a:gd name="connsiteY3235" fmla="*/ 4707053 h 5704395"/>
                <a:gd name="connsiteX3236" fmla="*/ 648260 w 5719680"/>
                <a:gd name="connsiteY3236" fmla="*/ 4715926 h 5704395"/>
                <a:gd name="connsiteX3237" fmla="*/ 683198 w 5719680"/>
                <a:gd name="connsiteY3237" fmla="*/ 4643042 h 5704395"/>
                <a:gd name="connsiteX3238" fmla="*/ 685104 w 5719680"/>
                <a:gd name="connsiteY3238" fmla="*/ 4643676 h 5704395"/>
                <a:gd name="connsiteX3239" fmla="*/ 656836 w 5719680"/>
                <a:gd name="connsiteY3239" fmla="*/ 4619275 h 5704395"/>
                <a:gd name="connsiteX3240" fmla="*/ 1865058 w 5719680"/>
                <a:gd name="connsiteY3240" fmla="*/ 4618958 h 5704395"/>
                <a:gd name="connsiteX3241" fmla="*/ 1833296 w 5719680"/>
                <a:gd name="connsiteY3241" fmla="*/ 4641140 h 5704395"/>
                <a:gd name="connsiteX3242" fmla="*/ 1847907 w 5719680"/>
                <a:gd name="connsiteY3242" fmla="*/ 4661421 h 5704395"/>
                <a:gd name="connsiteX3243" fmla="*/ 1879351 w 5719680"/>
                <a:gd name="connsiteY3243" fmla="*/ 4639239 h 5704395"/>
                <a:gd name="connsiteX3244" fmla="*/ 1865058 w 5719680"/>
                <a:gd name="connsiteY3244" fmla="*/ 4618958 h 5704395"/>
                <a:gd name="connsiteX3245" fmla="*/ 563774 w 5719680"/>
                <a:gd name="connsiteY3245" fmla="*/ 4618008 h 5704395"/>
                <a:gd name="connsiteX3246" fmla="*/ 553927 w 5719680"/>
                <a:gd name="connsiteY3246" fmla="*/ 4638605 h 5704395"/>
                <a:gd name="connsiteX3247" fmla="*/ 579655 w 5719680"/>
                <a:gd name="connsiteY3247" fmla="*/ 4669977 h 5704395"/>
                <a:gd name="connsiteX3248" fmla="*/ 594265 w 5719680"/>
                <a:gd name="connsiteY3248" fmla="*/ 4639556 h 5704395"/>
                <a:gd name="connsiteX3249" fmla="*/ 563774 w 5719680"/>
                <a:gd name="connsiteY3249" fmla="*/ 4618008 h 5704395"/>
                <a:gd name="connsiteX3250" fmla="*/ 1621127 w 5719680"/>
                <a:gd name="connsiteY3250" fmla="*/ 4617374 h 5704395"/>
                <a:gd name="connsiteX3251" fmla="*/ 1622397 w 5719680"/>
                <a:gd name="connsiteY3251" fmla="*/ 4618958 h 5704395"/>
                <a:gd name="connsiteX3252" fmla="*/ 1665593 w 5719680"/>
                <a:gd name="connsiteY3252" fmla="*/ 4688991 h 5704395"/>
                <a:gd name="connsiteX3253" fmla="*/ 1616362 w 5719680"/>
                <a:gd name="connsiteY3253" fmla="*/ 4720996 h 5704395"/>
                <a:gd name="connsiteX3254" fmla="*/ 1565861 w 5719680"/>
                <a:gd name="connsiteY3254" fmla="*/ 4645577 h 5704395"/>
                <a:gd name="connsiteX3255" fmla="*/ 1621127 w 5719680"/>
                <a:gd name="connsiteY3255" fmla="*/ 4617374 h 5704395"/>
                <a:gd name="connsiteX3256" fmla="*/ 1866011 w 5719680"/>
                <a:gd name="connsiteY3256" fmla="*/ 4613254 h 5704395"/>
                <a:gd name="connsiteX3257" fmla="*/ 1885068 w 5719680"/>
                <a:gd name="connsiteY3257" fmla="*/ 4640190 h 5704395"/>
                <a:gd name="connsiteX3258" fmla="*/ 1846954 w 5719680"/>
                <a:gd name="connsiteY3258" fmla="*/ 4667125 h 5704395"/>
                <a:gd name="connsiteX3259" fmla="*/ 1845683 w 5719680"/>
                <a:gd name="connsiteY3259" fmla="*/ 4665541 h 5704395"/>
                <a:gd name="connsiteX3260" fmla="*/ 1827579 w 5719680"/>
                <a:gd name="connsiteY3260" fmla="*/ 4640190 h 5704395"/>
                <a:gd name="connsiteX3261" fmla="*/ 1866011 w 5719680"/>
                <a:gd name="connsiteY3261" fmla="*/ 4613254 h 5704395"/>
                <a:gd name="connsiteX3262" fmla="*/ 526612 w 5719680"/>
                <a:gd name="connsiteY3262" fmla="*/ 4612621 h 5704395"/>
                <a:gd name="connsiteX3263" fmla="*/ 509143 w 5719680"/>
                <a:gd name="connsiteY3263" fmla="*/ 4649063 h 5704395"/>
                <a:gd name="connsiteX3264" fmla="*/ 470711 w 5719680"/>
                <a:gd name="connsiteY3264" fmla="*/ 4728602 h 5704395"/>
                <a:gd name="connsiteX3265" fmla="*/ 458324 w 5719680"/>
                <a:gd name="connsiteY3265" fmla="*/ 4755537 h 5704395"/>
                <a:gd name="connsiteX3266" fmla="*/ 454830 w 5719680"/>
                <a:gd name="connsiteY3266" fmla="*/ 4763459 h 5704395"/>
                <a:gd name="connsiteX3267" fmla="*/ 454513 w 5719680"/>
                <a:gd name="connsiteY3267" fmla="*/ 4763459 h 5704395"/>
                <a:gd name="connsiteX3268" fmla="*/ 480875 w 5719680"/>
                <a:gd name="connsiteY3268" fmla="*/ 4783106 h 5704395"/>
                <a:gd name="connsiteX3269" fmla="*/ 484051 w 5719680"/>
                <a:gd name="connsiteY3269" fmla="*/ 4776135 h 5704395"/>
                <a:gd name="connsiteX3270" fmla="*/ 459277 w 5719680"/>
                <a:gd name="connsiteY3270" fmla="*/ 4759023 h 5704395"/>
                <a:gd name="connsiteX3271" fmla="*/ 485004 w 5719680"/>
                <a:gd name="connsiteY3271" fmla="*/ 4724482 h 5704395"/>
                <a:gd name="connsiteX3272" fmla="*/ 502156 w 5719680"/>
                <a:gd name="connsiteY3272" fmla="*/ 4736841 h 5704395"/>
                <a:gd name="connsiteX3273" fmla="*/ 548528 w 5719680"/>
                <a:gd name="connsiteY3273" fmla="*/ 4639239 h 5704395"/>
                <a:gd name="connsiteX3274" fmla="*/ 526612 w 5719680"/>
                <a:gd name="connsiteY3274" fmla="*/ 4612621 h 5704395"/>
                <a:gd name="connsiteX3275" fmla="*/ 481193 w 5719680"/>
                <a:gd name="connsiteY3275" fmla="*/ 4612621 h 5704395"/>
                <a:gd name="connsiteX3276" fmla="*/ 475793 w 5719680"/>
                <a:gd name="connsiteY3276" fmla="*/ 4623712 h 5704395"/>
                <a:gd name="connsiteX3277" fmla="*/ 442443 w 5719680"/>
                <a:gd name="connsiteY3277" fmla="*/ 4693427 h 5704395"/>
                <a:gd name="connsiteX3278" fmla="*/ 470076 w 5719680"/>
                <a:gd name="connsiteY3278" fmla="*/ 4713391 h 5704395"/>
                <a:gd name="connsiteX3279" fmla="*/ 468806 w 5719680"/>
                <a:gd name="connsiteY3279" fmla="*/ 4714975 h 5704395"/>
                <a:gd name="connsiteX3280" fmla="*/ 445937 w 5719680"/>
                <a:gd name="connsiteY3280" fmla="*/ 4747932 h 5704395"/>
                <a:gd name="connsiteX3281" fmla="*/ 424339 w 5719680"/>
                <a:gd name="connsiteY3281" fmla="*/ 4732404 h 5704395"/>
                <a:gd name="connsiteX3282" fmla="*/ 421480 w 5719680"/>
                <a:gd name="connsiteY3282" fmla="*/ 4738742 h 5704395"/>
                <a:gd name="connsiteX3283" fmla="*/ 451019 w 5719680"/>
                <a:gd name="connsiteY3283" fmla="*/ 4760924 h 5704395"/>
                <a:gd name="connsiteX3284" fmla="*/ 512002 w 5719680"/>
                <a:gd name="connsiteY3284" fmla="*/ 4632901 h 5704395"/>
                <a:gd name="connsiteX3285" fmla="*/ 481193 w 5719680"/>
                <a:gd name="connsiteY3285" fmla="*/ 4612621 h 5704395"/>
                <a:gd name="connsiteX3286" fmla="*/ 2494578 w 5719680"/>
                <a:gd name="connsiteY3286" fmla="*/ 4610085 h 5704395"/>
                <a:gd name="connsiteX3287" fmla="*/ 2423432 w 5719680"/>
                <a:gd name="connsiteY3287" fmla="*/ 5042637 h 5704395"/>
                <a:gd name="connsiteX3288" fmla="*/ 2423114 w 5719680"/>
                <a:gd name="connsiteY3288" fmla="*/ 5043905 h 5704395"/>
                <a:gd name="connsiteX3289" fmla="*/ 2298925 w 5719680"/>
                <a:gd name="connsiteY3289" fmla="*/ 5325301 h 5704395"/>
                <a:gd name="connsiteX3290" fmla="*/ 2213486 w 5719680"/>
                <a:gd name="connsiteY3290" fmla="*/ 5518920 h 5704395"/>
                <a:gd name="connsiteX3291" fmla="*/ 2185218 w 5719680"/>
                <a:gd name="connsiteY3291" fmla="*/ 5583248 h 5704395"/>
                <a:gd name="connsiteX3292" fmla="*/ 2180453 w 5719680"/>
                <a:gd name="connsiteY3292" fmla="*/ 5594022 h 5704395"/>
                <a:gd name="connsiteX3293" fmla="*/ 2423432 w 5719680"/>
                <a:gd name="connsiteY3293" fmla="*/ 5680850 h 5704395"/>
                <a:gd name="connsiteX3294" fmla="*/ 2423749 w 5719680"/>
                <a:gd name="connsiteY3294" fmla="*/ 5681167 h 5704395"/>
                <a:gd name="connsiteX3295" fmla="*/ 2425655 w 5719680"/>
                <a:gd name="connsiteY3295" fmla="*/ 5682117 h 5704395"/>
                <a:gd name="connsiteX3296" fmla="*/ 2712782 w 5719680"/>
                <a:gd name="connsiteY3296" fmla="*/ 5162421 h 5704395"/>
                <a:gd name="connsiteX3297" fmla="*/ 2719452 w 5719680"/>
                <a:gd name="connsiteY3297" fmla="*/ 4879757 h 5704395"/>
                <a:gd name="connsiteX3298" fmla="*/ 2771224 w 5719680"/>
                <a:gd name="connsiteY3298" fmla="*/ 4802753 h 5704395"/>
                <a:gd name="connsiteX3299" fmla="*/ 2617497 w 5719680"/>
                <a:gd name="connsiteY3299" fmla="*/ 4695962 h 5704395"/>
                <a:gd name="connsiteX3300" fmla="*/ 2504107 w 5719680"/>
                <a:gd name="connsiteY3300" fmla="*/ 4617057 h 5704395"/>
                <a:gd name="connsiteX3301" fmla="*/ 2494578 w 5719680"/>
                <a:gd name="connsiteY3301" fmla="*/ 4610085 h 5704395"/>
                <a:gd name="connsiteX3302" fmla="*/ 614593 w 5719680"/>
                <a:gd name="connsiteY3302" fmla="*/ 4607233 h 5704395"/>
                <a:gd name="connsiteX3303" fmla="*/ 599665 w 5719680"/>
                <a:gd name="connsiteY3303" fmla="*/ 4638288 h 5704395"/>
                <a:gd name="connsiteX3304" fmla="*/ 631744 w 5719680"/>
                <a:gd name="connsiteY3304" fmla="*/ 4661104 h 5704395"/>
                <a:gd name="connsiteX3305" fmla="*/ 646672 w 5719680"/>
                <a:gd name="connsiteY3305" fmla="*/ 4630049 h 5704395"/>
                <a:gd name="connsiteX3306" fmla="*/ 614593 w 5719680"/>
                <a:gd name="connsiteY3306" fmla="*/ 4607233 h 5704395"/>
                <a:gd name="connsiteX3307" fmla="*/ 1235537 w 5719680"/>
                <a:gd name="connsiteY3307" fmla="*/ 4601529 h 5704395"/>
                <a:gd name="connsiteX3308" fmla="*/ 1223468 w 5719680"/>
                <a:gd name="connsiteY3308" fmla="*/ 4657619 h 5704395"/>
                <a:gd name="connsiteX3309" fmla="*/ 1233949 w 5719680"/>
                <a:gd name="connsiteY3309" fmla="*/ 4656985 h 5704395"/>
                <a:gd name="connsiteX3310" fmla="*/ 1267617 w 5719680"/>
                <a:gd name="connsiteY3310" fmla="*/ 4610402 h 5704395"/>
                <a:gd name="connsiteX3311" fmla="*/ 1235537 w 5719680"/>
                <a:gd name="connsiteY3311" fmla="*/ 4601529 h 5704395"/>
                <a:gd name="connsiteX3312" fmla="*/ 390989 w 5719680"/>
                <a:gd name="connsiteY3312" fmla="*/ 4601529 h 5704395"/>
                <a:gd name="connsiteX3313" fmla="*/ 373838 w 5719680"/>
                <a:gd name="connsiteY3313" fmla="*/ 4637655 h 5704395"/>
                <a:gd name="connsiteX3314" fmla="*/ 386225 w 5719680"/>
                <a:gd name="connsiteY3314" fmla="*/ 4648112 h 5704395"/>
                <a:gd name="connsiteX3315" fmla="*/ 403376 w 5719680"/>
                <a:gd name="connsiteY3315" fmla="*/ 4611987 h 5704395"/>
                <a:gd name="connsiteX3316" fmla="*/ 390989 w 5719680"/>
                <a:gd name="connsiteY3316" fmla="*/ 4601529 h 5704395"/>
                <a:gd name="connsiteX3317" fmla="*/ 1232044 w 5719680"/>
                <a:gd name="connsiteY3317" fmla="*/ 4595825 h 5704395"/>
                <a:gd name="connsiteX3318" fmla="*/ 1275557 w 5719680"/>
                <a:gd name="connsiteY3318" fmla="*/ 4607867 h 5704395"/>
                <a:gd name="connsiteX3319" fmla="*/ 1273652 w 5719680"/>
                <a:gd name="connsiteY3319" fmla="*/ 4610402 h 5704395"/>
                <a:gd name="connsiteX3320" fmla="*/ 1236173 w 5719680"/>
                <a:gd name="connsiteY3320" fmla="*/ 4661421 h 5704395"/>
                <a:gd name="connsiteX3321" fmla="*/ 1217751 w 5719680"/>
                <a:gd name="connsiteY3321" fmla="*/ 4663006 h 5704395"/>
                <a:gd name="connsiteX3322" fmla="*/ 1232044 w 5719680"/>
                <a:gd name="connsiteY3322" fmla="*/ 4595825 h 5704395"/>
                <a:gd name="connsiteX3323" fmla="*/ 1859023 w 5719680"/>
                <a:gd name="connsiteY3323" fmla="*/ 4592657 h 5704395"/>
                <a:gd name="connsiteX3324" fmla="*/ 1732611 w 5719680"/>
                <a:gd name="connsiteY3324" fmla="*/ 4697230 h 5704395"/>
                <a:gd name="connsiteX3325" fmla="*/ 1740234 w 5719680"/>
                <a:gd name="connsiteY3325" fmla="*/ 4752368 h 5704395"/>
                <a:gd name="connsiteX3326" fmla="*/ 1831708 w 5719680"/>
                <a:gd name="connsiteY3326" fmla="*/ 4697863 h 5704395"/>
                <a:gd name="connsiteX3327" fmla="*/ 1896185 w 5719680"/>
                <a:gd name="connsiteY3327" fmla="*/ 4659203 h 5704395"/>
                <a:gd name="connsiteX3328" fmla="*/ 1917465 w 5719680"/>
                <a:gd name="connsiteY3328" fmla="*/ 4646211 h 5704395"/>
                <a:gd name="connsiteX3329" fmla="*/ 1918735 w 5719680"/>
                <a:gd name="connsiteY3329" fmla="*/ 4645260 h 5704395"/>
                <a:gd name="connsiteX3330" fmla="*/ 1859023 w 5719680"/>
                <a:gd name="connsiteY3330" fmla="*/ 4592657 h 5704395"/>
                <a:gd name="connsiteX3331" fmla="*/ 446255 w 5719680"/>
                <a:gd name="connsiteY3331" fmla="*/ 4590438 h 5704395"/>
                <a:gd name="connsiteX3332" fmla="*/ 387495 w 5719680"/>
                <a:gd name="connsiteY3332" fmla="*/ 4713074 h 5704395"/>
                <a:gd name="connsiteX3333" fmla="*/ 417987 w 5719680"/>
                <a:gd name="connsiteY3333" fmla="*/ 4735890 h 5704395"/>
                <a:gd name="connsiteX3334" fmla="*/ 420528 w 5719680"/>
                <a:gd name="connsiteY3334" fmla="*/ 4729869 h 5704395"/>
                <a:gd name="connsiteX3335" fmla="*/ 392259 w 5719680"/>
                <a:gd name="connsiteY3335" fmla="*/ 4709905 h 5704395"/>
                <a:gd name="connsiteX3336" fmla="*/ 417987 w 5719680"/>
                <a:gd name="connsiteY3336" fmla="*/ 4675681 h 5704395"/>
                <a:gd name="connsiteX3337" fmla="*/ 438949 w 5719680"/>
                <a:gd name="connsiteY3337" fmla="*/ 4690575 h 5704395"/>
                <a:gd name="connsiteX3338" fmla="*/ 477381 w 5719680"/>
                <a:gd name="connsiteY3338" fmla="*/ 4610085 h 5704395"/>
                <a:gd name="connsiteX3339" fmla="*/ 454513 w 5719680"/>
                <a:gd name="connsiteY3339" fmla="*/ 4595509 h 5704395"/>
                <a:gd name="connsiteX3340" fmla="*/ 446255 w 5719680"/>
                <a:gd name="connsiteY3340" fmla="*/ 4590438 h 5704395"/>
                <a:gd name="connsiteX3341" fmla="*/ 622851 w 5719680"/>
                <a:gd name="connsiteY3341" fmla="*/ 4589805 h 5704395"/>
                <a:gd name="connsiteX3342" fmla="*/ 616498 w 5719680"/>
                <a:gd name="connsiteY3342" fmla="*/ 4603431 h 5704395"/>
                <a:gd name="connsiteX3343" fmla="*/ 648578 w 5719680"/>
                <a:gd name="connsiteY3343" fmla="*/ 4626247 h 5704395"/>
                <a:gd name="connsiteX3344" fmla="*/ 653342 w 5719680"/>
                <a:gd name="connsiteY3344" fmla="*/ 4616106 h 5704395"/>
                <a:gd name="connsiteX3345" fmla="*/ 622851 w 5719680"/>
                <a:gd name="connsiteY3345" fmla="*/ 4589805 h 5704395"/>
                <a:gd name="connsiteX3346" fmla="*/ 2459958 w 5719680"/>
                <a:gd name="connsiteY3346" fmla="*/ 4585685 h 5704395"/>
                <a:gd name="connsiteX3347" fmla="*/ 2417079 w 5719680"/>
                <a:gd name="connsiteY3347" fmla="*/ 4620543 h 5704395"/>
                <a:gd name="connsiteX3348" fmla="*/ 2468216 w 5719680"/>
                <a:gd name="connsiteY3348" fmla="*/ 4642408 h 5704395"/>
                <a:gd name="connsiteX3349" fmla="*/ 2475521 w 5719680"/>
                <a:gd name="connsiteY3349" fmla="*/ 4596776 h 5704395"/>
                <a:gd name="connsiteX3350" fmla="*/ 2466946 w 5719680"/>
                <a:gd name="connsiteY3350" fmla="*/ 4590438 h 5704395"/>
                <a:gd name="connsiteX3351" fmla="*/ 2459958 w 5719680"/>
                <a:gd name="connsiteY3351" fmla="*/ 4585685 h 5704395"/>
                <a:gd name="connsiteX3352" fmla="*/ 1219339 w 5719680"/>
                <a:gd name="connsiteY3352" fmla="*/ 4583467 h 5704395"/>
                <a:gd name="connsiteX3353" fmla="*/ 1205999 w 5719680"/>
                <a:gd name="connsiteY3353" fmla="*/ 4683920 h 5704395"/>
                <a:gd name="connsiteX3354" fmla="*/ 1239349 w 5719680"/>
                <a:gd name="connsiteY3354" fmla="*/ 4685188 h 5704395"/>
                <a:gd name="connsiteX3355" fmla="*/ 1302555 w 5719680"/>
                <a:gd name="connsiteY3355" fmla="*/ 4603114 h 5704395"/>
                <a:gd name="connsiteX3356" fmla="*/ 580607 w 5719680"/>
                <a:gd name="connsiteY3356" fmla="*/ 4582833 h 5704395"/>
                <a:gd name="connsiteX3357" fmla="*/ 565679 w 5719680"/>
                <a:gd name="connsiteY3357" fmla="*/ 4614205 h 5704395"/>
                <a:gd name="connsiteX3358" fmla="*/ 595853 w 5719680"/>
                <a:gd name="connsiteY3358" fmla="*/ 4635753 h 5704395"/>
                <a:gd name="connsiteX3359" fmla="*/ 611099 w 5719680"/>
                <a:gd name="connsiteY3359" fmla="*/ 4604381 h 5704395"/>
                <a:gd name="connsiteX3360" fmla="*/ 580607 w 5719680"/>
                <a:gd name="connsiteY3360" fmla="*/ 4582833 h 5704395"/>
                <a:gd name="connsiteX3361" fmla="*/ 1637643 w 5719680"/>
                <a:gd name="connsiteY3361" fmla="*/ 4578080 h 5704395"/>
                <a:gd name="connsiteX3362" fmla="*/ 1517901 w 5719680"/>
                <a:gd name="connsiteY3362" fmla="*/ 4641140 h 5704395"/>
                <a:gd name="connsiteX3363" fmla="*/ 1607151 w 5719680"/>
                <a:gd name="connsiteY3363" fmla="*/ 4768846 h 5704395"/>
                <a:gd name="connsiteX3364" fmla="*/ 1710060 w 5719680"/>
                <a:gd name="connsiteY3364" fmla="*/ 4691843 h 5704395"/>
                <a:gd name="connsiteX3365" fmla="*/ 1637643 w 5719680"/>
                <a:gd name="connsiteY3365" fmla="*/ 4578080 h 5704395"/>
                <a:gd name="connsiteX3366" fmla="*/ 60983 w 5719680"/>
                <a:gd name="connsiteY3366" fmla="*/ 4575862 h 5704395"/>
                <a:gd name="connsiteX3367" fmla="*/ 50184 w 5719680"/>
                <a:gd name="connsiteY3367" fmla="*/ 4591706 h 5704395"/>
                <a:gd name="connsiteX3368" fmla="*/ 62571 w 5719680"/>
                <a:gd name="connsiteY3368" fmla="*/ 4599945 h 5704395"/>
                <a:gd name="connsiteX3369" fmla="*/ 54948 w 5719680"/>
                <a:gd name="connsiteY3369" fmla="*/ 4611353 h 5704395"/>
                <a:gd name="connsiteX3370" fmla="*/ 78452 w 5719680"/>
                <a:gd name="connsiteY3370" fmla="*/ 4627514 h 5704395"/>
                <a:gd name="connsiteX3371" fmla="*/ 86393 w 5719680"/>
                <a:gd name="connsiteY3371" fmla="*/ 4616423 h 5704395"/>
                <a:gd name="connsiteX3372" fmla="*/ 98462 w 5719680"/>
                <a:gd name="connsiteY3372" fmla="*/ 4624662 h 5704395"/>
                <a:gd name="connsiteX3373" fmla="*/ 109261 w 5719680"/>
                <a:gd name="connsiteY3373" fmla="*/ 4609135 h 5704395"/>
                <a:gd name="connsiteX3374" fmla="*/ 60983 w 5719680"/>
                <a:gd name="connsiteY3374" fmla="*/ 4575862 h 5704395"/>
                <a:gd name="connsiteX3375" fmla="*/ 1639231 w 5719680"/>
                <a:gd name="connsiteY3375" fmla="*/ 4572059 h 5704395"/>
                <a:gd name="connsiteX3376" fmla="*/ 1716412 w 5719680"/>
                <a:gd name="connsiteY3376" fmla="*/ 4692793 h 5704395"/>
                <a:gd name="connsiteX3377" fmla="*/ 1714507 w 5719680"/>
                <a:gd name="connsiteY3377" fmla="*/ 4694061 h 5704395"/>
                <a:gd name="connsiteX3378" fmla="*/ 1606199 w 5719680"/>
                <a:gd name="connsiteY3378" fmla="*/ 4775501 h 5704395"/>
                <a:gd name="connsiteX3379" fmla="*/ 1511231 w 5719680"/>
                <a:gd name="connsiteY3379" fmla="*/ 4639556 h 5704395"/>
                <a:gd name="connsiteX3380" fmla="*/ 1639231 w 5719680"/>
                <a:gd name="connsiteY3380" fmla="*/ 4572059 h 5704395"/>
                <a:gd name="connsiteX3381" fmla="*/ 1099597 w 5719680"/>
                <a:gd name="connsiteY3381" fmla="*/ 4571108 h 5704395"/>
                <a:gd name="connsiteX3382" fmla="*/ 1090703 w 5719680"/>
                <a:gd name="connsiteY3382" fmla="*/ 4650964 h 5704395"/>
                <a:gd name="connsiteX3383" fmla="*/ 1125324 w 5719680"/>
                <a:gd name="connsiteY3383" fmla="*/ 4653182 h 5704395"/>
                <a:gd name="connsiteX3384" fmla="*/ 1131994 w 5719680"/>
                <a:gd name="connsiteY3384" fmla="*/ 4596776 h 5704395"/>
                <a:gd name="connsiteX3385" fmla="*/ 1192659 w 5719680"/>
                <a:gd name="connsiteY3385" fmla="*/ 4609135 h 5704395"/>
                <a:gd name="connsiteX3386" fmla="*/ 1194882 w 5719680"/>
                <a:gd name="connsiteY3386" fmla="*/ 4593924 h 5704395"/>
                <a:gd name="connsiteX3387" fmla="*/ 1099597 w 5719680"/>
                <a:gd name="connsiteY3387" fmla="*/ 4571108 h 5704395"/>
                <a:gd name="connsiteX3388" fmla="*/ 563456 w 5719680"/>
                <a:gd name="connsiteY3388" fmla="*/ 4570158 h 5704395"/>
                <a:gd name="connsiteX3389" fmla="*/ 542811 w 5719680"/>
                <a:gd name="connsiteY3389" fmla="*/ 4598044 h 5704395"/>
                <a:gd name="connsiteX3390" fmla="*/ 561868 w 5719680"/>
                <a:gd name="connsiteY3390" fmla="*/ 4611670 h 5704395"/>
                <a:gd name="connsiteX3391" fmla="*/ 577114 w 5719680"/>
                <a:gd name="connsiteY3391" fmla="*/ 4579981 h 5704395"/>
                <a:gd name="connsiteX3392" fmla="*/ 563456 w 5719680"/>
                <a:gd name="connsiteY3392" fmla="*/ 4570158 h 5704395"/>
                <a:gd name="connsiteX3393" fmla="*/ 60030 w 5719680"/>
                <a:gd name="connsiteY3393" fmla="*/ 4570158 h 5704395"/>
                <a:gd name="connsiteX3394" fmla="*/ 115296 w 5719680"/>
                <a:gd name="connsiteY3394" fmla="*/ 4608184 h 5704395"/>
                <a:gd name="connsiteX3395" fmla="*/ 114025 w 5719680"/>
                <a:gd name="connsiteY3395" fmla="*/ 4609769 h 5704395"/>
                <a:gd name="connsiteX3396" fmla="*/ 99733 w 5719680"/>
                <a:gd name="connsiteY3396" fmla="*/ 4630683 h 5704395"/>
                <a:gd name="connsiteX3397" fmla="*/ 87345 w 5719680"/>
                <a:gd name="connsiteY3397" fmla="*/ 4622127 h 5704395"/>
                <a:gd name="connsiteX3398" fmla="*/ 79405 w 5719680"/>
                <a:gd name="connsiteY3398" fmla="*/ 4633535 h 5704395"/>
                <a:gd name="connsiteX3399" fmla="*/ 48914 w 5719680"/>
                <a:gd name="connsiteY3399" fmla="*/ 4612304 h 5704395"/>
                <a:gd name="connsiteX3400" fmla="*/ 56854 w 5719680"/>
                <a:gd name="connsiteY3400" fmla="*/ 4601213 h 5704395"/>
                <a:gd name="connsiteX3401" fmla="*/ 44467 w 5719680"/>
                <a:gd name="connsiteY3401" fmla="*/ 4592657 h 5704395"/>
                <a:gd name="connsiteX3402" fmla="*/ 60030 w 5719680"/>
                <a:gd name="connsiteY3402" fmla="*/ 4570158 h 5704395"/>
                <a:gd name="connsiteX3403" fmla="*/ 1095468 w 5719680"/>
                <a:gd name="connsiteY3403" fmla="*/ 4565404 h 5704395"/>
                <a:gd name="connsiteX3404" fmla="*/ 1200282 w 5719680"/>
                <a:gd name="connsiteY3404" fmla="*/ 4590438 h 5704395"/>
                <a:gd name="connsiteX3405" fmla="*/ 1199964 w 5719680"/>
                <a:gd name="connsiteY3405" fmla="*/ 4592657 h 5704395"/>
                <a:gd name="connsiteX3406" fmla="*/ 1196788 w 5719680"/>
                <a:gd name="connsiteY3406" fmla="*/ 4614522 h 5704395"/>
                <a:gd name="connsiteX3407" fmla="*/ 1135805 w 5719680"/>
                <a:gd name="connsiteY3407" fmla="*/ 4602163 h 5704395"/>
                <a:gd name="connsiteX3408" fmla="*/ 1129453 w 5719680"/>
                <a:gd name="connsiteY3408" fmla="*/ 4657936 h 5704395"/>
                <a:gd name="connsiteX3409" fmla="*/ 1085304 w 5719680"/>
                <a:gd name="connsiteY3409" fmla="*/ 4655084 h 5704395"/>
                <a:gd name="connsiteX3410" fmla="*/ 1095468 w 5719680"/>
                <a:gd name="connsiteY3410" fmla="*/ 4565404 h 5704395"/>
                <a:gd name="connsiteX3411" fmla="*/ 409729 w 5719680"/>
                <a:gd name="connsiteY3411" fmla="*/ 4562235 h 5704395"/>
                <a:gd name="connsiteX3412" fmla="*/ 392259 w 5719680"/>
                <a:gd name="connsiteY3412" fmla="*/ 4598994 h 5704395"/>
                <a:gd name="connsiteX3413" fmla="*/ 404647 w 5719680"/>
                <a:gd name="connsiteY3413" fmla="*/ 4609769 h 5704395"/>
                <a:gd name="connsiteX3414" fmla="*/ 422433 w 5719680"/>
                <a:gd name="connsiteY3414" fmla="*/ 4572693 h 5704395"/>
                <a:gd name="connsiteX3415" fmla="*/ 409729 w 5719680"/>
                <a:gd name="connsiteY3415" fmla="*/ 4562235 h 5704395"/>
                <a:gd name="connsiteX3416" fmla="*/ 590771 w 5719680"/>
                <a:gd name="connsiteY3416" fmla="*/ 4561918 h 5704395"/>
                <a:gd name="connsiteX3417" fmla="*/ 582513 w 5719680"/>
                <a:gd name="connsiteY3417" fmla="*/ 4579030 h 5704395"/>
                <a:gd name="connsiteX3418" fmla="*/ 612687 w 5719680"/>
                <a:gd name="connsiteY3418" fmla="*/ 4600579 h 5704395"/>
                <a:gd name="connsiteX3419" fmla="*/ 619357 w 5719680"/>
                <a:gd name="connsiteY3419" fmla="*/ 4586953 h 5704395"/>
                <a:gd name="connsiteX3420" fmla="*/ 590771 w 5719680"/>
                <a:gd name="connsiteY3420" fmla="*/ 4561918 h 5704395"/>
                <a:gd name="connsiteX3421" fmla="*/ 2230002 w 5719680"/>
                <a:gd name="connsiteY3421" fmla="*/ 4561602 h 5704395"/>
                <a:gd name="connsiteX3422" fmla="*/ 2229684 w 5719680"/>
                <a:gd name="connsiteY3422" fmla="*/ 4562552 h 5704395"/>
                <a:gd name="connsiteX3423" fmla="*/ 2229684 w 5719680"/>
                <a:gd name="connsiteY3423" fmla="*/ 4564770 h 5704395"/>
                <a:gd name="connsiteX3424" fmla="*/ 2213168 w 5719680"/>
                <a:gd name="connsiteY3424" fmla="*/ 4563186 h 5704395"/>
                <a:gd name="connsiteX3425" fmla="*/ 2208404 w 5719680"/>
                <a:gd name="connsiteY3425" fmla="*/ 4613571 h 5704395"/>
                <a:gd name="connsiteX3426" fmla="*/ 2234766 w 5719680"/>
                <a:gd name="connsiteY3426" fmla="*/ 4615789 h 5704395"/>
                <a:gd name="connsiteX3427" fmla="*/ 2236990 w 5719680"/>
                <a:gd name="connsiteY3427" fmla="*/ 4592974 h 5704395"/>
                <a:gd name="connsiteX3428" fmla="*/ 2255094 w 5719680"/>
                <a:gd name="connsiteY3428" fmla="*/ 4594558 h 5704395"/>
                <a:gd name="connsiteX3429" fmla="*/ 2258588 w 5719680"/>
                <a:gd name="connsiteY3429" fmla="*/ 4564137 h 5704395"/>
                <a:gd name="connsiteX3430" fmla="*/ 2230002 w 5719680"/>
                <a:gd name="connsiteY3430" fmla="*/ 4561602 h 5704395"/>
                <a:gd name="connsiteX3431" fmla="*/ 1417533 w 5719680"/>
                <a:gd name="connsiteY3431" fmla="*/ 4561285 h 5704395"/>
                <a:gd name="connsiteX3432" fmla="*/ 1384501 w 5719680"/>
                <a:gd name="connsiteY3432" fmla="*/ 4577763 h 5704395"/>
                <a:gd name="connsiteX3433" fmla="*/ 1376878 w 5719680"/>
                <a:gd name="connsiteY3433" fmla="*/ 4574277 h 5704395"/>
                <a:gd name="connsiteX3434" fmla="*/ 1273969 w 5719680"/>
                <a:gd name="connsiteY3434" fmla="*/ 4696913 h 5704395"/>
                <a:gd name="connsiteX3435" fmla="*/ 1282227 w 5719680"/>
                <a:gd name="connsiteY3435" fmla="*/ 4718144 h 5704395"/>
                <a:gd name="connsiteX3436" fmla="*/ 1320024 w 5719680"/>
                <a:gd name="connsiteY3436" fmla="*/ 4694695 h 5704395"/>
                <a:gd name="connsiteX3437" fmla="*/ 1382277 w 5719680"/>
                <a:gd name="connsiteY3437" fmla="*/ 4603114 h 5704395"/>
                <a:gd name="connsiteX3438" fmla="*/ 1391806 w 5719680"/>
                <a:gd name="connsiteY3438" fmla="*/ 4617691 h 5704395"/>
                <a:gd name="connsiteX3439" fmla="*/ 1430238 w 5719680"/>
                <a:gd name="connsiteY3439" fmla="*/ 4600896 h 5704395"/>
                <a:gd name="connsiteX3440" fmla="*/ 1417533 w 5719680"/>
                <a:gd name="connsiteY3440" fmla="*/ 4561285 h 5704395"/>
                <a:gd name="connsiteX3441" fmla="*/ 1639231 w 5719680"/>
                <a:gd name="connsiteY3441" fmla="*/ 4559700 h 5704395"/>
                <a:gd name="connsiteX3442" fmla="*/ 1502337 w 5719680"/>
                <a:gd name="connsiteY3442" fmla="*/ 4637338 h 5704395"/>
                <a:gd name="connsiteX3443" fmla="*/ 1551886 w 5719680"/>
                <a:gd name="connsiteY3443" fmla="*/ 4709271 h 5704395"/>
                <a:gd name="connsiteX3444" fmla="*/ 1588094 w 5719680"/>
                <a:gd name="connsiteY3444" fmla="*/ 4761241 h 5704395"/>
                <a:gd name="connsiteX3445" fmla="*/ 1600164 w 5719680"/>
                <a:gd name="connsiteY3445" fmla="*/ 4778670 h 5704395"/>
                <a:gd name="connsiteX3446" fmla="*/ 1603975 w 5719680"/>
                <a:gd name="connsiteY3446" fmla="*/ 4783423 h 5704395"/>
                <a:gd name="connsiteX3447" fmla="*/ 1604293 w 5719680"/>
                <a:gd name="connsiteY3447" fmla="*/ 4783740 h 5704395"/>
                <a:gd name="connsiteX3448" fmla="*/ 1727211 w 5719680"/>
                <a:gd name="connsiteY3448" fmla="*/ 4695962 h 5704395"/>
                <a:gd name="connsiteX3449" fmla="*/ 1639231 w 5719680"/>
                <a:gd name="connsiteY3449" fmla="*/ 4559700 h 5704395"/>
                <a:gd name="connsiteX3450" fmla="*/ 2226190 w 5719680"/>
                <a:gd name="connsiteY3450" fmla="*/ 4556848 h 5704395"/>
                <a:gd name="connsiteX3451" fmla="*/ 2263352 w 5719680"/>
                <a:gd name="connsiteY3451" fmla="*/ 4560334 h 5704395"/>
                <a:gd name="connsiteX3452" fmla="*/ 2258905 w 5719680"/>
                <a:gd name="connsiteY3452" fmla="*/ 4598994 h 5704395"/>
                <a:gd name="connsiteX3453" fmla="*/ 2256682 w 5719680"/>
                <a:gd name="connsiteY3453" fmla="*/ 4598994 h 5704395"/>
                <a:gd name="connsiteX3454" fmla="*/ 2240801 w 5719680"/>
                <a:gd name="connsiteY3454" fmla="*/ 4597410 h 5704395"/>
                <a:gd name="connsiteX3455" fmla="*/ 2238578 w 5719680"/>
                <a:gd name="connsiteY3455" fmla="*/ 4620543 h 5704395"/>
                <a:gd name="connsiteX3456" fmla="*/ 2203957 w 5719680"/>
                <a:gd name="connsiteY3456" fmla="*/ 4617374 h 5704395"/>
                <a:gd name="connsiteX3457" fmla="*/ 2209356 w 5719680"/>
                <a:gd name="connsiteY3457" fmla="*/ 4558750 h 5704395"/>
                <a:gd name="connsiteX3458" fmla="*/ 2225873 w 5719680"/>
                <a:gd name="connsiteY3458" fmla="*/ 4560334 h 5704395"/>
                <a:gd name="connsiteX3459" fmla="*/ 2225873 w 5719680"/>
                <a:gd name="connsiteY3459" fmla="*/ 4559067 h 5704395"/>
                <a:gd name="connsiteX3460" fmla="*/ 1420392 w 5719680"/>
                <a:gd name="connsiteY3460" fmla="*/ 4554630 h 5704395"/>
                <a:gd name="connsiteX3461" fmla="*/ 1421344 w 5719680"/>
                <a:gd name="connsiteY3461" fmla="*/ 4557165 h 5704395"/>
                <a:gd name="connsiteX3462" fmla="*/ 1435955 w 5719680"/>
                <a:gd name="connsiteY3462" fmla="*/ 4603431 h 5704395"/>
                <a:gd name="connsiteX3463" fmla="*/ 1389900 w 5719680"/>
                <a:gd name="connsiteY3463" fmla="*/ 4623712 h 5704395"/>
                <a:gd name="connsiteX3464" fmla="*/ 1382277 w 5719680"/>
                <a:gd name="connsiteY3464" fmla="*/ 4611353 h 5704395"/>
                <a:gd name="connsiteX3465" fmla="*/ 1323518 w 5719680"/>
                <a:gd name="connsiteY3465" fmla="*/ 4697863 h 5704395"/>
                <a:gd name="connsiteX3466" fmla="*/ 1279686 w 5719680"/>
                <a:gd name="connsiteY3466" fmla="*/ 4725116 h 5704395"/>
                <a:gd name="connsiteX3467" fmla="*/ 1268570 w 5719680"/>
                <a:gd name="connsiteY3467" fmla="*/ 4695962 h 5704395"/>
                <a:gd name="connsiteX3468" fmla="*/ 1375607 w 5719680"/>
                <a:gd name="connsiteY3468" fmla="*/ 4568573 h 5704395"/>
                <a:gd name="connsiteX3469" fmla="*/ 1384183 w 5719680"/>
                <a:gd name="connsiteY3469" fmla="*/ 4572376 h 5704395"/>
                <a:gd name="connsiteX3470" fmla="*/ 1420392 w 5719680"/>
                <a:gd name="connsiteY3470" fmla="*/ 4554630 h 5704395"/>
                <a:gd name="connsiteX3471" fmla="*/ 641273 w 5719680"/>
                <a:gd name="connsiteY3471" fmla="*/ 4545123 h 5704395"/>
                <a:gd name="connsiteX3472" fmla="*/ 686057 w 5719680"/>
                <a:gd name="connsiteY3472" fmla="*/ 4596142 h 5704395"/>
                <a:gd name="connsiteX3473" fmla="*/ 765462 w 5719680"/>
                <a:gd name="connsiteY3473" fmla="*/ 4629416 h 5704395"/>
                <a:gd name="connsiteX3474" fmla="*/ 816281 w 5719680"/>
                <a:gd name="connsiteY3474" fmla="*/ 4690892 h 5704395"/>
                <a:gd name="connsiteX3475" fmla="*/ 855983 w 5719680"/>
                <a:gd name="connsiteY3475" fmla="*/ 4712440 h 5704395"/>
                <a:gd name="connsiteX3476" fmla="*/ 886792 w 5719680"/>
                <a:gd name="connsiteY3476" fmla="*/ 4729552 h 5704395"/>
                <a:gd name="connsiteX3477" fmla="*/ 893780 w 5719680"/>
                <a:gd name="connsiteY3477" fmla="*/ 4721313 h 5704395"/>
                <a:gd name="connsiteX3478" fmla="*/ 897591 w 5719680"/>
                <a:gd name="connsiteY3478" fmla="*/ 4704201 h 5704395"/>
                <a:gd name="connsiteX3479" fmla="*/ 892827 w 5719680"/>
                <a:gd name="connsiteY3479" fmla="*/ 4694061 h 5704395"/>
                <a:gd name="connsiteX3480" fmla="*/ 836926 w 5719680"/>
                <a:gd name="connsiteY3480" fmla="*/ 4683603 h 5704395"/>
                <a:gd name="connsiteX3481" fmla="*/ 776896 w 5719680"/>
                <a:gd name="connsiteY3481" fmla="*/ 4615789 h 5704395"/>
                <a:gd name="connsiteX3482" fmla="*/ 690504 w 5719680"/>
                <a:gd name="connsiteY3482" fmla="*/ 4587270 h 5704395"/>
                <a:gd name="connsiteX3483" fmla="*/ 641273 w 5719680"/>
                <a:gd name="connsiteY3483" fmla="*/ 4545123 h 5704395"/>
                <a:gd name="connsiteX3484" fmla="*/ 1732929 w 5719680"/>
                <a:gd name="connsiteY3484" fmla="*/ 4541004 h 5704395"/>
                <a:gd name="connsiteX3485" fmla="*/ 1697673 w 5719680"/>
                <a:gd name="connsiteY3485" fmla="*/ 4566355 h 5704395"/>
                <a:gd name="connsiteX3486" fmla="*/ 1743728 w 5719680"/>
                <a:gd name="connsiteY3486" fmla="*/ 4624979 h 5704395"/>
                <a:gd name="connsiteX3487" fmla="*/ 1786924 w 5719680"/>
                <a:gd name="connsiteY3487" fmla="*/ 4592657 h 5704395"/>
                <a:gd name="connsiteX3488" fmla="*/ 1732929 w 5719680"/>
                <a:gd name="connsiteY3488" fmla="*/ 4541004 h 5704395"/>
                <a:gd name="connsiteX3489" fmla="*/ 563138 w 5719680"/>
                <a:gd name="connsiteY3489" fmla="*/ 4537835 h 5704395"/>
                <a:gd name="connsiteX3490" fmla="*/ 528836 w 5719680"/>
                <a:gd name="connsiteY3490" fmla="*/ 4608501 h 5704395"/>
                <a:gd name="connsiteX3491" fmla="*/ 550751 w 5719680"/>
                <a:gd name="connsiteY3491" fmla="*/ 4635120 h 5704395"/>
                <a:gd name="connsiteX3492" fmla="*/ 559962 w 5719680"/>
                <a:gd name="connsiteY3492" fmla="*/ 4615473 h 5704395"/>
                <a:gd name="connsiteX3493" fmla="*/ 536776 w 5719680"/>
                <a:gd name="connsiteY3493" fmla="*/ 4598994 h 5704395"/>
                <a:gd name="connsiteX3494" fmla="*/ 562503 w 5719680"/>
                <a:gd name="connsiteY3494" fmla="*/ 4564454 h 5704395"/>
                <a:gd name="connsiteX3495" fmla="*/ 579019 w 5719680"/>
                <a:gd name="connsiteY3495" fmla="*/ 4576178 h 5704395"/>
                <a:gd name="connsiteX3496" fmla="*/ 587277 w 5719680"/>
                <a:gd name="connsiteY3496" fmla="*/ 4558750 h 5704395"/>
                <a:gd name="connsiteX3497" fmla="*/ 563138 w 5719680"/>
                <a:gd name="connsiteY3497" fmla="*/ 4537835 h 5704395"/>
                <a:gd name="connsiteX3498" fmla="*/ 635873 w 5719680"/>
                <a:gd name="connsiteY3498" fmla="*/ 4536251 h 5704395"/>
                <a:gd name="connsiteX3499" fmla="*/ 691774 w 5719680"/>
                <a:gd name="connsiteY3499" fmla="*/ 4585051 h 5704395"/>
                <a:gd name="connsiteX3500" fmla="*/ 777849 w 5719680"/>
                <a:gd name="connsiteY3500" fmla="*/ 4613254 h 5704395"/>
                <a:gd name="connsiteX3501" fmla="*/ 838514 w 5719680"/>
                <a:gd name="connsiteY3501" fmla="*/ 4681385 h 5704395"/>
                <a:gd name="connsiteX3502" fmla="*/ 893462 w 5719680"/>
                <a:gd name="connsiteY3502" fmla="*/ 4691526 h 5704395"/>
                <a:gd name="connsiteX3503" fmla="*/ 900132 w 5719680"/>
                <a:gd name="connsiteY3503" fmla="*/ 4704201 h 5704395"/>
                <a:gd name="connsiteX3504" fmla="*/ 886792 w 5719680"/>
                <a:gd name="connsiteY3504" fmla="*/ 4732087 h 5704395"/>
                <a:gd name="connsiteX3505" fmla="*/ 854395 w 5719680"/>
                <a:gd name="connsiteY3505" fmla="*/ 4714342 h 5704395"/>
                <a:gd name="connsiteX3506" fmla="*/ 814693 w 5719680"/>
                <a:gd name="connsiteY3506" fmla="*/ 4693110 h 5704395"/>
                <a:gd name="connsiteX3507" fmla="*/ 764191 w 5719680"/>
                <a:gd name="connsiteY3507" fmla="*/ 4631317 h 5704395"/>
                <a:gd name="connsiteX3508" fmla="*/ 684786 w 5719680"/>
                <a:gd name="connsiteY3508" fmla="*/ 4598361 h 5704395"/>
                <a:gd name="connsiteX3509" fmla="*/ 633650 w 5719680"/>
                <a:gd name="connsiteY3509" fmla="*/ 4537835 h 5704395"/>
                <a:gd name="connsiteX3510" fmla="*/ 635873 w 5719680"/>
                <a:gd name="connsiteY3510" fmla="*/ 4536251 h 5704395"/>
                <a:gd name="connsiteX3511" fmla="*/ 1979401 w 5719680"/>
                <a:gd name="connsiteY3511" fmla="*/ 4535300 h 5704395"/>
                <a:gd name="connsiteX3512" fmla="*/ 1979083 w 5719680"/>
                <a:gd name="connsiteY3512" fmla="*/ 4536567 h 5704395"/>
                <a:gd name="connsiteX3513" fmla="*/ 1979083 w 5719680"/>
                <a:gd name="connsiteY3513" fmla="*/ 4538469 h 5704395"/>
                <a:gd name="connsiteX3514" fmla="*/ 1962567 w 5719680"/>
                <a:gd name="connsiteY3514" fmla="*/ 4536884 h 5704395"/>
                <a:gd name="connsiteX3515" fmla="*/ 1957802 w 5719680"/>
                <a:gd name="connsiteY3515" fmla="*/ 4587270 h 5704395"/>
                <a:gd name="connsiteX3516" fmla="*/ 1984165 w 5719680"/>
                <a:gd name="connsiteY3516" fmla="*/ 4589805 h 5704395"/>
                <a:gd name="connsiteX3517" fmla="*/ 1986388 w 5719680"/>
                <a:gd name="connsiteY3517" fmla="*/ 4566672 h 5704395"/>
                <a:gd name="connsiteX3518" fmla="*/ 2004492 w 5719680"/>
                <a:gd name="connsiteY3518" fmla="*/ 4568256 h 5704395"/>
                <a:gd name="connsiteX3519" fmla="*/ 2007986 w 5719680"/>
                <a:gd name="connsiteY3519" fmla="*/ 4537835 h 5704395"/>
                <a:gd name="connsiteX3520" fmla="*/ 1979401 w 5719680"/>
                <a:gd name="connsiteY3520" fmla="*/ 4535300 h 5704395"/>
                <a:gd name="connsiteX3521" fmla="*/ 1733246 w 5719680"/>
                <a:gd name="connsiteY3521" fmla="*/ 4534983 h 5704395"/>
                <a:gd name="connsiteX3522" fmla="*/ 1793911 w 5719680"/>
                <a:gd name="connsiteY3522" fmla="*/ 4593290 h 5704395"/>
                <a:gd name="connsiteX3523" fmla="*/ 1791688 w 5719680"/>
                <a:gd name="connsiteY3523" fmla="*/ 4594875 h 5704395"/>
                <a:gd name="connsiteX3524" fmla="*/ 1742775 w 5719680"/>
                <a:gd name="connsiteY3524" fmla="*/ 4631634 h 5704395"/>
                <a:gd name="connsiteX3525" fmla="*/ 1691003 w 5719680"/>
                <a:gd name="connsiteY3525" fmla="*/ 4565404 h 5704395"/>
                <a:gd name="connsiteX3526" fmla="*/ 1733246 w 5719680"/>
                <a:gd name="connsiteY3526" fmla="*/ 4534983 h 5704395"/>
                <a:gd name="connsiteX3527" fmla="*/ 2063252 w 5719680"/>
                <a:gd name="connsiteY3527" fmla="*/ 4532765 h 5704395"/>
                <a:gd name="connsiteX3528" fmla="*/ 2063252 w 5719680"/>
                <a:gd name="connsiteY3528" fmla="*/ 4534032 h 5704395"/>
                <a:gd name="connsiteX3529" fmla="*/ 2062934 w 5719680"/>
                <a:gd name="connsiteY3529" fmla="*/ 4536251 h 5704395"/>
                <a:gd name="connsiteX3530" fmla="*/ 2046418 w 5719680"/>
                <a:gd name="connsiteY3530" fmla="*/ 4534666 h 5704395"/>
                <a:gd name="connsiteX3531" fmla="*/ 2041972 w 5719680"/>
                <a:gd name="connsiteY3531" fmla="*/ 4584734 h 5704395"/>
                <a:gd name="connsiteX3532" fmla="*/ 2068334 w 5719680"/>
                <a:gd name="connsiteY3532" fmla="*/ 4587270 h 5704395"/>
                <a:gd name="connsiteX3533" fmla="*/ 2070240 w 5719680"/>
                <a:gd name="connsiteY3533" fmla="*/ 4564137 h 5704395"/>
                <a:gd name="connsiteX3534" fmla="*/ 2088662 w 5719680"/>
                <a:gd name="connsiteY3534" fmla="*/ 4566038 h 5704395"/>
                <a:gd name="connsiteX3535" fmla="*/ 2092155 w 5719680"/>
                <a:gd name="connsiteY3535" fmla="*/ 4535617 h 5704395"/>
                <a:gd name="connsiteX3536" fmla="*/ 2063252 w 5719680"/>
                <a:gd name="connsiteY3536" fmla="*/ 4532765 h 5704395"/>
                <a:gd name="connsiteX3537" fmla="*/ 1975589 w 5719680"/>
                <a:gd name="connsiteY3537" fmla="*/ 4530863 h 5704395"/>
                <a:gd name="connsiteX3538" fmla="*/ 2012751 w 5719680"/>
                <a:gd name="connsiteY3538" fmla="*/ 4534349 h 5704395"/>
                <a:gd name="connsiteX3539" fmla="*/ 2008304 w 5719680"/>
                <a:gd name="connsiteY3539" fmla="*/ 4573010 h 5704395"/>
                <a:gd name="connsiteX3540" fmla="*/ 2006081 w 5719680"/>
                <a:gd name="connsiteY3540" fmla="*/ 4572693 h 5704395"/>
                <a:gd name="connsiteX3541" fmla="*/ 1990200 w 5719680"/>
                <a:gd name="connsiteY3541" fmla="*/ 4571108 h 5704395"/>
                <a:gd name="connsiteX3542" fmla="*/ 1987976 w 5719680"/>
                <a:gd name="connsiteY3542" fmla="*/ 4594241 h 5704395"/>
                <a:gd name="connsiteX3543" fmla="*/ 1953038 w 5719680"/>
                <a:gd name="connsiteY3543" fmla="*/ 4591072 h 5704395"/>
                <a:gd name="connsiteX3544" fmla="*/ 1958755 w 5719680"/>
                <a:gd name="connsiteY3544" fmla="*/ 4532448 h 5704395"/>
                <a:gd name="connsiteX3545" fmla="*/ 1975272 w 5719680"/>
                <a:gd name="connsiteY3545" fmla="*/ 4534032 h 5704395"/>
                <a:gd name="connsiteX3546" fmla="*/ 1975272 w 5719680"/>
                <a:gd name="connsiteY3546" fmla="*/ 4532765 h 5704395"/>
                <a:gd name="connsiteX3547" fmla="*/ 1975589 w 5719680"/>
                <a:gd name="connsiteY3547" fmla="*/ 4530863 h 5704395"/>
                <a:gd name="connsiteX3548" fmla="*/ 2154091 w 5719680"/>
                <a:gd name="connsiteY3548" fmla="*/ 4530230 h 5704395"/>
                <a:gd name="connsiteX3549" fmla="*/ 2153773 w 5719680"/>
                <a:gd name="connsiteY3549" fmla="*/ 4531497 h 5704395"/>
                <a:gd name="connsiteX3550" fmla="*/ 2153773 w 5719680"/>
                <a:gd name="connsiteY3550" fmla="*/ 4533715 h 5704395"/>
                <a:gd name="connsiteX3551" fmla="*/ 2137257 w 5719680"/>
                <a:gd name="connsiteY3551" fmla="*/ 4532131 h 5704395"/>
                <a:gd name="connsiteX3552" fmla="*/ 2132493 w 5719680"/>
                <a:gd name="connsiteY3552" fmla="*/ 4582199 h 5704395"/>
                <a:gd name="connsiteX3553" fmla="*/ 2158855 w 5719680"/>
                <a:gd name="connsiteY3553" fmla="*/ 4584734 h 5704395"/>
                <a:gd name="connsiteX3554" fmla="*/ 2161078 w 5719680"/>
                <a:gd name="connsiteY3554" fmla="*/ 4561918 h 5704395"/>
                <a:gd name="connsiteX3555" fmla="*/ 2179183 w 5719680"/>
                <a:gd name="connsiteY3555" fmla="*/ 4563503 h 5704395"/>
                <a:gd name="connsiteX3556" fmla="*/ 2182994 w 5719680"/>
                <a:gd name="connsiteY3556" fmla="*/ 4533082 h 5704395"/>
                <a:gd name="connsiteX3557" fmla="*/ 2154091 w 5719680"/>
                <a:gd name="connsiteY3557" fmla="*/ 4530230 h 5704395"/>
                <a:gd name="connsiteX3558" fmla="*/ 317937 w 5719680"/>
                <a:gd name="connsiteY3558" fmla="*/ 4530230 h 5704395"/>
                <a:gd name="connsiteX3559" fmla="*/ 300468 w 5719680"/>
                <a:gd name="connsiteY3559" fmla="*/ 4548926 h 5704395"/>
                <a:gd name="connsiteX3560" fmla="*/ 325560 w 5719680"/>
                <a:gd name="connsiteY3560" fmla="*/ 4565404 h 5704395"/>
                <a:gd name="connsiteX3561" fmla="*/ 329053 w 5719680"/>
                <a:gd name="connsiteY3561" fmla="*/ 4567622 h 5704395"/>
                <a:gd name="connsiteX3562" fmla="*/ 327148 w 5719680"/>
                <a:gd name="connsiteY3562" fmla="*/ 4571108 h 5704395"/>
                <a:gd name="connsiteX3563" fmla="*/ 307773 w 5719680"/>
                <a:gd name="connsiteY3563" fmla="*/ 4611036 h 5704395"/>
                <a:gd name="connsiteX3564" fmla="*/ 303961 w 5719680"/>
                <a:gd name="connsiteY3564" fmla="*/ 4618958 h 5704395"/>
                <a:gd name="connsiteX3565" fmla="*/ 299832 w 5719680"/>
                <a:gd name="connsiteY3565" fmla="*/ 4611036 h 5704395"/>
                <a:gd name="connsiteX3566" fmla="*/ 280458 w 5719680"/>
                <a:gd name="connsiteY3566" fmla="*/ 4573960 h 5704395"/>
                <a:gd name="connsiteX3567" fmla="*/ 256636 w 5719680"/>
                <a:gd name="connsiteY3567" fmla="*/ 4598994 h 5704395"/>
                <a:gd name="connsiteX3568" fmla="*/ 316031 w 5719680"/>
                <a:gd name="connsiteY3568" fmla="*/ 4641457 h 5704395"/>
                <a:gd name="connsiteX3569" fmla="*/ 359545 w 5719680"/>
                <a:gd name="connsiteY3569" fmla="*/ 4553046 h 5704395"/>
                <a:gd name="connsiteX3570" fmla="*/ 317937 w 5719680"/>
                <a:gd name="connsiteY3570" fmla="*/ 4530230 h 5704395"/>
                <a:gd name="connsiteX3571" fmla="*/ 2059758 w 5719680"/>
                <a:gd name="connsiteY3571" fmla="*/ 4528328 h 5704395"/>
                <a:gd name="connsiteX3572" fmla="*/ 2096920 w 5719680"/>
                <a:gd name="connsiteY3572" fmla="*/ 4531814 h 5704395"/>
                <a:gd name="connsiteX3573" fmla="*/ 2092155 w 5719680"/>
                <a:gd name="connsiteY3573" fmla="*/ 4570474 h 5704395"/>
                <a:gd name="connsiteX3574" fmla="*/ 2090250 w 5719680"/>
                <a:gd name="connsiteY3574" fmla="*/ 4570158 h 5704395"/>
                <a:gd name="connsiteX3575" fmla="*/ 2074051 w 5719680"/>
                <a:gd name="connsiteY3575" fmla="*/ 4568890 h 5704395"/>
                <a:gd name="connsiteX3576" fmla="*/ 2072145 w 5719680"/>
                <a:gd name="connsiteY3576" fmla="*/ 4591706 h 5704395"/>
                <a:gd name="connsiteX3577" fmla="*/ 2037207 w 5719680"/>
                <a:gd name="connsiteY3577" fmla="*/ 4588537 h 5704395"/>
                <a:gd name="connsiteX3578" fmla="*/ 2042924 w 5719680"/>
                <a:gd name="connsiteY3578" fmla="*/ 4529913 h 5704395"/>
                <a:gd name="connsiteX3579" fmla="*/ 2059440 w 5719680"/>
                <a:gd name="connsiteY3579" fmla="*/ 4531497 h 5704395"/>
                <a:gd name="connsiteX3580" fmla="*/ 2059440 w 5719680"/>
                <a:gd name="connsiteY3580" fmla="*/ 4530230 h 5704395"/>
                <a:gd name="connsiteX3581" fmla="*/ 522801 w 5719680"/>
                <a:gd name="connsiteY3581" fmla="*/ 4526427 h 5704395"/>
                <a:gd name="connsiteX3582" fmla="*/ 507873 w 5719680"/>
                <a:gd name="connsiteY3582" fmla="*/ 4557482 h 5704395"/>
                <a:gd name="connsiteX3583" fmla="*/ 528518 w 5719680"/>
                <a:gd name="connsiteY3583" fmla="*/ 4572059 h 5704395"/>
                <a:gd name="connsiteX3584" fmla="*/ 547575 w 5719680"/>
                <a:gd name="connsiteY3584" fmla="*/ 4544490 h 5704395"/>
                <a:gd name="connsiteX3585" fmla="*/ 522801 w 5719680"/>
                <a:gd name="connsiteY3585" fmla="*/ 4526427 h 5704395"/>
                <a:gd name="connsiteX3586" fmla="*/ 426880 w 5719680"/>
                <a:gd name="connsiteY3586" fmla="*/ 4526110 h 5704395"/>
                <a:gd name="connsiteX3587" fmla="*/ 410999 w 5719680"/>
                <a:gd name="connsiteY3587" fmla="*/ 4559700 h 5704395"/>
                <a:gd name="connsiteX3588" fmla="*/ 423704 w 5719680"/>
                <a:gd name="connsiteY3588" fmla="*/ 4570474 h 5704395"/>
                <a:gd name="connsiteX3589" fmla="*/ 439585 w 5719680"/>
                <a:gd name="connsiteY3589" fmla="*/ 4536884 h 5704395"/>
                <a:gd name="connsiteX3590" fmla="*/ 426880 w 5719680"/>
                <a:gd name="connsiteY3590" fmla="*/ 4526110 h 5704395"/>
                <a:gd name="connsiteX3591" fmla="*/ 2150280 w 5719680"/>
                <a:gd name="connsiteY3591" fmla="*/ 4525793 h 5704395"/>
                <a:gd name="connsiteX3592" fmla="*/ 2187441 w 5719680"/>
                <a:gd name="connsiteY3592" fmla="*/ 4529279 h 5704395"/>
                <a:gd name="connsiteX3593" fmla="*/ 2182994 w 5719680"/>
                <a:gd name="connsiteY3593" fmla="*/ 4567939 h 5704395"/>
                <a:gd name="connsiteX3594" fmla="*/ 2180771 w 5719680"/>
                <a:gd name="connsiteY3594" fmla="*/ 4567939 h 5704395"/>
                <a:gd name="connsiteX3595" fmla="*/ 2164890 w 5719680"/>
                <a:gd name="connsiteY3595" fmla="*/ 4566355 h 5704395"/>
                <a:gd name="connsiteX3596" fmla="*/ 2162667 w 5719680"/>
                <a:gd name="connsiteY3596" fmla="*/ 4589488 h 5704395"/>
                <a:gd name="connsiteX3597" fmla="*/ 2128046 w 5719680"/>
                <a:gd name="connsiteY3597" fmla="*/ 4586002 h 5704395"/>
                <a:gd name="connsiteX3598" fmla="*/ 2133446 w 5719680"/>
                <a:gd name="connsiteY3598" fmla="*/ 4527695 h 5704395"/>
                <a:gd name="connsiteX3599" fmla="*/ 2149962 w 5719680"/>
                <a:gd name="connsiteY3599" fmla="*/ 4529279 h 5704395"/>
                <a:gd name="connsiteX3600" fmla="*/ 2149962 w 5719680"/>
                <a:gd name="connsiteY3600" fmla="*/ 4528011 h 5704395"/>
                <a:gd name="connsiteX3601" fmla="*/ 316984 w 5719680"/>
                <a:gd name="connsiteY3601" fmla="*/ 4524526 h 5704395"/>
                <a:gd name="connsiteX3602" fmla="*/ 365580 w 5719680"/>
                <a:gd name="connsiteY3602" fmla="*/ 4551144 h 5704395"/>
                <a:gd name="connsiteX3603" fmla="*/ 317619 w 5719680"/>
                <a:gd name="connsiteY3603" fmla="*/ 4648112 h 5704395"/>
                <a:gd name="connsiteX3604" fmla="*/ 249966 w 5719680"/>
                <a:gd name="connsiteY3604" fmla="*/ 4599628 h 5704395"/>
                <a:gd name="connsiteX3605" fmla="*/ 281411 w 5719680"/>
                <a:gd name="connsiteY3605" fmla="*/ 4566672 h 5704395"/>
                <a:gd name="connsiteX3606" fmla="*/ 303644 w 5719680"/>
                <a:gd name="connsiteY3606" fmla="*/ 4609135 h 5704395"/>
                <a:gd name="connsiteX3607" fmla="*/ 323336 w 5719680"/>
                <a:gd name="connsiteY3607" fmla="*/ 4569207 h 5704395"/>
                <a:gd name="connsiteX3608" fmla="*/ 293480 w 5719680"/>
                <a:gd name="connsiteY3608" fmla="*/ 4549560 h 5704395"/>
                <a:gd name="connsiteX3609" fmla="*/ 316984 w 5719680"/>
                <a:gd name="connsiteY3609" fmla="*/ 4524526 h 5704395"/>
                <a:gd name="connsiteX3610" fmla="*/ 1271 w 5719680"/>
                <a:gd name="connsiteY3610" fmla="*/ 4521040 h 5704395"/>
                <a:gd name="connsiteX3611" fmla="*/ 21281 w 5719680"/>
                <a:gd name="connsiteY3611" fmla="*/ 4534666 h 5704395"/>
                <a:gd name="connsiteX3612" fmla="*/ 20010 w 5719680"/>
                <a:gd name="connsiteY3612" fmla="*/ 4536567 h 5704395"/>
                <a:gd name="connsiteX3613" fmla="*/ 5717 w 5719680"/>
                <a:gd name="connsiteY3613" fmla="*/ 4557482 h 5704395"/>
                <a:gd name="connsiteX3614" fmla="*/ 1271 w 5719680"/>
                <a:gd name="connsiteY3614" fmla="*/ 4554313 h 5704395"/>
                <a:gd name="connsiteX3615" fmla="*/ 1271 w 5719680"/>
                <a:gd name="connsiteY3615" fmla="*/ 4549243 h 5704395"/>
                <a:gd name="connsiteX3616" fmla="*/ 4765 w 5719680"/>
                <a:gd name="connsiteY3616" fmla="*/ 4551461 h 5704395"/>
                <a:gd name="connsiteX3617" fmla="*/ 15564 w 5719680"/>
                <a:gd name="connsiteY3617" fmla="*/ 4535934 h 5704395"/>
                <a:gd name="connsiteX3618" fmla="*/ 1271 w 5719680"/>
                <a:gd name="connsiteY3618" fmla="*/ 4526110 h 5704395"/>
                <a:gd name="connsiteX3619" fmla="*/ 1271 w 5719680"/>
                <a:gd name="connsiteY3619" fmla="*/ 4521040 h 5704395"/>
                <a:gd name="connsiteX3620" fmla="*/ 2303690 w 5719680"/>
                <a:gd name="connsiteY3620" fmla="*/ 4520406 h 5704395"/>
                <a:gd name="connsiteX3621" fmla="*/ 2303690 w 5719680"/>
                <a:gd name="connsiteY3621" fmla="*/ 4521674 h 5704395"/>
                <a:gd name="connsiteX3622" fmla="*/ 2303372 w 5719680"/>
                <a:gd name="connsiteY3622" fmla="*/ 4523892 h 5704395"/>
                <a:gd name="connsiteX3623" fmla="*/ 2286856 w 5719680"/>
                <a:gd name="connsiteY3623" fmla="*/ 4522308 h 5704395"/>
                <a:gd name="connsiteX3624" fmla="*/ 2282091 w 5719680"/>
                <a:gd name="connsiteY3624" fmla="*/ 4572693 h 5704395"/>
                <a:gd name="connsiteX3625" fmla="*/ 2308454 w 5719680"/>
                <a:gd name="connsiteY3625" fmla="*/ 4574911 h 5704395"/>
                <a:gd name="connsiteX3626" fmla="*/ 2310677 w 5719680"/>
                <a:gd name="connsiteY3626" fmla="*/ 4552095 h 5704395"/>
                <a:gd name="connsiteX3627" fmla="*/ 2329099 w 5719680"/>
                <a:gd name="connsiteY3627" fmla="*/ 4553679 h 5704395"/>
                <a:gd name="connsiteX3628" fmla="*/ 2332593 w 5719680"/>
                <a:gd name="connsiteY3628" fmla="*/ 4523258 h 5704395"/>
                <a:gd name="connsiteX3629" fmla="*/ 2303690 w 5719680"/>
                <a:gd name="connsiteY3629" fmla="*/ 4520406 h 5704395"/>
                <a:gd name="connsiteX3630" fmla="*/ 1392124 w 5719680"/>
                <a:gd name="connsiteY3630" fmla="*/ 4519772 h 5704395"/>
                <a:gd name="connsiteX3631" fmla="*/ 1384183 w 5719680"/>
                <a:gd name="connsiteY3631" fmla="*/ 4529913 h 5704395"/>
                <a:gd name="connsiteX3632" fmla="*/ 1384183 w 5719680"/>
                <a:gd name="connsiteY3632" fmla="*/ 4530230 h 5704395"/>
                <a:gd name="connsiteX3633" fmla="*/ 1256183 w 5719680"/>
                <a:gd name="connsiteY3633" fmla="*/ 4697230 h 5704395"/>
                <a:gd name="connsiteX3634" fmla="*/ 1275240 w 5719680"/>
                <a:gd name="connsiteY3634" fmla="*/ 4742228 h 5704395"/>
                <a:gd name="connsiteX3635" fmla="*/ 1284451 w 5719680"/>
                <a:gd name="connsiteY3635" fmla="*/ 4737158 h 5704395"/>
                <a:gd name="connsiteX3636" fmla="*/ 1460729 w 5719680"/>
                <a:gd name="connsiteY3636" fmla="*/ 4637021 h 5704395"/>
                <a:gd name="connsiteX3637" fmla="*/ 1455647 w 5719680"/>
                <a:gd name="connsiteY3637" fmla="*/ 4620543 h 5704395"/>
                <a:gd name="connsiteX3638" fmla="*/ 1425474 w 5719680"/>
                <a:gd name="connsiteY3638" fmla="*/ 4520089 h 5704395"/>
                <a:gd name="connsiteX3639" fmla="*/ 1392124 w 5719680"/>
                <a:gd name="connsiteY3639" fmla="*/ 4519772 h 5704395"/>
                <a:gd name="connsiteX3640" fmla="*/ 309996 w 5719680"/>
                <a:gd name="connsiteY3640" fmla="*/ 4518188 h 5704395"/>
                <a:gd name="connsiteX3641" fmla="*/ 280775 w 5719680"/>
                <a:gd name="connsiteY3641" fmla="*/ 4547975 h 5704395"/>
                <a:gd name="connsiteX3642" fmla="*/ 270294 w 5719680"/>
                <a:gd name="connsiteY3642" fmla="*/ 4558750 h 5704395"/>
                <a:gd name="connsiteX3643" fmla="*/ 267118 w 5719680"/>
                <a:gd name="connsiteY3643" fmla="*/ 4561918 h 5704395"/>
                <a:gd name="connsiteX3644" fmla="*/ 266165 w 5719680"/>
                <a:gd name="connsiteY3644" fmla="*/ 4562869 h 5704395"/>
                <a:gd name="connsiteX3645" fmla="*/ 265847 w 5719680"/>
                <a:gd name="connsiteY3645" fmla="*/ 4563186 h 5704395"/>
                <a:gd name="connsiteX3646" fmla="*/ 265530 w 5719680"/>
                <a:gd name="connsiteY3646" fmla="*/ 4563503 h 5704395"/>
                <a:gd name="connsiteX3647" fmla="*/ 249331 w 5719680"/>
                <a:gd name="connsiteY3647" fmla="*/ 4581566 h 5704395"/>
                <a:gd name="connsiteX3648" fmla="*/ 238850 w 5719680"/>
                <a:gd name="connsiteY3648" fmla="*/ 4594558 h 5704395"/>
                <a:gd name="connsiteX3649" fmla="*/ 235356 w 5719680"/>
                <a:gd name="connsiteY3649" fmla="*/ 4599311 h 5704395"/>
                <a:gd name="connsiteX3650" fmla="*/ 331594 w 5719680"/>
                <a:gd name="connsiteY3650" fmla="*/ 4672195 h 5704395"/>
                <a:gd name="connsiteX3651" fmla="*/ 385590 w 5719680"/>
                <a:gd name="connsiteY3651" fmla="*/ 4559067 h 5704395"/>
                <a:gd name="connsiteX3652" fmla="*/ 2299878 w 5719680"/>
                <a:gd name="connsiteY3652" fmla="*/ 4515970 h 5704395"/>
                <a:gd name="connsiteX3653" fmla="*/ 2337040 w 5719680"/>
                <a:gd name="connsiteY3653" fmla="*/ 4519456 h 5704395"/>
                <a:gd name="connsiteX3654" fmla="*/ 2332593 w 5719680"/>
                <a:gd name="connsiteY3654" fmla="*/ 4558116 h 5704395"/>
                <a:gd name="connsiteX3655" fmla="*/ 2330687 w 5719680"/>
                <a:gd name="connsiteY3655" fmla="*/ 4558116 h 5704395"/>
                <a:gd name="connsiteX3656" fmla="*/ 2314488 w 5719680"/>
                <a:gd name="connsiteY3656" fmla="*/ 4556531 h 5704395"/>
                <a:gd name="connsiteX3657" fmla="*/ 2312265 w 5719680"/>
                <a:gd name="connsiteY3657" fmla="*/ 4579664 h 5704395"/>
                <a:gd name="connsiteX3658" fmla="*/ 2277645 w 5719680"/>
                <a:gd name="connsiteY3658" fmla="*/ 4576178 h 5704395"/>
                <a:gd name="connsiteX3659" fmla="*/ 2283044 w 5719680"/>
                <a:gd name="connsiteY3659" fmla="*/ 4517871 h 5704395"/>
                <a:gd name="connsiteX3660" fmla="*/ 2299560 w 5719680"/>
                <a:gd name="connsiteY3660" fmla="*/ 4519456 h 5704395"/>
                <a:gd name="connsiteX3661" fmla="*/ 2299878 w 5719680"/>
                <a:gd name="connsiteY3661" fmla="*/ 4518188 h 5704395"/>
                <a:gd name="connsiteX3662" fmla="*/ 2299878 w 5719680"/>
                <a:gd name="connsiteY3662" fmla="*/ 4515970 h 5704395"/>
                <a:gd name="connsiteX3663" fmla="*/ 505332 w 5719680"/>
                <a:gd name="connsiteY3663" fmla="*/ 4513752 h 5704395"/>
                <a:gd name="connsiteX3664" fmla="*/ 484687 w 5719680"/>
                <a:gd name="connsiteY3664" fmla="*/ 4541321 h 5704395"/>
                <a:gd name="connsiteX3665" fmla="*/ 504061 w 5719680"/>
                <a:gd name="connsiteY3665" fmla="*/ 4554947 h 5704395"/>
                <a:gd name="connsiteX3666" fmla="*/ 519307 w 5719680"/>
                <a:gd name="connsiteY3666" fmla="*/ 4523892 h 5704395"/>
                <a:gd name="connsiteX3667" fmla="*/ 505332 w 5719680"/>
                <a:gd name="connsiteY3667" fmla="*/ 4513752 h 5704395"/>
                <a:gd name="connsiteX3668" fmla="*/ 824221 w 5719680"/>
                <a:gd name="connsiteY3668" fmla="*/ 4511850 h 5704395"/>
                <a:gd name="connsiteX3669" fmla="*/ 793094 w 5719680"/>
                <a:gd name="connsiteY3669" fmla="*/ 4542271 h 5704395"/>
                <a:gd name="connsiteX3670" fmla="*/ 841373 w 5719680"/>
                <a:gd name="connsiteY3670" fmla="*/ 4571742 h 5704395"/>
                <a:gd name="connsiteX3671" fmla="*/ 863288 w 5719680"/>
                <a:gd name="connsiteY3671" fmla="*/ 4535934 h 5704395"/>
                <a:gd name="connsiteX3672" fmla="*/ 824221 w 5719680"/>
                <a:gd name="connsiteY3672" fmla="*/ 4511850 h 5704395"/>
                <a:gd name="connsiteX3673" fmla="*/ 530741 w 5719680"/>
                <a:gd name="connsiteY3673" fmla="*/ 4509949 h 5704395"/>
                <a:gd name="connsiteX3674" fmla="*/ 524707 w 5719680"/>
                <a:gd name="connsiteY3674" fmla="*/ 4522624 h 5704395"/>
                <a:gd name="connsiteX3675" fmla="*/ 553292 w 5719680"/>
                <a:gd name="connsiteY3675" fmla="*/ 4543539 h 5704395"/>
                <a:gd name="connsiteX3676" fmla="*/ 552339 w 5719680"/>
                <a:gd name="connsiteY3676" fmla="*/ 4545123 h 5704395"/>
                <a:gd name="connsiteX3677" fmla="*/ 529471 w 5719680"/>
                <a:gd name="connsiteY3677" fmla="*/ 4577763 h 5704395"/>
                <a:gd name="connsiteX3678" fmla="*/ 505967 w 5719680"/>
                <a:gd name="connsiteY3678" fmla="*/ 4561285 h 5704395"/>
                <a:gd name="connsiteX3679" fmla="*/ 483098 w 5719680"/>
                <a:gd name="connsiteY3679" fmla="*/ 4608501 h 5704395"/>
                <a:gd name="connsiteX3680" fmla="*/ 513908 w 5719680"/>
                <a:gd name="connsiteY3680" fmla="*/ 4628782 h 5704395"/>
                <a:gd name="connsiteX3681" fmla="*/ 559645 w 5719680"/>
                <a:gd name="connsiteY3681" fmla="*/ 4534983 h 5704395"/>
                <a:gd name="connsiteX3682" fmla="*/ 530741 w 5719680"/>
                <a:gd name="connsiteY3682" fmla="*/ 4509949 h 5704395"/>
                <a:gd name="connsiteX3683" fmla="*/ 1880939 w 5719680"/>
                <a:gd name="connsiteY3683" fmla="*/ 4508998 h 5704395"/>
                <a:gd name="connsiteX3684" fmla="*/ 1872998 w 5719680"/>
                <a:gd name="connsiteY3684" fmla="*/ 4532448 h 5704395"/>
                <a:gd name="connsiteX3685" fmla="*/ 1901902 w 5719680"/>
                <a:gd name="connsiteY3685" fmla="*/ 4542588 h 5704395"/>
                <a:gd name="connsiteX3686" fmla="*/ 1910160 w 5719680"/>
                <a:gd name="connsiteY3686" fmla="*/ 4524843 h 5704395"/>
                <a:gd name="connsiteX3687" fmla="*/ 1880939 w 5719680"/>
                <a:gd name="connsiteY3687" fmla="*/ 4508998 h 5704395"/>
                <a:gd name="connsiteX3688" fmla="*/ 2108672 w 5719680"/>
                <a:gd name="connsiteY3688" fmla="*/ 4505196 h 5704395"/>
                <a:gd name="connsiteX3689" fmla="*/ 2083580 w 5719680"/>
                <a:gd name="connsiteY3689" fmla="*/ 4506146 h 5704395"/>
                <a:gd name="connsiteX3690" fmla="*/ 2047371 w 5719680"/>
                <a:gd name="connsiteY3690" fmla="*/ 4507731 h 5704395"/>
                <a:gd name="connsiteX3691" fmla="*/ 2036890 w 5719680"/>
                <a:gd name="connsiteY3691" fmla="*/ 4508048 h 5704395"/>
                <a:gd name="connsiteX3692" fmla="*/ 2034666 w 5719680"/>
                <a:gd name="connsiteY3692" fmla="*/ 4508364 h 5704395"/>
                <a:gd name="connsiteX3693" fmla="*/ 2007986 w 5719680"/>
                <a:gd name="connsiteY3693" fmla="*/ 4629733 h 5704395"/>
                <a:gd name="connsiteX3694" fmla="*/ 2097872 w 5719680"/>
                <a:gd name="connsiteY3694" fmla="*/ 4629416 h 5704395"/>
                <a:gd name="connsiteX3695" fmla="*/ 2108036 w 5719680"/>
                <a:gd name="connsiteY3695" fmla="*/ 4629416 h 5704395"/>
                <a:gd name="connsiteX3696" fmla="*/ 2108672 w 5719680"/>
                <a:gd name="connsiteY3696" fmla="*/ 4505196 h 5704395"/>
                <a:gd name="connsiteX3697" fmla="*/ 1964472 w 5719680"/>
                <a:gd name="connsiteY3697" fmla="*/ 4504562 h 5704395"/>
                <a:gd name="connsiteX3698" fmla="*/ 1947639 w 5719680"/>
                <a:gd name="connsiteY3698" fmla="*/ 4531814 h 5704395"/>
                <a:gd name="connsiteX3699" fmla="*/ 1921594 w 5719680"/>
                <a:gd name="connsiteY3699" fmla="*/ 4619909 h 5704395"/>
                <a:gd name="connsiteX3700" fmla="*/ 1935252 w 5719680"/>
                <a:gd name="connsiteY3700" fmla="*/ 4631951 h 5704395"/>
                <a:gd name="connsiteX3701" fmla="*/ 1935252 w 5719680"/>
                <a:gd name="connsiteY3701" fmla="*/ 4629733 h 5704395"/>
                <a:gd name="connsiteX3702" fmla="*/ 2003222 w 5719680"/>
                <a:gd name="connsiteY3702" fmla="*/ 4629733 h 5704395"/>
                <a:gd name="connsiteX3703" fmla="*/ 2030220 w 5719680"/>
                <a:gd name="connsiteY3703" fmla="*/ 4508364 h 5704395"/>
                <a:gd name="connsiteX3704" fmla="*/ 1964472 w 5719680"/>
                <a:gd name="connsiteY3704" fmla="*/ 4504562 h 5704395"/>
                <a:gd name="connsiteX3705" fmla="*/ 1581424 w 5719680"/>
                <a:gd name="connsiteY3705" fmla="*/ 4503611 h 5704395"/>
                <a:gd name="connsiteX3706" fmla="*/ 1558238 w 5719680"/>
                <a:gd name="connsiteY3706" fmla="*/ 4511850 h 5704395"/>
                <a:gd name="connsiteX3707" fmla="*/ 1554744 w 5719680"/>
                <a:gd name="connsiteY3707" fmla="*/ 4539419 h 5704395"/>
                <a:gd name="connsiteX3708" fmla="*/ 1464223 w 5719680"/>
                <a:gd name="connsiteY3708" fmla="*/ 4577446 h 5704395"/>
                <a:gd name="connsiteX3709" fmla="*/ 1473116 w 5719680"/>
                <a:gd name="connsiteY3709" fmla="*/ 4613888 h 5704395"/>
                <a:gd name="connsiteX3710" fmla="*/ 1571896 w 5719680"/>
                <a:gd name="connsiteY3710" fmla="*/ 4554313 h 5704395"/>
                <a:gd name="connsiteX3711" fmla="*/ 1571896 w 5719680"/>
                <a:gd name="connsiteY3711" fmla="*/ 4530863 h 5704395"/>
                <a:gd name="connsiteX3712" fmla="*/ 1593176 w 5719680"/>
                <a:gd name="connsiteY3712" fmla="*/ 4519139 h 5704395"/>
                <a:gd name="connsiteX3713" fmla="*/ 1581424 w 5719680"/>
                <a:gd name="connsiteY3713" fmla="*/ 4503611 h 5704395"/>
                <a:gd name="connsiteX3714" fmla="*/ 1740551 w 5719680"/>
                <a:gd name="connsiteY3714" fmla="*/ 4502977 h 5704395"/>
                <a:gd name="connsiteX3715" fmla="*/ 1656382 w 5719680"/>
                <a:gd name="connsiteY3715" fmla="*/ 4558433 h 5704395"/>
                <a:gd name="connsiteX3716" fmla="*/ 1733881 w 5719680"/>
                <a:gd name="connsiteY3716" fmla="*/ 4673780 h 5704395"/>
                <a:gd name="connsiteX3717" fmla="*/ 1836472 w 5719680"/>
                <a:gd name="connsiteY3717" fmla="*/ 4591389 h 5704395"/>
                <a:gd name="connsiteX3718" fmla="*/ 1746586 w 5719680"/>
                <a:gd name="connsiteY3718" fmla="*/ 4512484 h 5704395"/>
                <a:gd name="connsiteX3719" fmla="*/ 1740551 w 5719680"/>
                <a:gd name="connsiteY3719" fmla="*/ 4502977 h 5704395"/>
                <a:gd name="connsiteX3720" fmla="*/ 2402151 w 5719680"/>
                <a:gd name="connsiteY3720" fmla="*/ 4502027 h 5704395"/>
                <a:gd name="connsiteX3721" fmla="*/ 2402151 w 5719680"/>
                <a:gd name="connsiteY3721" fmla="*/ 4503294 h 5704395"/>
                <a:gd name="connsiteX3722" fmla="*/ 2401834 w 5719680"/>
                <a:gd name="connsiteY3722" fmla="*/ 4505512 h 5704395"/>
                <a:gd name="connsiteX3723" fmla="*/ 2385318 w 5719680"/>
                <a:gd name="connsiteY3723" fmla="*/ 4503928 h 5704395"/>
                <a:gd name="connsiteX3724" fmla="*/ 2380553 w 5719680"/>
                <a:gd name="connsiteY3724" fmla="*/ 4553996 h 5704395"/>
                <a:gd name="connsiteX3725" fmla="*/ 2406916 w 5719680"/>
                <a:gd name="connsiteY3725" fmla="*/ 4556531 h 5704395"/>
                <a:gd name="connsiteX3726" fmla="*/ 2409139 w 5719680"/>
                <a:gd name="connsiteY3726" fmla="*/ 4533399 h 5704395"/>
                <a:gd name="connsiteX3727" fmla="*/ 2427561 w 5719680"/>
                <a:gd name="connsiteY3727" fmla="*/ 4535300 h 5704395"/>
                <a:gd name="connsiteX3728" fmla="*/ 2431054 w 5719680"/>
                <a:gd name="connsiteY3728" fmla="*/ 4504879 h 5704395"/>
                <a:gd name="connsiteX3729" fmla="*/ 2402151 w 5719680"/>
                <a:gd name="connsiteY3729" fmla="*/ 4502027 h 5704395"/>
                <a:gd name="connsiteX3730" fmla="*/ 2196652 w 5719680"/>
                <a:gd name="connsiteY3730" fmla="*/ 4502027 h 5704395"/>
                <a:gd name="connsiteX3731" fmla="*/ 2192205 w 5719680"/>
                <a:gd name="connsiteY3731" fmla="*/ 4502344 h 5704395"/>
                <a:gd name="connsiteX3732" fmla="*/ 2113118 w 5719680"/>
                <a:gd name="connsiteY3732" fmla="*/ 4505196 h 5704395"/>
                <a:gd name="connsiteX3733" fmla="*/ 2112483 w 5719680"/>
                <a:gd name="connsiteY3733" fmla="*/ 4629416 h 5704395"/>
                <a:gd name="connsiteX3734" fmla="*/ 2195382 w 5719680"/>
                <a:gd name="connsiteY3734" fmla="*/ 4629416 h 5704395"/>
                <a:gd name="connsiteX3735" fmla="*/ 2195064 w 5719680"/>
                <a:gd name="connsiteY3735" fmla="*/ 4625296 h 5704395"/>
                <a:gd name="connsiteX3736" fmla="*/ 2195064 w 5719680"/>
                <a:gd name="connsiteY3736" fmla="*/ 4606917 h 5704395"/>
                <a:gd name="connsiteX3737" fmla="*/ 2196652 w 5719680"/>
                <a:gd name="connsiteY3737" fmla="*/ 4502027 h 5704395"/>
                <a:gd name="connsiteX3738" fmla="*/ 1878398 w 5719680"/>
                <a:gd name="connsiteY3738" fmla="*/ 4502027 h 5704395"/>
                <a:gd name="connsiteX3739" fmla="*/ 1916194 w 5719680"/>
                <a:gd name="connsiteY3739" fmla="*/ 4522941 h 5704395"/>
                <a:gd name="connsiteX3740" fmla="*/ 1915242 w 5719680"/>
                <a:gd name="connsiteY3740" fmla="*/ 4524843 h 5704395"/>
                <a:gd name="connsiteX3741" fmla="*/ 1904443 w 5719680"/>
                <a:gd name="connsiteY3741" fmla="*/ 4548292 h 5704395"/>
                <a:gd name="connsiteX3742" fmla="*/ 1866964 w 5719680"/>
                <a:gd name="connsiteY3742" fmla="*/ 4535300 h 5704395"/>
                <a:gd name="connsiteX3743" fmla="*/ 1878398 w 5719680"/>
                <a:gd name="connsiteY3743" fmla="*/ 4502027 h 5704395"/>
                <a:gd name="connsiteX3744" fmla="*/ 2250012 w 5719680"/>
                <a:gd name="connsiteY3744" fmla="*/ 4500125 h 5704395"/>
                <a:gd name="connsiteX3745" fmla="*/ 2201098 w 5719680"/>
                <a:gd name="connsiteY3745" fmla="*/ 4502027 h 5704395"/>
                <a:gd name="connsiteX3746" fmla="*/ 2199510 w 5719680"/>
                <a:gd name="connsiteY3746" fmla="*/ 4606917 h 5704395"/>
                <a:gd name="connsiteX3747" fmla="*/ 2199510 w 5719680"/>
                <a:gd name="connsiteY3747" fmla="*/ 4625930 h 5704395"/>
                <a:gd name="connsiteX3748" fmla="*/ 2199828 w 5719680"/>
                <a:gd name="connsiteY3748" fmla="*/ 4629416 h 5704395"/>
                <a:gd name="connsiteX3749" fmla="*/ 2279868 w 5719680"/>
                <a:gd name="connsiteY3749" fmla="*/ 4628782 h 5704395"/>
                <a:gd name="connsiteX3750" fmla="*/ 2265893 w 5719680"/>
                <a:gd name="connsiteY3750" fmla="*/ 4566989 h 5704395"/>
                <a:gd name="connsiteX3751" fmla="*/ 2255094 w 5719680"/>
                <a:gd name="connsiteY3751" fmla="*/ 4520089 h 5704395"/>
                <a:gd name="connsiteX3752" fmla="*/ 2251282 w 5719680"/>
                <a:gd name="connsiteY3752" fmla="*/ 4504879 h 5704395"/>
                <a:gd name="connsiteX3753" fmla="*/ 2250012 w 5719680"/>
                <a:gd name="connsiteY3753" fmla="*/ 4500442 h 5704395"/>
                <a:gd name="connsiteX3754" fmla="*/ 2250012 w 5719680"/>
                <a:gd name="connsiteY3754" fmla="*/ 4500125 h 5704395"/>
                <a:gd name="connsiteX3755" fmla="*/ 1583012 w 5719680"/>
                <a:gd name="connsiteY3755" fmla="*/ 4498224 h 5704395"/>
                <a:gd name="connsiteX3756" fmla="*/ 1584283 w 5719680"/>
                <a:gd name="connsiteY3756" fmla="*/ 4499492 h 5704395"/>
                <a:gd name="connsiteX3757" fmla="*/ 1600482 w 5719680"/>
                <a:gd name="connsiteY3757" fmla="*/ 4520723 h 5704395"/>
                <a:gd name="connsiteX3758" fmla="*/ 1576342 w 5719680"/>
                <a:gd name="connsiteY3758" fmla="*/ 4533399 h 5704395"/>
                <a:gd name="connsiteX3759" fmla="*/ 1576660 w 5719680"/>
                <a:gd name="connsiteY3759" fmla="*/ 4556848 h 5704395"/>
                <a:gd name="connsiteX3760" fmla="*/ 1469940 w 5719680"/>
                <a:gd name="connsiteY3760" fmla="*/ 4621177 h 5704395"/>
                <a:gd name="connsiteX3761" fmla="*/ 1458824 w 5719680"/>
                <a:gd name="connsiteY3761" fmla="*/ 4574594 h 5704395"/>
                <a:gd name="connsiteX3762" fmla="*/ 1550298 w 5719680"/>
                <a:gd name="connsiteY3762" fmla="*/ 4535934 h 5704395"/>
                <a:gd name="connsiteX3763" fmla="*/ 1554109 w 5719680"/>
                <a:gd name="connsiteY3763" fmla="*/ 4508681 h 5704395"/>
                <a:gd name="connsiteX3764" fmla="*/ 1583012 w 5719680"/>
                <a:gd name="connsiteY3764" fmla="*/ 4498224 h 5704395"/>
                <a:gd name="connsiteX3765" fmla="*/ 713055 w 5719680"/>
                <a:gd name="connsiteY3765" fmla="*/ 4497907 h 5704395"/>
                <a:gd name="connsiteX3766" fmla="*/ 699397 w 5719680"/>
                <a:gd name="connsiteY3766" fmla="*/ 4511850 h 5704395"/>
                <a:gd name="connsiteX3767" fmla="*/ 693997 w 5719680"/>
                <a:gd name="connsiteY3767" fmla="*/ 4517554 h 5704395"/>
                <a:gd name="connsiteX3768" fmla="*/ 692727 w 5719680"/>
                <a:gd name="connsiteY3768" fmla="*/ 4518822 h 5704395"/>
                <a:gd name="connsiteX3769" fmla="*/ 765462 w 5719680"/>
                <a:gd name="connsiteY3769" fmla="*/ 4563186 h 5704395"/>
                <a:gd name="connsiteX3770" fmla="*/ 786424 w 5719680"/>
                <a:gd name="connsiteY3770" fmla="*/ 4542905 h 5704395"/>
                <a:gd name="connsiteX3771" fmla="*/ 713055 w 5719680"/>
                <a:gd name="connsiteY3771" fmla="*/ 4497907 h 5704395"/>
                <a:gd name="connsiteX3772" fmla="*/ 2398340 w 5719680"/>
                <a:gd name="connsiteY3772" fmla="*/ 4497590 h 5704395"/>
                <a:gd name="connsiteX3773" fmla="*/ 2435501 w 5719680"/>
                <a:gd name="connsiteY3773" fmla="*/ 4501076 h 5704395"/>
                <a:gd name="connsiteX3774" fmla="*/ 2431054 w 5719680"/>
                <a:gd name="connsiteY3774" fmla="*/ 4539736 h 5704395"/>
                <a:gd name="connsiteX3775" fmla="*/ 2429149 w 5719680"/>
                <a:gd name="connsiteY3775" fmla="*/ 4539419 h 5704395"/>
                <a:gd name="connsiteX3776" fmla="*/ 2412950 w 5719680"/>
                <a:gd name="connsiteY3776" fmla="*/ 4538152 h 5704395"/>
                <a:gd name="connsiteX3777" fmla="*/ 2410727 w 5719680"/>
                <a:gd name="connsiteY3777" fmla="*/ 4560968 h 5704395"/>
                <a:gd name="connsiteX3778" fmla="*/ 2376106 w 5719680"/>
                <a:gd name="connsiteY3778" fmla="*/ 4557799 h 5704395"/>
                <a:gd name="connsiteX3779" fmla="*/ 2381506 w 5719680"/>
                <a:gd name="connsiteY3779" fmla="*/ 4499492 h 5704395"/>
                <a:gd name="connsiteX3780" fmla="*/ 2398022 w 5719680"/>
                <a:gd name="connsiteY3780" fmla="*/ 4500759 h 5704395"/>
                <a:gd name="connsiteX3781" fmla="*/ 2398340 w 5719680"/>
                <a:gd name="connsiteY3781" fmla="*/ 4499808 h 5704395"/>
                <a:gd name="connsiteX3782" fmla="*/ 2398340 w 5719680"/>
                <a:gd name="connsiteY3782" fmla="*/ 4497590 h 5704395"/>
                <a:gd name="connsiteX3783" fmla="*/ 2346886 w 5719680"/>
                <a:gd name="connsiteY3783" fmla="*/ 4496640 h 5704395"/>
                <a:gd name="connsiteX3784" fmla="*/ 2254458 w 5719680"/>
                <a:gd name="connsiteY3784" fmla="*/ 4500125 h 5704395"/>
                <a:gd name="connsiteX3785" fmla="*/ 2259858 w 5719680"/>
                <a:gd name="connsiteY3785" fmla="*/ 4521040 h 5704395"/>
                <a:gd name="connsiteX3786" fmla="*/ 2284315 w 5719680"/>
                <a:gd name="connsiteY3786" fmla="*/ 4628782 h 5704395"/>
                <a:gd name="connsiteX3787" fmla="*/ 2322429 w 5719680"/>
                <a:gd name="connsiteY3787" fmla="*/ 4628465 h 5704395"/>
                <a:gd name="connsiteX3788" fmla="*/ 2373566 w 5719680"/>
                <a:gd name="connsiteY3788" fmla="*/ 4618641 h 5704395"/>
                <a:gd name="connsiteX3789" fmla="*/ 2361814 w 5719680"/>
                <a:gd name="connsiteY3789" fmla="*/ 4561285 h 5704395"/>
                <a:gd name="connsiteX3790" fmla="*/ 2346568 w 5719680"/>
                <a:gd name="connsiteY3790" fmla="*/ 4558750 h 5704395"/>
                <a:gd name="connsiteX3791" fmla="*/ 2344980 w 5719680"/>
                <a:gd name="connsiteY3791" fmla="*/ 4556848 h 5704395"/>
                <a:gd name="connsiteX3792" fmla="*/ 2344662 w 5719680"/>
                <a:gd name="connsiteY3792" fmla="*/ 4550194 h 5704395"/>
                <a:gd name="connsiteX3793" fmla="*/ 2346886 w 5719680"/>
                <a:gd name="connsiteY3793" fmla="*/ 4496640 h 5704395"/>
                <a:gd name="connsiteX3794" fmla="*/ 1741822 w 5719680"/>
                <a:gd name="connsiteY3794" fmla="*/ 4496323 h 5704395"/>
                <a:gd name="connsiteX3795" fmla="*/ 1750398 w 5719680"/>
                <a:gd name="connsiteY3795" fmla="*/ 4509315 h 5704395"/>
                <a:gd name="connsiteX3796" fmla="*/ 1843778 w 5719680"/>
                <a:gd name="connsiteY3796" fmla="*/ 4591389 h 5704395"/>
                <a:gd name="connsiteX3797" fmla="*/ 1841554 w 5719680"/>
                <a:gd name="connsiteY3797" fmla="*/ 4593290 h 5704395"/>
                <a:gd name="connsiteX3798" fmla="*/ 1732929 w 5719680"/>
                <a:gd name="connsiteY3798" fmla="*/ 4680751 h 5704395"/>
                <a:gd name="connsiteX3799" fmla="*/ 1650030 w 5719680"/>
                <a:gd name="connsiteY3799" fmla="*/ 4556848 h 5704395"/>
                <a:gd name="connsiteX3800" fmla="*/ 1741822 w 5719680"/>
                <a:gd name="connsiteY3800" fmla="*/ 4496323 h 5704395"/>
                <a:gd name="connsiteX3801" fmla="*/ 444031 w 5719680"/>
                <a:gd name="connsiteY3801" fmla="*/ 4490619 h 5704395"/>
                <a:gd name="connsiteX3802" fmla="*/ 428150 w 5719680"/>
                <a:gd name="connsiteY3802" fmla="*/ 4523892 h 5704395"/>
                <a:gd name="connsiteX3803" fmla="*/ 440855 w 5719680"/>
                <a:gd name="connsiteY3803" fmla="*/ 4534666 h 5704395"/>
                <a:gd name="connsiteX3804" fmla="*/ 456736 w 5719680"/>
                <a:gd name="connsiteY3804" fmla="*/ 4501393 h 5704395"/>
                <a:gd name="connsiteX3805" fmla="*/ 1156133 w 5719680"/>
                <a:gd name="connsiteY3805" fmla="*/ 4488084 h 5704395"/>
                <a:gd name="connsiteX3806" fmla="*/ 1152957 w 5719680"/>
                <a:gd name="connsiteY3806" fmla="*/ 4518505 h 5704395"/>
                <a:gd name="connsiteX3807" fmla="*/ 1113572 w 5719680"/>
                <a:gd name="connsiteY3807" fmla="*/ 4506780 h 5704395"/>
                <a:gd name="connsiteX3808" fmla="*/ 1110078 w 5719680"/>
                <a:gd name="connsiteY3808" fmla="*/ 4534032 h 5704395"/>
                <a:gd name="connsiteX3809" fmla="*/ 1161215 w 5719680"/>
                <a:gd name="connsiteY3809" fmla="*/ 4547342 h 5704395"/>
                <a:gd name="connsiteX3810" fmla="*/ 1213622 w 5719680"/>
                <a:gd name="connsiteY3810" fmla="*/ 4538152 h 5704395"/>
                <a:gd name="connsiteX3811" fmla="*/ 1276193 w 5719680"/>
                <a:gd name="connsiteY3811" fmla="*/ 4554313 h 5704395"/>
                <a:gd name="connsiteX3812" fmla="*/ 1311766 w 5719680"/>
                <a:gd name="connsiteY3812" fmla="*/ 4541955 h 5704395"/>
                <a:gd name="connsiteX3813" fmla="*/ 1156133 w 5719680"/>
                <a:gd name="connsiteY3813" fmla="*/ 4488084 h 5704395"/>
                <a:gd name="connsiteX3814" fmla="*/ 1872046 w 5719680"/>
                <a:gd name="connsiteY3814" fmla="*/ 4483964 h 5704395"/>
                <a:gd name="connsiteX3815" fmla="*/ 1851718 w 5719680"/>
                <a:gd name="connsiteY3815" fmla="*/ 4539103 h 5704395"/>
                <a:gd name="connsiteX3816" fmla="*/ 1911113 w 5719680"/>
                <a:gd name="connsiteY3816" fmla="*/ 4587586 h 5704395"/>
                <a:gd name="connsiteX3817" fmla="*/ 1933981 w 5719680"/>
                <a:gd name="connsiteY3817" fmla="*/ 4514702 h 5704395"/>
                <a:gd name="connsiteX3818" fmla="*/ 1872046 w 5719680"/>
                <a:gd name="connsiteY3818" fmla="*/ 4483964 h 5704395"/>
                <a:gd name="connsiteX3819" fmla="*/ 1152321 w 5719680"/>
                <a:gd name="connsiteY3819" fmla="*/ 4481746 h 5704395"/>
                <a:gd name="connsiteX3820" fmla="*/ 1326059 w 5719680"/>
                <a:gd name="connsiteY3820" fmla="*/ 4541955 h 5704395"/>
                <a:gd name="connsiteX3821" fmla="*/ 1319706 w 5719680"/>
                <a:gd name="connsiteY3821" fmla="*/ 4544173 h 5704395"/>
                <a:gd name="connsiteX3822" fmla="*/ 1276510 w 5719680"/>
                <a:gd name="connsiteY3822" fmla="*/ 4559067 h 5704395"/>
                <a:gd name="connsiteX3823" fmla="*/ 1213304 w 5719680"/>
                <a:gd name="connsiteY3823" fmla="*/ 4542905 h 5704395"/>
                <a:gd name="connsiteX3824" fmla="*/ 1160897 w 5719680"/>
                <a:gd name="connsiteY3824" fmla="*/ 4552095 h 5704395"/>
                <a:gd name="connsiteX3825" fmla="*/ 1104996 w 5719680"/>
                <a:gd name="connsiteY3825" fmla="*/ 4537518 h 5704395"/>
                <a:gd name="connsiteX3826" fmla="*/ 1109760 w 5719680"/>
                <a:gd name="connsiteY3826" fmla="*/ 4500442 h 5704395"/>
                <a:gd name="connsiteX3827" fmla="*/ 1148828 w 5719680"/>
                <a:gd name="connsiteY3827" fmla="*/ 4512484 h 5704395"/>
                <a:gd name="connsiteX3828" fmla="*/ 1152321 w 5719680"/>
                <a:gd name="connsiteY3828" fmla="*/ 4481746 h 5704395"/>
                <a:gd name="connsiteX3829" fmla="*/ 498662 w 5719680"/>
                <a:gd name="connsiteY3829" fmla="*/ 4481746 h 5704395"/>
                <a:gd name="connsiteX3830" fmla="*/ 448160 w 5719680"/>
                <a:gd name="connsiteY3830" fmla="*/ 4586636 h 5704395"/>
                <a:gd name="connsiteX3831" fmla="*/ 448478 w 5719680"/>
                <a:gd name="connsiteY3831" fmla="*/ 4586636 h 5704395"/>
                <a:gd name="connsiteX3832" fmla="*/ 479287 w 5719680"/>
                <a:gd name="connsiteY3832" fmla="*/ 4606283 h 5704395"/>
                <a:gd name="connsiteX3833" fmla="*/ 502156 w 5719680"/>
                <a:gd name="connsiteY3833" fmla="*/ 4558750 h 5704395"/>
                <a:gd name="connsiteX3834" fmla="*/ 478969 w 5719680"/>
                <a:gd name="connsiteY3834" fmla="*/ 4542271 h 5704395"/>
                <a:gd name="connsiteX3835" fmla="*/ 504697 w 5719680"/>
                <a:gd name="connsiteY3835" fmla="*/ 4508048 h 5704395"/>
                <a:gd name="connsiteX3836" fmla="*/ 521213 w 5719680"/>
                <a:gd name="connsiteY3836" fmla="*/ 4520089 h 5704395"/>
                <a:gd name="connsiteX3837" fmla="*/ 527565 w 5719680"/>
                <a:gd name="connsiteY3837" fmla="*/ 4506780 h 5704395"/>
                <a:gd name="connsiteX3838" fmla="*/ 498662 w 5719680"/>
                <a:gd name="connsiteY3838" fmla="*/ 4481746 h 5704395"/>
                <a:gd name="connsiteX3839" fmla="*/ 1869505 w 5719680"/>
                <a:gd name="connsiteY3839" fmla="*/ 4477626 h 5704395"/>
                <a:gd name="connsiteX3840" fmla="*/ 1939698 w 5719680"/>
                <a:gd name="connsiteY3840" fmla="*/ 4512484 h 5704395"/>
                <a:gd name="connsiteX3841" fmla="*/ 1939063 w 5719680"/>
                <a:gd name="connsiteY3841" fmla="*/ 4514385 h 5704395"/>
                <a:gd name="connsiteX3842" fmla="*/ 1913654 w 5719680"/>
                <a:gd name="connsiteY3842" fmla="*/ 4595825 h 5704395"/>
                <a:gd name="connsiteX3843" fmla="*/ 1846001 w 5719680"/>
                <a:gd name="connsiteY3843" fmla="*/ 4540687 h 5704395"/>
                <a:gd name="connsiteX3844" fmla="*/ 1869505 w 5719680"/>
                <a:gd name="connsiteY3844" fmla="*/ 4477626 h 5704395"/>
                <a:gd name="connsiteX3845" fmla="*/ 377967 w 5719680"/>
                <a:gd name="connsiteY3845" fmla="*/ 4473824 h 5704395"/>
                <a:gd name="connsiteX3846" fmla="*/ 359862 w 5719680"/>
                <a:gd name="connsiteY3846" fmla="*/ 4479528 h 5704395"/>
                <a:gd name="connsiteX3847" fmla="*/ 338582 w 5719680"/>
                <a:gd name="connsiteY3847" fmla="*/ 4505196 h 5704395"/>
                <a:gd name="connsiteX3848" fmla="*/ 373838 w 5719680"/>
                <a:gd name="connsiteY3848" fmla="*/ 4524526 h 5704395"/>
                <a:gd name="connsiteX3849" fmla="*/ 393530 w 5719680"/>
                <a:gd name="connsiteY3849" fmla="*/ 4485865 h 5704395"/>
                <a:gd name="connsiteX3850" fmla="*/ 377967 w 5719680"/>
                <a:gd name="connsiteY3850" fmla="*/ 4473824 h 5704395"/>
                <a:gd name="connsiteX3851" fmla="*/ 378920 w 5719680"/>
                <a:gd name="connsiteY3851" fmla="*/ 4468753 h 5704395"/>
                <a:gd name="connsiteX3852" fmla="*/ 398929 w 5719680"/>
                <a:gd name="connsiteY3852" fmla="*/ 4484598 h 5704395"/>
                <a:gd name="connsiteX3853" fmla="*/ 375743 w 5719680"/>
                <a:gd name="connsiteY3853" fmla="*/ 4530547 h 5704395"/>
                <a:gd name="connsiteX3854" fmla="*/ 331594 w 5719680"/>
                <a:gd name="connsiteY3854" fmla="*/ 4506463 h 5704395"/>
                <a:gd name="connsiteX3855" fmla="*/ 357321 w 5719680"/>
                <a:gd name="connsiteY3855" fmla="*/ 4475725 h 5704395"/>
                <a:gd name="connsiteX3856" fmla="*/ 378920 w 5719680"/>
                <a:gd name="connsiteY3856" fmla="*/ 4468753 h 5704395"/>
                <a:gd name="connsiteX3857" fmla="*/ 1769455 w 5719680"/>
                <a:gd name="connsiteY3857" fmla="*/ 4466218 h 5704395"/>
                <a:gd name="connsiteX3858" fmla="*/ 1643042 w 5719680"/>
                <a:gd name="connsiteY3858" fmla="*/ 4557482 h 5704395"/>
                <a:gd name="connsiteX3859" fmla="*/ 1730705 w 5719680"/>
                <a:gd name="connsiteY3859" fmla="*/ 4693110 h 5704395"/>
                <a:gd name="connsiteX3860" fmla="*/ 1855529 w 5719680"/>
                <a:gd name="connsiteY3860" fmla="*/ 4589805 h 5704395"/>
                <a:gd name="connsiteX3861" fmla="*/ 1755797 w 5719680"/>
                <a:gd name="connsiteY3861" fmla="*/ 4502344 h 5704395"/>
                <a:gd name="connsiteX3862" fmla="*/ 1769455 w 5719680"/>
                <a:gd name="connsiteY3862" fmla="*/ 4466218 h 5704395"/>
                <a:gd name="connsiteX3863" fmla="*/ 2371024 w 5719680"/>
                <a:gd name="connsiteY3863" fmla="*/ 4464951 h 5704395"/>
                <a:gd name="connsiteX3864" fmla="*/ 2351332 w 5719680"/>
                <a:gd name="connsiteY3864" fmla="*/ 4495055 h 5704395"/>
                <a:gd name="connsiteX3865" fmla="*/ 2349109 w 5719680"/>
                <a:gd name="connsiteY3865" fmla="*/ 4550194 h 5704395"/>
                <a:gd name="connsiteX3866" fmla="*/ 2349109 w 5719680"/>
                <a:gd name="connsiteY3866" fmla="*/ 4554630 h 5704395"/>
                <a:gd name="connsiteX3867" fmla="*/ 2349109 w 5719680"/>
                <a:gd name="connsiteY3867" fmla="*/ 4554947 h 5704395"/>
                <a:gd name="connsiteX3868" fmla="*/ 2363720 w 5719680"/>
                <a:gd name="connsiteY3868" fmla="*/ 4557165 h 5704395"/>
                <a:gd name="connsiteX3869" fmla="*/ 2365308 w 5719680"/>
                <a:gd name="connsiteY3869" fmla="*/ 4557482 h 5704395"/>
                <a:gd name="connsiteX3870" fmla="*/ 2377694 w 5719680"/>
                <a:gd name="connsiteY3870" fmla="*/ 4617057 h 5704395"/>
                <a:gd name="connsiteX3871" fmla="*/ 2415809 w 5719680"/>
                <a:gd name="connsiteY3871" fmla="*/ 4596142 h 5704395"/>
                <a:gd name="connsiteX3872" fmla="*/ 2441854 w 5719680"/>
                <a:gd name="connsiteY3872" fmla="*/ 4574594 h 5704395"/>
                <a:gd name="connsiteX3873" fmla="*/ 2448524 w 5719680"/>
                <a:gd name="connsiteY3873" fmla="*/ 4567622 h 5704395"/>
                <a:gd name="connsiteX3874" fmla="*/ 2450112 w 5719680"/>
                <a:gd name="connsiteY3874" fmla="*/ 4566038 h 5704395"/>
                <a:gd name="connsiteX3875" fmla="*/ 2452335 w 5719680"/>
                <a:gd name="connsiteY3875" fmla="*/ 4536567 h 5704395"/>
                <a:gd name="connsiteX3876" fmla="*/ 2455511 w 5719680"/>
                <a:gd name="connsiteY3876" fmla="*/ 4480795 h 5704395"/>
                <a:gd name="connsiteX3877" fmla="*/ 2371024 w 5719680"/>
                <a:gd name="connsiteY3877" fmla="*/ 4464951 h 5704395"/>
                <a:gd name="connsiteX3878" fmla="*/ 747675 w 5719680"/>
                <a:gd name="connsiteY3878" fmla="*/ 4464634 h 5704395"/>
                <a:gd name="connsiteX3879" fmla="*/ 718454 w 5719680"/>
                <a:gd name="connsiteY3879" fmla="*/ 4492837 h 5704395"/>
                <a:gd name="connsiteX3880" fmla="*/ 716231 w 5719680"/>
                <a:gd name="connsiteY3880" fmla="*/ 4495055 h 5704395"/>
                <a:gd name="connsiteX3881" fmla="*/ 789283 w 5719680"/>
                <a:gd name="connsiteY3881" fmla="*/ 4539736 h 5704395"/>
                <a:gd name="connsiteX3882" fmla="*/ 820410 w 5719680"/>
                <a:gd name="connsiteY3882" fmla="*/ 4509315 h 5704395"/>
                <a:gd name="connsiteX3883" fmla="*/ 747675 w 5719680"/>
                <a:gd name="connsiteY3883" fmla="*/ 4464634 h 5704395"/>
                <a:gd name="connsiteX3884" fmla="*/ 649531 w 5719680"/>
                <a:gd name="connsiteY3884" fmla="*/ 4458930 h 5704395"/>
                <a:gd name="connsiteX3885" fmla="*/ 628250 w 5719680"/>
                <a:gd name="connsiteY3885" fmla="*/ 4479845 h 5704395"/>
                <a:gd name="connsiteX3886" fmla="*/ 688915 w 5719680"/>
                <a:gd name="connsiteY3886" fmla="*/ 4516604 h 5704395"/>
                <a:gd name="connsiteX3887" fmla="*/ 689233 w 5719680"/>
                <a:gd name="connsiteY3887" fmla="*/ 4516287 h 5704395"/>
                <a:gd name="connsiteX3888" fmla="*/ 709243 w 5719680"/>
                <a:gd name="connsiteY3888" fmla="*/ 4495689 h 5704395"/>
                <a:gd name="connsiteX3889" fmla="*/ 649531 w 5719680"/>
                <a:gd name="connsiteY3889" fmla="*/ 4458930 h 5704395"/>
                <a:gd name="connsiteX3890" fmla="*/ 459912 w 5719680"/>
                <a:gd name="connsiteY3890" fmla="*/ 4457662 h 5704395"/>
                <a:gd name="connsiteX3891" fmla="*/ 445302 w 5719680"/>
                <a:gd name="connsiteY3891" fmla="*/ 4488084 h 5704395"/>
                <a:gd name="connsiteX3892" fmla="*/ 458007 w 5719680"/>
                <a:gd name="connsiteY3892" fmla="*/ 4498858 h 5704395"/>
                <a:gd name="connsiteX3893" fmla="*/ 472299 w 5719680"/>
                <a:gd name="connsiteY3893" fmla="*/ 4469070 h 5704395"/>
                <a:gd name="connsiteX3894" fmla="*/ 459912 w 5719680"/>
                <a:gd name="connsiteY3894" fmla="*/ 4457662 h 5704395"/>
                <a:gd name="connsiteX3895" fmla="*/ 1057353 w 5719680"/>
                <a:gd name="connsiteY3895" fmla="*/ 4450374 h 5704395"/>
                <a:gd name="connsiteX3896" fmla="*/ 1052589 w 5719680"/>
                <a:gd name="connsiteY3896" fmla="*/ 4482697 h 5704395"/>
                <a:gd name="connsiteX3897" fmla="*/ 1080539 w 5719680"/>
                <a:gd name="connsiteY3897" fmla="*/ 4486499 h 5704395"/>
                <a:gd name="connsiteX3898" fmla="*/ 1083080 w 5719680"/>
                <a:gd name="connsiteY3898" fmla="*/ 4467803 h 5704395"/>
                <a:gd name="connsiteX3899" fmla="*/ 1068152 w 5719680"/>
                <a:gd name="connsiteY3899" fmla="*/ 4465585 h 5704395"/>
                <a:gd name="connsiteX3900" fmla="*/ 1070058 w 5719680"/>
                <a:gd name="connsiteY3900" fmla="*/ 4452275 h 5704395"/>
                <a:gd name="connsiteX3901" fmla="*/ 1057353 w 5719680"/>
                <a:gd name="connsiteY3901" fmla="*/ 4450374 h 5704395"/>
                <a:gd name="connsiteX3902" fmla="*/ 458324 w 5719680"/>
                <a:gd name="connsiteY3902" fmla="*/ 4450374 h 5704395"/>
                <a:gd name="connsiteX3903" fmla="*/ 477699 w 5719680"/>
                <a:gd name="connsiteY3903" fmla="*/ 4468120 h 5704395"/>
                <a:gd name="connsiteX3904" fmla="*/ 461500 w 5719680"/>
                <a:gd name="connsiteY3904" fmla="*/ 4502027 h 5704395"/>
                <a:gd name="connsiteX3905" fmla="*/ 462453 w 5719680"/>
                <a:gd name="connsiteY3905" fmla="*/ 4502660 h 5704395"/>
                <a:gd name="connsiteX3906" fmla="*/ 460548 w 5719680"/>
                <a:gd name="connsiteY3906" fmla="*/ 4504562 h 5704395"/>
                <a:gd name="connsiteX3907" fmla="*/ 460230 w 5719680"/>
                <a:gd name="connsiteY3907" fmla="*/ 4504245 h 5704395"/>
                <a:gd name="connsiteX3908" fmla="*/ 444349 w 5719680"/>
                <a:gd name="connsiteY3908" fmla="*/ 4537518 h 5704395"/>
                <a:gd name="connsiteX3909" fmla="*/ 444984 w 5719680"/>
                <a:gd name="connsiteY3909" fmla="*/ 4538152 h 5704395"/>
                <a:gd name="connsiteX3910" fmla="*/ 443396 w 5719680"/>
                <a:gd name="connsiteY3910" fmla="*/ 4540053 h 5704395"/>
                <a:gd name="connsiteX3911" fmla="*/ 443079 w 5719680"/>
                <a:gd name="connsiteY3911" fmla="*/ 4540053 h 5704395"/>
                <a:gd name="connsiteX3912" fmla="*/ 426880 w 5719680"/>
                <a:gd name="connsiteY3912" fmla="*/ 4573326 h 5704395"/>
                <a:gd name="connsiteX3913" fmla="*/ 427833 w 5719680"/>
                <a:gd name="connsiteY3913" fmla="*/ 4573960 h 5704395"/>
                <a:gd name="connsiteX3914" fmla="*/ 426245 w 5719680"/>
                <a:gd name="connsiteY3914" fmla="*/ 4576178 h 5704395"/>
                <a:gd name="connsiteX3915" fmla="*/ 425927 w 5719680"/>
                <a:gd name="connsiteY3915" fmla="*/ 4575862 h 5704395"/>
                <a:gd name="connsiteX3916" fmla="*/ 408140 w 5719680"/>
                <a:gd name="connsiteY3916" fmla="*/ 4612621 h 5704395"/>
                <a:gd name="connsiteX3917" fmla="*/ 408776 w 5719680"/>
                <a:gd name="connsiteY3917" fmla="*/ 4613254 h 5704395"/>
                <a:gd name="connsiteX3918" fmla="*/ 407188 w 5719680"/>
                <a:gd name="connsiteY3918" fmla="*/ 4615156 h 5704395"/>
                <a:gd name="connsiteX3919" fmla="*/ 406870 w 5719680"/>
                <a:gd name="connsiteY3919" fmla="*/ 4615156 h 5704395"/>
                <a:gd name="connsiteX3920" fmla="*/ 389719 w 5719680"/>
                <a:gd name="connsiteY3920" fmla="*/ 4651281 h 5704395"/>
                <a:gd name="connsiteX3921" fmla="*/ 390671 w 5719680"/>
                <a:gd name="connsiteY3921" fmla="*/ 4652232 h 5704395"/>
                <a:gd name="connsiteX3922" fmla="*/ 389083 w 5719680"/>
                <a:gd name="connsiteY3922" fmla="*/ 4654133 h 5704395"/>
                <a:gd name="connsiteX3923" fmla="*/ 388448 w 5719680"/>
                <a:gd name="connsiteY3923" fmla="*/ 4653499 h 5704395"/>
                <a:gd name="connsiteX3924" fmla="*/ 370979 w 5719680"/>
                <a:gd name="connsiteY3924" fmla="*/ 4690258 h 5704395"/>
                <a:gd name="connsiteX3925" fmla="*/ 350651 w 5719680"/>
                <a:gd name="connsiteY3925" fmla="*/ 4675998 h 5704395"/>
                <a:gd name="connsiteX3926" fmla="*/ 369073 w 5719680"/>
                <a:gd name="connsiteY3926" fmla="*/ 4637338 h 5704395"/>
                <a:gd name="connsiteX3927" fmla="*/ 368120 w 5719680"/>
                <a:gd name="connsiteY3927" fmla="*/ 4636387 h 5704395"/>
                <a:gd name="connsiteX3928" fmla="*/ 369709 w 5719680"/>
                <a:gd name="connsiteY3928" fmla="*/ 4634486 h 5704395"/>
                <a:gd name="connsiteX3929" fmla="*/ 370344 w 5719680"/>
                <a:gd name="connsiteY3929" fmla="*/ 4634803 h 5704395"/>
                <a:gd name="connsiteX3930" fmla="*/ 387495 w 5719680"/>
                <a:gd name="connsiteY3930" fmla="*/ 4598677 h 5704395"/>
                <a:gd name="connsiteX3931" fmla="*/ 386225 w 5719680"/>
                <a:gd name="connsiteY3931" fmla="*/ 4597410 h 5704395"/>
                <a:gd name="connsiteX3932" fmla="*/ 388130 w 5719680"/>
                <a:gd name="connsiteY3932" fmla="*/ 4595509 h 5704395"/>
                <a:gd name="connsiteX3933" fmla="*/ 388766 w 5719680"/>
                <a:gd name="connsiteY3933" fmla="*/ 4596142 h 5704395"/>
                <a:gd name="connsiteX3934" fmla="*/ 406235 w 5719680"/>
                <a:gd name="connsiteY3934" fmla="*/ 4559067 h 5704395"/>
                <a:gd name="connsiteX3935" fmla="*/ 405282 w 5719680"/>
                <a:gd name="connsiteY3935" fmla="*/ 4558433 h 5704395"/>
                <a:gd name="connsiteX3936" fmla="*/ 406870 w 5719680"/>
                <a:gd name="connsiteY3936" fmla="*/ 4556215 h 5704395"/>
                <a:gd name="connsiteX3937" fmla="*/ 407505 w 5719680"/>
                <a:gd name="connsiteY3937" fmla="*/ 4556848 h 5704395"/>
                <a:gd name="connsiteX3938" fmla="*/ 423386 w 5719680"/>
                <a:gd name="connsiteY3938" fmla="*/ 4523258 h 5704395"/>
                <a:gd name="connsiteX3939" fmla="*/ 422433 w 5719680"/>
                <a:gd name="connsiteY3939" fmla="*/ 4522308 h 5704395"/>
                <a:gd name="connsiteX3940" fmla="*/ 424339 w 5719680"/>
                <a:gd name="connsiteY3940" fmla="*/ 4520406 h 5704395"/>
                <a:gd name="connsiteX3941" fmla="*/ 424657 w 5719680"/>
                <a:gd name="connsiteY3941" fmla="*/ 4520723 h 5704395"/>
                <a:gd name="connsiteX3942" fmla="*/ 440538 w 5719680"/>
                <a:gd name="connsiteY3942" fmla="*/ 4487450 h 5704395"/>
                <a:gd name="connsiteX3943" fmla="*/ 439585 w 5719680"/>
                <a:gd name="connsiteY3943" fmla="*/ 4486816 h 5704395"/>
                <a:gd name="connsiteX3944" fmla="*/ 441490 w 5719680"/>
                <a:gd name="connsiteY3944" fmla="*/ 4484915 h 5704395"/>
                <a:gd name="connsiteX3945" fmla="*/ 441808 w 5719680"/>
                <a:gd name="connsiteY3945" fmla="*/ 4485232 h 5704395"/>
                <a:gd name="connsiteX3946" fmla="*/ 458324 w 5719680"/>
                <a:gd name="connsiteY3946" fmla="*/ 4450374 h 5704395"/>
                <a:gd name="connsiteX3947" fmla="*/ 1041472 w 5719680"/>
                <a:gd name="connsiteY3947" fmla="*/ 4448156 h 5704395"/>
                <a:gd name="connsiteX3948" fmla="*/ 1039884 w 5719680"/>
                <a:gd name="connsiteY3948" fmla="*/ 4461782 h 5704395"/>
                <a:gd name="connsiteX3949" fmla="*/ 1024956 w 5719680"/>
                <a:gd name="connsiteY3949" fmla="*/ 4459881 h 5704395"/>
                <a:gd name="connsiteX3950" fmla="*/ 1022415 w 5719680"/>
                <a:gd name="connsiteY3950" fmla="*/ 4478577 h 5704395"/>
                <a:gd name="connsiteX3951" fmla="*/ 1048142 w 5719680"/>
                <a:gd name="connsiteY3951" fmla="*/ 4482063 h 5704395"/>
                <a:gd name="connsiteX3952" fmla="*/ 1052907 w 5719680"/>
                <a:gd name="connsiteY3952" fmla="*/ 4449740 h 5704395"/>
                <a:gd name="connsiteX3953" fmla="*/ 1041472 w 5719680"/>
                <a:gd name="connsiteY3953" fmla="*/ 4448156 h 5704395"/>
                <a:gd name="connsiteX3954" fmla="*/ 1322247 w 5719680"/>
                <a:gd name="connsiteY3954" fmla="*/ 4446571 h 5704395"/>
                <a:gd name="connsiteX3955" fmla="*/ 1320024 w 5719680"/>
                <a:gd name="connsiteY3955" fmla="*/ 4458613 h 5704395"/>
                <a:gd name="connsiteX3956" fmla="*/ 1339716 w 5719680"/>
                <a:gd name="connsiteY3956" fmla="*/ 4467169 h 5704395"/>
                <a:gd name="connsiteX3957" fmla="*/ 1342575 w 5719680"/>
                <a:gd name="connsiteY3957" fmla="*/ 4468437 h 5704395"/>
                <a:gd name="connsiteX3958" fmla="*/ 1342575 w 5719680"/>
                <a:gd name="connsiteY3958" fmla="*/ 4471289 h 5704395"/>
                <a:gd name="connsiteX3959" fmla="*/ 1341940 w 5719680"/>
                <a:gd name="connsiteY3959" fmla="*/ 4489351 h 5704395"/>
                <a:gd name="connsiteX3960" fmla="*/ 1362903 w 5719680"/>
                <a:gd name="connsiteY3960" fmla="*/ 4486499 h 5704395"/>
                <a:gd name="connsiteX3961" fmla="*/ 1365761 w 5719680"/>
                <a:gd name="connsiteY3961" fmla="*/ 4467486 h 5704395"/>
                <a:gd name="connsiteX3962" fmla="*/ 1366714 w 5719680"/>
                <a:gd name="connsiteY3962" fmla="*/ 4463049 h 5704395"/>
                <a:gd name="connsiteX3963" fmla="*/ 1371161 w 5719680"/>
                <a:gd name="connsiteY3963" fmla="*/ 4463683 h 5704395"/>
                <a:gd name="connsiteX3964" fmla="*/ 1387359 w 5719680"/>
                <a:gd name="connsiteY3964" fmla="*/ 4466852 h 5704395"/>
                <a:gd name="connsiteX3965" fmla="*/ 1390218 w 5719680"/>
                <a:gd name="connsiteY3965" fmla="*/ 4457029 h 5704395"/>
                <a:gd name="connsiteX3966" fmla="*/ 1322247 w 5719680"/>
                <a:gd name="connsiteY3966" fmla="*/ 4446571 h 5704395"/>
                <a:gd name="connsiteX3967" fmla="*/ 1100549 w 5719680"/>
                <a:gd name="connsiteY3967" fmla="*/ 4446571 h 5704395"/>
                <a:gd name="connsiteX3968" fmla="*/ 1087070 w 5719680"/>
                <a:gd name="connsiteY3968" fmla="*/ 4551201 h 5704395"/>
                <a:gd name="connsiteX3969" fmla="*/ 1086892 w 5719680"/>
                <a:gd name="connsiteY3969" fmla="*/ 4551778 h 5704395"/>
                <a:gd name="connsiteX3970" fmla="*/ 1086992 w 5719680"/>
                <a:gd name="connsiteY3970" fmla="*/ 4551802 h 5704395"/>
                <a:gd name="connsiteX3971" fmla="*/ 1068788 w 5719680"/>
                <a:gd name="connsiteY3971" fmla="*/ 4693110 h 5704395"/>
                <a:gd name="connsiteX3972" fmla="*/ 1077046 w 5719680"/>
                <a:gd name="connsiteY3972" fmla="*/ 4691843 h 5704395"/>
                <a:gd name="connsiteX3973" fmla="*/ 1179319 w 5719680"/>
                <a:gd name="connsiteY3973" fmla="*/ 4683603 h 5704395"/>
                <a:gd name="connsiteX3974" fmla="*/ 1201235 w 5719680"/>
                <a:gd name="connsiteY3974" fmla="*/ 4683920 h 5704395"/>
                <a:gd name="connsiteX3975" fmla="*/ 1208222 w 5719680"/>
                <a:gd name="connsiteY3975" fmla="*/ 4632584 h 5704395"/>
                <a:gd name="connsiteX3976" fmla="*/ 1213304 w 5719680"/>
                <a:gd name="connsiteY3976" fmla="*/ 4596459 h 5704395"/>
                <a:gd name="connsiteX3977" fmla="*/ 1214892 w 5719680"/>
                <a:gd name="connsiteY3977" fmla="*/ 4584418 h 5704395"/>
                <a:gd name="connsiteX3978" fmla="*/ 1215210 w 5719680"/>
                <a:gd name="connsiteY3978" fmla="*/ 4582516 h 5704395"/>
                <a:gd name="connsiteX3979" fmla="*/ 1129247 w 5719680"/>
                <a:gd name="connsiteY3979" fmla="*/ 4561924 h 5704395"/>
                <a:gd name="connsiteX3980" fmla="*/ 1086992 w 5719680"/>
                <a:gd name="connsiteY3980" fmla="*/ 4551802 h 5704395"/>
                <a:gd name="connsiteX3981" fmla="*/ 1087070 w 5719680"/>
                <a:gd name="connsiteY3981" fmla="*/ 4551201 h 5704395"/>
                <a:gd name="connsiteX3982" fmla="*/ 1088162 w 5719680"/>
                <a:gd name="connsiteY3982" fmla="*/ 4547659 h 5704395"/>
                <a:gd name="connsiteX3983" fmla="*/ 1216798 w 5719680"/>
                <a:gd name="connsiteY3983" fmla="*/ 4578080 h 5704395"/>
                <a:gd name="connsiteX3984" fmla="*/ 1217751 w 5719680"/>
                <a:gd name="connsiteY3984" fmla="*/ 4578080 h 5704395"/>
                <a:gd name="connsiteX3985" fmla="*/ 1219657 w 5719680"/>
                <a:gd name="connsiteY3985" fmla="*/ 4578714 h 5704395"/>
                <a:gd name="connsiteX3986" fmla="*/ 1305414 w 5719680"/>
                <a:gd name="connsiteY3986" fmla="*/ 4599311 h 5704395"/>
                <a:gd name="connsiteX3987" fmla="*/ 1352739 w 5719680"/>
                <a:gd name="connsiteY3987" fmla="*/ 4537835 h 5704395"/>
                <a:gd name="connsiteX3988" fmla="*/ 1100549 w 5719680"/>
                <a:gd name="connsiteY3988" fmla="*/ 4446571 h 5704395"/>
                <a:gd name="connsiteX3989" fmla="*/ 2002269 w 5719680"/>
                <a:gd name="connsiteY3989" fmla="*/ 4442135 h 5704395"/>
                <a:gd name="connsiteX3990" fmla="*/ 1999728 w 5719680"/>
                <a:gd name="connsiteY3990" fmla="*/ 4458296 h 5704395"/>
                <a:gd name="connsiteX3991" fmla="*/ 1996552 w 5719680"/>
                <a:gd name="connsiteY3991" fmla="*/ 4457979 h 5704395"/>
                <a:gd name="connsiteX3992" fmla="*/ 1992423 w 5719680"/>
                <a:gd name="connsiteY3992" fmla="*/ 4486499 h 5704395"/>
                <a:gd name="connsiteX3993" fmla="*/ 2022597 w 5719680"/>
                <a:gd name="connsiteY3993" fmla="*/ 4490302 h 5704395"/>
                <a:gd name="connsiteX3994" fmla="*/ 2025455 w 5719680"/>
                <a:gd name="connsiteY3994" fmla="*/ 4472239 h 5704395"/>
                <a:gd name="connsiteX3995" fmla="*/ 2048324 w 5719680"/>
                <a:gd name="connsiteY3995" fmla="*/ 4475725 h 5704395"/>
                <a:gd name="connsiteX3996" fmla="*/ 2052453 w 5719680"/>
                <a:gd name="connsiteY3996" fmla="*/ 4449740 h 5704395"/>
                <a:gd name="connsiteX3997" fmla="*/ 2002269 w 5719680"/>
                <a:gd name="connsiteY3997" fmla="*/ 4442135 h 5704395"/>
                <a:gd name="connsiteX3998" fmla="*/ 1318436 w 5719680"/>
                <a:gd name="connsiteY3998" fmla="*/ 4441501 h 5704395"/>
                <a:gd name="connsiteX3999" fmla="*/ 1395935 w 5719680"/>
                <a:gd name="connsiteY3999" fmla="*/ 4453543 h 5704395"/>
                <a:gd name="connsiteX4000" fmla="*/ 1390535 w 5719680"/>
                <a:gd name="connsiteY4000" fmla="*/ 4471605 h 5704395"/>
                <a:gd name="connsiteX4001" fmla="*/ 1370208 w 5719680"/>
                <a:gd name="connsiteY4001" fmla="*/ 4468120 h 5704395"/>
                <a:gd name="connsiteX4002" fmla="*/ 1366714 w 5719680"/>
                <a:gd name="connsiteY4002" fmla="*/ 4490619 h 5704395"/>
                <a:gd name="connsiteX4003" fmla="*/ 1337493 w 5719680"/>
                <a:gd name="connsiteY4003" fmla="*/ 4494421 h 5704395"/>
                <a:gd name="connsiteX4004" fmla="*/ 1338128 w 5719680"/>
                <a:gd name="connsiteY4004" fmla="*/ 4471289 h 5704395"/>
                <a:gd name="connsiteX4005" fmla="*/ 1315260 w 5719680"/>
                <a:gd name="connsiteY4005" fmla="*/ 4461148 h 5704395"/>
                <a:gd name="connsiteX4006" fmla="*/ 1318436 w 5719680"/>
                <a:gd name="connsiteY4006" fmla="*/ 4441501 h 5704395"/>
                <a:gd name="connsiteX4007" fmla="*/ 262036 w 5719680"/>
                <a:gd name="connsiteY4007" fmla="*/ 4439917 h 5704395"/>
                <a:gd name="connsiteX4008" fmla="*/ 238214 w 5719680"/>
                <a:gd name="connsiteY4008" fmla="*/ 4479845 h 5704395"/>
                <a:gd name="connsiteX4009" fmla="*/ 246790 w 5719680"/>
                <a:gd name="connsiteY4009" fmla="*/ 4481429 h 5704395"/>
                <a:gd name="connsiteX4010" fmla="*/ 286810 w 5719680"/>
                <a:gd name="connsiteY4010" fmla="*/ 4454810 h 5704395"/>
                <a:gd name="connsiteX4011" fmla="*/ 262036 w 5719680"/>
                <a:gd name="connsiteY4011" fmla="*/ 4439917 h 5704395"/>
                <a:gd name="connsiteX4012" fmla="*/ 1998775 w 5719680"/>
                <a:gd name="connsiteY4012" fmla="*/ 4437382 h 5704395"/>
                <a:gd name="connsiteX4013" fmla="*/ 2057217 w 5719680"/>
                <a:gd name="connsiteY4013" fmla="*/ 4446254 h 5704395"/>
                <a:gd name="connsiteX4014" fmla="*/ 2051818 w 5719680"/>
                <a:gd name="connsiteY4014" fmla="*/ 4480478 h 5704395"/>
                <a:gd name="connsiteX4015" fmla="*/ 2028949 w 5719680"/>
                <a:gd name="connsiteY4015" fmla="*/ 4476993 h 5704395"/>
                <a:gd name="connsiteX4016" fmla="*/ 2026090 w 5719680"/>
                <a:gd name="connsiteY4016" fmla="*/ 4495055 h 5704395"/>
                <a:gd name="connsiteX4017" fmla="*/ 2024185 w 5719680"/>
                <a:gd name="connsiteY4017" fmla="*/ 4494738 h 5704395"/>
                <a:gd name="connsiteX4018" fmla="*/ 1987659 w 5719680"/>
                <a:gd name="connsiteY4018" fmla="*/ 4489985 h 5704395"/>
                <a:gd name="connsiteX4019" fmla="*/ 1993058 w 5719680"/>
                <a:gd name="connsiteY4019" fmla="*/ 4453226 h 5704395"/>
                <a:gd name="connsiteX4020" fmla="*/ 1996234 w 5719680"/>
                <a:gd name="connsiteY4020" fmla="*/ 4453860 h 5704395"/>
                <a:gd name="connsiteX4021" fmla="*/ 1998775 w 5719680"/>
                <a:gd name="connsiteY4021" fmla="*/ 4437382 h 5704395"/>
                <a:gd name="connsiteX4022" fmla="*/ 449749 w 5719680"/>
                <a:gd name="connsiteY4022" fmla="*/ 4437065 h 5704395"/>
                <a:gd name="connsiteX4023" fmla="*/ 335723 w 5719680"/>
                <a:gd name="connsiteY4023" fmla="*/ 4675364 h 5704395"/>
                <a:gd name="connsiteX4024" fmla="*/ 347158 w 5719680"/>
                <a:gd name="connsiteY4024" fmla="*/ 4683920 h 5704395"/>
                <a:gd name="connsiteX4025" fmla="*/ 347793 w 5719680"/>
                <a:gd name="connsiteY4025" fmla="*/ 4683287 h 5704395"/>
                <a:gd name="connsiteX4026" fmla="*/ 383049 w 5719680"/>
                <a:gd name="connsiteY4026" fmla="*/ 4709905 h 5704395"/>
                <a:gd name="connsiteX4027" fmla="*/ 442761 w 5719680"/>
                <a:gd name="connsiteY4027" fmla="*/ 4586002 h 5704395"/>
                <a:gd name="connsiteX4028" fmla="*/ 441808 w 5719680"/>
                <a:gd name="connsiteY4028" fmla="*/ 4585368 h 5704395"/>
                <a:gd name="connsiteX4029" fmla="*/ 443079 w 5719680"/>
                <a:gd name="connsiteY4029" fmla="*/ 4584418 h 5704395"/>
                <a:gd name="connsiteX4030" fmla="*/ 443396 w 5719680"/>
                <a:gd name="connsiteY4030" fmla="*/ 4584418 h 5704395"/>
                <a:gd name="connsiteX4031" fmla="*/ 494215 w 5719680"/>
                <a:gd name="connsiteY4031" fmla="*/ 4479211 h 5704395"/>
                <a:gd name="connsiteX4032" fmla="*/ 449749 w 5719680"/>
                <a:gd name="connsiteY4032" fmla="*/ 4437065 h 5704395"/>
                <a:gd name="connsiteX4033" fmla="*/ 260448 w 5719680"/>
                <a:gd name="connsiteY4033" fmla="*/ 4433896 h 5704395"/>
                <a:gd name="connsiteX4034" fmla="*/ 264259 w 5719680"/>
                <a:gd name="connsiteY4034" fmla="*/ 4436114 h 5704395"/>
                <a:gd name="connsiteX4035" fmla="*/ 289033 w 5719680"/>
                <a:gd name="connsiteY4035" fmla="*/ 4451008 h 5704395"/>
                <a:gd name="connsiteX4036" fmla="*/ 295068 w 5719680"/>
                <a:gd name="connsiteY4036" fmla="*/ 4454810 h 5704395"/>
                <a:gd name="connsiteX4037" fmla="*/ 289351 w 5719680"/>
                <a:gd name="connsiteY4037" fmla="*/ 4458613 h 5704395"/>
                <a:gd name="connsiteX4038" fmla="*/ 249331 w 5719680"/>
                <a:gd name="connsiteY4038" fmla="*/ 4485232 h 5704395"/>
                <a:gd name="connsiteX4039" fmla="*/ 247743 w 5719680"/>
                <a:gd name="connsiteY4039" fmla="*/ 4486182 h 5704395"/>
                <a:gd name="connsiteX4040" fmla="*/ 245837 w 5719680"/>
                <a:gd name="connsiteY4040" fmla="*/ 4485865 h 5704395"/>
                <a:gd name="connsiteX4041" fmla="*/ 237262 w 5719680"/>
                <a:gd name="connsiteY4041" fmla="*/ 4484281 h 5704395"/>
                <a:gd name="connsiteX4042" fmla="*/ 231227 w 5719680"/>
                <a:gd name="connsiteY4042" fmla="*/ 4483013 h 5704395"/>
                <a:gd name="connsiteX4043" fmla="*/ 234403 w 5719680"/>
                <a:gd name="connsiteY4043" fmla="*/ 4477626 h 5704395"/>
                <a:gd name="connsiteX4044" fmla="*/ 258224 w 5719680"/>
                <a:gd name="connsiteY4044" fmla="*/ 4437698 h 5704395"/>
                <a:gd name="connsiteX4045" fmla="*/ 260448 w 5719680"/>
                <a:gd name="connsiteY4045" fmla="*/ 4433896 h 5704395"/>
                <a:gd name="connsiteX4046" fmla="*/ 1312401 w 5719680"/>
                <a:gd name="connsiteY4046" fmla="*/ 4433579 h 5704395"/>
                <a:gd name="connsiteX4047" fmla="*/ 1306366 w 5719680"/>
                <a:gd name="connsiteY4047" fmla="*/ 4460831 h 5704395"/>
                <a:gd name="connsiteX4048" fmla="*/ 1334635 w 5719680"/>
                <a:gd name="connsiteY4048" fmla="*/ 4508998 h 5704395"/>
                <a:gd name="connsiteX4049" fmla="*/ 1364491 w 5719680"/>
                <a:gd name="connsiteY4049" fmla="*/ 4519772 h 5704395"/>
                <a:gd name="connsiteX4050" fmla="*/ 1387359 w 5719680"/>
                <a:gd name="connsiteY4050" fmla="*/ 4488717 h 5704395"/>
                <a:gd name="connsiteX4051" fmla="*/ 1402605 w 5719680"/>
                <a:gd name="connsiteY4051" fmla="*/ 4451008 h 5704395"/>
                <a:gd name="connsiteX4052" fmla="*/ 1403240 w 5719680"/>
                <a:gd name="connsiteY4052" fmla="*/ 4448156 h 5704395"/>
                <a:gd name="connsiteX4053" fmla="*/ 1312401 w 5719680"/>
                <a:gd name="connsiteY4053" fmla="*/ 4433579 h 5704395"/>
                <a:gd name="connsiteX4054" fmla="*/ 1570308 w 5719680"/>
                <a:gd name="connsiteY4054" fmla="*/ 4432945 h 5704395"/>
                <a:gd name="connsiteX4055" fmla="*/ 1498843 w 5719680"/>
                <a:gd name="connsiteY4055" fmla="*/ 4470655 h 5704395"/>
                <a:gd name="connsiteX4056" fmla="*/ 1498208 w 5719680"/>
                <a:gd name="connsiteY4056" fmla="*/ 4483013 h 5704395"/>
                <a:gd name="connsiteX4057" fmla="*/ 1496303 w 5719680"/>
                <a:gd name="connsiteY4057" fmla="*/ 4508681 h 5704395"/>
                <a:gd name="connsiteX4058" fmla="*/ 1495667 w 5719680"/>
                <a:gd name="connsiteY4058" fmla="*/ 4515970 h 5704395"/>
                <a:gd name="connsiteX4059" fmla="*/ 1495350 w 5719680"/>
                <a:gd name="connsiteY4059" fmla="*/ 4517871 h 5704395"/>
                <a:gd name="connsiteX4060" fmla="*/ 1495350 w 5719680"/>
                <a:gd name="connsiteY4060" fmla="*/ 4518505 h 5704395"/>
                <a:gd name="connsiteX4061" fmla="*/ 1495350 w 5719680"/>
                <a:gd name="connsiteY4061" fmla="*/ 4518822 h 5704395"/>
                <a:gd name="connsiteX4062" fmla="*/ 1494079 w 5719680"/>
                <a:gd name="connsiteY4062" fmla="*/ 4520723 h 5704395"/>
                <a:gd name="connsiteX4063" fmla="*/ 1492809 w 5719680"/>
                <a:gd name="connsiteY4063" fmla="*/ 4520723 h 5704395"/>
                <a:gd name="connsiteX4064" fmla="*/ 1492491 w 5719680"/>
                <a:gd name="connsiteY4064" fmla="*/ 4521040 h 5704395"/>
                <a:gd name="connsiteX4065" fmla="*/ 1488680 w 5719680"/>
                <a:gd name="connsiteY4065" fmla="*/ 4521040 h 5704395"/>
                <a:gd name="connsiteX4066" fmla="*/ 1430238 w 5719680"/>
                <a:gd name="connsiteY4066" fmla="*/ 4520089 h 5704395"/>
                <a:gd name="connsiteX4067" fmla="*/ 1447707 w 5719680"/>
                <a:gd name="connsiteY4067" fmla="*/ 4579030 h 5704395"/>
                <a:gd name="connsiteX4068" fmla="*/ 1460412 w 5719680"/>
                <a:gd name="connsiteY4068" fmla="*/ 4620860 h 5704395"/>
                <a:gd name="connsiteX4069" fmla="*/ 1464541 w 5719680"/>
                <a:gd name="connsiteY4069" fmla="*/ 4634803 h 5704395"/>
                <a:gd name="connsiteX4070" fmla="*/ 1621444 w 5719680"/>
                <a:gd name="connsiteY4070" fmla="*/ 4545757 h 5704395"/>
                <a:gd name="connsiteX4071" fmla="*/ 1617315 w 5719680"/>
                <a:gd name="connsiteY4071" fmla="*/ 4536251 h 5704395"/>
                <a:gd name="connsiteX4072" fmla="*/ 1595717 w 5719680"/>
                <a:gd name="connsiteY4072" fmla="*/ 4492837 h 5704395"/>
                <a:gd name="connsiteX4073" fmla="*/ 1573166 w 5719680"/>
                <a:gd name="connsiteY4073" fmla="*/ 4443402 h 5704395"/>
                <a:gd name="connsiteX4074" fmla="*/ 1573166 w 5719680"/>
                <a:gd name="connsiteY4074" fmla="*/ 4442769 h 5704395"/>
                <a:gd name="connsiteX4075" fmla="*/ 1572531 w 5719680"/>
                <a:gd name="connsiteY4075" fmla="*/ 4441501 h 5704395"/>
                <a:gd name="connsiteX4076" fmla="*/ 1572213 w 5719680"/>
                <a:gd name="connsiteY4076" fmla="*/ 4439917 h 5704395"/>
                <a:gd name="connsiteX4077" fmla="*/ 1571896 w 5719680"/>
                <a:gd name="connsiteY4077" fmla="*/ 4439283 h 5704395"/>
                <a:gd name="connsiteX4078" fmla="*/ 1571578 w 5719680"/>
                <a:gd name="connsiteY4078" fmla="*/ 4437382 h 5704395"/>
                <a:gd name="connsiteX4079" fmla="*/ 1570943 w 5719680"/>
                <a:gd name="connsiteY4079" fmla="*/ 4435480 h 5704395"/>
                <a:gd name="connsiteX4080" fmla="*/ 1570943 w 5719680"/>
                <a:gd name="connsiteY4080" fmla="*/ 4434530 h 5704395"/>
                <a:gd name="connsiteX4081" fmla="*/ 1570308 w 5719680"/>
                <a:gd name="connsiteY4081" fmla="*/ 4432945 h 5704395"/>
                <a:gd name="connsiteX4082" fmla="*/ 2197922 w 5719680"/>
                <a:gd name="connsiteY4082" fmla="*/ 4431994 h 5704395"/>
                <a:gd name="connsiteX4083" fmla="*/ 2195699 w 5719680"/>
                <a:gd name="connsiteY4083" fmla="*/ 4448156 h 5704395"/>
                <a:gd name="connsiteX4084" fmla="*/ 2192205 w 5719680"/>
                <a:gd name="connsiteY4084" fmla="*/ 4447839 h 5704395"/>
                <a:gd name="connsiteX4085" fmla="*/ 2188076 w 5719680"/>
                <a:gd name="connsiteY4085" fmla="*/ 4476359 h 5704395"/>
                <a:gd name="connsiteX4086" fmla="*/ 2218250 w 5719680"/>
                <a:gd name="connsiteY4086" fmla="*/ 4480161 h 5704395"/>
                <a:gd name="connsiteX4087" fmla="*/ 2221108 w 5719680"/>
                <a:gd name="connsiteY4087" fmla="*/ 4462099 h 5704395"/>
                <a:gd name="connsiteX4088" fmla="*/ 2243977 w 5719680"/>
                <a:gd name="connsiteY4088" fmla="*/ 4465585 h 5704395"/>
                <a:gd name="connsiteX4089" fmla="*/ 2248106 w 5719680"/>
                <a:gd name="connsiteY4089" fmla="*/ 4439283 h 5704395"/>
                <a:gd name="connsiteX4090" fmla="*/ 2197922 w 5719680"/>
                <a:gd name="connsiteY4090" fmla="*/ 4431994 h 5704395"/>
                <a:gd name="connsiteX4091" fmla="*/ 1059894 w 5719680"/>
                <a:gd name="connsiteY4091" fmla="*/ 4431678 h 5704395"/>
                <a:gd name="connsiteX4092" fmla="*/ 1057989 w 5719680"/>
                <a:gd name="connsiteY4092" fmla="*/ 4446254 h 5704395"/>
                <a:gd name="connsiteX4093" fmla="*/ 1074822 w 5719680"/>
                <a:gd name="connsiteY4093" fmla="*/ 4448473 h 5704395"/>
                <a:gd name="connsiteX4094" fmla="*/ 1072917 w 5719680"/>
                <a:gd name="connsiteY4094" fmla="*/ 4462099 h 5704395"/>
                <a:gd name="connsiteX4095" fmla="*/ 1087845 w 5719680"/>
                <a:gd name="connsiteY4095" fmla="*/ 4464000 h 5704395"/>
                <a:gd name="connsiteX4096" fmla="*/ 1084033 w 5719680"/>
                <a:gd name="connsiteY4096" fmla="*/ 4491252 h 5704395"/>
                <a:gd name="connsiteX4097" fmla="*/ 1051954 w 5719680"/>
                <a:gd name="connsiteY4097" fmla="*/ 4486816 h 5704395"/>
                <a:gd name="connsiteX4098" fmla="*/ 1044649 w 5719680"/>
                <a:gd name="connsiteY4098" fmla="*/ 4536567 h 5704395"/>
                <a:gd name="connsiteX4099" fmla="*/ 1029085 w 5719680"/>
                <a:gd name="connsiteY4099" fmla="*/ 4652865 h 5704395"/>
                <a:gd name="connsiteX4100" fmla="*/ 1069105 w 5719680"/>
                <a:gd name="connsiteY4100" fmla="*/ 4655717 h 5704395"/>
                <a:gd name="connsiteX4101" fmla="*/ 1096420 w 5719680"/>
                <a:gd name="connsiteY4101" fmla="*/ 4444987 h 5704395"/>
                <a:gd name="connsiteX4102" fmla="*/ 1059894 w 5719680"/>
                <a:gd name="connsiteY4102" fmla="*/ 4431678 h 5704395"/>
                <a:gd name="connsiteX4103" fmla="*/ 1843778 w 5719680"/>
                <a:gd name="connsiteY4103" fmla="*/ 4428192 h 5704395"/>
                <a:gd name="connsiteX4104" fmla="*/ 1820274 w 5719680"/>
                <a:gd name="connsiteY4104" fmla="*/ 4442135 h 5704395"/>
                <a:gd name="connsiteX4105" fmla="*/ 1794229 w 5719680"/>
                <a:gd name="connsiteY4105" fmla="*/ 4494421 h 5704395"/>
                <a:gd name="connsiteX4106" fmla="*/ 1835837 w 5719680"/>
                <a:gd name="connsiteY4106" fmla="*/ 4526110 h 5704395"/>
                <a:gd name="connsiteX4107" fmla="*/ 1860929 w 5719680"/>
                <a:gd name="connsiteY4107" fmla="*/ 4457662 h 5704395"/>
                <a:gd name="connsiteX4108" fmla="*/ 1941604 w 5719680"/>
                <a:gd name="connsiteY4108" fmla="*/ 4491886 h 5704395"/>
                <a:gd name="connsiteX4109" fmla="*/ 1955262 w 5719680"/>
                <a:gd name="connsiteY4109" fmla="*/ 4428826 h 5704395"/>
                <a:gd name="connsiteX4110" fmla="*/ 1843778 w 5719680"/>
                <a:gd name="connsiteY4110" fmla="*/ 4428192 h 5704395"/>
                <a:gd name="connsiteX4111" fmla="*/ 2194428 w 5719680"/>
                <a:gd name="connsiteY4111" fmla="*/ 4427241 h 5704395"/>
                <a:gd name="connsiteX4112" fmla="*/ 2252870 w 5719680"/>
                <a:gd name="connsiteY4112" fmla="*/ 4435797 h 5704395"/>
                <a:gd name="connsiteX4113" fmla="*/ 2247471 w 5719680"/>
                <a:gd name="connsiteY4113" fmla="*/ 4470338 h 5704395"/>
                <a:gd name="connsiteX4114" fmla="*/ 2224602 w 5719680"/>
                <a:gd name="connsiteY4114" fmla="*/ 4466852 h 5704395"/>
                <a:gd name="connsiteX4115" fmla="*/ 2221744 w 5719680"/>
                <a:gd name="connsiteY4115" fmla="*/ 4484915 h 5704395"/>
                <a:gd name="connsiteX4116" fmla="*/ 2219838 w 5719680"/>
                <a:gd name="connsiteY4116" fmla="*/ 4484598 h 5704395"/>
                <a:gd name="connsiteX4117" fmla="*/ 2183312 w 5719680"/>
                <a:gd name="connsiteY4117" fmla="*/ 4479845 h 5704395"/>
                <a:gd name="connsiteX4118" fmla="*/ 2188712 w 5719680"/>
                <a:gd name="connsiteY4118" fmla="*/ 4443086 h 5704395"/>
                <a:gd name="connsiteX4119" fmla="*/ 2191888 w 5719680"/>
                <a:gd name="connsiteY4119" fmla="*/ 4443402 h 5704395"/>
                <a:gd name="connsiteX4120" fmla="*/ 2194428 w 5719680"/>
                <a:gd name="connsiteY4120" fmla="*/ 4427241 h 5704395"/>
                <a:gd name="connsiteX4121" fmla="*/ 683834 w 5719680"/>
                <a:gd name="connsiteY4121" fmla="*/ 4425340 h 5704395"/>
                <a:gd name="connsiteX4122" fmla="*/ 652389 w 5719680"/>
                <a:gd name="connsiteY4122" fmla="*/ 4456078 h 5704395"/>
                <a:gd name="connsiteX4123" fmla="*/ 712419 w 5719680"/>
                <a:gd name="connsiteY4123" fmla="*/ 4492520 h 5704395"/>
                <a:gd name="connsiteX4124" fmla="*/ 743546 w 5719680"/>
                <a:gd name="connsiteY4124" fmla="*/ 4462099 h 5704395"/>
                <a:gd name="connsiteX4125" fmla="*/ 683834 w 5719680"/>
                <a:gd name="connsiteY4125" fmla="*/ 4425340 h 5704395"/>
                <a:gd name="connsiteX4126" fmla="*/ 1842507 w 5719680"/>
                <a:gd name="connsiteY4126" fmla="*/ 4423438 h 5704395"/>
                <a:gd name="connsiteX4127" fmla="*/ 1960979 w 5719680"/>
                <a:gd name="connsiteY4127" fmla="*/ 4424072 h 5704395"/>
                <a:gd name="connsiteX4128" fmla="*/ 1960661 w 5719680"/>
                <a:gd name="connsiteY4128" fmla="*/ 4426924 h 5704395"/>
                <a:gd name="connsiteX4129" fmla="*/ 1945098 w 5719680"/>
                <a:gd name="connsiteY4129" fmla="*/ 4498541 h 5704395"/>
                <a:gd name="connsiteX4130" fmla="*/ 1863788 w 5719680"/>
                <a:gd name="connsiteY4130" fmla="*/ 4463683 h 5704395"/>
                <a:gd name="connsiteX4131" fmla="*/ 1838060 w 5719680"/>
                <a:gd name="connsiteY4131" fmla="*/ 4533715 h 5704395"/>
                <a:gd name="connsiteX4132" fmla="*/ 1788512 w 5719680"/>
                <a:gd name="connsiteY4132" fmla="*/ 4495689 h 5704395"/>
                <a:gd name="connsiteX4133" fmla="*/ 1816780 w 5719680"/>
                <a:gd name="connsiteY4133" fmla="*/ 4438966 h 5704395"/>
                <a:gd name="connsiteX4134" fmla="*/ 1842507 w 5719680"/>
                <a:gd name="connsiteY4134" fmla="*/ 4423438 h 5704395"/>
                <a:gd name="connsiteX4135" fmla="*/ 984301 w 5719680"/>
                <a:gd name="connsiteY4135" fmla="*/ 4422488 h 5704395"/>
                <a:gd name="connsiteX4136" fmla="*/ 979854 w 5719680"/>
                <a:gd name="connsiteY4136" fmla="*/ 4454810 h 5704395"/>
                <a:gd name="connsiteX4137" fmla="*/ 1003676 w 5719680"/>
                <a:gd name="connsiteY4137" fmla="*/ 4458296 h 5704395"/>
                <a:gd name="connsiteX4138" fmla="*/ 1006217 w 5719680"/>
                <a:gd name="connsiteY4138" fmla="*/ 4439283 h 5704395"/>
                <a:gd name="connsiteX4139" fmla="*/ 991606 w 5719680"/>
                <a:gd name="connsiteY4139" fmla="*/ 4437382 h 5704395"/>
                <a:gd name="connsiteX4140" fmla="*/ 993194 w 5719680"/>
                <a:gd name="connsiteY4140" fmla="*/ 4423755 h 5704395"/>
                <a:gd name="connsiteX4141" fmla="*/ 984301 w 5719680"/>
                <a:gd name="connsiteY4141" fmla="*/ 4422488 h 5704395"/>
                <a:gd name="connsiteX4142" fmla="*/ 964926 w 5719680"/>
                <a:gd name="connsiteY4142" fmla="*/ 4419953 h 5704395"/>
                <a:gd name="connsiteX4143" fmla="*/ 963021 w 5719680"/>
                <a:gd name="connsiteY4143" fmla="*/ 4433579 h 5704395"/>
                <a:gd name="connsiteX4144" fmla="*/ 948092 w 5719680"/>
                <a:gd name="connsiteY4144" fmla="*/ 4431361 h 5704395"/>
                <a:gd name="connsiteX4145" fmla="*/ 945551 w 5719680"/>
                <a:gd name="connsiteY4145" fmla="*/ 4450374 h 5704395"/>
                <a:gd name="connsiteX4146" fmla="*/ 975408 w 5719680"/>
                <a:gd name="connsiteY4146" fmla="*/ 4454493 h 5704395"/>
                <a:gd name="connsiteX4147" fmla="*/ 979854 w 5719680"/>
                <a:gd name="connsiteY4147" fmla="*/ 4421854 h 5704395"/>
                <a:gd name="connsiteX4148" fmla="*/ 53678 w 5719680"/>
                <a:gd name="connsiteY4148" fmla="*/ 4419636 h 5704395"/>
                <a:gd name="connsiteX4149" fmla="*/ 28904 w 5719680"/>
                <a:gd name="connsiteY4149" fmla="*/ 4485232 h 5704395"/>
                <a:gd name="connsiteX4150" fmla="*/ 57807 w 5719680"/>
                <a:gd name="connsiteY4150" fmla="*/ 4503928 h 5704395"/>
                <a:gd name="connsiteX4151" fmla="*/ 62254 w 5719680"/>
                <a:gd name="connsiteY4151" fmla="*/ 4500759 h 5704395"/>
                <a:gd name="connsiteX4152" fmla="*/ 43514 w 5719680"/>
                <a:gd name="connsiteY4152" fmla="*/ 4474457 h 5704395"/>
                <a:gd name="connsiteX4153" fmla="*/ 73053 w 5719680"/>
                <a:gd name="connsiteY4153" fmla="*/ 4451642 h 5704395"/>
                <a:gd name="connsiteX4154" fmla="*/ 111484 w 5719680"/>
                <a:gd name="connsiteY4154" fmla="*/ 4472239 h 5704395"/>
                <a:gd name="connsiteX4155" fmla="*/ 125142 w 5719680"/>
                <a:gd name="connsiteY4155" fmla="*/ 4463683 h 5704395"/>
                <a:gd name="connsiteX4156" fmla="*/ 2643224 w 5719680"/>
                <a:gd name="connsiteY4156" fmla="*/ 4418685 h 5704395"/>
                <a:gd name="connsiteX4157" fmla="*/ 2629249 w 5719680"/>
                <a:gd name="connsiteY4157" fmla="*/ 4426290 h 5704395"/>
                <a:gd name="connsiteX4158" fmla="*/ 2612732 w 5719680"/>
                <a:gd name="connsiteY4158" fmla="*/ 4449423 h 5704395"/>
                <a:gd name="connsiteX4159" fmla="*/ 2628614 w 5719680"/>
                <a:gd name="connsiteY4159" fmla="*/ 4470972 h 5704395"/>
                <a:gd name="connsiteX4160" fmla="*/ 2642271 w 5719680"/>
                <a:gd name="connsiteY4160" fmla="*/ 4476993 h 5704395"/>
                <a:gd name="connsiteX4161" fmla="*/ 2642271 w 5719680"/>
                <a:gd name="connsiteY4161" fmla="*/ 4466218 h 5704395"/>
                <a:gd name="connsiteX4162" fmla="*/ 2791552 w 5719680"/>
                <a:gd name="connsiteY4162" fmla="*/ 4466218 h 5704395"/>
                <a:gd name="connsiteX4163" fmla="*/ 2791552 w 5719680"/>
                <a:gd name="connsiteY4163" fmla="*/ 4473507 h 5704395"/>
                <a:gd name="connsiteX4164" fmla="*/ 2802668 w 5719680"/>
                <a:gd name="connsiteY4164" fmla="*/ 4466535 h 5704395"/>
                <a:gd name="connsiteX4165" fmla="*/ 2816326 w 5719680"/>
                <a:gd name="connsiteY4165" fmla="*/ 4448156 h 5704395"/>
                <a:gd name="connsiteX4166" fmla="*/ 2802986 w 5719680"/>
                <a:gd name="connsiteY4166" fmla="*/ 4429776 h 5704395"/>
                <a:gd name="connsiteX4167" fmla="*/ 2792187 w 5719680"/>
                <a:gd name="connsiteY4167" fmla="*/ 4422805 h 5704395"/>
                <a:gd name="connsiteX4168" fmla="*/ 2791870 w 5719680"/>
                <a:gd name="connsiteY4168" fmla="*/ 4431044 h 5704395"/>
                <a:gd name="connsiteX4169" fmla="*/ 2789646 w 5719680"/>
                <a:gd name="connsiteY4169" fmla="*/ 4431044 h 5704395"/>
                <a:gd name="connsiteX4170" fmla="*/ 2643224 w 5719680"/>
                <a:gd name="connsiteY4170" fmla="*/ 4431044 h 5704395"/>
                <a:gd name="connsiteX4171" fmla="*/ 2643224 w 5719680"/>
                <a:gd name="connsiteY4171" fmla="*/ 4418685 h 5704395"/>
                <a:gd name="connsiteX4172" fmla="*/ 1022415 w 5719680"/>
                <a:gd name="connsiteY4172" fmla="*/ 4418051 h 5704395"/>
                <a:gd name="connsiteX4173" fmla="*/ 991606 w 5719680"/>
                <a:gd name="connsiteY4173" fmla="*/ 4649696 h 5704395"/>
                <a:gd name="connsiteX4174" fmla="*/ 1024639 w 5719680"/>
                <a:gd name="connsiteY4174" fmla="*/ 4652232 h 5704395"/>
                <a:gd name="connsiteX4175" fmla="*/ 1047507 w 5719680"/>
                <a:gd name="connsiteY4175" fmla="*/ 4486182 h 5704395"/>
                <a:gd name="connsiteX4176" fmla="*/ 1017651 w 5719680"/>
                <a:gd name="connsiteY4176" fmla="*/ 4482063 h 5704395"/>
                <a:gd name="connsiteX4177" fmla="*/ 1017969 w 5719680"/>
                <a:gd name="connsiteY4177" fmla="*/ 4480161 h 5704395"/>
                <a:gd name="connsiteX4178" fmla="*/ 1021462 w 5719680"/>
                <a:gd name="connsiteY4178" fmla="*/ 4455127 h 5704395"/>
                <a:gd name="connsiteX4179" fmla="*/ 1036073 w 5719680"/>
                <a:gd name="connsiteY4179" fmla="*/ 4457029 h 5704395"/>
                <a:gd name="connsiteX4180" fmla="*/ 1037979 w 5719680"/>
                <a:gd name="connsiteY4180" fmla="*/ 4443719 h 5704395"/>
                <a:gd name="connsiteX4181" fmla="*/ 1053542 w 5719680"/>
                <a:gd name="connsiteY4181" fmla="*/ 4445621 h 5704395"/>
                <a:gd name="connsiteX4182" fmla="*/ 1055765 w 5719680"/>
                <a:gd name="connsiteY4182" fmla="*/ 4430093 h 5704395"/>
                <a:gd name="connsiteX4183" fmla="*/ 1022415 w 5719680"/>
                <a:gd name="connsiteY4183" fmla="*/ 4418051 h 5704395"/>
                <a:gd name="connsiteX4184" fmla="*/ 1973684 w 5719680"/>
                <a:gd name="connsiteY4184" fmla="*/ 4414249 h 5704395"/>
                <a:gd name="connsiteX4185" fmla="*/ 1838696 w 5719680"/>
                <a:gd name="connsiteY4185" fmla="*/ 4416467 h 5704395"/>
                <a:gd name="connsiteX4186" fmla="*/ 1800264 w 5719680"/>
                <a:gd name="connsiteY4186" fmla="*/ 4444036 h 5704395"/>
                <a:gd name="connsiteX4187" fmla="*/ 1799946 w 5719680"/>
                <a:gd name="connsiteY4187" fmla="*/ 4445304 h 5704395"/>
                <a:gd name="connsiteX4188" fmla="*/ 1780254 w 5719680"/>
                <a:gd name="connsiteY4188" fmla="*/ 4496006 h 5704395"/>
                <a:gd name="connsiteX4189" fmla="*/ 1917782 w 5719680"/>
                <a:gd name="connsiteY4189" fmla="*/ 4616740 h 5704395"/>
                <a:gd name="connsiteX4190" fmla="*/ 1943510 w 5719680"/>
                <a:gd name="connsiteY4190" fmla="*/ 4529913 h 5704395"/>
                <a:gd name="connsiteX4191" fmla="*/ 1961932 w 5719680"/>
                <a:gd name="connsiteY4191" fmla="*/ 4499808 h 5704395"/>
                <a:gd name="connsiteX4192" fmla="*/ 1963202 w 5719680"/>
                <a:gd name="connsiteY4192" fmla="*/ 4500125 h 5704395"/>
                <a:gd name="connsiteX4193" fmla="*/ 1963837 w 5719680"/>
                <a:gd name="connsiteY4193" fmla="*/ 4500125 h 5704395"/>
                <a:gd name="connsiteX4194" fmla="*/ 1973684 w 5719680"/>
                <a:gd name="connsiteY4194" fmla="*/ 4414249 h 5704395"/>
                <a:gd name="connsiteX4195" fmla="*/ 576161 w 5719680"/>
                <a:gd name="connsiteY4195" fmla="*/ 4414249 h 5704395"/>
                <a:gd name="connsiteX4196" fmla="*/ 575843 w 5719680"/>
                <a:gd name="connsiteY4196" fmla="*/ 4414566 h 5704395"/>
                <a:gd name="connsiteX4197" fmla="*/ 559645 w 5719680"/>
                <a:gd name="connsiteY4197" fmla="*/ 4430727 h 5704395"/>
                <a:gd name="connsiteX4198" fmla="*/ 554880 w 5719680"/>
                <a:gd name="connsiteY4198" fmla="*/ 4435480 h 5704395"/>
                <a:gd name="connsiteX4199" fmla="*/ 625074 w 5719680"/>
                <a:gd name="connsiteY4199" fmla="*/ 4478260 h 5704395"/>
                <a:gd name="connsiteX4200" fmla="*/ 624439 w 5719680"/>
                <a:gd name="connsiteY4200" fmla="*/ 4477309 h 5704395"/>
                <a:gd name="connsiteX4201" fmla="*/ 645719 w 5719680"/>
                <a:gd name="connsiteY4201" fmla="*/ 4456712 h 5704395"/>
                <a:gd name="connsiteX4202" fmla="*/ 576161 w 5719680"/>
                <a:gd name="connsiteY4202" fmla="*/ 4414249 h 5704395"/>
                <a:gd name="connsiteX4203" fmla="*/ 2104860 w 5719680"/>
                <a:gd name="connsiteY4203" fmla="*/ 4412981 h 5704395"/>
                <a:gd name="connsiteX4204" fmla="*/ 2102319 w 5719680"/>
                <a:gd name="connsiteY4204" fmla="*/ 4429459 h 5704395"/>
                <a:gd name="connsiteX4205" fmla="*/ 2099143 w 5719680"/>
                <a:gd name="connsiteY4205" fmla="*/ 4428826 h 5704395"/>
                <a:gd name="connsiteX4206" fmla="*/ 2094696 w 5719680"/>
                <a:gd name="connsiteY4206" fmla="*/ 4457345 h 5704395"/>
                <a:gd name="connsiteX4207" fmla="*/ 2125188 w 5719680"/>
                <a:gd name="connsiteY4207" fmla="*/ 4461148 h 5704395"/>
                <a:gd name="connsiteX4208" fmla="*/ 2128046 w 5719680"/>
                <a:gd name="connsiteY4208" fmla="*/ 4443402 h 5704395"/>
                <a:gd name="connsiteX4209" fmla="*/ 2150915 w 5719680"/>
                <a:gd name="connsiteY4209" fmla="*/ 4446571 h 5704395"/>
                <a:gd name="connsiteX4210" fmla="*/ 2155044 w 5719680"/>
                <a:gd name="connsiteY4210" fmla="*/ 4420586 h 5704395"/>
                <a:gd name="connsiteX4211" fmla="*/ 2104860 w 5719680"/>
                <a:gd name="connsiteY4211" fmla="*/ 4412981 h 5704395"/>
                <a:gd name="connsiteX4212" fmla="*/ 51137 w 5719680"/>
                <a:gd name="connsiteY4212" fmla="*/ 4412664 h 5704395"/>
                <a:gd name="connsiteX4213" fmla="*/ 134035 w 5719680"/>
                <a:gd name="connsiteY4213" fmla="*/ 4463683 h 5704395"/>
                <a:gd name="connsiteX4214" fmla="*/ 130542 w 5719680"/>
                <a:gd name="connsiteY4214" fmla="*/ 4465901 h 5704395"/>
                <a:gd name="connsiteX4215" fmla="*/ 111802 w 5719680"/>
                <a:gd name="connsiteY4215" fmla="*/ 4477626 h 5704395"/>
                <a:gd name="connsiteX4216" fmla="*/ 73370 w 5719680"/>
                <a:gd name="connsiteY4216" fmla="*/ 4457029 h 5704395"/>
                <a:gd name="connsiteX4217" fmla="*/ 49866 w 5719680"/>
                <a:gd name="connsiteY4217" fmla="*/ 4475408 h 5704395"/>
                <a:gd name="connsiteX4218" fmla="*/ 68924 w 5719680"/>
                <a:gd name="connsiteY4218" fmla="*/ 4501710 h 5704395"/>
                <a:gd name="connsiteX4219" fmla="*/ 57807 w 5719680"/>
                <a:gd name="connsiteY4219" fmla="*/ 4509632 h 5704395"/>
                <a:gd name="connsiteX4220" fmla="*/ 23186 w 5719680"/>
                <a:gd name="connsiteY4220" fmla="*/ 4486816 h 5704395"/>
                <a:gd name="connsiteX4221" fmla="*/ 2647988 w 5719680"/>
                <a:gd name="connsiteY4221" fmla="*/ 4412031 h 5704395"/>
                <a:gd name="connsiteX4222" fmla="*/ 2647988 w 5719680"/>
                <a:gd name="connsiteY4222" fmla="*/ 4426290 h 5704395"/>
                <a:gd name="connsiteX4223" fmla="*/ 2787105 w 5719680"/>
                <a:gd name="connsiteY4223" fmla="*/ 4426290 h 5704395"/>
                <a:gd name="connsiteX4224" fmla="*/ 2787740 w 5719680"/>
                <a:gd name="connsiteY4224" fmla="*/ 4415516 h 5704395"/>
                <a:gd name="connsiteX4225" fmla="*/ 2790917 w 5719680"/>
                <a:gd name="connsiteY4225" fmla="*/ 4416784 h 5704395"/>
                <a:gd name="connsiteX4226" fmla="*/ 2821090 w 5719680"/>
                <a:gd name="connsiteY4226" fmla="*/ 4448156 h 5704395"/>
                <a:gd name="connsiteX4227" fmla="*/ 2805210 w 5719680"/>
                <a:gd name="connsiteY4227" fmla="*/ 4470338 h 5704395"/>
                <a:gd name="connsiteX4228" fmla="*/ 2790282 w 5719680"/>
                <a:gd name="connsiteY4228" fmla="*/ 4479528 h 5704395"/>
                <a:gd name="connsiteX4229" fmla="*/ 2787105 w 5719680"/>
                <a:gd name="connsiteY4229" fmla="*/ 4481112 h 5704395"/>
                <a:gd name="connsiteX4230" fmla="*/ 2787105 w 5719680"/>
                <a:gd name="connsiteY4230" fmla="*/ 4470655 h 5704395"/>
                <a:gd name="connsiteX4231" fmla="*/ 2646718 w 5719680"/>
                <a:gd name="connsiteY4231" fmla="*/ 4470655 h 5704395"/>
                <a:gd name="connsiteX4232" fmla="*/ 2646718 w 5719680"/>
                <a:gd name="connsiteY4232" fmla="*/ 4483330 h 5704395"/>
                <a:gd name="connsiteX4233" fmla="*/ 2643859 w 5719680"/>
                <a:gd name="connsiteY4233" fmla="*/ 4482380 h 5704395"/>
                <a:gd name="connsiteX4234" fmla="*/ 2607968 w 5719680"/>
                <a:gd name="connsiteY4234" fmla="*/ 4449423 h 5704395"/>
                <a:gd name="connsiteX4235" fmla="*/ 2644812 w 5719680"/>
                <a:gd name="connsiteY4235" fmla="*/ 4412981 h 5704395"/>
                <a:gd name="connsiteX4236" fmla="*/ 2647988 w 5719680"/>
                <a:gd name="connsiteY4236" fmla="*/ 4412031 h 5704395"/>
                <a:gd name="connsiteX4237" fmla="*/ 255366 w 5719680"/>
                <a:gd name="connsiteY4237" fmla="*/ 4410129 h 5704395"/>
                <a:gd name="connsiteX4238" fmla="*/ 216616 w 5719680"/>
                <a:gd name="connsiteY4238" fmla="*/ 4480795 h 5704395"/>
                <a:gd name="connsiteX4239" fmla="*/ 263306 w 5719680"/>
                <a:gd name="connsiteY4239" fmla="*/ 4510583 h 5704395"/>
                <a:gd name="connsiteX4240" fmla="*/ 322066 w 5719680"/>
                <a:gd name="connsiteY4240" fmla="*/ 4451325 h 5704395"/>
                <a:gd name="connsiteX4241" fmla="*/ 255366 w 5719680"/>
                <a:gd name="connsiteY4241" fmla="*/ 4410129 h 5704395"/>
                <a:gd name="connsiteX4242" fmla="*/ 2101366 w 5719680"/>
                <a:gd name="connsiteY4242" fmla="*/ 4408228 h 5704395"/>
                <a:gd name="connsiteX4243" fmla="*/ 2159490 w 5719680"/>
                <a:gd name="connsiteY4243" fmla="*/ 4417101 h 5704395"/>
                <a:gd name="connsiteX4244" fmla="*/ 2154408 w 5719680"/>
                <a:gd name="connsiteY4244" fmla="*/ 4451325 h 5704395"/>
                <a:gd name="connsiteX4245" fmla="*/ 2131540 w 5719680"/>
                <a:gd name="connsiteY4245" fmla="*/ 4447839 h 5704395"/>
                <a:gd name="connsiteX4246" fmla="*/ 2128682 w 5719680"/>
                <a:gd name="connsiteY4246" fmla="*/ 4465901 h 5704395"/>
                <a:gd name="connsiteX4247" fmla="*/ 2126776 w 5719680"/>
                <a:gd name="connsiteY4247" fmla="*/ 4465585 h 5704395"/>
                <a:gd name="connsiteX4248" fmla="*/ 2089932 w 5719680"/>
                <a:gd name="connsiteY4248" fmla="*/ 4461148 h 5704395"/>
                <a:gd name="connsiteX4249" fmla="*/ 2095649 w 5719680"/>
                <a:gd name="connsiteY4249" fmla="*/ 4424072 h 5704395"/>
                <a:gd name="connsiteX4250" fmla="*/ 2098825 w 5719680"/>
                <a:gd name="connsiteY4250" fmla="*/ 4424706 h 5704395"/>
                <a:gd name="connsiteX4251" fmla="*/ 2101366 w 5719680"/>
                <a:gd name="connsiteY4251" fmla="*/ 4408228 h 5704395"/>
                <a:gd name="connsiteX4252" fmla="*/ 2070240 w 5719680"/>
                <a:gd name="connsiteY4252" fmla="*/ 4406010 h 5704395"/>
                <a:gd name="connsiteX4253" fmla="*/ 2021962 w 5719680"/>
                <a:gd name="connsiteY4253" fmla="*/ 4411080 h 5704395"/>
                <a:gd name="connsiteX4254" fmla="*/ 1978130 w 5719680"/>
                <a:gd name="connsiteY4254" fmla="*/ 4413932 h 5704395"/>
                <a:gd name="connsiteX4255" fmla="*/ 1968284 w 5719680"/>
                <a:gd name="connsiteY4255" fmla="*/ 4500442 h 5704395"/>
                <a:gd name="connsiteX4256" fmla="*/ 2031490 w 5719680"/>
                <a:gd name="connsiteY4256" fmla="*/ 4503928 h 5704395"/>
                <a:gd name="connsiteX4257" fmla="*/ 2032125 w 5719680"/>
                <a:gd name="connsiteY4257" fmla="*/ 4503928 h 5704395"/>
                <a:gd name="connsiteX4258" fmla="*/ 2032443 w 5719680"/>
                <a:gd name="connsiteY4258" fmla="*/ 4503928 h 5704395"/>
                <a:gd name="connsiteX4259" fmla="*/ 2070240 w 5719680"/>
                <a:gd name="connsiteY4259" fmla="*/ 4502344 h 5704395"/>
                <a:gd name="connsiteX4260" fmla="*/ 2070240 w 5719680"/>
                <a:gd name="connsiteY4260" fmla="*/ 4406010 h 5704395"/>
                <a:gd name="connsiteX4261" fmla="*/ 986524 w 5719680"/>
                <a:gd name="connsiteY4261" fmla="*/ 4405059 h 5704395"/>
                <a:gd name="connsiteX4262" fmla="*/ 984619 w 5719680"/>
                <a:gd name="connsiteY4262" fmla="*/ 4418368 h 5704395"/>
                <a:gd name="connsiteX4263" fmla="*/ 997959 w 5719680"/>
                <a:gd name="connsiteY4263" fmla="*/ 4420270 h 5704395"/>
                <a:gd name="connsiteX4264" fmla="*/ 996053 w 5719680"/>
                <a:gd name="connsiteY4264" fmla="*/ 4433896 h 5704395"/>
                <a:gd name="connsiteX4265" fmla="*/ 1010981 w 5719680"/>
                <a:gd name="connsiteY4265" fmla="*/ 4435797 h 5704395"/>
                <a:gd name="connsiteX4266" fmla="*/ 1007170 w 5719680"/>
                <a:gd name="connsiteY4266" fmla="*/ 4462733 h 5704395"/>
                <a:gd name="connsiteX4267" fmla="*/ 979219 w 5719680"/>
                <a:gd name="connsiteY4267" fmla="*/ 4458930 h 5704395"/>
                <a:gd name="connsiteX4268" fmla="*/ 953810 w 5719680"/>
                <a:gd name="connsiteY4268" fmla="*/ 4646844 h 5704395"/>
                <a:gd name="connsiteX4269" fmla="*/ 987160 w 5719680"/>
                <a:gd name="connsiteY4269" fmla="*/ 4649380 h 5704395"/>
                <a:gd name="connsiteX4270" fmla="*/ 1002723 w 5719680"/>
                <a:gd name="connsiteY4270" fmla="*/ 4536567 h 5704395"/>
                <a:gd name="connsiteX4271" fmla="*/ 1018286 w 5719680"/>
                <a:gd name="connsiteY4271" fmla="*/ 4416467 h 5704395"/>
                <a:gd name="connsiteX4272" fmla="*/ 986524 w 5719680"/>
                <a:gd name="connsiteY4272" fmla="*/ 4405059 h 5704395"/>
                <a:gd name="connsiteX4273" fmla="*/ 253778 w 5719680"/>
                <a:gd name="connsiteY4273" fmla="*/ 4403791 h 5704395"/>
                <a:gd name="connsiteX4274" fmla="*/ 329053 w 5719680"/>
                <a:gd name="connsiteY4274" fmla="*/ 4450691 h 5704395"/>
                <a:gd name="connsiteX4275" fmla="*/ 263941 w 5719680"/>
                <a:gd name="connsiteY4275" fmla="*/ 4516287 h 5704395"/>
                <a:gd name="connsiteX4276" fmla="*/ 210582 w 5719680"/>
                <a:gd name="connsiteY4276" fmla="*/ 4482380 h 5704395"/>
                <a:gd name="connsiteX4277" fmla="*/ 253778 w 5719680"/>
                <a:gd name="connsiteY4277" fmla="*/ 4403791 h 5704395"/>
                <a:gd name="connsiteX4278" fmla="*/ 412269 w 5719680"/>
                <a:gd name="connsiteY4278" fmla="*/ 4401573 h 5704395"/>
                <a:gd name="connsiteX4279" fmla="*/ 411317 w 5719680"/>
                <a:gd name="connsiteY4279" fmla="*/ 4402841 h 5704395"/>
                <a:gd name="connsiteX4280" fmla="*/ 391942 w 5719680"/>
                <a:gd name="connsiteY4280" fmla="*/ 4427558 h 5704395"/>
                <a:gd name="connsiteX4281" fmla="*/ 378920 w 5719680"/>
                <a:gd name="connsiteY4281" fmla="*/ 4444670 h 5704395"/>
                <a:gd name="connsiteX4282" fmla="*/ 374473 w 5719680"/>
                <a:gd name="connsiteY4282" fmla="*/ 4450374 h 5704395"/>
                <a:gd name="connsiteX4283" fmla="*/ 373520 w 5719680"/>
                <a:gd name="connsiteY4283" fmla="*/ 4451958 h 5704395"/>
                <a:gd name="connsiteX4284" fmla="*/ 372885 w 5719680"/>
                <a:gd name="connsiteY4284" fmla="*/ 4452909 h 5704395"/>
                <a:gd name="connsiteX4285" fmla="*/ 370661 w 5719680"/>
                <a:gd name="connsiteY4285" fmla="*/ 4455444 h 5704395"/>
                <a:gd name="connsiteX4286" fmla="*/ 313808 w 5719680"/>
                <a:gd name="connsiteY4286" fmla="*/ 4514068 h 5704395"/>
                <a:gd name="connsiteX4287" fmla="*/ 387813 w 5719680"/>
                <a:gd name="connsiteY4287" fmla="*/ 4554313 h 5704395"/>
                <a:gd name="connsiteX4288" fmla="*/ 445619 w 5719680"/>
                <a:gd name="connsiteY4288" fmla="*/ 4433262 h 5704395"/>
                <a:gd name="connsiteX4289" fmla="*/ 412269 w 5719680"/>
                <a:gd name="connsiteY4289" fmla="*/ 4401573 h 5704395"/>
                <a:gd name="connsiteX4290" fmla="*/ 48914 w 5719680"/>
                <a:gd name="connsiteY4290" fmla="*/ 4397771 h 5704395"/>
                <a:gd name="connsiteX4291" fmla="*/ 12705 w 5719680"/>
                <a:gd name="connsiteY4291" fmla="*/ 4489985 h 5704395"/>
                <a:gd name="connsiteX4292" fmla="*/ 147375 w 5719680"/>
                <a:gd name="connsiteY4292" fmla="*/ 4596459 h 5704395"/>
                <a:gd name="connsiteX4293" fmla="*/ 205817 w 5719680"/>
                <a:gd name="connsiteY4293" fmla="*/ 4500442 h 5704395"/>
                <a:gd name="connsiteX4294" fmla="*/ 175008 w 5719680"/>
                <a:gd name="connsiteY4294" fmla="*/ 4478894 h 5704395"/>
                <a:gd name="connsiteX4295" fmla="*/ 175326 w 5719680"/>
                <a:gd name="connsiteY4295" fmla="*/ 4478260 h 5704395"/>
                <a:gd name="connsiteX4296" fmla="*/ 108626 w 5719680"/>
                <a:gd name="connsiteY4296" fmla="*/ 4435797 h 5704395"/>
                <a:gd name="connsiteX4297" fmla="*/ 61618 w 5719680"/>
                <a:gd name="connsiteY4297" fmla="*/ 4405693 h 5704395"/>
                <a:gd name="connsiteX4298" fmla="*/ 48914 w 5719680"/>
                <a:gd name="connsiteY4298" fmla="*/ 4397771 h 5704395"/>
                <a:gd name="connsiteX4299" fmla="*/ 1517583 w 5719680"/>
                <a:gd name="connsiteY4299" fmla="*/ 4396186 h 5704395"/>
                <a:gd name="connsiteX4300" fmla="*/ 1516948 w 5719680"/>
                <a:gd name="connsiteY4300" fmla="*/ 4402524 h 5704395"/>
                <a:gd name="connsiteX4301" fmla="*/ 1524571 w 5719680"/>
                <a:gd name="connsiteY4301" fmla="*/ 4403158 h 5704395"/>
                <a:gd name="connsiteX4302" fmla="*/ 1529017 w 5719680"/>
                <a:gd name="connsiteY4302" fmla="*/ 4403475 h 5704395"/>
                <a:gd name="connsiteX4303" fmla="*/ 1528700 w 5719680"/>
                <a:gd name="connsiteY4303" fmla="*/ 4407911 h 5704395"/>
                <a:gd name="connsiteX4304" fmla="*/ 1527429 w 5719680"/>
                <a:gd name="connsiteY4304" fmla="*/ 4420586 h 5704395"/>
                <a:gd name="connsiteX4305" fmla="*/ 1550933 w 5719680"/>
                <a:gd name="connsiteY4305" fmla="*/ 4423755 h 5704395"/>
                <a:gd name="connsiteX4306" fmla="*/ 1554109 w 5719680"/>
                <a:gd name="connsiteY4306" fmla="*/ 4397771 h 5704395"/>
                <a:gd name="connsiteX4307" fmla="*/ 1517583 w 5719680"/>
                <a:gd name="connsiteY4307" fmla="*/ 4396186 h 5704395"/>
                <a:gd name="connsiteX4308" fmla="*/ 1503925 w 5719680"/>
                <a:gd name="connsiteY4308" fmla="*/ 4395235 h 5704395"/>
                <a:gd name="connsiteX4309" fmla="*/ 1503290 w 5719680"/>
                <a:gd name="connsiteY4309" fmla="*/ 4405376 h 5704395"/>
                <a:gd name="connsiteX4310" fmla="*/ 1499479 w 5719680"/>
                <a:gd name="connsiteY4310" fmla="*/ 4464634 h 5704395"/>
                <a:gd name="connsiteX4311" fmla="*/ 1533146 w 5719680"/>
                <a:gd name="connsiteY4311" fmla="*/ 4446571 h 5704395"/>
                <a:gd name="connsiteX4312" fmla="*/ 1559509 w 5719680"/>
                <a:gd name="connsiteY4312" fmla="*/ 4432628 h 5704395"/>
                <a:gd name="connsiteX4313" fmla="*/ 1569672 w 5719680"/>
                <a:gd name="connsiteY4313" fmla="*/ 4427241 h 5704395"/>
                <a:gd name="connsiteX4314" fmla="*/ 1569037 w 5719680"/>
                <a:gd name="connsiteY4314" fmla="*/ 4407277 h 5704395"/>
                <a:gd name="connsiteX4315" fmla="*/ 1569037 w 5719680"/>
                <a:gd name="connsiteY4315" fmla="*/ 4398721 h 5704395"/>
                <a:gd name="connsiteX4316" fmla="*/ 1558556 w 5719680"/>
                <a:gd name="connsiteY4316" fmla="*/ 4398087 h 5704395"/>
                <a:gd name="connsiteX4317" fmla="*/ 1554744 w 5719680"/>
                <a:gd name="connsiteY4317" fmla="*/ 4428509 h 5704395"/>
                <a:gd name="connsiteX4318" fmla="*/ 1522665 w 5719680"/>
                <a:gd name="connsiteY4318" fmla="*/ 4424706 h 5704395"/>
                <a:gd name="connsiteX4319" fmla="*/ 1524253 w 5719680"/>
                <a:gd name="connsiteY4319" fmla="*/ 4407594 h 5704395"/>
                <a:gd name="connsiteX4320" fmla="*/ 1511866 w 5719680"/>
                <a:gd name="connsiteY4320" fmla="*/ 4406643 h 5704395"/>
                <a:gd name="connsiteX4321" fmla="*/ 1513136 w 5719680"/>
                <a:gd name="connsiteY4321" fmla="*/ 4395869 h 5704395"/>
                <a:gd name="connsiteX4322" fmla="*/ 1503925 w 5719680"/>
                <a:gd name="connsiteY4322" fmla="*/ 4395235 h 5704395"/>
                <a:gd name="connsiteX4323" fmla="*/ 242343 w 5719680"/>
                <a:gd name="connsiteY4323" fmla="*/ 4394919 h 5704395"/>
                <a:gd name="connsiteX4324" fmla="*/ 182313 w 5719680"/>
                <a:gd name="connsiteY4324" fmla="*/ 4477626 h 5704395"/>
                <a:gd name="connsiteX4325" fmla="*/ 212805 w 5719680"/>
                <a:gd name="connsiteY4325" fmla="*/ 4498858 h 5704395"/>
                <a:gd name="connsiteX4326" fmla="*/ 151504 w 5719680"/>
                <a:gd name="connsiteY4326" fmla="*/ 4599628 h 5704395"/>
                <a:gd name="connsiteX4327" fmla="*/ 174373 w 5719680"/>
                <a:gd name="connsiteY4327" fmla="*/ 4616423 h 5704395"/>
                <a:gd name="connsiteX4328" fmla="*/ 216934 w 5719680"/>
                <a:gd name="connsiteY4328" fmla="*/ 4543222 h 5704395"/>
                <a:gd name="connsiteX4329" fmla="*/ 217887 w 5719680"/>
                <a:gd name="connsiteY4329" fmla="*/ 4539419 h 5704395"/>
                <a:gd name="connsiteX4330" fmla="*/ 209946 w 5719680"/>
                <a:gd name="connsiteY4330" fmla="*/ 4527378 h 5704395"/>
                <a:gd name="connsiteX4331" fmla="*/ 201371 w 5719680"/>
                <a:gd name="connsiteY4331" fmla="*/ 4521991 h 5704395"/>
                <a:gd name="connsiteX4332" fmla="*/ 204547 w 5719680"/>
                <a:gd name="connsiteY4332" fmla="*/ 4515019 h 5704395"/>
                <a:gd name="connsiteX4333" fmla="*/ 214711 w 5719680"/>
                <a:gd name="connsiteY4333" fmla="*/ 4521357 h 5704395"/>
                <a:gd name="connsiteX4334" fmla="*/ 225827 w 5719680"/>
                <a:gd name="connsiteY4334" fmla="*/ 4539419 h 5704395"/>
                <a:gd name="connsiteX4335" fmla="*/ 223922 w 5719680"/>
                <a:gd name="connsiteY4335" fmla="*/ 4546708 h 5704395"/>
                <a:gd name="connsiteX4336" fmla="*/ 181043 w 5719680"/>
                <a:gd name="connsiteY4336" fmla="*/ 4621493 h 5704395"/>
                <a:gd name="connsiteX4337" fmla="*/ 185807 w 5719680"/>
                <a:gd name="connsiteY4337" fmla="*/ 4624979 h 5704395"/>
                <a:gd name="connsiteX4338" fmla="*/ 203594 w 5719680"/>
                <a:gd name="connsiteY4338" fmla="*/ 4638922 h 5704395"/>
                <a:gd name="connsiteX4339" fmla="*/ 210264 w 5719680"/>
                <a:gd name="connsiteY4339" fmla="*/ 4613571 h 5704395"/>
                <a:gd name="connsiteX4340" fmla="*/ 213440 w 5719680"/>
                <a:gd name="connsiteY4340" fmla="*/ 4594558 h 5704395"/>
                <a:gd name="connsiteX4341" fmla="*/ 221698 w 5719680"/>
                <a:gd name="connsiteY4341" fmla="*/ 4580932 h 5704395"/>
                <a:gd name="connsiteX4342" fmla="*/ 239485 w 5719680"/>
                <a:gd name="connsiteY4342" fmla="*/ 4559383 h 5704395"/>
                <a:gd name="connsiteX4343" fmla="*/ 247108 w 5719680"/>
                <a:gd name="connsiteY4343" fmla="*/ 4551461 h 5704395"/>
                <a:gd name="connsiteX4344" fmla="*/ 249331 w 5719680"/>
                <a:gd name="connsiteY4344" fmla="*/ 4548926 h 5704395"/>
                <a:gd name="connsiteX4345" fmla="*/ 250284 w 5719680"/>
                <a:gd name="connsiteY4345" fmla="*/ 4547975 h 5704395"/>
                <a:gd name="connsiteX4346" fmla="*/ 250602 w 5719680"/>
                <a:gd name="connsiteY4346" fmla="*/ 4547659 h 5704395"/>
                <a:gd name="connsiteX4347" fmla="*/ 250919 w 5719680"/>
                <a:gd name="connsiteY4347" fmla="*/ 4547342 h 5704395"/>
                <a:gd name="connsiteX4348" fmla="*/ 305232 w 5719680"/>
                <a:gd name="connsiteY4348" fmla="*/ 4491569 h 5704395"/>
                <a:gd name="connsiteX4349" fmla="*/ 339535 w 5719680"/>
                <a:gd name="connsiteY4349" fmla="*/ 4456078 h 5704395"/>
                <a:gd name="connsiteX4350" fmla="*/ 242343 w 5719680"/>
                <a:gd name="connsiteY4350" fmla="*/ 4394919 h 5704395"/>
                <a:gd name="connsiteX4351" fmla="*/ 2295114 w 5719680"/>
                <a:gd name="connsiteY4351" fmla="*/ 4392700 h 5704395"/>
                <a:gd name="connsiteX4352" fmla="*/ 2292890 w 5719680"/>
                <a:gd name="connsiteY4352" fmla="*/ 4408862 h 5704395"/>
                <a:gd name="connsiteX4353" fmla="*/ 2289396 w 5719680"/>
                <a:gd name="connsiteY4353" fmla="*/ 4408545 h 5704395"/>
                <a:gd name="connsiteX4354" fmla="*/ 2285268 w 5719680"/>
                <a:gd name="connsiteY4354" fmla="*/ 4437065 h 5704395"/>
                <a:gd name="connsiteX4355" fmla="*/ 2315441 w 5719680"/>
                <a:gd name="connsiteY4355" fmla="*/ 4440867 h 5704395"/>
                <a:gd name="connsiteX4356" fmla="*/ 2318300 w 5719680"/>
                <a:gd name="connsiteY4356" fmla="*/ 4422805 h 5704395"/>
                <a:gd name="connsiteX4357" fmla="*/ 2341168 w 5719680"/>
                <a:gd name="connsiteY4357" fmla="*/ 4426290 h 5704395"/>
                <a:gd name="connsiteX4358" fmla="*/ 2345298 w 5719680"/>
                <a:gd name="connsiteY4358" fmla="*/ 4399989 h 5704395"/>
                <a:gd name="connsiteX4359" fmla="*/ 2295114 w 5719680"/>
                <a:gd name="connsiteY4359" fmla="*/ 4392700 h 5704395"/>
                <a:gd name="connsiteX4360" fmla="*/ 947140 w 5719680"/>
                <a:gd name="connsiteY4360" fmla="*/ 4390799 h 5704395"/>
                <a:gd name="connsiteX4361" fmla="*/ 827080 w 5719680"/>
                <a:gd name="connsiteY4361" fmla="*/ 4508681 h 5704395"/>
                <a:gd name="connsiteX4362" fmla="*/ 869005 w 5719680"/>
                <a:gd name="connsiteY4362" fmla="*/ 4534349 h 5704395"/>
                <a:gd name="connsiteX4363" fmla="*/ 842961 w 5719680"/>
                <a:gd name="connsiteY4363" fmla="*/ 4577446 h 5704395"/>
                <a:gd name="connsiteX4364" fmla="*/ 841055 w 5719680"/>
                <a:gd name="connsiteY4364" fmla="*/ 4576178 h 5704395"/>
                <a:gd name="connsiteX4365" fmla="*/ 790236 w 5719680"/>
                <a:gd name="connsiteY4365" fmla="*/ 4545123 h 5704395"/>
                <a:gd name="connsiteX4366" fmla="*/ 769273 w 5719680"/>
                <a:gd name="connsiteY4366" fmla="*/ 4565721 h 5704395"/>
                <a:gd name="connsiteX4367" fmla="*/ 858842 w 5719680"/>
                <a:gd name="connsiteY4367" fmla="*/ 4626247 h 5704395"/>
                <a:gd name="connsiteX4368" fmla="*/ 906484 w 5719680"/>
                <a:gd name="connsiteY4368" fmla="*/ 4643042 h 5704395"/>
                <a:gd name="connsiteX4369" fmla="*/ 909978 w 5719680"/>
                <a:gd name="connsiteY4369" fmla="*/ 4643359 h 5704395"/>
                <a:gd name="connsiteX4370" fmla="*/ 929671 w 5719680"/>
                <a:gd name="connsiteY4370" fmla="*/ 4478577 h 5704395"/>
                <a:gd name="connsiteX4371" fmla="*/ 886474 w 5719680"/>
                <a:gd name="connsiteY4371" fmla="*/ 4452275 h 5704395"/>
                <a:gd name="connsiteX4372" fmla="*/ 888698 w 5719680"/>
                <a:gd name="connsiteY4372" fmla="*/ 4448473 h 5704395"/>
                <a:gd name="connsiteX4373" fmla="*/ 934435 w 5719680"/>
                <a:gd name="connsiteY4373" fmla="*/ 4476359 h 5704395"/>
                <a:gd name="connsiteX4374" fmla="*/ 914107 w 5719680"/>
                <a:gd name="connsiteY4374" fmla="*/ 4643676 h 5704395"/>
                <a:gd name="connsiteX4375" fmla="*/ 949363 w 5719680"/>
                <a:gd name="connsiteY4375" fmla="*/ 4646528 h 5704395"/>
                <a:gd name="connsiteX4376" fmla="*/ 974772 w 5719680"/>
                <a:gd name="connsiteY4376" fmla="*/ 4458613 h 5704395"/>
                <a:gd name="connsiteX4377" fmla="*/ 941105 w 5719680"/>
                <a:gd name="connsiteY4377" fmla="*/ 4453860 h 5704395"/>
                <a:gd name="connsiteX4378" fmla="*/ 941105 w 5719680"/>
                <a:gd name="connsiteY4378" fmla="*/ 4451642 h 5704395"/>
                <a:gd name="connsiteX4379" fmla="*/ 944599 w 5719680"/>
                <a:gd name="connsiteY4379" fmla="*/ 4426607 h 5704395"/>
                <a:gd name="connsiteX4380" fmla="*/ 959527 w 5719680"/>
                <a:gd name="connsiteY4380" fmla="*/ 4428826 h 5704395"/>
                <a:gd name="connsiteX4381" fmla="*/ 961432 w 5719680"/>
                <a:gd name="connsiteY4381" fmla="*/ 4415199 h 5704395"/>
                <a:gd name="connsiteX4382" fmla="*/ 980490 w 5719680"/>
                <a:gd name="connsiteY4382" fmla="*/ 4417734 h 5704395"/>
                <a:gd name="connsiteX4383" fmla="*/ 982395 w 5719680"/>
                <a:gd name="connsiteY4383" fmla="*/ 4403475 h 5704395"/>
                <a:gd name="connsiteX4384" fmla="*/ 947140 w 5719680"/>
                <a:gd name="connsiteY4384" fmla="*/ 4390799 h 5704395"/>
                <a:gd name="connsiteX4385" fmla="*/ 2396434 w 5719680"/>
                <a:gd name="connsiteY4385" fmla="*/ 4387947 h 5704395"/>
                <a:gd name="connsiteX4386" fmla="*/ 2394211 w 5719680"/>
                <a:gd name="connsiteY4386" fmla="*/ 4404425 h 5704395"/>
                <a:gd name="connsiteX4387" fmla="*/ 2390717 w 5719680"/>
                <a:gd name="connsiteY4387" fmla="*/ 4403791 h 5704395"/>
                <a:gd name="connsiteX4388" fmla="*/ 2386588 w 5719680"/>
                <a:gd name="connsiteY4388" fmla="*/ 4432628 h 5704395"/>
                <a:gd name="connsiteX4389" fmla="*/ 2416762 w 5719680"/>
                <a:gd name="connsiteY4389" fmla="*/ 4436431 h 5704395"/>
                <a:gd name="connsiteX4390" fmla="*/ 2419620 w 5719680"/>
                <a:gd name="connsiteY4390" fmla="*/ 4418368 h 5704395"/>
                <a:gd name="connsiteX4391" fmla="*/ 2442489 w 5719680"/>
                <a:gd name="connsiteY4391" fmla="*/ 4421854 h 5704395"/>
                <a:gd name="connsiteX4392" fmla="*/ 2446618 w 5719680"/>
                <a:gd name="connsiteY4392" fmla="*/ 4395552 h 5704395"/>
                <a:gd name="connsiteX4393" fmla="*/ 2396434 w 5719680"/>
                <a:gd name="connsiteY4393" fmla="*/ 4387947 h 5704395"/>
                <a:gd name="connsiteX4394" fmla="*/ 2291620 w 5719680"/>
                <a:gd name="connsiteY4394" fmla="*/ 4387947 h 5704395"/>
                <a:gd name="connsiteX4395" fmla="*/ 2350062 w 5719680"/>
                <a:gd name="connsiteY4395" fmla="*/ 4396503 h 5704395"/>
                <a:gd name="connsiteX4396" fmla="*/ 2344662 w 5719680"/>
                <a:gd name="connsiteY4396" fmla="*/ 4431044 h 5704395"/>
                <a:gd name="connsiteX4397" fmla="*/ 2321794 w 5719680"/>
                <a:gd name="connsiteY4397" fmla="*/ 4427558 h 5704395"/>
                <a:gd name="connsiteX4398" fmla="*/ 2319253 w 5719680"/>
                <a:gd name="connsiteY4398" fmla="*/ 4445621 h 5704395"/>
                <a:gd name="connsiteX4399" fmla="*/ 2317030 w 5719680"/>
                <a:gd name="connsiteY4399" fmla="*/ 4445304 h 5704395"/>
                <a:gd name="connsiteX4400" fmla="*/ 2280503 w 5719680"/>
                <a:gd name="connsiteY4400" fmla="*/ 4440550 h 5704395"/>
                <a:gd name="connsiteX4401" fmla="*/ 2285903 w 5719680"/>
                <a:gd name="connsiteY4401" fmla="*/ 4403791 h 5704395"/>
                <a:gd name="connsiteX4402" fmla="*/ 2289396 w 5719680"/>
                <a:gd name="connsiteY4402" fmla="*/ 4404108 h 5704395"/>
                <a:gd name="connsiteX4403" fmla="*/ 183584 w 5719680"/>
                <a:gd name="connsiteY4403" fmla="*/ 4384144 h 5704395"/>
                <a:gd name="connsiteX4404" fmla="*/ 150552 w 5719680"/>
                <a:gd name="connsiteY4404" fmla="*/ 4396820 h 5704395"/>
                <a:gd name="connsiteX4405" fmla="*/ 140388 w 5719680"/>
                <a:gd name="connsiteY4405" fmla="*/ 4397771 h 5704395"/>
                <a:gd name="connsiteX4406" fmla="*/ 119425 w 5719680"/>
                <a:gd name="connsiteY4406" fmla="*/ 4395235 h 5704395"/>
                <a:gd name="connsiteX4407" fmla="*/ 99733 w 5719680"/>
                <a:gd name="connsiteY4407" fmla="*/ 4393334 h 5704395"/>
                <a:gd name="connsiteX4408" fmla="*/ 92745 w 5719680"/>
                <a:gd name="connsiteY4408" fmla="*/ 4394285 h 5704395"/>
                <a:gd name="connsiteX4409" fmla="*/ 91792 w 5719680"/>
                <a:gd name="connsiteY4409" fmla="*/ 4395552 h 5704395"/>
                <a:gd name="connsiteX4410" fmla="*/ 96239 w 5719680"/>
                <a:gd name="connsiteY4410" fmla="*/ 4398721 h 5704395"/>
                <a:gd name="connsiteX4411" fmla="*/ 123236 w 5719680"/>
                <a:gd name="connsiteY4411" fmla="*/ 4403158 h 5704395"/>
                <a:gd name="connsiteX4412" fmla="*/ 150869 w 5719680"/>
                <a:gd name="connsiteY4412" fmla="*/ 4415199 h 5704395"/>
                <a:gd name="connsiteX4413" fmla="*/ 152775 w 5719680"/>
                <a:gd name="connsiteY4413" fmla="*/ 4415516 h 5704395"/>
                <a:gd name="connsiteX4414" fmla="*/ 177867 w 5719680"/>
                <a:gd name="connsiteY4414" fmla="*/ 4407277 h 5704395"/>
                <a:gd name="connsiteX4415" fmla="*/ 185490 w 5719680"/>
                <a:gd name="connsiteY4415" fmla="*/ 4394602 h 5704395"/>
                <a:gd name="connsiteX4416" fmla="*/ 185490 w 5719680"/>
                <a:gd name="connsiteY4416" fmla="*/ 4393334 h 5704395"/>
                <a:gd name="connsiteX4417" fmla="*/ 183902 w 5719680"/>
                <a:gd name="connsiteY4417" fmla="*/ 4386363 h 5704395"/>
                <a:gd name="connsiteX4418" fmla="*/ 183584 w 5719680"/>
                <a:gd name="connsiteY4418" fmla="*/ 4384144 h 5704395"/>
                <a:gd name="connsiteX4419" fmla="*/ 2392940 w 5719680"/>
                <a:gd name="connsiteY4419" fmla="*/ 4383194 h 5704395"/>
                <a:gd name="connsiteX4420" fmla="*/ 2451382 w 5719680"/>
                <a:gd name="connsiteY4420" fmla="*/ 4392067 h 5704395"/>
                <a:gd name="connsiteX4421" fmla="*/ 2445983 w 5719680"/>
                <a:gd name="connsiteY4421" fmla="*/ 4426607 h 5704395"/>
                <a:gd name="connsiteX4422" fmla="*/ 2423114 w 5719680"/>
                <a:gd name="connsiteY4422" fmla="*/ 4423122 h 5704395"/>
                <a:gd name="connsiteX4423" fmla="*/ 2420573 w 5719680"/>
                <a:gd name="connsiteY4423" fmla="*/ 4440867 h 5704395"/>
                <a:gd name="connsiteX4424" fmla="*/ 2418350 w 5719680"/>
                <a:gd name="connsiteY4424" fmla="*/ 4440867 h 5704395"/>
                <a:gd name="connsiteX4425" fmla="*/ 2381824 w 5719680"/>
                <a:gd name="connsiteY4425" fmla="*/ 4436114 h 5704395"/>
                <a:gd name="connsiteX4426" fmla="*/ 2387223 w 5719680"/>
                <a:gd name="connsiteY4426" fmla="*/ 4399355 h 5704395"/>
                <a:gd name="connsiteX4427" fmla="*/ 2390717 w 5719680"/>
                <a:gd name="connsiteY4427" fmla="*/ 4399672 h 5704395"/>
                <a:gd name="connsiteX4428" fmla="*/ 611099 w 5719680"/>
                <a:gd name="connsiteY4428" fmla="*/ 4380659 h 5704395"/>
                <a:gd name="connsiteX4429" fmla="*/ 579337 w 5719680"/>
                <a:gd name="connsiteY4429" fmla="*/ 4411080 h 5704395"/>
                <a:gd name="connsiteX4430" fmla="*/ 648578 w 5719680"/>
                <a:gd name="connsiteY4430" fmla="*/ 4453543 h 5704395"/>
                <a:gd name="connsiteX4431" fmla="*/ 680022 w 5719680"/>
                <a:gd name="connsiteY4431" fmla="*/ 4423122 h 5704395"/>
                <a:gd name="connsiteX4432" fmla="*/ 611099 w 5719680"/>
                <a:gd name="connsiteY4432" fmla="*/ 4380659 h 5704395"/>
                <a:gd name="connsiteX4433" fmla="*/ 184537 w 5719680"/>
                <a:gd name="connsiteY4433" fmla="*/ 4380659 h 5704395"/>
                <a:gd name="connsiteX4434" fmla="*/ 185807 w 5719680"/>
                <a:gd name="connsiteY4434" fmla="*/ 4382243 h 5704395"/>
                <a:gd name="connsiteX4435" fmla="*/ 187713 w 5719680"/>
                <a:gd name="connsiteY4435" fmla="*/ 4392067 h 5704395"/>
                <a:gd name="connsiteX4436" fmla="*/ 188348 w 5719680"/>
                <a:gd name="connsiteY4436" fmla="*/ 4394602 h 5704395"/>
                <a:gd name="connsiteX4437" fmla="*/ 179773 w 5719680"/>
                <a:gd name="connsiteY4437" fmla="*/ 4409179 h 5704395"/>
                <a:gd name="connsiteX4438" fmla="*/ 152775 w 5719680"/>
                <a:gd name="connsiteY4438" fmla="*/ 4418051 h 5704395"/>
                <a:gd name="connsiteX4439" fmla="*/ 150869 w 5719680"/>
                <a:gd name="connsiteY4439" fmla="*/ 4418051 h 5704395"/>
                <a:gd name="connsiteX4440" fmla="*/ 121966 w 5719680"/>
                <a:gd name="connsiteY4440" fmla="*/ 4405693 h 5704395"/>
                <a:gd name="connsiteX4441" fmla="*/ 95604 w 5719680"/>
                <a:gd name="connsiteY4441" fmla="*/ 4401256 h 5704395"/>
                <a:gd name="connsiteX4442" fmla="*/ 89251 w 5719680"/>
                <a:gd name="connsiteY4442" fmla="*/ 4395552 h 5704395"/>
                <a:gd name="connsiteX4443" fmla="*/ 91157 w 5719680"/>
                <a:gd name="connsiteY4443" fmla="*/ 4392383 h 5704395"/>
                <a:gd name="connsiteX4444" fmla="*/ 99733 w 5719680"/>
                <a:gd name="connsiteY4444" fmla="*/ 4390799 h 5704395"/>
                <a:gd name="connsiteX4445" fmla="*/ 120060 w 5719680"/>
                <a:gd name="connsiteY4445" fmla="*/ 4392700 h 5704395"/>
                <a:gd name="connsiteX4446" fmla="*/ 140388 w 5719680"/>
                <a:gd name="connsiteY4446" fmla="*/ 4394919 h 5704395"/>
                <a:gd name="connsiteX4447" fmla="*/ 150234 w 5719680"/>
                <a:gd name="connsiteY4447" fmla="*/ 4394285 h 5704395"/>
                <a:gd name="connsiteX4448" fmla="*/ 183584 w 5719680"/>
                <a:gd name="connsiteY4448" fmla="*/ 4381292 h 5704395"/>
                <a:gd name="connsiteX4449" fmla="*/ 184537 w 5719680"/>
                <a:gd name="connsiteY4449" fmla="*/ 4380659 h 5704395"/>
                <a:gd name="connsiteX4450" fmla="*/ 2249376 w 5719680"/>
                <a:gd name="connsiteY4450" fmla="*/ 4380025 h 5704395"/>
                <a:gd name="connsiteX4451" fmla="*/ 2176960 w 5719680"/>
                <a:gd name="connsiteY4451" fmla="*/ 4389215 h 5704395"/>
                <a:gd name="connsiteX4452" fmla="*/ 2172830 w 5719680"/>
                <a:gd name="connsiteY4452" fmla="*/ 4389848 h 5704395"/>
                <a:gd name="connsiteX4453" fmla="*/ 2161396 w 5719680"/>
                <a:gd name="connsiteY4453" fmla="*/ 4497907 h 5704395"/>
                <a:gd name="connsiteX4454" fmla="*/ 2156950 w 5719680"/>
                <a:gd name="connsiteY4454" fmla="*/ 4497590 h 5704395"/>
                <a:gd name="connsiteX4455" fmla="*/ 2168384 w 5719680"/>
                <a:gd name="connsiteY4455" fmla="*/ 4390799 h 5704395"/>
                <a:gd name="connsiteX4456" fmla="*/ 2074686 w 5719680"/>
                <a:gd name="connsiteY4456" fmla="*/ 4405376 h 5704395"/>
                <a:gd name="connsiteX4457" fmla="*/ 2074686 w 5719680"/>
                <a:gd name="connsiteY4457" fmla="*/ 4502027 h 5704395"/>
                <a:gd name="connsiteX4458" fmla="*/ 2083262 w 5719680"/>
                <a:gd name="connsiteY4458" fmla="*/ 4501710 h 5704395"/>
                <a:gd name="connsiteX4459" fmla="*/ 2275739 w 5719680"/>
                <a:gd name="connsiteY4459" fmla="*/ 4494738 h 5704395"/>
                <a:gd name="connsiteX4460" fmla="*/ 2249376 w 5719680"/>
                <a:gd name="connsiteY4460" fmla="*/ 4380025 h 5704395"/>
                <a:gd name="connsiteX4461" fmla="*/ 428150 w 5719680"/>
                <a:gd name="connsiteY4461" fmla="*/ 4380025 h 5704395"/>
                <a:gd name="connsiteX4462" fmla="*/ 415128 w 5719680"/>
                <a:gd name="connsiteY4462" fmla="*/ 4397454 h 5704395"/>
                <a:gd name="connsiteX4463" fmla="*/ 498979 w 5719680"/>
                <a:gd name="connsiteY4463" fmla="*/ 4476676 h 5704395"/>
                <a:gd name="connsiteX4464" fmla="*/ 499297 w 5719680"/>
                <a:gd name="connsiteY4464" fmla="*/ 4476359 h 5704395"/>
                <a:gd name="connsiteX4465" fmla="*/ 704796 w 5719680"/>
                <a:gd name="connsiteY4465" fmla="*/ 4655084 h 5704395"/>
                <a:gd name="connsiteX4466" fmla="*/ 825809 w 5719680"/>
                <a:gd name="connsiteY4466" fmla="*/ 4779304 h 5704395"/>
                <a:gd name="connsiteX4467" fmla="*/ 842008 w 5719680"/>
                <a:gd name="connsiteY4467" fmla="*/ 4858526 h 5704395"/>
                <a:gd name="connsiteX4468" fmla="*/ 907437 w 5719680"/>
                <a:gd name="connsiteY4468" fmla="*/ 4798634 h 5704395"/>
                <a:gd name="connsiteX4469" fmla="*/ 983983 w 5719680"/>
                <a:gd name="connsiteY4469" fmla="*/ 4736524 h 5704395"/>
                <a:gd name="connsiteX4470" fmla="*/ 1064023 w 5719680"/>
                <a:gd name="connsiteY4470" fmla="*/ 4694061 h 5704395"/>
                <a:gd name="connsiteX4471" fmla="*/ 1068470 w 5719680"/>
                <a:gd name="connsiteY4471" fmla="*/ 4660154 h 5704395"/>
                <a:gd name="connsiteX4472" fmla="*/ 905849 w 5719680"/>
                <a:gd name="connsiteY4472" fmla="*/ 4647478 h 5704395"/>
                <a:gd name="connsiteX4473" fmla="*/ 905532 w 5719680"/>
                <a:gd name="connsiteY4473" fmla="*/ 4647478 h 5704395"/>
                <a:gd name="connsiteX4474" fmla="*/ 856618 w 5719680"/>
                <a:gd name="connsiteY4474" fmla="*/ 4630366 h 5704395"/>
                <a:gd name="connsiteX4475" fmla="*/ 764826 w 5719680"/>
                <a:gd name="connsiteY4475" fmla="*/ 4567622 h 5704395"/>
                <a:gd name="connsiteX4476" fmla="*/ 508508 w 5719680"/>
                <a:gd name="connsiteY4476" fmla="*/ 4412664 h 5704395"/>
                <a:gd name="connsiteX4477" fmla="*/ 508190 w 5719680"/>
                <a:gd name="connsiteY4477" fmla="*/ 4413615 h 5704395"/>
                <a:gd name="connsiteX4478" fmla="*/ 484369 w 5719680"/>
                <a:gd name="connsiteY4478" fmla="*/ 4399038 h 5704395"/>
                <a:gd name="connsiteX4479" fmla="*/ 428150 w 5719680"/>
                <a:gd name="connsiteY4479" fmla="*/ 4380025 h 5704395"/>
                <a:gd name="connsiteX4480" fmla="*/ 2365308 w 5719680"/>
                <a:gd name="connsiteY4480" fmla="*/ 4373687 h 5704395"/>
                <a:gd name="connsiteX4481" fmla="*/ 2332275 w 5719680"/>
                <a:gd name="connsiteY4481" fmla="*/ 4374955 h 5704395"/>
                <a:gd name="connsiteX4482" fmla="*/ 2273198 w 5719680"/>
                <a:gd name="connsiteY4482" fmla="*/ 4378440 h 5704395"/>
                <a:gd name="connsiteX4483" fmla="*/ 2253823 w 5719680"/>
                <a:gd name="connsiteY4483" fmla="*/ 4379708 h 5704395"/>
                <a:gd name="connsiteX4484" fmla="*/ 2280186 w 5719680"/>
                <a:gd name="connsiteY4484" fmla="*/ 4494738 h 5704395"/>
                <a:gd name="connsiteX4485" fmla="*/ 2348156 w 5719680"/>
                <a:gd name="connsiteY4485" fmla="*/ 4492203 h 5704395"/>
                <a:gd name="connsiteX4486" fmla="*/ 2367848 w 5719680"/>
                <a:gd name="connsiteY4486" fmla="*/ 4462099 h 5704395"/>
                <a:gd name="connsiteX4487" fmla="*/ 2365308 w 5719680"/>
                <a:gd name="connsiteY4487" fmla="*/ 4377490 h 5704395"/>
                <a:gd name="connsiteX4488" fmla="*/ 2365308 w 5719680"/>
                <a:gd name="connsiteY4488" fmla="*/ 4373687 h 5704395"/>
                <a:gd name="connsiteX4489" fmla="*/ 2465040 w 5719680"/>
                <a:gd name="connsiteY4489" fmla="*/ 4369884 h 5704395"/>
                <a:gd name="connsiteX4490" fmla="*/ 2369754 w 5719680"/>
                <a:gd name="connsiteY4490" fmla="*/ 4373687 h 5704395"/>
                <a:gd name="connsiteX4491" fmla="*/ 2369754 w 5719680"/>
                <a:gd name="connsiteY4491" fmla="*/ 4377490 h 5704395"/>
                <a:gd name="connsiteX4492" fmla="*/ 2372295 w 5719680"/>
                <a:gd name="connsiteY4492" fmla="*/ 4460831 h 5704395"/>
                <a:gd name="connsiteX4493" fmla="*/ 2414856 w 5719680"/>
                <a:gd name="connsiteY4493" fmla="*/ 4468753 h 5704395"/>
                <a:gd name="connsiteX4494" fmla="*/ 2455511 w 5719680"/>
                <a:gd name="connsiteY4494" fmla="*/ 4476359 h 5704395"/>
                <a:gd name="connsiteX4495" fmla="*/ 2465040 w 5719680"/>
                <a:gd name="connsiteY4495" fmla="*/ 4369884 h 5704395"/>
                <a:gd name="connsiteX4496" fmla="*/ 1725941 w 5719680"/>
                <a:gd name="connsiteY4496" fmla="*/ 4367349 h 5704395"/>
                <a:gd name="connsiteX4497" fmla="*/ 1709107 w 5719680"/>
                <a:gd name="connsiteY4497" fmla="*/ 4406643 h 5704395"/>
                <a:gd name="connsiteX4498" fmla="*/ 1624621 w 5719680"/>
                <a:gd name="connsiteY4498" fmla="*/ 4443719 h 5704395"/>
                <a:gd name="connsiteX4499" fmla="*/ 1627797 w 5719680"/>
                <a:gd name="connsiteY4499" fmla="*/ 4452909 h 5704395"/>
                <a:gd name="connsiteX4500" fmla="*/ 1750398 w 5719680"/>
                <a:gd name="connsiteY4500" fmla="*/ 4417418 h 5704395"/>
                <a:gd name="connsiteX4501" fmla="*/ 1738646 w 5719680"/>
                <a:gd name="connsiteY4501" fmla="*/ 4368300 h 5704395"/>
                <a:gd name="connsiteX4502" fmla="*/ 1725941 w 5719680"/>
                <a:gd name="connsiteY4502" fmla="*/ 4367349 h 5704395"/>
                <a:gd name="connsiteX4503" fmla="*/ 1723082 w 5719680"/>
                <a:gd name="connsiteY4503" fmla="*/ 4362596 h 5704395"/>
                <a:gd name="connsiteX4504" fmla="*/ 1742457 w 5719680"/>
                <a:gd name="connsiteY4504" fmla="*/ 4363864 h 5704395"/>
                <a:gd name="connsiteX4505" fmla="*/ 1742775 w 5719680"/>
                <a:gd name="connsiteY4505" fmla="*/ 4365448 h 5704395"/>
                <a:gd name="connsiteX4506" fmla="*/ 1756115 w 5719680"/>
                <a:gd name="connsiteY4506" fmla="*/ 4420586 h 5704395"/>
                <a:gd name="connsiteX4507" fmla="*/ 1624938 w 5719680"/>
                <a:gd name="connsiteY4507" fmla="*/ 4458613 h 5704395"/>
                <a:gd name="connsiteX4508" fmla="*/ 1618586 w 5719680"/>
                <a:gd name="connsiteY4508" fmla="*/ 4440867 h 5704395"/>
                <a:gd name="connsiteX4509" fmla="*/ 1705613 w 5719680"/>
                <a:gd name="connsiteY4509" fmla="*/ 4403158 h 5704395"/>
                <a:gd name="connsiteX4510" fmla="*/ 1723082 w 5719680"/>
                <a:gd name="connsiteY4510" fmla="*/ 4362596 h 5704395"/>
                <a:gd name="connsiteX4511" fmla="*/ 858524 w 5719680"/>
                <a:gd name="connsiteY4511" fmla="*/ 4358793 h 5704395"/>
                <a:gd name="connsiteX4512" fmla="*/ 776896 w 5719680"/>
                <a:gd name="connsiteY4512" fmla="*/ 4436431 h 5704395"/>
                <a:gd name="connsiteX4513" fmla="*/ 750534 w 5719680"/>
                <a:gd name="connsiteY4513" fmla="*/ 4461782 h 5704395"/>
                <a:gd name="connsiteX4514" fmla="*/ 823268 w 5719680"/>
                <a:gd name="connsiteY4514" fmla="*/ 4506463 h 5704395"/>
                <a:gd name="connsiteX4515" fmla="*/ 942375 w 5719680"/>
                <a:gd name="connsiteY4515" fmla="*/ 4389215 h 5704395"/>
                <a:gd name="connsiteX4516" fmla="*/ 858524 w 5719680"/>
                <a:gd name="connsiteY4516" fmla="*/ 4358793 h 5704395"/>
                <a:gd name="connsiteX4517" fmla="*/ 568856 w 5719680"/>
                <a:gd name="connsiteY4517" fmla="*/ 4354674 h 5704395"/>
                <a:gd name="connsiteX4518" fmla="*/ 547257 w 5719680"/>
                <a:gd name="connsiteY4518" fmla="*/ 4391433 h 5704395"/>
                <a:gd name="connsiteX4519" fmla="*/ 575208 w 5719680"/>
                <a:gd name="connsiteY4519" fmla="*/ 4408862 h 5704395"/>
                <a:gd name="connsiteX4520" fmla="*/ 606970 w 5719680"/>
                <a:gd name="connsiteY4520" fmla="*/ 4378124 h 5704395"/>
                <a:gd name="connsiteX4521" fmla="*/ 568856 w 5719680"/>
                <a:gd name="connsiteY4521" fmla="*/ 4354674 h 5704395"/>
                <a:gd name="connsiteX4522" fmla="*/ 2782024 w 5719680"/>
                <a:gd name="connsiteY4522" fmla="*/ 4354357 h 5704395"/>
                <a:gd name="connsiteX4523" fmla="*/ 2754073 w 5719680"/>
                <a:gd name="connsiteY4523" fmla="*/ 4358160 h 5704395"/>
                <a:gd name="connsiteX4524" fmla="*/ 2486638 w 5719680"/>
                <a:gd name="connsiteY4524" fmla="*/ 4368934 h 5704395"/>
                <a:gd name="connsiteX4525" fmla="*/ 2475839 w 5719680"/>
                <a:gd name="connsiteY4525" fmla="*/ 4487450 h 5704395"/>
                <a:gd name="connsiteX4526" fmla="*/ 2472663 w 5719680"/>
                <a:gd name="connsiteY4526" fmla="*/ 4547025 h 5704395"/>
                <a:gd name="connsiteX4527" fmla="*/ 2471074 w 5719680"/>
                <a:gd name="connsiteY4527" fmla="*/ 4566038 h 5704395"/>
                <a:gd name="connsiteX4528" fmla="*/ 2470757 w 5719680"/>
                <a:gd name="connsiteY4528" fmla="*/ 4567622 h 5704395"/>
                <a:gd name="connsiteX4529" fmla="*/ 2482826 w 5719680"/>
                <a:gd name="connsiteY4529" fmla="*/ 4576495 h 5704395"/>
                <a:gd name="connsiteX4530" fmla="*/ 2664187 w 5719680"/>
                <a:gd name="connsiteY4530" fmla="*/ 4703250 h 5704395"/>
                <a:gd name="connsiteX4531" fmla="*/ 2794093 w 5719680"/>
                <a:gd name="connsiteY4531" fmla="*/ 4793247 h 5704395"/>
                <a:gd name="connsiteX4532" fmla="*/ 2793140 w 5719680"/>
                <a:gd name="connsiteY4532" fmla="*/ 4794514 h 5704395"/>
                <a:gd name="connsiteX4533" fmla="*/ 2822678 w 5719680"/>
                <a:gd name="connsiteY4533" fmla="*/ 4790078 h 5704395"/>
                <a:gd name="connsiteX4534" fmla="*/ 2823632 w 5719680"/>
                <a:gd name="connsiteY4534" fmla="*/ 4790078 h 5704395"/>
                <a:gd name="connsiteX4535" fmla="*/ 3201916 w 5719680"/>
                <a:gd name="connsiteY4535" fmla="*/ 4815429 h 5704395"/>
                <a:gd name="connsiteX4536" fmla="*/ 3202233 w 5719680"/>
                <a:gd name="connsiteY4536" fmla="*/ 4761558 h 5704395"/>
                <a:gd name="connsiteX4537" fmla="*/ 3201280 w 5719680"/>
                <a:gd name="connsiteY4537" fmla="*/ 4554313 h 5704395"/>
                <a:gd name="connsiteX4538" fmla="*/ 3200010 w 5719680"/>
                <a:gd name="connsiteY4538" fmla="*/ 4429776 h 5704395"/>
                <a:gd name="connsiteX4539" fmla="*/ 3199692 w 5719680"/>
                <a:gd name="connsiteY4539" fmla="*/ 4427558 h 5704395"/>
                <a:gd name="connsiteX4540" fmla="*/ 3180953 w 5719680"/>
                <a:gd name="connsiteY4540" fmla="*/ 4388581 h 5704395"/>
                <a:gd name="connsiteX4541" fmla="*/ 3102501 w 5719680"/>
                <a:gd name="connsiteY4541" fmla="*/ 4359427 h 5704395"/>
                <a:gd name="connsiteX4542" fmla="*/ 3098054 w 5719680"/>
                <a:gd name="connsiteY4542" fmla="*/ 4359427 h 5704395"/>
                <a:gd name="connsiteX4543" fmla="*/ 3046918 w 5719680"/>
                <a:gd name="connsiteY4543" fmla="*/ 4360061 h 5704395"/>
                <a:gd name="connsiteX4544" fmla="*/ 2782024 w 5719680"/>
                <a:gd name="connsiteY4544" fmla="*/ 4354357 h 5704395"/>
                <a:gd name="connsiteX4545" fmla="*/ 1862199 w 5719680"/>
                <a:gd name="connsiteY4545" fmla="*/ 4341681 h 5704395"/>
                <a:gd name="connsiteX4546" fmla="*/ 1861564 w 5719680"/>
                <a:gd name="connsiteY4546" fmla="*/ 4363864 h 5704395"/>
                <a:gd name="connsiteX4547" fmla="*/ 1865376 w 5719680"/>
                <a:gd name="connsiteY4547" fmla="*/ 4364180 h 5704395"/>
                <a:gd name="connsiteX4548" fmla="*/ 1867281 w 5719680"/>
                <a:gd name="connsiteY4548" fmla="*/ 4364180 h 5704395"/>
                <a:gd name="connsiteX4549" fmla="*/ 1866964 w 5719680"/>
                <a:gd name="connsiteY4549" fmla="*/ 4380025 h 5704395"/>
                <a:gd name="connsiteX4550" fmla="*/ 1921594 w 5719680"/>
                <a:gd name="connsiteY4550" fmla="*/ 4381926 h 5704395"/>
                <a:gd name="connsiteX4551" fmla="*/ 1922229 w 5719680"/>
                <a:gd name="connsiteY4551" fmla="*/ 4366082 h 5704395"/>
                <a:gd name="connsiteX4552" fmla="*/ 1898090 w 5719680"/>
                <a:gd name="connsiteY4552" fmla="*/ 4365765 h 5704395"/>
                <a:gd name="connsiteX4553" fmla="*/ 1898726 w 5719680"/>
                <a:gd name="connsiteY4553" fmla="*/ 4342632 h 5704395"/>
                <a:gd name="connsiteX4554" fmla="*/ 1862199 w 5719680"/>
                <a:gd name="connsiteY4554" fmla="*/ 4341681 h 5704395"/>
                <a:gd name="connsiteX4555" fmla="*/ 1858070 w 5719680"/>
                <a:gd name="connsiteY4555" fmla="*/ 4337562 h 5704395"/>
                <a:gd name="connsiteX4556" fmla="*/ 1902855 w 5719680"/>
                <a:gd name="connsiteY4556" fmla="*/ 4338513 h 5704395"/>
                <a:gd name="connsiteX4557" fmla="*/ 1902219 w 5719680"/>
                <a:gd name="connsiteY4557" fmla="*/ 4361645 h 5704395"/>
                <a:gd name="connsiteX4558" fmla="*/ 1926358 w 5719680"/>
                <a:gd name="connsiteY4558" fmla="*/ 4362279 h 5704395"/>
                <a:gd name="connsiteX4559" fmla="*/ 1925723 w 5719680"/>
                <a:gd name="connsiteY4559" fmla="*/ 4386363 h 5704395"/>
                <a:gd name="connsiteX4560" fmla="*/ 1923817 w 5719680"/>
                <a:gd name="connsiteY4560" fmla="*/ 4386046 h 5704395"/>
                <a:gd name="connsiteX4561" fmla="*/ 1862835 w 5719680"/>
                <a:gd name="connsiteY4561" fmla="*/ 4383827 h 5704395"/>
                <a:gd name="connsiteX4562" fmla="*/ 1863152 w 5719680"/>
                <a:gd name="connsiteY4562" fmla="*/ 4368300 h 5704395"/>
                <a:gd name="connsiteX4563" fmla="*/ 1859341 w 5719680"/>
                <a:gd name="connsiteY4563" fmla="*/ 4367983 h 5704395"/>
                <a:gd name="connsiteX4564" fmla="*/ 1857435 w 5719680"/>
                <a:gd name="connsiteY4564" fmla="*/ 4367983 h 5704395"/>
                <a:gd name="connsiteX4565" fmla="*/ 1858070 w 5719680"/>
                <a:gd name="connsiteY4565" fmla="*/ 4337562 h 5704395"/>
                <a:gd name="connsiteX4566" fmla="*/ 1569990 w 5719680"/>
                <a:gd name="connsiteY4566" fmla="*/ 4331858 h 5704395"/>
                <a:gd name="connsiteX4567" fmla="*/ 1566496 w 5719680"/>
                <a:gd name="connsiteY4567" fmla="*/ 4363547 h 5704395"/>
                <a:gd name="connsiteX4568" fmla="*/ 1562685 w 5719680"/>
                <a:gd name="connsiteY4568" fmla="*/ 4363230 h 5704395"/>
                <a:gd name="connsiteX4569" fmla="*/ 1559191 w 5719680"/>
                <a:gd name="connsiteY4569" fmla="*/ 4393017 h 5704395"/>
                <a:gd name="connsiteX4570" fmla="*/ 1569355 w 5719680"/>
                <a:gd name="connsiteY4570" fmla="*/ 4393334 h 5704395"/>
                <a:gd name="connsiteX4571" fmla="*/ 1569672 w 5719680"/>
                <a:gd name="connsiteY4571" fmla="*/ 4390799 h 5704395"/>
                <a:gd name="connsiteX4572" fmla="*/ 1576342 w 5719680"/>
                <a:gd name="connsiteY4572" fmla="*/ 4332492 h 5704395"/>
                <a:gd name="connsiteX4573" fmla="*/ 1569990 w 5719680"/>
                <a:gd name="connsiteY4573" fmla="*/ 4331858 h 5704395"/>
                <a:gd name="connsiteX4574" fmla="*/ 781025 w 5719680"/>
                <a:gd name="connsiteY4574" fmla="*/ 4330590 h 5704395"/>
                <a:gd name="connsiteX4575" fmla="*/ 687010 w 5719680"/>
                <a:gd name="connsiteY4575" fmla="*/ 4422488 h 5704395"/>
                <a:gd name="connsiteX4576" fmla="*/ 746722 w 5719680"/>
                <a:gd name="connsiteY4576" fmla="*/ 4459247 h 5704395"/>
                <a:gd name="connsiteX4577" fmla="*/ 854077 w 5719680"/>
                <a:gd name="connsiteY4577" fmla="*/ 4357209 h 5704395"/>
                <a:gd name="connsiteX4578" fmla="*/ 1529017 w 5719680"/>
                <a:gd name="connsiteY4578" fmla="*/ 4329006 h 5704395"/>
                <a:gd name="connsiteX4579" fmla="*/ 1528064 w 5719680"/>
                <a:gd name="connsiteY4579" fmla="*/ 4336294 h 5704395"/>
                <a:gd name="connsiteX4580" fmla="*/ 1536005 w 5719680"/>
                <a:gd name="connsiteY4580" fmla="*/ 4336928 h 5704395"/>
                <a:gd name="connsiteX4581" fmla="*/ 1540769 w 5719680"/>
                <a:gd name="connsiteY4581" fmla="*/ 4336928 h 5704395"/>
                <a:gd name="connsiteX4582" fmla="*/ 1540452 w 5719680"/>
                <a:gd name="connsiteY4582" fmla="*/ 4341681 h 5704395"/>
                <a:gd name="connsiteX4583" fmla="*/ 1538546 w 5719680"/>
                <a:gd name="connsiteY4583" fmla="*/ 4360378 h 5704395"/>
                <a:gd name="connsiteX4584" fmla="*/ 1538228 w 5719680"/>
                <a:gd name="connsiteY4584" fmla="*/ 4364180 h 5704395"/>
                <a:gd name="connsiteX4585" fmla="*/ 1534099 w 5719680"/>
                <a:gd name="connsiteY4585" fmla="*/ 4364180 h 5704395"/>
                <a:gd name="connsiteX4586" fmla="*/ 1533464 w 5719680"/>
                <a:gd name="connsiteY4586" fmla="*/ 4364180 h 5704395"/>
                <a:gd name="connsiteX4587" fmla="*/ 1531558 w 5719680"/>
                <a:gd name="connsiteY4587" fmla="*/ 4375905 h 5704395"/>
                <a:gd name="connsiteX4588" fmla="*/ 1530923 w 5719680"/>
                <a:gd name="connsiteY4588" fmla="*/ 4379708 h 5704395"/>
                <a:gd name="connsiteX4589" fmla="*/ 1526794 w 5719680"/>
                <a:gd name="connsiteY4589" fmla="*/ 4379391 h 5704395"/>
                <a:gd name="connsiteX4590" fmla="*/ 1519489 w 5719680"/>
                <a:gd name="connsiteY4590" fmla="*/ 4379074 h 5704395"/>
                <a:gd name="connsiteX4591" fmla="*/ 1518218 w 5719680"/>
                <a:gd name="connsiteY4591" fmla="*/ 4390799 h 5704395"/>
                <a:gd name="connsiteX4592" fmla="*/ 1554744 w 5719680"/>
                <a:gd name="connsiteY4592" fmla="*/ 4392700 h 5704395"/>
                <a:gd name="connsiteX4593" fmla="*/ 1558238 w 5719680"/>
                <a:gd name="connsiteY4593" fmla="*/ 4362913 h 5704395"/>
                <a:gd name="connsiteX4594" fmla="*/ 1558556 w 5719680"/>
                <a:gd name="connsiteY4594" fmla="*/ 4358793 h 5704395"/>
                <a:gd name="connsiteX4595" fmla="*/ 1562367 w 5719680"/>
                <a:gd name="connsiteY4595" fmla="*/ 4359110 h 5704395"/>
                <a:gd name="connsiteX4596" fmla="*/ 1565543 w 5719680"/>
                <a:gd name="connsiteY4596" fmla="*/ 4331541 h 5704395"/>
                <a:gd name="connsiteX4597" fmla="*/ 1529017 w 5719680"/>
                <a:gd name="connsiteY4597" fmla="*/ 4329006 h 5704395"/>
                <a:gd name="connsiteX4598" fmla="*/ 2394211 w 5719680"/>
                <a:gd name="connsiteY4598" fmla="*/ 4328372 h 5704395"/>
                <a:gd name="connsiteX4599" fmla="*/ 2354508 w 5719680"/>
                <a:gd name="connsiteY4599" fmla="*/ 4329323 h 5704395"/>
                <a:gd name="connsiteX4600" fmla="*/ 2354826 w 5719680"/>
                <a:gd name="connsiteY4600" fmla="*/ 4343266 h 5704395"/>
                <a:gd name="connsiteX4601" fmla="*/ 2394528 w 5719680"/>
                <a:gd name="connsiteY4601" fmla="*/ 4342632 h 5704395"/>
                <a:gd name="connsiteX4602" fmla="*/ 2394211 w 5719680"/>
                <a:gd name="connsiteY4602" fmla="*/ 4328372 h 5704395"/>
                <a:gd name="connsiteX4603" fmla="*/ 2451064 w 5719680"/>
                <a:gd name="connsiteY4603" fmla="*/ 4327738 h 5704395"/>
                <a:gd name="connsiteX4604" fmla="*/ 2411362 w 5719680"/>
                <a:gd name="connsiteY4604" fmla="*/ 4328689 h 5704395"/>
                <a:gd name="connsiteX4605" fmla="*/ 2411680 w 5719680"/>
                <a:gd name="connsiteY4605" fmla="*/ 4342632 h 5704395"/>
                <a:gd name="connsiteX4606" fmla="*/ 2451382 w 5719680"/>
                <a:gd name="connsiteY4606" fmla="*/ 4341998 h 5704395"/>
                <a:gd name="connsiteX4607" fmla="*/ 2451064 w 5719680"/>
                <a:gd name="connsiteY4607" fmla="*/ 4327738 h 5704395"/>
                <a:gd name="connsiteX4608" fmla="*/ 1508372 w 5719680"/>
                <a:gd name="connsiteY4608" fmla="*/ 4327738 h 5704395"/>
                <a:gd name="connsiteX4609" fmla="*/ 1504243 w 5719680"/>
                <a:gd name="connsiteY4609" fmla="*/ 4390165 h 5704395"/>
                <a:gd name="connsiteX4610" fmla="*/ 1513772 w 5719680"/>
                <a:gd name="connsiteY4610" fmla="*/ 4390799 h 5704395"/>
                <a:gd name="connsiteX4611" fmla="*/ 1515677 w 5719680"/>
                <a:gd name="connsiteY4611" fmla="*/ 4374321 h 5704395"/>
                <a:gd name="connsiteX4612" fmla="*/ 1527112 w 5719680"/>
                <a:gd name="connsiteY4612" fmla="*/ 4374955 h 5704395"/>
                <a:gd name="connsiteX4613" fmla="*/ 1529970 w 5719680"/>
                <a:gd name="connsiteY4613" fmla="*/ 4359744 h 5704395"/>
                <a:gd name="connsiteX4614" fmla="*/ 1534099 w 5719680"/>
                <a:gd name="connsiteY4614" fmla="*/ 4359744 h 5704395"/>
                <a:gd name="connsiteX4615" fmla="*/ 1536005 w 5719680"/>
                <a:gd name="connsiteY4615" fmla="*/ 4341365 h 5704395"/>
                <a:gd name="connsiteX4616" fmla="*/ 1522983 w 5719680"/>
                <a:gd name="connsiteY4616" fmla="*/ 4340731 h 5704395"/>
                <a:gd name="connsiteX4617" fmla="*/ 1524571 w 5719680"/>
                <a:gd name="connsiteY4617" fmla="*/ 4328689 h 5704395"/>
                <a:gd name="connsiteX4618" fmla="*/ 1508372 w 5719680"/>
                <a:gd name="connsiteY4618" fmla="*/ 4327738 h 5704395"/>
                <a:gd name="connsiteX4619" fmla="*/ 2510459 w 5719680"/>
                <a:gd name="connsiteY4619" fmla="*/ 4325520 h 5704395"/>
                <a:gd name="connsiteX4620" fmla="*/ 2470757 w 5719680"/>
                <a:gd name="connsiteY4620" fmla="*/ 4326471 h 5704395"/>
                <a:gd name="connsiteX4621" fmla="*/ 2471074 w 5719680"/>
                <a:gd name="connsiteY4621" fmla="*/ 4340414 h 5704395"/>
                <a:gd name="connsiteX4622" fmla="*/ 2510777 w 5719680"/>
                <a:gd name="connsiteY4622" fmla="*/ 4339780 h 5704395"/>
                <a:gd name="connsiteX4623" fmla="*/ 2510459 w 5719680"/>
                <a:gd name="connsiteY4623" fmla="*/ 4325520 h 5704395"/>
                <a:gd name="connsiteX4624" fmla="*/ 77499 w 5719680"/>
                <a:gd name="connsiteY4624" fmla="*/ 4324886 h 5704395"/>
                <a:gd name="connsiteX4625" fmla="*/ 50502 w 5719680"/>
                <a:gd name="connsiteY4625" fmla="*/ 4393651 h 5704395"/>
                <a:gd name="connsiteX4626" fmla="*/ 177867 w 5719680"/>
                <a:gd name="connsiteY4626" fmla="*/ 4474774 h 5704395"/>
                <a:gd name="connsiteX4627" fmla="*/ 237579 w 5719680"/>
                <a:gd name="connsiteY4627" fmla="*/ 4392383 h 5704395"/>
                <a:gd name="connsiteX4628" fmla="*/ 239167 w 5719680"/>
                <a:gd name="connsiteY4628" fmla="*/ 4393017 h 5704395"/>
                <a:gd name="connsiteX4629" fmla="*/ 237579 w 5719680"/>
                <a:gd name="connsiteY4629" fmla="*/ 4392067 h 5704395"/>
                <a:gd name="connsiteX4630" fmla="*/ 237897 w 5719680"/>
                <a:gd name="connsiteY4630" fmla="*/ 4392067 h 5704395"/>
                <a:gd name="connsiteX4631" fmla="*/ 224874 w 5719680"/>
                <a:gd name="connsiteY4631" fmla="*/ 4382877 h 5704395"/>
                <a:gd name="connsiteX4632" fmla="*/ 217569 w 5719680"/>
                <a:gd name="connsiteY4632" fmla="*/ 4378124 h 5704395"/>
                <a:gd name="connsiteX4633" fmla="*/ 203276 w 5719680"/>
                <a:gd name="connsiteY4633" fmla="*/ 4368617 h 5704395"/>
                <a:gd name="connsiteX4634" fmla="*/ 191842 w 5719680"/>
                <a:gd name="connsiteY4634" fmla="*/ 4360061 h 5704395"/>
                <a:gd name="connsiteX4635" fmla="*/ 191207 w 5719680"/>
                <a:gd name="connsiteY4635" fmla="*/ 4359427 h 5704395"/>
                <a:gd name="connsiteX4636" fmla="*/ 190889 w 5719680"/>
                <a:gd name="connsiteY4636" fmla="*/ 4359110 h 5704395"/>
                <a:gd name="connsiteX4637" fmla="*/ 177867 w 5719680"/>
                <a:gd name="connsiteY4637" fmla="*/ 4333442 h 5704395"/>
                <a:gd name="connsiteX4638" fmla="*/ 77499 w 5719680"/>
                <a:gd name="connsiteY4638" fmla="*/ 4324886 h 5704395"/>
                <a:gd name="connsiteX4639" fmla="*/ 2398340 w 5719680"/>
                <a:gd name="connsiteY4639" fmla="*/ 4324253 h 5704395"/>
                <a:gd name="connsiteX4640" fmla="*/ 2398658 w 5719680"/>
                <a:gd name="connsiteY4640" fmla="*/ 4346752 h 5704395"/>
                <a:gd name="connsiteX4641" fmla="*/ 2350697 w 5719680"/>
                <a:gd name="connsiteY4641" fmla="*/ 4347702 h 5704395"/>
                <a:gd name="connsiteX4642" fmla="*/ 2350062 w 5719680"/>
                <a:gd name="connsiteY4642" fmla="*/ 4325203 h 5704395"/>
                <a:gd name="connsiteX4643" fmla="*/ 2352285 w 5719680"/>
                <a:gd name="connsiteY4643" fmla="*/ 4325203 h 5704395"/>
                <a:gd name="connsiteX4644" fmla="*/ 2455194 w 5719680"/>
                <a:gd name="connsiteY4644" fmla="*/ 4323619 h 5704395"/>
                <a:gd name="connsiteX4645" fmla="*/ 2455829 w 5719680"/>
                <a:gd name="connsiteY4645" fmla="*/ 4346118 h 5704395"/>
                <a:gd name="connsiteX4646" fmla="*/ 2407551 w 5719680"/>
                <a:gd name="connsiteY4646" fmla="*/ 4347068 h 5704395"/>
                <a:gd name="connsiteX4647" fmla="*/ 2407233 w 5719680"/>
                <a:gd name="connsiteY4647" fmla="*/ 4324569 h 5704395"/>
                <a:gd name="connsiteX4648" fmla="*/ 2409139 w 5719680"/>
                <a:gd name="connsiteY4648" fmla="*/ 4324569 h 5704395"/>
                <a:gd name="connsiteX4649" fmla="*/ 2566360 w 5719680"/>
                <a:gd name="connsiteY4649" fmla="*/ 4322668 h 5704395"/>
                <a:gd name="connsiteX4650" fmla="*/ 2526658 w 5719680"/>
                <a:gd name="connsiteY4650" fmla="*/ 4323619 h 5704395"/>
                <a:gd name="connsiteX4651" fmla="*/ 2526976 w 5719680"/>
                <a:gd name="connsiteY4651" fmla="*/ 4337562 h 5704395"/>
                <a:gd name="connsiteX4652" fmla="*/ 2566678 w 5719680"/>
                <a:gd name="connsiteY4652" fmla="*/ 4336611 h 5704395"/>
                <a:gd name="connsiteX4653" fmla="*/ 2566360 w 5719680"/>
                <a:gd name="connsiteY4653" fmla="*/ 4322668 h 5704395"/>
                <a:gd name="connsiteX4654" fmla="*/ 2514588 w 5719680"/>
                <a:gd name="connsiteY4654" fmla="*/ 4321401 h 5704395"/>
                <a:gd name="connsiteX4655" fmla="*/ 2514906 w 5719680"/>
                <a:gd name="connsiteY4655" fmla="*/ 4343583 h 5704395"/>
                <a:gd name="connsiteX4656" fmla="*/ 2466946 w 5719680"/>
                <a:gd name="connsiteY4656" fmla="*/ 4344850 h 5704395"/>
                <a:gd name="connsiteX4657" fmla="*/ 2466310 w 5719680"/>
                <a:gd name="connsiteY4657" fmla="*/ 4322351 h 5704395"/>
                <a:gd name="connsiteX4658" fmla="*/ 2468534 w 5719680"/>
                <a:gd name="connsiteY4658" fmla="*/ 4322351 h 5704395"/>
                <a:gd name="connsiteX4659" fmla="*/ 485004 w 5719680"/>
                <a:gd name="connsiteY4659" fmla="*/ 4320450 h 5704395"/>
                <a:gd name="connsiteX4660" fmla="*/ 454513 w 5719680"/>
                <a:gd name="connsiteY4660" fmla="*/ 4367349 h 5704395"/>
                <a:gd name="connsiteX4661" fmla="*/ 484687 w 5719680"/>
                <a:gd name="connsiteY4661" fmla="*/ 4378124 h 5704395"/>
                <a:gd name="connsiteX4662" fmla="*/ 513272 w 5719680"/>
                <a:gd name="connsiteY4662" fmla="*/ 4331224 h 5704395"/>
                <a:gd name="connsiteX4663" fmla="*/ 485004 w 5719680"/>
                <a:gd name="connsiteY4663" fmla="*/ 4320450 h 5704395"/>
                <a:gd name="connsiteX4664" fmla="*/ 2620673 w 5719680"/>
                <a:gd name="connsiteY4664" fmla="*/ 4319182 h 5704395"/>
                <a:gd name="connsiteX4665" fmla="*/ 2580971 w 5719680"/>
                <a:gd name="connsiteY4665" fmla="*/ 4319816 h 5704395"/>
                <a:gd name="connsiteX4666" fmla="*/ 2581288 w 5719680"/>
                <a:gd name="connsiteY4666" fmla="*/ 4334076 h 5704395"/>
                <a:gd name="connsiteX4667" fmla="*/ 2620991 w 5719680"/>
                <a:gd name="connsiteY4667" fmla="*/ 4333125 h 5704395"/>
                <a:gd name="connsiteX4668" fmla="*/ 2620673 w 5719680"/>
                <a:gd name="connsiteY4668" fmla="*/ 4319182 h 5704395"/>
                <a:gd name="connsiteX4669" fmla="*/ 2570489 w 5719680"/>
                <a:gd name="connsiteY4669" fmla="*/ 4318549 h 5704395"/>
                <a:gd name="connsiteX4670" fmla="*/ 2570807 w 5719680"/>
                <a:gd name="connsiteY4670" fmla="*/ 4340731 h 5704395"/>
                <a:gd name="connsiteX4671" fmla="*/ 2522846 w 5719680"/>
                <a:gd name="connsiteY4671" fmla="*/ 4341681 h 5704395"/>
                <a:gd name="connsiteX4672" fmla="*/ 2522211 w 5719680"/>
                <a:gd name="connsiteY4672" fmla="*/ 4319499 h 5704395"/>
                <a:gd name="connsiteX4673" fmla="*/ 2524434 w 5719680"/>
                <a:gd name="connsiteY4673" fmla="*/ 4319499 h 5704395"/>
                <a:gd name="connsiteX4674" fmla="*/ 2570489 w 5719680"/>
                <a:gd name="connsiteY4674" fmla="*/ 4318549 h 5704395"/>
                <a:gd name="connsiteX4675" fmla="*/ 1847589 w 5719680"/>
                <a:gd name="connsiteY4675" fmla="*/ 4317281 h 5704395"/>
                <a:gd name="connsiteX4676" fmla="*/ 1837425 w 5719680"/>
                <a:gd name="connsiteY4676" fmla="*/ 4395552 h 5704395"/>
                <a:gd name="connsiteX4677" fmla="*/ 1908572 w 5719680"/>
                <a:gd name="connsiteY4677" fmla="*/ 4394919 h 5704395"/>
                <a:gd name="connsiteX4678" fmla="*/ 2019738 w 5719680"/>
                <a:gd name="connsiteY4678" fmla="*/ 4390482 h 5704395"/>
                <a:gd name="connsiteX4679" fmla="*/ 2026408 w 5719680"/>
                <a:gd name="connsiteY4679" fmla="*/ 4389848 h 5704395"/>
                <a:gd name="connsiteX4680" fmla="*/ 2032443 w 5719680"/>
                <a:gd name="connsiteY4680" fmla="*/ 4331541 h 5704395"/>
                <a:gd name="connsiteX4681" fmla="*/ 1847589 w 5719680"/>
                <a:gd name="connsiteY4681" fmla="*/ 4317281 h 5704395"/>
                <a:gd name="connsiteX4682" fmla="*/ 2675304 w 5719680"/>
                <a:gd name="connsiteY4682" fmla="*/ 4316964 h 5704395"/>
                <a:gd name="connsiteX4683" fmla="*/ 2635601 w 5719680"/>
                <a:gd name="connsiteY4683" fmla="*/ 4317598 h 5704395"/>
                <a:gd name="connsiteX4684" fmla="*/ 2635919 w 5719680"/>
                <a:gd name="connsiteY4684" fmla="*/ 4331858 h 5704395"/>
                <a:gd name="connsiteX4685" fmla="*/ 2675621 w 5719680"/>
                <a:gd name="connsiteY4685" fmla="*/ 4330907 h 5704395"/>
                <a:gd name="connsiteX4686" fmla="*/ 2675304 w 5719680"/>
                <a:gd name="connsiteY4686" fmla="*/ 4316964 h 5704395"/>
                <a:gd name="connsiteX4687" fmla="*/ 483416 w 5719680"/>
                <a:gd name="connsiteY4687" fmla="*/ 4314746 h 5704395"/>
                <a:gd name="connsiteX4688" fmla="*/ 519942 w 5719680"/>
                <a:gd name="connsiteY4688" fmla="*/ 4329006 h 5704395"/>
                <a:gd name="connsiteX4689" fmla="*/ 486592 w 5719680"/>
                <a:gd name="connsiteY4689" fmla="*/ 4383511 h 5704395"/>
                <a:gd name="connsiteX4690" fmla="*/ 447525 w 5719680"/>
                <a:gd name="connsiteY4690" fmla="*/ 4369884 h 5704395"/>
                <a:gd name="connsiteX4691" fmla="*/ 483416 w 5719680"/>
                <a:gd name="connsiteY4691" fmla="*/ 4314746 h 5704395"/>
                <a:gd name="connsiteX4692" fmla="*/ 2679432 w 5719680"/>
                <a:gd name="connsiteY4692" fmla="*/ 4312528 h 5704395"/>
                <a:gd name="connsiteX4693" fmla="*/ 2680068 w 5719680"/>
                <a:gd name="connsiteY4693" fmla="*/ 4335027 h 5704395"/>
                <a:gd name="connsiteX4694" fmla="*/ 2631790 w 5719680"/>
                <a:gd name="connsiteY4694" fmla="*/ 4335977 h 5704395"/>
                <a:gd name="connsiteX4695" fmla="*/ 2631472 w 5719680"/>
                <a:gd name="connsiteY4695" fmla="*/ 4313478 h 5704395"/>
                <a:gd name="connsiteX4696" fmla="*/ 2633378 w 5719680"/>
                <a:gd name="connsiteY4696" fmla="*/ 4313478 h 5704395"/>
                <a:gd name="connsiteX4697" fmla="*/ 1713236 w 5719680"/>
                <a:gd name="connsiteY4697" fmla="*/ 4312528 h 5704395"/>
                <a:gd name="connsiteX4698" fmla="*/ 1677345 w 5719680"/>
                <a:gd name="connsiteY4698" fmla="*/ 4388581 h 5704395"/>
                <a:gd name="connsiteX4699" fmla="*/ 1603975 w 5719680"/>
                <a:gd name="connsiteY4699" fmla="*/ 4440867 h 5704395"/>
                <a:gd name="connsiteX4700" fmla="*/ 1640819 w 5719680"/>
                <a:gd name="connsiteY4700" fmla="*/ 4516287 h 5704395"/>
                <a:gd name="connsiteX4701" fmla="*/ 1774219 w 5719680"/>
                <a:gd name="connsiteY4701" fmla="*/ 4418051 h 5704395"/>
                <a:gd name="connsiteX4702" fmla="*/ 1784065 w 5719680"/>
                <a:gd name="connsiteY4702" fmla="*/ 4325203 h 5704395"/>
                <a:gd name="connsiteX4703" fmla="*/ 1713236 w 5719680"/>
                <a:gd name="connsiteY4703" fmla="*/ 4312528 h 5704395"/>
                <a:gd name="connsiteX4704" fmla="*/ 1710378 w 5719680"/>
                <a:gd name="connsiteY4704" fmla="*/ 4307458 h 5704395"/>
                <a:gd name="connsiteX4705" fmla="*/ 1789147 w 5719680"/>
                <a:gd name="connsiteY4705" fmla="*/ 4321401 h 5704395"/>
                <a:gd name="connsiteX4706" fmla="*/ 1788829 w 5719680"/>
                <a:gd name="connsiteY4706" fmla="*/ 4323619 h 5704395"/>
                <a:gd name="connsiteX4707" fmla="*/ 1778666 w 5719680"/>
                <a:gd name="connsiteY4707" fmla="*/ 4420586 h 5704395"/>
                <a:gd name="connsiteX4708" fmla="*/ 1639231 w 5719680"/>
                <a:gd name="connsiteY4708" fmla="*/ 4523258 h 5704395"/>
                <a:gd name="connsiteX4709" fmla="*/ 1597941 w 5719680"/>
                <a:gd name="connsiteY4709" fmla="*/ 4439283 h 5704395"/>
                <a:gd name="connsiteX4710" fmla="*/ 1673851 w 5719680"/>
                <a:gd name="connsiteY4710" fmla="*/ 4385412 h 5704395"/>
                <a:gd name="connsiteX4711" fmla="*/ 1710378 w 5719680"/>
                <a:gd name="connsiteY4711" fmla="*/ 4307458 h 5704395"/>
                <a:gd name="connsiteX4712" fmla="*/ 1200917 w 5719680"/>
                <a:gd name="connsiteY4712" fmla="*/ 4305239 h 5704395"/>
                <a:gd name="connsiteX4713" fmla="*/ 1186942 w 5719680"/>
                <a:gd name="connsiteY4713" fmla="*/ 4306824 h 5704395"/>
                <a:gd name="connsiteX4714" fmla="*/ 1182177 w 5719680"/>
                <a:gd name="connsiteY4714" fmla="*/ 4418368 h 5704395"/>
                <a:gd name="connsiteX4715" fmla="*/ 1237126 w 5719680"/>
                <a:gd name="connsiteY4715" fmla="*/ 4439917 h 5704395"/>
                <a:gd name="connsiteX4716" fmla="*/ 1242525 w 5719680"/>
                <a:gd name="connsiteY4716" fmla="*/ 4425657 h 5704395"/>
                <a:gd name="connsiteX4717" fmla="*/ 1197423 w 5719680"/>
                <a:gd name="connsiteY4717" fmla="*/ 4377490 h 5704395"/>
                <a:gd name="connsiteX4718" fmla="*/ 1200917 w 5719680"/>
                <a:gd name="connsiteY4718" fmla="*/ 4305239 h 5704395"/>
                <a:gd name="connsiteX4719" fmla="*/ 1205681 w 5719680"/>
                <a:gd name="connsiteY4719" fmla="*/ 4299852 h 5704395"/>
                <a:gd name="connsiteX4720" fmla="*/ 1202187 w 5719680"/>
                <a:gd name="connsiteY4720" fmla="*/ 4375905 h 5704395"/>
                <a:gd name="connsiteX4721" fmla="*/ 1247925 w 5719680"/>
                <a:gd name="connsiteY4721" fmla="*/ 4424389 h 5704395"/>
                <a:gd name="connsiteX4722" fmla="*/ 1247607 w 5719680"/>
                <a:gd name="connsiteY4722" fmla="*/ 4425657 h 5704395"/>
                <a:gd name="connsiteX4723" fmla="*/ 1239984 w 5719680"/>
                <a:gd name="connsiteY4723" fmla="*/ 4445938 h 5704395"/>
                <a:gd name="connsiteX4724" fmla="*/ 1177096 w 5719680"/>
                <a:gd name="connsiteY4724" fmla="*/ 4421537 h 5704395"/>
                <a:gd name="connsiteX4725" fmla="*/ 1182177 w 5719680"/>
                <a:gd name="connsiteY4725" fmla="*/ 4302387 h 5704395"/>
                <a:gd name="connsiteX4726" fmla="*/ 1205681 w 5719680"/>
                <a:gd name="connsiteY4726" fmla="*/ 4299852 h 5704395"/>
                <a:gd name="connsiteX4727" fmla="*/ 695903 w 5719680"/>
                <a:gd name="connsiteY4727" fmla="*/ 4299852 h 5704395"/>
                <a:gd name="connsiteX4728" fmla="*/ 625074 w 5719680"/>
                <a:gd name="connsiteY4728" fmla="*/ 4367032 h 5704395"/>
                <a:gd name="connsiteX4729" fmla="*/ 613957 w 5719680"/>
                <a:gd name="connsiteY4729" fmla="*/ 4377490 h 5704395"/>
                <a:gd name="connsiteX4730" fmla="*/ 683198 w 5719680"/>
                <a:gd name="connsiteY4730" fmla="*/ 4419953 h 5704395"/>
                <a:gd name="connsiteX4731" fmla="*/ 776261 w 5719680"/>
                <a:gd name="connsiteY4731" fmla="*/ 4329006 h 5704395"/>
                <a:gd name="connsiteX4732" fmla="*/ 1544898 w 5719680"/>
                <a:gd name="connsiteY4732" fmla="*/ 4298268 h 5704395"/>
                <a:gd name="connsiteX4733" fmla="*/ 1543628 w 5719680"/>
                <a:gd name="connsiteY4733" fmla="*/ 4309993 h 5704395"/>
                <a:gd name="connsiteX4734" fmla="*/ 1542992 w 5719680"/>
                <a:gd name="connsiteY4734" fmla="*/ 4314112 h 5704395"/>
                <a:gd name="connsiteX4735" fmla="*/ 1538863 w 5719680"/>
                <a:gd name="connsiteY4735" fmla="*/ 4313795 h 5704395"/>
                <a:gd name="connsiteX4736" fmla="*/ 1530923 w 5719680"/>
                <a:gd name="connsiteY4736" fmla="*/ 4313478 h 5704395"/>
                <a:gd name="connsiteX4737" fmla="*/ 1529653 w 5719680"/>
                <a:gd name="connsiteY4737" fmla="*/ 4323936 h 5704395"/>
                <a:gd name="connsiteX4738" fmla="*/ 1558556 w 5719680"/>
                <a:gd name="connsiteY4738" fmla="*/ 4326154 h 5704395"/>
                <a:gd name="connsiteX4739" fmla="*/ 1566179 w 5719680"/>
                <a:gd name="connsiteY4739" fmla="*/ 4326471 h 5704395"/>
                <a:gd name="connsiteX4740" fmla="*/ 1569037 w 5719680"/>
                <a:gd name="connsiteY4740" fmla="*/ 4300803 h 5704395"/>
                <a:gd name="connsiteX4741" fmla="*/ 1544898 w 5719680"/>
                <a:gd name="connsiteY4741" fmla="*/ 4298268 h 5704395"/>
                <a:gd name="connsiteX4742" fmla="*/ 1707837 w 5719680"/>
                <a:gd name="connsiteY4742" fmla="*/ 4290346 h 5704395"/>
                <a:gd name="connsiteX4743" fmla="*/ 1683062 w 5719680"/>
                <a:gd name="connsiteY4743" fmla="*/ 4335977 h 5704395"/>
                <a:gd name="connsiteX4744" fmla="*/ 1665276 w 5719680"/>
                <a:gd name="connsiteY4744" fmla="*/ 4368300 h 5704395"/>
                <a:gd name="connsiteX4745" fmla="*/ 1659241 w 5719680"/>
                <a:gd name="connsiteY4745" fmla="*/ 4379074 h 5704395"/>
                <a:gd name="connsiteX4746" fmla="*/ 1657335 w 5719680"/>
                <a:gd name="connsiteY4746" fmla="*/ 4382243 h 5704395"/>
                <a:gd name="connsiteX4747" fmla="*/ 1656700 w 5719680"/>
                <a:gd name="connsiteY4747" fmla="*/ 4383194 h 5704395"/>
                <a:gd name="connsiteX4748" fmla="*/ 1655430 w 5719680"/>
                <a:gd name="connsiteY4748" fmla="*/ 4384144 h 5704395"/>
                <a:gd name="connsiteX4749" fmla="*/ 1655430 w 5719680"/>
                <a:gd name="connsiteY4749" fmla="*/ 4384461 h 5704395"/>
                <a:gd name="connsiteX4750" fmla="*/ 1618268 w 5719680"/>
                <a:gd name="connsiteY4750" fmla="*/ 4412031 h 5704395"/>
                <a:gd name="connsiteX4751" fmla="*/ 1586189 w 5719680"/>
                <a:gd name="connsiteY4751" fmla="*/ 4436431 h 5704395"/>
                <a:gd name="connsiteX4752" fmla="*/ 1608104 w 5719680"/>
                <a:gd name="connsiteY4752" fmla="*/ 4485549 h 5704395"/>
                <a:gd name="connsiteX4753" fmla="*/ 1633831 w 5719680"/>
                <a:gd name="connsiteY4753" fmla="*/ 4538469 h 5704395"/>
                <a:gd name="connsiteX4754" fmla="*/ 1781842 w 5719680"/>
                <a:gd name="connsiteY4754" fmla="*/ 4431678 h 5704395"/>
                <a:gd name="connsiteX4755" fmla="*/ 1788829 w 5719680"/>
                <a:gd name="connsiteY4755" fmla="*/ 4402841 h 5704395"/>
                <a:gd name="connsiteX4756" fmla="*/ 1799629 w 5719680"/>
                <a:gd name="connsiteY4756" fmla="*/ 4307141 h 5704395"/>
                <a:gd name="connsiteX4757" fmla="*/ 1720541 w 5719680"/>
                <a:gd name="connsiteY4757" fmla="*/ 4292247 h 5704395"/>
                <a:gd name="connsiteX4758" fmla="*/ 1707837 w 5719680"/>
                <a:gd name="connsiteY4758" fmla="*/ 4290346 h 5704395"/>
                <a:gd name="connsiteX4759" fmla="*/ 966197 w 5719680"/>
                <a:gd name="connsiteY4759" fmla="*/ 4287177 h 5704395"/>
                <a:gd name="connsiteX4760" fmla="*/ 959209 w 5719680"/>
                <a:gd name="connsiteY4760" fmla="*/ 4290662 h 5704395"/>
                <a:gd name="connsiteX4761" fmla="*/ 956668 w 5719680"/>
                <a:gd name="connsiteY4761" fmla="*/ 4300169 h 5704395"/>
                <a:gd name="connsiteX4762" fmla="*/ 967785 w 5719680"/>
                <a:gd name="connsiteY4762" fmla="*/ 4305239 h 5704395"/>
                <a:gd name="connsiteX4763" fmla="*/ 976678 w 5719680"/>
                <a:gd name="connsiteY4763" fmla="*/ 4296050 h 5704395"/>
                <a:gd name="connsiteX4764" fmla="*/ 966197 w 5719680"/>
                <a:gd name="connsiteY4764" fmla="*/ 4287177 h 5704395"/>
                <a:gd name="connsiteX4765" fmla="*/ 1582695 w 5719680"/>
                <a:gd name="connsiteY4765" fmla="*/ 4286543 h 5704395"/>
                <a:gd name="connsiteX4766" fmla="*/ 1510278 w 5719680"/>
                <a:gd name="connsiteY4766" fmla="*/ 4294782 h 5704395"/>
                <a:gd name="connsiteX4767" fmla="*/ 1508690 w 5719680"/>
                <a:gd name="connsiteY4767" fmla="*/ 4322351 h 5704395"/>
                <a:gd name="connsiteX4768" fmla="*/ 1525206 w 5719680"/>
                <a:gd name="connsiteY4768" fmla="*/ 4323619 h 5704395"/>
                <a:gd name="connsiteX4769" fmla="*/ 1527112 w 5719680"/>
                <a:gd name="connsiteY4769" fmla="*/ 4308725 h 5704395"/>
                <a:gd name="connsiteX4770" fmla="*/ 1539181 w 5719680"/>
                <a:gd name="connsiteY4770" fmla="*/ 4309359 h 5704395"/>
                <a:gd name="connsiteX4771" fmla="*/ 1541087 w 5719680"/>
                <a:gd name="connsiteY4771" fmla="*/ 4293514 h 5704395"/>
                <a:gd name="connsiteX4772" fmla="*/ 1573802 w 5719680"/>
                <a:gd name="connsiteY4772" fmla="*/ 4296683 h 5704395"/>
                <a:gd name="connsiteX4773" fmla="*/ 1570625 w 5719680"/>
                <a:gd name="connsiteY4773" fmla="*/ 4326788 h 5704395"/>
                <a:gd name="connsiteX4774" fmla="*/ 1570943 w 5719680"/>
                <a:gd name="connsiteY4774" fmla="*/ 4326788 h 5704395"/>
                <a:gd name="connsiteX4775" fmla="*/ 1576978 w 5719680"/>
                <a:gd name="connsiteY4775" fmla="*/ 4327105 h 5704395"/>
                <a:gd name="connsiteX4776" fmla="*/ 1579201 w 5719680"/>
                <a:gd name="connsiteY4776" fmla="*/ 4313478 h 5704395"/>
                <a:gd name="connsiteX4777" fmla="*/ 1582695 w 5719680"/>
                <a:gd name="connsiteY4777" fmla="*/ 4286543 h 5704395"/>
                <a:gd name="connsiteX4778" fmla="*/ 966832 w 5719680"/>
                <a:gd name="connsiteY4778" fmla="*/ 4281473 h 5704395"/>
                <a:gd name="connsiteX4779" fmla="*/ 983348 w 5719680"/>
                <a:gd name="connsiteY4779" fmla="*/ 4295733 h 5704395"/>
                <a:gd name="connsiteX4780" fmla="*/ 981760 w 5719680"/>
                <a:gd name="connsiteY4780" fmla="*/ 4297634 h 5704395"/>
                <a:gd name="connsiteX4781" fmla="*/ 969055 w 5719680"/>
                <a:gd name="connsiteY4781" fmla="*/ 4310943 h 5704395"/>
                <a:gd name="connsiteX4782" fmla="*/ 950951 w 5719680"/>
                <a:gd name="connsiteY4782" fmla="*/ 4302704 h 5704395"/>
                <a:gd name="connsiteX4783" fmla="*/ 955080 w 5719680"/>
                <a:gd name="connsiteY4783" fmla="*/ 4287494 h 5704395"/>
                <a:gd name="connsiteX4784" fmla="*/ 1130088 w 5719680"/>
                <a:gd name="connsiteY4784" fmla="*/ 4280839 h 5704395"/>
                <a:gd name="connsiteX4785" fmla="*/ 1065611 w 5719680"/>
                <a:gd name="connsiteY4785" fmla="*/ 4287810 h 5704395"/>
                <a:gd name="connsiteX4786" fmla="*/ 1051636 w 5719680"/>
                <a:gd name="connsiteY4786" fmla="*/ 4318549 h 5704395"/>
                <a:gd name="connsiteX4787" fmla="*/ 1070058 w 5719680"/>
                <a:gd name="connsiteY4787" fmla="*/ 4318232 h 5704395"/>
                <a:gd name="connsiteX4788" fmla="*/ 1077363 w 5719680"/>
                <a:gd name="connsiteY4788" fmla="*/ 4297951 h 5704395"/>
                <a:gd name="connsiteX4789" fmla="*/ 1109125 w 5719680"/>
                <a:gd name="connsiteY4789" fmla="*/ 4296050 h 5704395"/>
                <a:gd name="connsiteX4790" fmla="*/ 1083080 w 5719680"/>
                <a:gd name="connsiteY4790" fmla="*/ 4390165 h 5704395"/>
                <a:gd name="connsiteX4791" fmla="*/ 1056400 w 5719680"/>
                <a:gd name="connsiteY4791" fmla="*/ 4382560 h 5704395"/>
                <a:gd name="connsiteX4792" fmla="*/ 1059577 w 5719680"/>
                <a:gd name="connsiteY4792" fmla="*/ 4354357 h 5704395"/>
                <a:gd name="connsiteX4793" fmla="*/ 1043696 w 5719680"/>
                <a:gd name="connsiteY4793" fmla="*/ 4345484 h 5704395"/>
                <a:gd name="connsiteX4794" fmla="*/ 1024639 w 5719680"/>
                <a:gd name="connsiteY4794" fmla="*/ 4384144 h 5704395"/>
                <a:gd name="connsiteX4795" fmla="*/ 1120877 w 5719680"/>
                <a:gd name="connsiteY4795" fmla="*/ 4418685 h 5704395"/>
                <a:gd name="connsiteX4796" fmla="*/ 1130088 w 5719680"/>
                <a:gd name="connsiteY4796" fmla="*/ 4280839 h 5704395"/>
                <a:gd name="connsiteX4797" fmla="*/ 1271 w 5719680"/>
                <a:gd name="connsiteY4797" fmla="*/ 4279888 h 5704395"/>
                <a:gd name="connsiteX4798" fmla="*/ 27315 w 5719680"/>
                <a:gd name="connsiteY4798" fmla="*/ 4292881 h 5704395"/>
                <a:gd name="connsiteX4799" fmla="*/ 16516 w 5719680"/>
                <a:gd name="connsiteY4799" fmla="*/ 4314429 h 5704395"/>
                <a:gd name="connsiteX4800" fmla="*/ 14928 w 5719680"/>
                <a:gd name="connsiteY4800" fmla="*/ 4313478 h 5704395"/>
                <a:gd name="connsiteX4801" fmla="*/ 1271 w 5719680"/>
                <a:gd name="connsiteY4801" fmla="*/ 4306824 h 5704395"/>
                <a:gd name="connsiteX4802" fmla="*/ 1271 w 5719680"/>
                <a:gd name="connsiteY4802" fmla="*/ 4302070 h 5704395"/>
                <a:gd name="connsiteX4803" fmla="*/ 14928 w 5719680"/>
                <a:gd name="connsiteY4803" fmla="*/ 4308725 h 5704395"/>
                <a:gd name="connsiteX4804" fmla="*/ 21916 w 5719680"/>
                <a:gd name="connsiteY4804" fmla="*/ 4294782 h 5704395"/>
                <a:gd name="connsiteX4805" fmla="*/ 1271 w 5719680"/>
                <a:gd name="connsiteY4805" fmla="*/ 4284642 h 5704395"/>
                <a:gd name="connsiteX4806" fmla="*/ 1271 w 5719680"/>
                <a:gd name="connsiteY4806" fmla="*/ 4279888 h 5704395"/>
                <a:gd name="connsiteX4807" fmla="*/ 2133763 w 5719680"/>
                <a:gd name="connsiteY4807" fmla="*/ 4278621 h 5704395"/>
                <a:gd name="connsiteX4808" fmla="*/ 2100731 w 5719680"/>
                <a:gd name="connsiteY4808" fmla="*/ 4278938 h 5704395"/>
                <a:gd name="connsiteX4809" fmla="*/ 2101048 w 5719680"/>
                <a:gd name="connsiteY4809" fmla="*/ 4305556 h 5704395"/>
                <a:gd name="connsiteX4810" fmla="*/ 2074369 w 5719680"/>
                <a:gd name="connsiteY4810" fmla="*/ 4305873 h 5704395"/>
                <a:gd name="connsiteX4811" fmla="*/ 2075004 w 5719680"/>
                <a:gd name="connsiteY4811" fmla="*/ 4355308 h 5704395"/>
                <a:gd name="connsiteX4812" fmla="*/ 2105813 w 5719680"/>
                <a:gd name="connsiteY4812" fmla="*/ 4355308 h 5704395"/>
                <a:gd name="connsiteX4813" fmla="*/ 2105813 w 5719680"/>
                <a:gd name="connsiteY4813" fmla="*/ 4324569 h 5704395"/>
                <a:gd name="connsiteX4814" fmla="*/ 2108036 w 5719680"/>
                <a:gd name="connsiteY4814" fmla="*/ 4324569 h 5704395"/>
                <a:gd name="connsiteX4815" fmla="*/ 2133446 w 5719680"/>
                <a:gd name="connsiteY4815" fmla="*/ 4324253 h 5704395"/>
                <a:gd name="connsiteX4816" fmla="*/ 2133763 w 5719680"/>
                <a:gd name="connsiteY4816" fmla="*/ 4278621 h 5704395"/>
                <a:gd name="connsiteX4817" fmla="*/ 1135170 w 5719680"/>
                <a:gd name="connsiteY4817" fmla="*/ 4275452 h 5704395"/>
                <a:gd name="connsiteX4818" fmla="*/ 1135170 w 5719680"/>
                <a:gd name="connsiteY4818" fmla="*/ 4278304 h 5704395"/>
                <a:gd name="connsiteX4819" fmla="*/ 1125006 w 5719680"/>
                <a:gd name="connsiteY4819" fmla="*/ 4425023 h 5704395"/>
                <a:gd name="connsiteX4820" fmla="*/ 1017969 w 5719680"/>
                <a:gd name="connsiteY4820" fmla="*/ 4386996 h 5704395"/>
                <a:gd name="connsiteX4821" fmla="*/ 1041472 w 5719680"/>
                <a:gd name="connsiteY4821" fmla="*/ 4339146 h 5704395"/>
                <a:gd name="connsiteX4822" fmla="*/ 1064659 w 5719680"/>
                <a:gd name="connsiteY4822" fmla="*/ 4351822 h 5704395"/>
                <a:gd name="connsiteX4823" fmla="*/ 1061482 w 5719680"/>
                <a:gd name="connsiteY4823" fmla="*/ 4379074 h 5704395"/>
                <a:gd name="connsiteX4824" fmla="*/ 1079904 w 5719680"/>
                <a:gd name="connsiteY4824" fmla="*/ 4384461 h 5704395"/>
                <a:gd name="connsiteX4825" fmla="*/ 1102773 w 5719680"/>
                <a:gd name="connsiteY4825" fmla="*/ 4301120 h 5704395"/>
                <a:gd name="connsiteX4826" fmla="*/ 1080857 w 5719680"/>
                <a:gd name="connsiteY4826" fmla="*/ 4302387 h 5704395"/>
                <a:gd name="connsiteX4827" fmla="*/ 1073234 w 5719680"/>
                <a:gd name="connsiteY4827" fmla="*/ 4322985 h 5704395"/>
                <a:gd name="connsiteX4828" fmla="*/ 1044013 w 5719680"/>
                <a:gd name="connsiteY4828" fmla="*/ 4323302 h 5704395"/>
                <a:gd name="connsiteX4829" fmla="*/ 1062753 w 5719680"/>
                <a:gd name="connsiteY4829" fmla="*/ 4283374 h 5704395"/>
                <a:gd name="connsiteX4830" fmla="*/ 1135170 w 5719680"/>
                <a:gd name="connsiteY4830" fmla="*/ 4275452 h 5704395"/>
                <a:gd name="connsiteX4831" fmla="*/ 2137892 w 5719680"/>
                <a:gd name="connsiteY4831" fmla="*/ 4274501 h 5704395"/>
                <a:gd name="connsiteX4832" fmla="*/ 2137575 w 5719680"/>
                <a:gd name="connsiteY4832" fmla="*/ 4328372 h 5704395"/>
                <a:gd name="connsiteX4833" fmla="*/ 2109942 w 5719680"/>
                <a:gd name="connsiteY4833" fmla="*/ 4328689 h 5704395"/>
                <a:gd name="connsiteX4834" fmla="*/ 2109942 w 5719680"/>
                <a:gd name="connsiteY4834" fmla="*/ 4359744 h 5704395"/>
                <a:gd name="connsiteX4835" fmla="*/ 2070875 w 5719680"/>
                <a:gd name="connsiteY4835" fmla="*/ 4359427 h 5704395"/>
                <a:gd name="connsiteX4836" fmla="*/ 2070240 w 5719680"/>
                <a:gd name="connsiteY4836" fmla="*/ 4302070 h 5704395"/>
                <a:gd name="connsiteX4837" fmla="*/ 2096602 w 5719680"/>
                <a:gd name="connsiteY4837" fmla="*/ 4301437 h 5704395"/>
                <a:gd name="connsiteX4838" fmla="*/ 2096602 w 5719680"/>
                <a:gd name="connsiteY4838" fmla="*/ 4274818 h 5704395"/>
                <a:gd name="connsiteX4839" fmla="*/ 2137892 w 5719680"/>
                <a:gd name="connsiteY4839" fmla="*/ 4274501 h 5704395"/>
                <a:gd name="connsiteX4840" fmla="*/ 1228550 w 5719680"/>
                <a:gd name="connsiteY4840" fmla="*/ 4269114 h 5704395"/>
                <a:gd name="connsiteX4841" fmla="*/ 1163120 w 5719680"/>
                <a:gd name="connsiteY4841" fmla="*/ 4277353 h 5704395"/>
                <a:gd name="connsiteX4842" fmla="*/ 1152004 w 5719680"/>
                <a:gd name="connsiteY4842" fmla="*/ 4431044 h 5704395"/>
                <a:gd name="connsiteX4843" fmla="*/ 1294932 w 5719680"/>
                <a:gd name="connsiteY4843" fmla="*/ 4485549 h 5704395"/>
                <a:gd name="connsiteX4844" fmla="*/ 1280957 w 5719680"/>
                <a:gd name="connsiteY4844" fmla="*/ 4460197 h 5704395"/>
                <a:gd name="connsiteX4845" fmla="*/ 1288580 w 5719680"/>
                <a:gd name="connsiteY4845" fmla="*/ 4430727 h 5704395"/>
                <a:gd name="connsiteX4846" fmla="*/ 1225374 w 5719680"/>
                <a:gd name="connsiteY4846" fmla="*/ 4364180 h 5704395"/>
                <a:gd name="connsiteX4847" fmla="*/ 1228550 w 5719680"/>
                <a:gd name="connsiteY4847" fmla="*/ 4269114 h 5704395"/>
                <a:gd name="connsiteX4848" fmla="*/ 1968919 w 5719680"/>
                <a:gd name="connsiteY4848" fmla="*/ 4268797 h 5704395"/>
                <a:gd name="connsiteX4849" fmla="*/ 1967966 w 5719680"/>
                <a:gd name="connsiteY4849" fmla="*/ 4285592 h 5704395"/>
                <a:gd name="connsiteX4850" fmla="*/ 1964472 w 5719680"/>
                <a:gd name="connsiteY4850" fmla="*/ 4285275 h 5704395"/>
                <a:gd name="connsiteX4851" fmla="*/ 1962567 w 5719680"/>
                <a:gd name="connsiteY4851" fmla="*/ 4314112 h 5704395"/>
                <a:gd name="connsiteX4852" fmla="*/ 1993058 w 5719680"/>
                <a:gd name="connsiteY4852" fmla="*/ 4315380 h 5704395"/>
                <a:gd name="connsiteX4853" fmla="*/ 1994329 w 5719680"/>
                <a:gd name="connsiteY4853" fmla="*/ 4297000 h 5704395"/>
                <a:gd name="connsiteX4854" fmla="*/ 2017515 w 5719680"/>
                <a:gd name="connsiteY4854" fmla="*/ 4298585 h 5704395"/>
                <a:gd name="connsiteX4855" fmla="*/ 2019420 w 5719680"/>
                <a:gd name="connsiteY4855" fmla="*/ 4272283 h 5704395"/>
                <a:gd name="connsiteX4856" fmla="*/ 1968919 w 5719680"/>
                <a:gd name="connsiteY4856" fmla="*/ 4268797 h 5704395"/>
                <a:gd name="connsiteX4857" fmla="*/ 127048 w 5719680"/>
                <a:gd name="connsiteY4857" fmla="*/ 4266579 h 5704395"/>
                <a:gd name="connsiteX4858" fmla="*/ 126413 w 5719680"/>
                <a:gd name="connsiteY4858" fmla="*/ 4302070 h 5704395"/>
                <a:gd name="connsiteX4859" fmla="*/ 161668 w 5719680"/>
                <a:gd name="connsiteY4859" fmla="*/ 4302704 h 5704395"/>
                <a:gd name="connsiteX4860" fmla="*/ 162303 w 5719680"/>
                <a:gd name="connsiteY4860" fmla="*/ 4267213 h 5704395"/>
                <a:gd name="connsiteX4861" fmla="*/ 127048 w 5719680"/>
                <a:gd name="connsiteY4861" fmla="*/ 4266579 h 5704395"/>
                <a:gd name="connsiteX4862" fmla="*/ 602841 w 5719680"/>
                <a:gd name="connsiteY4862" fmla="*/ 4266262 h 5704395"/>
                <a:gd name="connsiteX4863" fmla="*/ 511049 w 5719680"/>
                <a:gd name="connsiteY4863" fmla="*/ 4408862 h 5704395"/>
                <a:gd name="connsiteX4864" fmla="*/ 551069 w 5719680"/>
                <a:gd name="connsiteY4864" fmla="*/ 4433262 h 5704395"/>
                <a:gd name="connsiteX4865" fmla="*/ 572349 w 5719680"/>
                <a:gd name="connsiteY4865" fmla="*/ 4411714 h 5704395"/>
                <a:gd name="connsiteX4866" fmla="*/ 541540 w 5719680"/>
                <a:gd name="connsiteY4866" fmla="*/ 4393017 h 5704395"/>
                <a:gd name="connsiteX4867" fmla="*/ 567267 w 5719680"/>
                <a:gd name="connsiteY4867" fmla="*/ 4348653 h 5704395"/>
                <a:gd name="connsiteX4868" fmla="*/ 610146 w 5719680"/>
                <a:gd name="connsiteY4868" fmla="*/ 4375272 h 5704395"/>
                <a:gd name="connsiteX4869" fmla="*/ 691139 w 5719680"/>
                <a:gd name="connsiteY4869" fmla="*/ 4298268 h 5704395"/>
                <a:gd name="connsiteX4870" fmla="*/ 602841 w 5719680"/>
                <a:gd name="connsiteY4870" fmla="*/ 4266262 h 5704395"/>
                <a:gd name="connsiteX4871" fmla="*/ 1965108 w 5719680"/>
                <a:gd name="connsiteY4871" fmla="*/ 4264361 h 5704395"/>
                <a:gd name="connsiteX4872" fmla="*/ 2023867 w 5719680"/>
                <a:gd name="connsiteY4872" fmla="*/ 4268480 h 5704395"/>
                <a:gd name="connsiteX4873" fmla="*/ 2021326 w 5719680"/>
                <a:gd name="connsiteY4873" fmla="*/ 4303021 h 5704395"/>
                <a:gd name="connsiteX4874" fmla="*/ 1998458 w 5719680"/>
                <a:gd name="connsiteY4874" fmla="*/ 4301437 h 5704395"/>
                <a:gd name="connsiteX4875" fmla="*/ 1997187 w 5719680"/>
                <a:gd name="connsiteY4875" fmla="*/ 4319816 h 5704395"/>
                <a:gd name="connsiteX4876" fmla="*/ 1994964 w 5719680"/>
                <a:gd name="connsiteY4876" fmla="*/ 4319499 h 5704395"/>
                <a:gd name="connsiteX4877" fmla="*/ 1958120 w 5719680"/>
                <a:gd name="connsiteY4877" fmla="*/ 4317915 h 5704395"/>
                <a:gd name="connsiteX4878" fmla="*/ 1960661 w 5719680"/>
                <a:gd name="connsiteY4878" fmla="*/ 4280839 h 5704395"/>
                <a:gd name="connsiteX4879" fmla="*/ 1963837 w 5719680"/>
                <a:gd name="connsiteY4879" fmla="*/ 4281156 h 5704395"/>
                <a:gd name="connsiteX4880" fmla="*/ 1965108 w 5719680"/>
                <a:gd name="connsiteY4880" fmla="*/ 4264361 h 5704395"/>
                <a:gd name="connsiteX4881" fmla="*/ 1146287 w 5719680"/>
                <a:gd name="connsiteY4881" fmla="*/ 4264361 h 5704395"/>
                <a:gd name="connsiteX4882" fmla="*/ 1057989 w 5719680"/>
                <a:gd name="connsiteY4882" fmla="*/ 4277670 h 5704395"/>
                <a:gd name="connsiteX4883" fmla="*/ 1057671 w 5719680"/>
                <a:gd name="connsiteY4883" fmla="*/ 4277670 h 5704395"/>
                <a:gd name="connsiteX4884" fmla="*/ 1056083 w 5719680"/>
                <a:gd name="connsiteY4884" fmla="*/ 4277353 h 5704395"/>
                <a:gd name="connsiteX4885" fmla="*/ 1008440 w 5719680"/>
                <a:gd name="connsiteY4885" fmla="*/ 4390799 h 5704395"/>
                <a:gd name="connsiteX4886" fmla="*/ 1135805 w 5719680"/>
                <a:gd name="connsiteY4886" fmla="*/ 4437065 h 5704395"/>
                <a:gd name="connsiteX4887" fmla="*/ 1146287 w 5719680"/>
                <a:gd name="connsiteY4887" fmla="*/ 4264361 h 5704395"/>
                <a:gd name="connsiteX4888" fmla="*/ 1233314 w 5719680"/>
                <a:gd name="connsiteY4888" fmla="*/ 4263727 h 5704395"/>
                <a:gd name="connsiteX4889" fmla="*/ 1233314 w 5719680"/>
                <a:gd name="connsiteY4889" fmla="*/ 4266579 h 5704395"/>
                <a:gd name="connsiteX4890" fmla="*/ 1230138 w 5719680"/>
                <a:gd name="connsiteY4890" fmla="*/ 4362279 h 5704395"/>
                <a:gd name="connsiteX4891" fmla="*/ 1293979 w 5719680"/>
                <a:gd name="connsiteY4891" fmla="*/ 4429459 h 5704395"/>
                <a:gd name="connsiteX4892" fmla="*/ 1286039 w 5719680"/>
                <a:gd name="connsiteY4892" fmla="*/ 4459564 h 5704395"/>
                <a:gd name="connsiteX4893" fmla="*/ 1305096 w 5719680"/>
                <a:gd name="connsiteY4893" fmla="*/ 4494421 h 5704395"/>
                <a:gd name="connsiteX4894" fmla="*/ 1147239 w 5719680"/>
                <a:gd name="connsiteY4894" fmla="*/ 4433896 h 5704395"/>
                <a:gd name="connsiteX4895" fmla="*/ 1158674 w 5719680"/>
                <a:gd name="connsiteY4895" fmla="*/ 4273234 h 5704395"/>
                <a:gd name="connsiteX4896" fmla="*/ 1233314 w 5719680"/>
                <a:gd name="connsiteY4896" fmla="*/ 4263727 h 5704395"/>
                <a:gd name="connsiteX4897" fmla="*/ 911249 w 5719680"/>
                <a:gd name="connsiteY4897" fmla="*/ 4262776 h 5704395"/>
                <a:gd name="connsiteX4898" fmla="*/ 896321 w 5719680"/>
                <a:gd name="connsiteY4898" fmla="*/ 4289712 h 5704395"/>
                <a:gd name="connsiteX4899" fmla="*/ 885204 w 5719680"/>
                <a:gd name="connsiteY4899" fmla="*/ 4336294 h 5704395"/>
                <a:gd name="connsiteX4900" fmla="*/ 994147 w 5719680"/>
                <a:gd name="connsiteY4900" fmla="*/ 4373687 h 5704395"/>
                <a:gd name="connsiteX4901" fmla="*/ 1013522 w 5719680"/>
                <a:gd name="connsiteY4901" fmla="*/ 4322351 h 5704395"/>
                <a:gd name="connsiteX4902" fmla="*/ 1002405 w 5719680"/>
                <a:gd name="connsiteY4902" fmla="*/ 4313161 h 5704395"/>
                <a:gd name="connsiteX4903" fmla="*/ 969055 w 5719680"/>
                <a:gd name="connsiteY4903" fmla="*/ 4333442 h 5704395"/>
                <a:gd name="connsiteX4904" fmla="*/ 933164 w 5719680"/>
                <a:gd name="connsiteY4904" fmla="*/ 4316013 h 5704395"/>
                <a:gd name="connsiteX4905" fmla="*/ 939517 w 5719680"/>
                <a:gd name="connsiteY4905" fmla="*/ 4281473 h 5704395"/>
                <a:gd name="connsiteX4906" fmla="*/ 911249 w 5719680"/>
                <a:gd name="connsiteY4906" fmla="*/ 4262776 h 5704395"/>
                <a:gd name="connsiteX4907" fmla="*/ 122919 w 5719680"/>
                <a:gd name="connsiteY4907" fmla="*/ 4262459 h 5704395"/>
                <a:gd name="connsiteX4908" fmla="*/ 124824 w 5719680"/>
                <a:gd name="connsiteY4908" fmla="*/ 4262459 h 5704395"/>
                <a:gd name="connsiteX4909" fmla="*/ 166750 w 5719680"/>
                <a:gd name="connsiteY4909" fmla="*/ 4263093 h 5704395"/>
                <a:gd name="connsiteX4910" fmla="*/ 165797 w 5719680"/>
                <a:gd name="connsiteY4910" fmla="*/ 4306824 h 5704395"/>
                <a:gd name="connsiteX4911" fmla="*/ 121966 w 5719680"/>
                <a:gd name="connsiteY4911" fmla="*/ 4306190 h 5704395"/>
                <a:gd name="connsiteX4912" fmla="*/ 122919 w 5719680"/>
                <a:gd name="connsiteY4912" fmla="*/ 4262459 h 5704395"/>
                <a:gd name="connsiteX4913" fmla="*/ 539952 w 5719680"/>
                <a:gd name="connsiteY4913" fmla="*/ 4259607 h 5704395"/>
                <a:gd name="connsiteX4914" fmla="*/ 509143 w 5719680"/>
                <a:gd name="connsiteY4914" fmla="*/ 4306507 h 5704395"/>
                <a:gd name="connsiteX4915" fmla="*/ 536776 w 5719680"/>
                <a:gd name="connsiteY4915" fmla="*/ 4316013 h 5704395"/>
                <a:gd name="connsiteX4916" fmla="*/ 565362 w 5719680"/>
                <a:gd name="connsiteY4916" fmla="*/ 4269431 h 5704395"/>
                <a:gd name="connsiteX4917" fmla="*/ 539952 w 5719680"/>
                <a:gd name="connsiteY4917" fmla="*/ 4259607 h 5704395"/>
                <a:gd name="connsiteX4918" fmla="*/ 375743 w 5719680"/>
                <a:gd name="connsiteY4918" fmla="*/ 4258023 h 5704395"/>
                <a:gd name="connsiteX4919" fmla="*/ 360498 w 5719680"/>
                <a:gd name="connsiteY4919" fmla="*/ 4291296 h 5704395"/>
                <a:gd name="connsiteX4920" fmla="*/ 359862 w 5719680"/>
                <a:gd name="connsiteY4920" fmla="*/ 4292564 h 5704395"/>
                <a:gd name="connsiteX4921" fmla="*/ 358910 w 5719680"/>
                <a:gd name="connsiteY4921" fmla="*/ 4293198 h 5704395"/>
                <a:gd name="connsiteX4922" fmla="*/ 339852 w 5719680"/>
                <a:gd name="connsiteY4922" fmla="*/ 4305239 h 5704395"/>
                <a:gd name="connsiteX4923" fmla="*/ 287445 w 5719680"/>
                <a:gd name="connsiteY4923" fmla="*/ 4385095 h 5704395"/>
                <a:gd name="connsiteX4924" fmla="*/ 351922 w 5719680"/>
                <a:gd name="connsiteY4924" fmla="*/ 4425023 h 5704395"/>
                <a:gd name="connsiteX4925" fmla="*/ 401470 w 5719680"/>
                <a:gd name="connsiteY4925" fmla="*/ 4351822 h 5704395"/>
                <a:gd name="connsiteX4926" fmla="*/ 378284 w 5719680"/>
                <a:gd name="connsiteY4926" fmla="*/ 4337245 h 5704395"/>
                <a:gd name="connsiteX4927" fmla="*/ 343029 w 5719680"/>
                <a:gd name="connsiteY4927" fmla="*/ 4389848 h 5704395"/>
                <a:gd name="connsiteX4928" fmla="*/ 340805 w 5719680"/>
                <a:gd name="connsiteY4928" fmla="*/ 4393334 h 5704395"/>
                <a:gd name="connsiteX4929" fmla="*/ 336994 w 5719680"/>
                <a:gd name="connsiteY4929" fmla="*/ 4390799 h 5704395"/>
                <a:gd name="connsiteX4930" fmla="*/ 321748 w 5719680"/>
                <a:gd name="connsiteY4930" fmla="*/ 4380659 h 5704395"/>
                <a:gd name="connsiteX4931" fmla="*/ 317937 w 5719680"/>
                <a:gd name="connsiteY4931" fmla="*/ 4378124 h 5704395"/>
                <a:gd name="connsiteX4932" fmla="*/ 320478 w 5719680"/>
                <a:gd name="connsiteY4932" fmla="*/ 4374321 h 5704395"/>
                <a:gd name="connsiteX4933" fmla="*/ 357004 w 5719680"/>
                <a:gd name="connsiteY4933" fmla="*/ 4319499 h 5704395"/>
                <a:gd name="connsiteX4934" fmla="*/ 357957 w 5719680"/>
                <a:gd name="connsiteY4934" fmla="*/ 4317915 h 5704395"/>
                <a:gd name="connsiteX4935" fmla="*/ 359862 w 5719680"/>
                <a:gd name="connsiteY4935" fmla="*/ 4317598 h 5704395"/>
                <a:gd name="connsiteX4936" fmla="*/ 397024 w 5719680"/>
                <a:gd name="connsiteY4936" fmla="*/ 4311894 h 5704395"/>
                <a:gd name="connsiteX4937" fmla="*/ 398612 w 5719680"/>
                <a:gd name="connsiteY4937" fmla="*/ 4311577 h 5704395"/>
                <a:gd name="connsiteX4938" fmla="*/ 399882 w 5719680"/>
                <a:gd name="connsiteY4938" fmla="*/ 4312211 h 5704395"/>
                <a:gd name="connsiteX4939" fmla="*/ 422433 w 5719680"/>
                <a:gd name="connsiteY4939" fmla="*/ 4324569 h 5704395"/>
                <a:gd name="connsiteX4940" fmla="*/ 437679 w 5719680"/>
                <a:gd name="connsiteY4940" fmla="*/ 4309042 h 5704395"/>
                <a:gd name="connsiteX4941" fmla="*/ 375743 w 5719680"/>
                <a:gd name="connsiteY4941" fmla="*/ 4258023 h 5704395"/>
                <a:gd name="connsiteX4942" fmla="*/ 2286856 w 5719680"/>
                <a:gd name="connsiteY4942" fmla="*/ 4257389 h 5704395"/>
                <a:gd name="connsiteX4943" fmla="*/ 2253823 w 5719680"/>
                <a:gd name="connsiteY4943" fmla="*/ 4257706 h 5704395"/>
                <a:gd name="connsiteX4944" fmla="*/ 2254141 w 5719680"/>
                <a:gd name="connsiteY4944" fmla="*/ 4284642 h 5704395"/>
                <a:gd name="connsiteX4945" fmla="*/ 2227461 w 5719680"/>
                <a:gd name="connsiteY4945" fmla="*/ 4284958 h 5704395"/>
                <a:gd name="connsiteX4946" fmla="*/ 2228096 w 5719680"/>
                <a:gd name="connsiteY4946" fmla="*/ 4334393 h 5704395"/>
                <a:gd name="connsiteX4947" fmla="*/ 2258905 w 5719680"/>
                <a:gd name="connsiteY4947" fmla="*/ 4334393 h 5704395"/>
                <a:gd name="connsiteX4948" fmla="*/ 2258905 w 5719680"/>
                <a:gd name="connsiteY4948" fmla="*/ 4303655 h 5704395"/>
                <a:gd name="connsiteX4949" fmla="*/ 2261128 w 5719680"/>
                <a:gd name="connsiteY4949" fmla="*/ 4303338 h 5704395"/>
                <a:gd name="connsiteX4950" fmla="*/ 2286538 w 5719680"/>
                <a:gd name="connsiteY4950" fmla="*/ 4303338 h 5704395"/>
                <a:gd name="connsiteX4951" fmla="*/ 2286856 w 5719680"/>
                <a:gd name="connsiteY4951" fmla="*/ 4257389 h 5704395"/>
                <a:gd name="connsiteX4952" fmla="*/ 1750080 w 5719680"/>
                <a:gd name="connsiteY4952" fmla="*/ 4257072 h 5704395"/>
                <a:gd name="connsiteX4953" fmla="*/ 1745633 w 5719680"/>
                <a:gd name="connsiteY4953" fmla="*/ 4281473 h 5704395"/>
                <a:gd name="connsiteX4954" fmla="*/ 1783748 w 5719680"/>
                <a:gd name="connsiteY4954" fmla="*/ 4288444 h 5704395"/>
                <a:gd name="connsiteX4955" fmla="*/ 1788194 w 5719680"/>
                <a:gd name="connsiteY4955" fmla="*/ 4263727 h 5704395"/>
                <a:gd name="connsiteX4956" fmla="*/ 1750080 w 5719680"/>
                <a:gd name="connsiteY4956" fmla="*/ 4257072 h 5704395"/>
                <a:gd name="connsiteX4957" fmla="*/ 910296 w 5719680"/>
                <a:gd name="connsiteY4957" fmla="*/ 4256755 h 5704395"/>
                <a:gd name="connsiteX4958" fmla="*/ 944599 w 5719680"/>
                <a:gd name="connsiteY4958" fmla="*/ 4279254 h 5704395"/>
                <a:gd name="connsiteX4959" fmla="*/ 938564 w 5719680"/>
                <a:gd name="connsiteY4959" fmla="*/ 4313478 h 5704395"/>
                <a:gd name="connsiteX4960" fmla="*/ 968738 w 5719680"/>
                <a:gd name="connsiteY4960" fmla="*/ 4328055 h 5704395"/>
                <a:gd name="connsiteX4961" fmla="*/ 1003041 w 5719680"/>
                <a:gd name="connsiteY4961" fmla="*/ 4307458 h 5704395"/>
                <a:gd name="connsiteX4962" fmla="*/ 1019239 w 5719680"/>
                <a:gd name="connsiteY4962" fmla="*/ 4320767 h 5704395"/>
                <a:gd name="connsiteX4963" fmla="*/ 1018604 w 5719680"/>
                <a:gd name="connsiteY4963" fmla="*/ 4322351 h 5704395"/>
                <a:gd name="connsiteX4964" fmla="*/ 996688 w 5719680"/>
                <a:gd name="connsiteY4964" fmla="*/ 4379708 h 5704395"/>
                <a:gd name="connsiteX4965" fmla="*/ 879804 w 5719680"/>
                <a:gd name="connsiteY4965" fmla="*/ 4339463 h 5704395"/>
                <a:gd name="connsiteX4966" fmla="*/ 880440 w 5719680"/>
                <a:gd name="connsiteY4966" fmla="*/ 4337562 h 5704395"/>
                <a:gd name="connsiteX4967" fmla="*/ 891874 w 5719680"/>
                <a:gd name="connsiteY4967" fmla="*/ 4288444 h 5704395"/>
                <a:gd name="connsiteX4968" fmla="*/ 909025 w 5719680"/>
                <a:gd name="connsiteY4968" fmla="*/ 4258340 h 5704395"/>
                <a:gd name="connsiteX4969" fmla="*/ 910296 w 5719680"/>
                <a:gd name="connsiteY4969" fmla="*/ 4256755 h 5704395"/>
                <a:gd name="connsiteX4970" fmla="*/ 538047 w 5719680"/>
                <a:gd name="connsiteY4970" fmla="*/ 4254220 h 5704395"/>
                <a:gd name="connsiteX4971" fmla="*/ 572032 w 5719680"/>
                <a:gd name="connsiteY4971" fmla="*/ 4267213 h 5704395"/>
                <a:gd name="connsiteX4972" fmla="*/ 538682 w 5719680"/>
                <a:gd name="connsiteY4972" fmla="*/ 4321401 h 5704395"/>
                <a:gd name="connsiteX4973" fmla="*/ 502156 w 5719680"/>
                <a:gd name="connsiteY4973" fmla="*/ 4309042 h 5704395"/>
                <a:gd name="connsiteX4974" fmla="*/ 538047 w 5719680"/>
                <a:gd name="connsiteY4974" fmla="*/ 4254220 h 5704395"/>
                <a:gd name="connsiteX4975" fmla="*/ 2290985 w 5719680"/>
                <a:gd name="connsiteY4975" fmla="*/ 4253270 h 5704395"/>
                <a:gd name="connsiteX4976" fmla="*/ 2290667 w 5719680"/>
                <a:gd name="connsiteY4976" fmla="*/ 4307458 h 5704395"/>
                <a:gd name="connsiteX4977" fmla="*/ 2263034 w 5719680"/>
                <a:gd name="connsiteY4977" fmla="*/ 4307774 h 5704395"/>
                <a:gd name="connsiteX4978" fmla="*/ 2263034 w 5719680"/>
                <a:gd name="connsiteY4978" fmla="*/ 4338513 h 5704395"/>
                <a:gd name="connsiteX4979" fmla="*/ 2223967 w 5719680"/>
                <a:gd name="connsiteY4979" fmla="*/ 4338513 h 5704395"/>
                <a:gd name="connsiteX4980" fmla="*/ 2223332 w 5719680"/>
                <a:gd name="connsiteY4980" fmla="*/ 4280839 h 5704395"/>
                <a:gd name="connsiteX4981" fmla="*/ 2249694 w 5719680"/>
                <a:gd name="connsiteY4981" fmla="*/ 4280522 h 5704395"/>
                <a:gd name="connsiteX4982" fmla="*/ 2249694 w 5719680"/>
                <a:gd name="connsiteY4982" fmla="*/ 4253587 h 5704395"/>
                <a:gd name="connsiteX4983" fmla="*/ 2290985 w 5719680"/>
                <a:gd name="connsiteY4983" fmla="*/ 4253270 h 5704395"/>
                <a:gd name="connsiteX4984" fmla="*/ 1746904 w 5719680"/>
                <a:gd name="connsiteY4984" fmla="*/ 4252319 h 5704395"/>
                <a:gd name="connsiteX4985" fmla="*/ 1792959 w 5719680"/>
                <a:gd name="connsiteY4985" fmla="*/ 4260558 h 5704395"/>
                <a:gd name="connsiteX4986" fmla="*/ 1787241 w 5719680"/>
                <a:gd name="connsiteY4986" fmla="*/ 4293198 h 5704395"/>
                <a:gd name="connsiteX4987" fmla="*/ 1740869 w 5719680"/>
                <a:gd name="connsiteY4987" fmla="*/ 4284642 h 5704395"/>
                <a:gd name="connsiteX4988" fmla="*/ 1741187 w 5719680"/>
                <a:gd name="connsiteY4988" fmla="*/ 4282740 h 5704395"/>
                <a:gd name="connsiteX4989" fmla="*/ 1746904 w 5719680"/>
                <a:gd name="connsiteY4989" fmla="*/ 4252319 h 5704395"/>
                <a:gd name="connsiteX4990" fmla="*/ 2572712 w 5719680"/>
                <a:gd name="connsiteY4990" fmla="*/ 4251051 h 5704395"/>
                <a:gd name="connsiteX4991" fmla="*/ 2503472 w 5719680"/>
                <a:gd name="connsiteY4991" fmla="*/ 4253270 h 5704395"/>
                <a:gd name="connsiteX4992" fmla="*/ 2376742 w 5719680"/>
                <a:gd name="connsiteY4992" fmla="*/ 4257389 h 5704395"/>
                <a:gd name="connsiteX4993" fmla="*/ 2334816 w 5719680"/>
                <a:gd name="connsiteY4993" fmla="*/ 4259291 h 5704395"/>
                <a:gd name="connsiteX4994" fmla="*/ 2331958 w 5719680"/>
                <a:gd name="connsiteY4994" fmla="*/ 4259291 h 5704395"/>
                <a:gd name="connsiteX4995" fmla="*/ 2333228 w 5719680"/>
                <a:gd name="connsiteY4995" fmla="*/ 4284958 h 5704395"/>
                <a:gd name="connsiteX4996" fmla="*/ 2342121 w 5719680"/>
                <a:gd name="connsiteY4996" fmla="*/ 4353723 h 5704395"/>
                <a:gd name="connsiteX4997" fmla="*/ 2401516 w 5719680"/>
                <a:gd name="connsiteY4997" fmla="*/ 4351505 h 5704395"/>
                <a:gd name="connsiteX4998" fmla="*/ 2401516 w 5719680"/>
                <a:gd name="connsiteY4998" fmla="*/ 4257072 h 5704395"/>
                <a:gd name="connsiteX4999" fmla="*/ 2405963 w 5719680"/>
                <a:gd name="connsiteY4999" fmla="*/ 4257072 h 5704395"/>
                <a:gd name="connsiteX5000" fmla="*/ 2405963 w 5719680"/>
                <a:gd name="connsiteY5000" fmla="*/ 4351188 h 5704395"/>
                <a:gd name="connsiteX5001" fmla="*/ 2459323 w 5719680"/>
                <a:gd name="connsiteY5001" fmla="*/ 4349287 h 5704395"/>
                <a:gd name="connsiteX5002" fmla="*/ 2459323 w 5719680"/>
                <a:gd name="connsiteY5002" fmla="*/ 4257072 h 5704395"/>
                <a:gd name="connsiteX5003" fmla="*/ 2463769 w 5719680"/>
                <a:gd name="connsiteY5003" fmla="*/ 4257072 h 5704395"/>
                <a:gd name="connsiteX5004" fmla="*/ 2463769 w 5719680"/>
                <a:gd name="connsiteY5004" fmla="*/ 4348970 h 5704395"/>
                <a:gd name="connsiteX5005" fmla="*/ 2517129 w 5719680"/>
                <a:gd name="connsiteY5005" fmla="*/ 4346752 h 5704395"/>
                <a:gd name="connsiteX5006" fmla="*/ 2517129 w 5719680"/>
                <a:gd name="connsiteY5006" fmla="*/ 4254220 h 5704395"/>
                <a:gd name="connsiteX5007" fmla="*/ 2521576 w 5719680"/>
                <a:gd name="connsiteY5007" fmla="*/ 4254220 h 5704395"/>
                <a:gd name="connsiteX5008" fmla="*/ 2521576 w 5719680"/>
                <a:gd name="connsiteY5008" fmla="*/ 4346752 h 5704395"/>
                <a:gd name="connsiteX5009" fmla="*/ 2572712 w 5719680"/>
                <a:gd name="connsiteY5009" fmla="*/ 4344533 h 5704395"/>
                <a:gd name="connsiteX5010" fmla="*/ 2572712 w 5719680"/>
                <a:gd name="connsiteY5010" fmla="*/ 4251051 h 5704395"/>
                <a:gd name="connsiteX5011" fmla="*/ 374155 w 5719680"/>
                <a:gd name="connsiteY5011" fmla="*/ 4250735 h 5704395"/>
                <a:gd name="connsiteX5012" fmla="*/ 444349 w 5719680"/>
                <a:gd name="connsiteY5012" fmla="*/ 4308725 h 5704395"/>
                <a:gd name="connsiteX5013" fmla="*/ 423069 w 5719680"/>
                <a:gd name="connsiteY5013" fmla="*/ 4330273 h 5704395"/>
                <a:gd name="connsiteX5014" fmla="*/ 397659 w 5719680"/>
                <a:gd name="connsiteY5014" fmla="*/ 4316013 h 5704395"/>
                <a:gd name="connsiteX5015" fmla="*/ 360498 w 5719680"/>
                <a:gd name="connsiteY5015" fmla="*/ 4322034 h 5704395"/>
                <a:gd name="connsiteX5016" fmla="*/ 324289 w 5719680"/>
                <a:gd name="connsiteY5016" fmla="*/ 4376856 h 5704395"/>
                <a:gd name="connsiteX5017" fmla="*/ 339535 w 5719680"/>
                <a:gd name="connsiteY5017" fmla="*/ 4387313 h 5704395"/>
                <a:gd name="connsiteX5018" fmla="*/ 377014 w 5719680"/>
                <a:gd name="connsiteY5018" fmla="*/ 4331224 h 5704395"/>
                <a:gd name="connsiteX5019" fmla="*/ 407505 w 5719680"/>
                <a:gd name="connsiteY5019" fmla="*/ 4350554 h 5704395"/>
                <a:gd name="connsiteX5020" fmla="*/ 353192 w 5719680"/>
                <a:gd name="connsiteY5020" fmla="*/ 4431044 h 5704395"/>
                <a:gd name="connsiteX5021" fmla="*/ 281093 w 5719680"/>
                <a:gd name="connsiteY5021" fmla="*/ 4386363 h 5704395"/>
                <a:gd name="connsiteX5022" fmla="*/ 336676 w 5719680"/>
                <a:gd name="connsiteY5022" fmla="*/ 4301754 h 5704395"/>
                <a:gd name="connsiteX5023" fmla="*/ 356369 w 5719680"/>
                <a:gd name="connsiteY5023" fmla="*/ 4289395 h 5704395"/>
                <a:gd name="connsiteX5024" fmla="*/ 374155 w 5719680"/>
                <a:gd name="connsiteY5024" fmla="*/ 4250735 h 5704395"/>
                <a:gd name="connsiteX5025" fmla="*/ 1856482 w 5719680"/>
                <a:gd name="connsiteY5025" fmla="*/ 4250101 h 5704395"/>
                <a:gd name="connsiteX5026" fmla="*/ 1848224 w 5719680"/>
                <a:gd name="connsiteY5026" fmla="*/ 4312845 h 5704395"/>
                <a:gd name="connsiteX5027" fmla="*/ 2033078 w 5719680"/>
                <a:gd name="connsiteY5027" fmla="*/ 4327105 h 5704395"/>
                <a:gd name="connsiteX5028" fmla="*/ 2039748 w 5719680"/>
                <a:gd name="connsiteY5028" fmla="*/ 4264361 h 5704395"/>
                <a:gd name="connsiteX5029" fmla="*/ 1242525 w 5719680"/>
                <a:gd name="connsiteY5029" fmla="*/ 4249784 h 5704395"/>
                <a:gd name="connsiteX5030" fmla="*/ 1150733 w 5719680"/>
                <a:gd name="connsiteY5030" fmla="*/ 4263727 h 5704395"/>
                <a:gd name="connsiteX5031" fmla="*/ 1139934 w 5719680"/>
                <a:gd name="connsiteY5031" fmla="*/ 4438649 h 5704395"/>
                <a:gd name="connsiteX5032" fmla="*/ 1327012 w 5719680"/>
                <a:gd name="connsiteY5032" fmla="*/ 4506146 h 5704395"/>
                <a:gd name="connsiteX5033" fmla="*/ 1300967 w 5719680"/>
                <a:gd name="connsiteY5033" fmla="*/ 4461782 h 5704395"/>
                <a:gd name="connsiteX5034" fmla="*/ 1307319 w 5719680"/>
                <a:gd name="connsiteY5034" fmla="*/ 4431361 h 5704395"/>
                <a:gd name="connsiteX5035" fmla="*/ 1242525 w 5719680"/>
                <a:gd name="connsiteY5035" fmla="*/ 4361645 h 5704395"/>
                <a:gd name="connsiteX5036" fmla="*/ 1242525 w 5719680"/>
                <a:gd name="connsiteY5036" fmla="*/ 4249784 h 5704395"/>
                <a:gd name="connsiteX5037" fmla="*/ 2626708 w 5719680"/>
                <a:gd name="connsiteY5037" fmla="*/ 4249467 h 5704395"/>
                <a:gd name="connsiteX5038" fmla="*/ 2577159 w 5719680"/>
                <a:gd name="connsiteY5038" fmla="*/ 4251051 h 5704395"/>
                <a:gd name="connsiteX5039" fmla="*/ 2577159 w 5719680"/>
                <a:gd name="connsiteY5039" fmla="*/ 4315697 h 5704395"/>
                <a:gd name="connsiteX5040" fmla="*/ 2578747 w 5719680"/>
                <a:gd name="connsiteY5040" fmla="*/ 4315697 h 5704395"/>
                <a:gd name="connsiteX5041" fmla="*/ 2624802 w 5719680"/>
                <a:gd name="connsiteY5041" fmla="*/ 4314746 h 5704395"/>
                <a:gd name="connsiteX5042" fmla="*/ 2625437 w 5719680"/>
                <a:gd name="connsiteY5042" fmla="*/ 4337245 h 5704395"/>
                <a:gd name="connsiteX5043" fmla="*/ 2577159 w 5719680"/>
                <a:gd name="connsiteY5043" fmla="*/ 4338196 h 5704395"/>
                <a:gd name="connsiteX5044" fmla="*/ 2577159 w 5719680"/>
                <a:gd name="connsiteY5044" fmla="*/ 4344533 h 5704395"/>
                <a:gd name="connsiteX5045" fmla="*/ 2626708 w 5719680"/>
                <a:gd name="connsiteY5045" fmla="*/ 4342632 h 5704395"/>
                <a:gd name="connsiteX5046" fmla="*/ 2626708 w 5719680"/>
                <a:gd name="connsiteY5046" fmla="*/ 4249467 h 5704395"/>
                <a:gd name="connsiteX5047" fmla="*/ 1455965 w 5719680"/>
                <a:gd name="connsiteY5047" fmla="*/ 4248199 h 5704395"/>
                <a:gd name="connsiteX5048" fmla="*/ 1447072 w 5719680"/>
                <a:gd name="connsiteY5048" fmla="*/ 4304606 h 5704395"/>
                <a:gd name="connsiteX5049" fmla="*/ 1436273 w 5719680"/>
                <a:gd name="connsiteY5049" fmla="*/ 4379708 h 5704395"/>
                <a:gd name="connsiteX5050" fmla="*/ 1423885 w 5719680"/>
                <a:gd name="connsiteY5050" fmla="*/ 4456078 h 5704395"/>
                <a:gd name="connsiteX5051" fmla="*/ 1405464 w 5719680"/>
                <a:gd name="connsiteY5051" fmla="*/ 4500759 h 5704395"/>
                <a:gd name="connsiteX5052" fmla="*/ 1395617 w 5719680"/>
                <a:gd name="connsiteY5052" fmla="*/ 4514385 h 5704395"/>
                <a:gd name="connsiteX5053" fmla="*/ 1488680 w 5719680"/>
                <a:gd name="connsiteY5053" fmla="*/ 4515653 h 5704395"/>
                <a:gd name="connsiteX5054" fmla="*/ 1490585 w 5719680"/>
                <a:gd name="connsiteY5054" fmla="*/ 4515653 h 5704395"/>
                <a:gd name="connsiteX5055" fmla="*/ 1498208 w 5719680"/>
                <a:gd name="connsiteY5055" fmla="*/ 4401256 h 5704395"/>
                <a:gd name="connsiteX5056" fmla="*/ 1505196 w 5719680"/>
                <a:gd name="connsiteY5056" fmla="*/ 4293514 h 5704395"/>
                <a:gd name="connsiteX5057" fmla="*/ 1455965 w 5719680"/>
                <a:gd name="connsiteY5057" fmla="*/ 4248199 h 5704395"/>
                <a:gd name="connsiteX5058" fmla="*/ 2685467 w 5719680"/>
                <a:gd name="connsiteY5058" fmla="*/ 4247566 h 5704395"/>
                <a:gd name="connsiteX5059" fmla="*/ 2631154 w 5719680"/>
                <a:gd name="connsiteY5059" fmla="*/ 4249150 h 5704395"/>
                <a:gd name="connsiteX5060" fmla="*/ 2631154 w 5719680"/>
                <a:gd name="connsiteY5060" fmla="*/ 4342315 h 5704395"/>
                <a:gd name="connsiteX5061" fmla="*/ 2685467 w 5719680"/>
                <a:gd name="connsiteY5061" fmla="*/ 4340097 h 5704395"/>
                <a:gd name="connsiteX5062" fmla="*/ 2685467 w 5719680"/>
                <a:gd name="connsiteY5062" fmla="*/ 4247566 h 5704395"/>
                <a:gd name="connsiteX5063" fmla="*/ 1671946 w 5719680"/>
                <a:gd name="connsiteY5063" fmla="*/ 4246615 h 5704395"/>
                <a:gd name="connsiteX5064" fmla="*/ 1614457 w 5719680"/>
                <a:gd name="connsiteY5064" fmla="*/ 4273234 h 5704395"/>
                <a:gd name="connsiteX5065" fmla="*/ 1595400 w 5719680"/>
                <a:gd name="connsiteY5065" fmla="*/ 4383827 h 5704395"/>
                <a:gd name="connsiteX5066" fmla="*/ 1596035 w 5719680"/>
                <a:gd name="connsiteY5066" fmla="*/ 4393968 h 5704395"/>
                <a:gd name="connsiteX5067" fmla="*/ 1625256 w 5719680"/>
                <a:gd name="connsiteY5067" fmla="*/ 4371152 h 5704395"/>
                <a:gd name="connsiteX5068" fmla="*/ 1631291 w 5719680"/>
                <a:gd name="connsiteY5068" fmla="*/ 4341681 h 5704395"/>
                <a:gd name="connsiteX5069" fmla="*/ 1631926 w 5719680"/>
                <a:gd name="connsiteY5069" fmla="*/ 4337879 h 5704395"/>
                <a:gd name="connsiteX5070" fmla="*/ 1636055 w 5719680"/>
                <a:gd name="connsiteY5070" fmla="*/ 4338196 h 5704395"/>
                <a:gd name="connsiteX5071" fmla="*/ 1649395 w 5719680"/>
                <a:gd name="connsiteY5071" fmla="*/ 4339146 h 5704395"/>
                <a:gd name="connsiteX5072" fmla="*/ 1658923 w 5719680"/>
                <a:gd name="connsiteY5072" fmla="*/ 4321084 h 5704395"/>
                <a:gd name="connsiteX5073" fmla="*/ 1641772 w 5719680"/>
                <a:gd name="connsiteY5073" fmla="*/ 4313478 h 5704395"/>
                <a:gd name="connsiteX5074" fmla="*/ 1638913 w 5719680"/>
                <a:gd name="connsiteY5074" fmla="*/ 4312211 h 5704395"/>
                <a:gd name="connsiteX5075" fmla="*/ 1638913 w 5719680"/>
                <a:gd name="connsiteY5075" fmla="*/ 4309042 h 5704395"/>
                <a:gd name="connsiteX5076" fmla="*/ 1640819 w 5719680"/>
                <a:gd name="connsiteY5076" fmla="*/ 4287494 h 5704395"/>
                <a:gd name="connsiteX5077" fmla="*/ 1641137 w 5719680"/>
                <a:gd name="connsiteY5077" fmla="*/ 4285592 h 5704395"/>
                <a:gd name="connsiteX5078" fmla="*/ 1642725 w 5719680"/>
                <a:gd name="connsiteY5078" fmla="*/ 4284642 h 5704395"/>
                <a:gd name="connsiteX5079" fmla="*/ 1665276 w 5719680"/>
                <a:gd name="connsiteY5079" fmla="*/ 4266262 h 5704395"/>
                <a:gd name="connsiteX5080" fmla="*/ 1670040 w 5719680"/>
                <a:gd name="connsiteY5080" fmla="*/ 4262143 h 5704395"/>
                <a:gd name="connsiteX5081" fmla="*/ 1672263 w 5719680"/>
                <a:gd name="connsiteY5081" fmla="*/ 4268163 h 5704395"/>
                <a:gd name="connsiteX5082" fmla="*/ 1678616 w 5719680"/>
                <a:gd name="connsiteY5082" fmla="*/ 4286543 h 5704395"/>
                <a:gd name="connsiteX5083" fmla="*/ 1686874 w 5719680"/>
                <a:gd name="connsiteY5083" fmla="*/ 4251051 h 5704395"/>
                <a:gd name="connsiteX5084" fmla="*/ 1671946 w 5719680"/>
                <a:gd name="connsiteY5084" fmla="*/ 4246615 h 5704395"/>
                <a:gd name="connsiteX5085" fmla="*/ 1730070 w 5719680"/>
                <a:gd name="connsiteY5085" fmla="*/ 4243129 h 5704395"/>
                <a:gd name="connsiteX5086" fmla="*/ 1722447 w 5719680"/>
                <a:gd name="connsiteY5086" fmla="*/ 4288127 h 5704395"/>
                <a:gd name="connsiteX5087" fmla="*/ 1758973 w 5719680"/>
                <a:gd name="connsiteY5087" fmla="*/ 4295416 h 5704395"/>
                <a:gd name="connsiteX5088" fmla="*/ 1800264 w 5719680"/>
                <a:gd name="connsiteY5088" fmla="*/ 4302704 h 5704395"/>
                <a:gd name="connsiteX5089" fmla="*/ 1805663 w 5719680"/>
                <a:gd name="connsiteY5089" fmla="*/ 4255171 h 5704395"/>
                <a:gd name="connsiteX5090" fmla="*/ 1769455 w 5719680"/>
                <a:gd name="connsiteY5090" fmla="*/ 4249784 h 5704395"/>
                <a:gd name="connsiteX5091" fmla="*/ 1730070 w 5719680"/>
                <a:gd name="connsiteY5091" fmla="*/ 4243129 h 5704395"/>
                <a:gd name="connsiteX5092" fmla="*/ 1671628 w 5719680"/>
                <a:gd name="connsiteY5092" fmla="*/ 4241862 h 5704395"/>
                <a:gd name="connsiteX5093" fmla="*/ 1692273 w 5719680"/>
                <a:gd name="connsiteY5093" fmla="*/ 4247883 h 5704395"/>
                <a:gd name="connsiteX5094" fmla="*/ 1679569 w 5719680"/>
                <a:gd name="connsiteY5094" fmla="*/ 4302387 h 5704395"/>
                <a:gd name="connsiteX5095" fmla="*/ 1668134 w 5719680"/>
                <a:gd name="connsiteY5095" fmla="*/ 4269748 h 5704395"/>
                <a:gd name="connsiteX5096" fmla="*/ 1645266 w 5719680"/>
                <a:gd name="connsiteY5096" fmla="*/ 4288127 h 5704395"/>
                <a:gd name="connsiteX5097" fmla="*/ 1643360 w 5719680"/>
                <a:gd name="connsiteY5097" fmla="*/ 4309359 h 5704395"/>
                <a:gd name="connsiteX5098" fmla="*/ 1665276 w 5719680"/>
                <a:gd name="connsiteY5098" fmla="*/ 4318865 h 5704395"/>
                <a:gd name="connsiteX5099" fmla="*/ 1651936 w 5719680"/>
                <a:gd name="connsiteY5099" fmla="*/ 4343900 h 5704395"/>
                <a:gd name="connsiteX5100" fmla="*/ 1635737 w 5719680"/>
                <a:gd name="connsiteY5100" fmla="*/ 4342632 h 5704395"/>
                <a:gd name="connsiteX5101" fmla="*/ 1629067 w 5719680"/>
                <a:gd name="connsiteY5101" fmla="*/ 4373687 h 5704395"/>
                <a:gd name="connsiteX5102" fmla="*/ 1591906 w 5719680"/>
                <a:gd name="connsiteY5102" fmla="*/ 4402841 h 5704395"/>
                <a:gd name="connsiteX5103" fmla="*/ 1590953 w 5719680"/>
                <a:gd name="connsiteY5103" fmla="*/ 4383827 h 5704395"/>
                <a:gd name="connsiteX5104" fmla="*/ 1610645 w 5719680"/>
                <a:gd name="connsiteY5104" fmla="*/ 4270382 h 5704395"/>
                <a:gd name="connsiteX5105" fmla="*/ 1671628 w 5719680"/>
                <a:gd name="connsiteY5105" fmla="*/ 4241862 h 5704395"/>
                <a:gd name="connsiteX5106" fmla="*/ 526612 w 5719680"/>
                <a:gd name="connsiteY5106" fmla="*/ 4238376 h 5704395"/>
                <a:gd name="connsiteX5107" fmla="*/ 509143 w 5719680"/>
                <a:gd name="connsiteY5107" fmla="*/ 4265311 h 5704395"/>
                <a:gd name="connsiteX5108" fmla="*/ 490721 w 5719680"/>
                <a:gd name="connsiteY5108" fmla="*/ 4294148 h 5704395"/>
                <a:gd name="connsiteX5109" fmla="*/ 490404 w 5719680"/>
                <a:gd name="connsiteY5109" fmla="*/ 4294465 h 5704395"/>
                <a:gd name="connsiteX5110" fmla="*/ 431327 w 5719680"/>
                <a:gd name="connsiteY5110" fmla="*/ 4375588 h 5704395"/>
                <a:gd name="connsiteX5111" fmla="*/ 486592 w 5719680"/>
                <a:gd name="connsiteY5111" fmla="*/ 4394285 h 5704395"/>
                <a:gd name="connsiteX5112" fmla="*/ 506602 w 5719680"/>
                <a:gd name="connsiteY5112" fmla="*/ 4406327 h 5704395"/>
                <a:gd name="connsiteX5113" fmla="*/ 597759 w 5719680"/>
                <a:gd name="connsiteY5113" fmla="*/ 4264361 h 5704395"/>
                <a:gd name="connsiteX5114" fmla="*/ 526612 w 5719680"/>
                <a:gd name="connsiteY5114" fmla="*/ 4238376 h 5704395"/>
                <a:gd name="connsiteX5115" fmla="*/ 971279 w 5719680"/>
                <a:gd name="connsiteY5115" fmla="*/ 4235207 h 5704395"/>
                <a:gd name="connsiteX5116" fmla="*/ 950951 w 5719680"/>
                <a:gd name="connsiteY5116" fmla="*/ 4239327 h 5704395"/>
                <a:gd name="connsiteX5117" fmla="*/ 924589 w 5719680"/>
                <a:gd name="connsiteY5117" fmla="*/ 4247883 h 5704395"/>
                <a:gd name="connsiteX5118" fmla="*/ 938881 w 5719680"/>
                <a:gd name="connsiteY5118" fmla="*/ 4256439 h 5704395"/>
                <a:gd name="connsiteX5119" fmla="*/ 953174 w 5719680"/>
                <a:gd name="connsiteY5119" fmla="*/ 4264678 h 5704395"/>
                <a:gd name="connsiteX5120" fmla="*/ 978584 w 5719680"/>
                <a:gd name="connsiteY5120" fmla="*/ 4255488 h 5704395"/>
                <a:gd name="connsiteX5121" fmla="*/ 1023050 w 5719680"/>
                <a:gd name="connsiteY5121" fmla="*/ 4304289 h 5704395"/>
                <a:gd name="connsiteX5122" fmla="*/ 1035438 w 5719680"/>
                <a:gd name="connsiteY5122" fmla="*/ 4278304 h 5704395"/>
                <a:gd name="connsiteX5123" fmla="*/ 971279 w 5719680"/>
                <a:gd name="connsiteY5123" fmla="*/ 4235207 h 5704395"/>
                <a:gd name="connsiteX5124" fmla="*/ 362086 w 5719680"/>
                <a:gd name="connsiteY5124" fmla="*/ 4234256 h 5704395"/>
                <a:gd name="connsiteX5125" fmla="*/ 271247 w 5719680"/>
                <a:gd name="connsiteY5125" fmla="*/ 4387630 h 5704395"/>
                <a:gd name="connsiteX5126" fmla="*/ 355098 w 5719680"/>
                <a:gd name="connsiteY5126" fmla="*/ 4439917 h 5704395"/>
                <a:gd name="connsiteX5127" fmla="*/ 355416 w 5719680"/>
                <a:gd name="connsiteY5127" fmla="*/ 4439600 h 5704395"/>
                <a:gd name="connsiteX5128" fmla="*/ 357321 w 5719680"/>
                <a:gd name="connsiteY5128" fmla="*/ 4436748 h 5704395"/>
                <a:gd name="connsiteX5129" fmla="*/ 393848 w 5719680"/>
                <a:gd name="connsiteY5129" fmla="*/ 4389848 h 5704395"/>
                <a:gd name="connsiteX5130" fmla="*/ 451019 w 5719680"/>
                <a:gd name="connsiteY5130" fmla="*/ 4311260 h 5704395"/>
                <a:gd name="connsiteX5131" fmla="*/ 363356 w 5719680"/>
                <a:gd name="connsiteY5131" fmla="*/ 4235207 h 5704395"/>
                <a:gd name="connsiteX5132" fmla="*/ 362086 w 5719680"/>
                <a:gd name="connsiteY5132" fmla="*/ 4234256 h 5704395"/>
                <a:gd name="connsiteX5133" fmla="*/ 1680521 w 5719680"/>
                <a:gd name="connsiteY5133" fmla="*/ 4233306 h 5704395"/>
                <a:gd name="connsiteX5134" fmla="*/ 1603022 w 5719680"/>
                <a:gd name="connsiteY5134" fmla="*/ 4233623 h 5704395"/>
                <a:gd name="connsiteX5135" fmla="*/ 1603022 w 5719680"/>
                <a:gd name="connsiteY5135" fmla="*/ 4233940 h 5704395"/>
                <a:gd name="connsiteX5136" fmla="*/ 1600482 w 5719680"/>
                <a:gd name="connsiteY5136" fmla="*/ 4261509 h 5704395"/>
                <a:gd name="connsiteX5137" fmla="*/ 1593176 w 5719680"/>
                <a:gd name="connsiteY5137" fmla="*/ 4315697 h 5704395"/>
                <a:gd name="connsiteX5138" fmla="*/ 1583648 w 5719680"/>
                <a:gd name="connsiteY5138" fmla="*/ 4392067 h 5704395"/>
                <a:gd name="connsiteX5139" fmla="*/ 1583330 w 5719680"/>
                <a:gd name="connsiteY5139" fmla="*/ 4407277 h 5704395"/>
                <a:gd name="connsiteX5140" fmla="*/ 1584283 w 5719680"/>
                <a:gd name="connsiteY5140" fmla="*/ 4424072 h 5704395"/>
                <a:gd name="connsiteX5141" fmla="*/ 1584283 w 5719680"/>
                <a:gd name="connsiteY5141" fmla="*/ 4425657 h 5704395"/>
                <a:gd name="connsiteX5142" fmla="*/ 1584918 w 5719680"/>
                <a:gd name="connsiteY5142" fmla="*/ 4430727 h 5704395"/>
                <a:gd name="connsiteX5143" fmla="*/ 1616045 w 5719680"/>
                <a:gd name="connsiteY5143" fmla="*/ 4407277 h 5704395"/>
                <a:gd name="connsiteX5144" fmla="*/ 1640819 w 5719680"/>
                <a:gd name="connsiteY5144" fmla="*/ 4388581 h 5704395"/>
                <a:gd name="connsiteX5145" fmla="*/ 1649395 w 5719680"/>
                <a:gd name="connsiteY5145" fmla="*/ 4382243 h 5704395"/>
                <a:gd name="connsiteX5146" fmla="*/ 1651618 w 5719680"/>
                <a:gd name="connsiteY5146" fmla="*/ 4380659 h 5704395"/>
                <a:gd name="connsiteX5147" fmla="*/ 1652571 w 5719680"/>
                <a:gd name="connsiteY5147" fmla="*/ 4380025 h 5704395"/>
                <a:gd name="connsiteX5148" fmla="*/ 1661464 w 5719680"/>
                <a:gd name="connsiteY5148" fmla="*/ 4364497 h 5704395"/>
                <a:gd name="connsiteX5149" fmla="*/ 1704343 w 5719680"/>
                <a:gd name="connsiteY5149" fmla="*/ 4286543 h 5704395"/>
                <a:gd name="connsiteX5150" fmla="*/ 1704978 w 5719680"/>
                <a:gd name="connsiteY5150" fmla="*/ 4284958 h 5704395"/>
                <a:gd name="connsiteX5151" fmla="*/ 1717365 w 5719680"/>
                <a:gd name="connsiteY5151" fmla="*/ 4286543 h 5704395"/>
                <a:gd name="connsiteX5152" fmla="*/ 1724988 w 5719680"/>
                <a:gd name="connsiteY5152" fmla="*/ 4242495 h 5704395"/>
                <a:gd name="connsiteX5153" fmla="*/ 1680521 w 5719680"/>
                <a:gd name="connsiteY5153" fmla="*/ 4233306 h 5704395"/>
                <a:gd name="connsiteX5154" fmla="*/ 971279 w 5719680"/>
                <a:gd name="connsiteY5154" fmla="*/ 4230454 h 5704395"/>
                <a:gd name="connsiteX5155" fmla="*/ 972231 w 5719680"/>
                <a:gd name="connsiteY5155" fmla="*/ 4230454 h 5704395"/>
                <a:gd name="connsiteX5156" fmla="*/ 1041472 w 5719680"/>
                <a:gd name="connsiteY5156" fmla="*/ 4276719 h 5704395"/>
                <a:gd name="connsiteX5157" fmla="*/ 1040520 w 5719680"/>
                <a:gd name="connsiteY5157" fmla="*/ 4278621 h 5704395"/>
                <a:gd name="connsiteX5158" fmla="*/ 1024321 w 5719680"/>
                <a:gd name="connsiteY5158" fmla="*/ 4312528 h 5704395"/>
                <a:gd name="connsiteX5159" fmla="*/ 977313 w 5719680"/>
                <a:gd name="connsiteY5159" fmla="*/ 4260875 h 5704395"/>
                <a:gd name="connsiteX5160" fmla="*/ 952857 w 5719680"/>
                <a:gd name="connsiteY5160" fmla="*/ 4269748 h 5704395"/>
                <a:gd name="connsiteX5161" fmla="*/ 951904 w 5719680"/>
                <a:gd name="connsiteY5161" fmla="*/ 4269114 h 5704395"/>
                <a:gd name="connsiteX5162" fmla="*/ 935705 w 5719680"/>
                <a:gd name="connsiteY5162" fmla="*/ 4259924 h 5704395"/>
                <a:gd name="connsiteX5163" fmla="*/ 924589 w 5719680"/>
                <a:gd name="connsiteY5163" fmla="*/ 4253270 h 5704395"/>
                <a:gd name="connsiteX5164" fmla="*/ 920777 w 5719680"/>
                <a:gd name="connsiteY5164" fmla="*/ 4250735 h 5704395"/>
                <a:gd name="connsiteX5165" fmla="*/ 919507 w 5719680"/>
                <a:gd name="connsiteY5165" fmla="*/ 4250101 h 5704395"/>
                <a:gd name="connsiteX5166" fmla="*/ 918236 w 5719680"/>
                <a:gd name="connsiteY5166" fmla="*/ 4248516 h 5704395"/>
                <a:gd name="connsiteX5167" fmla="*/ 917601 w 5719680"/>
                <a:gd name="connsiteY5167" fmla="*/ 4246932 h 5704395"/>
                <a:gd name="connsiteX5168" fmla="*/ 919189 w 5719680"/>
                <a:gd name="connsiteY5168" fmla="*/ 4245981 h 5704395"/>
                <a:gd name="connsiteX5169" fmla="*/ 971279 w 5719680"/>
                <a:gd name="connsiteY5169" fmla="*/ 4230454 h 5704395"/>
                <a:gd name="connsiteX5170" fmla="*/ 2064522 w 5719680"/>
                <a:gd name="connsiteY5170" fmla="*/ 4229186 h 5704395"/>
                <a:gd name="connsiteX5171" fmla="*/ 2047371 w 5719680"/>
                <a:gd name="connsiteY5171" fmla="*/ 4387630 h 5704395"/>
                <a:gd name="connsiteX5172" fmla="*/ 2172830 w 5719680"/>
                <a:gd name="connsiteY5172" fmla="*/ 4368617 h 5704395"/>
                <a:gd name="connsiteX5173" fmla="*/ 2190935 w 5719680"/>
                <a:gd name="connsiteY5173" fmla="*/ 4365765 h 5704395"/>
                <a:gd name="connsiteX5174" fmla="*/ 2171242 w 5719680"/>
                <a:gd name="connsiteY5174" fmla="*/ 4244397 h 5704395"/>
                <a:gd name="connsiteX5175" fmla="*/ 2112800 w 5719680"/>
                <a:gd name="connsiteY5175" fmla="*/ 4235841 h 5704395"/>
                <a:gd name="connsiteX5176" fmla="*/ 2064522 w 5719680"/>
                <a:gd name="connsiteY5176" fmla="*/ 4229186 h 5704395"/>
                <a:gd name="connsiteX5177" fmla="*/ 974137 w 5719680"/>
                <a:gd name="connsiteY5177" fmla="*/ 4222532 h 5704395"/>
                <a:gd name="connsiteX5178" fmla="*/ 941740 w 5719680"/>
                <a:gd name="connsiteY5178" fmla="*/ 4230771 h 5704395"/>
                <a:gd name="connsiteX5179" fmla="*/ 901402 w 5719680"/>
                <a:gd name="connsiteY5179" fmla="*/ 4253903 h 5704395"/>
                <a:gd name="connsiteX5180" fmla="*/ 876946 w 5719680"/>
                <a:gd name="connsiteY5180" fmla="*/ 4316013 h 5704395"/>
                <a:gd name="connsiteX5181" fmla="*/ 871229 w 5719680"/>
                <a:gd name="connsiteY5181" fmla="*/ 4341365 h 5704395"/>
                <a:gd name="connsiteX5182" fmla="*/ 1004311 w 5719680"/>
                <a:gd name="connsiteY5182" fmla="*/ 4389531 h 5704395"/>
                <a:gd name="connsiteX5183" fmla="*/ 1052271 w 5719680"/>
                <a:gd name="connsiteY5183" fmla="*/ 4275135 h 5704395"/>
                <a:gd name="connsiteX5184" fmla="*/ 1051636 w 5719680"/>
                <a:gd name="connsiteY5184" fmla="*/ 4274818 h 5704395"/>
                <a:gd name="connsiteX5185" fmla="*/ 974137 w 5719680"/>
                <a:gd name="connsiteY5185" fmla="*/ 4222532 h 5704395"/>
                <a:gd name="connsiteX5186" fmla="*/ 1053542 w 5719680"/>
                <a:gd name="connsiteY5186" fmla="*/ 4220313 h 5704395"/>
                <a:gd name="connsiteX5187" fmla="*/ 1006852 w 5719680"/>
                <a:gd name="connsiteY5187" fmla="*/ 4226968 h 5704395"/>
                <a:gd name="connsiteX5188" fmla="*/ 1058624 w 5719680"/>
                <a:gd name="connsiteY5188" fmla="*/ 4261826 h 5704395"/>
                <a:gd name="connsiteX5189" fmla="*/ 1203140 w 5719680"/>
                <a:gd name="connsiteY5189" fmla="*/ 4239643 h 5704395"/>
                <a:gd name="connsiteX5190" fmla="*/ 1189165 w 5719680"/>
                <a:gd name="connsiteY5190" fmla="*/ 4234573 h 5704395"/>
                <a:gd name="connsiteX5191" fmla="*/ 1072599 w 5719680"/>
                <a:gd name="connsiteY5191" fmla="*/ 4238693 h 5704395"/>
                <a:gd name="connsiteX5192" fmla="*/ 1053542 w 5719680"/>
                <a:gd name="connsiteY5192" fmla="*/ 4220313 h 5704395"/>
                <a:gd name="connsiteX5193" fmla="*/ 86075 w 5719680"/>
                <a:gd name="connsiteY5193" fmla="*/ 4219363 h 5704395"/>
                <a:gd name="connsiteX5194" fmla="*/ 50819 w 5719680"/>
                <a:gd name="connsiteY5194" fmla="*/ 4273234 h 5704395"/>
                <a:gd name="connsiteX5195" fmla="*/ 77182 w 5719680"/>
                <a:gd name="connsiteY5195" fmla="*/ 4320133 h 5704395"/>
                <a:gd name="connsiteX5196" fmla="*/ 176596 w 5719680"/>
                <a:gd name="connsiteY5196" fmla="*/ 4329006 h 5704395"/>
                <a:gd name="connsiteX5197" fmla="*/ 174055 w 5719680"/>
                <a:gd name="connsiteY5197" fmla="*/ 4314746 h 5704395"/>
                <a:gd name="connsiteX5198" fmla="*/ 174373 w 5719680"/>
                <a:gd name="connsiteY5198" fmla="*/ 4310309 h 5704395"/>
                <a:gd name="connsiteX5199" fmla="*/ 184537 w 5719680"/>
                <a:gd name="connsiteY5199" fmla="*/ 4254854 h 5704395"/>
                <a:gd name="connsiteX5200" fmla="*/ 86075 w 5719680"/>
                <a:gd name="connsiteY5200" fmla="*/ 4219363 h 5704395"/>
                <a:gd name="connsiteX5201" fmla="*/ 1055130 w 5719680"/>
                <a:gd name="connsiteY5201" fmla="*/ 4215243 h 5704395"/>
                <a:gd name="connsiteX5202" fmla="*/ 1074505 w 5719680"/>
                <a:gd name="connsiteY5202" fmla="*/ 4233940 h 5704395"/>
                <a:gd name="connsiteX5203" fmla="*/ 1189800 w 5719680"/>
                <a:gd name="connsiteY5203" fmla="*/ 4229820 h 5704395"/>
                <a:gd name="connsiteX5204" fmla="*/ 1190436 w 5719680"/>
                <a:gd name="connsiteY5204" fmla="*/ 4230137 h 5704395"/>
                <a:gd name="connsiteX5205" fmla="*/ 1221562 w 5719680"/>
                <a:gd name="connsiteY5205" fmla="*/ 4241545 h 5704395"/>
                <a:gd name="connsiteX5206" fmla="*/ 1057353 w 5719680"/>
                <a:gd name="connsiteY5206" fmla="*/ 4266579 h 5704395"/>
                <a:gd name="connsiteX5207" fmla="*/ 994147 w 5719680"/>
                <a:gd name="connsiteY5207" fmla="*/ 4224116 h 5704395"/>
                <a:gd name="connsiteX5208" fmla="*/ 1055130 w 5719680"/>
                <a:gd name="connsiteY5208" fmla="*/ 4215243 h 5704395"/>
                <a:gd name="connsiteX5209" fmla="*/ 311267 w 5719680"/>
                <a:gd name="connsiteY5209" fmla="*/ 4211440 h 5704395"/>
                <a:gd name="connsiteX5210" fmla="*/ 228686 w 5719680"/>
                <a:gd name="connsiteY5210" fmla="*/ 4212708 h 5704395"/>
                <a:gd name="connsiteX5211" fmla="*/ 225192 w 5719680"/>
                <a:gd name="connsiteY5211" fmla="*/ 4238059 h 5704395"/>
                <a:gd name="connsiteX5212" fmla="*/ 273470 w 5719680"/>
                <a:gd name="connsiteY5212" fmla="*/ 4239643 h 5704395"/>
                <a:gd name="connsiteX5213" fmla="*/ 270611 w 5719680"/>
                <a:gd name="connsiteY5213" fmla="*/ 4272917 h 5704395"/>
                <a:gd name="connsiteX5214" fmla="*/ 230909 w 5719680"/>
                <a:gd name="connsiteY5214" fmla="*/ 4263093 h 5704395"/>
                <a:gd name="connsiteX5215" fmla="*/ 213758 w 5719680"/>
                <a:gd name="connsiteY5215" fmla="*/ 4304922 h 5704395"/>
                <a:gd name="connsiteX5216" fmla="*/ 220745 w 5719680"/>
                <a:gd name="connsiteY5216" fmla="*/ 4331541 h 5704395"/>
                <a:gd name="connsiteX5217" fmla="*/ 256954 w 5719680"/>
                <a:gd name="connsiteY5217" fmla="*/ 4354040 h 5704395"/>
                <a:gd name="connsiteX5218" fmla="*/ 281728 w 5719680"/>
                <a:gd name="connsiteY5218" fmla="*/ 4312528 h 5704395"/>
                <a:gd name="connsiteX5219" fmla="*/ 258542 w 5719680"/>
                <a:gd name="connsiteY5219" fmla="*/ 4300169 h 5704395"/>
                <a:gd name="connsiteX5220" fmla="*/ 260765 w 5719680"/>
                <a:gd name="connsiteY5220" fmla="*/ 4290662 h 5704395"/>
                <a:gd name="connsiteX5221" fmla="*/ 308091 w 5719680"/>
                <a:gd name="connsiteY5221" fmla="*/ 4275135 h 5704395"/>
                <a:gd name="connsiteX5222" fmla="*/ 328100 w 5719680"/>
                <a:gd name="connsiteY5222" fmla="*/ 4230454 h 5704395"/>
                <a:gd name="connsiteX5223" fmla="*/ 311267 w 5719680"/>
                <a:gd name="connsiteY5223" fmla="*/ 4211440 h 5704395"/>
                <a:gd name="connsiteX5224" fmla="*/ 2199193 w 5719680"/>
                <a:gd name="connsiteY5224" fmla="*/ 4211124 h 5704395"/>
                <a:gd name="connsiteX5225" fmla="*/ 2196017 w 5719680"/>
                <a:gd name="connsiteY5225" fmla="*/ 4215877 h 5704395"/>
                <a:gd name="connsiteX5226" fmla="*/ 2175689 w 5719680"/>
                <a:gd name="connsiteY5226" fmla="*/ 4243129 h 5704395"/>
                <a:gd name="connsiteX5227" fmla="*/ 2195382 w 5719680"/>
                <a:gd name="connsiteY5227" fmla="*/ 4365131 h 5704395"/>
                <a:gd name="connsiteX5228" fmla="*/ 2321158 w 5719680"/>
                <a:gd name="connsiteY5228" fmla="*/ 4354674 h 5704395"/>
                <a:gd name="connsiteX5229" fmla="*/ 2310995 w 5719680"/>
                <a:gd name="connsiteY5229" fmla="*/ 4256122 h 5704395"/>
                <a:gd name="connsiteX5230" fmla="*/ 2310995 w 5719680"/>
                <a:gd name="connsiteY5230" fmla="*/ 4255805 h 5704395"/>
                <a:gd name="connsiteX5231" fmla="*/ 2312265 w 5719680"/>
                <a:gd name="connsiteY5231" fmla="*/ 4239010 h 5704395"/>
                <a:gd name="connsiteX5232" fmla="*/ 2258270 w 5719680"/>
                <a:gd name="connsiteY5232" fmla="*/ 4226017 h 5704395"/>
                <a:gd name="connsiteX5233" fmla="*/ 2216344 w 5719680"/>
                <a:gd name="connsiteY5233" fmla="*/ 4215560 h 5704395"/>
                <a:gd name="connsiteX5234" fmla="*/ 2202369 w 5719680"/>
                <a:gd name="connsiteY5234" fmla="*/ 4212074 h 5704395"/>
                <a:gd name="connsiteX5235" fmla="*/ 2199193 w 5719680"/>
                <a:gd name="connsiteY5235" fmla="*/ 4211124 h 5704395"/>
                <a:gd name="connsiteX5236" fmla="*/ 1727847 w 5719680"/>
                <a:gd name="connsiteY5236" fmla="*/ 4208588 h 5704395"/>
                <a:gd name="connsiteX5237" fmla="*/ 1723400 w 5719680"/>
                <a:gd name="connsiteY5237" fmla="*/ 4232989 h 5704395"/>
                <a:gd name="connsiteX5238" fmla="*/ 1761514 w 5719680"/>
                <a:gd name="connsiteY5238" fmla="*/ 4239960 h 5704395"/>
                <a:gd name="connsiteX5239" fmla="*/ 1765961 w 5719680"/>
                <a:gd name="connsiteY5239" fmla="*/ 4215560 h 5704395"/>
                <a:gd name="connsiteX5240" fmla="*/ 1727847 w 5719680"/>
                <a:gd name="connsiteY5240" fmla="*/ 4208588 h 5704395"/>
                <a:gd name="connsiteX5241" fmla="*/ 313490 w 5719680"/>
                <a:gd name="connsiteY5241" fmla="*/ 4206687 h 5704395"/>
                <a:gd name="connsiteX5242" fmla="*/ 333500 w 5719680"/>
                <a:gd name="connsiteY5242" fmla="*/ 4229503 h 5704395"/>
                <a:gd name="connsiteX5243" fmla="*/ 332865 w 5719680"/>
                <a:gd name="connsiteY5243" fmla="*/ 4231088 h 5704395"/>
                <a:gd name="connsiteX5244" fmla="*/ 311584 w 5719680"/>
                <a:gd name="connsiteY5244" fmla="*/ 4278938 h 5704395"/>
                <a:gd name="connsiteX5245" fmla="*/ 264577 w 5719680"/>
                <a:gd name="connsiteY5245" fmla="*/ 4294148 h 5704395"/>
                <a:gd name="connsiteX5246" fmla="*/ 263941 w 5719680"/>
                <a:gd name="connsiteY5246" fmla="*/ 4297634 h 5704395"/>
                <a:gd name="connsiteX5247" fmla="*/ 288398 w 5719680"/>
                <a:gd name="connsiteY5247" fmla="*/ 4310943 h 5704395"/>
                <a:gd name="connsiteX5248" fmla="*/ 258542 w 5719680"/>
                <a:gd name="connsiteY5248" fmla="*/ 4360695 h 5704395"/>
                <a:gd name="connsiteX5249" fmla="*/ 216934 w 5719680"/>
                <a:gd name="connsiteY5249" fmla="*/ 4334710 h 5704395"/>
                <a:gd name="connsiteX5250" fmla="*/ 208676 w 5719680"/>
                <a:gd name="connsiteY5250" fmla="*/ 4304289 h 5704395"/>
                <a:gd name="connsiteX5251" fmla="*/ 228051 w 5719680"/>
                <a:gd name="connsiteY5251" fmla="*/ 4257389 h 5704395"/>
                <a:gd name="connsiteX5252" fmla="*/ 266482 w 5719680"/>
                <a:gd name="connsiteY5252" fmla="*/ 4267213 h 5704395"/>
                <a:gd name="connsiteX5253" fmla="*/ 268388 w 5719680"/>
                <a:gd name="connsiteY5253" fmla="*/ 4244080 h 5704395"/>
                <a:gd name="connsiteX5254" fmla="*/ 219792 w 5719680"/>
                <a:gd name="connsiteY5254" fmla="*/ 4242495 h 5704395"/>
                <a:gd name="connsiteX5255" fmla="*/ 224557 w 5719680"/>
                <a:gd name="connsiteY5255" fmla="*/ 4207955 h 5704395"/>
                <a:gd name="connsiteX5256" fmla="*/ 313490 w 5719680"/>
                <a:gd name="connsiteY5256" fmla="*/ 4206687 h 5704395"/>
                <a:gd name="connsiteX5257" fmla="*/ 4915469 w 5719680"/>
                <a:gd name="connsiteY5257" fmla="*/ 4195596 h 5704395"/>
                <a:gd name="connsiteX5258" fmla="*/ 4914198 w 5719680"/>
                <a:gd name="connsiteY5258" fmla="*/ 4199082 h 5704395"/>
                <a:gd name="connsiteX5259" fmla="*/ 4910705 w 5719680"/>
                <a:gd name="connsiteY5259" fmla="*/ 4205103 h 5704395"/>
                <a:gd name="connsiteX5260" fmla="*/ 4908164 w 5719680"/>
                <a:gd name="connsiteY5260" fmla="*/ 4207004 h 5704395"/>
                <a:gd name="connsiteX5261" fmla="*/ 4869732 w 5719680"/>
                <a:gd name="connsiteY5261" fmla="*/ 4264044 h 5704395"/>
                <a:gd name="connsiteX5262" fmla="*/ 4764918 w 5719680"/>
                <a:gd name="connsiteY5262" fmla="*/ 4411714 h 5704395"/>
                <a:gd name="connsiteX5263" fmla="*/ 4764282 w 5719680"/>
                <a:gd name="connsiteY5263" fmla="*/ 4412981 h 5704395"/>
                <a:gd name="connsiteX5264" fmla="*/ 4763330 w 5719680"/>
                <a:gd name="connsiteY5264" fmla="*/ 4413932 h 5704395"/>
                <a:gd name="connsiteX5265" fmla="*/ 4724580 w 5719680"/>
                <a:gd name="connsiteY5265" fmla="*/ 4548926 h 5704395"/>
                <a:gd name="connsiteX5266" fmla="*/ 4706476 w 5719680"/>
                <a:gd name="connsiteY5266" fmla="*/ 4722581 h 5704395"/>
                <a:gd name="connsiteX5267" fmla="*/ 4699488 w 5719680"/>
                <a:gd name="connsiteY5267" fmla="*/ 4812577 h 5704395"/>
                <a:gd name="connsiteX5268" fmla="*/ 4699488 w 5719680"/>
                <a:gd name="connsiteY5268" fmla="*/ 4812894 h 5704395"/>
                <a:gd name="connsiteX5269" fmla="*/ 4699488 w 5719680"/>
                <a:gd name="connsiteY5269" fmla="*/ 4813211 h 5704395"/>
                <a:gd name="connsiteX5270" fmla="*/ 4645493 w 5719680"/>
                <a:gd name="connsiteY5270" fmla="*/ 4968169 h 5704395"/>
                <a:gd name="connsiteX5271" fmla="*/ 4618178 w 5719680"/>
                <a:gd name="connsiteY5271" fmla="*/ 5095241 h 5704395"/>
                <a:gd name="connsiteX5272" fmla="*/ 4620401 w 5719680"/>
                <a:gd name="connsiteY5272" fmla="*/ 5138338 h 5704395"/>
                <a:gd name="connsiteX5273" fmla="*/ 4621990 w 5719680"/>
                <a:gd name="connsiteY5273" fmla="*/ 5149746 h 5704395"/>
                <a:gd name="connsiteX5274" fmla="*/ 5296930 w 5719680"/>
                <a:gd name="connsiteY5274" fmla="*/ 5140239 h 5704395"/>
                <a:gd name="connsiteX5275" fmla="*/ 5299152 w 5719680"/>
                <a:gd name="connsiteY5275" fmla="*/ 5140239 h 5704395"/>
                <a:gd name="connsiteX5276" fmla="*/ 5300106 w 5719680"/>
                <a:gd name="connsiteY5276" fmla="*/ 5140239 h 5704395"/>
                <a:gd name="connsiteX5277" fmla="*/ 5300741 w 5719680"/>
                <a:gd name="connsiteY5277" fmla="*/ 5140239 h 5704395"/>
                <a:gd name="connsiteX5278" fmla="*/ 5301058 w 5719680"/>
                <a:gd name="connsiteY5278" fmla="*/ 5140239 h 5704395"/>
                <a:gd name="connsiteX5279" fmla="*/ 5306776 w 5719680"/>
                <a:gd name="connsiteY5279" fmla="*/ 5140239 h 5704395"/>
                <a:gd name="connsiteX5280" fmla="*/ 5420483 w 5719680"/>
                <a:gd name="connsiteY5280" fmla="*/ 5155450 h 5704395"/>
                <a:gd name="connsiteX5281" fmla="*/ 5421118 w 5719680"/>
                <a:gd name="connsiteY5281" fmla="*/ 5154182 h 5704395"/>
                <a:gd name="connsiteX5282" fmla="*/ 5480196 w 5719680"/>
                <a:gd name="connsiteY5282" fmla="*/ 4925389 h 5704395"/>
                <a:gd name="connsiteX5283" fmla="*/ 5457962 w 5719680"/>
                <a:gd name="connsiteY5283" fmla="*/ 4784057 h 5704395"/>
                <a:gd name="connsiteX5284" fmla="*/ 5457962 w 5719680"/>
                <a:gd name="connsiteY5284" fmla="*/ 4783423 h 5704395"/>
                <a:gd name="connsiteX5285" fmla="*/ 5457644 w 5719680"/>
                <a:gd name="connsiteY5285" fmla="*/ 4782789 h 5704395"/>
                <a:gd name="connsiteX5286" fmla="*/ 5455421 w 5719680"/>
                <a:gd name="connsiteY5286" fmla="*/ 4772649 h 5704395"/>
                <a:gd name="connsiteX5287" fmla="*/ 5228959 w 5719680"/>
                <a:gd name="connsiteY5287" fmla="*/ 4365448 h 5704395"/>
                <a:gd name="connsiteX5288" fmla="*/ 4915469 w 5719680"/>
                <a:gd name="connsiteY5288" fmla="*/ 4195596 h 5704395"/>
                <a:gd name="connsiteX5289" fmla="*/ 319842 w 5719680"/>
                <a:gd name="connsiteY5289" fmla="*/ 4195596 h 5704395"/>
                <a:gd name="connsiteX5290" fmla="*/ 214075 w 5719680"/>
                <a:gd name="connsiteY5290" fmla="*/ 4196864 h 5704395"/>
                <a:gd name="connsiteX5291" fmla="*/ 209311 w 5719680"/>
                <a:gd name="connsiteY5291" fmla="*/ 4239327 h 5704395"/>
                <a:gd name="connsiteX5292" fmla="*/ 195018 w 5719680"/>
                <a:gd name="connsiteY5292" fmla="*/ 4313478 h 5704395"/>
                <a:gd name="connsiteX5293" fmla="*/ 195018 w 5719680"/>
                <a:gd name="connsiteY5293" fmla="*/ 4314746 h 5704395"/>
                <a:gd name="connsiteX5294" fmla="*/ 206770 w 5719680"/>
                <a:gd name="connsiteY5294" fmla="*/ 4345484 h 5704395"/>
                <a:gd name="connsiteX5295" fmla="*/ 207088 w 5719680"/>
                <a:gd name="connsiteY5295" fmla="*/ 4345801 h 5704395"/>
                <a:gd name="connsiteX5296" fmla="*/ 247743 w 5719680"/>
                <a:gd name="connsiteY5296" fmla="*/ 4373370 h 5704395"/>
                <a:gd name="connsiteX5297" fmla="*/ 264577 w 5719680"/>
                <a:gd name="connsiteY5297" fmla="*/ 4383827 h 5704395"/>
                <a:gd name="connsiteX5298" fmla="*/ 266165 w 5719680"/>
                <a:gd name="connsiteY5298" fmla="*/ 4384778 h 5704395"/>
                <a:gd name="connsiteX5299" fmla="*/ 266482 w 5719680"/>
                <a:gd name="connsiteY5299" fmla="*/ 4384778 h 5704395"/>
                <a:gd name="connsiteX5300" fmla="*/ 266800 w 5719680"/>
                <a:gd name="connsiteY5300" fmla="*/ 4384778 h 5704395"/>
                <a:gd name="connsiteX5301" fmla="*/ 358274 w 5719680"/>
                <a:gd name="connsiteY5301" fmla="*/ 4230771 h 5704395"/>
                <a:gd name="connsiteX5302" fmla="*/ 357639 w 5719680"/>
                <a:gd name="connsiteY5302" fmla="*/ 4230137 h 5704395"/>
                <a:gd name="connsiteX5303" fmla="*/ 353192 w 5719680"/>
                <a:gd name="connsiteY5303" fmla="*/ 4226334 h 5704395"/>
                <a:gd name="connsiteX5304" fmla="*/ 319842 w 5719680"/>
                <a:gd name="connsiteY5304" fmla="*/ 4195596 h 5704395"/>
                <a:gd name="connsiteX5305" fmla="*/ 1365126 w 5719680"/>
                <a:gd name="connsiteY5305" fmla="*/ 4191160 h 5704395"/>
                <a:gd name="connsiteX5306" fmla="*/ 1324153 w 5719680"/>
                <a:gd name="connsiteY5306" fmla="*/ 4222215 h 5704395"/>
                <a:gd name="connsiteX5307" fmla="*/ 1308272 w 5719680"/>
                <a:gd name="connsiteY5307" fmla="*/ 4332809 h 5704395"/>
                <a:gd name="connsiteX5308" fmla="*/ 1340034 w 5719680"/>
                <a:gd name="connsiteY5308" fmla="*/ 4376856 h 5704395"/>
                <a:gd name="connsiteX5309" fmla="*/ 1381960 w 5719680"/>
                <a:gd name="connsiteY5309" fmla="*/ 4343900 h 5704395"/>
                <a:gd name="connsiteX5310" fmla="*/ 1397523 w 5719680"/>
                <a:gd name="connsiteY5310" fmla="*/ 4233306 h 5704395"/>
                <a:gd name="connsiteX5311" fmla="*/ 1365126 w 5719680"/>
                <a:gd name="connsiteY5311" fmla="*/ 4191160 h 5704395"/>
                <a:gd name="connsiteX5312" fmla="*/ 3084714 w 5719680"/>
                <a:gd name="connsiteY5312" fmla="*/ 4190526 h 5704395"/>
                <a:gd name="connsiteX5313" fmla="*/ 3043424 w 5719680"/>
                <a:gd name="connsiteY5313" fmla="*/ 4203518 h 5704395"/>
                <a:gd name="connsiteX5314" fmla="*/ 3045965 w 5719680"/>
                <a:gd name="connsiteY5314" fmla="*/ 4210490 h 5704395"/>
                <a:gd name="connsiteX5315" fmla="*/ 3086938 w 5719680"/>
                <a:gd name="connsiteY5315" fmla="*/ 4197181 h 5704395"/>
                <a:gd name="connsiteX5316" fmla="*/ 3084714 w 5719680"/>
                <a:gd name="connsiteY5316" fmla="*/ 4190526 h 5704395"/>
                <a:gd name="connsiteX5317" fmla="*/ 1360362 w 5719680"/>
                <a:gd name="connsiteY5317" fmla="*/ 4186406 h 5704395"/>
                <a:gd name="connsiteX5318" fmla="*/ 1365444 w 5719680"/>
                <a:gd name="connsiteY5318" fmla="*/ 4186723 h 5704395"/>
                <a:gd name="connsiteX5319" fmla="*/ 1401970 w 5719680"/>
                <a:gd name="connsiteY5319" fmla="*/ 4233623 h 5704395"/>
                <a:gd name="connsiteX5320" fmla="*/ 1401970 w 5719680"/>
                <a:gd name="connsiteY5320" fmla="*/ 4233940 h 5704395"/>
                <a:gd name="connsiteX5321" fmla="*/ 1386406 w 5719680"/>
                <a:gd name="connsiteY5321" fmla="*/ 4344533 h 5704395"/>
                <a:gd name="connsiteX5322" fmla="*/ 1346069 w 5719680"/>
                <a:gd name="connsiteY5322" fmla="*/ 4381926 h 5704395"/>
                <a:gd name="connsiteX5323" fmla="*/ 1339399 w 5719680"/>
                <a:gd name="connsiteY5323" fmla="*/ 4381292 h 5704395"/>
                <a:gd name="connsiteX5324" fmla="*/ 1303826 w 5719680"/>
                <a:gd name="connsiteY5324" fmla="*/ 4332809 h 5704395"/>
                <a:gd name="connsiteX5325" fmla="*/ 1319706 w 5719680"/>
                <a:gd name="connsiteY5325" fmla="*/ 4221264 h 5704395"/>
                <a:gd name="connsiteX5326" fmla="*/ 1360362 w 5719680"/>
                <a:gd name="connsiteY5326" fmla="*/ 4186406 h 5704395"/>
                <a:gd name="connsiteX5327" fmla="*/ 3130451 w 5719680"/>
                <a:gd name="connsiteY5327" fmla="*/ 4176266 h 5704395"/>
                <a:gd name="connsiteX5328" fmla="*/ 3088843 w 5719680"/>
                <a:gd name="connsiteY5328" fmla="*/ 4189258 h 5704395"/>
                <a:gd name="connsiteX5329" fmla="*/ 3091066 w 5719680"/>
                <a:gd name="connsiteY5329" fmla="*/ 4195596 h 5704395"/>
                <a:gd name="connsiteX5330" fmla="*/ 3132674 w 5719680"/>
                <a:gd name="connsiteY5330" fmla="*/ 4182287 h 5704395"/>
                <a:gd name="connsiteX5331" fmla="*/ 3130451 w 5719680"/>
                <a:gd name="connsiteY5331" fmla="*/ 4176266 h 5704395"/>
                <a:gd name="connsiteX5332" fmla="*/ 2884614 w 5719680"/>
                <a:gd name="connsiteY5332" fmla="*/ 4169294 h 5704395"/>
                <a:gd name="connsiteX5333" fmla="*/ 2877627 w 5719680"/>
                <a:gd name="connsiteY5333" fmla="*/ 4183871 h 5704395"/>
                <a:gd name="connsiteX5334" fmla="*/ 2839512 w 5719680"/>
                <a:gd name="connsiteY5334" fmla="*/ 4264678 h 5704395"/>
                <a:gd name="connsiteX5335" fmla="*/ 2847770 w 5719680"/>
                <a:gd name="connsiteY5335" fmla="*/ 4268163 h 5704395"/>
                <a:gd name="connsiteX5336" fmla="*/ 2854758 w 5719680"/>
                <a:gd name="connsiteY5336" fmla="*/ 4271332 h 5704395"/>
                <a:gd name="connsiteX5337" fmla="*/ 2856982 w 5719680"/>
                <a:gd name="connsiteY5337" fmla="*/ 4272283 h 5704395"/>
                <a:gd name="connsiteX5338" fmla="*/ 2864604 w 5719680"/>
                <a:gd name="connsiteY5338" fmla="*/ 4269431 h 5704395"/>
                <a:gd name="connsiteX5339" fmla="*/ 2920188 w 5719680"/>
                <a:gd name="connsiteY5339" fmla="*/ 4251051 h 5704395"/>
                <a:gd name="connsiteX5340" fmla="*/ 2919235 w 5719680"/>
                <a:gd name="connsiteY5340" fmla="*/ 4251051 h 5704395"/>
                <a:gd name="connsiteX5341" fmla="*/ 2920823 w 5719680"/>
                <a:gd name="connsiteY5341" fmla="*/ 4213976 h 5704395"/>
                <a:gd name="connsiteX5342" fmla="*/ 2921776 w 5719680"/>
                <a:gd name="connsiteY5342" fmla="*/ 4188624 h 5704395"/>
                <a:gd name="connsiteX5343" fmla="*/ 2922093 w 5719680"/>
                <a:gd name="connsiteY5343" fmla="*/ 4180068 h 5704395"/>
                <a:gd name="connsiteX5344" fmla="*/ 2922093 w 5719680"/>
                <a:gd name="connsiteY5344" fmla="*/ 4178801 h 5704395"/>
                <a:gd name="connsiteX5345" fmla="*/ 2883979 w 5719680"/>
                <a:gd name="connsiteY5345" fmla="*/ 4172463 h 5704395"/>
                <a:gd name="connsiteX5346" fmla="*/ 2884614 w 5719680"/>
                <a:gd name="connsiteY5346" fmla="*/ 4169294 h 5704395"/>
                <a:gd name="connsiteX5347" fmla="*/ 117519 w 5719680"/>
                <a:gd name="connsiteY5347" fmla="*/ 4167393 h 5704395"/>
                <a:gd name="connsiteX5348" fmla="*/ 109896 w 5719680"/>
                <a:gd name="connsiteY5348" fmla="*/ 4201934 h 5704395"/>
                <a:gd name="connsiteX5349" fmla="*/ 144517 w 5719680"/>
                <a:gd name="connsiteY5349" fmla="*/ 4209539 h 5704395"/>
                <a:gd name="connsiteX5350" fmla="*/ 152140 w 5719680"/>
                <a:gd name="connsiteY5350" fmla="*/ 4174998 h 5704395"/>
                <a:gd name="connsiteX5351" fmla="*/ 117519 w 5719680"/>
                <a:gd name="connsiteY5351" fmla="*/ 4167393 h 5704395"/>
                <a:gd name="connsiteX5352" fmla="*/ 1758338 w 5719680"/>
                <a:gd name="connsiteY5352" fmla="*/ 4165492 h 5704395"/>
                <a:gd name="connsiteX5353" fmla="*/ 1753891 w 5719680"/>
                <a:gd name="connsiteY5353" fmla="*/ 4189892 h 5704395"/>
                <a:gd name="connsiteX5354" fmla="*/ 1792006 w 5719680"/>
                <a:gd name="connsiteY5354" fmla="*/ 4196864 h 5704395"/>
                <a:gd name="connsiteX5355" fmla="*/ 1796452 w 5719680"/>
                <a:gd name="connsiteY5355" fmla="*/ 4172463 h 5704395"/>
                <a:gd name="connsiteX5356" fmla="*/ 3024684 w 5719680"/>
                <a:gd name="connsiteY5356" fmla="*/ 4162640 h 5704395"/>
                <a:gd name="connsiteX5357" fmla="*/ 2991652 w 5719680"/>
                <a:gd name="connsiteY5357" fmla="*/ 4173097 h 5704395"/>
                <a:gd name="connsiteX5358" fmla="*/ 3003404 w 5719680"/>
                <a:gd name="connsiteY5358" fmla="*/ 4211757 h 5704395"/>
                <a:gd name="connsiteX5359" fmla="*/ 3037706 w 5719680"/>
                <a:gd name="connsiteY5359" fmla="*/ 4200666 h 5704395"/>
                <a:gd name="connsiteX5360" fmla="*/ 114343 w 5719680"/>
                <a:gd name="connsiteY5360" fmla="*/ 4162640 h 5704395"/>
                <a:gd name="connsiteX5361" fmla="*/ 116249 w 5719680"/>
                <a:gd name="connsiteY5361" fmla="*/ 4162956 h 5704395"/>
                <a:gd name="connsiteX5362" fmla="*/ 156904 w 5719680"/>
                <a:gd name="connsiteY5362" fmla="*/ 4171829 h 5704395"/>
                <a:gd name="connsiteX5363" fmla="*/ 147693 w 5719680"/>
                <a:gd name="connsiteY5363" fmla="*/ 4214609 h 5704395"/>
                <a:gd name="connsiteX5364" fmla="*/ 104814 w 5719680"/>
                <a:gd name="connsiteY5364" fmla="*/ 4205103 h 5704395"/>
                <a:gd name="connsiteX5365" fmla="*/ 114343 w 5719680"/>
                <a:gd name="connsiteY5365" fmla="*/ 4162640 h 5704395"/>
                <a:gd name="connsiteX5366" fmla="*/ 1755162 w 5719680"/>
                <a:gd name="connsiteY5366" fmla="*/ 4160738 h 5704395"/>
                <a:gd name="connsiteX5367" fmla="*/ 1801217 w 5719680"/>
                <a:gd name="connsiteY5367" fmla="*/ 4169294 h 5704395"/>
                <a:gd name="connsiteX5368" fmla="*/ 1795499 w 5719680"/>
                <a:gd name="connsiteY5368" fmla="*/ 4201617 h 5704395"/>
                <a:gd name="connsiteX5369" fmla="*/ 1749127 w 5719680"/>
                <a:gd name="connsiteY5369" fmla="*/ 4193378 h 5704395"/>
                <a:gd name="connsiteX5370" fmla="*/ 1749445 w 5719680"/>
                <a:gd name="connsiteY5370" fmla="*/ 4191160 h 5704395"/>
                <a:gd name="connsiteX5371" fmla="*/ 1384501 w 5719680"/>
                <a:gd name="connsiteY5371" fmla="*/ 4155985 h 5704395"/>
                <a:gd name="connsiteX5372" fmla="*/ 1369255 w 5719680"/>
                <a:gd name="connsiteY5372" fmla="*/ 4168660 h 5704395"/>
                <a:gd name="connsiteX5373" fmla="*/ 1367985 w 5719680"/>
                <a:gd name="connsiteY5373" fmla="*/ 4169928 h 5704395"/>
                <a:gd name="connsiteX5374" fmla="*/ 1366396 w 5719680"/>
                <a:gd name="connsiteY5374" fmla="*/ 4169928 h 5704395"/>
                <a:gd name="connsiteX5375" fmla="*/ 1332729 w 5719680"/>
                <a:gd name="connsiteY5375" fmla="*/ 4177216 h 5704395"/>
                <a:gd name="connsiteX5376" fmla="*/ 1317166 w 5719680"/>
                <a:gd name="connsiteY5376" fmla="*/ 4190209 h 5704395"/>
                <a:gd name="connsiteX5377" fmla="*/ 1309225 w 5719680"/>
                <a:gd name="connsiteY5377" fmla="*/ 4202884 h 5704395"/>
                <a:gd name="connsiteX5378" fmla="*/ 1308272 w 5719680"/>
                <a:gd name="connsiteY5378" fmla="*/ 4205736 h 5704395"/>
                <a:gd name="connsiteX5379" fmla="*/ 1305096 w 5719680"/>
                <a:gd name="connsiteY5379" fmla="*/ 4205736 h 5704395"/>
                <a:gd name="connsiteX5380" fmla="*/ 1281910 w 5719680"/>
                <a:gd name="connsiteY5380" fmla="*/ 4206053 h 5704395"/>
                <a:gd name="connsiteX5381" fmla="*/ 1282227 w 5719680"/>
                <a:gd name="connsiteY5381" fmla="*/ 4341365 h 5704395"/>
                <a:gd name="connsiteX5382" fmla="*/ 1284133 w 5719680"/>
                <a:gd name="connsiteY5382" fmla="*/ 4341681 h 5704395"/>
                <a:gd name="connsiteX5383" fmla="*/ 1288262 w 5719680"/>
                <a:gd name="connsiteY5383" fmla="*/ 4341998 h 5704395"/>
                <a:gd name="connsiteX5384" fmla="*/ 1288262 w 5719680"/>
                <a:gd name="connsiteY5384" fmla="*/ 4345801 h 5704395"/>
                <a:gd name="connsiteX5385" fmla="*/ 1299696 w 5719680"/>
                <a:gd name="connsiteY5385" fmla="*/ 4375905 h 5704395"/>
                <a:gd name="connsiteX5386" fmla="*/ 1325741 w 5719680"/>
                <a:gd name="connsiteY5386" fmla="*/ 4393651 h 5704395"/>
                <a:gd name="connsiteX5387" fmla="*/ 1328600 w 5719680"/>
                <a:gd name="connsiteY5387" fmla="*/ 4394602 h 5704395"/>
                <a:gd name="connsiteX5388" fmla="*/ 1328600 w 5719680"/>
                <a:gd name="connsiteY5388" fmla="*/ 4397771 h 5704395"/>
                <a:gd name="connsiteX5389" fmla="*/ 1328600 w 5719680"/>
                <a:gd name="connsiteY5389" fmla="*/ 4406327 h 5704395"/>
                <a:gd name="connsiteX5390" fmla="*/ 1381325 w 5719680"/>
                <a:gd name="connsiteY5390" fmla="*/ 4406327 h 5704395"/>
                <a:gd name="connsiteX5391" fmla="*/ 1381960 w 5719680"/>
                <a:gd name="connsiteY5391" fmla="*/ 4385412 h 5704395"/>
                <a:gd name="connsiteX5392" fmla="*/ 1381960 w 5719680"/>
                <a:gd name="connsiteY5392" fmla="*/ 4383511 h 5704395"/>
                <a:gd name="connsiteX5393" fmla="*/ 1383230 w 5719680"/>
                <a:gd name="connsiteY5393" fmla="*/ 4382243 h 5704395"/>
                <a:gd name="connsiteX5394" fmla="*/ 1399111 w 5719680"/>
                <a:gd name="connsiteY5394" fmla="*/ 4353406 h 5704395"/>
                <a:gd name="connsiteX5395" fmla="*/ 1416580 w 5719680"/>
                <a:gd name="connsiteY5395" fmla="*/ 4227919 h 5704395"/>
                <a:gd name="connsiteX5396" fmla="*/ 1410545 w 5719680"/>
                <a:gd name="connsiteY5396" fmla="*/ 4199716 h 5704395"/>
                <a:gd name="connsiteX5397" fmla="*/ 1409910 w 5719680"/>
                <a:gd name="connsiteY5397" fmla="*/ 4198448 h 5704395"/>
                <a:gd name="connsiteX5398" fmla="*/ 1409910 w 5719680"/>
                <a:gd name="connsiteY5398" fmla="*/ 4197181 h 5704395"/>
                <a:gd name="connsiteX5399" fmla="*/ 1414674 w 5719680"/>
                <a:gd name="connsiteY5399" fmla="*/ 4189575 h 5704395"/>
                <a:gd name="connsiteX5400" fmla="*/ 1384501 w 5719680"/>
                <a:gd name="connsiteY5400" fmla="*/ 4155985 h 5704395"/>
                <a:gd name="connsiteX5401" fmla="*/ 31127 w 5719680"/>
                <a:gd name="connsiteY5401" fmla="*/ 4153133 h 5704395"/>
                <a:gd name="connsiteX5402" fmla="*/ 31127 w 5719680"/>
                <a:gd name="connsiteY5402" fmla="*/ 4154401 h 5704395"/>
                <a:gd name="connsiteX5403" fmla="*/ 30492 w 5719680"/>
                <a:gd name="connsiteY5403" fmla="*/ 4156302 h 5704395"/>
                <a:gd name="connsiteX5404" fmla="*/ 14293 w 5719680"/>
                <a:gd name="connsiteY5404" fmla="*/ 4153450 h 5704395"/>
                <a:gd name="connsiteX5405" fmla="*/ 5082 w 5719680"/>
                <a:gd name="connsiteY5405" fmla="*/ 4202884 h 5704395"/>
                <a:gd name="connsiteX5406" fmla="*/ 31127 w 5719680"/>
                <a:gd name="connsiteY5406" fmla="*/ 4207955 h 5704395"/>
                <a:gd name="connsiteX5407" fmla="*/ 35256 w 5719680"/>
                <a:gd name="connsiteY5407" fmla="*/ 4185139 h 5704395"/>
                <a:gd name="connsiteX5408" fmla="*/ 53360 w 5719680"/>
                <a:gd name="connsiteY5408" fmla="*/ 4188308 h 5704395"/>
                <a:gd name="connsiteX5409" fmla="*/ 59713 w 5719680"/>
                <a:gd name="connsiteY5409" fmla="*/ 4158520 h 5704395"/>
                <a:gd name="connsiteX5410" fmla="*/ 31127 w 5719680"/>
                <a:gd name="connsiteY5410" fmla="*/ 4153133 h 5704395"/>
                <a:gd name="connsiteX5411" fmla="*/ 1152957 w 5719680"/>
                <a:gd name="connsiteY5411" fmla="*/ 4152499 h 5704395"/>
                <a:gd name="connsiteX5412" fmla="*/ 1119289 w 5719680"/>
                <a:gd name="connsiteY5412" fmla="*/ 4191476 h 5704395"/>
                <a:gd name="connsiteX5413" fmla="*/ 1084986 w 5719680"/>
                <a:gd name="connsiteY5413" fmla="*/ 4208272 h 5704395"/>
                <a:gd name="connsiteX5414" fmla="*/ 1088798 w 5719680"/>
                <a:gd name="connsiteY5414" fmla="*/ 4210807 h 5704395"/>
                <a:gd name="connsiteX5415" fmla="*/ 1185354 w 5719680"/>
                <a:gd name="connsiteY5415" fmla="*/ 4202251 h 5704395"/>
                <a:gd name="connsiteX5416" fmla="*/ 1185354 w 5719680"/>
                <a:gd name="connsiteY5416" fmla="*/ 4163273 h 5704395"/>
                <a:gd name="connsiteX5417" fmla="*/ 1152957 w 5719680"/>
                <a:gd name="connsiteY5417" fmla="*/ 4152499 h 5704395"/>
                <a:gd name="connsiteX5418" fmla="*/ 641908 w 5719680"/>
                <a:gd name="connsiteY5418" fmla="*/ 4150915 h 5704395"/>
                <a:gd name="connsiteX5419" fmla="*/ 688280 w 5719680"/>
                <a:gd name="connsiteY5419" fmla="*/ 4258657 h 5704395"/>
                <a:gd name="connsiteX5420" fmla="*/ 739417 w 5719680"/>
                <a:gd name="connsiteY5420" fmla="*/ 4275769 h 5704395"/>
                <a:gd name="connsiteX5421" fmla="*/ 748310 w 5719680"/>
                <a:gd name="connsiteY5421" fmla="*/ 4254220 h 5704395"/>
                <a:gd name="connsiteX5422" fmla="*/ 761015 w 5719680"/>
                <a:gd name="connsiteY5422" fmla="*/ 4258340 h 5704395"/>
                <a:gd name="connsiteX5423" fmla="*/ 779119 w 5719680"/>
                <a:gd name="connsiteY5423" fmla="*/ 4213976 h 5704395"/>
                <a:gd name="connsiteX5424" fmla="*/ 733700 w 5719680"/>
                <a:gd name="connsiteY5424" fmla="*/ 4199082 h 5704395"/>
                <a:gd name="connsiteX5425" fmla="*/ 723536 w 5719680"/>
                <a:gd name="connsiteY5425" fmla="*/ 4219996 h 5704395"/>
                <a:gd name="connsiteX5426" fmla="*/ 688280 w 5719680"/>
                <a:gd name="connsiteY5426" fmla="*/ 4207321 h 5704395"/>
                <a:gd name="connsiteX5427" fmla="*/ 664141 w 5719680"/>
                <a:gd name="connsiteY5427" fmla="*/ 4157886 h 5704395"/>
                <a:gd name="connsiteX5428" fmla="*/ 1385136 w 5719680"/>
                <a:gd name="connsiteY5428" fmla="*/ 4149647 h 5704395"/>
                <a:gd name="connsiteX5429" fmla="*/ 1420392 w 5719680"/>
                <a:gd name="connsiteY5429" fmla="*/ 4189575 h 5704395"/>
                <a:gd name="connsiteX5430" fmla="*/ 1414039 w 5719680"/>
                <a:gd name="connsiteY5430" fmla="*/ 4197181 h 5704395"/>
                <a:gd name="connsiteX5431" fmla="*/ 1421027 w 5719680"/>
                <a:gd name="connsiteY5431" fmla="*/ 4228552 h 5704395"/>
                <a:gd name="connsiteX5432" fmla="*/ 1403558 w 5719680"/>
                <a:gd name="connsiteY5432" fmla="*/ 4354040 h 5704395"/>
                <a:gd name="connsiteX5433" fmla="*/ 1386406 w 5719680"/>
                <a:gd name="connsiteY5433" fmla="*/ 4385412 h 5704395"/>
                <a:gd name="connsiteX5434" fmla="*/ 1385771 w 5719680"/>
                <a:gd name="connsiteY5434" fmla="*/ 4410763 h 5704395"/>
                <a:gd name="connsiteX5435" fmla="*/ 1324153 w 5719680"/>
                <a:gd name="connsiteY5435" fmla="*/ 4410446 h 5704395"/>
                <a:gd name="connsiteX5436" fmla="*/ 1324153 w 5719680"/>
                <a:gd name="connsiteY5436" fmla="*/ 4397771 h 5704395"/>
                <a:gd name="connsiteX5437" fmla="*/ 1296520 w 5719680"/>
                <a:gd name="connsiteY5437" fmla="*/ 4379074 h 5704395"/>
                <a:gd name="connsiteX5438" fmla="*/ 1283816 w 5719680"/>
                <a:gd name="connsiteY5438" fmla="*/ 4346118 h 5704395"/>
                <a:gd name="connsiteX5439" fmla="*/ 1277781 w 5719680"/>
                <a:gd name="connsiteY5439" fmla="*/ 4345484 h 5704395"/>
                <a:gd name="connsiteX5440" fmla="*/ 1277463 w 5719680"/>
                <a:gd name="connsiteY5440" fmla="*/ 4201617 h 5704395"/>
                <a:gd name="connsiteX5441" fmla="*/ 1305096 w 5719680"/>
                <a:gd name="connsiteY5441" fmla="*/ 4201300 h 5704395"/>
                <a:gd name="connsiteX5442" fmla="*/ 1313672 w 5719680"/>
                <a:gd name="connsiteY5442" fmla="*/ 4187674 h 5704395"/>
                <a:gd name="connsiteX5443" fmla="*/ 1330188 w 5719680"/>
                <a:gd name="connsiteY5443" fmla="*/ 4173414 h 5704395"/>
                <a:gd name="connsiteX5444" fmla="*/ 1366396 w 5719680"/>
                <a:gd name="connsiteY5444" fmla="*/ 4165492 h 5704395"/>
                <a:gd name="connsiteX5445" fmla="*/ 1385136 w 5719680"/>
                <a:gd name="connsiteY5445" fmla="*/ 4149647 h 5704395"/>
                <a:gd name="connsiteX5446" fmla="*/ 27951 w 5719680"/>
                <a:gd name="connsiteY5446" fmla="*/ 4148380 h 5704395"/>
                <a:gd name="connsiteX5447" fmla="*/ 64477 w 5719680"/>
                <a:gd name="connsiteY5447" fmla="*/ 4155351 h 5704395"/>
                <a:gd name="connsiteX5448" fmla="*/ 56536 w 5719680"/>
                <a:gd name="connsiteY5448" fmla="*/ 4193378 h 5704395"/>
                <a:gd name="connsiteX5449" fmla="*/ 54631 w 5719680"/>
                <a:gd name="connsiteY5449" fmla="*/ 4192744 h 5704395"/>
                <a:gd name="connsiteX5450" fmla="*/ 38750 w 5719680"/>
                <a:gd name="connsiteY5450" fmla="*/ 4189892 h 5704395"/>
                <a:gd name="connsiteX5451" fmla="*/ 34303 w 5719680"/>
                <a:gd name="connsiteY5451" fmla="*/ 4212708 h 5704395"/>
                <a:gd name="connsiteX5452" fmla="*/ 1271 w 5719680"/>
                <a:gd name="connsiteY5452" fmla="*/ 4206687 h 5704395"/>
                <a:gd name="connsiteX5453" fmla="*/ 0 w 5719680"/>
                <a:gd name="connsiteY5453" fmla="*/ 4206370 h 5704395"/>
                <a:gd name="connsiteX5454" fmla="*/ 1271 w 5719680"/>
                <a:gd name="connsiteY5454" fmla="*/ 4199716 h 5704395"/>
                <a:gd name="connsiteX5455" fmla="*/ 11117 w 5719680"/>
                <a:gd name="connsiteY5455" fmla="*/ 4148697 h 5704395"/>
                <a:gd name="connsiteX5456" fmla="*/ 27315 w 5719680"/>
                <a:gd name="connsiteY5456" fmla="*/ 4151549 h 5704395"/>
                <a:gd name="connsiteX5457" fmla="*/ 27633 w 5719680"/>
                <a:gd name="connsiteY5457" fmla="*/ 4150281 h 5704395"/>
                <a:gd name="connsiteX5458" fmla="*/ 27951 w 5719680"/>
                <a:gd name="connsiteY5458" fmla="*/ 4148380 h 5704395"/>
                <a:gd name="connsiteX5459" fmla="*/ 3070739 w 5719680"/>
                <a:gd name="connsiteY5459" fmla="*/ 4148063 h 5704395"/>
                <a:gd name="connsiteX5460" fmla="*/ 3029131 w 5719680"/>
                <a:gd name="connsiteY5460" fmla="*/ 4161372 h 5704395"/>
                <a:gd name="connsiteX5461" fmla="*/ 3042153 w 5719680"/>
                <a:gd name="connsiteY5461" fmla="*/ 4199399 h 5704395"/>
                <a:gd name="connsiteX5462" fmla="*/ 3083444 w 5719680"/>
                <a:gd name="connsiteY5462" fmla="*/ 4186406 h 5704395"/>
                <a:gd name="connsiteX5463" fmla="*/ 3070739 w 5719680"/>
                <a:gd name="connsiteY5463" fmla="*/ 4148063 h 5704395"/>
                <a:gd name="connsiteX5464" fmla="*/ 1710378 w 5719680"/>
                <a:gd name="connsiteY5464" fmla="*/ 4147746 h 5704395"/>
                <a:gd name="connsiteX5465" fmla="*/ 1711013 w 5719680"/>
                <a:gd name="connsiteY5465" fmla="*/ 4150915 h 5704395"/>
                <a:gd name="connsiteX5466" fmla="*/ 1710695 w 5719680"/>
                <a:gd name="connsiteY5466" fmla="*/ 4151232 h 5704395"/>
                <a:gd name="connsiteX5467" fmla="*/ 1701484 w 5719680"/>
                <a:gd name="connsiteY5467" fmla="*/ 4191476 h 5704395"/>
                <a:gd name="connsiteX5468" fmla="*/ 1694497 w 5719680"/>
                <a:gd name="connsiteY5468" fmla="*/ 4219046 h 5704395"/>
                <a:gd name="connsiteX5469" fmla="*/ 1691956 w 5719680"/>
                <a:gd name="connsiteY5469" fmla="*/ 4228552 h 5704395"/>
                <a:gd name="connsiteX5470" fmla="*/ 1691320 w 5719680"/>
                <a:gd name="connsiteY5470" fmla="*/ 4230137 h 5704395"/>
                <a:gd name="connsiteX5471" fmla="*/ 1718636 w 5719680"/>
                <a:gd name="connsiteY5471" fmla="*/ 4235841 h 5704395"/>
                <a:gd name="connsiteX5472" fmla="*/ 1718953 w 5719680"/>
                <a:gd name="connsiteY5472" fmla="*/ 4234256 h 5704395"/>
                <a:gd name="connsiteX5473" fmla="*/ 1724353 w 5719680"/>
                <a:gd name="connsiteY5473" fmla="*/ 4203835 h 5704395"/>
                <a:gd name="connsiteX5474" fmla="*/ 1770725 w 5719680"/>
                <a:gd name="connsiteY5474" fmla="*/ 4212391 h 5704395"/>
                <a:gd name="connsiteX5475" fmla="*/ 1765008 w 5719680"/>
                <a:gd name="connsiteY5475" fmla="*/ 4244080 h 5704395"/>
                <a:gd name="connsiteX5476" fmla="*/ 1806299 w 5719680"/>
                <a:gd name="connsiteY5476" fmla="*/ 4250735 h 5704395"/>
                <a:gd name="connsiteX5477" fmla="*/ 1815509 w 5719680"/>
                <a:gd name="connsiteY5477" fmla="*/ 4167710 h 5704395"/>
                <a:gd name="connsiteX5478" fmla="*/ 1710378 w 5719680"/>
                <a:gd name="connsiteY5478" fmla="*/ 4147746 h 5704395"/>
                <a:gd name="connsiteX5479" fmla="*/ 1150733 w 5719680"/>
                <a:gd name="connsiteY5479" fmla="*/ 4146795 h 5704395"/>
                <a:gd name="connsiteX5480" fmla="*/ 1190118 w 5719680"/>
                <a:gd name="connsiteY5480" fmla="*/ 4159788 h 5704395"/>
                <a:gd name="connsiteX5481" fmla="*/ 1190118 w 5719680"/>
                <a:gd name="connsiteY5481" fmla="*/ 4161689 h 5704395"/>
                <a:gd name="connsiteX5482" fmla="*/ 1190118 w 5719680"/>
                <a:gd name="connsiteY5482" fmla="*/ 4206370 h 5704395"/>
                <a:gd name="connsiteX5483" fmla="*/ 1087527 w 5719680"/>
                <a:gd name="connsiteY5483" fmla="*/ 4215877 h 5704395"/>
                <a:gd name="connsiteX5484" fmla="*/ 1086892 w 5719680"/>
                <a:gd name="connsiteY5484" fmla="*/ 4215243 h 5704395"/>
                <a:gd name="connsiteX5485" fmla="*/ 1083080 w 5719680"/>
                <a:gd name="connsiteY5485" fmla="*/ 4212391 h 5704395"/>
                <a:gd name="connsiteX5486" fmla="*/ 1080222 w 5719680"/>
                <a:gd name="connsiteY5486" fmla="*/ 4210173 h 5704395"/>
                <a:gd name="connsiteX5487" fmla="*/ 1078316 w 5719680"/>
                <a:gd name="connsiteY5487" fmla="*/ 4207004 h 5704395"/>
                <a:gd name="connsiteX5488" fmla="*/ 1079269 w 5719680"/>
                <a:gd name="connsiteY5488" fmla="*/ 4204786 h 5704395"/>
                <a:gd name="connsiteX5489" fmla="*/ 1080857 w 5719680"/>
                <a:gd name="connsiteY5489" fmla="*/ 4204469 h 5704395"/>
                <a:gd name="connsiteX5490" fmla="*/ 1116748 w 5719680"/>
                <a:gd name="connsiteY5490" fmla="*/ 4187357 h 5704395"/>
                <a:gd name="connsiteX5491" fmla="*/ 1140252 w 5719680"/>
                <a:gd name="connsiteY5491" fmla="*/ 4163590 h 5704395"/>
                <a:gd name="connsiteX5492" fmla="*/ 1149780 w 5719680"/>
                <a:gd name="connsiteY5492" fmla="*/ 4148380 h 5704395"/>
                <a:gd name="connsiteX5493" fmla="*/ 1150733 w 5719680"/>
                <a:gd name="connsiteY5493" fmla="*/ 4146795 h 5704395"/>
                <a:gd name="connsiteX5494" fmla="*/ 1271 w 5719680"/>
                <a:gd name="connsiteY5494" fmla="*/ 4146795 h 5704395"/>
                <a:gd name="connsiteX5495" fmla="*/ 2224 w 5719680"/>
                <a:gd name="connsiteY5495" fmla="*/ 4157569 h 5704395"/>
                <a:gd name="connsiteX5496" fmla="*/ 1271 w 5719680"/>
                <a:gd name="connsiteY5496" fmla="*/ 4169294 h 5704395"/>
                <a:gd name="connsiteX5497" fmla="*/ 843913 w 5719680"/>
                <a:gd name="connsiteY5497" fmla="*/ 4146478 h 5704395"/>
                <a:gd name="connsiteX5498" fmla="*/ 781343 w 5719680"/>
                <a:gd name="connsiteY5498" fmla="*/ 4293831 h 5704395"/>
                <a:gd name="connsiteX5499" fmla="*/ 846772 w 5719680"/>
                <a:gd name="connsiteY5499" fmla="*/ 4317281 h 5704395"/>
                <a:gd name="connsiteX5500" fmla="*/ 857889 w 5719680"/>
                <a:gd name="connsiteY5500" fmla="*/ 4271966 h 5704395"/>
                <a:gd name="connsiteX5501" fmla="*/ 835655 w 5719680"/>
                <a:gd name="connsiteY5501" fmla="*/ 4266579 h 5704395"/>
                <a:gd name="connsiteX5502" fmla="*/ 826127 w 5719680"/>
                <a:gd name="connsiteY5502" fmla="*/ 4289078 h 5704395"/>
                <a:gd name="connsiteX5503" fmla="*/ 807070 w 5719680"/>
                <a:gd name="connsiteY5503" fmla="*/ 4282740 h 5704395"/>
                <a:gd name="connsiteX5504" fmla="*/ 845502 w 5719680"/>
                <a:gd name="connsiteY5504" fmla="*/ 4190843 h 5704395"/>
                <a:gd name="connsiteX5505" fmla="*/ 872817 w 5719680"/>
                <a:gd name="connsiteY5505" fmla="*/ 4195596 h 5704395"/>
                <a:gd name="connsiteX5506" fmla="*/ 858524 w 5719680"/>
                <a:gd name="connsiteY5506" fmla="*/ 4230771 h 5704395"/>
                <a:gd name="connsiteX5507" fmla="*/ 872817 w 5719680"/>
                <a:gd name="connsiteY5507" fmla="*/ 4235524 h 5704395"/>
                <a:gd name="connsiteX5508" fmla="*/ 920777 w 5719680"/>
                <a:gd name="connsiteY5508" fmla="*/ 4206687 h 5704395"/>
                <a:gd name="connsiteX5509" fmla="*/ 906167 w 5719680"/>
                <a:gd name="connsiteY5509" fmla="*/ 4162323 h 5704395"/>
                <a:gd name="connsiteX5510" fmla="*/ 843913 w 5719680"/>
                <a:gd name="connsiteY5510" fmla="*/ 4146478 h 5704395"/>
                <a:gd name="connsiteX5511" fmla="*/ 633650 w 5719680"/>
                <a:gd name="connsiteY5511" fmla="*/ 4143309 h 5704395"/>
                <a:gd name="connsiteX5512" fmla="*/ 667317 w 5719680"/>
                <a:gd name="connsiteY5512" fmla="*/ 4154084 h 5704395"/>
                <a:gd name="connsiteX5513" fmla="*/ 691774 w 5719680"/>
                <a:gd name="connsiteY5513" fmla="*/ 4203518 h 5704395"/>
                <a:gd name="connsiteX5514" fmla="*/ 720995 w 5719680"/>
                <a:gd name="connsiteY5514" fmla="*/ 4213976 h 5704395"/>
                <a:gd name="connsiteX5515" fmla="*/ 731476 w 5719680"/>
                <a:gd name="connsiteY5515" fmla="*/ 4193378 h 5704395"/>
                <a:gd name="connsiteX5516" fmla="*/ 785154 w 5719680"/>
                <a:gd name="connsiteY5516" fmla="*/ 4210807 h 5704395"/>
                <a:gd name="connsiteX5517" fmla="*/ 784201 w 5719680"/>
                <a:gd name="connsiteY5517" fmla="*/ 4213342 h 5704395"/>
                <a:gd name="connsiteX5518" fmla="*/ 763874 w 5719680"/>
                <a:gd name="connsiteY5518" fmla="*/ 4264361 h 5704395"/>
                <a:gd name="connsiteX5519" fmla="*/ 750851 w 5719680"/>
                <a:gd name="connsiteY5519" fmla="*/ 4259924 h 5704395"/>
                <a:gd name="connsiteX5520" fmla="*/ 742275 w 5719680"/>
                <a:gd name="connsiteY5520" fmla="*/ 4281473 h 5704395"/>
                <a:gd name="connsiteX5521" fmla="*/ 684786 w 5719680"/>
                <a:gd name="connsiteY5521" fmla="*/ 4262459 h 5704395"/>
                <a:gd name="connsiteX5522" fmla="*/ 633650 w 5719680"/>
                <a:gd name="connsiteY5522" fmla="*/ 4143309 h 5704395"/>
                <a:gd name="connsiteX5523" fmla="*/ 2088026 w 5719680"/>
                <a:gd name="connsiteY5523" fmla="*/ 4142359 h 5704395"/>
                <a:gd name="connsiteX5524" fmla="*/ 2086756 w 5719680"/>
                <a:gd name="connsiteY5524" fmla="*/ 4164541 h 5704395"/>
                <a:gd name="connsiteX5525" fmla="*/ 2090250 w 5719680"/>
                <a:gd name="connsiteY5525" fmla="*/ 4164858 h 5704395"/>
                <a:gd name="connsiteX5526" fmla="*/ 2092473 w 5719680"/>
                <a:gd name="connsiteY5526" fmla="*/ 4164858 h 5704395"/>
                <a:gd name="connsiteX5527" fmla="*/ 2091520 w 5719680"/>
                <a:gd name="connsiteY5527" fmla="*/ 4180702 h 5704395"/>
                <a:gd name="connsiteX5528" fmla="*/ 2146150 w 5719680"/>
                <a:gd name="connsiteY5528" fmla="*/ 4184822 h 5704395"/>
                <a:gd name="connsiteX5529" fmla="*/ 2147103 w 5719680"/>
                <a:gd name="connsiteY5529" fmla="*/ 4169294 h 5704395"/>
                <a:gd name="connsiteX5530" fmla="*/ 2122964 w 5719680"/>
                <a:gd name="connsiteY5530" fmla="*/ 4167710 h 5704395"/>
                <a:gd name="connsiteX5531" fmla="*/ 2124552 w 5719680"/>
                <a:gd name="connsiteY5531" fmla="*/ 4144577 h 5704395"/>
                <a:gd name="connsiteX5532" fmla="*/ 2088026 w 5719680"/>
                <a:gd name="connsiteY5532" fmla="*/ 4142359 h 5704395"/>
                <a:gd name="connsiteX5533" fmla="*/ 841055 w 5719680"/>
                <a:gd name="connsiteY5533" fmla="*/ 4141091 h 5704395"/>
                <a:gd name="connsiteX5534" fmla="*/ 909661 w 5719680"/>
                <a:gd name="connsiteY5534" fmla="*/ 4158520 h 5704395"/>
                <a:gd name="connsiteX5535" fmla="*/ 927130 w 5719680"/>
                <a:gd name="connsiteY5535" fmla="*/ 4210807 h 5704395"/>
                <a:gd name="connsiteX5536" fmla="*/ 924271 w 5719680"/>
                <a:gd name="connsiteY5536" fmla="*/ 4211124 h 5704395"/>
                <a:gd name="connsiteX5537" fmla="*/ 884251 w 5719680"/>
                <a:gd name="connsiteY5537" fmla="*/ 4226968 h 5704395"/>
                <a:gd name="connsiteX5538" fmla="*/ 877899 w 5719680"/>
                <a:gd name="connsiteY5538" fmla="*/ 4235524 h 5704395"/>
                <a:gd name="connsiteX5539" fmla="*/ 876311 w 5719680"/>
                <a:gd name="connsiteY5539" fmla="*/ 4239010 h 5704395"/>
                <a:gd name="connsiteX5540" fmla="*/ 875675 w 5719680"/>
                <a:gd name="connsiteY5540" fmla="*/ 4241545 h 5704395"/>
                <a:gd name="connsiteX5541" fmla="*/ 852172 w 5719680"/>
                <a:gd name="connsiteY5541" fmla="*/ 4233306 h 5704395"/>
                <a:gd name="connsiteX5542" fmla="*/ 866464 w 5719680"/>
                <a:gd name="connsiteY5542" fmla="*/ 4199082 h 5704395"/>
                <a:gd name="connsiteX5543" fmla="*/ 848360 w 5719680"/>
                <a:gd name="connsiteY5543" fmla="*/ 4195913 h 5704395"/>
                <a:gd name="connsiteX5544" fmla="*/ 813422 w 5719680"/>
                <a:gd name="connsiteY5544" fmla="*/ 4279888 h 5704395"/>
                <a:gd name="connsiteX5545" fmla="*/ 823586 w 5719680"/>
                <a:gd name="connsiteY5545" fmla="*/ 4283374 h 5704395"/>
                <a:gd name="connsiteX5546" fmla="*/ 833114 w 5719680"/>
                <a:gd name="connsiteY5546" fmla="*/ 4260875 h 5704395"/>
                <a:gd name="connsiteX5547" fmla="*/ 863606 w 5719680"/>
                <a:gd name="connsiteY5547" fmla="*/ 4268797 h 5704395"/>
                <a:gd name="connsiteX5548" fmla="*/ 849948 w 5719680"/>
                <a:gd name="connsiteY5548" fmla="*/ 4323619 h 5704395"/>
                <a:gd name="connsiteX5549" fmla="*/ 774990 w 5719680"/>
                <a:gd name="connsiteY5549" fmla="*/ 4296683 h 5704395"/>
                <a:gd name="connsiteX5550" fmla="*/ 841055 w 5719680"/>
                <a:gd name="connsiteY5550" fmla="*/ 4141091 h 5704395"/>
                <a:gd name="connsiteX5551" fmla="*/ 92110 w 5719680"/>
                <a:gd name="connsiteY5551" fmla="*/ 4140457 h 5704395"/>
                <a:gd name="connsiteX5552" fmla="*/ 87028 w 5719680"/>
                <a:gd name="connsiteY5552" fmla="*/ 4213976 h 5704395"/>
                <a:gd name="connsiteX5553" fmla="*/ 87028 w 5719680"/>
                <a:gd name="connsiteY5553" fmla="*/ 4215243 h 5704395"/>
                <a:gd name="connsiteX5554" fmla="*/ 138482 w 5719680"/>
                <a:gd name="connsiteY5554" fmla="*/ 4233940 h 5704395"/>
                <a:gd name="connsiteX5555" fmla="*/ 175643 w 5719680"/>
                <a:gd name="connsiteY5555" fmla="*/ 4247249 h 5704395"/>
                <a:gd name="connsiteX5556" fmla="*/ 185490 w 5719680"/>
                <a:gd name="connsiteY5556" fmla="*/ 4250735 h 5704395"/>
                <a:gd name="connsiteX5557" fmla="*/ 188983 w 5719680"/>
                <a:gd name="connsiteY5557" fmla="*/ 4234573 h 5704395"/>
                <a:gd name="connsiteX5558" fmla="*/ 194383 w 5719680"/>
                <a:gd name="connsiteY5558" fmla="*/ 4178167 h 5704395"/>
                <a:gd name="connsiteX5559" fmla="*/ 194701 w 5719680"/>
                <a:gd name="connsiteY5559" fmla="*/ 4168027 h 5704395"/>
                <a:gd name="connsiteX5560" fmla="*/ 2084215 w 5719680"/>
                <a:gd name="connsiteY5560" fmla="*/ 4137922 h 5704395"/>
                <a:gd name="connsiteX5561" fmla="*/ 2128682 w 5719680"/>
                <a:gd name="connsiteY5561" fmla="*/ 4140774 h 5704395"/>
                <a:gd name="connsiteX5562" fmla="*/ 2127411 w 5719680"/>
                <a:gd name="connsiteY5562" fmla="*/ 4163907 h 5704395"/>
                <a:gd name="connsiteX5563" fmla="*/ 2151232 w 5719680"/>
                <a:gd name="connsiteY5563" fmla="*/ 4165175 h 5704395"/>
                <a:gd name="connsiteX5564" fmla="*/ 2149962 w 5719680"/>
                <a:gd name="connsiteY5564" fmla="*/ 4189258 h 5704395"/>
                <a:gd name="connsiteX5565" fmla="*/ 2147738 w 5719680"/>
                <a:gd name="connsiteY5565" fmla="*/ 4189258 h 5704395"/>
                <a:gd name="connsiteX5566" fmla="*/ 2087073 w 5719680"/>
                <a:gd name="connsiteY5566" fmla="*/ 4184505 h 5704395"/>
                <a:gd name="connsiteX5567" fmla="*/ 2088026 w 5719680"/>
                <a:gd name="connsiteY5567" fmla="*/ 4168977 h 5704395"/>
                <a:gd name="connsiteX5568" fmla="*/ 2084215 w 5719680"/>
                <a:gd name="connsiteY5568" fmla="*/ 4168660 h 5704395"/>
                <a:gd name="connsiteX5569" fmla="*/ 2082309 w 5719680"/>
                <a:gd name="connsiteY5569" fmla="*/ 4168660 h 5704395"/>
                <a:gd name="connsiteX5570" fmla="*/ 2084215 w 5719680"/>
                <a:gd name="connsiteY5570" fmla="*/ 4137922 h 5704395"/>
                <a:gd name="connsiteX5571" fmla="*/ 1150416 w 5719680"/>
                <a:gd name="connsiteY5571" fmla="*/ 4135387 h 5704395"/>
                <a:gd name="connsiteX5572" fmla="*/ 1106267 w 5719680"/>
                <a:gd name="connsiteY5572" fmla="*/ 4181019 h 5704395"/>
                <a:gd name="connsiteX5573" fmla="*/ 1070058 w 5719680"/>
                <a:gd name="connsiteY5573" fmla="*/ 4202884 h 5704395"/>
                <a:gd name="connsiteX5574" fmla="*/ 1069740 w 5719680"/>
                <a:gd name="connsiteY5574" fmla="*/ 4202884 h 5704395"/>
                <a:gd name="connsiteX5575" fmla="*/ 1069423 w 5719680"/>
                <a:gd name="connsiteY5575" fmla="*/ 4202884 h 5704395"/>
                <a:gd name="connsiteX5576" fmla="*/ 980172 w 5719680"/>
                <a:gd name="connsiteY5576" fmla="*/ 4221264 h 5704395"/>
                <a:gd name="connsiteX5577" fmla="*/ 1013840 w 5719680"/>
                <a:gd name="connsiteY5577" fmla="*/ 4244397 h 5704395"/>
                <a:gd name="connsiteX5578" fmla="*/ 1043696 w 5719680"/>
                <a:gd name="connsiteY5578" fmla="*/ 4264678 h 5704395"/>
                <a:gd name="connsiteX5579" fmla="*/ 1053859 w 5719680"/>
                <a:gd name="connsiteY5579" fmla="*/ 4271015 h 5704395"/>
                <a:gd name="connsiteX5580" fmla="*/ 1057036 w 5719680"/>
                <a:gd name="connsiteY5580" fmla="*/ 4272917 h 5704395"/>
                <a:gd name="connsiteX5581" fmla="*/ 1057671 w 5719680"/>
                <a:gd name="connsiteY5581" fmla="*/ 4273234 h 5704395"/>
                <a:gd name="connsiteX5582" fmla="*/ 1243160 w 5719680"/>
                <a:gd name="connsiteY5582" fmla="*/ 4245031 h 5704395"/>
                <a:gd name="connsiteX5583" fmla="*/ 1271746 w 5719680"/>
                <a:gd name="connsiteY5583" fmla="*/ 4181019 h 5704395"/>
                <a:gd name="connsiteX5584" fmla="*/ 1168520 w 5719680"/>
                <a:gd name="connsiteY5584" fmla="*/ 4142676 h 5704395"/>
                <a:gd name="connsiteX5585" fmla="*/ 1168520 w 5719680"/>
                <a:gd name="connsiteY5585" fmla="*/ 4142359 h 5704395"/>
                <a:gd name="connsiteX5586" fmla="*/ 1150416 w 5719680"/>
                <a:gd name="connsiteY5586" fmla="*/ 4135387 h 5704395"/>
                <a:gd name="connsiteX5587" fmla="*/ 3115841 w 5719680"/>
                <a:gd name="connsiteY5587" fmla="*/ 4133803 h 5704395"/>
                <a:gd name="connsiteX5588" fmla="*/ 3074868 w 5719680"/>
                <a:gd name="connsiteY5588" fmla="*/ 4146795 h 5704395"/>
                <a:gd name="connsiteX5589" fmla="*/ 3087573 w 5719680"/>
                <a:gd name="connsiteY5589" fmla="*/ 4185139 h 5704395"/>
                <a:gd name="connsiteX5590" fmla="*/ 3129181 w 5719680"/>
                <a:gd name="connsiteY5590" fmla="*/ 4172146 h 5704395"/>
                <a:gd name="connsiteX5591" fmla="*/ 3115841 w 5719680"/>
                <a:gd name="connsiteY5591" fmla="*/ 4133803 h 5704395"/>
                <a:gd name="connsiteX5592" fmla="*/ 3267662 w 5719680"/>
                <a:gd name="connsiteY5592" fmla="*/ 4133169 h 5704395"/>
                <a:gd name="connsiteX5593" fmla="*/ 3229231 w 5719680"/>
                <a:gd name="connsiteY5593" fmla="*/ 4144894 h 5704395"/>
                <a:gd name="connsiteX5594" fmla="*/ 3230819 w 5719680"/>
                <a:gd name="connsiteY5594" fmla="*/ 4149013 h 5704395"/>
                <a:gd name="connsiteX5595" fmla="*/ 3226372 w 5719680"/>
                <a:gd name="connsiteY5595" fmla="*/ 4150598 h 5704395"/>
                <a:gd name="connsiteX5596" fmla="*/ 3225102 w 5719680"/>
                <a:gd name="connsiteY5596" fmla="*/ 4146478 h 5704395"/>
                <a:gd name="connsiteX5597" fmla="*/ 3183811 w 5719680"/>
                <a:gd name="connsiteY5597" fmla="*/ 4159471 h 5704395"/>
                <a:gd name="connsiteX5598" fmla="*/ 3185717 w 5719680"/>
                <a:gd name="connsiteY5598" fmla="*/ 4164541 h 5704395"/>
                <a:gd name="connsiteX5599" fmla="*/ 3181588 w 5719680"/>
                <a:gd name="connsiteY5599" fmla="*/ 4166125 h 5704395"/>
                <a:gd name="connsiteX5600" fmla="*/ 3179682 w 5719680"/>
                <a:gd name="connsiteY5600" fmla="*/ 4160738 h 5704395"/>
                <a:gd name="connsiteX5601" fmla="*/ 3134580 w 5719680"/>
                <a:gd name="connsiteY5601" fmla="*/ 4174681 h 5704395"/>
                <a:gd name="connsiteX5602" fmla="*/ 3136804 w 5719680"/>
                <a:gd name="connsiteY5602" fmla="*/ 4181019 h 5704395"/>
                <a:gd name="connsiteX5603" fmla="*/ 3269568 w 5719680"/>
                <a:gd name="connsiteY5603" fmla="*/ 4138239 h 5704395"/>
                <a:gd name="connsiteX5604" fmla="*/ 3267662 w 5719680"/>
                <a:gd name="connsiteY5604" fmla="*/ 4133169 h 5704395"/>
                <a:gd name="connsiteX5605" fmla="*/ 2269069 w 5719680"/>
                <a:gd name="connsiteY5605" fmla="*/ 4131268 h 5704395"/>
                <a:gd name="connsiteX5606" fmla="*/ 2267163 w 5719680"/>
                <a:gd name="connsiteY5606" fmla="*/ 4154401 h 5704395"/>
                <a:gd name="connsiteX5607" fmla="*/ 2243342 w 5719680"/>
                <a:gd name="connsiteY5607" fmla="*/ 4152182 h 5704395"/>
                <a:gd name="connsiteX5608" fmla="*/ 2241754 w 5719680"/>
                <a:gd name="connsiteY5608" fmla="*/ 4167710 h 5704395"/>
                <a:gd name="connsiteX5609" fmla="*/ 2296384 w 5719680"/>
                <a:gd name="connsiteY5609" fmla="*/ 4171829 h 5704395"/>
                <a:gd name="connsiteX5610" fmla="*/ 2297655 w 5719680"/>
                <a:gd name="connsiteY5610" fmla="*/ 4155985 h 5704395"/>
                <a:gd name="connsiteX5611" fmla="*/ 2303690 w 5719680"/>
                <a:gd name="connsiteY5611" fmla="*/ 4156619 h 5704395"/>
                <a:gd name="connsiteX5612" fmla="*/ 2305595 w 5719680"/>
                <a:gd name="connsiteY5612" fmla="*/ 4134437 h 5704395"/>
                <a:gd name="connsiteX5613" fmla="*/ 2269069 w 5719680"/>
                <a:gd name="connsiteY5613" fmla="*/ 4131268 h 5704395"/>
                <a:gd name="connsiteX5614" fmla="*/ 2265258 w 5719680"/>
                <a:gd name="connsiteY5614" fmla="*/ 4126514 h 5704395"/>
                <a:gd name="connsiteX5615" fmla="*/ 2310042 w 5719680"/>
                <a:gd name="connsiteY5615" fmla="*/ 4130634 h 5704395"/>
                <a:gd name="connsiteX5616" fmla="*/ 2307501 w 5719680"/>
                <a:gd name="connsiteY5616" fmla="*/ 4161055 h 5704395"/>
                <a:gd name="connsiteX5617" fmla="*/ 2301466 w 5719680"/>
                <a:gd name="connsiteY5617" fmla="*/ 4160421 h 5704395"/>
                <a:gd name="connsiteX5618" fmla="*/ 2300196 w 5719680"/>
                <a:gd name="connsiteY5618" fmla="*/ 4176266 h 5704395"/>
                <a:gd name="connsiteX5619" fmla="*/ 2237307 w 5719680"/>
                <a:gd name="connsiteY5619" fmla="*/ 4171512 h 5704395"/>
                <a:gd name="connsiteX5620" fmla="*/ 2237625 w 5719680"/>
                <a:gd name="connsiteY5620" fmla="*/ 4169611 h 5704395"/>
                <a:gd name="connsiteX5621" fmla="*/ 2239530 w 5719680"/>
                <a:gd name="connsiteY5621" fmla="*/ 4147746 h 5704395"/>
                <a:gd name="connsiteX5622" fmla="*/ 2263352 w 5719680"/>
                <a:gd name="connsiteY5622" fmla="*/ 4149647 h 5704395"/>
                <a:gd name="connsiteX5623" fmla="*/ 2265258 w 5719680"/>
                <a:gd name="connsiteY5623" fmla="*/ 4126514 h 5704395"/>
                <a:gd name="connsiteX5624" fmla="*/ 832479 w 5719680"/>
                <a:gd name="connsiteY5624" fmla="*/ 4119543 h 5704395"/>
                <a:gd name="connsiteX5625" fmla="*/ 762285 w 5719680"/>
                <a:gd name="connsiteY5625" fmla="*/ 4301754 h 5704395"/>
                <a:gd name="connsiteX5626" fmla="*/ 857571 w 5719680"/>
                <a:gd name="connsiteY5626" fmla="*/ 4336294 h 5704395"/>
                <a:gd name="connsiteX5627" fmla="*/ 889333 w 5719680"/>
                <a:gd name="connsiteY5627" fmla="*/ 4246298 h 5704395"/>
                <a:gd name="connsiteX5628" fmla="*/ 936976 w 5719680"/>
                <a:gd name="connsiteY5628" fmla="*/ 4217144 h 5704395"/>
                <a:gd name="connsiteX5629" fmla="*/ 963656 w 5719680"/>
                <a:gd name="connsiteY5629" fmla="*/ 4210173 h 5704395"/>
                <a:gd name="connsiteX5630" fmla="*/ 945234 w 5719680"/>
                <a:gd name="connsiteY5630" fmla="*/ 4182604 h 5704395"/>
                <a:gd name="connsiteX5631" fmla="*/ 887110 w 5719680"/>
                <a:gd name="connsiteY5631" fmla="*/ 4136021 h 5704395"/>
                <a:gd name="connsiteX5632" fmla="*/ 832479 w 5719680"/>
                <a:gd name="connsiteY5632" fmla="*/ 4119543 h 5704395"/>
                <a:gd name="connsiteX5633" fmla="*/ 3165072 w 5719680"/>
                <a:gd name="connsiteY5633" fmla="*/ 4118275 h 5704395"/>
                <a:gd name="connsiteX5634" fmla="*/ 3120288 w 5719680"/>
                <a:gd name="connsiteY5634" fmla="*/ 4132535 h 5704395"/>
                <a:gd name="connsiteX5635" fmla="*/ 3133310 w 5719680"/>
                <a:gd name="connsiteY5635" fmla="*/ 4170879 h 5704395"/>
                <a:gd name="connsiteX5636" fmla="*/ 3178412 w 5719680"/>
                <a:gd name="connsiteY5636" fmla="*/ 4156619 h 5704395"/>
                <a:gd name="connsiteX5637" fmla="*/ 3165072 w 5719680"/>
                <a:gd name="connsiteY5637" fmla="*/ 4118275 h 5704395"/>
                <a:gd name="connsiteX5638" fmla="*/ 1753891 w 5719680"/>
                <a:gd name="connsiteY5638" fmla="*/ 4117958 h 5704395"/>
                <a:gd name="connsiteX5639" fmla="*/ 1749445 w 5719680"/>
                <a:gd name="connsiteY5639" fmla="*/ 4142359 h 5704395"/>
                <a:gd name="connsiteX5640" fmla="*/ 1787559 w 5719680"/>
                <a:gd name="connsiteY5640" fmla="*/ 4149330 h 5704395"/>
                <a:gd name="connsiteX5641" fmla="*/ 1792006 w 5719680"/>
                <a:gd name="connsiteY5641" fmla="*/ 4124613 h 5704395"/>
                <a:gd name="connsiteX5642" fmla="*/ 1753891 w 5719680"/>
                <a:gd name="connsiteY5642" fmla="*/ 4117958 h 5704395"/>
                <a:gd name="connsiteX5643" fmla="*/ 3318482 w 5719680"/>
                <a:gd name="connsiteY5643" fmla="*/ 4117008 h 5704395"/>
                <a:gd name="connsiteX5644" fmla="*/ 3271792 w 5719680"/>
                <a:gd name="connsiteY5644" fmla="*/ 4131585 h 5704395"/>
                <a:gd name="connsiteX5645" fmla="*/ 3273697 w 5719680"/>
                <a:gd name="connsiteY5645" fmla="*/ 4136972 h 5704395"/>
                <a:gd name="connsiteX5646" fmla="*/ 3320070 w 5719680"/>
                <a:gd name="connsiteY5646" fmla="*/ 4122078 h 5704395"/>
                <a:gd name="connsiteX5647" fmla="*/ 3318482 w 5719680"/>
                <a:gd name="connsiteY5647" fmla="*/ 4117008 h 5704395"/>
                <a:gd name="connsiteX5648" fmla="*/ 1894279 w 5719680"/>
                <a:gd name="connsiteY5648" fmla="*/ 4115106 h 5704395"/>
                <a:gd name="connsiteX5649" fmla="*/ 1889515 w 5719680"/>
                <a:gd name="connsiteY5649" fmla="*/ 4159788 h 5704395"/>
                <a:gd name="connsiteX5650" fmla="*/ 1932393 w 5719680"/>
                <a:gd name="connsiteY5650" fmla="*/ 4165175 h 5704395"/>
                <a:gd name="connsiteX5651" fmla="*/ 1937157 w 5719680"/>
                <a:gd name="connsiteY5651" fmla="*/ 4118275 h 5704395"/>
                <a:gd name="connsiteX5652" fmla="*/ 4507646 w 5719680"/>
                <a:gd name="connsiteY5652" fmla="*/ 4114790 h 5704395"/>
                <a:gd name="connsiteX5653" fmla="*/ 4389810 w 5719680"/>
                <a:gd name="connsiteY5653" fmla="*/ 4832224 h 5704395"/>
                <a:gd name="connsiteX5654" fmla="*/ 4372976 w 5719680"/>
                <a:gd name="connsiteY5654" fmla="*/ 5013167 h 5704395"/>
                <a:gd name="connsiteX5655" fmla="*/ 4375200 w 5719680"/>
                <a:gd name="connsiteY5655" fmla="*/ 5060700 h 5704395"/>
                <a:gd name="connsiteX5656" fmla="*/ 4376788 w 5719680"/>
                <a:gd name="connsiteY5656" fmla="*/ 5070524 h 5704395"/>
                <a:gd name="connsiteX5657" fmla="*/ 4377105 w 5719680"/>
                <a:gd name="connsiteY5657" fmla="*/ 5072742 h 5704395"/>
                <a:gd name="connsiteX5658" fmla="*/ 4377740 w 5719680"/>
                <a:gd name="connsiteY5658" fmla="*/ 5075911 h 5704395"/>
                <a:gd name="connsiteX5659" fmla="*/ 4377740 w 5719680"/>
                <a:gd name="connsiteY5659" fmla="*/ 5080347 h 5704395"/>
                <a:gd name="connsiteX5660" fmla="*/ 4378376 w 5719680"/>
                <a:gd name="connsiteY5660" fmla="*/ 5090171 h 5704395"/>
                <a:gd name="connsiteX5661" fmla="*/ 4383775 w 5719680"/>
                <a:gd name="connsiteY5661" fmla="*/ 5153548 h 5704395"/>
                <a:gd name="connsiteX5662" fmla="*/ 4601026 w 5719680"/>
                <a:gd name="connsiteY5662" fmla="*/ 5150062 h 5704395"/>
                <a:gd name="connsiteX5663" fmla="*/ 4597532 w 5719680"/>
                <a:gd name="connsiteY5663" fmla="*/ 5095241 h 5704395"/>
                <a:gd name="connsiteX5664" fmla="*/ 4627071 w 5719680"/>
                <a:gd name="connsiteY5664" fmla="*/ 4958028 h 5704395"/>
                <a:gd name="connsiteX5665" fmla="*/ 4668997 w 5719680"/>
                <a:gd name="connsiteY5665" fmla="*/ 4855040 h 5704395"/>
                <a:gd name="connsiteX5666" fmla="*/ 4676938 w 5719680"/>
                <a:gd name="connsiteY5666" fmla="*/ 4822400 h 5704395"/>
                <a:gd name="connsiteX5667" fmla="*/ 4678843 w 5719680"/>
                <a:gd name="connsiteY5667" fmla="*/ 4810675 h 5704395"/>
                <a:gd name="connsiteX5668" fmla="*/ 4703935 w 5719680"/>
                <a:gd name="connsiteY5668" fmla="*/ 4546391 h 5704395"/>
                <a:gd name="connsiteX5669" fmla="*/ 4746814 w 5719680"/>
                <a:gd name="connsiteY5669" fmla="*/ 4400939 h 5704395"/>
                <a:gd name="connsiteX5670" fmla="*/ 4853216 w 5719680"/>
                <a:gd name="connsiteY5670" fmla="*/ 4251368 h 5704395"/>
                <a:gd name="connsiteX5671" fmla="*/ 4883072 w 5719680"/>
                <a:gd name="connsiteY5671" fmla="*/ 4208588 h 5704395"/>
                <a:gd name="connsiteX5672" fmla="*/ 4889742 w 5719680"/>
                <a:gd name="connsiteY5672" fmla="*/ 4197497 h 5704395"/>
                <a:gd name="connsiteX5673" fmla="*/ 4891648 w 5719680"/>
                <a:gd name="connsiteY5673" fmla="*/ 4194012 h 5704395"/>
                <a:gd name="connsiteX5674" fmla="*/ 4893554 w 5719680"/>
                <a:gd name="connsiteY5674" fmla="*/ 4190526 h 5704395"/>
                <a:gd name="connsiteX5675" fmla="*/ 4886566 w 5719680"/>
                <a:gd name="connsiteY5675" fmla="*/ 4188941 h 5704395"/>
                <a:gd name="connsiteX5676" fmla="*/ 1542357 w 5719680"/>
                <a:gd name="connsiteY5676" fmla="*/ 4114473 h 5704395"/>
                <a:gd name="connsiteX5677" fmla="*/ 1510595 w 5719680"/>
                <a:gd name="connsiteY5677" fmla="*/ 4141408 h 5704395"/>
                <a:gd name="connsiteX5678" fmla="*/ 1524571 w 5719680"/>
                <a:gd name="connsiteY5678" fmla="*/ 4179752 h 5704395"/>
                <a:gd name="connsiteX5679" fmla="*/ 1524888 w 5719680"/>
                <a:gd name="connsiteY5679" fmla="*/ 4185139 h 5704395"/>
                <a:gd name="connsiteX5680" fmla="*/ 1521712 w 5719680"/>
                <a:gd name="connsiteY5680" fmla="*/ 4204469 h 5704395"/>
                <a:gd name="connsiteX5681" fmla="*/ 1521394 w 5719680"/>
                <a:gd name="connsiteY5681" fmla="*/ 4206053 h 5704395"/>
                <a:gd name="connsiteX5682" fmla="*/ 1488362 w 5719680"/>
                <a:gd name="connsiteY5682" fmla="*/ 4205736 h 5704395"/>
                <a:gd name="connsiteX5683" fmla="*/ 1477563 w 5719680"/>
                <a:gd name="connsiteY5683" fmla="*/ 4235524 h 5704395"/>
                <a:gd name="connsiteX5684" fmla="*/ 1518853 w 5719680"/>
                <a:gd name="connsiteY5684" fmla="*/ 4273551 h 5704395"/>
                <a:gd name="connsiteX5685" fmla="*/ 1563955 w 5719680"/>
                <a:gd name="connsiteY5685" fmla="*/ 4266896 h 5704395"/>
                <a:gd name="connsiteX5686" fmla="*/ 1570308 w 5719680"/>
                <a:gd name="connsiteY5686" fmla="*/ 4207955 h 5704395"/>
                <a:gd name="connsiteX5687" fmla="*/ 1569037 w 5719680"/>
                <a:gd name="connsiteY5687" fmla="*/ 4186723 h 5704395"/>
                <a:gd name="connsiteX5688" fmla="*/ 1542357 w 5719680"/>
                <a:gd name="connsiteY5688" fmla="*/ 4114473 h 5704395"/>
                <a:gd name="connsiteX5689" fmla="*/ 1874587 w 5719680"/>
                <a:gd name="connsiteY5689" fmla="*/ 4113522 h 5704395"/>
                <a:gd name="connsiteX5690" fmla="*/ 1857118 w 5719680"/>
                <a:gd name="connsiteY5690" fmla="*/ 4245664 h 5704395"/>
                <a:gd name="connsiteX5691" fmla="*/ 2040066 w 5719680"/>
                <a:gd name="connsiteY5691" fmla="*/ 4259924 h 5704395"/>
                <a:gd name="connsiteX5692" fmla="*/ 2046736 w 5719680"/>
                <a:gd name="connsiteY5692" fmla="*/ 4197497 h 5704395"/>
                <a:gd name="connsiteX5693" fmla="*/ 1865693 w 5719680"/>
                <a:gd name="connsiteY5693" fmla="*/ 4183554 h 5704395"/>
                <a:gd name="connsiteX5694" fmla="*/ 1866011 w 5719680"/>
                <a:gd name="connsiteY5694" fmla="*/ 4179118 h 5704395"/>
                <a:gd name="connsiteX5695" fmla="*/ 2047371 w 5719680"/>
                <a:gd name="connsiteY5695" fmla="*/ 4193061 h 5704395"/>
                <a:gd name="connsiteX5696" fmla="*/ 2054359 w 5719680"/>
                <a:gd name="connsiteY5696" fmla="*/ 4127148 h 5704395"/>
                <a:gd name="connsiteX5697" fmla="*/ 1941604 w 5719680"/>
                <a:gd name="connsiteY5697" fmla="*/ 4118592 h 5704395"/>
                <a:gd name="connsiteX5698" fmla="*/ 1936204 w 5719680"/>
                <a:gd name="connsiteY5698" fmla="*/ 4169928 h 5704395"/>
                <a:gd name="connsiteX5699" fmla="*/ 1885068 w 5719680"/>
                <a:gd name="connsiteY5699" fmla="*/ 4163590 h 5704395"/>
                <a:gd name="connsiteX5700" fmla="*/ 1890150 w 5719680"/>
                <a:gd name="connsiteY5700" fmla="*/ 4114790 h 5704395"/>
                <a:gd name="connsiteX5701" fmla="*/ 1874587 w 5719680"/>
                <a:gd name="connsiteY5701" fmla="*/ 4113522 h 5704395"/>
                <a:gd name="connsiteX5702" fmla="*/ 1750398 w 5719680"/>
                <a:gd name="connsiteY5702" fmla="*/ 4113205 h 5704395"/>
                <a:gd name="connsiteX5703" fmla="*/ 1796770 w 5719680"/>
                <a:gd name="connsiteY5703" fmla="*/ 4121444 h 5704395"/>
                <a:gd name="connsiteX5704" fmla="*/ 1790735 w 5719680"/>
                <a:gd name="connsiteY5704" fmla="*/ 4154084 h 5704395"/>
                <a:gd name="connsiteX5705" fmla="*/ 1744363 w 5719680"/>
                <a:gd name="connsiteY5705" fmla="*/ 4145528 h 5704395"/>
                <a:gd name="connsiteX5706" fmla="*/ 1744998 w 5719680"/>
                <a:gd name="connsiteY5706" fmla="*/ 4143626 h 5704395"/>
                <a:gd name="connsiteX5707" fmla="*/ 1750398 w 5719680"/>
                <a:gd name="connsiteY5707" fmla="*/ 4113205 h 5704395"/>
                <a:gd name="connsiteX5708" fmla="*/ 1543628 w 5719680"/>
                <a:gd name="connsiteY5708" fmla="*/ 4107184 h 5704395"/>
                <a:gd name="connsiteX5709" fmla="*/ 1545216 w 5719680"/>
                <a:gd name="connsiteY5709" fmla="*/ 4109402 h 5704395"/>
                <a:gd name="connsiteX5710" fmla="*/ 1573802 w 5719680"/>
                <a:gd name="connsiteY5710" fmla="*/ 4186089 h 5704395"/>
                <a:gd name="connsiteX5711" fmla="*/ 1575072 w 5719680"/>
                <a:gd name="connsiteY5711" fmla="*/ 4207955 h 5704395"/>
                <a:gd name="connsiteX5712" fmla="*/ 1568084 w 5719680"/>
                <a:gd name="connsiteY5712" fmla="*/ 4269431 h 5704395"/>
                <a:gd name="connsiteX5713" fmla="*/ 1567767 w 5719680"/>
                <a:gd name="connsiteY5713" fmla="*/ 4271015 h 5704395"/>
                <a:gd name="connsiteX5714" fmla="*/ 1517265 w 5719680"/>
                <a:gd name="connsiteY5714" fmla="*/ 4278621 h 5704395"/>
                <a:gd name="connsiteX5715" fmla="*/ 1471846 w 5719680"/>
                <a:gd name="connsiteY5715" fmla="*/ 4236792 h 5704395"/>
                <a:gd name="connsiteX5716" fmla="*/ 1484868 w 5719680"/>
                <a:gd name="connsiteY5716" fmla="*/ 4200983 h 5704395"/>
                <a:gd name="connsiteX5717" fmla="*/ 1517901 w 5719680"/>
                <a:gd name="connsiteY5717" fmla="*/ 4201300 h 5704395"/>
                <a:gd name="connsiteX5718" fmla="*/ 1520442 w 5719680"/>
                <a:gd name="connsiteY5718" fmla="*/ 4185139 h 5704395"/>
                <a:gd name="connsiteX5719" fmla="*/ 1520124 w 5719680"/>
                <a:gd name="connsiteY5719" fmla="*/ 4180385 h 5704395"/>
                <a:gd name="connsiteX5720" fmla="*/ 1505831 w 5719680"/>
                <a:gd name="connsiteY5720" fmla="*/ 4141725 h 5704395"/>
                <a:gd name="connsiteX5721" fmla="*/ 1504878 w 5719680"/>
                <a:gd name="connsiteY5721" fmla="*/ 4140141 h 5704395"/>
                <a:gd name="connsiteX5722" fmla="*/ 1543628 w 5719680"/>
                <a:gd name="connsiteY5722" fmla="*/ 4107184 h 5704395"/>
                <a:gd name="connsiteX5723" fmla="*/ 1357185 w 5719680"/>
                <a:gd name="connsiteY5723" fmla="*/ 4107184 h 5704395"/>
                <a:gd name="connsiteX5724" fmla="*/ 1331458 w 5719680"/>
                <a:gd name="connsiteY5724" fmla="*/ 4130634 h 5704395"/>
                <a:gd name="connsiteX5725" fmla="*/ 1286992 w 5719680"/>
                <a:gd name="connsiteY5725" fmla="*/ 4168344 h 5704395"/>
                <a:gd name="connsiteX5726" fmla="*/ 1258088 w 5719680"/>
                <a:gd name="connsiteY5726" fmla="*/ 4219680 h 5704395"/>
                <a:gd name="connsiteX5727" fmla="*/ 1247607 w 5719680"/>
                <a:gd name="connsiteY5727" fmla="*/ 4248516 h 5704395"/>
                <a:gd name="connsiteX5728" fmla="*/ 1247607 w 5719680"/>
                <a:gd name="connsiteY5728" fmla="*/ 4359744 h 5704395"/>
                <a:gd name="connsiteX5729" fmla="*/ 1311766 w 5719680"/>
                <a:gd name="connsiteY5729" fmla="*/ 4428192 h 5704395"/>
                <a:gd name="connsiteX5730" fmla="*/ 1358138 w 5719680"/>
                <a:gd name="connsiteY5730" fmla="*/ 4435797 h 5704395"/>
                <a:gd name="connsiteX5731" fmla="*/ 1404193 w 5719680"/>
                <a:gd name="connsiteY5731" fmla="*/ 4443086 h 5704395"/>
                <a:gd name="connsiteX5732" fmla="*/ 1414674 w 5719680"/>
                <a:gd name="connsiteY5732" fmla="*/ 4376539 h 5704395"/>
                <a:gd name="connsiteX5733" fmla="*/ 1425474 w 5719680"/>
                <a:gd name="connsiteY5733" fmla="*/ 4302070 h 5704395"/>
                <a:gd name="connsiteX5734" fmla="*/ 1436273 w 5719680"/>
                <a:gd name="connsiteY5734" fmla="*/ 4234573 h 5704395"/>
                <a:gd name="connsiteX5735" fmla="*/ 1444213 w 5719680"/>
                <a:gd name="connsiteY5735" fmla="*/ 4209856 h 5704395"/>
                <a:gd name="connsiteX5736" fmla="*/ 1470893 w 5719680"/>
                <a:gd name="connsiteY5736" fmla="*/ 4140141 h 5704395"/>
                <a:gd name="connsiteX5737" fmla="*/ 1471049 w 5719680"/>
                <a:gd name="connsiteY5737" fmla="*/ 4139777 h 5704395"/>
                <a:gd name="connsiteX5738" fmla="*/ 1471211 w 5719680"/>
                <a:gd name="connsiteY5738" fmla="*/ 4139824 h 5704395"/>
                <a:gd name="connsiteX5739" fmla="*/ 1471846 w 5719680"/>
                <a:gd name="connsiteY5739" fmla="*/ 4137922 h 5704395"/>
                <a:gd name="connsiteX5740" fmla="*/ 1471049 w 5719680"/>
                <a:gd name="connsiteY5740" fmla="*/ 4139777 h 5704395"/>
                <a:gd name="connsiteX5741" fmla="*/ 1469429 w 5719680"/>
                <a:gd name="connsiteY5741" fmla="*/ 4139314 h 5704395"/>
                <a:gd name="connsiteX5742" fmla="*/ 1357185 w 5719680"/>
                <a:gd name="connsiteY5742" fmla="*/ 4107184 h 5704395"/>
                <a:gd name="connsiteX5743" fmla="*/ 3210491 w 5719680"/>
                <a:gd name="connsiteY5743" fmla="*/ 4104015 h 5704395"/>
                <a:gd name="connsiteX5744" fmla="*/ 3169518 w 5719680"/>
                <a:gd name="connsiteY5744" fmla="*/ 4117008 h 5704395"/>
                <a:gd name="connsiteX5745" fmla="*/ 3182541 w 5719680"/>
                <a:gd name="connsiteY5745" fmla="*/ 4155351 h 5704395"/>
                <a:gd name="connsiteX5746" fmla="*/ 3223831 w 5719680"/>
                <a:gd name="connsiteY5746" fmla="*/ 4142359 h 5704395"/>
                <a:gd name="connsiteX5747" fmla="*/ 3210491 w 5719680"/>
                <a:gd name="connsiteY5747" fmla="*/ 4104015 h 5704395"/>
                <a:gd name="connsiteX5748" fmla="*/ 3362948 w 5719680"/>
                <a:gd name="connsiteY5748" fmla="*/ 4103065 h 5704395"/>
                <a:gd name="connsiteX5749" fmla="*/ 3322611 w 5719680"/>
                <a:gd name="connsiteY5749" fmla="*/ 4115740 h 5704395"/>
                <a:gd name="connsiteX5750" fmla="*/ 3324199 w 5719680"/>
                <a:gd name="connsiteY5750" fmla="*/ 4120810 h 5704395"/>
                <a:gd name="connsiteX5751" fmla="*/ 3364536 w 5719680"/>
                <a:gd name="connsiteY5751" fmla="*/ 4107818 h 5704395"/>
                <a:gd name="connsiteX5752" fmla="*/ 3362948 w 5719680"/>
                <a:gd name="connsiteY5752" fmla="*/ 4103065 h 5704395"/>
                <a:gd name="connsiteX5753" fmla="*/ 1705613 w 5719680"/>
                <a:gd name="connsiteY5753" fmla="*/ 4100846 h 5704395"/>
                <a:gd name="connsiteX5754" fmla="*/ 1710060 w 5719680"/>
                <a:gd name="connsiteY5754" fmla="*/ 4143309 h 5704395"/>
                <a:gd name="connsiteX5755" fmla="*/ 1816145 w 5719680"/>
                <a:gd name="connsiteY5755" fmla="*/ 4163273 h 5704395"/>
                <a:gd name="connsiteX5756" fmla="*/ 1820591 w 5719680"/>
                <a:gd name="connsiteY5756" fmla="*/ 4122395 h 5704395"/>
                <a:gd name="connsiteX5757" fmla="*/ 1705613 w 5719680"/>
                <a:gd name="connsiteY5757" fmla="*/ 4100846 h 5704395"/>
                <a:gd name="connsiteX5758" fmla="*/ 1594129 w 5719680"/>
                <a:gd name="connsiteY5758" fmla="*/ 4098311 h 5704395"/>
                <a:gd name="connsiteX5759" fmla="*/ 1613821 w 5719680"/>
                <a:gd name="connsiteY5759" fmla="*/ 4147429 h 5704395"/>
                <a:gd name="connsiteX5760" fmla="*/ 1620809 w 5719680"/>
                <a:gd name="connsiteY5760" fmla="*/ 4212074 h 5704395"/>
                <a:gd name="connsiteX5761" fmla="*/ 1620809 w 5719680"/>
                <a:gd name="connsiteY5761" fmla="*/ 4215243 h 5704395"/>
                <a:gd name="connsiteX5762" fmla="*/ 1647807 w 5719680"/>
                <a:gd name="connsiteY5762" fmla="*/ 4216511 h 5704395"/>
                <a:gd name="connsiteX5763" fmla="*/ 1667817 w 5719680"/>
                <a:gd name="connsiteY5763" fmla="*/ 4217144 h 5704395"/>
                <a:gd name="connsiteX5764" fmla="*/ 1674487 w 5719680"/>
                <a:gd name="connsiteY5764" fmla="*/ 4217461 h 5704395"/>
                <a:gd name="connsiteX5765" fmla="*/ 1675122 w 5719680"/>
                <a:gd name="connsiteY5765" fmla="*/ 4217461 h 5704395"/>
                <a:gd name="connsiteX5766" fmla="*/ 1679569 w 5719680"/>
                <a:gd name="connsiteY5766" fmla="*/ 4195279 h 5704395"/>
                <a:gd name="connsiteX5767" fmla="*/ 1683698 w 5719680"/>
                <a:gd name="connsiteY5767" fmla="*/ 4174681 h 5704395"/>
                <a:gd name="connsiteX5768" fmla="*/ 1648124 w 5719680"/>
                <a:gd name="connsiteY5768" fmla="*/ 4182287 h 5704395"/>
                <a:gd name="connsiteX5769" fmla="*/ 1662417 w 5719680"/>
                <a:gd name="connsiteY5769" fmla="*/ 4147746 h 5704395"/>
                <a:gd name="connsiteX5770" fmla="*/ 1688144 w 5719680"/>
                <a:gd name="connsiteY5770" fmla="*/ 4150915 h 5704395"/>
                <a:gd name="connsiteX5771" fmla="*/ 1682110 w 5719680"/>
                <a:gd name="connsiteY5771" fmla="*/ 4109086 h 5704395"/>
                <a:gd name="connsiteX5772" fmla="*/ 994782 w 5719680"/>
                <a:gd name="connsiteY5772" fmla="*/ 4096093 h 5704395"/>
                <a:gd name="connsiteX5773" fmla="*/ 943011 w 5719680"/>
                <a:gd name="connsiteY5773" fmla="*/ 4145528 h 5704395"/>
                <a:gd name="connsiteX5774" fmla="*/ 961750 w 5719680"/>
                <a:gd name="connsiteY5774" fmla="*/ 4157253 h 5704395"/>
                <a:gd name="connsiteX5775" fmla="*/ 1013840 w 5719680"/>
                <a:gd name="connsiteY5775" fmla="*/ 4113839 h 5704395"/>
                <a:gd name="connsiteX5776" fmla="*/ 995100 w 5719680"/>
                <a:gd name="connsiteY5776" fmla="*/ 4110036 h 5704395"/>
                <a:gd name="connsiteX5777" fmla="*/ 994782 w 5719680"/>
                <a:gd name="connsiteY5777" fmla="*/ 4096093 h 5704395"/>
                <a:gd name="connsiteX5778" fmla="*/ 1585236 w 5719680"/>
                <a:gd name="connsiteY5778" fmla="*/ 4092607 h 5704395"/>
                <a:gd name="connsiteX5779" fmla="*/ 1686239 w 5719680"/>
                <a:gd name="connsiteY5779" fmla="*/ 4104966 h 5704395"/>
                <a:gd name="connsiteX5780" fmla="*/ 1686556 w 5719680"/>
                <a:gd name="connsiteY5780" fmla="*/ 4106867 h 5704395"/>
                <a:gd name="connsiteX5781" fmla="*/ 1693861 w 5719680"/>
                <a:gd name="connsiteY5781" fmla="*/ 4156619 h 5704395"/>
                <a:gd name="connsiteX5782" fmla="*/ 1665593 w 5719680"/>
                <a:gd name="connsiteY5782" fmla="*/ 4152816 h 5704395"/>
                <a:gd name="connsiteX5783" fmla="*/ 1656065 w 5719680"/>
                <a:gd name="connsiteY5783" fmla="*/ 4175949 h 5704395"/>
                <a:gd name="connsiteX5784" fmla="*/ 1689732 w 5719680"/>
                <a:gd name="connsiteY5784" fmla="*/ 4168660 h 5704395"/>
                <a:gd name="connsiteX5785" fmla="*/ 1688780 w 5719680"/>
                <a:gd name="connsiteY5785" fmla="*/ 4172146 h 5704395"/>
                <a:gd name="connsiteX5786" fmla="*/ 1684015 w 5719680"/>
                <a:gd name="connsiteY5786" fmla="*/ 4196230 h 5704395"/>
                <a:gd name="connsiteX5787" fmla="*/ 1680839 w 5719680"/>
                <a:gd name="connsiteY5787" fmla="*/ 4212708 h 5704395"/>
                <a:gd name="connsiteX5788" fmla="*/ 1679569 w 5719680"/>
                <a:gd name="connsiteY5788" fmla="*/ 4218412 h 5704395"/>
                <a:gd name="connsiteX5789" fmla="*/ 1679251 w 5719680"/>
                <a:gd name="connsiteY5789" fmla="*/ 4219996 h 5704395"/>
                <a:gd name="connsiteX5790" fmla="*/ 1679251 w 5719680"/>
                <a:gd name="connsiteY5790" fmla="*/ 4220313 h 5704395"/>
                <a:gd name="connsiteX5791" fmla="*/ 1678933 w 5719680"/>
                <a:gd name="connsiteY5791" fmla="*/ 4221264 h 5704395"/>
                <a:gd name="connsiteX5792" fmla="*/ 1677028 w 5719680"/>
                <a:gd name="connsiteY5792" fmla="*/ 4220313 h 5704395"/>
                <a:gd name="connsiteX5793" fmla="*/ 1677028 w 5719680"/>
                <a:gd name="connsiteY5793" fmla="*/ 4222532 h 5704395"/>
                <a:gd name="connsiteX5794" fmla="*/ 1676710 w 5719680"/>
                <a:gd name="connsiteY5794" fmla="*/ 4222532 h 5704395"/>
                <a:gd name="connsiteX5795" fmla="*/ 1676075 w 5719680"/>
                <a:gd name="connsiteY5795" fmla="*/ 4222215 h 5704395"/>
                <a:gd name="connsiteX5796" fmla="*/ 1618268 w 5719680"/>
                <a:gd name="connsiteY5796" fmla="*/ 4219996 h 5704395"/>
                <a:gd name="connsiteX5797" fmla="*/ 1615727 w 5719680"/>
                <a:gd name="connsiteY5797" fmla="*/ 4219996 h 5704395"/>
                <a:gd name="connsiteX5798" fmla="*/ 1616045 w 5719680"/>
                <a:gd name="connsiteY5798" fmla="*/ 4217461 h 5704395"/>
                <a:gd name="connsiteX5799" fmla="*/ 1616045 w 5719680"/>
                <a:gd name="connsiteY5799" fmla="*/ 4212074 h 5704395"/>
                <a:gd name="connsiteX5800" fmla="*/ 1609375 w 5719680"/>
                <a:gd name="connsiteY5800" fmla="*/ 4148697 h 5704395"/>
                <a:gd name="connsiteX5801" fmla="*/ 1587777 w 5719680"/>
                <a:gd name="connsiteY5801" fmla="*/ 4096727 h 5704395"/>
                <a:gd name="connsiteX5802" fmla="*/ 1585236 w 5719680"/>
                <a:gd name="connsiteY5802" fmla="*/ 4092607 h 5704395"/>
                <a:gd name="connsiteX5803" fmla="*/ 3253052 w 5719680"/>
                <a:gd name="connsiteY5803" fmla="*/ 4090389 h 5704395"/>
                <a:gd name="connsiteX5804" fmla="*/ 3214938 w 5719680"/>
                <a:gd name="connsiteY5804" fmla="*/ 4102748 h 5704395"/>
                <a:gd name="connsiteX5805" fmla="*/ 3227960 w 5719680"/>
                <a:gd name="connsiteY5805" fmla="*/ 4141091 h 5704395"/>
                <a:gd name="connsiteX5806" fmla="*/ 3266392 w 5719680"/>
                <a:gd name="connsiteY5806" fmla="*/ 4129049 h 5704395"/>
                <a:gd name="connsiteX5807" fmla="*/ 3253052 w 5719680"/>
                <a:gd name="connsiteY5807" fmla="*/ 4090389 h 5704395"/>
                <a:gd name="connsiteX5808" fmla="*/ 2079133 w 5719680"/>
                <a:gd name="connsiteY5808" fmla="*/ 4090072 h 5704395"/>
                <a:gd name="connsiteX5809" fmla="*/ 2064840 w 5719680"/>
                <a:gd name="connsiteY5809" fmla="*/ 4224750 h 5704395"/>
                <a:gd name="connsiteX5810" fmla="*/ 2172195 w 5719680"/>
                <a:gd name="connsiteY5810" fmla="*/ 4239960 h 5704395"/>
                <a:gd name="connsiteX5811" fmla="*/ 2183947 w 5719680"/>
                <a:gd name="connsiteY5811" fmla="*/ 4225067 h 5704395"/>
                <a:gd name="connsiteX5812" fmla="*/ 2192205 w 5719680"/>
                <a:gd name="connsiteY5812" fmla="*/ 4213342 h 5704395"/>
                <a:gd name="connsiteX5813" fmla="*/ 2195064 w 5719680"/>
                <a:gd name="connsiteY5813" fmla="*/ 4209539 h 5704395"/>
                <a:gd name="connsiteX5814" fmla="*/ 2195382 w 5719680"/>
                <a:gd name="connsiteY5814" fmla="*/ 4208588 h 5704395"/>
                <a:gd name="connsiteX5815" fmla="*/ 2195064 w 5719680"/>
                <a:gd name="connsiteY5815" fmla="*/ 4203835 h 5704395"/>
                <a:gd name="connsiteX5816" fmla="*/ 2200463 w 5719680"/>
                <a:gd name="connsiteY5816" fmla="*/ 4098311 h 5704395"/>
                <a:gd name="connsiteX5817" fmla="*/ 2079133 w 5719680"/>
                <a:gd name="connsiteY5817" fmla="*/ 4090072 h 5704395"/>
                <a:gd name="connsiteX5818" fmla="*/ 289351 w 5719680"/>
                <a:gd name="connsiteY5818" fmla="*/ 4090072 h 5704395"/>
                <a:gd name="connsiteX5819" fmla="*/ 229639 w 5719680"/>
                <a:gd name="connsiteY5819" fmla="*/ 4102748 h 5704395"/>
                <a:gd name="connsiteX5820" fmla="*/ 226462 w 5719680"/>
                <a:gd name="connsiteY5820" fmla="*/ 4171196 h 5704395"/>
                <a:gd name="connsiteX5821" fmla="*/ 316666 w 5719680"/>
                <a:gd name="connsiteY5821" fmla="*/ 4170245 h 5704395"/>
                <a:gd name="connsiteX5822" fmla="*/ 317619 w 5719680"/>
                <a:gd name="connsiteY5822" fmla="*/ 4145211 h 5704395"/>
                <a:gd name="connsiteX5823" fmla="*/ 266165 w 5719680"/>
                <a:gd name="connsiteY5823" fmla="*/ 4118909 h 5704395"/>
                <a:gd name="connsiteX5824" fmla="*/ 289033 w 5719680"/>
                <a:gd name="connsiteY5824" fmla="*/ 4099262 h 5704395"/>
                <a:gd name="connsiteX5825" fmla="*/ 289351 w 5719680"/>
                <a:gd name="connsiteY5825" fmla="*/ 4090072 h 5704395"/>
                <a:gd name="connsiteX5826" fmla="*/ 3406462 w 5719680"/>
                <a:gd name="connsiteY5826" fmla="*/ 4089439 h 5704395"/>
                <a:gd name="connsiteX5827" fmla="*/ 3367077 w 5719680"/>
                <a:gd name="connsiteY5827" fmla="*/ 4101797 h 5704395"/>
                <a:gd name="connsiteX5828" fmla="*/ 3368666 w 5719680"/>
                <a:gd name="connsiteY5828" fmla="*/ 4106550 h 5704395"/>
                <a:gd name="connsiteX5829" fmla="*/ 3408050 w 5719680"/>
                <a:gd name="connsiteY5829" fmla="*/ 4093875 h 5704395"/>
                <a:gd name="connsiteX5830" fmla="*/ 3406462 w 5719680"/>
                <a:gd name="connsiteY5830" fmla="*/ 4089439 h 5704395"/>
                <a:gd name="connsiteX5831" fmla="*/ 144834 w 5719680"/>
                <a:gd name="connsiteY5831" fmla="*/ 4087220 h 5704395"/>
                <a:gd name="connsiteX5832" fmla="*/ 144199 w 5719680"/>
                <a:gd name="connsiteY5832" fmla="*/ 4122712 h 5704395"/>
                <a:gd name="connsiteX5833" fmla="*/ 179773 w 5719680"/>
                <a:gd name="connsiteY5833" fmla="*/ 4123346 h 5704395"/>
                <a:gd name="connsiteX5834" fmla="*/ 180408 w 5719680"/>
                <a:gd name="connsiteY5834" fmla="*/ 4087854 h 5704395"/>
                <a:gd name="connsiteX5835" fmla="*/ 144834 w 5719680"/>
                <a:gd name="connsiteY5835" fmla="*/ 4087220 h 5704395"/>
                <a:gd name="connsiteX5836" fmla="*/ 414175 w 5719680"/>
                <a:gd name="connsiteY5836" fmla="*/ 4086903 h 5704395"/>
                <a:gd name="connsiteX5837" fmla="*/ 384319 w 5719680"/>
                <a:gd name="connsiteY5837" fmla="*/ 4093241 h 5704395"/>
                <a:gd name="connsiteX5838" fmla="*/ 408140 w 5719680"/>
                <a:gd name="connsiteY5838" fmla="*/ 4130000 h 5704395"/>
                <a:gd name="connsiteX5839" fmla="*/ 410681 w 5719680"/>
                <a:gd name="connsiteY5839" fmla="*/ 4192427 h 5704395"/>
                <a:gd name="connsiteX5840" fmla="*/ 447525 w 5719680"/>
                <a:gd name="connsiteY5840" fmla="*/ 4220313 h 5704395"/>
                <a:gd name="connsiteX5841" fmla="*/ 460865 w 5719680"/>
                <a:gd name="connsiteY5841" fmla="*/ 4200983 h 5704395"/>
                <a:gd name="connsiteX5842" fmla="*/ 449431 w 5719680"/>
                <a:gd name="connsiteY5842" fmla="*/ 4106867 h 5704395"/>
                <a:gd name="connsiteX5843" fmla="*/ 414175 w 5719680"/>
                <a:gd name="connsiteY5843" fmla="*/ 4086903 h 5704395"/>
                <a:gd name="connsiteX5844" fmla="*/ 999229 w 5719680"/>
                <a:gd name="connsiteY5844" fmla="*/ 4085319 h 5704395"/>
                <a:gd name="connsiteX5845" fmla="*/ 999547 w 5719680"/>
                <a:gd name="connsiteY5845" fmla="*/ 4106234 h 5704395"/>
                <a:gd name="connsiteX5846" fmla="*/ 1024321 w 5719680"/>
                <a:gd name="connsiteY5846" fmla="*/ 4111304 h 5704395"/>
                <a:gd name="connsiteX5847" fmla="*/ 1020510 w 5719680"/>
                <a:gd name="connsiteY5847" fmla="*/ 4114473 h 5704395"/>
                <a:gd name="connsiteX5848" fmla="*/ 962068 w 5719680"/>
                <a:gd name="connsiteY5848" fmla="*/ 4162956 h 5704395"/>
                <a:gd name="connsiteX5849" fmla="*/ 935388 w 5719680"/>
                <a:gd name="connsiteY5849" fmla="*/ 4146478 h 5704395"/>
                <a:gd name="connsiteX5850" fmla="*/ 999229 w 5719680"/>
                <a:gd name="connsiteY5850" fmla="*/ 4085319 h 5704395"/>
                <a:gd name="connsiteX5851" fmla="*/ 294115 w 5719680"/>
                <a:gd name="connsiteY5851" fmla="*/ 4084368 h 5704395"/>
                <a:gd name="connsiteX5852" fmla="*/ 294115 w 5719680"/>
                <a:gd name="connsiteY5852" fmla="*/ 4087220 h 5704395"/>
                <a:gd name="connsiteX5853" fmla="*/ 293798 w 5719680"/>
                <a:gd name="connsiteY5853" fmla="*/ 4101480 h 5704395"/>
                <a:gd name="connsiteX5854" fmla="*/ 274423 w 5719680"/>
                <a:gd name="connsiteY5854" fmla="*/ 4117958 h 5704395"/>
                <a:gd name="connsiteX5855" fmla="*/ 322701 w 5719680"/>
                <a:gd name="connsiteY5855" fmla="*/ 4142359 h 5704395"/>
                <a:gd name="connsiteX5856" fmla="*/ 321113 w 5719680"/>
                <a:gd name="connsiteY5856" fmla="*/ 4174998 h 5704395"/>
                <a:gd name="connsiteX5857" fmla="*/ 221381 w 5719680"/>
                <a:gd name="connsiteY5857" fmla="*/ 4175949 h 5704395"/>
                <a:gd name="connsiteX5858" fmla="*/ 225192 w 5719680"/>
                <a:gd name="connsiteY5858" fmla="*/ 4098945 h 5704395"/>
                <a:gd name="connsiteX5859" fmla="*/ 294115 w 5719680"/>
                <a:gd name="connsiteY5859" fmla="*/ 4084368 h 5704395"/>
                <a:gd name="connsiteX5860" fmla="*/ 140705 w 5719680"/>
                <a:gd name="connsiteY5860" fmla="*/ 4083101 h 5704395"/>
                <a:gd name="connsiteX5861" fmla="*/ 142929 w 5719680"/>
                <a:gd name="connsiteY5861" fmla="*/ 4083101 h 5704395"/>
                <a:gd name="connsiteX5862" fmla="*/ 184537 w 5719680"/>
                <a:gd name="connsiteY5862" fmla="*/ 4084051 h 5704395"/>
                <a:gd name="connsiteX5863" fmla="*/ 183902 w 5719680"/>
                <a:gd name="connsiteY5863" fmla="*/ 4127465 h 5704395"/>
                <a:gd name="connsiteX5864" fmla="*/ 140070 w 5719680"/>
                <a:gd name="connsiteY5864" fmla="*/ 4126831 h 5704395"/>
                <a:gd name="connsiteX5865" fmla="*/ 140705 w 5719680"/>
                <a:gd name="connsiteY5865" fmla="*/ 4083101 h 5704395"/>
                <a:gd name="connsiteX5866" fmla="*/ 414810 w 5719680"/>
                <a:gd name="connsiteY5866" fmla="*/ 4082150 h 5704395"/>
                <a:gd name="connsiteX5867" fmla="*/ 416081 w 5719680"/>
                <a:gd name="connsiteY5867" fmla="*/ 4083101 h 5704395"/>
                <a:gd name="connsiteX5868" fmla="*/ 451337 w 5719680"/>
                <a:gd name="connsiteY5868" fmla="*/ 4103065 h 5704395"/>
                <a:gd name="connsiteX5869" fmla="*/ 453560 w 5719680"/>
                <a:gd name="connsiteY5869" fmla="*/ 4104015 h 5704395"/>
                <a:gd name="connsiteX5870" fmla="*/ 453560 w 5719680"/>
                <a:gd name="connsiteY5870" fmla="*/ 4106234 h 5704395"/>
                <a:gd name="connsiteX5871" fmla="*/ 465312 w 5719680"/>
                <a:gd name="connsiteY5871" fmla="*/ 4200349 h 5704395"/>
                <a:gd name="connsiteX5872" fmla="*/ 465312 w 5719680"/>
                <a:gd name="connsiteY5872" fmla="*/ 4201934 h 5704395"/>
                <a:gd name="connsiteX5873" fmla="*/ 464359 w 5719680"/>
                <a:gd name="connsiteY5873" fmla="*/ 4203518 h 5704395"/>
                <a:gd name="connsiteX5874" fmla="*/ 451019 w 5719680"/>
                <a:gd name="connsiteY5874" fmla="*/ 4222848 h 5704395"/>
                <a:gd name="connsiteX5875" fmla="*/ 448478 w 5719680"/>
                <a:gd name="connsiteY5875" fmla="*/ 4226651 h 5704395"/>
                <a:gd name="connsiteX5876" fmla="*/ 444667 w 5719680"/>
                <a:gd name="connsiteY5876" fmla="*/ 4223799 h 5704395"/>
                <a:gd name="connsiteX5877" fmla="*/ 408140 w 5719680"/>
                <a:gd name="connsiteY5877" fmla="*/ 4195913 h 5704395"/>
                <a:gd name="connsiteX5878" fmla="*/ 406235 w 5719680"/>
                <a:gd name="connsiteY5878" fmla="*/ 4194645 h 5704395"/>
                <a:gd name="connsiteX5879" fmla="*/ 406235 w 5719680"/>
                <a:gd name="connsiteY5879" fmla="*/ 4192427 h 5704395"/>
                <a:gd name="connsiteX5880" fmla="*/ 404011 w 5719680"/>
                <a:gd name="connsiteY5880" fmla="*/ 4131268 h 5704395"/>
                <a:gd name="connsiteX5881" fmla="*/ 380508 w 5719680"/>
                <a:gd name="connsiteY5881" fmla="*/ 4095459 h 5704395"/>
                <a:gd name="connsiteX5882" fmla="*/ 377014 w 5719680"/>
                <a:gd name="connsiteY5882" fmla="*/ 4090072 h 5704395"/>
                <a:gd name="connsiteX5883" fmla="*/ 383366 w 5719680"/>
                <a:gd name="connsiteY5883" fmla="*/ 4088805 h 5704395"/>
                <a:gd name="connsiteX5884" fmla="*/ 413222 w 5719680"/>
                <a:gd name="connsiteY5884" fmla="*/ 4082467 h 5704395"/>
                <a:gd name="connsiteX5885" fmla="*/ 414810 w 5719680"/>
                <a:gd name="connsiteY5885" fmla="*/ 4082150 h 5704395"/>
                <a:gd name="connsiteX5886" fmla="*/ 1562367 w 5719680"/>
                <a:gd name="connsiteY5886" fmla="*/ 4079615 h 5704395"/>
                <a:gd name="connsiteX5887" fmla="*/ 1603658 w 5719680"/>
                <a:gd name="connsiteY5887" fmla="*/ 4218412 h 5704395"/>
                <a:gd name="connsiteX5888" fmla="*/ 1603340 w 5719680"/>
                <a:gd name="connsiteY5888" fmla="*/ 4228552 h 5704395"/>
                <a:gd name="connsiteX5889" fmla="*/ 1680839 w 5719680"/>
                <a:gd name="connsiteY5889" fmla="*/ 4227919 h 5704395"/>
                <a:gd name="connsiteX5890" fmla="*/ 1686874 w 5719680"/>
                <a:gd name="connsiteY5890" fmla="*/ 4229186 h 5704395"/>
                <a:gd name="connsiteX5891" fmla="*/ 1697673 w 5719680"/>
                <a:gd name="connsiteY5891" fmla="*/ 4188624 h 5704395"/>
                <a:gd name="connsiteX5892" fmla="*/ 1706249 w 5719680"/>
                <a:gd name="connsiteY5892" fmla="*/ 4150598 h 5704395"/>
                <a:gd name="connsiteX5893" fmla="*/ 1701167 w 5719680"/>
                <a:gd name="connsiteY5893" fmla="*/ 4099896 h 5704395"/>
                <a:gd name="connsiteX5894" fmla="*/ 1696402 w 5719680"/>
                <a:gd name="connsiteY5894" fmla="*/ 4099262 h 5704395"/>
                <a:gd name="connsiteX5895" fmla="*/ 1621444 w 5719680"/>
                <a:gd name="connsiteY5895" fmla="*/ 4088171 h 5704395"/>
                <a:gd name="connsiteX5896" fmla="*/ 1562367 w 5719680"/>
                <a:gd name="connsiteY5896" fmla="*/ 4079615 h 5704395"/>
                <a:gd name="connsiteX5897" fmla="*/ 3303871 w 5719680"/>
                <a:gd name="connsiteY5897" fmla="*/ 4074545 h 5704395"/>
                <a:gd name="connsiteX5898" fmla="*/ 3257181 w 5719680"/>
                <a:gd name="connsiteY5898" fmla="*/ 4089122 h 5704395"/>
                <a:gd name="connsiteX5899" fmla="*/ 3270521 w 5719680"/>
                <a:gd name="connsiteY5899" fmla="*/ 4127782 h 5704395"/>
                <a:gd name="connsiteX5900" fmla="*/ 3316894 w 5719680"/>
                <a:gd name="connsiteY5900" fmla="*/ 4113205 h 5704395"/>
                <a:gd name="connsiteX5901" fmla="*/ 3303871 w 5719680"/>
                <a:gd name="connsiteY5901" fmla="*/ 4074545 h 5704395"/>
                <a:gd name="connsiteX5902" fmla="*/ 1538546 w 5719680"/>
                <a:gd name="connsiteY5902" fmla="*/ 4072960 h 5704395"/>
                <a:gd name="connsiteX5903" fmla="*/ 1512183 w 5719680"/>
                <a:gd name="connsiteY5903" fmla="*/ 4111304 h 5704395"/>
                <a:gd name="connsiteX5904" fmla="*/ 1496938 w 5719680"/>
                <a:gd name="connsiteY5904" fmla="*/ 4135070 h 5704395"/>
                <a:gd name="connsiteX5905" fmla="*/ 1478516 w 5719680"/>
                <a:gd name="connsiteY5905" fmla="*/ 4181653 h 5704395"/>
                <a:gd name="connsiteX5906" fmla="*/ 1464858 w 5719680"/>
                <a:gd name="connsiteY5906" fmla="*/ 4217144 h 5704395"/>
                <a:gd name="connsiteX5907" fmla="*/ 1457871 w 5719680"/>
                <a:gd name="connsiteY5907" fmla="*/ 4238693 h 5704395"/>
                <a:gd name="connsiteX5908" fmla="*/ 1457235 w 5719680"/>
                <a:gd name="connsiteY5908" fmla="*/ 4242179 h 5704395"/>
                <a:gd name="connsiteX5909" fmla="*/ 1508690 w 5719680"/>
                <a:gd name="connsiteY5909" fmla="*/ 4289712 h 5704395"/>
                <a:gd name="connsiteX5910" fmla="*/ 1509007 w 5719680"/>
                <a:gd name="connsiteY5910" fmla="*/ 4289712 h 5704395"/>
                <a:gd name="connsiteX5911" fmla="*/ 1551886 w 5719680"/>
                <a:gd name="connsiteY5911" fmla="*/ 4284958 h 5704395"/>
                <a:gd name="connsiteX5912" fmla="*/ 1576342 w 5719680"/>
                <a:gd name="connsiteY5912" fmla="*/ 4282106 h 5704395"/>
                <a:gd name="connsiteX5913" fmla="*/ 1583648 w 5719680"/>
                <a:gd name="connsiteY5913" fmla="*/ 4281156 h 5704395"/>
                <a:gd name="connsiteX5914" fmla="*/ 1586189 w 5719680"/>
                <a:gd name="connsiteY5914" fmla="*/ 4259924 h 5704395"/>
                <a:gd name="connsiteX5915" fmla="*/ 1589047 w 5719680"/>
                <a:gd name="connsiteY5915" fmla="*/ 4228552 h 5704395"/>
                <a:gd name="connsiteX5916" fmla="*/ 1589365 w 5719680"/>
                <a:gd name="connsiteY5916" fmla="*/ 4218412 h 5704395"/>
                <a:gd name="connsiteX5917" fmla="*/ 1538546 w 5719680"/>
                <a:gd name="connsiteY5917" fmla="*/ 4072960 h 5704395"/>
                <a:gd name="connsiteX5918" fmla="*/ 308726 w 5719680"/>
                <a:gd name="connsiteY5918" fmla="*/ 4072643 h 5704395"/>
                <a:gd name="connsiteX5919" fmla="*/ 294751 w 5719680"/>
                <a:gd name="connsiteY5919" fmla="*/ 4075495 h 5704395"/>
                <a:gd name="connsiteX5920" fmla="*/ 240120 w 5719680"/>
                <a:gd name="connsiteY5920" fmla="*/ 4086903 h 5704395"/>
                <a:gd name="connsiteX5921" fmla="*/ 215981 w 5719680"/>
                <a:gd name="connsiteY5921" fmla="*/ 4092290 h 5704395"/>
                <a:gd name="connsiteX5922" fmla="*/ 215346 w 5719680"/>
                <a:gd name="connsiteY5922" fmla="*/ 4092290 h 5704395"/>
                <a:gd name="connsiteX5923" fmla="*/ 216616 w 5719680"/>
                <a:gd name="connsiteY5923" fmla="*/ 4105283 h 5704395"/>
                <a:gd name="connsiteX5924" fmla="*/ 216934 w 5719680"/>
                <a:gd name="connsiteY5924" fmla="*/ 4115106 h 5704395"/>
                <a:gd name="connsiteX5925" fmla="*/ 215028 w 5719680"/>
                <a:gd name="connsiteY5925" fmla="*/ 4179118 h 5704395"/>
                <a:gd name="connsiteX5926" fmla="*/ 215028 w 5719680"/>
                <a:gd name="connsiteY5926" fmla="*/ 4182604 h 5704395"/>
                <a:gd name="connsiteX5927" fmla="*/ 325242 w 5719680"/>
                <a:gd name="connsiteY5927" fmla="*/ 4181336 h 5704395"/>
                <a:gd name="connsiteX5928" fmla="*/ 353192 w 5719680"/>
                <a:gd name="connsiteY5928" fmla="*/ 4207004 h 5704395"/>
                <a:gd name="connsiteX5929" fmla="*/ 352875 w 5719680"/>
                <a:gd name="connsiteY5929" fmla="*/ 4144260 h 5704395"/>
                <a:gd name="connsiteX5930" fmla="*/ 308726 w 5719680"/>
                <a:gd name="connsiteY5930" fmla="*/ 4072643 h 5704395"/>
                <a:gd name="connsiteX5931" fmla="*/ 2206498 w 5719680"/>
                <a:gd name="connsiteY5931" fmla="*/ 4071376 h 5704395"/>
                <a:gd name="connsiteX5932" fmla="*/ 2199510 w 5719680"/>
                <a:gd name="connsiteY5932" fmla="*/ 4203835 h 5704395"/>
                <a:gd name="connsiteX5933" fmla="*/ 2199510 w 5719680"/>
                <a:gd name="connsiteY5933" fmla="*/ 4206687 h 5704395"/>
                <a:gd name="connsiteX5934" fmla="*/ 2261446 w 5719680"/>
                <a:gd name="connsiteY5934" fmla="*/ 4222215 h 5704395"/>
                <a:gd name="connsiteX5935" fmla="*/ 2312583 w 5719680"/>
                <a:gd name="connsiteY5935" fmla="*/ 4234573 h 5704395"/>
                <a:gd name="connsiteX5936" fmla="*/ 2324335 w 5719680"/>
                <a:gd name="connsiteY5936" fmla="*/ 4089755 h 5704395"/>
                <a:gd name="connsiteX5937" fmla="*/ 2206498 w 5719680"/>
                <a:gd name="connsiteY5937" fmla="*/ 4071376 h 5704395"/>
                <a:gd name="connsiteX5938" fmla="*/ 3703436 w 5719680"/>
                <a:gd name="connsiteY5938" fmla="*/ 4062820 h 5704395"/>
                <a:gd name="connsiteX5939" fmla="*/ 3494760 w 5719680"/>
                <a:gd name="connsiteY5939" fmla="*/ 4121127 h 5704395"/>
                <a:gd name="connsiteX5940" fmla="*/ 3080268 w 5719680"/>
                <a:gd name="connsiteY5940" fmla="*/ 4256755 h 5704395"/>
                <a:gd name="connsiteX5941" fmla="*/ 2847453 w 5719680"/>
                <a:gd name="connsiteY5941" fmla="*/ 4335661 h 5704395"/>
                <a:gd name="connsiteX5942" fmla="*/ 2872862 w 5719680"/>
                <a:gd name="connsiteY5942" fmla="*/ 4336611 h 5704395"/>
                <a:gd name="connsiteX5943" fmla="*/ 3046918 w 5719680"/>
                <a:gd name="connsiteY5943" fmla="*/ 4339146 h 5704395"/>
                <a:gd name="connsiteX5944" fmla="*/ 3097419 w 5719680"/>
                <a:gd name="connsiteY5944" fmla="*/ 4338829 h 5704395"/>
                <a:gd name="connsiteX5945" fmla="*/ 3102501 w 5719680"/>
                <a:gd name="connsiteY5945" fmla="*/ 4338829 h 5704395"/>
                <a:gd name="connsiteX5946" fmla="*/ 3203186 w 5719680"/>
                <a:gd name="connsiteY5946" fmla="*/ 4383194 h 5704395"/>
                <a:gd name="connsiteX5947" fmla="*/ 3220972 w 5719680"/>
                <a:gd name="connsiteY5947" fmla="*/ 4428509 h 5704395"/>
                <a:gd name="connsiteX5948" fmla="*/ 3220972 w 5719680"/>
                <a:gd name="connsiteY5948" fmla="*/ 4428826 h 5704395"/>
                <a:gd name="connsiteX5949" fmla="*/ 3220972 w 5719680"/>
                <a:gd name="connsiteY5949" fmla="*/ 4429142 h 5704395"/>
                <a:gd name="connsiteX5950" fmla="*/ 3223196 w 5719680"/>
                <a:gd name="connsiteY5950" fmla="*/ 4761558 h 5704395"/>
                <a:gd name="connsiteX5951" fmla="*/ 3222878 w 5719680"/>
                <a:gd name="connsiteY5951" fmla="*/ 4805922 h 5704395"/>
                <a:gd name="connsiteX5952" fmla="*/ 3222561 w 5719680"/>
                <a:gd name="connsiteY5952" fmla="*/ 4818598 h 5704395"/>
                <a:gd name="connsiteX5953" fmla="*/ 3222561 w 5719680"/>
                <a:gd name="connsiteY5953" fmla="*/ 4822400 h 5704395"/>
                <a:gd name="connsiteX5954" fmla="*/ 3222243 w 5719680"/>
                <a:gd name="connsiteY5954" fmla="*/ 4823985 h 5704395"/>
                <a:gd name="connsiteX5955" fmla="*/ 3351832 w 5719680"/>
                <a:gd name="connsiteY5955" fmla="*/ 4922854 h 5704395"/>
                <a:gd name="connsiteX5956" fmla="*/ 3604338 w 5719680"/>
                <a:gd name="connsiteY5956" fmla="*/ 5103797 h 5704395"/>
                <a:gd name="connsiteX5957" fmla="*/ 3613867 w 5719680"/>
                <a:gd name="connsiteY5957" fmla="*/ 5111085 h 5704395"/>
                <a:gd name="connsiteX5958" fmla="*/ 3742820 w 5719680"/>
                <a:gd name="connsiteY5958" fmla="*/ 4864863 h 5704395"/>
                <a:gd name="connsiteX5959" fmla="*/ 3742820 w 5719680"/>
                <a:gd name="connsiteY5959" fmla="*/ 4864546 h 5704395"/>
                <a:gd name="connsiteX5960" fmla="*/ 3743456 w 5719680"/>
                <a:gd name="connsiteY5960" fmla="*/ 4863913 h 5704395"/>
                <a:gd name="connsiteX5961" fmla="*/ 3755525 w 5719680"/>
                <a:gd name="connsiteY5961" fmla="*/ 4815112 h 5704395"/>
                <a:gd name="connsiteX5962" fmla="*/ 3687872 w 5719680"/>
                <a:gd name="connsiteY5962" fmla="*/ 4727968 h 5704395"/>
                <a:gd name="connsiteX5963" fmla="*/ 3682155 w 5719680"/>
                <a:gd name="connsiteY5963" fmla="*/ 4725116 h 5704395"/>
                <a:gd name="connsiteX5964" fmla="*/ 3674532 w 5719680"/>
                <a:gd name="connsiteY5964" fmla="*/ 4593290 h 5704395"/>
                <a:gd name="connsiteX5965" fmla="*/ 3674850 w 5719680"/>
                <a:gd name="connsiteY5965" fmla="*/ 4592974 h 5704395"/>
                <a:gd name="connsiteX5966" fmla="*/ 3684061 w 5719680"/>
                <a:gd name="connsiteY5966" fmla="*/ 4550194 h 5704395"/>
                <a:gd name="connsiteX5967" fmla="*/ 3704388 w 5719680"/>
                <a:gd name="connsiteY5967" fmla="*/ 4519456 h 5704395"/>
                <a:gd name="connsiteX5968" fmla="*/ 3743773 w 5719680"/>
                <a:gd name="connsiteY5968" fmla="*/ 4504562 h 5704395"/>
                <a:gd name="connsiteX5969" fmla="*/ 3754890 w 5719680"/>
                <a:gd name="connsiteY5969" fmla="*/ 4505512 h 5704395"/>
                <a:gd name="connsiteX5970" fmla="*/ 3993104 w 5719680"/>
                <a:gd name="connsiteY5970" fmla="*/ 4547025 h 5704395"/>
                <a:gd name="connsiteX5971" fmla="*/ 3980082 w 5719680"/>
                <a:gd name="connsiteY5971" fmla="*/ 4488717 h 5704395"/>
                <a:gd name="connsiteX5972" fmla="*/ 4041700 w 5719680"/>
                <a:gd name="connsiteY5972" fmla="*/ 4394285 h 5704395"/>
                <a:gd name="connsiteX5973" fmla="*/ 4063933 w 5719680"/>
                <a:gd name="connsiteY5973" fmla="*/ 4330907 h 5704395"/>
                <a:gd name="connsiteX5974" fmla="*/ 4064251 w 5719680"/>
                <a:gd name="connsiteY5974" fmla="*/ 4330590 h 5704395"/>
                <a:gd name="connsiteX5975" fmla="*/ 4064251 w 5719680"/>
                <a:gd name="connsiteY5975" fmla="*/ 4329006 h 5704395"/>
                <a:gd name="connsiteX5976" fmla="*/ 4044241 w 5719680"/>
                <a:gd name="connsiteY5976" fmla="*/ 4311260 h 5704395"/>
                <a:gd name="connsiteX5977" fmla="*/ 3915923 w 5719680"/>
                <a:gd name="connsiteY5977" fmla="*/ 4236792 h 5704395"/>
                <a:gd name="connsiteX5978" fmla="*/ 3814602 w 5719680"/>
                <a:gd name="connsiteY5978" fmla="*/ 4174364 h 5704395"/>
                <a:gd name="connsiteX5979" fmla="*/ 3813649 w 5719680"/>
                <a:gd name="connsiteY5979" fmla="*/ 4174048 h 5704395"/>
                <a:gd name="connsiteX5980" fmla="*/ 3813014 w 5719680"/>
                <a:gd name="connsiteY5980" fmla="*/ 4173097 h 5704395"/>
                <a:gd name="connsiteX5981" fmla="*/ 3703436 w 5719680"/>
                <a:gd name="connsiteY5981" fmla="*/ 4062820 h 5704395"/>
                <a:gd name="connsiteX5982" fmla="*/ 1729435 w 5719680"/>
                <a:gd name="connsiteY5982" fmla="*/ 4062186 h 5704395"/>
                <a:gd name="connsiteX5983" fmla="*/ 1724988 w 5719680"/>
                <a:gd name="connsiteY5983" fmla="*/ 4086587 h 5704395"/>
                <a:gd name="connsiteX5984" fmla="*/ 1763102 w 5719680"/>
                <a:gd name="connsiteY5984" fmla="*/ 4093558 h 5704395"/>
                <a:gd name="connsiteX5985" fmla="*/ 1767549 w 5719680"/>
                <a:gd name="connsiteY5985" fmla="*/ 4069158 h 5704395"/>
                <a:gd name="connsiteX5986" fmla="*/ 3348338 w 5719680"/>
                <a:gd name="connsiteY5986" fmla="*/ 4060285 h 5704395"/>
                <a:gd name="connsiteX5987" fmla="*/ 3308000 w 5719680"/>
                <a:gd name="connsiteY5987" fmla="*/ 4073277 h 5704395"/>
                <a:gd name="connsiteX5988" fmla="*/ 3321340 w 5719680"/>
                <a:gd name="connsiteY5988" fmla="*/ 4111938 h 5704395"/>
                <a:gd name="connsiteX5989" fmla="*/ 3361360 w 5719680"/>
                <a:gd name="connsiteY5989" fmla="*/ 4099262 h 5704395"/>
                <a:gd name="connsiteX5990" fmla="*/ 3348338 w 5719680"/>
                <a:gd name="connsiteY5990" fmla="*/ 4060285 h 5704395"/>
                <a:gd name="connsiteX5991" fmla="*/ 1212669 w 5719680"/>
                <a:gd name="connsiteY5991" fmla="*/ 4059334 h 5704395"/>
                <a:gd name="connsiteX5992" fmla="*/ 1211081 w 5719680"/>
                <a:gd name="connsiteY5992" fmla="*/ 4059968 h 5704395"/>
                <a:gd name="connsiteX5993" fmla="*/ 1210763 w 5719680"/>
                <a:gd name="connsiteY5993" fmla="*/ 4061552 h 5704395"/>
                <a:gd name="connsiteX5994" fmla="*/ 1220292 w 5719680"/>
                <a:gd name="connsiteY5994" fmla="*/ 4070425 h 5704395"/>
                <a:gd name="connsiteX5995" fmla="*/ 1252371 w 5719680"/>
                <a:gd name="connsiteY5995" fmla="*/ 4074228 h 5704395"/>
                <a:gd name="connsiteX5996" fmla="*/ 1270476 w 5719680"/>
                <a:gd name="connsiteY5996" fmla="*/ 4077397 h 5704395"/>
                <a:gd name="connsiteX5997" fmla="*/ 1279369 w 5719680"/>
                <a:gd name="connsiteY5997" fmla="*/ 4083101 h 5704395"/>
                <a:gd name="connsiteX5998" fmla="*/ 1279369 w 5719680"/>
                <a:gd name="connsiteY5998" fmla="*/ 4084368 h 5704395"/>
                <a:gd name="connsiteX5999" fmla="*/ 1251736 w 5719680"/>
                <a:gd name="connsiteY5999" fmla="*/ 4096093 h 5704395"/>
                <a:gd name="connsiteX6000" fmla="*/ 1224738 w 5719680"/>
                <a:gd name="connsiteY6000" fmla="*/ 4101163 h 5704395"/>
                <a:gd name="connsiteX6001" fmla="*/ 1215845 w 5719680"/>
                <a:gd name="connsiteY6001" fmla="*/ 4112888 h 5704395"/>
                <a:gd name="connsiteX6002" fmla="*/ 1218386 w 5719680"/>
                <a:gd name="connsiteY6002" fmla="*/ 4117642 h 5704395"/>
                <a:gd name="connsiteX6003" fmla="*/ 1225691 w 5719680"/>
                <a:gd name="connsiteY6003" fmla="*/ 4120494 h 5704395"/>
                <a:gd name="connsiteX6004" fmla="*/ 1233949 w 5719680"/>
                <a:gd name="connsiteY6004" fmla="*/ 4117642 h 5704395"/>
                <a:gd name="connsiteX6005" fmla="*/ 1251736 w 5719680"/>
                <a:gd name="connsiteY6005" fmla="*/ 4110036 h 5704395"/>
                <a:gd name="connsiteX6006" fmla="*/ 1253959 w 5719680"/>
                <a:gd name="connsiteY6006" fmla="*/ 4111938 h 5704395"/>
                <a:gd name="connsiteX6007" fmla="*/ 1253959 w 5719680"/>
                <a:gd name="connsiteY6007" fmla="*/ 4112571 h 5704395"/>
                <a:gd name="connsiteX6008" fmla="*/ 1253642 w 5719680"/>
                <a:gd name="connsiteY6008" fmla="*/ 4116691 h 5704395"/>
                <a:gd name="connsiteX6009" fmla="*/ 1261582 w 5719680"/>
                <a:gd name="connsiteY6009" fmla="*/ 4139507 h 5704395"/>
                <a:gd name="connsiteX6010" fmla="*/ 1266982 w 5719680"/>
                <a:gd name="connsiteY6010" fmla="*/ 4140141 h 5704395"/>
                <a:gd name="connsiteX6011" fmla="*/ 1270793 w 5719680"/>
                <a:gd name="connsiteY6011" fmla="*/ 4137605 h 5704395"/>
                <a:gd name="connsiteX6012" fmla="*/ 1276828 w 5719680"/>
                <a:gd name="connsiteY6012" fmla="*/ 4109719 h 5704395"/>
                <a:gd name="connsiteX6013" fmla="*/ 1296838 w 5719680"/>
                <a:gd name="connsiteY6013" fmla="*/ 4095142 h 5704395"/>
                <a:gd name="connsiteX6014" fmla="*/ 1313354 w 5719680"/>
                <a:gd name="connsiteY6014" fmla="*/ 4083418 h 5704395"/>
                <a:gd name="connsiteX6015" fmla="*/ 1317483 w 5719680"/>
                <a:gd name="connsiteY6015" fmla="*/ 4070742 h 5704395"/>
                <a:gd name="connsiteX6016" fmla="*/ 1316530 w 5719680"/>
                <a:gd name="connsiteY6016" fmla="*/ 4066939 h 5704395"/>
                <a:gd name="connsiteX6017" fmla="*/ 1296203 w 5719680"/>
                <a:gd name="connsiteY6017" fmla="*/ 4060919 h 5704395"/>
                <a:gd name="connsiteX6018" fmla="*/ 1291121 w 5719680"/>
                <a:gd name="connsiteY6018" fmla="*/ 4060919 h 5704395"/>
                <a:gd name="connsiteX6019" fmla="*/ 1221880 w 5719680"/>
                <a:gd name="connsiteY6019" fmla="*/ 4062503 h 5704395"/>
                <a:gd name="connsiteX6020" fmla="*/ 1221562 w 5719680"/>
                <a:gd name="connsiteY6020" fmla="*/ 4062503 h 5704395"/>
                <a:gd name="connsiteX6021" fmla="*/ 1221245 w 5719680"/>
                <a:gd name="connsiteY6021" fmla="*/ 4062503 h 5704395"/>
                <a:gd name="connsiteX6022" fmla="*/ 1212669 w 5719680"/>
                <a:gd name="connsiteY6022" fmla="*/ 4059334 h 5704395"/>
                <a:gd name="connsiteX6023" fmla="*/ 1725941 w 5719680"/>
                <a:gd name="connsiteY6023" fmla="*/ 4057433 h 5704395"/>
                <a:gd name="connsiteX6024" fmla="*/ 1772313 w 5719680"/>
                <a:gd name="connsiteY6024" fmla="*/ 4065989 h 5704395"/>
                <a:gd name="connsiteX6025" fmla="*/ 1766279 w 5719680"/>
                <a:gd name="connsiteY6025" fmla="*/ 4098311 h 5704395"/>
                <a:gd name="connsiteX6026" fmla="*/ 1719906 w 5719680"/>
                <a:gd name="connsiteY6026" fmla="*/ 4090072 h 5704395"/>
                <a:gd name="connsiteX6027" fmla="*/ 1720541 w 5719680"/>
                <a:gd name="connsiteY6027" fmla="*/ 4087854 h 5704395"/>
                <a:gd name="connsiteX6028" fmla="*/ 2941150 w 5719680"/>
                <a:gd name="connsiteY6028" fmla="*/ 4057116 h 5704395"/>
                <a:gd name="connsiteX6029" fmla="*/ 2940515 w 5719680"/>
                <a:gd name="connsiteY6029" fmla="*/ 4057750 h 5704395"/>
                <a:gd name="connsiteX6030" fmla="*/ 2939245 w 5719680"/>
                <a:gd name="connsiteY6030" fmla="*/ 4059017 h 5704395"/>
                <a:gd name="connsiteX6031" fmla="*/ 2933528 w 5719680"/>
                <a:gd name="connsiteY6031" fmla="*/ 4068841 h 5704395"/>
                <a:gd name="connsiteX6032" fmla="*/ 2885250 w 5719680"/>
                <a:gd name="connsiteY6032" fmla="*/ 4168027 h 5704395"/>
                <a:gd name="connsiteX6033" fmla="*/ 2924316 w 5719680"/>
                <a:gd name="connsiteY6033" fmla="*/ 4174681 h 5704395"/>
                <a:gd name="connsiteX6034" fmla="*/ 2971642 w 5719680"/>
                <a:gd name="connsiteY6034" fmla="*/ 4159471 h 5704395"/>
                <a:gd name="connsiteX6035" fmla="*/ 2972912 w 5719680"/>
                <a:gd name="connsiteY6035" fmla="*/ 4163590 h 5704395"/>
                <a:gd name="connsiteX6036" fmla="*/ 2926540 w 5719680"/>
                <a:gd name="connsiteY6036" fmla="*/ 4178801 h 5704395"/>
                <a:gd name="connsiteX6037" fmla="*/ 2923682 w 5719680"/>
                <a:gd name="connsiteY6037" fmla="*/ 4250101 h 5704395"/>
                <a:gd name="connsiteX6038" fmla="*/ 2994828 w 5719680"/>
                <a:gd name="connsiteY6038" fmla="*/ 4226968 h 5704395"/>
                <a:gd name="connsiteX6039" fmla="*/ 2993875 w 5719680"/>
                <a:gd name="connsiteY6039" fmla="*/ 4224116 h 5704395"/>
                <a:gd name="connsiteX6040" fmla="*/ 2941150 w 5719680"/>
                <a:gd name="connsiteY6040" fmla="*/ 4057116 h 5704395"/>
                <a:gd name="connsiteX6041" fmla="*/ 2988476 w 5719680"/>
                <a:gd name="connsiteY6041" fmla="*/ 4056799 h 5704395"/>
                <a:gd name="connsiteX6042" fmla="*/ 2965607 w 5719680"/>
                <a:gd name="connsiteY6042" fmla="*/ 4057433 h 5704395"/>
                <a:gd name="connsiteX6043" fmla="*/ 2949408 w 5719680"/>
                <a:gd name="connsiteY6043" fmla="*/ 4058067 h 5704395"/>
                <a:gd name="connsiteX6044" fmla="*/ 2945915 w 5719680"/>
                <a:gd name="connsiteY6044" fmla="*/ 4058067 h 5704395"/>
                <a:gd name="connsiteX6045" fmla="*/ 2971642 w 5719680"/>
                <a:gd name="connsiteY6045" fmla="*/ 4140457 h 5704395"/>
                <a:gd name="connsiteX6046" fmla="*/ 2990064 w 5719680"/>
                <a:gd name="connsiteY6046" fmla="*/ 4198765 h 5704395"/>
                <a:gd name="connsiteX6047" fmla="*/ 2996098 w 5719680"/>
                <a:gd name="connsiteY6047" fmla="*/ 4217778 h 5704395"/>
                <a:gd name="connsiteX6048" fmla="*/ 2998004 w 5719680"/>
                <a:gd name="connsiteY6048" fmla="*/ 4223165 h 5704395"/>
                <a:gd name="connsiteX6049" fmla="*/ 2998640 w 5719680"/>
                <a:gd name="connsiteY6049" fmla="*/ 4224433 h 5704395"/>
                <a:gd name="connsiteX6050" fmla="*/ 2998640 w 5719680"/>
                <a:gd name="connsiteY6050" fmla="*/ 4224750 h 5704395"/>
                <a:gd name="connsiteX6051" fmla="*/ 2997369 w 5719680"/>
                <a:gd name="connsiteY6051" fmla="*/ 4225384 h 5704395"/>
                <a:gd name="connsiteX6052" fmla="*/ 2996734 w 5719680"/>
                <a:gd name="connsiteY6052" fmla="*/ 4225700 h 5704395"/>
                <a:gd name="connsiteX6053" fmla="*/ 2996734 w 5719680"/>
                <a:gd name="connsiteY6053" fmla="*/ 4226334 h 5704395"/>
                <a:gd name="connsiteX6054" fmla="*/ 3041518 w 5719680"/>
                <a:gd name="connsiteY6054" fmla="*/ 4211757 h 5704395"/>
                <a:gd name="connsiteX6055" fmla="*/ 3039295 w 5719680"/>
                <a:gd name="connsiteY6055" fmla="*/ 4204786 h 5704395"/>
                <a:gd name="connsiteX6056" fmla="*/ 3000545 w 5719680"/>
                <a:gd name="connsiteY6056" fmla="*/ 4216828 h 5704395"/>
                <a:gd name="connsiteX6057" fmla="*/ 2986570 w 5719680"/>
                <a:gd name="connsiteY6057" fmla="*/ 4170562 h 5704395"/>
                <a:gd name="connsiteX6058" fmla="*/ 3023414 w 5719680"/>
                <a:gd name="connsiteY6058" fmla="*/ 4158837 h 5704395"/>
                <a:gd name="connsiteX6059" fmla="*/ 2988476 w 5719680"/>
                <a:gd name="connsiteY6059" fmla="*/ 4056799 h 5704395"/>
                <a:gd name="connsiteX6060" fmla="*/ 1212669 w 5719680"/>
                <a:gd name="connsiteY6060" fmla="*/ 4056799 h 5704395"/>
                <a:gd name="connsiteX6061" fmla="*/ 1222197 w 5719680"/>
                <a:gd name="connsiteY6061" fmla="*/ 4059968 h 5704395"/>
                <a:gd name="connsiteX6062" fmla="*/ 1291121 w 5719680"/>
                <a:gd name="connsiteY6062" fmla="*/ 4058383 h 5704395"/>
                <a:gd name="connsiteX6063" fmla="*/ 1296203 w 5719680"/>
                <a:gd name="connsiteY6063" fmla="*/ 4058383 h 5704395"/>
                <a:gd name="connsiteX6064" fmla="*/ 1318118 w 5719680"/>
                <a:gd name="connsiteY6064" fmla="*/ 4065038 h 5704395"/>
                <a:gd name="connsiteX6065" fmla="*/ 1317483 w 5719680"/>
                <a:gd name="connsiteY6065" fmla="*/ 4065989 h 5704395"/>
                <a:gd name="connsiteX6066" fmla="*/ 1318436 w 5719680"/>
                <a:gd name="connsiteY6066" fmla="*/ 4065038 h 5704395"/>
                <a:gd name="connsiteX6067" fmla="*/ 1320024 w 5719680"/>
                <a:gd name="connsiteY6067" fmla="*/ 4070742 h 5704395"/>
                <a:gd name="connsiteX6068" fmla="*/ 1315577 w 5719680"/>
                <a:gd name="connsiteY6068" fmla="*/ 4085002 h 5704395"/>
                <a:gd name="connsiteX6069" fmla="*/ 1298426 w 5719680"/>
                <a:gd name="connsiteY6069" fmla="*/ 4097044 h 5704395"/>
                <a:gd name="connsiteX6070" fmla="*/ 1278734 w 5719680"/>
                <a:gd name="connsiteY6070" fmla="*/ 4111621 h 5704395"/>
                <a:gd name="connsiteX6071" fmla="*/ 1273334 w 5719680"/>
                <a:gd name="connsiteY6071" fmla="*/ 4138239 h 5704395"/>
                <a:gd name="connsiteX6072" fmla="*/ 1267299 w 5719680"/>
                <a:gd name="connsiteY6072" fmla="*/ 4142676 h 5704395"/>
                <a:gd name="connsiteX6073" fmla="*/ 1266982 w 5719680"/>
                <a:gd name="connsiteY6073" fmla="*/ 4142676 h 5704395"/>
                <a:gd name="connsiteX6074" fmla="*/ 1260947 w 5719680"/>
                <a:gd name="connsiteY6074" fmla="*/ 4142042 h 5704395"/>
                <a:gd name="connsiteX6075" fmla="*/ 1250783 w 5719680"/>
                <a:gd name="connsiteY6075" fmla="*/ 4116691 h 5704395"/>
                <a:gd name="connsiteX6076" fmla="*/ 1251101 w 5719680"/>
                <a:gd name="connsiteY6076" fmla="*/ 4112888 h 5704395"/>
                <a:gd name="connsiteX6077" fmla="*/ 1235220 w 5719680"/>
                <a:gd name="connsiteY6077" fmla="*/ 4119860 h 5704395"/>
                <a:gd name="connsiteX6078" fmla="*/ 1225691 w 5719680"/>
                <a:gd name="connsiteY6078" fmla="*/ 4123346 h 5704395"/>
                <a:gd name="connsiteX6079" fmla="*/ 1216798 w 5719680"/>
                <a:gd name="connsiteY6079" fmla="*/ 4119543 h 5704395"/>
                <a:gd name="connsiteX6080" fmla="*/ 1213304 w 5719680"/>
                <a:gd name="connsiteY6080" fmla="*/ 4112888 h 5704395"/>
                <a:gd name="connsiteX6081" fmla="*/ 1223468 w 5719680"/>
                <a:gd name="connsiteY6081" fmla="*/ 4098945 h 5704395"/>
                <a:gd name="connsiteX6082" fmla="*/ 1251418 w 5719680"/>
                <a:gd name="connsiteY6082" fmla="*/ 4093558 h 5704395"/>
                <a:gd name="connsiteX6083" fmla="*/ 1276828 w 5719680"/>
                <a:gd name="connsiteY6083" fmla="*/ 4083418 h 5704395"/>
                <a:gd name="connsiteX6084" fmla="*/ 1276828 w 5719680"/>
                <a:gd name="connsiteY6084" fmla="*/ 4083101 h 5704395"/>
                <a:gd name="connsiteX6085" fmla="*/ 1275557 w 5719680"/>
                <a:gd name="connsiteY6085" fmla="*/ 4081833 h 5704395"/>
                <a:gd name="connsiteX6086" fmla="*/ 1219974 w 5719680"/>
                <a:gd name="connsiteY6086" fmla="*/ 4072960 h 5704395"/>
                <a:gd name="connsiteX6087" fmla="*/ 1208222 w 5719680"/>
                <a:gd name="connsiteY6087" fmla="*/ 4061552 h 5704395"/>
                <a:gd name="connsiteX6088" fmla="*/ 1208857 w 5719680"/>
                <a:gd name="connsiteY6088" fmla="*/ 4058383 h 5704395"/>
                <a:gd name="connsiteX6089" fmla="*/ 1212669 w 5719680"/>
                <a:gd name="connsiteY6089" fmla="*/ 4056799 h 5704395"/>
                <a:gd name="connsiteX6090" fmla="*/ 3039612 w 5719680"/>
                <a:gd name="connsiteY6090" fmla="*/ 4054898 h 5704395"/>
                <a:gd name="connsiteX6091" fmla="*/ 3015473 w 5719680"/>
                <a:gd name="connsiteY6091" fmla="*/ 4055848 h 5704395"/>
                <a:gd name="connsiteX6092" fmla="*/ 2993240 w 5719680"/>
                <a:gd name="connsiteY6092" fmla="*/ 4056482 h 5704395"/>
                <a:gd name="connsiteX6093" fmla="*/ 3027543 w 5719680"/>
                <a:gd name="connsiteY6093" fmla="*/ 4157569 h 5704395"/>
                <a:gd name="connsiteX6094" fmla="*/ 3069468 w 5719680"/>
                <a:gd name="connsiteY6094" fmla="*/ 4144260 h 5704395"/>
                <a:gd name="connsiteX6095" fmla="*/ 3039612 w 5719680"/>
                <a:gd name="connsiteY6095" fmla="*/ 4054898 h 5704395"/>
                <a:gd name="connsiteX6096" fmla="*/ 3089478 w 5719680"/>
                <a:gd name="connsiteY6096" fmla="*/ 4052996 h 5704395"/>
                <a:gd name="connsiteX6097" fmla="*/ 3088208 w 5719680"/>
                <a:gd name="connsiteY6097" fmla="*/ 4053313 h 5704395"/>
                <a:gd name="connsiteX6098" fmla="*/ 3087890 w 5719680"/>
                <a:gd name="connsiteY6098" fmla="*/ 4053313 h 5704395"/>
                <a:gd name="connsiteX6099" fmla="*/ 3044376 w 5719680"/>
                <a:gd name="connsiteY6099" fmla="*/ 4054898 h 5704395"/>
                <a:gd name="connsiteX6100" fmla="*/ 3073598 w 5719680"/>
                <a:gd name="connsiteY6100" fmla="*/ 4142993 h 5704395"/>
                <a:gd name="connsiteX6101" fmla="*/ 3114570 w 5719680"/>
                <a:gd name="connsiteY6101" fmla="*/ 4130000 h 5704395"/>
                <a:gd name="connsiteX6102" fmla="*/ 3111076 w 5719680"/>
                <a:gd name="connsiteY6102" fmla="*/ 4119543 h 5704395"/>
                <a:gd name="connsiteX6103" fmla="*/ 3096148 w 5719680"/>
                <a:gd name="connsiteY6103" fmla="*/ 4075495 h 5704395"/>
                <a:gd name="connsiteX6104" fmla="*/ 3089478 w 5719680"/>
                <a:gd name="connsiteY6104" fmla="*/ 4053313 h 5704395"/>
                <a:gd name="connsiteX6105" fmla="*/ 3089478 w 5719680"/>
                <a:gd name="connsiteY6105" fmla="*/ 4052996 h 5704395"/>
                <a:gd name="connsiteX6106" fmla="*/ 419257 w 5719680"/>
                <a:gd name="connsiteY6106" fmla="*/ 4052680 h 5704395"/>
                <a:gd name="connsiteX6107" fmla="*/ 330324 w 5719680"/>
                <a:gd name="connsiteY6107" fmla="*/ 4073277 h 5704395"/>
                <a:gd name="connsiteX6108" fmla="*/ 369073 w 5719680"/>
                <a:gd name="connsiteY6108" fmla="*/ 4136021 h 5704395"/>
                <a:gd name="connsiteX6109" fmla="*/ 369709 w 5719680"/>
                <a:gd name="connsiteY6109" fmla="*/ 4136972 h 5704395"/>
                <a:gd name="connsiteX6110" fmla="*/ 369709 w 5719680"/>
                <a:gd name="connsiteY6110" fmla="*/ 4138239 h 5704395"/>
                <a:gd name="connsiteX6111" fmla="*/ 370979 w 5719680"/>
                <a:gd name="connsiteY6111" fmla="*/ 4205736 h 5704395"/>
                <a:gd name="connsiteX6112" fmla="*/ 455148 w 5719680"/>
                <a:gd name="connsiteY6112" fmla="*/ 4275452 h 5704395"/>
                <a:gd name="connsiteX6113" fmla="*/ 497391 w 5719680"/>
                <a:gd name="connsiteY6113" fmla="*/ 4211124 h 5704395"/>
                <a:gd name="connsiteX6114" fmla="*/ 481510 w 5719680"/>
                <a:gd name="connsiteY6114" fmla="*/ 4084051 h 5704395"/>
                <a:gd name="connsiteX6115" fmla="*/ 419257 w 5719680"/>
                <a:gd name="connsiteY6115" fmla="*/ 4052680 h 5704395"/>
                <a:gd name="connsiteX6116" fmla="*/ 1948274 w 5719680"/>
                <a:gd name="connsiteY6116" fmla="*/ 4051412 h 5704395"/>
                <a:gd name="connsiteX6117" fmla="*/ 1941922 w 5719680"/>
                <a:gd name="connsiteY6117" fmla="*/ 4114156 h 5704395"/>
                <a:gd name="connsiteX6118" fmla="*/ 2054676 w 5719680"/>
                <a:gd name="connsiteY6118" fmla="*/ 4123029 h 5704395"/>
                <a:gd name="connsiteX6119" fmla="*/ 2061664 w 5719680"/>
                <a:gd name="connsiteY6119" fmla="*/ 4059968 h 5704395"/>
                <a:gd name="connsiteX6120" fmla="*/ 1948274 w 5719680"/>
                <a:gd name="connsiteY6120" fmla="*/ 4051412 h 5704395"/>
                <a:gd name="connsiteX6121" fmla="*/ 420528 w 5719680"/>
                <a:gd name="connsiteY6121" fmla="*/ 4047926 h 5704395"/>
                <a:gd name="connsiteX6122" fmla="*/ 419892 w 5719680"/>
                <a:gd name="connsiteY6122" fmla="*/ 4048243 h 5704395"/>
                <a:gd name="connsiteX6123" fmla="*/ 485639 w 5719680"/>
                <a:gd name="connsiteY6123" fmla="*/ 4081199 h 5704395"/>
                <a:gd name="connsiteX6124" fmla="*/ 502156 w 5719680"/>
                <a:gd name="connsiteY6124" fmla="*/ 4212074 h 5704395"/>
                <a:gd name="connsiteX6125" fmla="*/ 456101 w 5719680"/>
                <a:gd name="connsiteY6125" fmla="*/ 4282106 h 5704395"/>
                <a:gd name="connsiteX6126" fmla="*/ 366532 w 5719680"/>
                <a:gd name="connsiteY6126" fmla="*/ 4207955 h 5704395"/>
                <a:gd name="connsiteX6127" fmla="*/ 365262 w 5719680"/>
                <a:gd name="connsiteY6127" fmla="*/ 4138239 h 5704395"/>
                <a:gd name="connsiteX6128" fmla="*/ 323336 w 5719680"/>
                <a:gd name="connsiteY6128" fmla="*/ 4070425 h 5704395"/>
                <a:gd name="connsiteX6129" fmla="*/ 400835 w 5719680"/>
                <a:gd name="connsiteY6129" fmla="*/ 4052363 h 5704395"/>
                <a:gd name="connsiteX6130" fmla="*/ 366215 w 5719680"/>
                <a:gd name="connsiteY6130" fmla="*/ 4059968 h 5704395"/>
                <a:gd name="connsiteX6131" fmla="*/ 326195 w 5719680"/>
                <a:gd name="connsiteY6131" fmla="*/ 4068841 h 5704395"/>
                <a:gd name="connsiteX6132" fmla="*/ 314125 w 5719680"/>
                <a:gd name="connsiteY6132" fmla="*/ 4071693 h 5704395"/>
                <a:gd name="connsiteX6133" fmla="*/ 357957 w 5719680"/>
                <a:gd name="connsiteY6133" fmla="*/ 4142676 h 5704395"/>
                <a:gd name="connsiteX6134" fmla="*/ 358592 w 5719680"/>
                <a:gd name="connsiteY6134" fmla="*/ 4209856 h 5704395"/>
                <a:gd name="connsiteX6135" fmla="*/ 358274 w 5719680"/>
                <a:gd name="connsiteY6135" fmla="*/ 4211440 h 5704395"/>
                <a:gd name="connsiteX6136" fmla="*/ 459595 w 5719680"/>
                <a:gd name="connsiteY6136" fmla="*/ 4299535 h 5704395"/>
                <a:gd name="connsiteX6137" fmla="*/ 472299 w 5719680"/>
                <a:gd name="connsiteY6137" fmla="*/ 4282106 h 5704395"/>
                <a:gd name="connsiteX6138" fmla="*/ 491992 w 5719680"/>
                <a:gd name="connsiteY6138" fmla="*/ 4251368 h 5704395"/>
                <a:gd name="connsiteX6139" fmla="*/ 505967 w 5719680"/>
                <a:gd name="connsiteY6139" fmla="*/ 4230137 h 5704395"/>
                <a:gd name="connsiteX6140" fmla="*/ 510414 w 5719680"/>
                <a:gd name="connsiteY6140" fmla="*/ 4222848 h 5704395"/>
                <a:gd name="connsiteX6141" fmla="*/ 511049 w 5719680"/>
                <a:gd name="connsiteY6141" fmla="*/ 4222532 h 5704395"/>
                <a:gd name="connsiteX6142" fmla="*/ 490086 w 5719680"/>
                <a:gd name="connsiteY6142" fmla="*/ 4082150 h 5704395"/>
                <a:gd name="connsiteX6143" fmla="*/ 420528 w 5719680"/>
                <a:gd name="connsiteY6143" fmla="*/ 4047926 h 5704395"/>
                <a:gd name="connsiteX6144" fmla="*/ 1901267 w 5719680"/>
                <a:gd name="connsiteY6144" fmla="*/ 4047609 h 5704395"/>
                <a:gd name="connsiteX6145" fmla="*/ 1894597 w 5719680"/>
                <a:gd name="connsiteY6145" fmla="*/ 4110670 h 5704395"/>
                <a:gd name="connsiteX6146" fmla="*/ 1937792 w 5719680"/>
                <a:gd name="connsiteY6146" fmla="*/ 4113839 h 5704395"/>
                <a:gd name="connsiteX6147" fmla="*/ 1944145 w 5719680"/>
                <a:gd name="connsiteY6147" fmla="*/ 4051095 h 5704395"/>
                <a:gd name="connsiteX6148" fmla="*/ 1901267 w 5719680"/>
                <a:gd name="connsiteY6148" fmla="*/ 4047609 h 5704395"/>
                <a:gd name="connsiteX6149" fmla="*/ 3391852 w 5719680"/>
                <a:gd name="connsiteY6149" fmla="*/ 4046659 h 5704395"/>
                <a:gd name="connsiteX6150" fmla="*/ 3352467 w 5719680"/>
                <a:gd name="connsiteY6150" fmla="*/ 4059017 h 5704395"/>
                <a:gd name="connsiteX6151" fmla="*/ 3365807 w 5719680"/>
                <a:gd name="connsiteY6151" fmla="*/ 4097994 h 5704395"/>
                <a:gd name="connsiteX6152" fmla="*/ 3405192 w 5719680"/>
                <a:gd name="connsiteY6152" fmla="*/ 4085319 h 5704395"/>
                <a:gd name="connsiteX6153" fmla="*/ 3391852 w 5719680"/>
                <a:gd name="connsiteY6153" fmla="*/ 4046659 h 5704395"/>
                <a:gd name="connsiteX6154" fmla="*/ 1699896 w 5719680"/>
                <a:gd name="connsiteY6154" fmla="*/ 4046659 h 5704395"/>
                <a:gd name="connsiteX6155" fmla="*/ 1705296 w 5719680"/>
                <a:gd name="connsiteY6155" fmla="*/ 4096410 h 5704395"/>
                <a:gd name="connsiteX6156" fmla="*/ 1764373 w 5719680"/>
                <a:gd name="connsiteY6156" fmla="*/ 4107501 h 5704395"/>
                <a:gd name="connsiteX6157" fmla="*/ 1821227 w 5719680"/>
                <a:gd name="connsiteY6157" fmla="*/ 4117958 h 5704395"/>
                <a:gd name="connsiteX6158" fmla="*/ 1826626 w 5719680"/>
                <a:gd name="connsiteY6158" fmla="*/ 4070425 h 5704395"/>
                <a:gd name="connsiteX6159" fmla="*/ 1699896 w 5719680"/>
                <a:gd name="connsiteY6159" fmla="*/ 4046659 h 5704395"/>
                <a:gd name="connsiteX6160" fmla="*/ 1883162 w 5719680"/>
                <a:gd name="connsiteY6160" fmla="*/ 4046342 h 5704395"/>
                <a:gd name="connsiteX6161" fmla="*/ 1874904 w 5719680"/>
                <a:gd name="connsiteY6161" fmla="*/ 4109086 h 5704395"/>
                <a:gd name="connsiteX6162" fmla="*/ 1890467 w 5719680"/>
                <a:gd name="connsiteY6162" fmla="*/ 4110353 h 5704395"/>
                <a:gd name="connsiteX6163" fmla="*/ 1897137 w 5719680"/>
                <a:gd name="connsiteY6163" fmla="*/ 4047292 h 5704395"/>
                <a:gd name="connsiteX6164" fmla="*/ 1183130 w 5719680"/>
                <a:gd name="connsiteY6164" fmla="*/ 4046342 h 5704395"/>
                <a:gd name="connsiteX6165" fmla="*/ 1152639 w 5719680"/>
                <a:gd name="connsiteY6165" fmla="*/ 4054898 h 5704395"/>
                <a:gd name="connsiteX6166" fmla="*/ 1149780 w 5719680"/>
                <a:gd name="connsiteY6166" fmla="*/ 4050144 h 5704395"/>
                <a:gd name="connsiteX6167" fmla="*/ 1148510 w 5719680"/>
                <a:gd name="connsiteY6167" fmla="*/ 4048560 h 5704395"/>
                <a:gd name="connsiteX6168" fmla="*/ 1161850 w 5719680"/>
                <a:gd name="connsiteY6168" fmla="*/ 4090072 h 5704395"/>
                <a:gd name="connsiteX6169" fmla="*/ 1155180 w 5719680"/>
                <a:gd name="connsiteY6169" fmla="*/ 4124930 h 5704395"/>
                <a:gd name="connsiteX6170" fmla="*/ 1152321 w 5719680"/>
                <a:gd name="connsiteY6170" fmla="*/ 4131268 h 5704395"/>
                <a:gd name="connsiteX6171" fmla="*/ 1170108 w 5719680"/>
                <a:gd name="connsiteY6171" fmla="*/ 4138239 h 5704395"/>
                <a:gd name="connsiteX6172" fmla="*/ 1182813 w 5719680"/>
                <a:gd name="connsiteY6172" fmla="*/ 4105600 h 5704395"/>
                <a:gd name="connsiteX6173" fmla="*/ 1183130 w 5719680"/>
                <a:gd name="connsiteY6173" fmla="*/ 4046342 h 5704395"/>
                <a:gd name="connsiteX6174" fmla="*/ 665412 w 5719680"/>
                <a:gd name="connsiteY6174" fmla="*/ 4045708 h 5704395"/>
                <a:gd name="connsiteX6175" fmla="*/ 638414 w 5719680"/>
                <a:gd name="connsiteY6175" fmla="*/ 4107818 h 5704395"/>
                <a:gd name="connsiteX6176" fmla="*/ 668905 w 5719680"/>
                <a:gd name="connsiteY6176" fmla="*/ 4116057 h 5704395"/>
                <a:gd name="connsiteX6177" fmla="*/ 673352 w 5719680"/>
                <a:gd name="connsiteY6177" fmla="*/ 4106550 h 5704395"/>
                <a:gd name="connsiteX6178" fmla="*/ 676846 w 5719680"/>
                <a:gd name="connsiteY6178" fmla="*/ 4098311 h 5704395"/>
                <a:gd name="connsiteX6179" fmla="*/ 678116 w 5719680"/>
                <a:gd name="connsiteY6179" fmla="*/ 4095776 h 5704395"/>
                <a:gd name="connsiteX6180" fmla="*/ 678434 w 5719680"/>
                <a:gd name="connsiteY6180" fmla="*/ 4094826 h 5704395"/>
                <a:gd name="connsiteX6181" fmla="*/ 678752 w 5719680"/>
                <a:gd name="connsiteY6181" fmla="*/ 4094192 h 5704395"/>
                <a:gd name="connsiteX6182" fmla="*/ 679069 w 5719680"/>
                <a:gd name="connsiteY6182" fmla="*/ 4094192 h 5704395"/>
                <a:gd name="connsiteX6183" fmla="*/ 679069 w 5719680"/>
                <a:gd name="connsiteY6183" fmla="*/ 4093875 h 5704395"/>
                <a:gd name="connsiteX6184" fmla="*/ 680022 w 5719680"/>
                <a:gd name="connsiteY6184" fmla="*/ 4093241 h 5704395"/>
                <a:gd name="connsiteX6185" fmla="*/ 680657 w 5719680"/>
                <a:gd name="connsiteY6185" fmla="*/ 4093241 h 5704395"/>
                <a:gd name="connsiteX6186" fmla="*/ 681928 w 5719680"/>
                <a:gd name="connsiteY6186" fmla="*/ 4093558 h 5704395"/>
                <a:gd name="connsiteX6187" fmla="*/ 687645 w 5719680"/>
                <a:gd name="connsiteY6187" fmla="*/ 4095142 h 5704395"/>
                <a:gd name="connsiteX6188" fmla="*/ 688598 w 5719680"/>
                <a:gd name="connsiteY6188" fmla="*/ 4095459 h 5704395"/>
                <a:gd name="connsiteX6189" fmla="*/ 714007 w 5719680"/>
                <a:gd name="connsiteY6189" fmla="*/ 4136655 h 5704395"/>
                <a:gd name="connsiteX6190" fmla="*/ 769908 w 5719680"/>
                <a:gd name="connsiteY6190" fmla="*/ 4151549 h 5704395"/>
                <a:gd name="connsiteX6191" fmla="*/ 765462 w 5719680"/>
                <a:gd name="connsiteY6191" fmla="*/ 4162956 h 5704395"/>
                <a:gd name="connsiteX6192" fmla="*/ 794047 w 5719680"/>
                <a:gd name="connsiteY6192" fmla="*/ 4171829 h 5704395"/>
                <a:gd name="connsiteX6193" fmla="*/ 808658 w 5719680"/>
                <a:gd name="connsiteY6193" fmla="*/ 4128733 h 5704395"/>
                <a:gd name="connsiteX6194" fmla="*/ 738146 w 5719680"/>
                <a:gd name="connsiteY6194" fmla="*/ 4108452 h 5704395"/>
                <a:gd name="connsiteX6195" fmla="*/ 706385 w 5719680"/>
                <a:gd name="connsiteY6195" fmla="*/ 4059017 h 5704395"/>
                <a:gd name="connsiteX6196" fmla="*/ 665412 w 5719680"/>
                <a:gd name="connsiteY6196" fmla="*/ 4045708 h 5704395"/>
                <a:gd name="connsiteX6197" fmla="*/ 1444531 w 5719680"/>
                <a:gd name="connsiteY6197" fmla="*/ 4040638 h 5704395"/>
                <a:gd name="connsiteX6198" fmla="*/ 1431826 w 5719680"/>
                <a:gd name="connsiteY6198" fmla="*/ 4081833 h 5704395"/>
                <a:gd name="connsiteX6199" fmla="*/ 1467082 w 5719680"/>
                <a:gd name="connsiteY6199" fmla="*/ 4076763 h 5704395"/>
                <a:gd name="connsiteX6200" fmla="*/ 1461682 w 5719680"/>
                <a:gd name="connsiteY6200" fmla="*/ 4042856 h 5704395"/>
                <a:gd name="connsiteX6201" fmla="*/ 1444531 w 5719680"/>
                <a:gd name="connsiteY6201" fmla="*/ 4040638 h 5704395"/>
                <a:gd name="connsiteX6202" fmla="*/ 662871 w 5719680"/>
                <a:gd name="connsiteY6202" fmla="*/ 4040004 h 5704395"/>
                <a:gd name="connsiteX6203" fmla="*/ 709243 w 5719680"/>
                <a:gd name="connsiteY6203" fmla="*/ 4055215 h 5704395"/>
                <a:gd name="connsiteX6204" fmla="*/ 741005 w 5719680"/>
                <a:gd name="connsiteY6204" fmla="*/ 4104649 h 5704395"/>
                <a:gd name="connsiteX6205" fmla="*/ 814693 w 5719680"/>
                <a:gd name="connsiteY6205" fmla="*/ 4125564 h 5704395"/>
                <a:gd name="connsiteX6206" fmla="*/ 813740 w 5719680"/>
                <a:gd name="connsiteY6206" fmla="*/ 4128099 h 5704395"/>
                <a:gd name="connsiteX6207" fmla="*/ 797223 w 5719680"/>
                <a:gd name="connsiteY6207" fmla="*/ 4177533 h 5704395"/>
                <a:gd name="connsiteX6208" fmla="*/ 759109 w 5719680"/>
                <a:gd name="connsiteY6208" fmla="*/ 4166125 h 5704395"/>
                <a:gd name="connsiteX6209" fmla="*/ 763556 w 5719680"/>
                <a:gd name="connsiteY6209" fmla="*/ 4154717 h 5704395"/>
                <a:gd name="connsiteX6210" fmla="*/ 711149 w 5719680"/>
                <a:gd name="connsiteY6210" fmla="*/ 4140774 h 5704395"/>
                <a:gd name="connsiteX6211" fmla="*/ 685422 w 5719680"/>
                <a:gd name="connsiteY6211" fmla="*/ 4099579 h 5704395"/>
                <a:gd name="connsiteX6212" fmla="*/ 683198 w 5719680"/>
                <a:gd name="connsiteY6212" fmla="*/ 4098945 h 5704395"/>
                <a:gd name="connsiteX6213" fmla="*/ 682245 w 5719680"/>
                <a:gd name="connsiteY6213" fmla="*/ 4098311 h 5704395"/>
                <a:gd name="connsiteX6214" fmla="*/ 672082 w 5719680"/>
                <a:gd name="connsiteY6214" fmla="*/ 4119860 h 5704395"/>
                <a:gd name="connsiteX6215" fmla="*/ 671446 w 5719680"/>
                <a:gd name="connsiteY6215" fmla="*/ 4121761 h 5704395"/>
                <a:gd name="connsiteX6216" fmla="*/ 631744 w 5719680"/>
                <a:gd name="connsiteY6216" fmla="*/ 4110670 h 5704395"/>
                <a:gd name="connsiteX6217" fmla="*/ 662871 w 5719680"/>
                <a:gd name="connsiteY6217" fmla="*/ 4040004 h 5704395"/>
                <a:gd name="connsiteX6218" fmla="*/ 3138709 w 5719680"/>
                <a:gd name="connsiteY6218" fmla="*/ 4037469 h 5704395"/>
                <a:gd name="connsiteX6219" fmla="*/ 3092972 w 5719680"/>
                <a:gd name="connsiteY6219" fmla="*/ 4051729 h 5704395"/>
                <a:gd name="connsiteX6220" fmla="*/ 3091066 w 5719680"/>
                <a:gd name="connsiteY6220" fmla="*/ 4053630 h 5704395"/>
                <a:gd name="connsiteX6221" fmla="*/ 3091702 w 5719680"/>
                <a:gd name="connsiteY6221" fmla="*/ 4052996 h 5704395"/>
                <a:gd name="connsiteX6222" fmla="*/ 3091914 w 5719680"/>
                <a:gd name="connsiteY6222" fmla="*/ 4053313 h 5704395"/>
                <a:gd name="connsiteX6223" fmla="*/ 3091702 w 5719680"/>
                <a:gd name="connsiteY6223" fmla="*/ 4053313 h 5704395"/>
                <a:gd name="connsiteX6224" fmla="*/ 3092972 w 5719680"/>
                <a:gd name="connsiteY6224" fmla="*/ 4054898 h 5704395"/>
                <a:gd name="connsiteX6225" fmla="*/ 3091914 w 5719680"/>
                <a:gd name="connsiteY6225" fmla="*/ 4053313 h 5704395"/>
                <a:gd name="connsiteX6226" fmla="*/ 3092019 w 5719680"/>
                <a:gd name="connsiteY6226" fmla="*/ 4053313 h 5704395"/>
                <a:gd name="connsiteX6227" fmla="*/ 3093290 w 5719680"/>
                <a:gd name="connsiteY6227" fmla="*/ 4053313 h 5704395"/>
                <a:gd name="connsiteX6228" fmla="*/ 3093925 w 5719680"/>
                <a:gd name="connsiteY6228" fmla="*/ 4052996 h 5704395"/>
                <a:gd name="connsiteX6229" fmla="*/ 3115841 w 5719680"/>
                <a:gd name="connsiteY6229" fmla="*/ 4119860 h 5704395"/>
                <a:gd name="connsiteX6230" fmla="*/ 3118699 w 5719680"/>
                <a:gd name="connsiteY6230" fmla="*/ 4128733 h 5704395"/>
                <a:gd name="connsiteX6231" fmla="*/ 3163801 w 5719680"/>
                <a:gd name="connsiteY6231" fmla="*/ 4114473 h 5704395"/>
                <a:gd name="connsiteX6232" fmla="*/ 3159990 w 5719680"/>
                <a:gd name="connsiteY6232" fmla="*/ 4103065 h 5704395"/>
                <a:gd name="connsiteX6233" fmla="*/ 3145062 w 5719680"/>
                <a:gd name="connsiteY6233" fmla="*/ 4059017 h 5704395"/>
                <a:gd name="connsiteX6234" fmla="*/ 3138709 w 5719680"/>
                <a:gd name="connsiteY6234" fmla="*/ 4037469 h 5704395"/>
                <a:gd name="connsiteX6235" fmla="*/ 3140933 w 5719680"/>
                <a:gd name="connsiteY6235" fmla="*/ 4036835 h 5704395"/>
                <a:gd name="connsiteX6236" fmla="*/ 3139980 w 5719680"/>
                <a:gd name="connsiteY6236" fmla="*/ 4037152 h 5704395"/>
                <a:gd name="connsiteX6237" fmla="*/ 3139027 w 5719680"/>
                <a:gd name="connsiteY6237" fmla="*/ 4038103 h 5704395"/>
                <a:gd name="connsiteX6238" fmla="*/ 3141886 w 5719680"/>
                <a:gd name="connsiteY6238" fmla="*/ 4038420 h 5704395"/>
                <a:gd name="connsiteX6239" fmla="*/ 1441037 w 5719680"/>
                <a:gd name="connsiteY6239" fmla="*/ 4035568 h 5704395"/>
                <a:gd name="connsiteX6240" fmla="*/ 1465811 w 5719680"/>
                <a:gd name="connsiteY6240" fmla="*/ 4038736 h 5704395"/>
                <a:gd name="connsiteX6241" fmla="*/ 1466129 w 5719680"/>
                <a:gd name="connsiteY6241" fmla="*/ 4040321 h 5704395"/>
                <a:gd name="connsiteX6242" fmla="*/ 1472481 w 5719680"/>
                <a:gd name="connsiteY6242" fmla="*/ 4080566 h 5704395"/>
                <a:gd name="connsiteX6243" fmla="*/ 1425156 w 5719680"/>
                <a:gd name="connsiteY6243" fmla="*/ 4087854 h 5704395"/>
                <a:gd name="connsiteX6244" fmla="*/ 1441037 w 5719680"/>
                <a:gd name="connsiteY6244" fmla="*/ 4035568 h 5704395"/>
                <a:gd name="connsiteX6245" fmla="*/ 169926 w 5719680"/>
                <a:gd name="connsiteY6245" fmla="*/ 4035251 h 5704395"/>
                <a:gd name="connsiteX6246" fmla="*/ 122283 w 5719680"/>
                <a:gd name="connsiteY6246" fmla="*/ 4046025 h 5704395"/>
                <a:gd name="connsiteX6247" fmla="*/ 84804 w 5719680"/>
                <a:gd name="connsiteY6247" fmla="*/ 4054581 h 5704395"/>
                <a:gd name="connsiteX6248" fmla="*/ 96239 w 5719680"/>
                <a:gd name="connsiteY6248" fmla="*/ 4106550 h 5704395"/>
                <a:gd name="connsiteX6249" fmla="*/ 94333 w 5719680"/>
                <a:gd name="connsiteY6249" fmla="*/ 4127465 h 5704395"/>
                <a:gd name="connsiteX6250" fmla="*/ 92745 w 5719680"/>
                <a:gd name="connsiteY6250" fmla="*/ 4136021 h 5704395"/>
                <a:gd name="connsiteX6251" fmla="*/ 195018 w 5719680"/>
                <a:gd name="connsiteY6251" fmla="*/ 4163590 h 5704395"/>
                <a:gd name="connsiteX6252" fmla="*/ 195971 w 5719680"/>
                <a:gd name="connsiteY6252" fmla="*/ 4115106 h 5704395"/>
                <a:gd name="connsiteX6253" fmla="*/ 195971 w 5719680"/>
                <a:gd name="connsiteY6253" fmla="*/ 4106550 h 5704395"/>
                <a:gd name="connsiteX6254" fmla="*/ 178820 w 5719680"/>
                <a:gd name="connsiteY6254" fmla="*/ 4050778 h 5704395"/>
                <a:gd name="connsiteX6255" fmla="*/ 169926 w 5719680"/>
                <a:gd name="connsiteY6255" fmla="*/ 4035251 h 5704395"/>
                <a:gd name="connsiteX6256" fmla="*/ 3432507 w 5719680"/>
                <a:gd name="connsiteY6256" fmla="*/ 4033666 h 5704395"/>
                <a:gd name="connsiteX6257" fmla="*/ 3396298 w 5719680"/>
                <a:gd name="connsiteY6257" fmla="*/ 4045391 h 5704395"/>
                <a:gd name="connsiteX6258" fmla="*/ 3409320 w 5719680"/>
                <a:gd name="connsiteY6258" fmla="*/ 4084051 h 5704395"/>
                <a:gd name="connsiteX6259" fmla="*/ 3444576 w 5719680"/>
                <a:gd name="connsiteY6259" fmla="*/ 4072960 h 5704395"/>
                <a:gd name="connsiteX6260" fmla="*/ 3432507 w 5719680"/>
                <a:gd name="connsiteY6260" fmla="*/ 4033666 h 5704395"/>
                <a:gd name="connsiteX6261" fmla="*/ 661600 w 5719680"/>
                <a:gd name="connsiteY6261" fmla="*/ 4029547 h 5704395"/>
                <a:gd name="connsiteX6262" fmla="*/ 621898 w 5719680"/>
                <a:gd name="connsiteY6262" fmla="*/ 4118275 h 5704395"/>
                <a:gd name="connsiteX6263" fmla="*/ 653342 w 5719680"/>
                <a:gd name="connsiteY6263" fmla="*/ 4258340 h 5704395"/>
                <a:gd name="connsiteX6264" fmla="*/ 653977 w 5719680"/>
                <a:gd name="connsiteY6264" fmla="*/ 4262459 h 5704395"/>
                <a:gd name="connsiteX6265" fmla="*/ 652707 w 5719680"/>
                <a:gd name="connsiteY6265" fmla="*/ 4262143 h 5704395"/>
                <a:gd name="connsiteX6266" fmla="*/ 758156 w 5719680"/>
                <a:gd name="connsiteY6266" fmla="*/ 4300169 h 5704395"/>
                <a:gd name="connsiteX6267" fmla="*/ 828033 w 5719680"/>
                <a:gd name="connsiteY6267" fmla="*/ 4118275 h 5704395"/>
                <a:gd name="connsiteX6268" fmla="*/ 747040 w 5719680"/>
                <a:gd name="connsiteY6268" fmla="*/ 4095776 h 5704395"/>
                <a:gd name="connsiteX6269" fmla="*/ 746404 w 5719680"/>
                <a:gd name="connsiteY6269" fmla="*/ 4095459 h 5704395"/>
                <a:gd name="connsiteX6270" fmla="*/ 713055 w 5719680"/>
                <a:gd name="connsiteY6270" fmla="*/ 4047609 h 5704395"/>
                <a:gd name="connsiteX6271" fmla="*/ 661600 w 5719680"/>
                <a:gd name="connsiteY6271" fmla="*/ 4029547 h 5704395"/>
                <a:gd name="connsiteX6272" fmla="*/ 242343 w 5719680"/>
                <a:gd name="connsiteY6272" fmla="*/ 4028913 h 5704395"/>
                <a:gd name="connsiteX6273" fmla="*/ 210264 w 5719680"/>
                <a:gd name="connsiteY6273" fmla="*/ 4036518 h 5704395"/>
                <a:gd name="connsiteX6274" fmla="*/ 219475 w 5719680"/>
                <a:gd name="connsiteY6274" fmla="*/ 4063454 h 5704395"/>
                <a:gd name="connsiteX6275" fmla="*/ 237579 w 5719680"/>
                <a:gd name="connsiteY6275" fmla="*/ 4057116 h 5704395"/>
                <a:gd name="connsiteX6276" fmla="*/ 232497 w 5719680"/>
                <a:gd name="connsiteY6276" fmla="*/ 4043173 h 5704395"/>
                <a:gd name="connsiteX6277" fmla="*/ 245520 w 5719680"/>
                <a:gd name="connsiteY6277" fmla="*/ 4038736 h 5704395"/>
                <a:gd name="connsiteX6278" fmla="*/ 242343 w 5719680"/>
                <a:gd name="connsiteY6278" fmla="*/ 4028913 h 5704395"/>
                <a:gd name="connsiteX6279" fmla="*/ 1271 w 5719680"/>
                <a:gd name="connsiteY6279" fmla="*/ 4028913 h 5704395"/>
                <a:gd name="connsiteX6280" fmla="*/ 28268 w 5719680"/>
                <a:gd name="connsiteY6280" fmla="*/ 4033666 h 5704395"/>
                <a:gd name="connsiteX6281" fmla="*/ 20010 w 5719680"/>
                <a:gd name="connsiteY6281" fmla="*/ 4072010 h 5704395"/>
                <a:gd name="connsiteX6282" fmla="*/ 18105 w 5719680"/>
                <a:gd name="connsiteY6282" fmla="*/ 4071376 h 5704395"/>
                <a:gd name="connsiteX6283" fmla="*/ 2224 w 5719680"/>
                <a:gd name="connsiteY6283" fmla="*/ 4068524 h 5704395"/>
                <a:gd name="connsiteX6284" fmla="*/ 1271 w 5719680"/>
                <a:gd name="connsiteY6284" fmla="*/ 4073277 h 5704395"/>
                <a:gd name="connsiteX6285" fmla="*/ 1271 w 5719680"/>
                <a:gd name="connsiteY6285" fmla="*/ 4064087 h 5704395"/>
                <a:gd name="connsiteX6286" fmla="*/ 16834 w 5719680"/>
                <a:gd name="connsiteY6286" fmla="*/ 4066939 h 5704395"/>
                <a:gd name="connsiteX6287" fmla="*/ 23186 w 5719680"/>
                <a:gd name="connsiteY6287" fmla="*/ 4037152 h 5704395"/>
                <a:gd name="connsiteX6288" fmla="*/ 1271 w 5719680"/>
                <a:gd name="connsiteY6288" fmla="*/ 4033032 h 5704395"/>
                <a:gd name="connsiteX6289" fmla="*/ 1271 w 5719680"/>
                <a:gd name="connsiteY6289" fmla="*/ 4028913 h 5704395"/>
                <a:gd name="connsiteX6290" fmla="*/ 3183811 w 5719680"/>
                <a:gd name="connsiteY6290" fmla="*/ 4023526 h 5704395"/>
                <a:gd name="connsiteX6291" fmla="*/ 3141568 w 5719680"/>
                <a:gd name="connsiteY6291" fmla="*/ 4036518 h 5704395"/>
                <a:gd name="connsiteX6292" fmla="*/ 3142203 w 5719680"/>
                <a:gd name="connsiteY6292" fmla="*/ 4036518 h 5704395"/>
                <a:gd name="connsiteX6293" fmla="*/ 3142838 w 5719680"/>
                <a:gd name="connsiteY6293" fmla="*/ 4036518 h 5704395"/>
                <a:gd name="connsiteX6294" fmla="*/ 3164754 w 5719680"/>
                <a:gd name="connsiteY6294" fmla="*/ 4103065 h 5704395"/>
                <a:gd name="connsiteX6295" fmla="*/ 3167930 w 5719680"/>
                <a:gd name="connsiteY6295" fmla="*/ 4112888 h 5704395"/>
                <a:gd name="connsiteX6296" fmla="*/ 3209221 w 5719680"/>
                <a:gd name="connsiteY6296" fmla="*/ 4099896 h 5704395"/>
                <a:gd name="connsiteX6297" fmla="*/ 3205092 w 5719680"/>
                <a:gd name="connsiteY6297" fmla="*/ 4087537 h 5704395"/>
                <a:gd name="connsiteX6298" fmla="*/ 3190164 w 5719680"/>
                <a:gd name="connsiteY6298" fmla="*/ 4043490 h 5704395"/>
                <a:gd name="connsiteX6299" fmla="*/ 3183811 w 5719680"/>
                <a:gd name="connsiteY6299" fmla="*/ 4023526 h 5704395"/>
                <a:gd name="connsiteX6300" fmla="*/ 1771360 w 5719680"/>
                <a:gd name="connsiteY6300" fmla="*/ 4022892 h 5704395"/>
                <a:gd name="connsiteX6301" fmla="*/ 1766914 w 5719680"/>
                <a:gd name="connsiteY6301" fmla="*/ 4047292 h 5704395"/>
                <a:gd name="connsiteX6302" fmla="*/ 1805028 w 5719680"/>
                <a:gd name="connsiteY6302" fmla="*/ 4054264 h 5704395"/>
                <a:gd name="connsiteX6303" fmla="*/ 1809475 w 5719680"/>
                <a:gd name="connsiteY6303" fmla="*/ 4029864 h 5704395"/>
                <a:gd name="connsiteX6304" fmla="*/ 3186670 w 5719680"/>
                <a:gd name="connsiteY6304" fmla="*/ 4022575 h 5704395"/>
                <a:gd name="connsiteX6305" fmla="*/ 3185082 w 5719680"/>
                <a:gd name="connsiteY6305" fmla="*/ 4022892 h 5704395"/>
                <a:gd name="connsiteX6306" fmla="*/ 3186670 w 5719680"/>
                <a:gd name="connsiteY6306" fmla="*/ 4022892 h 5704395"/>
                <a:gd name="connsiteX6307" fmla="*/ 3186670 w 5719680"/>
                <a:gd name="connsiteY6307" fmla="*/ 4022575 h 5704395"/>
                <a:gd name="connsiteX6308" fmla="*/ 1768184 w 5719680"/>
                <a:gd name="connsiteY6308" fmla="*/ 4018139 h 5704395"/>
                <a:gd name="connsiteX6309" fmla="*/ 1814239 w 5719680"/>
                <a:gd name="connsiteY6309" fmla="*/ 4026378 h 5704395"/>
                <a:gd name="connsiteX6310" fmla="*/ 1808522 w 5719680"/>
                <a:gd name="connsiteY6310" fmla="*/ 4059017 h 5704395"/>
                <a:gd name="connsiteX6311" fmla="*/ 1762149 w 5719680"/>
                <a:gd name="connsiteY6311" fmla="*/ 4050461 h 5704395"/>
                <a:gd name="connsiteX6312" fmla="*/ 1762467 w 5719680"/>
                <a:gd name="connsiteY6312" fmla="*/ 4048560 h 5704395"/>
                <a:gd name="connsiteX6313" fmla="*/ 1061800 w 5719680"/>
                <a:gd name="connsiteY6313" fmla="*/ 4016237 h 5704395"/>
                <a:gd name="connsiteX6314" fmla="*/ 1047190 w 5719680"/>
                <a:gd name="connsiteY6314" fmla="*/ 4035251 h 5704395"/>
                <a:gd name="connsiteX6315" fmla="*/ 1044966 w 5719680"/>
                <a:gd name="connsiteY6315" fmla="*/ 4069475 h 5704395"/>
                <a:gd name="connsiteX6316" fmla="*/ 1042425 w 5719680"/>
                <a:gd name="connsiteY6316" fmla="*/ 4071693 h 5704395"/>
                <a:gd name="connsiteX6317" fmla="*/ 1024321 w 5719680"/>
                <a:gd name="connsiteY6317" fmla="*/ 4070425 h 5704395"/>
                <a:gd name="connsiteX6318" fmla="*/ 1022098 w 5719680"/>
                <a:gd name="connsiteY6318" fmla="*/ 4095459 h 5704395"/>
                <a:gd name="connsiteX6319" fmla="*/ 1055448 w 5719680"/>
                <a:gd name="connsiteY6319" fmla="*/ 4098311 h 5704395"/>
                <a:gd name="connsiteX6320" fmla="*/ 1055765 w 5719680"/>
                <a:gd name="connsiteY6320" fmla="*/ 4098311 h 5704395"/>
                <a:gd name="connsiteX6321" fmla="*/ 1056718 w 5719680"/>
                <a:gd name="connsiteY6321" fmla="*/ 4098311 h 5704395"/>
                <a:gd name="connsiteX6322" fmla="*/ 1058624 w 5719680"/>
                <a:gd name="connsiteY6322" fmla="*/ 4100846 h 5704395"/>
                <a:gd name="connsiteX6323" fmla="*/ 1058306 w 5719680"/>
                <a:gd name="connsiteY6323" fmla="*/ 4101480 h 5704395"/>
                <a:gd name="connsiteX6324" fmla="*/ 980172 w 5719680"/>
                <a:gd name="connsiteY6324" fmla="*/ 4180068 h 5704395"/>
                <a:gd name="connsiteX6325" fmla="*/ 983348 w 5719680"/>
                <a:gd name="connsiteY6325" fmla="*/ 4185772 h 5704395"/>
                <a:gd name="connsiteX6326" fmla="*/ 1032261 w 5719680"/>
                <a:gd name="connsiteY6326" fmla="*/ 4172463 h 5704395"/>
                <a:gd name="connsiteX6327" fmla="*/ 1102773 w 5719680"/>
                <a:gd name="connsiteY6327" fmla="*/ 4134753 h 5704395"/>
                <a:gd name="connsiteX6328" fmla="*/ 1122148 w 5719680"/>
                <a:gd name="connsiteY6328" fmla="*/ 4090072 h 5704395"/>
                <a:gd name="connsiteX6329" fmla="*/ 1109443 w 5719680"/>
                <a:gd name="connsiteY6329" fmla="*/ 4057116 h 5704395"/>
                <a:gd name="connsiteX6330" fmla="*/ 1061800 w 5719680"/>
                <a:gd name="connsiteY6330" fmla="*/ 4016237 h 5704395"/>
                <a:gd name="connsiteX6331" fmla="*/ 1062753 w 5719680"/>
                <a:gd name="connsiteY6331" fmla="*/ 4011167 h 5704395"/>
                <a:gd name="connsiteX6332" fmla="*/ 1112937 w 5719680"/>
                <a:gd name="connsiteY6332" fmla="*/ 4054264 h 5704395"/>
                <a:gd name="connsiteX6333" fmla="*/ 1126912 w 5719680"/>
                <a:gd name="connsiteY6333" fmla="*/ 4090072 h 5704395"/>
                <a:gd name="connsiteX6334" fmla="*/ 1106267 w 5719680"/>
                <a:gd name="connsiteY6334" fmla="*/ 4137922 h 5704395"/>
                <a:gd name="connsiteX6335" fmla="*/ 982713 w 5719680"/>
                <a:gd name="connsiteY6335" fmla="*/ 4190843 h 5704395"/>
                <a:gd name="connsiteX6336" fmla="*/ 982078 w 5719680"/>
                <a:gd name="connsiteY6336" fmla="*/ 4190843 h 5704395"/>
                <a:gd name="connsiteX6337" fmla="*/ 980172 w 5719680"/>
                <a:gd name="connsiteY6337" fmla="*/ 4189575 h 5704395"/>
                <a:gd name="connsiteX6338" fmla="*/ 975090 w 5719680"/>
                <a:gd name="connsiteY6338" fmla="*/ 4180385 h 5704395"/>
                <a:gd name="connsiteX6339" fmla="*/ 975725 w 5719680"/>
                <a:gd name="connsiteY6339" fmla="*/ 4177216 h 5704395"/>
                <a:gd name="connsiteX6340" fmla="*/ 1010028 w 5719680"/>
                <a:gd name="connsiteY6340" fmla="*/ 4153450 h 5704395"/>
                <a:gd name="connsiteX6341" fmla="*/ 1052907 w 5719680"/>
                <a:gd name="connsiteY6341" fmla="*/ 4103065 h 5704395"/>
                <a:gd name="connsiteX6342" fmla="*/ 1019239 w 5719680"/>
                <a:gd name="connsiteY6342" fmla="*/ 4099896 h 5704395"/>
                <a:gd name="connsiteX6343" fmla="*/ 1017016 w 5719680"/>
                <a:gd name="connsiteY6343" fmla="*/ 4097361 h 5704395"/>
                <a:gd name="connsiteX6344" fmla="*/ 1019874 w 5719680"/>
                <a:gd name="connsiteY6344" fmla="*/ 4067573 h 5704395"/>
                <a:gd name="connsiteX6345" fmla="*/ 1022415 w 5719680"/>
                <a:gd name="connsiteY6345" fmla="*/ 4065672 h 5704395"/>
                <a:gd name="connsiteX6346" fmla="*/ 1040520 w 5719680"/>
                <a:gd name="connsiteY6346" fmla="*/ 4066939 h 5704395"/>
                <a:gd name="connsiteX6347" fmla="*/ 1042743 w 5719680"/>
                <a:gd name="connsiteY6347" fmla="*/ 4033983 h 5704395"/>
                <a:gd name="connsiteX6348" fmla="*/ 1043060 w 5719680"/>
                <a:gd name="connsiteY6348" fmla="*/ 4032716 h 5704395"/>
                <a:gd name="connsiteX6349" fmla="*/ 1059577 w 5719680"/>
                <a:gd name="connsiteY6349" fmla="*/ 4011484 h 5704395"/>
                <a:gd name="connsiteX6350" fmla="*/ 1062753 w 5719680"/>
                <a:gd name="connsiteY6350" fmla="*/ 4011167 h 5704395"/>
                <a:gd name="connsiteX6351" fmla="*/ 3226690 w 5719680"/>
                <a:gd name="connsiteY6351" fmla="*/ 4010217 h 5704395"/>
                <a:gd name="connsiteX6352" fmla="*/ 3188258 w 5719680"/>
                <a:gd name="connsiteY6352" fmla="*/ 4022258 h 5704395"/>
                <a:gd name="connsiteX6353" fmla="*/ 3209856 w 5719680"/>
                <a:gd name="connsiteY6353" fmla="*/ 4087537 h 5704395"/>
                <a:gd name="connsiteX6354" fmla="*/ 3213350 w 5719680"/>
                <a:gd name="connsiteY6354" fmla="*/ 4098628 h 5704395"/>
                <a:gd name="connsiteX6355" fmla="*/ 3251782 w 5719680"/>
                <a:gd name="connsiteY6355" fmla="*/ 4086587 h 5704395"/>
                <a:gd name="connsiteX6356" fmla="*/ 3247970 w 5719680"/>
                <a:gd name="connsiteY6356" fmla="*/ 4075812 h 5704395"/>
                <a:gd name="connsiteX6357" fmla="*/ 3233360 w 5719680"/>
                <a:gd name="connsiteY6357" fmla="*/ 4031765 h 5704395"/>
                <a:gd name="connsiteX6358" fmla="*/ 3226690 w 5719680"/>
                <a:gd name="connsiteY6358" fmla="*/ 4010217 h 5704395"/>
                <a:gd name="connsiteX6359" fmla="*/ 2289396 w 5719680"/>
                <a:gd name="connsiteY6359" fmla="*/ 4004829 h 5704395"/>
                <a:gd name="connsiteX6360" fmla="*/ 2287491 w 5719680"/>
                <a:gd name="connsiteY6360" fmla="*/ 4027962 h 5704395"/>
                <a:gd name="connsiteX6361" fmla="*/ 2263352 w 5719680"/>
                <a:gd name="connsiteY6361" fmla="*/ 4025744 h 5704395"/>
                <a:gd name="connsiteX6362" fmla="*/ 2262081 w 5719680"/>
                <a:gd name="connsiteY6362" fmla="*/ 4041588 h 5704395"/>
                <a:gd name="connsiteX6363" fmla="*/ 2316712 w 5719680"/>
                <a:gd name="connsiteY6363" fmla="*/ 4045391 h 5704395"/>
                <a:gd name="connsiteX6364" fmla="*/ 2317982 w 5719680"/>
                <a:gd name="connsiteY6364" fmla="*/ 4029547 h 5704395"/>
                <a:gd name="connsiteX6365" fmla="*/ 2323700 w 5719680"/>
                <a:gd name="connsiteY6365" fmla="*/ 4030180 h 5704395"/>
                <a:gd name="connsiteX6366" fmla="*/ 2325605 w 5719680"/>
                <a:gd name="connsiteY6366" fmla="*/ 4007998 h 5704395"/>
                <a:gd name="connsiteX6367" fmla="*/ 2289396 w 5719680"/>
                <a:gd name="connsiteY6367" fmla="*/ 4004829 h 5704395"/>
                <a:gd name="connsiteX6368" fmla="*/ 218204 w 5719680"/>
                <a:gd name="connsiteY6368" fmla="*/ 4001977 h 5704395"/>
                <a:gd name="connsiteX6369" fmla="*/ 200418 w 5719680"/>
                <a:gd name="connsiteY6369" fmla="*/ 4008315 h 5704395"/>
                <a:gd name="connsiteX6370" fmla="*/ 208676 w 5719680"/>
                <a:gd name="connsiteY6370" fmla="*/ 4032082 h 5704395"/>
                <a:gd name="connsiteX6371" fmla="*/ 240755 w 5719680"/>
                <a:gd name="connsiteY6371" fmla="*/ 4024793 h 5704395"/>
                <a:gd name="connsiteX6372" fmla="*/ 235991 w 5719680"/>
                <a:gd name="connsiteY6372" fmla="*/ 4011484 h 5704395"/>
                <a:gd name="connsiteX6373" fmla="*/ 223286 w 5719680"/>
                <a:gd name="connsiteY6373" fmla="*/ 4015921 h 5704395"/>
                <a:gd name="connsiteX6374" fmla="*/ 218204 w 5719680"/>
                <a:gd name="connsiteY6374" fmla="*/ 4001977 h 5704395"/>
                <a:gd name="connsiteX6375" fmla="*/ 2987523 w 5719680"/>
                <a:gd name="connsiteY6375" fmla="*/ 4001344 h 5704395"/>
                <a:gd name="connsiteX6376" fmla="*/ 2972595 w 5719680"/>
                <a:gd name="connsiteY6376" fmla="*/ 4005780 h 5704395"/>
                <a:gd name="connsiteX6377" fmla="*/ 2984346 w 5719680"/>
                <a:gd name="connsiteY6377" fmla="*/ 4043807 h 5704395"/>
                <a:gd name="connsiteX6378" fmla="*/ 2999275 w 5719680"/>
                <a:gd name="connsiteY6378" fmla="*/ 4039053 h 5704395"/>
                <a:gd name="connsiteX6379" fmla="*/ 2285585 w 5719680"/>
                <a:gd name="connsiteY6379" fmla="*/ 4000393 h 5704395"/>
                <a:gd name="connsiteX6380" fmla="*/ 2330370 w 5719680"/>
                <a:gd name="connsiteY6380" fmla="*/ 4004196 h 5704395"/>
                <a:gd name="connsiteX6381" fmla="*/ 2327511 w 5719680"/>
                <a:gd name="connsiteY6381" fmla="*/ 4034617 h 5704395"/>
                <a:gd name="connsiteX6382" fmla="*/ 2321794 w 5719680"/>
                <a:gd name="connsiteY6382" fmla="*/ 4034300 h 5704395"/>
                <a:gd name="connsiteX6383" fmla="*/ 2320523 w 5719680"/>
                <a:gd name="connsiteY6383" fmla="*/ 4049828 h 5704395"/>
                <a:gd name="connsiteX6384" fmla="*/ 2257635 w 5719680"/>
                <a:gd name="connsiteY6384" fmla="*/ 4045391 h 5704395"/>
                <a:gd name="connsiteX6385" fmla="*/ 2257635 w 5719680"/>
                <a:gd name="connsiteY6385" fmla="*/ 4043173 h 5704395"/>
                <a:gd name="connsiteX6386" fmla="*/ 2259540 w 5719680"/>
                <a:gd name="connsiteY6386" fmla="*/ 4021308 h 5704395"/>
                <a:gd name="connsiteX6387" fmla="*/ 2283680 w 5719680"/>
                <a:gd name="connsiteY6387" fmla="*/ 4023526 h 5704395"/>
                <a:gd name="connsiteX6388" fmla="*/ 2285585 w 5719680"/>
                <a:gd name="connsiteY6388" fmla="*/ 4000393 h 5704395"/>
                <a:gd name="connsiteX6389" fmla="*/ 2106766 w 5719680"/>
                <a:gd name="connsiteY6389" fmla="*/ 3999442 h 5704395"/>
                <a:gd name="connsiteX6390" fmla="*/ 2104860 w 5719680"/>
                <a:gd name="connsiteY6390" fmla="*/ 4021624 h 5704395"/>
                <a:gd name="connsiteX6391" fmla="*/ 2108672 w 5719680"/>
                <a:gd name="connsiteY6391" fmla="*/ 4022258 h 5704395"/>
                <a:gd name="connsiteX6392" fmla="*/ 2110577 w 5719680"/>
                <a:gd name="connsiteY6392" fmla="*/ 4022258 h 5704395"/>
                <a:gd name="connsiteX6393" fmla="*/ 2109307 w 5719680"/>
                <a:gd name="connsiteY6393" fmla="*/ 4038103 h 5704395"/>
                <a:gd name="connsiteX6394" fmla="*/ 2163620 w 5719680"/>
                <a:gd name="connsiteY6394" fmla="*/ 4043807 h 5704395"/>
                <a:gd name="connsiteX6395" fmla="*/ 2164890 w 5719680"/>
                <a:gd name="connsiteY6395" fmla="*/ 4028279 h 5704395"/>
                <a:gd name="connsiteX6396" fmla="*/ 2141068 w 5719680"/>
                <a:gd name="connsiteY6396" fmla="*/ 4026061 h 5704395"/>
                <a:gd name="connsiteX6397" fmla="*/ 2143292 w 5719680"/>
                <a:gd name="connsiteY6397" fmla="*/ 4002928 h 5704395"/>
                <a:gd name="connsiteX6398" fmla="*/ 2106766 w 5719680"/>
                <a:gd name="connsiteY6398" fmla="*/ 3999442 h 5704395"/>
                <a:gd name="connsiteX6399" fmla="*/ 380508 w 5719680"/>
                <a:gd name="connsiteY6399" fmla="*/ 3996907 h 5704395"/>
                <a:gd name="connsiteX6400" fmla="*/ 246155 w 5719680"/>
                <a:gd name="connsiteY6400" fmla="*/ 4027962 h 5704395"/>
                <a:gd name="connsiteX6401" fmla="*/ 250919 w 5719680"/>
                <a:gd name="connsiteY6401" fmla="*/ 4041272 h 5704395"/>
                <a:gd name="connsiteX6402" fmla="*/ 237897 w 5719680"/>
                <a:gd name="connsiteY6402" fmla="*/ 4045708 h 5704395"/>
                <a:gd name="connsiteX6403" fmla="*/ 242979 w 5719680"/>
                <a:gd name="connsiteY6403" fmla="*/ 4059651 h 5704395"/>
                <a:gd name="connsiteX6404" fmla="*/ 216934 w 5719680"/>
                <a:gd name="connsiteY6404" fmla="*/ 4068841 h 5704395"/>
                <a:gd name="connsiteX6405" fmla="*/ 206135 w 5719680"/>
                <a:gd name="connsiteY6405" fmla="*/ 4037469 h 5704395"/>
                <a:gd name="connsiteX6406" fmla="*/ 196289 w 5719680"/>
                <a:gd name="connsiteY6406" fmla="*/ 4039687 h 5704395"/>
                <a:gd name="connsiteX6407" fmla="*/ 197242 w 5719680"/>
                <a:gd name="connsiteY6407" fmla="*/ 4041272 h 5704395"/>
                <a:gd name="connsiteX6408" fmla="*/ 210582 w 5719680"/>
                <a:gd name="connsiteY6408" fmla="*/ 4072327 h 5704395"/>
                <a:gd name="connsiteX6409" fmla="*/ 220745 w 5719680"/>
                <a:gd name="connsiteY6409" fmla="*/ 4069791 h 5704395"/>
                <a:gd name="connsiteX6410" fmla="*/ 278234 w 5719680"/>
                <a:gd name="connsiteY6410" fmla="*/ 4057116 h 5704395"/>
                <a:gd name="connsiteX6411" fmla="*/ 300150 w 5719680"/>
                <a:gd name="connsiteY6411" fmla="*/ 4052363 h 5704395"/>
                <a:gd name="connsiteX6412" fmla="*/ 403376 w 5719680"/>
                <a:gd name="connsiteY6412" fmla="*/ 4029547 h 5704395"/>
                <a:gd name="connsiteX6413" fmla="*/ 380508 w 5719680"/>
                <a:gd name="connsiteY6413" fmla="*/ 3996907 h 5704395"/>
                <a:gd name="connsiteX6414" fmla="*/ 2990381 w 5719680"/>
                <a:gd name="connsiteY6414" fmla="*/ 3995957 h 5704395"/>
                <a:gd name="connsiteX6415" fmla="*/ 3004356 w 5719680"/>
                <a:gd name="connsiteY6415" fmla="*/ 4041905 h 5704395"/>
                <a:gd name="connsiteX6416" fmla="*/ 2981488 w 5719680"/>
                <a:gd name="connsiteY6416" fmla="*/ 4048877 h 5704395"/>
                <a:gd name="connsiteX6417" fmla="*/ 2980853 w 5719680"/>
                <a:gd name="connsiteY6417" fmla="*/ 4046976 h 5704395"/>
                <a:gd name="connsiteX6418" fmla="*/ 2967195 w 5719680"/>
                <a:gd name="connsiteY6418" fmla="*/ 4002928 h 5704395"/>
                <a:gd name="connsiteX6419" fmla="*/ 2990381 w 5719680"/>
                <a:gd name="connsiteY6419" fmla="*/ 3995957 h 5704395"/>
                <a:gd name="connsiteX6420" fmla="*/ 1259041 w 5719680"/>
                <a:gd name="connsiteY6420" fmla="*/ 3995323 h 5704395"/>
                <a:gd name="connsiteX6421" fmla="*/ 1237126 w 5719680"/>
                <a:gd name="connsiteY6421" fmla="*/ 4020674 h 5704395"/>
                <a:gd name="connsiteX6422" fmla="*/ 1188212 w 5719680"/>
                <a:gd name="connsiteY6422" fmla="*/ 4044440 h 5704395"/>
                <a:gd name="connsiteX6423" fmla="*/ 1187895 w 5719680"/>
                <a:gd name="connsiteY6423" fmla="*/ 4106550 h 5704395"/>
                <a:gd name="connsiteX6424" fmla="*/ 1175190 w 5719680"/>
                <a:gd name="connsiteY6424" fmla="*/ 4139507 h 5704395"/>
                <a:gd name="connsiteX6425" fmla="*/ 1274605 w 5719680"/>
                <a:gd name="connsiteY6425" fmla="*/ 4176266 h 5704395"/>
                <a:gd name="connsiteX6426" fmla="*/ 1282863 w 5719680"/>
                <a:gd name="connsiteY6426" fmla="*/ 4164858 h 5704395"/>
                <a:gd name="connsiteX6427" fmla="*/ 1328282 w 5719680"/>
                <a:gd name="connsiteY6427" fmla="*/ 4126831 h 5704395"/>
                <a:gd name="connsiteX6428" fmla="*/ 1354645 w 5719680"/>
                <a:gd name="connsiteY6428" fmla="*/ 4102114 h 5704395"/>
                <a:gd name="connsiteX6429" fmla="*/ 1356233 w 5719680"/>
                <a:gd name="connsiteY6429" fmla="*/ 4100530 h 5704395"/>
                <a:gd name="connsiteX6430" fmla="*/ 1356550 w 5719680"/>
                <a:gd name="connsiteY6430" fmla="*/ 4096727 h 5704395"/>
                <a:gd name="connsiteX6431" fmla="*/ 1348610 w 5719680"/>
                <a:gd name="connsiteY6431" fmla="*/ 4078347 h 5704395"/>
                <a:gd name="connsiteX6432" fmla="*/ 1342893 w 5719680"/>
                <a:gd name="connsiteY6432" fmla="*/ 4070425 h 5704395"/>
                <a:gd name="connsiteX6433" fmla="*/ 1340669 w 5719680"/>
                <a:gd name="connsiteY6433" fmla="*/ 4068207 h 5704395"/>
                <a:gd name="connsiteX6434" fmla="*/ 1340034 w 5719680"/>
                <a:gd name="connsiteY6434" fmla="*/ 4067256 h 5704395"/>
                <a:gd name="connsiteX6435" fmla="*/ 1315895 w 5719680"/>
                <a:gd name="connsiteY6435" fmla="*/ 4046659 h 5704395"/>
                <a:gd name="connsiteX6436" fmla="*/ 1259041 w 5719680"/>
                <a:gd name="connsiteY6436" fmla="*/ 3995323 h 5704395"/>
                <a:gd name="connsiteX6437" fmla="*/ 2103272 w 5719680"/>
                <a:gd name="connsiteY6437" fmla="*/ 3995006 h 5704395"/>
                <a:gd name="connsiteX6438" fmla="*/ 2147738 w 5719680"/>
                <a:gd name="connsiteY6438" fmla="*/ 3999125 h 5704395"/>
                <a:gd name="connsiteX6439" fmla="*/ 2145515 w 5719680"/>
                <a:gd name="connsiteY6439" fmla="*/ 4022258 h 5704395"/>
                <a:gd name="connsiteX6440" fmla="*/ 2169654 w 5719680"/>
                <a:gd name="connsiteY6440" fmla="*/ 4024476 h 5704395"/>
                <a:gd name="connsiteX6441" fmla="*/ 2167431 w 5719680"/>
                <a:gd name="connsiteY6441" fmla="*/ 4048243 h 5704395"/>
                <a:gd name="connsiteX6442" fmla="*/ 2165208 w 5719680"/>
                <a:gd name="connsiteY6442" fmla="*/ 4048243 h 5704395"/>
                <a:gd name="connsiteX6443" fmla="*/ 2104542 w 5719680"/>
                <a:gd name="connsiteY6443" fmla="*/ 4041588 h 5704395"/>
                <a:gd name="connsiteX6444" fmla="*/ 2106130 w 5719680"/>
                <a:gd name="connsiteY6444" fmla="*/ 4026061 h 5704395"/>
                <a:gd name="connsiteX6445" fmla="*/ 2102319 w 5719680"/>
                <a:gd name="connsiteY6445" fmla="*/ 4025744 h 5704395"/>
                <a:gd name="connsiteX6446" fmla="*/ 2100413 w 5719680"/>
                <a:gd name="connsiteY6446" fmla="*/ 4025427 h 5704395"/>
                <a:gd name="connsiteX6447" fmla="*/ 2103272 w 5719680"/>
                <a:gd name="connsiteY6447" fmla="*/ 3995006 h 5704395"/>
                <a:gd name="connsiteX6448" fmla="*/ 3277509 w 5719680"/>
                <a:gd name="connsiteY6448" fmla="*/ 3994055 h 5704395"/>
                <a:gd name="connsiteX6449" fmla="*/ 3229231 w 5719680"/>
                <a:gd name="connsiteY6449" fmla="*/ 4009266 h 5704395"/>
                <a:gd name="connsiteX6450" fmla="*/ 3230184 w 5719680"/>
                <a:gd name="connsiteY6450" fmla="*/ 4009266 h 5704395"/>
                <a:gd name="connsiteX6451" fmla="*/ 3230819 w 5719680"/>
                <a:gd name="connsiteY6451" fmla="*/ 4009266 h 5704395"/>
                <a:gd name="connsiteX6452" fmla="*/ 3252734 w 5719680"/>
                <a:gd name="connsiteY6452" fmla="*/ 4075812 h 5704395"/>
                <a:gd name="connsiteX6453" fmla="*/ 3255911 w 5719680"/>
                <a:gd name="connsiteY6453" fmla="*/ 4085319 h 5704395"/>
                <a:gd name="connsiteX6454" fmla="*/ 3302283 w 5719680"/>
                <a:gd name="connsiteY6454" fmla="*/ 4070425 h 5704395"/>
                <a:gd name="connsiteX6455" fmla="*/ 3298789 w 5719680"/>
                <a:gd name="connsiteY6455" fmla="*/ 4060285 h 5704395"/>
                <a:gd name="connsiteX6456" fmla="*/ 3284179 w 5719680"/>
                <a:gd name="connsiteY6456" fmla="*/ 4015921 h 5704395"/>
                <a:gd name="connsiteX6457" fmla="*/ 3277509 w 5719680"/>
                <a:gd name="connsiteY6457" fmla="*/ 3994055 h 5704395"/>
                <a:gd name="connsiteX6458" fmla="*/ 1055765 w 5719680"/>
                <a:gd name="connsiteY6458" fmla="*/ 3990253 h 5704395"/>
                <a:gd name="connsiteX6459" fmla="*/ 920460 w 5719680"/>
                <a:gd name="connsiteY6459" fmla="*/ 4150598 h 5704395"/>
                <a:gd name="connsiteX6460" fmla="*/ 968420 w 5719680"/>
                <a:gd name="connsiteY6460" fmla="*/ 4208905 h 5704395"/>
                <a:gd name="connsiteX6461" fmla="*/ 1064023 w 5719680"/>
                <a:gd name="connsiteY6461" fmla="*/ 4189575 h 5704395"/>
                <a:gd name="connsiteX6462" fmla="*/ 1074187 w 5719680"/>
                <a:gd name="connsiteY6462" fmla="*/ 4184505 h 5704395"/>
                <a:gd name="connsiteX6463" fmla="*/ 1141522 w 5719680"/>
                <a:gd name="connsiteY6463" fmla="*/ 4120177 h 5704395"/>
                <a:gd name="connsiteX6464" fmla="*/ 1147557 w 5719680"/>
                <a:gd name="connsiteY6464" fmla="*/ 4090072 h 5704395"/>
                <a:gd name="connsiteX6465" fmla="*/ 1121195 w 5719680"/>
                <a:gd name="connsiteY6465" fmla="*/ 4038103 h 5704395"/>
                <a:gd name="connsiteX6466" fmla="*/ 1055765 w 5719680"/>
                <a:gd name="connsiteY6466" fmla="*/ 3990253 h 5704395"/>
                <a:gd name="connsiteX6467" fmla="*/ 1954944 w 5719680"/>
                <a:gd name="connsiteY6467" fmla="*/ 3987084 h 5704395"/>
                <a:gd name="connsiteX6468" fmla="*/ 1948909 w 5719680"/>
                <a:gd name="connsiteY6468" fmla="*/ 4046976 h 5704395"/>
                <a:gd name="connsiteX6469" fmla="*/ 2061982 w 5719680"/>
                <a:gd name="connsiteY6469" fmla="*/ 4055531 h 5704395"/>
                <a:gd name="connsiteX6470" fmla="*/ 2068334 w 5719680"/>
                <a:gd name="connsiteY6470" fmla="*/ 3995957 h 5704395"/>
                <a:gd name="connsiteX6471" fmla="*/ 1954944 w 5719680"/>
                <a:gd name="connsiteY6471" fmla="*/ 3987084 h 5704395"/>
                <a:gd name="connsiteX6472" fmla="*/ 1907937 w 5719680"/>
                <a:gd name="connsiteY6472" fmla="*/ 3983598 h 5704395"/>
                <a:gd name="connsiteX6473" fmla="*/ 1901902 w 5719680"/>
                <a:gd name="connsiteY6473" fmla="*/ 4043490 h 5704395"/>
                <a:gd name="connsiteX6474" fmla="*/ 1944462 w 5719680"/>
                <a:gd name="connsiteY6474" fmla="*/ 4046659 h 5704395"/>
                <a:gd name="connsiteX6475" fmla="*/ 1950815 w 5719680"/>
                <a:gd name="connsiteY6475" fmla="*/ 3986767 h 5704395"/>
                <a:gd name="connsiteX6476" fmla="*/ 1907937 w 5719680"/>
                <a:gd name="connsiteY6476" fmla="*/ 3983598 h 5704395"/>
                <a:gd name="connsiteX6477" fmla="*/ 1891420 w 5719680"/>
                <a:gd name="connsiteY6477" fmla="*/ 3982330 h 5704395"/>
                <a:gd name="connsiteX6478" fmla="*/ 1883798 w 5719680"/>
                <a:gd name="connsiteY6478" fmla="*/ 4041905 h 5704395"/>
                <a:gd name="connsiteX6479" fmla="*/ 1897455 w 5719680"/>
                <a:gd name="connsiteY6479" fmla="*/ 4043173 h 5704395"/>
                <a:gd name="connsiteX6480" fmla="*/ 1903807 w 5719680"/>
                <a:gd name="connsiteY6480" fmla="*/ 3983281 h 5704395"/>
                <a:gd name="connsiteX6481" fmla="*/ 1891420 w 5719680"/>
                <a:gd name="connsiteY6481" fmla="*/ 3982330 h 5704395"/>
                <a:gd name="connsiteX6482" fmla="*/ 107673 w 5719680"/>
                <a:gd name="connsiteY6482" fmla="*/ 3981697 h 5704395"/>
                <a:gd name="connsiteX6483" fmla="*/ 77182 w 5719680"/>
                <a:gd name="connsiteY6483" fmla="*/ 3999759 h 5704395"/>
                <a:gd name="connsiteX6484" fmla="*/ 95286 w 5719680"/>
                <a:gd name="connsiteY6484" fmla="*/ 4030180 h 5704395"/>
                <a:gd name="connsiteX6485" fmla="*/ 125777 w 5719680"/>
                <a:gd name="connsiteY6485" fmla="*/ 4012118 h 5704395"/>
                <a:gd name="connsiteX6486" fmla="*/ 107673 w 5719680"/>
                <a:gd name="connsiteY6486" fmla="*/ 3981697 h 5704395"/>
                <a:gd name="connsiteX6487" fmla="*/ 491674 w 5719680"/>
                <a:gd name="connsiteY6487" fmla="*/ 3978528 h 5704395"/>
                <a:gd name="connsiteX6488" fmla="*/ 431009 w 5719680"/>
                <a:gd name="connsiteY6488" fmla="*/ 3995640 h 5704395"/>
                <a:gd name="connsiteX6489" fmla="*/ 441490 w 5719680"/>
                <a:gd name="connsiteY6489" fmla="*/ 4018139 h 5704395"/>
                <a:gd name="connsiteX6490" fmla="*/ 480875 w 5719680"/>
                <a:gd name="connsiteY6490" fmla="*/ 4035568 h 5704395"/>
                <a:gd name="connsiteX6491" fmla="*/ 519625 w 5719680"/>
                <a:gd name="connsiteY6491" fmla="*/ 3988985 h 5704395"/>
                <a:gd name="connsiteX6492" fmla="*/ 491674 w 5719680"/>
                <a:gd name="connsiteY6492" fmla="*/ 3978528 h 5704395"/>
                <a:gd name="connsiteX6493" fmla="*/ 109261 w 5719680"/>
                <a:gd name="connsiteY6493" fmla="*/ 3975993 h 5704395"/>
                <a:gd name="connsiteX6494" fmla="*/ 110214 w 5719680"/>
                <a:gd name="connsiteY6494" fmla="*/ 3977894 h 5704395"/>
                <a:gd name="connsiteX6495" fmla="*/ 131494 w 5719680"/>
                <a:gd name="connsiteY6495" fmla="*/ 4013702 h 5704395"/>
                <a:gd name="connsiteX6496" fmla="*/ 93698 w 5719680"/>
                <a:gd name="connsiteY6496" fmla="*/ 4035884 h 5704395"/>
                <a:gd name="connsiteX6497" fmla="*/ 71464 w 5719680"/>
                <a:gd name="connsiteY6497" fmla="*/ 3998175 h 5704395"/>
                <a:gd name="connsiteX6498" fmla="*/ 109261 w 5719680"/>
                <a:gd name="connsiteY6498" fmla="*/ 3975993 h 5704395"/>
                <a:gd name="connsiteX6499" fmla="*/ 1341940 w 5719680"/>
                <a:gd name="connsiteY6499" fmla="*/ 3974408 h 5704395"/>
                <a:gd name="connsiteX6500" fmla="*/ 1321930 w 5719680"/>
                <a:gd name="connsiteY6500" fmla="*/ 4016554 h 5704395"/>
                <a:gd name="connsiteX6501" fmla="*/ 1348610 w 5719680"/>
                <a:gd name="connsiteY6501" fmla="*/ 4039053 h 5704395"/>
                <a:gd name="connsiteX6502" fmla="*/ 1358138 w 5719680"/>
                <a:gd name="connsiteY6502" fmla="*/ 4018456 h 5704395"/>
                <a:gd name="connsiteX6503" fmla="*/ 1345116 w 5719680"/>
                <a:gd name="connsiteY6503" fmla="*/ 4005463 h 5704395"/>
                <a:gd name="connsiteX6504" fmla="*/ 1343210 w 5719680"/>
                <a:gd name="connsiteY6504" fmla="*/ 4003562 h 5704395"/>
                <a:gd name="connsiteX6505" fmla="*/ 1343845 w 5719680"/>
                <a:gd name="connsiteY6505" fmla="*/ 4001344 h 5704395"/>
                <a:gd name="connsiteX6506" fmla="*/ 1347657 w 5719680"/>
                <a:gd name="connsiteY6506" fmla="*/ 3985816 h 5704395"/>
                <a:gd name="connsiteX6507" fmla="*/ 1341940 w 5719680"/>
                <a:gd name="connsiteY6507" fmla="*/ 3974408 h 5704395"/>
                <a:gd name="connsiteX6508" fmla="*/ 491992 w 5719680"/>
                <a:gd name="connsiteY6508" fmla="*/ 3973774 h 5704395"/>
                <a:gd name="connsiteX6509" fmla="*/ 526930 w 5719680"/>
                <a:gd name="connsiteY6509" fmla="*/ 3986767 h 5704395"/>
                <a:gd name="connsiteX6510" fmla="*/ 482146 w 5719680"/>
                <a:gd name="connsiteY6510" fmla="*/ 4040955 h 5704395"/>
                <a:gd name="connsiteX6511" fmla="*/ 437997 w 5719680"/>
                <a:gd name="connsiteY6511" fmla="*/ 4021624 h 5704395"/>
                <a:gd name="connsiteX6512" fmla="*/ 424657 w 5719680"/>
                <a:gd name="connsiteY6512" fmla="*/ 3992788 h 5704395"/>
                <a:gd name="connsiteX6513" fmla="*/ 491992 w 5719680"/>
                <a:gd name="connsiteY6513" fmla="*/ 3973774 h 5704395"/>
                <a:gd name="connsiteX6514" fmla="*/ 1742140 w 5719680"/>
                <a:gd name="connsiteY6514" fmla="*/ 3971239 h 5704395"/>
                <a:gd name="connsiteX6515" fmla="*/ 1737693 w 5719680"/>
                <a:gd name="connsiteY6515" fmla="*/ 3995957 h 5704395"/>
                <a:gd name="connsiteX6516" fmla="*/ 1776125 w 5719680"/>
                <a:gd name="connsiteY6516" fmla="*/ 4002928 h 5704395"/>
                <a:gd name="connsiteX6517" fmla="*/ 1780571 w 5719680"/>
                <a:gd name="connsiteY6517" fmla="*/ 3978211 h 5704395"/>
                <a:gd name="connsiteX6518" fmla="*/ 1742140 w 5719680"/>
                <a:gd name="connsiteY6518" fmla="*/ 3971239 h 5704395"/>
                <a:gd name="connsiteX6519" fmla="*/ 869641 w 5719680"/>
                <a:gd name="connsiteY6519" fmla="*/ 3969021 h 5704395"/>
                <a:gd name="connsiteX6520" fmla="*/ 848995 w 5719680"/>
                <a:gd name="connsiteY6520" fmla="*/ 4023526 h 5704395"/>
                <a:gd name="connsiteX6521" fmla="*/ 864559 w 5719680"/>
                <a:gd name="connsiteY6521" fmla="*/ 4029547 h 5704395"/>
                <a:gd name="connsiteX6522" fmla="*/ 874087 w 5719680"/>
                <a:gd name="connsiteY6522" fmla="*/ 4003879 h 5704395"/>
                <a:gd name="connsiteX6523" fmla="*/ 886792 w 5719680"/>
                <a:gd name="connsiteY6523" fmla="*/ 4008632 h 5704395"/>
                <a:gd name="connsiteX6524" fmla="*/ 865512 w 5719680"/>
                <a:gd name="connsiteY6524" fmla="*/ 4064721 h 5704395"/>
                <a:gd name="connsiteX6525" fmla="*/ 880122 w 5719680"/>
                <a:gd name="connsiteY6525" fmla="*/ 4070108 h 5704395"/>
                <a:gd name="connsiteX6526" fmla="*/ 888062 w 5719680"/>
                <a:gd name="connsiteY6526" fmla="*/ 4049511 h 5704395"/>
                <a:gd name="connsiteX6527" fmla="*/ 910296 w 5719680"/>
                <a:gd name="connsiteY6527" fmla="*/ 4057750 h 5704395"/>
                <a:gd name="connsiteX6528" fmla="*/ 924271 w 5719680"/>
                <a:gd name="connsiteY6528" fmla="*/ 4021624 h 5704395"/>
                <a:gd name="connsiteX6529" fmla="*/ 896956 w 5719680"/>
                <a:gd name="connsiteY6529" fmla="*/ 4011484 h 5704395"/>
                <a:gd name="connsiteX6530" fmla="*/ 909343 w 5719680"/>
                <a:gd name="connsiteY6530" fmla="*/ 3979478 h 5704395"/>
                <a:gd name="connsiteX6531" fmla="*/ 887427 w 5719680"/>
                <a:gd name="connsiteY6531" fmla="*/ 3971239 h 5704395"/>
                <a:gd name="connsiteX6532" fmla="*/ 886792 w 5719680"/>
                <a:gd name="connsiteY6532" fmla="*/ 3973141 h 5704395"/>
                <a:gd name="connsiteX6533" fmla="*/ 886157 w 5719680"/>
                <a:gd name="connsiteY6533" fmla="*/ 3975042 h 5704395"/>
                <a:gd name="connsiteX6534" fmla="*/ 869641 w 5719680"/>
                <a:gd name="connsiteY6534" fmla="*/ 3969021 h 5704395"/>
                <a:gd name="connsiteX6535" fmla="*/ 1738963 w 5719680"/>
                <a:gd name="connsiteY6535" fmla="*/ 3966486 h 5704395"/>
                <a:gd name="connsiteX6536" fmla="*/ 1785336 w 5719680"/>
                <a:gd name="connsiteY6536" fmla="*/ 3975042 h 5704395"/>
                <a:gd name="connsiteX6537" fmla="*/ 1779301 w 5719680"/>
                <a:gd name="connsiteY6537" fmla="*/ 4007681 h 5704395"/>
                <a:gd name="connsiteX6538" fmla="*/ 1732929 w 5719680"/>
                <a:gd name="connsiteY6538" fmla="*/ 3999125 h 5704395"/>
                <a:gd name="connsiteX6539" fmla="*/ 1733564 w 5719680"/>
                <a:gd name="connsiteY6539" fmla="*/ 3997224 h 5704395"/>
                <a:gd name="connsiteX6540" fmla="*/ 1738963 w 5719680"/>
                <a:gd name="connsiteY6540" fmla="*/ 3966486 h 5704395"/>
                <a:gd name="connsiteX6541" fmla="*/ 1341622 w 5719680"/>
                <a:gd name="connsiteY6541" fmla="*/ 3964268 h 5704395"/>
                <a:gd name="connsiteX6542" fmla="*/ 1352421 w 5719680"/>
                <a:gd name="connsiteY6542" fmla="*/ 3985499 h 5704395"/>
                <a:gd name="connsiteX6543" fmla="*/ 1348292 w 5719680"/>
                <a:gd name="connsiteY6543" fmla="*/ 4002294 h 5704395"/>
                <a:gd name="connsiteX6544" fmla="*/ 1363220 w 5719680"/>
                <a:gd name="connsiteY6544" fmla="*/ 4017505 h 5704395"/>
                <a:gd name="connsiteX6545" fmla="*/ 1350198 w 5719680"/>
                <a:gd name="connsiteY6545" fmla="*/ 4046025 h 5704395"/>
                <a:gd name="connsiteX6546" fmla="*/ 1316530 w 5719680"/>
                <a:gd name="connsiteY6546" fmla="*/ 4017822 h 5704395"/>
                <a:gd name="connsiteX6547" fmla="*/ 1341622 w 5719680"/>
                <a:gd name="connsiteY6547" fmla="*/ 3964268 h 5704395"/>
                <a:gd name="connsiteX6548" fmla="*/ 867417 w 5719680"/>
                <a:gd name="connsiteY6548" fmla="*/ 3963634 h 5704395"/>
                <a:gd name="connsiteX6549" fmla="*/ 883616 w 5719680"/>
                <a:gd name="connsiteY6549" fmla="*/ 3969655 h 5704395"/>
                <a:gd name="connsiteX6550" fmla="*/ 884251 w 5719680"/>
                <a:gd name="connsiteY6550" fmla="*/ 3967754 h 5704395"/>
                <a:gd name="connsiteX6551" fmla="*/ 885204 w 5719680"/>
                <a:gd name="connsiteY6551" fmla="*/ 3965852 h 5704395"/>
                <a:gd name="connsiteX6552" fmla="*/ 914742 w 5719680"/>
                <a:gd name="connsiteY6552" fmla="*/ 3976943 h 5704395"/>
                <a:gd name="connsiteX6553" fmla="*/ 913790 w 5719680"/>
                <a:gd name="connsiteY6553" fmla="*/ 3978845 h 5704395"/>
                <a:gd name="connsiteX6554" fmla="*/ 902355 w 5719680"/>
                <a:gd name="connsiteY6554" fmla="*/ 4008949 h 5704395"/>
                <a:gd name="connsiteX6555" fmla="*/ 929671 w 5719680"/>
                <a:gd name="connsiteY6555" fmla="*/ 4019089 h 5704395"/>
                <a:gd name="connsiteX6556" fmla="*/ 912837 w 5719680"/>
                <a:gd name="connsiteY6556" fmla="*/ 4063454 h 5704395"/>
                <a:gd name="connsiteX6557" fmla="*/ 890286 w 5719680"/>
                <a:gd name="connsiteY6557" fmla="*/ 4054898 h 5704395"/>
                <a:gd name="connsiteX6558" fmla="*/ 882345 w 5719680"/>
                <a:gd name="connsiteY6558" fmla="*/ 4075812 h 5704395"/>
                <a:gd name="connsiteX6559" fmla="*/ 859794 w 5719680"/>
                <a:gd name="connsiteY6559" fmla="*/ 4067256 h 5704395"/>
                <a:gd name="connsiteX6560" fmla="*/ 881075 w 5719680"/>
                <a:gd name="connsiteY6560" fmla="*/ 4010850 h 5704395"/>
                <a:gd name="connsiteX6561" fmla="*/ 876628 w 5719680"/>
                <a:gd name="connsiteY6561" fmla="*/ 4009266 h 5704395"/>
                <a:gd name="connsiteX6562" fmla="*/ 866782 w 5719680"/>
                <a:gd name="connsiteY6562" fmla="*/ 4034934 h 5704395"/>
                <a:gd name="connsiteX6563" fmla="*/ 843596 w 5719680"/>
                <a:gd name="connsiteY6563" fmla="*/ 4026061 h 5704395"/>
                <a:gd name="connsiteX6564" fmla="*/ 867417 w 5719680"/>
                <a:gd name="connsiteY6564" fmla="*/ 3963634 h 5704395"/>
                <a:gd name="connsiteX6565" fmla="*/ 2985300 w 5719680"/>
                <a:gd name="connsiteY6565" fmla="*/ 3961099 h 5704395"/>
                <a:gd name="connsiteX6566" fmla="*/ 2984982 w 5719680"/>
                <a:gd name="connsiteY6566" fmla="*/ 3961416 h 5704395"/>
                <a:gd name="connsiteX6567" fmla="*/ 2955443 w 5719680"/>
                <a:gd name="connsiteY6567" fmla="*/ 4027645 h 5704395"/>
                <a:gd name="connsiteX6568" fmla="*/ 2944962 w 5719680"/>
                <a:gd name="connsiteY6568" fmla="*/ 4049828 h 5704395"/>
                <a:gd name="connsiteX6569" fmla="*/ 2942738 w 5719680"/>
                <a:gd name="connsiteY6569" fmla="*/ 4053947 h 5704395"/>
                <a:gd name="connsiteX6570" fmla="*/ 3016744 w 5719680"/>
                <a:gd name="connsiteY6570" fmla="*/ 4051412 h 5704395"/>
                <a:gd name="connsiteX6571" fmla="*/ 766097 w 5719680"/>
                <a:gd name="connsiteY6571" fmla="*/ 3960782 h 5704395"/>
                <a:gd name="connsiteX6572" fmla="*/ 766097 w 5719680"/>
                <a:gd name="connsiteY6572" fmla="*/ 3962050 h 5704395"/>
                <a:gd name="connsiteX6573" fmla="*/ 765779 w 5719680"/>
                <a:gd name="connsiteY6573" fmla="*/ 3963951 h 5704395"/>
                <a:gd name="connsiteX6574" fmla="*/ 749263 w 5719680"/>
                <a:gd name="connsiteY6574" fmla="*/ 3961099 h 5704395"/>
                <a:gd name="connsiteX6575" fmla="*/ 740370 w 5719680"/>
                <a:gd name="connsiteY6575" fmla="*/ 4010850 h 5704395"/>
                <a:gd name="connsiteX6576" fmla="*/ 766414 w 5719680"/>
                <a:gd name="connsiteY6576" fmla="*/ 4015604 h 5704395"/>
                <a:gd name="connsiteX6577" fmla="*/ 770544 w 5719680"/>
                <a:gd name="connsiteY6577" fmla="*/ 3992788 h 5704395"/>
                <a:gd name="connsiteX6578" fmla="*/ 788648 w 5719680"/>
                <a:gd name="connsiteY6578" fmla="*/ 3995957 h 5704395"/>
                <a:gd name="connsiteX6579" fmla="*/ 794683 w 5719680"/>
                <a:gd name="connsiteY6579" fmla="*/ 3965852 h 5704395"/>
                <a:gd name="connsiteX6580" fmla="*/ 766097 w 5719680"/>
                <a:gd name="connsiteY6580" fmla="*/ 3960782 h 5704395"/>
                <a:gd name="connsiteX6581" fmla="*/ 762921 w 5719680"/>
                <a:gd name="connsiteY6581" fmla="*/ 3956029 h 5704395"/>
                <a:gd name="connsiteX6582" fmla="*/ 799764 w 5719680"/>
                <a:gd name="connsiteY6582" fmla="*/ 3962683 h 5704395"/>
                <a:gd name="connsiteX6583" fmla="*/ 791824 w 5719680"/>
                <a:gd name="connsiteY6583" fmla="*/ 4000710 h 5704395"/>
                <a:gd name="connsiteX6584" fmla="*/ 789918 w 5719680"/>
                <a:gd name="connsiteY6584" fmla="*/ 4000393 h 5704395"/>
                <a:gd name="connsiteX6585" fmla="*/ 774037 w 5719680"/>
                <a:gd name="connsiteY6585" fmla="*/ 3997541 h 5704395"/>
                <a:gd name="connsiteX6586" fmla="*/ 769591 w 5719680"/>
                <a:gd name="connsiteY6586" fmla="*/ 4020357 h 5704395"/>
                <a:gd name="connsiteX6587" fmla="*/ 735605 w 5719680"/>
                <a:gd name="connsiteY6587" fmla="*/ 4014019 h 5704395"/>
                <a:gd name="connsiteX6588" fmla="*/ 746087 w 5719680"/>
                <a:gd name="connsiteY6588" fmla="*/ 3956346 h 5704395"/>
                <a:gd name="connsiteX6589" fmla="*/ 762285 w 5719680"/>
                <a:gd name="connsiteY6589" fmla="*/ 3959198 h 5704395"/>
                <a:gd name="connsiteX6590" fmla="*/ 762603 w 5719680"/>
                <a:gd name="connsiteY6590" fmla="*/ 3957930 h 5704395"/>
                <a:gd name="connsiteX6591" fmla="*/ 762921 w 5719680"/>
                <a:gd name="connsiteY6591" fmla="*/ 3956029 h 5704395"/>
                <a:gd name="connsiteX6592" fmla="*/ 2093743 w 5719680"/>
                <a:gd name="connsiteY6592" fmla="*/ 3955078 h 5704395"/>
                <a:gd name="connsiteX6593" fmla="*/ 2079768 w 5719680"/>
                <a:gd name="connsiteY6593" fmla="*/ 4085953 h 5704395"/>
                <a:gd name="connsiteX6594" fmla="*/ 2200781 w 5719680"/>
                <a:gd name="connsiteY6594" fmla="*/ 4093875 h 5704395"/>
                <a:gd name="connsiteX6595" fmla="*/ 2208086 w 5719680"/>
                <a:gd name="connsiteY6595" fmla="*/ 3980746 h 5704395"/>
                <a:gd name="connsiteX6596" fmla="*/ 2093743 w 5719680"/>
                <a:gd name="connsiteY6596" fmla="*/ 3955078 h 5704395"/>
                <a:gd name="connsiteX6597" fmla="*/ 3411544 w 5719680"/>
                <a:gd name="connsiteY6597" fmla="*/ 3952226 h 5704395"/>
                <a:gd name="connsiteX6598" fmla="*/ 3279732 w 5719680"/>
                <a:gd name="connsiteY6598" fmla="*/ 3993421 h 5704395"/>
                <a:gd name="connsiteX6599" fmla="*/ 3279414 w 5719680"/>
                <a:gd name="connsiteY6599" fmla="*/ 3993738 h 5704395"/>
                <a:gd name="connsiteX6600" fmla="*/ 3281638 w 5719680"/>
                <a:gd name="connsiteY6600" fmla="*/ 3994055 h 5704395"/>
                <a:gd name="connsiteX6601" fmla="*/ 3279732 w 5719680"/>
                <a:gd name="connsiteY6601" fmla="*/ 3993738 h 5704395"/>
                <a:gd name="connsiteX6602" fmla="*/ 3281002 w 5719680"/>
                <a:gd name="connsiteY6602" fmla="*/ 3993738 h 5704395"/>
                <a:gd name="connsiteX6603" fmla="*/ 3281638 w 5719680"/>
                <a:gd name="connsiteY6603" fmla="*/ 3993421 h 5704395"/>
                <a:gd name="connsiteX6604" fmla="*/ 3303554 w 5719680"/>
                <a:gd name="connsiteY6604" fmla="*/ 4060285 h 5704395"/>
                <a:gd name="connsiteX6605" fmla="*/ 3306730 w 5719680"/>
                <a:gd name="connsiteY6605" fmla="*/ 4069158 h 5704395"/>
                <a:gd name="connsiteX6606" fmla="*/ 3347067 w 5719680"/>
                <a:gd name="connsiteY6606" fmla="*/ 4056482 h 5704395"/>
                <a:gd name="connsiteX6607" fmla="*/ 3344844 w 5719680"/>
                <a:gd name="connsiteY6607" fmla="*/ 4050461 h 5704395"/>
                <a:gd name="connsiteX6608" fmla="*/ 3329916 w 5719680"/>
                <a:gd name="connsiteY6608" fmla="*/ 4006414 h 5704395"/>
                <a:gd name="connsiteX6609" fmla="*/ 3323246 w 5719680"/>
                <a:gd name="connsiteY6609" fmla="*/ 3983915 h 5704395"/>
                <a:gd name="connsiteX6610" fmla="*/ 3323246 w 5719680"/>
                <a:gd name="connsiteY6610" fmla="*/ 3983281 h 5704395"/>
                <a:gd name="connsiteX6611" fmla="*/ 3323564 w 5719680"/>
                <a:gd name="connsiteY6611" fmla="*/ 3982964 h 5704395"/>
                <a:gd name="connsiteX6612" fmla="*/ 3324199 w 5719680"/>
                <a:gd name="connsiteY6612" fmla="*/ 3982014 h 5704395"/>
                <a:gd name="connsiteX6613" fmla="*/ 3327057 w 5719680"/>
                <a:gd name="connsiteY6613" fmla="*/ 3982330 h 5704395"/>
                <a:gd name="connsiteX6614" fmla="*/ 3325469 w 5719680"/>
                <a:gd name="connsiteY6614" fmla="*/ 3983915 h 5704395"/>
                <a:gd name="connsiteX6615" fmla="*/ 3327692 w 5719680"/>
                <a:gd name="connsiteY6615" fmla="*/ 3984232 h 5704395"/>
                <a:gd name="connsiteX6616" fmla="*/ 3325787 w 5719680"/>
                <a:gd name="connsiteY6616" fmla="*/ 3983915 h 5704395"/>
                <a:gd name="connsiteX6617" fmla="*/ 3327057 w 5719680"/>
                <a:gd name="connsiteY6617" fmla="*/ 3983915 h 5704395"/>
                <a:gd name="connsiteX6618" fmla="*/ 3327692 w 5719680"/>
                <a:gd name="connsiteY6618" fmla="*/ 3983915 h 5704395"/>
                <a:gd name="connsiteX6619" fmla="*/ 3349608 w 5719680"/>
                <a:gd name="connsiteY6619" fmla="*/ 4050461 h 5704395"/>
                <a:gd name="connsiteX6620" fmla="*/ 3351196 w 5719680"/>
                <a:gd name="connsiteY6620" fmla="*/ 4055215 h 5704395"/>
                <a:gd name="connsiteX6621" fmla="*/ 3390581 w 5719680"/>
                <a:gd name="connsiteY6621" fmla="*/ 4042539 h 5704395"/>
                <a:gd name="connsiteX6622" fmla="*/ 3388040 w 5719680"/>
                <a:gd name="connsiteY6622" fmla="*/ 4034617 h 5704395"/>
                <a:gd name="connsiteX6623" fmla="*/ 3373112 w 5719680"/>
                <a:gd name="connsiteY6623" fmla="*/ 3990569 h 5704395"/>
                <a:gd name="connsiteX6624" fmla="*/ 3366124 w 5719680"/>
                <a:gd name="connsiteY6624" fmla="*/ 3968387 h 5704395"/>
                <a:gd name="connsiteX6625" fmla="*/ 3366442 w 5719680"/>
                <a:gd name="connsiteY6625" fmla="*/ 3967754 h 5704395"/>
                <a:gd name="connsiteX6626" fmla="*/ 3366442 w 5719680"/>
                <a:gd name="connsiteY6626" fmla="*/ 3967120 h 5704395"/>
                <a:gd name="connsiteX6627" fmla="*/ 3367395 w 5719680"/>
                <a:gd name="connsiteY6627" fmla="*/ 3966486 h 5704395"/>
                <a:gd name="connsiteX6628" fmla="*/ 3369936 w 5719680"/>
                <a:gd name="connsiteY6628" fmla="*/ 3966803 h 5704395"/>
                <a:gd name="connsiteX6629" fmla="*/ 3367077 w 5719680"/>
                <a:gd name="connsiteY6629" fmla="*/ 3969655 h 5704395"/>
                <a:gd name="connsiteX6630" fmla="*/ 3368348 w 5719680"/>
                <a:gd name="connsiteY6630" fmla="*/ 3968387 h 5704395"/>
                <a:gd name="connsiteX6631" fmla="*/ 3369618 w 5719680"/>
                <a:gd name="connsiteY6631" fmla="*/ 3969972 h 5704395"/>
                <a:gd name="connsiteX6632" fmla="*/ 3368666 w 5719680"/>
                <a:gd name="connsiteY6632" fmla="*/ 3968387 h 5704395"/>
                <a:gd name="connsiteX6633" fmla="*/ 3369936 w 5719680"/>
                <a:gd name="connsiteY6633" fmla="*/ 3968387 h 5704395"/>
                <a:gd name="connsiteX6634" fmla="*/ 3370571 w 5719680"/>
                <a:gd name="connsiteY6634" fmla="*/ 3968070 h 5704395"/>
                <a:gd name="connsiteX6635" fmla="*/ 3392487 w 5719680"/>
                <a:gd name="connsiteY6635" fmla="*/ 4034934 h 5704395"/>
                <a:gd name="connsiteX6636" fmla="*/ 3394710 w 5719680"/>
                <a:gd name="connsiteY6636" fmla="*/ 4041272 h 5704395"/>
                <a:gd name="connsiteX6637" fmla="*/ 3435365 w 5719680"/>
                <a:gd name="connsiteY6637" fmla="*/ 4028596 h 5704395"/>
                <a:gd name="connsiteX6638" fmla="*/ 3436000 w 5719680"/>
                <a:gd name="connsiteY6638" fmla="*/ 4030497 h 5704395"/>
                <a:gd name="connsiteX6639" fmla="*/ 3449658 w 5719680"/>
                <a:gd name="connsiteY6639" fmla="*/ 4075812 h 5704395"/>
                <a:gd name="connsiteX6640" fmla="*/ 3410909 w 5719680"/>
                <a:gd name="connsiteY6640" fmla="*/ 4088171 h 5704395"/>
                <a:gd name="connsiteX6641" fmla="*/ 3412179 w 5719680"/>
                <a:gd name="connsiteY6641" fmla="*/ 4092290 h 5704395"/>
                <a:gd name="connsiteX6642" fmla="*/ 3454105 w 5719680"/>
                <a:gd name="connsiteY6642" fmla="*/ 4078981 h 5704395"/>
                <a:gd name="connsiteX6643" fmla="*/ 3432824 w 5719680"/>
                <a:gd name="connsiteY6643" fmla="*/ 4017188 h 5704395"/>
                <a:gd name="connsiteX6644" fmla="*/ 3418214 w 5719680"/>
                <a:gd name="connsiteY6644" fmla="*/ 3973141 h 5704395"/>
                <a:gd name="connsiteX6645" fmla="*/ 3411544 w 5719680"/>
                <a:gd name="connsiteY6645" fmla="*/ 3952226 h 5704395"/>
                <a:gd name="connsiteX6646" fmla="*/ 3414085 w 5719680"/>
                <a:gd name="connsiteY6646" fmla="*/ 3951592 h 5704395"/>
                <a:gd name="connsiteX6647" fmla="*/ 3412179 w 5719680"/>
                <a:gd name="connsiteY6647" fmla="*/ 3951909 h 5704395"/>
                <a:gd name="connsiteX6648" fmla="*/ 3411862 w 5719680"/>
                <a:gd name="connsiteY6648" fmla="*/ 3952226 h 5704395"/>
                <a:gd name="connsiteX6649" fmla="*/ 3414720 w 5719680"/>
                <a:gd name="connsiteY6649" fmla="*/ 3952543 h 5704395"/>
                <a:gd name="connsiteX6650" fmla="*/ 196606 w 5719680"/>
                <a:gd name="connsiteY6650" fmla="*/ 3951592 h 5704395"/>
                <a:gd name="connsiteX6651" fmla="*/ 167703 w 5719680"/>
                <a:gd name="connsiteY6651" fmla="*/ 3961416 h 5704395"/>
                <a:gd name="connsiteX6652" fmla="*/ 164209 w 5719680"/>
                <a:gd name="connsiteY6652" fmla="*/ 3962683 h 5704395"/>
                <a:gd name="connsiteX6653" fmla="*/ 182313 w 5719680"/>
                <a:gd name="connsiteY6653" fmla="*/ 3987084 h 5704395"/>
                <a:gd name="connsiteX6654" fmla="*/ 197559 w 5719680"/>
                <a:gd name="connsiteY6654" fmla="*/ 3975676 h 5704395"/>
                <a:gd name="connsiteX6655" fmla="*/ 188666 w 5719680"/>
                <a:gd name="connsiteY6655" fmla="*/ 3963951 h 5704395"/>
                <a:gd name="connsiteX6656" fmla="*/ 199782 w 5719680"/>
                <a:gd name="connsiteY6656" fmla="*/ 3955712 h 5704395"/>
                <a:gd name="connsiteX6657" fmla="*/ 196606 w 5719680"/>
                <a:gd name="connsiteY6657" fmla="*/ 3951592 h 5704395"/>
                <a:gd name="connsiteX6658" fmla="*/ 348428 w 5719680"/>
                <a:gd name="connsiteY6658" fmla="*/ 3951275 h 5704395"/>
                <a:gd name="connsiteX6659" fmla="*/ 263306 w 5719680"/>
                <a:gd name="connsiteY6659" fmla="*/ 3979478 h 5704395"/>
                <a:gd name="connsiteX6660" fmla="*/ 198830 w 5719680"/>
                <a:gd name="connsiteY6660" fmla="*/ 4000076 h 5704395"/>
                <a:gd name="connsiteX6661" fmla="*/ 176914 w 5719680"/>
                <a:gd name="connsiteY6661" fmla="*/ 4007048 h 5704395"/>
                <a:gd name="connsiteX6662" fmla="*/ 194065 w 5719680"/>
                <a:gd name="connsiteY6662" fmla="*/ 4035568 h 5704395"/>
                <a:gd name="connsiteX6663" fmla="*/ 204547 w 5719680"/>
                <a:gd name="connsiteY6663" fmla="*/ 4033032 h 5704395"/>
                <a:gd name="connsiteX6664" fmla="*/ 195018 w 5719680"/>
                <a:gd name="connsiteY6664" fmla="*/ 4005463 h 5704395"/>
                <a:gd name="connsiteX6665" fmla="*/ 196924 w 5719680"/>
                <a:gd name="connsiteY6665" fmla="*/ 4004829 h 5704395"/>
                <a:gd name="connsiteX6666" fmla="*/ 221063 w 5719680"/>
                <a:gd name="connsiteY6666" fmla="*/ 3996590 h 5704395"/>
                <a:gd name="connsiteX6667" fmla="*/ 225827 w 5719680"/>
                <a:gd name="connsiteY6667" fmla="*/ 4010850 h 5704395"/>
                <a:gd name="connsiteX6668" fmla="*/ 238850 w 5719680"/>
                <a:gd name="connsiteY6668" fmla="*/ 4006414 h 5704395"/>
                <a:gd name="connsiteX6669" fmla="*/ 244884 w 5719680"/>
                <a:gd name="connsiteY6669" fmla="*/ 4023843 h 5704395"/>
                <a:gd name="connsiteX6670" fmla="*/ 377649 w 5719680"/>
                <a:gd name="connsiteY6670" fmla="*/ 3992788 h 5704395"/>
                <a:gd name="connsiteX6671" fmla="*/ 2234766 w 5719680"/>
                <a:gd name="connsiteY6671" fmla="*/ 3942403 h 5704395"/>
                <a:gd name="connsiteX6672" fmla="*/ 2212533 w 5719680"/>
                <a:gd name="connsiteY6672" fmla="*/ 3979795 h 5704395"/>
                <a:gd name="connsiteX6673" fmla="*/ 2206816 w 5719680"/>
                <a:gd name="connsiteY6673" fmla="*/ 4066939 h 5704395"/>
                <a:gd name="connsiteX6674" fmla="*/ 2324652 w 5719680"/>
                <a:gd name="connsiteY6674" fmla="*/ 4085319 h 5704395"/>
                <a:gd name="connsiteX6675" fmla="*/ 2325605 w 5719680"/>
                <a:gd name="connsiteY6675" fmla="*/ 4074862 h 5704395"/>
                <a:gd name="connsiteX6676" fmla="*/ 2368484 w 5719680"/>
                <a:gd name="connsiteY6676" fmla="*/ 3986767 h 5704395"/>
                <a:gd name="connsiteX6677" fmla="*/ 2234131 w 5719680"/>
                <a:gd name="connsiteY6677" fmla="*/ 3943987 h 5704395"/>
                <a:gd name="connsiteX6678" fmla="*/ 2234766 w 5719680"/>
                <a:gd name="connsiteY6678" fmla="*/ 3942403 h 5704395"/>
                <a:gd name="connsiteX6679" fmla="*/ 625709 w 5719680"/>
                <a:gd name="connsiteY6679" fmla="*/ 3935431 h 5704395"/>
                <a:gd name="connsiteX6680" fmla="*/ 619675 w 5719680"/>
                <a:gd name="connsiteY6680" fmla="*/ 3945571 h 5704395"/>
                <a:gd name="connsiteX6681" fmla="*/ 617769 w 5719680"/>
                <a:gd name="connsiteY6681" fmla="*/ 3948740 h 5704395"/>
                <a:gd name="connsiteX6682" fmla="*/ 614275 w 5719680"/>
                <a:gd name="connsiteY6682" fmla="*/ 3947473 h 5704395"/>
                <a:gd name="connsiteX6683" fmla="*/ 612369 w 5719680"/>
                <a:gd name="connsiteY6683" fmla="*/ 3946839 h 5704395"/>
                <a:gd name="connsiteX6684" fmla="*/ 590136 w 5719680"/>
                <a:gd name="connsiteY6684" fmla="*/ 3984549 h 5704395"/>
                <a:gd name="connsiteX6685" fmla="*/ 593947 w 5719680"/>
                <a:gd name="connsiteY6685" fmla="*/ 3986767 h 5704395"/>
                <a:gd name="connsiteX6686" fmla="*/ 597441 w 5719680"/>
                <a:gd name="connsiteY6686" fmla="*/ 3988985 h 5704395"/>
                <a:gd name="connsiteX6687" fmla="*/ 595218 w 5719680"/>
                <a:gd name="connsiteY6687" fmla="*/ 3992788 h 5704395"/>
                <a:gd name="connsiteX6688" fmla="*/ 587913 w 5719680"/>
                <a:gd name="connsiteY6688" fmla="*/ 4004513 h 5704395"/>
                <a:gd name="connsiteX6689" fmla="*/ 586007 w 5719680"/>
                <a:gd name="connsiteY6689" fmla="*/ 4007998 h 5704395"/>
                <a:gd name="connsiteX6690" fmla="*/ 582196 w 5719680"/>
                <a:gd name="connsiteY6690" fmla="*/ 4006097 h 5704395"/>
                <a:gd name="connsiteX6691" fmla="*/ 581243 w 5719680"/>
                <a:gd name="connsiteY6691" fmla="*/ 4005463 h 5704395"/>
                <a:gd name="connsiteX6692" fmla="*/ 559327 w 5719680"/>
                <a:gd name="connsiteY6692" fmla="*/ 4042856 h 5704395"/>
                <a:gd name="connsiteX6693" fmla="*/ 586007 w 5719680"/>
                <a:gd name="connsiteY6693" fmla="*/ 4058067 h 5704395"/>
                <a:gd name="connsiteX6694" fmla="*/ 589818 w 5719680"/>
                <a:gd name="connsiteY6694" fmla="*/ 4060285 h 5704395"/>
                <a:gd name="connsiteX6695" fmla="*/ 587595 w 5719680"/>
                <a:gd name="connsiteY6695" fmla="*/ 4064087 h 5704395"/>
                <a:gd name="connsiteX6696" fmla="*/ 579972 w 5719680"/>
                <a:gd name="connsiteY6696" fmla="*/ 4076763 h 5704395"/>
                <a:gd name="connsiteX6697" fmla="*/ 578067 w 5719680"/>
                <a:gd name="connsiteY6697" fmla="*/ 4079932 h 5704395"/>
                <a:gd name="connsiteX6698" fmla="*/ 574890 w 5719680"/>
                <a:gd name="connsiteY6698" fmla="*/ 4078664 h 5704395"/>
                <a:gd name="connsiteX6699" fmla="*/ 572349 w 5719680"/>
                <a:gd name="connsiteY6699" fmla="*/ 4078031 h 5704395"/>
                <a:gd name="connsiteX6700" fmla="*/ 552022 w 5719680"/>
                <a:gd name="connsiteY6700" fmla="*/ 4115423 h 5704395"/>
                <a:gd name="connsiteX6701" fmla="*/ 582513 w 5719680"/>
                <a:gd name="connsiteY6701" fmla="*/ 4133169 h 5704395"/>
                <a:gd name="connsiteX6702" fmla="*/ 586007 w 5719680"/>
                <a:gd name="connsiteY6702" fmla="*/ 4135070 h 5704395"/>
                <a:gd name="connsiteX6703" fmla="*/ 584419 w 5719680"/>
                <a:gd name="connsiteY6703" fmla="*/ 4138873 h 5704395"/>
                <a:gd name="connsiteX6704" fmla="*/ 577749 w 5719680"/>
                <a:gd name="connsiteY6704" fmla="*/ 4153450 h 5704395"/>
                <a:gd name="connsiteX6705" fmla="*/ 578702 w 5719680"/>
                <a:gd name="connsiteY6705" fmla="*/ 4154084 h 5704395"/>
                <a:gd name="connsiteX6706" fmla="*/ 582513 w 5719680"/>
                <a:gd name="connsiteY6706" fmla="*/ 4156302 h 5704395"/>
                <a:gd name="connsiteX6707" fmla="*/ 580290 w 5719680"/>
                <a:gd name="connsiteY6707" fmla="*/ 4160105 h 5704395"/>
                <a:gd name="connsiteX6708" fmla="*/ 571397 w 5719680"/>
                <a:gd name="connsiteY6708" fmla="*/ 4177216 h 5704395"/>
                <a:gd name="connsiteX6709" fmla="*/ 569173 w 5719680"/>
                <a:gd name="connsiteY6709" fmla="*/ 4181019 h 5704395"/>
                <a:gd name="connsiteX6710" fmla="*/ 565362 w 5719680"/>
                <a:gd name="connsiteY6710" fmla="*/ 4179118 h 5704395"/>
                <a:gd name="connsiteX6711" fmla="*/ 547893 w 5719680"/>
                <a:gd name="connsiteY6711" fmla="*/ 4170245 h 5704395"/>
                <a:gd name="connsiteX6712" fmla="*/ 540270 w 5719680"/>
                <a:gd name="connsiteY6712" fmla="*/ 4184822 h 5704395"/>
                <a:gd name="connsiteX6713" fmla="*/ 587595 w 5719680"/>
                <a:gd name="connsiteY6713" fmla="*/ 4210173 h 5704395"/>
                <a:gd name="connsiteX6714" fmla="*/ 608240 w 5719680"/>
                <a:gd name="connsiteY6714" fmla="*/ 4173097 h 5704395"/>
                <a:gd name="connsiteX6715" fmla="*/ 606017 w 5719680"/>
                <a:gd name="connsiteY6715" fmla="*/ 4171196 h 5704395"/>
                <a:gd name="connsiteX6716" fmla="*/ 603158 w 5719680"/>
                <a:gd name="connsiteY6716" fmla="*/ 4168977 h 5704395"/>
                <a:gd name="connsiteX6717" fmla="*/ 604746 w 5719680"/>
                <a:gd name="connsiteY6717" fmla="*/ 4165808 h 5704395"/>
                <a:gd name="connsiteX6718" fmla="*/ 610146 w 5719680"/>
                <a:gd name="connsiteY6718" fmla="*/ 4155351 h 5704395"/>
                <a:gd name="connsiteX6719" fmla="*/ 599982 w 5719680"/>
                <a:gd name="connsiteY6719" fmla="*/ 4149964 h 5704395"/>
                <a:gd name="connsiteX6720" fmla="*/ 596171 w 5719680"/>
                <a:gd name="connsiteY6720" fmla="*/ 4147746 h 5704395"/>
                <a:gd name="connsiteX6721" fmla="*/ 598394 w 5719680"/>
                <a:gd name="connsiteY6721" fmla="*/ 4143943 h 5704395"/>
                <a:gd name="connsiteX6722" fmla="*/ 608240 w 5719680"/>
                <a:gd name="connsiteY6722" fmla="*/ 4126514 h 5704395"/>
                <a:gd name="connsiteX6723" fmla="*/ 590136 w 5719680"/>
                <a:gd name="connsiteY6723" fmla="*/ 4116691 h 5704395"/>
                <a:gd name="connsiteX6724" fmla="*/ 586007 w 5719680"/>
                <a:gd name="connsiteY6724" fmla="*/ 4114473 h 5704395"/>
                <a:gd name="connsiteX6725" fmla="*/ 588230 w 5719680"/>
                <a:gd name="connsiteY6725" fmla="*/ 4110670 h 5704395"/>
                <a:gd name="connsiteX6726" fmla="*/ 598394 w 5719680"/>
                <a:gd name="connsiteY6726" fmla="*/ 4093558 h 5704395"/>
                <a:gd name="connsiteX6727" fmla="*/ 600300 w 5719680"/>
                <a:gd name="connsiteY6727" fmla="*/ 4090389 h 5704395"/>
                <a:gd name="connsiteX6728" fmla="*/ 603794 w 5719680"/>
                <a:gd name="connsiteY6728" fmla="*/ 4091974 h 5704395"/>
                <a:gd name="connsiteX6729" fmla="*/ 607287 w 5719680"/>
                <a:gd name="connsiteY6729" fmla="*/ 4093241 h 5704395"/>
                <a:gd name="connsiteX6730" fmla="*/ 613322 w 5719680"/>
                <a:gd name="connsiteY6730" fmla="*/ 4081516 h 5704395"/>
                <a:gd name="connsiteX6731" fmla="*/ 607287 w 5719680"/>
                <a:gd name="connsiteY6731" fmla="*/ 4078664 h 5704395"/>
                <a:gd name="connsiteX6732" fmla="*/ 602841 w 5719680"/>
                <a:gd name="connsiteY6732" fmla="*/ 4076446 h 5704395"/>
                <a:gd name="connsiteX6733" fmla="*/ 605064 w 5719680"/>
                <a:gd name="connsiteY6733" fmla="*/ 4072327 h 5704395"/>
                <a:gd name="connsiteX6734" fmla="*/ 615228 w 5719680"/>
                <a:gd name="connsiteY6734" fmla="*/ 4053947 h 5704395"/>
                <a:gd name="connsiteX6735" fmla="*/ 598712 w 5719680"/>
                <a:gd name="connsiteY6735" fmla="*/ 4045074 h 5704395"/>
                <a:gd name="connsiteX6736" fmla="*/ 594900 w 5719680"/>
                <a:gd name="connsiteY6736" fmla="*/ 4042856 h 5704395"/>
                <a:gd name="connsiteX6737" fmla="*/ 596806 w 5719680"/>
                <a:gd name="connsiteY6737" fmla="*/ 4039053 h 5704395"/>
                <a:gd name="connsiteX6738" fmla="*/ 606017 w 5719680"/>
                <a:gd name="connsiteY6738" fmla="*/ 4021624 h 5704395"/>
                <a:gd name="connsiteX6739" fmla="*/ 607923 w 5719680"/>
                <a:gd name="connsiteY6739" fmla="*/ 4018139 h 5704395"/>
                <a:gd name="connsiteX6740" fmla="*/ 611416 w 5719680"/>
                <a:gd name="connsiteY6740" fmla="*/ 4019406 h 5704395"/>
                <a:gd name="connsiteX6741" fmla="*/ 614593 w 5719680"/>
                <a:gd name="connsiteY6741" fmla="*/ 4020357 h 5704395"/>
                <a:gd name="connsiteX6742" fmla="*/ 622216 w 5719680"/>
                <a:gd name="connsiteY6742" fmla="*/ 4006731 h 5704395"/>
                <a:gd name="connsiteX6743" fmla="*/ 624121 w 5719680"/>
                <a:gd name="connsiteY6743" fmla="*/ 4002928 h 5704395"/>
                <a:gd name="connsiteX6744" fmla="*/ 627933 w 5719680"/>
                <a:gd name="connsiteY6744" fmla="*/ 4005146 h 5704395"/>
                <a:gd name="connsiteX6745" fmla="*/ 638414 w 5719680"/>
                <a:gd name="connsiteY6745" fmla="*/ 4010533 h 5704395"/>
                <a:gd name="connsiteX6746" fmla="*/ 646037 w 5719680"/>
                <a:gd name="connsiteY6746" fmla="*/ 3995640 h 5704395"/>
                <a:gd name="connsiteX6747" fmla="*/ 629521 w 5719680"/>
                <a:gd name="connsiteY6747" fmla="*/ 3986133 h 5704395"/>
                <a:gd name="connsiteX6748" fmla="*/ 625709 w 5719680"/>
                <a:gd name="connsiteY6748" fmla="*/ 3983915 h 5704395"/>
                <a:gd name="connsiteX6749" fmla="*/ 627933 w 5719680"/>
                <a:gd name="connsiteY6749" fmla="*/ 3980112 h 5704395"/>
                <a:gd name="connsiteX6750" fmla="*/ 637461 w 5719680"/>
                <a:gd name="connsiteY6750" fmla="*/ 3963000 h 5704395"/>
                <a:gd name="connsiteX6751" fmla="*/ 639049 w 5719680"/>
                <a:gd name="connsiteY6751" fmla="*/ 3959831 h 5704395"/>
                <a:gd name="connsiteX6752" fmla="*/ 642543 w 5719680"/>
                <a:gd name="connsiteY6752" fmla="*/ 3960782 h 5704395"/>
                <a:gd name="connsiteX6753" fmla="*/ 645402 w 5719680"/>
                <a:gd name="connsiteY6753" fmla="*/ 3961733 h 5704395"/>
                <a:gd name="connsiteX6754" fmla="*/ 651436 w 5719680"/>
                <a:gd name="connsiteY6754" fmla="*/ 3950325 h 5704395"/>
                <a:gd name="connsiteX6755" fmla="*/ 625709 w 5719680"/>
                <a:gd name="connsiteY6755" fmla="*/ 3935431 h 5704395"/>
                <a:gd name="connsiteX6756" fmla="*/ 1776760 w 5719680"/>
                <a:gd name="connsiteY6756" fmla="*/ 3932579 h 5704395"/>
                <a:gd name="connsiteX6757" fmla="*/ 1772313 w 5719680"/>
                <a:gd name="connsiteY6757" fmla="*/ 3956979 h 5704395"/>
                <a:gd name="connsiteX6758" fmla="*/ 1810428 w 5719680"/>
                <a:gd name="connsiteY6758" fmla="*/ 3963951 h 5704395"/>
                <a:gd name="connsiteX6759" fmla="*/ 1814874 w 5719680"/>
                <a:gd name="connsiteY6759" fmla="*/ 3939234 h 5704395"/>
                <a:gd name="connsiteX6760" fmla="*/ 1776760 w 5719680"/>
                <a:gd name="connsiteY6760" fmla="*/ 3932579 h 5704395"/>
                <a:gd name="connsiteX6761" fmla="*/ 99733 w 5719680"/>
                <a:gd name="connsiteY6761" fmla="*/ 3930361 h 5704395"/>
                <a:gd name="connsiteX6762" fmla="*/ 40338 w 5719680"/>
                <a:gd name="connsiteY6762" fmla="*/ 4001344 h 5704395"/>
                <a:gd name="connsiteX6763" fmla="*/ 67971 w 5719680"/>
                <a:gd name="connsiteY6763" fmla="*/ 4025744 h 5704395"/>
                <a:gd name="connsiteX6764" fmla="*/ 82899 w 5719680"/>
                <a:gd name="connsiteY6764" fmla="*/ 4050461 h 5704395"/>
                <a:gd name="connsiteX6765" fmla="*/ 121331 w 5719680"/>
                <a:gd name="connsiteY6765" fmla="*/ 4041905 h 5704395"/>
                <a:gd name="connsiteX6766" fmla="*/ 167703 w 5719680"/>
                <a:gd name="connsiteY6766" fmla="*/ 4031448 h 5704395"/>
                <a:gd name="connsiteX6767" fmla="*/ 112120 w 5719680"/>
                <a:gd name="connsiteY6767" fmla="*/ 3947473 h 5704395"/>
                <a:gd name="connsiteX6768" fmla="*/ 99733 w 5719680"/>
                <a:gd name="connsiteY6768" fmla="*/ 3930361 h 5704395"/>
                <a:gd name="connsiteX6769" fmla="*/ 624121 w 5719680"/>
                <a:gd name="connsiteY6769" fmla="*/ 3929410 h 5704395"/>
                <a:gd name="connsiteX6770" fmla="*/ 657471 w 5719680"/>
                <a:gd name="connsiteY6770" fmla="*/ 3948423 h 5704395"/>
                <a:gd name="connsiteX6771" fmla="*/ 647307 w 5719680"/>
                <a:gd name="connsiteY6771" fmla="*/ 3967120 h 5704395"/>
                <a:gd name="connsiteX6772" fmla="*/ 641273 w 5719680"/>
                <a:gd name="connsiteY6772" fmla="*/ 3965218 h 5704395"/>
                <a:gd name="connsiteX6773" fmla="*/ 631744 w 5719680"/>
                <a:gd name="connsiteY6773" fmla="*/ 3982330 h 5704395"/>
                <a:gd name="connsiteX6774" fmla="*/ 652072 w 5719680"/>
                <a:gd name="connsiteY6774" fmla="*/ 3994055 h 5704395"/>
                <a:gd name="connsiteX6775" fmla="*/ 640320 w 5719680"/>
                <a:gd name="connsiteY6775" fmla="*/ 4016554 h 5704395"/>
                <a:gd name="connsiteX6776" fmla="*/ 626027 w 5719680"/>
                <a:gd name="connsiteY6776" fmla="*/ 4008949 h 5704395"/>
                <a:gd name="connsiteX6777" fmla="*/ 616498 w 5719680"/>
                <a:gd name="connsiteY6777" fmla="*/ 4025744 h 5704395"/>
                <a:gd name="connsiteX6778" fmla="*/ 610146 w 5719680"/>
                <a:gd name="connsiteY6778" fmla="*/ 4023526 h 5704395"/>
                <a:gd name="connsiteX6779" fmla="*/ 600935 w 5719680"/>
                <a:gd name="connsiteY6779" fmla="*/ 4040955 h 5704395"/>
                <a:gd name="connsiteX6780" fmla="*/ 621263 w 5719680"/>
                <a:gd name="connsiteY6780" fmla="*/ 4052046 h 5704395"/>
                <a:gd name="connsiteX6781" fmla="*/ 608876 w 5719680"/>
                <a:gd name="connsiteY6781" fmla="*/ 4074545 h 5704395"/>
                <a:gd name="connsiteX6782" fmla="*/ 619357 w 5719680"/>
                <a:gd name="connsiteY6782" fmla="*/ 4079298 h 5704395"/>
                <a:gd name="connsiteX6783" fmla="*/ 609193 w 5719680"/>
                <a:gd name="connsiteY6783" fmla="*/ 4098945 h 5704395"/>
                <a:gd name="connsiteX6784" fmla="*/ 602206 w 5719680"/>
                <a:gd name="connsiteY6784" fmla="*/ 4096093 h 5704395"/>
                <a:gd name="connsiteX6785" fmla="*/ 592042 w 5719680"/>
                <a:gd name="connsiteY6785" fmla="*/ 4112888 h 5704395"/>
                <a:gd name="connsiteX6786" fmla="*/ 614275 w 5719680"/>
                <a:gd name="connsiteY6786" fmla="*/ 4124930 h 5704395"/>
                <a:gd name="connsiteX6787" fmla="*/ 602206 w 5719680"/>
                <a:gd name="connsiteY6787" fmla="*/ 4145845 h 5704395"/>
                <a:gd name="connsiteX6788" fmla="*/ 616181 w 5719680"/>
                <a:gd name="connsiteY6788" fmla="*/ 4153450 h 5704395"/>
                <a:gd name="connsiteX6789" fmla="*/ 608558 w 5719680"/>
                <a:gd name="connsiteY6789" fmla="*/ 4167710 h 5704395"/>
                <a:gd name="connsiteX6790" fmla="*/ 613957 w 5719680"/>
                <a:gd name="connsiteY6790" fmla="*/ 4171829 h 5704395"/>
                <a:gd name="connsiteX6791" fmla="*/ 589501 w 5719680"/>
                <a:gd name="connsiteY6791" fmla="*/ 4216194 h 5704395"/>
                <a:gd name="connsiteX6792" fmla="*/ 534235 w 5719680"/>
                <a:gd name="connsiteY6792" fmla="*/ 4186723 h 5704395"/>
                <a:gd name="connsiteX6793" fmla="*/ 545987 w 5719680"/>
                <a:gd name="connsiteY6793" fmla="*/ 4164541 h 5704395"/>
                <a:gd name="connsiteX6794" fmla="*/ 567267 w 5719680"/>
                <a:gd name="connsiteY6794" fmla="*/ 4175315 h 5704395"/>
                <a:gd name="connsiteX6795" fmla="*/ 576478 w 5719680"/>
                <a:gd name="connsiteY6795" fmla="*/ 4157886 h 5704395"/>
                <a:gd name="connsiteX6796" fmla="*/ 572032 w 5719680"/>
                <a:gd name="connsiteY6796" fmla="*/ 4155351 h 5704395"/>
                <a:gd name="connsiteX6797" fmla="*/ 580290 w 5719680"/>
                <a:gd name="connsiteY6797" fmla="*/ 4136972 h 5704395"/>
                <a:gd name="connsiteX6798" fmla="*/ 546305 w 5719680"/>
                <a:gd name="connsiteY6798" fmla="*/ 4117008 h 5704395"/>
                <a:gd name="connsiteX6799" fmla="*/ 570126 w 5719680"/>
                <a:gd name="connsiteY6799" fmla="*/ 4072643 h 5704395"/>
                <a:gd name="connsiteX6800" fmla="*/ 576161 w 5719680"/>
                <a:gd name="connsiteY6800" fmla="*/ 4074545 h 5704395"/>
                <a:gd name="connsiteX6801" fmla="*/ 583784 w 5719680"/>
                <a:gd name="connsiteY6801" fmla="*/ 4061869 h 5704395"/>
                <a:gd name="connsiteX6802" fmla="*/ 553292 w 5719680"/>
                <a:gd name="connsiteY6802" fmla="*/ 4044440 h 5704395"/>
                <a:gd name="connsiteX6803" fmla="*/ 579337 w 5719680"/>
                <a:gd name="connsiteY6803" fmla="*/ 3999442 h 5704395"/>
                <a:gd name="connsiteX6804" fmla="*/ 584419 w 5719680"/>
                <a:gd name="connsiteY6804" fmla="*/ 4001977 h 5704395"/>
                <a:gd name="connsiteX6805" fmla="*/ 591406 w 5719680"/>
                <a:gd name="connsiteY6805" fmla="*/ 3990569 h 5704395"/>
                <a:gd name="connsiteX6806" fmla="*/ 584419 w 5719680"/>
                <a:gd name="connsiteY6806" fmla="*/ 3985816 h 5704395"/>
                <a:gd name="connsiteX6807" fmla="*/ 610464 w 5719680"/>
                <a:gd name="connsiteY6807" fmla="*/ 3941452 h 5704395"/>
                <a:gd name="connsiteX6808" fmla="*/ 615863 w 5719680"/>
                <a:gd name="connsiteY6808" fmla="*/ 3943353 h 5704395"/>
                <a:gd name="connsiteX6809" fmla="*/ 624121 w 5719680"/>
                <a:gd name="connsiteY6809" fmla="*/ 3929410 h 5704395"/>
                <a:gd name="connsiteX6810" fmla="*/ 3486502 w 5719680"/>
                <a:gd name="connsiteY6810" fmla="*/ 3928776 h 5704395"/>
                <a:gd name="connsiteX6811" fmla="*/ 3415673 w 5719680"/>
                <a:gd name="connsiteY6811" fmla="*/ 3950958 h 5704395"/>
                <a:gd name="connsiteX6812" fmla="*/ 3437589 w 5719680"/>
                <a:gd name="connsiteY6812" fmla="*/ 4017188 h 5704395"/>
                <a:gd name="connsiteX6813" fmla="*/ 3458234 w 5719680"/>
                <a:gd name="connsiteY6813" fmla="*/ 4077714 h 5704395"/>
                <a:gd name="connsiteX6814" fmla="*/ 3530333 w 5719680"/>
                <a:gd name="connsiteY6814" fmla="*/ 4054581 h 5704395"/>
                <a:gd name="connsiteX6815" fmla="*/ 3486502 w 5719680"/>
                <a:gd name="connsiteY6815" fmla="*/ 3928776 h 5704395"/>
                <a:gd name="connsiteX6816" fmla="*/ 162621 w 5719680"/>
                <a:gd name="connsiteY6816" fmla="*/ 3928776 h 5704395"/>
                <a:gd name="connsiteX6817" fmla="*/ 147375 w 5719680"/>
                <a:gd name="connsiteY6817" fmla="*/ 3940184 h 5704395"/>
                <a:gd name="connsiteX6818" fmla="*/ 161351 w 5719680"/>
                <a:gd name="connsiteY6818" fmla="*/ 3958881 h 5704395"/>
                <a:gd name="connsiteX6819" fmla="*/ 166115 w 5719680"/>
                <a:gd name="connsiteY6819" fmla="*/ 3957296 h 5704395"/>
                <a:gd name="connsiteX6820" fmla="*/ 193748 w 5719680"/>
                <a:gd name="connsiteY6820" fmla="*/ 3947790 h 5704395"/>
                <a:gd name="connsiteX6821" fmla="*/ 182631 w 5719680"/>
                <a:gd name="connsiteY6821" fmla="*/ 3932579 h 5704395"/>
                <a:gd name="connsiteX6822" fmla="*/ 171514 w 5719680"/>
                <a:gd name="connsiteY6822" fmla="*/ 3940818 h 5704395"/>
                <a:gd name="connsiteX6823" fmla="*/ 162621 w 5719680"/>
                <a:gd name="connsiteY6823" fmla="*/ 3928776 h 5704395"/>
                <a:gd name="connsiteX6824" fmla="*/ 832162 w 5719680"/>
                <a:gd name="connsiteY6824" fmla="*/ 3928143 h 5704395"/>
                <a:gd name="connsiteX6825" fmla="*/ 802623 w 5719680"/>
                <a:gd name="connsiteY6825" fmla="*/ 4106550 h 5704395"/>
                <a:gd name="connsiteX6826" fmla="*/ 888380 w 5719680"/>
                <a:gd name="connsiteY6826" fmla="*/ 4131901 h 5704395"/>
                <a:gd name="connsiteX6827" fmla="*/ 916966 w 5719680"/>
                <a:gd name="connsiteY6827" fmla="*/ 4147746 h 5704395"/>
                <a:gd name="connsiteX6828" fmla="*/ 1051954 w 5719680"/>
                <a:gd name="connsiteY6828" fmla="*/ 3988034 h 5704395"/>
                <a:gd name="connsiteX6829" fmla="*/ 997006 w 5719680"/>
                <a:gd name="connsiteY6829" fmla="*/ 3963634 h 5704395"/>
                <a:gd name="connsiteX6830" fmla="*/ 832479 w 5719680"/>
                <a:gd name="connsiteY6830" fmla="*/ 3928143 h 5704395"/>
                <a:gd name="connsiteX6831" fmla="*/ 832162 w 5719680"/>
                <a:gd name="connsiteY6831" fmla="*/ 3928143 h 5704395"/>
                <a:gd name="connsiteX6832" fmla="*/ 3019285 w 5719680"/>
                <a:gd name="connsiteY6832" fmla="*/ 3927826 h 5704395"/>
                <a:gd name="connsiteX6833" fmla="*/ 3004356 w 5719680"/>
                <a:gd name="connsiteY6833" fmla="*/ 3932579 h 5704395"/>
                <a:gd name="connsiteX6834" fmla="*/ 3016108 w 5719680"/>
                <a:gd name="connsiteY6834" fmla="*/ 3970289 h 5704395"/>
                <a:gd name="connsiteX6835" fmla="*/ 3031036 w 5719680"/>
                <a:gd name="connsiteY6835" fmla="*/ 3965852 h 5704395"/>
                <a:gd name="connsiteX6836" fmla="*/ 3019285 w 5719680"/>
                <a:gd name="connsiteY6836" fmla="*/ 3927826 h 5704395"/>
                <a:gd name="connsiteX6837" fmla="*/ 1960979 w 5719680"/>
                <a:gd name="connsiteY6837" fmla="*/ 3926875 h 5704395"/>
                <a:gd name="connsiteX6838" fmla="*/ 1955262 w 5719680"/>
                <a:gd name="connsiteY6838" fmla="*/ 3982647 h 5704395"/>
                <a:gd name="connsiteX6839" fmla="*/ 2068969 w 5719680"/>
                <a:gd name="connsiteY6839" fmla="*/ 3991520 h 5704395"/>
                <a:gd name="connsiteX6840" fmla="*/ 2074686 w 5719680"/>
                <a:gd name="connsiteY6840" fmla="*/ 3935431 h 5704395"/>
                <a:gd name="connsiteX6841" fmla="*/ 1960979 w 5719680"/>
                <a:gd name="connsiteY6841" fmla="*/ 3926875 h 5704395"/>
                <a:gd name="connsiteX6842" fmla="*/ 1914289 w 5719680"/>
                <a:gd name="connsiteY6842" fmla="*/ 3923072 h 5704395"/>
                <a:gd name="connsiteX6843" fmla="*/ 1908572 w 5719680"/>
                <a:gd name="connsiteY6843" fmla="*/ 3979162 h 5704395"/>
                <a:gd name="connsiteX6844" fmla="*/ 1951132 w 5719680"/>
                <a:gd name="connsiteY6844" fmla="*/ 3982330 h 5704395"/>
                <a:gd name="connsiteX6845" fmla="*/ 1956850 w 5719680"/>
                <a:gd name="connsiteY6845" fmla="*/ 3926558 h 5704395"/>
                <a:gd name="connsiteX6846" fmla="*/ 3022143 w 5719680"/>
                <a:gd name="connsiteY6846" fmla="*/ 3922439 h 5704395"/>
                <a:gd name="connsiteX6847" fmla="*/ 3036436 w 5719680"/>
                <a:gd name="connsiteY6847" fmla="*/ 3968387 h 5704395"/>
                <a:gd name="connsiteX6848" fmla="*/ 3013250 w 5719680"/>
                <a:gd name="connsiteY6848" fmla="*/ 3975676 h 5704395"/>
                <a:gd name="connsiteX6849" fmla="*/ 3012615 w 5719680"/>
                <a:gd name="connsiteY6849" fmla="*/ 3973458 h 5704395"/>
                <a:gd name="connsiteX6850" fmla="*/ 2998957 w 5719680"/>
                <a:gd name="connsiteY6850" fmla="*/ 3929727 h 5704395"/>
                <a:gd name="connsiteX6851" fmla="*/ 1899361 w 5719680"/>
                <a:gd name="connsiteY6851" fmla="*/ 3922122 h 5704395"/>
                <a:gd name="connsiteX6852" fmla="*/ 1892056 w 5719680"/>
                <a:gd name="connsiteY6852" fmla="*/ 3977894 h 5704395"/>
                <a:gd name="connsiteX6853" fmla="*/ 1904443 w 5719680"/>
                <a:gd name="connsiteY6853" fmla="*/ 3978845 h 5704395"/>
                <a:gd name="connsiteX6854" fmla="*/ 1910160 w 5719680"/>
                <a:gd name="connsiteY6854" fmla="*/ 3922755 h 5704395"/>
                <a:gd name="connsiteX6855" fmla="*/ 1899361 w 5719680"/>
                <a:gd name="connsiteY6855" fmla="*/ 3922122 h 5704395"/>
                <a:gd name="connsiteX6856" fmla="*/ 1476293 w 5719680"/>
                <a:gd name="connsiteY6856" fmla="*/ 3921171 h 5704395"/>
                <a:gd name="connsiteX6857" fmla="*/ 1462000 w 5719680"/>
                <a:gd name="connsiteY6857" fmla="*/ 3933213 h 5704395"/>
                <a:gd name="connsiteX6858" fmla="*/ 1531241 w 5719680"/>
                <a:gd name="connsiteY6858" fmla="*/ 4018456 h 5704395"/>
                <a:gd name="connsiteX6859" fmla="*/ 1543310 w 5719680"/>
                <a:gd name="connsiteY6859" fmla="*/ 4003562 h 5704395"/>
                <a:gd name="connsiteX6860" fmla="*/ 1476293 w 5719680"/>
                <a:gd name="connsiteY6860" fmla="*/ 3921171 h 5704395"/>
                <a:gd name="connsiteX6861" fmla="*/ 3052317 w 5719680"/>
                <a:gd name="connsiteY6861" fmla="*/ 3917368 h 5704395"/>
                <a:gd name="connsiteX6862" fmla="*/ 3037389 w 5719680"/>
                <a:gd name="connsiteY6862" fmla="*/ 3922122 h 5704395"/>
                <a:gd name="connsiteX6863" fmla="*/ 3049141 w 5719680"/>
                <a:gd name="connsiteY6863" fmla="*/ 3960148 h 5704395"/>
                <a:gd name="connsiteX6864" fmla="*/ 3064069 w 5719680"/>
                <a:gd name="connsiteY6864" fmla="*/ 3955395 h 5704395"/>
                <a:gd name="connsiteX6865" fmla="*/ 3052317 w 5719680"/>
                <a:gd name="connsiteY6865" fmla="*/ 3917368 h 5704395"/>
                <a:gd name="connsiteX6866" fmla="*/ 3117429 w 5719680"/>
                <a:gd name="connsiteY6866" fmla="*/ 3914833 h 5704395"/>
                <a:gd name="connsiteX6867" fmla="*/ 3102183 w 5719680"/>
                <a:gd name="connsiteY6867" fmla="*/ 3919587 h 5704395"/>
                <a:gd name="connsiteX6868" fmla="*/ 3113935 w 5719680"/>
                <a:gd name="connsiteY6868" fmla="*/ 3957613 h 5704395"/>
                <a:gd name="connsiteX6869" fmla="*/ 3129181 w 5719680"/>
                <a:gd name="connsiteY6869" fmla="*/ 3952860 h 5704395"/>
                <a:gd name="connsiteX6870" fmla="*/ 1476928 w 5719680"/>
                <a:gd name="connsiteY6870" fmla="*/ 3914516 h 5704395"/>
                <a:gd name="connsiteX6871" fmla="*/ 1549345 w 5719680"/>
                <a:gd name="connsiteY6871" fmla="*/ 4003562 h 5704395"/>
                <a:gd name="connsiteX6872" fmla="*/ 1548392 w 5719680"/>
                <a:gd name="connsiteY6872" fmla="*/ 4005146 h 5704395"/>
                <a:gd name="connsiteX6873" fmla="*/ 1531241 w 5719680"/>
                <a:gd name="connsiteY6873" fmla="*/ 4025744 h 5704395"/>
                <a:gd name="connsiteX6874" fmla="*/ 1455647 w 5719680"/>
                <a:gd name="connsiteY6874" fmla="*/ 3932579 h 5704395"/>
                <a:gd name="connsiteX6875" fmla="*/ 1476928 w 5719680"/>
                <a:gd name="connsiteY6875" fmla="*/ 3914516 h 5704395"/>
                <a:gd name="connsiteX6876" fmla="*/ 690186 w 5719680"/>
                <a:gd name="connsiteY6876" fmla="*/ 3913883 h 5704395"/>
                <a:gd name="connsiteX6877" fmla="*/ 662871 w 5719680"/>
                <a:gd name="connsiteY6877" fmla="*/ 4025427 h 5704395"/>
                <a:gd name="connsiteX6878" fmla="*/ 715913 w 5719680"/>
                <a:gd name="connsiteY6878" fmla="*/ 4043807 h 5704395"/>
                <a:gd name="connsiteX6879" fmla="*/ 748945 w 5719680"/>
                <a:gd name="connsiteY6879" fmla="*/ 4091657 h 5704395"/>
                <a:gd name="connsiteX6880" fmla="*/ 798494 w 5719680"/>
                <a:gd name="connsiteY6880" fmla="*/ 4105283 h 5704395"/>
                <a:gd name="connsiteX6881" fmla="*/ 828033 w 5719680"/>
                <a:gd name="connsiteY6881" fmla="*/ 3927509 h 5704395"/>
                <a:gd name="connsiteX6882" fmla="*/ 724489 w 5719680"/>
                <a:gd name="connsiteY6882" fmla="*/ 3917051 h 5704395"/>
                <a:gd name="connsiteX6883" fmla="*/ 690186 w 5719680"/>
                <a:gd name="connsiteY6883" fmla="*/ 3913883 h 5704395"/>
                <a:gd name="connsiteX6884" fmla="*/ 3055176 w 5719680"/>
                <a:gd name="connsiteY6884" fmla="*/ 3912298 h 5704395"/>
                <a:gd name="connsiteX6885" fmla="*/ 3069468 w 5719680"/>
                <a:gd name="connsiteY6885" fmla="*/ 3958247 h 5704395"/>
                <a:gd name="connsiteX6886" fmla="*/ 3046282 w 5719680"/>
                <a:gd name="connsiteY6886" fmla="*/ 3965218 h 5704395"/>
                <a:gd name="connsiteX6887" fmla="*/ 3045647 w 5719680"/>
                <a:gd name="connsiteY6887" fmla="*/ 3963317 h 5704395"/>
                <a:gd name="connsiteX6888" fmla="*/ 3032307 w 5719680"/>
                <a:gd name="connsiteY6888" fmla="*/ 3919270 h 5704395"/>
                <a:gd name="connsiteX6889" fmla="*/ 1713236 w 5719680"/>
                <a:gd name="connsiteY6889" fmla="*/ 3911664 h 5704395"/>
                <a:gd name="connsiteX6890" fmla="*/ 1695132 w 5719680"/>
                <a:gd name="connsiteY6890" fmla="*/ 4000393 h 5704395"/>
                <a:gd name="connsiteX6891" fmla="*/ 1695132 w 5719680"/>
                <a:gd name="connsiteY6891" fmla="*/ 4000710 h 5704395"/>
                <a:gd name="connsiteX6892" fmla="*/ 1696085 w 5719680"/>
                <a:gd name="connsiteY6892" fmla="*/ 3996590 h 5704395"/>
                <a:gd name="connsiteX6893" fmla="*/ 1763102 w 5719680"/>
                <a:gd name="connsiteY6893" fmla="*/ 4009266 h 5704395"/>
                <a:gd name="connsiteX6894" fmla="*/ 1831073 w 5719680"/>
                <a:gd name="connsiteY6894" fmla="*/ 4021941 h 5704395"/>
                <a:gd name="connsiteX6895" fmla="*/ 1831073 w 5719680"/>
                <a:gd name="connsiteY6895" fmla="*/ 4026378 h 5704395"/>
                <a:gd name="connsiteX6896" fmla="*/ 1695450 w 5719680"/>
                <a:gd name="connsiteY6896" fmla="*/ 4001027 h 5704395"/>
                <a:gd name="connsiteX6897" fmla="*/ 1699579 w 5719680"/>
                <a:gd name="connsiteY6897" fmla="*/ 4041905 h 5704395"/>
                <a:gd name="connsiteX6898" fmla="*/ 1764373 w 5719680"/>
                <a:gd name="connsiteY6898" fmla="*/ 4054264 h 5704395"/>
                <a:gd name="connsiteX6899" fmla="*/ 1827261 w 5719680"/>
                <a:gd name="connsiteY6899" fmla="*/ 4065989 h 5704395"/>
                <a:gd name="connsiteX6900" fmla="*/ 1837108 w 5719680"/>
                <a:gd name="connsiteY6900" fmla="*/ 3977577 h 5704395"/>
                <a:gd name="connsiteX6901" fmla="*/ 1706884 w 5719680"/>
                <a:gd name="connsiteY6901" fmla="*/ 3952860 h 5704395"/>
                <a:gd name="connsiteX6902" fmla="*/ 1707837 w 5719680"/>
                <a:gd name="connsiteY6902" fmla="*/ 3948740 h 5704395"/>
                <a:gd name="connsiteX6903" fmla="*/ 1767549 w 5719680"/>
                <a:gd name="connsiteY6903" fmla="*/ 3959831 h 5704395"/>
                <a:gd name="connsiteX6904" fmla="*/ 1767867 w 5719680"/>
                <a:gd name="connsiteY6904" fmla="*/ 3958247 h 5704395"/>
                <a:gd name="connsiteX6905" fmla="*/ 1773266 w 5719680"/>
                <a:gd name="connsiteY6905" fmla="*/ 3927826 h 5704395"/>
                <a:gd name="connsiteX6906" fmla="*/ 1819638 w 5719680"/>
                <a:gd name="connsiteY6906" fmla="*/ 3936065 h 5704395"/>
                <a:gd name="connsiteX6907" fmla="*/ 1813604 w 5719680"/>
                <a:gd name="connsiteY6907" fmla="*/ 3968704 h 5704395"/>
                <a:gd name="connsiteX6908" fmla="*/ 1837743 w 5719680"/>
                <a:gd name="connsiteY6908" fmla="*/ 3973141 h 5704395"/>
                <a:gd name="connsiteX6909" fmla="*/ 1841872 w 5719680"/>
                <a:gd name="connsiteY6909" fmla="*/ 3935748 h 5704395"/>
                <a:gd name="connsiteX6910" fmla="*/ 1713236 w 5719680"/>
                <a:gd name="connsiteY6910" fmla="*/ 3911664 h 5704395"/>
                <a:gd name="connsiteX6911" fmla="*/ 3119970 w 5719680"/>
                <a:gd name="connsiteY6911" fmla="*/ 3909763 h 5704395"/>
                <a:gd name="connsiteX6912" fmla="*/ 3134263 w 5719680"/>
                <a:gd name="connsiteY6912" fmla="*/ 3955712 h 5704395"/>
                <a:gd name="connsiteX6913" fmla="*/ 3111394 w 5719680"/>
                <a:gd name="connsiteY6913" fmla="*/ 3962683 h 5704395"/>
                <a:gd name="connsiteX6914" fmla="*/ 3110759 w 5719680"/>
                <a:gd name="connsiteY6914" fmla="*/ 3960782 h 5704395"/>
                <a:gd name="connsiteX6915" fmla="*/ 3097101 w 5719680"/>
                <a:gd name="connsiteY6915" fmla="*/ 3916735 h 5704395"/>
                <a:gd name="connsiteX6916" fmla="*/ 3119970 w 5719680"/>
                <a:gd name="connsiteY6916" fmla="*/ 3909763 h 5704395"/>
                <a:gd name="connsiteX6917" fmla="*/ 632697 w 5719680"/>
                <a:gd name="connsiteY6917" fmla="*/ 3908496 h 5704395"/>
                <a:gd name="connsiteX6918" fmla="*/ 585054 w 5719680"/>
                <a:gd name="connsiteY6918" fmla="*/ 3966803 h 5704395"/>
                <a:gd name="connsiteX6919" fmla="*/ 502791 w 5719680"/>
                <a:gd name="connsiteY6919" fmla="*/ 4064087 h 5704395"/>
                <a:gd name="connsiteX6920" fmla="*/ 510414 w 5719680"/>
                <a:gd name="connsiteY6920" fmla="*/ 4067890 h 5704395"/>
                <a:gd name="connsiteX6921" fmla="*/ 531377 w 5719680"/>
                <a:gd name="connsiteY6921" fmla="*/ 4218412 h 5704395"/>
                <a:gd name="connsiteX6922" fmla="*/ 606652 w 5719680"/>
                <a:gd name="connsiteY6922" fmla="*/ 4245347 h 5704395"/>
                <a:gd name="connsiteX6923" fmla="*/ 648260 w 5719680"/>
                <a:gd name="connsiteY6923" fmla="*/ 4260558 h 5704395"/>
                <a:gd name="connsiteX6924" fmla="*/ 616498 w 5719680"/>
                <a:gd name="connsiteY6924" fmla="*/ 4117642 h 5704395"/>
                <a:gd name="connsiteX6925" fmla="*/ 657154 w 5719680"/>
                <a:gd name="connsiteY6925" fmla="*/ 4026695 h 5704395"/>
                <a:gd name="connsiteX6926" fmla="*/ 684786 w 5719680"/>
                <a:gd name="connsiteY6926" fmla="*/ 3913249 h 5704395"/>
                <a:gd name="connsiteX6927" fmla="*/ 632697 w 5719680"/>
                <a:gd name="connsiteY6927" fmla="*/ 3908496 h 5704395"/>
                <a:gd name="connsiteX6928" fmla="*/ 318572 w 5719680"/>
                <a:gd name="connsiteY6928" fmla="*/ 3908496 h 5704395"/>
                <a:gd name="connsiteX6929" fmla="*/ 230909 w 5719680"/>
                <a:gd name="connsiteY6929" fmla="*/ 3939551 h 5704395"/>
                <a:gd name="connsiteX6930" fmla="*/ 200735 w 5719680"/>
                <a:gd name="connsiteY6930" fmla="*/ 3950008 h 5704395"/>
                <a:gd name="connsiteX6931" fmla="*/ 205500 w 5719680"/>
                <a:gd name="connsiteY6931" fmla="*/ 3956662 h 5704395"/>
                <a:gd name="connsiteX6932" fmla="*/ 194383 w 5719680"/>
                <a:gd name="connsiteY6932" fmla="*/ 3964585 h 5704395"/>
                <a:gd name="connsiteX6933" fmla="*/ 203276 w 5719680"/>
                <a:gd name="connsiteY6933" fmla="*/ 3976626 h 5704395"/>
                <a:gd name="connsiteX6934" fmla="*/ 181361 w 5719680"/>
                <a:gd name="connsiteY6934" fmla="*/ 3992788 h 5704395"/>
                <a:gd name="connsiteX6935" fmla="*/ 160080 w 5719680"/>
                <a:gd name="connsiteY6935" fmla="*/ 3963951 h 5704395"/>
                <a:gd name="connsiteX6936" fmla="*/ 150869 w 5719680"/>
                <a:gd name="connsiteY6936" fmla="*/ 3967120 h 5704395"/>
                <a:gd name="connsiteX6937" fmla="*/ 174691 w 5719680"/>
                <a:gd name="connsiteY6937" fmla="*/ 4003245 h 5704395"/>
                <a:gd name="connsiteX6938" fmla="*/ 197559 w 5719680"/>
                <a:gd name="connsiteY6938" fmla="*/ 3995957 h 5704395"/>
                <a:gd name="connsiteX6939" fmla="*/ 345887 w 5719680"/>
                <a:gd name="connsiteY6939" fmla="*/ 3947473 h 5704395"/>
                <a:gd name="connsiteX6940" fmla="*/ 318572 w 5719680"/>
                <a:gd name="connsiteY6940" fmla="*/ 3908496 h 5704395"/>
                <a:gd name="connsiteX6941" fmla="*/ 984936 w 5719680"/>
                <a:gd name="connsiteY6941" fmla="*/ 3907228 h 5704395"/>
                <a:gd name="connsiteX6942" fmla="*/ 973820 w 5719680"/>
                <a:gd name="connsiteY6942" fmla="*/ 3928459 h 5704395"/>
                <a:gd name="connsiteX6943" fmla="*/ 1022415 w 5719680"/>
                <a:gd name="connsiteY6943" fmla="*/ 3946522 h 5704395"/>
                <a:gd name="connsiteX6944" fmla="*/ 1039884 w 5719680"/>
                <a:gd name="connsiteY6944" fmla="*/ 3908496 h 5704395"/>
                <a:gd name="connsiteX6945" fmla="*/ 3150461 w 5719680"/>
                <a:gd name="connsiteY6945" fmla="*/ 3904693 h 5704395"/>
                <a:gd name="connsiteX6946" fmla="*/ 3135216 w 5719680"/>
                <a:gd name="connsiteY6946" fmla="*/ 3909446 h 5704395"/>
                <a:gd name="connsiteX6947" fmla="*/ 3146968 w 5719680"/>
                <a:gd name="connsiteY6947" fmla="*/ 3947156 h 5704395"/>
                <a:gd name="connsiteX6948" fmla="*/ 3162213 w 5719680"/>
                <a:gd name="connsiteY6948" fmla="*/ 3942719 h 5704395"/>
                <a:gd name="connsiteX6949" fmla="*/ 3150461 w 5719680"/>
                <a:gd name="connsiteY6949" fmla="*/ 3904693 h 5704395"/>
                <a:gd name="connsiteX6950" fmla="*/ 26363 w 5719680"/>
                <a:gd name="connsiteY6950" fmla="*/ 3903425 h 5704395"/>
                <a:gd name="connsiteX6951" fmla="*/ 26680 w 5719680"/>
                <a:gd name="connsiteY6951" fmla="*/ 3905327 h 5704395"/>
                <a:gd name="connsiteX6952" fmla="*/ 32080 w 5719680"/>
                <a:gd name="connsiteY6952" fmla="*/ 3934163 h 5704395"/>
                <a:gd name="connsiteX6953" fmla="*/ 27951 w 5719680"/>
                <a:gd name="connsiteY6953" fmla="*/ 3934797 h 5704395"/>
                <a:gd name="connsiteX6954" fmla="*/ 31127 w 5719680"/>
                <a:gd name="connsiteY6954" fmla="*/ 3951909 h 5704395"/>
                <a:gd name="connsiteX6955" fmla="*/ 1271 w 5719680"/>
                <a:gd name="connsiteY6955" fmla="*/ 3957613 h 5704395"/>
                <a:gd name="connsiteX6956" fmla="*/ 1271 w 5719680"/>
                <a:gd name="connsiteY6956" fmla="*/ 3953494 h 5704395"/>
                <a:gd name="connsiteX6957" fmla="*/ 26363 w 5719680"/>
                <a:gd name="connsiteY6957" fmla="*/ 3948740 h 5704395"/>
                <a:gd name="connsiteX6958" fmla="*/ 23186 w 5719680"/>
                <a:gd name="connsiteY6958" fmla="*/ 3931628 h 5704395"/>
                <a:gd name="connsiteX6959" fmla="*/ 27315 w 5719680"/>
                <a:gd name="connsiteY6959" fmla="*/ 3930995 h 5704395"/>
                <a:gd name="connsiteX6960" fmla="*/ 22869 w 5719680"/>
                <a:gd name="connsiteY6960" fmla="*/ 3908179 h 5704395"/>
                <a:gd name="connsiteX6961" fmla="*/ 1271 w 5719680"/>
                <a:gd name="connsiteY6961" fmla="*/ 3912298 h 5704395"/>
                <a:gd name="connsiteX6962" fmla="*/ 1271 w 5719680"/>
                <a:gd name="connsiteY6962" fmla="*/ 3907862 h 5704395"/>
                <a:gd name="connsiteX6963" fmla="*/ 26363 w 5719680"/>
                <a:gd name="connsiteY6963" fmla="*/ 3903425 h 5704395"/>
                <a:gd name="connsiteX6964" fmla="*/ 1381960 w 5719680"/>
                <a:gd name="connsiteY6964" fmla="*/ 3903108 h 5704395"/>
                <a:gd name="connsiteX6965" fmla="*/ 1371796 w 5719680"/>
                <a:gd name="connsiteY6965" fmla="*/ 3905010 h 5704395"/>
                <a:gd name="connsiteX6966" fmla="*/ 1374337 w 5719680"/>
                <a:gd name="connsiteY6966" fmla="*/ 3932896 h 5704395"/>
                <a:gd name="connsiteX6967" fmla="*/ 1363220 w 5719680"/>
                <a:gd name="connsiteY6967" fmla="*/ 3943036 h 5704395"/>
                <a:gd name="connsiteX6968" fmla="*/ 1418804 w 5719680"/>
                <a:gd name="connsiteY6968" fmla="*/ 4033032 h 5704395"/>
                <a:gd name="connsiteX6969" fmla="*/ 1415627 w 5719680"/>
                <a:gd name="connsiteY6969" fmla="*/ 4088488 h 5704395"/>
                <a:gd name="connsiteX6970" fmla="*/ 1469940 w 5719680"/>
                <a:gd name="connsiteY6970" fmla="*/ 4103065 h 5704395"/>
                <a:gd name="connsiteX6971" fmla="*/ 1494714 w 5719680"/>
                <a:gd name="connsiteY6971" fmla="*/ 4061869 h 5704395"/>
                <a:gd name="connsiteX6972" fmla="*/ 1381960 w 5719680"/>
                <a:gd name="connsiteY6972" fmla="*/ 3903108 h 5704395"/>
                <a:gd name="connsiteX6973" fmla="*/ 982078 w 5719680"/>
                <a:gd name="connsiteY6973" fmla="*/ 3902475 h 5704395"/>
                <a:gd name="connsiteX6974" fmla="*/ 1047190 w 5719680"/>
                <a:gd name="connsiteY6974" fmla="*/ 3903742 h 5704395"/>
                <a:gd name="connsiteX6975" fmla="*/ 1045919 w 5719680"/>
                <a:gd name="connsiteY6975" fmla="*/ 3907228 h 5704395"/>
                <a:gd name="connsiteX6976" fmla="*/ 1024639 w 5719680"/>
                <a:gd name="connsiteY6976" fmla="*/ 3952543 h 5704395"/>
                <a:gd name="connsiteX6977" fmla="*/ 967150 w 5719680"/>
                <a:gd name="connsiteY6977" fmla="*/ 3930995 h 5704395"/>
                <a:gd name="connsiteX6978" fmla="*/ 3153002 w 5719680"/>
                <a:gd name="connsiteY6978" fmla="*/ 3899623 h 5704395"/>
                <a:gd name="connsiteX6979" fmla="*/ 3167295 w 5719680"/>
                <a:gd name="connsiteY6979" fmla="*/ 3945255 h 5704395"/>
                <a:gd name="connsiteX6980" fmla="*/ 3144426 w 5719680"/>
                <a:gd name="connsiteY6980" fmla="*/ 3952543 h 5704395"/>
                <a:gd name="connsiteX6981" fmla="*/ 3143791 w 5719680"/>
                <a:gd name="connsiteY6981" fmla="*/ 3950325 h 5704395"/>
                <a:gd name="connsiteX6982" fmla="*/ 3130134 w 5719680"/>
                <a:gd name="connsiteY6982" fmla="*/ 3906594 h 5704395"/>
                <a:gd name="connsiteX6983" fmla="*/ 2337992 w 5719680"/>
                <a:gd name="connsiteY6983" fmla="*/ 3898989 h 5704395"/>
                <a:gd name="connsiteX6984" fmla="*/ 2335769 w 5719680"/>
                <a:gd name="connsiteY6984" fmla="*/ 3922122 h 5704395"/>
                <a:gd name="connsiteX6985" fmla="*/ 2311948 w 5719680"/>
                <a:gd name="connsiteY6985" fmla="*/ 3919903 h 5704395"/>
                <a:gd name="connsiteX6986" fmla="*/ 2310677 w 5719680"/>
                <a:gd name="connsiteY6986" fmla="*/ 3935431 h 5704395"/>
                <a:gd name="connsiteX6987" fmla="*/ 2364990 w 5719680"/>
                <a:gd name="connsiteY6987" fmla="*/ 3939551 h 5704395"/>
                <a:gd name="connsiteX6988" fmla="*/ 2366578 w 5719680"/>
                <a:gd name="connsiteY6988" fmla="*/ 3923706 h 5704395"/>
                <a:gd name="connsiteX6989" fmla="*/ 2372295 w 5719680"/>
                <a:gd name="connsiteY6989" fmla="*/ 3924340 h 5704395"/>
                <a:gd name="connsiteX6990" fmla="*/ 2374201 w 5719680"/>
                <a:gd name="connsiteY6990" fmla="*/ 3902158 h 5704395"/>
                <a:gd name="connsiteX6991" fmla="*/ 2337992 w 5719680"/>
                <a:gd name="connsiteY6991" fmla="*/ 3898989 h 5704395"/>
                <a:gd name="connsiteX6992" fmla="*/ 1383865 w 5719680"/>
                <a:gd name="connsiteY6992" fmla="*/ 3898038 h 5704395"/>
                <a:gd name="connsiteX6993" fmla="*/ 1500114 w 5719680"/>
                <a:gd name="connsiteY6993" fmla="*/ 4061552 h 5704395"/>
                <a:gd name="connsiteX6994" fmla="*/ 1499479 w 5719680"/>
                <a:gd name="connsiteY6994" fmla="*/ 4062820 h 5704395"/>
                <a:gd name="connsiteX6995" fmla="*/ 1472163 w 5719680"/>
                <a:gd name="connsiteY6995" fmla="*/ 4108452 h 5704395"/>
                <a:gd name="connsiteX6996" fmla="*/ 1410863 w 5719680"/>
                <a:gd name="connsiteY6996" fmla="*/ 4091974 h 5704395"/>
                <a:gd name="connsiteX6997" fmla="*/ 1414039 w 5719680"/>
                <a:gd name="connsiteY6997" fmla="*/ 4033983 h 5704395"/>
                <a:gd name="connsiteX6998" fmla="*/ 1357185 w 5719680"/>
                <a:gd name="connsiteY6998" fmla="*/ 3942086 h 5704395"/>
                <a:gd name="connsiteX6999" fmla="*/ 1369255 w 5719680"/>
                <a:gd name="connsiteY6999" fmla="*/ 3930995 h 5704395"/>
                <a:gd name="connsiteX7000" fmla="*/ 1367032 w 5719680"/>
                <a:gd name="connsiteY7000" fmla="*/ 3901207 h 5704395"/>
                <a:gd name="connsiteX7001" fmla="*/ 1383865 w 5719680"/>
                <a:gd name="connsiteY7001" fmla="*/ 3898038 h 5704395"/>
                <a:gd name="connsiteX7002" fmla="*/ 1081810 w 5719680"/>
                <a:gd name="connsiteY7002" fmla="*/ 3896771 h 5704395"/>
                <a:gd name="connsiteX7003" fmla="*/ 1051001 w 5719680"/>
                <a:gd name="connsiteY7003" fmla="*/ 3957930 h 5704395"/>
                <a:gd name="connsiteX7004" fmla="*/ 1076410 w 5719680"/>
                <a:gd name="connsiteY7004" fmla="*/ 3967754 h 5704395"/>
                <a:gd name="connsiteX7005" fmla="*/ 1082763 w 5719680"/>
                <a:gd name="connsiteY7005" fmla="*/ 3954127 h 5704395"/>
                <a:gd name="connsiteX7006" fmla="*/ 1093562 w 5719680"/>
                <a:gd name="connsiteY7006" fmla="*/ 3979795 h 5704395"/>
                <a:gd name="connsiteX7007" fmla="*/ 1113889 w 5719680"/>
                <a:gd name="connsiteY7007" fmla="*/ 3998175 h 5704395"/>
                <a:gd name="connsiteX7008" fmla="*/ 1081810 w 5719680"/>
                <a:gd name="connsiteY7008" fmla="*/ 3896771 h 5704395"/>
                <a:gd name="connsiteX7009" fmla="*/ 2334181 w 5719680"/>
                <a:gd name="connsiteY7009" fmla="*/ 3894552 h 5704395"/>
                <a:gd name="connsiteX7010" fmla="*/ 2378648 w 5719680"/>
                <a:gd name="connsiteY7010" fmla="*/ 3898355 h 5704395"/>
                <a:gd name="connsiteX7011" fmla="*/ 2376106 w 5719680"/>
                <a:gd name="connsiteY7011" fmla="*/ 3928776 h 5704395"/>
                <a:gd name="connsiteX7012" fmla="*/ 2370389 w 5719680"/>
                <a:gd name="connsiteY7012" fmla="*/ 3928459 h 5704395"/>
                <a:gd name="connsiteX7013" fmla="*/ 2368801 w 5719680"/>
                <a:gd name="connsiteY7013" fmla="*/ 3943987 h 5704395"/>
                <a:gd name="connsiteX7014" fmla="*/ 2305913 w 5719680"/>
                <a:gd name="connsiteY7014" fmla="*/ 3939551 h 5704395"/>
                <a:gd name="connsiteX7015" fmla="*/ 2306230 w 5719680"/>
                <a:gd name="connsiteY7015" fmla="*/ 3937332 h 5704395"/>
                <a:gd name="connsiteX7016" fmla="*/ 2308136 w 5719680"/>
                <a:gd name="connsiteY7016" fmla="*/ 3915467 h 5704395"/>
                <a:gd name="connsiteX7017" fmla="*/ 2331958 w 5719680"/>
                <a:gd name="connsiteY7017" fmla="*/ 3917685 h 5704395"/>
                <a:gd name="connsiteX7018" fmla="*/ 2334181 w 5719680"/>
                <a:gd name="connsiteY7018" fmla="*/ 3894552 h 5704395"/>
                <a:gd name="connsiteX7019" fmla="*/ 513272 w 5719680"/>
                <a:gd name="connsiteY7019" fmla="*/ 3892651 h 5704395"/>
                <a:gd name="connsiteX7020" fmla="*/ 508508 w 5719680"/>
                <a:gd name="connsiteY7020" fmla="*/ 3956346 h 5704395"/>
                <a:gd name="connsiteX7021" fmla="*/ 540587 w 5719680"/>
                <a:gd name="connsiteY7021" fmla="*/ 3966486 h 5704395"/>
                <a:gd name="connsiteX7022" fmla="*/ 583784 w 5719680"/>
                <a:gd name="connsiteY7022" fmla="*/ 3912932 h 5704395"/>
                <a:gd name="connsiteX7023" fmla="*/ 513272 w 5719680"/>
                <a:gd name="connsiteY7023" fmla="*/ 3892651 h 5704395"/>
                <a:gd name="connsiteX7024" fmla="*/ 1143110 w 5719680"/>
                <a:gd name="connsiteY7024" fmla="*/ 3891067 h 5704395"/>
                <a:gd name="connsiteX7025" fmla="*/ 1122465 w 5719680"/>
                <a:gd name="connsiteY7025" fmla="*/ 3906911 h 5704395"/>
                <a:gd name="connsiteX7026" fmla="*/ 1158674 w 5719680"/>
                <a:gd name="connsiteY7026" fmla="*/ 3996907 h 5704395"/>
                <a:gd name="connsiteX7027" fmla="*/ 1182495 w 5719680"/>
                <a:gd name="connsiteY7027" fmla="*/ 4011484 h 5704395"/>
                <a:gd name="connsiteX7028" fmla="*/ 1202823 w 5719680"/>
                <a:gd name="connsiteY7028" fmla="*/ 4004513 h 5704395"/>
                <a:gd name="connsiteX7029" fmla="*/ 1201552 w 5719680"/>
                <a:gd name="connsiteY7029" fmla="*/ 3997858 h 5704395"/>
                <a:gd name="connsiteX7030" fmla="*/ 1200599 w 5719680"/>
                <a:gd name="connsiteY7030" fmla="*/ 3993421 h 5704395"/>
                <a:gd name="connsiteX7031" fmla="*/ 1205364 w 5719680"/>
                <a:gd name="connsiteY7031" fmla="*/ 3992788 h 5704395"/>
                <a:gd name="connsiteX7032" fmla="*/ 1207905 w 5719680"/>
                <a:gd name="connsiteY7032" fmla="*/ 3992154 h 5704395"/>
                <a:gd name="connsiteX7033" fmla="*/ 1200917 w 5719680"/>
                <a:gd name="connsiteY7033" fmla="*/ 3971239 h 5704395"/>
                <a:gd name="connsiteX7034" fmla="*/ 1197106 w 5719680"/>
                <a:gd name="connsiteY7034" fmla="*/ 3973458 h 5704395"/>
                <a:gd name="connsiteX7035" fmla="*/ 1192659 w 5719680"/>
                <a:gd name="connsiteY7035" fmla="*/ 3975676 h 5704395"/>
                <a:gd name="connsiteX7036" fmla="*/ 1190753 w 5719680"/>
                <a:gd name="connsiteY7036" fmla="*/ 3970922 h 5704395"/>
                <a:gd name="connsiteX7037" fmla="*/ 1180272 w 5719680"/>
                <a:gd name="connsiteY7037" fmla="*/ 3940818 h 5704395"/>
                <a:gd name="connsiteX7038" fmla="*/ 1164391 w 5719680"/>
                <a:gd name="connsiteY7038" fmla="*/ 3942086 h 5704395"/>
                <a:gd name="connsiteX7039" fmla="*/ 1161215 w 5719680"/>
                <a:gd name="connsiteY7039" fmla="*/ 3942086 h 5704395"/>
                <a:gd name="connsiteX7040" fmla="*/ 1159944 w 5719680"/>
                <a:gd name="connsiteY7040" fmla="*/ 3939234 h 5704395"/>
                <a:gd name="connsiteX7041" fmla="*/ 1148828 w 5719680"/>
                <a:gd name="connsiteY7041" fmla="*/ 3914199 h 5704395"/>
                <a:gd name="connsiteX7042" fmla="*/ 1148192 w 5719680"/>
                <a:gd name="connsiteY7042" fmla="*/ 3912615 h 5704395"/>
                <a:gd name="connsiteX7043" fmla="*/ 1148510 w 5719680"/>
                <a:gd name="connsiteY7043" fmla="*/ 3911031 h 5704395"/>
                <a:gd name="connsiteX7044" fmla="*/ 1151051 w 5719680"/>
                <a:gd name="connsiteY7044" fmla="*/ 3902475 h 5704395"/>
                <a:gd name="connsiteX7045" fmla="*/ 1143110 w 5719680"/>
                <a:gd name="connsiteY7045" fmla="*/ 3891067 h 5704395"/>
                <a:gd name="connsiteX7046" fmla="*/ 3072010 w 5719680"/>
                <a:gd name="connsiteY7046" fmla="*/ 3888848 h 5704395"/>
                <a:gd name="connsiteX7047" fmla="*/ 3122511 w 5719680"/>
                <a:gd name="connsiteY7047" fmla="*/ 4038103 h 5704395"/>
                <a:gd name="connsiteX7048" fmla="*/ 3162531 w 5719680"/>
                <a:gd name="connsiteY7048" fmla="*/ 4025427 h 5704395"/>
                <a:gd name="connsiteX7049" fmla="*/ 3120923 w 5719680"/>
                <a:gd name="connsiteY7049" fmla="*/ 3896771 h 5704395"/>
                <a:gd name="connsiteX7050" fmla="*/ 3122828 w 5719680"/>
                <a:gd name="connsiteY7050" fmla="*/ 3896137 h 5704395"/>
                <a:gd name="connsiteX7051" fmla="*/ 3072010 w 5719680"/>
                <a:gd name="connsiteY7051" fmla="*/ 3888848 h 5704395"/>
                <a:gd name="connsiteX7052" fmla="*/ 104179 w 5719680"/>
                <a:gd name="connsiteY7052" fmla="*/ 3888848 h 5704395"/>
                <a:gd name="connsiteX7053" fmla="*/ 95921 w 5719680"/>
                <a:gd name="connsiteY7053" fmla="*/ 3892017 h 5704395"/>
                <a:gd name="connsiteX7054" fmla="*/ 96874 w 5719680"/>
                <a:gd name="connsiteY7054" fmla="*/ 3892968 h 5704395"/>
                <a:gd name="connsiteX7055" fmla="*/ 116566 w 5719680"/>
                <a:gd name="connsiteY7055" fmla="*/ 3918319 h 5704395"/>
                <a:gd name="connsiteX7056" fmla="*/ 123872 w 5719680"/>
                <a:gd name="connsiteY7056" fmla="*/ 3915467 h 5704395"/>
                <a:gd name="connsiteX7057" fmla="*/ 104179 w 5719680"/>
                <a:gd name="connsiteY7057" fmla="*/ 3888848 h 5704395"/>
                <a:gd name="connsiteX7058" fmla="*/ 3209538 w 5719680"/>
                <a:gd name="connsiteY7058" fmla="*/ 3888532 h 5704395"/>
                <a:gd name="connsiteX7059" fmla="*/ 3194610 w 5719680"/>
                <a:gd name="connsiteY7059" fmla="*/ 3893285 h 5704395"/>
                <a:gd name="connsiteX7060" fmla="*/ 3206362 w 5719680"/>
                <a:gd name="connsiteY7060" fmla="*/ 3931311 h 5704395"/>
                <a:gd name="connsiteX7061" fmla="*/ 3221290 w 5719680"/>
                <a:gd name="connsiteY7061" fmla="*/ 3926558 h 5704395"/>
                <a:gd name="connsiteX7062" fmla="*/ 3209538 w 5719680"/>
                <a:gd name="connsiteY7062" fmla="*/ 3888532 h 5704395"/>
                <a:gd name="connsiteX7063" fmla="*/ 509143 w 5719680"/>
                <a:gd name="connsiteY7063" fmla="*/ 3886947 h 5704395"/>
                <a:gd name="connsiteX7064" fmla="*/ 591406 w 5719680"/>
                <a:gd name="connsiteY7064" fmla="*/ 3910397 h 5704395"/>
                <a:gd name="connsiteX7065" fmla="*/ 542176 w 5719680"/>
                <a:gd name="connsiteY7065" fmla="*/ 3971556 h 5704395"/>
                <a:gd name="connsiteX7066" fmla="*/ 503744 w 5719680"/>
                <a:gd name="connsiteY7066" fmla="*/ 3959514 h 5704395"/>
                <a:gd name="connsiteX7067" fmla="*/ 509143 w 5719680"/>
                <a:gd name="connsiteY7067" fmla="*/ 3886947 h 5704395"/>
                <a:gd name="connsiteX7068" fmla="*/ 1144381 w 5719680"/>
                <a:gd name="connsiteY7068" fmla="*/ 3884412 h 5704395"/>
                <a:gd name="connsiteX7069" fmla="*/ 1155815 w 5719680"/>
                <a:gd name="connsiteY7069" fmla="*/ 3901841 h 5704395"/>
                <a:gd name="connsiteX7070" fmla="*/ 1152957 w 5719680"/>
                <a:gd name="connsiteY7070" fmla="*/ 3912298 h 5704395"/>
                <a:gd name="connsiteX7071" fmla="*/ 1164073 w 5719680"/>
                <a:gd name="connsiteY7071" fmla="*/ 3937649 h 5704395"/>
                <a:gd name="connsiteX7072" fmla="*/ 1183448 w 5719680"/>
                <a:gd name="connsiteY7072" fmla="*/ 3936065 h 5704395"/>
                <a:gd name="connsiteX7073" fmla="*/ 1194882 w 5719680"/>
                <a:gd name="connsiteY7073" fmla="*/ 3969338 h 5704395"/>
                <a:gd name="connsiteX7074" fmla="*/ 1203776 w 5719680"/>
                <a:gd name="connsiteY7074" fmla="*/ 3964902 h 5704395"/>
                <a:gd name="connsiteX7075" fmla="*/ 1213622 w 5719680"/>
                <a:gd name="connsiteY7075" fmla="*/ 3995957 h 5704395"/>
                <a:gd name="connsiteX7076" fmla="*/ 1205999 w 5719680"/>
                <a:gd name="connsiteY7076" fmla="*/ 3996907 h 5704395"/>
                <a:gd name="connsiteX7077" fmla="*/ 1208222 w 5719680"/>
                <a:gd name="connsiteY7077" fmla="*/ 4007681 h 5704395"/>
                <a:gd name="connsiteX7078" fmla="*/ 1182177 w 5719680"/>
                <a:gd name="connsiteY7078" fmla="*/ 4016237 h 5704395"/>
                <a:gd name="connsiteX7079" fmla="*/ 1155180 w 5719680"/>
                <a:gd name="connsiteY7079" fmla="*/ 4000076 h 5704395"/>
                <a:gd name="connsiteX7080" fmla="*/ 1117383 w 5719680"/>
                <a:gd name="connsiteY7080" fmla="*/ 3905644 h 5704395"/>
                <a:gd name="connsiteX7081" fmla="*/ 1144381 w 5719680"/>
                <a:gd name="connsiteY7081" fmla="*/ 3884412 h 5704395"/>
                <a:gd name="connsiteX7082" fmla="*/ 1082763 w 5719680"/>
                <a:gd name="connsiteY7082" fmla="*/ 3884412 h 5704395"/>
                <a:gd name="connsiteX7083" fmla="*/ 1123418 w 5719680"/>
                <a:gd name="connsiteY7083" fmla="*/ 4013385 h 5704395"/>
                <a:gd name="connsiteX7084" fmla="*/ 1117066 w 5719680"/>
                <a:gd name="connsiteY7084" fmla="*/ 4007365 h 5704395"/>
                <a:gd name="connsiteX7085" fmla="*/ 1089750 w 5719680"/>
                <a:gd name="connsiteY7085" fmla="*/ 3982330 h 5704395"/>
                <a:gd name="connsiteX7086" fmla="*/ 1082445 w 5719680"/>
                <a:gd name="connsiteY7086" fmla="*/ 3965535 h 5704395"/>
                <a:gd name="connsiteX7087" fmla="*/ 1078951 w 5719680"/>
                <a:gd name="connsiteY7087" fmla="*/ 3973774 h 5704395"/>
                <a:gd name="connsiteX7088" fmla="*/ 1044649 w 5719680"/>
                <a:gd name="connsiteY7088" fmla="*/ 3960465 h 5704395"/>
                <a:gd name="connsiteX7089" fmla="*/ 3212397 w 5719680"/>
                <a:gd name="connsiteY7089" fmla="*/ 3883461 h 5704395"/>
                <a:gd name="connsiteX7090" fmla="*/ 3226372 w 5719680"/>
                <a:gd name="connsiteY7090" fmla="*/ 3929410 h 5704395"/>
                <a:gd name="connsiteX7091" fmla="*/ 3203504 w 5719680"/>
                <a:gd name="connsiteY7091" fmla="*/ 3936382 h 5704395"/>
                <a:gd name="connsiteX7092" fmla="*/ 3202868 w 5719680"/>
                <a:gd name="connsiteY7092" fmla="*/ 3934480 h 5704395"/>
                <a:gd name="connsiteX7093" fmla="*/ 3189211 w 5719680"/>
                <a:gd name="connsiteY7093" fmla="*/ 3890433 h 5704395"/>
                <a:gd name="connsiteX7094" fmla="*/ 1320977 w 5719680"/>
                <a:gd name="connsiteY7094" fmla="*/ 3881560 h 5704395"/>
                <a:gd name="connsiteX7095" fmla="*/ 1302237 w 5719680"/>
                <a:gd name="connsiteY7095" fmla="*/ 3913883 h 5704395"/>
                <a:gd name="connsiteX7096" fmla="*/ 1299379 w 5719680"/>
                <a:gd name="connsiteY7096" fmla="*/ 3925607 h 5704395"/>
                <a:gd name="connsiteX7097" fmla="*/ 1293344 w 5719680"/>
                <a:gd name="connsiteY7097" fmla="*/ 3951275 h 5704395"/>
                <a:gd name="connsiteX7098" fmla="*/ 1283180 w 5719680"/>
                <a:gd name="connsiteY7098" fmla="*/ 3980746 h 5704395"/>
                <a:gd name="connsiteX7099" fmla="*/ 1305096 w 5719680"/>
                <a:gd name="connsiteY7099" fmla="*/ 3999442 h 5704395"/>
                <a:gd name="connsiteX7100" fmla="*/ 1324471 w 5719680"/>
                <a:gd name="connsiteY7100" fmla="*/ 3953177 h 5704395"/>
                <a:gd name="connsiteX7101" fmla="*/ 1315577 w 5719680"/>
                <a:gd name="connsiteY7101" fmla="*/ 3937332 h 5704395"/>
                <a:gd name="connsiteX7102" fmla="*/ 1313989 w 5719680"/>
                <a:gd name="connsiteY7102" fmla="*/ 3934163 h 5704395"/>
                <a:gd name="connsiteX7103" fmla="*/ 1316530 w 5719680"/>
                <a:gd name="connsiteY7103" fmla="*/ 3931945 h 5704395"/>
                <a:gd name="connsiteX7104" fmla="*/ 1333364 w 5719680"/>
                <a:gd name="connsiteY7104" fmla="*/ 3917368 h 5704395"/>
                <a:gd name="connsiteX7105" fmla="*/ 1320977 w 5719680"/>
                <a:gd name="connsiteY7105" fmla="*/ 3881560 h 5704395"/>
                <a:gd name="connsiteX7106" fmla="*/ 3242571 w 5719680"/>
                <a:gd name="connsiteY7106" fmla="*/ 3878391 h 5704395"/>
                <a:gd name="connsiteX7107" fmla="*/ 3227642 w 5719680"/>
                <a:gd name="connsiteY7107" fmla="*/ 3882828 h 5704395"/>
                <a:gd name="connsiteX7108" fmla="*/ 3239394 w 5719680"/>
                <a:gd name="connsiteY7108" fmla="*/ 3920854 h 5704395"/>
                <a:gd name="connsiteX7109" fmla="*/ 3254322 w 5719680"/>
                <a:gd name="connsiteY7109" fmla="*/ 3916101 h 5704395"/>
                <a:gd name="connsiteX7110" fmla="*/ 3242571 w 5719680"/>
                <a:gd name="connsiteY7110" fmla="*/ 3878391 h 5704395"/>
                <a:gd name="connsiteX7111" fmla="*/ 1919053 w 5719680"/>
                <a:gd name="connsiteY7111" fmla="*/ 3876807 h 5704395"/>
                <a:gd name="connsiteX7112" fmla="*/ 1914924 w 5719680"/>
                <a:gd name="connsiteY7112" fmla="*/ 3918636 h 5704395"/>
                <a:gd name="connsiteX7113" fmla="*/ 1957167 w 5719680"/>
                <a:gd name="connsiteY7113" fmla="*/ 3922122 h 5704395"/>
                <a:gd name="connsiteX7114" fmla="*/ 1961296 w 5719680"/>
                <a:gd name="connsiteY7114" fmla="*/ 3881243 h 5704395"/>
                <a:gd name="connsiteX7115" fmla="*/ 1919053 w 5719680"/>
                <a:gd name="connsiteY7115" fmla="*/ 3876807 h 5704395"/>
                <a:gd name="connsiteX7116" fmla="*/ 1179637 w 5719680"/>
                <a:gd name="connsiteY7116" fmla="*/ 3876173 h 5704395"/>
                <a:gd name="connsiteX7117" fmla="*/ 1174555 w 5719680"/>
                <a:gd name="connsiteY7117" fmla="*/ 3882828 h 5704395"/>
                <a:gd name="connsiteX7118" fmla="*/ 1203458 w 5719680"/>
                <a:gd name="connsiteY7118" fmla="*/ 3911981 h 5704395"/>
                <a:gd name="connsiteX7119" fmla="*/ 1210763 w 5719680"/>
                <a:gd name="connsiteY7119" fmla="*/ 3902792 h 5704395"/>
                <a:gd name="connsiteX7120" fmla="*/ 1179637 w 5719680"/>
                <a:gd name="connsiteY7120" fmla="*/ 3876173 h 5704395"/>
                <a:gd name="connsiteX7121" fmla="*/ 1238714 w 5719680"/>
                <a:gd name="connsiteY7121" fmla="*/ 3875222 h 5704395"/>
                <a:gd name="connsiteX7122" fmla="*/ 1217433 w 5719680"/>
                <a:gd name="connsiteY7122" fmla="*/ 3902475 h 5704395"/>
                <a:gd name="connsiteX7123" fmla="*/ 1217751 w 5719680"/>
                <a:gd name="connsiteY7123" fmla="*/ 3902792 h 5704395"/>
                <a:gd name="connsiteX7124" fmla="*/ 1215527 w 5719680"/>
                <a:gd name="connsiteY7124" fmla="*/ 3905960 h 5704395"/>
                <a:gd name="connsiteX7125" fmla="*/ 1212987 w 5719680"/>
                <a:gd name="connsiteY7125" fmla="*/ 3909763 h 5704395"/>
                <a:gd name="connsiteX7126" fmla="*/ 1241255 w 5719680"/>
                <a:gd name="connsiteY7126" fmla="*/ 3932579 h 5704395"/>
                <a:gd name="connsiteX7127" fmla="*/ 1268252 w 5719680"/>
                <a:gd name="connsiteY7127" fmla="*/ 3898989 h 5704395"/>
                <a:gd name="connsiteX7128" fmla="*/ 1238714 w 5719680"/>
                <a:gd name="connsiteY7128" fmla="*/ 3875222 h 5704395"/>
                <a:gd name="connsiteX7129" fmla="*/ 139753 w 5719680"/>
                <a:gd name="connsiteY7129" fmla="*/ 3874905 h 5704395"/>
                <a:gd name="connsiteX7130" fmla="*/ 107991 w 5719680"/>
                <a:gd name="connsiteY7130" fmla="*/ 3887264 h 5704395"/>
                <a:gd name="connsiteX7131" fmla="*/ 125460 w 5719680"/>
                <a:gd name="connsiteY7131" fmla="*/ 3910714 h 5704395"/>
                <a:gd name="connsiteX7132" fmla="*/ 141023 w 5719680"/>
                <a:gd name="connsiteY7132" fmla="*/ 3899623 h 5704395"/>
                <a:gd name="connsiteX7133" fmla="*/ 132130 w 5719680"/>
                <a:gd name="connsiteY7133" fmla="*/ 3887581 h 5704395"/>
                <a:gd name="connsiteX7134" fmla="*/ 142929 w 5719680"/>
                <a:gd name="connsiteY7134" fmla="*/ 3879342 h 5704395"/>
                <a:gd name="connsiteX7135" fmla="*/ 139753 w 5719680"/>
                <a:gd name="connsiteY7135" fmla="*/ 3874905 h 5704395"/>
                <a:gd name="connsiteX7136" fmla="*/ 1146287 w 5719680"/>
                <a:gd name="connsiteY7136" fmla="*/ 3874589 h 5704395"/>
                <a:gd name="connsiteX7137" fmla="*/ 1105631 w 5719680"/>
                <a:gd name="connsiteY7137" fmla="*/ 3907545 h 5704395"/>
                <a:gd name="connsiteX7138" fmla="*/ 1139934 w 5719680"/>
                <a:gd name="connsiteY7138" fmla="*/ 4037152 h 5704395"/>
                <a:gd name="connsiteX7139" fmla="*/ 1139299 w 5719680"/>
                <a:gd name="connsiteY7139" fmla="*/ 4036518 h 5704395"/>
                <a:gd name="connsiteX7140" fmla="*/ 1144698 w 5719680"/>
                <a:gd name="connsiteY7140" fmla="*/ 4043173 h 5704395"/>
                <a:gd name="connsiteX7141" fmla="*/ 1146287 w 5719680"/>
                <a:gd name="connsiteY7141" fmla="*/ 4042539 h 5704395"/>
                <a:gd name="connsiteX7142" fmla="*/ 1179001 w 5719680"/>
                <a:gd name="connsiteY7142" fmla="*/ 4032716 h 5704395"/>
                <a:gd name="connsiteX7143" fmla="*/ 1225056 w 5719680"/>
                <a:gd name="connsiteY7143" fmla="*/ 4012118 h 5704395"/>
                <a:gd name="connsiteX7144" fmla="*/ 1199647 w 5719680"/>
                <a:gd name="connsiteY7144" fmla="*/ 3928459 h 5704395"/>
                <a:gd name="connsiteX7145" fmla="*/ 1146287 w 5719680"/>
                <a:gd name="connsiteY7145" fmla="*/ 3874589 h 5704395"/>
                <a:gd name="connsiteX7146" fmla="*/ 499932 w 5719680"/>
                <a:gd name="connsiteY7146" fmla="*/ 3873638 h 5704395"/>
                <a:gd name="connsiteX7147" fmla="*/ 494533 w 5719680"/>
                <a:gd name="connsiteY7147" fmla="*/ 3962683 h 5704395"/>
                <a:gd name="connsiteX7148" fmla="*/ 402741 w 5719680"/>
                <a:gd name="connsiteY7148" fmla="*/ 3990569 h 5704395"/>
                <a:gd name="connsiteX7149" fmla="*/ 429103 w 5719680"/>
                <a:gd name="connsiteY7149" fmla="*/ 4027962 h 5704395"/>
                <a:gd name="connsiteX7150" fmla="*/ 482781 w 5719680"/>
                <a:gd name="connsiteY7150" fmla="*/ 4054264 h 5704395"/>
                <a:gd name="connsiteX7151" fmla="*/ 568220 w 5719680"/>
                <a:gd name="connsiteY7151" fmla="*/ 3952860 h 5704395"/>
                <a:gd name="connsiteX7152" fmla="*/ 606970 w 5719680"/>
                <a:gd name="connsiteY7152" fmla="*/ 3905327 h 5704395"/>
                <a:gd name="connsiteX7153" fmla="*/ 582831 w 5719680"/>
                <a:gd name="connsiteY7153" fmla="*/ 3900573 h 5704395"/>
                <a:gd name="connsiteX7154" fmla="*/ 499932 w 5719680"/>
                <a:gd name="connsiteY7154" fmla="*/ 3873638 h 5704395"/>
                <a:gd name="connsiteX7155" fmla="*/ 3245429 w 5719680"/>
                <a:gd name="connsiteY7155" fmla="*/ 3873004 h 5704395"/>
                <a:gd name="connsiteX7156" fmla="*/ 3259404 w 5719680"/>
                <a:gd name="connsiteY7156" fmla="*/ 3918953 h 5704395"/>
                <a:gd name="connsiteX7157" fmla="*/ 3236536 w 5719680"/>
                <a:gd name="connsiteY7157" fmla="*/ 3925924 h 5704395"/>
                <a:gd name="connsiteX7158" fmla="*/ 3235901 w 5719680"/>
                <a:gd name="connsiteY7158" fmla="*/ 3924023 h 5704395"/>
                <a:gd name="connsiteX7159" fmla="*/ 3222243 w 5719680"/>
                <a:gd name="connsiteY7159" fmla="*/ 3880292 h 5704395"/>
                <a:gd name="connsiteX7160" fmla="*/ 1322565 w 5719680"/>
                <a:gd name="connsiteY7160" fmla="*/ 3873004 h 5704395"/>
                <a:gd name="connsiteX7161" fmla="*/ 1338764 w 5719680"/>
                <a:gd name="connsiteY7161" fmla="*/ 3918636 h 5704395"/>
                <a:gd name="connsiteX7162" fmla="*/ 1319389 w 5719680"/>
                <a:gd name="connsiteY7162" fmla="*/ 3935114 h 5704395"/>
                <a:gd name="connsiteX7163" fmla="*/ 1329553 w 5719680"/>
                <a:gd name="connsiteY7163" fmla="*/ 3952860 h 5704395"/>
                <a:gd name="connsiteX7164" fmla="*/ 1307002 w 5719680"/>
                <a:gd name="connsiteY7164" fmla="*/ 4006731 h 5704395"/>
                <a:gd name="connsiteX7165" fmla="*/ 1277781 w 5719680"/>
                <a:gd name="connsiteY7165" fmla="*/ 3982014 h 5704395"/>
                <a:gd name="connsiteX7166" fmla="*/ 1289215 w 5719680"/>
                <a:gd name="connsiteY7166" fmla="*/ 3950008 h 5704395"/>
                <a:gd name="connsiteX7167" fmla="*/ 1297791 w 5719680"/>
                <a:gd name="connsiteY7167" fmla="*/ 3912615 h 5704395"/>
                <a:gd name="connsiteX7168" fmla="*/ 1322565 w 5719680"/>
                <a:gd name="connsiteY7168" fmla="*/ 3873004 h 5704395"/>
                <a:gd name="connsiteX7169" fmla="*/ 3023731 w 5719680"/>
                <a:gd name="connsiteY7169" fmla="*/ 3872370 h 5704395"/>
                <a:gd name="connsiteX7170" fmla="*/ 3016426 w 5719680"/>
                <a:gd name="connsiteY7170" fmla="*/ 3889482 h 5704395"/>
                <a:gd name="connsiteX7171" fmla="*/ 3070421 w 5719680"/>
                <a:gd name="connsiteY7171" fmla="*/ 4047609 h 5704395"/>
                <a:gd name="connsiteX7172" fmla="*/ 3065974 w 5719680"/>
                <a:gd name="connsiteY7172" fmla="*/ 4048877 h 5704395"/>
                <a:gd name="connsiteX7173" fmla="*/ 3013885 w 5719680"/>
                <a:gd name="connsiteY7173" fmla="*/ 3895503 h 5704395"/>
                <a:gd name="connsiteX7174" fmla="*/ 2987840 w 5719680"/>
                <a:gd name="connsiteY7174" fmla="*/ 3955078 h 5704395"/>
                <a:gd name="connsiteX7175" fmla="*/ 3021190 w 5719680"/>
                <a:gd name="connsiteY7175" fmla="*/ 4051095 h 5704395"/>
                <a:gd name="connsiteX7176" fmla="*/ 3087255 w 5719680"/>
                <a:gd name="connsiteY7176" fmla="*/ 4048877 h 5704395"/>
                <a:gd name="connsiteX7177" fmla="*/ 3118382 w 5719680"/>
                <a:gd name="connsiteY7177" fmla="*/ 4039370 h 5704395"/>
                <a:gd name="connsiteX7178" fmla="*/ 3066610 w 5719680"/>
                <a:gd name="connsiteY7178" fmla="*/ 3887581 h 5704395"/>
                <a:gd name="connsiteX7179" fmla="*/ 3023731 w 5719680"/>
                <a:gd name="connsiteY7179" fmla="*/ 3872370 h 5704395"/>
                <a:gd name="connsiteX7180" fmla="*/ 1606199 w 5719680"/>
                <a:gd name="connsiteY7180" fmla="*/ 3870152 h 5704395"/>
                <a:gd name="connsiteX7181" fmla="*/ 1586189 w 5719680"/>
                <a:gd name="connsiteY7181" fmla="*/ 3911031 h 5704395"/>
                <a:gd name="connsiteX7182" fmla="*/ 1610328 w 5719680"/>
                <a:gd name="connsiteY7182" fmla="*/ 3975042 h 5704395"/>
                <a:gd name="connsiteX7183" fmla="*/ 1610963 w 5719680"/>
                <a:gd name="connsiteY7183" fmla="*/ 3985816 h 5704395"/>
                <a:gd name="connsiteX7184" fmla="*/ 1583012 w 5719680"/>
                <a:gd name="connsiteY7184" fmla="*/ 4053947 h 5704395"/>
                <a:gd name="connsiteX7185" fmla="*/ 1591588 w 5719680"/>
                <a:gd name="connsiteY7185" fmla="*/ 4061552 h 5704395"/>
                <a:gd name="connsiteX7186" fmla="*/ 1668770 w 5719680"/>
                <a:gd name="connsiteY7186" fmla="*/ 4069158 h 5704395"/>
                <a:gd name="connsiteX7187" fmla="*/ 1666229 w 5719680"/>
                <a:gd name="connsiteY7187" fmla="*/ 4003245 h 5704395"/>
                <a:gd name="connsiteX7188" fmla="*/ 1643042 w 5719680"/>
                <a:gd name="connsiteY7188" fmla="*/ 3989302 h 5704395"/>
                <a:gd name="connsiteX7189" fmla="*/ 1675757 w 5719680"/>
                <a:gd name="connsiteY7189" fmla="*/ 3951592 h 5704395"/>
                <a:gd name="connsiteX7190" fmla="*/ 1625891 w 5719680"/>
                <a:gd name="connsiteY7190" fmla="*/ 3898355 h 5704395"/>
                <a:gd name="connsiteX7191" fmla="*/ 1687191 w 5719680"/>
                <a:gd name="connsiteY7191" fmla="*/ 3901524 h 5704395"/>
                <a:gd name="connsiteX7192" fmla="*/ 1693861 w 5719680"/>
                <a:gd name="connsiteY7192" fmla="*/ 3875856 h 5704395"/>
                <a:gd name="connsiteX7193" fmla="*/ 1606199 w 5719680"/>
                <a:gd name="connsiteY7193" fmla="*/ 3870152 h 5704395"/>
                <a:gd name="connsiteX7194" fmla="*/ 1603340 w 5719680"/>
                <a:gd name="connsiteY7194" fmla="*/ 3865399 h 5704395"/>
                <a:gd name="connsiteX7195" fmla="*/ 1699579 w 5719680"/>
                <a:gd name="connsiteY7195" fmla="*/ 3871420 h 5704395"/>
                <a:gd name="connsiteX7196" fmla="*/ 1690685 w 5719680"/>
                <a:gd name="connsiteY7196" fmla="*/ 3906594 h 5704395"/>
                <a:gd name="connsiteX7197" fmla="*/ 1637325 w 5719680"/>
                <a:gd name="connsiteY7197" fmla="*/ 3903742 h 5704395"/>
                <a:gd name="connsiteX7198" fmla="*/ 1682110 w 5719680"/>
                <a:gd name="connsiteY7198" fmla="*/ 3951592 h 5704395"/>
                <a:gd name="connsiteX7199" fmla="*/ 1650348 w 5719680"/>
                <a:gd name="connsiteY7199" fmla="*/ 3988034 h 5704395"/>
                <a:gd name="connsiteX7200" fmla="*/ 1670675 w 5719680"/>
                <a:gd name="connsiteY7200" fmla="*/ 4000393 h 5704395"/>
                <a:gd name="connsiteX7201" fmla="*/ 1673534 w 5719680"/>
                <a:gd name="connsiteY7201" fmla="*/ 4074545 h 5704395"/>
                <a:gd name="connsiteX7202" fmla="*/ 1670993 w 5719680"/>
                <a:gd name="connsiteY7202" fmla="*/ 4074228 h 5704395"/>
                <a:gd name="connsiteX7203" fmla="*/ 1589682 w 5719680"/>
                <a:gd name="connsiteY7203" fmla="*/ 4065989 h 5704395"/>
                <a:gd name="connsiteX7204" fmla="*/ 1576025 w 5719680"/>
                <a:gd name="connsiteY7204" fmla="*/ 4054264 h 5704395"/>
                <a:gd name="connsiteX7205" fmla="*/ 1577931 w 5719680"/>
                <a:gd name="connsiteY7205" fmla="*/ 4052680 h 5704395"/>
                <a:gd name="connsiteX7206" fmla="*/ 1591906 w 5719680"/>
                <a:gd name="connsiteY7206" fmla="*/ 4033666 h 5704395"/>
                <a:gd name="connsiteX7207" fmla="*/ 1606199 w 5719680"/>
                <a:gd name="connsiteY7207" fmla="*/ 3985816 h 5704395"/>
                <a:gd name="connsiteX7208" fmla="*/ 1605563 w 5719680"/>
                <a:gd name="connsiteY7208" fmla="*/ 3975676 h 5704395"/>
                <a:gd name="connsiteX7209" fmla="*/ 1591271 w 5719680"/>
                <a:gd name="connsiteY7209" fmla="*/ 3927826 h 5704395"/>
                <a:gd name="connsiteX7210" fmla="*/ 1581742 w 5719680"/>
                <a:gd name="connsiteY7210" fmla="*/ 3912932 h 5704395"/>
                <a:gd name="connsiteX7211" fmla="*/ 1580472 w 5719680"/>
                <a:gd name="connsiteY7211" fmla="*/ 3911981 h 5704395"/>
                <a:gd name="connsiteX7212" fmla="*/ 1603340 w 5719680"/>
                <a:gd name="connsiteY7212" fmla="*/ 3865399 h 5704395"/>
                <a:gd name="connsiteX7213" fmla="*/ 287445 w 5719680"/>
                <a:gd name="connsiteY7213" fmla="*/ 3864131 h 5704395"/>
                <a:gd name="connsiteX7214" fmla="*/ 119107 w 5719680"/>
                <a:gd name="connsiteY7214" fmla="*/ 3921805 h 5704395"/>
                <a:gd name="connsiteX7215" fmla="*/ 129271 w 5719680"/>
                <a:gd name="connsiteY7215" fmla="*/ 3935748 h 5704395"/>
                <a:gd name="connsiteX7216" fmla="*/ 148328 w 5719680"/>
                <a:gd name="connsiteY7216" fmla="*/ 3963317 h 5704395"/>
                <a:gd name="connsiteX7217" fmla="*/ 157222 w 5719680"/>
                <a:gd name="connsiteY7217" fmla="*/ 3960465 h 5704395"/>
                <a:gd name="connsiteX7218" fmla="*/ 141658 w 5719680"/>
                <a:gd name="connsiteY7218" fmla="*/ 3939234 h 5704395"/>
                <a:gd name="connsiteX7219" fmla="*/ 143246 w 5719680"/>
                <a:gd name="connsiteY7219" fmla="*/ 3937966 h 5704395"/>
                <a:gd name="connsiteX7220" fmla="*/ 163574 w 5719680"/>
                <a:gd name="connsiteY7220" fmla="*/ 3923072 h 5704395"/>
                <a:gd name="connsiteX7221" fmla="*/ 172467 w 5719680"/>
                <a:gd name="connsiteY7221" fmla="*/ 3935114 h 5704395"/>
                <a:gd name="connsiteX7222" fmla="*/ 183584 w 5719680"/>
                <a:gd name="connsiteY7222" fmla="*/ 3926875 h 5704395"/>
                <a:gd name="connsiteX7223" fmla="*/ 197877 w 5719680"/>
                <a:gd name="connsiteY7223" fmla="*/ 3946522 h 5704395"/>
                <a:gd name="connsiteX7224" fmla="*/ 315713 w 5719680"/>
                <a:gd name="connsiteY7224" fmla="*/ 3904693 h 5704395"/>
                <a:gd name="connsiteX7225" fmla="*/ 287445 w 5719680"/>
                <a:gd name="connsiteY7225" fmla="*/ 3864131 h 5704395"/>
                <a:gd name="connsiteX7226" fmla="*/ 85440 w 5719680"/>
                <a:gd name="connsiteY7226" fmla="*/ 3863814 h 5704395"/>
                <a:gd name="connsiteX7227" fmla="*/ 75276 w 5719680"/>
                <a:gd name="connsiteY7227" fmla="*/ 3869201 h 5704395"/>
                <a:gd name="connsiteX7228" fmla="*/ 92745 w 5719680"/>
                <a:gd name="connsiteY7228" fmla="*/ 3888532 h 5704395"/>
                <a:gd name="connsiteX7229" fmla="*/ 101321 w 5719680"/>
                <a:gd name="connsiteY7229" fmla="*/ 3885046 h 5704395"/>
                <a:gd name="connsiteX7230" fmla="*/ 85440 w 5719680"/>
                <a:gd name="connsiteY7230" fmla="*/ 3863814 h 5704395"/>
                <a:gd name="connsiteX7231" fmla="*/ 3261628 w 5719680"/>
                <a:gd name="connsiteY7231" fmla="*/ 3862864 h 5704395"/>
                <a:gd name="connsiteX7232" fmla="*/ 3217479 w 5719680"/>
                <a:gd name="connsiteY7232" fmla="*/ 3876807 h 5704395"/>
                <a:gd name="connsiteX7233" fmla="*/ 3256228 w 5719680"/>
                <a:gd name="connsiteY7233" fmla="*/ 3995957 h 5704395"/>
                <a:gd name="connsiteX7234" fmla="*/ 3252099 w 5719680"/>
                <a:gd name="connsiteY7234" fmla="*/ 3997224 h 5704395"/>
                <a:gd name="connsiteX7235" fmla="*/ 3213350 w 5719680"/>
                <a:gd name="connsiteY7235" fmla="*/ 3878391 h 5704395"/>
                <a:gd name="connsiteX7236" fmla="*/ 3181270 w 5719680"/>
                <a:gd name="connsiteY7236" fmla="*/ 3888532 h 5704395"/>
                <a:gd name="connsiteX7237" fmla="*/ 3171424 w 5719680"/>
                <a:gd name="connsiteY7237" fmla="*/ 3891067 h 5704395"/>
                <a:gd name="connsiteX7238" fmla="*/ 3210174 w 5719680"/>
                <a:gd name="connsiteY7238" fmla="*/ 4010533 h 5704395"/>
                <a:gd name="connsiteX7239" fmla="*/ 3206044 w 5719680"/>
                <a:gd name="connsiteY7239" fmla="*/ 4011801 h 5704395"/>
                <a:gd name="connsiteX7240" fmla="*/ 3167295 w 5719680"/>
                <a:gd name="connsiteY7240" fmla="*/ 3892017 h 5704395"/>
                <a:gd name="connsiteX7241" fmla="*/ 3127593 w 5719680"/>
                <a:gd name="connsiteY7241" fmla="*/ 3896137 h 5704395"/>
                <a:gd name="connsiteX7242" fmla="*/ 3125369 w 5719680"/>
                <a:gd name="connsiteY7242" fmla="*/ 3896137 h 5704395"/>
                <a:gd name="connsiteX7243" fmla="*/ 3166978 w 5719680"/>
                <a:gd name="connsiteY7243" fmla="*/ 4024160 h 5704395"/>
                <a:gd name="connsiteX7244" fmla="*/ 3300377 w 5719680"/>
                <a:gd name="connsiteY7244" fmla="*/ 3982330 h 5704395"/>
                <a:gd name="connsiteX7245" fmla="*/ 3261628 w 5719680"/>
                <a:gd name="connsiteY7245" fmla="*/ 3862864 h 5704395"/>
                <a:gd name="connsiteX7246" fmla="*/ 1249513 w 5719680"/>
                <a:gd name="connsiteY7246" fmla="*/ 3860962 h 5704395"/>
                <a:gd name="connsiteX7247" fmla="*/ 1241255 w 5719680"/>
                <a:gd name="connsiteY7247" fmla="*/ 3871420 h 5704395"/>
                <a:gd name="connsiteX7248" fmla="*/ 1274287 w 5719680"/>
                <a:gd name="connsiteY7248" fmla="*/ 3898355 h 5704395"/>
                <a:gd name="connsiteX7249" fmla="*/ 1241890 w 5719680"/>
                <a:gd name="connsiteY7249" fmla="*/ 3938600 h 5704395"/>
                <a:gd name="connsiteX7250" fmla="*/ 1209810 w 5719680"/>
                <a:gd name="connsiteY7250" fmla="*/ 3912615 h 5704395"/>
                <a:gd name="connsiteX7251" fmla="*/ 1207269 w 5719680"/>
                <a:gd name="connsiteY7251" fmla="*/ 3915784 h 5704395"/>
                <a:gd name="connsiteX7252" fmla="*/ 1212351 w 5719680"/>
                <a:gd name="connsiteY7252" fmla="*/ 3920854 h 5704395"/>
                <a:gd name="connsiteX7253" fmla="*/ 1236808 w 5719680"/>
                <a:gd name="connsiteY7253" fmla="*/ 4001344 h 5704395"/>
                <a:gd name="connsiteX7254" fmla="*/ 1255865 w 5719680"/>
                <a:gd name="connsiteY7254" fmla="*/ 3967120 h 5704395"/>
                <a:gd name="connsiteX7255" fmla="*/ 1273652 w 5719680"/>
                <a:gd name="connsiteY7255" fmla="*/ 3908496 h 5704395"/>
                <a:gd name="connsiteX7256" fmla="*/ 1280639 w 5719680"/>
                <a:gd name="connsiteY7256" fmla="*/ 3887898 h 5704395"/>
                <a:gd name="connsiteX7257" fmla="*/ 1249513 w 5719680"/>
                <a:gd name="connsiteY7257" fmla="*/ 3860962 h 5704395"/>
                <a:gd name="connsiteX7258" fmla="*/ 3301330 w 5719680"/>
                <a:gd name="connsiteY7258" fmla="*/ 3859061 h 5704395"/>
                <a:gd name="connsiteX7259" fmla="*/ 3286084 w 5719680"/>
                <a:gd name="connsiteY7259" fmla="*/ 3863497 h 5704395"/>
                <a:gd name="connsiteX7260" fmla="*/ 3297836 w 5719680"/>
                <a:gd name="connsiteY7260" fmla="*/ 3901524 h 5704395"/>
                <a:gd name="connsiteX7261" fmla="*/ 3313082 w 5719680"/>
                <a:gd name="connsiteY7261" fmla="*/ 3896771 h 5704395"/>
                <a:gd name="connsiteX7262" fmla="*/ 3301330 w 5719680"/>
                <a:gd name="connsiteY7262" fmla="*/ 3859061 h 5704395"/>
                <a:gd name="connsiteX7263" fmla="*/ 1777078 w 5719680"/>
                <a:gd name="connsiteY7263" fmla="*/ 3858427 h 5704395"/>
                <a:gd name="connsiteX7264" fmla="*/ 1774537 w 5719680"/>
                <a:gd name="connsiteY7264" fmla="*/ 3874905 h 5704395"/>
                <a:gd name="connsiteX7265" fmla="*/ 1771043 w 5719680"/>
                <a:gd name="connsiteY7265" fmla="*/ 3874272 h 5704395"/>
                <a:gd name="connsiteX7266" fmla="*/ 1766596 w 5719680"/>
                <a:gd name="connsiteY7266" fmla="*/ 3902792 h 5704395"/>
                <a:gd name="connsiteX7267" fmla="*/ 1796770 w 5719680"/>
                <a:gd name="connsiteY7267" fmla="*/ 3906911 h 5704395"/>
                <a:gd name="connsiteX7268" fmla="*/ 1799946 w 5719680"/>
                <a:gd name="connsiteY7268" fmla="*/ 3889165 h 5704395"/>
                <a:gd name="connsiteX7269" fmla="*/ 1822815 w 5719680"/>
                <a:gd name="connsiteY7269" fmla="*/ 3892651 h 5704395"/>
                <a:gd name="connsiteX7270" fmla="*/ 1826944 w 5719680"/>
                <a:gd name="connsiteY7270" fmla="*/ 3866666 h 5704395"/>
                <a:gd name="connsiteX7271" fmla="*/ 1777078 w 5719680"/>
                <a:gd name="connsiteY7271" fmla="*/ 3858427 h 5704395"/>
                <a:gd name="connsiteX7272" fmla="*/ 3304189 w 5719680"/>
                <a:gd name="connsiteY7272" fmla="*/ 3853674 h 5704395"/>
                <a:gd name="connsiteX7273" fmla="*/ 3318164 w 5719680"/>
                <a:gd name="connsiteY7273" fmla="*/ 3899623 h 5704395"/>
                <a:gd name="connsiteX7274" fmla="*/ 3295296 w 5719680"/>
                <a:gd name="connsiteY7274" fmla="*/ 3906594 h 5704395"/>
                <a:gd name="connsiteX7275" fmla="*/ 3294660 w 5719680"/>
                <a:gd name="connsiteY7275" fmla="*/ 3904693 h 5704395"/>
                <a:gd name="connsiteX7276" fmla="*/ 3281002 w 5719680"/>
                <a:gd name="connsiteY7276" fmla="*/ 3860645 h 5704395"/>
                <a:gd name="connsiteX7277" fmla="*/ 3304189 w 5719680"/>
                <a:gd name="connsiteY7277" fmla="*/ 3853674 h 5704395"/>
                <a:gd name="connsiteX7278" fmla="*/ 1907937 w 5719680"/>
                <a:gd name="connsiteY7278" fmla="*/ 3853674 h 5704395"/>
                <a:gd name="connsiteX7279" fmla="*/ 1899996 w 5719680"/>
                <a:gd name="connsiteY7279" fmla="*/ 3917685 h 5704395"/>
                <a:gd name="connsiteX7280" fmla="*/ 1910795 w 5719680"/>
                <a:gd name="connsiteY7280" fmla="*/ 3918319 h 5704395"/>
                <a:gd name="connsiteX7281" fmla="*/ 1915559 w 5719680"/>
                <a:gd name="connsiteY7281" fmla="*/ 3872370 h 5704395"/>
                <a:gd name="connsiteX7282" fmla="*/ 1966061 w 5719680"/>
                <a:gd name="connsiteY7282" fmla="*/ 3877440 h 5704395"/>
                <a:gd name="connsiteX7283" fmla="*/ 1965743 w 5719680"/>
                <a:gd name="connsiteY7283" fmla="*/ 3879659 h 5704395"/>
                <a:gd name="connsiteX7284" fmla="*/ 1961614 w 5719680"/>
                <a:gd name="connsiteY7284" fmla="*/ 3922439 h 5704395"/>
                <a:gd name="connsiteX7285" fmla="*/ 2075322 w 5719680"/>
                <a:gd name="connsiteY7285" fmla="*/ 3930995 h 5704395"/>
                <a:gd name="connsiteX7286" fmla="*/ 2081992 w 5719680"/>
                <a:gd name="connsiteY7286" fmla="*/ 3866666 h 5704395"/>
                <a:gd name="connsiteX7287" fmla="*/ 1907937 w 5719680"/>
                <a:gd name="connsiteY7287" fmla="*/ 3853674 h 5704395"/>
                <a:gd name="connsiteX7288" fmla="*/ 1773584 w 5719680"/>
                <a:gd name="connsiteY7288" fmla="*/ 3853674 h 5704395"/>
                <a:gd name="connsiteX7289" fmla="*/ 1831708 w 5719680"/>
                <a:gd name="connsiteY7289" fmla="*/ 3863181 h 5704395"/>
                <a:gd name="connsiteX7290" fmla="*/ 1826308 w 5719680"/>
                <a:gd name="connsiteY7290" fmla="*/ 3897404 h 5704395"/>
                <a:gd name="connsiteX7291" fmla="*/ 1803440 w 5719680"/>
                <a:gd name="connsiteY7291" fmla="*/ 3893919 h 5704395"/>
                <a:gd name="connsiteX7292" fmla="*/ 1800264 w 5719680"/>
                <a:gd name="connsiteY7292" fmla="*/ 3911664 h 5704395"/>
                <a:gd name="connsiteX7293" fmla="*/ 1798358 w 5719680"/>
                <a:gd name="connsiteY7293" fmla="*/ 3911348 h 5704395"/>
                <a:gd name="connsiteX7294" fmla="*/ 1761832 w 5719680"/>
                <a:gd name="connsiteY7294" fmla="*/ 3906277 h 5704395"/>
                <a:gd name="connsiteX7295" fmla="*/ 1767867 w 5719680"/>
                <a:gd name="connsiteY7295" fmla="*/ 3869518 h 5704395"/>
                <a:gd name="connsiteX7296" fmla="*/ 1771043 w 5719680"/>
                <a:gd name="connsiteY7296" fmla="*/ 3870152 h 5704395"/>
                <a:gd name="connsiteX7297" fmla="*/ 106403 w 5719680"/>
                <a:gd name="connsiteY7297" fmla="*/ 3853040 h 5704395"/>
                <a:gd name="connsiteX7298" fmla="*/ 102274 w 5719680"/>
                <a:gd name="connsiteY7298" fmla="*/ 3855258 h 5704395"/>
                <a:gd name="connsiteX7299" fmla="*/ 90839 w 5719680"/>
                <a:gd name="connsiteY7299" fmla="*/ 3863814 h 5704395"/>
                <a:gd name="connsiteX7300" fmla="*/ 105450 w 5719680"/>
                <a:gd name="connsiteY7300" fmla="*/ 3883461 h 5704395"/>
                <a:gd name="connsiteX7301" fmla="*/ 136894 w 5719680"/>
                <a:gd name="connsiteY7301" fmla="*/ 3871103 h 5704395"/>
                <a:gd name="connsiteX7302" fmla="*/ 125777 w 5719680"/>
                <a:gd name="connsiteY7302" fmla="*/ 3856209 h 5704395"/>
                <a:gd name="connsiteX7303" fmla="*/ 114978 w 5719680"/>
                <a:gd name="connsiteY7303" fmla="*/ 3864448 h 5704395"/>
                <a:gd name="connsiteX7304" fmla="*/ 1325741 w 5719680"/>
                <a:gd name="connsiteY7304" fmla="*/ 3852089 h 5704395"/>
                <a:gd name="connsiteX7305" fmla="*/ 1324788 w 5719680"/>
                <a:gd name="connsiteY7305" fmla="*/ 3853040 h 5704395"/>
                <a:gd name="connsiteX7306" fmla="*/ 1306366 w 5719680"/>
                <a:gd name="connsiteY7306" fmla="*/ 3872053 h 5704395"/>
                <a:gd name="connsiteX7307" fmla="*/ 1286992 w 5719680"/>
                <a:gd name="connsiteY7307" fmla="*/ 3913249 h 5704395"/>
                <a:gd name="connsiteX7308" fmla="*/ 1269205 w 5719680"/>
                <a:gd name="connsiteY7308" fmla="*/ 3971873 h 5704395"/>
                <a:gd name="connsiteX7309" fmla="*/ 1265711 w 5719680"/>
                <a:gd name="connsiteY7309" fmla="*/ 3981697 h 5704395"/>
                <a:gd name="connsiteX7310" fmla="*/ 1325424 w 5719680"/>
                <a:gd name="connsiteY7310" fmla="*/ 4035884 h 5704395"/>
                <a:gd name="connsiteX7311" fmla="*/ 1342893 w 5719680"/>
                <a:gd name="connsiteY7311" fmla="*/ 4051095 h 5704395"/>
                <a:gd name="connsiteX7312" fmla="*/ 1348292 w 5719680"/>
                <a:gd name="connsiteY7312" fmla="*/ 4055531 h 5704395"/>
                <a:gd name="connsiteX7313" fmla="*/ 1349880 w 5719680"/>
                <a:gd name="connsiteY7313" fmla="*/ 4056799 h 5704395"/>
                <a:gd name="connsiteX7314" fmla="*/ 1350198 w 5719680"/>
                <a:gd name="connsiteY7314" fmla="*/ 4057116 h 5704395"/>
                <a:gd name="connsiteX7315" fmla="*/ 1350833 w 5719680"/>
                <a:gd name="connsiteY7315" fmla="*/ 4057433 h 5704395"/>
                <a:gd name="connsiteX7316" fmla="*/ 1351468 w 5719680"/>
                <a:gd name="connsiteY7316" fmla="*/ 4058383 h 5704395"/>
                <a:gd name="connsiteX7317" fmla="*/ 1351468 w 5719680"/>
                <a:gd name="connsiteY7317" fmla="*/ 4058700 h 5704395"/>
                <a:gd name="connsiteX7318" fmla="*/ 1351786 w 5719680"/>
                <a:gd name="connsiteY7318" fmla="*/ 4059017 h 5704395"/>
                <a:gd name="connsiteX7319" fmla="*/ 1361315 w 5719680"/>
                <a:gd name="connsiteY7319" fmla="*/ 4071376 h 5704395"/>
                <a:gd name="connsiteX7320" fmla="*/ 1370525 w 5719680"/>
                <a:gd name="connsiteY7320" fmla="*/ 4096410 h 5704395"/>
                <a:gd name="connsiteX7321" fmla="*/ 1395300 w 5719680"/>
                <a:gd name="connsiteY7321" fmla="*/ 4103382 h 5704395"/>
                <a:gd name="connsiteX7322" fmla="*/ 1394982 w 5719680"/>
                <a:gd name="connsiteY7322" fmla="*/ 4094509 h 5704395"/>
                <a:gd name="connsiteX7323" fmla="*/ 1395935 w 5719680"/>
                <a:gd name="connsiteY7323" fmla="*/ 4035568 h 5704395"/>
                <a:gd name="connsiteX7324" fmla="*/ 1362267 w 5719680"/>
                <a:gd name="connsiteY7324" fmla="*/ 4006097 h 5704395"/>
                <a:gd name="connsiteX7325" fmla="*/ 1366079 w 5719680"/>
                <a:gd name="connsiteY7325" fmla="*/ 3985499 h 5704395"/>
                <a:gd name="connsiteX7326" fmla="*/ 1336858 w 5719680"/>
                <a:gd name="connsiteY7326" fmla="*/ 3934480 h 5704395"/>
                <a:gd name="connsiteX7327" fmla="*/ 1354962 w 5719680"/>
                <a:gd name="connsiteY7327" fmla="*/ 3921171 h 5704395"/>
                <a:gd name="connsiteX7328" fmla="*/ 1325741 w 5719680"/>
                <a:gd name="connsiteY7328" fmla="*/ 3852089 h 5704395"/>
                <a:gd name="connsiteX7329" fmla="*/ 462453 w 5719680"/>
                <a:gd name="connsiteY7329" fmla="*/ 3850505 h 5704395"/>
                <a:gd name="connsiteX7330" fmla="*/ 369709 w 5719680"/>
                <a:gd name="connsiteY7330" fmla="*/ 3943987 h 5704395"/>
                <a:gd name="connsiteX7331" fmla="*/ 399565 w 5719680"/>
                <a:gd name="connsiteY7331" fmla="*/ 3986133 h 5704395"/>
                <a:gd name="connsiteX7332" fmla="*/ 489451 w 5719680"/>
                <a:gd name="connsiteY7332" fmla="*/ 3958881 h 5704395"/>
                <a:gd name="connsiteX7333" fmla="*/ 494850 w 5719680"/>
                <a:gd name="connsiteY7333" fmla="*/ 3871103 h 5704395"/>
                <a:gd name="connsiteX7334" fmla="*/ 476746 w 5719680"/>
                <a:gd name="connsiteY7334" fmla="*/ 3860962 h 5704395"/>
                <a:gd name="connsiteX7335" fmla="*/ 462453 w 5719680"/>
                <a:gd name="connsiteY7335" fmla="*/ 3850505 h 5704395"/>
                <a:gd name="connsiteX7336" fmla="*/ 3334362 w 5719680"/>
                <a:gd name="connsiteY7336" fmla="*/ 3848604 h 5704395"/>
                <a:gd name="connsiteX7337" fmla="*/ 3319434 w 5719680"/>
                <a:gd name="connsiteY7337" fmla="*/ 3853357 h 5704395"/>
                <a:gd name="connsiteX7338" fmla="*/ 3331186 w 5719680"/>
                <a:gd name="connsiteY7338" fmla="*/ 3891067 h 5704395"/>
                <a:gd name="connsiteX7339" fmla="*/ 3346114 w 5719680"/>
                <a:gd name="connsiteY7339" fmla="*/ 3886630 h 5704395"/>
                <a:gd name="connsiteX7340" fmla="*/ 3334362 w 5719680"/>
                <a:gd name="connsiteY7340" fmla="*/ 3848604 h 5704395"/>
                <a:gd name="connsiteX7341" fmla="*/ 3306412 w 5719680"/>
                <a:gd name="connsiteY7341" fmla="*/ 3848287 h 5704395"/>
                <a:gd name="connsiteX7342" fmla="*/ 3266074 w 5719680"/>
                <a:gd name="connsiteY7342" fmla="*/ 3861596 h 5704395"/>
                <a:gd name="connsiteX7343" fmla="*/ 3304824 w 5719680"/>
                <a:gd name="connsiteY7343" fmla="*/ 3981063 h 5704395"/>
                <a:gd name="connsiteX7344" fmla="*/ 3345479 w 5719680"/>
                <a:gd name="connsiteY7344" fmla="*/ 3968387 h 5704395"/>
                <a:gd name="connsiteX7345" fmla="*/ 3306412 w 5719680"/>
                <a:gd name="connsiteY7345" fmla="*/ 3848287 h 5704395"/>
                <a:gd name="connsiteX7346" fmla="*/ 3337221 w 5719680"/>
                <a:gd name="connsiteY7346" fmla="*/ 3843533 h 5704395"/>
                <a:gd name="connsiteX7347" fmla="*/ 3351196 w 5719680"/>
                <a:gd name="connsiteY7347" fmla="*/ 3889165 h 5704395"/>
                <a:gd name="connsiteX7348" fmla="*/ 3328328 w 5719680"/>
                <a:gd name="connsiteY7348" fmla="*/ 3896454 h 5704395"/>
                <a:gd name="connsiteX7349" fmla="*/ 3327692 w 5719680"/>
                <a:gd name="connsiteY7349" fmla="*/ 3894236 h 5704395"/>
                <a:gd name="connsiteX7350" fmla="*/ 3314035 w 5719680"/>
                <a:gd name="connsiteY7350" fmla="*/ 3850505 h 5704395"/>
                <a:gd name="connsiteX7351" fmla="*/ 3337221 w 5719680"/>
                <a:gd name="connsiteY7351" fmla="*/ 3843533 h 5704395"/>
                <a:gd name="connsiteX7352" fmla="*/ 4504152 w 5719680"/>
                <a:gd name="connsiteY7352" fmla="*/ 3839731 h 5704395"/>
                <a:gd name="connsiteX7353" fmla="*/ 3725986 w 5719680"/>
                <a:gd name="connsiteY7353" fmla="*/ 4056799 h 5704395"/>
                <a:gd name="connsiteX7354" fmla="*/ 3783793 w 5719680"/>
                <a:gd name="connsiteY7354" fmla="*/ 4116057 h 5704395"/>
                <a:gd name="connsiteX7355" fmla="*/ 3826672 w 5719680"/>
                <a:gd name="connsiteY7355" fmla="*/ 4157253 h 5704395"/>
                <a:gd name="connsiteX7356" fmla="*/ 3926722 w 5719680"/>
                <a:gd name="connsiteY7356" fmla="*/ 4219046 h 5704395"/>
                <a:gd name="connsiteX7357" fmla="*/ 4052499 w 5719680"/>
                <a:gd name="connsiteY7357" fmla="*/ 4292247 h 5704395"/>
                <a:gd name="connsiteX7358" fmla="*/ 4085214 w 5719680"/>
                <a:gd name="connsiteY7358" fmla="*/ 4329006 h 5704395"/>
                <a:gd name="connsiteX7359" fmla="*/ 4082990 w 5719680"/>
                <a:gd name="connsiteY7359" fmla="*/ 4339146 h 5704395"/>
                <a:gd name="connsiteX7360" fmla="*/ 4060757 w 5719680"/>
                <a:gd name="connsiteY7360" fmla="*/ 4403475 h 5704395"/>
                <a:gd name="connsiteX7361" fmla="*/ 4002315 w 5719680"/>
                <a:gd name="connsiteY7361" fmla="*/ 4492520 h 5704395"/>
                <a:gd name="connsiteX7362" fmla="*/ 4020102 w 5719680"/>
                <a:gd name="connsiteY7362" fmla="*/ 4573010 h 5704395"/>
                <a:gd name="connsiteX7363" fmla="*/ 4004856 w 5719680"/>
                <a:gd name="connsiteY7363" fmla="*/ 4570158 h 5704395"/>
                <a:gd name="connsiteX7364" fmla="*/ 3902265 w 5719680"/>
                <a:gd name="connsiteY7364" fmla="*/ 4551778 h 5704395"/>
                <a:gd name="connsiteX7365" fmla="*/ 3751714 w 5719680"/>
                <a:gd name="connsiteY7365" fmla="*/ 4525793 h 5704395"/>
                <a:gd name="connsiteX7366" fmla="*/ 3743773 w 5719680"/>
                <a:gd name="connsiteY7366" fmla="*/ 4525159 h 5704395"/>
                <a:gd name="connsiteX7367" fmla="*/ 3718364 w 5719680"/>
                <a:gd name="connsiteY7367" fmla="*/ 4534666 h 5704395"/>
                <a:gd name="connsiteX7368" fmla="*/ 3699306 w 5719680"/>
                <a:gd name="connsiteY7368" fmla="*/ 4571108 h 5704395"/>
                <a:gd name="connsiteX7369" fmla="*/ 3696130 w 5719680"/>
                <a:gd name="connsiteY7369" fmla="*/ 4587586 h 5704395"/>
                <a:gd name="connsiteX7370" fmla="*/ 3695495 w 5719680"/>
                <a:gd name="connsiteY7370" fmla="*/ 4593607 h 5704395"/>
                <a:gd name="connsiteX7371" fmla="*/ 3702165 w 5719680"/>
                <a:gd name="connsiteY7371" fmla="*/ 4711490 h 5704395"/>
                <a:gd name="connsiteX7372" fmla="*/ 3776170 w 5719680"/>
                <a:gd name="connsiteY7372" fmla="*/ 4815112 h 5704395"/>
                <a:gd name="connsiteX7373" fmla="*/ 3760925 w 5719680"/>
                <a:gd name="connsiteY7373" fmla="*/ 4874687 h 5704395"/>
                <a:gd name="connsiteX7374" fmla="*/ 3630701 w 5719680"/>
                <a:gd name="connsiteY7374" fmla="*/ 5124078 h 5704395"/>
                <a:gd name="connsiteX7375" fmla="*/ 3732021 w 5719680"/>
                <a:gd name="connsiteY7375" fmla="*/ 5244812 h 5704395"/>
                <a:gd name="connsiteX7376" fmla="*/ 3748220 w 5719680"/>
                <a:gd name="connsiteY7376" fmla="*/ 5282522 h 5704395"/>
                <a:gd name="connsiteX7377" fmla="*/ 3816190 w 5719680"/>
                <a:gd name="connsiteY7377" fmla="*/ 5256220 h 5704395"/>
                <a:gd name="connsiteX7378" fmla="*/ 3915605 w 5719680"/>
                <a:gd name="connsiteY7378" fmla="*/ 5214708 h 5704395"/>
                <a:gd name="connsiteX7379" fmla="*/ 3949272 w 5719680"/>
                <a:gd name="connsiteY7379" fmla="*/ 5194110 h 5704395"/>
                <a:gd name="connsiteX7380" fmla="*/ 3955942 w 5719680"/>
                <a:gd name="connsiteY7380" fmla="*/ 5164322 h 5704395"/>
                <a:gd name="connsiteX7381" fmla="*/ 3955942 w 5719680"/>
                <a:gd name="connsiteY7381" fmla="*/ 5156083 h 5704395"/>
                <a:gd name="connsiteX7382" fmla="*/ 3955942 w 5719680"/>
                <a:gd name="connsiteY7382" fmla="*/ 5153865 h 5704395"/>
                <a:gd name="connsiteX7383" fmla="*/ 3982622 w 5719680"/>
                <a:gd name="connsiteY7383" fmla="*/ 5103163 h 5704395"/>
                <a:gd name="connsiteX7384" fmla="*/ 4008667 w 5719680"/>
                <a:gd name="connsiteY7384" fmla="*/ 5091438 h 5704395"/>
                <a:gd name="connsiteX7385" fmla="*/ 4009620 w 5719680"/>
                <a:gd name="connsiteY7385" fmla="*/ 5091438 h 5704395"/>
                <a:gd name="connsiteX7386" fmla="*/ 4329462 w 5719680"/>
                <a:gd name="connsiteY7386" fmla="*/ 5080664 h 5704395"/>
                <a:gd name="connsiteX7387" fmla="*/ 4324698 w 5719680"/>
                <a:gd name="connsiteY7387" fmla="*/ 5013167 h 5704395"/>
                <a:gd name="connsiteX7388" fmla="*/ 4342167 w 5719680"/>
                <a:gd name="connsiteY7388" fmla="*/ 4824619 h 5704395"/>
                <a:gd name="connsiteX7389" fmla="*/ 4504152 w 5719680"/>
                <a:gd name="connsiteY7389" fmla="*/ 3839731 h 5704395"/>
                <a:gd name="connsiteX7390" fmla="*/ 1588412 w 5719680"/>
                <a:gd name="connsiteY7390" fmla="*/ 3839414 h 5704395"/>
                <a:gd name="connsiteX7391" fmla="*/ 1570943 w 5719680"/>
                <a:gd name="connsiteY7391" fmla="*/ 3864448 h 5704395"/>
                <a:gd name="connsiteX7392" fmla="*/ 1560144 w 5719680"/>
                <a:gd name="connsiteY7392" fmla="*/ 3897721 h 5704395"/>
                <a:gd name="connsiteX7393" fmla="*/ 1570943 w 5719680"/>
                <a:gd name="connsiteY7393" fmla="*/ 3949374 h 5704395"/>
                <a:gd name="connsiteX7394" fmla="*/ 1576978 w 5719680"/>
                <a:gd name="connsiteY7394" fmla="*/ 3988985 h 5704395"/>
                <a:gd name="connsiteX7395" fmla="*/ 1547439 w 5719680"/>
                <a:gd name="connsiteY7395" fmla="*/ 4061552 h 5704395"/>
                <a:gd name="connsiteX7396" fmla="*/ 1558873 w 5719680"/>
                <a:gd name="connsiteY7396" fmla="*/ 4074862 h 5704395"/>
                <a:gd name="connsiteX7397" fmla="*/ 1697355 w 5719680"/>
                <a:gd name="connsiteY7397" fmla="*/ 4094826 h 5704395"/>
                <a:gd name="connsiteX7398" fmla="*/ 1700531 w 5719680"/>
                <a:gd name="connsiteY7398" fmla="*/ 4095459 h 5704395"/>
                <a:gd name="connsiteX7399" fmla="*/ 1690685 w 5719680"/>
                <a:gd name="connsiteY7399" fmla="*/ 4000076 h 5704395"/>
                <a:gd name="connsiteX7400" fmla="*/ 1721494 w 5719680"/>
                <a:gd name="connsiteY7400" fmla="*/ 3848287 h 5704395"/>
                <a:gd name="connsiteX7401" fmla="*/ 1588412 w 5719680"/>
                <a:gd name="connsiteY7401" fmla="*/ 3839414 h 5704395"/>
                <a:gd name="connsiteX7402" fmla="*/ 1208540 w 5719680"/>
                <a:gd name="connsiteY7402" fmla="*/ 3838780 h 5704395"/>
                <a:gd name="connsiteX7403" fmla="*/ 1186307 w 5719680"/>
                <a:gd name="connsiteY7403" fmla="*/ 3867300 h 5704395"/>
                <a:gd name="connsiteX7404" fmla="*/ 1185989 w 5719680"/>
                <a:gd name="connsiteY7404" fmla="*/ 3868568 h 5704395"/>
                <a:gd name="connsiteX7405" fmla="*/ 1183130 w 5719680"/>
                <a:gd name="connsiteY7405" fmla="*/ 3873638 h 5704395"/>
                <a:gd name="connsiteX7406" fmla="*/ 1213304 w 5719680"/>
                <a:gd name="connsiteY7406" fmla="*/ 3898989 h 5704395"/>
                <a:gd name="connsiteX7407" fmla="*/ 1234585 w 5719680"/>
                <a:gd name="connsiteY7407" fmla="*/ 3871737 h 5704395"/>
                <a:gd name="connsiteX7408" fmla="*/ 1233632 w 5719680"/>
                <a:gd name="connsiteY7408" fmla="*/ 3871103 h 5704395"/>
                <a:gd name="connsiteX7409" fmla="*/ 1235855 w 5719680"/>
                <a:gd name="connsiteY7409" fmla="*/ 3867617 h 5704395"/>
                <a:gd name="connsiteX7410" fmla="*/ 1238396 w 5719680"/>
                <a:gd name="connsiteY7410" fmla="*/ 3864131 h 5704395"/>
                <a:gd name="connsiteX7411" fmla="*/ 1208540 w 5719680"/>
                <a:gd name="connsiteY7411" fmla="*/ 3838780 h 5704395"/>
                <a:gd name="connsiteX7412" fmla="*/ 1149463 w 5719680"/>
                <a:gd name="connsiteY7412" fmla="*/ 3838780 h 5704395"/>
                <a:gd name="connsiteX7413" fmla="*/ 1141840 w 5719680"/>
                <a:gd name="connsiteY7413" fmla="*/ 3847970 h 5704395"/>
                <a:gd name="connsiteX7414" fmla="*/ 1148192 w 5719680"/>
                <a:gd name="connsiteY7414" fmla="*/ 3856209 h 5704395"/>
                <a:gd name="connsiteX7415" fmla="*/ 1171061 w 5719680"/>
                <a:gd name="connsiteY7415" fmla="*/ 3879025 h 5704395"/>
                <a:gd name="connsiteX7416" fmla="*/ 1180907 w 5719680"/>
                <a:gd name="connsiteY7416" fmla="*/ 3866033 h 5704395"/>
                <a:gd name="connsiteX7417" fmla="*/ 1180589 w 5719680"/>
                <a:gd name="connsiteY7417" fmla="*/ 3866033 h 5704395"/>
                <a:gd name="connsiteX7418" fmla="*/ 1180907 w 5719680"/>
                <a:gd name="connsiteY7418" fmla="*/ 3865716 h 5704395"/>
                <a:gd name="connsiteX7419" fmla="*/ 1149463 w 5719680"/>
                <a:gd name="connsiteY7419" fmla="*/ 3838780 h 5704395"/>
                <a:gd name="connsiteX7420" fmla="*/ 1345434 w 5719680"/>
                <a:gd name="connsiteY7420" fmla="*/ 3835294 h 5704395"/>
                <a:gd name="connsiteX7421" fmla="*/ 1344163 w 5719680"/>
                <a:gd name="connsiteY7421" fmla="*/ 3836245 h 5704395"/>
                <a:gd name="connsiteX7422" fmla="*/ 1329870 w 5719680"/>
                <a:gd name="connsiteY7422" fmla="*/ 3848604 h 5704395"/>
                <a:gd name="connsiteX7423" fmla="*/ 1361315 w 5719680"/>
                <a:gd name="connsiteY7423" fmla="*/ 3923072 h 5704395"/>
                <a:gd name="connsiteX7424" fmla="*/ 1343528 w 5719680"/>
                <a:gd name="connsiteY7424" fmla="*/ 3935748 h 5704395"/>
                <a:gd name="connsiteX7425" fmla="*/ 1371478 w 5719680"/>
                <a:gd name="connsiteY7425" fmla="*/ 3984549 h 5704395"/>
                <a:gd name="connsiteX7426" fmla="*/ 1367985 w 5719680"/>
                <a:gd name="connsiteY7426" fmla="*/ 4003879 h 5704395"/>
                <a:gd name="connsiteX7427" fmla="*/ 1401334 w 5719680"/>
                <a:gd name="connsiteY7427" fmla="*/ 4033032 h 5704395"/>
                <a:gd name="connsiteX7428" fmla="*/ 1401334 w 5719680"/>
                <a:gd name="connsiteY7428" fmla="*/ 4034300 h 5704395"/>
                <a:gd name="connsiteX7429" fmla="*/ 1400382 w 5719680"/>
                <a:gd name="connsiteY7429" fmla="*/ 4094509 h 5704395"/>
                <a:gd name="connsiteX7430" fmla="*/ 1400382 w 5719680"/>
                <a:gd name="connsiteY7430" fmla="*/ 4104015 h 5704395"/>
                <a:gd name="connsiteX7431" fmla="*/ 1400382 w 5719680"/>
                <a:gd name="connsiteY7431" fmla="*/ 4104966 h 5704395"/>
                <a:gd name="connsiteX7432" fmla="*/ 1476293 w 5719680"/>
                <a:gd name="connsiteY7432" fmla="*/ 4126831 h 5704395"/>
                <a:gd name="connsiteX7433" fmla="*/ 1476293 w 5719680"/>
                <a:gd name="connsiteY7433" fmla="*/ 4126514 h 5704395"/>
                <a:gd name="connsiteX7434" fmla="*/ 1477563 w 5719680"/>
                <a:gd name="connsiteY7434" fmla="*/ 4126831 h 5704395"/>
                <a:gd name="connsiteX7435" fmla="*/ 1521077 w 5719680"/>
                <a:gd name="connsiteY7435" fmla="*/ 4061552 h 5704395"/>
                <a:gd name="connsiteX7436" fmla="*/ 1491856 w 5719680"/>
                <a:gd name="connsiteY7436" fmla="*/ 4023526 h 5704395"/>
                <a:gd name="connsiteX7437" fmla="*/ 1394029 w 5719680"/>
                <a:gd name="connsiteY7437" fmla="*/ 3897404 h 5704395"/>
                <a:gd name="connsiteX7438" fmla="*/ 1345434 w 5719680"/>
                <a:gd name="connsiteY7438" fmla="*/ 3835294 h 5704395"/>
                <a:gd name="connsiteX7439" fmla="*/ 403694 w 5719680"/>
                <a:gd name="connsiteY7439" fmla="*/ 3834661 h 5704395"/>
                <a:gd name="connsiteX7440" fmla="*/ 355098 w 5719680"/>
                <a:gd name="connsiteY7440" fmla="*/ 3844167 h 5704395"/>
                <a:gd name="connsiteX7441" fmla="*/ 371932 w 5719680"/>
                <a:gd name="connsiteY7441" fmla="*/ 3866033 h 5704395"/>
                <a:gd name="connsiteX7442" fmla="*/ 403694 w 5719680"/>
                <a:gd name="connsiteY7442" fmla="*/ 3834661 h 5704395"/>
                <a:gd name="connsiteX7443" fmla="*/ 3352467 w 5719680"/>
                <a:gd name="connsiteY7443" fmla="*/ 3833393 h 5704395"/>
                <a:gd name="connsiteX7444" fmla="*/ 3310541 w 5719680"/>
                <a:gd name="connsiteY7444" fmla="*/ 3847019 h 5704395"/>
                <a:gd name="connsiteX7445" fmla="*/ 3349608 w 5719680"/>
                <a:gd name="connsiteY7445" fmla="*/ 3967120 h 5704395"/>
                <a:gd name="connsiteX7446" fmla="*/ 3391216 w 5719680"/>
                <a:gd name="connsiteY7446" fmla="*/ 3953810 h 5704395"/>
                <a:gd name="connsiteX7447" fmla="*/ 3352467 w 5719680"/>
                <a:gd name="connsiteY7447" fmla="*/ 3833393 h 5704395"/>
                <a:gd name="connsiteX7448" fmla="*/ 1729117 w 5719680"/>
                <a:gd name="connsiteY7448" fmla="*/ 3832126 h 5704395"/>
                <a:gd name="connsiteX7449" fmla="*/ 1713871 w 5719680"/>
                <a:gd name="connsiteY7449" fmla="*/ 3907228 h 5704395"/>
                <a:gd name="connsiteX7450" fmla="*/ 1779301 w 5719680"/>
                <a:gd name="connsiteY7450" fmla="*/ 3919587 h 5704395"/>
                <a:gd name="connsiteX7451" fmla="*/ 1842507 w 5719680"/>
                <a:gd name="connsiteY7451" fmla="*/ 3931628 h 5704395"/>
                <a:gd name="connsiteX7452" fmla="*/ 1850765 w 5719680"/>
                <a:gd name="connsiteY7452" fmla="*/ 3857477 h 5704395"/>
                <a:gd name="connsiteX7453" fmla="*/ 1793594 w 5719680"/>
                <a:gd name="connsiteY7453" fmla="*/ 3846385 h 5704395"/>
                <a:gd name="connsiteX7454" fmla="*/ 1729435 w 5719680"/>
                <a:gd name="connsiteY7454" fmla="*/ 3834661 h 5704395"/>
                <a:gd name="connsiteX7455" fmla="*/ 1729435 w 5719680"/>
                <a:gd name="connsiteY7455" fmla="*/ 3833710 h 5704395"/>
                <a:gd name="connsiteX7456" fmla="*/ 1729435 w 5719680"/>
                <a:gd name="connsiteY7456" fmla="*/ 3832759 h 5704395"/>
                <a:gd name="connsiteX7457" fmla="*/ 1729117 w 5719680"/>
                <a:gd name="connsiteY7457" fmla="*/ 3832126 h 5704395"/>
                <a:gd name="connsiteX7458" fmla="*/ 3394392 w 5719680"/>
                <a:gd name="connsiteY7458" fmla="*/ 3828006 h 5704395"/>
                <a:gd name="connsiteX7459" fmla="*/ 3379147 w 5719680"/>
                <a:gd name="connsiteY7459" fmla="*/ 3832759 h 5704395"/>
                <a:gd name="connsiteX7460" fmla="*/ 3390899 w 5719680"/>
                <a:gd name="connsiteY7460" fmla="*/ 3870469 h 5704395"/>
                <a:gd name="connsiteX7461" fmla="*/ 3406144 w 5719680"/>
                <a:gd name="connsiteY7461" fmla="*/ 3866033 h 5704395"/>
                <a:gd name="connsiteX7462" fmla="*/ 3394392 w 5719680"/>
                <a:gd name="connsiteY7462" fmla="*/ 3828006 h 5704395"/>
                <a:gd name="connsiteX7463" fmla="*/ 417351 w 5719680"/>
                <a:gd name="connsiteY7463" fmla="*/ 3827689 h 5704395"/>
                <a:gd name="connsiteX7464" fmla="*/ 406870 w 5719680"/>
                <a:gd name="connsiteY7464" fmla="*/ 3837830 h 5704395"/>
                <a:gd name="connsiteX7465" fmla="*/ 375108 w 5719680"/>
                <a:gd name="connsiteY7465" fmla="*/ 3869201 h 5704395"/>
                <a:gd name="connsiteX7466" fmla="*/ 371614 w 5719680"/>
                <a:gd name="connsiteY7466" fmla="*/ 3872687 h 5704395"/>
                <a:gd name="connsiteX7467" fmla="*/ 368438 w 5719680"/>
                <a:gd name="connsiteY7467" fmla="*/ 3868568 h 5704395"/>
                <a:gd name="connsiteX7468" fmla="*/ 351604 w 5719680"/>
                <a:gd name="connsiteY7468" fmla="*/ 3847019 h 5704395"/>
                <a:gd name="connsiteX7469" fmla="*/ 347158 w 5719680"/>
                <a:gd name="connsiteY7469" fmla="*/ 3841315 h 5704395"/>
                <a:gd name="connsiteX7470" fmla="*/ 354145 w 5719680"/>
                <a:gd name="connsiteY7470" fmla="*/ 3840048 h 5704395"/>
                <a:gd name="connsiteX7471" fmla="*/ 402741 w 5719680"/>
                <a:gd name="connsiteY7471" fmla="*/ 3830541 h 5704395"/>
                <a:gd name="connsiteX7472" fmla="*/ 417351 w 5719680"/>
                <a:gd name="connsiteY7472" fmla="*/ 3827689 h 5704395"/>
                <a:gd name="connsiteX7473" fmla="*/ 261401 w 5719680"/>
                <a:gd name="connsiteY7473" fmla="*/ 3827055 h 5704395"/>
                <a:gd name="connsiteX7474" fmla="*/ 143564 w 5719680"/>
                <a:gd name="connsiteY7474" fmla="*/ 3873321 h 5704395"/>
                <a:gd name="connsiteX7475" fmla="*/ 148963 w 5719680"/>
                <a:gd name="connsiteY7475" fmla="*/ 3880292 h 5704395"/>
                <a:gd name="connsiteX7476" fmla="*/ 137847 w 5719680"/>
                <a:gd name="connsiteY7476" fmla="*/ 3888215 h 5704395"/>
                <a:gd name="connsiteX7477" fmla="*/ 146740 w 5719680"/>
                <a:gd name="connsiteY7477" fmla="*/ 3900256 h 5704395"/>
                <a:gd name="connsiteX7478" fmla="*/ 128001 w 5719680"/>
                <a:gd name="connsiteY7478" fmla="*/ 3914199 h 5704395"/>
                <a:gd name="connsiteX7479" fmla="*/ 284587 w 5719680"/>
                <a:gd name="connsiteY7479" fmla="*/ 3860329 h 5704395"/>
                <a:gd name="connsiteX7480" fmla="*/ 261401 w 5719680"/>
                <a:gd name="connsiteY7480" fmla="*/ 3827055 h 5704395"/>
                <a:gd name="connsiteX7481" fmla="*/ 1219339 w 5719680"/>
                <a:gd name="connsiteY7481" fmla="*/ 3824837 h 5704395"/>
                <a:gd name="connsiteX7482" fmla="*/ 1211081 w 5719680"/>
                <a:gd name="connsiteY7482" fmla="*/ 3835294 h 5704395"/>
                <a:gd name="connsiteX7483" fmla="*/ 1242525 w 5719680"/>
                <a:gd name="connsiteY7483" fmla="*/ 3861596 h 5704395"/>
                <a:gd name="connsiteX7484" fmla="*/ 1245384 w 5719680"/>
                <a:gd name="connsiteY7484" fmla="*/ 3857477 h 5704395"/>
                <a:gd name="connsiteX7485" fmla="*/ 1228550 w 5719680"/>
                <a:gd name="connsiteY7485" fmla="*/ 3842900 h 5704395"/>
                <a:gd name="connsiteX7486" fmla="*/ 1227279 w 5719680"/>
                <a:gd name="connsiteY7486" fmla="*/ 3841632 h 5704395"/>
                <a:gd name="connsiteX7487" fmla="*/ 1219339 w 5719680"/>
                <a:gd name="connsiteY7487" fmla="*/ 3824837 h 5704395"/>
                <a:gd name="connsiteX7488" fmla="*/ 1104678 w 5719680"/>
                <a:gd name="connsiteY7488" fmla="*/ 3823886 h 5704395"/>
                <a:gd name="connsiteX7489" fmla="*/ 1084351 w 5719680"/>
                <a:gd name="connsiteY7489" fmla="*/ 3863814 h 5704395"/>
                <a:gd name="connsiteX7490" fmla="*/ 1064976 w 5719680"/>
                <a:gd name="connsiteY7490" fmla="*/ 3902475 h 5704395"/>
                <a:gd name="connsiteX7491" fmla="*/ 1064023 w 5719680"/>
                <a:gd name="connsiteY7491" fmla="*/ 3904376 h 5704395"/>
                <a:gd name="connsiteX7492" fmla="*/ 1063706 w 5719680"/>
                <a:gd name="connsiteY7492" fmla="*/ 3904376 h 5704395"/>
                <a:gd name="connsiteX7493" fmla="*/ 1033850 w 5719680"/>
                <a:gd name="connsiteY7493" fmla="*/ 3962683 h 5704395"/>
                <a:gd name="connsiteX7494" fmla="*/ 1131041 w 5719680"/>
                <a:gd name="connsiteY7494" fmla="*/ 4027962 h 5704395"/>
                <a:gd name="connsiteX7495" fmla="*/ 1131994 w 5719680"/>
                <a:gd name="connsiteY7495" fmla="*/ 4028913 h 5704395"/>
                <a:gd name="connsiteX7496" fmla="*/ 1099914 w 5719680"/>
                <a:gd name="connsiteY7496" fmla="*/ 3905644 h 5704395"/>
                <a:gd name="connsiteX7497" fmla="*/ 1142793 w 5719680"/>
                <a:gd name="connsiteY7497" fmla="*/ 3870786 h 5704395"/>
                <a:gd name="connsiteX7498" fmla="*/ 1137711 w 5719680"/>
                <a:gd name="connsiteY7498" fmla="*/ 3865399 h 5704395"/>
                <a:gd name="connsiteX7499" fmla="*/ 1104678 w 5719680"/>
                <a:gd name="connsiteY7499" fmla="*/ 3823886 h 5704395"/>
                <a:gd name="connsiteX7500" fmla="*/ 3396934 w 5719680"/>
                <a:gd name="connsiteY7500" fmla="*/ 3822619 h 5704395"/>
                <a:gd name="connsiteX7501" fmla="*/ 3411226 w 5719680"/>
                <a:gd name="connsiteY7501" fmla="*/ 3868568 h 5704395"/>
                <a:gd name="connsiteX7502" fmla="*/ 3388358 w 5719680"/>
                <a:gd name="connsiteY7502" fmla="*/ 3875856 h 5704395"/>
                <a:gd name="connsiteX7503" fmla="*/ 3387722 w 5719680"/>
                <a:gd name="connsiteY7503" fmla="*/ 3873638 h 5704395"/>
                <a:gd name="connsiteX7504" fmla="*/ 3374065 w 5719680"/>
                <a:gd name="connsiteY7504" fmla="*/ 3829907 h 5704395"/>
                <a:gd name="connsiteX7505" fmla="*/ 3396934 w 5719680"/>
                <a:gd name="connsiteY7505" fmla="*/ 3822619 h 5704395"/>
                <a:gd name="connsiteX7506" fmla="*/ 3398204 w 5719680"/>
                <a:gd name="connsiteY7506" fmla="*/ 3818499 h 5704395"/>
                <a:gd name="connsiteX7507" fmla="*/ 3356596 w 5719680"/>
                <a:gd name="connsiteY7507" fmla="*/ 3832126 h 5704395"/>
                <a:gd name="connsiteX7508" fmla="*/ 3395663 w 5719680"/>
                <a:gd name="connsiteY7508" fmla="*/ 3952543 h 5704395"/>
                <a:gd name="connsiteX7509" fmla="*/ 3437271 w 5719680"/>
                <a:gd name="connsiteY7509" fmla="*/ 3939551 h 5704395"/>
                <a:gd name="connsiteX7510" fmla="*/ 3398204 w 5719680"/>
                <a:gd name="connsiteY7510" fmla="*/ 3818499 h 5704395"/>
                <a:gd name="connsiteX7511" fmla="*/ 938881 w 5719680"/>
                <a:gd name="connsiteY7511" fmla="*/ 3817866 h 5704395"/>
                <a:gd name="connsiteX7512" fmla="*/ 923636 w 5719680"/>
                <a:gd name="connsiteY7512" fmla="*/ 3860012 h 5704395"/>
                <a:gd name="connsiteX7513" fmla="*/ 927765 w 5719680"/>
                <a:gd name="connsiteY7513" fmla="*/ 3916101 h 5704395"/>
                <a:gd name="connsiteX7514" fmla="*/ 956351 w 5719680"/>
                <a:gd name="connsiteY7514" fmla="*/ 3923389 h 5704395"/>
                <a:gd name="connsiteX7515" fmla="*/ 964609 w 5719680"/>
                <a:gd name="connsiteY7515" fmla="*/ 3905010 h 5704395"/>
                <a:gd name="connsiteX7516" fmla="*/ 947457 w 5719680"/>
                <a:gd name="connsiteY7516" fmla="*/ 3904059 h 5704395"/>
                <a:gd name="connsiteX7517" fmla="*/ 948410 w 5719680"/>
                <a:gd name="connsiteY7517" fmla="*/ 3878391 h 5704395"/>
                <a:gd name="connsiteX7518" fmla="*/ 955715 w 5719680"/>
                <a:gd name="connsiteY7518" fmla="*/ 3860012 h 5704395"/>
                <a:gd name="connsiteX7519" fmla="*/ 957621 w 5719680"/>
                <a:gd name="connsiteY7519" fmla="*/ 3860962 h 5704395"/>
                <a:gd name="connsiteX7520" fmla="*/ 977313 w 5719680"/>
                <a:gd name="connsiteY7520" fmla="*/ 3867617 h 5704395"/>
                <a:gd name="connsiteX7521" fmla="*/ 991289 w 5719680"/>
                <a:gd name="connsiteY7521" fmla="*/ 3834027 h 5704395"/>
                <a:gd name="connsiteX7522" fmla="*/ 938881 w 5719680"/>
                <a:gd name="connsiteY7522" fmla="*/ 3817866 h 5704395"/>
                <a:gd name="connsiteX7523" fmla="*/ 3427425 w 5719680"/>
                <a:gd name="connsiteY7523" fmla="*/ 3817549 h 5704395"/>
                <a:gd name="connsiteX7524" fmla="*/ 3412179 w 5719680"/>
                <a:gd name="connsiteY7524" fmla="*/ 3822302 h 5704395"/>
                <a:gd name="connsiteX7525" fmla="*/ 3423931 w 5719680"/>
                <a:gd name="connsiteY7525" fmla="*/ 3860329 h 5704395"/>
                <a:gd name="connsiteX7526" fmla="*/ 3439177 w 5719680"/>
                <a:gd name="connsiteY7526" fmla="*/ 3855575 h 5704395"/>
                <a:gd name="connsiteX7527" fmla="*/ 3427425 w 5719680"/>
                <a:gd name="connsiteY7527" fmla="*/ 3817549 h 5704395"/>
                <a:gd name="connsiteX7528" fmla="*/ 2180453 w 5719680"/>
                <a:gd name="connsiteY7528" fmla="*/ 3815330 h 5704395"/>
                <a:gd name="connsiteX7529" fmla="*/ 2145833 w 5719680"/>
                <a:gd name="connsiteY7529" fmla="*/ 3862547 h 5704395"/>
                <a:gd name="connsiteX7530" fmla="*/ 2159173 w 5719680"/>
                <a:gd name="connsiteY7530" fmla="*/ 3872370 h 5704395"/>
                <a:gd name="connsiteX7531" fmla="*/ 2175372 w 5719680"/>
                <a:gd name="connsiteY7531" fmla="*/ 3850188 h 5704395"/>
                <a:gd name="connsiteX7532" fmla="*/ 2186170 w 5719680"/>
                <a:gd name="connsiteY7532" fmla="*/ 3858110 h 5704395"/>
                <a:gd name="connsiteX7533" fmla="*/ 2150597 w 5719680"/>
                <a:gd name="connsiteY7533" fmla="*/ 3906594 h 5704395"/>
                <a:gd name="connsiteX7534" fmla="*/ 2163302 w 5719680"/>
                <a:gd name="connsiteY7534" fmla="*/ 3915784 h 5704395"/>
                <a:gd name="connsiteX7535" fmla="*/ 2176324 w 5719680"/>
                <a:gd name="connsiteY7535" fmla="*/ 3897721 h 5704395"/>
                <a:gd name="connsiteX7536" fmla="*/ 2196017 w 5719680"/>
                <a:gd name="connsiteY7536" fmla="*/ 3911981 h 5704395"/>
                <a:gd name="connsiteX7537" fmla="*/ 2218568 w 5719680"/>
                <a:gd name="connsiteY7537" fmla="*/ 3880609 h 5704395"/>
                <a:gd name="connsiteX7538" fmla="*/ 2195382 w 5719680"/>
                <a:gd name="connsiteY7538" fmla="*/ 3863497 h 5704395"/>
                <a:gd name="connsiteX7539" fmla="*/ 2215709 w 5719680"/>
                <a:gd name="connsiteY7539" fmla="*/ 3835928 h 5704395"/>
                <a:gd name="connsiteX7540" fmla="*/ 2196970 w 5719680"/>
                <a:gd name="connsiteY7540" fmla="*/ 3822302 h 5704395"/>
                <a:gd name="connsiteX7541" fmla="*/ 2195699 w 5719680"/>
                <a:gd name="connsiteY7541" fmla="*/ 3823886 h 5704395"/>
                <a:gd name="connsiteX7542" fmla="*/ 2194428 w 5719680"/>
                <a:gd name="connsiteY7542" fmla="*/ 3825788 h 5704395"/>
                <a:gd name="connsiteX7543" fmla="*/ 2180453 w 5719680"/>
                <a:gd name="connsiteY7543" fmla="*/ 3815330 h 5704395"/>
                <a:gd name="connsiteX7544" fmla="*/ 764191 w 5719680"/>
                <a:gd name="connsiteY7544" fmla="*/ 3812795 h 5704395"/>
                <a:gd name="connsiteX7545" fmla="*/ 754027 w 5719680"/>
                <a:gd name="connsiteY7545" fmla="*/ 3876807 h 5704395"/>
                <a:gd name="connsiteX7546" fmla="*/ 783566 w 5719680"/>
                <a:gd name="connsiteY7546" fmla="*/ 3878708 h 5704395"/>
                <a:gd name="connsiteX7547" fmla="*/ 825492 w 5719680"/>
                <a:gd name="connsiteY7547" fmla="*/ 3890750 h 5704395"/>
                <a:gd name="connsiteX7548" fmla="*/ 822951 w 5719680"/>
                <a:gd name="connsiteY7548" fmla="*/ 3901207 h 5704395"/>
                <a:gd name="connsiteX7549" fmla="*/ 896321 w 5719680"/>
                <a:gd name="connsiteY7549" fmla="*/ 3910714 h 5704395"/>
                <a:gd name="connsiteX7550" fmla="*/ 891874 w 5719680"/>
                <a:gd name="connsiteY7550" fmla="*/ 3869201 h 5704395"/>
                <a:gd name="connsiteX7551" fmla="*/ 801670 w 5719680"/>
                <a:gd name="connsiteY7551" fmla="*/ 3847019 h 5704395"/>
                <a:gd name="connsiteX7552" fmla="*/ 810246 w 5719680"/>
                <a:gd name="connsiteY7552" fmla="*/ 3814697 h 5704395"/>
                <a:gd name="connsiteX7553" fmla="*/ 764191 w 5719680"/>
                <a:gd name="connsiteY7553" fmla="*/ 3812795 h 5704395"/>
                <a:gd name="connsiteX7554" fmla="*/ 3429966 w 5719680"/>
                <a:gd name="connsiteY7554" fmla="*/ 3812478 h 5704395"/>
                <a:gd name="connsiteX7555" fmla="*/ 3444259 w 5719680"/>
                <a:gd name="connsiteY7555" fmla="*/ 3858427 h 5704395"/>
                <a:gd name="connsiteX7556" fmla="*/ 3421390 w 5719680"/>
                <a:gd name="connsiteY7556" fmla="*/ 3865399 h 5704395"/>
                <a:gd name="connsiteX7557" fmla="*/ 3420755 w 5719680"/>
                <a:gd name="connsiteY7557" fmla="*/ 3863497 h 5704395"/>
                <a:gd name="connsiteX7558" fmla="*/ 3407097 w 5719680"/>
                <a:gd name="connsiteY7558" fmla="*/ 3819450 h 5704395"/>
                <a:gd name="connsiteX7559" fmla="*/ 3429966 w 5719680"/>
                <a:gd name="connsiteY7559" fmla="*/ 3812478 h 5704395"/>
                <a:gd name="connsiteX7560" fmla="*/ 936023 w 5719680"/>
                <a:gd name="connsiteY7560" fmla="*/ 3812162 h 5704395"/>
                <a:gd name="connsiteX7561" fmla="*/ 997641 w 5719680"/>
                <a:gd name="connsiteY7561" fmla="*/ 3831175 h 5704395"/>
                <a:gd name="connsiteX7562" fmla="*/ 979854 w 5719680"/>
                <a:gd name="connsiteY7562" fmla="*/ 3873638 h 5704395"/>
                <a:gd name="connsiteX7563" fmla="*/ 958256 w 5719680"/>
                <a:gd name="connsiteY7563" fmla="*/ 3866033 h 5704395"/>
                <a:gd name="connsiteX7564" fmla="*/ 953174 w 5719680"/>
                <a:gd name="connsiteY7564" fmla="*/ 3879342 h 5704395"/>
                <a:gd name="connsiteX7565" fmla="*/ 952221 w 5719680"/>
                <a:gd name="connsiteY7565" fmla="*/ 3899623 h 5704395"/>
                <a:gd name="connsiteX7566" fmla="*/ 971596 w 5719680"/>
                <a:gd name="connsiteY7566" fmla="*/ 3900573 h 5704395"/>
                <a:gd name="connsiteX7567" fmla="*/ 958891 w 5719680"/>
                <a:gd name="connsiteY7567" fmla="*/ 3928776 h 5704395"/>
                <a:gd name="connsiteX7568" fmla="*/ 923318 w 5719680"/>
                <a:gd name="connsiteY7568" fmla="*/ 3919903 h 5704395"/>
                <a:gd name="connsiteX7569" fmla="*/ 918872 w 5719680"/>
                <a:gd name="connsiteY7569" fmla="*/ 3859378 h 5704395"/>
                <a:gd name="connsiteX7570" fmla="*/ 936023 w 5719680"/>
                <a:gd name="connsiteY7570" fmla="*/ 3812162 h 5704395"/>
                <a:gd name="connsiteX7571" fmla="*/ 2179500 w 5719680"/>
                <a:gd name="connsiteY7571" fmla="*/ 3809626 h 5704395"/>
                <a:gd name="connsiteX7572" fmla="*/ 2193476 w 5719680"/>
                <a:gd name="connsiteY7572" fmla="*/ 3819767 h 5704395"/>
                <a:gd name="connsiteX7573" fmla="*/ 2194746 w 5719680"/>
                <a:gd name="connsiteY7573" fmla="*/ 3817866 h 5704395"/>
                <a:gd name="connsiteX7574" fmla="*/ 2196017 w 5719680"/>
                <a:gd name="connsiteY7574" fmla="*/ 3816281 h 5704395"/>
                <a:gd name="connsiteX7575" fmla="*/ 2221426 w 5719680"/>
                <a:gd name="connsiteY7575" fmla="*/ 3834978 h 5704395"/>
                <a:gd name="connsiteX7576" fmla="*/ 2220156 w 5719680"/>
                <a:gd name="connsiteY7576" fmla="*/ 3836562 h 5704395"/>
                <a:gd name="connsiteX7577" fmla="*/ 2201098 w 5719680"/>
                <a:gd name="connsiteY7577" fmla="*/ 3862547 h 5704395"/>
                <a:gd name="connsiteX7578" fmla="*/ 2224602 w 5719680"/>
                <a:gd name="connsiteY7578" fmla="*/ 3879659 h 5704395"/>
                <a:gd name="connsiteX7579" fmla="*/ 2196652 w 5719680"/>
                <a:gd name="connsiteY7579" fmla="*/ 3917685 h 5704395"/>
                <a:gd name="connsiteX7580" fmla="*/ 2177277 w 5719680"/>
                <a:gd name="connsiteY7580" fmla="*/ 3903742 h 5704395"/>
                <a:gd name="connsiteX7581" fmla="*/ 2164255 w 5719680"/>
                <a:gd name="connsiteY7581" fmla="*/ 3921805 h 5704395"/>
                <a:gd name="connsiteX7582" fmla="*/ 2144562 w 5719680"/>
                <a:gd name="connsiteY7582" fmla="*/ 3907545 h 5704395"/>
                <a:gd name="connsiteX7583" fmla="*/ 2180136 w 5719680"/>
                <a:gd name="connsiteY7583" fmla="*/ 3859061 h 5704395"/>
                <a:gd name="connsiteX7584" fmla="*/ 2176324 w 5719680"/>
                <a:gd name="connsiteY7584" fmla="*/ 3855892 h 5704395"/>
                <a:gd name="connsiteX7585" fmla="*/ 2160126 w 5719680"/>
                <a:gd name="connsiteY7585" fmla="*/ 3878074 h 5704395"/>
                <a:gd name="connsiteX7586" fmla="*/ 2139798 w 5719680"/>
                <a:gd name="connsiteY7586" fmla="*/ 3863497 h 5704395"/>
                <a:gd name="connsiteX7587" fmla="*/ 2179500 w 5719680"/>
                <a:gd name="connsiteY7587" fmla="*/ 3809626 h 5704395"/>
                <a:gd name="connsiteX7588" fmla="*/ 1629385 w 5719680"/>
                <a:gd name="connsiteY7588" fmla="*/ 3808676 h 5704395"/>
                <a:gd name="connsiteX7589" fmla="*/ 1628432 w 5719680"/>
                <a:gd name="connsiteY7589" fmla="*/ 3833710 h 5704395"/>
                <a:gd name="connsiteX7590" fmla="*/ 1667181 w 5719680"/>
                <a:gd name="connsiteY7590" fmla="*/ 3835294 h 5704395"/>
                <a:gd name="connsiteX7591" fmla="*/ 1668134 w 5719680"/>
                <a:gd name="connsiteY7591" fmla="*/ 3810577 h 5704395"/>
                <a:gd name="connsiteX7592" fmla="*/ 1629385 w 5719680"/>
                <a:gd name="connsiteY7592" fmla="*/ 3808676 h 5704395"/>
                <a:gd name="connsiteX7593" fmla="*/ 760380 w 5719680"/>
                <a:gd name="connsiteY7593" fmla="*/ 3808042 h 5704395"/>
                <a:gd name="connsiteX7594" fmla="*/ 816281 w 5719680"/>
                <a:gd name="connsiteY7594" fmla="*/ 3810260 h 5704395"/>
                <a:gd name="connsiteX7595" fmla="*/ 807387 w 5719680"/>
                <a:gd name="connsiteY7595" fmla="*/ 3843533 h 5704395"/>
                <a:gd name="connsiteX7596" fmla="*/ 896003 w 5719680"/>
                <a:gd name="connsiteY7596" fmla="*/ 3865716 h 5704395"/>
                <a:gd name="connsiteX7597" fmla="*/ 896321 w 5719680"/>
                <a:gd name="connsiteY7597" fmla="*/ 3867300 h 5704395"/>
                <a:gd name="connsiteX7598" fmla="*/ 901720 w 5719680"/>
                <a:gd name="connsiteY7598" fmla="*/ 3916101 h 5704395"/>
                <a:gd name="connsiteX7599" fmla="*/ 817233 w 5719680"/>
                <a:gd name="connsiteY7599" fmla="*/ 3905010 h 5704395"/>
                <a:gd name="connsiteX7600" fmla="*/ 819774 w 5719680"/>
                <a:gd name="connsiteY7600" fmla="*/ 3894236 h 5704395"/>
                <a:gd name="connsiteX7601" fmla="*/ 782931 w 5719680"/>
                <a:gd name="connsiteY7601" fmla="*/ 3883461 h 5704395"/>
                <a:gd name="connsiteX7602" fmla="*/ 748628 w 5719680"/>
                <a:gd name="connsiteY7602" fmla="*/ 3881243 h 5704395"/>
                <a:gd name="connsiteX7603" fmla="*/ 760380 w 5719680"/>
                <a:gd name="connsiteY7603" fmla="*/ 3808042 h 5704395"/>
                <a:gd name="connsiteX7604" fmla="*/ 1271 w 5719680"/>
                <a:gd name="connsiteY7604" fmla="*/ 3807408 h 5704395"/>
                <a:gd name="connsiteX7605" fmla="*/ 17787 w 5719680"/>
                <a:gd name="connsiteY7605" fmla="*/ 3811845 h 5704395"/>
                <a:gd name="connsiteX7606" fmla="*/ 13340 w 5719680"/>
                <a:gd name="connsiteY7606" fmla="*/ 3814697 h 5704395"/>
                <a:gd name="connsiteX7607" fmla="*/ 1271 w 5719680"/>
                <a:gd name="connsiteY7607" fmla="*/ 3822302 h 5704395"/>
                <a:gd name="connsiteX7608" fmla="*/ 1271 w 5719680"/>
                <a:gd name="connsiteY7608" fmla="*/ 3816598 h 5704395"/>
                <a:gd name="connsiteX7609" fmla="*/ 6353 w 5719680"/>
                <a:gd name="connsiteY7609" fmla="*/ 3813746 h 5704395"/>
                <a:gd name="connsiteX7610" fmla="*/ 1271 w 5719680"/>
                <a:gd name="connsiteY7610" fmla="*/ 3812478 h 5704395"/>
                <a:gd name="connsiteX7611" fmla="*/ 1271 w 5719680"/>
                <a:gd name="connsiteY7611" fmla="*/ 3807408 h 5704395"/>
                <a:gd name="connsiteX7612" fmla="*/ 3442988 w 5719680"/>
                <a:gd name="connsiteY7612" fmla="*/ 3803923 h 5704395"/>
                <a:gd name="connsiteX7613" fmla="*/ 3402333 w 5719680"/>
                <a:gd name="connsiteY7613" fmla="*/ 3817232 h 5704395"/>
                <a:gd name="connsiteX7614" fmla="*/ 3441718 w 5719680"/>
                <a:gd name="connsiteY7614" fmla="*/ 3938283 h 5704395"/>
                <a:gd name="connsiteX7615" fmla="*/ 3485232 w 5719680"/>
                <a:gd name="connsiteY7615" fmla="*/ 3924657 h 5704395"/>
                <a:gd name="connsiteX7616" fmla="*/ 3442988 w 5719680"/>
                <a:gd name="connsiteY7616" fmla="*/ 3803923 h 5704395"/>
                <a:gd name="connsiteX7617" fmla="*/ 933800 w 5719680"/>
                <a:gd name="connsiteY7617" fmla="*/ 3803289 h 5704395"/>
                <a:gd name="connsiteX7618" fmla="*/ 917283 w 5719680"/>
                <a:gd name="connsiteY7618" fmla="*/ 3850188 h 5704395"/>
                <a:gd name="connsiteX7619" fmla="*/ 916648 w 5719680"/>
                <a:gd name="connsiteY7619" fmla="*/ 3851773 h 5704395"/>
                <a:gd name="connsiteX7620" fmla="*/ 915060 w 5719680"/>
                <a:gd name="connsiteY7620" fmla="*/ 3851773 h 5704395"/>
                <a:gd name="connsiteX7621" fmla="*/ 907755 w 5719680"/>
                <a:gd name="connsiteY7621" fmla="*/ 3850822 h 5704395"/>
                <a:gd name="connsiteX7622" fmla="*/ 915378 w 5719680"/>
                <a:gd name="connsiteY7622" fmla="*/ 3926558 h 5704395"/>
                <a:gd name="connsiteX7623" fmla="*/ 1001135 w 5719680"/>
                <a:gd name="connsiteY7623" fmla="*/ 3950008 h 5704395"/>
                <a:gd name="connsiteX7624" fmla="*/ 1030038 w 5719680"/>
                <a:gd name="connsiteY7624" fmla="*/ 3960782 h 5704395"/>
                <a:gd name="connsiteX7625" fmla="*/ 1059577 w 5719680"/>
                <a:gd name="connsiteY7625" fmla="*/ 3902792 h 5704395"/>
                <a:gd name="connsiteX7626" fmla="*/ 985254 w 5719680"/>
                <a:gd name="connsiteY7626" fmla="*/ 3874272 h 5704395"/>
                <a:gd name="connsiteX7627" fmla="*/ 1004311 w 5719680"/>
                <a:gd name="connsiteY7627" fmla="*/ 3827372 h 5704395"/>
                <a:gd name="connsiteX7628" fmla="*/ 353828 w 5719680"/>
                <a:gd name="connsiteY7628" fmla="*/ 3802972 h 5704395"/>
                <a:gd name="connsiteX7629" fmla="*/ 330641 w 5719680"/>
                <a:gd name="connsiteY7629" fmla="*/ 3806458 h 5704395"/>
                <a:gd name="connsiteX7630" fmla="*/ 336676 w 5719680"/>
                <a:gd name="connsiteY7630" fmla="*/ 3815964 h 5704395"/>
                <a:gd name="connsiteX7631" fmla="*/ 338582 w 5719680"/>
                <a:gd name="connsiteY7631" fmla="*/ 3819133 h 5704395"/>
                <a:gd name="connsiteX7632" fmla="*/ 336041 w 5719680"/>
                <a:gd name="connsiteY7632" fmla="*/ 3821351 h 5704395"/>
                <a:gd name="connsiteX7633" fmla="*/ 317937 w 5719680"/>
                <a:gd name="connsiteY7633" fmla="*/ 3838780 h 5704395"/>
                <a:gd name="connsiteX7634" fmla="*/ 369073 w 5719680"/>
                <a:gd name="connsiteY7634" fmla="*/ 3905960 h 5704395"/>
                <a:gd name="connsiteX7635" fmla="*/ 433868 w 5719680"/>
                <a:gd name="connsiteY7635" fmla="*/ 3841949 h 5704395"/>
                <a:gd name="connsiteX7636" fmla="*/ 417669 w 5719680"/>
                <a:gd name="connsiteY7636" fmla="*/ 3808042 h 5704395"/>
                <a:gd name="connsiteX7637" fmla="*/ 366532 w 5719680"/>
                <a:gd name="connsiteY7637" fmla="*/ 3814063 h 5704395"/>
                <a:gd name="connsiteX7638" fmla="*/ 364309 w 5719680"/>
                <a:gd name="connsiteY7638" fmla="*/ 3814380 h 5704395"/>
                <a:gd name="connsiteX7639" fmla="*/ 362721 w 5719680"/>
                <a:gd name="connsiteY7639" fmla="*/ 3812478 h 5704395"/>
                <a:gd name="connsiteX7640" fmla="*/ 353828 w 5719680"/>
                <a:gd name="connsiteY7640" fmla="*/ 3802972 h 5704395"/>
                <a:gd name="connsiteX7641" fmla="*/ 1178684 w 5719680"/>
                <a:gd name="connsiteY7641" fmla="*/ 3801387 h 5704395"/>
                <a:gd name="connsiteX7642" fmla="*/ 1160579 w 5719680"/>
                <a:gd name="connsiteY7642" fmla="*/ 3824520 h 5704395"/>
                <a:gd name="connsiteX7643" fmla="*/ 1158356 w 5719680"/>
                <a:gd name="connsiteY7643" fmla="*/ 3827689 h 5704395"/>
                <a:gd name="connsiteX7644" fmla="*/ 1152639 w 5719680"/>
                <a:gd name="connsiteY7644" fmla="*/ 3835611 h 5704395"/>
                <a:gd name="connsiteX7645" fmla="*/ 1183766 w 5719680"/>
                <a:gd name="connsiteY7645" fmla="*/ 3862230 h 5704395"/>
                <a:gd name="connsiteX7646" fmla="*/ 1184718 w 5719680"/>
                <a:gd name="connsiteY7646" fmla="*/ 3860962 h 5704395"/>
                <a:gd name="connsiteX7647" fmla="*/ 1204728 w 5719680"/>
                <a:gd name="connsiteY7647" fmla="*/ 3834978 h 5704395"/>
                <a:gd name="connsiteX7648" fmla="*/ 1206317 w 5719680"/>
                <a:gd name="connsiteY7648" fmla="*/ 3832126 h 5704395"/>
                <a:gd name="connsiteX7649" fmla="*/ 1208857 w 5719680"/>
                <a:gd name="connsiteY7649" fmla="*/ 3827055 h 5704395"/>
                <a:gd name="connsiteX7650" fmla="*/ 1178684 w 5719680"/>
                <a:gd name="connsiteY7650" fmla="*/ 3801387 h 5704395"/>
                <a:gd name="connsiteX7651" fmla="*/ 355416 w 5719680"/>
                <a:gd name="connsiteY7651" fmla="*/ 3798535 h 5704395"/>
                <a:gd name="connsiteX7652" fmla="*/ 365897 w 5719680"/>
                <a:gd name="connsiteY7652" fmla="*/ 3809626 h 5704395"/>
                <a:gd name="connsiteX7653" fmla="*/ 420210 w 5719680"/>
                <a:gd name="connsiteY7653" fmla="*/ 3803289 h 5704395"/>
                <a:gd name="connsiteX7654" fmla="*/ 439267 w 5719680"/>
                <a:gd name="connsiteY7654" fmla="*/ 3842900 h 5704395"/>
                <a:gd name="connsiteX7655" fmla="*/ 368438 w 5719680"/>
                <a:gd name="connsiteY7655" fmla="*/ 3912615 h 5704395"/>
                <a:gd name="connsiteX7656" fmla="*/ 312220 w 5719680"/>
                <a:gd name="connsiteY7656" fmla="*/ 3838146 h 5704395"/>
                <a:gd name="connsiteX7657" fmla="*/ 332865 w 5719680"/>
                <a:gd name="connsiteY7657" fmla="*/ 3818182 h 5704395"/>
                <a:gd name="connsiteX7658" fmla="*/ 323336 w 5719680"/>
                <a:gd name="connsiteY7658" fmla="*/ 3803289 h 5704395"/>
                <a:gd name="connsiteX7659" fmla="*/ 355416 w 5719680"/>
                <a:gd name="connsiteY7659" fmla="*/ 3798535 h 5704395"/>
                <a:gd name="connsiteX7660" fmla="*/ 1122783 w 5719680"/>
                <a:gd name="connsiteY7660" fmla="*/ 3798219 h 5704395"/>
                <a:gd name="connsiteX7661" fmla="*/ 1112619 w 5719680"/>
                <a:gd name="connsiteY7661" fmla="*/ 3810894 h 5704395"/>
                <a:gd name="connsiteX7662" fmla="*/ 1138664 w 5719680"/>
                <a:gd name="connsiteY7662" fmla="*/ 3843850 h 5704395"/>
                <a:gd name="connsiteX7663" fmla="*/ 1153592 w 5719680"/>
                <a:gd name="connsiteY7663" fmla="*/ 3824837 h 5704395"/>
                <a:gd name="connsiteX7664" fmla="*/ 1152957 w 5719680"/>
                <a:gd name="connsiteY7664" fmla="*/ 3824520 h 5704395"/>
                <a:gd name="connsiteX7665" fmla="*/ 1153274 w 5719680"/>
                <a:gd name="connsiteY7665" fmla="*/ 3824203 h 5704395"/>
                <a:gd name="connsiteX7666" fmla="*/ 1122783 w 5719680"/>
                <a:gd name="connsiteY7666" fmla="*/ 3798219 h 5704395"/>
                <a:gd name="connsiteX7667" fmla="*/ 3523981 w 5719680"/>
                <a:gd name="connsiteY7667" fmla="*/ 3797585 h 5704395"/>
                <a:gd name="connsiteX7668" fmla="*/ 3508418 w 5719680"/>
                <a:gd name="connsiteY7668" fmla="*/ 3845752 h 5704395"/>
                <a:gd name="connsiteX7669" fmla="*/ 3524298 w 5719680"/>
                <a:gd name="connsiteY7669" fmla="*/ 3850822 h 5704395"/>
                <a:gd name="connsiteX7670" fmla="*/ 3523346 w 5719680"/>
                <a:gd name="connsiteY7670" fmla="*/ 3853991 h 5704395"/>
                <a:gd name="connsiteX7671" fmla="*/ 3550661 w 5719680"/>
                <a:gd name="connsiteY7671" fmla="*/ 3862864 h 5704395"/>
                <a:gd name="connsiteX7672" fmla="*/ 3559554 w 5719680"/>
                <a:gd name="connsiteY7672" fmla="*/ 3833393 h 5704395"/>
                <a:gd name="connsiteX7673" fmla="*/ 3542085 w 5719680"/>
                <a:gd name="connsiteY7673" fmla="*/ 3828006 h 5704395"/>
                <a:gd name="connsiteX7674" fmla="*/ 3549390 w 5719680"/>
                <a:gd name="connsiteY7674" fmla="*/ 3805824 h 5704395"/>
                <a:gd name="connsiteX7675" fmla="*/ 3523981 w 5719680"/>
                <a:gd name="connsiteY7675" fmla="*/ 3797585 h 5704395"/>
                <a:gd name="connsiteX7676" fmla="*/ 1615727 w 5719680"/>
                <a:gd name="connsiteY7676" fmla="*/ 3796634 h 5704395"/>
                <a:gd name="connsiteX7677" fmla="*/ 1591588 w 5719680"/>
                <a:gd name="connsiteY7677" fmla="*/ 3834978 h 5704395"/>
                <a:gd name="connsiteX7678" fmla="*/ 1623985 w 5719680"/>
                <a:gd name="connsiteY7678" fmla="*/ 3837196 h 5704395"/>
                <a:gd name="connsiteX7679" fmla="*/ 1624303 w 5719680"/>
                <a:gd name="connsiteY7679" fmla="*/ 3835294 h 5704395"/>
                <a:gd name="connsiteX7680" fmla="*/ 1625573 w 5719680"/>
                <a:gd name="connsiteY7680" fmla="*/ 3804556 h 5704395"/>
                <a:gd name="connsiteX7681" fmla="*/ 1672581 w 5719680"/>
                <a:gd name="connsiteY7681" fmla="*/ 3806774 h 5704395"/>
                <a:gd name="connsiteX7682" fmla="*/ 1670993 w 5719680"/>
                <a:gd name="connsiteY7682" fmla="*/ 3839731 h 5704395"/>
                <a:gd name="connsiteX7683" fmla="*/ 1646854 w 5719680"/>
                <a:gd name="connsiteY7683" fmla="*/ 3838463 h 5704395"/>
                <a:gd name="connsiteX7684" fmla="*/ 1722130 w 5719680"/>
                <a:gd name="connsiteY7684" fmla="*/ 3843850 h 5704395"/>
                <a:gd name="connsiteX7685" fmla="*/ 1729435 w 5719680"/>
                <a:gd name="connsiteY7685" fmla="*/ 3807408 h 5704395"/>
                <a:gd name="connsiteX7686" fmla="*/ 1615410 w 5719680"/>
                <a:gd name="connsiteY7686" fmla="*/ 3799803 h 5704395"/>
                <a:gd name="connsiteX7687" fmla="*/ 1615727 w 5719680"/>
                <a:gd name="connsiteY7687" fmla="*/ 3796634 h 5704395"/>
                <a:gd name="connsiteX7688" fmla="*/ 752757 w 5719680"/>
                <a:gd name="connsiteY7688" fmla="*/ 3794733 h 5704395"/>
                <a:gd name="connsiteX7689" fmla="*/ 752439 w 5719680"/>
                <a:gd name="connsiteY7689" fmla="*/ 3796000 h 5704395"/>
                <a:gd name="connsiteX7690" fmla="*/ 744499 w 5719680"/>
                <a:gd name="connsiteY7690" fmla="*/ 3850188 h 5704395"/>
                <a:gd name="connsiteX7691" fmla="*/ 738782 w 5719680"/>
                <a:gd name="connsiteY7691" fmla="*/ 3887898 h 5704395"/>
                <a:gd name="connsiteX7692" fmla="*/ 736876 w 5719680"/>
                <a:gd name="connsiteY7692" fmla="*/ 3900573 h 5704395"/>
                <a:gd name="connsiteX7693" fmla="*/ 736241 w 5719680"/>
                <a:gd name="connsiteY7693" fmla="*/ 3904059 h 5704395"/>
                <a:gd name="connsiteX7694" fmla="*/ 834067 w 5719680"/>
                <a:gd name="connsiteY7694" fmla="*/ 3913883 h 5704395"/>
                <a:gd name="connsiteX7695" fmla="*/ 910931 w 5719680"/>
                <a:gd name="connsiteY7695" fmla="*/ 3925291 h 5704395"/>
                <a:gd name="connsiteX7696" fmla="*/ 903308 w 5719680"/>
                <a:gd name="connsiteY7696" fmla="*/ 3850188 h 5704395"/>
                <a:gd name="connsiteX7697" fmla="*/ 816281 w 5719680"/>
                <a:gd name="connsiteY7697" fmla="*/ 3836562 h 5704395"/>
                <a:gd name="connsiteX7698" fmla="*/ 813422 w 5719680"/>
                <a:gd name="connsiteY7698" fmla="*/ 3836245 h 5704395"/>
                <a:gd name="connsiteX7699" fmla="*/ 825174 w 5719680"/>
                <a:gd name="connsiteY7699" fmla="*/ 3798219 h 5704395"/>
                <a:gd name="connsiteX7700" fmla="*/ 2397069 w 5719680"/>
                <a:gd name="connsiteY7700" fmla="*/ 3793782 h 5704395"/>
                <a:gd name="connsiteX7701" fmla="*/ 2395164 w 5719680"/>
                <a:gd name="connsiteY7701" fmla="*/ 3816915 h 5704395"/>
                <a:gd name="connsiteX7702" fmla="*/ 2371024 w 5719680"/>
                <a:gd name="connsiteY7702" fmla="*/ 3814697 h 5704395"/>
                <a:gd name="connsiteX7703" fmla="*/ 2369754 w 5719680"/>
                <a:gd name="connsiteY7703" fmla="*/ 3830224 h 5704395"/>
                <a:gd name="connsiteX7704" fmla="*/ 2424384 w 5719680"/>
                <a:gd name="connsiteY7704" fmla="*/ 3834344 h 5704395"/>
                <a:gd name="connsiteX7705" fmla="*/ 2425655 w 5719680"/>
                <a:gd name="connsiteY7705" fmla="*/ 3818499 h 5704395"/>
                <a:gd name="connsiteX7706" fmla="*/ 2431372 w 5719680"/>
                <a:gd name="connsiteY7706" fmla="*/ 3819133 h 5704395"/>
                <a:gd name="connsiteX7707" fmla="*/ 2433596 w 5719680"/>
                <a:gd name="connsiteY7707" fmla="*/ 3796951 h 5704395"/>
                <a:gd name="connsiteX7708" fmla="*/ 2397069 w 5719680"/>
                <a:gd name="connsiteY7708" fmla="*/ 3793782 h 5704395"/>
                <a:gd name="connsiteX7709" fmla="*/ 3521440 w 5719680"/>
                <a:gd name="connsiteY7709" fmla="*/ 3792515 h 5704395"/>
                <a:gd name="connsiteX7710" fmla="*/ 3554472 w 5719680"/>
                <a:gd name="connsiteY7710" fmla="*/ 3803289 h 5704395"/>
                <a:gd name="connsiteX7711" fmla="*/ 3547485 w 5719680"/>
                <a:gd name="connsiteY7711" fmla="*/ 3825154 h 5704395"/>
                <a:gd name="connsiteX7712" fmla="*/ 3564636 w 5719680"/>
                <a:gd name="connsiteY7712" fmla="*/ 3830858 h 5704395"/>
                <a:gd name="connsiteX7713" fmla="*/ 3564001 w 5719680"/>
                <a:gd name="connsiteY7713" fmla="*/ 3832759 h 5704395"/>
                <a:gd name="connsiteX7714" fmla="*/ 3553520 w 5719680"/>
                <a:gd name="connsiteY7714" fmla="*/ 3868251 h 5704395"/>
                <a:gd name="connsiteX7715" fmla="*/ 3517946 w 5719680"/>
                <a:gd name="connsiteY7715" fmla="*/ 3856526 h 5704395"/>
                <a:gd name="connsiteX7716" fmla="*/ 3518899 w 5719680"/>
                <a:gd name="connsiteY7716" fmla="*/ 3853357 h 5704395"/>
                <a:gd name="connsiteX7717" fmla="*/ 3503336 w 5719680"/>
                <a:gd name="connsiteY7717" fmla="*/ 3848287 h 5704395"/>
                <a:gd name="connsiteX7718" fmla="*/ 3521440 w 5719680"/>
                <a:gd name="connsiteY7718" fmla="*/ 3792515 h 5704395"/>
                <a:gd name="connsiteX7719" fmla="*/ 1294932 w 5719680"/>
                <a:gd name="connsiteY7719" fmla="*/ 3790613 h 5704395"/>
                <a:gd name="connsiteX7720" fmla="*/ 1275240 w 5719680"/>
                <a:gd name="connsiteY7720" fmla="*/ 3802338 h 5704395"/>
                <a:gd name="connsiteX7721" fmla="*/ 1278098 w 5719680"/>
                <a:gd name="connsiteY7721" fmla="*/ 3807091 h 5704395"/>
                <a:gd name="connsiteX7722" fmla="*/ 1280639 w 5719680"/>
                <a:gd name="connsiteY7722" fmla="*/ 3810894 h 5704395"/>
                <a:gd name="connsiteX7723" fmla="*/ 1276828 w 5719680"/>
                <a:gd name="connsiteY7723" fmla="*/ 3813112 h 5704395"/>
                <a:gd name="connsiteX7724" fmla="*/ 1253642 w 5719680"/>
                <a:gd name="connsiteY7724" fmla="*/ 3827689 h 5704395"/>
                <a:gd name="connsiteX7725" fmla="*/ 1266029 w 5719680"/>
                <a:gd name="connsiteY7725" fmla="*/ 3847970 h 5704395"/>
                <a:gd name="connsiteX7726" fmla="*/ 1307319 w 5719680"/>
                <a:gd name="connsiteY7726" fmla="*/ 3822936 h 5704395"/>
                <a:gd name="connsiteX7727" fmla="*/ 1300649 w 5719680"/>
                <a:gd name="connsiteY7727" fmla="*/ 3813429 h 5704395"/>
                <a:gd name="connsiteX7728" fmla="*/ 1298108 w 5719680"/>
                <a:gd name="connsiteY7728" fmla="*/ 3809310 h 5704395"/>
                <a:gd name="connsiteX7729" fmla="*/ 1302237 w 5719680"/>
                <a:gd name="connsiteY7729" fmla="*/ 3807091 h 5704395"/>
                <a:gd name="connsiteX7730" fmla="*/ 1304143 w 5719680"/>
                <a:gd name="connsiteY7730" fmla="*/ 3805824 h 5704395"/>
                <a:gd name="connsiteX7731" fmla="*/ 1294932 w 5719680"/>
                <a:gd name="connsiteY7731" fmla="*/ 3790613 h 5704395"/>
                <a:gd name="connsiteX7732" fmla="*/ 2393258 w 5719680"/>
                <a:gd name="connsiteY7732" fmla="*/ 3789346 h 5704395"/>
                <a:gd name="connsiteX7733" fmla="*/ 2438042 w 5719680"/>
                <a:gd name="connsiteY7733" fmla="*/ 3793148 h 5704395"/>
                <a:gd name="connsiteX7734" fmla="*/ 2435184 w 5719680"/>
                <a:gd name="connsiteY7734" fmla="*/ 3823570 h 5704395"/>
                <a:gd name="connsiteX7735" fmla="*/ 2429466 w 5719680"/>
                <a:gd name="connsiteY7735" fmla="*/ 3823253 h 5704395"/>
                <a:gd name="connsiteX7736" fmla="*/ 2428196 w 5719680"/>
                <a:gd name="connsiteY7736" fmla="*/ 3838780 h 5704395"/>
                <a:gd name="connsiteX7737" fmla="*/ 2365308 w 5719680"/>
                <a:gd name="connsiteY7737" fmla="*/ 3834344 h 5704395"/>
                <a:gd name="connsiteX7738" fmla="*/ 2365625 w 5719680"/>
                <a:gd name="connsiteY7738" fmla="*/ 3832126 h 5704395"/>
                <a:gd name="connsiteX7739" fmla="*/ 2367213 w 5719680"/>
                <a:gd name="connsiteY7739" fmla="*/ 3810260 h 5704395"/>
                <a:gd name="connsiteX7740" fmla="*/ 2391352 w 5719680"/>
                <a:gd name="connsiteY7740" fmla="*/ 3812162 h 5704395"/>
                <a:gd name="connsiteX7741" fmla="*/ 2393258 w 5719680"/>
                <a:gd name="connsiteY7741" fmla="*/ 3789346 h 5704395"/>
                <a:gd name="connsiteX7742" fmla="*/ 1786924 w 5719680"/>
                <a:gd name="connsiteY7742" fmla="*/ 3788395 h 5704395"/>
                <a:gd name="connsiteX7743" fmla="*/ 1784065 w 5719680"/>
                <a:gd name="connsiteY7743" fmla="*/ 3804873 h 5704395"/>
                <a:gd name="connsiteX7744" fmla="*/ 1780889 w 5719680"/>
                <a:gd name="connsiteY7744" fmla="*/ 3804239 h 5704395"/>
                <a:gd name="connsiteX7745" fmla="*/ 1776442 w 5719680"/>
                <a:gd name="connsiteY7745" fmla="*/ 3832759 h 5704395"/>
                <a:gd name="connsiteX7746" fmla="*/ 1806616 w 5719680"/>
                <a:gd name="connsiteY7746" fmla="*/ 3836879 h 5704395"/>
                <a:gd name="connsiteX7747" fmla="*/ 1809475 w 5719680"/>
                <a:gd name="connsiteY7747" fmla="*/ 3818816 h 5704395"/>
                <a:gd name="connsiteX7748" fmla="*/ 1832661 w 5719680"/>
                <a:gd name="connsiteY7748" fmla="*/ 3822619 h 5704395"/>
                <a:gd name="connsiteX7749" fmla="*/ 1836790 w 5719680"/>
                <a:gd name="connsiteY7749" fmla="*/ 3796317 h 5704395"/>
                <a:gd name="connsiteX7750" fmla="*/ 1786924 w 5719680"/>
                <a:gd name="connsiteY7750" fmla="*/ 3788395 h 5704395"/>
                <a:gd name="connsiteX7751" fmla="*/ 1271 w 5719680"/>
                <a:gd name="connsiteY7751" fmla="*/ 3787761 h 5704395"/>
                <a:gd name="connsiteX7752" fmla="*/ 23822 w 5719680"/>
                <a:gd name="connsiteY7752" fmla="*/ 3800120 h 5704395"/>
                <a:gd name="connsiteX7753" fmla="*/ 19375 w 5719680"/>
                <a:gd name="connsiteY7753" fmla="*/ 3802021 h 5704395"/>
                <a:gd name="connsiteX7754" fmla="*/ 14611 w 5719680"/>
                <a:gd name="connsiteY7754" fmla="*/ 3803923 h 5704395"/>
                <a:gd name="connsiteX7755" fmla="*/ 13658 w 5719680"/>
                <a:gd name="connsiteY7755" fmla="*/ 3804239 h 5704395"/>
                <a:gd name="connsiteX7756" fmla="*/ 1271 w 5719680"/>
                <a:gd name="connsiteY7756" fmla="*/ 3800437 h 5704395"/>
                <a:gd name="connsiteX7757" fmla="*/ 1271 w 5719680"/>
                <a:gd name="connsiteY7757" fmla="*/ 3795367 h 5704395"/>
                <a:gd name="connsiteX7758" fmla="*/ 11752 w 5719680"/>
                <a:gd name="connsiteY7758" fmla="*/ 3798852 h 5704395"/>
                <a:gd name="connsiteX7759" fmla="*/ 1271 w 5719680"/>
                <a:gd name="connsiteY7759" fmla="*/ 3793148 h 5704395"/>
                <a:gd name="connsiteX7760" fmla="*/ 1271 w 5719680"/>
                <a:gd name="connsiteY7760" fmla="*/ 3787761 h 5704395"/>
                <a:gd name="connsiteX7761" fmla="*/ 1916512 w 5719680"/>
                <a:gd name="connsiteY7761" fmla="*/ 3787444 h 5704395"/>
                <a:gd name="connsiteX7762" fmla="*/ 1908572 w 5719680"/>
                <a:gd name="connsiteY7762" fmla="*/ 3849237 h 5704395"/>
                <a:gd name="connsiteX7763" fmla="*/ 2082627 w 5719680"/>
                <a:gd name="connsiteY7763" fmla="*/ 3862547 h 5704395"/>
                <a:gd name="connsiteX7764" fmla="*/ 2089297 w 5719680"/>
                <a:gd name="connsiteY7764" fmla="*/ 3800437 h 5704395"/>
                <a:gd name="connsiteX7765" fmla="*/ 1916512 w 5719680"/>
                <a:gd name="connsiteY7765" fmla="*/ 3787444 h 5704395"/>
                <a:gd name="connsiteX7766" fmla="*/ 233450 w 5719680"/>
                <a:gd name="connsiteY7766" fmla="*/ 3787444 h 5704395"/>
                <a:gd name="connsiteX7767" fmla="*/ 110214 w 5719680"/>
                <a:gd name="connsiteY7767" fmla="*/ 3851139 h 5704395"/>
                <a:gd name="connsiteX7768" fmla="*/ 115931 w 5719680"/>
                <a:gd name="connsiteY7768" fmla="*/ 3858744 h 5704395"/>
                <a:gd name="connsiteX7769" fmla="*/ 126730 w 5719680"/>
                <a:gd name="connsiteY7769" fmla="*/ 3850505 h 5704395"/>
                <a:gd name="connsiteX7770" fmla="*/ 141023 w 5719680"/>
                <a:gd name="connsiteY7770" fmla="*/ 3869518 h 5704395"/>
                <a:gd name="connsiteX7771" fmla="*/ 259177 w 5719680"/>
                <a:gd name="connsiteY7771" fmla="*/ 3823253 h 5704395"/>
                <a:gd name="connsiteX7772" fmla="*/ 248378 w 5719680"/>
                <a:gd name="connsiteY7772" fmla="*/ 3808359 h 5704395"/>
                <a:gd name="connsiteX7773" fmla="*/ 233450 w 5719680"/>
                <a:gd name="connsiteY7773" fmla="*/ 3787444 h 5704395"/>
                <a:gd name="connsiteX7774" fmla="*/ 2618450 w 5719680"/>
                <a:gd name="connsiteY7774" fmla="*/ 3784592 h 5704395"/>
                <a:gd name="connsiteX7775" fmla="*/ 2551114 w 5719680"/>
                <a:gd name="connsiteY7775" fmla="*/ 3863497 h 5704395"/>
                <a:gd name="connsiteX7776" fmla="*/ 2546032 w 5719680"/>
                <a:gd name="connsiteY7776" fmla="*/ 3904693 h 5704395"/>
                <a:gd name="connsiteX7777" fmla="*/ 2584782 w 5719680"/>
                <a:gd name="connsiteY7777" fmla="*/ 3974408 h 5704395"/>
                <a:gd name="connsiteX7778" fmla="*/ 2593993 w 5719680"/>
                <a:gd name="connsiteY7778" fmla="*/ 3975676 h 5704395"/>
                <a:gd name="connsiteX7779" fmla="*/ 2640366 w 5719680"/>
                <a:gd name="connsiteY7779" fmla="*/ 3937966 h 5704395"/>
                <a:gd name="connsiteX7780" fmla="*/ 2659740 w 5719680"/>
                <a:gd name="connsiteY7780" fmla="*/ 3893285 h 5704395"/>
                <a:gd name="connsiteX7781" fmla="*/ 2664504 w 5719680"/>
                <a:gd name="connsiteY7781" fmla="*/ 3852406 h 5704395"/>
                <a:gd name="connsiteX7782" fmla="*/ 2627026 w 5719680"/>
                <a:gd name="connsiteY7782" fmla="*/ 3785860 h 5704395"/>
                <a:gd name="connsiteX7783" fmla="*/ 2618450 w 5719680"/>
                <a:gd name="connsiteY7783" fmla="*/ 3784592 h 5704395"/>
                <a:gd name="connsiteX7784" fmla="*/ 1296520 w 5719680"/>
                <a:gd name="connsiteY7784" fmla="*/ 3784592 h 5704395"/>
                <a:gd name="connsiteX7785" fmla="*/ 1310178 w 5719680"/>
                <a:gd name="connsiteY7785" fmla="*/ 3807408 h 5704395"/>
                <a:gd name="connsiteX7786" fmla="*/ 1304461 w 5719680"/>
                <a:gd name="connsiteY7786" fmla="*/ 3810894 h 5704395"/>
                <a:gd name="connsiteX7787" fmla="*/ 1313672 w 5719680"/>
                <a:gd name="connsiteY7787" fmla="*/ 3824203 h 5704395"/>
                <a:gd name="connsiteX7788" fmla="*/ 1264441 w 5719680"/>
                <a:gd name="connsiteY7788" fmla="*/ 3854308 h 5704395"/>
                <a:gd name="connsiteX7789" fmla="*/ 1247607 w 5719680"/>
                <a:gd name="connsiteY7789" fmla="*/ 3826105 h 5704395"/>
                <a:gd name="connsiteX7790" fmla="*/ 1274287 w 5719680"/>
                <a:gd name="connsiteY7790" fmla="*/ 3809310 h 5704395"/>
                <a:gd name="connsiteX7791" fmla="*/ 1269205 w 5719680"/>
                <a:gd name="connsiteY7791" fmla="*/ 3800754 h 5704395"/>
                <a:gd name="connsiteX7792" fmla="*/ 1296520 w 5719680"/>
                <a:gd name="connsiteY7792" fmla="*/ 3784592 h 5704395"/>
                <a:gd name="connsiteX7793" fmla="*/ 1783430 w 5719680"/>
                <a:gd name="connsiteY7793" fmla="*/ 3783642 h 5704395"/>
                <a:gd name="connsiteX7794" fmla="*/ 1841554 w 5719680"/>
                <a:gd name="connsiteY7794" fmla="*/ 3793148 h 5704395"/>
                <a:gd name="connsiteX7795" fmla="*/ 1835837 w 5719680"/>
                <a:gd name="connsiteY7795" fmla="*/ 3827372 h 5704395"/>
                <a:gd name="connsiteX7796" fmla="*/ 1812969 w 5719680"/>
                <a:gd name="connsiteY7796" fmla="*/ 3823570 h 5704395"/>
                <a:gd name="connsiteX7797" fmla="*/ 1810110 w 5719680"/>
                <a:gd name="connsiteY7797" fmla="*/ 3841632 h 5704395"/>
                <a:gd name="connsiteX7798" fmla="*/ 1808204 w 5719680"/>
                <a:gd name="connsiteY7798" fmla="*/ 3841315 h 5704395"/>
                <a:gd name="connsiteX7799" fmla="*/ 1771360 w 5719680"/>
                <a:gd name="connsiteY7799" fmla="*/ 3836245 h 5704395"/>
                <a:gd name="connsiteX7800" fmla="*/ 1777395 w 5719680"/>
                <a:gd name="connsiteY7800" fmla="*/ 3799486 h 5704395"/>
                <a:gd name="connsiteX7801" fmla="*/ 1780889 w 5719680"/>
                <a:gd name="connsiteY7801" fmla="*/ 3800120 h 5704395"/>
                <a:gd name="connsiteX7802" fmla="*/ 2618450 w 5719680"/>
                <a:gd name="connsiteY7802" fmla="*/ 3779839 h 5704395"/>
                <a:gd name="connsiteX7803" fmla="*/ 2628296 w 5719680"/>
                <a:gd name="connsiteY7803" fmla="*/ 3781423 h 5704395"/>
                <a:gd name="connsiteX7804" fmla="*/ 2669269 w 5719680"/>
                <a:gd name="connsiteY7804" fmla="*/ 3852406 h 5704395"/>
                <a:gd name="connsiteX7805" fmla="*/ 2664187 w 5719680"/>
                <a:gd name="connsiteY7805" fmla="*/ 3894552 h 5704395"/>
                <a:gd name="connsiteX7806" fmla="*/ 2644494 w 5719680"/>
                <a:gd name="connsiteY7806" fmla="*/ 3940501 h 5704395"/>
                <a:gd name="connsiteX7807" fmla="*/ 2593993 w 5719680"/>
                <a:gd name="connsiteY7807" fmla="*/ 3980112 h 5704395"/>
                <a:gd name="connsiteX7808" fmla="*/ 2583512 w 5719680"/>
                <a:gd name="connsiteY7808" fmla="*/ 3978845 h 5704395"/>
                <a:gd name="connsiteX7809" fmla="*/ 2541268 w 5719680"/>
                <a:gd name="connsiteY7809" fmla="*/ 3904693 h 5704395"/>
                <a:gd name="connsiteX7810" fmla="*/ 2546668 w 5719680"/>
                <a:gd name="connsiteY7810" fmla="*/ 3862230 h 5704395"/>
                <a:gd name="connsiteX7811" fmla="*/ 2618450 w 5719680"/>
                <a:gd name="connsiteY7811" fmla="*/ 3779839 h 5704395"/>
                <a:gd name="connsiteX7812" fmla="*/ 1676075 w 5719680"/>
                <a:gd name="connsiteY7812" fmla="*/ 3778888 h 5704395"/>
                <a:gd name="connsiteX7813" fmla="*/ 1675122 w 5719680"/>
                <a:gd name="connsiteY7813" fmla="*/ 3792831 h 5704395"/>
                <a:gd name="connsiteX7814" fmla="*/ 1714824 w 5719680"/>
                <a:gd name="connsiteY7814" fmla="*/ 3795367 h 5704395"/>
                <a:gd name="connsiteX7815" fmla="*/ 1715777 w 5719680"/>
                <a:gd name="connsiteY7815" fmla="*/ 3781423 h 5704395"/>
                <a:gd name="connsiteX7816" fmla="*/ 1676075 w 5719680"/>
                <a:gd name="connsiteY7816" fmla="*/ 3778888 h 5704395"/>
                <a:gd name="connsiteX7817" fmla="*/ 2112483 w 5719680"/>
                <a:gd name="connsiteY7817" fmla="*/ 3777938 h 5704395"/>
                <a:gd name="connsiteX7818" fmla="*/ 2094061 w 5719680"/>
                <a:gd name="connsiteY7818" fmla="*/ 3950642 h 5704395"/>
                <a:gd name="connsiteX7819" fmla="*/ 2209356 w 5719680"/>
                <a:gd name="connsiteY7819" fmla="*/ 3976626 h 5704395"/>
                <a:gd name="connsiteX7820" fmla="*/ 2257952 w 5719680"/>
                <a:gd name="connsiteY7820" fmla="*/ 3894552 h 5704395"/>
                <a:gd name="connsiteX7821" fmla="*/ 2257317 w 5719680"/>
                <a:gd name="connsiteY7821" fmla="*/ 3807725 h 5704395"/>
                <a:gd name="connsiteX7822" fmla="*/ 2112483 w 5719680"/>
                <a:gd name="connsiteY7822" fmla="*/ 3777938 h 5704395"/>
                <a:gd name="connsiteX7823" fmla="*/ 1196788 w 5719680"/>
                <a:gd name="connsiteY7823" fmla="*/ 3777938 h 5704395"/>
                <a:gd name="connsiteX7824" fmla="*/ 1181225 w 5719680"/>
                <a:gd name="connsiteY7824" fmla="*/ 3797902 h 5704395"/>
                <a:gd name="connsiteX7825" fmla="*/ 1212669 w 5719680"/>
                <a:gd name="connsiteY7825" fmla="*/ 3824520 h 5704395"/>
                <a:gd name="connsiteX7826" fmla="*/ 1216798 w 5719680"/>
                <a:gd name="connsiteY7826" fmla="*/ 3819450 h 5704395"/>
                <a:gd name="connsiteX7827" fmla="*/ 1196788 w 5719680"/>
                <a:gd name="connsiteY7827" fmla="*/ 3777938 h 5704395"/>
                <a:gd name="connsiteX7828" fmla="*/ 423704 w 5719680"/>
                <a:gd name="connsiteY7828" fmla="*/ 3775403 h 5704395"/>
                <a:gd name="connsiteX7829" fmla="*/ 276011 w 5719680"/>
                <a:gd name="connsiteY7829" fmla="*/ 3811211 h 5704395"/>
                <a:gd name="connsiteX7830" fmla="*/ 276329 w 5719680"/>
                <a:gd name="connsiteY7830" fmla="*/ 3811845 h 5704395"/>
                <a:gd name="connsiteX7831" fmla="*/ 279187 w 5719680"/>
                <a:gd name="connsiteY7831" fmla="*/ 3815647 h 5704395"/>
                <a:gd name="connsiteX7832" fmla="*/ 279822 w 5719680"/>
                <a:gd name="connsiteY7832" fmla="*/ 3816598 h 5704395"/>
                <a:gd name="connsiteX7833" fmla="*/ 280140 w 5719680"/>
                <a:gd name="connsiteY7833" fmla="*/ 3817232 h 5704395"/>
                <a:gd name="connsiteX7834" fmla="*/ 280458 w 5719680"/>
                <a:gd name="connsiteY7834" fmla="*/ 3817866 h 5704395"/>
                <a:gd name="connsiteX7835" fmla="*/ 281093 w 5719680"/>
                <a:gd name="connsiteY7835" fmla="*/ 3818816 h 5704395"/>
                <a:gd name="connsiteX7836" fmla="*/ 281411 w 5719680"/>
                <a:gd name="connsiteY7836" fmla="*/ 3819450 h 5704395"/>
                <a:gd name="connsiteX7837" fmla="*/ 366532 w 5719680"/>
                <a:gd name="connsiteY7837" fmla="*/ 3939867 h 5704395"/>
                <a:gd name="connsiteX7838" fmla="*/ 458642 w 5719680"/>
                <a:gd name="connsiteY7838" fmla="*/ 3847019 h 5704395"/>
                <a:gd name="connsiteX7839" fmla="*/ 430691 w 5719680"/>
                <a:gd name="connsiteY7839" fmla="*/ 3801071 h 5704395"/>
                <a:gd name="connsiteX7840" fmla="*/ 423704 w 5719680"/>
                <a:gd name="connsiteY7840" fmla="*/ 3775403 h 5704395"/>
                <a:gd name="connsiteX7841" fmla="*/ 1299061 w 5719680"/>
                <a:gd name="connsiteY7841" fmla="*/ 3775086 h 5704395"/>
                <a:gd name="connsiteX7842" fmla="*/ 1222515 w 5719680"/>
                <a:gd name="connsiteY7842" fmla="*/ 3798535 h 5704395"/>
                <a:gd name="connsiteX7843" fmla="*/ 1239031 w 5719680"/>
                <a:gd name="connsiteY7843" fmla="*/ 3833076 h 5704395"/>
                <a:gd name="connsiteX7844" fmla="*/ 1265394 w 5719680"/>
                <a:gd name="connsiteY7844" fmla="*/ 3855892 h 5704395"/>
                <a:gd name="connsiteX7845" fmla="*/ 1284133 w 5719680"/>
                <a:gd name="connsiteY7845" fmla="*/ 3872370 h 5704395"/>
                <a:gd name="connsiteX7846" fmla="*/ 1286992 w 5719680"/>
                <a:gd name="connsiteY7846" fmla="*/ 3874589 h 5704395"/>
                <a:gd name="connsiteX7847" fmla="*/ 1295250 w 5719680"/>
                <a:gd name="connsiteY7847" fmla="*/ 3862864 h 5704395"/>
                <a:gd name="connsiteX7848" fmla="*/ 1315260 w 5719680"/>
                <a:gd name="connsiteY7848" fmla="*/ 3842266 h 5704395"/>
                <a:gd name="connsiteX7849" fmla="*/ 1336858 w 5719680"/>
                <a:gd name="connsiteY7849" fmla="*/ 3824520 h 5704395"/>
                <a:gd name="connsiteX7850" fmla="*/ 1336540 w 5719680"/>
                <a:gd name="connsiteY7850" fmla="*/ 3824203 h 5704395"/>
                <a:gd name="connsiteX7851" fmla="*/ 1299061 w 5719680"/>
                <a:gd name="connsiteY7851" fmla="*/ 3775086 h 5704395"/>
                <a:gd name="connsiteX7852" fmla="*/ 1672263 w 5719680"/>
                <a:gd name="connsiteY7852" fmla="*/ 3774452 h 5704395"/>
                <a:gd name="connsiteX7853" fmla="*/ 1674169 w 5719680"/>
                <a:gd name="connsiteY7853" fmla="*/ 3774452 h 5704395"/>
                <a:gd name="connsiteX7854" fmla="*/ 1720224 w 5719680"/>
                <a:gd name="connsiteY7854" fmla="*/ 3777621 h 5704395"/>
                <a:gd name="connsiteX7855" fmla="*/ 1718636 w 5719680"/>
                <a:gd name="connsiteY7855" fmla="*/ 3799803 h 5704395"/>
                <a:gd name="connsiteX7856" fmla="*/ 1670675 w 5719680"/>
                <a:gd name="connsiteY7856" fmla="*/ 3796634 h 5704395"/>
                <a:gd name="connsiteX7857" fmla="*/ 1672263 w 5719680"/>
                <a:gd name="connsiteY7857" fmla="*/ 3774452 h 5704395"/>
                <a:gd name="connsiteX7858" fmla="*/ 1740869 w 5719680"/>
                <a:gd name="connsiteY7858" fmla="*/ 3774135 h 5704395"/>
                <a:gd name="connsiteX7859" fmla="*/ 1729435 w 5719680"/>
                <a:gd name="connsiteY7859" fmla="*/ 3830224 h 5704395"/>
                <a:gd name="connsiteX7860" fmla="*/ 1851400 w 5719680"/>
                <a:gd name="connsiteY7860" fmla="*/ 3853040 h 5704395"/>
                <a:gd name="connsiteX7861" fmla="*/ 1859023 w 5719680"/>
                <a:gd name="connsiteY7861" fmla="*/ 3784592 h 5704395"/>
                <a:gd name="connsiteX7862" fmla="*/ 1740869 w 5719680"/>
                <a:gd name="connsiteY7862" fmla="*/ 3774135 h 5704395"/>
                <a:gd name="connsiteX7863" fmla="*/ 3559872 w 5719680"/>
                <a:gd name="connsiteY7863" fmla="*/ 3765896 h 5704395"/>
                <a:gd name="connsiteX7864" fmla="*/ 3462998 w 5719680"/>
                <a:gd name="connsiteY7864" fmla="*/ 3797585 h 5704395"/>
                <a:gd name="connsiteX7865" fmla="*/ 3504924 w 5719680"/>
                <a:gd name="connsiteY7865" fmla="*/ 3918319 h 5704395"/>
                <a:gd name="connsiteX7866" fmla="*/ 3605927 w 5719680"/>
                <a:gd name="connsiteY7866" fmla="*/ 3886313 h 5704395"/>
                <a:gd name="connsiteX7867" fmla="*/ 3559872 w 5719680"/>
                <a:gd name="connsiteY7867" fmla="*/ 3765896 h 5704395"/>
                <a:gd name="connsiteX7868" fmla="*/ 3628160 w 5719680"/>
                <a:gd name="connsiteY7868" fmla="*/ 3765262 h 5704395"/>
                <a:gd name="connsiteX7869" fmla="*/ 3612597 w 5719680"/>
                <a:gd name="connsiteY7869" fmla="*/ 3813112 h 5704395"/>
                <a:gd name="connsiteX7870" fmla="*/ 3628478 w 5719680"/>
                <a:gd name="connsiteY7870" fmla="*/ 3818182 h 5704395"/>
                <a:gd name="connsiteX7871" fmla="*/ 3627525 w 5719680"/>
                <a:gd name="connsiteY7871" fmla="*/ 3821351 h 5704395"/>
                <a:gd name="connsiteX7872" fmla="*/ 3654840 w 5719680"/>
                <a:gd name="connsiteY7872" fmla="*/ 3830224 h 5704395"/>
                <a:gd name="connsiteX7873" fmla="*/ 3663733 w 5719680"/>
                <a:gd name="connsiteY7873" fmla="*/ 3801071 h 5704395"/>
                <a:gd name="connsiteX7874" fmla="*/ 3646264 w 5719680"/>
                <a:gd name="connsiteY7874" fmla="*/ 3795367 h 5704395"/>
                <a:gd name="connsiteX7875" fmla="*/ 3653570 w 5719680"/>
                <a:gd name="connsiteY7875" fmla="*/ 3773184 h 5704395"/>
                <a:gd name="connsiteX7876" fmla="*/ 3628160 w 5719680"/>
                <a:gd name="connsiteY7876" fmla="*/ 3765262 h 5704395"/>
                <a:gd name="connsiteX7877" fmla="*/ 1628432 w 5719680"/>
                <a:gd name="connsiteY7877" fmla="*/ 3764312 h 5704395"/>
                <a:gd name="connsiteX7878" fmla="*/ 1628114 w 5719680"/>
                <a:gd name="connsiteY7878" fmla="*/ 3765262 h 5704395"/>
                <a:gd name="connsiteX7879" fmla="*/ 1616362 w 5719680"/>
                <a:gd name="connsiteY7879" fmla="*/ 3795367 h 5704395"/>
                <a:gd name="connsiteX7880" fmla="*/ 1730388 w 5719680"/>
                <a:gd name="connsiteY7880" fmla="*/ 3802972 h 5704395"/>
                <a:gd name="connsiteX7881" fmla="*/ 1736422 w 5719680"/>
                <a:gd name="connsiteY7881" fmla="*/ 3773818 h 5704395"/>
                <a:gd name="connsiteX7882" fmla="*/ 1628432 w 5719680"/>
                <a:gd name="connsiteY7882" fmla="*/ 3764312 h 5704395"/>
                <a:gd name="connsiteX7883" fmla="*/ 1152004 w 5719680"/>
                <a:gd name="connsiteY7883" fmla="*/ 3760826 h 5704395"/>
                <a:gd name="connsiteX7884" fmla="*/ 1125324 w 5719680"/>
                <a:gd name="connsiteY7884" fmla="*/ 3794733 h 5704395"/>
                <a:gd name="connsiteX7885" fmla="*/ 1156133 w 5719680"/>
                <a:gd name="connsiteY7885" fmla="*/ 3820718 h 5704395"/>
                <a:gd name="connsiteX7886" fmla="*/ 1174555 w 5719680"/>
                <a:gd name="connsiteY7886" fmla="*/ 3797902 h 5704395"/>
                <a:gd name="connsiteX7887" fmla="*/ 1173284 w 5719680"/>
                <a:gd name="connsiteY7887" fmla="*/ 3796951 h 5704395"/>
                <a:gd name="connsiteX7888" fmla="*/ 1175825 w 5719680"/>
                <a:gd name="connsiteY7888" fmla="*/ 3793782 h 5704395"/>
                <a:gd name="connsiteX7889" fmla="*/ 1181225 w 5719680"/>
                <a:gd name="connsiteY7889" fmla="*/ 3785860 h 5704395"/>
                <a:gd name="connsiteX7890" fmla="*/ 1152004 w 5719680"/>
                <a:gd name="connsiteY7890" fmla="*/ 3760826 h 5704395"/>
                <a:gd name="connsiteX7891" fmla="*/ 985889 w 5719680"/>
                <a:gd name="connsiteY7891" fmla="*/ 3760826 h 5704395"/>
                <a:gd name="connsiteX7892" fmla="*/ 979219 w 5719680"/>
                <a:gd name="connsiteY7892" fmla="*/ 3777621 h 5704395"/>
                <a:gd name="connsiteX7893" fmla="*/ 1026227 w 5719680"/>
                <a:gd name="connsiteY7893" fmla="*/ 3794099 h 5704395"/>
                <a:gd name="connsiteX7894" fmla="*/ 1030356 w 5719680"/>
                <a:gd name="connsiteY7894" fmla="*/ 3795683 h 5704395"/>
                <a:gd name="connsiteX7895" fmla="*/ 1029085 w 5719680"/>
                <a:gd name="connsiteY7895" fmla="*/ 3799803 h 5704395"/>
                <a:gd name="connsiteX7896" fmla="*/ 1024639 w 5719680"/>
                <a:gd name="connsiteY7896" fmla="*/ 3813112 h 5704395"/>
                <a:gd name="connsiteX7897" fmla="*/ 1032579 w 5719680"/>
                <a:gd name="connsiteY7897" fmla="*/ 3823886 h 5704395"/>
                <a:gd name="connsiteX7898" fmla="*/ 1071329 w 5719680"/>
                <a:gd name="connsiteY7898" fmla="*/ 3825154 h 5704395"/>
                <a:gd name="connsiteX7899" fmla="*/ 1072917 w 5719680"/>
                <a:gd name="connsiteY7899" fmla="*/ 3821668 h 5704395"/>
                <a:gd name="connsiteX7900" fmla="*/ 1062118 w 5719680"/>
                <a:gd name="connsiteY7900" fmla="*/ 3788712 h 5704395"/>
                <a:gd name="connsiteX7901" fmla="*/ 3625619 w 5719680"/>
                <a:gd name="connsiteY7901" fmla="*/ 3759875 h 5704395"/>
                <a:gd name="connsiteX7902" fmla="*/ 3658651 w 5719680"/>
                <a:gd name="connsiteY7902" fmla="*/ 3770649 h 5704395"/>
                <a:gd name="connsiteX7903" fmla="*/ 3651664 w 5719680"/>
                <a:gd name="connsiteY7903" fmla="*/ 3792515 h 5704395"/>
                <a:gd name="connsiteX7904" fmla="*/ 3668815 w 5719680"/>
                <a:gd name="connsiteY7904" fmla="*/ 3798219 h 5704395"/>
                <a:gd name="connsiteX7905" fmla="*/ 3668180 w 5719680"/>
                <a:gd name="connsiteY7905" fmla="*/ 3800120 h 5704395"/>
                <a:gd name="connsiteX7906" fmla="*/ 3657698 w 5719680"/>
                <a:gd name="connsiteY7906" fmla="*/ 3835611 h 5704395"/>
                <a:gd name="connsiteX7907" fmla="*/ 3622125 w 5719680"/>
                <a:gd name="connsiteY7907" fmla="*/ 3824203 h 5704395"/>
                <a:gd name="connsiteX7908" fmla="*/ 3623078 w 5719680"/>
                <a:gd name="connsiteY7908" fmla="*/ 3821034 h 5704395"/>
                <a:gd name="connsiteX7909" fmla="*/ 3607515 w 5719680"/>
                <a:gd name="connsiteY7909" fmla="*/ 3815964 h 5704395"/>
                <a:gd name="connsiteX7910" fmla="*/ 3625619 w 5719680"/>
                <a:gd name="connsiteY7910" fmla="*/ 3759875 h 5704395"/>
                <a:gd name="connsiteX7911" fmla="*/ 517719 w 5719680"/>
                <a:gd name="connsiteY7911" fmla="*/ 3758924 h 5704395"/>
                <a:gd name="connsiteX7912" fmla="*/ 466900 w 5719680"/>
                <a:gd name="connsiteY7912" fmla="*/ 3766213 h 5704395"/>
                <a:gd name="connsiteX7913" fmla="*/ 494533 w 5719680"/>
                <a:gd name="connsiteY7913" fmla="*/ 3814697 h 5704395"/>
                <a:gd name="connsiteX7914" fmla="*/ 557421 w 5719680"/>
                <a:gd name="connsiteY7914" fmla="*/ 3840365 h 5704395"/>
                <a:gd name="connsiteX7915" fmla="*/ 567267 w 5719680"/>
                <a:gd name="connsiteY7915" fmla="*/ 3802021 h 5704395"/>
                <a:gd name="connsiteX7916" fmla="*/ 535188 w 5719680"/>
                <a:gd name="connsiteY7916" fmla="*/ 3784275 h 5704395"/>
                <a:gd name="connsiteX7917" fmla="*/ 517719 w 5719680"/>
                <a:gd name="connsiteY7917" fmla="*/ 3758924 h 5704395"/>
                <a:gd name="connsiteX7918" fmla="*/ 983031 w 5719680"/>
                <a:gd name="connsiteY7918" fmla="*/ 3755122 h 5704395"/>
                <a:gd name="connsiteX7919" fmla="*/ 1065611 w 5719680"/>
                <a:gd name="connsiteY7919" fmla="*/ 3785543 h 5704395"/>
                <a:gd name="connsiteX7920" fmla="*/ 1077681 w 5719680"/>
                <a:gd name="connsiteY7920" fmla="*/ 3821668 h 5704395"/>
                <a:gd name="connsiteX7921" fmla="*/ 1074187 w 5719680"/>
                <a:gd name="connsiteY7921" fmla="*/ 3829590 h 5704395"/>
                <a:gd name="connsiteX7922" fmla="*/ 1030356 w 5719680"/>
                <a:gd name="connsiteY7922" fmla="*/ 3828323 h 5704395"/>
                <a:gd name="connsiteX7923" fmla="*/ 1019557 w 5719680"/>
                <a:gd name="connsiteY7923" fmla="*/ 3814063 h 5704395"/>
                <a:gd name="connsiteX7924" fmla="*/ 1024956 w 5719680"/>
                <a:gd name="connsiteY7924" fmla="*/ 3798535 h 5704395"/>
                <a:gd name="connsiteX7925" fmla="*/ 973502 w 5719680"/>
                <a:gd name="connsiteY7925" fmla="*/ 3780156 h 5704395"/>
                <a:gd name="connsiteX7926" fmla="*/ 1095785 w 5719680"/>
                <a:gd name="connsiteY7926" fmla="*/ 3754805 h 5704395"/>
                <a:gd name="connsiteX7927" fmla="*/ 1081810 w 5719680"/>
                <a:gd name="connsiteY7927" fmla="*/ 3771917 h 5704395"/>
                <a:gd name="connsiteX7928" fmla="*/ 1109443 w 5719680"/>
                <a:gd name="connsiteY7928" fmla="*/ 3806774 h 5704395"/>
                <a:gd name="connsiteX7929" fmla="*/ 1118654 w 5719680"/>
                <a:gd name="connsiteY7929" fmla="*/ 3795050 h 5704395"/>
                <a:gd name="connsiteX7930" fmla="*/ 1118018 w 5719680"/>
                <a:gd name="connsiteY7930" fmla="*/ 3794416 h 5704395"/>
                <a:gd name="connsiteX7931" fmla="*/ 1128500 w 5719680"/>
                <a:gd name="connsiteY7931" fmla="*/ 3781740 h 5704395"/>
                <a:gd name="connsiteX7932" fmla="*/ 1126912 w 5719680"/>
                <a:gd name="connsiteY7932" fmla="*/ 3780790 h 5704395"/>
                <a:gd name="connsiteX7933" fmla="*/ 1127229 w 5719680"/>
                <a:gd name="connsiteY7933" fmla="*/ 3780473 h 5704395"/>
                <a:gd name="connsiteX7934" fmla="*/ 1095785 w 5719680"/>
                <a:gd name="connsiteY7934" fmla="*/ 3754805 h 5704395"/>
                <a:gd name="connsiteX7935" fmla="*/ 520578 w 5719680"/>
                <a:gd name="connsiteY7935" fmla="*/ 3754171 h 5704395"/>
                <a:gd name="connsiteX7936" fmla="*/ 538364 w 5719680"/>
                <a:gd name="connsiteY7936" fmla="*/ 3781107 h 5704395"/>
                <a:gd name="connsiteX7937" fmla="*/ 572667 w 5719680"/>
                <a:gd name="connsiteY7937" fmla="*/ 3798852 h 5704395"/>
                <a:gd name="connsiteX7938" fmla="*/ 560280 w 5719680"/>
                <a:gd name="connsiteY7938" fmla="*/ 3846069 h 5704395"/>
                <a:gd name="connsiteX7939" fmla="*/ 492309 w 5719680"/>
                <a:gd name="connsiteY7939" fmla="*/ 3818182 h 5704395"/>
                <a:gd name="connsiteX7940" fmla="*/ 460865 w 5719680"/>
                <a:gd name="connsiteY7940" fmla="*/ 3762410 h 5704395"/>
                <a:gd name="connsiteX7941" fmla="*/ 520578 w 5719680"/>
                <a:gd name="connsiteY7941" fmla="*/ 3754171 h 5704395"/>
                <a:gd name="connsiteX7942" fmla="*/ 1414039 w 5719680"/>
                <a:gd name="connsiteY7942" fmla="*/ 3745932 h 5704395"/>
                <a:gd name="connsiteX7943" fmla="*/ 1404511 w 5719680"/>
                <a:gd name="connsiteY7943" fmla="*/ 3795050 h 5704395"/>
                <a:gd name="connsiteX7944" fmla="*/ 1378466 w 5719680"/>
                <a:gd name="connsiteY7944" fmla="*/ 3813746 h 5704395"/>
                <a:gd name="connsiteX7945" fmla="*/ 1437225 w 5719680"/>
                <a:gd name="connsiteY7945" fmla="*/ 3886947 h 5704395"/>
                <a:gd name="connsiteX7946" fmla="*/ 1466764 w 5719680"/>
                <a:gd name="connsiteY7946" fmla="*/ 3867300 h 5704395"/>
                <a:gd name="connsiteX7947" fmla="*/ 1436590 w 5719680"/>
                <a:gd name="connsiteY7947" fmla="*/ 3823253 h 5704395"/>
                <a:gd name="connsiteX7948" fmla="*/ 1456600 w 5719680"/>
                <a:gd name="connsiteY7948" fmla="*/ 3816598 h 5704395"/>
                <a:gd name="connsiteX7949" fmla="*/ 1513454 w 5719680"/>
                <a:gd name="connsiteY7949" fmla="*/ 3898672 h 5704395"/>
                <a:gd name="connsiteX7950" fmla="*/ 1513454 w 5719680"/>
                <a:gd name="connsiteY7950" fmla="*/ 3898355 h 5704395"/>
                <a:gd name="connsiteX7951" fmla="*/ 1518853 w 5719680"/>
                <a:gd name="connsiteY7951" fmla="*/ 3870786 h 5704395"/>
                <a:gd name="connsiteX7952" fmla="*/ 1537911 w 5719680"/>
                <a:gd name="connsiteY7952" fmla="*/ 3836245 h 5704395"/>
                <a:gd name="connsiteX7953" fmla="*/ 1414039 w 5719680"/>
                <a:gd name="connsiteY7953" fmla="*/ 3745932 h 5704395"/>
                <a:gd name="connsiteX7954" fmla="*/ 188348 w 5719680"/>
                <a:gd name="connsiteY7954" fmla="*/ 3743714 h 5704395"/>
                <a:gd name="connsiteX7955" fmla="*/ 56536 w 5719680"/>
                <a:gd name="connsiteY7955" fmla="*/ 3806458 h 5704395"/>
                <a:gd name="connsiteX7956" fmla="*/ 50184 w 5719680"/>
                <a:gd name="connsiteY7956" fmla="*/ 3833076 h 5704395"/>
                <a:gd name="connsiteX7957" fmla="*/ 77499 w 5719680"/>
                <a:gd name="connsiteY7957" fmla="*/ 3844484 h 5704395"/>
                <a:gd name="connsiteX7958" fmla="*/ 82899 w 5719680"/>
                <a:gd name="connsiteY7958" fmla="*/ 3817549 h 5704395"/>
                <a:gd name="connsiteX7959" fmla="*/ 201053 w 5719680"/>
                <a:gd name="connsiteY7959" fmla="*/ 3762093 h 5704395"/>
                <a:gd name="connsiteX7960" fmla="*/ 188348 w 5719680"/>
                <a:gd name="connsiteY7960" fmla="*/ 3743714 h 5704395"/>
                <a:gd name="connsiteX7961" fmla="*/ 932212 w 5719680"/>
                <a:gd name="connsiteY7961" fmla="*/ 3742446 h 5704395"/>
                <a:gd name="connsiteX7962" fmla="*/ 902038 w 5719680"/>
                <a:gd name="connsiteY7962" fmla="*/ 3744664 h 5704395"/>
                <a:gd name="connsiteX7963" fmla="*/ 891874 w 5719680"/>
                <a:gd name="connsiteY7963" fmla="*/ 3775086 h 5704395"/>
                <a:gd name="connsiteX7964" fmla="*/ 890921 w 5719680"/>
                <a:gd name="connsiteY7964" fmla="*/ 3778255 h 5704395"/>
                <a:gd name="connsiteX7965" fmla="*/ 887745 w 5719680"/>
                <a:gd name="connsiteY7965" fmla="*/ 3778255 h 5704395"/>
                <a:gd name="connsiteX7966" fmla="*/ 857253 w 5719680"/>
                <a:gd name="connsiteY7966" fmla="*/ 3778255 h 5704395"/>
                <a:gd name="connsiteX7967" fmla="*/ 846772 w 5719680"/>
                <a:gd name="connsiteY7967" fmla="*/ 3807725 h 5704395"/>
                <a:gd name="connsiteX7968" fmla="*/ 909661 w 5719680"/>
                <a:gd name="connsiteY7968" fmla="*/ 3811211 h 5704395"/>
                <a:gd name="connsiteX7969" fmla="*/ 932212 w 5719680"/>
                <a:gd name="connsiteY7969" fmla="*/ 3742446 h 5704395"/>
                <a:gd name="connsiteX7970" fmla="*/ 2632107 w 5719680"/>
                <a:gd name="connsiteY7970" fmla="*/ 3740545 h 5704395"/>
                <a:gd name="connsiteX7971" fmla="*/ 2577159 w 5719680"/>
                <a:gd name="connsiteY7971" fmla="*/ 3767164 h 5704395"/>
                <a:gd name="connsiteX7972" fmla="*/ 2555561 w 5719680"/>
                <a:gd name="connsiteY7972" fmla="*/ 3794416 h 5704395"/>
                <a:gd name="connsiteX7973" fmla="*/ 2553656 w 5719680"/>
                <a:gd name="connsiteY7973" fmla="*/ 3797585 h 5704395"/>
                <a:gd name="connsiteX7974" fmla="*/ 2530469 w 5719680"/>
                <a:gd name="connsiteY7974" fmla="*/ 3762093 h 5704395"/>
                <a:gd name="connsiteX7975" fmla="*/ 2444077 w 5719680"/>
                <a:gd name="connsiteY7975" fmla="*/ 3939551 h 5704395"/>
                <a:gd name="connsiteX7976" fmla="*/ 2517764 w 5719680"/>
                <a:gd name="connsiteY7976" fmla="*/ 3924974 h 5704395"/>
                <a:gd name="connsiteX7977" fmla="*/ 2517764 w 5719680"/>
                <a:gd name="connsiteY7977" fmla="*/ 3927826 h 5704395"/>
                <a:gd name="connsiteX7978" fmla="*/ 2526976 w 5719680"/>
                <a:gd name="connsiteY7978" fmla="*/ 3974091 h 5704395"/>
                <a:gd name="connsiteX7979" fmla="*/ 2578430 w 5719680"/>
                <a:gd name="connsiteY7979" fmla="*/ 4019723 h 5704395"/>
                <a:gd name="connsiteX7980" fmla="*/ 2580018 w 5719680"/>
                <a:gd name="connsiteY7980" fmla="*/ 4019723 h 5704395"/>
                <a:gd name="connsiteX7981" fmla="*/ 2646718 w 5719680"/>
                <a:gd name="connsiteY7981" fmla="*/ 3980112 h 5704395"/>
                <a:gd name="connsiteX7982" fmla="*/ 2669269 w 5719680"/>
                <a:gd name="connsiteY7982" fmla="*/ 3941452 h 5704395"/>
                <a:gd name="connsiteX7983" fmla="*/ 2670857 w 5719680"/>
                <a:gd name="connsiteY7983" fmla="*/ 3937332 h 5704395"/>
                <a:gd name="connsiteX7984" fmla="*/ 2684832 w 5719680"/>
                <a:gd name="connsiteY7984" fmla="*/ 3956979 h 5704395"/>
                <a:gd name="connsiteX7985" fmla="*/ 2774718 w 5719680"/>
                <a:gd name="connsiteY7985" fmla="*/ 3779839 h 5704395"/>
                <a:gd name="connsiteX7986" fmla="*/ 2687055 w 5719680"/>
                <a:gd name="connsiteY7986" fmla="*/ 3796634 h 5704395"/>
                <a:gd name="connsiteX7987" fmla="*/ 2686738 w 5719680"/>
                <a:gd name="connsiteY7987" fmla="*/ 3794733 h 5704395"/>
                <a:gd name="connsiteX7988" fmla="*/ 2675304 w 5719680"/>
                <a:gd name="connsiteY7988" fmla="*/ 3769065 h 5704395"/>
                <a:gd name="connsiteX7989" fmla="*/ 2639412 w 5719680"/>
                <a:gd name="connsiteY7989" fmla="*/ 3740862 h 5704395"/>
                <a:gd name="connsiteX7990" fmla="*/ 2632107 w 5719680"/>
                <a:gd name="connsiteY7990" fmla="*/ 3740545 h 5704395"/>
                <a:gd name="connsiteX7991" fmla="*/ 1169155 w 5719680"/>
                <a:gd name="connsiteY7991" fmla="*/ 3738960 h 5704395"/>
                <a:gd name="connsiteX7992" fmla="*/ 1154545 w 5719680"/>
                <a:gd name="connsiteY7992" fmla="*/ 3757340 h 5704395"/>
                <a:gd name="connsiteX7993" fmla="*/ 1185671 w 5719680"/>
                <a:gd name="connsiteY7993" fmla="*/ 3783642 h 5704395"/>
                <a:gd name="connsiteX7994" fmla="*/ 1193929 w 5719680"/>
                <a:gd name="connsiteY7994" fmla="*/ 3773184 h 5704395"/>
                <a:gd name="connsiteX7995" fmla="*/ 1195200 w 5719680"/>
                <a:gd name="connsiteY7995" fmla="*/ 3774135 h 5704395"/>
                <a:gd name="connsiteX7996" fmla="*/ 1183448 w 5719680"/>
                <a:gd name="connsiteY7996" fmla="*/ 3749101 h 5704395"/>
                <a:gd name="connsiteX7997" fmla="*/ 1169155 w 5719680"/>
                <a:gd name="connsiteY7997" fmla="*/ 3738960 h 5704395"/>
                <a:gd name="connsiteX7998" fmla="*/ 1410863 w 5719680"/>
                <a:gd name="connsiteY7998" fmla="*/ 3737693 h 5704395"/>
                <a:gd name="connsiteX7999" fmla="*/ 1543945 w 5719680"/>
                <a:gd name="connsiteY7999" fmla="*/ 3834978 h 5704395"/>
                <a:gd name="connsiteX8000" fmla="*/ 1542992 w 5719680"/>
                <a:gd name="connsiteY8000" fmla="*/ 3836879 h 5704395"/>
                <a:gd name="connsiteX8001" fmla="*/ 1522983 w 5719680"/>
                <a:gd name="connsiteY8001" fmla="*/ 3873004 h 5704395"/>
                <a:gd name="connsiteX8002" fmla="*/ 1517901 w 5719680"/>
                <a:gd name="connsiteY8002" fmla="*/ 3898355 h 5704395"/>
                <a:gd name="connsiteX8003" fmla="*/ 1518536 w 5719680"/>
                <a:gd name="connsiteY8003" fmla="*/ 3906594 h 5704395"/>
                <a:gd name="connsiteX8004" fmla="*/ 1514089 w 5719680"/>
                <a:gd name="connsiteY8004" fmla="*/ 3908179 h 5704395"/>
                <a:gd name="connsiteX8005" fmla="*/ 1454694 w 5719680"/>
                <a:gd name="connsiteY8005" fmla="*/ 3821985 h 5704395"/>
                <a:gd name="connsiteX8006" fmla="*/ 1443895 w 5719680"/>
                <a:gd name="connsiteY8006" fmla="*/ 3825788 h 5704395"/>
                <a:gd name="connsiteX8007" fmla="*/ 1473434 w 5719680"/>
                <a:gd name="connsiteY8007" fmla="*/ 3868568 h 5704395"/>
                <a:gd name="connsiteX8008" fmla="*/ 1436273 w 5719680"/>
                <a:gd name="connsiteY8008" fmla="*/ 3893285 h 5704395"/>
                <a:gd name="connsiteX8009" fmla="*/ 1371796 w 5719680"/>
                <a:gd name="connsiteY8009" fmla="*/ 3812795 h 5704395"/>
                <a:gd name="connsiteX8010" fmla="*/ 1400382 w 5719680"/>
                <a:gd name="connsiteY8010" fmla="*/ 3792198 h 5704395"/>
                <a:gd name="connsiteX8011" fmla="*/ 1410863 w 5719680"/>
                <a:gd name="connsiteY8011" fmla="*/ 3737693 h 5704395"/>
                <a:gd name="connsiteX8012" fmla="*/ 938564 w 5719680"/>
                <a:gd name="connsiteY8012" fmla="*/ 3737693 h 5704395"/>
                <a:gd name="connsiteX8013" fmla="*/ 912837 w 5719680"/>
                <a:gd name="connsiteY8013" fmla="*/ 3815647 h 5704395"/>
                <a:gd name="connsiteX8014" fmla="*/ 840737 w 5719680"/>
                <a:gd name="connsiteY8014" fmla="*/ 3811845 h 5704395"/>
                <a:gd name="connsiteX8015" fmla="*/ 854395 w 5719680"/>
                <a:gd name="connsiteY8015" fmla="*/ 3773818 h 5704395"/>
                <a:gd name="connsiteX8016" fmla="*/ 887745 w 5719680"/>
                <a:gd name="connsiteY8016" fmla="*/ 3773818 h 5704395"/>
                <a:gd name="connsiteX8017" fmla="*/ 898862 w 5719680"/>
                <a:gd name="connsiteY8017" fmla="*/ 3740228 h 5704395"/>
                <a:gd name="connsiteX8018" fmla="*/ 938564 w 5719680"/>
                <a:gd name="connsiteY8018" fmla="*/ 3737693 h 5704395"/>
                <a:gd name="connsiteX8019" fmla="*/ 189936 w 5719680"/>
                <a:gd name="connsiteY8019" fmla="*/ 3737693 h 5704395"/>
                <a:gd name="connsiteX8020" fmla="*/ 190889 w 5719680"/>
                <a:gd name="connsiteY8020" fmla="*/ 3739277 h 5704395"/>
                <a:gd name="connsiteX8021" fmla="*/ 208358 w 5719680"/>
                <a:gd name="connsiteY8021" fmla="*/ 3763995 h 5704395"/>
                <a:gd name="connsiteX8022" fmla="*/ 87028 w 5719680"/>
                <a:gd name="connsiteY8022" fmla="*/ 3821034 h 5704395"/>
                <a:gd name="connsiteX8023" fmla="*/ 80993 w 5719680"/>
                <a:gd name="connsiteY8023" fmla="*/ 3851139 h 5704395"/>
                <a:gd name="connsiteX8024" fmla="*/ 44467 w 5719680"/>
                <a:gd name="connsiteY8024" fmla="*/ 3835611 h 5704395"/>
                <a:gd name="connsiteX8025" fmla="*/ 52407 w 5719680"/>
                <a:gd name="connsiteY8025" fmla="*/ 3803289 h 5704395"/>
                <a:gd name="connsiteX8026" fmla="*/ 189936 w 5719680"/>
                <a:gd name="connsiteY8026" fmla="*/ 3737693 h 5704395"/>
                <a:gd name="connsiteX8027" fmla="*/ 2632107 w 5719680"/>
                <a:gd name="connsiteY8027" fmla="*/ 3735792 h 5704395"/>
                <a:gd name="connsiteX8028" fmla="*/ 2640048 w 5719680"/>
                <a:gd name="connsiteY8028" fmla="*/ 3736425 h 5704395"/>
                <a:gd name="connsiteX8029" fmla="*/ 2690549 w 5719680"/>
                <a:gd name="connsiteY8029" fmla="*/ 3791247 h 5704395"/>
                <a:gd name="connsiteX8030" fmla="*/ 2783294 w 5719680"/>
                <a:gd name="connsiteY8030" fmla="*/ 3773501 h 5704395"/>
                <a:gd name="connsiteX8031" fmla="*/ 2781070 w 5719680"/>
                <a:gd name="connsiteY8031" fmla="*/ 3777621 h 5704395"/>
                <a:gd name="connsiteX8032" fmla="*/ 2685467 w 5719680"/>
                <a:gd name="connsiteY8032" fmla="*/ 3966169 h 5704395"/>
                <a:gd name="connsiteX8033" fmla="*/ 2671810 w 5719680"/>
                <a:gd name="connsiteY8033" fmla="*/ 3946839 h 5704395"/>
                <a:gd name="connsiteX8034" fmla="*/ 2580018 w 5719680"/>
                <a:gd name="connsiteY8034" fmla="*/ 4024160 h 5704395"/>
                <a:gd name="connsiteX8035" fmla="*/ 2578430 w 5719680"/>
                <a:gd name="connsiteY8035" fmla="*/ 4024160 h 5704395"/>
                <a:gd name="connsiteX8036" fmla="*/ 2522529 w 5719680"/>
                <a:gd name="connsiteY8036" fmla="*/ 3975676 h 5704395"/>
                <a:gd name="connsiteX8037" fmla="*/ 2513318 w 5719680"/>
                <a:gd name="connsiteY8037" fmla="*/ 3930678 h 5704395"/>
                <a:gd name="connsiteX8038" fmla="*/ 2435819 w 5719680"/>
                <a:gd name="connsiteY8038" fmla="*/ 3945888 h 5704395"/>
                <a:gd name="connsiteX8039" fmla="*/ 2530152 w 5719680"/>
                <a:gd name="connsiteY8039" fmla="*/ 3752587 h 5704395"/>
                <a:gd name="connsiteX8040" fmla="*/ 2553338 w 5719680"/>
                <a:gd name="connsiteY8040" fmla="*/ 3788712 h 5704395"/>
                <a:gd name="connsiteX8041" fmla="*/ 2632107 w 5719680"/>
                <a:gd name="connsiteY8041" fmla="*/ 3735792 h 5704395"/>
                <a:gd name="connsiteX8042" fmla="*/ 693362 w 5719680"/>
                <a:gd name="connsiteY8042" fmla="*/ 3734207 h 5704395"/>
                <a:gd name="connsiteX8043" fmla="*/ 676528 w 5719680"/>
                <a:gd name="connsiteY8043" fmla="*/ 3809943 h 5704395"/>
                <a:gd name="connsiteX8044" fmla="*/ 684469 w 5719680"/>
                <a:gd name="connsiteY8044" fmla="*/ 3797902 h 5704395"/>
                <a:gd name="connsiteX8045" fmla="*/ 702891 w 5719680"/>
                <a:gd name="connsiteY8045" fmla="*/ 3768748 h 5704395"/>
                <a:gd name="connsiteX8046" fmla="*/ 713372 w 5719680"/>
                <a:gd name="connsiteY8046" fmla="*/ 3734841 h 5704395"/>
                <a:gd name="connsiteX8047" fmla="*/ 706385 w 5719680"/>
                <a:gd name="connsiteY8047" fmla="*/ 3734841 h 5704395"/>
                <a:gd name="connsiteX8048" fmla="*/ 693362 w 5719680"/>
                <a:gd name="connsiteY8048" fmla="*/ 3734207 h 5704395"/>
                <a:gd name="connsiteX8049" fmla="*/ 958574 w 5719680"/>
                <a:gd name="connsiteY8049" fmla="*/ 3732940 h 5704395"/>
                <a:gd name="connsiteX8050" fmla="*/ 935705 w 5719680"/>
                <a:gd name="connsiteY8050" fmla="*/ 3798535 h 5704395"/>
                <a:gd name="connsiteX8051" fmla="*/ 1011299 w 5719680"/>
                <a:gd name="connsiteY8051" fmla="*/ 3824203 h 5704395"/>
                <a:gd name="connsiteX8052" fmla="*/ 992241 w 5719680"/>
                <a:gd name="connsiteY8052" fmla="*/ 3871420 h 5704395"/>
                <a:gd name="connsiteX8053" fmla="*/ 1061482 w 5719680"/>
                <a:gd name="connsiteY8053" fmla="*/ 3898038 h 5704395"/>
                <a:gd name="connsiteX8054" fmla="*/ 1081175 w 5719680"/>
                <a:gd name="connsiteY8054" fmla="*/ 3858427 h 5704395"/>
                <a:gd name="connsiteX8055" fmla="*/ 1095785 w 5719680"/>
                <a:gd name="connsiteY8055" fmla="*/ 3829907 h 5704395"/>
                <a:gd name="connsiteX8056" fmla="*/ 1100867 w 5719680"/>
                <a:gd name="connsiteY8056" fmla="*/ 3820401 h 5704395"/>
                <a:gd name="connsiteX8057" fmla="*/ 1101185 w 5719680"/>
                <a:gd name="connsiteY8057" fmla="*/ 3819450 h 5704395"/>
                <a:gd name="connsiteX8058" fmla="*/ 1068788 w 5719680"/>
                <a:gd name="connsiteY8058" fmla="*/ 3778571 h 5704395"/>
                <a:gd name="connsiteX8059" fmla="*/ 1024321 w 5719680"/>
                <a:gd name="connsiteY8059" fmla="*/ 3755756 h 5704395"/>
                <a:gd name="connsiteX8060" fmla="*/ 958574 w 5719680"/>
                <a:gd name="connsiteY8060" fmla="*/ 3732940 h 5704395"/>
                <a:gd name="connsiteX8061" fmla="*/ 192795 w 5719680"/>
                <a:gd name="connsiteY8061" fmla="*/ 3731038 h 5704395"/>
                <a:gd name="connsiteX8062" fmla="*/ 47643 w 5719680"/>
                <a:gd name="connsiteY8062" fmla="*/ 3801071 h 5704395"/>
                <a:gd name="connsiteX8063" fmla="*/ 36526 w 5719680"/>
                <a:gd name="connsiteY8063" fmla="*/ 3846702 h 5704395"/>
                <a:gd name="connsiteX8064" fmla="*/ 58760 w 5719680"/>
                <a:gd name="connsiteY8064" fmla="*/ 3855258 h 5704395"/>
                <a:gd name="connsiteX8065" fmla="*/ 72100 w 5719680"/>
                <a:gd name="connsiteY8065" fmla="*/ 3866033 h 5704395"/>
                <a:gd name="connsiteX8066" fmla="*/ 101321 w 5719680"/>
                <a:gd name="connsiteY8066" fmla="*/ 3850822 h 5704395"/>
                <a:gd name="connsiteX8067" fmla="*/ 107038 w 5719680"/>
                <a:gd name="connsiteY8067" fmla="*/ 3846702 h 5704395"/>
                <a:gd name="connsiteX8068" fmla="*/ 107673 w 5719680"/>
                <a:gd name="connsiteY8068" fmla="*/ 3847653 h 5704395"/>
                <a:gd name="connsiteX8069" fmla="*/ 230909 w 5719680"/>
                <a:gd name="connsiteY8069" fmla="*/ 3783959 h 5704395"/>
                <a:gd name="connsiteX8070" fmla="*/ 192795 w 5719680"/>
                <a:gd name="connsiteY8070" fmla="*/ 3731038 h 5704395"/>
                <a:gd name="connsiteX8071" fmla="*/ 854077 w 5719680"/>
                <a:gd name="connsiteY8071" fmla="*/ 3730721 h 5704395"/>
                <a:gd name="connsiteX8072" fmla="*/ 809611 w 5719680"/>
                <a:gd name="connsiteY8072" fmla="*/ 3736742 h 5704395"/>
                <a:gd name="connsiteX8073" fmla="*/ 787377 w 5719680"/>
                <a:gd name="connsiteY8073" fmla="*/ 3770332 h 5704395"/>
                <a:gd name="connsiteX8074" fmla="*/ 818186 w 5719680"/>
                <a:gd name="connsiteY8074" fmla="*/ 3771283 h 5704395"/>
                <a:gd name="connsiteX8075" fmla="*/ 827080 w 5719680"/>
                <a:gd name="connsiteY8075" fmla="*/ 3748150 h 5704395"/>
                <a:gd name="connsiteX8076" fmla="*/ 828350 w 5719680"/>
                <a:gd name="connsiteY8076" fmla="*/ 3745298 h 5704395"/>
                <a:gd name="connsiteX8077" fmla="*/ 831209 w 5719680"/>
                <a:gd name="connsiteY8077" fmla="*/ 3745298 h 5704395"/>
                <a:gd name="connsiteX8078" fmla="*/ 847407 w 5719680"/>
                <a:gd name="connsiteY8078" fmla="*/ 3745298 h 5704395"/>
                <a:gd name="connsiteX8079" fmla="*/ 854077 w 5719680"/>
                <a:gd name="connsiteY8079" fmla="*/ 3730721 h 5704395"/>
                <a:gd name="connsiteX8080" fmla="*/ 3669768 w 5719680"/>
                <a:gd name="connsiteY8080" fmla="*/ 3730088 h 5704395"/>
                <a:gd name="connsiteX8081" fmla="*/ 3564001 w 5719680"/>
                <a:gd name="connsiteY8081" fmla="*/ 3764628 h 5704395"/>
                <a:gd name="connsiteX8082" fmla="*/ 3610056 w 5719680"/>
                <a:gd name="connsiteY8082" fmla="*/ 3885046 h 5704395"/>
                <a:gd name="connsiteX8083" fmla="*/ 3716140 w 5719680"/>
                <a:gd name="connsiteY8083" fmla="*/ 3851139 h 5704395"/>
                <a:gd name="connsiteX8084" fmla="*/ 3669768 w 5719680"/>
                <a:gd name="connsiteY8084" fmla="*/ 3730088 h 5704395"/>
                <a:gd name="connsiteX8085" fmla="*/ 3726622 w 5719680"/>
                <a:gd name="connsiteY8085" fmla="*/ 3729771 h 5704395"/>
                <a:gd name="connsiteX8086" fmla="*/ 3711058 w 5719680"/>
                <a:gd name="connsiteY8086" fmla="*/ 3777621 h 5704395"/>
                <a:gd name="connsiteX8087" fmla="*/ 3726940 w 5719680"/>
                <a:gd name="connsiteY8087" fmla="*/ 3782691 h 5704395"/>
                <a:gd name="connsiteX8088" fmla="*/ 3725669 w 5719680"/>
                <a:gd name="connsiteY8088" fmla="*/ 3785860 h 5704395"/>
                <a:gd name="connsiteX8089" fmla="*/ 3753302 w 5719680"/>
                <a:gd name="connsiteY8089" fmla="*/ 3794733 h 5704395"/>
                <a:gd name="connsiteX8090" fmla="*/ 3762195 w 5719680"/>
                <a:gd name="connsiteY8090" fmla="*/ 3765579 h 5704395"/>
                <a:gd name="connsiteX8091" fmla="*/ 3744726 w 5719680"/>
                <a:gd name="connsiteY8091" fmla="*/ 3759875 h 5704395"/>
                <a:gd name="connsiteX8092" fmla="*/ 3751714 w 5719680"/>
                <a:gd name="connsiteY8092" fmla="*/ 3737693 h 5704395"/>
                <a:gd name="connsiteX8093" fmla="*/ 3726622 w 5719680"/>
                <a:gd name="connsiteY8093" fmla="*/ 3729771 h 5704395"/>
                <a:gd name="connsiteX8094" fmla="*/ 769908 w 5719680"/>
                <a:gd name="connsiteY8094" fmla="*/ 3729454 h 5704395"/>
                <a:gd name="connsiteX8095" fmla="*/ 737511 w 5719680"/>
                <a:gd name="connsiteY8095" fmla="*/ 3731989 h 5704395"/>
                <a:gd name="connsiteX8096" fmla="*/ 734970 w 5719680"/>
                <a:gd name="connsiteY8096" fmla="*/ 3738644 h 5704395"/>
                <a:gd name="connsiteX8097" fmla="*/ 725442 w 5719680"/>
                <a:gd name="connsiteY8097" fmla="*/ 3768748 h 5704395"/>
                <a:gd name="connsiteX8098" fmla="*/ 724171 w 5719680"/>
                <a:gd name="connsiteY8098" fmla="*/ 3773501 h 5704395"/>
                <a:gd name="connsiteX8099" fmla="*/ 723854 w 5719680"/>
                <a:gd name="connsiteY8099" fmla="*/ 3774135 h 5704395"/>
                <a:gd name="connsiteX8100" fmla="*/ 723854 w 5719680"/>
                <a:gd name="connsiteY8100" fmla="*/ 3776036 h 5704395"/>
                <a:gd name="connsiteX8101" fmla="*/ 722583 w 5719680"/>
                <a:gd name="connsiteY8101" fmla="*/ 3778255 h 5704395"/>
                <a:gd name="connsiteX8102" fmla="*/ 654930 w 5719680"/>
                <a:gd name="connsiteY8102" fmla="*/ 3878708 h 5704395"/>
                <a:gd name="connsiteX8103" fmla="*/ 642861 w 5719680"/>
                <a:gd name="connsiteY8103" fmla="*/ 3895186 h 5704395"/>
                <a:gd name="connsiteX8104" fmla="*/ 731159 w 5719680"/>
                <a:gd name="connsiteY8104" fmla="*/ 3903425 h 5704395"/>
                <a:gd name="connsiteX8105" fmla="*/ 739417 w 5719680"/>
                <a:gd name="connsiteY8105" fmla="*/ 3847970 h 5704395"/>
                <a:gd name="connsiteX8106" fmla="*/ 747357 w 5719680"/>
                <a:gd name="connsiteY8106" fmla="*/ 3795050 h 5704395"/>
                <a:gd name="connsiteX8107" fmla="*/ 747357 w 5719680"/>
                <a:gd name="connsiteY8107" fmla="*/ 3794733 h 5704395"/>
                <a:gd name="connsiteX8108" fmla="*/ 747357 w 5719680"/>
                <a:gd name="connsiteY8108" fmla="*/ 3794416 h 5704395"/>
                <a:gd name="connsiteX8109" fmla="*/ 759109 w 5719680"/>
                <a:gd name="connsiteY8109" fmla="*/ 3759875 h 5704395"/>
                <a:gd name="connsiteX8110" fmla="*/ 767685 w 5719680"/>
                <a:gd name="connsiteY8110" fmla="*/ 3735792 h 5704395"/>
                <a:gd name="connsiteX8111" fmla="*/ 769908 w 5719680"/>
                <a:gd name="connsiteY8111" fmla="*/ 3729454 h 5704395"/>
                <a:gd name="connsiteX8112" fmla="*/ 1060847 w 5719680"/>
                <a:gd name="connsiteY8112" fmla="*/ 3726285 h 5704395"/>
                <a:gd name="connsiteX8113" fmla="*/ 1051001 w 5719680"/>
                <a:gd name="connsiteY8113" fmla="*/ 3738644 h 5704395"/>
                <a:gd name="connsiteX8114" fmla="*/ 1066882 w 5719680"/>
                <a:gd name="connsiteY8114" fmla="*/ 3761460 h 5704395"/>
                <a:gd name="connsiteX8115" fmla="*/ 1078316 w 5719680"/>
                <a:gd name="connsiteY8115" fmla="*/ 3767164 h 5704395"/>
                <a:gd name="connsiteX8116" fmla="*/ 1078634 w 5719680"/>
                <a:gd name="connsiteY8116" fmla="*/ 3767797 h 5704395"/>
                <a:gd name="connsiteX8117" fmla="*/ 1091656 w 5719680"/>
                <a:gd name="connsiteY8117" fmla="*/ 3751319 h 5704395"/>
                <a:gd name="connsiteX8118" fmla="*/ 1060847 w 5719680"/>
                <a:gd name="connsiteY8118" fmla="*/ 3726285 h 5704395"/>
                <a:gd name="connsiteX8119" fmla="*/ 861065 w 5719680"/>
                <a:gd name="connsiteY8119" fmla="*/ 3725334 h 5704395"/>
                <a:gd name="connsiteX8120" fmla="*/ 850266 w 5719680"/>
                <a:gd name="connsiteY8120" fmla="*/ 3749735 h 5704395"/>
                <a:gd name="connsiteX8121" fmla="*/ 831209 w 5719680"/>
                <a:gd name="connsiteY8121" fmla="*/ 3749735 h 5704395"/>
                <a:gd name="connsiteX8122" fmla="*/ 821363 w 5719680"/>
                <a:gd name="connsiteY8122" fmla="*/ 3775719 h 5704395"/>
                <a:gd name="connsiteX8123" fmla="*/ 779119 w 5719680"/>
                <a:gd name="connsiteY8123" fmla="*/ 3774452 h 5704395"/>
                <a:gd name="connsiteX8124" fmla="*/ 807070 w 5719680"/>
                <a:gd name="connsiteY8124" fmla="*/ 3732623 h 5704395"/>
                <a:gd name="connsiteX8125" fmla="*/ 861065 w 5719680"/>
                <a:gd name="connsiteY8125" fmla="*/ 3725334 h 5704395"/>
                <a:gd name="connsiteX8126" fmla="*/ 3724081 w 5719680"/>
                <a:gd name="connsiteY8126" fmla="*/ 3724384 h 5704395"/>
                <a:gd name="connsiteX8127" fmla="*/ 3757113 w 5719680"/>
                <a:gd name="connsiteY8127" fmla="*/ 3735158 h 5704395"/>
                <a:gd name="connsiteX8128" fmla="*/ 3749808 w 5719680"/>
                <a:gd name="connsiteY8128" fmla="*/ 3757340 h 5704395"/>
                <a:gd name="connsiteX8129" fmla="*/ 3767277 w 5719680"/>
                <a:gd name="connsiteY8129" fmla="*/ 3762727 h 5704395"/>
                <a:gd name="connsiteX8130" fmla="*/ 3766642 w 5719680"/>
                <a:gd name="connsiteY8130" fmla="*/ 3764628 h 5704395"/>
                <a:gd name="connsiteX8131" fmla="*/ 3756160 w 5719680"/>
                <a:gd name="connsiteY8131" fmla="*/ 3800120 h 5704395"/>
                <a:gd name="connsiteX8132" fmla="*/ 3720587 w 5719680"/>
                <a:gd name="connsiteY8132" fmla="*/ 3788712 h 5704395"/>
                <a:gd name="connsiteX8133" fmla="*/ 3721540 w 5719680"/>
                <a:gd name="connsiteY8133" fmla="*/ 3785543 h 5704395"/>
                <a:gd name="connsiteX8134" fmla="*/ 3705659 w 5719680"/>
                <a:gd name="connsiteY8134" fmla="*/ 3780473 h 5704395"/>
                <a:gd name="connsiteX8135" fmla="*/ 3724081 w 5719680"/>
                <a:gd name="connsiteY8135" fmla="*/ 3724384 h 5704395"/>
                <a:gd name="connsiteX8136" fmla="*/ 1942239 w 5719680"/>
                <a:gd name="connsiteY8136" fmla="*/ 3721849 h 5704395"/>
                <a:gd name="connsiteX8137" fmla="*/ 1932393 w 5719680"/>
                <a:gd name="connsiteY8137" fmla="*/ 3768748 h 5704395"/>
                <a:gd name="connsiteX8138" fmla="*/ 1975272 w 5719680"/>
                <a:gd name="connsiteY8138" fmla="*/ 3777304 h 5704395"/>
                <a:gd name="connsiteX8139" fmla="*/ 1986071 w 5719680"/>
                <a:gd name="connsiteY8139" fmla="*/ 3724701 h 5704395"/>
                <a:gd name="connsiteX8140" fmla="*/ 1949227 w 5719680"/>
                <a:gd name="connsiteY8140" fmla="*/ 3722482 h 5704395"/>
                <a:gd name="connsiteX8141" fmla="*/ 1942239 w 5719680"/>
                <a:gd name="connsiteY8141" fmla="*/ 3721849 h 5704395"/>
                <a:gd name="connsiteX8142" fmla="*/ 1924135 w 5719680"/>
                <a:gd name="connsiteY8142" fmla="*/ 3720898 h 5704395"/>
                <a:gd name="connsiteX8143" fmla="*/ 1916830 w 5719680"/>
                <a:gd name="connsiteY8143" fmla="*/ 3783008 h 5704395"/>
                <a:gd name="connsiteX8144" fmla="*/ 2089614 w 5719680"/>
                <a:gd name="connsiteY8144" fmla="*/ 3796000 h 5704395"/>
                <a:gd name="connsiteX8145" fmla="*/ 2096602 w 5719680"/>
                <a:gd name="connsiteY8145" fmla="*/ 3731355 h 5704395"/>
                <a:gd name="connsiteX8146" fmla="*/ 2010210 w 5719680"/>
                <a:gd name="connsiteY8146" fmla="*/ 3725968 h 5704395"/>
                <a:gd name="connsiteX8147" fmla="*/ 1990200 w 5719680"/>
                <a:gd name="connsiteY8147" fmla="*/ 3725017 h 5704395"/>
                <a:gd name="connsiteX8148" fmla="*/ 1978765 w 5719680"/>
                <a:gd name="connsiteY8148" fmla="*/ 3782057 h 5704395"/>
                <a:gd name="connsiteX8149" fmla="*/ 1927629 w 5719680"/>
                <a:gd name="connsiteY8149" fmla="*/ 3772234 h 5704395"/>
                <a:gd name="connsiteX8150" fmla="*/ 1938110 w 5719680"/>
                <a:gd name="connsiteY8150" fmla="*/ 3721849 h 5704395"/>
                <a:gd name="connsiteX8151" fmla="*/ 1929217 w 5719680"/>
                <a:gd name="connsiteY8151" fmla="*/ 3721215 h 5704395"/>
                <a:gd name="connsiteX8152" fmla="*/ 1924135 w 5719680"/>
                <a:gd name="connsiteY8152" fmla="*/ 3720898 h 5704395"/>
                <a:gd name="connsiteX8153" fmla="*/ 1125324 w 5719680"/>
                <a:gd name="connsiteY8153" fmla="*/ 3717729 h 5704395"/>
                <a:gd name="connsiteX8154" fmla="*/ 1098326 w 5719680"/>
                <a:gd name="connsiteY8154" fmla="*/ 3751319 h 5704395"/>
                <a:gd name="connsiteX8155" fmla="*/ 1130088 w 5719680"/>
                <a:gd name="connsiteY8155" fmla="*/ 3776987 h 5704395"/>
                <a:gd name="connsiteX8156" fmla="*/ 1146604 w 5719680"/>
                <a:gd name="connsiteY8156" fmla="*/ 3756389 h 5704395"/>
                <a:gd name="connsiteX8157" fmla="*/ 1144381 w 5719680"/>
                <a:gd name="connsiteY8157" fmla="*/ 3754805 h 5704395"/>
                <a:gd name="connsiteX8158" fmla="*/ 1147239 w 5719680"/>
                <a:gd name="connsiteY8158" fmla="*/ 3751319 h 5704395"/>
                <a:gd name="connsiteX8159" fmla="*/ 1154862 w 5719680"/>
                <a:gd name="connsiteY8159" fmla="*/ 3741812 h 5704395"/>
                <a:gd name="connsiteX8160" fmla="*/ 3875585 w 5719680"/>
                <a:gd name="connsiteY8160" fmla="*/ 3715194 h 5704395"/>
                <a:gd name="connsiteX8161" fmla="*/ 3830483 w 5719680"/>
                <a:gd name="connsiteY8161" fmla="*/ 3738327 h 5704395"/>
                <a:gd name="connsiteX8162" fmla="*/ 3838106 w 5719680"/>
                <a:gd name="connsiteY8162" fmla="*/ 3752904 h 5704395"/>
                <a:gd name="connsiteX8163" fmla="*/ 3835248 w 5719680"/>
                <a:gd name="connsiteY8163" fmla="*/ 3754488 h 5704395"/>
                <a:gd name="connsiteX8164" fmla="*/ 3848270 w 5719680"/>
                <a:gd name="connsiteY8164" fmla="*/ 3780156 h 5704395"/>
                <a:gd name="connsiteX8165" fmla="*/ 3875268 w 5719680"/>
                <a:gd name="connsiteY8165" fmla="*/ 3765579 h 5704395"/>
                <a:gd name="connsiteX8166" fmla="*/ 3867009 w 5719680"/>
                <a:gd name="connsiteY8166" fmla="*/ 3749418 h 5704395"/>
                <a:gd name="connsiteX8167" fmla="*/ 3887654 w 5719680"/>
                <a:gd name="connsiteY8167" fmla="*/ 3738960 h 5704395"/>
                <a:gd name="connsiteX8168" fmla="*/ 3875585 w 5719680"/>
                <a:gd name="connsiteY8168" fmla="*/ 3715194 h 5704395"/>
                <a:gd name="connsiteX8169" fmla="*/ 1835202 w 5719680"/>
                <a:gd name="connsiteY8169" fmla="*/ 3712976 h 5704395"/>
                <a:gd name="connsiteX8170" fmla="*/ 1832343 w 5719680"/>
                <a:gd name="connsiteY8170" fmla="*/ 3752587 h 5704395"/>
                <a:gd name="connsiteX8171" fmla="*/ 1846318 w 5719680"/>
                <a:gd name="connsiteY8171" fmla="*/ 3753537 h 5704395"/>
                <a:gd name="connsiteX8172" fmla="*/ 1849177 w 5719680"/>
                <a:gd name="connsiteY8172" fmla="*/ 3713926 h 5704395"/>
                <a:gd name="connsiteX8173" fmla="*/ 1835202 w 5719680"/>
                <a:gd name="connsiteY8173" fmla="*/ 3712976 h 5704395"/>
                <a:gd name="connsiteX8174" fmla="*/ 2139480 w 5719680"/>
                <a:gd name="connsiteY8174" fmla="*/ 3712342 h 5704395"/>
                <a:gd name="connsiteX8175" fmla="*/ 2137257 w 5719680"/>
                <a:gd name="connsiteY8175" fmla="*/ 3734524 h 5704395"/>
                <a:gd name="connsiteX8176" fmla="*/ 2141068 w 5719680"/>
                <a:gd name="connsiteY8176" fmla="*/ 3735158 h 5704395"/>
                <a:gd name="connsiteX8177" fmla="*/ 2143292 w 5719680"/>
                <a:gd name="connsiteY8177" fmla="*/ 3735158 h 5704395"/>
                <a:gd name="connsiteX8178" fmla="*/ 2141704 w 5719680"/>
                <a:gd name="connsiteY8178" fmla="*/ 3751002 h 5704395"/>
                <a:gd name="connsiteX8179" fmla="*/ 2196017 w 5719680"/>
                <a:gd name="connsiteY8179" fmla="*/ 3756706 h 5704395"/>
                <a:gd name="connsiteX8180" fmla="*/ 2197605 w 5719680"/>
                <a:gd name="connsiteY8180" fmla="*/ 3741179 h 5704395"/>
                <a:gd name="connsiteX8181" fmla="*/ 2173783 w 5719680"/>
                <a:gd name="connsiteY8181" fmla="*/ 3738960 h 5704395"/>
                <a:gd name="connsiteX8182" fmla="*/ 2175689 w 5719680"/>
                <a:gd name="connsiteY8182" fmla="*/ 3715828 h 5704395"/>
                <a:gd name="connsiteX8183" fmla="*/ 2139480 w 5719680"/>
                <a:gd name="connsiteY8183" fmla="*/ 3712342 h 5704395"/>
                <a:gd name="connsiteX8184" fmla="*/ 1130723 w 5719680"/>
                <a:gd name="connsiteY8184" fmla="*/ 3711074 h 5704395"/>
                <a:gd name="connsiteX8185" fmla="*/ 1127865 w 5719680"/>
                <a:gd name="connsiteY8185" fmla="*/ 3714243 h 5704395"/>
                <a:gd name="connsiteX8186" fmla="*/ 1160897 w 5719680"/>
                <a:gd name="connsiteY8186" fmla="*/ 3741179 h 5704395"/>
                <a:gd name="connsiteX8187" fmla="*/ 1165026 w 5719680"/>
                <a:gd name="connsiteY8187" fmla="*/ 3735792 h 5704395"/>
                <a:gd name="connsiteX8188" fmla="*/ 1154862 w 5719680"/>
                <a:gd name="connsiteY8188" fmla="*/ 3728503 h 5704395"/>
                <a:gd name="connsiteX8189" fmla="*/ 1134217 w 5719680"/>
                <a:gd name="connsiteY8189" fmla="*/ 3713609 h 5704395"/>
                <a:gd name="connsiteX8190" fmla="*/ 1130723 w 5719680"/>
                <a:gd name="connsiteY8190" fmla="*/ 3711074 h 5704395"/>
                <a:gd name="connsiteX8191" fmla="*/ 3877491 w 5719680"/>
                <a:gd name="connsiteY8191" fmla="*/ 3709807 h 5704395"/>
                <a:gd name="connsiteX8192" fmla="*/ 3893372 w 5719680"/>
                <a:gd name="connsiteY8192" fmla="*/ 3740862 h 5704395"/>
                <a:gd name="connsiteX8193" fmla="*/ 3872726 w 5719680"/>
                <a:gd name="connsiteY8193" fmla="*/ 3751319 h 5704395"/>
                <a:gd name="connsiteX8194" fmla="*/ 3880984 w 5719680"/>
                <a:gd name="connsiteY8194" fmla="*/ 3767480 h 5704395"/>
                <a:gd name="connsiteX8195" fmla="*/ 3879079 w 5719680"/>
                <a:gd name="connsiteY8195" fmla="*/ 3768431 h 5704395"/>
                <a:gd name="connsiteX8196" fmla="*/ 3846364 w 5719680"/>
                <a:gd name="connsiteY8196" fmla="*/ 3785860 h 5704395"/>
                <a:gd name="connsiteX8197" fmla="*/ 3829530 w 5719680"/>
                <a:gd name="connsiteY8197" fmla="*/ 3752587 h 5704395"/>
                <a:gd name="connsiteX8198" fmla="*/ 3832389 w 5719680"/>
                <a:gd name="connsiteY8198" fmla="*/ 3751002 h 5704395"/>
                <a:gd name="connsiteX8199" fmla="*/ 3825084 w 5719680"/>
                <a:gd name="connsiteY8199" fmla="*/ 3736425 h 5704395"/>
                <a:gd name="connsiteX8200" fmla="*/ 3877491 w 5719680"/>
                <a:gd name="connsiteY8200" fmla="*/ 3709807 h 5704395"/>
                <a:gd name="connsiteX8201" fmla="*/ 1831390 w 5719680"/>
                <a:gd name="connsiteY8201" fmla="*/ 3708539 h 5704395"/>
                <a:gd name="connsiteX8202" fmla="*/ 1853624 w 5719680"/>
                <a:gd name="connsiteY8202" fmla="*/ 3710124 h 5704395"/>
                <a:gd name="connsiteX8203" fmla="*/ 1850448 w 5719680"/>
                <a:gd name="connsiteY8203" fmla="*/ 3757974 h 5704395"/>
                <a:gd name="connsiteX8204" fmla="*/ 1827897 w 5719680"/>
                <a:gd name="connsiteY8204" fmla="*/ 3756389 h 5704395"/>
                <a:gd name="connsiteX8205" fmla="*/ 1828214 w 5719680"/>
                <a:gd name="connsiteY8205" fmla="*/ 3754171 h 5704395"/>
                <a:gd name="connsiteX8206" fmla="*/ 1241572 w 5719680"/>
                <a:gd name="connsiteY8206" fmla="*/ 3708539 h 5704395"/>
                <a:gd name="connsiteX8207" fmla="*/ 1201552 w 5719680"/>
                <a:gd name="connsiteY8207" fmla="*/ 3724701 h 5704395"/>
                <a:gd name="connsiteX8208" fmla="*/ 1220292 w 5719680"/>
                <a:gd name="connsiteY8208" fmla="*/ 3772551 h 5704395"/>
                <a:gd name="connsiteX8209" fmla="*/ 1275240 w 5719680"/>
                <a:gd name="connsiteY8209" fmla="*/ 3755122 h 5704395"/>
                <a:gd name="connsiteX8210" fmla="*/ 1242843 w 5719680"/>
                <a:gd name="connsiteY8210" fmla="*/ 3709490 h 5704395"/>
                <a:gd name="connsiteX8211" fmla="*/ 2135669 w 5719680"/>
                <a:gd name="connsiteY8211" fmla="*/ 3707905 h 5704395"/>
                <a:gd name="connsiteX8212" fmla="*/ 2180136 w 5719680"/>
                <a:gd name="connsiteY8212" fmla="*/ 3712025 h 5704395"/>
                <a:gd name="connsiteX8213" fmla="*/ 2178230 w 5719680"/>
                <a:gd name="connsiteY8213" fmla="*/ 3735158 h 5704395"/>
                <a:gd name="connsiteX8214" fmla="*/ 2202052 w 5719680"/>
                <a:gd name="connsiteY8214" fmla="*/ 3737376 h 5704395"/>
                <a:gd name="connsiteX8215" fmla="*/ 2199828 w 5719680"/>
                <a:gd name="connsiteY8215" fmla="*/ 3761143 h 5704395"/>
                <a:gd name="connsiteX8216" fmla="*/ 2197922 w 5719680"/>
                <a:gd name="connsiteY8216" fmla="*/ 3761143 h 5704395"/>
                <a:gd name="connsiteX8217" fmla="*/ 2137257 w 5719680"/>
                <a:gd name="connsiteY8217" fmla="*/ 3754488 h 5704395"/>
                <a:gd name="connsiteX8218" fmla="*/ 2138528 w 5719680"/>
                <a:gd name="connsiteY8218" fmla="*/ 3738960 h 5704395"/>
                <a:gd name="connsiteX8219" fmla="*/ 2135034 w 5719680"/>
                <a:gd name="connsiteY8219" fmla="*/ 3738644 h 5704395"/>
                <a:gd name="connsiteX8220" fmla="*/ 2132810 w 5719680"/>
                <a:gd name="connsiteY8220" fmla="*/ 3738327 h 5704395"/>
                <a:gd name="connsiteX8221" fmla="*/ 2135669 w 5719680"/>
                <a:gd name="connsiteY8221" fmla="*/ 3707905 h 5704395"/>
                <a:gd name="connsiteX8222" fmla="*/ 1709425 w 5719680"/>
                <a:gd name="connsiteY8222" fmla="*/ 3706321 h 5704395"/>
                <a:gd name="connsiteX8223" fmla="*/ 1706566 w 5719680"/>
                <a:gd name="connsiteY8223" fmla="*/ 3745932 h 5704395"/>
                <a:gd name="connsiteX8224" fmla="*/ 1720859 w 5719680"/>
                <a:gd name="connsiteY8224" fmla="*/ 3746883 h 5704395"/>
                <a:gd name="connsiteX8225" fmla="*/ 1723718 w 5719680"/>
                <a:gd name="connsiteY8225" fmla="*/ 3707272 h 5704395"/>
                <a:gd name="connsiteX8226" fmla="*/ 1709425 w 5719680"/>
                <a:gd name="connsiteY8226" fmla="*/ 3706321 h 5704395"/>
                <a:gd name="connsiteX8227" fmla="*/ 1653524 w 5719680"/>
                <a:gd name="connsiteY8227" fmla="*/ 3703152 h 5704395"/>
                <a:gd name="connsiteX8228" fmla="*/ 1650665 w 5719680"/>
                <a:gd name="connsiteY8228" fmla="*/ 3742763 h 5704395"/>
                <a:gd name="connsiteX8229" fmla="*/ 1664958 w 5719680"/>
                <a:gd name="connsiteY8229" fmla="*/ 3743714 h 5704395"/>
                <a:gd name="connsiteX8230" fmla="*/ 1667499 w 5719680"/>
                <a:gd name="connsiteY8230" fmla="*/ 3704103 h 5704395"/>
                <a:gd name="connsiteX8231" fmla="*/ 1653524 w 5719680"/>
                <a:gd name="connsiteY8231" fmla="*/ 3703152 h 5704395"/>
                <a:gd name="connsiteX8232" fmla="*/ 1705613 w 5719680"/>
                <a:gd name="connsiteY8232" fmla="*/ 3701885 h 5704395"/>
                <a:gd name="connsiteX8233" fmla="*/ 1727847 w 5719680"/>
                <a:gd name="connsiteY8233" fmla="*/ 3703469 h 5704395"/>
                <a:gd name="connsiteX8234" fmla="*/ 1724670 w 5719680"/>
                <a:gd name="connsiteY8234" fmla="*/ 3751319 h 5704395"/>
                <a:gd name="connsiteX8235" fmla="*/ 1702120 w 5719680"/>
                <a:gd name="connsiteY8235" fmla="*/ 3749735 h 5704395"/>
                <a:gd name="connsiteX8236" fmla="*/ 1702437 w 5719680"/>
                <a:gd name="connsiteY8236" fmla="*/ 3747833 h 5704395"/>
                <a:gd name="connsiteX8237" fmla="*/ 1705613 w 5719680"/>
                <a:gd name="connsiteY8237" fmla="*/ 3701885 h 5704395"/>
                <a:gd name="connsiteX8238" fmla="*/ 2431690 w 5719680"/>
                <a:gd name="connsiteY8238" fmla="*/ 3700300 h 5704395"/>
                <a:gd name="connsiteX8239" fmla="*/ 2429466 w 5719680"/>
                <a:gd name="connsiteY8239" fmla="*/ 3723433 h 5704395"/>
                <a:gd name="connsiteX8240" fmla="*/ 2405645 w 5719680"/>
                <a:gd name="connsiteY8240" fmla="*/ 3721215 h 5704395"/>
                <a:gd name="connsiteX8241" fmla="*/ 2404374 w 5719680"/>
                <a:gd name="connsiteY8241" fmla="*/ 3736742 h 5704395"/>
                <a:gd name="connsiteX8242" fmla="*/ 2459005 w 5719680"/>
                <a:gd name="connsiteY8242" fmla="*/ 3740862 h 5704395"/>
                <a:gd name="connsiteX8243" fmla="*/ 2460276 w 5719680"/>
                <a:gd name="connsiteY8243" fmla="*/ 3725017 h 5704395"/>
                <a:gd name="connsiteX8244" fmla="*/ 2465993 w 5719680"/>
                <a:gd name="connsiteY8244" fmla="*/ 3725651 h 5704395"/>
                <a:gd name="connsiteX8245" fmla="*/ 2467898 w 5719680"/>
                <a:gd name="connsiteY8245" fmla="*/ 3703469 h 5704395"/>
                <a:gd name="connsiteX8246" fmla="*/ 2431690 w 5719680"/>
                <a:gd name="connsiteY8246" fmla="*/ 3700300 h 5704395"/>
                <a:gd name="connsiteX8247" fmla="*/ 3762513 w 5719680"/>
                <a:gd name="connsiteY8247" fmla="*/ 3699983 h 5704395"/>
                <a:gd name="connsiteX8248" fmla="*/ 3673897 w 5719680"/>
                <a:gd name="connsiteY8248" fmla="*/ 3728820 h 5704395"/>
                <a:gd name="connsiteX8249" fmla="*/ 3720587 w 5719680"/>
                <a:gd name="connsiteY8249" fmla="*/ 3849871 h 5704395"/>
                <a:gd name="connsiteX8250" fmla="*/ 3818731 w 5719680"/>
                <a:gd name="connsiteY8250" fmla="*/ 3818499 h 5704395"/>
                <a:gd name="connsiteX8251" fmla="*/ 3816190 w 5719680"/>
                <a:gd name="connsiteY8251" fmla="*/ 3812795 h 5704395"/>
                <a:gd name="connsiteX8252" fmla="*/ 3762513 w 5719680"/>
                <a:gd name="connsiteY8252" fmla="*/ 3699983 h 5704395"/>
                <a:gd name="connsiteX8253" fmla="*/ 1649712 w 5719680"/>
                <a:gd name="connsiteY8253" fmla="*/ 3698716 h 5704395"/>
                <a:gd name="connsiteX8254" fmla="*/ 1671946 w 5719680"/>
                <a:gd name="connsiteY8254" fmla="*/ 3700300 h 5704395"/>
                <a:gd name="connsiteX8255" fmla="*/ 1668770 w 5719680"/>
                <a:gd name="connsiteY8255" fmla="*/ 3748150 h 5704395"/>
                <a:gd name="connsiteX8256" fmla="*/ 1646219 w 5719680"/>
                <a:gd name="connsiteY8256" fmla="*/ 3746566 h 5704395"/>
                <a:gd name="connsiteX8257" fmla="*/ 1646536 w 5719680"/>
                <a:gd name="connsiteY8257" fmla="*/ 3744664 h 5704395"/>
                <a:gd name="connsiteX8258" fmla="*/ 2427878 w 5719680"/>
                <a:gd name="connsiteY8258" fmla="*/ 3695547 h 5704395"/>
                <a:gd name="connsiteX8259" fmla="*/ 2472345 w 5719680"/>
                <a:gd name="connsiteY8259" fmla="*/ 3699666 h 5704395"/>
                <a:gd name="connsiteX8260" fmla="*/ 2469804 w 5719680"/>
                <a:gd name="connsiteY8260" fmla="*/ 3730088 h 5704395"/>
                <a:gd name="connsiteX8261" fmla="*/ 2464087 w 5719680"/>
                <a:gd name="connsiteY8261" fmla="*/ 3729454 h 5704395"/>
                <a:gd name="connsiteX8262" fmla="*/ 2462816 w 5719680"/>
                <a:gd name="connsiteY8262" fmla="*/ 3745298 h 5704395"/>
                <a:gd name="connsiteX8263" fmla="*/ 2399928 w 5719680"/>
                <a:gd name="connsiteY8263" fmla="*/ 3740545 h 5704395"/>
                <a:gd name="connsiteX8264" fmla="*/ 2399928 w 5719680"/>
                <a:gd name="connsiteY8264" fmla="*/ 3738644 h 5704395"/>
                <a:gd name="connsiteX8265" fmla="*/ 2401834 w 5719680"/>
                <a:gd name="connsiteY8265" fmla="*/ 3716778 h 5704395"/>
                <a:gd name="connsiteX8266" fmla="*/ 2425973 w 5719680"/>
                <a:gd name="connsiteY8266" fmla="*/ 3718680 h 5704395"/>
                <a:gd name="connsiteX8267" fmla="*/ 2427878 w 5719680"/>
                <a:gd name="connsiteY8267" fmla="*/ 3695547 h 5704395"/>
                <a:gd name="connsiteX8268" fmla="*/ 1373066 w 5719680"/>
                <a:gd name="connsiteY8268" fmla="*/ 3690160 h 5704395"/>
                <a:gd name="connsiteX8269" fmla="*/ 1369573 w 5719680"/>
                <a:gd name="connsiteY8269" fmla="*/ 3772867 h 5704395"/>
                <a:gd name="connsiteX8270" fmla="*/ 1347975 w 5719680"/>
                <a:gd name="connsiteY8270" fmla="*/ 3803289 h 5704395"/>
                <a:gd name="connsiteX8271" fmla="*/ 1447389 w 5719680"/>
                <a:gd name="connsiteY8271" fmla="*/ 3932262 h 5704395"/>
                <a:gd name="connsiteX8272" fmla="*/ 1512183 w 5719680"/>
                <a:gd name="connsiteY8272" fmla="*/ 4015604 h 5704395"/>
                <a:gd name="connsiteX8273" fmla="*/ 1533464 w 5719680"/>
                <a:gd name="connsiteY8273" fmla="*/ 4043490 h 5704395"/>
                <a:gd name="connsiteX8274" fmla="*/ 1534417 w 5719680"/>
                <a:gd name="connsiteY8274" fmla="*/ 4044757 h 5704395"/>
                <a:gd name="connsiteX8275" fmla="*/ 1556015 w 5719680"/>
                <a:gd name="connsiteY8275" fmla="*/ 3988985 h 5704395"/>
                <a:gd name="connsiteX8276" fmla="*/ 1550933 w 5719680"/>
                <a:gd name="connsiteY8276" fmla="*/ 3954761 h 5704395"/>
                <a:gd name="connsiteX8277" fmla="*/ 1539181 w 5719680"/>
                <a:gd name="connsiteY8277" fmla="*/ 3897721 h 5704395"/>
                <a:gd name="connsiteX8278" fmla="*/ 1553792 w 5719680"/>
                <a:gd name="connsiteY8278" fmla="*/ 3852723 h 5704395"/>
                <a:gd name="connsiteX8279" fmla="*/ 1567767 w 5719680"/>
                <a:gd name="connsiteY8279" fmla="*/ 3832759 h 5704395"/>
                <a:gd name="connsiteX8280" fmla="*/ 1467082 w 5719680"/>
                <a:gd name="connsiteY8280" fmla="*/ 3759241 h 5704395"/>
                <a:gd name="connsiteX8281" fmla="*/ 1400699 w 5719680"/>
                <a:gd name="connsiteY8281" fmla="*/ 3710441 h 5704395"/>
                <a:gd name="connsiteX8282" fmla="*/ 1378784 w 5719680"/>
                <a:gd name="connsiteY8282" fmla="*/ 3694279 h 5704395"/>
                <a:gd name="connsiteX8283" fmla="*/ 1373066 w 5719680"/>
                <a:gd name="connsiteY8283" fmla="*/ 3690160 h 5704395"/>
                <a:gd name="connsiteX8284" fmla="*/ 1090386 w 5719680"/>
                <a:gd name="connsiteY8284" fmla="*/ 3689526 h 5704395"/>
                <a:gd name="connsiteX8285" fmla="*/ 1063706 w 5719680"/>
                <a:gd name="connsiteY8285" fmla="*/ 3722799 h 5704395"/>
                <a:gd name="connsiteX8286" fmla="*/ 1094515 w 5719680"/>
                <a:gd name="connsiteY8286" fmla="*/ 3747833 h 5704395"/>
                <a:gd name="connsiteX8287" fmla="*/ 1121195 w 5719680"/>
                <a:gd name="connsiteY8287" fmla="*/ 3714560 h 5704395"/>
                <a:gd name="connsiteX8288" fmla="*/ 1090386 w 5719680"/>
                <a:gd name="connsiteY8288" fmla="*/ 3689526 h 5704395"/>
                <a:gd name="connsiteX8289" fmla="*/ 564091 w 5719680"/>
                <a:gd name="connsiteY8289" fmla="*/ 3686674 h 5704395"/>
                <a:gd name="connsiteX8290" fmla="*/ 448478 w 5719680"/>
                <a:gd name="connsiteY8290" fmla="*/ 3701568 h 5704395"/>
                <a:gd name="connsiteX8291" fmla="*/ 457689 w 5719680"/>
                <a:gd name="connsiteY8291" fmla="*/ 3731355 h 5704395"/>
                <a:gd name="connsiteX8292" fmla="*/ 546622 w 5719680"/>
                <a:gd name="connsiteY8292" fmla="*/ 3721532 h 5704395"/>
                <a:gd name="connsiteX8293" fmla="*/ 549163 w 5719680"/>
                <a:gd name="connsiteY8293" fmla="*/ 3721532 h 5704395"/>
                <a:gd name="connsiteX8294" fmla="*/ 550751 w 5719680"/>
                <a:gd name="connsiteY8294" fmla="*/ 3723433 h 5704395"/>
                <a:gd name="connsiteX8295" fmla="*/ 576796 w 5719680"/>
                <a:gd name="connsiteY8295" fmla="*/ 3751319 h 5704395"/>
                <a:gd name="connsiteX8296" fmla="*/ 619675 w 5719680"/>
                <a:gd name="connsiteY8296" fmla="*/ 3767797 h 5704395"/>
                <a:gd name="connsiteX8297" fmla="*/ 624121 w 5719680"/>
                <a:gd name="connsiteY8297" fmla="*/ 3768748 h 5704395"/>
                <a:gd name="connsiteX8298" fmla="*/ 622851 w 5719680"/>
                <a:gd name="connsiteY8298" fmla="*/ 3773184 h 5704395"/>
                <a:gd name="connsiteX8299" fmla="*/ 601253 w 5719680"/>
                <a:gd name="connsiteY8299" fmla="*/ 3853674 h 5704395"/>
                <a:gd name="connsiteX8300" fmla="*/ 618404 w 5719680"/>
                <a:gd name="connsiteY8300" fmla="*/ 3858744 h 5704395"/>
                <a:gd name="connsiteX8301" fmla="*/ 650166 w 5719680"/>
                <a:gd name="connsiteY8301" fmla="*/ 3820718 h 5704395"/>
                <a:gd name="connsiteX8302" fmla="*/ 667953 w 5719680"/>
                <a:gd name="connsiteY8302" fmla="*/ 3743397 h 5704395"/>
                <a:gd name="connsiteX8303" fmla="*/ 606335 w 5719680"/>
                <a:gd name="connsiteY8303" fmla="*/ 3719947 h 5704395"/>
                <a:gd name="connsiteX8304" fmla="*/ 564091 w 5719680"/>
                <a:gd name="connsiteY8304" fmla="*/ 3686674 h 5704395"/>
                <a:gd name="connsiteX8305" fmla="*/ 1032579 w 5719680"/>
                <a:gd name="connsiteY8305" fmla="*/ 3684773 h 5704395"/>
                <a:gd name="connsiteX8306" fmla="*/ 1020192 w 5719680"/>
                <a:gd name="connsiteY8306" fmla="*/ 3700300 h 5704395"/>
                <a:gd name="connsiteX8307" fmla="*/ 1047825 w 5719680"/>
                <a:gd name="connsiteY8307" fmla="*/ 3734207 h 5704395"/>
                <a:gd name="connsiteX8308" fmla="*/ 1063706 w 5719680"/>
                <a:gd name="connsiteY8308" fmla="*/ 3714560 h 5704395"/>
                <a:gd name="connsiteX8309" fmla="*/ 1065294 w 5719680"/>
                <a:gd name="connsiteY8309" fmla="*/ 3712025 h 5704395"/>
                <a:gd name="connsiteX8310" fmla="*/ 1064341 w 5719680"/>
                <a:gd name="connsiteY8310" fmla="*/ 3711391 h 5704395"/>
                <a:gd name="connsiteX8311" fmla="*/ 1064976 w 5719680"/>
                <a:gd name="connsiteY8311" fmla="*/ 3710757 h 5704395"/>
                <a:gd name="connsiteX8312" fmla="*/ 1032579 w 5719680"/>
                <a:gd name="connsiteY8312" fmla="*/ 3684773 h 5704395"/>
                <a:gd name="connsiteX8313" fmla="*/ 883616 w 5719680"/>
                <a:gd name="connsiteY8313" fmla="*/ 3683822 h 5704395"/>
                <a:gd name="connsiteX8314" fmla="*/ 856301 w 5719680"/>
                <a:gd name="connsiteY8314" fmla="*/ 3710441 h 5704395"/>
                <a:gd name="connsiteX8315" fmla="*/ 797859 w 5719680"/>
                <a:gd name="connsiteY8315" fmla="*/ 3727236 h 5704395"/>
                <a:gd name="connsiteX8316" fmla="*/ 775625 w 5719680"/>
                <a:gd name="connsiteY8316" fmla="*/ 3728820 h 5704395"/>
                <a:gd name="connsiteX8317" fmla="*/ 754345 w 5719680"/>
                <a:gd name="connsiteY8317" fmla="*/ 3789663 h 5704395"/>
                <a:gd name="connsiteX8318" fmla="*/ 832162 w 5719680"/>
                <a:gd name="connsiteY8318" fmla="*/ 3793148 h 5704395"/>
                <a:gd name="connsiteX8319" fmla="*/ 820092 w 5719680"/>
                <a:gd name="connsiteY8319" fmla="*/ 3832126 h 5704395"/>
                <a:gd name="connsiteX8320" fmla="*/ 865512 w 5719680"/>
                <a:gd name="connsiteY8320" fmla="*/ 3839097 h 5704395"/>
                <a:gd name="connsiteX8321" fmla="*/ 913154 w 5719680"/>
                <a:gd name="connsiteY8321" fmla="*/ 3846385 h 5704395"/>
                <a:gd name="connsiteX8322" fmla="*/ 953810 w 5719680"/>
                <a:gd name="connsiteY8322" fmla="*/ 3731355 h 5704395"/>
                <a:gd name="connsiteX8323" fmla="*/ 913472 w 5719680"/>
                <a:gd name="connsiteY8323" fmla="*/ 3717412 h 5704395"/>
                <a:gd name="connsiteX8324" fmla="*/ 883616 w 5719680"/>
                <a:gd name="connsiteY8324" fmla="*/ 3683822 h 5704395"/>
                <a:gd name="connsiteX8325" fmla="*/ 565679 w 5719680"/>
                <a:gd name="connsiteY8325" fmla="*/ 3681921 h 5704395"/>
                <a:gd name="connsiteX8326" fmla="*/ 608558 w 5719680"/>
                <a:gd name="connsiteY8326" fmla="*/ 3716145 h 5704395"/>
                <a:gd name="connsiteX8327" fmla="*/ 673352 w 5719680"/>
                <a:gd name="connsiteY8327" fmla="*/ 3740228 h 5704395"/>
                <a:gd name="connsiteX8328" fmla="*/ 654295 w 5719680"/>
                <a:gd name="connsiteY8328" fmla="*/ 3822619 h 5704395"/>
                <a:gd name="connsiteX8329" fmla="*/ 619992 w 5719680"/>
                <a:gd name="connsiteY8329" fmla="*/ 3863814 h 5704395"/>
                <a:gd name="connsiteX8330" fmla="*/ 595853 w 5719680"/>
                <a:gd name="connsiteY8330" fmla="*/ 3856843 h 5704395"/>
                <a:gd name="connsiteX8331" fmla="*/ 618722 w 5719680"/>
                <a:gd name="connsiteY8331" fmla="*/ 3771917 h 5704395"/>
                <a:gd name="connsiteX8332" fmla="*/ 574255 w 5719680"/>
                <a:gd name="connsiteY8332" fmla="*/ 3755122 h 5704395"/>
                <a:gd name="connsiteX8333" fmla="*/ 546940 w 5719680"/>
                <a:gd name="connsiteY8333" fmla="*/ 3725968 h 5704395"/>
                <a:gd name="connsiteX8334" fmla="*/ 454513 w 5719680"/>
                <a:gd name="connsiteY8334" fmla="*/ 3736108 h 5704395"/>
                <a:gd name="connsiteX8335" fmla="*/ 442761 w 5719680"/>
                <a:gd name="connsiteY8335" fmla="*/ 3697765 h 5704395"/>
                <a:gd name="connsiteX8336" fmla="*/ 565679 w 5719680"/>
                <a:gd name="connsiteY8336" fmla="*/ 3681921 h 5704395"/>
                <a:gd name="connsiteX8337" fmla="*/ 2122964 w 5719680"/>
                <a:gd name="connsiteY8337" fmla="*/ 3681604 h 5704395"/>
                <a:gd name="connsiteX8338" fmla="*/ 2113118 w 5719680"/>
                <a:gd name="connsiteY8338" fmla="*/ 3773501 h 5704395"/>
                <a:gd name="connsiteX8339" fmla="*/ 2179183 w 5719680"/>
                <a:gd name="connsiteY8339" fmla="*/ 3787444 h 5704395"/>
                <a:gd name="connsiteX8340" fmla="*/ 2257317 w 5719680"/>
                <a:gd name="connsiteY8340" fmla="*/ 3803289 h 5704395"/>
                <a:gd name="connsiteX8341" fmla="*/ 2257000 w 5719680"/>
                <a:gd name="connsiteY8341" fmla="*/ 3791247 h 5704395"/>
                <a:gd name="connsiteX8342" fmla="*/ 2257317 w 5719680"/>
                <a:gd name="connsiteY8342" fmla="*/ 3790930 h 5704395"/>
                <a:gd name="connsiteX8343" fmla="*/ 2278280 w 5719680"/>
                <a:gd name="connsiteY8343" fmla="*/ 3730405 h 5704395"/>
                <a:gd name="connsiteX8344" fmla="*/ 2276056 w 5719680"/>
                <a:gd name="connsiteY8344" fmla="*/ 3729454 h 5704395"/>
                <a:gd name="connsiteX8345" fmla="*/ 2214438 w 5719680"/>
                <a:gd name="connsiteY8345" fmla="*/ 3692378 h 5704395"/>
                <a:gd name="connsiteX8346" fmla="*/ 2122964 w 5719680"/>
                <a:gd name="connsiteY8346" fmla="*/ 3681604 h 5704395"/>
                <a:gd name="connsiteX8347" fmla="*/ 1200282 w 5719680"/>
                <a:gd name="connsiteY8347" fmla="*/ 3680336 h 5704395"/>
                <a:gd name="connsiteX8348" fmla="*/ 1144381 w 5719680"/>
                <a:gd name="connsiteY8348" fmla="*/ 3693329 h 5704395"/>
                <a:gd name="connsiteX8349" fmla="*/ 1199011 w 5719680"/>
                <a:gd name="connsiteY8349" fmla="*/ 3721532 h 5704395"/>
                <a:gd name="connsiteX8350" fmla="*/ 1200282 w 5719680"/>
                <a:gd name="connsiteY8350" fmla="*/ 3722482 h 5704395"/>
                <a:gd name="connsiteX8351" fmla="*/ 1239031 w 5719680"/>
                <a:gd name="connsiteY8351" fmla="*/ 3706955 h 5704395"/>
                <a:gd name="connsiteX8352" fmla="*/ 1201870 w 5719680"/>
                <a:gd name="connsiteY8352" fmla="*/ 3681604 h 5704395"/>
                <a:gd name="connsiteX8353" fmla="*/ 1200282 w 5719680"/>
                <a:gd name="connsiteY8353" fmla="*/ 3680653 h 5704395"/>
                <a:gd name="connsiteX8354" fmla="*/ 567267 w 5719680"/>
                <a:gd name="connsiteY8354" fmla="*/ 3676850 h 5704395"/>
                <a:gd name="connsiteX8355" fmla="*/ 410999 w 5719680"/>
                <a:gd name="connsiteY8355" fmla="*/ 3697765 h 5704395"/>
                <a:gd name="connsiteX8356" fmla="*/ 427198 w 5719680"/>
                <a:gd name="connsiteY8356" fmla="*/ 3732623 h 5704395"/>
                <a:gd name="connsiteX8357" fmla="*/ 444349 w 5719680"/>
                <a:gd name="connsiteY8357" fmla="*/ 3796951 h 5704395"/>
                <a:gd name="connsiteX8358" fmla="*/ 484687 w 5719680"/>
                <a:gd name="connsiteY8358" fmla="*/ 3848921 h 5704395"/>
                <a:gd name="connsiteX8359" fmla="*/ 586325 w 5719680"/>
                <a:gd name="connsiteY8359" fmla="*/ 3886630 h 5704395"/>
                <a:gd name="connsiteX8360" fmla="*/ 616816 w 5719680"/>
                <a:gd name="connsiteY8360" fmla="*/ 3892968 h 5704395"/>
                <a:gd name="connsiteX8361" fmla="*/ 617134 w 5719680"/>
                <a:gd name="connsiteY8361" fmla="*/ 3892968 h 5704395"/>
                <a:gd name="connsiteX8362" fmla="*/ 637461 w 5719680"/>
                <a:gd name="connsiteY8362" fmla="*/ 3865399 h 5704395"/>
                <a:gd name="connsiteX8363" fmla="*/ 668588 w 5719680"/>
                <a:gd name="connsiteY8363" fmla="*/ 3821668 h 5704395"/>
                <a:gd name="connsiteX8364" fmla="*/ 687963 w 5719680"/>
                <a:gd name="connsiteY8364" fmla="*/ 3733890 h 5704395"/>
                <a:gd name="connsiteX8365" fmla="*/ 632062 w 5719680"/>
                <a:gd name="connsiteY8365" fmla="*/ 3720898 h 5704395"/>
                <a:gd name="connsiteX8366" fmla="*/ 567267 w 5719680"/>
                <a:gd name="connsiteY8366" fmla="*/ 3676850 h 5704395"/>
                <a:gd name="connsiteX8367" fmla="*/ 263941 w 5719680"/>
                <a:gd name="connsiteY8367" fmla="*/ 3676850 h 5704395"/>
                <a:gd name="connsiteX8368" fmla="*/ 259812 w 5719680"/>
                <a:gd name="connsiteY8368" fmla="*/ 3682871 h 5704395"/>
                <a:gd name="connsiteX8369" fmla="*/ 226780 w 5719680"/>
                <a:gd name="connsiteY8369" fmla="*/ 3714560 h 5704395"/>
                <a:gd name="connsiteX8370" fmla="*/ 215346 w 5719680"/>
                <a:gd name="connsiteY8370" fmla="*/ 3720898 h 5704395"/>
                <a:gd name="connsiteX8371" fmla="*/ 212170 w 5719680"/>
                <a:gd name="connsiteY8371" fmla="*/ 3722165 h 5704395"/>
                <a:gd name="connsiteX8372" fmla="*/ 211852 w 5719680"/>
                <a:gd name="connsiteY8372" fmla="*/ 3721849 h 5704395"/>
                <a:gd name="connsiteX8373" fmla="*/ 232180 w 5719680"/>
                <a:gd name="connsiteY8373" fmla="*/ 3750368 h 5704395"/>
                <a:gd name="connsiteX8374" fmla="*/ 266800 w 5719680"/>
                <a:gd name="connsiteY8374" fmla="*/ 3798219 h 5704395"/>
                <a:gd name="connsiteX8375" fmla="*/ 272912 w 5719680"/>
                <a:gd name="connsiteY8375" fmla="*/ 3806756 h 5704395"/>
                <a:gd name="connsiteX8376" fmla="*/ 272835 w 5719680"/>
                <a:gd name="connsiteY8376" fmla="*/ 3806774 h 5704395"/>
                <a:gd name="connsiteX8377" fmla="*/ 273152 w 5719680"/>
                <a:gd name="connsiteY8377" fmla="*/ 3807091 h 5704395"/>
                <a:gd name="connsiteX8378" fmla="*/ 272912 w 5719680"/>
                <a:gd name="connsiteY8378" fmla="*/ 3806756 h 5704395"/>
                <a:gd name="connsiteX8379" fmla="*/ 274145 w 5719680"/>
                <a:gd name="connsiteY8379" fmla="*/ 3806458 h 5704395"/>
                <a:gd name="connsiteX8380" fmla="*/ 356686 w 5719680"/>
                <a:gd name="connsiteY8380" fmla="*/ 3786494 h 5704395"/>
                <a:gd name="connsiteX8381" fmla="*/ 339217 w 5719680"/>
                <a:gd name="connsiteY8381" fmla="*/ 3713609 h 5704395"/>
                <a:gd name="connsiteX8382" fmla="*/ 300468 w 5719680"/>
                <a:gd name="connsiteY8382" fmla="*/ 3678118 h 5704395"/>
                <a:gd name="connsiteX8383" fmla="*/ 284269 w 5719680"/>
                <a:gd name="connsiteY8383" fmla="*/ 3681604 h 5704395"/>
                <a:gd name="connsiteX8384" fmla="*/ 263941 w 5719680"/>
                <a:gd name="connsiteY8384" fmla="*/ 3676850 h 5704395"/>
                <a:gd name="connsiteX8385" fmla="*/ 1682745 w 5719680"/>
                <a:gd name="connsiteY8385" fmla="*/ 3671780 h 5704395"/>
                <a:gd name="connsiteX8386" fmla="*/ 1641454 w 5719680"/>
                <a:gd name="connsiteY8386" fmla="*/ 3685723 h 5704395"/>
                <a:gd name="connsiteX8387" fmla="*/ 1631608 w 5719680"/>
                <a:gd name="connsiteY8387" fmla="*/ 3750052 h 5704395"/>
                <a:gd name="connsiteX8388" fmla="*/ 1687191 w 5719680"/>
                <a:gd name="connsiteY8388" fmla="*/ 3755122 h 5704395"/>
                <a:gd name="connsiteX8389" fmla="*/ 1685286 w 5719680"/>
                <a:gd name="connsiteY8389" fmla="*/ 3709807 h 5704395"/>
                <a:gd name="connsiteX8390" fmla="*/ 1683698 w 5719680"/>
                <a:gd name="connsiteY8390" fmla="*/ 3681604 h 5704395"/>
                <a:gd name="connsiteX8391" fmla="*/ 1683062 w 5719680"/>
                <a:gd name="connsiteY8391" fmla="*/ 3672731 h 5704395"/>
                <a:gd name="connsiteX8392" fmla="*/ 1682745 w 5719680"/>
                <a:gd name="connsiteY8392" fmla="*/ 3671780 h 5704395"/>
                <a:gd name="connsiteX8393" fmla="*/ 1106267 w 5719680"/>
                <a:gd name="connsiteY8393" fmla="*/ 3669879 h 5704395"/>
                <a:gd name="connsiteX8394" fmla="*/ 1093244 w 5719680"/>
                <a:gd name="connsiteY8394" fmla="*/ 3686040 h 5704395"/>
                <a:gd name="connsiteX8395" fmla="*/ 1124053 w 5719680"/>
                <a:gd name="connsiteY8395" fmla="*/ 3711074 h 5704395"/>
                <a:gd name="connsiteX8396" fmla="*/ 1126277 w 5719680"/>
                <a:gd name="connsiteY8396" fmla="*/ 3707905 h 5704395"/>
                <a:gd name="connsiteX8397" fmla="*/ 1125324 w 5719680"/>
                <a:gd name="connsiteY8397" fmla="*/ 3707272 h 5704395"/>
                <a:gd name="connsiteX8398" fmla="*/ 1123736 w 5719680"/>
                <a:gd name="connsiteY8398" fmla="*/ 3706004 h 5704395"/>
                <a:gd name="connsiteX8399" fmla="*/ 1122148 w 5719680"/>
                <a:gd name="connsiteY8399" fmla="*/ 3704103 h 5704395"/>
                <a:gd name="connsiteX8400" fmla="*/ 1106267 w 5719680"/>
                <a:gd name="connsiteY8400" fmla="*/ 3669879 h 5704395"/>
                <a:gd name="connsiteX8401" fmla="*/ 3333727 w 5719680"/>
                <a:gd name="connsiteY8401" fmla="*/ 3667661 h 5704395"/>
                <a:gd name="connsiteX8402" fmla="*/ 3294342 w 5719680"/>
                <a:gd name="connsiteY8402" fmla="*/ 3680336 h 5704395"/>
                <a:gd name="connsiteX8403" fmla="*/ 3308000 w 5719680"/>
                <a:gd name="connsiteY8403" fmla="*/ 3725968 h 5704395"/>
                <a:gd name="connsiteX8404" fmla="*/ 3195563 w 5719680"/>
                <a:gd name="connsiteY8404" fmla="*/ 3760826 h 5704395"/>
                <a:gd name="connsiteX8405" fmla="*/ 3202868 w 5719680"/>
                <a:gd name="connsiteY8405" fmla="*/ 3783325 h 5704395"/>
                <a:gd name="connsiteX8406" fmla="*/ 3225737 w 5719680"/>
                <a:gd name="connsiteY8406" fmla="*/ 3776670 h 5704395"/>
                <a:gd name="connsiteX8407" fmla="*/ 3238759 w 5719680"/>
                <a:gd name="connsiteY8407" fmla="*/ 3818816 h 5704395"/>
                <a:gd name="connsiteX8408" fmla="*/ 3214938 w 5719680"/>
                <a:gd name="connsiteY8408" fmla="*/ 3826738 h 5704395"/>
                <a:gd name="connsiteX8409" fmla="*/ 3217161 w 5719680"/>
                <a:gd name="connsiteY8409" fmla="*/ 3834027 h 5704395"/>
                <a:gd name="connsiteX8410" fmla="*/ 3272427 w 5719680"/>
                <a:gd name="connsiteY8410" fmla="*/ 3815647 h 5704395"/>
                <a:gd name="connsiteX8411" fmla="*/ 3263851 w 5719680"/>
                <a:gd name="connsiteY8411" fmla="*/ 3787444 h 5704395"/>
                <a:gd name="connsiteX8412" fmla="*/ 3318164 w 5719680"/>
                <a:gd name="connsiteY8412" fmla="*/ 3770649 h 5704395"/>
                <a:gd name="connsiteX8413" fmla="*/ 3327375 w 5719680"/>
                <a:gd name="connsiteY8413" fmla="*/ 3799169 h 5704395"/>
                <a:gd name="connsiteX8414" fmla="*/ 3386134 w 5719680"/>
                <a:gd name="connsiteY8414" fmla="*/ 3780790 h 5704395"/>
                <a:gd name="connsiteX8415" fmla="*/ 3363901 w 5719680"/>
                <a:gd name="connsiteY8415" fmla="*/ 3709490 h 5704395"/>
                <a:gd name="connsiteX8416" fmla="*/ 3348656 w 5719680"/>
                <a:gd name="connsiteY8416" fmla="*/ 3713609 h 5704395"/>
                <a:gd name="connsiteX8417" fmla="*/ 3333727 w 5719680"/>
                <a:gd name="connsiteY8417" fmla="*/ 3667661 h 5704395"/>
                <a:gd name="connsiteX8418" fmla="*/ 880440 w 5719680"/>
                <a:gd name="connsiteY8418" fmla="*/ 3662591 h 5704395"/>
                <a:gd name="connsiteX8419" fmla="*/ 864241 w 5719680"/>
                <a:gd name="connsiteY8419" fmla="*/ 3673682 h 5704395"/>
                <a:gd name="connsiteX8420" fmla="*/ 846454 w 5719680"/>
                <a:gd name="connsiteY8420" fmla="*/ 3689843 h 5704395"/>
                <a:gd name="connsiteX8421" fmla="*/ 801670 w 5719680"/>
                <a:gd name="connsiteY8421" fmla="*/ 3698716 h 5704395"/>
                <a:gd name="connsiteX8422" fmla="*/ 792777 w 5719680"/>
                <a:gd name="connsiteY8422" fmla="*/ 3698399 h 5704395"/>
                <a:gd name="connsiteX8423" fmla="*/ 777531 w 5719680"/>
                <a:gd name="connsiteY8423" fmla="*/ 3690477 h 5704395"/>
                <a:gd name="connsiteX8424" fmla="*/ 775625 w 5719680"/>
                <a:gd name="connsiteY8424" fmla="*/ 3686674 h 5704395"/>
                <a:gd name="connsiteX8425" fmla="*/ 753074 w 5719680"/>
                <a:gd name="connsiteY8425" fmla="*/ 3693012 h 5704395"/>
                <a:gd name="connsiteX8426" fmla="*/ 743228 w 5719680"/>
                <a:gd name="connsiteY8426" fmla="*/ 3717095 h 5704395"/>
                <a:gd name="connsiteX8427" fmla="*/ 795318 w 5719680"/>
                <a:gd name="connsiteY8427" fmla="*/ 3712976 h 5704395"/>
                <a:gd name="connsiteX8428" fmla="*/ 848995 w 5719680"/>
                <a:gd name="connsiteY8428" fmla="*/ 3697448 h 5704395"/>
                <a:gd name="connsiteX8429" fmla="*/ 878216 w 5719680"/>
                <a:gd name="connsiteY8429" fmla="*/ 3668928 h 5704395"/>
                <a:gd name="connsiteX8430" fmla="*/ 880757 w 5719680"/>
                <a:gd name="connsiteY8430" fmla="*/ 3662591 h 5704395"/>
                <a:gd name="connsiteX8431" fmla="*/ 880440 w 5719680"/>
                <a:gd name="connsiteY8431" fmla="*/ 3662591 h 5704395"/>
                <a:gd name="connsiteX8432" fmla="*/ 896321 w 5719680"/>
                <a:gd name="connsiteY8432" fmla="*/ 3661957 h 5704395"/>
                <a:gd name="connsiteX8433" fmla="*/ 892192 w 5719680"/>
                <a:gd name="connsiteY8433" fmla="*/ 3672097 h 5704395"/>
                <a:gd name="connsiteX8434" fmla="*/ 921730 w 5719680"/>
                <a:gd name="connsiteY8434" fmla="*/ 3705053 h 5704395"/>
                <a:gd name="connsiteX8435" fmla="*/ 1007805 w 5719680"/>
                <a:gd name="connsiteY8435" fmla="*/ 3735158 h 5704395"/>
                <a:gd name="connsiteX8436" fmla="*/ 984301 w 5719680"/>
                <a:gd name="connsiteY8436" fmla="*/ 3708222 h 5704395"/>
                <a:gd name="connsiteX8437" fmla="*/ 922365 w 5719680"/>
                <a:gd name="connsiteY8437" fmla="*/ 3673365 h 5704395"/>
                <a:gd name="connsiteX8438" fmla="*/ 896321 w 5719680"/>
                <a:gd name="connsiteY8438" fmla="*/ 3661957 h 5704395"/>
                <a:gd name="connsiteX8439" fmla="*/ 3336586 w 5719680"/>
                <a:gd name="connsiteY8439" fmla="*/ 3661640 h 5704395"/>
                <a:gd name="connsiteX8440" fmla="*/ 3351832 w 5719680"/>
                <a:gd name="connsiteY8440" fmla="*/ 3707905 h 5704395"/>
                <a:gd name="connsiteX8441" fmla="*/ 3367077 w 5719680"/>
                <a:gd name="connsiteY8441" fmla="*/ 3704103 h 5704395"/>
                <a:gd name="connsiteX8442" fmla="*/ 3391534 w 5719680"/>
                <a:gd name="connsiteY8442" fmla="*/ 3781740 h 5704395"/>
                <a:gd name="connsiteX8443" fmla="*/ 3392169 w 5719680"/>
                <a:gd name="connsiteY8443" fmla="*/ 3783959 h 5704395"/>
                <a:gd name="connsiteX8444" fmla="*/ 3324199 w 5719680"/>
                <a:gd name="connsiteY8444" fmla="*/ 3805190 h 5704395"/>
                <a:gd name="connsiteX8445" fmla="*/ 3315306 w 5719680"/>
                <a:gd name="connsiteY8445" fmla="*/ 3776670 h 5704395"/>
                <a:gd name="connsiteX8446" fmla="*/ 3269886 w 5719680"/>
                <a:gd name="connsiteY8446" fmla="*/ 3790296 h 5704395"/>
                <a:gd name="connsiteX8447" fmla="*/ 3278462 w 5719680"/>
                <a:gd name="connsiteY8447" fmla="*/ 3818816 h 5704395"/>
                <a:gd name="connsiteX8448" fmla="*/ 3214302 w 5719680"/>
                <a:gd name="connsiteY8448" fmla="*/ 3840048 h 5704395"/>
                <a:gd name="connsiteX8449" fmla="*/ 3208903 w 5719680"/>
                <a:gd name="connsiteY8449" fmla="*/ 3823570 h 5704395"/>
                <a:gd name="connsiteX8450" fmla="*/ 3233042 w 5719680"/>
                <a:gd name="connsiteY8450" fmla="*/ 3815647 h 5704395"/>
                <a:gd name="connsiteX8451" fmla="*/ 3222561 w 5719680"/>
                <a:gd name="connsiteY8451" fmla="*/ 3782691 h 5704395"/>
                <a:gd name="connsiteX8452" fmla="*/ 3199692 w 5719680"/>
                <a:gd name="connsiteY8452" fmla="*/ 3789029 h 5704395"/>
                <a:gd name="connsiteX8453" fmla="*/ 3189846 w 5719680"/>
                <a:gd name="connsiteY8453" fmla="*/ 3757974 h 5704395"/>
                <a:gd name="connsiteX8454" fmla="*/ 3301966 w 5719680"/>
                <a:gd name="connsiteY8454" fmla="*/ 3722799 h 5704395"/>
                <a:gd name="connsiteX8455" fmla="*/ 3288308 w 5719680"/>
                <a:gd name="connsiteY8455" fmla="*/ 3677167 h 5704395"/>
                <a:gd name="connsiteX8456" fmla="*/ 1722765 w 5719680"/>
                <a:gd name="connsiteY8456" fmla="*/ 3658471 h 5704395"/>
                <a:gd name="connsiteX8457" fmla="*/ 1687191 w 5719680"/>
                <a:gd name="connsiteY8457" fmla="*/ 3670196 h 5704395"/>
                <a:gd name="connsiteX8458" fmla="*/ 1690050 w 5719680"/>
                <a:gd name="connsiteY8458" fmla="*/ 3716778 h 5704395"/>
                <a:gd name="connsiteX8459" fmla="*/ 1691320 w 5719680"/>
                <a:gd name="connsiteY8459" fmla="*/ 3746249 h 5704395"/>
                <a:gd name="connsiteX8460" fmla="*/ 1691638 w 5719680"/>
                <a:gd name="connsiteY8460" fmla="*/ 3755439 h 5704395"/>
                <a:gd name="connsiteX8461" fmla="*/ 1794547 w 5719680"/>
                <a:gd name="connsiteY8461" fmla="*/ 3764628 h 5704395"/>
                <a:gd name="connsiteX8462" fmla="*/ 1786606 w 5719680"/>
                <a:gd name="connsiteY8462" fmla="*/ 3709173 h 5704395"/>
                <a:gd name="connsiteX8463" fmla="*/ 1722765 w 5719680"/>
                <a:gd name="connsiteY8463" fmla="*/ 3658471 h 5704395"/>
                <a:gd name="connsiteX8464" fmla="*/ 2003857 w 5719680"/>
                <a:gd name="connsiteY8464" fmla="*/ 3657837 h 5704395"/>
                <a:gd name="connsiteX8465" fmla="*/ 1991152 w 5719680"/>
                <a:gd name="connsiteY8465" fmla="*/ 3720581 h 5704395"/>
                <a:gd name="connsiteX8466" fmla="*/ 2096920 w 5719680"/>
                <a:gd name="connsiteY8466" fmla="*/ 3726919 h 5704395"/>
                <a:gd name="connsiteX8467" fmla="*/ 2103272 w 5719680"/>
                <a:gd name="connsiteY8467" fmla="*/ 3667344 h 5704395"/>
                <a:gd name="connsiteX8468" fmla="*/ 2003857 w 5719680"/>
                <a:gd name="connsiteY8468" fmla="*/ 3657837 h 5704395"/>
                <a:gd name="connsiteX8469" fmla="*/ 1956532 w 5719680"/>
                <a:gd name="connsiteY8469" fmla="*/ 3653401 h 5704395"/>
                <a:gd name="connsiteX8470" fmla="*/ 1943192 w 5719680"/>
                <a:gd name="connsiteY8470" fmla="*/ 3717729 h 5704395"/>
                <a:gd name="connsiteX8471" fmla="*/ 1987024 w 5719680"/>
                <a:gd name="connsiteY8471" fmla="*/ 3720264 h 5704395"/>
                <a:gd name="connsiteX8472" fmla="*/ 1999728 w 5719680"/>
                <a:gd name="connsiteY8472" fmla="*/ 3657520 h 5704395"/>
                <a:gd name="connsiteX8473" fmla="*/ 1956532 w 5719680"/>
                <a:gd name="connsiteY8473" fmla="*/ 3653401 h 5704395"/>
                <a:gd name="connsiteX8474" fmla="*/ 1940651 w 5719680"/>
                <a:gd name="connsiteY8474" fmla="*/ 3651816 h 5704395"/>
                <a:gd name="connsiteX8475" fmla="*/ 1935569 w 5719680"/>
                <a:gd name="connsiteY8475" fmla="*/ 3676534 h 5704395"/>
                <a:gd name="connsiteX8476" fmla="*/ 1928264 w 5719680"/>
                <a:gd name="connsiteY8476" fmla="*/ 3706955 h 5704395"/>
                <a:gd name="connsiteX8477" fmla="*/ 1925723 w 5719680"/>
                <a:gd name="connsiteY8477" fmla="*/ 3715828 h 5704395"/>
                <a:gd name="connsiteX8478" fmla="*/ 1925405 w 5719680"/>
                <a:gd name="connsiteY8478" fmla="*/ 3716461 h 5704395"/>
                <a:gd name="connsiteX8479" fmla="*/ 1939063 w 5719680"/>
                <a:gd name="connsiteY8479" fmla="*/ 3717412 h 5704395"/>
                <a:gd name="connsiteX8480" fmla="*/ 1952403 w 5719680"/>
                <a:gd name="connsiteY8480" fmla="*/ 3652767 h 5704395"/>
                <a:gd name="connsiteX8481" fmla="*/ 1940651 w 5719680"/>
                <a:gd name="connsiteY8481" fmla="*/ 3651816 h 5704395"/>
                <a:gd name="connsiteX8482" fmla="*/ 1008440 w 5719680"/>
                <a:gd name="connsiteY8482" fmla="*/ 3649915 h 5704395"/>
                <a:gd name="connsiteX8483" fmla="*/ 987795 w 5719680"/>
                <a:gd name="connsiteY8483" fmla="*/ 3675266 h 5704395"/>
                <a:gd name="connsiteX8484" fmla="*/ 1008440 w 5719680"/>
                <a:gd name="connsiteY8484" fmla="*/ 3689526 h 5704395"/>
                <a:gd name="connsiteX8485" fmla="*/ 1016380 w 5719680"/>
                <a:gd name="connsiteY8485" fmla="*/ 3696814 h 5704395"/>
                <a:gd name="connsiteX8486" fmla="*/ 1036073 w 5719680"/>
                <a:gd name="connsiteY8486" fmla="*/ 3672097 h 5704395"/>
                <a:gd name="connsiteX8487" fmla="*/ 1008440 w 5719680"/>
                <a:gd name="connsiteY8487" fmla="*/ 3649915 h 5704395"/>
                <a:gd name="connsiteX8488" fmla="*/ 3930851 w 5719680"/>
                <a:gd name="connsiteY8488" fmla="*/ 3649598 h 5704395"/>
                <a:gd name="connsiteX8489" fmla="*/ 3930851 w 5719680"/>
                <a:gd name="connsiteY8489" fmla="*/ 3670196 h 5704395"/>
                <a:gd name="connsiteX8490" fmla="*/ 3946732 w 5719680"/>
                <a:gd name="connsiteY8490" fmla="*/ 3670196 h 5704395"/>
                <a:gd name="connsiteX8491" fmla="*/ 3946732 w 5719680"/>
                <a:gd name="connsiteY8491" fmla="*/ 3649598 h 5704395"/>
                <a:gd name="connsiteX8492" fmla="*/ 3930851 w 5719680"/>
                <a:gd name="connsiteY8492" fmla="*/ 3649598 h 5704395"/>
                <a:gd name="connsiteX8493" fmla="*/ 1062435 w 5719680"/>
                <a:gd name="connsiteY8493" fmla="*/ 3648014 h 5704395"/>
                <a:gd name="connsiteX8494" fmla="*/ 1042743 w 5719680"/>
                <a:gd name="connsiteY8494" fmla="*/ 3672414 h 5704395"/>
                <a:gd name="connsiteX8495" fmla="*/ 1040520 w 5719680"/>
                <a:gd name="connsiteY8495" fmla="*/ 3675266 h 5704395"/>
                <a:gd name="connsiteX8496" fmla="*/ 1036073 w 5719680"/>
                <a:gd name="connsiteY8496" fmla="*/ 3681921 h 5704395"/>
                <a:gd name="connsiteX8497" fmla="*/ 1067517 w 5719680"/>
                <a:gd name="connsiteY8497" fmla="*/ 3707272 h 5704395"/>
                <a:gd name="connsiteX8498" fmla="*/ 1085621 w 5719680"/>
                <a:gd name="connsiteY8498" fmla="*/ 3685406 h 5704395"/>
                <a:gd name="connsiteX8499" fmla="*/ 1084669 w 5719680"/>
                <a:gd name="connsiteY8499" fmla="*/ 3684456 h 5704395"/>
                <a:gd name="connsiteX8500" fmla="*/ 1086574 w 5719680"/>
                <a:gd name="connsiteY8500" fmla="*/ 3681287 h 5704395"/>
                <a:gd name="connsiteX8501" fmla="*/ 1092291 w 5719680"/>
                <a:gd name="connsiteY8501" fmla="*/ 3672097 h 5704395"/>
                <a:gd name="connsiteX8502" fmla="*/ 1062435 w 5719680"/>
                <a:gd name="connsiteY8502" fmla="*/ 3648014 h 5704395"/>
                <a:gd name="connsiteX8503" fmla="*/ 3344844 w 5719680"/>
                <a:gd name="connsiteY8503" fmla="*/ 3647380 h 5704395"/>
                <a:gd name="connsiteX8504" fmla="*/ 3311812 w 5719680"/>
                <a:gd name="connsiteY8504" fmla="*/ 3658788 h 5704395"/>
                <a:gd name="connsiteX8505" fmla="*/ 3143474 w 5719680"/>
                <a:gd name="connsiteY8505" fmla="*/ 3713926 h 5704395"/>
                <a:gd name="connsiteX8506" fmla="*/ 3173648 w 5719680"/>
                <a:gd name="connsiteY8506" fmla="*/ 3815330 h 5704395"/>
                <a:gd name="connsiteX8507" fmla="*/ 3119970 w 5719680"/>
                <a:gd name="connsiteY8507" fmla="*/ 3839097 h 5704395"/>
                <a:gd name="connsiteX8508" fmla="*/ 3114570 w 5719680"/>
                <a:gd name="connsiteY8508" fmla="*/ 3854308 h 5704395"/>
                <a:gd name="connsiteX8509" fmla="*/ 3109488 w 5719680"/>
                <a:gd name="connsiteY8509" fmla="*/ 3874589 h 5704395"/>
                <a:gd name="connsiteX8510" fmla="*/ 3127593 w 5719680"/>
                <a:gd name="connsiteY8510" fmla="*/ 3875539 h 5704395"/>
                <a:gd name="connsiteX8511" fmla="*/ 3175236 w 5719680"/>
                <a:gd name="connsiteY8511" fmla="*/ 3868568 h 5704395"/>
                <a:gd name="connsiteX8512" fmla="*/ 3445212 w 5719680"/>
                <a:gd name="connsiteY8512" fmla="*/ 3781423 h 5704395"/>
                <a:gd name="connsiteX8513" fmla="*/ 3409956 w 5719680"/>
                <a:gd name="connsiteY8513" fmla="*/ 3668294 h 5704395"/>
                <a:gd name="connsiteX8514" fmla="*/ 3359454 w 5719680"/>
                <a:gd name="connsiteY8514" fmla="*/ 3678118 h 5704395"/>
                <a:gd name="connsiteX8515" fmla="*/ 3358819 w 5719680"/>
                <a:gd name="connsiteY8515" fmla="*/ 3676534 h 5704395"/>
                <a:gd name="connsiteX8516" fmla="*/ 3351196 w 5719680"/>
                <a:gd name="connsiteY8516" fmla="*/ 3660689 h 5704395"/>
                <a:gd name="connsiteX8517" fmla="*/ 3346114 w 5719680"/>
                <a:gd name="connsiteY8517" fmla="*/ 3649915 h 5704395"/>
                <a:gd name="connsiteX8518" fmla="*/ 3344844 w 5719680"/>
                <a:gd name="connsiteY8518" fmla="*/ 3647380 h 5704395"/>
                <a:gd name="connsiteX8519" fmla="*/ 3846046 w 5719680"/>
                <a:gd name="connsiteY8519" fmla="*/ 3645795 h 5704395"/>
                <a:gd name="connsiteX8520" fmla="*/ 3823496 w 5719680"/>
                <a:gd name="connsiteY8520" fmla="*/ 3665442 h 5704395"/>
                <a:gd name="connsiteX8521" fmla="*/ 3781888 w 5719680"/>
                <a:gd name="connsiteY8521" fmla="*/ 3692378 h 5704395"/>
                <a:gd name="connsiteX8522" fmla="*/ 3838106 w 5719680"/>
                <a:gd name="connsiteY8522" fmla="*/ 3810260 h 5704395"/>
                <a:gd name="connsiteX8523" fmla="*/ 3940697 w 5719680"/>
                <a:gd name="connsiteY8523" fmla="*/ 3749101 h 5704395"/>
                <a:gd name="connsiteX8524" fmla="*/ 3956896 w 5719680"/>
                <a:gd name="connsiteY8524" fmla="*/ 3709490 h 5704395"/>
                <a:gd name="connsiteX8525" fmla="*/ 3900994 w 5719680"/>
                <a:gd name="connsiteY8525" fmla="*/ 3676850 h 5704395"/>
                <a:gd name="connsiteX8526" fmla="*/ 3859386 w 5719680"/>
                <a:gd name="connsiteY8526" fmla="*/ 3653084 h 5704395"/>
                <a:gd name="connsiteX8527" fmla="*/ 3846046 w 5719680"/>
                <a:gd name="connsiteY8527" fmla="*/ 3645795 h 5704395"/>
                <a:gd name="connsiteX8528" fmla="*/ 3926722 w 5719680"/>
                <a:gd name="connsiteY8528" fmla="*/ 3645479 h 5704395"/>
                <a:gd name="connsiteX8529" fmla="*/ 3950861 w 5719680"/>
                <a:gd name="connsiteY8529" fmla="*/ 3645479 h 5704395"/>
                <a:gd name="connsiteX8530" fmla="*/ 3950861 w 5719680"/>
                <a:gd name="connsiteY8530" fmla="*/ 3674315 h 5704395"/>
                <a:gd name="connsiteX8531" fmla="*/ 3926722 w 5719680"/>
                <a:gd name="connsiteY8531" fmla="*/ 3674315 h 5704395"/>
                <a:gd name="connsiteX8532" fmla="*/ 3926722 w 5719680"/>
                <a:gd name="connsiteY8532" fmla="*/ 3672414 h 5704395"/>
                <a:gd name="connsiteX8533" fmla="*/ 585054 w 5719680"/>
                <a:gd name="connsiteY8533" fmla="*/ 3640408 h 5704395"/>
                <a:gd name="connsiteX8534" fmla="*/ 572985 w 5719680"/>
                <a:gd name="connsiteY8534" fmla="*/ 3650232 h 5704395"/>
                <a:gd name="connsiteX8535" fmla="*/ 582831 w 5719680"/>
                <a:gd name="connsiteY8535" fmla="*/ 3661640 h 5704395"/>
                <a:gd name="connsiteX8536" fmla="*/ 586960 w 5719680"/>
                <a:gd name="connsiteY8536" fmla="*/ 3665442 h 5704395"/>
                <a:gd name="connsiteX8537" fmla="*/ 640637 w 5719680"/>
                <a:gd name="connsiteY8537" fmla="*/ 3700617 h 5704395"/>
                <a:gd name="connsiteX8538" fmla="*/ 706385 w 5719680"/>
                <a:gd name="connsiteY8538" fmla="*/ 3712976 h 5704395"/>
                <a:gd name="connsiteX8539" fmla="*/ 721313 w 5719680"/>
                <a:gd name="connsiteY8539" fmla="*/ 3713293 h 5704395"/>
                <a:gd name="connsiteX8540" fmla="*/ 728618 w 5719680"/>
                <a:gd name="connsiteY8540" fmla="*/ 3694913 h 5704395"/>
                <a:gd name="connsiteX8541" fmla="*/ 718454 w 5719680"/>
                <a:gd name="connsiteY8541" fmla="*/ 3694913 h 5704395"/>
                <a:gd name="connsiteX8542" fmla="*/ 681610 w 5719680"/>
                <a:gd name="connsiteY8542" fmla="*/ 3693646 h 5704395"/>
                <a:gd name="connsiteX8543" fmla="*/ 610781 w 5719680"/>
                <a:gd name="connsiteY8543" fmla="*/ 3667344 h 5704395"/>
                <a:gd name="connsiteX8544" fmla="*/ 610464 w 5719680"/>
                <a:gd name="connsiteY8544" fmla="*/ 3667027 h 5704395"/>
                <a:gd name="connsiteX8545" fmla="*/ 2562231 w 5719680"/>
                <a:gd name="connsiteY8545" fmla="*/ 3637239 h 5704395"/>
                <a:gd name="connsiteX8546" fmla="*/ 2345933 w 5719680"/>
                <a:gd name="connsiteY8546" fmla="*/ 4080566 h 5704395"/>
                <a:gd name="connsiteX8547" fmla="*/ 2331958 w 5719680"/>
                <a:gd name="connsiteY8547" fmla="*/ 4254854 h 5704395"/>
                <a:gd name="connsiteX8548" fmla="*/ 2336404 w 5719680"/>
                <a:gd name="connsiteY8548" fmla="*/ 4254537 h 5704395"/>
                <a:gd name="connsiteX8549" fmla="*/ 2687690 w 5719680"/>
                <a:gd name="connsiteY8549" fmla="*/ 4243129 h 5704395"/>
                <a:gd name="connsiteX8550" fmla="*/ 2689914 w 5719680"/>
                <a:gd name="connsiteY8550" fmla="*/ 4243129 h 5704395"/>
                <a:gd name="connsiteX8551" fmla="*/ 2689914 w 5719680"/>
                <a:gd name="connsiteY8551" fmla="*/ 4340097 h 5704395"/>
                <a:gd name="connsiteX8552" fmla="*/ 2752167 w 5719680"/>
                <a:gd name="connsiteY8552" fmla="*/ 4337562 h 5704395"/>
                <a:gd name="connsiteX8553" fmla="*/ 2761378 w 5719680"/>
                <a:gd name="connsiteY8553" fmla="*/ 4336294 h 5704395"/>
                <a:gd name="connsiteX8554" fmla="*/ 2969101 w 5719680"/>
                <a:gd name="connsiteY8554" fmla="*/ 3886947 h 5704395"/>
                <a:gd name="connsiteX8555" fmla="*/ 2985300 w 5719680"/>
                <a:gd name="connsiteY8555" fmla="*/ 3852723 h 5704395"/>
                <a:gd name="connsiteX8556" fmla="*/ 2562231 w 5719680"/>
                <a:gd name="connsiteY8556" fmla="*/ 3637239 h 5704395"/>
                <a:gd name="connsiteX8557" fmla="*/ 1118018 w 5719680"/>
                <a:gd name="connsiteY8557" fmla="*/ 3633754 h 5704395"/>
                <a:gd name="connsiteX8558" fmla="*/ 1140887 w 5719680"/>
                <a:gd name="connsiteY8558" fmla="*/ 3691427 h 5704395"/>
                <a:gd name="connsiteX8559" fmla="*/ 1199647 w 5719680"/>
                <a:gd name="connsiteY8559" fmla="*/ 3677801 h 5704395"/>
                <a:gd name="connsiteX8560" fmla="*/ 1192024 w 5719680"/>
                <a:gd name="connsiteY8560" fmla="*/ 3647063 h 5704395"/>
                <a:gd name="connsiteX8561" fmla="*/ 1118018 w 5719680"/>
                <a:gd name="connsiteY8561" fmla="*/ 3633754 h 5704395"/>
                <a:gd name="connsiteX8562" fmla="*/ 957939 w 5719680"/>
                <a:gd name="connsiteY8562" fmla="*/ 3632803 h 5704395"/>
                <a:gd name="connsiteX8563" fmla="*/ 943011 w 5719680"/>
                <a:gd name="connsiteY8563" fmla="*/ 3650549 h 5704395"/>
                <a:gd name="connsiteX8564" fmla="*/ 983348 w 5719680"/>
                <a:gd name="connsiteY8564" fmla="*/ 3672731 h 5704395"/>
                <a:gd name="connsiteX8565" fmla="*/ 1004311 w 5719680"/>
                <a:gd name="connsiteY8565" fmla="*/ 3646746 h 5704395"/>
                <a:gd name="connsiteX8566" fmla="*/ 1003993 w 5719680"/>
                <a:gd name="connsiteY8566" fmla="*/ 3646429 h 5704395"/>
                <a:gd name="connsiteX8567" fmla="*/ 1003358 w 5719680"/>
                <a:gd name="connsiteY8567" fmla="*/ 3647063 h 5704395"/>
                <a:gd name="connsiteX8568" fmla="*/ 1002723 w 5719680"/>
                <a:gd name="connsiteY8568" fmla="*/ 3646429 h 5704395"/>
                <a:gd name="connsiteX8569" fmla="*/ 990653 w 5719680"/>
                <a:gd name="connsiteY8569" fmla="*/ 3658471 h 5704395"/>
                <a:gd name="connsiteX8570" fmla="*/ 1529017 w 5719680"/>
                <a:gd name="connsiteY8570" fmla="*/ 3631535 h 5704395"/>
                <a:gd name="connsiteX8571" fmla="*/ 1552839 w 5719680"/>
                <a:gd name="connsiteY8571" fmla="*/ 3662591 h 5704395"/>
                <a:gd name="connsiteX8572" fmla="*/ 1612551 w 5719680"/>
                <a:gd name="connsiteY8572" fmla="*/ 3739277 h 5704395"/>
                <a:gd name="connsiteX8573" fmla="*/ 1620809 w 5719680"/>
                <a:gd name="connsiteY8573" fmla="*/ 3678118 h 5704395"/>
                <a:gd name="connsiteX8574" fmla="*/ 1618903 w 5719680"/>
                <a:gd name="connsiteY8574" fmla="*/ 3654985 h 5704395"/>
                <a:gd name="connsiteX8575" fmla="*/ 1615410 w 5719680"/>
                <a:gd name="connsiteY8575" fmla="*/ 3631852 h 5704395"/>
                <a:gd name="connsiteX8576" fmla="*/ 1573484 w 5719680"/>
                <a:gd name="connsiteY8576" fmla="*/ 3631535 h 5704395"/>
                <a:gd name="connsiteX8577" fmla="*/ 1529017 w 5719680"/>
                <a:gd name="connsiteY8577" fmla="*/ 3631535 h 5704395"/>
                <a:gd name="connsiteX8578" fmla="*/ 1076410 w 5719680"/>
                <a:gd name="connsiteY8578" fmla="*/ 3630268 h 5704395"/>
                <a:gd name="connsiteX8579" fmla="*/ 1064976 w 5719680"/>
                <a:gd name="connsiteY8579" fmla="*/ 3644528 h 5704395"/>
                <a:gd name="connsiteX8580" fmla="*/ 1098009 w 5719680"/>
                <a:gd name="connsiteY8580" fmla="*/ 3671146 h 5704395"/>
                <a:gd name="connsiteX8581" fmla="*/ 1096738 w 5719680"/>
                <a:gd name="connsiteY8581" fmla="*/ 3673048 h 5704395"/>
                <a:gd name="connsiteX8582" fmla="*/ 1103726 w 5719680"/>
                <a:gd name="connsiteY8582" fmla="*/ 3664492 h 5704395"/>
                <a:gd name="connsiteX8583" fmla="*/ 1092291 w 5719680"/>
                <a:gd name="connsiteY8583" fmla="*/ 3638507 h 5704395"/>
                <a:gd name="connsiteX8584" fmla="*/ 1076410 w 5719680"/>
                <a:gd name="connsiteY8584" fmla="*/ 3630268 h 5704395"/>
                <a:gd name="connsiteX8585" fmla="*/ 328100 w 5719680"/>
                <a:gd name="connsiteY8585" fmla="*/ 3629634 h 5704395"/>
                <a:gd name="connsiteX8586" fmla="*/ 328736 w 5719680"/>
                <a:gd name="connsiteY8586" fmla="*/ 3634071 h 5704395"/>
                <a:gd name="connsiteX8587" fmla="*/ 323019 w 5719680"/>
                <a:gd name="connsiteY8587" fmla="*/ 3656253 h 5704395"/>
                <a:gd name="connsiteX8588" fmla="*/ 307455 w 5719680"/>
                <a:gd name="connsiteY8588" fmla="*/ 3673998 h 5704395"/>
                <a:gd name="connsiteX8589" fmla="*/ 346522 w 5719680"/>
                <a:gd name="connsiteY8589" fmla="*/ 3709490 h 5704395"/>
                <a:gd name="connsiteX8590" fmla="*/ 363991 w 5719680"/>
                <a:gd name="connsiteY8590" fmla="*/ 3784592 h 5704395"/>
                <a:gd name="connsiteX8591" fmla="*/ 422433 w 5719680"/>
                <a:gd name="connsiteY8591" fmla="*/ 3770649 h 5704395"/>
                <a:gd name="connsiteX8592" fmla="*/ 413222 w 5719680"/>
                <a:gd name="connsiteY8592" fmla="*/ 3736425 h 5704395"/>
                <a:gd name="connsiteX8593" fmla="*/ 373202 w 5719680"/>
                <a:gd name="connsiteY8593" fmla="*/ 3669562 h 5704395"/>
                <a:gd name="connsiteX8594" fmla="*/ 328100 w 5719680"/>
                <a:gd name="connsiteY8594" fmla="*/ 3629634 h 5704395"/>
                <a:gd name="connsiteX8595" fmla="*/ 1111031 w 5719680"/>
                <a:gd name="connsiteY8595" fmla="*/ 3627733 h 5704395"/>
                <a:gd name="connsiteX8596" fmla="*/ 1195517 w 5719680"/>
                <a:gd name="connsiteY8596" fmla="*/ 3643260 h 5704395"/>
                <a:gd name="connsiteX8597" fmla="*/ 1204093 w 5719680"/>
                <a:gd name="connsiteY8597" fmla="*/ 3676850 h 5704395"/>
                <a:gd name="connsiteX8598" fmla="*/ 1204411 w 5719680"/>
                <a:gd name="connsiteY8598" fmla="*/ 3678118 h 5704395"/>
                <a:gd name="connsiteX8599" fmla="*/ 1246019 w 5719680"/>
                <a:gd name="connsiteY8599" fmla="*/ 3706321 h 5704395"/>
                <a:gd name="connsiteX8600" fmla="*/ 1282545 w 5719680"/>
                <a:gd name="connsiteY8600" fmla="*/ 3757340 h 5704395"/>
                <a:gd name="connsiteX8601" fmla="*/ 1217751 w 5719680"/>
                <a:gd name="connsiteY8601" fmla="*/ 3777938 h 5704395"/>
                <a:gd name="connsiteX8602" fmla="*/ 1197106 w 5719680"/>
                <a:gd name="connsiteY8602" fmla="*/ 3725651 h 5704395"/>
                <a:gd name="connsiteX8603" fmla="*/ 1137711 w 5719680"/>
                <a:gd name="connsiteY8603" fmla="*/ 3694913 h 5704395"/>
                <a:gd name="connsiteX8604" fmla="*/ 1137076 w 5719680"/>
                <a:gd name="connsiteY8604" fmla="*/ 3694913 h 5704395"/>
                <a:gd name="connsiteX8605" fmla="*/ 1136758 w 5719680"/>
                <a:gd name="connsiteY8605" fmla="*/ 3693329 h 5704395"/>
                <a:gd name="connsiteX8606" fmla="*/ 107991 w 5719680"/>
                <a:gd name="connsiteY8606" fmla="*/ 3625515 h 5704395"/>
                <a:gd name="connsiteX8607" fmla="*/ 176279 w 5719680"/>
                <a:gd name="connsiteY8607" fmla="*/ 3718363 h 5704395"/>
                <a:gd name="connsiteX8608" fmla="*/ 173103 w 5719680"/>
                <a:gd name="connsiteY8608" fmla="*/ 3719313 h 5704395"/>
                <a:gd name="connsiteX8609" fmla="*/ 146423 w 5719680"/>
                <a:gd name="connsiteY8609" fmla="*/ 3727236 h 5704395"/>
                <a:gd name="connsiteX8610" fmla="*/ 137212 w 5719680"/>
                <a:gd name="connsiteY8610" fmla="*/ 3713609 h 5704395"/>
                <a:gd name="connsiteX8611" fmla="*/ 100050 w 5719680"/>
                <a:gd name="connsiteY8611" fmla="*/ 3730405 h 5704395"/>
                <a:gd name="connsiteX8612" fmla="*/ 76864 w 5719680"/>
                <a:gd name="connsiteY8612" fmla="*/ 3704103 h 5704395"/>
                <a:gd name="connsiteX8613" fmla="*/ 92745 w 5719680"/>
                <a:gd name="connsiteY8613" fmla="*/ 3690160 h 5704395"/>
                <a:gd name="connsiteX8614" fmla="*/ 84804 w 5719680"/>
                <a:gd name="connsiteY8614" fmla="*/ 3679702 h 5704395"/>
                <a:gd name="connsiteX8615" fmla="*/ 40020 w 5719680"/>
                <a:gd name="connsiteY8615" fmla="*/ 3710441 h 5704395"/>
                <a:gd name="connsiteX8616" fmla="*/ 47961 w 5719680"/>
                <a:gd name="connsiteY8616" fmla="*/ 3721532 h 5704395"/>
                <a:gd name="connsiteX8617" fmla="*/ 3494 w 5719680"/>
                <a:gd name="connsiteY8617" fmla="*/ 3751002 h 5704395"/>
                <a:gd name="connsiteX8618" fmla="*/ 1271 w 5719680"/>
                <a:gd name="connsiteY8618" fmla="*/ 3750052 h 5704395"/>
                <a:gd name="connsiteX8619" fmla="*/ 1271 w 5719680"/>
                <a:gd name="connsiteY8619" fmla="*/ 3744664 h 5704395"/>
                <a:gd name="connsiteX8620" fmla="*/ 3176 w 5719680"/>
                <a:gd name="connsiteY8620" fmla="*/ 3745615 h 5704395"/>
                <a:gd name="connsiteX8621" fmla="*/ 41291 w 5719680"/>
                <a:gd name="connsiteY8621" fmla="*/ 3720581 h 5704395"/>
                <a:gd name="connsiteX8622" fmla="*/ 33350 w 5719680"/>
                <a:gd name="connsiteY8622" fmla="*/ 3709173 h 5704395"/>
                <a:gd name="connsiteX8623" fmla="*/ 85757 w 5719680"/>
                <a:gd name="connsiteY8623" fmla="*/ 3673365 h 5704395"/>
                <a:gd name="connsiteX8624" fmla="*/ 99097 w 5719680"/>
                <a:gd name="connsiteY8624" fmla="*/ 3690794 h 5704395"/>
                <a:gd name="connsiteX8625" fmla="*/ 83534 w 5719680"/>
                <a:gd name="connsiteY8625" fmla="*/ 3704420 h 5704395"/>
                <a:gd name="connsiteX8626" fmla="*/ 101321 w 5719680"/>
                <a:gd name="connsiteY8626" fmla="*/ 3724701 h 5704395"/>
                <a:gd name="connsiteX8627" fmla="*/ 138800 w 5719680"/>
                <a:gd name="connsiteY8627" fmla="*/ 3707589 h 5704395"/>
                <a:gd name="connsiteX8628" fmla="*/ 148328 w 5719680"/>
                <a:gd name="connsiteY8628" fmla="*/ 3721849 h 5704395"/>
                <a:gd name="connsiteX8629" fmla="*/ 168656 w 5719680"/>
                <a:gd name="connsiteY8629" fmla="*/ 3715828 h 5704395"/>
                <a:gd name="connsiteX8630" fmla="*/ 106720 w 5719680"/>
                <a:gd name="connsiteY8630" fmla="*/ 3631852 h 5704395"/>
                <a:gd name="connsiteX8631" fmla="*/ 1271 w 5719680"/>
                <a:gd name="connsiteY8631" fmla="*/ 3702201 h 5704395"/>
                <a:gd name="connsiteX8632" fmla="*/ 1271 w 5719680"/>
                <a:gd name="connsiteY8632" fmla="*/ 3696498 h 5704395"/>
                <a:gd name="connsiteX8633" fmla="*/ 107991 w 5719680"/>
                <a:gd name="connsiteY8633" fmla="*/ 3625515 h 5704395"/>
                <a:gd name="connsiteX8634" fmla="*/ 1857118 w 5719680"/>
                <a:gd name="connsiteY8634" fmla="*/ 3623296 h 5704395"/>
                <a:gd name="connsiteX8635" fmla="*/ 1819638 w 5719680"/>
                <a:gd name="connsiteY8635" fmla="*/ 3625515 h 5704395"/>
                <a:gd name="connsiteX8636" fmla="*/ 1727529 w 5719680"/>
                <a:gd name="connsiteY8636" fmla="*/ 3656570 h 5704395"/>
                <a:gd name="connsiteX8637" fmla="*/ 1790735 w 5719680"/>
                <a:gd name="connsiteY8637" fmla="*/ 3706638 h 5704395"/>
                <a:gd name="connsiteX8638" fmla="*/ 1791053 w 5719680"/>
                <a:gd name="connsiteY8638" fmla="*/ 3707589 h 5704395"/>
                <a:gd name="connsiteX8639" fmla="*/ 1795182 w 5719680"/>
                <a:gd name="connsiteY8639" fmla="*/ 3738327 h 5704395"/>
                <a:gd name="connsiteX8640" fmla="*/ 1798358 w 5719680"/>
                <a:gd name="connsiteY8640" fmla="*/ 3759558 h 5704395"/>
                <a:gd name="connsiteX8641" fmla="*/ 1798993 w 5719680"/>
                <a:gd name="connsiteY8641" fmla="*/ 3764945 h 5704395"/>
                <a:gd name="connsiteX8642" fmla="*/ 1860611 w 5719680"/>
                <a:gd name="connsiteY8642" fmla="*/ 3770332 h 5704395"/>
                <a:gd name="connsiteX8643" fmla="*/ 1870140 w 5719680"/>
                <a:gd name="connsiteY8643" fmla="*/ 3687625 h 5704395"/>
                <a:gd name="connsiteX8644" fmla="*/ 1854894 w 5719680"/>
                <a:gd name="connsiteY8644" fmla="*/ 3653718 h 5704395"/>
                <a:gd name="connsiteX8645" fmla="*/ 1857118 w 5719680"/>
                <a:gd name="connsiteY8645" fmla="*/ 3623296 h 5704395"/>
                <a:gd name="connsiteX8646" fmla="*/ 1022098 w 5719680"/>
                <a:gd name="connsiteY8646" fmla="*/ 3623296 h 5704395"/>
                <a:gd name="connsiteX8647" fmla="*/ 1006534 w 5719680"/>
                <a:gd name="connsiteY8647" fmla="*/ 3642943 h 5704395"/>
                <a:gd name="connsiteX8648" fmla="*/ 1007170 w 5719680"/>
                <a:gd name="connsiteY8648" fmla="*/ 3643260 h 5704395"/>
                <a:gd name="connsiteX8649" fmla="*/ 1023050 w 5719680"/>
                <a:gd name="connsiteY8649" fmla="*/ 3623613 h 5704395"/>
                <a:gd name="connsiteX8650" fmla="*/ 1022098 w 5719680"/>
                <a:gd name="connsiteY8650" fmla="*/ 3623296 h 5704395"/>
                <a:gd name="connsiteX8651" fmla="*/ 2321158 w 5719680"/>
                <a:gd name="connsiteY8651" fmla="*/ 3621078 h 5704395"/>
                <a:gd name="connsiteX8652" fmla="*/ 2261446 w 5719680"/>
                <a:gd name="connsiteY8652" fmla="*/ 3791881 h 5704395"/>
                <a:gd name="connsiteX8653" fmla="*/ 2262399 w 5719680"/>
                <a:gd name="connsiteY8653" fmla="*/ 3895503 h 5704395"/>
                <a:gd name="connsiteX8654" fmla="*/ 2236036 w 5719680"/>
                <a:gd name="connsiteY8654" fmla="*/ 3939867 h 5704395"/>
                <a:gd name="connsiteX8655" fmla="*/ 2370389 w 5719680"/>
                <a:gd name="connsiteY8655" fmla="*/ 3982647 h 5704395"/>
                <a:gd name="connsiteX8656" fmla="*/ 2409774 w 5719680"/>
                <a:gd name="connsiteY8656" fmla="*/ 3902475 h 5704395"/>
                <a:gd name="connsiteX8657" fmla="*/ 2409774 w 5719680"/>
                <a:gd name="connsiteY8657" fmla="*/ 3902158 h 5704395"/>
                <a:gd name="connsiteX8658" fmla="*/ 2341486 w 5719680"/>
                <a:gd name="connsiteY8658" fmla="*/ 3849237 h 5704395"/>
                <a:gd name="connsiteX8659" fmla="*/ 2303054 w 5719680"/>
                <a:gd name="connsiteY8659" fmla="*/ 3839097 h 5704395"/>
                <a:gd name="connsiteX8660" fmla="*/ 2276056 w 5719680"/>
                <a:gd name="connsiteY8660" fmla="*/ 3832126 h 5704395"/>
                <a:gd name="connsiteX8661" fmla="*/ 2266846 w 5719680"/>
                <a:gd name="connsiteY8661" fmla="*/ 3829907 h 5704395"/>
                <a:gd name="connsiteX8662" fmla="*/ 2263987 w 5719680"/>
                <a:gd name="connsiteY8662" fmla="*/ 3829274 h 5704395"/>
                <a:gd name="connsiteX8663" fmla="*/ 2263352 w 5719680"/>
                <a:gd name="connsiteY8663" fmla="*/ 3828957 h 5704395"/>
                <a:gd name="connsiteX8664" fmla="*/ 2263352 w 5719680"/>
                <a:gd name="connsiteY8664" fmla="*/ 3824520 h 5704395"/>
                <a:gd name="connsiteX8665" fmla="*/ 2277010 w 5719680"/>
                <a:gd name="connsiteY8665" fmla="*/ 3827689 h 5704395"/>
                <a:gd name="connsiteX8666" fmla="*/ 2343074 w 5719680"/>
                <a:gd name="connsiteY8666" fmla="*/ 3845118 h 5704395"/>
                <a:gd name="connsiteX8667" fmla="*/ 2343392 w 5719680"/>
                <a:gd name="connsiteY8667" fmla="*/ 3845118 h 5704395"/>
                <a:gd name="connsiteX8668" fmla="*/ 2343710 w 5719680"/>
                <a:gd name="connsiteY8668" fmla="*/ 3845435 h 5704395"/>
                <a:gd name="connsiteX8669" fmla="*/ 2378965 w 5719680"/>
                <a:gd name="connsiteY8669" fmla="*/ 3873321 h 5704395"/>
                <a:gd name="connsiteX8670" fmla="*/ 2403739 w 5719680"/>
                <a:gd name="connsiteY8670" fmla="*/ 3892334 h 5704395"/>
                <a:gd name="connsiteX8671" fmla="*/ 2411680 w 5719680"/>
                <a:gd name="connsiteY8671" fmla="*/ 3898355 h 5704395"/>
                <a:gd name="connsiteX8672" fmla="*/ 2465675 w 5719680"/>
                <a:gd name="connsiteY8672" fmla="*/ 3788078 h 5704395"/>
                <a:gd name="connsiteX8673" fmla="*/ 2360226 w 5719680"/>
                <a:gd name="connsiteY8673" fmla="*/ 3734207 h 5704395"/>
                <a:gd name="connsiteX8674" fmla="*/ 2289079 w 5719680"/>
                <a:gd name="connsiteY8674" fmla="*/ 3714560 h 5704395"/>
                <a:gd name="connsiteX8675" fmla="*/ 2290350 w 5719680"/>
                <a:gd name="connsiteY8675" fmla="*/ 3710441 h 5704395"/>
                <a:gd name="connsiteX8676" fmla="*/ 2361814 w 5719680"/>
                <a:gd name="connsiteY8676" fmla="*/ 3730088 h 5704395"/>
                <a:gd name="connsiteX8677" fmla="*/ 2467581 w 5719680"/>
                <a:gd name="connsiteY8677" fmla="*/ 3783959 h 5704395"/>
                <a:gd name="connsiteX8678" fmla="*/ 2504742 w 5719680"/>
                <a:gd name="connsiteY8678" fmla="*/ 3707589 h 5704395"/>
                <a:gd name="connsiteX8679" fmla="*/ 2469804 w 5719680"/>
                <a:gd name="connsiteY8679" fmla="*/ 3676534 h 5704395"/>
                <a:gd name="connsiteX8680" fmla="*/ 2372930 w 5719680"/>
                <a:gd name="connsiteY8680" fmla="*/ 3670830 h 5704395"/>
                <a:gd name="connsiteX8681" fmla="*/ 2321158 w 5719680"/>
                <a:gd name="connsiteY8681" fmla="*/ 3621078 h 5704395"/>
                <a:gd name="connsiteX8682" fmla="*/ 912519 w 5719680"/>
                <a:gd name="connsiteY8682" fmla="*/ 3619811 h 5704395"/>
                <a:gd name="connsiteX8683" fmla="*/ 898862 w 5719680"/>
                <a:gd name="connsiteY8683" fmla="*/ 3654668 h 5704395"/>
                <a:gd name="connsiteX8684" fmla="*/ 926494 w 5719680"/>
                <a:gd name="connsiteY8684" fmla="*/ 3666710 h 5704395"/>
                <a:gd name="connsiteX8685" fmla="*/ 990018 w 5719680"/>
                <a:gd name="connsiteY8685" fmla="*/ 3702835 h 5704395"/>
                <a:gd name="connsiteX8686" fmla="*/ 1019874 w 5719680"/>
                <a:gd name="connsiteY8686" fmla="*/ 3738010 h 5704395"/>
                <a:gd name="connsiteX8687" fmla="*/ 1018921 w 5719680"/>
                <a:gd name="connsiteY8687" fmla="*/ 3738960 h 5704395"/>
                <a:gd name="connsiteX8688" fmla="*/ 1030038 w 5719680"/>
                <a:gd name="connsiteY8688" fmla="*/ 3742763 h 5704395"/>
                <a:gd name="connsiteX8689" fmla="*/ 1057353 w 5719680"/>
                <a:gd name="connsiteY8689" fmla="*/ 3756706 h 5704395"/>
                <a:gd name="connsiteX8690" fmla="*/ 1042425 w 5719680"/>
                <a:gd name="connsiteY8690" fmla="*/ 3736108 h 5704395"/>
                <a:gd name="connsiteX8691" fmla="*/ 1005264 w 5719680"/>
                <a:gd name="connsiteY8691" fmla="*/ 3693646 h 5704395"/>
                <a:gd name="connsiteX8692" fmla="*/ 929035 w 5719680"/>
                <a:gd name="connsiteY8692" fmla="*/ 3649915 h 5704395"/>
                <a:gd name="connsiteX8693" fmla="*/ 928082 w 5719680"/>
                <a:gd name="connsiteY8693" fmla="*/ 3648964 h 5704395"/>
                <a:gd name="connsiteX8694" fmla="*/ 917919 w 5719680"/>
                <a:gd name="connsiteY8694" fmla="*/ 3630268 h 5704395"/>
                <a:gd name="connsiteX8695" fmla="*/ 912519 w 5719680"/>
                <a:gd name="connsiteY8695" fmla="*/ 3619811 h 5704395"/>
                <a:gd name="connsiteX8696" fmla="*/ 562186 w 5719680"/>
                <a:gd name="connsiteY8696" fmla="*/ 3616642 h 5704395"/>
                <a:gd name="connsiteX8697" fmla="*/ 550116 w 5719680"/>
                <a:gd name="connsiteY8697" fmla="*/ 3624247 h 5704395"/>
                <a:gd name="connsiteX8698" fmla="*/ 563456 w 5719680"/>
                <a:gd name="connsiteY8698" fmla="*/ 3639458 h 5704395"/>
                <a:gd name="connsiteX8699" fmla="*/ 575208 w 5719680"/>
                <a:gd name="connsiteY8699" fmla="*/ 3629951 h 5704395"/>
                <a:gd name="connsiteX8700" fmla="*/ 562186 w 5719680"/>
                <a:gd name="connsiteY8700" fmla="*/ 3616642 h 5704395"/>
                <a:gd name="connsiteX8701" fmla="*/ 1046554 w 5719680"/>
                <a:gd name="connsiteY8701" fmla="*/ 3614424 h 5704395"/>
                <a:gd name="connsiteX8702" fmla="*/ 1068470 w 5719680"/>
                <a:gd name="connsiteY8702" fmla="*/ 3631852 h 5704395"/>
                <a:gd name="connsiteX8703" fmla="*/ 1071646 w 5719680"/>
                <a:gd name="connsiteY8703" fmla="*/ 3627733 h 5704395"/>
                <a:gd name="connsiteX8704" fmla="*/ 1046554 w 5719680"/>
                <a:gd name="connsiteY8704" fmla="*/ 3614424 h 5704395"/>
                <a:gd name="connsiteX8705" fmla="*/ 1037979 w 5719680"/>
                <a:gd name="connsiteY8705" fmla="*/ 3613156 h 5704395"/>
                <a:gd name="connsiteX8706" fmla="*/ 1010981 w 5719680"/>
                <a:gd name="connsiteY8706" fmla="*/ 3646746 h 5704395"/>
                <a:gd name="connsiteX8707" fmla="*/ 1038931 w 5719680"/>
                <a:gd name="connsiteY8707" fmla="*/ 3668611 h 5704395"/>
                <a:gd name="connsiteX8708" fmla="*/ 1058306 w 5719680"/>
                <a:gd name="connsiteY8708" fmla="*/ 3644528 h 5704395"/>
                <a:gd name="connsiteX8709" fmla="*/ 1056718 w 5719680"/>
                <a:gd name="connsiteY8709" fmla="*/ 3643260 h 5704395"/>
                <a:gd name="connsiteX8710" fmla="*/ 1058941 w 5719680"/>
                <a:gd name="connsiteY8710" fmla="*/ 3640091 h 5704395"/>
                <a:gd name="connsiteX8711" fmla="*/ 1063388 w 5719680"/>
                <a:gd name="connsiteY8711" fmla="*/ 3633437 h 5704395"/>
                <a:gd name="connsiteX8712" fmla="*/ 3176 w 5719680"/>
                <a:gd name="connsiteY8712" fmla="*/ 3612205 h 5704395"/>
                <a:gd name="connsiteX8713" fmla="*/ 4129 w 5719680"/>
                <a:gd name="connsiteY8713" fmla="*/ 3614424 h 5704395"/>
                <a:gd name="connsiteX8714" fmla="*/ 12705 w 5719680"/>
                <a:gd name="connsiteY8714" fmla="*/ 3636289 h 5704395"/>
                <a:gd name="connsiteX8715" fmla="*/ 1271 w 5719680"/>
                <a:gd name="connsiteY8715" fmla="*/ 3643577 h 5704395"/>
                <a:gd name="connsiteX8716" fmla="*/ 1271 w 5719680"/>
                <a:gd name="connsiteY8716" fmla="*/ 3638190 h 5704395"/>
                <a:gd name="connsiteX8717" fmla="*/ 6988 w 5719680"/>
                <a:gd name="connsiteY8717" fmla="*/ 3634387 h 5704395"/>
                <a:gd name="connsiteX8718" fmla="*/ 1271 w 5719680"/>
                <a:gd name="connsiteY8718" fmla="*/ 3620444 h 5704395"/>
                <a:gd name="connsiteX8719" fmla="*/ 1271 w 5719680"/>
                <a:gd name="connsiteY8719" fmla="*/ 3613156 h 5704395"/>
                <a:gd name="connsiteX8720" fmla="*/ 3176 w 5719680"/>
                <a:gd name="connsiteY8720" fmla="*/ 3612205 h 5704395"/>
                <a:gd name="connsiteX8721" fmla="*/ 2148056 w 5719680"/>
                <a:gd name="connsiteY8721" fmla="*/ 3605234 h 5704395"/>
                <a:gd name="connsiteX8722" fmla="*/ 2145833 w 5719680"/>
                <a:gd name="connsiteY8722" fmla="*/ 3627416 h 5704395"/>
                <a:gd name="connsiteX8723" fmla="*/ 2149644 w 5719680"/>
                <a:gd name="connsiteY8723" fmla="*/ 3627733 h 5704395"/>
                <a:gd name="connsiteX8724" fmla="*/ 2151550 w 5719680"/>
                <a:gd name="connsiteY8724" fmla="*/ 3628050 h 5704395"/>
                <a:gd name="connsiteX8725" fmla="*/ 2150280 w 5719680"/>
                <a:gd name="connsiteY8725" fmla="*/ 3643577 h 5704395"/>
                <a:gd name="connsiteX8726" fmla="*/ 2204592 w 5719680"/>
                <a:gd name="connsiteY8726" fmla="*/ 3649598 h 5704395"/>
                <a:gd name="connsiteX8727" fmla="*/ 2206180 w 5719680"/>
                <a:gd name="connsiteY8727" fmla="*/ 3633754 h 5704395"/>
                <a:gd name="connsiteX8728" fmla="*/ 2182042 w 5719680"/>
                <a:gd name="connsiteY8728" fmla="*/ 3631535 h 5704395"/>
                <a:gd name="connsiteX8729" fmla="*/ 2184265 w 5719680"/>
                <a:gd name="connsiteY8729" fmla="*/ 3608720 h 5704395"/>
                <a:gd name="connsiteX8730" fmla="*/ 2148056 w 5719680"/>
                <a:gd name="connsiteY8730" fmla="*/ 3605234 h 5704395"/>
                <a:gd name="connsiteX8731" fmla="*/ 739099 w 5719680"/>
                <a:gd name="connsiteY8731" fmla="*/ 3604283 h 5704395"/>
                <a:gd name="connsiteX8732" fmla="*/ 725124 w 5719680"/>
                <a:gd name="connsiteY8732" fmla="*/ 3666710 h 5704395"/>
                <a:gd name="connsiteX8733" fmla="*/ 625392 w 5719680"/>
                <a:gd name="connsiteY8733" fmla="*/ 3644528 h 5704395"/>
                <a:gd name="connsiteX8734" fmla="*/ 606017 w 5719680"/>
                <a:gd name="connsiteY8734" fmla="*/ 3623296 h 5704395"/>
                <a:gd name="connsiteX8735" fmla="*/ 591089 w 5719680"/>
                <a:gd name="connsiteY8735" fmla="*/ 3635338 h 5704395"/>
                <a:gd name="connsiteX8736" fmla="*/ 615228 w 5719680"/>
                <a:gd name="connsiteY8736" fmla="*/ 3660689 h 5704395"/>
                <a:gd name="connsiteX8737" fmla="*/ 638732 w 5719680"/>
                <a:gd name="connsiteY8737" fmla="*/ 3672731 h 5704395"/>
                <a:gd name="connsiteX8738" fmla="*/ 681928 w 5719680"/>
                <a:gd name="connsiteY8738" fmla="*/ 3686040 h 5704395"/>
                <a:gd name="connsiteX8739" fmla="*/ 718454 w 5719680"/>
                <a:gd name="connsiteY8739" fmla="*/ 3687308 h 5704395"/>
                <a:gd name="connsiteX8740" fmla="*/ 731794 w 5719680"/>
                <a:gd name="connsiteY8740" fmla="*/ 3686991 h 5704395"/>
                <a:gd name="connsiteX8741" fmla="*/ 764509 w 5719680"/>
                <a:gd name="connsiteY8741" fmla="*/ 3616325 h 5704395"/>
                <a:gd name="connsiteX8742" fmla="*/ 739099 w 5719680"/>
                <a:gd name="connsiteY8742" fmla="*/ 3604283 h 5704395"/>
                <a:gd name="connsiteX8743" fmla="*/ 289986 w 5719680"/>
                <a:gd name="connsiteY8743" fmla="*/ 3603966 h 5704395"/>
                <a:gd name="connsiteX8744" fmla="*/ 268071 w 5719680"/>
                <a:gd name="connsiteY8744" fmla="*/ 3670196 h 5704395"/>
                <a:gd name="connsiteX8745" fmla="*/ 284269 w 5719680"/>
                <a:gd name="connsiteY8745" fmla="*/ 3673998 h 5704395"/>
                <a:gd name="connsiteX8746" fmla="*/ 316349 w 5719680"/>
                <a:gd name="connsiteY8746" fmla="*/ 3652133 h 5704395"/>
                <a:gd name="connsiteX8747" fmla="*/ 320795 w 5719680"/>
                <a:gd name="connsiteY8747" fmla="*/ 3634071 h 5704395"/>
                <a:gd name="connsiteX8748" fmla="*/ 319842 w 5719680"/>
                <a:gd name="connsiteY8748" fmla="*/ 3622980 h 5704395"/>
                <a:gd name="connsiteX8749" fmla="*/ 305550 w 5719680"/>
                <a:gd name="connsiteY8749" fmla="*/ 3612839 h 5704395"/>
                <a:gd name="connsiteX8750" fmla="*/ 289986 w 5719680"/>
                <a:gd name="connsiteY8750" fmla="*/ 3603966 h 5704395"/>
                <a:gd name="connsiteX8751" fmla="*/ 211852 w 5719680"/>
                <a:gd name="connsiteY8751" fmla="*/ 3603649 h 5704395"/>
                <a:gd name="connsiteX8752" fmla="*/ 178184 w 5719680"/>
                <a:gd name="connsiteY8752" fmla="*/ 3629317 h 5704395"/>
                <a:gd name="connsiteX8753" fmla="*/ 187713 w 5719680"/>
                <a:gd name="connsiteY8753" fmla="*/ 3641042 h 5704395"/>
                <a:gd name="connsiteX8754" fmla="*/ 206452 w 5719680"/>
                <a:gd name="connsiteY8754" fmla="*/ 3642310 h 5704395"/>
                <a:gd name="connsiteX8755" fmla="*/ 200100 w 5719680"/>
                <a:gd name="connsiteY8755" fmla="*/ 3665759 h 5704395"/>
                <a:gd name="connsiteX8756" fmla="*/ 208358 w 5719680"/>
                <a:gd name="connsiteY8756" fmla="*/ 3685406 h 5704395"/>
                <a:gd name="connsiteX8757" fmla="*/ 231862 w 5719680"/>
                <a:gd name="connsiteY8757" fmla="*/ 3668611 h 5704395"/>
                <a:gd name="connsiteX8758" fmla="*/ 211852 w 5719680"/>
                <a:gd name="connsiteY8758" fmla="*/ 3603649 h 5704395"/>
                <a:gd name="connsiteX8759" fmla="*/ 2144245 w 5719680"/>
                <a:gd name="connsiteY8759" fmla="*/ 3600797 h 5704395"/>
                <a:gd name="connsiteX8760" fmla="*/ 2188712 w 5719680"/>
                <a:gd name="connsiteY8760" fmla="*/ 3604917 h 5704395"/>
                <a:gd name="connsiteX8761" fmla="*/ 2186488 w 5719680"/>
                <a:gd name="connsiteY8761" fmla="*/ 3628050 h 5704395"/>
                <a:gd name="connsiteX8762" fmla="*/ 2210627 w 5719680"/>
                <a:gd name="connsiteY8762" fmla="*/ 3630268 h 5704395"/>
                <a:gd name="connsiteX8763" fmla="*/ 2208404 w 5719680"/>
                <a:gd name="connsiteY8763" fmla="*/ 3654035 h 5704395"/>
                <a:gd name="connsiteX8764" fmla="*/ 2206180 w 5719680"/>
                <a:gd name="connsiteY8764" fmla="*/ 3653718 h 5704395"/>
                <a:gd name="connsiteX8765" fmla="*/ 2145833 w 5719680"/>
                <a:gd name="connsiteY8765" fmla="*/ 3647380 h 5704395"/>
                <a:gd name="connsiteX8766" fmla="*/ 2147103 w 5719680"/>
                <a:gd name="connsiteY8766" fmla="*/ 3631852 h 5704395"/>
                <a:gd name="connsiteX8767" fmla="*/ 2143292 w 5719680"/>
                <a:gd name="connsiteY8767" fmla="*/ 3631535 h 5704395"/>
                <a:gd name="connsiteX8768" fmla="*/ 2141386 w 5719680"/>
                <a:gd name="connsiteY8768" fmla="*/ 3631219 h 5704395"/>
                <a:gd name="connsiteX8769" fmla="*/ 2144245 w 5719680"/>
                <a:gd name="connsiteY8769" fmla="*/ 3600797 h 5704395"/>
                <a:gd name="connsiteX8770" fmla="*/ 990653 w 5719680"/>
                <a:gd name="connsiteY8770" fmla="*/ 3598579 h 5704395"/>
                <a:gd name="connsiteX8771" fmla="*/ 963656 w 5719680"/>
                <a:gd name="connsiteY8771" fmla="*/ 3631852 h 5704395"/>
                <a:gd name="connsiteX8772" fmla="*/ 990336 w 5719680"/>
                <a:gd name="connsiteY8772" fmla="*/ 3652450 h 5704395"/>
                <a:gd name="connsiteX8773" fmla="*/ 999864 w 5719680"/>
                <a:gd name="connsiteY8773" fmla="*/ 3642943 h 5704395"/>
                <a:gd name="connsiteX8774" fmla="*/ 1002723 w 5719680"/>
                <a:gd name="connsiteY8774" fmla="*/ 3640091 h 5704395"/>
                <a:gd name="connsiteX8775" fmla="*/ 1004629 w 5719680"/>
                <a:gd name="connsiteY8775" fmla="*/ 3641359 h 5704395"/>
                <a:gd name="connsiteX8776" fmla="*/ 1020192 w 5719680"/>
                <a:gd name="connsiteY8776" fmla="*/ 3621712 h 5704395"/>
                <a:gd name="connsiteX8777" fmla="*/ 1578883 w 5719680"/>
                <a:gd name="connsiteY8777" fmla="*/ 3596995 h 5704395"/>
                <a:gd name="connsiteX8778" fmla="*/ 1574119 w 5719680"/>
                <a:gd name="connsiteY8778" fmla="*/ 3609353 h 5704395"/>
                <a:gd name="connsiteX8779" fmla="*/ 1591906 w 5719680"/>
                <a:gd name="connsiteY8779" fmla="*/ 3616325 h 5704395"/>
                <a:gd name="connsiteX8780" fmla="*/ 1596670 w 5719680"/>
                <a:gd name="connsiteY8780" fmla="*/ 3603966 h 5704395"/>
                <a:gd name="connsiteX8781" fmla="*/ 214393 w 5719680"/>
                <a:gd name="connsiteY8781" fmla="*/ 3595727 h 5704395"/>
                <a:gd name="connsiteX8782" fmla="*/ 237262 w 5719680"/>
                <a:gd name="connsiteY8782" fmla="*/ 3670513 h 5704395"/>
                <a:gd name="connsiteX8783" fmla="*/ 206135 w 5719680"/>
                <a:gd name="connsiteY8783" fmla="*/ 3692378 h 5704395"/>
                <a:gd name="connsiteX8784" fmla="*/ 205182 w 5719680"/>
                <a:gd name="connsiteY8784" fmla="*/ 3689843 h 5704395"/>
                <a:gd name="connsiteX8785" fmla="*/ 195018 w 5719680"/>
                <a:gd name="connsiteY8785" fmla="*/ 3666076 h 5704395"/>
                <a:gd name="connsiteX8786" fmla="*/ 200418 w 5719680"/>
                <a:gd name="connsiteY8786" fmla="*/ 3646746 h 5704395"/>
                <a:gd name="connsiteX8787" fmla="*/ 185490 w 5719680"/>
                <a:gd name="connsiteY8787" fmla="*/ 3645479 h 5704395"/>
                <a:gd name="connsiteX8788" fmla="*/ 171514 w 5719680"/>
                <a:gd name="connsiteY8788" fmla="*/ 3628367 h 5704395"/>
                <a:gd name="connsiteX8789" fmla="*/ 214393 w 5719680"/>
                <a:gd name="connsiteY8789" fmla="*/ 3595727 h 5704395"/>
                <a:gd name="connsiteX8790" fmla="*/ 2016880 w 5719680"/>
                <a:gd name="connsiteY8790" fmla="*/ 3593826 h 5704395"/>
                <a:gd name="connsiteX8791" fmla="*/ 2004810 w 5719680"/>
                <a:gd name="connsiteY8791" fmla="*/ 3653401 h 5704395"/>
                <a:gd name="connsiteX8792" fmla="*/ 2022279 w 5719680"/>
                <a:gd name="connsiteY8792" fmla="*/ 3655302 h 5704395"/>
                <a:gd name="connsiteX8793" fmla="*/ 2103907 w 5719680"/>
                <a:gd name="connsiteY8793" fmla="*/ 3662907 h 5704395"/>
                <a:gd name="connsiteX8794" fmla="*/ 2110577 w 5719680"/>
                <a:gd name="connsiteY8794" fmla="*/ 3601114 h 5704395"/>
                <a:gd name="connsiteX8795" fmla="*/ 2016880 w 5719680"/>
                <a:gd name="connsiteY8795" fmla="*/ 3593826 h 5704395"/>
                <a:gd name="connsiteX8796" fmla="*/ 1576660 w 5719680"/>
                <a:gd name="connsiteY8796" fmla="*/ 3591291 h 5704395"/>
                <a:gd name="connsiteX8797" fmla="*/ 1602070 w 5719680"/>
                <a:gd name="connsiteY8797" fmla="*/ 3601431 h 5704395"/>
                <a:gd name="connsiteX8798" fmla="*/ 1594129 w 5719680"/>
                <a:gd name="connsiteY8798" fmla="*/ 3621712 h 5704395"/>
                <a:gd name="connsiteX8799" fmla="*/ 1592223 w 5719680"/>
                <a:gd name="connsiteY8799" fmla="*/ 3620761 h 5704395"/>
                <a:gd name="connsiteX8800" fmla="*/ 1568720 w 5719680"/>
                <a:gd name="connsiteY8800" fmla="*/ 3611572 h 5704395"/>
                <a:gd name="connsiteX8801" fmla="*/ 1969872 w 5719680"/>
                <a:gd name="connsiteY8801" fmla="*/ 3590340 h 5704395"/>
                <a:gd name="connsiteX8802" fmla="*/ 1957485 w 5719680"/>
                <a:gd name="connsiteY8802" fmla="*/ 3648964 h 5704395"/>
                <a:gd name="connsiteX8803" fmla="*/ 2000681 w 5719680"/>
                <a:gd name="connsiteY8803" fmla="*/ 3653084 h 5704395"/>
                <a:gd name="connsiteX8804" fmla="*/ 2012751 w 5719680"/>
                <a:gd name="connsiteY8804" fmla="*/ 3593509 h 5704395"/>
                <a:gd name="connsiteX8805" fmla="*/ 1969872 w 5719680"/>
                <a:gd name="connsiteY8805" fmla="*/ 3590340 h 5704395"/>
                <a:gd name="connsiteX8806" fmla="*/ 1953356 w 5719680"/>
                <a:gd name="connsiteY8806" fmla="*/ 3589073 h 5704395"/>
                <a:gd name="connsiteX8807" fmla="*/ 1941604 w 5719680"/>
                <a:gd name="connsiteY8807" fmla="*/ 3647380 h 5704395"/>
                <a:gd name="connsiteX8808" fmla="*/ 1953356 w 5719680"/>
                <a:gd name="connsiteY8808" fmla="*/ 3648647 h 5704395"/>
                <a:gd name="connsiteX8809" fmla="*/ 1965425 w 5719680"/>
                <a:gd name="connsiteY8809" fmla="*/ 3590023 h 5704395"/>
                <a:gd name="connsiteX8810" fmla="*/ 1953356 w 5719680"/>
                <a:gd name="connsiteY8810" fmla="*/ 3589073 h 5704395"/>
                <a:gd name="connsiteX8811" fmla="*/ 997641 w 5719680"/>
                <a:gd name="connsiteY8811" fmla="*/ 3585904 h 5704395"/>
                <a:gd name="connsiteX8812" fmla="*/ 991606 w 5719680"/>
                <a:gd name="connsiteY8812" fmla="*/ 3593509 h 5704395"/>
                <a:gd name="connsiteX8813" fmla="*/ 1023050 w 5719680"/>
                <a:gd name="connsiteY8813" fmla="*/ 3618226 h 5704395"/>
                <a:gd name="connsiteX8814" fmla="*/ 1023050 w 5719680"/>
                <a:gd name="connsiteY8814" fmla="*/ 3617909 h 5704395"/>
                <a:gd name="connsiteX8815" fmla="*/ 1023368 w 5719680"/>
                <a:gd name="connsiteY8815" fmla="*/ 3618226 h 5704395"/>
                <a:gd name="connsiteX8816" fmla="*/ 1033850 w 5719680"/>
                <a:gd name="connsiteY8816" fmla="*/ 3607452 h 5704395"/>
                <a:gd name="connsiteX8817" fmla="*/ 996688 w 5719680"/>
                <a:gd name="connsiteY8817" fmla="*/ 3587805 h 5704395"/>
                <a:gd name="connsiteX8818" fmla="*/ 997641 w 5719680"/>
                <a:gd name="connsiteY8818" fmla="*/ 3585904 h 5704395"/>
                <a:gd name="connsiteX8819" fmla="*/ 1609057 w 5719680"/>
                <a:gd name="connsiteY8819" fmla="*/ 3583052 h 5704395"/>
                <a:gd name="connsiteX8820" fmla="*/ 1504243 w 5719680"/>
                <a:gd name="connsiteY8820" fmla="*/ 3599213 h 5704395"/>
                <a:gd name="connsiteX8821" fmla="*/ 1525523 w 5719680"/>
                <a:gd name="connsiteY8821" fmla="*/ 3627099 h 5704395"/>
                <a:gd name="connsiteX8822" fmla="*/ 1573484 w 5719680"/>
                <a:gd name="connsiteY8822" fmla="*/ 3627099 h 5704395"/>
                <a:gd name="connsiteX8823" fmla="*/ 1614774 w 5719680"/>
                <a:gd name="connsiteY8823" fmla="*/ 3627416 h 5704395"/>
                <a:gd name="connsiteX8824" fmla="*/ 1609057 w 5719680"/>
                <a:gd name="connsiteY8824" fmla="*/ 3583052 h 5704395"/>
                <a:gd name="connsiteX8825" fmla="*/ 2392305 w 5719680"/>
                <a:gd name="connsiteY8825" fmla="*/ 3582101 h 5704395"/>
                <a:gd name="connsiteX8826" fmla="*/ 2388176 w 5719680"/>
                <a:gd name="connsiteY8826" fmla="*/ 3597945 h 5704395"/>
                <a:gd name="connsiteX8827" fmla="*/ 2414856 w 5719680"/>
                <a:gd name="connsiteY8827" fmla="*/ 3604917 h 5704395"/>
                <a:gd name="connsiteX8828" fmla="*/ 2411362 w 5719680"/>
                <a:gd name="connsiteY8828" fmla="*/ 3617592 h 5704395"/>
                <a:gd name="connsiteX8829" fmla="*/ 2353238 w 5719680"/>
                <a:gd name="connsiteY8829" fmla="*/ 3602699 h 5704395"/>
                <a:gd name="connsiteX8830" fmla="*/ 2349109 w 5719680"/>
                <a:gd name="connsiteY8830" fmla="*/ 3617592 h 5704395"/>
                <a:gd name="connsiteX8831" fmla="*/ 2371024 w 5719680"/>
                <a:gd name="connsiteY8831" fmla="*/ 3623296 h 5704395"/>
                <a:gd name="connsiteX8832" fmla="*/ 2364990 w 5719680"/>
                <a:gd name="connsiteY8832" fmla="*/ 3646429 h 5704395"/>
                <a:gd name="connsiteX8833" fmla="*/ 2402469 w 5719680"/>
                <a:gd name="connsiteY8833" fmla="*/ 3656253 h 5704395"/>
                <a:gd name="connsiteX8834" fmla="*/ 2409774 w 5719680"/>
                <a:gd name="connsiteY8834" fmla="*/ 3628367 h 5704395"/>
                <a:gd name="connsiteX8835" fmla="*/ 2443124 w 5719680"/>
                <a:gd name="connsiteY8835" fmla="*/ 3636923 h 5704395"/>
                <a:gd name="connsiteX8836" fmla="*/ 2448841 w 5719680"/>
                <a:gd name="connsiteY8836" fmla="*/ 3614740 h 5704395"/>
                <a:gd name="connsiteX8837" fmla="*/ 2446618 w 5719680"/>
                <a:gd name="connsiteY8837" fmla="*/ 3614107 h 5704395"/>
                <a:gd name="connsiteX8838" fmla="*/ 2444712 w 5719680"/>
                <a:gd name="connsiteY8838" fmla="*/ 3613473 h 5704395"/>
                <a:gd name="connsiteX8839" fmla="*/ 2449159 w 5719680"/>
                <a:gd name="connsiteY8839" fmla="*/ 3596678 h 5704395"/>
                <a:gd name="connsiteX8840" fmla="*/ 2392305 w 5719680"/>
                <a:gd name="connsiteY8840" fmla="*/ 3582101 h 5704395"/>
                <a:gd name="connsiteX8841" fmla="*/ 1702120 w 5719680"/>
                <a:gd name="connsiteY8841" fmla="*/ 3580517 h 5704395"/>
                <a:gd name="connsiteX8842" fmla="*/ 1652253 w 5719680"/>
                <a:gd name="connsiteY8842" fmla="*/ 3588756 h 5704395"/>
                <a:gd name="connsiteX8843" fmla="*/ 1656700 w 5719680"/>
                <a:gd name="connsiteY8843" fmla="*/ 3614740 h 5704395"/>
                <a:gd name="connsiteX8844" fmla="*/ 1679569 w 5719680"/>
                <a:gd name="connsiteY8844" fmla="*/ 3610938 h 5704395"/>
                <a:gd name="connsiteX8845" fmla="*/ 1682427 w 5719680"/>
                <a:gd name="connsiteY8845" fmla="*/ 3629000 h 5704395"/>
                <a:gd name="connsiteX8846" fmla="*/ 1712919 w 5719680"/>
                <a:gd name="connsiteY8846" fmla="*/ 3624564 h 5704395"/>
                <a:gd name="connsiteX8847" fmla="*/ 1708154 w 5719680"/>
                <a:gd name="connsiteY8847" fmla="*/ 3596361 h 5704395"/>
                <a:gd name="connsiteX8848" fmla="*/ 1706884 w 5719680"/>
                <a:gd name="connsiteY8848" fmla="*/ 3596361 h 5704395"/>
                <a:gd name="connsiteX8849" fmla="*/ 1704978 w 5719680"/>
                <a:gd name="connsiteY8849" fmla="*/ 3596678 h 5704395"/>
                <a:gd name="connsiteX8850" fmla="*/ 1702120 w 5719680"/>
                <a:gd name="connsiteY8850" fmla="*/ 3580517 h 5704395"/>
                <a:gd name="connsiteX8851" fmla="*/ 653342 w 5719680"/>
                <a:gd name="connsiteY8851" fmla="*/ 3578615 h 5704395"/>
                <a:gd name="connsiteX8852" fmla="*/ 640955 w 5719680"/>
                <a:gd name="connsiteY8852" fmla="*/ 3622980 h 5704395"/>
                <a:gd name="connsiteX8853" fmla="*/ 707337 w 5719680"/>
                <a:gd name="connsiteY8853" fmla="*/ 3638507 h 5704395"/>
                <a:gd name="connsiteX8854" fmla="*/ 708925 w 5719680"/>
                <a:gd name="connsiteY8854" fmla="*/ 3620444 h 5704395"/>
                <a:gd name="connsiteX8855" fmla="*/ 690186 w 5719680"/>
                <a:gd name="connsiteY8855" fmla="*/ 3614424 h 5704395"/>
                <a:gd name="connsiteX8856" fmla="*/ 686692 w 5719680"/>
                <a:gd name="connsiteY8856" fmla="*/ 3613156 h 5704395"/>
                <a:gd name="connsiteX8857" fmla="*/ 687010 w 5719680"/>
                <a:gd name="connsiteY8857" fmla="*/ 3609670 h 5704395"/>
                <a:gd name="connsiteX8858" fmla="*/ 689233 w 5719680"/>
                <a:gd name="connsiteY8858" fmla="*/ 3589706 h 5704395"/>
                <a:gd name="connsiteX8859" fmla="*/ 653342 w 5719680"/>
                <a:gd name="connsiteY8859" fmla="*/ 3578615 h 5704395"/>
                <a:gd name="connsiteX8860" fmla="*/ 1147875 w 5719680"/>
                <a:gd name="connsiteY8860" fmla="*/ 3577348 h 5704395"/>
                <a:gd name="connsiteX8861" fmla="*/ 1103726 w 5719680"/>
                <a:gd name="connsiteY8861" fmla="*/ 3629317 h 5704395"/>
                <a:gd name="connsiteX8862" fmla="*/ 1104361 w 5719680"/>
                <a:gd name="connsiteY8862" fmla="*/ 3630585 h 5704395"/>
                <a:gd name="connsiteX8863" fmla="*/ 1119607 w 5719680"/>
                <a:gd name="connsiteY8863" fmla="*/ 3664175 h 5704395"/>
                <a:gd name="connsiteX8864" fmla="*/ 1130088 w 5719680"/>
                <a:gd name="connsiteY8864" fmla="*/ 3687308 h 5704395"/>
                <a:gd name="connsiteX8865" fmla="*/ 1133582 w 5719680"/>
                <a:gd name="connsiteY8865" fmla="*/ 3694913 h 5704395"/>
                <a:gd name="connsiteX8866" fmla="*/ 1134217 w 5719680"/>
                <a:gd name="connsiteY8866" fmla="*/ 3695864 h 5704395"/>
                <a:gd name="connsiteX8867" fmla="*/ 1193294 w 5719680"/>
                <a:gd name="connsiteY8867" fmla="*/ 3738644 h 5704395"/>
                <a:gd name="connsiteX8868" fmla="*/ 1194565 w 5719680"/>
                <a:gd name="connsiteY8868" fmla="*/ 3739911 h 5704395"/>
                <a:gd name="connsiteX8869" fmla="*/ 1220292 w 5719680"/>
                <a:gd name="connsiteY8869" fmla="*/ 3793782 h 5704395"/>
                <a:gd name="connsiteX8870" fmla="*/ 1295567 w 5719680"/>
                <a:gd name="connsiteY8870" fmla="*/ 3770649 h 5704395"/>
                <a:gd name="connsiteX8871" fmla="*/ 2389446 w 5719680"/>
                <a:gd name="connsiteY8871" fmla="*/ 3576714 h 5704395"/>
                <a:gd name="connsiteX8872" fmla="*/ 2454241 w 5719680"/>
                <a:gd name="connsiteY8872" fmla="*/ 3593826 h 5704395"/>
                <a:gd name="connsiteX8873" fmla="*/ 2449794 w 5719680"/>
                <a:gd name="connsiteY8873" fmla="*/ 3610621 h 5704395"/>
                <a:gd name="connsiteX8874" fmla="*/ 2452018 w 5719680"/>
                <a:gd name="connsiteY8874" fmla="*/ 3610938 h 5704395"/>
                <a:gd name="connsiteX8875" fmla="*/ 2453923 w 5719680"/>
                <a:gd name="connsiteY8875" fmla="*/ 3611572 h 5704395"/>
                <a:gd name="connsiteX8876" fmla="*/ 2445983 w 5719680"/>
                <a:gd name="connsiteY8876" fmla="*/ 3641993 h 5704395"/>
                <a:gd name="connsiteX8877" fmla="*/ 2444077 w 5719680"/>
                <a:gd name="connsiteY8877" fmla="*/ 3641676 h 5704395"/>
                <a:gd name="connsiteX8878" fmla="*/ 2412633 w 5719680"/>
                <a:gd name="connsiteY8878" fmla="*/ 3633437 h 5704395"/>
                <a:gd name="connsiteX8879" fmla="*/ 2405328 w 5719680"/>
                <a:gd name="connsiteY8879" fmla="*/ 3661640 h 5704395"/>
                <a:gd name="connsiteX8880" fmla="*/ 2359590 w 5719680"/>
                <a:gd name="connsiteY8880" fmla="*/ 3649598 h 5704395"/>
                <a:gd name="connsiteX8881" fmla="*/ 2365625 w 5719680"/>
                <a:gd name="connsiteY8881" fmla="*/ 3626465 h 5704395"/>
                <a:gd name="connsiteX8882" fmla="*/ 2344027 w 5719680"/>
                <a:gd name="connsiteY8882" fmla="*/ 3620761 h 5704395"/>
                <a:gd name="connsiteX8883" fmla="*/ 2350062 w 5719680"/>
                <a:gd name="connsiteY8883" fmla="*/ 3597312 h 5704395"/>
                <a:gd name="connsiteX8884" fmla="*/ 2408504 w 5719680"/>
                <a:gd name="connsiteY8884" fmla="*/ 3612522 h 5704395"/>
                <a:gd name="connsiteX8885" fmla="*/ 2409774 w 5719680"/>
                <a:gd name="connsiteY8885" fmla="*/ 3607769 h 5704395"/>
                <a:gd name="connsiteX8886" fmla="*/ 2383094 w 5719680"/>
                <a:gd name="connsiteY8886" fmla="*/ 3600797 h 5704395"/>
                <a:gd name="connsiteX8887" fmla="*/ 2389446 w 5719680"/>
                <a:gd name="connsiteY8887" fmla="*/ 3576714 h 5704395"/>
                <a:gd name="connsiteX8888" fmla="*/ 1417215 w 5719680"/>
                <a:gd name="connsiteY8888" fmla="*/ 3576714 h 5704395"/>
                <a:gd name="connsiteX8889" fmla="*/ 1441354 w 5719680"/>
                <a:gd name="connsiteY8889" fmla="*/ 3634704 h 5704395"/>
                <a:gd name="connsiteX8890" fmla="*/ 1544581 w 5719680"/>
                <a:gd name="connsiteY8890" fmla="*/ 3713926 h 5704395"/>
                <a:gd name="connsiteX8891" fmla="*/ 1545851 w 5719680"/>
                <a:gd name="connsiteY8891" fmla="*/ 3713609 h 5704395"/>
                <a:gd name="connsiteX8892" fmla="*/ 1443895 w 5719680"/>
                <a:gd name="connsiteY8892" fmla="*/ 3581467 h 5704395"/>
                <a:gd name="connsiteX8893" fmla="*/ 1417215 w 5719680"/>
                <a:gd name="connsiteY8893" fmla="*/ 3576714 h 5704395"/>
                <a:gd name="connsiteX8894" fmla="*/ 3919416 w 5719680"/>
                <a:gd name="connsiteY8894" fmla="*/ 3575763 h 5704395"/>
                <a:gd name="connsiteX8895" fmla="*/ 3849540 w 5719680"/>
                <a:gd name="connsiteY8895" fmla="*/ 3642627 h 5704395"/>
                <a:gd name="connsiteX8896" fmla="*/ 3958484 w 5719680"/>
                <a:gd name="connsiteY8896" fmla="*/ 3705370 h 5704395"/>
                <a:gd name="connsiteX8897" fmla="*/ 3976270 w 5719680"/>
                <a:gd name="connsiteY8897" fmla="*/ 3661006 h 5704395"/>
                <a:gd name="connsiteX8898" fmla="*/ 3946732 w 5719680"/>
                <a:gd name="connsiteY8898" fmla="*/ 3615691 h 5704395"/>
                <a:gd name="connsiteX8899" fmla="*/ 3925134 w 5719680"/>
                <a:gd name="connsiteY8899" fmla="*/ 3583369 h 5704395"/>
                <a:gd name="connsiteX8900" fmla="*/ 3919416 w 5719680"/>
                <a:gd name="connsiteY8900" fmla="*/ 3575763 h 5704395"/>
                <a:gd name="connsiteX8901" fmla="*/ 1705613 w 5719680"/>
                <a:gd name="connsiteY8901" fmla="*/ 3575763 h 5704395"/>
                <a:gd name="connsiteX8902" fmla="*/ 1708154 w 5719680"/>
                <a:gd name="connsiteY8902" fmla="*/ 3591924 h 5704395"/>
                <a:gd name="connsiteX8903" fmla="*/ 1709425 w 5719680"/>
                <a:gd name="connsiteY8903" fmla="*/ 3591924 h 5704395"/>
                <a:gd name="connsiteX8904" fmla="*/ 1711648 w 5719680"/>
                <a:gd name="connsiteY8904" fmla="*/ 3591291 h 5704395"/>
                <a:gd name="connsiteX8905" fmla="*/ 1717683 w 5719680"/>
                <a:gd name="connsiteY8905" fmla="*/ 3628367 h 5704395"/>
                <a:gd name="connsiteX8906" fmla="*/ 1678933 w 5719680"/>
                <a:gd name="connsiteY8906" fmla="*/ 3633754 h 5704395"/>
                <a:gd name="connsiteX8907" fmla="*/ 1678616 w 5719680"/>
                <a:gd name="connsiteY8907" fmla="*/ 3631535 h 5704395"/>
                <a:gd name="connsiteX8908" fmla="*/ 1676075 w 5719680"/>
                <a:gd name="connsiteY8908" fmla="*/ 3615691 h 5704395"/>
                <a:gd name="connsiteX8909" fmla="*/ 1653206 w 5719680"/>
                <a:gd name="connsiteY8909" fmla="*/ 3619494 h 5704395"/>
                <a:gd name="connsiteX8910" fmla="*/ 1647489 w 5719680"/>
                <a:gd name="connsiteY8910" fmla="*/ 3585270 h 5704395"/>
                <a:gd name="connsiteX8911" fmla="*/ 1705613 w 5719680"/>
                <a:gd name="connsiteY8911" fmla="*/ 3575763 h 5704395"/>
                <a:gd name="connsiteX8912" fmla="*/ 650484 w 5719680"/>
                <a:gd name="connsiteY8912" fmla="*/ 3572911 h 5704395"/>
                <a:gd name="connsiteX8913" fmla="*/ 693997 w 5719680"/>
                <a:gd name="connsiteY8913" fmla="*/ 3586537 h 5704395"/>
                <a:gd name="connsiteX8914" fmla="*/ 691456 w 5719680"/>
                <a:gd name="connsiteY8914" fmla="*/ 3609987 h 5704395"/>
                <a:gd name="connsiteX8915" fmla="*/ 713690 w 5719680"/>
                <a:gd name="connsiteY8915" fmla="*/ 3617276 h 5704395"/>
                <a:gd name="connsiteX8916" fmla="*/ 711149 w 5719680"/>
                <a:gd name="connsiteY8916" fmla="*/ 3644211 h 5704395"/>
                <a:gd name="connsiteX8917" fmla="*/ 635556 w 5719680"/>
                <a:gd name="connsiteY8917" fmla="*/ 3626148 h 5704395"/>
                <a:gd name="connsiteX8918" fmla="*/ 650484 w 5719680"/>
                <a:gd name="connsiteY8918" fmla="*/ 3572911 h 5704395"/>
                <a:gd name="connsiteX8919" fmla="*/ 1409275 w 5719680"/>
                <a:gd name="connsiteY8919" fmla="*/ 3570376 h 5704395"/>
                <a:gd name="connsiteX8920" fmla="*/ 1446436 w 5719680"/>
                <a:gd name="connsiteY8920" fmla="*/ 3577348 h 5704395"/>
                <a:gd name="connsiteX8921" fmla="*/ 1447072 w 5719680"/>
                <a:gd name="connsiteY8921" fmla="*/ 3577981 h 5704395"/>
                <a:gd name="connsiteX8922" fmla="*/ 1553156 w 5719680"/>
                <a:gd name="connsiteY8922" fmla="*/ 3715511 h 5704395"/>
                <a:gd name="connsiteX8923" fmla="*/ 1543945 w 5719680"/>
                <a:gd name="connsiteY8923" fmla="*/ 3719313 h 5704395"/>
                <a:gd name="connsiteX8924" fmla="*/ 1437543 w 5719680"/>
                <a:gd name="connsiteY8924" fmla="*/ 3637556 h 5704395"/>
                <a:gd name="connsiteX8925" fmla="*/ 645719 w 5719680"/>
                <a:gd name="connsiteY8925" fmla="*/ 3569742 h 5704395"/>
                <a:gd name="connsiteX8926" fmla="*/ 634603 w 5719680"/>
                <a:gd name="connsiteY8926" fmla="*/ 3600164 h 5704395"/>
                <a:gd name="connsiteX8927" fmla="*/ 610146 w 5719680"/>
                <a:gd name="connsiteY8927" fmla="*/ 3620128 h 5704395"/>
                <a:gd name="connsiteX8928" fmla="*/ 627933 w 5719680"/>
                <a:gd name="connsiteY8928" fmla="*/ 3639775 h 5704395"/>
                <a:gd name="connsiteX8929" fmla="*/ 720995 w 5719680"/>
                <a:gd name="connsiteY8929" fmla="*/ 3660372 h 5704395"/>
                <a:gd name="connsiteX8930" fmla="*/ 734335 w 5719680"/>
                <a:gd name="connsiteY8930" fmla="*/ 3602065 h 5704395"/>
                <a:gd name="connsiteX8931" fmla="*/ 714643 w 5719680"/>
                <a:gd name="connsiteY8931" fmla="*/ 3592558 h 5704395"/>
                <a:gd name="connsiteX8932" fmla="*/ 677481 w 5719680"/>
                <a:gd name="connsiteY8932" fmla="*/ 3580200 h 5704395"/>
                <a:gd name="connsiteX8933" fmla="*/ 651754 w 5719680"/>
                <a:gd name="connsiteY8933" fmla="*/ 3571644 h 5704395"/>
                <a:gd name="connsiteX8934" fmla="*/ 645719 w 5719680"/>
                <a:gd name="connsiteY8934" fmla="*/ 3569742 h 5704395"/>
                <a:gd name="connsiteX8935" fmla="*/ 229321 w 5719680"/>
                <a:gd name="connsiteY8935" fmla="*/ 3566890 h 5704395"/>
                <a:gd name="connsiteX8936" fmla="*/ 148328 w 5719680"/>
                <a:gd name="connsiteY8936" fmla="*/ 3632169 h 5704395"/>
                <a:gd name="connsiteX8937" fmla="*/ 203594 w 5719680"/>
                <a:gd name="connsiteY8937" fmla="*/ 3710124 h 5704395"/>
                <a:gd name="connsiteX8938" fmla="*/ 206452 w 5719680"/>
                <a:gd name="connsiteY8938" fmla="*/ 3709173 h 5704395"/>
                <a:gd name="connsiteX8939" fmla="*/ 248378 w 5719680"/>
                <a:gd name="connsiteY8939" fmla="*/ 3674315 h 5704395"/>
                <a:gd name="connsiteX8940" fmla="*/ 271247 w 5719680"/>
                <a:gd name="connsiteY8940" fmla="*/ 3622663 h 5704395"/>
                <a:gd name="connsiteX8941" fmla="*/ 276964 w 5719680"/>
                <a:gd name="connsiteY8941" fmla="*/ 3596044 h 5704395"/>
                <a:gd name="connsiteX8942" fmla="*/ 232180 w 5719680"/>
                <a:gd name="connsiteY8942" fmla="*/ 3569109 h 5704395"/>
                <a:gd name="connsiteX8943" fmla="*/ 229321 w 5719680"/>
                <a:gd name="connsiteY8943" fmla="*/ 3566890 h 5704395"/>
                <a:gd name="connsiteX8944" fmla="*/ 2691502 w 5719680"/>
                <a:gd name="connsiteY8944" fmla="*/ 3565306 h 5704395"/>
                <a:gd name="connsiteX8945" fmla="*/ 2691502 w 5719680"/>
                <a:gd name="connsiteY8945" fmla="*/ 3593192 h 5704395"/>
                <a:gd name="connsiteX8946" fmla="*/ 2765825 w 5719680"/>
                <a:gd name="connsiteY8946" fmla="*/ 3593192 h 5704395"/>
                <a:gd name="connsiteX8947" fmla="*/ 2764872 w 5719680"/>
                <a:gd name="connsiteY8947" fmla="*/ 3565306 h 5704395"/>
                <a:gd name="connsiteX8948" fmla="*/ 2691502 w 5719680"/>
                <a:gd name="connsiteY8948" fmla="*/ 3565306 h 5704395"/>
                <a:gd name="connsiteX8949" fmla="*/ 2687055 w 5719680"/>
                <a:gd name="connsiteY8949" fmla="*/ 3560869 h 5704395"/>
                <a:gd name="connsiteX8950" fmla="*/ 2769319 w 5719680"/>
                <a:gd name="connsiteY8950" fmla="*/ 3560869 h 5704395"/>
                <a:gd name="connsiteX8951" fmla="*/ 2769319 w 5719680"/>
                <a:gd name="connsiteY8951" fmla="*/ 3563088 h 5704395"/>
                <a:gd name="connsiteX8952" fmla="*/ 2770907 w 5719680"/>
                <a:gd name="connsiteY8952" fmla="*/ 3597945 h 5704395"/>
                <a:gd name="connsiteX8953" fmla="*/ 2687055 w 5719680"/>
                <a:gd name="connsiteY8953" fmla="*/ 3597945 h 5704395"/>
                <a:gd name="connsiteX8954" fmla="*/ 2687055 w 5719680"/>
                <a:gd name="connsiteY8954" fmla="*/ 3560869 h 5704395"/>
                <a:gd name="connsiteX8955" fmla="*/ 1571261 w 5719680"/>
                <a:gd name="connsiteY8955" fmla="*/ 3550729 h 5704395"/>
                <a:gd name="connsiteX8956" fmla="*/ 1566179 w 5719680"/>
                <a:gd name="connsiteY8956" fmla="*/ 3563088 h 5704395"/>
                <a:gd name="connsiteX8957" fmla="*/ 1583965 w 5719680"/>
                <a:gd name="connsiteY8957" fmla="*/ 3570059 h 5704395"/>
                <a:gd name="connsiteX8958" fmla="*/ 1589047 w 5719680"/>
                <a:gd name="connsiteY8958" fmla="*/ 3557701 h 5704395"/>
                <a:gd name="connsiteX8959" fmla="*/ 2136940 w 5719680"/>
                <a:gd name="connsiteY8959" fmla="*/ 3550412 h 5704395"/>
                <a:gd name="connsiteX8960" fmla="*/ 2123282 w 5719680"/>
                <a:gd name="connsiteY8960" fmla="*/ 3677167 h 5704395"/>
                <a:gd name="connsiteX8961" fmla="*/ 2216026 w 5719680"/>
                <a:gd name="connsiteY8961" fmla="*/ 3687942 h 5704395"/>
                <a:gd name="connsiteX8962" fmla="*/ 2216662 w 5719680"/>
                <a:gd name="connsiteY8962" fmla="*/ 3688258 h 5704395"/>
                <a:gd name="connsiteX8963" fmla="*/ 2248106 w 5719680"/>
                <a:gd name="connsiteY8963" fmla="*/ 3707905 h 5704395"/>
                <a:gd name="connsiteX8964" fmla="*/ 2270340 w 5719680"/>
                <a:gd name="connsiteY8964" fmla="*/ 3721215 h 5704395"/>
                <a:gd name="connsiteX8965" fmla="*/ 2278280 w 5719680"/>
                <a:gd name="connsiteY8965" fmla="*/ 3725651 h 5704395"/>
                <a:gd name="connsiteX8966" fmla="*/ 2279868 w 5719680"/>
                <a:gd name="connsiteY8966" fmla="*/ 3726285 h 5704395"/>
                <a:gd name="connsiteX8967" fmla="*/ 2303690 w 5719680"/>
                <a:gd name="connsiteY8967" fmla="*/ 3657520 h 5704395"/>
                <a:gd name="connsiteX8968" fmla="*/ 2322111 w 5719680"/>
                <a:gd name="connsiteY8968" fmla="*/ 3604283 h 5704395"/>
                <a:gd name="connsiteX8969" fmla="*/ 2243024 w 5719680"/>
                <a:gd name="connsiteY8969" fmla="*/ 3602699 h 5704395"/>
                <a:gd name="connsiteX8970" fmla="*/ 2136940 w 5719680"/>
                <a:gd name="connsiteY8970" fmla="*/ 3550412 h 5704395"/>
                <a:gd name="connsiteX8971" fmla="*/ 1568720 w 5719680"/>
                <a:gd name="connsiteY8971" fmla="*/ 3545342 h 5704395"/>
                <a:gd name="connsiteX8972" fmla="*/ 1594447 w 5719680"/>
                <a:gd name="connsiteY8972" fmla="*/ 3555482 h 5704395"/>
                <a:gd name="connsiteX8973" fmla="*/ 1586189 w 5719680"/>
                <a:gd name="connsiteY8973" fmla="*/ 3575446 h 5704395"/>
                <a:gd name="connsiteX8974" fmla="*/ 1584283 w 5719680"/>
                <a:gd name="connsiteY8974" fmla="*/ 3574813 h 5704395"/>
                <a:gd name="connsiteX8975" fmla="*/ 1560779 w 5719680"/>
                <a:gd name="connsiteY8975" fmla="*/ 3565306 h 5704395"/>
                <a:gd name="connsiteX8976" fmla="*/ 889651 w 5719680"/>
                <a:gd name="connsiteY8976" fmla="*/ 3538054 h 5704395"/>
                <a:gd name="connsiteX8977" fmla="*/ 834703 w 5719680"/>
                <a:gd name="connsiteY8977" fmla="*/ 3583685 h 5704395"/>
                <a:gd name="connsiteX8978" fmla="*/ 832797 w 5719680"/>
                <a:gd name="connsiteY8978" fmla="*/ 3594776 h 5704395"/>
                <a:gd name="connsiteX8979" fmla="*/ 835020 w 5719680"/>
                <a:gd name="connsiteY8979" fmla="*/ 3613473 h 5704395"/>
                <a:gd name="connsiteX8980" fmla="*/ 834703 w 5719680"/>
                <a:gd name="connsiteY8980" fmla="*/ 3615691 h 5704395"/>
                <a:gd name="connsiteX8981" fmla="*/ 818504 w 5719680"/>
                <a:gd name="connsiteY8981" fmla="*/ 3666393 h 5704395"/>
                <a:gd name="connsiteX8982" fmla="*/ 810246 w 5719680"/>
                <a:gd name="connsiteY8982" fmla="*/ 3674632 h 5704395"/>
                <a:gd name="connsiteX8983" fmla="*/ 841690 w 5719680"/>
                <a:gd name="connsiteY8983" fmla="*/ 3666393 h 5704395"/>
                <a:gd name="connsiteX8984" fmla="*/ 883616 w 5719680"/>
                <a:gd name="connsiteY8984" fmla="*/ 3630585 h 5704395"/>
                <a:gd name="connsiteX8985" fmla="*/ 883298 w 5719680"/>
                <a:gd name="connsiteY8985" fmla="*/ 3616008 h 5704395"/>
                <a:gd name="connsiteX8986" fmla="*/ 885204 w 5719680"/>
                <a:gd name="connsiteY8986" fmla="*/ 3592875 h 5704395"/>
                <a:gd name="connsiteX8987" fmla="*/ 902355 w 5719680"/>
                <a:gd name="connsiteY8987" fmla="*/ 3556750 h 5704395"/>
                <a:gd name="connsiteX8988" fmla="*/ 902355 w 5719680"/>
                <a:gd name="connsiteY8988" fmla="*/ 3556433 h 5704395"/>
                <a:gd name="connsiteX8989" fmla="*/ 896321 w 5719680"/>
                <a:gd name="connsiteY8989" fmla="*/ 3539638 h 5704395"/>
                <a:gd name="connsiteX8990" fmla="*/ 889651 w 5719680"/>
                <a:gd name="connsiteY8990" fmla="*/ 3538054 h 5704395"/>
                <a:gd name="connsiteX8991" fmla="*/ 2028632 w 5719680"/>
                <a:gd name="connsiteY8991" fmla="*/ 3536469 h 5704395"/>
                <a:gd name="connsiteX8992" fmla="*/ 2017832 w 5719680"/>
                <a:gd name="connsiteY8992" fmla="*/ 3589706 h 5704395"/>
                <a:gd name="connsiteX8993" fmla="*/ 2110895 w 5719680"/>
                <a:gd name="connsiteY8993" fmla="*/ 3596678 h 5704395"/>
                <a:gd name="connsiteX8994" fmla="*/ 2116612 w 5719680"/>
                <a:gd name="connsiteY8994" fmla="*/ 3543124 h 5704395"/>
                <a:gd name="connsiteX8995" fmla="*/ 2028632 w 5719680"/>
                <a:gd name="connsiteY8995" fmla="*/ 3536469 h 5704395"/>
                <a:gd name="connsiteX8996" fmla="*/ 1039567 w 5719680"/>
                <a:gd name="connsiteY8996" fmla="*/ 3535518 h 5704395"/>
                <a:gd name="connsiteX8997" fmla="*/ 1021462 w 5719680"/>
                <a:gd name="connsiteY8997" fmla="*/ 3570693 h 5704395"/>
                <a:gd name="connsiteX8998" fmla="*/ 1091656 w 5719680"/>
                <a:gd name="connsiteY8998" fmla="*/ 3607135 h 5704395"/>
                <a:gd name="connsiteX8999" fmla="*/ 1101502 w 5719680"/>
                <a:gd name="connsiteY8999" fmla="*/ 3588122 h 5704395"/>
                <a:gd name="connsiteX9000" fmla="*/ 1103726 w 5719680"/>
                <a:gd name="connsiteY9000" fmla="*/ 3584319 h 5704395"/>
                <a:gd name="connsiteX9001" fmla="*/ 1107537 w 5719680"/>
                <a:gd name="connsiteY9001" fmla="*/ 3586537 h 5704395"/>
                <a:gd name="connsiteX9002" fmla="*/ 1111984 w 5719680"/>
                <a:gd name="connsiteY9002" fmla="*/ 3588756 h 5704395"/>
                <a:gd name="connsiteX9003" fmla="*/ 1126594 w 5719680"/>
                <a:gd name="connsiteY9003" fmla="*/ 3559919 h 5704395"/>
                <a:gd name="connsiteX9004" fmla="*/ 1091021 w 5719680"/>
                <a:gd name="connsiteY9004" fmla="*/ 3542173 h 5704395"/>
                <a:gd name="connsiteX9005" fmla="*/ 1084351 w 5719680"/>
                <a:gd name="connsiteY9005" fmla="*/ 3553581 h 5704395"/>
                <a:gd name="connsiteX9006" fmla="*/ 1082445 w 5719680"/>
                <a:gd name="connsiteY9006" fmla="*/ 3557384 h 5704395"/>
                <a:gd name="connsiteX9007" fmla="*/ 1078634 w 5719680"/>
                <a:gd name="connsiteY9007" fmla="*/ 3555482 h 5704395"/>
                <a:gd name="connsiteX9008" fmla="*/ 1039567 w 5719680"/>
                <a:gd name="connsiteY9008" fmla="*/ 3535518 h 5704395"/>
                <a:gd name="connsiteX9009" fmla="*/ 889651 w 5719680"/>
                <a:gd name="connsiteY9009" fmla="*/ 3535518 h 5704395"/>
                <a:gd name="connsiteX9010" fmla="*/ 897909 w 5719680"/>
                <a:gd name="connsiteY9010" fmla="*/ 3537420 h 5704395"/>
                <a:gd name="connsiteX9011" fmla="*/ 904896 w 5719680"/>
                <a:gd name="connsiteY9011" fmla="*/ 3556116 h 5704395"/>
                <a:gd name="connsiteX9012" fmla="*/ 904896 w 5719680"/>
                <a:gd name="connsiteY9012" fmla="*/ 3556750 h 5704395"/>
                <a:gd name="connsiteX9013" fmla="*/ 887745 w 5719680"/>
                <a:gd name="connsiteY9013" fmla="*/ 3593826 h 5704395"/>
                <a:gd name="connsiteX9014" fmla="*/ 885839 w 5719680"/>
                <a:gd name="connsiteY9014" fmla="*/ 3616008 h 5704395"/>
                <a:gd name="connsiteX9015" fmla="*/ 886157 w 5719680"/>
                <a:gd name="connsiteY9015" fmla="*/ 3630585 h 5704395"/>
                <a:gd name="connsiteX9016" fmla="*/ 842643 w 5719680"/>
                <a:gd name="connsiteY9016" fmla="*/ 3668611 h 5704395"/>
                <a:gd name="connsiteX9017" fmla="*/ 807705 w 5719680"/>
                <a:gd name="connsiteY9017" fmla="*/ 3677484 h 5704395"/>
                <a:gd name="connsiteX9018" fmla="*/ 805482 w 5719680"/>
                <a:gd name="connsiteY9018" fmla="*/ 3677484 h 5704395"/>
                <a:gd name="connsiteX9019" fmla="*/ 806434 w 5719680"/>
                <a:gd name="connsiteY9019" fmla="*/ 3675583 h 5704395"/>
                <a:gd name="connsiteX9020" fmla="*/ 816916 w 5719680"/>
                <a:gd name="connsiteY9020" fmla="*/ 3664492 h 5704395"/>
                <a:gd name="connsiteX9021" fmla="*/ 832162 w 5719680"/>
                <a:gd name="connsiteY9021" fmla="*/ 3615057 h 5704395"/>
                <a:gd name="connsiteX9022" fmla="*/ 832479 w 5719680"/>
                <a:gd name="connsiteY9022" fmla="*/ 3613473 h 5704395"/>
                <a:gd name="connsiteX9023" fmla="*/ 830256 w 5719680"/>
                <a:gd name="connsiteY9023" fmla="*/ 3594776 h 5704395"/>
                <a:gd name="connsiteX9024" fmla="*/ 832479 w 5719680"/>
                <a:gd name="connsiteY9024" fmla="*/ 3582735 h 5704395"/>
                <a:gd name="connsiteX9025" fmla="*/ 889651 w 5719680"/>
                <a:gd name="connsiteY9025" fmla="*/ 3535518 h 5704395"/>
                <a:gd name="connsiteX9026" fmla="*/ 1603022 w 5719680"/>
                <a:gd name="connsiteY9026" fmla="*/ 3533934 h 5704395"/>
                <a:gd name="connsiteX9027" fmla="*/ 1468352 w 5719680"/>
                <a:gd name="connsiteY9027" fmla="*/ 3551997 h 5704395"/>
                <a:gd name="connsiteX9028" fmla="*/ 1501067 w 5719680"/>
                <a:gd name="connsiteY9028" fmla="*/ 3595410 h 5704395"/>
                <a:gd name="connsiteX9029" fmla="*/ 1608422 w 5719680"/>
                <a:gd name="connsiteY9029" fmla="*/ 3578615 h 5704395"/>
                <a:gd name="connsiteX9030" fmla="*/ 1603022 w 5719680"/>
                <a:gd name="connsiteY9030" fmla="*/ 3533934 h 5704395"/>
                <a:gd name="connsiteX9031" fmla="*/ 2351014 w 5719680"/>
                <a:gd name="connsiteY9031" fmla="*/ 3532983 h 5704395"/>
                <a:gd name="connsiteX9032" fmla="*/ 2350380 w 5719680"/>
                <a:gd name="connsiteY9032" fmla="*/ 3534885 h 5704395"/>
                <a:gd name="connsiteX9033" fmla="*/ 2326876 w 5719680"/>
                <a:gd name="connsiteY9033" fmla="*/ 3604283 h 5704395"/>
                <a:gd name="connsiteX9034" fmla="*/ 2326876 w 5719680"/>
                <a:gd name="connsiteY9034" fmla="*/ 3604600 h 5704395"/>
                <a:gd name="connsiteX9035" fmla="*/ 2326558 w 5719680"/>
                <a:gd name="connsiteY9035" fmla="*/ 3604600 h 5704395"/>
                <a:gd name="connsiteX9036" fmla="*/ 2322746 w 5719680"/>
                <a:gd name="connsiteY9036" fmla="*/ 3616325 h 5704395"/>
                <a:gd name="connsiteX9037" fmla="*/ 2374836 w 5719680"/>
                <a:gd name="connsiteY9037" fmla="*/ 3666393 h 5704395"/>
                <a:gd name="connsiteX9038" fmla="*/ 2471392 w 5719680"/>
                <a:gd name="connsiteY9038" fmla="*/ 3672414 h 5704395"/>
                <a:gd name="connsiteX9039" fmla="*/ 2506966 w 5719680"/>
                <a:gd name="connsiteY9039" fmla="*/ 3703469 h 5704395"/>
                <a:gd name="connsiteX9040" fmla="*/ 2543809 w 5719680"/>
                <a:gd name="connsiteY9040" fmla="*/ 3627733 h 5704395"/>
                <a:gd name="connsiteX9041" fmla="*/ 2507283 w 5719680"/>
                <a:gd name="connsiteY9041" fmla="*/ 3609036 h 5704395"/>
                <a:gd name="connsiteX9042" fmla="*/ 2366260 w 5719680"/>
                <a:gd name="connsiteY9042" fmla="*/ 3539955 h 5704395"/>
                <a:gd name="connsiteX9043" fmla="*/ 2351014 w 5719680"/>
                <a:gd name="connsiteY9043" fmla="*/ 3532983 h 5704395"/>
                <a:gd name="connsiteX9044" fmla="*/ 1981624 w 5719680"/>
                <a:gd name="connsiteY9044" fmla="*/ 3532983 h 5704395"/>
                <a:gd name="connsiteX9045" fmla="*/ 1970507 w 5719680"/>
                <a:gd name="connsiteY9045" fmla="*/ 3585904 h 5704395"/>
                <a:gd name="connsiteX9046" fmla="*/ 2013703 w 5719680"/>
                <a:gd name="connsiteY9046" fmla="*/ 3589389 h 5704395"/>
                <a:gd name="connsiteX9047" fmla="*/ 2024502 w 5719680"/>
                <a:gd name="connsiteY9047" fmla="*/ 3536152 h 5704395"/>
                <a:gd name="connsiteX9048" fmla="*/ 1981624 w 5719680"/>
                <a:gd name="connsiteY9048" fmla="*/ 3532983 h 5704395"/>
                <a:gd name="connsiteX9049" fmla="*/ 1964155 w 5719680"/>
                <a:gd name="connsiteY9049" fmla="*/ 3531399 h 5704395"/>
                <a:gd name="connsiteX9050" fmla="*/ 1953991 w 5719680"/>
                <a:gd name="connsiteY9050" fmla="*/ 3584636 h 5704395"/>
                <a:gd name="connsiteX9051" fmla="*/ 1966378 w 5719680"/>
                <a:gd name="connsiteY9051" fmla="*/ 3585587 h 5704395"/>
                <a:gd name="connsiteX9052" fmla="*/ 1977495 w 5719680"/>
                <a:gd name="connsiteY9052" fmla="*/ 3532350 h 5704395"/>
                <a:gd name="connsiteX9053" fmla="*/ 1964155 w 5719680"/>
                <a:gd name="connsiteY9053" fmla="*/ 3531399 h 5704395"/>
                <a:gd name="connsiteX9054" fmla="*/ 1775172 w 5719680"/>
                <a:gd name="connsiteY9054" fmla="*/ 3531399 h 5704395"/>
                <a:gd name="connsiteX9055" fmla="*/ 1625891 w 5719680"/>
                <a:gd name="connsiteY9055" fmla="*/ 3550095 h 5704395"/>
                <a:gd name="connsiteX9056" fmla="*/ 1639231 w 5719680"/>
                <a:gd name="connsiteY9056" fmla="*/ 3651183 h 5704395"/>
                <a:gd name="connsiteX9057" fmla="*/ 1641772 w 5719680"/>
                <a:gd name="connsiteY9057" fmla="*/ 3678118 h 5704395"/>
                <a:gd name="connsiteX9058" fmla="*/ 1641772 w 5719680"/>
                <a:gd name="connsiteY9058" fmla="*/ 3680970 h 5704395"/>
                <a:gd name="connsiteX9059" fmla="*/ 1819003 w 5719680"/>
                <a:gd name="connsiteY9059" fmla="*/ 3621395 h 5704395"/>
                <a:gd name="connsiteX9060" fmla="*/ 1819321 w 5719680"/>
                <a:gd name="connsiteY9060" fmla="*/ 3621078 h 5704395"/>
                <a:gd name="connsiteX9061" fmla="*/ 1857435 w 5719680"/>
                <a:gd name="connsiteY9061" fmla="*/ 3618860 h 5704395"/>
                <a:gd name="connsiteX9062" fmla="*/ 1863788 w 5719680"/>
                <a:gd name="connsiteY9062" fmla="*/ 3538370 h 5704395"/>
                <a:gd name="connsiteX9063" fmla="*/ 1775172 w 5719680"/>
                <a:gd name="connsiteY9063" fmla="*/ 3531399 h 5704395"/>
                <a:gd name="connsiteX9064" fmla="*/ 1037661 w 5719680"/>
                <a:gd name="connsiteY9064" fmla="*/ 3529498 h 5704395"/>
                <a:gd name="connsiteX9065" fmla="*/ 1080539 w 5719680"/>
                <a:gd name="connsiteY9065" fmla="*/ 3551363 h 5704395"/>
                <a:gd name="connsiteX9066" fmla="*/ 1089115 w 5719680"/>
                <a:gd name="connsiteY9066" fmla="*/ 3536152 h 5704395"/>
                <a:gd name="connsiteX9067" fmla="*/ 1132311 w 5719680"/>
                <a:gd name="connsiteY9067" fmla="*/ 3557701 h 5704395"/>
                <a:gd name="connsiteX9068" fmla="*/ 1113889 w 5719680"/>
                <a:gd name="connsiteY9068" fmla="*/ 3594776 h 5704395"/>
                <a:gd name="connsiteX9069" fmla="*/ 1105631 w 5719680"/>
                <a:gd name="connsiteY9069" fmla="*/ 3590340 h 5704395"/>
                <a:gd name="connsiteX9070" fmla="*/ 1093562 w 5719680"/>
                <a:gd name="connsiteY9070" fmla="*/ 3613156 h 5704395"/>
                <a:gd name="connsiteX9071" fmla="*/ 1015428 w 5719680"/>
                <a:gd name="connsiteY9071" fmla="*/ 3572594 h 5704395"/>
                <a:gd name="connsiteX9072" fmla="*/ 1037661 w 5719680"/>
                <a:gd name="connsiteY9072" fmla="*/ 3529498 h 5704395"/>
                <a:gd name="connsiteX9073" fmla="*/ 2646082 w 5719680"/>
                <a:gd name="connsiteY9073" fmla="*/ 3528547 h 5704395"/>
                <a:gd name="connsiteX9074" fmla="*/ 2646082 w 5719680"/>
                <a:gd name="connsiteY9074" fmla="*/ 3560869 h 5704395"/>
                <a:gd name="connsiteX9075" fmla="*/ 2666728 w 5719680"/>
                <a:gd name="connsiteY9075" fmla="*/ 3560869 h 5704395"/>
                <a:gd name="connsiteX9076" fmla="*/ 2666728 w 5719680"/>
                <a:gd name="connsiteY9076" fmla="*/ 3598896 h 5704395"/>
                <a:gd name="connsiteX9077" fmla="*/ 2646400 w 5719680"/>
                <a:gd name="connsiteY9077" fmla="*/ 3598896 h 5704395"/>
                <a:gd name="connsiteX9078" fmla="*/ 2646400 w 5719680"/>
                <a:gd name="connsiteY9078" fmla="*/ 3630902 h 5704395"/>
                <a:gd name="connsiteX9079" fmla="*/ 2809974 w 5719680"/>
                <a:gd name="connsiteY9079" fmla="*/ 3630902 h 5704395"/>
                <a:gd name="connsiteX9080" fmla="*/ 2809974 w 5719680"/>
                <a:gd name="connsiteY9080" fmla="*/ 3598579 h 5704395"/>
                <a:gd name="connsiteX9081" fmla="*/ 2789328 w 5719680"/>
                <a:gd name="connsiteY9081" fmla="*/ 3598579 h 5704395"/>
                <a:gd name="connsiteX9082" fmla="*/ 2789328 w 5719680"/>
                <a:gd name="connsiteY9082" fmla="*/ 3559919 h 5704395"/>
                <a:gd name="connsiteX9083" fmla="*/ 2809974 w 5719680"/>
                <a:gd name="connsiteY9083" fmla="*/ 3559919 h 5704395"/>
                <a:gd name="connsiteX9084" fmla="*/ 2809656 w 5719680"/>
                <a:gd name="connsiteY9084" fmla="*/ 3528547 h 5704395"/>
                <a:gd name="connsiteX9085" fmla="*/ 2646082 w 5719680"/>
                <a:gd name="connsiteY9085" fmla="*/ 3528547 h 5704395"/>
                <a:gd name="connsiteX9086" fmla="*/ 399565 w 5719680"/>
                <a:gd name="connsiteY9086" fmla="*/ 3526012 h 5704395"/>
                <a:gd name="connsiteX9087" fmla="*/ 390989 w 5719680"/>
                <a:gd name="connsiteY9087" fmla="*/ 3532983 h 5704395"/>
                <a:gd name="connsiteX9088" fmla="*/ 370661 w 5719680"/>
                <a:gd name="connsiteY9088" fmla="*/ 3554215 h 5704395"/>
                <a:gd name="connsiteX9089" fmla="*/ 346840 w 5719680"/>
                <a:gd name="connsiteY9089" fmla="*/ 3589073 h 5704395"/>
                <a:gd name="connsiteX9090" fmla="*/ 336994 w 5719680"/>
                <a:gd name="connsiteY9090" fmla="*/ 3611572 h 5704395"/>
                <a:gd name="connsiteX9091" fmla="*/ 335088 w 5719680"/>
                <a:gd name="connsiteY9091" fmla="*/ 3616642 h 5704395"/>
                <a:gd name="connsiteX9092" fmla="*/ 383684 w 5719680"/>
                <a:gd name="connsiteY9092" fmla="*/ 3659739 h 5704395"/>
                <a:gd name="connsiteX9093" fmla="*/ 408140 w 5719680"/>
                <a:gd name="connsiteY9093" fmla="*/ 3692695 h 5704395"/>
                <a:gd name="connsiteX9094" fmla="*/ 563138 w 5719680"/>
                <a:gd name="connsiteY9094" fmla="*/ 3672097 h 5704395"/>
                <a:gd name="connsiteX9095" fmla="*/ 531377 w 5719680"/>
                <a:gd name="connsiteY9095" fmla="*/ 3635972 h 5704395"/>
                <a:gd name="connsiteX9096" fmla="*/ 483416 w 5719680"/>
                <a:gd name="connsiteY9096" fmla="*/ 3665759 h 5704395"/>
                <a:gd name="connsiteX9097" fmla="*/ 464994 w 5719680"/>
                <a:gd name="connsiteY9097" fmla="*/ 3668611 h 5704395"/>
                <a:gd name="connsiteX9098" fmla="*/ 412587 w 5719680"/>
                <a:gd name="connsiteY9098" fmla="*/ 3653718 h 5704395"/>
                <a:gd name="connsiteX9099" fmla="*/ 406552 w 5719680"/>
                <a:gd name="connsiteY9099" fmla="*/ 3639775 h 5704395"/>
                <a:gd name="connsiteX9100" fmla="*/ 422116 w 5719680"/>
                <a:gd name="connsiteY9100" fmla="*/ 3608720 h 5704395"/>
                <a:gd name="connsiteX9101" fmla="*/ 426880 w 5719680"/>
                <a:gd name="connsiteY9101" fmla="*/ 3592558 h 5704395"/>
                <a:gd name="connsiteX9102" fmla="*/ 417669 w 5719680"/>
                <a:gd name="connsiteY9102" fmla="*/ 3573228 h 5704395"/>
                <a:gd name="connsiteX9103" fmla="*/ 404647 w 5719680"/>
                <a:gd name="connsiteY9103" fmla="*/ 3541856 h 5704395"/>
                <a:gd name="connsiteX9104" fmla="*/ 404647 w 5719680"/>
                <a:gd name="connsiteY9104" fmla="*/ 3538370 h 5704395"/>
                <a:gd name="connsiteX9105" fmla="*/ 399565 w 5719680"/>
                <a:gd name="connsiteY9105" fmla="*/ 3526012 h 5704395"/>
                <a:gd name="connsiteX9106" fmla="*/ 2641318 w 5719680"/>
                <a:gd name="connsiteY9106" fmla="*/ 3524110 h 5704395"/>
                <a:gd name="connsiteX9107" fmla="*/ 2814103 w 5719680"/>
                <a:gd name="connsiteY9107" fmla="*/ 3524110 h 5704395"/>
                <a:gd name="connsiteX9108" fmla="*/ 2814103 w 5719680"/>
                <a:gd name="connsiteY9108" fmla="*/ 3526329 h 5704395"/>
                <a:gd name="connsiteX9109" fmla="*/ 2814738 w 5719680"/>
                <a:gd name="connsiteY9109" fmla="*/ 3564672 h 5704395"/>
                <a:gd name="connsiteX9110" fmla="*/ 2793775 w 5719680"/>
                <a:gd name="connsiteY9110" fmla="*/ 3564672 h 5704395"/>
                <a:gd name="connsiteX9111" fmla="*/ 2793775 w 5719680"/>
                <a:gd name="connsiteY9111" fmla="*/ 3593826 h 5704395"/>
                <a:gd name="connsiteX9112" fmla="*/ 2814420 w 5719680"/>
                <a:gd name="connsiteY9112" fmla="*/ 3593826 h 5704395"/>
                <a:gd name="connsiteX9113" fmla="*/ 2814420 w 5719680"/>
                <a:gd name="connsiteY9113" fmla="*/ 3635655 h 5704395"/>
                <a:gd name="connsiteX9114" fmla="*/ 2641954 w 5719680"/>
                <a:gd name="connsiteY9114" fmla="*/ 3635655 h 5704395"/>
                <a:gd name="connsiteX9115" fmla="*/ 2641954 w 5719680"/>
                <a:gd name="connsiteY9115" fmla="*/ 3594143 h 5704395"/>
                <a:gd name="connsiteX9116" fmla="*/ 2661964 w 5719680"/>
                <a:gd name="connsiteY9116" fmla="*/ 3594143 h 5704395"/>
                <a:gd name="connsiteX9117" fmla="*/ 2661964 w 5719680"/>
                <a:gd name="connsiteY9117" fmla="*/ 3565306 h 5704395"/>
                <a:gd name="connsiteX9118" fmla="*/ 2641318 w 5719680"/>
                <a:gd name="connsiteY9118" fmla="*/ 3565306 h 5704395"/>
                <a:gd name="connsiteX9119" fmla="*/ 2641318 w 5719680"/>
                <a:gd name="connsiteY9119" fmla="*/ 3524110 h 5704395"/>
                <a:gd name="connsiteX9120" fmla="*/ 577114 w 5719680"/>
                <a:gd name="connsiteY9120" fmla="*/ 3520308 h 5704395"/>
                <a:gd name="connsiteX9121" fmla="*/ 549481 w 5719680"/>
                <a:gd name="connsiteY9121" fmla="*/ 3530131 h 5704395"/>
                <a:gd name="connsiteX9122" fmla="*/ 591724 w 5719680"/>
                <a:gd name="connsiteY9122" fmla="*/ 3575129 h 5704395"/>
                <a:gd name="connsiteX9123" fmla="*/ 612052 w 5719680"/>
                <a:gd name="connsiteY9123" fmla="*/ 3556433 h 5704395"/>
                <a:gd name="connsiteX9124" fmla="*/ 577114 w 5719680"/>
                <a:gd name="connsiteY9124" fmla="*/ 3520308 h 5704395"/>
                <a:gd name="connsiteX9125" fmla="*/ 1338128 w 5719680"/>
                <a:gd name="connsiteY9125" fmla="*/ 3517139 h 5704395"/>
                <a:gd name="connsiteX9126" fmla="*/ 1413404 w 5719680"/>
                <a:gd name="connsiteY9126" fmla="*/ 3692378 h 5704395"/>
                <a:gd name="connsiteX9127" fmla="*/ 1564908 w 5719680"/>
                <a:gd name="connsiteY9127" fmla="*/ 3803606 h 5704395"/>
                <a:gd name="connsiteX9128" fmla="*/ 1582060 w 5719680"/>
                <a:gd name="connsiteY9128" fmla="*/ 3773818 h 5704395"/>
                <a:gd name="connsiteX9129" fmla="*/ 1421662 w 5719680"/>
                <a:gd name="connsiteY9129" fmla="*/ 3640091 h 5704395"/>
                <a:gd name="connsiteX9130" fmla="*/ 1387995 w 5719680"/>
                <a:gd name="connsiteY9130" fmla="*/ 3553581 h 5704395"/>
                <a:gd name="connsiteX9131" fmla="*/ 1429603 w 5719680"/>
                <a:gd name="connsiteY9131" fmla="*/ 3558334 h 5704395"/>
                <a:gd name="connsiteX9132" fmla="*/ 1420392 w 5719680"/>
                <a:gd name="connsiteY9132" fmla="*/ 3534568 h 5704395"/>
                <a:gd name="connsiteX9133" fmla="*/ 1254912 w 5719680"/>
                <a:gd name="connsiteY9133" fmla="*/ 3515238 h 5704395"/>
                <a:gd name="connsiteX9134" fmla="*/ 1153592 w 5719680"/>
                <a:gd name="connsiteY9134" fmla="*/ 3550095 h 5704395"/>
                <a:gd name="connsiteX9135" fmla="*/ 1344481 w 5719680"/>
                <a:gd name="connsiteY9135" fmla="*/ 3799169 h 5704395"/>
                <a:gd name="connsiteX9136" fmla="*/ 1364491 w 5719680"/>
                <a:gd name="connsiteY9136" fmla="*/ 3771283 h 5704395"/>
                <a:gd name="connsiteX9137" fmla="*/ 1367985 w 5719680"/>
                <a:gd name="connsiteY9137" fmla="*/ 3686991 h 5704395"/>
                <a:gd name="connsiteX9138" fmla="*/ 1254277 w 5719680"/>
                <a:gd name="connsiteY9138" fmla="*/ 3515871 h 5704395"/>
                <a:gd name="connsiteX9139" fmla="*/ 1254912 w 5719680"/>
                <a:gd name="connsiteY9139" fmla="*/ 3515238 h 5704395"/>
                <a:gd name="connsiteX9140" fmla="*/ 578384 w 5719680"/>
                <a:gd name="connsiteY9140" fmla="*/ 3515238 h 5704395"/>
                <a:gd name="connsiteX9141" fmla="*/ 618404 w 5719680"/>
                <a:gd name="connsiteY9141" fmla="*/ 3556750 h 5704395"/>
                <a:gd name="connsiteX9142" fmla="*/ 591724 w 5719680"/>
                <a:gd name="connsiteY9142" fmla="*/ 3581150 h 5704395"/>
                <a:gd name="connsiteX9143" fmla="*/ 541540 w 5719680"/>
                <a:gd name="connsiteY9143" fmla="*/ 3528230 h 5704395"/>
                <a:gd name="connsiteX9144" fmla="*/ 855348 w 5719680"/>
                <a:gd name="connsiteY9144" fmla="*/ 3512386 h 5704395"/>
                <a:gd name="connsiteX9145" fmla="*/ 821680 w 5719680"/>
                <a:gd name="connsiteY9145" fmla="*/ 3560236 h 5704395"/>
                <a:gd name="connsiteX9146" fmla="*/ 791824 w 5719680"/>
                <a:gd name="connsiteY9146" fmla="*/ 3611255 h 5704395"/>
                <a:gd name="connsiteX9147" fmla="*/ 756886 w 5719680"/>
                <a:gd name="connsiteY9147" fmla="*/ 3684456 h 5704395"/>
                <a:gd name="connsiteX9148" fmla="*/ 774673 w 5719680"/>
                <a:gd name="connsiteY9148" fmla="*/ 3678118 h 5704395"/>
                <a:gd name="connsiteX9149" fmla="*/ 800082 w 5719680"/>
                <a:gd name="connsiteY9149" fmla="*/ 3628367 h 5704395"/>
                <a:gd name="connsiteX9150" fmla="*/ 817233 w 5719680"/>
                <a:gd name="connsiteY9150" fmla="*/ 3583369 h 5704395"/>
                <a:gd name="connsiteX9151" fmla="*/ 823903 w 5719680"/>
                <a:gd name="connsiteY9151" fmla="*/ 3587171 h 5704395"/>
                <a:gd name="connsiteX9152" fmla="*/ 816916 w 5719680"/>
                <a:gd name="connsiteY9152" fmla="*/ 3600797 h 5704395"/>
                <a:gd name="connsiteX9153" fmla="*/ 808023 w 5719680"/>
                <a:gd name="connsiteY9153" fmla="*/ 3629634 h 5704395"/>
                <a:gd name="connsiteX9154" fmla="*/ 782295 w 5719680"/>
                <a:gd name="connsiteY9154" fmla="*/ 3681287 h 5704395"/>
                <a:gd name="connsiteX9155" fmla="*/ 782613 w 5719680"/>
                <a:gd name="connsiteY9155" fmla="*/ 3681287 h 5704395"/>
                <a:gd name="connsiteX9156" fmla="*/ 782613 w 5719680"/>
                <a:gd name="connsiteY9156" fmla="*/ 3681604 h 5704395"/>
                <a:gd name="connsiteX9157" fmla="*/ 783884 w 5719680"/>
                <a:gd name="connsiteY9157" fmla="*/ 3686040 h 5704395"/>
                <a:gd name="connsiteX9158" fmla="*/ 793412 w 5719680"/>
                <a:gd name="connsiteY9158" fmla="*/ 3690794 h 5704395"/>
                <a:gd name="connsiteX9159" fmla="*/ 801670 w 5719680"/>
                <a:gd name="connsiteY9159" fmla="*/ 3691110 h 5704395"/>
                <a:gd name="connsiteX9160" fmla="*/ 841373 w 5719680"/>
                <a:gd name="connsiteY9160" fmla="*/ 3683822 h 5704395"/>
                <a:gd name="connsiteX9161" fmla="*/ 859159 w 5719680"/>
                <a:gd name="connsiteY9161" fmla="*/ 3667978 h 5704395"/>
                <a:gd name="connsiteX9162" fmla="*/ 878852 w 5719680"/>
                <a:gd name="connsiteY9162" fmla="*/ 3654985 h 5704395"/>
                <a:gd name="connsiteX9163" fmla="*/ 883933 w 5719680"/>
                <a:gd name="connsiteY9163" fmla="*/ 3654035 h 5704395"/>
                <a:gd name="connsiteX9164" fmla="*/ 900132 w 5719680"/>
                <a:gd name="connsiteY9164" fmla="*/ 3611572 h 5704395"/>
                <a:gd name="connsiteX9165" fmla="*/ 909661 w 5719680"/>
                <a:gd name="connsiteY9165" fmla="*/ 3567841 h 5704395"/>
                <a:gd name="connsiteX9166" fmla="*/ 910296 w 5719680"/>
                <a:gd name="connsiteY9166" fmla="*/ 3532033 h 5704395"/>
                <a:gd name="connsiteX9167" fmla="*/ 910296 w 5719680"/>
                <a:gd name="connsiteY9167" fmla="*/ 3529814 h 5704395"/>
                <a:gd name="connsiteX9168" fmla="*/ 902355 w 5719680"/>
                <a:gd name="connsiteY9168" fmla="*/ 3526646 h 5704395"/>
                <a:gd name="connsiteX9169" fmla="*/ 869958 w 5719680"/>
                <a:gd name="connsiteY9169" fmla="*/ 3516822 h 5704395"/>
                <a:gd name="connsiteX9170" fmla="*/ 855348 w 5719680"/>
                <a:gd name="connsiteY9170" fmla="*/ 3512386 h 5704395"/>
                <a:gd name="connsiteX9171" fmla="*/ 1330188 w 5719680"/>
                <a:gd name="connsiteY9171" fmla="*/ 3510484 h 5704395"/>
                <a:gd name="connsiteX9172" fmla="*/ 1423885 w 5719680"/>
                <a:gd name="connsiteY9172" fmla="*/ 3530448 h 5704395"/>
                <a:gd name="connsiteX9173" fmla="*/ 1424203 w 5719680"/>
                <a:gd name="connsiteY9173" fmla="*/ 3531716 h 5704395"/>
                <a:gd name="connsiteX9174" fmla="*/ 1436908 w 5719680"/>
                <a:gd name="connsiteY9174" fmla="*/ 3564038 h 5704395"/>
                <a:gd name="connsiteX9175" fmla="*/ 1395300 w 5719680"/>
                <a:gd name="connsiteY9175" fmla="*/ 3558968 h 5704395"/>
                <a:gd name="connsiteX9176" fmla="*/ 1425791 w 5719680"/>
                <a:gd name="connsiteY9176" fmla="*/ 3637239 h 5704395"/>
                <a:gd name="connsiteX9177" fmla="*/ 1588094 w 5719680"/>
                <a:gd name="connsiteY9177" fmla="*/ 3772867 h 5704395"/>
                <a:gd name="connsiteX9178" fmla="*/ 1566179 w 5719680"/>
                <a:gd name="connsiteY9178" fmla="*/ 3810577 h 5704395"/>
                <a:gd name="connsiteX9179" fmla="*/ 1409593 w 5719680"/>
                <a:gd name="connsiteY9179" fmla="*/ 3695230 h 5704395"/>
                <a:gd name="connsiteX9180" fmla="*/ 1330188 w 5719680"/>
                <a:gd name="connsiteY9180" fmla="*/ 3510484 h 5704395"/>
                <a:gd name="connsiteX9181" fmla="*/ 675893 w 5719680"/>
                <a:gd name="connsiteY9181" fmla="*/ 3510167 h 5704395"/>
                <a:gd name="connsiteX9182" fmla="*/ 664776 w 5719680"/>
                <a:gd name="connsiteY9182" fmla="*/ 3543124 h 5704395"/>
                <a:gd name="connsiteX9183" fmla="*/ 701303 w 5719680"/>
                <a:gd name="connsiteY9183" fmla="*/ 3552947 h 5704395"/>
                <a:gd name="connsiteX9184" fmla="*/ 707337 w 5719680"/>
                <a:gd name="connsiteY9184" fmla="*/ 3530131 h 5704395"/>
                <a:gd name="connsiteX9185" fmla="*/ 708290 w 5719680"/>
                <a:gd name="connsiteY9185" fmla="*/ 3526646 h 5704395"/>
                <a:gd name="connsiteX9186" fmla="*/ 711784 w 5719680"/>
                <a:gd name="connsiteY9186" fmla="*/ 3526962 h 5704395"/>
                <a:gd name="connsiteX9187" fmla="*/ 747357 w 5719680"/>
                <a:gd name="connsiteY9187" fmla="*/ 3527596 h 5704395"/>
                <a:gd name="connsiteX9188" fmla="*/ 754663 w 5719680"/>
                <a:gd name="connsiteY9188" fmla="*/ 3511118 h 5704395"/>
                <a:gd name="connsiteX9189" fmla="*/ 675893 w 5719680"/>
                <a:gd name="connsiteY9189" fmla="*/ 3510167 h 5704395"/>
                <a:gd name="connsiteX9190" fmla="*/ 421163 w 5719680"/>
                <a:gd name="connsiteY9190" fmla="*/ 3509534 h 5704395"/>
                <a:gd name="connsiteX9191" fmla="*/ 412905 w 5719680"/>
                <a:gd name="connsiteY9191" fmla="*/ 3515555 h 5704395"/>
                <a:gd name="connsiteX9192" fmla="*/ 405599 w 5719680"/>
                <a:gd name="connsiteY9192" fmla="*/ 3520942 h 5704395"/>
                <a:gd name="connsiteX9193" fmla="*/ 412269 w 5719680"/>
                <a:gd name="connsiteY9193" fmla="*/ 3536786 h 5704395"/>
                <a:gd name="connsiteX9194" fmla="*/ 412587 w 5719680"/>
                <a:gd name="connsiteY9194" fmla="*/ 3537737 h 5704395"/>
                <a:gd name="connsiteX9195" fmla="*/ 412587 w 5719680"/>
                <a:gd name="connsiteY9195" fmla="*/ 3538687 h 5704395"/>
                <a:gd name="connsiteX9196" fmla="*/ 412269 w 5719680"/>
                <a:gd name="connsiteY9196" fmla="*/ 3541856 h 5704395"/>
                <a:gd name="connsiteX9197" fmla="*/ 423386 w 5719680"/>
                <a:gd name="connsiteY9197" fmla="*/ 3567841 h 5704395"/>
                <a:gd name="connsiteX9198" fmla="*/ 434820 w 5719680"/>
                <a:gd name="connsiteY9198" fmla="*/ 3592558 h 5704395"/>
                <a:gd name="connsiteX9199" fmla="*/ 429103 w 5719680"/>
                <a:gd name="connsiteY9199" fmla="*/ 3612205 h 5704395"/>
                <a:gd name="connsiteX9200" fmla="*/ 414175 w 5719680"/>
                <a:gd name="connsiteY9200" fmla="*/ 3639775 h 5704395"/>
                <a:gd name="connsiteX9201" fmla="*/ 418304 w 5719680"/>
                <a:gd name="connsiteY9201" fmla="*/ 3648014 h 5704395"/>
                <a:gd name="connsiteX9202" fmla="*/ 464994 w 5719680"/>
                <a:gd name="connsiteY9202" fmla="*/ 3661006 h 5704395"/>
                <a:gd name="connsiteX9203" fmla="*/ 479605 w 5719680"/>
                <a:gd name="connsiteY9203" fmla="*/ 3658788 h 5704395"/>
                <a:gd name="connsiteX9204" fmla="*/ 526295 w 5719680"/>
                <a:gd name="connsiteY9204" fmla="*/ 3629951 h 5704395"/>
                <a:gd name="connsiteX9205" fmla="*/ 421163 w 5719680"/>
                <a:gd name="connsiteY9205" fmla="*/ 3509534 h 5704395"/>
                <a:gd name="connsiteX9206" fmla="*/ 785472 w 5719680"/>
                <a:gd name="connsiteY9206" fmla="*/ 3506365 h 5704395"/>
                <a:gd name="connsiteX9207" fmla="*/ 747675 w 5719680"/>
                <a:gd name="connsiteY9207" fmla="*/ 3566257 h 5704395"/>
                <a:gd name="connsiteX9208" fmla="*/ 742275 w 5719680"/>
                <a:gd name="connsiteY9208" fmla="*/ 3590023 h 5704395"/>
                <a:gd name="connsiteX9209" fmla="*/ 771179 w 5719680"/>
                <a:gd name="connsiteY9209" fmla="*/ 3603649 h 5704395"/>
                <a:gd name="connsiteX9210" fmla="*/ 772449 w 5719680"/>
                <a:gd name="connsiteY9210" fmla="*/ 3601114 h 5704395"/>
                <a:gd name="connsiteX9211" fmla="*/ 803258 w 5719680"/>
                <a:gd name="connsiteY9211" fmla="*/ 3548511 h 5704395"/>
                <a:gd name="connsiteX9212" fmla="*/ 829621 w 5719680"/>
                <a:gd name="connsiteY9212" fmla="*/ 3510167 h 5704395"/>
                <a:gd name="connsiteX9213" fmla="*/ 816916 w 5719680"/>
                <a:gd name="connsiteY9213" fmla="*/ 3510167 h 5704395"/>
                <a:gd name="connsiteX9214" fmla="*/ 785472 w 5719680"/>
                <a:gd name="connsiteY9214" fmla="*/ 3510167 h 5704395"/>
                <a:gd name="connsiteX9215" fmla="*/ 785472 w 5719680"/>
                <a:gd name="connsiteY9215" fmla="*/ 3506365 h 5704395"/>
                <a:gd name="connsiteX9216" fmla="*/ 2223967 w 5719680"/>
                <a:gd name="connsiteY9216" fmla="*/ 3506048 h 5704395"/>
                <a:gd name="connsiteX9217" fmla="*/ 2219838 w 5719680"/>
                <a:gd name="connsiteY9217" fmla="*/ 3519040 h 5704395"/>
                <a:gd name="connsiteX9218" fmla="*/ 2205863 w 5719680"/>
                <a:gd name="connsiteY9218" fmla="*/ 3514604 h 5704395"/>
                <a:gd name="connsiteX9219" fmla="*/ 2199828 w 5719680"/>
                <a:gd name="connsiteY9219" fmla="*/ 3532666 h 5704395"/>
                <a:gd name="connsiteX9220" fmla="*/ 2255729 w 5719680"/>
                <a:gd name="connsiteY9220" fmla="*/ 3550412 h 5704395"/>
                <a:gd name="connsiteX9221" fmla="*/ 2261446 w 5719680"/>
                <a:gd name="connsiteY9221" fmla="*/ 3532033 h 5704395"/>
                <a:gd name="connsiteX9222" fmla="*/ 2247471 w 5719680"/>
                <a:gd name="connsiteY9222" fmla="*/ 3527596 h 5704395"/>
                <a:gd name="connsiteX9223" fmla="*/ 2251282 w 5719680"/>
                <a:gd name="connsiteY9223" fmla="*/ 3514604 h 5704395"/>
                <a:gd name="connsiteX9224" fmla="*/ 2223967 w 5719680"/>
                <a:gd name="connsiteY9224" fmla="*/ 3506048 h 5704395"/>
                <a:gd name="connsiteX9225" fmla="*/ 672717 w 5719680"/>
                <a:gd name="connsiteY9225" fmla="*/ 3505731 h 5704395"/>
                <a:gd name="connsiteX9226" fmla="*/ 761333 w 5719680"/>
                <a:gd name="connsiteY9226" fmla="*/ 3506682 h 5704395"/>
                <a:gd name="connsiteX9227" fmla="*/ 750216 w 5719680"/>
                <a:gd name="connsiteY9227" fmla="*/ 3532350 h 5704395"/>
                <a:gd name="connsiteX9228" fmla="*/ 711466 w 5719680"/>
                <a:gd name="connsiteY9228" fmla="*/ 3531399 h 5704395"/>
                <a:gd name="connsiteX9229" fmla="*/ 704479 w 5719680"/>
                <a:gd name="connsiteY9229" fmla="*/ 3558334 h 5704395"/>
                <a:gd name="connsiteX9230" fmla="*/ 659059 w 5719680"/>
                <a:gd name="connsiteY9230" fmla="*/ 3546293 h 5704395"/>
                <a:gd name="connsiteX9231" fmla="*/ 672717 w 5719680"/>
                <a:gd name="connsiteY9231" fmla="*/ 3505731 h 5704395"/>
                <a:gd name="connsiteX9232" fmla="*/ 1566496 w 5719680"/>
                <a:gd name="connsiteY9232" fmla="*/ 3503830 h 5704395"/>
                <a:gd name="connsiteX9233" fmla="*/ 1561414 w 5719680"/>
                <a:gd name="connsiteY9233" fmla="*/ 3516188 h 5704395"/>
                <a:gd name="connsiteX9234" fmla="*/ 1579201 w 5719680"/>
                <a:gd name="connsiteY9234" fmla="*/ 3523477 h 5704395"/>
                <a:gd name="connsiteX9235" fmla="*/ 1584283 w 5719680"/>
                <a:gd name="connsiteY9235" fmla="*/ 3511118 h 5704395"/>
                <a:gd name="connsiteX9236" fmla="*/ 1566496 w 5719680"/>
                <a:gd name="connsiteY9236" fmla="*/ 3503830 h 5704395"/>
                <a:gd name="connsiteX9237" fmla="*/ 2221426 w 5719680"/>
                <a:gd name="connsiteY9237" fmla="*/ 3500978 h 5704395"/>
                <a:gd name="connsiteX9238" fmla="*/ 2256682 w 5719680"/>
                <a:gd name="connsiteY9238" fmla="*/ 3512069 h 5704395"/>
                <a:gd name="connsiteX9239" fmla="*/ 2252553 w 5719680"/>
                <a:gd name="connsiteY9239" fmla="*/ 3525061 h 5704395"/>
                <a:gd name="connsiteX9240" fmla="*/ 2266846 w 5719680"/>
                <a:gd name="connsiteY9240" fmla="*/ 3529498 h 5704395"/>
                <a:gd name="connsiteX9241" fmla="*/ 2258588 w 5719680"/>
                <a:gd name="connsiteY9241" fmla="*/ 3555482 h 5704395"/>
                <a:gd name="connsiteX9242" fmla="*/ 2194746 w 5719680"/>
                <a:gd name="connsiteY9242" fmla="*/ 3535518 h 5704395"/>
                <a:gd name="connsiteX9243" fmla="*/ 2195382 w 5719680"/>
                <a:gd name="connsiteY9243" fmla="*/ 3533300 h 5704395"/>
                <a:gd name="connsiteX9244" fmla="*/ 2203004 w 5719680"/>
                <a:gd name="connsiteY9244" fmla="*/ 3509217 h 5704395"/>
                <a:gd name="connsiteX9245" fmla="*/ 2217297 w 5719680"/>
                <a:gd name="connsiteY9245" fmla="*/ 3513970 h 5704395"/>
                <a:gd name="connsiteX9246" fmla="*/ 2221426 w 5719680"/>
                <a:gd name="connsiteY9246" fmla="*/ 3500978 h 5704395"/>
                <a:gd name="connsiteX9247" fmla="*/ 633015 w 5719680"/>
                <a:gd name="connsiteY9247" fmla="*/ 3500661 h 5704395"/>
                <a:gd name="connsiteX9248" fmla="*/ 611734 w 5719680"/>
                <a:gd name="connsiteY9248" fmla="*/ 3508583 h 5704395"/>
                <a:gd name="connsiteX9249" fmla="*/ 627615 w 5719680"/>
                <a:gd name="connsiteY9249" fmla="*/ 3525378 h 5704395"/>
                <a:gd name="connsiteX9250" fmla="*/ 635238 w 5719680"/>
                <a:gd name="connsiteY9250" fmla="*/ 3506999 h 5704395"/>
                <a:gd name="connsiteX9251" fmla="*/ 633015 w 5719680"/>
                <a:gd name="connsiteY9251" fmla="*/ 3500661 h 5704395"/>
                <a:gd name="connsiteX9252" fmla="*/ 366850 w 5719680"/>
                <a:gd name="connsiteY9252" fmla="*/ 3498759 h 5704395"/>
                <a:gd name="connsiteX9253" fmla="*/ 353192 w 5719680"/>
                <a:gd name="connsiteY9253" fmla="*/ 3501928 h 5704395"/>
                <a:gd name="connsiteX9254" fmla="*/ 301738 w 5719680"/>
                <a:gd name="connsiteY9254" fmla="*/ 3550729 h 5704395"/>
                <a:gd name="connsiteX9255" fmla="*/ 301738 w 5719680"/>
                <a:gd name="connsiteY9255" fmla="*/ 3551046 h 5704395"/>
                <a:gd name="connsiteX9256" fmla="*/ 315078 w 5719680"/>
                <a:gd name="connsiteY9256" fmla="*/ 3584319 h 5704395"/>
                <a:gd name="connsiteX9257" fmla="*/ 323654 w 5719680"/>
                <a:gd name="connsiteY9257" fmla="*/ 3606501 h 5704395"/>
                <a:gd name="connsiteX9258" fmla="*/ 334135 w 5719680"/>
                <a:gd name="connsiteY9258" fmla="*/ 3582418 h 5704395"/>
                <a:gd name="connsiteX9259" fmla="*/ 359862 w 5719680"/>
                <a:gd name="connsiteY9259" fmla="*/ 3545025 h 5704395"/>
                <a:gd name="connsiteX9260" fmla="*/ 381778 w 5719680"/>
                <a:gd name="connsiteY9260" fmla="*/ 3522209 h 5704395"/>
                <a:gd name="connsiteX9261" fmla="*/ 391942 w 5719680"/>
                <a:gd name="connsiteY9261" fmla="*/ 3513653 h 5704395"/>
                <a:gd name="connsiteX9262" fmla="*/ 366850 w 5719680"/>
                <a:gd name="connsiteY9262" fmla="*/ 3498759 h 5704395"/>
                <a:gd name="connsiteX9263" fmla="*/ 1563955 w 5719680"/>
                <a:gd name="connsiteY9263" fmla="*/ 3498443 h 5704395"/>
                <a:gd name="connsiteX9264" fmla="*/ 1589682 w 5719680"/>
                <a:gd name="connsiteY9264" fmla="*/ 3508583 h 5704395"/>
                <a:gd name="connsiteX9265" fmla="*/ 1581742 w 5719680"/>
                <a:gd name="connsiteY9265" fmla="*/ 3528864 h 5704395"/>
                <a:gd name="connsiteX9266" fmla="*/ 1579836 w 5719680"/>
                <a:gd name="connsiteY9266" fmla="*/ 3527913 h 5704395"/>
                <a:gd name="connsiteX9267" fmla="*/ 1556015 w 5719680"/>
                <a:gd name="connsiteY9267" fmla="*/ 3518723 h 5704395"/>
                <a:gd name="connsiteX9268" fmla="*/ 1563955 w 5719680"/>
                <a:gd name="connsiteY9268" fmla="*/ 3498443 h 5704395"/>
                <a:gd name="connsiteX9269" fmla="*/ 1312401 w 5719680"/>
                <a:gd name="connsiteY9269" fmla="*/ 3498126 h 5704395"/>
                <a:gd name="connsiteX9270" fmla="*/ 1259041 w 5719680"/>
                <a:gd name="connsiteY9270" fmla="*/ 3513970 h 5704395"/>
                <a:gd name="connsiteX9271" fmla="*/ 1372749 w 5719680"/>
                <a:gd name="connsiteY9271" fmla="*/ 3684773 h 5704395"/>
                <a:gd name="connsiteX9272" fmla="*/ 1375290 w 5719680"/>
                <a:gd name="connsiteY9272" fmla="*/ 3686357 h 5704395"/>
                <a:gd name="connsiteX9273" fmla="*/ 1483915 w 5719680"/>
                <a:gd name="connsiteY9273" fmla="*/ 3766213 h 5704395"/>
                <a:gd name="connsiteX9274" fmla="*/ 1547439 w 5719680"/>
                <a:gd name="connsiteY9274" fmla="*/ 3812795 h 5704395"/>
                <a:gd name="connsiteX9275" fmla="*/ 1568402 w 5719680"/>
                <a:gd name="connsiteY9275" fmla="*/ 3827689 h 5704395"/>
                <a:gd name="connsiteX9276" fmla="*/ 1570308 w 5719680"/>
                <a:gd name="connsiteY9276" fmla="*/ 3829274 h 5704395"/>
                <a:gd name="connsiteX9277" fmla="*/ 1606516 w 5719680"/>
                <a:gd name="connsiteY9277" fmla="*/ 3764945 h 5704395"/>
                <a:gd name="connsiteX9278" fmla="*/ 1445166 w 5719680"/>
                <a:gd name="connsiteY9278" fmla="*/ 3554849 h 5704395"/>
                <a:gd name="connsiteX9279" fmla="*/ 1434367 w 5719680"/>
                <a:gd name="connsiteY9279" fmla="*/ 3524427 h 5704395"/>
                <a:gd name="connsiteX9280" fmla="*/ 1434684 w 5719680"/>
                <a:gd name="connsiteY9280" fmla="*/ 3520942 h 5704395"/>
                <a:gd name="connsiteX9281" fmla="*/ 635556 w 5719680"/>
                <a:gd name="connsiteY9281" fmla="*/ 3494957 h 5704395"/>
                <a:gd name="connsiteX9282" fmla="*/ 640002 w 5719680"/>
                <a:gd name="connsiteY9282" fmla="*/ 3506999 h 5704395"/>
                <a:gd name="connsiteX9283" fmla="*/ 628886 w 5719680"/>
                <a:gd name="connsiteY9283" fmla="*/ 3533300 h 5704395"/>
                <a:gd name="connsiteX9284" fmla="*/ 603794 w 5719680"/>
                <a:gd name="connsiteY9284" fmla="*/ 3506682 h 5704395"/>
                <a:gd name="connsiteX9285" fmla="*/ 452607 w 5719680"/>
                <a:gd name="connsiteY9285" fmla="*/ 3494957 h 5704395"/>
                <a:gd name="connsiteX9286" fmla="*/ 442126 w 5719680"/>
                <a:gd name="connsiteY9286" fmla="*/ 3500344 h 5704395"/>
                <a:gd name="connsiteX9287" fmla="*/ 545034 w 5719680"/>
                <a:gd name="connsiteY9287" fmla="*/ 3618226 h 5704395"/>
                <a:gd name="connsiteX9288" fmla="*/ 556468 w 5719680"/>
                <a:gd name="connsiteY9288" fmla="*/ 3610938 h 5704395"/>
                <a:gd name="connsiteX9289" fmla="*/ 1082763 w 5719680"/>
                <a:gd name="connsiteY9289" fmla="*/ 3492422 h 5704395"/>
                <a:gd name="connsiteX9290" fmla="*/ 1025274 w 5719680"/>
                <a:gd name="connsiteY9290" fmla="*/ 3528547 h 5704395"/>
                <a:gd name="connsiteX9291" fmla="*/ 1001452 w 5719680"/>
                <a:gd name="connsiteY9291" fmla="*/ 3578932 h 5704395"/>
                <a:gd name="connsiteX9292" fmla="*/ 1003676 w 5719680"/>
                <a:gd name="connsiteY9292" fmla="*/ 3575129 h 5704395"/>
                <a:gd name="connsiteX9293" fmla="*/ 1099279 w 5719680"/>
                <a:gd name="connsiteY9293" fmla="*/ 3626148 h 5704395"/>
                <a:gd name="connsiteX9294" fmla="*/ 1144698 w 5719680"/>
                <a:gd name="connsiteY9294" fmla="*/ 3573228 h 5704395"/>
                <a:gd name="connsiteX9295" fmla="*/ 1082763 w 5719680"/>
                <a:gd name="connsiteY9295" fmla="*/ 3492422 h 5704395"/>
                <a:gd name="connsiteX9296" fmla="*/ 1990835 w 5719680"/>
                <a:gd name="connsiteY9296" fmla="*/ 3488936 h 5704395"/>
                <a:gd name="connsiteX9297" fmla="*/ 1982577 w 5719680"/>
                <a:gd name="connsiteY9297" fmla="*/ 3528547 h 5704395"/>
                <a:gd name="connsiteX9298" fmla="*/ 2025138 w 5719680"/>
                <a:gd name="connsiteY9298" fmla="*/ 3531716 h 5704395"/>
                <a:gd name="connsiteX9299" fmla="*/ 2032125 w 5719680"/>
                <a:gd name="connsiteY9299" fmla="*/ 3497492 h 5704395"/>
                <a:gd name="connsiteX9300" fmla="*/ 1990835 w 5719680"/>
                <a:gd name="connsiteY9300" fmla="*/ 3488936 h 5704395"/>
                <a:gd name="connsiteX9301" fmla="*/ 17152 w 5719680"/>
                <a:gd name="connsiteY9301" fmla="*/ 3488302 h 5704395"/>
                <a:gd name="connsiteX9302" fmla="*/ 18422 w 5719680"/>
                <a:gd name="connsiteY9302" fmla="*/ 3490520 h 5704395"/>
                <a:gd name="connsiteX9303" fmla="*/ 57807 w 5719680"/>
                <a:gd name="connsiteY9303" fmla="*/ 3558017 h 5704395"/>
                <a:gd name="connsiteX9304" fmla="*/ 1271 w 5719680"/>
                <a:gd name="connsiteY9304" fmla="*/ 3588122 h 5704395"/>
                <a:gd name="connsiteX9305" fmla="*/ 1271 w 5719680"/>
                <a:gd name="connsiteY9305" fmla="*/ 3582735 h 5704395"/>
                <a:gd name="connsiteX9306" fmla="*/ 51454 w 5719680"/>
                <a:gd name="connsiteY9306" fmla="*/ 3556116 h 5704395"/>
                <a:gd name="connsiteX9307" fmla="*/ 15881 w 5719680"/>
                <a:gd name="connsiteY9307" fmla="*/ 3495274 h 5704395"/>
                <a:gd name="connsiteX9308" fmla="*/ 1271 w 5719680"/>
                <a:gd name="connsiteY9308" fmla="*/ 3508266 h 5704395"/>
                <a:gd name="connsiteX9309" fmla="*/ 1271 w 5719680"/>
                <a:gd name="connsiteY9309" fmla="*/ 3501928 h 5704395"/>
                <a:gd name="connsiteX9310" fmla="*/ 17152 w 5719680"/>
                <a:gd name="connsiteY9310" fmla="*/ 3488302 h 5704395"/>
                <a:gd name="connsiteX9311" fmla="*/ 1596670 w 5719680"/>
                <a:gd name="connsiteY9311" fmla="*/ 3482598 h 5704395"/>
                <a:gd name="connsiteX9312" fmla="*/ 1542357 w 5719680"/>
                <a:gd name="connsiteY9312" fmla="*/ 3491154 h 5704395"/>
                <a:gd name="connsiteX9313" fmla="*/ 1497573 w 5719680"/>
                <a:gd name="connsiteY9313" fmla="*/ 3498443 h 5704395"/>
                <a:gd name="connsiteX9314" fmla="*/ 1481374 w 5719680"/>
                <a:gd name="connsiteY9314" fmla="*/ 3501611 h 5704395"/>
                <a:gd name="connsiteX9315" fmla="*/ 1474069 w 5719680"/>
                <a:gd name="connsiteY9315" fmla="*/ 3503196 h 5704395"/>
                <a:gd name="connsiteX9316" fmla="*/ 1461682 w 5719680"/>
                <a:gd name="connsiteY9316" fmla="*/ 3510801 h 5704395"/>
                <a:gd name="connsiteX9317" fmla="*/ 1455012 w 5719680"/>
                <a:gd name="connsiteY9317" fmla="*/ 3524427 h 5704395"/>
                <a:gd name="connsiteX9318" fmla="*/ 1462317 w 5719680"/>
                <a:gd name="connsiteY9318" fmla="*/ 3543124 h 5704395"/>
                <a:gd name="connsiteX9319" fmla="*/ 1465493 w 5719680"/>
                <a:gd name="connsiteY9319" fmla="*/ 3547877 h 5704395"/>
                <a:gd name="connsiteX9320" fmla="*/ 1539499 w 5719680"/>
                <a:gd name="connsiteY9320" fmla="*/ 3538054 h 5704395"/>
                <a:gd name="connsiteX9321" fmla="*/ 1602387 w 5719680"/>
                <a:gd name="connsiteY9321" fmla="*/ 3529498 h 5704395"/>
                <a:gd name="connsiteX9322" fmla="*/ 1596670 w 5719680"/>
                <a:gd name="connsiteY9322" fmla="*/ 3482598 h 5704395"/>
                <a:gd name="connsiteX9323" fmla="*/ 478334 w 5719680"/>
                <a:gd name="connsiteY9323" fmla="*/ 3482598 h 5704395"/>
                <a:gd name="connsiteX9324" fmla="*/ 459912 w 5719680"/>
                <a:gd name="connsiteY9324" fmla="*/ 3491471 h 5704395"/>
                <a:gd name="connsiteX9325" fmla="*/ 563138 w 5719680"/>
                <a:gd name="connsiteY9325" fmla="*/ 3606818 h 5704395"/>
                <a:gd name="connsiteX9326" fmla="*/ 563456 w 5719680"/>
                <a:gd name="connsiteY9326" fmla="*/ 3606501 h 5704395"/>
                <a:gd name="connsiteX9327" fmla="*/ 581243 w 5719680"/>
                <a:gd name="connsiteY9327" fmla="*/ 3624881 h 5704395"/>
                <a:gd name="connsiteX9328" fmla="*/ 596488 w 5719680"/>
                <a:gd name="connsiteY9328" fmla="*/ 3612522 h 5704395"/>
                <a:gd name="connsiteX9329" fmla="*/ 478334 w 5719680"/>
                <a:gd name="connsiteY9329" fmla="*/ 3482598 h 5704395"/>
                <a:gd name="connsiteX9330" fmla="*/ 1684015 w 5719680"/>
                <a:gd name="connsiteY9330" fmla="*/ 3479746 h 5704395"/>
                <a:gd name="connsiteX9331" fmla="*/ 1656065 w 5719680"/>
                <a:gd name="connsiteY9331" fmla="*/ 3485450 h 5704395"/>
                <a:gd name="connsiteX9332" fmla="*/ 1658606 w 5719680"/>
                <a:gd name="connsiteY9332" fmla="*/ 3498759 h 5704395"/>
                <a:gd name="connsiteX9333" fmla="*/ 1643995 w 5719680"/>
                <a:gd name="connsiteY9333" fmla="*/ 3501611 h 5704395"/>
                <a:gd name="connsiteX9334" fmla="*/ 1647807 w 5719680"/>
                <a:gd name="connsiteY9334" fmla="*/ 3520308 h 5704395"/>
                <a:gd name="connsiteX9335" fmla="*/ 1705296 w 5719680"/>
                <a:gd name="connsiteY9335" fmla="*/ 3508900 h 5704395"/>
                <a:gd name="connsiteX9336" fmla="*/ 1701484 w 5719680"/>
                <a:gd name="connsiteY9336" fmla="*/ 3490203 h 5704395"/>
                <a:gd name="connsiteX9337" fmla="*/ 1686874 w 5719680"/>
                <a:gd name="connsiteY9337" fmla="*/ 3493372 h 5704395"/>
                <a:gd name="connsiteX9338" fmla="*/ 1684015 w 5719680"/>
                <a:gd name="connsiteY9338" fmla="*/ 3479746 h 5704395"/>
                <a:gd name="connsiteX9339" fmla="*/ 83216 w 5719680"/>
                <a:gd name="connsiteY9339" fmla="*/ 3478479 h 5704395"/>
                <a:gd name="connsiteX9340" fmla="*/ 62254 w 5719680"/>
                <a:gd name="connsiteY9340" fmla="*/ 3484499 h 5704395"/>
                <a:gd name="connsiteX9341" fmla="*/ 146423 w 5719680"/>
                <a:gd name="connsiteY9341" fmla="*/ 3601431 h 5704395"/>
                <a:gd name="connsiteX9342" fmla="*/ 197877 w 5719680"/>
                <a:gd name="connsiteY9342" fmla="*/ 3564989 h 5704395"/>
                <a:gd name="connsiteX9343" fmla="*/ 184854 w 5719680"/>
                <a:gd name="connsiteY9343" fmla="*/ 3555166 h 5704395"/>
                <a:gd name="connsiteX9344" fmla="*/ 149281 w 5719680"/>
                <a:gd name="connsiteY9344" fmla="*/ 3574496 h 5704395"/>
                <a:gd name="connsiteX9345" fmla="*/ 133400 w 5719680"/>
                <a:gd name="connsiteY9345" fmla="*/ 3558968 h 5704395"/>
                <a:gd name="connsiteX9346" fmla="*/ 168656 w 5719680"/>
                <a:gd name="connsiteY9346" fmla="*/ 3537420 h 5704395"/>
                <a:gd name="connsiteX9347" fmla="*/ 160398 w 5719680"/>
                <a:gd name="connsiteY9347" fmla="*/ 3527279 h 5704395"/>
                <a:gd name="connsiteX9348" fmla="*/ 140070 w 5719680"/>
                <a:gd name="connsiteY9348" fmla="*/ 3535518 h 5704395"/>
                <a:gd name="connsiteX9349" fmla="*/ 121013 w 5719680"/>
                <a:gd name="connsiteY9349" fmla="*/ 3505731 h 5704395"/>
                <a:gd name="connsiteX9350" fmla="*/ 105132 w 5719680"/>
                <a:gd name="connsiteY9350" fmla="*/ 3513019 h 5704395"/>
                <a:gd name="connsiteX9351" fmla="*/ 83216 w 5719680"/>
                <a:gd name="connsiteY9351" fmla="*/ 3478479 h 5704395"/>
                <a:gd name="connsiteX9352" fmla="*/ 1687509 w 5719680"/>
                <a:gd name="connsiteY9352" fmla="*/ 3474993 h 5704395"/>
                <a:gd name="connsiteX9353" fmla="*/ 1690050 w 5719680"/>
                <a:gd name="connsiteY9353" fmla="*/ 3488302 h 5704395"/>
                <a:gd name="connsiteX9354" fmla="*/ 1704660 w 5719680"/>
                <a:gd name="connsiteY9354" fmla="*/ 3485450 h 5704395"/>
                <a:gd name="connsiteX9355" fmla="*/ 1710060 w 5719680"/>
                <a:gd name="connsiteY9355" fmla="*/ 3512069 h 5704395"/>
                <a:gd name="connsiteX9356" fmla="*/ 1644313 w 5719680"/>
                <a:gd name="connsiteY9356" fmla="*/ 3525378 h 5704395"/>
                <a:gd name="connsiteX9357" fmla="*/ 1643995 w 5719680"/>
                <a:gd name="connsiteY9357" fmla="*/ 3523160 h 5704395"/>
                <a:gd name="connsiteX9358" fmla="*/ 1639231 w 5719680"/>
                <a:gd name="connsiteY9358" fmla="*/ 3498443 h 5704395"/>
                <a:gd name="connsiteX9359" fmla="*/ 1653841 w 5719680"/>
                <a:gd name="connsiteY9359" fmla="*/ 3495591 h 5704395"/>
                <a:gd name="connsiteX9360" fmla="*/ 1650983 w 5719680"/>
                <a:gd name="connsiteY9360" fmla="*/ 3482281 h 5704395"/>
                <a:gd name="connsiteX9361" fmla="*/ 1687509 w 5719680"/>
                <a:gd name="connsiteY9361" fmla="*/ 3474993 h 5704395"/>
                <a:gd name="connsiteX9362" fmla="*/ 85122 w 5719680"/>
                <a:gd name="connsiteY9362" fmla="*/ 3472775 h 5704395"/>
                <a:gd name="connsiteX9363" fmla="*/ 107038 w 5719680"/>
                <a:gd name="connsiteY9363" fmla="*/ 3506999 h 5704395"/>
                <a:gd name="connsiteX9364" fmla="*/ 122601 w 5719680"/>
                <a:gd name="connsiteY9364" fmla="*/ 3499710 h 5704395"/>
                <a:gd name="connsiteX9365" fmla="*/ 141976 w 5719680"/>
                <a:gd name="connsiteY9365" fmla="*/ 3529814 h 5704395"/>
                <a:gd name="connsiteX9366" fmla="*/ 161986 w 5719680"/>
                <a:gd name="connsiteY9366" fmla="*/ 3521575 h 5704395"/>
                <a:gd name="connsiteX9367" fmla="*/ 175326 w 5719680"/>
                <a:gd name="connsiteY9367" fmla="*/ 3538687 h 5704395"/>
                <a:gd name="connsiteX9368" fmla="*/ 141023 w 5719680"/>
                <a:gd name="connsiteY9368" fmla="*/ 3559602 h 5704395"/>
                <a:gd name="connsiteX9369" fmla="*/ 149916 w 5719680"/>
                <a:gd name="connsiteY9369" fmla="*/ 3568792 h 5704395"/>
                <a:gd name="connsiteX9370" fmla="*/ 185172 w 5719680"/>
                <a:gd name="connsiteY9370" fmla="*/ 3549778 h 5704395"/>
                <a:gd name="connsiteX9371" fmla="*/ 205817 w 5719680"/>
                <a:gd name="connsiteY9371" fmla="*/ 3565306 h 5704395"/>
                <a:gd name="connsiteX9372" fmla="*/ 203276 w 5719680"/>
                <a:gd name="connsiteY9372" fmla="*/ 3567207 h 5704395"/>
                <a:gd name="connsiteX9373" fmla="*/ 145470 w 5719680"/>
                <a:gd name="connsiteY9373" fmla="*/ 3607769 h 5704395"/>
                <a:gd name="connsiteX9374" fmla="*/ 54631 w 5719680"/>
                <a:gd name="connsiteY9374" fmla="*/ 3481964 h 5704395"/>
                <a:gd name="connsiteX9375" fmla="*/ 85122 w 5719680"/>
                <a:gd name="connsiteY9375" fmla="*/ 3472775 h 5704395"/>
                <a:gd name="connsiteX9376" fmla="*/ 2145833 w 5719680"/>
                <a:gd name="connsiteY9376" fmla="*/ 3466437 h 5704395"/>
                <a:gd name="connsiteX9377" fmla="*/ 2137257 w 5719680"/>
                <a:gd name="connsiteY9377" fmla="*/ 3545659 h 5704395"/>
                <a:gd name="connsiteX9378" fmla="*/ 2244295 w 5719680"/>
                <a:gd name="connsiteY9378" fmla="*/ 3598262 h 5704395"/>
                <a:gd name="connsiteX9379" fmla="*/ 2323700 w 5719680"/>
                <a:gd name="connsiteY9379" fmla="*/ 3600164 h 5704395"/>
                <a:gd name="connsiteX9380" fmla="*/ 2335769 w 5719680"/>
                <a:gd name="connsiteY9380" fmla="*/ 3564672 h 5704395"/>
                <a:gd name="connsiteX9381" fmla="*/ 2346250 w 5719680"/>
                <a:gd name="connsiteY9381" fmla="*/ 3533617 h 5704395"/>
                <a:gd name="connsiteX9382" fmla="*/ 2346886 w 5719680"/>
                <a:gd name="connsiteY9382" fmla="*/ 3531082 h 5704395"/>
                <a:gd name="connsiteX9383" fmla="*/ 2202687 w 5719680"/>
                <a:gd name="connsiteY9383" fmla="*/ 3479429 h 5704395"/>
                <a:gd name="connsiteX9384" fmla="*/ 2153773 w 5719680"/>
                <a:gd name="connsiteY9384" fmla="*/ 3467704 h 5704395"/>
                <a:gd name="connsiteX9385" fmla="*/ 2145833 w 5719680"/>
                <a:gd name="connsiteY9385" fmla="*/ 3466437 h 5704395"/>
                <a:gd name="connsiteX9386" fmla="*/ 917283 w 5719680"/>
                <a:gd name="connsiteY9386" fmla="*/ 3464219 h 5704395"/>
                <a:gd name="connsiteX9387" fmla="*/ 895685 w 5719680"/>
                <a:gd name="connsiteY9387" fmla="*/ 3492422 h 5704395"/>
                <a:gd name="connsiteX9388" fmla="*/ 945551 w 5719680"/>
                <a:gd name="connsiteY9388" fmla="*/ 3510801 h 5704395"/>
                <a:gd name="connsiteX9389" fmla="*/ 948410 w 5719680"/>
                <a:gd name="connsiteY9389" fmla="*/ 3511752 h 5704395"/>
                <a:gd name="connsiteX9390" fmla="*/ 948410 w 5719680"/>
                <a:gd name="connsiteY9390" fmla="*/ 3514604 h 5704395"/>
                <a:gd name="connsiteX9391" fmla="*/ 949681 w 5719680"/>
                <a:gd name="connsiteY9391" fmla="*/ 3531082 h 5704395"/>
                <a:gd name="connsiteX9392" fmla="*/ 957939 w 5719680"/>
                <a:gd name="connsiteY9392" fmla="*/ 3534568 h 5704395"/>
                <a:gd name="connsiteX9393" fmla="*/ 961432 w 5719680"/>
                <a:gd name="connsiteY9393" fmla="*/ 3536152 h 5704395"/>
                <a:gd name="connsiteX9394" fmla="*/ 960480 w 5719680"/>
                <a:gd name="connsiteY9394" fmla="*/ 3539955 h 5704395"/>
                <a:gd name="connsiteX9395" fmla="*/ 951269 w 5719680"/>
                <a:gd name="connsiteY9395" fmla="*/ 3571961 h 5704395"/>
                <a:gd name="connsiteX9396" fmla="*/ 963338 w 5719680"/>
                <a:gd name="connsiteY9396" fmla="*/ 3585587 h 5704395"/>
                <a:gd name="connsiteX9397" fmla="*/ 993194 w 5719680"/>
                <a:gd name="connsiteY9397" fmla="*/ 3545976 h 5704395"/>
                <a:gd name="connsiteX9398" fmla="*/ 998911 w 5719680"/>
                <a:gd name="connsiteY9398" fmla="*/ 3530448 h 5704395"/>
                <a:gd name="connsiteX9399" fmla="*/ 979219 w 5719680"/>
                <a:gd name="connsiteY9399" fmla="*/ 3488619 h 5704395"/>
                <a:gd name="connsiteX9400" fmla="*/ 917283 w 5719680"/>
                <a:gd name="connsiteY9400" fmla="*/ 3464219 h 5704395"/>
                <a:gd name="connsiteX9401" fmla="*/ 1976860 w 5719680"/>
                <a:gd name="connsiteY9401" fmla="*/ 3462634 h 5704395"/>
                <a:gd name="connsiteX9402" fmla="*/ 1965108 w 5719680"/>
                <a:gd name="connsiteY9402" fmla="*/ 3526962 h 5704395"/>
                <a:gd name="connsiteX9403" fmla="*/ 1978448 w 5719680"/>
                <a:gd name="connsiteY9403" fmla="*/ 3528230 h 5704395"/>
                <a:gd name="connsiteX9404" fmla="*/ 1987659 w 5719680"/>
                <a:gd name="connsiteY9404" fmla="*/ 3484183 h 5704395"/>
                <a:gd name="connsiteX9405" fmla="*/ 2037207 w 5719680"/>
                <a:gd name="connsiteY9405" fmla="*/ 3494006 h 5704395"/>
                <a:gd name="connsiteX9406" fmla="*/ 2036890 w 5719680"/>
                <a:gd name="connsiteY9406" fmla="*/ 3496224 h 5704395"/>
                <a:gd name="connsiteX9407" fmla="*/ 2029584 w 5719680"/>
                <a:gd name="connsiteY9407" fmla="*/ 3532033 h 5704395"/>
                <a:gd name="connsiteX9408" fmla="*/ 2117247 w 5719680"/>
                <a:gd name="connsiteY9408" fmla="*/ 3538687 h 5704395"/>
                <a:gd name="connsiteX9409" fmla="*/ 2125188 w 5719680"/>
                <a:gd name="connsiteY9409" fmla="*/ 3464536 h 5704395"/>
                <a:gd name="connsiteX9410" fmla="*/ 1976860 w 5719680"/>
                <a:gd name="connsiteY9410" fmla="*/ 3462634 h 5704395"/>
                <a:gd name="connsiteX9411" fmla="*/ 1946368 w 5719680"/>
                <a:gd name="connsiteY9411" fmla="*/ 3462317 h 5704395"/>
                <a:gd name="connsiteX9412" fmla="*/ 1915559 w 5719680"/>
                <a:gd name="connsiteY9412" fmla="*/ 3616008 h 5704395"/>
                <a:gd name="connsiteX9413" fmla="*/ 1891103 w 5719680"/>
                <a:gd name="connsiteY9413" fmla="*/ 3688258 h 5704395"/>
                <a:gd name="connsiteX9414" fmla="*/ 1809475 w 5719680"/>
                <a:gd name="connsiteY9414" fmla="*/ 4406643 h 5704395"/>
                <a:gd name="connsiteX9415" fmla="*/ 1807887 w 5719680"/>
                <a:gd name="connsiteY9415" fmla="*/ 4412981 h 5704395"/>
                <a:gd name="connsiteX9416" fmla="*/ 1832026 w 5719680"/>
                <a:gd name="connsiteY9416" fmla="*/ 4395552 h 5704395"/>
                <a:gd name="connsiteX9417" fmla="*/ 1832661 w 5719680"/>
                <a:gd name="connsiteY9417" fmla="*/ 4395552 h 5704395"/>
                <a:gd name="connsiteX9418" fmla="*/ 1845366 w 5719680"/>
                <a:gd name="connsiteY9418" fmla="*/ 4300169 h 5704395"/>
                <a:gd name="connsiteX9419" fmla="*/ 1894914 w 5719680"/>
                <a:gd name="connsiteY9419" fmla="*/ 3921805 h 5704395"/>
                <a:gd name="connsiteX9420" fmla="*/ 1894279 w 5719680"/>
                <a:gd name="connsiteY9420" fmla="*/ 3921805 h 5704395"/>
                <a:gd name="connsiteX9421" fmla="*/ 1894597 w 5719680"/>
                <a:gd name="connsiteY9421" fmla="*/ 3917368 h 5704395"/>
                <a:gd name="connsiteX9422" fmla="*/ 1895549 w 5719680"/>
                <a:gd name="connsiteY9422" fmla="*/ 3917368 h 5704395"/>
                <a:gd name="connsiteX9423" fmla="*/ 1912066 w 5719680"/>
                <a:gd name="connsiteY9423" fmla="*/ 3787127 h 5704395"/>
                <a:gd name="connsiteX9424" fmla="*/ 1911113 w 5719680"/>
                <a:gd name="connsiteY9424" fmla="*/ 3787127 h 5704395"/>
                <a:gd name="connsiteX9425" fmla="*/ 1911430 w 5719680"/>
                <a:gd name="connsiteY9425" fmla="*/ 3782691 h 5704395"/>
                <a:gd name="connsiteX9426" fmla="*/ 1912383 w 5719680"/>
                <a:gd name="connsiteY9426" fmla="*/ 3782691 h 5704395"/>
                <a:gd name="connsiteX9427" fmla="*/ 1919688 w 5719680"/>
                <a:gd name="connsiteY9427" fmla="*/ 3718997 h 5704395"/>
                <a:gd name="connsiteX9428" fmla="*/ 1919688 w 5719680"/>
                <a:gd name="connsiteY9428" fmla="*/ 3718363 h 5704395"/>
                <a:gd name="connsiteX9429" fmla="*/ 1920324 w 5719680"/>
                <a:gd name="connsiteY9429" fmla="*/ 3716778 h 5704395"/>
                <a:gd name="connsiteX9430" fmla="*/ 1920641 w 5719680"/>
                <a:gd name="connsiteY9430" fmla="*/ 3716778 h 5704395"/>
                <a:gd name="connsiteX9431" fmla="*/ 1924770 w 5719680"/>
                <a:gd name="connsiteY9431" fmla="*/ 3703469 h 5704395"/>
                <a:gd name="connsiteX9432" fmla="*/ 1936522 w 5719680"/>
                <a:gd name="connsiteY9432" fmla="*/ 3650866 h 5704395"/>
                <a:gd name="connsiteX9433" fmla="*/ 1936840 w 5719680"/>
                <a:gd name="connsiteY9433" fmla="*/ 3647063 h 5704395"/>
                <a:gd name="connsiteX9434" fmla="*/ 1937157 w 5719680"/>
                <a:gd name="connsiteY9434" fmla="*/ 3647063 h 5704395"/>
                <a:gd name="connsiteX9435" fmla="*/ 1954944 w 5719680"/>
                <a:gd name="connsiteY9435" fmla="*/ 3556750 h 5704395"/>
                <a:gd name="connsiteX9436" fmla="*/ 1972413 w 5719680"/>
                <a:gd name="connsiteY9436" fmla="*/ 3462634 h 5704395"/>
                <a:gd name="connsiteX9437" fmla="*/ 1946368 w 5719680"/>
                <a:gd name="connsiteY9437" fmla="*/ 3462317 h 5704395"/>
                <a:gd name="connsiteX9438" fmla="*/ 378920 w 5719680"/>
                <a:gd name="connsiteY9438" fmla="*/ 3460733 h 5704395"/>
                <a:gd name="connsiteX9439" fmla="*/ 368756 w 5719680"/>
                <a:gd name="connsiteY9439" fmla="*/ 3467388 h 5704395"/>
                <a:gd name="connsiteX9440" fmla="*/ 364627 w 5719680"/>
                <a:gd name="connsiteY9440" fmla="*/ 3480380 h 5704395"/>
                <a:gd name="connsiteX9441" fmla="*/ 366215 w 5719680"/>
                <a:gd name="connsiteY9441" fmla="*/ 3491154 h 5704395"/>
                <a:gd name="connsiteX9442" fmla="*/ 366850 w 5719680"/>
                <a:gd name="connsiteY9442" fmla="*/ 3490837 h 5704395"/>
                <a:gd name="connsiteX9443" fmla="*/ 397977 w 5719680"/>
                <a:gd name="connsiteY9443" fmla="*/ 3508900 h 5704395"/>
                <a:gd name="connsiteX9444" fmla="*/ 411952 w 5719680"/>
                <a:gd name="connsiteY9444" fmla="*/ 3498759 h 5704395"/>
                <a:gd name="connsiteX9445" fmla="*/ 378920 w 5719680"/>
                <a:gd name="connsiteY9445" fmla="*/ 3460733 h 5704395"/>
                <a:gd name="connsiteX9446" fmla="*/ 915695 w 5719680"/>
                <a:gd name="connsiteY9446" fmla="*/ 3459148 h 5704395"/>
                <a:gd name="connsiteX9447" fmla="*/ 982713 w 5719680"/>
                <a:gd name="connsiteY9447" fmla="*/ 3485133 h 5704395"/>
                <a:gd name="connsiteX9448" fmla="*/ 1003993 w 5719680"/>
                <a:gd name="connsiteY9448" fmla="*/ 3530131 h 5704395"/>
                <a:gd name="connsiteX9449" fmla="*/ 997006 w 5719680"/>
                <a:gd name="connsiteY9449" fmla="*/ 3548194 h 5704395"/>
                <a:gd name="connsiteX9450" fmla="*/ 963656 w 5719680"/>
                <a:gd name="connsiteY9450" fmla="*/ 3592558 h 5704395"/>
                <a:gd name="connsiteX9451" fmla="*/ 946187 w 5719680"/>
                <a:gd name="connsiteY9451" fmla="*/ 3573228 h 5704395"/>
                <a:gd name="connsiteX9452" fmla="*/ 956033 w 5719680"/>
                <a:gd name="connsiteY9452" fmla="*/ 3538687 h 5704395"/>
                <a:gd name="connsiteX9453" fmla="*/ 945551 w 5719680"/>
                <a:gd name="connsiteY9453" fmla="*/ 3534251 h 5704395"/>
                <a:gd name="connsiteX9454" fmla="*/ 943963 w 5719680"/>
                <a:gd name="connsiteY9454" fmla="*/ 3514921 h 5704395"/>
                <a:gd name="connsiteX9455" fmla="*/ 888698 w 5719680"/>
                <a:gd name="connsiteY9455" fmla="*/ 3494640 h 5704395"/>
                <a:gd name="connsiteX9456" fmla="*/ 915695 w 5719680"/>
                <a:gd name="connsiteY9456" fmla="*/ 3459148 h 5704395"/>
                <a:gd name="connsiteX9457" fmla="*/ 913790 w 5719680"/>
                <a:gd name="connsiteY9457" fmla="*/ 3449008 h 5704395"/>
                <a:gd name="connsiteX9458" fmla="*/ 864876 w 5719680"/>
                <a:gd name="connsiteY9458" fmla="*/ 3500344 h 5704395"/>
                <a:gd name="connsiteX9459" fmla="*/ 906802 w 5719680"/>
                <a:gd name="connsiteY9459" fmla="*/ 3513019 h 5704395"/>
                <a:gd name="connsiteX9460" fmla="*/ 919507 w 5719680"/>
                <a:gd name="connsiteY9460" fmla="*/ 3518723 h 5704395"/>
                <a:gd name="connsiteX9461" fmla="*/ 921730 w 5719680"/>
                <a:gd name="connsiteY9461" fmla="*/ 3520942 h 5704395"/>
                <a:gd name="connsiteX9462" fmla="*/ 922048 w 5719680"/>
                <a:gd name="connsiteY9462" fmla="*/ 3520942 h 5704395"/>
                <a:gd name="connsiteX9463" fmla="*/ 924271 w 5719680"/>
                <a:gd name="connsiteY9463" fmla="*/ 3525061 h 5704395"/>
                <a:gd name="connsiteX9464" fmla="*/ 924589 w 5719680"/>
                <a:gd name="connsiteY9464" fmla="*/ 3532033 h 5704395"/>
                <a:gd name="connsiteX9465" fmla="*/ 923953 w 5719680"/>
                <a:gd name="connsiteY9465" fmla="*/ 3568792 h 5704395"/>
                <a:gd name="connsiteX9466" fmla="*/ 923953 w 5719680"/>
                <a:gd name="connsiteY9466" fmla="*/ 3569425 h 5704395"/>
                <a:gd name="connsiteX9467" fmla="*/ 914742 w 5719680"/>
                <a:gd name="connsiteY9467" fmla="*/ 3612839 h 5704395"/>
                <a:gd name="connsiteX9468" fmla="*/ 916966 w 5719680"/>
                <a:gd name="connsiteY9468" fmla="*/ 3616959 h 5704395"/>
                <a:gd name="connsiteX9469" fmla="*/ 926494 w 5719680"/>
                <a:gd name="connsiteY9469" fmla="*/ 3635338 h 5704395"/>
                <a:gd name="connsiteX9470" fmla="*/ 930306 w 5719680"/>
                <a:gd name="connsiteY9470" fmla="*/ 3642943 h 5704395"/>
                <a:gd name="connsiteX9471" fmla="*/ 931576 w 5719680"/>
                <a:gd name="connsiteY9471" fmla="*/ 3645162 h 5704395"/>
                <a:gd name="connsiteX9472" fmla="*/ 931576 w 5719680"/>
                <a:gd name="connsiteY9472" fmla="*/ 3645479 h 5704395"/>
                <a:gd name="connsiteX9473" fmla="*/ 938246 w 5719680"/>
                <a:gd name="connsiteY9473" fmla="*/ 3648331 h 5704395"/>
                <a:gd name="connsiteX9474" fmla="*/ 994465 w 5719680"/>
                <a:gd name="connsiteY9474" fmla="*/ 3581784 h 5704395"/>
                <a:gd name="connsiteX9475" fmla="*/ 1020510 w 5719680"/>
                <a:gd name="connsiteY9475" fmla="*/ 3526962 h 5704395"/>
                <a:gd name="connsiteX9476" fmla="*/ 984936 w 5719680"/>
                <a:gd name="connsiteY9476" fmla="*/ 3475627 h 5704395"/>
                <a:gd name="connsiteX9477" fmla="*/ 408776 w 5719680"/>
                <a:gd name="connsiteY9477" fmla="*/ 3445839 h 5704395"/>
                <a:gd name="connsiteX9478" fmla="*/ 398929 w 5719680"/>
                <a:gd name="connsiteY9478" fmla="*/ 3450592 h 5704395"/>
                <a:gd name="connsiteX9479" fmla="*/ 427515 w 5719680"/>
                <a:gd name="connsiteY9479" fmla="*/ 3483232 h 5704395"/>
                <a:gd name="connsiteX9480" fmla="*/ 437679 w 5719680"/>
                <a:gd name="connsiteY9480" fmla="*/ 3478162 h 5704395"/>
                <a:gd name="connsiteX9481" fmla="*/ 611099 w 5719680"/>
                <a:gd name="connsiteY9481" fmla="*/ 3439818 h 5704395"/>
                <a:gd name="connsiteX9482" fmla="*/ 557421 w 5719680"/>
                <a:gd name="connsiteY9482" fmla="*/ 3457564 h 5704395"/>
                <a:gd name="connsiteX9483" fmla="*/ 508508 w 5719680"/>
                <a:gd name="connsiteY9483" fmla="*/ 3478162 h 5704395"/>
                <a:gd name="connsiteX9484" fmla="*/ 532012 w 5719680"/>
                <a:gd name="connsiteY9484" fmla="*/ 3501611 h 5704395"/>
                <a:gd name="connsiteX9485" fmla="*/ 554563 w 5719680"/>
                <a:gd name="connsiteY9485" fmla="*/ 3494006 h 5704395"/>
                <a:gd name="connsiteX9486" fmla="*/ 552022 w 5719680"/>
                <a:gd name="connsiteY9486" fmla="*/ 3490837 h 5704395"/>
                <a:gd name="connsiteX9487" fmla="*/ 547893 w 5719680"/>
                <a:gd name="connsiteY9487" fmla="*/ 3485767 h 5704395"/>
                <a:gd name="connsiteX9488" fmla="*/ 553927 w 5719680"/>
                <a:gd name="connsiteY9488" fmla="*/ 3483866 h 5704395"/>
                <a:gd name="connsiteX9489" fmla="*/ 585689 w 5719680"/>
                <a:gd name="connsiteY9489" fmla="*/ 3472775 h 5704395"/>
                <a:gd name="connsiteX9490" fmla="*/ 588230 w 5719680"/>
                <a:gd name="connsiteY9490" fmla="*/ 3472141 h 5704395"/>
                <a:gd name="connsiteX9491" fmla="*/ 590136 w 5719680"/>
                <a:gd name="connsiteY9491" fmla="*/ 3473725 h 5704395"/>
                <a:gd name="connsiteX9492" fmla="*/ 594900 w 5719680"/>
                <a:gd name="connsiteY9492" fmla="*/ 3478162 h 5704395"/>
                <a:gd name="connsiteX9493" fmla="*/ 622216 w 5719680"/>
                <a:gd name="connsiteY9493" fmla="*/ 3469289 h 5704395"/>
                <a:gd name="connsiteX9494" fmla="*/ 611099 w 5719680"/>
                <a:gd name="connsiteY9494" fmla="*/ 3439818 h 5704395"/>
                <a:gd name="connsiteX9495" fmla="*/ 424974 w 5719680"/>
                <a:gd name="connsiteY9495" fmla="*/ 3438551 h 5704395"/>
                <a:gd name="connsiteX9496" fmla="*/ 416081 w 5719680"/>
                <a:gd name="connsiteY9496" fmla="*/ 3442353 h 5704395"/>
                <a:gd name="connsiteX9497" fmla="*/ 444667 w 5719680"/>
                <a:gd name="connsiteY9497" fmla="*/ 3474676 h 5704395"/>
                <a:gd name="connsiteX9498" fmla="*/ 453878 w 5719680"/>
                <a:gd name="connsiteY9498" fmla="*/ 3470240 h 5704395"/>
                <a:gd name="connsiteX9499" fmla="*/ 424974 w 5719680"/>
                <a:gd name="connsiteY9499" fmla="*/ 3438551 h 5704395"/>
                <a:gd name="connsiteX9500" fmla="*/ 823268 w 5719680"/>
                <a:gd name="connsiteY9500" fmla="*/ 3436333 h 5704395"/>
                <a:gd name="connsiteX9501" fmla="*/ 823586 w 5719680"/>
                <a:gd name="connsiteY9501" fmla="*/ 3461367 h 5704395"/>
                <a:gd name="connsiteX9502" fmla="*/ 848043 w 5719680"/>
                <a:gd name="connsiteY9502" fmla="*/ 3464852 h 5704395"/>
                <a:gd name="connsiteX9503" fmla="*/ 868052 w 5719680"/>
                <a:gd name="connsiteY9503" fmla="*/ 3442987 h 5704395"/>
                <a:gd name="connsiteX9504" fmla="*/ 613957 w 5719680"/>
                <a:gd name="connsiteY9504" fmla="*/ 3434431 h 5704395"/>
                <a:gd name="connsiteX9505" fmla="*/ 627933 w 5719680"/>
                <a:gd name="connsiteY9505" fmla="*/ 3472141 h 5704395"/>
                <a:gd name="connsiteX9506" fmla="*/ 593630 w 5719680"/>
                <a:gd name="connsiteY9506" fmla="*/ 3483232 h 5704395"/>
                <a:gd name="connsiteX9507" fmla="*/ 586960 w 5719680"/>
                <a:gd name="connsiteY9507" fmla="*/ 3477211 h 5704395"/>
                <a:gd name="connsiteX9508" fmla="*/ 555516 w 5719680"/>
                <a:gd name="connsiteY9508" fmla="*/ 3487985 h 5704395"/>
                <a:gd name="connsiteX9509" fmla="*/ 562186 w 5719680"/>
                <a:gd name="connsiteY9509" fmla="*/ 3496224 h 5704395"/>
                <a:gd name="connsiteX9510" fmla="*/ 531059 w 5719680"/>
                <a:gd name="connsiteY9510" fmla="*/ 3506682 h 5704395"/>
                <a:gd name="connsiteX9511" fmla="*/ 500885 w 5719680"/>
                <a:gd name="connsiteY9511" fmla="*/ 3476577 h 5704395"/>
                <a:gd name="connsiteX9512" fmla="*/ 556151 w 5719680"/>
                <a:gd name="connsiteY9512" fmla="*/ 3453444 h 5704395"/>
                <a:gd name="connsiteX9513" fmla="*/ 613957 w 5719680"/>
                <a:gd name="connsiteY9513" fmla="*/ 3434431 h 5704395"/>
                <a:gd name="connsiteX9514" fmla="*/ 139435 w 5719680"/>
                <a:gd name="connsiteY9514" fmla="*/ 3433481 h 5704395"/>
                <a:gd name="connsiteX9515" fmla="*/ 40020 w 5719680"/>
                <a:gd name="connsiteY9515" fmla="*/ 3477528 h 5704395"/>
                <a:gd name="connsiteX9516" fmla="*/ 131494 w 5719680"/>
                <a:gd name="connsiteY9516" fmla="*/ 3608403 h 5704395"/>
                <a:gd name="connsiteX9517" fmla="*/ 145787 w 5719680"/>
                <a:gd name="connsiteY9517" fmla="*/ 3628683 h 5704395"/>
                <a:gd name="connsiteX9518" fmla="*/ 225510 w 5719680"/>
                <a:gd name="connsiteY9518" fmla="*/ 3564355 h 5704395"/>
                <a:gd name="connsiteX9519" fmla="*/ 188348 w 5719680"/>
                <a:gd name="connsiteY9519" fmla="*/ 3524744 h 5704395"/>
                <a:gd name="connsiteX9520" fmla="*/ 188348 w 5719680"/>
                <a:gd name="connsiteY9520" fmla="*/ 3524427 h 5704395"/>
                <a:gd name="connsiteX9521" fmla="*/ 146740 w 5719680"/>
                <a:gd name="connsiteY9521" fmla="*/ 3449642 h 5704395"/>
                <a:gd name="connsiteX9522" fmla="*/ 139435 w 5719680"/>
                <a:gd name="connsiteY9522" fmla="*/ 3433481 h 5704395"/>
                <a:gd name="connsiteX9523" fmla="*/ 696221 w 5719680"/>
                <a:gd name="connsiteY9523" fmla="*/ 3431262 h 5704395"/>
                <a:gd name="connsiteX9524" fmla="*/ 654930 w 5719680"/>
                <a:gd name="connsiteY9524" fmla="*/ 3434748 h 5704395"/>
                <a:gd name="connsiteX9525" fmla="*/ 668588 w 5719680"/>
                <a:gd name="connsiteY9525" fmla="*/ 3477845 h 5704395"/>
                <a:gd name="connsiteX9526" fmla="*/ 699079 w 5719680"/>
                <a:gd name="connsiteY9526" fmla="*/ 3477845 h 5704395"/>
                <a:gd name="connsiteX9527" fmla="*/ 697809 w 5719680"/>
                <a:gd name="connsiteY9527" fmla="*/ 3455029 h 5704395"/>
                <a:gd name="connsiteX9528" fmla="*/ 696538 w 5719680"/>
                <a:gd name="connsiteY9528" fmla="*/ 3436016 h 5704395"/>
                <a:gd name="connsiteX9529" fmla="*/ 696221 w 5719680"/>
                <a:gd name="connsiteY9529" fmla="*/ 3431262 h 5704395"/>
                <a:gd name="connsiteX9530" fmla="*/ 818822 w 5719680"/>
                <a:gd name="connsiteY9530" fmla="*/ 3430945 h 5704395"/>
                <a:gd name="connsiteX9531" fmla="*/ 876628 w 5719680"/>
                <a:gd name="connsiteY9531" fmla="*/ 3439818 h 5704395"/>
                <a:gd name="connsiteX9532" fmla="*/ 849948 w 5719680"/>
                <a:gd name="connsiteY9532" fmla="*/ 3469606 h 5704395"/>
                <a:gd name="connsiteX9533" fmla="*/ 819139 w 5719680"/>
                <a:gd name="connsiteY9533" fmla="*/ 3465169 h 5704395"/>
                <a:gd name="connsiteX9534" fmla="*/ 818822 w 5719680"/>
                <a:gd name="connsiteY9534" fmla="*/ 3430945 h 5704395"/>
                <a:gd name="connsiteX9535" fmla="*/ 735923 w 5719680"/>
                <a:gd name="connsiteY9535" fmla="*/ 3429995 h 5704395"/>
                <a:gd name="connsiteX9536" fmla="*/ 733064 w 5719680"/>
                <a:gd name="connsiteY9536" fmla="*/ 3477845 h 5704395"/>
                <a:gd name="connsiteX9537" fmla="*/ 756886 w 5719680"/>
                <a:gd name="connsiteY9537" fmla="*/ 3477845 h 5704395"/>
                <a:gd name="connsiteX9538" fmla="*/ 780072 w 5719680"/>
                <a:gd name="connsiteY9538" fmla="*/ 3431896 h 5704395"/>
                <a:gd name="connsiteX9539" fmla="*/ 735923 w 5719680"/>
                <a:gd name="connsiteY9539" fmla="*/ 3429995 h 5704395"/>
                <a:gd name="connsiteX9540" fmla="*/ 733064 w 5719680"/>
                <a:gd name="connsiteY9540" fmla="*/ 3429995 h 5704395"/>
                <a:gd name="connsiteX9541" fmla="*/ 698762 w 5719680"/>
                <a:gd name="connsiteY9541" fmla="*/ 3431262 h 5704395"/>
                <a:gd name="connsiteX9542" fmla="*/ 701620 w 5719680"/>
                <a:gd name="connsiteY9542" fmla="*/ 3477845 h 5704395"/>
                <a:gd name="connsiteX9543" fmla="*/ 730524 w 5719680"/>
                <a:gd name="connsiteY9543" fmla="*/ 3477845 h 5704395"/>
                <a:gd name="connsiteX9544" fmla="*/ 733382 w 5719680"/>
                <a:gd name="connsiteY9544" fmla="*/ 3429995 h 5704395"/>
                <a:gd name="connsiteX9545" fmla="*/ 733064 w 5719680"/>
                <a:gd name="connsiteY9545" fmla="*/ 3429995 h 5704395"/>
                <a:gd name="connsiteX9546" fmla="*/ 1763420 w 5719680"/>
                <a:gd name="connsiteY9546" fmla="*/ 3427460 h 5704395"/>
                <a:gd name="connsiteX9547" fmla="*/ 1684015 w 5719680"/>
                <a:gd name="connsiteY9547" fmla="*/ 3443938 h 5704395"/>
                <a:gd name="connsiteX9548" fmla="*/ 1614774 w 5719680"/>
                <a:gd name="connsiteY9548" fmla="*/ 3458832 h 5704395"/>
                <a:gd name="connsiteX9549" fmla="*/ 1625256 w 5719680"/>
                <a:gd name="connsiteY9549" fmla="*/ 3545659 h 5704395"/>
                <a:gd name="connsiteX9550" fmla="*/ 1774854 w 5719680"/>
                <a:gd name="connsiteY9550" fmla="*/ 3526962 h 5704395"/>
                <a:gd name="connsiteX9551" fmla="*/ 1864105 w 5719680"/>
                <a:gd name="connsiteY9551" fmla="*/ 3533934 h 5704395"/>
                <a:gd name="connsiteX9552" fmla="*/ 1871410 w 5719680"/>
                <a:gd name="connsiteY9552" fmla="*/ 3435382 h 5704395"/>
                <a:gd name="connsiteX9553" fmla="*/ 1763420 w 5719680"/>
                <a:gd name="connsiteY9553" fmla="*/ 3427460 h 5704395"/>
                <a:gd name="connsiteX9554" fmla="*/ 628886 w 5719680"/>
                <a:gd name="connsiteY9554" fmla="*/ 3426192 h 5704395"/>
                <a:gd name="connsiteX9555" fmla="*/ 627297 w 5719680"/>
                <a:gd name="connsiteY9555" fmla="*/ 3426509 h 5704395"/>
                <a:gd name="connsiteX9556" fmla="*/ 495803 w 5719680"/>
                <a:gd name="connsiteY9556" fmla="*/ 3474359 h 5704395"/>
                <a:gd name="connsiteX9557" fmla="*/ 483416 w 5719680"/>
                <a:gd name="connsiteY9557" fmla="*/ 3480380 h 5704395"/>
                <a:gd name="connsiteX9558" fmla="*/ 600617 w 5719680"/>
                <a:gd name="connsiteY9558" fmla="*/ 3609353 h 5704395"/>
                <a:gd name="connsiteX9559" fmla="*/ 622533 w 5719680"/>
                <a:gd name="connsiteY9559" fmla="*/ 3591608 h 5704395"/>
                <a:gd name="connsiteX9560" fmla="*/ 655248 w 5719680"/>
                <a:gd name="connsiteY9560" fmla="*/ 3502879 h 5704395"/>
                <a:gd name="connsiteX9561" fmla="*/ 668588 w 5719680"/>
                <a:gd name="connsiteY9561" fmla="*/ 3507949 h 5704395"/>
                <a:gd name="connsiteX9562" fmla="*/ 667953 w 5719680"/>
                <a:gd name="connsiteY9562" fmla="*/ 3508900 h 5704395"/>
                <a:gd name="connsiteX9563" fmla="*/ 650484 w 5719680"/>
                <a:gd name="connsiteY9563" fmla="*/ 3556433 h 5704395"/>
                <a:gd name="connsiteX9564" fmla="*/ 682881 w 5719680"/>
                <a:gd name="connsiteY9564" fmla="*/ 3566890 h 5704395"/>
                <a:gd name="connsiteX9565" fmla="*/ 719407 w 5719680"/>
                <a:gd name="connsiteY9565" fmla="*/ 3578932 h 5704395"/>
                <a:gd name="connsiteX9566" fmla="*/ 719725 w 5719680"/>
                <a:gd name="connsiteY9566" fmla="*/ 3579249 h 5704395"/>
                <a:gd name="connsiteX9567" fmla="*/ 737511 w 5719680"/>
                <a:gd name="connsiteY9567" fmla="*/ 3587488 h 5704395"/>
                <a:gd name="connsiteX9568" fmla="*/ 742911 w 5719680"/>
                <a:gd name="connsiteY9568" fmla="*/ 3564038 h 5704395"/>
                <a:gd name="connsiteX9569" fmla="*/ 780390 w 5719680"/>
                <a:gd name="connsiteY9569" fmla="*/ 3504463 h 5704395"/>
                <a:gd name="connsiteX9570" fmla="*/ 658742 w 5719680"/>
                <a:gd name="connsiteY9570" fmla="*/ 3504147 h 5704395"/>
                <a:gd name="connsiteX9571" fmla="*/ 628886 w 5719680"/>
                <a:gd name="connsiteY9571" fmla="*/ 3426192 h 5704395"/>
                <a:gd name="connsiteX9572" fmla="*/ 733382 w 5719680"/>
                <a:gd name="connsiteY9572" fmla="*/ 3425558 h 5704395"/>
                <a:gd name="connsiteX9573" fmla="*/ 734017 w 5719680"/>
                <a:gd name="connsiteY9573" fmla="*/ 3425558 h 5704395"/>
                <a:gd name="connsiteX9574" fmla="*/ 787060 w 5719680"/>
                <a:gd name="connsiteY9574" fmla="*/ 3427777 h 5704395"/>
                <a:gd name="connsiteX9575" fmla="*/ 759427 w 5719680"/>
                <a:gd name="connsiteY9575" fmla="*/ 3481964 h 5704395"/>
                <a:gd name="connsiteX9576" fmla="*/ 701938 w 5719680"/>
                <a:gd name="connsiteY9576" fmla="*/ 3482281 h 5704395"/>
                <a:gd name="connsiteX9577" fmla="*/ 699397 w 5719680"/>
                <a:gd name="connsiteY9577" fmla="*/ 3482281 h 5704395"/>
                <a:gd name="connsiteX9578" fmla="*/ 665412 w 5719680"/>
                <a:gd name="connsiteY9578" fmla="*/ 3482281 h 5704395"/>
                <a:gd name="connsiteX9579" fmla="*/ 649213 w 5719680"/>
                <a:gd name="connsiteY9579" fmla="*/ 3430629 h 5704395"/>
                <a:gd name="connsiteX9580" fmla="*/ 696538 w 5719680"/>
                <a:gd name="connsiteY9580" fmla="*/ 3426826 h 5704395"/>
                <a:gd name="connsiteX9581" fmla="*/ 697491 w 5719680"/>
                <a:gd name="connsiteY9581" fmla="*/ 3426826 h 5704395"/>
                <a:gd name="connsiteX9582" fmla="*/ 698444 w 5719680"/>
                <a:gd name="connsiteY9582" fmla="*/ 3426509 h 5704395"/>
                <a:gd name="connsiteX9583" fmla="*/ 698444 w 5719680"/>
                <a:gd name="connsiteY9583" fmla="*/ 3426826 h 5704395"/>
                <a:gd name="connsiteX9584" fmla="*/ 733382 w 5719680"/>
                <a:gd name="connsiteY9584" fmla="*/ 3425558 h 5704395"/>
                <a:gd name="connsiteX9585" fmla="*/ 1519171 w 5719680"/>
                <a:gd name="connsiteY9585" fmla="*/ 3423974 h 5704395"/>
                <a:gd name="connsiteX9586" fmla="*/ 1494714 w 5719680"/>
                <a:gd name="connsiteY9586" fmla="*/ 3427460 h 5704395"/>
                <a:gd name="connsiteX9587" fmla="*/ 1500114 w 5719680"/>
                <a:gd name="connsiteY9587" fmla="*/ 3465803 h 5704395"/>
                <a:gd name="connsiteX9588" fmla="*/ 1524571 w 5719680"/>
                <a:gd name="connsiteY9588" fmla="*/ 3462317 h 5704395"/>
                <a:gd name="connsiteX9589" fmla="*/ 1519171 w 5719680"/>
                <a:gd name="connsiteY9589" fmla="*/ 3423974 h 5704395"/>
                <a:gd name="connsiteX9590" fmla="*/ 2544444 w 5719680"/>
                <a:gd name="connsiteY9590" fmla="*/ 3423657 h 5704395"/>
                <a:gd name="connsiteX9591" fmla="*/ 2511094 w 5719680"/>
                <a:gd name="connsiteY9591" fmla="*/ 3488619 h 5704395"/>
                <a:gd name="connsiteX9592" fmla="*/ 2535869 w 5719680"/>
                <a:gd name="connsiteY9592" fmla="*/ 3501295 h 5704395"/>
                <a:gd name="connsiteX9593" fmla="*/ 2569854 w 5719680"/>
                <a:gd name="connsiteY9593" fmla="*/ 3435382 h 5704395"/>
                <a:gd name="connsiteX9594" fmla="*/ 701303 w 5719680"/>
                <a:gd name="connsiteY9594" fmla="*/ 3420488 h 5704395"/>
                <a:gd name="connsiteX9595" fmla="*/ 633967 w 5719680"/>
                <a:gd name="connsiteY9595" fmla="*/ 3424925 h 5704395"/>
                <a:gd name="connsiteX9596" fmla="*/ 662553 w 5719680"/>
                <a:gd name="connsiteY9596" fmla="*/ 3498759 h 5704395"/>
                <a:gd name="connsiteX9597" fmla="*/ 785472 w 5719680"/>
                <a:gd name="connsiteY9597" fmla="*/ 3499393 h 5704395"/>
                <a:gd name="connsiteX9598" fmla="*/ 785472 w 5719680"/>
                <a:gd name="connsiteY9598" fmla="*/ 3495907 h 5704395"/>
                <a:gd name="connsiteX9599" fmla="*/ 786742 w 5719680"/>
                <a:gd name="connsiteY9599" fmla="*/ 3495907 h 5704395"/>
                <a:gd name="connsiteX9600" fmla="*/ 816916 w 5719680"/>
                <a:gd name="connsiteY9600" fmla="*/ 3495907 h 5704395"/>
                <a:gd name="connsiteX9601" fmla="*/ 837561 w 5719680"/>
                <a:gd name="connsiteY9601" fmla="*/ 3495907 h 5704395"/>
                <a:gd name="connsiteX9602" fmla="*/ 840420 w 5719680"/>
                <a:gd name="connsiteY9602" fmla="*/ 3495907 h 5704395"/>
                <a:gd name="connsiteX9603" fmla="*/ 844866 w 5719680"/>
                <a:gd name="connsiteY9603" fmla="*/ 3490203 h 5704395"/>
                <a:gd name="connsiteX9604" fmla="*/ 893780 w 5719680"/>
                <a:gd name="connsiteY9604" fmla="*/ 3437917 h 5704395"/>
                <a:gd name="connsiteX9605" fmla="*/ 780072 w 5719680"/>
                <a:gd name="connsiteY9605" fmla="*/ 3423023 h 5704395"/>
                <a:gd name="connsiteX9606" fmla="*/ 701303 w 5719680"/>
                <a:gd name="connsiteY9606" fmla="*/ 3420488 h 5704395"/>
                <a:gd name="connsiteX9607" fmla="*/ 1522665 w 5719680"/>
                <a:gd name="connsiteY9607" fmla="*/ 3419221 h 5704395"/>
                <a:gd name="connsiteX9608" fmla="*/ 1529335 w 5719680"/>
                <a:gd name="connsiteY9608" fmla="*/ 3465803 h 5704395"/>
                <a:gd name="connsiteX9609" fmla="*/ 1527429 w 5719680"/>
                <a:gd name="connsiteY9609" fmla="*/ 3465803 h 5704395"/>
                <a:gd name="connsiteX9610" fmla="*/ 1496620 w 5719680"/>
                <a:gd name="connsiteY9610" fmla="*/ 3470240 h 5704395"/>
                <a:gd name="connsiteX9611" fmla="*/ 1489950 w 5719680"/>
                <a:gd name="connsiteY9611" fmla="*/ 3423974 h 5704395"/>
                <a:gd name="connsiteX9612" fmla="*/ 1522665 w 5719680"/>
                <a:gd name="connsiteY9612" fmla="*/ 3419221 h 5704395"/>
                <a:gd name="connsiteX9613" fmla="*/ 268706 w 5719680"/>
                <a:gd name="connsiteY9613" fmla="*/ 3419221 h 5704395"/>
                <a:gd name="connsiteX9614" fmla="*/ 256954 w 5719680"/>
                <a:gd name="connsiteY9614" fmla="*/ 3425875 h 5704395"/>
                <a:gd name="connsiteX9615" fmla="*/ 264577 w 5719680"/>
                <a:gd name="connsiteY9615" fmla="*/ 3440452 h 5704395"/>
                <a:gd name="connsiteX9616" fmla="*/ 266482 w 5719680"/>
                <a:gd name="connsiteY9616" fmla="*/ 3444255 h 5704395"/>
                <a:gd name="connsiteX9617" fmla="*/ 262671 w 5719680"/>
                <a:gd name="connsiteY9617" fmla="*/ 3446473 h 5704395"/>
                <a:gd name="connsiteX9618" fmla="*/ 245520 w 5719680"/>
                <a:gd name="connsiteY9618" fmla="*/ 3456296 h 5704395"/>
                <a:gd name="connsiteX9619" fmla="*/ 254413 w 5719680"/>
                <a:gd name="connsiteY9619" fmla="*/ 3470556 h 5704395"/>
                <a:gd name="connsiteX9620" fmla="*/ 256001 w 5719680"/>
                <a:gd name="connsiteY9620" fmla="*/ 3473408 h 5704395"/>
                <a:gd name="connsiteX9621" fmla="*/ 254095 w 5719680"/>
                <a:gd name="connsiteY9621" fmla="*/ 3475627 h 5704395"/>
                <a:gd name="connsiteX9622" fmla="*/ 222333 w 5719680"/>
                <a:gd name="connsiteY9622" fmla="*/ 3515555 h 5704395"/>
                <a:gd name="connsiteX9623" fmla="*/ 235356 w 5719680"/>
                <a:gd name="connsiteY9623" fmla="*/ 3530131 h 5704395"/>
                <a:gd name="connsiteX9624" fmla="*/ 277281 w 5719680"/>
                <a:gd name="connsiteY9624" fmla="*/ 3471824 h 5704395"/>
                <a:gd name="connsiteX9625" fmla="*/ 277599 w 5719680"/>
                <a:gd name="connsiteY9625" fmla="*/ 3471190 h 5704395"/>
                <a:gd name="connsiteX9626" fmla="*/ 278234 w 5719680"/>
                <a:gd name="connsiteY9626" fmla="*/ 3470556 h 5704395"/>
                <a:gd name="connsiteX9627" fmla="*/ 294751 w 5719680"/>
                <a:gd name="connsiteY9627" fmla="*/ 3460416 h 5704395"/>
                <a:gd name="connsiteX9628" fmla="*/ 268706 w 5719680"/>
                <a:gd name="connsiteY9628" fmla="*/ 3419221 h 5704395"/>
                <a:gd name="connsiteX9629" fmla="*/ 2542539 w 5719680"/>
                <a:gd name="connsiteY9629" fmla="*/ 3417636 h 5704395"/>
                <a:gd name="connsiteX9630" fmla="*/ 2544444 w 5719680"/>
                <a:gd name="connsiteY9630" fmla="*/ 3418270 h 5704395"/>
                <a:gd name="connsiteX9631" fmla="*/ 2576206 w 5719680"/>
                <a:gd name="connsiteY9631" fmla="*/ 3433164 h 5704395"/>
                <a:gd name="connsiteX9632" fmla="*/ 2537774 w 5719680"/>
                <a:gd name="connsiteY9632" fmla="*/ 3507632 h 5704395"/>
                <a:gd name="connsiteX9633" fmla="*/ 2504742 w 5719680"/>
                <a:gd name="connsiteY9633" fmla="*/ 3490520 h 5704395"/>
                <a:gd name="connsiteX9634" fmla="*/ 2542539 w 5719680"/>
                <a:gd name="connsiteY9634" fmla="*/ 3417636 h 5704395"/>
                <a:gd name="connsiteX9635" fmla="*/ 1573166 w 5719680"/>
                <a:gd name="connsiteY9635" fmla="*/ 3417002 h 5704395"/>
                <a:gd name="connsiteX9636" fmla="*/ 1548392 w 5719680"/>
                <a:gd name="connsiteY9636" fmla="*/ 3420488 h 5704395"/>
                <a:gd name="connsiteX9637" fmla="*/ 1553792 w 5719680"/>
                <a:gd name="connsiteY9637" fmla="*/ 3458832 h 5704395"/>
                <a:gd name="connsiteX9638" fmla="*/ 1578566 w 5719680"/>
                <a:gd name="connsiteY9638" fmla="*/ 3455346 h 5704395"/>
                <a:gd name="connsiteX9639" fmla="*/ 1573166 w 5719680"/>
                <a:gd name="connsiteY9639" fmla="*/ 3417002 h 5704395"/>
                <a:gd name="connsiteX9640" fmla="*/ 1398794 w 5719680"/>
                <a:gd name="connsiteY9640" fmla="*/ 3413833 h 5704395"/>
                <a:gd name="connsiteX9641" fmla="*/ 1368937 w 5719680"/>
                <a:gd name="connsiteY9641" fmla="*/ 3434748 h 5704395"/>
                <a:gd name="connsiteX9642" fmla="*/ 1420392 w 5719680"/>
                <a:gd name="connsiteY9642" fmla="*/ 3466120 h 5704395"/>
                <a:gd name="connsiteX9643" fmla="*/ 1423885 w 5719680"/>
                <a:gd name="connsiteY9643" fmla="*/ 3464219 h 5704395"/>
                <a:gd name="connsiteX9644" fmla="*/ 1426109 w 5719680"/>
                <a:gd name="connsiteY9644" fmla="*/ 3462951 h 5704395"/>
                <a:gd name="connsiteX9645" fmla="*/ 1398794 w 5719680"/>
                <a:gd name="connsiteY9645" fmla="*/ 3413833 h 5704395"/>
                <a:gd name="connsiteX9646" fmla="*/ 270294 w 5719680"/>
                <a:gd name="connsiteY9646" fmla="*/ 3413200 h 5704395"/>
                <a:gd name="connsiteX9647" fmla="*/ 300785 w 5719680"/>
                <a:gd name="connsiteY9647" fmla="*/ 3461684 h 5704395"/>
                <a:gd name="connsiteX9648" fmla="*/ 280775 w 5719680"/>
                <a:gd name="connsiteY9648" fmla="*/ 3474359 h 5704395"/>
                <a:gd name="connsiteX9649" fmla="*/ 235991 w 5719680"/>
                <a:gd name="connsiteY9649" fmla="*/ 3537420 h 5704395"/>
                <a:gd name="connsiteX9650" fmla="*/ 216616 w 5719680"/>
                <a:gd name="connsiteY9650" fmla="*/ 3515871 h 5704395"/>
                <a:gd name="connsiteX9651" fmla="*/ 250602 w 5719680"/>
                <a:gd name="connsiteY9651" fmla="*/ 3473092 h 5704395"/>
                <a:gd name="connsiteX9652" fmla="*/ 239485 w 5719680"/>
                <a:gd name="connsiteY9652" fmla="*/ 3454712 h 5704395"/>
                <a:gd name="connsiteX9653" fmla="*/ 260448 w 5719680"/>
                <a:gd name="connsiteY9653" fmla="*/ 3442670 h 5704395"/>
                <a:gd name="connsiteX9654" fmla="*/ 251237 w 5719680"/>
                <a:gd name="connsiteY9654" fmla="*/ 3424291 h 5704395"/>
                <a:gd name="connsiteX9655" fmla="*/ 270294 w 5719680"/>
                <a:gd name="connsiteY9655" fmla="*/ 3413200 h 5704395"/>
                <a:gd name="connsiteX9656" fmla="*/ 1576660 w 5719680"/>
                <a:gd name="connsiteY9656" fmla="*/ 3412249 h 5704395"/>
                <a:gd name="connsiteX9657" fmla="*/ 1583012 w 5719680"/>
                <a:gd name="connsiteY9657" fmla="*/ 3458832 h 5704395"/>
                <a:gd name="connsiteX9658" fmla="*/ 1581107 w 5719680"/>
                <a:gd name="connsiteY9658" fmla="*/ 3459148 h 5704395"/>
                <a:gd name="connsiteX9659" fmla="*/ 1550298 w 5719680"/>
                <a:gd name="connsiteY9659" fmla="*/ 3463268 h 5704395"/>
                <a:gd name="connsiteX9660" fmla="*/ 1543945 w 5719680"/>
                <a:gd name="connsiteY9660" fmla="*/ 3417002 h 5704395"/>
                <a:gd name="connsiteX9661" fmla="*/ 4593404 w 5719680"/>
                <a:gd name="connsiteY9661" fmla="*/ 3411298 h 5704395"/>
                <a:gd name="connsiteX9662" fmla="*/ 4523528 w 5719680"/>
                <a:gd name="connsiteY9662" fmla="*/ 3472458 h 5704395"/>
                <a:gd name="connsiteX9663" fmla="*/ 4473979 w 5719680"/>
                <a:gd name="connsiteY9663" fmla="*/ 3416369 h 5704395"/>
                <a:gd name="connsiteX9664" fmla="*/ 4259268 w 5719680"/>
                <a:gd name="connsiteY9664" fmla="*/ 3606818 h 5704395"/>
                <a:gd name="connsiteX9665" fmla="*/ 4315170 w 5719680"/>
                <a:gd name="connsiteY9665" fmla="*/ 3668928 h 5704395"/>
                <a:gd name="connsiteX9666" fmla="*/ 4333274 w 5719680"/>
                <a:gd name="connsiteY9666" fmla="*/ 3652450 h 5704395"/>
                <a:gd name="connsiteX9667" fmla="*/ 4358366 w 5719680"/>
                <a:gd name="connsiteY9667" fmla="*/ 3681604 h 5704395"/>
                <a:gd name="connsiteX9668" fmla="*/ 4401880 w 5719680"/>
                <a:gd name="connsiteY9668" fmla="*/ 3641993 h 5704395"/>
                <a:gd name="connsiteX9669" fmla="*/ 4377740 w 5719680"/>
                <a:gd name="connsiteY9669" fmla="*/ 3614107 h 5704395"/>
                <a:gd name="connsiteX9670" fmla="*/ 4460639 w 5719680"/>
                <a:gd name="connsiteY9670" fmla="*/ 3539638 h 5704395"/>
                <a:gd name="connsiteX9671" fmla="*/ 4493036 w 5719680"/>
                <a:gd name="connsiteY9671" fmla="*/ 3577665 h 5704395"/>
                <a:gd name="connsiteX9672" fmla="*/ 4476520 w 5719680"/>
                <a:gd name="connsiteY9672" fmla="*/ 3594143 h 5704395"/>
                <a:gd name="connsiteX9673" fmla="*/ 4509552 w 5719680"/>
                <a:gd name="connsiteY9673" fmla="*/ 3631535 h 5704395"/>
                <a:gd name="connsiteX9674" fmla="*/ 4430465 w 5719680"/>
                <a:gd name="connsiteY9674" fmla="*/ 3703152 h 5704395"/>
                <a:gd name="connsiteX9675" fmla="*/ 4444123 w 5719680"/>
                <a:gd name="connsiteY9675" fmla="*/ 3718363 h 5704395"/>
                <a:gd name="connsiteX9676" fmla="*/ 4524162 w 5719680"/>
                <a:gd name="connsiteY9676" fmla="*/ 3648014 h 5704395"/>
                <a:gd name="connsiteX9677" fmla="*/ 4554654 w 5719680"/>
                <a:gd name="connsiteY9677" fmla="*/ 3683188 h 5704395"/>
                <a:gd name="connsiteX9678" fmla="*/ 4603885 w 5719680"/>
                <a:gd name="connsiteY9678" fmla="*/ 3639458 h 5704395"/>
                <a:gd name="connsiteX9679" fmla="*/ 4537185 w 5719680"/>
                <a:gd name="connsiteY9679" fmla="*/ 3564355 h 5704395"/>
                <a:gd name="connsiteX9680" fmla="*/ 4645176 w 5719680"/>
                <a:gd name="connsiteY9680" fmla="*/ 3468655 h 5704395"/>
                <a:gd name="connsiteX9681" fmla="*/ 4593404 w 5719680"/>
                <a:gd name="connsiteY9681" fmla="*/ 3411298 h 5704395"/>
                <a:gd name="connsiteX9682" fmla="*/ 1400382 w 5719680"/>
                <a:gd name="connsiteY9682" fmla="*/ 3406862 h 5704395"/>
                <a:gd name="connsiteX9683" fmla="*/ 1430873 w 5719680"/>
                <a:gd name="connsiteY9683" fmla="*/ 3461684 h 5704395"/>
                <a:gd name="connsiteX9684" fmla="*/ 1431826 w 5719680"/>
                <a:gd name="connsiteY9684" fmla="*/ 3463585 h 5704395"/>
                <a:gd name="connsiteX9685" fmla="*/ 1430555 w 5719680"/>
                <a:gd name="connsiteY9685" fmla="*/ 3465803 h 5704395"/>
                <a:gd name="connsiteX9686" fmla="*/ 1421344 w 5719680"/>
                <a:gd name="connsiteY9686" fmla="*/ 3470873 h 5704395"/>
                <a:gd name="connsiteX9687" fmla="*/ 1420392 w 5719680"/>
                <a:gd name="connsiteY9687" fmla="*/ 3471507 h 5704395"/>
                <a:gd name="connsiteX9688" fmla="*/ 1360679 w 5719680"/>
                <a:gd name="connsiteY9688" fmla="*/ 3435065 h 5704395"/>
                <a:gd name="connsiteX9689" fmla="*/ 1400382 w 5719680"/>
                <a:gd name="connsiteY9689" fmla="*/ 3406862 h 5704395"/>
                <a:gd name="connsiteX9690" fmla="*/ 1002405 w 5719680"/>
                <a:gd name="connsiteY9690" fmla="*/ 3405594 h 5704395"/>
                <a:gd name="connsiteX9691" fmla="*/ 955715 w 5719680"/>
                <a:gd name="connsiteY9691" fmla="*/ 3429678 h 5704395"/>
                <a:gd name="connsiteX9692" fmla="*/ 943328 w 5719680"/>
                <a:gd name="connsiteY9692" fmla="*/ 3440135 h 5704395"/>
                <a:gd name="connsiteX9693" fmla="*/ 942375 w 5719680"/>
                <a:gd name="connsiteY9693" fmla="*/ 3441086 h 5704395"/>
                <a:gd name="connsiteX9694" fmla="*/ 993194 w 5719680"/>
                <a:gd name="connsiteY9694" fmla="*/ 3461684 h 5704395"/>
                <a:gd name="connsiteX9695" fmla="*/ 1026544 w 5719680"/>
                <a:gd name="connsiteY9695" fmla="*/ 3507632 h 5704395"/>
                <a:gd name="connsiteX9696" fmla="*/ 1054812 w 5719680"/>
                <a:gd name="connsiteY9696" fmla="*/ 3491788 h 5704395"/>
                <a:gd name="connsiteX9697" fmla="*/ 1055130 w 5719680"/>
                <a:gd name="connsiteY9697" fmla="*/ 3471824 h 5704395"/>
                <a:gd name="connsiteX9698" fmla="*/ 1002405 w 5719680"/>
                <a:gd name="connsiteY9698" fmla="*/ 3405594 h 5704395"/>
                <a:gd name="connsiteX9699" fmla="*/ 4593721 w 5719680"/>
                <a:gd name="connsiteY9699" fmla="*/ 3404644 h 5704395"/>
                <a:gd name="connsiteX9700" fmla="*/ 4651846 w 5719680"/>
                <a:gd name="connsiteY9700" fmla="*/ 3468972 h 5704395"/>
                <a:gd name="connsiteX9701" fmla="*/ 4543855 w 5719680"/>
                <a:gd name="connsiteY9701" fmla="*/ 3564672 h 5704395"/>
                <a:gd name="connsiteX9702" fmla="*/ 4610555 w 5719680"/>
                <a:gd name="connsiteY9702" fmla="*/ 3640091 h 5704395"/>
                <a:gd name="connsiteX9703" fmla="*/ 4554336 w 5719680"/>
                <a:gd name="connsiteY9703" fmla="*/ 3689843 h 5704395"/>
                <a:gd name="connsiteX9704" fmla="*/ 4523845 w 5719680"/>
                <a:gd name="connsiteY9704" fmla="*/ 3654668 h 5704395"/>
                <a:gd name="connsiteX9705" fmla="*/ 4443488 w 5719680"/>
                <a:gd name="connsiteY9705" fmla="*/ 3725017 h 5704395"/>
                <a:gd name="connsiteX9706" fmla="*/ 4424113 w 5719680"/>
                <a:gd name="connsiteY9706" fmla="*/ 3702835 h 5704395"/>
                <a:gd name="connsiteX9707" fmla="*/ 4503200 w 5719680"/>
                <a:gd name="connsiteY9707" fmla="*/ 3631219 h 5704395"/>
                <a:gd name="connsiteX9708" fmla="*/ 4469850 w 5719680"/>
                <a:gd name="connsiteY9708" fmla="*/ 3593826 h 5704395"/>
                <a:gd name="connsiteX9709" fmla="*/ 4486684 w 5719680"/>
                <a:gd name="connsiteY9709" fmla="*/ 3577348 h 5704395"/>
                <a:gd name="connsiteX9710" fmla="*/ 4460004 w 5719680"/>
                <a:gd name="connsiteY9710" fmla="*/ 3546293 h 5704395"/>
                <a:gd name="connsiteX9711" fmla="*/ 4384410 w 5719680"/>
                <a:gd name="connsiteY9711" fmla="*/ 3614424 h 5704395"/>
                <a:gd name="connsiteX9712" fmla="*/ 4408550 w 5719680"/>
                <a:gd name="connsiteY9712" fmla="*/ 3642310 h 5704395"/>
                <a:gd name="connsiteX9713" fmla="*/ 4358048 w 5719680"/>
                <a:gd name="connsiteY9713" fmla="*/ 3688258 h 5704395"/>
                <a:gd name="connsiteX9714" fmla="*/ 4332956 w 5719680"/>
                <a:gd name="connsiteY9714" fmla="*/ 3659422 h 5704395"/>
                <a:gd name="connsiteX9715" fmla="*/ 4314852 w 5719680"/>
                <a:gd name="connsiteY9715" fmla="*/ 3675583 h 5704395"/>
                <a:gd name="connsiteX9716" fmla="*/ 4252598 w 5719680"/>
                <a:gd name="connsiteY9716" fmla="*/ 3606501 h 5704395"/>
                <a:gd name="connsiteX9717" fmla="*/ 4472708 w 5719680"/>
                <a:gd name="connsiteY9717" fmla="*/ 3411298 h 5704395"/>
                <a:gd name="connsiteX9718" fmla="*/ 4474614 w 5719680"/>
                <a:gd name="connsiteY9718" fmla="*/ 3409714 h 5704395"/>
                <a:gd name="connsiteX9719" fmla="*/ 4523845 w 5719680"/>
                <a:gd name="connsiteY9719" fmla="*/ 3466120 h 5704395"/>
                <a:gd name="connsiteX9720" fmla="*/ 4593721 w 5719680"/>
                <a:gd name="connsiteY9720" fmla="*/ 3404644 h 5704395"/>
                <a:gd name="connsiteX9721" fmla="*/ 1003993 w 5719680"/>
                <a:gd name="connsiteY9721" fmla="*/ 3399890 h 5704395"/>
                <a:gd name="connsiteX9722" fmla="*/ 1004946 w 5719680"/>
                <a:gd name="connsiteY9722" fmla="*/ 3401158 h 5704395"/>
                <a:gd name="connsiteX9723" fmla="*/ 1059894 w 5719680"/>
                <a:gd name="connsiteY9723" fmla="*/ 3470240 h 5704395"/>
                <a:gd name="connsiteX9724" fmla="*/ 1059259 w 5719680"/>
                <a:gd name="connsiteY9724" fmla="*/ 3494640 h 5704395"/>
                <a:gd name="connsiteX9725" fmla="*/ 1025274 w 5719680"/>
                <a:gd name="connsiteY9725" fmla="*/ 3513653 h 5704395"/>
                <a:gd name="connsiteX9726" fmla="*/ 990018 w 5719680"/>
                <a:gd name="connsiteY9726" fmla="*/ 3465486 h 5704395"/>
                <a:gd name="connsiteX9727" fmla="*/ 936023 w 5719680"/>
                <a:gd name="connsiteY9727" fmla="*/ 3443621 h 5704395"/>
                <a:gd name="connsiteX9728" fmla="*/ 936658 w 5719680"/>
                <a:gd name="connsiteY9728" fmla="*/ 3441403 h 5704395"/>
                <a:gd name="connsiteX9729" fmla="*/ 953174 w 5719680"/>
                <a:gd name="connsiteY9729" fmla="*/ 3425875 h 5704395"/>
                <a:gd name="connsiteX9730" fmla="*/ 1002088 w 5719680"/>
                <a:gd name="connsiteY9730" fmla="*/ 3400524 h 5704395"/>
                <a:gd name="connsiteX9731" fmla="*/ 1003993 w 5719680"/>
                <a:gd name="connsiteY9731" fmla="*/ 3399890 h 5704395"/>
                <a:gd name="connsiteX9732" fmla="*/ 1434684 w 5719680"/>
                <a:gd name="connsiteY9732" fmla="*/ 3395454 h 5704395"/>
                <a:gd name="connsiteX9733" fmla="*/ 1385771 w 5719680"/>
                <a:gd name="connsiteY9733" fmla="*/ 3400207 h 5704395"/>
                <a:gd name="connsiteX9734" fmla="*/ 1360997 w 5719680"/>
                <a:gd name="connsiteY9734" fmla="*/ 3417636 h 5704395"/>
                <a:gd name="connsiteX9735" fmla="*/ 1339716 w 5719680"/>
                <a:gd name="connsiteY9735" fmla="*/ 3469289 h 5704395"/>
                <a:gd name="connsiteX9736" fmla="*/ 1423568 w 5719680"/>
                <a:gd name="connsiteY9736" fmla="*/ 3492739 h 5704395"/>
                <a:gd name="connsiteX9737" fmla="*/ 1461047 w 5719680"/>
                <a:gd name="connsiteY9737" fmla="*/ 3470873 h 5704395"/>
                <a:gd name="connsiteX9738" fmla="*/ 1434684 w 5719680"/>
                <a:gd name="connsiteY9738" fmla="*/ 3395454 h 5704395"/>
                <a:gd name="connsiteX9739" fmla="*/ 1006534 w 5719680"/>
                <a:gd name="connsiteY9739" fmla="*/ 3391651 h 5704395"/>
                <a:gd name="connsiteX9740" fmla="*/ 973820 w 5719680"/>
                <a:gd name="connsiteY9740" fmla="*/ 3404961 h 5704395"/>
                <a:gd name="connsiteX9741" fmla="*/ 924906 w 5719680"/>
                <a:gd name="connsiteY9741" fmla="*/ 3438234 h 5704395"/>
                <a:gd name="connsiteX9742" fmla="*/ 919824 w 5719680"/>
                <a:gd name="connsiteY9742" fmla="*/ 3443304 h 5704395"/>
                <a:gd name="connsiteX9743" fmla="*/ 918236 w 5719680"/>
                <a:gd name="connsiteY9743" fmla="*/ 3444889 h 5704395"/>
                <a:gd name="connsiteX9744" fmla="*/ 988430 w 5719680"/>
                <a:gd name="connsiteY9744" fmla="*/ 3471190 h 5704395"/>
                <a:gd name="connsiteX9745" fmla="*/ 1024003 w 5719680"/>
                <a:gd name="connsiteY9745" fmla="*/ 3523160 h 5704395"/>
                <a:gd name="connsiteX9746" fmla="*/ 1079587 w 5719680"/>
                <a:gd name="connsiteY9746" fmla="*/ 3488302 h 5704395"/>
                <a:gd name="connsiteX9747" fmla="*/ 1079587 w 5719680"/>
                <a:gd name="connsiteY9747" fmla="*/ 3487985 h 5704395"/>
                <a:gd name="connsiteX9748" fmla="*/ 2259858 w 5719680"/>
                <a:gd name="connsiteY9748" fmla="*/ 3391334 h 5704395"/>
                <a:gd name="connsiteX9749" fmla="*/ 2246200 w 5719680"/>
                <a:gd name="connsiteY9749" fmla="*/ 3439818 h 5704395"/>
                <a:gd name="connsiteX9750" fmla="*/ 2262399 w 5719680"/>
                <a:gd name="connsiteY9750" fmla="*/ 3444255 h 5704395"/>
                <a:gd name="connsiteX9751" fmla="*/ 2260811 w 5719680"/>
                <a:gd name="connsiteY9751" fmla="*/ 3448691 h 5704395"/>
                <a:gd name="connsiteX9752" fmla="*/ 2287808 w 5719680"/>
                <a:gd name="connsiteY9752" fmla="*/ 3456613 h 5704395"/>
                <a:gd name="connsiteX9753" fmla="*/ 2296066 w 5719680"/>
                <a:gd name="connsiteY9753" fmla="*/ 3427143 h 5704395"/>
                <a:gd name="connsiteX9754" fmla="*/ 2278280 w 5719680"/>
                <a:gd name="connsiteY9754" fmla="*/ 3421756 h 5704395"/>
                <a:gd name="connsiteX9755" fmla="*/ 2285268 w 5719680"/>
                <a:gd name="connsiteY9755" fmla="*/ 3398306 h 5704395"/>
                <a:gd name="connsiteX9756" fmla="*/ 2259858 w 5719680"/>
                <a:gd name="connsiteY9756" fmla="*/ 3391334 h 5704395"/>
                <a:gd name="connsiteX9757" fmla="*/ 1437861 w 5719680"/>
                <a:gd name="connsiteY9757" fmla="*/ 3390384 h 5704395"/>
                <a:gd name="connsiteX9758" fmla="*/ 1466764 w 5719680"/>
                <a:gd name="connsiteY9758" fmla="*/ 3472775 h 5704395"/>
                <a:gd name="connsiteX9759" fmla="*/ 1465176 w 5719680"/>
                <a:gd name="connsiteY9759" fmla="*/ 3474042 h 5704395"/>
                <a:gd name="connsiteX9760" fmla="*/ 1424203 w 5719680"/>
                <a:gd name="connsiteY9760" fmla="*/ 3497492 h 5704395"/>
                <a:gd name="connsiteX9761" fmla="*/ 1333364 w 5719680"/>
                <a:gd name="connsiteY9761" fmla="*/ 3472458 h 5704395"/>
                <a:gd name="connsiteX9762" fmla="*/ 1357185 w 5719680"/>
                <a:gd name="connsiteY9762" fmla="*/ 3414467 h 5704395"/>
                <a:gd name="connsiteX9763" fmla="*/ 1384183 w 5719680"/>
                <a:gd name="connsiteY9763" fmla="*/ 3395771 h 5704395"/>
                <a:gd name="connsiteX9764" fmla="*/ 1694814 w 5719680"/>
                <a:gd name="connsiteY9764" fmla="*/ 3390067 h 5704395"/>
                <a:gd name="connsiteX9765" fmla="*/ 1637643 w 5719680"/>
                <a:gd name="connsiteY9765" fmla="*/ 3401475 h 5704395"/>
                <a:gd name="connsiteX9766" fmla="*/ 1641137 w 5719680"/>
                <a:gd name="connsiteY9766" fmla="*/ 3420171 h 5704395"/>
                <a:gd name="connsiteX9767" fmla="*/ 1655747 w 5719680"/>
                <a:gd name="connsiteY9767" fmla="*/ 3417319 h 5704395"/>
                <a:gd name="connsiteX9768" fmla="*/ 1658606 w 5719680"/>
                <a:gd name="connsiteY9768" fmla="*/ 3430629 h 5704395"/>
                <a:gd name="connsiteX9769" fmla="*/ 1686874 w 5719680"/>
                <a:gd name="connsiteY9769" fmla="*/ 3424925 h 5704395"/>
                <a:gd name="connsiteX9770" fmla="*/ 1684015 w 5719680"/>
                <a:gd name="connsiteY9770" fmla="*/ 3411615 h 5704395"/>
                <a:gd name="connsiteX9771" fmla="*/ 1698626 w 5719680"/>
                <a:gd name="connsiteY9771" fmla="*/ 3408763 h 5704395"/>
                <a:gd name="connsiteX9772" fmla="*/ 1694814 w 5719680"/>
                <a:gd name="connsiteY9772" fmla="*/ 3390067 h 5704395"/>
                <a:gd name="connsiteX9773" fmla="*/ 2257000 w 5719680"/>
                <a:gd name="connsiteY9773" fmla="*/ 3385947 h 5704395"/>
                <a:gd name="connsiteX9774" fmla="*/ 2290350 w 5719680"/>
                <a:gd name="connsiteY9774" fmla="*/ 3395454 h 5704395"/>
                <a:gd name="connsiteX9775" fmla="*/ 2283680 w 5719680"/>
                <a:gd name="connsiteY9775" fmla="*/ 3418904 h 5704395"/>
                <a:gd name="connsiteX9776" fmla="*/ 2301148 w 5719680"/>
                <a:gd name="connsiteY9776" fmla="*/ 3424608 h 5704395"/>
                <a:gd name="connsiteX9777" fmla="*/ 2300513 w 5719680"/>
                <a:gd name="connsiteY9777" fmla="*/ 3426509 h 5704395"/>
                <a:gd name="connsiteX9778" fmla="*/ 2290667 w 5719680"/>
                <a:gd name="connsiteY9778" fmla="*/ 3462000 h 5704395"/>
                <a:gd name="connsiteX9779" fmla="*/ 2255729 w 5719680"/>
                <a:gd name="connsiteY9779" fmla="*/ 3451543 h 5704395"/>
                <a:gd name="connsiteX9780" fmla="*/ 2257000 w 5719680"/>
                <a:gd name="connsiteY9780" fmla="*/ 3447107 h 5704395"/>
                <a:gd name="connsiteX9781" fmla="*/ 2241118 w 5719680"/>
                <a:gd name="connsiteY9781" fmla="*/ 3442670 h 5704395"/>
                <a:gd name="connsiteX9782" fmla="*/ 2257000 w 5719680"/>
                <a:gd name="connsiteY9782" fmla="*/ 3385947 h 5704395"/>
                <a:gd name="connsiteX9783" fmla="*/ 1309225 w 5719680"/>
                <a:gd name="connsiteY9783" fmla="*/ 3385314 h 5704395"/>
                <a:gd name="connsiteX9784" fmla="*/ 1281275 w 5719680"/>
                <a:gd name="connsiteY9784" fmla="*/ 3395454 h 5704395"/>
                <a:gd name="connsiteX9785" fmla="*/ 1284133 w 5719680"/>
                <a:gd name="connsiteY9785" fmla="*/ 3413833 h 5704395"/>
                <a:gd name="connsiteX9786" fmla="*/ 1206952 w 5719680"/>
                <a:gd name="connsiteY9786" fmla="*/ 3430629 h 5704395"/>
                <a:gd name="connsiteX9787" fmla="*/ 1188212 w 5719680"/>
                <a:gd name="connsiteY9787" fmla="*/ 3419221 h 5704395"/>
                <a:gd name="connsiteX9788" fmla="*/ 1165661 w 5719680"/>
                <a:gd name="connsiteY9788" fmla="*/ 3430312 h 5704395"/>
                <a:gd name="connsiteX9789" fmla="*/ 1174872 w 5719680"/>
                <a:gd name="connsiteY9789" fmla="*/ 3442353 h 5704395"/>
                <a:gd name="connsiteX9790" fmla="*/ 1123100 w 5719680"/>
                <a:gd name="connsiteY9790" fmla="*/ 3466754 h 5704395"/>
                <a:gd name="connsiteX9791" fmla="*/ 1159944 w 5719680"/>
                <a:gd name="connsiteY9791" fmla="*/ 3510801 h 5704395"/>
                <a:gd name="connsiteX9792" fmla="*/ 1208540 w 5719680"/>
                <a:gd name="connsiteY9792" fmla="*/ 3496541 h 5704395"/>
                <a:gd name="connsiteX9793" fmla="*/ 1206317 w 5719680"/>
                <a:gd name="connsiteY9793" fmla="*/ 3472141 h 5704395"/>
                <a:gd name="connsiteX9794" fmla="*/ 1277781 w 5719680"/>
                <a:gd name="connsiteY9794" fmla="*/ 3456930 h 5704395"/>
                <a:gd name="connsiteX9795" fmla="*/ 1281275 w 5719680"/>
                <a:gd name="connsiteY9795" fmla="*/ 3474042 h 5704395"/>
                <a:gd name="connsiteX9796" fmla="*/ 1295567 w 5719680"/>
                <a:gd name="connsiteY9796" fmla="*/ 3470556 h 5704395"/>
                <a:gd name="connsiteX9797" fmla="*/ 1324153 w 5719680"/>
                <a:gd name="connsiteY9797" fmla="*/ 3399574 h 5704395"/>
                <a:gd name="connsiteX9798" fmla="*/ 1309225 w 5719680"/>
                <a:gd name="connsiteY9798" fmla="*/ 3385314 h 5704395"/>
                <a:gd name="connsiteX9799" fmla="*/ 1698308 w 5719680"/>
                <a:gd name="connsiteY9799" fmla="*/ 3384997 h 5704395"/>
                <a:gd name="connsiteX9800" fmla="*/ 1698626 w 5719680"/>
                <a:gd name="connsiteY9800" fmla="*/ 3387215 h 5704395"/>
                <a:gd name="connsiteX9801" fmla="*/ 1703708 w 5719680"/>
                <a:gd name="connsiteY9801" fmla="*/ 3411932 h 5704395"/>
                <a:gd name="connsiteX9802" fmla="*/ 1689097 w 5719680"/>
                <a:gd name="connsiteY9802" fmla="*/ 3414784 h 5704395"/>
                <a:gd name="connsiteX9803" fmla="*/ 1691638 w 5719680"/>
                <a:gd name="connsiteY9803" fmla="*/ 3428093 h 5704395"/>
                <a:gd name="connsiteX9804" fmla="*/ 1655430 w 5719680"/>
                <a:gd name="connsiteY9804" fmla="*/ 3435382 h 5704395"/>
                <a:gd name="connsiteX9805" fmla="*/ 1652571 w 5719680"/>
                <a:gd name="connsiteY9805" fmla="*/ 3422073 h 5704395"/>
                <a:gd name="connsiteX9806" fmla="*/ 1637961 w 5719680"/>
                <a:gd name="connsiteY9806" fmla="*/ 3424925 h 5704395"/>
                <a:gd name="connsiteX9807" fmla="*/ 1632561 w 5719680"/>
                <a:gd name="connsiteY9807" fmla="*/ 3398306 h 5704395"/>
                <a:gd name="connsiteX9808" fmla="*/ 1698308 w 5719680"/>
                <a:gd name="connsiteY9808" fmla="*/ 3384997 h 5704395"/>
                <a:gd name="connsiteX9809" fmla="*/ 95921 w 5719680"/>
                <a:gd name="connsiteY9809" fmla="*/ 3380877 h 5704395"/>
                <a:gd name="connsiteX9810" fmla="*/ 59077 w 5719680"/>
                <a:gd name="connsiteY9810" fmla="*/ 3424925 h 5704395"/>
                <a:gd name="connsiteX9811" fmla="*/ 63206 w 5719680"/>
                <a:gd name="connsiteY9811" fmla="*/ 3439501 h 5704395"/>
                <a:gd name="connsiteX9812" fmla="*/ 114343 w 5719680"/>
                <a:gd name="connsiteY9812" fmla="*/ 3418587 h 5704395"/>
                <a:gd name="connsiteX9813" fmla="*/ 95921 w 5719680"/>
                <a:gd name="connsiteY9813" fmla="*/ 3380877 h 5704395"/>
                <a:gd name="connsiteX9814" fmla="*/ 1310496 w 5719680"/>
                <a:gd name="connsiteY9814" fmla="*/ 3379926 h 5704395"/>
                <a:gd name="connsiteX9815" fmla="*/ 1329553 w 5719680"/>
                <a:gd name="connsiteY9815" fmla="*/ 3398306 h 5704395"/>
                <a:gd name="connsiteX9816" fmla="*/ 1329235 w 5719680"/>
                <a:gd name="connsiteY9816" fmla="*/ 3399890 h 5704395"/>
                <a:gd name="connsiteX9817" fmla="*/ 1299061 w 5719680"/>
                <a:gd name="connsiteY9817" fmla="*/ 3474676 h 5704395"/>
                <a:gd name="connsiteX9818" fmla="*/ 1277463 w 5719680"/>
                <a:gd name="connsiteY9818" fmla="*/ 3479746 h 5704395"/>
                <a:gd name="connsiteX9819" fmla="*/ 1274287 w 5719680"/>
                <a:gd name="connsiteY9819" fmla="*/ 3462317 h 5704395"/>
                <a:gd name="connsiteX9820" fmla="*/ 1211398 w 5719680"/>
                <a:gd name="connsiteY9820" fmla="*/ 3475627 h 5704395"/>
                <a:gd name="connsiteX9821" fmla="*/ 1213622 w 5719680"/>
                <a:gd name="connsiteY9821" fmla="*/ 3500027 h 5704395"/>
                <a:gd name="connsiteX9822" fmla="*/ 1158038 w 5719680"/>
                <a:gd name="connsiteY9822" fmla="*/ 3516188 h 5704395"/>
                <a:gd name="connsiteX9823" fmla="*/ 1115795 w 5719680"/>
                <a:gd name="connsiteY9823" fmla="*/ 3465169 h 5704395"/>
                <a:gd name="connsiteX9824" fmla="*/ 1167567 w 5719680"/>
                <a:gd name="connsiteY9824" fmla="*/ 3440769 h 5704395"/>
                <a:gd name="connsiteX9825" fmla="*/ 1158356 w 5719680"/>
                <a:gd name="connsiteY9825" fmla="*/ 3428727 h 5704395"/>
                <a:gd name="connsiteX9826" fmla="*/ 1188530 w 5719680"/>
                <a:gd name="connsiteY9826" fmla="*/ 3413833 h 5704395"/>
                <a:gd name="connsiteX9827" fmla="*/ 1207587 w 5719680"/>
                <a:gd name="connsiteY9827" fmla="*/ 3425558 h 5704395"/>
                <a:gd name="connsiteX9828" fmla="*/ 1278734 w 5719680"/>
                <a:gd name="connsiteY9828" fmla="*/ 3410348 h 5704395"/>
                <a:gd name="connsiteX9829" fmla="*/ 1276193 w 5719680"/>
                <a:gd name="connsiteY9829" fmla="*/ 3392285 h 5704395"/>
                <a:gd name="connsiteX9830" fmla="*/ 1450565 w 5719680"/>
                <a:gd name="connsiteY9830" fmla="*/ 3372004 h 5704395"/>
                <a:gd name="connsiteX9831" fmla="*/ 1405781 w 5719680"/>
                <a:gd name="connsiteY9831" fmla="*/ 3376124 h 5704395"/>
                <a:gd name="connsiteX9832" fmla="*/ 1381007 w 5719680"/>
                <a:gd name="connsiteY9832" fmla="*/ 3378342 h 5704395"/>
                <a:gd name="connsiteX9833" fmla="*/ 1373702 w 5719680"/>
                <a:gd name="connsiteY9833" fmla="*/ 3378976 h 5704395"/>
                <a:gd name="connsiteX9834" fmla="*/ 1371796 w 5719680"/>
                <a:gd name="connsiteY9834" fmla="*/ 3379293 h 5704395"/>
                <a:gd name="connsiteX9835" fmla="*/ 1371161 w 5719680"/>
                <a:gd name="connsiteY9835" fmla="*/ 3379293 h 5704395"/>
                <a:gd name="connsiteX9836" fmla="*/ 1347022 w 5719680"/>
                <a:gd name="connsiteY9836" fmla="*/ 3389433 h 5704395"/>
                <a:gd name="connsiteX9837" fmla="*/ 1313672 w 5719680"/>
                <a:gd name="connsiteY9837" fmla="*/ 3483866 h 5704395"/>
                <a:gd name="connsiteX9838" fmla="*/ 1438496 w 5719680"/>
                <a:gd name="connsiteY9838" fmla="*/ 3506999 h 5704395"/>
                <a:gd name="connsiteX9839" fmla="*/ 1447389 w 5719680"/>
                <a:gd name="connsiteY9839" fmla="*/ 3495591 h 5704395"/>
                <a:gd name="connsiteX9840" fmla="*/ 1466764 w 5719680"/>
                <a:gd name="connsiteY9840" fmla="*/ 3483549 h 5704395"/>
                <a:gd name="connsiteX9841" fmla="*/ 1477245 w 5719680"/>
                <a:gd name="connsiteY9841" fmla="*/ 3481014 h 5704395"/>
                <a:gd name="connsiteX9842" fmla="*/ 1486774 w 5719680"/>
                <a:gd name="connsiteY9842" fmla="*/ 3479429 h 5704395"/>
                <a:gd name="connsiteX9843" fmla="*/ 2354191 w 5719680"/>
                <a:gd name="connsiteY9843" fmla="*/ 3369152 h 5704395"/>
                <a:gd name="connsiteX9844" fmla="*/ 2340851 w 5719680"/>
                <a:gd name="connsiteY9844" fmla="*/ 3417953 h 5704395"/>
                <a:gd name="connsiteX9845" fmla="*/ 2356732 w 5719680"/>
                <a:gd name="connsiteY9845" fmla="*/ 3422389 h 5704395"/>
                <a:gd name="connsiteX9846" fmla="*/ 2355461 w 5719680"/>
                <a:gd name="connsiteY9846" fmla="*/ 3426826 h 5704395"/>
                <a:gd name="connsiteX9847" fmla="*/ 2382459 w 5719680"/>
                <a:gd name="connsiteY9847" fmla="*/ 3434748 h 5704395"/>
                <a:gd name="connsiteX9848" fmla="*/ 2390399 w 5719680"/>
                <a:gd name="connsiteY9848" fmla="*/ 3405278 h 5704395"/>
                <a:gd name="connsiteX9849" fmla="*/ 2372930 w 5719680"/>
                <a:gd name="connsiteY9849" fmla="*/ 3399574 h 5704395"/>
                <a:gd name="connsiteX9850" fmla="*/ 2379918 w 5719680"/>
                <a:gd name="connsiteY9850" fmla="*/ 3376441 h 5704395"/>
                <a:gd name="connsiteX9851" fmla="*/ 2354191 w 5719680"/>
                <a:gd name="connsiteY9851" fmla="*/ 3369152 h 5704395"/>
                <a:gd name="connsiteX9852" fmla="*/ 2532057 w 5719680"/>
                <a:gd name="connsiteY9852" fmla="*/ 3367251 h 5704395"/>
                <a:gd name="connsiteX9853" fmla="*/ 2457417 w 5719680"/>
                <a:gd name="connsiteY9853" fmla="*/ 3512069 h 5704395"/>
                <a:gd name="connsiteX9854" fmla="*/ 2486003 w 5719680"/>
                <a:gd name="connsiteY9854" fmla="*/ 3526962 h 5704395"/>
                <a:gd name="connsiteX9855" fmla="*/ 2495531 w 5719680"/>
                <a:gd name="connsiteY9855" fmla="*/ 3508583 h 5704395"/>
                <a:gd name="connsiteX9856" fmla="*/ 2529516 w 5719680"/>
                <a:gd name="connsiteY9856" fmla="*/ 3526012 h 5704395"/>
                <a:gd name="connsiteX9857" fmla="*/ 2519988 w 5719680"/>
                <a:gd name="connsiteY9857" fmla="*/ 3544074 h 5704395"/>
                <a:gd name="connsiteX9858" fmla="*/ 2548574 w 5719680"/>
                <a:gd name="connsiteY9858" fmla="*/ 3558651 h 5704395"/>
                <a:gd name="connsiteX9859" fmla="*/ 2623532 w 5719680"/>
                <a:gd name="connsiteY9859" fmla="*/ 3413517 h 5704395"/>
                <a:gd name="connsiteX9860" fmla="*/ 2594628 w 5719680"/>
                <a:gd name="connsiteY9860" fmla="*/ 3398940 h 5704395"/>
                <a:gd name="connsiteX9861" fmla="*/ 2585100 w 5719680"/>
                <a:gd name="connsiteY9861" fmla="*/ 3417002 h 5704395"/>
                <a:gd name="connsiteX9862" fmla="*/ 2550797 w 5719680"/>
                <a:gd name="connsiteY9862" fmla="*/ 3399574 h 5704395"/>
                <a:gd name="connsiteX9863" fmla="*/ 2560326 w 5719680"/>
                <a:gd name="connsiteY9863" fmla="*/ 3381194 h 5704395"/>
                <a:gd name="connsiteX9864" fmla="*/ 2532057 w 5719680"/>
                <a:gd name="connsiteY9864" fmla="*/ 3367251 h 5704395"/>
                <a:gd name="connsiteX9865" fmla="*/ 715278 w 5719680"/>
                <a:gd name="connsiteY9865" fmla="*/ 3366934 h 5704395"/>
                <a:gd name="connsiteX9866" fmla="*/ 708925 w 5719680"/>
                <a:gd name="connsiteY9866" fmla="*/ 3398623 h 5704395"/>
                <a:gd name="connsiteX9867" fmla="*/ 781343 w 5719680"/>
                <a:gd name="connsiteY9867" fmla="*/ 3401158 h 5704395"/>
                <a:gd name="connsiteX9868" fmla="*/ 815645 w 5719680"/>
                <a:gd name="connsiteY9868" fmla="*/ 3404010 h 5704395"/>
                <a:gd name="connsiteX9869" fmla="*/ 803893 w 5719680"/>
                <a:gd name="connsiteY9869" fmla="*/ 3385630 h 5704395"/>
                <a:gd name="connsiteX9870" fmla="*/ 742275 w 5719680"/>
                <a:gd name="connsiteY9870" fmla="*/ 3374539 h 5704395"/>
                <a:gd name="connsiteX9871" fmla="*/ 715278 w 5719680"/>
                <a:gd name="connsiteY9871" fmla="*/ 3366934 h 5704395"/>
                <a:gd name="connsiteX9872" fmla="*/ 1525841 w 5719680"/>
                <a:gd name="connsiteY9872" fmla="*/ 3365350 h 5704395"/>
                <a:gd name="connsiteX9873" fmla="*/ 1480422 w 5719680"/>
                <a:gd name="connsiteY9873" fmla="*/ 3369469 h 5704395"/>
                <a:gd name="connsiteX9874" fmla="*/ 1455012 w 5719680"/>
                <a:gd name="connsiteY9874" fmla="*/ 3371687 h 5704395"/>
                <a:gd name="connsiteX9875" fmla="*/ 1491221 w 5719680"/>
                <a:gd name="connsiteY9875" fmla="*/ 3478479 h 5704395"/>
                <a:gd name="connsiteX9876" fmla="*/ 1543945 w 5719680"/>
                <a:gd name="connsiteY9876" fmla="*/ 3469606 h 5704395"/>
                <a:gd name="connsiteX9877" fmla="*/ 110214 w 5719680"/>
                <a:gd name="connsiteY9877" fmla="*/ 3364716 h 5704395"/>
                <a:gd name="connsiteX9878" fmla="*/ 109579 w 5719680"/>
                <a:gd name="connsiteY9878" fmla="*/ 3365033 h 5704395"/>
                <a:gd name="connsiteX9879" fmla="*/ 97509 w 5719680"/>
                <a:gd name="connsiteY9879" fmla="*/ 3373589 h 5704395"/>
                <a:gd name="connsiteX9880" fmla="*/ 120695 w 5719680"/>
                <a:gd name="connsiteY9880" fmla="*/ 3421122 h 5704395"/>
                <a:gd name="connsiteX9881" fmla="*/ 118472 w 5719680"/>
                <a:gd name="connsiteY9881" fmla="*/ 3422073 h 5704395"/>
                <a:gd name="connsiteX9882" fmla="*/ 60030 w 5719680"/>
                <a:gd name="connsiteY9882" fmla="*/ 3445839 h 5704395"/>
                <a:gd name="connsiteX9883" fmla="*/ 53995 w 5719680"/>
                <a:gd name="connsiteY9883" fmla="*/ 3423974 h 5704395"/>
                <a:gd name="connsiteX9884" fmla="*/ 93698 w 5719680"/>
                <a:gd name="connsiteY9884" fmla="*/ 3376124 h 5704395"/>
                <a:gd name="connsiteX9885" fmla="*/ 60665 w 5719680"/>
                <a:gd name="connsiteY9885" fmla="*/ 3399257 h 5704395"/>
                <a:gd name="connsiteX9886" fmla="*/ 26998 w 5719680"/>
                <a:gd name="connsiteY9886" fmla="*/ 3423023 h 5704395"/>
                <a:gd name="connsiteX9887" fmla="*/ 10799 w 5719680"/>
                <a:gd name="connsiteY9887" fmla="*/ 3434748 h 5704395"/>
                <a:gd name="connsiteX9888" fmla="*/ 10799 w 5719680"/>
                <a:gd name="connsiteY9888" fmla="*/ 3435065 h 5704395"/>
                <a:gd name="connsiteX9889" fmla="*/ 14611 w 5719680"/>
                <a:gd name="connsiteY9889" fmla="*/ 3440135 h 5704395"/>
                <a:gd name="connsiteX9890" fmla="*/ 37479 w 5719680"/>
                <a:gd name="connsiteY9890" fmla="*/ 3473725 h 5704395"/>
                <a:gd name="connsiteX9891" fmla="*/ 137529 w 5719680"/>
                <a:gd name="connsiteY9891" fmla="*/ 3429361 h 5704395"/>
                <a:gd name="connsiteX9892" fmla="*/ 110214 w 5719680"/>
                <a:gd name="connsiteY9892" fmla="*/ 3364716 h 5704395"/>
                <a:gd name="connsiteX9893" fmla="*/ 2351332 w 5719680"/>
                <a:gd name="connsiteY9893" fmla="*/ 3364082 h 5704395"/>
                <a:gd name="connsiteX9894" fmla="*/ 2385000 w 5719680"/>
                <a:gd name="connsiteY9894" fmla="*/ 3373589 h 5704395"/>
                <a:gd name="connsiteX9895" fmla="*/ 2378012 w 5719680"/>
                <a:gd name="connsiteY9895" fmla="*/ 3397038 h 5704395"/>
                <a:gd name="connsiteX9896" fmla="*/ 2395481 w 5719680"/>
                <a:gd name="connsiteY9896" fmla="*/ 3402426 h 5704395"/>
                <a:gd name="connsiteX9897" fmla="*/ 2394846 w 5719680"/>
                <a:gd name="connsiteY9897" fmla="*/ 3404327 h 5704395"/>
                <a:gd name="connsiteX9898" fmla="*/ 2385318 w 5719680"/>
                <a:gd name="connsiteY9898" fmla="*/ 3439818 h 5704395"/>
                <a:gd name="connsiteX9899" fmla="*/ 2350062 w 5719680"/>
                <a:gd name="connsiteY9899" fmla="*/ 3429678 h 5704395"/>
                <a:gd name="connsiteX9900" fmla="*/ 2351650 w 5719680"/>
                <a:gd name="connsiteY9900" fmla="*/ 3425241 h 5704395"/>
                <a:gd name="connsiteX9901" fmla="*/ 2335769 w 5719680"/>
                <a:gd name="connsiteY9901" fmla="*/ 3420805 h 5704395"/>
                <a:gd name="connsiteX9902" fmla="*/ 2351332 w 5719680"/>
                <a:gd name="connsiteY9902" fmla="*/ 3364082 h 5704395"/>
                <a:gd name="connsiteX9903" fmla="*/ 2530152 w 5719680"/>
                <a:gd name="connsiteY9903" fmla="*/ 3360913 h 5704395"/>
                <a:gd name="connsiteX9904" fmla="*/ 2532057 w 5719680"/>
                <a:gd name="connsiteY9904" fmla="*/ 3361864 h 5704395"/>
                <a:gd name="connsiteX9905" fmla="*/ 2566360 w 5719680"/>
                <a:gd name="connsiteY9905" fmla="*/ 3378976 h 5704395"/>
                <a:gd name="connsiteX9906" fmla="*/ 2557149 w 5719680"/>
                <a:gd name="connsiteY9906" fmla="*/ 3397355 h 5704395"/>
                <a:gd name="connsiteX9907" fmla="*/ 2583194 w 5719680"/>
                <a:gd name="connsiteY9907" fmla="*/ 3410982 h 5704395"/>
                <a:gd name="connsiteX9908" fmla="*/ 2592405 w 5719680"/>
                <a:gd name="connsiteY9908" fmla="*/ 3392602 h 5704395"/>
                <a:gd name="connsiteX9909" fmla="*/ 2629884 w 5719680"/>
                <a:gd name="connsiteY9909" fmla="*/ 3411615 h 5704395"/>
                <a:gd name="connsiteX9910" fmla="*/ 2550797 w 5719680"/>
                <a:gd name="connsiteY9910" fmla="*/ 3564989 h 5704395"/>
                <a:gd name="connsiteX9911" fmla="*/ 2513953 w 5719680"/>
                <a:gd name="connsiteY9911" fmla="*/ 3545976 h 5704395"/>
                <a:gd name="connsiteX9912" fmla="*/ 2523164 w 5719680"/>
                <a:gd name="connsiteY9912" fmla="*/ 3527913 h 5704395"/>
                <a:gd name="connsiteX9913" fmla="*/ 2497437 w 5719680"/>
                <a:gd name="connsiteY9913" fmla="*/ 3514921 h 5704395"/>
                <a:gd name="connsiteX9914" fmla="*/ 2487908 w 5719680"/>
                <a:gd name="connsiteY9914" fmla="*/ 3532983 h 5704395"/>
                <a:gd name="connsiteX9915" fmla="*/ 2451064 w 5719680"/>
                <a:gd name="connsiteY9915" fmla="*/ 3514287 h 5704395"/>
                <a:gd name="connsiteX9916" fmla="*/ 2530152 w 5719680"/>
                <a:gd name="connsiteY9916" fmla="*/ 3360913 h 5704395"/>
                <a:gd name="connsiteX9917" fmla="*/ 1582377 w 5719680"/>
                <a:gd name="connsiteY9917" fmla="*/ 3360596 h 5704395"/>
                <a:gd name="connsiteX9918" fmla="*/ 1530288 w 5719680"/>
                <a:gd name="connsiteY9918" fmla="*/ 3365033 h 5704395"/>
                <a:gd name="connsiteX9919" fmla="*/ 1548392 w 5719680"/>
                <a:gd name="connsiteY9919" fmla="*/ 3468972 h 5704395"/>
                <a:gd name="connsiteX9920" fmla="*/ 1594129 w 5719680"/>
                <a:gd name="connsiteY9920" fmla="*/ 3462000 h 5704395"/>
                <a:gd name="connsiteX9921" fmla="*/ 1589682 w 5719680"/>
                <a:gd name="connsiteY9921" fmla="*/ 3423340 h 5704395"/>
                <a:gd name="connsiteX9922" fmla="*/ 1582377 w 5719680"/>
                <a:gd name="connsiteY9922" fmla="*/ 3360596 h 5704395"/>
                <a:gd name="connsiteX9923" fmla="*/ 2066746 w 5719680"/>
                <a:gd name="connsiteY9923" fmla="*/ 3358695 h 5704395"/>
                <a:gd name="connsiteX9924" fmla="*/ 2048642 w 5719680"/>
                <a:gd name="connsiteY9924" fmla="*/ 3372638 h 5704395"/>
                <a:gd name="connsiteX9925" fmla="*/ 2044195 w 5719680"/>
                <a:gd name="connsiteY9925" fmla="*/ 3401792 h 5704395"/>
                <a:gd name="connsiteX9926" fmla="*/ 2062934 w 5719680"/>
                <a:gd name="connsiteY9926" fmla="*/ 3423340 h 5704395"/>
                <a:gd name="connsiteX9927" fmla="*/ 2098190 w 5719680"/>
                <a:gd name="connsiteY9927" fmla="*/ 3394820 h 5704395"/>
                <a:gd name="connsiteX9928" fmla="*/ 2066746 w 5719680"/>
                <a:gd name="connsiteY9928" fmla="*/ 3358695 h 5704395"/>
                <a:gd name="connsiteX9929" fmla="*/ 2021962 w 5719680"/>
                <a:gd name="connsiteY9929" fmla="*/ 3356160 h 5704395"/>
                <a:gd name="connsiteX9930" fmla="*/ 1988294 w 5719680"/>
                <a:gd name="connsiteY9930" fmla="*/ 3385630 h 5704395"/>
                <a:gd name="connsiteX9931" fmla="*/ 2017832 w 5719680"/>
                <a:gd name="connsiteY9931" fmla="*/ 3419221 h 5704395"/>
                <a:gd name="connsiteX9932" fmla="*/ 2040383 w 5719680"/>
                <a:gd name="connsiteY9932" fmla="*/ 3399257 h 5704395"/>
                <a:gd name="connsiteX9933" fmla="*/ 2043560 w 5719680"/>
                <a:gd name="connsiteY9933" fmla="*/ 3376758 h 5704395"/>
                <a:gd name="connsiteX9934" fmla="*/ 2041336 w 5719680"/>
                <a:gd name="connsiteY9934" fmla="*/ 3378342 h 5704395"/>
                <a:gd name="connsiteX9935" fmla="*/ 2021962 w 5719680"/>
                <a:gd name="connsiteY9935" fmla="*/ 3356160 h 5704395"/>
                <a:gd name="connsiteX9936" fmla="*/ 1865693 w 5719680"/>
                <a:gd name="connsiteY9936" fmla="*/ 3355843 h 5704395"/>
                <a:gd name="connsiteX9937" fmla="*/ 1714189 w 5719680"/>
                <a:gd name="connsiteY9937" fmla="*/ 3356794 h 5704395"/>
                <a:gd name="connsiteX9938" fmla="*/ 1605246 w 5719680"/>
                <a:gd name="connsiteY9938" fmla="*/ 3378342 h 5704395"/>
                <a:gd name="connsiteX9939" fmla="*/ 1610328 w 5719680"/>
                <a:gd name="connsiteY9939" fmla="*/ 3421122 h 5704395"/>
                <a:gd name="connsiteX9940" fmla="*/ 1614457 w 5719680"/>
                <a:gd name="connsiteY9940" fmla="*/ 3454395 h 5704395"/>
                <a:gd name="connsiteX9941" fmla="*/ 1763420 w 5719680"/>
                <a:gd name="connsiteY9941" fmla="*/ 3423023 h 5704395"/>
                <a:gd name="connsiteX9942" fmla="*/ 1871728 w 5719680"/>
                <a:gd name="connsiteY9942" fmla="*/ 3430945 h 5704395"/>
                <a:gd name="connsiteX9943" fmla="*/ 1877445 w 5719680"/>
                <a:gd name="connsiteY9943" fmla="*/ 3355843 h 5704395"/>
                <a:gd name="connsiteX9944" fmla="*/ 1865693 w 5719680"/>
                <a:gd name="connsiteY9944" fmla="*/ 3355843 h 5704395"/>
                <a:gd name="connsiteX9945" fmla="*/ 880440 w 5719680"/>
                <a:gd name="connsiteY9945" fmla="*/ 3350773 h 5704395"/>
                <a:gd name="connsiteX9946" fmla="*/ 821998 w 5719680"/>
                <a:gd name="connsiteY9946" fmla="*/ 3351090 h 5704395"/>
                <a:gd name="connsiteX9947" fmla="*/ 866464 w 5719680"/>
                <a:gd name="connsiteY9947" fmla="*/ 3377708 h 5704395"/>
                <a:gd name="connsiteX9948" fmla="*/ 876311 w 5719680"/>
                <a:gd name="connsiteY9948" fmla="*/ 3396722 h 5704395"/>
                <a:gd name="connsiteX9949" fmla="*/ 892192 w 5719680"/>
                <a:gd name="connsiteY9949" fmla="*/ 3399257 h 5704395"/>
                <a:gd name="connsiteX9950" fmla="*/ 880440 w 5719680"/>
                <a:gd name="connsiteY9950" fmla="*/ 3350773 h 5704395"/>
                <a:gd name="connsiteX9951" fmla="*/ 150552 w 5719680"/>
                <a:gd name="connsiteY9951" fmla="*/ 3337147 h 5704395"/>
                <a:gd name="connsiteX9952" fmla="*/ 135623 w 5719680"/>
                <a:gd name="connsiteY9952" fmla="*/ 3341900 h 5704395"/>
                <a:gd name="connsiteX9953" fmla="*/ 161668 w 5719680"/>
                <a:gd name="connsiteY9953" fmla="*/ 3415735 h 5704395"/>
                <a:gd name="connsiteX9954" fmla="*/ 184537 w 5719680"/>
                <a:gd name="connsiteY9954" fmla="*/ 3406862 h 5704395"/>
                <a:gd name="connsiteX9955" fmla="*/ 150552 w 5719680"/>
                <a:gd name="connsiteY9955" fmla="*/ 3337147 h 5704395"/>
                <a:gd name="connsiteX9956" fmla="*/ 2054676 w 5719680"/>
                <a:gd name="connsiteY9956" fmla="*/ 3333661 h 5704395"/>
                <a:gd name="connsiteX9957" fmla="*/ 2049594 w 5719680"/>
                <a:gd name="connsiteY9957" fmla="*/ 3366617 h 5704395"/>
                <a:gd name="connsiteX9958" fmla="*/ 2067063 w 5719680"/>
                <a:gd name="connsiteY9958" fmla="*/ 3352991 h 5704395"/>
                <a:gd name="connsiteX9959" fmla="*/ 2104225 w 5719680"/>
                <a:gd name="connsiteY9959" fmla="*/ 3395454 h 5704395"/>
                <a:gd name="connsiteX9960" fmla="*/ 2062617 w 5719680"/>
                <a:gd name="connsiteY9960" fmla="*/ 3429361 h 5704395"/>
                <a:gd name="connsiteX9961" fmla="*/ 2043560 w 5719680"/>
                <a:gd name="connsiteY9961" fmla="*/ 3407179 h 5704395"/>
                <a:gd name="connsiteX9962" fmla="*/ 2038160 w 5719680"/>
                <a:gd name="connsiteY9962" fmla="*/ 3442670 h 5704395"/>
                <a:gd name="connsiteX9963" fmla="*/ 2127093 w 5719680"/>
                <a:gd name="connsiteY9963" fmla="*/ 3443938 h 5704395"/>
                <a:gd name="connsiteX9964" fmla="*/ 2138210 w 5719680"/>
                <a:gd name="connsiteY9964" fmla="*/ 3339682 h 5704395"/>
                <a:gd name="connsiteX9965" fmla="*/ 2054676 w 5719680"/>
                <a:gd name="connsiteY9965" fmla="*/ 3333661 h 5704395"/>
                <a:gd name="connsiteX9966" fmla="*/ 218522 w 5719680"/>
                <a:gd name="connsiteY9966" fmla="*/ 3332393 h 5704395"/>
                <a:gd name="connsiteX9967" fmla="*/ 207723 w 5719680"/>
                <a:gd name="connsiteY9967" fmla="*/ 3338414 h 5704395"/>
                <a:gd name="connsiteX9968" fmla="*/ 242343 w 5719680"/>
                <a:gd name="connsiteY9968" fmla="*/ 3401158 h 5704395"/>
                <a:gd name="connsiteX9969" fmla="*/ 253460 w 5719680"/>
                <a:gd name="connsiteY9969" fmla="*/ 3395137 h 5704395"/>
                <a:gd name="connsiteX9970" fmla="*/ 218522 w 5719680"/>
                <a:gd name="connsiteY9970" fmla="*/ 3332393 h 5704395"/>
                <a:gd name="connsiteX9971" fmla="*/ 153093 w 5719680"/>
                <a:gd name="connsiteY9971" fmla="*/ 3331443 h 5704395"/>
                <a:gd name="connsiteX9972" fmla="*/ 191207 w 5719680"/>
                <a:gd name="connsiteY9972" fmla="*/ 3409080 h 5704395"/>
                <a:gd name="connsiteX9973" fmla="*/ 188666 w 5719680"/>
                <a:gd name="connsiteY9973" fmla="*/ 3410031 h 5704395"/>
                <a:gd name="connsiteX9974" fmla="*/ 159127 w 5719680"/>
                <a:gd name="connsiteY9974" fmla="*/ 3422073 h 5704395"/>
                <a:gd name="connsiteX9975" fmla="*/ 129589 w 5719680"/>
                <a:gd name="connsiteY9975" fmla="*/ 3338731 h 5704395"/>
                <a:gd name="connsiteX9976" fmla="*/ 153093 w 5719680"/>
                <a:gd name="connsiteY9976" fmla="*/ 3331443 h 5704395"/>
                <a:gd name="connsiteX9977" fmla="*/ 893144 w 5719680"/>
                <a:gd name="connsiteY9977" fmla="*/ 3330492 h 5704395"/>
                <a:gd name="connsiteX9978" fmla="*/ 832797 w 5719680"/>
                <a:gd name="connsiteY9978" fmla="*/ 3346336 h 5704395"/>
                <a:gd name="connsiteX9979" fmla="*/ 883933 w 5719680"/>
                <a:gd name="connsiteY9979" fmla="*/ 3346019 h 5704395"/>
                <a:gd name="connsiteX9980" fmla="*/ 884569 w 5719680"/>
                <a:gd name="connsiteY9980" fmla="*/ 3347921 h 5704395"/>
                <a:gd name="connsiteX9981" fmla="*/ 898226 w 5719680"/>
                <a:gd name="connsiteY9981" fmla="*/ 3404961 h 5704395"/>
                <a:gd name="connsiteX9982" fmla="*/ 873452 w 5719680"/>
                <a:gd name="connsiteY9982" fmla="*/ 3400841 h 5704395"/>
                <a:gd name="connsiteX9983" fmla="*/ 862971 w 5719680"/>
                <a:gd name="connsiteY9983" fmla="*/ 3381194 h 5704395"/>
                <a:gd name="connsiteX9984" fmla="*/ 813422 w 5719680"/>
                <a:gd name="connsiteY9984" fmla="*/ 3351407 h 5704395"/>
                <a:gd name="connsiteX9985" fmla="*/ 792459 w 5719680"/>
                <a:gd name="connsiteY9985" fmla="*/ 3356794 h 5704395"/>
                <a:gd name="connsiteX9986" fmla="*/ 719725 w 5719680"/>
                <a:gd name="connsiteY9986" fmla="*/ 3343801 h 5704395"/>
                <a:gd name="connsiteX9987" fmla="*/ 716866 w 5719680"/>
                <a:gd name="connsiteY9987" fmla="*/ 3359012 h 5704395"/>
                <a:gd name="connsiteX9988" fmla="*/ 742911 w 5719680"/>
                <a:gd name="connsiteY9988" fmla="*/ 3366617 h 5704395"/>
                <a:gd name="connsiteX9989" fmla="*/ 807387 w 5719680"/>
                <a:gd name="connsiteY9989" fmla="*/ 3378976 h 5704395"/>
                <a:gd name="connsiteX9990" fmla="*/ 823586 w 5719680"/>
                <a:gd name="connsiteY9990" fmla="*/ 3404644 h 5704395"/>
                <a:gd name="connsiteX9991" fmla="*/ 911884 w 5719680"/>
                <a:gd name="connsiteY9991" fmla="*/ 3419537 h 5704395"/>
                <a:gd name="connsiteX9992" fmla="*/ 893144 w 5719680"/>
                <a:gd name="connsiteY9992" fmla="*/ 3330492 h 5704395"/>
                <a:gd name="connsiteX9993" fmla="*/ 2334181 w 5719680"/>
                <a:gd name="connsiteY9993" fmla="*/ 3330175 h 5704395"/>
                <a:gd name="connsiteX9994" fmla="*/ 2308454 w 5719680"/>
                <a:gd name="connsiteY9994" fmla="*/ 3492422 h 5704395"/>
                <a:gd name="connsiteX9995" fmla="*/ 2375154 w 5719680"/>
                <a:gd name="connsiteY9995" fmla="*/ 3521258 h 5704395"/>
                <a:gd name="connsiteX9996" fmla="*/ 2376424 w 5719680"/>
                <a:gd name="connsiteY9996" fmla="*/ 3521892 h 5704395"/>
                <a:gd name="connsiteX9997" fmla="*/ 2419938 w 5719680"/>
                <a:gd name="connsiteY9997" fmla="*/ 3367251 h 5704395"/>
                <a:gd name="connsiteX9998" fmla="*/ 2412633 w 5719680"/>
                <a:gd name="connsiteY9998" fmla="*/ 3364082 h 5704395"/>
                <a:gd name="connsiteX9999" fmla="*/ 2334181 w 5719680"/>
                <a:gd name="connsiteY9999" fmla="*/ 3330175 h 5704395"/>
                <a:gd name="connsiteX10000" fmla="*/ 669541 w 5719680"/>
                <a:gd name="connsiteY10000" fmla="*/ 3327640 h 5704395"/>
                <a:gd name="connsiteX10001" fmla="*/ 628250 w 5719680"/>
                <a:gd name="connsiteY10001" fmla="*/ 3353308 h 5704395"/>
                <a:gd name="connsiteX10002" fmla="*/ 573620 w 5719680"/>
                <a:gd name="connsiteY10002" fmla="*/ 3394820 h 5704395"/>
                <a:gd name="connsiteX10003" fmla="*/ 544717 w 5719680"/>
                <a:gd name="connsiteY10003" fmla="*/ 3409714 h 5704395"/>
                <a:gd name="connsiteX10004" fmla="*/ 532647 w 5719680"/>
                <a:gd name="connsiteY10004" fmla="*/ 3417319 h 5704395"/>
                <a:gd name="connsiteX10005" fmla="*/ 529153 w 5719680"/>
                <a:gd name="connsiteY10005" fmla="*/ 3420171 h 5704395"/>
                <a:gd name="connsiteX10006" fmla="*/ 528518 w 5719680"/>
                <a:gd name="connsiteY10006" fmla="*/ 3420805 h 5704395"/>
                <a:gd name="connsiteX10007" fmla="*/ 531059 w 5719680"/>
                <a:gd name="connsiteY10007" fmla="*/ 3421122 h 5704395"/>
                <a:gd name="connsiteX10008" fmla="*/ 557104 w 5719680"/>
                <a:gd name="connsiteY10008" fmla="*/ 3412883 h 5704395"/>
                <a:gd name="connsiteX10009" fmla="*/ 600617 w 5719680"/>
                <a:gd name="connsiteY10009" fmla="*/ 3392602 h 5704395"/>
                <a:gd name="connsiteX10010" fmla="*/ 629203 w 5719680"/>
                <a:gd name="connsiteY10010" fmla="*/ 3375490 h 5704395"/>
                <a:gd name="connsiteX10011" fmla="*/ 658106 w 5719680"/>
                <a:gd name="connsiteY10011" fmla="*/ 3349188 h 5704395"/>
                <a:gd name="connsiteX10012" fmla="*/ 681928 w 5719680"/>
                <a:gd name="connsiteY10012" fmla="*/ 3351407 h 5704395"/>
                <a:gd name="connsiteX10013" fmla="*/ 687645 w 5719680"/>
                <a:gd name="connsiteY10013" fmla="*/ 3348871 h 5704395"/>
                <a:gd name="connsiteX10014" fmla="*/ 688280 w 5719680"/>
                <a:gd name="connsiteY10014" fmla="*/ 3345703 h 5704395"/>
                <a:gd name="connsiteX10015" fmla="*/ 673987 w 5719680"/>
                <a:gd name="connsiteY10015" fmla="*/ 3328591 h 5704395"/>
                <a:gd name="connsiteX10016" fmla="*/ 669541 w 5719680"/>
                <a:gd name="connsiteY10016" fmla="*/ 3327640 h 5704395"/>
                <a:gd name="connsiteX10017" fmla="*/ 1972731 w 5719680"/>
                <a:gd name="connsiteY10017" fmla="*/ 3327006 h 5704395"/>
                <a:gd name="connsiteX10018" fmla="*/ 1950497 w 5719680"/>
                <a:gd name="connsiteY10018" fmla="*/ 3441720 h 5704395"/>
                <a:gd name="connsiteX10019" fmla="*/ 2033713 w 5719680"/>
                <a:gd name="connsiteY10019" fmla="*/ 3442670 h 5704395"/>
                <a:gd name="connsiteX10020" fmla="*/ 2039113 w 5719680"/>
                <a:gd name="connsiteY10020" fmla="*/ 3405594 h 5704395"/>
                <a:gd name="connsiteX10021" fmla="*/ 2017197 w 5719680"/>
                <a:gd name="connsiteY10021" fmla="*/ 3424925 h 5704395"/>
                <a:gd name="connsiteX10022" fmla="*/ 1982259 w 5719680"/>
                <a:gd name="connsiteY10022" fmla="*/ 3384997 h 5704395"/>
                <a:gd name="connsiteX10023" fmla="*/ 2022279 w 5719680"/>
                <a:gd name="connsiteY10023" fmla="*/ 3350139 h 5704395"/>
                <a:gd name="connsiteX10024" fmla="*/ 2041972 w 5719680"/>
                <a:gd name="connsiteY10024" fmla="*/ 3372638 h 5704395"/>
                <a:gd name="connsiteX10025" fmla="*/ 2044512 w 5719680"/>
                <a:gd name="connsiteY10025" fmla="*/ 3370737 h 5704395"/>
                <a:gd name="connsiteX10026" fmla="*/ 2050230 w 5719680"/>
                <a:gd name="connsiteY10026" fmla="*/ 3333344 h 5704395"/>
                <a:gd name="connsiteX10027" fmla="*/ 1972731 w 5719680"/>
                <a:gd name="connsiteY10027" fmla="*/ 3327006 h 5704395"/>
                <a:gd name="connsiteX10028" fmla="*/ 220428 w 5719680"/>
                <a:gd name="connsiteY10028" fmla="*/ 3326372 h 5704395"/>
                <a:gd name="connsiteX10029" fmla="*/ 259495 w 5719680"/>
                <a:gd name="connsiteY10029" fmla="*/ 3397038 h 5704395"/>
                <a:gd name="connsiteX10030" fmla="*/ 240755 w 5719680"/>
                <a:gd name="connsiteY10030" fmla="*/ 3406862 h 5704395"/>
                <a:gd name="connsiteX10031" fmla="*/ 202006 w 5719680"/>
                <a:gd name="connsiteY10031" fmla="*/ 3336513 h 5704395"/>
                <a:gd name="connsiteX10032" fmla="*/ 220428 w 5719680"/>
                <a:gd name="connsiteY10032" fmla="*/ 3326372 h 5704395"/>
                <a:gd name="connsiteX10033" fmla="*/ 673987 w 5719680"/>
                <a:gd name="connsiteY10033" fmla="*/ 3325739 h 5704395"/>
                <a:gd name="connsiteX10034" fmla="*/ 674953 w 5719680"/>
                <a:gd name="connsiteY10034" fmla="*/ 3326065 h 5704395"/>
                <a:gd name="connsiteX10035" fmla="*/ 686573 w 5719680"/>
                <a:gd name="connsiteY10035" fmla="*/ 3334691 h 5704395"/>
                <a:gd name="connsiteX10036" fmla="*/ 690821 w 5719680"/>
                <a:gd name="connsiteY10036" fmla="*/ 3345703 h 5704395"/>
                <a:gd name="connsiteX10037" fmla="*/ 690186 w 5719680"/>
                <a:gd name="connsiteY10037" fmla="*/ 3349822 h 5704395"/>
                <a:gd name="connsiteX10038" fmla="*/ 681928 w 5719680"/>
                <a:gd name="connsiteY10038" fmla="*/ 3353942 h 5704395"/>
                <a:gd name="connsiteX10039" fmla="*/ 658106 w 5719680"/>
                <a:gd name="connsiteY10039" fmla="*/ 3352040 h 5704395"/>
                <a:gd name="connsiteX10040" fmla="*/ 631426 w 5719680"/>
                <a:gd name="connsiteY10040" fmla="*/ 3376758 h 5704395"/>
                <a:gd name="connsiteX10041" fmla="*/ 601570 w 5719680"/>
                <a:gd name="connsiteY10041" fmla="*/ 3395137 h 5704395"/>
                <a:gd name="connsiteX10042" fmla="*/ 558374 w 5719680"/>
                <a:gd name="connsiteY10042" fmla="*/ 3415101 h 5704395"/>
                <a:gd name="connsiteX10043" fmla="*/ 531059 w 5719680"/>
                <a:gd name="connsiteY10043" fmla="*/ 3423657 h 5704395"/>
                <a:gd name="connsiteX10044" fmla="*/ 525659 w 5719680"/>
                <a:gd name="connsiteY10044" fmla="*/ 3421439 h 5704395"/>
                <a:gd name="connsiteX10045" fmla="*/ 525659 w 5719680"/>
                <a:gd name="connsiteY10045" fmla="*/ 3421122 h 5704395"/>
                <a:gd name="connsiteX10046" fmla="*/ 531059 w 5719680"/>
                <a:gd name="connsiteY10046" fmla="*/ 3415418 h 5704395"/>
                <a:gd name="connsiteX10047" fmla="*/ 572349 w 5719680"/>
                <a:gd name="connsiteY10047" fmla="*/ 3392285 h 5704395"/>
                <a:gd name="connsiteX10048" fmla="*/ 626345 w 5719680"/>
                <a:gd name="connsiteY10048" fmla="*/ 3351407 h 5704395"/>
                <a:gd name="connsiteX10049" fmla="*/ 659377 w 5719680"/>
                <a:gd name="connsiteY10049" fmla="*/ 3327006 h 5704395"/>
                <a:gd name="connsiteX10050" fmla="*/ 615228 w 5719680"/>
                <a:gd name="connsiteY10050" fmla="*/ 3355843 h 5704395"/>
                <a:gd name="connsiteX10051" fmla="*/ 559327 w 5719680"/>
                <a:gd name="connsiteY10051" fmla="*/ 3397355 h 5704395"/>
                <a:gd name="connsiteX10052" fmla="*/ 514543 w 5719680"/>
                <a:gd name="connsiteY10052" fmla="*/ 3406545 h 5704395"/>
                <a:gd name="connsiteX10053" fmla="*/ 470076 w 5719680"/>
                <a:gd name="connsiteY10053" fmla="*/ 3417002 h 5704395"/>
                <a:gd name="connsiteX10054" fmla="*/ 445619 w 5719680"/>
                <a:gd name="connsiteY10054" fmla="*/ 3429044 h 5704395"/>
                <a:gd name="connsiteX10055" fmla="*/ 474523 w 5719680"/>
                <a:gd name="connsiteY10055" fmla="*/ 3460416 h 5704395"/>
                <a:gd name="connsiteX10056" fmla="*/ 486910 w 5719680"/>
                <a:gd name="connsiteY10056" fmla="*/ 3454395 h 5704395"/>
                <a:gd name="connsiteX10057" fmla="*/ 622533 w 5719680"/>
                <a:gd name="connsiteY10057" fmla="*/ 3404961 h 5704395"/>
                <a:gd name="connsiteX10058" fmla="*/ 694633 w 5719680"/>
                <a:gd name="connsiteY10058" fmla="*/ 3398623 h 5704395"/>
                <a:gd name="connsiteX10059" fmla="*/ 694315 w 5719680"/>
                <a:gd name="connsiteY10059" fmla="*/ 3398623 h 5704395"/>
                <a:gd name="connsiteX10060" fmla="*/ 702891 w 5719680"/>
                <a:gd name="connsiteY10060" fmla="*/ 3355843 h 5704395"/>
                <a:gd name="connsiteX10061" fmla="*/ 693680 w 5719680"/>
                <a:gd name="connsiteY10061" fmla="*/ 3332393 h 5704395"/>
                <a:gd name="connsiteX10062" fmla="*/ 674953 w 5719680"/>
                <a:gd name="connsiteY10062" fmla="*/ 3326065 h 5704395"/>
                <a:gd name="connsiteX10063" fmla="*/ 674940 w 5719680"/>
                <a:gd name="connsiteY10063" fmla="*/ 3326056 h 5704395"/>
                <a:gd name="connsiteX10064" fmla="*/ 673987 w 5719680"/>
                <a:gd name="connsiteY10064" fmla="*/ 3325739 h 5704395"/>
                <a:gd name="connsiteX10065" fmla="*/ 1296838 w 5719680"/>
                <a:gd name="connsiteY10065" fmla="*/ 3314964 h 5704395"/>
                <a:gd name="connsiteX10066" fmla="*/ 1056718 w 5719680"/>
                <a:gd name="connsiteY10066" fmla="*/ 3387215 h 5704395"/>
                <a:gd name="connsiteX10067" fmla="*/ 1098961 w 5719680"/>
                <a:gd name="connsiteY10067" fmla="*/ 3444889 h 5704395"/>
                <a:gd name="connsiteX10068" fmla="*/ 1135805 w 5719680"/>
                <a:gd name="connsiteY10068" fmla="*/ 3431579 h 5704395"/>
                <a:gd name="connsiteX10069" fmla="*/ 1129135 w 5719680"/>
                <a:gd name="connsiteY10069" fmla="*/ 3418270 h 5704395"/>
                <a:gd name="connsiteX10070" fmla="*/ 1181542 w 5719680"/>
                <a:gd name="connsiteY10070" fmla="*/ 3376441 h 5704395"/>
                <a:gd name="connsiteX10071" fmla="*/ 1199647 w 5719680"/>
                <a:gd name="connsiteY10071" fmla="*/ 3394186 h 5704395"/>
                <a:gd name="connsiteX10072" fmla="*/ 1260629 w 5719680"/>
                <a:gd name="connsiteY10072" fmla="*/ 3380877 h 5704395"/>
                <a:gd name="connsiteX10073" fmla="*/ 1254595 w 5719680"/>
                <a:gd name="connsiteY10073" fmla="*/ 3350456 h 5704395"/>
                <a:gd name="connsiteX10074" fmla="*/ 1296520 w 5719680"/>
                <a:gd name="connsiteY10074" fmla="*/ 3338414 h 5704395"/>
                <a:gd name="connsiteX10075" fmla="*/ 1296838 w 5719680"/>
                <a:gd name="connsiteY10075" fmla="*/ 3314964 h 5704395"/>
                <a:gd name="connsiteX10076" fmla="*/ 222969 w 5719680"/>
                <a:gd name="connsiteY10076" fmla="*/ 3313380 h 5704395"/>
                <a:gd name="connsiteX10077" fmla="*/ 189301 w 5719680"/>
                <a:gd name="connsiteY10077" fmla="*/ 3332393 h 5704395"/>
                <a:gd name="connsiteX10078" fmla="*/ 235356 w 5719680"/>
                <a:gd name="connsiteY10078" fmla="*/ 3414784 h 5704395"/>
                <a:gd name="connsiteX10079" fmla="*/ 200100 w 5719680"/>
                <a:gd name="connsiteY10079" fmla="*/ 3432213 h 5704395"/>
                <a:gd name="connsiteX10080" fmla="*/ 229956 w 5719680"/>
                <a:gd name="connsiteY10080" fmla="*/ 3482598 h 5704395"/>
                <a:gd name="connsiteX10081" fmla="*/ 200735 w 5719680"/>
                <a:gd name="connsiteY10081" fmla="*/ 3517773 h 5704395"/>
                <a:gd name="connsiteX10082" fmla="*/ 236944 w 5719680"/>
                <a:gd name="connsiteY10082" fmla="*/ 3554849 h 5704395"/>
                <a:gd name="connsiteX10083" fmla="*/ 289351 w 5719680"/>
                <a:gd name="connsiteY10083" fmla="*/ 3482281 h 5704395"/>
                <a:gd name="connsiteX10084" fmla="*/ 289669 w 5719680"/>
                <a:gd name="connsiteY10084" fmla="*/ 3481964 h 5704395"/>
                <a:gd name="connsiteX10085" fmla="*/ 303961 w 5719680"/>
                <a:gd name="connsiteY10085" fmla="*/ 3472141 h 5704395"/>
                <a:gd name="connsiteX10086" fmla="*/ 314125 w 5719680"/>
                <a:gd name="connsiteY10086" fmla="*/ 3465486 h 5704395"/>
                <a:gd name="connsiteX10087" fmla="*/ 317619 w 5719680"/>
                <a:gd name="connsiteY10087" fmla="*/ 3463268 h 5704395"/>
                <a:gd name="connsiteX10088" fmla="*/ 269976 w 5719680"/>
                <a:gd name="connsiteY10088" fmla="*/ 3387215 h 5704395"/>
                <a:gd name="connsiteX10089" fmla="*/ 222969 w 5719680"/>
                <a:gd name="connsiteY10089" fmla="*/ 3313380 h 5704395"/>
                <a:gd name="connsiteX10090" fmla="*/ 1301602 w 5719680"/>
                <a:gd name="connsiteY10090" fmla="*/ 3308627 h 5704395"/>
                <a:gd name="connsiteX10091" fmla="*/ 1301602 w 5719680"/>
                <a:gd name="connsiteY10091" fmla="*/ 3311796 h 5704395"/>
                <a:gd name="connsiteX10092" fmla="*/ 1301285 w 5719680"/>
                <a:gd name="connsiteY10092" fmla="*/ 3341900 h 5704395"/>
                <a:gd name="connsiteX10093" fmla="*/ 1259994 w 5719680"/>
                <a:gd name="connsiteY10093" fmla="*/ 3353942 h 5704395"/>
                <a:gd name="connsiteX10094" fmla="*/ 1266029 w 5719680"/>
                <a:gd name="connsiteY10094" fmla="*/ 3384363 h 5704395"/>
                <a:gd name="connsiteX10095" fmla="*/ 1198058 w 5719680"/>
                <a:gd name="connsiteY10095" fmla="*/ 3399257 h 5704395"/>
                <a:gd name="connsiteX10096" fmla="*/ 1181225 w 5719680"/>
                <a:gd name="connsiteY10096" fmla="*/ 3382778 h 5704395"/>
                <a:gd name="connsiteX10097" fmla="*/ 1134852 w 5719680"/>
                <a:gd name="connsiteY10097" fmla="*/ 3419537 h 5704395"/>
                <a:gd name="connsiteX10098" fmla="*/ 1142158 w 5719680"/>
                <a:gd name="connsiteY10098" fmla="*/ 3434114 h 5704395"/>
                <a:gd name="connsiteX10099" fmla="*/ 1097373 w 5719680"/>
                <a:gd name="connsiteY10099" fmla="*/ 3450276 h 5704395"/>
                <a:gd name="connsiteX10100" fmla="*/ 1048778 w 5719680"/>
                <a:gd name="connsiteY10100" fmla="*/ 3384680 h 5704395"/>
                <a:gd name="connsiteX10101" fmla="*/ 1301602 w 5719680"/>
                <a:gd name="connsiteY10101" fmla="*/ 3308627 h 5704395"/>
                <a:gd name="connsiteX10102" fmla="*/ 1680521 w 5719680"/>
                <a:gd name="connsiteY10102" fmla="*/ 3297219 h 5704395"/>
                <a:gd name="connsiteX10103" fmla="*/ 1631291 w 5719680"/>
                <a:gd name="connsiteY10103" fmla="*/ 3308944 h 5704395"/>
                <a:gd name="connsiteX10104" fmla="*/ 1635420 w 5719680"/>
                <a:gd name="connsiteY10104" fmla="*/ 3325105 h 5704395"/>
                <a:gd name="connsiteX10105" fmla="*/ 1632243 w 5719680"/>
                <a:gd name="connsiteY10105" fmla="*/ 3325739 h 5704395"/>
                <a:gd name="connsiteX10106" fmla="*/ 1638913 w 5719680"/>
                <a:gd name="connsiteY10106" fmla="*/ 3353942 h 5704395"/>
                <a:gd name="connsiteX10107" fmla="*/ 1668452 w 5719680"/>
                <a:gd name="connsiteY10107" fmla="*/ 3346019 h 5704395"/>
                <a:gd name="connsiteX10108" fmla="*/ 1664323 w 5719680"/>
                <a:gd name="connsiteY10108" fmla="*/ 3328274 h 5704395"/>
                <a:gd name="connsiteX10109" fmla="*/ 1686874 w 5719680"/>
                <a:gd name="connsiteY10109" fmla="*/ 3322887 h 5704395"/>
                <a:gd name="connsiteX10110" fmla="*/ 1680521 w 5719680"/>
                <a:gd name="connsiteY10110" fmla="*/ 3297219 h 5704395"/>
                <a:gd name="connsiteX10111" fmla="*/ 2181088 w 5719680"/>
                <a:gd name="connsiteY10111" fmla="*/ 3295001 h 5704395"/>
                <a:gd name="connsiteX10112" fmla="*/ 2177277 w 5719680"/>
                <a:gd name="connsiteY10112" fmla="*/ 3325105 h 5704395"/>
                <a:gd name="connsiteX10113" fmla="*/ 2195382 w 5719680"/>
                <a:gd name="connsiteY10113" fmla="*/ 3328274 h 5704395"/>
                <a:gd name="connsiteX10114" fmla="*/ 2191570 w 5719680"/>
                <a:gd name="connsiteY10114" fmla="*/ 3352357 h 5704395"/>
                <a:gd name="connsiteX10115" fmla="*/ 2217932 w 5719680"/>
                <a:gd name="connsiteY10115" fmla="*/ 3356160 h 5704395"/>
                <a:gd name="connsiteX10116" fmla="*/ 2224602 w 5719680"/>
                <a:gd name="connsiteY10116" fmla="*/ 3306092 h 5704395"/>
                <a:gd name="connsiteX10117" fmla="*/ 2208086 w 5719680"/>
                <a:gd name="connsiteY10117" fmla="*/ 3303873 h 5704395"/>
                <a:gd name="connsiteX10118" fmla="*/ 2209039 w 5719680"/>
                <a:gd name="connsiteY10118" fmla="*/ 3299120 h 5704395"/>
                <a:gd name="connsiteX10119" fmla="*/ 2181088 w 5719680"/>
                <a:gd name="connsiteY10119" fmla="*/ 3295001 h 5704395"/>
                <a:gd name="connsiteX10120" fmla="*/ 1314307 w 5719680"/>
                <a:gd name="connsiteY10120" fmla="*/ 3293099 h 5704395"/>
                <a:gd name="connsiteX10121" fmla="*/ 1199329 w 5719680"/>
                <a:gd name="connsiteY10121" fmla="*/ 3327640 h 5704395"/>
                <a:gd name="connsiteX10122" fmla="*/ 1067199 w 5719680"/>
                <a:gd name="connsiteY10122" fmla="*/ 3369469 h 5704395"/>
                <a:gd name="connsiteX10123" fmla="*/ 1028450 w 5719680"/>
                <a:gd name="connsiteY10123" fmla="*/ 3382462 h 5704395"/>
                <a:gd name="connsiteX10124" fmla="*/ 1026544 w 5719680"/>
                <a:gd name="connsiteY10124" fmla="*/ 3383412 h 5704395"/>
                <a:gd name="connsiteX10125" fmla="*/ 1096738 w 5719680"/>
                <a:gd name="connsiteY10125" fmla="*/ 3475944 h 5704395"/>
                <a:gd name="connsiteX10126" fmla="*/ 1143746 w 5719680"/>
                <a:gd name="connsiteY10126" fmla="*/ 3537103 h 5704395"/>
                <a:gd name="connsiteX10127" fmla="*/ 1251101 w 5719680"/>
                <a:gd name="connsiteY10127" fmla="*/ 3501295 h 5704395"/>
                <a:gd name="connsiteX10128" fmla="*/ 1251101 w 5719680"/>
                <a:gd name="connsiteY10128" fmla="*/ 3501611 h 5704395"/>
                <a:gd name="connsiteX10129" fmla="*/ 1308907 w 5719680"/>
                <a:gd name="connsiteY10129" fmla="*/ 3484499 h 5704395"/>
                <a:gd name="connsiteX10130" fmla="*/ 1343528 w 5719680"/>
                <a:gd name="connsiteY10130" fmla="*/ 3385947 h 5704395"/>
                <a:gd name="connsiteX10131" fmla="*/ 1344481 w 5719680"/>
                <a:gd name="connsiteY10131" fmla="*/ 3385630 h 5704395"/>
                <a:gd name="connsiteX10132" fmla="*/ 1348927 w 5719680"/>
                <a:gd name="connsiteY10132" fmla="*/ 3383729 h 5704395"/>
                <a:gd name="connsiteX10133" fmla="*/ 1330823 w 5719680"/>
                <a:gd name="connsiteY10133" fmla="*/ 3336830 h 5704395"/>
                <a:gd name="connsiteX10134" fmla="*/ 1318436 w 5719680"/>
                <a:gd name="connsiteY10134" fmla="*/ 3303873 h 5704395"/>
                <a:gd name="connsiteX10135" fmla="*/ 1314307 w 5719680"/>
                <a:gd name="connsiteY10135" fmla="*/ 3293099 h 5704395"/>
                <a:gd name="connsiteX10136" fmla="*/ 1683698 w 5719680"/>
                <a:gd name="connsiteY10136" fmla="*/ 3292149 h 5704395"/>
                <a:gd name="connsiteX10137" fmla="*/ 1691956 w 5719680"/>
                <a:gd name="connsiteY10137" fmla="*/ 3326056 h 5704395"/>
                <a:gd name="connsiteX10138" fmla="*/ 1669405 w 5719680"/>
                <a:gd name="connsiteY10138" fmla="*/ 3331443 h 5704395"/>
                <a:gd name="connsiteX10139" fmla="*/ 1673534 w 5719680"/>
                <a:gd name="connsiteY10139" fmla="*/ 3349188 h 5704395"/>
                <a:gd name="connsiteX10140" fmla="*/ 1671628 w 5719680"/>
                <a:gd name="connsiteY10140" fmla="*/ 3349505 h 5704395"/>
                <a:gd name="connsiteX10141" fmla="*/ 1635737 w 5719680"/>
                <a:gd name="connsiteY10141" fmla="*/ 3359012 h 5704395"/>
                <a:gd name="connsiteX10142" fmla="*/ 1627161 w 5719680"/>
                <a:gd name="connsiteY10142" fmla="*/ 3322887 h 5704395"/>
                <a:gd name="connsiteX10143" fmla="*/ 1630338 w 5719680"/>
                <a:gd name="connsiteY10143" fmla="*/ 3321936 h 5704395"/>
                <a:gd name="connsiteX10144" fmla="*/ 1626526 w 5719680"/>
                <a:gd name="connsiteY10144" fmla="*/ 3306092 h 5704395"/>
                <a:gd name="connsiteX10145" fmla="*/ 1683698 w 5719680"/>
                <a:gd name="connsiteY10145" fmla="*/ 3292149 h 5704395"/>
                <a:gd name="connsiteX10146" fmla="*/ 1372749 w 5719680"/>
                <a:gd name="connsiteY10146" fmla="*/ 3291515 h 5704395"/>
                <a:gd name="connsiteX10147" fmla="*/ 1335270 w 5719680"/>
                <a:gd name="connsiteY10147" fmla="*/ 3300705 h 5704395"/>
                <a:gd name="connsiteX10148" fmla="*/ 1340987 w 5719680"/>
                <a:gd name="connsiteY10148" fmla="*/ 3324788 h 5704395"/>
                <a:gd name="connsiteX10149" fmla="*/ 1378784 w 5719680"/>
                <a:gd name="connsiteY10149" fmla="*/ 3315598 h 5704395"/>
                <a:gd name="connsiteX10150" fmla="*/ 1372749 w 5719680"/>
                <a:gd name="connsiteY10150" fmla="*/ 3291515 h 5704395"/>
                <a:gd name="connsiteX10151" fmla="*/ 2246836 w 5719680"/>
                <a:gd name="connsiteY10151" fmla="*/ 3291198 h 5704395"/>
                <a:gd name="connsiteX10152" fmla="*/ 2215074 w 5719680"/>
                <a:gd name="connsiteY10152" fmla="*/ 3461050 h 5704395"/>
                <a:gd name="connsiteX10153" fmla="*/ 2304325 w 5719680"/>
                <a:gd name="connsiteY10153" fmla="*/ 3490520 h 5704395"/>
                <a:gd name="connsiteX10154" fmla="*/ 2330052 w 5719680"/>
                <a:gd name="connsiteY10154" fmla="*/ 3328274 h 5704395"/>
                <a:gd name="connsiteX10155" fmla="*/ 2246836 w 5719680"/>
                <a:gd name="connsiteY10155" fmla="*/ 3291198 h 5704395"/>
                <a:gd name="connsiteX10156" fmla="*/ 2177595 w 5719680"/>
                <a:gd name="connsiteY10156" fmla="*/ 3290247 h 5704395"/>
                <a:gd name="connsiteX10157" fmla="*/ 2213803 w 5719680"/>
                <a:gd name="connsiteY10157" fmla="*/ 3295634 h 5704395"/>
                <a:gd name="connsiteX10158" fmla="*/ 2213168 w 5719680"/>
                <a:gd name="connsiteY10158" fmla="*/ 3300388 h 5704395"/>
                <a:gd name="connsiteX10159" fmla="*/ 2229366 w 5719680"/>
                <a:gd name="connsiteY10159" fmla="*/ 3302606 h 5704395"/>
                <a:gd name="connsiteX10160" fmla="*/ 2221426 w 5719680"/>
                <a:gd name="connsiteY10160" fmla="*/ 3360596 h 5704395"/>
                <a:gd name="connsiteX10161" fmla="*/ 2186806 w 5719680"/>
                <a:gd name="connsiteY10161" fmla="*/ 3356160 h 5704395"/>
                <a:gd name="connsiteX10162" fmla="*/ 2190617 w 5719680"/>
                <a:gd name="connsiteY10162" fmla="*/ 3331760 h 5704395"/>
                <a:gd name="connsiteX10163" fmla="*/ 2172513 w 5719680"/>
                <a:gd name="connsiteY10163" fmla="*/ 3328591 h 5704395"/>
                <a:gd name="connsiteX10164" fmla="*/ 2172830 w 5719680"/>
                <a:gd name="connsiteY10164" fmla="*/ 3326689 h 5704395"/>
                <a:gd name="connsiteX10165" fmla="*/ 2177595 w 5719680"/>
                <a:gd name="connsiteY10165" fmla="*/ 3290247 h 5704395"/>
                <a:gd name="connsiteX10166" fmla="*/ 1375925 w 5719680"/>
                <a:gd name="connsiteY10166" fmla="*/ 3286761 h 5704395"/>
                <a:gd name="connsiteX10167" fmla="*/ 1383548 w 5719680"/>
                <a:gd name="connsiteY10167" fmla="*/ 3318767 h 5704395"/>
                <a:gd name="connsiteX10168" fmla="*/ 1338128 w 5719680"/>
                <a:gd name="connsiteY10168" fmla="*/ 3329858 h 5704395"/>
                <a:gd name="connsiteX10169" fmla="*/ 1337493 w 5719680"/>
                <a:gd name="connsiteY10169" fmla="*/ 3327640 h 5704395"/>
                <a:gd name="connsiteX10170" fmla="*/ 1330188 w 5719680"/>
                <a:gd name="connsiteY10170" fmla="*/ 3297536 h 5704395"/>
                <a:gd name="connsiteX10171" fmla="*/ 156586 w 5719680"/>
                <a:gd name="connsiteY10171" fmla="*/ 3284543 h 5704395"/>
                <a:gd name="connsiteX10172" fmla="*/ 103226 w 5719680"/>
                <a:gd name="connsiteY10172" fmla="*/ 3312429 h 5704395"/>
                <a:gd name="connsiteX10173" fmla="*/ 111802 w 5719680"/>
                <a:gd name="connsiteY10173" fmla="*/ 3331126 h 5704395"/>
                <a:gd name="connsiteX10174" fmla="*/ 113708 w 5719680"/>
                <a:gd name="connsiteY10174" fmla="*/ 3334928 h 5704395"/>
                <a:gd name="connsiteX10175" fmla="*/ 159763 w 5719680"/>
                <a:gd name="connsiteY10175" fmla="*/ 3443621 h 5704395"/>
                <a:gd name="connsiteX10176" fmla="*/ 187713 w 5719680"/>
                <a:gd name="connsiteY10176" fmla="*/ 3497175 h 5704395"/>
                <a:gd name="connsiteX10177" fmla="*/ 197242 w 5719680"/>
                <a:gd name="connsiteY10177" fmla="*/ 3513019 h 5704395"/>
                <a:gd name="connsiteX10178" fmla="*/ 197559 w 5719680"/>
                <a:gd name="connsiteY10178" fmla="*/ 3513336 h 5704395"/>
                <a:gd name="connsiteX10179" fmla="*/ 223604 w 5719680"/>
                <a:gd name="connsiteY10179" fmla="*/ 3481964 h 5704395"/>
                <a:gd name="connsiteX10180" fmla="*/ 192795 w 5719680"/>
                <a:gd name="connsiteY10180" fmla="*/ 3429995 h 5704395"/>
                <a:gd name="connsiteX10181" fmla="*/ 228051 w 5719680"/>
                <a:gd name="connsiteY10181" fmla="*/ 3412566 h 5704395"/>
                <a:gd name="connsiteX10182" fmla="*/ 156586 w 5719680"/>
                <a:gd name="connsiteY10182" fmla="*/ 3284543 h 5704395"/>
                <a:gd name="connsiteX10183" fmla="*/ 156586 w 5719680"/>
                <a:gd name="connsiteY10183" fmla="*/ 3278839 h 5704395"/>
                <a:gd name="connsiteX10184" fmla="*/ 141976 w 5719680"/>
                <a:gd name="connsiteY10184" fmla="*/ 3286445 h 5704395"/>
                <a:gd name="connsiteX10185" fmla="*/ 142611 w 5719680"/>
                <a:gd name="connsiteY10185" fmla="*/ 3286128 h 5704395"/>
                <a:gd name="connsiteX10186" fmla="*/ 156586 w 5719680"/>
                <a:gd name="connsiteY10186" fmla="*/ 3278839 h 5704395"/>
                <a:gd name="connsiteX10187" fmla="*/ 1376243 w 5719680"/>
                <a:gd name="connsiteY10187" fmla="*/ 3275353 h 5704395"/>
                <a:gd name="connsiteX10188" fmla="*/ 1318754 w 5719680"/>
                <a:gd name="connsiteY10188" fmla="*/ 3291832 h 5704395"/>
                <a:gd name="connsiteX10189" fmla="*/ 1353056 w 5719680"/>
                <a:gd name="connsiteY10189" fmla="*/ 3382145 h 5704395"/>
                <a:gd name="connsiteX10190" fmla="*/ 1369890 w 5719680"/>
                <a:gd name="connsiteY10190" fmla="*/ 3375173 h 5704395"/>
                <a:gd name="connsiteX10191" fmla="*/ 1380372 w 5719680"/>
                <a:gd name="connsiteY10191" fmla="*/ 3373906 h 5704395"/>
                <a:gd name="connsiteX10192" fmla="*/ 1403240 w 5719680"/>
                <a:gd name="connsiteY10192" fmla="*/ 3372004 h 5704395"/>
                <a:gd name="connsiteX10193" fmla="*/ 1432144 w 5719680"/>
                <a:gd name="connsiteY10193" fmla="*/ 3274403 h 5704395"/>
                <a:gd name="connsiteX10194" fmla="*/ 1394347 w 5719680"/>
                <a:gd name="connsiteY10194" fmla="*/ 3283276 h 5704395"/>
                <a:gd name="connsiteX10195" fmla="*/ 1400382 w 5719680"/>
                <a:gd name="connsiteY10195" fmla="*/ 3307676 h 5704395"/>
                <a:gd name="connsiteX10196" fmla="*/ 1437861 w 5719680"/>
                <a:gd name="connsiteY10196" fmla="*/ 3298486 h 5704395"/>
                <a:gd name="connsiteX10197" fmla="*/ 1432144 w 5719680"/>
                <a:gd name="connsiteY10197" fmla="*/ 3274403 h 5704395"/>
                <a:gd name="connsiteX10198" fmla="*/ 3783476 w 5719680"/>
                <a:gd name="connsiteY10198" fmla="*/ 3273135 h 5704395"/>
                <a:gd name="connsiteX10199" fmla="*/ 3753937 w 5719680"/>
                <a:gd name="connsiteY10199" fmla="*/ 3285177 h 5704395"/>
                <a:gd name="connsiteX10200" fmla="*/ 3725351 w 5719680"/>
                <a:gd name="connsiteY10200" fmla="*/ 3307993 h 5704395"/>
                <a:gd name="connsiteX10201" fmla="*/ 3917511 w 5719680"/>
                <a:gd name="connsiteY10201" fmla="*/ 3548828 h 5704395"/>
                <a:gd name="connsiteX10202" fmla="*/ 3925451 w 5719680"/>
                <a:gd name="connsiteY10202" fmla="*/ 3540906 h 5704395"/>
                <a:gd name="connsiteX10203" fmla="*/ 4013432 w 5719680"/>
                <a:gd name="connsiteY10203" fmla="*/ 3454712 h 5704395"/>
                <a:gd name="connsiteX10204" fmla="*/ 3803486 w 5719680"/>
                <a:gd name="connsiteY10204" fmla="*/ 3277889 h 5704395"/>
                <a:gd name="connsiteX10205" fmla="*/ 3783476 w 5719680"/>
                <a:gd name="connsiteY10205" fmla="*/ 3273135 h 5704395"/>
                <a:gd name="connsiteX10206" fmla="*/ 1039567 w 5719680"/>
                <a:gd name="connsiteY10206" fmla="*/ 3272501 h 5704395"/>
                <a:gd name="connsiteX10207" fmla="*/ 995735 w 5719680"/>
                <a:gd name="connsiteY10207" fmla="*/ 3292782 h 5704395"/>
                <a:gd name="connsiteX10208" fmla="*/ 985254 w 5719680"/>
                <a:gd name="connsiteY10208" fmla="*/ 3325739 h 5704395"/>
                <a:gd name="connsiteX10209" fmla="*/ 924589 w 5719680"/>
                <a:gd name="connsiteY10209" fmla="*/ 3333344 h 5704395"/>
                <a:gd name="connsiteX10210" fmla="*/ 932212 w 5719680"/>
                <a:gd name="connsiteY10210" fmla="*/ 3381511 h 5704395"/>
                <a:gd name="connsiteX10211" fmla="*/ 939834 w 5719680"/>
                <a:gd name="connsiteY10211" fmla="*/ 3378342 h 5704395"/>
                <a:gd name="connsiteX10212" fmla="*/ 973184 w 5719680"/>
                <a:gd name="connsiteY10212" fmla="*/ 3364082 h 5704395"/>
                <a:gd name="connsiteX10213" fmla="*/ 987160 w 5719680"/>
                <a:gd name="connsiteY10213" fmla="*/ 3358061 h 5704395"/>
                <a:gd name="connsiteX10214" fmla="*/ 990971 w 5719680"/>
                <a:gd name="connsiteY10214" fmla="*/ 3356477 h 5704395"/>
                <a:gd name="connsiteX10215" fmla="*/ 997959 w 5719680"/>
                <a:gd name="connsiteY10215" fmla="*/ 3340632 h 5704395"/>
                <a:gd name="connsiteX10216" fmla="*/ 998594 w 5719680"/>
                <a:gd name="connsiteY10216" fmla="*/ 3339365 h 5704395"/>
                <a:gd name="connsiteX10217" fmla="*/ 1064341 w 5719680"/>
                <a:gd name="connsiteY10217" fmla="*/ 3333978 h 5704395"/>
                <a:gd name="connsiteX10218" fmla="*/ 1056400 w 5719680"/>
                <a:gd name="connsiteY10218" fmla="*/ 3326372 h 5704395"/>
                <a:gd name="connsiteX10219" fmla="*/ 1047825 w 5719680"/>
                <a:gd name="connsiteY10219" fmla="*/ 3318450 h 5704395"/>
                <a:gd name="connsiteX10220" fmla="*/ 1044966 w 5719680"/>
                <a:gd name="connsiteY10220" fmla="*/ 3316232 h 5704395"/>
                <a:gd name="connsiteX10221" fmla="*/ 1044013 w 5719680"/>
                <a:gd name="connsiteY10221" fmla="*/ 3315598 h 5704395"/>
                <a:gd name="connsiteX10222" fmla="*/ 1042108 w 5719680"/>
                <a:gd name="connsiteY10222" fmla="*/ 3314331 h 5704395"/>
                <a:gd name="connsiteX10223" fmla="*/ 1041790 w 5719680"/>
                <a:gd name="connsiteY10223" fmla="*/ 3313063 h 5704395"/>
                <a:gd name="connsiteX10224" fmla="*/ 1044013 w 5719680"/>
                <a:gd name="connsiteY10224" fmla="*/ 3307042 h 5704395"/>
                <a:gd name="connsiteX10225" fmla="*/ 1054177 w 5719680"/>
                <a:gd name="connsiteY10225" fmla="*/ 3288663 h 5704395"/>
                <a:gd name="connsiteX10226" fmla="*/ 1039567 w 5719680"/>
                <a:gd name="connsiteY10226" fmla="*/ 3272501 h 5704395"/>
                <a:gd name="connsiteX10227" fmla="*/ 1435320 w 5719680"/>
                <a:gd name="connsiteY10227" fmla="*/ 3269333 h 5704395"/>
                <a:gd name="connsiteX10228" fmla="*/ 1442943 w 5719680"/>
                <a:gd name="connsiteY10228" fmla="*/ 3301655 h 5704395"/>
                <a:gd name="connsiteX10229" fmla="*/ 1397205 w 5719680"/>
                <a:gd name="connsiteY10229" fmla="*/ 3312429 h 5704395"/>
                <a:gd name="connsiteX10230" fmla="*/ 1396888 w 5719680"/>
                <a:gd name="connsiteY10230" fmla="*/ 3310528 h 5704395"/>
                <a:gd name="connsiteX10231" fmla="*/ 1389583 w 5719680"/>
                <a:gd name="connsiteY10231" fmla="*/ 3280424 h 5704395"/>
                <a:gd name="connsiteX10232" fmla="*/ 720677 w 5719680"/>
                <a:gd name="connsiteY10232" fmla="*/ 3268065 h 5704395"/>
                <a:gd name="connsiteX10233" fmla="*/ 617769 w 5719680"/>
                <a:gd name="connsiteY10233" fmla="*/ 3303557 h 5704395"/>
                <a:gd name="connsiteX10234" fmla="*/ 561233 w 5719680"/>
                <a:gd name="connsiteY10234" fmla="*/ 3354259 h 5704395"/>
                <a:gd name="connsiteX10235" fmla="*/ 505332 w 5719680"/>
                <a:gd name="connsiteY10235" fmla="*/ 3317816 h 5704395"/>
                <a:gd name="connsiteX10236" fmla="*/ 400200 w 5719680"/>
                <a:gd name="connsiteY10236" fmla="*/ 3375173 h 5704395"/>
                <a:gd name="connsiteX10237" fmla="*/ 416081 w 5719680"/>
                <a:gd name="connsiteY10237" fmla="*/ 3395454 h 5704395"/>
                <a:gd name="connsiteX10238" fmla="*/ 440220 w 5719680"/>
                <a:gd name="connsiteY10238" fmla="*/ 3423023 h 5704395"/>
                <a:gd name="connsiteX10239" fmla="*/ 465947 w 5719680"/>
                <a:gd name="connsiteY10239" fmla="*/ 3410348 h 5704395"/>
                <a:gd name="connsiteX10240" fmla="*/ 513272 w 5719680"/>
                <a:gd name="connsiteY10240" fmla="*/ 3398623 h 5704395"/>
                <a:gd name="connsiteX10241" fmla="*/ 556151 w 5719680"/>
                <a:gd name="connsiteY10241" fmla="*/ 3390384 h 5704395"/>
                <a:gd name="connsiteX10242" fmla="*/ 609511 w 5719680"/>
                <a:gd name="connsiteY10242" fmla="*/ 3350456 h 5704395"/>
                <a:gd name="connsiteX10243" fmla="*/ 670494 w 5719680"/>
                <a:gd name="connsiteY10243" fmla="*/ 3317816 h 5704395"/>
                <a:gd name="connsiteX10244" fmla="*/ 699397 w 5719680"/>
                <a:gd name="connsiteY10244" fmla="*/ 3326689 h 5704395"/>
                <a:gd name="connsiteX10245" fmla="*/ 700985 w 5719680"/>
                <a:gd name="connsiteY10245" fmla="*/ 3327640 h 5704395"/>
                <a:gd name="connsiteX10246" fmla="*/ 701303 w 5719680"/>
                <a:gd name="connsiteY10246" fmla="*/ 3329541 h 5704395"/>
                <a:gd name="connsiteX10247" fmla="*/ 705114 w 5719680"/>
                <a:gd name="connsiteY10247" fmla="*/ 3344118 h 5704395"/>
                <a:gd name="connsiteX10248" fmla="*/ 720677 w 5719680"/>
                <a:gd name="connsiteY10248" fmla="*/ 3268065 h 5704395"/>
                <a:gd name="connsiteX10249" fmla="*/ 1040837 w 5719680"/>
                <a:gd name="connsiteY10249" fmla="*/ 3266481 h 5704395"/>
                <a:gd name="connsiteX10250" fmla="*/ 1042108 w 5719680"/>
                <a:gd name="connsiteY10250" fmla="*/ 3268065 h 5704395"/>
                <a:gd name="connsiteX10251" fmla="*/ 1049730 w 5719680"/>
                <a:gd name="connsiteY10251" fmla="*/ 3277255 h 5704395"/>
                <a:gd name="connsiteX10252" fmla="*/ 1055448 w 5719680"/>
                <a:gd name="connsiteY10252" fmla="*/ 3283593 h 5704395"/>
                <a:gd name="connsiteX10253" fmla="*/ 1057353 w 5719680"/>
                <a:gd name="connsiteY10253" fmla="*/ 3285494 h 5704395"/>
                <a:gd name="connsiteX10254" fmla="*/ 1057671 w 5719680"/>
                <a:gd name="connsiteY10254" fmla="*/ 3285811 h 5704395"/>
                <a:gd name="connsiteX10255" fmla="*/ 1061482 w 5719680"/>
                <a:gd name="connsiteY10255" fmla="*/ 3285811 h 5704395"/>
                <a:gd name="connsiteX10256" fmla="*/ 1059259 w 5719680"/>
                <a:gd name="connsiteY10256" fmla="*/ 3289297 h 5704395"/>
                <a:gd name="connsiteX10257" fmla="*/ 1052907 w 5719680"/>
                <a:gd name="connsiteY10257" fmla="*/ 3300705 h 5704395"/>
                <a:gd name="connsiteX10258" fmla="*/ 1048460 w 5719680"/>
                <a:gd name="connsiteY10258" fmla="*/ 3309260 h 5704395"/>
                <a:gd name="connsiteX10259" fmla="*/ 1046872 w 5719680"/>
                <a:gd name="connsiteY10259" fmla="*/ 3311796 h 5704395"/>
                <a:gd name="connsiteX10260" fmla="*/ 1047507 w 5719680"/>
                <a:gd name="connsiteY10260" fmla="*/ 3312429 h 5704395"/>
                <a:gd name="connsiteX10261" fmla="*/ 1071329 w 5719680"/>
                <a:gd name="connsiteY10261" fmla="*/ 3334295 h 5704395"/>
                <a:gd name="connsiteX10262" fmla="*/ 1074822 w 5719680"/>
                <a:gd name="connsiteY10262" fmla="*/ 3337780 h 5704395"/>
                <a:gd name="connsiteX10263" fmla="*/ 1001452 w 5719680"/>
                <a:gd name="connsiteY10263" fmla="*/ 3343801 h 5704395"/>
                <a:gd name="connsiteX10264" fmla="*/ 998911 w 5719680"/>
                <a:gd name="connsiteY10264" fmla="*/ 3349188 h 5704395"/>
                <a:gd name="connsiteX10265" fmla="*/ 995735 w 5719680"/>
                <a:gd name="connsiteY10265" fmla="*/ 3356160 h 5704395"/>
                <a:gd name="connsiteX10266" fmla="*/ 996371 w 5719680"/>
                <a:gd name="connsiteY10266" fmla="*/ 3357427 h 5704395"/>
                <a:gd name="connsiteX10267" fmla="*/ 995100 w 5719680"/>
                <a:gd name="connsiteY10267" fmla="*/ 3359646 h 5704395"/>
                <a:gd name="connsiteX10268" fmla="*/ 962068 w 5719680"/>
                <a:gd name="connsiteY10268" fmla="*/ 3373906 h 5704395"/>
                <a:gd name="connsiteX10269" fmla="*/ 940470 w 5719680"/>
                <a:gd name="connsiteY10269" fmla="*/ 3383095 h 5704395"/>
                <a:gd name="connsiteX10270" fmla="*/ 933482 w 5719680"/>
                <a:gd name="connsiteY10270" fmla="*/ 3386264 h 5704395"/>
                <a:gd name="connsiteX10271" fmla="*/ 931576 w 5719680"/>
                <a:gd name="connsiteY10271" fmla="*/ 3387215 h 5704395"/>
                <a:gd name="connsiteX10272" fmla="*/ 931259 w 5719680"/>
                <a:gd name="connsiteY10272" fmla="*/ 3387215 h 5704395"/>
                <a:gd name="connsiteX10273" fmla="*/ 929671 w 5719680"/>
                <a:gd name="connsiteY10273" fmla="*/ 3387849 h 5704395"/>
                <a:gd name="connsiteX10274" fmla="*/ 928400 w 5719680"/>
                <a:gd name="connsiteY10274" fmla="*/ 3387215 h 5704395"/>
                <a:gd name="connsiteX10275" fmla="*/ 927447 w 5719680"/>
                <a:gd name="connsiteY10275" fmla="*/ 3385314 h 5704395"/>
                <a:gd name="connsiteX10276" fmla="*/ 927765 w 5719680"/>
                <a:gd name="connsiteY10276" fmla="*/ 3384680 h 5704395"/>
                <a:gd name="connsiteX10277" fmla="*/ 927765 w 5719680"/>
                <a:gd name="connsiteY10277" fmla="*/ 3384363 h 5704395"/>
                <a:gd name="connsiteX10278" fmla="*/ 919824 w 5719680"/>
                <a:gd name="connsiteY10278" fmla="*/ 3331760 h 5704395"/>
                <a:gd name="connsiteX10279" fmla="*/ 919189 w 5719680"/>
                <a:gd name="connsiteY10279" fmla="*/ 3329224 h 5704395"/>
                <a:gd name="connsiteX10280" fmla="*/ 981760 w 5719680"/>
                <a:gd name="connsiteY10280" fmla="*/ 3321302 h 5704395"/>
                <a:gd name="connsiteX10281" fmla="*/ 991924 w 5719680"/>
                <a:gd name="connsiteY10281" fmla="*/ 3289297 h 5704395"/>
                <a:gd name="connsiteX10282" fmla="*/ 1040837 w 5719680"/>
                <a:gd name="connsiteY10282" fmla="*/ 3266481 h 5704395"/>
                <a:gd name="connsiteX10283" fmla="*/ 1994964 w 5719680"/>
                <a:gd name="connsiteY10283" fmla="*/ 3260460 h 5704395"/>
                <a:gd name="connsiteX10284" fmla="*/ 1986071 w 5719680"/>
                <a:gd name="connsiteY10284" fmla="*/ 3307042 h 5704395"/>
                <a:gd name="connsiteX10285" fmla="*/ 2025455 w 5719680"/>
                <a:gd name="connsiteY10285" fmla="*/ 3317183 h 5704395"/>
                <a:gd name="connsiteX10286" fmla="*/ 2036572 w 5719680"/>
                <a:gd name="connsiteY10286" fmla="*/ 3263946 h 5704395"/>
                <a:gd name="connsiteX10287" fmla="*/ 1884750 w 5719680"/>
                <a:gd name="connsiteY10287" fmla="*/ 3260143 h 5704395"/>
                <a:gd name="connsiteX10288" fmla="*/ 1804075 w 5719680"/>
                <a:gd name="connsiteY10288" fmla="*/ 3261727 h 5704395"/>
                <a:gd name="connsiteX10289" fmla="*/ 1743410 w 5719680"/>
                <a:gd name="connsiteY10289" fmla="*/ 3262995 h 5704395"/>
                <a:gd name="connsiteX10290" fmla="*/ 1722765 w 5719680"/>
                <a:gd name="connsiteY10290" fmla="*/ 3263629 h 5704395"/>
                <a:gd name="connsiteX10291" fmla="*/ 1717048 w 5719680"/>
                <a:gd name="connsiteY10291" fmla="*/ 3263629 h 5704395"/>
                <a:gd name="connsiteX10292" fmla="*/ 1715460 w 5719680"/>
                <a:gd name="connsiteY10292" fmla="*/ 3263629 h 5704395"/>
                <a:gd name="connsiteX10293" fmla="*/ 1714824 w 5719680"/>
                <a:gd name="connsiteY10293" fmla="*/ 3263946 h 5704395"/>
                <a:gd name="connsiteX10294" fmla="*/ 1594764 w 5719680"/>
                <a:gd name="connsiteY10294" fmla="*/ 3288980 h 5704395"/>
                <a:gd name="connsiteX10295" fmla="*/ 1604928 w 5719680"/>
                <a:gd name="connsiteY10295" fmla="*/ 3373906 h 5704395"/>
                <a:gd name="connsiteX10296" fmla="*/ 1713554 w 5719680"/>
                <a:gd name="connsiteY10296" fmla="*/ 3352357 h 5704395"/>
                <a:gd name="connsiteX10297" fmla="*/ 1713871 w 5719680"/>
                <a:gd name="connsiteY10297" fmla="*/ 3352357 h 5704395"/>
                <a:gd name="connsiteX10298" fmla="*/ 1865693 w 5719680"/>
                <a:gd name="connsiteY10298" fmla="*/ 3351407 h 5704395"/>
                <a:gd name="connsiteX10299" fmla="*/ 1877763 w 5719680"/>
                <a:gd name="connsiteY10299" fmla="*/ 3351407 h 5704395"/>
                <a:gd name="connsiteX10300" fmla="*/ 1884750 w 5719680"/>
                <a:gd name="connsiteY10300" fmla="*/ 3260143 h 5704395"/>
                <a:gd name="connsiteX10301" fmla="*/ 1985753 w 5719680"/>
                <a:gd name="connsiteY10301" fmla="*/ 3259826 h 5704395"/>
                <a:gd name="connsiteX10302" fmla="*/ 1973684 w 5719680"/>
                <a:gd name="connsiteY10302" fmla="*/ 3322887 h 5704395"/>
                <a:gd name="connsiteX10303" fmla="*/ 2138845 w 5719680"/>
                <a:gd name="connsiteY10303" fmla="*/ 3335245 h 5704395"/>
                <a:gd name="connsiteX10304" fmla="*/ 2145515 w 5719680"/>
                <a:gd name="connsiteY10304" fmla="*/ 3272818 h 5704395"/>
                <a:gd name="connsiteX10305" fmla="*/ 2041019 w 5719680"/>
                <a:gd name="connsiteY10305" fmla="*/ 3264262 h 5704395"/>
                <a:gd name="connsiteX10306" fmla="*/ 2028632 w 5719680"/>
                <a:gd name="connsiteY10306" fmla="*/ 3322570 h 5704395"/>
                <a:gd name="connsiteX10307" fmla="*/ 1981306 w 5719680"/>
                <a:gd name="connsiteY10307" fmla="*/ 3310211 h 5704395"/>
                <a:gd name="connsiteX10308" fmla="*/ 1981624 w 5719680"/>
                <a:gd name="connsiteY10308" fmla="*/ 3308310 h 5704395"/>
                <a:gd name="connsiteX10309" fmla="*/ 1990517 w 5719680"/>
                <a:gd name="connsiteY10309" fmla="*/ 3260143 h 5704395"/>
                <a:gd name="connsiteX10310" fmla="*/ 1985753 w 5719680"/>
                <a:gd name="connsiteY10310" fmla="*/ 3259826 h 5704395"/>
                <a:gd name="connsiteX10311" fmla="*/ 1490903 w 5719680"/>
                <a:gd name="connsiteY10311" fmla="*/ 3259192 h 5704395"/>
                <a:gd name="connsiteX10312" fmla="*/ 1453106 w 5719680"/>
                <a:gd name="connsiteY10312" fmla="*/ 3268382 h 5704395"/>
                <a:gd name="connsiteX10313" fmla="*/ 1459141 w 5719680"/>
                <a:gd name="connsiteY10313" fmla="*/ 3292465 h 5704395"/>
                <a:gd name="connsiteX10314" fmla="*/ 1496938 w 5719680"/>
                <a:gd name="connsiteY10314" fmla="*/ 3283276 h 5704395"/>
                <a:gd name="connsiteX10315" fmla="*/ 1436273 w 5719680"/>
                <a:gd name="connsiteY10315" fmla="*/ 3258875 h 5704395"/>
                <a:gd name="connsiteX10316" fmla="*/ 1380689 w 5719680"/>
                <a:gd name="connsiteY10316" fmla="*/ 3274086 h 5704395"/>
                <a:gd name="connsiteX10317" fmla="*/ 1408004 w 5719680"/>
                <a:gd name="connsiteY10317" fmla="*/ 3371371 h 5704395"/>
                <a:gd name="connsiteX10318" fmla="*/ 1464223 w 5719680"/>
                <a:gd name="connsiteY10318" fmla="*/ 3366617 h 5704395"/>
                <a:gd name="connsiteX10319" fmla="*/ 202641 w 5719680"/>
                <a:gd name="connsiteY10319" fmla="*/ 3257291 h 5704395"/>
                <a:gd name="connsiteX10320" fmla="*/ 158492 w 5719680"/>
                <a:gd name="connsiteY10320" fmla="*/ 3277889 h 5704395"/>
                <a:gd name="connsiteX10321" fmla="*/ 186760 w 5719680"/>
                <a:gd name="connsiteY10321" fmla="*/ 3327957 h 5704395"/>
                <a:gd name="connsiteX10322" fmla="*/ 224557 w 5719680"/>
                <a:gd name="connsiteY10322" fmla="*/ 3306408 h 5704395"/>
                <a:gd name="connsiteX10323" fmla="*/ 225827 w 5719680"/>
                <a:gd name="connsiteY10323" fmla="*/ 3308627 h 5704395"/>
                <a:gd name="connsiteX10324" fmla="*/ 274741 w 5719680"/>
                <a:gd name="connsiteY10324" fmla="*/ 3385314 h 5704395"/>
                <a:gd name="connsiteX10325" fmla="*/ 308408 w 5719680"/>
                <a:gd name="connsiteY10325" fmla="*/ 3438551 h 5704395"/>
                <a:gd name="connsiteX10326" fmla="*/ 319525 w 5719680"/>
                <a:gd name="connsiteY10326" fmla="*/ 3456296 h 5704395"/>
                <a:gd name="connsiteX10327" fmla="*/ 322701 w 5719680"/>
                <a:gd name="connsiteY10327" fmla="*/ 3461367 h 5704395"/>
                <a:gd name="connsiteX10328" fmla="*/ 323336 w 5719680"/>
                <a:gd name="connsiteY10328" fmla="*/ 3462634 h 5704395"/>
                <a:gd name="connsiteX10329" fmla="*/ 323654 w 5719680"/>
                <a:gd name="connsiteY10329" fmla="*/ 3463268 h 5704395"/>
                <a:gd name="connsiteX10330" fmla="*/ 323971 w 5719680"/>
                <a:gd name="connsiteY10330" fmla="*/ 3464536 h 5704395"/>
                <a:gd name="connsiteX10331" fmla="*/ 322701 w 5719680"/>
                <a:gd name="connsiteY10331" fmla="*/ 3466754 h 5704395"/>
                <a:gd name="connsiteX10332" fmla="*/ 321430 w 5719680"/>
                <a:gd name="connsiteY10332" fmla="*/ 3467071 h 5704395"/>
                <a:gd name="connsiteX10333" fmla="*/ 306185 w 5719680"/>
                <a:gd name="connsiteY10333" fmla="*/ 3476894 h 5704395"/>
                <a:gd name="connsiteX10334" fmla="*/ 292845 w 5719680"/>
                <a:gd name="connsiteY10334" fmla="*/ 3486084 h 5704395"/>
                <a:gd name="connsiteX10335" fmla="*/ 241073 w 5719680"/>
                <a:gd name="connsiteY10335" fmla="*/ 3557701 h 5704395"/>
                <a:gd name="connsiteX10336" fmla="*/ 313172 w 5719680"/>
                <a:gd name="connsiteY10336" fmla="*/ 3600797 h 5704395"/>
                <a:gd name="connsiteX10337" fmla="*/ 307773 w 5719680"/>
                <a:gd name="connsiteY10337" fmla="*/ 3587488 h 5704395"/>
                <a:gd name="connsiteX10338" fmla="*/ 294115 w 5719680"/>
                <a:gd name="connsiteY10338" fmla="*/ 3551046 h 5704395"/>
                <a:gd name="connsiteX10339" fmla="*/ 294115 w 5719680"/>
                <a:gd name="connsiteY10339" fmla="*/ 3550729 h 5704395"/>
                <a:gd name="connsiteX10340" fmla="*/ 350016 w 5719680"/>
                <a:gd name="connsiteY10340" fmla="*/ 3494957 h 5704395"/>
                <a:gd name="connsiteX10341" fmla="*/ 358274 w 5719680"/>
                <a:gd name="connsiteY10341" fmla="*/ 3492105 h 5704395"/>
                <a:gd name="connsiteX10342" fmla="*/ 356686 w 5719680"/>
                <a:gd name="connsiteY10342" fmla="*/ 3480380 h 5704395"/>
                <a:gd name="connsiteX10343" fmla="*/ 363039 w 5719680"/>
                <a:gd name="connsiteY10343" fmla="*/ 3462000 h 5704395"/>
                <a:gd name="connsiteX10344" fmla="*/ 373520 w 5719680"/>
                <a:gd name="connsiteY10344" fmla="*/ 3454712 h 5704395"/>
                <a:gd name="connsiteX10345" fmla="*/ 283634 w 5719680"/>
                <a:gd name="connsiteY10345" fmla="*/ 3351090 h 5704395"/>
                <a:gd name="connsiteX10346" fmla="*/ 202641 w 5719680"/>
                <a:gd name="connsiteY10346" fmla="*/ 3257291 h 5704395"/>
                <a:gd name="connsiteX10347" fmla="*/ 2168384 w 5719680"/>
                <a:gd name="connsiteY10347" fmla="*/ 3256023 h 5704395"/>
                <a:gd name="connsiteX10348" fmla="*/ 2148056 w 5719680"/>
                <a:gd name="connsiteY10348" fmla="*/ 3445522 h 5704395"/>
                <a:gd name="connsiteX10349" fmla="*/ 2210627 w 5719680"/>
                <a:gd name="connsiteY10349" fmla="*/ 3459782 h 5704395"/>
                <a:gd name="connsiteX10350" fmla="*/ 2242389 w 5719680"/>
                <a:gd name="connsiteY10350" fmla="*/ 3289613 h 5704395"/>
                <a:gd name="connsiteX10351" fmla="*/ 2243977 w 5719680"/>
                <a:gd name="connsiteY10351" fmla="*/ 3289930 h 5704395"/>
                <a:gd name="connsiteX10352" fmla="*/ 2168384 w 5719680"/>
                <a:gd name="connsiteY10352" fmla="*/ 3256023 h 5704395"/>
                <a:gd name="connsiteX10353" fmla="*/ 1494079 w 5719680"/>
                <a:gd name="connsiteY10353" fmla="*/ 3254439 h 5704395"/>
                <a:gd name="connsiteX10354" fmla="*/ 1501702 w 5719680"/>
                <a:gd name="connsiteY10354" fmla="*/ 3286445 h 5704395"/>
                <a:gd name="connsiteX10355" fmla="*/ 1455965 w 5719680"/>
                <a:gd name="connsiteY10355" fmla="*/ 3297536 h 5704395"/>
                <a:gd name="connsiteX10356" fmla="*/ 1455647 w 5719680"/>
                <a:gd name="connsiteY10356" fmla="*/ 3295317 h 5704395"/>
                <a:gd name="connsiteX10357" fmla="*/ 1448342 w 5719680"/>
                <a:gd name="connsiteY10357" fmla="*/ 3265213 h 5704395"/>
                <a:gd name="connsiteX10358" fmla="*/ 1494079 w 5719680"/>
                <a:gd name="connsiteY10358" fmla="*/ 3254439 h 5704395"/>
                <a:gd name="connsiteX10359" fmla="*/ 766097 w 5719680"/>
                <a:gd name="connsiteY10359" fmla="*/ 3249369 h 5704395"/>
                <a:gd name="connsiteX10360" fmla="*/ 748310 w 5719680"/>
                <a:gd name="connsiteY10360" fmla="*/ 3250002 h 5704395"/>
                <a:gd name="connsiteX10361" fmla="*/ 737194 w 5719680"/>
                <a:gd name="connsiteY10361" fmla="*/ 3325739 h 5704395"/>
                <a:gd name="connsiteX10362" fmla="*/ 805482 w 5719680"/>
                <a:gd name="connsiteY10362" fmla="*/ 3327957 h 5704395"/>
                <a:gd name="connsiteX10363" fmla="*/ 790871 w 5719680"/>
                <a:gd name="connsiteY10363" fmla="*/ 3301021 h 5704395"/>
                <a:gd name="connsiteX10364" fmla="*/ 763556 w 5719680"/>
                <a:gd name="connsiteY10364" fmla="*/ 3282642 h 5704395"/>
                <a:gd name="connsiteX10365" fmla="*/ 766097 w 5719680"/>
                <a:gd name="connsiteY10365" fmla="*/ 3249369 h 5704395"/>
                <a:gd name="connsiteX10366" fmla="*/ 807705 w 5719680"/>
                <a:gd name="connsiteY10366" fmla="*/ 3248418 h 5704395"/>
                <a:gd name="connsiteX10367" fmla="*/ 792459 w 5719680"/>
                <a:gd name="connsiteY10367" fmla="*/ 3249052 h 5704395"/>
                <a:gd name="connsiteX10368" fmla="*/ 845184 w 5719680"/>
                <a:gd name="connsiteY10368" fmla="*/ 3327323 h 5704395"/>
                <a:gd name="connsiteX10369" fmla="*/ 863923 w 5719680"/>
                <a:gd name="connsiteY10369" fmla="*/ 3326689 h 5704395"/>
                <a:gd name="connsiteX10370" fmla="*/ 1555062 w 5719680"/>
                <a:gd name="connsiteY10370" fmla="*/ 3245883 h 5704395"/>
                <a:gd name="connsiteX10371" fmla="*/ 1517265 w 5719680"/>
                <a:gd name="connsiteY10371" fmla="*/ 3254756 h 5704395"/>
                <a:gd name="connsiteX10372" fmla="*/ 1522983 w 5719680"/>
                <a:gd name="connsiteY10372" fmla="*/ 3278839 h 5704395"/>
                <a:gd name="connsiteX10373" fmla="*/ 1560779 w 5719680"/>
                <a:gd name="connsiteY10373" fmla="*/ 3269966 h 5704395"/>
                <a:gd name="connsiteX10374" fmla="*/ 771179 w 5719680"/>
                <a:gd name="connsiteY10374" fmla="*/ 3244615 h 5704395"/>
                <a:gd name="connsiteX10375" fmla="*/ 771179 w 5719680"/>
                <a:gd name="connsiteY10375" fmla="*/ 3247467 h 5704395"/>
                <a:gd name="connsiteX10376" fmla="*/ 768638 w 5719680"/>
                <a:gd name="connsiteY10376" fmla="*/ 3280107 h 5704395"/>
                <a:gd name="connsiteX10377" fmla="*/ 794365 w 5719680"/>
                <a:gd name="connsiteY10377" fmla="*/ 3297853 h 5704395"/>
                <a:gd name="connsiteX10378" fmla="*/ 813422 w 5719680"/>
                <a:gd name="connsiteY10378" fmla="*/ 3332710 h 5704395"/>
                <a:gd name="connsiteX10379" fmla="*/ 731794 w 5719680"/>
                <a:gd name="connsiteY10379" fmla="*/ 3330492 h 5704395"/>
                <a:gd name="connsiteX10380" fmla="*/ 744181 w 5719680"/>
                <a:gd name="connsiteY10380" fmla="*/ 3245249 h 5704395"/>
                <a:gd name="connsiteX10381" fmla="*/ 771179 w 5719680"/>
                <a:gd name="connsiteY10381" fmla="*/ 3244615 h 5704395"/>
                <a:gd name="connsiteX10382" fmla="*/ 1495667 w 5719680"/>
                <a:gd name="connsiteY10382" fmla="*/ 3243348 h 5704395"/>
                <a:gd name="connsiteX10383" fmla="*/ 1440402 w 5719680"/>
                <a:gd name="connsiteY10383" fmla="*/ 3257608 h 5704395"/>
                <a:gd name="connsiteX10384" fmla="*/ 1468670 w 5719680"/>
                <a:gd name="connsiteY10384" fmla="*/ 3365983 h 5704395"/>
                <a:gd name="connsiteX10385" fmla="*/ 1524888 w 5719680"/>
                <a:gd name="connsiteY10385" fmla="*/ 3361230 h 5704395"/>
                <a:gd name="connsiteX10386" fmla="*/ 1495667 w 5719680"/>
                <a:gd name="connsiteY10386" fmla="*/ 3243348 h 5704395"/>
                <a:gd name="connsiteX10387" fmla="*/ 1557921 w 5719680"/>
                <a:gd name="connsiteY10387" fmla="*/ 3240813 h 5704395"/>
                <a:gd name="connsiteX10388" fmla="*/ 1565861 w 5719680"/>
                <a:gd name="connsiteY10388" fmla="*/ 3272818 h 5704395"/>
                <a:gd name="connsiteX10389" fmla="*/ 1520124 w 5719680"/>
                <a:gd name="connsiteY10389" fmla="*/ 3283909 h 5704395"/>
                <a:gd name="connsiteX10390" fmla="*/ 1519489 w 5719680"/>
                <a:gd name="connsiteY10390" fmla="*/ 3282008 h 5704395"/>
                <a:gd name="connsiteX10391" fmla="*/ 1512183 w 5719680"/>
                <a:gd name="connsiteY10391" fmla="*/ 3251904 h 5704395"/>
                <a:gd name="connsiteX10392" fmla="*/ 1557921 w 5719680"/>
                <a:gd name="connsiteY10392" fmla="*/ 3240813 h 5704395"/>
                <a:gd name="connsiteX10393" fmla="*/ 256001 w 5719680"/>
                <a:gd name="connsiteY10393" fmla="*/ 3239228 h 5704395"/>
                <a:gd name="connsiteX10394" fmla="*/ 223922 w 5719680"/>
                <a:gd name="connsiteY10394" fmla="*/ 3248735 h 5704395"/>
                <a:gd name="connsiteX10395" fmla="*/ 303644 w 5719680"/>
                <a:gd name="connsiteY10395" fmla="*/ 3340632 h 5704395"/>
                <a:gd name="connsiteX10396" fmla="*/ 393530 w 5719680"/>
                <a:gd name="connsiteY10396" fmla="*/ 3444255 h 5704395"/>
                <a:gd name="connsiteX10397" fmla="*/ 403059 w 5719680"/>
                <a:gd name="connsiteY10397" fmla="*/ 3439818 h 5704395"/>
                <a:gd name="connsiteX10398" fmla="*/ 323019 w 5719680"/>
                <a:gd name="connsiteY10398" fmla="*/ 3340632 h 5704395"/>
                <a:gd name="connsiteX10399" fmla="*/ 290621 w 5719680"/>
                <a:gd name="connsiteY10399" fmla="*/ 3279156 h 5704395"/>
                <a:gd name="connsiteX10400" fmla="*/ 270294 w 5719680"/>
                <a:gd name="connsiteY10400" fmla="*/ 3250319 h 5704395"/>
                <a:gd name="connsiteX10401" fmla="*/ 256636 w 5719680"/>
                <a:gd name="connsiteY10401" fmla="*/ 3239228 h 5704395"/>
                <a:gd name="connsiteX10402" fmla="*/ 256319 w 5719680"/>
                <a:gd name="connsiteY10402" fmla="*/ 3239228 h 5704395"/>
                <a:gd name="connsiteX10403" fmla="*/ 256001 w 5719680"/>
                <a:gd name="connsiteY10403" fmla="*/ 3239228 h 5704395"/>
                <a:gd name="connsiteX10404" fmla="*/ 742275 w 5719680"/>
                <a:gd name="connsiteY10404" fmla="*/ 3232257 h 5704395"/>
                <a:gd name="connsiteX10405" fmla="*/ 720995 w 5719680"/>
                <a:gd name="connsiteY10405" fmla="*/ 3338731 h 5704395"/>
                <a:gd name="connsiteX10406" fmla="*/ 792142 w 5719680"/>
                <a:gd name="connsiteY10406" fmla="*/ 3351407 h 5704395"/>
                <a:gd name="connsiteX10407" fmla="*/ 807070 w 5719680"/>
                <a:gd name="connsiteY10407" fmla="*/ 3347604 h 5704395"/>
                <a:gd name="connsiteX10408" fmla="*/ 805164 w 5719680"/>
                <a:gd name="connsiteY10408" fmla="*/ 3346336 h 5704395"/>
                <a:gd name="connsiteX10409" fmla="*/ 811834 w 5719680"/>
                <a:gd name="connsiteY10409" fmla="*/ 3346336 h 5704395"/>
                <a:gd name="connsiteX10410" fmla="*/ 871546 w 5719680"/>
                <a:gd name="connsiteY10410" fmla="*/ 3330809 h 5704395"/>
                <a:gd name="connsiteX10411" fmla="*/ 868370 w 5719680"/>
                <a:gd name="connsiteY10411" fmla="*/ 3331126 h 5704395"/>
                <a:gd name="connsiteX10412" fmla="*/ 842643 w 5719680"/>
                <a:gd name="connsiteY10412" fmla="*/ 3332393 h 5704395"/>
                <a:gd name="connsiteX10413" fmla="*/ 783884 w 5719680"/>
                <a:gd name="connsiteY10413" fmla="*/ 3244932 h 5704395"/>
                <a:gd name="connsiteX10414" fmla="*/ 809928 w 5719680"/>
                <a:gd name="connsiteY10414" fmla="*/ 3243665 h 5704395"/>
                <a:gd name="connsiteX10415" fmla="*/ 872499 w 5719680"/>
                <a:gd name="connsiteY10415" fmla="*/ 3330492 h 5704395"/>
                <a:gd name="connsiteX10416" fmla="*/ 889968 w 5719680"/>
                <a:gd name="connsiteY10416" fmla="*/ 3326056 h 5704395"/>
                <a:gd name="connsiteX10417" fmla="*/ 819774 w 5719680"/>
                <a:gd name="connsiteY10417" fmla="*/ 3232891 h 5704395"/>
                <a:gd name="connsiteX10418" fmla="*/ 781978 w 5719680"/>
                <a:gd name="connsiteY10418" fmla="*/ 3235109 h 5704395"/>
                <a:gd name="connsiteX10419" fmla="*/ 742275 w 5719680"/>
                <a:gd name="connsiteY10419" fmla="*/ 3232257 h 5704395"/>
                <a:gd name="connsiteX10420" fmla="*/ 1645583 w 5719680"/>
                <a:gd name="connsiteY10420" fmla="*/ 3231306 h 5704395"/>
                <a:gd name="connsiteX10421" fmla="*/ 1607469 w 5719680"/>
                <a:gd name="connsiteY10421" fmla="*/ 3237644 h 5704395"/>
                <a:gd name="connsiteX10422" fmla="*/ 1611281 w 5719680"/>
                <a:gd name="connsiteY10422" fmla="*/ 3262044 h 5704395"/>
                <a:gd name="connsiteX10423" fmla="*/ 1649712 w 5719680"/>
                <a:gd name="connsiteY10423" fmla="*/ 3256023 h 5704395"/>
                <a:gd name="connsiteX10424" fmla="*/ 1645583 w 5719680"/>
                <a:gd name="connsiteY10424" fmla="*/ 3231306 h 5704395"/>
                <a:gd name="connsiteX10425" fmla="*/ 1649077 w 5719680"/>
                <a:gd name="connsiteY10425" fmla="*/ 3226870 h 5704395"/>
                <a:gd name="connsiteX10426" fmla="*/ 1654477 w 5719680"/>
                <a:gd name="connsiteY10426" fmla="*/ 3259509 h 5704395"/>
                <a:gd name="connsiteX10427" fmla="*/ 1608104 w 5719680"/>
                <a:gd name="connsiteY10427" fmla="*/ 3266798 h 5704395"/>
                <a:gd name="connsiteX10428" fmla="*/ 1607469 w 5719680"/>
                <a:gd name="connsiteY10428" fmla="*/ 3264896 h 5704395"/>
                <a:gd name="connsiteX10429" fmla="*/ 1602705 w 5719680"/>
                <a:gd name="connsiteY10429" fmla="*/ 3234158 h 5704395"/>
                <a:gd name="connsiteX10430" fmla="*/ 1566814 w 5719680"/>
                <a:gd name="connsiteY10430" fmla="*/ 3226870 h 5704395"/>
                <a:gd name="connsiteX10431" fmla="*/ 1539499 w 5719680"/>
                <a:gd name="connsiteY10431" fmla="*/ 3232891 h 5704395"/>
                <a:gd name="connsiteX10432" fmla="*/ 1499796 w 5719680"/>
                <a:gd name="connsiteY10432" fmla="*/ 3242397 h 5704395"/>
                <a:gd name="connsiteX10433" fmla="*/ 1529335 w 5719680"/>
                <a:gd name="connsiteY10433" fmla="*/ 3360596 h 5704395"/>
                <a:gd name="connsiteX10434" fmla="*/ 1581742 w 5719680"/>
                <a:gd name="connsiteY10434" fmla="*/ 3356160 h 5704395"/>
                <a:gd name="connsiteX10435" fmla="*/ 1566814 w 5719680"/>
                <a:gd name="connsiteY10435" fmla="*/ 3226870 h 5704395"/>
                <a:gd name="connsiteX10436" fmla="*/ 1184401 w 5719680"/>
                <a:gd name="connsiteY10436" fmla="*/ 3225285 h 5704395"/>
                <a:gd name="connsiteX10437" fmla="*/ 1163120 w 5719680"/>
                <a:gd name="connsiteY10437" fmla="*/ 3232257 h 5704395"/>
                <a:gd name="connsiteX10438" fmla="*/ 1164391 w 5719680"/>
                <a:gd name="connsiteY10438" fmla="*/ 3235742 h 5704395"/>
                <a:gd name="connsiteX10439" fmla="*/ 1165026 w 5719680"/>
                <a:gd name="connsiteY10439" fmla="*/ 3237644 h 5704395"/>
                <a:gd name="connsiteX10440" fmla="*/ 1150098 w 5719680"/>
                <a:gd name="connsiteY10440" fmla="*/ 3242714 h 5704395"/>
                <a:gd name="connsiteX10441" fmla="*/ 1166297 w 5719680"/>
                <a:gd name="connsiteY10441" fmla="*/ 3294684 h 5704395"/>
                <a:gd name="connsiteX10442" fmla="*/ 1181225 w 5719680"/>
                <a:gd name="connsiteY10442" fmla="*/ 3289930 h 5704395"/>
                <a:gd name="connsiteX10443" fmla="*/ 1173919 w 5719680"/>
                <a:gd name="connsiteY10443" fmla="*/ 3267114 h 5704395"/>
                <a:gd name="connsiteX10444" fmla="*/ 1195835 w 5719680"/>
                <a:gd name="connsiteY10444" fmla="*/ 3259826 h 5704395"/>
                <a:gd name="connsiteX10445" fmla="*/ 1184401 w 5719680"/>
                <a:gd name="connsiteY10445" fmla="*/ 3225285 h 5704395"/>
                <a:gd name="connsiteX10446" fmla="*/ 570126 w 5719680"/>
                <a:gd name="connsiteY10446" fmla="*/ 3221799 h 5704395"/>
                <a:gd name="connsiteX10447" fmla="*/ 534235 w 5719680"/>
                <a:gd name="connsiteY10447" fmla="*/ 3236059 h 5704395"/>
                <a:gd name="connsiteX10448" fmla="*/ 530106 w 5719680"/>
                <a:gd name="connsiteY10448" fmla="*/ 3303557 h 5704395"/>
                <a:gd name="connsiteX10449" fmla="*/ 564409 w 5719680"/>
                <a:gd name="connsiteY10449" fmla="*/ 3323837 h 5704395"/>
                <a:gd name="connsiteX10450" fmla="*/ 605064 w 5719680"/>
                <a:gd name="connsiteY10450" fmla="*/ 3282642 h 5704395"/>
                <a:gd name="connsiteX10451" fmla="*/ 605699 w 5719680"/>
                <a:gd name="connsiteY10451" fmla="*/ 3282008 h 5704395"/>
                <a:gd name="connsiteX10452" fmla="*/ 606652 w 5719680"/>
                <a:gd name="connsiteY10452" fmla="*/ 3281691 h 5704395"/>
                <a:gd name="connsiteX10453" fmla="*/ 644449 w 5719680"/>
                <a:gd name="connsiteY10453" fmla="*/ 3268065 h 5704395"/>
                <a:gd name="connsiteX10454" fmla="*/ 653025 w 5719680"/>
                <a:gd name="connsiteY10454" fmla="*/ 3224651 h 5704395"/>
                <a:gd name="connsiteX10455" fmla="*/ 609511 w 5719680"/>
                <a:gd name="connsiteY10455" fmla="*/ 3238278 h 5704395"/>
                <a:gd name="connsiteX10456" fmla="*/ 573937 w 5719680"/>
                <a:gd name="connsiteY10456" fmla="*/ 3263629 h 5704395"/>
                <a:gd name="connsiteX10457" fmla="*/ 565997 w 5719680"/>
                <a:gd name="connsiteY10457" fmla="*/ 3269333 h 5704395"/>
                <a:gd name="connsiteX10458" fmla="*/ 566950 w 5719680"/>
                <a:gd name="connsiteY10458" fmla="*/ 3259826 h 5704395"/>
                <a:gd name="connsiteX10459" fmla="*/ 570126 w 5719680"/>
                <a:gd name="connsiteY10459" fmla="*/ 3221799 h 5704395"/>
                <a:gd name="connsiteX10460" fmla="*/ 1186942 w 5719680"/>
                <a:gd name="connsiteY10460" fmla="*/ 3219898 h 5704395"/>
                <a:gd name="connsiteX10461" fmla="*/ 1201235 w 5719680"/>
                <a:gd name="connsiteY10461" fmla="*/ 3262361 h 5704395"/>
                <a:gd name="connsiteX10462" fmla="*/ 1179001 w 5719680"/>
                <a:gd name="connsiteY10462" fmla="*/ 3269650 h 5704395"/>
                <a:gd name="connsiteX10463" fmla="*/ 1186624 w 5719680"/>
                <a:gd name="connsiteY10463" fmla="*/ 3292465 h 5704395"/>
                <a:gd name="connsiteX10464" fmla="*/ 1163756 w 5719680"/>
                <a:gd name="connsiteY10464" fmla="*/ 3300071 h 5704395"/>
                <a:gd name="connsiteX10465" fmla="*/ 1163120 w 5719680"/>
                <a:gd name="connsiteY10465" fmla="*/ 3297853 h 5704395"/>
                <a:gd name="connsiteX10466" fmla="*/ 1144698 w 5719680"/>
                <a:gd name="connsiteY10466" fmla="*/ 3239862 h 5704395"/>
                <a:gd name="connsiteX10467" fmla="*/ 1159627 w 5719680"/>
                <a:gd name="connsiteY10467" fmla="*/ 3235109 h 5704395"/>
                <a:gd name="connsiteX10468" fmla="*/ 1158674 w 5719680"/>
                <a:gd name="connsiteY10468" fmla="*/ 3231623 h 5704395"/>
                <a:gd name="connsiteX10469" fmla="*/ 1157721 w 5719680"/>
                <a:gd name="connsiteY10469" fmla="*/ 3229722 h 5704395"/>
                <a:gd name="connsiteX10470" fmla="*/ 1186942 w 5719680"/>
                <a:gd name="connsiteY10470" fmla="*/ 3219898 h 5704395"/>
                <a:gd name="connsiteX10471" fmla="*/ 575208 w 5719680"/>
                <a:gd name="connsiteY10471" fmla="*/ 3215145 h 5704395"/>
                <a:gd name="connsiteX10472" fmla="*/ 571397 w 5719680"/>
                <a:gd name="connsiteY10472" fmla="*/ 3260143 h 5704395"/>
                <a:gd name="connsiteX10473" fmla="*/ 607605 w 5719680"/>
                <a:gd name="connsiteY10473" fmla="*/ 3234158 h 5704395"/>
                <a:gd name="connsiteX10474" fmla="*/ 658742 w 5719680"/>
                <a:gd name="connsiteY10474" fmla="*/ 3218314 h 5704395"/>
                <a:gd name="connsiteX10475" fmla="*/ 648578 w 5719680"/>
                <a:gd name="connsiteY10475" fmla="*/ 3271234 h 5704395"/>
                <a:gd name="connsiteX10476" fmla="*/ 608240 w 5719680"/>
                <a:gd name="connsiteY10476" fmla="*/ 3285811 h 5704395"/>
                <a:gd name="connsiteX10477" fmla="*/ 565044 w 5719680"/>
                <a:gd name="connsiteY10477" fmla="*/ 3329224 h 5704395"/>
                <a:gd name="connsiteX10478" fmla="*/ 525342 w 5719680"/>
                <a:gd name="connsiteY10478" fmla="*/ 3306092 h 5704395"/>
                <a:gd name="connsiteX10479" fmla="*/ 530106 w 5719680"/>
                <a:gd name="connsiteY10479" fmla="*/ 3233207 h 5704395"/>
                <a:gd name="connsiteX10480" fmla="*/ 575208 w 5719680"/>
                <a:gd name="connsiteY10480" fmla="*/ 3215145 h 5704395"/>
                <a:gd name="connsiteX10481" fmla="*/ 358910 w 5719680"/>
                <a:gd name="connsiteY10481" fmla="*/ 3212927 h 5704395"/>
                <a:gd name="connsiteX10482" fmla="*/ 330006 w 5719680"/>
                <a:gd name="connsiteY10482" fmla="*/ 3227820 h 5704395"/>
                <a:gd name="connsiteX10483" fmla="*/ 390354 w 5719680"/>
                <a:gd name="connsiteY10483" fmla="*/ 3333344 h 5704395"/>
                <a:gd name="connsiteX10484" fmla="*/ 402741 w 5719680"/>
                <a:gd name="connsiteY10484" fmla="*/ 3326372 h 5704395"/>
                <a:gd name="connsiteX10485" fmla="*/ 406235 w 5719680"/>
                <a:gd name="connsiteY10485" fmla="*/ 3324471 h 5704395"/>
                <a:gd name="connsiteX10486" fmla="*/ 408458 w 5719680"/>
                <a:gd name="connsiteY10486" fmla="*/ 3327957 h 5704395"/>
                <a:gd name="connsiteX10487" fmla="*/ 416399 w 5719680"/>
                <a:gd name="connsiteY10487" fmla="*/ 3339999 h 5704395"/>
                <a:gd name="connsiteX10488" fmla="*/ 486910 w 5719680"/>
                <a:gd name="connsiteY10488" fmla="*/ 3304824 h 5704395"/>
                <a:gd name="connsiteX10489" fmla="*/ 487863 w 5719680"/>
                <a:gd name="connsiteY10489" fmla="*/ 3286445 h 5704395"/>
                <a:gd name="connsiteX10490" fmla="*/ 448478 w 5719680"/>
                <a:gd name="connsiteY10490" fmla="*/ 3283276 h 5704395"/>
                <a:gd name="connsiteX10491" fmla="*/ 446890 w 5719680"/>
                <a:gd name="connsiteY10491" fmla="*/ 3282959 h 5704395"/>
                <a:gd name="connsiteX10492" fmla="*/ 445619 w 5719680"/>
                <a:gd name="connsiteY10492" fmla="*/ 3282008 h 5704395"/>
                <a:gd name="connsiteX10493" fmla="*/ 405282 w 5719680"/>
                <a:gd name="connsiteY10493" fmla="*/ 3242397 h 5704395"/>
                <a:gd name="connsiteX10494" fmla="*/ 395436 w 5719680"/>
                <a:gd name="connsiteY10494" fmla="*/ 3246517 h 5704395"/>
                <a:gd name="connsiteX10495" fmla="*/ 392577 w 5719680"/>
                <a:gd name="connsiteY10495" fmla="*/ 3247784 h 5704395"/>
                <a:gd name="connsiteX10496" fmla="*/ 390671 w 5719680"/>
                <a:gd name="connsiteY10496" fmla="*/ 3245566 h 5704395"/>
                <a:gd name="connsiteX10497" fmla="*/ 358910 w 5719680"/>
                <a:gd name="connsiteY10497" fmla="*/ 3212927 h 5704395"/>
                <a:gd name="connsiteX10498" fmla="*/ 1832661 w 5719680"/>
                <a:gd name="connsiteY10498" fmla="*/ 3209441 h 5704395"/>
                <a:gd name="connsiteX10499" fmla="*/ 1831073 w 5719680"/>
                <a:gd name="connsiteY10499" fmla="*/ 3234158 h 5704395"/>
                <a:gd name="connsiteX10500" fmla="*/ 1869822 w 5719680"/>
                <a:gd name="connsiteY10500" fmla="*/ 3236376 h 5704395"/>
                <a:gd name="connsiteX10501" fmla="*/ 1871410 w 5719680"/>
                <a:gd name="connsiteY10501" fmla="*/ 3211659 h 5704395"/>
                <a:gd name="connsiteX10502" fmla="*/ 1832661 w 5719680"/>
                <a:gd name="connsiteY10502" fmla="*/ 3209441 h 5704395"/>
                <a:gd name="connsiteX10503" fmla="*/ 1130406 w 5719680"/>
                <a:gd name="connsiteY10503" fmla="*/ 3209124 h 5704395"/>
                <a:gd name="connsiteX10504" fmla="*/ 1129770 w 5719680"/>
                <a:gd name="connsiteY10504" fmla="*/ 3209758 h 5704395"/>
                <a:gd name="connsiteX10505" fmla="*/ 1129771 w 5719680"/>
                <a:gd name="connsiteY10505" fmla="*/ 3209757 h 5704395"/>
                <a:gd name="connsiteX10506" fmla="*/ 1129135 w 5719680"/>
                <a:gd name="connsiteY10506" fmla="*/ 3210391 h 5704395"/>
                <a:gd name="connsiteX10507" fmla="*/ 1129135 w 5719680"/>
                <a:gd name="connsiteY10507" fmla="*/ 3211025 h 5704395"/>
                <a:gd name="connsiteX10508" fmla="*/ 1130406 w 5719680"/>
                <a:gd name="connsiteY10508" fmla="*/ 3209441 h 5704395"/>
                <a:gd name="connsiteX10509" fmla="*/ 1129771 w 5719680"/>
                <a:gd name="connsiteY10509" fmla="*/ 3209757 h 5704395"/>
                <a:gd name="connsiteX10510" fmla="*/ 359862 w 5719680"/>
                <a:gd name="connsiteY10510" fmla="*/ 3207539 h 5704395"/>
                <a:gd name="connsiteX10511" fmla="*/ 393848 w 5719680"/>
                <a:gd name="connsiteY10511" fmla="*/ 3242714 h 5704395"/>
                <a:gd name="connsiteX10512" fmla="*/ 406235 w 5719680"/>
                <a:gd name="connsiteY10512" fmla="*/ 3237327 h 5704395"/>
                <a:gd name="connsiteX10513" fmla="*/ 448796 w 5719680"/>
                <a:gd name="connsiteY10513" fmla="*/ 3278839 h 5704395"/>
                <a:gd name="connsiteX10514" fmla="*/ 492627 w 5719680"/>
                <a:gd name="connsiteY10514" fmla="*/ 3282325 h 5704395"/>
                <a:gd name="connsiteX10515" fmla="*/ 491039 w 5719680"/>
                <a:gd name="connsiteY10515" fmla="*/ 3307676 h 5704395"/>
                <a:gd name="connsiteX10516" fmla="*/ 414810 w 5719680"/>
                <a:gd name="connsiteY10516" fmla="*/ 3346019 h 5704395"/>
                <a:gd name="connsiteX10517" fmla="*/ 404964 w 5719680"/>
                <a:gd name="connsiteY10517" fmla="*/ 3330175 h 5704395"/>
                <a:gd name="connsiteX10518" fmla="*/ 388448 w 5719680"/>
                <a:gd name="connsiteY10518" fmla="*/ 3339048 h 5704395"/>
                <a:gd name="connsiteX10519" fmla="*/ 323971 w 5719680"/>
                <a:gd name="connsiteY10519" fmla="*/ 3225919 h 5704395"/>
                <a:gd name="connsiteX10520" fmla="*/ 359862 w 5719680"/>
                <a:gd name="connsiteY10520" fmla="*/ 3207539 h 5704395"/>
                <a:gd name="connsiteX10521" fmla="*/ 1828849 w 5719680"/>
                <a:gd name="connsiteY10521" fmla="*/ 3205004 h 5704395"/>
                <a:gd name="connsiteX10522" fmla="*/ 1875857 w 5719680"/>
                <a:gd name="connsiteY10522" fmla="*/ 3207856 h 5704395"/>
                <a:gd name="connsiteX10523" fmla="*/ 1873634 w 5719680"/>
                <a:gd name="connsiteY10523" fmla="*/ 3240813 h 5704395"/>
                <a:gd name="connsiteX10524" fmla="*/ 1826944 w 5719680"/>
                <a:gd name="connsiteY10524" fmla="*/ 3237961 h 5704395"/>
                <a:gd name="connsiteX10525" fmla="*/ 1826944 w 5719680"/>
                <a:gd name="connsiteY10525" fmla="*/ 3236059 h 5704395"/>
                <a:gd name="connsiteX10526" fmla="*/ 139753 w 5719680"/>
                <a:gd name="connsiteY10526" fmla="*/ 3199617 h 5704395"/>
                <a:gd name="connsiteX10527" fmla="*/ 138164 w 5719680"/>
                <a:gd name="connsiteY10527" fmla="*/ 3201202 h 5704395"/>
                <a:gd name="connsiteX10528" fmla="*/ 75911 w 5719680"/>
                <a:gd name="connsiteY10528" fmla="*/ 3268065 h 5704395"/>
                <a:gd name="connsiteX10529" fmla="*/ 95604 w 5719680"/>
                <a:gd name="connsiteY10529" fmla="*/ 3265213 h 5704395"/>
                <a:gd name="connsiteX10530" fmla="*/ 122919 w 5719680"/>
                <a:gd name="connsiteY10530" fmla="*/ 3260460 h 5704395"/>
                <a:gd name="connsiteX10531" fmla="*/ 123236 w 5719680"/>
                <a:gd name="connsiteY10531" fmla="*/ 3260460 h 5704395"/>
                <a:gd name="connsiteX10532" fmla="*/ 137529 w 5719680"/>
                <a:gd name="connsiteY10532" fmla="*/ 3256657 h 5704395"/>
                <a:gd name="connsiteX10533" fmla="*/ 149281 w 5719680"/>
                <a:gd name="connsiteY10533" fmla="*/ 3253171 h 5704395"/>
                <a:gd name="connsiteX10534" fmla="*/ 181361 w 5719680"/>
                <a:gd name="connsiteY10534" fmla="*/ 3232891 h 5704395"/>
                <a:gd name="connsiteX10535" fmla="*/ 160715 w 5719680"/>
                <a:gd name="connsiteY10535" fmla="*/ 3209124 h 5704395"/>
                <a:gd name="connsiteX10536" fmla="*/ 154998 w 5719680"/>
                <a:gd name="connsiteY10536" fmla="*/ 3202152 h 5704395"/>
                <a:gd name="connsiteX10537" fmla="*/ 153728 w 5719680"/>
                <a:gd name="connsiteY10537" fmla="*/ 3202786 h 5704395"/>
                <a:gd name="connsiteX10538" fmla="*/ 152775 w 5719680"/>
                <a:gd name="connsiteY10538" fmla="*/ 3203103 h 5704395"/>
                <a:gd name="connsiteX10539" fmla="*/ 151822 w 5719680"/>
                <a:gd name="connsiteY10539" fmla="*/ 3203103 h 5704395"/>
                <a:gd name="connsiteX10540" fmla="*/ 139753 w 5719680"/>
                <a:gd name="connsiteY10540" fmla="*/ 3199617 h 5704395"/>
                <a:gd name="connsiteX10541" fmla="*/ 148011 w 5719680"/>
                <a:gd name="connsiteY10541" fmla="*/ 3193596 h 5704395"/>
                <a:gd name="connsiteX10542" fmla="*/ 144834 w 5719680"/>
                <a:gd name="connsiteY10542" fmla="*/ 3195815 h 5704395"/>
                <a:gd name="connsiteX10543" fmla="*/ 150869 w 5719680"/>
                <a:gd name="connsiteY10543" fmla="*/ 3197399 h 5704395"/>
                <a:gd name="connsiteX10544" fmla="*/ 149916 w 5719680"/>
                <a:gd name="connsiteY10544" fmla="*/ 3196132 h 5704395"/>
                <a:gd name="connsiteX10545" fmla="*/ 149281 w 5719680"/>
                <a:gd name="connsiteY10545" fmla="*/ 3195498 h 5704395"/>
                <a:gd name="connsiteX10546" fmla="*/ 148646 w 5719680"/>
                <a:gd name="connsiteY10546" fmla="*/ 3194864 h 5704395"/>
                <a:gd name="connsiteX10547" fmla="*/ 148328 w 5719680"/>
                <a:gd name="connsiteY10547" fmla="*/ 3194230 h 5704395"/>
                <a:gd name="connsiteX10548" fmla="*/ 148011 w 5719680"/>
                <a:gd name="connsiteY10548" fmla="*/ 3193596 h 5704395"/>
                <a:gd name="connsiteX10549" fmla="*/ 975408 w 5719680"/>
                <a:gd name="connsiteY10549" fmla="*/ 3190428 h 5704395"/>
                <a:gd name="connsiteX10550" fmla="*/ 929035 w 5719680"/>
                <a:gd name="connsiteY10550" fmla="*/ 3215779 h 5704395"/>
                <a:gd name="connsiteX10551" fmla="*/ 924906 w 5719680"/>
                <a:gd name="connsiteY10551" fmla="*/ 3252538 h 5704395"/>
                <a:gd name="connsiteX10552" fmla="*/ 887427 w 5719680"/>
                <a:gd name="connsiteY10552" fmla="*/ 3234792 h 5704395"/>
                <a:gd name="connsiteX10553" fmla="*/ 850901 w 5719680"/>
                <a:gd name="connsiteY10553" fmla="*/ 3240496 h 5704395"/>
                <a:gd name="connsiteX10554" fmla="*/ 900767 w 5719680"/>
                <a:gd name="connsiteY10554" fmla="*/ 3299120 h 5704395"/>
                <a:gd name="connsiteX10555" fmla="*/ 954127 w 5719680"/>
                <a:gd name="connsiteY10555" fmla="*/ 3270600 h 5704395"/>
                <a:gd name="connsiteX10556" fmla="*/ 957621 w 5719680"/>
                <a:gd name="connsiteY10556" fmla="*/ 3237644 h 5704395"/>
                <a:gd name="connsiteX10557" fmla="*/ 980172 w 5719680"/>
                <a:gd name="connsiteY10557" fmla="*/ 3257608 h 5704395"/>
                <a:gd name="connsiteX10558" fmla="*/ 985889 w 5719680"/>
                <a:gd name="connsiteY10558" fmla="*/ 3255706 h 5704395"/>
                <a:gd name="connsiteX10559" fmla="*/ 975408 w 5719680"/>
                <a:gd name="connsiteY10559" fmla="*/ 3190428 h 5704395"/>
                <a:gd name="connsiteX10560" fmla="*/ 2056900 w 5719680"/>
                <a:gd name="connsiteY10560" fmla="*/ 3189477 h 5704395"/>
                <a:gd name="connsiteX10561" fmla="*/ 2056582 w 5719680"/>
                <a:gd name="connsiteY10561" fmla="*/ 3189794 h 5704395"/>
                <a:gd name="connsiteX10562" fmla="*/ 2041972 w 5719680"/>
                <a:gd name="connsiteY10562" fmla="*/ 3259826 h 5704395"/>
                <a:gd name="connsiteX10563" fmla="*/ 2145833 w 5719680"/>
                <a:gd name="connsiteY10563" fmla="*/ 3268699 h 5704395"/>
                <a:gd name="connsiteX10564" fmla="*/ 2153138 w 5719680"/>
                <a:gd name="connsiteY10564" fmla="*/ 3202469 h 5704395"/>
                <a:gd name="connsiteX10565" fmla="*/ 2056900 w 5719680"/>
                <a:gd name="connsiteY10565" fmla="*/ 3189477 h 5704395"/>
                <a:gd name="connsiteX10566" fmla="*/ 2230320 w 5719680"/>
                <a:gd name="connsiteY10566" fmla="*/ 3185674 h 5704395"/>
                <a:gd name="connsiteX10567" fmla="*/ 2214438 w 5719680"/>
                <a:gd name="connsiteY10567" fmla="*/ 3201202 h 5704395"/>
                <a:gd name="connsiteX10568" fmla="*/ 2216980 w 5719680"/>
                <a:gd name="connsiteY10568" fmla="*/ 3203737 h 5704395"/>
                <a:gd name="connsiteX10569" fmla="*/ 2218568 w 5719680"/>
                <a:gd name="connsiteY10569" fmla="*/ 3205321 h 5704395"/>
                <a:gd name="connsiteX10570" fmla="*/ 2207133 w 5719680"/>
                <a:gd name="connsiteY10570" fmla="*/ 3216095 h 5704395"/>
                <a:gd name="connsiteX10571" fmla="*/ 2244612 w 5719680"/>
                <a:gd name="connsiteY10571" fmla="*/ 3256023 h 5704395"/>
                <a:gd name="connsiteX10572" fmla="*/ 2256046 w 5719680"/>
                <a:gd name="connsiteY10572" fmla="*/ 3244932 h 5704395"/>
                <a:gd name="connsiteX10573" fmla="*/ 2239213 w 5719680"/>
                <a:gd name="connsiteY10573" fmla="*/ 3227820 h 5704395"/>
                <a:gd name="connsiteX10574" fmla="*/ 2255729 w 5719680"/>
                <a:gd name="connsiteY10574" fmla="*/ 3211659 h 5704395"/>
                <a:gd name="connsiteX10575" fmla="*/ 2230320 w 5719680"/>
                <a:gd name="connsiteY10575" fmla="*/ 3185674 h 5704395"/>
                <a:gd name="connsiteX10576" fmla="*/ 1890467 w 5719680"/>
                <a:gd name="connsiteY10576" fmla="*/ 3185674 h 5704395"/>
                <a:gd name="connsiteX10577" fmla="*/ 1587142 w 5719680"/>
                <a:gd name="connsiteY10577" fmla="*/ 3222750 h 5704395"/>
                <a:gd name="connsiteX10578" fmla="*/ 1594447 w 5719680"/>
                <a:gd name="connsiteY10578" fmla="*/ 3284543 h 5704395"/>
                <a:gd name="connsiteX10579" fmla="*/ 1713871 w 5719680"/>
                <a:gd name="connsiteY10579" fmla="*/ 3259509 h 5704395"/>
                <a:gd name="connsiteX10580" fmla="*/ 1743092 w 5719680"/>
                <a:gd name="connsiteY10580" fmla="*/ 3258558 h 5704395"/>
                <a:gd name="connsiteX10581" fmla="*/ 1885068 w 5719680"/>
                <a:gd name="connsiteY10581" fmla="*/ 3255706 h 5704395"/>
                <a:gd name="connsiteX10582" fmla="*/ 1890467 w 5719680"/>
                <a:gd name="connsiteY10582" fmla="*/ 3185674 h 5704395"/>
                <a:gd name="connsiteX10583" fmla="*/ 978901 w 5719680"/>
                <a:gd name="connsiteY10583" fmla="*/ 3183139 h 5704395"/>
                <a:gd name="connsiteX10584" fmla="*/ 979537 w 5719680"/>
                <a:gd name="connsiteY10584" fmla="*/ 3186308 h 5704395"/>
                <a:gd name="connsiteX10585" fmla="*/ 990971 w 5719680"/>
                <a:gd name="connsiteY10585" fmla="*/ 3258558 h 5704395"/>
                <a:gd name="connsiteX10586" fmla="*/ 979219 w 5719680"/>
                <a:gd name="connsiteY10586" fmla="*/ 3262995 h 5704395"/>
                <a:gd name="connsiteX10587" fmla="*/ 961432 w 5719680"/>
                <a:gd name="connsiteY10587" fmla="*/ 3247150 h 5704395"/>
                <a:gd name="connsiteX10588" fmla="*/ 958574 w 5719680"/>
                <a:gd name="connsiteY10588" fmla="*/ 3273452 h 5704395"/>
                <a:gd name="connsiteX10589" fmla="*/ 899814 w 5719680"/>
                <a:gd name="connsiteY10589" fmla="*/ 3305141 h 5704395"/>
                <a:gd name="connsiteX10590" fmla="*/ 842008 w 5719680"/>
                <a:gd name="connsiteY10590" fmla="*/ 3237010 h 5704395"/>
                <a:gd name="connsiteX10591" fmla="*/ 888062 w 5719680"/>
                <a:gd name="connsiteY10591" fmla="*/ 3230039 h 5704395"/>
                <a:gd name="connsiteX10592" fmla="*/ 920777 w 5719680"/>
                <a:gd name="connsiteY10592" fmla="*/ 3245249 h 5704395"/>
                <a:gd name="connsiteX10593" fmla="*/ 924589 w 5719680"/>
                <a:gd name="connsiteY10593" fmla="*/ 3212610 h 5704395"/>
                <a:gd name="connsiteX10594" fmla="*/ 978901 w 5719680"/>
                <a:gd name="connsiteY10594" fmla="*/ 3183139 h 5704395"/>
                <a:gd name="connsiteX10595" fmla="*/ 2009574 w 5719680"/>
                <a:gd name="connsiteY10595" fmla="*/ 3182822 h 5704395"/>
                <a:gd name="connsiteX10596" fmla="*/ 1995599 w 5719680"/>
                <a:gd name="connsiteY10596" fmla="*/ 3256023 h 5704395"/>
                <a:gd name="connsiteX10597" fmla="*/ 2037525 w 5719680"/>
                <a:gd name="connsiteY10597" fmla="*/ 3259509 h 5704395"/>
                <a:gd name="connsiteX10598" fmla="*/ 2052770 w 5719680"/>
                <a:gd name="connsiteY10598" fmla="*/ 3188843 h 5704395"/>
                <a:gd name="connsiteX10599" fmla="*/ 2009574 w 5719680"/>
                <a:gd name="connsiteY10599" fmla="*/ 3182822 h 5704395"/>
                <a:gd name="connsiteX10600" fmla="*/ 2000999 w 5719680"/>
                <a:gd name="connsiteY10600" fmla="*/ 3181872 h 5704395"/>
                <a:gd name="connsiteX10601" fmla="*/ 1986706 w 5719680"/>
                <a:gd name="connsiteY10601" fmla="*/ 3255390 h 5704395"/>
                <a:gd name="connsiteX10602" fmla="*/ 1991470 w 5719680"/>
                <a:gd name="connsiteY10602" fmla="*/ 3255706 h 5704395"/>
                <a:gd name="connsiteX10603" fmla="*/ 2005445 w 5719680"/>
                <a:gd name="connsiteY10603" fmla="*/ 3182505 h 5704395"/>
                <a:gd name="connsiteX10604" fmla="*/ 1979718 w 5719680"/>
                <a:gd name="connsiteY10604" fmla="*/ 3181872 h 5704395"/>
                <a:gd name="connsiteX10605" fmla="*/ 1946368 w 5719680"/>
                <a:gd name="connsiteY10605" fmla="*/ 3182822 h 5704395"/>
                <a:gd name="connsiteX10606" fmla="*/ 1911430 w 5719680"/>
                <a:gd name="connsiteY10606" fmla="*/ 3184407 h 5704395"/>
                <a:gd name="connsiteX10607" fmla="*/ 1876175 w 5719680"/>
                <a:gd name="connsiteY10607" fmla="*/ 3650232 h 5704395"/>
                <a:gd name="connsiteX10608" fmla="*/ 1879351 w 5719680"/>
                <a:gd name="connsiteY10608" fmla="*/ 3657520 h 5704395"/>
                <a:gd name="connsiteX10609" fmla="*/ 1895232 w 5719680"/>
                <a:gd name="connsiteY10609" fmla="*/ 3610621 h 5704395"/>
                <a:gd name="connsiteX10610" fmla="*/ 1926358 w 5719680"/>
                <a:gd name="connsiteY10610" fmla="*/ 3456296 h 5704395"/>
                <a:gd name="connsiteX10611" fmla="*/ 633332 w 5719680"/>
                <a:gd name="connsiteY10611" fmla="*/ 3181872 h 5704395"/>
                <a:gd name="connsiteX10612" fmla="*/ 521213 w 5719680"/>
                <a:gd name="connsiteY10612" fmla="*/ 3229088 h 5704395"/>
                <a:gd name="connsiteX10613" fmla="*/ 518672 w 5719680"/>
                <a:gd name="connsiteY10613" fmla="*/ 3259509 h 5704395"/>
                <a:gd name="connsiteX10614" fmla="*/ 515496 w 5719680"/>
                <a:gd name="connsiteY10614" fmla="*/ 3291832 h 5704395"/>
                <a:gd name="connsiteX10615" fmla="*/ 509778 w 5719680"/>
                <a:gd name="connsiteY10615" fmla="*/ 3291198 h 5704395"/>
                <a:gd name="connsiteX10616" fmla="*/ 507873 w 5719680"/>
                <a:gd name="connsiteY10616" fmla="*/ 3313697 h 5704395"/>
                <a:gd name="connsiteX10617" fmla="*/ 560915 w 5719680"/>
                <a:gd name="connsiteY10617" fmla="*/ 3347604 h 5704395"/>
                <a:gd name="connsiteX10618" fmla="*/ 614910 w 5719680"/>
                <a:gd name="connsiteY10618" fmla="*/ 3298803 h 5704395"/>
                <a:gd name="connsiteX10619" fmla="*/ 721630 w 5719680"/>
                <a:gd name="connsiteY10619" fmla="*/ 3262361 h 5704395"/>
                <a:gd name="connsiteX10620" fmla="*/ 728300 w 5719680"/>
                <a:gd name="connsiteY10620" fmla="*/ 3229405 h 5704395"/>
                <a:gd name="connsiteX10621" fmla="*/ 679387 w 5719680"/>
                <a:gd name="connsiteY10621" fmla="*/ 3215462 h 5704395"/>
                <a:gd name="connsiteX10622" fmla="*/ 633332 w 5719680"/>
                <a:gd name="connsiteY10622" fmla="*/ 3181872 h 5704395"/>
                <a:gd name="connsiteX10623" fmla="*/ 2230637 w 5719680"/>
                <a:gd name="connsiteY10623" fmla="*/ 3179653 h 5704395"/>
                <a:gd name="connsiteX10624" fmla="*/ 2261764 w 5719680"/>
                <a:gd name="connsiteY10624" fmla="*/ 3211659 h 5704395"/>
                <a:gd name="connsiteX10625" fmla="*/ 2245248 w 5719680"/>
                <a:gd name="connsiteY10625" fmla="*/ 3227820 h 5704395"/>
                <a:gd name="connsiteX10626" fmla="*/ 2261764 w 5719680"/>
                <a:gd name="connsiteY10626" fmla="*/ 3244932 h 5704395"/>
                <a:gd name="connsiteX10627" fmla="*/ 2244612 w 5719680"/>
                <a:gd name="connsiteY10627" fmla="*/ 3261727 h 5704395"/>
                <a:gd name="connsiteX10628" fmla="*/ 2243024 w 5719680"/>
                <a:gd name="connsiteY10628" fmla="*/ 3260460 h 5704395"/>
                <a:gd name="connsiteX10629" fmla="*/ 2201416 w 5719680"/>
                <a:gd name="connsiteY10629" fmla="*/ 3216095 h 5704395"/>
                <a:gd name="connsiteX10630" fmla="*/ 2212533 w 5719680"/>
                <a:gd name="connsiteY10630" fmla="*/ 3205321 h 5704395"/>
                <a:gd name="connsiteX10631" fmla="*/ 2209992 w 5719680"/>
                <a:gd name="connsiteY10631" fmla="*/ 3202469 h 5704395"/>
                <a:gd name="connsiteX10632" fmla="*/ 2208404 w 5719680"/>
                <a:gd name="connsiteY10632" fmla="*/ 3200885 h 5704395"/>
                <a:gd name="connsiteX10633" fmla="*/ 2230637 w 5719680"/>
                <a:gd name="connsiteY10633" fmla="*/ 3179653 h 5704395"/>
                <a:gd name="connsiteX10634" fmla="*/ 984301 w 5719680"/>
                <a:gd name="connsiteY10634" fmla="*/ 3169830 h 5704395"/>
                <a:gd name="connsiteX10635" fmla="*/ 927447 w 5719680"/>
                <a:gd name="connsiteY10635" fmla="*/ 3199617 h 5704395"/>
                <a:gd name="connsiteX10636" fmla="*/ 824539 w 5719680"/>
                <a:gd name="connsiteY10636" fmla="*/ 3232257 h 5704395"/>
                <a:gd name="connsiteX10637" fmla="*/ 894097 w 5719680"/>
                <a:gd name="connsiteY10637" fmla="*/ 3324471 h 5704395"/>
                <a:gd name="connsiteX10638" fmla="*/ 945869 w 5719680"/>
                <a:gd name="connsiteY10638" fmla="*/ 3294367 h 5704395"/>
                <a:gd name="connsiteX10639" fmla="*/ 982713 w 5719680"/>
                <a:gd name="connsiteY10639" fmla="*/ 3273135 h 5704395"/>
                <a:gd name="connsiteX10640" fmla="*/ 995418 w 5719680"/>
                <a:gd name="connsiteY10640" fmla="*/ 3266164 h 5704395"/>
                <a:gd name="connsiteX10641" fmla="*/ 998911 w 5719680"/>
                <a:gd name="connsiteY10641" fmla="*/ 3264262 h 5704395"/>
                <a:gd name="connsiteX10642" fmla="*/ 1001135 w 5719680"/>
                <a:gd name="connsiteY10642" fmla="*/ 3263312 h 5704395"/>
                <a:gd name="connsiteX10643" fmla="*/ 1006534 w 5719680"/>
                <a:gd name="connsiteY10643" fmla="*/ 3261410 h 5704395"/>
                <a:gd name="connsiteX10644" fmla="*/ 4396798 w 5719680"/>
                <a:gd name="connsiteY10644" fmla="*/ 3167295 h 5704395"/>
                <a:gd name="connsiteX10645" fmla="*/ 4032806 w 5719680"/>
                <a:gd name="connsiteY10645" fmla="*/ 3464536 h 5704395"/>
                <a:gd name="connsiteX10646" fmla="*/ 3940062 w 5719680"/>
                <a:gd name="connsiteY10646" fmla="*/ 3555799 h 5704395"/>
                <a:gd name="connsiteX10647" fmla="*/ 3922593 w 5719680"/>
                <a:gd name="connsiteY10647" fmla="*/ 3572594 h 5704395"/>
                <a:gd name="connsiteX10648" fmla="*/ 3980717 w 5719680"/>
                <a:gd name="connsiteY10648" fmla="*/ 3659739 h 5704395"/>
                <a:gd name="connsiteX10649" fmla="*/ 3981352 w 5719680"/>
                <a:gd name="connsiteY10649" fmla="*/ 3660689 h 5704395"/>
                <a:gd name="connsiteX10650" fmla="*/ 3962295 w 5719680"/>
                <a:gd name="connsiteY10650" fmla="*/ 3707589 h 5704395"/>
                <a:gd name="connsiteX10651" fmla="*/ 3962295 w 5719680"/>
                <a:gd name="connsiteY10651" fmla="*/ 3707905 h 5704395"/>
                <a:gd name="connsiteX10652" fmla="*/ 3944508 w 5719680"/>
                <a:gd name="connsiteY10652" fmla="*/ 3752270 h 5704395"/>
                <a:gd name="connsiteX10653" fmla="*/ 3840012 w 5719680"/>
                <a:gd name="connsiteY10653" fmla="*/ 3814380 h 5704395"/>
                <a:gd name="connsiteX10654" fmla="*/ 3880984 w 5719680"/>
                <a:gd name="connsiteY10654" fmla="*/ 3900256 h 5704395"/>
                <a:gd name="connsiteX10655" fmla="*/ 3895595 w 5719680"/>
                <a:gd name="connsiteY10655" fmla="*/ 3929727 h 5704395"/>
                <a:gd name="connsiteX10656" fmla="*/ 3905124 w 5719680"/>
                <a:gd name="connsiteY10656" fmla="*/ 3950325 h 5704395"/>
                <a:gd name="connsiteX10657" fmla="*/ 3885749 w 5719680"/>
                <a:gd name="connsiteY10657" fmla="*/ 3957930 h 5704395"/>
                <a:gd name="connsiteX10658" fmla="*/ 3820637 w 5719680"/>
                <a:gd name="connsiteY10658" fmla="*/ 3822619 h 5704395"/>
                <a:gd name="connsiteX10659" fmla="*/ 3506194 w 5719680"/>
                <a:gd name="connsiteY10659" fmla="*/ 3922439 h 5704395"/>
                <a:gd name="connsiteX10660" fmla="*/ 3549708 w 5719680"/>
                <a:gd name="connsiteY10660" fmla="*/ 4046976 h 5704395"/>
                <a:gd name="connsiteX10661" fmla="*/ 3551614 w 5719680"/>
                <a:gd name="connsiteY10661" fmla="*/ 4051729 h 5704395"/>
                <a:gd name="connsiteX10662" fmla="*/ 3533510 w 5719680"/>
                <a:gd name="connsiteY10662" fmla="*/ 4058067 h 5704395"/>
                <a:gd name="connsiteX10663" fmla="*/ 3427742 w 5719680"/>
                <a:gd name="connsiteY10663" fmla="*/ 4091974 h 5704395"/>
                <a:gd name="connsiteX10664" fmla="*/ 3370254 w 5719680"/>
                <a:gd name="connsiteY10664" fmla="*/ 4110670 h 5704395"/>
                <a:gd name="connsiteX10665" fmla="*/ 3370571 w 5719680"/>
                <a:gd name="connsiteY10665" fmla="*/ 4111938 h 5704395"/>
                <a:gd name="connsiteX10666" fmla="*/ 3366442 w 5719680"/>
                <a:gd name="connsiteY10666" fmla="*/ 4113522 h 5704395"/>
                <a:gd name="connsiteX10667" fmla="*/ 3365807 w 5719680"/>
                <a:gd name="connsiteY10667" fmla="*/ 4111938 h 5704395"/>
                <a:gd name="connsiteX10668" fmla="*/ 3071374 w 5719680"/>
                <a:gd name="connsiteY10668" fmla="*/ 4206687 h 5704395"/>
                <a:gd name="connsiteX10669" fmla="*/ 2919870 w 5719680"/>
                <a:gd name="connsiteY10669" fmla="*/ 4255805 h 5704395"/>
                <a:gd name="connsiteX10670" fmla="*/ 2874450 w 5719680"/>
                <a:gd name="connsiteY10670" fmla="*/ 4271015 h 5704395"/>
                <a:gd name="connsiteX10671" fmla="*/ 2862063 w 5719680"/>
                <a:gd name="connsiteY10671" fmla="*/ 4275135 h 5704395"/>
                <a:gd name="connsiteX10672" fmla="*/ 2858887 w 5719680"/>
                <a:gd name="connsiteY10672" fmla="*/ 4276086 h 5704395"/>
                <a:gd name="connsiteX10673" fmla="*/ 2857299 w 5719680"/>
                <a:gd name="connsiteY10673" fmla="*/ 4277036 h 5704395"/>
                <a:gd name="connsiteX10674" fmla="*/ 2856346 w 5719680"/>
                <a:gd name="connsiteY10674" fmla="*/ 4276719 h 5704395"/>
                <a:gd name="connsiteX10675" fmla="*/ 2854758 w 5719680"/>
                <a:gd name="connsiteY10675" fmla="*/ 4276402 h 5704395"/>
                <a:gd name="connsiteX10676" fmla="*/ 2854758 w 5719680"/>
                <a:gd name="connsiteY10676" fmla="*/ 4276086 h 5704395"/>
                <a:gd name="connsiteX10677" fmla="*/ 2835701 w 5719680"/>
                <a:gd name="connsiteY10677" fmla="*/ 4267847 h 5704395"/>
                <a:gd name="connsiteX10678" fmla="*/ 2833478 w 5719680"/>
                <a:gd name="connsiteY10678" fmla="*/ 4266896 h 5704395"/>
                <a:gd name="connsiteX10679" fmla="*/ 2834430 w 5719680"/>
                <a:gd name="connsiteY10679" fmla="*/ 4264995 h 5704395"/>
                <a:gd name="connsiteX10680" fmla="*/ 2883979 w 5719680"/>
                <a:gd name="connsiteY10680" fmla="*/ 4160421 h 5704395"/>
                <a:gd name="connsiteX10681" fmla="*/ 2918600 w 5719680"/>
                <a:gd name="connsiteY10681" fmla="*/ 4088805 h 5704395"/>
                <a:gd name="connsiteX10682" fmla="*/ 2930669 w 5719680"/>
                <a:gd name="connsiteY10682" fmla="*/ 4065038 h 5704395"/>
                <a:gd name="connsiteX10683" fmla="*/ 2934480 w 5719680"/>
                <a:gd name="connsiteY10683" fmla="*/ 4058383 h 5704395"/>
                <a:gd name="connsiteX10684" fmla="*/ 2935751 w 5719680"/>
                <a:gd name="connsiteY10684" fmla="*/ 4056165 h 5704395"/>
                <a:gd name="connsiteX10685" fmla="*/ 2937022 w 5719680"/>
                <a:gd name="connsiteY10685" fmla="*/ 4055215 h 5704395"/>
                <a:gd name="connsiteX10686" fmla="*/ 2941786 w 5719680"/>
                <a:gd name="connsiteY10686" fmla="*/ 4046025 h 5704395"/>
                <a:gd name="connsiteX10687" fmla="*/ 2989746 w 5719680"/>
                <a:gd name="connsiteY10687" fmla="*/ 3939551 h 5704395"/>
                <a:gd name="connsiteX10688" fmla="*/ 3011662 w 5719680"/>
                <a:gd name="connsiteY10688" fmla="*/ 3889165 h 5704395"/>
                <a:gd name="connsiteX10689" fmla="*/ 3011344 w 5719680"/>
                <a:gd name="connsiteY10689" fmla="*/ 3887898 h 5704395"/>
                <a:gd name="connsiteX10690" fmla="*/ 3012615 w 5719680"/>
                <a:gd name="connsiteY10690" fmla="*/ 3887581 h 5704395"/>
                <a:gd name="connsiteX10691" fmla="*/ 3019920 w 5719680"/>
                <a:gd name="connsiteY10691" fmla="*/ 3870469 h 5704395"/>
                <a:gd name="connsiteX10692" fmla="*/ 3003721 w 5719680"/>
                <a:gd name="connsiteY10692" fmla="*/ 3862547 h 5704395"/>
                <a:gd name="connsiteX10693" fmla="*/ 2987840 w 5719680"/>
                <a:gd name="connsiteY10693" fmla="*/ 3895820 h 5704395"/>
                <a:gd name="connsiteX10694" fmla="*/ 2785517 w 5719680"/>
                <a:gd name="connsiteY10694" fmla="*/ 4333759 h 5704395"/>
                <a:gd name="connsiteX10695" fmla="*/ 2791552 w 5719680"/>
                <a:gd name="connsiteY10695" fmla="*/ 4334076 h 5704395"/>
                <a:gd name="connsiteX10696" fmla="*/ 2791234 w 5719680"/>
                <a:gd name="connsiteY10696" fmla="*/ 4332809 h 5704395"/>
                <a:gd name="connsiteX10697" fmla="*/ 3073598 w 5719680"/>
                <a:gd name="connsiteY10697" fmla="*/ 4237108 h 5704395"/>
                <a:gd name="connsiteX10698" fmla="*/ 3488725 w 5719680"/>
                <a:gd name="connsiteY10698" fmla="*/ 4101163 h 5704395"/>
                <a:gd name="connsiteX10699" fmla="*/ 4507964 w 5719680"/>
                <a:gd name="connsiteY10699" fmla="*/ 3816915 h 5704395"/>
                <a:gd name="connsiteX10700" fmla="*/ 4508600 w 5719680"/>
                <a:gd name="connsiteY10700" fmla="*/ 3812795 h 5704395"/>
                <a:gd name="connsiteX10701" fmla="*/ 4517175 w 5719680"/>
                <a:gd name="connsiteY10701" fmla="*/ 3806774 h 5704395"/>
                <a:gd name="connsiteX10702" fmla="*/ 4519398 w 5719680"/>
                <a:gd name="connsiteY10702" fmla="*/ 3805190 h 5704395"/>
                <a:gd name="connsiteX10703" fmla="*/ 4609920 w 5719680"/>
                <a:gd name="connsiteY10703" fmla="*/ 3719313 h 5704395"/>
                <a:gd name="connsiteX10704" fmla="*/ 4652798 w 5719680"/>
                <a:gd name="connsiteY10704" fmla="*/ 3644528 h 5704395"/>
                <a:gd name="connsiteX10705" fmla="*/ 4664232 w 5719680"/>
                <a:gd name="connsiteY10705" fmla="*/ 3617592 h 5704395"/>
                <a:gd name="connsiteX10706" fmla="*/ 4667091 w 5719680"/>
                <a:gd name="connsiteY10706" fmla="*/ 3610304 h 5704395"/>
                <a:gd name="connsiteX10707" fmla="*/ 4668044 w 5719680"/>
                <a:gd name="connsiteY10707" fmla="*/ 3607769 h 5704395"/>
                <a:gd name="connsiteX10708" fmla="*/ 4668997 w 5719680"/>
                <a:gd name="connsiteY10708" fmla="*/ 3604283 h 5704395"/>
                <a:gd name="connsiteX10709" fmla="*/ 4758883 w 5719680"/>
                <a:gd name="connsiteY10709" fmla="*/ 3481331 h 5704395"/>
                <a:gd name="connsiteX10710" fmla="*/ 4733156 w 5719680"/>
                <a:gd name="connsiteY10710" fmla="*/ 3460416 h 5704395"/>
                <a:gd name="connsiteX10711" fmla="*/ 4718863 w 5719680"/>
                <a:gd name="connsiteY10711" fmla="*/ 3445522 h 5704395"/>
                <a:gd name="connsiteX10712" fmla="*/ 4579428 w 5719680"/>
                <a:gd name="connsiteY10712" fmla="*/ 3281691 h 5704395"/>
                <a:gd name="connsiteX10713" fmla="*/ 4577522 w 5719680"/>
                <a:gd name="connsiteY10713" fmla="*/ 3279473 h 5704395"/>
                <a:gd name="connsiteX10714" fmla="*/ 4576252 w 5719680"/>
                <a:gd name="connsiteY10714" fmla="*/ 3276938 h 5704395"/>
                <a:gd name="connsiteX10715" fmla="*/ 4576252 w 5719680"/>
                <a:gd name="connsiteY10715" fmla="*/ 3276621 h 5704395"/>
                <a:gd name="connsiteX10716" fmla="*/ 4512093 w 5719680"/>
                <a:gd name="connsiteY10716" fmla="*/ 3205004 h 5704395"/>
                <a:gd name="connsiteX10717" fmla="*/ 4441582 w 5719680"/>
                <a:gd name="connsiteY10717" fmla="*/ 3177435 h 5704395"/>
                <a:gd name="connsiteX10718" fmla="*/ 4396798 w 5719680"/>
                <a:gd name="connsiteY10718" fmla="*/ 3167295 h 5704395"/>
                <a:gd name="connsiteX10719" fmla="*/ 2202369 w 5719680"/>
                <a:gd name="connsiteY10719" fmla="*/ 3153035 h 5704395"/>
                <a:gd name="connsiteX10720" fmla="*/ 2177277 w 5719680"/>
                <a:gd name="connsiteY10720" fmla="*/ 3170464 h 5704395"/>
                <a:gd name="connsiteX10721" fmla="*/ 2168702 w 5719680"/>
                <a:gd name="connsiteY10721" fmla="*/ 3251270 h 5704395"/>
                <a:gd name="connsiteX10722" fmla="*/ 2292255 w 5719680"/>
                <a:gd name="connsiteY10722" fmla="*/ 3306725 h 5704395"/>
                <a:gd name="connsiteX10723" fmla="*/ 2383412 w 5719680"/>
                <a:gd name="connsiteY10723" fmla="*/ 3346970 h 5704395"/>
                <a:gd name="connsiteX10724" fmla="*/ 2414221 w 5719680"/>
                <a:gd name="connsiteY10724" fmla="*/ 3359963 h 5704395"/>
                <a:gd name="connsiteX10725" fmla="*/ 2421208 w 5719680"/>
                <a:gd name="connsiteY10725" fmla="*/ 3362815 h 5704395"/>
                <a:gd name="connsiteX10726" fmla="*/ 2431690 w 5719680"/>
                <a:gd name="connsiteY10726" fmla="*/ 3325739 h 5704395"/>
                <a:gd name="connsiteX10727" fmla="*/ 2441218 w 5719680"/>
                <a:gd name="connsiteY10727" fmla="*/ 3292465 h 5704395"/>
                <a:gd name="connsiteX10728" fmla="*/ 2202369 w 5719680"/>
                <a:gd name="connsiteY10728" fmla="*/ 3153035 h 5704395"/>
                <a:gd name="connsiteX10729" fmla="*/ 1177731 w 5719680"/>
                <a:gd name="connsiteY10729" fmla="*/ 3141310 h 5704395"/>
                <a:gd name="connsiteX10730" fmla="*/ 1177096 w 5719680"/>
                <a:gd name="connsiteY10730" fmla="*/ 3141627 h 5704395"/>
                <a:gd name="connsiteX10731" fmla="*/ 1131358 w 5719680"/>
                <a:gd name="connsiteY10731" fmla="*/ 3216095 h 5704395"/>
                <a:gd name="connsiteX10732" fmla="*/ 1130723 w 5719680"/>
                <a:gd name="connsiteY10732" fmla="*/ 3216412 h 5704395"/>
                <a:gd name="connsiteX10733" fmla="*/ 1067199 w 5719680"/>
                <a:gd name="connsiteY10733" fmla="*/ 3242080 h 5704395"/>
                <a:gd name="connsiteX10734" fmla="*/ 1023368 w 5719680"/>
                <a:gd name="connsiteY10734" fmla="*/ 3259509 h 5704395"/>
                <a:gd name="connsiteX10735" fmla="*/ 1008440 w 5719680"/>
                <a:gd name="connsiteY10735" fmla="*/ 3265530 h 5704395"/>
                <a:gd name="connsiteX10736" fmla="*/ 1003993 w 5719680"/>
                <a:gd name="connsiteY10736" fmla="*/ 3267114 h 5704395"/>
                <a:gd name="connsiteX10737" fmla="*/ 1002088 w 5719680"/>
                <a:gd name="connsiteY10737" fmla="*/ 3267748 h 5704395"/>
                <a:gd name="connsiteX10738" fmla="*/ 946822 w 5719680"/>
                <a:gd name="connsiteY10738" fmla="*/ 3299120 h 5704395"/>
                <a:gd name="connsiteX10739" fmla="*/ 897909 w 5719680"/>
                <a:gd name="connsiteY10739" fmla="*/ 3327323 h 5704395"/>
                <a:gd name="connsiteX10740" fmla="*/ 916966 w 5719680"/>
                <a:gd name="connsiteY10740" fmla="*/ 3417953 h 5704395"/>
                <a:gd name="connsiteX10741" fmla="*/ 970961 w 5719680"/>
                <a:gd name="connsiteY10741" fmla="*/ 3383412 h 5704395"/>
                <a:gd name="connsiteX10742" fmla="*/ 997006 w 5719680"/>
                <a:gd name="connsiteY10742" fmla="*/ 3372955 h 5704395"/>
                <a:gd name="connsiteX10743" fmla="*/ 1004311 w 5719680"/>
                <a:gd name="connsiteY10743" fmla="*/ 3370103 h 5704395"/>
                <a:gd name="connsiteX10744" fmla="*/ 1006534 w 5719680"/>
                <a:gd name="connsiteY10744" fmla="*/ 3368519 h 5704395"/>
                <a:gd name="connsiteX10745" fmla="*/ 1013522 w 5719680"/>
                <a:gd name="connsiteY10745" fmla="*/ 3365983 h 5704395"/>
                <a:gd name="connsiteX10746" fmla="*/ 1103090 w 5719680"/>
                <a:gd name="connsiteY10746" fmla="*/ 3336196 h 5704395"/>
                <a:gd name="connsiteX10747" fmla="*/ 1040837 w 5719680"/>
                <a:gd name="connsiteY10747" fmla="*/ 3253805 h 5704395"/>
                <a:gd name="connsiteX10748" fmla="*/ 1044331 w 5719680"/>
                <a:gd name="connsiteY10748" fmla="*/ 3251270 h 5704395"/>
                <a:gd name="connsiteX10749" fmla="*/ 1107537 w 5719680"/>
                <a:gd name="connsiteY10749" fmla="*/ 3334612 h 5704395"/>
                <a:gd name="connsiteX10750" fmla="*/ 1285404 w 5719680"/>
                <a:gd name="connsiteY10750" fmla="*/ 3279790 h 5704395"/>
                <a:gd name="connsiteX10751" fmla="*/ 1209493 w 5719680"/>
                <a:gd name="connsiteY10751" fmla="*/ 3230672 h 5704395"/>
                <a:gd name="connsiteX10752" fmla="*/ 1177731 w 5719680"/>
                <a:gd name="connsiteY10752" fmla="*/ 3141310 h 5704395"/>
                <a:gd name="connsiteX10753" fmla="*/ 385907 w 5719680"/>
                <a:gd name="connsiteY10753" fmla="*/ 3137824 h 5704395"/>
                <a:gd name="connsiteX10754" fmla="*/ 303644 w 5719680"/>
                <a:gd name="connsiteY10754" fmla="*/ 3181555 h 5704395"/>
                <a:gd name="connsiteX10755" fmla="*/ 319842 w 5719680"/>
                <a:gd name="connsiteY10755" fmla="*/ 3207539 h 5704395"/>
                <a:gd name="connsiteX10756" fmla="*/ 352240 w 5719680"/>
                <a:gd name="connsiteY10756" fmla="*/ 3192012 h 5704395"/>
                <a:gd name="connsiteX10757" fmla="*/ 348110 w 5719680"/>
                <a:gd name="connsiteY10757" fmla="*/ 3185040 h 5704395"/>
                <a:gd name="connsiteX10758" fmla="*/ 345887 w 5719680"/>
                <a:gd name="connsiteY10758" fmla="*/ 3181238 h 5704395"/>
                <a:gd name="connsiteX10759" fmla="*/ 350016 w 5719680"/>
                <a:gd name="connsiteY10759" fmla="*/ 3179020 h 5704395"/>
                <a:gd name="connsiteX10760" fmla="*/ 365262 w 5719680"/>
                <a:gd name="connsiteY10760" fmla="*/ 3170464 h 5704395"/>
                <a:gd name="connsiteX10761" fmla="*/ 368120 w 5719680"/>
                <a:gd name="connsiteY10761" fmla="*/ 3168879 h 5704395"/>
                <a:gd name="connsiteX10762" fmla="*/ 370661 w 5719680"/>
                <a:gd name="connsiteY10762" fmla="*/ 3171097 h 5704395"/>
                <a:gd name="connsiteX10763" fmla="*/ 424974 w 5719680"/>
                <a:gd name="connsiteY10763" fmla="*/ 3223384 h 5704395"/>
                <a:gd name="connsiteX10764" fmla="*/ 428786 w 5719680"/>
                <a:gd name="connsiteY10764" fmla="*/ 3226870 h 5704395"/>
                <a:gd name="connsiteX10765" fmla="*/ 424657 w 5719680"/>
                <a:gd name="connsiteY10765" fmla="*/ 3230039 h 5704395"/>
                <a:gd name="connsiteX10766" fmla="*/ 422116 w 5719680"/>
                <a:gd name="connsiteY10766" fmla="*/ 3232257 h 5704395"/>
                <a:gd name="connsiteX10767" fmla="*/ 451337 w 5719680"/>
                <a:gd name="connsiteY10767" fmla="*/ 3260777 h 5704395"/>
                <a:gd name="connsiteX10768" fmla="*/ 491992 w 5719680"/>
                <a:gd name="connsiteY10768" fmla="*/ 3264262 h 5704395"/>
                <a:gd name="connsiteX10769" fmla="*/ 494533 w 5719680"/>
                <a:gd name="connsiteY10769" fmla="*/ 3231940 h 5704395"/>
                <a:gd name="connsiteX10770" fmla="*/ 385907 w 5719680"/>
                <a:gd name="connsiteY10770" fmla="*/ 3137824 h 5704395"/>
                <a:gd name="connsiteX10771" fmla="*/ 2502836 w 5719680"/>
                <a:gd name="connsiteY10771" fmla="*/ 3135606 h 5704395"/>
                <a:gd name="connsiteX10772" fmla="*/ 2498072 w 5719680"/>
                <a:gd name="connsiteY10772" fmla="*/ 3150183 h 5704395"/>
                <a:gd name="connsiteX10773" fmla="*/ 2432960 w 5719680"/>
                <a:gd name="connsiteY10773" fmla="*/ 3373906 h 5704395"/>
                <a:gd name="connsiteX10774" fmla="*/ 2389446 w 5719680"/>
                <a:gd name="connsiteY10774" fmla="*/ 3528230 h 5704395"/>
                <a:gd name="connsiteX10775" fmla="*/ 2553020 w 5719680"/>
                <a:gd name="connsiteY10775" fmla="*/ 3609036 h 5704395"/>
                <a:gd name="connsiteX10776" fmla="*/ 2715324 w 5719680"/>
                <a:gd name="connsiteY10776" fmla="*/ 3276304 h 5704395"/>
                <a:gd name="connsiteX10777" fmla="*/ 2714688 w 5719680"/>
                <a:gd name="connsiteY10777" fmla="*/ 3275987 h 5704395"/>
                <a:gd name="connsiteX10778" fmla="*/ 2502836 w 5719680"/>
                <a:gd name="connsiteY10778" fmla="*/ 3135606 h 5704395"/>
                <a:gd name="connsiteX10779" fmla="*/ 1769455 w 5719680"/>
                <a:gd name="connsiteY10779" fmla="*/ 3133388 h 5704395"/>
                <a:gd name="connsiteX10780" fmla="*/ 1731023 w 5719680"/>
                <a:gd name="connsiteY10780" fmla="*/ 3138141 h 5704395"/>
                <a:gd name="connsiteX10781" fmla="*/ 1734199 w 5719680"/>
                <a:gd name="connsiteY10781" fmla="*/ 3162858 h 5704395"/>
                <a:gd name="connsiteX10782" fmla="*/ 1772631 w 5719680"/>
                <a:gd name="connsiteY10782" fmla="*/ 3158105 h 5704395"/>
                <a:gd name="connsiteX10783" fmla="*/ 1769455 w 5719680"/>
                <a:gd name="connsiteY10783" fmla="*/ 3133388 h 5704395"/>
                <a:gd name="connsiteX10784" fmla="*/ 386225 w 5719680"/>
                <a:gd name="connsiteY10784" fmla="*/ 3132754 h 5704395"/>
                <a:gd name="connsiteX10785" fmla="*/ 499297 w 5719680"/>
                <a:gd name="connsiteY10785" fmla="*/ 3230039 h 5704395"/>
                <a:gd name="connsiteX10786" fmla="*/ 496121 w 5719680"/>
                <a:gd name="connsiteY10786" fmla="*/ 3269016 h 5704395"/>
                <a:gd name="connsiteX10787" fmla="*/ 449431 w 5719680"/>
                <a:gd name="connsiteY10787" fmla="*/ 3264896 h 5704395"/>
                <a:gd name="connsiteX10788" fmla="*/ 415446 w 5719680"/>
                <a:gd name="connsiteY10788" fmla="*/ 3231623 h 5704395"/>
                <a:gd name="connsiteX10789" fmla="*/ 421798 w 5719680"/>
                <a:gd name="connsiteY10789" fmla="*/ 3226553 h 5704395"/>
                <a:gd name="connsiteX10790" fmla="*/ 367485 w 5719680"/>
                <a:gd name="connsiteY10790" fmla="*/ 3174266 h 5704395"/>
                <a:gd name="connsiteX10791" fmla="*/ 351922 w 5719680"/>
                <a:gd name="connsiteY10791" fmla="*/ 3182822 h 5704395"/>
                <a:gd name="connsiteX10792" fmla="*/ 358274 w 5719680"/>
                <a:gd name="connsiteY10792" fmla="*/ 3194230 h 5704395"/>
                <a:gd name="connsiteX10793" fmla="*/ 318254 w 5719680"/>
                <a:gd name="connsiteY10793" fmla="*/ 3213243 h 5704395"/>
                <a:gd name="connsiteX10794" fmla="*/ 297291 w 5719680"/>
                <a:gd name="connsiteY10794" fmla="*/ 3179970 h 5704395"/>
                <a:gd name="connsiteX10795" fmla="*/ 1772949 w 5719680"/>
                <a:gd name="connsiteY10795" fmla="*/ 3128634 h 5704395"/>
                <a:gd name="connsiteX10796" fmla="*/ 1777395 w 5719680"/>
                <a:gd name="connsiteY10796" fmla="*/ 3161591 h 5704395"/>
                <a:gd name="connsiteX10797" fmla="*/ 1730705 w 5719680"/>
                <a:gd name="connsiteY10797" fmla="*/ 3167612 h 5704395"/>
                <a:gd name="connsiteX10798" fmla="*/ 1730388 w 5719680"/>
                <a:gd name="connsiteY10798" fmla="*/ 3165393 h 5704395"/>
                <a:gd name="connsiteX10799" fmla="*/ 1726576 w 5719680"/>
                <a:gd name="connsiteY10799" fmla="*/ 3134655 h 5704395"/>
                <a:gd name="connsiteX10800" fmla="*/ 1530923 w 5719680"/>
                <a:gd name="connsiteY10800" fmla="*/ 3125466 h 5704395"/>
                <a:gd name="connsiteX10801" fmla="*/ 1512501 w 5719680"/>
                <a:gd name="connsiteY10801" fmla="*/ 3126099 h 5704395"/>
                <a:gd name="connsiteX10802" fmla="*/ 1515995 w 5719680"/>
                <a:gd name="connsiteY10802" fmla="*/ 3200251 h 5704395"/>
                <a:gd name="connsiteX10803" fmla="*/ 1534099 w 5719680"/>
                <a:gd name="connsiteY10803" fmla="*/ 3199300 h 5704395"/>
                <a:gd name="connsiteX10804" fmla="*/ 1530923 w 5719680"/>
                <a:gd name="connsiteY10804" fmla="*/ 3125466 h 5704395"/>
                <a:gd name="connsiteX10805" fmla="*/ 391624 w 5719680"/>
                <a:gd name="connsiteY10805" fmla="*/ 3123247 h 5704395"/>
                <a:gd name="connsiteX10806" fmla="*/ 354145 w 5719680"/>
                <a:gd name="connsiteY10806" fmla="*/ 3143528 h 5704395"/>
                <a:gd name="connsiteX10807" fmla="*/ 215028 w 5719680"/>
                <a:gd name="connsiteY10807" fmla="*/ 3218631 h 5704395"/>
                <a:gd name="connsiteX10808" fmla="*/ 203912 w 5719680"/>
                <a:gd name="connsiteY10808" fmla="*/ 3225285 h 5704395"/>
                <a:gd name="connsiteX10809" fmla="*/ 218522 w 5719680"/>
                <a:gd name="connsiteY10809" fmla="*/ 3242397 h 5704395"/>
                <a:gd name="connsiteX10810" fmla="*/ 256319 w 5719680"/>
                <a:gd name="connsiteY10810" fmla="*/ 3231623 h 5704395"/>
                <a:gd name="connsiteX10811" fmla="*/ 256636 w 5719680"/>
                <a:gd name="connsiteY10811" fmla="*/ 3231623 h 5704395"/>
                <a:gd name="connsiteX10812" fmla="*/ 257271 w 5719680"/>
                <a:gd name="connsiteY10812" fmla="*/ 3231623 h 5704395"/>
                <a:gd name="connsiteX10813" fmla="*/ 276329 w 5719680"/>
                <a:gd name="connsiteY10813" fmla="*/ 3245249 h 5704395"/>
                <a:gd name="connsiteX10814" fmla="*/ 330324 w 5719680"/>
                <a:gd name="connsiteY10814" fmla="*/ 3337464 h 5704395"/>
                <a:gd name="connsiteX10815" fmla="*/ 375426 w 5719680"/>
                <a:gd name="connsiteY10815" fmla="*/ 3397355 h 5704395"/>
                <a:gd name="connsiteX10816" fmla="*/ 410681 w 5719680"/>
                <a:gd name="connsiteY10816" fmla="*/ 3436333 h 5704395"/>
                <a:gd name="connsiteX10817" fmla="*/ 412587 w 5719680"/>
                <a:gd name="connsiteY10817" fmla="*/ 3435382 h 5704395"/>
                <a:gd name="connsiteX10818" fmla="*/ 419257 w 5719680"/>
                <a:gd name="connsiteY10818" fmla="*/ 3432213 h 5704395"/>
                <a:gd name="connsiteX10819" fmla="*/ 399247 w 5719680"/>
                <a:gd name="connsiteY10819" fmla="*/ 3409714 h 5704395"/>
                <a:gd name="connsiteX10820" fmla="*/ 364944 w 5719680"/>
                <a:gd name="connsiteY10820" fmla="*/ 3359963 h 5704395"/>
                <a:gd name="connsiteX10821" fmla="*/ 270611 w 5719680"/>
                <a:gd name="connsiteY10821" fmla="*/ 3194547 h 5704395"/>
                <a:gd name="connsiteX10822" fmla="*/ 289669 w 5719680"/>
                <a:gd name="connsiteY10822" fmla="*/ 3183773 h 5704395"/>
                <a:gd name="connsiteX10823" fmla="*/ 290621 w 5719680"/>
                <a:gd name="connsiteY10823" fmla="*/ 3185040 h 5704395"/>
                <a:gd name="connsiteX10824" fmla="*/ 333818 w 5719680"/>
                <a:gd name="connsiteY10824" fmla="*/ 3261094 h 5704395"/>
                <a:gd name="connsiteX10825" fmla="*/ 384001 w 5719680"/>
                <a:gd name="connsiteY10825" fmla="*/ 3348871 h 5704395"/>
                <a:gd name="connsiteX10826" fmla="*/ 397341 w 5719680"/>
                <a:gd name="connsiteY10826" fmla="*/ 3371054 h 5704395"/>
                <a:gd name="connsiteX10827" fmla="*/ 502791 w 5719680"/>
                <a:gd name="connsiteY10827" fmla="*/ 3313380 h 5704395"/>
                <a:gd name="connsiteX10828" fmla="*/ 504697 w 5719680"/>
                <a:gd name="connsiteY10828" fmla="*/ 3290564 h 5704395"/>
                <a:gd name="connsiteX10829" fmla="*/ 501203 w 5719680"/>
                <a:gd name="connsiteY10829" fmla="*/ 3290247 h 5704395"/>
                <a:gd name="connsiteX10830" fmla="*/ 501203 w 5719680"/>
                <a:gd name="connsiteY10830" fmla="*/ 3289297 h 5704395"/>
                <a:gd name="connsiteX10831" fmla="*/ 504379 w 5719680"/>
                <a:gd name="connsiteY10831" fmla="*/ 3258242 h 5704395"/>
                <a:gd name="connsiteX10832" fmla="*/ 506920 w 5719680"/>
                <a:gd name="connsiteY10832" fmla="*/ 3227503 h 5704395"/>
                <a:gd name="connsiteX10833" fmla="*/ 424657 w 5719680"/>
                <a:gd name="connsiteY10833" fmla="*/ 3157788 h 5704395"/>
                <a:gd name="connsiteX10834" fmla="*/ 427833 w 5719680"/>
                <a:gd name="connsiteY10834" fmla="*/ 3153985 h 5704395"/>
                <a:gd name="connsiteX10835" fmla="*/ 408140 w 5719680"/>
                <a:gd name="connsiteY10835" fmla="*/ 3137191 h 5704395"/>
                <a:gd name="connsiteX10836" fmla="*/ 393530 w 5719680"/>
                <a:gd name="connsiteY10836" fmla="*/ 3124832 h 5704395"/>
                <a:gd name="connsiteX10837" fmla="*/ 391624 w 5719680"/>
                <a:gd name="connsiteY10837" fmla="*/ 3123247 h 5704395"/>
                <a:gd name="connsiteX10838" fmla="*/ 1534734 w 5719680"/>
                <a:gd name="connsiteY10838" fmla="*/ 3121029 h 5704395"/>
                <a:gd name="connsiteX10839" fmla="*/ 1538546 w 5719680"/>
                <a:gd name="connsiteY10839" fmla="*/ 3203420 h 5704395"/>
                <a:gd name="connsiteX10840" fmla="*/ 1511866 w 5719680"/>
                <a:gd name="connsiteY10840" fmla="*/ 3204687 h 5704395"/>
                <a:gd name="connsiteX10841" fmla="*/ 1511866 w 5719680"/>
                <a:gd name="connsiteY10841" fmla="*/ 3202469 h 5704395"/>
                <a:gd name="connsiteX10842" fmla="*/ 1508054 w 5719680"/>
                <a:gd name="connsiteY10842" fmla="*/ 3122297 h 5704395"/>
                <a:gd name="connsiteX10843" fmla="*/ 1355915 w 5719680"/>
                <a:gd name="connsiteY10843" fmla="*/ 3117544 h 5704395"/>
                <a:gd name="connsiteX10844" fmla="*/ 1311448 w 5719680"/>
                <a:gd name="connsiteY10844" fmla="*/ 3136240 h 5704395"/>
                <a:gd name="connsiteX10845" fmla="*/ 1322565 w 5719680"/>
                <a:gd name="connsiteY10845" fmla="*/ 3166027 h 5704395"/>
                <a:gd name="connsiteX10846" fmla="*/ 1295250 w 5719680"/>
                <a:gd name="connsiteY10846" fmla="*/ 3177752 h 5704395"/>
                <a:gd name="connsiteX10847" fmla="*/ 1312719 w 5719680"/>
                <a:gd name="connsiteY10847" fmla="*/ 3218947 h 5704395"/>
                <a:gd name="connsiteX10848" fmla="*/ 1354009 w 5719680"/>
                <a:gd name="connsiteY10848" fmla="*/ 3201202 h 5704395"/>
                <a:gd name="connsiteX10849" fmla="*/ 1341622 w 5719680"/>
                <a:gd name="connsiteY10849" fmla="*/ 3172365 h 5704395"/>
                <a:gd name="connsiteX10850" fmla="*/ 1343528 w 5719680"/>
                <a:gd name="connsiteY10850" fmla="*/ 3171731 h 5704395"/>
                <a:gd name="connsiteX10851" fmla="*/ 1372114 w 5719680"/>
                <a:gd name="connsiteY10851" fmla="*/ 3159689 h 5704395"/>
                <a:gd name="connsiteX10852" fmla="*/ 1355915 w 5719680"/>
                <a:gd name="connsiteY10852" fmla="*/ 3117544 h 5704395"/>
                <a:gd name="connsiteX10853" fmla="*/ 1596988 w 5719680"/>
                <a:gd name="connsiteY10853" fmla="*/ 3116910 h 5704395"/>
                <a:gd name="connsiteX10854" fmla="*/ 1578566 w 5719680"/>
                <a:gd name="connsiteY10854" fmla="*/ 3117860 h 5704395"/>
                <a:gd name="connsiteX10855" fmla="*/ 1582060 w 5719680"/>
                <a:gd name="connsiteY10855" fmla="*/ 3192012 h 5704395"/>
                <a:gd name="connsiteX10856" fmla="*/ 1600482 w 5719680"/>
                <a:gd name="connsiteY10856" fmla="*/ 3191061 h 5704395"/>
                <a:gd name="connsiteX10857" fmla="*/ 1596988 w 5719680"/>
                <a:gd name="connsiteY10857" fmla="*/ 3116910 h 5704395"/>
                <a:gd name="connsiteX10858" fmla="*/ 2296384 w 5719680"/>
                <a:gd name="connsiteY10858" fmla="*/ 3116276 h 5704395"/>
                <a:gd name="connsiteX10859" fmla="*/ 2280186 w 5719680"/>
                <a:gd name="connsiteY10859" fmla="*/ 3131804 h 5704395"/>
                <a:gd name="connsiteX10860" fmla="*/ 2282726 w 5719680"/>
                <a:gd name="connsiteY10860" fmla="*/ 3134338 h 5704395"/>
                <a:gd name="connsiteX10861" fmla="*/ 2284315 w 5719680"/>
                <a:gd name="connsiteY10861" fmla="*/ 3135923 h 5704395"/>
                <a:gd name="connsiteX10862" fmla="*/ 2272880 w 5719680"/>
                <a:gd name="connsiteY10862" fmla="*/ 3147014 h 5704395"/>
                <a:gd name="connsiteX10863" fmla="*/ 2310677 w 5719680"/>
                <a:gd name="connsiteY10863" fmla="*/ 3186625 h 5704395"/>
                <a:gd name="connsiteX10864" fmla="*/ 2321794 w 5719680"/>
                <a:gd name="connsiteY10864" fmla="*/ 3175534 h 5704395"/>
                <a:gd name="connsiteX10865" fmla="*/ 2304960 w 5719680"/>
                <a:gd name="connsiteY10865" fmla="*/ 3158422 h 5704395"/>
                <a:gd name="connsiteX10866" fmla="*/ 2321794 w 5719680"/>
                <a:gd name="connsiteY10866" fmla="*/ 3142261 h 5704395"/>
                <a:gd name="connsiteX10867" fmla="*/ 2296384 w 5719680"/>
                <a:gd name="connsiteY10867" fmla="*/ 3116276 h 5704395"/>
                <a:gd name="connsiteX10868" fmla="*/ 2082309 w 5719680"/>
                <a:gd name="connsiteY10868" fmla="*/ 3114374 h 5704395"/>
                <a:gd name="connsiteX10869" fmla="*/ 2058170 w 5719680"/>
                <a:gd name="connsiteY10869" fmla="*/ 3185040 h 5704395"/>
                <a:gd name="connsiteX10870" fmla="*/ 2153456 w 5719680"/>
                <a:gd name="connsiteY10870" fmla="*/ 3198033 h 5704395"/>
                <a:gd name="connsiteX10871" fmla="*/ 2156950 w 5719680"/>
                <a:gd name="connsiteY10871" fmla="*/ 3165076 h 5704395"/>
                <a:gd name="connsiteX10872" fmla="*/ 2166796 w 5719680"/>
                <a:gd name="connsiteY10872" fmla="*/ 3134655 h 5704395"/>
                <a:gd name="connsiteX10873" fmla="*/ 2082309 w 5719680"/>
                <a:gd name="connsiteY10873" fmla="*/ 3114374 h 5704395"/>
                <a:gd name="connsiteX10874" fmla="*/ 1601117 w 5719680"/>
                <a:gd name="connsiteY10874" fmla="*/ 3112790 h 5704395"/>
                <a:gd name="connsiteX10875" fmla="*/ 1604611 w 5719680"/>
                <a:gd name="connsiteY10875" fmla="*/ 3194864 h 5704395"/>
                <a:gd name="connsiteX10876" fmla="*/ 1577931 w 5719680"/>
                <a:gd name="connsiteY10876" fmla="*/ 3196132 h 5704395"/>
                <a:gd name="connsiteX10877" fmla="*/ 1577931 w 5719680"/>
                <a:gd name="connsiteY10877" fmla="*/ 3194230 h 5704395"/>
                <a:gd name="connsiteX10878" fmla="*/ 1574437 w 5719680"/>
                <a:gd name="connsiteY10878" fmla="*/ 3114058 h 5704395"/>
                <a:gd name="connsiteX10879" fmla="*/ 1601117 w 5719680"/>
                <a:gd name="connsiteY10879" fmla="*/ 3112790 h 5704395"/>
                <a:gd name="connsiteX10880" fmla="*/ 1358138 w 5719680"/>
                <a:gd name="connsiteY10880" fmla="*/ 3112156 h 5704395"/>
                <a:gd name="connsiteX10881" fmla="*/ 1377513 w 5719680"/>
                <a:gd name="connsiteY10881" fmla="*/ 3161908 h 5704395"/>
                <a:gd name="connsiteX10882" fmla="*/ 1347022 w 5719680"/>
                <a:gd name="connsiteY10882" fmla="*/ 3174583 h 5704395"/>
                <a:gd name="connsiteX10883" fmla="*/ 1359409 w 5719680"/>
                <a:gd name="connsiteY10883" fmla="*/ 3203420 h 5704395"/>
                <a:gd name="connsiteX10884" fmla="*/ 1310496 w 5719680"/>
                <a:gd name="connsiteY10884" fmla="*/ 3224335 h 5704395"/>
                <a:gd name="connsiteX10885" fmla="*/ 1289850 w 5719680"/>
                <a:gd name="connsiteY10885" fmla="*/ 3175534 h 5704395"/>
                <a:gd name="connsiteX10886" fmla="*/ 1317166 w 5719680"/>
                <a:gd name="connsiteY10886" fmla="*/ 3163809 h 5704395"/>
                <a:gd name="connsiteX10887" fmla="*/ 1306366 w 5719680"/>
                <a:gd name="connsiteY10887" fmla="*/ 3133705 h 5704395"/>
                <a:gd name="connsiteX10888" fmla="*/ 1358138 w 5719680"/>
                <a:gd name="connsiteY10888" fmla="*/ 3112156 h 5704395"/>
                <a:gd name="connsiteX10889" fmla="*/ 1802487 w 5719680"/>
                <a:gd name="connsiteY10889" fmla="*/ 3110572 h 5704395"/>
                <a:gd name="connsiteX10890" fmla="*/ 1719589 w 5719680"/>
                <a:gd name="connsiteY10890" fmla="*/ 3123564 h 5704395"/>
                <a:gd name="connsiteX10891" fmla="*/ 1714507 w 5719680"/>
                <a:gd name="connsiteY10891" fmla="*/ 3181238 h 5704395"/>
                <a:gd name="connsiteX10892" fmla="*/ 1803440 w 5719680"/>
                <a:gd name="connsiteY10892" fmla="*/ 3171414 h 5704395"/>
                <a:gd name="connsiteX10893" fmla="*/ 1802487 w 5719680"/>
                <a:gd name="connsiteY10893" fmla="*/ 3110572 h 5704395"/>
                <a:gd name="connsiteX10894" fmla="*/ 2296384 w 5719680"/>
                <a:gd name="connsiteY10894" fmla="*/ 3110255 h 5704395"/>
                <a:gd name="connsiteX10895" fmla="*/ 2327511 w 5719680"/>
                <a:gd name="connsiteY10895" fmla="*/ 3142261 h 5704395"/>
                <a:gd name="connsiteX10896" fmla="*/ 2310995 w 5719680"/>
                <a:gd name="connsiteY10896" fmla="*/ 3158422 h 5704395"/>
                <a:gd name="connsiteX10897" fmla="*/ 2327828 w 5719680"/>
                <a:gd name="connsiteY10897" fmla="*/ 3175851 h 5704395"/>
                <a:gd name="connsiteX10898" fmla="*/ 2310360 w 5719680"/>
                <a:gd name="connsiteY10898" fmla="*/ 3192329 h 5704395"/>
                <a:gd name="connsiteX10899" fmla="*/ 2309089 w 5719680"/>
                <a:gd name="connsiteY10899" fmla="*/ 3191061 h 5704395"/>
                <a:gd name="connsiteX10900" fmla="*/ 2267163 w 5719680"/>
                <a:gd name="connsiteY10900" fmla="*/ 3146697 h 5704395"/>
                <a:gd name="connsiteX10901" fmla="*/ 2278280 w 5719680"/>
                <a:gd name="connsiteY10901" fmla="*/ 3135923 h 5704395"/>
                <a:gd name="connsiteX10902" fmla="*/ 2275739 w 5719680"/>
                <a:gd name="connsiteY10902" fmla="*/ 3133071 h 5704395"/>
                <a:gd name="connsiteX10903" fmla="*/ 2274468 w 5719680"/>
                <a:gd name="connsiteY10903" fmla="*/ 3131804 h 5704395"/>
                <a:gd name="connsiteX10904" fmla="*/ 2296384 w 5719680"/>
                <a:gd name="connsiteY10904" fmla="*/ 3110255 h 5704395"/>
                <a:gd name="connsiteX10905" fmla="*/ 1059577 w 5719680"/>
                <a:gd name="connsiteY10905" fmla="*/ 3106135 h 5704395"/>
                <a:gd name="connsiteX10906" fmla="*/ 1051319 w 5719680"/>
                <a:gd name="connsiteY10906" fmla="*/ 3119762 h 5704395"/>
                <a:gd name="connsiteX10907" fmla="*/ 1013522 w 5719680"/>
                <a:gd name="connsiteY10907" fmla="*/ 3155253 h 5704395"/>
                <a:gd name="connsiteX10908" fmla="*/ 988430 w 5719680"/>
                <a:gd name="connsiteY10908" fmla="*/ 3167928 h 5704395"/>
                <a:gd name="connsiteX10909" fmla="*/ 1010663 w 5719680"/>
                <a:gd name="connsiteY10909" fmla="*/ 3259826 h 5704395"/>
                <a:gd name="connsiteX10910" fmla="*/ 1067199 w 5719680"/>
                <a:gd name="connsiteY10910" fmla="*/ 3237327 h 5704395"/>
                <a:gd name="connsiteX10911" fmla="*/ 1128500 w 5719680"/>
                <a:gd name="connsiteY10911" fmla="*/ 3212293 h 5704395"/>
                <a:gd name="connsiteX10912" fmla="*/ 1127547 w 5719680"/>
                <a:gd name="connsiteY10912" fmla="*/ 3211976 h 5704395"/>
                <a:gd name="connsiteX10913" fmla="*/ 1123736 w 5719680"/>
                <a:gd name="connsiteY10913" fmla="*/ 3206272 h 5704395"/>
                <a:gd name="connsiteX10914" fmla="*/ 1085939 w 5719680"/>
                <a:gd name="connsiteY10914" fmla="*/ 3146697 h 5704395"/>
                <a:gd name="connsiteX10915" fmla="*/ 1066247 w 5719680"/>
                <a:gd name="connsiteY10915" fmla="*/ 3116276 h 5704395"/>
                <a:gd name="connsiteX10916" fmla="*/ 1059894 w 5719680"/>
                <a:gd name="connsiteY10916" fmla="*/ 3106769 h 5704395"/>
                <a:gd name="connsiteX10917" fmla="*/ 1059577 w 5719680"/>
                <a:gd name="connsiteY10917" fmla="*/ 3106135 h 5704395"/>
                <a:gd name="connsiteX10918" fmla="*/ 2036572 w 5719680"/>
                <a:gd name="connsiteY10918" fmla="*/ 3103284 h 5704395"/>
                <a:gd name="connsiteX10919" fmla="*/ 2010845 w 5719680"/>
                <a:gd name="connsiteY10919" fmla="*/ 3178703 h 5704395"/>
                <a:gd name="connsiteX10920" fmla="*/ 2054041 w 5719680"/>
                <a:gd name="connsiteY10920" fmla="*/ 3184407 h 5704395"/>
                <a:gd name="connsiteX10921" fmla="*/ 2078180 w 5719680"/>
                <a:gd name="connsiteY10921" fmla="*/ 3113424 h 5704395"/>
                <a:gd name="connsiteX10922" fmla="*/ 2036572 w 5719680"/>
                <a:gd name="connsiteY10922" fmla="*/ 3103284 h 5704395"/>
                <a:gd name="connsiteX10923" fmla="*/ 2028314 w 5719680"/>
                <a:gd name="connsiteY10923" fmla="*/ 3101382 h 5704395"/>
                <a:gd name="connsiteX10924" fmla="*/ 2002587 w 5719680"/>
                <a:gd name="connsiteY10924" fmla="*/ 3177435 h 5704395"/>
                <a:gd name="connsiteX10925" fmla="*/ 2006398 w 5719680"/>
                <a:gd name="connsiteY10925" fmla="*/ 3178069 h 5704395"/>
                <a:gd name="connsiteX10926" fmla="*/ 2032443 w 5719680"/>
                <a:gd name="connsiteY10926" fmla="*/ 3102333 h 5704395"/>
                <a:gd name="connsiteX10927" fmla="*/ 1682427 w 5719680"/>
                <a:gd name="connsiteY10927" fmla="*/ 3100431 h 5704395"/>
                <a:gd name="connsiteX10928" fmla="*/ 1664005 w 5719680"/>
                <a:gd name="connsiteY10928" fmla="*/ 3101382 h 5704395"/>
                <a:gd name="connsiteX10929" fmla="*/ 1667499 w 5719680"/>
                <a:gd name="connsiteY10929" fmla="*/ 3175217 h 5704395"/>
                <a:gd name="connsiteX10930" fmla="*/ 1685921 w 5719680"/>
                <a:gd name="connsiteY10930" fmla="*/ 3174583 h 5704395"/>
                <a:gd name="connsiteX10931" fmla="*/ 1682427 w 5719680"/>
                <a:gd name="connsiteY10931" fmla="*/ 3100431 h 5704395"/>
                <a:gd name="connsiteX10932" fmla="*/ 1686556 w 5719680"/>
                <a:gd name="connsiteY10932" fmla="*/ 3095995 h 5704395"/>
                <a:gd name="connsiteX10933" fmla="*/ 1690050 w 5719680"/>
                <a:gd name="connsiteY10933" fmla="*/ 3178386 h 5704395"/>
                <a:gd name="connsiteX10934" fmla="*/ 1663370 w 5719680"/>
                <a:gd name="connsiteY10934" fmla="*/ 3179653 h 5704395"/>
                <a:gd name="connsiteX10935" fmla="*/ 1663370 w 5719680"/>
                <a:gd name="connsiteY10935" fmla="*/ 3177435 h 5704395"/>
                <a:gd name="connsiteX10936" fmla="*/ 1659876 w 5719680"/>
                <a:gd name="connsiteY10936" fmla="*/ 3097262 h 5704395"/>
                <a:gd name="connsiteX10937" fmla="*/ 2289714 w 5719680"/>
                <a:gd name="connsiteY10937" fmla="*/ 3093143 h 5704395"/>
                <a:gd name="connsiteX10938" fmla="*/ 2206498 w 5719680"/>
                <a:gd name="connsiteY10938" fmla="*/ 3150500 h 5704395"/>
                <a:gd name="connsiteX10939" fmla="*/ 2442489 w 5719680"/>
                <a:gd name="connsiteY10939" fmla="*/ 3288029 h 5704395"/>
                <a:gd name="connsiteX10940" fmla="*/ 2465040 w 5719680"/>
                <a:gd name="connsiteY10940" fmla="*/ 3210075 h 5704395"/>
                <a:gd name="connsiteX10941" fmla="*/ 2460593 w 5719680"/>
                <a:gd name="connsiteY10941" fmla="*/ 3207223 h 5704395"/>
                <a:gd name="connsiteX10942" fmla="*/ 2289714 w 5719680"/>
                <a:gd name="connsiteY10942" fmla="*/ 3093143 h 5704395"/>
                <a:gd name="connsiteX10943" fmla="*/ 1848542 w 5719680"/>
                <a:gd name="connsiteY10943" fmla="*/ 3092509 h 5704395"/>
                <a:gd name="connsiteX10944" fmla="*/ 1834567 w 5719680"/>
                <a:gd name="connsiteY10944" fmla="*/ 3131169 h 5704395"/>
                <a:gd name="connsiteX10945" fmla="*/ 1872046 w 5719680"/>
                <a:gd name="connsiteY10945" fmla="*/ 3145429 h 5704395"/>
                <a:gd name="connsiteX10946" fmla="*/ 1890785 w 5719680"/>
                <a:gd name="connsiteY10946" fmla="*/ 3094094 h 5704395"/>
                <a:gd name="connsiteX10947" fmla="*/ 1848542 w 5719680"/>
                <a:gd name="connsiteY10947" fmla="*/ 3092509 h 5704395"/>
                <a:gd name="connsiteX10948" fmla="*/ 480558 w 5719680"/>
                <a:gd name="connsiteY10948" fmla="*/ 3088707 h 5704395"/>
                <a:gd name="connsiteX10949" fmla="*/ 421798 w 5719680"/>
                <a:gd name="connsiteY10949" fmla="*/ 3120395 h 5704395"/>
                <a:gd name="connsiteX10950" fmla="*/ 521848 w 5719680"/>
                <a:gd name="connsiteY10950" fmla="*/ 3195815 h 5704395"/>
                <a:gd name="connsiteX10951" fmla="*/ 605382 w 5719680"/>
                <a:gd name="connsiteY10951" fmla="*/ 3160957 h 5704395"/>
                <a:gd name="connsiteX10952" fmla="*/ 545987 w 5719680"/>
                <a:gd name="connsiteY10952" fmla="*/ 3148281 h 5704395"/>
                <a:gd name="connsiteX10953" fmla="*/ 532647 w 5719680"/>
                <a:gd name="connsiteY10953" fmla="*/ 3153035 h 5704395"/>
                <a:gd name="connsiteX10954" fmla="*/ 530424 w 5719680"/>
                <a:gd name="connsiteY10954" fmla="*/ 3153985 h 5704395"/>
                <a:gd name="connsiteX10955" fmla="*/ 528518 w 5719680"/>
                <a:gd name="connsiteY10955" fmla="*/ 3152401 h 5704395"/>
                <a:gd name="connsiteX10956" fmla="*/ 472935 w 5719680"/>
                <a:gd name="connsiteY10956" fmla="*/ 3108671 h 5704395"/>
                <a:gd name="connsiteX10957" fmla="*/ 467853 w 5719680"/>
                <a:gd name="connsiteY10957" fmla="*/ 3104551 h 5704395"/>
                <a:gd name="connsiteX10958" fmla="*/ 473252 w 5719680"/>
                <a:gd name="connsiteY10958" fmla="*/ 3101382 h 5704395"/>
                <a:gd name="connsiteX10959" fmla="*/ 483416 w 5719680"/>
                <a:gd name="connsiteY10959" fmla="*/ 3095361 h 5704395"/>
                <a:gd name="connsiteX10960" fmla="*/ 480558 w 5719680"/>
                <a:gd name="connsiteY10960" fmla="*/ 3088707 h 5704395"/>
                <a:gd name="connsiteX10961" fmla="*/ 1458824 w 5719680"/>
                <a:gd name="connsiteY10961" fmla="*/ 3084904 h 5704395"/>
                <a:gd name="connsiteX10962" fmla="*/ 1437543 w 5719680"/>
                <a:gd name="connsiteY10962" fmla="*/ 3091875 h 5704395"/>
                <a:gd name="connsiteX10963" fmla="*/ 1438496 w 5719680"/>
                <a:gd name="connsiteY10963" fmla="*/ 3095361 h 5704395"/>
                <a:gd name="connsiteX10964" fmla="*/ 1439131 w 5719680"/>
                <a:gd name="connsiteY10964" fmla="*/ 3097262 h 5704395"/>
                <a:gd name="connsiteX10965" fmla="*/ 1424203 w 5719680"/>
                <a:gd name="connsiteY10965" fmla="*/ 3102333 h 5704395"/>
                <a:gd name="connsiteX10966" fmla="*/ 1440719 w 5719680"/>
                <a:gd name="connsiteY10966" fmla="*/ 3154302 h 5704395"/>
                <a:gd name="connsiteX10967" fmla="*/ 1455647 w 5719680"/>
                <a:gd name="connsiteY10967" fmla="*/ 3149549 h 5704395"/>
                <a:gd name="connsiteX10968" fmla="*/ 1448024 w 5719680"/>
                <a:gd name="connsiteY10968" fmla="*/ 3126733 h 5704395"/>
                <a:gd name="connsiteX10969" fmla="*/ 1470258 w 5719680"/>
                <a:gd name="connsiteY10969" fmla="*/ 3119445 h 5704395"/>
                <a:gd name="connsiteX10970" fmla="*/ 1458824 w 5719680"/>
                <a:gd name="connsiteY10970" fmla="*/ 3084904 h 5704395"/>
                <a:gd name="connsiteX10971" fmla="*/ 482463 w 5719680"/>
                <a:gd name="connsiteY10971" fmla="*/ 3082686 h 5704395"/>
                <a:gd name="connsiteX10972" fmla="*/ 489451 w 5719680"/>
                <a:gd name="connsiteY10972" fmla="*/ 3096946 h 5704395"/>
                <a:gd name="connsiteX10973" fmla="*/ 475476 w 5719680"/>
                <a:gd name="connsiteY10973" fmla="*/ 3105185 h 5704395"/>
                <a:gd name="connsiteX10974" fmla="*/ 531059 w 5719680"/>
                <a:gd name="connsiteY10974" fmla="*/ 3148915 h 5704395"/>
                <a:gd name="connsiteX10975" fmla="*/ 545352 w 5719680"/>
                <a:gd name="connsiteY10975" fmla="*/ 3143528 h 5704395"/>
                <a:gd name="connsiteX10976" fmla="*/ 619992 w 5719680"/>
                <a:gd name="connsiteY10976" fmla="*/ 3159689 h 5704395"/>
                <a:gd name="connsiteX10977" fmla="*/ 521213 w 5719680"/>
                <a:gd name="connsiteY10977" fmla="*/ 3200885 h 5704395"/>
                <a:gd name="connsiteX10978" fmla="*/ 413540 w 5719680"/>
                <a:gd name="connsiteY10978" fmla="*/ 3119762 h 5704395"/>
                <a:gd name="connsiteX10979" fmla="*/ 482463 w 5719680"/>
                <a:gd name="connsiteY10979" fmla="*/ 3082686 h 5704395"/>
                <a:gd name="connsiteX10980" fmla="*/ 1474387 w 5719680"/>
                <a:gd name="connsiteY10980" fmla="*/ 3073179 h 5704395"/>
                <a:gd name="connsiteX10981" fmla="*/ 1399429 w 5719680"/>
                <a:gd name="connsiteY10981" fmla="*/ 3074764 h 5704395"/>
                <a:gd name="connsiteX10982" fmla="*/ 1437225 w 5719680"/>
                <a:gd name="connsiteY10982" fmla="*/ 3157788 h 5704395"/>
                <a:gd name="connsiteX10983" fmla="*/ 1419121 w 5719680"/>
                <a:gd name="connsiteY10983" fmla="*/ 3099798 h 5704395"/>
                <a:gd name="connsiteX10984" fmla="*/ 1434049 w 5719680"/>
                <a:gd name="connsiteY10984" fmla="*/ 3094727 h 5704395"/>
                <a:gd name="connsiteX10985" fmla="*/ 1432779 w 5719680"/>
                <a:gd name="connsiteY10985" fmla="*/ 3091242 h 5704395"/>
                <a:gd name="connsiteX10986" fmla="*/ 1432144 w 5719680"/>
                <a:gd name="connsiteY10986" fmla="*/ 3089340 h 5704395"/>
                <a:gd name="connsiteX10987" fmla="*/ 1461364 w 5719680"/>
                <a:gd name="connsiteY10987" fmla="*/ 3079517 h 5704395"/>
                <a:gd name="connsiteX10988" fmla="*/ 1475340 w 5719680"/>
                <a:gd name="connsiteY10988" fmla="*/ 3121980 h 5704395"/>
                <a:gd name="connsiteX10989" fmla="*/ 1453424 w 5719680"/>
                <a:gd name="connsiteY10989" fmla="*/ 3129268 h 5704395"/>
                <a:gd name="connsiteX10990" fmla="*/ 1460729 w 5719680"/>
                <a:gd name="connsiteY10990" fmla="*/ 3152084 h 5704395"/>
                <a:gd name="connsiteX10991" fmla="*/ 1438178 w 5719680"/>
                <a:gd name="connsiteY10991" fmla="*/ 3159689 h 5704395"/>
                <a:gd name="connsiteX10992" fmla="*/ 1469940 w 5719680"/>
                <a:gd name="connsiteY10992" fmla="*/ 3228454 h 5704395"/>
                <a:gd name="connsiteX10993" fmla="*/ 1501702 w 5719680"/>
                <a:gd name="connsiteY10993" fmla="*/ 3220532 h 5704395"/>
                <a:gd name="connsiteX10994" fmla="*/ 1474387 w 5719680"/>
                <a:gd name="connsiteY10994" fmla="*/ 3073179 h 5704395"/>
                <a:gd name="connsiteX10995" fmla="*/ 1729752 w 5719680"/>
                <a:gd name="connsiteY10995" fmla="*/ 3071595 h 5704395"/>
                <a:gd name="connsiteX10996" fmla="*/ 1729435 w 5719680"/>
                <a:gd name="connsiteY10996" fmla="*/ 3086171 h 5704395"/>
                <a:gd name="connsiteX10997" fmla="*/ 1769137 w 5719680"/>
                <a:gd name="connsiteY10997" fmla="*/ 3087122 h 5704395"/>
                <a:gd name="connsiteX10998" fmla="*/ 1769455 w 5719680"/>
                <a:gd name="connsiteY10998" fmla="*/ 3072545 h 5704395"/>
                <a:gd name="connsiteX10999" fmla="*/ 1729752 w 5719680"/>
                <a:gd name="connsiteY10999" fmla="*/ 3071595 h 5704395"/>
                <a:gd name="connsiteX11000" fmla="*/ 1556650 w 5719680"/>
                <a:gd name="connsiteY11000" fmla="*/ 3071595 h 5704395"/>
                <a:gd name="connsiteX11001" fmla="*/ 1543628 w 5719680"/>
                <a:gd name="connsiteY11001" fmla="*/ 3071911 h 5704395"/>
                <a:gd name="connsiteX11002" fmla="*/ 1478833 w 5719680"/>
                <a:gd name="connsiteY11002" fmla="*/ 3073179 h 5704395"/>
                <a:gd name="connsiteX11003" fmla="*/ 1505831 w 5719680"/>
                <a:gd name="connsiteY11003" fmla="*/ 3219581 h 5704395"/>
                <a:gd name="connsiteX11004" fmla="*/ 1534734 w 5719680"/>
                <a:gd name="connsiteY11004" fmla="*/ 3212610 h 5704395"/>
                <a:gd name="connsiteX11005" fmla="*/ 1562685 w 5719680"/>
                <a:gd name="connsiteY11005" fmla="*/ 3206272 h 5704395"/>
                <a:gd name="connsiteX11006" fmla="*/ 2209039 w 5719680"/>
                <a:gd name="connsiteY11006" fmla="*/ 3071278 h 5704395"/>
                <a:gd name="connsiteX11007" fmla="*/ 2187441 w 5719680"/>
                <a:gd name="connsiteY11007" fmla="*/ 3138141 h 5704395"/>
                <a:gd name="connsiteX11008" fmla="*/ 2253823 w 5719680"/>
                <a:gd name="connsiteY11008" fmla="*/ 3092509 h 5704395"/>
                <a:gd name="connsiteX11009" fmla="*/ 2209039 w 5719680"/>
                <a:gd name="connsiteY11009" fmla="*/ 3071278 h 5704395"/>
                <a:gd name="connsiteX11010" fmla="*/ 1642407 w 5719680"/>
                <a:gd name="connsiteY11010" fmla="*/ 3069693 h 5704395"/>
                <a:gd name="connsiteX11011" fmla="*/ 1561097 w 5719680"/>
                <a:gd name="connsiteY11011" fmla="*/ 3071278 h 5704395"/>
                <a:gd name="connsiteX11012" fmla="*/ 1567132 w 5719680"/>
                <a:gd name="connsiteY11012" fmla="*/ 3205321 h 5704395"/>
                <a:gd name="connsiteX11013" fmla="*/ 1638278 w 5719680"/>
                <a:gd name="connsiteY11013" fmla="*/ 3192329 h 5704395"/>
                <a:gd name="connsiteX11014" fmla="*/ 1642407 w 5719680"/>
                <a:gd name="connsiteY11014" fmla="*/ 3069693 h 5704395"/>
                <a:gd name="connsiteX11015" fmla="*/ 1708790 w 5719680"/>
                <a:gd name="connsiteY11015" fmla="*/ 3068426 h 5704395"/>
                <a:gd name="connsiteX11016" fmla="*/ 1646854 w 5719680"/>
                <a:gd name="connsiteY11016" fmla="*/ 3069693 h 5704395"/>
                <a:gd name="connsiteX11017" fmla="*/ 1642725 w 5719680"/>
                <a:gd name="connsiteY11017" fmla="*/ 3191378 h 5704395"/>
                <a:gd name="connsiteX11018" fmla="*/ 1699896 w 5719680"/>
                <a:gd name="connsiteY11018" fmla="*/ 3183139 h 5704395"/>
                <a:gd name="connsiteX11019" fmla="*/ 1704978 w 5719680"/>
                <a:gd name="connsiteY11019" fmla="*/ 3125782 h 5704395"/>
                <a:gd name="connsiteX11020" fmla="*/ 1708790 w 5719680"/>
                <a:gd name="connsiteY11020" fmla="*/ 3068426 h 5704395"/>
                <a:gd name="connsiteX11021" fmla="*/ 1725623 w 5719680"/>
                <a:gd name="connsiteY11021" fmla="*/ 3067792 h 5704395"/>
                <a:gd name="connsiteX11022" fmla="*/ 1773584 w 5719680"/>
                <a:gd name="connsiteY11022" fmla="*/ 3068426 h 5704395"/>
                <a:gd name="connsiteX11023" fmla="*/ 1773266 w 5719680"/>
                <a:gd name="connsiteY11023" fmla="*/ 3091242 h 5704395"/>
                <a:gd name="connsiteX11024" fmla="*/ 1771360 w 5719680"/>
                <a:gd name="connsiteY11024" fmla="*/ 3090925 h 5704395"/>
                <a:gd name="connsiteX11025" fmla="*/ 1725306 w 5719680"/>
                <a:gd name="connsiteY11025" fmla="*/ 3090291 h 5704395"/>
                <a:gd name="connsiteX11026" fmla="*/ 1909525 w 5719680"/>
                <a:gd name="connsiteY11026" fmla="*/ 3054166 h 5704395"/>
                <a:gd name="connsiteX11027" fmla="*/ 1896502 w 5719680"/>
                <a:gd name="connsiteY11027" fmla="*/ 3089974 h 5704395"/>
                <a:gd name="connsiteX11028" fmla="*/ 1920641 w 5719680"/>
                <a:gd name="connsiteY11028" fmla="*/ 3090925 h 5704395"/>
                <a:gd name="connsiteX11029" fmla="*/ 1932393 w 5719680"/>
                <a:gd name="connsiteY11029" fmla="*/ 3057968 h 5704395"/>
                <a:gd name="connsiteX11030" fmla="*/ 1909525 w 5719680"/>
                <a:gd name="connsiteY11030" fmla="*/ 3054166 h 5704395"/>
                <a:gd name="connsiteX11031" fmla="*/ 1724035 w 5719680"/>
                <a:gd name="connsiteY11031" fmla="*/ 3052581 h 5704395"/>
                <a:gd name="connsiteX11032" fmla="*/ 1719906 w 5719680"/>
                <a:gd name="connsiteY11032" fmla="*/ 3119128 h 5704395"/>
                <a:gd name="connsiteX11033" fmla="*/ 1802487 w 5719680"/>
                <a:gd name="connsiteY11033" fmla="*/ 3106135 h 5704395"/>
                <a:gd name="connsiteX11034" fmla="*/ 1801534 w 5719680"/>
                <a:gd name="connsiteY11034" fmla="*/ 3059236 h 5704395"/>
                <a:gd name="connsiteX11035" fmla="*/ 1724035 w 5719680"/>
                <a:gd name="connsiteY11035" fmla="*/ 3052581 h 5704395"/>
                <a:gd name="connsiteX11036" fmla="*/ 1865058 w 5719680"/>
                <a:gd name="connsiteY11036" fmla="*/ 3047194 h 5704395"/>
                <a:gd name="connsiteX11037" fmla="*/ 1850130 w 5719680"/>
                <a:gd name="connsiteY11037" fmla="*/ 3088073 h 5704395"/>
                <a:gd name="connsiteX11038" fmla="*/ 1892373 w 5719680"/>
                <a:gd name="connsiteY11038" fmla="*/ 3089974 h 5704395"/>
                <a:gd name="connsiteX11039" fmla="*/ 1905396 w 5719680"/>
                <a:gd name="connsiteY11039" fmla="*/ 3053532 h 5704395"/>
                <a:gd name="connsiteX11040" fmla="*/ 1865058 w 5719680"/>
                <a:gd name="connsiteY11040" fmla="*/ 3047194 h 5704395"/>
                <a:gd name="connsiteX11041" fmla="*/ 2105495 w 5719680"/>
                <a:gd name="connsiteY11041" fmla="*/ 3046244 h 5704395"/>
                <a:gd name="connsiteX11042" fmla="*/ 2083897 w 5719680"/>
                <a:gd name="connsiteY11042" fmla="*/ 3110255 h 5704395"/>
                <a:gd name="connsiteX11043" fmla="*/ 2168066 w 5719680"/>
                <a:gd name="connsiteY11043" fmla="*/ 3130536 h 5704395"/>
                <a:gd name="connsiteX11044" fmla="*/ 2189347 w 5719680"/>
                <a:gd name="connsiteY11044" fmla="*/ 3064623 h 5704395"/>
                <a:gd name="connsiteX11045" fmla="*/ 2105495 w 5719680"/>
                <a:gd name="connsiteY11045" fmla="*/ 3046244 h 5704395"/>
                <a:gd name="connsiteX11046" fmla="*/ 2352603 w 5719680"/>
                <a:gd name="connsiteY11046" fmla="*/ 3045927 h 5704395"/>
                <a:gd name="connsiteX11047" fmla="*/ 2336722 w 5719680"/>
                <a:gd name="connsiteY11047" fmla="*/ 3061454 h 5704395"/>
                <a:gd name="connsiteX11048" fmla="*/ 2339263 w 5719680"/>
                <a:gd name="connsiteY11048" fmla="*/ 3064306 h 5704395"/>
                <a:gd name="connsiteX11049" fmla="*/ 2340533 w 5719680"/>
                <a:gd name="connsiteY11049" fmla="*/ 3065891 h 5704395"/>
                <a:gd name="connsiteX11050" fmla="*/ 2329416 w 5719680"/>
                <a:gd name="connsiteY11050" fmla="*/ 3076665 h 5704395"/>
                <a:gd name="connsiteX11051" fmla="*/ 2366896 w 5719680"/>
                <a:gd name="connsiteY11051" fmla="*/ 3116276 h 5704395"/>
                <a:gd name="connsiteX11052" fmla="*/ 2378330 w 5719680"/>
                <a:gd name="connsiteY11052" fmla="*/ 3105502 h 5704395"/>
                <a:gd name="connsiteX11053" fmla="*/ 2361496 w 5719680"/>
                <a:gd name="connsiteY11053" fmla="*/ 3088390 h 5704395"/>
                <a:gd name="connsiteX11054" fmla="*/ 2378012 w 5719680"/>
                <a:gd name="connsiteY11054" fmla="*/ 3072228 h 5704395"/>
                <a:gd name="connsiteX11055" fmla="*/ 2352603 w 5719680"/>
                <a:gd name="connsiteY11055" fmla="*/ 3045927 h 5704395"/>
                <a:gd name="connsiteX11056" fmla="*/ 3390581 w 5719680"/>
                <a:gd name="connsiteY11056" fmla="*/ 3044659 h 5704395"/>
                <a:gd name="connsiteX11057" fmla="*/ 3012615 w 5719680"/>
                <a:gd name="connsiteY11057" fmla="*/ 3843850 h 5704395"/>
                <a:gd name="connsiteX11058" fmla="*/ 3105042 w 5719680"/>
                <a:gd name="connsiteY11058" fmla="*/ 3873955 h 5704395"/>
                <a:gd name="connsiteX11059" fmla="*/ 3116158 w 5719680"/>
                <a:gd name="connsiteY11059" fmla="*/ 3836562 h 5704395"/>
                <a:gd name="connsiteX11060" fmla="*/ 3116476 w 5719680"/>
                <a:gd name="connsiteY11060" fmla="*/ 3835928 h 5704395"/>
                <a:gd name="connsiteX11061" fmla="*/ 3168248 w 5719680"/>
                <a:gd name="connsiteY11061" fmla="*/ 3812795 h 5704395"/>
                <a:gd name="connsiteX11062" fmla="*/ 3137756 w 5719680"/>
                <a:gd name="connsiteY11062" fmla="*/ 3711074 h 5704395"/>
                <a:gd name="connsiteX11063" fmla="*/ 3139980 w 5719680"/>
                <a:gd name="connsiteY11063" fmla="*/ 3710441 h 5704395"/>
                <a:gd name="connsiteX11064" fmla="*/ 3242571 w 5719680"/>
                <a:gd name="connsiteY11064" fmla="*/ 3677167 h 5704395"/>
                <a:gd name="connsiteX11065" fmla="*/ 3313082 w 5719680"/>
                <a:gd name="connsiteY11065" fmla="*/ 3653718 h 5704395"/>
                <a:gd name="connsiteX11066" fmla="*/ 3336268 w 5719680"/>
                <a:gd name="connsiteY11066" fmla="*/ 3645795 h 5704395"/>
                <a:gd name="connsiteX11067" fmla="*/ 3342938 w 5719680"/>
                <a:gd name="connsiteY11067" fmla="*/ 3643260 h 5704395"/>
                <a:gd name="connsiteX11068" fmla="*/ 3344209 w 5719680"/>
                <a:gd name="connsiteY11068" fmla="*/ 3642943 h 5704395"/>
                <a:gd name="connsiteX11069" fmla="*/ 3344526 w 5719680"/>
                <a:gd name="connsiteY11069" fmla="*/ 3642310 h 5704395"/>
                <a:gd name="connsiteX11070" fmla="*/ 3345162 w 5719680"/>
                <a:gd name="connsiteY11070" fmla="*/ 3641993 h 5704395"/>
                <a:gd name="connsiteX11071" fmla="*/ 3346114 w 5719680"/>
                <a:gd name="connsiteY11071" fmla="*/ 3641993 h 5704395"/>
                <a:gd name="connsiteX11072" fmla="*/ 3347385 w 5719680"/>
                <a:gd name="connsiteY11072" fmla="*/ 3642627 h 5704395"/>
                <a:gd name="connsiteX11073" fmla="*/ 3348020 w 5719680"/>
                <a:gd name="connsiteY11073" fmla="*/ 3643577 h 5704395"/>
                <a:gd name="connsiteX11074" fmla="*/ 3361996 w 5719680"/>
                <a:gd name="connsiteY11074" fmla="*/ 3673048 h 5704395"/>
                <a:gd name="connsiteX11075" fmla="*/ 3413132 w 5719680"/>
                <a:gd name="connsiteY11075" fmla="*/ 3663224 h 5704395"/>
                <a:gd name="connsiteX11076" fmla="*/ 3449340 w 5719680"/>
                <a:gd name="connsiteY11076" fmla="*/ 3780156 h 5704395"/>
                <a:gd name="connsiteX11077" fmla="*/ 3502700 w 5719680"/>
                <a:gd name="connsiteY11077" fmla="*/ 3762727 h 5704395"/>
                <a:gd name="connsiteX11078" fmla="*/ 3685014 w 5719680"/>
                <a:gd name="connsiteY11078" fmla="*/ 3703469 h 5704395"/>
                <a:gd name="connsiteX11079" fmla="*/ 3764736 w 5719680"/>
                <a:gd name="connsiteY11079" fmla="*/ 3677167 h 5704395"/>
                <a:gd name="connsiteX11080" fmla="*/ 3765054 w 5719680"/>
                <a:gd name="connsiteY11080" fmla="*/ 3677167 h 5704395"/>
                <a:gd name="connsiteX11081" fmla="*/ 3810791 w 5719680"/>
                <a:gd name="connsiteY11081" fmla="*/ 3649281 h 5704395"/>
                <a:gd name="connsiteX11082" fmla="*/ 3902265 w 5719680"/>
                <a:gd name="connsiteY11082" fmla="*/ 3563405 h 5704395"/>
                <a:gd name="connsiteX11083" fmla="*/ 3610056 w 5719680"/>
                <a:gd name="connsiteY11083" fmla="*/ 3196448 h 5704395"/>
                <a:gd name="connsiteX11084" fmla="*/ 3583693 w 5719680"/>
                <a:gd name="connsiteY11084" fmla="*/ 3175534 h 5704395"/>
                <a:gd name="connsiteX11085" fmla="*/ 3509370 w 5719680"/>
                <a:gd name="connsiteY11085" fmla="*/ 3122931 h 5704395"/>
                <a:gd name="connsiteX11086" fmla="*/ 3390581 w 5719680"/>
                <a:gd name="connsiteY11086" fmla="*/ 3044659 h 5704395"/>
                <a:gd name="connsiteX11087" fmla="*/ 572349 w 5719680"/>
                <a:gd name="connsiteY11087" fmla="*/ 3040540 h 5704395"/>
                <a:gd name="connsiteX11088" fmla="*/ 507555 w 5719680"/>
                <a:gd name="connsiteY11088" fmla="*/ 3075397 h 5704395"/>
                <a:gd name="connsiteX11089" fmla="*/ 506920 w 5719680"/>
                <a:gd name="connsiteY11089" fmla="*/ 3089974 h 5704395"/>
                <a:gd name="connsiteX11090" fmla="*/ 513590 w 5719680"/>
                <a:gd name="connsiteY11090" fmla="*/ 3098530 h 5704395"/>
                <a:gd name="connsiteX11091" fmla="*/ 575208 w 5719680"/>
                <a:gd name="connsiteY11091" fmla="*/ 3065891 h 5704395"/>
                <a:gd name="connsiteX11092" fmla="*/ 577114 w 5719680"/>
                <a:gd name="connsiteY11092" fmla="*/ 3049096 h 5704395"/>
                <a:gd name="connsiteX11093" fmla="*/ 572349 w 5719680"/>
                <a:gd name="connsiteY11093" fmla="*/ 3040540 h 5704395"/>
                <a:gd name="connsiteX11094" fmla="*/ 2352603 w 5719680"/>
                <a:gd name="connsiteY11094" fmla="*/ 3040223 h 5704395"/>
                <a:gd name="connsiteX11095" fmla="*/ 2384047 w 5719680"/>
                <a:gd name="connsiteY11095" fmla="*/ 3072228 h 5704395"/>
                <a:gd name="connsiteX11096" fmla="*/ 2367213 w 5719680"/>
                <a:gd name="connsiteY11096" fmla="*/ 3088390 h 5704395"/>
                <a:gd name="connsiteX11097" fmla="*/ 2384047 w 5719680"/>
                <a:gd name="connsiteY11097" fmla="*/ 3105502 h 5704395"/>
                <a:gd name="connsiteX11098" fmla="*/ 2366896 w 5719680"/>
                <a:gd name="connsiteY11098" fmla="*/ 3122297 h 5704395"/>
                <a:gd name="connsiteX11099" fmla="*/ 2365308 w 5719680"/>
                <a:gd name="connsiteY11099" fmla="*/ 3120712 h 5704395"/>
                <a:gd name="connsiteX11100" fmla="*/ 2323382 w 5719680"/>
                <a:gd name="connsiteY11100" fmla="*/ 3076665 h 5704395"/>
                <a:gd name="connsiteX11101" fmla="*/ 2334816 w 5719680"/>
                <a:gd name="connsiteY11101" fmla="*/ 3065574 h 5704395"/>
                <a:gd name="connsiteX11102" fmla="*/ 2332275 w 5719680"/>
                <a:gd name="connsiteY11102" fmla="*/ 3063039 h 5704395"/>
                <a:gd name="connsiteX11103" fmla="*/ 2330687 w 5719680"/>
                <a:gd name="connsiteY11103" fmla="*/ 3061454 h 5704395"/>
                <a:gd name="connsiteX11104" fmla="*/ 2352603 w 5719680"/>
                <a:gd name="connsiteY11104" fmla="*/ 3040223 h 5704395"/>
                <a:gd name="connsiteX11105" fmla="*/ 1811380 w 5719680"/>
                <a:gd name="connsiteY11105" fmla="*/ 3038638 h 5704395"/>
                <a:gd name="connsiteX11106" fmla="*/ 1805981 w 5719680"/>
                <a:gd name="connsiteY11106" fmla="*/ 3057651 h 5704395"/>
                <a:gd name="connsiteX11107" fmla="*/ 1807887 w 5719680"/>
                <a:gd name="connsiteY11107" fmla="*/ 3171097 h 5704395"/>
                <a:gd name="connsiteX11108" fmla="*/ 1894597 w 5719680"/>
                <a:gd name="connsiteY11108" fmla="*/ 3164443 h 5704395"/>
                <a:gd name="connsiteX11109" fmla="*/ 1919371 w 5719680"/>
                <a:gd name="connsiteY11109" fmla="*/ 3095361 h 5704395"/>
                <a:gd name="connsiteX11110" fmla="*/ 1894914 w 5719680"/>
                <a:gd name="connsiteY11110" fmla="*/ 3094411 h 5704395"/>
                <a:gd name="connsiteX11111" fmla="*/ 1874587 w 5719680"/>
                <a:gd name="connsiteY11111" fmla="*/ 3150817 h 5704395"/>
                <a:gd name="connsiteX11112" fmla="*/ 1829485 w 5719680"/>
                <a:gd name="connsiteY11112" fmla="*/ 3133705 h 5704395"/>
                <a:gd name="connsiteX11113" fmla="*/ 1830120 w 5719680"/>
                <a:gd name="connsiteY11113" fmla="*/ 3131804 h 5704395"/>
                <a:gd name="connsiteX11114" fmla="*/ 1844413 w 5719680"/>
                <a:gd name="connsiteY11114" fmla="*/ 3092509 h 5704395"/>
                <a:gd name="connsiteX11115" fmla="*/ 1806934 w 5719680"/>
                <a:gd name="connsiteY11115" fmla="*/ 3090925 h 5704395"/>
                <a:gd name="connsiteX11116" fmla="*/ 1806934 w 5719680"/>
                <a:gd name="connsiteY11116" fmla="*/ 3086488 h 5704395"/>
                <a:gd name="connsiteX11117" fmla="*/ 1845683 w 5719680"/>
                <a:gd name="connsiteY11117" fmla="*/ 3088073 h 5704395"/>
                <a:gd name="connsiteX11118" fmla="*/ 1860929 w 5719680"/>
                <a:gd name="connsiteY11118" fmla="*/ 3046560 h 5704395"/>
                <a:gd name="connsiteX11119" fmla="*/ 1811380 w 5719680"/>
                <a:gd name="connsiteY11119" fmla="*/ 3038638 h 5704395"/>
                <a:gd name="connsiteX11120" fmla="*/ 2059440 w 5719680"/>
                <a:gd name="connsiteY11120" fmla="*/ 3036103 h 5704395"/>
                <a:gd name="connsiteX11121" fmla="*/ 2037842 w 5719680"/>
                <a:gd name="connsiteY11121" fmla="*/ 3099164 h 5704395"/>
                <a:gd name="connsiteX11122" fmla="*/ 2079768 w 5719680"/>
                <a:gd name="connsiteY11122" fmla="*/ 3109304 h 5704395"/>
                <a:gd name="connsiteX11123" fmla="*/ 2101366 w 5719680"/>
                <a:gd name="connsiteY11123" fmla="*/ 3045293 h 5704395"/>
                <a:gd name="connsiteX11124" fmla="*/ 2059440 w 5719680"/>
                <a:gd name="connsiteY11124" fmla="*/ 3036103 h 5704395"/>
                <a:gd name="connsiteX11125" fmla="*/ 573937 w 5719680"/>
                <a:gd name="connsiteY11125" fmla="*/ 3034519 h 5704395"/>
                <a:gd name="connsiteX11126" fmla="*/ 581560 w 5719680"/>
                <a:gd name="connsiteY11126" fmla="*/ 3048145 h 5704395"/>
                <a:gd name="connsiteX11127" fmla="*/ 579337 w 5719680"/>
                <a:gd name="connsiteY11127" fmla="*/ 3068743 h 5704395"/>
                <a:gd name="connsiteX11128" fmla="*/ 512319 w 5719680"/>
                <a:gd name="connsiteY11128" fmla="*/ 3104234 h 5704395"/>
                <a:gd name="connsiteX11129" fmla="*/ 502473 w 5719680"/>
                <a:gd name="connsiteY11129" fmla="*/ 3091242 h 5704395"/>
                <a:gd name="connsiteX11130" fmla="*/ 503426 w 5719680"/>
                <a:gd name="connsiteY11130" fmla="*/ 3072545 h 5704395"/>
                <a:gd name="connsiteX11131" fmla="*/ 573937 w 5719680"/>
                <a:gd name="connsiteY11131" fmla="*/ 3034519 h 5704395"/>
                <a:gd name="connsiteX11132" fmla="*/ 2051182 w 5719680"/>
                <a:gd name="connsiteY11132" fmla="*/ 3034202 h 5704395"/>
                <a:gd name="connsiteX11133" fmla="*/ 2029902 w 5719680"/>
                <a:gd name="connsiteY11133" fmla="*/ 3097262 h 5704395"/>
                <a:gd name="connsiteX11134" fmla="*/ 2033713 w 5719680"/>
                <a:gd name="connsiteY11134" fmla="*/ 3098213 h 5704395"/>
                <a:gd name="connsiteX11135" fmla="*/ 2055312 w 5719680"/>
                <a:gd name="connsiteY11135" fmla="*/ 3035152 h 5704395"/>
                <a:gd name="connsiteX11136" fmla="*/ 40020 w 5719680"/>
                <a:gd name="connsiteY11136" fmla="*/ 3030082 h 5704395"/>
                <a:gd name="connsiteX11137" fmla="*/ 24139 w 5719680"/>
                <a:gd name="connsiteY11137" fmla="*/ 3038321 h 5704395"/>
                <a:gd name="connsiteX11138" fmla="*/ 46373 w 5719680"/>
                <a:gd name="connsiteY11138" fmla="*/ 3080784 h 5704395"/>
                <a:gd name="connsiteX11139" fmla="*/ 62254 w 5719680"/>
                <a:gd name="connsiteY11139" fmla="*/ 3072545 h 5704395"/>
                <a:gd name="connsiteX11140" fmla="*/ 40020 w 5719680"/>
                <a:gd name="connsiteY11140" fmla="*/ 3030082 h 5704395"/>
                <a:gd name="connsiteX11141" fmla="*/ 1354327 w 5719680"/>
                <a:gd name="connsiteY11141" fmla="*/ 3026913 h 5704395"/>
                <a:gd name="connsiteX11142" fmla="*/ 1266982 w 5719680"/>
                <a:gd name="connsiteY11142" fmla="*/ 3083319 h 5704395"/>
                <a:gd name="connsiteX11143" fmla="*/ 1181542 w 5719680"/>
                <a:gd name="connsiteY11143" fmla="*/ 3138775 h 5704395"/>
                <a:gd name="connsiteX11144" fmla="*/ 1212987 w 5719680"/>
                <a:gd name="connsiteY11144" fmla="*/ 3227820 h 5704395"/>
                <a:gd name="connsiteX11145" fmla="*/ 1290486 w 5719680"/>
                <a:gd name="connsiteY11145" fmla="*/ 3277889 h 5704395"/>
                <a:gd name="connsiteX11146" fmla="*/ 1290168 w 5719680"/>
                <a:gd name="connsiteY11146" fmla="*/ 3278522 h 5704395"/>
                <a:gd name="connsiteX11147" fmla="*/ 1449613 w 5719680"/>
                <a:gd name="connsiteY11147" fmla="*/ 3233841 h 5704395"/>
                <a:gd name="connsiteX11148" fmla="*/ 41608 w 5719680"/>
                <a:gd name="connsiteY11148" fmla="*/ 3024061 h 5704395"/>
                <a:gd name="connsiteX11149" fmla="*/ 68288 w 5719680"/>
                <a:gd name="connsiteY11149" fmla="*/ 3074447 h 5704395"/>
                <a:gd name="connsiteX11150" fmla="*/ 44467 w 5719680"/>
                <a:gd name="connsiteY11150" fmla="*/ 3086805 h 5704395"/>
                <a:gd name="connsiteX11151" fmla="*/ 18105 w 5719680"/>
                <a:gd name="connsiteY11151" fmla="*/ 3036737 h 5704395"/>
                <a:gd name="connsiteX11152" fmla="*/ 1135805 w 5719680"/>
                <a:gd name="connsiteY11152" fmla="*/ 3022160 h 5704395"/>
                <a:gd name="connsiteX11153" fmla="*/ 1130088 w 5719680"/>
                <a:gd name="connsiteY11153" fmla="*/ 3102650 h 5704395"/>
                <a:gd name="connsiteX11154" fmla="*/ 1158674 w 5719680"/>
                <a:gd name="connsiteY11154" fmla="*/ 3089974 h 5704395"/>
                <a:gd name="connsiteX11155" fmla="*/ 1135805 w 5719680"/>
                <a:gd name="connsiteY11155" fmla="*/ 3022160 h 5704395"/>
                <a:gd name="connsiteX11156" fmla="*/ 723854 w 5719680"/>
                <a:gd name="connsiteY11156" fmla="*/ 3021843 h 5704395"/>
                <a:gd name="connsiteX11157" fmla="*/ 709878 w 5719680"/>
                <a:gd name="connsiteY11157" fmla="*/ 3189477 h 5704395"/>
                <a:gd name="connsiteX11158" fmla="*/ 777849 w 5719680"/>
                <a:gd name="connsiteY11158" fmla="*/ 3198983 h 5704395"/>
                <a:gd name="connsiteX11159" fmla="*/ 783248 w 5719680"/>
                <a:gd name="connsiteY11159" fmla="*/ 3199300 h 5704395"/>
                <a:gd name="connsiteX11160" fmla="*/ 830891 w 5719680"/>
                <a:gd name="connsiteY11160" fmla="*/ 3193596 h 5704395"/>
                <a:gd name="connsiteX11161" fmla="*/ 847090 w 5719680"/>
                <a:gd name="connsiteY11161" fmla="*/ 3189477 h 5704395"/>
                <a:gd name="connsiteX11162" fmla="*/ 839467 w 5719680"/>
                <a:gd name="connsiteY11162" fmla="*/ 3184407 h 5704395"/>
                <a:gd name="connsiteX11163" fmla="*/ 831526 w 5719680"/>
                <a:gd name="connsiteY11163" fmla="*/ 3179020 h 5704395"/>
                <a:gd name="connsiteX11164" fmla="*/ 828668 w 5719680"/>
                <a:gd name="connsiteY11164" fmla="*/ 3177435 h 5704395"/>
                <a:gd name="connsiteX11165" fmla="*/ 828350 w 5719680"/>
                <a:gd name="connsiteY11165" fmla="*/ 3177118 h 5704395"/>
                <a:gd name="connsiteX11166" fmla="*/ 774673 w 5719680"/>
                <a:gd name="connsiteY11166" fmla="*/ 3153352 h 5704395"/>
                <a:gd name="connsiteX11167" fmla="*/ 774037 w 5719680"/>
                <a:gd name="connsiteY11167" fmla="*/ 3152718 h 5704395"/>
                <a:gd name="connsiteX11168" fmla="*/ 731476 w 5719680"/>
                <a:gd name="connsiteY11168" fmla="*/ 3023428 h 5704395"/>
                <a:gd name="connsiteX11169" fmla="*/ 723854 w 5719680"/>
                <a:gd name="connsiteY11169" fmla="*/ 3021843 h 5704395"/>
                <a:gd name="connsiteX11170" fmla="*/ 1733564 w 5719680"/>
                <a:gd name="connsiteY11170" fmla="*/ 3020259 h 5704395"/>
                <a:gd name="connsiteX11171" fmla="*/ 1731023 w 5719680"/>
                <a:gd name="connsiteY11171" fmla="*/ 3034836 h 5704395"/>
                <a:gd name="connsiteX11172" fmla="*/ 1770408 w 5719680"/>
                <a:gd name="connsiteY11172" fmla="*/ 3041490 h 5704395"/>
                <a:gd name="connsiteX11173" fmla="*/ 1772631 w 5719680"/>
                <a:gd name="connsiteY11173" fmla="*/ 3027230 h 5704395"/>
                <a:gd name="connsiteX11174" fmla="*/ 1733564 w 5719680"/>
                <a:gd name="connsiteY11174" fmla="*/ 3020259 h 5704395"/>
                <a:gd name="connsiteX11175" fmla="*/ 44149 w 5719680"/>
                <a:gd name="connsiteY11175" fmla="*/ 3017724 h 5704395"/>
                <a:gd name="connsiteX11176" fmla="*/ 15246 w 5719680"/>
                <a:gd name="connsiteY11176" fmla="*/ 3025329 h 5704395"/>
                <a:gd name="connsiteX11177" fmla="*/ 10482 w 5719680"/>
                <a:gd name="connsiteY11177" fmla="*/ 3051314 h 5704395"/>
                <a:gd name="connsiteX11178" fmla="*/ 5400 w 5719680"/>
                <a:gd name="connsiteY11178" fmla="*/ 3082052 h 5704395"/>
                <a:gd name="connsiteX11179" fmla="*/ 27951 w 5719680"/>
                <a:gd name="connsiteY11179" fmla="*/ 3102650 h 5704395"/>
                <a:gd name="connsiteX11180" fmla="*/ 41291 w 5719680"/>
                <a:gd name="connsiteY11180" fmla="*/ 3115008 h 5704395"/>
                <a:gd name="connsiteX11181" fmla="*/ 45420 w 5719680"/>
                <a:gd name="connsiteY11181" fmla="*/ 3119128 h 5704395"/>
                <a:gd name="connsiteX11182" fmla="*/ 46055 w 5719680"/>
                <a:gd name="connsiteY11182" fmla="*/ 3119762 h 5704395"/>
                <a:gd name="connsiteX11183" fmla="*/ 68606 w 5719680"/>
                <a:gd name="connsiteY11183" fmla="*/ 3107403 h 5704395"/>
                <a:gd name="connsiteX11184" fmla="*/ 86710 w 5719680"/>
                <a:gd name="connsiteY11184" fmla="*/ 3097262 h 5704395"/>
                <a:gd name="connsiteX11185" fmla="*/ 44149 w 5719680"/>
                <a:gd name="connsiteY11185" fmla="*/ 3017724 h 5704395"/>
                <a:gd name="connsiteX11186" fmla="*/ 2338945 w 5719680"/>
                <a:gd name="connsiteY11186" fmla="*/ 3015822 h 5704395"/>
                <a:gd name="connsiteX11187" fmla="*/ 2304960 w 5719680"/>
                <a:gd name="connsiteY11187" fmla="*/ 3082686 h 5704395"/>
                <a:gd name="connsiteX11188" fmla="*/ 2293526 w 5719680"/>
                <a:gd name="connsiteY11188" fmla="*/ 3090291 h 5704395"/>
                <a:gd name="connsiteX11189" fmla="*/ 2377694 w 5719680"/>
                <a:gd name="connsiteY11189" fmla="*/ 3146697 h 5704395"/>
                <a:gd name="connsiteX11190" fmla="*/ 2441536 w 5719680"/>
                <a:gd name="connsiteY11190" fmla="*/ 3189477 h 5704395"/>
                <a:gd name="connsiteX11191" fmla="*/ 2463134 w 5719680"/>
                <a:gd name="connsiteY11191" fmla="*/ 3203420 h 5704395"/>
                <a:gd name="connsiteX11192" fmla="*/ 2466310 w 5719680"/>
                <a:gd name="connsiteY11192" fmla="*/ 3205638 h 5704395"/>
                <a:gd name="connsiteX11193" fmla="*/ 2472345 w 5719680"/>
                <a:gd name="connsiteY11193" fmla="*/ 3185991 h 5704395"/>
                <a:gd name="connsiteX11194" fmla="*/ 2486320 w 5719680"/>
                <a:gd name="connsiteY11194" fmla="*/ 3140042 h 5704395"/>
                <a:gd name="connsiteX11195" fmla="*/ 2490767 w 5719680"/>
                <a:gd name="connsiteY11195" fmla="*/ 3126733 h 5704395"/>
                <a:gd name="connsiteX11196" fmla="*/ 2492355 w 5719680"/>
                <a:gd name="connsiteY11196" fmla="*/ 3122931 h 5704395"/>
                <a:gd name="connsiteX11197" fmla="*/ 2493308 w 5719680"/>
                <a:gd name="connsiteY11197" fmla="*/ 3121029 h 5704395"/>
                <a:gd name="connsiteX11198" fmla="*/ 2494261 w 5719680"/>
                <a:gd name="connsiteY11198" fmla="*/ 3119762 h 5704395"/>
                <a:gd name="connsiteX11199" fmla="*/ 2495214 w 5719680"/>
                <a:gd name="connsiteY11199" fmla="*/ 3119128 h 5704395"/>
                <a:gd name="connsiteX11200" fmla="*/ 2496166 w 5719680"/>
                <a:gd name="connsiteY11200" fmla="*/ 3117544 h 5704395"/>
                <a:gd name="connsiteX11201" fmla="*/ 2338945 w 5719680"/>
                <a:gd name="connsiteY11201" fmla="*/ 3015822 h 5704395"/>
                <a:gd name="connsiteX11202" fmla="*/ 1730070 w 5719680"/>
                <a:gd name="connsiteY11202" fmla="*/ 3015822 h 5704395"/>
                <a:gd name="connsiteX11203" fmla="*/ 1777395 w 5719680"/>
                <a:gd name="connsiteY11203" fmla="*/ 3024061 h 5704395"/>
                <a:gd name="connsiteX11204" fmla="*/ 1773584 w 5719680"/>
                <a:gd name="connsiteY11204" fmla="*/ 3046244 h 5704395"/>
                <a:gd name="connsiteX11205" fmla="*/ 1771678 w 5719680"/>
                <a:gd name="connsiteY11205" fmla="*/ 3045927 h 5704395"/>
                <a:gd name="connsiteX11206" fmla="*/ 1726259 w 5719680"/>
                <a:gd name="connsiteY11206" fmla="*/ 3038004 h 5704395"/>
                <a:gd name="connsiteX11207" fmla="*/ 719725 w 5719680"/>
                <a:gd name="connsiteY11207" fmla="*/ 3015822 h 5704395"/>
                <a:gd name="connsiteX11208" fmla="*/ 734970 w 5719680"/>
                <a:gd name="connsiteY11208" fmla="*/ 3019625 h 5704395"/>
                <a:gd name="connsiteX11209" fmla="*/ 778166 w 5719680"/>
                <a:gd name="connsiteY11209" fmla="*/ 3150183 h 5704395"/>
                <a:gd name="connsiteX11210" fmla="*/ 793094 w 5719680"/>
                <a:gd name="connsiteY11210" fmla="*/ 3160006 h 5704395"/>
                <a:gd name="connsiteX11211" fmla="*/ 828985 w 5719680"/>
                <a:gd name="connsiteY11211" fmla="*/ 3172365 h 5704395"/>
                <a:gd name="connsiteX11212" fmla="*/ 829938 w 5719680"/>
                <a:gd name="connsiteY11212" fmla="*/ 3172682 h 5704395"/>
                <a:gd name="connsiteX11213" fmla="*/ 853760 w 5719680"/>
                <a:gd name="connsiteY11213" fmla="*/ 3188209 h 5704395"/>
                <a:gd name="connsiteX11214" fmla="*/ 857571 w 5719680"/>
                <a:gd name="connsiteY11214" fmla="*/ 3190744 h 5704395"/>
                <a:gd name="connsiteX11215" fmla="*/ 853124 w 5719680"/>
                <a:gd name="connsiteY11215" fmla="*/ 3192329 h 5704395"/>
                <a:gd name="connsiteX11216" fmla="*/ 783248 w 5719680"/>
                <a:gd name="connsiteY11216" fmla="*/ 3203737 h 5704395"/>
                <a:gd name="connsiteX11217" fmla="*/ 777531 w 5719680"/>
                <a:gd name="connsiteY11217" fmla="*/ 3203737 h 5704395"/>
                <a:gd name="connsiteX11218" fmla="*/ 706702 w 5719680"/>
                <a:gd name="connsiteY11218" fmla="*/ 3193596 h 5704395"/>
                <a:gd name="connsiteX11219" fmla="*/ 704796 w 5719680"/>
                <a:gd name="connsiteY11219" fmla="*/ 3192963 h 5704395"/>
                <a:gd name="connsiteX11220" fmla="*/ 719725 w 5719680"/>
                <a:gd name="connsiteY11220" fmla="*/ 3015822 h 5704395"/>
                <a:gd name="connsiteX11221" fmla="*/ 2228096 w 5719680"/>
                <a:gd name="connsiteY11221" fmla="*/ 3011703 h 5704395"/>
                <a:gd name="connsiteX11222" fmla="*/ 2210310 w 5719680"/>
                <a:gd name="connsiteY11222" fmla="*/ 3067158 h 5704395"/>
                <a:gd name="connsiteX11223" fmla="*/ 2258270 w 5719680"/>
                <a:gd name="connsiteY11223" fmla="*/ 3089657 h 5704395"/>
                <a:gd name="connsiteX11224" fmla="*/ 2288761 w 5719680"/>
                <a:gd name="connsiteY11224" fmla="*/ 3068426 h 5704395"/>
                <a:gd name="connsiteX11225" fmla="*/ 2301148 w 5719680"/>
                <a:gd name="connsiteY11225" fmla="*/ 3044342 h 5704395"/>
                <a:gd name="connsiteX11226" fmla="*/ 2228096 w 5719680"/>
                <a:gd name="connsiteY11226" fmla="*/ 3011703 h 5704395"/>
                <a:gd name="connsiteX11227" fmla="*/ 1925405 w 5719680"/>
                <a:gd name="connsiteY11227" fmla="*/ 3010119 h 5704395"/>
                <a:gd name="connsiteX11228" fmla="*/ 1911113 w 5719680"/>
                <a:gd name="connsiteY11228" fmla="*/ 3050046 h 5704395"/>
                <a:gd name="connsiteX11229" fmla="*/ 1933981 w 5719680"/>
                <a:gd name="connsiteY11229" fmla="*/ 3053849 h 5704395"/>
                <a:gd name="connsiteX11230" fmla="*/ 1948274 w 5719680"/>
                <a:gd name="connsiteY11230" fmla="*/ 3013604 h 5704395"/>
                <a:gd name="connsiteX11231" fmla="*/ 1925405 w 5719680"/>
                <a:gd name="connsiteY11231" fmla="*/ 3010119 h 5704395"/>
                <a:gd name="connsiteX11232" fmla="*/ 1136440 w 5719680"/>
                <a:gd name="connsiteY11232" fmla="*/ 3009801 h 5704395"/>
                <a:gd name="connsiteX11233" fmla="*/ 1164391 w 5719680"/>
                <a:gd name="connsiteY11233" fmla="*/ 3092509 h 5704395"/>
                <a:gd name="connsiteX11234" fmla="*/ 1162485 w 5719680"/>
                <a:gd name="connsiteY11234" fmla="*/ 3093460 h 5704395"/>
                <a:gd name="connsiteX11235" fmla="*/ 1125006 w 5719680"/>
                <a:gd name="connsiteY11235" fmla="*/ 3109938 h 5704395"/>
                <a:gd name="connsiteX11236" fmla="*/ 1131994 w 5719680"/>
                <a:gd name="connsiteY11236" fmla="*/ 3010119 h 5704395"/>
                <a:gd name="connsiteX11237" fmla="*/ 1136440 w 5719680"/>
                <a:gd name="connsiteY11237" fmla="*/ 3009801 h 5704395"/>
                <a:gd name="connsiteX11238" fmla="*/ 1880939 w 5719680"/>
                <a:gd name="connsiteY11238" fmla="*/ 3003147 h 5704395"/>
                <a:gd name="connsiteX11239" fmla="*/ 1866646 w 5719680"/>
                <a:gd name="connsiteY11239" fmla="*/ 3042758 h 5704395"/>
                <a:gd name="connsiteX11240" fmla="*/ 1906666 w 5719680"/>
                <a:gd name="connsiteY11240" fmla="*/ 3049412 h 5704395"/>
                <a:gd name="connsiteX11241" fmla="*/ 1921276 w 5719680"/>
                <a:gd name="connsiteY11241" fmla="*/ 3009485 h 5704395"/>
                <a:gd name="connsiteX11242" fmla="*/ 1880939 w 5719680"/>
                <a:gd name="connsiteY11242" fmla="*/ 3003147 h 5704395"/>
                <a:gd name="connsiteX11243" fmla="*/ 1723718 w 5719680"/>
                <a:gd name="connsiteY11243" fmla="*/ 3001879 h 5704395"/>
                <a:gd name="connsiteX11244" fmla="*/ 1724353 w 5719680"/>
                <a:gd name="connsiteY11244" fmla="*/ 3007583 h 5704395"/>
                <a:gd name="connsiteX11245" fmla="*/ 1724988 w 5719680"/>
                <a:gd name="connsiteY11245" fmla="*/ 3022794 h 5704395"/>
                <a:gd name="connsiteX11246" fmla="*/ 1724353 w 5719680"/>
                <a:gd name="connsiteY11246" fmla="*/ 3048145 h 5704395"/>
                <a:gd name="connsiteX11247" fmla="*/ 1802169 w 5719680"/>
                <a:gd name="connsiteY11247" fmla="*/ 3055117 h 5704395"/>
                <a:gd name="connsiteX11248" fmla="*/ 1813286 w 5719680"/>
                <a:gd name="connsiteY11248" fmla="*/ 3016456 h 5704395"/>
                <a:gd name="connsiteX11249" fmla="*/ 1723718 w 5719680"/>
                <a:gd name="connsiteY11249" fmla="*/ 3001879 h 5704395"/>
                <a:gd name="connsiteX11250" fmla="*/ 2619085 w 5719680"/>
                <a:gd name="connsiteY11250" fmla="*/ 2993006 h 5704395"/>
                <a:gd name="connsiteX11251" fmla="*/ 2605745 w 5719680"/>
                <a:gd name="connsiteY11251" fmla="*/ 3013604 h 5704395"/>
                <a:gd name="connsiteX11252" fmla="*/ 2623849 w 5719680"/>
                <a:gd name="connsiteY11252" fmla="*/ 3023428 h 5704395"/>
                <a:gd name="connsiteX11253" fmla="*/ 2598757 w 5719680"/>
                <a:gd name="connsiteY11253" fmla="*/ 3069059 h 5704395"/>
                <a:gd name="connsiteX11254" fmla="*/ 2611780 w 5719680"/>
                <a:gd name="connsiteY11254" fmla="*/ 3076348 h 5704395"/>
                <a:gd name="connsiteX11255" fmla="*/ 2637507 w 5719680"/>
                <a:gd name="connsiteY11255" fmla="*/ 3032934 h 5704395"/>
                <a:gd name="connsiteX11256" fmla="*/ 2665140 w 5719680"/>
                <a:gd name="connsiteY11256" fmla="*/ 3048462 h 5704395"/>
                <a:gd name="connsiteX11257" fmla="*/ 2614003 w 5719680"/>
                <a:gd name="connsiteY11257" fmla="*/ 3135606 h 5704395"/>
                <a:gd name="connsiteX11258" fmla="*/ 2630519 w 5719680"/>
                <a:gd name="connsiteY11258" fmla="*/ 3145746 h 5704395"/>
                <a:gd name="connsiteX11259" fmla="*/ 2673398 w 5719680"/>
                <a:gd name="connsiteY11259" fmla="*/ 3071911 h 5704395"/>
                <a:gd name="connsiteX11260" fmla="*/ 2720405 w 5719680"/>
                <a:gd name="connsiteY11260" fmla="*/ 3099164 h 5704395"/>
                <a:gd name="connsiteX11261" fmla="*/ 2677844 w 5719680"/>
                <a:gd name="connsiteY11261" fmla="*/ 3173316 h 5704395"/>
                <a:gd name="connsiteX11262" fmla="*/ 2707700 w 5719680"/>
                <a:gd name="connsiteY11262" fmla="*/ 3189794 h 5704395"/>
                <a:gd name="connsiteX11263" fmla="*/ 2735651 w 5719680"/>
                <a:gd name="connsiteY11263" fmla="*/ 3140359 h 5704395"/>
                <a:gd name="connsiteX11264" fmla="*/ 2718500 w 5719680"/>
                <a:gd name="connsiteY11264" fmla="*/ 3129268 h 5704395"/>
                <a:gd name="connsiteX11265" fmla="*/ 2755026 w 5719680"/>
                <a:gd name="connsiteY11265" fmla="*/ 3060820 h 5704395"/>
                <a:gd name="connsiteX11266" fmla="*/ 2774718 w 5719680"/>
                <a:gd name="connsiteY11266" fmla="*/ 3072228 h 5704395"/>
                <a:gd name="connsiteX11267" fmla="*/ 2787740 w 5719680"/>
                <a:gd name="connsiteY11267" fmla="*/ 3050363 h 5704395"/>
                <a:gd name="connsiteX11268" fmla="*/ 2695314 w 5719680"/>
                <a:gd name="connsiteY11268" fmla="*/ 2996492 h 5704395"/>
                <a:gd name="connsiteX11269" fmla="*/ 2676892 w 5719680"/>
                <a:gd name="connsiteY11269" fmla="*/ 3024379 h 5704395"/>
                <a:gd name="connsiteX11270" fmla="*/ 2619085 w 5719680"/>
                <a:gd name="connsiteY11270" fmla="*/ 2993006 h 5704395"/>
                <a:gd name="connsiteX11271" fmla="*/ 399565 w 5719680"/>
                <a:gd name="connsiteY11271" fmla="*/ 2992689 h 5704395"/>
                <a:gd name="connsiteX11272" fmla="*/ 370661 w 5719680"/>
                <a:gd name="connsiteY11272" fmla="*/ 3007583 h 5704395"/>
                <a:gd name="connsiteX11273" fmla="*/ 374473 w 5719680"/>
                <a:gd name="connsiteY11273" fmla="*/ 3015506 h 5704395"/>
                <a:gd name="connsiteX11274" fmla="*/ 375108 w 5719680"/>
                <a:gd name="connsiteY11274" fmla="*/ 3016773 h 5704395"/>
                <a:gd name="connsiteX11275" fmla="*/ 403694 w 5719680"/>
                <a:gd name="connsiteY11275" fmla="*/ 3001245 h 5704395"/>
                <a:gd name="connsiteX11276" fmla="*/ 399565 w 5719680"/>
                <a:gd name="connsiteY11276" fmla="*/ 2992689 h 5704395"/>
                <a:gd name="connsiteX11277" fmla="*/ 1661147 w 5719680"/>
                <a:gd name="connsiteY11277" fmla="*/ 2991105 h 5704395"/>
                <a:gd name="connsiteX11278" fmla="*/ 1661147 w 5719680"/>
                <a:gd name="connsiteY11278" fmla="*/ 3005365 h 5704395"/>
                <a:gd name="connsiteX11279" fmla="*/ 1641454 w 5719680"/>
                <a:gd name="connsiteY11279" fmla="*/ 3005365 h 5704395"/>
                <a:gd name="connsiteX11280" fmla="*/ 1641454 w 5719680"/>
                <a:gd name="connsiteY11280" fmla="*/ 3025963 h 5704395"/>
                <a:gd name="connsiteX11281" fmla="*/ 1661147 w 5719680"/>
                <a:gd name="connsiteY11281" fmla="*/ 3025963 h 5704395"/>
                <a:gd name="connsiteX11282" fmla="*/ 1660829 w 5719680"/>
                <a:gd name="connsiteY11282" fmla="*/ 3040223 h 5704395"/>
                <a:gd name="connsiteX11283" fmla="*/ 1682427 w 5719680"/>
                <a:gd name="connsiteY11283" fmla="*/ 3040540 h 5704395"/>
                <a:gd name="connsiteX11284" fmla="*/ 1682745 w 5719680"/>
                <a:gd name="connsiteY11284" fmla="*/ 2991422 h 5704395"/>
                <a:gd name="connsiteX11285" fmla="*/ 1661147 w 5719680"/>
                <a:gd name="connsiteY11285" fmla="*/ 2991105 h 5704395"/>
                <a:gd name="connsiteX11286" fmla="*/ 670176 w 5719680"/>
                <a:gd name="connsiteY11286" fmla="*/ 2988570 h 5704395"/>
                <a:gd name="connsiteX11287" fmla="*/ 592995 w 5719680"/>
                <a:gd name="connsiteY11287" fmla="*/ 3029448 h 5704395"/>
                <a:gd name="connsiteX11288" fmla="*/ 596488 w 5719680"/>
                <a:gd name="connsiteY11288" fmla="*/ 3035786 h 5704395"/>
                <a:gd name="connsiteX11289" fmla="*/ 612687 w 5719680"/>
                <a:gd name="connsiteY11289" fmla="*/ 3027864 h 5704395"/>
                <a:gd name="connsiteX11290" fmla="*/ 619992 w 5719680"/>
                <a:gd name="connsiteY11290" fmla="*/ 3024379 h 5704395"/>
                <a:gd name="connsiteX11291" fmla="*/ 619039 w 5719680"/>
                <a:gd name="connsiteY11291" fmla="*/ 3032300 h 5704395"/>
                <a:gd name="connsiteX11292" fmla="*/ 608876 w 5719680"/>
                <a:gd name="connsiteY11292" fmla="*/ 3119445 h 5704395"/>
                <a:gd name="connsiteX11293" fmla="*/ 608558 w 5719680"/>
                <a:gd name="connsiteY11293" fmla="*/ 3121980 h 5704395"/>
                <a:gd name="connsiteX11294" fmla="*/ 606017 w 5719680"/>
                <a:gd name="connsiteY11294" fmla="*/ 3122931 h 5704395"/>
                <a:gd name="connsiteX11295" fmla="*/ 591724 w 5719680"/>
                <a:gd name="connsiteY11295" fmla="*/ 3129268 h 5704395"/>
                <a:gd name="connsiteX11296" fmla="*/ 637461 w 5719680"/>
                <a:gd name="connsiteY11296" fmla="*/ 3147648 h 5704395"/>
                <a:gd name="connsiteX11297" fmla="*/ 652072 w 5719680"/>
                <a:gd name="connsiteY11297" fmla="*/ 3141310 h 5704395"/>
                <a:gd name="connsiteX11298" fmla="*/ 1657018 w 5719680"/>
                <a:gd name="connsiteY11298" fmla="*/ 2986985 h 5704395"/>
                <a:gd name="connsiteX11299" fmla="*/ 1686874 w 5719680"/>
                <a:gd name="connsiteY11299" fmla="*/ 2987302 h 5704395"/>
                <a:gd name="connsiteX11300" fmla="*/ 1686556 w 5719680"/>
                <a:gd name="connsiteY11300" fmla="*/ 3044659 h 5704395"/>
                <a:gd name="connsiteX11301" fmla="*/ 1684333 w 5719680"/>
                <a:gd name="connsiteY11301" fmla="*/ 3044659 h 5704395"/>
                <a:gd name="connsiteX11302" fmla="*/ 1656700 w 5719680"/>
                <a:gd name="connsiteY11302" fmla="*/ 3044342 h 5704395"/>
                <a:gd name="connsiteX11303" fmla="*/ 1656700 w 5719680"/>
                <a:gd name="connsiteY11303" fmla="*/ 3030082 h 5704395"/>
                <a:gd name="connsiteX11304" fmla="*/ 1637008 w 5719680"/>
                <a:gd name="connsiteY11304" fmla="*/ 3030082 h 5704395"/>
                <a:gd name="connsiteX11305" fmla="*/ 1637325 w 5719680"/>
                <a:gd name="connsiteY11305" fmla="*/ 3000929 h 5704395"/>
                <a:gd name="connsiteX11306" fmla="*/ 1657018 w 5719680"/>
                <a:gd name="connsiteY11306" fmla="*/ 3001245 h 5704395"/>
                <a:gd name="connsiteX11307" fmla="*/ 2617497 w 5719680"/>
                <a:gd name="connsiteY11307" fmla="*/ 2986669 h 5704395"/>
                <a:gd name="connsiteX11308" fmla="*/ 2619402 w 5719680"/>
                <a:gd name="connsiteY11308" fmla="*/ 2987936 h 5704395"/>
                <a:gd name="connsiteX11309" fmla="*/ 2675304 w 5719680"/>
                <a:gd name="connsiteY11309" fmla="*/ 3018357 h 5704395"/>
                <a:gd name="connsiteX11310" fmla="*/ 2693725 w 5719680"/>
                <a:gd name="connsiteY11310" fmla="*/ 2990472 h 5704395"/>
                <a:gd name="connsiteX11311" fmla="*/ 2794093 w 5719680"/>
                <a:gd name="connsiteY11311" fmla="*/ 3048462 h 5704395"/>
                <a:gd name="connsiteX11312" fmla="*/ 2776306 w 5719680"/>
                <a:gd name="connsiteY11312" fmla="*/ 3078566 h 5704395"/>
                <a:gd name="connsiteX11313" fmla="*/ 2756932 w 5719680"/>
                <a:gd name="connsiteY11313" fmla="*/ 3067158 h 5704395"/>
                <a:gd name="connsiteX11314" fmla="*/ 2724852 w 5719680"/>
                <a:gd name="connsiteY11314" fmla="*/ 3127684 h 5704395"/>
                <a:gd name="connsiteX11315" fmla="*/ 2742004 w 5719680"/>
                <a:gd name="connsiteY11315" fmla="*/ 3138775 h 5704395"/>
                <a:gd name="connsiteX11316" fmla="*/ 2709606 w 5719680"/>
                <a:gd name="connsiteY11316" fmla="*/ 3196132 h 5704395"/>
                <a:gd name="connsiteX11317" fmla="*/ 2671492 w 5719680"/>
                <a:gd name="connsiteY11317" fmla="*/ 3174900 h 5704395"/>
                <a:gd name="connsiteX11318" fmla="*/ 2714053 w 5719680"/>
                <a:gd name="connsiteY11318" fmla="*/ 3101065 h 5704395"/>
                <a:gd name="connsiteX11319" fmla="*/ 2674986 w 5719680"/>
                <a:gd name="connsiteY11319" fmla="*/ 3078249 h 5704395"/>
                <a:gd name="connsiteX11320" fmla="*/ 2632425 w 5719680"/>
                <a:gd name="connsiteY11320" fmla="*/ 3152084 h 5704395"/>
                <a:gd name="connsiteX11321" fmla="*/ 2607651 w 5719680"/>
                <a:gd name="connsiteY11321" fmla="*/ 3137191 h 5704395"/>
                <a:gd name="connsiteX11322" fmla="*/ 2658787 w 5719680"/>
                <a:gd name="connsiteY11322" fmla="*/ 3050363 h 5704395"/>
                <a:gd name="connsiteX11323" fmla="*/ 2639095 w 5719680"/>
                <a:gd name="connsiteY11323" fmla="*/ 3039272 h 5704395"/>
                <a:gd name="connsiteX11324" fmla="*/ 2613686 w 5719680"/>
                <a:gd name="connsiteY11324" fmla="*/ 3082686 h 5704395"/>
                <a:gd name="connsiteX11325" fmla="*/ 2592405 w 5719680"/>
                <a:gd name="connsiteY11325" fmla="*/ 3070644 h 5704395"/>
                <a:gd name="connsiteX11326" fmla="*/ 2617497 w 5719680"/>
                <a:gd name="connsiteY11326" fmla="*/ 3025329 h 5704395"/>
                <a:gd name="connsiteX11327" fmla="*/ 2599075 w 5719680"/>
                <a:gd name="connsiteY11327" fmla="*/ 3015189 h 5704395"/>
                <a:gd name="connsiteX11328" fmla="*/ 2617497 w 5719680"/>
                <a:gd name="connsiteY11328" fmla="*/ 2986669 h 5704395"/>
                <a:gd name="connsiteX11329" fmla="*/ 2126140 w 5719680"/>
                <a:gd name="connsiteY11329" fmla="*/ 2985084 h 5704395"/>
                <a:gd name="connsiteX11330" fmla="*/ 2106766 w 5719680"/>
                <a:gd name="connsiteY11330" fmla="*/ 3042124 h 5704395"/>
                <a:gd name="connsiteX11331" fmla="*/ 2190617 w 5719680"/>
                <a:gd name="connsiteY11331" fmla="*/ 3060504 h 5704395"/>
                <a:gd name="connsiteX11332" fmla="*/ 2208404 w 5719680"/>
                <a:gd name="connsiteY11332" fmla="*/ 3005048 h 5704395"/>
                <a:gd name="connsiteX11333" fmla="*/ 2126140 w 5719680"/>
                <a:gd name="connsiteY11333" fmla="*/ 2985084 h 5704395"/>
                <a:gd name="connsiteX11334" fmla="*/ 675575 w 5719680"/>
                <a:gd name="connsiteY11334" fmla="*/ 2980648 h 5704395"/>
                <a:gd name="connsiteX11335" fmla="*/ 656201 w 5719680"/>
                <a:gd name="connsiteY11335" fmla="*/ 3144479 h 5704395"/>
                <a:gd name="connsiteX11336" fmla="*/ 637779 w 5719680"/>
                <a:gd name="connsiteY11336" fmla="*/ 3152401 h 5704395"/>
                <a:gd name="connsiteX11337" fmla="*/ 580290 w 5719680"/>
                <a:gd name="connsiteY11337" fmla="*/ 3129268 h 5704395"/>
                <a:gd name="connsiteX11338" fmla="*/ 604429 w 5719680"/>
                <a:gd name="connsiteY11338" fmla="*/ 3118811 h 5704395"/>
                <a:gd name="connsiteX11339" fmla="*/ 614593 w 5719680"/>
                <a:gd name="connsiteY11339" fmla="*/ 3031984 h 5704395"/>
                <a:gd name="connsiteX11340" fmla="*/ 594583 w 5719680"/>
                <a:gd name="connsiteY11340" fmla="*/ 3041490 h 5704395"/>
                <a:gd name="connsiteX11341" fmla="*/ 586960 w 5719680"/>
                <a:gd name="connsiteY11341" fmla="*/ 3027547 h 5704395"/>
                <a:gd name="connsiteX11342" fmla="*/ 675575 w 5719680"/>
                <a:gd name="connsiteY11342" fmla="*/ 2980648 h 5704395"/>
                <a:gd name="connsiteX11343" fmla="*/ 173738 w 5719680"/>
                <a:gd name="connsiteY11343" fmla="*/ 2978113 h 5704395"/>
                <a:gd name="connsiteX11344" fmla="*/ 171832 w 5719680"/>
                <a:gd name="connsiteY11344" fmla="*/ 2985084 h 5704395"/>
                <a:gd name="connsiteX11345" fmla="*/ 176279 w 5719680"/>
                <a:gd name="connsiteY11345" fmla="*/ 2993323 h 5704395"/>
                <a:gd name="connsiteX11346" fmla="*/ 207088 w 5719680"/>
                <a:gd name="connsiteY11346" fmla="*/ 3025963 h 5704395"/>
                <a:gd name="connsiteX11347" fmla="*/ 207723 w 5719680"/>
                <a:gd name="connsiteY11347" fmla="*/ 3031667 h 5704395"/>
                <a:gd name="connsiteX11348" fmla="*/ 198194 w 5719680"/>
                <a:gd name="connsiteY11348" fmla="*/ 3056384 h 5704395"/>
                <a:gd name="connsiteX11349" fmla="*/ 222333 w 5719680"/>
                <a:gd name="connsiteY11349" fmla="*/ 3067158 h 5704395"/>
                <a:gd name="connsiteX11350" fmla="*/ 233132 w 5719680"/>
                <a:gd name="connsiteY11350" fmla="*/ 3068743 h 5704395"/>
                <a:gd name="connsiteX11351" fmla="*/ 259812 w 5719680"/>
                <a:gd name="connsiteY11351" fmla="*/ 3061137 h 5704395"/>
                <a:gd name="connsiteX11352" fmla="*/ 287445 w 5719680"/>
                <a:gd name="connsiteY11352" fmla="*/ 3035152 h 5704395"/>
                <a:gd name="connsiteX11353" fmla="*/ 297927 w 5719680"/>
                <a:gd name="connsiteY11353" fmla="*/ 3018674 h 5704395"/>
                <a:gd name="connsiteX11354" fmla="*/ 291892 w 5719680"/>
                <a:gd name="connsiteY11354" fmla="*/ 3015822 h 5704395"/>
                <a:gd name="connsiteX11355" fmla="*/ 282046 w 5719680"/>
                <a:gd name="connsiteY11355" fmla="*/ 3018674 h 5704395"/>
                <a:gd name="connsiteX11356" fmla="*/ 251237 w 5719680"/>
                <a:gd name="connsiteY11356" fmla="*/ 3030716 h 5704395"/>
                <a:gd name="connsiteX11357" fmla="*/ 244884 w 5719680"/>
                <a:gd name="connsiteY11357" fmla="*/ 3029132 h 5704395"/>
                <a:gd name="connsiteX11358" fmla="*/ 231862 w 5719680"/>
                <a:gd name="connsiteY11358" fmla="*/ 3012337 h 5704395"/>
                <a:gd name="connsiteX11359" fmla="*/ 216616 w 5719680"/>
                <a:gd name="connsiteY11359" fmla="*/ 2991739 h 5704395"/>
                <a:gd name="connsiteX11360" fmla="*/ 189301 w 5719680"/>
                <a:gd name="connsiteY11360" fmla="*/ 2986035 h 5704395"/>
                <a:gd name="connsiteX11361" fmla="*/ 179455 w 5719680"/>
                <a:gd name="connsiteY11361" fmla="*/ 2980965 h 5704395"/>
                <a:gd name="connsiteX11362" fmla="*/ 174373 w 5719680"/>
                <a:gd name="connsiteY11362" fmla="*/ 2978430 h 5704395"/>
                <a:gd name="connsiteX11363" fmla="*/ 173738 w 5719680"/>
                <a:gd name="connsiteY11363" fmla="*/ 2978113 h 5704395"/>
                <a:gd name="connsiteX11364" fmla="*/ 172785 w 5719680"/>
                <a:gd name="connsiteY11364" fmla="*/ 2974310 h 5704395"/>
                <a:gd name="connsiteX11365" fmla="*/ 174055 w 5719680"/>
                <a:gd name="connsiteY11365" fmla="*/ 2974944 h 5704395"/>
                <a:gd name="connsiteX11366" fmla="*/ 174373 w 5719680"/>
                <a:gd name="connsiteY11366" fmla="*/ 2975261 h 5704395"/>
                <a:gd name="connsiteX11367" fmla="*/ 190254 w 5719680"/>
                <a:gd name="connsiteY11367" fmla="*/ 2983500 h 5704395"/>
                <a:gd name="connsiteX11368" fmla="*/ 217569 w 5719680"/>
                <a:gd name="connsiteY11368" fmla="*/ 2989204 h 5704395"/>
                <a:gd name="connsiteX11369" fmla="*/ 234403 w 5719680"/>
                <a:gd name="connsiteY11369" fmla="*/ 3011703 h 5704395"/>
                <a:gd name="connsiteX11370" fmla="*/ 246472 w 5719680"/>
                <a:gd name="connsiteY11370" fmla="*/ 3026913 h 5704395"/>
                <a:gd name="connsiteX11371" fmla="*/ 251237 w 5719680"/>
                <a:gd name="connsiteY11371" fmla="*/ 3028181 h 5704395"/>
                <a:gd name="connsiteX11372" fmla="*/ 280775 w 5719680"/>
                <a:gd name="connsiteY11372" fmla="*/ 3016456 h 5704395"/>
                <a:gd name="connsiteX11373" fmla="*/ 291892 w 5719680"/>
                <a:gd name="connsiteY11373" fmla="*/ 3013287 h 5704395"/>
                <a:gd name="connsiteX11374" fmla="*/ 300785 w 5719680"/>
                <a:gd name="connsiteY11374" fmla="*/ 3018674 h 5704395"/>
                <a:gd name="connsiteX11375" fmla="*/ 301103 w 5719680"/>
                <a:gd name="connsiteY11375" fmla="*/ 3019625 h 5704395"/>
                <a:gd name="connsiteX11376" fmla="*/ 300150 w 5719680"/>
                <a:gd name="connsiteY11376" fmla="*/ 3019942 h 5704395"/>
                <a:gd name="connsiteX11377" fmla="*/ 289986 w 5719680"/>
                <a:gd name="connsiteY11377" fmla="*/ 3036420 h 5704395"/>
                <a:gd name="connsiteX11378" fmla="*/ 261083 w 5719680"/>
                <a:gd name="connsiteY11378" fmla="*/ 3063355 h 5704395"/>
                <a:gd name="connsiteX11379" fmla="*/ 233132 w 5719680"/>
                <a:gd name="connsiteY11379" fmla="*/ 3071278 h 5704395"/>
                <a:gd name="connsiteX11380" fmla="*/ 221381 w 5719680"/>
                <a:gd name="connsiteY11380" fmla="*/ 3069377 h 5704395"/>
                <a:gd name="connsiteX11381" fmla="*/ 195653 w 5719680"/>
                <a:gd name="connsiteY11381" fmla="*/ 3058286 h 5704395"/>
                <a:gd name="connsiteX11382" fmla="*/ 194065 w 5719680"/>
                <a:gd name="connsiteY11382" fmla="*/ 3057651 h 5704395"/>
                <a:gd name="connsiteX11383" fmla="*/ 195336 w 5719680"/>
                <a:gd name="connsiteY11383" fmla="*/ 3056067 h 5704395"/>
                <a:gd name="connsiteX11384" fmla="*/ 205182 w 5719680"/>
                <a:gd name="connsiteY11384" fmla="*/ 3031667 h 5704395"/>
                <a:gd name="connsiteX11385" fmla="*/ 204547 w 5719680"/>
                <a:gd name="connsiteY11385" fmla="*/ 3026597 h 5704395"/>
                <a:gd name="connsiteX11386" fmla="*/ 174691 w 5719680"/>
                <a:gd name="connsiteY11386" fmla="*/ 2995225 h 5704395"/>
                <a:gd name="connsiteX11387" fmla="*/ 169291 w 5719680"/>
                <a:gd name="connsiteY11387" fmla="*/ 2985084 h 5704395"/>
                <a:gd name="connsiteX11388" fmla="*/ 171514 w 5719680"/>
                <a:gd name="connsiteY11388" fmla="*/ 2976212 h 5704395"/>
                <a:gd name="connsiteX11389" fmla="*/ 171514 w 5719680"/>
                <a:gd name="connsiteY11389" fmla="*/ 2975578 h 5704395"/>
                <a:gd name="connsiteX11390" fmla="*/ 172785 w 5719680"/>
                <a:gd name="connsiteY11390" fmla="*/ 2974310 h 5704395"/>
                <a:gd name="connsiteX11391" fmla="*/ 2080721 w 5719680"/>
                <a:gd name="connsiteY11391" fmla="*/ 2973993 h 5704395"/>
                <a:gd name="connsiteX11392" fmla="*/ 2060711 w 5719680"/>
                <a:gd name="connsiteY11392" fmla="*/ 3031984 h 5704395"/>
                <a:gd name="connsiteX11393" fmla="*/ 2102954 w 5719680"/>
                <a:gd name="connsiteY11393" fmla="*/ 3041173 h 5704395"/>
                <a:gd name="connsiteX11394" fmla="*/ 2122329 w 5719680"/>
                <a:gd name="connsiteY11394" fmla="*/ 2984134 h 5704395"/>
                <a:gd name="connsiteX11395" fmla="*/ 2080721 w 5719680"/>
                <a:gd name="connsiteY11395" fmla="*/ 2973993 h 5704395"/>
                <a:gd name="connsiteX11396" fmla="*/ 2072463 w 5719680"/>
                <a:gd name="connsiteY11396" fmla="*/ 2971775 h 5704395"/>
                <a:gd name="connsiteX11397" fmla="*/ 2052453 w 5719680"/>
                <a:gd name="connsiteY11397" fmla="*/ 3030082 h 5704395"/>
                <a:gd name="connsiteX11398" fmla="*/ 2056900 w 5719680"/>
                <a:gd name="connsiteY11398" fmla="*/ 3031033 h 5704395"/>
                <a:gd name="connsiteX11399" fmla="*/ 2076592 w 5719680"/>
                <a:gd name="connsiteY11399" fmla="*/ 2972726 h 5704395"/>
                <a:gd name="connsiteX11400" fmla="*/ 2282091 w 5719680"/>
                <a:gd name="connsiteY11400" fmla="*/ 2970507 h 5704395"/>
                <a:gd name="connsiteX11401" fmla="*/ 2262399 w 5719680"/>
                <a:gd name="connsiteY11401" fmla="*/ 3008851 h 5704395"/>
                <a:gd name="connsiteX11402" fmla="*/ 2297655 w 5719680"/>
                <a:gd name="connsiteY11402" fmla="*/ 3027864 h 5704395"/>
                <a:gd name="connsiteX11403" fmla="*/ 2318300 w 5719680"/>
                <a:gd name="connsiteY11403" fmla="*/ 2987619 h 5704395"/>
                <a:gd name="connsiteX11404" fmla="*/ 2282091 w 5719680"/>
                <a:gd name="connsiteY11404" fmla="*/ 2970507 h 5704395"/>
                <a:gd name="connsiteX11405" fmla="*/ 433232 w 5719680"/>
                <a:gd name="connsiteY11405" fmla="*/ 2970507 h 5704395"/>
                <a:gd name="connsiteX11406" fmla="*/ 402106 w 5719680"/>
                <a:gd name="connsiteY11406" fmla="*/ 2986352 h 5704395"/>
                <a:gd name="connsiteX11407" fmla="*/ 408458 w 5719680"/>
                <a:gd name="connsiteY11407" fmla="*/ 2999027 h 5704395"/>
                <a:gd name="connsiteX11408" fmla="*/ 438632 w 5719680"/>
                <a:gd name="connsiteY11408" fmla="*/ 2982549 h 5704395"/>
                <a:gd name="connsiteX11409" fmla="*/ 433232 w 5719680"/>
                <a:gd name="connsiteY11409" fmla="*/ 2970507 h 5704395"/>
                <a:gd name="connsiteX11410" fmla="*/ 1732293 w 5719680"/>
                <a:gd name="connsiteY11410" fmla="*/ 2968289 h 5704395"/>
                <a:gd name="connsiteX11411" fmla="*/ 1729752 w 5719680"/>
                <a:gd name="connsiteY11411" fmla="*/ 2982866 h 5704395"/>
                <a:gd name="connsiteX11412" fmla="*/ 1769137 w 5719680"/>
                <a:gd name="connsiteY11412" fmla="*/ 2989521 h 5704395"/>
                <a:gd name="connsiteX11413" fmla="*/ 1771678 w 5719680"/>
                <a:gd name="connsiteY11413" fmla="*/ 2975261 h 5704395"/>
                <a:gd name="connsiteX11414" fmla="*/ 1732293 w 5719680"/>
                <a:gd name="connsiteY11414" fmla="*/ 2968289 h 5704395"/>
                <a:gd name="connsiteX11415" fmla="*/ 2401198 w 5719680"/>
                <a:gd name="connsiteY11415" fmla="*/ 2966388 h 5704395"/>
                <a:gd name="connsiteX11416" fmla="*/ 2385318 w 5719680"/>
                <a:gd name="connsiteY11416" fmla="*/ 2981915 h 5704395"/>
                <a:gd name="connsiteX11417" fmla="*/ 2387858 w 5719680"/>
                <a:gd name="connsiteY11417" fmla="*/ 2984450 h 5704395"/>
                <a:gd name="connsiteX11418" fmla="*/ 2389446 w 5719680"/>
                <a:gd name="connsiteY11418" fmla="*/ 2986035 h 5704395"/>
                <a:gd name="connsiteX11419" fmla="*/ 2378012 w 5719680"/>
                <a:gd name="connsiteY11419" fmla="*/ 2997126 h 5704395"/>
                <a:gd name="connsiteX11420" fmla="*/ 2415491 w 5719680"/>
                <a:gd name="connsiteY11420" fmla="*/ 3036737 h 5704395"/>
                <a:gd name="connsiteX11421" fmla="*/ 2426926 w 5719680"/>
                <a:gd name="connsiteY11421" fmla="*/ 3025646 h 5704395"/>
                <a:gd name="connsiteX11422" fmla="*/ 2410092 w 5719680"/>
                <a:gd name="connsiteY11422" fmla="*/ 3008534 h 5704395"/>
                <a:gd name="connsiteX11423" fmla="*/ 2426608 w 5719680"/>
                <a:gd name="connsiteY11423" fmla="*/ 2992373 h 5704395"/>
                <a:gd name="connsiteX11424" fmla="*/ 2401198 w 5719680"/>
                <a:gd name="connsiteY11424" fmla="*/ 2966388 h 5704395"/>
                <a:gd name="connsiteX11425" fmla="*/ 1728800 w 5719680"/>
                <a:gd name="connsiteY11425" fmla="*/ 2963853 h 5704395"/>
                <a:gd name="connsiteX11426" fmla="*/ 1776125 w 5719680"/>
                <a:gd name="connsiteY11426" fmla="*/ 2972092 h 5704395"/>
                <a:gd name="connsiteX11427" fmla="*/ 1772313 w 5719680"/>
                <a:gd name="connsiteY11427" fmla="*/ 2994274 h 5704395"/>
                <a:gd name="connsiteX11428" fmla="*/ 1770408 w 5719680"/>
                <a:gd name="connsiteY11428" fmla="*/ 2993957 h 5704395"/>
                <a:gd name="connsiteX11429" fmla="*/ 1724988 w 5719680"/>
                <a:gd name="connsiteY11429" fmla="*/ 2986035 h 5704395"/>
                <a:gd name="connsiteX11430" fmla="*/ 1728800 w 5719680"/>
                <a:gd name="connsiteY11430" fmla="*/ 2963853 h 5704395"/>
                <a:gd name="connsiteX11431" fmla="*/ 2401516 w 5719680"/>
                <a:gd name="connsiteY11431" fmla="*/ 2960367 h 5704395"/>
                <a:gd name="connsiteX11432" fmla="*/ 2432643 w 5719680"/>
                <a:gd name="connsiteY11432" fmla="*/ 2992373 h 5704395"/>
                <a:gd name="connsiteX11433" fmla="*/ 2415809 w 5719680"/>
                <a:gd name="connsiteY11433" fmla="*/ 3008534 h 5704395"/>
                <a:gd name="connsiteX11434" fmla="*/ 2432643 w 5719680"/>
                <a:gd name="connsiteY11434" fmla="*/ 3025963 h 5704395"/>
                <a:gd name="connsiteX11435" fmla="*/ 2415491 w 5719680"/>
                <a:gd name="connsiteY11435" fmla="*/ 3042758 h 5704395"/>
                <a:gd name="connsiteX11436" fmla="*/ 2413903 w 5719680"/>
                <a:gd name="connsiteY11436" fmla="*/ 3041173 h 5704395"/>
                <a:gd name="connsiteX11437" fmla="*/ 2371978 w 5719680"/>
                <a:gd name="connsiteY11437" fmla="*/ 2996809 h 5704395"/>
                <a:gd name="connsiteX11438" fmla="*/ 2383412 w 5719680"/>
                <a:gd name="connsiteY11438" fmla="*/ 2986035 h 5704395"/>
                <a:gd name="connsiteX11439" fmla="*/ 2380871 w 5719680"/>
                <a:gd name="connsiteY11439" fmla="*/ 2983183 h 5704395"/>
                <a:gd name="connsiteX11440" fmla="*/ 2379283 w 5719680"/>
                <a:gd name="connsiteY11440" fmla="*/ 2981915 h 5704395"/>
                <a:gd name="connsiteX11441" fmla="*/ 2401516 w 5719680"/>
                <a:gd name="connsiteY11441" fmla="*/ 2960367 h 5704395"/>
                <a:gd name="connsiteX11442" fmla="*/ 163892 w 5719680"/>
                <a:gd name="connsiteY11442" fmla="*/ 2959416 h 5704395"/>
                <a:gd name="connsiteX11443" fmla="*/ 145787 w 5719680"/>
                <a:gd name="connsiteY11443" fmla="*/ 3014238 h 5704395"/>
                <a:gd name="connsiteX11444" fmla="*/ 165797 w 5719680"/>
                <a:gd name="connsiteY11444" fmla="*/ 3071911 h 5704395"/>
                <a:gd name="connsiteX11445" fmla="*/ 182631 w 5719680"/>
                <a:gd name="connsiteY11445" fmla="*/ 3119445 h 5704395"/>
                <a:gd name="connsiteX11446" fmla="*/ 324924 w 5719680"/>
                <a:gd name="connsiteY11446" fmla="*/ 3043392 h 5704395"/>
                <a:gd name="connsiteX11447" fmla="*/ 322066 w 5719680"/>
                <a:gd name="connsiteY11447" fmla="*/ 3033885 h 5704395"/>
                <a:gd name="connsiteX11448" fmla="*/ 307455 w 5719680"/>
                <a:gd name="connsiteY11448" fmla="*/ 2997126 h 5704395"/>
                <a:gd name="connsiteX11449" fmla="*/ 286492 w 5719680"/>
                <a:gd name="connsiteY11449" fmla="*/ 2968923 h 5704395"/>
                <a:gd name="connsiteX11450" fmla="*/ 261083 w 5719680"/>
                <a:gd name="connsiteY11450" fmla="*/ 2961634 h 5704395"/>
                <a:gd name="connsiteX11451" fmla="*/ 255366 w 5719680"/>
                <a:gd name="connsiteY11451" fmla="*/ 2961318 h 5704395"/>
                <a:gd name="connsiteX11452" fmla="*/ 236309 w 5719680"/>
                <a:gd name="connsiteY11452" fmla="*/ 2963219 h 5704395"/>
                <a:gd name="connsiteX11453" fmla="*/ 203594 w 5719680"/>
                <a:gd name="connsiteY11453" fmla="*/ 2969557 h 5704395"/>
                <a:gd name="connsiteX11454" fmla="*/ 163892 w 5719680"/>
                <a:gd name="connsiteY11454" fmla="*/ 2959416 h 5704395"/>
                <a:gd name="connsiteX11455" fmla="*/ 1897137 w 5719680"/>
                <a:gd name="connsiteY11455" fmla="*/ 2958466 h 5704395"/>
                <a:gd name="connsiteX11456" fmla="*/ 1882527 w 5719680"/>
                <a:gd name="connsiteY11456" fmla="*/ 2998710 h 5704395"/>
                <a:gd name="connsiteX11457" fmla="*/ 1922864 w 5719680"/>
                <a:gd name="connsiteY11457" fmla="*/ 3005048 h 5704395"/>
                <a:gd name="connsiteX11458" fmla="*/ 1937157 w 5719680"/>
                <a:gd name="connsiteY11458" fmla="*/ 2965120 h 5704395"/>
                <a:gd name="connsiteX11459" fmla="*/ 1897137 w 5719680"/>
                <a:gd name="connsiteY11459" fmla="*/ 2958466 h 5704395"/>
                <a:gd name="connsiteX11460" fmla="*/ 111802 w 5719680"/>
                <a:gd name="connsiteY11460" fmla="*/ 2957515 h 5704395"/>
                <a:gd name="connsiteX11461" fmla="*/ 75594 w 5719680"/>
                <a:gd name="connsiteY11461" fmla="*/ 2970824 h 5704395"/>
                <a:gd name="connsiteX11462" fmla="*/ 72100 w 5719680"/>
                <a:gd name="connsiteY11462" fmla="*/ 2993957 h 5704395"/>
                <a:gd name="connsiteX11463" fmla="*/ 85440 w 5719680"/>
                <a:gd name="connsiteY11463" fmla="*/ 3017724 h 5704395"/>
                <a:gd name="connsiteX11464" fmla="*/ 96239 w 5719680"/>
                <a:gd name="connsiteY11464" fmla="*/ 3018041 h 5704395"/>
                <a:gd name="connsiteX11465" fmla="*/ 100685 w 5719680"/>
                <a:gd name="connsiteY11465" fmla="*/ 3018357 h 5704395"/>
                <a:gd name="connsiteX11466" fmla="*/ 100368 w 5719680"/>
                <a:gd name="connsiteY11466" fmla="*/ 3022794 h 5704395"/>
                <a:gd name="connsiteX11467" fmla="*/ 99415 w 5719680"/>
                <a:gd name="connsiteY11467" fmla="*/ 3038638 h 5704395"/>
                <a:gd name="connsiteX11468" fmla="*/ 143246 w 5719680"/>
                <a:gd name="connsiteY11468" fmla="*/ 3121663 h 5704395"/>
                <a:gd name="connsiteX11469" fmla="*/ 156904 w 5719680"/>
                <a:gd name="connsiteY11469" fmla="*/ 3115642 h 5704395"/>
                <a:gd name="connsiteX11470" fmla="*/ 117519 w 5719680"/>
                <a:gd name="connsiteY11470" fmla="*/ 3033251 h 5704395"/>
                <a:gd name="connsiteX11471" fmla="*/ 116884 w 5719680"/>
                <a:gd name="connsiteY11471" fmla="*/ 3032300 h 5704395"/>
                <a:gd name="connsiteX11472" fmla="*/ 117202 w 5719680"/>
                <a:gd name="connsiteY11472" fmla="*/ 3031033 h 5704395"/>
                <a:gd name="connsiteX11473" fmla="*/ 120695 w 5719680"/>
                <a:gd name="connsiteY11473" fmla="*/ 3000929 h 5704395"/>
                <a:gd name="connsiteX11474" fmla="*/ 92745 w 5719680"/>
                <a:gd name="connsiteY11474" fmla="*/ 3000929 h 5704395"/>
                <a:gd name="connsiteX11475" fmla="*/ 87663 w 5719680"/>
                <a:gd name="connsiteY11475" fmla="*/ 3000929 h 5704395"/>
                <a:gd name="connsiteX11476" fmla="*/ 88298 w 5719680"/>
                <a:gd name="connsiteY11476" fmla="*/ 2996175 h 5704395"/>
                <a:gd name="connsiteX11477" fmla="*/ 90522 w 5719680"/>
                <a:gd name="connsiteY11477" fmla="*/ 2974627 h 5704395"/>
                <a:gd name="connsiteX11478" fmla="*/ 90839 w 5719680"/>
                <a:gd name="connsiteY11478" fmla="*/ 2970824 h 5704395"/>
                <a:gd name="connsiteX11479" fmla="*/ 94968 w 5719680"/>
                <a:gd name="connsiteY11479" fmla="*/ 2970507 h 5704395"/>
                <a:gd name="connsiteX11480" fmla="*/ 119107 w 5719680"/>
                <a:gd name="connsiteY11480" fmla="*/ 2970507 h 5704395"/>
                <a:gd name="connsiteX11481" fmla="*/ 111802 w 5719680"/>
                <a:gd name="connsiteY11481" fmla="*/ 2957515 h 5704395"/>
                <a:gd name="connsiteX11482" fmla="*/ 1271 w 5719680"/>
                <a:gd name="connsiteY11482" fmla="*/ 2955614 h 5704395"/>
                <a:gd name="connsiteX11483" fmla="*/ 17152 w 5719680"/>
                <a:gd name="connsiteY11483" fmla="*/ 2980648 h 5704395"/>
                <a:gd name="connsiteX11484" fmla="*/ 7305 w 5719680"/>
                <a:gd name="connsiteY11484" fmla="*/ 3012337 h 5704395"/>
                <a:gd name="connsiteX11485" fmla="*/ 1271 w 5719680"/>
                <a:gd name="connsiteY11485" fmla="*/ 3013287 h 5704395"/>
                <a:gd name="connsiteX11486" fmla="*/ 1271 w 5719680"/>
                <a:gd name="connsiteY11486" fmla="*/ 3008534 h 5704395"/>
                <a:gd name="connsiteX11487" fmla="*/ 3494 w 5719680"/>
                <a:gd name="connsiteY11487" fmla="*/ 3008217 h 5704395"/>
                <a:gd name="connsiteX11488" fmla="*/ 12070 w 5719680"/>
                <a:gd name="connsiteY11488" fmla="*/ 2981282 h 5704395"/>
                <a:gd name="connsiteX11489" fmla="*/ 1271 w 5719680"/>
                <a:gd name="connsiteY11489" fmla="*/ 2964486 h 5704395"/>
                <a:gd name="connsiteX11490" fmla="*/ 1271 w 5719680"/>
                <a:gd name="connsiteY11490" fmla="*/ 2955614 h 5704395"/>
                <a:gd name="connsiteX11491" fmla="*/ 1711013 w 5719680"/>
                <a:gd name="connsiteY11491" fmla="*/ 2954663 h 5704395"/>
                <a:gd name="connsiteX11492" fmla="*/ 1722765 w 5719680"/>
                <a:gd name="connsiteY11492" fmla="*/ 2997443 h 5704395"/>
                <a:gd name="connsiteX11493" fmla="*/ 1765961 w 5719680"/>
                <a:gd name="connsiteY11493" fmla="*/ 3004414 h 5704395"/>
                <a:gd name="connsiteX11494" fmla="*/ 1814557 w 5719680"/>
                <a:gd name="connsiteY11494" fmla="*/ 3012020 h 5704395"/>
                <a:gd name="connsiteX11495" fmla="*/ 1826626 w 5719680"/>
                <a:gd name="connsiteY11495" fmla="*/ 2969240 h 5704395"/>
                <a:gd name="connsiteX11496" fmla="*/ 1711013 w 5719680"/>
                <a:gd name="connsiteY11496" fmla="*/ 2954663 h 5704395"/>
                <a:gd name="connsiteX11497" fmla="*/ 1120877 w 5719680"/>
                <a:gd name="connsiteY11497" fmla="*/ 2954346 h 5704395"/>
                <a:gd name="connsiteX11498" fmla="*/ 1086574 w 5719680"/>
                <a:gd name="connsiteY11498" fmla="*/ 3099798 h 5704395"/>
                <a:gd name="connsiteX11499" fmla="*/ 1111031 w 5719680"/>
                <a:gd name="connsiteY11499" fmla="*/ 3141627 h 5704395"/>
                <a:gd name="connsiteX11500" fmla="*/ 1128182 w 5719680"/>
                <a:gd name="connsiteY11500" fmla="*/ 3171731 h 5704395"/>
                <a:gd name="connsiteX11501" fmla="*/ 1133582 w 5719680"/>
                <a:gd name="connsiteY11501" fmla="*/ 3181872 h 5704395"/>
                <a:gd name="connsiteX11502" fmla="*/ 1133899 w 5719680"/>
                <a:gd name="connsiteY11502" fmla="*/ 3182188 h 5704395"/>
                <a:gd name="connsiteX11503" fmla="*/ 1152321 w 5719680"/>
                <a:gd name="connsiteY11503" fmla="*/ 3151450 h 5704395"/>
                <a:gd name="connsiteX11504" fmla="*/ 1162168 w 5719680"/>
                <a:gd name="connsiteY11504" fmla="*/ 3134972 h 5704395"/>
                <a:gd name="connsiteX11505" fmla="*/ 1165026 w 5719680"/>
                <a:gd name="connsiteY11505" fmla="*/ 3129902 h 5704395"/>
                <a:gd name="connsiteX11506" fmla="*/ 1165979 w 5719680"/>
                <a:gd name="connsiteY11506" fmla="*/ 3128318 h 5704395"/>
                <a:gd name="connsiteX11507" fmla="*/ 1166614 w 5719680"/>
                <a:gd name="connsiteY11507" fmla="*/ 3126733 h 5704395"/>
                <a:gd name="connsiteX11508" fmla="*/ 1177413 w 5719680"/>
                <a:gd name="connsiteY11508" fmla="*/ 3119445 h 5704395"/>
                <a:gd name="connsiteX11509" fmla="*/ 1226327 w 5719680"/>
                <a:gd name="connsiteY11509" fmla="*/ 3089657 h 5704395"/>
                <a:gd name="connsiteX11510" fmla="*/ 1120877 w 5719680"/>
                <a:gd name="connsiteY11510" fmla="*/ 2954346 h 5704395"/>
                <a:gd name="connsiteX11511" fmla="*/ 700667 w 5719680"/>
                <a:gd name="connsiteY11511" fmla="*/ 2954029 h 5704395"/>
                <a:gd name="connsiteX11512" fmla="*/ 672082 w 5719680"/>
                <a:gd name="connsiteY11512" fmla="*/ 2969557 h 5704395"/>
                <a:gd name="connsiteX11513" fmla="*/ 665094 w 5719680"/>
                <a:gd name="connsiteY11513" fmla="*/ 2975894 h 5704395"/>
                <a:gd name="connsiteX11514" fmla="*/ 664776 w 5719680"/>
                <a:gd name="connsiteY11514" fmla="*/ 2976212 h 5704395"/>
                <a:gd name="connsiteX11515" fmla="*/ 396706 w 5719680"/>
                <a:gd name="connsiteY11515" fmla="*/ 3120712 h 5704395"/>
                <a:gd name="connsiteX11516" fmla="*/ 412587 w 5719680"/>
                <a:gd name="connsiteY11516" fmla="*/ 3134021 h 5704395"/>
                <a:gd name="connsiteX11517" fmla="*/ 431327 w 5719680"/>
                <a:gd name="connsiteY11517" fmla="*/ 3149866 h 5704395"/>
                <a:gd name="connsiteX11518" fmla="*/ 433868 w 5719680"/>
                <a:gd name="connsiteY11518" fmla="*/ 3146697 h 5704395"/>
                <a:gd name="connsiteX11519" fmla="*/ 515496 w 5719680"/>
                <a:gd name="connsiteY11519" fmla="*/ 3215779 h 5704395"/>
                <a:gd name="connsiteX11520" fmla="*/ 637144 w 5719680"/>
                <a:gd name="connsiteY11520" fmla="*/ 3164760 h 5704395"/>
                <a:gd name="connsiteX11521" fmla="*/ 640637 w 5719680"/>
                <a:gd name="connsiteY11521" fmla="*/ 3168562 h 5704395"/>
                <a:gd name="connsiteX11522" fmla="*/ 644131 w 5719680"/>
                <a:gd name="connsiteY11522" fmla="*/ 3172365 h 5704395"/>
                <a:gd name="connsiteX11523" fmla="*/ 674305 w 5719680"/>
                <a:gd name="connsiteY11523" fmla="*/ 3197082 h 5704395"/>
                <a:gd name="connsiteX11524" fmla="*/ 688598 w 5719680"/>
                <a:gd name="connsiteY11524" fmla="*/ 3069693 h 5704395"/>
                <a:gd name="connsiteX11525" fmla="*/ 700667 w 5719680"/>
                <a:gd name="connsiteY11525" fmla="*/ 2954029 h 5704395"/>
                <a:gd name="connsiteX11526" fmla="*/ 2246518 w 5719680"/>
                <a:gd name="connsiteY11526" fmla="*/ 2953712 h 5704395"/>
                <a:gd name="connsiteX11527" fmla="*/ 2229366 w 5719680"/>
                <a:gd name="connsiteY11527" fmla="*/ 3007583 h 5704395"/>
                <a:gd name="connsiteX11528" fmla="*/ 2303054 w 5719680"/>
                <a:gd name="connsiteY11528" fmla="*/ 3040223 h 5704395"/>
                <a:gd name="connsiteX11529" fmla="*/ 2327511 w 5719680"/>
                <a:gd name="connsiteY11529" fmla="*/ 2992056 h 5704395"/>
                <a:gd name="connsiteX11530" fmla="*/ 2322111 w 5719680"/>
                <a:gd name="connsiteY11530" fmla="*/ 2989521 h 5704395"/>
                <a:gd name="connsiteX11531" fmla="*/ 2299560 w 5719680"/>
                <a:gd name="connsiteY11531" fmla="*/ 3033568 h 5704395"/>
                <a:gd name="connsiteX11532" fmla="*/ 2256682 w 5719680"/>
                <a:gd name="connsiteY11532" fmla="*/ 3010752 h 5704395"/>
                <a:gd name="connsiteX11533" fmla="*/ 2257635 w 5719680"/>
                <a:gd name="connsiteY11533" fmla="*/ 3008851 h 5704395"/>
                <a:gd name="connsiteX11534" fmla="*/ 2278280 w 5719680"/>
                <a:gd name="connsiteY11534" fmla="*/ 2968606 h 5704395"/>
                <a:gd name="connsiteX11535" fmla="*/ 2246518 w 5719680"/>
                <a:gd name="connsiteY11535" fmla="*/ 2953712 h 5704395"/>
                <a:gd name="connsiteX11536" fmla="*/ 380190 w 5719680"/>
                <a:gd name="connsiteY11536" fmla="*/ 2953079 h 5704395"/>
                <a:gd name="connsiteX11537" fmla="*/ 351922 w 5719680"/>
                <a:gd name="connsiteY11537" fmla="*/ 2966388 h 5704395"/>
                <a:gd name="connsiteX11538" fmla="*/ 356686 w 5719680"/>
                <a:gd name="connsiteY11538" fmla="*/ 2976528 h 5704395"/>
                <a:gd name="connsiteX11539" fmla="*/ 368756 w 5719680"/>
                <a:gd name="connsiteY11539" fmla="*/ 3003464 h 5704395"/>
                <a:gd name="connsiteX11540" fmla="*/ 396706 w 5719680"/>
                <a:gd name="connsiteY11540" fmla="*/ 2988887 h 5704395"/>
                <a:gd name="connsiteX11541" fmla="*/ 396389 w 5719680"/>
                <a:gd name="connsiteY11541" fmla="*/ 2987936 h 5704395"/>
                <a:gd name="connsiteX11542" fmla="*/ 395436 w 5719680"/>
                <a:gd name="connsiteY11542" fmla="*/ 2984767 h 5704395"/>
                <a:gd name="connsiteX11543" fmla="*/ 380190 w 5719680"/>
                <a:gd name="connsiteY11543" fmla="*/ 2953079 h 5704395"/>
                <a:gd name="connsiteX11544" fmla="*/ 113708 w 5719680"/>
                <a:gd name="connsiteY11544" fmla="*/ 2952128 h 5704395"/>
                <a:gd name="connsiteX11545" fmla="*/ 126413 w 5719680"/>
                <a:gd name="connsiteY11545" fmla="*/ 2974627 h 5704395"/>
                <a:gd name="connsiteX11546" fmla="*/ 94968 w 5719680"/>
                <a:gd name="connsiteY11546" fmla="*/ 2974944 h 5704395"/>
                <a:gd name="connsiteX11547" fmla="*/ 92745 w 5719680"/>
                <a:gd name="connsiteY11547" fmla="*/ 2996492 h 5704395"/>
                <a:gd name="connsiteX11548" fmla="*/ 125777 w 5719680"/>
                <a:gd name="connsiteY11548" fmla="*/ 2996809 h 5704395"/>
                <a:gd name="connsiteX11549" fmla="*/ 121648 w 5719680"/>
                <a:gd name="connsiteY11549" fmla="*/ 3031350 h 5704395"/>
                <a:gd name="connsiteX11550" fmla="*/ 162939 w 5719680"/>
                <a:gd name="connsiteY11550" fmla="*/ 3117860 h 5704395"/>
                <a:gd name="connsiteX11551" fmla="*/ 141341 w 5719680"/>
                <a:gd name="connsiteY11551" fmla="*/ 3127367 h 5704395"/>
                <a:gd name="connsiteX11552" fmla="*/ 94968 w 5719680"/>
                <a:gd name="connsiteY11552" fmla="*/ 3039589 h 5704395"/>
                <a:gd name="connsiteX11553" fmla="*/ 95921 w 5719680"/>
                <a:gd name="connsiteY11553" fmla="*/ 3022477 h 5704395"/>
                <a:gd name="connsiteX11554" fmla="*/ 82581 w 5719680"/>
                <a:gd name="connsiteY11554" fmla="*/ 3022160 h 5704395"/>
                <a:gd name="connsiteX11555" fmla="*/ 67653 w 5719680"/>
                <a:gd name="connsiteY11555" fmla="*/ 2994591 h 5704395"/>
                <a:gd name="connsiteX11556" fmla="*/ 71464 w 5719680"/>
                <a:gd name="connsiteY11556" fmla="*/ 2967339 h 5704395"/>
                <a:gd name="connsiteX11557" fmla="*/ 113708 w 5719680"/>
                <a:gd name="connsiteY11557" fmla="*/ 2952128 h 5704395"/>
                <a:gd name="connsiteX11558" fmla="*/ 1520442 w 5719680"/>
                <a:gd name="connsiteY11558" fmla="*/ 2949276 h 5704395"/>
                <a:gd name="connsiteX11559" fmla="*/ 1502020 w 5719680"/>
                <a:gd name="connsiteY11559" fmla="*/ 2949910 h 5704395"/>
                <a:gd name="connsiteX11560" fmla="*/ 1505513 w 5719680"/>
                <a:gd name="connsiteY11560" fmla="*/ 3024061 h 5704395"/>
                <a:gd name="connsiteX11561" fmla="*/ 1523935 w 5719680"/>
                <a:gd name="connsiteY11561" fmla="*/ 3023111 h 5704395"/>
                <a:gd name="connsiteX11562" fmla="*/ 1520442 w 5719680"/>
                <a:gd name="connsiteY11562" fmla="*/ 2949276 h 5704395"/>
                <a:gd name="connsiteX11563" fmla="*/ 1399746 w 5719680"/>
                <a:gd name="connsiteY11563" fmla="*/ 2949276 h 5704395"/>
                <a:gd name="connsiteX11564" fmla="*/ 1378466 w 5719680"/>
                <a:gd name="connsiteY11564" fmla="*/ 2956247 h 5704395"/>
                <a:gd name="connsiteX11565" fmla="*/ 1379736 w 5719680"/>
                <a:gd name="connsiteY11565" fmla="*/ 2959733 h 5704395"/>
                <a:gd name="connsiteX11566" fmla="*/ 1380372 w 5719680"/>
                <a:gd name="connsiteY11566" fmla="*/ 2961634 h 5704395"/>
                <a:gd name="connsiteX11567" fmla="*/ 1365444 w 5719680"/>
                <a:gd name="connsiteY11567" fmla="*/ 2966705 h 5704395"/>
                <a:gd name="connsiteX11568" fmla="*/ 1381642 w 5719680"/>
                <a:gd name="connsiteY11568" fmla="*/ 3018674 h 5704395"/>
                <a:gd name="connsiteX11569" fmla="*/ 1396570 w 5719680"/>
                <a:gd name="connsiteY11569" fmla="*/ 3013921 h 5704395"/>
                <a:gd name="connsiteX11570" fmla="*/ 1389265 w 5719680"/>
                <a:gd name="connsiteY11570" fmla="*/ 2991105 h 5704395"/>
                <a:gd name="connsiteX11571" fmla="*/ 1411181 w 5719680"/>
                <a:gd name="connsiteY11571" fmla="*/ 2983817 h 5704395"/>
                <a:gd name="connsiteX11572" fmla="*/ 1399746 w 5719680"/>
                <a:gd name="connsiteY11572" fmla="*/ 2949276 h 5704395"/>
                <a:gd name="connsiteX11573" fmla="*/ 1837425 w 5719680"/>
                <a:gd name="connsiteY11573" fmla="*/ 2948325 h 5704395"/>
                <a:gd name="connsiteX11574" fmla="*/ 1812651 w 5719680"/>
                <a:gd name="connsiteY11574" fmla="*/ 3034202 h 5704395"/>
                <a:gd name="connsiteX11575" fmla="*/ 1862199 w 5719680"/>
                <a:gd name="connsiteY11575" fmla="*/ 3042124 h 5704395"/>
                <a:gd name="connsiteX11576" fmla="*/ 1876810 w 5719680"/>
                <a:gd name="connsiteY11576" fmla="*/ 3002513 h 5704395"/>
                <a:gd name="connsiteX11577" fmla="*/ 1825673 w 5719680"/>
                <a:gd name="connsiteY11577" fmla="*/ 2994591 h 5704395"/>
                <a:gd name="connsiteX11578" fmla="*/ 1826308 w 5719680"/>
                <a:gd name="connsiteY11578" fmla="*/ 2990154 h 5704395"/>
                <a:gd name="connsiteX11579" fmla="*/ 1878080 w 5719680"/>
                <a:gd name="connsiteY11579" fmla="*/ 2998077 h 5704395"/>
                <a:gd name="connsiteX11580" fmla="*/ 1892691 w 5719680"/>
                <a:gd name="connsiteY11580" fmla="*/ 2957515 h 5704395"/>
                <a:gd name="connsiteX11581" fmla="*/ 1837425 w 5719680"/>
                <a:gd name="connsiteY11581" fmla="*/ 2948325 h 5704395"/>
                <a:gd name="connsiteX11582" fmla="*/ 471029 w 5719680"/>
                <a:gd name="connsiteY11582" fmla="*/ 2947058 h 5704395"/>
                <a:gd name="connsiteX11583" fmla="*/ 436091 w 5719680"/>
                <a:gd name="connsiteY11583" fmla="*/ 2963853 h 5704395"/>
                <a:gd name="connsiteX11584" fmla="*/ 443396 w 5719680"/>
                <a:gd name="connsiteY11584" fmla="*/ 2980014 h 5704395"/>
                <a:gd name="connsiteX11585" fmla="*/ 477699 w 5719680"/>
                <a:gd name="connsiteY11585" fmla="*/ 2961634 h 5704395"/>
                <a:gd name="connsiteX11586" fmla="*/ 471029 w 5719680"/>
                <a:gd name="connsiteY11586" fmla="*/ 2947058 h 5704395"/>
                <a:gd name="connsiteX11587" fmla="*/ 760062 w 5719680"/>
                <a:gd name="connsiteY11587" fmla="*/ 2945156 h 5704395"/>
                <a:gd name="connsiteX11588" fmla="*/ 718454 w 5719680"/>
                <a:gd name="connsiteY11588" fmla="*/ 2963853 h 5704395"/>
                <a:gd name="connsiteX11589" fmla="*/ 725124 w 5719680"/>
                <a:gd name="connsiteY11589" fmla="*/ 2988253 h 5704395"/>
                <a:gd name="connsiteX11590" fmla="*/ 750534 w 5719680"/>
                <a:gd name="connsiteY11590" fmla="*/ 2994908 h 5704395"/>
                <a:gd name="connsiteX11591" fmla="*/ 751169 w 5719680"/>
                <a:gd name="connsiteY11591" fmla="*/ 2996175 h 5704395"/>
                <a:gd name="connsiteX11592" fmla="*/ 790871 w 5719680"/>
                <a:gd name="connsiteY11592" fmla="*/ 3116593 h 5704395"/>
                <a:gd name="connsiteX11593" fmla="*/ 817233 w 5719680"/>
                <a:gd name="connsiteY11593" fmla="*/ 3132437 h 5704395"/>
                <a:gd name="connsiteX11594" fmla="*/ 831526 w 5719680"/>
                <a:gd name="connsiteY11594" fmla="*/ 3136557 h 5704395"/>
                <a:gd name="connsiteX11595" fmla="*/ 760062 w 5719680"/>
                <a:gd name="connsiteY11595" fmla="*/ 2945156 h 5704395"/>
                <a:gd name="connsiteX11596" fmla="*/ 1524571 w 5719680"/>
                <a:gd name="connsiteY11596" fmla="*/ 2944839 h 5704395"/>
                <a:gd name="connsiteX11597" fmla="*/ 1528064 w 5719680"/>
                <a:gd name="connsiteY11597" fmla="*/ 3027230 h 5704395"/>
                <a:gd name="connsiteX11598" fmla="*/ 1501384 w 5719680"/>
                <a:gd name="connsiteY11598" fmla="*/ 3028498 h 5704395"/>
                <a:gd name="connsiteX11599" fmla="*/ 1501384 w 5719680"/>
                <a:gd name="connsiteY11599" fmla="*/ 3026280 h 5704395"/>
                <a:gd name="connsiteX11600" fmla="*/ 1497891 w 5719680"/>
                <a:gd name="connsiteY11600" fmla="*/ 2946107 h 5704395"/>
                <a:gd name="connsiteX11601" fmla="*/ 1524571 w 5719680"/>
                <a:gd name="connsiteY11601" fmla="*/ 2944839 h 5704395"/>
                <a:gd name="connsiteX11602" fmla="*/ 1402287 w 5719680"/>
                <a:gd name="connsiteY11602" fmla="*/ 2943889 h 5704395"/>
                <a:gd name="connsiteX11603" fmla="*/ 1416580 w 5719680"/>
                <a:gd name="connsiteY11603" fmla="*/ 2986352 h 5704395"/>
                <a:gd name="connsiteX11604" fmla="*/ 1394347 w 5719680"/>
                <a:gd name="connsiteY11604" fmla="*/ 2993640 h 5704395"/>
                <a:gd name="connsiteX11605" fmla="*/ 1401970 w 5719680"/>
                <a:gd name="connsiteY11605" fmla="*/ 3016456 h 5704395"/>
                <a:gd name="connsiteX11606" fmla="*/ 1379101 w 5719680"/>
                <a:gd name="connsiteY11606" fmla="*/ 3024061 h 5704395"/>
                <a:gd name="connsiteX11607" fmla="*/ 1378466 w 5719680"/>
                <a:gd name="connsiteY11607" fmla="*/ 3022160 h 5704395"/>
                <a:gd name="connsiteX11608" fmla="*/ 1360044 w 5719680"/>
                <a:gd name="connsiteY11608" fmla="*/ 2964170 h 5704395"/>
                <a:gd name="connsiteX11609" fmla="*/ 1374972 w 5719680"/>
                <a:gd name="connsiteY11609" fmla="*/ 2959099 h 5704395"/>
                <a:gd name="connsiteX11610" fmla="*/ 1374019 w 5719680"/>
                <a:gd name="connsiteY11610" fmla="*/ 2955614 h 5704395"/>
                <a:gd name="connsiteX11611" fmla="*/ 1373066 w 5719680"/>
                <a:gd name="connsiteY11611" fmla="*/ 2953712 h 5704395"/>
                <a:gd name="connsiteX11612" fmla="*/ 1402287 w 5719680"/>
                <a:gd name="connsiteY11612" fmla="*/ 2943889 h 5704395"/>
                <a:gd name="connsiteX11613" fmla="*/ 1118654 w 5719680"/>
                <a:gd name="connsiteY11613" fmla="*/ 2943889 h 5704395"/>
                <a:gd name="connsiteX11614" fmla="*/ 1231091 w 5719680"/>
                <a:gd name="connsiteY11614" fmla="*/ 3088073 h 5704395"/>
                <a:gd name="connsiteX11615" fmla="*/ 1231726 w 5719680"/>
                <a:gd name="connsiteY11615" fmla="*/ 3088707 h 5704395"/>
                <a:gd name="connsiteX11616" fmla="*/ 1233314 w 5719680"/>
                <a:gd name="connsiteY11616" fmla="*/ 3090925 h 5704395"/>
                <a:gd name="connsiteX11617" fmla="*/ 1231091 w 5719680"/>
                <a:gd name="connsiteY11617" fmla="*/ 3092192 h 5704395"/>
                <a:gd name="connsiteX11618" fmla="*/ 1200282 w 5719680"/>
                <a:gd name="connsiteY11618" fmla="*/ 3110889 h 5704395"/>
                <a:gd name="connsiteX11619" fmla="*/ 1179001 w 5719680"/>
                <a:gd name="connsiteY11619" fmla="*/ 3123881 h 5704395"/>
                <a:gd name="connsiteX11620" fmla="*/ 1172331 w 5719680"/>
                <a:gd name="connsiteY11620" fmla="*/ 3128318 h 5704395"/>
                <a:gd name="connsiteX11621" fmla="*/ 1170426 w 5719680"/>
                <a:gd name="connsiteY11621" fmla="*/ 3129585 h 5704395"/>
                <a:gd name="connsiteX11622" fmla="*/ 1168838 w 5719680"/>
                <a:gd name="connsiteY11622" fmla="*/ 3132754 h 5704395"/>
                <a:gd name="connsiteX11623" fmla="*/ 1149780 w 5719680"/>
                <a:gd name="connsiteY11623" fmla="*/ 3164443 h 5704395"/>
                <a:gd name="connsiteX11624" fmla="*/ 1139934 w 5719680"/>
                <a:gd name="connsiteY11624" fmla="*/ 3180921 h 5704395"/>
                <a:gd name="connsiteX11625" fmla="*/ 1136758 w 5719680"/>
                <a:gd name="connsiteY11625" fmla="*/ 3185991 h 5704395"/>
                <a:gd name="connsiteX11626" fmla="*/ 1136123 w 5719680"/>
                <a:gd name="connsiteY11626" fmla="*/ 3187576 h 5704395"/>
                <a:gd name="connsiteX11627" fmla="*/ 1135805 w 5719680"/>
                <a:gd name="connsiteY11627" fmla="*/ 3188843 h 5704395"/>
                <a:gd name="connsiteX11628" fmla="*/ 1133582 w 5719680"/>
                <a:gd name="connsiteY11628" fmla="*/ 3189794 h 5704395"/>
                <a:gd name="connsiteX11629" fmla="*/ 1131676 w 5719680"/>
                <a:gd name="connsiteY11629" fmla="*/ 3188843 h 5704395"/>
                <a:gd name="connsiteX11630" fmla="*/ 1131358 w 5719680"/>
                <a:gd name="connsiteY11630" fmla="*/ 3187576 h 5704395"/>
                <a:gd name="connsiteX11631" fmla="*/ 1106267 w 5719680"/>
                <a:gd name="connsiteY11631" fmla="*/ 3142894 h 5704395"/>
                <a:gd name="connsiteX11632" fmla="*/ 1082128 w 5719680"/>
                <a:gd name="connsiteY11632" fmla="*/ 3101065 h 5704395"/>
                <a:gd name="connsiteX11633" fmla="*/ 1081492 w 5719680"/>
                <a:gd name="connsiteY11633" fmla="*/ 3100431 h 5704395"/>
                <a:gd name="connsiteX11634" fmla="*/ 1118654 w 5719680"/>
                <a:gd name="connsiteY11634" fmla="*/ 2943889 h 5704395"/>
                <a:gd name="connsiteX11635" fmla="*/ 109579 w 5719680"/>
                <a:gd name="connsiteY11635" fmla="*/ 2943889 h 5704395"/>
                <a:gd name="connsiteX11636" fmla="*/ 79405 w 5719680"/>
                <a:gd name="connsiteY11636" fmla="*/ 2952445 h 5704395"/>
                <a:gd name="connsiteX11637" fmla="*/ 53678 w 5719680"/>
                <a:gd name="connsiteY11637" fmla="*/ 2963853 h 5704395"/>
                <a:gd name="connsiteX11638" fmla="*/ 41608 w 5719680"/>
                <a:gd name="connsiteY11638" fmla="*/ 2969240 h 5704395"/>
                <a:gd name="connsiteX11639" fmla="*/ 136576 w 5719680"/>
                <a:gd name="connsiteY11639" fmla="*/ 3143845 h 5704395"/>
                <a:gd name="connsiteX11640" fmla="*/ 140070 w 5719680"/>
                <a:gd name="connsiteY11640" fmla="*/ 3142577 h 5704395"/>
                <a:gd name="connsiteX11641" fmla="*/ 178184 w 5719680"/>
                <a:gd name="connsiteY11641" fmla="*/ 3121980 h 5704395"/>
                <a:gd name="connsiteX11642" fmla="*/ 160398 w 5719680"/>
                <a:gd name="connsiteY11642" fmla="*/ 3072228 h 5704395"/>
                <a:gd name="connsiteX11643" fmla="*/ 146740 w 5719680"/>
                <a:gd name="connsiteY11643" fmla="*/ 3033568 h 5704395"/>
                <a:gd name="connsiteX11644" fmla="*/ 142293 w 5719680"/>
                <a:gd name="connsiteY11644" fmla="*/ 3020259 h 5704395"/>
                <a:gd name="connsiteX11645" fmla="*/ 140388 w 5719680"/>
                <a:gd name="connsiteY11645" fmla="*/ 3013921 h 5704395"/>
                <a:gd name="connsiteX11646" fmla="*/ 140388 w 5719680"/>
                <a:gd name="connsiteY11646" fmla="*/ 3013604 h 5704395"/>
                <a:gd name="connsiteX11647" fmla="*/ 140388 w 5719680"/>
                <a:gd name="connsiteY11647" fmla="*/ 3013287 h 5704395"/>
                <a:gd name="connsiteX11648" fmla="*/ 158810 w 5719680"/>
                <a:gd name="connsiteY11648" fmla="*/ 2957515 h 5704395"/>
                <a:gd name="connsiteX11649" fmla="*/ 110532 w 5719680"/>
                <a:gd name="connsiteY11649" fmla="*/ 2943889 h 5704395"/>
                <a:gd name="connsiteX11650" fmla="*/ 109579 w 5719680"/>
                <a:gd name="connsiteY11650" fmla="*/ 2943889 h 5704395"/>
                <a:gd name="connsiteX11651" fmla="*/ 762603 w 5719680"/>
                <a:gd name="connsiteY11651" fmla="*/ 2938819 h 5704395"/>
                <a:gd name="connsiteX11652" fmla="*/ 838832 w 5719680"/>
                <a:gd name="connsiteY11652" fmla="*/ 3142577 h 5704395"/>
                <a:gd name="connsiteX11653" fmla="*/ 834703 w 5719680"/>
                <a:gd name="connsiteY11653" fmla="*/ 3141944 h 5704395"/>
                <a:gd name="connsiteX11654" fmla="*/ 786742 w 5719680"/>
                <a:gd name="connsiteY11654" fmla="*/ 3119128 h 5704395"/>
                <a:gd name="connsiteX11655" fmla="*/ 786742 w 5719680"/>
                <a:gd name="connsiteY11655" fmla="*/ 3118811 h 5704395"/>
                <a:gd name="connsiteX11656" fmla="*/ 786424 w 5719680"/>
                <a:gd name="connsiteY11656" fmla="*/ 3118494 h 5704395"/>
                <a:gd name="connsiteX11657" fmla="*/ 747040 w 5719680"/>
                <a:gd name="connsiteY11657" fmla="*/ 2999027 h 5704395"/>
                <a:gd name="connsiteX11658" fmla="*/ 721313 w 5719680"/>
                <a:gd name="connsiteY11658" fmla="*/ 2992056 h 5704395"/>
                <a:gd name="connsiteX11659" fmla="*/ 712737 w 5719680"/>
                <a:gd name="connsiteY11659" fmla="*/ 2961318 h 5704395"/>
                <a:gd name="connsiteX11660" fmla="*/ 2348156 w 5719680"/>
                <a:gd name="connsiteY11660" fmla="*/ 2938185 h 5704395"/>
                <a:gd name="connsiteX11661" fmla="*/ 2324017 w 5719680"/>
                <a:gd name="connsiteY11661" fmla="*/ 2985401 h 5704395"/>
                <a:gd name="connsiteX11662" fmla="*/ 2329734 w 5719680"/>
                <a:gd name="connsiteY11662" fmla="*/ 2988253 h 5704395"/>
                <a:gd name="connsiteX11663" fmla="*/ 2353556 w 5719680"/>
                <a:gd name="connsiteY11663" fmla="*/ 2941037 h 5704395"/>
                <a:gd name="connsiteX11664" fmla="*/ 2348156 w 5719680"/>
                <a:gd name="connsiteY11664" fmla="*/ 2938185 h 5704395"/>
                <a:gd name="connsiteX11665" fmla="*/ 1466764 w 5719680"/>
                <a:gd name="connsiteY11665" fmla="*/ 2933432 h 5704395"/>
                <a:gd name="connsiteX11666" fmla="*/ 1338446 w 5719680"/>
                <a:gd name="connsiteY11666" fmla="*/ 2942305 h 5704395"/>
                <a:gd name="connsiteX11667" fmla="*/ 1397205 w 5719680"/>
                <a:gd name="connsiteY11667" fmla="*/ 3070327 h 5704395"/>
                <a:gd name="connsiteX11668" fmla="*/ 1473752 w 5719680"/>
                <a:gd name="connsiteY11668" fmla="*/ 3068743 h 5704395"/>
                <a:gd name="connsiteX11669" fmla="*/ 1466764 w 5719680"/>
                <a:gd name="connsiteY11669" fmla="*/ 2933432 h 5704395"/>
                <a:gd name="connsiteX11670" fmla="*/ 413222 w 5719680"/>
                <a:gd name="connsiteY11670" fmla="*/ 2931530 h 5704395"/>
                <a:gd name="connsiteX11671" fmla="*/ 383049 w 5719680"/>
                <a:gd name="connsiteY11671" fmla="*/ 2946741 h 5704395"/>
                <a:gd name="connsiteX11672" fmla="*/ 400200 w 5719680"/>
                <a:gd name="connsiteY11672" fmla="*/ 2982232 h 5704395"/>
                <a:gd name="connsiteX11673" fmla="*/ 430056 w 5719680"/>
                <a:gd name="connsiteY11673" fmla="*/ 2967339 h 5704395"/>
                <a:gd name="connsiteX11674" fmla="*/ 429739 w 5719680"/>
                <a:gd name="connsiteY11674" fmla="*/ 2967022 h 5704395"/>
                <a:gd name="connsiteX11675" fmla="*/ 427833 w 5719680"/>
                <a:gd name="connsiteY11675" fmla="*/ 2962902 h 5704395"/>
                <a:gd name="connsiteX11676" fmla="*/ 429421 w 5719680"/>
                <a:gd name="connsiteY11676" fmla="*/ 2962268 h 5704395"/>
                <a:gd name="connsiteX11677" fmla="*/ 425927 w 5719680"/>
                <a:gd name="connsiteY11677" fmla="*/ 2954346 h 5704395"/>
                <a:gd name="connsiteX11678" fmla="*/ 413222 w 5719680"/>
                <a:gd name="connsiteY11678" fmla="*/ 2931530 h 5704395"/>
                <a:gd name="connsiteX11679" fmla="*/ 2145833 w 5719680"/>
                <a:gd name="connsiteY11679" fmla="*/ 2927727 h 5704395"/>
                <a:gd name="connsiteX11680" fmla="*/ 2127728 w 5719680"/>
                <a:gd name="connsiteY11680" fmla="*/ 2980648 h 5704395"/>
                <a:gd name="connsiteX11681" fmla="*/ 2209674 w 5719680"/>
                <a:gd name="connsiteY11681" fmla="*/ 3000612 h 5704395"/>
                <a:gd name="connsiteX11682" fmla="*/ 2226826 w 5719680"/>
                <a:gd name="connsiteY11682" fmla="*/ 2947058 h 5704395"/>
                <a:gd name="connsiteX11683" fmla="*/ 2145833 w 5719680"/>
                <a:gd name="connsiteY11683" fmla="*/ 2927727 h 5704395"/>
                <a:gd name="connsiteX11684" fmla="*/ 2383729 w 5719680"/>
                <a:gd name="connsiteY11684" fmla="*/ 2927411 h 5704395"/>
                <a:gd name="connsiteX11685" fmla="*/ 2340851 w 5719680"/>
                <a:gd name="connsiteY11685" fmla="*/ 3011703 h 5704395"/>
                <a:gd name="connsiteX11686" fmla="*/ 2498708 w 5719680"/>
                <a:gd name="connsiteY11686" fmla="*/ 3114058 h 5704395"/>
                <a:gd name="connsiteX11687" fmla="*/ 2545080 w 5719680"/>
                <a:gd name="connsiteY11687" fmla="*/ 3044976 h 5704395"/>
                <a:gd name="connsiteX11688" fmla="*/ 2549209 w 5719680"/>
                <a:gd name="connsiteY11688" fmla="*/ 3038638 h 5704395"/>
                <a:gd name="connsiteX11689" fmla="*/ 2383729 w 5719680"/>
                <a:gd name="connsiteY11689" fmla="*/ 2927411 h 5704395"/>
                <a:gd name="connsiteX11690" fmla="*/ 509461 w 5719680"/>
                <a:gd name="connsiteY11690" fmla="*/ 2922657 h 5704395"/>
                <a:gd name="connsiteX11691" fmla="*/ 473888 w 5719680"/>
                <a:gd name="connsiteY11691" fmla="*/ 2939769 h 5704395"/>
                <a:gd name="connsiteX11692" fmla="*/ 474205 w 5719680"/>
                <a:gd name="connsiteY11692" fmla="*/ 2941671 h 5704395"/>
                <a:gd name="connsiteX11693" fmla="*/ 482463 w 5719680"/>
                <a:gd name="connsiteY11693" fmla="*/ 2959099 h 5704395"/>
                <a:gd name="connsiteX11694" fmla="*/ 517401 w 5719680"/>
                <a:gd name="connsiteY11694" fmla="*/ 2940086 h 5704395"/>
                <a:gd name="connsiteX11695" fmla="*/ 509461 w 5719680"/>
                <a:gd name="connsiteY11695" fmla="*/ 2922657 h 5704395"/>
                <a:gd name="connsiteX11696" fmla="*/ 1721177 w 5719680"/>
                <a:gd name="connsiteY11696" fmla="*/ 2922340 h 5704395"/>
                <a:gd name="connsiteX11697" fmla="*/ 1718636 w 5719680"/>
                <a:gd name="connsiteY11697" fmla="*/ 2936600 h 5704395"/>
                <a:gd name="connsiteX11698" fmla="*/ 1758020 w 5719680"/>
                <a:gd name="connsiteY11698" fmla="*/ 2943572 h 5704395"/>
                <a:gd name="connsiteX11699" fmla="*/ 1760244 w 5719680"/>
                <a:gd name="connsiteY11699" fmla="*/ 2928995 h 5704395"/>
                <a:gd name="connsiteX11700" fmla="*/ 1721177 w 5719680"/>
                <a:gd name="connsiteY11700" fmla="*/ 2922340 h 5704395"/>
                <a:gd name="connsiteX11701" fmla="*/ 1573484 w 5719680"/>
                <a:gd name="connsiteY11701" fmla="*/ 2922023 h 5704395"/>
                <a:gd name="connsiteX11702" fmla="*/ 1470893 w 5719680"/>
                <a:gd name="connsiteY11702" fmla="*/ 2933115 h 5704395"/>
                <a:gd name="connsiteX11703" fmla="*/ 1478198 w 5719680"/>
                <a:gd name="connsiteY11703" fmla="*/ 3068743 h 5704395"/>
                <a:gd name="connsiteX11704" fmla="*/ 1623032 w 5719680"/>
                <a:gd name="connsiteY11704" fmla="*/ 3065574 h 5704395"/>
                <a:gd name="connsiteX11705" fmla="*/ 1573484 w 5719680"/>
                <a:gd name="connsiteY11705" fmla="*/ 2922023 h 5704395"/>
                <a:gd name="connsiteX11706" fmla="*/ 364309 w 5719680"/>
                <a:gd name="connsiteY11706" fmla="*/ 2920122 h 5704395"/>
                <a:gd name="connsiteX11707" fmla="*/ 338582 w 5719680"/>
                <a:gd name="connsiteY11707" fmla="*/ 2936283 h 5704395"/>
                <a:gd name="connsiteX11708" fmla="*/ 350334 w 5719680"/>
                <a:gd name="connsiteY11708" fmla="*/ 2962585 h 5704395"/>
                <a:gd name="connsiteX11709" fmla="*/ 377967 w 5719680"/>
                <a:gd name="connsiteY11709" fmla="*/ 2948959 h 5704395"/>
                <a:gd name="connsiteX11710" fmla="*/ 378284 w 5719680"/>
                <a:gd name="connsiteY11710" fmla="*/ 2948959 h 5704395"/>
                <a:gd name="connsiteX11711" fmla="*/ 364309 w 5719680"/>
                <a:gd name="connsiteY11711" fmla="*/ 2920122 h 5704395"/>
                <a:gd name="connsiteX11712" fmla="*/ 2308454 w 5719680"/>
                <a:gd name="connsiteY11712" fmla="*/ 2918538 h 5704395"/>
                <a:gd name="connsiteX11713" fmla="*/ 2283997 w 5719680"/>
                <a:gd name="connsiteY11713" fmla="*/ 2966388 h 5704395"/>
                <a:gd name="connsiteX11714" fmla="*/ 2320206 w 5719680"/>
                <a:gd name="connsiteY11714" fmla="*/ 2983817 h 5704395"/>
                <a:gd name="connsiteX11715" fmla="*/ 2344345 w 5719680"/>
                <a:gd name="connsiteY11715" fmla="*/ 2936283 h 5704395"/>
                <a:gd name="connsiteX11716" fmla="*/ 2308454 w 5719680"/>
                <a:gd name="connsiteY11716" fmla="*/ 2918538 h 5704395"/>
                <a:gd name="connsiteX11717" fmla="*/ 767367 w 5719680"/>
                <a:gd name="connsiteY11717" fmla="*/ 2918221 h 5704395"/>
                <a:gd name="connsiteX11718" fmla="*/ 706067 w 5719680"/>
                <a:gd name="connsiteY11718" fmla="*/ 2951177 h 5704395"/>
                <a:gd name="connsiteX11719" fmla="*/ 693362 w 5719680"/>
                <a:gd name="connsiteY11719" fmla="*/ 3074447 h 5704395"/>
                <a:gd name="connsiteX11720" fmla="*/ 683834 w 5719680"/>
                <a:gd name="connsiteY11720" fmla="*/ 3161908 h 5704395"/>
                <a:gd name="connsiteX11721" fmla="*/ 680657 w 5719680"/>
                <a:gd name="connsiteY11721" fmla="*/ 3190744 h 5704395"/>
                <a:gd name="connsiteX11722" fmla="*/ 679387 w 5719680"/>
                <a:gd name="connsiteY11722" fmla="*/ 3198983 h 5704395"/>
                <a:gd name="connsiteX11723" fmla="*/ 679387 w 5719680"/>
                <a:gd name="connsiteY11723" fmla="*/ 3199617 h 5704395"/>
                <a:gd name="connsiteX11724" fmla="*/ 684786 w 5719680"/>
                <a:gd name="connsiteY11724" fmla="*/ 3202469 h 5704395"/>
                <a:gd name="connsiteX11725" fmla="*/ 722265 w 5719680"/>
                <a:gd name="connsiteY11725" fmla="*/ 3213243 h 5704395"/>
                <a:gd name="connsiteX11726" fmla="*/ 743864 w 5719680"/>
                <a:gd name="connsiteY11726" fmla="*/ 3217680 h 5704395"/>
                <a:gd name="connsiteX11727" fmla="*/ 750216 w 5719680"/>
                <a:gd name="connsiteY11727" fmla="*/ 3218631 h 5704395"/>
                <a:gd name="connsiteX11728" fmla="*/ 781978 w 5719680"/>
                <a:gd name="connsiteY11728" fmla="*/ 3220849 h 5704395"/>
                <a:gd name="connsiteX11729" fmla="*/ 880440 w 5719680"/>
                <a:gd name="connsiteY11729" fmla="*/ 3205004 h 5704395"/>
                <a:gd name="connsiteX11730" fmla="*/ 1717683 w 5719680"/>
                <a:gd name="connsiteY11730" fmla="*/ 2917587 h 5704395"/>
                <a:gd name="connsiteX11731" fmla="*/ 1765008 w 5719680"/>
                <a:gd name="connsiteY11731" fmla="*/ 2925826 h 5704395"/>
                <a:gd name="connsiteX11732" fmla="*/ 1761197 w 5719680"/>
                <a:gd name="connsiteY11732" fmla="*/ 2948008 h 5704395"/>
                <a:gd name="connsiteX11733" fmla="*/ 1759291 w 5719680"/>
                <a:gd name="connsiteY11733" fmla="*/ 2947692 h 5704395"/>
                <a:gd name="connsiteX11734" fmla="*/ 1713871 w 5719680"/>
                <a:gd name="connsiteY11734" fmla="*/ 2939769 h 5704395"/>
                <a:gd name="connsiteX11735" fmla="*/ 1717683 w 5719680"/>
                <a:gd name="connsiteY11735" fmla="*/ 2917587 h 5704395"/>
                <a:gd name="connsiteX11736" fmla="*/ 2100096 w 5719680"/>
                <a:gd name="connsiteY11736" fmla="*/ 2917270 h 5704395"/>
                <a:gd name="connsiteX11737" fmla="*/ 2081992 w 5719680"/>
                <a:gd name="connsiteY11737" fmla="*/ 2969557 h 5704395"/>
                <a:gd name="connsiteX11738" fmla="*/ 2123600 w 5719680"/>
                <a:gd name="connsiteY11738" fmla="*/ 2979697 h 5704395"/>
                <a:gd name="connsiteX11739" fmla="*/ 2141704 w 5719680"/>
                <a:gd name="connsiteY11739" fmla="*/ 2926777 h 5704395"/>
                <a:gd name="connsiteX11740" fmla="*/ 1912066 w 5719680"/>
                <a:gd name="connsiteY11740" fmla="*/ 2916953 h 5704395"/>
                <a:gd name="connsiteX11741" fmla="*/ 1898408 w 5719680"/>
                <a:gd name="connsiteY11741" fmla="*/ 2954029 h 5704395"/>
                <a:gd name="connsiteX11742" fmla="*/ 1938745 w 5719680"/>
                <a:gd name="connsiteY11742" fmla="*/ 2961001 h 5704395"/>
                <a:gd name="connsiteX11743" fmla="*/ 1951768 w 5719680"/>
                <a:gd name="connsiteY11743" fmla="*/ 2924242 h 5704395"/>
                <a:gd name="connsiteX11744" fmla="*/ 1912066 w 5719680"/>
                <a:gd name="connsiteY11744" fmla="*/ 2916953 h 5704395"/>
                <a:gd name="connsiteX11745" fmla="*/ 2091838 w 5719680"/>
                <a:gd name="connsiteY11745" fmla="*/ 2915052 h 5704395"/>
                <a:gd name="connsiteX11746" fmla="*/ 2073733 w 5719680"/>
                <a:gd name="connsiteY11746" fmla="*/ 2967655 h 5704395"/>
                <a:gd name="connsiteX11747" fmla="*/ 2078180 w 5719680"/>
                <a:gd name="connsiteY11747" fmla="*/ 2968606 h 5704395"/>
                <a:gd name="connsiteX11748" fmla="*/ 2095967 w 5719680"/>
                <a:gd name="connsiteY11748" fmla="*/ 2916003 h 5704395"/>
                <a:gd name="connsiteX11749" fmla="*/ 452607 w 5719680"/>
                <a:gd name="connsiteY11749" fmla="*/ 2907130 h 5704395"/>
                <a:gd name="connsiteX11750" fmla="*/ 417987 w 5719680"/>
                <a:gd name="connsiteY11750" fmla="*/ 2923925 h 5704395"/>
                <a:gd name="connsiteX11751" fmla="*/ 434185 w 5719680"/>
                <a:gd name="connsiteY11751" fmla="*/ 2960050 h 5704395"/>
                <a:gd name="connsiteX11752" fmla="*/ 469123 w 5719680"/>
                <a:gd name="connsiteY11752" fmla="*/ 2942938 h 5704395"/>
                <a:gd name="connsiteX11753" fmla="*/ 452607 w 5719680"/>
                <a:gd name="connsiteY11753" fmla="*/ 2907130 h 5704395"/>
                <a:gd name="connsiteX11754" fmla="*/ 1849812 w 5719680"/>
                <a:gd name="connsiteY11754" fmla="*/ 2905545 h 5704395"/>
                <a:gd name="connsiteX11755" fmla="*/ 1838696 w 5719680"/>
                <a:gd name="connsiteY11755" fmla="*/ 2943889 h 5704395"/>
                <a:gd name="connsiteX11756" fmla="*/ 1894279 w 5719680"/>
                <a:gd name="connsiteY11756" fmla="*/ 2953395 h 5704395"/>
                <a:gd name="connsiteX11757" fmla="*/ 1907937 w 5719680"/>
                <a:gd name="connsiteY11757" fmla="*/ 2916003 h 5704395"/>
                <a:gd name="connsiteX11758" fmla="*/ 1849812 w 5719680"/>
                <a:gd name="connsiteY11758" fmla="*/ 2905545 h 5704395"/>
                <a:gd name="connsiteX11759" fmla="*/ 542176 w 5719680"/>
                <a:gd name="connsiteY11759" fmla="*/ 2900475 h 5704395"/>
                <a:gd name="connsiteX11760" fmla="*/ 511684 w 5719680"/>
                <a:gd name="connsiteY11760" fmla="*/ 2915686 h 5704395"/>
                <a:gd name="connsiteX11761" fmla="*/ 522166 w 5719680"/>
                <a:gd name="connsiteY11761" fmla="*/ 2937551 h 5704395"/>
                <a:gd name="connsiteX11762" fmla="*/ 552022 w 5719680"/>
                <a:gd name="connsiteY11762" fmla="*/ 2921390 h 5704395"/>
                <a:gd name="connsiteX11763" fmla="*/ 542176 w 5719680"/>
                <a:gd name="connsiteY11763" fmla="*/ 2900475 h 5704395"/>
                <a:gd name="connsiteX11764" fmla="*/ 1688144 w 5719680"/>
                <a:gd name="connsiteY11764" fmla="*/ 2899208 h 5704395"/>
                <a:gd name="connsiteX11765" fmla="*/ 1690368 w 5719680"/>
                <a:gd name="connsiteY11765" fmla="*/ 2905228 h 5704395"/>
                <a:gd name="connsiteX11766" fmla="*/ 1706884 w 5719680"/>
                <a:gd name="connsiteY11766" fmla="*/ 2944523 h 5704395"/>
                <a:gd name="connsiteX11767" fmla="*/ 1709107 w 5719680"/>
                <a:gd name="connsiteY11767" fmla="*/ 2949910 h 5704395"/>
                <a:gd name="connsiteX11768" fmla="*/ 1827897 w 5719680"/>
                <a:gd name="connsiteY11768" fmla="*/ 2965120 h 5704395"/>
                <a:gd name="connsiteX11769" fmla="*/ 1839013 w 5719680"/>
                <a:gd name="connsiteY11769" fmla="*/ 2927094 h 5704395"/>
                <a:gd name="connsiteX11770" fmla="*/ 1688144 w 5719680"/>
                <a:gd name="connsiteY11770" fmla="*/ 2899208 h 5704395"/>
                <a:gd name="connsiteX11771" fmla="*/ 400200 w 5719680"/>
                <a:gd name="connsiteY11771" fmla="*/ 2897940 h 5704395"/>
                <a:gd name="connsiteX11772" fmla="*/ 368756 w 5719680"/>
                <a:gd name="connsiteY11772" fmla="*/ 2917587 h 5704395"/>
                <a:gd name="connsiteX11773" fmla="*/ 380825 w 5719680"/>
                <a:gd name="connsiteY11773" fmla="*/ 2942938 h 5704395"/>
                <a:gd name="connsiteX11774" fmla="*/ 410999 w 5719680"/>
                <a:gd name="connsiteY11774" fmla="*/ 2927727 h 5704395"/>
                <a:gd name="connsiteX11775" fmla="*/ 410999 w 5719680"/>
                <a:gd name="connsiteY11775" fmla="*/ 2927411 h 5704395"/>
                <a:gd name="connsiteX11776" fmla="*/ 412587 w 5719680"/>
                <a:gd name="connsiteY11776" fmla="*/ 2926777 h 5704395"/>
                <a:gd name="connsiteX11777" fmla="*/ 410681 w 5719680"/>
                <a:gd name="connsiteY11777" fmla="*/ 2922657 h 5704395"/>
                <a:gd name="connsiteX11778" fmla="*/ 411317 w 5719680"/>
                <a:gd name="connsiteY11778" fmla="*/ 2922340 h 5704395"/>
                <a:gd name="connsiteX11779" fmla="*/ 400200 w 5719680"/>
                <a:gd name="connsiteY11779" fmla="*/ 2897940 h 5704395"/>
                <a:gd name="connsiteX11780" fmla="*/ 2264940 w 5719680"/>
                <a:gd name="connsiteY11780" fmla="*/ 2896989 h 5704395"/>
                <a:gd name="connsiteX11781" fmla="*/ 2248106 w 5719680"/>
                <a:gd name="connsiteY11781" fmla="*/ 2949593 h 5704395"/>
                <a:gd name="connsiteX11782" fmla="*/ 2280186 w 5719680"/>
                <a:gd name="connsiteY11782" fmla="*/ 2964803 h 5704395"/>
                <a:gd name="connsiteX11783" fmla="*/ 2304642 w 5719680"/>
                <a:gd name="connsiteY11783" fmla="*/ 2916953 h 5704395"/>
                <a:gd name="connsiteX11784" fmla="*/ 2264940 w 5719680"/>
                <a:gd name="connsiteY11784" fmla="*/ 2896989 h 5704395"/>
                <a:gd name="connsiteX11785" fmla="*/ 837561 w 5719680"/>
                <a:gd name="connsiteY11785" fmla="*/ 2895405 h 5704395"/>
                <a:gd name="connsiteX11786" fmla="*/ 789918 w 5719680"/>
                <a:gd name="connsiteY11786" fmla="*/ 2922974 h 5704395"/>
                <a:gd name="connsiteX11787" fmla="*/ 891874 w 5719680"/>
                <a:gd name="connsiteY11787" fmla="*/ 3185040 h 5704395"/>
                <a:gd name="connsiteX11788" fmla="*/ 928718 w 5719680"/>
                <a:gd name="connsiteY11788" fmla="*/ 3167928 h 5704395"/>
                <a:gd name="connsiteX11789" fmla="*/ 917601 w 5719680"/>
                <a:gd name="connsiteY11789" fmla="*/ 3130219 h 5704395"/>
                <a:gd name="connsiteX11790" fmla="*/ 899179 w 5719680"/>
                <a:gd name="connsiteY11790" fmla="*/ 3147965 h 5704395"/>
                <a:gd name="connsiteX11791" fmla="*/ 833750 w 5719680"/>
                <a:gd name="connsiteY11791" fmla="*/ 2961318 h 5704395"/>
                <a:gd name="connsiteX11792" fmla="*/ 841373 w 5719680"/>
                <a:gd name="connsiteY11792" fmla="*/ 2955930 h 5704395"/>
                <a:gd name="connsiteX11793" fmla="*/ 939517 w 5719680"/>
                <a:gd name="connsiteY11793" fmla="*/ 3095044 h 5704395"/>
                <a:gd name="connsiteX11794" fmla="*/ 921412 w 5719680"/>
                <a:gd name="connsiteY11794" fmla="*/ 3096629 h 5704395"/>
                <a:gd name="connsiteX11795" fmla="*/ 961115 w 5719680"/>
                <a:gd name="connsiteY11795" fmla="*/ 3149866 h 5704395"/>
                <a:gd name="connsiteX11796" fmla="*/ 998594 w 5719680"/>
                <a:gd name="connsiteY11796" fmla="*/ 3124198 h 5704395"/>
                <a:gd name="connsiteX11797" fmla="*/ 837561 w 5719680"/>
                <a:gd name="connsiteY11797" fmla="*/ 2895405 h 5704395"/>
                <a:gd name="connsiteX11798" fmla="*/ 4015972 w 5719680"/>
                <a:gd name="connsiteY11798" fmla="*/ 2893504 h 5704395"/>
                <a:gd name="connsiteX11799" fmla="*/ 3992151 w 5719680"/>
                <a:gd name="connsiteY11799" fmla="*/ 2894137 h 5704395"/>
                <a:gd name="connsiteX11800" fmla="*/ 3992469 w 5719680"/>
                <a:gd name="connsiteY11800" fmla="*/ 2899841 h 5704395"/>
                <a:gd name="connsiteX11801" fmla="*/ 3992469 w 5719680"/>
                <a:gd name="connsiteY11801" fmla="*/ 2902060 h 5704395"/>
                <a:gd name="connsiteX11802" fmla="*/ 3968647 w 5719680"/>
                <a:gd name="connsiteY11802" fmla="*/ 2902060 h 5704395"/>
                <a:gd name="connsiteX11803" fmla="*/ 3969282 w 5719680"/>
                <a:gd name="connsiteY11803" fmla="*/ 2922657 h 5704395"/>
                <a:gd name="connsiteX11804" fmla="*/ 3958801 w 5719680"/>
                <a:gd name="connsiteY11804" fmla="*/ 2923291 h 5704395"/>
                <a:gd name="connsiteX11805" fmla="*/ 3958801 w 5719680"/>
                <a:gd name="connsiteY11805" fmla="*/ 2936917 h 5704395"/>
                <a:gd name="connsiteX11806" fmla="*/ 3965154 w 5719680"/>
                <a:gd name="connsiteY11806" fmla="*/ 2937234 h 5704395"/>
                <a:gd name="connsiteX11807" fmla="*/ 3967059 w 5719680"/>
                <a:gd name="connsiteY11807" fmla="*/ 2937234 h 5704395"/>
                <a:gd name="connsiteX11808" fmla="*/ 3967694 w 5719680"/>
                <a:gd name="connsiteY11808" fmla="*/ 2954980 h 5704395"/>
                <a:gd name="connsiteX11809" fmla="*/ 4009938 w 5719680"/>
                <a:gd name="connsiteY11809" fmla="*/ 2955297 h 5704395"/>
                <a:gd name="connsiteX11810" fmla="*/ 4011526 w 5719680"/>
                <a:gd name="connsiteY11810" fmla="*/ 2968923 h 5704395"/>
                <a:gd name="connsiteX11811" fmla="*/ 4029948 w 5719680"/>
                <a:gd name="connsiteY11811" fmla="*/ 2969240 h 5704395"/>
                <a:gd name="connsiteX11812" fmla="*/ 4030266 w 5719680"/>
                <a:gd name="connsiteY11812" fmla="*/ 2955930 h 5704395"/>
                <a:gd name="connsiteX11813" fmla="*/ 4058851 w 5719680"/>
                <a:gd name="connsiteY11813" fmla="*/ 2955614 h 5704395"/>
                <a:gd name="connsiteX11814" fmla="*/ 4059169 w 5719680"/>
                <a:gd name="connsiteY11814" fmla="*/ 2903010 h 5704395"/>
                <a:gd name="connsiteX11815" fmla="*/ 4016608 w 5719680"/>
                <a:gd name="connsiteY11815" fmla="*/ 2902376 h 5704395"/>
                <a:gd name="connsiteX11816" fmla="*/ 4015972 w 5719680"/>
                <a:gd name="connsiteY11816" fmla="*/ 2893504 h 5704395"/>
                <a:gd name="connsiteX11817" fmla="*/ 4020102 w 5719680"/>
                <a:gd name="connsiteY11817" fmla="*/ 2889067 h 5704395"/>
                <a:gd name="connsiteX11818" fmla="*/ 4020419 w 5719680"/>
                <a:gd name="connsiteY11818" fmla="*/ 2898257 h 5704395"/>
                <a:gd name="connsiteX11819" fmla="*/ 4063298 w 5719680"/>
                <a:gd name="connsiteY11819" fmla="*/ 2898891 h 5704395"/>
                <a:gd name="connsiteX11820" fmla="*/ 4062980 w 5719680"/>
                <a:gd name="connsiteY11820" fmla="*/ 2959733 h 5704395"/>
                <a:gd name="connsiteX11821" fmla="*/ 4060757 w 5719680"/>
                <a:gd name="connsiteY11821" fmla="*/ 2959733 h 5704395"/>
                <a:gd name="connsiteX11822" fmla="*/ 4034394 w 5719680"/>
                <a:gd name="connsiteY11822" fmla="*/ 2960050 h 5704395"/>
                <a:gd name="connsiteX11823" fmla="*/ 4034077 w 5719680"/>
                <a:gd name="connsiteY11823" fmla="*/ 2973676 h 5704395"/>
                <a:gd name="connsiteX11824" fmla="*/ 4007714 w 5719680"/>
                <a:gd name="connsiteY11824" fmla="*/ 2973042 h 5704395"/>
                <a:gd name="connsiteX11825" fmla="*/ 4006444 w 5719680"/>
                <a:gd name="connsiteY11825" fmla="*/ 2959416 h 5704395"/>
                <a:gd name="connsiteX11826" fmla="*/ 3963566 w 5719680"/>
                <a:gd name="connsiteY11826" fmla="*/ 2959099 h 5704395"/>
                <a:gd name="connsiteX11827" fmla="*/ 3962930 w 5719680"/>
                <a:gd name="connsiteY11827" fmla="*/ 2941354 h 5704395"/>
                <a:gd name="connsiteX11828" fmla="*/ 3956896 w 5719680"/>
                <a:gd name="connsiteY11828" fmla="*/ 2941037 h 5704395"/>
                <a:gd name="connsiteX11829" fmla="*/ 3954990 w 5719680"/>
                <a:gd name="connsiteY11829" fmla="*/ 2940720 h 5704395"/>
                <a:gd name="connsiteX11830" fmla="*/ 3954672 w 5719680"/>
                <a:gd name="connsiteY11830" fmla="*/ 2919488 h 5704395"/>
                <a:gd name="connsiteX11831" fmla="*/ 3964836 w 5719680"/>
                <a:gd name="connsiteY11831" fmla="*/ 2918855 h 5704395"/>
                <a:gd name="connsiteX11832" fmla="*/ 3964201 w 5719680"/>
                <a:gd name="connsiteY11832" fmla="*/ 2897940 h 5704395"/>
                <a:gd name="connsiteX11833" fmla="*/ 3988340 w 5719680"/>
                <a:gd name="connsiteY11833" fmla="*/ 2897940 h 5704395"/>
                <a:gd name="connsiteX11834" fmla="*/ 3988022 w 5719680"/>
                <a:gd name="connsiteY11834" fmla="*/ 2892236 h 5704395"/>
                <a:gd name="connsiteX11835" fmla="*/ 3987704 w 5719680"/>
                <a:gd name="connsiteY11835" fmla="*/ 2890018 h 5704395"/>
                <a:gd name="connsiteX11836" fmla="*/ 4020102 w 5719680"/>
                <a:gd name="connsiteY11836" fmla="*/ 2889067 h 5704395"/>
                <a:gd name="connsiteX11837" fmla="*/ 838832 w 5719680"/>
                <a:gd name="connsiteY11837" fmla="*/ 2889067 h 5704395"/>
                <a:gd name="connsiteX11838" fmla="*/ 1004946 w 5719680"/>
                <a:gd name="connsiteY11838" fmla="*/ 3125466 h 5704395"/>
                <a:gd name="connsiteX11839" fmla="*/ 1003041 w 5719680"/>
                <a:gd name="connsiteY11839" fmla="*/ 3126733 h 5704395"/>
                <a:gd name="connsiteX11840" fmla="*/ 960162 w 5719680"/>
                <a:gd name="connsiteY11840" fmla="*/ 3156521 h 5704395"/>
                <a:gd name="connsiteX11841" fmla="*/ 912837 w 5719680"/>
                <a:gd name="connsiteY11841" fmla="*/ 3092826 h 5704395"/>
                <a:gd name="connsiteX11842" fmla="*/ 931259 w 5719680"/>
                <a:gd name="connsiteY11842" fmla="*/ 3090925 h 5704395"/>
                <a:gd name="connsiteX11843" fmla="*/ 840102 w 5719680"/>
                <a:gd name="connsiteY11843" fmla="*/ 2962585 h 5704395"/>
                <a:gd name="connsiteX11844" fmla="*/ 839149 w 5719680"/>
                <a:gd name="connsiteY11844" fmla="*/ 2963219 h 5704395"/>
                <a:gd name="connsiteX11845" fmla="*/ 901402 w 5719680"/>
                <a:gd name="connsiteY11845" fmla="*/ 3139409 h 5704395"/>
                <a:gd name="connsiteX11846" fmla="*/ 920142 w 5719680"/>
                <a:gd name="connsiteY11846" fmla="*/ 3121663 h 5704395"/>
                <a:gd name="connsiteX11847" fmla="*/ 934435 w 5719680"/>
                <a:gd name="connsiteY11847" fmla="*/ 3170464 h 5704395"/>
                <a:gd name="connsiteX11848" fmla="*/ 889333 w 5719680"/>
                <a:gd name="connsiteY11848" fmla="*/ 3191378 h 5704395"/>
                <a:gd name="connsiteX11849" fmla="*/ 784201 w 5719680"/>
                <a:gd name="connsiteY11849" fmla="*/ 2920756 h 5704395"/>
                <a:gd name="connsiteX11850" fmla="*/ 2374201 w 5719680"/>
                <a:gd name="connsiteY11850" fmla="*/ 2887800 h 5704395"/>
                <a:gd name="connsiteX11851" fmla="*/ 2350062 w 5719680"/>
                <a:gd name="connsiteY11851" fmla="*/ 2934382 h 5704395"/>
                <a:gd name="connsiteX11852" fmla="*/ 2355461 w 5719680"/>
                <a:gd name="connsiteY11852" fmla="*/ 2936917 h 5704395"/>
                <a:gd name="connsiteX11853" fmla="*/ 2379283 w 5719680"/>
                <a:gd name="connsiteY11853" fmla="*/ 2890335 h 5704395"/>
                <a:gd name="connsiteX11854" fmla="*/ 2374201 w 5719680"/>
                <a:gd name="connsiteY11854" fmla="*/ 2887800 h 5704395"/>
                <a:gd name="connsiteX11855" fmla="*/ 1969872 w 5719680"/>
                <a:gd name="connsiteY11855" fmla="*/ 2886532 h 5704395"/>
                <a:gd name="connsiteX11856" fmla="*/ 1957485 w 5719680"/>
                <a:gd name="connsiteY11856" fmla="*/ 2920756 h 5704395"/>
                <a:gd name="connsiteX11857" fmla="*/ 1978448 w 5719680"/>
                <a:gd name="connsiteY11857" fmla="*/ 2924559 h 5704395"/>
                <a:gd name="connsiteX11858" fmla="*/ 1977495 w 5719680"/>
                <a:gd name="connsiteY11858" fmla="*/ 2928995 h 5704395"/>
                <a:gd name="connsiteX11859" fmla="*/ 1956214 w 5719680"/>
                <a:gd name="connsiteY11859" fmla="*/ 2924875 h 5704395"/>
                <a:gd name="connsiteX11860" fmla="*/ 1942874 w 5719680"/>
                <a:gd name="connsiteY11860" fmla="*/ 2961634 h 5704395"/>
                <a:gd name="connsiteX11861" fmla="*/ 1963837 w 5719680"/>
                <a:gd name="connsiteY11861" fmla="*/ 2965120 h 5704395"/>
                <a:gd name="connsiteX11862" fmla="*/ 1962884 w 5719680"/>
                <a:gd name="connsiteY11862" fmla="*/ 2969557 h 5704395"/>
                <a:gd name="connsiteX11863" fmla="*/ 1941286 w 5719680"/>
                <a:gd name="connsiteY11863" fmla="*/ 2965754 h 5704395"/>
                <a:gd name="connsiteX11864" fmla="*/ 1926994 w 5719680"/>
                <a:gd name="connsiteY11864" fmla="*/ 3005682 h 5704395"/>
                <a:gd name="connsiteX11865" fmla="*/ 1949862 w 5719680"/>
                <a:gd name="connsiteY11865" fmla="*/ 3009485 h 5704395"/>
                <a:gd name="connsiteX11866" fmla="*/ 1991470 w 5719680"/>
                <a:gd name="connsiteY11866" fmla="*/ 2891285 h 5704395"/>
                <a:gd name="connsiteX11867" fmla="*/ 1969872 w 5719680"/>
                <a:gd name="connsiteY11867" fmla="*/ 2886532 h 5704395"/>
                <a:gd name="connsiteX11868" fmla="*/ 2446300 w 5719680"/>
                <a:gd name="connsiteY11868" fmla="*/ 2885898 h 5704395"/>
                <a:gd name="connsiteX11869" fmla="*/ 2430419 w 5719680"/>
                <a:gd name="connsiteY11869" fmla="*/ 2901426 h 5704395"/>
                <a:gd name="connsiteX11870" fmla="*/ 2432960 w 5719680"/>
                <a:gd name="connsiteY11870" fmla="*/ 2903961 h 5704395"/>
                <a:gd name="connsiteX11871" fmla="*/ 2434548 w 5719680"/>
                <a:gd name="connsiteY11871" fmla="*/ 2905545 h 5704395"/>
                <a:gd name="connsiteX11872" fmla="*/ 2423114 w 5719680"/>
                <a:gd name="connsiteY11872" fmla="*/ 2916636 h 5704395"/>
                <a:gd name="connsiteX11873" fmla="*/ 2460593 w 5719680"/>
                <a:gd name="connsiteY11873" fmla="*/ 2956247 h 5704395"/>
                <a:gd name="connsiteX11874" fmla="*/ 2472028 w 5719680"/>
                <a:gd name="connsiteY11874" fmla="*/ 2945156 h 5704395"/>
                <a:gd name="connsiteX11875" fmla="*/ 2455194 w 5719680"/>
                <a:gd name="connsiteY11875" fmla="*/ 2928045 h 5704395"/>
                <a:gd name="connsiteX11876" fmla="*/ 2471710 w 5719680"/>
                <a:gd name="connsiteY11876" fmla="*/ 2911883 h 5704395"/>
                <a:gd name="connsiteX11877" fmla="*/ 2446300 w 5719680"/>
                <a:gd name="connsiteY11877" fmla="*/ 2885898 h 5704395"/>
                <a:gd name="connsiteX11878" fmla="*/ 1662100 w 5719680"/>
                <a:gd name="connsiteY11878" fmla="*/ 2885581 h 5704395"/>
                <a:gd name="connsiteX11879" fmla="*/ 1577931 w 5719680"/>
                <a:gd name="connsiteY11879" fmla="*/ 2921073 h 5704395"/>
                <a:gd name="connsiteX11880" fmla="*/ 1627479 w 5719680"/>
                <a:gd name="connsiteY11880" fmla="*/ 3065574 h 5704395"/>
                <a:gd name="connsiteX11881" fmla="*/ 1709107 w 5719680"/>
                <a:gd name="connsiteY11881" fmla="*/ 3063989 h 5704395"/>
                <a:gd name="connsiteX11882" fmla="*/ 1710378 w 5719680"/>
                <a:gd name="connsiteY11882" fmla="*/ 3022794 h 5704395"/>
                <a:gd name="connsiteX11883" fmla="*/ 1710060 w 5719680"/>
                <a:gd name="connsiteY11883" fmla="*/ 3008534 h 5704395"/>
                <a:gd name="connsiteX11884" fmla="*/ 1693861 w 5719680"/>
                <a:gd name="connsiteY11884" fmla="*/ 2949910 h 5704395"/>
                <a:gd name="connsiteX11885" fmla="*/ 1676710 w 5719680"/>
                <a:gd name="connsiteY11885" fmla="*/ 2908714 h 5704395"/>
                <a:gd name="connsiteX11886" fmla="*/ 1666546 w 5719680"/>
                <a:gd name="connsiteY11886" fmla="*/ 2891285 h 5704395"/>
                <a:gd name="connsiteX11887" fmla="*/ 1662100 w 5719680"/>
                <a:gd name="connsiteY11887" fmla="*/ 2885581 h 5704395"/>
                <a:gd name="connsiteX11888" fmla="*/ 489133 w 5719680"/>
                <a:gd name="connsiteY11888" fmla="*/ 2883680 h 5704395"/>
                <a:gd name="connsiteX11889" fmla="*/ 456101 w 5719680"/>
                <a:gd name="connsiteY11889" fmla="*/ 2899841 h 5704395"/>
                <a:gd name="connsiteX11890" fmla="*/ 456419 w 5719680"/>
                <a:gd name="connsiteY11890" fmla="*/ 2901109 h 5704395"/>
                <a:gd name="connsiteX11891" fmla="*/ 457371 w 5719680"/>
                <a:gd name="connsiteY11891" fmla="*/ 2904595 h 5704395"/>
                <a:gd name="connsiteX11892" fmla="*/ 457054 w 5719680"/>
                <a:gd name="connsiteY11892" fmla="*/ 2904912 h 5704395"/>
                <a:gd name="connsiteX11893" fmla="*/ 471347 w 5719680"/>
                <a:gd name="connsiteY11893" fmla="*/ 2935016 h 5704395"/>
                <a:gd name="connsiteX11894" fmla="*/ 471664 w 5719680"/>
                <a:gd name="connsiteY11894" fmla="*/ 2935967 h 5704395"/>
                <a:gd name="connsiteX11895" fmla="*/ 471982 w 5719680"/>
                <a:gd name="connsiteY11895" fmla="*/ 2935967 h 5704395"/>
                <a:gd name="connsiteX11896" fmla="*/ 505649 w 5719680"/>
                <a:gd name="connsiteY11896" fmla="*/ 2919488 h 5704395"/>
                <a:gd name="connsiteX11897" fmla="*/ 505014 w 5719680"/>
                <a:gd name="connsiteY11897" fmla="*/ 2918221 h 5704395"/>
                <a:gd name="connsiteX11898" fmla="*/ 504061 w 5719680"/>
                <a:gd name="connsiteY11898" fmla="*/ 2914735 h 5704395"/>
                <a:gd name="connsiteX11899" fmla="*/ 505332 w 5719680"/>
                <a:gd name="connsiteY11899" fmla="*/ 2914101 h 5704395"/>
                <a:gd name="connsiteX11900" fmla="*/ 500885 w 5719680"/>
                <a:gd name="connsiteY11900" fmla="*/ 2904595 h 5704395"/>
                <a:gd name="connsiteX11901" fmla="*/ 489133 w 5719680"/>
                <a:gd name="connsiteY11901" fmla="*/ 2883680 h 5704395"/>
                <a:gd name="connsiteX11902" fmla="*/ 206770 w 5719680"/>
                <a:gd name="connsiteY11902" fmla="*/ 2883363 h 5704395"/>
                <a:gd name="connsiteX11903" fmla="*/ 195653 w 5719680"/>
                <a:gd name="connsiteY11903" fmla="*/ 2925509 h 5704395"/>
                <a:gd name="connsiteX11904" fmla="*/ 245202 w 5719680"/>
                <a:gd name="connsiteY11904" fmla="*/ 2922340 h 5704395"/>
                <a:gd name="connsiteX11905" fmla="*/ 206770 w 5719680"/>
                <a:gd name="connsiteY11905" fmla="*/ 2883363 h 5704395"/>
                <a:gd name="connsiteX11906" fmla="*/ 2446618 w 5719680"/>
                <a:gd name="connsiteY11906" fmla="*/ 2879877 h 5704395"/>
                <a:gd name="connsiteX11907" fmla="*/ 2477744 w 5719680"/>
                <a:gd name="connsiteY11907" fmla="*/ 2911883 h 5704395"/>
                <a:gd name="connsiteX11908" fmla="*/ 2461228 w 5719680"/>
                <a:gd name="connsiteY11908" fmla="*/ 2928045 h 5704395"/>
                <a:gd name="connsiteX11909" fmla="*/ 2477744 w 5719680"/>
                <a:gd name="connsiteY11909" fmla="*/ 2945473 h 5704395"/>
                <a:gd name="connsiteX11910" fmla="*/ 2460593 w 5719680"/>
                <a:gd name="connsiteY11910" fmla="*/ 2961952 h 5704395"/>
                <a:gd name="connsiteX11911" fmla="*/ 2459005 w 5719680"/>
                <a:gd name="connsiteY11911" fmla="*/ 2960684 h 5704395"/>
                <a:gd name="connsiteX11912" fmla="*/ 2417397 w 5719680"/>
                <a:gd name="connsiteY11912" fmla="*/ 2916319 h 5704395"/>
                <a:gd name="connsiteX11913" fmla="*/ 2428514 w 5719680"/>
                <a:gd name="connsiteY11913" fmla="*/ 2905545 h 5704395"/>
                <a:gd name="connsiteX11914" fmla="*/ 2425973 w 5719680"/>
                <a:gd name="connsiteY11914" fmla="*/ 2902693 h 5704395"/>
                <a:gd name="connsiteX11915" fmla="*/ 2424384 w 5719680"/>
                <a:gd name="connsiteY11915" fmla="*/ 2901426 h 5704395"/>
                <a:gd name="connsiteX11916" fmla="*/ 2446618 w 5719680"/>
                <a:gd name="connsiteY11916" fmla="*/ 2879877 h 5704395"/>
                <a:gd name="connsiteX11917" fmla="*/ 839467 w 5719680"/>
                <a:gd name="connsiteY11917" fmla="*/ 2879877 h 5704395"/>
                <a:gd name="connsiteX11918" fmla="*/ 771179 w 5719680"/>
                <a:gd name="connsiteY11918" fmla="*/ 2916319 h 5704395"/>
                <a:gd name="connsiteX11919" fmla="*/ 884569 w 5719680"/>
                <a:gd name="connsiteY11919" fmla="*/ 3203420 h 5704395"/>
                <a:gd name="connsiteX11920" fmla="*/ 920777 w 5719680"/>
                <a:gd name="connsiteY11920" fmla="*/ 3187259 h 5704395"/>
                <a:gd name="connsiteX11921" fmla="*/ 1006852 w 5719680"/>
                <a:gd name="connsiteY11921" fmla="*/ 3142894 h 5704395"/>
                <a:gd name="connsiteX11922" fmla="*/ 1020827 w 5719680"/>
                <a:gd name="connsiteY11922" fmla="*/ 3133388 h 5704395"/>
                <a:gd name="connsiteX11923" fmla="*/ 578702 w 5719680"/>
                <a:gd name="connsiteY11923" fmla="*/ 2877342 h 5704395"/>
                <a:gd name="connsiteX11924" fmla="*/ 544717 w 5719680"/>
                <a:gd name="connsiteY11924" fmla="*/ 2893504 h 5704395"/>
                <a:gd name="connsiteX11925" fmla="*/ 556786 w 5719680"/>
                <a:gd name="connsiteY11925" fmla="*/ 2919172 h 5704395"/>
                <a:gd name="connsiteX11926" fmla="*/ 589818 w 5719680"/>
                <a:gd name="connsiteY11926" fmla="*/ 2901109 h 5704395"/>
                <a:gd name="connsiteX11927" fmla="*/ 578702 w 5719680"/>
                <a:gd name="connsiteY11927" fmla="*/ 2877342 h 5704395"/>
                <a:gd name="connsiteX11928" fmla="*/ 1926358 w 5719680"/>
                <a:gd name="connsiteY11928" fmla="*/ 2876709 h 5704395"/>
                <a:gd name="connsiteX11929" fmla="*/ 1913336 w 5719680"/>
                <a:gd name="connsiteY11929" fmla="*/ 2912517 h 5704395"/>
                <a:gd name="connsiteX11930" fmla="*/ 1953356 w 5719680"/>
                <a:gd name="connsiteY11930" fmla="*/ 2920122 h 5704395"/>
                <a:gd name="connsiteX11931" fmla="*/ 1965743 w 5719680"/>
                <a:gd name="connsiteY11931" fmla="*/ 2885581 h 5704395"/>
                <a:gd name="connsiteX11932" fmla="*/ 1926358 w 5719680"/>
                <a:gd name="connsiteY11932" fmla="*/ 2876709 h 5704395"/>
                <a:gd name="connsiteX11933" fmla="*/ 437361 w 5719680"/>
                <a:gd name="connsiteY11933" fmla="*/ 2874807 h 5704395"/>
                <a:gd name="connsiteX11934" fmla="*/ 404647 w 5719680"/>
                <a:gd name="connsiteY11934" fmla="*/ 2895088 h 5704395"/>
                <a:gd name="connsiteX11935" fmla="*/ 416081 w 5719680"/>
                <a:gd name="connsiteY11935" fmla="*/ 2920122 h 5704395"/>
                <a:gd name="connsiteX11936" fmla="*/ 450701 w 5719680"/>
                <a:gd name="connsiteY11936" fmla="*/ 2903010 h 5704395"/>
                <a:gd name="connsiteX11937" fmla="*/ 204229 w 5719680"/>
                <a:gd name="connsiteY11937" fmla="*/ 2874807 h 5704395"/>
                <a:gd name="connsiteX11938" fmla="*/ 255366 w 5719680"/>
                <a:gd name="connsiteY11938" fmla="*/ 2926143 h 5704395"/>
                <a:gd name="connsiteX11939" fmla="*/ 189619 w 5719680"/>
                <a:gd name="connsiteY11939" fmla="*/ 2930263 h 5704395"/>
                <a:gd name="connsiteX11940" fmla="*/ 204229 w 5719680"/>
                <a:gd name="connsiteY11940" fmla="*/ 2874807 h 5704395"/>
                <a:gd name="connsiteX11941" fmla="*/ 1271746 w 5719680"/>
                <a:gd name="connsiteY11941" fmla="*/ 2872272 h 5704395"/>
                <a:gd name="connsiteX11942" fmla="*/ 1192977 w 5719680"/>
                <a:gd name="connsiteY11942" fmla="*/ 2893504 h 5704395"/>
                <a:gd name="connsiteX11943" fmla="*/ 1199964 w 5719680"/>
                <a:gd name="connsiteY11943" fmla="*/ 2909982 h 5704395"/>
                <a:gd name="connsiteX11944" fmla="*/ 1157086 w 5719680"/>
                <a:gd name="connsiteY11944" fmla="*/ 2926777 h 5704395"/>
                <a:gd name="connsiteX11945" fmla="*/ 1172014 w 5719680"/>
                <a:gd name="connsiteY11945" fmla="*/ 2948325 h 5704395"/>
                <a:gd name="connsiteX11946" fmla="*/ 1186624 w 5719680"/>
                <a:gd name="connsiteY11946" fmla="*/ 2938819 h 5704395"/>
                <a:gd name="connsiteX11947" fmla="*/ 1202823 w 5719680"/>
                <a:gd name="connsiteY11947" fmla="*/ 2961952 h 5704395"/>
                <a:gd name="connsiteX11948" fmla="*/ 1189483 w 5719680"/>
                <a:gd name="connsiteY11948" fmla="*/ 2970824 h 5704395"/>
                <a:gd name="connsiteX11949" fmla="*/ 1212034 w 5719680"/>
                <a:gd name="connsiteY11949" fmla="*/ 3000929 h 5704395"/>
                <a:gd name="connsiteX11950" fmla="*/ 1226962 w 5719680"/>
                <a:gd name="connsiteY11950" fmla="*/ 2988887 h 5704395"/>
                <a:gd name="connsiteX11951" fmla="*/ 1243796 w 5719680"/>
                <a:gd name="connsiteY11951" fmla="*/ 3011386 h 5704395"/>
                <a:gd name="connsiteX11952" fmla="*/ 1229185 w 5719680"/>
                <a:gd name="connsiteY11952" fmla="*/ 3023111 h 5704395"/>
                <a:gd name="connsiteX11953" fmla="*/ 1250783 w 5719680"/>
                <a:gd name="connsiteY11953" fmla="*/ 3051314 h 5704395"/>
                <a:gd name="connsiteX11954" fmla="*/ 1264441 w 5719680"/>
                <a:gd name="connsiteY11954" fmla="*/ 3038955 h 5704395"/>
                <a:gd name="connsiteX11955" fmla="*/ 1271111 w 5719680"/>
                <a:gd name="connsiteY11955" fmla="*/ 3047511 h 5704395"/>
                <a:gd name="connsiteX11956" fmla="*/ 1314942 w 5719680"/>
                <a:gd name="connsiteY11956" fmla="*/ 3015506 h 5704395"/>
                <a:gd name="connsiteX11957" fmla="*/ 1308590 w 5719680"/>
                <a:gd name="connsiteY11957" fmla="*/ 3006949 h 5704395"/>
                <a:gd name="connsiteX11958" fmla="*/ 1314307 w 5719680"/>
                <a:gd name="connsiteY11958" fmla="*/ 2999661 h 5704395"/>
                <a:gd name="connsiteX11959" fmla="*/ 1286356 w 5719680"/>
                <a:gd name="connsiteY11959" fmla="*/ 2939452 h 5704395"/>
                <a:gd name="connsiteX11960" fmla="*/ 1299061 w 5719680"/>
                <a:gd name="connsiteY11960" fmla="*/ 2933748 h 5704395"/>
                <a:gd name="connsiteX11961" fmla="*/ 1271746 w 5719680"/>
                <a:gd name="connsiteY11961" fmla="*/ 2872272 h 5704395"/>
                <a:gd name="connsiteX11962" fmla="*/ 2164572 w 5719680"/>
                <a:gd name="connsiteY11962" fmla="*/ 2871955 h 5704395"/>
                <a:gd name="connsiteX11963" fmla="*/ 2147103 w 5719680"/>
                <a:gd name="connsiteY11963" fmla="*/ 2923608 h 5704395"/>
                <a:gd name="connsiteX11964" fmla="*/ 2228414 w 5719680"/>
                <a:gd name="connsiteY11964" fmla="*/ 2942938 h 5704395"/>
                <a:gd name="connsiteX11965" fmla="*/ 2245248 w 5719680"/>
                <a:gd name="connsiteY11965" fmla="*/ 2890335 h 5704395"/>
                <a:gd name="connsiteX11966" fmla="*/ 2164572 w 5719680"/>
                <a:gd name="connsiteY11966" fmla="*/ 2871955 h 5704395"/>
                <a:gd name="connsiteX11967" fmla="*/ 622851 w 5719680"/>
                <a:gd name="connsiteY11967" fmla="*/ 2870371 h 5704395"/>
                <a:gd name="connsiteX11968" fmla="*/ 588866 w 5719680"/>
                <a:gd name="connsiteY11968" fmla="*/ 2886849 h 5704395"/>
                <a:gd name="connsiteX11969" fmla="*/ 594583 w 5719680"/>
                <a:gd name="connsiteY11969" fmla="*/ 2898891 h 5704395"/>
                <a:gd name="connsiteX11970" fmla="*/ 627615 w 5719680"/>
                <a:gd name="connsiteY11970" fmla="*/ 2880828 h 5704395"/>
                <a:gd name="connsiteX11971" fmla="*/ 622851 w 5719680"/>
                <a:gd name="connsiteY11971" fmla="*/ 2870371 h 5704395"/>
                <a:gd name="connsiteX11972" fmla="*/ 1697990 w 5719680"/>
                <a:gd name="connsiteY11972" fmla="*/ 2870054 h 5704395"/>
                <a:gd name="connsiteX11973" fmla="*/ 1695450 w 5719680"/>
                <a:gd name="connsiteY11973" fmla="*/ 2884314 h 5704395"/>
                <a:gd name="connsiteX11974" fmla="*/ 1734834 w 5719680"/>
                <a:gd name="connsiteY11974" fmla="*/ 2890968 h 5704395"/>
                <a:gd name="connsiteX11975" fmla="*/ 1737375 w 5719680"/>
                <a:gd name="connsiteY11975" fmla="*/ 2876709 h 5704395"/>
                <a:gd name="connsiteX11976" fmla="*/ 1697990 w 5719680"/>
                <a:gd name="connsiteY11976" fmla="*/ 2870054 h 5704395"/>
                <a:gd name="connsiteX11977" fmla="*/ 2334498 w 5719680"/>
                <a:gd name="connsiteY11977" fmla="*/ 2867836 h 5704395"/>
                <a:gd name="connsiteX11978" fmla="*/ 2310677 w 5719680"/>
                <a:gd name="connsiteY11978" fmla="*/ 2914735 h 5704395"/>
                <a:gd name="connsiteX11979" fmla="*/ 2346568 w 5719680"/>
                <a:gd name="connsiteY11979" fmla="*/ 2932481 h 5704395"/>
                <a:gd name="connsiteX11980" fmla="*/ 2370389 w 5719680"/>
                <a:gd name="connsiteY11980" fmla="*/ 2885898 h 5704395"/>
                <a:gd name="connsiteX11981" fmla="*/ 2334498 w 5719680"/>
                <a:gd name="connsiteY11981" fmla="*/ 2867836 h 5704395"/>
                <a:gd name="connsiteX11982" fmla="*/ 1274287 w 5719680"/>
                <a:gd name="connsiteY11982" fmla="*/ 2866568 h 5704395"/>
                <a:gd name="connsiteX11983" fmla="*/ 1305096 w 5719680"/>
                <a:gd name="connsiteY11983" fmla="*/ 2936283 h 5704395"/>
                <a:gd name="connsiteX11984" fmla="*/ 1292709 w 5719680"/>
                <a:gd name="connsiteY11984" fmla="*/ 2941987 h 5704395"/>
                <a:gd name="connsiteX11985" fmla="*/ 1320024 w 5719680"/>
                <a:gd name="connsiteY11985" fmla="*/ 3000295 h 5704395"/>
                <a:gd name="connsiteX11986" fmla="*/ 1319071 w 5719680"/>
                <a:gd name="connsiteY11986" fmla="*/ 3001245 h 5704395"/>
                <a:gd name="connsiteX11987" fmla="*/ 1314625 w 5719680"/>
                <a:gd name="connsiteY11987" fmla="*/ 3006949 h 5704395"/>
                <a:gd name="connsiteX11988" fmla="*/ 1321612 w 5719680"/>
                <a:gd name="connsiteY11988" fmla="*/ 3016456 h 5704395"/>
                <a:gd name="connsiteX11989" fmla="*/ 1270158 w 5719680"/>
                <a:gd name="connsiteY11989" fmla="*/ 3053849 h 5704395"/>
                <a:gd name="connsiteX11990" fmla="*/ 1263806 w 5719680"/>
                <a:gd name="connsiteY11990" fmla="*/ 3045927 h 5704395"/>
                <a:gd name="connsiteX11991" fmla="*/ 1250148 w 5719680"/>
                <a:gd name="connsiteY11991" fmla="*/ 3058286 h 5704395"/>
                <a:gd name="connsiteX11992" fmla="*/ 1222515 w 5719680"/>
                <a:gd name="connsiteY11992" fmla="*/ 3022160 h 5704395"/>
                <a:gd name="connsiteX11993" fmla="*/ 1237443 w 5719680"/>
                <a:gd name="connsiteY11993" fmla="*/ 3010752 h 5704395"/>
                <a:gd name="connsiteX11994" fmla="*/ 1226009 w 5719680"/>
                <a:gd name="connsiteY11994" fmla="*/ 2995541 h 5704395"/>
                <a:gd name="connsiteX11995" fmla="*/ 1211081 w 5719680"/>
                <a:gd name="connsiteY11995" fmla="*/ 3007266 h 5704395"/>
                <a:gd name="connsiteX11996" fmla="*/ 1182495 w 5719680"/>
                <a:gd name="connsiteY11996" fmla="*/ 2969874 h 5704395"/>
                <a:gd name="connsiteX11997" fmla="*/ 1196470 w 5719680"/>
                <a:gd name="connsiteY11997" fmla="*/ 2960684 h 5704395"/>
                <a:gd name="connsiteX11998" fmla="*/ 1185354 w 5719680"/>
                <a:gd name="connsiteY11998" fmla="*/ 2945156 h 5704395"/>
                <a:gd name="connsiteX11999" fmla="*/ 1170743 w 5719680"/>
                <a:gd name="connsiteY11999" fmla="*/ 2954663 h 5704395"/>
                <a:gd name="connsiteX12000" fmla="*/ 1149780 w 5719680"/>
                <a:gd name="connsiteY12000" fmla="*/ 2924559 h 5704395"/>
                <a:gd name="connsiteX12001" fmla="*/ 1193612 w 5719680"/>
                <a:gd name="connsiteY12001" fmla="*/ 2907447 h 5704395"/>
                <a:gd name="connsiteX12002" fmla="*/ 1186624 w 5719680"/>
                <a:gd name="connsiteY12002" fmla="*/ 2890652 h 5704395"/>
                <a:gd name="connsiteX12003" fmla="*/ 1274287 w 5719680"/>
                <a:gd name="connsiteY12003" fmla="*/ 2866568 h 5704395"/>
                <a:gd name="connsiteX12004" fmla="*/ 1694497 w 5719680"/>
                <a:gd name="connsiteY12004" fmla="*/ 2865301 h 5704395"/>
                <a:gd name="connsiteX12005" fmla="*/ 1741822 w 5719680"/>
                <a:gd name="connsiteY12005" fmla="*/ 2873540 h 5704395"/>
                <a:gd name="connsiteX12006" fmla="*/ 1738010 w 5719680"/>
                <a:gd name="connsiteY12006" fmla="*/ 2895722 h 5704395"/>
                <a:gd name="connsiteX12007" fmla="*/ 1736105 w 5719680"/>
                <a:gd name="connsiteY12007" fmla="*/ 2895405 h 5704395"/>
                <a:gd name="connsiteX12008" fmla="*/ 1690685 w 5719680"/>
                <a:gd name="connsiteY12008" fmla="*/ 2887483 h 5704395"/>
                <a:gd name="connsiteX12009" fmla="*/ 1694497 w 5719680"/>
                <a:gd name="connsiteY12009" fmla="*/ 2865301 h 5704395"/>
                <a:gd name="connsiteX12010" fmla="*/ 2119153 w 5719680"/>
                <a:gd name="connsiteY12010" fmla="*/ 2861181 h 5704395"/>
                <a:gd name="connsiteX12011" fmla="*/ 2101366 w 5719680"/>
                <a:gd name="connsiteY12011" fmla="*/ 2912834 h 5704395"/>
                <a:gd name="connsiteX12012" fmla="*/ 2142974 w 5719680"/>
                <a:gd name="connsiteY12012" fmla="*/ 2922657 h 5704395"/>
                <a:gd name="connsiteX12013" fmla="*/ 2160761 w 5719680"/>
                <a:gd name="connsiteY12013" fmla="*/ 2871005 h 5704395"/>
                <a:gd name="connsiteX12014" fmla="*/ 523436 w 5719680"/>
                <a:gd name="connsiteY12014" fmla="*/ 2860864 h 5704395"/>
                <a:gd name="connsiteX12015" fmla="*/ 493262 w 5719680"/>
                <a:gd name="connsiteY12015" fmla="*/ 2875758 h 5704395"/>
                <a:gd name="connsiteX12016" fmla="*/ 509778 w 5719680"/>
                <a:gd name="connsiteY12016" fmla="*/ 2911566 h 5704395"/>
                <a:gd name="connsiteX12017" fmla="*/ 539635 w 5719680"/>
                <a:gd name="connsiteY12017" fmla="*/ 2896672 h 5704395"/>
                <a:gd name="connsiteX12018" fmla="*/ 539317 w 5719680"/>
                <a:gd name="connsiteY12018" fmla="*/ 2896039 h 5704395"/>
                <a:gd name="connsiteX12019" fmla="*/ 537094 w 5719680"/>
                <a:gd name="connsiteY12019" fmla="*/ 2891919 h 5704395"/>
                <a:gd name="connsiteX12020" fmla="*/ 538047 w 5719680"/>
                <a:gd name="connsiteY12020" fmla="*/ 2891602 h 5704395"/>
                <a:gd name="connsiteX12021" fmla="*/ 523436 w 5719680"/>
                <a:gd name="connsiteY12021" fmla="*/ 2860864 h 5704395"/>
                <a:gd name="connsiteX12022" fmla="*/ 2110577 w 5719680"/>
                <a:gd name="connsiteY12022" fmla="*/ 2859280 h 5704395"/>
                <a:gd name="connsiteX12023" fmla="*/ 2093108 w 5719680"/>
                <a:gd name="connsiteY12023" fmla="*/ 2910932 h 5704395"/>
                <a:gd name="connsiteX12024" fmla="*/ 2097555 w 5719680"/>
                <a:gd name="connsiteY12024" fmla="*/ 2911883 h 5704395"/>
                <a:gd name="connsiteX12025" fmla="*/ 2115024 w 5719680"/>
                <a:gd name="connsiteY12025" fmla="*/ 2860230 h 5704395"/>
                <a:gd name="connsiteX12026" fmla="*/ 1479786 w 5719680"/>
                <a:gd name="connsiteY12026" fmla="*/ 2859280 h 5704395"/>
                <a:gd name="connsiteX12027" fmla="*/ 1442307 w 5719680"/>
                <a:gd name="connsiteY12027" fmla="*/ 2868153 h 5704395"/>
                <a:gd name="connsiteX12028" fmla="*/ 1448024 w 5719680"/>
                <a:gd name="connsiteY12028" fmla="*/ 2892553 h 5704395"/>
                <a:gd name="connsiteX12029" fmla="*/ 1485821 w 5719680"/>
                <a:gd name="connsiteY12029" fmla="*/ 2883680 h 5704395"/>
                <a:gd name="connsiteX12030" fmla="*/ 1835202 w 5719680"/>
                <a:gd name="connsiteY12030" fmla="*/ 2856428 h 5704395"/>
                <a:gd name="connsiteX12031" fmla="*/ 1842507 w 5719680"/>
                <a:gd name="connsiteY12031" fmla="*/ 2879244 h 5704395"/>
                <a:gd name="connsiteX12032" fmla="*/ 1849812 w 5719680"/>
                <a:gd name="connsiteY12032" fmla="*/ 2901109 h 5704395"/>
                <a:gd name="connsiteX12033" fmla="*/ 1909207 w 5719680"/>
                <a:gd name="connsiteY12033" fmla="*/ 2911883 h 5704395"/>
                <a:gd name="connsiteX12034" fmla="*/ 1922229 w 5719680"/>
                <a:gd name="connsiteY12034" fmla="*/ 2875758 h 5704395"/>
                <a:gd name="connsiteX12035" fmla="*/ 1482963 w 5719680"/>
                <a:gd name="connsiteY12035" fmla="*/ 2854527 h 5704395"/>
                <a:gd name="connsiteX12036" fmla="*/ 1490585 w 5719680"/>
                <a:gd name="connsiteY12036" fmla="*/ 2886532 h 5704395"/>
                <a:gd name="connsiteX12037" fmla="*/ 1444848 w 5719680"/>
                <a:gd name="connsiteY12037" fmla="*/ 2897306 h 5704395"/>
                <a:gd name="connsiteX12038" fmla="*/ 1444531 w 5719680"/>
                <a:gd name="connsiteY12038" fmla="*/ 2895405 h 5704395"/>
                <a:gd name="connsiteX12039" fmla="*/ 1437225 w 5719680"/>
                <a:gd name="connsiteY12039" fmla="*/ 2865301 h 5704395"/>
                <a:gd name="connsiteX12040" fmla="*/ 1482963 w 5719680"/>
                <a:gd name="connsiteY12040" fmla="*/ 2854527 h 5704395"/>
                <a:gd name="connsiteX12041" fmla="*/ 1278734 w 5719680"/>
                <a:gd name="connsiteY12041" fmla="*/ 2854209 h 5704395"/>
                <a:gd name="connsiteX12042" fmla="*/ 1190753 w 5719680"/>
                <a:gd name="connsiteY12042" fmla="*/ 2879244 h 5704395"/>
                <a:gd name="connsiteX12043" fmla="*/ 1121195 w 5719680"/>
                <a:gd name="connsiteY12043" fmla="*/ 2915052 h 5704395"/>
                <a:gd name="connsiteX12044" fmla="*/ 1253324 w 5719680"/>
                <a:gd name="connsiteY12044" fmla="*/ 3085538 h 5704395"/>
                <a:gd name="connsiteX12045" fmla="*/ 1249830 w 5719680"/>
                <a:gd name="connsiteY12045" fmla="*/ 3088390 h 5704395"/>
                <a:gd name="connsiteX12046" fmla="*/ 1181860 w 5719680"/>
                <a:gd name="connsiteY12046" fmla="*/ 2999978 h 5704395"/>
                <a:gd name="connsiteX12047" fmla="*/ 1134535 w 5719680"/>
                <a:gd name="connsiteY12047" fmla="*/ 2939135 h 5704395"/>
                <a:gd name="connsiteX12048" fmla="*/ 1118971 w 5719680"/>
                <a:gd name="connsiteY12048" fmla="*/ 2919172 h 5704395"/>
                <a:gd name="connsiteX12049" fmla="*/ 1118018 w 5719680"/>
                <a:gd name="connsiteY12049" fmla="*/ 2918221 h 5704395"/>
                <a:gd name="connsiteX12050" fmla="*/ 1112301 w 5719680"/>
                <a:gd name="connsiteY12050" fmla="*/ 2924875 h 5704395"/>
                <a:gd name="connsiteX12051" fmla="*/ 1092291 w 5719680"/>
                <a:gd name="connsiteY12051" fmla="*/ 2974627 h 5704395"/>
                <a:gd name="connsiteX12052" fmla="*/ 1061800 w 5719680"/>
                <a:gd name="connsiteY12052" fmla="*/ 3101699 h 5704395"/>
                <a:gd name="connsiteX12053" fmla="*/ 1098009 w 5719680"/>
                <a:gd name="connsiteY12053" fmla="*/ 3157471 h 5704395"/>
                <a:gd name="connsiteX12054" fmla="*/ 1120559 w 5719680"/>
                <a:gd name="connsiteY12054" fmla="*/ 3193280 h 5704395"/>
                <a:gd name="connsiteX12055" fmla="*/ 1128182 w 5719680"/>
                <a:gd name="connsiteY12055" fmla="*/ 3204687 h 5704395"/>
                <a:gd name="connsiteX12056" fmla="*/ 1130088 w 5719680"/>
                <a:gd name="connsiteY12056" fmla="*/ 3207856 h 5704395"/>
                <a:gd name="connsiteX12057" fmla="*/ 1130723 w 5719680"/>
                <a:gd name="connsiteY12057" fmla="*/ 3208490 h 5704395"/>
                <a:gd name="connsiteX12058" fmla="*/ 1173919 w 5719680"/>
                <a:gd name="connsiteY12058" fmla="*/ 3138458 h 5704395"/>
                <a:gd name="connsiteX12059" fmla="*/ 1174237 w 5719680"/>
                <a:gd name="connsiteY12059" fmla="*/ 3138458 h 5704395"/>
                <a:gd name="connsiteX12060" fmla="*/ 1352421 w 5719680"/>
                <a:gd name="connsiteY12060" fmla="*/ 3023111 h 5704395"/>
                <a:gd name="connsiteX12061" fmla="*/ 1314625 w 5719680"/>
                <a:gd name="connsiteY12061" fmla="*/ 2940720 h 5704395"/>
                <a:gd name="connsiteX12062" fmla="*/ 1278734 w 5719680"/>
                <a:gd name="connsiteY12062" fmla="*/ 2854209 h 5704395"/>
                <a:gd name="connsiteX12063" fmla="*/ 979854 w 5719680"/>
                <a:gd name="connsiteY12063" fmla="*/ 2853893 h 5704395"/>
                <a:gd name="connsiteX12064" fmla="*/ 926494 w 5719680"/>
                <a:gd name="connsiteY12064" fmla="*/ 2882096 h 5704395"/>
                <a:gd name="connsiteX12065" fmla="*/ 916966 w 5719680"/>
                <a:gd name="connsiteY12065" fmla="*/ 2861498 h 5704395"/>
                <a:gd name="connsiteX12066" fmla="*/ 875993 w 5719680"/>
                <a:gd name="connsiteY12066" fmla="*/ 2883680 h 5704395"/>
                <a:gd name="connsiteX12067" fmla="*/ 1020510 w 5719680"/>
                <a:gd name="connsiteY12067" fmla="*/ 3103600 h 5704395"/>
                <a:gd name="connsiteX12068" fmla="*/ 1028450 w 5719680"/>
                <a:gd name="connsiteY12068" fmla="*/ 3092826 h 5704395"/>
                <a:gd name="connsiteX12069" fmla="*/ 970008 w 5719680"/>
                <a:gd name="connsiteY12069" fmla="*/ 3008217 h 5704395"/>
                <a:gd name="connsiteX12070" fmla="*/ 979537 w 5719680"/>
                <a:gd name="connsiteY12070" fmla="*/ 2993323 h 5704395"/>
                <a:gd name="connsiteX12071" fmla="*/ 942693 w 5719680"/>
                <a:gd name="connsiteY12071" fmla="*/ 2916953 h 5704395"/>
                <a:gd name="connsiteX12072" fmla="*/ 969373 w 5719680"/>
                <a:gd name="connsiteY12072" fmla="*/ 2902693 h 5704395"/>
                <a:gd name="connsiteX12073" fmla="*/ 970326 w 5719680"/>
                <a:gd name="connsiteY12073" fmla="*/ 2904912 h 5704395"/>
                <a:gd name="connsiteX12074" fmla="*/ 992877 w 5719680"/>
                <a:gd name="connsiteY12074" fmla="*/ 2945473 h 5704395"/>
                <a:gd name="connsiteX12075" fmla="*/ 1008440 w 5719680"/>
                <a:gd name="connsiteY12075" fmla="*/ 2973676 h 5704395"/>
                <a:gd name="connsiteX12076" fmla="*/ 1013522 w 5719680"/>
                <a:gd name="connsiteY12076" fmla="*/ 2983183 h 5704395"/>
                <a:gd name="connsiteX12077" fmla="*/ 1015110 w 5719680"/>
                <a:gd name="connsiteY12077" fmla="*/ 2986035 h 5704395"/>
                <a:gd name="connsiteX12078" fmla="*/ 1015428 w 5719680"/>
                <a:gd name="connsiteY12078" fmla="*/ 2986985 h 5704395"/>
                <a:gd name="connsiteX12079" fmla="*/ 1015745 w 5719680"/>
                <a:gd name="connsiteY12079" fmla="*/ 2988253 h 5704395"/>
                <a:gd name="connsiteX12080" fmla="*/ 1007487 w 5719680"/>
                <a:gd name="connsiteY12080" fmla="*/ 3016139 h 5704395"/>
                <a:gd name="connsiteX12081" fmla="*/ 1024321 w 5719680"/>
                <a:gd name="connsiteY12081" fmla="*/ 3043075 h 5704395"/>
                <a:gd name="connsiteX12082" fmla="*/ 1036708 w 5719680"/>
                <a:gd name="connsiteY12082" fmla="*/ 3062088 h 5704395"/>
                <a:gd name="connsiteX12083" fmla="*/ 1040837 w 5719680"/>
                <a:gd name="connsiteY12083" fmla="*/ 3067792 h 5704395"/>
                <a:gd name="connsiteX12084" fmla="*/ 1057353 w 5719680"/>
                <a:gd name="connsiteY12084" fmla="*/ 3001879 h 5704395"/>
                <a:gd name="connsiteX12085" fmla="*/ 1699579 w 5719680"/>
                <a:gd name="connsiteY12085" fmla="*/ 2853576 h 5704395"/>
                <a:gd name="connsiteX12086" fmla="*/ 1673534 w 5719680"/>
                <a:gd name="connsiteY12086" fmla="*/ 2877025 h 5704395"/>
                <a:gd name="connsiteX12087" fmla="*/ 1685603 w 5719680"/>
                <a:gd name="connsiteY12087" fmla="*/ 2894137 h 5704395"/>
                <a:gd name="connsiteX12088" fmla="*/ 1756115 w 5719680"/>
                <a:gd name="connsiteY12088" fmla="*/ 2907447 h 5704395"/>
                <a:gd name="connsiteX12089" fmla="*/ 1839966 w 5719680"/>
                <a:gd name="connsiteY12089" fmla="*/ 2922974 h 5704395"/>
                <a:gd name="connsiteX12090" fmla="*/ 1839966 w 5719680"/>
                <a:gd name="connsiteY12090" fmla="*/ 2923291 h 5704395"/>
                <a:gd name="connsiteX12091" fmla="*/ 1846001 w 5719680"/>
                <a:gd name="connsiteY12091" fmla="*/ 2903010 h 5704395"/>
                <a:gd name="connsiteX12092" fmla="*/ 1838060 w 5719680"/>
                <a:gd name="connsiteY12092" fmla="*/ 2880511 h 5704395"/>
                <a:gd name="connsiteX12093" fmla="*/ 1836790 w 5719680"/>
                <a:gd name="connsiteY12093" fmla="*/ 2876709 h 5704395"/>
                <a:gd name="connsiteX12094" fmla="*/ 1763738 w 5719680"/>
                <a:gd name="connsiteY12094" fmla="*/ 2864350 h 5704395"/>
                <a:gd name="connsiteX12095" fmla="*/ 1699579 w 5719680"/>
                <a:gd name="connsiteY12095" fmla="*/ 2853576 h 5704395"/>
                <a:gd name="connsiteX12096" fmla="*/ 2421844 w 5719680"/>
                <a:gd name="connsiteY12096" fmla="*/ 2852942 h 5704395"/>
                <a:gd name="connsiteX12097" fmla="*/ 2385953 w 5719680"/>
                <a:gd name="connsiteY12097" fmla="*/ 2923291 h 5704395"/>
                <a:gd name="connsiteX12098" fmla="*/ 2551750 w 5719680"/>
                <a:gd name="connsiteY12098" fmla="*/ 3034836 h 5704395"/>
                <a:gd name="connsiteX12099" fmla="*/ 2596852 w 5719680"/>
                <a:gd name="connsiteY12099" fmla="*/ 2965754 h 5704395"/>
                <a:gd name="connsiteX12100" fmla="*/ 2421844 w 5719680"/>
                <a:gd name="connsiteY12100" fmla="*/ 2852942 h 5704395"/>
                <a:gd name="connsiteX12101" fmla="*/ 475793 w 5719680"/>
                <a:gd name="connsiteY12101" fmla="*/ 2850724 h 5704395"/>
                <a:gd name="connsiteX12102" fmla="*/ 441808 w 5719680"/>
                <a:gd name="connsiteY12102" fmla="*/ 2871955 h 5704395"/>
                <a:gd name="connsiteX12103" fmla="*/ 453242 w 5719680"/>
                <a:gd name="connsiteY12103" fmla="*/ 2896039 h 5704395"/>
                <a:gd name="connsiteX12104" fmla="*/ 486910 w 5719680"/>
                <a:gd name="connsiteY12104" fmla="*/ 2879877 h 5704395"/>
                <a:gd name="connsiteX12105" fmla="*/ 487863 w 5719680"/>
                <a:gd name="connsiteY12105" fmla="*/ 2879244 h 5704395"/>
                <a:gd name="connsiteX12106" fmla="*/ 486275 w 5719680"/>
                <a:gd name="connsiteY12106" fmla="*/ 2874490 h 5704395"/>
                <a:gd name="connsiteX12107" fmla="*/ 486592 w 5719680"/>
                <a:gd name="connsiteY12107" fmla="*/ 2874173 h 5704395"/>
                <a:gd name="connsiteX12108" fmla="*/ 194065 w 5719680"/>
                <a:gd name="connsiteY12108" fmla="*/ 2850724 h 5704395"/>
                <a:gd name="connsiteX12109" fmla="*/ 193430 w 5719680"/>
                <a:gd name="connsiteY12109" fmla="*/ 2852942 h 5704395"/>
                <a:gd name="connsiteX12110" fmla="*/ 169926 w 5719680"/>
                <a:gd name="connsiteY12110" fmla="*/ 2938185 h 5704395"/>
                <a:gd name="connsiteX12111" fmla="*/ 203594 w 5719680"/>
                <a:gd name="connsiteY12111" fmla="*/ 2947692 h 5704395"/>
                <a:gd name="connsiteX12112" fmla="*/ 233450 w 5719680"/>
                <a:gd name="connsiteY12112" fmla="*/ 2941671 h 5704395"/>
                <a:gd name="connsiteX12113" fmla="*/ 255366 w 5719680"/>
                <a:gd name="connsiteY12113" fmla="*/ 2939452 h 5704395"/>
                <a:gd name="connsiteX12114" fmla="*/ 262671 w 5719680"/>
                <a:gd name="connsiteY12114" fmla="*/ 2939769 h 5704395"/>
                <a:gd name="connsiteX12115" fmla="*/ 262989 w 5719680"/>
                <a:gd name="connsiteY12115" fmla="*/ 2939769 h 5704395"/>
                <a:gd name="connsiteX12116" fmla="*/ 275376 w 5719680"/>
                <a:gd name="connsiteY12116" fmla="*/ 2928045 h 5704395"/>
                <a:gd name="connsiteX12117" fmla="*/ 194065 w 5719680"/>
                <a:gd name="connsiteY12117" fmla="*/ 2850724 h 5704395"/>
                <a:gd name="connsiteX12118" fmla="*/ 165162 w 5719680"/>
                <a:gd name="connsiteY12118" fmla="*/ 2850407 h 5704395"/>
                <a:gd name="connsiteX12119" fmla="*/ 120695 w 5719680"/>
                <a:gd name="connsiteY12119" fmla="*/ 2870688 h 5704395"/>
                <a:gd name="connsiteX12120" fmla="*/ 107038 w 5719680"/>
                <a:gd name="connsiteY12120" fmla="*/ 2906813 h 5704395"/>
                <a:gd name="connsiteX12121" fmla="*/ 139435 w 5719680"/>
                <a:gd name="connsiteY12121" fmla="*/ 2914418 h 5704395"/>
                <a:gd name="connsiteX12122" fmla="*/ 150234 w 5719680"/>
                <a:gd name="connsiteY12122" fmla="*/ 2880828 h 5704395"/>
                <a:gd name="connsiteX12123" fmla="*/ 151187 w 5719680"/>
                <a:gd name="connsiteY12123" fmla="*/ 2877025 h 5704395"/>
                <a:gd name="connsiteX12124" fmla="*/ 155316 w 5719680"/>
                <a:gd name="connsiteY12124" fmla="*/ 2877659 h 5704395"/>
                <a:gd name="connsiteX12125" fmla="*/ 168973 w 5719680"/>
                <a:gd name="connsiteY12125" fmla="*/ 2880828 h 5704395"/>
                <a:gd name="connsiteX12126" fmla="*/ 175008 w 5719680"/>
                <a:gd name="connsiteY12126" fmla="*/ 2859280 h 5704395"/>
                <a:gd name="connsiteX12127" fmla="*/ 165162 w 5719680"/>
                <a:gd name="connsiteY12127" fmla="*/ 2850407 h 5704395"/>
                <a:gd name="connsiteX12128" fmla="*/ 982078 w 5719680"/>
                <a:gd name="connsiteY12128" fmla="*/ 2847555 h 5704395"/>
                <a:gd name="connsiteX12129" fmla="*/ 1062435 w 5719680"/>
                <a:gd name="connsiteY12129" fmla="*/ 3001245 h 5704395"/>
                <a:gd name="connsiteX12130" fmla="*/ 1062118 w 5719680"/>
                <a:gd name="connsiteY12130" fmla="*/ 3001879 h 5704395"/>
                <a:gd name="connsiteX12131" fmla="*/ 1043378 w 5719680"/>
                <a:gd name="connsiteY12131" fmla="*/ 3073179 h 5704395"/>
                <a:gd name="connsiteX12132" fmla="*/ 1041155 w 5719680"/>
                <a:gd name="connsiteY12132" fmla="*/ 3074447 h 5704395"/>
                <a:gd name="connsiteX12133" fmla="*/ 1039567 w 5719680"/>
                <a:gd name="connsiteY12133" fmla="*/ 3073813 h 5704395"/>
                <a:gd name="connsiteX12134" fmla="*/ 1019557 w 5719680"/>
                <a:gd name="connsiteY12134" fmla="*/ 3044342 h 5704395"/>
                <a:gd name="connsiteX12135" fmla="*/ 1002723 w 5719680"/>
                <a:gd name="connsiteY12135" fmla="*/ 3017724 h 5704395"/>
                <a:gd name="connsiteX12136" fmla="*/ 1002088 w 5719680"/>
                <a:gd name="connsiteY12136" fmla="*/ 3016456 h 5704395"/>
                <a:gd name="connsiteX12137" fmla="*/ 1002723 w 5719680"/>
                <a:gd name="connsiteY12137" fmla="*/ 3015506 h 5704395"/>
                <a:gd name="connsiteX12138" fmla="*/ 1011299 w 5719680"/>
                <a:gd name="connsiteY12138" fmla="*/ 2988570 h 5704395"/>
                <a:gd name="connsiteX12139" fmla="*/ 988430 w 5719680"/>
                <a:gd name="connsiteY12139" fmla="*/ 2946741 h 5704395"/>
                <a:gd name="connsiteX12140" fmla="*/ 967467 w 5719680"/>
                <a:gd name="connsiteY12140" fmla="*/ 2909031 h 5704395"/>
                <a:gd name="connsiteX12141" fmla="*/ 949045 w 5719680"/>
                <a:gd name="connsiteY12141" fmla="*/ 2919172 h 5704395"/>
                <a:gd name="connsiteX12142" fmla="*/ 984936 w 5719680"/>
                <a:gd name="connsiteY12142" fmla="*/ 2993640 h 5704395"/>
                <a:gd name="connsiteX12143" fmla="*/ 975408 w 5719680"/>
                <a:gd name="connsiteY12143" fmla="*/ 3008217 h 5704395"/>
                <a:gd name="connsiteX12144" fmla="*/ 1034167 w 5719680"/>
                <a:gd name="connsiteY12144" fmla="*/ 3093143 h 5704395"/>
                <a:gd name="connsiteX12145" fmla="*/ 1020510 w 5719680"/>
                <a:gd name="connsiteY12145" fmla="*/ 3111839 h 5704395"/>
                <a:gd name="connsiteX12146" fmla="*/ 869005 w 5719680"/>
                <a:gd name="connsiteY12146" fmla="*/ 2881779 h 5704395"/>
                <a:gd name="connsiteX12147" fmla="*/ 918872 w 5719680"/>
                <a:gd name="connsiteY12147" fmla="*/ 2855160 h 5704395"/>
                <a:gd name="connsiteX12148" fmla="*/ 928718 w 5719680"/>
                <a:gd name="connsiteY12148" fmla="*/ 2875758 h 5704395"/>
                <a:gd name="connsiteX12149" fmla="*/ 982078 w 5719680"/>
                <a:gd name="connsiteY12149" fmla="*/ 2847555 h 5704395"/>
                <a:gd name="connsiteX12150" fmla="*/ 656201 w 5719680"/>
                <a:gd name="connsiteY12150" fmla="*/ 2847238 h 5704395"/>
                <a:gd name="connsiteX12151" fmla="*/ 625709 w 5719680"/>
                <a:gd name="connsiteY12151" fmla="*/ 2863082 h 5704395"/>
                <a:gd name="connsiteX12152" fmla="*/ 625392 w 5719680"/>
                <a:gd name="connsiteY12152" fmla="*/ 2863399 h 5704395"/>
                <a:gd name="connsiteX12153" fmla="*/ 630791 w 5719680"/>
                <a:gd name="connsiteY12153" fmla="*/ 2875441 h 5704395"/>
                <a:gd name="connsiteX12154" fmla="*/ 632379 w 5719680"/>
                <a:gd name="connsiteY12154" fmla="*/ 2878293 h 5704395"/>
                <a:gd name="connsiteX12155" fmla="*/ 663188 w 5719680"/>
                <a:gd name="connsiteY12155" fmla="*/ 2861815 h 5704395"/>
                <a:gd name="connsiteX12156" fmla="*/ 656201 w 5719680"/>
                <a:gd name="connsiteY12156" fmla="*/ 2847238 h 5704395"/>
                <a:gd name="connsiteX12157" fmla="*/ 258860 w 5719680"/>
                <a:gd name="connsiteY12157" fmla="*/ 2847238 h 5704395"/>
                <a:gd name="connsiteX12158" fmla="*/ 234403 w 5719680"/>
                <a:gd name="connsiteY12158" fmla="*/ 2864350 h 5704395"/>
                <a:gd name="connsiteX12159" fmla="*/ 278870 w 5719680"/>
                <a:gd name="connsiteY12159" fmla="*/ 2907447 h 5704395"/>
                <a:gd name="connsiteX12160" fmla="*/ 320795 w 5719680"/>
                <a:gd name="connsiteY12160" fmla="*/ 2867836 h 5704395"/>
                <a:gd name="connsiteX12161" fmla="*/ 306185 w 5719680"/>
                <a:gd name="connsiteY12161" fmla="*/ 2848822 h 5704395"/>
                <a:gd name="connsiteX12162" fmla="*/ 285540 w 5719680"/>
                <a:gd name="connsiteY12162" fmla="*/ 2866568 h 5704395"/>
                <a:gd name="connsiteX12163" fmla="*/ 282681 w 5719680"/>
                <a:gd name="connsiteY12163" fmla="*/ 2869103 h 5704395"/>
                <a:gd name="connsiteX12164" fmla="*/ 279822 w 5719680"/>
                <a:gd name="connsiteY12164" fmla="*/ 2866251 h 5704395"/>
                <a:gd name="connsiteX12165" fmla="*/ 165797 w 5719680"/>
                <a:gd name="connsiteY12165" fmla="*/ 2845337 h 5704395"/>
                <a:gd name="connsiteX12166" fmla="*/ 179773 w 5719680"/>
                <a:gd name="connsiteY12166" fmla="*/ 2858012 h 5704395"/>
                <a:gd name="connsiteX12167" fmla="*/ 171832 w 5719680"/>
                <a:gd name="connsiteY12167" fmla="*/ 2885898 h 5704395"/>
                <a:gd name="connsiteX12168" fmla="*/ 154363 w 5719680"/>
                <a:gd name="connsiteY12168" fmla="*/ 2882096 h 5704395"/>
                <a:gd name="connsiteX12169" fmla="*/ 142611 w 5719680"/>
                <a:gd name="connsiteY12169" fmla="*/ 2919488 h 5704395"/>
                <a:gd name="connsiteX12170" fmla="*/ 101321 w 5719680"/>
                <a:gd name="connsiteY12170" fmla="*/ 2909982 h 5704395"/>
                <a:gd name="connsiteX12171" fmla="*/ 117202 w 5719680"/>
                <a:gd name="connsiteY12171" fmla="*/ 2867202 h 5704395"/>
                <a:gd name="connsiteX12172" fmla="*/ 165797 w 5719680"/>
                <a:gd name="connsiteY12172" fmla="*/ 2845337 h 5704395"/>
                <a:gd name="connsiteX12173" fmla="*/ 2282091 w 5719680"/>
                <a:gd name="connsiteY12173" fmla="*/ 2843118 h 5704395"/>
                <a:gd name="connsiteX12174" fmla="*/ 2266210 w 5719680"/>
                <a:gd name="connsiteY12174" fmla="*/ 2892870 h 5704395"/>
                <a:gd name="connsiteX12175" fmla="*/ 2306866 w 5719680"/>
                <a:gd name="connsiteY12175" fmla="*/ 2912834 h 5704395"/>
                <a:gd name="connsiteX12176" fmla="*/ 2330687 w 5719680"/>
                <a:gd name="connsiteY12176" fmla="*/ 2866251 h 5704395"/>
                <a:gd name="connsiteX12177" fmla="*/ 2329416 w 5719680"/>
                <a:gd name="connsiteY12177" fmla="*/ 2865617 h 5704395"/>
                <a:gd name="connsiteX12178" fmla="*/ 2290667 w 5719680"/>
                <a:gd name="connsiteY12178" fmla="*/ 2846921 h 5704395"/>
                <a:gd name="connsiteX12179" fmla="*/ 2282091 w 5719680"/>
                <a:gd name="connsiteY12179" fmla="*/ 2843118 h 5704395"/>
                <a:gd name="connsiteX12180" fmla="*/ 1985435 w 5719680"/>
                <a:gd name="connsiteY12180" fmla="*/ 2843118 h 5704395"/>
                <a:gd name="connsiteX12181" fmla="*/ 1971460 w 5719680"/>
                <a:gd name="connsiteY12181" fmla="*/ 2882412 h 5704395"/>
                <a:gd name="connsiteX12182" fmla="*/ 1993058 w 5719680"/>
                <a:gd name="connsiteY12182" fmla="*/ 2887166 h 5704395"/>
                <a:gd name="connsiteX12183" fmla="*/ 2007351 w 5719680"/>
                <a:gd name="connsiteY12183" fmla="*/ 2846921 h 5704395"/>
                <a:gd name="connsiteX12184" fmla="*/ 1985435 w 5719680"/>
                <a:gd name="connsiteY12184" fmla="*/ 2843118 h 5704395"/>
                <a:gd name="connsiteX12185" fmla="*/ 259495 w 5719680"/>
                <a:gd name="connsiteY12185" fmla="*/ 2841534 h 5704395"/>
                <a:gd name="connsiteX12186" fmla="*/ 282681 w 5719680"/>
                <a:gd name="connsiteY12186" fmla="*/ 2863082 h 5704395"/>
                <a:gd name="connsiteX12187" fmla="*/ 306820 w 5719680"/>
                <a:gd name="connsiteY12187" fmla="*/ 2842485 h 5704395"/>
                <a:gd name="connsiteX12188" fmla="*/ 326830 w 5719680"/>
                <a:gd name="connsiteY12188" fmla="*/ 2868153 h 5704395"/>
                <a:gd name="connsiteX12189" fmla="*/ 278870 w 5719680"/>
                <a:gd name="connsiteY12189" fmla="*/ 2913467 h 5704395"/>
                <a:gd name="connsiteX12190" fmla="*/ 227415 w 5719680"/>
                <a:gd name="connsiteY12190" fmla="*/ 2863716 h 5704395"/>
                <a:gd name="connsiteX12191" fmla="*/ 259495 w 5719680"/>
                <a:gd name="connsiteY12191" fmla="*/ 2841534 h 5704395"/>
                <a:gd name="connsiteX12192" fmla="*/ 555833 w 5719680"/>
                <a:gd name="connsiteY12192" fmla="*/ 2839633 h 5704395"/>
                <a:gd name="connsiteX12193" fmla="*/ 526295 w 5719680"/>
                <a:gd name="connsiteY12193" fmla="*/ 2853576 h 5704395"/>
                <a:gd name="connsiteX12194" fmla="*/ 526612 w 5719680"/>
                <a:gd name="connsiteY12194" fmla="*/ 2853893 h 5704395"/>
                <a:gd name="connsiteX12195" fmla="*/ 528836 w 5719680"/>
                <a:gd name="connsiteY12195" fmla="*/ 2858012 h 5704395"/>
                <a:gd name="connsiteX12196" fmla="*/ 528200 w 5719680"/>
                <a:gd name="connsiteY12196" fmla="*/ 2858329 h 5704395"/>
                <a:gd name="connsiteX12197" fmla="*/ 542811 w 5719680"/>
                <a:gd name="connsiteY12197" fmla="*/ 2889384 h 5704395"/>
                <a:gd name="connsiteX12198" fmla="*/ 576796 w 5719680"/>
                <a:gd name="connsiteY12198" fmla="*/ 2873540 h 5704395"/>
                <a:gd name="connsiteX12199" fmla="*/ 572349 w 5719680"/>
                <a:gd name="connsiteY12199" fmla="*/ 2864350 h 5704395"/>
                <a:gd name="connsiteX12200" fmla="*/ 564727 w 5719680"/>
                <a:gd name="connsiteY12200" fmla="*/ 2849773 h 5704395"/>
                <a:gd name="connsiteX12201" fmla="*/ 562503 w 5719680"/>
                <a:gd name="connsiteY12201" fmla="*/ 2850724 h 5704395"/>
                <a:gd name="connsiteX12202" fmla="*/ 560597 w 5719680"/>
                <a:gd name="connsiteY12202" fmla="*/ 2847238 h 5704395"/>
                <a:gd name="connsiteX12203" fmla="*/ 555833 w 5719680"/>
                <a:gd name="connsiteY12203" fmla="*/ 2839633 h 5704395"/>
                <a:gd name="connsiteX12204" fmla="*/ 1358456 w 5719680"/>
                <a:gd name="connsiteY12204" fmla="*/ 2836464 h 5704395"/>
                <a:gd name="connsiteX12205" fmla="*/ 1358138 w 5719680"/>
                <a:gd name="connsiteY12205" fmla="*/ 2875124 h 5704395"/>
                <a:gd name="connsiteX12206" fmla="*/ 1382913 w 5719680"/>
                <a:gd name="connsiteY12206" fmla="*/ 2875441 h 5704395"/>
                <a:gd name="connsiteX12207" fmla="*/ 1383230 w 5719680"/>
                <a:gd name="connsiteY12207" fmla="*/ 2836464 h 5704395"/>
                <a:gd name="connsiteX12208" fmla="*/ 1358456 w 5719680"/>
                <a:gd name="connsiteY12208" fmla="*/ 2836464 h 5704395"/>
                <a:gd name="connsiteX12209" fmla="*/ 2400881 w 5719680"/>
                <a:gd name="connsiteY12209" fmla="*/ 2835196 h 5704395"/>
                <a:gd name="connsiteX12210" fmla="*/ 2376106 w 5719680"/>
                <a:gd name="connsiteY12210" fmla="*/ 2883680 h 5704395"/>
                <a:gd name="connsiteX12211" fmla="*/ 2381506 w 5719680"/>
                <a:gd name="connsiteY12211" fmla="*/ 2886215 h 5704395"/>
                <a:gd name="connsiteX12212" fmla="*/ 2405963 w 5719680"/>
                <a:gd name="connsiteY12212" fmla="*/ 2837731 h 5704395"/>
                <a:gd name="connsiteX12213" fmla="*/ 2400881 w 5719680"/>
                <a:gd name="connsiteY12213" fmla="*/ 2835196 h 5704395"/>
                <a:gd name="connsiteX12214" fmla="*/ 1941286 w 5719680"/>
                <a:gd name="connsiteY12214" fmla="*/ 2835196 h 5704395"/>
                <a:gd name="connsiteX12215" fmla="*/ 1927946 w 5719680"/>
                <a:gd name="connsiteY12215" fmla="*/ 2872589 h 5704395"/>
                <a:gd name="connsiteX12216" fmla="*/ 1967331 w 5719680"/>
                <a:gd name="connsiteY12216" fmla="*/ 2881462 h 5704395"/>
                <a:gd name="connsiteX12217" fmla="*/ 1981306 w 5719680"/>
                <a:gd name="connsiteY12217" fmla="*/ 2842168 h 5704395"/>
                <a:gd name="connsiteX12218" fmla="*/ 1941286 w 5719680"/>
                <a:gd name="connsiteY12218" fmla="*/ 2835196 h 5704395"/>
                <a:gd name="connsiteX12219" fmla="*/ 1354327 w 5719680"/>
                <a:gd name="connsiteY12219" fmla="*/ 2832344 h 5704395"/>
                <a:gd name="connsiteX12220" fmla="*/ 1387359 w 5719680"/>
                <a:gd name="connsiteY12220" fmla="*/ 2832661 h 5704395"/>
                <a:gd name="connsiteX12221" fmla="*/ 1387042 w 5719680"/>
                <a:gd name="connsiteY12221" fmla="*/ 2879560 h 5704395"/>
                <a:gd name="connsiteX12222" fmla="*/ 1385136 w 5719680"/>
                <a:gd name="connsiteY12222" fmla="*/ 2879244 h 5704395"/>
                <a:gd name="connsiteX12223" fmla="*/ 1354009 w 5719680"/>
                <a:gd name="connsiteY12223" fmla="*/ 2879244 h 5704395"/>
                <a:gd name="connsiteX12224" fmla="*/ 1730705 w 5719680"/>
                <a:gd name="connsiteY12224" fmla="*/ 2832027 h 5704395"/>
                <a:gd name="connsiteX12225" fmla="*/ 1728164 w 5719680"/>
                <a:gd name="connsiteY12225" fmla="*/ 2846287 h 5704395"/>
                <a:gd name="connsiteX12226" fmla="*/ 1767231 w 5719680"/>
                <a:gd name="connsiteY12226" fmla="*/ 2853259 h 5704395"/>
                <a:gd name="connsiteX12227" fmla="*/ 1769772 w 5719680"/>
                <a:gd name="connsiteY12227" fmla="*/ 2838999 h 5704395"/>
                <a:gd name="connsiteX12228" fmla="*/ 1730705 w 5719680"/>
                <a:gd name="connsiteY12228" fmla="*/ 2832027 h 5704395"/>
                <a:gd name="connsiteX12229" fmla="*/ 2956078 w 5719680"/>
                <a:gd name="connsiteY12229" fmla="*/ 2831077 h 5704395"/>
                <a:gd name="connsiteX12230" fmla="*/ 2571442 w 5719680"/>
                <a:gd name="connsiteY12230" fmla="*/ 3618543 h 5704395"/>
                <a:gd name="connsiteX12231" fmla="*/ 2994193 w 5719680"/>
                <a:gd name="connsiteY12231" fmla="*/ 3833710 h 5704395"/>
                <a:gd name="connsiteX12232" fmla="*/ 3372477 w 5719680"/>
                <a:gd name="connsiteY12232" fmla="*/ 3034202 h 5704395"/>
                <a:gd name="connsiteX12233" fmla="*/ 3301330 w 5719680"/>
                <a:gd name="connsiteY12233" fmla="*/ 3001245 h 5704395"/>
                <a:gd name="connsiteX12234" fmla="*/ 3183176 w 5719680"/>
                <a:gd name="connsiteY12234" fmla="*/ 2948008 h 5704395"/>
                <a:gd name="connsiteX12235" fmla="*/ 2956078 w 5719680"/>
                <a:gd name="connsiteY12235" fmla="*/ 2831077 h 5704395"/>
                <a:gd name="connsiteX12236" fmla="*/ 604111 w 5719680"/>
                <a:gd name="connsiteY12236" fmla="*/ 2830760 h 5704395"/>
                <a:gd name="connsiteX12237" fmla="*/ 570126 w 5719680"/>
                <a:gd name="connsiteY12237" fmla="*/ 2847238 h 5704395"/>
                <a:gd name="connsiteX12238" fmla="*/ 581560 w 5719680"/>
                <a:gd name="connsiteY12238" fmla="*/ 2871321 h 5704395"/>
                <a:gd name="connsiteX12239" fmla="*/ 582513 w 5719680"/>
                <a:gd name="connsiteY12239" fmla="*/ 2870688 h 5704395"/>
                <a:gd name="connsiteX12240" fmla="*/ 584736 w 5719680"/>
                <a:gd name="connsiteY12240" fmla="*/ 2874173 h 5704395"/>
                <a:gd name="connsiteX12241" fmla="*/ 589183 w 5719680"/>
                <a:gd name="connsiteY12241" fmla="*/ 2881779 h 5704395"/>
                <a:gd name="connsiteX12242" fmla="*/ 620945 w 5719680"/>
                <a:gd name="connsiteY12242" fmla="*/ 2866568 h 5704395"/>
                <a:gd name="connsiteX12243" fmla="*/ 619357 w 5719680"/>
                <a:gd name="connsiteY12243" fmla="*/ 2863082 h 5704395"/>
                <a:gd name="connsiteX12244" fmla="*/ 618722 w 5719680"/>
                <a:gd name="connsiteY12244" fmla="*/ 2861498 h 5704395"/>
                <a:gd name="connsiteX12245" fmla="*/ 604111 w 5719680"/>
                <a:gd name="connsiteY12245" fmla="*/ 2830760 h 5704395"/>
                <a:gd name="connsiteX12246" fmla="*/ 172785 w 5719680"/>
                <a:gd name="connsiteY12246" fmla="*/ 2830443 h 5704395"/>
                <a:gd name="connsiteX12247" fmla="*/ 109896 w 5719680"/>
                <a:gd name="connsiteY12247" fmla="*/ 2860864 h 5704395"/>
                <a:gd name="connsiteX12248" fmla="*/ 81946 w 5719680"/>
                <a:gd name="connsiteY12248" fmla="*/ 2928045 h 5704395"/>
                <a:gd name="connsiteX12249" fmla="*/ 108308 w 5719680"/>
                <a:gd name="connsiteY12249" fmla="*/ 2922023 h 5704395"/>
                <a:gd name="connsiteX12250" fmla="*/ 110532 w 5719680"/>
                <a:gd name="connsiteY12250" fmla="*/ 2922023 h 5704395"/>
                <a:gd name="connsiteX12251" fmla="*/ 165162 w 5719680"/>
                <a:gd name="connsiteY12251" fmla="*/ 2936600 h 5704395"/>
                <a:gd name="connsiteX12252" fmla="*/ 175643 w 5719680"/>
                <a:gd name="connsiteY12252" fmla="*/ 2898891 h 5704395"/>
                <a:gd name="connsiteX12253" fmla="*/ 185172 w 5719680"/>
                <a:gd name="connsiteY12253" fmla="*/ 2863399 h 5704395"/>
                <a:gd name="connsiteX12254" fmla="*/ 188348 w 5719680"/>
                <a:gd name="connsiteY12254" fmla="*/ 2851674 h 5704395"/>
                <a:gd name="connsiteX12255" fmla="*/ 189301 w 5719680"/>
                <a:gd name="connsiteY12255" fmla="*/ 2848189 h 5704395"/>
                <a:gd name="connsiteX12256" fmla="*/ 189301 w 5719680"/>
                <a:gd name="connsiteY12256" fmla="*/ 2847238 h 5704395"/>
                <a:gd name="connsiteX12257" fmla="*/ 189619 w 5719680"/>
                <a:gd name="connsiteY12257" fmla="*/ 2847238 h 5704395"/>
                <a:gd name="connsiteX12258" fmla="*/ 190572 w 5719680"/>
                <a:gd name="connsiteY12258" fmla="*/ 2847238 h 5704395"/>
                <a:gd name="connsiteX12259" fmla="*/ 172785 w 5719680"/>
                <a:gd name="connsiteY12259" fmla="*/ 2830443 h 5704395"/>
                <a:gd name="connsiteX12260" fmla="*/ 509143 w 5719680"/>
                <a:gd name="connsiteY12260" fmla="*/ 2830126 h 5704395"/>
                <a:gd name="connsiteX12261" fmla="*/ 480240 w 5719680"/>
                <a:gd name="connsiteY12261" fmla="*/ 2848189 h 5704395"/>
                <a:gd name="connsiteX12262" fmla="*/ 491357 w 5719680"/>
                <a:gd name="connsiteY12262" fmla="*/ 2871955 h 5704395"/>
                <a:gd name="connsiteX12263" fmla="*/ 521530 w 5719680"/>
                <a:gd name="connsiteY12263" fmla="*/ 2856745 h 5704395"/>
                <a:gd name="connsiteX12264" fmla="*/ 509778 w 5719680"/>
                <a:gd name="connsiteY12264" fmla="*/ 2831394 h 5704395"/>
                <a:gd name="connsiteX12265" fmla="*/ 509143 w 5719680"/>
                <a:gd name="connsiteY12265" fmla="*/ 2830126 h 5704395"/>
                <a:gd name="connsiteX12266" fmla="*/ 684469 w 5719680"/>
                <a:gd name="connsiteY12266" fmla="*/ 2828542 h 5704395"/>
                <a:gd name="connsiteX12267" fmla="*/ 659059 w 5719680"/>
                <a:gd name="connsiteY12267" fmla="*/ 2841217 h 5704395"/>
                <a:gd name="connsiteX12268" fmla="*/ 667635 w 5719680"/>
                <a:gd name="connsiteY12268" fmla="*/ 2859280 h 5704395"/>
                <a:gd name="connsiteX12269" fmla="*/ 687010 w 5719680"/>
                <a:gd name="connsiteY12269" fmla="*/ 2849140 h 5704395"/>
                <a:gd name="connsiteX12270" fmla="*/ 686692 w 5719680"/>
                <a:gd name="connsiteY12270" fmla="*/ 2848822 h 5704395"/>
                <a:gd name="connsiteX12271" fmla="*/ 692409 w 5719680"/>
                <a:gd name="connsiteY12271" fmla="*/ 2846287 h 5704395"/>
                <a:gd name="connsiteX12272" fmla="*/ 684469 w 5719680"/>
                <a:gd name="connsiteY12272" fmla="*/ 2828542 h 5704395"/>
                <a:gd name="connsiteX12273" fmla="*/ 1727211 w 5719680"/>
                <a:gd name="connsiteY12273" fmla="*/ 2827274 h 5704395"/>
                <a:gd name="connsiteX12274" fmla="*/ 1774537 w 5719680"/>
                <a:gd name="connsiteY12274" fmla="*/ 2835513 h 5704395"/>
                <a:gd name="connsiteX12275" fmla="*/ 1770725 w 5719680"/>
                <a:gd name="connsiteY12275" fmla="*/ 2857695 h 5704395"/>
                <a:gd name="connsiteX12276" fmla="*/ 1768502 w 5719680"/>
                <a:gd name="connsiteY12276" fmla="*/ 2857378 h 5704395"/>
                <a:gd name="connsiteX12277" fmla="*/ 1723400 w 5719680"/>
                <a:gd name="connsiteY12277" fmla="*/ 2849456 h 5704395"/>
                <a:gd name="connsiteX12278" fmla="*/ 1727211 w 5719680"/>
                <a:gd name="connsiteY12278" fmla="*/ 2827274 h 5704395"/>
                <a:gd name="connsiteX12279" fmla="*/ 2181724 w 5719680"/>
                <a:gd name="connsiteY12279" fmla="*/ 2822204 h 5704395"/>
                <a:gd name="connsiteX12280" fmla="*/ 2166160 w 5719680"/>
                <a:gd name="connsiteY12280" fmla="*/ 2867519 h 5704395"/>
                <a:gd name="connsiteX12281" fmla="*/ 2246518 w 5719680"/>
                <a:gd name="connsiteY12281" fmla="*/ 2886215 h 5704395"/>
                <a:gd name="connsiteX12282" fmla="*/ 2262081 w 5719680"/>
                <a:gd name="connsiteY12282" fmla="*/ 2837414 h 5704395"/>
                <a:gd name="connsiteX12283" fmla="*/ 2181724 w 5719680"/>
                <a:gd name="connsiteY12283" fmla="*/ 2822204 h 5704395"/>
                <a:gd name="connsiteX12284" fmla="*/ 1728482 w 5719680"/>
                <a:gd name="connsiteY12284" fmla="*/ 2818401 h 5704395"/>
                <a:gd name="connsiteX12285" fmla="*/ 1719589 w 5719680"/>
                <a:gd name="connsiteY12285" fmla="*/ 2832027 h 5704395"/>
                <a:gd name="connsiteX12286" fmla="*/ 1703072 w 5719680"/>
                <a:gd name="connsiteY12286" fmla="*/ 2849773 h 5704395"/>
                <a:gd name="connsiteX12287" fmla="*/ 1764690 w 5719680"/>
                <a:gd name="connsiteY12287" fmla="*/ 2860230 h 5704395"/>
                <a:gd name="connsiteX12288" fmla="*/ 1835519 w 5719680"/>
                <a:gd name="connsiteY12288" fmla="*/ 2872272 h 5704395"/>
                <a:gd name="connsiteX12289" fmla="*/ 1830120 w 5719680"/>
                <a:gd name="connsiteY12289" fmla="*/ 2852942 h 5704395"/>
                <a:gd name="connsiteX12290" fmla="*/ 1830120 w 5719680"/>
                <a:gd name="connsiteY12290" fmla="*/ 2851991 h 5704395"/>
                <a:gd name="connsiteX12291" fmla="*/ 1830755 w 5719680"/>
                <a:gd name="connsiteY12291" fmla="*/ 2851041 h 5704395"/>
                <a:gd name="connsiteX12292" fmla="*/ 1835202 w 5719680"/>
                <a:gd name="connsiteY12292" fmla="*/ 2836147 h 5704395"/>
                <a:gd name="connsiteX12293" fmla="*/ 1780254 w 5719680"/>
                <a:gd name="connsiteY12293" fmla="*/ 2826957 h 5704395"/>
                <a:gd name="connsiteX12294" fmla="*/ 1728482 w 5719680"/>
                <a:gd name="connsiteY12294" fmla="*/ 2818401 h 5704395"/>
                <a:gd name="connsiteX12295" fmla="*/ 48278 w 5719680"/>
                <a:gd name="connsiteY12295" fmla="*/ 2816183 h 5704395"/>
                <a:gd name="connsiteX12296" fmla="*/ 94968 w 5719680"/>
                <a:gd name="connsiteY12296" fmla="*/ 2858646 h 5704395"/>
                <a:gd name="connsiteX12297" fmla="*/ 93063 w 5719680"/>
                <a:gd name="connsiteY12297" fmla="*/ 2860230 h 5704395"/>
                <a:gd name="connsiteX12298" fmla="*/ 58124 w 5719680"/>
                <a:gd name="connsiteY12298" fmla="*/ 2891919 h 5704395"/>
                <a:gd name="connsiteX12299" fmla="*/ 8894 w 5719680"/>
                <a:gd name="connsiteY12299" fmla="*/ 2889384 h 5704395"/>
                <a:gd name="connsiteX12300" fmla="*/ 1271 w 5719680"/>
                <a:gd name="connsiteY12300" fmla="*/ 2877025 h 5704395"/>
                <a:gd name="connsiteX12301" fmla="*/ 1271 w 5719680"/>
                <a:gd name="connsiteY12301" fmla="*/ 2867836 h 5704395"/>
                <a:gd name="connsiteX12302" fmla="*/ 11752 w 5719680"/>
                <a:gd name="connsiteY12302" fmla="*/ 2884948 h 5704395"/>
                <a:gd name="connsiteX12303" fmla="*/ 56219 w 5719680"/>
                <a:gd name="connsiteY12303" fmla="*/ 2887166 h 5704395"/>
                <a:gd name="connsiteX12304" fmla="*/ 87981 w 5719680"/>
                <a:gd name="connsiteY12304" fmla="*/ 2858646 h 5704395"/>
                <a:gd name="connsiteX12305" fmla="*/ 47961 w 5719680"/>
                <a:gd name="connsiteY12305" fmla="*/ 2822204 h 5704395"/>
                <a:gd name="connsiteX12306" fmla="*/ 1271 w 5719680"/>
                <a:gd name="connsiteY12306" fmla="*/ 2858012 h 5704395"/>
                <a:gd name="connsiteX12307" fmla="*/ 1271 w 5719680"/>
                <a:gd name="connsiteY12307" fmla="*/ 2851991 h 5704395"/>
                <a:gd name="connsiteX12308" fmla="*/ 48278 w 5719680"/>
                <a:gd name="connsiteY12308" fmla="*/ 2816183 h 5704395"/>
                <a:gd name="connsiteX12309" fmla="*/ 2361496 w 5719680"/>
                <a:gd name="connsiteY12309" fmla="*/ 2814915 h 5704395"/>
                <a:gd name="connsiteX12310" fmla="*/ 2336404 w 5719680"/>
                <a:gd name="connsiteY12310" fmla="*/ 2864033 h 5704395"/>
                <a:gd name="connsiteX12311" fmla="*/ 2372295 w 5719680"/>
                <a:gd name="connsiteY12311" fmla="*/ 2881779 h 5704395"/>
                <a:gd name="connsiteX12312" fmla="*/ 2397069 w 5719680"/>
                <a:gd name="connsiteY12312" fmla="*/ 2833295 h 5704395"/>
                <a:gd name="connsiteX12313" fmla="*/ 2361496 w 5719680"/>
                <a:gd name="connsiteY12313" fmla="*/ 2814915 h 5704395"/>
                <a:gd name="connsiteX12314" fmla="*/ 2135669 w 5719680"/>
                <a:gd name="connsiteY12314" fmla="*/ 2813014 h 5704395"/>
                <a:gd name="connsiteX12315" fmla="*/ 2120423 w 5719680"/>
                <a:gd name="connsiteY12315" fmla="*/ 2857061 h 5704395"/>
                <a:gd name="connsiteX12316" fmla="*/ 2162032 w 5719680"/>
                <a:gd name="connsiteY12316" fmla="*/ 2866568 h 5704395"/>
                <a:gd name="connsiteX12317" fmla="*/ 2177595 w 5719680"/>
                <a:gd name="connsiteY12317" fmla="*/ 2821253 h 5704395"/>
                <a:gd name="connsiteX12318" fmla="*/ 2135669 w 5719680"/>
                <a:gd name="connsiteY12318" fmla="*/ 2813014 h 5704395"/>
                <a:gd name="connsiteX12319" fmla="*/ 1650665 w 5719680"/>
                <a:gd name="connsiteY12319" fmla="*/ 2812697 h 5704395"/>
                <a:gd name="connsiteX12320" fmla="*/ 1613186 w 5719680"/>
                <a:gd name="connsiteY12320" fmla="*/ 2821570 h 5704395"/>
                <a:gd name="connsiteX12321" fmla="*/ 1618903 w 5719680"/>
                <a:gd name="connsiteY12321" fmla="*/ 2845653 h 5704395"/>
                <a:gd name="connsiteX12322" fmla="*/ 1656700 w 5719680"/>
                <a:gd name="connsiteY12322" fmla="*/ 2836781 h 5704395"/>
                <a:gd name="connsiteX12323" fmla="*/ 1650665 w 5719680"/>
                <a:gd name="connsiteY12323" fmla="*/ 2812697 h 5704395"/>
                <a:gd name="connsiteX12324" fmla="*/ 2127093 w 5719680"/>
                <a:gd name="connsiteY12324" fmla="*/ 2811113 h 5704395"/>
                <a:gd name="connsiteX12325" fmla="*/ 2112165 w 5719680"/>
                <a:gd name="connsiteY12325" fmla="*/ 2855160 h 5704395"/>
                <a:gd name="connsiteX12326" fmla="*/ 2116612 w 5719680"/>
                <a:gd name="connsiteY12326" fmla="*/ 2856111 h 5704395"/>
                <a:gd name="connsiteX12327" fmla="*/ 2131540 w 5719680"/>
                <a:gd name="connsiteY12327" fmla="*/ 2812063 h 5704395"/>
                <a:gd name="connsiteX12328" fmla="*/ 2127093 w 5719680"/>
                <a:gd name="connsiteY12328" fmla="*/ 2811113 h 5704395"/>
                <a:gd name="connsiteX12329" fmla="*/ 220428 w 5719680"/>
                <a:gd name="connsiteY12329" fmla="*/ 2810479 h 5704395"/>
                <a:gd name="connsiteX12330" fmla="*/ 195018 w 5719680"/>
                <a:gd name="connsiteY12330" fmla="*/ 2826323 h 5704395"/>
                <a:gd name="connsiteX12331" fmla="*/ 209629 w 5719680"/>
                <a:gd name="connsiteY12331" fmla="*/ 2839950 h 5704395"/>
                <a:gd name="connsiteX12332" fmla="*/ 235991 w 5719680"/>
                <a:gd name="connsiteY12332" fmla="*/ 2824739 h 5704395"/>
                <a:gd name="connsiteX12333" fmla="*/ 220428 w 5719680"/>
                <a:gd name="connsiteY12333" fmla="*/ 2810479 h 5704395"/>
                <a:gd name="connsiteX12334" fmla="*/ 636191 w 5719680"/>
                <a:gd name="connsiteY12334" fmla="*/ 2807944 h 5704395"/>
                <a:gd name="connsiteX12335" fmla="*/ 607605 w 5719680"/>
                <a:gd name="connsiteY12335" fmla="*/ 2822838 h 5704395"/>
                <a:gd name="connsiteX12336" fmla="*/ 607923 w 5719680"/>
                <a:gd name="connsiteY12336" fmla="*/ 2823788 h 5704395"/>
                <a:gd name="connsiteX12337" fmla="*/ 610146 w 5719680"/>
                <a:gd name="connsiteY12337" fmla="*/ 2827908 h 5704395"/>
                <a:gd name="connsiteX12338" fmla="*/ 608558 w 5719680"/>
                <a:gd name="connsiteY12338" fmla="*/ 2828542 h 5704395"/>
                <a:gd name="connsiteX12339" fmla="*/ 620310 w 5719680"/>
                <a:gd name="connsiteY12339" fmla="*/ 2853259 h 5704395"/>
                <a:gd name="connsiteX12340" fmla="*/ 623486 w 5719680"/>
                <a:gd name="connsiteY12340" fmla="*/ 2858963 h 5704395"/>
                <a:gd name="connsiteX12341" fmla="*/ 653025 w 5719680"/>
                <a:gd name="connsiteY12341" fmla="*/ 2843752 h 5704395"/>
                <a:gd name="connsiteX12342" fmla="*/ 651754 w 5719680"/>
                <a:gd name="connsiteY12342" fmla="*/ 2839950 h 5704395"/>
                <a:gd name="connsiteX12343" fmla="*/ 652389 w 5719680"/>
                <a:gd name="connsiteY12343" fmla="*/ 2839633 h 5704395"/>
                <a:gd name="connsiteX12344" fmla="*/ 642226 w 5719680"/>
                <a:gd name="connsiteY12344" fmla="*/ 2818718 h 5704395"/>
                <a:gd name="connsiteX12345" fmla="*/ 636191 w 5719680"/>
                <a:gd name="connsiteY12345" fmla="*/ 2807944 h 5704395"/>
                <a:gd name="connsiteX12346" fmla="*/ 1653841 w 5719680"/>
                <a:gd name="connsiteY12346" fmla="*/ 2807627 h 5704395"/>
                <a:gd name="connsiteX12347" fmla="*/ 1661464 w 5719680"/>
                <a:gd name="connsiteY12347" fmla="*/ 2839950 h 5704395"/>
                <a:gd name="connsiteX12348" fmla="*/ 1615727 w 5719680"/>
                <a:gd name="connsiteY12348" fmla="*/ 2850724 h 5704395"/>
                <a:gd name="connsiteX12349" fmla="*/ 1615410 w 5719680"/>
                <a:gd name="connsiteY12349" fmla="*/ 2848505 h 5704395"/>
                <a:gd name="connsiteX12350" fmla="*/ 1608104 w 5719680"/>
                <a:gd name="connsiteY12350" fmla="*/ 2818401 h 5704395"/>
                <a:gd name="connsiteX12351" fmla="*/ 978266 w 5719680"/>
                <a:gd name="connsiteY12351" fmla="*/ 2806043 h 5704395"/>
                <a:gd name="connsiteX12352" fmla="*/ 843278 w 5719680"/>
                <a:gd name="connsiteY12352" fmla="*/ 2877659 h 5704395"/>
                <a:gd name="connsiteX12353" fmla="*/ 1024003 w 5719680"/>
                <a:gd name="connsiteY12353" fmla="*/ 3130536 h 5704395"/>
                <a:gd name="connsiteX12354" fmla="*/ 1039884 w 5719680"/>
                <a:gd name="connsiteY12354" fmla="*/ 3111206 h 5704395"/>
                <a:gd name="connsiteX12355" fmla="*/ 1065611 w 5719680"/>
                <a:gd name="connsiteY12355" fmla="*/ 3041173 h 5704395"/>
                <a:gd name="connsiteX12356" fmla="*/ 1072917 w 5719680"/>
                <a:gd name="connsiteY12356" fmla="*/ 2998077 h 5704395"/>
                <a:gd name="connsiteX12357" fmla="*/ 1999093 w 5719680"/>
                <a:gd name="connsiteY12357" fmla="*/ 2805409 h 5704395"/>
                <a:gd name="connsiteX12358" fmla="*/ 1987024 w 5719680"/>
                <a:gd name="connsiteY12358" fmla="*/ 2838682 h 5704395"/>
                <a:gd name="connsiteX12359" fmla="*/ 2008939 w 5719680"/>
                <a:gd name="connsiteY12359" fmla="*/ 2842801 h 5704395"/>
                <a:gd name="connsiteX12360" fmla="*/ 2021009 w 5719680"/>
                <a:gd name="connsiteY12360" fmla="*/ 2808578 h 5704395"/>
                <a:gd name="connsiteX12361" fmla="*/ 1999093 w 5719680"/>
                <a:gd name="connsiteY12361" fmla="*/ 2805409 h 5704395"/>
                <a:gd name="connsiteX12362" fmla="*/ 221063 w 5719680"/>
                <a:gd name="connsiteY12362" fmla="*/ 2805092 h 5704395"/>
                <a:gd name="connsiteX12363" fmla="*/ 243296 w 5719680"/>
                <a:gd name="connsiteY12363" fmla="*/ 2825690 h 5704395"/>
                <a:gd name="connsiteX12364" fmla="*/ 209311 w 5719680"/>
                <a:gd name="connsiteY12364" fmla="*/ 2845653 h 5704395"/>
                <a:gd name="connsiteX12365" fmla="*/ 187713 w 5719680"/>
                <a:gd name="connsiteY12365" fmla="*/ 2825690 h 5704395"/>
                <a:gd name="connsiteX12366" fmla="*/ 221063 w 5719680"/>
                <a:gd name="connsiteY12366" fmla="*/ 2805092 h 5704395"/>
                <a:gd name="connsiteX12367" fmla="*/ 1954626 w 5719680"/>
                <a:gd name="connsiteY12367" fmla="*/ 2798754 h 5704395"/>
                <a:gd name="connsiteX12368" fmla="*/ 1942874 w 5719680"/>
                <a:gd name="connsiteY12368" fmla="*/ 2830760 h 5704395"/>
                <a:gd name="connsiteX12369" fmla="*/ 1982894 w 5719680"/>
                <a:gd name="connsiteY12369" fmla="*/ 2838048 h 5704395"/>
                <a:gd name="connsiteX12370" fmla="*/ 1994964 w 5719680"/>
                <a:gd name="connsiteY12370" fmla="*/ 2804775 h 5704395"/>
                <a:gd name="connsiteX12371" fmla="*/ 1954626 w 5719680"/>
                <a:gd name="connsiteY12371" fmla="*/ 2798754 h 5704395"/>
                <a:gd name="connsiteX12372" fmla="*/ 1748809 w 5719680"/>
                <a:gd name="connsiteY12372" fmla="*/ 2796219 h 5704395"/>
                <a:gd name="connsiteX12373" fmla="*/ 1746269 w 5719680"/>
                <a:gd name="connsiteY12373" fmla="*/ 2810479 h 5704395"/>
                <a:gd name="connsiteX12374" fmla="*/ 1785653 w 5719680"/>
                <a:gd name="connsiteY12374" fmla="*/ 2817450 h 5704395"/>
                <a:gd name="connsiteX12375" fmla="*/ 1788194 w 5719680"/>
                <a:gd name="connsiteY12375" fmla="*/ 2802874 h 5704395"/>
                <a:gd name="connsiteX12376" fmla="*/ 1748809 w 5719680"/>
                <a:gd name="connsiteY12376" fmla="*/ 2796219 h 5704395"/>
                <a:gd name="connsiteX12377" fmla="*/ 539635 w 5719680"/>
                <a:gd name="connsiteY12377" fmla="*/ 2794318 h 5704395"/>
                <a:gd name="connsiteX12378" fmla="*/ 513272 w 5719680"/>
                <a:gd name="connsiteY12378" fmla="*/ 2826323 h 5704395"/>
                <a:gd name="connsiteX12379" fmla="*/ 515496 w 5719680"/>
                <a:gd name="connsiteY12379" fmla="*/ 2831394 h 5704395"/>
                <a:gd name="connsiteX12380" fmla="*/ 524071 w 5719680"/>
                <a:gd name="connsiteY12380" fmla="*/ 2849773 h 5704395"/>
                <a:gd name="connsiteX12381" fmla="*/ 557739 w 5719680"/>
                <a:gd name="connsiteY12381" fmla="*/ 2833929 h 5704395"/>
                <a:gd name="connsiteX12382" fmla="*/ 559645 w 5719680"/>
                <a:gd name="connsiteY12382" fmla="*/ 2836781 h 5704395"/>
                <a:gd name="connsiteX12383" fmla="*/ 1745316 w 5719680"/>
                <a:gd name="connsiteY12383" fmla="*/ 2791466 h 5704395"/>
                <a:gd name="connsiteX12384" fmla="*/ 1792641 w 5719680"/>
                <a:gd name="connsiteY12384" fmla="*/ 2799705 h 5704395"/>
                <a:gd name="connsiteX12385" fmla="*/ 1788829 w 5719680"/>
                <a:gd name="connsiteY12385" fmla="*/ 2821887 h 5704395"/>
                <a:gd name="connsiteX12386" fmla="*/ 1786924 w 5719680"/>
                <a:gd name="connsiteY12386" fmla="*/ 2821570 h 5704395"/>
                <a:gd name="connsiteX12387" fmla="*/ 1741504 w 5719680"/>
                <a:gd name="connsiteY12387" fmla="*/ 2813648 h 5704395"/>
                <a:gd name="connsiteX12388" fmla="*/ 3571624 w 5719680"/>
                <a:gd name="connsiteY12388" fmla="*/ 2789881 h 5704395"/>
                <a:gd name="connsiteX12389" fmla="*/ 3523981 w 5719680"/>
                <a:gd name="connsiteY12389" fmla="*/ 2918538 h 5704395"/>
                <a:gd name="connsiteX12390" fmla="*/ 3406144 w 5719680"/>
                <a:gd name="connsiteY12390" fmla="*/ 3030082 h 5704395"/>
                <a:gd name="connsiteX12391" fmla="*/ 3520805 w 5719680"/>
                <a:gd name="connsiteY12391" fmla="*/ 3105502 h 5704395"/>
                <a:gd name="connsiteX12392" fmla="*/ 3624348 w 5719680"/>
                <a:gd name="connsiteY12392" fmla="*/ 3181555 h 5704395"/>
                <a:gd name="connsiteX12393" fmla="*/ 3624984 w 5719680"/>
                <a:gd name="connsiteY12393" fmla="*/ 3182188 h 5704395"/>
                <a:gd name="connsiteX12394" fmla="*/ 3712329 w 5719680"/>
                <a:gd name="connsiteY12394" fmla="*/ 3291832 h 5704395"/>
                <a:gd name="connsiteX12395" fmla="*/ 3740280 w 5719680"/>
                <a:gd name="connsiteY12395" fmla="*/ 3269333 h 5704395"/>
                <a:gd name="connsiteX12396" fmla="*/ 3783476 w 5719680"/>
                <a:gd name="connsiteY12396" fmla="*/ 3252221 h 5704395"/>
                <a:gd name="connsiteX12397" fmla="*/ 3814920 w 5719680"/>
                <a:gd name="connsiteY12397" fmla="*/ 3260777 h 5704395"/>
                <a:gd name="connsiteX12398" fmla="*/ 3815555 w 5719680"/>
                <a:gd name="connsiteY12398" fmla="*/ 3261094 h 5704395"/>
                <a:gd name="connsiteX12399" fmla="*/ 4028995 w 5719680"/>
                <a:gd name="connsiteY12399" fmla="*/ 3440769 h 5704395"/>
                <a:gd name="connsiteX12400" fmla="*/ 4372341 w 5719680"/>
                <a:gd name="connsiteY12400" fmla="*/ 3160640 h 5704395"/>
                <a:gd name="connsiteX12401" fmla="*/ 4369800 w 5719680"/>
                <a:gd name="connsiteY12401" fmla="*/ 3159689 h 5704395"/>
                <a:gd name="connsiteX12402" fmla="*/ 4293572 w 5719680"/>
                <a:gd name="connsiteY12402" fmla="*/ 3115008 h 5704395"/>
                <a:gd name="connsiteX12403" fmla="*/ 4230366 w 5719680"/>
                <a:gd name="connsiteY12403" fmla="*/ 3046877 h 5704395"/>
                <a:gd name="connsiteX12404" fmla="*/ 4229095 w 5719680"/>
                <a:gd name="connsiteY12404" fmla="*/ 3035786 h 5704395"/>
                <a:gd name="connsiteX12405" fmla="*/ 4230048 w 5719680"/>
                <a:gd name="connsiteY12405" fmla="*/ 3025646 h 5704395"/>
                <a:gd name="connsiteX12406" fmla="*/ 4230048 w 5719680"/>
                <a:gd name="connsiteY12406" fmla="*/ 3025963 h 5704395"/>
                <a:gd name="connsiteX12407" fmla="*/ 4233859 w 5719680"/>
                <a:gd name="connsiteY12407" fmla="*/ 3005365 h 5704395"/>
                <a:gd name="connsiteX12408" fmla="*/ 4236400 w 5719680"/>
                <a:gd name="connsiteY12408" fmla="*/ 2967972 h 5704395"/>
                <a:gd name="connsiteX12409" fmla="*/ 4230683 w 5719680"/>
                <a:gd name="connsiteY12409" fmla="*/ 2924242 h 5704395"/>
                <a:gd name="connsiteX12410" fmla="*/ 4190663 w 5719680"/>
                <a:gd name="connsiteY12410" fmla="*/ 2874490 h 5704395"/>
                <a:gd name="connsiteX12411" fmla="*/ 4090930 w 5719680"/>
                <a:gd name="connsiteY12411" fmla="*/ 2835196 h 5704395"/>
                <a:gd name="connsiteX12412" fmla="*/ 3851764 w 5719680"/>
                <a:gd name="connsiteY12412" fmla="*/ 2807627 h 5704395"/>
                <a:gd name="connsiteX12413" fmla="*/ 3680885 w 5719680"/>
                <a:gd name="connsiteY12413" fmla="*/ 2797170 h 5704395"/>
                <a:gd name="connsiteX12414" fmla="*/ 3596398 w 5719680"/>
                <a:gd name="connsiteY12414" fmla="*/ 2791466 h 5704395"/>
                <a:gd name="connsiteX12415" fmla="*/ 3571624 w 5719680"/>
                <a:gd name="connsiteY12415" fmla="*/ 2789881 h 5704395"/>
                <a:gd name="connsiteX12416" fmla="*/ 665412 w 5719680"/>
                <a:gd name="connsiteY12416" fmla="*/ 2788931 h 5704395"/>
                <a:gd name="connsiteX12417" fmla="*/ 640002 w 5719680"/>
                <a:gd name="connsiteY12417" fmla="*/ 2801606 h 5704395"/>
                <a:gd name="connsiteX12418" fmla="*/ 657154 w 5719680"/>
                <a:gd name="connsiteY12418" fmla="*/ 2837414 h 5704395"/>
                <a:gd name="connsiteX12419" fmla="*/ 682563 w 5719680"/>
                <a:gd name="connsiteY12419" fmla="*/ 2824739 h 5704395"/>
                <a:gd name="connsiteX12420" fmla="*/ 670176 w 5719680"/>
                <a:gd name="connsiteY12420" fmla="*/ 2798120 h 5704395"/>
                <a:gd name="connsiteX12421" fmla="*/ 665412 w 5719680"/>
                <a:gd name="connsiteY12421" fmla="*/ 2788931 h 5704395"/>
                <a:gd name="connsiteX12422" fmla="*/ 2301148 w 5719680"/>
                <a:gd name="connsiteY12422" fmla="*/ 2784177 h 5704395"/>
                <a:gd name="connsiteX12423" fmla="*/ 2283680 w 5719680"/>
                <a:gd name="connsiteY12423" fmla="*/ 2838682 h 5704395"/>
                <a:gd name="connsiteX12424" fmla="*/ 2292255 w 5719680"/>
                <a:gd name="connsiteY12424" fmla="*/ 2842801 h 5704395"/>
                <a:gd name="connsiteX12425" fmla="*/ 2332593 w 5719680"/>
                <a:gd name="connsiteY12425" fmla="*/ 2862132 h 5704395"/>
                <a:gd name="connsiteX12426" fmla="*/ 2357684 w 5719680"/>
                <a:gd name="connsiteY12426" fmla="*/ 2813014 h 5704395"/>
                <a:gd name="connsiteX12427" fmla="*/ 2301148 w 5719680"/>
                <a:gd name="connsiteY12427" fmla="*/ 2784177 h 5704395"/>
                <a:gd name="connsiteX12428" fmla="*/ 1852988 w 5719680"/>
                <a:gd name="connsiteY12428" fmla="*/ 2784177 h 5704395"/>
                <a:gd name="connsiteX12429" fmla="*/ 1852353 w 5719680"/>
                <a:gd name="connsiteY12429" fmla="*/ 2787346 h 5704395"/>
                <a:gd name="connsiteX12430" fmla="*/ 1840284 w 5719680"/>
                <a:gd name="connsiteY12430" fmla="*/ 2833929 h 5704395"/>
                <a:gd name="connsiteX12431" fmla="*/ 1836472 w 5719680"/>
                <a:gd name="connsiteY12431" fmla="*/ 2847872 h 5704395"/>
                <a:gd name="connsiteX12432" fmla="*/ 1835202 w 5719680"/>
                <a:gd name="connsiteY12432" fmla="*/ 2851991 h 5704395"/>
                <a:gd name="connsiteX12433" fmla="*/ 1834567 w 5719680"/>
                <a:gd name="connsiteY12433" fmla="*/ 2853259 h 5704395"/>
                <a:gd name="connsiteX12434" fmla="*/ 1834567 w 5719680"/>
                <a:gd name="connsiteY12434" fmla="*/ 2853576 h 5704395"/>
                <a:gd name="connsiteX12435" fmla="*/ 1834884 w 5719680"/>
                <a:gd name="connsiteY12435" fmla="*/ 2855160 h 5704395"/>
                <a:gd name="connsiteX12436" fmla="*/ 1835519 w 5719680"/>
                <a:gd name="connsiteY12436" fmla="*/ 2851991 h 5704395"/>
                <a:gd name="connsiteX12437" fmla="*/ 1923817 w 5719680"/>
                <a:gd name="connsiteY12437" fmla="*/ 2871638 h 5704395"/>
                <a:gd name="connsiteX12438" fmla="*/ 1937157 w 5719680"/>
                <a:gd name="connsiteY12438" fmla="*/ 2834246 h 5704395"/>
                <a:gd name="connsiteX12439" fmla="*/ 1845048 w 5719680"/>
                <a:gd name="connsiteY12439" fmla="*/ 2817767 h 5704395"/>
                <a:gd name="connsiteX12440" fmla="*/ 1846001 w 5719680"/>
                <a:gd name="connsiteY12440" fmla="*/ 2813648 h 5704395"/>
                <a:gd name="connsiteX12441" fmla="*/ 1938745 w 5719680"/>
                <a:gd name="connsiteY12441" fmla="*/ 2830126 h 5704395"/>
                <a:gd name="connsiteX12442" fmla="*/ 1950180 w 5719680"/>
                <a:gd name="connsiteY12442" fmla="*/ 2798120 h 5704395"/>
                <a:gd name="connsiteX12443" fmla="*/ 1852988 w 5719680"/>
                <a:gd name="connsiteY12443" fmla="*/ 2784177 h 5704395"/>
                <a:gd name="connsiteX12444" fmla="*/ 468488 w 5719680"/>
                <a:gd name="connsiteY12444" fmla="*/ 2781959 h 5704395"/>
                <a:gd name="connsiteX12445" fmla="*/ 341758 w 5719680"/>
                <a:gd name="connsiteY12445" fmla="*/ 2902376 h 5704395"/>
                <a:gd name="connsiteX12446" fmla="*/ 340170 w 5719680"/>
                <a:gd name="connsiteY12446" fmla="*/ 2910932 h 5704395"/>
                <a:gd name="connsiteX12447" fmla="*/ 484051 w 5719680"/>
                <a:gd name="connsiteY12447" fmla="*/ 2815232 h 5704395"/>
                <a:gd name="connsiteX12448" fmla="*/ 468488 w 5719680"/>
                <a:gd name="connsiteY12448" fmla="*/ 2781959 h 5704395"/>
                <a:gd name="connsiteX12449" fmla="*/ 2429149 w 5719680"/>
                <a:gd name="connsiteY12449" fmla="*/ 2780058 h 5704395"/>
                <a:gd name="connsiteX12450" fmla="*/ 2402786 w 5719680"/>
                <a:gd name="connsiteY12450" fmla="*/ 2831077 h 5704395"/>
                <a:gd name="connsiteX12451" fmla="*/ 2408186 w 5719680"/>
                <a:gd name="connsiteY12451" fmla="*/ 2833929 h 5704395"/>
                <a:gd name="connsiteX12452" fmla="*/ 2434231 w 5719680"/>
                <a:gd name="connsiteY12452" fmla="*/ 2782593 h 5704395"/>
                <a:gd name="connsiteX12453" fmla="*/ 2429149 w 5719680"/>
                <a:gd name="connsiteY12453" fmla="*/ 2780058 h 5704395"/>
                <a:gd name="connsiteX12454" fmla="*/ 1736422 w 5719680"/>
                <a:gd name="connsiteY12454" fmla="*/ 2779107 h 5704395"/>
                <a:gd name="connsiteX12455" fmla="*/ 1730388 w 5719680"/>
                <a:gd name="connsiteY12455" fmla="*/ 2814282 h 5704395"/>
                <a:gd name="connsiteX12456" fmla="*/ 1836155 w 5719680"/>
                <a:gd name="connsiteY12456" fmla="*/ 2832027 h 5704395"/>
                <a:gd name="connsiteX12457" fmla="*/ 1835837 w 5719680"/>
                <a:gd name="connsiteY12457" fmla="*/ 2833295 h 5704395"/>
                <a:gd name="connsiteX12458" fmla="*/ 1840284 w 5719680"/>
                <a:gd name="connsiteY12458" fmla="*/ 2816183 h 5704395"/>
                <a:gd name="connsiteX12459" fmla="*/ 1844730 w 5719680"/>
                <a:gd name="connsiteY12459" fmla="*/ 2799388 h 5704395"/>
                <a:gd name="connsiteX12460" fmla="*/ 1790100 w 5719680"/>
                <a:gd name="connsiteY12460" fmla="*/ 2789247 h 5704395"/>
                <a:gd name="connsiteX12461" fmla="*/ 1752303 w 5719680"/>
                <a:gd name="connsiteY12461" fmla="*/ 2782276 h 5704395"/>
                <a:gd name="connsiteX12462" fmla="*/ 1739599 w 5719680"/>
                <a:gd name="connsiteY12462" fmla="*/ 2779741 h 5704395"/>
                <a:gd name="connsiteX12463" fmla="*/ 1736422 w 5719680"/>
                <a:gd name="connsiteY12463" fmla="*/ 2779107 h 5704395"/>
                <a:gd name="connsiteX12464" fmla="*/ 1525206 w 5719680"/>
                <a:gd name="connsiteY12464" fmla="*/ 2779107 h 5704395"/>
                <a:gd name="connsiteX12465" fmla="*/ 1524888 w 5719680"/>
                <a:gd name="connsiteY12465" fmla="*/ 2817767 h 5704395"/>
                <a:gd name="connsiteX12466" fmla="*/ 1549662 w 5719680"/>
                <a:gd name="connsiteY12466" fmla="*/ 2817767 h 5704395"/>
                <a:gd name="connsiteX12467" fmla="*/ 1549980 w 5719680"/>
                <a:gd name="connsiteY12467" fmla="*/ 2779107 h 5704395"/>
                <a:gd name="connsiteX12468" fmla="*/ 1525206 w 5719680"/>
                <a:gd name="connsiteY12468" fmla="*/ 2779107 h 5704395"/>
                <a:gd name="connsiteX12469" fmla="*/ 577749 w 5719680"/>
                <a:gd name="connsiteY12469" fmla="*/ 2776572 h 5704395"/>
                <a:gd name="connsiteX12470" fmla="*/ 543764 w 5719680"/>
                <a:gd name="connsiteY12470" fmla="*/ 2790832 h 5704395"/>
                <a:gd name="connsiteX12471" fmla="*/ 568220 w 5719680"/>
                <a:gd name="connsiteY12471" fmla="*/ 2843118 h 5704395"/>
                <a:gd name="connsiteX12472" fmla="*/ 602206 w 5719680"/>
                <a:gd name="connsiteY12472" fmla="*/ 2826957 h 5704395"/>
                <a:gd name="connsiteX12473" fmla="*/ 577749 w 5719680"/>
                <a:gd name="connsiteY12473" fmla="*/ 2776572 h 5704395"/>
                <a:gd name="connsiteX12474" fmla="*/ 1167885 w 5719680"/>
                <a:gd name="connsiteY12474" fmla="*/ 2775304 h 5704395"/>
                <a:gd name="connsiteX12475" fmla="*/ 1055130 w 5719680"/>
                <a:gd name="connsiteY12475" fmla="*/ 2830126 h 5704395"/>
                <a:gd name="connsiteX12476" fmla="*/ 1064023 w 5719680"/>
                <a:gd name="connsiteY12476" fmla="*/ 2846921 h 5704395"/>
                <a:gd name="connsiteX12477" fmla="*/ 1088480 w 5719680"/>
                <a:gd name="connsiteY12477" fmla="*/ 2830760 h 5704395"/>
                <a:gd name="connsiteX12478" fmla="*/ 1093562 w 5719680"/>
                <a:gd name="connsiteY12478" fmla="*/ 2829492 h 5704395"/>
                <a:gd name="connsiteX12479" fmla="*/ 1116430 w 5719680"/>
                <a:gd name="connsiteY12479" fmla="*/ 2842485 h 5704395"/>
                <a:gd name="connsiteX12480" fmla="*/ 1148192 w 5719680"/>
                <a:gd name="connsiteY12480" fmla="*/ 2828225 h 5704395"/>
                <a:gd name="connsiteX12481" fmla="*/ 1138664 w 5719680"/>
                <a:gd name="connsiteY12481" fmla="*/ 2804775 h 5704395"/>
                <a:gd name="connsiteX12482" fmla="*/ 1141840 w 5719680"/>
                <a:gd name="connsiteY12482" fmla="*/ 2798120 h 5704395"/>
                <a:gd name="connsiteX12483" fmla="*/ 1170426 w 5719680"/>
                <a:gd name="connsiteY12483" fmla="*/ 2780691 h 5704395"/>
                <a:gd name="connsiteX12484" fmla="*/ 1167885 w 5719680"/>
                <a:gd name="connsiteY12484" fmla="*/ 2775304 h 5704395"/>
                <a:gd name="connsiteX12485" fmla="*/ 1521077 w 5719680"/>
                <a:gd name="connsiteY12485" fmla="*/ 2774987 h 5704395"/>
                <a:gd name="connsiteX12486" fmla="*/ 1554109 w 5719680"/>
                <a:gd name="connsiteY12486" fmla="*/ 2775304 h 5704395"/>
                <a:gd name="connsiteX12487" fmla="*/ 1553792 w 5719680"/>
                <a:gd name="connsiteY12487" fmla="*/ 2821887 h 5704395"/>
                <a:gd name="connsiteX12488" fmla="*/ 1551886 w 5719680"/>
                <a:gd name="connsiteY12488" fmla="*/ 2821887 h 5704395"/>
                <a:gd name="connsiteX12489" fmla="*/ 1520759 w 5719680"/>
                <a:gd name="connsiteY12489" fmla="*/ 2821887 h 5704395"/>
                <a:gd name="connsiteX12490" fmla="*/ 469758 w 5719680"/>
                <a:gd name="connsiteY12490" fmla="*/ 2774671 h 5704395"/>
                <a:gd name="connsiteX12491" fmla="*/ 489768 w 5719680"/>
                <a:gd name="connsiteY12491" fmla="*/ 2816817 h 5704395"/>
                <a:gd name="connsiteX12492" fmla="*/ 334135 w 5719680"/>
                <a:gd name="connsiteY12492" fmla="*/ 2920122 h 5704395"/>
                <a:gd name="connsiteX12493" fmla="*/ 337629 w 5719680"/>
                <a:gd name="connsiteY12493" fmla="*/ 2900158 h 5704395"/>
                <a:gd name="connsiteX12494" fmla="*/ 469758 w 5719680"/>
                <a:gd name="connsiteY12494" fmla="*/ 2774671 h 5704395"/>
                <a:gd name="connsiteX12495" fmla="*/ 1170108 w 5719680"/>
                <a:gd name="connsiteY12495" fmla="*/ 2768967 h 5704395"/>
                <a:gd name="connsiteX12496" fmla="*/ 1176460 w 5719680"/>
                <a:gd name="connsiteY12496" fmla="*/ 2782276 h 5704395"/>
                <a:gd name="connsiteX12497" fmla="*/ 1174872 w 5719680"/>
                <a:gd name="connsiteY12497" fmla="*/ 2783543 h 5704395"/>
                <a:gd name="connsiteX12498" fmla="*/ 1144381 w 5719680"/>
                <a:gd name="connsiteY12498" fmla="*/ 2802240 h 5704395"/>
                <a:gd name="connsiteX12499" fmla="*/ 1143428 w 5719680"/>
                <a:gd name="connsiteY12499" fmla="*/ 2804775 h 5704395"/>
                <a:gd name="connsiteX12500" fmla="*/ 1148510 w 5719680"/>
                <a:gd name="connsiteY12500" fmla="*/ 2819035 h 5704395"/>
                <a:gd name="connsiteX12501" fmla="*/ 1153592 w 5719680"/>
                <a:gd name="connsiteY12501" fmla="*/ 2827908 h 5704395"/>
                <a:gd name="connsiteX12502" fmla="*/ 1155180 w 5719680"/>
                <a:gd name="connsiteY12502" fmla="*/ 2830126 h 5704395"/>
                <a:gd name="connsiteX12503" fmla="*/ 1115160 w 5719680"/>
                <a:gd name="connsiteY12503" fmla="*/ 2848189 h 5704395"/>
                <a:gd name="connsiteX12504" fmla="*/ 1114207 w 5719680"/>
                <a:gd name="connsiteY12504" fmla="*/ 2846921 h 5704395"/>
                <a:gd name="connsiteX12505" fmla="*/ 1106902 w 5719680"/>
                <a:gd name="connsiteY12505" fmla="*/ 2840583 h 5704395"/>
                <a:gd name="connsiteX12506" fmla="*/ 1093562 w 5719680"/>
                <a:gd name="connsiteY12506" fmla="*/ 2834246 h 5704395"/>
                <a:gd name="connsiteX12507" fmla="*/ 1091021 w 5719680"/>
                <a:gd name="connsiteY12507" fmla="*/ 2834880 h 5704395"/>
                <a:gd name="connsiteX12508" fmla="*/ 1064659 w 5719680"/>
                <a:gd name="connsiteY12508" fmla="*/ 2852308 h 5704395"/>
                <a:gd name="connsiteX12509" fmla="*/ 1062435 w 5719680"/>
                <a:gd name="connsiteY12509" fmla="*/ 2853893 h 5704395"/>
                <a:gd name="connsiteX12510" fmla="*/ 1048778 w 5719680"/>
                <a:gd name="connsiteY12510" fmla="*/ 2827908 h 5704395"/>
                <a:gd name="connsiteX12511" fmla="*/ 1170108 w 5719680"/>
                <a:gd name="connsiteY12511" fmla="*/ 2768967 h 5704395"/>
                <a:gd name="connsiteX12512" fmla="*/ 2201734 w 5719680"/>
                <a:gd name="connsiteY12512" fmla="*/ 2762946 h 5704395"/>
                <a:gd name="connsiteX12513" fmla="*/ 2182994 w 5719680"/>
                <a:gd name="connsiteY12513" fmla="*/ 2817767 h 5704395"/>
                <a:gd name="connsiteX12514" fmla="*/ 2191570 w 5719680"/>
                <a:gd name="connsiteY12514" fmla="*/ 2819352 h 5704395"/>
                <a:gd name="connsiteX12515" fmla="*/ 2263352 w 5719680"/>
                <a:gd name="connsiteY12515" fmla="*/ 2832978 h 5704395"/>
                <a:gd name="connsiteX12516" fmla="*/ 2281138 w 5719680"/>
                <a:gd name="connsiteY12516" fmla="*/ 2778156 h 5704395"/>
                <a:gd name="connsiteX12517" fmla="*/ 2216026 w 5719680"/>
                <a:gd name="connsiteY12517" fmla="*/ 2765798 h 5704395"/>
                <a:gd name="connsiteX12518" fmla="*/ 2201734 w 5719680"/>
                <a:gd name="connsiteY12518" fmla="*/ 2762946 h 5704395"/>
                <a:gd name="connsiteX12519" fmla="*/ 614593 w 5719680"/>
                <a:gd name="connsiteY12519" fmla="*/ 2761044 h 5704395"/>
                <a:gd name="connsiteX12520" fmla="*/ 582513 w 5719680"/>
                <a:gd name="connsiteY12520" fmla="*/ 2774671 h 5704395"/>
                <a:gd name="connsiteX12521" fmla="*/ 604429 w 5719680"/>
                <a:gd name="connsiteY12521" fmla="*/ 2819669 h 5704395"/>
                <a:gd name="connsiteX12522" fmla="*/ 633967 w 5719680"/>
                <a:gd name="connsiteY12522" fmla="*/ 2804141 h 5704395"/>
                <a:gd name="connsiteX12523" fmla="*/ 634920 w 5719680"/>
                <a:gd name="connsiteY12523" fmla="*/ 2803507 h 5704395"/>
                <a:gd name="connsiteX12524" fmla="*/ 614593 w 5719680"/>
                <a:gd name="connsiteY12524" fmla="*/ 2761044 h 5704395"/>
                <a:gd name="connsiteX12525" fmla="*/ 2389129 w 5719680"/>
                <a:gd name="connsiteY12525" fmla="*/ 2760728 h 5704395"/>
                <a:gd name="connsiteX12526" fmla="*/ 2363402 w 5719680"/>
                <a:gd name="connsiteY12526" fmla="*/ 2811113 h 5704395"/>
                <a:gd name="connsiteX12527" fmla="*/ 2399293 w 5719680"/>
                <a:gd name="connsiteY12527" fmla="*/ 2829175 h 5704395"/>
                <a:gd name="connsiteX12528" fmla="*/ 2425338 w 5719680"/>
                <a:gd name="connsiteY12528" fmla="*/ 2778156 h 5704395"/>
                <a:gd name="connsiteX12529" fmla="*/ 2389129 w 5719680"/>
                <a:gd name="connsiteY12529" fmla="*/ 2760728 h 5704395"/>
                <a:gd name="connsiteX12530" fmla="*/ 124507 w 5719680"/>
                <a:gd name="connsiteY12530" fmla="*/ 2758826 h 5704395"/>
                <a:gd name="connsiteX12531" fmla="*/ 100685 w 5719680"/>
                <a:gd name="connsiteY12531" fmla="*/ 2776572 h 5704395"/>
                <a:gd name="connsiteX12532" fmla="*/ 108308 w 5719680"/>
                <a:gd name="connsiteY12532" fmla="*/ 2789564 h 5704395"/>
                <a:gd name="connsiteX12533" fmla="*/ 93698 w 5719680"/>
                <a:gd name="connsiteY12533" fmla="*/ 2798120 h 5704395"/>
                <a:gd name="connsiteX12534" fmla="*/ 82899 w 5719680"/>
                <a:gd name="connsiteY12534" fmla="*/ 2791466 h 5704395"/>
                <a:gd name="connsiteX12535" fmla="*/ 67653 w 5719680"/>
                <a:gd name="connsiteY12535" fmla="*/ 2803824 h 5704395"/>
                <a:gd name="connsiteX12536" fmla="*/ 106720 w 5719680"/>
                <a:gd name="connsiteY12536" fmla="*/ 2841851 h 5704395"/>
                <a:gd name="connsiteX12537" fmla="*/ 153093 w 5719680"/>
                <a:gd name="connsiteY12537" fmla="*/ 2815549 h 5704395"/>
                <a:gd name="connsiteX12538" fmla="*/ 157222 w 5719680"/>
                <a:gd name="connsiteY12538" fmla="*/ 2787346 h 5704395"/>
                <a:gd name="connsiteX12539" fmla="*/ 124507 w 5719680"/>
                <a:gd name="connsiteY12539" fmla="*/ 2758826 h 5704395"/>
                <a:gd name="connsiteX12540" fmla="*/ 1749445 w 5719680"/>
                <a:gd name="connsiteY12540" fmla="*/ 2758193 h 5704395"/>
                <a:gd name="connsiteX12541" fmla="*/ 1746904 w 5719680"/>
                <a:gd name="connsiteY12541" fmla="*/ 2772453 h 5704395"/>
                <a:gd name="connsiteX12542" fmla="*/ 1786289 w 5719680"/>
                <a:gd name="connsiteY12542" fmla="*/ 2779424 h 5704395"/>
                <a:gd name="connsiteX12543" fmla="*/ 1788829 w 5719680"/>
                <a:gd name="connsiteY12543" fmla="*/ 2765164 h 5704395"/>
                <a:gd name="connsiteX12544" fmla="*/ 1749445 w 5719680"/>
                <a:gd name="connsiteY12544" fmla="*/ 2758193 h 5704395"/>
                <a:gd name="connsiteX12545" fmla="*/ 1423250 w 5719680"/>
                <a:gd name="connsiteY12545" fmla="*/ 2757559 h 5704395"/>
                <a:gd name="connsiteX12546" fmla="*/ 1296838 w 5719680"/>
                <a:gd name="connsiteY12546" fmla="*/ 2843435 h 5704395"/>
                <a:gd name="connsiteX12547" fmla="*/ 1332094 w 5719680"/>
                <a:gd name="connsiteY12547" fmla="*/ 2928361 h 5704395"/>
                <a:gd name="connsiteX12548" fmla="*/ 1420392 w 5719680"/>
                <a:gd name="connsiteY12548" fmla="*/ 2922657 h 5704395"/>
                <a:gd name="connsiteX12549" fmla="*/ 1423250 w 5719680"/>
                <a:gd name="connsiteY12549" fmla="*/ 2757559 h 5704395"/>
                <a:gd name="connsiteX12550" fmla="*/ 367485 w 5719680"/>
                <a:gd name="connsiteY12550" fmla="*/ 2757559 h 5704395"/>
                <a:gd name="connsiteX12551" fmla="*/ 356686 w 5719680"/>
                <a:gd name="connsiteY12551" fmla="*/ 2772135 h 5704395"/>
                <a:gd name="connsiteX12552" fmla="*/ 393212 w 5719680"/>
                <a:gd name="connsiteY12552" fmla="*/ 2801606 h 5704395"/>
                <a:gd name="connsiteX12553" fmla="*/ 404964 w 5719680"/>
                <a:gd name="connsiteY12553" fmla="*/ 2787029 h 5704395"/>
                <a:gd name="connsiteX12554" fmla="*/ 367485 w 5719680"/>
                <a:gd name="connsiteY12554" fmla="*/ 2757559 h 5704395"/>
                <a:gd name="connsiteX12555" fmla="*/ 2155679 w 5719680"/>
                <a:gd name="connsiteY12555" fmla="*/ 2754390 h 5704395"/>
                <a:gd name="connsiteX12556" fmla="*/ 2136940 w 5719680"/>
                <a:gd name="connsiteY12556" fmla="*/ 2808578 h 5704395"/>
                <a:gd name="connsiteX12557" fmla="*/ 2178865 w 5719680"/>
                <a:gd name="connsiteY12557" fmla="*/ 2817134 h 5704395"/>
                <a:gd name="connsiteX12558" fmla="*/ 2197605 w 5719680"/>
                <a:gd name="connsiteY12558" fmla="*/ 2762312 h 5704395"/>
                <a:gd name="connsiteX12559" fmla="*/ 2155679 w 5719680"/>
                <a:gd name="connsiteY12559" fmla="*/ 2754390 h 5704395"/>
                <a:gd name="connsiteX12560" fmla="*/ 1970825 w 5719680"/>
                <a:gd name="connsiteY12560" fmla="*/ 2753439 h 5704395"/>
                <a:gd name="connsiteX12561" fmla="*/ 1955897 w 5719680"/>
                <a:gd name="connsiteY12561" fmla="*/ 2794635 h 5704395"/>
                <a:gd name="connsiteX12562" fmla="*/ 1996552 w 5719680"/>
                <a:gd name="connsiteY12562" fmla="*/ 2800339 h 5704395"/>
                <a:gd name="connsiteX12563" fmla="*/ 2011798 w 5719680"/>
                <a:gd name="connsiteY12563" fmla="*/ 2757876 h 5704395"/>
                <a:gd name="connsiteX12564" fmla="*/ 1970825 w 5719680"/>
                <a:gd name="connsiteY12564" fmla="*/ 2753439 h 5704395"/>
                <a:gd name="connsiteX12565" fmla="*/ 1746269 w 5719680"/>
                <a:gd name="connsiteY12565" fmla="*/ 2753439 h 5704395"/>
                <a:gd name="connsiteX12566" fmla="*/ 1793594 w 5719680"/>
                <a:gd name="connsiteY12566" fmla="*/ 2761678 h 5704395"/>
                <a:gd name="connsiteX12567" fmla="*/ 1789782 w 5719680"/>
                <a:gd name="connsiteY12567" fmla="*/ 2784177 h 5704395"/>
                <a:gd name="connsiteX12568" fmla="*/ 1787559 w 5719680"/>
                <a:gd name="connsiteY12568" fmla="*/ 2783860 h 5704395"/>
                <a:gd name="connsiteX12569" fmla="*/ 1742457 w 5719680"/>
                <a:gd name="connsiteY12569" fmla="*/ 2775938 h 5704395"/>
                <a:gd name="connsiteX12570" fmla="*/ 1746269 w 5719680"/>
                <a:gd name="connsiteY12570" fmla="*/ 2753439 h 5704395"/>
                <a:gd name="connsiteX12571" fmla="*/ 124824 w 5719680"/>
                <a:gd name="connsiteY12571" fmla="*/ 2752805 h 5704395"/>
                <a:gd name="connsiteX12572" fmla="*/ 162303 w 5719680"/>
                <a:gd name="connsiteY12572" fmla="*/ 2785445 h 5704395"/>
                <a:gd name="connsiteX12573" fmla="*/ 157539 w 5719680"/>
                <a:gd name="connsiteY12573" fmla="*/ 2818401 h 5704395"/>
                <a:gd name="connsiteX12574" fmla="*/ 156586 w 5719680"/>
                <a:gd name="connsiteY12574" fmla="*/ 2819035 h 5704395"/>
                <a:gd name="connsiteX12575" fmla="*/ 105767 w 5719680"/>
                <a:gd name="connsiteY12575" fmla="*/ 2847555 h 5704395"/>
                <a:gd name="connsiteX12576" fmla="*/ 60665 w 5719680"/>
                <a:gd name="connsiteY12576" fmla="*/ 2803507 h 5704395"/>
                <a:gd name="connsiteX12577" fmla="*/ 82581 w 5719680"/>
                <a:gd name="connsiteY12577" fmla="*/ 2785762 h 5704395"/>
                <a:gd name="connsiteX12578" fmla="*/ 93698 w 5719680"/>
                <a:gd name="connsiteY12578" fmla="*/ 2792416 h 5704395"/>
                <a:gd name="connsiteX12579" fmla="*/ 101956 w 5719680"/>
                <a:gd name="connsiteY12579" fmla="*/ 2787980 h 5704395"/>
                <a:gd name="connsiteX12580" fmla="*/ 94333 w 5719680"/>
                <a:gd name="connsiteY12580" fmla="*/ 2775621 h 5704395"/>
                <a:gd name="connsiteX12581" fmla="*/ 124824 w 5719680"/>
                <a:gd name="connsiteY12581" fmla="*/ 2752805 h 5704395"/>
                <a:gd name="connsiteX12582" fmla="*/ 2146786 w 5719680"/>
                <a:gd name="connsiteY12582" fmla="*/ 2752488 h 5704395"/>
                <a:gd name="connsiteX12583" fmla="*/ 2128364 w 5719680"/>
                <a:gd name="connsiteY12583" fmla="*/ 2806993 h 5704395"/>
                <a:gd name="connsiteX12584" fmla="*/ 2133128 w 5719680"/>
                <a:gd name="connsiteY12584" fmla="*/ 2807944 h 5704395"/>
                <a:gd name="connsiteX12585" fmla="*/ 2151550 w 5719680"/>
                <a:gd name="connsiteY12585" fmla="*/ 2753439 h 5704395"/>
                <a:gd name="connsiteX12586" fmla="*/ 2146786 w 5719680"/>
                <a:gd name="connsiteY12586" fmla="*/ 2752488 h 5704395"/>
                <a:gd name="connsiteX12587" fmla="*/ 366850 w 5719680"/>
                <a:gd name="connsiteY12587" fmla="*/ 2751538 h 5704395"/>
                <a:gd name="connsiteX12588" fmla="*/ 411317 w 5719680"/>
                <a:gd name="connsiteY12588" fmla="*/ 2786395 h 5704395"/>
                <a:gd name="connsiteX12589" fmla="*/ 394165 w 5719680"/>
                <a:gd name="connsiteY12589" fmla="*/ 2807944 h 5704395"/>
                <a:gd name="connsiteX12590" fmla="*/ 350334 w 5719680"/>
                <a:gd name="connsiteY12590" fmla="*/ 2772769 h 5704395"/>
                <a:gd name="connsiteX12591" fmla="*/ 366850 w 5719680"/>
                <a:gd name="connsiteY12591" fmla="*/ 2751538 h 5704395"/>
                <a:gd name="connsiteX12592" fmla="*/ 798812 w 5719680"/>
                <a:gd name="connsiteY12592" fmla="*/ 2750587 h 5704395"/>
                <a:gd name="connsiteX12593" fmla="*/ 742275 w 5719680"/>
                <a:gd name="connsiteY12593" fmla="*/ 2782910 h 5704395"/>
                <a:gd name="connsiteX12594" fmla="*/ 702573 w 5719680"/>
                <a:gd name="connsiteY12594" fmla="*/ 2806043 h 5704395"/>
                <a:gd name="connsiteX12595" fmla="*/ 689551 w 5719680"/>
                <a:gd name="connsiteY12595" fmla="*/ 2813965 h 5704395"/>
                <a:gd name="connsiteX12596" fmla="*/ 686057 w 5719680"/>
                <a:gd name="connsiteY12596" fmla="*/ 2816183 h 5704395"/>
                <a:gd name="connsiteX12597" fmla="*/ 685422 w 5719680"/>
                <a:gd name="connsiteY12597" fmla="*/ 2816500 h 5704395"/>
                <a:gd name="connsiteX12598" fmla="*/ 690186 w 5719680"/>
                <a:gd name="connsiteY12598" fmla="*/ 2825690 h 5704395"/>
                <a:gd name="connsiteX12599" fmla="*/ 688915 w 5719680"/>
                <a:gd name="connsiteY12599" fmla="*/ 2826323 h 5704395"/>
                <a:gd name="connsiteX12600" fmla="*/ 697174 w 5719680"/>
                <a:gd name="connsiteY12600" fmla="*/ 2843752 h 5704395"/>
                <a:gd name="connsiteX12601" fmla="*/ 758474 w 5719680"/>
                <a:gd name="connsiteY12601" fmla="*/ 2812697 h 5704395"/>
                <a:gd name="connsiteX12602" fmla="*/ 814375 w 5719680"/>
                <a:gd name="connsiteY12602" fmla="*/ 2783227 h 5704395"/>
                <a:gd name="connsiteX12603" fmla="*/ 798812 w 5719680"/>
                <a:gd name="connsiteY12603" fmla="*/ 2750587 h 5704395"/>
                <a:gd name="connsiteX12604" fmla="*/ 1734834 w 5719680"/>
                <a:gd name="connsiteY12604" fmla="*/ 2748686 h 5704395"/>
                <a:gd name="connsiteX12605" fmla="*/ 1736422 w 5719680"/>
                <a:gd name="connsiteY12605" fmla="*/ 2774671 h 5704395"/>
                <a:gd name="connsiteX12606" fmla="*/ 1845683 w 5719680"/>
                <a:gd name="connsiteY12606" fmla="*/ 2794951 h 5704395"/>
                <a:gd name="connsiteX12607" fmla="*/ 1852988 w 5719680"/>
                <a:gd name="connsiteY12607" fmla="*/ 2766748 h 5704395"/>
                <a:gd name="connsiteX12608" fmla="*/ 646990 w 5719680"/>
                <a:gd name="connsiteY12608" fmla="*/ 2747418 h 5704395"/>
                <a:gd name="connsiteX12609" fmla="*/ 619357 w 5719680"/>
                <a:gd name="connsiteY12609" fmla="*/ 2759143 h 5704395"/>
                <a:gd name="connsiteX12610" fmla="*/ 638096 w 5719680"/>
                <a:gd name="connsiteY12610" fmla="*/ 2797803 h 5704395"/>
                <a:gd name="connsiteX12611" fmla="*/ 664141 w 5719680"/>
                <a:gd name="connsiteY12611" fmla="*/ 2784811 h 5704395"/>
                <a:gd name="connsiteX12612" fmla="*/ 646990 w 5719680"/>
                <a:gd name="connsiteY12612" fmla="*/ 2747418 h 5704395"/>
                <a:gd name="connsiteX12613" fmla="*/ 1487409 w 5719680"/>
                <a:gd name="connsiteY12613" fmla="*/ 2743299 h 5704395"/>
                <a:gd name="connsiteX12614" fmla="*/ 1519171 w 5719680"/>
                <a:gd name="connsiteY12614" fmla="*/ 2914418 h 5704395"/>
                <a:gd name="connsiteX12615" fmla="*/ 1571896 w 5719680"/>
                <a:gd name="connsiteY12615" fmla="*/ 2907764 h 5704395"/>
                <a:gd name="connsiteX12616" fmla="*/ 1575072 w 5719680"/>
                <a:gd name="connsiteY12616" fmla="*/ 2760094 h 5704395"/>
                <a:gd name="connsiteX12617" fmla="*/ 1487409 w 5719680"/>
                <a:gd name="connsiteY12617" fmla="*/ 2743299 h 5704395"/>
                <a:gd name="connsiteX12618" fmla="*/ 468806 w 5719680"/>
                <a:gd name="connsiteY12618" fmla="*/ 2742982 h 5704395"/>
                <a:gd name="connsiteX12619" fmla="*/ 455148 w 5719680"/>
                <a:gd name="connsiteY12619" fmla="*/ 2766432 h 5704395"/>
                <a:gd name="connsiteX12620" fmla="*/ 444984 w 5719680"/>
                <a:gd name="connsiteY12620" fmla="*/ 2783860 h 5704395"/>
                <a:gd name="connsiteX12621" fmla="*/ 442126 w 5719680"/>
                <a:gd name="connsiteY12621" fmla="*/ 2788931 h 5704395"/>
                <a:gd name="connsiteX12622" fmla="*/ 441173 w 5719680"/>
                <a:gd name="connsiteY12622" fmla="*/ 2790198 h 5704395"/>
                <a:gd name="connsiteX12623" fmla="*/ 441173 w 5719680"/>
                <a:gd name="connsiteY12623" fmla="*/ 2790515 h 5704395"/>
                <a:gd name="connsiteX12624" fmla="*/ 441173 w 5719680"/>
                <a:gd name="connsiteY12624" fmla="*/ 2790832 h 5704395"/>
                <a:gd name="connsiteX12625" fmla="*/ 440855 w 5719680"/>
                <a:gd name="connsiteY12625" fmla="*/ 2790832 h 5704395"/>
                <a:gd name="connsiteX12626" fmla="*/ 440855 w 5719680"/>
                <a:gd name="connsiteY12626" fmla="*/ 2791149 h 5704395"/>
                <a:gd name="connsiteX12627" fmla="*/ 440538 w 5719680"/>
                <a:gd name="connsiteY12627" fmla="*/ 2791466 h 5704395"/>
                <a:gd name="connsiteX12628" fmla="*/ 439902 w 5719680"/>
                <a:gd name="connsiteY12628" fmla="*/ 2792100 h 5704395"/>
                <a:gd name="connsiteX12629" fmla="*/ 438949 w 5719680"/>
                <a:gd name="connsiteY12629" fmla="*/ 2792733 h 5704395"/>
                <a:gd name="connsiteX12630" fmla="*/ 438949 w 5719680"/>
                <a:gd name="connsiteY12630" fmla="*/ 2793050 h 5704395"/>
                <a:gd name="connsiteX12631" fmla="*/ 353828 w 5719680"/>
                <a:gd name="connsiteY12631" fmla="*/ 2873540 h 5704395"/>
                <a:gd name="connsiteX12632" fmla="*/ 280458 w 5719680"/>
                <a:gd name="connsiteY12632" fmla="*/ 2942938 h 5704395"/>
                <a:gd name="connsiteX12633" fmla="*/ 297927 w 5719680"/>
                <a:gd name="connsiteY12633" fmla="*/ 2950226 h 5704395"/>
                <a:gd name="connsiteX12634" fmla="*/ 333500 w 5719680"/>
                <a:gd name="connsiteY12634" fmla="*/ 3001879 h 5704395"/>
                <a:gd name="connsiteX12635" fmla="*/ 344617 w 5719680"/>
                <a:gd name="connsiteY12635" fmla="*/ 3032934 h 5704395"/>
                <a:gd name="connsiteX12636" fmla="*/ 370344 w 5719680"/>
                <a:gd name="connsiteY12636" fmla="*/ 3019308 h 5704395"/>
                <a:gd name="connsiteX12637" fmla="*/ 369391 w 5719680"/>
                <a:gd name="connsiteY12637" fmla="*/ 3016773 h 5704395"/>
                <a:gd name="connsiteX12638" fmla="*/ 365897 w 5719680"/>
                <a:gd name="connsiteY12638" fmla="*/ 3010119 h 5704395"/>
                <a:gd name="connsiteX12639" fmla="*/ 365262 w 5719680"/>
                <a:gd name="connsiteY12639" fmla="*/ 3010435 h 5704395"/>
                <a:gd name="connsiteX12640" fmla="*/ 342711 w 5719680"/>
                <a:gd name="connsiteY12640" fmla="*/ 2966071 h 5704395"/>
                <a:gd name="connsiteX12641" fmla="*/ 345570 w 5719680"/>
                <a:gd name="connsiteY12641" fmla="*/ 2964803 h 5704395"/>
                <a:gd name="connsiteX12642" fmla="*/ 332865 w 5719680"/>
                <a:gd name="connsiteY12642" fmla="*/ 2936283 h 5704395"/>
                <a:gd name="connsiteX12643" fmla="*/ 331912 w 5719680"/>
                <a:gd name="connsiteY12643" fmla="*/ 2934065 h 5704395"/>
                <a:gd name="connsiteX12644" fmla="*/ 506920 w 5719680"/>
                <a:gd name="connsiteY12644" fmla="*/ 2825373 h 5704395"/>
                <a:gd name="connsiteX12645" fmla="*/ 480240 w 5719680"/>
                <a:gd name="connsiteY12645" fmla="*/ 2767699 h 5704395"/>
                <a:gd name="connsiteX12646" fmla="*/ 470394 w 5719680"/>
                <a:gd name="connsiteY12646" fmla="*/ 2746468 h 5704395"/>
                <a:gd name="connsiteX12647" fmla="*/ 468806 w 5719680"/>
                <a:gd name="connsiteY12647" fmla="*/ 2742982 h 5704395"/>
                <a:gd name="connsiteX12648" fmla="*/ 126730 w 5719680"/>
                <a:gd name="connsiteY12648" fmla="*/ 2742348 h 5704395"/>
                <a:gd name="connsiteX12649" fmla="*/ 49549 w 5719680"/>
                <a:gd name="connsiteY12649" fmla="*/ 2806676 h 5704395"/>
                <a:gd name="connsiteX12650" fmla="*/ 108626 w 5719680"/>
                <a:gd name="connsiteY12650" fmla="*/ 2855794 h 5704395"/>
                <a:gd name="connsiteX12651" fmla="*/ 170562 w 5719680"/>
                <a:gd name="connsiteY12651" fmla="*/ 2825690 h 5704395"/>
                <a:gd name="connsiteX12652" fmla="*/ 169609 w 5719680"/>
                <a:gd name="connsiteY12652" fmla="*/ 2787663 h 5704395"/>
                <a:gd name="connsiteX12653" fmla="*/ 169609 w 5719680"/>
                <a:gd name="connsiteY12653" fmla="*/ 2785762 h 5704395"/>
                <a:gd name="connsiteX12654" fmla="*/ 169926 w 5719680"/>
                <a:gd name="connsiteY12654" fmla="*/ 2784494 h 5704395"/>
                <a:gd name="connsiteX12655" fmla="*/ 126730 w 5719680"/>
                <a:gd name="connsiteY12655" fmla="*/ 2742348 h 5704395"/>
                <a:gd name="connsiteX12656" fmla="*/ 1863470 w 5719680"/>
                <a:gd name="connsiteY12656" fmla="*/ 2742031 h 5704395"/>
                <a:gd name="connsiteX12657" fmla="*/ 1854259 w 5719680"/>
                <a:gd name="connsiteY12657" fmla="*/ 2779741 h 5704395"/>
                <a:gd name="connsiteX12658" fmla="*/ 1951768 w 5719680"/>
                <a:gd name="connsiteY12658" fmla="*/ 2794001 h 5704395"/>
                <a:gd name="connsiteX12659" fmla="*/ 1966696 w 5719680"/>
                <a:gd name="connsiteY12659" fmla="*/ 2753122 h 5704395"/>
                <a:gd name="connsiteX12660" fmla="*/ 1863470 w 5719680"/>
                <a:gd name="connsiteY12660" fmla="*/ 2742031 h 5704395"/>
                <a:gd name="connsiteX12661" fmla="*/ 21916 w 5719680"/>
                <a:gd name="connsiteY12661" fmla="*/ 2741080 h 5704395"/>
                <a:gd name="connsiteX12662" fmla="*/ 40655 w 5719680"/>
                <a:gd name="connsiteY12662" fmla="*/ 2773403 h 5704395"/>
                <a:gd name="connsiteX12663" fmla="*/ 1271 w 5719680"/>
                <a:gd name="connsiteY12663" fmla="*/ 2806676 h 5704395"/>
                <a:gd name="connsiteX12664" fmla="*/ 1271 w 5719680"/>
                <a:gd name="connsiteY12664" fmla="*/ 2800655 h 5704395"/>
                <a:gd name="connsiteX12665" fmla="*/ 34621 w 5719680"/>
                <a:gd name="connsiteY12665" fmla="*/ 2772453 h 5704395"/>
                <a:gd name="connsiteX12666" fmla="*/ 19693 w 5719680"/>
                <a:gd name="connsiteY12666" fmla="*/ 2746468 h 5704395"/>
                <a:gd name="connsiteX12667" fmla="*/ 1271 w 5719680"/>
                <a:gd name="connsiteY12667" fmla="*/ 2751855 h 5704395"/>
                <a:gd name="connsiteX12668" fmla="*/ 1271 w 5719680"/>
                <a:gd name="connsiteY12668" fmla="*/ 2746784 h 5704395"/>
                <a:gd name="connsiteX12669" fmla="*/ 21916 w 5719680"/>
                <a:gd name="connsiteY12669" fmla="*/ 2741080 h 5704395"/>
                <a:gd name="connsiteX12670" fmla="*/ 1650665 w 5719680"/>
                <a:gd name="connsiteY12670" fmla="*/ 2739496 h 5704395"/>
                <a:gd name="connsiteX12671" fmla="*/ 1623668 w 5719680"/>
                <a:gd name="connsiteY12671" fmla="*/ 2754390 h 5704395"/>
                <a:gd name="connsiteX12672" fmla="*/ 1610010 w 5719680"/>
                <a:gd name="connsiteY12672" fmla="*/ 2761678 h 5704395"/>
                <a:gd name="connsiteX12673" fmla="*/ 1602705 w 5719680"/>
                <a:gd name="connsiteY12673" fmla="*/ 2764847 h 5704395"/>
                <a:gd name="connsiteX12674" fmla="*/ 1579519 w 5719680"/>
                <a:gd name="connsiteY12674" fmla="*/ 2760728 h 5704395"/>
                <a:gd name="connsiteX12675" fmla="*/ 1576342 w 5719680"/>
                <a:gd name="connsiteY12675" fmla="*/ 2906813 h 5704395"/>
                <a:gd name="connsiteX12676" fmla="*/ 1691320 w 5719680"/>
                <a:gd name="connsiteY12676" fmla="*/ 2841217 h 5704395"/>
                <a:gd name="connsiteX12677" fmla="*/ 1669405 w 5719680"/>
                <a:gd name="connsiteY12677" fmla="*/ 2787663 h 5704395"/>
                <a:gd name="connsiteX12678" fmla="*/ 1650665 w 5719680"/>
                <a:gd name="connsiteY12678" fmla="*/ 2739496 h 5704395"/>
                <a:gd name="connsiteX12679" fmla="*/ 292527 w 5719680"/>
                <a:gd name="connsiteY12679" fmla="*/ 2739496 h 5704395"/>
                <a:gd name="connsiteX12680" fmla="*/ 258860 w 5719680"/>
                <a:gd name="connsiteY12680" fmla="*/ 2742982 h 5704395"/>
                <a:gd name="connsiteX12681" fmla="*/ 342711 w 5719680"/>
                <a:gd name="connsiteY12681" fmla="*/ 2849456 h 5704395"/>
                <a:gd name="connsiteX12682" fmla="*/ 363991 w 5719680"/>
                <a:gd name="connsiteY12682" fmla="*/ 2829175 h 5704395"/>
                <a:gd name="connsiteX12683" fmla="*/ 292527 w 5719680"/>
                <a:gd name="connsiteY12683" fmla="*/ 2739496 h 5704395"/>
                <a:gd name="connsiteX12684" fmla="*/ 1696085 w 5719680"/>
                <a:gd name="connsiteY12684" fmla="*/ 2737595 h 5704395"/>
                <a:gd name="connsiteX12685" fmla="*/ 1682110 w 5719680"/>
                <a:gd name="connsiteY12685" fmla="*/ 2742031 h 5704395"/>
                <a:gd name="connsiteX12686" fmla="*/ 1693544 w 5719680"/>
                <a:gd name="connsiteY12686" fmla="*/ 2780058 h 5704395"/>
                <a:gd name="connsiteX12687" fmla="*/ 1707519 w 5719680"/>
                <a:gd name="connsiteY12687" fmla="*/ 2775938 h 5704395"/>
                <a:gd name="connsiteX12688" fmla="*/ 1696085 w 5719680"/>
                <a:gd name="connsiteY12688" fmla="*/ 2737595 h 5704395"/>
                <a:gd name="connsiteX12689" fmla="*/ 1453742 w 5719680"/>
                <a:gd name="connsiteY12689" fmla="*/ 2736644 h 5704395"/>
                <a:gd name="connsiteX12690" fmla="*/ 1428014 w 5719680"/>
                <a:gd name="connsiteY12690" fmla="*/ 2754390 h 5704395"/>
                <a:gd name="connsiteX12691" fmla="*/ 1424838 w 5719680"/>
                <a:gd name="connsiteY12691" fmla="*/ 2922340 h 5704395"/>
                <a:gd name="connsiteX12692" fmla="*/ 1514724 w 5719680"/>
                <a:gd name="connsiteY12692" fmla="*/ 2914735 h 5704395"/>
                <a:gd name="connsiteX12693" fmla="*/ 1482645 w 5719680"/>
                <a:gd name="connsiteY12693" fmla="*/ 2742348 h 5704395"/>
                <a:gd name="connsiteX12694" fmla="*/ 1453742 w 5719680"/>
                <a:gd name="connsiteY12694" fmla="*/ 2736644 h 5704395"/>
                <a:gd name="connsiteX12695" fmla="*/ 1698626 w 5719680"/>
                <a:gd name="connsiteY12695" fmla="*/ 2732841 h 5704395"/>
                <a:gd name="connsiteX12696" fmla="*/ 1712601 w 5719680"/>
                <a:gd name="connsiteY12696" fmla="*/ 2778473 h 5704395"/>
                <a:gd name="connsiteX12697" fmla="*/ 1691003 w 5719680"/>
                <a:gd name="connsiteY12697" fmla="*/ 2785128 h 5704395"/>
                <a:gd name="connsiteX12698" fmla="*/ 1690368 w 5719680"/>
                <a:gd name="connsiteY12698" fmla="*/ 2783227 h 5704395"/>
                <a:gd name="connsiteX12699" fmla="*/ 1677028 w 5719680"/>
                <a:gd name="connsiteY12699" fmla="*/ 2739179 h 5704395"/>
                <a:gd name="connsiteX12700" fmla="*/ 1203140 w 5719680"/>
                <a:gd name="connsiteY12700" fmla="*/ 2729356 h 5704395"/>
                <a:gd name="connsiteX12701" fmla="*/ 1124371 w 5719680"/>
                <a:gd name="connsiteY12701" fmla="*/ 2765798 h 5704395"/>
                <a:gd name="connsiteX12702" fmla="*/ 1117066 w 5719680"/>
                <a:gd name="connsiteY12702" fmla="*/ 2748686 h 5704395"/>
                <a:gd name="connsiteX12703" fmla="*/ 1036390 w 5719680"/>
                <a:gd name="connsiteY12703" fmla="*/ 2789247 h 5704395"/>
                <a:gd name="connsiteX12704" fmla="*/ 1041155 w 5719680"/>
                <a:gd name="connsiteY12704" fmla="*/ 2799388 h 5704395"/>
                <a:gd name="connsiteX12705" fmla="*/ 1010346 w 5719680"/>
                <a:gd name="connsiteY12705" fmla="*/ 2814915 h 5704395"/>
                <a:gd name="connsiteX12706" fmla="*/ 1065929 w 5719680"/>
                <a:gd name="connsiteY12706" fmla="*/ 2935650 h 5704395"/>
                <a:gd name="connsiteX12707" fmla="*/ 1088480 w 5719680"/>
                <a:gd name="connsiteY12707" fmla="*/ 2881462 h 5704395"/>
                <a:gd name="connsiteX12708" fmla="*/ 1116113 w 5719680"/>
                <a:gd name="connsiteY12708" fmla="*/ 2861815 h 5704395"/>
                <a:gd name="connsiteX12709" fmla="*/ 1118018 w 5719680"/>
                <a:gd name="connsiteY12709" fmla="*/ 2860230 h 5704395"/>
                <a:gd name="connsiteX12710" fmla="*/ 1127547 w 5719680"/>
                <a:gd name="connsiteY12710" fmla="*/ 2874807 h 5704395"/>
                <a:gd name="connsiteX12711" fmla="*/ 1165026 w 5719680"/>
                <a:gd name="connsiteY12711" fmla="*/ 2853893 h 5704395"/>
                <a:gd name="connsiteX12712" fmla="*/ 1208222 w 5719680"/>
                <a:gd name="connsiteY12712" fmla="*/ 2839316 h 5704395"/>
                <a:gd name="connsiteX12713" fmla="*/ 1201552 w 5719680"/>
                <a:gd name="connsiteY12713" fmla="*/ 2824422 h 5704395"/>
                <a:gd name="connsiteX12714" fmla="*/ 1238078 w 5719680"/>
                <a:gd name="connsiteY12714" fmla="*/ 2810479 h 5704395"/>
                <a:gd name="connsiteX12715" fmla="*/ 1203140 w 5719680"/>
                <a:gd name="connsiteY12715" fmla="*/ 2729356 h 5704395"/>
                <a:gd name="connsiteX12716" fmla="*/ 2456146 w 5719680"/>
                <a:gd name="connsiteY12716" fmla="*/ 2726821 h 5704395"/>
                <a:gd name="connsiteX12717" fmla="*/ 2431054 w 5719680"/>
                <a:gd name="connsiteY12717" fmla="*/ 2776255 h 5704395"/>
                <a:gd name="connsiteX12718" fmla="*/ 2436136 w 5719680"/>
                <a:gd name="connsiteY12718" fmla="*/ 2778790 h 5704395"/>
                <a:gd name="connsiteX12719" fmla="*/ 2461228 w 5719680"/>
                <a:gd name="connsiteY12719" fmla="*/ 2729356 h 5704395"/>
                <a:gd name="connsiteX12720" fmla="*/ 2456146 w 5719680"/>
                <a:gd name="connsiteY12720" fmla="*/ 2726821 h 5704395"/>
                <a:gd name="connsiteX12721" fmla="*/ 2319570 w 5719680"/>
                <a:gd name="connsiteY12721" fmla="*/ 2726821 h 5704395"/>
                <a:gd name="connsiteX12722" fmla="*/ 2302419 w 5719680"/>
                <a:gd name="connsiteY12722" fmla="*/ 2779741 h 5704395"/>
                <a:gd name="connsiteX12723" fmla="*/ 2359908 w 5719680"/>
                <a:gd name="connsiteY12723" fmla="*/ 2809211 h 5704395"/>
                <a:gd name="connsiteX12724" fmla="*/ 2385635 w 5719680"/>
                <a:gd name="connsiteY12724" fmla="*/ 2758826 h 5704395"/>
                <a:gd name="connsiteX12725" fmla="*/ 2319570 w 5719680"/>
                <a:gd name="connsiteY12725" fmla="*/ 2726821 h 5704395"/>
                <a:gd name="connsiteX12726" fmla="*/ 1205681 w 5719680"/>
                <a:gd name="connsiteY12726" fmla="*/ 2723018 h 5704395"/>
                <a:gd name="connsiteX12727" fmla="*/ 1206634 w 5719680"/>
                <a:gd name="connsiteY12727" fmla="*/ 2725236 h 5704395"/>
                <a:gd name="connsiteX12728" fmla="*/ 1244431 w 5719680"/>
                <a:gd name="connsiteY12728" fmla="*/ 2813331 h 5704395"/>
                <a:gd name="connsiteX12729" fmla="*/ 1207905 w 5719680"/>
                <a:gd name="connsiteY12729" fmla="*/ 2826957 h 5704395"/>
                <a:gd name="connsiteX12730" fmla="*/ 1214892 w 5719680"/>
                <a:gd name="connsiteY12730" fmla="*/ 2842485 h 5704395"/>
                <a:gd name="connsiteX12731" fmla="*/ 1212034 w 5719680"/>
                <a:gd name="connsiteY12731" fmla="*/ 2843118 h 5704395"/>
                <a:gd name="connsiteX12732" fmla="*/ 1167249 w 5719680"/>
                <a:gd name="connsiteY12732" fmla="*/ 2858329 h 5704395"/>
                <a:gd name="connsiteX12733" fmla="*/ 1128182 w 5719680"/>
                <a:gd name="connsiteY12733" fmla="*/ 2880194 h 5704395"/>
                <a:gd name="connsiteX12734" fmla="*/ 1126277 w 5719680"/>
                <a:gd name="connsiteY12734" fmla="*/ 2881462 h 5704395"/>
                <a:gd name="connsiteX12735" fmla="*/ 1116748 w 5719680"/>
                <a:gd name="connsiteY12735" fmla="*/ 2866885 h 5704395"/>
                <a:gd name="connsiteX12736" fmla="*/ 1091339 w 5719680"/>
                <a:gd name="connsiteY12736" fmla="*/ 2885265 h 5704395"/>
                <a:gd name="connsiteX12737" fmla="*/ 1070376 w 5719680"/>
                <a:gd name="connsiteY12737" fmla="*/ 2944839 h 5704395"/>
                <a:gd name="connsiteX12738" fmla="*/ 1070376 w 5719680"/>
                <a:gd name="connsiteY12738" fmla="*/ 2945156 h 5704395"/>
                <a:gd name="connsiteX12739" fmla="*/ 1065929 w 5719680"/>
                <a:gd name="connsiteY12739" fmla="*/ 2946107 h 5704395"/>
                <a:gd name="connsiteX12740" fmla="*/ 1004311 w 5719680"/>
                <a:gd name="connsiteY12740" fmla="*/ 2812697 h 5704395"/>
                <a:gd name="connsiteX12741" fmla="*/ 1035120 w 5719680"/>
                <a:gd name="connsiteY12741" fmla="*/ 2797170 h 5704395"/>
                <a:gd name="connsiteX12742" fmla="*/ 1030356 w 5719680"/>
                <a:gd name="connsiteY12742" fmla="*/ 2787029 h 5704395"/>
                <a:gd name="connsiteX12743" fmla="*/ 1119289 w 5719680"/>
                <a:gd name="connsiteY12743" fmla="*/ 2742348 h 5704395"/>
                <a:gd name="connsiteX12744" fmla="*/ 1126912 w 5719680"/>
                <a:gd name="connsiteY12744" fmla="*/ 2759460 h 5704395"/>
                <a:gd name="connsiteX12745" fmla="*/ 1205681 w 5719680"/>
                <a:gd name="connsiteY12745" fmla="*/ 2723018 h 5704395"/>
                <a:gd name="connsiteX12746" fmla="*/ 2771542 w 5719680"/>
                <a:gd name="connsiteY12746" fmla="*/ 2721433 h 5704395"/>
                <a:gd name="connsiteX12747" fmla="*/ 2642589 w 5719680"/>
                <a:gd name="connsiteY12747" fmla="*/ 2921390 h 5704395"/>
                <a:gd name="connsiteX12748" fmla="*/ 2549844 w 5719680"/>
                <a:gd name="connsiteY12748" fmla="*/ 3063989 h 5704395"/>
                <a:gd name="connsiteX12749" fmla="*/ 2518400 w 5719680"/>
                <a:gd name="connsiteY12749" fmla="*/ 3110889 h 5704395"/>
                <a:gd name="connsiteX12750" fmla="*/ 2509824 w 5719680"/>
                <a:gd name="connsiteY12750" fmla="*/ 3122931 h 5704395"/>
                <a:gd name="connsiteX12751" fmla="*/ 2618450 w 5719680"/>
                <a:gd name="connsiteY12751" fmla="*/ 3195498 h 5704395"/>
                <a:gd name="connsiteX12752" fmla="*/ 2697854 w 5719680"/>
                <a:gd name="connsiteY12752" fmla="*/ 3248101 h 5704395"/>
                <a:gd name="connsiteX12753" fmla="*/ 2721676 w 5719680"/>
                <a:gd name="connsiteY12753" fmla="*/ 3263629 h 5704395"/>
                <a:gd name="connsiteX12754" fmla="*/ 2937656 w 5719680"/>
                <a:gd name="connsiteY12754" fmla="*/ 2821253 h 5704395"/>
                <a:gd name="connsiteX12755" fmla="*/ 2771542 w 5719680"/>
                <a:gd name="connsiteY12755" fmla="*/ 2721433 h 5704395"/>
                <a:gd name="connsiteX12756" fmla="*/ 1745951 w 5719680"/>
                <a:gd name="connsiteY12756" fmla="*/ 2721117 h 5704395"/>
                <a:gd name="connsiteX12757" fmla="*/ 1743410 w 5719680"/>
                <a:gd name="connsiteY12757" fmla="*/ 2735376 h 5704395"/>
                <a:gd name="connsiteX12758" fmla="*/ 1782795 w 5719680"/>
                <a:gd name="connsiteY12758" fmla="*/ 2742348 h 5704395"/>
                <a:gd name="connsiteX12759" fmla="*/ 1785018 w 5719680"/>
                <a:gd name="connsiteY12759" fmla="*/ 2728088 h 5704395"/>
                <a:gd name="connsiteX12760" fmla="*/ 1745951 w 5719680"/>
                <a:gd name="connsiteY12760" fmla="*/ 2721117 h 5704395"/>
                <a:gd name="connsiteX12761" fmla="*/ 293162 w 5719680"/>
                <a:gd name="connsiteY12761" fmla="*/ 2720800 h 5704395"/>
                <a:gd name="connsiteX12762" fmla="*/ 261401 w 5719680"/>
                <a:gd name="connsiteY12762" fmla="*/ 2738228 h 5704395"/>
                <a:gd name="connsiteX12763" fmla="*/ 294433 w 5719680"/>
                <a:gd name="connsiteY12763" fmla="*/ 2735060 h 5704395"/>
                <a:gd name="connsiteX12764" fmla="*/ 370026 w 5719680"/>
                <a:gd name="connsiteY12764" fmla="*/ 2829492 h 5704395"/>
                <a:gd name="connsiteX12765" fmla="*/ 342393 w 5719680"/>
                <a:gd name="connsiteY12765" fmla="*/ 2855794 h 5704395"/>
                <a:gd name="connsiteX12766" fmla="*/ 253142 w 5719680"/>
                <a:gd name="connsiteY12766" fmla="*/ 2742982 h 5704395"/>
                <a:gd name="connsiteX12767" fmla="*/ 234403 w 5719680"/>
                <a:gd name="connsiteY12767" fmla="*/ 2753122 h 5704395"/>
                <a:gd name="connsiteX12768" fmla="*/ 192795 w 5719680"/>
                <a:gd name="connsiteY12768" fmla="*/ 2776572 h 5704395"/>
                <a:gd name="connsiteX12769" fmla="*/ 179137 w 5719680"/>
                <a:gd name="connsiteY12769" fmla="*/ 2784177 h 5704395"/>
                <a:gd name="connsiteX12770" fmla="*/ 175326 w 5719680"/>
                <a:gd name="connsiteY12770" fmla="*/ 2786395 h 5704395"/>
                <a:gd name="connsiteX12771" fmla="*/ 175008 w 5719680"/>
                <a:gd name="connsiteY12771" fmla="*/ 2787980 h 5704395"/>
                <a:gd name="connsiteX12772" fmla="*/ 175961 w 5719680"/>
                <a:gd name="connsiteY12772" fmla="*/ 2826323 h 5704395"/>
                <a:gd name="connsiteX12773" fmla="*/ 229003 w 5719680"/>
                <a:gd name="connsiteY12773" fmla="*/ 2876709 h 5704395"/>
                <a:gd name="connsiteX12774" fmla="*/ 266165 w 5719680"/>
                <a:gd name="connsiteY12774" fmla="*/ 2912200 h 5704395"/>
                <a:gd name="connsiteX12775" fmla="*/ 278552 w 5719680"/>
                <a:gd name="connsiteY12775" fmla="*/ 2923925 h 5704395"/>
                <a:gd name="connsiteX12776" fmla="*/ 279187 w 5719680"/>
                <a:gd name="connsiteY12776" fmla="*/ 2924559 h 5704395"/>
                <a:gd name="connsiteX12777" fmla="*/ 346840 w 5719680"/>
                <a:gd name="connsiteY12777" fmla="*/ 2860230 h 5704395"/>
                <a:gd name="connsiteX12778" fmla="*/ 380825 w 5719680"/>
                <a:gd name="connsiteY12778" fmla="*/ 2828225 h 5704395"/>
                <a:gd name="connsiteX12779" fmla="*/ 336994 w 5719680"/>
                <a:gd name="connsiteY12779" fmla="*/ 2774671 h 5704395"/>
                <a:gd name="connsiteX12780" fmla="*/ 305867 w 5719680"/>
                <a:gd name="connsiteY12780" fmla="*/ 2736644 h 5704395"/>
                <a:gd name="connsiteX12781" fmla="*/ 295703 w 5719680"/>
                <a:gd name="connsiteY12781" fmla="*/ 2723969 h 5704395"/>
                <a:gd name="connsiteX12782" fmla="*/ 293162 w 5719680"/>
                <a:gd name="connsiteY12782" fmla="*/ 2720800 h 5704395"/>
                <a:gd name="connsiteX12783" fmla="*/ 1742457 w 5719680"/>
                <a:gd name="connsiteY12783" fmla="*/ 2716363 h 5704395"/>
                <a:gd name="connsiteX12784" fmla="*/ 1789782 w 5719680"/>
                <a:gd name="connsiteY12784" fmla="*/ 2724602 h 5704395"/>
                <a:gd name="connsiteX12785" fmla="*/ 1785971 w 5719680"/>
                <a:gd name="connsiteY12785" fmla="*/ 2747101 h 5704395"/>
                <a:gd name="connsiteX12786" fmla="*/ 1784065 w 5719680"/>
                <a:gd name="connsiteY12786" fmla="*/ 2746468 h 5704395"/>
                <a:gd name="connsiteX12787" fmla="*/ 1738646 w 5719680"/>
                <a:gd name="connsiteY12787" fmla="*/ 2738862 h 5704395"/>
                <a:gd name="connsiteX12788" fmla="*/ 2416444 w 5719680"/>
                <a:gd name="connsiteY12788" fmla="*/ 2707173 h 5704395"/>
                <a:gd name="connsiteX12789" fmla="*/ 2391352 w 5719680"/>
                <a:gd name="connsiteY12789" fmla="*/ 2756608 h 5704395"/>
                <a:gd name="connsiteX12790" fmla="*/ 2427243 w 5719680"/>
                <a:gd name="connsiteY12790" fmla="*/ 2774354 h 5704395"/>
                <a:gd name="connsiteX12791" fmla="*/ 2452335 w 5719680"/>
                <a:gd name="connsiteY12791" fmla="*/ 2724919 h 5704395"/>
                <a:gd name="connsiteX12792" fmla="*/ 2416444 w 5719680"/>
                <a:gd name="connsiteY12792" fmla="*/ 2707173 h 5704395"/>
                <a:gd name="connsiteX12793" fmla="*/ 2034666 w 5719680"/>
                <a:gd name="connsiteY12793" fmla="*/ 2706857 h 5704395"/>
                <a:gd name="connsiteX12794" fmla="*/ 2017515 w 5719680"/>
                <a:gd name="connsiteY12794" fmla="*/ 2754073 h 5704395"/>
                <a:gd name="connsiteX12795" fmla="*/ 2036890 w 5719680"/>
                <a:gd name="connsiteY12795" fmla="*/ 2755974 h 5704395"/>
                <a:gd name="connsiteX12796" fmla="*/ 2036572 w 5719680"/>
                <a:gd name="connsiteY12796" fmla="*/ 2760411 h 5704395"/>
                <a:gd name="connsiteX12797" fmla="*/ 2016244 w 5719680"/>
                <a:gd name="connsiteY12797" fmla="*/ 2758193 h 5704395"/>
                <a:gd name="connsiteX12798" fmla="*/ 2000681 w 5719680"/>
                <a:gd name="connsiteY12798" fmla="*/ 2800973 h 5704395"/>
                <a:gd name="connsiteX12799" fmla="*/ 2022597 w 5719680"/>
                <a:gd name="connsiteY12799" fmla="*/ 2804141 h 5704395"/>
                <a:gd name="connsiteX12800" fmla="*/ 2056900 w 5719680"/>
                <a:gd name="connsiteY12800" fmla="*/ 2707173 h 5704395"/>
                <a:gd name="connsiteX12801" fmla="*/ 2034666 w 5719680"/>
                <a:gd name="connsiteY12801" fmla="*/ 2706857 h 5704395"/>
                <a:gd name="connsiteX12802" fmla="*/ 1987659 w 5719680"/>
                <a:gd name="connsiteY12802" fmla="*/ 2706223 h 5704395"/>
                <a:gd name="connsiteX12803" fmla="*/ 1972413 w 5719680"/>
                <a:gd name="connsiteY12803" fmla="*/ 2749320 h 5704395"/>
                <a:gd name="connsiteX12804" fmla="*/ 2013386 w 5719680"/>
                <a:gd name="connsiteY12804" fmla="*/ 2753439 h 5704395"/>
                <a:gd name="connsiteX12805" fmla="*/ 2030220 w 5719680"/>
                <a:gd name="connsiteY12805" fmla="*/ 2706857 h 5704395"/>
                <a:gd name="connsiteX12806" fmla="*/ 2221108 w 5719680"/>
                <a:gd name="connsiteY12806" fmla="*/ 2705589 h 5704395"/>
                <a:gd name="connsiteX12807" fmla="*/ 2203004 w 5719680"/>
                <a:gd name="connsiteY12807" fmla="*/ 2758826 h 5704395"/>
                <a:gd name="connsiteX12808" fmla="*/ 2282409 w 5719680"/>
                <a:gd name="connsiteY12808" fmla="*/ 2774037 h 5704395"/>
                <a:gd name="connsiteX12809" fmla="*/ 2299560 w 5719680"/>
                <a:gd name="connsiteY12809" fmla="*/ 2720166 h 5704395"/>
                <a:gd name="connsiteX12810" fmla="*/ 2235719 w 5719680"/>
                <a:gd name="connsiteY12810" fmla="*/ 2708124 h 5704395"/>
                <a:gd name="connsiteX12811" fmla="*/ 2221108 w 5719680"/>
                <a:gd name="connsiteY12811" fmla="*/ 2705589 h 5704395"/>
                <a:gd name="connsiteX12812" fmla="*/ 1872998 w 5719680"/>
                <a:gd name="connsiteY12812" fmla="*/ 2704638 h 5704395"/>
                <a:gd name="connsiteX12813" fmla="*/ 1864740 w 5719680"/>
                <a:gd name="connsiteY12813" fmla="*/ 2737912 h 5704395"/>
                <a:gd name="connsiteX12814" fmla="*/ 1967966 w 5719680"/>
                <a:gd name="connsiteY12814" fmla="*/ 2748686 h 5704395"/>
                <a:gd name="connsiteX12815" fmla="*/ 1983530 w 5719680"/>
                <a:gd name="connsiteY12815" fmla="*/ 2706223 h 5704395"/>
                <a:gd name="connsiteX12816" fmla="*/ 1872998 w 5719680"/>
                <a:gd name="connsiteY12816" fmla="*/ 2704638 h 5704395"/>
                <a:gd name="connsiteX12817" fmla="*/ 320478 w 5719680"/>
                <a:gd name="connsiteY12817" fmla="*/ 2704321 h 5704395"/>
                <a:gd name="connsiteX12818" fmla="*/ 309679 w 5719680"/>
                <a:gd name="connsiteY12818" fmla="*/ 2718898 h 5704395"/>
                <a:gd name="connsiteX12819" fmla="*/ 346205 w 5719680"/>
                <a:gd name="connsiteY12819" fmla="*/ 2748686 h 5704395"/>
                <a:gd name="connsiteX12820" fmla="*/ 357957 w 5719680"/>
                <a:gd name="connsiteY12820" fmla="*/ 2733792 h 5704395"/>
                <a:gd name="connsiteX12821" fmla="*/ 320478 w 5719680"/>
                <a:gd name="connsiteY12821" fmla="*/ 2704321 h 5704395"/>
                <a:gd name="connsiteX12822" fmla="*/ 1713871 w 5719680"/>
                <a:gd name="connsiteY12822" fmla="*/ 2703371 h 5704395"/>
                <a:gd name="connsiteX12823" fmla="*/ 1663052 w 5719680"/>
                <a:gd name="connsiteY12823" fmla="*/ 2732525 h 5704395"/>
                <a:gd name="connsiteX12824" fmla="*/ 1654477 w 5719680"/>
                <a:gd name="connsiteY12824" fmla="*/ 2737278 h 5704395"/>
                <a:gd name="connsiteX12825" fmla="*/ 1674487 w 5719680"/>
                <a:gd name="connsiteY12825" fmla="*/ 2788614 h 5704395"/>
                <a:gd name="connsiteX12826" fmla="*/ 1688780 w 5719680"/>
                <a:gd name="connsiteY12826" fmla="*/ 2824105 h 5704395"/>
                <a:gd name="connsiteX12827" fmla="*/ 1693544 w 5719680"/>
                <a:gd name="connsiteY12827" fmla="*/ 2835830 h 5704395"/>
                <a:gd name="connsiteX12828" fmla="*/ 1694497 w 5719680"/>
                <a:gd name="connsiteY12828" fmla="*/ 2838048 h 5704395"/>
                <a:gd name="connsiteX12829" fmla="*/ 1708790 w 5719680"/>
                <a:gd name="connsiteY12829" fmla="*/ 2822204 h 5704395"/>
                <a:gd name="connsiteX12830" fmla="*/ 1722447 w 5719680"/>
                <a:gd name="connsiteY12830" fmla="*/ 2776889 h 5704395"/>
                <a:gd name="connsiteX12831" fmla="*/ 1719271 w 5719680"/>
                <a:gd name="connsiteY12831" fmla="*/ 2739179 h 5704395"/>
                <a:gd name="connsiteX12832" fmla="*/ 1713871 w 5719680"/>
                <a:gd name="connsiteY12832" fmla="*/ 2703371 h 5704395"/>
                <a:gd name="connsiteX12833" fmla="*/ 1728164 w 5719680"/>
                <a:gd name="connsiteY12833" fmla="*/ 2701786 h 5704395"/>
                <a:gd name="connsiteX12834" fmla="*/ 1733564 w 5719680"/>
                <a:gd name="connsiteY12834" fmla="*/ 2737278 h 5704395"/>
                <a:gd name="connsiteX12835" fmla="*/ 1734199 w 5719680"/>
                <a:gd name="connsiteY12835" fmla="*/ 2744249 h 5704395"/>
                <a:gd name="connsiteX12836" fmla="*/ 1853941 w 5719680"/>
                <a:gd name="connsiteY12836" fmla="*/ 2762312 h 5704395"/>
                <a:gd name="connsiteX12837" fmla="*/ 1863470 w 5719680"/>
                <a:gd name="connsiteY12837" fmla="*/ 2724919 h 5704395"/>
                <a:gd name="connsiteX12838" fmla="*/ 1797405 w 5719680"/>
                <a:gd name="connsiteY12838" fmla="*/ 2713195 h 5704395"/>
                <a:gd name="connsiteX12839" fmla="*/ 1728164 w 5719680"/>
                <a:gd name="connsiteY12839" fmla="*/ 2701786 h 5704395"/>
                <a:gd name="connsiteX12840" fmla="*/ 319842 w 5719680"/>
                <a:gd name="connsiteY12840" fmla="*/ 2698301 h 5704395"/>
                <a:gd name="connsiteX12841" fmla="*/ 364309 w 5719680"/>
                <a:gd name="connsiteY12841" fmla="*/ 2733158 h 5704395"/>
                <a:gd name="connsiteX12842" fmla="*/ 346840 w 5719680"/>
                <a:gd name="connsiteY12842" fmla="*/ 2754707 h 5704395"/>
                <a:gd name="connsiteX12843" fmla="*/ 303326 w 5719680"/>
                <a:gd name="connsiteY12843" fmla="*/ 2719532 h 5704395"/>
                <a:gd name="connsiteX12844" fmla="*/ 319842 w 5719680"/>
                <a:gd name="connsiteY12844" fmla="*/ 2698301 h 5704395"/>
                <a:gd name="connsiteX12845" fmla="*/ 2175372 w 5719680"/>
                <a:gd name="connsiteY12845" fmla="*/ 2697033 h 5704395"/>
                <a:gd name="connsiteX12846" fmla="*/ 2157267 w 5719680"/>
                <a:gd name="connsiteY12846" fmla="*/ 2749953 h 5704395"/>
                <a:gd name="connsiteX12847" fmla="*/ 2198875 w 5719680"/>
                <a:gd name="connsiteY12847" fmla="*/ 2757876 h 5704395"/>
                <a:gd name="connsiteX12848" fmla="*/ 2216980 w 5719680"/>
                <a:gd name="connsiteY12848" fmla="*/ 2704638 h 5704395"/>
                <a:gd name="connsiteX12849" fmla="*/ 2175372 w 5719680"/>
                <a:gd name="connsiteY12849" fmla="*/ 2697033 h 5704395"/>
                <a:gd name="connsiteX12850" fmla="*/ 2166478 w 5719680"/>
                <a:gd name="connsiteY12850" fmla="*/ 2695449 h 5704395"/>
                <a:gd name="connsiteX12851" fmla="*/ 2148374 w 5719680"/>
                <a:gd name="connsiteY12851" fmla="*/ 2748369 h 5704395"/>
                <a:gd name="connsiteX12852" fmla="*/ 2153138 w 5719680"/>
                <a:gd name="connsiteY12852" fmla="*/ 2749320 h 5704395"/>
                <a:gd name="connsiteX12853" fmla="*/ 2171242 w 5719680"/>
                <a:gd name="connsiteY12853" fmla="*/ 2696399 h 5704395"/>
                <a:gd name="connsiteX12854" fmla="*/ 2166478 w 5719680"/>
                <a:gd name="connsiteY12854" fmla="*/ 2695449 h 5704395"/>
                <a:gd name="connsiteX12855" fmla="*/ 16199 w 5719680"/>
                <a:gd name="connsiteY12855" fmla="*/ 2691012 h 5704395"/>
                <a:gd name="connsiteX12856" fmla="*/ 9846 w 5719680"/>
                <a:gd name="connsiteY12856" fmla="*/ 2698301 h 5704395"/>
                <a:gd name="connsiteX12857" fmla="*/ 1271 w 5719680"/>
                <a:gd name="connsiteY12857" fmla="*/ 2708124 h 5704395"/>
                <a:gd name="connsiteX12858" fmla="*/ 1271 w 5719680"/>
                <a:gd name="connsiteY12858" fmla="*/ 2697033 h 5704395"/>
                <a:gd name="connsiteX12859" fmla="*/ 7305 w 5719680"/>
                <a:gd name="connsiteY12859" fmla="*/ 2694815 h 5704395"/>
                <a:gd name="connsiteX12860" fmla="*/ 16199 w 5719680"/>
                <a:gd name="connsiteY12860" fmla="*/ 2691012 h 5704395"/>
                <a:gd name="connsiteX12861" fmla="*/ 314761 w 5719680"/>
                <a:gd name="connsiteY12861" fmla="*/ 2690062 h 5704395"/>
                <a:gd name="connsiteX12862" fmla="*/ 296974 w 5719680"/>
                <a:gd name="connsiteY12862" fmla="*/ 2717314 h 5704395"/>
                <a:gd name="connsiteX12863" fmla="*/ 342393 w 5719680"/>
                <a:gd name="connsiteY12863" fmla="*/ 2773086 h 5704395"/>
                <a:gd name="connsiteX12864" fmla="*/ 384637 w 5719680"/>
                <a:gd name="connsiteY12864" fmla="*/ 2824422 h 5704395"/>
                <a:gd name="connsiteX12865" fmla="*/ 404011 w 5719680"/>
                <a:gd name="connsiteY12865" fmla="*/ 2806360 h 5704395"/>
                <a:gd name="connsiteX12866" fmla="*/ 422751 w 5719680"/>
                <a:gd name="connsiteY12866" fmla="*/ 2788614 h 5704395"/>
                <a:gd name="connsiteX12867" fmla="*/ 427833 w 5719680"/>
                <a:gd name="connsiteY12867" fmla="*/ 2783860 h 5704395"/>
                <a:gd name="connsiteX12868" fmla="*/ 429739 w 5719680"/>
                <a:gd name="connsiteY12868" fmla="*/ 2781642 h 5704395"/>
                <a:gd name="connsiteX12869" fmla="*/ 431327 w 5719680"/>
                <a:gd name="connsiteY12869" fmla="*/ 2778790 h 5704395"/>
                <a:gd name="connsiteX12870" fmla="*/ 370661 w 5719680"/>
                <a:gd name="connsiteY12870" fmla="*/ 2732525 h 5704395"/>
                <a:gd name="connsiteX12871" fmla="*/ 314761 w 5719680"/>
                <a:gd name="connsiteY12871" fmla="*/ 2690062 h 5704395"/>
                <a:gd name="connsiteX12872" fmla="*/ 1323835 w 5719680"/>
                <a:gd name="connsiteY12872" fmla="*/ 2689428 h 5704395"/>
                <a:gd name="connsiteX12873" fmla="*/ 1310496 w 5719680"/>
                <a:gd name="connsiteY12873" fmla="*/ 2695766 h 5704395"/>
                <a:gd name="connsiteX12874" fmla="*/ 1333364 w 5719680"/>
                <a:gd name="connsiteY12874" fmla="*/ 2751855 h 5704395"/>
                <a:gd name="connsiteX12875" fmla="*/ 1335587 w 5719680"/>
                <a:gd name="connsiteY12875" fmla="*/ 2750904 h 5704395"/>
                <a:gd name="connsiteX12876" fmla="*/ 1323835 w 5719680"/>
                <a:gd name="connsiteY12876" fmla="*/ 2689428 h 5704395"/>
                <a:gd name="connsiteX12877" fmla="*/ 209946 w 5719680"/>
                <a:gd name="connsiteY12877" fmla="*/ 2685942 h 5704395"/>
                <a:gd name="connsiteX12878" fmla="*/ 145152 w 5719680"/>
                <a:gd name="connsiteY12878" fmla="*/ 2737912 h 5704395"/>
                <a:gd name="connsiteX12879" fmla="*/ 171514 w 5719680"/>
                <a:gd name="connsiteY12879" fmla="*/ 2765164 h 5704395"/>
                <a:gd name="connsiteX12880" fmla="*/ 208676 w 5719680"/>
                <a:gd name="connsiteY12880" fmla="*/ 2739179 h 5704395"/>
                <a:gd name="connsiteX12881" fmla="*/ 1208222 w 5719680"/>
                <a:gd name="connsiteY12881" fmla="*/ 2685625 h 5704395"/>
                <a:gd name="connsiteX12882" fmla="*/ 982078 w 5719680"/>
                <a:gd name="connsiteY12882" fmla="*/ 2804141 h 5704395"/>
                <a:gd name="connsiteX12883" fmla="*/ 1074505 w 5719680"/>
                <a:gd name="connsiteY12883" fmla="*/ 2990472 h 5704395"/>
                <a:gd name="connsiteX12884" fmla="*/ 1078634 w 5719680"/>
                <a:gd name="connsiteY12884" fmla="*/ 2971141 h 5704395"/>
                <a:gd name="connsiteX12885" fmla="*/ 1100867 w 5719680"/>
                <a:gd name="connsiteY12885" fmla="*/ 2916319 h 5704395"/>
                <a:gd name="connsiteX12886" fmla="*/ 1186307 w 5719680"/>
                <a:gd name="connsiteY12886" fmla="*/ 2865617 h 5704395"/>
                <a:gd name="connsiteX12887" fmla="*/ 1273016 w 5719680"/>
                <a:gd name="connsiteY12887" fmla="*/ 2840900 h 5704395"/>
                <a:gd name="connsiteX12888" fmla="*/ 1208222 w 5719680"/>
                <a:gd name="connsiteY12888" fmla="*/ 2685625 h 5704395"/>
                <a:gd name="connsiteX12889" fmla="*/ 1327329 w 5719680"/>
                <a:gd name="connsiteY12889" fmla="*/ 2682773 h 5704395"/>
                <a:gd name="connsiteX12890" fmla="*/ 1327965 w 5719680"/>
                <a:gd name="connsiteY12890" fmla="*/ 2685625 h 5704395"/>
                <a:gd name="connsiteX12891" fmla="*/ 1340987 w 5719680"/>
                <a:gd name="connsiteY12891" fmla="*/ 2753439 h 5704395"/>
                <a:gd name="connsiteX12892" fmla="*/ 1330823 w 5719680"/>
                <a:gd name="connsiteY12892" fmla="*/ 2757876 h 5704395"/>
                <a:gd name="connsiteX12893" fmla="*/ 1304461 w 5719680"/>
                <a:gd name="connsiteY12893" fmla="*/ 2693548 h 5704395"/>
                <a:gd name="connsiteX12894" fmla="*/ 1327329 w 5719680"/>
                <a:gd name="connsiteY12894" fmla="*/ 2682773 h 5704395"/>
                <a:gd name="connsiteX12895" fmla="*/ 1739281 w 5719680"/>
                <a:gd name="connsiteY12895" fmla="*/ 2677703 h 5704395"/>
                <a:gd name="connsiteX12896" fmla="*/ 1736740 w 5719680"/>
                <a:gd name="connsiteY12896" fmla="*/ 2692280 h 5704395"/>
                <a:gd name="connsiteX12897" fmla="*/ 1776125 w 5719680"/>
                <a:gd name="connsiteY12897" fmla="*/ 2698935 h 5704395"/>
                <a:gd name="connsiteX12898" fmla="*/ 1778666 w 5719680"/>
                <a:gd name="connsiteY12898" fmla="*/ 2684675 h 5704395"/>
                <a:gd name="connsiteX12899" fmla="*/ 1739281 w 5719680"/>
                <a:gd name="connsiteY12899" fmla="*/ 2677703 h 5704395"/>
                <a:gd name="connsiteX12900" fmla="*/ 214711 w 5719680"/>
                <a:gd name="connsiteY12900" fmla="*/ 2675802 h 5704395"/>
                <a:gd name="connsiteX12901" fmla="*/ 214711 w 5719680"/>
                <a:gd name="connsiteY12901" fmla="*/ 2680872 h 5704395"/>
                <a:gd name="connsiteX12902" fmla="*/ 213440 w 5719680"/>
                <a:gd name="connsiteY12902" fmla="*/ 2741715 h 5704395"/>
                <a:gd name="connsiteX12903" fmla="*/ 170879 w 5719680"/>
                <a:gd name="connsiteY12903" fmla="*/ 2771185 h 5704395"/>
                <a:gd name="connsiteX12904" fmla="*/ 138164 w 5719680"/>
                <a:gd name="connsiteY12904" fmla="*/ 2737278 h 5704395"/>
                <a:gd name="connsiteX12905" fmla="*/ 214711 w 5719680"/>
                <a:gd name="connsiteY12905" fmla="*/ 2675802 h 5704395"/>
                <a:gd name="connsiteX12906" fmla="*/ 746087 w 5719680"/>
                <a:gd name="connsiteY12906" fmla="*/ 2675485 h 5704395"/>
                <a:gd name="connsiteX12907" fmla="*/ 666682 w 5719680"/>
                <a:gd name="connsiteY12907" fmla="*/ 2714145 h 5704395"/>
                <a:gd name="connsiteX12908" fmla="*/ 679705 w 5719680"/>
                <a:gd name="connsiteY12908" fmla="*/ 2740447 h 5704395"/>
                <a:gd name="connsiteX12909" fmla="*/ 683516 w 5719680"/>
                <a:gd name="connsiteY12909" fmla="*/ 2738862 h 5704395"/>
                <a:gd name="connsiteX12910" fmla="*/ 687327 w 5719680"/>
                <a:gd name="connsiteY12910" fmla="*/ 2737278 h 5704395"/>
                <a:gd name="connsiteX12911" fmla="*/ 689233 w 5719680"/>
                <a:gd name="connsiteY12911" fmla="*/ 2741080 h 5704395"/>
                <a:gd name="connsiteX12912" fmla="*/ 694315 w 5719680"/>
                <a:gd name="connsiteY12912" fmla="*/ 2751221 h 5704395"/>
                <a:gd name="connsiteX12913" fmla="*/ 717184 w 5719680"/>
                <a:gd name="connsiteY12913" fmla="*/ 2740764 h 5704395"/>
                <a:gd name="connsiteX12914" fmla="*/ 721313 w 5719680"/>
                <a:gd name="connsiteY12914" fmla="*/ 2738862 h 5704395"/>
                <a:gd name="connsiteX12915" fmla="*/ 722901 w 5719680"/>
                <a:gd name="connsiteY12915" fmla="*/ 2742665 h 5704395"/>
                <a:gd name="connsiteX12916" fmla="*/ 726077 w 5719680"/>
                <a:gd name="connsiteY12916" fmla="*/ 2749320 h 5704395"/>
                <a:gd name="connsiteX12917" fmla="*/ 727983 w 5719680"/>
                <a:gd name="connsiteY12917" fmla="*/ 2748369 h 5704395"/>
                <a:gd name="connsiteX12918" fmla="*/ 721630 w 5719680"/>
                <a:gd name="connsiteY12918" fmla="*/ 2736644 h 5704395"/>
                <a:gd name="connsiteX12919" fmla="*/ 719725 w 5719680"/>
                <a:gd name="connsiteY12919" fmla="*/ 2733158 h 5704395"/>
                <a:gd name="connsiteX12920" fmla="*/ 722901 w 5719680"/>
                <a:gd name="connsiteY12920" fmla="*/ 2730940 h 5704395"/>
                <a:gd name="connsiteX12921" fmla="*/ 725124 w 5719680"/>
                <a:gd name="connsiteY12921" fmla="*/ 2729356 h 5704395"/>
                <a:gd name="connsiteX12922" fmla="*/ 723536 w 5719680"/>
                <a:gd name="connsiteY12922" fmla="*/ 2723335 h 5704395"/>
                <a:gd name="connsiteX12923" fmla="*/ 722583 w 5719680"/>
                <a:gd name="connsiteY12923" fmla="*/ 2719849 h 5704395"/>
                <a:gd name="connsiteX12924" fmla="*/ 726077 w 5719680"/>
                <a:gd name="connsiteY12924" fmla="*/ 2718265 h 5704395"/>
                <a:gd name="connsiteX12925" fmla="*/ 759109 w 5719680"/>
                <a:gd name="connsiteY12925" fmla="*/ 2702737 h 5704395"/>
                <a:gd name="connsiteX12926" fmla="*/ 746087 w 5719680"/>
                <a:gd name="connsiteY12926" fmla="*/ 2675485 h 5704395"/>
                <a:gd name="connsiteX12927" fmla="*/ 1735787 w 5719680"/>
                <a:gd name="connsiteY12927" fmla="*/ 2673266 h 5704395"/>
                <a:gd name="connsiteX12928" fmla="*/ 1783112 w 5719680"/>
                <a:gd name="connsiteY12928" fmla="*/ 2681506 h 5704395"/>
                <a:gd name="connsiteX12929" fmla="*/ 1779301 w 5719680"/>
                <a:gd name="connsiteY12929" fmla="*/ 2703688 h 5704395"/>
                <a:gd name="connsiteX12930" fmla="*/ 1777395 w 5719680"/>
                <a:gd name="connsiteY12930" fmla="*/ 2703371 h 5704395"/>
                <a:gd name="connsiteX12931" fmla="*/ 1731976 w 5719680"/>
                <a:gd name="connsiteY12931" fmla="*/ 2695449 h 5704395"/>
                <a:gd name="connsiteX12932" fmla="*/ 1735787 w 5719680"/>
                <a:gd name="connsiteY12932" fmla="*/ 2673266 h 5704395"/>
                <a:gd name="connsiteX12933" fmla="*/ 2483779 w 5719680"/>
                <a:gd name="connsiteY12933" fmla="*/ 2672950 h 5704395"/>
                <a:gd name="connsiteX12934" fmla="*/ 2458370 w 5719680"/>
                <a:gd name="connsiteY12934" fmla="*/ 2722701 h 5704395"/>
                <a:gd name="connsiteX12935" fmla="*/ 2463452 w 5719680"/>
                <a:gd name="connsiteY12935" fmla="*/ 2725236 h 5704395"/>
                <a:gd name="connsiteX12936" fmla="*/ 2488861 w 5719680"/>
                <a:gd name="connsiteY12936" fmla="*/ 2675168 h 5704395"/>
                <a:gd name="connsiteX12937" fmla="*/ 2483779 w 5719680"/>
                <a:gd name="connsiteY12937" fmla="*/ 2672950 h 5704395"/>
                <a:gd name="connsiteX12938" fmla="*/ 212487 w 5719680"/>
                <a:gd name="connsiteY12938" fmla="*/ 2671365 h 5704395"/>
                <a:gd name="connsiteX12939" fmla="*/ 130224 w 5719680"/>
                <a:gd name="connsiteY12939" fmla="*/ 2739496 h 5704395"/>
                <a:gd name="connsiteX12940" fmla="*/ 148963 w 5719680"/>
                <a:gd name="connsiteY12940" fmla="*/ 2757876 h 5704395"/>
                <a:gd name="connsiteX12941" fmla="*/ 167385 w 5719680"/>
                <a:gd name="connsiteY12941" fmla="*/ 2775938 h 5704395"/>
                <a:gd name="connsiteX12942" fmla="*/ 173420 w 5719680"/>
                <a:gd name="connsiteY12942" fmla="*/ 2781642 h 5704395"/>
                <a:gd name="connsiteX12943" fmla="*/ 259177 w 5719680"/>
                <a:gd name="connsiteY12943" fmla="*/ 2733792 h 5704395"/>
                <a:gd name="connsiteX12944" fmla="*/ 2337992 w 5719680"/>
                <a:gd name="connsiteY12944" fmla="*/ 2668513 h 5704395"/>
                <a:gd name="connsiteX12945" fmla="*/ 2320841 w 5719680"/>
                <a:gd name="connsiteY12945" fmla="*/ 2722384 h 5704395"/>
                <a:gd name="connsiteX12946" fmla="*/ 2387541 w 5719680"/>
                <a:gd name="connsiteY12946" fmla="*/ 2755024 h 5704395"/>
                <a:gd name="connsiteX12947" fmla="*/ 2412950 w 5719680"/>
                <a:gd name="connsiteY12947" fmla="*/ 2705272 h 5704395"/>
                <a:gd name="connsiteX12948" fmla="*/ 2337992 w 5719680"/>
                <a:gd name="connsiteY12948" fmla="*/ 2668513 h 5704395"/>
                <a:gd name="connsiteX12949" fmla="*/ 758474 w 5719680"/>
                <a:gd name="connsiteY12949" fmla="*/ 2668513 h 5704395"/>
                <a:gd name="connsiteX12950" fmla="*/ 749581 w 5719680"/>
                <a:gd name="connsiteY12950" fmla="*/ 2672950 h 5704395"/>
                <a:gd name="connsiteX12951" fmla="*/ 764826 w 5719680"/>
                <a:gd name="connsiteY12951" fmla="*/ 2704955 h 5704395"/>
                <a:gd name="connsiteX12952" fmla="*/ 727983 w 5719680"/>
                <a:gd name="connsiteY12952" fmla="*/ 2722067 h 5704395"/>
                <a:gd name="connsiteX12953" fmla="*/ 730206 w 5719680"/>
                <a:gd name="connsiteY12953" fmla="*/ 2731257 h 5704395"/>
                <a:gd name="connsiteX12954" fmla="*/ 725442 w 5719680"/>
                <a:gd name="connsiteY12954" fmla="*/ 2734426 h 5704395"/>
                <a:gd name="connsiteX12955" fmla="*/ 733700 w 5719680"/>
                <a:gd name="connsiteY12955" fmla="*/ 2749953 h 5704395"/>
                <a:gd name="connsiteX12956" fmla="*/ 724171 w 5719680"/>
                <a:gd name="connsiteY12956" fmla="*/ 2755657 h 5704395"/>
                <a:gd name="connsiteX12957" fmla="*/ 719089 w 5719680"/>
                <a:gd name="connsiteY12957" fmla="*/ 2744566 h 5704395"/>
                <a:gd name="connsiteX12958" fmla="*/ 692409 w 5719680"/>
                <a:gd name="connsiteY12958" fmla="*/ 2756925 h 5704395"/>
                <a:gd name="connsiteX12959" fmla="*/ 685104 w 5719680"/>
                <a:gd name="connsiteY12959" fmla="*/ 2742982 h 5704395"/>
                <a:gd name="connsiteX12960" fmla="*/ 677799 w 5719680"/>
                <a:gd name="connsiteY12960" fmla="*/ 2745834 h 5704395"/>
                <a:gd name="connsiteX12961" fmla="*/ 662235 w 5719680"/>
                <a:gd name="connsiteY12961" fmla="*/ 2715096 h 5704395"/>
                <a:gd name="connsiteX12962" fmla="*/ 649213 w 5719680"/>
                <a:gd name="connsiteY12962" fmla="*/ 2721433 h 5704395"/>
                <a:gd name="connsiteX12963" fmla="*/ 642226 w 5719680"/>
                <a:gd name="connsiteY12963" fmla="*/ 2724919 h 5704395"/>
                <a:gd name="connsiteX12964" fmla="*/ 680022 w 5719680"/>
                <a:gd name="connsiteY12964" fmla="*/ 2806676 h 5704395"/>
                <a:gd name="connsiteX12965" fmla="*/ 682881 w 5719680"/>
                <a:gd name="connsiteY12965" fmla="*/ 2812063 h 5704395"/>
                <a:gd name="connsiteX12966" fmla="*/ 701620 w 5719680"/>
                <a:gd name="connsiteY12966" fmla="*/ 2800655 h 5704395"/>
                <a:gd name="connsiteX12967" fmla="*/ 796271 w 5719680"/>
                <a:gd name="connsiteY12967" fmla="*/ 2746151 h 5704395"/>
                <a:gd name="connsiteX12968" fmla="*/ 758792 w 5719680"/>
                <a:gd name="connsiteY12968" fmla="*/ 2668830 h 5704395"/>
                <a:gd name="connsiteX12969" fmla="*/ 758474 w 5719680"/>
                <a:gd name="connsiteY12969" fmla="*/ 2668513 h 5704395"/>
                <a:gd name="connsiteX12970" fmla="*/ 343981 w 5719680"/>
                <a:gd name="connsiteY12970" fmla="*/ 2666929 h 5704395"/>
                <a:gd name="connsiteX12971" fmla="*/ 336676 w 5719680"/>
                <a:gd name="connsiteY12971" fmla="*/ 2678970 h 5704395"/>
                <a:gd name="connsiteX12972" fmla="*/ 431644 w 5719680"/>
                <a:gd name="connsiteY12972" fmla="*/ 2749953 h 5704395"/>
                <a:gd name="connsiteX12973" fmla="*/ 447525 w 5719680"/>
                <a:gd name="connsiteY12973" fmla="*/ 2724286 h 5704395"/>
                <a:gd name="connsiteX12974" fmla="*/ 427198 w 5719680"/>
                <a:gd name="connsiteY12974" fmla="*/ 2710342 h 5704395"/>
                <a:gd name="connsiteX12975" fmla="*/ 421798 w 5719680"/>
                <a:gd name="connsiteY12975" fmla="*/ 2718898 h 5704395"/>
                <a:gd name="connsiteX12976" fmla="*/ 419257 w 5719680"/>
                <a:gd name="connsiteY12976" fmla="*/ 2723018 h 5704395"/>
                <a:gd name="connsiteX12977" fmla="*/ 415446 w 5719680"/>
                <a:gd name="connsiteY12977" fmla="*/ 2720166 h 5704395"/>
                <a:gd name="connsiteX12978" fmla="*/ 1721494 w 5719680"/>
                <a:gd name="connsiteY12978" fmla="*/ 2664710 h 5704395"/>
                <a:gd name="connsiteX12979" fmla="*/ 1727211 w 5719680"/>
                <a:gd name="connsiteY12979" fmla="*/ 2697350 h 5704395"/>
                <a:gd name="connsiteX12980" fmla="*/ 1864423 w 5719680"/>
                <a:gd name="connsiteY12980" fmla="*/ 2720800 h 5704395"/>
                <a:gd name="connsiteX12981" fmla="*/ 1867917 w 5719680"/>
                <a:gd name="connsiteY12981" fmla="*/ 2706540 h 5704395"/>
                <a:gd name="connsiteX12982" fmla="*/ 1868552 w 5719680"/>
                <a:gd name="connsiteY12982" fmla="*/ 2704638 h 5704395"/>
                <a:gd name="connsiteX12983" fmla="*/ 1867599 w 5719680"/>
                <a:gd name="connsiteY12983" fmla="*/ 2704638 h 5704395"/>
                <a:gd name="connsiteX12984" fmla="*/ 1867917 w 5719680"/>
                <a:gd name="connsiteY12984" fmla="*/ 2700202 h 5704395"/>
                <a:gd name="connsiteX12985" fmla="*/ 1869505 w 5719680"/>
                <a:gd name="connsiteY12985" fmla="*/ 2700202 h 5704395"/>
                <a:gd name="connsiteX12986" fmla="*/ 1872363 w 5719680"/>
                <a:gd name="connsiteY12986" fmla="*/ 2689428 h 5704395"/>
                <a:gd name="connsiteX12987" fmla="*/ 1721494 w 5719680"/>
                <a:gd name="connsiteY12987" fmla="*/ 2664710 h 5704395"/>
                <a:gd name="connsiteX12988" fmla="*/ 2553020 w 5719680"/>
                <a:gd name="connsiteY12988" fmla="*/ 2661542 h 5704395"/>
                <a:gd name="connsiteX12989" fmla="*/ 2539680 w 5719680"/>
                <a:gd name="connsiteY12989" fmla="*/ 2681822 h 5704395"/>
                <a:gd name="connsiteX12990" fmla="*/ 2558102 w 5719680"/>
                <a:gd name="connsiteY12990" fmla="*/ 2691646 h 5704395"/>
                <a:gd name="connsiteX12991" fmla="*/ 2533010 w 5719680"/>
                <a:gd name="connsiteY12991" fmla="*/ 2737278 h 5704395"/>
                <a:gd name="connsiteX12992" fmla="*/ 2546032 w 5719680"/>
                <a:gd name="connsiteY12992" fmla="*/ 2744883 h 5704395"/>
                <a:gd name="connsiteX12993" fmla="*/ 2571442 w 5719680"/>
                <a:gd name="connsiteY12993" fmla="*/ 2701469 h 5704395"/>
                <a:gd name="connsiteX12994" fmla="*/ 2599392 w 5719680"/>
                <a:gd name="connsiteY12994" fmla="*/ 2716997 h 5704395"/>
                <a:gd name="connsiteX12995" fmla="*/ 2547938 w 5719680"/>
                <a:gd name="connsiteY12995" fmla="*/ 2804141 h 5704395"/>
                <a:gd name="connsiteX12996" fmla="*/ 2564772 w 5719680"/>
                <a:gd name="connsiteY12996" fmla="*/ 2814282 h 5704395"/>
                <a:gd name="connsiteX12997" fmla="*/ 2607333 w 5719680"/>
                <a:gd name="connsiteY12997" fmla="*/ 2740130 h 5704395"/>
                <a:gd name="connsiteX12998" fmla="*/ 2654340 w 5719680"/>
                <a:gd name="connsiteY12998" fmla="*/ 2767699 h 5704395"/>
                <a:gd name="connsiteX12999" fmla="*/ 2611780 w 5719680"/>
                <a:gd name="connsiteY12999" fmla="*/ 2841534 h 5704395"/>
                <a:gd name="connsiteX13000" fmla="*/ 2641636 w 5719680"/>
                <a:gd name="connsiteY13000" fmla="*/ 2858012 h 5704395"/>
                <a:gd name="connsiteX13001" fmla="*/ 2669586 w 5719680"/>
                <a:gd name="connsiteY13001" fmla="*/ 2808578 h 5704395"/>
                <a:gd name="connsiteX13002" fmla="*/ 2652435 w 5719680"/>
                <a:gd name="connsiteY13002" fmla="*/ 2797487 h 5704395"/>
                <a:gd name="connsiteX13003" fmla="*/ 2689279 w 5719680"/>
                <a:gd name="connsiteY13003" fmla="*/ 2729039 h 5704395"/>
                <a:gd name="connsiteX13004" fmla="*/ 2708654 w 5719680"/>
                <a:gd name="connsiteY13004" fmla="*/ 2740764 h 5704395"/>
                <a:gd name="connsiteX13005" fmla="*/ 2721676 w 5719680"/>
                <a:gd name="connsiteY13005" fmla="*/ 2718581 h 5704395"/>
                <a:gd name="connsiteX13006" fmla="*/ 2629249 w 5719680"/>
                <a:gd name="connsiteY13006" fmla="*/ 2665028 h 5704395"/>
                <a:gd name="connsiteX13007" fmla="*/ 2610827 w 5719680"/>
                <a:gd name="connsiteY13007" fmla="*/ 2692914 h 5704395"/>
                <a:gd name="connsiteX13008" fmla="*/ 2553020 w 5719680"/>
                <a:gd name="connsiteY13008" fmla="*/ 2661542 h 5704395"/>
                <a:gd name="connsiteX13009" fmla="*/ 342711 w 5719680"/>
                <a:gd name="connsiteY13009" fmla="*/ 2660274 h 5704395"/>
                <a:gd name="connsiteX13010" fmla="*/ 417987 w 5719680"/>
                <a:gd name="connsiteY13010" fmla="*/ 2716680 h 5704395"/>
                <a:gd name="connsiteX13011" fmla="*/ 425927 w 5719680"/>
                <a:gd name="connsiteY13011" fmla="*/ 2704005 h 5704395"/>
                <a:gd name="connsiteX13012" fmla="*/ 453560 w 5719680"/>
                <a:gd name="connsiteY13012" fmla="*/ 2723018 h 5704395"/>
                <a:gd name="connsiteX13013" fmla="*/ 432915 w 5719680"/>
                <a:gd name="connsiteY13013" fmla="*/ 2756608 h 5704395"/>
                <a:gd name="connsiteX13014" fmla="*/ 330641 w 5719680"/>
                <a:gd name="connsiteY13014" fmla="*/ 2679921 h 5704395"/>
                <a:gd name="connsiteX13015" fmla="*/ 2004810 w 5719680"/>
                <a:gd name="connsiteY13015" fmla="*/ 2659323 h 5704395"/>
                <a:gd name="connsiteX13016" fmla="*/ 1989247 w 5719680"/>
                <a:gd name="connsiteY13016" fmla="*/ 2701786 h 5704395"/>
                <a:gd name="connsiteX13017" fmla="*/ 2031808 w 5719680"/>
                <a:gd name="connsiteY13017" fmla="*/ 2702420 h 5704395"/>
                <a:gd name="connsiteX13018" fmla="*/ 2042289 w 5719680"/>
                <a:gd name="connsiteY13018" fmla="*/ 2673583 h 5704395"/>
                <a:gd name="connsiteX13019" fmla="*/ 2004810 w 5719680"/>
                <a:gd name="connsiteY13019" fmla="*/ 2659323 h 5704395"/>
                <a:gd name="connsiteX13020" fmla="*/ 818186 w 5719680"/>
                <a:gd name="connsiteY13020" fmla="*/ 2659323 h 5704395"/>
                <a:gd name="connsiteX13021" fmla="*/ 790236 w 5719680"/>
                <a:gd name="connsiteY13021" fmla="*/ 2670415 h 5704395"/>
                <a:gd name="connsiteX13022" fmla="*/ 817551 w 5719680"/>
                <a:gd name="connsiteY13022" fmla="*/ 2732525 h 5704395"/>
                <a:gd name="connsiteX13023" fmla="*/ 835338 w 5719680"/>
                <a:gd name="connsiteY13023" fmla="*/ 2727771 h 5704395"/>
                <a:gd name="connsiteX13024" fmla="*/ 839149 w 5719680"/>
                <a:gd name="connsiteY13024" fmla="*/ 2693548 h 5704395"/>
                <a:gd name="connsiteX13025" fmla="*/ 840102 w 5719680"/>
                <a:gd name="connsiteY13025" fmla="*/ 2684358 h 5704395"/>
                <a:gd name="connsiteX13026" fmla="*/ 846454 w 5719680"/>
                <a:gd name="connsiteY13026" fmla="*/ 2690695 h 5704395"/>
                <a:gd name="connsiteX13027" fmla="*/ 875040 w 5719680"/>
                <a:gd name="connsiteY13027" fmla="*/ 2718581 h 5704395"/>
                <a:gd name="connsiteX13028" fmla="*/ 878852 w 5719680"/>
                <a:gd name="connsiteY13028" fmla="*/ 2717948 h 5704395"/>
                <a:gd name="connsiteX13029" fmla="*/ 571397 w 5719680"/>
                <a:gd name="connsiteY13029" fmla="*/ 2658056 h 5704395"/>
                <a:gd name="connsiteX13030" fmla="*/ 556468 w 5719680"/>
                <a:gd name="connsiteY13030" fmla="*/ 2675168 h 5704395"/>
                <a:gd name="connsiteX13031" fmla="*/ 538364 w 5719680"/>
                <a:gd name="connsiteY13031" fmla="*/ 2690062 h 5704395"/>
                <a:gd name="connsiteX13032" fmla="*/ 533282 w 5719680"/>
                <a:gd name="connsiteY13032" fmla="*/ 2698935 h 5704395"/>
                <a:gd name="connsiteX13033" fmla="*/ 534553 w 5719680"/>
                <a:gd name="connsiteY13033" fmla="*/ 2702103 h 5704395"/>
                <a:gd name="connsiteX13034" fmla="*/ 540587 w 5719680"/>
                <a:gd name="connsiteY13034" fmla="*/ 2716363 h 5704395"/>
                <a:gd name="connsiteX13035" fmla="*/ 539317 w 5719680"/>
                <a:gd name="connsiteY13035" fmla="*/ 2721433 h 5704395"/>
                <a:gd name="connsiteX13036" fmla="*/ 524389 w 5719680"/>
                <a:gd name="connsiteY13036" fmla="*/ 2741080 h 5704395"/>
                <a:gd name="connsiteX13037" fmla="*/ 520578 w 5719680"/>
                <a:gd name="connsiteY13037" fmla="*/ 2759143 h 5704395"/>
                <a:gd name="connsiteX13038" fmla="*/ 525024 w 5719680"/>
                <a:gd name="connsiteY13038" fmla="*/ 2769917 h 5704395"/>
                <a:gd name="connsiteX13039" fmla="*/ 536141 w 5719680"/>
                <a:gd name="connsiteY13039" fmla="*/ 2756608 h 5704395"/>
                <a:gd name="connsiteX13040" fmla="*/ 551704 w 5719680"/>
                <a:gd name="connsiteY13040" fmla="*/ 2741397 h 5704395"/>
                <a:gd name="connsiteX13041" fmla="*/ 587913 w 5719680"/>
                <a:gd name="connsiteY13041" fmla="*/ 2730623 h 5704395"/>
                <a:gd name="connsiteX13042" fmla="*/ 600617 w 5719680"/>
                <a:gd name="connsiteY13042" fmla="*/ 2719215 h 5704395"/>
                <a:gd name="connsiteX13043" fmla="*/ 596806 w 5719680"/>
                <a:gd name="connsiteY13043" fmla="*/ 2714779 h 5704395"/>
                <a:gd name="connsiteX13044" fmla="*/ 565044 w 5719680"/>
                <a:gd name="connsiteY13044" fmla="*/ 2709709 h 5704395"/>
                <a:gd name="connsiteX13045" fmla="*/ 556468 w 5719680"/>
                <a:gd name="connsiteY13045" fmla="*/ 2697350 h 5704395"/>
                <a:gd name="connsiteX13046" fmla="*/ 559962 w 5719680"/>
                <a:gd name="connsiteY13046" fmla="*/ 2690378 h 5704395"/>
                <a:gd name="connsiteX13047" fmla="*/ 582513 w 5719680"/>
                <a:gd name="connsiteY13047" fmla="*/ 2680872 h 5704395"/>
                <a:gd name="connsiteX13048" fmla="*/ 583148 w 5719680"/>
                <a:gd name="connsiteY13048" fmla="*/ 2676118 h 5704395"/>
                <a:gd name="connsiteX13049" fmla="*/ 580607 w 5719680"/>
                <a:gd name="connsiteY13049" fmla="*/ 2664077 h 5704395"/>
                <a:gd name="connsiteX13050" fmla="*/ 572349 w 5719680"/>
                <a:gd name="connsiteY13050" fmla="*/ 2658056 h 5704395"/>
                <a:gd name="connsiteX13051" fmla="*/ 571397 w 5719680"/>
                <a:gd name="connsiteY13051" fmla="*/ 2658056 h 5704395"/>
                <a:gd name="connsiteX13052" fmla="*/ 424021 w 5719680"/>
                <a:gd name="connsiteY13052" fmla="*/ 2657422 h 5704395"/>
                <a:gd name="connsiteX13053" fmla="*/ 390989 w 5719680"/>
                <a:gd name="connsiteY13053" fmla="*/ 2678020 h 5704395"/>
                <a:gd name="connsiteX13054" fmla="*/ 410364 w 5719680"/>
                <a:gd name="connsiteY13054" fmla="*/ 2691963 h 5704395"/>
                <a:gd name="connsiteX13055" fmla="*/ 424974 w 5719680"/>
                <a:gd name="connsiteY13055" fmla="*/ 2682773 h 5704395"/>
                <a:gd name="connsiteX13056" fmla="*/ 427515 w 5719680"/>
                <a:gd name="connsiteY13056" fmla="*/ 2681189 h 5704395"/>
                <a:gd name="connsiteX13057" fmla="*/ 430056 w 5719680"/>
                <a:gd name="connsiteY13057" fmla="*/ 2683090 h 5704395"/>
                <a:gd name="connsiteX13058" fmla="*/ 458324 w 5719680"/>
                <a:gd name="connsiteY13058" fmla="*/ 2703371 h 5704395"/>
                <a:gd name="connsiteX13059" fmla="*/ 466900 w 5719680"/>
                <a:gd name="connsiteY13059" fmla="*/ 2689428 h 5704395"/>
                <a:gd name="connsiteX13060" fmla="*/ 424021 w 5719680"/>
                <a:gd name="connsiteY13060" fmla="*/ 2657422 h 5704395"/>
                <a:gd name="connsiteX13061" fmla="*/ 571079 w 5719680"/>
                <a:gd name="connsiteY13061" fmla="*/ 2655521 h 5704395"/>
                <a:gd name="connsiteX13062" fmla="*/ 572349 w 5719680"/>
                <a:gd name="connsiteY13062" fmla="*/ 2655521 h 5704395"/>
                <a:gd name="connsiteX13063" fmla="*/ 585689 w 5719680"/>
                <a:gd name="connsiteY13063" fmla="*/ 2676118 h 5704395"/>
                <a:gd name="connsiteX13064" fmla="*/ 585054 w 5719680"/>
                <a:gd name="connsiteY13064" fmla="*/ 2681506 h 5704395"/>
                <a:gd name="connsiteX13065" fmla="*/ 561550 w 5719680"/>
                <a:gd name="connsiteY13065" fmla="*/ 2692597 h 5704395"/>
                <a:gd name="connsiteX13066" fmla="*/ 559009 w 5719680"/>
                <a:gd name="connsiteY13066" fmla="*/ 2697350 h 5704395"/>
                <a:gd name="connsiteX13067" fmla="*/ 565997 w 5719680"/>
                <a:gd name="connsiteY13067" fmla="*/ 2707173 h 5704395"/>
                <a:gd name="connsiteX13068" fmla="*/ 597759 w 5719680"/>
                <a:gd name="connsiteY13068" fmla="*/ 2712561 h 5704395"/>
                <a:gd name="connsiteX13069" fmla="*/ 603158 w 5719680"/>
                <a:gd name="connsiteY13069" fmla="*/ 2719215 h 5704395"/>
                <a:gd name="connsiteX13070" fmla="*/ 589183 w 5719680"/>
                <a:gd name="connsiteY13070" fmla="*/ 2732841 h 5704395"/>
                <a:gd name="connsiteX13071" fmla="*/ 552657 w 5719680"/>
                <a:gd name="connsiteY13071" fmla="*/ 2743933 h 5704395"/>
                <a:gd name="connsiteX13072" fmla="*/ 538682 w 5719680"/>
                <a:gd name="connsiteY13072" fmla="*/ 2757559 h 5704395"/>
                <a:gd name="connsiteX13073" fmla="*/ 525977 w 5719680"/>
                <a:gd name="connsiteY13073" fmla="*/ 2772453 h 5704395"/>
                <a:gd name="connsiteX13074" fmla="*/ 525342 w 5719680"/>
                <a:gd name="connsiteY13074" fmla="*/ 2772769 h 5704395"/>
                <a:gd name="connsiteX13075" fmla="*/ 525024 w 5719680"/>
                <a:gd name="connsiteY13075" fmla="*/ 2772453 h 5704395"/>
                <a:gd name="connsiteX13076" fmla="*/ 518037 w 5719680"/>
                <a:gd name="connsiteY13076" fmla="*/ 2759143 h 5704395"/>
                <a:gd name="connsiteX13077" fmla="*/ 521848 w 5719680"/>
                <a:gd name="connsiteY13077" fmla="*/ 2740130 h 5704395"/>
                <a:gd name="connsiteX13078" fmla="*/ 537094 w 5719680"/>
                <a:gd name="connsiteY13078" fmla="*/ 2720483 h 5704395"/>
                <a:gd name="connsiteX13079" fmla="*/ 538047 w 5719680"/>
                <a:gd name="connsiteY13079" fmla="*/ 2716363 h 5704395"/>
                <a:gd name="connsiteX13080" fmla="*/ 532647 w 5719680"/>
                <a:gd name="connsiteY13080" fmla="*/ 2703688 h 5704395"/>
                <a:gd name="connsiteX13081" fmla="*/ 530741 w 5719680"/>
                <a:gd name="connsiteY13081" fmla="*/ 2698935 h 5704395"/>
                <a:gd name="connsiteX13082" fmla="*/ 536458 w 5719680"/>
                <a:gd name="connsiteY13082" fmla="*/ 2688477 h 5704395"/>
                <a:gd name="connsiteX13083" fmla="*/ 553927 w 5719680"/>
                <a:gd name="connsiteY13083" fmla="*/ 2674217 h 5704395"/>
                <a:gd name="connsiteX13084" fmla="*/ 571079 w 5719680"/>
                <a:gd name="connsiteY13084" fmla="*/ 2655521 h 5704395"/>
                <a:gd name="connsiteX13085" fmla="*/ 2551432 w 5719680"/>
                <a:gd name="connsiteY13085" fmla="*/ 2655204 h 5704395"/>
                <a:gd name="connsiteX13086" fmla="*/ 2553338 w 5719680"/>
                <a:gd name="connsiteY13086" fmla="*/ 2656155 h 5704395"/>
                <a:gd name="connsiteX13087" fmla="*/ 2609239 w 5719680"/>
                <a:gd name="connsiteY13087" fmla="*/ 2686576 h 5704395"/>
                <a:gd name="connsiteX13088" fmla="*/ 2627978 w 5719680"/>
                <a:gd name="connsiteY13088" fmla="*/ 2658690 h 5704395"/>
                <a:gd name="connsiteX13089" fmla="*/ 2728028 w 5719680"/>
                <a:gd name="connsiteY13089" fmla="*/ 2716997 h 5704395"/>
                <a:gd name="connsiteX13090" fmla="*/ 2710242 w 5719680"/>
                <a:gd name="connsiteY13090" fmla="*/ 2747101 h 5704395"/>
                <a:gd name="connsiteX13091" fmla="*/ 2690867 w 5719680"/>
                <a:gd name="connsiteY13091" fmla="*/ 2735693 h 5704395"/>
                <a:gd name="connsiteX13092" fmla="*/ 2658787 w 5719680"/>
                <a:gd name="connsiteY13092" fmla="*/ 2795902 h 5704395"/>
                <a:gd name="connsiteX13093" fmla="*/ 2675939 w 5719680"/>
                <a:gd name="connsiteY13093" fmla="*/ 2806993 h 5704395"/>
                <a:gd name="connsiteX13094" fmla="*/ 2643542 w 5719680"/>
                <a:gd name="connsiteY13094" fmla="*/ 2864350 h 5704395"/>
                <a:gd name="connsiteX13095" fmla="*/ 2605427 w 5719680"/>
                <a:gd name="connsiteY13095" fmla="*/ 2843435 h 5704395"/>
                <a:gd name="connsiteX13096" fmla="*/ 2647988 w 5719680"/>
                <a:gd name="connsiteY13096" fmla="*/ 2769284 h 5704395"/>
                <a:gd name="connsiteX13097" fmla="*/ 2609239 w 5719680"/>
                <a:gd name="connsiteY13097" fmla="*/ 2746784 h 5704395"/>
                <a:gd name="connsiteX13098" fmla="*/ 2566360 w 5719680"/>
                <a:gd name="connsiteY13098" fmla="*/ 2820620 h 5704395"/>
                <a:gd name="connsiteX13099" fmla="*/ 2541586 w 5719680"/>
                <a:gd name="connsiteY13099" fmla="*/ 2805726 h 5704395"/>
                <a:gd name="connsiteX13100" fmla="*/ 2592722 w 5719680"/>
                <a:gd name="connsiteY13100" fmla="*/ 2718898 h 5704395"/>
                <a:gd name="connsiteX13101" fmla="*/ 2573348 w 5719680"/>
                <a:gd name="connsiteY13101" fmla="*/ 2707808 h 5704395"/>
                <a:gd name="connsiteX13102" fmla="*/ 2547621 w 5719680"/>
                <a:gd name="connsiteY13102" fmla="*/ 2751221 h 5704395"/>
                <a:gd name="connsiteX13103" fmla="*/ 2526658 w 5719680"/>
                <a:gd name="connsiteY13103" fmla="*/ 2739179 h 5704395"/>
                <a:gd name="connsiteX13104" fmla="*/ 2551432 w 5719680"/>
                <a:gd name="connsiteY13104" fmla="*/ 2693548 h 5704395"/>
                <a:gd name="connsiteX13105" fmla="*/ 2533010 w 5719680"/>
                <a:gd name="connsiteY13105" fmla="*/ 2683724 h 5704395"/>
                <a:gd name="connsiteX13106" fmla="*/ 2551432 w 5719680"/>
                <a:gd name="connsiteY13106" fmla="*/ 2655204 h 5704395"/>
                <a:gd name="connsiteX13107" fmla="*/ 2443442 w 5719680"/>
                <a:gd name="connsiteY13107" fmla="*/ 2654253 h 5704395"/>
                <a:gd name="connsiteX13108" fmla="*/ 2418668 w 5719680"/>
                <a:gd name="connsiteY13108" fmla="*/ 2703371 h 5704395"/>
                <a:gd name="connsiteX13109" fmla="*/ 2454558 w 5719680"/>
                <a:gd name="connsiteY13109" fmla="*/ 2721117 h 5704395"/>
                <a:gd name="connsiteX13110" fmla="*/ 2479968 w 5719680"/>
                <a:gd name="connsiteY13110" fmla="*/ 2671048 h 5704395"/>
                <a:gd name="connsiteX13111" fmla="*/ 2443442 w 5719680"/>
                <a:gd name="connsiteY13111" fmla="*/ 2654253 h 5704395"/>
                <a:gd name="connsiteX13112" fmla="*/ 254731 w 5719680"/>
                <a:gd name="connsiteY13112" fmla="*/ 2652986 h 5704395"/>
                <a:gd name="connsiteX13113" fmla="*/ 237579 w 5719680"/>
                <a:gd name="connsiteY13113" fmla="*/ 2663126 h 5704395"/>
                <a:gd name="connsiteX13114" fmla="*/ 270611 w 5719680"/>
                <a:gd name="connsiteY13114" fmla="*/ 2703054 h 5704395"/>
                <a:gd name="connsiteX13115" fmla="*/ 283951 w 5719680"/>
                <a:gd name="connsiteY13115" fmla="*/ 2702103 h 5704395"/>
                <a:gd name="connsiteX13116" fmla="*/ 291257 w 5719680"/>
                <a:gd name="connsiteY13116" fmla="*/ 2688477 h 5704395"/>
                <a:gd name="connsiteX13117" fmla="*/ 424339 w 5719680"/>
                <a:gd name="connsiteY13117" fmla="*/ 2652352 h 5704395"/>
                <a:gd name="connsiteX13118" fmla="*/ 472617 w 5719680"/>
                <a:gd name="connsiteY13118" fmla="*/ 2688160 h 5704395"/>
                <a:gd name="connsiteX13119" fmla="*/ 459912 w 5719680"/>
                <a:gd name="connsiteY13119" fmla="*/ 2709709 h 5704395"/>
                <a:gd name="connsiteX13120" fmla="*/ 427515 w 5719680"/>
                <a:gd name="connsiteY13120" fmla="*/ 2686576 h 5704395"/>
                <a:gd name="connsiteX13121" fmla="*/ 410364 w 5719680"/>
                <a:gd name="connsiteY13121" fmla="*/ 2697350 h 5704395"/>
                <a:gd name="connsiteX13122" fmla="*/ 383049 w 5719680"/>
                <a:gd name="connsiteY13122" fmla="*/ 2678020 h 5704395"/>
                <a:gd name="connsiteX13123" fmla="*/ 424339 w 5719680"/>
                <a:gd name="connsiteY13123" fmla="*/ 2652352 h 5704395"/>
                <a:gd name="connsiteX13124" fmla="*/ 825809 w 5719680"/>
                <a:gd name="connsiteY13124" fmla="*/ 2652035 h 5704395"/>
                <a:gd name="connsiteX13125" fmla="*/ 819457 w 5719680"/>
                <a:gd name="connsiteY13125" fmla="*/ 2654253 h 5704395"/>
                <a:gd name="connsiteX13126" fmla="*/ 888062 w 5719680"/>
                <a:gd name="connsiteY13126" fmla="*/ 2720483 h 5704395"/>
                <a:gd name="connsiteX13127" fmla="*/ 873770 w 5719680"/>
                <a:gd name="connsiteY13127" fmla="*/ 2723652 h 5704395"/>
                <a:gd name="connsiteX13128" fmla="*/ 843278 w 5719680"/>
                <a:gd name="connsiteY13128" fmla="*/ 2693864 h 5704395"/>
                <a:gd name="connsiteX13129" fmla="*/ 839467 w 5719680"/>
                <a:gd name="connsiteY13129" fmla="*/ 2731257 h 5704395"/>
                <a:gd name="connsiteX13130" fmla="*/ 815010 w 5719680"/>
                <a:gd name="connsiteY13130" fmla="*/ 2737912 h 5704395"/>
                <a:gd name="connsiteX13131" fmla="*/ 784519 w 5719680"/>
                <a:gd name="connsiteY13131" fmla="*/ 2667879 h 5704395"/>
                <a:gd name="connsiteX13132" fmla="*/ 818504 w 5719680"/>
                <a:gd name="connsiteY13132" fmla="*/ 2654570 h 5704395"/>
                <a:gd name="connsiteX13133" fmla="*/ 800717 w 5719680"/>
                <a:gd name="connsiteY13133" fmla="*/ 2661225 h 5704395"/>
                <a:gd name="connsiteX13134" fmla="*/ 782295 w 5719680"/>
                <a:gd name="connsiteY13134" fmla="*/ 2668196 h 5704395"/>
                <a:gd name="connsiteX13135" fmla="*/ 776261 w 5719680"/>
                <a:gd name="connsiteY13135" fmla="*/ 2670731 h 5704395"/>
                <a:gd name="connsiteX13136" fmla="*/ 775943 w 5719680"/>
                <a:gd name="connsiteY13136" fmla="*/ 2670731 h 5704395"/>
                <a:gd name="connsiteX13137" fmla="*/ 808340 w 5719680"/>
                <a:gd name="connsiteY13137" fmla="*/ 2738545 h 5704395"/>
                <a:gd name="connsiteX13138" fmla="*/ 808975 w 5719680"/>
                <a:gd name="connsiteY13138" fmla="*/ 2738228 h 5704395"/>
                <a:gd name="connsiteX13139" fmla="*/ 827080 w 5719680"/>
                <a:gd name="connsiteY13139" fmla="*/ 2776255 h 5704395"/>
                <a:gd name="connsiteX13140" fmla="*/ 907755 w 5719680"/>
                <a:gd name="connsiteY13140" fmla="*/ 2733475 h 5704395"/>
                <a:gd name="connsiteX13141" fmla="*/ 825809 w 5719680"/>
                <a:gd name="connsiteY13141" fmla="*/ 2652035 h 5704395"/>
                <a:gd name="connsiteX13142" fmla="*/ 2241118 w 5719680"/>
                <a:gd name="connsiteY13142" fmla="*/ 2647282 h 5704395"/>
                <a:gd name="connsiteX13143" fmla="*/ 2222696 w 5719680"/>
                <a:gd name="connsiteY13143" fmla="*/ 2701153 h 5704395"/>
                <a:gd name="connsiteX13144" fmla="*/ 2301148 w 5719680"/>
                <a:gd name="connsiteY13144" fmla="*/ 2716046 h 5704395"/>
                <a:gd name="connsiteX13145" fmla="*/ 2318300 w 5719680"/>
                <a:gd name="connsiteY13145" fmla="*/ 2662492 h 5704395"/>
                <a:gd name="connsiteX13146" fmla="*/ 255366 w 5719680"/>
                <a:gd name="connsiteY13146" fmla="*/ 2647282 h 5704395"/>
                <a:gd name="connsiteX13147" fmla="*/ 296974 w 5719680"/>
                <a:gd name="connsiteY13147" fmla="*/ 2687526 h 5704395"/>
                <a:gd name="connsiteX13148" fmla="*/ 296021 w 5719680"/>
                <a:gd name="connsiteY13148" fmla="*/ 2689111 h 5704395"/>
                <a:gd name="connsiteX13149" fmla="*/ 286810 w 5719680"/>
                <a:gd name="connsiteY13149" fmla="*/ 2706540 h 5704395"/>
                <a:gd name="connsiteX13150" fmla="*/ 268706 w 5719680"/>
                <a:gd name="connsiteY13150" fmla="*/ 2707808 h 5704395"/>
                <a:gd name="connsiteX13151" fmla="*/ 230274 w 5719680"/>
                <a:gd name="connsiteY13151" fmla="*/ 2661859 h 5704395"/>
                <a:gd name="connsiteX13152" fmla="*/ 255366 w 5719680"/>
                <a:gd name="connsiteY13152" fmla="*/ 2647282 h 5704395"/>
                <a:gd name="connsiteX13153" fmla="*/ 1366079 w 5719680"/>
                <a:gd name="connsiteY13153" fmla="*/ 2645381 h 5704395"/>
                <a:gd name="connsiteX13154" fmla="*/ 1320024 w 5719680"/>
                <a:gd name="connsiteY13154" fmla="*/ 2655521 h 5704395"/>
                <a:gd name="connsiteX13155" fmla="*/ 1325106 w 5719680"/>
                <a:gd name="connsiteY13155" fmla="*/ 2672633 h 5704395"/>
                <a:gd name="connsiteX13156" fmla="*/ 1309543 w 5719680"/>
                <a:gd name="connsiteY13156" fmla="*/ 2676752 h 5704395"/>
                <a:gd name="connsiteX13157" fmla="*/ 1276193 w 5719680"/>
                <a:gd name="connsiteY13157" fmla="*/ 2667879 h 5704395"/>
                <a:gd name="connsiteX13158" fmla="*/ 1241255 w 5719680"/>
                <a:gd name="connsiteY13158" fmla="*/ 2681189 h 5704395"/>
                <a:gd name="connsiteX13159" fmla="*/ 1267617 w 5719680"/>
                <a:gd name="connsiteY13159" fmla="*/ 2745517 h 5704395"/>
                <a:gd name="connsiteX13160" fmla="*/ 1293979 w 5719680"/>
                <a:gd name="connsiteY13160" fmla="*/ 2751538 h 5704395"/>
                <a:gd name="connsiteX13161" fmla="*/ 1299379 w 5719680"/>
                <a:gd name="connsiteY13161" fmla="*/ 2764213 h 5704395"/>
                <a:gd name="connsiteX13162" fmla="*/ 1281592 w 5719680"/>
                <a:gd name="connsiteY13162" fmla="*/ 2774354 h 5704395"/>
                <a:gd name="connsiteX13163" fmla="*/ 1301920 w 5719680"/>
                <a:gd name="connsiteY13163" fmla="*/ 2817134 h 5704395"/>
                <a:gd name="connsiteX13164" fmla="*/ 1397523 w 5719680"/>
                <a:gd name="connsiteY13164" fmla="*/ 2756925 h 5704395"/>
                <a:gd name="connsiteX13165" fmla="*/ 1394029 w 5719680"/>
                <a:gd name="connsiteY13165" fmla="*/ 2744883 h 5704395"/>
                <a:gd name="connsiteX13166" fmla="*/ 1379736 w 5719680"/>
                <a:gd name="connsiteY13166" fmla="*/ 2745200 h 5704395"/>
                <a:gd name="connsiteX13167" fmla="*/ 1372431 w 5719680"/>
                <a:gd name="connsiteY13167" fmla="*/ 2678337 h 5704395"/>
                <a:gd name="connsiteX13168" fmla="*/ 1366079 w 5719680"/>
                <a:gd name="connsiteY13168" fmla="*/ 2645381 h 5704395"/>
                <a:gd name="connsiteX13169" fmla="*/ 1191388 w 5719680"/>
                <a:gd name="connsiteY13169" fmla="*/ 2644747 h 5704395"/>
                <a:gd name="connsiteX13170" fmla="*/ 722901 w 5719680"/>
                <a:gd name="connsiteY13170" fmla="*/ 2898257 h 5704395"/>
                <a:gd name="connsiteX13171" fmla="*/ 193430 w 5719680"/>
                <a:gd name="connsiteY13171" fmla="*/ 3179970 h 5704395"/>
                <a:gd name="connsiteX13172" fmla="*/ 193430 w 5719680"/>
                <a:gd name="connsiteY13172" fmla="*/ 3180287 h 5704395"/>
                <a:gd name="connsiteX13173" fmla="*/ 193112 w 5719680"/>
                <a:gd name="connsiteY13173" fmla="*/ 3180287 h 5704395"/>
                <a:gd name="connsiteX13174" fmla="*/ 174373 w 5719680"/>
                <a:gd name="connsiteY13174" fmla="*/ 3191061 h 5704395"/>
                <a:gd name="connsiteX13175" fmla="*/ 200418 w 5719680"/>
                <a:gd name="connsiteY13175" fmla="*/ 3221483 h 5704395"/>
                <a:gd name="connsiteX13176" fmla="*/ 212487 w 5719680"/>
                <a:gd name="connsiteY13176" fmla="*/ 3214194 h 5704395"/>
                <a:gd name="connsiteX13177" fmla="*/ 351604 w 5719680"/>
                <a:gd name="connsiteY13177" fmla="*/ 3139092 h 5704395"/>
                <a:gd name="connsiteX13178" fmla="*/ 387813 w 5719680"/>
                <a:gd name="connsiteY13178" fmla="*/ 3119445 h 5704395"/>
                <a:gd name="connsiteX13179" fmla="*/ 387495 w 5719680"/>
                <a:gd name="connsiteY13179" fmla="*/ 3119128 h 5704395"/>
                <a:gd name="connsiteX13180" fmla="*/ 386860 w 5719680"/>
                <a:gd name="connsiteY13180" fmla="*/ 3118811 h 5704395"/>
                <a:gd name="connsiteX13181" fmla="*/ 386225 w 5719680"/>
                <a:gd name="connsiteY13181" fmla="*/ 3116910 h 5704395"/>
                <a:gd name="connsiteX13182" fmla="*/ 387495 w 5719680"/>
                <a:gd name="connsiteY13182" fmla="*/ 3114691 h 5704395"/>
                <a:gd name="connsiteX13183" fmla="*/ 388448 w 5719680"/>
                <a:gd name="connsiteY13183" fmla="*/ 3114374 h 5704395"/>
                <a:gd name="connsiteX13184" fmla="*/ 388766 w 5719680"/>
                <a:gd name="connsiteY13184" fmla="*/ 3114058 h 5704395"/>
                <a:gd name="connsiteX13185" fmla="*/ 389719 w 5719680"/>
                <a:gd name="connsiteY13185" fmla="*/ 3114374 h 5704395"/>
                <a:gd name="connsiteX13186" fmla="*/ 390354 w 5719680"/>
                <a:gd name="connsiteY13186" fmla="*/ 3114691 h 5704395"/>
                <a:gd name="connsiteX13187" fmla="*/ 390671 w 5719680"/>
                <a:gd name="connsiteY13187" fmla="*/ 3115008 h 5704395"/>
                <a:gd name="connsiteX13188" fmla="*/ 390989 w 5719680"/>
                <a:gd name="connsiteY13188" fmla="*/ 3115325 h 5704395"/>
                <a:gd name="connsiteX13189" fmla="*/ 390989 w 5719680"/>
                <a:gd name="connsiteY13189" fmla="*/ 3115642 h 5704395"/>
                <a:gd name="connsiteX13190" fmla="*/ 392577 w 5719680"/>
                <a:gd name="connsiteY13190" fmla="*/ 3116910 h 5704395"/>
                <a:gd name="connsiteX13191" fmla="*/ 661918 w 5719680"/>
                <a:gd name="connsiteY13191" fmla="*/ 2971775 h 5704395"/>
                <a:gd name="connsiteX13192" fmla="*/ 668905 w 5719680"/>
                <a:gd name="connsiteY13192" fmla="*/ 2965120 h 5704395"/>
                <a:gd name="connsiteX13193" fmla="*/ 669223 w 5719680"/>
                <a:gd name="connsiteY13193" fmla="*/ 2965120 h 5704395"/>
                <a:gd name="connsiteX13194" fmla="*/ 701303 w 5719680"/>
                <a:gd name="connsiteY13194" fmla="*/ 2947692 h 5704395"/>
                <a:gd name="connsiteX13195" fmla="*/ 701303 w 5719680"/>
                <a:gd name="connsiteY13195" fmla="*/ 2947058 h 5704395"/>
                <a:gd name="connsiteX13196" fmla="*/ 702573 w 5719680"/>
                <a:gd name="connsiteY13196" fmla="*/ 2947058 h 5704395"/>
                <a:gd name="connsiteX13197" fmla="*/ 765462 w 5719680"/>
                <a:gd name="connsiteY13197" fmla="*/ 2913467 h 5704395"/>
                <a:gd name="connsiteX13198" fmla="*/ 763874 w 5719680"/>
                <a:gd name="connsiteY13198" fmla="*/ 2909665 h 5704395"/>
                <a:gd name="connsiteX13199" fmla="*/ 768003 w 5719680"/>
                <a:gd name="connsiteY13199" fmla="*/ 2908080 h 5704395"/>
                <a:gd name="connsiteX13200" fmla="*/ 769273 w 5719680"/>
                <a:gd name="connsiteY13200" fmla="*/ 2911249 h 5704395"/>
                <a:gd name="connsiteX13201" fmla="*/ 836291 w 5719680"/>
                <a:gd name="connsiteY13201" fmla="*/ 2875441 h 5704395"/>
                <a:gd name="connsiteX13202" fmla="*/ 833750 w 5719680"/>
                <a:gd name="connsiteY13202" fmla="*/ 2871955 h 5704395"/>
                <a:gd name="connsiteX13203" fmla="*/ 837243 w 5719680"/>
                <a:gd name="connsiteY13203" fmla="*/ 2869420 h 5704395"/>
                <a:gd name="connsiteX13204" fmla="*/ 840420 w 5719680"/>
                <a:gd name="connsiteY13204" fmla="*/ 2873223 h 5704395"/>
                <a:gd name="connsiteX13205" fmla="*/ 975725 w 5719680"/>
                <a:gd name="connsiteY13205" fmla="*/ 2801289 h 5704395"/>
                <a:gd name="connsiteX13206" fmla="*/ 975408 w 5719680"/>
                <a:gd name="connsiteY13206" fmla="*/ 2800655 h 5704395"/>
                <a:gd name="connsiteX13207" fmla="*/ 979537 w 5719680"/>
                <a:gd name="connsiteY13207" fmla="*/ 2798754 h 5704395"/>
                <a:gd name="connsiteX13208" fmla="*/ 979854 w 5719680"/>
                <a:gd name="connsiteY13208" fmla="*/ 2799388 h 5704395"/>
                <a:gd name="connsiteX13209" fmla="*/ 1206317 w 5719680"/>
                <a:gd name="connsiteY13209" fmla="*/ 2680872 h 5704395"/>
                <a:gd name="connsiteX13210" fmla="*/ 1191388 w 5719680"/>
                <a:gd name="connsiteY13210" fmla="*/ 2644747 h 5704395"/>
                <a:gd name="connsiteX13211" fmla="*/ 1731658 w 5719680"/>
                <a:gd name="connsiteY13211" fmla="*/ 2641261 h 5704395"/>
                <a:gd name="connsiteX13212" fmla="*/ 1729435 w 5719680"/>
                <a:gd name="connsiteY13212" fmla="*/ 2655521 h 5704395"/>
                <a:gd name="connsiteX13213" fmla="*/ 1768502 w 5719680"/>
                <a:gd name="connsiteY13213" fmla="*/ 2662492 h 5704395"/>
                <a:gd name="connsiteX13214" fmla="*/ 1771043 w 5719680"/>
                <a:gd name="connsiteY13214" fmla="*/ 2647915 h 5704395"/>
                <a:gd name="connsiteX13215" fmla="*/ 1731658 w 5719680"/>
                <a:gd name="connsiteY13215" fmla="*/ 2641261 h 5704395"/>
                <a:gd name="connsiteX13216" fmla="*/ 1369890 w 5719680"/>
                <a:gd name="connsiteY13216" fmla="*/ 2639676 h 5704395"/>
                <a:gd name="connsiteX13217" fmla="*/ 1370208 w 5719680"/>
                <a:gd name="connsiteY13217" fmla="*/ 2642211 h 5704395"/>
                <a:gd name="connsiteX13218" fmla="*/ 1377195 w 5719680"/>
                <a:gd name="connsiteY13218" fmla="*/ 2677703 h 5704395"/>
                <a:gd name="connsiteX13219" fmla="*/ 1383865 w 5719680"/>
                <a:gd name="connsiteY13219" fmla="*/ 2740447 h 5704395"/>
                <a:gd name="connsiteX13220" fmla="*/ 1397523 w 5719680"/>
                <a:gd name="connsiteY13220" fmla="*/ 2740130 h 5704395"/>
                <a:gd name="connsiteX13221" fmla="*/ 1402923 w 5719680"/>
                <a:gd name="connsiteY13221" fmla="*/ 2759143 h 5704395"/>
                <a:gd name="connsiteX13222" fmla="*/ 1300014 w 5719680"/>
                <a:gd name="connsiteY13222" fmla="*/ 2823788 h 5704395"/>
                <a:gd name="connsiteX13223" fmla="*/ 1275240 w 5719680"/>
                <a:gd name="connsiteY13223" fmla="*/ 2772453 h 5704395"/>
                <a:gd name="connsiteX13224" fmla="*/ 1293344 w 5719680"/>
                <a:gd name="connsiteY13224" fmla="*/ 2761995 h 5704395"/>
                <a:gd name="connsiteX13225" fmla="*/ 1290486 w 5719680"/>
                <a:gd name="connsiteY13225" fmla="*/ 2755657 h 5704395"/>
                <a:gd name="connsiteX13226" fmla="*/ 1264441 w 5719680"/>
                <a:gd name="connsiteY13226" fmla="*/ 2749320 h 5704395"/>
                <a:gd name="connsiteX13227" fmla="*/ 1235220 w 5719680"/>
                <a:gd name="connsiteY13227" fmla="*/ 2678654 h 5704395"/>
                <a:gd name="connsiteX13228" fmla="*/ 1276193 w 5719680"/>
                <a:gd name="connsiteY13228" fmla="*/ 2662809 h 5704395"/>
                <a:gd name="connsiteX13229" fmla="*/ 1309543 w 5719680"/>
                <a:gd name="connsiteY13229" fmla="*/ 2671682 h 5704395"/>
                <a:gd name="connsiteX13230" fmla="*/ 1319389 w 5719680"/>
                <a:gd name="connsiteY13230" fmla="*/ 2669147 h 5704395"/>
                <a:gd name="connsiteX13231" fmla="*/ 1313989 w 5719680"/>
                <a:gd name="connsiteY13231" fmla="*/ 2652035 h 5704395"/>
                <a:gd name="connsiteX13232" fmla="*/ 1369890 w 5719680"/>
                <a:gd name="connsiteY13232" fmla="*/ 2639676 h 5704395"/>
                <a:gd name="connsiteX13233" fmla="*/ 2195382 w 5719680"/>
                <a:gd name="connsiteY13233" fmla="*/ 2638409 h 5704395"/>
                <a:gd name="connsiteX13234" fmla="*/ 2176642 w 5719680"/>
                <a:gd name="connsiteY13234" fmla="*/ 2692914 h 5704395"/>
                <a:gd name="connsiteX13235" fmla="*/ 2218568 w 5719680"/>
                <a:gd name="connsiteY13235" fmla="*/ 2700519 h 5704395"/>
                <a:gd name="connsiteX13236" fmla="*/ 2236990 w 5719680"/>
                <a:gd name="connsiteY13236" fmla="*/ 2646331 h 5704395"/>
                <a:gd name="connsiteX13237" fmla="*/ 2195382 w 5719680"/>
                <a:gd name="connsiteY13237" fmla="*/ 2638409 h 5704395"/>
                <a:gd name="connsiteX13238" fmla="*/ 1664641 w 5719680"/>
                <a:gd name="connsiteY13238" fmla="*/ 2638409 h 5704395"/>
                <a:gd name="connsiteX13239" fmla="*/ 1664323 w 5719680"/>
                <a:gd name="connsiteY13239" fmla="*/ 2677069 h 5704395"/>
                <a:gd name="connsiteX13240" fmla="*/ 1689415 w 5719680"/>
                <a:gd name="connsiteY13240" fmla="*/ 2677386 h 5704395"/>
                <a:gd name="connsiteX13241" fmla="*/ 1689732 w 5719680"/>
                <a:gd name="connsiteY13241" fmla="*/ 2638726 h 5704395"/>
                <a:gd name="connsiteX13242" fmla="*/ 1664641 w 5719680"/>
                <a:gd name="connsiteY13242" fmla="*/ 2638409 h 5704395"/>
                <a:gd name="connsiteX13243" fmla="*/ 2186488 w 5719680"/>
                <a:gd name="connsiteY13243" fmla="*/ 2636508 h 5704395"/>
                <a:gd name="connsiteX13244" fmla="*/ 2167748 w 5719680"/>
                <a:gd name="connsiteY13244" fmla="*/ 2691329 h 5704395"/>
                <a:gd name="connsiteX13245" fmla="*/ 2172513 w 5719680"/>
                <a:gd name="connsiteY13245" fmla="*/ 2691963 h 5704395"/>
                <a:gd name="connsiteX13246" fmla="*/ 2191252 w 5719680"/>
                <a:gd name="connsiteY13246" fmla="*/ 2637458 h 5704395"/>
                <a:gd name="connsiteX13247" fmla="*/ 1728482 w 5719680"/>
                <a:gd name="connsiteY13247" fmla="*/ 2636508 h 5704395"/>
                <a:gd name="connsiteX13248" fmla="*/ 1775807 w 5719680"/>
                <a:gd name="connsiteY13248" fmla="*/ 2644747 h 5704395"/>
                <a:gd name="connsiteX13249" fmla="*/ 1771996 w 5719680"/>
                <a:gd name="connsiteY13249" fmla="*/ 2666929 h 5704395"/>
                <a:gd name="connsiteX13250" fmla="*/ 1769772 w 5719680"/>
                <a:gd name="connsiteY13250" fmla="*/ 2666612 h 5704395"/>
                <a:gd name="connsiteX13251" fmla="*/ 1724670 w 5719680"/>
                <a:gd name="connsiteY13251" fmla="*/ 2658690 h 5704395"/>
                <a:gd name="connsiteX13252" fmla="*/ 1728482 w 5719680"/>
                <a:gd name="connsiteY13252" fmla="*/ 2636508 h 5704395"/>
                <a:gd name="connsiteX13253" fmla="*/ 1426109 w 5719680"/>
                <a:gd name="connsiteY13253" fmla="*/ 2635874 h 5704395"/>
                <a:gd name="connsiteX13254" fmla="*/ 1401334 w 5719680"/>
                <a:gd name="connsiteY13254" fmla="*/ 2638092 h 5704395"/>
                <a:gd name="connsiteX13255" fmla="*/ 1404828 w 5719680"/>
                <a:gd name="connsiteY13255" fmla="*/ 2676752 h 5704395"/>
                <a:gd name="connsiteX13256" fmla="*/ 1429920 w 5719680"/>
                <a:gd name="connsiteY13256" fmla="*/ 2674217 h 5704395"/>
                <a:gd name="connsiteX13257" fmla="*/ 1426109 w 5719680"/>
                <a:gd name="connsiteY13257" fmla="*/ 2635874 h 5704395"/>
                <a:gd name="connsiteX13258" fmla="*/ 417987 w 5719680"/>
                <a:gd name="connsiteY13258" fmla="*/ 2635874 h 5704395"/>
                <a:gd name="connsiteX13259" fmla="*/ 346522 w 5719680"/>
                <a:gd name="connsiteY13259" fmla="*/ 2639993 h 5704395"/>
                <a:gd name="connsiteX13260" fmla="*/ 345887 w 5719680"/>
                <a:gd name="connsiteY13260" fmla="*/ 2641578 h 5704395"/>
                <a:gd name="connsiteX13261" fmla="*/ 317619 w 5719680"/>
                <a:gd name="connsiteY13261" fmla="*/ 2685625 h 5704395"/>
                <a:gd name="connsiteX13262" fmla="*/ 375743 w 5719680"/>
                <a:gd name="connsiteY13262" fmla="*/ 2729989 h 5704395"/>
                <a:gd name="connsiteX13263" fmla="*/ 416716 w 5719680"/>
                <a:gd name="connsiteY13263" fmla="*/ 2761361 h 5704395"/>
                <a:gd name="connsiteX13264" fmla="*/ 433868 w 5719680"/>
                <a:gd name="connsiteY13264" fmla="*/ 2774354 h 5704395"/>
                <a:gd name="connsiteX13265" fmla="*/ 474840 w 5719680"/>
                <a:gd name="connsiteY13265" fmla="*/ 2704321 h 5704395"/>
                <a:gd name="connsiteX13266" fmla="*/ 485639 w 5719680"/>
                <a:gd name="connsiteY13266" fmla="*/ 2685942 h 5704395"/>
                <a:gd name="connsiteX13267" fmla="*/ 417987 w 5719680"/>
                <a:gd name="connsiteY13267" fmla="*/ 2635874 h 5704395"/>
                <a:gd name="connsiteX13268" fmla="*/ 1187259 w 5719680"/>
                <a:gd name="connsiteY13268" fmla="*/ 2635557 h 5704395"/>
                <a:gd name="connsiteX13269" fmla="*/ 1175507 w 5719680"/>
                <a:gd name="connsiteY13269" fmla="*/ 2644747 h 5704395"/>
                <a:gd name="connsiteX13270" fmla="*/ 1171061 w 5719680"/>
                <a:gd name="connsiteY13270" fmla="*/ 2647599 h 5704395"/>
                <a:gd name="connsiteX13271" fmla="*/ 1082445 w 5719680"/>
                <a:gd name="connsiteY13271" fmla="*/ 2695766 h 5704395"/>
                <a:gd name="connsiteX13272" fmla="*/ 709561 w 5719680"/>
                <a:gd name="connsiteY13272" fmla="*/ 2891602 h 5704395"/>
                <a:gd name="connsiteX13273" fmla="*/ 709243 w 5719680"/>
                <a:gd name="connsiteY13273" fmla="*/ 2891602 h 5704395"/>
                <a:gd name="connsiteX13274" fmla="*/ 708290 w 5719680"/>
                <a:gd name="connsiteY13274" fmla="*/ 2892236 h 5704395"/>
                <a:gd name="connsiteX13275" fmla="*/ 427198 w 5719680"/>
                <a:gd name="connsiteY13275" fmla="*/ 3043708 h 5704395"/>
                <a:gd name="connsiteX13276" fmla="*/ 167068 w 5719680"/>
                <a:gd name="connsiteY13276" fmla="*/ 3182822 h 5704395"/>
                <a:gd name="connsiteX13277" fmla="*/ 170879 w 5719680"/>
                <a:gd name="connsiteY13277" fmla="*/ 3186942 h 5704395"/>
                <a:gd name="connsiteX13278" fmla="*/ 190254 w 5719680"/>
                <a:gd name="connsiteY13278" fmla="*/ 3175851 h 5704395"/>
                <a:gd name="connsiteX13279" fmla="*/ 190889 w 5719680"/>
                <a:gd name="connsiteY13279" fmla="*/ 3175851 h 5704395"/>
                <a:gd name="connsiteX13280" fmla="*/ 191207 w 5719680"/>
                <a:gd name="connsiteY13280" fmla="*/ 3175534 h 5704395"/>
                <a:gd name="connsiteX13281" fmla="*/ 203276 w 5719680"/>
                <a:gd name="connsiteY13281" fmla="*/ 3169196 h 5704395"/>
                <a:gd name="connsiteX13282" fmla="*/ 720360 w 5719680"/>
                <a:gd name="connsiteY13282" fmla="*/ 2893504 h 5704395"/>
                <a:gd name="connsiteX13283" fmla="*/ 1189165 w 5719680"/>
                <a:gd name="connsiteY13283" fmla="*/ 2639993 h 5704395"/>
                <a:gd name="connsiteX13284" fmla="*/ 1187259 w 5719680"/>
                <a:gd name="connsiteY13284" fmla="*/ 2635557 h 5704395"/>
                <a:gd name="connsiteX13285" fmla="*/ 1573802 w 5719680"/>
                <a:gd name="connsiteY13285" fmla="*/ 2635240 h 5704395"/>
                <a:gd name="connsiteX13286" fmla="*/ 1573484 w 5719680"/>
                <a:gd name="connsiteY13286" fmla="*/ 2673900 h 5704395"/>
                <a:gd name="connsiteX13287" fmla="*/ 1598576 w 5719680"/>
                <a:gd name="connsiteY13287" fmla="*/ 2674217 h 5704395"/>
                <a:gd name="connsiteX13288" fmla="*/ 1598893 w 5719680"/>
                <a:gd name="connsiteY13288" fmla="*/ 2635240 h 5704395"/>
                <a:gd name="connsiteX13289" fmla="*/ 1573802 w 5719680"/>
                <a:gd name="connsiteY13289" fmla="*/ 2635240 h 5704395"/>
                <a:gd name="connsiteX13290" fmla="*/ 1660829 w 5719680"/>
                <a:gd name="connsiteY13290" fmla="*/ 2634289 h 5704395"/>
                <a:gd name="connsiteX13291" fmla="*/ 1693861 w 5719680"/>
                <a:gd name="connsiteY13291" fmla="*/ 2634606 h 5704395"/>
                <a:gd name="connsiteX13292" fmla="*/ 1693544 w 5719680"/>
                <a:gd name="connsiteY13292" fmla="*/ 2681506 h 5704395"/>
                <a:gd name="connsiteX13293" fmla="*/ 1691320 w 5719680"/>
                <a:gd name="connsiteY13293" fmla="*/ 2681506 h 5704395"/>
                <a:gd name="connsiteX13294" fmla="*/ 1660194 w 5719680"/>
                <a:gd name="connsiteY13294" fmla="*/ 2681189 h 5704395"/>
                <a:gd name="connsiteX13295" fmla="*/ 1715460 w 5719680"/>
                <a:gd name="connsiteY13295" fmla="*/ 2633022 h 5704395"/>
                <a:gd name="connsiteX13296" fmla="*/ 1720859 w 5719680"/>
                <a:gd name="connsiteY13296" fmla="*/ 2660274 h 5704395"/>
                <a:gd name="connsiteX13297" fmla="*/ 1794229 w 5719680"/>
                <a:gd name="connsiteY13297" fmla="*/ 2672316 h 5704395"/>
                <a:gd name="connsiteX13298" fmla="*/ 1872681 w 5719680"/>
                <a:gd name="connsiteY13298" fmla="*/ 2684991 h 5704395"/>
                <a:gd name="connsiteX13299" fmla="*/ 1872681 w 5719680"/>
                <a:gd name="connsiteY13299" fmla="*/ 2687843 h 5704395"/>
                <a:gd name="connsiteX13300" fmla="*/ 1879668 w 5719680"/>
                <a:gd name="connsiteY13300" fmla="*/ 2660274 h 5704395"/>
                <a:gd name="connsiteX13301" fmla="*/ 1883162 w 5719680"/>
                <a:gd name="connsiteY13301" fmla="*/ 2646331 h 5704395"/>
                <a:gd name="connsiteX13302" fmla="*/ 1883162 w 5719680"/>
                <a:gd name="connsiteY13302" fmla="*/ 2645697 h 5704395"/>
                <a:gd name="connsiteX13303" fmla="*/ 1715460 w 5719680"/>
                <a:gd name="connsiteY13303" fmla="*/ 2633022 h 5704395"/>
                <a:gd name="connsiteX13304" fmla="*/ 1483280 w 5719680"/>
                <a:gd name="connsiteY13304" fmla="*/ 2633022 h 5704395"/>
                <a:gd name="connsiteX13305" fmla="*/ 1482963 w 5719680"/>
                <a:gd name="connsiteY13305" fmla="*/ 2671682 h 5704395"/>
                <a:gd name="connsiteX13306" fmla="*/ 1508054 w 5719680"/>
                <a:gd name="connsiteY13306" fmla="*/ 2671999 h 5704395"/>
                <a:gd name="connsiteX13307" fmla="*/ 1508372 w 5719680"/>
                <a:gd name="connsiteY13307" fmla="*/ 2633339 h 5704395"/>
                <a:gd name="connsiteX13308" fmla="*/ 594265 w 5719680"/>
                <a:gd name="connsiteY13308" fmla="*/ 2633022 h 5704395"/>
                <a:gd name="connsiteX13309" fmla="*/ 530106 w 5719680"/>
                <a:gd name="connsiteY13309" fmla="*/ 2638092 h 5704395"/>
                <a:gd name="connsiteX13310" fmla="*/ 486592 w 5719680"/>
                <a:gd name="connsiteY13310" fmla="*/ 2712877 h 5704395"/>
                <a:gd name="connsiteX13311" fmla="*/ 472299 w 5719680"/>
                <a:gd name="connsiteY13311" fmla="*/ 2737278 h 5704395"/>
                <a:gd name="connsiteX13312" fmla="*/ 510731 w 5719680"/>
                <a:gd name="connsiteY13312" fmla="*/ 2821253 h 5704395"/>
                <a:gd name="connsiteX13313" fmla="*/ 538364 w 5719680"/>
                <a:gd name="connsiteY13313" fmla="*/ 2787346 h 5704395"/>
                <a:gd name="connsiteX13314" fmla="*/ 644766 w 5719680"/>
                <a:gd name="connsiteY13314" fmla="*/ 2742665 h 5704395"/>
                <a:gd name="connsiteX13315" fmla="*/ 594265 w 5719680"/>
                <a:gd name="connsiteY13315" fmla="*/ 2633022 h 5704395"/>
                <a:gd name="connsiteX13316" fmla="*/ 1429920 w 5719680"/>
                <a:gd name="connsiteY13316" fmla="*/ 2631437 h 5704395"/>
                <a:gd name="connsiteX13317" fmla="*/ 1434367 w 5719680"/>
                <a:gd name="connsiteY13317" fmla="*/ 2678020 h 5704395"/>
                <a:gd name="connsiteX13318" fmla="*/ 1432144 w 5719680"/>
                <a:gd name="connsiteY13318" fmla="*/ 2678337 h 5704395"/>
                <a:gd name="connsiteX13319" fmla="*/ 1401334 w 5719680"/>
                <a:gd name="connsiteY13319" fmla="*/ 2681189 h 5704395"/>
                <a:gd name="connsiteX13320" fmla="*/ 1396888 w 5719680"/>
                <a:gd name="connsiteY13320" fmla="*/ 2634606 h 5704395"/>
                <a:gd name="connsiteX13321" fmla="*/ 1429920 w 5719680"/>
                <a:gd name="connsiteY13321" fmla="*/ 2631437 h 5704395"/>
                <a:gd name="connsiteX13322" fmla="*/ 1569672 w 5719680"/>
                <a:gd name="connsiteY13322" fmla="*/ 2631121 h 5704395"/>
                <a:gd name="connsiteX13323" fmla="*/ 1603022 w 5719680"/>
                <a:gd name="connsiteY13323" fmla="*/ 2631437 h 5704395"/>
                <a:gd name="connsiteX13324" fmla="*/ 1602705 w 5719680"/>
                <a:gd name="connsiteY13324" fmla="*/ 2678337 h 5704395"/>
                <a:gd name="connsiteX13325" fmla="*/ 1600482 w 5719680"/>
                <a:gd name="connsiteY13325" fmla="*/ 2678337 h 5704395"/>
                <a:gd name="connsiteX13326" fmla="*/ 1569355 w 5719680"/>
                <a:gd name="connsiteY13326" fmla="*/ 2678020 h 5704395"/>
                <a:gd name="connsiteX13327" fmla="*/ 1569672 w 5719680"/>
                <a:gd name="connsiteY13327" fmla="*/ 2631121 h 5704395"/>
                <a:gd name="connsiteX13328" fmla="*/ 1452789 w 5719680"/>
                <a:gd name="connsiteY13328" fmla="*/ 2627951 h 5704395"/>
                <a:gd name="connsiteX13329" fmla="*/ 1377831 w 5719680"/>
                <a:gd name="connsiteY13329" fmla="*/ 2635557 h 5704395"/>
                <a:gd name="connsiteX13330" fmla="*/ 1410863 w 5719680"/>
                <a:gd name="connsiteY13330" fmla="*/ 2760411 h 5704395"/>
                <a:gd name="connsiteX13331" fmla="*/ 1406734 w 5719680"/>
                <a:gd name="connsiteY13331" fmla="*/ 2761678 h 5704395"/>
                <a:gd name="connsiteX13332" fmla="*/ 1373384 w 5719680"/>
                <a:gd name="connsiteY13332" fmla="*/ 2636191 h 5704395"/>
                <a:gd name="connsiteX13333" fmla="*/ 1226962 w 5719680"/>
                <a:gd name="connsiteY13333" fmla="*/ 2676435 h 5704395"/>
                <a:gd name="connsiteX13334" fmla="*/ 1294932 w 5719680"/>
                <a:gd name="connsiteY13334" fmla="*/ 2839316 h 5704395"/>
                <a:gd name="connsiteX13335" fmla="*/ 1451201 w 5719680"/>
                <a:gd name="connsiteY13335" fmla="*/ 2733158 h 5704395"/>
                <a:gd name="connsiteX13336" fmla="*/ 1452789 w 5719680"/>
                <a:gd name="connsiteY13336" fmla="*/ 2627951 h 5704395"/>
                <a:gd name="connsiteX13337" fmla="*/ 1615410 w 5719680"/>
                <a:gd name="connsiteY13337" fmla="*/ 2626684 h 5704395"/>
                <a:gd name="connsiteX13338" fmla="*/ 1607151 w 5719680"/>
                <a:gd name="connsiteY13338" fmla="*/ 2758193 h 5704395"/>
                <a:gd name="connsiteX13339" fmla="*/ 1663370 w 5719680"/>
                <a:gd name="connsiteY13339" fmla="*/ 2727137 h 5704395"/>
                <a:gd name="connsiteX13340" fmla="*/ 1712919 w 5719680"/>
                <a:gd name="connsiteY13340" fmla="*/ 2698618 h 5704395"/>
                <a:gd name="connsiteX13341" fmla="*/ 1700849 w 5719680"/>
                <a:gd name="connsiteY13341" fmla="*/ 2631754 h 5704395"/>
                <a:gd name="connsiteX13342" fmla="*/ 1635420 w 5719680"/>
                <a:gd name="connsiteY13342" fmla="*/ 2627318 h 5704395"/>
                <a:gd name="connsiteX13343" fmla="*/ 1615410 w 5719680"/>
                <a:gd name="connsiteY13343" fmla="*/ 2626684 h 5704395"/>
                <a:gd name="connsiteX13344" fmla="*/ 2507918 w 5719680"/>
                <a:gd name="connsiteY13344" fmla="*/ 2625734 h 5704395"/>
                <a:gd name="connsiteX13345" fmla="*/ 2485685 w 5719680"/>
                <a:gd name="connsiteY13345" fmla="*/ 2669147 h 5704395"/>
                <a:gd name="connsiteX13346" fmla="*/ 2490767 w 5719680"/>
                <a:gd name="connsiteY13346" fmla="*/ 2671365 h 5704395"/>
                <a:gd name="connsiteX13347" fmla="*/ 2512682 w 5719680"/>
                <a:gd name="connsiteY13347" fmla="*/ 2627951 h 5704395"/>
                <a:gd name="connsiteX13348" fmla="*/ 2507918 w 5719680"/>
                <a:gd name="connsiteY13348" fmla="*/ 2625734 h 5704395"/>
                <a:gd name="connsiteX13349" fmla="*/ 1509960 w 5719680"/>
                <a:gd name="connsiteY13349" fmla="*/ 2625416 h 5704395"/>
                <a:gd name="connsiteX13350" fmla="*/ 1457235 w 5719680"/>
                <a:gd name="connsiteY13350" fmla="*/ 2627635 h 5704395"/>
                <a:gd name="connsiteX13351" fmla="*/ 1455647 w 5719680"/>
                <a:gd name="connsiteY13351" fmla="*/ 2732525 h 5704395"/>
                <a:gd name="connsiteX13352" fmla="*/ 1526794 w 5719680"/>
                <a:gd name="connsiteY13352" fmla="*/ 2746468 h 5704395"/>
                <a:gd name="connsiteX13353" fmla="*/ 1531558 w 5719680"/>
                <a:gd name="connsiteY13353" fmla="*/ 2747101 h 5704395"/>
                <a:gd name="connsiteX13354" fmla="*/ 1512501 w 5719680"/>
                <a:gd name="connsiteY13354" fmla="*/ 2639043 h 5704395"/>
                <a:gd name="connsiteX13355" fmla="*/ 1512183 w 5719680"/>
                <a:gd name="connsiteY13355" fmla="*/ 2676118 h 5704395"/>
                <a:gd name="connsiteX13356" fmla="*/ 1509960 w 5719680"/>
                <a:gd name="connsiteY13356" fmla="*/ 2676118 h 5704395"/>
                <a:gd name="connsiteX13357" fmla="*/ 1478833 w 5719680"/>
                <a:gd name="connsiteY13357" fmla="*/ 2675802 h 5704395"/>
                <a:gd name="connsiteX13358" fmla="*/ 1479469 w 5719680"/>
                <a:gd name="connsiteY13358" fmla="*/ 2628902 h 5704395"/>
                <a:gd name="connsiteX13359" fmla="*/ 1510595 w 5719680"/>
                <a:gd name="connsiteY13359" fmla="*/ 2629219 h 5704395"/>
                <a:gd name="connsiteX13360" fmla="*/ 1509960 w 5719680"/>
                <a:gd name="connsiteY13360" fmla="*/ 2625416 h 5704395"/>
                <a:gd name="connsiteX13361" fmla="*/ 1542040 w 5719680"/>
                <a:gd name="connsiteY13361" fmla="*/ 2625100 h 5704395"/>
                <a:gd name="connsiteX13362" fmla="*/ 1514407 w 5719680"/>
                <a:gd name="connsiteY13362" fmla="*/ 2625416 h 5704395"/>
                <a:gd name="connsiteX13363" fmla="*/ 1536322 w 5719680"/>
                <a:gd name="connsiteY13363" fmla="*/ 2748052 h 5704395"/>
                <a:gd name="connsiteX13364" fmla="*/ 1602705 w 5719680"/>
                <a:gd name="connsiteY13364" fmla="*/ 2760411 h 5704395"/>
                <a:gd name="connsiteX13365" fmla="*/ 1610963 w 5719680"/>
                <a:gd name="connsiteY13365" fmla="*/ 2626367 h 5704395"/>
                <a:gd name="connsiteX13366" fmla="*/ 1545216 w 5719680"/>
                <a:gd name="connsiteY13366" fmla="*/ 2625100 h 5704395"/>
                <a:gd name="connsiteX13367" fmla="*/ 1542040 w 5719680"/>
                <a:gd name="connsiteY13367" fmla="*/ 2625100 h 5704395"/>
                <a:gd name="connsiteX13368" fmla="*/ 711784 w 5719680"/>
                <a:gd name="connsiteY13368" fmla="*/ 2624149 h 5704395"/>
                <a:gd name="connsiteX13369" fmla="*/ 688915 w 5719680"/>
                <a:gd name="connsiteY13369" fmla="*/ 2634606 h 5704395"/>
                <a:gd name="connsiteX13370" fmla="*/ 685104 w 5719680"/>
                <a:gd name="connsiteY13370" fmla="*/ 2636508 h 5704395"/>
                <a:gd name="connsiteX13371" fmla="*/ 683198 w 5719680"/>
                <a:gd name="connsiteY13371" fmla="*/ 2632388 h 5704395"/>
                <a:gd name="connsiteX13372" fmla="*/ 680022 w 5719680"/>
                <a:gd name="connsiteY13372" fmla="*/ 2626050 h 5704395"/>
                <a:gd name="connsiteX13373" fmla="*/ 678434 w 5719680"/>
                <a:gd name="connsiteY13373" fmla="*/ 2627001 h 5704395"/>
                <a:gd name="connsiteX13374" fmla="*/ 684469 w 5719680"/>
                <a:gd name="connsiteY13374" fmla="*/ 2638726 h 5704395"/>
                <a:gd name="connsiteX13375" fmla="*/ 686375 w 5719680"/>
                <a:gd name="connsiteY13375" fmla="*/ 2641895 h 5704395"/>
                <a:gd name="connsiteX13376" fmla="*/ 683198 w 5719680"/>
                <a:gd name="connsiteY13376" fmla="*/ 2644430 h 5704395"/>
                <a:gd name="connsiteX13377" fmla="*/ 680975 w 5719680"/>
                <a:gd name="connsiteY13377" fmla="*/ 2645697 h 5704395"/>
                <a:gd name="connsiteX13378" fmla="*/ 682563 w 5719680"/>
                <a:gd name="connsiteY13378" fmla="*/ 2652035 h 5704395"/>
                <a:gd name="connsiteX13379" fmla="*/ 683516 w 5719680"/>
                <a:gd name="connsiteY13379" fmla="*/ 2655521 h 5704395"/>
                <a:gd name="connsiteX13380" fmla="*/ 680340 w 5719680"/>
                <a:gd name="connsiteY13380" fmla="*/ 2657105 h 5704395"/>
                <a:gd name="connsiteX13381" fmla="*/ 647307 w 5719680"/>
                <a:gd name="connsiteY13381" fmla="*/ 2672316 h 5704395"/>
                <a:gd name="connsiteX13382" fmla="*/ 660330 w 5719680"/>
                <a:gd name="connsiteY13382" fmla="*/ 2699568 h 5704395"/>
                <a:gd name="connsiteX13383" fmla="*/ 739417 w 5719680"/>
                <a:gd name="connsiteY13383" fmla="*/ 2660908 h 5704395"/>
                <a:gd name="connsiteX13384" fmla="*/ 726394 w 5719680"/>
                <a:gd name="connsiteY13384" fmla="*/ 2634923 h 5704395"/>
                <a:gd name="connsiteX13385" fmla="*/ 722583 w 5719680"/>
                <a:gd name="connsiteY13385" fmla="*/ 2636508 h 5704395"/>
                <a:gd name="connsiteX13386" fmla="*/ 718772 w 5719680"/>
                <a:gd name="connsiteY13386" fmla="*/ 2637775 h 5704395"/>
                <a:gd name="connsiteX13387" fmla="*/ 717184 w 5719680"/>
                <a:gd name="connsiteY13387" fmla="*/ 2634289 h 5704395"/>
                <a:gd name="connsiteX13388" fmla="*/ 711784 w 5719680"/>
                <a:gd name="connsiteY13388" fmla="*/ 2624149 h 5704395"/>
                <a:gd name="connsiteX13389" fmla="*/ 713690 w 5719680"/>
                <a:gd name="connsiteY13389" fmla="*/ 2618128 h 5704395"/>
                <a:gd name="connsiteX13390" fmla="*/ 720995 w 5719680"/>
                <a:gd name="connsiteY13390" fmla="*/ 2632388 h 5704395"/>
                <a:gd name="connsiteX13391" fmla="*/ 728618 w 5719680"/>
                <a:gd name="connsiteY13391" fmla="*/ 2629219 h 5704395"/>
                <a:gd name="connsiteX13392" fmla="*/ 745452 w 5719680"/>
                <a:gd name="connsiteY13392" fmla="*/ 2663126 h 5704395"/>
                <a:gd name="connsiteX13393" fmla="*/ 658106 w 5719680"/>
                <a:gd name="connsiteY13393" fmla="*/ 2705589 h 5704395"/>
                <a:gd name="connsiteX13394" fmla="*/ 641273 w 5719680"/>
                <a:gd name="connsiteY13394" fmla="*/ 2670098 h 5704395"/>
                <a:gd name="connsiteX13395" fmla="*/ 678434 w 5719680"/>
                <a:gd name="connsiteY13395" fmla="*/ 2652986 h 5704395"/>
                <a:gd name="connsiteX13396" fmla="*/ 676211 w 5719680"/>
                <a:gd name="connsiteY13396" fmla="*/ 2643796 h 5704395"/>
                <a:gd name="connsiteX13397" fmla="*/ 680657 w 5719680"/>
                <a:gd name="connsiteY13397" fmla="*/ 2640627 h 5704395"/>
                <a:gd name="connsiteX13398" fmla="*/ 672399 w 5719680"/>
                <a:gd name="connsiteY13398" fmla="*/ 2625416 h 5704395"/>
                <a:gd name="connsiteX13399" fmla="*/ 681928 w 5719680"/>
                <a:gd name="connsiteY13399" fmla="*/ 2619712 h 5704395"/>
                <a:gd name="connsiteX13400" fmla="*/ 687010 w 5719680"/>
                <a:gd name="connsiteY13400" fmla="*/ 2630487 h 5704395"/>
                <a:gd name="connsiteX13401" fmla="*/ 298562 w 5719680"/>
                <a:gd name="connsiteY13401" fmla="*/ 2615593 h 5704395"/>
                <a:gd name="connsiteX13402" fmla="*/ 273152 w 5719680"/>
                <a:gd name="connsiteY13402" fmla="*/ 2636191 h 5704395"/>
                <a:gd name="connsiteX13403" fmla="*/ 306185 w 5719680"/>
                <a:gd name="connsiteY13403" fmla="*/ 2668196 h 5704395"/>
                <a:gd name="connsiteX13404" fmla="*/ 318572 w 5719680"/>
                <a:gd name="connsiteY13404" fmla="*/ 2641895 h 5704395"/>
                <a:gd name="connsiteX13405" fmla="*/ 298562 w 5719680"/>
                <a:gd name="connsiteY13405" fmla="*/ 2615593 h 5704395"/>
                <a:gd name="connsiteX13406" fmla="*/ 2355779 w 5719680"/>
                <a:gd name="connsiteY13406" fmla="*/ 2613375 h 5704395"/>
                <a:gd name="connsiteX13407" fmla="*/ 2339580 w 5719680"/>
                <a:gd name="connsiteY13407" fmla="*/ 2664394 h 5704395"/>
                <a:gd name="connsiteX13408" fmla="*/ 2414856 w 5719680"/>
                <a:gd name="connsiteY13408" fmla="*/ 2701469 h 5704395"/>
                <a:gd name="connsiteX13409" fmla="*/ 2439948 w 5719680"/>
                <a:gd name="connsiteY13409" fmla="*/ 2652352 h 5704395"/>
                <a:gd name="connsiteX13410" fmla="*/ 2355779 w 5719680"/>
                <a:gd name="connsiteY13410" fmla="*/ 2613375 h 5704395"/>
                <a:gd name="connsiteX13411" fmla="*/ 299515 w 5719680"/>
                <a:gd name="connsiteY13411" fmla="*/ 2608621 h 5704395"/>
                <a:gd name="connsiteX13412" fmla="*/ 323971 w 5719680"/>
                <a:gd name="connsiteY13412" fmla="*/ 2641261 h 5704395"/>
                <a:gd name="connsiteX13413" fmla="*/ 323336 w 5719680"/>
                <a:gd name="connsiteY13413" fmla="*/ 2642528 h 5704395"/>
                <a:gd name="connsiteX13414" fmla="*/ 307773 w 5719680"/>
                <a:gd name="connsiteY13414" fmla="*/ 2676118 h 5704395"/>
                <a:gd name="connsiteX13415" fmla="*/ 266165 w 5719680"/>
                <a:gd name="connsiteY13415" fmla="*/ 2635874 h 5704395"/>
                <a:gd name="connsiteX13416" fmla="*/ 299515 w 5719680"/>
                <a:gd name="connsiteY13416" fmla="*/ 2608621 h 5704395"/>
                <a:gd name="connsiteX13417" fmla="*/ 1271 w 5719680"/>
                <a:gd name="connsiteY13417" fmla="*/ 2607988 h 5704395"/>
                <a:gd name="connsiteX13418" fmla="*/ 24457 w 5719680"/>
                <a:gd name="connsiteY13418" fmla="*/ 2641261 h 5704395"/>
                <a:gd name="connsiteX13419" fmla="*/ 4765 w 5719680"/>
                <a:gd name="connsiteY13419" fmla="*/ 2654887 h 5704395"/>
                <a:gd name="connsiteX13420" fmla="*/ 1271 w 5719680"/>
                <a:gd name="connsiteY13420" fmla="*/ 2650134 h 5704395"/>
                <a:gd name="connsiteX13421" fmla="*/ 1271 w 5719680"/>
                <a:gd name="connsiteY13421" fmla="*/ 2642845 h 5704395"/>
                <a:gd name="connsiteX13422" fmla="*/ 5717 w 5719680"/>
                <a:gd name="connsiteY13422" fmla="*/ 2649183 h 5704395"/>
                <a:gd name="connsiteX13423" fmla="*/ 18740 w 5719680"/>
                <a:gd name="connsiteY13423" fmla="*/ 2640310 h 5704395"/>
                <a:gd name="connsiteX13424" fmla="*/ 1271 w 5719680"/>
                <a:gd name="connsiteY13424" fmla="*/ 2615276 h 5704395"/>
                <a:gd name="connsiteX13425" fmla="*/ 1271 w 5719680"/>
                <a:gd name="connsiteY13425" fmla="*/ 2607988 h 5704395"/>
                <a:gd name="connsiteX13426" fmla="*/ 2468216 w 5719680"/>
                <a:gd name="connsiteY13426" fmla="*/ 2606086 h 5704395"/>
                <a:gd name="connsiteX13427" fmla="*/ 2445665 w 5719680"/>
                <a:gd name="connsiteY13427" fmla="*/ 2650451 h 5704395"/>
                <a:gd name="connsiteX13428" fmla="*/ 2481874 w 5719680"/>
                <a:gd name="connsiteY13428" fmla="*/ 2667246 h 5704395"/>
                <a:gd name="connsiteX13429" fmla="*/ 2504107 w 5719680"/>
                <a:gd name="connsiteY13429" fmla="*/ 2623832 h 5704395"/>
                <a:gd name="connsiteX13430" fmla="*/ 2260176 w 5719680"/>
                <a:gd name="connsiteY13430" fmla="*/ 2590876 h 5704395"/>
                <a:gd name="connsiteX13431" fmla="*/ 2242389 w 5719680"/>
                <a:gd name="connsiteY13431" fmla="*/ 2643162 h 5704395"/>
                <a:gd name="connsiteX13432" fmla="*/ 2319570 w 5719680"/>
                <a:gd name="connsiteY13432" fmla="*/ 2658056 h 5704395"/>
                <a:gd name="connsiteX13433" fmla="*/ 2336086 w 5719680"/>
                <a:gd name="connsiteY13433" fmla="*/ 2606720 h 5704395"/>
                <a:gd name="connsiteX13434" fmla="*/ 2275421 w 5719680"/>
                <a:gd name="connsiteY13434" fmla="*/ 2594044 h 5704395"/>
                <a:gd name="connsiteX13435" fmla="*/ 2260176 w 5719680"/>
                <a:gd name="connsiteY13435" fmla="*/ 2590876 h 5704395"/>
                <a:gd name="connsiteX13436" fmla="*/ 1291438 w 5719680"/>
                <a:gd name="connsiteY13436" fmla="*/ 2589608 h 5704395"/>
                <a:gd name="connsiteX13437" fmla="*/ 1261582 w 5719680"/>
                <a:gd name="connsiteY13437" fmla="*/ 2593094 h 5704395"/>
                <a:gd name="connsiteX13438" fmla="*/ 1210763 w 5719680"/>
                <a:gd name="connsiteY13438" fmla="*/ 2618128 h 5704395"/>
                <a:gd name="connsiteX13439" fmla="*/ 1204411 w 5719680"/>
                <a:gd name="connsiteY13439" fmla="*/ 2622564 h 5704395"/>
                <a:gd name="connsiteX13440" fmla="*/ 1207905 w 5719680"/>
                <a:gd name="connsiteY13440" fmla="*/ 2630803 h 5704395"/>
                <a:gd name="connsiteX13441" fmla="*/ 1336540 w 5719680"/>
                <a:gd name="connsiteY13441" fmla="*/ 2592143 h 5704395"/>
                <a:gd name="connsiteX13442" fmla="*/ 1291438 w 5719680"/>
                <a:gd name="connsiteY13442" fmla="*/ 2589608 h 5704395"/>
                <a:gd name="connsiteX13443" fmla="*/ 2067381 w 5719680"/>
                <a:gd name="connsiteY13443" fmla="*/ 2588024 h 5704395"/>
                <a:gd name="connsiteX13444" fmla="*/ 2060711 w 5719680"/>
                <a:gd name="connsiteY13444" fmla="*/ 2604185 h 5704395"/>
                <a:gd name="connsiteX13445" fmla="*/ 2025773 w 5719680"/>
                <a:gd name="connsiteY13445" fmla="*/ 2640944 h 5704395"/>
                <a:gd name="connsiteX13446" fmla="*/ 1996552 w 5719680"/>
                <a:gd name="connsiteY13446" fmla="*/ 2647282 h 5704395"/>
                <a:gd name="connsiteX13447" fmla="*/ 1960026 w 5719680"/>
                <a:gd name="connsiteY13447" fmla="*/ 2648549 h 5704395"/>
                <a:gd name="connsiteX13448" fmla="*/ 1887927 w 5719680"/>
                <a:gd name="connsiteY13448" fmla="*/ 2646014 h 5704395"/>
                <a:gd name="connsiteX13449" fmla="*/ 1879986 w 5719680"/>
                <a:gd name="connsiteY13449" fmla="*/ 2676752 h 5704395"/>
                <a:gd name="connsiteX13450" fmla="*/ 1873951 w 5719680"/>
                <a:gd name="connsiteY13450" fmla="*/ 2700202 h 5704395"/>
                <a:gd name="connsiteX13451" fmla="*/ 1985118 w 5719680"/>
                <a:gd name="connsiteY13451" fmla="*/ 2701786 h 5704395"/>
                <a:gd name="connsiteX13452" fmla="*/ 2002269 w 5719680"/>
                <a:gd name="connsiteY13452" fmla="*/ 2653936 h 5704395"/>
                <a:gd name="connsiteX13453" fmla="*/ 2047371 w 5719680"/>
                <a:gd name="connsiteY13453" fmla="*/ 2671365 h 5704395"/>
                <a:gd name="connsiteX13454" fmla="*/ 2036254 w 5719680"/>
                <a:gd name="connsiteY13454" fmla="*/ 2702420 h 5704395"/>
                <a:gd name="connsiteX13455" fmla="*/ 2058488 w 5719680"/>
                <a:gd name="connsiteY13455" fmla="*/ 2702737 h 5704395"/>
                <a:gd name="connsiteX13456" fmla="*/ 2098508 w 5719680"/>
                <a:gd name="connsiteY13456" fmla="*/ 2589925 h 5704395"/>
                <a:gd name="connsiteX13457" fmla="*/ 2090567 w 5719680"/>
                <a:gd name="connsiteY13457" fmla="*/ 2589608 h 5704395"/>
                <a:gd name="connsiteX13458" fmla="*/ 2067381 w 5719680"/>
                <a:gd name="connsiteY13458" fmla="*/ 2588024 h 5704395"/>
                <a:gd name="connsiteX13459" fmla="*/ 2214756 w 5719680"/>
                <a:gd name="connsiteY13459" fmla="*/ 2581686 h 5704395"/>
                <a:gd name="connsiteX13460" fmla="*/ 2196652 w 5719680"/>
                <a:gd name="connsiteY13460" fmla="*/ 2633972 h 5704395"/>
                <a:gd name="connsiteX13461" fmla="*/ 2238260 w 5719680"/>
                <a:gd name="connsiteY13461" fmla="*/ 2642211 h 5704395"/>
                <a:gd name="connsiteX13462" fmla="*/ 2256046 w 5719680"/>
                <a:gd name="connsiteY13462" fmla="*/ 2589925 h 5704395"/>
                <a:gd name="connsiteX13463" fmla="*/ 2214756 w 5719680"/>
                <a:gd name="connsiteY13463" fmla="*/ 2581686 h 5704395"/>
                <a:gd name="connsiteX13464" fmla="*/ 1545216 w 5719680"/>
                <a:gd name="connsiteY13464" fmla="*/ 2581052 h 5704395"/>
                <a:gd name="connsiteX13465" fmla="*/ 1491856 w 5719680"/>
                <a:gd name="connsiteY13465" fmla="*/ 2582003 h 5704395"/>
                <a:gd name="connsiteX13466" fmla="*/ 1409275 w 5719680"/>
                <a:gd name="connsiteY13466" fmla="*/ 2593094 h 5704395"/>
                <a:gd name="connsiteX13467" fmla="*/ 1380054 w 5719680"/>
                <a:gd name="connsiteY13467" fmla="*/ 2594044 h 5704395"/>
                <a:gd name="connsiteX13468" fmla="*/ 1359409 w 5719680"/>
                <a:gd name="connsiteY13468" fmla="*/ 2593728 h 5704395"/>
                <a:gd name="connsiteX13469" fmla="*/ 1210128 w 5719680"/>
                <a:gd name="connsiteY13469" fmla="*/ 2635874 h 5704395"/>
                <a:gd name="connsiteX13470" fmla="*/ 1225056 w 5719680"/>
                <a:gd name="connsiteY13470" fmla="*/ 2671682 h 5704395"/>
                <a:gd name="connsiteX13471" fmla="*/ 1371796 w 5719680"/>
                <a:gd name="connsiteY13471" fmla="*/ 2631121 h 5704395"/>
                <a:gd name="connsiteX13472" fmla="*/ 1371478 w 5719680"/>
                <a:gd name="connsiteY13472" fmla="*/ 2629219 h 5704395"/>
                <a:gd name="connsiteX13473" fmla="*/ 1375607 w 5719680"/>
                <a:gd name="connsiteY13473" fmla="*/ 2628268 h 5704395"/>
                <a:gd name="connsiteX13474" fmla="*/ 1376243 w 5719680"/>
                <a:gd name="connsiteY13474" fmla="*/ 2630487 h 5704395"/>
                <a:gd name="connsiteX13475" fmla="*/ 1452789 w 5719680"/>
                <a:gd name="connsiteY13475" fmla="*/ 2622881 h 5704395"/>
                <a:gd name="connsiteX13476" fmla="*/ 1452789 w 5719680"/>
                <a:gd name="connsiteY13476" fmla="*/ 2621614 h 5704395"/>
                <a:gd name="connsiteX13477" fmla="*/ 1457235 w 5719680"/>
                <a:gd name="connsiteY13477" fmla="*/ 2621614 h 5704395"/>
                <a:gd name="connsiteX13478" fmla="*/ 1457235 w 5719680"/>
                <a:gd name="connsiteY13478" fmla="*/ 2622564 h 5704395"/>
                <a:gd name="connsiteX13479" fmla="*/ 1509007 w 5719680"/>
                <a:gd name="connsiteY13479" fmla="*/ 2620346 h 5704395"/>
                <a:gd name="connsiteX13480" fmla="*/ 1508690 w 5719680"/>
                <a:gd name="connsiteY13480" fmla="*/ 2618762 h 5704395"/>
                <a:gd name="connsiteX13481" fmla="*/ 1513136 w 5719680"/>
                <a:gd name="connsiteY13481" fmla="*/ 2618128 h 5704395"/>
                <a:gd name="connsiteX13482" fmla="*/ 1513454 w 5719680"/>
                <a:gd name="connsiteY13482" fmla="*/ 2620346 h 5704395"/>
                <a:gd name="connsiteX13483" fmla="*/ 1542040 w 5719680"/>
                <a:gd name="connsiteY13483" fmla="*/ 2620029 h 5704395"/>
                <a:gd name="connsiteX13484" fmla="*/ 1545216 w 5719680"/>
                <a:gd name="connsiteY13484" fmla="*/ 2620029 h 5704395"/>
                <a:gd name="connsiteX13485" fmla="*/ 1611281 w 5719680"/>
                <a:gd name="connsiteY13485" fmla="*/ 2621297 h 5704395"/>
                <a:gd name="connsiteX13486" fmla="*/ 1611281 w 5719680"/>
                <a:gd name="connsiteY13486" fmla="*/ 2618762 h 5704395"/>
                <a:gd name="connsiteX13487" fmla="*/ 1615727 w 5719680"/>
                <a:gd name="connsiteY13487" fmla="*/ 2619079 h 5704395"/>
                <a:gd name="connsiteX13488" fmla="*/ 1615727 w 5719680"/>
                <a:gd name="connsiteY13488" fmla="*/ 2621297 h 5704395"/>
                <a:gd name="connsiteX13489" fmla="*/ 1635737 w 5719680"/>
                <a:gd name="connsiteY13489" fmla="*/ 2622248 h 5704395"/>
                <a:gd name="connsiteX13490" fmla="*/ 1884750 w 5719680"/>
                <a:gd name="connsiteY13490" fmla="*/ 2640627 h 5704395"/>
                <a:gd name="connsiteX13491" fmla="*/ 1885703 w 5719680"/>
                <a:gd name="connsiteY13491" fmla="*/ 2639676 h 5704395"/>
                <a:gd name="connsiteX13492" fmla="*/ 1886338 w 5719680"/>
                <a:gd name="connsiteY13492" fmla="*/ 2640627 h 5704395"/>
                <a:gd name="connsiteX13493" fmla="*/ 1960026 w 5719680"/>
                <a:gd name="connsiteY13493" fmla="*/ 2643479 h 5704395"/>
                <a:gd name="connsiteX13494" fmla="*/ 1996234 w 5719680"/>
                <a:gd name="connsiteY13494" fmla="*/ 2641895 h 5704395"/>
                <a:gd name="connsiteX13495" fmla="*/ 2023550 w 5719680"/>
                <a:gd name="connsiteY13495" fmla="*/ 2636191 h 5704395"/>
                <a:gd name="connsiteX13496" fmla="*/ 2056264 w 5719680"/>
                <a:gd name="connsiteY13496" fmla="*/ 2601967 h 5704395"/>
                <a:gd name="connsiteX13497" fmla="*/ 2062299 w 5719680"/>
                <a:gd name="connsiteY13497" fmla="*/ 2587707 h 5704395"/>
                <a:gd name="connsiteX13498" fmla="*/ 2021009 w 5719680"/>
                <a:gd name="connsiteY13498" fmla="*/ 2584855 h 5704395"/>
                <a:gd name="connsiteX13499" fmla="*/ 2007669 w 5719680"/>
                <a:gd name="connsiteY13499" fmla="*/ 2600383 h 5704395"/>
                <a:gd name="connsiteX13500" fmla="*/ 2006081 w 5719680"/>
                <a:gd name="connsiteY13500" fmla="*/ 2601016 h 5704395"/>
                <a:gd name="connsiteX13501" fmla="*/ 1992423 w 5719680"/>
                <a:gd name="connsiteY13501" fmla="*/ 2603234 h 5704395"/>
                <a:gd name="connsiteX13502" fmla="*/ 1960026 w 5719680"/>
                <a:gd name="connsiteY13502" fmla="*/ 2604502 h 5704395"/>
                <a:gd name="connsiteX13503" fmla="*/ 1959708 w 5719680"/>
                <a:gd name="connsiteY13503" fmla="*/ 2604502 h 5704395"/>
                <a:gd name="connsiteX13504" fmla="*/ 1637325 w 5719680"/>
                <a:gd name="connsiteY13504" fmla="*/ 2583270 h 5704395"/>
                <a:gd name="connsiteX13505" fmla="*/ 1545216 w 5719680"/>
                <a:gd name="connsiteY13505" fmla="*/ 2581052 h 5704395"/>
                <a:gd name="connsiteX13506" fmla="*/ 2205545 w 5719680"/>
                <a:gd name="connsiteY13506" fmla="*/ 2579785 h 5704395"/>
                <a:gd name="connsiteX13507" fmla="*/ 2187758 w 5719680"/>
                <a:gd name="connsiteY13507" fmla="*/ 2632388 h 5704395"/>
                <a:gd name="connsiteX13508" fmla="*/ 2192523 w 5719680"/>
                <a:gd name="connsiteY13508" fmla="*/ 2633339 h 5704395"/>
                <a:gd name="connsiteX13509" fmla="*/ 2210627 w 5719680"/>
                <a:gd name="connsiteY13509" fmla="*/ 2580735 h 5704395"/>
                <a:gd name="connsiteX13510" fmla="*/ 2205545 w 5719680"/>
                <a:gd name="connsiteY13510" fmla="*/ 2579785 h 5704395"/>
                <a:gd name="connsiteX13511" fmla="*/ 2568901 w 5719680"/>
                <a:gd name="connsiteY13511" fmla="*/ 2577249 h 5704395"/>
                <a:gd name="connsiteX13512" fmla="*/ 2561596 w 5719680"/>
                <a:gd name="connsiteY13512" fmla="*/ 2577883 h 5704395"/>
                <a:gd name="connsiteX13513" fmla="*/ 2423749 w 5719680"/>
                <a:gd name="connsiteY13513" fmla="*/ 2848822 h 5704395"/>
                <a:gd name="connsiteX13514" fmla="*/ 2599075 w 5719680"/>
                <a:gd name="connsiteY13514" fmla="*/ 2961952 h 5704395"/>
                <a:gd name="connsiteX13515" fmla="*/ 2683879 w 5719680"/>
                <a:gd name="connsiteY13515" fmla="*/ 2831077 h 5704395"/>
                <a:gd name="connsiteX13516" fmla="*/ 2759472 w 5719680"/>
                <a:gd name="connsiteY13516" fmla="*/ 2713828 h 5704395"/>
                <a:gd name="connsiteX13517" fmla="*/ 2754073 w 5719680"/>
                <a:gd name="connsiteY13517" fmla="*/ 2710659 h 5704395"/>
                <a:gd name="connsiteX13518" fmla="*/ 2645447 w 5719680"/>
                <a:gd name="connsiteY13518" fmla="*/ 2633655 h 5704395"/>
                <a:gd name="connsiteX13519" fmla="*/ 2568901 w 5719680"/>
                <a:gd name="connsiteY13519" fmla="*/ 2577249 h 5704395"/>
                <a:gd name="connsiteX13520" fmla="*/ 714643 w 5719680"/>
                <a:gd name="connsiteY13520" fmla="*/ 2576933 h 5704395"/>
                <a:gd name="connsiteX13521" fmla="*/ 636508 w 5719680"/>
                <a:gd name="connsiteY13521" fmla="*/ 2629853 h 5704395"/>
                <a:gd name="connsiteX13522" fmla="*/ 599665 w 5719680"/>
                <a:gd name="connsiteY13522" fmla="*/ 2632705 h 5704395"/>
                <a:gd name="connsiteX13523" fmla="*/ 640002 w 5719680"/>
                <a:gd name="connsiteY13523" fmla="*/ 2720166 h 5704395"/>
                <a:gd name="connsiteX13524" fmla="*/ 656836 w 5719680"/>
                <a:gd name="connsiteY13524" fmla="*/ 2711927 h 5704395"/>
                <a:gd name="connsiteX13525" fmla="*/ 719725 w 5719680"/>
                <a:gd name="connsiteY13525" fmla="*/ 2681822 h 5704395"/>
                <a:gd name="connsiteX13526" fmla="*/ 746087 w 5719680"/>
                <a:gd name="connsiteY13526" fmla="*/ 2669147 h 5704395"/>
                <a:gd name="connsiteX13527" fmla="*/ 753710 w 5719680"/>
                <a:gd name="connsiteY13527" fmla="*/ 2665344 h 5704395"/>
                <a:gd name="connsiteX13528" fmla="*/ 755933 w 5719680"/>
                <a:gd name="connsiteY13528" fmla="*/ 2664077 h 5704395"/>
                <a:gd name="connsiteX13529" fmla="*/ 756568 w 5719680"/>
                <a:gd name="connsiteY13529" fmla="*/ 2663760 h 5704395"/>
                <a:gd name="connsiteX13530" fmla="*/ 714643 w 5719680"/>
                <a:gd name="connsiteY13530" fmla="*/ 2576933 h 5704395"/>
                <a:gd name="connsiteX13531" fmla="*/ 155316 w 5719680"/>
                <a:gd name="connsiteY13531" fmla="*/ 2569644 h 5704395"/>
                <a:gd name="connsiteX13532" fmla="*/ 122283 w 5719680"/>
                <a:gd name="connsiteY13532" fmla="*/ 2605452 h 5704395"/>
                <a:gd name="connsiteX13533" fmla="*/ 132447 w 5719680"/>
                <a:gd name="connsiteY13533" fmla="*/ 2621297 h 5704395"/>
                <a:gd name="connsiteX13534" fmla="*/ 148328 w 5719680"/>
                <a:gd name="connsiteY13534" fmla="*/ 2608938 h 5704395"/>
                <a:gd name="connsiteX13535" fmla="*/ 158174 w 5719680"/>
                <a:gd name="connsiteY13535" fmla="*/ 2631121 h 5704395"/>
                <a:gd name="connsiteX13536" fmla="*/ 128318 w 5719680"/>
                <a:gd name="connsiteY13536" fmla="*/ 2659957 h 5704395"/>
                <a:gd name="connsiteX13537" fmla="*/ 141976 w 5719680"/>
                <a:gd name="connsiteY13537" fmla="*/ 2681189 h 5704395"/>
                <a:gd name="connsiteX13538" fmla="*/ 202959 w 5719680"/>
                <a:gd name="connsiteY13538" fmla="*/ 2631437 h 5704395"/>
                <a:gd name="connsiteX13539" fmla="*/ 155316 w 5719680"/>
                <a:gd name="connsiteY13539" fmla="*/ 2569644 h 5704395"/>
                <a:gd name="connsiteX13540" fmla="*/ 343346 w 5719680"/>
                <a:gd name="connsiteY13540" fmla="*/ 2563940 h 5704395"/>
                <a:gd name="connsiteX13541" fmla="*/ 302373 w 5719680"/>
                <a:gd name="connsiteY13541" fmla="*/ 2596580 h 5704395"/>
                <a:gd name="connsiteX13542" fmla="*/ 215981 w 5719680"/>
                <a:gd name="connsiteY13542" fmla="*/ 2668513 h 5704395"/>
                <a:gd name="connsiteX13543" fmla="*/ 262989 w 5719680"/>
                <a:gd name="connsiteY13543" fmla="*/ 2731574 h 5704395"/>
                <a:gd name="connsiteX13544" fmla="*/ 291892 w 5719680"/>
                <a:gd name="connsiteY13544" fmla="*/ 2715413 h 5704395"/>
                <a:gd name="connsiteX13545" fmla="*/ 316666 w 5719680"/>
                <a:gd name="connsiteY13545" fmla="*/ 2677703 h 5704395"/>
                <a:gd name="connsiteX13546" fmla="*/ 333818 w 5719680"/>
                <a:gd name="connsiteY13546" fmla="*/ 2651084 h 5704395"/>
                <a:gd name="connsiteX13547" fmla="*/ 339535 w 5719680"/>
                <a:gd name="connsiteY13547" fmla="*/ 2642211 h 5704395"/>
                <a:gd name="connsiteX13548" fmla="*/ 341123 w 5719680"/>
                <a:gd name="connsiteY13548" fmla="*/ 2639676 h 5704395"/>
                <a:gd name="connsiteX13549" fmla="*/ 341123 w 5719680"/>
                <a:gd name="connsiteY13549" fmla="*/ 2639359 h 5704395"/>
                <a:gd name="connsiteX13550" fmla="*/ 341123 w 5719680"/>
                <a:gd name="connsiteY13550" fmla="*/ 2638409 h 5704395"/>
                <a:gd name="connsiteX13551" fmla="*/ 343346 w 5719680"/>
                <a:gd name="connsiteY13551" fmla="*/ 2563940 h 5704395"/>
                <a:gd name="connsiteX13552" fmla="*/ 2490449 w 5719680"/>
                <a:gd name="connsiteY13552" fmla="*/ 2562356 h 5704395"/>
                <a:gd name="connsiteX13553" fmla="*/ 2470122 w 5719680"/>
                <a:gd name="connsiteY13553" fmla="*/ 2602284 h 5704395"/>
                <a:gd name="connsiteX13554" fmla="*/ 2506012 w 5719680"/>
                <a:gd name="connsiteY13554" fmla="*/ 2619712 h 5704395"/>
                <a:gd name="connsiteX13555" fmla="*/ 2526022 w 5719680"/>
                <a:gd name="connsiteY13555" fmla="*/ 2581052 h 5704395"/>
                <a:gd name="connsiteX13556" fmla="*/ 2490449 w 5719680"/>
                <a:gd name="connsiteY13556" fmla="*/ 2562356 h 5704395"/>
                <a:gd name="connsiteX13557" fmla="*/ 155633 w 5719680"/>
                <a:gd name="connsiteY13557" fmla="*/ 2562356 h 5704395"/>
                <a:gd name="connsiteX13558" fmla="*/ 209629 w 5719680"/>
                <a:gd name="connsiteY13558" fmla="*/ 2632388 h 5704395"/>
                <a:gd name="connsiteX13559" fmla="*/ 207723 w 5719680"/>
                <a:gd name="connsiteY13559" fmla="*/ 2633655 h 5704395"/>
                <a:gd name="connsiteX13560" fmla="*/ 141023 w 5719680"/>
                <a:gd name="connsiteY13560" fmla="*/ 2688160 h 5704395"/>
                <a:gd name="connsiteX13561" fmla="*/ 122283 w 5719680"/>
                <a:gd name="connsiteY13561" fmla="*/ 2659323 h 5704395"/>
                <a:gd name="connsiteX13562" fmla="*/ 152775 w 5719680"/>
                <a:gd name="connsiteY13562" fmla="*/ 2630170 h 5704395"/>
                <a:gd name="connsiteX13563" fmla="*/ 146423 w 5719680"/>
                <a:gd name="connsiteY13563" fmla="*/ 2616227 h 5704395"/>
                <a:gd name="connsiteX13564" fmla="*/ 131494 w 5719680"/>
                <a:gd name="connsiteY13564" fmla="*/ 2627951 h 5704395"/>
                <a:gd name="connsiteX13565" fmla="*/ 116249 w 5719680"/>
                <a:gd name="connsiteY13565" fmla="*/ 2605136 h 5704395"/>
                <a:gd name="connsiteX13566" fmla="*/ 155633 w 5719680"/>
                <a:gd name="connsiteY13566" fmla="*/ 2562356 h 5704395"/>
                <a:gd name="connsiteX13567" fmla="*/ 751804 w 5719680"/>
                <a:gd name="connsiteY13567" fmla="*/ 2560454 h 5704395"/>
                <a:gd name="connsiteX13568" fmla="*/ 739417 w 5719680"/>
                <a:gd name="connsiteY13568" fmla="*/ 2569327 h 5704395"/>
                <a:gd name="connsiteX13569" fmla="*/ 778166 w 5719680"/>
                <a:gd name="connsiteY13569" fmla="*/ 2645063 h 5704395"/>
                <a:gd name="connsiteX13570" fmla="*/ 826762 w 5719680"/>
                <a:gd name="connsiteY13570" fmla="*/ 2626050 h 5704395"/>
                <a:gd name="connsiteX13571" fmla="*/ 821363 w 5719680"/>
                <a:gd name="connsiteY13571" fmla="*/ 2608621 h 5704395"/>
                <a:gd name="connsiteX13572" fmla="*/ 798812 w 5719680"/>
                <a:gd name="connsiteY13572" fmla="*/ 2614959 h 5704395"/>
                <a:gd name="connsiteX13573" fmla="*/ 795953 w 5719680"/>
                <a:gd name="connsiteY13573" fmla="*/ 2615910 h 5704395"/>
                <a:gd name="connsiteX13574" fmla="*/ 794047 w 5719680"/>
                <a:gd name="connsiteY13574" fmla="*/ 2613692 h 5704395"/>
                <a:gd name="connsiteX13575" fmla="*/ 751804 w 5719680"/>
                <a:gd name="connsiteY13575" fmla="*/ 2560454 h 5704395"/>
                <a:gd name="connsiteX13576" fmla="*/ 2373248 w 5719680"/>
                <a:gd name="connsiteY13576" fmla="*/ 2559187 h 5704395"/>
                <a:gd name="connsiteX13577" fmla="*/ 2357367 w 5719680"/>
                <a:gd name="connsiteY13577" fmla="*/ 2609255 h 5704395"/>
                <a:gd name="connsiteX13578" fmla="*/ 2441854 w 5719680"/>
                <a:gd name="connsiteY13578" fmla="*/ 2648549 h 5704395"/>
                <a:gd name="connsiteX13579" fmla="*/ 2464404 w 5719680"/>
                <a:gd name="connsiteY13579" fmla="*/ 2604185 h 5704395"/>
                <a:gd name="connsiteX13580" fmla="*/ 2373248 w 5719680"/>
                <a:gd name="connsiteY13580" fmla="*/ 2559187 h 5704395"/>
                <a:gd name="connsiteX13581" fmla="*/ 843596 w 5719680"/>
                <a:gd name="connsiteY13581" fmla="*/ 2557919 h 5704395"/>
                <a:gd name="connsiteX13582" fmla="*/ 794047 w 5719680"/>
                <a:gd name="connsiteY13582" fmla="*/ 2571229 h 5704395"/>
                <a:gd name="connsiteX13583" fmla="*/ 808975 w 5719680"/>
                <a:gd name="connsiteY13583" fmla="*/ 2589608 h 5704395"/>
                <a:gd name="connsiteX13584" fmla="*/ 834067 w 5719680"/>
                <a:gd name="connsiteY13584" fmla="*/ 2583587 h 5704395"/>
                <a:gd name="connsiteX13585" fmla="*/ 838196 w 5719680"/>
                <a:gd name="connsiteY13585" fmla="*/ 2582637 h 5704395"/>
                <a:gd name="connsiteX13586" fmla="*/ 839467 w 5719680"/>
                <a:gd name="connsiteY13586" fmla="*/ 2586122 h 5704395"/>
                <a:gd name="connsiteX13587" fmla="*/ 864241 w 5719680"/>
                <a:gd name="connsiteY13587" fmla="*/ 2654253 h 5704395"/>
                <a:gd name="connsiteX13588" fmla="*/ 919507 w 5719680"/>
                <a:gd name="connsiteY13588" fmla="*/ 2665028 h 5704395"/>
                <a:gd name="connsiteX13589" fmla="*/ 843596 w 5719680"/>
                <a:gd name="connsiteY13589" fmla="*/ 2557919 h 5704395"/>
                <a:gd name="connsiteX13590" fmla="*/ 1625891 w 5719680"/>
                <a:gd name="connsiteY13590" fmla="*/ 2556652 h 5704395"/>
                <a:gd name="connsiteX13591" fmla="*/ 1526476 w 5719680"/>
                <a:gd name="connsiteY13591" fmla="*/ 2575982 h 5704395"/>
                <a:gd name="connsiteX13592" fmla="*/ 1545216 w 5719680"/>
                <a:gd name="connsiteY13592" fmla="*/ 2575665 h 5704395"/>
                <a:gd name="connsiteX13593" fmla="*/ 1637643 w 5719680"/>
                <a:gd name="connsiteY13593" fmla="*/ 2578200 h 5704395"/>
                <a:gd name="connsiteX13594" fmla="*/ 1959708 w 5719680"/>
                <a:gd name="connsiteY13594" fmla="*/ 2599115 h 5704395"/>
                <a:gd name="connsiteX13595" fmla="*/ 1960026 w 5719680"/>
                <a:gd name="connsiteY13595" fmla="*/ 2599115 h 5704395"/>
                <a:gd name="connsiteX13596" fmla="*/ 1991788 w 5719680"/>
                <a:gd name="connsiteY13596" fmla="*/ 2598164 h 5704395"/>
                <a:gd name="connsiteX13597" fmla="*/ 2001952 w 5719680"/>
                <a:gd name="connsiteY13597" fmla="*/ 2596580 h 5704395"/>
                <a:gd name="connsiteX13598" fmla="*/ 2004810 w 5719680"/>
                <a:gd name="connsiteY13598" fmla="*/ 2595946 h 5704395"/>
                <a:gd name="connsiteX13599" fmla="*/ 2005445 w 5719680"/>
                <a:gd name="connsiteY13599" fmla="*/ 2595629 h 5704395"/>
                <a:gd name="connsiteX13600" fmla="*/ 2005763 w 5719680"/>
                <a:gd name="connsiteY13600" fmla="*/ 2595629 h 5704395"/>
                <a:gd name="connsiteX13601" fmla="*/ 2015292 w 5719680"/>
                <a:gd name="connsiteY13601" fmla="*/ 2584221 h 5704395"/>
                <a:gd name="connsiteX13602" fmla="*/ 1625891 w 5719680"/>
                <a:gd name="connsiteY13602" fmla="*/ 2556652 h 5704395"/>
                <a:gd name="connsiteX13603" fmla="*/ 752439 w 5719680"/>
                <a:gd name="connsiteY13603" fmla="*/ 2554434 h 5704395"/>
                <a:gd name="connsiteX13604" fmla="*/ 797541 w 5719680"/>
                <a:gd name="connsiteY13604" fmla="*/ 2610840 h 5704395"/>
                <a:gd name="connsiteX13605" fmla="*/ 824221 w 5719680"/>
                <a:gd name="connsiteY13605" fmla="*/ 2602917 h 5704395"/>
                <a:gd name="connsiteX13606" fmla="*/ 832479 w 5719680"/>
                <a:gd name="connsiteY13606" fmla="*/ 2628585 h 5704395"/>
                <a:gd name="connsiteX13607" fmla="*/ 775943 w 5719680"/>
                <a:gd name="connsiteY13607" fmla="*/ 2650768 h 5704395"/>
                <a:gd name="connsiteX13608" fmla="*/ 733700 w 5719680"/>
                <a:gd name="connsiteY13608" fmla="*/ 2568060 h 5704395"/>
                <a:gd name="connsiteX13609" fmla="*/ 752439 w 5719680"/>
                <a:gd name="connsiteY13609" fmla="*/ 2554434 h 5704395"/>
                <a:gd name="connsiteX13610" fmla="*/ 152457 w 5719680"/>
                <a:gd name="connsiteY13610" fmla="*/ 2553483 h 5704395"/>
                <a:gd name="connsiteX13611" fmla="*/ 95286 w 5719680"/>
                <a:gd name="connsiteY13611" fmla="*/ 2614325 h 5704395"/>
                <a:gd name="connsiteX13612" fmla="*/ 52407 w 5719680"/>
                <a:gd name="connsiteY13612" fmla="*/ 2654887 h 5704395"/>
                <a:gd name="connsiteX13613" fmla="*/ 77182 w 5719680"/>
                <a:gd name="connsiteY13613" fmla="*/ 2681189 h 5704395"/>
                <a:gd name="connsiteX13614" fmla="*/ 63524 w 5719680"/>
                <a:gd name="connsiteY13614" fmla="*/ 2695766 h 5704395"/>
                <a:gd name="connsiteX13615" fmla="*/ 65430 w 5719680"/>
                <a:gd name="connsiteY13615" fmla="*/ 2693864 h 5704395"/>
                <a:gd name="connsiteX13616" fmla="*/ 104814 w 5719680"/>
                <a:gd name="connsiteY13616" fmla="*/ 2733792 h 5704395"/>
                <a:gd name="connsiteX13617" fmla="*/ 222333 w 5719680"/>
                <a:gd name="connsiteY13617" fmla="*/ 2636191 h 5704395"/>
                <a:gd name="connsiteX13618" fmla="*/ 152457 w 5719680"/>
                <a:gd name="connsiteY13618" fmla="*/ 2553483 h 5704395"/>
                <a:gd name="connsiteX13619" fmla="*/ 845502 w 5719680"/>
                <a:gd name="connsiteY13619" fmla="*/ 2552532 h 5704395"/>
                <a:gd name="connsiteX13620" fmla="*/ 929671 w 5719680"/>
                <a:gd name="connsiteY13620" fmla="*/ 2671682 h 5704395"/>
                <a:gd name="connsiteX13621" fmla="*/ 861065 w 5719680"/>
                <a:gd name="connsiteY13621" fmla="*/ 2658373 h 5704395"/>
                <a:gd name="connsiteX13622" fmla="*/ 835338 w 5719680"/>
                <a:gd name="connsiteY13622" fmla="*/ 2587707 h 5704395"/>
                <a:gd name="connsiteX13623" fmla="*/ 807387 w 5719680"/>
                <a:gd name="connsiteY13623" fmla="*/ 2594678 h 5704395"/>
                <a:gd name="connsiteX13624" fmla="*/ 786424 w 5719680"/>
                <a:gd name="connsiteY13624" fmla="*/ 2569010 h 5704395"/>
                <a:gd name="connsiteX13625" fmla="*/ 845502 w 5719680"/>
                <a:gd name="connsiteY13625" fmla="*/ 2552532 h 5704395"/>
                <a:gd name="connsiteX13626" fmla="*/ 379555 w 5719680"/>
                <a:gd name="connsiteY13626" fmla="*/ 2549680 h 5704395"/>
                <a:gd name="connsiteX13627" fmla="*/ 362721 w 5719680"/>
                <a:gd name="connsiteY13627" fmla="*/ 2563623 h 5704395"/>
                <a:gd name="connsiteX13628" fmla="*/ 360180 w 5719680"/>
                <a:gd name="connsiteY13628" fmla="*/ 2618445 h 5704395"/>
                <a:gd name="connsiteX13629" fmla="*/ 401153 w 5719680"/>
                <a:gd name="connsiteY13629" fmla="*/ 2618128 h 5704395"/>
                <a:gd name="connsiteX13630" fmla="*/ 405917 w 5719680"/>
                <a:gd name="connsiteY13630" fmla="*/ 2588024 h 5704395"/>
                <a:gd name="connsiteX13631" fmla="*/ 379555 w 5719680"/>
                <a:gd name="connsiteY13631" fmla="*/ 2549680 h 5704395"/>
                <a:gd name="connsiteX13632" fmla="*/ 380190 w 5719680"/>
                <a:gd name="connsiteY13632" fmla="*/ 2543026 h 5704395"/>
                <a:gd name="connsiteX13633" fmla="*/ 410364 w 5719680"/>
                <a:gd name="connsiteY13633" fmla="*/ 2587073 h 5704395"/>
                <a:gd name="connsiteX13634" fmla="*/ 404964 w 5719680"/>
                <a:gd name="connsiteY13634" fmla="*/ 2622564 h 5704395"/>
                <a:gd name="connsiteX13635" fmla="*/ 355733 w 5719680"/>
                <a:gd name="connsiteY13635" fmla="*/ 2622881 h 5704395"/>
                <a:gd name="connsiteX13636" fmla="*/ 358274 w 5719680"/>
                <a:gd name="connsiteY13636" fmla="*/ 2561405 h 5704395"/>
                <a:gd name="connsiteX13637" fmla="*/ 1248877 w 5719680"/>
                <a:gd name="connsiteY13637" fmla="*/ 2541441 h 5704395"/>
                <a:gd name="connsiteX13638" fmla="*/ 1254912 w 5719680"/>
                <a:gd name="connsiteY13638" fmla="*/ 2544927 h 5704395"/>
                <a:gd name="connsiteX13639" fmla="*/ 2277327 w 5719680"/>
                <a:gd name="connsiteY13639" fmla="*/ 2539857 h 5704395"/>
                <a:gd name="connsiteX13640" fmla="*/ 2261446 w 5719680"/>
                <a:gd name="connsiteY13640" fmla="*/ 2586439 h 5704395"/>
                <a:gd name="connsiteX13641" fmla="*/ 2337357 w 5719680"/>
                <a:gd name="connsiteY13641" fmla="*/ 2602601 h 5704395"/>
                <a:gd name="connsiteX13642" fmla="*/ 2352920 w 5719680"/>
                <a:gd name="connsiteY13642" fmla="*/ 2554117 h 5704395"/>
                <a:gd name="connsiteX13643" fmla="*/ 2277327 w 5719680"/>
                <a:gd name="connsiteY13643" fmla="*/ 2539857 h 5704395"/>
                <a:gd name="connsiteX13644" fmla="*/ 554563 w 5719680"/>
                <a:gd name="connsiteY13644" fmla="*/ 2534786 h 5704395"/>
                <a:gd name="connsiteX13645" fmla="*/ 514225 w 5719680"/>
                <a:gd name="connsiteY13645" fmla="*/ 2569644 h 5704395"/>
                <a:gd name="connsiteX13646" fmla="*/ 540270 w 5719680"/>
                <a:gd name="connsiteY13646" fmla="*/ 2603551 h 5704395"/>
                <a:gd name="connsiteX13647" fmla="*/ 572032 w 5719680"/>
                <a:gd name="connsiteY13647" fmla="*/ 2602284 h 5704395"/>
                <a:gd name="connsiteX13648" fmla="*/ 616816 w 5719680"/>
                <a:gd name="connsiteY13648" fmla="*/ 2601016 h 5704395"/>
                <a:gd name="connsiteX13649" fmla="*/ 631109 w 5719680"/>
                <a:gd name="connsiteY13649" fmla="*/ 2591193 h 5704395"/>
                <a:gd name="connsiteX13650" fmla="*/ 608240 w 5719680"/>
                <a:gd name="connsiteY13650" fmla="*/ 2580101 h 5704395"/>
                <a:gd name="connsiteX13651" fmla="*/ 576796 w 5719680"/>
                <a:gd name="connsiteY13651" fmla="*/ 2560454 h 5704395"/>
                <a:gd name="connsiteX13652" fmla="*/ 577431 w 5719680"/>
                <a:gd name="connsiteY13652" fmla="*/ 2556969 h 5704395"/>
                <a:gd name="connsiteX13653" fmla="*/ 578384 w 5719680"/>
                <a:gd name="connsiteY13653" fmla="*/ 2556969 h 5704395"/>
                <a:gd name="connsiteX13654" fmla="*/ 580925 w 5719680"/>
                <a:gd name="connsiteY13654" fmla="*/ 2547779 h 5704395"/>
                <a:gd name="connsiteX13655" fmla="*/ 2231908 w 5719680"/>
                <a:gd name="connsiteY13655" fmla="*/ 2531301 h 5704395"/>
                <a:gd name="connsiteX13656" fmla="*/ 2216026 w 5719680"/>
                <a:gd name="connsiteY13656" fmla="*/ 2577249 h 5704395"/>
                <a:gd name="connsiteX13657" fmla="*/ 2257317 w 5719680"/>
                <a:gd name="connsiteY13657" fmla="*/ 2585805 h 5704395"/>
                <a:gd name="connsiteX13658" fmla="*/ 2273198 w 5719680"/>
                <a:gd name="connsiteY13658" fmla="*/ 2538906 h 5704395"/>
                <a:gd name="connsiteX13659" fmla="*/ 384001 w 5719680"/>
                <a:gd name="connsiteY13659" fmla="*/ 2530984 h 5704395"/>
                <a:gd name="connsiteX13660" fmla="*/ 348428 w 5719680"/>
                <a:gd name="connsiteY13660" fmla="*/ 2559504 h 5704395"/>
                <a:gd name="connsiteX13661" fmla="*/ 346522 w 5719680"/>
                <a:gd name="connsiteY13661" fmla="*/ 2634606 h 5704395"/>
                <a:gd name="connsiteX13662" fmla="*/ 416399 w 5719680"/>
                <a:gd name="connsiteY13662" fmla="*/ 2630803 h 5704395"/>
                <a:gd name="connsiteX13663" fmla="*/ 421798 w 5719680"/>
                <a:gd name="connsiteY13663" fmla="*/ 2587707 h 5704395"/>
                <a:gd name="connsiteX13664" fmla="*/ 553927 w 5719680"/>
                <a:gd name="connsiteY13664" fmla="*/ 2529716 h 5704395"/>
                <a:gd name="connsiteX13665" fmla="*/ 586325 w 5719680"/>
                <a:gd name="connsiteY13665" fmla="*/ 2545561 h 5704395"/>
                <a:gd name="connsiteX13666" fmla="*/ 580925 w 5719680"/>
                <a:gd name="connsiteY13666" fmla="*/ 2561405 h 5704395"/>
                <a:gd name="connsiteX13667" fmla="*/ 639685 w 5719680"/>
                <a:gd name="connsiteY13667" fmla="*/ 2590242 h 5704395"/>
                <a:gd name="connsiteX13668" fmla="*/ 617769 w 5719680"/>
                <a:gd name="connsiteY13668" fmla="*/ 2605136 h 5704395"/>
                <a:gd name="connsiteX13669" fmla="*/ 538364 w 5719680"/>
                <a:gd name="connsiteY13669" fmla="*/ 2607988 h 5704395"/>
                <a:gd name="connsiteX13670" fmla="*/ 508190 w 5719680"/>
                <a:gd name="connsiteY13670" fmla="*/ 2569010 h 5704395"/>
                <a:gd name="connsiteX13671" fmla="*/ 2222696 w 5719680"/>
                <a:gd name="connsiteY13671" fmla="*/ 2529399 h 5704395"/>
                <a:gd name="connsiteX13672" fmla="*/ 2207133 w 5719680"/>
                <a:gd name="connsiteY13672" fmla="*/ 2575665 h 5704395"/>
                <a:gd name="connsiteX13673" fmla="*/ 2211898 w 5719680"/>
                <a:gd name="connsiteY13673" fmla="*/ 2576616 h 5704395"/>
                <a:gd name="connsiteX13674" fmla="*/ 2227778 w 5719680"/>
                <a:gd name="connsiteY13674" fmla="*/ 2530350 h 5704395"/>
                <a:gd name="connsiteX13675" fmla="*/ 791824 w 5719680"/>
                <a:gd name="connsiteY13675" fmla="*/ 2524646 h 5704395"/>
                <a:gd name="connsiteX13676" fmla="*/ 726712 w 5719680"/>
                <a:gd name="connsiteY13676" fmla="*/ 2568694 h 5704395"/>
                <a:gd name="connsiteX13677" fmla="*/ 773720 w 5719680"/>
                <a:gd name="connsiteY13677" fmla="*/ 2665978 h 5704395"/>
                <a:gd name="connsiteX13678" fmla="*/ 800082 w 5719680"/>
                <a:gd name="connsiteY13678" fmla="*/ 2655838 h 5704395"/>
                <a:gd name="connsiteX13679" fmla="*/ 825809 w 5719680"/>
                <a:gd name="connsiteY13679" fmla="*/ 2646331 h 5704395"/>
                <a:gd name="connsiteX13680" fmla="*/ 827397 w 5719680"/>
                <a:gd name="connsiteY13680" fmla="*/ 2646014 h 5704395"/>
                <a:gd name="connsiteX13681" fmla="*/ 912519 w 5719680"/>
                <a:gd name="connsiteY13681" fmla="*/ 2730940 h 5704395"/>
                <a:gd name="connsiteX13682" fmla="*/ 911884 w 5719680"/>
                <a:gd name="connsiteY13682" fmla="*/ 2731574 h 5704395"/>
                <a:gd name="connsiteX13683" fmla="*/ 963021 w 5719680"/>
                <a:gd name="connsiteY13683" fmla="*/ 2704321 h 5704395"/>
                <a:gd name="connsiteX13684" fmla="*/ 845184 w 5719680"/>
                <a:gd name="connsiteY13684" fmla="*/ 2538589 h 5704395"/>
                <a:gd name="connsiteX13685" fmla="*/ 793730 w 5719680"/>
                <a:gd name="connsiteY13685" fmla="*/ 2525280 h 5704395"/>
                <a:gd name="connsiteX13686" fmla="*/ 791824 w 5719680"/>
                <a:gd name="connsiteY13686" fmla="*/ 2524646 h 5704395"/>
                <a:gd name="connsiteX13687" fmla="*/ 1373066 w 5719680"/>
                <a:gd name="connsiteY13687" fmla="*/ 2522745 h 5704395"/>
                <a:gd name="connsiteX13688" fmla="*/ 1340669 w 5719680"/>
                <a:gd name="connsiteY13688" fmla="*/ 2527181 h 5704395"/>
                <a:gd name="connsiteX13689" fmla="*/ 1344481 w 5719680"/>
                <a:gd name="connsiteY13689" fmla="*/ 2544293 h 5704395"/>
                <a:gd name="connsiteX13690" fmla="*/ 1377831 w 5719680"/>
                <a:gd name="connsiteY13690" fmla="*/ 2545878 h 5704395"/>
                <a:gd name="connsiteX13691" fmla="*/ 1373066 w 5719680"/>
                <a:gd name="connsiteY13691" fmla="*/ 2522745 h 5704395"/>
                <a:gd name="connsiteX13692" fmla="*/ 1409275 w 5719680"/>
                <a:gd name="connsiteY13692" fmla="*/ 2517675 h 5704395"/>
                <a:gd name="connsiteX13693" fmla="*/ 1378466 w 5719680"/>
                <a:gd name="connsiteY13693" fmla="*/ 2522111 h 5704395"/>
                <a:gd name="connsiteX13694" fmla="*/ 1383230 w 5719680"/>
                <a:gd name="connsiteY13694" fmla="*/ 2545878 h 5704395"/>
                <a:gd name="connsiteX13695" fmla="*/ 1405781 w 5719680"/>
                <a:gd name="connsiteY13695" fmla="*/ 2544927 h 5704395"/>
                <a:gd name="connsiteX13696" fmla="*/ 1414992 w 5719680"/>
                <a:gd name="connsiteY13696" fmla="*/ 2543976 h 5704395"/>
                <a:gd name="connsiteX13697" fmla="*/ 1409275 w 5719680"/>
                <a:gd name="connsiteY13697" fmla="*/ 2517675 h 5704395"/>
                <a:gd name="connsiteX13698" fmla="*/ 1895549 w 5719680"/>
                <a:gd name="connsiteY13698" fmla="*/ 2514823 h 5704395"/>
                <a:gd name="connsiteX13699" fmla="*/ 1897773 w 5719680"/>
                <a:gd name="connsiteY13699" fmla="*/ 2527498 h 5704395"/>
                <a:gd name="connsiteX13700" fmla="*/ 1954944 w 5719680"/>
                <a:gd name="connsiteY13700" fmla="*/ 2531618 h 5704395"/>
                <a:gd name="connsiteX13701" fmla="*/ 1955897 w 5719680"/>
                <a:gd name="connsiteY13701" fmla="*/ 2519893 h 5704395"/>
                <a:gd name="connsiteX13702" fmla="*/ 1233949 w 5719680"/>
                <a:gd name="connsiteY13702" fmla="*/ 2511654 h 5704395"/>
                <a:gd name="connsiteX13703" fmla="*/ 1184083 w 5719680"/>
                <a:gd name="connsiteY13703" fmla="*/ 2534153 h 5704395"/>
                <a:gd name="connsiteX13704" fmla="*/ 1163438 w 5719680"/>
                <a:gd name="connsiteY13704" fmla="*/ 2526864 h 5704395"/>
                <a:gd name="connsiteX13705" fmla="*/ 1104996 w 5719680"/>
                <a:gd name="connsiteY13705" fmla="*/ 2596580 h 5704395"/>
                <a:gd name="connsiteX13706" fmla="*/ 1103408 w 5719680"/>
                <a:gd name="connsiteY13706" fmla="*/ 2596263 h 5704395"/>
                <a:gd name="connsiteX13707" fmla="*/ 1084351 w 5719680"/>
                <a:gd name="connsiteY13707" fmla="*/ 2590242 h 5704395"/>
                <a:gd name="connsiteX13708" fmla="*/ 1071011 w 5719680"/>
                <a:gd name="connsiteY13708" fmla="*/ 2586439 h 5704395"/>
                <a:gd name="connsiteX13709" fmla="*/ 1066564 w 5719680"/>
                <a:gd name="connsiteY13709" fmla="*/ 2585172 h 5704395"/>
                <a:gd name="connsiteX13710" fmla="*/ 1032261 w 5719680"/>
                <a:gd name="connsiteY13710" fmla="*/ 2667562 h 5704395"/>
                <a:gd name="connsiteX13711" fmla="*/ 1102138 w 5719680"/>
                <a:gd name="connsiteY13711" fmla="*/ 2630170 h 5704395"/>
                <a:gd name="connsiteX13712" fmla="*/ 1135170 w 5719680"/>
                <a:gd name="connsiteY13712" fmla="*/ 2612424 h 5704395"/>
                <a:gd name="connsiteX13713" fmla="*/ 1144698 w 5719680"/>
                <a:gd name="connsiteY13713" fmla="*/ 2607037 h 5704395"/>
                <a:gd name="connsiteX13714" fmla="*/ 1147239 w 5719680"/>
                <a:gd name="connsiteY13714" fmla="*/ 2605452 h 5704395"/>
                <a:gd name="connsiteX13715" fmla="*/ 1147557 w 5719680"/>
                <a:gd name="connsiteY13715" fmla="*/ 2605452 h 5704395"/>
                <a:gd name="connsiteX13716" fmla="*/ 1183448 w 5719680"/>
                <a:gd name="connsiteY13716" fmla="*/ 2578200 h 5704395"/>
                <a:gd name="connsiteX13717" fmla="*/ 1246654 w 5719680"/>
                <a:gd name="connsiteY13717" fmla="*/ 2547145 h 5704395"/>
                <a:gd name="connsiteX13718" fmla="*/ 1241255 w 5719680"/>
                <a:gd name="connsiteY13718" fmla="*/ 2534470 h 5704395"/>
                <a:gd name="connsiteX13719" fmla="*/ 1233949 w 5719680"/>
                <a:gd name="connsiteY13719" fmla="*/ 2511654 h 5704395"/>
                <a:gd name="connsiteX13720" fmla="*/ 1850448 w 5719680"/>
                <a:gd name="connsiteY13720" fmla="*/ 2510703 h 5704395"/>
                <a:gd name="connsiteX13721" fmla="*/ 1852036 w 5719680"/>
                <a:gd name="connsiteY13721" fmla="*/ 2524329 h 5704395"/>
                <a:gd name="connsiteX13722" fmla="*/ 1854259 w 5719680"/>
                <a:gd name="connsiteY13722" fmla="*/ 2524329 h 5704395"/>
                <a:gd name="connsiteX13723" fmla="*/ 1893326 w 5719680"/>
                <a:gd name="connsiteY13723" fmla="*/ 2527181 h 5704395"/>
                <a:gd name="connsiteX13724" fmla="*/ 1891103 w 5719680"/>
                <a:gd name="connsiteY13724" fmla="*/ 2514189 h 5704395"/>
                <a:gd name="connsiteX13725" fmla="*/ 2778847 w 5719680"/>
                <a:gd name="connsiteY13725" fmla="*/ 2506583 h 5704395"/>
                <a:gd name="connsiteX13726" fmla="*/ 2749309 w 5719680"/>
                <a:gd name="connsiteY13726" fmla="*/ 2528449 h 5704395"/>
                <a:gd name="connsiteX13727" fmla="*/ 2680703 w 5719680"/>
                <a:gd name="connsiteY13727" fmla="*/ 2560771 h 5704395"/>
                <a:gd name="connsiteX13728" fmla="*/ 2599392 w 5719680"/>
                <a:gd name="connsiteY13728" fmla="*/ 2574081 h 5704395"/>
                <a:gd name="connsiteX13729" fmla="*/ 2657517 w 5719680"/>
                <a:gd name="connsiteY13729" fmla="*/ 2616861 h 5704395"/>
                <a:gd name="connsiteX13730" fmla="*/ 2764872 w 5719680"/>
                <a:gd name="connsiteY13730" fmla="*/ 2692914 h 5704395"/>
                <a:gd name="connsiteX13731" fmla="*/ 2956396 w 5719680"/>
                <a:gd name="connsiteY13731" fmla="*/ 2807627 h 5704395"/>
                <a:gd name="connsiteX13732" fmla="*/ 3191434 w 5719680"/>
                <a:gd name="connsiteY13732" fmla="*/ 2928995 h 5704395"/>
                <a:gd name="connsiteX13733" fmla="*/ 3387722 w 5719680"/>
                <a:gd name="connsiteY13733" fmla="*/ 3018357 h 5704395"/>
                <a:gd name="connsiteX13734" fmla="*/ 3425202 w 5719680"/>
                <a:gd name="connsiteY13734" fmla="*/ 2984767 h 5704395"/>
                <a:gd name="connsiteX13735" fmla="*/ 3508735 w 5719680"/>
                <a:gd name="connsiteY13735" fmla="*/ 2904278 h 5704395"/>
                <a:gd name="connsiteX13736" fmla="*/ 3550978 w 5719680"/>
                <a:gd name="connsiteY13736" fmla="*/ 2787663 h 5704395"/>
                <a:gd name="connsiteX13737" fmla="*/ 3254005 w 5719680"/>
                <a:gd name="connsiteY13737" fmla="*/ 2711927 h 5704395"/>
                <a:gd name="connsiteX13738" fmla="*/ 2848088 w 5719680"/>
                <a:gd name="connsiteY13738" fmla="*/ 2549680 h 5704395"/>
                <a:gd name="connsiteX13739" fmla="*/ 2778847 w 5719680"/>
                <a:gd name="connsiteY13739" fmla="*/ 2506583 h 5704395"/>
                <a:gd name="connsiteX13740" fmla="*/ 1489315 w 5719680"/>
                <a:gd name="connsiteY13740" fmla="*/ 2506583 h 5704395"/>
                <a:gd name="connsiteX13741" fmla="*/ 1414357 w 5719680"/>
                <a:gd name="connsiteY13741" fmla="*/ 2517041 h 5704395"/>
                <a:gd name="connsiteX13742" fmla="*/ 1420074 w 5719680"/>
                <a:gd name="connsiteY13742" fmla="*/ 2543026 h 5704395"/>
                <a:gd name="connsiteX13743" fmla="*/ 1415627 w 5719680"/>
                <a:gd name="connsiteY13743" fmla="*/ 2543976 h 5704395"/>
                <a:gd name="connsiteX13744" fmla="*/ 1493762 w 5719680"/>
                <a:gd name="connsiteY13744" fmla="*/ 2532568 h 5704395"/>
                <a:gd name="connsiteX13745" fmla="*/ 1489315 w 5719680"/>
                <a:gd name="connsiteY13745" fmla="*/ 2506583 h 5704395"/>
                <a:gd name="connsiteX13746" fmla="*/ 415128 w 5719680"/>
                <a:gd name="connsiteY13746" fmla="*/ 2505950 h 5704395"/>
                <a:gd name="connsiteX13747" fmla="*/ 388130 w 5719680"/>
                <a:gd name="connsiteY13747" fmla="*/ 2527815 h 5704395"/>
                <a:gd name="connsiteX13748" fmla="*/ 427198 w 5719680"/>
                <a:gd name="connsiteY13748" fmla="*/ 2586439 h 5704395"/>
                <a:gd name="connsiteX13749" fmla="*/ 421480 w 5719680"/>
                <a:gd name="connsiteY13749" fmla="*/ 2632071 h 5704395"/>
                <a:gd name="connsiteX13750" fmla="*/ 488180 w 5719680"/>
                <a:gd name="connsiteY13750" fmla="*/ 2681189 h 5704395"/>
                <a:gd name="connsiteX13751" fmla="*/ 517084 w 5719680"/>
                <a:gd name="connsiteY13751" fmla="*/ 2632071 h 5704395"/>
                <a:gd name="connsiteX13752" fmla="*/ 1780254 w 5719680"/>
                <a:gd name="connsiteY13752" fmla="*/ 2504999 h 5704395"/>
                <a:gd name="connsiteX13753" fmla="*/ 1780254 w 5719680"/>
                <a:gd name="connsiteY13753" fmla="*/ 2519259 h 5704395"/>
                <a:gd name="connsiteX13754" fmla="*/ 1847589 w 5719680"/>
                <a:gd name="connsiteY13754" fmla="*/ 2524012 h 5704395"/>
                <a:gd name="connsiteX13755" fmla="*/ 1846001 w 5719680"/>
                <a:gd name="connsiteY13755" fmla="*/ 2510386 h 5704395"/>
                <a:gd name="connsiteX13756" fmla="*/ 1527112 w 5719680"/>
                <a:gd name="connsiteY13756" fmla="*/ 2501196 h 5704395"/>
                <a:gd name="connsiteX13757" fmla="*/ 1493762 w 5719680"/>
                <a:gd name="connsiteY13757" fmla="*/ 2505950 h 5704395"/>
                <a:gd name="connsiteX13758" fmla="*/ 1498208 w 5719680"/>
                <a:gd name="connsiteY13758" fmla="*/ 2531934 h 5704395"/>
                <a:gd name="connsiteX13759" fmla="*/ 1530923 w 5719680"/>
                <a:gd name="connsiteY13759" fmla="*/ 2525914 h 5704395"/>
                <a:gd name="connsiteX13760" fmla="*/ 1527112 w 5719680"/>
                <a:gd name="connsiteY13760" fmla="*/ 2501196 h 5704395"/>
                <a:gd name="connsiteX13761" fmla="*/ 47643 w 5719680"/>
                <a:gd name="connsiteY13761" fmla="*/ 2500563 h 5704395"/>
                <a:gd name="connsiteX13762" fmla="*/ 24139 w 5719680"/>
                <a:gd name="connsiteY13762" fmla="*/ 2546511 h 5704395"/>
                <a:gd name="connsiteX13763" fmla="*/ 72417 w 5719680"/>
                <a:gd name="connsiteY13763" fmla="*/ 2580418 h 5704395"/>
                <a:gd name="connsiteX13764" fmla="*/ 76864 w 5719680"/>
                <a:gd name="connsiteY13764" fmla="*/ 2566475 h 5704395"/>
                <a:gd name="connsiteX13765" fmla="*/ 62254 w 5719680"/>
                <a:gd name="connsiteY13765" fmla="*/ 2560771 h 5704395"/>
                <a:gd name="connsiteX13766" fmla="*/ 68924 w 5719680"/>
                <a:gd name="connsiteY13766" fmla="*/ 2539540 h 5704395"/>
                <a:gd name="connsiteX13767" fmla="*/ 47643 w 5719680"/>
                <a:gd name="connsiteY13767" fmla="*/ 2500563 h 5704395"/>
                <a:gd name="connsiteX13768" fmla="*/ 1715142 w 5719680"/>
                <a:gd name="connsiteY13768" fmla="*/ 2499295 h 5704395"/>
                <a:gd name="connsiteX13769" fmla="*/ 1714824 w 5719680"/>
                <a:gd name="connsiteY13769" fmla="*/ 2514506 h 5704395"/>
                <a:gd name="connsiteX13770" fmla="*/ 1775807 w 5719680"/>
                <a:gd name="connsiteY13770" fmla="*/ 2518942 h 5704395"/>
                <a:gd name="connsiteX13771" fmla="*/ 1775807 w 5719680"/>
                <a:gd name="connsiteY13771" fmla="*/ 2504365 h 5704395"/>
                <a:gd name="connsiteX13772" fmla="*/ 1715142 w 5719680"/>
                <a:gd name="connsiteY13772" fmla="*/ 2499295 h 5704395"/>
                <a:gd name="connsiteX13773" fmla="*/ 580925 w 5719680"/>
                <a:gd name="connsiteY13773" fmla="*/ 2499295 h 5704395"/>
                <a:gd name="connsiteX13774" fmla="*/ 532965 w 5719680"/>
                <a:gd name="connsiteY13774" fmla="*/ 2537638 h 5704395"/>
                <a:gd name="connsiteX13775" fmla="*/ 498979 w 5719680"/>
                <a:gd name="connsiteY13775" fmla="*/ 2565208 h 5704395"/>
                <a:gd name="connsiteX13776" fmla="*/ 488498 w 5719680"/>
                <a:gd name="connsiteY13776" fmla="*/ 2574081 h 5704395"/>
                <a:gd name="connsiteX13777" fmla="*/ 528836 w 5719680"/>
                <a:gd name="connsiteY13777" fmla="*/ 2623832 h 5704395"/>
                <a:gd name="connsiteX13778" fmla="*/ 632062 w 5719680"/>
                <a:gd name="connsiteY13778" fmla="*/ 2615910 h 5704395"/>
                <a:gd name="connsiteX13779" fmla="*/ 667953 w 5719680"/>
                <a:gd name="connsiteY13779" fmla="*/ 2591826 h 5704395"/>
                <a:gd name="connsiteX13780" fmla="*/ 592359 w 5719680"/>
                <a:gd name="connsiteY13780" fmla="*/ 2556335 h 5704395"/>
                <a:gd name="connsiteX13781" fmla="*/ 605699 w 5719680"/>
                <a:gd name="connsiteY13781" fmla="*/ 2511971 h 5704395"/>
                <a:gd name="connsiteX13782" fmla="*/ 605382 w 5719680"/>
                <a:gd name="connsiteY13782" fmla="*/ 2511971 h 5704395"/>
                <a:gd name="connsiteX13783" fmla="*/ 605382 w 5719680"/>
                <a:gd name="connsiteY13783" fmla="*/ 2509752 h 5704395"/>
                <a:gd name="connsiteX13784" fmla="*/ 593947 w 5719680"/>
                <a:gd name="connsiteY13784" fmla="*/ 2504999 h 5704395"/>
                <a:gd name="connsiteX13785" fmla="*/ 584101 w 5719680"/>
                <a:gd name="connsiteY13785" fmla="*/ 2500879 h 5704395"/>
                <a:gd name="connsiteX13786" fmla="*/ 580925 w 5719680"/>
                <a:gd name="connsiteY13786" fmla="*/ 2499295 h 5704395"/>
                <a:gd name="connsiteX13787" fmla="*/ 219157 w 5719680"/>
                <a:gd name="connsiteY13787" fmla="*/ 2498661 h 5704395"/>
                <a:gd name="connsiteX13788" fmla="*/ 176596 w 5719680"/>
                <a:gd name="connsiteY13788" fmla="*/ 2546828 h 5704395"/>
                <a:gd name="connsiteX13789" fmla="*/ 195336 w 5719680"/>
                <a:gd name="connsiteY13789" fmla="*/ 2566792 h 5704395"/>
                <a:gd name="connsiteX13790" fmla="*/ 220745 w 5719680"/>
                <a:gd name="connsiteY13790" fmla="*/ 2530667 h 5704395"/>
                <a:gd name="connsiteX13791" fmla="*/ 227733 w 5719680"/>
                <a:gd name="connsiteY13791" fmla="*/ 2572813 h 5704395"/>
                <a:gd name="connsiteX13792" fmla="*/ 238850 w 5719680"/>
                <a:gd name="connsiteY13792" fmla="*/ 2536371 h 5704395"/>
                <a:gd name="connsiteX13793" fmla="*/ 258542 w 5719680"/>
                <a:gd name="connsiteY13793" fmla="*/ 2556335 h 5704395"/>
                <a:gd name="connsiteX13794" fmla="*/ 269023 w 5719680"/>
                <a:gd name="connsiteY13794" fmla="*/ 2545244 h 5704395"/>
                <a:gd name="connsiteX13795" fmla="*/ 219157 w 5719680"/>
                <a:gd name="connsiteY13795" fmla="*/ 2498661 h 5704395"/>
                <a:gd name="connsiteX13796" fmla="*/ 2392940 w 5719680"/>
                <a:gd name="connsiteY13796" fmla="*/ 2498027 h 5704395"/>
                <a:gd name="connsiteX13797" fmla="*/ 2374518 w 5719680"/>
                <a:gd name="connsiteY13797" fmla="*/ 2555067 h 5704395"/>
                <a:gd name="connsiteX13798" fmla="*/ 2466310 w 5719680"/>
                <a:gd name="connsiteY13798" fmla="*/ 2600383 h 5704395"/>
                <a:gd name="connsiteX13799" fmla="*/ 2488861 w 5719680"/>
                <a:gd name="connsiteY13799" fmla="*/ 2556652 h 5704395"/>
                <a:gd name="connsiteX13800" fmla="*/ 2531422 w 5719680"/>
                <a:gd name="connsiteY13800" fmla="*/ 2579468 h 5704395"/>
                <a:gd name="connsiteX13801" fmla="*/ 2509824 w 5719680"/>
                <a:gd name="connsiteY13801" fmla="*/ 2621614 h 5704395"/>
                <a:gd name="connsiteX13802" fmla="*/ 2514906 w 5719680"/>
                <a:gd name="connsiteY13802" fmla="*/ 2624149 h 5704395"/>
                <a:gd name="connsiteX13803" fmla="*/ 2541586 w 5719680"/>
                <a:gd name="connsiteY13803" fmla="*/ 2571229 h 5704395"/>
                <a:gd name="connsiteX13804" fmla="*/ 2392940 w 5719680"/>
                <a:gd name="connsiteY13804" fmla="*/ 2498027 h 5704395"/>
                <a:gd name="connsiteX13805" fmla="*/ 1568402 w 5719680"/>
                <a:gd name="connsiteY13805" fmla="*/ 2495492 h 5704395"/>
                <a:gd name="connsiteX13806" fmla="*/ 1531558 w 5719680"/>
                <a:gd name="connsiteY13806" fmla="*/ 2500563 h 5704395"/>
                <a:gd name="connsiteX13807" fmla="*/ 1535370 w 5719680"/>
                <a:gd name="connsiteY13807" fmla="*/ 2525280 h 5704395"/>
                <a:gd name="connsiteX13808" fmla="*/ 1536322 w 5719680"/>
                <a:gd name="connsiteY13808" fmla="*/ 2524963 h 5704395"/>
                <a:gd name="connsiteX13809" fmla="*/ 1571896 w 5719680"/>
                <a:gd name="connsiteY13809" fmla="*/ 2518309 h 5704395"/>
                <a:gd name="connsiteX13810" fmla="*/ 1568402 w 5719680"/>
                <a:gd name="connsiteY13810" fmla="*/ 2495492 h 5704395"/>
                <a:gd name="connsiteX13811" fmla="*/ 2244295 w 5719680"/>
                <a:gd name="connsiteY13811" fmla="*/ 2494542 h 5704395"/>
                <a:gd name="connsiteX13812" fmla="*/ 2233496 w 5719680"/>
                <a:gd name="connsiteY13812" fmla="*/ 2526864 h 5704395"/>
                <a:gd name="connsiteX13813" fmla="*/ 2274786 w 5719680"/>
                <a:gd name="connsiteY13813" fmla="*/ 2534786 h 5704395"/>
                <a:gd name="connsiteX13814" fmla="*/ 2283997 w 5719680"/>
                <a:gd name="connsiteY13814" fmla="*/ 2507851 h 5704395"/>
                <a:gd name="connsiteX13815" fmla="*/ 2244295 w 5719680"/>
                <a:gd name="connsiteY13815" fmla="*/ 2494542 h 5704395"/>
                <a:gd name="connsiteX13816" fmla="*/ 2212850 w 5719680"/>
                <a:gd name="connsiteY13816" fmla="*/ 2493908 h 5704395"/>
                <a:gd name="connsiteX13817" fmla="*/ 2183312 w 5719680"/>
                <a:gd name="connsiteY13817" fmla="*/ 2509752 h 5704395"/>
                <a:gd name="connsiteX13818" fmla="*/ 2174418 w 5719680"/>
                <a:gd name="connsiteY13818" fmla="*/ 2518942 h 5704395"/>
                <a:gd name="connsiteX13819" fmla="*/ 2172513 w 5719680"/>
                <a:gd name="connsiteY13819" fmla="*/ 2521160 h 5704395"/>
                <a:gd name="connsiteX13820" fmla="*/ 2172513 w 5719680"/>
                <a:gd name="connsiteY13820" fmla="*/ 2521477 h 5704395"/>
                <a:gd name="connsiteX13821" fmla="*/ 2155997 w 5719680"/>
                <a:gd name="connsiteY13821" fmla="*/ 2554117 h 5704395"/>
                <a:gd name="connsiteX13822" fmla="*/ 2148374 w 5719680"/>
                <a:gd name="connsiteY13822" fmla="*/ 2570278 h 5704395"/>
                <a:gd name="connsiteX13823" fmla="*/ 2146150 w 5719680"/>
                <a:gd name="connsiteY13823" fmla="*/ 2575665 h 5704395"/>
                <a:gd name="connsiteX13824" fmla="*/ 2141386 w 5719680"/>
                <a:gd name="connsiteY13824" fmla="*/ 2579151 h 5704395"/>
                <a:gd name="connsiteX13825" fmla="*/ 2121376 w 5719680"/>
                <a:gd name="connsiteY13825" fmla="*/ 2588341 h 5704395"/>
                <a:gd name="connsiteX13826" fmla="*/ 1917147 w 5719680"/>
                <a:gd name="connsiteY13826" fmla="*/ 3163175 h 5704395"/>
                <a:gd name="connsiteX13827" fmla="*/ 1986071 w 5719680"/>
                <a:gd name="connsiteY13827" fmla="*/ 3160957 h 5704395"/>
                <a:gd name="connsiteX13828" fmla="*/ 1991470 w 5719680"/>
                <a:gd name="connsiteY13828" fmla="*/ 3145429 h 5704395"/>
                <a:gd name="connsiteX13829" fmla="*/ 2122647 w 5719680"/>
                <a:gd name="connsiteY13829" fmla="*/ 2759460 h 5704395"/>
                <a:gd name="connsiteX13830" fmla="*/ 2190300 w 5719680"/>
                <a:gd name="connsiteY13830" fmla="*/ 2560137 h 5704395"/>
                <a:gd name="connsiteX13831" fmla="*/ 2211580 w 5719680"/>
                <a:gd name="connsiteY13831" fmla="*/ 2497077 h 5704395"/>
                <a:gd name="connsiteX13832" fmla="*/ 2212850 w 5719680"/>
                <a:gd name="connsiteY13832" fmla="*/ 2493908 h 5704395"/>
                <a:gd name="connsiteX13833" fmla="*/ 218840 w 5719680"/>
                <a:gd name="connsiteY13833" fmla="*/ 2492007 h 5704395"/>
                <a:gd name="connsiteX13834" fmla="*/ 275693 w 5719680"/>
                <a:gd name="connsiteY13834" fmla="*/ 2545244 h 5704395"/>
                <a:gd name="connsiteX13835" fmla="*/ 274105 w 5719680"/>
                <a:gd name="connsiteY13835" fmla="*/ 2546828 h 5704395"/>
                <a:gd name="connsiteX13836" fmla="*/ 258860 w 5719680"/>
                <a:gd name="connsiteY13836" fmla="*/ 2562989 h 5704395"/>
                <a:gd name="connsiteX13837" fmla="*/ 241073 w 5719680"/>
                <a:gd name="connsiteY13837" fmla="*/ 2545244 h 5704395"/>
                <a:gd name="connsiteX13838" fmla="*/ 229321 w 5719680"/>
                <a:gd name="connsiteY13838" fmla="*/ 2583587 h 5704395"/>
                <a:gd name="connsiteX13839" fmla="*/ 224557 w 5719680"/>
                <a:gd name="connsiteY13839" fmla="*/ 2583587 h 5704395"/>
                <a:gd name="connsiteX13840" fmla="*/ 217887 w 5719680"/>
                <a:gd name="connsiteY13840" fmla="*/ 2542709 h 5704395"/>
                <a:gd name="connsiteX13841" fmla="*/ 195971 w 5719680"/>
                <a:gd name="connsiteY13841" fmla="*/ 2574397 h 5704395"/>
                <a:gd name="connsiteX13842" fmla="*/ 170244 w 5719680"/>
                <a:gd name="connsiteY13842" fmla="*/ 2546828 h 5704395"/>
                <a:gd name="connsiteX13843" fmla="*/ 218840 w 5719680"/>
                <a:gd name="connsiteY13843" fmla="*/ 2492007 h 5704395"/>
                <a:gd name="connsiteX13844" fmla="*/ 47643 w 5719680"/>
                <a:gd name="connsiteY13844" fmla="*/ 2490422 h 5704395"/>
                <a:gd name="connsiteX13845" fmla="*/ 74005 w 5719680"/>
                <a:gd name="connsiteY13845" fmla="*/ 2538906 h 5704395"/>
                <a:gd name="connsiteX13846" fmla="*/ 67971 w 5719680"/>
                <a:gd name="connsiteY13846" fmla="*/ 2557919 h 5704395"/>
                <a:gd name="connsiteX13847" fmla="*/ 82581 w 5719680"/>
                <a:gd name="connsiteY13847" fmla="*/ 2563940 h 5704395"/>
                <a:gd name="connsiteX13848" fmla="*/ 74958 w 5719680"/>
                <a:gd name="connsiteY13848" fmla="*/ 2588024 h 5704395"/>
                <a:gd name="connsiteX13849" fmla="*/ 72417 w 5719680"/>
                <a:gd name="connsiteY13849" fmla="*/ 2586122 h 5704395"/>
                <a:gd name="connsiteX13850" fmla="*/ 18105 w 5719680"/>
                <a:gd name="connsiteY13850" fmla="*/ 2547779 h 5704395"/>
                <a:gd name="connsiteX13851" fmla="*/ 47643 w 5719680"/>
                <a:gd name="connsiteY13851" fmla="*/ 2490422 h 5704395"/>
                <a:gd name="connsiteX13852" fmla="*/ 2291620 w 5719680"/>
                <a:gd name="connsiteY13852" fmla="*/ 2485035 h 5704395"/>
                <a:gd name="connsiteX13853" fmla="*/ 2236354 w 5719680"/>
                <a:gd name="connsiteY13853" fmla="*/ 2489155 h 5704395"/>
                <a:gd name="connsiteX13854" fmla="*/ 2224285 w 5719680"/>
                <a:gd name="connsiteY13854" fmla="*/ 2525280 h 5704395"/>
                <a:gd name="connsiteX13855" fmla="*/ 2229366 w 5719680"/>
                <a:gd name="connsiteY13855" fmla="*/ 2526230 h 5704395"/>
                <a:gd name="connsiteX13856" fmla="*/ 2241754 w 5719680"/>
                <a:gd name="connsiteY13856" fmla="*/ 2489155 h 5704395"/>
                <a:gd name="connsiteX13857" fmla="*/ 2289079 w 5719680"/>
                <a:gd name="connsiteY13857" fmla="*/ 2505316 h 5704395"/>
                <a:gd name="connsiteX13858" fmla="*/ 2278915 w 5719680"/>
                <a:gd name="connsiteY13858" fmla="*/ 2535737 h 5704395"/>
                <a:gd name="connsiteX13859" fmla="*/ 2354191 w 5719680"/>
                <a:gd name="connsiteY13859" fmla="*/ 2549997 h 5704395"/>
                <a:gd name="connsiteX13860" fmla="*/ 2372613 w 5719680"/>
                <a:gd name="connsiteY13860" fmla="*/ 2493591 h 5704395"/>
                <a:gd name="connsiteX13861" fmla="*/ 2291620 w 5719680"/>
                <a:gd name="connsiteY13861" fmla="*/ 2485035 h 5704395"/>
                <a:gd name="connsiteX13862" fmla="*/ 1325424 w 5719680"/>
                <a:gd name="connsiteY13862" fmla="*/ 2483451 h 5704395"/>
                <a:gd name="connsiteX13863" fmla="*/ 1305096 w 5719680"/>
                <a:gd name="connsiteY13863" fmla="*/ 2486619 h 5704395"/>
                <a:gd name="connsiteX13864" fmla="*/ 1311448 w 5719680"/>
                <a:gd name="connsiteY13864" fmla="*/ 2527181 h 5704395"/>
                <a:gd name="connsiteX13865" fmla="*/ 1334635 w 5719680"/>
                <a:gd name="connsiteY13865" fmla="*/ 2524012 h 5704395"/>
                <a:gd name="connsiteX13866" fmla="*/ 941105 w 5719680"/>
                <a:gd name="connsiteY13866" fmla="*/ 2482817 h 5704395"/>
                <a:gd name="connsiteX13867" fmla="*/ 865194 w 5719680"/>
                <a:gd name="connsiteY13867" fmla="*/ 2536371 h 5704395"/>
                <a:gd name="connsiteX13868" fmla="*/ 965561 w 5719680"/>
                <a:gd name="connsiteY13868" fmla="*/ 2666929 h 5704395"/>
                <a:gd name="connsiteX13869" fmla="*/ 997641 w 5719680"/>
                <a:gd name="connsiteY13869" fmla="*/ 2645063 h 5704395"/>
                <a:gd name="connsiteX13870" fmla="*/ 980807 w 5719680"/>
                <a:gd name="connsiteY13870" fmla="*/ 2613692 h 5704395"/>
                <a:gd name="connsiteX13871" fmla="*/ 972549 w 5719680"/>
                <a:gd name="connsiteY13871" fmla="*/ 2627951 h 5704395"/>
                <a:gd name="connsiteX13872" fmla="*/ 969373 w 5719680"/>
                <a:gd name="connsiteY13872" fmla="*/ 2633655 h 5704395"/>
                <a:gd name="connsiteX13873" fmla="*/ 965244 w 5719680"/>
                <a:gd name="connsiteY13873" fmla="*/ 2628585 h 5704395"/>
                <a:gd name="connsiteX13874" fmla="*/ 899179 w 5719680"/>
                <a:gd name="connsiteY13874" fmla="*/ 2546511 h 5704395"/>
                <a:gd name="connsiteX13875" fmla="*/ 896321 w 5719680"/>
                <a:gd name="connsiteY13875" fmla="*/ 2543026 h 5704395"/>
                <a:gd name="connsiteX13876" fmla="*/ 900132 w 5719680"/>
                <a:gd name="connsiteY13876" fmla="*/ 2540490 h 5704395"/>
                <a:gd name="connsiteX13877" fmla="*/ 941422 w 5719680"/>
                <a:gd name="connsiteY13877" fmla="*/ 2509752 h 5704395"/>
                <a:gd name="connsiteX13878" fmla="*/ 944281 w 5719680"/>
                <a:gd name="connsiteY13878" fmla="*/ 2507534 h 5704395"/>
                <a:gd name="connsiteX13879" fmla="*/ 947140 w 5719680"/>
                <a:gd name="connsiteY13879" fmla="*/ 2510386 h 5704395"/>
                <a:gd name="connsiteX13880" fmla="*/ 1020192 w 5719680"/>
                <a:gd name="connsiteY13880" fmla="*/ 2582954 h 5704395"/>
                <a:gd name="connsiteX13881" fmla="*/ 1024639 w 5719680"/>
                <a:gd name="connsiteY13881" fmla="*/ 2587390 h 5704395"/>
                <a:gd name="connsiteX13882" fmla="*/ 1019239 w 5719680"/>
                <a:gd name="connsiteY13882" fmla="*/ 2590242 h 5704395"/>
                <a:gd name="connsiteX13883" fmla="*/ 1006534 w 5719680"/>
                <a:gd name="connsiteY13883" fmla="*/ 2596263 h 5704395"/>
                <a:gd name="connsiteX13884" fmla="*/ 1021145 w 5719680"/>
                <a:gd name="connsiteY13884" fmla="*/ 2623515 h 5704395"/>
                <a:gd name="connsiteX13885" fmla="*/ 1048460 w 5719680"/>
                <a:gd name="connsiteY13885" fmla="*/ 2583904 h 5704395"/>
                <a:gd name="connsiteX13886" fmla="*/ 941105 w 5719680"/>
                <a:gd name="connsiteY13886" fmla="*/ 2482817 h 5704395"/>
                <a:gd name="connsiteX13887" fmla="*/ 2587641 w 5719680"/>
                <a:gd name="connsiteY13887" fmla="*/ 2481549 h 5704395"/>
                <a:gd name="connsiteX13888" fmla="*/ 2576206 w 5719680"/>
                <a:gd name="connsiteY13888" fmla="*/ 2492007 h 5704395"/>
                <a:gd name="connsiteX13889" fmla="*/ 2603204 w 5719680"/>
                <a:gd name="connsiteY13889" fmla="*/ 2521160 h 5704395"/>
                <a:gd name="connsiteX13890" fmla="*/ 2614638 w 5719680"/>
                <a:gd name="connsiteY13890" fmla="*/ 2510386 h 5704395"/>
                <a:gd name="connsiteX13891" fmla="*/ 2587641 w 5719680"/>
                <a:gd name="connsiteY13891" fmla="*/ 2481549 h 5704395"/>
                <a:gd name="connsiteX13892" fmla="*/ 2011798 w 5719680"/>
                <a:gd name="connsiteY13892" fmla="*/ 2478064 h 5704395"/>
                <a:gd name="connsiteX13893" fmla="*/ 2009257 w 5719680"/>
                <a:gd name="connsiteY13893" fmla="*/ 2504682 h 5704395"/>
                <a:gd name="connsiteX13894" fmla="*/ 2006398 w 5719680"/>
                <a:gd name="connsiteY13894" fmla="*/ 2525597 h 5704395"/>
                <a:gd name="connsiteX13895" fmla="*/ 2004810 w 5719680"/>
                <a:gd name="connsiteY13895" fmla="*/ 2532885 h 5704395"/>
                <a:gd name="connsiteX13896" fmla="*/ 2003857 w 5719680"/>
                <a:gd name="connsiteY13896" fmla="*/ 2535103 h 5704395"/>
                <a:gd name="connsiteX13897" fmla="*/ 2031172 w 5719680"/>
                <a:gd name="connsiteY13897" fmla="*/ 2537005 h 5704395"/>
                <a:gd name="connsiteX13898" fmla="*/ 2035302 w 5719680"/>
                <a:gd name="connsiteY13898" fmla="*/ 2521794 h 5704395"/>
                <a:gd name="connsiteX13899" fmla="*/ 2043242 w 5719680"/>
                <a:gd name="connsiteY13899" fmla="*/ 2495176 h 5704395"/>
                <a:gd name="connsiteX13900" fmla="*/ 2011798 w 5719680"/>
                <a:gd name="connsiteY13900" fmla="*/ 2478064 h 5704395"/>
                <a:gd name="connsiteX13901" fmla="*/ 1363855 w 5719680"/>
                <a:gd name="connsiteY13901" fmla="*/ 2478064 h 5704395"/>
                <a:gd name="connsiteX13902" fmla="*/ 1330823 w 5719680"/>
                <a:gd name="connsiteY13902" fmla="*/ 2482817 h 5704395"/>
                <a:gd name="connsiteX13903" fmla="*/ 1339716 w 5719680"/>
                <a:gd name="connsiteY13903" fmla="*/ 2523378 h 5704395"/>
                <a:gd name="connsiteX13904" fmla="*/ 1372431 w 5719680"/>
                <a:gd name="connsiteY13904" fmla="*/ 2518625 h 5704395"/>
                <a:gd name="connsiteX13905" fmla="*/ 1363855 w 5719680"/>
                <a:gd name="connsiteY13905" fmla="*/ 2478064 h 5704395"/>
                <a:gd name="connsiteX13906" fmla="*/ 941422 w 5719680"/>
                <a:gd name="connsiteY13906" fmla="*/ 2477113 h 5704395"/>
                <a:gd name="connsiteX13907" fmla="*/ 1054177 w 5719680"/>
                <a:gd name="connsiteY13907" fmla="*/ 2583270 h 5704395"/>
                <a:gd name="connsiteX13908" fmla="*/ 1020827 w 5719680"/>
                <a:gd name="connsiteY13908" fmla="*/ 2632071 h 5704395"/>
                <a:gd name="connsiteX13909" fmla="*/ 1000182 w 5719680"/>
                <a:gd name="connsiteY13909" fmla="*/ 2594361 h 5704395"/>
                <a:gd name="connsiteX13910" fmla="*/ 1017333 w 5719680"/>
                <a:gd name="connsiteY13910" fmla="*/ 2586122 h 5704395"/>
                <a:gd name="connsiteX13911" fmla="*/ 943963 w 5719680"/>
                <a:gd name="connsiteY13911" fmla="*/ 2513238 h 5704395"/>
                <a:gd name="connsiteX13912" fmla="*/ 902673 w 5719680"/>
                <a:gd name="connsiteY13912" fmla="*/ 2543976 h 5704395"/>
                <a:gd name="connsiteX13913" fmla="*/ 968738 w 5719680"/>
                <a:gd name="connsiteY13913" fmla="*/ 2625734 h 5704395"/>
                <a:gd name="connsiteX13914" fmla="*/ 981125 w 5719680"/>
                <a:gd name="connsiteY13914" fmla="*/ 2604502 h 5704395"/>
                <a:gd name="connsiteX13915" fmla="*/ 1003676 w 5719680"/>
                <a:gd name="connsiteY13915" fmla="*/ 2646648 h 5704395"/>
                <a:gd name="connsiteX13916" fmla="*/ 964609 w 5719680"/>
                <a:gd name="connsiteY13916" fmla="*/ 2673266 h 5704395"/>
                <a:gd name="connsiteX13917" fmla="*/ 859159 w 5719680"/>
                <a:gd name="connsiteY13917" fmla="*/ 2535420 h 5704395"/>
                <a:gd name="connsiteX13918" fmla="*/ 941422 w 5719680"/>
                <a:gd name="connsiteY13918" fmla="*/ 2477113 h 5704395"/>
                <a:gd name="connsiteX13919" fmla="*/ 1964790 w 5719680"/>
                <a:gd name="connsiteY13919" fmla="*/ 2474578 h 5704395"/>
                <a:gd name="connsiteX13920" fmla="*/ 1960661 w 5719680"/>
                <a:gd name="connsiteY13920" fmla="*/ 2516090 h 5704395"/>
                <a:gd name="connsiteX13921" fmla="*/ 1980354 w 5719680"/>
                <a:gd name="connsiteY13921" fmla="*/ 2517675 h 5704395"/>
                <a:gd name="connsiteX13922" fmla="*/ 1983212 w 5719680"/>
                <a:gd name="connsiteY13922" fmla="*/ 2476162 h 5704395"/>
                <a:gd name="connsiteX13923" fmla="*/ 1964790 w 5719680"/>
                <a:gd name="connsiteY13923" fmla="*/ 2474578 h 5704395"/>
                <a:gd name="connsiteX13924" fmla="*/ 1065929 w 5719680"/>
                <a:gd name="connsiteY13924" fmla="*/ 2473627 h 5704395"/>
                <a:gd name="connsiteX13925" fmla="*/ 1039884 w 5719680"/>
                <a:gd name="connsiteY13925" fmla="*/ 2486619 h 5704395"/>
                <a:gd name="connsiteX13926" fmla="*/ 1038931 w 5719680"/>
                <a:gd name="connsiteY13926" fmla="*/ 2491690 h 5704395"/>
                <a:gd name="connsiteX13927" fmla="*/ 1069740 w 5719680"/>
                <a:gd name="connsiteY13927" fmla="*/ 2523696 h 5704395"/>
                <a:gd name="connsiteX13928" fmla="*/ 1087209 w 5719680"/>
                <a:gd name="connsiteY13928" fmla="*/ 2526230 h 5704395"/>
                <a:gd name="connsiteX13929" fmla="*/ 1116748 w 5719680"/>
                <a:gd name="connsiteY13929" fmla="*/ 2512287 h 5704395"/>
                <a:gd name="connsiteX13930" fmla="*/ 1117701 w 5719680"/>
                <a:gd name="connsiteY13930" fmla="*/ 2507534 h 5704395"/>
                <a:gd name="connsiteX13931" fmla="*/ 1089115 w 5719680"/>
                <a:gd name="connsiteY13931" fmla="*/ 2477747 h 5704395"/>
                <a:gd name="connsiteX13932" fmla="*/ 1065929 w 5719680"/>
                <a:gd name="connsiteY13932" fmla="*/ 2473627 h 5704395"/>
                <a:gd name="connsiteX13933" fmla="*/ 1399429 w 5719680"/>
                <a:gd name="connsiteY13933" fmla="*/ 2472993 h 5704395"/>
                <a:gd name="connsiteX13934" fmla="*/ 1369255 w 5719680"/>
                <a:gd name="connsiteY13934" fmla="*/ 2477430 h 5704395"/>
                <a:gd name="connsiteX13935" fmla="*/ 1377513 w 5719680"/>
                <a:gd name="connsiteY13935" fmla="*/ 2517991 h 5704395"/>
                <a:gd name="connsiteX13936" fmla="*/ 1408322 w 5719680"/>
                <a:gd name="connsiteY13936" fmla="*/ 2513555 h 5704395"/>
                <a:gd name="connsiteX13937" fmla="*/ 1399429 w 5719680"/>
                <a:gd name="connsiteY13937" fmla="*/ 2472993 h 5704395"/>
                <a:gd name="connsiteX13938" fmla="*/ 1065929 w 5719680"/>
                <a:gd name="connsiteY13938" fmla="*/ 2471092 h 5704395"/>
                <a:gd name="connsiteX13939" fmla="*/ 1089750 w 5719680"/>
                <a:gd name="connsiteY13939" fmla="*/ 2475212 h 5704395"/>
                <a:gd name="connsiteX13940" fmla="*/ 1120242 w 5719680"/>
                <a:gd name="connsiteY13940" fmla="*/ 2507534 h 5704395"/>
                <a:gd name="connsiteX13941" fmla="*/ 1119289 w 5719680"/>
                <a:gd name="connsiteY13941" fmla="*/ 2512921 h 5704395"/>
                <a:gd name="connsiteX13942" fmla="*/ 1087209 w 5719680"/>
                <a:gd name="connsiteY13942" fmla="*/ 2528766 h 5704395"/>
                <a:gd name="connsiteX13943" fmla="*/ 1069105 w 5719680"/>
                <a:gd name="connsiteY13943" fmla="*/ 2526230 h 5704395"/>
                <a:gd name="connsiteX13944" fmla="*/ 1036390 w 5719680"/>
                <a:gd name="connsiteY13944" fmla="*/ 2491690 h 5704395"/>
                <a:gd name="connsiteX13945" fmla="*/ 1037661 w 5719680"/>
                <a:gd name="connsiteY13945" fmla="*/ 2485669 h 5704395"/>
                <a:gd name="connsiteX13946" fmla="*/ 1065929 w 5719680"/>
                <a:gd name="connsiteY13946" fmla="*/ 2471092 h 5704395"/>
                <a:gd name="connsiteX13947" fmla="*/ 1884750 w 5719680"/>
                <a:gd name="connsiteY13947" fmla="*/ 2467923 h 5704395"/>
                <a:gd name="connsiteX13948" fmla="*/ 1894914 w 5719680"/>
                <a:gd name="connsiteY13948" fmla="*/ 2510386 h 5704395"/>
                <a:gd name="connsiteX13949" fmla="*/ 1956214 w 5719680"/>
                <a:gd name="connsiteY13949" fmla="*/ 2515773 h 5704395"/>
                <a:gd name="connsiteX13950" fmla="*/ 1960344 w 5719680"/>
                <a:gd name="connsiteY13950" fmla="*/ 2474261 h 5704395"/>
                <a:gd name="connsiteX13951" fmla="*/ 1884750 w 5719680"/>
                <a:gd name="connsiteY13951" fmla="*/ 2467923 h 5704395"/>
                <a:gd name="connsiteX13952" fmla="*/ 944281 w 5719680"/>
                <a:gd name="connsiteY13952" fmla="*/ 2467289 h 5704395"/>
                <a:gd name="connsiteX13953" fmla="*/ 850266 w 5719680"/>
                <a:gd name="connsiteY13953" fmla="*/ 2537005 h 5704395"/>
                <a:gd name="connsiteX13954" fmla="*/ 967785 w 5719680"/>
                <a:gd name="connsiteY13954" fmla="*/ 2701786 h 5704395"/>
                <a:gd name="connsiteX13955" fmla="*/ 997959 w 5719680"/>
                <a:gd name="connsiteY13955" fmla="*/ 2685942 h 5704395"/>
                <a:gd name="connsiteX13956" fmla="*/ 1028768 w 5719680"/>
                <a:gd name="connsiteY13956" fmla="*/ 2669464 h 5704395"/>
                <a:gd name="connsiteX13957" fmla="*/ 1026227 w 5719680"/>
                <a:gd name="connsiteY13957" fmla="*/ 2668513 h 5704395"/>
                <a:gd name="connsiteX13958" fmla="*/ 1061800 w 5719680"/>
                <a:gd name="connsiteY13958" fmla="*/ 2582637 h 5704395"/>
                <a:gd name="connsiteX13959" fmla="*/ 944281 w 5719680"/>
                <a:gd name="connsiteY13959" fmla="*/ 2467289 h 5704395"/>
                <a:gd name="connsiteX13960" fmla="*/ 1845048 w 5719680"/>
                <a:gd name="connsiteY13960" fmla="*/ 2464754 h 5704395"/>
                <a:gd name="connsiteX13961" fmla="*/ 1850130 w 5719680"/>
                <a:gd name="connsiteY13961" fmla="*/ 2506583 h 5704395"/>
                <a:gd name="connsiteX13962" fmla="*/ 1890150 w 5719680"/>
                <a:gd name="connsiteY13962" fmla="*/ 2510069 h 5704395"/>
                <a:gd name="connsiteX13963" fmla="*/ 1884115 w 5719680"/>
                <a:gd name="connsiteY13963" fmla="*/ 2484084 h 5704395"/>
                <a:gd name="connsiteX13964" fmla="*/ 1879986 w 5719680"/>
                <a:gd name="connsiteY13964" fmla="*/ 2467606 h 5704395"/>
                <a:gd name="connsiteX13965" fmla="*/ 1845048 w 5719680"/>
                <a:gd name="connsiteY13965" fmla="*/ 2464754 h 5704395"/>
                <a:gd name="connsiteX13966" fmla="*/ 1482327 w 5719680"/>
                <a:gd name="connsiteY13966" fmla="*/ 2461585 h 5704395"/>
                <a:gd name="connsiteX13967" fmla="*/ 1404828 w 5719680"/>
                <a:gd name="connsiteY13967" fmla="*/ 2472360 h 5704395"/>
                <a:gd name="connsiteX13968" fmla="*/ 1413722 w 5719680"/>
                <a:gd name="connsiteY13968" fmla="*/ 2512921 h 5704395"/>
                <a:gd name="connsiteX13969" fmla="*/ 1488680 w 5719680"/>
                <a:gd name="connsiteY13969" fmla="*/ 2502464 h 5704395"/>
                <a:gd name="connsiteX13970" fmla="*/ 1482327 w 5719680"/>
                <a:gd name="connsiteY13970" fmla="*/ 2461585 h 5704395"/>
                <a:gd name="connsiteX13971" fmla="*/ 2661646 w 5719680"/>
                <a:gd name="connsiteY13971" fmla="*/ 2461269 h 5704395"/>
                <a:gd name="connsiteX13972" fmla="*/ 2649894 w 5719680"/>
                <a:gd name="connsiteY13972" fmla="*/ 2471726 h 5704395"/>
                <a:gd name="connsiteX13973" fmla="*/ 2676892 w 5719680"/>
                <a:gd name="connsiteY13973" fmla="*/ 2500879 h 5704395"/>
                <a:gd name="connsiteX13974" fmla="*/ 2688644 w 5719680"/>
                <a:gd name="connsiteY13974" fmla="*/ 2490422 h 5704395"/>
                <a:gd name="connsiteX13975" fmla="*/ 2661646 w 5719680"/>
                <a:gd name="connsiteY13975" fmla="*/ 2461269 h 5704395"/>
                <a:gd name="connsiteX13976" fmla="*/ 1779619 w 5719680"/>
                <a:gd name="connsiteY13976" fmla="*/ 2459050 h 5704395"/>
                <a:gd name="connsiteX13977" fmla="*/ 1779936 w 5719680"/>
                <a:gd name="connsiteY13977" fmla="*/ 2500563 h 5704395"/>
                <a:gd name="connsiteX13978" fmla="*/ 1845366 w 5719680"/>
                <a:gd name="connsiteY13978" fmla="*/ 2506267 h 5704395"/>
                <a:gd name="connsiteX13979" fmla="*/ 1840601 w 5719680"/>
                <a:gd name="connsiteY13979" fmla="*/ 2464120 h 5704395"/>
                <a:gd name="connsiteX13980" fmla="*/ 1520442 w 5719680"/>
                <a:gd name="connsiteY13980" fmla="*/ 2456198 h 5704395"/>
                <a:gd name="connsiteX13981" fmla="*/ 1486456 w 5719680"/>
                <a:gd name="connsiteY13981" fmla="*/ 2460952 h 5704395"/>
                <a:gd name="connsiteX13982" fmla="*/ 1493126 w 5719680"/>
                <a:gd name="connsiteY13982" fmla="*/ 2501830 h 5704395"/>
                <a:gd name="connsiteX13983" fmla="*/ 1526794 w 5719680"/>
                <a:gd name="connsiteY13983" fmla="*/ 2497077 h 5704395"/>
                <a:gd name="connsiteX13984" fmla="*/ 1520442 w 5719680"/>
                <a:gd name="connsiteY13984" fmla="*/ 2457149 h 5704395"/>
                <a:gd name="connsiteX13985" fmla="*/ 1520442 w 5719680"/>
                <a:gd name="connsiteY13985" fmla="*/ 2456198 h 5704395"/>
                <a:gd name="connsiteX13986" fmla="*/ 2661646 w 5719680"/>
                <a:gd name="connsiteY13986" fmla="*/ 2455248 h 5704395"/>
                <a:gd name="connsiteX13987" fmla="*/ 2663234 w 5719680"/>
                <a:gd name="connsiteY13987" fmla="*/ 2456832 h 5704395"/>
                <a:gd name="connsiteX13988" fmla="*/ 2694360 w 5719680"/>
                <a:gd name="connsiteY13988" fmla="*/ 2490422 h 5704395"/>
                <a:gd name="connsiteX13989" fmla="*/ 2676892 w 5719680"/>
                <a:gd name="connsiteY13989" fmla="*/ 2506900 h 5704395"/>
                <a:gd name="connsiteX13990" fmla="*/ 2644177 w 5719680"/>
                <a:gd name="connsiteY13990" fmla="*/ 2471726 h 5704395"/>
                <a:gd name="connsiteX13991" fmla="*/ 2661646 w 5719680"/>
                <a:gd name="connsiteY13991" fmla="*/ 2455248 h 5704395"/>
                <a:gd name="connsiteX13992" fmla="*/ 1715460 w 5719680"/>
                <a:gd name="connsiteY13992" fmla="*/ 2453663 h 5704395"/>
                <a:gd name="connsiteX13993" fmla="*/ 1715142 w 5719680"/>
                <a:gd name="connsiteY13993" fmla="*/ 2495176 h 5704395"/>
                <a:gd name="connsiteX13994" fmla="*/ 1775489 w 5719680"/>
                <a:gd name="connsiteY13994" fmla="*/ 2500246 h 5704395"/>
                <a:gd name="connsiteX13995" fmla="*/ 1775172 w 5719680"/>
                <a:gd name="connsiteY13995" fmla="*/ 2458733 h 5704395"/>
                <a:gd name="connsiteX13996" fmla="*/ 1966696 w 5719680"/>
                <a:gd name="connsiteY13996" fmla="*/ 2453346 h 5704395"/>
                <a:gd name="connsiteX13997" fmla="*/ 1965108 w 5719680"/>
                <a:gd name="connsiteY13997" fmla="*/ 2470458 h 5704395"/>
                <a:gd name="connsiteX13998" fmla="*/ 1987341 w 5719680"/>
                <a:gd name="connsiteY13998" fmla="*/ 2472360 h 5704395"/>
                <a:gd name="connsiteX13999" fmla="*/ 1984165 w 5719680"/>
                <a:gd name="connsiteY13999" fmla="*/ 2522111 h 5704395"/>
                <a:gd name="connsiteX14000" fmla="*/ 1981942 w 5719680"/>
                <a:gd name="connsiteY14000" fmla="*/ 2522111 h 5704395"/>
                <a:gd name="connsiteX14001" fmla="*/ 1960344 w 5719680"/>
                <a:gd name="connsiteY14001" fmla="*/ 2520210 h 5704395"/>
                <a:gd name="connsiteX14002" fmla="*/ 1959391 w 5719680"/>
                <a:gd name="connsiteY14002" fmla="*/ 2531934 h 5704395"/>
                <a:gd name="connsiteX14003" fmla="*/ 2000999 w 5719680"/>
                <a:gd name="connsiteY14003" fmla="*/ 2534786 h 5704395"/>
                <a:gd name="connsiteX14004" fmla="*/ 2001211 w 5719680"/>
                <a:gd name="connsiteY14004" fmla="*/ 2534047 h 5704395"/>
                <a:gd name="connsiteX14005" fmla="*/ 2001316 w 5719680"/>
                <a:gd name="connsiteY14005" fmla="*/ 2534153 h 5704395"/>
                <a:gd name="connsiteX14006" fmla="*/ 2001316 w 5719680"/>
                <a:gd name="connsiteY14006" fmla="*/ 2534470 h 5704395"/>
                <a:gd name="connsiteX14007" fmla="*/ 2001634 w 5719680"/>
                <a:gd name="connsiteY14007" fmla="*/ 2532568 h 5704395"/>
                <a:gd name="connsiteX14008" fmla="*/ 2001211 w 5719680"/>
                <a:gd name="connsiteY14008" fmla="*/ 2534047 h 5704395"/>
                <a:gd name="connsiteX14009" fmla="*/ 2000046 w 5719680"/>
                <a:gd name="connsiteY14009" fmla="*/ 2532885 h 5704395"/>
                <a:gd name="connsiteX14010" fmla="*/ 2005128 w 5719680"/>
                <a:gd name="connsiteY14010" fmla="*/ 2501513 h 5704395"/>
                <a:gd name="connsiteX14011" fmla="*/ 2007669 w 5719680"/>
                <a:gd name="connsiteY14011" fmla="*/ 2475529 h 5704395"/>
                <a:gd name="connsiteX14012" fmla="*/ 1966696 w 5719680"/>
                <a:gd name="connsiteY14012" fmla="*/ 2453346 h 5704395"/>
                <a:gd name="connsiteX14013" fmla="*/ 1687191 w 5719680"/>
                <a:gd name="connsiteY14013" fmla="*/ 2451445 h 5704395"/>
                <a:gd name="connsiteX14014" fmla="*/ 1684333 w 5719680"/>
                <a:gd name="connsiteY14014" fmla="*/ 2492640 h 5704395"/>
                <a:gd name="connsiteX14015" fmla="*/ 1710695 w 5719680"/>
                <a:gd name="connsiteY14015" fmla="*/ 2494859 h 5704395"/>
                <a:gd name="connsiteX14016" fmla="*/ 1711013 w 5719680"/>
                <a:gd name="connsiteY14016" fmla="*/ 2453346 h 5704395"/>
                <a:gd name="connsiteX14017" fmla="*/ 473888 w 5719680"/>
                <a:gd name="connsiteY14017" fmla="*/ 2450811 h 5704395"/>
                <a:gd name="connsiteX14018" fmla="*/ 442761 w 5719680"/>
                <a:gd name="connsiteY14018" fmla="*/ 2496126 h 5704395"/>
                <a:gd name="connsiteX14019" fmla="*/ 487863 w 5719680"/>
                <a:gd name="connsiteY14019" fmla="*/ 2549363 h 5704395"/>
                <a:gd name="connsiteX14020" fmla="*/ 512002 w 5719680"/>
                <a:gd name="connsiteY14020" fmla="*/ 2528132 h 5704395"/>
                <a:gd name="connsiteX14021" fmla="*/ 499932 w 5719680"/>
                <a:gd name="connsiteY14021" fmla="*/ 2513555 h 5704395"/>
                <a:gd name="connsiteX14022" fmla="*/ 496756 w 5719680"/>
                <a:gd name="connsiteY14022" fmla="*/ 2510069 h 5704395"/>
                <a:gd name="connsiteX14023" fmla="*/ 500568 w 5719680"/>
                <a:gd name="connsiteY14023" fmla="*/ 2507217 h 5704395"/>
                <a:gd name="connsiteX14024" fmla="*/ 510731 w 5719680"/>
                <a:gd name="connsiteY14024" fmla="*/ 2499929 h 5704395"/>
                <a:gd name="connsiteX14025" fmla="*/ 512002 w 5719680"/>
                <a:gd name="connsiteY14025" fmla="*/ 2499295 h 5704395"/>
                <a:gd name="connsiteX14026" fmla="*/ 513590 w 5719680"/>
                <a:gd name="connsiteY14026" fmla="*/ 2499295 h 5704395"/>
                <a:gd name="connsiteX14027" fmla="*/ 545034 w 5719680"/>
                <a:gd name="connsiteY14027" fmla="*/ 2500246 h 5704395"/>
                <a:gd name="connsiteX14028" fmla="*/ 557104 w 5719680"/>
                <a:gd name="connsiteY14028" fmla="*/ 2490105 h 5704395"/>
                <a:gd name="connsiteX14029" fmla="*/ 558057 w 5719680"/>
                <a:gd name="connsiteY14029" fmla="*/ 2479965 h 5704395"/>
                <a:gd name="connsiteX14030" fmla="*/ 497391 w 5719680"/>
                <a:gd name="connsiteY14030" fmla="*/ 2475845 h 5704395"/>
                <a:gd name="connsiteX14031" fmla="*/ 495486 w 5719680"/>
                <a:gd name="connsiteY14031" fmla="*/ 2475845 h 5704395"/>
                <a:gd name="connsiteX14032" fmla="*/ 494215 w 5719680"/>
                <a:gd name="connsiteY14032" fmla="*/ 2474261 h 5704395"/>
                <a:gd name="connsiteX14033" fmla="*/ 473888 w 5719680"/>
                <a:gd name="connsiteY14033" fmla="*/ 2450811 h 5704395"/>
                <a:gd name="connsiteX14034" fmla="*/ 1560779 w 5719680"/>
                <a:gd name="connsiteY14034" fmla="*/ 2450494 h 5704395"/>
                <a:gd name="connsiteX14035" fmla="*/ 1524888 w 5719680"/>
                <a:gd name="connsiteY14035" fmla="*/ 2455564 h 5704395"/>
                <a:gd name="connsiteX14036" fmla="*/ 1530923 w 5719680"/>
                <a:gd name="connsiteY14036" fmla="*/ 2496443 h 5704395"/>
                <a:gd name="connsiteX14037" fmla="*/ 1567767 w 5719680"/>
                <a:gd name="connsiteY14037" fmla="*/ 2491373 h 5704395"/>
                <a:gd name="connsiteX14038" fmla="*/ 1560779 w 5719680"/>
                <a:gd name="connsiteY14038" fmla="*/ 2450494 h 5704395"/>
                <a:gd name="connsiteX14039" fmla="*/ 1598893 w 5719680"/>
                <a:gd name="connsiteY14039" fmla="*/ 2445107 h 5704395"/>
                <a:gd name="connsiteX14040" fmla="*/ 1565226 w 5719680"/>
                <a:gd name="connsiteY14040" fmla="*/ 2449860 h 5704395"/>
                <a:gd name="connsiteX14041" fmla="*/ 1571896 w 5719680"/>
                <a:gd name="connsiteY14041" fmla="*/ 2490739 h 5704395"/>
                <a:gd name="connsiteX14042" fmla="*/ 1605563 w 5719680"/>
                <a:gd name="connsiteY14042" fmla="*/ 2485986 h 5704395"/>
                <a:gd name="connsiteX14043" fmla="*/ 1598893 w 5719680"/>
                <a:gd name="connsiteY14043" fmla="*/ 2445107 h 5704395"/>
                <a:gd name="connsiteX14044" fmla="*/ 473570 w 5719680"/>
                <a:gd name="connsiteY14044" fmla="*/ 2443523 h 5704395"/>
                <a:gd name="connsiteX14045" fmla="*/ 497709 w 5719680"/>
                <a:gd name="connsiteY14045" fmla="*/ 2471409 h 5704395"/>
                <a:gd name="connsiteX14046" fmla="*/ 563138 w 5719680"/>
                <a:gd name="connsiteY14046" fmla="*/ 2475845 h 5704395"/>
                <a:gd name="connsiteX14047" fmla="*/ 561233 w 5719680"/>
                <a:gd name="connsiteY14047" fmla="*/ 2492323 h 5704395"/>
                <a:gd name="connsiteX14048" fmla="*/ 547257 w 5719680"/>
                <a:gd name="connsiteY14048" fmla="*/ 2504682 h 5704395"/>
                <a:gd name="connsiteX14049" fmla="*/ 513272 w 5719680"/>
                <a:gd name="connsiteY14049" fmla="*/ 2503731 h 5704395"/>
                <a:gd name="connsiteX14050" fmla="*/ 503108 w 5719680"/>
                <a:gd name="connsiteY14050" fmla="*/ 2510703 h 5704395"/>
                <a:gd name="connsiteX14051" fmla="*/ 518354 w 5719680"/>
                <a:gd name="connsiteY14051" fmla="*/ 2528766 h 5704395"/>
                <a:gd name="connsiteX14052" fmla="*/ 487228 w 5719680"/>
                <a:gd name="connsiteY14052" fmla="*/ 2555701 h 5704395"/>
                <a:gd name="connsiteX14053" fmla="*/ 437044 w 5719680"/>
                <a:gd name="connsiteY14053" fmla="*/ 2496443 h 5704395"/>
                <a:gd name="connsiteX14054" fmla="*/ 473570 w 5719680"/>
                <a:gd name="connsiteY14054" fmla="*/ 2443523 h 5704395"/>
                <a:gd name="connsiteX14055" fmla="*/ 1214575 w 5719680"/>
                <a:gd name="connsiteY14055" fmla="*/ 2441305 h 5704395"/>
                <a:gd name="connsiteX14056" fmla="*/ 1166614 w 5719680"/>
                <a:gd name="connsiteY14056" fmla="*/ 2451128 h 5704395"/>
                <a:gd name="connsiteX14057" fmla="*/ 1169790 w 5719680"/>
                <a:gd name="connsiteY14057" fmla="*/ 2466972 h 5704395"/>
                <a:gd name="connsiteX14058" fmla="*/ 1171378 w 5719680"/>
                <a:gd name="connsiteY14058" fmla="*/ 2466656 h 5704395"/>
                <a:gd name="connsiteX14059" fmla="*/ 1175507 w 5719680"/>
                <a:gd name="connsiteY14059" fmla="*/ 2466022 h 5704395"/>
                <a:gd name="connsiteX14060" fmla="*/ 1176460 w 5719680"/>
                <a:gd name="connsiteY14060" fmla="*/ 2470142 h 5704395"/>
                <a:gd name="connsiteX14061" fmla="*/ 1180907 w 5719680"/>
                <a:gd name="connsiteY14061" fmla="*/ 2491056 h 5704395"/>
                <a:gd name="connsiteX14062" fmla="*/ 1198376 w 5719680"/>
                <a:gd name="connsiteY14062" fmla="*/ 2488838 h 5704395"/>
                <a:gd name="connsiteX14063" fmla="*/ 1194565 w 5719680"/>
                <a:gd name="connsiteY14063" fmla="*/ 2467606 h 5704395"/>
                <a:gd name="connsiteX14064" fmla="*/ 1193929 w 5719680"/>
                <a:gd name="connsiteY14064" fmla="*/ 2463170 h 5704395"/>
                <a:gd name="connsiteX14065" fmla="*/ 1198376 w 5719680"/>
                <a:gd name="connsiteY14065" fmla="*/ 2462219 h 5704395"/>
                <a:gd name="connsiteX14066" fmla="*/ 1217751 w 5719680"/>
                <a:gd name="connsiteY14066" fmla="*/ 2459367 h 5704395"/>
                <a:gd name="connsiteX14067" fmla="*/ 1214575 w 5719680"/>
                <a:gd name="connsiteY14067" fmla="*/ 2441305 h 5704395"/>
                <a:gd name="connsiteX14068" fmla="*/ 336359 w 5719680"/>
                <a:gd name="connsiteY14068" fmla="*/ 2439403 h 5704395"/>
                <a:gd name="connsiteX14069" fmla="*/ 315713 w 5719680"/>
                <a:gd name="connsiteY14069" fmla="*/ 2447642 h 5704395"/>
                <a:gd name="connsiteX14070" fmla="*/ 319207 w 5719680"/>
                <a:gd name="connsiteY14070" fmla="*/ 2457466 h 5704395"/>
                <a:gd name="connsiteX14071" fmla="*/ 320478 w 5719680"/>
                <a:gd name="connsiteY14071" fmla="*/ 2461269 h 5704395"/>
                <a:gd name="connsiteX14072" fmla="*/ 316984 w 5719680"/>
                <a:gd name="connsiteY14072" fmla="*/ 2462853 h 5704395"/>
                <a:gd name="connsiteX14073" fmla="*/ 303009 w 5719680"/>
                <a:gd name="connsiteY14073" fmla="*/ 2469191 h 5704395"/>
                <a:gd name="connsiteX14074" fmla="*/ 310314 w 5719680"/>
                <a:gd name="connsiteY14074" fmla="*/ 2491690 h 5704395"/>
                <a:gd name="connsiteX14075" fmla="*/ 316349 w 5719680"/>
                <a:gd name="connsiteY14075" fmla="*/ 2490105 h 5704395"/>
                <a:gd name="connsiteX14076" fmla="*/ 320478 w 5719680"/>
                <a:gd name="connsiteY14076" fmla="*/ 2488838 h 5704395"/>
                <a:gd name="connsiteX14077" fmla="*/ 321748 w 5719680"/>
                <a:gd name="connsiteY14077" fmla="*/ 2492957 h 5704395"/>
                <a:gd name="connsiteX14078" fmla="*/ 323971 w 5719680"/>
                <a:gd name="connsiteY14078" fmla="*/ 2498661 h 5704395"/>
                <a:gd name="connsiteX14079" fmla="*/ 325242 w 5719680"/>
                <a:gd name="connsiteY14079" fmla="*/ 2502464 h 5704395"/>
                <a:gd name="connsiteX14080" fmla="*/ 321430 w 5719680"/>
                <a:gd name="connsiteY14080" fmla="*/ 2504049 h 5704395"/>
                <a:gd name="connsiteX14081" fmla="*/ 307455 w 5719680"/>
                <a:gd name="connsiteY14081" fmla="*/ 2510386 h 5704395"/>
                <a:gd name="connsiteX14082" fmla="*/ 315396 w 5719680"/>
                <a:gd name="connsiteY14082" fmla="*/ 2532251 h 5704395"/>
                <a:gd name="connsiteX14083" fmla="*/ 335406 w 5719680"/>
                <a:gd name="connsiteY14083" fmla="*/ 2524329 h 5704395"/>
                <a:gd name="connsiteX14084" fmla="*/ 332230 w 5719680"/>
                <a:gd name="connsiteY14084" fmla="*/ 2515139 h 5704395"/>
                <a:gd name="connsiteX14085" fmla="*/ 331277 w 5719680"/>
                <a:gd name="connsiteY14085" fmla="*/ 2511337 h 5704395"/>
                <a:gd name="connsiteX14086" fmla="*/ 334770 w 5719680"/>
                <a:gd name="connsiteY14086" fmla="*/ 2509752 h 5704395"/>
                <a:gd name="connsiteX14087" fmla="*/ 349381 w 5719680"/>
                <a:gd name="connsiteY14087" fmla="*/ 2503415 h 5704395"/>
                <a:gd name="connsiteX14088" fmla="*/ 341440 w 5719680"/>
                <a:gd name="connsiteY14088" fmla="*/ 2480282 h 5704395"/>
                <a:gd name="connsiteX14089" fmla="*/ 336041 w 5719680"/>
                <a:gd name="connsiteY14089" fmla="*/ 2482183 h 5704395"/>
                <a:gd name="connsiteX14090" fmla="*/ 331912 w 5719680"/>
                <a:gd name="connsiteY14090" fmla="*/ 2483451 h 5704395"/>
                <a:gd name="connsiteX14091" fmla="*/ 330324 w 5719680"/>
                <a:gd name="connsiteY14091" fmla="*/ 2479648 h 5704395"/>
                <a:gd name="connsiteX14092" fmla="*/ 328100 w 5719680"/>
                <a:gd name="connsiteY14092" fmla="*/ 2473310 h 5704395"/>
                <a:gd name="connsiteX14093" fmla="*/ 326830 w 5719680"/>
                <a:gd name="connsiteY14093" fmla="*/ 2469191 h 5704395"/>
                <a:gd name="connsiteX14094" fmla="*/ 330641 w 5719680"/>
                <a:gd name="connsiteY14094" fmla="*/ 2467606 h 5704395"/>
                <a:gd name="connsiteX14095" fmla="*/ 344299 w 5719680"/>
                <a:gd name="connsiteY14095" fmla="*/ 2462219 h 5704395"/>
                <a:gd name="connsiteX14096" fmla="*/ 336359 w 5719680"/>
                <a:gd name="connsiteY14096" fmla="*/ 2439403 h 5704395"/>
                <a:gd name="connsiteX14097" fmla="*/ 1218386 w 5719680"/>
                <a:gd name="connsiteY14097" fmla="*/ 2436234 h 5704395"/>
                <a:gd name="connsiteX14098" fmla="*/ 1222833 w 5719680"/>
                <a:gd name="connsiteY14098" fmla="*/ 2463170 h 5704395"/>
                <a:gd name="connsiteX14099" fmla="*/ 1199011 w 5719680"/>
                <a:gd name="connsiteY14099" fmla="*/ 2466656 h 5704395"/>
                <a:gd name="connsiteX14100" fmla="*/ 1203776 w 5719680"/>
                <a:gd name="connsiteY14100" fmla="*/ 2492640 h 5704395"/>
                <a:gd name="connsiteX14101" fmla="*/ 1177731 w 5719680"/>
                <a:gd name="connsiteY14101" fmla="*/ 2495809 h 5704395"/>
                <a:gd name="connsiteX14102" fmla="*/ 1172014 w 5719680"/>
                <a:gd name="connsiteY14102" fmla="*/ 2471092 h 5704395"/>
                <a:gd name="connsiteX14103" fmla="*/ 1165979 w 5719680"/>
                <a:gd name="connsiteY14103" fmla="*/ 2471726 h 5704395"/>
                <a:gd name="connsiteX14104" fmla="*/ 1161215 w 5719680"/>
                <a:gd name="connsiteY14104" fmla="*/ 2447642 h 5704395"/>
                <a:gd name="connsiteX14105" fmla="*/ 1218386 w 5719680"/>
                <a:gd name="connsiteY14105" fmla="*/ 2436234 h 5704395"/>
                <a:gd name="connsiteX14106" fmla="*/ 1224738 w 5719680"/>
                <a:gd name="connsiteY14106" fmla="*/ 2433382 h 5704395"/>
                <a:gd name="connsiteX14107" fmla="*/ 1140252 w 5719680"/>
                <a:gd name="connsiteY14107" fmla="*/ 2450494 h 5704395"/>
                <a:gd name="connsiteX14108" fmla="*/ 1167249 w 5719680"/>
                <a:gd name="connsiteY14108" fmla="*/ 2522745 h 5704395"/>
                <a:gd name="connsiteX14109" fmla="*/ 1183766 w 5719680"/>
                <a:gd name="connsiteY14109" fmla="*/ 2528449 h 5704395"/>
                <a:gd name="connsiteX14110" fmla="*/ 1232997 w 5719680"/>
                <a:gd name="connsiteY14110" fmla="*/ 2506267 h 5704395"/>
                <a:gd name="connsiteX14111" fmla="*/ 1232997 w 5719680"/>
                <a:gd name="connsiteY14111" fmla="*/ 2505633 h 5704395"/>
                <a:gd name="connsiteX14112" fmla="*/ 1232679 w 5719680"/>
                <a:gd name="connsiteY14112" fmla="*/ 2504365 h 5704395"/>
                <a:gd name="connsiteX14113" fmla="*/ 1225374 w 5719680"/>
                <a:gd name="connsiteY14113" fmla="*/ 2440037 h 5704395"/>
                <a:gd name="connsiteX14114" fmla="*/ 1225374 w 5719680"/>
                <a:gd name="connsiteY14114" fmla="*/ 2437819 h 5704395"/>
                <a:gd name="connsiteX14115" fmla="*/ 1225056 w 5719680"/>
                <a:gd name="connsiteY14115" fmla="*/ 2435917 h 5704395"/>
                <a:gd name="connsiteX14116" fmla="*/ 1224738 w 5719680"/>
                <a:gd name="connsiteY14116" fmla="*/ 2433382 h 5704395"/>
                <a:gd name="connsiteX14117" fmla="*/ 339217 w 5719680"/>
                <a:gd name="connsiteY14117" fmla="*/ 2433382 h 5704395"/>
                <a:gd name="connsiteX14118" fmla="*/ 350016 w 5719680"/>
                <a:gd name="connsiteY14118" fmla="*/ 2464754 h 5704395"/>
                <a:gd name="connsiteX14119" fmla="*/ 332230 w 5719680"/>
                <a:gd name="connsiteY14119" fmla="*/ 2471726 h 5704395"/>
                <a:gd name="connsiteX14120" fmla="*/ 334453 w 5719680"/>
                <a:gd name="connsiteY14120" fmla="*/ 2478064 h 5704395"/>
                <a:gd name="connsiteX14121" fmla="*/ 344299 w 5719680"/>
                <a:gd name="connsiteY14121" fmla="*/ 2474578 h 5704395"/>
                <a:gd name="connsiteX14122" fmla="*/ 354780 w 5719680"/>
                <a:gd name="connsiteY14122" fmla="*/ 2505950 h 5704395"/>
                <a:gd name="connsiteX14123" fmla="*/ 336676 w 5719680"/>
                <a:gd name="connsiteY14123" fmla="*/ 2513555 h 5704395"/>
                <a:gd name="connsiteX14124" fmla="*/ 340805 w 5719680"/>
                <a:gd name="connsiteY14124" fmla="*/ 2526864 h 5704395"/>
                <a:gd name="connsiteX14125" fmla="*/ 312855 w 5719680"/>
                <a:gd name="connsiteY14125" fmla="*/ 2537956 h 5704395"/>
                <a:gd name="connsiteX14126" fmla="*/ 301738 w 5719680"/>
                <a:gd name="connsiteY14126" fmla="*/ 2508168 h 5704395"/>
                <a:gd name="connsiteX14127" fmla="*/ 319525 w 5719680"/>
                <a:gd name="connsiteY14127" fmla="*/ 2499929 h 5704395"/>
                <a:gd name="connsiteX14128" fmla="*/ 317619 w 5719680"/>
                <a:gd name="connsiteY14128" fmla="*/ 2494225 h 5704395"/>
                <a:gd name="connsiteX14129" fmla="*/ 307455 w 5719680"/>
                <a:gd name="connsiteY14129" fmla="*/ 2497077 h 5704395"/>
                <a:gd name="connsiteX14130" fmla="*/ 297609 w 5719680"/>
                <a:gd name="connsiteY14130" fmla="*/ 2466972 h 5704395"/>
                <a:gd name="connsiteX14131" fmla="*/ 315078 w 5719680"/>
                <a:gd name="connsiteY14131" fmla="*/ 2458733 h 5704395"/>
                <a:gd name="connsiteX14132" fmla="*/ 310314 w 5719680"/>
                <a:gd name="connsiteY14132" fmla="*/ 2445107 h 5704395"/>
                <a:gd name="connsiteX14133" fmla="*/ 339217 w 5719680"/>
                <a:gd name="connsiteY14133" fmla="*/ 2433382 h 5704395"/>
                <a:gd name="connsiteX14134" fmla="*/ 1271428 w 5719680"/>
                <a:gd name="connsiteY14134" fmla="*/ 2433065 h 5704395"/>
                <a:gd name="connsiteX14135" fmla="*/ 1247289 w 5719680"/>
                <a:gd name="connsiteY14135" fmla="*/ 2443523 h 5704395"/>
                <a:gd name="connsiteX14136" fmla="*/ 1251101 w 5719680"/>
                <a:gd name="connsiteY14136" fmla="*/ 2480282 h 5704395"/>
                <a:gd name="connsiteX14137" fmla="*/ 1254595 w 5719680"/>
                <a:gd name="connsiteY14137" fmla="*/ 2502781 h 5704395"/>
                <a:gd name="connsiteX14138" fmla="*/ 1254912 w 5719680"/>
                <a:gd name="connsiteY14138" fmla="*/ 2503098 h 5704395"/>
                <a:gd name="connsiteX14139" fmla="*/ 1261265 w 5719680"/>
                <a:gd name="connsiteY14139" fmla="*/ 2528132 h 5704395"/>
                <a:gd name="connsiteX14140" fmla="*/ 1265394 w 5719680"/>
                <a:gd name="connsiteY14140" fmla="*/ 2537956 h 5704395"/>
                <a:gd name="connsiteX14141" fmla="*/ 1266982 w 5719680"/>
                <a:gd name="connsiteY14141" fmla="*/ 2541124 h 5704395"/>
                <a:gd name="connsiteX14142" fmla="*/ 1267299 w 5719680"/>
                <a:gd name="connsiteY14142" fmla="*/ 2542392 h 5704395"/>
                <a:gd name="connsiteX14143" fmla="*/ 1267617 w 5719680"/>
                <a:gd name="connsiteY14143" fmla="*/ 2542709 h 5704395"/>
                <a:gd name="connsiteX14144" fmla="*/ 1291438 w 5719680"/>
                <a:gd name="connsiteY14144" fmla="*/ 2541124 h 5704395"/>
                <a:gd name="connsiteX14145" fmla="*/ 1298108 w 5719680"/>
                <a:gd name="connsiteY14145" fmla="*/ 2541441 h 5704395"/>
                <a:gd name="connsiteX14146" fmla="*/ 1271428 w 5719680"/>
                <a:gd name="connsiteY14146" fmla="*/ 2433065 h 5704395"/>
                <a:gd name="connsiteX14147" fmla="*/ 2567631 w 5719680"/>
                <a:gd name="connsiteY14147" fmla="*/ 2431164 h 5704395"/>
                <a:gd name="connsiteX14148" fmla="*/ 2512365 w 5719680"/>
                <a:gd name="connsiteY14148" fmla="*/ 2451762 h 5704395"/>
                <a:gd name="connsiteX14149" fmla="*/ 2583512 w 5719680"/>
                <a:gd name="connsiteY14149" fmla="*/ 2527181 h 5704395"/>
                <a:gd name="connsiteX14150" fmla="*/ 2596534 w 5719680"/>
                <a:gd name="connsiteY14150" fmla="*/ 2525597 h 5704395"/>
                <a:gd name="connsiteX14151" fmla="*/ 2600981 w 5719680"/>
                <a:gd name="connsiteY14151" fmla="*/ 2524963 h 5704395"/>
                <a:gd name="connsiteX14152" fmla="*/ 2570172 w 5719680"/>
                <a:gd name="connsiteY14152" fmla="*/ 2491690 h 5704395"/>
                <a:gd name="connsiteX14153" fmla="*/ 2587958 w 5719680"/>
                <a:gd name="connsiteY14153" fmla="*/ 2475529 h 5704395"/>
                <a:gd name="connsiteX14154" fmla="*/ 2589229 w 5719680"/>
                <a:gd name="connsiteY14154" fmla="*/ 2477113 h 5704395"/>
                <a:gd name="connsiteX14155" fmla="*/ 2620673 w 5719680"/>
                <a:gd name="connsiteY14155" fmla="*/ 2510703 h 5704395"/>
                <a:gd name="connsiteX14156" fmla="*/ 2605745 w 5719680"/>
                <a:gd name="connsiteY14156" fmla="*/ 2524646 h 5704395"/>
                <a:gd name="connsiteX14157" fmla="*/ 2654340 w 5719680"/>
                <a:gd name="connsiteY14157" fmla="*/ 2517041 h 5704395"/>
                <a:gd name="connsiteX14158" fmla="*/ 2567631 w 5719680"/>
                <a:gd name="connsiteY14158" fmla="*/ 2431164 h 5704395"/>
                <a:gd name="connsiteX14159" fmla="*/ 472617 w 5719680"/>
                <a:gd name="connsiteY14159" fmla="*/ 2428312 h 5704395"/>
                <a:gd name="connsiteX14160" fmla="*/ 424974 w 5719680"/>
                <a:gd name="connsiteY14160" fmla="*/ 2495492 h 5704395"/>
                <a:gd name="connsiteX14161" fmla="*/ 485322 w 5719680"/>
                <a:gd name="connsiteY14161" fmla="*/ 2569961 h 5704395"/>
                <a:gd name="connsiteX14162" fmla="*/ 532012 w 5719680"/>
                <a:gd name="connsiteY14162" fmla="*/ 2531618 h 5704395"/>
                <a:gd name="connsiteX14163" fmla="*/ 578384 w 5719680"/>
                <a:gd name="connsiteY14163" fmla="*/ 2494542 h 5704395"/>
                <a:gd name="connsiteX14164" fmla="*/ 582513 w 5719680"/>
                <a:gd name="connsiteY14164" fmla="*/ 2465705 h 5704395"/>
                <a:gd name="connsiteX14165" fmla="*/ 503108 w 5719680"/>
                <a:gd name="connsiteY14165" fmla="*/ 2462853 h 5704395"/>
                <a:gd name="connsiteX14166" fmla="*/ 502791 w 5719680"/>
                <a:gd name="connsiteY14166" fmla="*/ 2462853 h 5704395"/>
                <a:gd name="connsiteX14167" fmla="*/ 501838 w 5719680"/>
                <a:gd name="connsiteY14167" fmla="*/ 2462853 h 5704395"/>
                <a:gd name="connsiteX14168" fmla="*/ 499932 w 5719680"/>
                <a:gd name="connsiteY14168" fmla="*/ 2462219 h 5704395"/>
                <a:gd name="connsiteX14169" fmla="*/ 499932 w 5719680"/>
                <a:gd name="connsiteY14169" fmla="*/ 2460635 h 5704395"/>
                <a:gd name="connsiteX14170" fmla="*/ 484051 w 5719680"/>
                <a:gd name="connsiteY14170" fmla="*/ 2441622 h 5704395"/>
                <a:gd name="connsiteX14171" fmla="*/ 472617 w 5719680"/>
                <a:gd name="connsiteY14171" fmla="*/ 2428312 h 5704395"/>
                <a:gd name="connsiteX14172" fmla="*/ 1988929 w 5719680"/>
                <a:gd name="connsiteY14172" fmla="*/ 2425460 h 5704395"/>
                <a:gd name="connsiteX14173" fmla="*/ 1986071 w 5719680"/>
                <a:gd name="connsiteY14173" fmla="*/ 2440988 h 5704395"/>
                <a:gd name="connsiteX14174" fmla="*/ 2025138 w 5719680"/>
                <a:gd name="connsiteY14174" fmla="*/ 2448593 h 5704395"/>
                <a:gd name="connsiteX14175" fmla="*/ 2027996 w 5719680"/>
                <a:gd name="connsiteY14175" fmla="*/ 2433065 h 5704395"/>
                <a:gd name="connsiteX14176" fmla="*/ 275376 w 5719680"/>
                <a:gd name="connsiteY14176" fmla="*/ 2421974 h 5704395"/>
                <a:gd name="connsiteX14177" fmla="*/ 155316 w 5719680"/>
                <a:gd name="connsiteY14177" fmla="*/ 2549997 h 5704395"/>
                <a:gd name="connsiteX14178" fmla="*/ 225827 w 5719680"/>
                <a:gd name="connsiteY14178" fmla="*/ 2633339 h 5704395"/>
                <a:gd name="connsiteX14179" fmla="*/ 293798 w 5719680"/>
                <a:gd name="connsiteY14179" fmla="*/ 2576933 h 5704395"/>
                <a:gd name="connsiteX14180" fmla="*/ 293798 w 5719680"/>
                <a:gd name="connsiteY14180" fmla="*/ 2576616 h 5704395"/>
                <a:gd name="connsiteX14181" fmla="*/ 286492 w 5719680"/>
                <a:gd name="connsiteY14181" fmla="*/ 2543976 h 5704395"/>
                <a:gd name="connsiteX14182" fmla="*/ 265530 w 5719680"/>
                <a:gd name="connsiteY14182" fmla="*/ 2525914 h 5704395"/>
                <a:gd name="connsiteX14183" fmla="*/ 272200 w 5719680"/>
                <a:gd name="connsiteY14183" fmla="*/ 2473310 h 5704395"/>
                <a:gd name="connsiteX14184" fmla="*/ 284587 w 5719680"/>
                <a:gd name="connsiteY14184" fmla="*/ 2466339 h 5704395"/>
                <a:gd name="connsiteX14185" fmla="*/ 275376 w 5719680"/>
                <a:gd name="connsiteY14185" fmla="*/ 2421974 h 5704395"/>
                <a:gd name="connsiteX14186" fmla="*/ 2344027 w 5719680"/>
                <a:gd name="connsiteY14186" fmla="*/ 2419122 h 5704395"/>
                <a:gd name="connsiteX14187" fmla="*/ 2342121 w 5719680"/>
                <a:gd name="connsiteY14187" fmla="*/ 2434650 h 5704395"/>
                <a:gd name="connsiteX14188" fmla="*/ 2381824 w 5719680"/>
                <a:gd name="connsiteY14188" fmla="*/ 2439403 h 5704395"/>
                <a:gd name="connsiteX14189" fmla="*/ 2383729 w 5719680"/>
                <a:gd name="connsiteY14189" fmla="*/ 2423876 h 5704395"/>
                <a:gd name="connsiteX14190" fmla="*/ 2344027 w 5719680"/>
                <a:gd name="connsiteY14190" fmla="*/ 2419122 h 5704395"/>
                <a:gd name="connsiteX14191" fmla="*/ 118154 w 5719680"/>
                <a:gd name="connsiteY14191" fmla="*/ 2417221 h 5704395"/>
                <a:gd name="connsiteX14192" fmla="*/ 88298 w 5719680"/>
                <a:gd name="connsiteY14192" fmla="*/ 2476479 h 5704395"/>
                <a:gd name="connsiteX14193" fmla="*/ 109579 w 5719680"/>
                <a:gd name="connsiteY14193" fmla="*/ 2487570 h 5704395"/>
                <a:gd name="connsiteX14194" fmla="*/ 134671 w 5719680"/>
                <a:gd name="connsiteY14194" fmla="*/ 2475212 h 5704395"/>
                <a:gd name="connsiteX14195" fmla="*/ 155633 w 5719680"/>
                <a:gd name="connsiteY14195" fmla="*/ 2488838 h 5704395"/>
                <a:gd name="connsiteX14196" fmla="*/ 165162 w 5719680"/>
                <a:gd name="connsiteY14196" fmla="*/ 2479965 h 5704395"/>
                <a:gd name="connsiteX14197" fmla="*/ 118154 w 5719680"/>
                <a:gd name="connsiteY14197" fmla="*/ 2417221 h 5704395"/>
                <a:gd name="connsiteX14198" fmla="*/ 2340533 w 5719680"/>
                <a:gd name="connsiteY14198" fmla="*/ 2414686 h 5704395"/>
                <a:gd name="connsiteX14199" fmla="*/ 2388176 w 5719680"/>
                <a:gd name="connsiteY14199" fmla="*/ 2420390 h 5704395"/>
                <a:gd name="connsiteX14200" fmla="*/ 2385318 w 5719680"/>
                <a:gd name="connsiteY14200" fmla="*/ 2444157 h 5704395"/>
                <a:gd name="connsiteX14201" fmla="*/ 2383412 w 5719680"/>
                <a:gd name="connsiteY14201" fmla="*/ 2443840 h 5704395"/>
                <a:gd name="connsiteX14202" fmla="*/ 2337675 w 5719680"/>
                <a:gd name="connsiteY14202" fmla="*/ 2438453 h 5704395"/>
                <a:gd name="connsiteX14203" fmla="*/ 2340533 w 5719680"/>
                <a:gd name="connsiteY14203" fmla="*/ 2414686 h 5704395"/>
                <a:gd name="connsiteX14204" fmla="*/ 1310178 w 5719680"/>
                <a:gd name="connsiteY14204" fmla="*/ 2414686 h 5704395"/>
                <a:gd name="connsiteX14205" fmla="*/ 1290486 w 5719680"/>
                <a:gd name="connsiteY14205" fmla="*/ 2424509 h 5704395"/>
                <a:gd name="connsiteX14206" fmla="*/ 1276193 w 5719680"/>
                <a:gd name="connsiteY14206" fmla="*/ 2430847 h 5704395"/>
                <a:gd name="connsiteX14207" fmla="*/ 1303508 w 5719680"/>
                <a:gd name="connsiteY14207" fmla="*/ 2541758 h 5704395"/>
                <a:gd name="connsiteX14208" fmla="*/ 1339081 w 5719680"/>
                <a:gd name="connsiteY14208" fmla="*/ 2543976 h 5704395"/>
                <a:gd name="connsiteX14209" fmla="*/ 1335587 w 5719680"/>
                <a:gd name="connsiteY14209" fmla="*/ 2528132 h 5704395"/>
                <a:gd name="connsiteX14210" fmla="*/ 1307955 w 5719680"/>
                <a:gd name="connsiteY14210" fmla="*/ 2531934 h 5704395"/>
                <a:gd name="connsiteX14211" fmla="*/ 1300332 w 5719680"/>
                <a:gd name="connsiteY14211" fmla="*/ 2482817 h 5704395"/>
                <a:gd name="connsiteX14212" fmla="*/ 1324788 w 5719680"/>
                <a:gd name="connsiteY14212" fmla="*/ 2479331 h 5704395"/>
                <a:gd name="connsiteX14213" fmla="*/ 1310178 w 5719680"/>
                <a:gd name="connsiteY14213" fmla="*/ 2414686 h 5704395"/>
                <a:gd name="connsiteX14214" fmla="*/ 1473752 w 5719680"/>
                <a:gd name="connsiteY14214" fmla="*/ 2409933 h 5704395"/>
                <a:gd name="connsiteX14215" fmla="*/ 1401017 w 5719680"/>
                <a:gd name="connsiteY14215" fmla="*/ 2455882 h 5704395"/>
                <a:gd name="connsiteX14216" fmla="*/ 1403875 w 5719680"/>
                <a:gd name="connsiteY14216" fmla="*/ 2468240 h 5704395"/>
                <a:gd name="connsiteX14217" fmla="*/ 1481374 w 5719680"/>
                <a:gd name="connsiteY14217" fmla="*/ 2457466 h 5704395"/>
                <a:gd name="connsiteX14218" fmla="*/ 1473752 w 5719680"/>
                <a:gd name="connsiteY14218" fmla="*/ 2409933 h 5704395"/>
                <a:gd name="connsiteX14219" fmla="*/ 117202 w 5719680"/>
                <a:gd name="connsiteY14219" fmla="*/ 2408348 h 5704395"/>
                <a:gd name="connsiteX14220" fmla="*/ 171514 w 5719680"/>
                <a:gd name="connsiteY14220" fmla="*/ 2480599 h 5704395"/>
                <a:gd name="connsiteX14221" fmla="*/ 169926 w 5719680"/>
                <a:gd name="connsiteY14221" fmla="*/ 2481866 h 5704395"/>
                <a:gd name="connsiteX14222" fmla="*/ 156269 w 5719680"/>
                <a:gd name="connsiteY14222" fmla="*/ 2494859 h 5704395"/>
                <a:gd name="connsiteX14223" fmla="*/ 134353 w 5719680"/>
                <a:gd name="connsiteY14223" fmla="*/ 2480599 h 5704395"/>
                <a:gd name="connsiteX14224" fmla="*/ 109579 w 5719680"/>
                <a:gd name="connsiteY14224" fmla="*/ 2492640 h 5704395"/>
                <a:gd name="connsiteX14225" fmla="*/ 81946 w 5719680"/>
                <a:gd name="connsiteY14225" fmla="*/ 2478697 h 5704395"/>
                <a:gd name="connsiteX14226" fmla="*/ 117202 w 5719680"/>
                <a:gd name="connsiteY14226" fmla="*/ 2408348 h 5704395"/>
                <a:gd name="connsiteX14227" fmla="*/ 2631472 w 5719680"/>
                <a:gd name="connsiteY14227" fmla="*/ 2408031 h 5704395"/>
                <a:gd name="connsiteX14228" fmla="*/ 2572395 w 5719680"/>
                <a:gd name="connsiteY14228" fmla="*/ 2429580 h 5704395"/>
                <a:gd name="connsiteX14229" fmla="*/ 2577794 w 5719680"/>
                <a:gd name="connsiteY14229" fmla="*/ 2435284 h 5704395"/>
                <a:gd name="connsiteX14230" fmla="*/ 2633696 w 5719680"/>
                <a:gd name="connsiteY14230" fmla="*/ 2491056 h 5704395"/>
                <a:gd name="connsiteX14231" fmla="*/ 2652752 w 5719680"/>
                <a:gd name="connsiteY14231" fmla="*/ 2509436 h 5704395"/>
                <a:gd name="connsiteX14232" fmla="*/ 2658470 w 5719680"/>
                <a:gd name="connsiteY14232" fmla="*/ 2514506 h 5704395"/>
                <a:gd name="connsiteX14233" fmla="*/ 2659740 w 5719680"/>
                <a:gd name="connsiteY14233" fmla="*/ 2515773 h 5704395"/>
                <a:gd name="connsiteX14234" fmla="*/ 2669904 w 5719680"/>
                <a:gd name="connsiteY14234" fmla="*/ 2513872 h 5704395"/>
                <a:gd name="connsiteX14235" fmla="*/ 2724217 w 5719680"/>
                <a:gd name="connsiteY14235" fmla="*/ 2486936 h 5704395"/>
                <a:gd name="connsiteX14236" fmla="*/ 2631472 w 5719680"/>
                <a:gd name="connsiteY14236" fmla="*/ 2408031 h 5704395"/>
                <a:gd name="connsiteX14237" fmla="*/ 296974 w 5719680"/>
                <a:gd name="connsiteY14237" fmla="*/ 2402961 h 5704395"/>
                <a:gd name="connsiteX14238" fmla="*/ 279822 w 5719680"/>
                <a:gd name="connsiteY14238" fmla="*/ 2417855 h 5704395"/>
                <a:gd name="connsiteX14239" fmla="*/ 290621 w 5719680"/>
                <a:gd name="connsiteY14239" fmla="*/ 2469191 h 5704395"/>
                <a:gd name="connsiteX14240" fmla="*/ 276964 w 5719680"/>
                <a:gd name="connsiteY14240" fmla="*/ 2476479 h 5704395"/>
                <a:gd name="connsiteX14241" fmla="*/ 271247 w 5719680"/>
                <a:gd name="connsiteY14241" fmla="*/ 2523696 h 5704395"/>
                <a:gd name="connsiteX14242" fmla="*/ 291257 w 5719680"/>
                <a:gd name="connsiteY14242" fmla="*/ 2541124 h 5704395"/>
                <a:gd name="connsiteX14243" fmla="*/ 298562 w 5719680"/>
                <a:gd name="connsiteY14243" fmla="*/ 2573130 h 5704395"/>
                <a:gd name="connsiteX14244" fmla="*/ 371297 w 5719680"/>
                <a:gd name="connsiteY14244" fmla="*/ 2514189 h 5704395"/>
                <a:gd name="connsiteX14245" fmla="*/ 342076 w 5719680"/>
                <a:gd name="connsiteY14245" fmla="*/ 2431164 h 5704395"/>
                <a:gd name="connsiteX14246" fmla="*/ 1987341 w 5719680"/>
                <a:gd name="connsiteY14246" fmla="*/ 2397891 h 5704395"/>
                <a:gd name="connsiteX14247" fmla="*/ 1969872 w 5719680"/>
                <a:gd name="connsiteY14247" fmla="*/ 2417538 h 5704395"/>
                <a:gd name="connsiteX14248" fmla="*/ 1967014 w 5719680"/>
                <a:gd name="connsiteY14248" fmla="*/ 2448593 h 5704395"/>
                <a:gd name="connsiteX14249" fmla="*/ 2044830 w 5719680"/>
                <a:gd name="connsiteY14249" fmla="*/ 2490739 h 5704395"/>
                <a:gd name="connsiteX14250" fmla="*/ 2062934 w 5719680"/>
                <a:gd name="connsiteY14250" fmla="*/ 2453346 h 5704395"/>
                <a:gd name="connsiteX14251" fmla="*/ 2032760 w 5719680"/>
                <a:gd name="connsiteY14251" fmla="*/ 2431164 h 5704395"/>
                <a:gd name="connsiteX14252" fmla="*/ 2028314 w 5719680"/>
                <a:gd name="connsiteY14252" fmla="*/ 2453346 h 5704395"/>
                <a:gd name="connsiteX14253" fmla="*/ 2026408 w 5719680"/>
                <a:gd name="connsiteY14253" fmla="*/ 2453029 h 5704395"/>
                <a:gd name="connsiteX14254" fmla="*/ 1981306 w 5719680"/>
                <a:gd name="connsiteY14254" fmla="*/ 2444157 h 5704395"/>
                <a:gd name="connsiteX14255" fmla="*/ 1985753 w 5719680"/>
                <a:gd name="connsiteY14255" fmla="*/ 2420707 h 5704395"/>
                <a:gd name="connsiteX14256" fmla="*/ 2029902 w 5719680"/>
                <a:gd name="connsiteY14256" fmla="*/ 2429263 h 5704395"/>
                <a:gd name="connsiteX14257" fmla="*/ 1987341 w 5719680"/>
                <a:gd name="connsiteY14257" fmla="*/ 2397891 h 5704395"/>
                <a:gd name="connsiteX14258" fmla="*/ 1347022 w 5719680"/>
                <a:gd name="connsiteY14258" fmla="*/ 2395990 h 5704395"/>
                <a:gd name="connsiteX14259" fmla="*/ 1333999 w 5719680"/>
                <a:gd name="connsiteY14259" fmla="*/ 2402327 h 5704395"/>
                <a:gd name="connsiteX14260" fmla="*/ 1314942 w 5719680"/>
                <a:gd name="connsiteY14260" fmla="*/ 2412151 h 5704395"/>
                <a:gd name="connsiteX14261" fmla="*/ 1329870 w 5719680"/>
                <a:gd name="connsiteY14261" fmla="*/ 2478697 h 5704395"/>
                <a:gd name="connsiteX14262" fmla="*/ 1363220 w 5719680"/>
                <a:gd name="connsiteY14262" fmla="*/ 2473944 h 5704395"/>
                <a:gd name="connsiteX14263" fmla="*/ 1347022 w 5719680"/>
                <a:gd name="connsiteY14263" fmla="*/ 2395990 h 5704395"/>
                <a:gd name="connsiteX14264" fmla="*/ 2046736 w 5719680"/>
                <a:gd name="connsiteY14264" fmla="*/ 2394405 h 5704395"/>
                <a:gd name="connsiteX14265" fmla="*/ 2043560 w 5719680"/>
                <a:gd name="connsiteY14265" fmla="*/ 2409933 h 5704395"/>
                <a:gd name="connsiteX14266" fmla="*/ 2082627 w 5719680"/>
                <a:gd name="connsiteY14266" fmla="*/ 2417538 h 5704395"/>
                <a:gd name="connsiteX14267" fmla="*/ 2085803 w 5719680"/>
                <a:gd name="connsiteY14267" fmla="*/ 2402010 h 5704395"/>
                <a:gd name="connsiteX14268" fmla="*/ 2046736 w 5719680"/>
                <a:gd name="connsiteY14268" fmla="*/ 2394405 h 5704395"/>
                <a:gd name="connsiteX14269" fmla="*/ 2384047 w 5719680"/>
                <a:gd name="connsiteY14269" fmla="*/ 2394088 h 5704395"/>
                <a:gd name="connsiteX14270" fmla="*/ 2347838 w 5719680"/>
                <a:gd name="connsiteY14270" fmla="*/ 2404229 h 5704395"/>
                <a:gd name="connsiteX14271" fmla="*/ 2290350 w 5719680"/>
                <a:gd name="connsiteY14271" fmla="*/ 2417221 h 5704395"/>
                <a:gd name="connsiteX14272" fmla="*/ 2273833 w 5719680"/>
                <a:gd name="connsiteY14272" fmla="*/ 2420390 h 5704395"/>
                <a:gd name="connsiteX14273" fmla="*/ 2269386 w 5719680"/>
                <a:gd name="connsiteY14273" fmla="*/ 2421341 h 5704395"/>
                <a:gd name="connsiteX14274" fmla="*/ 2269069 w 5719680"/>
                <a:gd name="connsiteY14274" fmla="*/ 2421341 h 5704395"/>
                <a:gd name="connsiteX14275" fmla="*/ 2269069 w 5719680"/>
                <a:gd name="connsiteY14275" fmla="*/ 2421974 h 5704395"/>
                <a:gd name="connsiteX14276" fmla="*/ 2270657 w 5719680"/>
                <a:gd name="connsiteY14276" fmla="*/ 2437185 h 5704395"/>
                <a:gd name="connsiteX14277" fmla="*/ 2291620 w 5719680"/>
                <a:gd name="connsiteY14277" fmla="*/ 2436551 h 5704395"/>
                <a:gd name="connsiteX14278" fmla="*/ 2402151 w 5719680"/>
                <a:gd name="connsiteY14278" fmla="*/ 2450494 h 5704395"/>
                <a:gd name="connsiteX14279" fmla="*/ 2413268 w 5719680"/>
                <a:gd name="connsiteY14279" fmla="*/ 2453663 h 5704395"/>
                <a:gd name="connsiteX14280" fmla="*/ 2384047 w 5719680"/>
                <a:gd name="connsiteY14280" fmla="*/ 2394088 h 5704395"/>
                <a:gd name="connsiteX14281" fmla="*/ 868688 w 5719680"/>
                <a:gd name="connsiteY14281" fmla="*/ 2394088 h 5704395"/>
                <a:gd name="connsiteX14282" fmla="*/ 814693 w 5719680"/>
                <a:gd name="connsiteY14282" fmla="*/ 2511654 h 5704395"/>
                <a:gd name="connsiteX14283" fmla="*/ 825174 w 5719680"/>
                <a:gd name="connsiteY14283" fmla="*/ 2509752 h 5704395"/>
                <a:gd name="connsiteX14284" fmla="*/ 903308 w 5719680"/>
                <a:gd name="connsiteY14284" fmla="*/ 2424193 h 5704395"/>
                <a:gd name="connsiteX14285" fmla="*/ 895368 w 5719680"/>
                <a:gd name="connsiteY14285" fmla="*/ 2399792 h 5704395"/>
                <a:gd name="connsiteX14286" fmla="*/ 868688 w 5719680"/>
                <a:gd name="connsiteY14286" fmla="*/ 2394088 h 5704395"/>
                <a:gd name="connsiteX14287" fmla="*/ 1091021 w 5719680"/>
                <a:gd name="connsiteY14287" fmla="*/ 2393138 h 5704395"/>
                <a:gd name="connsiteX14288" fmla="*/ 970961 w 5719680"/>
                <a:gd name="connsiteY14288" fmla="*/ 2486303 h 5704395"/>
                <a:gd name="connsiteX14289" fmla="*/ 1006534 w 5719680"/>
                <a:gd name="connsiteY14289" fmla="*/ 2521160 h 5704395"/>
                <a:gd name="connsiteX14290" fmla="*/ 1047825 w 5719680"/>
                <a:gd name="connsiteY14290" fmla="*/ 2561722 h 5704395"/>
                <a:gd name="connsiteX14291" fmla="*/ 1061482 w 5719680"/>
                <a:gd name="connsiteY14291" fmla="*/ 2575348 h 5704395"/>
                <a:gd name="connsiteX14292" fmla="*/ 1065294 w 5719680"/>
                <a:gd name="connsiteY14292" fmla="*/ 2578834 h 5704395"/>
                <a:gd name="connsiteX14293" fmla="*/ 1065929 w 5719680"/>
                <a:gd name="connsiteY14293" fmla="*/ 2579785 h 5704395"/>
                <a:gd name="connsiteX14294" fmla="*/ 1072599 w 5719680"/>
                <a:gd name="connsiteY14294" fmla="*/ 2581369 h 5704395"/>
                <a:gd name="connsiteX14295" fmla="*/ 1103090 w 5719680"/>
                <a:gd name="connsiteY14295" fmla="*/ 2590876 h 5704395"/>
                <a:gd name="connsiteX14296" fmla="*/ 1161215 w 5719680"/>
                <a:gd name="connsiteY14296" fmla="*/ 2521477 h 5704395"/>
                <a:gd name="connsiteX14297" fmla="*/ 1115478 w 5719680"/>
                <a:gd name="connsiteY14297" fmla="*/ 2398842 h 5704395"/>
                <a:gd name="connsiteX14298" fmla="*/ 1091021 w 5719680"/>
                <a:gd name="connsiteY14298" fmla="*/ 2393138 h 5704395"/>
                <a:gd name="connsiteX14299" fmla="*/ 2420891 w 5719680"/>
                <a:gd name="connsiteY14299" fmla="*/ 2391870 h 5704395"/>
                <a:gd name="connsiteX14300" fmla="*/ 2408186 w 5719680"/>
                <a:gd name="connsiteY14300" fmla="*/ 2401060 h 5704395"/>
                <a:gd name="connsiteX14301" fmla="*/ 2431054 w 5719680"/>
                <a:gd name="connsiteY14301" fmla="*/ 2433382 h 5704395"/>
                <a:gd name="connsiteX14302" fmla="*/ 2443759 w 5719680"/>
                <a:gd name="connsiteY14302" fmla="*/ 2424509 h 5704395"/>
                <a:gd name="connsiteX14303" fmla="*/ 2420891 w 5719680"/>
                <a:gd name="connsiteY14303" fmla="*/ 2391870 h 5704395"/>
                <a:gd name="connsiteX14304" fmla="*/ 2043242 w 5719680"/>
                <a:gd name="connsiteY14304" fmla="*/ 2389652 h 5704395"/>
                <a:gd name="connsiteX14305" fmla="*/ 2090567 w 5719680"/>
                <a:gd name="connsiteY14305" fmla="*/ 2398842 h 5704395"/>
                <a:gd name="connsiteX14306" fmla="*/ 2086120 w 5719680"/>
                <a:gd name="connsiteY14306" fmla="*/ 2422291 h 5704395"/>
                <a:gd name="connsiteX14307" fmla="*/ 2083897 w 5719680"/>
                <a:gd name="connsiteY14307" fmla="*/ 2421974 h 5704395"/>
                <a:gd name="connsiteX14308" fmla="*/ 2038795 w 5719680"/>
                <a:gd name="connsiteY14308" fmla="*/ 2413418 h 5704395"/>
                <a:gd name="connsiteX14309" fmla="*/ 2043242 w 5719680"/>
                <a:gd name="connsiteY14309" fmla="*/ 2389652 h 5704395"/>
                <a:gd name="connsiteX14310" fmla="*/ 866147 w 5719680"/>
                <a:gd name="connsiteY14310" fmla="*/ 2388701 h 5704395"/>
                <a:gd name="connsiteX14311" fmla="*/ 899179 w 5719680"/>
                <a:gd name="connsiteY14311" fmla="*/ 2395673 h 5704395"/>
                <a:gd name="connsiteX14312" fmla="*/ 899497 w 5719680"/>
                <a:gd name="connsiteY14312" fmla="*/ 2396940 h 5704395"/>
                <a:gd name="connsiteX14313" fmla="*/ 908390 w 5719680"/>
                <a:gd name="connsiteY14313" fmla="*/ 2425460 h 5704395"/>
                <a:gd name="connsiteX14314" fmla="*/ 827715 w 5719680"/>
                <a:gd name="connsiteY14314" fmla="*/ 2514189 h 5704395"/>
                <a:gd name="connsiteX14315" fmla="*/ 806752 w 5719680"/>
                <a:gd name="connsiteY14315" fmla="*/ 2517991 h 5704395"/>
                <a:gd name="connsiteX14316" fmla="*/ 866147 w 5719680"/>
                <a:gd name="connsiteY14316" fmla="*/ 2388701 h 5704395"/>
                <a:gd name="connsiteX14317" fmla="*/ 1513454 w 5719680"/>
                <a:gd name="connsiteY14317" fmla="*/ 2388067 h 5704395"/>
                <a:gd name="connsiteX14318" fmla="*/ 1514407 w 5719680"/>
                <a:gd name="connsiteY14318" fmla="*/ 2391553 h 5704395"/>
                <a:gd name="connsiteX14319" fmla="*/ 1524253 w 5719680"/>
                <a:gd name="connsiteY14319" fmla="*/ 2451445 h 5704395"/>
                <a:gd name="connsiteX14320" fmla="*/ 1560144 w 5719680"/>
                <a:gd name="connsiteY14320" fmla="*/ 2446375 h 5704395"/>
                <a:gd name="connsiteX14321" fmla="*/ 1553156 w 5719680"/>
                <a:gd name="connsiteY14321" fmla="*/ 2402644 h 5704395"/>
                <a:gd name="connsiteX14322" fmla="*/ 1513454 w 5719680"/>
                <a:gd name="connsiteY14322" fmla="*/ 2388067 h 5704395"/>
                <a:gd name="connsiteX14323" fmla="*/ 1509007 w 5719680"/>
                <a:gd name="connsiteY14323" fmla="*/ 2387750 h 5704395"/>
                <a:gd name="connsiteX14324" fmla="*/ 1475340 w 5719680"/>
                <a:gd name="connsiteY14324" fmla="*/ 2408982 h 5704395"/>
                <a:gd name="connsiteX14325" fmla="*/ 1478198 w 5719680"/>
                <a:gd name="connsiteY14325" fmla="*/ 2408665 h 5704395"/>
                <a:gd name="connsiteX14326" fmla="*/ 1485821 w 5719680"/>
                <a:gd name="connsiteY14326" fmla="*/ 2456832 h 5704395"/>
                <a:gd name="connsiteX14327" fmla="*/ 1519806 w 5719680"/>
                <a:gd name="connsiteY14327" fmla="*/ 2452079 h 5704395"/>
                <a:gd name="connsiteX14328" fmla="*/ 1512501 w 5719680"/>
                <a:gd name="connsiteY14328" fmla="*/ 2407398 h 5704395"/>
                <a:gd name="connsiteX14329" fmla="*/ 1509643 w 5719680"/>
                <a:gd name="connsiteY14329" fmla="*/ 2391236 h 5704395"/>
                <a:gd name="connsiteX14330" fmla="*/ 1509007 w 5719680"/>
                <a:gd name="connsiteY14330" fmla="*/ 2387750 h 5704395"/>
                <a:gd name="connsiteX14331" fmla="*/ 2422161 w 5719680"/>
                <a:gd name="connsiteY14331" fmla="*/ 2386166 h 5704395"/>
                <a:gd name="connsiteX14332" fmla="*/ 2423114 w 5719680"/>
                <a:gd name="connsiteY14332" fmla="*/ 2387750 h 5704395"/>
                <a:gd name="connsiteX14333" fmla="*/ 2449794 w 5719680"/>
                <a:gd name="connsiteY14333" fmla="*/ 2425460 h 5704395"/>
                <a:gd name="connsiteX14334" fmla="*/ 2430102 w 5719680"/>
                <a:gd name="connsiteY14334" fmla="*/ 2439403 h 5704395"/>
                <a:gd name="connsiteX14335" fmla="*/ 2402469 w 5719680"/>
                <a:gd name="connsiteY14335" fmla="*/ 2400109 h 5704395"/>
                <a:gd name="connsiteX14336" fmla="*/ 2422161 w 5719680"/>
                <a:gd name="connsiteY14336" fmla="*/ 2386166 h 5704395"/>
                <a:gd name="connsiteX14337" fmla="*/ 2675621 w 5719680"/>
                <a:gd name="connsiteY14337" fmla="*/ 2385532 h 5704395"/>
                <a:gd name="connsiteX14338" fmla="*/ 2663869 w 5719680"/>
                <a:gd name="connsiteY14338" fmla="*/ 2396306 h 5704395"/>
                <a:gd name="connsiteX14339" fmla="*/ 2690867 w 5719680"/>
                <a:gd name="connsiteY14339" fmla="*/ 2425460 h 5704395"/>
                <a:gd name="connsiteX14340" fmla="*/ 2702619 w 5719680"/>
                <a:gd name="connsiteY14340" fmla="*/ 2414686 h 5704395"/>
                <a:gd name="connsiteX14341" fmla="*/ 2675621 w 5719680"/>
                <a:gd name="connsiteY14341" fmla="*/ 2385532 h 5704395"/>
                <a:gd name="connsiteX14342" fmla="*/ 561868 w 5719680"/>
                <a:gd name="connsiteY14342" fmla="*/ 2384898 h 5704395"/>
                <a:gd name="connsiteX14343" fmla="*/ 555198 w 5719680"/>
                <a:gd name="connsiteY14343" fmla="*/ 2405496 h 5704395"/>
                <a:gd name="connsiteX14344" fmla="*/ 558374 w 5719680"/>
                <a:gd name="connsiteY14344" fmla="*/ 2409299 h 5704395"/>
                <a:gd name="connsiteX14345" fmla="*/ 561233 w 5719680"/>
                <a:gd name="connsiteY14345" fmla="*/ 2412468 h 5704395"/>
                <a:gd name="connsiteX14346" fmla="*/ 562186 w 5719680"/>
                <a:gd name="connsiteY14346" fmla="*/ 2412468 h 5704395"/>
                <a:gd name="connsiteX14347" fmla="*/ 563456 w 5719680"/>
                <a:gd name="connsiteY14347" fmla="*/ 2414686 h 5704395"/>
                <a:gd name="connsiteX14348" fmla="*/ 557421 w 5719680"/>
                <a:gd name="connsiteY14348" fmla="*/ 2431164 h 5704395"/>
                <a:gd name="connsiteX14349" fmla="*/ 555516 w 5719680"/>
                <a:gd name="connsiteY14349" fmla="*/ 2445424 h 5704395"/>
                <a:gd name="connsiteX14350" fmla="*/ 571714 w 5719680"/>
                <a:gd name="connsiteY14350" fmla="*/ 2446692 h 5704395"/>
                <a:gd name="connsiteX14351" fmla="*/ 575208 w 5719680"/>
                <a:gd name="connsiteY14351" fmla="*/ 2400109 h 5704395"/>
                <a:gd name="connsiteX14352" fmla="*/ 561868 w 5719680"/>
                <a:gd name="connsiteY14352" fmla="*/ 2384898 h 5704395"/>
                <a:gd name="connsiteX14353" fmla="*/ 108626 w 5719680"/>
                <a:gd name="connsiteY14353" fmla="*/ 2382364 h 5704395"/>
                <a:gd name="connsiteX14354" fmla="*/ 92427 w 5719680"/>
                <a:gd name="connsiteY14354" fmla="*/ 2424826 h 5704395"/>
                <a:gd name="connsiteX14355" fmla="*/ 78452 w 5719680"/>
                <a:gd name="connsiteY14355" fmla="*/ 2460318 h 5704395"/>
                <a:gd name="connsiteX14356" fmla="*/ 73370 w 5719680"/>
                <a:gd name="connsiteY14356" fmla="*/ 2472043 h 5704395"/>
                <a:gd name="connsiteX14357" fmla="*/ 71464 w 5719680"/>
                <a:gd name="connsiteY14357" fmla="*/ 2475529 h 5704395"/>
                <a:gd name="connsiteX14358" fmla="*/ 70829 w 5719680"/>
                <a:gd name="connsiteY14358" fmla="*/ 2476796 h 5704395"/>
                <a:gd name="connsiteX14359" fmla="*/ 68606 w 5719680"/>
                <a:gd name="connsiteY14359" fmla="*/ 2477747 h 5704395"/>
                <a:gd name="connsiteX14360" fmla="*/ 41291 w 5719680"/>
                <a:gd name="connsiteY14360" fmla="*/ 2475212 h 5704395"/>
                <a:gd name="connsiteX14361" fmla="*/ 33985 w 5719680"/>
                <a:gd name="connsiteY14361" fmla="*/ 2488204 h 5704395"/>
                <a:gd name="connsiteX14362" fmla="*/ 5717 w 5719680"/>
                <a:gd name="connsiteY14362" fmla="*/ 2546828 h 5704395"/>
                <a:gd name="connsiteX14363" fmla="*/ 20963 w 5719680"/>
                <a:gd name="connsiteY14363" fmla="*/ 2556335 h 5704395"/>
                <a:gd name="connsiteX14364" fmla="*/ 79723 w 5719680"/>
                <a:gd name="connsiteY14364" fmla="*/ 2600383 h 5704395"/>
                <a:gd name="connsiteX14365" fmla="*/ 80040 w 5719680"/>
                <a:gd name="connsiteY14365" fmla="*/ 2600065 h 5704395"/>
                <a:gd name="connsiteX14366" fmla="*/ 185172 w 5719680"/>
                <a:gd name="connsiteY14366" fmla="*/ 2488521 h 5704395"/>
                <a:gd name="connsiteX14367" fmla="*/ 108626 w 5719680"/>
                <a:gd name="connsiteY14367" fmla="*/ 2382364 h 5704395"/>
                <a:gd name="connsiteX14368" fmla="*/ 1158991 w 5719680"/>
                <a:gd name="connsiteY14368" fmla="*/ 2380779 h 5704395"/>
                <a:gd name="connsiteX14369" fmla="*/ 1141840 w 5719680"/>
                <a:gd name="connsiteY14369" fmla="*/ 2383948 h 5704395"/>
                <a:gd name="connsiteX14370" fmla="*/ 1145334 w 5719680"/>
                <a:gd name="connsiteY14370" fmla="*/ 2404229 h 5704395"/>
                <a:gd name="connsiteX14371" fmla="*/ 1145969 w 5719680"/>
                <a:gd name="connsiteY14371" fmla="*/ 2408665 h 5704395"/>
                <a:gd name="connsiteX14372" fmla="*/ 1141522 w 5719680"/>
                <a:gd name="connsiteY14372" fmla="*/ 2409299 h 5704395"/>
                <a:gd name="connsiteX14373" fmla="*/ 1140252 w 5719680"/>
                <a:gd name="connsiteY14373" fmla="*/ 2409616 h 5704395"/>
                <a:gd name="connsiteX14374" fmla="*/ 1143428 w 5719680"/>
                <a:gd name="connsiteY14374" fmla="*/ 2426728 h 5704395"/>
                <a:gd name="connsiteX14375" fmla="*/ 1190753 w 5719680"/>
                <a:gd name="connsiteY14375" fmla="*/ 2419756 h 5704395"/>
                <a:gd name="connsiteX14376" fmla="*/ 1187895 w 5719680"/>
                <a:gd name="connsiteY14376" fmla="*/ 2401694 h 5704395"/>
                <a:gd name="connsiteX14377" fmla="*/ 1168520 w 5719680"/>
                <a:gd name="connsiteY14377" fmla="*/ 2404862 h 5704395"/>
                <a:gd name="connsiteX14378" fmla="*/ 1164391 w 5719680"/>
                <a:gd name="connsiteY14378" fmla="*/ 2405496 h 5704395"/>
                <a:gd name="connsiteX14379" fmla="*/ 1163438 w 5719680"/>
                <a:gd name="connsiteY14379" fmla="*/ 2401377 h 5704395"/>
                <a:gd name="connsiteX14380" fmla="*/ 1158991 w 5719680"/>
                <a:gd name="connsiteY14380" fmla="*/ 2380779 h 5704395"/>
                <a:gd name="connsiteX14381" fmla="*/ 2675621 w 5719680"/>
                <a:gd name="connsiteY14381" fmla="*/ 2379828 h 5704395"/>
                <a:gd name="connsiteX14382" fmla="*/ 2677209 w 5719680"/>
                <a:gd name="connsiteY14382" fmla="*/ 2381413 h 5704395"/>
                <a:gd name="connsiteX14383" fmla="*/ 2708336 w 5719680"/>
                <a:gd name="connsiteY14383" fmla="*/ 2415003 h 5704395"/>
                <a:gd name="connsiteX14384" fmla="*/ 2690867 w 5719680"/>
                <a:gd name="connsiteY14384" fmla="*/ 2431481 h 5704395"/>
                <a:gd name="connsiteX14385" fmla="*/ 2658152 w 5719680"/>
                <a:gd name="connsiteY14385" fmla="*/ 2395990 h 5704395"/>
                <a:gd name="connsiteX14386" fmla="*/ 2675621 w 5719680"/>
                <a:gd name="connsiteY14386" fmla="*/ 2379828 h 5704395"/>
                <a:gd name="connsiteX14387" fmla="*/ 1596988 w 5719680"/>
                <a:gd name="connsiteY14387" fmla="*/ 2377610 h 5704395"/>
                <a:gd name="connsiteX14388" fmla="*/ 1557603 w 5719680"/>
                <a:gd name="connsiteY14388" fmla="*/ 2402010 h 5704395"/>
                <a:gd name="connsiteX14389" fmla="*/ 1564591 w 5719680"/>
                <a:gd name="connsiteY14389" fmla="*/ 2445741 h 5704395"/>
                <a:gd name="connsiteX14390" fmla="*/ 1602387 w 5719680"/>
                <a:gd name="connsiteY14390" fmla="*/ 2440354 h 5704395"/>
                <a:gd name="connsiteX14391" fmla="*/ 1610328 w 5719680"/>
                <a:gd name="connsiteY14391" fmla="*/ 2489789 h 5704395"/>
                <a:gd name="connsiteX14392" fmla="*/ 1608104 w 5719680"/>
                <a:gd name="connsiteY14392" fmla="*/ 2490105 h 5704395"/>
                <a:gd name="connsiteX14393" fmla="*/ 1572531 w 5719680"/>
                <a:gd name="connsiteY14393" fmla="*/ 2494859 h 5704395"/>
                <a:gd name="connsiteX14394" fmla="*/ 1576342 w 5719680"/>
                <a:gd name="connsiteY14394" fmla="*/ 2517358 h 5704395"/>
                <a:gd name="connsiteX14395" fmla="*/ 1616998 w 5719680"/>
                <a:gd name="connsiteY14395" fmla="*/ 2509119 h 5704395"/>
                <a:gd name="connsiteX14396" fmla="*/ 1596988 w 5719680"/>
                <a:gd name="connsiteY14396" fmla="*/ 2377610 h 5704395"/>
                <a:gd name="connsiteX14397" fmla="*/ 1378784 w 5719680"/>
                <a:gd name="connsiteY14397" fmla="*/ 2377293 h 5704395"/>
                <a:gd name="connsiteX14398" fmla="*/ 1351786 w 5719680"/>
                <a:gd name="connsiteY14398" fmla="*/ 2393771 h 5704395"/>
                <a:gd name="connsiteX14399" fmla="*/ 1368302 w 5719680"/>
                <a:gd name="connsiteY14399" fmla="*/ 2473310 h 5704395"/>
                <a:gd name="connsiteX14400" fmla="*/ 1398794 w 5719680"/>
                <a:gd name="connsiteY14400" fmla="*/ 2469191 h 5704395"/>
                <a:gd name="connsiteX14401" fmla="*/ 560280 w 5719680"/>
                <a:gd name="connsiteY14401" fmla="*/ 2376026 h 5704395"/>
                <a:gd name="connsiteX14402" fmla="*/ 579655 w 5719680"/>
                <a:gd name="connsiteY14402" fmla="*/ 2398842 h 5704395"/>
                <a:gd name="connsiteX14403" fmla="*/ 575843 w 5719680"/>
                <a:gd name="connsiteY14403" fmla="*/ 2451445 h 5704395"/>
                <a:gd name="connsiteX14404" fmla="*/ 550434 w 5719680"/>
                <a:gd name="connsiteY14404" fmla="*/ 2449544 h 5704395"/>
                <a:gd name="connsiteX14405" fmla="*/ 552975 w 5719680"/>
                <a:gd name="connsiteY14405" fmla="*/ 2429580 h 5704395"/>
                <a:gd name="connsiteX14406" fmla="*/ 559645 w 5719680"/>
                <a:gd name="connsiteY14406" fmla="*/ 2416904 h 5704395"/>
                <a:gd name="connsiteX14407" fmla="*/ 550434 w 5719680"/>
                <a:gd name="connsiteY14407" fmla="*/ 2407081 h 5704395"/>
                <a:gd name="connsiteX14408" fmla="*/ 560280 w 5719680"/>
                <a:gd name="connsiteY14408" fmla="*/ 2376026 h 5704395"/>
                <a:gd name="connsiteX14409" fmla="*/ 1162485 w 5719680"/>
                <a:gd name="connsiteY14409" fmla="*/ 2375392 h 5704395"/>
                <a:gd name="connsiteX14410" fmla="*/ 1167885 w 5719680"/>
                <a:gd name="connsiteY14410" fmla="*/ 2400426 h 5704395"/>
                <a:gd name="connsiteX14411" fmla="*/ 1191388 w 5719680"/>
                <a:gd name="connsiteY14411" fmla="*/ 2396624 h 5704395"/>
                <a:gd name="connsiteX14412" fmla="*/ 1195835 w 5719680"/>
                <a:gd name="connsiteY14412" fmla="*/ 2423242 h 5704395"/>
                <a:gd name="connsiteX14413" fmla="*/ 1139934 w 5719680"/>
                <a:gd name="connsiteY14413" fmla="*/ 2431798 h 5704395"/>
                <a:gd name="connsiteX14414" fmla="*/ 1134852 w 5719680"/>
                <a:gd name="connsiteY14414" fmla="*/ 2406447 h 5704395"/>
                <a:gd name="connsiteX14415" fmla="*/ 1140887 w 5719680"/>
                <a:gd name="connsiteY14415" fmla="*/ 2404862 h 5704395"/>
                <a:gd name="connsiteX14416" fmla="*/ 1136440 w 5719680"/>
                <a:gd name="connsiteY14416" fmla="*/ 2380462 h 5704395"/>
                <a:gd name="connsiteX14417" fmla="*/ 1162485 w 5719680"/>
                <a:gd name="connsiteY14417" fmla="*/ 2375392 h 5704395"/>
                <a:gd name="connsiteX14418" fmla="*/ 862018 w 5719680"/>
                <a:gd name="connsiteY14418" fmla="*/ 2375075 h 5704395"/>
                <a:gd name="connsiteX14419" fmla="*/ 797541 w 5719680"/>
                <a:gd name="connsiteY14419" fmla="*/ 2520527 h 5704395"/>
                <a:gd name="connsiteX14420" fmla="*/ 798176 w 5719680"/>
                <a:gd name="connsiteY14420" fmla="*/ 2520527 h 5704395"/>
                <a:gd name="connsiteX14421" fmla="*/ 797859 w 5719680"/>
                <a:gd name="connsiteY14421" fmla="*/ 2520843 h 5704395"/>
                <a:gd name="connsiteX14422" fmla="*/ 846137 w 5719680"/>
                <a:gd name="connsiteY14422" fmla="*/ 2533519 h 5704395"/>
                <a:gd name="connsiteX14423" fmla="*/ 940787 w 5719680"/>
                <a:gd name="connsiteY14423" fmla="*/ 2463170 h 5704395"/>
                <a:gd name="connsiteX14424" fmla="*/ 913472 w 5719680"/>
                <a:gd name="connsiteY14424" fmla="*/ 2382046 h 5704395"/>
                <a:gd name="connsiteX14425" fmla="*/ 904896 w 5719680"/>
                <a:gd name="connsiteY14425" fmla="*/ 2382364 h 5704395"/>
                <a:gd name="connsiteX14426" fmla="*/ 891556 w 5719680"/>
                <a:gd name="connsiteY14426" fmla="*/ 2381730 h 5704395"/>
                <a:gd name="connsiteX14427" fmla="*/ 862018 w 5719680"/>
                <a:gd name="connsiteY14427" fmla="*/ 2375075 h 5704395"/>
                <a:gd name="connsiteX14428" fmla="*/ 2480921 w 5719680"/>
                <a:gd name="connsiteY14428" fmla="*/ 2373174 h 5704395"/>
                <a:gd name="connsiteX14429" fmla="*/ 2469486 w 5719680"/>
                <a:gd name="connsiteY14429" fmla="*/ 2383631 h 5704395"/>
                <a:gd name="connsiteX14430" fmla="*/ 2496484 w 5719680"/>
                <a:gd name="connsiteY14430" fmla="*/ 2412785 h 5704395"/>
                <a:gd name="connsiteX14431" fmla="*/ 2507918 w 5719680"/>
                <a:gd name="connsiteY14431" fmla="*/ 2402327 h 5704395"/>
                <a:gd name="connsiteX14432" fmla="*/ 2480921 w 5719680"/>
                <a:gd name="connsiteY14432" fmla="*/ 2373174 h 5704395"/>
                <a:gd name="connsiteX14433" fmla="*/ 2481238 w 5719680"/>
                <a:gd name="connsiteY14433" fmla="*/ 2367153 h 5704395"/>
                <a:gd name="connsiteX14434" fmla="*/ 2482509 w 5719680"/>
                <a:gd name="connsiteY14434" fmla="*/ 2368737 h 5704395"/>
                <a:gd name="connsiteX14435" fmla="*/ 2513953 w 5719680"/>
                <a:gd name="connsiteY14435" fmla="*/ 2402327 h 5704395"/>
                <a:gd name="connsiteX14436" fmla="*/ 2496166 w 5719680"/>
                <a:gd name="connsiteY14436" fmla="*/ 2418805 h 5704395"/>
                <a:gd name="connsiteX14437" fmla="*/ 2463452 w 5719680"/>
                <a:gd name="connsiteY14437" fmla="*/ 2383631 h 5704395"/>
                <a:gd name="connsiteX14438" fmla="*/ 2481238 w 5719680"/>
                <a:gd name="connsiteY14438" fmla="*/ 2367153 h 5704395"/>
                <a:gd name="connsiteX14439" fmla="*/ 1906348 w 5719680"/>
                <a:gd name="connsiteY14439" fmla="*/ 2363984 h 5704395"/>
                <a:gd name="connsiteX14440" fmla="*/ 1893644 w 5719680"/>
                <a:gd name="connsiteY14440" fmla="*/ 2376659 h 5704395"/>
                <a:gd name="connsiteX14441" fmla="*/ 1879033 w 5719680"/>
                <a:gd name="connsiteY14441" fmla="*/ 2445741 h 5704395"/>
                <a:gd name="connsiteX14442" fmla="*/ 1883798 w 5719680"/>
                <a:gd name="connsiteY14442" fmla="*/ 2463804 h 5704395"/>
                <a:gd name="connsiteX14443" fmla="*/ 1960661 w 5719680"/>
                <a:gd name="connsiteY14443" fmla="*/ 2470142 h 5704395"/>
                <a:gd name="connsiteX14444" fmla="*/ 1965743 w 5719680"/>
                <a:gd name="connsiteY14444" fmla="*/ 2415637 h 5704395"/>
                <a:gd name="connsiteX14445" fmla="*/ 1967649 w 5719680"/>
                <a:gd name="connsiteY14445" fmla="*/ 2413735 h 5704395"/>
                <a:gd name="connsiteX14446" fmla="*/ 1967966 w 5719680"/>
                <a:gd name="connsiteY14446" fmla="*/ 2412785 h 5704395"/>
                <a:gd name="connsiteX14447" fmla="*/ 1966378 w 5719680"/>
                <a:gd name="connsiteY14447" fmla="*/ 2414052 h 5704395"/>
                <a:gd name="connsiteX14448" fmla="*/ 1966061 w 5719680"/>
                <a:gd name="connsiteY14448" fmla="*/ 2414052 h 5704395"/>
                <a:gd name="connsiteX14449" fmla="*/ 1934934 w 5719680"/>
                <a:gd name="connsiteY14449" fmla="*/ 2387750 h 5704395"/>
                <a:gd name="connsiteX14450" fmla="*/ 1906348 w 5719680"/>
                <a:gd name="connsiteY14450" fmla="*/ 2363984 h 5704395"/>
                <a:gd name="connsiteX14451" fmla="*/ 340170 w 5719680"/>
                <a:gd name="connsiteY14451" fmla="*/ 2362399 h 5704395"/>
                <a:gd name="connsiteX14452" fmla="*/ 335088 w 5719680"/>
                <a:gd name="connsiteY14452" fmla="*/ 2378244 h 5704395"/>
                <a:gd name="connsiteX14453" fmla="*/ 373520 w 5719680"/>
                <a:gd name="connsiteY14453" fmla="*/ 2412468 h 5704395"/>
                <a:gd name="connsiteX14454" fmla="*/ 379555 w 5719680"/>
                <a:gd name="connsiteY14454" fmla="*/ 2396624 h 5704395"/>
                <a:gd name="connsiteX14455" fmla="*/ 340170 w 5719680"/>
                <a:gd name="connsiteY14455" fmla="*/ 2362399 h 5704395"/>
                <a:gd name="connsiteX14456" fmla="*/ 537729 w 5719680"/>
                <a:gd name="connsiteY14456" fmla="*/ 2362083 h 5704395"/>
                <a:gd name="connsiteX14457" fmla="*/ 496756 w 5719680"/>
                <a:gd name="connsiteY14457" fmla="*/ 2422925 h 5704395"/>
                <a:gd name="connsiteX14458" fmla="*/ 512319 w 5719680"/>
                <a:gd name="connsiteY14458" fmla="*/ 2443523 h 5704395"/>
                <a:gd name="connsiteX14459" fmla="*/ 536458 w 5719680"/>
                <a:gd name="connsiteY14459" fmla="*/ 2444790 h 5704395"/>
                <a:gd name="connsiteX14460" fmla="*/ 538682 w 5719680"/>
                <a:gd name="connsiteY14460" fmla="*/ 2431164 h 5704395"/>
                <a:gd name="connsiteX14461" fmla="*/ 528836 w 5719680"/>
                <a:gd name="connsiteY14461" fmla="*/ 2421657 h 5704395"/>
                <a:gd name="connsiteX14462" fmla="*/ 526612 w 5719680"/>
                <a:gd name="connsiteY14462" fmla="*/ 2419756 h 5704395"/>
                <a:gd name="connsiteX14463" fmla="*/ 527565 w 5719680"/>
                <a:gd name="connsiteY14463" fmla="*/ 2417221 h 5704395"/>
                <a:gd name="connsiteX14464" fmla="*/ 544399 w 5719680"/>
                <a:gd name="connsiteY14464" fmla="*/ 2369371 h 5704395"/>
                <a:gd name="connsiteX14465" fmla="*/ 537729 w 5719680"/>
                <a:gd name="connsiteY14465" fmla="*/ 2362083 h 5704395"/>
                <a:gd name="connsiteX14466" fmla="*/ 1851400 w 5719680"/>
                <a:gd name="connsiteY14466" fmla="*/ 2355111 h 5704395"/>
                <a:gd name="connsiteX14467" fmla="*/ 1839966 w 5719680"/>
                <a:gd name="connsiteY14467" fmla="*/ 2422608 h 5704395"/>
                <a:gd name="connsiteX14468" fmla="*/ 1844413 w 5719680"/>
                <a:gd name="connsiteY14468" fmla="*/ 2460318 h 5704395"/>
                <a:gd name="connsiteX14469" fmla="*/ 1879033 w 5719680"/>
                <a:gd name="connsiteY14469" fmla="*/ 2463170 h 5704395"/>
                <a:gd name="connsiteX14470" fmla="*/ 1874904 w 5719680"/>
                <a:gd name="connsiteY14470" fmla="*/ 2446375 h 5704395"/>
                <a:gd name="connsiteX14471" fmla="*/ 1874587 w 5719680"/>
                <a:gd name="connsiteY14471" fmla="*/ 2446058 h 5704395"/>
                <a:gd name="connsiteX14472" fmla="*/ 1889197 w 5719680"/>
                <a:gd name="connsiteY14472" fmla="*/ 2376659 h 5704395"/>
                <a:gd name="connsiteX14473" fmla="*/ 1851400 w 5719680"/>
                <a:gd name="connsiteY14473" fmla="*/ 2355111 h 5704395"/>
                <a:gd name="connsiteX14474" fmla="*/ 537094 w 5719680"/>
                <a:gd name="connsiteY14474" fmla="*/ 2354794 h 5704395"/>
                <a:gd name="connsiteX14475" fmla="*/ 549481 w 5719680"/>
                <a:gd name="connsiteY14475" fmla="*/ 2368104 h 5704395"/>
                <a:gd name="connsiteX14476" fmla="*/ 532012 w 5719680"/>
                <a:gd name="connsiteY14476" fmla="*/ 2418489 h 5704395"/>
                <a:gd name="connsiteX14477" fmla="*/ 543128 w 5719680"/>
                <a:gd name="connsiteY14477" fmla="*/ 2429580 h 5704395"/>
                <a:gd name="connsiteX14478" fmla="*/ 540270 w 5719680"/>
                <a:gd name="connsiteY14478" fmla="*/ 2449544 h 5704395"/>
                <a:gd name="connsiteX14479" fmla="*/ 510096 w 5719680"/>
                <a:gd name="connsiteY14479" fmla="*/ 2447642 h 5704395"/>
                <a:gd name="connsiteX14480" fmla="*/ 491039 w 5719680"/>
                <a:gd name="connsiteY14480" fmla="*/ 2423242 h 5704395"/>
                <a:gd name="connsiteX14481" fmla="*/ 537094 w 5719680"/>
                <a:gd name="connsiteY14481" fmla="*/ 2354794 h 5704395"/>
                <a:gd name="connsiteX14482" fmla="*/ 337947 w 5719680"/>
                <a:gd name="connsiteY14482" fmla="*/ 2354477 h 5704395"/>
                <a:gd name="connsiteX14483" fmla="*/ 343029 w 5719680"/>
                <a:gd name="connsiteY14483" fmla="*/ 2358914 h 5704395"/>
                <a:gd name="connsiteX14484" fmla="*/ 382413 w 5719680"/>
                <a:gd name="connsiteY14484" fmla="*/ 2393454 h 5704395"/>
                <a:gd name="connsiteX14485" fmla="*/ 384954 w 5719680"/>
                <a:gd name="connsiteY14485" fmla="*/ 2395356 h 5704395"/>
                <a:gd name="connsiteX14486" fmla="*/ 383684 w 5719680"/>
                <a:gd name="connsiteY14486" fmla="*/ 2398525 h 5704395"/>
                <a:gd name="connsiteX14487" fmla="*/ 377649 w 5719680"/>
                <a:gd name="connsiteY14487" fmla="*/ 2414052 h 5704395"/>
                <a:gd name="connsiteX14488" fmla="*/ 375426 w 5719680"/>
                <a:gd name="connsiteY14488" fmla="*/ 2419756 h 5704395"/>
                <a:gd name="connsiteX14489" fmla="*/ 370661 w 5719680"/>
                <a:gd name="connsiteY14489" fmla="*/ 2415637 h 5704395"/>
                <a:gd name="connsiteX14490" fmla="*/ 332230 w 5719680"/>
                <a:gd name="connsiteY14490" fmla="*/ 2381413 h 5704395"/>
                <a:gd name="connsiteX14491" fmla="*/ 330006 w 5719680"/>
                <a:gd name="connsiteY14491" fmla="*/ 2379511 h 5704395"/>
                <a:gd name="connsiteX14492" fmla="*/ 330959 w 5719680"/>
                <a:gd name="connsiteY14492" fmla="*/ 2376659 h 5704395"/>
                <a:gd name="connsiteX14493" fmla="*/ 336041 w 5719680"/>
                <a:gd name="connsiteY14493" fmla="*/ 2361132 h 5704395"/>
                <a:gd name="connsiteX14494" fmla="*/ 337947 w 5719680"/>
                <a:gd name="connsiteY14494" fmla="*/ 2354477 h 5704395"/>
                <a:gd name="connsiteX14495" fmla="*/ 774037 w 5719680"/>
                <a:gd name="connsiteY14495" fmla="*/ 2350358 h 5704395"/>
                <a:gd name="connsiteX14496" fmla="*/ 753710 w 5719680"/>
                <a:gd name="connsiteY14496" fmla="*/ 2411200 h 5704395"/>
                <a:gd name="connsiteX14497" fmla="*/ 762603 w 5719680"/>
                <a:gd name="connsiteY14497" fmla="*/ 2420707 h 5704395"/>
                <a:gd name="connsiteX14498" fmla="*/ 740687 w 5719680"/>
                <a:gd name="connsiteY14498" fmla="*/ 2459050 h 5704395"/>
                <a:gd name="connsiteX14499" fmla="*/ 729888 w 5719680"/>
                <a:gd name="connsiteY14499" fmla="*/ 2460001 h 5704395"/>
                <a:gd name="connsiteX14500" fmla="*/ 721948 w 5719680"/>
                <a:gd name="connsiteY14500" fmla="*/ 2490422 h 5704395"/>
                <a:gd name="connsiteX14501" fmla="*/ 636508 w 5719680"/>
                <a:gd name="connsiteY14501" fmla="*/ 2518625 h 5704395"/>
                <a:gd name="connsiteX14502" fmla="*/ 627615 w 5719680"/>
                <a:gd name="connsiteY14502" fmla="*/ 2537322 h 5704395"/>
                <a:gd name="connsiteX14503" fmla="*/ 666047 w 5719680"/>
                <a:gd name="connsiteY14503" fmla="*/ 2552532 h 5704395"/>
                <a:gd name="connsiteX14504" fmla="*/ 683516 w 5719680"/>
                <a:gd name="connsiteY14504" fmla="*/ 2524329 h 5704395"/>
                <a:gd name="connsiteX14505" fmla="*/ 694315 w 5719680"/>
                <a:gd name="connsiteY14505" fmla="*/ 2529399 h 5704395"/>
                <a:gd name="connsiteX14506" fmla="*/ 744816 w 5719680"/>
                <a:gd name="connsiteY14506" fmla="*/ 2505633 h 5704395"/>
                <a:gd name="connsiteX14507" fmla="*/ 752439 w 5719680"/>
                <a:gd name="connsiteY14507" fmla="*/ 2467289 h 5704395"/>
                <a:gd name="connsiteX14508" fmla="*/ 768003 w 5719680"/>
                <a:gd name="connsiteY14508" fmla="*/ 2466339 h 5704395"/>
                <a:gd name="connsiteX14509" fmla="*/ 819139 w 5719680"/>
                <a:gd name="connsiteY14509" fmla="*/ 2379194 h 5704395"/>
                <a:gd name="connsiteX14510" fmla="*/ 774037 w 5719680"/>
                <a:gd name="connsiteY14510" fmla="*/ 2350358 h 5704395"/>
                <a:gd name="connsiteX14511" fmla="*/ 1279686 w 5719680"/>
                <a:gd name="connsiteY14511" fmla="*/ 2350041 h 5704395"/>
                <a:gd name="connsiteX14512" fmla="*/ 1268252 w 5719680"/>
                <a:gd name="connsiteY14512" fmla="*/ 2359864 h 5704395"/>
                <a:gd name="connsiteX14513" fmla="*/ 1265394 w 5719680"/>
                <a:gd name="connsiteY14513" fmla="*/ 2362399 h 5704395"/>
                <a:gd name="connsiteX14514" fmla="*/ 1262535 w 5719680"/>
                <a:gd name="connsiteY14514" fmla="*/ 2359864 h 5704395"/>
                <a:gd name="connsiteX14515" fmla="*/ 1259676 w 5719680"/>
                <a:gd name="connsiteY14515" fmla="*/ 2357329 h 5704395"/>
                <a:gd name="connsiteX14516" fmla="*/ 1250148 w 5719680"/>
                <a:gd name="connsiteY14516" fmla="*/ 2366202 h 5704395"/>
                <a:gd name="connsiteX14517" fmla="*/ 1253642 w 5719680"/>
                <a:gd name="connsiteY14517" fmla="*/ 2370955 h 5704395"/>
                <a:gd name="connsiteX14518" fmla="*/ 1256183 w 5719680"/>
                <a:gd name="connsiteY14518" fmla="*/ 2373807 h 5704395"/>
                <a:gd name="connsiteX14519" fmla="*/ 1253324 w 5719680"/>
                <a:gd name="connsiteY14519" fmla="*/ 2376659 h 5704395"/>
                <a:gd name="connsiteX14520" fmla="*/ 1242525 w 5719680"/>
                <a:gd name="connsiteY14520" fmla="*/ 2387750 h 5704395"/>
                <a:gd name="connsiteX14521" fmla="*/ 1255865 w 5719680"/>
                <a:gd name="connsiteY14521" fmla="*/ 2401694 h 5704395"/>
                <a:gd name="connsiteX14522" fmla="*/ 1264758 w 5719680"/>
                <a:gd name="connsiteY14522" fmla="*/ 2392504 h 5704395"/>
                <a:gd name="connsiteX14523" fmla="*/ 1261582 w 5719680"/>
                <a:gd name="connsiteY14523" fmla="*/ 2388701 h 5704395"/>
                <a:gd name="connsiteX14524" fmla="*/ 1259359 w 5719680"/>
                <a:gd name="connsiteY14524" fmla="*/ 2385849 h 5704395"/>
                <a:gd name="connsiteX14525" fmla="*/ 1261900 w 5719680"/>
                <a:gd name="connsiteY14525" fmla="*/ 2382997 h 5704395"/>
                <a:gd name="connsiteX14526" fmla="*/ 1273652 w 5719680"/>
                <a:gd name="connsiteY14526" fmla="*/ 2369688 h 5704395"/>
                <a:gd name="connsiteX14527" fmla="*/ 1276510 w 5719680"/>
                <a:gd name="connsiteY14527" fmla="*/ 2366519 h 5704395"/>
                <a:gd name="connsiteX14528" fmla="*/ 1280004 w 5719680"/>
                <a:gd name="connsiteY14528" fmla="*/ 2369054 h 5704395"/>
                <a:gd name="connsiteX14529" fmla="*/ 1284768 w 5719680"/>
                <a:gd name="connsiteY14529" fmla="*/ 2373174 h 5704395"/>
                <a:gd name="connsiteX14530" fmla="*/ 1293662 w 5719680"/>
                <a:gd name="connsiteY14530" fmla="*/ 2363984 h 5704395"/>
                <a:gd name="connsiteX14531" fmla="*/ 1279686 w 5719680"/>
                <a:gd name="connsiteY14531" fmla="*/ 2350041 h 5704395"/>
                <a:gd name="connsiteX14532" fmla="*/ 1641772 w 5719680"/>
                <a:gd name="connsiteY14532" fmla="*/ 2349724 h 5704395"/>
                <a:gd name="connsiteX14533" fmla="*/ 1598258 w 5719680"/>
                <a:gd name="connsiteY14533" fmla="*/ 2376659 h 5704395"/>
                <a:gd name="connsiteX14534" fmla="*/ 1601434 w 5719680"/>
                <a:gd name="connsiteY14534" fmla="*/ 2376343 h 5704395"/>
                <a:gd name="connsiteX14535" fmla="*/ 1621444 w 5719680"/>
                <a:gd name="connsiteY14535" fmla="*/ 2508168 h 5704395"/>
                <a:gd name="connsiteX14536" fmla="*/ 1622715 w 5719680"/>
                <a:gd name="connsiteY14536" fmla="*/ 2507851 h 5704395"/>
                <a:gd name="connsiteX14537" fmla="*/ 1625891 w 5719680"/>
                <a:gd name="connsiteY14537" fmla="*/ 2508168 h 5704395"/>
                <a:gd name="connsiteX14538" fmla="*/ 1660829 w 5719680"/>
                <a:gd name="connsiteY14538" fmla="*/ 2510703 h 5704395"/>
                <a:gd name="connsiteX14539" fmla="*/ 1642090 w 5719680"/>
                <a:gd name="connsiteY14539" fmla="*/ 2350041 h 5704395"/>
                <a:gd name="connsiteX14540" fmla="*/ 1641772 w 5719680"/>
                <a:gd name="connsiteY14540" fmla="*/ 2349724 h 5704395"/>
                <a:gd name="connsiteX14541" fmla="*/ 2536186 w 5719680"/>
                <a:gd name="connsiteY14541" fmla="*/ 2346872 h 5704395"/>
                <a:gd name="connsiteX14542" fmla="*/ 2524752 w 5719680"/>
                <a:gd name="connsiteY14542" fmla="*/ 2357646 h 5704395"/>
                <a:gd name="connsiteX14543" fmla="*/ 2551750 w 5719680"/>
                <a:gd name="connsiteY14543" fmla="*/ 2386800 h 5704395"/>
                <a:gd name="connsiteX14544" fmla="*/ 2563502 w 5719680"/>
                <a:gd name="connsiteY14544" fmla="*/ 2376026 h 5704395"/>
                <a:gd name="connsiteX14545" fmla="*/ 2536186 w 5719680"/>
                <a:gd name="connsiteY14545" fmla="*/ 2346872 h 5704395"/>
                <a:gd name="connsiteX14546" fmla="*/ 40973 w 5719680"/>
                <a:gd name="connsiteY14546" fmla="*/ 2346238 h 5704395"/>
                <a:gd name="connsiteX14547" fmla="*/ 24775 w 5719680"/>
                <a:gd name="connsiteY14547" fmla="*/ 2355745 h 5704395"/>
                <a:gd name="connsiteX14548" fmla="*/ 51137 w 5719680"/>
                <a:gd name="connsiteY14548" fmla="*/ 2400743 h 5704395"/>
                <a:gd name="connsiteX14549" fmla="*/ 67335 w 5719680"/>
                <a:gd name="connsiteY14549" fmla="*/ 2391236 h 5704395"/>
                <a:gd name="connsiteX14550" fmla="*/ 60030 w 5719680"/>
                <a:gd name="connsiteY14550" fmla="*/ 2378244 h 5704395"/>
                <a:gd name="connsiteX14551" fmla="*/ 75594 w 5719680"/>
                <a:gd name="connsiteY14551" fmla="*/ 2369054 h 5704395"/>
                <a:gd name="connsiteX14552" fmla="*/ 64477 w 5719680"/>
                <a:gd name="connsiteY14552" fmla="*/ 2349724 h 5704395"/>
                <a:gd name="connsiteX14553" fmla="*/ 48596 w 5719680"/>
                <a:gd name="connsiteY14553" fmla="*/ 2358914 h 5704395"/>
                <a:gd name="connsiteX14554" fmla="*/ 40973 w 5719680"/>
                <a:gd name="connsiteY14554" fmla="*/ 2346238 h 5704395"/>
                <a:gd name="connsiteX14555" fmla="*/ 2658152 w 5719680"/>
                <a:gd name="connsiteY14555" fmla="*/ 2345604 h 5704395"/>
                <a:gd name="connsiteX14556" fmla="*/ 2647670 w 5719680"/>
                <a:gd name="connsiteY14556" fmla="*/ 2376343 h 5704395"/>
                <a:gd name="connsiteX14557" fmla="*/ 2640366 w 5719680"/>
                <a:gd name="connsiteY14557" fmla="*/ 2396624 h 5704395"/>
                <a:gd name="connsiteX14558" fmla="*/ 2637507 w 5719680"/>
                <a:gd name="connsiteY14558" fmla="*/ 2403278 h 5704395"/>
                <a:gd name="connsiteX14559" fmla="*/ 2636554 w 5719680"/>
                <a:gd name="connsiteY14559" fmla="*/ 2405496 h 5704395"/>
                <a:gd name="connsiteX14560" fmla="*/ 2635919 w 5719680"/>
                <a:gd name="connsiteY14560" fmla="*/ 2406130 h 5704395"/>
                <a:gd name="connsiteX14561" fmla="*/ 2728028 w 5719680"/>
                <a:gd name="connsiteY14561" fmla="*/ 2484402 h 5704395"/>
                <a:gd name="connsiteX14562" fmla="*/ 2729299 w 5719680"/>
                <a:gd name="connsiteY14562" fmla="*/ 2483451 h 5704395"/>
                <a:gd name="connsiteX14563" fmla="*/ 2744227 w 5719680"/>
                <a:gd name="connsiteY14563" fmla="*/ 2472043 h 5704395"/>
                <a:gd name="connsiteX14564" fmla="*/ 2717229 w 5719680"/>
                <a:gd name="connsiteY14564" fmla="*/ 2430213 h 5704395"/>
                <a:gd name="connsiteX14565" fmla="*/ 2703572 w 5719680"/>
                <a:gd name="connsiteY14565" fmla="*/ 2376977 h 5704395"/>
                <a:gd name="connsiteX14566" fmla="*/ 2701666 w 5719680"/>
                <a:gd name="connsiteY14566" fmla="*/ 2376026 h 5704395"/>
                <a:gd name="connsiteX14567" fmla="*/ 2658152 w 5719680"/>
                <a:gd name="connsiteY14567" fmla="*/ 2345604 h 5704395"/>
                <a:gd name="connsiteX14568" fmla="*/ 1280004 w 5719680"/>
                <a:gd name="connsiteY14568" fmla="*/ 2343703 h 5704395"/>
                <a:gd name="connsiteX14569" fmla="*/ 1300014 w 5719680"/>
                <a:gd name="connsiteY14569" fmla="*/ 2364301 h 5704395"/>
                <a:gd name="connsiteX14570" fmla="*/ 1285086 w 5719680"/>
                <a:gd name="connsiteY14570" fmla="*/ 2378878 h 5704395"/>
                <a:gd name="connsiteX14571" fmla="*/ 1277146 w 5719680"/>
                <a:gd name="connsiteY14571" fmla="*/ 2372540 h 5704395"/>
                <a:gd name="connsiteX14572" fmla="*/ 1265076 w 5719680"/>
                <a:gd name="connsiteY14572" fmla="*/ 2385849 h 5704395"/>
                <a:gd name="connsiteX14573" fmla="*/ 1270793 w 5719680"/>
                <a:gd name="connsiteY14573" fmla="*/ 2392821 h 5704395"/>
                <a:gd name="connsiteX14574" fmla="*/ 1255547 w 5719680"/>
                <a:gd name="connsiteY14574" fmla="*/ 2408031 h 5704395"/>
                <a:gd name="connsiteX14575" fmla="*/ 1236490 w 5719680"/>
                <a:gd name="connsiteY14575" fmla="*/ 2387750 h 5704395"/>
                <a:gd name="connsiteX14576" fmla="*/ 1250148 w 5719680"/>
                <a:gd name="connsiteY14576" fmla="*/ 2373491 h 5704395"/>
                <a:gd name="connsiteX14577" fmla="*/ 1244113 w 5719680"/>
                <a:gd name="connsiteY14577" fmla="*/ 2365568 h 5704395"/>
                <a:gd name="connsiteX14578" fmla="*/ 1259676 w 5719680"/>
                <a:gd name="connsiteY14578" fmla="*/ 2351308 h 5704395"/>
                <a:gd name="connsiteX14579" fmla="*/ 1265394 w 5719680"/>
                <a:gd name="connsiteY14579" fmla="*/ 2356379 h 5704395"/>
                <a:gd name="connsiteX14580" fmla="*/ 1280004 w 5719680"/>
                <a:gd name="connsiteY14580" fmla="*/ 2343703 h 5704395"/>
                <a:gd name="connsiteX14581" fmla="*/ 1158674 w 5719680"/>
                <a:gd name="connsiteY14581" fmla="*/ 2343703 h 5704395"/>
                <a:gd name="connsiteX14582" fmla="*/ 1130088 w 5719680"/>
                <a:gd name="connsiteY14582" fmla="*/ 2357329 h 5704395"/>
                <a:gd name="connsiteX14583" fmla="*/ 1120242 w 5719680"/>
                <a:gd name="connsiteY14583" fmla="*/ 2396306 h 5704395"/>
                <a:gd name="connsiteX14584" fmla="*/ 1138664 w 5719680"/>
                <a:gd name="connsiteY14584" fmla="*/ 2445424 h 5704395"/>
                <a:gd name="connsiteX14585" fmla="*/ 1224421 w 5719680"/>
                <a:gd name="connsiteY14585" fmla="*/ 2427995 h 5704395"/>
                <a:gd name="connsiteX14586" fmla="*/ 1223150 w 5719680"/>
                <a:gd name="connsiteY14586" fmla="*/ 2420390 h 5704395"/>
                <a:gd name="connsiteX14587" fmla="*/ 1222197 w 5719680"/>
                <a:gd name="connsiteY14587" fmla="*/ 2416904 h 5704395"/>
                <a:gd name="connsiteX14588" fmla="*/ 1158674 w 5719680"/>
                <a:gd name="connsiteY14588" fmla="*/ 2343703 h 5704395"/>
                <a:gd name="connsiteX14589" fmla="*/ 1030038 w 5719680"/>
                <a:gd name="connsiteY14589" fmla="*/ 2343703 h 5704395"/>
                <a:gd name="connsiteX14590" fmla="*/ 987795 w 5719680"/>
                <a:gd name="connsiteY14590" fmla="*/ 2378878 h 5704395"/>
                <a:gd name="connsiteX14591" fmla="*/ 987795 w 5719680"/>
                <a:gd name="connsiteY14591" fmla="*/ 2379194 h 5704395"/>
                <a:gd name="connsiteX14592" fmla="*/ 956033 w 5719680"/>
                <a:gd name="connsiteY14592" fmla="*/ 2387117 h 5704395"/>
                <a:gd name="connsiteX14593" fmla="*/ 960480 w 5719680"/>
                <a:gd name="connsiteY14593" fmla="*/ 2415003 h 5704395"/>
                <a:gd name="connsiteX14594" fmla="*/ 1007170 w 5719680"/>
                <a:gd name="connsiteY14594" fmla="*/ 2409616 h 5704395"/>
                <a:gd name="connsiteX14595" fmla="*/ 1026227 w 5719680"/>
                <a:gd name="connsiteY14595" fmla="*/ 2392821 h 5704395"/>
                <a:gd name="connsiteX14596" fmla="*/ 1034485 w 5719680"/>
                <a:gd name="connsiteY14596" fmla="*/ 2379194 h 5704395"/>
                <a:gd name="connsiteX14597" fmla="*/ 1036708 w 5719680"/>
                <a:gd name="connsiteY14597" fmla="*/ 2374441 h 5704395"/>
                <a:gd name="connsiteX14598" fmla="*/ 1044966 w 5719680"/>
                <a:gd name="connsiteY14598" fmla="*/ 2395990 h 5704395"/>
                <a:gd name="connsiteX14599" fmla="*/ 1061800 w 5719680"/>
                <a:gd name="connsiteY14599" fmla="*/ 2384898 h 5704395"/>
                <a:gd name="connsiteX14600" fmla="*/ 1030038 w 5719680"/>
                <a:gd name="connsiteY14600" fmla="*/ 2343703 h 5704395"/>
                <a:gd name="connsiteX14601" fmla="*/ 771496 w 5719680"/>
                <a:gd name="connsiteY14601" fmla="*/ 2343070 h 5704395"/>
                <a:gd name="connsiteX14602" fmla="*/ 825492 w 5719680"/>
                <a:gd name="connsiteY14602" fmla="*/ 2377610 h 5704395"/>
                <a:gd name="connsiteX14603" fmla="*/ 824221 w 5719680"/>
                <a:gd name="connsiteY14603" fmla="*/ 2379511 h 5704395"/>
                <a:gd name="connsiteX14604" fmla="*/ 770861 w 5719680"/>
                <a:gd name="connsiteY14604" fmla="*/ 2470775 h 5704395"/>
                <a:gd name="connsiteX14605" fmla="*/ 756568 w 5719680"/>
                <a:gd name="connsiteY14605" fmla="*/ 2471726 h 5704395"/>
                <a:gd name="connsiteX14606" fmla="*/ 748945 w 5719680"/>
                <a:gd name="connsiteY14606" fmla="*/ 2508802 h 5704395"/>
                <a:gd name="connsiteX14607" fmla="*/ 694633 w 5719680"/>
                <a:gd name="connsiteY14607" fmla="*/ 2534470 h 5704395"/>
                <a:gd name="connsiteX14608" fmla="*/ 685422 w 5719680"/>
                <a:gd name="connsiteY14608" fmla="*/ 2530350 h 5704395"/>
                <a:gd name="connsiteX14609" fmla="*/ 667953 w 5719680"/>
                <a:gd name="connsiteY14609" fmla="*/ 2558236 h 5704395"/>
                <a:gd name="connsiteX14610" fmla="*/ 621263 w 5719680"/>
                <a:gd name="connsiteY14610" fmla="*/ 2539857 h 5704395"/>
                <a:gd name="connsiteX14611" fmla="*/ 633015 w 5719680"/>
                <a:gd name="connsiteY14611" fmla="*/ 2514823 h 5704395"/>
                <a:gd name="connsiteX14612" fmla="*/ 718136 w 5719680"/>
                <a:gd name="connsiteY14612" fmla="*/ 2486619 h 5704395"/>
                <a:gd name="connsiteX14613" fmla="*/ 726394 w 5719680"/>
                <a:gd name="connsiteY14613" fmla="*/ 2455564 h 5704395"/>
                <a:gd name="connsiteX14614" fmla="*/ 737829 w 5719680"/>
                <a:gd name="connsiteY14614" fmla="*/ 2454614 h 5704395"/>
                <a:gd name="connsiteX14615" fmla="*/ 756886 w 5719680"/>
                <a:gd name="connsiteY14615" fmla="*/ 2421657 h 5704395"/>
                <a:gd name="connsiteX14616" fmla="*/ 748310 w 5719680"/>
                <a:gd name="connsiteY14616" fmla="*/ 2412468 h 5704395"/>
                <a:gd name="connsiteX14617" fmla="*/ 771496 w 5719680"/>
                <a:gd name="connsiteY14617" fmla="*/ 2343070 h 5704395"/>
                <a:gd name="connsiteX14618" fmla="*/ 2536504 w 5719680"/>
                <a:gd name="connsiteY14618" fmla="*/ 2341168 h 5704395"/>
                <a:gd name="connsiteX14619" fmla="*/ 2537774 w 5719680"/>
                <a:gd name="connsiteY14619" fmla="*/ 2342752 h 5704395"/>
                <a:gd name="connsiteX14620" fmla="*/ 2569219 w 5719680"/>
                <a:gd name="connsiteY14620" fmla="*/ 2376343 h 5704395"/>
                <a:gd name="connsiteX14621" fmla="*/ 2551432 w 5719680"/>
                <a:gd name="connsiteY14621" fmla="*/ 2392821 h 5704395"/>
                <a:gd name="connsiteX14622" fmla="*/ 2518717 w 5719680"/>
                <a:gd name="connsiteY14622" fmla="*/ 2357329 h 5704395"/>
                <a:gd name="connsiteX14623" fmla="*/ 2536504 w 5719680"/>
                <a:gd name="connsiteY14623" fmla="*/ 2341168 h 5704395"/>
                <a:gd name="connsiteX14624" fmla="*/ 42561 w 5719680"/>
                <a:gd name="connsiteY14624" fmla="*/ 2340534 h 5704395"/>
                <a:gd name="connsiteX14625" fmla="*/ 50184 w 5719680"/>
                <a:gd name="connsiteY14625" fmla="*/ 2353210 h 5704395"/>
                <a:gd name="connsiteX14626" fmla="*/ 65747 w 5719680"/>
                <a:gd name="connsiteY14626" fmla="*/ 2344020 h 5704395"/>
                <a:gd name="connsiteX14627" fmla="*/ 81311 w 5719680"/>
                <a:gd name="connsiteY14627" fmla="*/ 2370639 h 5704395"/>
                <a:gd name="connsiteX14628" fmla="*/ 65747 w 5719680"/>
                <a:gd name="connsiteY14628" fmla="*/ 2379828 h 5704395"/>
                <a:gd name="connsiteX14629" fmla="*/ 73053 w 5719680"/>
                <a:gd name="connsiteY14629" fmla="*/ 2392821 h 5704395"/>
                <a:gd name="connsiteX14630" fmla="*/ 49549 w 5719680"/>
                <a:gd name="connsiteY14630" fmla="*/ 2406447 h 5704395"/>
                <a:gd name="connsiteX14631" fmla="*/ 19057 w 5719680"/>
                <a:gd name="connsiteY14631" fmla="*/ 2354160 h 5704395"/>
                <a:gd name="connsiteX14632" fmla="*/ 20645 w 5719680"/>
                <a:gd name="connsiteY14632" fmla="*/ 2353210 h 5704395"/>
                <a:gd name="connsiteX14633" fmla="*/ 42561 w 5719680"/>
                <a:gd name="connsiteY14633" fmla="*/ 2340534 h 5704395"/>
                <a:gd name="connsiteX14634" fmla="*/ 1030673 w 5719680"/>
                <a:gd name="connsiteY14634" fmla="*/ 2337048 h 5704395"/>
                <a:gd name="connsiteX14635" fmla="*/ 1068470 w 5719680"/>
                <a:gd name="connsiteY14635" fmla="*/ 2385849 h 5704395"/>
                <a:gd name="connsiteX14636" fmla="*/ 1066564 w 5719680"/>
                <a:gd name="connsiteY14636" fmla="*/ 2387434 h 5704395"/>
                <a:gd name="connsiteX14637" fmla="*/ 1042743 w 5719680"/>
                <a:gd name="connsiteY14637" fmla="*/ 2403278 h 5704395"/>
                <a:gd name="connsiteX14638" fmla="*/ 1036390 w 5719680"/>
                <a:gd name="connsiteY14638" fmla="*/ 2385849 h 5704395"/>
                <a:gd name="connsiteX14639" fmla="*/ 1008758 w 5719680"/>
                <a:gd name="connsiteY14639" fmla="*/ 2414052 h 5704395"/>
                <a:gd name="connsiteX14640" fmla="*/ 958574 w 5719680"/>
                <a:gd name="connsiteY14640" fmla="*/ 2419756 h 5704395"/>
                <a:gd name="connsiteX14641" fmla="*/ 956351 w 5719680"/>
                <a:gd name="connsiteY14641" fmla="*/ 2419756 h 5704395"/>
                <a:gd name="connsiteX14642" fmla="*/ 950633 w 5719680"/>
                <a:gd name="connsiteY14642" fmla="*/ 2382680 h 5704395"/>
                <a:gd name="connsiteX14643" fmla="*/ 952857 w 5719680"/>
                <a:gd name="connsiteY14643" fmla="*/ 2382680 h 5704395"/>
                <a:gd name="connsiteX14644" fmla="*/ 953174 w 5719680"/>
                <a:gd name="connsiteY14644" fmla="*/ 2382364 h 5704395"/>
                <a:gd name="connsiteX14645" fmla="*/ 985254 w 5719680"/>
                <a:gd name="connsiteY14645" fmla="*/ 2375075 h 5704395"/>
                <a:gd name="connsiteX14646" fmla="*/ 1030673 w 5719680"/>
                <a:gd name="connsiteY14646" fmla="*/ 2337048 h 5704395"/>
                <a:gd name="connsiteX14647" fmla="*/ 332865 w 5719680"/>
                <a:gd name="connsiteY14647" fmla="*/ 2336732 h 5704395"/>
                <a:gd name="connsiteX14648" fmla="*/ 315078 w 5719680"/>
                <a:gd name="connsiteY14648" fmla="*/ 2385215 h 5704395"/>
                <a:gd name="connsiteX14649" fmla="*/ 359862 w 5719680"/>
                <a:gd name="connsiteY14649" fmla="*/ 2424509 h 5704395"/>
                <a:gd name="connsiteX14650" fmla="*/ 360815 w 5719680"/>
                <a:gd name="connsiteY14650" fmla="*/ 2425143 h 5704395"/>
                <a:gd name="connsiteX14651" fmla="*/ 361133 w 5719680"/>
                <a:gd name="connsiteY14651" fmla="*/ 2426411 h 5704395"/>
                <a:gd name="connsiteX14652" fmla="*/ 382731 w 5719680"/>
                <a:gd name="connsiteY14652" fmla="*/ 2485352 h 5704395"/>
                <a:gd name="connsiteX14653" fmla="*/ 397977 w 5719680"/>
                <a:gd name="connsiteY14653" fmla="*/ 2474578 h 5704395"/>
                <a:gd name="connsiteX14654" fmla="*/ 416399 w 5719680"/>
                <a:gd name="connsiteY14654" fmla="*/ 2446692 h 5704395"/>
                <a:gd name="connsiteX14655" fmla="*/ 412587 w 5719680"/>
                <a:gd name="connsiteY14655" fmla="*/ 2424509 h 5704395"/>
                <a:gd name="connsiteX14656" fmla="*/ 412269 w 5719680"/>
                <a:gd name="connsiteY14656" fmla="*/ 2422608 h 5704395"/>
                <a:gd name="connsiteX14657" fmla="*/ 413222 w 5719680"/>
                <a:gd name="connsiteY14657" fmla="*/ 2421341 h 5704395"/>
                <a:gd name="connsiteX14658" fmla="*/ 423386 w 5719680"/>
                <a:gd name="connsiteY14658" fmla="*/ 2407081 h 5704395"/>
                <a:gd name="connsiteX14659" fmla="*/ 424657 w 5719680"/>
                <a:gd name="connsiteY14659" fmla="*/ 2405179 h 5704395"/>
                <a:gd name="connsiteX14660" fmla="*/ 427198 w 5719680"/>
                <a:gd name="connsiteY14660" fmla="*/ 2405179 h 5704395"/>
                <a:gd name="connsiteX14661" fmla="*/ 448478 w 5719680"/>
                <a:gd name="connsiteY14661" fmla="*/ 2405179 h 5704395"/>
                <a:gd name="connsiteX14662" fmla="*/ 472299 w 5719680"/>
                <a:gd name="connsiteY14662" fmla="*/ 2370955 h 5704395"/>
                <a:gd name="connsiteX14663" fmla="*/ 433868 w 5719680"/>
                <a:gd name="connsiteY14663" fmla="*/ 2345921 h 5704395"/>
                <a:gd name="connsiteX14664" fmla="*/ 398929 w 5719680"/>
                <a:gd name="connsiteY14664" fmla="*/ 2387117 h 5704395"/>
                <a:gd name="connsiteX14665" fmla="*/ 396071 w 5719680"/>
                <a:gd name="connsiteY14665" fmla="*/ 2390286 h 5704395"/>
                <a:gd name="connsiteX14666" fmla="*/ 392577 w 5719680"/>
                <a:gd name="connsiteY14666" fmla="*/ 2387434 h 5704395"/>
                <a:gd name="connsiteX14667" fmla="*/ 332865 w 5719680"/>
                <a:gd name="connsiteY14667" fmla="*/ 2336732 h 5704395"/>
                <a:gd name="connsiteX14668" fmla="*/ 538047 w 5719680"/>
                <a:gd name="connsiteY14668" fmla="*/ 2335464 h 5704395"/>
                <a:gd name="connsiteX14669" fmla="*/ 475793 w 5719680"/>
                <a:gd name="connsiteY14669" fmla="*/ 2423876 h 5704395"/>
                <a:gd name="connsiteX14670" fmla="*/ 488816 w 5719680"/>
                <a:gd name="connsiteY14670" fmla="*/ 2439086 h 5704395"/>
                <a:gd name="connsiteX14671" fmla="*/ 499615 w 5719680"/>
                <a:gd name="connsiteY14671" fmla="*/ 2452079 h 5704395"/>
                <a:gd name="connsiteX14672" fmla="*/ 503426 w 5719680"/>
                <a:gd name="connsiteY14672" fmla="*/ 2456515 h 5704395"/>
                <a:gd name="connsiteX14673" fmla="*/ 504061 w 5719680"/>
                <a:gd name="connsiteY14673" fmla="*/ 2457466 h 5704395"/>
                <a:gd name="connsiteX14674" fmla="*/ 583148 w 5719680"/>
                <a:gd name="connsiteY14674" fmla="*/ 2460635 h 5704395"/>
                <a:gd name="connsiteX14675" fmla="*/ 585372 w 5719680"/>
                <a:gd name="connsiteY14675" fmla="*/ 2444157 h 5704395"/>
                <a:gd name="connsiteX14676" fmla="*/ 590454 w 5719680"/>
                <a:gd name="connsiteY14676" fmla="*/ 2400109 h 5704395"/>
                <a:gd name="connsiteX14677" fmla="*/ 564409 w 5719680"/>
                <a:gd name="connsiteY14677" fmla="*/ 2368104 h 5704395"/>
                <a:gd name="connsiteX14678" fmla="*/ 545987 w 5719680"/>
                <a:gd name="connsiteY14678" fmla="*/ 2345287 h 5704395"/>
                <a:gd name="connsiteX14679" fmla="*/ 539952 w 5719680"/>
                <a:gd name="connsiteY14679" fmla="*/ 2337682 h 5704395"/>
                <a:gd name="connsiteX14680" fmla="*/ 538047 w 5719680"/>
                <a:gd name="connsiteY14680" fmla="*/ 2335464 h 5704395"/>
                <a:gd name="connsiteX14681" fmla="*/ 1778348 w 5719680"/>
                <a:gd name="connsiteY14681" fmla="*/ 2333563 h 5704395"/>
                <a:gd name="connsiteX14682" fmla="*/ 1779619 w 5719680"/>
                <a:gd name="connsiteY14682" fmla="*/ 2454931 h 5704395"/>
                <a:gd name="connsiteX14683" fmla="*/ 1839966 w 5719680"/>
                <a:gd name="connsiteY14683" fmla="*/ 2460001 h 5704395"/>
                <a:gd name="connsiteX14684" fmla="*/ 1835519 w 5719680"/>
                <a:gd name="connsiteY14684" fmla="*/ 2422608 h 5704395"/>
                <a:gd name="connsiteX14685" fmla="*/ 1847271 w 5719680"/>
                <a:gd name="connsiteY14685" fmla="*/ 2352576 h 5704395"/>
                <a:gd name="connsiteX14686" fmla="*/ 1823450 w 5719680"/>
                <a:gd name="connsiteY14686" fmla="*/ 2338950 h 5704395"/>
                <a:gd name="connsiteX14687" fmla="*/ 1823132 w 5719680"/>
                <a:gd name="connsiteY14687" fmla="*/ 2339584 h 5704395"/>
                <a:gd name="connsiteX14688" fmla="*/ 1802805 w 5719680"/>
                <a:gd name="connsiteY14688" fmla="*/ 2336098 h 5704395"/>
                <a:gd name="connsiteX14689" fmla="*/ 1803122 w 5719680"/>
                <a:gd name="connsiteY14689" fmla="*/ 2333880 h 5704395"/>
                <a:gd name="connsiteX14690" fmla="*/ 1670040 w 5719680"/>
                <a:gd name="connsiteY14690" fmla="*/ 2331978 h 5704395"/>
                <a:gd name="connsiteX14691" fmla="*/ 1645583 w 5719680"/>
                <a:gd name="connsiteY14691" fmla="*/ 2347189 h 5704395"/>
                <a:gd name="connsiteX14692" fmla="*/ 1646219 w 5719680"/>
                <a:gd name="connsiteY14692" fmla="*/ 2348773 h 5704395"/>
                <a:gd name="connsiteX14693" fmla="*/ 1665276 w 5719680"/>
                <a:gd name="connsiteY14693" fmla="*/ 2511020 h 5704395"/>
                <a:gd name="connsiteX14694" fmla="*/ 1710378 w 5719680"/>
                <a:gd name="connsiteY14694" fmla="*/ 2514189 h 5704395"/>
                <a:gd name="connsiteX14695" fmla="*/ 1710695 w 5719680"/>
                <a:gd name="connsiteY14695" fmla="*/ 2498978 h 5704395"/>
                <a:gd name="connsiteX14696" fmla="*/ 1679886 w 5719680"/>
                <a:gd name="connsiteY14696" fmla="*/ 2496443 h 5704395"/>
                <a:gd name="connsiteX14697" fmla="*/ 1683380 w 5719680"/>
                <a:gd name="connsiteY14697" fmla="*/ 2447009 h 5704395"/>
                <a:gd name="connsiteX14698" fmla="*/ 1711013 w 5719680"/>
                <a:gd name="connsiteY14698" fmla="*/ 2449227 h 5704395"/>
                <a:gd name="connsiteX14699" fmla="*/ 1712283 w 5719680"/>
                <a:gd name="connsiteY14699" fmla="*/ 2334830 h 5704395"/>
                <a:gd name="connsiteX14700" fmla="*/ 1716730 w 5719680"/>
                <a:gd name="connsiteY14700" fmla="*/ 2334830 h 5704395"/>
                <a:gd name="connsiteX14701" fmla="*/ 1715460 w 5719680"/>
                <a:gd name="connsiteY14701" fmla="*/ 2449544 h 5704395"/>
                <a:gd name="connsiteX14702" fmla="*/ 1775172 w 5719680"/>
                <a:gd name="connsiteY14702" fmla="*/ 2454614 h 5704395"/>
                <a:gd name="connsiteX14703" fmla="*/ 1773901 w 5719680"/>
                <a:gd name="connsiteY14703" fmla="*/ 2333563 h 5704395"/>
                <a:gd name="connsiteX14704" fmla="*/ 1670040 w 5719680"/>
                <a:gd name="connsiteY14704" fmla="*/ 2331978 h 5704395"/>
                <a:gd name="connsiteX14705" fmla="*/ 2544127 w 5719680"/>
                <a:gd name="connsiteY14705" fmla="*/ 2330394 h 5704395"/>
                <a:gd name="connsiteX14706" fmla="*/ 2521576 w 5719680"/>
                <a:gd name="connsiteY14706" fmla="*/ 2342435 h 5704395"/>
                <a:gd name="connsiteX14707" fmla="*/ 2388176 w 5719680"/>
                <a:gd name="connsiteY14707" fmla="*/ 2392821 h 5704395"/>
                <a:gd name="connsiteX14708" fmla="*/ 2418985 w 5719680"/>
                <a:gd name="connsiteY14708" fmla="*/ 2455248 h 5704395"/>
                <a:gd name="connsiteX14709" fmla="*/ 2515859 w 5719680"/>
                <a:gd name="connsiteY14709" fmla="*/ 2499295 h 5704395"/>
                <a:gd name="connsiteX14710" fmla="*/ 2565407 w 5719680"/>
                <a:gd name="connsiteY14710" fmla="*/ 2529082 h 5704395"/>
                <a:gd name="connsiteX14711" fmla="*/ 2578112 w 5719680"/>
                <a:gd name="connsiteY14711" fmla="*/ 2527815 h 5704395"/>
                <a:gd name="connsiteX14712" fmla="*/ 2437724 w 5719680"/>
                <a:gd name="connsiteY14712" fmla="*/ 2379194 h 5704395"/>
                <a:gd name="connsiteX14713" fmla="*/ 2440901 w 5719680"/>
                <a:gd name="connsiteY14713" fmla="*/ 2376026 h 5704395"/>
                <a:gd name="connsiteX14714" fmla="*/ 2509189 w 5719680"/>
                <a:gd name="connsiteY14714" fmla="*/ 2448276 h 5704395"/>
                <a:gd name="connsiteX14715" fmla="*/ 2564454 w 5719680"/>
                <a:gd name="connsiteY14715" fmla="*/ 2427678 h 5704395"/>
                <a:gd name="connsiteX14716" fmla="*/ 2494578 w 5719680"/>
                <a:gd name="connsiteY14716" fmla="*/ 2356695 h 5704395"/>
                <a:gd name="connsiteX14717" fmla="*/ 2497754 w 5719680"/>
                <a:gd name="connsiteY14717" fmla="*/ 2353527 h 5704395"/>
                <a:gd name="connsiteX14718" fmla="*/ 2568901 w 5719680"/>
                <a:gd name="connsiteY14718" fmla="*/ 2426094 h 5704395"/>
                <a:gd name="connsiteX14719" fmla="*/ 2569536 w 5719680"/>
                <a:gd name="connsiteY14719" fmla="*/ 2425777 h 5704395"/>
                <a:gd name="connsiteX14720" fmla="*/ 2612415 w 5719680"/>
                <a:gd name="connsiteY14720" fmla="*/ 2409933 h 5704395"/>
                <a:gd name="connsiteX14721" fmla="*/ 2627026 w 5719680"/>
                <a:gd name="connsiteY14721" fmla="*/ 2404862 h 5704395"/>
                <a:gd name="connsiteX14722" fmla="*/ 2627343 w 5719680"/>
                <a:gd name="connsiteY14722" fmla="*/ 2404546 h 5704395"/>
                <a:gd name="connsiteX14723" fmla="*/ 2542539 w 5719680"/>
                <a:gd name="connsiteY14723" fmla="*/ 2332612 h 5704395"/>
                <a:gd name="connsiteX14724" fmla="*/ 2544127 w 5719680"/>
                <a:gd name="connsiteY14724" fmla="*/ 2330394 h 5704395"/>
                <a:gd name="connsiteX14725" fmla="*/ 330959 w 5719680"/>
                <a:gd name="connsiteY14725" fmla="*/ 2329126 h 5704395"/>
                <a:gd name="connsiteX14726" fmla="*/ 395436 w 5719680"/>
                <a:gd name="connsiteY14726" fmla="*/ 2384265 h 5704395"/>
                <a:gd name="connsiteX14727" fmla="*/ 432915 w 5719680"/>
                <a:gd name="connsiteY14727" fmla="*/ 2340217 h 5704395"/>
                <a:gd name="connsiteX14728" fmla="*/ 478334 w 5719680"/>
                <a:gd name="connsiteY14728" fmla="*/ 2369688 h 5704395"/>
                <a:gd name="connsiteX14729" fmla="*/ 450701 w 5719680"/>
                <a:gd name="connsiteY14729" fmla="*/ 2409616 h 5704395"/>
                <a:gd name="connsiteX14730" fmla="*/ 427198 w 5719680"/>
                <a:gd name="connsiteY14730" fmla="*/ 2409616 h 5704395"/>
                <a:gd name="connsiteX14731" fmla="*/ 417034 w 5719680"/>
                <a:gd name="connsiteY14731" fmla="*/ 2423876 h 5704395"/>
                <a:gd name="connsiteX14732" fmla="*/ 421163 w 5719680"/>
                <a:gd name="connsiteY14732" fmla="*/ 2447642 h 5704395"/>
                <a:gd name="connsiteX14733" fmla="*/ 401153 w 5719680"/>
                <a:gd name="connsiteY14733" fmla="*/ 2477747 h 5704395"/>
                <a:gd name="connsiteX14734" fmla="*/ 380508 w 5719680"/>
                <a:gd name="connsiteY14734" fmla="*/ 2492323 h 5704395"/>
                <a:gd name="connsiteX14735" fmla="*/ 357004 w 5719680"/>
                <a:gd name="connsiteY14735" fmla="*/ 2427678 h 5704395"/>
                <a:gd name="connsiteX14736" fmla="*/ 309996 w 5719680"/>
                <a:gd name="connsiteY14736" fmla="*/ 2386483 h 5704395"/>
                <a:gd name="connsiteX14737" fmla="*/ 330959 w 5719680"/>
                <a:gd name="connsiteY14737" fmla="*/ 2329126 h 5704395"/>
                <a:gd name="connsiteX14738" fmla="*/ 2143610 w 5719680"/>
                <a:gd name="connsiteY14738" fmla="*/ 2326908 h 5704395"/>
                <a:gd name="connsiteX14739" fmla="*/ 2140433 w 5719680"/>
                <a:gd name="connsiteY14739" fmla="*/ 2343703 h 5704395"/>
                <a:gd name="connsiteX14740" fmla="*/ 2181406 w 5719680"/>
                <a:gd name="connsiteY14740" fmla="*/ 2350358 h 5704395"/>
                <a:gd name="connsiteX14741" fmla="*/ 2183947 w 5719680"/>
                <a:gd name="connsiteY14741" fmla="*/ 2335147 h 5704395"/>
                <a:gd name="connsiteX14742" fmla="*/ 2143610 w 5719680"/>
                <a:gd name="connsiteY14742" fmla="*/ 2326908 h 5704395"/>
                <a:gd name="connsiteX14743" fmla="*/ 1031626 w 5719680"/>
                <a:gd name="connsiteY14743" fmla="*/ 2326591 h 5704395"/>
                <a:gd name="connsiteX14744" fmla="*/ 1030673 w 5719680"/>
                <a:gd name="connsiteY14744" fmla="*/ 2327225 h 5704395"/>
                <a:gd name="connsiteX14745" fmla="*/ 917919 w 5719680"/>
                <a:gd name="connsiteY14745" fmla="*/ 2381730 h 5704395"/>
                <a:gd name="connsiteX14746" fmla="*/ 944599 w 5719680"/>
                <a:gd name="connsiteY14746" fmla="*/ 2460318 h 5704395"/>
                <a:gd name="connsiteX14747" fmla="*/ 946187 w 5719680"/>
                <a:gd name="connsiteY14747" fmla="*/ 2461902 h 5704395"/>
                <a:gd name="connsiteX14748" fmla="*/ 967150 w 5719680"/>
                <a:gd name="connsiteY14748" fmla="*/ 2482500 h 5704395"/>
                <a:gd name="connsiteX14749" fmla="*/ 1085939 w 5719680"/>
                <a:gd name="connsiteY14749" fmla="*/ 2390286 h 5704395"/>
                <a:gd name="connsiteX14750" fmla="*/ 1031626 w 5719680"/>
                <a:gd name="connsiteY14750" fmla="*/ 2326591 h 5704395"/>
                <a:gd name="connsiteX14751" fmla="*/ 330641 w 5719680"/>
                <a:gd name="connsiteY14751" fmla="*/ 2321521 h 5704395"/>
                <a:gd name="connsiteX14752" fmla="*/ 300468 w 5719680"/>
                <a:gd name="connsiteY14752" fmla="*/ 2398842 h 5704395"/>
                <a:gd name="connsiteX14753" fmla="*/ 346522 w 5719680"/>
                <a:gd name="connsiteY14753" fmla="*/ 2427678 h 5704395"/>
                <a:gd name="connsiteX14754" fmla="*/ 375426 w 5719680"/>
                <a:gd name="connsiteY14754" fmla="*/ 2510703 h 5704395"/>
                <a:gd name="connsiteX14755" fmla="*/ 409411 w 5719680"/>
                <a:gd name="connsiteY14755" fmla="*/ 2483451 h 5704395"/>
                <a:gd name="connsiteX14756" fmla="*/ 488498 w 5719680"/>
                <a:gd name="connsiteY14756" fmla="*/ 2370639 h 5704395"/>
                <a:gd name="connsiteX14757" fmla="*/ 458007 w 5719680"/>
                <a:gd name="connsiteY14757" fmla="*/ 2352259 h 5704395"/>
                <a:gd name="connsiteX14758" fmla="*/ 431962 w 5719680"/>
                <a:gd name="connsiteY14758" fmla="*/ 2335464 h 5704395"/>
                <a:gd name="connsiteX14759" fmla="*/ 395436 w 5719680"/>
                <a:gd name="connsiteY14759" fmla="*/ 2379194 h 5704395"/>
                <a:gd name="connsiteX14760" fmla="*/ 2582559 w 5719680"/>
                <a:gd name="connsiteY14760" fmla="*/ 2321204 h 5704395"/>
                <a:gd name="connsiteX14761" fmla="*/ 2573983 w 5719680"/>
                <a:gd name="connsiteY14761" fmla="*/ 2334197 h 5704395"/>
                <a:gd name="connsiteX14762" fmla="*/ 2607333 w 5719680"/>
                <a:gd name="connsiteY14762" fmla="*/ 2356062 h 5704395"/>
                <a:gd name="connsiteX14763" fmla="*/ 2615909 w 5719680"/>
                <a:gd name="connsiteY14763" fmla="*/ 2342752 h 5704395"/>
                <a:gd name="connsiteX14764" fmla="*/ 2582559 w 5719680"/>
                <a:gd name="connsiteY14764" fmla="*/ 2321204 h 5704395"/>
                <a:gd name="connsiteX14765" fmla="*/ 1108172 w 5719680"/>
                <a:gd name="connsiteY14765" fmla="*/ 2319937 h 5704395"/>
                <a:gd name="connsiteX14766" fmla="*/ 1062753 w 5719680"/>
                <a:gd name="connsiteY14766" fmla="*/ 2325957 h 5704395"/>
                <a:gd name="connsiteX14767" fmla="*/ 1088480 w 5719680"/>
                <a:gd name="connsiteY14767" fmla="*/ 2356062 h 5704395"/>
                <a:gd name="connsiteX14768" fmla="*/ 1109760 w 5719680"/>
                <a:gd name="connsiteY14768" fmla="*/ 2338950 h 5704395"/>
                <a:gd name="connsiteX14769" fmla="*/ 1108172 w 5719680"/>
                <a:gd name="connsiteY14769" fmla="*/ 2319937 h 5704395"/>
                <a:gd name="connsiteX14770" fmla="*/ 763238 w 5719680"/>
                <a:gd name="connsiteY14770" fmla="*/ 2319303 h 5704395"/>
                <a:gd name="connsiteX14771" fmla="*/ 755933 w 5719680"/>
                <a:gd name="connsiteY14771" fmla="*/ 2337682 h 5704395"/>
                <a:gd name="connsiteX14772" fmla="*/ 712102 w 5719680"/>
                <a:gd name="connsiteY14772" fmla="*/ 2456832 h 5704395"/>
                <a:gd name="connsiteX14773" fmla="*/ 711784 w 5719680"/>
                <a:gd name="connsiteY14773" fmla="*/ 2457466 h 5704395"/>
                <a:gd name="connsiteX14774" fmla="*/ 710831 w 5719680"/>
                <a:gd name="connsiteY14774" fmla="*/ 2457783 h 5704395"/>
                <a:gd name="connsiteX14775" fmla="*/ 660012 w 5719680"/>
                <a:gd name="connsiteY14775" fmla="*/ 2484718 h 5704395"/>
                <a:gd name="connsiteX14776" fmla="*/ 623804 w 5719680"/>
                <a:gd name="connsiteY14776" fmla="*/ 2503415 h 5704395"/>
                <a:gd name="connsiteX14777" fmla="*/ 611734 w 5719680"/>
                <a:gd name="connsiteY14777" fmla="*/ 2509436 h 5704395"/>
                <a:gd name="connsiteX14778" fmla="*/ 598712 w 5719680"/>
                <a:gd name="connsiteY14778" fmla="*/ 2553483 h 5704395"/>
                <a:gd name="connsiteX14779" fmla="*/ 673035 w 5719680"/>
                <a:gd name="connsiteY14779" fmla="*/ 2588341 h 5704395"/>
                <a:gd name="connsiteX14780" fmla="*/ 781025 w 5719680"/>
                <a:gd name="connsiteY14780" fmla="*/ 2516090 h 5704395"/>
                <a:gd name="connsiteX14781" fmla="*/ 846137 w 5719680"/>
                <a:gd name="connsiteY14781" fmla="*/ 2369688 h 5704395"/>
                <a:gd name="connsiteX14782" fmla="*/ 768320 w 5719680"/>
                <a:gd name="connsiteY14782" fmla="*/ 2322788 h 5704395"/>
                <a:gd name="connsiteX14783" fmla="*/ 763238 w 5719680"/>
                <a:gd name="connsiteY14783" fmla="*/ 2319303 h 5704395"/>
                <a:gd name="connsiteX14784" fmla="*/ 2581288 w 5719680"/>
                <a:gd name="connsiteY14784" fmla="*/ 2315500 h 5704395"/>
                <a:gd name="connsiteX14785" fmla="*/ 2583194 w 5719680"/>
                <a:gd name="connsiteY14785" fmla="*/ 2316451 h 5704395"/>
                <a:gd name="connsiteX14786" fmla="*/ 2621626 w 5719680"/>
                <a:gd name="connsiteY14786" fmla="*/ 2341802 h 5704395"/>
                <a:gd name="connsiteX14787" fmla="*/ 2608604 w 5719680"/>
                <a:gd name="connsiteY14787" fmla="*/ 2361766 h 5704395"/>
                <a:gd name="connsiteX14788" fmla="*/ 2568266 w 5719680"/>
                <a:gd name="connsiteY14788" fmla="*/ 2335464 h 5704395"/>
                <a:gd name="connsiteX14789" fmla="*/ 2581288 w 5719680"/>
                <a:gd name="connsiteY14789" fmla="*/ 2315500 h 5704395"/>
                <a:gd name="connsiteX14790" fmla="*/ 1112619 w 5719680"/>
                <a:gd name="connsiteY14790" fmla="*/ 2314866 h 5704395"/>
                <a:gd name="connsiteX14791" fmla="*/ 1112619 w 5719680"/>
                <a:gd name="connsiteY14791" fmla="*/ 2317084 h 5704395"/>
                <a:gd name="connsiteX14792" fmla="*/ 1114842 w 5719680"/>
                <a:gd name="connsiteY14792" fmla="*/ 2341168 h 5704395"/>
                <a:gd name="connsiteX14793" fmla="*/ 1087845 w 5719680"/>
                <a:gd name="connsiteY14793" fmla="*/ 2362717 h 5704395"/>
                <a:gd name="connsiteX14794" fmla="*/ 1053542 w 5719680"/>
                <a:gd name="connsiteY14794" fmla="*/ 2322472 h 5704395"/>
                <a:gd name="connsiteX14795" fmla="*/ 1112619 w 5719680"/>
                <a:gd name="connsiteY14795" fmla="*/ 2314866 h 5704395"/>
                <a:gd name="connsiteX14796" fmla="*/ 370661 w 5719680"/>
                <a:gd name="connsiteY14796" fmla="*/ 2309479 h 5704395"/>
                <a:gd name="connsiteX14797" fmla="*/ 358592 w 5719680"/>
                <a:gd name="connsiteY14797" fmla="*/ 2324056 h 5704395"/>
                <a:gd name="connsiteX14798" fmla="*/ 393848 w 5719680"/>
                <a:gd name="connsiteY14798" fmla="*/ 2355111 h 5704395"/>
                <a:gd name="connsiteX14799" fmla="*/ 406235 w 5719680"/>
                <a:gd name="connsiteY14799" fmla="*/ 2341168 h 5704395"/>
                <a:gd name="connsiteX14800" fmla="*/ 370661 w 5719680"/>
                <a:gd name="connsiteY14800" fmla="*/ 2309479 h 5704395"/>
                <a:gd name="connsiteX14801" fmla="*/ 1236808 w 5719680"/>
                <a:gd name="connsiteY14801" fmla="*/ 2303775 h 5704395"/>
                <a:gd name="connsiteX14802" fmla="*/ 1226962 w 5719680"/>
                <a:gd name="connsiteY14802" fmla="*/ 2312648 h 5704395"/>
                <a:gd name="connsiteX14803" fmla="*/ 1231408 w 5719680"/>
                <a:gd name="connsiteY14803" fmla="*/ 2317084 h 5704395"/>
                <a:gd name="connsiteX14804" fmla="*/ 1234585 w 5719680"/>
                <a:gd name="connsiteY14804" fmla="*/ 2319937 h 5704395"/>
                <a:gd name="connsiteX14805" fmla="*/ 1231726 w 5719680"/>
                <a:gd name="connsiteY14805" fmla="*/ 2323105 h 5704395"/>
                <a:gd name="connsiteX14806" fmla="*/ 1219339 w 5719680"/>
                <a:gd name="connsiteY14806" fmla="*/ 2336415 h 5704395"/>
                <a:gd name="connsiteX14807" fmla="*/ 1216480 w 5719680"/>
                <a:gd name="connsiteY14807" fmla="*/ 2339584 h 5704395"/>
                <a:gd name="connsiteX14808" fmla="*/ 1213304 w 5719680"/>
                <a:gd name="connsiteY14808" fmla="*/ 2336732 h 5704395"/>
                <a:gd name="connsiteX14809" fmla="*/ 1208540 w 5719680"/>
                <a:gd name="connsiteY14809" fmla="*/ 2332612 h 5704395"/>
                <a:gd name="connsiteX14810" fmla="*/ 1199329 w 5719680"/>
                <a:gd name="connsiteY14810" fmla="*/ 2341485 h 5704395"/>
                <a:gd name="connsiteX14811" fmla="*/ 1212987 w 5719680"/>
                <a:gd name="connsiteY14811" fmla="*/ 2355745 h 5704395"/>
                <a:gd name="connsiteX14812" fmla="*/ 1224738 w 5719680"/>
                <a:gd name="connsiteY14812" fmla="*/ 2346238 h 5704395"/>
                <a:gd name="connsiteX14813" fmla="*/ 1227597 w 5719680"/>
                <a:gd name="connsiteY14813" fmla="*/ 2343703 h 5704395"/>
                <a:gd name="connsiteX14814" fmla="*/ 1230456 w 5719680"/>
                <a:gd name="connsiteY14814" fmla="*/ 2346238 h 5704395"/>
                <a:gd name="connsiteX14815" fmla="*/ 1233314 w 5719680"/>
                <a:gd name="connsiteY14815" fmla="*/ 2348773 h 5704395"/>
                <a:gd name="connsiteX14816" fmla="*/ 1243160 w 5719680"/>
                <a:gd name="connsiteY14816" fmla="*/ 2340217 h 5704395"/>
                <a:gd name="connsiteX14817" fmla="*/ 1239667 w 5719680"/>
                <a:gd name="connsiteY14817" fmla="*/ 2335464 h 5704395"/>
                <a:gd name="connsiteX14818" fmla="*/ 1237126 w 5719680"/>
                <a:gd name="connsiteY14818" fmla="*/ 2332295 h 5704395"/>
                <a:gd name="connsiteX14819" fmla="*/ 1239984 w 5719680"/>
                <a:gd name="connsiteY14819" fmla="*/ 2329443 h 5704395"/>
                <a:gd name="connsiteX14820" fmla="*/ 1250783 w 5719680"/>
                <a:gd name="connsiteY14820" fmla="*/ 2318669 h 5704395"/>
                <a:gd name="connsiteX14821" fmla="*/ 1236808 w 5719680"/>
                <a:gd name="connsiteY14821" fmla="*/ 2303775 h 5704395"/>
                <a:gd name="connsiteX14822" fmla="*/ 708925 w 5719680"/>
                <a:gd name="connsiteY14822" fmla="*/ 2303775 h 5704395"/>
                <a:gd name="connsiteX14823" fmla="*/ 658424 w 5719680"/>
                <a:gd name="connsiteY14823" fmla="*/ 2362717 h 5704395"/>
                <a:gd name="connsiteX14824" fmla="*/ 667635 w 5719680"/>
                <a:gd name="connsiteY14824" fmla="*/ 2376026 h 5704395"/>
                <a:gd name="connsiteX14825" fmla="*/ 636508 w 5719680"/>
                <a:gd name="connsiteY14825" fmla="*/ 2403912 h 5704395"/>
                <a:gd name="connsiteX14826" fmla="*/ 624121 w 5719680"/>
                <a:gd name="connsiteY14826" fmla="*/ 2394405 h 5704395"/>
                <a:gd name="connsiteX14827" fmla="*/ 611416 w 5719680"/>
                <a:gd name="connsiteY14827" fmla="*/ 2403595 h 5704395"/>
                <a:gd name="connsiteX14828" fmla="*/ 605699 w 5719680"/>
                <a:gd name="connsiteY14828" fmla="*/ 2450811 h 5704395"/>
                <a:gd name="connsiteX14829" fmla="*/ 621580 w 5719680"/>
                <a:gd name="connsiteY14829" fmla="*/ 2457466 h 5704395"/>
                <a:gd name="connsiteX14830" fmla="*/ 666365 w 5719680"/>
                <a:gd name="connsiteY14830" fmla="*/ 2423242 h 5704395"/>
                <a:gd name="connsiteX14831" fmla="*/ 657789 w 5719680"/>
                <a:gd name="connsiteY14831" fmla="*/ 2408031 h 5704395"/>
                <a:gd name="connsiteX14832" fmla="*/ 679387 w 5719680"/>
                <a:gd name="connsiteY14832" fmla="*/ 2382997 h 5704395"/>
                <a:gd name="connsiteX14833" fmla="*/ 694633 w 5719680"/>
                <a:gd name="connsiteY14833" fmla="*/ 2389969 h 5704395"/>
                <a:gd name="connsiteX14834" fmla="*/ 737829 w 5719680"/>
                <a:gd name="connsiteY14834" fmla="*/ 2321838 h 5704395"/>
                <a:gd name="connsiteX14835" fmla="*/ 708925 w 5719680"/>
                <a:gd name="connsiteY14835" fmla="*/ 2303775 h 5704395"/>
                <a:gd name="connsiteX14836" fmla="*/ 204229 w 5719680"/>
                <a:gd name="connsiteY14836" fmla="*/ 2303458 h 5704395"/>
                <a:gd name="connsiteX14837" fmla="*/ 159127 w 5719680"/>
                <a:gd name="connsiteY14837" fmla="*/ 2344337 h 5704395"/>
                <a:gd name="connsiteX14838" fmla="*/ 173103 w 5719680"/>
                <a:gd name="connsiteY14838" fmla="*/ 2357646 h 5704395"/>
                <a:gd name="connsiteX14839" fmla="*/ 166750 w 5719680"/>
                <a:gd name="connsiteY14839" fmla="*/ 2367470 h 5704395"/>
                <a:gd name="connsiteX14840" fmla="*/ 168656 w 5719680"/>
                <a:gd name="connsiteY14840" fmla="*/ 2369688 h 5704395"/>
                <a:gd name="connsiteX14841" fmla="*/ 202959 w 5719680"/>
                <a:gd name="connsiteY14841" fmla="*/ 2344654 h 5704395"/>
                <a:gd name="connsiteX14842" fmla="*/ 213440 w 5719680"/>
                <a:gd name="connsiteY14842" fmla="*/ 2363350 h 5704395"/>
                <a:gd name="connsiteX14843" fmla="*/ 201371 w 5719680"/>
                <a:gd name="connsiteY14843" fmla="*/ 2375075 h 5704395"/>
                <a:gd name="connsiteX14844" fmla="*/ 215028 w 5719680"/>
                <a:gd name="connsiteY14844" fmla="*/ 2383314 h 5704395"/>
                <a:gd name="connsiteX14845" fmla="*/ 239485 w 5719680"/>
                <a:gd name="connsiteY14845" fmla="*/ 2362717 h 5704395"/>
                <a:gd name="connsiteX14846" fmla="*/ 253460 w 5719680"/>
                <a:gd name="connsiteY14846" fmla="*/ 2376026 h 5704395"/>
                <a:gd name="connsiteX14847" fmla="*/ 267118 w 5719680"/>
                <a:gd name="connsiteY14847" fmla="*/ 2361766 h 5704395"/>
                <a:gd name="connsiteX14848" fmla="*/ 370026 w 5719680"/>
                <a:gd name="connsiteY14848" fmla="*/ 2303141 h 5704395"/>
                <a:gd name="connsiteX14849" fmla="*/ 412269 w 5719680"/>
                <a:gd name="connsiteY14849" fmla="*/ 2340851 h 5704395"/>
                <a:gd name="connsiteX14850" fmla="*/ 394165 w 5719680"/>
                <a:gd name="connsiteY14850" fmla="*/ 2361132 h 5704395"/>
                <a:gd name="connsiteX14851" fmla="*/ 352557 w 5719680"/>
                <a:gd name="connsiteY14851" fmla="*/ 2324373 h 5704395"/>
                <a:gd name="connsiteX14852" fmla="*/ 370026 w 5719680"/>
                <a:gd name="connsiteY14852" fmla="*/ 2303141 h 5704395"/>
                <a:gd name="connsiteX14853" fmla="*/ 1122465 w 5719680"/>
                <a:gd name="connsiteY14853" fmla="*/ 2302825 h 5704395"/>
                <a:gd name="connsiteX14854" fmla="*/ 1086892 w 5719680"/>
                <a:gd name="connsiteY14854" fmla="*/ 2308845 h 5704395"/>
                <a:gd name="connsiteX14855" fmla="*/ 1035755 w 5719680"/>
                <a:gd name="connsiteY14855" fmla="*/ 2324373 h 5704395"/>
                <a:gd name="connsiteX14856" fmla="*/ 1089433 w 5719680"/>
                <a:gd name="connsiteY14856" fmla="*/ 2387117 h 5704395"/>
                <a:gd name="connsiteX14857" fmla="*/ 1089433 w 5719680"/>
                <a:gd name="connsiteY14857" fmla="*/ 2387434 h 5704395"/>
                <a:gd name="connsiteX14858" fmla="*/ 1089750 w 5719680"/>
                <a:gd name="connsiteY14858" fmla="*/ 2387434 h 5704395"/>
                <a:gd name="connsiteX14859" fmla="*/ 1115478 w 5719680"/>
                <a:gd name="connsiteY14859" fmla="*/ 2393454 h 5704395"/>
                <a:gd name="connsiteX14860" fmla="*/ 1125641 w 5719680"/>
                <a:gd name="connsiteY14860" fmla="*/ 2353844 h 5704395"/>
                <a:gd name="connsiteX14861" fmla="*/ 1154862 w 5719680"/>
                <a:gd name="connsiteY14861" fmla="*/ 2339584 h 5704395"/>
                <a:gd name="connsiteX14862" fmla="*/ 1155180 w 5719680"/>
                <a:gd name="connsiteY14862" fmla="*/ 2339267 h 5704395"/>
                <a:gd name="connsiteX14863" fmla="*/ 1133899 w 5719680"/>
                <a:gd name="connsiteY14863" fmla="*/ 2314550 h 5704395"/>
                <a:gd name="connsiteX14864" fmla="*/ 1122465 w 5719680"/>
                <a:gd name="connsiteY14864" fmla="*/ 2302825 h 5704395"/>
                <a:gd name="connsiteX14865" fmla="*/ 1237126 w 5719680"/>
                <a:gd name="connsiteY14865" fmla="*/ 2297754 h 5704395"/>
                <a:gd name="connsiteX14866" fmla="*/ 1257136 w 5719680"/>
                <a:gd name="connsiteY14866" fmla="*/ 2318669 h 5704395"/>
                <a:gd name="connsiteX14867" fmla="*/ 1243160 w 5719680"/>
                <a:gd name="connsiteY14867" fmla="*/ 2332612 h 5704395"/>
                <a:gd name="connsiteX14868" fmla="*/ 1249195 w 5719680"/>
                <a:gd name="connsiteY14868" fmla="*/ 2340851 h 5704395"/>
                <a:gd name="connsiteX14869" fmla="*/ 1233314 w 5719680"/>
                <a:gd name="connsiteY14869" fmla="*/ 2354794 h 5704395"/>
                <a:gd name="connsiteX14870" fmla="*/ 1227597 w 5719680"/>
                <a:gd name="connsiteY14870" fmla="*/ 2349407 h 5704395"/>
                <a:gd name="connsiteX14871" fmla="*/ 1212669 w 5719680"/>
                <a:gd name="connsiteY14871" fmla="*/ 2362083 h 5704395"/>
                <a:gd name="connsiteX14872" fmla="*/ 1192977 w 5719680"/>
                <a:gd name="connsiteY14872" fmla="*/ 2341168 h 5704395"/>
                <a:gd name="connsiteX14873" fmla="*/ 1208222 w 5719680"/>
                <a:gd name="connsiteY14873" fmla="*/ 2326591 h 5704395"/>
                <a:gd name="connsiteX14874" fmla="*/ 1216163 w 5719680"/>
                <a:gd name="connsiteY14874" fmla="*/ 2333246 h 5704395"/>
                <a:gd name="connsiteX14875" fmla="*/ 1228232 w 5719680"/>
                <a:gd name="connsiteY14875" fmla="*/ 2320253 h 5704395"/>
                <a:gd name="connsiteX14876" fmla="*/ 1220609 w 5719680"/>
                <a:gd name="connsiteY14876" fmla="*/ 2312331 h 5704395"/>
                <a:gd name="connsiteX14877" fmla="*/ 1237126 w 5719680"/>
                <a:gd name="connsiteY14877" fmla="*/ 2297754 h 5704395"/>
                <a:gd name="connsiteX14878" fmla="*/ 707973 w 5719680"/>
                <a:gd name="connsiteY14878" fmla="*/ 2297437 h 5704395"/>
                <a:gd name="connsiteX14879" fmla="*/ 744499 w 5719680"/>
                <a:gd name="connsiteY14879" fmla="*/ 2320570 h 5704395"/>
                <a:gd name="connsiteX14880" fmla="*/ 743228 w 5719680"/>
                <a:gd name="connsiteY14880" fmla="*/ 2322472 h 5704395"/>
                <a:gd name="connsiteX14881" fmla="*/ 696221 w 5719680"/>
                <a:gd name="connsiteY14881" fmla="*/ 2395990 h 5704395"/>
                <a:gd name="connsiteX14882" fmla="*/ 680657 w 5719680"/>
                <a:gd name="connsiteY14882" fmla="*/ 2388701 h 5704395"/>
                <a:gd name="connsiteX14883" fmla="*/ 663506 w 5719680"/>
                <a:gd name="connsiteY14883" fmla="*/ 2408665 h 5704395"/>
                <a:gd name="connsiteX14884" fmla="*/ 672399 w 5719680"/>
                <a:gd name="connsiteY14884" fmla="*/ 2424509 h 5704395"/>
                <a:gd name="connsiteX14885" fmla="*/ 622216 w 5719680"/>
                <a:gd name="connsiteY14885" fmla="*/ 2462853 h 5704395"/>
                <a:gd name="connsiteX14886" fmla="*/ 600617 w 5719680"/>
                <a:gd name="connsiteY14886" fmla="*/ 2453663 h 5704395"/>
                <a:gd name="connsiteX14887" fmla="*/ 606970 w 5719680"/>
                <a:gd name="connsiteY14887" fmla="*/ 2401060 h 5704395"/>
                <a:gd name="connsiteX14888" fmla="*/ 624121 w 5719680"/>
                <a:gd name="connsiteY14888" fmla="*/ 2388701 h 5704395"/>
                <a:gd name="connsiteX14889" fmla="*/ 636508 w 5719680"/>
                <a:gd name="connsiteY14889" fmla="*/ 2397891 h 5704395"/>
                <a:gd name="connsiteX14890" fmla="*/ 661600 w 5719680"/>
                <a:gd name="connsiteY14890" fmla="*/ 2375392 h 5704395"/>
                <a:gd name="connsiteX14891" fmla="*/ 652707 w 5719680"/>
                <a:gd name="connsiteY14891" fmla="*/ 2362399 h 5704395"/>
                <a:gd name="connsiteX14892" fmla="*/ 707973 w 5719680"/>
                <a:gd name="connsiteY14892" fmla="*/ 2297437 h 5704395"/>
                <a:gd name="connsiteX14893" fmla="*/ 204229 w 5719680"/>
                <a:gd name="connsiteY14893" fmla="*/ 2297121 h 5704395"/>
                <a:gd name="connsiteX14894" fmla="*/ 273788 w 5719680"/>
                <a:gd name="connsiteY14894" fmla="*/ 2361449 h 5704395"/>
                <a:gd name="connsiteX14895" fmla="*/ 272200 w 5719680"/>
                <a:gd name="connsiteY14895" fmla="*/ 2363350 h 5704395"/>
                <a:gd name="connsiteX14896" fmla="*/ 253460 w 5719680"/>
                <a:gd name="connsiteY14896" fmla="*/ 2382680 h 5704395"/>
                <a:gd name="connsiteX14897" fmla="*/ 239167 w 5719680"/>
                <a:gd name="connsiteY14897" fmla="*/ 2369054 h 5704395"/>
                <a:gd name="connsiteX14898" fmla="*/ 215663 w 5719680"/>
                <a:gd name="connsiteY14898" fmla="*/ 2389018 h 5704395"/>
                <a:gd name="connsiteX14899" fmla="*/ 193748 w 5719680"/>
                <a:gd name="connsiteY14899" fmla="*/ 2376026 h 5704395"/>
                <a:gd name="connsiteX14900" fmla="*/ 207723 w 5719680"/>
                <a:gd name="connsiteY14900" fmla="*/ 2362717 h 5704395"/>
                <a:gd name="connsiteX14901" fmla="*/ 201371 w 5719680"/>
                <a:gd name="connsiteY14901" fmla="*/ 2351308 h 5704395"/>
                <a:gd name="connsiteX14902" fmla="*/ 167703 w 5719680"/>
                <a:gd name="connsiteY14902" fmla="*/ 2376026 h 5704395"/>
                <a:gd name="connsiteX14903" fmla="*/ 161033 w 5719680"/>
                <a:gd name="connsiteY14903" fmla="*/ 2367787 h 5704395"/>
                <a:gd name="connsiteX14904" fmla="*/ 167068 w 5719680"/>
                <a:gd name="connsiteY14904" fmla="*/ 2358597 h 5704395"/>
                <a:gd name="connsiteX14905" fmla="*/ 152140 w 5719680"/>
                <a:gd name="connsiteY14905" fmla="*/ 2344337 h 5704395"/>
                <a:gd name="connsiteX14906" fmla="*/ 204229 w 5719680"/>
                <a:gd name="connsiteY14906" fmla="*/ 2297121 h 5704395"/>
                <a:gd name="connsiteX14907" fmla="*/ 2591134 w 5719680"/>
                <a:gd name="connsiteY14907" fmla="*/ 2296804 h 5704395"/>
                <a:gd name="connsiteX14908" fmla="*/ 2545715 w 5719680"/>
                <a:gd name="connsiteY14908" fmla="*/ 2329443 h 5704395"/>
                <a:gd name="connsiteX14909" fmla="*/ 2632425 w 5719680"/>
                <a:gd name="connsiteY14909" fmla="*/ 2402961 h 5704395"/>
                <a:gd name="connsiteX14910" fmla="*/ 2633060 w 5719680"/>
                <a:gd name="connsiteY14910" fmla="*/ 2402961 h 5704395"/>
                <a:gd name="connsiteX14911" fmla="*/ 2637189 w 5719680"/>
                <a:gd name="connsiteY14911" fmla="*/ 2392821 h 5704395"/>
                <a:gd name="connsiteX14912" fmla="*/ 2648306 w 5719680"/>
                <a:gd name="connsiteY14912" fmla="*/ 2361132 h 5704395"/>
                <a:gd name="connsiteX14913" fmla="*/ 2652752 w 5719680"/>
                <a:gd name="connsiteY14913" fmla="*/ 2347506 h 5704395"/>
                <a:gd name="connsiteX14914" fmla="*/ 2654340 w 5719680"/>
                <a:gd name="connsiteY14914" fmla="*/ 2343386 h 5704395"/>
                <a:gd name="connsiteX14915" fmla="*/ 2654658 w 5719680"/>
                <a:gd name="connsiteY14915" fmla="*/ 2343070 h 5704395"/>
                <a:gd name="connsiteX14916" fmla="*/ 2591134 w 5719680"/>
                <a:gd name="connsiteY14916" fmla="*/ 2296804 h 5704395"/>
                <a:gd name="connsiteX14917" fmla="*/ 1225691 w 5719680"/>
                <a:gd name="connsiteY14917" fmla="*/ 2294585 h 5704395"/>
                <a:gd name="connsiteX14918" fmla="*/ 1178684 w 5719680"/>
                <a:gd name="connsiteY14918" fmla="*/ 2332612 h 5704395"/>
                <a:gd name="connsiteX14919" fmla="*/ 1240302 w 5719680"/>
                <a:gd name="connsiteY14919" fmla="*/ 2404546 h 5704395"/>
                <a:gd name="connsiteX14920" fmla="*/ 1240937 w 5719680"/>
                <a:gd name="connsiteY14920" fmla="*/ 2405179 h 5704395"/>
                <a:gd name="connsiteX14921" fmla="*/ 1244748 w 5719680"/>
                <a:gd name="connsiteY14921" fmla="*/ 2416587 h 5704395"/>
                <a:gd name="connsiteX14922" fmla="*/ 1245384 w 5719680"/>
                <a:gd name="connsiteY14922" fmla="*/ 2420707 h 5704395"/>
                <a:gd name="connsiteX14923" fmla="*/ 1281275 w 5719680"/>
                <a:gd name="connsiteY14923" fmla="*/ 2404862 h 5704395"/>
                <a:gd name="connsiteX14924" fmla="*/ 1316530 w 5719680"/>
                <a:gd name="connsiteY14924" fmla="*/ 2387434 h 5704395"/>
                <a:gd name="connsiteX14925" fmla="*/ 1316213 w 5719680"/>
                <a:gd name="connsiteY14925" fmla="*/ 2386800 h 5704395"/>
                <a:gd name="connsiteX14926" fmla="*/ 1328282 w 5719680"/>
                <a:gd name="connsiteY14926" fmla="*/ 2381413 h 5704395"/>
                <a:gd name="connsiteX14927" fmla="*/ 1283180 w 5719680"/>
                <a:gd name="connsiteY14927" fmla="*/ 2339267 h 5704395"/>
                <a:gd name="connsiteX14928" fmla="*/ 1251101 w 5719680"/>
                <a:gd name="connsiteY14928" fmla="*/ 2309162 h 5704395"/>
                <a:gd name="connsiteX14929" fmla="*/ 1240619 w 5719680"/>
                <a:gd name="connsiteY14929" fmla="*/ 2299339 h 5704395"/>
                <a:gd name="connsiteX14930" fmla="*/ 1237761 w 5719680"/>
                <a:gd name="connsiteY14930" fmla="*/ 2296487 h 5704395"/>
                <a:gd name="connsiteX14931" fmla="*/ 1237443 w 5719680"/>
                <a:gd name="connsiteY14931" fmla="*/ 2296170 h 5704395"/>
                <a:gd name="connsiteX14932" fmla="*/ 1225691 w 5719680"/>
                <a:gd name="connsiteY14932" fmla="*/ 2294585 h 5704395"/>
                <a:gd name="connsiteX14933" fmla="*/ 1841872 w 5719680"/>
                <a:gd name="connsiteY14933" fmla="*/ 2290466 h 5704395"/>
                <a:gd name="connsiteX14934" fmla="*/ 1839966 w 5719680"/>
                <a:gd name="connsiteY14934" fmla="*/ 2306310 h 5704395"/>
                <a:gd name="connsiteX14935" fmla="*/ 1879351 w 5719680"/>
                <a:gd name="connsiteY14935" fmla="*/ 2311064 h 5704395"/>
                <a:gd name="connsiteX14936" fmla="*/ 1881257 w 5719680"/>
                <a:gd name="connsiteY14936" fmla="*/ 2295536 h 5704395"/>
                <a:gd name="connsiteX14937" fmla="*/ 1841872 w 5719680"/>
                <a:gd name="connsiteY14937" fmla="*/ 2290466 h 5704395"/>
                <a:gd name="connsiteX14938" fmla="*/ 2315441 w 5719680"/>
                <a:gd name="connsiteY14938" fmla="*/ 2287614 h 5704395"/>
                <a:gd name="connsiteX14939" fmla="*/ 2309089 w 5719680"/>
                <a:gd name="connsiteY14939" fmla="*/ 2301874 h 5704395"/>
                <a:gd name="connsiteX14940" fmla="*/ 2328146 w 5719680"/>
                <a:gd name="connsiteY14940" fmla="*/ 2310113 h 5704395"/>
                <a:gd name="connsiteX14941" fmla="*/ 2334181 w 5719680"/>
                <a:gd name="connsiteY14941" fmla="*/ 2295853 h 5704395"/>
                <a:gd name="connsiteX14942" fmla="*/ 2315441 w 5719680"/>
                <a:gd name="connsiteY14942" fmla="*/ 2287614 h 5704395"/>
                <a:gd name="connsiteX14943" fmla="*/ 1838378 w 5719680"/>
                <a:gd name="connsiteY14943" fmla="*/ 2286030 h 5704395"/>
                <a:gd name="connsiteX14944" fmla="*/ 1886021 w 5719680"/>
                <a:gd name="connsiteY14944" fmla="*/ 2291733 h 5704395"/>
                <a:gd name="connsiteX14945" fmla="*/ 1883162 w 5719680"/>
                <a:gd name="connsiteY14945" fmla="*/ 2315817 h 5704395"/>
                <a:gd name="connsiteX14946" fmla="*/ 1880939 w 5719680"/>
                <a:gd name="connsiteY14946" fmla="*/ 2315500 h 5704395"/>
                <a:gd name="connsiteX14947" fmla="*/ 1835202 w 5719680"/>
                <a:gd name="connsiteY14947" fmla="*/ 2309796 h 5704395"/>
                <a:gd name="connsiteX14948" fmla="*/ 2261446 w 5719680"/>
                <a:gd name="connsiteY14948" fmla="*/ 2282227 h 5704395"/>
                <a:gd name="connsiteX14949" fmla="*/ 2255411 w 5719680"/>
                <a:gd name="connsiteY14949" fmla="*/ 2296804 h 5704395"/>
                <a:gd name="connsiteX14950" fmla="*/ 2274151 w 5719680"/>
                <a:gd name="connsiteY14950" fmla="*/ 2305043 h 5704395"/>
                <a:gd name="connsiteX14951" fmla="*/ 2280503 w 5719680"/>
                <a:gd name="connsiteY14951" fmla="*/ 2290466 h 5704395"/>
                <a:gd name="connsiteX14952" fmla="*/ 2313218 w 5719680"/>
                <a:gd name="connsiteY14952" fmla="*/ 2281910 h 5704395"/>
                <a:gd name="connsiteX14953" fmla="*/ 2339898 w 5719680"/>
                <a:gd name="connsiteY14953" fmla="*/ 2293635 h 5704395"/>
                <a:gd name="connsiteX14954" fmla="*/ 2330052 w 5719680"/>
                <a:gd name="connsiteY14954" fmla="*/ 2315500 h 5704395"/>
                <a:gd name="connsiteX14955" fmla="*/ 2328146 w 5719680"/>
                <a:gd name="connsiteY14955" fmla="*/ 2314866 h 5704395"/>
                <a:gd name="connsiteX14956" fmla="*/ 2303690 w 5719680"/>
                <a:gd name="connsiteY14956" fmla="*/ 2304092 h 5704395"/>
                <a:gd name="connsiteX14957" fmla="*/ 2313218 w 5719680"/>
                <a:gd name="connsiteY14957" fmla="*/ 2281910 h 5704395"/>
                <a:gd name="connsiteX14958" fmla="*/ 2198240 w 5719680"/>
                <a:gd name="connsiteY14958" fmla="*/ 2281910 h 5704395"/>
                <a:gd name="connsiteX14959" fmla="*/ 2189029 w 5719680"/>
                <a:gd name="connsiteY14959" fmla="*/ 2331661 h 5704395"/>
                <a:gd name="connsiteX14960" fmla="*/ 2215709 w 5719680"/>
                <a:gd name="connsiteY14960" fmla="*/ 2337048 h 5704395"/>
                <a:gd name="connsiteX14961" fmla="*/ 2223332 w 5719680"/>
                <a:gd name="connsiteY14961" fmla="*/ 2285079 h 5704395"/>
                <a:gd name="connsiteX14962" fmla="*/ 2198240 w 5719680"/>
                <a:gd name="connsiteY14962" fmla="*/ 2281910 h 5704395"/>
                <a:gd name="connsiteX14963" fmla="*/ 202006 w 5719680"/>
                <a:gd name="connsiteY14963" fmla="*/ 2281276 h 5704395"/>
                <a:gd name="connsiteX14964" fmla="*/ 202641 w 5719680"/>
                <a:gd name="connsiteY14964" fmla="*/ 2282227 h 5704395"/>
                <a:gd name="connsiteX14965" fmla="*/ 186442 w 5719680"/>
                <a:gd name="connsiteY14965" fmla="*/ 2297437 h 5704395"/>
                <a:gd name="connsiteX14966" fmla="*/ 116566 w 5719680"/>
                <a:gd name="connsiteY14966" fmla="*/ 2369054 h 5704395"/>
                <a:gd name="connsiteX14967" fmla="*/ 195018 w 5719680"/>
                <a:gd name="connsiteY14967" fmla="*/ 2477747 h 5704395"/>
                <a:gd name="connsiteX14968" fmla="*/ 270611 w 5719680"/>
                <a:gd name="connsiteY14968" fmla="*/ 2397574 h 5704395"/>
                <a:gd name="connsiteX14969" fmla="*/ 270611 w 5719680"/>
                <a:gd name="connsiteY14969" fmla="*/ 2397257 h 5704395"/>
                <a:gd name="connsiteX14970" fmla="*/ 271564 w 5719680"/>
                <a:gd name="connsiteY14970" fmla="*/ 2396624 h 5704395"/>
                <a:gd name="connsiteX14971" fmla="*/ 272200 w 5719680"/>
                <a:gd name="connsiteY14971" fmla="*/ 2395673 h 5704395"/>
                <a:gd name="connsiteX14972" fmla="*/ 272200 w 5719680"/>
                <a:gd name="connsiteY14972" fmla="*/ 2395990 h 5704395"/>
                <a:gd name="connsiteX14973" fmla="*/ 281093 w 5719680"/>
                <a:gd name="connsiteY14973" fmla="*/ 2387750 h 5704395"/>
                <a:gd name="connsiteX14974" fmla="*/ 292527 w 5719680"/>
                <a:gd name="connsiteY14974" fmla="*/ 2360181 h 5704395"/>
                <a:gd name="connsiteX14975" fmla="*/ 202641 w 5719680"/>
                <a:gd name="connsiteY14975" fmla="*/ 2281910 h 5704395"/>
                <a:gd name="connsiteX14976" fmla="*/ 202006 w 5719680"/>
                <a:gd name="connsiteY14976" fmla="*/ 2281276 h 5704395"/>
                <a:gd name="connsiteX14977" fmla="*/ 2641636 w 5719680"/>
                <a:gd name="connsiteY14977" fmla="*/ 2279692 h 5704395"/>
                <a:gd name="connsiteX14978" fmla="*/ 2633060 w 5719680"/>
                <a:gd name="connsiteY14978" fmla="*/ 2293001 h 5704395"/>
                <a:gd name="connsiteX14979" fmla="*/ 2666410 w 5719680"/>
                <a:gd name="connsiteY14979" fmla="*/ 2314550 h 5704395"/>
                <a:gd name="connsiteX14980" fmla="*/ 2674986 w 5719680"/>
                <a:gd name="connsiteY14980" fmla="*/ 2301557 h 5704395"/>
                <a:gd name="connsiteX14981" fmla="*/ 2641636 w 5719680"/>
                <a:gd name="connsiteY14981" fmla="*/ 2279692 h 5704395"/>
                <a:gd name="connsiteX14982" fmla="*/ 1753891 w 5719680"/>
                <a:gd name="connsiteY14982" fmla="*/ 2279058 h 5704395"/>
                <a:gd name="connsiteX14983" fmla="*/ 1751986 w 5719680"/>
                <a:gd name="connsiteY14983" fmla="*/ 2294585 h 5704395"/>
                <a:gd name="connsiteX14984" fmla="*/ 1791688 w 5719680"/>
                <a:gd name="connsiteY14984" fmla="*/ 2299339 h 5704395"/>
                <a:gd name="connsiteX14985" fmla="*/ 1793594 w 5719680"/>
                <a:gd name="connsiteY14985" fmla="*/ 2283811 h 5704395"/>
                <a:gd name="connsiteX14986" fmla="*/ 1753891 w 5719680"/>
                <a:gd name="connsiteY14986" fmla="*/ 2279058 h 5704395"/>
                <a:gd name="connsiteX14987" fmla="*/ 706067 w 5719680"/>
                <a:gd name="connsiteY14987" fmla="*/ 2278107 h 5704395"/>
                <a:gd name="connsiteX14988" fmla="*/ 595853 w 5719680"/>
                <a:gd name="connsiteY14988" fmla="*/ 2398208 h 5704395"/>
                <a:gd name="connsiteX14989" fmla="*/ 595853 w 5719680"/>
                <a:gd name="connsiteY14989" fmla="*/ 2398525 h 5704395"/>
                <a:gd name="connsiteX14990" fmla="*/ 595853 w 5719680"/>
                <a:gd name="connsiteY14990" fmla="*/ 2399475 h 5704395"/>
                <a:gd name="connsiteX14991" fmla="*/ 590136 w 5719680"/>
                <a:gd name="connsiteY14991" fmla="*/ 2447959 h 5704395"/>
                <a:gd name="connsiteX14992" fmla="*/ 585689 w 5719680"/>
                <a:gd name="connsiteY14992" fmla="*/ 2481549 h 5704395"/>
                <a:gd name="connsiteX14993" fmla="*/ 584101 w 5719680"/>
                <a:gd name="connsiteY14993" fmla="*/ 2492323 h 5704395"/>
                <a:gd name="connsiteX14994" fmla="*/ 583784 w 5719680"/>
                <a:gd name="connsiteY14994" fmla="*/ 2494859 h 5704395"/>
                <a:gd name="connsiteX14995" fmla="*/ 596806 w 5719680"/>
                <a:gd name="connsiteY14995" fmla="*/ 2500563 h 5704395"/>
                <a:gd name="connsiteX14996" fmla="*/ 609193 w 5719680"/>
                <a:gd name="connsiteY14996" fmla="*/ 2505950 h 5704395"/>
                <a:gd name="connsiteX14997" fmla="*/ 659059 w 5719680"/>
                <a:gd name="connsiteY14997" fmla="*/ 2479965 h 5704395"/>
                <a:gd name="connsiteX14998" fmla="*/ 707973 w 5719680"/>
                <a:gd name="connsiteY14998" fmla="*/ 2454297 h 5704395"/>
                <a:gd name="connsiteX14999" fmla="*/ 734017 w 5719680"/>
                <a:gd name="connsiteY14999" fmla="*/ 2383631 h 5704395"/>
                <a:gd name="connsiteX15000" fmla="*/ 752439 w 5719680"/>
                <a:gd name="connsiteY15000" fmla="*/ 2334197 h 5704395"/>
                <a:gd name="connsiteX15001" fmla="*/ 759109 w 5719680"/>
                <a:gd name="connsiteY15001" fmla="*/ 2317401 h 5704395"/>
                <a:gd name="connsiteX15002" fmla="*/ 759427 w 5719680"/>
                <a:gd name="connsiteY15002" fmla="*/ 2316451 h 5704395"/>
                <a:gd name="connsiteX15003" fmla="*/ 706067 w 5719680"/>
                <a:gd name="connsiteY15003" fmla="*/ 2278107 h 5704395"/>
                <a:gd name="connsiteX15004" fmla="*/ 2259540 w 5719680"/>
                <a:gd name="connsiteY15004" fmla="*/ 2276840 h 5704395"/>
                <a:gd name="connsiteX15005" fmla="*/ 2285903 w 5719680"/>
                <a:gd name="connsiteY15005" fmla="*/ 2288565 h 5704395"/>
                <a:gd name="connsiteX15006" fmla="*/ 2276374 w 5719680"/>
                <a:gd name="connsiteY15006" fmla="*/ 2310430 h 5704395"/>
                <a:gd name="connsiteX15007" fmla="*/ 2274468 w 5719680"/>
                <a:gd name="connsiteY15007" fmla="*/ 2309479 h 5704395"/>
                <a:gd name="connsiteX15008" fmla="*/ 2249694 w 5719680"/>
                <a:gd name="connsiteY15008" fmla="*/ 2298705 h 5704395"/>
                <a:gd name="connsiteX15009" fmla="*/ 2152820 w 5719680"/>
                <a:gd name="connsiteY15009" fmla="*/ 2275889 h 5704395"/>
                <a:gd name="connsiteX15010" fmla="*/ 2144245 w 5719680"/>
                <a:gd name="connsiteY15010" fmla="*/ 2322472 h 5704395"/>
                <a:gd name="connsiteX15011" fmla="*/ 2184900 w 5719680"/>
                <a:gd name="connsiteY15011" fmla="*/ 2330711 h 5704395"/>
                <a:gd name="connsiteX15012" fmla="*/ 2193793 w 5719680"/>
                <a:gd name="connsiteY15012" fmla="*/ 2281276 h 5704395"/>
                <a:gd name="connsiteX15013" fmla="*/ 2152820 w 5719680"/>
                <a:gd name="connsiteY15013" fmla="*/ 2275889 h 5704395"/>
                <a:gd name="connsiteX15014" fmla="*/ 1750398 w 5719680"/>
                <a:gd name="connsiteY15014" fmla="*/ 2274305 h 5704395"/>
                <a:gd name="connsiteX15015" fmla="*/ 1798040 w 5719680"/>
                <a:gd name="connsiteY15015" fmla="*/ 2280009 h 5704395"/>
                <a:gd name="connsiteX15016" fmla="*/ 1795182 w 5719680"/>
                <a:gd name="connsiteY15016" fmla="*/ 2304092 h 5704395"/>
                <a:gd name="connsiteX15017" fmla="*/ 1793276 w 5719680"/>
                <a:gd name="connsiteY15017" fmla="*/ 2303775 h 5704395"/>
                <a:gd name="connsiteX15018" fmla="*/ 1747539 w 5719680"/>
                <a:gd name="connsiteY15018" fmla="*/ 2298071 h 5704395"/>
                <a:gd name="connsiteX15019" fmla="*/ 2640366 w 5719680"/>
                <a:gd name="connsiteY15019" fmla="*/ 2273988 h 5704395"/>
                <a:gd name="connsiteX15020" fmla="*/ 2642271 w 5719680"/>
                <a:gd name="connsiteY15020" fmla="*/ 2275255 h 5704395"/>
                <a:gd name="connsiteX15021" fmla="*/ 2680703 w 5719680"/>
                <a:gd name="connsiteY15021" fmla="*/ 2300290 h 5704395"/>
                <a:gd name="connsiteX15022" fmla="*/ 2667363 w 5719680"/>
                <a:gd name="connsiteY15022" fmla="*/ 2320570 h 5704395"/>
                <a:gd name="connsiteX15023" fmla="*/ 2627343 w 5719680"/>
                <a:gd name="connsiteY15023" fmla="*/ 2294269 h 5704395"/>
                <a:gd name="connsiteX15024" fmla="*/ 2640366 w 5719680"/>
                <a:gd name="connsiteY15024" fmla="*/ 2273988 h 5704395"/>
                <a:gd name="connsiteX15025" fmla="*/ 3173330 w 5719680"/>
                <a:gd name="connsiteY15025" fmla="*/ 2273354 h 5704395"/>
                <a:gd name="connsiteX15026" fmla="*/ 3070421 w 5719680"/>
                <a:gd name="connsiteY15026" fmla="*/ 2301557 h 5704395"/>
                <a:gd name="connsiteX15027" fmla="*/ 3074233 w 5719680"/>
                <a:gd name="connsiteY15027" fmla="*/ 2314550 h 5704395"/>
                <a:gd name="connsiteX15028" fmla="*/ 2978947 w 5719680"/>
                <a:gd name="connsiteY15028" fmla="*/ 2340534 h 5704395"/>
                <a:gd name="connsiteX15029" fmla="*/ 2997369 w 5719680"/>
                <a:gd name="connsiteY15029" fmla="*/ 2407081 h 5704395"/>
                <a:gd name="connsiteX15030" fmla="*/ 3021190 w 5719680"/>
                <a:gd name="connsiteY15030" fmla="*/ 2402010 h 5704395"/>
                <a:gd name="connsiteX15031" fmla="*/ 3043106 w 5719680"/>
                <a:gd name="connsiteY15031" fmla="*/ 2475212 h 5704395"/>
                <a:gd name="connsiteX15032" fmla="*/ 3020873 w 5719680"/>
                <a:gd name="connsiteY15032" fmla="*/ 2482500 h 5704395"/>
                <a:gd name="connsiteX15033" fmla="*/ 3034530 w 5719680"/>
                <a:gd name="connsiteY15033" fmla="*/ 2531301 h 5704395"/>
                <a:gd name="connsiteX15034" fmla="*/ 3248288 w 5719680"/>
                <a:gd name="connsiteY15034" fmla="*/ 2476162 h 5704395"/>
                <a:gd name="connsiteX15035" fmla="*/ 3221290 w 5719680"/>
                <a:gd name="connsiteY15035" fmla="*/ 2379828 h 5704395"/>
                <a:gd name="connsiteX15036" fmla="*/ 3267027 w 5719680"/>
                <a:gd name="connsiteY15036" fmla="*/ 2366836 h 5704395"/>
                <a:gd name="connsiteX15037" fmla="*/ 3240347 w 5719680"/>
                <a:gd name="connsiteY15037" fmla="*/ 2273671 h 5704395"/>
                <a:gd name="connsiteX15038" fmla="*/ 3178412 w 5719680"/>
                <a:gd name="connsiteY15038" fmla="*/ 2290466 h 5704395"/>
                <a:gd name="connsiteX15039" fmla="*/ 3173330 w 5719680"/>
                <a:gd name="connsiteY15039" fmla="*/ 2273354 h 5704395"/>
                <a:gd name="connsiteX15040" fmla="*/ 112120 w 5719680"/>
                <a:gd name="connsiteY15040" fmla="*/ 2272720 h 5704395"/>
                <a:gd name="connsiteX15041" fmla="*/ 96239 w 5719680"/>
                <a:gd name="connsiteY15041" fmla="*/ 2283177 h 5704395"/>
                <a:gd name="connsiteX15042" fmla="*/ 104179 w 5719680"/>
                <a:gd name="connsiteY15042" fmla="*/ 2295536 h 5704395"/>
                <a:gd name="connsiteX15043" fmla="*/ 89251 w 5719680"/>
                <a:gd name="connsiteY15043" fmla="*/ 2305677 h 5704395"/>
                <a:gd name="connsiteX15044" fmla="*/ 101321 w 5719680"/>
                <a:gd name="connsiteY15044" fmla="*/ 2324373 h 5704395"/>
                <a:gd name="connsiteX15045" fmla="*/ 116566 w 5719680"/>
                <a:gd name="connsiteY15045" fmla="*/ 2314232 h 5704395"/>
                <a:gd name="connsiteX15046" fmla="*/ 124824 w 5719680"/>
                <a:gd name="connsiteY15046" fmla="*/ 2326591 h 5704395"/>
                <a:gd name="connsiteX15047" fmla="*/ 140705 w 5719680"/>
                <a:gd name="connsiteY15047" fmla="*/ 2316134 h 5704395"/>
                <a:gd name="connsiteX15048" fmla="*/ 112120 w 5719680"/>
                <a:gd name="connsiteY15048" fmla="*/ 2272720 h 5704395"/>
                <a:gd name="connsiteX15049" fmla="*/ 1187577 w 5719680"/>
                <a:gd name="connsiteY15049" fmla="*/ 2271136 h 5704395"/>
                <a:gd name="connsiteX15050" fmla="*/ 1181225 w 5719680"/>
                <a:gd name="connsiteY15050" fmla="*/ 2291417 h 5704395"/>
                <a:gd name="connsiteX15051" fmla="*/ 1187577 w 5719680"/>
                <a:gd name="connsiteY15051" fmla="*/ 2294269 h 5704395"/>
                <a:gd name="connsiteX15052" fmla="*/ 1207905 w 5719680"/>
                <a:gd name="connsiteY15052" fmla="*/ 2275572 h 5704395"/>
                <a:gd name="connsiteX15053" fmla="*/ 918554 w 5719680"/>
                <a:gd name="connsiteY15053" fmla="*/ 2270819 h 5704395"/>
                <a:gd name="connsiteX15054" fmla="*/ 909978 w 5719680"/>
                <a:gd name="connsiteY15054" fmla="*/ 2273354 h 5704395"/>
                <a:gd name="connsiteX15055" fmla="*/ 912837 w 5719680"/>
                <a:gd name="connsiteY15055" fmla="*/ 2340851 h 5704395"/>
                <a:gd name="connsiteX15056" fmla="*/ 945234 w 5719680"/>
                <a:gd name="connsiteY15056" fmla="*/ 2332929 h 5704395"/>
                <a:gd name="connsiteX15057" fmla="*/ 918554 w 5719680"/>
                <a:gd name="connsiteY15057" fmla="*/ 2270819 h 5704395"/>
                <a:gd name="connsiteX15058" fmla="*/ 431962 w 5719680"/>
                <a:gd name="connsiteY15058" fmla="*/ 2270819 h 5704395"/>
                <a:gd name="connsiteX15059" fmla="*/ 385590 w 5719680"/>
                <a:gd name="connsiteY15059" fmla="*/ 2281276 h 5704395"/>
                <a:gd name="connsiteX15060" fmla="*/ 353510 w 5719680"/>
                <a:gd name="connsiteY15060" fmla="*/ 2288881 h 5704395"/>
                <a:gd name="connsiteX15061" fmla="*/ 343029 w 5719680"/>
                <a:gd name="connsiteY15061" fmla="*/ 2291100 h 5704395"/>
                <a:gd name="connsiteX15062" fmla="*/ 338582 w 5719680"/>
                <a:gd name="connsiteY15062" fmla="*/ 2302825 h 5704395"/>
                <a:gd name="connsiteX15063" fmla="*/ 338264 w 5719680"/>
                <a:gd name="connsiteY15063" fmla="*/ 2302508 h 5704395"/>
                <a:gd name="connsiteX15064" fmla="*/ 332865 w 5719680"/>
                <a:gd name="connsiteY15064" fmla="*/ 2316451 h 5704395"/>
                <a:gd name="connsiteX15065" fmla="*/ 394800 w 5719680"/>
                <a:gd name="connsiteY15065" fmla="*/ 2371906 h 5704395"/>
                <a:gd name="connsiteX15066" fmla="*/ 428150 w 5719680"/>
                <a:gd name="connsiteY15066" fmla="*/ 2331661 h 5704395"/>
                <a:gd name="connsiteX15067" fmla="*/ 438949 w 5719680"/>
                <a:gd name="connsiteY15067" fmla="*/ 2280643 h 5704395"/>
                <a:gd name="connsiteX15068" fmla="*/ 432597 w 5719680"/>
                <a:gd name="connsiteY15068" fmla="*/ 2270819 h 5704395"/>
                <a:gd name="connsiteX15069" fmla="*/ 431962 w 5719680"/>
                <a:gd name="connsiteY15069" fmla="*/ 2270819 h 5704395"/>
                <a:gd name="connsiteX15070" fmla="*/ 1835202 w 5719680"/>
                <a:gd name="connsiteY15070" fmla="*/ 2270502 h 5704395"/>
                <a:gd name="connsiteX15071" fmla="*/ 1824085 w 5719680"/>
                <a:gd name="connsiteY15071" fmla="*/ 2334197 h 5704395"/>
                <a:gd name="connsiteX15072" fmla="*/ 1891103 w 5719680"/>
                <a:gd name="connsiteY15072" fmla="*/ 2372857 h 5704395"/>
                <a:gd name="connsiteX15073" fmla="*/ 1906031 w 5719680"/>
                <a:gd name="connsiteY15073" fmla="*/ 2357963 h 5704395"/>
                <a:gd name="connsiteX15074" fmla="*/ 1907619 w 5719680"/>
                <a:gd name="connsiteY15074" fmla="*/ 2359231 h 5704395"/>
                <a:gd name="connsiteX15075" fmla="*/ 1938428 w 5719680"/>
                <a:gd name="connsiteY15075" fmla="*/ 2384898 h 5704395"/>
                <a:gd name="connsiteX15076" fmla="*/ 1959708 w 5719680"/>
                <a:gd name="connsiteY15076" fmla="*/ 2402644 h 5704395"/>
                <a:gd name="connsiteX15077" fmla="*/ 1966696 w 5719680"/>
                <a:gd name="connsiteY15077" fmla="*/ 2408665 h 5704395"/>
                <a:gd name="connsiteX15078" fmla="*/ 1968602 w 5719680"/>
                <a:gd name="connsiteY15078" fmla="*/ 2410566 h 5704395"/>
                <a:gd name="connsiteX15079" fmla="*/ 1969237 w 5719680"/>
                <a:gd name="connsiteY15079" fmla="*/ 2410884 h 5704395"/>
                <a:gd name="connsiteX15080" fmla="*/ 1969554 w 5719680"/>
                <a:gd name="connsiteY15080" fmla="*/ 2411200 h 5704395"/>
                <a:gd name="connsiteX15081" fmla="*/ 1983530 w 5719680"/>
                <a:gd name="connsiteY15081" fmla="*/ 2395356 h 5704395"/>
                <a:gd name="connsiteX15082" fmla="*/ 1982259 w 5719680"/>
                <a:gd name="connsiteY15082" fmla="*/ 2394405 h 5704395"/>
                <a:gd name="connsiteX15083" fmla="*/ 1982259 w 5719680"/>
                <a:gd name="connsiteY15083" fmla="*/ 2393138 h 5704395"/>
                <a:gd name="connsiteX15084" fmla="*/ 1986706 w 5719680"/>
                <a:gd name="connsiteY15084" fmla="*/ 2356062 h 5704395"/>
                <a:gd name="connsiteX15085" fmla="*/ 1990200 w 5719680"/>
                <a:gd name="connsiteY15085" fmla="*/ 2330394 h 5704395"/>
                <a:gd name="connsiteX15086" fmla="*/ 1991470 w 5719680"/>
                <a:gd name="connsiteY15086" fmla="*/ 2321521 h 5704395"/>
                <a:gd name="connsiteX15087" fmla="*/ 1991788 w 5719680"/>
                <a:gd name="connsiteY15087" fmla="*/ 2319620 h 5704395"/>
                <a:gd name="connsiteX15088" fmla="*/ 1913018 w 5719680"/>
                <a:gd name="connsiteY15088" fmla="*/ 2295219 h 5704395"/>
                <a:gd name="connsiteX15089" fmla="*/ 1857435 w 5719680"/>
                <a:gd name="connsiteY15089" fmla="*/ 2277790 h 5704395"/>
                <a:gd name="connsiteX15090" fmla="*/ 1839013 w 5719680"/>
                <a:gd name="connsiteY15090" fmla="*/ 2271770 h 5704395"/>
                <a:gd name="connsiteX15091" fmla="*/ 1835202 w 5719680"/>
                <a:gd name="connsiteY15091" fmla="*/ 2270502 h 5704395"/>
                <a:gd name="connsiteX15092" fmla="*/ 487545 w 5719680"/>
                <a:gd name="connsiteY15092" fmla="*/ 2269552 h 5704395"/>
                <a:gd name="connsiteX15093" fmla="*/ 449113 w 5719680"/>
                <a:gd name="connsiteY15093" fmla="*/ 2270502 h 5704395"/>
                <a:gd name="connsiteX15094" fmla="*/ 452289 w 5719680"/>
                <a:gd name="connsiteY15094" fmla="*/ 2275255 h 5704395"/>
                <a:gd name="connsiteX15095" fmla="*/ 451972 w 5719680"/>
                <a:gd name="connsiteY15095" fmla="*/ 2275255 h 5704395"/>
                <a:gd name="connsiteX15096" fmla="*/ 453878 w 5719680"/>
                <a:gd name="connsiteY15096" fmla="*/ 2278107 h 5704395"/>
                <a:gd name="connsiteX15097" fmla="*/ 444031 w 5719680"/>
                <a:gd name="connsiteY15097" fmla="*/ 2326274 h 5704395"/>
                <a:gd name="connsiteX15098" fmla="*/ 468170 w 5719680"/>
                <a:gd name="connsiteY15098" fmla="*/ 2341802 h 5704395"/>
                <a:gd name="connsiteX15099" fmla="*/ 488498 w 5719680"/>
                <a:gd name="connsiteY15099" fmla="*/ 2354160 h 5704395"/>
                <a:gd name="connsiteX15100" fmla="*/ 495168 w 5719680"/>
                <a:gd name="connsiteY15100" fmla="*/ 2358280 h 5704395"/>
                <a:gd name="connsiteX15101" fmla="*/ 496756 w 5719680"/>
                <a:gd name="connsiteY15101" fmla="*/ 2358914 h 5704395"/>
                <a:gd name="connsiteX15102" fmla="*/ 519625 w 5719680"/>
                <a:gd name="connsiteY15102" fmla="*/ 2326274 h 5704395"/>
                <a:gd name="connsiteX15103" fmla="*/ 519625 w 5719680"/>
                <a:gd name="connsiteY15103" fmla="*/ 2325957 h 5704395"/>
                <a:gd name="connsiteX15104" fmla="*/ 518989 w 5719680"/>
                <a:gd name="connsiteY15104" fmla="*/ 2325640 h 5704395"/>
                <a:gd name="connsiteX15105" fmla="*/ 535823 w 5719680"/>
                <a:gd name="connsiteY15105" fmla="*/ 2302825 h 5704395"/>
                <a:gd name="connsiteX15106" fmla="*/ 535823 w 5719680"/>
                <a:gd name="connsiteY15106" fmla="*/ 2303141 h 5704395"/>
                <a:gd name="connsiteX15107" fmla="*/ 540905 w 5719680"/>
                <a:gd name="connsiteY15107" fmla="*/ 2295853 h 5704395"/>
                <a:gd name="connsiteX15108" fmla="*/ 544081 w 5719680"/>
                <a:gd name="connsiteY15108" fmla="*/ 2291100 h 5704395"/>
                <a:gd name="connsiteX15109" fmla="*/ 487545 w 5719680"/>
                <a:gd name="connsiteY15109" fmla="*/ 2269552 h 5704395"/>
                <a:gd name="connsiteX15110" fmla="*/ 3176506 w 5719680"/>
                <a:gd name="connsiteY15110" fmla="*/ 2267650 h 5704395"/>
                <a:gd name="connsiteX15111" fmla="*/ 3181588 w 5719680"/>
                <a:gd name="connsiteY15111" fmla="*/ 2284762 h 5704395"/>
                <a:gd name="connsiteX15112" fmla="*/ 3243524 w 5719680"/>
                <a:gd name="connsiteY15112" fmla="*/ 2267967 h 5704395"/>
                <a:gd name="connsiteX15113" fmla="*/ 3273062 w 5719680"/>
                <a:gd name="connsiteY15113" fmla="*/ 2370005 h 5704395"/>
                <a:gd name="connsiteX15114" fmla="*/ 3227325 w 5719680"/>
                <a:gd name="connsiteY15114" fmla="*/ 2382997 h 5704395"/>
                <a:gd name="connsiteX15115" fmla="*/ 3254005 w 5719680"/>
                <a:gd name="connsiteY15115" fmla="*/ 2479331 h 5704395"/>
                <a:gd name="connsiteX15116" fmla="*/ 3031354 w 5719680"/>
                <a:gd name="connsiteY15116" fmla="*/ 2537005 h 5704395"/>
                <a:gd name="connsiteX15117" fmla="*/ 3015156 w 5719680"/>
                <a:gd name="connsiteY15117" fmla="*/ 2479331 h 5704395"/>
                <a:gd name="connsiteX15118" fmla="*/ 3037389 w 5719680"/>
                <a:gd name="connsiteY15118" fmla="*/ 2472360 h 5704395"/>
                <a:gd name="connsiteX15119" fmla="*/ 3018014 w 5719680"/>
                <a:gd name="connsiteY15119" fmla="*/ 2407398 h 5704395"/>
                <a:gd name="connsiteX15120" fmla="*/ 2993875 w 5719680"/>
                <a:gd name="connsiteY15120" fmla="*/ 2412785 h 5704395"/>
                <a:gd name="connsiteX15121" fmla="*/ 2973230 w 5719680"/>
                <a:gd name="connsiteY15121" fmla="*/ 2337365 h 5704395"/>
                <a:gd name="connsiteX15122" fmla="*/ 2975453 w 5719680"/>
                <a:gd name="connsiteY15122" fmla="*/ 2336732 h 5704395"/>
                <a:gd name="connsiteX15123" fmla="*/ 3068516 w 5719680"/>
                <a:gd name="connsiteY15123" fmla="*/ 2311380 h 5704395"/>
                <a:gd name="connsiteX15124" fmla="*/ 3064704 w 5719680"/>
                <a:gd name="connsiteY15124" fmla="*/ 2298071 h 5704395"/>
                <a:gd name="connsiteX15125" fmla="*/ 3176506 w 5719680"/>
                <a:gd name="connsiteY15125" fmla="*/ 2267650 h 5704395"/>
                <a:gd name="connsiteX15126" fmla="*/ 2246836 w 5719680"/>
                <a:gd name="connsiteY15126" fmla="*/ 2267016 h 5704395"/>
                <a:gd name="connsiteX15127" fmla="*/ 2236354 w 5719680"/>
                <a:gd name="connsiteY15127" fmla="*/ 2338950 h 5704395"/>
                <a:gd name="connsiteX15128" fmla="*/ 2297655 w 5719680"/>
                <a:gd name="connsiteY15128" fmla="*/ 2325007 h 5704395"/>
                <a:gd name="connsiteX15129" fmla="*/ 2290350 w 5719680"/>
                <a:gd name="connsiteY15129" fmla="*/ 2273354 h 5704395"/>
                <a:gd name="connsiteX15130" fmla="*/ 2246836 w 5719680"/>
                <a:gd name="connsiteY15130" fmla="*/ 2267016 h 5704395"/>
                <a:gd name="connsiteX15131" fmla="*/ 113073 w 5719680"/>
                <a:gd name="connsiteY15131" fmla="*/ 2267016 h 5704395"/>
                <a:gd name="connsiteX15132" fmla="*/ 146740 w 5719680"/>
                <a:gd name="connsiteY15132" fmla="*/ 2317401 h 5704395"/>
                <a:gd name="connsiteX15133" fmla="*/ 144834 w 5719680"/>
                <a:gd name="connsiteY15133" fmla="*/ 2318352 h 5704395"/>
                <a:gd name="connsiteX15134" fmla="*/ 123872 w 5719680"/>
                <a:gd name="connsiteY15134" fmla="*/ 2332295 h 5704395"/>
                <a:gd name="connsiteX15135" fmla="*/ 115614 w 5719680"/>
                <a:gd name="connsiteY15135" fmla="*/ 2319937 h 5704395"/>
                <a:gd name="connsiteX15136" fmla="*/ 100368 w 5719680"/>
                <a:gd name="connsiteY15136" fmla="*/ 2330077 h 5704395"/>
                <a:gd name="connsiteX15137" fmla="*/ 83216 w 5719680"/>
                <a:gd name="connsiteY15137" fmla="*/ 2304409 h 5704395"/>
                <a:gd name="connsiteX15138" fmla="*/ 98462 w 5719680"/>
                <a:gd name="connsiteY15138" fmla="*/ 2294585 h 5704395"/>
                <a:gd name="connsiteX15139" fmla="*/ 90204 w 5719680"/>
                <a:gd name="connsiteY15139" fmla="*/ 2281910 h 5704395"/>
                <a:gd name="connsiteX15140" fmla="*/ 113073 w 5719680"/>
                <a:gd name="connsiteY15140" fmla="*/ 2267016 h 5704395"/>
                <a:gd name="connsiteX15141" fmla="*/ 1184401 w 5719680"/>
                <a:gd name="connsiteY15141" fmla="*/ 2265749 h 5704395"/>
                <a:gd name="connsiteX15142" fmla="*/ 1217751 w 5719680"/>
                <a:gd name="connsiteY15142" fmla="*/ 2272720 h 5704395"/>
                <a:gd name="connsiteX15143" fmla="*/ 1214257 w 5719680"/>
                <a:gd name="connsiteY15143" fmla="*/ 2275889 h 5704395"/>
                <a:gd name="connsiteX15144" fmla="*/ 1188847 w 5719680"/>
                <a:gd name="connsiteY15144" fmla="*/ 2299656 h 5704395"/>
                <a:gd name="connsiteX15145" fmla="*/ 1175507 w 5719680"/>
                <a:gd name="connsiteY15145" fmla="*/ 2294269 h 5704395"/>
                <a:gd name="connsiteX15146" fmla="*/ 921095 w 5719680"/>
                <a:gd name="connsiteY15146" fmla="*/ 2265432 h 5704395"/>
                <a:gd name="connsiteX15147" fmla="*/ 922048 w 5719680"/>
                <a:gd name="connsiteY15147" fmla="*/ 2267333 h 5704395"/>
                <a:gd name="connsiteX15148" fmla="*/ 951586 w 5719680"/>
                <a:gd name="connsiteY15148" fmla="*/ 2336098 h 5704395"/>
                <a:gd name="connsiteX15149" fmla="*/ 908390 w 5719680"/>
                <a:gd name="connsiteY15149" fmla="*/ 2346872 h 5704395"/>
                <a:gd name="connsiteX15150" fmla="*/ 904896 w 5719680"/>
                <a:gd name="connsiteY15150" fmla="*/ 2269868 h 5704395"/>
                <a:gd name="connsiteX15151" fmla="*/ 921095 w 5719680"/>
                <a:gd name="connsiteY15151" fmla="*/ 2265432 h 5704395"/>
                <a:gd name="connsiteX15152" fmla="*/ 1454377 w 5719680"/>
                <a:gd name="connsiteY15152" fmla="*/ 2262263 h 5704395"/>
                <a:gd name="connsiteX15153" fmla="*/ 1448977 w 5719680"/>
                <a:gd name="connsiteY15153" fmla="*/ 2290783 h 5704395"/>
                <a:gd name="connsiteX15154" fmla="*/ 1489950 w 5719680"/>
                <a:gd name="connsiteY15154" fmla="*/ 2297437 h 5704395"/>
                <a:gd name="connsiteX15155" fmla="*/ 1495032 w 5719680"/>
                <a:gd name="connsiteY15155" fmla="*/ 2270502 h 5704395"/>
                <a:gd name="connsiteX15156" fmla="*/ 1454377 w 5719680"/>
                <a:gd name="connsiteY15156" fmla="*/ 2262263 h 5704395"/>
                <a:gd name="connsiteX15157" fmla="*/ 1439449 w 5719680"/>
                <a:gd name="connsiteY15157" fmla="*/ 2259411 h 5704395"/>
                <a:gd name="connsiteX15158" fmla="*/ 1425791 w 5719680"/>
                <a:gd name="connsiteY15158" fmla="*/ 2306310 h 5704395"/>
                <a:gd name="connsiteX15159" fmla="*/ 1392441 w 5719680"/>
                <a:gd name="connsiteY15159" fmla="*/ 2366519 h 5704395"/>
                <a:gd name="connsiteX15160" fmla="*/ 1383230 w 5719680"/>
                <a:gd name="connsiteY15160" fmla="*/ 2374124 h 5704395"/>
                <a:gd name="connsiteX15161" fmla="*/ 1400064 w 5719680"/>
                <a:gd name="connsiteY15161" fmla="*/ 2451128 h 5704395"/>
                <a:gd name="connsiteX15162" fmla="*/ 1509960 w 5719680"/>
                <a:gd name="connsiteY15162" fmla="*/ 2382046 h 5704395"/>
                <a:gd name="connsiteX15163" fmla="*/ 1554744 w 5719680"/>
                <a:gd name="connsiteY15163" fmla="*/ 2398525 h 5704395"/>
                <a:gd name="connsiteX15164" fmla="*/ 1639866 w 5719680"/>
                <a:gd name="connsiteY15164" fmla="*/ 2345604 h 5704395"/>
                <a:gd name="connsiteX15165" fmla="*/ 1617633 w 5719680"/>
                <a:gd name="connsiteY15165" fmla="*/ 2299022 h 5704395"/>
                <a:gd name="connsiteX15166" fmla="*/ 1617315 w 5719680"/>
                <a:gd name="connsiteY15166" fmla="*/ 2298705 h 5704395"/>
                <a:gd name="connsiteX15167" fmla="*/ 1617315 w 5719680"/>
                <a:gd name="connsiteY15167" fmla="*/ 2294903 h 5704395"/>
                <a:gd name="connsiteX15168" fmla="*/ 1498843 w 5719680"/>
                <a:gd name="connsiteY15168" fmla="*/ 2271453 h 5704395"/>
                <a:gd name="connsiteX15169" fmla="*/ 1493126 w 5719680"/>
                <a:gd name="connsiteY15169" fmla="*/ 2302508 h 5704395"/>
                <a:gd name="connsiteX15170" fmla="*/ 1444213 w 5719680"/>
                <a:gd name="connsiteY15170" fmla="*/ 2294269 h 5704395"/>
                <a:gd name="connsiteX15171" fmla="*/ 1450248 w 5719680"/>
                <a:gd name="connsiteY15171" fmla="*/ 2261629 h 5704395"/>
                <a:gd name="connsiteX15172" fmla="*/ 1439449 w 5719680"/>
                <a:gd name="connsiteY15172" fmla="*/ 2259411 h 5704395"/>
                <a:gd name="connsiteX15173" fmla="*/ 652389 w 5719680"/>
                <a:gd name="connsiteY15173" fmla="*/ 2254658 h 5704395"/>
                <a:gd name="connsiteX15174" fmla="*/ 592359 w 5719680"/>
                <a:gd name="connsiteY15174" fmla="*/ 2326908 h 5704395"/>
                <a:gd name="connsiteX15175" fmla="*/ 582831 w 5719680"/>
                <a:gd name="connsiteY15175" fmla="*/ 2321838 h 5704395"/>
                <a:gd name="connsiteX15176" fmla="*/ 579972 w 5719680"/>
                <a:gd name="connsiteY15176" fmla="*/ 2350358 h 5704395"/>
                <a:gd name="connsiteX15177" fmla="*/ 594583 w 5719680"/>
                <a:gd name="connsiteY15177" fmla="*/ 2367153 h 5704395"/>
                <a:gd name="connsiteX15178" fmla="*/ 606970 w 5719680"/>
                <a:gd name="connsiteY15178" fmla="*/ 2350041 h 5704395"/>
                <a:gd name="connsiteX15179" fmla="*/ 605064 w 5719680"/>
                <a:gd name="connsiteY15179" fmla="*/ 2337999 h 5704395"/>
                <a:gd name="connsiteX15180" fmla="*/ 623486 w 5719680"/>
                <a:gd name="connsiteY15180" fmla="*/ 2311064 h 5704395"/>
                <a:gd name="connsiteX15181" fmla="*/ 636826 w 5719680"/>
                <a:gd name="connsiteY15181" fmla="*/ 2319620 h 5704395"/>
                <a:gd name="connsiteX15182" fmla="*/ 683198 w 5719680"/>
                <a:gd name="connsiteY15182" fmla="*/ 2278424 h 5704395"/>
                <a:gd name="connsiteX15183" fmla="*/ 652389 w 5719680"/>
                <a:gd name="connsiteY15183" fmla="*/ 2254658 h 5704395"/>
                <a:gd name="connsiteX15184" fmla="*/ 1355597 w 5719680"/>
                <a:gd name="connsiteY15184" fmla="*/ 2252439 h 5704395"/>
                <a:gd name="connsiteX15185" fmla="*/ 1328917 w 5719680"/>
                <a:gd name="connsiteY15185" fmla="*/ 2331344 h 5704395"/>
                <a:gd name="connsiteX15186" fmla="*/ 1328282 w 5719680"/>
                <a:gd name="connsiteY15186" fmla="*/ 2331978 h 5704395"/>
                <a:gd name="connsiteX15187" fmla="*/ 1313989 w 5719680"/>
                <a:gd name="connsiteY15187" fmla="*/ 2341485 h 5704395"/>
                <a:gd name="connsiteX15188" fmla="*/ 1303826 w 5719680"/>
                <a:gd name="connsiteY15188" fmla="*/ 2348139 h 5704395"/>
                <a:gd name="connsiteX15189" fmla="*/ 1301920 w 5719680"/>
                <a:gd name="connsiteY15189" fmla="*/ 2349407 h 5704395"/>
                <a:gd name="connsiteX15190" fmla="*/ 1333682 w 5719680"/>
                <a:gd name="connsiteY15190" fmla="*/ 2378878 h 5704395"/>
                <a:gd name="connsiteX15191" fmla="*/ 1340352 w 5719680"/>
                <a:gd name="connsiteY15191" fmla="*/ 2375392 h 5704395"/>
                <a:gd name="connsiteX15192" fmla="*/ 1378466 w 5719680"/>
                <a:gd name="connsiteY15192" fmla="*/ 2351308 h 5704395"/>
                <a:gd name="connsiteX15193" fmla="*/ 1406416 w 5719680"/>
                <a:gd name="connsiteY15193" fmla="*/ 2299339 h 5704395"/>
                <a:gd name="connsiteX15194" fmla="*/ 1418486 w 5719680"/>
                <a:gd name="connsiteY15194" fmla="*/ 2256876 h 5704395"/>
                <a:gd name="connsiteX15195" fmla="*/ 1355597 w 5719680"/>
                <a:gd name="connsiteY15195" fmla="*/ 2252439 h 5704395"/>
                <a:gd name="connsiteX15196" fmla="*/ 651436 w 5719680"/>
                <a:gd name="connsiteY15196" fmla="*/ 2248320 h 5704395"/>
                <a:gd name="connsiteX15197" fmla="*/ 690504 w 5719680"/>
                <a:gd name="connsiteY15197" fmla="*/ 2278107 h 5704395"/>
                <a:gd name="connsiteX15198" fmla="*/ 688598 w 5719680"/>
                <a:gd name="connsiteY15198" fmla="*/ 2280009 h 5704395"/>
                <a:gd name="connsiteX15199" fmla="*/ 637461 w 5719680"/>
                <a:gd name="connsiteY15199" fmla="*/ 2325640 h 5704395"/>
                <a:gd name="connsiteX15200" fmla="*/ 624756 w 5719680"/>
                <a:gd name="connsiteY15200" fmla="*/ 2317401 h 5704395"/>
                <a:gd name="connsiteX15201" fmla="*/ 609828 w 5719680"/>
                <a:gd name="connsiteY15201" fmla="*/ 2339267 h 5704395"/>
                <a:gd name="connsiteX15202" fmla="*/ 612052 w 5719680"/>
                <a:gd name="connsiteY15202" fmla="*/ 2351308 h 5704395"/>
                <a:gd name="connsiteX15203" fmla="*/ 594900 w 5719680"/>
                <a:gd name="connsiteY15203" fmla="*/ 2374441 h 5704395"/>
                <a:gd name="connsiteX15204" fmla="*/ 574890 w 5719680"/>
                <a:gd name="connsiteY15204" fmla="*/ 2351942 h 5704395"/>
                <a:gd name="connsiteX15205" fmla="*/ 579019 w 5719680"/>
                <a:gd name="connsiteY15205" fmla="*/ 2314550 h 5704395"/>
                <a:gd name="connsiteX15206" fmla="*/ 591089 w 5719680"/>
                <a:gd name="connsiteY15206" fmla="*/ 2321204 h 5704395"/>
                <a:gd name="connsiteX15207" fmla="*/ 651436 w 5719680"/>
                <a:gd name="connsiteY15207" fmla="*/ 2248320 h 5704395"/>
                <a:gd name="connsiteX15208" fmla="*/ 2337992 w 5719680"/>
                <a:gd name="connsiteY15208" fmla="*/ 2247369 h 5704395"/>
                <a:gd name="connsiteX15209" fmla="*/ 2336722 w 5719680"/>
                <a:gd name="connsiteY15209" fmla="*/ 2248954 h 5704395"/>
                <a:gd name="connsiteX15210" fmla="*/ 2292890 w 5719680"/>
                <a:gd name="connsiteY15210" fmla="*/ 2254658 h 5704395"/>
                <a:gd name="connsiteX15211" fmla="*/ 2296702 w 5719680"/>
                <a:gd name="connsiteY15211" fmla="*/ 2289198 h 5704395"/>
                <a:gd name="connsiteX15212" fmla="*/ 2299878 w 5719680"/>
                <a:gd name="connsiteY15212" fmla="*/ 2314232 h 5704395"/>
                <a:gd name="connsiteX15213" fmla="*/ 2301466 w 5719680"/>
                <a:gd name="connsiteY15213" fmla="*/ 2322155 h 5704395"/>
                <a:gd name="connsiteX15214" fmla="*/ 2301784 w 5719680"/>
                <a:gd name="connsiteY15214" fmla="*/ 2324056 h 5704395"/>
                <a:gd name="connsiteX15215" fmla="*/ 2393893 w 5719680"/>
                <a:gd name="connsiteY15215" fmla="*/ 2302825 h 5704395"/>
                <a:gd name="connsiteX15216" fmla="*/ 2364037 w 5719680"/>
                <a:gd name="connsiteY15216" fmla="*/ 2272086 h 5704395"/>
                <a:gd name="connsiteX15217" fmla="*/ 2337992 w 5719680"/>
                <a:gd name="connsiteY15217" fmla="*/ 2247369 h 5704395"/>
                <a:gd name="connsiteX15218" fmla="*/ 3779982 w 5719680"/>
                <a:gd name="connsiteY15218" fmla="*/ 2247052 h 5704395"/>
                <a:gd name="connsiteX15219" fmla="*/ 3771406 w 5719680"/>
                <a:gd name="connsiteY15219" fmla="*/ 2259094 h 5704395"/>
                <a:gd name="connsiteX15220" fmla="*/ 3718999 w 5719680"/>
                <a:gd name="connsiteY15220" fmla="*/ 2293952 h 5704395"/>
                <a:gd name="connsiteX15221" fmla="*/ 3710741 w 5719680"/>
                <a:gd name="connsiteY15221" fmla="*/ 2294903 h 5704395"/>
                <a:gd name="connsiteX15222" fmla="*/ 3698036 w 5719680"/>
                <a:gd name="connsiteY15222" fmla="*/ 2295219 h 5704395"/>
                <a:gd name="connsiteX15223" fmla="*/ 3606880 w 5719680"/>
                <a:gd name="connsiteY15223" fmla="*/ 2292050 h 5704395"/>
                <a:gd name="connsiteX15224" fmla="*/ 3510641 w 5719680"/>
                <a:gd name="connsiteY15224" fmla="*/ 2285079 h 5704395"/>
                <a:gd name="connsiteX15225" fmla="*/ 3444576 w 5719680"/>
                <a:gd name="connsiteY15225" fmla="*/ 2280009 h 5704395"/>
                <a:gd name="connsiteX15226" fmla="*/ 3422978 w 5719680"/>
                <a:gd name="connsiteY15226" fmla="*/ 2278424 h 5704395"/>
                <a:gd name="connsiteX15227" fmla="*/ 3416626 w 5719680"/>
                <a:gd name="connsiteY15227" fmla="*/ 2278107 h 5704395"/>
                <a:gd name="connsiteX15228" fmla="*/ 3415038 w 5719680"/>
                <a:gd name="connsiteY15228" fmla="*/ 2277790 h 5704395"/>
                <a:gd name="connsiteX15229" fmla="*/ 3414402 w 5719680"/>
                <a:gd name="connsiteY15229" fmla="*/ 2277790 h 5704395"/>
                <a:gd name="connsiteX15230" fmla="*/ 3414085 w 5719680"/>
                <a:gd name="connsiteY15230" fmla="*/ 2277790 h 5704395"/>
                <a:gd name="connsiteX15231" fmla="*/ 3413132 w 5719680"/>
                <a:gd name="connsiteY15231" fmla="*/ 2277473 h 5704395"/>
                <a:gd name="connsiteX15232" fmla="*/ 3411862 w 5719680"/>
                <a:gd name="connsiteY15232" fmla="*/ 2277157 h 5704395"/>
                <a:gd name="connsiteX15233" fmla="*/ 3409638 w 5719680"/>
                <a:gd name="connsiteY15233" fmla="*/ 2275889 h 5704395"/>
                <a:gd name="connsiteX15234" fmla="*/ 3408050 w 5719680"/>
                <a:gd name="connsiteY15234" fmla="*/ 2274938 h 5704395"/>
                <a:gd name="connsiteX15235" fmla="*/ 3403604 w 5719680"/>
                <a:gd name="connsiteY15235" fmla="*/ 2272086 h 5704395"/>
                <a:gd name="connsiteX15236" fmla="*/ 3264804 w 5719680"/>
                <a:gd name="connsiteY15236" fmla="*/ 2664710 h 5704395"/>
                <a:gd name="connsiteX15237" fmla="*/ 3268933 w 5719680"/>
                <a:gd name="connsiteY15237" fmla="*/ 2665978 h 5704395"/>
                <a:gd name="connsiteX15238" fmla="*/ 3476974 w 5719680"/>
                <a:gd name="connsiteY15238" fmla="*/ 2723018 h 5704395"/>
                <a:gd name="connsiteX15239" fmla="*/ 3542085 w 5719680"/>
                <a:gd name="connsiteY15239" fmla="*/ 2736644 h 5704395"/>
                <a:gd name="connsiteX15240" fmla="*/ 3565272 w 5719680"/>
                <a:gd name="connsiteY15240" fmla="*/ 2741080 h 5704395"/>
                <a:gd name="connsiteX15241" fmla="*/ 3853669 w 5719680"/>
                <a:gd name="connsiteY15241" fmla="*/ 2759143 h 5704395"/>
                <a:gd name="connsiteX15242" fmla="*/ 3962612 w 5719680"/>
                <a:gd name="connsiteY15242" fmla="*/ 2765798 h 5704395"/>
                <a:gd name="connsiteX15243" fmla="*/ 3816190 w 5719680"/>
                <a:gd name="connsiteY15243" fmla="*/ 2291100 h 5704395"/>
                <a:gd name="connsiteX15244" fmla="*/ 3815873 w 5719680"/>
                <a:gd name="connsiteY15244" fmla="*/ 2289832 h 5704395"/>
                <a:gd name="connsiteX15245" fmla="*/ 3779982 w 5719680"/>
                <a:gd name="connsiteY15245" fmla="*/ 2247052 h 5704395"/>
                <a:gd name="connsiteX15246" fmla="*/ 1620809 w 5719680"/>
                <a:gd name="connsiteY15246" fmla="*/ 2244834 h 5704395"/>
                <a:gd name="connsiteX15247" fmla="*/ 1620816 w 5719680"/>
                <a:gd name="connsiteY15247" fmla="*/ 2245172 h 5704395"/>
                <a:gd name="connsiteX15248" fmla="*/ 1620809 w 5719680"/>
                <a:gd name="connsiteY15248" fmla="*/ 2245151 h 5704395"/>
                <a:gd name="connsiteX15249" fmla="*/ 1620809 w 5719680"/>
                <a:gd name="connsiteY15249" fmla="*/ 2245785 h 5704395"/>
                <a:gd name="connsiteX15250" fmla="*/ 1620809 w 5719680"/>
                <a:gd name="connsiteY15250" fmla="*/ 2247052 h 5704395"/>
                <a:gd name="connsiteX15251" fmla="*/ 1620855 w 5719680"/>
                <a:gd name="connsiteY15251" fmla="*/ 2247056 h 5704395"/>
                <a:gd name="connsiteX15252" fmla="*/ 1621524 w 5719680"/>
                <a:gd name="connsiteY15252" fmla="*/ 2279296 h 5704395"/>
                <a:gd name="connsiteX15253" fmla="*/ 1621762 w 5719680"/>
                <a:gd name="connsiteY15253" fmla="*/ 2298071 h 5704395"/>
                <a:gd name="connsiteX15254" fmla="*/ 1643678 w 5719680"/>
                <a:gd name="connsiteY15254" fmla="*/ 2343386 h 5704395"/>
                <a:gd name="connsiteX15255" fmla="*/ 1669087 w 5719680"/>
                <a:gd name="connsiteY15255" fmla="*/ 2327542 h 5704395"/>
                <a:gd name="connsiteX15256" fmla="*/ 1804075 w 5719680"/>
                <a:gd name="connsiteY15256" fmla="*/ 2329443 h 5704395"/>
                <a:gd name="connsiteX15257" fmla="*/ 1814874 w 5719680"/>
                <a:gd name="connsiteY15257" fmla="*/ 2267650 h 5704395"/>
                <a:gd name="connsiteX15258" fmla="*/ 1628366 w 5719680"/>
                <a:gd name="connsiteY15258" fmla="*/ 2247703 h 5704395"/>
                <a:gd name="connsiteX15259" fmla="*/ 1620855 w 5719680"/>
                <a:gd name="connsiteY15259" fmla="*/ 2247056 h 5704395"/>
                <a:gd name="connsiteX15260" fmla="*/ 1620816 w 5719680"/>
                <a:gd name="connsiteY15260" fmla="*/ 2245172 h 5704395"/>
                <a:gd name="connsiteX15261" fmla="*/ 1621444 w 5719680"/>
                <a:gd name="connsiteY15261" fmla="*/ 2247052 h 5704395"/>
                <a:gd name="connsiteX15262" fmla="*/ 1620809 w 5719680"/>
                <a:gd name="connsiteY15262" fmla="*/ 2244834 h 5704395"/>
                <a:gd name="connsiteX15263" fmla="*/ 1332094 w 5719680"/>
                <a:gd name="connsiteY15263" fmla="*/ 2244200 h 5704395"/>
                <a:gd name="connsiteX15264" fmla="*/ 1286992 w 5719680"/>
                <a:gd name="connsiteY15264" fmla="*/ 2318352 h 5704395"/>
                <a:gd name="connsiteX15265" fmla="*/ 1293344 w 5719680"/>
                <a:gd name="connsiteY15265" fmla="*/ 2322788 h 5704395"/>
                <a:gd name="connsiteX15266" fmla="*/ 1294932 w 5719680"/>
                <a:gd name="connsiteY15266" fmla="*/ 2320253 h 5704395"/>
                <a:gd name="connsiteX15267" fmla="*/ 1296520 w 5719680"/>
                <a:gd name="connsiteY15267" fmla="*/ 2317718 h 5704395"/>
                <a:gd name="connsiteX15268" fmla="*/ 1299061 w 5719680"/>
                <a:gd name="connsiteY15268" fmla="*/ 2318035 h 5704395"/>
                <a:gd name="connsiteX15269" fmla="*/ 1312719 w 5719680"/>
                <a:gd name="connsiteY15269" fmla="*/ 2319620 h 5704395"/>
                <a:gd name="connsiteX15270" fmla="*/ 1326376 w 5719680"/>
                <a:gd name="connsiteY15270" fmla="*/ 2268918 h 5704395"/>
                <a:gd name="connsiteX15271" fmla="*/ 1326694 w 5719680"/>
                <a:gd name="connsiteY15271" fmla="*/ 2268284 h 5704395"/>
                <a:gd name="connsiteX15272" fmla="*/ 1327012 w 5719680"/>
                <a:gd name="connsiteY15272" fmla="*/ 2267650 h 5704395"/>
                <a:gd name="connsiteX15273" fmla="*/ 1338764 w 5719680"/>
                <a:gd name="connsiteY15273" fmla="*/ 2248003 h 5704395"/>
                <a:gd name="connsiteX15274" fmla="*/ 1332094 w 5719680"/>
                <a:gd name="connsiteY15274" fmla="*/ 2244200 h 5704395"/>
                <a:gd name="connsiteX15275" fmla="*/ 1277781 w 5719680"/>
                <a:gd name="connsiteY15275" fmla="*/ 2243883 h 5704395"/>
                <a:gd name="connsiteX15276" fmla="*/ 1256500 w 5719680"/>
                <a:gd name="connsiteY15276" fmla="*/ 2246418 h 5704395"/>
                <a:gd name="connsiteX15277" fmla="*/ 1257771 w 5719680"/>
                <a:gd name="connsiteY15277" fmla="*/ 2259094 h 5704395"/>
                <a:gd name="connsiteX15278" fmla="*/ 1257771 w 5719680"/>
                <a:gd name="connsiteY15278" fmla="*/ 2260995 h 5704395"/>
                <a:gd name="connsiteX15279" fmla="*/ 1256500 w 5719680"/>
                <a:gd name="connsiteY15279" fmla="*/ 2262580 h 5704395"/>
                <a:gd name="connsiteX15280" fmla="*/ 1246972 w 5719680"/>
                <a:gd name="connsiteY15280" fmla="*/ 2272403 h 5704395"/>
                <a:gd name="connsiteX15281" fmla="*/ 1250466 w 5719680"/>
                <a:gd name="connsiteY15281" fmla="*/ 2289198 h 5704395"/>
                <a:gd name="connsiteX15282" fmla="*/ 1273016 w 5719680"/>
                <a:gd name="connsiteY15282" fmla="*/ 2285713 h 5704395"/>
                <a:gd name="connsiteX15283" fmla="*/ 1270793 w 5719680"/>
                <a:gd name="connsiteY15283" fmla="*/ 2270502 h 5704395"/>
                <a:gd name="connsiteX15284" fmla="*/ 1270476 w 5719680"/>
                <a:gd name="connsiteY15284" fmla="*/ 2267967 h 5704395"/>
                <a:gd name="connsiteX15285" fmla="*/ 1272381 w 5719680"/>
                <a:gd name="connsiteY15285" fmla="*/ 2266383 h 5704395"/>
                <a:gd name="connsiteX15286" fmla="*/ 1280639 w 5719680"/>
                <a:gd name="connsiteY15286" fmla="*/ 2259728 h 5704395"/>
                <a:gd name="connsiteX15287" fmla="*/ 1277781 w 5719680"/>
                <a:gd name="connsiteY15287" fmla="*/ 2243883 h 5704395"/>
                <a:gd name="connsiteX15288" fmla="*/ 1281275 w 5719680"/>
                <a:gd name="connsiteY15288" fmla="*/ 2239130 h 5704395"/>
                <a:gd name="connsiteX15289" fmla="*/ 1285721 w 5719680"/>
                <a:gd name="connsiteY15289" fmla="*/ 2261629 h 5704395"/>
                <a:gd name="connsiteX15290" fmla="*/ 1275240 w 5719680"/>
                <a:gd name="connsiteY15290" fmla="*/ 2269868 h 5704395"/>
                <a:gd name="connsiteX15291" fmla="*/ 1278098 w 5719680"/>
                <a:gd name="connsiteY15291" fmla="*/ 2289515 h 5704395"/>
                <a:gd name="connsiteX15292" fmla="*/ 1246972 w 5719680"/>
                <a:gd name="connsiteY15292" fmla="*/ 2294269 h 5704395"/>
                <a:gd name="connsiteX15293" fmla="*/ 1242207 w 5719680"/>
                <a:gd name="connsiteY15293" fmla="*/ 2271136 h 5704395"/>
                <a:gd name="connsiteX15294" fmla="*/ 1253324 w 5719680"/>
                <a:gd name="connsiteY15294" fmla="*/ 2259411 h 5704395"/>
                <a:gd name="connsiteX15295" fmla="*/ 1251736 w 5719680"/>
                <a:gd name="connsiteY15295" fmla="*/ 2242299 h 5704395"/>
                <a:gd name="connsiteX15296" fmla="*/ 1281275 w 5719680"/>
                <a:gd name="connsiteY15296" fmla="*/ 2239130 h 5704395"/>
                <a:gd name="connsiteX15297" fmla="*/ 1330823 w 5719680"/>
                <a:gd name="connsiteY15297" fmla="*/ 2238179 h 5704395"/>
                <a:gd name="connsiteX15298" fmla="*/ 1344798 w 5719680"/>
                <a:gd name="connsiteY15298" fmla="*/ 2246418 h 5704395"/>
                <a:gd name="connsiteX15299" fmla="*/ 1330823 w 5719680"/>
                <a:gd name="connsiteY15299" fmla="*/ 2269868 h 5704395"/>
                <a:gd name="connsiteX15300" fmla="*/ 1316213 w 5719680"/>
                <a:gd name="connsiteY15300" fmla="*/ 2324373 h 5704395"/>
                <a:gd name="connsiteX15301" fmla="*/ 1298744 w 5719680"/>
                <a:gd name="connsiteY15301" fmla="*/ 2322472 h 5704395"/>
                <a:gd name="connsiteX15302" fmla="*/ 1294615 w 5719680"/>
                <a:gd name="connsiteY15302" fmla="*/ 2329126 h 5704395"/>
                <a:gd name="connsiteX15303" fmla="*/ 1280957 w 5719680"/>
                <a:gd name="connsiteY15303" fmla="*/ 2319620 h 5704395"/>
                <a:gd name="connsiteX15304" fmla="*/ 1330823 w 5719680"/>
                <a:gd name="connsiteY15304" fmla="*/ 2238179 h 5704395"/>
                <a:gd name="connsiteX15305" fmla="*/ 1854577 w 5719680"/>
                <a:gd name="connsiteY15305" fmla="*/ 2232792 h 5704395"/>
                <a:gd name="connsiteX15306" fmla="*/ 1852671 w 5719680"/>
                <a:gd name="connsiteY15306" fmla="*/ 2248320 h 5704395"/>
                <a:gd name="connsiteX15307" fmla="*/ 1892056 w 5719680"/>
                <a:gd name="connsiteY15307" fmla="*/ 2253073 h 5704395"/>
                <a:gd name="connsiteX15308" fmla="*/ 1893961 w 5719680"/>
                <a:gd name="connsiteY15308" fmla="*/ 2237546 h 5704395"/>
                <a:gd name="connsiteX15309" fmla="*/ 1854577 w 5719680"/>
                <a:gd name="connsiteY15309" fmla="*/ 2232792 h 5704395"/>
                <a:gd name="connsiteX15310" fmla="*/ 1850765 w 5719680"/>
                <a:gd name="connsiteY15310" fmla="*/ 2228039 h 5704395"/>
                <a:gd name="connsiteX15311" fmla="*/ 1898726 w 5719680"/>
                <a:gd name="connsiteY15311" fmla="*/ 2233743 h 5704395"/>
                <a:gd name="connsiteX15312" fmla="*/ 1895549 w 5719680"/>
                <a:gd name="connsiteY15312" fmla="*/ 2257826 h 5704395"/>
                <a:gd name="connsiteX15313" fmla="*/ 1893644 w 5719680"/>
                <a:gd name="connsiteY15313" fmla="*/ 2257510 h 5704395"/>
                <a:gd name="connsiteX15314" fmla="*/ 1847907 w 5719680"/>
                <a:gd name="connsiteY15314" fmla="*/ 2251806 h 5704395"/>
                <a:gd name="connsiteX15315" fmla="*/ 401788 w 5719680"/>
                <a:gd name="connsiteY15315" fmla="*/ 2224236 h 5704395"/>
                <a:gd name="connsiteX15316" fmla="*/ 401470 w 5719680"/>
                <a:gd name="connsiteY15316" fmla="*/ 2224553 h 5704395"/>
                <a:gd name="connsiteX15317" fmla="*/ 361768 w 5719680"/>
                <a:gd name="connsiteY15317" fmla="*/ 2240714 h 5704395"/>
                <a:gd name="connsiteX15318" fmla="*/ 345252 w 5719680"/>
                <a:gd name="connsiteY15318" fmla="*/ 2285396 h 5704395"/>
                <a:gd name="connsiteX15319" fmla="*/ 429421 w 5719680"/>
                <a:gd name="connsiteY15319" fmla="*/ 2266066 h 5704395"/>
                <a:gd name="connsiteX15320" fmla="*/ 1843778 w 5719680"/>
                <a:gd name="connsiteY15320" fmla="*/ 2221385 h 5704395"/>
                <a:gd name="connsiteX15321" fmla="*/ 1836155 w 5719680"/>
                <a:gd name="connsiteY15321" fmla="*/ 2266383 h 5704395"/>
                <a:gd name="connsiteX15322" fmla="*/ 1917147 w 5719680"/>
                <a:gd name="connsiteY15322" fmla="*/ 2291733 h 5704395"/>
                <a:gd name="connsiteX15323" fmla="*/ 1994329 w 5719680"/>
                <a:gd name="connsiteY15323" fmla="*/ 2315817 h 5704395"/>
                <a:gd name="connsiteX15324" fmla="*/ 2020691 w 5719680"/>
                <a:gd name="connsiteY15324" fmla="*/ 2307895 h 5704395"/>
                <a:gd name="connsiteX15325" fmla="*/ 2021326 w 5719680"/>
                <a:gd name="connsiteY15325" fmla="*/ 2308212 h 5704395"/>
                <a:gd name="connsiteX15326" fmla="*/ 2053406 w 5719680"/>
                <a:gd name="connsiteY15326" fmla="*/ 2316451 h 5704395"/>
                <a:gd name="connsiteX15327" fmla="*/ 2075957 w 5719680"/>
                <a:gd name="connsiteY15327" fmla="*/ 2322155 h 5704395"/>
                <a:gd name="connsiteX15328" fmla="*/ 2083580 w 5719680"/>
                <a:gd name="connsiteY15328" fmla="*/ 2324056 h 5704395"/>
                <a:gd name="connsiteX15329" fmla="*/ 2084532 w 5719680"/>
                <a:gd name="connsiteY15329" fmla="*/ 2324373 h 5704395"/>
                <a:gd name="connsiteX15330" fmla="*/ 2086438 w 5719680"/>
                <a:gd name="connsiteY15330" fmla="*/ 2322472 h 5704395"/>
                <a:gd name="connsiteX15331" fmla="*/ 2096602 w 5719680"/>
                <a:gd name="connsiteY15331" fmla="*/ 2313599 h 5704395"/>
                <a:gd name="connsiteX15332" fmla="*/ 2097555 w 5719680"/>
                <a:gd name="connsiteY15332" fmla="*/ 2312965 h 5704395"/>
                <a:gd name="connsiteX15333" fmla="*/ 2140116 w 5719680"/>
                <a:gd name="connsiteY15333" fmla="*/ 2321521 h 5704395"/>
                <a:gd name="connsiteX15334" fmla="*/ 2148692 w 5719680"/>
                <a:gd name="connsiteY15334" fmla="*/ 2275255 h 5704395"/>
                <a:gd name="connsiteX15335" fmla="*/ 2041654 w 5719680"/>
                <a:gd name="connsiteY15335" fmla="*/ 2261629 h 5704395"/>
                <a:gd name="connsiteX15336" fmla="*/ 2029584 w 5719680"/>
                <a:gd name="connsiteY15336" fmla="*/ 2308845 h 5704395"/>
                <a:gd name="connsiteX15337" fmla="*/ 2025455 w 5719680"/>
                <a:gd name="connsiteY15337" fmla="*/ 2307895 h 5704395"/>
                <a:gd name="connsiteX15338" fmla="*/ 2037207 w 5719680"/>
                <a:gd name="connsiteY15338" fmla="*/ 2260995 h 5704395"/>
                <a:gd name="connsiteX15339" fmla="*/ 2035937 w 5719680"/>
                <a:gd name="connsiteY15339" fmla="*/ 2260678 h 5704395"/>
                <a:gd name="connsiteX15340" fmla="*/ 1936204 w 5719680"/>
                <a:gd name="connsiteY15340" fmla="*/ 2229623 h 5704395"/>
                <a:gd name="connsiteX15341" fmla="*/ 1843778 w 5719680"/>
                <a:gd name="connsiteY15341" fmla="*/ 2221385 h 5704395"/>
                <a:gd name="connsiteX15342" fmla="*/ 1766596 w 5719680"/>
                <a:gd name="connsiteY15342" fmla="*/ 2221067 h 5704395"/>
                <a:gd name="connsiteX15343" fmla="*/ 1764690 w 5719680"/>
                <a:gd name="connsiteY15343" fmla="*/ 2236595 h 5704395"/>
                <a:gd name="connsiteX15344" fmla="*/ 1804075 w 5719680"/>
                <a:gd name="connsiteY15344" fmla="*/ 2241348 h 5704395"/>
                <a:gd name="connsiteX15345" fmla="*/ 1805981 w 5719680"/>
                <a:gd name="connsiteY15345" fmla="*/ 2225821 h 5704395"/>
                <a:gd name="connsiteX15346" fmla="*/ 1766596 w 5719680"/>
                <a:gd name="connsiteY15346" fmla="*/ 2221067 h 5704395"/>
                <a:gd name="connsiteX15347" fmla="*/ 14611 w 5719680"/>
                <a:gd name="connsiteY15347" fmla="*/ 2221067 h 5704395"/>
                <a:gd name="connsiteX15348" fmla="*/ 44785 w 5719680"/>
                <a:gd name="connsiteY15348" fmla="*/ 2234060 h 5704395"/>
                <a:gd name="connsiteX15349" fmla="*/ 26045 w 5719680"/>
                <a:gd name="connsiteY15349" fmla="*/ 2277157 h 5704395"/>
                <a:gd name="connsiteX15350" fmla="*/ 1271 w 5719680"/>
                <a:gd name="connsiteY15350" fmla="*/ 2266383 h 5704395"/>
                <a:gd name="connsiteX15351" fmla="*/ 1271 w 5719680"/>
                <a:gd name="connsiteY15351" fmla="*/ 2264560 h 5704395"/>
                <a:gd name="connsiteX15352" fmla="*/ 1271 w 5719680"/>
                <a:gd name="connsiteY15352" fmla="*/ 2261946 h 5704395"/>
                <a:gd name="connsiteX15353" fmla="*/ 23822 w 5719680"/>
                <a:gd name="connsiteY15353" fmla="*/ 2271770 h 5704395"/>
                <a:gd name="connsiteX15354" fmla="*/ 39385 w 5719680"/>
                <a:gd name="connsiteY15354" fmla="*/ 2236278 h 5704395"/>
                <a:gd name="connsiteX15355" fmla="*/ 16834 w 5719680"/>
                <a:gd name="connsiteY15355" fmla="*/ 2226455 h 5704395"/>
                <a:gd name="connsiteX15356" fmla="*/ 1271 w 5719680"/>
                <a:gd name="connsiteY15356" fmla="*/ 2261946 h 5704395"/>
                <a:gd name="connsiteX15357" fmla="*/ 1271 w 5719680"/>
                <a:gd name="connsiteY15357" fmla="*/ 2251806 h 5704395"/>
                <a:gd name="connsiteX15358" fmla="*/ 14611 w 5719680"/>
                <a:gd name="connsiteY15358" fmla="*/ 2221067 h 5704395"/>
                <a:gd name="connsiteX15359" fmla="*/ 2209356 w 5719680"/>
                <a:gd name="connsiteY15359" fmla="*/ 2220751 h 5704395"/>
                <a:gd name="connsiteX15360" fmla="*/ 2198875 w 5719680"/>
                <a:gd name="connsiteY15360" fmla="*/ 2277473 h 5704395"/>
                <a:gd name="connsiteX15361" fmla="*/ 2223967 w 5719680"/>
                <a:gd name="connsiteY15361" fmla="*/ 2280643 h 5704395"/>
                <a:gd name="connsiteX15362" fmla="*/ 2232225 w 5719680"/>
                <a:gd name="connsiteY15362" fmla="*/ 2224236 h 5704395"/>
                <a:gd name="connsiteX15363" fmla="*/ 2209356 w 5719680"/>
                <a:gd name="connsiteY15363" fmla="*/ 2220751 h 5704395"/>
                <a:gd name="connsiteX15364" fmla="*/ 617451 w 5719680"/>
                <a:gd name="connsiteY15364" fmla="*/ 2220434 h 5704395"/>
                <a:gd name="connsiteX15365" fmla="*/ 603794 w 5719680"/>
                <a:gd name="connsiteY15365" fmla="*/ 2239764 h 5704395"/>
                <a:gd name="connsiteX15366" fmla="*/ 560915 w 5719680"/>
                <a:gd name="connsiteY15366" fmla="*/ 2302825 h 5704395"/>
                <a:gd name="connsiteX15367" fmla="*/ 542811 w 5719680"/>
                <a:gd name="connsiteY15367" fmla="*/ 2328810 h 5704395"/>
                <a:gd name="connsiteX15368" fmla="*/ 541223 w 5719680"/>
                <a:gd name="connsiteY15368" fmla="*/ 2331028 h 5704395"/>
                <a:gd name="connsiteX15369" fmla="*/ 541540 w 5719680"/>
                <a:gd name="connsiteY15369" fmla="*/ 2331028 h 5704395"/>
                <a:gd name="connsiteX15370" fmla="*/ 542176 w 5719680"/>
                <a:gd name="connsiteY15370" fmla="*/ 2331978 h 5704395"/>
                <a:gd name="connsiteX15371" fmla="*/ 569173 w 5719680"/>
                <a:gd name="connsiteY15371" fmla="*/ 2365568 h 5704395"/>
                <a:gd name="connsiteX15372" fmla="*/ 592995 w 5719680"/>
                <a:gd name="connsiteY15372" fmla="*/ 2395039 h 5704395"/>
                <a:gd name="connsiteX15373" fmla="*/ 702573 w 5719680"/>
                <a:gd name="connsiteY15373" fmla="*/ 2275255 h 5704395"/>
                <a:gd name="connsiteX15374" fmla="*/ 701938 w 5719680"/>
                <a:gd name="connsiteY15374" fmla="*/ 2274938 h 5704395"/>
                <a:gd name="connsiteX15375" fmla="*/ 640002 w 5719680"/>
                <a:gd name="connsiteY15375" fmla="*/ 2233109 h 5704395"/>
                <a:gd name="connsiteX15376" fmla="*/ 617451 w 5719680"/>
                <a:gd name="connsiteY15376" fmla="*/ 2220434 h 5704395"/>
                <a:gd name="connsiteX15377" fmla="*/ 2393893 w 5719680"/>
                <a:gd name="connsiteY15377" fmla="*/ 2216314 h 5704395"/>
                <a:gd name="connsiteX15378" fmla="*/ 2378330 w 5719680"/>
                <a:gd name="connsiteY15378" fmla="*/ 2232475 h 5704395"/>
                <a:gd name="connsiteX15379" fmla="*/ 2381188 w 5719680"/>
                <a:gd name="connsiteY15379" fmla="*/ 2235011 h 5704395"/>
                <a:gd name="connsiteX15380" fmla="*/ 2382459 w 5719680"/>
                <a:gd name="connsiteY15380" fmla="*/ 2236595 h 5704395"/>
                <a:gd name="connsiteX15381" fmla="*/ 2371660 w 5719680"/>
                <a:gd name="connsiteY15381" fmla="*/ 2248003 h 5704395"/>
                <a:gd name="connsiteX15382" fmla="*/ 2410409 w 5719680"/>
                <a:gd name="connsiteY15382" fmla="*/ 2286346 h 5704395"/>
                <a:gd name="connsiteX15383" fmla="*/ 2421208 w 5719680"/>
                <a:gd name="connsiteY15383" fmla="*/ 2275255 h 5704395"/>
                <a:gd name="connsiteX15384" fmla="*/ 2404057 w 5719680"/>
                <a:gd name="connsiteY15384" fmla="*/ 2258460 h 5704395"/>
                <a:gd name="connsiteX15385" fmla="*/ 2420256 w 5719680"/>
                <a:gd name="connsiteY15385" fmla="*/ 2241665 h 5704395"/>
                <a:gd name="connsiteX15386" fmla="*/ 2393893 w 5719680"/>
                <a:gd name="connsiteY15386" fmla="*/ 2216314 h 5704395"/>
                <a:gd name="connsiteX15387" fmla="*/ 1763102 w 5719680"/>
                <a:gd name="connsiteY15387" fmla="*/ 2216314 h 5704395"/>
                <a:gd name="connsiteX15388" fmla="*/ 1810745 w 5719680"/>
                <a:gd name="connsiteY15388" fmla="*/ 2222335 h 5704395"/>
                <a:gd name="connsiteX15389" fmla="*/ 1807887 w 5719680"/>
                <a:gd name="connsiteY15389" fmla="*/ 2246102 h 5704395"/>
                <a:gd name="connsiteX15390" fmla="*/ 1805663 w 5719680"/>
                <a:gd name="connsiteY15390" fmla="*/ 2245785 h 5704395"/>
                <a:gd name="connsiteX15391" fmla="*/ 1759926 w 5719680"/>
                <a:gd name="connsiteY15391" fmla="*/ 2240081 h 5704395"/>
                <a:gd name="connsiteX15392" fmla="*/ 1763102 w 5719680"/>
                <a:gd name="connsiteY15392" fmla="*/ 2216314 h 5704395"/>
                <a:gd name="connsiteX15393" fmla="*/ 2264305 w 5719680"/>
                <a:gd name="connsiteY15393" fmla="*/ 2215047 h 5704395"/>
                <a:gd name="connsiteX15394" fmla="*/ 2262399 w 5719680"/>
                <a:gd name="connsiteY15394" fmla="*/ 2230891 h 5704395"/>
                <a:gd name="connsiteX15395" fmla="*/ 2302101 w 5719680"/>
                <a:gd name="connsiteY15395" fmla="*/ 2235327 h 5704395"/>
                <a:gd name="connsiteX15396" fmla="*/ 2304007 w 5719680"/>
                <a:gd name="connsiteY15396" fmla="*/ 2219800 h 5704395"/>
                <a:gd name="connsiteX15397" fmla="*/ 2264305 w 5719680"/>
                <a:gd name="connsiteY15397" fmla="*/ 2215047 h 5704395"/>
                <a:gd name="connsiteX15398" fmla="*/ 2163937 w 5719680"/>
                <a:gd name="connsiteY15398" fmla="*/ 2214096 h 5704395"/>
                <a:gd name="connsiteX15399" fmla="*/ 2153456 w 5719680"/>
                <a:gd name="connsiteY15399" fmla="*/ 2271453 h 5704395"/>
                <a:gd name="connsiteX15400" fmla="*/ 2194746 w 5719680"/>
                <a:gd name="connsiteY15400" fmla="*/ 2276840 h 5704395"/>
                <a:gd name="connsiteX15401" fmla="*/ 2205228 w 5719680"/>
                <a:gd name="connsiteY15401" fmla="*/ 2220117 h 5704395"/>
                <a:gd name="connsiteX15402" fmla="*/ 2163937 w 5719680"/>
                <a:gd name="connsiteY15402" fmla="*/ 2214096 h 5704395"/>
                <a:gd name="connsiteX15403" fmla="*/ 2393893 w 5719680"/>
                <a:gd name="connsiteY15403" fmla="*/ 2210610 h 5704395"/>
                <a:gd name="connsiteX15404" fmla="*/ 2425973 w 5719680"/>
                <a:gd name="connsiteY15404" fmla="*/ 2241665 h 5704395"/>
                <a:gd name="connsiteX15405" fmla="*/ 2409774 w 5719680"/>
                <a:gd name="connsiteY15405" fmla="*/ 2258460 h 5704395"/>
                <a:gd name="connsiteX15406" fmla="*/ 2427243 w 5719680"/>
                <a:gd name="connsiteY15406" fmla="*/ 2274938 h 5704395"/>
                <a:gd name="connsiteX15407" fmla="*/ 2410409 w 5719680"/>
                <a:gd name="connsiteY15407" fmla="*/ 2292367 h 5704395"/>
                <a:gd name="connsiteX15408" fmla="*/ 2408821 w 5719680"/>
                <a:gd name="connsiteY15408" fmla="*/ 2290783 h 5704395"/>
                <a:gd name="connsiteX15409" fmla="*/ 2365625 w 5719680"/>
                <a:gd name="connsiteY15409" fmla="*/ 2248003 h 5704395"/>
                <a:gd name="connsiteX15410" fmla="*/ 2376742 w 5719680"/>
                <a:gd name="connsiteY15410" fmla="*/ 2236595 h 5704395"/>
                <a:gd name="connsiteX15411" fmla="*/ 2373883 w 5719680"/>
                <a:gd name="connsiteY15411" fmla="*/ 2234060 h 5704395"/>
                <a:gd name="connsiteX15412" fmla="*/ 2372613 w 5719680"/>
                <a:gd name="connsiteY15412" fmla="*/ 2232475 h 5704395"/>
                <a:gd name="connsiteX15413" fmla="*/ 2393893 w 5719680"/>
                <a:gd name="connsiteY15413" fmla="*/ 2210610 h 5704395"/>
                <a:gd name="connsiteX15414" fmla="*/ 2260811 w 5719680"/>
                <a:gd name="connsiteY15414" fmla="*/ 2210610 h 5704395"/>
                <a:gd name="connsiteX15415" fmla="*/ 2308454 w 5719680"/>
                <a:gd name="connsiteY15415" fmla="*/ 2216314 h 5704395"/>
                <a:gd name="connsiteX15416" fmla="*/ 2305595 w 5719680"/>
                <a:gd name="connsiteY15416" fmla="*/ 2240081 h 5704395"/>
                <a:gd name="connsiteX15417" fmla="*/ 2303690 w 5719680"/>
                <a:gd name="connsiteY15417" fmla="*/ 2239764 h 5704395"/>
                <a:gd name="connsiteX15418" fmla="*/ 2257952 w 5719680"/>
                <a:gd name="connsiteY15418" fmla="*/ 2234377 h 5704395"/>
                <a:gd name="connsiteX15419" fmla="*/ 2682926 w 5719680"/>
                <a:gd name="connsiteY15419" fmla="*/ 2208392 h 5704395"/>
                <a:gd name="connsiteX15420" fmla="*/ 2666728 w 5719680"/>
                <a:gd name="connsiteY15420" fmla="*/ 2244517 h 5704395"/>
                <a:gd name="connsiteX15421" fmla="*/ 2681020 w 5719680"/>
                <a:gd name="connsiteY15421" fmla="*/ 2251172 h 5704395"/>
                <a:gd name="connsiteX15422" fmla="*/ 2697219 w 5719680"/>
                <a:gd name="connsiteY15422" fmla="*/ 2214730 h 5704395"/>
                <a:gd name="connsiteX15423" fmla="*/ 2682926 w 5719680"/>
                <a:gd name="connsiteY15423" fmla="*/ 2208392 h 5704395"/>
                <a:gd name="connsiteX15424" fmla="*/ 2680703 w 5719680"/>
                <a:gd name="connsiteY15424" fmla="*/ 2203005 h 5704395"/>
                <a:gd name="connsiteX15425" fmla="*/ 2702619 w 5719680"/>
                <a:gd name="connsiteY15425" fmla="*/ 2212511 h 5704395"/>
                <a:gd name="connsiteX15426" fmla="*/ 2701984 w 5719680"/>
                <a:gd name="connsiteY15426" fmla="*/ 2214413 h 5704395"/>
                <a:gd name="connsiteX15427" fmla="*/ 2683244 w 5719680"/>
                <a:gd name="connsiteY15427" fmla="*/ 2256559 h 5704395"/>
                <a:gd name="connsiteX15428" fmla="*/ 2661328 w 5719680"/>
                <a:gd name="connsiteY15428" fmla="*/ 2246735 h 5704395"/>
                <a:gd name="connsiteX15429" fmla="*/ 2680703 w 5719680"/>
                <a:gd name="connsiteY15429" fmla="*/ 2203005 h 5704395"/>
                <a:gd name="connsiteX15430" fmla="*/ 2479968 w 5719680"/>
                <a:gd name="connsiteY15430" fmla="*/ 2202371 h 5704395"/>
                <a:gd name="connsiteX15431" fmla="*/ 2471074 w 5719680"/>
                <a:gd name="connsiteY15431" fmla="*/ 2215363 h 5704395"/>
                <a:gd name="connsiteX15432" fmla="*/ 2503472 w 5719680"/>
                <a:gd name="connsiteY15432" fmla="*/ 2238179 h 5704395"/>
                <a:gd name="connsiteX15433" fmla="*/ 2512682 w 5719680"/>
                <a:gd name="connsiteY15433" fmla="*/ 2225504 h 5704395"/>
                <a:gd name="connsiteX15434" fmla="*/ 2479968 w 5719680"/>
                <a:gd name="connsiteY15434" fmla="*/ 2202371 h 5704395"/>
                <a:gd name="connsiteX15435" fmla="*/ 109261 w 5719680"/>
                <a:gd name="connsiteY15435" fmla="*/ 2201420 h 5704395"/>
                <a:gd name="connsiteX15436" fmla="*/ 107355 w 5719680"/>
                <a:gd name="connsiteY15436" fmla="*/ 2202688 h 5704395"/>
                <a:gd name="connsiteX15437" fmla="*/ 106085 w 5719680"/>
                <a:gd name="connsiteY15437" fmla="*/ 2203639 h 5704395"/>
                <a:gd name="connsiteX15438" fmla="*/ 97509 w 5719680"/>
                <a:gd name="connsiteY15438" fmla="*/ 2220751 h 5704395"/>
                <a:gd name="connsiteX15439" fmla="*/ 75276 w 5719680"/>
                <a:gd name="connsiteY15439" fmla="*/ 2272403 h 5704395"/>
                <a:gd name="connsiteX15440" fmla="*/ 66065 w 5719680"/>
                <a:gd name="connsiteY15440" fmla="*/ 2293952 h 5704395"/>
                <a:gd name="connsiteX15441" fmla="*/ 64477 w 5719680"/>
                <a:gd name="connsiteY15441" fmla="*/ 2296804 h 5704395"/>
                <a:gd name="connsiteX15442" fmla="*/ 114025 w 5719680"/>
                <a:gd name="connsiteY15442" fmla="*/ 2365251 h 5704395"/>
                <a:gd name="connsiteX15443" fmla="*/ 153093 w 5719680"/>
                <a:gd name="connsiteY15443" fmla="*/ 2325007 h 5704395"/>
                <a:gd name="connsiteX15444" fmla="*/ 184537 w 5719680"/>
                <a:gd name="connsiteY15444" fmla="*/ 2293001 h 5704395"/>
                <a:gd name="connsiteX15445" fmla="*/ 195653 w 5719680"/>
                <a:gd name="connsiteY15445" fmla="*/ 2282544 h 5704395"/>
                <a:gd name="connsiteX15446" fmla="*/ 198830 w 5719680"/>
                <a:gd name="connsiteY15446" fmla="*/ 2279375 h 5704395"/>
                <a:gd name="connsiteX15447" fmla="*/ 199465 w 5719680"/>
                <a:gd name="connsiteY15447" fmla="*/ 2279058 h 5704395"/>
                <a:gd name="connsiteX15448" fmla="*/ 137529 w 5719680"/>
                <a:gd name="connsiteY15448" fmla="*/ 2225187 h 5704395"/>
                <a:gd name="connsiteX15449" fmla="*/ 115614 w 5719680"/>
                <a:gd name="connsiteY15449" fmla="*/ 2206491 h 5704395"/>
                <a:gd name="connsiteX15450" fmla="*/ 109261 w 5719680"/>
                <a:gd name="connsiteY15450" fmla="*/ 2201420 h 5704395"/>
                <a:gd name="connsiteX15451" fmla="*/ 2257000 w 5719680"/>
                <a:gd name="connsiteY15451" fmla="*/ 2199202 h 5704395"/>
                <a:gd name="connsiteX15452" fmla="*/ 2247471 w 5719680"/>
                <a:gd name="connsiteY15452" fmla="*/ 2262897 h 5704395"/>
                <a:gd name="connsiteX15453" fmla="*/ 2290032 w 5719680"/>
                <a:gd name="connsiteY15453" fmla="*/ 2268918 h 5704395"/>
                <a:gd name="connsiteX15454" fmla="*/ 2288444 w 5719680"/>
                <a:gd name="connsiteY15454" fmla="*/ 2253073 h 5704395"/>
                <a:gd name="connsiteX15455" fmla="*/ 2288126 w 5719680"/>
                <a:gd name="connsiteY15455" fmla="*/ 2250855 h 5704395"/>
                <a:gd name="connsiteX15456" fmla="*/ 2334498 w 5719680"/>
                <a:gd name="connsiteY15456" fmla="*/ 2244834 h 5704395"/>
                <a:gd name="connsiteX15457" fmla="*/ 2354191 w 5719680"/>
                <a:gd name="connsiteY15457" fmla="*/ 2217265 h 5704395"/>
                <a:gd name="connsiteX15458" fmla="*/ 2257000 w 5719680"/>
                <a:gd name="connsiteY15458" fmla="*/ 2199202 h 5704395"/>
                <a:gd name="connsiteX15459" fmla="*/ 1177096 w 5719680"/>
                <a:gd name="connsiteY15459" fmla="*/ 2197301 h 5704395"/>
                <a:gd name="connsiteX15460" fmla="*/ 1170743 w 5719680"/>
                <a:gd name="connsiteY15460" fmla="*/ 2207441 h 5704395"/>
                <a:gd name="connsiteX15461" fmla="*/ 1131676 w 5719680"/>
                <a:gd name="connsiteY15461" fmla="*/ 2198252 h 5704395"/>
                <a:gd name="connsiteX15462" fmla="*/ 1117383 w 5719680"/>
                <a:gd name="connsiteY15462" fmla="*/ 2239764 h 5704395"/>
                <a:gd name="connsiteX15463" fmla="*/ 1157403 w 5719680"/>
                <a:gd name="connsiteY15463" fmla="*/ 2259728 h 5704395"/>
                <a:gd name="connsiteX15464" fmla="*/ 1171061 w 5719680"/>
                <a:gd name="connsiteY15464" fmla="*/ 2224870 h 5704395"/>
                <a:gd name="connsiteX15465" fmla="*/ 1218068 w 5719680"/>
                <a:gd name="connsiteY15465" fmla="*/ 2233109 h 5704395"/>
                <a:gd name="connsiteX15466" fmla="*/ 1224421 w 5719680"/>
                <a:gd name="connsiteY15466" fmla="*/ 2205223 h 5704395"/>
                <a:gd name="connsiteX15467" fmla="*/ 1177096 w 5719680"/>
                <a:gd name="connsiteY15467" fmla="*/ 2197301 h 5704395"/>
                <a:gd name="connsiteX15468" fmla="*/ 2023232 w 5719680"/>
                <a:gd name="connsiteY15468" fmla="*/ 2193498 h 5704395"/>
                <a:gd name="connsiteX15469" fmla="*/ 2022914 w 5719680"/>
                <a:gd name="connsiteY15469" fmla="*/ 2194132 h 5704395"/>
                <a:gd name="connsiteX15470" fmla="*/ 2043560 w 5719680"/>
                <a:gd name="connsiteY15470" fmla="*/ 2254658 h 5704395"/>
                <a:gd name="connsiteX15471" fmla="*/ 2042924 w 5719680"/>
                <a:gd name="connsiteY15471" fmla="*/ 2257193 h 5704395"/>
                <a:gd name="connsiteX15472" fmla="*/ 2149327 w 5719680"/>
                <a:gd name="connsiteY15472" fmla="*/ 2271136 h 5704395"/>
                <a:gd name="connsiteX15473" fmla="*/ 2159808 w 5719680"/>
                <a:gd name="connsiteY15473" fmla="*/ 2213462 h 5704395"/>
                <a:gd name="connsiteX15474" fmla="*/ 2130270 w 5719680"/>
                <a:gd name="connsiteY15474" fmla="*/ 2209026 h 5704395"/>
                <a:gd name="connsiteX15475" fmla="*/ 2023232 w 5719680"/>
                <a:gd name="connsiteY15475" fmla="*/ 2193498 h 5704395"/>
                <a:gd name="connsiteX15476" fmla="*/ 1174872 w 5719680"/>
                <a:gd name="connsiteY15476" fmla="*/ 2191914 h 5704395"/>
                <a:gd name="connsiteX15477" fmla="*/ 1176460 w 5719680"/>
                <a:gd name="connsiteY15477" fmla="*/ 2192231 h 5704395"/>
                <a:gd name="connsiteX15478" fmla="*/ 1226327 w 5719680"/>
                <a:gd name="connsiteY15478" fmla="*/ 2200787 h 5704395"/>
                <a:gd name="connsiteX15479" fmla="*/ 1228867 w 5719680"/>
                <a:gd name="connsiteY15479" fmla="*/ 2203005 h 5704395"/>
                <a:gd name="connsiteX15480" fmla="*/ 1228867 w 5719680"/>
                <a:gd name="connsiteY15480" fmla="*/ 2204589 h 5704395"/>
                <a:gd name="connsiteX15481" fmla="*/ 1221880 w 5719680"/>
                <a:gd name="connsiteY15481" fmla="*/ 2236278 h 5704395"/>
                <a:gd name="connsiteX15482" fmla="*/ 1221562 w 5719680"/>
                <a:gd name="connsiteY15482" fmla="*/ 2238496 h 5704395"/>
                <a:gd name="connsiteX15483" fmla="*/ 1173919 w 5719680"/>
                <a:gd name="connsiteY15483" fmla="*/ 2229940 h 5704395"/>
                <a:gd name="connsiteX15484" fmla="*/ 1159944 w 5719680"/>
                <a:gd name="connsiteY15484" fmla="*/ 2266383 h 5704395"/>
                <a:gd name="connsiteX15485" fmla="*/ 1111666 w 5719680"/>
                <a:gd name="connsiteY15485" fmla="*/ 2241982 h 5704395"/>
                <a:gd name="connsiteX15486" fmla="*/ 1128500 w 5719680"/>
                <a:gd name="connsiteY15486" fmla="*/ 2192548 h 5704395"/>
                <a:gd name="connsiteX15487" fmla="*/ 1168520 w 5719680"/>
                <a:gd name="connsiteY15487" fmla="*/ 2202054 h 5704395"/>
                <a:gd name="connsiteX15488" fmla="*/ 1174872 w 5719680"/>
                <a:gd name="connsiteY15488" fmla="*/ 2191914 h 5704395"/>
                <a:gd name="connsiteX15489" fmla="*/ 950316 w 5719680"/>
                <a:gd name="connsiteY15489" fmla="*/ 2178921 h 5704395"/>
                <a:gd name="connsiteX15490" fmla="*/ 938881 w 5719680"/>
                <a:gd name="connsiteY15490" fmla="*/ 2182090 h 5704395"/>
                <a:gd name="connsiteX15491" fmla="*/ 954445 w 5719680"/>
                <a:gd name="connsiteY15491" fmla="*/ 2218849 h 5704395"/>
                <a:gd name="connsiteX15492" fmla="*/ 942693 w 5719680"/>
                <a:gd name="connsiteY15492" fmla="*/ 2222652 h 5704395"/>
                <a:gd name="connsiteX15493" fmla="*/ 972231 w 5719680"/>
                <a:gd name="connsiteY15493" fmla="*/ 2294269 h 5704395"/>
                <a:gd name="connsiteX15494" fmla="*/ 983666 w 5719680"/>
                <a:gd name="connsiteY15494" fmla="*/ 2288565 h 5704395"/>
                <a:gd name="connsiteX15495" fmla="*/ 990336 w 5719680"/>
                <a:gd name="connsiteY15495" fmla="*/ 2296804 h 5704395"/>
                <a:gd name="connsiteX15496" fmla="*/ 1010981 w 5719680"/>
                <a:gd name="connsiteY15496" fmla="*/ 2286980 h 5704395"/>
                <a:gd name="connsiteX15497" fmla="*/ 1010981 w 5719680"/>
                <a:gd name="connsiteY15497" fmla="*/ 2286663 h 5704395"/>
                <a:gd name="connsiteX15498" fmla="*/ 1017333 w 5719680"/>
                <a:gd name="connsiteY15498" fmla="*/ 2274621 h 5704395"/>
                <a:gd name="connsiteX15499" fmla="*/ 1048460 w 5719680"/>
                <a:gd name="connsiteY15499" fmla="*/ 2267333 h 5704395"/>
                <a:gd name="connsiteX15500" fmla="*/ 1050683 w 5719680"/>
                <a:gd name="connsiteY15500" fmla="*/ 2267333 h 5704395"/>
                <a:gd name="connsiteX15501" fmla="*/ 1000500 w 5719680"/>
                <a:gd name="connsiteY15501" fmla="*/ 2232159 h 5704395"/>
                <a:gd name="connsiteX15502" fmla="*/ 950316 w 5719680"/>
                <a:gd name="connsiteY15502" fmla="*/ 2178921 h 5704395"/>
                <a:gd name="connsiteX15503" fmla="*/ 1863788 w 5719680"/>
                <a:gd name="connsiteY15503" fmla="*/ 2178288 h 5704395"/>
                <a:gd name="connsiteX15504" fmla="*/ 1861882 w 5719680"/>
                <a:gd name="connsiteY15504" fmla="*/ 2193815 h 5704395"/>
                <a:gd name="connsiteX15505" fmla="*/ 1901584 w 5719680"/>
                <a:gd name="connsiteY15505" fmla="*/ 2198568 h 5704395"/>
                <a:gd name="connsiteX15506" fmla="*/ 1903490 w 5719680"/>
                <a:gd name="connsiteY15506" fmla="*/ 2183041 h 5704395"/>
                <a:gd name="connsiteX15507" fmla="*/ 1863788 w 5719680"/>
                <a:gd name="connsiteY15507" fmla="*/ 2178288 h 5704395"/>
                <a:gd name="connsiteX15508" fmla="*/ 2367848 w 5719680"/>
                <a:gd name="connsiteY15508" fmla="*/ 2177971 h 5704395"/>
                <a:gd name="connsiteX15509" fmla="*/ 2360226 w 5719680"/>
                <a:gd name="connsiteY15509" fmla="*/ 2216631 h 5704395"/>
                <a:gd name="connsiteX15510" fmla="*/ 2340533 w 5719680"/>
                <a:gd name="connsiteY15510" fmla="*/ 2243566 h 5704395"/>
                <a:gd name="connsiteX15511" fmla="*/ 2368484 w 5719680"/>
                <a:gd name="connsiteY15511" fmla="*/ 2270502 h 5704395"/>
                <a:gd name="connsiteX15512" fmla="*/ 2389446 w 5719680"/>
                <a:gd name="connsiteY15512" fmla="*/ 2291417 h 5704395"/>
                <a:gd name="connsiteX15513" fmla="*/ 2396434 w 5719680"/>
                <a:gd name="connsiteY15513" fmla="*/ 2299022 h 5704395"/>
                <a:gd name="connsiteX15514" fmla="*/ 2398340 w 5719680"/>
                <a:gd name="connsiteY15514" fmla="*/ 2301240 h 5704395"/>
                <a:gd name="connsiteX15515" fmla="*/ 2479333 w 5719680"/>
                <a:gd name="connsiteY15515" fmla="*/ 2260678 h 5704395"/>
                <a:gd name="connsiteX15516" fmla="*/ 2479968 w 5719680"/>
                <a:gd name="connsiteY15516" fmla="*/ 2260045 h 5704395"/>
                <a:gd name="connsiteX15517" fmla="*/ 2423749 w 5719680"/>
                <a:gd name="connsiteY15517" fmla="*/ 2218532 h 5704395"/>
                <a:gd name="connsiteX15518" fmla="*/ 2382459 w 5719680"/>
                <a:gd name="connsiteY15518" fmla="*/ 2188111 h 5704395"/>
                <a:gd name="connsiteX15519" fmla="*/ 2368484 w 5719680"/>
                <a:gd name="connsiteY15519" fmla="*/ 2178288 h 5704395"/>
                <a:gd name="connsiteX15520" fmla="*/ 2367848 w 5719680"/>
                <a:gd name="connsiteY15520" fmla="*/ 2177971 h 5704395"/>
                <a:gd name="connsiteX15521" fmla="*/ 1266346 w 5719680"/>
                <a:gd name="connsiteY15521" fmla="*/ 2176069 h 5704395"/>
                <a:gd name="connsiteX15522" fmla="*/ 1259994 w 5719680"/>
                <a:gd name="connsiteY15522" fmla="*/ 2190329 h 5704395"/>
                <a:gd name="connsiteX15523" fmla="*/ 1267935 w 5719680"/>
                <a:gd name="connsiteY15523" fmla="*/ 2200153 h 5704395"/>
                <a:gd name="connsiteX15524" fmla="*/ 1269523 w 5719680"/>
                <a:gd name="connsiteY15524" fmla="*/ 2202054 h 5704395"/>
                <a:gd name="connsiteX15525" fmla="*/ 1268252 w 5719680"/>
                <a:gd name="connsiteY15525" fmla="*/ 2204589 h 5704395"/>
                <a:gd name="connsiteX15526" fmla="*/ 1263170 w 5719680"/>
                <a:gd name="connsiteY15526" fmla="*/ 2217265 h 5704395"/>
                <a:gd name="connsiteX15527" fmla="*/ 1282863 w 5719680"/>
                <a:gd name="connsiteY15527" fmla="*/ 2224870 h 5704395"/>
                <a:gd name="connsiteX15528" fmla="*/ 1287627 w 5719680"/>
                <a:gd name="connsiteY15528" fmla="*/ 2211561 h 5704395"/>
                <a:gd name="connsiteX15529" fmla="*/ 1282545 w 5719680"/>
                <a:gd name="connsiteY15529" fmla="*/ 2200470 h 5704395"/>
                <a:gd name="connsiteX15530" fmla="*/ 1281910 w 5719680"/>
                <a:gd name="connsiteY15530" fmla="*/ 2198568 h 5704395"/>
                <a:gd name="connsiteX15531" fmla="*/ 1282545 w 5719680"/>
                <a:gd name="connsiteY15531" fmla="*/ 2196984 h 5704395"/>
                <a:gd name="connsiteX15532" fmla="*/ 1286674 w 5719680"/>
                <a:gd name="connsiteY15532" fmla="*/ 2185259 h 5704395"/>
                <a:gd name="connsiteX15533" fmla="*/ 1266346 w 5719680"/>
                <a:gd name="connsiteY15533" fmla="*/ 2176069 h 5704395"/>
                <a:gd name="connsiteX15534" fmla="*/ 2217615 w 5719680"/>
                <a:gd name="connsiteY15534" fmla="*/ 2175119 h 5704395"/>
                <a:gd name="connsiteX15535" fmla="*/ 2209992 w 5719680"/>
                <a:gd name="connsiteY15535" fmla="*/ 2216314 h 5704395"/>
                <a:gd name="connsiteX15536" fmla="*/ 2232860 w 5719680"/>
                <a:gd name="connsiteY15536" fmla="*/ 2219800 h 5704395"/>
                <a:gd name="connsiteX15537" fmla="*/ 2238895 w 5719680"/>
                <a:gd name="connsiteY15537" fmla="*/ 2178605 h 5704395"/>
                <a:gd name="connsiteX15538" fmla="*/ 2217615 w 5719680"/>
                <a:gd name="connsiteY15538" fmla="*/ 2175119 h 5704395"/>
                <a:gd name="connsiteX15539" fmla="*/ 1860294 w 5719680"/>
                <a:gd name="connsiteY15539" fmla="*/ 2173534 h 5704395"/>
                <a:gd name="connsiteX15540" fmla="*/ 1907937 w 5719680"/>
                <a:gd name="connsiteY15540" fmla="*/ 2179555 h 5704395"/>
                <a:gd name="connsiteX15541" fmla="*/ 1905078 w 5719680"/>
                <a:gd name="connsiteY15541" fmla="*/ 2203322 h 5704395"/>
                <a:gd name="connsiteX15542" fmla="*/ 1903172 w 5719680"/>
                <a:gd name="connsiteY15542" fmla="*/ 2203005 h 5704395"/>
                <a:gd name="connsiteX15543" fmla="*/ 1857435 w 5719680"/>
                <a:gd name="connsiteY15543" fmla="*/ 2197301 h 5704395"/>
                <a:gd name="connsiteX15544" fmla="*/ 952221 w 5719680"/>
                <a:gd name="connsiteY15544" fmla="*/ 2173534 h 5704395"/>
                <a:gd name="connsiteX15545" fmla="*/ 953174 w 5719680"/>
                <a:gd name="connsiteY15545" fmla="*/ 2174802 h 5704395"/>
                <a:gd name="connsiteX15546" fmla="*/ 970008 w 5719680"/>
                <a:gd name="connsiteY15546" fmla="*/ 2196667 h 5704395"/>
                <a:gd name="connsiteX15547" fmla="*/ 1003041 w 5719680"/>
                <a:gd name="connsiteY15547" fmla="*/ 2228356 h 5704395"/>
                <a:gd name="connsiteX15548" fmla="*/ 1059577 w 5719680"/>
                <a:gd name="connsiteY15548" fmla="*/ 2268284 h 5704395"/>
                <a:gd name="connsiteX15549" fmla="*/ 1065611 w 5719680"/>
                <a:gd name="connsiteY15549" fmla="*/ 2273037 h 5704395"/>
                <a:gd name="connsiteX15550" fmla="*/ 1057989 w 5719680"/>
                <a:gd name="connsiteY15550" fmla="*/ 2272403 h 5704395"/>
                <a:gd name="connsiteX15551" fmla="*/ 1048460 w 5719680"/>
                <a:gd name="connsiteY15551" fmla="*/ 2272086 h 5704395"/>
                <a:gd name="connsiteX15552" fmla="*/ 1015745 w 5719680"/>
                <a:gd name="connsiteY15552" fmla="*/ 2286663 h 5704395"/>
                <a:gd name="connsiteX15553" fmla="*/ 1015745 w 5719680"/>
                <a:gd name="connsiteY15553" fmla="*/ 2287931 h 5704395"/>
                <a:gd name="connsiteX15554" fmla="*/ 1016063 w 5719680"/>
                <a:gd name="connsiteY15554" fmla="*/ 2289832 h 5704395"/>
                <a:gd name="connsiteX15555" fmla="*/ 989065 w 5719680"/>
                <a:gd name="connsiteY15555" fmla="*/ 2302508 h 5704395"/>
                <a:gd name="connsiteX15556" fmla="*/ 982395 w 5719680"/>
                <a:gd name="connsiteY15556" fmla="*/ 2294269 h 5704395"/>
                <a:gd name="connsiteX15557" fmla="*/ 970008 w 5719680"/>
                <a:gd name="connsiteY15557" fmla="*/ 2300606 h 5704395"/>
                <a:gd name="connsiteX15558" fmla="*/ 936341 w 5719680"/>
                <a:gd name="connsiteY15558" fmla="*/ 2219800 h 5704395"/>
                <a:gd name="connsiteX15559" fmla="*/ 948092 w 5719680"/>
                <a:gd name="connsiteY15559" fmla="*/ 2215997 h 5704395"/>
                <a:gd name="connsiteX15560" fmla="*/ 932529 w 5719680"/>
                <a:gd name="connsiteY15560" fmla="*/ 2178921 h 5704395"/>
                <a:gd name="connsiteX15561" fmla="*/ 952221 w 5719680"/>
                <a:gd name="connsiteY15561" fmla="*/ 2173534 h 5704395"/>
                <a:gd name="connsiteX15562" fmla="*/ 1264123 w 5719680"/>
                <a:gd name="connsiteY15562" fmla="*/ 2170365 h 5704395"/>
                <a:gd name="connsiteX15563" fmla="*/ 1292074 w 5719680"/>
                <a:gd name="connsiteY15563" fmla="*/ 2183041 h 5704395"/>
                <a:gd name="connsiteX15564" fmla="*/ 1286674 w 5719680"/>
                <a:gd name="connsiteY15564" fmla="*/ 2198568 h 5704395"/>
                <a:gd name="connsiteX15565" fmla="*/ 1292391 w 5719680"/>
                <a:gd name="connsiteY15565" fmla="*/ 2211244 h 5704395"/>
                <a:gd name="connsiteX15566" fmla="*/ 1285404 w 5719680"/>
                <a:gd name="connsiteY15566" fmla="*/ 2230891 h 5704395"/>
                <a:gd name="connsiteX15567" fmla="*/ 1257136 w 5719680"/>
                <a:gd name="connsiteY15567" fmla="*/ 2219483 h 5704395"/>
                <a:gd name="connsiteX15568" fmla="*/ 1264441 w 5719680"/>
                <a:gd name="connsiteY15568" fmla="*/ 2202688 h 5704395"/>
                <a:gd name="connsiteX15569" fmla="*/ 1254912 w 5719680"/>
                <a:gd name="connsiteY15569" fmla="*/ 2190963 h 5704395"/>
                <a:gd name="connsiteX15570" fmla="*/ 1264123 w 5719680"/>
                <a:gd name="connsiteY15570" fmla="*/ 2170365 h 5704395"/>
                <a:gd name="connsiteX15571" fmla="*/ 2172513 w 5719680"/>
                <a:gd name="connsiteY15571" fmla="*/ 2167831 h 5704395"/>
                <a:gd name="connsiteX15572" fmla="*/ 2164890 w 5719680"/>
                <a:gd name="connsiteY15572" fmla="*/ 2209659 h 5704395"/>
                <a:gd name="connsiteX15573" fmla="*/ 2205863 w 5719680"/>
                <a:gd name="connsiteY15573" fmla="*/ 2215680 h 5704395"/>
                <a:gd name="connsiteX15574" fmla="*/ 2213486 w 5719680"/>
                <a:gd name="connsiteY15574" fmla="*/ 2174485 h 5704395"/>
                <a:gd name="connsiteX15575" fmla="*/ 2172513 w 5719680"/>
                <a:gd name="connsiteY15575" fmla="*/ 2167831 h 5704395"/>
                <a:gd name="connsiteX15576" fmla="*/ 1776125 w 5719680"/>
                <a:gd name="connsiteY15576" fmla="*/ 2166563 h 5704395"/>
                <a:gd name="connsiteX15577" fmla="*/ 1774219 w 5719680"/>
                <a:gd name="connsiteY15577" fmla="*/ 2182090 h 5704395"/>
                <a:gd name="connsiteX15578" fmla="*/ 1813604 w 5719680"/>
                <a:gd name="connsiteY15578" fmla="*/ 2187160 h 5704395"/>
                <a:gd name="connsiteX15579" fmla="*/ 1815509 w 5719680"/>
                <a:gd name="connsiteY15579" fmla="*/ 2171316 h 5704395"/>
                <a:gd name="connsiteX15580" fmla="*/ 1776125 w 5719680"/>
                <a:gd name="connsiteY15580" fmla="*/ 2166563 h 5704395"/>
                <a:gd name="connsiteX15581" fmla="*/ 1853624 w 5719680"/>
                <a:gd name="connsiteY15581" fmla="*/ 2164978 h 5704395"/>
                <a:gd name="connsiteX15582" fmla="*/ 1844730 w 5719680"/>
                <a:gd name="connsiteY15582" fmla="*/ 2216948 h 5704395"/>
                <a:gd name="connsiteX15583" fmla="*/ 1936840 w 5719680"/>
                <a:gd name="connsiteY15583" fmla="*/ 2225187 h 5704395"/>
                <a:gd name="connsiteX15584" fmla="*/ 2036890 w 5719680"/>
                <a:gd name="connsiteY15584" fmla="*/ 2256559 h 5704395"/>
                <a:gd name="connsiteX15585" fmla="*/ 2038478 w 5719680"/>
                <a:gd name="connsiteY15585" fmla="*/ 2256559 h 5704395"/>
                <a:gd name="connsiteX15586" fmla="*/ 2038795 w 5719680"/>
                <a:gd name="connsiteY15586" fmla="*/ 2254658 h 5704395"/>
                <a:gd name="connsiteX15587" fmla="*/ 2018468 w 5719680"/>
                <a:gd name="connsiteY15587" fmla="*/ 2194132 h 5704395"/>
                <a:gd name="connsiteX15588" fmla="*/ 2018785 w 5719680"/>
                <a:gd name="connsiteY15588" fmla="*/ 2192865 h 5704395"/>
                <a:gd name="connsiteX15589" fmla="*/ 2014021 w 5719680"/>
                <a:gd name="connsiteY15589" fmla="*/ 2192548 h 5704395"/>
                <a:gd name="connsiteX15590" fmla="*/ 2013703 w 5719680"/>
                <a:gd name="connsiteY15590" fmla="*/ 2192548 h 5704395"/>
                <a:gd name="connsiteX15591" fmla="*/ 1853624 w 5719680"/>
                <a:gd name="connsiteY15591" fmla="*/ 2164978 h 5704395"/>
                <a:gd name="connsiteX15592" fmla="*/ 834385 w 5719680"/>
                <a:gd name="connsiteY15592" fmla="*/ 2164978 h 5704395"/>
                <a:gd name="connsiteX15593" fmla="*/ 803893 w 5719680"/>
                <a:gd name="connsiteY15593" fmla="*/ 2299022 h 5704395"/>
                <a:gd name="connsiteX15594" fmla="*/ 830891 w 5719680"/>
                <a:gd name="connsiteY15594" fmla="*/ 2316134 h 5704395"/>
                <a:gd name="connsiteX15595" fmla="*/ 836608 w 5719680"/>
                <a:gd name="connsiteY15595" fmla="*/ 2286346 h 5704395"/>
                <a:gd name="connsiteX15596" fmla="*/ 875358 w 5719680"/>
                <a:gd name="connsiteY15596" fmla="*/ 2299022 h 5704395"/>
                <a:gd name="connsiteX15597" fmla="*/ 877581 w 5719680"/>
                <a:gd name="connsiteY15597" fmla="*/ 2266383 h 5704395"/>
                <a:gd name="connsiteX15598" fmla="*/ 841373 w 5719680"/>
                <a:gd name="connsiteY15598" fmla="*/ 2250221 h 5704395"/>
                <a:gd name="connsiteX15599" fmla="*/ 849631 w 5719680"/>
                <a:gd name="connsiteY15599" fmla="*/ 2224553 h 5704395"/>
                <a:gd name="connsiteX15600" fmla="*/ 882981 w 5719680"/>
                <a:gd name="connsiteY15600" fmla="*/ 2220434 h 5704395"/>
                <a:gd name="connsiteX15601" fmla="*/ 876311 w 5719680"/>
                <a:gd name="connsiteY15601" fmla="*/ 2181773 h 5704395"/>
                <a:gd name="connsiteX15602" fmla="*/ 834385 w 5719680"/>
                <a:gd name="connsiteY15602" fmla="*/ 2164978 h 5704395"/>
                <a:gd name="connsiteX15603" fmla="*/ 2520623 w 5719680"/>
                <a:gd name="connsiteY15603" fmla="*/ 2163394 h 5704395"/>
                <a:gd name="connsiteX15604" fmla="*/ 2511730 w 5719680"/>
                <a:gd name="connsiteY15604" fmla="*/ 2176069 h 5704395"/>
                <a:gd name="connsiteX15605" fmla="*/ 2543809 w 5719680"/>
                <a:gd name="connsiteY15605" fmla="*/ 2199202 h 5704395"/>
                <a:gd name="connsiteX15606" fmla="*/ 2553020 w 5719680"/>
                <a:gd name="connsiteY15606" fmla="*/ 2186527 h 5704395"/>
                <a:gd name="connsiteX15607" fmla="*/ 2520623 w 5719680"/>
                <a:gd name="connsiteY15607" fmla="*/ 2163394 h 5704395"/>
                <a:gd name="connsiteX15608" fmla="*/ 1772313 w 5719680"/>
                <a:gd name="connsiteY15608" fmla="*/ 2161809 h 5704395"/>
                <a:gd name="connsiteX15609" fmla="*/ 1820274 w 5719680"/>
                <a:gd name="connsiteY15609" fmla="*/ 2167831 h 5704395"/>
                <a:gd name="connsiteX15610" fmla="*/ 1817415 w 5719680"/>
                <a:gd name="connsiteY15610" fmla="*/ 2191597 h 5704395"/>
                <a:gd name="connsiteX15611" fmla="*/ 1815192 w 5719680"/>
                <a:gd name="connsiteY15611" fmla="*/ 2191280 h 5704395"/>
                <a:gd name="connsiteX15612" fmla="*/ 1769455 w 5719680"/>
                <a:gd name="connsiteY15612" fmla="*/ 2185893 h 5704395"/>
                <a:gd name="connsiteX15613" fmla="*/ 1772313 w 5719680"/>
                <a:gd name="connsiteY15613" fmla="*/ 2161809 h 5704395"/>
                <a:gd name="connsiteX15614" fmla="*/ 831209 w 5719680"/>
                <a:gd name="connsiteY15614" fmla="*/ 2158641 h 5704395"/>
                <a:gd name="connsiteX15615" fmla="*/ 880440 w 5719680"/>
                <a:gd name="connsiteY15615" fmla="*/ 2178605 h 5704395"/>
                <a:gd name="connsiteX15616" fmla="*/ 880757 w 5719680"/>
                <a:gd name="connsiteY15616" fmla="*/ 2179872 h 5704395"/>
                <a:gd name="connsiteX15617" fmla="*/ 888698 w 5719680"/>
                <a:gd name="connsiteY15617" fmla="*/ 2224553 h 5704395"/>
                <a:gd name="connsiteX15618" fmla="*/ 853442 w 5719680"/>
                <a:gd name="connsiteY15618" fmla="*/ 2228673 h 5704395"/>
                <a:gd name="connsiteX15619" fmla="*/ 847090 w 5719680"/>
                <a:gd name="connsiteY15619" fmla="*/ 2247686 h 5704395"/>
                <a:gd name="connsiteX15620" fmla="*/ 882663 w 5719680"/>
                <a:gd name="connsiteY15620" fmla="*/ 2263530 h 5704395"/>
                <a:gd name="connsiteX15621" fmla="*/ 879804 w 5719680"/>
                <a:gd name="connsiteY15621" fmla="*/ 2305360 h 5704395"/>
                <a:gd name="connsiteX15622" fmla="*/ 840102 w 5719680"/>
                <a:gd name="connsiteY15622" fmla="*/ 2292367 h 5704395"/>
                <a:gd name="connsiteX15623" fmla="*/ 834067 w 5719680"/>
                <a:gd name="connsiteY15623" fmla="*/ 2323739 h 5704395"/>
                <a:gd name="connsiteX15624" fmla="*/ 798494 w 5719680"/>
                <a:gd name="connsiteY15624" fmla="*/ 2301240 h 5704395"/>
                <a:gd name="connsiteX15625" fmla="*/ 831209 w 5719680"/>
                <a:gd name="connsiteY15625" fmla="*/ 2158641 h 5704395"/>
                <a:gd name="connsiteX15626" fmla="*/ 1123100 w 5719680"/>
                <a:gd name="connsiteY15626" fmla="*/ 2158007 h 5704395"/>
                <a:gd name="connsiteX15627" fmla="*/ 1093244 w 5719680"/>
                <a:gd name="connsiteY15627" fmla="*/ 2248637 h 5704395"/>
                <a:gd name="connsiteX15628" fmla="*/ 1175190 w 5719680"/>
                <a:gd name="connsiteY15628" fmla="*/ 2328810 h 5704395"/>
                <a:gd name="connsiteX15629" fmla="*/ 1224421 w 5719680"/>
                <a:gd name="connsiteY15629" fmla="*/ 2289198 h 5704395"/>
                <a:gd name="connsiteX15630" fmla="*/ 1225374 w 5719680"/>
                <a:gd name="connsiteY15630" fmla="*/ 2289198 h 5704395"/>
                <a:gd name="connsiteX15631" fmla="*/ 1234267 w 5719680"/>
                <a:gd name="connsiteY15631" fmla="*/ 2290783 h 5704395"/>
                <a:gd name="connsiteX15632" fmla="*/ 1230456 w 5719680"/>
                <a:gd name="connsiteY15632" fmla="*/ 2242299 h 5704395"/>
                <a:gd name="connsiteX15633" fmla="*/ 1238396 w 5719680"/>
                <a:gd name="connsiteY15633" fmla="*/ 2193181 h 5704395"/>
                <a:gd name="connsiteX15634" fmla="*/ 1175825 w 5719680"/>
                <a:gd name="connsiteY15634" fmla="*/ 2181456 h 5704395"/>
                <a:gd name="connsiteX15635" fmla="*/ 1175507 w 5719680"/>
                <a:gd name="connsiteY15635" fmla="*/ 2179555 h 5704395"/>
                <a:gd name="connsiteX15636" fmla="*/ 1174872 w 5719680"/>
                <a:gd name="connsiteY15636" fmla="*/ 2172584 h 5704395"/>
                <a:gd name="connsiteX15637" fmla="*/ 1173919 w 5719680"/>
                <a:gd name="connsiteY15637" fmla="*/ 2168147 h 5704395"/>
                <a:gd name="connsiteX15638" fmla="*/ 1173919 w 5719680"/>
                <a:gd name="connsiteY15638" fmla="*/ 2167831 h 5704395"/>
                <a:gd name="connsiteX15639" fmla="*/ 1147557 w 5719680"/>
                <a:gd name="connsiteY15639" fmla="*/ 2162760 h 5704395"/>
                <a:gd name="connsiteX15640" fmla="*/ 1129135 w 5719680"/>
                <a:gd name="connsiteY15640" fmla="*/ 2159274 h 5704395"/>
                <a:gd name="connsiteX15641" fmla="*/ 1123418 w 5719680"/>
                <a:gd name="connsiteY15641" fmla="*/ 2158007 h 5704395"/>
                <a:gd name="connsiteX15642" fmla="*/ 1123100 w 5719680"/>
                <a:gd name="connsiteY15642" fmla="*/ 2158007 h 5704395"/>
                <a:gd name="connsiteX15643" fmla="*/ 2519670 w 5719680"/>
                <a:gd name="connsiteY15643" fmla="*/ 2157690 h 5704395"/>
                <a:gd name="connsiteX15644" fmla="*/ 2559055 w 5719680"/>
                <a:gd name="connsiteY15644" fmla="*/ 2185576 h 5704395"/>
                <a:gd name="connsiteX15645" fmla="*/ 2544762 w 5719680"/>
                <a:gd name="connsiteY15645" fmla="*/ 2204906 h 5704395"/>
                <a:gd name="connsiteX15646" fmla="*/ 2543174 w 5719680"/>
                <a:gd name="connsiteY15646" fmla="*/ 2203955 h 5704395"/>
                <a:gd name="connsiteX15647" fmla="*/ 2505695 w 5719680"/>
                <a:gd name="connsiteY15647" fmla="*/ 2177020 h 5704395"/>
                <a:gd name="connsiteX15648" fmla="*/ 2519670 w 5719680"/>
                <a:gd name="connsiteY15648" fmla="*/ 2157690 h 5704395"/>
                <a:gd name="connsiteX15649" fmla="*/ 2690232 w 5719680"/>
                <a:gd name="connsiteY15649" fmla="*/ 2154521 h 5704395"/>
                <a:gd name="connsiteX15650" fmla="*/ 2594628 w 5719680"/>
                <a:gd name="connsiteY15650" fmla="*/ 2293952 h 5704395"/>
                <a:gd name="connsiteX15651" fmla="*/ 2650212 w 5719680"/>
                <a:gd name="connsiteY15651" fmla="*/ 2334513 h 5704395"/>
                <a:gd name="connsiteX15652" fmla="*/ 2690232 w 5719680"/>
                <a:gd name="connsiteY15652" fmla="*/ 2363033 h 5704395"/>
                <a:gd name="connsiteX15653" fmla="*/ 2702936 w 5719680"/>
                <a:gd name="connsiteY15653" fmla="*/ 2371272 h 5704395"/>
                <a:gd name="connsiteX15654" fmla="*/ 2701666 w 5719680"/>
                <a:gd name="connsiteY15654" fmla="*/ 2339900 h 5704395"/>
                <a:gd name="connsiteX15655" fmla="*/ 2703572 w 5719680"/>
                <a:gd name="connsiteY15655" fmla="*/ 2285713 h 5704395"/>
                <a:gd name="connsiteX15656" fmla="*/ 2703572 w 5719680"/>
                <a:gd name="connsiteY15656" fmla="*/ 2285079 h 5704395"/>
                <a:gd name="connsiteX15657" fmla="*/ 2630202 w 5719680"/>
                <a:gd name="connsiteY15657" fmla="*/ 2259728 h 5704395"/>
                <a:gd name="connsiteX15658" fmla="*/ 2631790 w 5719680"/>
                <a:gd name="connsiteY15658" fmla="*/ 2255608 h 5704395"/>
                <a:gd name="connsiteX15659" fmla="*/ 2703889 w 5719680"/>
                <a:gd name="connsiteY15659" fmla="*/ 2280643 h 5704395"/>
                <a:gd name="connsiteX15660" fmla="*/ 2707065 w 5719680"/>
                <a:gd name="connsiteY15660" fmla="*/ 2155472 h 5704395"/>
                <a:gd name="connsiteX15661" fmla="*/ 2690232 w 5719680"/>
                <a:gd name="connsiteY15661" fmla="*/ 2154521 h 5704395"/>
                <a:gd name="connsiteX15662" fmla="*/ 191842 w 5719680"/>
                <a:gd name="connsiteY15662" fmla="*/ 2150718 h 5704395"/>
                <a:gd name="connsiteX15663" fmla="*/ 174691 w 5719680"/>
                <a:gd name="connsiteY15663" fmla="*/ 2175119 h 5704395"/>
                <a:gd name="connsiteX15664" fmla="*/ 243296 w 5719680"/>
                <a:gd name="connsiteY15664" fmla="*/ 2224870 h 5704395"/>
                <a:gd name="connsiteX15665" fmla="*/ 231862 w 5719680"/>
                <a:gd name="connsiteY15665" fmla="*/ 2242616 h 5704395"/>
                <a:gd name="connsiteX15666" fmla="*/ 251872 w 5719680"/>
                <a:gd name="connsiteY15666" fmla="*/ 2259728 h 5704395"/>
                <a:gd name="connsiteX15667" fmla="*/ 243296 w 5719680"/>
                <a:gd name="connsiteY15667" fmla="*/ 2288565 h 5704395"/>
                <a:gd name="connsiteX15668" fmla="*/ 288398 w 5719680"/>
                <a:gd name="connsiteY15668" fmla="*/ 2320887 h 5704395"/>
                <a:gd name="connsiteX15669" fmla="*/ 318890 w 5719680"/>
                <a:gd name="connsiteY15669" fmla="*/ 2236278 h 5704395"/>
                <a:gd name="connsiteX15670" fmla="*/ 281411 w 5719680"/>
                <a:gd name="connsiteY15670" fmla="*/ 2174485 h 5704395"/>
                <a:gd name="connsiteX15671" fmla="*/ 273152 w 5719680"/>
                <a:gd name="connsiteY15671" fmla="*/ 2180189 h 5704395"/>
                <a:gd name="connsiteX15672" fmla="*/ 240755 w 5719680"/>
                <a:gd name="connsiteY15672" fmla="*/ 2157690 h 5704395"/>
                <a:gd name="connsiteX15673" fmla="*/ 227415 w 5719680"/>
                <a:gd name="connsiteY15673" fmla="*/ 2179872 h 5704395"/>
                <a:gd name="connsiteX15674" fmla="*/ 191842 w 5719680"/>
                <a:gd name="connsiteY15674" fmla="*/ 2150718 h 5704395"/>
                <a:gd name="connsiteX15675" fmla="*/ 464041 w 5719680"/>
                <a:gd name="connsiteY15675" fmla="*/ 2149768 h 5704395"/>
                <a:gd name="connsiteX15676" fmla="*/ 441173 w 5719680"/>
                <a:gd name="connsiteY15676" fmla="*/ 2199202 h 5704395"/>
                <a:gd name="connsiteX15677" fmla="*/ 454195 w 5719680"/>
                <a:gd name="connsiteY15677" fmla="*/ 2225821 h 5704395"/>
                <a:gd name="connsiteX15678" fmla="*/ 464359 w 5719680"/>
                <a:gd name="connsiteY15678" fmla="*/ 2218532 h 5704395"/>
                <a:gd name="connsiteX15679" fmla="*/ 482146 w 5719680"/>
                <a:gd name="connsiteY15679" fmla="*/ 2187160 h 5704395"/>
                <a:gd name="connsiteX15680" fmla="*/ 510731 w 5719680"/>
                <a:gd name="connsiteY15680" fmla="*/ 2218532 h 5704395"/>
                <a:gd name="connsiteX15681" fmla="*/ 539635 w 5719680"/>
                <a:gd name="connsiteY15681" fmla="*/ 2233426 h 5704395"/>
                <a:gd name="connsiteX15682" fmla="*/ 568856 w 5719680"/>
                <a:gd name="connsiteY15682" fmla="*/ 2211878 h 5704395"/>
                <a:gd name="connsiteX15683" fmla="*/ 464041 w 5719680"/>
                <a:gd name="connsiteY15683" fmla="*/ 2149768 h 5704395"/>
                <a:gd name="connsiteX15684" fmla="*/ 2054994 w 5719680"/>
                <a:gd name="connsiteY15684" fmla="*/ 2148500 h 5704395"/>
                <a:gd name="connsiteX15685" fmla="*/ 2034349 w 5719680"/>
                <a:gd name="connsiteY15685" fmla="*/ 2151352 h 5704395"/>
                <a:gd name="connsiteX15686" fmla="*/ 2024185 w 5719680"/>
                <a:gd name="connsiteY15686" fmla="*/ 2189379 h 5704395"/>
                <a:gd name="connsiteX15687" fmla="*/ 2160761 w 5719680"/>
                <a:gd name="connsiteY15687" fmla="*/ 2209026 h 5704395"/>
                <a:gd name="connsiteX15688" fmla="*/ 2168384 w 5719680"/>
                <a:gd name="connsiteY15688" fmla="*/ 2167196 h 5704395"/>
                <a:gd name="connsiteX15689" fmla="*/ 190889 w 5719680"/>
                <a:gd name="connsiteY15689" fmla="*/ 2143747 h 5704395"/>
                <a:gd name="connsiteX15690" fmla="*/ 226145 w 5719680"/>
                <a:gd name="connsiteY15690" fmla="*/ 2172900 h 5704395"/>
                <a:gd name="connsiteX15691" fmla="*/ 239485 w 5719680"/>
                <a:gd name="connsiteY15691" fmla="*/ 2151035 h 5704395"/>
                <a:gd name="connsiteX15692" fmla="*/ 273152 w 5719680"/>
                <a:gd name="connsiteY15692" fmla="*/ 2174485 h 5704395"/>
                <a:gd name="connsiteX15693" fmla="*/ 282999 w 5719680"/>
                <a:gd name="connsiteY15693" fmla="*/ 2167831 h 5704395"/>
                <a:gd name="connsiteX15694" fmla="*/ 323971 w 5719680"/>
                <a:gd name="connsiteY15694" fmla="*/ 2235645 h 5704395"/>
                <a:gd name="connsiteX15695" fmla="*/ 290621 w 5719680"/>
                <a:gd name="connsiteY15695" fmla="*/ 2328176 h 5704395"/>
                <a:gd name="connsiteX15696" fmla="*/ 288081 w 5719680"/>
                <a:gd name="connsiteY15696" fmla="*/ 2326274 h 5704395"/>
                <a:gd name="connsiteX15697" fmla="*/ 237897 w 5719680"/>
                <a:gd name="connsiteY15697" fmla="*/ 2290149 h 5704395"/>
                <a:gd name="connsiteX15698" fmla="*/ 246472 w 5719680"/>
                <a:gd name="connsiteY15698" fmla="*/ 2261312 h 5704395"/>
                <a:gd name="connsiteX15699" fmla="*/ 225510 w 5719680"/>
                <a:gd name="connsiteY15699" fmla="*/ 2243250 h 5704395"/>
                <a:gd name="connsiteX15700" fmla="*/ 236944 w 5719680"/>
                <a:gd name="connsiteY15700" fmla="*/ 2226138 h 5704395"/>
                <a:gd name="connsiteX15701" fmla="*/ 168338 w 5719680"/>
                <a:gd name="connsiteY15701" fmla="*/ 2176386 h 5704395"/>
                <a:gd name="connsiteX15702" fmla="*/ 190889 w 5719680"/>
                <a:gd name="connsiteY15702" fmla="*/ 2143747 h 5704395"/>
                <a:gd name="connsiteX15703" fmla="*/ 462136 w 5719680"/>
                <a:gd name="connsiteY15703" fmla="*/ 2143113 h 5704395"/>
                <a:gd name="connsiteX15704" fmla="*/ 577431 w 5719680"/>
                <a:gd name="connsiteY15704" fmla="*/ 2211244 h 5704395"/>
                <a:gd name="connsiteX15705" fmla="*/ 574573 w 5719680"/>
                <a:gd name="connsiteY15705" fmla="*/ 2213462 h 5704395"/>
                <a:gd name="connsiteX15706" fmla="*/ 539952 w 5719680"/>
                <a:gd name="connsiteY15706" fmla="*/ 2238813 h 5704395"/>
                <a:gd name="connsiteX15707" fmla="*/ 507873 w 5719680"/>
                <a:gd name="connsiteY15707" fmla="*/ 2222335 h 5704395"/>
                <a:gd name="connsiteX15708" fmla="*/ 483098 w 5719680"/>
                <a:gd name="connsiteY15708" fmla="*/ 2195083 h 5704395"/>
                <a:gd name="connsiteX15709" fmla="*/ 468170 w 5719680"/>
                <a:gd name="connsiteY15709" fmla="*/ 2222018 h 5704395"/>
                <a:gd name="connsiteX15710" fmla="*/ 452289 w 5719680"/>
                <a:gd name="connsiteY15710" fmla="*/ 2232792 h 5704395"/>
                <a:gd name="connsiteX15711" fmla="*/ 436091 w 5719680"/>
                <a:gd name="connsiteY15711" fmla="*/ 2199202 h 5704395"/>
                <a:gd name="connsiteX15712" fmla="*/ 462136 w 5719680"/>
                <a:gd name="connsiteY15712" fmla="*/ 2143113 h 5704395"/>
                <a:gd name="connsiteX15713" fmla="*/ 2473616 w 5719680"/>
                <a:gd name="connsiteY15713" fmla="*/ 2140895 h 5704395"/>
                <a:gd name="connsiteX15714" fmla="*/ 2453288 w 5719680"/>
                <a:gd name="connsiteY15714" fmla="*/ 2171633 h 5704395"/>
                <a:gd name="connsiteX15715" fmla="*/ 2548891 w 5719680"/>
                <a:gd name="connsiteY15715" fmla="*/ 2213779 h 5704395"/>
                <a:gd name="connsiteX15716" fmla="*/ 2548574 w 5719680"/>
                <a:gd name="connsiteY15716" fmla="*/ 2214413 h 5704395"/>
                <a:gd name="connsiteX15717" fmla="*/ 2559055 w 5719680"/>
                <a:gd name="connsiteY15717" fmla="*/ 2207125 h 5704395"/>
                <a:gd name="connsiteX15718" fmla="*/ 2582876 w 5719680"/>
                <a:gd name="connsiteY15718" fmla="*/ 2165929 h 5704395"/>
                <a:gd name="connsiteX15719" fmla="*/ 2583194 w 5719680"/>
                <a:gd name="connsiteY15719" fmla="*/ 2164978 h 5704395"/>
                <a:gd name="connsiteX15720" fmla="*/ 2473616 w 5719680"/>
                <a:gd name="connsiteY15720" fmla="*/ 2140895 h 5704395"/>
                <a:gd name="connsiteX15721" fmla="*/ 945551 w 5719680"/>
                <a:gd name="connsiteY15721" fmla="*/ 2138677 h 5704395"/>
                <a:gd name="connsiteX15722" fmla="*/ 894732 w 5719680"/>
                <a:gd name="connsiteY15722" fmla="*/ 2156105 h 5704395"/>
                <a:gd name="connsiteX15723" fmla="*/ 937293 w 5719680"/>
                <a:gd name="connsiteY15723" fmla="*/ 2253707 h 5704395"/>
                <a:gd name="connsiteX15724" fmla="*/ 964609 w 5719680"/>
                <a:gd name="connsiteY15724" fmla="*/ 2315817 h 5704395"/>
                <a:gd name="connsiteX15725" fmla="*/ 973820 w 5719680"/>
                <a:gd name="connsiteY15725" fmla="*/ 2336098 h 5704395"/>
                <a:gd name="connsiteX15726" fmla="*/ 975408 w 5719680"/>
                <a:gd name="connsiteY15726" fmla="*/ 2338950 h 5704395"/>
                <a:gd name="connsiteX15727" fmla="*/ 1018921 w 5719680"/>
                <a:gd name="connsiteY15727" fmla="*/ 2309796 h 5704395"/>
                <a:gd name="connsiteX15728" fmla="*/ 1083080 w 5719680"/>
                <a:gd name="connsiteY15728" fmla="*/ 2288248 h 5704395"/>
                <a:gd name="connsiteX15729" fmla="*/ 1103726 w 5719680"/>
                <a:gd name="connsiteY15729" fmla="*/ 2284762 h 5704395"/>
                <a:gd name="connsiteX15730" fmla="*/ 1076093 w 5719680"/>
                <a:gd name="connsiteY15730" fmla="*/ 2261629 h 5704395"/>
                <a:gd name="connsiteX15731" fmla="*/ 977313 w 5719680"/>
                <a:gd name="connsiteY15731" fmla="*/ 2188428 h 5704395"/>
                <a:gd name="connsiteX15732" fmla="*/ 945551 w 5719680"/>
                <a:gd name="connsiteY15732" fmla="*/ 2138677 h 5704395"/>
                <a:gd name="connsiteX15733" fmla="*/ 1403875 w 5719680"/>
                <a:gd name="connsiteY15733" fmla="*/ 2134240 h 5704395"/>
                <a:gd name="connsiteX15734" fmla="*/ 1383865 w 5719680"/>
                <a:gd name="connsiteY15734" fmla="*/ 2178605 h 5704395"/>
                <a:gd name="connsiteX15735" fmla="*/ 1382277 w 5719680"/>
                <a:gd name="connsiteY15735" fmla="*/ 2234694 h 5704395"/>
                <a:gd name="connsiteX15736" fmla="*/ 1409275 w 5719680"/>
                <a:gd name="connsiteY15736" fmla="*/ 2237546 h 5704395"/>
                <a:gd name="connsiteX15737" fmla="*/ 1427062 w 5719680"/>
                <a:gd name="connsiteY15737" fmla="*/ 2147866 h 5704395"/>
                <a:gd name="connsiteX15738" fmla="*/ 1403875 w 5719680"/>
                <a:gd name="connsiteY15738" fmla="*/ 2134240 h 5704395"/>
                <a:gd name="connsiteX15739" fmla="*/ 2281774 w 5719680"/>
                <a:gd name="connsiteY15739" fmla="*/ 2133606 h 5704395"/>
                <a:gd name="connsiteX15740" fmla="*/ 2278915 w 5719680"/>
                <a:gd name="connsiteY15740" fmla="*/ 2148183 h 5704395"/>
                <a:gd name="connsiteX15741" fmla="*/ 2292255 w 5719680"/>
                <a:gd name="connsiteY15741" fmla="*/ 2150718 h 5704395"/>
                <a:gd name="connsiteX15742" fmla="*/ 2289396 w 5719680"/>
                <a:gd name="connsiteY15742" fmla="*/ 2165295 h 5704395"/>
                <a:gd name="connsiteX15743" fmla="*/ 2308136 w 5719680"/>
                <a:gd name="connsiteY15743" fmla="*/ 2169098 h 5704395"/>
                <a:gd name="connsiteX15744" fmla="*/ 2312900 w 5719680"/>
                <a:gd name="connsiteY15744" fmla="*/ 2143747 h 5704395"/>
                <a:gd name="connsiteX15745" fmla="*/ 1314307 w 5719680"/>
                <a:gd name="connsiteY15745" fmla="*/ 2133606 h 5704395"/>
                <a:gd name="connsiteX15746" fmla="*/ 1308907 w 5719680"/>
                <a:gd name="connsiteY15746" fmla="*/ 2144064 h 5704395"/>
                <a:gd name="connsiteX15747" fmla="*/ 1307955 w 5719680"/>
                <a:gd name="connsiteY15747" fmla="*/ 2145648 h 5704395"/>
                <a:gd name="connsiteX15748" fmla="*/ 1306049 w 5719680"/>
                <a:gd name="connsiteY15748" fmla="*/ 2146282 h 5704395"/>
                <a:gd name="connsiteX15749" fmla="*/ 1293979 w 5719680"/>
                <a:gd name="connsiteY15749" fmla="*/ 2149768 h 5704395"/>
                <a:gd name="connsiteX15750" fmla="*/ 1286992 w 5719680"/>
                <a:gd name="connsiteY15750" fmla="*/ 2164661 h 5704395"/>
                <a:gd name="connsiteX15751" fmla="*/ 1306684 w 5719680"/>
                <a:gd name="connsiteY15751" fmla="*/ 2173851 h 5704395"/>
                <a:gd name="connsiteX15752" fmla="*/ 1312084 w 5719680"/>
                <a:gd name="connsiteY15752" fmla="*/ 2161176 h 5704395"/>
                <a:gd name="connsiteX15753" fmla="*/ 1313036 w 5719680"/>
                <a:gd name="connsiteY15753" fmla="*/ 2158958 h 5704395"/>
                <a:gd name="connsiteX15754" fmla="*/ 1315577 w 5719680"/>
                <a:gd name="connsiteY15754" fmla="*/ 2158641 h 5704395"/>
                <a:gd name="connsiteX15755" fmla="*/ 1328282 w 5719680"/>
                <a:gd name="connsiteY15755" fmla="*/ 2157373 h 5704395"/>
                <a:gd name="connsiteX15756" fmla="*/ 1333999 w 5719680"/>
                <a:gd name="connsiteY15756" fmla="*/ 2142796 h 5704395"/>
                <a:gd name="connsiteX15757" fmla="*/ 1314307 w 5719680"/>
                <a:gd name="connsiteY15757" fmla="*/ 2133606 h 5704395"/>
                <a:gd name="connsiteX15758" fmla="*/ 2267163 w 5719680"/>
                <a:gd name="connsiteY15758" fmla="*/ 2129170 h 5704395"/>
                <a:gd name="connsiteX15759" fmla="*/ 2257635 w 5719680"/>
                <a:gd name="connsiteY15759" fmla="*/ 2194766 h 5704395"/>
                <a:gd name="connsiteX15760" fmla="*/ 2356414 w 5719680"/>
                <a:gd name="connsiteY15760" fmla="*/ 2213145 h 5704395"/>
                <a:gd name="connsiteX15761" fmla="*/ 2364037 w 5719680"/>
                <a:gd name="connsiteY15761" fmla="*/ 2175119 h 5704395"/>
                <a:gd name="connsiteX15762" fmla="*/ 2363402 w 5719680"/>
                <a:gd name="connsiteY15762" fmla="*/ 2174802 h 5704395"/>
                <a:gd name="connsiteX15763" fmla="*/ 2360226 w 5719680"/>
                <a:gd name="connsiteY15763" fmla="*/ 2173534 h 5704395"/>
                <a:gd name="connsiteX15764" fmla="*/ 2317982 w 5719680"/>
                <a:gd name="connsiteY15764" fmla="*/ 2145331 h 5704395"/>
                <a:gd name="connsiteX15765" fmla="*/ 2317030 w 5719680"/>
                <a:gd name="connsiteY15765" fmla="*/ 2145014 h 5704395"/>
                <a:gd name="connsiteX15766" fmla="*/ 2311312 w 5719680"/>
                <a:gd name="connsiteY15766" fmla="*/ 2173851 h 5704395"/>
                <a:gd name="connsiteX15767" fmla="*/ 2309406 w 5719680"/>
                <a:gd name="connsiteY15767" fmla="*/ 2173534 h 5704395"/>
                <a:gd name="connsiteX15768" fmla="*/ 2284315 w 5719680"/>
                <a:gd name="connsiteY15768" fmla="*/ 2168464 h 5704395"/>
                <a:gd name="connsiteX15769" fmla="*/ 2287491 w 5719680"/>
                <a:gd name="connsiteY15769" fmla="*/ 2153887 h 5704395"/>
                <a:gd name="connsiteX15770" fmla="*/ 2273833 w 5719680"/>
                <a:gd name="connsiteY15770" fmla="*/ 2151352 h 5704395"/>
                <a:gd name="connsiteX15771" fmla="*/ 2277645 w 5719680"/>
                <a:gd name="connsiteY15771" fmla="*/ 2132339 h 5704395"/>
                <a:gd name="connsiteX15772" fmla="*/ 2267163 w 5719680"/>
                <a:gd name="connsiteY15772" fmla="*/ 2129170 h 5704395"/>
                <a:gd name="connsiteX15773" fmla="*/ 461818 w 5719680"/>
                <a:gd name="connsiteY15773" fmla="*/ 2129170 h 5704395"/>
                <a:gd name="connsiteX15774" fmla="*/ 444349 w 5719680"/>
                <a:gd name="connsiteY15774" fmla="*/ 2164028 h 5704395"/>
                <a:gd name="connsiteX15775" fmla="*/ 424021 w 5719680"/>
                <a:gd name="connsiteY15775" fmla="*/ 2199202 h 5704395"/>
                <a:gd name="connsiteX15776" fmla="*/ 412269 w 5719680"/>
                <a:gd name="connsiteY15776" fmla="*/ 2214413 h 5704395"/>
                <a:gd name="connsiteX15777" fmla="*/ 445619 w 5719680"/>
                <a:gd name="connsiteY15777" fmla="*/ 2265432 h 5704395"/>
                <a:gd name="connsiteX15778" fmla="*/ 488498 w 5719680"/>
                <a:gd name="connsiteY15778" fmla="*/ 2264481 h 5704395"/>
                <a:gd name="connsiteX15779" fmla="*/ 488816 w 5719680"/>
                <a:gd name="connsiteY15779" fmla="*/ 2264481 h 5704395"/>
                <a:gd name="connsiteX15780" fmla="*/ 516766 w 5719680"/>
                <a:gd name="connsiteY15780" fmla="*/ 2274938 h 5704395"/>
                <a:gd name="connsiteX15781" fmla="*/ 535823 w 5719680"/>
                <a:gd name="connsiteY15781" fmla="*/ 2282227 h 5704395"/>
                <a:gd name="connsiteX15782" fmla="*/ 546940 w 5719680"/>
                <a:gd name="connsiteY15782" fmla="*/ 2286663 h 5704395"/>
                <a:gd name="connsiteX15783" fmla="*/ 546940 w 5719680"/>
                <a:gd name="connsiteY15783" fmla="*/ 2287297 h 5704395"/>
                <a:gd name="connsiteX15784" fmla="*/ 578702 w 5719680"/>
                <a:gd name="connsiteY15784" fmla="*/ 2239764 h 5704395"/>
                <a:gd name="connsiteX15785" fmla="*/ 596806 w 5719680"/>
                <a:gd name="connsiteY15785" fmla="*/ 2213779 h 5704395"/>
                <a:gd name="connsiteX15786" fmla="*/ 599347 w 5719680"/>
                <a:gd name="connsiteY15786" fmla="*/ 2209976 h 5704395"/>
                <a:gd name="connsiteX15787" fmla="*/ 461818 w 5719680"/>
                <a:gd name="connsiteY15787" fmla="*/ 2129170 h 5704395"/>
                <a:gd name="connsiteX15788" fmla="*/ 2226190 w 5719680"/>
                <a:gd name="connsiteY15788" fmla="*/ 2128536 h 5704395"/>
                <a:gd name="connsiteX15789" fmla="*/ 2218568 w 5719680"/>
                <a:gd name="connsiteY15789" fmla="*/ 2170999 h 5704395"/>
                <a:gd name="connsiteX15790" fmla="*/ 2239530 w 5719680"/>
                <a:gd name="connsiteY15790" fmla="*/ 2174485 h 5704395"/>
                <a:gd name="connsiteX15791" fmla="*/ 2245565 w 5719680"/>
                <a:gd name="connsiteY15791" fmla="*/ 2131705 h 5704395"/>
                <a:gd name="connsiteX15792" fmla="*/ 2226190 w 5719680"/>
                <a:gd name="connsiteY15792" fmla="*/ 2128536 h 5704395"/>
                <a:gd name="connsiteX15793" fmla="*/ 1312401 w 5719680"/>
                <a:gd name="connsiteY15793" fmla="*/ 2127902 h 5704395"/>
                <a:gd name="connsiteX15794" fmla="*/ 1339716 w 5719680"/>
                <a:gd name="connsiteY15794" fmla="*/ 2140578 h 5704395"/>
                <a:gd name="connsiteX15795" fmla="*/ 1331458 w 5719680"/>
                <a:gd name="connsiteY15795" fmla="*/ 2161493 h 5704395"/>
                <a:gd name="connsiteX15796" fmla="*/ 1316213 w 5719680"/>
                <a:gd name="connsiteY15796" fmla="*/ 2163077 h 5704395"/>
                <a:gd name="connsiteX15797" fmla="*/ 1308907 w 5719680"/>
                <a:gd name="connsiteY15797" fmla="*/ 2179555 h 5704395"/>
                <a:gd name="connsiteX15798" fmla="*/ 1281275 w 5719680"/>
                <a:gd name="connsiteY15798" fmla="*/ 2166880 h 5704395"/>
                <a:gd name="connsiteX15799" fmla="*/ 1290803 w 5719680"/>
                <a:gd name="connsiteY15799" fmla="*/ 2146282 h 5704395"/>
                <a:gd name="connsiteX15800" fmla="*/ 1304778 w 5719680"/>
                <a:gd name="connsiteY15800" fmla="*/ 2141845 h 5704395"/>
                <a:gd name="connsiteX15801" fmla="*/ 1312401 w 5719680"/>
                <a:gd name="connsiteY15801" fmla="*/ 2127902 h 5704395"/>
                <a:gd name="connsiteX15802" fmla="*/ 1401970 w 5719680"/>
                <a:gd name="connsiteY15802" fmla="*/ 2127586 h 5704395"/>
                <a:gd name="connsiteX15803" fmla="*/ 1432461 w 5719680"/>
                <a:gd name="connsiteY15803" fmla="*/ 2145648 h 5704395"/>
                <a:gd name="connsiteX15804" fmla="*/ 1413086 w 5719680"/>
                <a:gd name="connsiteY15804" fmla="*/ 2242933 h 5704395"/>
                <a:gd name="connsiteX15805" fmla="*/ 1410863 w 5719680"/>
                <a:gd name="connsiteY15805" fmla="*/ 2242616 h 5704395"/>
                <a:gd name="connsiteX15806" fmla="*/ 1377513 w 5719680"/>
                <a:gd name="connsiteY15806" fmla="*/ 2238813 h 5704395"/>
                <a:gd name="connsiteX15807" fmla="*/ 1379419 w 5719680"/>
                <a:gd name="connsiteY15807" fmla="*/ 2177654 h 5704395"/>
                <a:gd name="connsiteX15808" fmla="*/ 1401970 w 5719680"/>
                <a:gd name="connsiteY15808" fmla="*/ 2127586 h 5704395"/>
                <a:gd name="connsiteX15809" fmla="*/ 1655430 w 5719680"/>
                <a:gd name="connsiteY15809" fmla="*/ 2124417 h 5704395"/>
                <a:gd name="connsiteX15810" fmla="*/ 1640819 w 5719680"/>
                <a:gd name="connsiteY15810" fmla="*/ 2126952 h 5704395"/>
                <a:gd name="connsiteX15811" fmla="*/ 1629385 w 5719680"/>
                <a:gd name="connsiteY15811" fmla="*/ 2155472 h 5704395"/>
                <a:gd name="connsiteX15812" fmla="*/ 1617951 w 5719680"/>
                <a:gd name="connsiteY15812" fmla="*/ 2189696 h 5704395"/>
                <a:gd name="connsiteX15813" fmla="*/ 1618268 w 5719680"/>
                <a:gd name="connsiteY15813" fmla="*/ 2191597 h 5704395"/>
                <a:gd name="connsiteX15814" fmla="*/ 1620491 w 5719680"/>
                <a:gd name="connsiteY15814" fmla="*/ 2242616 h 5704395"/>
                <a:gd name="connsiteX15815" fmla="*/ 1620809 w 5719680"/>
                <a:gd name="connsiteY15815" fmla="*/ 2242616 h 5704395"/>
                <a:gd name="connsiteX15816" fmla="*/ 1729117 w 5719680"/>
                <a:gd name="connsiteY15816" fmla="*/ 2253707 h 5704395"/>
                <a:gd name="connsiteX15817" fmla="*/ 1800899 w 5719680"/>
                <a:gd name="connsiteY15817" fmla="*/ 2261629 h 5704395"/>
                <a:gd name="connsiteX15818" fmla="*/ 1815827 w 5719680"/>
                <a:gd name="connsiteY15818" fmla="*/ 2263214 h 5704395"/>
                <a:gd name="connsiteX15819" fmla="*/ 1823450 w 5719680"/>
                <a:gd name="connsiteY15819" fmla="*/ 2218532 h 5704395"/>
                <a:gd name="connsiteX15820" fmla="*/ 1625891 w 5719680"/>
                <a:gd name="connsiteY15820" fmla="*/ 2166880 h 5704395"/>
                <a:gd name="connsiteX15821" fmla="*/ 1627161 w 5719680"/>
                <a:gd name="connsiteY15821" fmla="*/ 2162760 h 5704395"/>
                <a:gd name="connsiteX15822" fmla="*/ 1824085 w 5719680"/>
                <a:gd name="connsiteY15822" fmla="*/ 2214413 h 5704395"/>
                <a:gd name="connsiteX15823" fmla="*/ 1833614 w 5719680"/>
                <a:gd name="connsiteY15823" fmla="*/ 2160542 h 5704395"/>
                <a:gd name="connsiteX15824" fmla="*/ 1655430 w 5719680"/>
                <a:gd name="connsiteY15824" fmla="*/ 2124417 h 5704395"/>
                <a:gd name="connsiteX15825" fmla="*/ 2543809 w 5719680"/>
                <a:gd name="connsiteY15825" fmla="*/ 2122832 h 5704395"/>
                <a:gd name="connsiteX15826" fmla="*/ 2540633 w 5719680"/>
                <a:gd name="connsiteY15826" fmla="*/ 2138043 h 5704395"/>
                <a:gd name="connsiteX15827" fmla="*/ 2579382 w 5719680"/>
                <a:gd name="connsiteY15827" fmla="*/ 2146282 h 5704395"/>
                <a:gd name="connsiteX15828" fmla="*/ 2582559 w 5719680"/>
                <a:gd name="connsiteY15828" fmla="*/ 2131071 h 5704395"/>
                <a:gd name="connsiteX15829" fmla="*/ 2181088 w 5719680"/>
                <a:gd name="connsiteY15829" fmla="*/ 2120931 h 5704395"/>
                <a:gd name="connsiteX15830" fmla="*/ 2173148 w 5719680"/>
                <a:gd name="connsiteY15830" fmla="*/ 2163394 h 5704395"/>
                <a:gd name="connsiteX15831" fmla="*/ 2214438 w 5719680"/>
                <a:gd name="connsiteY15831" fmla="*/ 2170365 h 5704395"/>
                <a:gd name="connsiteX15832" fmla="*/ 2222062 w 5719680"/>
                <a:gd name="connsiteY15832" fmla="*/ 2127902 h 5704395"/>
                <a:gd name="connsiteX15833" fmla="*/ 2181088 w 5719680"/>
                <a:gd name="connsiteY15833" fmla="*/ 2120931 h 5704395"/>
                <a:gd name="connsiteX15834" fmla="*/ 1874587 w 5719680"/>
                <a:gd name="connsiteY15834" fmla="*/ 2120297 h 5704395"/>
                <a:gd name="connsiteX15835" fmla="*/ 1872681 w 5719680"/>
                <a:gd name="connsiteY15835" fmla="*/ 2135825 h 5704395"/>
                <a:gd name="connsiteX15836" fmla="*/ 1912383 w 5719680"/>
                <a:gd name="connsiteY15836" fmla="*/ 2140578 h 5704395"/>
                <a:gd name="connsiteX15837" fmla="*/ 1914289 w 5719680"/>
                <a:gd name="connsiteY15837" fmla="*/ 2125051 h 5704395"/>
                <a:gd name="connsiteX15838" fmla="*/ 1874587 w 5719680"/>
                <a:gd name="connsiteY15838" fmla="*/ 2120297 h 5704395"/>
                <a:gd name="connsiteX15839" fmla="*/ 2540633 w 5719680"/>
                <a:gd name="connsiteY15839" fmla="*/ 2117762 h 5704395"/>
                <a:gd name="connsiteX15840" fmla="*/ 2587641 w 5719680"/>
                <a:gd name="connsiteY15840" fmla="*/ 2127902 h 5704395"/>
                <a:gd name="connsiteX15841" fmla="*/ 2582559 w 5719680"/>
                <a:gd name="connsiteY15841" fmla="*/ 2151352 h 5704395"/>
                <a:gd name="connsiteX15842" fmla="*/ 2580653 w 5719680"/>
                <a:gd name="connsiteY15842" fmla="*/ 2150718 h 5704395"/>
                <a:gd name="connsiteX15843" fmla="*/ 2535551 w 5719680"/>
                <a:gd name="connsiteY15843" fmla="*/ 2141212 h 5704395"/>
                <a:gd name="connsiteX15844" fmla="*/ 1871093 w 5719680"/>
                <a:gd name="connsiteY15844" fmla="*/ 2115544 h 5704395"/>
                <a:gd name="connsiteX15845" fmla="*/ 1918735 w 5719680"/>
                <a:gd name="connsiteY15845" fmla="*/ 2121565 h 5704395"/>
                <a:gd name="connsiteX15846" fmla="*/ 1915877 w 5719680"/>
                <a:gd name="connsiteY15846" fmla="*/ 2145331 h 5704395"/>
                <a:gd name="connsiteX15847" fmla="*/ 1913971 w 5719680"/>
                <a:gd name="connsiteY15847" fmla="*/ 2145014 h 5704395"/>
                <a:gd name="connsiteX15848" fmla="*/ 1868234 w 5719680"/>
                <a:gd name="connsiteY15848" fmla="*/ 2139627 h 5704395"/>
                <a:gd name="connsiteX15849" fmla="*/ 1017333 w 5719680"/>
                <a:gd name="connsiteY15849" fmla="*/ 2112375 h 5704395"/>
                <a:gd name="connsiteX15850" fmla="*/ 1009393 w 5719680"/>
                <a:gd name="connsiteY15850" fmla="*/ 2137726 h 5704395"/>
                <a:gd name="connsiteX15851" fmla="*/ 1016063 w 5719680"/>
                <a:gd name="connsiteY15851" fmla="*/ 2153571 h 5704395"/>
                <a:gd name="connsiteX15852" fmla="*/ 1037026 w 5719680"/>
                <a:gd name="connsiteY15852" fmla="*/ 2180506 h 5704395"/>
                <a:gd name="connsiteX15853" fmla="*/ 1063070 w 5719680"/>
                <a:gd name="connsiteY15853" fmla="*/ 2200470 h 5704395"/>
                <a:gd name="connsiteX15854" fmla="*/ 1071964 w 5719680"/>
                <a:gd name="connsiteY15854" fmla="*/ 2172900 h 5704395"/>
                <a:gd name="connsiteX15855" fmla="*/ 1084033 w 5719680"/>
                <a:gd name="connsiteY15855" fmla="*/ 2176703 h 5704395"/>
                <a:gd name="connsiteX15856" fmla="*/ 1090068 w 5719680"/>
                <a:gd name="connsiteY15856" fmla="*/ 2148817 h 5704395"/>
                <a:gd name="connsiteX15857" fmla="*/ 1017333 w 5719680"/>
                <a:gd name="connsiteY15857" fmla="*/ 2112375 h 5704395"/>
                <a:gd name="connsiteX15858" fmla="*/ 1786924 w 5719680"/>
                <a:gd name="connsiteY15858" fmla="*/ 2108572 h 5704395"/>
                <a:gd name="connsiteX15859" fmla="*/ 1785018 w 5719680"/>
                <a:gd name="connsiteY15859" fmla="*/ 2124100 h 5704395"/>
                <a:gd name="connsiteX15860" fmla="*/ 1824403 w 5719680"/>
                <a:gd name="connsiteY15860" fmla="*/ 2129170 h 5704395"/>
                <a:gd name="connsiteX15861" fmla="*/ 1826308 w 5719680"/>
                <a:gd name="connsiteY15861" fmla="*/ 2113326 h 5704395"/>
                <a:gd name="connsiteX15862" fmla="*/ 1786924 w 5719680"/>
                <a:gd name="connsiteY15862" fmla="*/ 2108572 h 5704395"/>
                <a:gd name="connsiteX15863" fmla="*/ 1482645 w 5719680"/>
                <a:gd name="connsiteY15863" fmla="*/ 2108572 h 5704395"/>
                <a:gd name="connsiteX15864" fmla="*/ 1455012 w 5719680"/>
                <a:gd name="connsiteY15864" fmla="*/ 2258143 h 5704395"/>
                <a:gd name="connsiteX15865" fmla="*/ 1495667 w 5719680"/>
                <a:gd name="connsiteY15865" fmla="*/ 2266066 h 5704395"/>
                <a:gd name="connsiteX15866" fmla="*/ 1523300 w 5719680"/>
                <a:gd name="connsiteY15866" fmla="*/ 2117445 h 5704395"/>
                <a:gd name="connsiteX15867" fmla="*/ 1482645 w 5719680"/>
                <a:gd name="connsiteY15867" fmla="*/ 2108572 h 5704395"/>
                <a:gd name="connsiteX15868" fmla="*/ 2300831 w 5719680"/>
                <a:gd name="connsiteY15868" fmla="*/ 2107938 h 5704395"/>
                <a:gd name="connsiteX15869" fmla="*/ 2297972 w 5719680"/>
                <a:gd name="connsiteY15869" fmla="*/ 2122515 h 5704395"/>
                <a:gd name="connsiteX15870" fmla="*/ 2284315 w 5719680"/>
                <a:gd name="connsiteY15870" fmla="*/ 2119980 h 5704395"/>
                <a:gd name="connsiteX15871" fmla="*/ 2282409 w 5719680"/>
                <a:gd name="connsiteY15871" fmla="*/ 2129487 h 5704395"/>
                <a:gd name="connsiteX15872" fmla="*/ 2313853 w 5719680"/>
                <a:gd name="connsiteY15872" fmla="*/ 2139627 h 5704395"/>
                <a:gd name="connsiteX15873" fmla="*/ 2319570 w 5719680"/>
                <a:gd name="connsiteY15873" fmla="*/ 2111741 h 5704395"/>
                <a:gd name="connsiteX15874" fmla="*/ 2300831 w 5719680"/>
                <a:gd name="connsiteY15874" fmla="*/ 2107938 h 5704395"/>
                <a:gd name="connsiteX15875" fmla="*/ 1014475 w 5719680"/>
                <a:gd name="connsiteY15875" fmla="*/ 2105720 h 5704395"/>
                <a:gd name="connsiteX15876" fmla="*/ 1095150 w 5719680"/>
                <a:gd name="connsiteY15876" fmla="*/ 2146282 h 5704395"/>
                <a:gd name="connsiteX15877" fmla="*/ 1094832 w 5719680"/>
                <a:gd name="connsiteY15877" fmla="*/ 2148183 h 5704395"/>
                <a:gd name="connsiteX15878" fmla="*/ 1087527 w 5719680"/>
                <a:gd name="connsiteY15878" fmla="*/ 2182407 h 5704395"/>
                <a:gd name="connsiteX15879" fmla="*/ 1075140 w 5719680"/>
                <a:gd name="connsiteY15879" fmla="*/ 2178921 h 5704395"/>
                <a:gd name="connsiteX15880" fmla="*/ 1065611 w 5719680"/>
                <a:gd name="connsiteY15880" fmla="*/ 2208392 h 5704395"/>
                <a:gd name="connsiteX15881" fmla="*/ 1062753 w 5719680"/>
                <a:gd name="connsiteY15881" fmla="*/ 2206174 h 5704395"/>
                <a:gd name="connsiteX15882" fmla="*/ 1034167 w 5719680"/>
                <a:gd name="connsiteY15882" fmla="*/ 2184308 h 5704395"/>
                <a:gd name="connsiteX15883" fmla="*/ 1004946 w 5719680"/>
                <a:gd name="connsiteY15883" fmla="*/ 2138360 h 5704395"/>
                <a:gd name="connsiteX15884" fmla="*/ 1004629 w 5719680"/>
                <a:gd name="connsiteY15884" fmla="*/ 2137726 h 5704395"/>
                <a:gd name="connsiteX15885" fmla="*/ 1014475 w 5719680"/>
                <a:gd name="connsiteY15885" fmla="*/ 2105720 h 5704395"/>
                <a:gd name="connsiteX15886" fmla="*/ 1466764 w 5719680"/>
                <a:gd name="connsiteY15886" fmla="*/ 2105086 h 5704395"/>
                <a:gd name="connsiteX15887" fmla="*/ 1448660 w 5719680"/>
                <a:gd name="connsiteY15887" fmla="*/ 2207441 h 5704395"/>
                <a:gd name="connsiteX15888" fmla="*/ 1440084 w 5719680"/>
                <a:gd name="connsiteY15888" fmla="*/ 2254974 h 5704395"/>
                <a:gd name="connsiteX15889" fmla="*/ 1450883 w 5719680"/>
                <a:gd name="connsiteY15889" fmla="*/ 2257193 h 5704395"/>
                <a:gd name="connsiteX15890" fmla="*/ 1478516 w 5719680"/>
                <a:gd name="connsiteY15890" fmla="*/ 2107622 h 5704395"/>
                <a:gd name="connsiteX15891" fmla="*/ 1466764 w 5719680"/>
                <a:gd name="connsiteY15891" fmla="*/ 2105086 h 5704395"/>
                <a:gd name="connsiteX15892" fmla="*/ 1387995 w 5719680"/>
                <a:gd name="connsiteY15892" fmla="*/ 2104770 h 5704395"/>
                <a:gd name="connsiteX15893" fmla="*/ 1334317 w 5719680"/>
                <a:gd name="connsiteY15893" fmla="*/ 2217265 h 5704395"/>
                <a:gd name="connsiteX15894" fmla="*/ 1354009 w 5719680"/>
                <a:gd name="connsiteY15894" fmla="*/ 2248003 h 5704395"/>
                <a:gd name="connsiteX15895" fmla="*/ 1419439 w 5719680"/>
                <a:gd name="connsiteY15895" fmla="*/ 2252439 h 5704395"/>
                <a:gd name="connsiteX15896" fmla="*/ 1428014 w 5719680"/>
                <a:gd name="connsiteY15896" fmla="*/ 2204589 h 5704395"/>
                <a:gd name="connsiteX15897" fmla="*/ 1440719 w 5719680"/>
                <a:gd name="connsiteY15897" fmla="*/ 2130754 h 5704395"/>
                <a:gd name="connsiteX15898" fmla="*/ 1783430 w 5719680"/>
                <a:gd name="connsiteY15898" fmla="*/ 2103819 h 5704395"/>
                <a:gd name="connsiteX15899" fmla="*/ 1831073 w 5719680"/>
                <a:gd name="connsiteY15899" fmla="*/ 2109840 h 5704395"/>
                <a:gd name="connsiteX15900" fmla="*/ 1828214 w 5719680"/>
                <a:gd name="connsiteY15900" fmla="*/ 2133606 h 5704395"/>
                <a:gd name="connsiteX15901" fmla="*/ 1825991 w 5719680"/>
                <a:gd name="connsiteY15901" fmla="*/ 2133289 h 5704395"/>
                <a:gd name="connsiteX15902" fmla="*/ 1780254 w 5719680"/>
                <a:gd name="connsiteY15902" fmla="*/ 2127902 h 5704395"/>
                <a:gd name="connsiteX15903" fmla="*/ 1783430 w 5719680"/>
                <a:gd name="connsiteY15903" fmla="*/ 2103819 h 5704395"/>
                <a:gd name="connsiteX15904" fmla="*/ 2184265 w 5719680"/>
                <a:gd name="connsiteY15904" fmla="*/ 2102868 h 5704395"/>
                <a:gd name="connsiteX15905" fmla="*/ 2181724 w 5719680"/>
                <a:gd name="connsiteY15905" fmla="*/ 2116494 h 5704395"/>
                <a:gd name="connsiteX15906" fmla="*/ 2223014 w 5719680"/>
                <a:gd name="connsiteY15906" fmla="*/ 2123466 h 5704395"/>
                <a:gd name="connsiteX15907" fmla="*/ 2225238 w 5719680"/>
                <a:gd name="connsiteY15907" fmla="*/ 2109840 h 5704395"/>
                <a:gd name="connsiteX15908" fmla="*/ 2184265 w 5719680"/>
                <a:gd name="connsiteY15908" fmla="*/ 2102868 h 5704395"/>
                <a:gd name="connsiteX15909" fmla="*/ 2065158 w 5719680"/>
                <a:gd name="connsiteY15909" fmla="*/ 2101601 h 5704395"/>
                <a:gd name="connsiteX15910" fmla="*/ 2060393 w 5719680"/>
                <a:gd name="connsiteY15910" fmla="*/ 2145014 h 5704395"/>
                <a:gd name="connsiteX15911" fmla="*/ 2169019 w 5719680"/>
                <a:gd name="connsiteY15911" fmla="*/ 2162760 h 5704395"/>
                <a:gd name="connsiteX15912" fmla="*/ 2176960 w 5719680"/>
                <a:gd name="connsiteY15912" fmla="*/ 2120297 h 5704395"/>
                <a:gd name="connsiteX15913" fmla="*/ 2065158 w 5719680"/>
                <a:gd name="connsiteY15913" fmla="*/ 2101601 h 5704395"/>
                <a:gd name="connsiteX15914" fmla="*/ 1351468 w 5719680"/>
                <a:gd name="connsiteY15914" fmla="*/ 2098115 h 5704395"/>
                <a:gd name="connsiteX15915" fmla="*/ 1332411 w 5719680"/>
                <a:gd name="connsiteY15915" fmla="*/ 2106037 h 5704395"/>
                <a:gd name="connsiteX15916" fmla="*/ 1338128 w 5719680"/>
                <a:gd name="connsiteY15916" fmla="*/ 2116494 h 5704395"/>
                <a:gd name="connsiteX15917" fmla="*/ 1356550 w 5719680"/>
                <a:gd name="connsiteY15917" fmla="*/ 2109206 h 5704395"/>
                <a:gd name="connsiteX15918" fmla="*/ 1351468 w 5719680"/>
                <a:gd name="connsiteY15918" fmla="*/ 2098115 h 5704395"/>
                <a:gd name="connsiteX15919" fmla="*/ 727665 w 5719680"/>
                <a:gd name="connsiteY15919" fmla="*/ 2093678 h 5704395"/>
                <a:gd name="connsiteX15920" fmla="*/ 656518 w 5719680"/>
                <a:gd name="connsiteY15920" fmla="*/ 2203322 h 5704395"/>
                <a:gd name="connsiteX15921" fmla="*/ 700667 w 5719680"/>
                <a:gd name="connsiteY15921" fmla="*/ 2225504 h 5704395"/>
                <a:gd name="connsiteX15922" fmla="*/ 712102 w 5719680"/>
                <a:gd name="connsiteY15922" fmla="*/ 2199836 h 5704395"/>
                <a:gd name="connsiteX15923" fmla="*/ 698126 w 5719680"/>
                <a:gd name="connsiteY15923" fmla="*/ 2191914 h 5704395"/>
                <a:gd name="connsiteX15924" fmla="*/ 734970 w 5719680"/>
                <a:gd name="connsiteY15924" fmla="*/ 2139944 h 5704395"/>
                <a:gd name="connsiteX15925" fmla="*/ 774990 w 5719680"/>
                <a:gd name="connsiteY15925" fmla="*/ 2162760 h 5704395"/>
                <a:gd name="connsiteX15926" fmla="*/ 757204 w 5719680"/>
                <a:gd name="connsiteY15926" fmla="*/ 2225187 h 5704395"/>
                <a:gd name="connsiteX15927" fmla="*/ 734653 w 5719680"/>
                <a:gd name="connsiteY15927" fmla="*/ 2211878 h 5704395"/>
                <a:gd name="connsiteX15928" fmla="*/ 721948 w 5719680"/>
                <a:gd name="connsiteY15928" fmla="*/ 2238496 h 5704395"/>
                <a:gd name="connsiteX15929" fmla="*/ 771496 w 5719680"/>
                <a:gd name="connsiteY15929" fmla="*/ 2273354 h 5704395"/>
                <a:gd name="connsiteX15930" fmla="*/ 807705 w 5719680"/>
                <a:gd name="connsiteY15930" fmla="*/ 2141529 h 5704395"/>
                <a:gd name="connsiteX15931" fmla="*/ 1353692 w 5719680"/>
                <a:gd name="connsiteY15931" fmla="*/ 2092728 h 5704395"/>
                <a:gd name="connsiteX15932" fmla="*/ 1362267 w 5719680"/>
                <a:gd name="connsiteY15932" fmla="*/ 2111424 h 5704395"/>
                <a:gd name="connsiteX15933" fmla="*/ 1360044 w 5719680"/>
                <a:gd name="connsiteY15933" fmla="*/ 2112058 h 5704395"/>
                <a:gd name="connsiteX15934" fmla="*/ 1336223 w 5719680"/>
                <a:gd name="connsiteY15934" fmla="*/ 2121882 h 5704395"/>
                <a:gd name="connsiteX15935" fmla="*/ 1326376 w 5719680"/>
                <a:gd name="connsiteY15935" fmla="*/ 2104136 h 5704395"/>
                <a:gd name="connsiteX15936" fmla="*/ 1353692 w 5719680"/>
                <a:gd name="connsiteY15936" fmla="*/ 2092728 h 5704395"/>
                <a:gd name="connsiteX15937" fmla="*/ 1213939 w 5719680"/>
                <a:gd name="connsiteY15937" fmla="*/ 2088608 h 5704395"/>
                <a:gd name="connsiteX15938" fmla="*/ 1179637 w 5719680"/>
                <a:gd name="connsiteY15938" fmla="*/ 2114276 h 5704395"/>
                <a:gd name="connsiteX15939" fmla="*/ 1216480 w 5719680"/>
                <a:gd name="connsiteY15939" fmla="*/ 2127269 h 5704395"/>
                <a:gd name="connsiteX15940" fmla="*/ 1198376 w 5719680"/>
                <a:gd name="connsiteY15940" fmla="*/ 2160542 h 5704395"/>
                <a:gd name="connsiteX15941" fmla="*/ 1198694 w 5719680"/>
                <a:gd name="connsiteY15941" fmla="*/ 2164661 h 5704395"/>
                <a:gd name="connsiteX15942" fmla="*/ 1232679 w 5719680"/>
                <a:gd name="connsiteY15942" fmla="*/ 2170048 h 5704395"/>
                <a:gd name="connsiteX15943" fmla="*/ 1263488 w 5719680"/>
                <a:gd name="connsiteY15943" fmla="*/ 2123783 h 5704395"/>
                <a:gd name="connsiteX15944" fmla="*/ 1213939 w 5719680"/>
                <a:gd name="connsiteY15944" fmla="*/ 2088608 h 5704395"/>
                <a:gd name="connsiteX15945" fmla="*/ 212805 w 5719680"/>
                <a:gd name="connsiteY15945" fmla="*/ 2088608 h 5704395"/>
                <a:gd name="connsiteX15946" fmla="*/ 190254 w 5719680"/>
                <a:gd name="connsiteY15946" fmla="*/ 2113642 h 5704395"/>
                <a:gd name="connsiteX15947" fmla="*/ 134353 w 5719680"/>
                <a:gd name="connsiteY15947" fmla="*/ 2175119 h 5704395"/>
                <a:gd name="connsiteX15948" fmla="*/ 115296 w 5719680"/>
                <a:gd name="connsiteY15948" fmla="*/ 2195400 h 5704395"/>
                <a:gd name="connsiteX15949" fmla="*/ 112437 w 5719680"/>
                <a:gd name="connsiteY15949" fmla="*/ 2198252 h 5704395"/>
                <a:gd name="connsiteX15950" fmla="*/ 294115 w 5719680"/>
                <a:gd name="connsiteY15950" fmla="*/ 2356062 h 5704395"/>
                <a:gd name="connsiteX15951" fmla="*/ 320795 w 5719680"/>
                <a:gd name="connsiteY15951" fmla="*/ 2291417 h 5704395"/>
                <a:gd name="connsiteX15952" fmla="*/ 339852 w 5719680"/>
                <a:gd name="connsiteY15952" fmla="*/ 2240081 h 5704395"/>
                <a:gd name="connsiteX15953" fmla="*/ 335406 w 5719680"/>
                <a:gd name="connsiteY15953" fmla="*/ 2232159 h 5704395"/>
                <a:gd name="connsiteX15954" fmla="*/ 236944 w 5719680"/>
                <a:gd name="connsiteY15954" fmla="*/ 2109523 h 5704395"/>
                <a:gd name="connsiteX15955" fmla="*/ 212805 w 5719680"/>
                <a:gd name="connsiteY15955" fmla="*/ 2088608 h 5704395"/>
                <a:gd name="connsiteX15956" fmla="*/ 726077 w 5719680"/>
                <a:gd name="connsiteY15956" fmla="*/ 2087341 h 5704395"/>
                <a:gd name="connsiteX15957" fmla="*/ 813104 w 5719680"/>
                <a:gd name="connsiteY15957" fmla="*/ 2139311 h 5704395"/>
                <a:gd name="connsiteX15958" fmla="*/ 812469 w 5719680"/>
                <a:gd name="connsiteY15958" fmla="*/ 2140895 h 5704395"/>
                <a:gd name="connsiteX15959" fmla="*/ 774355 w 5719680"/>
                <a:gd name="connsiteY15959" fmla="*/ 2280959 h 5704395"/>
                <a:gd name="connsiteX15960" fmla="*/ 716231 w 5719680"/>
                <a:gd name="connsiteY15960" fmla="*/ 2240081 h 5704395"/>
                <a:gd name="connsiteX15961" fmla="*/ 732747 w 5719680"/>
                <a:gd name="connsiteY15961" fmla="*/ 2205223 h 5704395"/>
                <a:gd name="connsiteX15962" fmla="*/ 754345 w 5719680"/>
                <a:gd name="connsiteY15962" fmla="*/ 2218215 h 5704395"/>
                <a:gd name="connsiteX15963" fmla="*/ 769273 w 5719680"/>
                <a:gd name="connsiteY15963" fmla="*/ 2164978 h 5704395"/>
                <a:gd name="connsiteX15964" fmla="*/ 736241 w 5719680"/>
                <a:gd name="connsiteY15964" fmla="*/ 2145965 h 5704395"/>
                <a:gd name="connsiteX15965" fmla="*/ 704796 w 5719680"/>
                <a:gd name="connsiteY15965" fmla="*/ 2190329 h 5704395"/>
                <a:gd name="connsiteX15966" fmla="*/ 718136 w 5719680"/>
                <a:gd name="connsiteY15966" fmla="*/ 2197935 h 5704395"/>
                <a:gd name="connsiteX15967" fmla="*/ 702891 w 5719680"/>
                <a:gd name="connsiteY15967" fmla="*/ 2232159 h 5704395"/>
                <a:gd name="connsiteX15968" fmla="*/ 649848 w 5719680"/>
                <a:gd name="connsiteY15968" fmla="*/ 2205223 h 5704395"/>
                <a:gd name="connsiteX15969" fmla="*/ 1213939 w 5719680"/>
                <a:gd name="connsiteY15969" fmla="*/ 2082904 h 5704395"/>
                <a:gd name="connsiteX15970" fmla="*/ 1269840 w 5719680"/>
                <a:gd name="connsiteY15970" fmla="*/ 2122515 h 5704395"/>
                <a:gd name="connsiteX15971" fmla="*/ 1268570 w 5719680"/>
                <a:gd name="connsiteY15971" fmla="*/ 2124417 h 5704395"/>
                <a:gd name="connsiteX15972" fmla="*/ 1234902 w 5719680"/>
                <a:gd name="connsiteY15972" fmla="*/ 2175119 h 5704395"/>
                <a:gd name="connsiteX15973" fmla="*/ 1194247 w 5719680"/>
                <a:gd name="connsiteY15973" fmla="*/ 2168781 h 5704395"/>
                <a:gd name="connsiteX15974" fmla="*/ 1193612 w 5719680"/>
                <a:gd name="connsiteY15974" fmla="*/ 2159274 h 5704395"/>
                <a:gd name="connsiteX15975" fmla="*/ 1209810 w 5719680"/>
                <a:gd name="connsiteY15975" fmla="*/ 2129804 h 5704395"/>
                <a:gd name="connsiteX15976" fmla="*/ 1169790 w 5719680"/>
                <a:gd name="connsiteY15976" fmla="*/ 2115861 h 5704395"/>
                <a:gd name="connsiteX15977" fmla="*/ 1213939 w 5719680"/>
                <a:gd name="connsiteY15977" fmla="*/ 2082904 h 5704395"/>
                <a:gd name="connsiteX15978" fmla="*/ 723536 w 5719680"/>
                <a:gd name="connsiteY15978" fmla="*/ 2077200 h 5704395"/>
                <a:gd name="connsiteX15979" fmla="*/ 700667 w 5719680"/>
                <a:gd name="connsiteY15979" fmla="*/ 2112692 h 5704395"/>
                <a:gd name="connsiteX15980" fmla="*/ 653660 w 5719680"/>
                <a:gd name="connsiteY15980" fmla="*/ 2184625 h 5704395"/>
                <a:gd name="connsiteX15981" fmla="*/ 637779 w 5719680"/>
                <a:gd name="connsiteY15981" fmla="*/ 2208392 h 5704395"/>
                <a:gd name="connsiteX15982" fmla="*/ 649848 w 5719680"/>
                <a:gd name="connsiteY15982" fmla="*/ 2214730 h 5704395"/>
                <a:gd name="connsiteX15983" fmla="*/ 714007 w 5719680"/>
                <a:gd name="connsiteY15983" fmla="*/ 2258143 h 5704395"/>
                <a:gd name="connsiteX15984" fmla="*/ 780390 w 5719680"/>
                <a:gd name="connsiteY15984" fmla="*/ 2305677 h 5704395"/>
                <a:gd name="connsiteX15985" fmla="*/ 819139 w 5719680"/>
                <a:gd name="connsiteY15985" fmla="*/ 2132022 h 5704395"/>
                <a:gd name="connsiteX15986" fmla="*/ 823586 w 5719680"/>
                <a:gd name="connsiteY15986" fmla="*/ 2132973 h 5704395"/>
                <a:gd name="connsiteX15987" fmla="*/ 784201 w 5719680"/>
                <a:gd name="connsiteY15987" fmla="*/ 2308528 h 5704395"/>
                <a:gd name="connsiteX15988" fmla="*/ 894097 w 5719680"/>
                <a:gd name="connsiteY15988" fmla="*/ 2360815 h 5704395"/>
                <a:gd name="connsiteX15989" fmla="*/ 904896 w 5719680"/>
                <a:gd name="connsiteY15989" fmla="*/ 2361766 h 5704395"/>
                <a:gd name="connsiteX15990" fmla="*/ 971596 w 5719680"/>
                <a:gd name="connsiteY15990" fmla="*/ 2341168 h 5704395"/>
                <a:gd name="connsiteX15991" fmla="*/ 958574 w 5719680"/>
                <a:gd name="connsiteY15991" fmla="*/ 2313599 h 5704395"/>
                <a:gd name="connsiteX15992" fmla="*/ 915378 w 5719680"/>
                <a:gd name="connsiteY15992" fmla="*/ 2214730 h 5704395"/>
                <a:gd name="connsiteX15993" fmla="*/ 897273 w 5719680"/>
                <a:gd name="connsiteY15993" fmla="*/ 2173218 h 5704395"/>
                <a:gd name="connsiteX15994" fmla="*/ 891874 w 5719680"/>
                <a:gd name="connsiteY15994" fmla="*/ 2160542 h 5704395"/>
                <a:gd name="connsiteX15995" fmla="*/ 890286 w 5719680"/>
                <a:gd name="connsiteY15995" fmla="*/ 2157056 h 5704395"/>
                <a:gd name="connsiteX15996" fmla="*/ 889968 w 5719680"/>
                <a:gd name="connsiteY15996" fmla="*/ 2156739 h 5704395"/>
                <a:gd name="connsiteX15997" fmla="*/ 815963 w 5719680"/>
                <a:gd name="connsiteY15997" fmla="*/ 2129804 h 5704395"/>
                <a:gd name="connsiteX15998" fmla="*/ 723536 w 5719680"/>
                <a:gd name="connsiteY15998" fmla="*/ 2077200 h 5704395"/>
                <a:gd name="connsiteX15999" fmla="*/ 897591 w 5719680"/>
                <a:gd name="connsiteY15999" fmla="*/ 2074031 h 5704395"/>
                <a:gd name="connsiteX16000" fmla="*/ 885522 w 5719680"/>
                <a:gd name="connsiteY16000" fmla="*/ 2098115 h 5704395"/>
                <a:gd name="connsiteX16001" fmla="*/ 915378 w 5719680"/>
                <a:gd name="connsiteY16001" fmla="*/ 2112692 h 5704395"/>
                <a:gd name="connsiteX16002" fmla="*/ 927447 w 5719680"/>
                <a:gd name="connsiteY16002" fmla="*/ 2088608 h 5704395"/>
                <a:gd name="connsiteX16003" fmla="*/ 1206317 w 5719680"/>
                <a:gd name="connsiteY16003" fmla="*/ 2073081 h 5704395"/>
                <a:gd name="connsiteX16004" fmla="*/ 1128500 w 5719680"/>
                <a:gd name="connsiteY16004" fmla="*/ 2140895 h 5704395"/>
                <a:gd name="connsiteX16005" fmla="*/ 1124688 w 5719680"/>
                <a:gd name="connsiteY16005" fmla="*/ 2153253 h 5704395"/>
                <a:gd name="connsiteX16006" fmla="*/ 1130406 w 5719680"/>
                <a:gd name="connsiteY16006" fmla="*/ 2154204 h 5704395"/>
                <a:gd name="connsiteX16007" fmla="*/ 1175825 w 5719680"/>
                <a:gd name="connsiteY16007" fmla="*/ 2162760 h 5704395"/>
                <a:gd name="connsiteX16008" fmla="*/ 1176143 w 5719680"/>
                <a:gd name="connsiteY16008" fmla="*/ 2162760 h 5704395"/>
                <a:gd name="connsiteX16009" fmla="*/ 1178366 w 5719680"/>
                <a:gd name="connsiteY16009" fmla="*/ 2164345 h 5704395"/>
                <a:gd name="connsiteX16010" fmla="*/ 1179954 w 5719680"/>
                <a:gd name="connsiteY16010" fmla="*/ 2172584 h 5704395"/>
                <a:gd name="connsiteX16011" fmla="*/ 1180589 w 5719680"/>
                <a:gd name="connsiteY16011" fmla="*/ 2177020 h 5704395"/>
                <a:gd name="connsiteX16012" fmla="*/ 1239349 w 5719680"/>
                <a:gd name="connsiteY16012" fmla="*/ 2187794 h 5704395"/>
                <a:gd name="connsiteX16013" fmla="*/ 1290486 w 5719680"/>
                <a:gd name="connsiteY16013" fmla="*/ 2121565 h 5704395"/>
                <a:gd name="connsiteX16014" fmla="*/ 1206317 w 5719680"/>
                <a:gd name="connsiteY16014" fmla="*/ 2073081 h 5704395"/>
                <a:gd name="connsiteX16015" fmla="*/ 1667499 w 5719680"/>
                <a:gd name="connsiteY16015" fmla="*/ 2071496 h 5704395"/>
                <a:gd name="connsiteX16016" fmla="*/ 1665593 w 5719680"/>
                <a:gd name="connsiteY16016" fmla="*/ 2091143 h 5704395"/>
                <a:gd name="connsiteX16017" fmla="*/ 1663370 w 5719680"/>
                <a:gd name="connsiteY16017" fmla="*/ 2113959 h 5704395"/>
                <a:gd name="connsiteX16018" fmla="*/ 1662417 w 5719680"/>
                <a:gd name="connsiteY16018" fmla="*/ 2120614 h 5704395"/>
                <a:gd name="connsiteX16019" fmla="*/ 1662417 w 5719680"/>
                <a:gd name="connsiteY16019" fmla="*/ 2121248 h 5704395"/>
                <a:gd name="connsiteX16020" fmla="*/ 1834249 w 5719680"/>
                <a:gd name="connsiteY16020" fmla="*/ 2156105 h 5704395"/>
                <a:gd name="connsiteX16021" fmla="*/ 1844413 w 5719680"/>
                <a:gd name="connsiteY16021" fmla="*/ 2097798 h 5704395"/>
                <a:gd name="connsiteX16022" fmla="*/ 973502 w 5719680"/>
                <a:gd name="connsiteY16022" fmla="*/ 2068011 h 5704395"/>
                <a:gd name="connsiteX16023" fmla="*/ 968102 w 5719680"/>
                <a:gd name="connsiteY16023" fmla="*/ 2079735 h 5704395"/>
                <a:gd name="connsiteX16024" fmla="*/ 962068 w 5719680"/>
                <a:gd name="connsiteY16024" fmla="*/ 2093045 h 5704395"/>
                <a:gd name="connsiteX16025" fmla="*/ 960480 w 5719680"/>
                <a:gd name="connsiteY16025" fmla="*/ 2097164 h 5704395"/>
                <a:gd name="connsiteX16026" fmla="*/ 960162 w 5719680"/>
                <a:gd name="connsiteY16026" fmla="*/ 2098432 h 5704395"/>
                <a:gd name="connsiteX16027" fmla="*/ 959844 w 5719680"/>
                <a:gd name="connsiteY16027" fmla="*/ 2098432 h 5704395"/>
                <a:gd name="connsiteX16028" fmla="*/ 959527 w 5719680"/>
                <a:gd name="connsiteY16028" fmla="*/ 2104453 h 5704395"/>
                <a:gd name="connsiteX16029" fmla="*/ 991924 w 5719680"/>
                <a:gd name="connsiteY16029" fmla="*/ 2173534 h 5704395"/>
                <a:gd name="connsiteX16030" fmla="*/ 1088162 w 5719680"/>
                <a:gd name="connsiteY16030" fmla="*/ 2244834 h 5704395"/>
                <a:gd name="connsiteX16031" fmla="*/ 1089433 w 5719680"/>
                <a:gd name="connsiteY16031" fmla="*/ 2245785 h 5704395"/>
                <a:gd name="connsiteX16032" fmla="*/ 1124053 w 5719680"/>
                <a:gd name="connsiteY16032" fmla="*/ 2140578 h 5704395"/>
                <a:gd name="connsiteX16033" fmla="*/ 973502 w 5719680"/>
                <a:gd name="connsiteY16033" fmla="*/ 2068011 h 5704395"/>
                <a:gd name="connsiteX16034" fmla="*/ 1886338 w 5719680"/>
                <a:gd name="connsiteY16034" fmla="*/ 2064842 h 5704395"/>
                <a:gd name="connsiteX16035" fmla="*/ 1884433 w 5719680"/>
                <a:gd name="connsiteY16035" fmla="*/ 2080686 h 5704395"/>
                <a:gd name="connsiteX16036" fmla="*/ 1924135 w 5719680"/>
                <a:gd name="connsiteY16036" fmla="*/ 2085439 h 5704395"/>
                <a:gd name="connsiteX16037" fmla="*/ 1926041 w 5719680"/>
                <a:gd name="connsiteY16037" fmla="*/ 2069912 h 5704395"/>
                <a:gd name="connsiteX16038" fmla="*/ 1886338 w 5719680"/>
                <a:gd name="connsiteY16038" fmla="*/ 2064842 h 5704395"/>
                <a:gd name="connsiteX16039" fmla="*/ 314761 w 5719680"/>
                <a:gd name="connsiteY16039" fmla="*/ 2064208 h 5704395"/>
                <a:gd name="connsiteX16040" fmla="*/ 308726 w 5719680"/>
                <a:gd name="connsiteY16040" fmla="*/ 2073398 h 5704395"/>
                <a:gd name="connsiteX16041" fmla="*/ 352557 w 5719680"/>
                <a:gd name="connsiteY16041" fmla="*/ 2124417 h 5704395"/>
                <a:gd name="connsiteX16042" fmla="*/ 357004 w 5719680"/>
                <a:gd name="connsiteY16042" fmla="*/ 2138360 h 5704395"/>
                <a:gd name="connsiteX16043" fmla="*/ 352875 w 5719680"/>
                <a:gd name="connsiteY16043" fmla="*/ 2146282 h 5704395"/>
                <a:gd name="connsiteX16044" fmla="*/ 345570 w 5719680"/>
                <a:gd name="connsiteY16044" fmla="*/ 2148183 h 5704395"/>
                <a:gd name="connsiteX16045" fmla="*/ 343029 w 5719680"/>
                <a:gd name="connsiteY16045" fmla="*/ 2147866 h 5704395"/>
                <a:gd name="connsiteX16046" fmla="*/ 349381 w 5719680"/>
                <a:gd name="connsiteY16046" fmla="*/ 2161176 h 5704395"/>
                <a:gd name="connsiteX16047" fmla="*/ 372567 w 5719680"/>
                <a:gd name="connsiteY16047" fmla="*/ 2166563 h 5704395"/>
                <a:gd name="connsiteX16048" fmla="*/ 381778 w 5719680"/>
                <a:gd name="connsiteY16048" fmla="*/ 2164345 h 5704395"/>
                <a:gd name="connsiteX16049" fmla="*/ 385907 w 5719680"/>
                <a:gd name="connsiteY16049" fmla="*/ 2151352 h 5704395"/>
                <a:gd name="connsiteX16050" fmla="*/ 382096 w 5719680"/>
                <a:gd name="connsiteY16050" fmla="*/ 2127902 h 5704395"/>
                <a:gd name="connsiteX16051" fmla="*/ 380190 w 5719680"/>
                <a:gd name="connsiteY16051" fmla="*/ 2121565 h 5704395"/>
                <a:gd name="connsiteX16052" fmla="*/ 402741 w 5719680"/>
                <a:gd name="connsiteY16052" fmla="*/ 2136775 h 5704395"/>
                <a:gd name="connsiteX16053" fmla="*/ 418939 w 5719680"/>
                <a:gd name="connsiteY16053" fmla="*/ 2124100 h 5704395"/>
                <a:gd name="connsiteX16054" fmla="*/ 314761 w 5719680"/>
                <a:gd name="connsiteY16054" fmla="*/ 2064208 h 5704395"/>
                <a:gd name="connsiteX16055" fmla="*/ 1341305 w 5719680"/>
                <a:gd name="connsiteY16055" fmla="*/ 2063891 h 5704395"/>
                <a:gd name="connsiteX16056" fmla="*/ 1244113 w 5719680"/>
                <a:gd name="connsiteY16056" fmla="*/ 2190646 h 5704395"/>
                <a:gd name="connsiteX16057" fmla="*/ 1235537 w 5719680"/>
                <a:gd name="connsiteY16057" fmla="*/ 2242616 h 5704395"/>
                <a:gd name="connsiteX16058" fmla="*/ 1239667 w 5719680"/>
                <a:gd name="connsiteY16058" fmla="*/ 2291417 h 5704395"/>
                <a:gd name="connsiteX16059" fmla="*/ 1240302 w 5719680"/>
                <a:gd name="connsiteY16059" fmla="*/ 2291733 h 5704395"/>
                <a:gd name="connsiteX16060" fmla="*/ 1240619 w 5719680"/>
                <a:gd name="connsiteY16060" fmla="*/ 2292050 h 5704395"/>
                <a:gd name="connsiteX16061" fmla="*/ 1298108 w 5719680"/>
                <a:gd name="connsiteY16061" fmla="*/ 2345921 h 5704395"/>
                <a:gd name="connsiteX16062" fmla="*/ 1324471 w 5719680"/>
                <a:gd name="connsiteY16062" fmla="*/ 2328176 h 5704395"/>
                <a:gd name="connsiteX16063" fmla="*/ 1350198 w 5719680"/>
                <a:gd name="connsiteY16063" fmla="*/ 2252123 h 5704395"/>
                <a:gd name="connsiteX16064" fmla="*/ 1348610 w 5719680"/>
                <a:gd name="connsiteY16064" fmla="*/ 2252123 h 5704395"/>
                <a:gd name="connsiteX16065" fmla="*/ 1348927 w 5719680"/>
                <a:gd name="connsiteY16065" fmla="*/ 2249587 h 5704395"/>
                <a:gd name="connsiteX16066" fmla="*/ 1328282 w 5719680"/>
                <a:gd name="connsiteY16066" fmla="*/ 2217582 h 5704395"/>
                <a:gd name="connsiteX16067" fmla="*/ 1384183 w 5719680"/>
                <a:gd name="connsiteY16067" fmla="*/ 2100967 h 5704395"/>
                <a:gd name="connsiteX16068" fmla="*/ 1372114 w 5719680"/>
                <a:gd name="connsiteY16068" fmla="*/ 2077517 h 5704395"/>
                <a:gd name="connsiteX16069" fmla="*/ 1341305 w 5719680"/>
                <a:gd name="connsiteY16069" fmla="*/ 2063891 h 5704395"/>
                <a:gd name="connsiteX16070" fmla="*/ 1882845 w 5719680"/>
                <a:gd name="connsiteY16070" fmla="*/ 2060405 h 5704395"/>
                <a:gd name="connsiteX16071" fmla="*/ 1930487 w 5719680"/>
                <a:gd name="connsiteY16071" fmla="*/ 2066109 h 5704395"/>
                <a:gd name="connsiteX16072" fmla="*/ 1927629 w 5719680"/>
                <a:gd name="connsiteY16072" fmla="*/ 2090193 h 5704395"/>
                <a:gd name="connsiteX16073" fmla="*/ 1925723 w 5719680"/>
                <a:gd name="connsiteY16073" fmla="*/ 2089876 h 5704395"/>
                <a:gd name="connsiteX16074" fmla="*/ 1879986 w 5719680"/>
                <a:gd name="connsiteY16074" fmla="*/ 2084172 h 5704395"/>
                <a:gd name="connsiteX16075" fmla="*/ 1882845 w 5719680"/>
                <a:gd name="connsiteY16075" fmla="*/ 2060405 h 5704395"/>
                <a:gd name="connsiteX16076" fmla="*/ 2670222 w 5719680"/>
                <a:gd name="connsiteY16076" fmla="*/ 2058187 h 5704395"/>
                <a:gd name="connsiteX16077" fmla="*/ 2670539 w 5719680"/>
                <a:gd name="connsiteY16077" fmla="*/ 2071180 h 5704395"/>
                <a:gd name="connsiteX16078" fmla="*/ 2649259 w 5719680"/>
                <a:gd name="connsiteY16078" fmla="*/ 2192231 h 5704395"/>
                <a:gd name="connsiteX16079" fmla="*/ 2314806 w 5719680"/>
                <a:gd name="connsiteY16079" fmla="*/ 2395356 h 5704395"/>
                <a:gd name="connsiteX16080" fmla="*/ 2155044 w 5719680"/>
                <a:gd name="connsiteY16080" fmla="*/ 2432749 h 5704395"/>
                <a:gd name="connsiteX16081" fmla="*/ 2129952 w 5719680"/>
                <a:gd name="connsiteY16081" fmla="*/ 2448276 h 5704395"/>
                <a:gd name="connsiteX16082" fmla="*/ 2107401 w 5719680"/>
                <a:gd name="connsiteY16082" fmla="*/ 2475529 h 5704395"/>
                <a:gd name="connsiteX16083" fmla="*/ 2081356 w 5719680"/>
                <a:gd name="connsiteY16083" fmla="*/ 2540490 h 5704395"/>
                <a:gd name="connsiteX16084" fmla="*/ 2092790 w 5719680"/>
                <a:gd name="connsiteY16084" fmla="*/ 2541124 h 5704395"/>
                <a:gd name="connsiteX16085" fmla="*/ 2102637 w 5719680"/>
                <a:gd name="connsiteY16085" fmla="*/ 2541441 h 5704395"/>
                <a:gd name="connsiteX16086" fmla="*/ 2108354 w 5719680"/>
                <a:gd name="connsiteY16086" fmla="*/ 2541441 h 5704395"/>
                <a:gd name="connsiteX16087" fmla="*/ 2130270 w 5719680"/>
                <a:gd name="connsiteY16087" fmla="*/ 2497711 h 5704395"/>
                <a:gd name="connsiteX16088" fmla="*/ 2130587 w 5719680"/>
                <a:gd name="connsiteY16088" fmla="*/ 2497394 h 5704395"/>
                <a:gd name="connsiteX16089" fmla="*/ 2130587 w 5719680"/>
                <a:gd name="connsiteY16089" fmla="*/ 2497077 h 5704395"/>
                <a:gd name="connsiteX16090" fmla="*/ 2151550 w 5719680"/>
                <a:gd name="connsiteY16090" fmla="*/ 2473310 h 5704395"/>
                <a:gd name="connsiteX16091" fmla="*/ 2214438 w 5719680"/>
                <a:gd name="connsiteY16091" fmla="*/ 2443523 h 5704395"/>
                <a:gd name="connsiteX16092" fmla="*/ 2266210 w 5719680"/>
                <a:gd name="connsiteY16092" fmla="*/ 2437502 h 5704395"/>
                <a:gd name="connsiteX16093" fmla="*/ 2264622 w 5719680"/>
                <a:gd name="connsiteY16093" fmla="*/ 2421974 h 5704395"/>
                <a:gd name="connsiteX16094" fmla="*/ 2266210 w 5719680"/>
                <a:gd name="connsiteY16094" fmla="*/ 2417538 h 5704395"/>
                <a:gd name="connsiteX16095" fmla="*/ 2272880 w 5719680"/>
                <a:gd name="connsiteY16095" fmla="*/ 2416270 h 5704395"/>
                <a:gd name="connsiteX16096" fmla="*/ 2519670 w 5719680"/>
                <a:gd name="connsiteY16096" fmla="*/ 2338633 h 5704395"/>
                <a:gd name="connsiteX16097" fmla="*/ 2650212 w 5719680"/>
                <a:gd name="connsiteY16097" fmla="*/ 2222969 h 5704395"/>
                <a:gd name="connsiteX16098" fmla="*/ 2686738 w 5719680"/>
                <a:gd name="connsiteY16098" fmla="*/ 2151669 h 5704395"/>
                <a:gd name="connsiteX16099" fmla="*/ 2687055 w 5719680"/>
                <a:gd name="connsiteY16099" fmla="*/ 2149768 h 5704395"/>
                <a:gd name="connsiteX16100" fmla="*/ 2688961 w 5719680"/>
                <a:gd name="connsiteY16100" fmla="*/ 2150085 h 5704395"/>
                <a:gd name="connsiteX16101" fmla="*/ 2707065 w 5719680"/>
                <a:gd name="connsiteY16101" fmla="*/ 2151035 h 5704395"/>
                <a:gd name="connsiteX16102" fmla="*/ 2708018 w 5719680"/>
                <a:gd name="connsiteY16102" fmla="*/ 2068644 h 5704395"/>
                <a:gd name="connsiteX16103" fmla="*/ 2708018 w 5719680"/>
                <a:gd name="connsiteY16103" fmla="*/ 2062624 h 5704395"/>
                <a:gd name="connsiteX16104" fmla="*/ 2697219 w 5719680"/>
                <a:gd name="connsiteY16104" fmla="*/ 2061356 h 5704395"/>
                <a:gd name="connsiteX16105" fmla="*/ 2670222 w 5719680"/>
                <a:gd name="connsiteY16105" fmla="*/ 2058187 h 5704395"/>
                <a:gd name="connsiteX16106" fmla="*/ 313172 w 5719680"/>
                <a:gd name="connsiteY16106" fmla="*/ 2057870 h 5704395"/>
                <a:gd name="connsiteX16107" fmla="*/ 427515 w 5719680"/>
                <a:gd name="connsiteY16107" fmla="*/ 2123466 h 5704395"/>
                <a:gd name="connsiteX16108" fmla="*/ 424657 w 5719680"/>
                <a:gd name="connsiteY16108" fmla="*/ 2125684 h 5704395"/>
                <a:gd name="connsiteX16109" fmla="*/ 402741 w 5719680"/>
                <a:gd name="connsiteY16109" fmla="*/ 2142479 h 5704395"/>
                <a:gd name="connsiteX16110" fmla="*/ 388130 w 5719680"/>
                <a:gd name="connsiteY16110" fmla="*/ 2132656 h 5704395"/>
                <a:gd name="connsiteX16111" fmla="*/ 390354 w 5719680"/>
                <a:gd name="connsiteY16111" fmla="*/ 2151352 h 5704395"/>
                <a:gd name="connsiteX16112" fmla="*/ 384637 w 5719680"/>
                <a:gd name="connsiteY16112" fmla="*/ 2168147 h 5704395"/>
                <a:gd name="connsiteX16113" fmla="*/ 372567 w 5719680"/>
                <a:gd name="connsiteY16113" fmla="*/ 2171316 h 5704395"/>
                <a:gd name="connsiteX16114" fmla="*/ 346522 w 5719680"/>
                <a:gd name="connsiteY16114" fmla="*/ 2165295 h 5704395"/>
                <a:gd name="connsiteX16115" fmla="*/ 345887 w 5719680"/>
                <a:gd name="connsiteY16115" fmla="*/ 2164978 h 5704395"/>
                <a:gd name="connsiteX16116" fmla="*/ 334770 w 5719680"/>
                <a:gd name="connsiteY16116" fmla="*/ 2141212 h 5704395"/>
                <a:gd name="connsiteX16117" fmla="*/ 339535 w 5719680"/>
                <a:gd name="connsiteY16117" fmla="*/ 2142796 h 5704395"/>
                <a:gd name="connsiteX16118" fmla="*/ 345570 w 5719680"/>
                <a:gd name="connsiteY16118" fmla="*/ 2143430 h 5704395"/>
                <a:gd name="connsiteX16119" fmla="*/ 352240 w 5719680"/>
                <a:gd name="connsiteY16119" fmla="*/ 2138360 h 5704395"/>
                <a:gd name="connsiteX16120" fmla="*/ 348428 w 5719680"/>
                <a:gd name="connsiteY16120" fmla="*/ 2126635 h 5704395"/>
                <a:gd name="connsiteX16121" fmla="*/ 303961 w 5719680"/>
                <a:gd name="connsiteY16121" fmla="*/ 2075616 h 5704395"/>
                <a:gd name="connsiteX16122" fmla="*/ 302373 w 5719680"/>
                <a:gd name="connsiteY16122" fmla="*/ 2074348 h 5704395"/>
                <a:gd name="connsiteX16123" fmla="*/ 313172 w 5719680"/>
                <a:gd name="connsiteY16123" fmla="*/ 2057870 h 5704395"/>
                <a:gd name="connsiteX16124" fmla="*/ 660330 w 5719680"/>
                <a:gd name="connsiteY16124" fmla="*/ 2057236 h 5704395"/>
                <a:gd name="connsiteX16125" fmla="*/ 591724 w 5719680"/>
                <a:gd name="connsiteY16125" fmla="*/ 2159908 h 5704395"/>
                <a:gd name="connsiteX16126" fmla="*/ 631426 w 5719680"/>
                <a:gd name="connsiteY16126" fmla="*/ 2186527 h 5704395"/>
                <a:gd name="connsiteX16127" fmla="*/ 698444 w 5719680"/>
                <a:gd name="connsiteY16127" fmla="*/ 2079102 h 5704395"/>
                <a:gd name="connsiteX16128" fmla="*/ 660330 w 5719680"/>
                <a:gd name="connsiteY16128" fmla="*/ 2057236 h 5704395"/>
                <a:gd name="connsiteX16129" fmla="*/ 1798676 w 5719680"/>
                <a:gd name="connsiteY16129" fmla="*/ 2053434 h 5704395"/>
                <a:gd name="connsiteX16130" fmla="*/ 1796770 w 5719680"/>
                <a:gd name="connsiteY16130" fmla="*/ 2068961 h 5704395"/>
                <a:gd name="connsiteX16131" fmla="*/ 1836155 w 5719680"/>
                <a:gd name="connsiteY16131" fmla="*/ 2073715 h 5704395"/>
                <a:gd name="connsiteX16132" fmla="*/ 1838060 w 5719680"/>
                <a:gd name="connsiteY16132" fmla="*/ 2058187 h 5704395"/>
                <a:gd name="connsiteX16133" fmla="*/ 1798676 w 5719680"/>
                <a:gd name="connsiteY16133" fmla="*/ 2053434 h 5704395"/>
                <a:gd name="connsiteX16134" fmla="*/ 2626072 w 5719680"/>
                <a:gd name="connsiteY16134" fmla="*/ 2052800 h 5704395"/>
                <a:gd name="connsiteX16135" fmla="*/ 2626390 w 5719680"/>
                <a:gd name="connsiteY16135" fmla="*/ 2070546 h 5704395"/>
                <a:gd name="connsiteX16136" fmla="*/ 2626390 w 5719680"/>
                <a:gd name="connsiteY16136" fmla="*/ 2071496 h 5704395"/>
                <a:gd name="connsiteX16137" fmla="*/ 2626390 w 5719680"/>
                <a:gd name="connsiteY16137" fmla="*/ 2074665 h 5704395"/>
                <a:gd name="connsiteX16138" fmla="*/ 2610827 w 5719680"/>
                <a:gd name="connsiteY16138" fmla="*/ 2170048 h 5704395"/>
                <a:gd name="connsiteX16139" fmla="*/ 2306548 w 5719680"/>
                <a:gd name="connsiteY16139" fmla="*/ 2351942 h 5704395"/>
                <a:gd name="connsiteX16140" fmla="*/ 2165208 w 5719680"/>
                <a:gd name="connsiteY16140" fmla="*/ 2382364 h 5704395"/>
                <a:gd name="connsiteX16141" fmla="*/ 2099460 w 5719680"/>
                <a:gd name="connsiteY16141" fmla="*/ 2415953 h 5704395"/>
                <a:gd name="connsiteX16142" fmla="*/ 2071828 w 5719680"/>
                <a:gd name="connsiteY16142" fmla="*/ 2449227 h 5704395"/>
                <a:gd name="connsiteX16143" fmla="*/ 2069604 w 5719680"/>
                <a:gd name="connsiteY16143" fmla="*/ 2452712 h 5704395"/>
                <a:gd name="connsiteX16144" fmla="*/ 2069922 w 5719680"/>
                <a:gd name="connsiteY16144" fmla="*/ 2453029 h 5704395"/>
                <a:gd name="connsiteX16145" fmla="*/ 2067381 w 5719680"/>
                <a:gd name="connsiteY16145" fmla="*/ 2456515 h 5704395"/>
                <a:gd name="connsiteX16146" fmla="*/ 2067063 w 5719680"/>
                <a:gd name="connsiteY16146" fmla="*/ 2456198 h 5704395"/>
                <a:gd name="connsiteX16147" fmla="*/ 2049277 w 5719680"/>
                <a:gd name="connsiteY16147" fmla="*/ 2493274 h 5704395"/>
                <a:gd name="connsiteX16148" fmla="*/ 2050230 w 5719680"/>
                <a:gd name="connsiteY16148" fmla="*/ 2493908 h 5704395"/>
                <a:gd name="connsiteX16149" fmla="*/ 2048006 w 5719680"/>
                <a:gd name="connsiteY16149" fmla="*/ 2497711 h 5704395"/>
                <a:gd name="connsiteX16150" fmla="*/ 2040383 w 5719680"/>
                <a:gd name="connsiteY16150" fmla="*/ 2523062 h 5704395"/>
                <a:gd name="connsiteX16151" fmla="*/ 2036254 w 5719680"/>
                <a:gd name="connsiteY16151" fmla="*/ 2537322 h 5704395"/>
                <a:gd name="connsiteX16152" fmla="*/ 2075957 w 5719680"/>
                <a:gd name="connsiteY16152" fmla="*/ 2540174 h 5704395"/>
                <a:gd name="connsiteX16153" fmla="*/ 2103272 w 5719680"/>
                <a:gd name="connsiteY16153" fmla="*/ 2472360 h 5704395"/>
                <a:gd name="connsiteX16154" fmla="*/ 2126458 w 5719680"/>
                <a:gd name="connsiteY16154" fmla="*/ 2444473 h 5704395"/>
                <a:gd name="connsiteX16155" fmla="*/ 2153138 w 5719680"/>
                <a:gd name="connsiteY16155" fmla="*/ 2427678 h 5704395"/>
                <a:gd name="connsiteX16156" fmla="*/ 2313853 w 5719680"/>
                <a:gd name="connsiteY16156" fmla="*/ 2390286 h 5704395"/>
                <a:gd name="connsiteX16157" fmla="*/ 2644494 w 5719680"/>
                <a:gd name="connsiteY16157" fmla="*/ 2189379 h 5704395"/>
                <a:gd name="connsiteX16158" fmla="*/ 2665457 w 5719680"/>
                <a:gd name="connsiteY16158" fmla="*/ 2071180 h 5704395"/>
                <a:gd name="connsiteX16159" fmla="*/ 2665140 w 5719680"/>
                <a:gd name="connsiteY16159" fmla="*/ 2057553 h 5704395"/>
                <a:gd name="connsiteX16160" fmla="*/ 2626072 w 5719680"/>
                <a:gd name="connsiteY16160" fmla="*/ 2052800 h 5704395"/>
                <a:gd name="connsiteX16161" fmla="*/ 403694 w 5719680"/>
                <a:gd name="connsiteY16161" fmla="*/ 2052800 h 5704395"/>
                <a:gd name="connsiteX16162" fmla="*/ 393530 w 5719680"/>
                <a:gd name="connsiteY16162" fmla="*/ 2070546 h 5704395"/>
                <a:gd name="connsiteX16163" fmla="*/ 429739 w 5719680"/>
                <a:gd name="connsiteY16163" fmla="*/ 2091143 h 5704395"/>
                <a:gd name="connsiteX16164" fmla="*/ 439902 w 5719680"/>
                <a:gd name="connsiteY16164" fmla="*/ 2073398 h 5704395"/>
                <a:gd name="connsiteX16165" fmla="*/ 403694 w 5719680"/>
                <a:gd name="connsiteY16165" fmla="*/ 2052800 h 5704395"/>
                <a:gd name="connsiteX16166" fmla="*/ 2070875 w 5719680"/>
                <a:gd name="connsiteY16166" fmla="*/ 2052483 h 5704395"/>
                <a:gd name="connsiteX16167" fmla="*/ 2065793 w 5719680"/>
                <a:gd name="connsiteY16167" fmla="*/ 2097164 h 5704395"/>
                <a:gd name="connsiteX16168" fmla="*/ 2177595 w 5719680"/>
                <a:gd name="connsiteY16168" fmla="*/ 2115861 h 5704395"/>
                <a:gd name="connsiteX16169" fmla="*/ 2180771 w 5719680"/>
                <a:gd name="connsiteY16169" fmla="*/ 2098115 h 5704395"/>
                <a:gd name="connsiteX16170" fmla="*/ 2230320 w 5719680"/>
                <a:gd name="connsiteY16170" fmla="*/ 2106354 h 5704395"/>
                <a:gd name="connsiteX16171" fmla="*/ 2230002 w 5719680"/>
                <a:gd name="connsiteY16171" fmla="*/ 2108572 h 5704395"/>
                <a:gd name="connsiteX16172" fmla="*/ 2227143 w 5719680"/>
                <a:gd name="connsiteY16172" fmla="*/ 2124100 h 5704395"/>
                <a:gd name="connsiteX16173" fmla="*/ 2246200 w 5719680"/>
                <a:gd name="connsiteY16173" fmla="*/ 2127269 h 5704395"/>
                <a:gd name="connsiteX16174" fmla="*/ 2253188 w 5719680"/>
                <a:gd name="connsiteY16174" fmla="*/ 2081320 h 5704395"/>
                <a:gd name="connsiteX16175" fmla="*/ 2070875 w 5719680"/>
                <a:gd name="connsiteY16175" fmla="*/ 2052483 h 5704395"/>
                <a:gd name="connsiteX16176" fmla="*/ 2554608 w 5719680"/>
                <a:gd name="connsiteY16176" fmla="*/ 2052166 h 5704395"/>
                <a:gd name="connsiteX16177" fmla="*/ 2547621 w 5719680"/>
                <a:gd name="connsiteY16177" fmla="*/ 2084489 h 5704395"/>
                <a:gd name="connsiteX16178" fmla="*/ 2575889 w 5719680"/>
                <a:gd name="connsiteY16178" fmla="*/ 2086390 h 5704395"/>
                <a:gd name="connsiteX16179" fmla="*/ 2577159 w 5719680"/>
                <a:gd name="connsiteY16179" fmla="*/ 2067377 h 5704395"/>
                <a:gd name="connsiteX16180" fmla="*/ 2562231 w 5719680"/>
                <a:gd name="connsiteY16180" fmla="*/ 2066426 h 5704395"/>
                <a:gd name="connsiteX16181" fmla="*/ 2563184 w 5719680"/>
                <a:gd name="connsiteY16181" fmla="*/ 2052800 h 5704395"/>
                <a:gd name="connsiteX16182" fmla="*/ 2554608 w 5719680"/>
                <a:gd name="connsiteY16182" fmla="*/ 2052166 h 5704395"/>
                <a:gd name="connsiteX16183" fmla="*/ 658742 w 5719680"/>
                <a:gd name="connsiteY16183" fmla="*/ 2051216 h 5704395"/>
                <a:gd name="connsiteX16184" fmla="*/ 704796 w 5719680"/>
                <a:gd name="connsiteY16184" fmla="*/ 2077517 h 5704395"/>
                <a:gd name="connsiteX16185" fmla="*/ 703526 w 5719680"/>
                <a:gd name="connsiteY16185" fmla="*/ 2079418 h 5704395"/>
                <a:gd name="connsiteX16186" fmla="*/ 632697 w 5719680"/>
                <a:gd name="connsiteY16186" fmla="*/ 2193181 h 5704395"/>
                <a:gd name="connsiteX16187" fmla="*/ 585054 w 5719680"/>
                <a:gd name="connsiteY16187" fmla="*/ 2161176 h 5704395"/>
                <a:gd name="connsiteX16188" fmla="*/ 658742 w 5719680"/>
                <a:gd name="connsiteY16188" fmla="*/ 2051216 h 5704395"/>
                <a:gd name="connsiteX16189" fmla="*/ 2605110 w 5719680"/>
                <a:gd name="connsiteY16189" fmla="*/ 2050582 h 5704395"/>
                <a:gd name="connsiteX16190" fmla="*/ 2600028 w 5719680"/>
                <a:gd name="connsiteY16190" fmla="*/ 2110474 h 5704395"/>
                <a:gd name="connsiteX16191" fmla="*/ 2587006 w 5719680"/>
                <a:gd name="connsiteY16191" fmla="*/ 2167513 h 5704395"/>
                <a:gd name="connsiteX16192" fmla="*/ 2562231 w 5719680"/>
                <a:gd name="connsiteY16192" fmla="*/ 2210293 h 5704395"/>
                <a:gd name="connsiteX16193" fmla="*/ 2481556 w 5719680"/>
                <a:gd name="connsiteY16193" fmla="*/ 2264164 h 5704395"/>
                <a:gd name="connsiteX16194" fmla="*/ 2398022 w 5719680"/>
                <a:gd name="connsiteY16194" fmla="*/ 2306627 h 5704395"/>
                <a:gd name="connsiteX16195" fmla="*/ 2235719 w 5719680"/>
                <a:gd name="connsiteY16195" fmla="*/ 2343703 h 5704395"/>
                <a:gd name="connsiteX16196" fmla="*/ 2233178 w 5719680"/>
                <a:gd name="connsiteY16196" fmla="*/ 2360815 h 5704395"/>
                <a:gd name="connsiteX16197" fmla="*/ 2212533 w 5719680"/>
                <a:gd name="connsiteY16197" fmla="*/ 2357646 h 5704395"/>
                <a:gd name="connsiteX16198" fmla="*/ 2215074 w 5719680"/>
                <a:gd name="connsiteY16198" fmla="*/ 2341485 h 5704395"/>
                <a:gd name="connsiteX16199" fmla="*/ 2188076 w 5719680"/>
                <a:gd name="connsiteY16199" fmla="*/ 2336098 h 5704395"/>
                <a:gd name="connsiteX16200" fmla="*/ 2184582 w 5719680"/>
                <a:gd name="connsiteY16200" fmla="*/ 2355111 h 5704395"/>
                <a:gd name="connsiteX16201" fmla="*/ 2135669 w 5719680"/>
                <a:gd name="connsiteY16201" fmla="*/ 2347189 h 5704395"/>
                <a:gd name="connsiteX16202" fmla="*/ 2139480 w 5719680"/>
                <a:gd name="connsiteY16202" fmla="*/ 2325957 h 5704395"/>
                <a:gd name="connsiteX16203" fmla="*/ 2098508 w 5719680"/>
                <a:gd name="connsiteY16203" fmla="*/ 2317718 h 5704395"/>
                <a:gd name="connsiteX16204" fmla="*/ 2093426 w 5719680"/>
                <a:gd name="connsiteY16204" fmla="*/ 2321838 h 5704395"/>
                <a:gd name="connsiteX16205" fmla="*/ 2089614 w 5719680"/>
                <a:gd name="connsiteY16205" fmla="*/ 2325324 h 5704395"/>
                <a:gd name="connsiteX16206" fmla="*/ 2088344 w 5719680"/>
                <a:gd name="connsiteY16206" fmla="*/ 2326591 h 5704395"/>
                <a:gd name="connsiteX16207" fmla="*/ 2088344 w 5719680"/>
                <a:gd name="connsiteY16207" fmla="*/ 2326908 h 5704395"/>
                <a:gd name="connsiteX16208" fmla="*/ 2087709 w 5719680"/>
                <a:gd name="connsiteY16208" fmla="*/ 2328810 h 5704395"/>
                <a:gd name="connsiteX16209" fmla="*/ 2086438 w 5719680"/>
                <a:gd name="connsiteY16209" fmla="*/ 2329126 h 5704395"/>
                <a:gd name="connsiteX16210" fmla="*/ 2086120 w 5719680"/>
                <a:gd name="connsiteY16210" fmla="*/ 2329126 h 5704395"/>
                <a:gd name="connsiteX16211" fmla="*/ 2052453 w 5719680"/>
                <a:gd name="connsiteY16211" fmla="*/ 2320887 h 5704395"/>
                <a:gd name="connsiteX16212" fmla="*/ 2020691 w 5719680"/>
                <a:gd name="connsiteY16212" fmla="*/ 2312648 h 5704395"/>
                <a:gd name="connsiteX16213" fmla="*/ 1996234 w 5719680"/>
                <a:gd name="connsiteY16213" fmla="*/ 2319937 h 5704395"/>
                <a:gd name="connsiteX16214" fmla="*/ 1991152 w 5719680"/>
                <a:gd name="connsiteY16214" fmla="*/ 2357646 h 5704395"/>
                <a:gd name="connsiteX16215" fmla="*/ 1987024 w 5719680"/>
                <a:gd name="connsiteY16215" fmla="*/ 2391870 h 5704395"/>
                <a:gd name="connsiteX16216" fmla="*/ 1989247 w 5719680"/>
                <a:gd name="connsiteY16216" fmla="*/ 2394088 h 5704395"/>
                <a:gd name="connsiteX16217" fmla="*/ 2065475 w 5719680"/>
                <a:gd name="connsiteY16217" fmla="*/ 2449544 h 5704395"/>
                <a:gd name="connsiteX16218" fmla="*/ 2067699 w 5719680"/>
                <a:gd name="connsiteY16218" fmla="*/ 2446058 h 5704395"/>
                <a:gd name="connsiteX16219" fmla="*/ 2095967 w 5719680"/>
                <a:gd name="connsiteY16219" fmla="*/ 2412151 h 5704395"/>
                <a:gd name="connsiteX16220" fmla="*/ 2110577 w 5719680"/>
                <a:gd name="connsiteY16220" fmla="*/ 2400426 h 5704395"/>
                <a:gd name="connsiteX16221" fmla="*/ 2110577 w 5719680"/>
                <a:gd name="connsiteY16221" fmla="*/ 2400109 h 5704395"/>
                <a:gd name="connsiteX16222" fmla="*/ 2108989 w 5719680"/>
                <a:gd name="connsiteY16222" fmla="*/ 2401377 h 5704395"/>
                <a:gd name="connsiteX16223" fmla="*/ 2078498 w 5719680"/>
                <a:gd name="connsiteY16223" fmla="*/ 2381730 h 5704395"/>
                <a:gd name="connsiteX16224" fmla="*/ 2060076 w 5719680"/>
                <a:gd name="connsiteY16224" fmla="*/ 2370005 h 5704395"/>
                <a:gd name="connsiteX16225" fmla="*/ 2053723 w 5719680"/>
                <a:gd name="connsiteY16225" fmla="*/ 2365885 h 5704395"/>
                <a:gd name="connsiteX16226" fmla="*/ 2052135 w 5719680"/>
                <a:gd name="connsiteY16226" fmla="*/ 2364301 h 5704395"/>
                <a:gd name="connsiteX16227" fmla="*/ 2051182 w 5719680"/>
                <a:gd name="connsiteY16227" fmla="*/ 2363667 h 5704395"/>
                <a:gd name="connsiteX16228" fmla="*/ 1992741 w 5719680"/>
                <a:gd name="connsiteY16228" fmla="*/ 2350675 h 5704395"/>
                <a:gd name="connsiteX16229" fmla="*/ 1993693 w 5719680"/>
                <a:gd name="connsiteY16229" fmla="*/ 2346238 h 5704395"/>
                <a:gd name="connsiteX16230" fmla="*/ 2023550 w 5719680"/>
                <a:gd name="connsiteY16230" fmla="*/ 2352893 h 5704395"/>
                <a:gd name="connsiteX16231" fmla="*/ 2044195 w 5719680"/>
                <a:gd name="connsiteY16231" fmla="*/ 2357329 h 5704395"/>
                <a:gd name="connsiteX16232" fmla="*/ 2051182 w 5719680"/>
                <a:gd name="connsiteY16232" fmla="*/ 2359231 h 5704395"/>
                <a:gd name="connsiteX16233" fmla="*/ 2053088 w 5719680"/>
                <a:gd name="connsiteY16233" fmla="*/ 2359547 h 5704395"/>
                <a:gd name="connsiteX16234" fmla="*/ 2053723 w 5719680"/>
                <a:gd name="connsiteY16234" fmla="*/ 2359864 h 5704395"/>
                <a:gd name="connsiteX16235" fmla="*/ 2054041 w 5719680"/>
                <a:gd name="connsiteY16235" fmla="*/ 2359864 h 5704395"/>
                <a:gd name="connsiteX16236" fmla="*/ 2054994 w 5719680"/>
                <a:gd name="connsiteY16236" fmla="*/ 2361132 h 5704395"/>
                <a:gd name="connsiteX16237" fmla="*/ 2084215 w 5719680"/>
                <a:gd name="connsiteY16237" fmla="*/ 2380145 h 5704395"/>
                <a:gd name="connsiteX16238" fmla="*/ 2103272 w 5719680"/>
                <a:gd name="connsiteY16238" fmla="*/ 2392504 h 5704395"/>
                <a:gd name="connsiteX16239" fmla="*/ 2109624 w 5719680"/>
                <a:gd name="connsiteY16239" fmla="*/ 2396306 h 5704395"/>
                <a:gd name="connsiteX16240" fmla="*/ 2111530 w 5719680"/>
                <a:gd name="connsiteY16240" fmla="*/ 2397891 h 5704395"/>
                <a:gd name="connsiteX16241" fmla="*/ 2112165 w 5719680"/>
                <a:gd name="connsiteY16241" fmla="*/ 2398208 h 5704395"/>
                <a:gd name="connsiteX16242" fmla="*/ 2112800 w 5719680"/>
                <a:gd name="connsiteY16242" fmla="*/ 2399158 h 5704395"/>
                <a:gd name="connsiteX16243" fmla="*/ 2163620 w 5719680"/>
                <a:gd name="connsiteY16243" fmla="*/ 2377610 h 5704395"/>
                <a:gd name="connsiteX16244" fmla="*/ 2305595 w 5719680"/>
                <a:gd name="connsiteY16244" fmla="*/ 2346872 h 5704395"/>
                <a:gd name="connsiteX16245" fmla="*/ 2606380 w 5719680"/>
                <a:gd name="connsiteY16245" fmla="*/ 2167513 h 5704395"/>
                <a:gd name="connsiteX16246" fmla="*/ 2620991 w 5719680"/>
                <a:gd name="connsiteY16246" fmla="*/ 2074665 h 5704395"/>
                <a:gd name="connsiteX16247" fmla="*/ 2620991 w 5719680"/>
                <a:gd name="connsiteY16247" fmla="*/ 2071496 h 5704395"/>
                <a:gd name="connsiteX16248" fmla="*/ 2620991 w 5719680"/>
                <a:gd name="connsiteY16248" fmla="*/ 2070546 h 5704395"/>
                <a:gd name="connsiteX16249" fmla="*/ 2620673 w 5719680"/>
                <a:gd name="connsiteY16249" fmla="*/ 2052483 h 5704395"/>
                <a:gd name="connsiteX16250" fmla="*/ 2605110 w 5719680"/>
                <a:gd name="connsiteY16250" fmla="*/ 2050582 h 5704395"/>
                <a:gd name="connsiteX16251" fmla="*/ 2534598 w 5719680"/>
                <a:gd name="connsiteY16251" fmla="*/ 2050582 h 5704395"/>
                <a:gd name="connsiteX16252" fmla="*/ 2533646 w 5719680"/>
                <a:gd name="connsiteY16252" fmla="*/ 2064208 h 5704395"/>
                <a:gd name="connsiteX16253" fmla="*/ 2518717 w 5719680"/>
                <a:gd name="connsiteY16253" fmla="*/ 2063257 h 5704395"/>
                <a:gd name="connsiteX16254" fmla="*/ 2517447 w 5719680"/>
                <a:gd name="connsiteY16254" fmla="*/ 2082271 h 5704395"/>
                <a:gd name="connsiteX16255" fmla="*/ 2543174 w 5719680"/>
                <a:gd name="connsiteY16255" fmla="*/ 2084172 h 5704395"/>
                <a:gd name="connsiteX16256" fmla="*/ 2550162 w 5719680"/>
                <a:gd name="connsiteY16256" fmla="*/ 2051849 h 5704395"/>
                <a:gd name="connsiteX16257" fmla="*/ 2534598 w 5719680"/>
                <a:gd name="connsiteY16257" fmla="*/ 2050582 h 5704395"/>
                <a:gd name="connsiteX16258" fmla="*/ 1794864 w 5719680"/>
                <a:gd name="connsiteY16258" fmla="*/ 2048680 h 5704395"/>
                <a:gd name="connsiteX16259" fmla="*/ 1842825 w 5719680"/>
                <a:gd name="connsiteY16259" fmla="*/ 2054384 h 5704395"/>
                <a:gd name="connsiteX16260" fmla="*/ 1839966 w 5719680"/>
                <a:gd name="connsiteY16260" fmla="*/ 2078468 h 5704395"/>
                <a:gd name="connsiteX16261" fmla="*/ 1837743 w 5719680"/>
                <a:gd name="connsiteY16261" fmla="*/ 2078151 h 5704395"/>
                <a:gd name="connsiteX16262" fmla="*/ 1792006 w 5719680"/>
                <a:gd name="connsiteY16262" fmla="*/ 2072447 h 5704395"/>
                <a:gd name="connsiteX16263" fmla="*/ 1794864 w 5719680"/>
                <a:gd name="connsiteY16263" fmla="*/ 2048680 h 5704395"/>
                <a:gd name="connsiteX16264" fmla="*/ 1874587 w 5719680"/>
                <a:gd name="connsiteY16264" fmla="*/ 2045828 h 5704395"/>
                <a:gd name="connsiteX16265" fmla="*/ 1865693 w 5719680"/>
                <a:gd name="connsiteY16265" fmla="*/ 2096214 h 5704395"/>
                <a:gd name="connsiteX16266" fmla="*/ 2054359 w 5719680"/>
                <a:gd name="connsiteY16266" fmla="*/ 2121882 h 5704395"/>
                <a:gd name="connsiteX16267" fmla="*/ 2053723 w 5719680"/>
                <a:gd name="connsiteY16267" fmla="*/ 2126001 h 5704395"/>
                <a:gd name="connsiteX16268" fmla="*/ 1865058 w 5719680"/>
                <a:gd name="connsiteY16268" fmla="*/ 2100650 h 5704395"/>
                <a:gd name="connsiteX16269" fmla="*/ 1854577 w 5719680"/>
                <a:gd name="connsiteY16269" fmla="*/ 2160225 h 5704395"/>
                <a:gd name="connsiteX16270" fmla="*/ 1856800 w 5719680"/>
                <a:gd name="connsiteY16270" fmla="*/ 2160859 h 5704395"/>
                <a:gd name="connsiteX16271" fmla="*/ 1856800 w 5719680"/>
                <a:gd name="connsiteY16271" fmla="*/ 2161176 h 5704395"/>
                <a:gd name="connsiteX16272" fmla="*/ 1930170 w 5719680"/>
                <a:gd name="connsiteY16272" fmla="*/ 2173851 h 5704395"/>
                <a:gd name="connsiteX16273" fmla="*/ 2013386 w 5719680"/>
                <a:gd name="connsiteY16273" fmla="*/ 2188111 h 5704395"/>
                <a:gd name="connsiteX16274" fmla="*/ 2013703 w 5719680"/>
                <a:gd name="connsiteY16274" fmla="*/ 2188111 h 5704395"/>
                <a:gd name="connsiteX16275" fmla="*/ 2014021 w 5719680"/>
                <a:gd name="connsiteY16275" fmla="*/ 2188111 h 5704395"/>
                <a:gd name="connsiteX16276" fmla="*/ 2019738 w 5719680"/>
                <a:gd name="connsiteY16276" fmla="*/ 2188745 h 5704395"/>
                <a:gd name="connsiteX16277" fmla="*/ 2030537 w 5719680"/>
                <a:gd name="connsiteY16277" fmla="*/ 2147233 h 5704395"/>
                <a:gd name="connsiteX16278" fmla="*/ 2054994 w 5719680"/>
                <a:gd name="connsiteY16278" fmla="*/ 2144064 h 5704395"/>
                <a:gd name="connsiteX16279" fmla="*/ 2055947 w 5719680"/>
                <a:gd name="connsiteY16279" fmla="*/ 2144381 h 5704395"/>
                <a:gd name="connsiteX16280" fmla="*/ 2061029 w 5719680"/>
                <a:gd name="connsiteY16280" fmla="*/ 2100967 h 5704395"/>
                <a:gd name="connsiteX16281" fmla="*/ 2060393 w 5719680"/>
                <a:gd name="connsiteY16281" fmla="*/ 2100650 h 5704395"/>
                <a:gd name="connsiteX16282" fmla="*/ 2061029 w 5719680"/>
                <a:gd name="connsiteY16282" fmla="*/ 2096531 h 5704395"/>
                <a:gd name="connsiteX16283" fmla="*/ 2061346 w 5719680"/>
                <a:gd name="connsiteY16283" fmla="*/ 2096531 h 5704395"/>
                <a:gd name="connsiteX16284" fmla="*/ 2063570 w 5719680"/>
                <a:gd name="connsiteY16284" fmla="*/ 2078151 h 5704395"/>
                <a:gd name="connsiteX16285" fmla="*/ 1950180 w 5719680"/>
                <a:gd name="connsiteY16285" fmla="*/ 2066426 h 5704395"/>
                <a:gd name="connsiteX16286" fmla="*/ 1948274 w 5719680"/>
                <a:gd name="connsiteY16286" fmla="*/ 2054701 h 5704395"/>
                <a:gd name="connsiteX16287" fmla="*/ 463088 w 5719680"/>
                <a:gd name="connsiteY16287" fmla="*/ 2041392 h 5704395"/>
                <a:gd name="connsiteX16288" fmla="*/ 445937 w 5719680"/>
                <a:gd name="connsiteY16288" fmla="*/ 2071496 h 5704395"/>
                <a:gd name="connsiteX16289" fmla="*/ 463406 w 5719680"/>
                <a:gd name="connsiteY16289" fmla="*/ 2081637 h 5704395"/>
                <a:gd name="connsiteX16290" fmla="*/ 480558 w 5719680"/>
                <a:gd name="connsiteY16290" fmla="*/ 2051216 h 5704395"/>
                <a:gd name="connsiteX16291" fmla="*/ 463088 w 5719680"/>
                <a:gd name="connsiteY16291" fmla="*/ 2041392 h 5704395"/>
                <a:gd name="connsiteX16292" fmla="*/ 2403104 w 5719680"/>
                <a:gd name="connsiteY16292" fmla="*/ 2036005 h 5704395"/>
                <a:gd name="connsiteX16293" fmla="*/ 2410727 w 5719680"/>
                <a:gd name="connsiteY16293" fmla="*/ 2069278 h 5704395"/>
                <a:gd name="connsiteX16294" fmla="*/ 2431054 w 5719680"/>
                <a:gd name="connsiteY16294" fmla="*/ 2070546 h 5704395"/>
                <a:gd name="connsiteX16295" fmla="*/ 2432643 w 5719680"/>
                <a:gd name="connsiteY16295" fmla="*/ 2051532 h 5704395"/>
                <a:gd name="connsiteX16296" fmla="*/ 2417714 w 5719680"/>
                <a:gd name="connsiteY16296" fmla="*/ 2050582 h 5704395"/>
                <a:gd name="connsiteX16297" fmla="*/ 2418668 w 5719680"/>
                <a:gd name="connsiteY16297" fmla="*/ 2036956 h 5704395"/>
                <a:gd name="connsiteX16298" fmla="*/ 2403104 w 5719680"/>
                <a:gd name="connsiteY16298" fmla="*/ 2036005 h 5704395"/>
                <a:gd name="connsiteX16299" fmla="*/ 2390082 w 5719680"/>
                <a:gd name="connsiteY16299" fmla="*/ 2035054 h 5704395"/>
                <a:gd name="connsiteX16300" fmla="*/ 2389129 w 5719680"/>
                <a:gd name="connsiteY16300" fmla="*/ 2048680 h 5704395"/>
                <a:gd name="connsiteX16301" fmla="*/ 2374201 w 5719680"/>
                <a:gd name="connsiteY16301" fmla="*/ 2047413 h 5704395"/>
                <a:gd name="connsiteX16302" fmla="*/ 2372613 w 5719680"/>
                <a:gd name="connsiteY16302" fmla="*/ 2066426 h 5704395"/>
                <a:gd name="connsiteX16303" fmla="*/ 2406280 w 5719680"/>
                <a:gd name="connsiteY16303" fmla="*/ 2068961 h 5704395"/>
                <a:gd name="connsiteX16304" fmla="*/ 2398658 w 5719680"/>
                <a:gd name="connsiteY16304" fmla="*/ 2035688 h 5704395"/>
                <a:gd name="connsiteX16305" fmla="*/ 2390082 w 5719680"/>
                <a:gd name="connsiteY16305" fmla="*/ 2035054 h 5704395"/>
                <a:gd name="connsiteX16306" fmla="*/ 1543945 w 5719680"/>
                <a:gd name="connsiteY16306" fmla="*/ 2029350 h 5704395"/>
                <a:gd name="connsiteX16307" fmla="*/ 1528064 w 5719680"/>
                <a:gd name="connsiteY16307" fmla="*/ 2113959 h 5704395"/>
                <a:gd name="connsiteX16308" fmla="*/ 1630973 w 5719680"/>
                <a:gd name="connsiteY16308" fmla="*/ 2136458 h 5704395"/>
                <a:gd name="connsiteX16309" fmla="*/ 1630020 w 5719680"/>
                <a:gd name="connsiteY16309" fmla="*/ 2140578 h 5704395"/>
                <a:gd name="connsiteX16310" fmla="*/ 1527429 w 5719680"/>
                <a:gd name="connsiteY16310" fmla="*/ 2118396 h 5704395"/>
                <a:gd name="connsiteX16311" fmla="*/ 1499796 w 5719680"/>
                <a:gd name="connsiteY16311" fmla="*/ 2267016 h 5704395"/>
                <a:gd name="connsiteX16312" fmla="*/ 1617315 w 5719680"/>
                <a:gd name="connsiteY16312" fmla="*/ 2290466 h 5704395"/>
                <a:gd name="connsiteX16313" fmla="*/ 1616362 w 5719680"/>
                <a:gd name="connsiteY16313" fmla="*/ 2245468 h 5704395"/>
                <a:gd name="connsiteX16314" fmla="*/ 1615092 w 5719680"/>
                <a:gd name="connsiteY16314" fmla="*/ 2208392 h 5704395"/>
                <a:gd name="connsiteX16315" fmla="*/ 1614139 w 5719680"/>
                <a:gd name="connsiteY16315" fmla="*/ 2196033 h 5704395"/>
                <a:gd name="connsiteX16316" fmla="*/ 1613821 w 5719680"/>
                <a:gd name="connsiteY16316" fmla="*/ 2192231 h 5704395"/>
                <a:gd name="connsiteX16317" fmla="*/ 1613821 w 5719680"/>
                <a:gd name="connsiteY16317" fmla="*/ 2191280 h 5704395"/>
                <a:gd name="connsiteX16318" fmla="*/ 1613504 w 5719680"/>
                <a:gd name="connsiteY16318" fmla="*/ 2189696 h 5704395"/>
                <a:gd name="connsiteX16319" fmla="*/ 1625256 w 5719680"/>
                <a:gd name="connsiteY16319" fmla="*/ 2153887 h 5704395"/>
                <a:gd name="connsiteX16320" fmla="*/ 1637325 w 5719680"/>
                <a:gd name="connsiteY16320" fmla="*/ 2124100 h 5704395"/>
                <a:gd name="connsiteX16321" fmla="*/ 1637643 w 5719680"/>
                <a:gd name="connsiteY16321" fmla="*/ 2122832 h 5704395"/>
                <a:gd name="connsiteX16322" fmla="*/ 1658288 w 5719680"/>
                <a:gd name="connsiteY16322" fmla="*/ 2119346 h 5704395"/>
                <a:gd name="connsiteX16323" fmla="*/ 1665593 w 5719680"/>
                <a:gd name="connsiteY16323" fmla="*/ 2045828 h 5704395"/>
                <a:gd name="connsiteX16324" fmla="*/ 1543945 w 5719680"/>
                <a:gd name="connsiteY16324" fmla="*/ 2029350 h 5704395"/>
                <a:gd name="connsiteX16325" fmla="*/ 2401198 w 5719680"/>
                <a:gd name="connsiteY16325" fmla="*/ 2027766 h 5704395"/>
                <a:gd name="connsiteX16326" fmla="*/ 2402151 w 5719680"/>
                <a:gd name="connsiteY16326" fmla="*/ 2031569 h 5704395"/>
                <a:gd name="connsiteX16327" fmla="*/ 2423114 w 5719680"/>
                <a:gd name="connsiteY16327" fmla="*/ 2033153 h 5704395"/>
                <a:gd name="connsiteX16328" fmla="*/ 2422161 w 5719680"/>
                <a:gd name="connsiteY16328" fmla="*/ 2046779 h 5704395"/>
                <a:gd name="connsiteX16329" fmla="*/ 2437089 w 5719680"/>
                <a:gd name="connsiteY16329" fmla="*/ 2047730 h 5704395"/>
                <a:gd name="connsiteX16330" fmla="*/ 2435184 w 5719680"/>
                <a:gd name="connsiteY16330" fmla="*/ 2074982 h 5704395"/>
                <a:gd name="connsiteX16331" fmla="*/ 2411680 w 5719680"/>
                <a:gd name="connsiteY16331" fmla="*/ 2073398 h 5704395"/>
                <a:gd name="connsiteX16332" fmla="*/ 2414538 w 5719680"/>
                <a:gd name="connsiteY16332" fmla="*/ 2085756 h 5704395"/>
                <a:gd name="connsiteX16333" fmla="*/ 2416444 w 5719680"/>
                <a:gd name="connsiteY16333" fmla="*/ 2085439 h 5704395"/>
                <a:gd name="connsiteX16334" fmla="*/ 2474886 w 5719680"/>
                <a:gd name="connsiteY16334" fmla="*/ 2090510 h 5704395"/>
                <a:gd name="connsiteX16335" fmla="*/ 2538410 w 5719680"/>
                <a:gd name="connsiteY16335" fmla="*/ 2106671 h 5704395"/>
                <a:gd name="connsiteX16336" fmla="*/ 2542221 w 5719680"/>
                <a:gd name="connsiteY16336" fmla="*/ 2087975 h 5704395"/>
                <a:gd name="connsiteX16337" fmla="*/ 2513000 w 5719680"/>
                <a:gd name="connsiteY16337" fmla="*/ 2086073 h 5704395"/>
                <a:gd name="connsiteX16338" fmla="*/ 2513000 w 5719680"/>
                <a:gd name="connsiteY16338" fmla="*/ 2083855 h 5704395"/>
                <a:gd name="connsiteX16339" fmla="*/ 2514906 w 5719680"/>
                <a:gd name="connsiteY16339" fmla="*/ 2058821 h 5704395"/>
                <a:gd name="connsiteX16340" fmla="*/ 2529834 w 5719680"/>
                <a:gd name="connsiteY16340" fmla="*/ 2059771 h 5704395"/>
                <a:gd name="connsiteX16341" fmla="*/ 2530787 w 5719680"/>
                <a:gd name="connsiteY16341" fmla="*/ 2046145 h 5704395"/>
                <a:gd name="connsiteX16342" fmla="*/ 2551114 w 5719680"/>
                <a:gd name="connsiteY16342" fmla="*/ 2047730 h 5704395"/>
                <a:gd name="connsiteX16343" fmla="*/ 2551432 w 5719680"/>
                <a:gd name="connsiteY16343" fmla="*/ 2045511 h 5704395"/>
                <a:gd name="connsiteX16344" fmla="*/ 2555879 w 5719680"/>
                <a:gd name="connsiteY16344" fmla="*/ 2046462 h 5704395"/>
                <a:gd name="connsiteX16345" fmla="*/ 2555561 w 5719680"/>
                <a:gd name="connsiteY16345" fmla="*/ 2048047 h 5704395"/>
                <a:gd name="connsiteX16346" fmla="*/ 2567631 w 5719680"/>
                <a:gd name="connsiteY16346" fmla="*/ 2048997 h 5704395"/>
                <a:gd name="connsiteX16347" fmla="*/ 2566678 w 5719680"/>
                <a:gd name="connsiteY16347" fmla="*/ 2062307 h 5704395"/>
                <a:gd name="connsiteX16348" fmla="*/ 2581606 w 5719680"/>
                <a:gd name="connsiteY16348" fmla="*/ 2063574 h 5704395"/>
                <a:gd name="connsiteX16349" fmla="*/ 2579700 w 5719680"/>
                <a:gd name="connsiteY16349" fmla="*/ 2090827 h 5704395"/>
                <a:gd name="connsiteX16350" fmla="*/ 2546668 w 5719680"/>
                <a:gd name="connsiteY16350" fmla="*/ 2088291 h 5704395"/>
                <a:gd name="connsiteX16351" fmla="*/ 2542856 w 5719680"/>
                <a:gd name="connsiteY16351" fmla="*/ 2107305 h 5704395"/>
                <a:gd name="connsiteX16352" fmla="*/ 2593040 w 5719680"/>
                <a:gd name="connsiteY16352" fmla="*/ 2108889 h 5704395"/>
                <a:gd name="connsiteX16353" fmla="*/ 2592722 w 5719680"/>
                <a:gd name="connsiteY16353" fmla="*/ 2113326 h 5704395"/>
                <a:gd name="connsiteX16354" fmla="*/ 2539680 w 5719680"/>
                <a:gd name="connsiteY16354" fmla="*/ 2111424 h 5704395"/>
                <a:gd name="connsiteX16355" fmla="*/ 2474251 w 5719680"/>
                <a:gd name="connsiteY16355" fmla="*/ 2094946 h 5704395"/>
                <a:gd name="connsiteX16356" fmla="*/ 2416444 w 5719680"/>
                <a:gd name="connsiteY16356" fmla="*/ 2089876 h 5704395"/>
                <a:gd name="connsiteX16357" fmla="*/ 2415491 w 5719680"/>
                <a:gd name="connsiteY16357" fmla="*/ 2089876 h 5704395"/>
                <a:gd name="connsiteX16358" fmla="*/ 2415174 w 5719680"/>
                <a:gd name="connsiteY16358" fmla="*/ 2088608 h 5704395"/>
                <a:gd name="connsiteX16359" fmla="*/ 2420891 w 5719680"/>
                <a:gd name="connsiteY16359" fmla="*/ 2118713 h 5704395"/>
                <a:gd name="connsiteX16360" fmla="*/ 2462181 w 5719680"/>
                <a:gd name="connsiteY16360" fmla="*/ 2148500 h 5704395"/>
                <a:gd name="connsiteX16361" fmla="*/ 2459640 w 5719680"/>
                <a:gd name="connsiteY16361" fmla="*/ 2151986 h 5704395"/>
                <a:gd name="connsiteX16362" fmla="*/ 2418668 w 5719680"/>
                <a:gd name="connsiteY16362" fmla="*/ 2122198 h 5704395"/>
                <a:gd name="connsiteX16363" fmla="*/ 2378648 w 5719680"/>
                <a:gd name="connsiteY16363" fmla="*/ 2125051 h 5704395"/>
                <a:gd name="connsiteX16364" fmla="*/ 2368801 w 5719680"/>
                <a:gd name="connsiteY16364" fmla="*/ 2173218 h 5704395"/>
                <a:gd name="connsiteX16365" fmla="*/ 2483779 w 5719680"/>
                <a:gd name="connsiteY16365" fmla="*/ 2257510 h 5704395"/>
                <a:gd name="connsiteX16366" fmla="*/ 2504424 w 5719680"/>
                <a:gd name="connsiteY16366" fmla="*/ 2243883 h 5704395"/>
                <a:gd name="connsiteX16367" fmla="*/ 2502836 w 5719680"/>
                <a:gd name="connsiteY16367" fmla="*/ 2242933 h 5704395"/>
                <a:gd name="connsiteX16368" fmla="*/ 2465040 w 5719680"/>
                <a:gd name="connsiteY16368" fmla="*/ 2216314 h 5704395"/>
                <a:gd name="connsiteX16369" fmla="*/ 2479015 w 5719680"/>
                <a:gd name="connsiteY16369" fmla="*/ 2196667 h 5704395"/>
                <a:gd name="connsiteX16370" fmla="*/ 2518400 w 5719680"/>
                <a:gd name="connsiteY16370" fmla="*/ 2224236 h 5704395"/>
                <a:gd name="connsiteX16371" fmla="*/ 2505060 w 5719680"/>
                <a:gd name="connsiteY16371" fmla="*/ 2243250 h 5704395"/>
                <a:gd name="connsiteX16372" fmla="*/ 2544762 w 5719680"/>
                <a:gd name="connsiteY16372" fmla="*/ 2216631 h 5704395"/>
                <a:gd name="connsiteX16373" fmla="*/ 2446618 w 5719680"/>
                <a:gd name="connsiteY16373" fmla="*/ 2173534 h 5704395"/>
                <a:gd name="connsiteX16374" fmla="*/ 2471392 w 5719680"/>
                <a:gd name="connsiteY16374" fmla="*/ 2136141 h 5704395"/>
                <a:gd name="connsiteX16375" fmla="*/ 2584147 w 5719680"/>
                <a:gd name="connsiteY16375" fmla="*/ 2160542 h 5704395"/>
                <a:gd name="connsiteX16376" fmla="*/ 2595581 w 5719680"/>
                <a:gd name="connsiteY16376" fmla="*/ 2109840 h 5704395"/>
                <a:gd name="connsiteX16377" fmla="*/ 2600663 w 5719680"/>
                <a:gd name="connsiteY16377" fmla="*/ 2049948 h 5704395"/>
                <a:gd name="connsiteX16378" fmla="*/ 2505695 w 5719680"/>
                <a:gd name="connsiteY16378" fmla="*/ 2039174 h 5704395"/>
                <a:gd name="connsiteX16379" fmla="*/ 2481556 w 5719680"/>
                <a:gd name="connsiteY16379" fmla="*/ 2091777 h 5704395"/>
                <a:gd name="connsiteX16380" fmla="*/ 2477427 w 5719680"/>
                <a:gd name="connsiteY16380" fmla="*/ 2089876 h 5704395"/>
                <a:gd name="connsiteX16381" fmla="*/ 2501248 w 5719680"/>
                <a:gd name="connsiteY16381" fmla="*/ 2038857 h 5704395"/>
                <a:gd name="connsiteX16382" fmla="*/ 2450429 w 5719680"/>
                <a:gd name="connsiteY16382" fmla="*/ 2033153 h 5704395"/>
                <a:gd name="connsiteX16383" fmla="*/ 2401198 w 5719680"/>
                <a:gd name="connsiteY16383" fmla="*/ 2027766 h 5704395"/>
                <a:gd name="connsiteX16384" fmla="*/ 1240937 w 5719680"/>
                <a:gd name="connsiteY16384" fmla="*/ 2026815 h 5704395"/>
                <a:gd name="connsiteX16385" fmla="*/ 1226327 w 5719680"/>
                <a:gd name="connsiteY16385" fmla="*/ 2061356 h 5704395"/>
                <a:gd name="connsiteX16386" fmla="*/ 1250783 w 5719680"/>
                <a:gd name="connsiteY16386" fmla="*/ 2075299 h 5704395"/>
                <a:gd name="connsiteX16387" fmla="*/ 1256183 w 5719680"/>
                <a:gd name="connsiteY16387" fmla="*/ 2059138 h 5704395"/>
                <a:gd name="connsiteX16388" fmla="*/ 1285404 w 5719680"/>
                <a:gd name="connsiteY16388" fmla="*/ 2051216 h 5704395"/>
                <a:gd name="connsiteX16389" fmla="*/ 1240937 w 5719680"/>
                <a:gd name="connsiteY16389" fmla="*/ 2026815 h 5704395"/>
                <a:gd name="connsiteX16390" fmla="*/ 1047825 w 5719680"/>
                <a:gd name="connsiteY16390" fmla="*/ 2023963 h 5704395"/>
                <a:gd name="connsiteX16391" fmla="*/ 1037979 w 5719680"/>
                <a:gd name="connsiteY16391" fmla="*/ 2039491 h 5704395"/>
                <a:gd name="connsiteX16392" fmla="*/ 1081175 w 5719680"/>
                <a:gd name="connsiteY16392" fmla="*/ 2051216 h 5704395"/>
                <a:gd name="connsiteX16393" fmla="*/ 1047825 w 5719680"/>
                <a:gd name="connsiteY16393" fmla="*/ 2023963 h 5704395"/>
                <a:gd name="connsiteX16394" fmla="*/ 1498526 w 5719680"/>
                <a:gd name="connsiteY16394" fmla="*/ 2023329 h 5704395"/>
                <a:gd name="connsiteX16395" fmla="*/ 1483598 w 5719680"/>
                <a:gd name="connsiteY16395" fmla="*/ 2104136 h 5704395"/>
                <a:gd name="connsiteX16396" fmla="*/ 1524253 w 5719680"/>
                <a:gd name="connsiteY16396" fmla="*/ 2113009 h 5704395"/>
                <a:gd name="connsiteX16397" fmla="*/ 1539816 w 5719680"/>
                <a:gd name="connsiteY16397" fmla="*/ 2028717 h 5704395"/>
                <a:gd name="connsiteX16398" fmla="*/ 1498526 w 5719680"/>
                <a:gd name="connsiteY16398" fmla="*/ 2023329 h 5704395"/>
                <a:gd name="connsiteX16399" fmla="*/ 271564 w 5719680"/>
                <a:gd name="connsiteY16399" fmla="*/ 2021428 h 5704395"/>
                <a:gd name="connsiteX16400" fmla="*/ 270294 w 5719680"/>
                <a:gd name="connsiteY16400" fmla="*/ 2024280 h 5704395"/>
                <a:gd name="connsiteX16401" fmla="*/ 269976 w 5719680"/>
                <a:gd name="connsiteY16401" fmla="*/ 2024280 h 5704395"/>
                <a:gd name="connsiteX16402" fmla="*/ 226780 w 5719680"/>
                <a:gd name="connsiteY16402" fmla="*/ 2073081 h 5704395"/>
                <a:gd name="connsiteX16403" fmla="*/ 250919 w 5719680"/>
                <a:gd name="connsiteY16403" fmla="*/ 2094312 h 5704395"/>
                <a:gd name="connsiteX16404" fmla="*/ 353192 w 5719680"/>
                <a:gd name="connsiteY16404" fmla="*/ 2221385 h 5704395"/>
                <a:gd name="connsiteX16405" fmla="*/ 390036 w 5719680"/>
                <a:gd name="connsiteY16405" fmla="*/ 2207125 h 5704395"/>
                <a:gd name="connsiteX16406" fmla="*/ 406552 w 5719680"/>
                <a:gd name="connsiteY16406" fmla="*/ 2187794 h 5704395"/>
                <a:gd name="connsiteX16407" fmla="*/ 434503 w 5719680"/>
                <a:gd name="connsiteY16407" fmla="*/ 2137726 h 5704395"/>
                <a:gd name="connsiteX16408" fmla="*/ 443396 w 5719680"/>
                <a:gd name="connsiteY16408" fmla="*/ 2119346 h 5704395"/>
                <a:gd name="connsiteX16409" fmla="*/ 1483280 w 5719680"/>
                <a:gd name="connsiteY16409" fmla="*/ 2021111 h 5704395"/>
                <a:gd name="connsiteX16410" fmla="*/ 1467717 w 5719680"/>
                <a:gd name="connsiteY16410" fmla="*/ 2100650 h 5704395"/>
                <a:gd name="connsiteX16411" fmla="*/ 1479469 w 5719680"/>
                <a:gd name="connsiteY16411" fmla="*/ 2103185 h 5704395"/>
                <a:gd name="connsiteX16412" fmla="*/ 1494397 w 5719680"/>
                <a:gd name="connsiteY16412" fmla="*/ 2022696 h 5704395"/>
                <a:gd name="connsiteX16413" fmla="*/ 1483280 w 5719680"/>
                <a:gd name="connsiteY16413" fmla="*/ 2021111 h 5704395"/>
                <a:gd name="connsiteX16414" fmla="*/ 1238396 w 5719680"/>
                <a:gd name="connsiteY16414" fmla="*/ 2020161 h 5704395"/>
                <a:gd name="connsiteX16415" fmla="*/ 1297791 w 5719680"/>
                <a:gd name="connsiteY16415" fmla="*/ 2052483 h 5704395"/>
                <a:gd name="connsiteX16416" fmla="*/ 1292074 w 5719680"/>
                <a:gd name="connsiteY16416" fmla="*/ 2054068 h 5704395"/>
                <a:gd name="connsiteX16417" fmla="*/ 1259994 w 5719680"/>
                <a:gd name="connsiteY16417" fmla="*/ 2062940 h 5704395"/>
                <a:gd name="connsiteX16418" fmla="*/ 1253324 w 5719680"/>
                <a:gd name="connsiteY16418" fmla="*/ 2082271 h 5704395"/>
                <a:gd name="connsiteX16419" fmla="*/ 1220609 w 5719680"/>
                <a:gd name="connsiteY16419" fmla="*/ 2063257 h 5704395"/>
                <a:gd name="connsiteX16420" fmla="*/ 1238396 w 5719680"/>
                <a:gd name="connsiteY16420" fmla="*/ 2020161 h 5704395"/>
                <a:gd name="connsiteX16421" fmla="*/ 423069 w 5719680"/>
                <a:gd name="connsiteY16421" fmla="*/ 2018576 h 5704395"/>
                <a:gd name="connsiteX16422" fmla="*/ 405917 w 5719680"/>
                <a:gd name="connsiteY16422" fmla="*/ 2048680 h 5704395"/>
                <a:gd name="connsiteX16423" fmla="*/ 442126 w 5719680"/>
                <a:gd name="connsiteY16423" fmla="*/ 2069278 h 5704395"/>
                <a:gd name="connsiteX16424" fmla="*/ 459277 w 5719680"/>
                <a:gd name="connsiteY16424" fmla="*/ 2039174 h 5704395"/>
                <a:gd name="connsiteX16425" fmla="*/ 423069 w 5719680"/>
                <a:gd name="connsiteY16425" fmla="*/ 2018576 h 5704395"/>
                <a:gd name="connsiteX16426" fmla="*/ 1046554 w 5719680"/>
                <a:gd name="connsiteY16426" fmla="*/ 2016992 h 5704395"/>
                <a:gd name="connsiteX16427" fmla="*/ 1101185 w 5719680"/>
                <a:gd name="connsiteY16427" fmla="*/ 2061039 h 5704395"/>
                <a:gd name="connsiteX16428" fmla="*/ 1090386 w 5719680"/>
                <a:gd name="connsiteY16428" fmla="*/ 2058504 h 5704395"/>
                <a:gd name="connsiteX16429" fmla="*/ 1030673 w 5719680"/>
                <a:gd name="connsiteY16429" fmla="*/ 2042660 h 5704395"/>
                <a:gd name="connsiteX16430" fmla="*/ 1046554 w 5719680"/>
                <a:gd name="connsiteY16430" fmla="*/ 2016992 h 5704395"/>
                <a:gd name="connsiteX16431" fmla="*/ 2283680 w 5719680"/>
                <a:gd name="connsiteY16431" fmla="*/ 2015724 h 5704395"/>
                <a:gd name="connsiteX16432" fmla="*/ 2267798 w 5719680"/>
                <a:gd name="connsiteY16432" fmla="*/ 2124734 h 5704395"/>
                <a:gd name="connsiteX16433" fmla="*/ 2278598 w 5719680"/>
                <a:gd name="connsiteY16433" fmla="*/ 2128219 h 5704395"/>
                <a:gd name="connsiteX16434" fmla="*/ 2281138 w 5719680"/>
                <a:gd name="connsiteY16434" fmla="*/ 2114910 h 5704395"/>
                <a:gd name="connsiteX16435" fmla="*/ 2294478 w 5719680"/>
                <a:gd name="connsiteY16435" fmla="*/ 2117762 h 5704395"/>
                <a:gd name="connsiteX16436" fmla="*/ 2297337 w 5719680"/>
                <a:gd name="connsiteY16436" fmla="*/ 2103185 h 5704395"/>
                <a:gd name="connsiteX16437" fmla="*/ 2324335 w 5719680"/>
                <a:gd name="connsiteY16437" fmla="*/ 2108572 h 5704395"/>
                <a:gd name="connsiteX16438" fmla="*/ 2317982 w 5719680"/>
                <a:gd name="connsiteY16438" fmla="*/ 2140895 h 5704395"/>
                <a:gd name="connsiteX16439" fmla="*/ 2319888 w 5719680"/>
                <a:gd name="connsiteY16439" fmla="*/ 2141529 h 5704395"/>
                <a:gd name="connsiteX16440" fmla="*/ 2320206 w 5719680"/>
                <a:gd name="connsiteY16440" fmla="*/ 2141529 h 5704395"/>
                <a:gd name="connsiteX16441" fmla="*/ 2341804 w 5719680"/>
                <a:gd name="connsiteY16441" fmla="*/ 2156105 h 5704395"/>
                <a:gd name="connsiteX16442" fmla="*/ 2357050 w 5719680"/>
                <a:gd name="connsiteY16442" fmla="*/ 2166246 h 5704395"/>
                <a:gd name="connsiteX16443" fmla="*/ 2362449 w 5719680"/>
                <a:gd name="connsiteY16443" fmla="*/ 2169415 h 5704395"/>
                <a:gd name="connsiteX16444" fmla="*/ 2364037 w 5719680"/>
                <a:gd name="connsiteY16444" fmla="*/ 2170365 h 5704395"/>
                <a:gd name="connsiteX16445" fmla="*/ 2364354 w 5719680"/>
                <a:gd name="connsiteY16445" fmla="*/ 2170682 h 5704395"/>
                <a:gd name="connsiteX16446" fmla="*/ 2364990 w 5719680"/>
                <a:gd name="connsiteY16446" fmla="*/ 2170682 h 5704395"/>
                <a:gd name="connsiteX16447" fmla="*/ 2374201 w 5719680"/>
                <a:gd name="connsiteY16447" fmla="*/ 2123466 h 5704395"/>
                <a:gd name="connsiteX16448" fmla="*/ 2289079 w 5719680"/>
                <a:gd name="connsiteY16448" fmla="*/ 2015407 h 5704395"/>
                <a:gd name="connsiteX16449" fmla="*/ 2377694 w 5719680"/>
                <a:gd name="connsiteY16449" fmla="*/ 2120614 h 5704395"/>
                <a:gd name="connsiteX16450" fmla="*/ 2412950 w 5719680"/>
                <a:gd name="connsiteY16450" fmla="*/ 2118079 h 5704395"/>
                <a:gd name="connsiteX16451" fmla="*/ 2412633 w 5719680"/>
                <a:gd name="connsiteY16451" fmla="*/ 2117762 h 5704395"/>
                <a:gd name="connsiteX16452" fmla="*/ 2415174 w 5719680"/>
                <a:gd name="connsiteY16452" fmla="*/ 2114276 h 5704395"/>
                <a:gd name="connsiteX16453" fmla="*/ 2416126 w 5719680"/>
                <a:gd name="connsiteY16453" fmla="*/ 2114910 h 5704395"/>
                <a:gd name="connsiteX16454" fmla="*/ 2407233 w 5719680"/>
                <a:gd name="connsiteY16454" fmla="*/ 2073081 h 5704395"/>
                <a:gd name="connsiteX16455" fmla="*/ 2368166 w 5719680"/>
                <a:gd name="connsiteY16455" fmla="*/ 2070229 h 5704395"/>
                <a:gd name="connsiteX16456" fmla="*/ 2368484 w 5719680"/>
                <a:gd name="connsiteY16456" fmla="*/ 2068328 h 5704395"/>
                <a:gd name="connsiteX16457" fmla="*/ 2370389 w 5719680"/>
                <a:gd name="connsiteY16457" fmla="*/ 2042976 h 5704395"/>
                <a:gd name="connsiteX16458" fmla="*/ 2385000 w 5719680"/>
                <a:gd name="connsiteY16458" fmla="*/ 2044244 h 5704395"/>
                <a:gd name="connsiteX16459" fmla="*/ 2386270 w 5719680"/>
                <a:gd name="connsiteY16459" fmla="*/ 2030618 h 5704395"/>
                <a:gd name="connsiteX16460" fmla="*/ 2397704 w 5719680"/>
                <a:gd name="connsiteY16460" fmla="*/ 2031252 h 5704395"/>
                <a:gd name="connsiteX16461" fmla="*/ 2396752 w 5719680"/>
                <a:gd name="connsiteY16461" fmla="*/ 2027132 h 5704395"/>
                <a:gd name="connsiteX16462" fmla="*/ 2289079 w 5719680"/>
                <a:gd name="connsiteY16462" fmla="*/ 2015407 h 5704395"/>
                <a:gd name="connsiteX16463" fmla="*/ 2228096 w 5719680"/>
                <a:gd name="connsiteY16463" fmla="*/ 2014140 h 5704395"/>
                <a:gd name="connsiteX16464" fmla="*/ 2222696 w 5719680"/>
                <a:gd name="connsiteY16464" fmla="*/ 2046462 h 5704395"/>
                <a:gd name="connsiteX16465" fmla="*/ 2249694 w 5719680"/>
                <a:gd name="connsiteY16465" fmla="*/ 2048364 h 5704395"/>
                <a:gd name="connsiteX16466" fmla="*/ 2251282 w 5719680"/>
                <a:gd name="connsiteY16466" fmla="*/ 2029667 h 5704395"/>
                <a:gd name="connsiteX16467" fmla="*/ 2236354 w 5719680"/>
                <a:gd name="connsiteY16467" fmla="*/ 2028400 h 5704395"/>
                <a:gd name="connsiteX16468" fmla="*/ 2237625 w 5719680"/>
                <a:gd name="connsiteY16468" fmla="*/ 2014773 h 5704395"/>
                <a:gd name="connsiteX16469" fmla="*/ 2228096 w 5719680"/>
                <a:gd name="connsiteY16469" fmla="*/ 2014140 h 5704395"/>
                <a:gd name="connsiteX16470" fmla="*/ 1231408 w 5719680"/>
                <a:gd name="connsiteY16470" fmla="*/ 2013506 h 5704395"/>
                <a:gd name="connsiteX16471" fmla="*/ 1208857 w 5719680"/>
                <a:gd name="connsiteY16471" fmla="*/ 2069278 h 5704395"/>
                <a:gd name="connsiteX16472" fmla="*/ 1293344 w 5719680"/>
                <a:gd name="connsiteY16472" fmla="*/ 2118079 h 5704395"/>
                <a:gd name="connsiteX16473" fmla="*/ 1336540 w 5719680"/>
                <a:gd name="connsiteY16473" fmla="*/ 2061673 h 5704395"/>
                <a:gd name="connsiteX16474" fmla="*/ 1282863 w 5719680"/>
                <a:gd name="connsiteY16474" fmla="*/ 2037906 h 5704395"/>
                <a:gd name="connsiteX16475" fmla="*/ 1244431 w 5719680"/>
                <a:gd name="connsiteY16475" fmla="*/ 2020161 h 5704395"/>
                <a:gd name="connsiteX16476" fmla="*/ 1231726 w 5719680"/>
                <a:gd name="connsiteY16476" fmla="*/ 2013823 h 5704395"/>
                <a:gd name="connsiteX16477" fmla="*/ 1231408 w 5719680"/>
                <a:gd name="connsiteY16477" fmla="*/ 2013506 h 5704395"/>
                <a:gd name="connsiteX16478" fmla="*/ 2208722 w 5719680"/>
                <a:gd name="connsiteY16478" fmla="*/ 2012555 h 5704395"/>
                <a:gd name="connsiteX16479" fmla="*/ 2207768 w 5719680"/>
                <a:gd name="connsiteY16479" fmla="*/ 2026181 h 5704395"/>
                <a:gd name="connsiteX16480" fmla="*/ 2192840 w 5719680"/>
                <a:gd name="connsiteY16480" fmla="*/ 2024914 h 5704395"/>
                <a:gd name="connsiteX16481" fmla="*/ 2191570 w 5719680"/>
                <a:gd name="connsiteY16481" fmla="*/ 2043927 h 5704395"/>
                <a:gd name="connsiteX16482" fmla="*/ 2218250 w 5719680"/>
                <a:gd name="connsiteY16482" fmla="*/ 2046145 h 5704395"/>
                <a:gd name="connsiteX16483" fmla="*/ 2223650 w 5719680"/>
                <a:gd name="connsiteY16483" fmla="*/ 2013823 h 5704395"/>
                <a:gd name="connsiteX16484" fmla="*/ 2208722 w 5719680"/>
                <a:gd name="connsiteY16484" fmla="*/ 2012555 h 5704395"/>
                <a:gd name="connsiteX16485" fmla="*/ 65430 w 5719680"/>
                <a:gd name="connsiteY16485" fmla="*/ 2011604 h 5704395"/>
                <a:gd name="connsiteX16486" fmla="*/ 40338 w 5719680"/>
                <a:gd name="connsiteY16486" fmla="*/ 2048047 h 5704395"/>
                <a:gd name="connsiteX16487" fmla="*/ 2541 w 5719680"/>
                <a:gd name="connsiteY16487" fmla="*/ 2072447 h 5704395"/>
                <a:gd name="connsiteX16488" fmla="*/ 10482 w 5719680"/>
                <a:gd name="connsiteY16488" fmla="*/ 2118079 h 5704395"/>
                <a:gd name="connsiteX16489" fmla="*/ 39703 w 5719680"/>
                <a:gd name="connsiteY16489" fmla="*/ 2115861 h 5704395"/>
                <a:gd name="connsiteX16490" fmla="*/ 39703 w 5719680"/>
                <a:gd name="connsiteY16490" fmla="*/ 2075299 h 5704395"/>
                <a:gd name="connsiteX16491" fmla="*/ 44149 w 5719680"/>
                <a:gd name="connsiteY16491" fmla="*/ 2073715 h 5704395"/>
                <a:gd name="connsiteX16492" fmla="*/ 73688 w 5719680"/>
                <a:gd name="connsiteY16492" fmla="*/ 2109206 h 5704395"/>
                <a:gd name="connsiteX16493" fmla="*/ 94333 w 5719680"/>
                <a:gd name="connsiteY16493" fmla="*/ 2093678 h 5704395"/>
                <a:gd name="connsiteX16494" fmla="*/ 85440 w 5719680"/>
                <a:gd name="connsiteY16494" fmla="*/ 2060088 h 5704395"/>
                <a:gd name="connsiteX16495" fmla="*/ 88934 w 5719680"/>
                <a:gd name="connsiteY16495" fmla="*/ 2057553 h 5704395"/>
                <a:gd name="connsiteX16496" fmla="*/ 131177 w 5719680"/>
                <a:gd name="connsiteY16496" fmla="*/ 2084172 h 5704395"/>
                <a:gd name="connsiteX16497" fmla="*/ 163892 w 5719680"/>
                <a:gd name="connsiteY16497" fmla="*/ 2069912 h 5704395"/>
                <a:gd name="connsiteX16498" fmla="*/ 99097 w 5719680"/>
                <a:gd name="connsiteY16498" fmla="*/ 2028717 h 5704395"/>
                <a:gd name="connsiteX16499" fmla="*/ 65430 w 5719680"/>
                <a:gd name="connsiteY16499" fmla="*/ 2011604 h 5704395"/>
                <a:gd name="connsiteX16500" fmla="*/ 767050 w 5719680"/>
                <a:gd name="connsiteY16500" fmla="*/ 2010020 h 5704395"/>
                <a:gd name="connsiteX16501" fmla="*/ 725759 w 5719680"/>
                <a:gd name="connsiteY16501" fmla="*/ 2073715 h 5704395"/>
                <a:gd name="connsiteX16502" fmla="*/ 817551 w 5719680"/>
                <a:gd name="connsiteY16502" fmla="*/ 2125684 h 5704395"/>
                <a:gd name="connsiteX16503" fmla="*/ 891874 w 5719680"/>
                <a:gd name="connsiteY16503" fmla="*/ 2152620 h 5704395"/>
                <a:gd name="connsiteX16504" fmla="*/ 943963 w 5719680"/>
                <a:gd name="connsiteY16504" fmla="*/ 2134557 h 5704395"/>
                <a:gd name="connsiteX16505" fmla="*/ 938564 w 5719680"/>
                <a:gd name="connsiteY16505" fmla="*/ 2104453 h 5704395"/>
                <a:gd name="connsiteX16506" fmla="*/ 939517 w 5719680"/>
                <a:gd name="connsiteY16506" fmla="*/ 2094629 h 5704395"/>
                <a:gd name="connsiteX16507" fmla="*/ 931259 w 5719680"/>
                <a:gd name="connsiteY16507" fmla="*/ 2090510 h 5704395"/>
                <a:gd name="connsiteX16508" fmla="*/ 917283 w 5719680"/>
                <a:gd name="connsiteY16508" fmla="*/ 2118079 h 5704395"/>
                <a:gd name="connsiteX16509" fmla="*/ 879804 w 5719680"/>
                <a:gd name="connsiteY16509" fmla="*/ 2100016 h 5704395"/>
                <a:gd name="connsiteX16510" fmla="*/ 893780 w 5719680"/>
                <a:gd name="connsiteY16510" fmla="*/ 2072130 h 5704395"/>
                <a:gd name="connsiteX16511" fmla="*/ 767050 w 5719680"/>
                <a:gd name="connsiteY16511" fmla="*/ 2010020 h 5704395"/>
                <a:gd name="connsiteX16512" fmla="*/ 1790100 w 5719680"/>
                <a:gd name="connsiteY16512" fmla="*/ 2009703 h 5704395"/>
                <a:gd name="connsiteX16513" fmla="*/ 1788512 w 5719680"/>
                <a:gd name="connsiteY16513" fmla="*/ 2017942 h 5704395"/>
                <a:gd name="connsiteX16514" fmla="*/ 1786606 w 5719680"/>
                <a:gd name="connsiteY16514" fmla="*/ 2027132 h 5704395"/>
                <a:gd name="connsiteX16515" fmla="*/ 1786606 w 5719680"/>
                <a:gd name="connsiteY16515" fmla="*/ 2027449 h 5704395"/>
                <a:gd name="connsiteX16516" fmla="*/ 1820274 w 5719680"/>
                <a:gd name="connsiteY16516" fmla="*/ 2033153 h 5704395"/>
                <a:gd name="connsiteX16517" fmla="*/ 1819638 w 5719680"/>
                <a:gd name="connsiteY16517" fmla="*/ 2032519 h 5704395"/>
                <a:gd name="connsiteX16518" fmla="*/ 1822815 w 5719680"/>
                <a:gd name="connsiteY16518" fmla="*/ 2018576 h 5704395"/>
                <a:gd name="connsiteX16519" fmla="*/ 1823450 w 5719680"/>
                <a:gd name="connsiteY16519" fmla="*/ 2015407 h 5704395"/>
                <a:gd name="connsiteX16520" fmla="*/ 1790100 w 5719680"/>
                <a:gd name="connsiteY16520" fmla="*/ 2009703 h 5704395"/>
                <a:gd name="connsiteX16521" fmla="*/ 1402287 w 5719680"/>
                <a:gd name="connsiteY16521" fmla="*/ 2009386 h 5704395"/>
                <a:gd name="connsiteX16522" fmla="*/ 1398158 w 5719680"/>
                <a:gd name="connsiteY16522" fmla="*/ 2031885 h 5704395"/>
                <a:gd name="connsiteX16523" fmla="*/ 1438814 w 5719680"/>
                <a:gd name="connsiteY16523" fmla="*/ 2038540 h 5704395"/>
                <a:gd name="connsiteX16524" fmla="*/ 1443260 w 5719680"/>
                <a:gd name="connsiteY16524" fmla="*/ 2015407 h 5704395"/>
                <a:gd name="connsiteX16525" fmla="*/ 1402287 w 5719680"/>
                <a:gd name="connsiteY16525" fmla="*/ 2009386 h 5704395"/>
                <a:gd name="connsiteX16526" fmla="*/ 930306 w 5719680"/>
                <a:gd name="connsiteY16526" fmla="*/ 2008119 h 5704395"/>
                <a:gd name="connsiteX16527" fmla="*/ 899497 w 5719680"/>
                <a:gd name="connsiteY16527" fmla="*/ 2070229 h 5704395"/>
                <a:gd name="connsiteX16528" fmla="*/ 929353 w 5719680"/>
                <a:gd name="connsiteY16528" fmla="*/ 2084806 h 5704395"/>
                <a:gd name="connsiteX16529" fmla="*/ 961115 w 5719680"/>
                <a:gd name="connsiteY16529" fmla="*/ 2023013 h 5704395"/>
                <a:gd name="connsiteX16530" fmla="*/ 930306 w 5719680"/>
                <a:gd name="connsiteY16530" fmla="*/ 2008119 h 5704395"/>
                <a:gd name="connsiteX16531" fmla="*/ 483734 w 5719680"/>
                <a:gd name="connsiteY16531" fmla="*/ 2004950 h 5704395"/>
                <a:gd name="connsiteX16532" fmla="*/ 465312 w 5719680"/>
                <a:gd name="connsiteY16532" fmla="*/ 2037589 h 5704395"/>
                <a:gd name="connsiteX16533" fmla="*/ 482463 w 5719680"/>
                <a:gd name="connsiteY16533" fmla="*/ 2047413 h 5704395"/>
                <a:gd name="connsiteX16534" fmla="*/ 500885 w 5719680"/>
                <a:gd name="connsiteY16534" fmla="*/ 2014773 h 5704395"/>
                <a:gd name="connsiteX16535" fmla="*/ 483734 w 5719680"/>
                <a:gd name="connsiteY16535" fmla="*/ 2004950 h 5704395"/>
                <a:gd name="connsiteX16536" fmla="*/ 62889 w 5719680"/>
                <a:gd name="connsiteY16536" fmla="*/ 2004950 h 5704395"/>
                <a:gd name="connsiteX16537" fmla="*/ 65430 w 5719680"/>
                <a:gd name="connsiteY16537" fmla="*/ 2006217 h 5704395"/>
                <a:gd name="connsiteX16538" fmla="*/ 101003 w 5719680"/>
                <a:gd name="connsiteY16538" fmla="*/ 2024597 h 5704395"/>
                <a:gd name="connsiteX16539" fmla="*/ 170244 w 5719680"/>
                <a:gd name="connsiteY16539" fmla="*/ 2068644 h 5704395"/>
                <a:gd name="connsiteX16540" fmla="*/ 169609 w 5719680"/>
                <a:gd name="connsiteY16540" fmla="*/ 2072764 h 5704395"/>
                <a:gd name="connsiteX16541" fmla="*/ 130859 w 5719680"/>
                <a:gd name="connsiteY16541" fmla="*/ 2089242 h 5704395"/>
                <a:gd name="connsiteX16542" fmla="*/ 91474 w 5719680"/>
                <a:gd name="connsiteY16542" fmla="*/ 2064525 h 5704395"/>
                <a:gd name="connsiteX16543" fmla="*/ 99733 w 5719680"/>
                <a:gd name="connsiteY16543" fmla="*/ 2095580 h 5704395"/>
                <a:gd name="connsiteX16544" fmla="*/ 72735 w 5719680"/>
                <a:gd name="connsiteY16544" fmla="*/ 2115861 h 5704395"/>
                <a:gd name="connsiteX16545" fmla="*/ 44467 w 5719680"/>
                <a:gd name="connsiteY16545" fmla="*/ 2081637 h 5704395"/>
                <a:gd name="connsiteX16546" fmla="*/ 44467 w 5719680"/>
                <a:gd name="connsiteY16546" fmla="*/ 2120297 h 5704395"/>
                <a:gd name="connsiteX16547" fmla="*/ 6670 w 5719680"/>
                <a:gd name="connsiteY16547" fmla="*/ 2122832 h 5704395"/>
                <a:gd name="connsiteX16548" fmla="*/ 1271 w 5719680"/>
                <a:gd name="connsiteY16548" fmla="*/ 2092728 h 5704395"/>
                <a:gd name="connsiteX16549" fmla="*/ 1271 w 5719680"/>
                <a:gd name="connsiteY16549" fmla="*/ 2067694 h 5704395"/>
                <a:gd name="connsiteX16550" fmla="*/ 37479 w 5719680"/>
                <a:gd name="connsiteY16550" fmla="*/ 2044561 h 5704395"/>
                <a:gd name="connsiteX16551" fmla="*/ 55584 w 5719680"/>
                <a:gd name="connsiteY16551" fmla="*/ 2021111 h 5704395"/>
                <a:gd name="connsiteX16552" fmla="*/ 62254 w 5719680"/>
                <a:gd name="connsiteY16552" fmla="*/ 2007485 h 5704395"/>
                <a:gd name="connsiteX16553" fmla="*/ 62889 w 5719680"/>
                <a:gd name="connsiteY16553" fmla="*/ 2004950 h 5704395"/>
                <a:gd name="connsiteX16554" fmla="*/ 2131222 w 5719680"/>
                <a:gd name="connsiteY16554" fmla="*/ 2004316 h 5704395"/>
                <a:gd name="connsiteX16555" fmla="*/ 2127093 w 5719680"/>
                <a:gd name="connsiteY16555" fmla="*/ 2036639 h 5704395"/>
                <a:gd name="connsiteX16556" fmla="*/ 2155997 w 5719680"/>
                <a:gd name="connsiteY16556" fmla="*/ 2039174 h 5704395"/>
                <a:gd name="connsiteX16557" fmla="*/ 2157585 w 5719680"/>
                <a:gd name="connsiteY16557" fmla="*/ 2020161 h 5704395"/>
                <a:gd name="connsiteX16558" fmla="*/ 2142657 w 5719680"/>
                <a:gd name="connsiteY16558" fmla="*/ 2018893 h 5704395"/>
                <a:gd name="connsiteX16559" fmla="*/ 2143927 w 5719680"/>
                <a:gd name="connsiteY16559" fmla="*/ 2005267 h 5704395"/>
                <a:gd name="connsiteX16560" fmla="*/ 2131222 w 5719680"/>
                <a:gd name="connsiteY16560" fmla="*/ 2004316 h 5704395"/>
                <a:gd name="connsiteX16561" fmla="*/ 2115024 w 5719680"/>
                <a:gd name="connsiteY16561" fmla="*/ 2003049 h 5704395"/>
                <a:gd name="connsiteX16562" fmla="*/ 2114071 w 5719680"/>
                <a:gd name="connsiteY16562" fmla="*/ 2016675 h 5704395"/>
                <a:gd name="connsiteX16563" fmla="*/ 2099143 w 5719680"/>
                <a:gd name="connsiteY16563" fmla="*/ 2015407 h 5704395"/>
                <a:gd name="connsiteX16564" fmla="*/ 2097872 w 5719680"/>
                <a:gd name="connsiteY16564" fmla="*/ 2034421 h 5704395"/>
                <a:gd name="connsiteX16565" fmla="*/ 2122647 w 5719680"/>
                <a:gd name="connsiteY16565" fmla="*/ 2036322 h 5704395"/>
                <a:gd name="connsiteX16566" fmla="*/ 2126776 w 5719680"/>
                <a:gd name="connsiteY16566" fmla="*/ 2003999 h 5704395"/>
                <a:gd name="connsiteX16567" fmla="*/ 1752939 w 5719680"/>
                <a:gd name="connsiteY16567" fmla="*/ 2003049 h 5704395"/>
                <a:gd name="connsiteX16568" fmla="*/ 1751350 w 5719680"/>
                <a:gd name="connsiteY16568" fmla="*/ 2011921 h 5704395"/>
                <a:gd name="connsiteX16569" fmla="*/ 1749445 w 5719680"/>
                <a:gd name="connsiteY16569" fmla="*/ 2021111 h 5704395"/>
                <a:gd name="connsiteX16570" fmla="*/ 1782159 w 5719680"/>
                <a:gd name="connsiteY16570" fmla="*/ 2026815 h 5704395"/>
                <a:gd name="connsiteX16571" fmla="*/ 1784700 w 5719680"/>
                <a:gd name="connsiteY16571" fmla="*/ 2014773 h 5704395"/>
                <a:gd name="connsiteX16572" fmla="*/ 1785653 w 5719680"/>
                <a:gd name="connsiteY16572" fmla="*/ 2008753 h 5704395"/>
                <a:gd name="connsiteX16573" fmla="*/ 1752939 w 5719680"/>
                <a:gd name="connsiteY16573" fmla="*/ 2003049 h 5704395"/>
                <a:gd name="connsiteX16574" fmla="*/ 2182042 w 5719680"/>
                <a:gd name="connsiteY16574" fmla="*/ 2002732 h 5704395"/>
                <a:gd name="connsiteX16575" fmla="*/ 2177277 w 5719680"/>
                <a:gd name="connsiteY16575" fmla="*/ 2029350 h 5704395"/>
                <a:gd name="connsiteX16576" fmla="*/ 2172195 w 5719680"/>
                <a:gd name="connsiteY16576" fmla="*/ 2051849 h 5704395"/>
                <a:gd name="connsiteX16577" fmla="*/ 2170290 w 5719680"/>
                <a:gd name="connsiteY16577" fmla="*/ 2059455 h 5704395"/>
                <a:gd name="connsiteX16578" fmla="*/ 2169337 w 5719680"/>
                <a:gd name="connsiteY16578" fmla="*/ 2061673 h 5704395"/>
                <a:gd name="connsiteX16579" fmla="*/ 2168066 w 5719680"/>
                <a:gd name="connsiteY16579" fmla="*/ 2063257 h 5704395"/>
                <a:gd name="connsiteX16580" fmla="*/ 2229049 w 5719680"/>
                <a:gd name="connsiteY16580" fmla="*/ 2072764 h 5704395"/>
                <a:gd name="connsiteX16581" fmla="*/ 2250647 w 5719680"/>
                <a:gd name="connsiteY16581" fmla="*/ 2076250 h 5704395"/>
                <a:gd name="connsiteX16582" fmla="*/ 2253823 w 5719680"/>
                <a:gd name="connsiteY16582" fmla="*/ 2076883 h 5704395"/>
                <a:gd name="connsiteX16583" fmla="*/ 2263034 w 5719680"/>
                <a:gd name="connsiteY16583" fmla="*/ 2012238 h 5704395"/>
                <a:gd name="connsiteX16584" fmla="*/ 2229049 w 5719680"/>
                <a:gd name="connsiteY16584" fmla="*/ 2008119 h 5704395"/>
                <a:gd name="connsiteX16585" fmla="*/ 2229049 w 5719680"/>
                <a:gd name="connsiteY16585" fmla="*/ 2010020 h 5704395"/>
                <a:gd name="connsiteX16586" fmla="*/ 2242071 w 5719680"/>
                <a:gd name="connsiteY16586" fmla="*/ 2010971 h 5704395"/>
                <a:gd name="connsiteX16587" fmla="*/ 2240801 w 5719680"/>
                <a:gd name="connsiteY16587" fmla="*/ 2024597 h 5704395"/>
                <a:gd name="connsiteX16588" fmla="*/ 2255729 w 5719680"/>
                <a:gd name="connsiteY16588" fmla="*/ 2025864 h 5704395"/>
                <a:gd name="connsiteX16589" fmla="*/ 2253506 w 5719680"/>
                <a:gd name="connsiteY16589" fmla="*/ 2053117 h 5704395"/>
                <a:gd name="connsiteX16590" fmla="*/ 2221744 w 5719680"/>
                <a:gd name="connsiteY16590" fmla="*/ 2050582 h 5704395"/>
                <a:gd name="connsiteX16591" fmla="*/ 2218568 w 5719680"/>
                <a:gd name="connsiteY16591" fmla="*/ 2069595 h 5704395"/>
                <a:gd name="connsiteX16592" fmla="*/ 2214121 w 5719680"/>
                <a:gd name="connsiteY16592" fmla="*/ 2068961 h 5704395"/>
                <a:gd name="connsiteX16593" fmla="*/ 2217297 w 5719680"/>
                <a:gd name="connsiteY16593" fmla="*/ 2050265 h 5704395"/>
                <a:gd name="connsiteX16594" fmla="*/ 2186806 w 5719680"/>
                <a:gd name="connsiteY16594" fmla="*/ 2047730 h 5704395"/>
                <a:gd name="connsiteX16595" fmla="*/ 2187123 w 5719680"/>
                <a:gd name="connsiteY16595" fmla="*/ 2045828 h 5704395"/>
                <a:gd name="connsiteX16596" fmla="*/ 2189029 w 5719680"/>
                <a:gd name="connsiteY16596" fmla="*/ 2020477 h 5704395"/>
                <a:gd name="connsiteX16597" fmla="*/ 2203957 w 5719680"/>
                <a:gd name="connsiteY16597" fmla="*/ 2021745 h 5704395"/>
                <a:gd name="connsiteX16598" fmla="*/ 2204910 w 5719680"/>
                <a:gd name="connsiteY16598" fmla="*/ 2008119 h 5704395"/>
                <a:gd name="connsiteX16599" fmla="*/ 2224602 w 5719680"/>
                <a:gd name="connsiteY16599" fmla="*/ 2009703 h 5704395"/>
                <a:gd name="connsiteX16600" fmla="*/ 2224920 w 5719680"/>
                <a:gd name="connsiteY16600" fmla="*/ 2007802 h 5704395"/>
                <a:gd name="connsiteX16601" fmla="*/ 2182042 w 5719680"/>
                <a:gd name="connsiteY16601" fmla="*/ 2002732 h 5704395"/>
                <a:gd name="connsiteX16602" fmla="*/ 1502655 w 5719680"/>
                <a:gd name="connsiteY16602" fmla="*/ 1999563 h 5704395"/>
                <a:gd name="connsiteX16603" fmla="*/ 1499161 w 5719680"/>
                <a:gd name="connsiteY16603" fmla="*/ 2018893 h 5704395"/>
                <a:gd name="connsiteX16604" fmla="*/ 1540452 w 5719680"/>
                <a:gd name="connsiteY16604" fmla="*/ 2024597 h 5704395"/>
                <a:gd name="connsiteX16605" fmla="*/ 1543945 w 5719680"/>
                <a:gd name="connsiteY16605" fmla="*/ 2006217 h 5704395"/>
                <a:gd name="connsiteX16606" fmla="*/ 1502655 w 5719680"/>
                <a:gd name="connsiteY16606" fmla="*/ 1999563 h 5704395"/>
                <a:gd name="connsiteX16607" fmla="*/ 1714824 w 5719680"/>
                <a:gd name="connsiteY16607" fmla="*/ 1996394 h 5704395"/>
                <a:gd name="connsiteX16608" fmla="*/ 1713236 w 5719680"/>
                <a:gd name="connsiteY16608" fmla="*/ 2005267 h 5704395"/>
                <a:gd name="connsiteX16609" fmla="*/ 1711330 w 5719680"/>
                <a:gd name="connsiteY16609" fmla="*/ 2014457 h 5704395"/>
                <a:gd name="connsiteX16610" fmla="*/ 1711330 w 5719680"/>
                <a:gd name="connsiteY16610" fmla="*/ 2014773 h 5704395"/>
                <a:gd name="connsiteX16611" fmla="*/ 1744998 w 5719680"/>
                <a:gd name="connsiteY16611" fmla="*/ 2020477 h 5704395"/>
                <a:gd name="connsiteX16612" fmla="*/ 1747539 w 5719680"/>
                <a:gd name="connsiteY16612" fmla="*/ 2009069 h 5704395"/>
                <a:gd name="connsiteX16613" fmla="*/ 1748809 w 5719680"/>
                <a:gd name="connsiteY16613" fmla="*/ 2002415 h 5704395"/>
                <a:gd name="connsiteX16614" fmla="*/ 1714824 w 5719680"/>
                <a:gd name="connsiteY16614" fmla="*/ 1996394 h 5704395"/>
                <a:gd name="connsiteX16615" fmla="*/ 548846 w 5719680"/>
                <a:gd name="connsiteY16615" fmla="*/ 1994176 h 5704395"/>
                <a:gd name="connsiteX16616" fmla="*/ 485957 w 5719680"/>
                <a:gd name="connsiteY16616" fmla="*/ 2105086 h 5704395"/>
                <a:gd name="connsiteX16617" fmla="*/ 529788 w 5719680"/>
                <a:gd name="connsiteY16617" fmla="*/ 2129804 h 5704395"/>
                <a:gd name="connsiteX16618" fmla="*/ 541540 w 5719680"/>
                <a:gd name="connsiteY16618" fmla="*/ 2109523 h 5704395"/>
                <a:gd name="connsiteX16619" fmla="*/ 570444 w 5719680"/>
                <a:gd name="connsiteY16619" fmla="*/ 2118079 h 5704395"/>
                <a:gd name="connsiteX16620" fmla="*/ 614275 w 5719680"/>
                <a:gd name="connsiteY16620" fmla="*/ 2071813 h 5704395"/>
                <a:gd name="connsiteX16621" fmla="*/ 590454 w 5719680"/>
                <a:gd name="connsiteY16621" fmla="*/ 2053751 h 5704395"/>
                <a:gd name="connsiteX16622" fmla="*/ 588548 w 5719680"/>
                <a:gd name="connsiteY16622" fmla="*/ 2019527 h 5704395"/>
                <a:gd name="connsiteX16623" fmla="*/ 548846 w 5719680"/>
                <a:gd name="connsiteY16623" fmla="*/ 1994176 h 5704395"/>
                <a:gd name="connsiteX16624" fmla="*/ 2024820 w 5719680"/>
                <a:gd name="connsiteY16624" fmla="*/ 1992908 h 5704395"/>
                <a:gd name="connsiteX16625" fmla="*/ 2023232 w 5719680"/>
                <a:gd name="connsiteY16625" fmla="*/ 2025548 h 5704395"/>
                <a:gd name="connsiteX16626" fmla="*/ 2053723 w 5719680"/>
                <a:gd name="connsiteY16626" fmla="*/ 2027766 h 5704395"/>
                <a:gd name="connsiteX16627" fmla="*/ 2055312 w 5719680"/>
                <a:gd name="connsiteY16627" fmla="*/ 2008753 h 5704395"/>
                <a:gd name="connsiteX16628" fmla="*/ 2040383 w 5719680"/>
                <a:gd name="connsiteY16628" fmla="*/ 2007802 h 5704395"/>
                <a:gd name="connsiteX16629" fmla="*/ 2041654 w 5719680"/>
                <a:gd name="connsiteY16629" fmla="*/ 1994176 h 5704395"/>
                <a:gd name="connsiteX16630" fmla="*/ 2024820 w 5719680"/>
                <a:gd name="connsiteY16630" fmla="*/ 1992908 h 5704395"/>
                <a:gd name="connsiteX16631" fmla="*/ 2012751 w 5719680"/>
                <a:gd name="connsiteY16631" fmla="*/ 1991958 h 5704395"/>
                <a:gd name="connsiteX16632" fmla="*/ 2011798 w 5719680"/>
                <a:gd name="connsiteY16632" fmla="*/ 2005584 h 5704395"/>
                <a:gd name="connsiteX16633" fmla="*/ 1996870 w 5719680"/>
                <a:gd name="connsiteY16633" fmla="*/ 2004316 h 5704395"/>
                <a:gd name="connsiteX16634" fmla="*/ 1995599 w 5719680"/>
                <a:gd name="connsiteY16634" fmla="*/ 2023329 h 5704395"/>
                <a:gd name="connsiteX16635" fmla="*/ 2018785 w 5719680"/>
                <a:gd name="connsiteY16635" fmla="*/ 2024914 h 5704395"/>
                <a:gd name="connsiteX16636" fmla="*/ 2020373 w 5719680"/>
                <a:gd name="connsiteY16636" fmla="*/ 1992591 h 5704395"/>
                <a:gd name="connsiteX16637" fmla="*/ 2078180 w 5719680"/>
                <a:gd name="connsiteY16637" fmla="*/ 1990056 h 5704395"/>
                <a:gd name="connsiteX16638" fmla="*/ 2071510 w 5719680"/>
                <a:gd name="connsiteY16638" fmla="*/ 2048047 h 5704395"/>
                <a:gd name="connsiteX16639" fmla="*/ 2163302 w 5719680"/>
                <a:gd name="connsiteY16639" fmla="*/ 2062624 h 5704395"/>
                <a:gd name="connsiteX16640" fmla="*/ 2165525 w 5719680"/>
                <a:gd name="connsiteY16640" fmla="*/ 2062940 h 5704395"/>
                <a:gd name="connsiteX16641" fmla="*/ 2166478 w 5719680"/>
                <a:gd name="connsiteY16641" fmla="*/ 2061356 h 5704395"/>
                <a:gd name="connsiteX16642" fmla="*/ 2166478 w 5719680"/>
                <a:gd name="connsiteY16642" fmla="*/ 2061039 h 5704395"/>
                <a:gd name="connsiteX16643" fmla="*/ 2165208 w 5719680"/>
                <a:gd name="connsiteY16643" fmla="*/ 2059771 h 5704395"/>
                <a:gd name="connsiteX16644" fmla="*/ 2173466 w 5719680"/>
                <a:gd name="connsiteY16644" fmla="*/ 2025231 h 5704395"/>
                <a:gd name="connsiteX16645" fmla="*/ 2177912 w 5719680"/>
                <a:gd name="connsiteY16645" fmla="*/ 2002098 h 5704395"/>
                <a:gd name="connsiteX16646" fmla="*/ 2132493 w 5719680"/>
                <a:gd name="connsiteY16646" fmla="*/ 1996711 h 5704395"/>
                <a:gd name="connsiteX16647" fmla="*/ 2131858 w 5719680"/>
                <a:gd name="connsiteY16647" fmla="*/ 2000197 h 5704395"/>
                <a:gd name="connsiteX16648" fmla="*/ 2148374 w 5719680"/>
                <a:gd name="connsiteY16648" fmla="*/ 2001464 h 5704395"/>
                <a:gd name="connsiteX16649" fmla="*/ 2147103 w 5719680"/>
                <a:gd name="connsiteY16649" fmla="*/ 2015090 h 5704395"/>
                <a:gd name="connsiteX16650" fmla="*/ 2162032 w 5719680"/>
                <a:gd name="connsiteY16650" fmla="*/ 2016358 h 5704395"/>
                <a:gd name="connsiteX16651" fmla="*/ 2159808 w 5719680"/>
                <a:gd name="connsiteY16651" fmla="*/ 2043610 h 5704395"/>
                <a:gd name="connsiteX16652" fmla="*/ 2126458 w 5719680"/>
                <a:gd name="connsiteY16652" fmla="*/ 2040758 h 5704395"/>
                <a:gd name="connsiteX16653" fmla="*/ 2124552 w 5719680"/>
                <a:gd name="connsiteY16653" fmla="*/ 2055018 h 5704395"/>
                <a:gd name="connsiteX16654" fmla="*/ 2120106 w 5719680"/>
                <a:gd name="connsiteY16654" fmla="*/ 2054384 h 5704395"/>
                <a:gd name="connsiteX16655" fmla="*/ 2122012 w 5719680"/>
                <a:gd name="connsiteY16655" fmla="*/ 2040441 h 5704395"/>
                <a:gd name="connsiteX16656" fmla="*/ 2093108 w 5719680"/>
                <a:gd name="connsiteY16656" fmla="*/ 2038223 h 5704395"/>
                <a:gd name="connsiteX16657" fmla="*/ 2093426 w 5719680"/>
                <a:gd name="connsiteY16657" fmla="*/ 2036322 h 5704395"/>
                <a:gd name="connsiteX16658" fmla="*/ 2095332 w 5719680"/>
                <a:gd name="connsiteY16658" fmla="*/ 2010971 h 5704395"/>
                <a:gd name="connsiteX16659" fmla="*/ 2110260 w 5719680"/>
                <a:gd name="connsiteY16659" fmla="*/ 2012238 h 5704395"/>
                <a:gd name="connsiteX16660" fmla="*/ 2111212 w 5719680"/>
                <a:gd name="connsiteY16660" fmla="*/ 1998612 h 5704395"/>
                <a:gd name="connsiteX16661" fmla="*/ 2127411 w 5719680"/>
                <a:gd name="connsiteY16661" fmla="*/ 1999880 h 5704395"/>
                <a:gd name="connsiteX16662" fmla="*/ 2128046 w 5719680"/>
                <a:gd name="connsiteY16662" fmla="*/ 1996077 h 5704395"/>
                <a:gd name="connsiteX16663" fmla="*/ 2078180 w 5719680"/>
                <a:gd name="connsiteY16663" fmla="*/ 1990056 h 5704395"/>
                <a:gd name="connsiteX16664" fmla="*/ 1044649 w 5719680"/>
                <a:gd name="connsiteY16664" fmla="*/ 1989739 h 5704395"/>
                <a:gd name="connsiteX16665" fmla="*/ 1009710 w 5719680"/>
                <a:gd name="connsiteY16665" fmla="*/ 2055652 h 5704395"/>
                <a:gd name="connsiteX16666" fmla="*/ 1107537 w 5719680"/>
                <a:gd name="connsiteY16666" fmla="*/ 2090827 h 5704395"/>
                <a:gd name="connsiteX16667" fmla="*/ 1151368 w 5719680"/>
                <a:gd name="connsiteY16667" fmla="*/ 2067377 h 5704395"/>
                <a:gd name="connsiteX16668" fmla="*/ 1044649 w 5719680"/>
                <a:gd name="connsiteY16668" fmla="*/ 1989739 h 5704395"/>
                <a:gd name="connsiteX16669" fmla="*/ 1674804 w 5719680"/>
                <a:gd name="connsiteY16669" fmla="*/ 1989422 h 5704395"/>
                <a:gd name="connsiteX16670" fmla="*/ 1671946 w 5719680"/>
                <a:gd name="connsiteY16670" fmla="*/ 2022379 h 5704395"/>
                <a:gd name="connsiteX16671" fmla="*/ 1667817 w 5719680"/>
                <a:gd name="connsiteY16671" fmla="*/ 2067377 h 5704395"/>
                <a:gd name="connsiteX16672" fmla="*/ 1845366 w 5719680"/>
                <a:gd name="connsiteY16672" fmla="*/ 2093362 h 5704395"/>
                <a:gd name="connsiteX16673" fmla="*/ 1853941 w 5719680"/>
                <a:gd name="connsiteY16673" fmla="*/ 2042976 h 5704395"/>
                <a:gd name="connsiteX16674" fmla="*/ 1785018 w 5719680"/>
                <a:gd name="connsiteY16674" fmla="*/ 2031569 h 5704395"/>
                <a:gd name="connsiteX16675" fmla="*/ 1783112 w 5719680"/>
                <a:gd name="connsiteY16675" fmla="*/ 2032519 h 5704395"/>
                <a:gd name="connsiteX16676" fmla="*/ 1782477 w 5719680"/>
                <a:gd name="connsiteY16676" fmla="*/ 2032519 h 5704395"/>
                <a:gd name="connsiteX16677" fmla="*/ 1782795 w 5719680"/>
                <a:gd name="connsiteY16677" fmla="*/ 2031252 h 5704395"/>
                <a:gd name="connsiteX16678" fmla="*/ 1748174 w 5719680"/>
                <a:gd name="connsiteY16678" fmla="*/ 2025548 h 5704395"/>
                <a:gd name="connsiteX16679" fmla="*/ 1745951 w 5719680"/>
                <a:gd name="connsiteY16679" fmla="*/ 2026498 h 5704395"/>
                <a:gd name="connsiteX16680" fmla="*/ 1745316 w 5719680"/>
                <a:gd name="connsiteY16680" fmla="*/ 2026498 h 5704395"/>
                <a:gd name="connsiteX16681" fmla="*/ 1745633 w 5719680"/>
                <a:gd name="connsiteY16681" fmla="*/ 2024914 h 5704395"/>
                <a:gd name="connsiteX16682" fmla="*/ 1709425 w 5719680"/>
                <a:gd name="connsiteY16682" fmla="*/ 2018893 h 5704395"/>
                <a:gd name="connsiteX16683" fmla="*/ 1707837 w 5719680"/>
                <a:gd name="connsiteY16683" fmla="*/ 2019844 h 5704395"/>
                <a:gd name="connsiteX16684" fmla="*/ 1707201 w 5719680"/>
                <a:gd name="connsiteY16684" fmla="*/ 2019527 h 5704395"/>
                <a:gd name="connsiteX16685" fmla="*/ 1707519 w 5719680"/>
                <a:gd name="connsiteY16685" fmla="*/ 2018576 h 5704395"/>
                <a:gd name="connsiteX16686" fmla="*/ 1673216 w 5719680"/>
                <a:gd name="connsiteY16686" fmla="*/ 2012872 h 5704395"/>
                <a:gd name="connsiteX16687" fmla="*/ 1673851 w 5719680"/>
                <a:gd name="connsiteY16687" fmla="*/ 2008436 h 5704395"/>
                <a:gd name="connsiteX16688" fmla="*/ 1706884 w 5719680"/>
                <a:gd name="connsiteY16688" fmla="*/ 2014140 h 5704395"/>
                <a:gd name="connsiteX16689" fmla="*/ 1709425 w 5719680"/>
                <a:gd name="connsiteY16689" fmla="*/ 2002098 h 5704395"/>
                <a:gd name="connsiteX16690" fmla="*/ 1710378 w 5719680"/>
                <a:gd name="connsiteY16690" fmla="*/ 1995443 h 5704395"/>
                <a:gd name="connsiteX16691" fmla="*/ 1674804 w 5719680"/>
                <a:gd name="connsiteY16691" fmla="*/ 1989422 h 5704395"/>
                <a:gd name="connsiteX16692" fmla="*/ 547257 w 5719680"/>
                <a:gd name="connsiteY16692" fmla="*/ 1987521 h 5704395"/>
                <a:gd name="connsiteX16693" fmla="*/ 592995 w 5719680"/>
                <a:gd name="connsiteY16693" fmla="*/ 2016675 h 5704395"/>
                <a:gd name="connsiteX16694" fmla="*/ 592995 w 5719680"/>
                <a:gd name="connsiteY16694" fmla="*/ 2017942 h 5704395"/>
                <a:gd name="connsiteX16695" fmla="*/ 594900 w 5719680"/>
                <a:gd name="connsiteY16695" fmla="*/ 2051216 h 5704395"/>
                <a:gd name="connsiteX16696" fmla="*/ 621263 w 5719680"/>
                <a:gd name="connsiteY16696" fmla="*/ 2071180 h 5704395"/>
                <a:gd name="connsiteX16697" fmla="*/ 571714 w 5719680"/>
                <a:gd name="connsiteY16697" fmla="*/ 2123466 h 5704395"/>
                <a:gd name="connsiteX16698" fmla="*/ 543764 w 5719680"/>
                <a:gd name="connsiteY16698" fmla="*/ 2115227 h 5704395"/>
                <a:gd name="connsiteX16699" fmla="*/ 531694 w 5719680"/>
                <a:gd name="connsiteY16699" fmla="*/ 2136141 h 5704395"/>
                <a:gd name="connsiteX16700" fmla="*/ 479605 w 5719680"/>
                <a:gd name="connsiteY16700" fmla="*/ 2106671 h 5704395"/>
                <a:gd name="connsiteX16701" fmla="*/ 547257 w 5719680"/>
                <a:gd name="connsiteY16701" fmla="*/ 1987521 h 5704395"/>
                <a:gd name="connsiteX16702" fmla="*/ 286492 w 5719680"/>
                <a:gd name="connsiteY16702" fmla="*/ 1985620 h 5704395"/>
                <a:gd name="connsiteX16703" fmla="*/ 273152 w 5719680"/>
                <a:gd name="connsiteY16703" fmla="*/ 2017309 h 5704395"/>
                <a:gd name="connsiteX16704" fmla="*/ 445302 w 5719680"/>
                <a:gd name="connsiteY16704" fmla="*/ 2115227 h 5704395"/>
                <a:gd name="connsiteX16705" fmla="*/ 447525 w 5719680"/>
                <a:gd name="connsiteY16705" fmla="*/ 2110157 h 5704395"/>
                <a:gd name="connsiteX16706" fmla="*/ 447525 w 5719680"/>
                <a:gd name="connsiteY16706" fmla="*/ 2109840 h 5704395"/>
                <a:gd name="connsiteX16707" fmla="*/ 461183 w 5719680"/>
                <a:gd name="connsiteY16707" fmla="*/ 2085439 h 5704395"/>
                <a:gd name="connsiteX16708" fmla="*/ 443714 w 5719680"/>
                <a:gd name="connsiteY16708" fmla="*/ 2075299 h 5704395"/>
                <a:gd name="connsiteX16709" fmla="*/ 431327 w 5719680"/>
                <a:gd name="connsiteY16709" fmla="*/ 2096847 h 5704395"/>
                <a:gd name="connsiteX16710" fmla="*/ 387813 w 5719680"/>
                <a:gd name="connsiteY16710" fmla="*/ 2072130 h 5704395"/>
                <a:gd name="connsiteX16711" fmla="*/ 400200 w 5719680"/>
                <a:gd name="connsiteY16711" fmla="*/ 2050582 h 5704395"/>
                <a:gd name="connsiteX16712" fmla="*/ 286492 w 5719680"/>
                <a:gd name="connsiteY16712" fmla="*/ 1985620 h 5704395"/>
                <a:gd name="connsiteX16713" fmla="*/ 2025138 w 5719680"/>
                <a:gd name="connsiteY16713" fmla="*/ 1984035 h 5704395"/>
                <a:gd name="connsiteX16714" fmla="*/ 2025138 w 5719680"/>
                <a:gd name="connsiteY16714" fmla="*/ 1988789 h 5704395"/>
                <a:gd name="connsiteX16715" fmla="*/ 2046100 w 5719680"/>
                <a:gd name="connsiteY16715" fmla="*/ 1990373 h 5704395"/>
                <a:gd name="connsiteX16716" fmla="*/ 2044830 w 5719680"/>
                <a:gd name="connsiteY16716" fmla="*/ 2003999 h 5704395"/>
                <a:gd name="connsiteX16717" fmla="*/ 2059758 w 5719680"/>
                <a:gd name="connsiteY16717" fmla="*/ 2004950 h 5704395"/>
                <a:gd name="connsiteX16718" fmla="*/ 2057535 w 5719680"/>
                <a:gd name="connsiteY16718" fmla="*/ 2032202 h 5704395"/>
                <a:gd name="connsiteX16719" fmla="*/ 2022914 w 5719680"/>
                <a:gd name="connsiteY16719" fmla="*/ 2029667 h 5704395"/>
                <a:gd name="connsiteX16720" fmla="*/ 2021009 w 5719680"/>
                <a:gd name="connsiteY16720" fmla="*/ 2069278 h 5704395"/>
                <a:gd name="connsiteX16721" fmla="*/ 2064205 w 5719680"/>
                <a:gd name="connsiteY16721" fmla="*/ 2073715 h 5704395"/>
                <a:gd name="connsiteX16722" fmla="*/ 2073733 w 5719680"/>
                <a:gd name="connsiteY16722" fmla="*/ 1989739 h 5704395"/>
                <a:gd name="connsiteX16723" fmla="*/ 2025138 w 5719680"/>
                <a:gd name="connsiteY16723" fmla="*/ 1984035 h 5704395"/>
                <a:gd name="connsiteX16724" fmla="*/ 1043060 w 5719680"/>
                <a:gd name="connsiteY16724" fmla="*/ 1982768 h 5704395"/>
                <a:gd name="connsiteX16725" fmla="*/ 1160262 w 5719680"/>
                <a:gd name="connsiteY16725" fmla="*/ 2068011 h 5704395"/>
                <a:gd name="connsiteX16726" fmla="*/ 1157086 w 5719680"/>
                <a:gd name="connsiteY16726" fmla="*/ 2069595 h 5704395"/>
                <a:gd name="connsiteX16727" fmla="*/ 1107855 w 5719680"/>
                <a:gd name="connsiteY16727" fmla="*/ 2095897 h 5704395"/>
                <a:gd name="connsiteX16728" fmla="*/ 1003041 w 5719680"/>
                <a:gd name="connsiteY16728" fmla="*/ 2058504 h 5704395"/>
                <a:gd name="connsiteX16729" fmla="*/ 1043060 w 5719680"/>
                <a:gd name="connsiteY16729" fmla="*/ 1982768 h 5704395"/>
                <a:gd name="connsiteX16730" fmla="*/ 444031 w 5719680"/>
                <a:gd name="connsiteY16730" fmla="*/ 1982134 h 5704395"/>
                <a:gd name="connsiteX16731" fmla="*/ 425292 w 5719680"/>
                <a:gd name="connsiteY16731" fmla="*/ 2014773 h 5704395"/>
                <a:gd name="connsiteX16732" fmla="*/ 461500 w 5719680"/>
                <a:gd name="connsiteY16732" fmla="*/ 2035371 h 5704395"/>
                <a:gd name="connsiteX16733" fmla="*/ 480240 w 5719680"/>
                <a:gd name="connsiteY16733" fmla="*/ 2002732 h 5704395"/>
                <a:gd name="connsiteX16734" fmla="*/ 444031 w 5719680"/>
                <a:gd name="connsiteY16734" fmla="*/ 1982134 h 5704395"/>
                <a:gd name="connsiteX16735" fmla="*/ 1926676 w 5719680"/>
                <a:gd name="connsiteY16735" fmla="*/ 1981500 h 5704395"/>
                <a:gd name="connsiteX16736" fmla="*/ 1920006 w 5719680"/>
                <a:gd name="connsiteY16736" fmla="*/ 2013823 h 5704395"/>
                <a:gd name="connsiteX16737" fmla="*/ 1955262 w 5719680"/>
                <a:gd name="connsiteY16737" fmla="*/ 2016675 h 5704395"/>
                <a:gd name="connsiteX16738" fmla="*/ 1956532 w 5719680"/>
                <a:gd name="connsiteY16738" fmla="*/ 1997662 h 5704395"/>
                <a:gd name="connsiteX16739" fmla="*/ 1941922 w 5719680"/>
                <a:gd name="connsiteY16739" fmla="*/ 1996394 h 5704395"/>
                <a:gd name="connsiteX16740" fmla="*/ 1942874 w 5719680"/>
                <a:gd name="connsiteY16740" fmla="*/ 1982768 h 5704395"/>
                <a:gd name="connsiteX16741" fmla="*/ 1926676 w 5719680"/>
                <a:gd name="connsiteY16741" fmla="*/ 1981500 h 5704395"/>
                <a:gd name="connsiteX16742" fmla="*/ 1914289 w 5719680"/>
                <a:gd name="connsiteY16742" fmla="*/ 1980550 h 5704395"/>
                <a:gd name="connsiteX16743" fmla="*/ 1913018 w 5719680"/>
                <a:gd name="connsiteY16743" fmla="*/ 1994176 h 5704395"/>
                <a:gd name="connsiteX16744" fmla="*/ 1898408 w 5719680"/>
                <a:gd name="connsiteY16744" fmla="*/ 1992908 h 5704395"/>
                <a:gd name="connsiteX16745" fmla="*/ 1896820 w 5719680"/>
                <a:gd name="connsiteY16745" fmla="*/ 2011921 h 5704395"/>
                <a:gd name="connsiteX16746" fmla="*/ 1915559 w 5719680"/>
                <a:gd name="connsiteY16746" fmla="*/ 2013506 h 5704395"/>
                <a:gd name="connsiteX16747" fmla="*/ 1922229 w 5719680"/>
                <a:gd name="connsiteY16747" fmla="*/ 1981183 h 5704395"/>
                <a:gd name="connsiteX16748" fmla="*/ 1914289 w 5719680"/>
                <a:gd name="connsiteY16748" fmla="*/ 1980550 h 5704395"/>
                <a:gd name="connsiteX16749" fmla="*/ 1975907 w 5719680"/>
                <a:gd name="connsiteY16749" fmla="*/ 1978014 h 5704395"/>
                <a:gd name="connsiteX16750" fmla="*/ 1975272 w 5719680"/>
                <a:gd name="connsiteY16750" fmla="*/ 2017625 h 5704395"/>
                <a:gd name="connsiteX16751" fmla="*/ 1974001 w 5719680"/>
                <a:gd name="connsiteY16751" fmla="*/ 2049948 h 5704395"/>
                <a:gd name="connsiteX16752" fmla="*/ 1973048 w 5719680"/>
                <a:gd name="connsiteY16752" fmla="*/ 2060722 h 5704395"/>
                <a:gd name="connsiteX16753" fmla="*/ 1972413 w 5719680"/>
                <a:gd name="connsiteY16753" fmla="*/ 2063891 h 5704395"/>
                <a:gd name="connsiteX16754" fmla="*/ 1972413 w 5719680"/>
                <a:gd name="connsiteY16754" fmla="*/ 2064208 h 5704395"/>
                <a:gd name="connsiteX16755" fmla="*/ 2016562 w 5719680"/>
                <a:gd name="connsiteY16755" fmla="*/ 2068644 h 5704395"/>
                <a:gd name="connsiteX16756" fmla="*/ 2018468 w 5719680"/>
                <a:gd name="connsiteY16756" fmla="*/ 2029350 h 5704395"/>
                <a:gd name="connsiteX16757" fmla="*/ 1990835 w 5719680"/>
                <a:gd name="connsiteY16757" fmla="*/ 2027132 h 5704395"/>
                <a:gd name="connsiteX16758" fmla="*/ 1991152 w 5719680"/>
                <a:gd name="connsiteY16758" fmla="*/ 2024914 h 5704395"/>
                <a:gd name="connsiteX16759" fmla="*/ 1993058 w 5719680"/>
                <a:gd name="connsiteY16759" fmla="*/ 1999880 h 5704395"/>
                <a:gd name="connsiteX16760" fmla="*/ 2007986 w 5719680"/>
                <a:gd name="connsiteY16760" fmla="*/ 2000830 h 5704395"/>
                <a:gd name="connsiteX16761" fmla="*/ 2008939 w 5719680"/>
                <a:gd name="connsiteY16761" fmla="*/ 1987521 h 5704395"/>
                <a:gd name="connsiteX16762" fmla="*/ 2020691 w 5719680"/>
                <a:gd name="connsiteY16762" fmla="*/ 1988155 h 5704395"/>
                <a:gd name="connsiteX16763" fmla="*/ 2021009 w 5719680"/>
                <a:gd name="connsiteY16763" fmla="*/ 1983402 h 5704395"/>
                <a:gd name="connsiteX16764" fmla="*/ 1975907 w 5719680"/>
                <a:gd name="connsiteY16764" fmla="*/ 1978014 h 5704395"/>
                <a:gd name="connsiteX16765" fmla="*/ 545987 w 5719680"/>
                <a:gd name="connsiteY16765" fmla="*/ 1976747 h 5704395"/>
                <a:gd name="connsiteX16766" fmla="*/ 471029 w 5719680"/>
                <a:gd name="connsiteY16766" fmla="*/ 2110474 h 5704395"/>
                <a:gd name="connsiteX16767" fmla="*/ 547257 w 5719680"/>
                <a:gd name="connsiteY16767" fmla="*/ 2155472 h 5704395"/>
                <a:gd name="connsiteX16768" fmla="*/ 633967 w 5719680"/>
                <a:gd name="connsiteY16768" fmla="*/ 2206174 h 5704395"/>
                <a:gd name="connsiteX16769" fmla="*/ 698444 w 5719680"/>
                <a:gd name="connsiteY16769" fmla="*/ 2107938 h 5704395"/>
                <a:gd name="connsiteX16770" fmla="*/ 719407 w 5719680"/>
                <a:gd name="connsiteY16770" fmla="*/ 2075299 h 5704395"/>
                <a:gd name="connsiteX16771" fmla="*/ 638096 w 5719680"/>
                <a:gd name="connsiteY16771" fmla="*/ 2029033 h 5704395"/>
                <a:gd name="connsiteX16772" fmla="*/ 637461 w 5719680"/>
                <a:gd name="connsiteY16772" fmla="*/ 2029984 h 5704395"/>
                <a:gd name="connsiteX16773" fmla="*/ 633967 w 5719680"/>
                <a:gd name="connsiteY16773" fmla="*/ 2027132 h 5704395"/>
                <a:gd name="connsiteX16774" fmla="*/ 634285 w 5719680"/>
                <a:gd name="connsiteY16774" fmla="*/ 2026815 h 5704395"/>
                <a:gd name="connsiteX16775" fmla="*/ 545987 w 5719680"/>
                <a:gd name="connsiteY16775" fmla="*/ 1976747 h 5704395"/>
                <a:gd name="connsiteX16776" fmla="*/ 1492809 w 5719680"/>
                <a:gd name="connsiteY16776" fmla="*/ 1974529 h 5704395"/>
                <a:gd name="connsiteX16777" fmla="*/ 1484233 w 5719680"/>
                <a:gd name="connsiteY16777" fmla="*/ 2016992 h 5704395"/>
                <a:gd name="connsiteX16778" fmla="*/ 1495032 w 5719680"/>
                <a:gd name="connsiteY16778" fmla="*/ 2018259 h 5704395"/>
                <a:gd name="connsiteX16779" fmla="*/ 1499479 w 5719680"/>
                <a:gd name="connsiteY16779" fmla="*/ 1994810 h 5704395"/>
                <a:gd name="connsiteX16780" fmla="*/ 1548710 w 5719680"/>
                <a:gd name="connsiteY16780" fmla="*/ 2002732 h 5704395"/>
                <a:gd name="connsiteX16781" fmla="*/ 1548392 w 5719680"/>
                <a:gd name="connsiteY16781" fmla="*/ 2004950 h 5704395"/>
                <a:gd name="connsiteX16782" fmla="*/ 1544581 w 5719680"/>
                <a:gd name="connsiteY16782" fmla="*/ 2024914 h 5704395"/>
                <a:gd name="connsiteX16783" fmla="*/ 1665911 w 5719680"/>
                <a:gd name="connsiteY16783" fmla="*/ 2041392 h 5704395"/>
                <a:gd name="connsiteX16784" fmla="*/ 1667817 w 5719680"/>
                <a:gd name="connsiteY16784" fmla="*/ 2019527 h 5704395"/>
                <a:gd name="connsiteX16785" fmla="*/ 1669405 w 5719680"/>
                <a:gd name="connsiteY16785" fmla="*/ 2002732 h 5704395"/>
                <a:gd name="connsiteX16786" fmla="*/ 1492809 w 5719680"/>
                <a:gd name="connsiteY16786" fmla="*/ 1974529 h 5704395"/>
                <a:gd name="connsiteX16787" fmla="*/ 2181724 w 5719680"/>
                <a:gd name="connsiteY16787" fmla="*/ 1973895 h 5704395"/>
                <a:gd name="connsiteX16788" fmla="*/ 2181088 w 5719680"/>
                <a:gd name="connsiteY16788" fmla="*/ 1981500 h 5704395"/>
                <a:gd name="connsiteX16789" fmla="*/ 2222696 w 5719680"/>
                <a:gd name="connsiteY16789" fmla="*/ 1986570 h 5704395"/>
                <a:gd name="connsiteX16790" fmla="*/ 2223332 w 5719680"/>
                <a:gd name="connsiteY16790" fmla="*/ 1978648 h 5704395"/>
                <a:gd name="connsiteX16791" fmla="*/ 1928582 w 5719680"/>
                <a:gd name="connsiteY16791" fmla="*/ 1972310 h 5704395"/>
                <a:gd name="connsiteX16792" fmla="*/ 1927311 w 5719680"/>
                <a:gd name="connsiteY16792" fmla="*/ 1977381 h 5704395"/>
                <a:gd name="connsiteX16793" fmla="*/ 1947321 w 5719680"/>
                <a:gd name="connsiteY16793" fmla="*/ 1978965 h 5704395"/>
                <a:gd name="connsiteX16794" fmla="*/ 1946368 w 5719680"/>
                <a:gd name="connsiteY16794" fmla="*/ 1992591 h 5704395"/>
                <a:gd name="connsiteX16795" fmla="*/ 1961296 w 5719680"/>
                <a:gd name="connsiteY16795" fmla="*/ 1993859 h 5704395"/>
                <a:gd name="connsiteX16796" fmla="*/ 1959073 w 5719680"/>
                <a:gd name="connsiteY16796" fmla="*/ 2021111 h 5704395"/>
                <a:gd name="connsiteX16797" fmla="*/ 1919371 w 5719680"/>
                <a:gd name="connsiteY16797" fmla="*/ 2017942 h 5704395"/>
                <a:gd name="connsiteX16798" fmla="*/ 1913654 w 5719680"/>
                <a:gd name="connsiteY16798" fmla="*/ 2046145 h 5704395"/>
                <a:gd name="connsiteX16799" fmla="*/ 1952085 w 5719680"/>
                <a:gd name="connsiteY16799" fmla="*/ 2050582 h 5704395"/>
                <a:gd name="connsiteX16800" fmla="*/ 1953991 w 5719680"/>
                <a:gd name="connsiteY16800" fmla="*/ 2062307 h 5704395"/>
                <a:gd name="connsiteX16801" fmla="*/ 1969872 w 5719680"/>
                <a:gd name="connsiteY16801" fmla="*/ 2063891 h 5704395"/>
                <a:gd name="connsiteX16802" fmla="*/ 1968284 w 5719680"/>
                <a:gd name="connsiteY16802" fmla="*/ 2063257 h 5704395"/>
                <a:gd name="connsiteX16803" fmla="*/ 1969554 w 5719680"/>
                <a:gd name="connsiteY16803" fmla="*/ 2047096 h 5704395"/>
                <a:gd name="connsiteX16804" fmla="*/ 1971460 w 5719680"/>
                <a:gd name="connsiteY16804" fmla="*/ 1977381 h 5704395"/>
                <a:gd name="connsiteX16805" fmla="*/ 1928582 w 5719680"/>
                <a:gd name="connsiteY16805" fmla="*/ 1972310 h 5704395"/>
                <a:gd name="connsiteX16806" fmla="*/ 1834567 w 5719680"/>
                <a:gd name="connsiteY16806" fmla="*/ 1971360 h 5704395"/>
                <a:gd name="connsiteX16807" fmla="*/ 1831390 w 5719680"/>
                <a:gd name="connsiteY16807" fmla="*/ 1993542 h 5704395"/>
                <a:gd name="connsiteX16808" fmla="*/ 1828532 w 5719680"/>
                <a:gd name="connsiteY16808" fmla="*/ 2012238 h 5704395"/>
                <a:gd name="connsiteX16809" fmla="*/ 1841872 w 5719680"/>
                <a:gd name="connsiteY16809" fmla="*/ 2014457 h 5704395"/>
                <a:gd name="connsiteX16810" fmla="*/ 1848542 w 5719680"/>
                <a:gd name="connsiteY16810" fmla="*/ 1973895 h 5704395"/>
                <a:gd name="connsiteX16811" fmla="*/ 150552 w 5719680"/>
                <a:gd name="connsiteY16811" fmla="*/ 1969775 h 5704395"/>
                <a:gd name="connsiteX16812" fmla="*/ 147693 w 5719680"/>
                <a:gd name="connsiteY16812" fmla="*/ 1973578 h 5704395"/>
                <a:gd name="connsiteX16813" fmla="*/ 183266 w 5719680"/>
                <a:gd name="connsiteY16813" fmla="*/ 1998295 h 5704395"/>
                <a:gd name="connsiteX16814" fmla="*/ 218204 w 5719680"/>
                <a:gd name="connsiteY16814" fmla="*/ 2032836 h 5704395"/>
                <a:gd name="connsiteX16815" fmla="*/ 219792 w 5719680"/>
                <a:gd name="connsiteY16815" fmla="*/ 2034104 h 5704395"/>
                <a:gd name="connsiteX16816" fmla="*/ 231862 w 5719680"/>
                <a:gd name="connsiteY16816" fmla="*/ 2025864 h 5704395"/>
                <a:gd name="connsiteX16817" fmla="*/ 237897 w 5719680"/>
                <a:gd name="connsiteY16817" fmla="*/ 2018893 h 5704395"/>
                <a:gd name="connsiteX16818" fmla="*/ 150552 w 5719680"/>
                <a:gd name="connsiteY16818" fmla="*/ 1969775 h 5704395"/>
                <a:gd name="connsiteX16819" fmla="*/ 2131858 w 5719680"/>
                <a:gd name="connsiteY16819" fmla="*/ 1968825 h 5704395"/>
                <a:gd name="connsiteX16820" fmla="*/ 2131222 w 5719680"/>
                <a:gd name="connsiteY16820" fmla="*/ 1975479 h 5704395"/>
                <a:gd name="connsiteX16821" fmla="*/ 2176642 w 5719680"/>
                <a:gd name="connsiteY16821" fmla="*/ 1980866 h 5704395"/>
                <a:gd name="connsiteX16822" fmla="*/ 2177277 w 5719680"/>
                <a:gd name="connsiteY16822" fmla="*/ 1973578 h 5704395"/>
                <a:gd name="connsiteX16823" fmla="*/ 1888244 w 5719680"/>
                <a:gd name="connsiteY16823" fmla="*/ 1967557 h 5704395"/>
                <a:gd name="connsiteX16824" fmla="*/ 1875222 w 5719680"/>
                <a:gd name="connsiteY16824" fmla="*/ 2041392 h 5704395"/>
                <a:gd name="connsiteX16825" fmla="*/ 1909207 w 5719680"/>
                <a:gd name="connsiteY16825" fmla="*/ 2045511 h 5704395"/>
                <a:gd name="connsiteX16826" fmla="*/ 1914924 w 5719680"/>
                <a:gd name="connsiteY16826" fmla="*/ 2017625 h 5704395"/>
                <a:gd name="connsiteX16827" fmla="*/ 1892373 w 5719680"/>
                <a:gd name="connsiteY16827" fmla="*/ 2015724 h 5704395"/>
                <a:gd name="connsiteX16828" fmla="*/ 1892373 w 5719680"/>
                <a:gd name="connsiteY16828" fmla="*/ 2013823 h 5704395"/>
                <a:gd name="connsiteX16829" fmla="*/ 1894597 w 5719680"/>
                <a:gd name="connsiteY16829" fmla="*/ 1988472 h 5704395"/>
                <a:gd name="connsiteX16830" fmla="*/ 1909207 w 5719680"/>
                <a:gd name="connsiteY16830" fmla="*/ 1989739 h 5704395"/>
                <a:gd name="connsiteX16831" fmla="*/ 1910477 w 5719680"/>
                <a:gd name="connsiteY16831" fmla="*/ 1976113 h 5704395"/>
                <a:gd name="connsiteX16832" fmla="*/ 1922864 w 5719680"/>
                <a:gd name="connsiteY16832" fmla="*/ 1977064 h 5704395"/>
                <a:gd name="connsiteX16833" fmla="*/ 1924135 w 5719680"/>
                <a:gd name="connsiteY16833" fmla="*/ 1971677 h 5704395"/>
                <a:gd name="connsiteX16834" fmla="*/ 505014 w 5719680"/>
                <a:gd name="connsiteY16834" fmla="*/ 1967240 h 5704395"/>
                <a:gd name="connsiteX16835" fmla="*/ 485957 w 5719680"/>
                <a:gd name="connsiteY16835" fmla="*/ 2000830 h 5704395"/>
                <a:gd name="connsiteX16836" fmla="*/ 503108 w 5719680"/>
                <a:gd name="connsiteY16836" fmla="*/ 2010654 h 5704395"/>
                <a:gd name="connsiteX16837" fmla="*/ 522166 w 5719680"/>
                <a:gd name="connsiteY16837" fmla="*/ 1977064 h 5704395"/>
                <a:gd name="connsiteX16838" fmla="*/ 505014 w 5719680"/>
                <a:gd name="connsiteY16838" fmla="*/ 1967240 h 5704395"/>
                <a:gd name="connsiteX16839" fmla="*/ 1234902 w 5719680"/>
                <a:gd name="connsiteY16839" fmla="*/ 1965339 h 5704395"/>
                <a:gd name="connsiteX16840" fmla="*/ 1234902 w 5719680"/>
                <a:gd name="connsiteY16840" fmla="*/ 1965656 h 5704395"/>
                <a:gd name="connsiteX16841" fmla="*/ 1235220 w 5719680"/>
                <a:gd name="connsiteY16841" fmla="*/ 1974846 h 5704395"/>
                <a:gd name="connsiteX16842" fmla="*/ 1233632 w 5719680"/>
                <a:gd name="connsiteY16842" fmla="*/ 2008119 h 5704395"/>
                <a:gd name="connsiteX16843" fmla="*/ 1233632 w 5719680"/>
                <a:gd name="connsiteY16843" fmla="*/ 2008436 h 5704395"/>
                <a:gd name="connsiteX16844" fmla="*/ 1232997 w 5719680"/>
                <a:gd name="connsiteY16844" fmla="*/ 2009703 h 5704395"/>
                <a:gd name="connsiteX16845" fmla="*/ 1287309 w 5719680"/>
                <a:gd name="connsiteY16845" fmla="*/ 2035054 h 5704395"/>
                <a:gd name="connsiteX16846" fmla="*/ 1339399 w 5719680"/>
                <a:gd name="connsiteY16846" fmla="*/ 2058187 h 5704395"/>
                <a:gd name="connsiteX16847" fmla="*/ 1339716 w 5719680"/>
                <a:gd name="connsiteY16847" fmla="*/ 2057553 h 5704395"/>
                <a:gd name="connsiteX16848" fmla="*/ 1375925 w 5719680"/>
                <a:gd name="connsiteY16848" fmla="*/ 2073398 h 5704395"/>
                <a:gd name="connsiteX16849" fmla="*/ 1389900 w 5719680"/>
                <a:gd name="connsiteY16849" fmla="*/ 2100967 h 5704395"/>
                <a:gd name="connsiteX16850" fmla="*/ 1441672 w 5719680"/>
                <a:gd name="connsiteY16850" fmla="*/ 2126318 h 5704395"/>
                <a:gd name="connsiteX16851" fmla="*/ 1462635 w 5719680"/>
                <a:gd name="connsiteY16851" fmla="*/ 2018259 h 5704395"/>
                <a:gd name="connsiteX16852" fmla="*/ 1447389 w 5719680"/>
                <a:gd name="connsiteY16852" fmla="*/ 2016041 h 5704395"/>
                <a:gd name="connsiteX16853" fmla="*/ 1442307 w 5719680"/>
                <a:gd name="connsiteY16853" fmla="*/ 2043293 h 5704395"/>
                <a:gd name="connsiteX16854" fmla="*/ 1393394 w 5719680"/>
                <a:gd name="connsiteY16854" fmla="*/ 2035371 h 5704395"/>
                <a:gd name="connsiteX16855" fmla="*/ 1398158 w 5719680"/>
                <a:gd name="connsiteY16855" fmla="*/ 2008753 h 5704395"/>
                <a:gd name="connsiteX16856" fmla="*/ 1347339 w 5719680"/>
                <a:gd name="connsiteY16856" fmla="*/ 2001147 h 5704395"/>
                <a:gd name="connsiteX16857" fmla="*/ 1234902 w 5719680"/>
                <a:gd name="connsiteY16857" fmla="*/ 1965339 h 5704395"/>
                <a:gd name="connsiteX16858" fmla="*/ 1796770 w 5719680"/>
                <a:gd name="connsiteY16858" fmla="*/ 1964705 h 5704395"/>
                <a:gd name="connsiteX16859" fmla="*/ 1793276 w 5719680"/>
                <a:gd name="connsiteY16859" fmla="*/ 1989739 h 5704395"/>
                <a:gd name="connsiteX16860" fmla="*/ 1790735 w 5719680"/>
                <a:gd name="connsiteY16860" fmla="*/ 2005584 h 5704395"/>
                <a:gd name="connsiteX16861" fmla="*/ 1824085 w 5719680"/>
                <a:gd name="connsiteY16861" fmla="*/ 2011288 h 5704395"/>
                <a:gd name="connsiteX16862" fmla="*/ 1830120 w 5719680"/>
                <a:gd name="connsiteY16862" fmla="*/ 1970409 h 5704395"/>
                <a:gd name="connsiteX16863" fmla="*/ 149281 w 5719680"/>
                <a:gd name="connsiteY16863" fmla="*/ 1963755 h 5704395"/>
                <a:gd name="connsiteX16864" fmla="*/ 245202 w 5719680"/>
                <a:gd name="connsiteY16864" fmla="*/ 2017625 h 5704395"/>
                <a:gd name="connsiteX16865" fmla="*/ 243296 w 5719680"/>
                <a:gd name="connsiteY16865" fmla="*/ 2019844 h 5704395"/>
                <a:gd name="connsiteX16866" fmla="*/ 235038 w 5719680"/>
                <a:gd name="connsiteY16866" fmla="*/ 2029033 h 5704395"/>
                <a:gd name="connsiteX16867" fmla="*/ 219792 w 5719680"/>
                <a:gd name="connsiteY16867" fmla="*/ 2038857 h 5704395"/>
                <a:gd name="connsiteX16868" fmla="*/ 219475 w 5719680"/>
                <a:gd name="connsiteY16868" fmla="*/ 2038857 h 5704395"/>
                <a:gd name="connsiteX16869" fmla="*/ 213758 w 5719680"/>
                <a:gd name="connsiteY16869" fmla="*/ 2034421 h 5704395"/>
                <a:gd name="connsiteX16870" fmla="*/ 180408 w 5719680"/>
                <a:gd name="connsiteY16870" fmla="*/ 2001781 h 5704395"/>
                <a:gd name="connsiteX16871" fmla="*/ 142929 w 5719680"/>
                <a:gd name="connsiteY16871" fmla="*/ 1976113 h 5704395"/>
                <a:gd name="connsiteX16872" fmla="*/ 141023 w 5719680"/>
                <a:gd name="connsiteY16872" fmla="*/ 1974529 h 5704395"/>
                <a:gd name="connsiteX16873" fmla="*/ 149281 w 5719680"/>
                <a:gd name="connsiteY16873" fmla="*/ 1963755 h 5704395"/>
                <a:gd name="connsiteX16874" fmla="*/ 2083262 w 5719680"/>
                <a:gd name="connsiteY16874" fmla="*/ 1963438 h 5704395"/>
                <a:gd name="connsiteX16875" fmla="*/ 2082627 w 5719680"/>
                <a:gd name="connsiteY16875" fmla="*/ 1969775 h 5704395"/>
                <a:gd name="connsiteX16876" fmla="*/ 2126776 w 5719680"/>
                <a:gd name="connsiteY16876" fmla="*/ 1975162 h 5704395"/>
                <a:gd name="connsiteX16877" fmla="*/ 2127411 w 5719680"/>
                <a:gd name="connsiteY16877" fmla="*/ 1968191 h 5704395"/>
                <a:gd name="connsiteX16878" fmla="*/ 750534 w 5719680"/>
                <a:gd name="connsiteY16878" fmla="*/ 1959952 h 5704395"/>
                <a:gd name="connsiteX16879" fmla="*/ 715278 w 5719680"/>
                <a:gd name="connsiteY16879" fmla="*/ 1965022 h 5704395"/>
                <a:gd name="connsiteX16880" fmla="*/ 689868 w 5719680"/>
                <a:gd name="connsiteY16880" fmla="*/ 1968825 h 5704395"/>
                <a:gd name="connsiteX16881" fmla="*/ 681610 w 5719680"/>
                <a:gd name="connsiteY16881" fmla="*/ 1970092 h 5704395"/>
                <a:gd name="connsiteX16882" fmla="*/ 679705 w 5719680"/>
                <a:gd name="connsiteY16882" fmla="*/ 1970409 h 5704395"/>
                <a:gd name="connsiteX16883" fmla="*/ 678116 w 5719680"/>
                <a:gd name="connsiteY16883" fmla="*/ 1973261 h 5704395"/>
                <a:gd name="connsiteX16884" fmla="*/ 640955 w 5719680"/>
                <a:gd name="connsiteY16884" fmla="*/ 2025548 h 5704395"/>
                <a:gd name="connsiteX16885" fmla="*/ 721948 w 5719680"/>
                <a:gd name="connsiteY16885" fmla="*/ 2071496 h 5704395"/>
                <a:gd name="connsiteX16886" fmla="*/ 763556 w 5719680"/>
                <a:gd name="connsiteY16886" fmla="*/ 2006851 h 5704395"/>
                <a:gd name="connsiteX16887" fmla="*/ 750534 w 5719680"/>
                <a:gd name="connsiteY16887" fmla="*/ 1959952 h 5704395"/>
                <a:gd name="connsiteX16888" fmla="*/ 2037207 w 5719680"/>
                <a:gd name="connsiteY16888" fmla="*/ 1958684 h 5704395"/>
                <a:gd name="connsiteX16889" fmla="*/ 2036572 w 5719680"/>
                <a:gd name="connsiteY16889" fmla="*/ 1964388 h 5704395"/>
                <a:gd name="connsiteX16890" fmla="*/ 2078180 w 5719680"/>
                <a:gd name="connsiteY16890" fmla="*/ 1969142 h 5704395"/>
                <a:gd name="connsiteX16891" fmla="*/ 2078815 w 5719680"/>
                <a:gd name="connsiteY16891" fmla="*/ 1963121 h 5704395"/>
                <a:gd name="connsiteX16892" fmla="*/ 1836155 w 5719680"/>
                <a:gd name="connsiteY16892" fmla="*/ 1958367 h 5704395"/>
                <a:gd name="connsiteX16893" fmla="*/ 1835202 w 5719680"/>
                <a:gd name="connsiteY16893" fmla="*/ 1967240 h 5704395"/>
                <a:gd name="connsiteX16894" fmla="*/ 1853306 w 5719680"/>
                <a:gd name="connsiteY16894" fmla="*/ 1970409 h 5704395"/>
                <a:gd name="connsiteX16895" fmla="*/ 1845366 w 5719680"/>
                <a:gd name="connsiteY16895" fmla="*/ 2019210 h 5704395"/>
                <a:gd name="connsiteX16896" fmla="*/ 1827897 w 5719680"/>
                <a:gd name="connsiteY16896" fmla="*/ 2016358 h 5704395"/>
                <a:gd name="connsiteX16897" fmla="*/ 1826944 w 5719680"/>
                <a:gd name="connsiteY16897" fmla="*/ 2021745 h 5704395"/>
                <a:gd name="connsiteX16898" fmla="*/ 1824720 w 5719680"/>
                <a:gd name="connsiteY16898" fmla="*/ 2031252 h 5704395"/>
                <a:gd name="connsiteX16899" fmla="*/ 1824085 w 5719680"/>
                <a:gd name="connsiteY16899" fmla="*/ 2033787 h 5704395"/>
                <a:gd name="connsiteX16900" fmla="*/ 1854577 w 5719680"/>
                <a:gd name="connsiteY16900" fmla="*/ 2038857 h 5704395"/>
                <a:gd name="connsiteX16901" fmla="*/ 1867599 w 5719680"/>
                <a:gd name="connsiteY16901" fmla="*/ 1964388 h 5704395"/>
                <a:gd name="connsiteX16902" fmla="*/ 1836155 w 5719680"/>
                <a:gd name="connsiteY16902" fmla="*/ 1958367 h 5704395"/>
                <a:gd name="connsiteX16903" fmla="*/ 1759609 w 5719680"/>
                <a:gd name="connsiteY16903" fmla="*/ 1958051 h 5704395"/>
                <a:gd name="connsiteX16904" fmla="*/ 1756115 w 5719680"/>
                <a:gd name="connsiteY16904" fmla="*/ 1983718 h 5704395"/>
                <a:gd name="connsiteX16905" fmla="*/ 1753574 w 5719680"/>
                <a:gd name="connsiteY16905" fmla="*/ 1998929 h 5704395"/>
                <a:gd name="connsiteX16906" fmla="*/ 1786289 w 5719680"/>
                <a:gd name="connsiteY16906" fmla="*/ 2004633 h 5704395"/>
                <a:gd name="connsiteX16907" fmla="*/ 1792323 w 5719680"/>
                <a:gd name="connsiteY16907" fmla="*/ 1963755 h 5704395"/>
                <a:gd name="connsiteX16908" fmla="*/ 1991152 w 5719680"/>
                <a:gd name="connsiteY16908" fmla="*/ 1953614 h 5704395"/>
                <a:gd name="connsiteX16909" fmla="*/ 1990835 w 5719680"/>
                <a:gd name="connsiteY16909" fmla="*/ 1958684 h 5704395"/>
                <a:gd name="connsiteX16910" fmla="*/ 2032125 w 5719680"/>
                <a:gd name="connsiteY16910" fmla="*/ 1963755 h 5704395"/>
                <a:gd name="connsiteX16911" fmla="*/ 2032760 w 5719680"/>
                <a:gd name="connsiteY16911" fmla="*/ 1958051 h 5704395"/>
                <a:gd name="connsiteX16912" fmla="*/ 1798676 w 5719680"/>
                <a:gd name="connsiteY16912" fmla="*/ 1951396 h 5704395"/>
                <a:gd name="connsiteX16913" fmla="*/ 1797405 w 5719680"/>
                <a:gd name="connsiteY16913" fmla="*/ 1960586 h 5704395"/>
                <a:gd name="connsiteX16914" fmla="*/ 1830755 w 5719680"/>
                <a:gd name="connsiteY16914" fmla="*/ 1966290 h 5704395"/>
                <a:gd name="connsiteX16915" fmla="*/ 1832026 w 5719680"/>
                <a:gd name="connsiteY16915" fmla="*/ 1957734 h 5704395"/>
                <a:gd name="connsiteX16916" fmla="*/ 1798676 w 5719680"/>
                <a:gd name="connsiteY16916" fmla="*/ 1951396 h 5704395"/>
                <a:gd name="connsiteX16917" fmla="*/ 1721494 w 5719680"/>
                <a:gd name="connsiteY16917" fmla="*/ 1951079 h 5704395"/>
                <a:gd name="connsiteX16918" fmla="*/ 1718000 w 5719680"/>
                <a:gd name="connsiteY16918" fmla="*/ 1976747 h 5704395"/>
                <a:gd name="connsiteX16919" fmla="*/ 1715460 w 5719680"/>
                <a:gd name="connsiteY16919" fmla="*/ 1992274 h 5704395"/>
                <a:gd name="connsiteX16920" fmla="*/ 1749445 w 5719680"/>
                <a:gd name="connsiteY16920" fmla="*/ 1998295 h 5704395"/>
                <a:gd name="connsiteX16921" fmla="*/ 1755479 w 5719680"/>
                <a:gd name="connsiteY16921" fmla="*/ 1957100 h 5704395"/>
                <a:gd name="connsiteX16922" fmla="*/ 301738 w 5719680"/>
                <a:gd name="connsiteY16922" fmla="*/ 1949495 h 5704395"/>
                <a:gd name="connsiteX16923" fmla="*/ 288081 w 5719680"/>
                <a:gd name="connsiteY16923" fmla="*/ 1981500 h 5704395"/>
                <a:gd name="connsiteX16924" fmla="*/ 402423 w 5719680"/>
                <a:gd name="connsiteY16924" fmla="*/ 2046779 h 5704395"/>
                <a:gd name="connsiteX16925" fmla="*/ 419575 w 5719680"/>
                <a:gd name="connsiteY16925" fmla="*/ 2016675 h 5704395"/>
                <a:gd name="connsiteX16926" fmla="*/ 301738 w 5719680"/>
                <a:gd name="connsiteY16926" fmla="*/ 1949495 h 5704395"/>
                <a:gd name="connsiteX16927" fmla="*/ 1943510 w 5719680"/>
                <a:gd name="connsiteY16927" fmla="*/ 1948544 h 5704395"/>
                <a:gd name="connsiteX16928" fmla="*/ 1942874 w 5719680"/>
                <a:gd name="connsiteY16928" fmla="*/ 1952980 h 5704395"/>
                <a:gd name="connsiteX16929" fmla="*/ 1986388 w 5719680"/>
                <a:gd name="connsiteY16929" fmla="*/ 1958367 h 5704395"/>
                <a:gd name="connsiteX16930" fmla="*/ 1986706 w 5719680"/>
                <a:gd name="connsiteY16930" fmla="*/ 1953297 h 5704395"/>
                <a:gd name="connsiteX16931" fmla="*/ 1761514 w 5719680"/>
                <a:gd name="connsiteY16931" fmla="*/ 1944741 h 5704395"/>
                <a:gd name="connsiteX16932" fmla="*/ 1760244 w 5719680"/>
                <a:gd name="connsiteY16932" fmla="*/ 1953931 h 5704395"/>
                <a:gd name="connsiteX16933" fmla="*/ 1792959 w 5719680"/>
                <a:gd name="connsiteY16933" fmla="*/ 1959635 h 5704395"/>
                <a:gd name="connsiteX16934" fmla="*/ 1794229 w 5719680"/>
                <a:gd name="connsiteY16934" fmla="*/ 1950762 h 5704395"/>
                <a:gd name="connsiteX16935" fmla="*/ 1761514 w 5719680"/>
                <a:gd name="connsiteY16935" fmla="*/ 1944741 h 5704395"/>
                <a:gd name="connsiteX16936" fmla="*/ 465312 w 5719680"/>
                <a:gd name="connsiteY16936" fmla="*/ 1944741 h 5704395"/>
                <a:gd name="connsiteX16937" fmla="*/ 446255 w 5719680"/>
                <a:gd name="connsiteY16937" fmla="*/ 1978331 h 5704395"/>
                <a:gd name="connsiteX16938" fmla="*/ 482463 w 5719680"/>
                <a:gd name="connsiteY16938" fmla="*/ 1998929 h 5704395"/>
                <a:gd name="connsiteX16939" fmla="*/ 501520 w 5719680"/>
                <a:gd name="connsiteY16939" fmla="*/ 1965339 h 5704395"/>
                <a:gd name="connsiteX16940" fmla="*/ 1678933 w 5719680"/>
                <a:gd name="connsiteY16940" fmla="*/ 1943791 h 5704395"/>
                <a:gd name="connsiteX16941" fmla="*/ 1675122 w 5719680"/>
                <a:gd name="connsiteY16941" fmla="*/ 1985303 h 5704395"/>
                <a:gd name="connsiteX16942" fmla="*/ 1711330 w 5719680"/>
                <a:gd name="connsiteY16942" fmla="*/ 1991324 h 5704395"/>
                <a:gd name="connsiteX16943" fmla="*/ 1717048 w 5719680"/>
                <a:gd name="connsiteY16943" fmla="*/ 1950445 h 5704395"/>
                <a:gd name="connsiteX16944" fmla="*/ 1723400 w 5719680"/>
                <a:gd name="connsiteY16944" fmla="*/ 1937453 h 5704395"/>
                <a:gd name="connsiteX16945" fmla="*/ 1722130 w 5719680"/>
                <a:gd name="connsiteY16945" fmla="*/ 1946959 h 5704395"/>
                <a:gd name="connsiteX16946" fmla="*/ 1755797 w 5719680"/>
                <a:gd name="connsiteY16946" fmla="*/ 1952980 h 5704395"/>
                <a:gd name="connsiteX16947" fmla="*/ 1757068 w 5719680"/>
                <a:gd name="connsiteY16947" fmla="*/ 1943791 h 5704395"/>
                <a:gd name="connsiteX16948" fmla="*/ 1723400 w 5719680"/>
                <a:gd name="connsiteY16948" fmla="*/ 1937453 h 5704395"/>
                <a:gd name="connsiteX16949" fmla="*/ 2232225 w 5719680"/>
                <a:gd name="connsiteY16949" fmla="*/ 1934918 h 5704395"/>
                <a:gd name="connsiteX16950" fmla="*/ 2228096 w 5719680"/>
                <a:gd name="connsiteY16950" fmla="*/ 1974846 h 5704395"/>
                <a:gd name="connsiteX16951" fmla="*/ 2266210 w 5719680"/>
                <a:gd name="connsiteY16951" fmla="*/ 1978965 h 5704395"/>
                <a:gd name="connsiteX16952" fmla="*/ 2270657 w 5719680"/>
                <a:gd name="connsiteY16952" fmla="*/ 1939037 h 5704395"/>
                <a:gd name="connsiteX16953" fmla="*/ 2232225 w 5719680"/>
                <a:gd name="connsiteY16953" fmla="*/ 1934918 h 5704395"/>
                <a:gd name="connsiteX16954" fmla="*/ 523754 w 5719680"/>
                <a:gd name="connsiteY16954" fmla="*/ 1934284 h 5704395"/>
                <a:gd name="connsiteX16955" fmla="*/ 507238 w 5719680"/>
                <a:gd name="connsiteY16955" fmla="*/ 1963438 h 5704395"/>
                <a:gd name="connsiteX16956" fmla="*/ 524389 w 5719680"/>
                <a:gd name="connsiteY16956" fmla="*/ 1973261 h 5704395"/>
                <a:gd name="connsiteX16957" fmla="*/ 540587 w 5719680"/>
                <a:gd name="connsiteY16957" fmla="*/ 1943791 h 5704395"/>
                <a:gd name="connsiteX16958" fmla="*/ 523754 w 5719680"/>
                <a:gd name="connsiteY16958" fmla="*/ 1934284 h 5704395"/>
                <a:gd name="connsiteX16959" fmla="*/ 2186170 w 5719680"/>
                <a:gd name="connsiteY16959" fmla="*/ 1929848 h 5704395"/>
                <a:gd name="connsiteX16960" fmla="*/ 2182042 w 5719680"/>
                <a:gd name="connsiteY16960" fmla="*/ 1969775 h 5704395"/>
                <a:gd name="connsiteX16961" fmla="*/ 2223650 w 5719680"/>
                <a:gd name="connsiteY16961" fmla="*/ 1974212 h 5704395"/>
                <a:gd name="connsiteX16962" fmla="*/ 2227778 w 5719680"/>
                <a:gd name="connsiteY16962" fmla="*/ 1934284 h 5704395"/>
                <a:gd name="connsiteX16963" fmla="*/ 2186170 w 5719680"/>
                <a:gd name="connsiteY16963" fmla="*/ 1929848 h 5704395"/>
                <a:gd name="connsiteX16964" fmla="*/ 1679886 w 5719680"/>
                <a:gd name="connsiteY16964" fmla="*/ 1929531 h 5704395"/>
                <a:gd name="connsiteX16965" fmla="*/ 1679251 w 5719680"/>
                <a:gd name="connsiteY16965" fmla="*/ 1939354 h 5704395"/>
                <a:gd name="connsiteX16966" fmla="*/ 1717683 w 5719680"/>
                <a:gd name="connsiteY16966" fmla="*/ 1946326 h 5704395"/>
                <a:gd name="connsiteX16967" fmla="*/ 1718953 w 5719680"/>
                <a:gd name="connsiteY16967" fmla="*/ 1936819 h 5704395"/>
                <a:gd name="connsiteX16968" fmla="*/ 1679886 w 5719680"/>
                <a:gd name="connsiteY16968" fmla="*/ 1929531 h 5704395"/>
                <a:gd name="connsiteX16969" fmla="*/ 968738 w 5719680"/>
                <a:gd name="connsiteY16969" fmla="*/ 1929531 h 5704395"/>
                <a:gd name="connsiteX16970" fmla="*/ 959844 w 5719680"/>
                <a:gd name="connsiteY16970" fmla="*/ 1947593 h 5704395"/>
                <a:gd name="connsiteX16971" fmla="*/ 989383 w 5719680"/>
                <a:gd name="connsiteY16971" fmla="*/ 1961853 h 5704395"/>
                <a:gd name="connsiteX16972" fmla="*/ 999229 w 5719680"/>
                <a:gd name="connsiteY16972" fmla="*/ 1942840 h 5704395"/>
                <a:gd name="connsiteX16973" fmla="*/ 584736 w 5719680"/>
                <a:gd name="connsiteY16973" fmla="*/ 1925728 h 5704395"/>
                <a:gd name="connsiteX16974" fmla="*/ 564409 w 5719680"/>
                <a:gd name="connsiteY16974" fmla="*/ 1966606 h 5704395"/>
                <a:gd name="connsiteX16975" fmla="*/ 594265 w 5719680"/>
                <a:gd name="connsiteY16975" fmla="*/ 1981183 h 5704395"/>
                <a:gd name="connsiteX16976" fmla="*/ 612052 w 5719680"/>
                <a:gd name="connsiteY16976" fmla="*/ 1945692 h 5704395"/>
                <a:gd name="connsiteX16977" fmla="*/ 2136304 w 5719680"/>
                <a:gd name="connsiteY16977" fmla="*/ 1924777 h 5704395"/>
                <a:gd name="connsiteX16978" fmla="*/ 2132493 w 5719680"/>
                <a:gd name="connsiteY16978" fmla="*/ 1964705 h 5704395"/>
                <a:gd name="connsiteX16979" fmla="*/ 2177595 w 5719680"/>
                <a:gd name="connsiteY16979" fmla="*/ 1969459 h 5704395"/>
                <a:gd name="connsiteX16980" fmla="*/ 2181724 w 5719680"/>
                <a:gd name="connsiteY16980" fmla="*/ 1929531 h 5704395"/>
                <a:gd name="connsiteX16981" fmla="*/ 2136304 w 5719680"/>
                <a:gd name="connsiteY16981" fmla="*/ 1924777 h 5704395"/>
                <a:gd name="connsiteX16982" fmla="*/ 339217 w 5719680"/>
                <a:gd name="connsiteY16982" fmla="*/ 1922559 h 5704395"/>
                <a:gd name="connsiteX16983" fmla="*/ 303961 w 5719680"/>
                <a:gd name="connsiteY16983" fmla="*/ 1944107 h 5704395"/>
                <a:gd name="connsiteX16984" fmla="*/ 303326 w 5719680"/>
                <a:gd name="connsiteY16984" fmla="*/ 1945375 h 5704395"/>
                <a:gd name="connsiteX16985" fmla="*/ 421798 w 5719680"/>
                <a:gd name="connsiteY16985" fmla="*/ 2012872 h 5704395"/>
                <a:gd name="connsiteX16986" fmla="*/ 440220 w 5719680"/>
                <a:gd name="connsiteY16986" fmla="*/ 1980233 h 5704395"/>
                <a:gd name="connsiteX16987" fmla="*/ 97509 w 5719680"/>
                <a:gd name="connsiteY16987" fmla="*/ 1922242 h 5704395"/>
                <a:gd name="connsiteX16988" fmla="*/ 70194 w 5719680"/>
                <a:gd name="connsiteY16988" fmla="*/ 1971677 h 5704395"/>
                <a:gd name="connsiteX16989" fmla="*/ 223286 w 5719680"/>
                <a:gd name="connsiteY16989" fmla="*/ 2070229 h 5704395"/>
                <a:gd name="connsiteX16990" fmla="*/ 266482 w 5719680"/>
                <a:gd name="connsiteY16990" fmla="*/ 2021745 h 5704395"/>
                <a:gd name="connsiteX16991" fmla="*/ 267435 w 5719680"/>
                <a:gd name="connsiteY16991" fmla="*/ 2019210 h 5704395"/>
                <a:gd name="connsiteX16992" fmla="*/ 97509 w 5719680"/>
                <a:gd name="connsiteY16992" fmla="*/ 1922242 h 5704395"/>
                <a:gd name="connsiteX16993" fmla="*/ 1556332 w 5719680"/>
                <a:gd name="connsiteY16993" fmla="*/ 1921925 h 5704395"/>
                <a:gd name="connsiteX16994" fmla="*/ 1549345 w 5719680"/>
                <a:gd name="connsiteY16994" fmla="*/ 1963121 h 5704395"/>
                <a:gd name="connsiteX16995" fmla="*/ 1670993 w 5719680"/>
                <a:gd name="connsiteY16995" fmla="*/ 1984352 h 5704395"/>
                <a:gd name="connsiteX16996" fmla="*/ 1674487 w 5719680"/>
                <a:gd name="connsiteY16996" fmla="*/ 1942840 h 5704395"/>
                <a:gd name="connsiteX16997" fmla="*/ 1556332 w 5719680"/>
                <a:gd name="connsiteY16997" fmla="*/ 1921925 h 5704395"/>
                <a:gd name="connsiteX16998" fmla="*/ 2087709 w 5719680"/>
                <a:gd name="connsiteY16998" fmla="*/ 1919390 h 5704395"/>
                <a:gd name="connsiteX16999" fmla="*/ 2083580 w 5719680"/>
                <a:gd name="connsiteY16999" fmla="*/ 1959318 h 5704395"/>
                <a:gd name="connsiteX17000" fmla="*/ 2128046 w 5719680"/>
                <a:gd name="connsiteY17000" fmla="*/ 1964071 h 5704395"/>
                <a:gd name="connsiteX17001" fmla="*/ 2131858 w 5719680"/>
                <a:gd name="connsiteY17001" fmla="*/ 1924144 h 5704395"/>
                <a:gd name="connsiteX17002" fmla="*/ 2087709 w 5719680"/>
                <a:gd name="connsiteY17002" fmla="*/ 1919390 h 5704395"/>
                <a:gd name="connsiteX17003" fmla="*/ 781660 w 5719680"/>
                <a:gd name="connsiteY17003" fmla="*/ 1917489 h 5704395"/>
                <a:gd name="connsiteX17004" fmla="*/ 754345 w 5719680"/>
                <a:gd name="connsiteY17004" fmla="*/ 1957734 h 5704395"/>
                <a:gd name="connsiteX17005" fmla="*/ 768003 w 5719680"/>
                <a:gd name="connsiteY17005" fmla="*/ 2005584 h 5704395"/>
                <a:gd name="connsiteX17006" fmla="*/ 895685 w 5719680"/>
                <a:gd name="connsiteY17006" fmla="*/ 2068328 h 5704395"/>
                <a:gd name="connsiteX17007" fmla="*/ 928718 w 5719680"/>
                <a:gd name="connsiteY17007" fmla="*/ 2002732 h 5704395"/>
                <a:gd name="connsiteX17008" fmla="*/ 966514 w 5719680"/>
                <a:gd name="connsiteY17008" fmla="*/ 2021111 h 5704395"/>
                <a:gd name="connsiteX17009" fmla="*/ 965561 w 5719680"/>
                <a:gd name="connsiteY17009" fmla="*/ 2023013 h 5704395"/>
                <a:gd name="connsiteX17010" fmla="*/ 933164 w 5719680"/>
                <a:gd name="connsiteY17010" fmla="*/ 2086707 h 5704395"/>
                <a:gd name="connsiteX17011" fmla="*/ 940787 w 5719680"/>
                <a:gd name="connsiteY17011" fmla="*/ 2090510 h 5704395"/>
                <a:gd name="connsiteX17012" fmla="*/ 943011 w 5719680"/>
                <a:gd name="connsiteY17012" fmla="*/ 2085123 h 5704395"/>
                <a:gd name="connsiteX17013" fmla="*/ 979219 w 5719680"/>
                <a:gd name="connsiteY17013" fmla="*/ 2009069 h 5704395"/>
                <a:gd name="connsiteX17014" fmla="*/ 882663 w 5719680"/>
                <a:gd name="connsiteY17014" fmla="*/ 1964071 h 5704395"/>
                <a:gd name="connsiteX17015" fmla="*/ 781660 w 5719680"/>
                <a:gd name="connsiteY17015" fmla="*/ 1917489 h 5704395"/>
                <a:gd name="connsiteX17016" fmla="*/ 2041654 w 5719680"/>
                <a:gd name="connsiteY17016" fmla="*/ 1914637 h 5704395"/>
                <a:gd name="connsiteX17017" fmla="*/ 2037525 w 5719680"/>
                <a:gd name="connsiteY17017" fmla="*/ 1954565 h 5704395"/>
                <a:gd name="connsiteX17018" fmla="*/ 2079133 w 5719680"/>
                <a:gd name="connsiteY17018" fmla="*/ 1959001 h 5704395"/>
                <a:gd name="connsiteX17019" fmla="*/ 2083262 w 5719680"/>
                <a:gd name="connsiteY17019" fmla="*/ 1919073 h 5704395"/>
                <a:gd name="connsiteX17020" fmla="*/ 2041654 w 5719680"/>
                <a:gd name="connsiteY17020" fmla="*/ 1914637 h 5704395"/>
                <a:gd name="connsiteX17021" fmla="*/ 484051 w 5719680"/>
                <a:gd name="connsiteY17021" fmla="*/ 1911468 h 5704395"/>
                <a:gd name="connsiteX17022" fmla="*/ 467535 w 5719680"/>
                <a:gd name="connsiteY17022" fmla="*/ 1940622 h 5704395"/>
                <a:gd name="connsiteX17023" fmla="*/ 503744 w 5719680"/>
                <a:gd name="connsiteY17023" fmla="*/ 1961536 h 5704395"/>
                <a:gd name="connsiteX17024" fmla="*/ 520260 w 5719680"/>
                <a:gd name="connsiteY17024" fmla="*/ 1932383 h 5704395"/>
                <a:gd name="connsiteX17025" fmla="*/ 1995599 w 5719680"/>
                <a:gd name="connsiteY17025" fmla="*/ 1909567 h 5704395"/>
                <a:gd name="connsiteX17026" fmla="*/ 1991788 w 5719680"/>
                <a:gd name="connsiteY17026" fmla="*/ 1949495 h 5704395"/>
                <a:gd name="connsiteX17027" fmla="*/ 2033078 w 5719680"/>
                <a:gd name="connsiteY17027" fmla="*/ 1953931 h 5704395"/>
                <a:gd name="connsiteX17028" fmla="*/ 2037207 w 5719680"/>
                <a:gd name="connsiteY17028" fmla="*/ 1914003 h 5704395"/>
                <a:gd name="connsiteX17029" fmla="*/ 1995599 w 5719680"/>
                <a:gd name="connsiteY17029" fmla="*/ 1909567 h 5704395"/>
                <a:gd name="connsiteX17030" fmla="*/ 1111348 w 5719680"/>
                <a:gd name="connsiteY17030" fmla="*/ 1907665 h 5704395"/>
                <a:gd name="connsiteX17031" fmla="*/ 1093562 w 5719680"/>
                <a:gd name="connsiteY17031" fmla="*/ 1944424 h 5704395"/>
                <a:gd name="connsiteX17032" fmla="*/ 1133264 w 5719680"/>
                <a:gd name="connsiteY17032" fmla="*/ 1957100 h 5704395"/>
                <a:gd name="connsiteX17033" fmla="*/ 1148192 w 5719680"/>
                <a:gd name="connsiteY17033" fmla="*/ 1918756 h 5704395"/>
                <a:gd name="connsiteX17034" fmla="*/ 1947956 w 5719680"/>
                <a:gd name="connsiteY17034" fmla="*/ 1904496 h 5704395"/>
                <a:gd name="connsiteX17035" fmla="*/ 1943827 w 5719680"/>
                <a:gd name="connsiteY17035" fmla="*/ 1944424 h 5704395"/>
                <a:gd name="connsiteX17036" fmla="*/ 1987341 w 5719680"/>
                <a:gd name="connsiteY17036" fmla="*/ 1949178 h 5704395"/>
                <a:gd name="connsiteX17037" fmla="*/ 1991152 w 5719680"/>
                <a:gd name="connsiteY17037" fmla="*/ 1909250 h 5704395"/>
                <a:gd name="connsiteX17038" fmla="*/ 1947956 w 5719680"/>
                <a:gd name="connsiteY17038" fmla="*/ 1904496 h 5704395"/>
                <a:gd name="connsiteX17039" fmla="*/ 1109125 w 5719680"/>
                <a:gd name="connsiteY17039" fmla="*/ 1902278 h 5704395"/>
                <a:gd name="connsiteX17040" fmla="*/ 1154545 w 5719680"/>
                <a:gd name="connsiteY17040" fmla="*/ 1915588 h 5704395"/>
                <a:gd name="connsiteX17041" fmla="*/ 1153592 w 5719680"/>
                <a:gd name="connsiteY17041" fmla="*/ 1918123 h 5704395"/>
                <a:gd name="connsiteX17042" fmla="*/ 1135805 w 5719680"/>
                <a:gd name="connsiteY17042" fmla="*/ 1962804 h 5704395"/>
                <a:gd name="connsiteX17043" fmla="*/ 1086892 w 5719680"/>
                <a:gd name="connsiteY17043" fmla="*/ 1947276 h 5704395"/>
                <a:gd name="connsiteX17044" fmla="*/ 1468670 w 5719680"/>
                <a:gd name="connsiteY17044" fmla="*/ 1901328 h 5704395"/>
                <a:gd name="connsiteX17045" fmla="*/ 1448024 w 5719680"/>
                <a:gd name="connsiteY17045" fmla="*/ 2011604 h 5704395"/>
                <a:gd name="connsiteX17046" fmla="*/ 1463588 w 5719680"/>
                <a:gd name="connsiteY17046" fmla="*/ 2013823 h 5704395"/>
                <a:gd name="connsiteX17047" fmla="*/ 1485821 w 5719680"/>
                <a:gd name="connsiteY17047" fmla="*/ 1904496 h 5704395"/>
                <a:gd name="connsiteX17048" fmla="*/ 1468670 w 5719680"/>
                <a:gd name="connsiteY17048" fmla="*/ 1901328 h 5704395"/>
                <a:gd name="connsiteX17049" fmla="*/ 1907619 w 5719680"/>
                <a:gd name="connsiteY17049" fmla="*/ 1900060 h 5704395"/>
                <a:gd name="connsiteX17050" fmla="*/ 1902855 w 5719680"/>
                <a:gd name="connsiteY17050" fmla="*/ 1939988 h 5704395"/>
                <a:gd name="connsiteX17051" fmla="*/ 1939381 w 5719680"/>
                <a:gd name="connsiteY17051" fmla="*/ 1944107 h 5704395"/>
                <a:gd name="connsiteX17052" fmla="*/ 1943510 w 5719680"/>
                <a:gd name="connsiteY17052" fmla="*/ 1903863 h 5704395"/>
                <a:gd name="connsiteX17053" fmla="*/ 1907619 w 5719680"/>
                <a:gd name="connsiteY17053" fmla="*/ 1900060 h 5704395"/>
                <a:gd name="connsiteX17054" fmla="*/ 132447 w 5719680"/>
                <a:gd name="connsiteY17054" fmla="*/ 1898159 h 5704395"/>
                <a:gd name="connsiteX17055" fmla="*/ 121013 w 5719680"/>
                <a:gd name="connsiteY17055" fmla="*/ 1919073 h 5704395"/>
                <a:gd name="connsiteX17056" fmla="*/ 157539 w 5719680"/>
                <a:gd name="connsiteY17056" fmla="*/ 1939037 h 5704395"/>
                <a:gd name="connsiteX17057" fmla="*/ 168656 w 5719680"/>
                <a:gd name="connsiteY17057" fmla="*/ 1918756 h 5704395"/>
                <a:gd name="connsiteX17058" fmla="*/ 1508372 w 5719680"/>
                <a:gd name="connsiteY17058" fmla="*/ 1897525 h 5704395"/>
                <a:gd name="connsiteX17059" fmla="*/ 1497573 w 5719680"/>
                <a:gd name="connsiteY17059" fmla="*/ 1951396 h 5704395"/>
                <a:gd name="connsiteX17060" fmla="*/ 1493762 w 5719680"/>
                <a:gd name="connsiteY17060" fmla="*/ 1970092 h 5704395"/>
                <a:gd name="connsiteX17061" fmla="*/ 1669722 w 5719680"/>
                <a:gd name="connsiteY17061" fmla="*/ 1998295 h 5704395"/>
                <a:gd name="connsiteX17062" fmla="*/ 1670675 w 5719680"/>
                <a:gd name="connsiteY17062" fmla="*/ 1988472 h 5704395"/>
                <a:gd name="connsiteX17063" fmla="*/ 1544581 w 5719680"/>
                <a:gd name="connsiteY17063" fmla="*/ 1966290 h 5704395"/>
                <a:gd name="connsiteX17064" fmla="*/ 1552839 w 5719680"/>
                <a:gd name="connsiteY17064" fmla="*/ 1917172 h 5704395"/>
                <a:gd name="connsiteX17065" fmla="*/ 1554744 w 5719680"/>
                <a:gd name="connsiteY17065" fmla="*/ 1917489 h 5704395"/>
                <a:gd name="connsiteX17066" fmla="*/ 1674804 w 5719680"/>
                <a:gd name="connsiteY17066" fmla="*/ 1938720 h 5704395"/>
                <a:gd name="connsiteX17067" fmla="*/ 1675757 w 5719680"/>
                <a:gd name="connsiteY17067" fmla="*/ 1928580 h 5704395"/>
                <a:gd name="connsiteX17068" fmla="*/ 1508372 w 5719680"/>
                <a:gd name="connsiteY17068" fmla="*/ 1897525 h 5704395"/>
                <a:gd name="connsiteX17069" fmla="*/ 545034 w 5719680"/>
                <a:gd name="connsiteY17069" fmla="*/ 1897208 h 5704395"/>
                <a:gd name="connsiteX17070" fmla="*/ 525977 w 5719680"/>
                <a:gd name="connsiteY17070" fmla="*/ 1930481 h 5704395"/>
                <a:gd name="connsiteX17071" fmla="*/ 542811 w 5719680"/>
                <a:gd name="connsiteY17071" fmla="*/ 1939988 h 5704395"/>
                <a:gd name="connsiteX17072" fmla="*/ 561550 w 5719680"/>
                <a:gd name="connsiteY17072" fmla="*/ 1906398 h 5704395"/>
                <a:gd name="connsiteX17073" fmla="*/ 545034 w 5719680"/>
                <a:gd name="connsiteY17073" fmla="*/ 1897208 h 5704395"/>
                <a:gd name="connsiteX17074" fmla="*/ 1423885 w 5719680"/>
                <a:gd name="connsiteY17074" fmla="*/ 1893089 h 5704395"/>
                <a:gd name="connsiteX17075" fmla="*/ 1403240 w 5719680"/>
                <a:gd name="connsiteY17075" fmla="*/ 2004950 h 5704395"/>
                <a:gd name="connsiteX17076" fmla="*/ 1443895 w 5719680"/>
                <a:gd name="connsiteY17076" fmla="*/ 2010971 h 5704395"/>
                <a:gd name="connsiteX17077" fmla="*/ 1464541 w 5719680"/>
                <a:gd name="connsiteY17077" fmla="*/ 1900694 h 5704395"/>
                <a:gd name="connsiteX17078" fmla="*/ 1423885 w 5719680"/>
                <a:gd name="connsiteY17078" fmla="*/ 1893089 h 5704395"/>
                <a:gd name="connsiteX17079" fmla="*/ 115931 w 5719680"/>
                <a:gd name="connsiteY17079" fmla="*/ 1888652 h 5704395"/>
                <a:gd name="connsiteX17080" fmla="*/ 99415 w 5719680"/>
                <a:gd name="connsiteY17080" fmla="*/ 1918439 h 5704395"/>
                <a:gd name="connsiteX17081" fmla="*/ 269341 w 5719680"/>
                <a:gd name="connsiteY17081" fmla="*/ 2015090 h 5704395"/>
                <a:gd name="connsiteX17082" fmla="*/ 282363 w 5719680"/>
                <a:gd name="connsiteY17082" fmla="*/ 1983402 h 5704395"/>
                <a:gd name="connsiteX17083" fmla="*/ 172150 w 5719680"/>
                <a:gd name="connsiteY17083" fmla="*/ 1920658 h 5704395"/>
                <a:gd name="connsiteX17084" fmla="*/ 159127 w 5719680"/>
                <a:gd name="connsiteY17084" fmla="*/ 1944741 h 5704395"/>
                <a:gd name="connsiteX17085" fmla="*/ 115296 w 5719680"/>
                <a:gd name="connsiteY17085" fmla="*/ 1920975 h 5704395"/>
                <a:gd name="connsiteX17086" fmla="*/ 128953 w 5719680"/>
                <a:gd name="connsiteY17086" fmla="*/ 1895941 h 5704395"/>
                <a:gd name="connsiteX17087" fmla="*/ 115931 w 5719680"/>
                <a:gd name="connsiteY17087" fmla="*/ 1888652 h 5704395"/>
                <a:gd name="connsiteX17088" fmla="*/ 1032261 w 5719680"/>
                <a:gd name="connsiteY17088" fmla="*/ 1887385 h 5704395"/>
                <a:gd name="connsiteX17089" fmla="*/ 1004946 w 5719680"/>
                <a:gd name="connsiteY17089" fmla="*/ 1940622 h 5704395"/>
                <a:gd name="connsiteX17090" fmla="*/ 1011934 w 5719680"/>
                <a:gd name="connsiteY17090" fmla="*/ 1943791 h 5704395"/>
                <a:gd name="connsiteX17091" fmla="*/ 1038931 w 5719680"/>
                <a:gd name="connsiteY17091" fmla="*/ 1890870 h 5704395"/>
                <a:gd name="connsiteX17092" fmla="*/ 1032261 w 5719680"/>
                <a:gd name="connsiteY17092" fmla="*/ 1887385 h 5704395"/>
                <a:gd name="connsiteX17093" fmla="*/ 190889 w 5719680"/>
                <a:gd name="connsiteY17093" fmla="*/ 1886434 h 5704395"/>
                <a:gd name="connsiteX17094" fmla="*/ 174373 w 5719680"/>
                <a:gd name="connsiteY17094" fmla="*/ 1916855 h 5704395"/>
                <a:gd name="connsiteX17095" fmla="*/ 284269 w 5719680"/>
                <a:gd name="connsiteY17095" fmla="*/ 1979599 h 5704395"/>
                <a:gd name="connsiteX17096" fmla="*/ 297609 w 5719680"/>
                <a:gd name="connsiteY17096" fmla="*/ 1947276 h 5704395"/>
                <a:gd name="connsiteX17097" fmla="*/ 190889 w 5719680"/>
                <a:gd name="connsiteY17097" fmla="*/ 1886434 h 5704395"/>
                <a:gd name="connsiteX17098" fmla="*/ 806434 w 5719680"/>
                <a:gd name="connsiteY17098" fmla="*/ 1885166 h 5704395"/>
                <a:gd name="connsiteX17099" fmla="*/ 795635 w 5719680"/>
                <a:gd name="connsiteY17099" fmla="*/ 1897842 h 5704395"/>
                <a:gd name="connsiteX17100" fmla="*/ 784201 w 5719680"/>
                <a:gd name="connsiteY17100" fmla="*/ 1913686 h 5704395"/>
                <a:gd name="connsiteX17101" fmla="*/ 884569 w 5719680"/>
                <a:gd name="connsiteY17101" fmla="*/ 1959952 h 5704395"/>
                <a:gd name="connsiteX17102" fmla="*/ 981442 w 5719680"/>
                <a:gd name="connsiteY17102" fmla="*/ 2004950 h 5704395"/>
                <a:gd name="connsiteX17103" fmla="*/ 1010028 w 5719680"/>
                <a:gd name="connsiteY17103" fmla="*/ 1947593 h 5704395"/>
                <a:gd name="connsiteX17104" fmla="*/ 1003041 w 5719680"/>
                <a:gd name="connsiteY17104" fmla="*/ 1944741 h 5704395"/>
                <a:gd name="connsiteX17105" fmla="*/ 991289 w 5719680"/>
                <a:gd name="connsiteY17105" fmla="*/ 1967557 h 5704395"/>
                <a:gd name="connsiteX17106" fmla="*/ 954127 w 5719680"/>
                <a:gd name="connsiteY17106" fmla="*/ 1949495 h 5704395"/>
                <a:gd name="connsiteX17107" fmla="*/ 964926 w 5719680"/>
                <a:gd name="connsiteY17107" fmla="*/ 1927629 h 5704395"/>
                <a:gd name="connsiteX17108" fmla="*/ 948728 w 5719680"/>
                <a:gd name="connsiteY17108" fmla="*/ 1920658 h 5704395"/>
                <a:gd name="connsiteX17109" fmla="*/ 916966 w 5719680"/>
                <a:gd name="connsiteY17109" fmla="*/ 1929848 h 5704395"/>
                <a:gd name="connsiteX17110" fmla="*/ 356686 w 5719680"/>
                <a:gd name="connsiteY17110" fmla="*/ 1882948 h 5704395"/>
                <a:gd name="connsiteX17111" fmla="*/ 345252 w 5719680"/>
                <a:gd name="connsiteY17111" fmla="*/ 1918756 h 5704395"/>
                <a:gd name="connsiteX17112" fmla="*/ 343346 w 5719680"/>
                <a:gd name="connsiteY17112" fmla="*/ 1919707 h 5704395"/>
                <a:gd name="connsiteX17113" fmla="*/ 442443 w 5719680"/>
                <a:gd name="connsiteY17113" fmla="*/ 1976113 h 5704395"/>
                <a:gd name="connsiteX17114" fmla="*/ 461500 w 5719680"/>
                <a:gd name="connsiteY17114" fmla="*/ 1942523 h 5704395"/>
                <a:gd name="connsiteX17115" fmla="*/ 1095150 w 5719680"/>
                <a:gd name="connsiteY17115" fmla="*/ 1876610 h 5704395"/>
                <a:gd name="connsiteX17116" fmla="*/ 1082128 w 5719680"/>
                <a:gd name="connsiteY17116" fmla="*/ 1907982 h 5704395"/>
                <a:gd name="connsiteX17117" fmla="*/ 1073869 w 5719680"/>
                <a:gd name="connsiteY17117" fmla="*/ 1909884 h 5704395"/>
                <a:gd name="connsiteX17118" fmla="*/ 1056400 w 5719680"/>
                <a:gd name="connsiteY17118" fmla="*/ 1939671 h 5704395"/>
                <a:gd name="connsiteX17119" fmla="*/ 1068470 w 5719680"/>
                <a:gd name="connsiteY17119" fmla="*/ 1943791 h 5704395"/>
                <a:gd name="connsiteX17120" fmla="*/ 1066882 w 5719680"/>
                <a:gd name="connsiteY17120" fmla="*/ 1952663 h 5704395"/>
                <a:gd name="connsiteX17121" fmla="*/ 1194247 w 5719680"/>
                <a:gd name="connsiteY17121" fmla="*/ 2009703 h 5704395"/>
                <a:gd name="connsiteX17122" fmla="*/ 1203458 w 5719680"/>
                <a:gd name="connsiteY17122" fmla="*/ 1985620 h 5704395"/>
                <a:gd name="connsiteX17123" fmla="*/ 1176778 w 5719680"/>
                <a:gd name="connsiteY17123" fmla="*/ 1951396 h 5704395"/>
                <a:gd name="connsiteX17124" fmla="*/ 1204728 w 5719680"/>
                <a:gd name="connsiteY17124" fmla="*/ 1937453 h 5704395"/>
                <a:gd name="connsiteX17125" fmla="*/ 1217433 w 5719680"/>
                <a:gd name="connsiteY17125" fmla="*/ 1910517 h 5704395"/>
                <a:gd name="connsiteX17126" fmla="*/ 1095150 w 5719680"/>
                <a:gd name="connsiteY17126" fmla="*/ 1876610 h 5704395"/>
                <a:gd name="connsiteX17127" fmla="*/ 609193 w 5719680"/>
                <a:gd name="connsiteY17127" fmla="*/ 1876610 h 5704395"/>
                <a:gd name="connsiteX17128" fmla="*/ 586642 w 5719680"/>
                <a:gd name="connsiteY17128" fmla="*/ 1921608 h 5704395"/>
                <a:gd name="connsiteX17129" fmla="*/ 613957 w 5719680"/>
                <a:gd name="connsiteY17129" fmla="*/ 1941889 h 5704395"/>
                <a:gd name="connsiteX17130" fmla="*/ 639685 w 5719680"/>
                <a:gd name="connsiteY17130" fmla="*/ 1891187 h 5704395"/>
                <a:gd name="connsiteX17131" fmla="*/ 609193 w 5719680"/>
                <a:gd name="connsiteY17131" fmla="*/ 1876610 h 5704395"/>
                <a:gd name="connsiteX17132" fmla="*/ 505332 w 5719680"/>
                <a:gd name="connsiteY17132" fmla="*/ 1874392 h 5704395"/>
                <a:gd name="connsiteX17133" fmla="*/ 486275 w 5719680"/>
                <a:gd name="connsiteY17133" fmla="*/ 1907665 h 5704395"/>
                <a:gd name="connsiteX17134" fmla="*/ 522483 w 5719680"/>
                <a:gd name="connsiteY17134" fmla="*/ 1928263 h 5704395"/>
                <a:gd name="connsiteX17135" fmla="*/ 541540 w 5719680"/>
                <a:gd name="connsiteY17135" fmla="*/ 1894990 h 5704395"/>
                <a:gd name="connsiteX17136" fmla="*/ 1092291 w 5719680"/>
                <a:gd name="connsiteY17136" fmla="*/ 1870906 h 5704395"/>
                <a:gd name="connsiteX17137" fmla="*/ 1224103 w 5719680"/>
                <a:gd name="connsiteY17137" fmla="*/ 1907348 h 5704395"/>
                <a:gd name="connsiteX17138" fmla="*/ 1222833 w 5719680"/>
                <a:gd name="connsiteY17138" fmla="*/ 1909884 h 5704395"/>
                <a:gd name="connsiteX17139" fmla="*/ 1208222 w 5719680"/>
                <a:gd name="connsiteY17139" fmla="*/ 1940939 h 5704395"/>
                <a:gd name="connsiteX17140" fmla="*/ 1184083 w 5719680"/>
                <a:gd name="connsiteY17140" fmla="*/ 1952980 h 5704395"/>
                <a:gd name="connsiteX17141" fmla="*/ 1208857 w 5719680"/>
                <a:gd name="connsiteY17141" fmla="*/ 1984669 h 5704395"/>
                <a:gd name="connsiteX17142" fmla="*/ 1196788 w 5719680"/>
                <a:gd name="connsiteY17142" fmla="*/ 2016041 h 5704395"/>
                <a:gd name="connsiteX17143" fmla="*/ 1061800 w 5719680"/>
                <a:gd name="connsiteY17143" fmla="*/ 1955515 h 5704395"/>
                <a:gd name="connsiteX17144" fmla="*/ 1063070 w 5719680"/>
                <a:gd name="connsiteY17144" fmla="*/ 1946959 h 5704395"/>
                <a:gd name="connsiteX17145" fmla="*/ 1049413 w 5719680"/>
                <a:gd name="connsiteY17145" fmla="*/ 1942206 h 5704395"/>
                <a:gd name="connsiteX17146" fmla="*/ 1070693 w 5719680"/>
                <a:gd name="connsiteY17146" fmla="*/ 1905764 h 5704395"/>
                <a:gd name="connsiteX17147" fmla="*/ 1078951 w 5719680"/>
                <a:gd name="connsiteY17147" fmla="*/ 1903863 h 5704395"/>
                <a:gd name="connsiteX17148" fmla="*/ 1092291 w 5719680"/>
                <a:gd name="connsiteY17148" fmla="*/ 1870906 h 5704395"/>
                <a:gd name="connsiteX17149" fmla="*/ 998276 w 5719680"/>
                <a:gd name="connsiteY17149" fmla="*/ 1870589 h 5704395"/>
                <a:gd name="connsiteX17150" fmla="*/ 970643 w 5719680"/>
                <a:gd name="connsiteY17150" fmla="*/ 1925411 h 5704395"/>
                <a:gd name="connsiteX17151" fmla="*/ 1001135 w 5719680"/>
                <a:gd name="connsiteY17151" fmla="*/ 1939037 h 5704395"/>
                <a:gd name="connsiteX17152" fmla="*/ 1028450 w 5719680"/>
                <a:gd name="connsiteY17152" fmla="*/ 1885483 h 5704395"/>
                <a:gd name="connsiteX17153" fmla="*/ 998276 w 5719680"/>
                <a:gd name="connsiteY17153" fmla="*/ 1870589 h 5704395"/>
                <a:gd name="connsiteX17154" fmla="*/ 151187 w 5719680"/>
                <a:gd name="connsiteY17154" fmla="*/ 1863935 h 5704395"/>
                <a:gd name="connsiteX17155" fmla="*/ 134671 w 5719680"/>
                <a:gd name="connsiteY17155" fmla="*/ 1894356 h 5704395"/>
                <a:gd name="connsiteX17156" fmla="*/ 170879 w 5719680"/>
                <a:gd name="connsiteY17156" fmla="*/ 1914954 h 5704395"/>
                <a:gd name="connsiteX17157" fmla="*/ 187395 w 5719680"/>
                <a:gd name="connsiteY17157" fmla="*/ 1884532 h 5704395"/>
                <a:gd name="connsiteX17158" fmla="*/ 151187 w 5719680"/>
                <a:gd name="connsiteY17158" fmla="*/ 1863935 h 5704395"/>
                <a:gd name="connsiteX17159" fmla="*/ 564409 w 5719680"/>
                <a:gd name="connsiteY17159" fmla="*/ 1863301 h 5704395"/>
                <a:gd name="connsiteX17160" fmla="*/ 547257 w 5719680"/>
                <a:gd name="connsiteY17160" fmla="*/ 1893089 h 5704395"/>
                <a:gd name="connsiteX17161" fmla="*/ 563774 w 5719680"/>
                <a:gd name="connsiteY17161" fmla="*/ 1902595 h 5704395"/>
                <a:gd name="connsiteX17162" fmla="*/ 580607 w 5719680"/>
                <a:gd name="connsiteY17162" fmla="*/ 1872491 h 5704395"/>
                <a:gd name="connsiteX17163" fmla="*/ 610781 w 5719680"/>
                <a:gd name="connsiteY17163" fmla="*/ 1861717 h 5704395"/>
                <a:gd name="connsiteX17164" fmla="*/ 579972 w 5719680"/>
                <a:gd name="connsiteY17164" fmla="*/ 1916538 h 5704395"/>
                <a:gd name="connsiteX17165" fmla="*/ 583466 w 5719680"/>
                <a:gd name="connsiteY17165" fmla="*/ 1919073 h 5704395"/>
                <a:gd name="connsiteX17166" fmla="*/ 607287 w 5719680"/>
                <a:gd name="connsiteY17166" fmla="*/ 1870906 h 5704395"/>
                <a:gd name="connsiteX17167" fmla="*/ 645402 w 5719680"/>
                <a:gd name="connsiteY17167" fmla="*/ 1889286 h 5704395"/>
                <a:gd name="connsiteX17168" fmla="*/ 644449 w 5719680"/>
                <a:gd name="connsiteY17168" fmla="*/ 1891187 h 5704395"/>
                <a:gd name="connsiteX17169" fmla="*/ 617451 w 5719680"/>
                <a:gd name="connsiteY17169" fmla="*/ 1944424 h 5704395"/>
                <a:gd name="connsiteX17170" fmla="*/ 667000 w 5719680"/>
                <a:gd name="connsiteY17170" fmla="*/ 1980866 h 5704395"/>
                <a:gd name="connsiteX17171" fmla="*/ 664459 w 5719680"/>
                <a:gd name="connsiteY17171" fmla="*/ 1984669 h 5704395"/>
                <a:gd name="connsiteX17172" fmla="*/ 615546 w 5719680"/>
                <a:gd name="connsiteY17172" fmla="*/ 1948227 h 5704395"/>
                <a:gd name="connsiteX17173" fmla="*/ 595853 w 5719680"/>
                <a:gd name="connsiteY17173" fmla="*/ 1986570 h 5704395"/>
                <a:gd name="connsiteX17174" fmla="*/ 558692 w 5719680"/>
                <a:gd name="connsiteY17174" fmla="*/ 1968508 h 5704395"/>
                <a:gd name="connsiteX17175" fmla="*/ 581243 w 5719680"/>
                <a:gd name="connsiteY17175" fmla="*/ 1923193 h 5704395"/>
                <a:gd name="connsiteX17176" fmla="*/ 577749 w 5719680"/>
                <a:gd name="connsiteY17176" fmla="*/ 1920341 h 5704395"/>
                <a:gd name="connsiteX17177" fmla="*/ 548210 w 5719680"/>
                <a:gd name="connsiteY17177" fmla="*/ 1972944 h 5704395"/>
                <a:gd name="connsiteX17178" fmla="*/ 636826 w 5719680"/>
                <a:gd name="connsiteY17178" fmla="*/ 2023329 h 5704395"/>
                <a:gd name="connsiteX17179" fmla="*/ 655248 w 5719680"/>
                <a:gd name="connsiteY17179" fmla="*/ 1998295 h 5704395"/>
                <a:gd name="connsiteX17180" fmla="*/ 669541 w 5719680"/>
                <a:gd name="connsiteY17180" fmla="*/ 1977697 h 5704395"/>
                <a:gd name="connsiteX17181" fmla="*/ 674305 w 5719680"/>
                <a:gd name="connsiteY17181" fmla="*/ 1970726 h 5704395"/>
                <a:gd name="connsiteX17182" fmla="*/ 675258 w 5719680"/>
                <a:gd name="connsiteY17182" fmla="*/ 1969459 h 5704395"/>
                <a:gd name="connsiteX17183" fmla="*/ 675893 w 5719680"/>
                <a:gd name="connsiteY17183" fmla="*/ 1967874 h 5704395"/>
                <a:gd name="connsiteX17184" fmla="*/ 676846 w 5719680"/>
                <a:gd name="connsiteY17184" fmla="*/ 1966606 h 5704395"/>
                <a:gd name="connsiteX17185" fmla="*/ 681610 w 5719680"/>
                <a:gd name="connsiteY17185" fmla="*/ 1965656 h 5704395"/>
                <a:gd name="connsiteX17186" fmla="*/ 750851 w 5719680"/>
                <a:gd name="connsiteY17186" fmla="*/ 1955515 h 5704395"/>
                <a:gd name="connsiteX17187" fmla="*/ 775308 w 5719680"/>
                <a:gd name="connsiteY17187" fmla="*/ 1918756 h 5704395"/>
                <a:gd name="connsiteX17188" fmla="*/ 777214 w 5719680"/>
                <a:gd name="connsiteY17188" fmla="*/ 1916221 h 5704395"/>
                <a:gd name="connsiteX17189" fmla="*/ 676211 w 5719680"/>
                <a:gd name="connsiteY17189" fmla="*/ 1905447 h 5704395"/>
                <a:gd name="connsiteX17190" fmla="*/ 671129 w 5719680"/>
                <a:gd name="connsiteY17190" fmla="*/ 1902912 h 5704395"/>
                <a:gd name="connsiteX17191" fmla="*/ 610781 w 5719680"/>
                <a:gd name="connsiteY17191" fmla="*/ 1861717 h 5704395"/>
                <a:gd name="connsiteX17192" fmla="*/ 1004629 w 5719680"/>
                <a:gd name="connsiteY17192" fmla="*/ 1857597 h 5704395"/>
                <a:gd name="connsiteX17193" fmla="*/ 1000182 w 5719680"/>
                <a:gd name="connsiteY17193" fmla="*/ 1866470 h 5704395"/>
                <a:gd name="connsiteX17194" fmla="*/ 1030356 w 5719680"/>
                <a:gd name="connsiteY17194" fmla="*/ 1881681 h 5704395"/>
                <a:gd name="connsiteX17195" fmla="*/ 1035120 w 5719680"/>
                <a:gd name="connsiteY17195" fmla="*/ 1872174 h 5704395"/>
                <a:gd name="connsiteX17196" fmla="*/ 1004629 w 5719680"/>
                <a:gd name="connsiteY17196" fmla="*/ 1857597 h 5704395"/>
                <a:gd name="connsiteX17197" fmla="*/ 134671 w 5719680"/>
                <a:gd name="connsiteY17197" fmla="*/ 1854428 h 5704395"/>
                <a:gd name="connsiteX17198" fmla="*/ 117837 w 5719680"/>
                <a:gd name="connsiteY17198" fmla="*/ 1884849 h 5704395"/>
                <a:gd name="connsiteX17199" fmla="*/ 130859 w 5719680"/>
                <a:gd name="connsiteY17199" fmla="*/ 1892138 h 5704395"/>
                <a:gd name="connsiteX17200" fmla="*/ 147375 w 5719680"/>
                <a:gd name="connsiteY17200" fmla="*/ 1861717 h 5704395"/>
                <a:gd name="connsiteX17201" fmla="*/ 134671 w 5719680"/>
                <a:gd name="connsiteY17201" fmla="*/ 1854428 h 5704395"/>
                <a:gd name="connsiteX17202" fmla="*/ 211217 w 5719680"/>
                <a:gd name="connsiteY17202" fmla="*/ 1849675 h 5704395"/>
                <a:gd name="connsiteX17203" fmla="*/ 193112 w 5719680"/>
                <a:gd name="connsiteY17203" fmla="*/ 1882631 h 5704395"/>
                <a:gd name="connsiteX17204" fmla="*/ 299515 w 5719680"/>
                <a:gd name="connsiteY17204" fmla="*/ 1943157 h 5704395"/>
                <a:gd name="connsiteX17205" fmla="*/ 300468 w 5719680"/>
                <a:gd name="connsiteY17205" fmla="*/ 1940939 h 5704395"/>
                <a:gd name="connsiteX17206" fmla="*/ 334770 w 5719680"/>
                <a:gd name="connsiteY17206" fmla="*/ 1920024 h 5704395"/>
                <a:gd name="connsiteX17207" fmla="*/ 368756 w 5719680"/>
                <a:gd name="connsiteY17207" fmla="*/ 1845872 h 5704395"/>
                <a:gd name="connsiteX17208" fmla="*/ 358274 w 5719680"/>
                <a:gd name="connsiteY17208" fmla="*/ 1878512 h 5704395"/>
                <a:gd name="connsiteX17209" fmla="*/ 463724 w 5719680"/>
                <a:gd name="connsiteY17209" fmla="*/ 1938720 h 5704395"/>
                <a:gd name="connsiteX17210" fmla="*/ 480558 w 5719680"/>
                <a:gd name="connsiteY17210" fmla="*/ 1909567 h 5704395"/>
                <a:gd name="connsiteX17211" fmla="*/ 524389 w 5719680"/>
                <a:gd name="connsiteY17211" fmla="*/ 1840485 h 5704395"/>
                <a:gd name="connsiteX17212" fmla="*/ 507238 w 5719680"/>
                <a:gd name="connsiteY17212" fmla="*/ 1870589 h 5704395"/>
                <a:gd name="connsiteX17213" fmla="*/ 543446 w 5719680"/>
                <a:gd name="connsiteY17213" fmla="*/ 1891187 h 5704395"/>
                <a:gd name="connsiteX17214" fmla="*/ 560597 w 5719680"/>
                <a:gd name="connsiteY17214" fmla="*/ 1861083 h 5704395"/>
                <a:gd name="connsiteX17215" fmla="*/ 2432643 w 5719680"/>
                <a:gd name="connsiteY17215" fmla="*/ 1828443 h 5704395"/>
                <a:gd name="connsiteX17216" fmla="*/ 2430102 w 5719680"/>
                <a:gd name="connsiteY17216" fmla="*/ 1850942 h 5704395"/>
                <a:gd name="connsiteX17217" fmla="*/ 2372613 w 5719680"/>
                <a:gd name="connsiteY17217" fmla="*/ 1844605 h 5704395"/>
                <a:gd name="connsiteX17218" fmla="*/ 2365943 w 5719680"/>
                <a:gd name="connsiteY17218" fmla="*/ 1904813 h 5704395"/>
                <a:gd name="connsiteX17219" fmla="*/ 2392940 w 5719680"/>
                <a:gd name="connsiteY17219" fmla="*/ 1907665 h 5704395"/>
                <a:gd name="connsiteX17220" fmla="*/ 2389446 w 5719680"/>
                <a:gd name="connsiteY17220" fmla="*/ 1940305 h 5704395"/>
                <a:gd name="connsiteX17221" fmla="*/ 2427878 w 5719680"/>
                <a:gd name="connsiteY17221" fmla="*/ 1944741 h 5704395"/>
                <a:gd name="connsiteX17222" fmla="*/ 2431690 w 5719680"/>
                <a:gd name="connsiteY17222" fmla="*/ 1912736 h 5704395"/>
                <a:gd name="connsiteX17223" fmla="*/ 2527928 w 5719680"/>
                <a:gd name="connsiteY17223" fmla="*/ 1923510 h 5704395"/>
                <a:gd name="connsiteX17224" fmla="*/ 2518400 w 5719680"/>
                <a:gd name="connsiteY17224" fmla="*/ 2005267 h 5704395"/>
                <a:gd name="connsiteX17225" fmla="*/ 2544762 w 5719680"/>
                <a:gd name="connsiteY17225" fmla="*/ 2008436 h 5704395"/>
                <a:gd name="connsiteX17226" fmla="*/ 2553973 w 5719680"/>
                <a:gd name="connsiteY17226" fmla="*/ 1926045 h 5704395"/>
                <a:gd name="connsiteX17227" fmla="*/ 2573666 w 5719680"/>
                <a:gd name="connsiteY17227" fmla="*/ 1928263 h 5704395"/>
                <a:gd name="connsiteX17228" fmla="*/ 2580336 w 5719680"/>
                <a:gd name="connsiteY17228" fmla="*/ 1867737 h 5704395"/>
                <a:gd name="connsiteX17229" fmla="*/ 2537774 w 5719680"/>
                <a:gd name="connsiteY17229" fmla="*/ 1862984 h 5704395"/>
                <a:gd name="connsiteX17230" fmla="*/ 2540316 w 5719680"/>
                <a:gd name="connsiteY17230" fmla="*/ 1840485 h 5704395"/>
                <a:gd name="connsiteX17231" fmla="*/ 2432643 w 5719680"/>
                <a:gd name="connsiteY17231" fmla="*/ 1828443 h 5704395"/>
                <a:gd name="connsiteX17232" fmla="*/ 171197 w 5719680"/>
                <a:gd name="connsiteY17232" fmla="*/ 1826859 h 5704395"/>
                <a:gd name="connsiteX17233" fmla="*/ 153410 w 5719680"/>
                <a:gd name="connsiteY17233" fmla="*/ 1859815 h 5704395"/>
                <a:gd name="connsiteX17234" fmla="*/ 189619 w 5719680"/>
                <a:gd name="connsiteY17234" fmla="*/ 1880413 h 5704395"/>
                <a:gd name="connsiteX17235" fmla="*/ 207405 w 5719680"/>
                <a:gd name="connsiteY17235" fmla="*/ 1847457 h 5704395"/>
                <a:gd name="connsiteX17236" fmla="*/ 2428514 w 5719680"/>
                <a:gd name="connsiteY17236" fmla="*/ 1823373 h 5704395"/>
                <a:gd name="connsiteX17237" fmla="*/ 2545715 w 5719680"/>
                <a:gd name="connsiteY17237" fmla="*/ 1836365 h 5704395"/>
                <a:gd name="connsiteX17238" fmla="*/ 2543174 w 5719680"/>
                <a:gd name="connsiteY17238" fmla="*/ 1858865 h 5704395"/>
                <a:gd name="connsiteX17239" fmla="*/ 2585735 w 5719680"/>
                <a:gd name="connsiteY17239" fmla="*/ 1863618 h 5704395"/>
                <a:gd name="connsiteX17240" fmla="*/ 2577794 w 5719680"/>
                <a:gd name="connsiteY17240" fmla="*/ 1933333 h 5704395"/>
                <a:gd name="connsiteX17241" fmla="*/ 2558102 w 5719680"/>
                <a:gd name="connsiteY17241" fmla="*/ 1931115 h 5704395"/>
                <a:gd name="connsiteX17242" fmla="*/ 2548891 w 5719680"/>
                <a:gd name="connsiteY17242" fmla="*/ 2013506 h 5704395"/>
                <a:gd name="connsiteX17243" fmla="*/ 2513318 w 5719680"/>
                <a:gd name="connsiteY17243" fmla="*/ 2009386 h 5704395"/>
                <a:gd name="connsiteX17244" fmla="*/ 2522529 w 5719680"/>
                <a:gd name="connsiteY17244" fmla="*/ 1927629 h 5704395"/>
                <a:gd name="connsiteX17245" fmla="*/ 2435819 w 5719680"/>
                <a:gd name="connsiteY17245" fmla="*/ 1917806 h 5704395"/>
                <a:gd name="connsiteX17246" fmla="*/ 2432008 w 5719680"/>
                <a:gd name="connsiteY17246" fmla="*/ 1949811 h 5704395"/>
                <a:gd name="connsiteX17247" fmla="*/ 2384047 w 5719680"/>
                <a:gd name="connsiteY17247" fmla="*/ 1944424 h 5704395"/>
                <a:gd name="connsiteX17248" fmla="*/ 2387858 w 5719680"/>
                <a:gd name="connsiteY17248" fmla="*/ 1911785 h 5704395"/>
                <a:gd name="connsiteX17249" fmla="*/ 2360861 w 5719680"/>
                <a:gd name="connsiteY17249" fmla="*/ 1908933 h 5704395"/>
                <a:gd name="connsiteX17250" fmla="*/ 2368484 w 5719680"/>
                <a:gd name="connsiteY17250" fmla="*/ 1839218 h 5704395"/>
                <a:gd name="connsiteX17251" fmla="*/ 2370707 w 5719680"/>
                <a:gd name="connsiteY17251" fmla="*/ 1839534 h 5704395"/>
                <a:gd name="connsiteX17252" fmla="*/ 2425973 w 5719680"/>
                <a:gd name="connsiteY17252" fmla="*/ 1845872 h 5704395"/>
                <a:gd name="connsiteX17253" fmla="*/ 2428514 w 5719680"/>
                <a:gd name="connsiteY17253" fmla="*/ 1823373 h 5704395"/>
                <a:gd name="connsiteX17254" fmla="*/ 587595 w 5719680"/>
                <a:gd name="connsiteY17254" fmla="*/ 1822423 h 5704395"/>
                <a:gd name="connsiteX17255" fmla="*/ 566315 w 5719680"/>
                <a:gd name="connsiteY17255" fmla="*/ 1859498 h 5704395"/>
                <a:gd name="connsiteX17256" fmla="*/ 582831 w 5719680"/>
                <a:gd name="connsiteY17256" fmla="*/ 1868688 h 5704395"/>
                <a:gd name="connsiteX17257" fmla="*/ 603794 w 5719680"/>
                <a:gd name="connsiteY17257" fmla="*/ 1831612 h 5704395"/>
                <a:gd name="connsiteX17258" fmla="*/ 587595 w 5719680"/>
                <a:gd name="connsiteY17258" fmla="*/ 1822423 h 5704395"/>
                <a:gd name="connsiteX17259" fmla="*/ 1630973 w 5719680"/>
                <a:gd name="connsiteY17259" fmla="*/ 1821472 h 5704395"/>
                <a:gd name="connsiteX17260" fmla="*/ 1625891 w 5719680"/>
                <a:gd name="connsiteY17260" fmla="*/ 1851576 h 5704395"/>
                <a:gd name="connsiteX17261" fmla="*/ 1643678 w 5719680"/>
                <a:gd name="connsiteY17261" fmla="*/ 1855379 h 5704395"/>
                <a:gd name="connsiteX17262" fmla="*/ 1639231 w 5719680"/>
                <a:gd name="connsiteY17262" fmla="*/ 1877878 h 5704395"/>
                <a:gd name="connsiteX17263" fmla="*/ 1665276 w 5719680"/>
                <a:gd name="connsiteY17263" fmla="*/ 1882948 h 5704395"/>
                <a:gd name="connsiteX17264" fmla="*/ 1675122 w 5719680"/>
                <a:gd name="connsiteY17264" fmla="*/ 1833514 h 5704395"/>
                <a:gd name="connsiteX17265" fmla="*/ 1658606 w 5719680"/>
                <a:gd name="connsiteY17265" fmla="*/ 1830345 h 5704395"/>
                <a:gd name="connsiteX17266" fmla="*/ 1659241 w 5719680"/>
                <a:gd name="connsiteY17266" fmla="*/ 1827176 h 5704395"/>
                <a:gd name="connsiteX17267" fmla="*/ 1630973 w 5719680"/>
                <a:gd name="connsiteY17267" fmla="*/ 1821472 h 5704395"/>
                <a:gd name="connsiteX17268" fmla="*/ 1024956 w 5719680"/>
                <a:gd name="connsiteY17268" fmla="*/ 1819887 h 5704395"/>
                <a:gd name="connsiteX17269" fmla="*/ 1021780 w 5719680"/>
                <a:gd name="connsiteY17269" fmla="*/ 1826225 h 5704395"/>
                <a:gd name="connsiteX17270" fmla="*/ 1051636 w 5719680"/>
                <a:gd name="connsiteY17270" fmla="*/ 1840802 h 5704395"/>
                <a:gd name="connsiteX17271" fmla="*/ 1054812 w 5719680"/>
                <a:gd name="connsiteY17271" fmla="*/ 1834781 h 5704395"/>
                <a:gd name="connsiteX17272" fmla="*/ 1024956 w 5719680"/>
                <a:gd name="connsiteY17272" fmla="*/ 1819887 h 5704395"/>
                <a:gd name="connsiteX17273" fmla="*/ 154681 w 5719680"/>
                <a:gd name="connsiteY17273" fmla="*/ 1817352 h 5704395"/>
                <a:gd name="connsiteX17274" fmla="*/ 136576 w 5719680"/>
                <a:gd name="connsiteY17274" fmla="*/ 1850625 h 5704395"/>
                <a:gd name="connsiteX17275" fmla="*/ 149599 w 5719680"/>
                <a:gd name="connsiteY17275" fmla="*/ 1857914 h 5704395"/>
                <a:gd name="connsiteX17276" fmla="*/ 167703 w 5719680"/>
                <a:gd name="connsiteY17276" fmla="*/ 1824958 h 5704395"/>
                <a:gd name="connsiteX17277" fmla="*/ 154681 w 5719680"/>
                <a:gd name="connsiteY17277" fmla="*/ 1817352 h 5704395"/>
                <a:gd name="connsiteX17278" fmla="*/ 1125006 w 5719680"/>
                <a:gd name="connsiteY17278" fmla="*/ 1817035 h 5704395"/>
                <a:gd name="connsiteX17279" fmla="*/ 1114842 w 5719680"/>
                <a:gd name="connsiteY17279" fmla="*/ 1838267 h 5704395"/>
                <a:gd name="connsiteX17280" fmla="*/ 1181860 w 5719680"/>
                <a:gd name="connsiteY17280" fmla="*/ 1855696 h 5704395"/>
                <a:gd name="connsiteX17281" fmla="*/ 1184401 w 5719680"/>
                <a:gd name="connsiteY17281" fmla="*/ 1846506 h 5704395"/>
                <a:gd name="connsiteX17282" fmla="*/ 1227279 w 5719680"/>
                <a:gd name="connsiteY17282" fmla="*/ 1856330 h 5704395"/>
                <a:gd name="connsiteX17283" fmla="*/ 1225056 w 5719680"/>
                <a:gd name="connsiteY17283" fmla="*/ 1839851 h 5704395"/>
                <a:gd name="connsiteX17284" fmla="*/ 1125006 w 5719680"/>
                <a:gd name="connsiteY17284" fmla="*/ 1817035 h 5704395"/>
                <a:gd name="connsiteX17285" fmla="*/ 1627479 w 5719680"/>
                <a:gd name="connsiteY17285" fmla="*/ 1816719 h 5704395"/>
                <a:gd name="connsiteX17286" fmla="*/ 1664323 w 5719680"/>
                <a:gd name="connsiteY17286" fmla="*/ 1824007 h 5704395"/>
                <a:gd name="connsiteX17287" fmla="*/ 1663688 w 5719680"/>
                <a:gd name="connsiteY17287" fmla="*/ 1827176 h 5704395"/>
                <a:gd name="connsiteX17288" fmla="*/ 1679886 w 5719680"/>
                <a:gd name="connsiteY17288" fmla="*/ 1830345 h 5704395"/>
                <a:gd name="connsiteX17289" fmla="*/ 1668452 w 5719680"/>
                <a:gd name="connsiteY17289" fmla="*/ 1888018 h 5704395"/>
                <a:gd name="connsiteX17290" fmla="*/ 1634149 w 5719680"/>
                <a:gd name="connsiteY17290" fmla="*/ 1881364 h 5704395"/>
                <a:gd name="connsiteX17291" fmla="*/ 1638913 w 5719680"/>
                <a:gd name="connsiteY17291" fmla="*/ 1858548 h 5704395"/>
                <a:gd name="connsiteX17292" fmla="*/ 1620809 w 5719680"/>
                <a:gd name="connsiteY17292" fmla="*/ 1855062 h 5704395"/>
                <a:gd name="connsiteX17293" fmla="*/ 1621444 w 5719680"/>
                <a:gd name="connsiteY17293" fmla="*/ 1852844 h 5704395"/>
                <a:gd name="connsiteX17294" fmla="*/ 1627479 w 5719680"/>
                <a:gd name="connsiteY17294" fmla="*/ 1816719 h 5704395"/>
                <a:gd name="connsiteX17295" fmla="*/ 1822815 w 5719680"/>
                <a:gd name="connsiteY17295" fmla="*/ 1812599 h 5704395"/>
                <a:gd name="connsiteX17296" fmla="*/ 1800581 w 5719680"/>
                <a:gd name="connsiteY17296" fmla="*/ 1832563 h 5704395"/>
                <a:gd name="connsiteX17297" fmla="*/ 1830438 w 5719680"/>
                <a:gd name="connsiteY17297" fmla="*/ 1865836 h 5704395"/>
                <a:gd name="connsiteX17298" fmla="*/ 1863788 w 5719680"/>
                <a:gd name="connsiteY17298" fmla="*/ 1836049 h 5704395"/>
                <a:gd name="connsiteX17299" fmla="*/ 1845366 w 5719680"/>
                <a:gd name="connsiteY17299" fmla="*/ 1815451 h 5704395"/>
                <a:gd name="connsiteX17300" fmla="*/ 1822815 w 5719680"/>
                <a:gd name="connsiteY17300" fmla="*/ 1812599 h 5704395"/>
                <a:gd name="connsiteX17301" fmla="*/ 1122465 w 5719680"/>
                <a:gd name="connsiteY17301" fmla="*/ 1811648 h 5704395"/>
                <a:gd name="connsiteX17302" fmla="*/ 1229185 w 5719680"/>
                <a:gd name="connsiteY17302" fmla="*/ 1836049 h 5704395"/>
                <a:gd name="connsiteX17303" fmla="*/ 1229503 w 5719680"/>
                <a:gd name="connsiteY17303" fmla="*/ 1837633 h 5704395"/>
                <a:gd name="connsiteX17304" fmla="*/ 1232997 w 5719680"/>
                <a:gd name="connsiteY17304" fmla="*/ 1862350 h 5704395"/>
                <a:gd name="connsiteX17305" fmla="*/ 1187577 w 5719680"/>
                <a:gd name="connsiteY17305" fmla="*/ 1852210 h 5704395"/>
                <a:gd name="connsiteX17306" fmla="*/ 1185354 w 5719680"/>
                <a:gd name="connsiteY17306" fmla="*/ 1861400 h 5704395"/>
                <a:gd name="connsiteX17307" fmla="*/ 1108172 w 5719680"/>
                <a:gd name="connsiteY17307" fmla="*/ 1841119 h 5704395"/>
                <a:gd name="connsiteX17308" fmla="*/ 1122465 w 5719680"/>
                <a:gd name="connsiteY17308" fmla="*/ 1811648 h 5704395"/>
                <a:gd name="connsiteX17309" fmla="*/ 231862 w 5719680"/>
                <a:gd name="connsiteY17309" fmla="*/ 1811648 h 5704395"/>
                <a:gd name="connsiteX17310" fmla="*/ 213122 w 5719680"/>
                <a:gd name="connsiteY17310" fmla="*/ 1845555 h 5704395"/>
                <a:gd name="connsiteX17311" fmla="*/ 338900 w 5719680"/>
                <a:gd name="connsiteY17311" fmla="*/ 1917172 h 5704395"/>
                <a:gd name="connsiteX17312" fmla="*/ 341440 w 5719680"/>
                <a:gd name="connsiteY17312" fmla="*/ 1915904 h 5704395"/>
                <a:gd name="connsiteX17313" fmla="*/ 352875 w 5719680"/>
                <a:gd name="connsiteY17313" fmla="*/ 1880730 h 5704395"/>
                <a:gd name="connsiteX17314" fmla="*/ 2244930 w 5719680"/>
                <a:gd name="connsiteY17314" fmla="*/ 1807529 h 5704395"/>
                <a:gd name="connsiteX17315" fmla="*/ 2232543 w 5719680"/>
                <a:gd name="connsiteY17315" fmla="*/ 1930798 h 5704395"/>
                <a:gd name="connsiteX17316" fmla="*/ 2275421 w 5719680"/>
                <a:gd name="connsiteY17316" fmla="*/ 1935235 h 5704395"/>
                <a:gd name="connsiteX17317" fmla="*/ 2269704 w 5719680"/>
                <a:gd name="connsiteY17317" fmla="*/ 1983402 h 5704395"/>
                <a:gd name="connsiteX17318" fmla="*/ 2267798 w 5719680"/>
                <a:gd name="connsiteY17318" fmla="*/ 1983402 h 5704395"/>
                <a:gd name="connsiteX17319" fmla="*/ 2227778 w 5719680"/>
                <a:gd name="connsiteY17319" fmla="*/ 1978965 h 5704395"/>
                <a:gd name="connsiteX17320" fmla="*/ 2226826 w 5719680"/>
                <a:gd name="connsiteY17320" fmla="*/ 1986887 h 5704395"/>
                <a:gd name="connsiteX17321" fmla="*/ 2276374 w 5719680"/>
                <a:gd name="connsiteY17321" fmla="*/ 1992908 h 5704395"/>
                <a:gd name="connsiteX17322" fmla="*/ 2279550 w 5719680"/>
                <a:gd name="connsiteY17322" fmla="*/ 1963755 h 5704395"/>
                <a:gd name="connsiteX17323" fmla="*/ 2293208 w 5719680"/>
                <a:gd name="connsiteY17323" fmla="*/ 1812599 h 5704395"/>
                <a:gd name="connsiteX17324" fmla="*/ 2244930 w 5719680"/>
                <a:gd name="connsiteY17324" fmla="*/ 1807529 h 5704395"/>
                <a:gd name="connsiteX17325" fmla="*/ 1486456 w 5719680"/>
                <a:gd name="connsiteY17325" fmla="*/ 1806261 h 5704395"/>
                <a:gd name="connsiteX17326" fmla="*/ 1469623 w 5719680"/>
                <a:gd name="connsiteY17326" fmla="*/ 1896891 h 5704395"/>
                <a:gd name="connsiteX17327" fmla="*/ 1486774 w 5719680"/>
                <a:gd name="connsiteY17327" fmla="*/ 1900377 h 5704395"/>
                <a:gd name="connsiteX17328" fmla="*/ 1505831 w 5719680"/>
                <a:gd name="connsiteY17328" fmla="*/ 1807846 h 5704395"/>
                <a:gd name="connsiteX17329" fmla="*/ 1486456 w 5719680"/>
                <a:gd name="connsiteY17329" fmla="*/ 1806261 h 5704395"/>
                <a:gd name="connsiteX17330" fmla="*/ 384954 w 5719680"/>
                <a:gd name="connsiteY17330" fmla="*/ 1805944 h 5704395"/>
                <a:gd name="connsiteX17331" fmla="*/ 380825 w 5719680"/>
                <a:gd name="connsiteY17331" fmla="*/ 1808479 h 5704395"/>
                <a:gd name="connsiteX17332" fmla="*/ 370026 w 5719680"/>
                <a:gd name="connsiteY17332" fmla="*/ 1841753 h 5704395"/>
                <a:gd name="connsiteX17333" fmla="*/ 482463 w 5719680"/>
                <a:gd name="connsiteY17333" fmla="*/ 1905764 h 5704395"/>
                <a:gd name="connsiteX17334" fmla="*/ 501520 w 5719680"/>
                <a:gd name="connsiteY17334" fmla="*/ 1872174 h 5704395"/>
                <a:gd name="connsiteX17335" fmla="*/ 1075140 w 5719680"/>
                <a:gd name="connsiteY17335" fmla="*/ 1804043 h 5704395"/>
                <a:gd name="connsiteX17336" fmla="*/ 1060529 w 5719680"/>
                <a:gd name="connsiteY17336" fmla="*/ 1832563 h 5704395"/>
                <a:gd name="connsiteX17337" fmla="*/ 1066882 w 5719680"/>
                <a:gd name="connsiteY17337" fmla="*/ 1835732 h 5704395"/>
                <a:gd name="connsiteX17338" fmla="*/ 1081492 w 5719680"/>
                <a:gd name="connsiteY17338" fmla="*/ 1807212 h 5704395"/>
                <a:gd name="connsiteX17339" fmla="*/ 1075140 w 5719680"/>
                <a:gd name="connsiteY17339" fmla="*/ 1804043 h 5704395"/>
                <a:gd name="connsiteX17340" fmla="*/ 2198558 w 5719680"/>
                <a:gd name="connsiteY17340" fmla="*/ 1802775 h 5704395"/>
                <a:gd name="connsiteX17341" fmla="*/ 2186488 w 5719680"/>
                <a:gd name="connsiteY17341" fmla="*/ 1925728 h 5704395"/>
                <a:gd name="connsiteX17342" fmla="*/ 2228096 w 5719680"/>
                <a:gd name="connsiteY17342" fmla="*/ 1930164 h 5704395"/>
                <a:gd name="connsiteX17343" fmla="*/ 2240483 w 5719680"/>
                <a:gd name="connsiteY17343" fmla="*/ 1807212 h 5704395"/>
                <a:gd name="connsiteX17344" fmla="*/ 2198558 w 5719680"/>
                <a:gd name="connsiteY17344" fmla="*/ 1802775 h 5704395"/>
                <a:gd name="connsiteX17345" fmla="*/ 1440402 w 5719680"/>
                <a:gd name="connsiteY17345" fmla="*/ 1802142 h 5704395"/>
                <a:gd name="connsiteX17346" fmla="*/ 1424521 w 5719680"/>
                <a:gd name="connsiteY17346" fmla="*/ 1888652 h 5704395"/>
                <a:gd name="connsiteX17347" fmla="*/ 1465493 w 5719680"/>
                <a:gd name="connsiteY17347" fmla="*/ 1896257 h 5704395"/>
                <a:gd name="connsiteX17348" fmla="*/ 1482327 w 5719680"/>
                <a:gd name="connsiteY17348" fmla="*/ 1805944 h 5704395"/>
                <a:gd name="connsiteX17349" fmla="*/ 547575 w 5719680"/>
                <a:gd name="connsiteY17349" fmla="*/ 1799607 h 5704395"/>
                <a:gd name="connsiteX17350" fmla="*/ 526612 w 5719680"/>
                <a:gd name="connsiteY17350" fmla="*/ 1836682 h 5704395"/>
                <a:gd name="connsiteX17351" fmla="*/ 562821 w 5719680"/>
                <a:gd name="connsiteY17351" fmla="*/ 1857280 h 5704395"/>
                <a:gd name="connsiteX17352" fmla="*/ 583784 w 5719680"/>
                <a:gd name="connsiteY17352" fmla="*/ 1820204 h 5704395"/>
                <a:gd name="connsiteX17353" fmla="*/ 1710695 w 5719680"/>
                <a:gd name="connsiteY17353" fmla="*/ 1798656 h 5704395"/>
                <a:gd name="connsiteX17354" fmla="*/ 1697355 w 5719680"/>
                <a:gd name="connsiteY17354" fmla="*/ 1911468 h 5704395"/>
                <a:gd name="connsiteX17355" fmla="*/ 1871093 w 5719680"/>
                <a:gd name="connsiteY17355" fmla="*/ 1943791 h 5704395"/>
                <a:gd name="connsiteX17356" fmla="*/ 1891738 w 5719680"/>
                <a:gd name="connsiteY17356" fmla="*/ 1821155 h 5704395"/>
                <a:gd name="connsiteX17357" fmla="*/ 1851718 w 5719680"/>
                <a:gd name="connsiteY17357" fmla="*/ 1816085 h 5704395"/>
                <a:gd name="connsiteX17358" fmla="*/ 1869822 w 5719680"/>
                <a:gd name="connsiteY17358" fmla="*/ 1836365 h 5704395"/>
                <a:gd name="connsiteX17359" fmla="*/ 1830120 w 5719680"/>
                <a:gd name="connsiteY17359" fmla="*/ 1871540 h 5704395"/>
                <a:gd name="connsiteX17360" fmla="*/ 1794864 w 5719680"/>
                <a:gd name="connsiteY17360" fmla="*/ 1832246 h 5704395"/>
                <a:gd name="connsiteX17361" fmla="*/ 1817098 w 5719680"/>
                <a:gd name="connsiteY17361" fmla="*/ 1812282 h 5704395"/>
                <a:gd name="connsiteX17362" fmla="*/ 1816780 w 5719680"/>
                <a:gd name="connsiteY17362" fmla="*/ 1811648 h 5704395"/>
                <a:gd name="connsiteX17363" fmla="*/ 1710695 w 5719680"/>
                <a:gd name="connsiteY17363" fmla="*/ 1798656 h 5704395"/>
                <a:gd name="connsiteX17364" fmla="*/ 2149009 w 5719680"/>
                <a:gd name="connsiteY17364" fmla="*/ 1797388 h 5704395"/>
                <a:gd name="connsiteX17365" fmla="*/ 2136622 w 5719680"/>
                <a:gd name="connsiteY17365" fmla="*/ 1920658 h 5704395"/>
                <a:gd name="connsiteX17366" fmla="*/ 2182042 w 5719680"/>
                <a:gd name="connsiteY17366" fmla="*/ 1925411 h 5704395"/>
                <a:gd name="connsiteX17367" fmla="*/ 2194428 w 5719680"/>
                <a:gd name="connsiteY17367" fmla="*/ 1802142 h 5704395"/>
                <a:gd name="connsiteX17368" fmla="*/ 2149009 w 5719680"/>
                <a:gd name="connsiteY17368" fmla="*/ 1797388 h 5704395"/>
                <a:gd name="connsiteX17369" fmla="*/ 1530288 w 5719680"/>
                <a:gd name="connsiteY17369" fmla="*/ 1792635 h 5704395"/>
                <a:gd name="connsiteX17370" fmla="*/ 1512501 w 5719680"/>
                <a:gd name="connsiteY17370" fmla="*/ 1877244 h 5704395"/>
                <a:gd name="connsiteX17371" fmla="*/ 1692909 w 5719680"/>
                <a:gd name="connsiteY17371" fmla="*/ 1910834 h 5704395"/>
                <a:gd name="connsiteX17372" fmla="*/ 1706249 w 5719680"/>
                <a:gd name="connsiteY17372" fmla="*/ 1798339 h 5704395"/>
                <a:gd name="connsiteX17373" fmla="*/ 663506 w 5719680"/>
                <a:gd name="connsiteY17373" fmla="*/ 1792635 h 5704395"/>
                <a:gd name="connsiteX17374" fmla="*/ 638414 w 5719680"/>
                <a:gd name="connsiteY17374" fmla="*/ 1842703 h 5704395"/>
                <a:gd name="connsiteX17375" fmla="*/ 668270 w 5719680"/>
                <a:gd name="connsiteY17375" fmla="*/ 1857280 h 5704395"/>
                <a:gd name="connsiteX17376" fmla="*/ 693680 w 5719680"/>
                <a:gd name="connsiteY17376" fmla="*/ 1807529 h 5704395"/>
                <a:gd name="connsiteX17377" fmla="*/ 693362 w 5719680"/>
                <a:gd name="connsiteY17377" fmla="*/ 1807212 h 5704395"/>
                <a:gd name="connsiteX17378" fmla="*/ 684469 w 5719680"/>
                <a:gd name="connsiteY17378" fmla="*/ 1803409 h 5704395"/>
                <a:gd name="connsiteX17379" fmla="*/ 663506 w 5719680"/>
                <a:gd name="connsiteY17379" fmla="*/ 1792635 h 5704395"/>
                <a:gd name="connsiteX17380" fmla="*/ 191842 w 5719680"/>
                <a:gd name="connsiteY17380" fmla="*/ 1789149 h 5704395"/>
                <a:gd name="connsiteX17381" fmla="*/ 173420 w 5719680"/>
                <a:gd name="connsiteY17381" fmla="*/ 1823056 h 5704395"/>
                <a:gd name="connsiteX17382" fmla="*/ 209629 w 5719680"/>
                <a:gd name="connsiteY17382" fmla="*/ 1843654 h 5704395"/>
                <a:gd name="connsiteX17383" fmla="*/ 228051 w 5719680"/>
                <a:gd name="connsiteY17383" fmla="*/ 1809747 h 5704395"/>
                <a:gd name="connsiteX17384" fmla="*/ 606970 w 5719680"/>
                <a:gd name="connsiteY17384" fmla="*/ 1788516 h 5704395"/>
                <a:gd name="connsiteX17385" fmla="*/ 589818 w 5719680"/>
                <a:gd name="connsiteY17385" fmla="*/ 1818620 h 5704395"/>
                <a:gd name="connsiteX17386" fmla="*/ 606017 w 5719680"/>
                <a:gd name="connsiteY17386" fmla="*/ 1827810 h 5704395"/>
                <a:gd name="connsiteX17387" fmla="*/ 622851 w 5719680"/>
                <a:gd name="connsiteY17387" fmla="*/ 1797388 h 5704395"/>
                <a:gd name="connsiteX17388" fmla="*/ 606970 w 5719680"/>
                <a:gd name="connsiteY17388" fmla="*/ 1788516 h 5704395"/>
                <a:gd name="connsiteX17389" fmla="*/ 1276828 w 5719680"/>
                <a:gd name="connsiteY17389" fmla="*/ 1787565 h 5704395"/>
                <a:gd name="connsiteX17390" fmla="*/ 1267935 w 5719680"/>
                <a:gd name="connsiteY17390" fmla="*/ 1901011 h 5704395"/>
                <a:gd name="connsiteX17391" fmla="*/ 1234585 w 5719680"/>
                <a:gd name="connsiteY17391" fmla="*/ 1960586 h 5704395"/>
                <a:gd name="connsiteX17392" fmla="*/ 1348292 w 5719680"/>
                <a:gd name="connsiteY17392" fmla="*/ 1996711 h 5704395"/>
                <a:gd name="connsiteX17393" fmla="*/ 1399111 w 5719680"/>
                <a:gd name="connsiteY17393" fmla="*/ 2004316 h 5704395"/>
                <a:gd name="connsiteX17394" fmla="*/ 1419756 w 5719680"/>
                <a:gd name="connsiteY17394" fmla="*/ 1892138 h 5704395"/>
                <a:gd name="connsiteX17395" fmla="*/ 1271111 w 5719680"/>
                <a:gd name="connsiteY17395" fmla="*/ 1864569 h 5704395"/>
                <a:gd name="connsiteX17396" fmla="*/ 1271746 w 5719680"/>
                <a:gd name="connsiteY17396" fmla="*/ 1860132 h 5704395"/>
                <a:gd name="connsiteX17397" fmla="*/ 1420392 w 5719680"/>
                <a:gd name="connsiteY17397" fmla="*/ 1888018 h 5704395"/>
                <a:gd name="connsiteX17398" fmla="*/ 1436273 w 5719680"/>
                <a:gd name="connsiteY17398" fmla="*/ 1801825 h 5704395"/>
                <a:gd name="connsiteX17399" fmla="*/ 1276828 w 5719680"/>
                <a:gd name="connsiteY17399" fmla="*/ 1787565 h 5704395"/>
                <a:gd name="connsiteX17400" fmla="*/ 2054041 w 5719680"/>
                <a:gd name="connsiteY17400" fmla="*/ 1787248 h 5704395"/>
                <a:gd name="connsiteX17401" fmla="*/ 2041972 w 5719680"/>
                <a:gd name="connsiteY17401" fmla="*/ 1910517 h 5704395"/>
                <a:gd name="connsiteX17402" fmla="*/ 2083580 w 5719680"/>
                <a:gd name="connsiteY17402" fmla="*/ 1914954 h 5704395"/>
                <a:gd name="connsiteX17403" fmla="*/ 2095649 w 5719680"/>
                <a:gd name="connsiteY17403" fmla="*/ 1792952 h 5704395"/>
                <a:gd name="connsiteX17404" fmla="*/ 2100096 w 5719680"/>
                <a:gd name="connsiteY17404" fmla="*/ 1793269 h 5704395"/>
                <a:gd name="connsiteX17405" fmla="*/ 2088026 w 5719680"/>
                <a:gd name="connsiteY17405" fmla="*/ 1915271 h 5704395"/>
                <a:gd name="connsiteX17406" fmla="*/ 2132493 w 5719680"/>
                <a:gd name="connsiteY17406" fmla="*/ 1920024 h 5704395"/>
                <a:gd name="connsiteX17407" fmla="*/ 2144562 w 5719680"/>
                <a:gd name="connsiteY17407" fmla="*/ 1796755 h 5704395"/>
                <a:gd name="connsiteX17408" fmla="*/ 2054041 w 5719680"/>
                <a:gd name="connsiteY17408" fmla="*/ 1787248 h 5704395"/>
                <a:gd name="connsiteX17409" fmla="*/ 1041790 w 5719680"/>
                <a:gd name="connsiteY17409" fmla="*/ 1786614 h 5704395"/>
                <a:gd name="connsiteX17410" fmla="*/ 1027180 w 5719680"/>
                <a:gd name="connsiteY17410" fmla="*/ 1816085 h 5704395"/>
                <a:gd name="connsiteX17411" fmla="*/ 1056718 w 5719680"/>
                <a:gd name="connsiteY17411" fmla="*/ 1830662 h 5704395"/>
                <a:gd name="connsiteX17412" fmla="*/ 1071329 w 5719680"/>
                <a:gd name="connsiteY17412" fmla="*/ 1802142 h 5704395"/>
                <a:gd name="connsiteX17413" fmla="*/ 1041790 w 5719680"/>
                <a:gd name="connsiteY17413" fmla="*/ 1786614 h 5704395"/>
                <a:gd name="connsiteX17414" fmla="*/ 652707 w 5719680"/>
                <a:gd name="connsiteY17414" fmla="*/ 1786614 h 5704395"/>
                <a:gd name="connsiteX17415" fmla="*/ 613005 w 5719680"/>
                <a:gd name="connsiteY17415" fmla="*/ 1857914 h 5704395"/>
                <a:gd name="connsiteX17416" fmla="*/ 641273 w 5719680"/>
                <a:gd name="connsiteY17416" fmla="*/ 1877561 h 5704395"/>
                <a:gd name="connsiteX17417" fmla="*/ 665094 w 5719680"/>
                <a:gd name="connsiteY17417" fmla="*/ 1894039 h 5704395"/>
                <a:gd name="connsiteX17418" fmla="*/ 673352 w 5719680"/>
                <a:gd name="connsiteY17418" fmla="*/ 1899426 h 5704395"/>
                <a:gd name="connsiteX17419" fmla="*/ 675893 w 5719680"/>
                <a:gd name="connsiteY17419" fmla="*/ 1900694 h 5704395"/>
                <a:gd name="connsiteX17420" fmla="*/ 676528 w 5719680"/>
                <a:gd name="connsiteY17420" fmla="*/ 1901011 h 5704395"/>
                <a:gd name="connsiteX17421" fmla="*/ 779754 w 5719680"/>
                <a:gd name="connsiteY17421" fmla="*/ 1912102 h 5704395"/>
                <a:gd name="connsiteX17422" fmla="*/ 793730 w 5719680"/>
                <a:gd name="connsiteY17422" fmla="*/ 1893089 h 5704395"/>
                <a:gd name="connsiteX17423" fmla="*/ 800717 w 5719680"/>
                <a:gd name="connsiteY17423" fmla="*/ 1884532 h 5704395"/>
                <a:gd name="connsiteX17424" fmla="*/ 803258 w 5719680"/>
                <a:gd name="connsiteY17424" fmla="*/ 1881681 h 5704395"/>
                <a:gd name="connsiteX17425" fmla="*/ 787060 w 5719680"/>
                <a:gd name="connsiteY17425" fmla="*/ 1853478 h 5704395"/>
                <a:gd name="connsiteX17426" fmla="*/ 750216 w 5719680"/>
                <a:gd name="connsiteY17426" fmla="*/ 1846823 h 5704395"/>
                <a:gd name="connsiteX17427" fmla="*/ 716231 w 5719680"/>
                <a:gd name="connsiteY17427" fmla="*/ 1841753 h 5704395"/>
                <a:gd name="connsiteX17428" fmla="*/ 714960 w 5719680"/>
                <a:gd name="connsiteY17428" fmla="*/ 1841753 h 5704395"/>
                <a:gd name="connsiteX17429" fmla="*/ 714643 w 5719680"/>
                <a:gd name="connsiteY17429" fmla="*/ 1840802 h 5704395"/>
                <a:gd name="connsiteX17430" fmla="*/ 704479 w 5719680"/>
                <a:gd name="connsiteY17430" fmla="*/ 1823373 h 5704395"/>
                <a:gd name="connsiteX17431" fmla="*/ 696856 w 5719680"/>
                <a:gd name="connsiteY17431" fmla="*/ 1811648 h 5704395"/>
                <a:gd name="connsiteX17432" fmla="*/ 696538 w 5719680"/>
                <a:gd name="connsiteY17432" fmla="*/ 1811331 h 5704395"/>
                <a:gd name="connsiteX17433" fmla="*/ 670176 w 5719680"/>
                <a:gd name="connsiteY17433" fmla="*/ 1862667 h 5704395"/>
                <a:gd name="connsiteX17434" fmla="*/ 633015 w 5719680"/>
                <a:gd name="connsiteY17434" fmla="*/ 1844605 h 5704395"/>
                <a:gd name="connsiteX17435" fmla="*/ 660012 w 5719680"/>
                <a:gd name="connsiteY17435" fmla="*/ 1790417 h 5704395"/>
                <a:gd name="connsiteX17436" fmla="*/ 652707 w 5719680"/>
                <a:gd name="connsiteY17436" fmla="*/ 1786614 h 5704395"/>
                <a:gd name="connsiteX17437" fmla="*/ 424339 w 5719680"/>
                <a:gd name="connsiteY17437" fmla="*/ 1783445 h 5704395"/>
                <a:gd name="connsiteX17438" fmla="*/ 389401 w 5719680"/>
                <a:gd name="connsiteY17438" fmla="*/ 1803409 h 5704395"/>
                <a:gd name="connsiteX17439" fmla="*/ 503744 w 5719680"/>
                <a:gd name="connsiteY17439" fmla="*/ 1868371 h 5704395"/>
                <a:gd name="connsiteX17440" fmla="*/ 520895 w 5719680"/>
                <a:gd name="connsiteY17440" fmla="*/ 1838584 h 5704395"/>
                <a:gd name="connsiteX17441" fmla="*/ 175326 w 5719680"/>
                <a:gd name="connsiteY17441" fmla="*/ 1779643 h 5704395"/>
                <a:gd name="connsiteX17442" fmla="*/ 156904 w 5719680"/>
                <a:gd name="connsiteY17442" fmla="*/ 1813550 h 5704395"/>
                <a:gd name="connsiteX17443" fmla="*/ 169926 w 5719680"/>
                <a:gd name="connsiteY17443" fmla="*/ 1820838 h 5704395"/>
                <a:gd name="connsiteX17444" fmla="*/ 188348 w 5719680"/>
                <a:gd name="connsiteY17444" fmla="*/ 1786931 h 5704395"/>
                <a:gd name="connsiteX17445" fmla="*/ 175326 w 5719680"/>
                <a:gd name="connsiteY17445" fmla="*/ 1779643 h 5704395"/>
                <a:gd name="connsiteX17446" fmla="*/ 249966 w 5719680"/>
                <a:gd name="connsiteY17446" fmla="*/ 1778375 h 5704395"/>
                <a:gd name="connsiteX17447" fmla="*/ 233768 w 5719680"/>
                <a:gd name="connsiteY17447" fmla="*/ 1807846 h 5704395"/>
                <a:gd name="connsiteX17448" fmla="*/ 354145 w 5719680"/>
                <a:gd name="connsiteY17448" fmla="*/ 1876293 h 5704395"/>
                <a:gd name="connsiteX17449" fmla="*/ 364627 w 5719680"/>
                <a:gd name="connsiteY17449" fmla="*/ 1843654 h 5704395"/>
                <a:gd name="connsiteX17450" fmla="*/ 1920641 w 5719680"/>
                <a:gd name="connsiteY17450" fmla="*/ 1773305 h 5704395"/>
                <a:gd name="connsiteX17451" fmla="*/ 1891738 w 5719680"/>
                <a:gd name="connsiteY17451" fmla="*/ 1946959 h 5704395"/>
                <a:gd name="connsiteX17452" fmla="*/ 1938745 w 5719680"/>
                <a:gd name="connsiteY17452" fmla="*/ 1952663 h 5704395"/>
                <a:gd name="connsiteX17453" fmla="*/ 1939063 w 5719680"/>
                <a:gd name="connsiteY17453" fmla="*/ 1948227 h 5704395"/>
                <a:gd name="connsiteX17454" fmla="*/ 1898408 w 5719680"/>
                <a:gd name="connsiteY17454" fmla="*/ 1943791 h 5704395"/>
                <a:gd name="connsiteX17455" fmla="*/ 1903807 w 5719680"/>
                <a:gd name="connsiteY17455" fmla="*/ 1895624 h 5704395"/>
                <a:gd name="connsiteX17456" fmla="*/ 1943827 w 5719680"/>
                <a:gd name="connsiteY17456" fmla="*/ 1899743 h 5704395"/>
                <a:gd name="connsiteX17457" fmla="*/ 1955897 w 5719680"/>
                <a:gd name="connsiteY17457" fmla="*/ 1778375 h 5704395"/>
                <a:gd name="connsiteX17458" fmla="*/ 1960344 w 5719680"/>
                <a:gd name="connsiteY17458" fmla="*/ 1778692 h 5704395"/>
                <a:gd name="connsiteX17459" fmla="*/ 1948274 w 5719680"/>
                <a:gd name="connsiteY17459" fmla="*/ 1900377 h 5704395"/>
                <a:gd name="connsiteX17460" fmla="*/ 1991788 w 5719680"/>
                <a:gd name="connsiteY17460" fmla="*/ 1905130 h 5704395"/>
                <a:gd name="connsiteX17461" fmla="*/ 2003857 w 5719680"/>
                <a:gd name="connsiteY17461" fmla="*/ 1782178 h 5704395"/>
                <a:gd name="connsiteX17462" fmla="*/ 2006173 w 5719680"/>
                <a:gd name="connsiteY17462" fmla="*/ 1782343 h 5704395"/>
                <a:gd name="connsiteX17463" fmla="*/ 2008297 w 5719680"/>
                <a:gd name="connsiteY17463" fmla="*/ 1782567 h 5704395"/>
                <a:gd name="connsiteX17464" fmla="*/ 2008111 w 5719680"/>
                <a:gd name="connsiteY17464" fmla="*/ 1784416 h 5704395"/>
                <a:gd name="connsiteX17465" fmla="*/ 1995917 w 5719680"/>
                <a:gd name="connsiteY17465" fmla="*/ 1905447 h 5704395"/>
                <a:gd name="connsiteX17466" fmla="*/ 2037525 w 5719680"/>
                <a:gd name="connsiteY17466" fmla="*/ 1909884 h 5704395"/>
                <a:gd name="connsiteX17467" fmla="*/ 2049594 w 5719680"/>
                <a:gd name="connsiteY17467" fmla="*/ 1786931 h 5704395"/>
                <a:gd name="connsiteX17468" fmla="*/ 2018111 w 5719680"/>
                <a:gd name="connsiteY17468" fmla="*/ 1783604 h 5704395"/>
                <a:gd name="connsiteX17469" fmla="*/ 2008297 w 5719680"/>
                <a:gd name="connsiteY17469" fmla="*/ 1782567 h 5704395"/>
                <a:gd name="connsiteX17470" fmla="*/ 2008304 w 5719680"/>
                <a:gd name="connsiteY17470" fmla="*/ 1782495 h 5704395"/>
                <a:gd name="connsiteX17471" fmla="*/ 2006173 w 5719680"/>
                <a:gd name="connsiteY17471" fmla="*/ 1782343 h 5704395"/>
                <a:gd name="connsiteX17472" fmla="*/ 1995192 w 5719680"/>
                <a:gd name="connsiteY17472" fmla="*/ 1781183 h 5704395"/>
                <a:gd name="connsiteX17473" fmla="*/ 1920641 w 5719680"/>
                <a:gd name="connsiteY17473" fmla="*/ 1773305 h 5704395"/>
                <a:gd name="connsiteX17474" fmla="*/ 566950 w 5719680"/>
                <a:gd name="connsiteY17474" fmla="*/ 1765700 h 5704395"/>
                <a:gd name="connsiteX17475" fmla="*/ 549798 w 5719680"/>
                <a:gd name="connsiteY17475" fmla="*/ 1795804 h 5704395"/>
                <a:gd name="connsiteX17476" fmla="*/ 586007 w 5719680"/>
                <a:gd name="connsiteY17476" fmla="*/ 1816402 h 5704395"/>
                <a:gd name="connsiteX17477" fmla="*/ 603158 w 5719680"/>
                <a:gd name="connsiteY17477" fmla="*/ 1786297 h 5704395"/>
                <a:gd name="connsiteX17478" fmla="*/ 914107 w 5719680"/>
                <a:gd name="connsiteY17478" fmla="*/ 1764432 h 5704395"/>
                <a:gd name="connsiteX17479" fmla="*/ 844549 w 5719680"/>
                <a:gd name="connsiteY17479" fmla="*/ 1895624 h 5704395"/>
                <a:gd name="connsiteX17480" fmla="*/ 917283 w 5719680"/>
                <a:gd name="connsiteY17480" fmla="*/ 1925094 h 5704395"/>
                <a:gd name="connsiteX17481" fmla="*/ 949045 w 5719680"/>
                <a:gd name="connsiteY17481" fmla="*/ 1915904 h 5704395"/>
                <a:gd name="connsiteX17482" fmla="*/ 966832 w 5719680"/>
                <a:gd name="connsiteY17482" fmla="*/ 1923827 h 5704395"/>
                <a:gd name="connsiteX17483" fmla="*/ 994465 w 5719680"/>
                <a:gd name="connsiteY17483" fmla="*/ 1868688 h 5704395"/>
                <a:gd name="connsiteX17484" fmla="*/ 973184 w 5719680"/>
                <a:gd name="connsiteY17484" fmla="*/ 1857914 h 5704395"/>
                <a:gd name="connsiteX17485" fmla="*/ 959209 w 5719680"/>
                <a:gd name="connsiteY17485" fmla="*/ 1865519 h 5704395"/>
                <a:gd name="connsiteX17486" fmla="*/ 881392 w 5719680"/>
                <a:gd name="connsiteY17486" fmla="*/ 1826542 h 5704395"/>
                <a:gd name="connsiteX17487" fmla="*/ 883298 w 5719680"/>
                <a:gd name="connsiteY17487" fmla="*/ 1822739 h 5704395"/>
                <a:gd name="connsiteX17488" fmla="*/ 959209 w 5719680"/>
                <a:gd name="connsiteY17488" fmla="*/ 1860449 h 5704395"/>
                <a:gd name="connsiteX17489" fmla="*/ 973184 w 5719680"/>
                <a:gd name="connsiteY17489" fmla="*/ 1853161 h 5704395"/>
                <a:gd name="connsiteX17490" fmla="*/ 996371 w 5719680"/>
                <a:gd name="connsiteY17490" fmla="*/ 1864569 h 5704395"/>
                <a:gd name="connsiteX17491" fmla="*/ 1002723 w 5719680"/>
                <a:gd name="connsiteY17491" fmla="*/ 1851893 h 5704395"/>
                <a:gd name="connsiteX17492" fmla="*/ 1040837 w 5719680"/>
                <a:gd name="connsiteY17492" fmla="*/ 1870272 h 5704395"/>
                <a:gd name="connsiteX17493" fmla="*/ 1039884 w 5719680"/>
                <a:gd name="connsiteY17493" fmla="*/ 1872174 h 5704395"/>
                <a:gd name="connsiteX17494" fmla="*/ 1034167 w 5719680"/>
                <a:gd name="connsiteY17494" fmla="*/ 1883582 h 5704395"/>
                <a:gd name="connsiteX17495" fmla="*/ 1040837 w 5719680"/>
                <a:gd name="connsiteY17495" fmla="*/ 1886751 h 5704395"/>
                <a:gd name="connsiteX17496" fmla="*/ 1064976 w 5719680"/>
                <a:gd name="connsiteY17496" fmla="*/ 1839534 h 5704395"/>
                <a:gd name="connsiteX17497" fmla="*/ 1058624 w 5719680"/>
                <a:gd name="connsiteY17497" fmla="*/ 1836365 h 5704395"/>
                <a:gd name="connsiteX17498" fmla="*/ 1053542 w 5719680"/>
                <a:gd name="connsiteY17498" fmla="*/ 1846189 h 5704395"/>
                <a:gd name="connsiteX17499" fmla="*/ 1016380 w 5719680"/>
                <a:gd name="connsiteY17499" fmla="*/ 1828126 h 5704395"/>
                <a:gd name="connsiteX17500" fmla="*/ 1021462 w 5719680"/>
                <a:gd name="connsiteY17500" fmla="*/ 1817986 h 5704395"/>
                <a:gd name="connsiteX17501" fmla="*/ 914107 w 5719680"/>
                <a:gd name="connsiteY17501" fmla="*/ 1764432 h 5704395"/>
                <a:gd name="connsiteX17502" fmla="*/ 1274605 w 5719680"/>
                <a:gd name="connsiteY17502" fmla="*/ 1760629 h 5704395"/>
                <a:gd name="connsiteX17503" fmla="*/ 1242207 w 5719680"/>
                <a:gd name="connsiteY17503" fmla="*/ 1764749 h 5704395"/>
                <a:gd name="connsiteX17504" fmla="*/ 1209175 w 5719680"/>
                <a:gd name="connsiteY17504" fmla="*/ 1768868 h 5704395"/>
                <a:gd name="connsiteX17505" fmla="*/ 1199647 w 5719680"/>
                <a:gd name="connsiteY17505" fmla="*/ 1794536 h 5704395"/>
                <a:gd name="connsiteX17506" fmla="*/ 1197741 w 5719680"/>
                <a:gd name="connsiteY17506" fmla="*/ 1794219 h 5704395"/>
                <a:gd name="connsiteX17507" fmla="*/ 1157403 w 5719680"/>
                <a:gd name="connsiteY17507" fmla="*/ 1784396 h 5704395"/>
                <a:gd name="connsiteX17508" fmla="*/ 1120877 w 5719680"/>
                <a:gd name="connsiteY17508" fmla="*/ 1775840 h 5704395"/>
                <a:gd name="connsiteX17509" fmla="*/ 1083716 w 5719680"/>
                <a:gd name="connsiteY17509" fmla="*/ 1848724 h 5704395"/>
                <a:gd name="connsiteX17510" fmla="*/ 1262535 w 5719680"/>
                <a:gd name="connsiteY17510" fmla="*/ 1898159 h 5704395"/>
                <a:gd name="connsiteX17511" fmla="*/ 1261265 w 5719680"/>
                <a:gd name="connsiteY17511" fmla="*/ 1902595 h 5704395"/>
                <a:gd name="connsiteX17512" fmla="*/ 1081492 w 5719680"/>
                <a:gd name="connsiteY17512" fmla="*/ 1852844 h 5704395"/>
                <a:gd name="connsiteX17513" fmla="*/ 1049095 w 5719680"/>
                <a:gd name="connsiteY17513" fmla="*/ 1916538 h 5704395"/>
                <a:gd name="connsiteX17514" fmla="*/ 1025591 w 5719680"/>
                <a:gd name="connsiteY17514" fmla="*/ 1963121 h 5704395"/>
                <a:gd name="connsiteX17515" fmla="*/ 1215845 w 5719680"/>
                <a:gd name="connsiteY17515" fmla="*/ 2038540 h 5704395"/>
                <a:gd name="connsiteX17516" fmla="*/ 1214257 w 5719680"/>
                <a:gd name="connsiteY17516" fmla="*/ 2042660 h 5704395"/>
                <a:gd name="connsiteX17517" fmla="*/ 1023686 w 5719680"/>
                <a:gd name="connsiteY17517" fmla="*/ 1966923 h 5704395"/>
                <a:gd name="connsiteX17518" fmla="*/ 988430 w 5719680"/>
                <a:gd name="connsiteY17518" fmla="*/ 2037273 h 5704395"/>
                <a:gd name="connsiteX17519" fmla="*/ 975408 w 5719680"/>
                <a:gd name="connsiteY17519" fmla="*/ 2063891 h 5704395"/>
                <a:gd name="connsiteX17520" fmla="*/ 1126277 w 5719680"/>
                <a:gd name="connsiteY17520" fmla="*/ 2136775 h 5704395"/>
                <a:gd name="connsiteX17521" fmla="*/ 1204093 w 5719680"/>
                <a:gd name="connsiteY17521" fmla="*/ 2068961 h 5704395"/>
                <a:gd name="connsiteX17522" fmla="*/ 1227597 w 5719680"/>
                <a:gd name="connsiteY17522" fmla="*/ 2011604 h 5704395"/>
                <a:gd name="connsiteX17523" fmla="*/ 1226962 w 5719680"/>
                <a:gd name="connsiteY17523" fmla="*/ 2010971 h 5704395"/>
                <a:gd name="connsiteX17524" fmla="*/ 1225691 w 5719680"/>
                <a:gd name="connsiteY17524" fmla="*/ 2009069 h 5704395"/>
                <a:gd name="connsiteX17525" fmla="*/ 1227597 w 5719680"/>
                <a:gd name="connsiteY17525" fmla="*/ 2006851 h 5704395"/>
                <a:gd name="connsiteX17526" fmla="*/ 1228232 w 5719680"/>
                <a:gd name="connsiteY17526" fmla="*/ 2009069 h 5704395"/>
                <a:gd name="connsiteX17527" fmla="*/ 1228550 w 5719680"/>
                <a:gd name="connsiteY17527" fmla="*/ 2008753 h 5704395"/>
                <a:gd name="connsiteX17528" fmla="*/ 1229185 w 5719680"/>
                <a:gd name="connsiteY17528" fmla="*/ 2007168 h 5704395"/>
                <a:gd name="connsiteX17529" fmla="*/ 1230773 w 5719680"/>
                <a:gd name="connsiteY17529" fmla="*/ 1974846 h 5704395"/>
                <a:gd name="connsiteX17530" fmla="*/ 1230456 w 5719680"/>
                <a:gd name="connsiteY17530" fmla="*/ 1966290 h 5704395"/>
                <a:gd name="connsiteX17531" fmla="*/ 1230138 w 5719680"/>
                <a:gd name="connsiteY17531" fmla="*/ 1964071 h 5704395"/>
                <a:gd name="connsiteX17532" fmla="*/ 1230138 w 5719680"/>
                <a:gd name="connsiteY17532" fmla="*/ 1963755 h 5704395"/>
                <a:gd name="connsiteX17533" fmla="*/ 1228232 w 5719680"/>
                <a:gd name="connsiteY17533" fmla="*/ 1963121 h 5704395"/>
                <a:gd name="connsiteX17534" fmla="*/ 1263488 w 5719680"/>
                <a:gd name="connsiteY17534" fmla="*/ 1899743 h 5704395"/>
                <a:gd name="connsiteX17535" fmla="*/ 1274605 w 5719680"/>
                <a:gd name="connsiteY17535" fmla="*/ 1760629 h 5704395"/>
                <a:gd name="connsiteX17536" fmla="*/ 1839013 w 5719680"/>
                <a:gd name="connsiteY17536" fmla="*/ 1755876 h 5704395"/>
                <a:gd name="connsiteX17537" fmla="*/ 1802805 w 5719680"/>
                <a:gd name="connsiteY17537" fmla="*/ 1787565 h 5704395"/>
                <a:gd name="connsiteX17538" fmla="*/ 1818686 w 5719680"/>
                <a:gd name="connsiteY17538" fmla="*/ 1807529 h 5704395"/>
                <a:gd name="connsiteX17539" fmla="*/ 1844730 w 5719680"/>
                <a:gd name="connsiteY17539" fmla="*/ 1810698 h 5704395"/>
                <a:gd name="connsiteX17540" fmla="*/ 1867917 w 5719680"/>
                <a:gd name="connsiteY17540" fmla="*/ 1790734 h 5704395"/>
                <a:gd name="connsiteX17541" fmla="*/ 1839013 w 5719680"/>
                <a:gd name="connsiteY17541" fmla="*/ 1755876 h 5704395"/>
                <a:gd name="connsiteX17542" fmla="*/ 210264 w 5719680"/>
                <a:gd name="connsiteY17542" fmla="*/ 1755559 h 5704395"/>
                <a:gd name="connsiteX17543" fmla="*/ 194065 w 5719680"/>
                <a:gd name="connsiteY17543" fmla="*/ 1785030 h 5704395"/>
                <a:gd name="connsiteX17544" fmla="*/ 230274 w 5719680"/>
                <a:gd name="connsiteY17544" fmla="*/ 1805627 h 5704395"/>
                <a:gd name="connsiteX17545" fmla="*/ 246472 w 5719680"/>
                <a:gd name="connsiteY17545" fmla="*/ 1776157 h 5704395"/>
                <a:gd name="connsiteX17546" fmla="*/ 683516 w 5719680"/>
                <a:gd name="connsiteY17546" fmla="*/ 1752707 h 5704395"/>
                <a:gd name="connsiteX17547" fmla="*/ 665729 w 5719680"/>
                <a:gd name="connsiteY17547" fmla="*/ 1788516 h 5704395"/>
                <a:gd name="connsiteX17548" fmla="*/ 670811 w 5719680"/>
                <a:gd name="connsiteY17548" fmla="*/ 1791367 h 5704395"/>
                <a:gd name="connsiteX17549" fmla="*/ 686692 w 5719680"/>
                <a:gd name="connsiteY17549" fmla="*/ 1799290 h 5704395"/>
                <a:gd name="connsiteX17550" fmla="*/ 692092 w 5719680"/>
                <a:gd name="connsiteY17550" fmla="*/ 1802142 h 5704395"/>
                <a:gd name="connsiteX17551" fmla="*/ 693680 w 5719680"/>
                <a:gd name="connsiteY17551" fmla="*/ 1802775 h 5704395"/>
                <a:gd name="connsiteX17552" fmla="*/ 693997 w 5719680"/>
                <a:gd name="connsiteY17552" fmla="*/ 1802775 h 5704395"/>
                <a:gd name="connsiteX17553" fmla="*/ 695585 w 5719680"/>
                <a:gd name="connsiteY17553" fmla="*/ 1803409 h 5704395"/>
                <a:gd name="connsiteX17554" fmla="*/ 714007 w 5719680"/>
                <a:gd name="connsiteY17554" fmla="*/ 1767601 h 5704395"/>
                <a:gd name="connsiteX17555" fmla="*/ 683516 w 5719680"/>
                <a:gd name="connsiteY17555" fmla="*/ 1752707 h 5704395"/>
                <a:gd name="connsiteX17556" fmla="*/ 1060212 w 5719680"/>
                <a:gd name="connsiteY17556" fmla="*/ 1749538 h 5704395"/>
                <a:gd name="connsiteX17557" fmla="*/ 1043696 w 5719680"/>
                <a:gd name="connsiteY17557" fmla="*/ 1782495 h 5704395"/>
                <a:gd name="connsiteX17558" fmla="*/ 1063070 w 5719680"/>
                <a:gd name="connsiteY17558" fmla="*/ 1792952 h 5704395"/>
                <a:gd name="connsiteX17559" fmla="*/ 1073234 w 5719680"/>
                <a:gd name="connsiteY17559" fmla="*/ 1798339 h 5704395"/>
                <a:gd name="connsiteX17560" fmla="*/ 1088798 w 5719680"/>
                <a:gd name="connsiteY17560" fmla="*/ 1767918 h 5704395"/>
                <a:gd name="connsiteX17561" fmla="*/ 1181225 w 5719680"/>
                <a:gd name="connsiteY17561" fmla="*/ 1746369 h 5704395"/>
                <a:gd name="connsiteX17562" fmla="*/ 1141522 w 5719680"/>
                <a:gd name="connsiteY17562" fmla="*/ 1748588 h 5704395"/>
                <a:gd name="connsiteX17563" fmla="*/ 1142475 w 5719680"/>
                <a:gd name="connsiteY17563" fmla="*/ 1764432 h 5704395"/>
                <a:gd name="connsiteX17564" fmla="*/ 1182177 w 5719680"/>
                <a:gd name="connsiteY17564" fmla="*/ 1761897 h 5704395"/>
                <a:gd name="connsiteX17565" fmla="*/ 1181225 w 5719680"/>
                <a:gd name="connsiteY17565" fmla="*/ 1746369 h 5704395"/>
                <a:gd name="connsiteX17566" fmla="*/ 193748 w 5719680"/>
                <a:gd name="connsiteY17566" fmla="*/ 1746369 h 5704395"/>
                <a:gd name="connsiteX17567" fmla="*/ 177549 w 5719680"/>
                <a:gd name="connsiteY17567" fmla="*/ 1775840 h 5704395"/>
                <a:gd name="connsiteX17568" fmla="*/ 190572 w 5719680"/>
                <a:gd name="connsiteY17568" fmla="*/ 1783128 h 5704395"/>
                <a:gd name="connsiteX17569" fmla="*/ 206452 w 5719680"/>
                <a:gd name="connsiteY17569" fmla="*/ 1753658 h 5704395"/>
                <a:gd name="connsiteX17570" fmla="*/ 193748 w 5719680"/>
                <a:gd name="connsiteY17570" fmla="*/ 1746369 h 5704395"/>
                <a:gd name="connsiteX17571" fmla="*/ 1185354 w 5719680"/>
                <a:gd name="connsiteY17571" fmla="*/ 1741933 h 5704395"/>
                <a:gd name="connsiteX17572" fmla="*/ 1186624 w 5719680"/>
                <a:gd name="connsiteY17572" fmla="*/ 1766016 h 5704395"/>
                <a:gd name="connsiteX17573" fmla="*/ 1138664 w 5719680"/>
                <a:gd name="connsiteY17573" fmla="*/ 1768868 h 5704395"/>
                <a:gd name="connsiteX17574" fmla="*/ 1137393 w 5719680"/>
                <a:gd name="connsiteY17574" fmla="*/ 1744785 h 5704395"/>
                <a:gd name="connsiteX17575" fmla="*/ 1139299 w 5719680"/>
                <a:gd name="connsiteY17575" fmla="*/ 1744785 h 5704395"/>
                <a:gd name="connsiteX17576" fmla="*/ 1451836 w 5719680"/>
                <a:gd name="connsiteY17576" fmla="*/ 1740665 h 5704395"/>
                <a:gd name="connsiteX17577" fmla="*/ 1441354 w 5719680"/>
                <a:gd name="connsiteY17577" fmla="*/ 1797705 h 5704395"/>
                <a:gd name="connsiteX17578" fmla="*/ 1482963 w 5719680"/>
                <a:gd name="connsiteY17578" fmla="*/ 1801508 h 5704395"/>
                <a:gd name="connsiteX17579" fmla="*/ 1493126 w 5719680"/>
                <a:gd name="connsiteY17579" fmla="*/ 1747320 h 5704395"/>
                <a:gd name="connsiteX17580" fmla="*/ 1451836 w 5719680"/>
                <a:gd name="connsiteY17580" fmla="*/ 1740665 h 5704395"/>
                <a:gd name="connsiteX17581" fmla="*/ 270611 w 5719680"/>
                <a:gd name="connsiteY17581" fmla="*/ 1740665 h 5704395"/>
                <a:gd name="connsiteX17582" fmla="*/ 252190 w 5719680"/>
                <a:gd name="connsiteY17582" fmla="*/ 1774572 h 5704395"/>
                <a:gd name="connsiteX17583" fmla="*/ 366215 w 5719680"/>
                <a:gd name="connsiteY17583" fmla="*/ 1839534 h 5704395"/>
                <a:gd name="connsiteX17584" fmla="*/ 377014 w 5719680"/>
                <a:gd name="connsiteY17584" fmla="*/ 1805311 h 5704395"/>
                <a:gd name="connsiteX17585" fmla="*/ 380508 w 5719680"/>
                <a:gd name="connsiteY17585" fmla="*/ 1803409 h 5704395"/>
                <a:gd name="connsiteX17586" fmla="*/ 1585236 w 5719680"/>
                <a:gd name="connsiteY17586" fmla="*/ 1739081 h 5704395"/>
                <a:gd name="connsiteX17587" fmla="*/ 1584283 w 5719680"/>
                <a:gd name="connsiteY17587" fmla="*/ 1752707 h 5704395"/>
                <a:gd name="connsiteX17588" fmla="*/ 1569355 w 5719680"/>
                <a:gd name="connsiteY17588" fmla="*/ 1751757 h 5704395"/>
                <a:gd name="connsiteX17589" fmla="*/ 1568084 w 5719680"/>
                <a:gd name="connsiteY17589" fmla="*/ 1770770 h 5704395"/>
                <a:gd name="connsiteX17590" fmla="*/ 1626526 w 5719680"/>
                <a:gd name="connsiteY17590" fmla="*/ 1774889 h 5704395"/>
                <a:gd name="connsiteX17591" fmla="*/ 1627797 w 5719680"/>
                <a:gd name="connsiteY17591" fmla="*/ 1756193 h 5704395"/>
                <a:gd name="connsiteX17592" fmla="*/ 1612869 w 5719680"/>
                <a:gd name="connsiteY17592" fmla="*/ 1754925 h 5704395"/>
                <a:gd name="connsiteX17593" fmla="*/ 1614139 w 5719680"/>
                <a:gd name="connsiteY17593" fmla="*/ 1741299 h 5704395"/>
                <a:gd name="connsiteX17594" fmla="*/ 1585236 w 5719680"/>
                <a:gd name="connsiteY17594" fmla="*/ 1739081 h 5704395"/>
                <a:gd name="connsiteX17595" fmla="*/ 439267 w 5719680"/>
                <a:gd name="connsiteY17595" fmla="*/ 1737813 h 5704395"/>
                <a:gd name="connsiteX17596" fmla="*/ 427198 w 5719680"/>
                <a:gd name="connsiteY17596" fmla="*/ 1780276 h 5704395"/>
                <a:gd name="connsiteX17597" fmla="*/ 523118 w 5719680"/>
                <a:gd name="connsiteY17597" fmla="*/ 1834781 h 5704395"/>
                <a:gd name="connsiteX17598" fmla="*/ 544081 w 5719680"/>
                <a:gd name="connsiteY17598" fmla="*/ 1797705 h 5704395"/>
                <a:gd name="connsiteX17599" fmla="*/ 1066882 w 5719680"/>
                <a:gd name="connsiteY17599" fmla="*/ 1736229 h 5704395"/>
                <a:gd name="connsiteX17600" fmla="*/ 1062118 w 5719680"/>
                <a:gd name="connsiteY17600" fmla="*/ 1745736 h 5704395"/>
                <a:gd name="connsiteX17601" fmla="*/ 1090703 w 5719680"/>
                <a:gd name="connsiteY17601" fmla="*/ 1764115 h 5704395"/>
                <a:gd name="connsiteX17602" fmla="*/ 1097373 w 5719680"/>
                <a:gd name="connsiteY17602" fmla="*/ 1751123 h 5704395"/>
                <a:gd name="connsiteX17603" fmla="*/ 1066882 w 5719680"/>
                <a:gd name="connsiteY17603" fmla="*/ 1736229 h 5704395"/>
                <a:gd name="connsiteX17604" fmla="*/ 1581424 w 5719680"/>
                <a:gd name="connsiteY17604" fmla="*/ 1734645 h 5704395"/>
                <a:gd name="connsiteX17605" fmla="*/ 1618586 w 5719680"/>
                <a:gd name="connsiteY17605" fmla="*/ 1737497 h 5704395"/>
                <a:gd name="connsiteX17606" fmla="*/ 1617315 w 5719680"/>
                <a:gd name="connsiteY17606" fmla="*/ 1751123 h 5704395"/>
                <a:gd name="connsiteX17607" fmla="*/ 1632243 w 5719680"/>
                <a:gd name="connsiteY17607" fmla="*/ 1752390 h 5704395"/>
                <a:gd name="connsiteX17608" fmla="*/ 1630338 w 5719680"/>
                <a:gd name="connsiteY17608" fmla="*/ 1779326 h 5704395"/>
                <a:gd name="connsiteX17609" fmla="*/ 1563638 w 5719680"/>
                <a:gd name="connsiteY17609" fmla="*/ 1774572 h 5704395"/>
                <a:gd name="connsiteX17610" fmla="*/ 1563638 w 5719680"/>
                <a:gd name="connsiteY17610" fmla="*/ 1772354 h 5704395"/>
                <a:gd name="connsiteX17611" fmla="*/ 1565543 w 5719680"/>
                <a:gd name="connsiteY17611" fmla="*/ 1747320 h 5704395"/>
                <a:gd name="connsiteX17612" fmla="*/ 1580472 w 5719680"/>
                <a:gd name="connsiteY17612" fmla="*/ 1748271 h 5704395"/>
                <a:gd name="connsiteX17613" fmla="*/ 1581424 w 5719680"/>
                <a:gd name="connsiteY17613" fmla="*/ 1734645 h 5704395"/>
                <a:gd name="connsiteX17614" fmla="*/ 587913 w 5719680"/>
                <a:gd name="connsiteY17614" fmla="*/ 1729257 h 5704395"/>
                <a:gd name="connsiteX17615" fmla="*/ 569173 w 5719680"/>
                <a:gd name="connsiteY17615" fmla="*/ 1761897 h 5704395"/>
                <a:gd name="connsiteX17616" fmla="*/ 605382 w 5719680"/>
                <a:gd name="connsiteY17616" fmla="*/ 1782495 h 5704395"/>
                <a:gd name="connsiteX17617" fmla="*/ 624121 w 5719680"/>
                <a:gd name="connsiteY17617" fmla="*/ 1749855 h 5704395"/>
                <a:gd name="connsiteX17618" fmla="*/ 932847 w 5719680"/>
                <a:gd name="connsiteY17618" fmla="*/ 1728307 h 5704395"/>
                <a:gd name="connsiteX17619" fmla="*/ 916013 w 5719680"/>
                <a:gd name="connsiteY17619" fmla="*/ 1760629 h 5704395"/>
                <a:gd name="connsiteX17620" fmla="*/ 996053 w 5719680"/>
                <a:gd name="connsiteY17620" fmla="*/ 1800557 h 5704395"/>
                <a:gd name="connsiteX17621" fmla="*/ 1023368 w 5719680"/>
                <a:gd name="connsiteY17621" fmla="*/ 1814183 h 5704395"/>
                <a:gd name="connsiteX17622" fmla="*/ 1037979 w 5719680"/>
                <a:gd name="connsiteY17622" fmla="*/ 1784713 h 5704395"/>
                <a:gd name="connsiteX17623" fmla="*/ 1000500 w 5719680"/>
                <a:gd name="connsiteY17623" fmla="*/ 1764432 h 5704395"/>
                <a:gd name="connsiteX17624" fmla="*/ 952857 w 5719680"/>
                <a:gd name="connsiteY17624" fmla="*/ 1738764 h 5704395"/>
                <a:gd name="connsiteX17625" fmla="*/ 937293 w 5719680"/>
                <a:gd name="connsiteY17625" fmla="*/ 1730525 h 5704395"/>
                <a:gd name="connsiteX17626" fmla="*/ 932847 w 5719680"/>
                <a:gd name="connsiteY17626" fmla="*/ 1728307 h 5704395"/>
                <a:gd name="connsiteX17627" fmla="*/ 230592 w 5719680"/>
                <a:gd name="connsiteY17627" fmla="*/ 1718166 h 5704395"/>
                <a:gd name="connsiteX17628" fmla="*/ 212170 w 5719680"/>
                <a:gd name="connsiteY17628" fmla="*/ 1751757 h 5704395"/>
                <a:gd name="connsiteX17629" fmla="*/ 248378 w 5719680"/>
                <a:gd name="connsiteY17629" fmla="*/ 1772354 h 5704395"/>
                <a:gd name="connsiteX17630" fmla="*/ 266800 w 5719680"/>
                <a:gd name="connsiteY17630" fmla="*/ 1738764 h 5704395"/>
                <a:gd name="connsiteX17631" fmla="*/ 1282227 w 5719680"/>
                <a:gd name="connsiteY17631" fmla="*/ 1717216 h 5704395"/>
                <a:gd name="connsiteX17632" fmla="*/ 1277146 w 5719680"/>
                <a:gd name="connsiteY17632" fmla="*/ 1783128 h 5704395"/>
                <a:gd name="connsiteX17633" fmla="*/ 1437225 w 5719680"/>
                <a:gd name="connsiteY17633" fmla="*/ 1797388 h 5704395"/>
                <a:gd name="connsiteX17634" fmla="*/ 1448660 w 5719680"/>
                <a:gd name="connsiteY17634" fmla="*/ 1735912 h 5704395"/>
                <a:gd name="connsiteX17635" fmla="*/ 1497891 w 5719680"/>
                <a:gd name="connsiteY17635" fmla="*/ 1743834 h 5704395"/>
                <a:gd name="connsiteX17636" fmla="*/ 1497573 w 5719680"/>
                <a:gd name="connsiteY17636" fmla="*/ 1746053 h 5704395"/>
                <a:gd name="connsiteX17637" fmla="*/ 1487092 w 5719680"/>
                <a:gd name="connsiteY17637" fmla="*/ 1801825 h 5704395"/>
                <a:gd name="connsiteX17638" fmla="*/ 1506466 w 5719680"/>
                <a:gd name="connsiteY17638" fmla="*/ 1803409 h 5704395"/>
                <a:gd name="connsiteX17639" fmla="*/ 1518536 w 5719680"/>
                <a:gd name="connsiteY17639" fmla="*/ 1746053 h 5704395"/>
                <a:gd name="connsiteX17640" fmla="*/ 1519171 w 5719680"/>
                <a:gd name="connsiteY17640" fmla="*/ 1739715 h 5704395"/>
                <a:gd name="connsiteX17641" fmla="*/ 1519806 w 5719680"/>
                <a:gd name="connsiteY17641" fmla="*/ 1728624 h 5704395"/>
                <a:gd name="connsiteX17642" fmla="*/ 1282227 w 5719680"/>
                <a:gd name="connsiteY17642" fmla="*/ 1717216 h 5704395"/>
                <a:gd name="connsiteX17643" fmla="*/ 648896 w 5719680"/>
                <a:gd name="connsiteY17643" fmla="*/ 1714364 h 5704395"/>
                <a:gd name="connsiteX17644" fmla="*/ 629838 w 5719680"/>
                <a:gd name="connsiteY17644" fmla="*/ 1747954 h 5704395"/>
                <a:gd name="connsiteX17645" fmla="*/ 644449 w 5719680"/>
                <a:gd name="connsiteY17645" fmla="*/ 1756510 h 5704395"/>
                <a:gd name="connsiteX17646" fmla="*/ 642226 w 5719680"/>
                <a:gd name="connsiteY17646" fmla="*/ 1760312 h 5704395"/>
                <a:gd name="connsiteX17647" fmla="*/ 627615 w 5719680"/>
                <a:gd name="connsiteY17647" fmla="*/ 1751757 h 5704395"/>
                <a:gd name="connsiteX17648" fmla="*/ 608876 w 5719680"/>
                <a:gd name="connsiteY17648" fmla="*/ 1784713 h 5704395"/>
                <a:gd name="connsiteX17649" fmla="*/ 625074 w 5719680"/>
                <a:gd name="connsiteY17649" fmla="*/ 1793586 h 5704395"/>
                <a:gd name="connsiteX17650" fmla="*/ 664459 w 5719680"/>
                <a:gd name="connsiteY17650" fmla="*/ 1723237 h 5704395"/>
                <a:gd name="connsiteX17651" fmla="*/ 648896 w 5719680"/>
                <a:gd name="connsiteY17651" fmla="*/ 1714364 h 5704395"/>
                <a:gd name="connsiteX17652" fmla="*/ 214393 w 5719680"/>
                <a:gd name="connsiteY17652" fmla="*/ 1708660 h 5704395"/>
                <a:gd name="connsiteX17653" fmla="*/ 195971 w 5719680"/>
                <a:gd name="connsiteY17653" fmla="*/ 1742567 h 5704395"/>
                <a:gd name="connsiteX17654" fmla="*/ 208676 w 5719680"/>
                <a:gd name="connsiteY17654" fmla="*/ 1749855 h 5704395"/>
                <a:gd name="connsiteX17655" fmla="*/ 227098 w 5719680"/>
                <a:gd name="connsiteY17655" fmla="*/ 1715948 h 5704395"/>
                <a:gd name="connsiteX17656" fmla="*/ 214393 w 5719680"/>
                <a:gd name="connsiteY17656" fmla="*/ 1708660 h 5704395"/>
                <a:gd name="connsiteX17657" fmla="*/ 289033 w 5719680"/>
                <a:gd name="connsiteY17657" fmla="*/ 1706758 h 5704395"/>
                <a:gd name="connsiteX17658" fmla="*/ 272517 w 5719680"/>
                <a:gd name="connsiteY17658" fmla="*/ 1736863 h 5704395"/>
                <a:gd name="connsiteX17659" fmla="*/ 384954 w 5719680"/>
                <a:gd name="connsiteY17659" fmla="*/ 1800874 h 5704395"/>
                <a:gd name="connsiteX17660" fmla="*/ 419892 w 5719680"/>
                <a:gd name="connsiteY17660" fmla="*/ 1780910 h 5704395"/>
                <a:gd name="connsiteX17661" fmla="*/ 709561 w 5719680"/>
                <a:gd name="connsiteY17661" fmla="*/ 1704540 h 5704395"/>
                <a:gd name="connsiteX17662" fmla="*/ 702891 w 5719680"/>
                <a:gd name="connsiteY17662" fmla="*/ 1718166 h 5704395"/>
                <a:gd name="connsiteX17663" fmla="*/ 732747 w 5719680"/>
                <a:gd name="connsiteY17663" fmla="*/ 1732743 h 5704395"/>
                <a:gd name="connsiteX17664" fmla="*/ 736558 w 5719680"/>
                <a:gd name="connsiteY17664" fmla="*/ 1725138 h 5704395"/>
                <a:gd name="connsiteX17665" fmla="*/ 450066 w 5719680"/>
                <a:gd name="connsiteY17665" fmla="*/ 1699153 h 5704395"/>
                <a:gd name="connsiteX17666" fmla="*/ 440538 w 5719680"/>
                <a:gd name="connsiteY17666" fmla="*/ 1733694 h 5704395"/>
                <a:gd name="connsiteX17667" fmla="*/ 546305 w 5719680"/>
                <a:gd name="connsiteY17667" fmla="*/ 1793903 h 5704395"/>
                <a:gd name="connsiteX17668" fmla="*/ 563456 w 5719680"/>
                <a:gd name="connsiteY17668" fmla="*/ 1763798 h 5704395"/>
                <a:gd name="connsiteX17669" fmla="*/ 701938 w 5719680"/>
                <a:gd name="connsiteY17669" fmla="*/ 1698836 h 5704395"/>
                <a:gd name="connsiteX17670" fmla="*/ 654930 w 5719680"/>
                <a:gd name="connsiteY17670" fmla="*/ 1782812 h 5704395"/>
                <a:gd name="connsiteX17671" fmla="*/ 661918 w 5719680"/>
                <a:gd name="connsiteY17671" fmla="*/ 1786614 h 5704395"/>
                <a:gd name="connsiteX17672" fmla="*/ 681610 w 5719680"/>
                <a:gd name="connsiteY17672" fmla="*/ 1747320 h 5704395"/>
                <a:gd name="connsiteX17673" fmla="*/ 719725 w 5719680"/>
                <a:gd name="connsiteY17673" fmla="*/ 1765700 h 5704395"/>
                <a:gd name="connsiteX17674" fmla="*/ 718772 w 5719680"/>
                <a:gd name="connsiteY17674" fmla="*/ 1767601 h 5704395"/>
                <a:gd name="connsiteX17675" fmla="*/ 698762 w 5719680"/>
                <a:gd name="connsiteY17675" fmla="*/ 1806895 h 5704395"/>
                <a:gd name="connsiteX17676" fmla="*/ 717819 w 5719680"/>
                <a:gd name="connsiteY17676" fmla="*/ 1837633 h 5704395"/>
                <a:gd name="connsiteX17677" fmla="*/ 750851 w 5719680"/>
                <a:gd name="connsiteY17677" fmla="*/ 1842386 h 5704395"/>
                <a:gd name="connsiteX17678" fmla="*/ 787377 w 5719680"/>
                <a:gd name="connsiteY17678" fmla="*/ 1849041 h 5704395"/>
                <a:gd name="connsiteX17679" fmla="*/ 811834 w 5719680"/>
                <a:gd name="connsiteY17679" fmla="*/ 1792952 h 5704395"/>
                <a:gd name="connsiteX17680" fmla="*/ 741005 w 5719680"/>
                <a:gd name="connsiteY17680" fmla="*/ 1756827 h 5704395"/>
                <a:gd name="connsiteX17681" fmla="*/ 745769 w 5719680"/>
                <a:gd name="connsiteY17681" fmla="*/ 1732109 h 5704395"/>
                <a:gd name="connsiteX17682" fmla="*/ 740052 w 5719680"/>
                <a:gd name="connsiteY17682" fmla="*/ 1727673 h 5704395"/>
                <a:gd name="connsiteX17683" fmla="*/ 734653 w 5719680"/>
                <a:gd name="connsiteY17683" fmla="*/ 1738130 h 5704395"/>
                <a:gd name="connsiteX17684" fmla="*/ 697174 w 5719680"/>
                <a:gd name="connsiteY17684" fmla="*/ 1720068 h 5704395"/>
                <a:gd name="connsiteX17685" fmla="*/ 706385 w 5719680"/>
                <a:gd name="connsiteY17685" fmla="*/ 1702005 h 5704395"/>
                <a:gd name="connsiteX17686" fmla="*/ 701938 w 5719680"/>
                <a:gd name="connsiteY17686" fmla="*/ 1698836 h 5704395"/>
                <a:gd name="connsiteX17687" fmla="*/ 609193 w 5719680"/>
                <a:gd name="connsiteY17687" fmla="*/ 1691548 h 5704395"/>
                <a:gd name="connsiteX17688" fmla="*/ 589818 w 5719680"/>
                <a:gd name="connsiteY17688" fmla="*/ 1725455 h 5704395"/>
                <a:gd name="connsiteX17689" fmla="*/ 626027 w 5719680"/>
                <a:gd name="connsiteY17689" fmla="*/ 1746053 h 5704395"/>
                <a:gd name="connsiteX17690" fmla="*/ 645402 w 5719680"/>
                <a:gd name="connsiteY17690" fmla="*/ 1712146 h 5704395"/>
                <a:gd name="connsiteX17691" fmla="*/ 609193 w 5719680"/>
                <a:gd name="connsiteY17691" fmla="*/ 1691548 h 5704395"/>
                <a:gd name="connsiteX17692" fmla="*/ 759744 w 5719680"/>
                <a:gd name="connsiteY17692" fmla="*/ 1689013 h 5704395"/>
                <a:gd name="connsiteX17693" fmla="*/ 741958 w 5719680"/>
                <a:gd name="connsiteY17693" fmla="*/ 1723553 h 5704395"/>
                <a:gd name="connsiteX17694" fmla="*/ 750851 w 5719680"/>
                <a:gd name="connsiteY17694" fmla="*/ 1730208 h 5704395"/>
                <a:gd name="connsiteX17695" fmla="*/ 746087 w 5719680"/>
                <a:gd name="connsiteY17695" fmla="*/ 1754292 h 5704395"/>
                <a:gd name="connsiteX17696" fmla="*/ 813740 w 5719680"/>
                <a:gd name="connsiteY17696" fmla="*/ 1788832 h 5704395"/>
                <a:gd name="connsiteX17697" fmla="*/ 838514 w 5719680"/>
                <a:gd name="connsiteY17697" fmla="*/ 1732109 h 5704395"/>
                <a:gd name="connsiteX17698" fmla="*/ 759744 w 5719680"/>
                <a:gd name="connsiteY17698" fmla="*/ 1689013 h 5704395"/>
                <a:gd name="connsiteX17699" fmla="*/ 1152639 w 5719680"/>
                <a:gd name="connsiteY17699" fmla="*/ 1686794 h 5704395"/>
                <a:gd name="connsiteX17700" fmla="*/ 1133899 w 5719680"/>
                <a:gd name="connsiteY17700" fmla="*/ 1721969 h 5704395"/>
                <a:gd name="connsiteX17701" fmla="*/ 1147875 w 5719680"/>
                <a:gd name="connsiteY17701" fmla="*/ 1729257 h 5704395"/>
                <a:gd name="connsiteX17702" fmla="*/ 1166614 w 5719680"/>
                <a:gd name="connsiteY17702" fmla="*/ 1694400 h 5704395"/>
                <a:gd name="connsiteX17703" fmla="*/ 1152639 w 5719680"/>
                <a:gd name="connsiteY17703" fmla="*/ 1686794 h 5704395"/>
                <a:gd name="connsiteX17704" fmla="*/ 249331 w 5719680"/>
                <a:gd name="connsiteY17704" fmla="*/ 1683943 h 5704395"/>
                <a:gd name="connsiteX17705" fmla="*/ 232815 w 5719680"/>
                <a:gd name="connsiteY17705" fmla="*/ 1714047 h 5704395"/>
                <a:gd name="connsiteX17706" fmla="*/ 269023 w 5719680"/>
                <a:gd name="connsiteY17706" fmla="*/ 1734961 h 5704395"/>
                <a:gd name="connsiteX17707" fmla="*/ 285540 w 5719680"/>
                <a:gd name="connsiteY17707" fmla="*/ 1704540 h 5704395"/>
                <a:gd name="connsiteX17708" fmla="*/ 956986 w 5719680"/>
                <a:gd name="connsiteY17708" fmla="*/ 1682675 h 5704395"/>
                <a:gd name="connsiteX17709" fmla="*/ 935070 w 5719680"/>
                <a:gd name="connsiteY17709" fmla="*/ 1724504 h 5704395"/>
                <a:gd name="connsiteX17710" fmla="*/ 1013204 w 5719680"/>
                <a:gd name="connsiteY17710" fmla="*/ 1766333 h 5704395"/>
                <a:gd name="connsiteX17711" fmla="*/ 1039884 w 5719680"/>
                <a:gd name="connsiteY17711" fmla="*/ 1780593 h 5704395"/>
                <a:gd name="connsiteX17712" fmla="*/ 1056718 w 5719680"/>
                <a:gd name="connsiteY17712" fmla="*/ 1747320 h 5704395"/>
                <a:gd name="connsiteX17713" fmla="*/ 667635 w 5719680"/>
                <a:gd name="connsiteY17713" fmla="*/ 1681407 h 5704395"/>
                <a:gd name="connsiteX17714" fmla="*/ 651119 w 5719680"/>
                <a:gd name="connsiteY17714" fmla="*/ 1710561 h 5704395"/>
                <a:gd name="connsiteX17715" fmla="*/ 666682 w 5719680"/>
                <a:gd name="connsiteY17715" fmla="*/ 1719434 h 5704395"/>
                <a:gd name="connsiteX17716" fmla="*/ 683198 w 5719680"/>
                <a:gd name="connsiteY17716" fmla="*/ 1690280 h 5704395"/>
                <a:gd name="connsiteX17717" fmla="*/ 233132 w 5719680"/>
                <a:gd name="connsiteY17717" fmla="*/ 1674753 h 5704395"/>
                <a:gd name="connsiteX17718" fmla="*/ 216299 w 5719680"/>
                <a:gd name="connsiteY17718" fmla="*/ 1704857 h 5704395"/>
                <a:gd name="connsiteX17719" fmla="*/ 229003 w 5719680"/>
                <a:gd name="connsiteY17719" fmla="*/ 1712146 h 5704395"/>
                <a:gd name="connsiteX17720" fmla="*/ 245520 w 5719680"/>
                <a:gd name="connsiteY17720" fmla="*/ 1681724 h 5704395"/>
                <a:gd name="connsiteX17721" fmla="*/ 233132 w 5719680"/>
                <a:gd name="connsiteY17721" fmla="*/ 1674753 h 5704395"/>
                <a:gd name="connsiteX17722" fmla="*/ 726712 w 5719680"/>
                <a:gd name="connsiteY17722" fmla="*/ 1670633 h 5704395"/>
                <a:gd name="connsiteX17723" fmla="*/ 711784 w 5719680"/>
                <a:gd name="connsiteY17723" fmla="*/ 1700738 h 5704395"/>
                <a:gd name="connsiteX17724" fmla="*/ 738464 w 5719680"/>
                <a:gd name="connsiteY17724" fmla="*/ 1721018 h 5704395"/>
                <a:gd name="connsiteX17725" fmla="*/ 755933 w 5719680"/>
                <a:gd name="connsiteY17725" fmla="*/ 1686794 h 5704395"/>
                <a:gd name="connsiteX17726" fmla="*/ 726712 w 5719680"/>
                <a:gd name="connsiteY17726" fmla="*/ 1670633 h 5704395"/>
                <a:gd name="connsiteX17727" fmla="*/ 720042 w 5719680"/>
                <a:gd name="connsiteY17727" fmla="*/ 1666831 h 5704395"/>
                <a:gd name="connsiteX17728" fmla="*/ 704161 w 5719680"/>
                <a:gd name="connsiteY17728" fmla="*/ 1695033 h 5704395"/>
                <a:gd name="connsiteX17729" fmla="*/ 708290 w 5719680"/>
                <a:gd name="connsiteY17729" fmla="*/ 1698202 h 5704395"/>
                <a:gd name="connsiteX17730" fmla="*/ 723218 w 5719680"/>
                <a:gd name="connsiteY17730" fmla="*/ 1668415 h 5704395"/>
                <a:gd name="connsiteX17731" fmla="*/ 720042 w 5719680"/>
                <a:gd name="connsiteY17731" fmla="*/ 1666831 h 5704395"/>
                <a:gd name="connsiteX17732" fmla="*/ 476428 w 5719680"/>
                <a:gd name="connsiteY17732" fmla="*/ 1665880 h 5704395"/>
                <a:gd name="connsiteX17733" fmla="*/ 451337 w 5719680"/>
                <a:gd name="connsiteY17733" fmla="*/ 1694717 h 5704395"/>
                <a:gd name="connsiteX17734" fmla="*/ 565679 w 5719680"/>
                <a:gd name="connsiteY17734" fmla="*/ 1759996 h 5704395"/>
                <a:gd name="connsiteX17735" fmla="*/ 584101 w 5719680"/>
                <a:gd name="connsiteY17735" fmla="*/ 1727039 h 5704395"/>
                <a:gd name="connsiteX17736" fmla="*/ 311584 w 5719680"/>
                <a:gd name="connsiteY17736" fmla="*/ 1665246 h 5704395"/>
                <a:gd name="connsiteX17737" fmla="*/ 291257 w 5719680"/>
                <a:gd name="connsiteY17737" fmla="*/ 1702639 h 5704395"/>
                <a:gd name="connsiteX17738" fmla="*/ 423386 w 5719680"/>
                <a:gd name="connsiteY17738" fmla="*/ 1778058 h 5704395"/>
                <a:gd name="connsiteX17739" fmla="*/ 435138 w 5719680"/>
                <a:gd name="connsiteY17739" fmla="*/ 1735595 h 5704395"/>
                <a:gd name="connsiteX17740" fmla="*/ 627933 w 5719680"/>
                <a:gd name="connsiteY17740" fmla="*/ 1658591 h 5704395"/>
                <a:gd name="connsiteX17741" fmla="*/ 611416 w 5719680"/>
                <a:gd name="connsiteY17741" fmla="*/ 1687745 h 5704395"/>
                <a:gd name="connsiteX17742" fmla="*/ 647625 w 5719680"/>
                <a:gd name="connsiteY17742" fmla="*/ 1708343 h 5704395"/>
                <a:gd name="connsiteX17743" fmla="*/ 664141 w 5719680"/>
                <a:gd name="connsiteY17743" fmla="*/ 1679189 h 5704395"/>
                <a:gd name="connsiteX17744" fmla="*/ 627933 w 5719680"/>
                <a:gd name="connsiteY17744" fmla="*/ 1658591 h 5704395"/>
                <a:gd name="connsiteX17745" fmla="*/ 1722765 w 5719680"/>
                <a:gd name="connsiteY17745" fmla="*/ 1657324 h 5704395"/>
                <a:gd name="connsiteX17746" fmla="*/ 1538863 w 5719680"/>
                <a:gd name="connsiteY17746" fmla="*/ 1689013 h 5704395"/>
                <a:gd name="connsiteX17747" fmla="*/ 1540769 w 5719680"/>
                <a:gd name="connsiteY17747" fmla="*/ 1721018 h 5704395"/>
                <a:gd name="connsiteX17748" fmla="*/ 1539181 w 5719680"/>
                <a:gd name="connsiteY17748" fmla="*/ 1748905 h 5704395"/>
                <a:gd name="connsiteX17749" fmla="*/ 1539181 w 5719680"/>
                <a:gd name="connsiteY17749" fmla="*/ 1749538 h 5704395"/>
                <a:gd name="connsiteX17750" fmla="*/ 1539181 w 5719680"/>
                <a:gd name="connsiteY17750" fmla="*/ 1749855 h 5704395"/>
                <a:gd name="connsiteX17751" fmla="*/ 1530923 w 5719680"/>
                <a:gd name="connsiteY17751" fmla="*/ 1788199 h 5704395"/>
                <a:gd name="connsiteX17752" fmla="*/ 1706566 w 5719680"/>
                <a:gd name="connsiteY17752" fmla="*/ 1793903 h 5704395"/>
                <a:gd name="connsiteX17753" fmla="*/ 1722765 w 5719680"/>
                <a:gd name="connsiteY17753" fmla="*/ 1657324 h 5704395"/>
                <a:gd name="connsiteX17754" fmla="*/ 776578 w 5719680"/>
                <a:gd name="connsiteY17754" fmla="*/ 1655423 h 5704395"/>
                <a:gd name="connsiteX17755" fmla="*/ 761650 w 5719680"/>
                <a:gd name="connsiteY17755" fmla="*/ 1684893 h 5704395"/>
                <a:gd name="connsiteX17756" fmla="*/ 777531 w 5719680"/>
                <a:gd name="connsiteY17756" fmla="*/ 1693766 h 5704395"/>
                <a:gd name="connsiteX17757" fmla="*/ 821680 w 5719680"/>
                <a:gd name="connsiteY17757" fmla="*/ 1718166 h 5704395"/>
                <a:gd name="connsiteX17758" fmla="*/ 836608 w 5719680"/>
                <a:gd name="connsiteY17758" fmla="*/ 1726089 h 5704395"/>
                <a:gd name="connsiteX17759" fmla="*/ 840420 w 5719680"/>
                <a:gd name="connsiteY17759" fmla="*/ 1727990 h 5704395"/>
                <a:gd name="connsiteX17760" fmla="*/ 843596 w 5719680"/>
                <a:gd name="connsiteY17760" fmla="*/ 1720385 h 5704395"/>
                <a:gd name="connsiteX17761" fmla="*/ 855665 w 5719680"/>
                <a:gd name="connsiteY17761" fmla="*/ 1692815 h 5704395"/>
                <a:gd name="connsiteX17762" fmla="*/ 776578 w 5719680"/>
                <a:gd name="connsiteY17762" fmla="*/ 1655423 h 5704395"/>
                <a:gd name="connsiteX17763" fmla="*/ 1241255 w 5719680"/>
                <a:gd name="connsiteY17763" fmla="*/ 1651303 h 5704395"/>
                <a:gd name="connsiteX17764" fmla="*/ 1189165 w 5719680"/>
                <a:gd name="connsiteY17764" fmla="*/ 1729257 h 5704395"/>
                <a:gd name="connsiteX17765" fmla="*/ 1139299 w 5719680"/>
                <a:gd name="connsiteY17765" fmla="*/ 1738764 h 5704395"/>
                <a:gd name="connsiteX17766" fmla="*/ 1139934 w 5719680"/>
                <a:gd name="connsiteY17766" fmla="*/ 1739081 h 5704395"/>
                <a:gd name="connsiteX17767" fmla="*/ 1135805 w 5719680"/>
                <a:gd name="connsiteY17767" fmla="*/ 1747003 h 5704395"/>
                <a:gd name="connsiteX17768" fmla="*/ 1123100 w 5719680"/>
                <a:gd name="connsiteY17768" fmla="*/ 1771720 h 5704395"/>
                <a:gd name="connsiteX17769" fmla="*/ 1196788 w 5719680"/>
                <a:gd name="connsiteY17769" fmla="*/ 1789466 h 5704395"/>
                <a:gd name="connsiteX17770" fmla="*/ 1205999 w 5719680"/>
                <a:gd name="connsiteY17770" fmla="*/ 1764749 h 5704395"/>
                <a:gd name="connsiteX17771" fmla="*/ 1207269 w 5719680"/>
                <a:gd name="connsiteY17771" fmla="*/ 1764432 h 5704395"/>
                <a:gd name="connsiteX17772" fmla="*/ 1274922 w 5719680"/>
                <a:gd name="connsiteY17772" fmla="*/ 1756193 h 5704395"/>
                <a:gd name="connsiteX17773" fmla="*/ 1278416 w 5719680"/>
                <a:gd name="connsiteY17773" fmla="*/ 1712779 h 5704395"/>
                <a:gd name="connsiteX17774" fmla="*/ 1300649 w 5719680"/>
                <a:gd name="connsiteY17774" fmla="*/ 1713730 h 5704395"/>
                <a:gd name="connsiteX17775" fmla="*/ 1319706 w 5719680"/>
                <a:gd name="connsiteY17775" fmla="*/ 1683626 h 5704395"/>
                <a:gd name="connsiteX17776" fmla="*/ 1319071 w 5719680"/>
                <a:gd name="connsiteY17776" fmla="*/ 1683626 h 5704395"/>
                <a:gd name="connsiteX17777" fmla="*/ 1241255 w 5719680"/>
                <a:gd name="connsiteY17777" fmla="*/ 1651303 h 5704395"/>
                <a:gd name="connsiteX17778" fmla="*/ 685422 w 5719680"/>
                <a:gd name="connsiteY17778" fmla="*/ 1650035 h 5704395"/>
                <a:gd name="connsiteX17779" fmla="*/ 669858 w 5719680"/>
                <a:gd name="connsiteY17779" fmla="*/ 1677605 h 5704395"/>
                <a:gd name="connsiteX17780" fmla="*/ 685422 w 5719680"/>
                <a:gd name="connsiteY17780" fmla="*/ 1686161 h 5704395"/>
                <a:gd name="connsiteX17781" fmla="*/ 700667 w 5719680"/>
                <a:gd name="connsiteY17781" fmla="*/ 1658908 h 5704395"/>
                <a:gd name="connsiteX17782" fmla="*/ 685422 w 5719680"/>
                <a:gd name="connsiteY17782" fmla="*/ 1650035 h 5704395"/>
                <a:gd name="connsiteX17783" fmla="*/ 271882 w 5719680"/>
                <a:gd name="connsiteY17783" fmla="*/ 1642747 h 5704395"/>
                <a:gd name="connsiteX17784" fmla="*/ 251237 w 5719680"/>
                <a:gd name="connsiteY17784" fmla="*/ 1680140 h 5704395"/>
                <a:gd name="connsiteX17785" fmla="*/ 287763 w 5719680"/>
                <a:gd name="connsiteY17785" fmla="*/ 1700738 h 5704395"/>
                <a:gd name="connsiteX17786" fmla="*/ 308091 w 5719680"/>
                <a:gd name="connsiteY17786" fmla="*/ 1663345 h 5704395"/>
                <a:gd name="connsiteX17787" fmla="*/ 978901 w 5719680"/>
                <a:gd name="connsiteY17787" fmla="*/ 1641796 h 5704395"/>
                <a:gd name="connsiteX17788" fmla="*/ 959209 w 5719680"/>
                <a:gd name="connsiteY17788" fmla="*/ 1678872 h 5704395"/>
                <a:gd name="connsiteX17789" fmla="*/ 1058624 w 5719680"/>
                <a:gd name="connsiteY17789" fmla="*/ 1743200 h 5704395"/>
                <a:gd name="connsiteX17790" fmla="*/ 1064976 w 5719680"/>
                <a:gd name="connsiteY17790" fmla="*/ 1730842 h 5704395"/>
                <a:gd name="connsiteX17791" fmla="*/ 1103090 w 5719680"/>
                <a:gd name="connsiteY17791" fmla="*/ 1749221 h 5704395"/>
                <a:gd name="connsiteX17792" fmla="*/ 1102138 w 5719680"/>
                <a:gd name="connsiteY17792" fmla="*/ 1751123 h 5704395"/>
                <a:gd name="connsiteX17793" fmla="*/ 1094197 w 5719680"/>
                <a:gd name="connsiteY17793" fmla="*/ 1766333 h 5704395"/>
                <a:gd name="connsiteX17794" fmla="*/ 1099279 w 5719680"/>
                <a:gd name="connsiteY17794" fmla="*/ 1769502 h 5704395"/>
                <a:gd name="connsiteX17795" fmla="*/ 1096738 w 5719680"/>
                <a:gd name="connsiteY17795" fmla="*/ 1773305 h 5704395"/>
                <a:gd name="connsiteX17796" fmla="*/ 1092291 w 5719680"/>
                <a:gd name="connsiteY17796" fmla="*/ 1770453 h 5704395"/>
                <a:gd name="connsiteX17797" fmla="*/ 1077046 w 5719680"/>
                <a:gd name="connsiteY17797" fmla="*/ 1800240 h 5704395"/>
                <a:gd name="connsiteX17798" fmla="*/ 1079904 w 5719680"/>
                <a:gd name="connsiteY17798" fmla="*/ 1801508 h 5704395"/>
                <a:gd name="connsiteX17799" fmla="*/ 1083398 w 5719680"/>
                <a:gd name="connsiteY17799" fmla="*/ 1803409 h 5704395"/>
                <a:gd name="connsiteX17800" fmla="*/ 1113254 w 5719680"/>
                <a:gd name="connsiteY17800" fmla="*/ 1745102 h 5704395"/>
                <a:gd name="connsiteX17801" fmla="*/ 742275 w 5719680"/>
                <a:gd name="connsiteY17801" fmla="*/ 1638944 h 5704395"/>
                <a:gd name="connsiteX17802" fmla="*/ 728618 w 5719680"/>
                <a:gd name="connsiteY17802" fmla="*/ 1666514 h 5704395"/>
                <a:gd name="connsiteX17803" fmla="*/ 758156 w 5719680"/>
                <a:gd name="connsiteY17803" fmla="*/ 1682992 h 5704395"/>
                <a:gd name="connsiteX17804" fmla="*/ 773084 w 5719680"/>
                <a:gd name="connsiteY17804" fmla="*/ 1653521 h 5704395"/>
                <a:gd name="connsiteX17805" fmla="*/ 742275 w 5719680"/>
                <a:gd name="connsiteY17805" fmla="*/ 1638944 h 5704395"/>
                <a:gd name="connsiteX17806" fmla="*/ 737194 w 5719680"/>
                <a:gd name="connsiteY17806" fmla="*/ 1636409 h 5704395"/>
                <a:gd name="connsiteX17807" fmla="*/ 722265 w 5719680"/>
                <a:gd name="connsiteY17807" fmla="*/ 1663028 h 5704395"/>
                <a:gd name="connsiteX17808" fmla="*/ 725124 w 5719680"/>
                <a:gd name="connsiteY17808" fmla="*/ 1664612 h 5704395"/>
                <a:gd name="connsiteX17809" fmla="*/ 738782 w 5719680"/>
                <a:gd name="connsiteY17809" fmla="*/ 1637360 h 5704395"/>
                <a:gd name="connsiteX17810" fmla="*/ 737194 w 5719680"/>
                <a:gd name="connsiteY17810" fmla="*/ 1636409 h 5704395"/>
                <a:gd name="connsiteX17811" fmla="*/ 255683 w 5719680"/>
                <a:gd name="connsiteY17811" fmla="*/ 1633557 h 5704395"/>
                <a:gd name="connsiteX17812" fmla="*/ 235038 w 5719680"/>
                <a:gd name="connsiteY17812" fmla="*/ 1670633 h 5704395"/>
                <a:gd name="connsiteX17813" fmla="*/ 247743 w 5719680"/>
                <a:gd name="connsiteY17813" fmla="*/ 1677922 h 5704395"/>
                <a:gd name="connsiteX17814" fmla="*/ 268071 w 5719680"/>
                <a:gd name="connsiteY17814" fmla="*/ 1640529 h 5704395"/>
                <a:gd name="connsiteX17815" fmla="*/ 255683 w 5719680"/>
                <a:gd name="connsiteY17815" fmla="*/ 1633557 h 5704395"/>
                <a:gd name="connsiteX17816" fmla="*/ 1477881 w 5719680"/>
                <a:gd name="connsiteY17816" fmla="*/ 1631656 h 5704395"/>
                <a:gd name="connsiteX17817" fmla="*/ 1451836 w 5719680"/>
                <a:gd name="connsiteY17817" fmla="*/ 1660176 h 5704395"/>
                <a:gd name="connsiteX17818" fmla="*/ 1469940 w 5719680"/>
                <a:gd name="connsiteY17818" fmla="*/ 1676654 h 5704395"/>
                <a:gd name="connsiteX17819" fmla="*/ 1495985 w 5719680"/>
                <a:gd name="connsiteY17819" fmla="*/ 1647817 h 5704395"/>
                <a:gd name="connsiteX17820" fmla="*/ 330324 w 5719680"/>
                <a:gd name="connsiteY17820" fmla="*/ 1631022 h 5704395"/>
                <a:gd name="connsiteX17821" fmla="*/ 313808 w 5719680"/>
                <a:gd name="connsiteY17821" fmla="*/ 1661443 h 5704395"/>
                <a:gd name="connsiteX17822" fmla="*/ 436409 w 5719680"/>
                <a:gd name="connsiteY17822" fmla="*/ 1731159 h 5704395"/>
                <a:gd name="connsiteX17823" fmla="*/ 445937 w 5719680"/>
                <a:gd name="connsiteY17823" fmla="*/ 1696935 h 5704395"/>
                <a:gd name="connsiteX17824" fmla="*/ 747993 w 5719680"/>
                <a:gd name="connsiteY17824" fmla="*/ 1628170 h 5704395"/>
                <a:gd name="connsiteX17825" fmla="*/ 744499 w 5719680"/>
                <a:gd name="connsiteY17825" fmla="*/ 1635142 h 5704395"/>
                <a:gd name="connsiteX17826" fmla="*/ 774990 w 5719680"/>
                <a:gd name="connsiteY17826" fmla="*/ 1649719 h 5704395"/>
                <a:gd name="connsiteX17827" fmla="*/ 778484 w 5719680"/>
                <a:gd name="connsiteY17827" fmla="*/ 1643064 h 5704395"/>
                <a:gd name="connsiteX17828" fmla="*/ 747993 w 5719680"/>
                <a:gd name="connsiteY17828" fmla="*/ 1628170 h 5704395"/>
                <a:gd name="connsiteX17829" fmla="*/ 645719 w 5719680"/>
                <a:gd name="connsiteY17829" fmla="*/ 1627536 h 5704395"/>
                <a:gd name="connsiteX17830" fmla="*/ 630156 w 5719680"/>
                <a:gd name="connsiteY17830" fmla="*/ 1654789 h 5704395"/>
                <a:gd name="connsiteX17831" fmla="*/ 666365 w 5719680"/>
                <a:gd name="connsiteY17831" fmla="*/ 1675387 h 5704395"/>
                <a:gd name="connsiteX17832" fmla="*/ 681928 w 5719680"/>
                <a:gd name="connsiteY17832" fmla="*/ 1648134 h 5704395"/>
                <a:gd name="connsiteX17833" fmla="*/ 1477563 w 5719680"/>
                <a:gd name="connsiteY17833" fmla="*/ 1625635 h 5704395"/>
                <a:gd name="connsiteX17834" fmla="*/ 1501702 w 5719680"/>
                <a:gd name="connsiteY17834" fmla="*/ 1647500 h 5704395"/>
                <a:gd name="connsiteX17835" fmla="*/ 1470258 w 5719680"/>
                <a:gd name="connsiteY17835" fmla="*/ 1682675 h 5704395"/>
                <a:gd name="connsiteX17836" fmla="*/ 1445801 w 5719680"/>
                <a:gd name="connsiteY17836" fmla="*/ 1660493 h 5704395"/>
                <a:gd name="connsiteX17837" fmla="*/ 1447389 w 5719680"/>
                <a:gd name="connsiteY17837" fmla="*/ 1659225 h 5704395"/>
                <a:gd name="connsiteX17838" fmla="*/ 491039 w 5719680"/>
                <a:gd name="connsiteY17838" fmla="*/ 1624368 h 5704395"/>
                <a:gd name="connsiteX17839" fmla="*/ 478017 w 5719680"/>
                <a:gd name="connsiteY17839" fmla="*/ 1661760 h 5704395"/>
                <a:gd name="connsiteX17840" fmla="*/ 586325 w 5719680"/>
                <a:gd name="connsiteY17840" fmla="*/ 1723237 h 5704395"/>
                <a:gd name="connsiteX17841" fmla="*/ 605382 w 5719680"/>
                <a:gd name="connsiteY17841" fmla="*/ 1689646 h 5704395"/>
                <a:gd name="connsiteX17842" fmla="*/ 1924452 w 5719680"/>
                <a:gd name="connsiteY17842" fmla="*/ 1623734 h 5704395"/>
                <a:gd name="connsiteX17843" fmla="*/ 1727211 w 5719680"/>
                <a:gd name="connsiteY17843" fmla="*/ 1656373 h 5704395"/>
                <a:gd name="connsiteX17844" fmla="*/ 1711013 w 5719680"/>
                <a:gd name="connsiteY17844" fmla="*/ 1794219 h 5704395"/>
                <a:gd name="connsiteX17845" fmla="*/ 1812651 w 5719680"/>
                <a:gd name="connsiteY17845" fmla="*/ 1806895 h 5704395"/>
                <a:gd name="connsiteX17846" fmla="*/ 1797088 w 5719680"/>
                <a:gd name="connsiteY17846" fmla="*/ 1787248 h 5704395"/>
                <a:gd name="connsiteX17847" fmla="*/ 1839331 w 5719680"/>
                <a:gd name="connsiteY17847" fmla="*/ 1750172 h 5704395"/>
                <a:gd name="connsiteX17848" fmla="*/ 1873634 w 5719680"/>
                <a:gd name="connsiteY17848" fmla="*/ 1791051 h 5704395"/>
                <a:gd name="connsiteX17849" fmla="*/ 1850448 w 5719680"/>
                <a:gd name="connsiteY17849" fmla="*/ 1811648 h 5704395"/>
                <a:gd name="connsiteX17850" fmla="*/ 1892373 w 5719680"/>
                <a:gd name="connsiteY17850" fmla="*/ 1816719 h 5704395"/>
                <a:gd name="connsiteX17851" fmla="*/ 1097373 w 5719680"/>
                <a:gd name="connsiteY17851" fmla="*/ 1620565 h 5704395"/>
                <a:gd name="connsiteX17852" fmla="*/ 1079269 w 5719680"/>
                <a:gd name="connsiteY17852" fmla="*/ 1645282 h 5704395"/>
                <a:gd name="connsiteX17853" fmla="*/ 1093562 w 5719680"/>
                <a:gd name="connsiteY17853" fmla="*/ 1656373 h 5704395"/>
                <a:gd name="connsiteX17854" fmla="*/ 1079587 w 5719680"/>
                <a:gd name="connsiteY17854" fmla="*/ 1674753 h 5704395"/>
                <a:gd name="connsiteX17855" fmla="*/ 1100549 w 5719680"/>
                <a:gd name="connsiteY17855" fmla="*/ 1690914 h 5704395"/>
                <a:gd name="connsiteX17856" fmla="*/ 1131358 w 5719680"/>
                <a:gd name="connsiteY17856" fmla="*/ 1650986 h 5704395"/>
                <a:gd name="connsiteX17857" fmla="*/ 1118336 w 5719680"/>
                <a:gd name="connsiteY17857" fmla="*/ 1640846 h 5704395"/>
                <a:gd name="connsiteX17858" fmla="*/ 1120242 w 5719680"/>
                <a:gd name="connsiteY17858" fmla="*/ 1638311 h 5704395"/>
                <a:gd name="connsiteX17859" fmla="*/ 1097373 w 5719680"/>
                <a:gd name="connsiteY17859" fmla="*/ 1620565 h 5704395"/>
                <a:gd name="connsiteX17860" fmla="*/ 1163120 w 5719680"/>
                <a:gd name="connsiteY17860" fmla="*/ 1618030 h 5704395"/>
                <a:gd name="connsiteX17861" fmla="*/ 1113254 w 5719680"/>
                <a:gd name="connsiteY17861" fmla="*/ 1718800 h 5704395"/>
                <a:gd name="connsiteX17862" fmla="*/ 1134535 w 5719680"/>
                <a:gd name="connsiteY17862" fmla="*/ 1735278 h 5704395"/>
                <a:gd name="connsiteX17863" fmla="*/ 1145969 w 5719680"/>
                <a:gd name="connsiteY17863" fmla="*/ 1733060 h 5704395"/>
                <a:gd name="connsiteX17864" fmla="*/ 1128500 w 5719680"/>
                <a:gd name="connsiteY17864" fmla="*/ 1723870 h 5704395"/>
                <a:gd name="connsiteX17865" fmla="*/ 1129453 w 5719680"/>
                <a:gd name="connsiteY17865" fmla="*/ 1721969 h 5704395"/>
                <a:gd name="connsiteX17866" fmla="*/ 1150733 w 5719680"/>
                <a:gd name="connsiteY17866" fmla="*/ 1681407 h 5704395"/>
                <a:gd name="connsiteX17867" fmla="*/ 1172014 w 5719680"/>
                <a:gd name="connsiteY17867" fmla="*/ 1692498 h 5704395"/>
                <a:gd name="connsiteX17868" fmla="*/ 1151051 w 5719680"/>
                <a:gd name="connsiteY17868" fmla="*/ 1732109 h 5704395"/>
                <a:gd name="connsiteX17869" fmla="*/ 1186624 w 5719680"/>
                <a:gd name="connsiteY17869" fmla="*/ 1725455 h 5704395"/>
                <a:gd name="connsiteX17870" fmla="*/ 1237126 w 5719680"/>
                <a:gd name="connsiteY17870" fmla="*/ 1649402 h 5704395"/>
                <a:gd name="connsiteX17871" fmla="*/ 1199964 w 5719680"/>
                <a:gd name="connsiteY17871" fmla="*/ 1633874 h 5704395"/>
                <a:gd name="connsiteX17872" fmla="*/ 1163120 w 5719680"/>
                <a:gd name="connsiteY17872" fmla="*/ 1618030 h 5704395"/>
                <a:gd name="connsiteX17873" fmla="*/ 704796 w 5719680"/>
                <a:gd name="connsiteY17873" fmla="*/ 1616445 h 5704395"/>
                <a:gd name="connsiteX17874" fmla="*/ 687645 w 5719680"/>
                <a:gd name="connsiteY17874" fmla="*/ 1646233 h 5704395"/>
                <a:gd name="connsiteX17875" fmla="*/ 702891 w 5719680"/>
                <a:gd name="connsiteY17875" fmla="*/ 1654789 h 5704395"/>
                <a:gd name="connsiteX17876" fmla="*/ 719725 w 5719680"/>
                <a:gd name="connsiteY17876" fmla="*/ 1625001 h 5704395"/>
                <a:gd name="connsiteX17877" fmla="*/ 704796 w 5719680"/>
                <a:gd name="connsiteY17877" fmla="*/ 1616445 h 5704395"/>
                <a:gd name="connsiteX17878" fmla="*/ 1096738 w 5719680"/>
                <a:gd name="connsiteY17878" fmla="*/ 1614861 h 5704395"/>
                <a:gd name="connsiteX17879" fmla="*/ 1126277 w 5719680"/>
                <a:gd name="connsiteY17879" fmla="*/ 1637677 h 5704395"/>
                <a:gd name="connsiteX17880" fmla="*/ 1124053 w 5719680"/>
                <a:gd name="connsiteY17880" fmla="*/ 1640212 h 5704395"/>
                <a:gd name="connsiteX17881" fmla="*/ 1137393 w 5719680"/>
                <a:gd name="connsiteY17881" fmla="*/ 1650352 h 5704395"/>
                <a:gd name="connsiteX17882" fmla="*/ 1101185 w 5719680"/>
                <a:gd name="connsiteY17882" fmla="*/ 1696935 h 5704395"/>
                <a:gd name="connsiteX17883" fmla="*/ 1073552 w 5719680"/>
                <a:gd name="connsiteY17883" fmla="*/ 1675387 h 5704395"/>
                <a:gd name="connsiteX17884" fmla="*/ 1087845 w 5719680"/>
                <a:gd name="connsiteY17884" fmla="*/ 1657324 h 5704395"/>
                <a:gd name="connsiteX17885" fmla="*/ 1073552 w 5719680"/>
                <a:gd name="connsiteY17885" fmla="*/ 1645916 h 5704395"/>
                <a:gd name="connsiteX17886" fmla="*/ 1074822 w 5719680"/>
                <a:gd name="connsiteY17886" fmla="*/ 1644332 h 5704395"/>
                <a:gd name="connsiteX17887" fmla="*/ 1096738 w 5719680"/>
                <a:gd name="connsiteY17887" fmla="*/ 1614861 h 5704395"/>
                <a:gd name="connsiteX17888" fmla="*/ 290621 w 5719680"/>
                <a:gd name="connsiteY17888" fmla="*/ 1608206 h 5704395"/>
                <a:gd name="connsiteX17889" fmla="*/ 273788 w 5719680"/>
                <a:gd name="connsiteY17889" fmla="*/ 1638628 h 5704395"/>
                <a:gd name="connsiteX17890" fmla="*/ 309996 w 5719680"/>
                <a:gd name="connsiteY17890" fmla="*/ 1659225 h 5704395"/>
                <a:gd name="connsiteX17891" fmla="*/ 326830 w 5719680"/>
                <a:gd name="connsiteY17891" fmla="*/ 1628804 h 5704395"/>
                <a:gd name="connsiteX17892" fmla="*/ 274423 w 5719680"/>
                <a:gd name="connsiteY17892" fmla="*/ 1599017 h 5704395"/>
                <a:gd name="connsiteX17893" fmla="*/ 257589 w 5719680"/>
                <a:gd name="connsiteY17893" fmla="*/ 1629438 h 5704395"/>
                <a:gd name="connsiteX17894" fmla="*/ 270294 w 5719680"/>
                <a:gd name="connsiteY17894" fmla="*/ 1636726 h 5704395"/>
                <a:gd name="connsiteX17895" fmla="*/ 286810 w 5719680"/>
                <a:gd name="connsiteY17895" fmla="*/ 1606305 h 5704395"/>
                <a:gd name="connsiteX17896" fmla="*/ 274423 w 5719680"/>
                <a:gd name="connsiteY17896" fmla="*/ 1599017 h 5704395"/>
                <a:gd name="connsiteX17897" fmla="*/ 1468670 w 5719680"/>
                <a:gd name="connsiteY17897" fmla="*/ 1597432 h 5704395"/>
                <a:gd name="connsiteX17898" fmla="*/ 1406416 w 5719680"/>
                <a:gd name="connsiteY17898" fmla="*/ 1682675 h 5704395"/>
                <a:gd name="connsiteX17899" fmla="*/ 1405464 w 5719680"/>
                <a:gd name="connsiteY17899" fmla="*/ 1682992 h 5704395"/>
                <a:gd name="connsiteX17900" fmla="*/ 1324153 w 5719680"/>
                <a:gd name="connsiteY17900" fmla="*/ 1684576 h 5704395"/>
                <a:gd name="connsiteX17901" fmla="*/ 1305731 w 5719680"/>
                <a:gd name="connsiteY17901" fmla="*/ 1714047 h 5704395"/>
                <a:gd name="connsiteX17902" fmla="*/ 1519806 w 5719680"/>
                <a:gd name="connsiteY17902" fmla="*/ 1724187 h 5704395"/>
                <a:gd name="connsiteX17903" fmla="*/ 1519806 w 5719680"/>
                <a:gd name="connsiteY17903" fmla="*/ 1721018 h 5704395"/>
                <a:gd name="connsiteX17904" fmla="*/ 1507419 w 5719680"/>
                <a:gd name="connsiteY17904" fmla="*/ 1645916 h 5704395"/>
                <a:gd name="connsiteX17905" fmla="*/ 1468670 w 5719680"/>
                <a:gd name="connsiteY17905" fmla="*/ 1597432 h 5704395"/>
                <a:gd name="connsiteX17906" fmla="*/ 903626 w 5719680"/>
                <a:gd name="connsiteY17906" fmla="*/ 1597432 h 5704395"/>
                <a:gd name="connsiteX17907" fmla="*/ 885839 w 5719680"/>
                <a:gd name="connsiteY17907" fmla="*/ 1636092 h 5704395"/>
                <a:gd name="connsiteX17908" fmla="*/ 825809 w 5719680"/>
                <a:gd name="connsiteY17908" fmla="*/ 1772354 h 5704395"/>
                <a:gd name="connsiteX17909" fmla="*/ 791189 w 5719680"/>
                <a:gd name="connsiteY17909" fmla="*/ 1851576 h 5704395"/>
                <a:gd name="connsiteX17910" fmla="*/ 808023 w 5719680"/>
                <a:gd name="connsiteY17910" fmla="*/ 1881047 h 5704395"/>
                <a:gd name="connsiteX17911" fmla="*/ 840420 w 5719680"/>
                <a:gd name="connsiteY17911" fmla="*/ 1894039 h 5704395"/>
                <a:gd name="connsiteX17912" fmla="*/ 975090 w 5719680"/>
                <a:gd name="connsiteY17912" fmla="*/ 1638944 h 5704395"/>
                <a:gd name="connsiteX17913" fmla="*/ 933800 w 5719680"/>
                <a:gd name="connsiteY17913" fmla="*/ 1606939 h 5704395"/>
                <a:gd name="connsiteX17914" fmla="*/ 903626 w 5719680"/>
                <a:gd name="connsiteY17914" fmla="*/ 1597432 h 5704395"/>
                <a:gd name="connsiteX17915" fmla="*/ 774037 w 5719680"/>
                <a:gd name="connsiteY17915" fmla="*/ 1596165 h 5704395"/>
                <a:gd name="connsiteX17916" fmla="*/ 767050 w 5719680"/>
                <a:gd name="connsiteY17916" fmla="*/ 1609157 h 5704395"/>
                <a:gd name="connsiteX17917" fmla="*/ 796906 w 5719680"/>
                <a:gd name="connsiteY17917" fmla="*/ 1623734 h 5704395"/>
                <a:gd name="connsiteX17918" fmla="*/ 804846 w 5719680"/>
                <a:gd name="connsiteY17918" fmla="*/ 1609474 h 5704395"/>
                <a:gd name="connsiteX17919" fmla="*/ 350334 w 5719680"/>
                <a:gd name="connsiteY17919" fmla="*/ 1593946 h 5704395"/>
                <a:gd name="connsiteX17920" fmla="*/ 332547 w 5719680"/>
                <a:gd name="connsiteY17920" fmla="*/ 1627220 h 5704395"/>
                <a:gd name="connsiteX17921" fmla="*/ 447525 w 5719680"/>
                <a:gd name="connsiteY17921" fmla="*/ 1692498 h 5704395"/>
                <a:gd name="connsiteX17922" fmla="*/ 472617 w 5719680"/>
                <a:gd name="connsiteY17922" fmla="*/ 1663662 h 5704395"/>
                <a:gd name="connsiteX17923" fmla="*/ 664776 w 5719680"/>
                <a:gd name="connsiteY17923" fmla="*/ 1593629 h 5704395"/>
                <a:gd name="connsiteX17924" fmla="*/ 647943 w 5719680"/>
                <a:gd name="connsiteY17924" fmla="*/ 1623417 h 5704395"/>
                <a:gd name="connsiteX17925" fmla="*/ 684151 w 5719680"/>
                <a:gd name="connsiteY17925" fmla="*/ 1644332 h 5704395"/>
                <a:gd name="connsiteX17926" fmla="*/ 700985 w 5719680"/>
                <a:gd name="connsiteY17926" fmla="*/ 1614227 h 5704395"/>
                <a:gd name="connsiteX17927" fmla="*/ 1420709 w 5719680"/>
                <a:gd name="connsiteY17927" fmla="*/ 1592996 h 5704395"/>
                <a:gd name="connsiteX17928" fmla="*/ 1394664 w 5719680"/>
                <a:gd name="connsiteY17928" fmla="*/ 1621832 h 5704395"/>
                <a:gd name="connsiteX17929" fmla="*/ 1412769 w 5719680"/>
                <a:gd name="connsiteY17929" fmla="*/ 1637994 h 5704395"/>
                <a:gd name="connsiteX17930" fmla="*/ 1438814 w 5719680"/>
                <a:gd name="connsiteY17930" fmla="*/ 1609157 h 5704395"/>
                <a:gd name="connsiteX17931" fmla="*/ 1549980 w 5719680"/>
                <a:gd name="connsiteY17931" fmla="*/ 1592045 h 5704395"/>
                <a:gd name="connsiteX17932" fmla="*/ 1531876 w 5719680"/>
                <a:gd name="connsiteY17932" fmla="*/ 1597749 h 5704395"/>
                <a:gd name="connsiteX17933" fmla="*/ 1549980 w 5719680"/>
                <a:gd name="connsiteY17933" fmla="*/ 1653521 h 5704395"/>
                <a:gd name="connsiteX17934" fmla="*/ 1568084 w 5719680"/>
                <a:gd name="connsiteY17934" fmla="*/ 1647500 h 5704395"/>
                <a:gd name="connsiteX17935" fmla="*/ 1563638 w 5719680"/>
                <a:gd name="connsiteY17935" fmla="*/ 1633240 h 5704395"/>
                <a:gd name="connsiteX17936" fmla="*/ 1576660 w 5719680"/>
                <a:gd name="connsiteY17936" fmla="*/ 1629121 h 5704395"/>
                <a:gd name="connsiteX17937" fmla="*/ 1567767 w 5719680"/>
                <a:gd name="connsiteY17937" fmla="*/ 1601868 h 5704395"/>
                <a:gd name="connsiteX17938" fmla="*/ 1554744 w 5719680"/>
                <a:gd name="connsiteY17938" fmla="*/ 1605988 h 5704395"/>
                <a:gd name="connsiteX17939" fmla="*/ 1549980 w 5719680"/>
                <a:gd name="connsiteY17939" fmla="*/ 1592045 h 5704395"/>
                <a:gd name="connsiteX17940" fmla="*/ 1102138 w 5719680"/>
                <a:gd name="connsiteY17940" fmla="*/ 1591728 h 5704395"/>
                <a:gd name="connsiteX17941" fmla="*/ 1039884 w 5719680"/>
                <a:gd name="connsiteY17941" fmla="*/ 1662394 h 5704395"/>
                <a:gd name="connsiteX17942" fmla="*/ 1109443 w 5719680"/>
                <a:gd name="connsiteY17942" fmla="*/ 1715948 h 5704395"/>
                <a:gd name="connsiteX17943" fmla="*/ 1158991 w 5719680"/>
                <a:gd name="connsiteY17943" fmla="*/ 1616445 h 5704395"/>
                <a:gd name="connsiteX17944" fmla="*/ 1131041 w 5719680"/>
                <a:gd name="connsiteY17944" fmla="*/ 1604404 h 5704395"/>
                <a:gd name="connsiteX17945" fmla="*/ 1109125 w 5719680"/>
                <a:gd name="connsiteY17945" fmla="*/ 1594897 h 5704395"/>
                <a:gd name="connsiteX17946" fmla="*/ 1102773 w 5719680"/>
                <a:gd name="connsiteY17946" fmla="*/ 1592045 h 5704395"/>
                <a:gd name="connsiteX17947" fmla="*/ 1102138 w 5719680"/>
                <a:gd name="connsiteY17947" fmla="*/ 1591728 h 5704395"/>
                <a:gd name="connsiteX17948" fmla="*/ 762603 w 5719680"/>
                <a:gd name="connsiteY17948" fmla="*/ 1591094 h 5704395"/>
                <a:gd name="connsiteX17949" fmla="*/ 739099 w 5719680"/>
                <a:gd name="connsiteY17949" fmla="*/ 1632607 h 5704395"/>
                <a:gd name="connsiteX17950" fmla="*/ 740687 w 5719680"/>
                <a:gd name="connsiteY17950" fmla="*/ 1633240 h 5704395"/>
                <a:gd name="connsiteX17951" fmla="*/ 746087 w 5719680"/>
                <a:gd name="connsiteY17951" fmla="*/ 1622783 h 5704395"/>
                <a:gd name="connsiteX17952" fmla="*/ 783884 w 5719680"/>
                <a:gd name="connsiteY17952" fmla="*/ 1641163 h 5704395"/>
                <a:gd name="connsiteX17953" fmla="*/ 782931 w 5719680"/>
                <a:gd name="connsiteY17953" fmla="*/ 1643064 h 5704395"/>
                <a:gd name="connsiteX17954" fmla="*/ 778802 w 5719680"/>
                <a:gd name="connsiteY17954" fmla="*/ 1651303 h 5704395"/>
                <a:gd name="connsiteX17955" fmla="*/ 857571 w 5719680"/>
                <a:gd name="connsiteY17955" fmla="*/ 1688696 h 5704395"/>
                <a:gd name="connsiteX17956" fmla="*/ 878852 w 5719680"/>
                <a:gd name="connsiteY17956" fmla="*/ 1641163 h 5704395"/>
                <a:gd name="connsiteX17957" fmla="*/ 808658 w 5719680"/>
                <a:gd name="connsiteY17957" fmla="*/ 1611058 h 5704395"/>
                <a:gd name="connsiteX17958" fmla="*/ 798812 w 5719680"/>
                <a:gd name="connsiteY17958" fmla="*/ 1629121 h 5704395"/>
                <a:gd name="connsiteX17959" fmla="*/ 761333 w 5719680"/>
                <a:gd name="connsiteY17959" fmla="*/ 1611058 h 5704395"/>
                <a:gd name="connsiteX17960" fmla="*/ 770226 w 5719680"/>
                <a:gd name="connsiteY17960" fmla="*/ 1594263 h 5704395"/>
                <a:gd name="connsiteX17961" fmla="*/ 762603 w 5719680"/>
                <a:gd name="connsiteY17961" fmla="*/ 1591094 h 5704395"/>
                <a:gd name="connsiteX17962" fmla="*/ 503744 w 5719680"/>
                <a:gd name="connsiteY17962" fmla="*/ 1587925 h 5704395"/>
                <a:gd name="connsiteX17963" fmla="*/ 492627 w 5719680"/>
                <a:gd name="connsiteY17963" fmla="*/ 1620248 h 5704395"/>
                <a:gd name="connsiteX17964" fmla="*/ 607605 w 5719680"/>
                <a:gd name="connsiteY17964" fmla="*/ 1685844 h 5704395"/>
                <a:gd name="connsiteX17965" fmla="*/ 624121 w 5719680"/>
                <a:gd name="connsiteY17965" fmla="*/ 1656690 h 5704395"/>
                <a:gd name="connsiteX17966" fmla="*/ 503744 w 5719680"/>
                <a:gd name="connsiteY17966" fmla="*/ 1587925 h 5704395"/>
                <a:gd name="connsiteX17967" fmla="*/ 1420392 w 5719680"/>
                <a:gd name="connsiteY17967" fmla="*/ 1586975 h 5704395"/>
                <a:gd name="connsiteX17968" fmla="*/ 1444531 w 5719680"/>
                <a:gd name="connsiteY17968" fmla="*/ 1608840 h 5704395"/>
                <a:gd name="connsiteX17969" fmla="*/ 1413086 w 5719680"/>
                <a:gd name="connsiteY17969" fmla="*/ 1644015 h 5704395"/>
                <a:gd name="connsiteX17970" fmla="*/ 1388947 w 5719680"/>
                <a:gd name="connsiteY17970" fmla="*/ 1622149 h 5704395"/>
                <a:gd name="connsiteX17971" fmla="*/ 1390218 w 5719680"/>
                <a:gd name="connsiteY17971" fmla="*/ 1620565 h 5704395"/>
                <a:gd name="connsiteX17972" fmla="*/ 1552839 w 5719680"/>
                <a:gd name="connsiteY17972" fmla="*/ 1586658 h 5704395"/>
                <a:gd name="connsiteX17973" fmla="*/ 1557285 w 5719680"/>
                <a:gd name="connsiteY17973" fmla="*/ 1600918 h 5704395"/>
                <a:gd name="connsiteX17974" fmla="*/ 1570308 w 5719680"/>
                <a:gd name="connsiteY17974" fmla="*/ 1596798 h 5704395"/>
                <a:gd name="connsiteX17975" fmla="*/ 1581742 w 5719680"/>
                <a:gd name="connsiteY17975" fmla="*/ 1631973 h 5704395"/>
                <a:gd name="connsiteX17976" fmla="*/ 1568720 w 5719680"/>
                <a:gd name="connsiteY17976" fmla="*/ 1636092 h 5704395"/>
                <a:gd name="connsiteX17977" fmla="*/ 1573484 w 5719680"/>
                <a:gd name="connsiteY17977" fmla="*/ 1650035 h 5704395"/>
                <a:gd name="connsiteX17978" fmla="*/ 1547439 w 5719680"/>
                <a:gd name="connsiteY17978" fmla="*/ 1658591 h 5704395"/>
                <a:gd name="connsiteX17979" fmla="*/ 1526794 w 5719680"/>
                <a:gd name="connsiteY17979" fmla="*/ 1595214 h 5704395"/>
                <a:gd name="connsiteX17980" fmla="*/ 1528700 w 5719680"/>
                <a:gd name="connsiteY17980" fmla="*/ 1594580 h 5704395"/>
                <a:gd name="connsiteX17981" fmla="*/ 1552839 w 5719680"/>
                <a:gd name="connsiteY17981" fmla="*/ 1586658 h 5704395"/>
                <a:gd name="connsiteX17982" fmla="*/ 783884 w 5719680"/>
                <a:gd name="connsiteY17982" fmla="*/ 1577468 h 5704395"/>
                <a:gd name="connsiteX17983" fmla="*/ 775943 w 5719680"/>
                <a:gd name="connsiteY17983" fmla="*/ 1592045 h 5704395"/>
                <a:gd name="connsiteX17984" fmla="*/ 807070 w 5719680"/>
                <a:gd name="connsiteY17984" fmla="*/ 1605354 h 5704395"/>
                <a:gd name="connsiteX17985" fmla="*/ 814375 w 5719680"/>
                <a:gd name="connsiteY17985" fmla="*/ 1592362 h 5704395"/>
                <a:gd name="connsiteX17986" fmla="*/ 783884 w 5719680"/>
                <a:gd name="connsiteY17986" fmla="*/ 1577468 h 5704395"/>
                <a:gd name="connsiteX17987" fmla="*/ 2540316 w 5719680"/>
                <a:gd name="connsiteY17987" fmla="*/ 1575884 h 5704395"/>
                <a:gd name="connsiteX17988" fmla="*/ 2575571 w 5719680"/>
                <a:gd name="connsiteY17988" fmla="*/ 1641480 h 5704395"/>
                <a:gd name="connsiteX17989" fmla="*/ 2669586 w 5719680"/>
                <a:gd name="connsiteY17989" fmla="*/ 2036956 h 5704395"/>
                <a:gd name="connsiteX17990" fmla="*/ 2704207 w 5719680"/>
                <a:gd name="connsiteY17990" fmla="*/ 2041392 h 5704395"/>
                <a:gd name="connsiteX17991" fmla="*/ 2707700 w 5719680"/>
                <a:gd name="connsiteY17991" fmla="*/ 2041709 h 5704395"/>
                <a:gd name="connsiteX17992" fmla="*/ 2705160 w 5719680"/>
                <a:gd name="connsiteY17992" fmla="*/ 1948544 h 5704395"/>
                <a:gd name="connsiteX17993" fmla="*/ 2609556 w 5719680"/>
                <a:gd name="connsiteY17993" fmla="*/ 1641796 h 5704395"/>
                <a:gd name="connsiteX17994" fmla="*/ 2571760 w 5719680"/>
                <a:gd name="connsiteY17994" fmla="*/ 1577151 h 5704395"/>
                <a:gd name="connsiteX17995" fmla="*/ 2540316 w 5719680"/>
                <a:gd name="connsiteY17995" fmla="*/ 1575884 h 5704395"/>
                <a:gd name="connsiteX17996" fmla="*/ 2486003 w 5719680"/>
                <a:gd name="connsiteY17996" fmla="*/ 1573348 h 5704395"/>
                <a:gd name="connsiteX17997" fmla="*/ 2535234 w 5719680"/>
                <a:gd name="connsiteY17997" fmla="*/ 1659225 h 5704395"/>
                <a:gd name="connsiteX17998" fmla="*/ 2625120 w 5719680"/>
                <a:gd name="connsiteY17998" fmla="*/ 2031885 h 5704395"/>
                <a:gd name="connsiteX17999" fmla="*/ 2652752 w 5719680"/>
                <a:gd name="connsiteY17999" fmla="*/ 2035054 h 5704395"/>
                <a:gd name="connsiteX18000" fmla="*/ 2664187 w 5719680"/>
                <a:gd name="connsiteY18000" fmla="*/ 2036322 h 5704395"/>
                <a:gd name="connsiteX18001" fmla="*/ 2570807 w 5719680"/>
                <a:gd name="connsiteY18001" fmla="*/ 1643381 h 5704395"/>
                <a:gd name="connsiteX18002" fmla="*/ 2533963 w 5719680"/>
                <a:gd name="connsiteY18002" fmla="*/ 1575567 h 5704395"/>
                <a:gd name="connsiteX18003" fmla="*/ 2486003 w 5719680"/>
                <a:gd name="connsiteY18003" fmla="*/ 1573348 h 5704395"/>
                <a:gd name="connsiteX18004" fmla="*/ 310631 w 5719680"/>
                <a:gd name="connsiteY18004" fmla="*/ 1571447 h 5704395"/>
                <a:gd name="connsiteX18005" fmla="*/ 292527 w 5719680"/>
                <a:gd name="connsiteY18005" fmla="*/ 1604404 h 5704395"/>
                <a:gd name="connsiteX18006" fmla="*/ 328736 w 5719680"/>
                <a:gd name="connsiteY18006" fmla="*/ 1625001 h 5704395"/>
                <a:gd name="connsiteX18007" fmla="*/ 346840 w 5719680"/>
                <a:gd name="connsiteY18007" fmla="*/ 1592045 h 5704395"/>
                <a:gd name="connsiteX18008" fmla="*/ 294433 w 5719680"/>
                <a:gd name="connsiteY18008" fmla="*/ 1562258 h 5704395"/>
                <a:gd name="connsiteX18009" fmla="*/ 276329 w 5719680"/>
                <a:gd name="connsiteY18009" fmla="*/ 1595214 h 5704395"/>
                <a:gd name="connsiteX18010" fmla="*/ 289033 w 5719680"/>
                <a:gd name="connsiteY18010" fmla="*/ 1602502 h 5704395"/>
                <a:gd name="connsiteX18011" fmla="*/ 307138 w 5719680"/>
                <a:gd name="connsiteY18011" fmla="*/ 1569229 h 5704395"/>
                <a:gd name="connsiteX18012" fmla="*/ 294433 w 5719680"/>
                <a:gd name="connsiteY18012" fmla="*/ 1562258 h 5704395"/>
                <a:gd name="connsiteX18013" fmla="*/ 529153 w 5719680"/>
                <a:gd name="connsiteY18013" fmla="*/ 1560990 h 5704395"/>
                <a:gd name="connsiteX18014" fmla="*/ 505967 w 5719680"/>
                <a:gd name="connsiteY18014" fmla="*/ 1584123 h 5704395"/>
                <a:gd name="connsiteX18015" fmla="*/ 626345 w 5719680"/>
                <a:gd name="connsiteY18015" fmla="*/ 1652887 h 5704395"/>
                <a:gd name="connsiteX18016" fmla="*/ 642226 w 5719680"/>
                <a:gd name="connsiteY18016" fmla="*/ 1625318 h 5704395"/>
                <a:gd name="connsiteX18017" fmla="*/ 529153 w 5719680"/>
                <a:gd name="connsiteY18017" fmla="*/ 1560990 h 5704395"/>
                <a:gd name="connsiteX18018" fmla="*/ 683516 w 5719680"/>
                <a:gd name="connsiteY18018" fmla="*/ 1560673 h 5704395"/>
                <a:gd name="connsiteX18019" fmla="*/ 667000 w 5719680"/>
                <a:gd name="connsiteY18019" fmla="*/ 1589827 h 5704395"/>
                <a:gd name="connsiteX18020" fmla="*/ 703208 w 5719680"/>
                <a:gd name="connsiteY18020" fmla="*/ 1610425 h 5704395"/>
                <a:gd name="connsiteX18021" fmla="*/ 720042 w 5719680"/>
                <a:gd name="connsiteY18021" fmla="*/ 1581271 h 5704395"/>
                <a:gd name="connsiteX18022" fmla="*/ 683516 w 5719680"/>
                <a:gd name="connsiteY18022" fmla="*/ 1560673 h 5704395"/>
                <a:gd name="connsiteX18023" fmla="*/ 780707 w 5719680"/>
                <a:gd name="connsiteY18023" fmla="*/ 1558772 h 5704395"/>
                <a:gd name="connsiteX18024" fmla="*/ 764826 w 5719680"/>
                <a:gd name="connsiteY18024" fmla="*/ 1587292 h 5704395"/>
                <a:gd name="connsiteX18025" fmla="*/ 772132 w 5719680"/>
                <a:gd name="connsiteY18025" fmla="*/ 1590461 h 5704395"/>
                <a:gd name="connsiteX18026" fmla="*/ 781978 w 5719680"/>
                <a:gd name="connsiteY18026" fmla="*/ 1572081 h 5704395"/>
                <a:gd name="connsiteX18027" fmla="*/ 820092 w 5719680"/>
                <a:gd name="connsiteY18027" fmla="*/ 1590461 h 5704395"/>
                <a:gd name="connsiteX18028" fmla="*/ 819139 w 5719680"/>
                <a:gd name="connsiteY18028" fmla="*/ 1592362 h 5704395"/>
                <a:gd name="connsiteX18029" fmla="*/ 810881 w 5719680"/>
                <a:gd name="connsiteY18029" fmla="*/ 1607256 h 5704395"/>
                <a:gd name="connsiteX18030" fmla="*/ 880440 w 5719680"/>
                <a:gd name="connsiteY18030" fmla="*/ 1637043 h 5704395"/>
                <a:gd name="connsiteX18031" fmla="*/ 883616 w 5719680"/>
                <a:gd name="connsiteY18031" fmla="*/ 1630705 h 5704395"/>
                <a:gd name="connsiteX18032" fmla="*/ 896956 w 5719680"/>
                <a:gd name="connsiteY18032" fmla="*/ 1601235 h 5704395"/>
                <a:gd name="connsiteX18033" fmla="*/ 899497 w 5719680"/>
                <a:gd name="connsiteY18033" fmla="*/ 1596165 h 5704395"/>
                <a:gd name="connsiteX18034" fmla="*/ 780707 w 5719680"/>
                <a:gd name="connsiteY18034" fmla="*/ 1558772 h 5704395"/>
                <a:gd name="connsiteX18035" fmla="*/ 371297 w 5719680"/>
                <a:gd name="connsiteY18035" fmla="*/ 1556237 h 5704395"/>
                <a:gd name="connsiteX18036" fmla="*/ 352557 w 5719680"/>
                <a:gd name="connsiteY18036" fmla="*/ 1590144 h 5704395"/>
                <a:gd name="connsiteX18037" fmla="*/ 474205 w 5719680"/>
                <a:gd name="connsiteY18037" fmla="*/ 1659542 h 5704395"/>
                <a:gd name="connsiteX18038" fmla="*/ 487228 w 5719680"/>
                <a:gd name="connsiteY18038" fmla="*/ 1622149 h 5704395"/>
                <a:gd name="connsiteX18039" fmla="*/ 1958120 w 5719680"/>
                <a:gd name="connsiteY18039" fmla="*/ 1550216 h 5704395"/>
                <a:gd name="connsiteX18040" fmla="*/ 1921594 w 5719680"/>
                <a:gd name="connsiteY18040" fmla="*/ 1768868 h 5704395"/>
                <a:gd name="connsiteX18041" fmla="*/ 2297972 w 5719680"/>
                <a:gd name="connsiteY18041" fmla="*/ 1808796 h 5704395"/>
                <a:gd name="connsiteX18042" fmla="*/ 2297655 w 5719680"/>
                <a:gd name="connsiteY18042" fmla="*/ 1811015 h 5704395"/>
                <a:gd name="connsiteX18043" fmla="*/ 2289714 w 5719680"/>
                <a:gd name="connsiteY18043" fmla="*/ 1903229 h 5704395"/>
                <a:gd name="connsiteX18044" fmla="*/ 2283680 w 5719680"/>
                <a:gd name="connsiteY18044" fmla="*/ 1966606 h 5704395"/>
                <a:gd name="connsiteX18045" fmla="*/ 2281456 w 5719680"/>
                <a:gd name="connsiteY18045" fmla="*/ 1987521 h 5704395"/>
                <a:gd name="connsiteX18046" fmla="*/ 2280821 w 5719680"/>
                <a:gd name="connsiteY18046" fmla="*/ 1993542 h 5704395"/>
                <a:gd name="connsiteX18047" fmla="*/ 2498708 w 5719680"/>
                <a:gd name="connsiteY18047" fmla="*/ 2017625 h 5704395"/>
                <a:gd name="connsiteX18048" fmla="*/ 2619720 w 5719680"/>
                <a:gd name="connsiteY18048" fmla="*/ 2031252 h 5704395"/>
                <a:gd name="connsiteX18049" fmla="*/ 2530469 w 5719680"/>
                <a:gd name="connsiteY18049" fmla="*/ 1661443 h 5704395"/>
                <a:gd name="connsiteX18050" fmla="*/ 2479333 w 5719680"/>
                <a:gd name="connsiteY18050" fmla="*/ 1573032 h 5704395"/>
                <a:gd name="connsiteX18051" fmla="*/ 1216163 w 5719680"/>
                <a:gd name="connsiteY18051" fmla="*/ 1542294 h 5704395"/>
                <a:gd name="connsiteX18052" fmla="*/ 1208857 w 5719680"/>
                <a:gd name="connsiteY18052" fmla="*/ 1577468 h 5704395"/>
                <a:gd name="connsiteX18053" fmla="*/ 1242207 w 5719680"/>
                <a:gd name="connsiteY18053" fmla="*/ 1584440 h 5704395"/>
                <a:gd name="connsiteX18054" fmla="*/ 1249513 w 5719680"/>
                <a:gd name="connsiteY18054" fmla="*/ 1549265 h 5704395"/>
                <a:gd name="connsiteX18055" fmla="*/ 1212987 w 5719680"/>
                <a:gd name="connsiteY18055" fmla="*/ 1537223 h 5704395"/>
                <a:gd name="connsiteX18056" fmla="*/ 1254595 w 5719680"/>
                <a:gd name="connsiteY18056" fmla="*/ 1546096 h 5704395"/>
                <a:gd name="connsiteX18057" fmla="*/ 1245384 w 5719680"/>
                <a:gd name="connsiteY18057" fmla="*/ 1589193 h 5704395"/>
                <a:gd name="connsiteX18058" fmla="*/ 1203776 w 5719680"/>
                <a:gd name="connsiteY18058" fmla="*/ 1580637 h 5704395"/>
                <a:gd name="connsiteX18059" fmla="*/ 1204093 w 5719680"/>
                <a:gd name="connsiteY18059" fmla="*/ 1578419 h 5704395"/>
                <a:gd name="connsiteX18060" fmla="*/ 331277 w 5719680"/>
                <a:gd name="connsiteY18060" fmla="*/ 1533421 h 5704395"/>
                <a:gd name="connsiteX18061" fmla="*/ 312855 w 5719680"/>
                <a:gd name="connsiteY18061" fmla="*/ 1567645 h 5704395"/>
                <a:gd name="connsiteX18062" fmla="*/ 349063 w 5719680"/>
                <a:gd name="connsiteY18062" fmla="*/ 1588242 h 5704395"/>
                <a:gd name="connsiteX18063" fmla="*/ 367485 w 5719680"/>
                <a:gd name="connsiteY18063" fmla="*/ 1554018 h 5704395"/>
                <a:gd name="connsiteX18064" fmla="*/ 557739 w 5719680"/>
                <a:gd name="connsiteY18064" fmla="*/ 1532470 h 5704395"/>
                <a:gd name="connsiteX18065" fmla="*/ 532329 w 5719680"/>
                <a:gd name="connsiteY18065" fmla="*/ 1557821 h 5704395"/>
                <a:gd name="connsiteX18066" fmla="*/ 644131 w 5719680"/>
                <a:gd name="connsiteY18066" fmla="*/ 1621515 h 5704395"/>
                <a:gd name="connsiteX18067" fmla="*/ 661283 w 5719680"/>
                <a:gd name="connsiteY18067" fmla="*/ 1591411 h 5704395"/>
                <a:gd name="connsiteX18068" fmla="*/ 64477 w 5719680"/>
                <a:gd name="connsiteY18068" fmla="*/ 1525182 h 5704395"/>
                <a:gd name="connsiteX18069" fmla="*/ 115614 w 5719680"/>
                <a:gd name="connsiteY18069" fmla="*/ 1584440 h 5704395"/>
                <a:gd name="connsiteX18070" fmla="*/ 97827 w 5719680"/>
                <a:gd name="connsiteY18070" fmla="*/ 1601235 h 5704395"/>
                <a:gd name="connsiteX18071" fmla="*/ 141023 w 5719680"/>
                <a:gd name="connsiteY18071" fmla="*/ 1653521 h 5704395"/>
                <a:gd name="connsiteX18072" fmla="*/ 159127 w 5719680"/>
                <a:gd name="connsiteY18072" fmla="*/ 1639261 h 5704395"/>
                <a:gd name="connsiteX18073" fmla="*/ 198194 w 5719680"/>
                <a:gd name="connsiteY18073" fmla="*/ 1684576 h 5704395"/>
                <a:gd name="connsiteX18074" fmla="*/ 26045 w 5719680"/>
                <a:gd name="connsiteY18074" fmla="*/ 1836682 h 5704395"/>
                <a:gd name="connsiteX18075" fmla="*/ 1271 w 5719680"/>
                <a:gd name="connsiteY18075" fmla="*/ 1808163 h 5704395"/>
                <a:gd name="connsiteX18076" fmla="*/ 1271 w 5719680"/>
                <a:gd name="connsiteY18076" fmla="*/ 1800874 h 5704395"/>
                <a:gd name="connsiteX18077" fmla="*/ 26363 w 5719680"/>
                <a:gd name="connsiteY18077" fmla="*/ 1830028 h 5704395"/>
                <a:gd name="connsiteX18078" fmla="*/ 191524 w 5719680"/>
                <a:gd name="connsiteY18078" fmla="*/ 1683943 h 5704395"/>
                <a:gd name="connsiteX18079" fmla="*/ 158492 w 5719680"/>
                <a:gd name="connsiteY18079" fmla="*/ 1645599 h 5704395"/>
                <a:gd name="connsiteX18080" fmla="*/ 140070 w 5719680"/>
                <a:gd name="connsiteY18080" fmla="*/ 1659859 h 5704395"/>
                <a:gd name="connsiteX18081" fmla="*/ 91474 w 5719680"/>
                <a:gd name="connsiteY18081" fmla="*/ 1600918 h 5704395"/>
                <a:gd name="connsiteX18082" fmla="*/ 109261 w 5719680"/>
                <a:gd name="connsiteY18082" fmla="*/ 1584123 h 5704395"/>
                <a:gd name="connsiteX18083" fmla="*/ 63842 w 5719680"/>
                <a:gd name="connsiteY18083" fmla="*/ 1531519 h 5704395"/>
                <a:gd name="connsiteX18084" fmla="*/ 1271 w 5719680"/>
                <a:gd name="connsiteY18084" fmla="*/ 1585707 h 5704395"/>
                <a:gd name="connsiteX18085" fmla="*/ 1271 w 5719680"/>
                <a:gd name="connsiteY18085" fmla="*/ 1579369 h 5704395"/>
                <a:gd name="connsiteX18086" fmla="*/ 62571 w 5719680"/>
                <a:gd name="connsiteY18086" fmla="*/ 1526449 h 5704395"/>
                <a:gd name="connsiteX18087" fmla="*/ 64477 w 5719680"/>
                <a:gd name="connsiteY18087" fmla="*/ 1525182 h 5704395"/>
                <a:gd name="connsiteX18088" fmla="*/ 315396 w 5719680"/>
                <a:gd name="connsiteY18088" fmla="*/ 1524231 h 5704395"/>
                <a:gd name="connsiteX18089" fmla="*/ 296656 w 5719680"/>
                <a:gd name="connsiteY18089" fmla="*/ 1558455 h 5704395"/>
                <a:gd name="connsiteX18090" fmla="*/ 309043 w 5719680"/>
                <a:gd name="connsiteY18090" fmla="*/ 1565426 h 5704395"/>
                <a:gd name="connsiteX18091" fmla="*/ 327783 w 5719680"/>
                <a:gd name="connsiteY18091" fmla="*/ 1531519 h 5704395"/>
                <a:gd name="connsiteX18092" fmla="*/ 315396 w 5719680"/>
                <a:gd name="connsiteY18092" fmla="*/ 1524231 h 5704395"/>
                <a:gd name="connsiteX18093" fmla="*/ 389401 w 5719680"/>
                <a:gd name="connsiteY18093" fmla="*/ 1522963 h 5704395"/>
                <a:gd name="connsiteX18094" fmla="*/ 373202 w 5719680"/>
                <a:gd name="connsiteY18094" fmla="*/ 1552434 h 5704395"/>
                <a:gd name="connsiteX18095" fmla="*/ 488498 w 5719680"/>
                <a:gd name="connsiteY18095" fmla="*/ 1618030 h 5704395"/>
                <a:gd name="connsiteX18096" fmla="*/ 499932 w 5719680"/>
                <a:gd name="connsiteY18096" fmla="*/ 1585707 h 5704395"/>
                <a:gd name="connsiteX18097" fmla="*/ 1028450 w 5719680"/>
                <a:gd name="connsiteY18097" fmla="*/ 1520745 h 5704395"/>
                <a:gd name="connsiteX18098" fmla="*/ 1017969 w 5719680"/>
                <a:gd name="connsiteY18098" fmla="*/ 1559089 h 5704395"/>
                <a:gd name="connsiteX18099" fmla="*/ 1033214 w 5719680"/>
                <a:gd name="connsiteY18099" fmla="*/ 1563208 h 5704395"/>
                <a:gd name="connsiteX18100" fmla="*/ 1043696 w 5719680"/>
                <a:gd name="connsiteY18100" fmla="*/ 1524865 h 5704395"/>
                <a:gd name="connsiteX18101" fmla="*/ 1195835 w 5719680"/>
                <a:gd name="connsiteY18101" fmla="*/ 1520111 h 5704395"/>
                <a:gd name="connsiteX18102" fmla="*/ 1165026 w 5719680"/>
                <a:gd name="connsiteY18102" fmla="*/ 1614227 h 5704395"/>
                <a:gd name="connsiteX18103" fmla="*/ 1215845 w 5719680"/>
                <a:gd name="connsiteY18103" fmla="*/ 1635775 h 5704395"/>
                <a:gd name="connsiteX18104" fmla="*/ 1289533 w 5719680"/>
                <a:gd name="connsiteY18104" fmla="*/ 1666514 h 5704395"/>
                <a:gd name="connsiteX18105" fmla="*/ 1313989 w 5719680"/>
                <a:gd name="connsiteY18105" fmla="*/ 1676654 h 5704395"/>
                <a:gd name="connsiteX18106" fmla="*/ 1320977 w 5719680"/>
                <a:gd name="connsiteY18106" fmla="*/ 1679506 h 5704395"/>
                <a:gd name="connsiteX18107" fmla="*/ 1322883 w 5719680"/>
                <a:gd name="connsiteY18107" fmla="*/ 1680140 h 5704395"/>
                <a:gd name="connsiteX18108" fmla="*/ 1323200 w 5719680"/>
                <a:gd name="connsiteY18108" fmla="*/ 1680457 h 5704395"/>
                <a:gd name="connsiteX18109" fmla="*/ 1404193 w 5719680"/>
                <a:gd name="connsiteY18109" fmla="*/ 1678555 h 5704395"/>
                <a:gd name="connsiteX18110" fmla="*/ 1464858 w 5719680"/>
                <a:gd name="connsiteY18110" fmla="*/ 1595214 h 5704395"/>
                <a:gd name="connsiteX18111" fmla="*/ 1448977 w 5719680"/>
                <a:gd name="connsiteY18111" fmla="*/ 1588242 h 5704395"/>
                <a:gd name="connsiteX18112" fmla="*/ 1195835 w 5719680"/>
                <a:gd name="connsiteY18112" fmla="*/ 1520111 h 5704395"/>
                <a:gd name="connsiteX18113" fmla="*/ 1140569 w 5719680"/>
                <a:gd name="connsiteY18113" fmla="*/ 1516626 h 5704395"/>
                <a:gd name="connsiteX18114" fmla="*/ 1130088 w 5719680"/>
                <a:gd name="connsiteY18114" fmla="*/ 1554969 h 5704395"/>
                <a:gd name="connsiteX18115" fmla="*/ 1145334 w 5719680"/>
                <a:gd name="connsiteY18115" fmla="*/ 1559089 h 5704395"/>
                <a:gd name="connsiteX18116" fmla="*/ 1155815 w 5719680"/>
                <a:gd name="connsiteY18116" fmla="*/ 1520745 h 5704395"/>
                <a:gd name="connsiteX18117" fmla="*/ 1025591 w 5719680"/>
                <a:gd name="connsiteY18117" fmla="*/ 1515675 h 5704395"/>
                <a:gd name="connsiteX18118" fmla="*/ 1048778 w 5719680"/>
                <a:gd name="connsiteY18118" fmla="*/ 1521696 h 5704395"/>
                <a:gd name="connsiteX18119" fmla="*/ 1036390 w 5719680"/>
                <a:gd name="connsiteY18119" fmla="*/ 1568278 h 5704395"/>
                <a:gd name="connsiteX18120" fmla="*/ 1012887 w 5719680"/>
                <a:gd name="connsiteY18120" fmla="*/ 1561941 h 5704395"/>
                <a:gd name="connsiteX18121" fmla="*/ 1013522 w 5719680"/>
                <a:gd name="connsiteY18121" fmla="*/ 1560039 h 5704395"/>
                <a:gd name="connsiteX18122" fmla="*/ 1137393 w 5719680"/>
                <a:gd name="connsiteY18122" fmla="*/ 1511555 h 5704395"/>
                <a:gd name="connsiteX18123" fmla="*/ 1160897 w 5719680"/>
                <a:gd name="connsiteY18123" fmla="*/ 1517893 h 5704395"/>
                <a:gd name="connsiteX18124" fmla="*/ 1148192 w 5719680"/>
                <a:gd name="connsiteY18124" fmla="*/ 1564159 h 5704395"/>
                <a:gd name="connsiteX18125" fmla="*/ 1125006 w 5719680"/>
                <a:gd name="connsiteY18125" fmla="*/ 1558138 h 5704395"/>
                <a:gd name="connsiteX18126" fmla="*/ 1125641 w 5719680"/>
                <a:gd name="connsiteY18126" fmla="*/ 1555920 h 5704395"/>
                <a:gd name="connsiteX18127" fmla="*/ 1134852 w 5719680"/>
                <a:gd name="connsiteY18127" fmla="*/ 1507753 h 5704395"/>
                <a:gd name="connsiteX18128" fmla="*/ 1104361 w 5719680"/>
                <a:gd name="connsiteY18128" fmla="*/ 1587925 h 5704395"/>
                <a:gd name="connsiteX18129" fmla="*/ 1160897 w 5719680"/>
                <a:gd name="connsiteY18129" fmla="*/ 1612326 h 5704395"/>
                <a:gd name="connsiteX18130" fmla="*/ 1191388 w 5719680"/>
                <a:gd name="connsiteY18130" fmla="*/ 1519161 h 5704395"/>
                <a:gd name="connsiteX18131" fmla="*/ 1156450 w 5719680"/>
                <a:gd name="connsiteY18131" fmla="*/ 1512189 h 5704395"/>
                <a:gd name="connsiteX18132" fmla="*/ 1134852 w 5719680"/>
                <a:gd name="connsiteY18132" fmla="*/ 1507753 h 5704395"/>
                <a:gd name="connsiteX18133" fmla="*/ 1104996 w 5719680"/>
                <a:gd name="connsiteY18133" fmla="*/ 1505851 h 5704395"/>
                <a:gd name="connsiteX18134" fmla="*/ 1094515 w 5719680"/>
                <a:gd name="connsiteY18134" fmla="*/ 1544195 h 5704395"/>
                <a:gd name="connsiteX18135" fmla="*/ 1109760 w 5719680"/>
                <a:gd name="connsiteY18135" fmla="*/ 1548314 h 5704395"/>
                <a:gd name="connsiteX18136" fmla="*/ 1119924 w 5719680"/>
                <a:gd name="connsiteY18136" fmla="*/ 1509971 h 5704395"/>
                <a:gd name="connsiteX18137" fmla="*/ 1104996 w 5719680"/>
                <a:gd name="connsiteY18137" fmla="*/ 1505851 h 5704395"/>
                <a:gd name="connsiteX18138" fmla="*/ 698444 w 5719680"/>
                <a:gd name="connsiteY18138" fmla="*/ 1503000 h 5704395"/>
                <a:gd name="connsiteX18139" fmla="*/ 663188 w 5719680"/>
                <a:gd name="connsiteY18139" fmla="*/ 1534054 h 5704395"/>
                <a:gd name="connsiteX18140" fmla="*/ 744816 w 5719680"/>
                <a:gd name="connsiteY18140" fmla="*/ 1580320 h 5704395"/>
                <a:gd name="connsiteX18141" fmla="*/ 762285 w 5719680"/>
                <a:gd name="connsiteY18141" fmla="*/ 1549265 h 5704395"/>
                <a:gd name="connsiteX18142" fmla="*/ 698444 w 5719680"/>
                <a:gd name="connsiteY18142" fmla="*/ 1503000 h 5704395"/>
                <a:gd name="connsiteX18143" fmla="*/ 5077454 w 5719680"/>
                <a:gd name="connsiteY18143" fmla="*/ 1500464 h 5704395"/>
                <a:gd name="connsiteX18144" fmla="*/ 4464132 w 5719680"/>
                <a:gd name="connsiteY18144" fmla="*/ 1628170 h 5704395"/>
                <a:gd name="connsiteX18145" fmla="*/ 4309134 w 5719680"/>
                <a:gd name="connsiteY18145" fmla="*/ 1591094 h 5704395"/>
                <a:gd name="connsiteX18146" fmla="*/ 4090613 w 5719680"/>
                <a:gd name="connsiteY18146" fmla="*/ 1527717 h 5704395"/>
                <a:gd name="connsiteX18147" fmla="*/ 3970871 w 5719680"/>
                <a:gd name="connsiteY18147" fmla="*/ 1509020 h 5704395"/>
                <a:gd name="connsiteX18148" fmla="*/ 3910523 w 5719680"/>
                <a:gd name="connsiteY18148" fmla="*/ 1504267 h 5704395"/>
                <a:gd name="connsiteX18149" fmla="*/ 3910841 w 5719680"/>
                <a:gd name="connsiteY18149" fmla="*/ 1505534 h 5704395"/>
                <a:gd name="connsiteX18150" fmla="*/ 3908935 w 5719680"/>
                <a:gd name="connsiteY18150" fmla="*/ 1505534 h 5704395"/>
                <a:gd name="connsiteX18151" fmla="*/ 3909888 w 5719680"/>
                <a:gd name="connsiteY18151" fmla="*/ 1528351 h 5704395"/>
                <a:gd name="connsiteX18152" fmla="*/ 3910206 w 5719680"/>
                <a:gd name="connsiteY18152" fmla="*/ 1529301 h 5704395"/>
                <a:gd name="connsiteX18153" fmla="*/ 3822543 w 5719680"/>
                <a:gd name="connsiteY18153" fmla="*/ 2126635 h 5704395"/>
                <a:gd name="connsiteX18154" fmla="*/ 3802215 w 5719680"/>
                <a:gd name="connsiteY18154" fmla="*/ 2202371 h 5704395"/>
                <a:gd name="connsiteX18155" fmla="*/ 3790463 w 5719680"/>
                <a:gd name="connsiteY18155" fmla="*/ 2228990 h 5704395"/>
                <a:gd name="connsiteX18156" fmla="*/ 3836200 w 5719680"/>
                <a:gd name="connsiteY18156" fmla="*/ 2285396 h 5704395"/>
                <a:gd name="connsiteX18157" fmla="*/ 3984846 w 5719680"/>
                <a:gd name="connsiteY18157" fmla="*/ 2768016 h 5704395"/>
                <a:gd name="connsiteX18158" fmla="*/ 4102365 w 5719680"/>
                <a:gd name="connsiteY18158" fmla="*/ 2787980 h 5704395"/>
                <a:gd name="connsiteX18159" fmla="*/ 4218296 w 5719680"/>
                <a:gd name="connsiteY18159" fmla="*/ 2834880 h 5704395"/>
                <a:gd name="connsiteX18160" fmla="*/ 4269115 w 5719680"/>
                <a:gd name="connsiteY18160" fmla="*/ 2890968 h 5704395"/>
                <a:gd name="connsiteX18161" fmla="*/ 4368530 w 5719680"/>
                <a:gd name="connsiteY18161" fmla="*/ 2866885 h 5704395"/>
                <a:gd name="connsiteX18162" fmla="*/ 4450158 w 5719680"/>
                <a:gd name="connsiteY18162" fmla="*/ 2847555 h 5704395"/>
                <a:gd name="connsiteX18163" fmla="*/ 4477790 w 5719680"/>
                <a:gd name="connsiteY18163" fmla="*/ 2841217 h 5704395"/>
                <a:gd name="connsiteX18164" fmla="*/ 4486366 w 5719680"/>
                <a:gd name="connsiteY18164" fmla="*/ 2839316 h 5704395"/>
                <a:gd name="connsiteX18165" fmla="*/ 4489224 w 5719680"/>
                <a:gd name="connsiteY18165" fmla="*/ 2838682 h 5704395"/>
                <a:gd name="connsiteX18166" fmla="*/ 4490812 w 5719680"/>
                <a:gd name="connsiteY18166" fmla="*/ 2838365 h 5704395"/>
                <a:gd name="connsiteX18167" fmla="*/ 4492083 w 5719680"/>
                <a:gd name="connsiteY18167" fmla="*/ 2838365 h 5704395"/>
                <a:gd name="connsiteX18168" fmla="*/ 4507646 w 5719680"/>
                <a:gd name="connsiteY18168" fmla="*/ 2833929 h 5704395"/>
                <a:gd name="connsiteX18169" fmla="*/ 4638823 w 5719680"/>
                <a:gd name="connsiteY18169" fmla="*/ 2789881 h 5704395"/>
                <a:gd name="connsiteX18170" fmla="*/ 4809067 w 5719680"/>
                <a:gd name="connsiteY18170" fmla="*/ 2705906 h 5704395"/>
                <a:gd name="connsiteX18171" fmla="*/ 4891648 w 5719680"/>
                <a:gd name="connsiteY18171" fmla="*/ 2660274 h 5704395"/>
                <a:gd name="connsiteX18172" fmla="*/ 4918646 w 5719680"/>
                <a:gd name="connsiteY18172" fmla="*/ 2645063 h 5704395"/>
                <a:gd name="connsiteX18173" fmla="*/ 4926904 w 5719680"/>
                <a:gd name="connsiteY18173" fmla="*/ 2640627 h 5704395"/>
                <a:gd name="connsiteX18174" fmla="*/ 4932620 w 5719680"/>
                <a:gd name="connsiteY18174" fmla="*/ 2637775 h 5704395"/>
                <a:gd name="connsiteX18175" fmla="*/ 4958030 w 5719680"/>
                <a:gd name="connsiteY18175" fmla="*/ 2626684 h 5704395"/>
                <a:gd name="connsiteX18176" fmla="*/ 4938338 w 5719680"/>
                <a:gd name="connsiteY18176" fmla="*/ 2468240 h 5704395"/>
                <a:gd name="connsiteX18177" fmla="*/ 4903082 w 5719680"/>
                <a:gd name="connsiteY18177" fmla="*/ 2189062 h 5704395"/>
                <a:gd name="connsiteX18178" fmla="*/ 4897047 w 5719680"/>
                <a:gd name="connsiteY18178" fmla="*/ 2104453 h 5704395"/>
                <a:gd name="connsiteX18179" fmla="*/ 4941196 w 5719680"/>
                <a:gd name="connsiteY18179" fmla="*/ 1926996 h 5704395"/>
                <a:gd name="connsiteX18180" fmla="*/ 5081902 w 5719680"/>
                <a:gd name="connsiteY18180" fmla="*/ 1674753 h 5704395"/>
                <a:gd name="connsiteX18181" fmla="*/ 5091112 w 5719680"/>
                <a:gd name="connsiteY18181" fmla="*/ 1595531 h 5704395"/>
                <a:gd name="connsiteX18182" fmla="*/ 5081902 w 5719680"/>
                <a:gd name="connsiteY18182" fmla="*/ 1517259 h 5704395"/>
                <a:gd name="connsiteX18183" fmla="*/ 5077454 w 5719680"/>
                <a:gd name="connsiteY18183" fmla="*/ 1500464 h 5704395"/>
                <a:gd name="connsiteX18184" fmla="*/ 349381 w 5719680"/>
                <a:gd name="connsiteY18184" fmla="*/ 1500148 h 5704395"/>
                <a:gd name="connsiteX18185" fmla="*/ 333500 w 5719680"/>
                <a:gd name="connsiteY18185" fmla="*/ 1529618 h 5704395"/>
                <a:gd name="connsiteX18186" fmla="*/ 369709 w 5719680"/>
                <a:gd name="connsiteY18186" fmla="*/ 1550216 h 5704395"/>
                <a:gd name="connsiteX18187" fmla="*/ 385590 w 5719680"/>
                <a:gd name="connsiteY18187" fmla="*/ 1520745 h 5704395"/>
                <a:gd name="connsiteX18188" fmla="*/ 1043696 w 5719680"/>
                <a:gd name="connsiteY18188" fmla="*/ 1492542 h 5704395"/>
                <a:gd name="connsiteX18189" fmla="*/ 1008440 w 5719680"/>
                <a:gd name="connsiteY18189" fmla="*/ 1500148 h 5704395"/>
                <a:gd name="connsiteX18190" fmla="*/ 959527 w 5719680"/>
                <a:gd name="connsiteY18190" fmla="*/ 1547998 h 5704395"/>
                <a:gd name="connsiteX18191" fmla="*/ 1037026 w 5719680"/>
                <a:gd name="connsiteY18191" fmla="*/ 1573982 h 5704395"/>
                <a:gd name="connsiteX18192" fmla="*/ 1085939 w 5719680"/>
                <a:gd name="connsiteY18192" fmla="*/ 1601235 h 5704395"/>
                <a:gd name="connsiteX18193" fmla="*/ 1083716 w 5719680"/>
                <a:gd name="connsiteY18193" fmla="*/ 1605037 h 5704395"/>
                <a:gd name="connsiteX18194" fmla="*/ 1035120 w 5719680"/>
                <a:gd name="connsiteY18194" fmla="*/ 1577785 h 5704395"/>
                <a:gd name="connsiteX18195" fmla="*/ 957621 w 5719680"/>
                <a:gd name="connsiteY18195" fmla="*/ 1551800 h 5704395"/>
                <a:gd name="connsiteX18196" fmla="*/ 956668 w 5719680"/>
                <a:gd name="connsiteY18196" fmla="*/ 1554335 h 5704395"/>
                <a:gd name="connsiteX18197" fmla="*/ 942693 w 5719680"/>
                <a:gd name="connsiteY18197" fmla="*/ 1587925 h 5704395"/>
                <a:gd name="connsiteX18198" fmla="*/ 943646 w 5719680"/>
                <a:gd name="connsiteY18198" fmla="*/ 1588242 h 5704395"/>
                <a:gd name="connsiteX18199" fmla="*/ 1036390 w 5719680"/>
                <a:gd name="connsiteY18199" fmla="*/ 1659542 h 5704395"/>
                <a:gd name="connsiteX18200" fmla="*/ 1099914 w 5719680"/>
                <a:gd name="connsiteY18200" fmla="*/ 1587925 h 5704395"/>
                <a:gd name="connsiteX18201" fmla="*/ 1130406 w 5719680"/>
                <a:gd name="connsiteY18201" fmla="*/ 1506802 h 5704395"/>
                <a:gd name="connsiteX18202" fmla="*/ 1102455 w 5719680"/>
                <a:gd name="connsiteY18202" fmla="*/ 1501098 h 5704395"/>
                <a:gd name="connsiteX18203" fmla="*/ 1125324 w 5719680"/>
                <a:gd name="connsiteY18203" fmla="*/ 1507119 h 5704395"/>
                <a:gd name="connsiteX18204" fmla="*/ 1112619 w 5719680"/>
                <a:gd name="connsiteY18204" fmla="*/ 1553385 h 5704395"/>
                <a:gd name="connsiteX18205" fmla="*/ 1089433 w 5719680"/>
                <a:gd name="connsiteY18205" fmla="*/ 1547047 h 5704395"/>
                <a:gd name="connsiteX18206" fmla="*/ 1090068 w 5719680"/>
                <a:gd name="connsiteY18206" fmla="*/ 1545146 h 5704395"/>
                <a:gd name="connsiteX18207" fmla="*/ 1101820 w 5719680"/>
                <a:gd name="connsiteY18207" fmla="*/ 1500781 h 5704395"/>
                <a:gd name="connsiteX18208" fmla="*/ 1043696 w 5719680"/>
                <a:gd name="connsiteY18208" fmla="*/ 1492542 h 5704395"/>
                <a:gd name="connsiteX18209" fmla="*/ 406552 w 5719680"/>
                <a:gd name="connsiteY18209" fmla="*/ 1491275 h 5704395"/>
                <a:gd name="connsiteX18210" fmla="*/ 391307 w 5719680"/>
                <a:gd name="connsiteY18210" fmla="*/ 1518844 h 5704395"/>
                <a:gd name="connsiteX18211" fmla="*/ 501838 w 5719680"/>
                <a:gd name="connsiteY18211" fmla="*/ 1581905 h 5704395"/>
                <a:gd name="connsiteX18212" fmla="*/ 525024 w 5719680"/>
                <a:gd name="connsiteY18212" fmla="*/ 1558772 h 5704395"/>
                <a:gd name="connsiteX18213" fmla="*/ 406552 w 5719680"/>
                <a:gd name="connsiteY18213" fmla="*/ 1491275 h 5704395"/>
                <a:gd name="connsiteX18214" fmla="*/ 333500 w 5719680"/>
                <a:gd name="connsiteY18214" fmla="*/ 1490958 h 5704395"/>
                <a:gd name="connsiteX18215" fmla="*/ 317301 w 5719680"/>
                <a:gd name="connsiteY18215" fmla="*/ 1520428 h 5704395"/>
                <a:gd name="connsiteX18216" fmla="*/ 329689 w 5719680"/>
                <a:gd name="connsiteY18216" fmla="*/ 1527717 h 5704395"/>
                <a:gd name="connsiteX18217" fmla="*/ 345887 w 5719680"/>
                <a:gd name="connsiteY18217" fmla="*/ 1498246 h 5704395"/>
                <a:gd name="connsiteX18218" fmla="*/ 333500 w 5719680"/>
                <a:gd name="connsiteY18218" fmla="*/ 1490958 h 5704395"/>
                <a:gd name="connsiteX18219" fmla="*/ 569491 w 5719680"/>
                <a:gd name="connsiteY18219" fmla="*/ 1485571 h 5704395"/>
                <a:gd name="connsiteX18220" fmla="*/ 560280 w 5719680"/>
                <a:gd name="connsiteY18220" fmla="*/ 1528984 h 5704395"/>
                <a:gd name="connsiteX18221" fmla="*/ 663506 w 5719680"/>
                <a:gd name="connsiteY18221" fmla="*/ 1587608 h 5704395"/>
                <a:gd name="connsiteX18222" fmla="*/ 681928 w 5719680"/>
                <a:gd name="connsiteY18222" fmla="*/ 1554969 h 5704395"/>
                <a:gd name="connsiteX18223" fmla="*/ 725442 w 5719680"/>
                <a:gd name="connsiteY18223" fmla="*/ 1579686 h 5704395"/>
                <a:gd name="connsiteX18224" fmla="*/ 724489 w 5719680"/>
                <a:gd name="connsiteY18224" fmla="*/ 1581588 h 5704395"/>
                <a:gd name="connsiteX18225" fmla="*/ 707020 w 5719680"/>
                <a:gd name="connsiteY18225" fmla="*/ 1612326 h 5704395"/>
                <a:gd name="connsiteX18226" fmla="*/ 721948 w 5719680"/>
                <a:gd name="connsiteY18226" fmla="*/ 1620882 h 5704395"/>
                <a:gd name="connsiteX18227" fmla="*/ 742593 w 5719680"/>
                <a:gd name="connsiteY18227" fmla="*/ 1584123 h 5704395"/>
                <a:gd name="connsiteX18228" fmla="*/ 569491 w 5719680"/>
                <a:gd name="connsiteY18228" fmla="*/ 1485571 h 5704395"/>
                <a:gd name="connsiteX18229" fmla="*/ 1428014 w 5719680"/>
                <a:gd name="connsiteY18229" fmla="*/ 1484620 h 5704395"/>
                <a:gd name="connsiteX18230" fmla="*/ 1400064 w 5719680"/>
                <a:gd name="connsiteY18230" fmla="*/ 1535956 h 5704395"/>
                <a:gd name="connsiteX18231" fmla="*/ 1416898 w 5719680"/>
                <a:gd name="connsiteY18231" fmla="*/ 1545146 h 5704395"/>
                <a:gd name="connsiteX18232" fmla="*/ 1423885 w 5719680"/>
                <a:gd name="connsiteY18232" fmla="*/ 1531836 h 5704395"/>
                <a:gd name="connsiteX18233" fmla="*/ 1435955 w 5719680"/>
                <a:gd name="connsiteY18233" fmla="*/ 1538491 h 5704395"/>
                <a:gd name="connsiteX18234" fmla="*/ 1449613 w 5719680"/>
                <a:gd name="connsiteY18234" fmla="*/ 1513140 h 5704395"/>
                <a:gd name="connsiteX18235" fmla="*/ 1437543 w 5719680"/>
                <a:gd name="connsiteY18235" fmla="*/ 1506802 h 5704395"/>
                <a:gd name="connsiteX18236" fmla="*/ 1444848 w 5719680"/>
                <a:gd name="connsiteY18236" fmla="*/ 1493810 h 5704395"/>
                <a:gd name="connsiteX18237" fmla="*/ 1428014 w 5719680"/>
                <a:gd name="connsiteY18237" fmla="*/ 1484620 h 5704395"/>
                <a:gd name="connsiteX18238" fmla="*/ 1426426 w 5719680"/>
                <a:gd name="connsiteY18238" fmla="*/ 1478916 h 5704395"/>
                <a:gd name="connsiteX18239" fmla="*/ 1428332 w 5719680"/>
                <a:gd name="connsiteY18239" fmla="*/ 1479867 h 5704395"/>
                <a:gd name="connsiteX18240" fmla="*/ 1450565 w 5719680"/>
                <a:gd name="connsiteY18240" fmla="*/ 1491908 h 5704395"/>
                <a:gd name="connsiteX18241" fmla="*/ 1443260 w 5719680"/>
                <a:gd name="connsiteY18241" fmla="*/ 1505218 h 5704395"/>
                <a:gd name="connsiteX18242" fmla="*/ 1455330 w 5719680"/>
                <a:gd name="connsiteY18242" fmla="*/ 1511555 h 5704395"/>
                <a:gd name="connsiteX18243" fmla="*/ 1437543 w 5719680"/>
                <a:gd name="connsiteY18243" fmla="*/ 1544195 h 5704395"/>
                <a:gd name="connsiteX18244" fmla="*/ 1425791 w 5719680"/>
                <a:gd name="connsiteY18244" fmla="*/ 1537540 h 5704395"/>
                <a:gd name="connsiteX18245" fmla="*/ 1418486 w 5719680"/>
                <a:gd name="connsiteY18245" fmla="*/ 1550533 h 5704395"/>
                <a:gd name="connsiteX18246" fmla="*/ 1394347 w 5719680"/>
                <a:gd name="connsiteY18246" fmla="*/ 1537540 h 5704395"/>
                <a:gd name="connsiteX18247" fmla="*/ 1426426 w 5719680"/>
                <a:gd name="connsiteY18247" fmla="*/ 1478916 h 5704395"/>
                <a:gd name="connsiteX18248" fmla="*/ 1372114 w 5719680"/>
                <a:gd name="connsiteY18248" fmla="*/ 1469409 h 5704395"/>
                <a:gd name="connsiteX18249" fmla="*/ 1365126 w 5719680"/>
                <a:gd name="connsiteY18249" fmla="*/ 1482402 h 5704395"/>
                <a:gd name="connsiteX18250" fmla="*/ 1353056 w 5719680"/>
                <a:gd name="connsiteY18250" fmla="*/ 1476064 h 5704395"/>
                <a:gd name="connsiteX18251" fmla="*/ 1339399 w 5719680"/>
                <a:gd name="connsiteY18251" fmla="*/ 1501098 h 5704395"/>
                <a:gd name="connsiteX18252" fmla="*/ 1351468 w 5719680"/>
                <a:gd name="connsiteY18252" fmla="*/ 1507753 h 5704395"/>
                <a:gd name="connsiteX18253" fmla="*/ 1344163 w 5719680"/>
                <a:gd name="connsiteY18253" fmla="*/ 1520745 h 5704395"/>
                <a:gd name="connsiteX18254" fmla="*/ 1360997 w 5719680"/>
                <a:gd name="connsiteY18254" fmla="*/ 1529935 h 5704395"/>
                <a:gd name="connsiteX18255" fmla="*/ 1388947 w 5719680"/>
                <a:gd name="connsiteY18255" fmla="*/ 1478599 h 5704395"/>
                <a:gd name="connsiteX18256" fmla="*/ 1372114 w 5719680"/>
                <a:gd name="connsiteY18256" fmla="*/ 1469409 h 5704395"/>
                <a:gd name="connsiteX18257" fmla="*/ 366850 w 5719680"/>
                <a:gd name="connsiteY18257" fmla="*/ 1468459 h 5704395"/>
                <a:gd name="connsiteX18258" fmla="*/ 351604 w 5719680"/>
                <a:gd name="connsiteY18258" fmla="*/ 1496345 h 5704395"/>
                <a:gd name="connsiteX18259" fmla="*/ 387813 w 5719680"/>
                <a:gd name="connsiteY18259" fmla="*/ 1516943 h 5704395"/>
                <a:gd name="connsiteX18260" fmla="*/ 403059 w 5719680"/>
                <a:gd name="connsiteY18260" fmla="*/ 1489056 h 5704395"/>
                <a:gd name="connsiteX18261" fmla="*/ 945551 w 5719680"/>
                <a:gd name="connsiteY18261" fmla="*/ 1464973 h 5704395"/>
                <a:gd name="connsiteX18262" fmla="*/ 934117 w 5719680"/>
                <a:gd name="connsiteY18262" fmla="*/ 1472895 h 5704395"/>
                <a:gd name="connsiteX18263" fmla="*/ 941740 w 5719680"/>
                <a:gd name="connsiteY18263" fmla="*/ 1483986 h 5704395"/>
                <a:gd name="connsiteX18264" fmla="*/ 929671 w 5719680"/>
                <a:gd name="connsiteY18264" fmla="*/ 1492542 h 5704395"/>
                <a:gd name="connsiteX18265" fmla="*/ 940470 w 5719680"/>
                <a:gd name="connsiteY18265" fmla="*/ 1508070 h 5704395"/>
                <a:gd name="connsiteX18266" fmla="*/ 965561 w 5719680"/>
                <a:gd name="connsiteY18266" fmla="*/ 1490641 h 5704395"/>
                <a:gd name="connsiteX18267" fmla="*/ 1370525 w 5719680"/>
                <a:gd name="connsiteY18267" fmla="*/ 1463705 h 5704395"/>
                <a:gd name="connsiteX18268" fmla="*/ 1394664 w 5719680"/>
                <a:gd name="connsiteY18268" fmla="*/ 1476698 h 5704395"/>
                <a:gd name="connsiteX18269" fmla="*/ 1362585 w 5719680"/>
                <a:gd name="connsiteY18269" fmla="*/ 1535639 h 5704395"/>
                <a:gd name="connsiteX18270" fmla="*/ 1360997 w 5719680"/>
                <a:gd name="connsiteY18270" fmla="*/ 1534688 h 5704395"/>
                <a:gd name="connsiteX18271" fmla="*/ 1338764 w 5719680"/>
                <a:gd name="connsiteY18271" fmla="*/ 1522647 h 5704395"/>
                <a:gd name="connsiteX18272" fmla="*/ 1345751 w 5719680"/>
                <a:gd name="connsiteY18272" fmla="*/ 1509337 h 5704395"/>
                <a:gd name="connsiteX18273" fmla="*/ 1333682 w 5719680"/>
                <a:gd name="connsiteY18273" fmla="*/ 1503000 h 5704395"/>
                <a:gd name="connsiteX18274" fmla="*/ 1351468 w 5719680"/>
                <a:gd name="connsiteY18274" fmla="*/ 1470360 h 5704395"/>
                <a:gd name="connsiteX18275" fmla="*/ 1363538 w 5719680"/>
                <a:gd name="connsiteY18275" fmla="*/ 1477015 h 5704395"/>
                <a:gd name="connsiteX18276" fmla="*/ 1370525 w 5719680"/>
                <a:gd name="connsiteY18276" fmla="*/ 1463705 h 5704395"/>
                <a:gd name="connsiteX18277" fmla="*/ 350651 w 5719680"/>
                <a:gd name="connsiteY18277" fmla="*/ 1459586 h 5704395"/>
                <a:gd name="connsiteX18278" fmla="*/ 335723 w 5719680"/>
                <a:gd name="connsiteY18278" fmla="*/ 1487155 h 5704395"/>
                <a:gd name="connsiteX18279" fmla="*/ 348110 w 5719680"/>
                <a:gd name="connsiteY18279" fmla="*/ 1494127 h 5704395"/>
                <a:gd name="connsiteX18280" fmla="*/ 363039 w 5719680"/>
                <a:gd name="connsiteY18280" fmla="*/ 1466557 h 5704395"/>
                <a:gd name="connsiteX18281" fmla="*/ 350651 w 5719680"/>
                <a:gd name="connsiteY18281" fmla="*/ 1459586 h 5704395"/>
                <a:gd name="connsiteX18282" fmla="*/ 425292 w 5719680"/>
                <a:gd name="connsiteY18282" fmla="*/ 1457051 h 5704395"/>
                <a:gd name="connsiteX18283" fmla="*/ 408776 w 5719680"/>
                <a:gd name="connsiteY18283" fmla="*/ 1487472 h 5704395"/>
                <a:gd name="connsiteX18284" fmla="*/ 528518 w 5719680"/>
                <a:gd name="connsiteY18284" fmla="*/ 1555603 h 5704395"/>
                <a:gd name="connsiteX18285" fmla="*/ 553610 w 5719680"/>
                <a:gd name="connsiteY18285" fmla="*/ 1530252 h 5704395"/>
                <a:gd name="connsiteX18286" fmla="*/ 425292 w 5719680"/>
                <a:gd name="connsiteY18286" fmla="*/ 1457051 h 5704395"/>
                <a:gd name="connsiteX18287" fmla="*/ 957621 w 5719680"/>
                <a:gd name="connsiteY18287" fmla="*/ 1456417 h 5704395"/>
                <a:gd name="connsiteX18288" fmla="*/ 949045 w 5719680"/>
                <a:gd name="connsiteY18288" fmla="*/ 1462438 h 5704395"/>
                <a:gd name="connsiteX18289" fmla="*/ 969373 w 5719680"/>
                <a:gd name="connsiteY18289" fmla="*/ 1488423 h 5704395"/>
                <a:gd name="connsiteX18290" fmla="*/ 988748 w 5719680"/>
                <a:gd name="connsiteY18290" fmla="*/ 1475113 h 5704395"/>
                <a:gd name="connsiteX18291" fmla="*/ 977631 w 5719680"/>
                <a:gd name="connsiteY18291" fmla="*/ 1459269 h 5704395"/>
                <a:gd name="connsiteX18292" fmla="*/ 965561 w 5719680"/>
                <a:gd name="connsiteY18292" fmla="*/ 1467825 h 5704395"/>
                <a:gd name="connsiteX18293" fmla="*/ 957621 w 5719680"/>
                <a:gd name="connsiteY18293" fmla="*/ 1456417 h 5704395"/>
                <a:gd name="connsiteX18294" fmla="*/ 1601434 w 5719680"/>
                <a:gd name="connsiteY18294" fmla="*/ 1443741 h 5704395"/>
                <a:gd name="connsiteX18295" fmla="*/ 1556332 w 5719680"/>
                <a:gd name="connsiteY18295" fmla="*/ 1527717 h 5704395"/>
                <a:gd name="connsiteX18296" fmla="*/ 1483915 w 5719680"/>
                <a:gd name="connsiteY18296" fmla="*/ 1582538 h 5704395"/>
                <a:gd name="connsiteX18297" fmla="*/ 1526794 w 5719680"/>
                <a:gd name="connsiteY18297" fmla="*/ 1638311 h 5704395"/>
                <a:gd name="connsiteX18298" fmla="*/ 1538228 w 5719680"/>
                <a:gd name="connsiteY18298" fmla="*/ 1684576 h 5704395"/>
                <a:gd name="connsiteX18299" fmla="*/ 1723082 w 5719680"/>
                <a:gd name="connsiteY18299" fmla="*/ 1652571 h 5704395"/>
                <a:gd name="connsiteX18300" fmla="*/ 1717365 w 5719680"/>
                <a:gd name="connsiteY18300" fmla="*/ 1480183 h 5704395"/>
                <a:gd name="connsiteX18301" fmla="*/ 1601434 w 5719680"/>
                <a:gd name="connsiteY18301" fmla="*/ 1443741 h 5704395"/>
                <a:gd name="connsiteX18302" fmla="*/ 1246019 w 5719680"/>
                <a:gd name="connsiteY18302" fmla="*/ 1441206 h 5704395"/>
                <a:gd name="connsiteX18303" fmla="*/ 1218386 w 5719680"/>
                <a:gd name="connsiteY18303" fmla="*/ 1492542 h 5704395"/>
                <a:gd name="connsiteX18304" fmla="*/ 1234902 w 5719680"/>
                <a:gd name="connsiteY18304" fmla="*/ 1501732 h 5704395"/>
                <a:gd name="connsiteX18305" fmla="*/ 1242207 w 5719680"/>
                <a:gd name="connsiteY18305" fmla="*/ 1488740 h 5704395"/>
                <a:gd name="connsiteX18306" fmla="*/ 1254277 w 5719680"/>
                <a:gd name="connsiteY18306" fmla="*/ 1495077 h 5704395"/>
                <a:gd name="connsiteX18307" fmla="*/ 1267935 w 5719680"/>
                <a:gd name="connsiteY18307" fmla="*/ 1470043 h 5704395"/>
                <a:gd name="connsiteX18308" fmla="*/ 1255865 w 5719680"/>
                <a:gd name="connsiteY18308" fmla="*/ 1463389 h 5704395"/>
                <a:gd name="connsiteX18309" fmla="*/ 1262853 w 5719680"/>
                <a:gd name="connsiteY18309" fmla="*/ 1450396 h 5704395"/>
                <a:gd name="connsiteX18310" fmla="*/ 1246019 w 5719680"/>
                <a:gd name="connsiteY18310" fmla="*/ 1441206 h 5704395"/>
                <a:gd name="connsiteX18311" fmla="*/ 610464 w 5719680"/>
                <a:gd name="connsiteY18311" fmla="*/ 1439305 h 5704395"/>
                <a:gd name="connsiteX18312" fmla="*/ 570761 w 5719680"/>
                <a:gd name="connsiteY18312" fmla="*/ 1481134 h 5704395"/>
                <a:gd name="connsiteX18313" fmla="*/ 659377 w 5719680"/>
                <a:gd name="connsiteY18313" fmla="*/ 1531836 h 5704395"/>
                <a:gd name="connsiteX18314" fmla="*/ 694633 w 5719680"/>
                <a:gd name="connsiteY18314" fmla="*/ 1500464 h 5704395"/>
                <a:gd name="connsiteX18315" fmla="*/ 610464 w 5719680"/>
                <a:gd name="connsiteY18315" fmla="*/ 1439305 h 5704395"/>
                <a:gd name="connsiteX18316" fmla="*/ 1119289 w 5719680"/>
                <a:gd name="connsiteY18316" fmla="*/ 1436136 h 5704395"/>
                <a:gd name="connsiteX18317" fmla="*/ 1122465 w 5719680"/>
                <a:gd name="connsiteY18317" fmla="*/ 1470043 h 5704395"/>
                <a:gd name="connsiteX18318" fmla="*/ 1147239 w 5719680"/>
                <a:gd name="connsiteY18318" fmla="*/ 1474796 h 5704395"/>
                <a:gd name="connsiteX18319" fmla="*/ 1151051 w 5719680"/>
                <a:gd name="connsiteY18319" fmla="*/ 1456100 h 5704395"/>
                <a:gd name="connsiteX18320" fmla="*/ 1136123 w 5719680"/>
                <a:gd name="connsiteY18320" fmla="*/ 1453248 h 5704395"/>
                <a:gd name="connsiteX18321" fmla="*/ 1138981 w 5719680"/>
                <a:gd name="connsiteY18321" fmla="*/ 1439939 h 5704395"/>
                <a:gd name="connsiteX18322" fmla="*/ 1119289 w 5719680"/>
                <a:gd name="connsiteY18322" fmla="*/ 1436136 h 5704395"/>
                <a:gd name="connsiteX18323" fmla="*/ 1244431 w 5719680"/>
                <a:gd name="connsiteY18323" fmla="*/ 1435502 h 5704395"/>
                <a:gd name="connsiteX18324" fmla="*/ 1246337 w 5719680"/>
                <a:gd name="connsiteY18324" fmla="*/ 1436770 h 5704395"/>
                <a:gd name="connsiteX18325" fmla="*/ 1268570 w 5719680"/>
                <a:gd name="connsiteY18325" fmla="*/ 1448812 h 5704395"/>
                <a:gd name="connsiteX18326" fmla="*/ 1261582 w 5719680"/>
                <a:gd name="connsiteY18326" fmla="*/ 1461804 h 5704395"/>
                <a:gd name="connsiteX18327" fmla="*/ 1273334 w 5719680"/>
                <a:gd name="connsiteY18327" fmla="*/ 1468142 h 5704395"/>
                <a:gd name="connsiteX18328" fmla="*/ 1255865 w 5719680"/>
                <a:gd name="connsiteY18328" fmla="*/ 1500781 h 5704395"/>
                <a:gd name="connsiteX18329" fmla="*/ 1243796 w 5719680"/>
                <a:gd name="connsiteY18329" fmla="*/ 1494127 h 5704395"/>
                <a:gd name="connsiteX18330" fmla="*/ 1236808 w 5719680"/>
                <a:gd name="connsiteY18330" fmla="*/ 1507436 h 5704395"/>
                <a:gd name="connsiteX18331" fmla="*/ 1212669 w 5719680"/>
                <a:gd name="connsiteY18331" fmla="*/ 1494443 h 5704395"/>
                <a:gd name="connsiteX18332" fmla="*/ 1244431 w 5719680"/>
                <a:gd name="connsiteY18332" fmla="*/ 1435502 h 5704395"/>
                <a:gd name="connsiteX18333" fmla="*/ 1110713 w 5719680"/>
                <a:gd name="connsiteY18333" fmla="*/ 1434552 h 5704395"/>
                <a:gd name="connsiteX18334" fmla="*/ 1108172 w 5719680"/>
                <a:gd name="connsiteY18334" fmla="*/ 1447861 h 5704395"/>
                <a:gd name="connsiteX18335" fmla="*/ 1093562 w 5719680"/>
                <a:gd name="connsiteY18335" fmla="*/ 1445009 h 5704395"/>
                <a:gd name="connsiteX18336" fmla="*/ 1089750 w 5719680"/>
                <a:gd name="connsiteY18336" fmla="*/ 1463705 h 5704395"/>
                <a:gd name="connsiteX18337" fmla="*/ 1118018 w 5719680"/>
                <a:gd name="connsiteY18337" fmla="*/ 1469409 h 5704395"/>
                <a:gd name="connsiteX18338" fmla="*/ 1114842 w 5719680"/>
                <a:gd name="connsiteY18338" fmla="*/ 1435502 h 5704395"/>
                <a:gd name="connsiteX18339" fmla="*/ 1110713 w 5719680"/>
                <a:gd name="connsiteY18339" fmla="*/ 1434552 h 5704395"/>
                <a:gd name="connsiteX18340" fmla="*/ 385272 w 5719680"/>
                <a:gd name="connsiteY18340" fmla="*/ 1434552 h 5704395"/>
                <a:gd name="connsiteX18341" fmla="*/ 368756 w 5719680"/>
                <a:gd name="connsiteY18341" fmla="*/ 1464656 h 5704395"/>
                <a:gd name="connsiteX18342" fmla="*/ 404964 w 5719680"/>
                <a:gd name="connsiteY18342" fmla="*/ 1485254 h 5704395"/>
                <a:gd name="connsiteX18343" fmla="*/ 421480 w 5719680"/>
                <a:gd name="connsiteY18343" fmla="*/ 1455149 h 5704395"/>
                <a:gd name="connsiteX18344" fmla="*/ 369391 w 5719680"/>
                <a:gd name="connsiteY18344" fmla="*/ 1425362 h 5704395"/>
                <a:gd name="connsiteX18345" fmla="*/ 352875 w 5719680"/>
                <a:gd name="connsiteY18345" fmla="*/ 1455783 h 5704395"/>
                <a:gd name="connsiteX18346" fmla="*/ 365262 w 5719680"/>
                <a:gd name="connsiteY18346" fmla="*/ 1462755 h 5704395"/>
                <a:gd name="connsiteX18347" fmla="*/ 381778 w 5719680"/>
                <a:gd name="connsiteY18347" fmla="*/ 1432334 h 5704395"/>
                <a:gd name="connsiteX18348" fmla="*/ 369391 w 5719680"/>
                <a:gd name="connsiteY18348" fmla="*/ 1425362 h 5704395"/>
                <a:gd name="connsiteX18349" fmla="*/ 1313036 w 5719680"/>
                <a:gd name="connsiteY18349" fmla="*/ 1422193 h 5704395"/>
                <a:gd name="connsiteX18350" fmla="*/ 1282863 w 5719680"/>
                <a:gd name="connsiteY18350" fmla="*/ 1519478 h 5704395"/>
                <a:gd name="connsiteX18351" fmla="*/ 1374655 w 5719680"/>
                <a:gd name="connsiteY18351" fmla="*/ 1543878 h 5704395"/>
                <a:gd name="connsiteX18352" fmla="*/ 1424521 w 5719680"/>
                <a:gd name="connsiteY18352" fmla="*/ 1442474 h 5704395"/>
                <a:gd name="connsiteX18353" fmla="*/ 1313036 w 5719680"/>
                <a:gd name="connsiteY18353" fmla="*/ 1422193 h 5704395"/>
                <a:gd name="connsiteX18354" fmla="*/ 908072 w 5719680"/>
                <a:gd name="connsiteY18354" fmla="*/ 1417123 h 5704395"/>
                <a:gd name="connsiteX18355" fmla="*/ 852807 w 5719680"/>
                <a:gd name="connsiteY18355" fmla="*/ 1481451 h 5704395"/>
                <a:gd name="connsiteX18356" fmla="*/ 813104 w 5719680"/>
                <a:gd name="connsiteY18356" fmla="*/ 1526766 h 5704395"/>
                <a:gd name="connsiteX18357" fmla="*/ 799764 w 5719680"/>
                <a:gd name="connsiteY18357" fmla="*/ 1541660 h 5704395"/>
                <a:gd name="connsiteX18358" fmla="*/ 798812 w 5719680"/>
                <a:gd name="connsiteY18358" fmla="*/ 1542610 h 5704395"/>
                <a:gd name="connsiteX18359" fmla="*/ 922683 w 5719680"/>
                <a:gd name="connsiteY18359" fmla="*/ 1581905 h 5704395"/>
                <a:gd name="connsiteX18360" fmla="*/ 937293 w 5719680"/>
                <a:gd name="connsiteY18360" fmla="*/ 1546413 h 5704395"/>
                <a:gd name="connsiteX18361" fmla="*/ 971914 w 5719680"/>
                <a:gd name="connsiteY18361" fmla="*/ 1498880 h 5704395"/>
                <a:gd name="connsiteX18362" fmla="*/ 968102 w 5719680"/>
                <a:gd name="connsiteY18362" fmla="*/ 1494127 h 5704395"/>
                <a:gd name="connsiteX18363" fmla="*/ 939517 w 5719680"/>
                <a:gd name="connsiteY18363" fmla="*/ 1514091 h 5704395"/>
                <a:gd name="connsiteX18364" fmla="*/ 938246 w 5719680"/>
                <a:gd name="connsiteY18364" fmla="*/ 1512189 h 5704395"/>
                <a:gd name="connsiteX18365" fmla="*/ 923953 w 5719680"/>
                <a:gd name="connsiteY18365" fmla="*/ 1491592 h 5704395"/>
                <a:gd name="connsiteX18366" fmla="*/ 936023 w 5719680"/>
                <a:gd name="connsiteY18366" fmla="*/ 1483036 h 5704395"/>
                <a:gd name="connsiteX18367" fmla="*/ 928400 w 5719680"/>
                <a:gd name="connsiteY18367" fmla="*/ 1471944 h 5704395"/>
                <a:gd name="connsiteX18368" fmla="*/ 943011 w 5719680"/>
                <a:gd name="connsiteY18368" fmla="*/ 1461804 h 5704395"/>
                <a:gd name="connsiteX18369" fmla="*/ 908072 w 5719680"/>
                <a:gd name="connsiteY18369" fmla="*/ 1417123 h 5704395"/>
                <a:gd name="connsiteX18370" fmla="*/ 401788 w 5719680"/>
                <a:gd name="connsiteY18370" fmla="*/ 1404130 h 5704395"/>
                <a:gd name="connsiteX18371" fmla="*/ 387495 w 5719680"/>
                <a:gd name="connsiteY18371" fmla="*/ 1430432 h 5704395"/>
                <a:gd name="connsiteX18372" fmla="*/ 423704 w 5719680"/>
                <a:gd name="connsiteY18372" fmla="*/ 1451347 h 5704395"/>
                <a:gd name="connsiteX18373" fmla="*/ 438632 w 5719680"/>
                <a:gd name="connsiteY18373" fmla="*/ 1424094 h 5704395"/>
                <a:gd name="connsiteX18374" fmla="*/ 401788 w 5719680"/>
                <a:gd name="connsiteY18374" fmla="*/ 1404130 h 5704395"/>
                <a:gd name="connsiteX18375" fmla="*/ 1201870 w 5719680"/>
                <a:gd name="connsiteY18375" fmla="*/ 1400645 h 5704395"/>
                <a:gd name="connsiteX18376" fmla="*/ 1199647 w 5719680"/>
                <a:gd name="connsiteY18376" fmla="*/ 1499831 h 5704395"/>
                <a:gd name="connsiteX18377" fmla="*/ 1262535 w 5719680"/>
                <a:gd name="connsiteY18377" fmla="*/ 1514407 h 5704395"/>
                <a:gd name="connsiteX18378" fmla="*/ 1273969 w 5719680"/>
                <a:gd name="connsiteY18378" fmla="*/ 1483669 h 5704395"/>
                <a:gd name="connsiteX18379" fmla="*/ 1292391 w 5719680"/>
                <a:gd name="connsiteY18379" fmla="*/ 1418074 h 5704395"/>
                <a:gd name="connsiteX18380" fmla="*/ 1201870 w 5719680"/>
                <a:gd name="connsiteY18380" fmla="*/ 1400645 h 5704395"/>
                <a:gd name="connsiteX18381" fmla="*/ 391942 w 5719680"/>
                <a:gd name="connsiteY18381" fmla="*/ 1384483 h 5704395"/>
                <a:gd name="connsiteX18382" fmla="*/ 371614 w 5719680"/>
                <a:gd name="connsiteY18382" fmla="*/ 1421559 h 5704395"/>
                <a:gd name="connsiteX18383" fmla="*/ 384001 w 5719680"/>
                <a:gd name="connsiteY18383" fmla="*/ 1428531 h 5704395"/>
                <a:gd name="connsiteX18384" fmla="*/ 400200 w 5719680"/>
                <a:gd name="connsiteY18384" fmla="*/ 1398427 h 5704395"/>
                <a:gd name="connsiteX18385" fmla="*/ 444031 w 5719680"/>
                <a:gd name="connsiteY18385" fmla="*/ 1422193 h 5704395"/>
                <a:gd name="connsiteX18386" fmla="*/ 443079 w 5719680"/>
                <a:gd name="connsiteY18386" fmla="*/ 1424094 h 5704395"/>
                <a:gd name="connsiteX18387" fmla="*/ 427198 w 5719680"/>
                <a:gd name="connsiteY18387" fmla="*/ 1453248 h 5704395"/>
                <a:gd name="connsiteX18388" fmla="*/ 556151 w 5719680"/>
                <a:gd name="connsiteY18388" fmla="*/ 1526766 h 5704395"/>
                <a:gd name="connsiteX18389" fmla="*/ 565362 w 5719680"/>
                <a:gd name="connsiteY18389" fmla="*/ 1483352 h 5704395"/>
                <a:gd name="connsiteX18390" fmla="*/ 478017 w 5719680"/>
                <a:gd name="connsiteY18390" fmla="*/ 1433601 h 5704395"/>
                <a:gd name="connsiteX18391" fmla="*/ 477699 w 5719680"/>
                <a:gd name="connsiteY18391" fmla="*/ 1434552 h 5704395"/>
                <a:gd name="connsiteX18392" fmla="*/ 473570 w 5719680"/>
                <a:gd name="connsiteY18392" fmla="*/ 1432967 h 5704395"/>
                <a:gd name="connsiteX18393" fmla="*/ 474205 w 5719680"/>
                <a:gd name="connsiteY18393" fmla="*/ 1431383 h 5704395"/>
                <a:gd name="connsiteX18394" fmla="*/ 391942 w 5719680"/>
                <a:gd name="connsiteY18394" fmla="*/ 1384483 h 5704395"/>
                <a:gd name="connsiteX18395" fmla="*/ 505967 w 5719680"/>
                <a:gd name="connsiteY18395" fmla="*/ 1363886 h 5704395"/>
                <a:gd name="connsiteX18396" fmla="*/ 502473 w 5719680"/>
                <a:gd name="connsiteY18396" fmla="*/ 1372125 h 5704395"/>
                <a:gd name="connsiteX18397" fmla="*/ 479605 w 5719680"/>
                <a:gd name="connsiteY18397" fmla="*/ 1429482 h 5704395"/>
                <a:gd name="connsiteX18398" fmla="*/ 566632 w 5719680"/>
                <a:gd name="connsiteY18398" fmla="*/ 1478916 h 5704395"/>
                <a:gd name="connsiteX18399" fmla="*/ 606652 w 5719680"/>
                <a:gd name="connsiteY18399" fmla="*/ 1436770 h 5704395"/>
                <a:gd name="connsiteX18400" fmla="*/ 506285 w 5719680"/>
                <a:gd name="connsiteY18400" fmla="*/ 1363886 h 5704395"/>
                <a:gd name="connsiteX18401" fmla="*/ 505967 w 5719680"/>
                <a:gd name="connsiteY18401" fmla="*/ 1363886 h 5704395"/>
                <a:gd name="connsiteX18402" fmla="*/ 824221 w 5719680"/>
                <a:gd name="connsiteY18402" fmla="*/ 1357548 h 5704395"/>
                <a:gd name="connsiteX18403" fmla="*/ 806117 w 5719680"/>
                <a:gd name="connsiteY18403" fmla="*/ 1382265 h 5704395"/>
                <a:gd name="connsiteX18404" fmla="*/ 820727 w 5719680"/>
                <a:gd name="connsiteY18404" fmla="*/ 1393356 h 5704395"/>
                <a:gd name="connsiteX18405" fmla="*/ 806434 w 5719680"/>
                <a:gd name="connsiteY18405" fmla="*/ 1411736 h 5704395"/>
                <a:gd name="connsiteX18406" fmla="*/ 827715 w 5719680"/>
                <a:gd name="connsiteY18406" fmla="*/ 1427897 h 5704395"/>
                <a:gd name="connsiteX18407" fmla="*/ 858524 w 5719680"/>
                <a:gd name="connsiteY18407" fmla="*/ 1387652 h 5704395"/>
                <a:gd name="connsiteX18408" fmla="*/ 845184 w 5719680"/>
                <a:gd name="connsiteY18408" fmla="*/ 1377829 h 5704395"/>
                <a:gd name="connsiteX18409" fmla="*/ 847090 w 5719680"/>
                <a:gd name="connsiteY18409" fmla="*/ 1374977 h 5704395"/>
                <a:gd name="connsiteX18410" fmla="*/ 824221 w 5719680"/>
                <a:gd name="connsiteY18410" fmla="*/ 1357548 h 5704395"/>
                <a:gd name="connsiteX18411" fmla="*/ 823268 w 5719680"/>
                <a:gd name="connsiteY18411" fmla="*/ 1351527 h 5704395"/>
                <a:gd name="connsiteX18412" fmla="*/ 853124 w 5719680"/>
                <a:gd name="connsiteY18412" fmla="*/ 1374343 h 5704395"/>
                <a:gd name="connsiteX18413" fmla="*/ 851219 w 5719680"/>
                <a:gd name="connsiteY18413" fmla="*/ 1376878 h 5704395"/>
                <a:gd name="connsiteX18414" fmla="*/ 864241 w 5719680"/>
                <a:gd name="connsiteY18414" fmla="*/ 1387019 h 5704395"/>
                <a:gd name="connsiteX18415" fmla="*/ 828350 w 5719680"/>
                <a:gd name="connsiteY18415" fmla="*/ 1433601 h 5704395"/>
                <a:gd name="connsiteX18416" fmla="*/ 800717 w 5719680"/>
                <a:gd name="connsiteY18416" fmla="*/ 1412686 h 5704395"/>
                <a:gd name="connsiteX18417" fmla="*/ 815010 w 5719680"/>
                <a:gd name="connsiteY18417" fmla="*/ 1394307 h 5704395"/>
                <a:gd name="connsiteX18418" fmla="*/ 800400 w 5719680"/>
                <a:gd name="connsiteY18418" fmla="*/ 1383216 h 5704395"/>
                <a:gd name="connsiteX18419" fmla="*/ 801670 w 5719680"/>
                <a:gd name="connsiteY18419" fmla="*/ 1381631 h 5704395"/>
                <a:gd name="connsiteX18420" fmla="*/ 823268 w 5719680"/>
                <a:gd name="connsiteY18420" fmla="*/ 1351527 h 5704395"/>
                <a:gd name="connsiteX18421" fmla="*/ 1480104 w 5719680"/>
                <a:gd name="connsiteY18421" fmla="*/ 1339168 h 5704395"/>
                <a:gd name="connsiteX18422" fmla="*/ 1379101 w 5719680"/>
                <a:gd name="connsiteY18422" fmla="*/ 1545146 h 5704395"/>
                <a:gd name="connsiteX18423" fmla="*/ 1455647 w 5719680"/>
                <a:gd name="connsiteY18423" fmla="*/ 1568278 h 5704395"/>
                <a:gd name="connsiteX18424" fmla="*/ 1480104 w 5719680"/>
                <a:gd name="connsiteY18424" fmla="*/ 1579686 h 5704395"/>
                <a:gd name="connsiteX18425" fmla="*/ 1552839 w 5719680"/>
                <a:gd name="connsiteY18425" fmla="*/ 1524865 h 5704395"/>
                <a:gd name="connsiteX18426" fmla="*/ 1597623 w 5719680"/>
                <a:gd name="connsiteY18426" fmla="*/ 1441840 h 5704395"/>
                <a:gd name="connsiteX18427" fmla="*/ 1597305 w 5719680"/>
                <a:gd name="connsiteY18427" fmla="*/ 1441523 h 5704395"/>
                <a:gd name="connsiteX18428" fmla="*/ 1480104 w 5719680"/>
                <a:gd name="connsiteY18428" fmla="*/ 1339168 h 5704395"/>
                <a:gd name="connsiteX18429" fmla="*/ 1324788 w 5719680"/>
                <a:gd name="connsiteY18429" fmla="*/ 1334415 h 5704395"/>
                <a:gd name="connsiteX18430" fmla="*/ 1324153 w 5719680"/>
                <a:gd name="connsiteY18430" fmla="*/ 1370223 h 5704395"/>
                <a:gd name="connsiteX18431" fmla="*/ 1347657 w 5719680"/>
                <a:gd name="connsiteY18431" fmla="*/ 1370857 h 5704395"/>
                <a:gd name="connsiteX18432" fmla="*/ 1348610 w 5719680"/>
                <a:gd name="connsiteY18432" fmla="*/ 1335049 h 5704395"/>
                <a:gd name="connsiteX18433" fmla="*/ 1324788 w 5719680"/>
                <a:gd name="connsiteY18433" fmla="*/ 1334415 h 5704395"/>
                <a:gd name="connsiteX18434" fmla="*/ 419575 w 5719680"/>
                <a:gd name="connsiteY18434" fmla="*/ 1333781 h 5704395"/>
                <a:gd name="connsiteX18435" fmla="*/ 393848 w 5719680"/>
                <a:gd name="connsiteY18435" fmla="*/ 1380681 h 5704395"/>
                <a:gd name="connsiteX18436" fmla="*/ 475793 w 5719680"/>
                <a:gd name="connsiteY18436" fmla="*/ 1427263 h 5704395"/>
                <a:gd name="connsiteX18437" fmla="*/ 488180 w 5719680"/>
                <a:gd name="connsiteY18437" fmla="*/ 1395258 h 5704395"/>
                <a:gd name="connsiteX18438" fmla="*/ 498662 w 5719680"/>
                <a:gd name="connsiteY18438" fmla="*/ 1369273 h 5704395"/>
                <a:gd name="connsiteX18439" fmla="*/ 501838 w 5719680"/>
                <a:gd name="connsiteY18439" fmla="*/ 1362301 h 5704395"/>
                <a:gd name="connsiteX18440" fmla="*/ 459277 w 5719680"/>
                <a:gd name="connsiteY18440" fmla="*/ 1347091 h 5704395"/>
                <a:gd name="connsiteX18441" fmla="*/ 424657 w 5719680"/>
                <a:gd name="connsiteY18441" fmla="*/ 1335049 h 5704395"/>
                <a:gd name="connsiteX18442" fmla="*/ 419575 w 5719680"/>
                <a:gd name="connsiteY18442" fmla="*/ 1333781 h 5704395"/>
                <a:gd name="connsiteX18443" fmla="*/ 1268252 w 5719680"/>
                <a:gd name="connsiteY18443" fmla="*/ 1333148 h 5704395"/>
                <a:gd name="connsiteX18444" fmla="*/ 1267299 w 5719680"/>
                <a:gd name="connsiteY18444" fmla="*/ 1368956 h 5704395"/>
                <a:gd name="connsiteX18445" fmla="*/ 1291121 w 5719680"/>
                <a:gd name="connsiteY18445" fmla="*/ 1369590 h 5704395"/>
                <a:gd name="connsiteX18446" fmla="*/ 1291756 w 5719680"/>
                <a:gd name="connsiteY18446" fmla="*/ 1333781 h 5704395"/>
                <a:gd name="connsiteX18447" fmla="*/ 1268252 w 5719680"/>
                <a:gd name="connsiteY18447" fmla="*/ 1333148 h 5704395"/>
                <a:gd name="connsiteX18448" fmla="*/ 1320977 w 5719680"/>
                <a:gd name="connsiteY18448" fmla="*/ 1329979 h 5704395"/>
                <a:gd name="connsiteX18449" fmla="*/ 1352739 w 5719680"/>
                <a:gd name="connsiteY18449" fmla="*/ 1330929 h 5704395"/>
                <a:gd name="connsiteX18450" fmla="*/ 1351786 w 5719680"/>
                <a:gd name="connsiteY18450" fmla="*/ 1374977 h 5704395"/>
                <a:gd name="connsiteX18451" fmla="*/ 1319706 w 5719680"/>
                <a:gd name="connsiteY18451" fmla="*/ 1374343 h 5704395"/>
                <a:gd name="connsiteX18452" fmla="*/ 1319706 w 5719680"/>
                <a:gd name="connsiteY18452" fmla="*/ 1372125 h 5704395"/>
                <a:gd name="connsiteX18453" fmla="*/ 1320977 w 5719680"/>
                <a:gd name="connsiteY18453" fmla="*/ 1329979 h 5704395"/>
                <a:gd name="connsiteX18454" fmla="*/ 840102 w 5719680"/>
                <a:gd name="connsiteY18454" fmla="*/ 1329662 h 5704395"/>
                <a:gd name="connsiteX18455" fmla="*/ 705114 w 5719680"/>
                <a:gd name="connsiteY18455" fmla="*/ 1482402 h 5704395"/>
                <a:gd name="connsiteX18456" fmla="*/ 780390 w 5719680"/>
                <a:gd name="connsiteY18456" fmla="*/ 1536907 h 5704395"/>
                <a:gd name="connsiteX18457" fmla="*/ 794047 w 5719680"/>
                <a:gd name="connsiteY18457" fmla="*/ 1541343 h 5704395"/>
                <a:gd name="connsiteX18458" fmla="*/ 811516 w 5719680"/>
                <a:gd name="connsiteY18458" fmla="*/ 1522013 h 5704395"/>
                <a:gd name="connsiteX18459" fmla="*/ 905214 w 5719680"/>
                <a:gd name="connsiteY18459" fmla="*/ 1413320 h 5704395"/>
                <a:gd name="connsiteX18460" fmla="*/ 1264123 w 5719680"/>
                <a:gd name="connsiteY18460" fmla="*/ 1329028 h 5704395"/>
                <a:gd name="connsiteX18461" fmla="*/ 1296203 w 5719680"/>
                <a:gd name="connsiteY18461" fmla="*/ 1329662 h 5704395"/>
                <a:gd name="connsiteX18462" fmla="*/ 1295250 w 5719680"/>
                <a:gd name="connsiteY18462" fmla="*/ 1373709 h 5704395"/>
                <a:gd name="connsiteX18463" fmla="*/ 1263170 w 5719680"/>
                <a:gd name="connsiteY18463" fmla="*/ 1373075 h 5704395"/>
                <a:gd name="connsiteX18464" fmla="*/ 1263170 w 5719680"/>
                <a:gd name="connsiteY18464" fmla="*/ 1370857 h 5704395"/>
                <a:gd name="connsiteX18465" fmla="*/ 984619 w 5719680"/>
                <a:gd name="connsiteY18465" fmla="*/ 1310965 h 5704395"/>
                <a:gd name="connsiteX18466" fmla="*/ 844231 w 5719680"/>
                <a:gd name="connsiteY18466" fmla="*/ 1327760 h 5704395"/>
                <a:gd name="connsiteX18467" fmla="*/ 946504 w 5719680"/>
                <a:gd name="connsiteY18467" fmla="*/ 1459269 h 5704395"/>
                <a:gd name="connsiteX18468" fmla="*/ 958891 w 5719680"/>
                <a:gd name="connsiteY18468" fmla="*/ 1450713 h 5704395"/>
                <a:gd name="connsiteX18469" fmla="*/ 966514 w 5719680"/>
                <a:gd name="connsiteY18469" fmla="*/ 1462121 h 5704395"/>
                <a:gd name="connsiteX18470" fmla="*/ 978901 w 5719680"/>
                <a:gd name="connsiteY18470" fmla="*/ 1453565 h 5704395"/>
                <a:gd name="connsiteX18471" fmla="*/ 994465 w 5719680"/>
                <a:gd name="connsiteY18471" fmla="*/ 1476064 h 5704395"/>
                <a:gd name="connsiteX18472" fmla="*/ 971914 w 5719680"/>
                <a:gd name="connsiteY18472" fmla="*/ 1491592 h 5704395"/>
                <a:gd name="connsiteX18473" fmla="*/ 975408 w 5719680"/>
                <a:gd name="connsiteY18473" fmla="*/ 1496028 h 5704395"/>
                <a:gd name="connsiteX18474" fmla="*/ 999547 w 5719680"/>
                <a:gd name="connsiteY18474" fmla="*/ 1481451 h 5704395"/>
                <a:gd name="connsiteX18475" fmla="*/ 1034167 w 5719680"/>
                <a:gd name="connsiteY18475" fmla="*/ 1472261 h 5704395"/>
                <a:gd name="connsiteX18476" fmla="*/ 3054223 w 5719680"/>
                <a:gd name="connsiteY18476" fmla="*/ 1305895 h 5704395"/>
                <a:gd name="connsiteX18477" fmla="*/ 2553656 w 5719680"/>
                <a:gd name="connsiteY18477" fmla="*/ 1450079 h 5704395"/>
                <a:gd name="connsiteX18478" fmla="*/ 2651800 w 5719680"/>
                <a:gd name="connsiteY18478" fmla="*/ 1618030 h 5704395"/>
                <a:gd name="connsiteX18479" fmla="*/ 2651800 w 5719680"/>
                <a:gd name="connsiteY18479" fmla="*/ 1618664 h 5704395"/>
                <a:gd name="connsiteX18480" fmla="*/ 2753755 w 5719680"/>
                <a:gd name="connsiteY18480" fmla="*/ 1946009 h 5704395"/>
                <a:gd name="connsiteX18481" fmla="*/ 2756296 w 5719680"/>
                <a:gd name="connsiteY18481" fmla="*/ 2068644 h 5704395"/>
                <a:gd name="connsiteX18482" fmla="*/ 2751850 w 5719680"/>
                <a:gd name="connsiteY18482" fmla="*/ 2288248 h 5704395"/>
                <a:gd name="connsiteX18483" fmla="*/ 2749944 w 5719680"/>
                <a:gd name="connsiteY18483" fmla="*/ 2339900 h 5704395"/>
                <a:gd name="connsiteX18484" fmla="*/ 2761696 w 5719680"/>
                <a:gd name="connsiteY18484" fmla="*/ 2410566 h 5704395"/>
                <a:gd name="connsiteX18485" fmla="*/ 2867145 w 5719680"/>
                <a:gd name="connsiteY18485" fmla="*/ 2505316 h 5704395"/>
                <a:gd name="connsiteX18486" fmla="*/ 3244794 w 5719680"/>
                <a:gd name="connsiteY18486" fmla="*/ 2658056 h 5704395"/>
                <a:gd name="connsiteX18487" fmla="*/ 3385499 w 5719680"/>
                <a:gd name="connsiteY18487" fmla="*/ 2260995 h 5704395"/>
                <a:gd name="connsiteX18488" fmla="*/ 3274650 w 5719680"/>
                <a:gd name="connsiteY18488" fmla="*/ 2194766 h 5704395"/>
                <a:gd name="connsiteX18489" fmla="*/ 3212714 w 5719680"/>
                <a:gd name="connsiteY18489" fmla="*/ 2158641 h 5704395"/>
                <a:gd name="connsiteX18490" fmla="*/ 3193022 w 5719680"/>
                <a:gd name="connsiteY18490" fmla="*/ 2147233 h 5704395"/>
                <a:gd name="connsiteX18491" fmla="*/ 3187305 w 5719680"/>
                <a:gd name="connsiteY18491" fmla="*/ 2144064 h 5704395"/>
                <a:gd name="connsiteX18492" fmla="*/ 3186034 w 5719680"/>
                <a:gd name="connsiteY18492" fmla="*/ 2143430 h 5704395"/>
                <a:gd name="connsiteX18493" fmla="*/ 3185717 w 5719680"/>
                <a:gd name="connsiteY18493" fmla="*/ 2143430 h 5704395"/>
                <a:gd name="connsiteX18494" fmla="*/ 3185717 w 5719680"/>
                <a:gd name="connsiteY18494" fmla="*/ 2143113 h 5704395"/>
                <a:gd name="connsiteX18495" fmla="*/ 3176506 w 5719680"/>
                <a:gd name="connsiteY18495" fmla="*/ 2135508 h 5704395"/>
                <a:gd name="connsiteX18496" fmla="*/ 3159672 w 5719680"/>
                <a:gd name="connsiteY18496" fmla="*/ 2061039 h 5704395"/>
                <a:gd name="connsiteX18497" fmla="*/ 3159672 w 5719680"/>
                <a:gd name="connsiteY18497" fmla="*/ 2050582 h 5704395"/>
                <a:gd name="connsiteX18498" fmla="*/ 3168883 w 5719680"/>
                <a:gd name="connsiteY18498" fmla="*/ 1827176 h 5704395"/>
                <a:gd name="connsiteX18499" fmla="*/ 3164119 w 5719680"/>
                <a:gd name="connsiteY18499" fmla="*/ 1742567 h 5704395"/>
                <a:gd name="connsiteX18500" fmla="*/ 3104406 w 5719680"/>
                <a:gd name="connsiteY18500" fmla="*/ 1494127 h 5704395"/>
                <a:gd name="connsiteX18501" fmla="*/ 3054223 w 5719680"/>
                <a:gd name="connsiteY18501" fmla="*/ 1305895 h 5704395"/>
                <a:gd name="connsiteX18502" fmla="*/ 1318754 w 5719680"/>
                <a:gd name="connsiteY18502" fmla="*/ 1302726 h 5704395"/>
                <a:gd name="connsiteX18503" fmla="*/ 1319389 w 5719680"/>
                <a:gd name="connsiteY18503" fmla="*/ 1342020 h 5704395"/>
                <a:gd name="connsiteX18504" fmla="*/ 1314942 w 5719680"/>
                <a:gd name="connsiteY18504" fmla="*/ 1412053 h 5704395"/>
                <a:gd name="connsiteX18505" fmla="*/ 1313989 w 5719680"/>
                <a:gd name="connsiteY18505" fmla="*/ 1417757 h 5704395"/>
                <a:gd name="connsiteX18506" fmla="*/ 1424838 w 5719680"/>
                <a:gd name="connsiteY18506" fmla="*/ 1438037 h 5704395"/>
                <a:gd name="connsiteX18507" fmla="*/ 1424838 w 5719680"/>
                <a:gd name="connsiteY18507" fmla="*/ 1439462 h 5704395"/>
                <a:gd name="connsiteX18508" fmla="*/ 1424521 w 5719680"/>
                <a:gd name="connsiteY18508" fmla="*/ 1438037 h 5704395"/>
                <a:gd name="connsiteX18509" fmla="*/ 1424838 w 5719680"/>
                <a:gd name="connsiteY18509" fmla="*/ 1439622 h 5704395"/>
                <a:gd name="connsiteX18510" fmla="*/ 1424838 w 5719680"/>
                <a:gd name="connsiteY18510" fmla="*/ 1439462 h 5704395"/>
                <a:gd name="connsiteX18511" fmla="*/ 1425156 w 5719680"/>
                <a:gd name="connsiteY18511" fmla="*/ 1440889 h 5704395"/>
                <a:gd name="connsiteX18512" fmla="*/ 1476293 w 5719680"/>
                <a:gd name="connsiteY18512" fmla="*/ 1336950 h 5704395"/>
                <a:gd name="connsiteX18513" fmla="*/ 1318754 w 5719680"/>
                <a:gd name="connsiteY18513" fmla="*/ 1302726 h 5704395"/>
                <a:gd name="connsiteX18514" fmla="*/ 1204093 w 5719680"/>
                <a:gd name="connsiteY18514" fmla="*/ 1289734 h 5704395"/>
                <a:gd name="connsiteX18515" fmla="*/ 1201870 w 5719680"/>
                <a:gd name="connsiteY18515" fmla="*/ 1396208 h 5704395"/>
                <a:gd name="connsiteX18516" fmla="*/ 1293344 w 5719680"/>
                <a:gd name="connsiteY18516" fmla="*/ 1413637 h 5704395"/>
                <a:gd name="connsiteX18517" fmla="*/ 1294615 w 5719680"/>
                <a:gd name="connsiteY18517" fmla="*/ 1408250 h 5704395"/>
                <a:gd name="connsiteX18518" fmla="*/ 1298744 w 5719680"/>
                <a:gd name="connsiteY18518" fmla="*/ 1342020 h 5704395"/>
                <a:gd name="connsiteX18519" fmla="*/ 1297791 w 5719680"/>
                <a:gd name="connsiteY18519" fmla="*/ 1299241 h 5704395"/>
                <a:gd name="connsiteX18520" fmla="*/ 1204093 w 5719680"/>
                <a:gd name="connsiteY18520" fmla="*/ 1289734 h 5704395"/>
                <a:gd name="connsiteX18521" fmla="*/ 1178684 w 5719680"/>
                <a:gd name="connsiteY18521" fmla="*/ 1287199 h 5704395"/>
                <a:gd name="connsiteX18522" fmla="*/ 989065 w 5719680"/>
                <a:gd name="connsiteY18522" fmla="*/ 1310332 h 5704395"/>
                <a:gd name="connsiteX18523" fmla="*/ 1038931 w 5719680"/>
                <a:gd name="connsiteY18523" fmla="*/ 1471944 h 5704395"/>
                <a:gd name="connsiteX18524" fmla="*/ 1043696 w 5719680"/>
                <a:gd name="connsiteY18524" fmla="*/ 1471944 h 5704395"/>
                <a:gd name="connsiteX18525" fmla="*/ 1119289 w 5719680"/>
                <a:gd name="connsiteY18525" fmla="*/ 1483352 h 5704395"/>
                <a:gd name="connsiteX18526" fmla="*/ 1118336 w 5719680"/>
                <a:gd name="connsiteY18526" fmla="*/ 1473529 h 5704395"/>
                <a:gd name="connsiteX18527" fmla="*/ 1084986 w 5719680"/>
                <a:gd name="connsiteY18527" fmla="*/ 1467191 h 5704395"/>
                <a:gd name="connsiteX18528" fmla="*/ 1085304 w 5719680"/>
                <a:gd name="connsiteY18528" fmla="*/ 1464973 h 5704395"/>
                <a:gd name="connsiteX18529" fmla="*/ 1090068 w 5719680"/>
                <a:gd name="connsiteY18529" fmla="*/ 1440256 h 5704395"/>
                <a:gd name="connsiteX18530" fmla="*/ 1104678 w 5719680"/>
                <a:gd name="connsiteY18530" fmla="*/ 1443108 h 5704395"/>
                <a:gd name="connsiteX18531" fmla="*/ 1107219 w 5719680"/>
                <a:gd name="connsiteY18531" fmla="*/ 1429798 h 5704395"/>
                <a:gd name="connsiteX18532" fmla="*/ 1114207 w 5719680"/>
                <a:gd name="connsiteY18532" fmla="*/ 1431066 h 5704395"/>
                <a:gd name="connsiteX18533" fmla="*/ 1101502 w 5719680"/>
                <a:gd name="connsiteY18533" fmla="*/ 1297339 h 5704395"/>
                <a:gd name="connsiteX18534" fmla="*/ 1105631 w 5719680"/>
                <a:gd name="connsiteY18534" fmla="*/ 1297022 h 5704395"/>
                <a:gd name="connsiteX18535" fmla="*/ 1118971 w 5719680"/>
                <a:gd name="connsiteY18535" fmla="*/ 1432016 h 5704395"/>
                <a:gd name="connsiteX18536" fmla="*/ 1143746 w 5719680"/>
                <a:gd name="connsiteY18536" fmla="*/ 1436770 h 5704395"/>
                <a:gd name="connsiteX18537" fmla="*/ 1141205 w 5719680"/>
                <a:gd name="connsiteY18537" fmla="*/ 1450079 h 5704395"/>
                <a:gd name="connsiteX18538" fmla="*/ 1155815 w 5719680"/>
                <a:gd name="connsiteY18538" fmla="*/ 1452931 h 5704395"/>
                <a:gd name="connsiteX18539" fmla="*/ 1150733 w 5719680"/>
                <a:gd name="connsiteY18539" fmla="*/ 1479867 h 5704395"/>
                <a:gd name="connsiteX18540" fmla="*/ 1123100 w 5719680"/>
                <a:gd name="connsiteY18540" fmla="*/ 1474480 h 5704395"/>
                <a:gd name="connsiteX18541" fmla="*/ 1124053 w 5719680"/>
                <a:gd name="connsiteY18541" fmla="*/ 1484303 h 5704395"/>
                <a:gd name="connsiteX18542" fmla="*/ 1160579 w 5719680"/>
                <a:gd name="connsiteY18542" fmla="*/ 1491592 h 5704395"/>
                <a:gd name="connsiteX18543" fmla="*/ 1195200 w 5719680"/>
                <a:gd name="connsiteY18543" fmla="*/ 1498880 h 5704395"/>
                <a:gd name="connsiteX18544" fmla="*/ 1199647 w 5719680"/>
                <a:gd name="connsiteY18544" fmla="*/ 1289417 h 5704395"/>
                <a:gd name="connsiteX18545" fmla="*/ 1178684 w 5719680"/>
                <a:gd name="connsiteY18545" fmla="*/ 1287199 h 5704395"/>
                <a:gd name="connsiteX18546" fmla="*/ 3442988 w 5719680"/>
                <a:gd name="connsiteY18546" fmla="*/ 1194351 h 5704395"/>
                <a:gd name="connsiteX18547" fmla="*/ 3074233 w 5719680"/>
                <a:gd name="connsiteY18547" fmla="*/ 1300191 h 5704395"/>
                <a:gd name="connsiteX18548" fmla="*/ 3124416 w 5719680"/>
                <a:gd name="connsiteY18548" fmla="*/ 1489056 h 5704395"/>
                <a:gd name="connsiteX18549" fmla="*/ 3184764 w 5719680"/>
                <a:gd name="connsiteY18549" fmla="*/ 1739398 h 5704395"/>
                <a:gd name="connsiteX18550" fmla="*/ 3189846 w 5719680"/>
                <a:gd name="connsiteY18550" fmla="*/ 1827176 h 5704395"/>
                <a:gd name="connsiteX18551" fmla="*/ 3180635 w 5719680"/>
                <a:gd name="connsiteY18551" fmla="*/ 2051532 h 5704395"/>
                <a:gd name="connsiteX18552" fmla="*/ 3180318 w 5719680"/>
                <a:gd name="connsiteY18552" fmla="*/ 2061039 h 5704395"/>
                <a:gd name="connsiteX18553" fmla="*/ 3187940 w 5719680"/>
                <a:gd name="connsiteY18553" fmla="*/ 2113009 h 5704395"/>
                <a:gd name="connsiteX18554" fmla="*/ 3193340 w 5719680"/>
                <a:gd name="connsiteY18554" fmla="*/ 2123149 h 5704395"/>
                <a:gd name="connsiteX18555" fmla="*/ 3194293 w 5719680"/>
                <a:gd name="connsiteY18555" fmla="*/ 2124417 h 5704395"/>
                <a:gd name="connsiteX18556" fmla="*/ 3195563 w 5719680"/>
                <a:gd name="connsiteY18556" fmla="*/ 2125051 h 5704395"/>
                <a:gd name="connsiteX18557" fmla="*/ 3314988 w 5719680"/>
                <a:gd name="connsiteY18557" fmla="*/ 2194449 h 5704395"/>
                <a:gd name="connsiteX18558" fmla="*/ 3388358 w 5719680"/>
                <a:gd name="connsiteY18558" fmla="*/ 2238179 h 5704395"/>
                <a:gd name="connsiteX18559" fmla="*/ 3412179 w 5719680"/>
                <a:gd name="connsiteY18559" fmla="*/ 2252756 h 5704395"/>
                <a:gd name="connsiteX18560" fmla="*/ 3418849 w 5719680"/>
                <a:gd name="connsiteY18560" fmla="*/ 2257193 h 5704395"/>
                <a:gd name="connsiteX18561" fmla="*/ 3419484 w 5719680"/>
                <a:gd name="connsiteY18561" fmla="*/ 2257510 h 5704395"/>
                <a:gd name="connsiteX18562" fmla="*/ 3516040 w 5719680"/>
                <a:gd name="connsiteY18562" fmla="*/ 2264481 h 5704395"/>
                <a:gd name="connsiteX18563" fmla="*/ 3608150 w 5719680"/>
                <a:gd name="connsiteY18563" fmla="*/ 2271136 h 5704395"/>
                <a:gd name="connsiteX18564" fmla="*/ 3641500 w 5719680"/>
                <a:gd name="connsiteY18564" fmla="*/ 2272720 h 5704395"/>
                <a:gd name="connsiteX18565" fmla="*/ 3698036 w 5719680"/>
                <a:gd name="connsiteY18565" fmla="*/ 2274305 h 5704395"/>
                <a:gd name="connsiteX18566" fmla="*/ 3709470 w 5719680"/>
                <a:gd name="connsiteY18566" fmla="*/ 2274305 h 5704395"/>
                <a:gd name="connsiteX18567" fmla="*/ 3712646 w 5719680"/>
                <a:gd name="connsiteY18567" fmla="*/ 2273988 h 5704395"/>
                <a:gd name="connsiteX18568" fmla="*/ 3713600 w 5719680"/>
                <a:gd name="connsiteY18568" fmla="*/ 2273671 h 5704395"/>
                <a:gd name="connsiteX18569" fmla="*/ 3714235 w 5719680"/>
                <a:gd name="connsiteY18569" fmla="*/ 2273671 h 5704395"/>
                <a:gd name="connsiteX18570" fmla="*/ 3754890 w 5719680"/>
                <a:gd name="connsiteY18570" fmla="*/ 2246102 h 5704395"/>
                <a:gd name="connsiteX18571" fmla="*/ 3791734 w 5719680"/>
                <a:gd name="connsiteY18571" fmla="*/ 2168464 h 5704395"/>
                <a:gd name="connsiteX18572" fmla="*/ 3799674 w 5719680"/>
                <a:gd name="connsiteY18572" fmla="*/ 2136141 h 5704395"/>
                <a:gd name="connsiteX18573" fmla="*/ 3802215 w 5719680"/>
                <a:gd name="connsiteY18573" fmla="*/ 2123466 h 5704395"/>
                <a:gd name="connsiteX18574" fmla="*/ 3889243 w 5719680"/>
                <a:gd name="connsiteY18574" fmla="*/ 1528351 h 5704395"/>
                <a:gd name="connsiteX18575" fmla="*/ 3887654 w 5719680"/>
                <a:gd name="connsiteY18575" fmla="*/ 1498563 h 5704395"/>
                <a:gd name="connsiteX18576" fmla="*/ 3887972 w 5719680"/>
                <a:gd name="connsiteY18576" fmla="*/ 1495394 h 5704395"/>
                <a:gd name="connsiteX18577" fmla="*/ 3887972 w 5719680"/>
                <a:gd name="connsiteY18577" fmla="*/ 1495077 h 5704395"/>
                <a:gd name="connsiteX18578" fmla="*/ 3851446 w 5719680"/>
                <a:gd name="connsiteY18578" fmla="*/ 1441206 h 5704395"/>
                <a:gd name="connsiteX18579" fmla="*/ 3803803 w 5719680"/>
                <a:gd name="connsiteY18579" fmla="*/ 1432650 h 5704395"/>
                <a:gd name="connsiteX18580" fmla="*/ 3715823 w 5719680"/>
                <a:gd name="connsiteY18580" fmla="*/ 1436770 h 5704395"/>
                <a:gd name="connsiteX18581" fmla="*/ 3594810 w 5719680"/>
                <a:gd name="connsiteY18581" fmla="*/ 1422510 h 5704395"/>
                <a:gd name="connsiteX18582" fmla="*/ 3485232 w 5719680"/>
                <a:gd name="connsiteY18582" fmla="*/ 1307163 h 5704395"/>
                <a:gd name="connsiteX18583" fmla="*/ 3443941 w 5719680"/>
                <a:gd name="connsiteY18583" fmla="*/ 1197203 h 5704395"/>
                <a:gd name="connsiteX18584" fmla="*/ 3442988 w 5719680"/>
                <a:gd name="connsiteY18584" fmla="*/ 1194351 h 5704395"/>
                <a:gd name="connsiteX18585" fmla="*/ 154045 w 5719680"/>
                <a:gd name="connsiteY18585" fmla="*/ 1168366 h 5704395"/>
                <a:gd name="connsiteX18586" fmla="*/ 205182 w 5719680"/>
                <a:gd name="connsiteY18586" fmla="*/ 1227941 h 5704395"/>
                <a:gd name="connsiteX18587" fmla="*/ 187395 w 5719680"/>
                <a:gd name="connsiteY18587" fmla="*/ 1244736 h 5704395"/>
                <a:gd name="connsiteX18588" fmla="*/ 230592 w 5719680"/>
                <a:gd name="connsiteY18588" fmla="*/ 1297022 h 5704395"/>
                <a:gd name="connsiteX18589" fmla="*/ 248696 w 5719680"/>
                <a:gd name="connsiteY18589" fmla="*/ 1282446 h 5704395"/>
                <a:gd name="connsiteX18590" fmla="*/ 287763 w 5719680"/>
                <a:gd name="connsiteY18590" fmla="*/ 1328077 h 5704395"/>
                <a:gd name="connsiteX18591" fmla="*/ 115614 w 5719680"/>
                <a:gd name="connsiteY18591" fmla="*/ 1480183 h 5704395"/>
                <a:gd name="connsiteX18592" fmla="*/ 50502 w 5719680"/>
                <a:gd name="connsiteY18592" fmla="*/ 1404447 h 5704395"/>
                <a:gd name="connsiteX18593" fmla="*/ 14293 w 5719680"/>
                <a:gd name="connsiteY18593" fmla="*/ 1435185 h 5704395"/>
                <a:gd name="connsiteX18594" fmla="*/ 1271 w 5719680"/>
                <a:gd name="connsiteY18594" fmla="*/ 1419975 h 5704395"/>
                <a:gd name="connsiteX18595" fmla="*/ 1271 w 5719680"/>
                <a:gd name="connsiteY18595" fmla="*/ 1412686 h 5704395"/>
                <a:gd name="connsiteX18596" fmla="*/ 14611 w 5719680"/>
                <a:gd name="connsiteY18596" fmla="*/ 1428531 h 5704395"/>
                <a:gd name="connsiteX18597" fmla="*/ 50819 w 5719680"/>
                <a:gd name="connsiteY18597" fmla="*/ 1397793 h 5704395"/>
                <a:gd name="connsiteX18598" fmla="*/ 116249 w 5719680"/>
                <a:gd name="connsiteY18598" fmla="*/ 1473529 h 5704395"/>
                <a:gd name="connsiteX18599" fmla="*/ 281093 w 5719680"/>
                <a:gd name="connsiteY18599" fmla="*/ 1327444 h 5704395"/>
                <a:gd name="connsiteX18600" fmla="*/ 248061 w 5719680"/>
                <a:gd name="connsiteY18600" fmla="*/ 1289100 h 5704395"/>
                <a:gd name="connsiteX18601" fmla="*/ 229639 w 5719680"/>
                <a:gd name="connsiteY18601" fmla="*/ 1303360 h 5704395"/>
                <a:gd name="connsiteX18602" fmla="*/ 181043 w 5719680"/>
                <a:gd name="connsiteY18602" fmla="*/ 1244419 h 5704395"/>
                <a:gd name="connsiteX18603" fmla="*/ 198830 w 5719680"/>
                <a:gd name="connsiteY18603" fmla="*/ 1227624 h 5704395"/>
                <a:gd name="connsiteX18604" fmla="*/ 153728 w 5719680"/>
                <a:gd name="connsiteY18604" fmla="*/ 1175021 h 5704395"/>
                <a:gd name="connsiteX18605" fmla="*/ 78770 w 5719680"/>
                <a:gd name="connsiteY18605" fmla="*/ 1239666 h 5704395"/>
                <a:gd name="connsiteX18606" fmla="*/ 69876 w 5719680"/>
                <a:gd name="connsiteY18606" fmla="*/ 1229208 h 5704395"/>
                <a:gd name="connsiteX18607" fmla="*/ 1271 w 5719680"/>
                <a:gd name="connsiteY18607" fmla="*/ 1287833 h 5704395"/>
                <a:gd name="connsiteX18608" fmla="*/ 1271 w 5719680"/>
                <a:gd name="connsiteY18608" fmla="*/ 1281812 h 5704395"/>
                <a:gd name="connsiteX18609" fmla="*/ 70512 w 5719680"/>
                <a:gd name="connsiteY18609" fmla="*/ 1222554 h 5704395"/>
                <a:gd name="connsiteX18610" fmla="*/ 79405 w 5719680"/>
                <a:gd name="connsiteY18610" fmla="*/ 1233011 h 5704395"/>
                <a:gd name="connsiteX18611" fmla="*/ 152140 w 5719680"/>
                <a:gd name="connsiteY18611" fmla="*/ 1169950 h 5704395"/>
                <a:gd name="connsiteX18612" fmla="*/ 154045 w 5719680"/>
                <a:gd name="connsiteY18612" fmla="*/ 1168366 h 5704395"/>
                <a:gd name="connsiteX18613" fmla="*/ 1361950 w 5719680"/>
                <a:gd name="connsiteY18613" fmla="*/ 1132241 h 5704395"/>
                <a:gd name="connsiteX18614" fmla="*/ 1336858 w 5719680"/>
                <a:gd name="connsiteY18614" fmla="*/ 1189597 h 5704395"/>
                <a:gd name="connsiteX18615" fmla="*/ 1315260 w 5719680"/>
                <a:gd name="connsiteY18615" fmla="*/ 1239666 h 5704395"/>
                <a:gd name="connsiteX18616" fmla="*/ 1318754 w 5719680"/>
                <a:gd name="connsiteY18616" fmla="*/ 1298290 h 5704395"/>
                <a:gd name="connsiteX18617" fmla="*/ 1480422 w 5719680"/>
                <a:gd name="connsiteY18617" fmla="*/ 1333464 h 5704395"/>
                <a:gd name="connsiteX18618" fmla="*/ 1481057 w 5719680"/>
                <a:gd name="connsiteY18618" fmla="*/ 1333781 h 5704395"/>
                <a:gd name="connsiteX18619" fmla="*/ 1540452 w 5719680"/>
                <a:gd name="connsiteY18619" fmla="*/ 1386385 h 5704395"/>
                <a:gd name="connsiteX18620" fmla="*/ 1581742 w 5719680"/>
                <a:gd name="connsiteY18620" fmla="*/ 1422510 h 5704395"/>
                <a:gd name="connsiteX18621" fmla="*/ 1595717 w 5719680"/>
                <a:gd name="connsiteY18621" fmla="*/ 1434869 h 5704395"/>
                <a:gd name="connsiteX18622" fmla="*/ 1599846 w 5719680"/>
                <a:gd name="connsiteY18622" fmla="*/ 1438037 h 5704395"/>
                <a:gd name="connsiteX18623" fmla="*/ 1601117 w 5719680"/>
                <a:gd name="connsiteY18623" fmla="*/ 1438988 h 5704395"/>
                <a:gd name="connsiteX18624" fmla="*/ 1720224 w 5719680"/>
                <a:gd name="connsiteY18624" fmla="*/ 1476381 h 5704395"/>
                <a:gd name="connsiteX18625" fmla="*/ 1721494 w 5719680"/>
                <a:gd name="connsiteY18625" fmla="*/ 1477015 h 5704395"/>
                <a:gd name="connsiteX18626" fmla="*/ 1727529 w 5719680"/>
                <a:gd name="connsiteY18626" fmla="*/ 1651937 h 5704395"/>
                <a:gd name="connsiteX18627" fmla="*/ 1925405 w 5719680"/>
                <a:gd name="connsiteY18627" fmla="*/ 1619297 h 5704395"/>
                <a:gd name="connsiteX18628" fmla="*/ 1939063 w 5719680"/>
                <a:gd name="connsiteY18628" fmla="*/ 1537540 h 5704395"/>
                <a:gd name="connsiteX18629" fmla="*/ 1940334 w 5719680"/>
                <a:gd name="connsiteY18629" fmla="*/ 1525499 h 5704395"/>
                <a:gd name="connsiteX18630" fmla="*/ 1941922 w 5719680"/>
                <a:gd name="connsiteY18630" fmla="*/ 1493810 h 5704395"/>
                <a:gd name="connsiteX18631" fmla="*/ 1930805 w 5719680"/>
                <a:gd name="connsiteY18631" fmla="*/ 1415222 h 5704395"/>
                <a:gd name="connsiteX18632" fmla="*/ 1882845 w 5719680"/>
                <a:gd name="connsiteY18632" fmla="*/ 1352478 h 5704395"/>
                <a:gd name="connsiteX18633" fmla="*/ 1705613 w 5719680"/>
                <a:gd name="connsiteY18633" fmla="*/ 1240616 h 5704395"/>
                <a:gd name="connsiteX18634" fmla="*/ 1508054 w 5719680"/>
                <a:gd name="connsiteY18634" fmla="*/ 1178506 h 5704395"/>
                <a:gd name="connsiteX18635" fmla="*/ 1361950 w 5719680"/>
                <a:gd name="connsiteY18635" fmla="*/ 1132241 h 5704395"/>
                <a:gd name="connsiteX18636" fmla="*/ 2348156 w 5719680"/>
                <a:gd name="connsiteY18636" fmla="*/ 1093897 h 5704395"/>
                <a:gd name="connsiteX18637" fmla="*/ 2338945 w 5719680"/>
                <a:gd name="connsiteY18637" fmla="*/ 1098651 h 5704395"/>
                <a:gd name="connsiteX18638" fmla="*/ 2268751 w 5719680"/>
                <a:gd name="connsiteY18638" fmla="*/ 1191816 h 5704395"/>
                <a:gd name="connsiteX18639" fmla="*/ 2268116 w 5719680"/>
                <a:gd name="connsiteY18639" fmla="*/ 1201639 h 5704395"/>
                <a:gd name="connsiteX18640" fmla="*/ 2268116 w 5719680"/>
                <a:gd name="connsiteY18640" fmla="*/ 1201956 h 5704395"/>
                <a:gd name="connsiteX18641" fmla="*/ 2300196 w 5719680"/>
                <a:gd name="connsiteY18641" fmla="*/ 1281495 h 5704395"/>
                <a:gd name="connsiteX18642" fmla="*/ 2436772 w 5719680"/>
                <a:gd name="connsiteY18642" fmla="*/ 1441206 h 5704395"/>
                <a:gd name="connsiteX18643" fmla="*/ 2526658 w 5719680"/>
                <a:gd name="connsiteY18643" fmla="*/ 1554335 h 5704395"/>
                <a:gd name="connsiteX18644" fmla="*/ 2559055 w 5719680"/>
                <a:gd name="connsiteY18644" fmla="*/ 1555920 h 5704395"/>
                <a:gd name="connsiteX18645" fmla="*/ 2476792 w 5719680"/>
                <a:gd name="connsiteY18645" fmla="*/ 1414588 h 5704395"/>
                <a:gd name="connsiteX18646" fmla="*/ 2348156 w 5719680"/>
                <a:gd name="connsiteY18646" fmla="*/ 1093897 h 5704395"/>
                <a:gd name="connsiteX18647" fmla="*/ 2027996 w 5719680"/>
                <a:gd name="connsiteY18647" fmla="*/ 1069497 h 5704395"/>
                <a:gd name="connsiteX18648" fmla="*/ 2012115 w 5719680"/>
                <a:gd name="connsiteY18648" fmla="*/ 1136043 h 5704395"/>
                <a:gd name="connsiteX18649" fmla="*/ 2049594 w 5719680"/>
                <a:gd name="connsiteY18649" fmla="*/ 1144916 h 5704395"/>
                <a:gd name="connsiteX18650" fmla="*/ 2065475 w 5719680"/>
                <a:gd name="connsiteY18650" fmla="*/ 1078370 h 5704395"/>
                <a:gd name="connsiteX18651" fmla="*/ 2027996 w 5719680"/>
                <a:gd name="connsiteY18651" fmla="*/ 1069497 h 5704395"/>
                <a:gd name="connsiteX18652" fmla="*/ 2024502 w 5719680"/>
                <a:gd name="connsiteY18652" fmla="*/ 1064110 h 5704395"/>
                <a:gd name="connsiteX18653" fmla="*/ 2071192 w 5719680"/>
                <a:gd name="connsiteY18653" fmla="*/ 1074884 h 5704395"/>
                <a:gd name="connsiteX18654" fmla="*/ 2053088 w 5719680"/>
                <a:gd name="connsiteY18654" fmla="*/ 1150620 h 5704395"/>
                <a:gd name="connsiteX18655" fmla="*/ 2006398 w 5719680"/>
                <a:gd name="connsiteY18655" fmla="*/ 1139529 h 5704395"/>
                <a:gd name="connsiteX18656" fmla="*/ 2007033 w 5719680"/>
                <a:gd name="connsiteY18656" fmla="*/ 1137311 h 5704395"/>
                <a:gd name="connsiteX18657" fmla="*/ 2024502 w 5719680"/>
                <a:gd name="connsiteY18657" fmla="*/ 1064110 h 5704395"/>
                <a:gd name="connsiteX18658" fmla="*/ 2330370 w 5719680"/>
                <a:gd name="connsiteY18658" fmla="*/ 1053019 h 5704395"/>
                <a:gd name="connsiteX18659" fmla="*/ 2265575 w 5719680"/>
                <a:gd name="connsiteY18659" fmla="*/ 1100869 h 5704395"/>
                <a:gd name="connsiteX18660" fmla="*/ 2224920 w 5719680"/>
                <a:gd name="connsiteY18660" fmla="*/ 1185161 h 5704395"/>
                <a:gd name="connsiteX18661" fmla="*/ 2223650 w 5719680"/>
                <a:gd name="connsiteY18661" fmla="*/ 1201639 h 5704395"/>
                <a:gd name="connsiteX18662" fmla="*/ 2263670 w 5719680"/>
                <a:gd name="connsiteY18662" fmla="*/ 1306529 h 5704395"/>
                <a:gd name="connsiteX18663" fmla="*/ 2352285 w 5719680"/>
                <a:gd name="connsiteY18663" fmla="*/ 1413320 h 5704395"/>
                <a:gd name="connsiteX18664" fmla="*/ 2470439 w 5719680"/>
                <a:gd name="connsiteY18664" fmla="*/ 1551800 h 5704395"/>
                <a:gd name="connsiteX18665" fmla="*/ 2519988 w 5719680"/>
                <a:gd name="connsiteY18665" fmla="*/ 1554018 h 5704395"/>
                <a:gd name="connsiteX18666" fmla="*/ 2432960 w 5719680"/>
                <a:gd name="connsiteY18666" fmla="*/ 1444692 h 5704395"/>
                <a:gd name="connsiteX18667" fmla="*/ 2296066 w 5719680"/>
                <a:gd name="connsiteY18667" fmla="*/ 1284347 h 5704395"/>
                <a:gd name="connsiteX18668" fmla="*/ 2262716 w 5719680"/>
                <a:gd name="connsiteY18668" fmla="*/ 1201956 h 5704395"/>
                <a:gd name="connsiteX18669" fmla="*/ 2262716 w 5719680"/>
                <a:gd name="connsiteY18669" fmla="*/ 1201639 h 5704395"/>
                <a:gd name="connsiteX18670" fmla="*/ 2263670 w 5719680"/>
                <a:gd name="connsiteY18670" fmla="*/ 1191182 h 5704395"/>
                <a:gd name="connsiteX18671" fmla="*/ 2336404 w 5719680"/>
                <a:gd name="connsiteY18671" fmla="*/ 1094214 h 5704395"/>
                <a:gd name="connsiteX18672" fmla="*/ 2346250 w 5719680"/>
                <a:gd name="connsiteY18672" fmla="*/ 1088827 h 5704395"/>
                <a:gd name="connsiteX18673" fmla="*/ 2341486 w 5719680"/>
                <a:gd name="connsiteY18673" fmla="*/ 1077102 h 5704395"/>
                <a:gd name="connsiteX18674" fmla="*/ 2340216 w 5719680"/>
                <a:gd name="connsiteY18674" fmla="*/ 1074250 h 5704395"/>
                <a:gd name="connsiteX18675" fmla="*/ 2330370 w 5719680"/>
                <a:gd name="connsiteY18675" fmla="*/ 1053019 h 5704395"/>
                <a:gd name="connsiteX18676" fmla="*/ 1962249 w 5719680"/>
                <a:gd name="connsiteY18676" fmla="*/ 996296 h 5704395"/>
                <a:gd name="connsiteX18677" fmla="*/ 1958755 w 5719680"/>
                <a:gd name="connsiteY18677" fmla="*/ 1010239 h 5704395"/>
                <a:gd name="connsiteX18678" fmla="*/ 1971142 w 5719680"/>
                <a:gd name="connsiteY18678" fmla="*/ 1013408 h 5704395"/>
                <a:gd name="connsiteX18679" fmla="*/ 1953674 w 5719680"/>
                <a:gd name="connsiteY18679" fmla="*/ 1085024 h 5704395"/>
                <a:gd name="connsiteX18680" fmla="*/ 1878398 w 5719680"/>
                <a:gd name="connsiteY18680" fmla="*/ 1067596 h 5704395"/>
                <a:gd name="connsiteX18681" fmla="*/ 1870775 w 5719680"/>
                <a:gd name="connsiteY18681" fmla="*/ 1097383 h 5704395"/>
                <a:gd name="connsiteX18682" fmla="*/ 1946368 w 5719680"/>
                <a:gd name="connsiteY18682" fmla="*/ 1115129 h 5704395"/>
                <a:gd name="connsiteX18683" fmla="*/ 1943827 w 5719680"/>
                <a:gd name="connsiteY18683" fmla="*/ 1126537 h 5704395"/>
                <a:gd name="connsiteX18684" fmla="*/ 1977177 w 5719680"/>
                <a:gd name="connsiteY18684" fmla="*/ 1134142 h 5704395"/>
                <a:gd name="connsiteX18685" fmla="*/ 2004175 w 5719680"/>
                <a:gd name="connsiteY18685" fmla="*/ 1021330 h 5704395"/>
                <a:gd name="connsiteX18686" fmla="*/ 2111530 w 5719680"/>
                <a:gd name="connsiteY18686" fmla="*/ 1045730 h 5704395"/>
                <a:gd name="connsiteX18687" fmla="*/ 2077545 w 5719680"/>
                <a:gd name="connsiteY18687" fmla="*/ 1191182 h 5704395"/>
                <a:gd name="connsiteX18688" fmla="*/ 1991152 w 5719680"/>
                <a:gd name="connsiteY18688" fmla="*/ 1171535 h 5704395"/>
                <a:gd name="connsiteX18689" fmla="*/ 1982577 w 5719680"/>
                <a:gd name="connsiteY18689" fmla="*/ 1210195 h 5704395"/>
                <a:gd name="connsiteX18690" fmla="*/ 2067063 w 5719680"/>
                <a:gd name="connsiteY18690" fmla="*/ 1230476 h 5704395"/>
                <a:gd name="connsiteX18691" fmla="*/ 2061982 w 5719680"/>
                <a:gd name="connsiteY18691" fmla="*/ 1256461 h 5704395"/>
                <a:gd name="connsiteX18692" fmla="*/ 2153138 w 5719680"/>
                <a:gd name="connsiteY18692" fmla="*/ 1278009 h 5704395"/>
                <a:gd name="connsiteX18693" fmla="*/ 2156950 w 5719680"/>
                <a:gd name="connsiteY18693" fmla="*/ 1257411 h 5704395"/>
                <a:gd name="connsiteX18694" fmla="*/ 2132810 w 5719680"/>
                <a:gd name="connsiteY18694" fmla="*/ 1251390 h 5704395"/>
                <a:gd name="connsiteX18695" fmla="*/ 2154726 w 5719680"/>
                <a:gd name="connsiteY18695" fmla="*/ 1153789 h 5704395"/>
                <a:gd name="connsiteX18696" fmla="*/ 2180136 w 5719680"/>
                <a:gd name="connsiteY18696" fmla="*/ 1160127 h 5704395"/>
                <a:gd name="connsiteX18697" fmla="*/ 2209356 w 5719680"/>
                <a:gd name="connsiteY18697" fmla="*/ 1037174 h 5704395"/>
                <a:gd name="connsiteX18698" fmla="*/ 2119153 w 5719680"/>
                <a:gd name="connsiteY18698" fmla="*/ 1015943 h 5704395"/>
                <a:gd name="connsiteX18699" fmla="*/ 2115659 w 5719680"/>
                <a:gd name="connsiteY18699" fmla="*/ 1032738 h 5704395"/>
                <a:gd name="connsiteX18700" fmla="*/ 1962249 w 5719680"/>
                <a:gd name="connsiteY18700" fmla="*/ 996296 h 5704395"/>
                <a:gd name="connsiteX18701" fmla="*/ 1958755 w 5719680"/>
                <a:gd name="connsiteY18701" fmla="*/ 990592 h 5704395"/>
                <a:gd name="connsiteX18702" fmla="*/ 1960979 w 5719680"/>
                <a:gd name="connsiteY18702" fmla="*/ 991226 h 5704395"/>
                <a:gd name="connsiteX18703" fmla="*/ 2112165 w 5719680"/>
                <a:gd name="connsiteY18703" fmla="*/ 1027034 h 5704395"/>
                <a:gd name="connsiteX18704" fmla="*/ 2115659 w 5719680"/>
                <a:gd name="connsiteY18704" fmla="*/ 1010239 h 5704395"/>
                <a:gd name="connsiteX18705" fmla="*/ 2215074 w 5719680"/>
                <a:gd name="connsiteY18705" fmla="*/ 1033688 h 5704395"/>
                <a:gd name="connsiteX18706" fmla="*/ 2183630 w 5719680"/>
                <a:gd name="connsiteY18706" fmla="*/ 1165831 h 5704395"/>
                <a:gd name="connsiteX18707" fmla="*/ 2158220 w 5719680"/>
                <a:gd name="connsiteY18707" fmla="*/ 1159493 h 5704395"/>
                <a:gd name="connsiteX18708" fmla="*/ 2138528 w 5719680"/>
                <a:gd name="connsiteY18708" fmla="*/ 1247905 h 5704395"/>
                <a:gd name="connsiteX18709" fmla="*/ 2162349 w 5719680"/>
                <a:gd name="connsiteY18709" fmla="*/ 1253926 h 5704395"/>
                <a:gd name="connsiteX18710" fmla="*/ 2156632 w 5719680"/>
                <a:gd name="connsiteY18710" fmla="*/ 1283713 h 5704395"/>
                <a:gd name="connsiteX18711" fmla="*/ 2056582 w 5719680"/>
                <a:gd name="connsiteY18711" fmla="*/ 1259946 h 5704395"/>
                <a:gd name="connsiteX18712" fmla="*/ 2061664 w 5719680"/>
                <a:gd name="connsiteY18712" fmla="*/ 1233962 h 5704395"/>
                <a:gd name="connsiteX18713" fmla="*/ 1976860 w 5719680"/>
                <a:gd name="connsiteY18713" fmla="*/ 1213681 h 5704395"/>
                <a:gd name="connsiteX18714" fmla="*/ 1987659 w 5719680"/>
                <a:gd name="connsiteY18714" fmla="*/ 1166148 h 5704395"/>
                <a:gd name="connsiteX18715" fmla="*/ 2074051 w 5719680"/>
                <a:gd name="connsiteY18715" fmla="*/ 1185795 h 5704395"/>
                <a:gd name="connsiteX18716" fmla="*/ 2105813 w 5719680"/>
                <a:gd name="connsiteY18716" fmla="*/ 1049216 h 5704395"/>
                <a:gd name="connsiteX18717" fmla="*/ 2007669 w 5719680"/>
                <a:gd name="connsiteY18717" fmla="*/ 1026717 h 5704395"/>
                <a:gd name="connsiteX18718" fmla="*/ 1980671 w 5719680"/>
                <a:gd name="connsiteY18718" fmla="*/ 1139846 h 5704395"/>
                <a:gd name="connsiteX18719" fmla="*/ 1938110 w 5719680"/>
                <a:gd name="connsiteY18719" fmla="*/ 1130022 h 5704395"/>
                <a:gd name="connsiteX18720" fmla="*/ 1940651 w 5719680"/>
                <a:gd name="connsiteY18720" fmla="*/ 1118614 h 5704395"/>
                <a:gd name="connsiteX18721" fmla="*/ 1865058 w 5719680"/>
                <a:gd name="connsiteY18721" fmla="*/ 1100869 h 5704395"/>
                <a:gd name="connsiteX18722" fmla="*/ 1874904 w 5719680"/>
                <a:gd name="connsiteY18722" fmla="*/ 1061891 h 5704395"/>
                <a:gd name="connsiteX18723" fmla="*/ 1950180 w 5719680"/>
                <a:gd name="connsiteY18723" fmla="*/ 1079320 h 5704395"/>
                <a:gd name="connsiteX18724" fmla="*/ 1965743 w 5719680"/>
                <a:gd name="connsiteY18724" fmla="*/ 1016576 h 5704395"/>
                <a:gd name="connsiteX18725" fmla="*/ 1953038 w 5719680"/>
                <a:gd name="connsiteY18725" fmla="*/ 1013408 h 5704395"/>
                <a:gd name="connsiteX18726" fmla="*/ 1958755 w 5719680"/>
                <a:gd name="connsiteY18726" fmla="*/ 990592 h 5704395"/>
                <a:gd name="connsiteX18727" fmla="*/ 935070 w 5719680"/>
                <a:gd name="connsiteY18727" fmla="*/ 977599 h 5704395"/>
                <a:gd name="connsiteX18728" fmla="*/ 827080 w 5719680"/>
                <a:gd name="connsiteY18728" fmla="*/ 1018161 h 5704395"/>
                <a:gd name="connsiteX18729" fmla="*/ 718136 w 5719680"/>
                <a:gd name="connsiteY18729" fmla="*/ 1132558 h 5704395"/>
                <a:gd name="connsiteX18730" fmla="*/ 578702 w 5719680"/>
                <a:gd name="connsiteY18730" fmla="*/ 1283396 h 5704395"/>
                <a:gd name="connsiteX18731" fmla="*/ 528836 w 5719680"/>
                <a:gd name="connsiteY18731" fmla="*/ 1336633 h 5704395"/>
                <a:gd name="connsiteX18732" fmla="*/ 518989 w 5719680"/>
                <a:gd name="connsiteY18732" fmla="*/ 1347408 h 5704395"/>
                <a:gd name="connsiteX18733" fmla="*/ 701620 w 5719680"/>
                <a:gd name="connsiteY18733" fmla="*/ 1479550 h 5704395"/>
                <a:gd name="connsiteX18734" fmla="*/ 839149 w 5719680"/>
                <a:gd name="connsiteY18734" fmla="*/ 1323958 h 5704395"/>
                <a:gd name="connsiteX18735" fmla="*/ 1178366 w 5719680"/>
                <a:gd name="connsiteY18735" fmla="*/ 1282762 h 5704395"/>
                <a:gd name="connsiteX18736" fmla="*/ 1297473 w 5719680"/>
                <a:gd name="connsiteY18736" fmla="*/ 1294804 h 5704395"/>
                <a:gd name="connsiteX18737" fmla="*/ 1294297 w 5719680"/>
                <a:gd name="connsiteY18737" fmla="*/ 1238715 h 5704395"/>
                <a:gd name="connsiteX18738" fmla="*/ 1294297 w 5719680"/>
                <a:gd name="connsiteY18738" fmla="*/ 1236180 h 5704395"/>
                <a:gd name="connsiteX18739" fmla="*/ 1295250 w 5719680"/>
                <a:gd name="connsiteY18739" fmla="*/ 1233962 h 5704395"/>
                <a:gd name="connsiteX18740" fmla="*/ 1320024 w 5719680"/>
                <a:gd name="connsiteY18740" fmla="*/ 1175971 h 5704395"/>
                <a:gd name="connsiteX18741" fmla="*/ 1337493 w 5719680"/>
                <a:gd name="connsiteY18741" fmla="*/ 1136043 h 5704395"/>
                <a:gd name="connsiteX18742" fmla="*/ 1342257 w 5719680"/>
                <a:gd name="connsiteY18742" fmla="*/ 1125269 h 5704395"/>
                <a:gd name="connsiteX18743" fmla="*/ 1246972 w 5719680"/>
                <a:gd name="connsiteY18743" fmla="*/ 1090728 h 5704395"/>
                <a:gd name="connsiteX18744" fmla="*/ 1091339 w 5719680"/>
                <a:gd name="connsiteY18744" fmla="*/ 1026717 h 5704395"/>
                <a:gd name="connsiteX18745" fmla="*/ 990336 w 5719680"/>
                <a:gd name="connsiteY18745" fmla="*/ 985522 h 5704395"/>
                <a:gd name="connsiteX18746" fmla="*/ 935070 w 5719680"/>
                <a:gd name="connsiteY18746" fmla="*/ 977599 h 5704395"/>
                <a:gd name="connsiteX18747" fmla="*/ 3903218 w 5719680"/>
                <a:gd name="connsiteY18747" fmla="*/ 942108 h 5704395"/>
                <a:gd name="connsiteX18748" fmla="*/ 3404874 w 5719680"/>
                <a:gd name="connsiteY18748" fmla="*/ 952882 h 5704395"/>
                <a:gd name="connsiteX18749" fmla="*/ 3442353 w 5719680"/>
                <a:gd name="connsiteY18749" fmla="*/ 1104671 h 5704395"/>
                <a:gd name="connsiteX18750" fmla="*/ 3456646 w 5719680"/>
                <a:gd name="connsiteY18750" fmla="*/ 1163296 h 5704395"/>
                <a:gd name="connsiteX18751" fmla="*/ 3463634 w 5719680"/>
                <a:gd name="connsiteY18751" fmla="*/ 1190548 h 5704395"/>
                <a:gd name="connsiteX18752" fmla="*/ 3503971 w 5719680"/>
                <a:gd name="connsiteY18752" fmla="*/ 1298290 h 5704395"/>
                <a:gd name="connsiteX18753" fmla="*/ 3600210 w 5719680"/>
                <a:gd name="connsiteY18753" fmla="*/ 1402546 h 5704395"/>
                <a:gd name="connsiteX18754" fmla="*/ 3715823 w 5719680"/>
                <a:gd name="connsiteY18754" fmla="*/ 1416172 h 5704395"/>
                <a:gd name="connsiteX18755" fmla="*/ 3803803 w 5719680"/>
                <a:gd name="connsiteY18755" fmla="*/ 1411736 h 5704395"/>
                <a:gd name="connsiteX18756" fmla="*/ 3860657 w 5719680"/>
                <a:gd name="connsiteY18756" fmla="*/ 1422510 h 5704395"/>
                <a:gd name="connsiteX18757" fmla="*/ 3906394 w 5719680"/>
                <a:gd name="connsiteY18757" fmla="*/ 1483036 h 5704395"/>
                <a:gd name="connsiteX18758" fmla="*/ 4096330 w 5719680"/>
                <a:gd name="connsiteY18758" fmla="*/ 1507753 h 5704395"/>
                <a:gd name="connsiteX18759" fmla="*/ 4146832 w 5719680"/>
                <a:gd name="connsiteY18759" fmla="*/ 1522330 h 5704395"/>
                <a:gd name="connsiteX18760" fmla="*/ 4147149 w 5719680"/>
                <a:gd name="connsiteY18760" fmla="*/ 1522013 h 5704395"/>
                <a:gd name="connsiteX18761" fmla="*/ 4199874 w 5719680"/>
                <a:gd name="connsiteY18761" fmla="*/ 1424411 h 5704395"/>
                <a:gd name="connsiteX18762" fmla="*/ 4213849 w 5719680"/>
                <a:gd name="connsiteY18762" fmla="*/ 1365470 h 5704395"/>
                <a:gd name="connsiteX18763" fmla="*/ 4208132 w 5719680"/>
                <a:gd name="connsiteY18763" fmla="*/ 1330929 h 5704395"/>
                <a:gd name="connsiteX18764" fmla="*/ 4204320 w 5719680"/>
                <a:gd name="connsiteY18764" fmla="*/ 1321740 h 5704395"/>
                <a:gd name="connsiteX18765" fmla="*/ 4203050 w 5719680"/>
                <a:gd name="connsiteY18765" fmla="*/ 1319838 h 5704395"/>
                <a:gd name="connsiteX18766" fmla="*/ 4202732 w 5719680"/>
                <a:gd name="connsiteY18766" fmla="*/ 1319204 h 5704395"/>
                <a:gd name="connsiteX18767" fmla="*/ 3968330 w 5719680"/>
                <a:gd name="connsiteY18767" fmla="*/ 963339 h 5704395"/>
                <a:gd name="connsiteX18768" fmla="*/ 3905124 w 5719680"/>
                <a:gd name="connsiteY18768" fmla="*/ 942108 h 5704395"/>
                <a:gd name="connsiteX18769" fmla="*/ 3903536 w 5719680"/>
                <a:gd name="connsiteY18769" fmla="*/ 942108 h 5704395"/>
                <a:gd name="connsiteX18770" fmla="*/ 3903218 w 5719680"/>
                <a:gd name="connsiteY18770" fmla="*/ 942108 h 5704395"/>
                <a:gd name="connsiteX18771" fmla="*/ 3403921 w 5719680"/>
                <a:gd name="connsiteY18771" fmla="*/ 933869 h 5704395"/>
                <a:gd name="connsiteX18772" fmla="*/ 3401380 w 5719680"/>
                <a:gd name="connsiteY18772" fmla="*/ 937671 h 5704395"/>
                <a:gd name="connsiteX18773" fmla="*/ 3401380 w 5719680"/>
                <a:gd name="connsiteY18773" fmla="*/ 937988 h 5704395"/>
                <a:gd name="connsiteX18774" fmla="*/ 3403921 w 5719680"/>
                <a:gd name="connsiteY18774" fmla="*/ 933869 h 5704395"/>
                <a:gd name="connsiteX18775" fmla="*/ 1941922 w 5719680"/>
                <a:gd name="connsiteY18775" fmla="*/ 910736 h 5704395"/>
                <a:gd name="connsiteX18776" fmla="*/ 1930805 w 5719680"/>
                <a:gd name="connsiteY18776" fmla="*/ 957002 h 5704395"/>
                <a:gd name="connsiteX18777" fmla="*/ 2073416 w 5719680"/>
                <a:gd name="connsiteY18777" fmla="*/ 990909 h 5704395"/>
                <a:gd name="connsiteX18778" fmla="*/ 2084532 w 5719680"/>
                <a:gd name="connsiteY18778" fmla="*/ 944326 h 5704395"/>
                <a:gd name="connsiteX18779" fmla="*/ 1941922 w 5719680"/>
                <a:gd name="connsiteY18779" fmla="*/ 910736 h 5704395"/>
                <a:gd name="connsiteX18780" fmla="*/ 1938428 w 5719680"/>
                <a:gd name="connsiteY18780" fmla="*/ 905032 h 5704395"/>
                <a:gd name="connsiteX18781" fmla="*/ 2089932 w 5719680"/>
                <a:gd name="connsiteY18781" fmla="*/ 940840 h 5704395"/>
                <a:gd name="connsiteX18782" fmla="*/ 2076910 w 5719680"/>
                <a:gd name="connsiteY18782" fmla="*/ 996296 h 5704395"/>
                <a:gd name="connsiteX18783" fmla="*/ 2074686 w 5719680"/>
                <a:gd name="connsiteY18783" fmla="*/ 995979 h 5704395"/>
                <a:gd name="connsiteX18784" fmla="*/ 1925088 w 5719680"/>
                <a:gd name="connsiteY18784" fmla="*/ 960487 h 5704395"/>
                <a:gd name="connsiteX18785" fmla="*/ 1938428 w 5719680"/>
                <a:gd name="connsiteY18785" fmla="*/ 905032 h 5704395"/>
                <a:gd name="connsiteX18786" fmla="*/ 2703254 w 5719680"/>
                <a:gd name="connsiteY18786" fmla="*/ 855914 h 5704395"/>
                <a:gd name="connsiteX18787" fmla="*/ 2702936 w 5719680"/>
                <a:gd name="connsiteY18787" fmla="*/ 856548 h 5704395"/>
                <a:gd name="connsiteX18788" fmla="*/ 2701030 w 5719680"/>
                <a:gd name="connsiteY18788" fmla="*/ 860985 h 5704395"/>
                <a:gd name="connsiteX18789" fmla="*/ 2703254 w 5719680"/>
                <a:gd name="connsiteY18789" fmla="*/ 855914 h 5704395"/>
                <a:gd name="connsiteX18790" fmla="*/ 3345797 w 5719680"/>
                <a:gd name="connsiteY18790" fmla="*/ 809015 h 5704395"/>
                <a:gd name="connsiteX18791" fmla="*/ 3212714 w 5719680"/>
                <a:gd name="connsiteY18791" fmla="*/ 847675 h 5704395"/>
                <a:gd name="connsiteX18792" fmla="*/ 2733745 w 5719680"/>
                <a:gd name="connsiteY18792" fmla="*/ 979184 h 5704395"/>
                <a:gd name="connsiteX18793" fmla="*/ 2541268 w 5719680"/>
                <a:gd name="connsiteY18793" fmla="*/ 1031153 h 5704395"/>
                <a:gd name="connsiteX18794" fmla="*/ 2481556 w 5719680"/>
                <a:gd name="connsiteY18794" fmla="*/ 1047631 h 5704395"/>
                <a:gd name="connsiteX18795" fmla="*/ 2464404 w 5719680"/>
                <a:gd name="connsiteY18795" fmla="*/ 1052385 h 5704395"/>
                <a:gd name="connsiteX18796" fmla="*/ 2459323 w 5719680"/>
                <a:gd name="connsiteY18796" fmla="*/ 1053969 h 5704395"/>
                <a:gd name="connsiteX18797" fmla="*/ 2458052 w 5719680"/>
                <a:gd name="connsiteY18797" fmla="*/ 1054286 h 5704395"/>
                <a:gd name="connsiteX18798" fmla="*/ 2439630 w 5719680"/>
                <a:gd name="connsiteY18798" fmla="*/ 1060307 h 5704395"/>
                <a:gd name="connsiteX18799" fmla="*/ 2392623 w 5719680"/>
                <a:gd name="connsiteY18799" fmla="*/ 1074567 h 5704395"/>
                <a:gd name="connsiteX18800" fmla="*/ 2520306 w 5719680"/>
                <a:gd name="connsiteY18800" fmla="*/ 1393356 h 5704395"/>
                <a:gd name="connsiteX18801" fmla="*/ 2542539 w 5719680"/>
                <a:gd name="connsiteY18801" fmla="*/ 1431700 h 5704395"/>
                <a:gd name="connsiteX18802" fmla="*/ 3437589 w 5719680"/>
                <a:gd name="connsiteY18802" fmla="*/ 1174070 h 5704395"/>
                <a:gd name="connsiteX18803" fmla="*/ 3436318 w 5719680"/>
                <a:gd name="connsiteY18803" fmla="*/ 1168366 h 5704395"/>
                <a:gd name="connsiteX18804" fmla="*/ 3381052 w 5719680"/>
                <a:gd name="connsiteY18804" fmla="*/ 943058 h 5704395"/>
                <a:gd name="connsiteX18805" fmla="*/ 3345797 w 5719680"/>
                <a:gd name="connsiteY18805" fmla="*/ 809015 h 5704395"/>
                <a:gd name="connsiteX18806" fmla="*/ 1695767 w 5719680"/>
                <a:gd name="connsiteY18806" fmla="*/ 807747 h 5704395"/>
                <a:gd name="connsiteX18807" fmla="*/ 1651936 w 5719680"/>
                <a:gd name="connsiteY18807" fmla="*/ 947812 h 5704395"/>
                <a:gd name="connsiteX18808" fmla="*/ 1654794 w 5719680"/>
                <a:gd name="connsiteY18808" fmla="*/ 1067912 h 5704395"/>
                <a:gd name="connsiteX18809" fmla="*/ 1604611 w 5719680"/>
                <a:gd name="connsiteY18809" fmla="*/ 1183577 h 5704395"/>
                <a:gd name="connsiteX18810" fmla="*/ 1713871 w 5719680"/>
                <a:gd name="connsiteY18810" fmla="*/ 1221603 h 5704395"/>
                <a:gd name="connsiteX18811" fmla="*/ 1893008 w 5719680"/>
                <a:gd name="connsiteY18811" fmla="*/ 1334415 h 5704395"/>
                <a:gd name="connsiteX18812" fmla="*/ 1950497 w 5719680"/>
                <a:gd name="connsiteY18812" fmla="*/ 1408884 h 5704395"/>
                <a:gd name="connsiteX18813" fmla="*/ 1962567 w 5719680"/>
                <a:gd name="connsiteY18813" fmla="*/ 1493810 h 5704395"/>
                <a:gd name="connsiteX18814" fmla="*/ 1960979 w 5719680"/>
                <a:gd name="connsiteY18814" fmla="*/ 1529618 h 5704395"/>
                <a:gd name="connsiteX18815" fmla="*/ 2463769 w 5719680"/>
                <a:gd name="connsiteY18815" fmla="*/ 1551483 h 5704395"/>
                <a:gd name="connsiteX18816" fmla="*/ 2348474 w 5719680"/>
                <a:gd name="connsiteY18816" fmla="*/ 1416806 h 5704395"/>
                <a:gd name="connsiteX18817" fmla="*/ 2259540 w 5719680"/>
                <a:gd name="connsiteY18817" fmla="*/ 1309381 h 5704395"/>
                <a:gd name="connsiteX18818" fmla="*/ 2218568 w 5719680"/>
                <a:gd name="connsiteY18818" fmla="*/ 1201639 h 5704395"/>
                <a:gd name="connsiteX18819" fmla="*/ 2219838 w 5719680"/>
                <a:gd name="connsiteY18819" fmla="*/ 1184527 h 5704395"/>
                <a:gd name="connsiteX18820" fmla="*/ 2261764 w 5719680"/>
                <a:gd name="connsiteY18820" fmla="*/ 1097066 h 5704395"/>
                <a:gd name="connsiteX18821" fmla="*/ 2328146 w 5719680"/>
                <a:gd name="connsiteY18821" fmla="*/ 1048265 h 5704395"/>
                <a:gd name="connsiteX18822" fmla="*/ 2316712 w 5719680"/>
                <a:gd name="connsiteY18822" fmla="*/ 1026717 h 5704395"/>
                <a:gd name="connsiteX18823" fmla="*/ 2280821 w 5719680"/>
                <a:gd name="connsiteY18823" fmla="*/ 978233 h 5704395"/>
                <a:gd name="connsiteX18824" fmla="*/ 2177912 w 5719680"/>
                <a:gd name="connsiteY18824" fmla="*/ 940840 h 5704395"/>
                <a:gd name="connsiteX18825" fmla="*/ 1907301 w 5719680"/>
                <a:gd name="connsiteY18825" fmla="*/ 870491 h 5704395"/>
                <a:gd name="connsiteX18826" fmla="*/ 1773266 w 5719680"/>
                <a:gd name="connsiteY18826" fmla="*/ 830563 h 5704395"/>
                <a:gd name="connsiteX18827" fmla="*/ 1695767 w 5719680"/>
                <a:gd name="connsiteY18827" fmla="*/ 807747 h 5704395"/>
                <a:gd name="connsiteX18828" fmla="*/ 3334362 w 5719680"/>
                <a:gd name="connsiteY18828" fmla="*/ 766235 h 5704395"/>
                <a:gd name="connsiteX18829" fmla="*/ 3324834 w 5719680"/>
                <a:gd name="connsiteY18829" fmla="*/ 769404 h 5704395"/>
                <a:gd name="connsiteX18830" fmla="*/ 3115841 w 5719680"/>
                <a:gd name="connsiteY18830" fmla="*/ 828979 h 5704395"/>
                <a:gd name="connsiteX18831" fmla="*/ 2627026 w 5719680"/>
                <a:gd name="connsiteY18831" fmla="*/ 962072 h 5704395"/>
                <a:gd name="connsiteX18832" fmla="*/ 2447888 w 5719680"/>
                <a:gd name="connsiteY18832" fmla="*/ 1011189 h 5704395"/>
                <a:gd name="connsiteX18833" fmla="*/ 2441218 w 5719680"/>
                <a:gd name="connsiteY18833" fmla="*/ 1013725 h 5704395"/>
                <a:gd name="connsiteX18834" fmla="*/ 2416126 w 5719680"/>
                <a:gd name="connsiteY18834" fmla="*/ 1021013 h 5704395"/>
                <a:gd name="connsiteX18835" fmla="*/ 2375154 w 5719680"/>
                <a:gd name="connsiteY18835" fmla="*/ 1034005 h 5704395"/>
                <a:gd name="connsiteX18836" fmla="*/ 2386270 w 5719680"/>
                <a:gd name="connsiteY18836" fmla="*/ 1059040 h 5704395"/>
                <a:gd name="connsiteX18837" fmla="*/ 2390717 w 5719680"/>
                <a:gd name="connsiteY18837" fmla="*/ 1069814 h 5704395"/>
                <a:gd name="connsiteX18838" fmla="*/ 2438360 w 5719680"/>
                <a:gd name="connsiteY18838" fmla="*/ 1055237 h 5704395"/>
                <a:gd name="connsiteX18839" fmla="*/ 2456146 w 5719680"/>
                <a:gd name="connsiteY18839" fmla="*/ 1049533 h 5704395"/>
                <a:gd name="connsiteX18840" fmla="*/ 2459005 w 5719680"/>
                <a:gd name="connsiteY18840" fmla="*/ 1048582 h 5704395"/>
                <a:gd name="connsiteX18841" fmla="*/ 2462816 w 5719680"/>
                <a:gd name="connsiteY18841" fmla="*/ 1047631 h 5704395"/>
                <a:gd name="connsiteX18842" fmla="*/ 2480286 w 5719680"/>
                <a:gd name="connsiteY18842" fmla="*/ 1042561 h 5704395"/>
                <a:gd name="connsiteX18843" fmla="*/ 2539998 w 5719680"/>
                <a:gd name="connsiteY18843" fmla="*/ 1026083 h 5704395"/>
                <a:gd name="connsiteX18844" fmla="*/ 2732157 w 5719680"/>
                <a:gd name="connsiteY18844" fmla="*/ 974114 h 5704395"/>
                <a:gd name="connsiteX18845" fmla="*/ 3211444 w 5719680"/>
                <a:gd name="connsiteY18845" fmla="*/ 842922 h 5704395"/>
                <a:gd name="connsiteX18846" fmla="*/ 3344526 w 5719680"/>
                <a:gd name="connsiteY18846" fmla="*/ 803945 h 5704395"/>
                <a:gd name="connsiteX18847" fmla="*/ 3341986 w 5719680"/>
                <a:gd name="connsiteY18847" fmla="*/ 794438 h 5704395"/>
                <a:gd name="connsiteX18848" fmla="*/ 3334362 w 5719680"/>
                <a:gd name="connsiteY18848" fmla="*/ 766235 h 5704395"/>
                <a:gd name="connsiteX18849" fmla="*/ 2154091 w 5719680"/>
                <a:gd name="connsiteY18849" fmla="*/ 765918 h 5704395"/>
                <a:gd name="connsiteX18850" fmla="*/ 2115659 w 5719680"/>
                <a:gd name="connsiteY18850" fmla="*/ 770672 h 5704395"/>
                <a:gd name="connsiteX18851" fmla="*/ 2093743 w 5719680"/>
                <a:gd name="connsiteY18851" fmla="*/ 786516 h 5704395"/>
                <a:gd name="connsiteX18852" fmla="*/ 2071510 w 5719680"/>
                <a:gd name="connsiteY18852" fmla="*/ 864470 h 5704395"/>
                <a:gd name="connsiteX18853" fmla="*/ 2188712 w 5719680"/>
                <a:gd name="connsiteY18853" fmla="*/ 893941 h 5704395"/>
                <a:gd name="connsiteX18854" fmla="*/ 2310360 w 5719680"/>
                <a:gd name="connsiteY18854" fmla="*/ 940206 h 5704395"/>
                <a:gd name="connsiteX18855" fmla="*/ 2332910 w 5719680"/>
                <a:gd name="connsiteY18855" fmla="*/ 963022 h 5704395"/>
                <a:gd name="connsiteX18856" fmla="*/ 2518082 w 5719680"/>
                <a:gd name="connsiteY18856" fmla="*/ 905983 h 5704395"/>
                <a:gd name="connsiteX18857" fmla="*/ 2654976 w 5719680"/>
                <a:gd name="connsiteY18857" fmla="*/ 864153 h 5704395"/>
                <a:gd name="connsiteX18858" fmla="*/ 2700078 w 5719680"/>
                <a:gd name="connsiteY18858" fmla="*/ 850210 h 5704395"/>
                <a:gd name="connsiteX18859" fmla="*/ 2708336 w 5719680"/>
                <a:gd name="connsiteY18859" fmla="*/ 847675 h 5704395"/>
                <a:gd name="connsiteX18860" fmla="*/ 2705160 w 5719680"/>
                <a:gd name="connsiteY18860" fmla="*/ 778911 h 5704395"/>
                <a:gd name="connsiteX18861" fmla="*/ 2311312 w 5719680"/>
                <a:gd name="connsiteY18861" fmla="*/ 786516 h 5704395"/>
                <a:gd name="connsiteX18862" fmla="*/ 2310360 w 5719680"/>
                <a:gd name="connsiteY18862" fmla="*/ 786516 h 5704395"/>
                <a:gd name="connsiteX18863" fmla="*/ 2243977 w 5719680"/>
                <a:gd name="connsiteY18863" fmla="*/ 776059 h 5704395"/>
                <a:gd name="connsiteX18864" fmla="*/ 2154091 w 5719680"/>
                <a:gd name="connsiteY18864" fmla="*/ 765918 h 5704395"/>
                <a:gd name="connsiteX18865" fmla="*/ 3327375 w 5719680"/>
                <a:gd name="connsiteY18865" fmla="*/ 740884 h 5704395"/>
                <a:gd name="connsiteX18866" fmla="*/ 3248606 w 5719680"/>
                <a:gd name="connsiteY18866" fmla="*/ 760848 h 5704395"/>
                <a:gd name="connsiteX18867" fmla="*/ 2924952 w 5719680"/>
                <a:gd name="connsiteY18867" fmla="*/ 842605 h 5704395"/>
                <a:gd name="connsiteX18868" fmla="*/ 2787105 w 5719680"/>
                <a:gd name="connsiteY18868" fmla="*/ 877146 h 5704395"/>
                <a:gd name="connsiteX18869" fmla="*/ 2745497 w 5719680"/>
                <a:gd name="connsiteY18869" fmla="*/ 887603 h 5704395"/>
                <a:gd name="connsiteX18870" fmla="*/ 2734063 w 5719680"/>
                <a:gd name="connsiteY18870" fmla="*/ 890455 h 5704395"/>
                <a:gd name="connsiteX18871" fmla="*/ 2731204 w 5719680"/>
                <a:gd name="connsiteY18871" fmla="*/ 891089 h 5704395"/>
                <a:gd name="connsiteX18872" fmla="*/ 2730887 w 5719680"/>
                <a:gd name="connsiteY18872" fmla="*/ 891406 h 5704395"/>
                <a:gd name="connsiteX18873" fmla="*/ 2728028 w 5719680"/>
                <a:gd name="connsiteY18873" fmla="*/ 892040 h 5704395"/>
                <a:gd name="connsiteX18874" fmla="*/ 2727710 w 5719680"/>
                <a:gd name="connsiteY18874" fmla="*/ 892040 h 5704395"/>
                <a:gd name="connsiteX18875" fmla="*/ 2529516 w 5719680"/>
                <a:gd name="connsiteY18875" fmla="*/ 953199 h 5704395"/>
                <a:gd name="connsiteX18876" fmla="*/ 2360226 w 5719680"/>
                <a:gd name="connsiteY18876" fmla="*/ 1005169 h 5704395"/>
                <a:gd name="connsiteX18877" fmla="*/ 2364354 w 5719680"/>
                <a:gd name="connsiteY18877" fmla="*/ 1012457 h 5704395"/>
                <a:gd name="connsiteX18878" fmla="*/ 2372613 w 5719680"/>
                <a:gd name="connsiteY18878" fmla="*/ 1029252 h 5704395"/>
                <a:gd name="connsiteX18879" fmla="*/ 2414856 w 5719680"/>
                <a:gd name="connsiteY18879" fmla="*/ 1015943 h 5704395"/>
                <a:gd name="connsiteX18880" fmla="*/ 2439313 w 5719680"/>
                <a:gd name="connsiteY18880" fmla="*/ 1008971 h 5704395"/>
                <a:gd name="connsiteX18881" fmla="*/ 2446300 w 5719680"/>
                <a:gd name="connsiteY18881" fmla="*/ 1006436 h 5704395"/>
                <a:gd name="connsiteX18882" fmla="*/ 2625755 w 5719680"/>
                <a:gd name="connsiteY18882" fmla="*/ 957002 h 5704395"/>
                <a:gd name="connsiteX18883" fmla="*/ 3114253 w 5719680"/>
                <a:gd name="connsiteY18883" fmla="*/ 824226 h 5704395"/>
                <a:gd name="connsiteX18884" fmla="*/ 3323246 w 5719680"/>
                <a:gd name="connsiteY18884" fmla="*/ 764334 h 5704395"/>
                <a:gd name="connsiteX18885" fmla="*/ 3333092 w 5719680"/>
                <a:gd name="connsiteY18885" fmla="*/ 761482 h 5704395"/>
                <a:gd name="connsiteX18886" fmla="*/ 3327375 w 5719680"/>
                <a:gd name="connsiteY18886" fmla="*/ 740884 h 5704395"/>
                <a:gd name="connsiteX18887" fmla="*/ 1157721 w 5719680"/>
                <a:gd name="connsiteY18887" fmla="*/ 567230 h 5704395"/>
                <a:gd name="connsiteX18888" fmla="*/ 1024956 w 5719680"/>
                <a:gd name="connsiteY18888" fmla="*/ 976015 h 5704395"/>
                <a:gd name="connsiteX18889" fmla="*/ 1099597 w 5719680"/>
                <a:gd name="connsiteY18889" fmla="*/ 1007704 h 5704395"/>
                <a:gd name="connsiteX18890" fmla="*/ 1253959 w 5719680"/>
                <a:gd name="connsiteY18890" fmla="*/ 1071398 h 5704395"/>
                <a:gd name="connsiteX18891" fmla="*/ 1513454 w 5719680"/>
                <a:gd name="connsiteY18891" fmla="*/ 1158542 h 5704395"/>
                <a:gd name="connsiteX18892" fmla="*/ 1584601 w 5719680"/>
                <a:gd name="connsiteY18892" fmla="*/ 1177872 h 5704395"/>
                <a:gd name="connsiteX18893" fmla="*/ 1633831 w 5719680"/>
                <a:gd name="connsiteY18893" fmla="*/ 1063793 h 5704395"/>
                <a:gd name="connsiteX18894" fmla="*/ 1631291 w 5719680"/>
                <a:gd name="connsiteY18894" fmla="*/ 944960 h 5704395"/>
                <a:gd name="connsiteX18895" fmla="*/ 1631608 w 5719680"/>
                <a:gd name="connsiteY18895" fmla="*/ 943058 h 5704395"/>
                <a:gd name="connsiteX18896" fmla="*/ 1656065 w 5719680"/>
                <a:gd name="connsiteY18896" fmla="*/ 866689 h 5704395"/>
                <a:gd name="connsiteX18897" fmla="*/ 1672899 w 5719680"/>
                <a:gd name="connsiteY18897" fmla="*/ 812184 h 5704395"/>
                <a:gd name="connsiteX18898" fmla="*/ 1676075 w 5719680"/>
                <a:gd name="connsiteY18898" fmla="*/ 801410 h 5704395"/>
                <a:gd name="connsiteX18899" fmla="*/ 1404511 w 5719680"/>
                <a:gd name="connsiteY18899" fmla="*/ 689231 h 5704395"/>
                <a:gd name="connsiteX18900" fmla="*/ 1401970 w 5719680"/>
                <a:gd name="connsiteY18900" fmla="*/ 687330 h 5704395"/>
                <a:gd name="connsiteX18901" fmla="*/ 1397841 w 5719680"/>
                <a:gd name="connsiteY18901" fmla="*/ 684478 h 5704395"/>
                <a:gd name="connsiteX18902" fmla="*/ 1224421 w 5719680"/>
                <a:gd name="connsiteY18902" fmla="*/ 589728 h 5704395"/>
                <a:gd name="connsiteX18903" fmla="*/ 1157721 w 5719680"/>
                <a:gd name="connsiteY18903" fmla="*/ 567230 h 5704395"/>
                <a:gd name="connsiteX18904" fmla="*/ 5087936 w 5719680"/>
                <a:gd name="connsiteY18904" fmla="*/ 565962 h 5704395"/>
                <a:gd name="connsiteX18905" fmla="*/ 4748402 w 5719680"/>
                <a:gd name="connsiteY18905" fmla="*/ 617615 h 5704395"/>
                <a:gd name="connsiteX18906" fmla="*/ 4592451 w 5719680"/>
                <a:gd name="connsiteY18906" fmla="*/ 622368 h 5704395"/>
                <a:gd name="connsiteX18907" fmla="*/ 4246246 w 5719680"/>
                <a:gd name="connsiteY18907" fmla="*/ 617932 h 5704395"/>
                <a:gd name="connsiteX18908" fmla="*/ 4170018 w 5719680"/>
                <a:gd name="connsiteY18908" fmla="*/ 644867 h 5704395"/>
                <a:gd name="connsiteX18909" fmla="*/ 4130633 w 5719680"/>
                <a:gd name="connsiteY18909" fmla="*/ 695886 h 5704395"/>
                <a:gd name="connsiteX18910" fmla="*/ 4109988 w 5719680"/>
                <a:gd name="connsiteY18910" fmla="*/ 725357 h 5704395"/>
                <a:gd name="connsiteX18911" fmla="*/ 4109670 w 5719680"/>
                <a:gd name="connsiteY18911" fmla="*/ 725673 h 5704395"/>
                <a:gd name="connsiteX18912" fmla="*/ 4109352 w 5719680"/>
                <a:gd name="connsiteY18912" fmla="*/ 726307 h 5704395"/>
                <a:gd name="connsiteX18913" fmla="*/ 4047417 w 5719680"/>
                <a:gd name="connsiteY18913" fmla="*/ 802360 h 5704395"/>
                <a:gd name="connsiteX18914" fmla="*/ 4003586 w 5719680"/>
                <a:gd name="connsiteY18914" fmla="*/ 857499 h 5704395"/>
                <a:gd name="connsiteX18915" fmla="*/ 3988340 w 5719680"/>
                <a:gd name="connsiteY18915" fmla="*/ 877780 h 5704395"/>
                <a:gd name="connsiteX18916" fmla="*/ 3983893 w 5719680"/>
                <a:gd name="connsiteY18916" fmla="*/ 884434 h 5704395"/>
                <a:gd name="connsiteX18917" fmla="*/ 3982622 w 5719680"/>
                <a:gd name="connsiteY18917" fmla="*/ 886336 h 5704395"/>
                <a:gd name="connsiteX18918" fmla="*/ 3981987 w 5719680"/>
                <a:gd name="connsiteY18918" fmla="*/ 886969 h 5704395"/>
                <a:gd name="connsiteX18919" fmla="*/ 3961342 w 5719680"/>
                <a:gd name="connsiteY18919" fmla="*/ 934186 h 5704395"/>
                <a:gd name="connsiteX18920" fmla="*/ 3983258 w 5719680"/>
                <a:gd name="connsiteY18920" fmla="*/ 949079 h 5704395"/>
                <a:gd name="connsiteX18921" fmla="*/ 3984211 w 5719680"/>
                <a:gd name="connsiteY18921" fmla="*/ 950030 h 5704395"/>
                <a:gd name="connsiteX18922" fmla="*/ 4220202 w 5719680"/>
                <a:gd name="connsiteY18922" fmla="*/ 1307797 h 5704395"/>
                <a:gd name="connsiteX18923" fmla="*/ 4234812 w 5719680"/>
                <a:gd name="connsiteY18923" fmla="*/ 1365470 h 5704395"/>
                <a:gd name="connsiteX18924" fmla="*/ 4218614 w 5719680"/>
                <a:gd name="connsiteY18924" fmla="*/ 1433284 h 5704395"/>
                <a:gd name="connsiteX18925" fmla="*/ 4167794 w 5719680"/>
                <a:gd name="connsiteY18925" fmla="*/ 1528351 h 5704395"/>
                <a:gd name="connsiteX18926" fmla="*/ 4314534 w 5719680"/>
                <a:gd name="connsiteY18926" fmla="*/ 1571130 h 5704395"/>
                <a:gd name="connsiteX18927" fmla="*/ 4464450 w 5719680"/>
                <a:gd name="connsiteY18927" fmla="*/ 1606622 h 5704395"/>
                <a:gd name="connsiteX18928" fmla="*/ 5069196 w 5719680"/>
                <a:gd name="connsiteY18928" fmla="*/ 1481134 h 5704395"/>
                <a:gd name="connsiteX18929" fmla="*/ 5067291 w 5719680"/>
                <a:gd name="connsiteY18929" fmla="*/ 1473846 h 5704395"/>
                <a:gd name="connsiteX18930" fmla="*/ 4972640 w 5719680"/>
                <a:gd name="connsiteY18930" fmla="*/ 1120833 h 5704395"/>
                <a:gd name="connsiteX18931" fmla="*/ 4953266 w 5719680"/>
                <a:gd name="connsiteY18931" fmla="*/ 929115 h 5704395"/>
                <a:gd name="connsiteX18932" fmla="*/ 4973911 w 5719680"/>
                <a:gd name="connsiteY18932" fmla="*/ 738032 h 5704395"/>
                <a:gd name="connsiteX18933" fmla="*/ 5046964 w 5719680"/>
                <a:gd name="connsiteY18933" fmla="*/ 615396 h 5704395"/>
                <a:gd name="connsiteX18934" fmla="*/ 5087936 w 5719680"/>
                <a:gd name="connsiteY18934" fmla="*/ 565962 h 5704395"/>
                <a:gd name="connsiteX18935" fmla="*/ 4034712 w 5719680"/>
                <a:gd name="connsiteY18935" fmla="*/ 503852 h 5704395"/>
                <a:gd name="connsiteX18936" fmla="*/ 3890513 w 5719680"/>
                <a:gd name="connsiteY18936" fmla="*/ 653106 h 5704395"/>
                <a:gd name="connsiteX18937" fmla="*/ 3867962 w 5719680"/>
                <a:gd name="connsiteY18937" fmla="*/ 632508 h 5704395"/>
                <a:gd name="connsiteX18938" fmla="*/ 3920369 w 5719680"/>
                <a:gd name="connsiteY18938" fmla="*/ 577687 h 5704395"/>
                <a:gd name="connsiteX18939" fmla="*/ 3857798 w 5719680"/>
                <a:gd name="connsiteY18939" fmla="*/ 515260 h 5704395"/>
                <a:gd name="connsiteX18940" fmla="*/ 3661192 w 5719680"/>
                <a:gd name="connsiteY18940" fmla="*/ 718068 h 5704395"/>
                <a:gd name="connsiteX18941" fmla="*/ 3724398 w 5719680"/>
                <a:gd name="connsiteY18941" fmla="*/ 779861 h 5704395"/>
                <a:gd name="connsiteX18942" fmla="*/ 3766006 w 5719680"/>
                <a:gd name="connsiteY18942" fmla="*/ 736765 h 5704395"/>
                <a:gd name="connsiteX18943" fmla="*/ 3792051 w 5719680"/>
                <a:gd name="connsiteY18943" fmla="*/ 762116 h 5704395"/>
                <a:gd name="connsiteX18944" fmla="*/ 3842870 w 5719680"/>
                <a:gd name="connsiteY18944" fmla="*/ 710780 h 5704395"/>
                <a:gd name="connsiteX18945" fmla="*/ 3902265 w 5719680"/>
                <a:gd name="connsiteY18945" fmla="*/ 768770 h 5704395"/>
                <a:gd name="connsiteX18946" fmla="*/ 4099824 w 5719680"/>
                <a:gd name="connsiteY18946" fmla="*/ 565645 h 5704395"/>
                <a:gd name="connsiteX18947" fmla="*/ 4034712 w 5719680"/>
                <a:gd name="connsiteY18947" fmla="*/ 503852 h 5704395"/>
                <a:gd name="connsiteX18948" fmla="*/ 4034712 w 5719680"/>
                <a:gd name="connsiteY18948" fmla="*/ 497197 h 5704395"/>
                <a:gd name="connsiteX18949" fmla="*/ 4106494 w 5719680"/>
                <a:gd name="connsiteY18949" fmla="*/ 565645 h 5704395"/>
                <a:gd name="connsiteX18950" fmla="*/ 3902583 w 5719680"/>
                <a:gd name="connsiteY18950" fmla="*/ 775425 h 5704395"/>
                <a:gd name="connsiteX18951" fmla="*/ 3842870 w 5719680"/>
                <a:gd name="connsiteY18951" fmla="*/ 717434 h 5704395"/>
                <a:gd name="connsiteX18952" fmla="*/ 3792369 w 5719680"/>
                <a:gd name="connsiteY18952" fmla="*/ 768770 h 5704395"/>
                <a:gd name="connsiteX18953" fmla="*/ 3766006 w 5719680"/>
                <a:gd name="connsiteY18953" fmla="*/ 743419 h 5704395"/>
                <a:gd name="connsiteX18954" fmla="*/ 3724398 w 5719680"/>
                <a:gd name="connsiteY18954" fmla="*/ 786516 h 5704395"/>
                <a:gd name="connsiteX18955" fmla="*/ 3656428 w 5719680"/>
                <a:gd name="connsiteY18955" fmla="*/ 719653 h 5704395"/>
                <a:gd name="connsiteX18956" fmla="*/ 3654840 w 5719680"/>
                <a:gd name="connsiteY18956" fmla="*/ 718068 h 5704395"/>
                <a:gd name="connsiteX18957" fmla="*/ 3857798 w 5719680"/>
                <a:gd name="connsiteY18957" fmla="*/ 508605 h 5704395"/>
                <a:gd name="connsiteX18958" fmla="*/ 3927039 w 5719680"/>
                <a:gd name="connsiteY18958" fmla="*/ 577687 h 5704395"/>
                <a:gd name="connsiteX18959" fmla="*/ 3874632 w 5719680"/>
                <a:gd name="connsiteY18959" fmla="*/ 632191 h 5704395"/>
                <a:gd name="connsiteX18960" fmla="*/ 3890513 w 5719680"/>
                <a:gd name="connsiteY18960" fmla="*/ 646768 h 5704395"/>
                <a:gd name="connsiteX18961" fmla="*/ 4034712 w 5719680"/>
                <a:gd name="connsiteY18961" fmla="*/ 497197 h 5704395"/>
                <a:gd name="connsiteX18962" fmla="*/ 812787 w 5719680"/>
                <a:gd name="connsiteY18962" fmla="*/ 431285 h 5704395"/>
                <a:gd name="connsiteX18963" fmla="*/ 809293 w 5719680"/>
                <a:gd name="connsiteY18963" fmla="*/ 433820 h 5704395"/>
                <a:gd name="connsiteX18964" fmla="*/ 587595 w 5719680"/>
                <a:gd name="connsiteY18964" fmla="*/ 623635 h 5704395"/>
                <a:gd name="connsiteX18965" fmla="*/ 463088 w 5719680"/>
                <a:gd name="connsiteY18965" fmla="*/ 731694 h 5704395"/>
                <a:gd name="connsiteX18966" fmla="*/ 408458 w 5719680"/>
                <a:gd name="connsiteY18966" fmla="*/ 778911 h 5704395"/>
                <a:gd name="connsiteX18967" fmla="*/ 184854 w 5719680"/>
                <a:gd name="connsiteY18967" fmla="*/ 1017527 h 5704395"/>
                <a:gd name="connsiteX18968" fmla="*/ 295386 w 5719680"/>
                <a:gd name="connsiteY18968" fmla="*/ 1161394 h 5704395"/>
                <a:gd name="connsiteX18969" fmla="*/ 377014 w 5719680"/>
                <a:gd name="connsiteY18969" fmla="*/ 1265967 h 5704395"/>
                <a:gd name="connsiteX18970" fmla="*/ 404647 w 5719680"/>
                <a:gd name="connsiteY18970" fmla="*/ 1300191 h 5704395"/>
                <a:gd name="connsiteX18971" fmla="*/ 412587 w 5719680"/>
                <a:gd name="connsiteY18971" fmla="*/ 1309698 h 5704395"/>
                <a:gd name="connsiteX18972" fmla="*/ 412905 w 5719680"/>
                <a:gd name="connsiteY18972" fmla="*/ 1310015 h 5704395"/>
                <a:gd name="connsiteX18973" fmla="*/ 417987 w 5719680"/>
                <a:gd name="connsiteY18973" fmla="*/ 1311282 h 5704395"/>
                <a:gd name="connsiteX18974" fmla="*/ 498344 w 5719680"/>
                <a:gd name="connsiteY18974" fmla="*/ 1338852 h 5704395"/>
                <a:gd name="connsiteX18975" fmla="*/ 702573 w 5719680"/>
                <a:gd name="connsiteY18975" fmla="*/ 1118614 h 5704395"/>
                <a:gd name="connsiteX18976" fmla="*/ 813740 w 5719680"/>
                <a:gd name="connsiteY18976" fmla="*/ 1002317 h 5704395"/>
                <a:gd name="connsiteX18977" fmla="*/ 935070 w 5719680"/>
                <a:gd name="connsiteY18977" fmla="*/ 957002 h 5704395"/>
                <a:gd name="connsiteX18978" fmla="*/ 995418 w 5719680"/>
                <a:gd name="connsiteY18978" fmla="*/ 965558 h 5704395"/>
                <a:gd name="connsiteX18979" fmla="*/ 1005581 w 5719680"/>
                <a:gd name="connsiteY18979" fmla="*/ 968726 h 5704395"/>
                <a:gd name="connsiteX18980" fmla="*/ 1138028 w 5719680"/>
                <a:gd name="connsiteY18980" fmla="*/ 560258 h 5704395"/>
                <a:gd name="connsiteX18981" fmla="*/ 872499 w 5719680"/>
                <a:gd name="connsiteY18981" fmla="*/ 465825 h 5704395"/>
                <a:gd name="connsiteX18982" fmla="*/ 835655 w 5719680"/>
                <a:gd name="connsiteY18982" fmla="*/ 449030 h 5704395"/>
                <a:gd name="connsiteX18983" fmla="*/ 812787 w 5719680"/>
                <a:gd name="connsiteY18983" fmla="*/ 431285 h 5704395"/>
                <a:gd name="connsiteX18984" fmla="*/ 3683743 w 5719680"/>
                <a:gd name="connsiteY18984" fmla="*/ 405617 h 5704395"/>
                <a:gd name="connsiteX18985" fmla="*/ 3688190 w 5719680"/>
                <a:gd name="connsiteY18985" fmla="*/ 407835 h 5704395"/>
                <a:gd name="connsiteX18986" fmla="*/ 3688190 w 5719680"/>
                <a:gd name="connsiteY18986" fmla="*/ 407518 h 5704395"/>
                <a:gd name="connsiteX18987" fmla="*/ 3683743 w 5719680"/>
                <a:gd name="connsiteY18987" fmla="*/ 405617 h 5704395"/>
                <a:gd name="connsiteX18988" fmla="*/ 2472980 w 5719680"/>
                <a:gd name="connsiteY18988" fmla="*/ 371076 h 5704395"/>
                <a:gd name="connsiteX18989" fmla="*/ 2365308 w 5719680"/>
                <a:gd name="connsiteY18989" fmla="*/ 392941 h 5704395"/>
                <a:gd name="connsiteX18990" fmla="*/ 2314806 w 5719680"/>
                <a:gd name="connsiteY18990" fmla="*/ 405934 h 5704395"/>
                <a:gd name="connsiteX18991" fmla="*/ 2270340 w 5719680"/>
                <a:gd name="connsiteY18991" fmla="*/ 414489 h 5704395"/>
                <a:gd name="connsiteX18992" fmla="*/ 2266846 w 5719680"/>
                <a:gd name="connsiteY18992" fmla="*/ 417658 h 5704395"/>
                <a:gd name="connsiteX18993" fmla="*/ 2265258 w 5719680"/>
                <a:gd name="connsiteY18993" fmla="*/ 422412 h 5704395"/>
                <a:gd name="connsiteX18994" fmla="*/ 2265893 w 5719680"/>
                <a:gd name="connsiteY18994" fmla="*/ 424947 h 5704395"/>
                <a:gd name="connsiteX18995" fmla="*/ 2266210 w 5719680"/>
                <a:gd name="connsiteY18995" fmla="*/ 426848 h 5704395"/>
                <a:gd name="connsiteX18996" fmla="*/ 2264622 w 5719680"/>
                <a:gd name="connsiteY18996" fmla="*/ 439841 h 5704395"/>
                <a:gd name="connsiteX18997" fmla="*/ 2257000 w 5719680"/>
                <a:gd name="connsiteY18997" fmla="*/ 479452 h 5704395"/>
                <a:gd name="connsiteX18998" fmla="*/ 2272245 w 5719680"/>
                <a:gd name="connsiteY18998" fmla="*/ 613812 h 5704395"/>
                <a:gd name="connsiteX18999" fmla="*/ 2283044 w 5719680"/>
                <a:gd name="connsiteY18999" fmla="*/ 712047 h 5704395"/>
                <a:gd name="connsiteX19000" fmla="*/ 2287491 w 5719680"/>
                <a:gd name="connsiteY19000" fmla="*/ 761799 h 5704395"/>
                <a:gd name="connsiteX19001" fmla="*/ 2312900 w 5719680"/>
                <a:gd name="connsiteY19001" fmla="*/ 765601 h 5704395"/>
                <a:gd name="connsiteX19002" fmla="*/ 2703889 w 5719680"/>
                <a:gd name="connsiteY19002" fmla="*/ 758313 h 5704395"/>
                <a:gd name="connsiteX19003" fmla="*/ 2702936 w 5719680"/>
                <a:gd name="connsiteY19003" fmla="*/ 737398 h 5704395"/>
                <a:gd name="connsiteX19004" fmla="*/ 2702301 w 5719680"/>
                <a:gd name="connsiteY19004" fmla="*/ 705709 h 5704395"/>
                <a:gd name="connsiteX19005" fmla="*/ 2707700 w 5719680"/>
                <a:gd name="connsiteY19005" fmla="*/ 648353 h 5704395"/>
                <a:gd name="connsiteX19006" fmla="*/ 2743274 w 5719680"/>
                <a:gd name="connsiteY19006" fmla="*/ 507021 h 5704395"/>
                <a:gd name="connsiteX19007" fmla="*/ 2743909 w 5719680"/>
                <a:gd name="connsiteY19007" fmla="*/ 495930 h 5704395"/>
                <a:gd name="connsiteX19008" fmla="*/ 2739780 w 5719680"/>
                <a:gd name="connsiteY19008" fmla="*/ 420193 h 5704395"/>
                <a:gd name="connsiteX19009" fmla="*/ 2736604 w 5719680"/>
                <a:gd name="connsiteY19009" fmla="*/ 379949 h 5704395"/>
                <a:gd name="connsiteX19010" fmla="*/ 2717547 w 5719680"/>
                <a:gd name="connsiteY19010" fmla="*/ 379949 h 5704395"/>
                <a:gd name="connsiteX19011" fmla="*/ 2686738 w 5719680"/>
                <a:gd name="connsiteY19011" fmla="*/ 379632 h 5704395"/>
                <a:gd name="connsiteX19012" fmla="*/ 2478698 w 5719680"/>
                <a:gd name="connsiteY19012" fmla="*/ 371076 h 5704395"/>
                <a:gd name="connsiteX19013" fmla="*/ 2472980 w 5719680"/>
                <a:gd name="connsiteY19013" fmla="*/ 371076 h 5704395"/>
                <a:gd name="connsiteX19014" fmla="*/ 4094107 w 5719680"/>
                <a:gd name="connsiteY19014" fmla="*/ 346676 h 5704395"/>
                <a:gd name="connsiteX19015" fmla="*/ 3987387 w 5719680"/>
                <a:gd name="connsiteY19015" fmla="*/ 367907 h 5704395"/>
                <a:gd name="connsiteX19016" fmla="*/ 3888290 w 5719680"/>
                <a:gd name="connsiteY19016" fmla="*/ 404983 h 5704395"/>
                <a:gd name="connsiteX19017" fmla="*/ 3692954 w 5719680"/>
                <a:gd name="connsiteY19017" fmla="*/ 550751 h 5704395"/>
                <a:gd name="connsiteX19018" fmla="*/ 3648805 w 5719680"/>
                <a:gd name="connsiteY19018" fmla="*/ 591630 h 5704395"/>
                <a:gd name="connsiteX19019" fmla="*/ 3523663 w 5719680"/>
                <a:gd name="connsiteY19019" fmla="*/ 708562 h 5704395"/>
                <a:gd name="connsiteX19020" fmla="*/ 3477609 w 5719680"/>
                <a:gd name="connsiteY19020" fmla="*/ 749757 h 5704395"/>
                <a:gd name="connsiteX19021" fmla="*/ 3446482 w 5719680"/>
                <a:gd name="connsiteY19021" fmla="*/ 773840 h 5704395"/>
                <a:gd name="connsiteX19022" fmla="*/ 3422660 w 5719680"/>
                <a:gd name="connsiteY19022" fmla="*/ 784298 h 5704395"/>
                <a:gd name="connsiteX19023" fmla="*/ 3365807 w 5719680"/>
                <a:gd name="connsiteY19023" fmla="*/ 802994 h 5704395"/>
                <a:gd name="connsiteX19024" fmla="*/ 3399792 w 5719680"/>
                <a:gd name="connsiteY19024" fmla="*/ 932284 h 5704395"/>
                <a:gd name="connsiteX19025" fmla="*/ 3650393 w 5719680"/>
                <a:gd name="connsiteY19025" fmla="*/ 926580 h 5704395"/>
                <a:gd name="connsiteX19026" fmla="*/ 3902583 w 5719680"/>
                <a:gd name="connsiteY19026" fmla="*/ 921193 h 5704395"/>
                <a:gd name="connsiteX19027" fmla="*/ 3905124 w 5719680"/>
                <a:gd name="connsiteY19027" fmla="*/ 921193 h 5704395"/>
                <a:gd name="connsiteX19028" fmla="*/ 3941967 w 5719680"/>
                <a:gd name="connsiteY19028" fmla="*/ 926580 h 5704395"/>
                <a:gd name="connsiteX19029" fmla="*/ 3963248 w 5719680"/>
                <a:gd name="connsiteY19029" fmla="*/ 878413 h 5704395"/>
                <a:gd name="connsiteX19030" fmla="*/ 3971506 w 5719680"/>
                <a:gd name="connsiteY19030" fmla="*/ 865421 h 5704395"/>
                <a:gd name="connsiteX19031" fmla="*/ 4092836 w 5719680"/>
                <a:gd name="connsiteY19031" fmla="*/ 713315 h 5704395"/>
                <a:gd name="connsiteX19032" fmla="*/ 4154454 w 5719680"/>
                <a:gd name="connsiteY19032" fmla="*/ 631241 h 5704395"/>
                <a:gd name="connsiteX19033" fmla="*/ 4173829 w 5719680"/>
                <a:gd name="connsiteY19033" fmla="*/ 614763 h 5704395"/>
                <a:gd name="connsiteX19034" fmla="*/ 4169065 w 5719680"/>
                <a:gd name="connsiteY19034" fmla="*/ 586560 h 5704395"/>
                <a:gd name="connsiteX19035" fmla="*/ 4156678 w 5719680"/>
                <a:gd name="connsiteY19035" fmla="*/ 528886 h 5704395"/>
                <a:gd name="connsiteX19036" fmla="*/ 4094107 w 5719680"/>
                <a:gd name="connsiteY19036" fmla="*/ 346676 h 5704395"/>
                <a:gd name="connsiteX19037" fmla="*/ 3086620 w 5719680"/>
                <a:gd name="connsiteY19037" fmla="*/ 301361 h 5704395"/>
                <a:gd name="connsiteX19038" fmla="*/ 3086302 w 5719680"/>
                <a:gd name="connsiteY19038" fmla="*/ 301677 h 5704395"/>
                <a:gd name="connsiteX19039" fmla="*/ 3028813 w 5719680"/>
                <a:gd name="connsiteY19039" fmla="*/ 341605 h 5704395"/>
                <a:gd name="connsiteX19040" fmla="*/ 2996734 w 5719680"/>
                <a:gd name="connsiteY19040" fmla="*/ 363787 h 5704395"/>
                <a:gd name="connsiteX19041" fmla="*/ 2985617 w 5719680"/>
                <a:gd name="connsiteY19041" fmla="*/ 371076 h 5704395"/>
                <a:gd name="connsiteX19042" fmla="*/ 2981806 w 5719680"/>
                <a:gd name="connsiteY19042" fmla="*/ 373611 h 5704395"/>
                <a:gd name="connsiteX19043" fmla="*/ 2979582 w 5719680"/>
                <a:gd name="connsiteY19043" fmla="*/ 374562 h 5704395"/>
                <a:gd name="connsiteX19044" fmla="*/ 2975136 w 5719680"/>
                <a:gd name="connsiteY19044" fmla="*/ 375512 h 5704395"/>
                <a:gd name="connsiteX19045" fmla="*/ 2973548 w 5719680"/>
                <a:gd name="connsiteY19045" fmla="*/ 375195 h 5704395"/>
                <a:gd name="connsiteX19046" fmla="*/ 2971642 w 5719680"/>
                <a:gd name="connsiteY19046" fmla="*/ 375195 h 5704395"/>
                <a:gd name="connsiteX19047" fmla="*/ 2757249 w 5719680"/>
                <a:gd name="connsiteY19047" fmla="*/ 379949 h 5704395"/>
                <a:gd name="connsiteX19048" fmla="*/ 2764872 w 5719680"/>
                <a:gd name="connsiteY19048" fmla="*/ 495930 h 5704395"/>
                <a:gd name="connsiteX19049" fmla="*/ 2763919 w 5719680"/>
                <a:gd name="connsiteY19049" fmla="*/ 510190 h 5704395"/>
                <a:gd name="connsiteX19050" fmla="*/ 2727710 w 5719680"/>
                <a:gd name="connsiteY19050" fmla="*/ 653740 h 5704395"/>
                <a:gd name="connsiteX19051" fmla="*/ 2722946 w 5719680"/>
                <a:gd name="connsiteY19051" fmla="*/ 705709 h 5704395"/>
                <a:gd name="connsiteX19052" fmla="*/ 2723899 w 5719680"/>
                <a:gd name="connsiteY19052" fmla="*/ 736448 h 5704395"/>
                <a:gd name="connsiteX19053" fmla="*/ 2728981 w 5719680"/>
                <a:gd name="connsiteY19053" fmla="*/ 841971 h 5704395"/>
                <a:gd name="connsiteX19054" fmla="*/ 3031672 w 5719680"/>
                <a:gd name="connsiteY19054" fmla="*/ 765601 h 5704395"/>
                <a:gd name="connsiteX19055" fmla="*/ 3332457 w 5719680"/>
                <a:gd name="connsiteY19055" fmla="*/ 689865 h 5704395"/>
                <a:gd name="connsiteX19056" fmla="*/ 3332774 w 5719680"/>
                <a:gd name="connsiteY19056" fmla="*/ 689865 h 5704395"/>
                <a:gd name="connsiteX19057" fmla="*/ 3343256 w 5719680"/>
                <a:gd name="connsiteY19057" fmla="*/ 686379 h 5704395"/>
                <a:gd name="connsiteX19058" fmla="*/ 3352467 w 5719680"/>
                <a:gd name="connsiteY19058" fmla="*/ 681626 h 5704395"/>
                <a:gd name="connsiteX19059" fmla="*/ 3370254 w 5719680"/>
                <a:gd name="connsiteY19059" fmla="*/ 665148 h 5704395"/>
                <a:gd name="connsiteX19060" fmla="*/ 3550978 w 5719680"/>
                <a:gd name="connsiteY19060" fmla="*/ 492127 h 5704395"/>
                <a:gd name="connsiteX19061" fmla="*/ 3584964 w 5719680"/>
                <a:gd name="connsiteY19061" fmla="*/ 459488 h 5704395"/>
                <a:gd name="connsiteX19062" fmla="*/ 3437589 w 5719680"/>
                <a:gd name="connsiteY19062" fmla="*/ 331148 h 5704395"/>
                <a:gd name="connsiteX19063" fmla="*/ 3390264 w 5719680"/>
                <a:gd name="connsiteY19063" fmla="*/ 305163 h 5704395"/>
                <a:gd name="connsiteX19064" fmla="*/ 3372794 w 5719680"/>
                <a:gd name="connsiteY19064" fmla="*/ 301994 h 5704395"/>
                <a:gd name="connsiteX19065" fmla="*/ 3368030 w 5719680"/>
                <a:gd name="connsiteY19065" fmla="*/ 301361 h 5704395"/>
                <a:gd name="connsiteX19066" fmla="*/ 3366760 w 5719680"/>
                <a:gd name="connsiteY19066" fmla="*/ 301361 h 5704395"/>
                <a:gd name="connsiteX19067" fmla="*/ 3366442 w 5719680"/>
                <a:gd name="connsiteY19067" fmla="*/ 301361 h 5704395"/>
                <a:gd name="connsiteX19068" fmla="*/ 3122193 w 5719680"/>
                <a:gd name="connsiteY19068" fmla="*/ 301361 h 5704395"/>
                <a:gd name="connsiteX19069" fmla="*/ 3086620 w 5719680"/>
                <a:gd name="connsiteY19069" fmla="*/ 301361 h 5704395"/>
                <a:gd name="connsiteX19070" fmla="*/ 4073144 w 5719680"/>
                <a:gd name="connsiteY19070" fmla="*/ 282347 h 5704395"/>
                <a:gd name="connsiteX19071" fmla="*/ 4043288 w 5719680"/>
                <a:gd name="connsiteY19071" fmla="*/ 283932 h 5704395"/>
                <a:gd name="connsiteX19072" fmla="*/ 3930216 w 5719680"/>
                <a:gd name="connsiteY19072" fmla="*/ 302628 h 5704395"/>
                <a:gd name="connsiteX19073" fmla="*/ 3887337 w 5719680"/>
                <a:gd name="connsiteY19073" fmla="*/ 326395 h 5704395"/>
                <a:gd name="connsiteX19074" fmla="*/ 3833024 w 5719680"/>
                <a:gd name="connsiteY19074" fmla="*/ 367590 h 5704395"/>
                <a:gd name="connsiteX19075" fmla="*/ 3699306 w 5719680"/>
                <a:gd name="connsiteY19075" fmla="*/ 484522 h 5704395"/>
                <a:gd name="connsiteX19076" fmla="*/ 3454422 w 5719680"/>
                <a:gd name="connsiteY19076" fmla="*/ 711413 h 5704395"/>
                <a:gd name="connsiteX19077" fmla="*/ 3423614 w 5719680"/>
                <a:gd name="connsiteY19077" fmla="*/ 736131 h 5704395"/>
                <a:gd name="connsiteX19078" fmla="*/ 3420755 w 5719680"/>
                <a:gd name="connsiteY19078" fmla="*/ 737398 h 5704395"/>
                <a:gd name="connsiteX19079" fmla="*/ 3414085 w 5719680"/>
                <a:gd name="connsiteY19079" fmla="*/ 740250 h 5704395"/>
                <a:gd name="connsiteX19080" fmla="*/ 3392804 w 5719680"/>
                <a:gd name="connsiteY19080" fmla="*/ 747856 h 5704395"/>
                <a:gd name="connsiteX19081" fmla="*/ 3354372 w 5719680"/>
                <a:gd name="connsiteY19081" fmla="*/ 760214 h 5704395"/>
                <a:gd name="connsiteX19082" fmla="*/ 3364536 w 5719680"/>
                <a:gd name="connsiteY19082" fmla="*/ 797924 h 5704395"/>
                <a:gd name="connsiteX19083" fmla="*/ 3420755 w 5719680"/>
                <a:gd name="connsiteY19083" fmla="*/ 779544 h 5704395"/>
                <a:gd name="connsiteX19084" fmla="*/ 3443624 w 5719680"/>
                <a:gd name="connsiteY19084" fmla="*/ 769404 h 5704395"/>
                <a:gd name="connsiteX19085" fmla="*/ 3474432 w 5719680"/>
                <a:gd name="connsiteY19085" fmla="*/ 745637 h 5704395"/>
                <a:gd name="connsiteX19086" fmla="*/ 3520170 w 5719680"/>
                <a:gd name="connsiteY19086" fmla="*/ 704759 h 5704395"/>
                <a:gd name="connsiteX19087" fmla="*/ 3645312 w 5719680"/>
                <a:gd name="connsiteY19087" fmla="*/ 587827 h 5704395"/>
                <a:gd name="connsiteX19088" fmla="*/ 3689460 w 5719680"/>
                <a:gd name="connsiteY19088" fmla="*/ 546632 h 5704395"/>
                <a:gd name="connsiteX19089" fmla="*/ 3885749 w 5719680"/>
                <a:gd name="connsiteY19089" fmla="*/ 400230 h 5704395"/>
                <a:gd name="connsiteX19090" fmla="*/ 3985799 w 5719680"/>
                <a:gd name="connsiteY19090" fmla="*/ 362837 h 5704395"/>
                <a:gd name="connsiteX19091" fmla="*/ 4092201 w 5719680"/>
                <a:gd name="connsiteY19091" fmla="*/ 341605 h 5704395"/>
                <a:gd name="connsiteX19092" fmla="*/ 4089660 w 5719680"/>
                <a:gd name="connsiteY19092" fmla="*/ 335268 h 5704395"/>
                <a:gd name="connsiteX19093" fmla="*/ 4073144 w 5719680"/>
                <a:gd name="connsiteY19093" fmla="*/ 282347 h 5704395"/>
                <a:gd name="connsiteX19094" fmla="*/ 4066474 w 5719680"/>
                <a:gd name="connsiteY19094" fmla="*/ 250025 h 5704395"/>
                <a:gd name="connsiteX19095" fmla="*/ 3946096 w 5719680"/>
                <a:gd name="connsiteY19095" fmla="*/ 251292 h 5704395"/>
                <a:gd name="connsiteX19096" fmla="*/ 3849858 w 5719680"/>
                <a:gd name="connsiteY19096" fmla="*/ 265552 h 5704395"/>
                <a:gd name="connsiteX19097" fmla="*/ 3810156 w 5719680"/>
                <a:gd name="connsiteY19097" fmla="*/ 295023 h 5704395"/>
                <a:gd name="connsiteX19098" fmla="*/ 3781252 w 5719680"/>
                <a:gd name="connsiteY19098" fmla="*/ 327662 h 5704395"/>
                <a:gd name="connsiteX19099" fmla="*/ 3764101 w 5719680"/>
                <a:gd name="connsiteY19099" fmla="*/ 348260 h 5704395"/>
                <a:gd name="connsiteX19100" fmla="*/ 3731386 w 5719680"/>
                <a:gd name="connsiteY19100" fmla="*/ 383118 h 5704395"/>
                <a:gd name="connsiteX19101" fmla="*/ 3718999 w 5719680"/>
                <a:gd name="connsiteY19101" fmla="*/ 395793 h 5704395"/>
                <a:gd name="connsiteX19102" fmla="*/ 3716458 w 5719680"/>
                <a:gd name="connsiteY19102" fmla="*/ 398645 h 5704395"/>
                <a:gd name="connsiteX19103" fmla="*/ 3715823 w 5719680"/>
                <a:gd name="connsiteY19103" fmla="*/ 399279 h 5704395"/>
                <a:gd name="connsiteX19104" fmla="*/ 3713600 w 5719680"/>
                <a:gd name="connsiteY19104" fmla="*/ 402131 h 5704395"/>
                <a:gd name="connsiteX19105" fmla="*/ 3695495 w 5719680"/>
                <a:gd name="connsiteY19105" fmla="*/ 419877 h 5704395"/>
                <a:gd name="connsiteX19106" fmla="*/ 3518264 w 5719680"/>
                <a:gd name="connsiteY19106" fmla="*/ 590679 h 5704395"/>
                <a:gd name="connsiteX19107" fmla="*/ 3427742 w 5719680"/>
                <a:gd name="connsiteY19107" fmla="*/ 677190 h 5704395"/>
                <a:gd name="connsiteX19108" fmla="*/ 3397886 w 5719680"/>
                <a:gd name="connsiteY19108" fmla="*/ 705393 h 5704395"/>
                <a:gd name="connsiteX19109" fmla="*/ 3388993 w 5719680"/>
                <a:gd name="connsiteY19109" fmla="*/ 713949 h 5704395"/>
                <a:gd name="connsiteX19110" fmla="*/ 3383911 w 5719680"/>
                <a:gd name="connsiteY19110" fmla="*/ 718385 h 5704395"/>
                <a:gd name="connsiteX19111" fmla="*/ 3358184 w 5719680"/>
                <a:gd name="connsiteY19111" fmla="*/ 732328 h 5704395"/>
                <a:gd name="connsiteX19112" fmla="*/ 3349926 w 5719680"/>
                <a:gd name="connsiteY19112" fmla="*/ 735180 h 5704395"/>
                <a:gd name="connsiteX19113" fmla="*/ 3349608 w 5719680"/>
                <a:gd name="connsiteY19113" fmla="*/ 735497 h 5704395"/>
                <a:gd name="connsiteX19114" fmla="*/ 3347702 w 5719680"/>
                <a:gd name="connsiteY19114" fmla="*/ 735814 h 5704395"/>
                <a:gd name="connsiteX19115" fmla="*/ 3352784 w 5719680"/>
                <a:gd name="connsiteY19115" fmla="*/ 755144 h 5704395"/>
                <a:gd name="connsiteX19116" fmla="*/ 3391216 w 5719680"/>
                <a:gd name="connsiteY19116" fmla="*/ 742785 h 5704395"/>
                <a:gd name="connsiteX19117" fmla="*/ 3412179 w 5719680"/>
                <a:gd name="connsiteY19117" fmla="*/ 735497 h 5704395"/>
                <a:gd name="connsiteX19118" fmla="*/ 3418532 w 5719680"/>
                <a:gd name="connsiteY19118" fmla="*/ 732645 h 5704395"/>
                <a:gd name="connsiteX19119" fmla="*/ 3420437 w 5719680"/>
                <a:gd name="connsiteY19119" fmla="*/ 732011 h 5704395"/>
                <a:gd name="connsiteX19120" fmla="*/ 3420755 w 5719680"/>
                <a:gd name="connsiteY19120" fmla="*/ 731694 h 5704395"/>
                <a:gd name="connsiteX19121" fmla="*/ 3421072 w 5719680"/>
                <a:gd name="connsiteY19121" fmla="*/ 731694 h 5704395"/>
                <a:gd name="connsiteX19122" fmla="*/ 3450929 w 5719680"/>
                <a:gd name="connsiteY19122" fmla="*/ 707611 h 5704395"/>
                <a:gd name="connsiteX19123" fmla="*/ 3695813 w 5719680"/>
                <a:gd name="connsiteY19123" fmla="*/ 480719 h 5704395"/>
                <a:gd name="connsiteX19124" fmla="*/ 3829530 w 5719680"/>
                <a:gd name="connsiteY19124" fmla="*/ 363471 h 5704395"/>
                <a:gd name="connsiteX19125" fmla="*/ 3884478 w 5719680"/>
                <a:gd name="connsiteY19125" fmla="*/ 321958 h 5704395"/>
                <a:gd name="connsiteX19126" fmla="*/ 3928310 w 5719680"/>
                <a:gd name="connsiteY19126" fmla="*/ 297875 h 5704395"/>
                <a:gd name="connsiteX19127" fmla="*/ 4042970 w 5719680"/>
                <a:gd name="connsiteY19127" fmla="*/ 278545 h 5704395"/>
                <a:gd name="connsiteX19128" fmla="*/ 4071874 w 5719680"/>
                <a:gd name="connsiteY19128" fmla="*/ 276960 h 5704395"/>
                <a:gd name="connsiteX19129" fmla="*/ 4066474 w 5719680"/>
                <a:gd name="connsiteY19129" fmla="*/ 250025 h 5704395"/>
                <a:gd name="connsiteX19130" fmla="*/ 1418168 w 5719680"/>
                <a:gd name="connsiteY19130" fmla="*/ 209146 h 5704395"/>
                <a:gd name="connsiteX19131" fmla="*/ 1346069 w 5719680"/>
                <a:gd name="connsiteY19131" fmla="*/ 349211 h 5704395"/>
                <a:gd name="connsiteX19132" fmla="*/ 1321295 w 5719680"/>
                <a:gd name="connsiteY19132" fmla="*/ 416074 h 5704395"/>
                <a:gd name="connsiteX19133" fmla="*/ 1300332 w 5719680"/>
                <a:gd name="connsiteY19133" fmla="*/ 452199 h 5704395"/>
                <a:gd name="connsiteX19134" fmla="*/ 1279051 w 5719680"/>
                <a:gd name="connsiteY19134" fmla="*/ 559307 h 5704395"/>
                <a:gd name="connsiteX19135" fmla="*/ 1428332 w 5719680"/>
                <a:gd name="connsiteY19135" fmla="*/ 647085 h 5704395"/>
                <a:gd name="connsiteX19136" fmla="*/ 1696085 w 5719680"/>
                <a:gd name="connsiteY19136" fmla="*/ 757362 h 5704395"/>
                <a:gd name="connsiteX19137" fmla="*/ 1920959 w 5719680"/>
                <a:gd name="connsiteY19137" fmla="*/ 824226 h 5704395"/>
                <a:gd name="connsiteX19138" fmla="*/ 2051182 w 5719680"/>
                <a:gd name="connsiteY19138" fmla="*/ 859083 h 5704395"/>
                <a:gd name="connsiteX19139" fmla="*/ 2074686 w 5719680"/>
                <a:gd name="connsiteY19139" fmla="*/ 777643 h 5704395"/>
                <a:gd name="connsiteX19140" fmla="*/ 2075639 w 5719680"/>
                <a:gd name="connsiteY19140" fmla="*/ 776059 h 5704395"/>
                <a:gd name="connsiteX19141" fmla="*/ 2108672 w 5719680"/>
                <a:gd name="connsiteY19141" fmla="*/ 751024 h 5704395"/>
                <a:gd name="connsiteX19142" fmla="*/ 2154091 w 5719680"/>
                <a:gd name="connsiteY19142" fmla="*/ 745004 h 5704395"/>
                <a:gd name="connsiteX19143" fmla="*/ 2246836 w 5719680"/>
                <a:gd name="connsiteY19143" fmla="*/ 755461 h 5704395"/>
                <a:gd name="connsiteX19144" fmla="*/ 2266528 w 5719680"/>
                <a:gd name="connsiteY19144" fmla="*/ 758313 h 5704395"/>
                <a:gd name="connsiteX19145" fmla="*/ 2262399 w 5719680"/>
                <a:gd name="connsiteY19145" fmla="*/ 713949 h 5704395"/>
                <a:gd name="connsiteX19146" fmla="*/ 2236672 w 5719680"/>
                <a:gd name="connsiteY19146" fmla="*/ 484522 h 5704395"/>
                <a:gd name="connsiteX19147" fmla="*/ 2204275 w 5719680"/>
                <a:gd name="connsiteY19147" fmla="*/ 460438 h 5704395"/>
                <a:gd name="connsiteX19148" fmla="*/ 2175372 w 5719680"/>
                <a:gd name="connsiteY19148" fmla="*/ 422095 h 5704395"/>
                <a:gd name="connsiteX19149" fmla="*/ 2087073 w 5719680"/>
                <a:gd name="connsiteY19149" fmla="*/ 263017 h 5704395"/>
                <a:gd name="connsiteX19150" fmla="*/ 2030220 w 5719680"/>
                <a:gd name="connsiteY19150" fmla="*/ 227526 h 5704395"/>
                <a:gd name="connsiteX19151" fmla="*/ 2007986 w 5719680"/>
                <a:gd name="connsiteY19151" fmla="*/ 230695 h 5704395"/>
                <a:gd name="connsiteX19152" fmla="*/ 2001634 w 5719680"/>
                <a:gd name="connsiteY19152" fmla="*/ 232913 h 5704395"/>
                <a:gd name="connsiteX19153" fmla="*/ 2000046 w 5719680"/>
                <a:gd name="connsiteY19153" fmla="*/ 233863 h 5704395"/>
                <a:gd name="connsiteX19154" fmla="*/ 1999728 w 5719680"/>
                <a:gd name="connsiteY19154" fmla="*/ 233863 h 5704395"/>
                <a:gd name="connsiteX19155" fmla="*/ 1890785 w 5719680"/>
                <a:gd name="connsiteY19155" fmla="*/ 295656 h 5704395"/>
                <a:gd name="connsiteX19156" fmla="*/ 1801217 w 5719680"/>
                <a:gd name="connsiteY19156" fmla="*/ 323543 h 5704395"/>
                <a:gd name="connsiteX19157" fmla="*/ 1789465 w 5719680"/>
                <a:gd name="connsiteY19157" fmla="*/ 323226 h 5704395"/>
                <a:gd name="connsiteX19158" fmla="*/ 1562367 w 5719680"/>
                <a:gd name="connsiteY19158" fmla="*/ 264918 h 5704395"/>
                <a:gd name="connsiteX19159" fmla="*/ 1418168 w 5719680"/>
                <a:gd name="connsiteY19159" fmla="*/ 209146 h 5704395"/>
                <a:gd name="connsiteX19160" fmla="*/ 3414085 w 5719680"/>
                <a:gd name="connsiteY19160" fmla="*/ 53871 h 5704395"/>
                <a:gd name="connsiteX19161" fmla="*/ 3365172 w 5719680"/>
                <a:gd name="connsiteY19161" fmla="*/ 71617 h 5704395"/>
                <a:gd name="connsiteX19162" fmla="*/ 3364854 w 5719680"/>
                <a:gd name="connsiteY19162" fmla="*/ 71617 h 5704395"/>
                <a:gd name="connsiteX19163" fmla="*/ 3125052 w 5719680"/>
                <a:gd name="connsiteY19163" fmla="*/ 76687 h 5704395"/>
                <a:gd name="connsiteX19164" fmla="*/ 3132674 w 5719680"/>
                <a:gd name="connsiteY19164" fmla="*/ 280446 h 5704395"/>
                <a:gd name="connsiteX19165" fmla="*/ 3366442 w 5719680"/>
                <a:gd name="connsiteY19165" fmla="*/ 280446 h 5704395"/>
                <a:gd name="connsiteX19166" fmla="*/ 3452199 w 5719680"/>
                <a:gd name="connsiteY19166" fmla="*/ 316254 h 5704395"/>
                <a:gd name="connsiteX19167" fmla="*/ 3541132 w 5719680"/>
                <a:gd name="connsiteY19167" fmla="*/ 394842 h 5704395"/>
                <a:gd name="connsiteX19168" fmla="*/ 3599892 w 5719680"/>
                <a:gd name="connsiteY19168" fmla="*/ 444911 h 5704395"/>
                <a:gd name="connsiteX19169" fmla="*/ 3641182 w 5719680"/>
                <a:gd name="connsiteY19169" fmla="*/ 405300 h 5704395"/>
                <a:gd name="connsiteX19170" fmla="*/ 3669133 w 5719680"/>
                <a:gd name="connsiteY19170" fmla="*/ 378047 h 5704395"/>
                <a:gd name="connsiteX19171" fmla="*/ 3676756 w 5719680"/>
                <a:gd name="connsiteY19171" fmla="*/ 370759 h 5704395"/>
                <a:gd name="connsiteX19172" fmla="*/ 3677391 w 5719680"/>
                <a:gd name="connsiteY19172" fmla="*/ 370125 h 5704395"/>
                <a:gd name="connsiteX19173" fmla="*/ 3682473 w 5719680"/>
                <a:gd name="connsiteY19173" fmla="*/ 364104 h 5704395"/>
                <a:gd name="connsiteX19174" fmla="*/ 3713917 w 5719680"/>
                <a:gd name="connsiteY19174" fmla="*/ 331148 h 5704395"/>
                <a:gd name="connsiteX19175" fmla="*/ 3730116 w 5719680"/>
                <a:gd name="connsiteY19175" fmla="*/ 313719 h 5704395"/>
                <a:gd name="connsiteX19176" fmla="*/ 3673262 w 5719680"/>
                <a:gd name="connsiteY19176" fmla="*/ 80173 h 5704395"/>
                <a:gd name="connsiteX19177" fmla="*/ 3672944 w 5719680"/>
                <a:gd name="connsiteY19177" fmla="*/ 57357 h 5704395"/>
                <a:gd name="connsiteX19178" fmla="*/ 3461728 w 5719680"/>
                <a:gd name="connsiteY19178" fmla="*/ 54505 h 5704395"/>
                <a:gd name="connsiteX19179" fmla="*/ 3458234 w 5719680"/>
                <a:gd name="connsiteY19179" fmla="*/ 54822 h 5704395"/>
                <a:gd name="connsiteX19180" fmla="*/ 3458234 w 5719680"/>
                <a:gd name="connsiteY19180" fmla="*/ 54505 h 5704395"/>
                <a:gd name="connsiteX19181" fmla="*/ 3414085 w 5719680"/>
                <a:gd name="connsiteY19181" fmla="*/ 53871 h 5704395"/>
                <a:gd name="connsiteX19182" fmla="*/ 3341032 w 5719680"/>
                <a:gd name="connsiteY19182" fmla="*/ 0 h 5704395"/>
                <a:gd name="connsiteX19183" fmla="*/ 3345479 w 5719680"/>
                <a:gd name="connsiteY19183" fmla="*/ 0 h 5704395"/>
                <a:gd name="connsiteX19184" fmla="*/ 3351832 w 5719680"/>
                <a:gd name="connsiteY19184" fmla="*/ 66863 h 5704395"/>
                <a:gd name="connsiteX19185" fmla="*/ 3347385 w 5719680"/>
                <a:gd name="connsiteY19185" fmla="*/ 67497 h 5704395"/>
                <a:gd name="connsiteX19186" fmla="*/ 3341032 w 5719680"/>
                <a:gd name="connsiteY19186" fmla="*/ 0 h 5704395"/>
                <a:gd name="connsiteX19187" fmla="*/ 3287355 w 5719680"/>
                <a:gd name="connsiteY19187" fmla="*/ 0 h 5704395"/>
                <a:gd name="connsiteX19188" fmla="*/ 3291802 w 5719680"/>
                <a:gd name="connsiteY19188" fmla="*/ 0 h 5704395"/>
                <a:gd name="connsiteX19189" fmla="*/ 3294342 w 5719680"/>
                <a:gd name="connsiteY19189" fmla="*/ 68448 h 5704395"/>
                <a:gd name="connsiteX19190" fmla="*/ 3290825 w 5719680"/>
                <a:gd name="connsiteY19190" fmla="*/ 68718 h 5704395"/>
                <a:gd name="connsiteX19191" fmla="*/ 3290213 w 5719680"/>
                <a:gd name="connsiteY19191" fmla="*/ 68731 h 5704395"/>
                <a:gd name="connsiteX19192" fmla="*/ 3288561 w 5719680"/>
                <a:gd name="connsiteY19192" fmla="*/ 29010 h 5704395"/>
                <a:gd name="connsiteX19193" fmla="*/ 3287355 w 5719680"/>
                <a:gd name="connsiteY19193" fmla="*/ 0 h 5704395"/>
                <a:gd name="connsiteX19194" fmla="*/ 708608 w 5719680"/>
                <a:gd name="connsiteY19194" fmla="*/ 0 h 5704395"/>
                <a:gd name="connsiteX19195" fmla="*/ 758156 w 5719680"/>
                <a:gd name="connsiteY19195" fmla="*/ 0 h 5704395"/>
                <a:gd name="connsiteX19196" fmla="*/ 822633 w 5719680"/>
                <a:gd name="connsiteY19196" fmla="*/ 314036 h 5704395"/>
                <a:gd name="connsiteX19197" fmla="*/ 822951 w 5719680"/>
                <a:gd name="connsiteY19197" fmla="*/ 314670 h 5704395"/>
                <a:gd name="connsiteX19198" fmla="*/ 824539 w 5719680"/>
                <a:gd name="connsiteY19198" fmla="*/ 323543 h 5704395"/>
                <a:gd name="connsiteX19199" fmla="*/ 831844 w 5719680"/>
                <a:gd name="connsiteY19199" fmla="*/ 358083 h 5704395"/>
                <a:gd name="connsiteX19200" fmla="*/ 842325 w 5719680"/>
                <a:gd name="connsiteY19200" fmla="*/ 390089 h 5704395"/>
                <a:gd name="connsiteX19201" fmla="*/ 860430 w 5719680"/>
                <a:gd name="connsiteY19201" fmla="*/ 407835 h 5704395"/>
                <a:gd name="connsiteX19202" fmla="*/ 889333 w 5719680"/>
                <a:gd name="connsiteY19202" fmla="*/ 420510 h 5704395"/>
                <a:gd name="connsiteX19203" fmla="*/ 1239667 w 5719680"/>
                <a:gd name="connsiteY19203" fmla="*/ 544097 h 5704395"/>
                <a:gd name="connsiteX19204" fmla="*/ 1259359 w 5719680"/>
                <a:gd name="connsiteY19204" fmla="*/ 551068 h 5704395"/>
                <a:gd name="connsiteX19205" fmla="*/ 1280639 w 5719680"/>
                <a:gd name="connsiteY19205" fmla="*/ 445228 h 5704395"/>
                <a:gd name="connsiteX19206" fmla="*/ 1281275 w 5719680"/>
                <a:gd name="connsiteY19206" fmla="*/ 443960 h 5704395"/>
                <a:gd name="connsiteX19207" fmla="*/ 1303508 w 5719680"/>
                <a:gd name="connsiteY19207" fmla="*/ 405300 h 5704395"/>
                <a:gd name="connsiteX19208" fmla="*/ 1319389 w 5719680"/>
                <a:gd name="connsiteY19208" fmla="*/ 366639 h 5704395"/>
                <a:gd name="connsiteX19209" fmla="*/ 1326376 w 5719680"/>
                <a:gd name="connsiteY19209" fmla="*/ 342873 h 5704395"/>
                <a:gd name="connsiteX19210" fmla="*/ 1326376 w 5719680"/>
                <a:gd name="connsiteY19210" fmla="*/ 341605 h 5704395"/>
                <a:gd name="connsiteX19211" fmla="*/ 1402287 w 5719680"/>
                <a:gd name="connsiteY19211" fmla="*/ 195203 h 5704395"/>
                <a:gd name="connsiteX19212" fmla="*/ 1394664 w 5719680"/>
                <a:gd name="connsiteY19212" fmla="*/ 18696 h 5704395"/>
                <a:gd name="connsiteX19213" fmla="*/ 1378148 w 5719680"/>
                <a:gd name="connsiteY19213" fmla="*/ 0 h 5704395"/>
                <a:gd name="connsiteX19214" fmla="*/ 1406099 w 5719680"/>
                <a:gd name="connsiteY19214" fmla="*/ 0 h 5704395"/>
                <a:gd name="connsiteX19215" fmla="*/ 1409593 w 5719680"/>
                <a:gd name="connsiteY19215" fmla="*/ 4120 h 5704395"/>
                <a:gd name="connsiteX19216" fmla="*/ 1468670 w 5719680"/>
                <a:gd name="connsiteY19216" fmla="*/ 0 h 5704395"/>
                <a:gd name="connsiteX19217" fmla="*/ 1595717 w 5719680"/>
                <a:gd name="connsiteY19217" fmla="*/ 0 h 5704395"/>
                <a:gd name="connsiteX19218" fmla="*/ 1415945 w 5719680"/>
                <a:gd name="connsiteY19218" fmla="*/ 24717 h 5704395"/>
                <a:gd name="connsiteX19219" fmla="*/ 1422615 w 5719680"/>
                <a:gd name="connsiteY19219" fmla="*/ 188231 h 5704395"/>
                <a:gd name="connsiteX19220" fmla="*/ 1430873 w 5719680"/>
                <a:gd name="connsiteY19220" fmla="*/ 192351 h 5704395"/>
                <a:gd name="connsiteX19221" fmla="*/ 1568402 w 5719680"/>
                <a:gd name="connsiteY19221" fmla="*/ 245271 h 5704395"/>
                <a:gd name="connsiteX19222" fmla="*/ 1711330 w 5719680"/>
                <a:gd name="connsiteY19222" fmla="*/ 286150 h 5704395"/>
                <a:gd name="connsiteX19223" fmla="*/ 1719906 w 5719680"/>
                <a:gd name="connsiteY19223" fmla="*/ 255095 h 5704395"/>
                <a:gd name="connsiteX19224" fmla="*/ 1731658 w 5719680"/>
                <a:gd name="connsiteY19224" fmla="*/ 201224 h 5704395"/>
                <a:gd name="connsiteX19225" fmla="*/ 1744045 w 5719680"/>
                <a:gd name="connsiteY19225" fmla="*/ 152423 h 5704395"/>
                <a:gd name="connsiteX19226" fmla="*/ 1754844 w 5719680"/>
                <a:gd name="connsiteY19226" fmla="*/ 139431 h 5704395"/>
                <a:gd name="connsiteX19227" fmla="*/ 1832978 w 5719680"/>
                <a:gd name="connsiteY19227" fmla="*/ 84926 h 5704395"/>
                <a:gd name="connsiteX19228" fmla="*/ 1871728 w 5719680"/>
                <a:gd name="connsiteY19228" fmla="*/ 61159 h 5704395"/>
                <a:gd name="connsiteX19229" fmla="*/ 1891420 w 5719680"/>
                <a:gd name="connsiteY19229" fmla="*/ 49435 h 5704395"/>
                <a:gd name="connsiteX19230" fmla="*/ 1902537 w 5719680"/>
                <a:gd name="connsiteY19230" fmla="*/ 67180 h 5704395"/>
                <a:gd name="connsiteX19231" fmla="*/ 1826626 w 5719680"/>
                <a:gd name="connsiteY19231" fmla="*/ 113446 h 5704395"/>
                <a:gd name="connsiteX19232" fmla="*/ 1782795 w 5719680"/>
                <a:gd name="connsiteY19232" fmla="*/ 143550 h 5704395"/>
                <a:gd name="connsiteX19233" fmla="*/ 1768184 w 5719680"/>
                <a:gd name="connsiteY19233" fmla="*/ 155275 h 5704395"/>
                <a:gd name="connsiteX19234" fmla="*/ 1764373 w 5719680"/>
                <a:gd name="connsiteY19234" fmla="*/ 159078 h 5704395"/>
                <a:gd name="connsiteX19235" fmla="*/ 1763420 w 5719680"/>
                <a:gd name="connsiteY19235" fmla="*/ 160028 h 5704395"/>
                <a:gd name="connsiteX19236" fmla="*/ 1752303 w 5719680"/>
                <a:gd name="connsiteY19236" fmla="*/ 202175 h 5704395"/>
                <a:gd name="connsiteX19237" fmla="*/ 1740234 w 5719680"/>
                <a:gd name="connsiteY19237" fmla="*/ 260482 h 5704395"/>
                <a:gd name="connsiteX19238" fmla="*/ 1731658 w 5719680"/>
                <a:gd name="connsiteY19238" fmla="*/ 291537 h 5704395"/>
                <a:gd name="connsiteX19239" fmla="*/ 1790418 w 5719680"/>
                <a:gd name="connsiteY19239" fmla="*/ 302311 h 5704395"/>
                <a:gd name="connsiteX19240" fmla="*/ 1801217 w 5719680"/>
                <a:gd name="connsiteY19240" fmla="*/ 302628 h 5704395"/>
                <a:gd name="connsiteX19241" fmla="*/ 1880939 w 5719680"/>
                <a:gd name="connsiteY19241" fmla="*/ 277594 h 5704395"/>
                <a:gd name="connsiteX19242" fmla="*/ 1989564 w 5719680"/>
                <a:gd name="connsiteY19242" fmla="*/ 215801 h 5704395"/>
                <a:gd name="connsiteX19243" fmla="*/ 1989882 w 5719680"/>
                <a:gd name="connsiteY19243" fmla="*/ 215484 h 5704395"/>
                <a:gd name="connsiteX19244" fmla="*/ 1990200 w 5719680"/>
                <a:gd name="connsiteY19244" fmla="*/ 215484 h 5704395"/>
                <a:gd name="connsiteX19245" fmla="*/ 2030220 w 5719680"/>
                <a:gd name="connsiteY19245" fmla="*/ 206611 h 5704395"/>
                <a:gd name="connsiteX19246" fmla="*/ 2105178 w 5719680"/>
                <a:gd name="connsiteY19246" fmla="*/ 252877 h 5704395"/>
                <a:gd name="connsiteX19247" fmla="*/ 2193793 w 5719680"/>
                <a:gd name="connsiteY19247" fmla="*/ 412271 h 5704395"/>
                <a:gd name="connsiteX19248" fmla="*/ 2195382 w 5719680"/>
                <a:gd name="connsiteY19248" fmla="*/ 415123 h 5704395"/>
                <a:gd name="connsiteX19249" fmla="*/ 2219203 w 5719680"/>
                <a:gd name="connsiteY19249" fmla="*/ 445861 h 5704395"/>
                <a:gd name="connsiteX19250" fmla="*/ 2239530 w 5719680"/>
                <a:gd name="connsiteY19250" fmla="*/ 461072 h 5704395"/>
                <a:gd name="connsiteX19251" fmla="*/ 2240801 w 5719680"/>
                <a:gd name="connsiteY19251" fmla="*/ 453784 h 5704395"/>
                <a:gd name="connsiteX19252" fmla="*/ 2243977 w 5719680"/>
                <a:gd name="connsiteY19252" fmla="*/ 436355 h 5704395"/>
                <a:gd name="connsiteX19253" fmla="*/ 2245248 w 5719680"/>
                <a:gd name="connsiteY19253" fmla="*/ 429066 h 5704395"/>
                <a:gd name="connsiteX19254" fmla="*/ 2244612 w 5719680"/>
                <a:gd name="connsiteY19254" fmla="*/ 426848 h 5704395"/>
                <a:gd name="connsiteX19255" fmla="*/ 2244295 w 5719680"/>
                <a:gd name="connsiteY19255" fmla="*/ 423996 h 5704395"/>
                <a:gd name="connsiteX19256" fmla="*/ 2248424 w 5719680"/>
                <a:gd name="connsiteY19256" fmla="*/ 407835 h 5704395"/>
                <a:gd name="connsiteX19257" fmla="*/ 2266846 w 5719680"/>
                <a:gd name="connsiteY19257" fmla="*/ 393892 h 5704395"/>
                <a:gd name="connsiteX19258" fmla="*/ 2310677 w 5719680"/>
                <a:gd name="connsiteY19258" fmla="*/ 385653 h 5704395"/>
                <a:gd name="connsiteX19259" fmla="*/ 2357367 w 5719680"/>
                <a:gd name="connsiteY19259" fmla="*/ 373928 h 5704395"/>
                <a:gd name="connsiteX19260" fmla="*/ 2458688 w 5719680"/>
                <a:gd name="connsiteY19260" fmla="*/ 351429 h 5704395"/>
                <a:gd name="connsiteX19261" fmla="*/ 2461864 w 5719680"/>
                <a:gd name="connsiteY19261" fmla="*/ 187915 h 5704395"/>
                <a:gd name="connsiteX19262" fmla="*/ 2410409 w 5719680"/>
                <a:gd name="connsiteY19262" fmla="*/ 87144 h 5704395"/>
                <a:gd name="connsiteX19263" fmla="*/ 2363720 w 5719680"/>
                <a:gd name="connsiteY19263" fmla="*/ 8873 h 5704395"/>
                <a:gd name="connsiteX19264" fmla="*/ 2358638 w 5719680"/>
                <a:gd name="connsiteY19264" fmla="*/ 0 h 5704395"/>
                <a:gd name="connsiteX19265" fmla="*/ 2382776 w 5719680"/>
                <a:gd name="connsiteY19265" fmla="*/ 0 h 5704395"/>
                <a:gd name="connsiteX19266" fmla="*/ 2428514 w 5719680"/>
                <a:gd name="connsiteY19266" fmla="*/ 76687 h 5704395"/>
                <a:gd name="connsiteX19267" fmla="*/ 2428831 w 5719680"/>
                <a:gd name="connsiteY19267" fmla="*/ 77004 h 5704395"/>
                <a:gd name="connsiteX19268" fmla="*/ 2482826 w 5719680"/>
                <a:gd name="connsiteY19268" fmla="*/ 183161 h 5704395"/>
                <a:gd name="connsiteX19269" fmla="*/ 2479650 w 5719680"/>
                <a:gd name="connsiteY19269" fmla="*/ 350161 h 5704395"/>
                <a:gd name="connsiteX19270" fmla="*/ 2687690 w 5719680"/>
                <a:gd name="connsiteY19270" fmla="*/ 359034 h 5704395"/>
                <a:gd name="connsiteX19271" fmla="*/ 2717547 w 5719680"/>
                <a:gd name="connsiteY19271" fmla="*/ 359351 h 5704395"/>
                <a:gd name="connsiteX19272" fmla="*/ 2971642 w 5719680"/>
                <a:gd name="connsiteY19272" fmla="*/ 354598 h 5704395"/>
                <a:gd name="connsiteX19273" fmla="*/ 2973230 w 5719680"/>
                <a:gd name="connsiteY19273" fmla="*/ 354598 h 5704395"/>
                <a:gd name="connsiteX19274" fmla="*/ 3028813 w 5719680"/>
                <a:gd name="connsiteY19274" fmla="*/ 315937 h 5704395"/>
                <a:gd name="connsiteX19275" fmla="*/ 3062163 w 5719680"/>
                <a:gd name="connsiteY19275" fmla="*/ 292805 h 5704395"/>
                <a:gd name="connsiteX19276" fmla="*/ 3073598 w 5719680"/>
                <a:gd name="connsiteY19276" fmla="*/ 285199 h 5704395"/>
                <a:gd name="connsiteX19277" fmla="*/ 3077409 w 5719680"/>
                <a:gd name="connsiteY19277" fmla="*/ 282664 h 5704395"/>
                <a:gd name="connsiteX19278" fmla="*/ 3078997 w 5719680"/>
                <a:gd name="connsiteY19278" fmla="*/ 281713 h 5704395"/>
                <a:gd name="connsiteX19279" fmla="*/ 3084079 w 5719680"/>
                <a:gd name="connsiteY19279" fmla="*/ 280446 h 5704395"/>
                <a:gd name="connsiteX19280" fmla="*/ 3112029 w 5719680"/>
                <a:gd name="connsiteY19280" fmla="*/ 280446 h 5704395"/>
                <a:gd name="connsiteX19281" fmla="*/ 3104406 w 5719680"/>
                <a:gd name="connsiteY19281" fmla="*/ 76687 h 5704395"/>
                <a:gd name="connsiteX19282" fmla="*/ 3100913 w 5719680"/>
                <a:gd name="connsiteY19282" fmla="*/ 0 h 5704395"/>
                <a:gd name="connsiteX19283" fmla="*/ 3121876 w 5719680"/>
                <a:gd name="connsiteY19283" fmla="*/ 0 h 5704395"/>
                <a:gd name="connsiteX19284" fmla="*/ 3125052 w 5719680"/>
                <a:gd name="connsiteY19284" fmla="*/ 72251 h 5704395"/>
                <a:gd name="connsiteX19285" fmla="*/ 3174283 w 5719680"/>
                <a:gd name="connsiteY19285" fmla="*/ 71300 h 5704395"/>
                <a:gd name="connsiteX19286" fmla="*/ 3170154 w 5719680"/>
                <a:gd name="connsiteY19286" fmla="*/ 0 h 5704395"/>
                <a:gd name="connsiteX19287" fmla="*/ 3174600 w 5719680"/>
                <a:gd name="connsiteY19287" fmla="*/ 0 h 5704395"/>
                <a:gd name="connsiteX19288" fmla="*/ 3178729 w 5719680"/>
                <a:gd name="connsiteY19288" fmla="*/ 71300 h 5704395"/>
                <a:gd name="connsiteX19289" fmla="*/ 3238759 w 5719680"/>
                <a:gd name="connsiteY19289" fmla="*/ 69715 h 5704395"/>
                <a:gd name="connsiteX19290" fmla="*/ 3233995 w 5719680"/>
                <a:gd name="connsiteY19290" fmla="*/ 0 h 5704395"/>
                <a:gd name="connsiteX19291" fmla="*/ 3238442 w 5719680"/>
                <a:gd name="connsiteY19291" fmla="*/ 0 h 5704395"/>
                <a:gd name="connsiteX19292" fmla="*/ 3243206 w 5719680"/>
                <a:gd name="connsiteY19292" fmla="*/ 69715 h 5704395"/>
                <a:gd name="connsiteX19293" fmla="*/ 3272750 w 5719680"/>
                <a:gd name="connsiteY19293" fmla="*/ 69097 h 5704395"/>
                <a:gd name="connsiteX19294" fmla="*/ 3290213 w 5719680"/>
                <a:gd name="connsiteY19294" fmla="*/ 68731 h 5704395"/>
                <a:gd name="connsiteX19295" fmla="*/ 3290214 w 5719680"/>
                <a:gd name="connsiteY19295" fmla="*/ 68765 h 5704395"/>
                <a:gd name="connsiteX19296" fmla="*/ 3290825 w 5719680"/>
                <a:gd name="connsiteY19296" fmla="*/ 68718 h 5704395"/>
                <a:gd name="connsiteX19297" fmla="*/ 3294258 w 5719680"/>
                <a:gd name="connsiteY19297" fmla="*/ 68646 h 5704395"/>
                <a:gd name="connsiteX19298" fmla="*/ 3364219 w 5719680"/>
                <a:gd name="connsiteY19298" fmla="*/ 67180 h 5704395"/>
                <a:gd name="connsiteX19299" fmla="*/ 3411226 w 5719680"/>
                <a:gd name="connsiteY19299" fmla="*/ 50068 h 5704395"/>
                <a:gd name="connsiteX19300" fmla="*/ 3403286 w 5719680"/>
                <a:gd name="connsiteY19300" fmla="*/ 0 h 5704395"/>
                <a:gd name="connsiteX19301" fmla="*/ 3407732 w 5719680"/>
                <a:gd name="connsiteY19301" fmla="*/ 0 h 5704395"/>
                <a:gd name="connsiteX19302" fmla="*/ 3415673 w 5719680"/>
                <a:gd name="connsiteY19302" fmla="*/ 49435 h 5704395"/>
                <a:gd name="connsiteX19303" fmla="*/ 3457916 w 5719680"/>
                <a:gd name="connsiteY19303" fmla="*/ 50068 h 5704395"/>
                <a:gd name="connsiteX19304" fmla="*/ 3455058 w 5719680"/>
                <a:gd name="connsiteY19304" fmla="*/ 0 h 5704395"/>
                <a:gd name="connsiteX19305" fmla="*/ 3459504 w 5719680"/>
                <a:gd name="connsiteY19305" fmla="*/ 0 h 5704395"/>
                <a:gd name="connsiteX19306" fmla="*/ 3462363 w 5719680"/>
                <a:gd name="connsiteY19306" fmla="*/ 50068 h 5704395"/>
                <a:gd name="connsiteX19307" fmla="*/ 3517946 w 5719680"/>
                <a:gd name="connsiteY19307" fmla="*/ 50702 h 5704395"/>
                <a:gd name="connsiteX19308" fmla="*/ 3514135 w 5719680"/>
                <a:gd name="connsiteY19308" fmla="*/ 0 h 5704395"/>
                <a:gd name="connsiteX19309" fmla="*/ 3518582 w 5719680"/>
                <a:gd name="connsiteY19309" fmla="*/ 0 h 5704395"/>
                <a:gd name="connsiteX19310" fmla="*/ 3522393 w 5719680"/>
                <a:gd name="connsiteY19310" fmla="*/ 51019 h 5704395"/>
                <a:gd name="connsiteX19311" fmla="*/ 3563048 w 5719680"/>
                <a:gd name="connsiteY19311" fmla="*/ 51336 h 5704395"/>
                <a:gd name="connsiteX19312" fmla="*/ 3559554 w 5719680"/>
                <a:gd name="connsiteY19312" fmla="*/ 0 h 5704395"/>
                <a:gd name="connsiteX19313" fmla="*/ 3564001 w 5719680"/>
                <a:gd name="connsiteY19313" fmla="*/ 0 h 5704395"/>
                <a:gd name="connsiteX19314" fmla="*/ 3567495 w 5719680"/>
                <a:gd name="connsiteY19314" fmla="*/ 51653 h 5704395"/>
                <a:gd name="connsiteX19315" fmla="*/ 3618949 w 5719680"/>
                <a:gd name="connsiteY19315" fmla="*/ 52287 h 5704395"/>
                <a:gd name="connsiteX19316" fmla="*/ 3616090 w 5719680"/>
                <a:gd name="connsiteY19316" fmla="*/ 0 h 5704395"/>
                <a:gd name="connsiteX19317" fmla="*/ 3620537 w 5719680"/>
                <a:gd name="connsiteY19317" fmla="*/ 0 h 5704395"/>
                <a:gd name="connsiteX19318" fmla="*/ 3623396 w 5719680"/>
                <a:gd name="connsiteY19318" fmla="*/ 52287 h 5704395"/>
                <a:gd name="connsiteX19319" fmla="*/ 3672944 w 5719680"/>
                <a:gd name="connsiteY19319" fmla="*/ 52920 h 5704395"/>
                <a:gd name="connsiteX19320" fmla="*/ 3672309 w 5719680"/>
                <a:gd name="connsiteY19320" fmla="*/ 0 h 5704395"/>
                <a:gd name="connsiteX19321" fmla="*/ 3704388 w 5719680"/>
                <a:gd name="connsiteY19321" fmla="*/ 0 h 5704395"/>
                <a:gd name="connsiteX19322" fmla="*/ 3692954 w 5719680"/>
                <a:gd name="connsiteY19322" fmla="*/ 1268 h 5704395"/>
                <a:gd name="connsiteX19323" fmla="*/ 3694225 w 5719680"/>
                <a:gd name="connsiteY19323" fmla="*/ 79856 h 5704395"/>
                <a:gd name="connsiteX19324" fmla="*/ 3723446 w 5719680"/>
                <a:gd name="connsiteY19324" fmla="*/ 251292 h 5704395"/>
                <a:gd name="connsiteX19325" fmla="*/ 3742820 w 5719680"/>
                <a:gd name="connsiteY19325" fmla="*/ 294072 h 5704395"/>
                <a:gd name="connsiteX19326" fmla="*/ 3744091 w 5719680"/>
                <a:gd name="connsiteY19326" fmla="*/ 296607 h 5704395"/>
                <a:gd name="connsiteX19327" fmla="*/ 3776488 w 5719680"/>
                <a:gd name="connsiteY19327" fmla="*/ 260165 h 5704395"/>
                <a:gd name="connsiteX19328" fmla="*/ 3829848 w 5719680"/>
                <a:gd name="connsiteY19328" fmla="*/ 221505 h 5704395"/>
                <a:gd name="connsiteX19329" fmla="*/ 3944191 w 5719680"/>
                <a:gd name="connsiteY19329" fmla="*/ 202808 h 5704395"/>
                <a:gd name="connsiteX19330" fmla="*/ 4245294 w 5719680"/>
                <a:gd name="connsiteY19330" fmla="*/ 200907 h 5704395"/>
                <a:gd name="connsiteX19331" fmla="*/ 4441264 w 5719680"/>
                <a:gd name="connsiteY19331" fmla="*/ 199323 h 5704395"/>
                <a:gd name="connsiteX19332" fmla="*/ 4446346 w 5719680"/>
                <a:gd name="connsiteY19332" fmla="*/ 199323 h 5704395"/>
                <a:gd name="connsiteX19333" fmla="*/ 4455874 w 5719680"/>
                <a:gd name="connsiteY19333" fmla="*/ 173021 h 5704395"/>
                <a:gd name="connsiteX19334" fmla="*/ 4496212 w 5719680"/>
                <a:gd name="connsiteY19334" fmla="*/ 52287 h 5704395"/>
                <a:gd name="connsiteX19335" fmla="*/ 4445393 w 5719680"/>
                <a:gd name="connsiteY19335" fmla="*/ 0 h 5704395"/>
                <a:gd name="connsiteX19336" fmla="*/ 4474614 w 5719680"/>
                <a:gd name="connsiteY19336" fmla="*/ 0 h 5704395"/>
                <a:gd name="connsiteX19337" fmla="*/ 4478108 w 5719680"/>
                <a:gd name="connsiteY19337" fmla="*/ 3803 h 5704395"/>
                <a:gd name="connsiteX19338" fmla="*/ 4519398 w 5719680"/>
                <a:gd name="connsiteY19338" fmla="*/ 45315 h 5704395"/>
                <a:gd name="connsiteX19339" fmla="*/ 4519081 w 5719680"/>
                <a:gd name="connsiteY19339" fmla="*/ 45949 h 5704395"/>
                <a:gd name="connsiteX19340" fmla="*/ 4519716 w 5719680"/>
                <a:gd name="connsiteY19340" fmla="*/ 46899 h 5704395"/>
                <a:gd name="connsiteX19341" fmla="*/ 4517810 w 5719680"/>
                <a:gd name="connsiteY19341" fmla="*/ 52603 h 5704395"/>
                <a:gd name="connsiteX19342" fmla="*/ 4497800 w 5719680"/>
                <a:gd name="connsiteY19342" fmla="*/ 114397 h 5704395"/>
                <a:gd name="connsiteX19343" fmla="*/ 4492401 w 5719680"/>
                <a:gd name="connsiteY19343" fmla="*/ 130558 h 5704395"/>
                <a:gd name="connsiteX19344" fmla="*/ 4473662 w 5719680"/>
                <a:gd name="connsiteY19344" fmla="*/ 186647 h 5704395"/>
                <a:gd name="connsiteX19345" fmla="*/ 4468897 w 5719680"/>
                <a:gd name="connsiteY19345" fmla="*/ 199006 h 5704395"/>
                <a:gd name="connsiteX19346" fmla="*/ 4545126 w 5719680"/>
                <a:gd name="connsiteY19346" fmla="*/ 197421 h 5704395"/>
                <a:gd name="connsiteX19347" fmla="*/ 4614049 w 5719680"/>
                <a:gd name="connsiteY19347" fmla="*/ 189499 h 5704395"/>
                <a:gd name="connsiteX19348" fmla="*/ 4664232 w 5719680"/>
                <a:gd name="connsiteY19348" fmla="*/ 170803 h 5704395"/>
                <a:gd name="connsiteX19349" fmla="*/ 4709017 w 5719680"/>
                <a:gd name="connsiteY19349" fmla="*/ 107108 h 5704395"/>
                <a:gd name="connsiteX19350" fmla="*/ 4758883 w 5719680"/>
                <a:gd name="connsiteY19350" fmla="*/ 0 h 5704395"/>
                <a:gd name="connsiteX19351" fmla="*/ 4811926 w 5719680"/>
                <a:gd name="connsiteY19351" fmla="*/ 0 h 5704395"/>
                <a:gd name="connsiteX19352" fmla="*/ 4753166 w 5719680"/>
                <a:gd name="connsiteY19352" fmla="*/ 127389 h 5704395"/>
                <a:gd name="connsiteX19353" fmla="*/ 4696312 w 5719680"/>
                <a:gd name="connsiteY19353" fmla="*/ 206928 h 5704395"/>
                <a:gd name="connsiteX19354" fmla="*/ 4623260 w 5719680"/>
                <a:gd name="connsiteY19354" fmla="*/ 237032 h 5704395"/>
                <a:gd name="connsiteX19355" fmla="*/ 4548937 w 5719680"/>
                <a:gd name="connsiteY19355" fmla="*/ 245588 h 5704395"/>
                <a:gd name="connsiteX19356" fmla="*/ 4441582 w 5719680"/>
                <a:gd name="connsiteY19356" fmla="*/ 247806 h 5704395"/>
                <a:gd name="connsiteX19357" fmla="*/ 4142067 w 5719680"/>
                <a:gd name="connsiteY19357" fmla="*/ 249708 h 5704395"/>
                <a:gd name="connsiteX19358" fmla="*/ 4087437 w 5719680"/>
                <a:gd name="connsiteY19358" fmla="*/ 250025 h 5704395"/>
                <a:gd name="connsiteX19359" fmla="*/ 4093154 w 5719680"/>
                <a:gd name="connsiteY19359" fmla="*/ 276326 h 5704395"/>
                <a:gd name="connsiteX19360" fmla="*/ 4198286 w 5719680"/>
                <a:gd name="connsiteY19360" fmla="*/ 274742 h 5704395"/>
                <a:gd name="connsiteX19361" fmla="*/ 4424748 w 5719680"/>
                <a:gd name="connsiteY19361" fmla="*/ 276009 h 5704395"/>
                <a:gd name="connsiteX19362" fmla="*/ 4446346 w 5719680"/>
                <a:gd name="connsiteY19362" fmla="*/ 276009 h 5704395"/>
                <a:gd name="connsiteX19363" fmla="*/ 4661692 w 5719680"/>
                <a:gd name="connsiteY19363" fmla="*/ 258264 h 5704395"/>
                <a:gd name="connsiteX19364" fmla="*/ 4756660 w 5719680"/>
                <a:gd name="connsiteY19364" fmla="*/ 217702 h 5704395"/>
                <a:gd name="connsiteX19365" fmla="*/ 4756660 w 5719680"/>
                <a:gd name="connsiteY19365" fmla="*/ 217385 h 5704395"/>
                <a:gd name="connsiteX19366" fmla="*/ 4758248 w 5719680"/>
                <a:gd name="connsiteY19366" fmla="*/ 216118 h 5704395"/>
                <a:gd name="connsiteX19367" fmla="*/ 4785246 w 5719680"/>
                <a:gd name="connsiteY19367" fmla="*/ 179042 h 5704395"/>
                <a:gd name="connsiteX19368" fmla="*/ 4883390 w 5719680"/>
                <a:gd name="connsiteY19368" fmla="*/ 0 h 5704395"/>
                <a:gd name="connsiteX19369" fmla="*/ 4889106 w 5719680"/>
                <a:gd name="connsiteY19369" fmla="*/ 0 h 5704395"/>
                <a:gd name="connsiteX19370" fmla="*/ 4789692 w 5719680"/>
                <a:gd name="connsiteY19370" fmla="*/ 181577 h 5704395"/>
                <a:gd name="connsiteX19371" fmla="*/ 4762059 w 5719680"/>
                <a:gd name="connsiteY19371" fmla="*/ 219603 h 5704395"/>
                <a:gd name="connsiteX19372" fmla="*/ 4760154 w 5719680"/>
                <a:gd name="connsiteY19372" fmla="*/ 221188 h 5704395"/>
                <a:gd name="connsiteX19373" fmla="*/ 4760154 w 5719680"/>
                <a:gd name="connsiteY19373" fmla="*/ 221505 h 5704395"/>
                <a:gd name="connsiteX19374" fmla="*/ 4759518 w 5719680"/>
                <a:gd name="connsiteY19374" fmla="*/ 221822 h 5704395"/>
                <a:gd name="connsiteX19375" fmla="*/ 4759200 w 5719680"/>
                <a:gd name="connsiteY19375" fmla="*/ 222138 h 5704395"/>
                <a:gd name="connsiteX19376" fmla="*/ 4662644 w 5719680"/>
                <a:gd name="connsiteY19376" fmla="*/ 263334 h 5704395"/>
                <a:gd name="connsiteX19377" fmla="*/ 4446346 w 5719680"/>
                <a:gd name="connsiteY19377" fmla="*/ 281080 h 5704395"/>
                <a:gd name="connsiteX19378" fmla="*/ 4424748 w 5719680"/>
                <a:gd name="connsiteY19378" fmla="*/ 281080 h 5704395"/>
                <a:gd name="connsiteX19379" fmla="*/ 4198286 w 5719680"/>
                <a:gd name="connsiteY19379" fmla="*/ 279812 h 5704395"/>
                <a:gd name="connsiteX19380" fmla="*/ 4094424 w 5719680"/>
                <a:gd name="connsiteY19380" fmla="*/ 281397 h 5704395"/>
                <a:gd name="connsiteX19381" fmla="*/ 4109035 w 5719680"/>
                <a:gd name="connsiteY19381" fmla="*/ 327662 h 5704395"/>
                <a:gd name="connsiteX19382" fmla="*/ 4112846 w 5719680"/>
                <a:gd name="connsiteY19382" fmla="*/ 337486 h 5704395"/>
                <a:gd name="connsiteX19383" fmla="*/ 4198286 w 5719680"/>
                <a:gd name="connsiteY19383" fmla="*/ 320691 h 5704395"/>
                <a:gd name="connsiteX19384" fmla="*/ 4198286 w 5719680"/>
                <a:gd name="connsiteY19384" fmla="*/ 318789 h 5704395"/>
                <a:gd name="connsiteX19385" fmla="*/ 4424748 w 5719680"/>
                <a:gd name="connsiteY19385" fmla="*/ 320057 h 5704395"/>
                <a:gd name="connsiteX19386" fmla="*/ 4446346 w 5719680"/>
                <a:gd name="connsiteY19386" fmla="*/ 320057 h 5704395"/>
                <a:gd name="connsiteX19387" fmla="*/ 4671538 w 5719680"/>
                <a:gd name="connsiteY19387" fmla="*/ 301361 h 5704395"/>
                <a:gd name="connsiteX19388" fmla="*/ 4780798 w 5719680"/>
                <a:gd name="connsiteY19388" fmla="*/ 254461 h 5704395"/>
                <a:gd name="connsiteX19389" fmla="*/ 4797315 w 5719680"/>
                <a:gd name="connsiteY19389" fmla="*/ 238617 h 5704395"/>
                <a:gd name="connsiteX19390" fmla="*/ 4814466 w 5719680"/>
                <a:gd name="connsiteY19390" fmla="*/ 215167 h 5704395"/>
                <a:gd name="connsiteX19391" fmla="*/ 4855757 w 5719680"/>
                <a:gd name="connsiteY19391" fmla="*/ 146719 h 5704395"/>
                <a:gd name="connsiteX19392" fmla="*/ 4932938 w 5719680"/>
                <a:gd name="connsiteY19392" fmla="*/ 0 h 5704395"/>
                <a:gd name="connsiteX19393" fmla="*/ 4938656 w 5719680"/>
                <a:gd name="connsiteY19393" fmla="*/ 0 h 5704395"/>
                <a:gd name="connsiteX19394" fmla="*/ 4860204 w 5719680"/>
                <a:gd name="connsiteY19394" fmla="*/ 149254 h 5704395"/>
                <a:gd name="connsiteX19395" fmla="*/ 4818913 w 5719680"/>
                <a:gd name="connsiteY19395" fmla="*/ 218019 h 5704395"/>
                <a:gd name="connsiteX19396" fmla="*/ 4801444 w 5719680"/>
                <a:gd name="connsiteY19396" fmla="*/ 241786 h 5704395"/>
                <a:gd name="connsiteX19397" fmla="*/ 4783658 w 5719680"/>
                <a:gd name="connsiteY19397" fmla="*/ 258898 h 5704395"/>
                <a:gd name="connsiteX19398" fmla="*/ 4672808 w 5719680"/>
                <a:gd name="connsiteY19398" fmla="*/ 306431 h 5704395"/>
                <a:gd name="connsiteX19399" fmla="*/ 4446346 w 5719680"/>
                <a:gd name="connsiteY19399" fmla="*/ 325444 h 5704395"/>
                <a:gd name="connsiteX19400" fmla="*/ 4424748 w 5719680"/>
                <a:gd name="connsiteY19400" fmla="*/ 325444 h 5704395"/>
                <a:gd name="connsiteX19401" fmla="*/ 4214166 w 5719680"/>
                <a:gd name="connsiteY19401" fmla="*/ 323860 h 5704395"/>
                <a:gd name="connsiteX19402" fmla="*/ 4214166 w 5719680"/>
                <a:gd name="connsiteY19402" fmla="*/ 324493 h 5704395"/>
                <a:gd name="connsiteX19403" fmla="*/ 4114752 w 5719680"/>
                <a:gd name="connsiteY19403" fmla="*/ 342239 h 5704395"/>
                <a:gd name="connsiteX19404" fmla="*/ 4177005 w 5719680"/>
                <a:gd name="connsiteY19404" fmla="*/ 523499 h 5704395"/>
                <a:gd name="connsiteX19405" fmla="*/ 4193204 w 5719680"/>
                <a:gd name="connsiteY19405" fmla="*/ 604939 h 5704395"/>
                <a:gd name="connsiteX19406" fmla="*/ 4245928 w 5719680"/>
                <a:gd name="connsiteY19406" fmla="*/ 597017 h 5704395"/>
                <a:gd name="connsiteX19407" fmla="*/ 4246246 w 5719680"/>
                <a:gd name="connsiteY19407" fmla="*/ 597017 h 5704395"/>
                <a:gd name="connsiteX19408" fmla="*/ 4246564 w 5719680"/>
                <a:gd name="connsiteY19408" fmla="*/ 597017 h 5704395"/>
                <a:gd name="connsiteX19409" fmla="*/ 4363765 w 5719680"/>
                <a:gd name="connsiteY19409" fmla="*/ 599235 h 5704395"/>
                <a:gd name="connsiteX19410" fmla="*/ 4592451 w 5719680"/>
                <a:gd name="connsiteY19410" fmla="*/ 601453 h 5704395"/>
                <a:gd name="connsiteX19411" fmla="*/ 4744908 w 5719680"/>
                <a:gd name="connsiteY19411" fmla="*/ 597334 h 5704395"/>
                <a:gd name="connsiteX19412" fmla="*/ 5144154 w 5719680"/>
                <a:gd name="connsiteY19412" fmla="*/ 531104 h 5704395"/>
                <a:gd name="connsiteX19413" fmla="*/ 5665050 w 5719680"/>
                <a:gd name="connsiteY19413" fmla="*/ 230695 h 5704395"/>
                <a:gd name="connsiteX19414" fmla="*/ 5660920 w 5719680"/>
                <a:gd name="connsiteY19414" fmla="*/ 225624 h 5704395"/>
                <a:gd name="connsiteX19415" fmla="*/ 5397614 w 5719680"/>
                <a:gd name="connsiteY19415" fmla="*/ 0 h 5704395"/>
                <a:gd name="connsiteX19416" fmla="*/ 5435729 w 5719680"/>
                <a:gd name="connsiteY19416" fmla="*/ 0 h 5704395"/>
                <a:gd name="connsiteX19417" fmla="*/ 5677119 w 5719680"/>
                <a:gd name="connsiteY19417" fmla="*/ 212632 h 5704395"/>
                <a:gd name="connsiteX19418" fmla="*/ 5682201 w 5719680"/>
                <a:gd name="connsiteY19418" fmla="*/ 219287 h 5704395"/>
                <a:gd name="connsiteX19419" fmla="*/ 5719680 w 5719680"/>
                <a:gd name="connsiteY19419" fmla="*/ 193302 h 5704395"/>
                <a:gd name="connsiteX19420" fmla="*/ 5719680 w 5719680"/>
                <a:gd name="connsiteY19420" fmla="*/ 218970 h 5704395"/>
                <a:gd name="connsiteX19421" fmla="*/ 5694906 w 5719680"/>
                <a:gd name="connsiteY19421" fmla="*/ 236082 h 5704395"/>
                <a:gd name="connsiteX19422" fmla="*/ 5719680 w 5719680"/>
                <a:gd name="connsiteY19422" fmla="*/ 276009 h 5704395"/>
                <a:gd name="connsiteX19423" fmla="*/ 5719680 w 5719680"/>
                <a:gd name="connsiteY19423" fmla="*/ 321958 h 5704395"/>
                <a:gd name="connsiteX19424" fmla="*/ 5677436 w 5719680"/>
                <a:gd name="connsiteY19424" fmla="*/ 247490 h 5704395"/>
                <a:gd name="connsiteX19425" fmla="*/ 5149554 w 5719680"/>
                <a:gd name="connsiteY19425" fmla="*/ 551068 h 5704395"/>
                <a:gd name="connsiteX19426" fmla="*/ 5119698 w 5719680"/>
                <a:gd name="connsiteY19426" fmla="*/ 558673 h 5704395"/>
                <a:gd name="connsiteX19427" fmla="*/ 5120016 w 5719680"/>
                <a:gd name="connsiteY19427" fmla="*/ 558990 h 5704395"/>
                <a:gd name="connsiteX19428" fmla="*/ 5121286 w 5719680"/>
                <a:gd name="connsiteY19428" fmla="*/ 560258 h 5704395"/>
                <a:gd name="connsiteX19429" fmla="*/ 5100006 w 5719680"/>
                <a:gd name="connsiteY19429" fmla="*/ 583708 h 5704395"/>
                <a:gd name="connsiteX19430" fmla="*/ 4994238 w 5719680"/>
                <a:gd name="connsiteY19430" fmla="*/ 743419 h 5704395"/>
                <a:gd name="connsiteX19431" fmla="*/ 4974228 w 5719680"/>
                <a:gd name="connsiteY19431" fmla="*/ 929115 h 5704395"/>
                <a:gd name="connsiteX19432" fmla="*/ 4992968 w 5719680"/>
                <a:gd name="connsiteY19432" fmla="*/ 1116396 h 5704395"/>
                <a:gd name="connsiteX19433" fmla="*/ 5053951 w 5719680"/>
                <a:gd name="connsiteY19433" fmla="*/ 1354062 h 5704395"/>
                <a:gd name="connsiteX19434" fmla="*/ 5079996 w 5719680"/>
                <a:gd name="connsiteY19434" fmla="*/ 1443108 h 5704395"/>
                <a:gd name="connsiteX19435" fmla="*/ 5087936 w 5719680"/>
                <a:gd name="connsiteY19435" fmla="*/ 1470360 h 5704395"/>
                <a:gd name="connsiteX19436" fmla="*/ 5089524 w 5719680"/>
                <a:gd name="connsiteY19436" fmla="*/ 1476698 h 5704395"/>
                <a:gd name="connsiteX19437" fmla="*/ 5113028 w 5719680"/>
                <a:gd name="connsiteY19437" fmla="*/ 1471944 h 5704395"/>
                <a:gd name="connsiteX19438" fmla="*/ 5390310 w 5719680"/>
                <a:gd name="connsiteY19438" fmla="*/ 1443741 h 5704395"/>
                <a:gd name="connsiteX19439" fmla="*/ 5426518 w 5719680"/>
                <a:gd name="connsiteY19439" fmla="*/ 1444375 h 5704395"/>
                <a:gd name="connsiteX19440" fmla="*/ 5719680 w 5719680"/>
                <a:gd name="connsiteY19440" fmla="*/ 1473846 h 5704395"/>
                <a:gd name="connsiteX19441" fmla="*/ 5719680 w 5719680"/>
                <a:gd name="connsiteY19441" fmla="*/ 1495077 h 5704395"/>
                <a:gd name="connsiteX19442" fmla="*/ 5425565 w 5719680"/>
                <a:gd name="connsiteY19442" fmla="*/ 1465290 h 5704395"/>
                <a:gd name="connsiteX19443" fmla="*/ 5390310 w 5719680"/>
                <a:gd name="connsiteY19443" fmla="*/ 1464339 h 5704395"/>
                <a:gd name="connsiteX19444" fmla="*/ 5207043 w 5719680"/>
                <a:gd name="connsiteY19444" fmla="*/ 1478282 h 5704395"/>
                <a:gd name="connsiteX19445" fmla="*/ 5117157 w 5719680"/>
                <a:gd name="connsiteY19445" fmla="*/ 1492225 h 5704395"/>
                <a:gd name="connsiteX19446" fmla="*/ 5097782 w 5719680"/>
                <a:gd name="connsiteY19446" fmla="*/ 1496345 h 5704395"/>
                <a:gd name="connsiteX19447" fmla="*/ 5112075 w 5719680"/>
                <a:gd name="connsiteY19447" fmla="*/ 1595531 h 5704395"/>
                <a:gd name="connsiteX19448" fmla="*/ 5102229 w 5719680"/>
                <a:gd name="connsiteY19448" fmla="*/ 1679506 h 5704395"/>
                <a:gd name="connsiteX19449" fmla="*/ 4960571 w 5719680"/>
                <a:gd name="connsiteY19449" fmla="*/ 1934918 h 5704395"/>
                <a:gd name="connsiteX19450" fmla="*/ 4918010 w 5719680"/>
                <a:gd name="connsiteY19450" fmla="*/ 2104453 h 5704395"/>
                <a:gd name="connsiteX19451" fmla="*/ 4923727 w 5719680"/>
                <a:gd name="connsiteY19451" fmla="*/ 2186527 h 5704395"/>
                <a:gd name="connsiteX19452" fmla="*/ 4978040 w 5719680"/>
                <a:gd name="connsiteY19452" fmla="*/ 2618128 h 5704395"/>
                <a:gd name="connsiteX19453" fmla="*/ 4982804 w 5719680"/>
                <a:gd name="connsiteY19453" fmla="*/ 2616227 h 5704395"/>
                <a:gd name="connsiteX19454" fmla="*/ 4985028 w 5719680"/>
                <a:gd name="connsiteY19454" fmla="*/ 2615276 h 5704395"/>
                <a:gd name="connsiteX19455" fmla="*/ 5441128 w 5719680"/>
                <a:gd name="connsiteY19455" fmla="*/ 2522111 h 5704395"/>
                <a:gd name="connsiteX19456" fmla="*/ 5442081 w 5719680"/>
                <a:gd name="connsiteY19456" fmla="*/ 2521794 h 5704395"/>
                <a:gd name="connsiteX19457" fmla="*/ 5599620 w 5719680"/>
                <a:gd name="connsiteY19457" fmla="*/ 2503415 h 5704395"/>
                <a:gd name="connsiteX19458" fmla="*/ 5708564 w 5719680"/>
                <a:gd name="connsiteY19458" fmla="*/ 2490739 h 5704395"/>
                <a:gd name="connsiteX19459" fmla="*/ 5719680 w 5719680"/>
                <a:gd name="connsiteY19459" fmla="*/ 2489471 h 5704395"/>
                <a:gd name="connsiteX19460" fmla="*/ 5719680 w 5719680"/>
                <a:gd name="connsiteY19460" fmla="*/ 2537956 h 5704395"/>
                <a:gd name="connsiteX19461" fmla="*/ 5601526 w 5719680"/>
                <a:gd name="connsiteY19461" fmla="*/ 2551898 h 5704395"/>
                <a:gd name="connsiteX19462" fmla="*/ 5448751 w 5719680"/>
                <a:gd name="connsiteY19462" fmla="*/ 2569644 h 5704395"/>
                <a:gd name="connsiteX19463" fmla="*/ 4999638 w 5719680"/>
                <a:gd name="connsiteY19463" fmla="*/ 2661542 h 5704395"/>
                <a:gd name="connsiteX19464" fmla="*/ 4952313 w 5719680"/>
                <a:gd name="connsiteY19464" fmla="*/ 2681822 h 5704395"/>
                <a:gd name="connsiteX19465" fmla="*/ 4909116 w 5719680"/>
                <a:gd name="connsiteY19465" fmla="*/ 2705906 h 5704395"/>
                <a:gd name="connsiteX19466" fmla="*/ 4779210 w 5719680"/>
                <a:gd name="connsiteY19466" fmla="*/ 2776572 h 5704395"/>
                <a:gd name="connsiteX19467" fmla="*/ 4655022 w 5719680"/>
                <a:gd name="connsiteY19467" fmla="*/ 2835196 h 5704395"/>
                <a:gd name="connsiteX19468" fmla="*/ 4550842 w 5719680"/>
                <a:gd name="connsiteY19468" fmla="*/ 2871005 h 5704395"/>
                <a:gd name="connsiteX19469" fmla="*/ 4516222 w 5719680"/>
                <a:gd name="connsiteY19469" fmla="*/ 2881779 h 5704395"/>
                <a:gd name="connsiteX19470" fmla="*/ 4505423 w 5719680"/>
                <a:gd name="connsiteY19470" fmla="*/ 2884631 h 5704395"/>
                <a:gd name="connsiteX19471" fmla="*/ 4501294 w 5719680"/>
                <a:gd name="connsiteY19471" fmla="*/ 2885581 h 5704395"/>
                <a:gd name="connsiteX19472" fmla="*/ 4497482 w 5719680"/>
                <a:gd name="connsiteY19472" fmla="*/ 2886215 h 5704395"/>
                <a:gd name="connsiteX19473" fmla="*/ 4454922 w 5719680"/>
                <a:gd name="connsiteY19473" fmla="*/ 2896039 h 5704395"/>
                <a:gd name="connsiteX19474" fmla="*/ 4282772 w 5719680"/>
                <a:gd name="connsiteY19474" fmla="*/ 2937551 h 5704395"/>
                <a:gd name="connsiteX19475" fmla="*/ 4284678 w 5719680"/>
                <a:gd name="connsiteY19475" fmla="*/ 2967972 h 5704395"/>
                <a:gd name="connsiteX19476" fmla="*/ 4280866 w 5719680"/>
                <a:gd name="connsiteY19476" fmla="*/ 3018991 h 5704395"/>
                <a:gd name="connsiteX19477" fmla="*/ 4278326 w 5719680"/>
                <a:gd name="connsiteY19477" fmla="*/ 3032300 h 5704395"/>
                <a:gd name="connsiteX19478" fmla="*/ 4323428 w 5719680"/>
                <a:gd name="connsiteY19478" fmla="*/ 3076982 h 5704395"/>
                <a:gd name="connsiteX19479" fmla="*/ 4385364 w 5719680"/>
                <a:gd name="connsiteY19479" fmla="*/ 3114058 h 5704395"/>
                <a:gd name="connsiteX19480" fmla="*/ 4453016 w 5719680"/>
                <a:gd name="connsiteY19480" fmla="*/ 3130853 h 5704395"/>
                <a:gd name="connsiteX19481" fmla="*/ 4537820 w 5719680"/>
                <a:gd name="connsiteY19481" fmla="*/ 3164126 h 5704395"/>
                <a:gd name="connsiteX19482" fmla="*/ 4618178 w 5719680"/>
                <a:gd name="connsiteY19482" fmla="*/ 3252538 h 5704395"/>
                <a:gd name="connsiteX19483" fmla="*/ 4684242 w 5719680"/>
                <a:gd name="connsiteY19483" fmla="*/ 3331443 h 5704395"/>
                <a:gd name="connsiteX19484" fmla="*/ 4735062 w 5719680"/>
                <a:gd name="connsiteY19484" fmla="*/ 3390701 h 5704395"/>
                <a:gd name="connsiteX19485" fmla="*/ 4754754 w 5719680"/>
                <a:gd name="connsiteY19485" fmla="*/ 3412883 h 5704395"/>
                <a:gd name="connsiteX19486" fmla="*/ 4765553 w 5719680"/>
                <a:gd name="connsiteY19486" fmla="*/ 3424608 h 5704395"/>
                <a:gd name="connsiteX19487" fmla="*/ 4787151 w 5719680"/>
                <a:gd name="connsiteY19487" fmla="*/ 3442037 h 5704395"/>
                <a:gd name="connsiteX19488" fmla="*/ 4790328 w 5719680"/>
                <a:gd name="connsiteY19488" fmla="*/ 3443938 h 5704395"/>
                <a:gd name="connsiteX19489" fmla="*/ 4903400 w 5719680"/>
                <a:gd name="connsiteY19489" fmla="*/ 3469923 h 5704395"/>
                <a:gd name="connsiteX19490" fmla="*/ 5105405 w 5719680"/>
                <a:gd name="connsiteY19490" fmla="*/ 3514287 h 5704395"/>
                <a:gd name="connsiteX19491" fmla="*/ 5493536 w 5719680"/>
                <a:gd name="connsiteY19491" fmla="*/ 3610304 h 5704395"/>
                <a:gd name="connsiteX19492" fmla="*/ 5719680 w 5719680"/>
                <a:gd name="connsiteY19492" fmla="*/ 3668928 h 5704395"/>
                <a:gd name="connsiteX19493" fmla="*/ 5719680 w 5719680"/>
                <a:gd name="connsiteY19493" fmla="*/ 3718997 h 5704395"/>
                <a:gd name="connsiteX19494" fmla="*/ 5481466 w 5719680"/>
                <a:gd name="connsiteY19494" fmla="*/ 3656887 h 5704395"/>
                <a:gd name="connsiteX19495" fmla="*/ 5095876 w 5719680"/>
                <a:gd name="connsiteY19495" fmla="*/ 3561503 h 5704395"/>
                <a:gd name="connsiteX19496" fmla="*/ 4807161 w 5719680"/>
                <a:gd name="connsiteY19496" fmla="*/ 3497492 h 5704395"/>
                <a:gd name="connsiteX19497" fmla="*/ 4712510 w 5719680"/>
                <a:gd name="connsiteY19497" fmla="*/ 3627099 h 5704395"/>
                <a:gd name="connsiteX19498" fmla="*/ 4648987 w 5719680"/>
                <a:gd name="connsiteY19498" fmla="*/ 3747516 h 5704395"/>
                <a:gd name="connsiteX19499" fmla="*/ 4553066 w 5719680"/>
                <a:gd name="connsiteY19499" fmla="*/ 3840682 h 5704395"/>
                <a:gd name="connsiteX19500" fmla="*/ 4533056 w 5719680"/>
                <a:gd name="connsiteY19500" fmla="*/ 3961416 h 5704395"/>
                <a:gd name="connsiteX19501" fmla="*/ 4511140 w 5719680"/>
                <a:gd name="connsiteY19501" fmla="*/ 4094192 h 5704395"/>
                <a:gd name="connsiteX19502" fmla="*/ 4890695 w 5719680"/>
                <a:gd name="connsiteY19502" fmla="*/ 4168660 h 5704395"/>
                <a:gd name="connsiteX19503" fmla="*/ 4899588 w 5719680"/>
                <a:gd name="connsiteY19503" fmla="*/ 4170562 h 5704395"/>
                <a:gd name="connsiteX19504" fmla="*/ 5147331 w 5719680"/>
                <a:gd name="connsiteY19504" fmla="*/ 3922439 h 5704395"/>
                <a:gd name="connsiteX19505" fmla="*/ 5418895 w 5719680"/>
                <a:gd name="connsiteY19505" fmla="*/ 3879025 h 5704395"/>
                <a:gd name="connsiteX19506" fmla="*/ 5524344 w 5719680"/>
                <a:gd name="connsiteY19506" fmla="*/ 3871420 h 5704395"/>
                <a:gd name="connsiteX19507" fmla="*/ 5575481 w 5719680"/>
                <a:gd name="connsiteY19507" fmla="*/ 3867300 h 5704395"/>
                <a:gd name="connsiteX19508" fmla="*/ 5719680 w 5719680"/>
                <a:gd name="connsiteY19508" fmla="*/ 3806141 h 5704395"/>
                <a:gd name="connsiteX19509" fmla="*/ 5719680 w 5719680"/>
                <a:gd name="connsiteY19509" fmla="*/ 3829907 h 5704395"/>
                <a:gd name="connsiteX19510" fmla="*/ 5580563 w 5719680"/>
                <a:gd name="connsiteY19510" fmla="*/ 3887581 h 5704395"/>
                <a:gd name="connsiteX19511" fmla="*/ 5525615 w 5719680"/>
                <a:gd name="connsiteY19511" fmla="*/ 3892334 h 5704395"/>
                <a:gd name="connsiteX19512" fmla="*/ 5153048 w 5719680"/>
                <a:gd name="connsiteY19512" fmla="*/ 3942403 h 5704395"/>
                <a:gd name="connsiteX19513" fmla="*/ 4919916 w 5719680"/>
                <a:gd name="connsiteY19513" fmla="*/ 4175315 h 5704395"/>
                <a:gd name="connsiteX19514" fmla="*/ 5243570 w 5719680"/>
                <a:gd name="connsiteY19514" fmla="*/ 4350554 h 5704395"/>
                <a:gd name="connsiteX19515" fmla="*/ 5477972 w 5719680"/>
                <a:gd name="connsiteY19515" fmla="*/ 4778353 h 5704395"/>
                <a:gd name="connsiteX19516" fmla="*/ 5500840 w 5719680"/>
                <a:gd name="connsiteY19516" fmla="*/ 4925389 h 5704395"/>
                <a:gd name="connsiteX19517" fmla="*/ 5441128 w 5719680"/>
                <a:gd name="connsiteY19517" fmla="*/ 5161470 h 5704395"/>
                <a:gd name="connsiteX19518" fmla="*/ 5558965 w 5719680"/>
                <a:gd name="connsiteY19518" fmla="*/ 5217560 h 5704395"/>
                <a:gd name="connsiteX19519" fmla="*/ 5719680 w 5719680"/>
                <a:gd name="connsiteY19519" fmla="*/ 5335759 h 5704395"/>
                <a:gd name="connsiteX19520" fmla="*/ 5719680 w 5719680"/>
                <a:gd name="connsiteY19520" fmla="*/ 5362060 h 5704395"/>
                <a:gd name="connsiteX19521" fmla="*/ 5547213 w 5719680"/>
                <a:gd name="connsiteY19521" fmla="*/ 5234672 h 5704395"/>
                <a:gd name="connsiteX19522" fmla="*/ 5306776 w 5719680"/>
                <a:gd name="connsiteY19522" fmla="*/ 5161154 h 5704395"/>
                <a:gd name="connsiteX19523" fmla="*/ 5300741 w 5719680"/>
                <a:gd name="connsiteY19523" fmla="*/ 5161154 h 5704395"/>
                <a:gd name="connsiteX19524" fmla="*/ 5299470 w 5719680"/>
                <a:gd name="connsiteY19524" fmla="*/ 5161154 h 5704395"/>
                <a:gd name="connsiteX19525" fmla="*/ 5298200 w 5719680"/>
                <a:gd name="connsiteY19525" fmla="*/ 5160837 h 5704395"/>
                <a:gd name="connsiteX19526" fmla="*/ 5296930 w 5719680"/>
                <a:gd name="connsiteY19526" fmla="*/ 5160837 h 5704395"/>
                <a:gd name="connsiteX19527" fmla="*/ 4816054 w 5719680"/>
                <a:gd name="connsiteY19527" fmla="*/ 5167808 h 5704395"/>
                <a:gd name="connsiteX19528" fmla="*/ 4626436 w 5719680"/>
                <a:gd name="connsiteY19528" fmla="*/ 5170660 h 5704395"/>
                <a:gd name="connsiteX19529" fmla="*/ 4654069 w 5719680"/>
                <a:gd name="connsiteY19529" fmla="*/ 5286007 h 5704395"/>
                <a:gd name="connsiteX19530" fmla="*/ 4721086 w 5719680"/>
                <a:gd name="connsiteY19530" fmla="*/ 5549975 h 5704395"/>
                <a:gd name="connsiteX19531" fmla="*/ 4763012 w 5719680"/>
                <a:gd name="connsiteY19531" fmla="*/ 5703982 h 5704395"/>
                <a:gd name="connsiteX19532" fmla="*/ 4741414 w 5719680"/>
                <a:gd name="connsiteY19532" fmla="*/ 5703982 h 5704395"/>
                <a:gd name="connsiteX19533" fmla="*/ 4701076 w 5719680"/>
                <a:gd name="connsiteY19533" fmla="*/ 5555045 h 5704395"/>
                <a:gd name="connsiteX19534" fmla="*/ 4604838 w 5719680"/>
                <a:gd name="connsiteY19534" fmla="*/ 5170977 h 5704395"/>
                <a:gd name="connsiteX19535" fmla="*/ 4513364 w 5719680"/>
                <a:gd name="connsiteY19535" fmla="*/ 5172245 h 5704395"/>
                <a:gd name="connsiteX19536" fmla="*/ 4385681 w 5719680"/>
                <a:gd name="connsiteY19536" fmla="*/ 5174463 h 5704395"/>
                <a:gd name="connsiteX19537" fmla="*/ 4413949 w 5719680"/>
                <a:gd name="connsiteY19537" fmla="*/ 5478992 h 5704395"/>
                <a:gd name="connsiteX19538" fmla="*/ 4434594 w 5719680"/>
                <a:gd name="connsiteY19538" fmla="*/ 5698595 h 5704395"/>
                <a:gd name="connsiteX19539" fmla="*/ 4434912 w 5719680"/>
                <a:gd name="connsiteY19539" fmla="*/ 5703982 h 5704395"/>
                <a:gd name="connsiteX19540" fmla="*/ 4386316 w 5719680"/>
                <a:gd name="connsiteY19540" fmla="*/ 5703982 h 5704395"/>
                <a:gd name="connsiteX19541" fmla="*/ 4362494 w 5719680"/>
                <a:gd name="connsiteY19541" fmla="*/ 5450789 h 5704395"/>
                <a:gd name="connsiteX19542" fmla="*/ 4339944 w 5719680"/>
                <a:gd name="connsiteY19542" fmla="*/ 5205201 h 5704395"/>
                <a:gd name="connsiteX19543" fmla="*/ 4332321 w 5719680"/>
                <a:gd name="connsiteY19543" fmla="*/ 5119958 h 5704395"/>
                <a:gd name="connsiteX19544" fmla="*/ 4330733 w 5719680"/>
                <a:gd name="connsiteY19544" fmla="*/ 5101579 h 5704395"/>
                <a:gd name="connsiteX19545" fmla="*/ 4012161 w 5719680"/>
                <a:gd name="connsiteY19545" fmla="*/ 5112036 h 5704395"/>
                <a:gd name="connsiteX19546" fmla="*/ 4011844 w 5719680"/>
                <a:gd name="connsiteY19546" fmla="*/ 5112353 h 5704395"/>
                <a:gd name="connsiteX19547" fmla="*/ 3991198 w 5719680"/>
                <a:gd name="connsiteY19547" fmla="*/ 5122810 h 5704395"/>
                <a:gd name="connsiteX19548" fmla="*/ 3976588 w 5719680"/>
                <a:gd name="connsiteY19548" fmla="*/ 5153865 h 5704395"/>
                <a:gd name="connsiteX19549" fmla="*/ 3976588 w 5719680"/>
                <a:gd name="connsiteY19549" fmla="*/ 5155766 h 5704395"/>
                <a:gd name="connsiteX19550" fmla="*/ 3976906 w 5719680"/>
                <a:gd name="connsiteY19550" fmla="*/ 5164322 h 5704395"/>
                <a:gd name="connsiteX19551" fmla="*/ 3964836 w 5719680"/>
                <a:gd name="connsiteY19551" fmla="*/ 5207736 h 5704395"/>
                <a:gd name="connsiteX19552" fmla="*/ 3925134 w 5719680"/>
                <a:gd name="connsiteY19552" fmla="*/ 5233087 h 5704395"/>
                <a:gd name="connsiteX19553" fmla="*/ 3756478 w 5719680"/>
                <a:gd name="connsiteY19553" fmla="*/ 5301852 h 5704395"/>
                <a:gd name="connsiteX19554" fmla="*/ 3864151 w 5719680"/>
                <a:gd name="connsiteY19554" fmla="*/ 5552827 h 5704395"/>
                <a:gd name="connsiteX19555" fmla="*/ 3861292 w 5719680"/>
                <a:gd name="connsiteY19555" fmla="*/ 5554095 h 5704395"/>
                <a:gd name="connsiteX19556" fmla="*/ 4129680 w 5719680"/>
                <a:gd name="connsiteY19556" fmla="*/ 5703982 h 5704395"/>
                <a:gd name="connsiteX19557" fmla="*/ 4086802 w 5719680"/>
                <a:gd name="connsiteY19557" fmla="*/ 5703982 h 5704395"/>
                <a:gd name="connsiteX19558" fmla="*/ 3855258 w 5719680"/>
                <a:gd name="connsiteY19558" fmla="*/ 5574375 h 5704395"/>
                <a:gd name="connsiteX19559" fmla="*/ 3764736 w 5719680"/>
                <a:gd name="connsiteY19559" fmla="*/ 5703982 h 5704395"/>
                <a:gd name="connsiteX19560" fmla="*/ 3722493 w 5719680"/>
                <a:gd name="connsiteY19560" fmla="*/ 5703982 h 5704395"/>
                <a:gd name="connsiteX19561" fmla="*/ 3691366 w 5719680"/>
                <a:gd name="connsiteY19561" fmla="*/ 5652330 h 5704395"/>
                <a:gd name="connsiteX19562" fmla="*/ 3658651 w 5719680"/>
                <a:gd name="connsiteY19562" fmla="*/ 5520821 h 5704395"/>
                <a:gd name="connsiteX19563" fmla="*/ 3649758 w 5719680"/>
                <a:gd name="connsiteY19563" fmla="*/ 5421635 h 5704395"/>
                <a:gd name="connsiteX19564" fmla="*/ 3442988 w 5719680"/>
                <a:gd name="connsiteY19564" fmla="*/ 5468535 h 5704395"/>
                <a:gd name="connsiteX19565" fmla="*/ 3319434 w 5719680"/>
                <a:gd name="connsiteY19565" fmla="*/ 5359842 h 5704395"/>
                <a:gd name="connsiteX19566" fmla="*/ 3287037 w 5719680"/>
                <a:gd name="connsiteY19566" fmla="*/ 5385193 h 5704395"/>
                <a:gd name="connsiteX19567" fmla="*/ 3233677 w 5719680"/>
                <a:gd name="connsiteY19567" fmla="*/ 5427022 h 5704395"/>
                <a:gd name="connsiteX19568" fmla="*/ 3240347 w 5719680"/>
                <a:gd name="connsiteY19568" fmla="*/ 5446353 h 5704395"/>
                <a:gd name="connsiteX19569" fmla="*/ 3297201 w 5719680"/>
                <a:gd name="connsiteY19569" fmla="*/ 5668491 h 5704395"/>
                <a:gd name="connsiteX19570" fmla="*/ 3301648 w 5719680"/>
                <a:gd name="connsiteY19570" fmla="*/ 5703982 h 5704395"/>
                <a:gd name="connsiteX19571" fmla="*/ 3280685 w 5719680"/>
                <a:gd name="connsiteY19571" fmla="*/ 5703982 h 5704395"/>
                <a:gd name="connsiteX19572" fmla="*/ 3276874 w 5719680"/>
                <a:gd name="connsiteY19572" fmla="*/ 5672927 h 5704395"/>
                <a:gd name="connsiteX19573" fmla="*/ 3239394 w 5719680"/>
                <a:gd name="connsiteY19573" fmla="*/ 5517969 h 5704395"/>
                <a:gd name="connsiteX19574" fmla="*/ 3220655 w 5719680"/>
                <a:gd name="connsiteY19574" fmla="*/ 5452690 h 5704395"/>
                <a:gd name="connsiteX19575" fmla="*/ 3207315 w 5719680"/>
                <a:gd name="connsiteY19575" fmla="*/ 5419734 h 5704395"/>
                <a:gd name="connsiteX19576" fmla="*/ 3150144 w 5719680"/>
                <a:gd name="connsiteY19576" fmla="*/ 5372201 h 5704395"/>
                <a:gd name="connsiteX19577" fmla="*/ 3128546 w 5719680"/>
                <a:gd name="connsiteY19577" fmla="*/ 5357624 h 5704395"/>
                <a:gd name="connsiteX19578" fmla="*/ 3114570 w 5719680"/>
                <a:gd name="connsiteY19578" fmla="*/ 5379806 h 5704395"/>
                <a:gd name="connsiteX19579" fmla="*/ 2986888 w 5719680"/>
                <a:gd name="connsiteY19579" fmla="*/ 5572157 h 5704395"/>
                <a:gd name="connsiteX19580" fmla="*/ 2932892 w 5719680"/>
                <a:gd name="connsiteY19580" fmla="*/ 5680216 h 5704395"/>
                <a:gd name="connsiteX19581" fmla="*/ 2933210 w 5719680"/>
                <a:gd name="connsiteY19581" fmla="*/ 5681800 h 5704395"/>
                <a:gd name="connsiteX19582" fmla="*/ 2933210 w 5719680"/>
                <a:gd name="connsiteY19582" fmla="*/ 5682434 h 5704395"/>
                <a:gd name="connsiteX19583" fmla="*/ 2934480 w 5719680"/>
                <a:gd name="connsiteY19583" fmla="*/ 5703982 h 5704395"/>
                <a:gd name="connsiteX19584" fmla="*/ 2913518 w 5719680"/>
                <a:gd name="connsiteY19584" fmla="*/ 5703982 h 5704395"/>
                <a:gd name="connsiteX19585" fmla="*/ 2912565 w 5719680"/>
                <a:gd name="connsiteY19585" fmla="*/ 5684652 h 5704395"/>
                <a:gd name="connsiteX19586" fmla="*/ 2912247 w 5719680"/>
                <a:gd name="connsiteY19586" fmla="*/ 5680216 h 5704395"/>
                <a:gd name="connsiteX19587" fmla="*/ 2970371 w 5719680"/>
                <a:gd name="connsiteY19587" fmla="*/ 5559798 h 5704395"/>
                <a:gd name="connsiteX19588" fmla="*/ 3065022 w 5719680"/>
                <a:gd name="connsiteY19588" fmla="*/ 5420368 h 5704395"/>
                <a:gd name="connsiteX19589" fmla="*/ 3100278 w 5719680"/>
                <a:gd name="connsiteY19589" fmla="*/ 5363645 h 5704395"/>
                <a:gd name="connsiteX19590" fmla="*/ 3110759 w 5719680"/>
                <a:gd name="connsiteY19590" fmla="*/ 5346850 h 5704395"/>
                <a:gd name="connsiteX19591" fmla="*/ 3110759 w 5719680"/>
                <a:gd name="connsiteY19591" fmla="*/ 5346533 h 5704395"/>
                <a:gd name="connsiteX19592" fmla="*/ 3069151 w 5719680"/>
                <a:gd name="connsiteY19592" fmla="*/ 5324668 h 5704395"/>
                <a:gd name="connsiteX19593" fmla="*/ 2914788 w 5719680"/>
                <a:gd name="connsiteY19593" fmla="*/ 5278402 h 5704395"/>
                <a:gd name="connsiteX19594" fmla="*/ 2796952 w 5719680"/>
                <a:gd name="connsiteY19594" fmla="*/ 5220412 h 5704395"/>
                <a:gd name="connsiteX19595" fmla="*/ 2727075 w 5719680"/>
                <a:gd name="connsiteY19595" fmla="*/ 5179533 h 5704395"/>
                <a:gd name="connsiteX19596" fmla="*/ 2443759 w 5719680"/>
                <a:gd name="connsiteY19596" fmla="*/ 5692891 h 5704395"/>
                <a:gd name="connsiteX19597" fmla="*/ 2462499 w 5719680"/>
                <a:gd name="connsiteY19597" fmla="*/ 5703982 h 5704395"/>
                <a:gd name="connsiteX19598" fmla="*/ 2413586 w 5719680"/>
                <a:gd name="connsiteY19598" fmla="*/ 5703982 h 5704395"/>
                <a:gd name="connsiteX19599" fmla="*/ 2415491 w 5719680"/>
                <a:gd name="connsiteY19599" fmla="*/ 5700497 h 5704395"/>
                <a:gd name="connsiteX19600" fmla="*/ 2413586 w 5719680"/>
                <a:gd name="connsiteY19600" fmla="*/ 5699229 h 5704395"/>
                <a:gd name="connsiteX19601" fmla="*/ 2388494 w 5719680"/>
                <a:gd name="connsiteY19601" fmla="*/ 5686871 h 5704395"/>
                <a:gd name="connsiteX19602" fmla="*/ 2173148 w 5719680"/>
                <a:gd name="connsiteY19602" fmla="*/ 5613669 h 5704395"/>
                <a:gd name="connsiteX19603" fmla="*/ 2167113 w 5719680"/>
                <a:gd name="connsiteY19603" fmla="*/ 5648210 h 5704395"/>
                <a:gd name="connsiteX19604" fmla="*/ 2157902 w 5719680"/>
                <a:gd name="connsiteY19604" fmla="*/ 5703982 h 5704395"/>
                <a:gd name="connsiteX19605" fmla="*/ 2136622 w 5719680"/>
                <a:gd name="connsiteY19605" fmla="*/ 5703982 h 5704395"/>
                <a:gd name="connsiteX19606" fmla="*/ 2147421 w 5719680"/>
                <a:gd name="connsiteY19606" fmla="*/ 5639971 h 5704395"/>
                <a:gd name="connsiteX19607" fmla="*/ 2152185 w 5719680"/>
                <a:gd name="connsiteY19607" fmla="*/ 5612402 h 5704395"/>
                <a:gd name="connsiteX19608" fmla="*/ 2152503 w 5719680"/>
                <a:gd name="connsiteY19608" fmla="*/ 5610817 h 5704395"/>
                <a:gd name="connsiteX19609" fmla="*/ 2145515 w 5719680"/>
                <a:gd name="connsiteY19609" fmla="*/ 5609867 h 5704395"/>
                <a:gd name="connsiteX19610" fmla="*/ 1962249 w 5719680"/>
                <a:gd name="connsiteY19610" fmla="*/ 5572157 h 5704395"/>
                <a:gd name="connsiteX19611" fmla="*/ 1811380 w 5719680"/>
                <a:gd name="connsiteY19611" fmla="*/ 5536032 h 5704395"/>
                <a:gd name="connsiteX19612" fmla="*/ 1690368 w 5719680"/>
                <a:gd name="connsiteY19612" fmla="*/ 5514800 h 5704395"/>
                <a:gd name="connsiteX19613" fmla="*/ 1616362 w 5719680"/>
                <a:gd name="connsiteY19613" fmla="*/ 5502759 h 5704395"/>
                <a:gd name="connsiteX19614" fmla="*/ 1618586 w 5719680"/>
                <a:gd name="connsiteY19614" fmla="*/ 5532229 h 5704395"/>
                <a:gd name="connsiteX19615" fmla="*/ 1620174 w 5719680"/>
                <a:gd name="connsiteY19615" fmla="*/ 5619057 h 5704395"/>
                <a:gd name="connsiteX19616" fmla="*/ 1619221 w 5719680"/>
                <a:gd name="connsiteY19616" fmla="*/ 5703982 h 5704395"/>
                <a:gd name="connsiteX19617" fmla="*/ 1598576 w 5719680"/>
                <a:gd name="connsiteY19617" fmla="*/ 5703982 h 5704395"/>
                <a:gd name="connsiteX19618" fmla="*/ 1599211 w 5719680"/>
                <a:gd name="connsiteY19618" fmla="*/ 5620324 h 5704395"/>
                <a:gd name="connsiteX19619" fmla="*/ 1500114 w 5719680"/>
                <a:gd name="connsiteY19619" fmla="*/ 5631732 h 5704395"/>
                <a:gd name="connsiteX19620" fmla="*/ 1476928 w 5719680"/>
                <a:gd name="connsiteY19620" fmla="*/ 5703982 h 5704395"/>
                <a:gd name="connsiteX19621" fmla="*/ 1472481 w 5719680"/>
                <a:gd name="connsiteY19621" fmla="*/ 5703982 h 5704395"/>
                <a:gd name="connsiteX19622" fmla="*/ 1495985 w 5719680"/>
                <a:gd name="connsiteY19622" fmla="*/ 5630148 h 5704395"/>
                <a:gd name="connsiteX19623" fmla="*/ 1431826 w 5719680"/>
                <a:gd name="connsiteY19623" fmla="*/ 5538884 h 5704395"/>
                <a:gd name="connsiteX19624" fmla="*/ 1394982 w 5719680"/>
                <a:gd name="connsiteY19624" fmla="*/ 5550926 h 5704395"/>
                <a:gd name="connsiteX19625" fmla="*/ 1368302 w 5719680"/>
                <a:gd name="connsiteY19625" fmla="*/ 5559798 h 5704395"/>
                <a:gd name="connsiteX19626" fmla="*/ 1359726 w 5719680"/>
                <a:gd name="connsiteY19626" fmla="*/ 5562967 h 5704395"/>
                <a:gd name="connsiteX19627" fmla="*/ 1357821 w 5719680"/>
                <a:gd name="connsiteY19627" fmla="*/ 5563601 h 5704395"/>
                <a:gd name="connsiteX19628" fmla="*/ 1353056 w 5719680"/>
                <a:gd name="connsiteY19628" fmla="*/ 5575960 h 5704395"/>
                <a:gd name="connsiteX19629" fmla="*/ 1328917 w 5719680"/>
                <a:gd name="connsiteY19629" fmla="*/ 5630781 h 5704395"/>
                <a:gd name="connsiteX19630" fmla="*/ 1375925 w 5719680"/>
                <a:gd name="connsiteY19630" fmla="*/ 5635852 h 5704395"/>
                <a:gd name="connsiteX19631" fmla="*/ 1369255 w 5719680"/>
                <a:gd name="connsiteY19631" fmla="*/ 5703982 h 5704395"/>
                <a:gd name="connsiteX19632" fmla="*/ 1354962 w 5719680"/>
                <a:gd name="connsiteY19632" fmla="*/ 5703982 h 5704395"/>
                <a:gd name="connsiteX19633" fmla="*/ 1360362 w 5719680"/>
                <a:gd name="connsiteY19633" fmla="*/ 5648527 h 5704395"/>
                <a:gd name="connsiteX19634" fmla="*/ 1330823 w 5719680"/>
                <a:gd name="connsiteY19634" fmla="*/ 5645358 h 5704395"/>
                <a:gd name="connsiteX19635" fmla="*/ 1241572 w 5719680"/>
                <a:gd name="connsiteY19635" fmla="*/ 5695743 h 5704395"/>
                <a:gd name="connsiteX19636" fmla="*/ 1238078 w 5719680"/>
                <a:gd name="connsiteY19636" fmla="*/ 5703982 h 5704395"/>
                <a:gd name="connsiteX19637" fmla="*/ 1232997 w 5719680"/>
                <a:gd name="connsiteY19637" fmla="*/ 5703982 h 5704395"/>
                <a:gd name="connsiteX19638" fmla="*/ 1238078 w 5719680"/>
                <a:gd name="connsiteY19638" fmla="*/ 5692575 h 5704395"/>
                <a:gd name="connsiteX19639" fmla="*/ 1323200 w 5719680"/>
                <a:gd name="connsiteY19639" fmla="*/ 5644408 h 5704395"/>
                <a:gd name="connsiteX19640" fmla="*/ 1209810 w 5719680"/>
                <a:gd name="connsiteY19640" fmla="*/ 5631732 h 5704395"/>
                <a:gd name="connsiteX19641" fmla="*/ 1180272 w 5719680"/>
                <a:gd name="connsiteY19641" fmla="*/ 5465683 h 5704395"/>
                <a:gd name="connsiteX19642" fmla="*/ 1100549 w 5719680"/>
                <a:gd name="connsiteY19642" fmla="*/ 5509096 h 5704395"/>
                <a:gd name="connsiteX19643" fmla="*/ 1044013 w 5719680"/>
                <a:gd name="connsiteY19643" fmla="*/ 5540468 h 5704395"/>
                <a:gd name="connsiteX19644" fmla="*/ 1025274 w 5719680"/>
                <a:gd name="connsiteY19644" fmla="*/ 5550926 h 5704395"/>
                <a:gd name="connsiteX19645" fmla="*/ 1020192 w 5719680"/>
                <a:gd name="connsiteY19645" fmla="*/ 5554095 h 5704395"/>
                <a:gd name="connsiteX19646" fmla="*/ 1019239 w 5719680"/>
                <a:gd name="connsiteY19646" fmla="*/ 5554728 h 5704395"/>
                <a:gd name="connsiteX19647" fmla="*/ 1126277 w 5719680"/>
                <a:gd name="connsiteY19647" fmla="*/ 5660886 h 5704395"/>
                <a:gd name="connsiteX19648" fmla="*/ 1126277 w 5719680"/>
                <a:gd name="connsiteY19648" fmla="*/ 5661520 h 5704395"/>
                <a:gd name="connsiteX19649" fmla="*/ 1125959 w 5719680"/>
                <a:gd name="connsiteY19649" fmla="*/ 5691307 h 5704395"/>
                <a:gd name="connsiteX19650" fmla="*/ 1125641 w 5719680"/>
                <a:gd name="connsiteY19650" fmla="*/ 5703982 h 5704395"/>
                <a:gd name="connsiteX19651" fmla="*/ 1121195 w 5719680"/>
                <a:gd name="connsiteY19651" fmla="*/ 5703982 h 5704395"/>
                <a:gd name="connsiteX19652" fmla="*/ 1121512 w 5719680"/>
                <a:gd name="connsiteY19652" fmla="*/ 5688455 h 5704395"/>
                <a:gd name="connsiteX19653" fmla="*/ 1121830 w 5719680"/>
                <a:gd name="connsiteY19653" fmla="*/ 5662470 h 5704395"/>
                <a:gd name="connsiteX19654" fmla="*/ 1010346 w 5719680"/>
                <a:gd name="connsiteY19654" fmla="*/ 5551876 h 5704395"/>
                <a:gd name="connsiteX19655" fmla="*/ 972231 w 5719680"/>
                <a:gd name="connsiteY19655" fmla="*/ 5472021 h 5704395"/>
                <a:gd name="connsiteX19656" fmla="*/ 954762 w 5719680"/>
                <a:gd name="connsiteY19656" fmla="*/ 5403890 h 5704395"/>
                <a:gd name="connsiteX19657" fmla="*/ 839149 w 5719680"/>
                <a:gd name="connsiteY19657" fmla="*/ 5423537 h 5704395"/>
                <a:gd name="connsiteX19658" fmla="*/ 841690 w 5719680"/>
                <a:gd name="connsiteY19658" fmla="*/ 5543954 h 5704395"/>
                <a:gd name="connsiteX19659" fmla="*/ 843596 w 5719680"/>
                <a:gd name="connsiteY19659" fmla="*/ 5614620 h 5704395"/>
                <a:gd name="connsiteX19660" fmla="*/ 953810 w 5719680"/>
                <a:gd name="connsiteY19660" fmla="*/ 5703982 h 5704395"/>
                <a:gd name="connsiteX19661" fmla="*/ 901402 w 5719680"/>
                <a:gd name="connsiteY19661" fmla="*/ 5703982 h 5704395"/>
                <a:gd name="connsiteX19662" fmla="*/ 841055 w 5719680"/>
                <a:gd name="connsiteY19662" fmla="*/ 5664688 h 5704395"/>
                <a:gd name="connsiteX19663" fmla="*/ 780707 w 5719680"/>
                <a:gd name="connsiteY19663" fmla="*/ 5703982 h 5704395"/>
                <a:gd name="connsiteX19664" fmla="*/ 728300 w 5719680"/>
                <a:gd name="connsiteY19664" fmla="*/ 5703982 h 5704395"/>
                <a:gd name="connsiteX19665" fmla="*/ 729571 w 5719680"/>
                <a:gd name="connsiteY19665" fmla="*/ 5698279 h 5704395"/>
                <a:gd name="connsiteX19666" fmla="*/ 670494 w 5719680"/>
                <a:gd name="connsiteY19666" fmla="*/ 5683385 h 5704395"/>
                <a:gd name="connsiteX19667" fmla="*/ 508508 w 5719680"/>
                <a:gd name="connsiteY19667" fmla="*/ 5658034 h 5704395"/>
                <a:gd name="connsiteX19668" fmla="*/ 327783 w 5719680"/>
                <a:gd name="connsiteY19668" fmla="*/ 5603529 h 5704395"/>
                <a:gd name="connsiteX19669" fmla="*/ 385907 w 5719680"/>
                <a:gd name="connsiteY19669" fmla="*/ 5639337 h 5704395"/>
                <a:gd name="connsiteX19670" fmla="*/ 515496 w 5719680"/>
                <a:gd name="connsiteY19670" fmla="*/ 5703982 h 5704395"/>
                <a:gd name="connsiteX19671" fmla="*/ 400835 w 5719680"/>
                <a:gd name="connsiteY19671" fmla="*/ 5703982 h 5704395"/>
                <a:gd name="connsiteX19672" fmla="*/ 361768 w 5719680"/>
                <a:gd name="connsiteY19672" fmla="*/ 5681167 h 5704395"/>
                <a:gd name="connsiteX19673" fmla="*/ 258224 w 5719680"/>
                <a:gd name="connsiteY19673" fmla="*/ 5615888 h 5704395"/>
                <a:gd name="connsiteX19674" fmla="*/ 177232 w 5719680"/>
                <a:gd name="connsiteY19674" fmla="*/ 5560115 h 5704395"/>
                <a:gd name="connsiteX19675" fmla="*/ 148328 w 5719680"/>
                <a:gd name="connsiteY19675" fmla="*/ 5539201 h 5704395"/>
                <a:gd name="connsiteX19676" fmla="*/ 110849 w 5719680"/>
                <a:gd name="connsiteY19676" fmla="*/ 5510364 h 5704395"/>
                <a:gd name="connsiteX19677" fmla="*/ 128001 w 5719680"/>
                <a:gd name="connsiteY19677" fmla="*/ 5630148 h 5704395"/>
                <a:gd name="connsiteX19678" fmla="*/ 133718 w 5719680"/>
                <a:gd name="connsiteY19678" fmla="*/ 5703982 h 5704395"/>
                <a:gd name="connsiteX19679" fmla="*/ 119425 w 5719680"/>
                <a:gd name="connsiteY19679" fmla="*/ 5703982 h 5704395"/>
                <a:gd name="connsiteX19680" fmla="*/ 113708 w 5719680"/>
                <a:gd name="connsiteY19680" fmla="*/ 5630781 h 5704395"/>
                <a:gd name="connsiteX19681" fmla="*/ 99733 w 5719680"/>
                <a:gd name="connsiteY19681" fmla="*/ 5530011 h 5704395"/>
                <a:gd name="connsiteX19682" fmla="*/ 93063 w 5719680"/>
                <a:gd name="connsiteY19682" fmla="*/ 5495470 h 5704395"/>
                <a:gd name="connsiteX19683" fmla="*/ 8894 w 5719680"/>
                <a:gd name="connsiteY19683" fmla="*/ 5411178 h 5704395"/>
                <a:gd name="connsiteX19684" fmla="*/ 1271 w 5719680"/>
                <a:gd name="connsiteY19684" fmla="*/ 5403573 h 5704395"/>
                <a:gd name="connsiteX19685" fmla="*/ 1271 w 5719680"/>
                <a:gd name="connsiteY19685" fmla="*/ 5311358 h 5704395"/>
                <a:gd name="connsiteX19686" fmla="*/ 80040 w 5719680"/>
                <a:gd name="connsiteY19686" fmla="*/ 5382024 h 5704395"/>
                <a:gd name="connsiteX19687" fmla="*/ 202959 w 5719680"/>
                <a:gd name="connsiteY19687" fmla="*/ 5481844 h 5704395"/>
                <a:gd name="connsiteX19688" fmla="*/ 303009 w 5719680"/>
                <a:gd name="connsiteY19688" fmla="*/ 5542687 h 5704395"/>
                <a:gd name="connsiteX19689" fmla="*/ 517719 w 5719680"/>
                <a:gd name="connsiteY19689" fmla="*/ 5610817 h 5704395"/>
                <a:gd name="connsiteX19690" fmla="*/ 680340 w 5719680"/>
                <a:gd name="connsiteY19690" fmla="*/ 5636168 h 5704395"/>
                <a:gd name="connsiteX19691" fmla="*/ 753074 w 5719680"/>
                <a:gd name="connsiteY19691" fmla="*/ 5654865 h 5704395"/>
                <a:gd name="connsiteX19692" fmla="*/ 822951 w 5719680"/>
                <a:gd name="connsiteY19692" fmla="*/ 5616205 h 5704395"/>
                <a:gd name="connsiteX19693" fmla="*/ 820092 w 5719680"/>
                <a:gd name="connsiteY19693" fmla="*/ 5515751 h 5704395"/>
                <a:gd name="connsiteX19694" fmla="*/ 805164 w 5719680"/>
                <a:gd name="connsiteY19694" fmla="*/ 5513216 h 5704395"/>
                <a:gd name="connsiteX19695" fmla="*/ 804211 w 5719680"/>
                <a:gd name="connsiteY19695" fmla="*/ 5596874 h 5704395"/>
                <a:gd name="connsiteX19696" fmla="*/ 802623 w 5719680"/>
                <a:gd name="connsiteY19696" fmla="*/ 5597191 h 5704395"/>
                <a:gd name="connsiteX19697" fmla="*/ 780707 w 5719680"/>
                <a:gd name="connsiteY19697" fmla="*/ 5605430 h 5704395"/>
                <a:gd name="connsiteX19698" fmla="*/ 740370 w 5719680"/>
                <a:gd name="connsiteY19698" fmla="*/ 5636168 h 5704395"/>
                <a:gd name="connsiteX19699" fmla="*/ 739734 w 5719680"/>
                <a:gd name="connsiteY19699" fmla="*/ 5636802 h 5704395"/>
                <a:gd name="connsiteX19700" fmla="*/ 738782 w 5719680"/>
                <a:gd name="connsiteY19700" fmla="*/ 5636802 h 5704395"/>
                <a:gd name="connsiteX19701" fmla="*/ 738464 w 5719680"/>
                <a:gd name="connsiteY19701" fmla="*/ 5636802 h 5704395"/>
                <a:gd name="connsiteX19702" fmla="*/ 397341 w 5719680"/>
                <a:gd name="connsiteY19702" fmla="*/ 5568671 h 5704395"/>
                <a:gd name="connsiteX19703" fmla="*/ 397024 w 5719680"/>
                <a:gd name="connsiteY19703" fmla="*/ 5568671 h 5704395"/>
                <a:gd name="connsiteX19704" fmla="*/ 295703 w 5719680"/>
                <a:gd name="connsiteY19704" fmla="*/ 5524624 h 5704395"/>
                <a:gd name="connsiteX19705" fmla="*/ 295068 w 5719680"/>
                <a:gd name="connsiteY19705" fmla="*/ 5524941 h 5704395"/>
                <a:gd name="connsiteX19706" fmla="*/ 294115 w 5719680"/>
                <a:gd name="connsiteY19706" fmla="*/ 5525258 h 5704395"/>
                <a:gd name="connsiteX19707" fmla="*/ 293798 w 5719680"/>
                <a:gd name="connsiteY19707" fmla="*/ 5525258 h 5704395"/>
                <a:gd name="connsiteX19708" fmla="*/ 293480 w 5719680"/>
                <a:gd name="connsiteY19708" fmla="*/ 5525258 h 5704395"/>
                <a:gd name="connsiteX19709" fmla="*/ 293798 w 5719680"/>
                <a:gd name="connsiteY19709" fmla="*/ 5523990 h 5704395"/>
                <a:gd name="connsiteX19710" fmla="*/ 219792 w 5719680"/>
                <a:gd name="connsiteY19710" fmla="*/ 5491668 h 5704395"/>
                <a:gd name="connsiteX19711" fmla="*/ 155951 w 5719680"/>
                <a:gd name="connsiteY19711" fmla="*/ 5431142 h 5704395"/>
                <a:gd name="connsiteX19712" fmla="*/ 153410 w 5719680"/>
                <a:gd name="connsiteY19712" fmla="*/ 5429241 h 5704395"/>
                <a:gd name="connsiteX19713" fmla="*/ 153728 w 5719680"/>
                <a:gd name="connsiteY19713" fmla="*/ 5428924 h 5704395"/>
                <a:gd name="connsiteX19714" fmla="*/ 1271 w 5719680"/>
                <a:gd name="connsiteY19714" fmla="*/ 5284106 h 5704395"/>
                <a:gd name="connsiteX19715" fmla="*/ 1271 w 5719680"/>
                <a:gd name="connsiteY19715" fmla="*/ 5278085 h 5704395"/>
                <a:gd name="connsiteX19716" fmla="*/ 105767 w 5719680"/>
                <a:gd name="connsiteY19716" fmla="*/ 5377271 h 5704395"/>
                <a:gd name="connsiteX19717" fmla="*/ 160715 w 5719680"/>
                <a:gd name="connsiteY19717" fmla="*/ 5302802 h 5704395"/>
                <a:gd name="connsiteX19718" fmla="*/ 200418 w 5719680"/>
                <a:gd name="connsiteY19718" fmla="*/ 5250199 h 5704395"/>
                <a:gd name="connsiteX19719" fmla="*/ 214075 w 5719680"/>
                <a:gd name="connsiteY19719" fmla="*/ 5232453 h 5704395"/>
                <a:gd name="connsiteX19720" fmla="*/ 218204 w 5719680"/>
                <a:gd name="connsiteY19720" fmla="*/ 5227700 h 5704395"/>
                <a:gd name="connsiteX19721" fmla="*/ 218522 w 5719680"/>
                <a:gd name="connsiteY19721" fmla="*/ 5227383 h 5704395"/>
                <a:gd name="connsiteX19722" fmla="*/ 121648 w 5719680"/>
                <a:gd name="connsiteY19722" fmla="*/ 5119958 h 5704395"/>
                <a:gd name="connsiteX19723" fmla="*/ 97827 w 5719680"/>
                <a:gd name="connsiteY19723" fmla="*/ 5238474 h 5704395"/>
                <a:gd name="connsiteX19724" fmla="*/ 71464 w 5719680"/>
                <a:gd name="connsiteY19724" fmla="*/ 5273015 h 5704395"/>
                <a:gd name="connsiteX19725" fmla="*/ 84804 w 5719680"/>
                <a:gd name="connsiteY19725" fmla="*/ 5283789 h 5704395"/>
                <a:gd name="connsiteX19726" fmla="*/ 76229 w 5719680"/>
                <a:gd name="connsiteY19726" fmla="*/ 5294246 h 5704395"/>
                <a:gd name="connsiteX19727" fmla="*/ 87981 w 5719680"/>
                <a:gd name="connsiteY19727" fmla="*/ 5303753 h 5704395"/>
                <a:gd name="connsiteX19728" fmla="*/ 70829 w 5719680"/>
                <a:gd name="connsiteY19728" fmla="*/ 5324985 h 5704395"/>
                <a:gd name="connsiteX19729" fmla="*/ 46373 w 5719680"/>
                <a:gd name="connsiteY19729" fmla="*/ 5305654 h 5704395"/>
                <a:gd name="connsiteX19730" fmla="*/ 40655 w 5719680"/>
                <a:gd name="connsiteY19730" fmla="*/ 5313260 h 5704395"/>
                <a:gd name="connsiteX19731" fmla="*/ 37162 w 5719680"/>
                <a:gd name="connsiteY19731" fmla="*/ 5310725 h 5704395"/>
                <a:gd name="connsiteX19732" fmla="*/ 42879 w 5719680"/>
                <a:gd name="connsiteY19732" fmla="*/ 5302802 h 5704395"/>
                <a:gd name="connsiteX19733" fmla="*/ 18422 w 5719680"/>
                <a:gd name="connsiteY19733" fmla="*/ 5283472 h 5704395"/>
                <a:gd name="connsiteX19734" fmla="*/ 19693 w 5719680"/>
                <a:gd name="connsiteY19734" fmla="*/ 5281888 h 5704395"/>
                <a:gd name="connsiteX19735" fmla="*/ 35574 w 5719680"/>
                <a:gd name="connsiteY19735" fmla="*/ 5261924 h 5704395"/>
                <a:gd name="connsiteX19736" fmla="*/ 47325 w 5719680"/>
                <a:gd name="connsiteY19736" fmla="*/ 5271431 h 5704395"/>
                <a:gd name="connsiteX19737" fmla="*/ 55901 w 5719680"/>
                <a:gd name="connsiteY19737" fmla="*/ 5260656 h 5704395"/>
                <a:gd name="connsiteX19738" fmla="*/ 67971 w 5719680"/>
                <a:gd name="connsiteY19738" fmla="*/ 5270480 h 5704395"/>
                <a:gd name="connsiteX19739" fmla="*/ 93698 w 5719680"/>
                <a:gd name="connsiteY19739" fmla="*/ 5236890 h 5704395"/>
                <a:gd name="connsiteX19740" fmla="*/ 117837 w 5719680"/>
                <a:gd name="connsiteY19740" fmla="*/ 5116155 h 5704395"/>
                <a:gd name="connsiteX19741" fmla="*/ 6035 w 5719680"/>
                <a:gd name="connsiteY19741" fmla="*/ 5057531 h 5704395"/>
                <a:gd name="connsiteX19742" fmla="*/ 1271 w 5719680"/>
                <a:gd name="connsiteY19742" fmla="*/ 5063869 h 5704395"/>
                <a:gd name="connsiteX19743" fmla="*/ 1271 w 5719680"/>
                <a:gd name="connsiteY19743" fmla="*/ 5056897 h 5704395"/>
                <a:gd name="connsiteX19744" fmla="*/ 2541 w 5719680"/>
                <a:gd name="connsiteY19744" fmla="*/ 5055630 h 5704395"/>
                <a:gd name="connsiteX19745" fmla="*/ 1271 w 5719680"/>
                <a:gd name="connsiteY19745" fmla="*/ 5054996 h 5704395"/>
                <a:gd name="connsiteX19746" fmla="*/ 1271 w 5719680"/>
                <a:gd name="connsiteY19746" fmla="*/ 5049926 h 5704395"/>
                <a:gd name="connsiteX19747" fmla="*/ 5082 w 5719680"/>
                <a:gd name="connsiteY19747" fmla="*/ 5052144 h 5704395"/>
                <a:gd name="connsiteX19748" fmla="*/ 34621 w 5719680"/>
                <a:gd name="connsiteY19748" fmla="*/ 5012850 h 5704395"/>
                <a:gd name="connsiteX19749" fmla="*/ 3494 w 5719680"/>
                <a:gd name="connsiteY19749" fmla="*/ 4996689 h 5704395"/>
                <a:gd name="connsiteX19750" fmla="*/ 1271 w 5719680"/>
                <a:gd name="connsiteY19750" fmla="*/ 4999541 h 5704395"/>
                <a:gd name="connsiteX19751" fmla="*/ 1271 w 5719680"/>
                <a:gd name="connsiteY19751" fmla="*/ 4990668 h 5704395"/>
                <a:gd name="connsiteX19752" fmla="*/ 2541 w 5719680"/>
                <a:gd name="connsiteY19752" fmla="*/ 4991302 h 5704395"/>
                <a:gd name="connsiteX19753" fmla="*/ 29221 w 5719680"/>
                <a:gd name="connsiteY19753" fmla="*/ 4955493 h 5704395"/>
                <a:gd name="connsiteX19754" fmla="*/ 63842 w 5719680"/>
                <a:gd name="connsiteY19754" fmla="*/ 4980844 h 5704395"/>
                <a:gd name="connsiteX19755" fmla="*/ 62571 w 5719680"/>
                <a:gd name="connsiteY19755" fmla="*/ 4982429 h 5704395"/>
                <a:gd name="connsiteX19756" fmla="*/ 40973 w 5719680"/>
                <a:gd name="connsiteY19756" fmla="*/ 5011266 h 5704395"/>
                <a:gd name="connsiteX19757" fmla="*/ 264259 w 5719680"/>
                <a:gd name="connsiteY19757" fmla="*/ 5127563 h 5704395"/>
                <a:gd name="connsiteX19758" fmla="*/ 285857 w 5719680"/>
                <a:gd name="connsiteY19758" fmla="*/ 5026476 h 5704395"/>
                <a:gd name="connsiteX19759" fmla="*/ 213440 w 5719680"/>
                <a:gd name="connsiteY19759" fmla="*/ 5015385 h 5704395"/>
                <a:gd name="connsiteX19760" fmla="*/ 224557 w 5719680"/>
                <a:gd name="connsiteY19760" fmla="*/ 4989717 h 5704395"/>
                <a:gd name="connsiteX19761" fmla="*/ 34938 w 5719680"/>
                <a:gd name="connsiteY19761" fmla="*/ 4937431 h 5704395"/>
                <a:gd name="connsiteX19762" fmla="*/ 1271 w 5719680"/>
                <a:gd name="connsiteY19762" fmla="*/ 4980844 h 5704395"/>
                <a:gd name="connsiteX19763" fmla="*/ 1271 w 5719680"/>
                <a:gd name="connsiteY19763" fmla="*/ 4946937 h 5704395"/>
                <a:gd name="connsiteX19764" fmla="*/ 17152 w 5719680"/>
                <a:gd name="connsiteY19764" fmla="*/ 4926656 h 5704395"/>
                <a:gd name="connsiteX19765" fmla="*/ 57489 w 5719680"/>
                <a:gd name="connsiteY19765" fmla="*/ 4874053 h 5704395"/>
                <a:gd name="connsiteX19766" fmla="*/ 1271 w 5719680"/>
                <a:gd name="connsiteY19766" fmla="*/ 4825886 h 5704395"/>
                <a:gd name="connsiteX19767" fmla="*/ 1271 w 5719680"/>
                <a:gd name="connsiteY19767" fmla="*/ 4798317 h 5704395"/>
                <a:gd name="connsiteX19768" fmla="*/ 22303 w 5719680"/>
                <a:gd name="connsiteY19768" fmla="*/ 4816260 h 5704395"/>
                <a:gd name="connsiteX19769" fmla="*/ 22234 w 5719680"/>
                <a:gd name="connsiteY19769" fmla="*/ 4816379 h 5704395"/>
                <a:gd name="connsiteX19770" fmla="*/ 23186 w 5719680"/>
                <a:gd name="connsiteY19770" fmla="*/ 4817013 h 5704395"/>
                <a:gd name="connsiteX19771" fmla="*/ 22303 w 5719680"/>
                <a:gd name="connsiteY19771" fmla="*/ 4816260 h 5704395"/>
                <a:gd name="connsiteX19772" fmla="*/ 23251 w 5719680"/>
                <a:gd name="connsiteY19772" fmla="*/ 4814626 h 5704395"/>
                <a:gd name="connsiteX19773" fmla="*/ 87345 w 5719680"/>
                <a:gd name="connsiteY19773" fmla="*/ 4704201 h 5704395"/>
                <a:gd name="connsiteX19774" fmla="*/ 13340 w 5719680"/>
                <a:gd name="connsiteY19774" fmla="*/ 4672512 h 5704395"/>
                <a:gd name="connsiteX19775" fmla="*/ 1271 w 5719680"/>
                <a:gd name="connsiteY19775" fmla="*/ 4687723 h 5704395"/>
                <a:gd name="connsiteX19776" fmla="*/ 1271 w 5719680"/>
                <a:gd name="connsiteY19776" fmla="*/ 4680435 h 5704395"/>
                <a:gd name="connsiteX19777" fmla="*/ 8894 w 5719680"/>
                <a:gd name="connsiteY19777" fmla="*/ 4670928 h 5704395"/>
                <a:gd name="connsiteX19778" fmla="*/ 7623 w 5719680"/>
                <a:gd name="connsiteY19778" fmla="*/ 4670294 h 5704395"/>
                <a:gd name="connsiteX19779" fmla="*/ 1271 w 5719680"/>
                <a:gd name="connsiteY19779" fmla="*/ 4664590 h 5704395"/>
                <a:gd name="connsiteX19780" fmla="*/ 1271 w 5719680"/>
                <a:gd name="connsiteY19780" fmla="*/ 4658569 h 5704395"/>
                <a:gd name="connsiteX19781" fmla="*/ 9846 w 5719680"/>
                <a:gd name="connsiteY19781" fmla="*/ 4666491 h 5704395"/>
                <a:gd name="connsiteX19782" fmla="*/ 43479 w 5719680"/>
                <a:gd name="connsiteY19782" fmla="*/ 4680796 h 5704395"/>
                <a:gd name="connsiteX19783" fmla="*/ 89476 w 5719680"/>
                <a:gd name="connsiteY19783" fmla="*/ 4700359 h 5704395"/>
                <a:gd name="connsiteX19784" fmla="*/ 89251 w 5719680"/>
                <a:gd name="connsiteY19784" fmla="*/ 4701032 h 5704395"/>
                <a:gd name="connsiteX19785" fmla="*/ 89569 w 5719680"/>
                <a:gd name="connsiteY19785" fmla="*/ 4700399 h 5704395"/>
                <a:gd name="connsiteX19786" fmla="*/ 89476 w 5719680"/>
                <a:gd name="connsiteY19786" fmla="*/ 4700359 h 5704395"/>
                <a:gd name="connsiteX19787" fmla="*/ 89569 w 5719680"/>
                <a:gd name="connsiteY19787" fmla="*/ 4700082 h 5704395"/>
                <a:gd name="connsiteX19788" fmla="*/ 122283 w 5719680"/>
                <a:gd name="connsiteY19788" fmla="*/ 4713391 h 5704395"/>
                <a:gd name="connsiteX19789" fmla="*/ 157539 w 5719680"/>
                <a:gd name="connsiteY19789" fmla="*/ 4630683 h 5704395"/>
                <a:gd name="connsiteX19790" fmla="*/ 152775 w 5719680"/>
                <a:gd name="connsiteY19790" fmla="*/ 4627197 h 5704395"/>
                <a:gd name="connsiteX19791" fmla="*/ 149916 w 5719680"/>
                <a:gd name="connsiteY19791" fmla="*/ 4624979 h 5704395"/>
                <a:gd name="connsiteX19792" fmla="*/ 149281 w 5719680"/>
                <a:gd name="connsiteY19792" fmla="*/ 4624345 h 5704395"/>
                <a:gd name="connsiteX19793" fmla="*/ 47008 w 5719680"/>
                <a:gd name="connsiteY19793" fmla="*/ 4543856 h 5704395"/>
                <a:gd name="connsiteX19794" fmla="*/ 32397 w 5719680"/>
                <a:gd name="connsiteY19794" fmla="*/ 4566038 h 5704395"/>
                <a:gd name="connsiteX19795" fmla="*/ 18422 w 5719680"/>
                <a:gd name="connsiteY19795" fmla="*/ 4587270 h 5704395"/>
                <a:gd name="connsiteX19796" fmla="*/ 13975 w 5719680"/>
                <a:gd name="connsiteY19796" fmla="*/ 4594558 h 5704395"/>
                <a:gd name="connsiteX19797" fmla="*/ 12705 w 5719680"/>
                <a:gd name="connsiteY19797" fmla="*/ 4596776 h 5704395"/>
                <a:gd name="connsiteX19798" fmla="*/ 12705 w 5719680"/>
                <a:gd name="connsiteY19798" fmla="*/ 4597410 h 5704395"/>
                <a:gd name="connsiteX19799" fmla="*/ 11752 w 5719680"/>
                <a:gd name="connsiteY19799" fmla="*/ 4597093 h 5704395"/>
                <a:gd name="connsiteX19800" fmla="*/ 10799 w 5719680"/>
                <a:gd name="connsiteY19800" fmla="*/ 4597093 h 5704395"/>
                <a:gd name="connsiteX19801" fmla="*/ 11117 w 5719680"/>
                <a:gd name="connsiteY19801" fmla="*/ 4599311 h 5704395"/>
                <a:gd name="connsiteX19802" fmla="*/ 1271 w 5719680"/>
                <a:gd name="connsiteY19802" fmla="*/ 4602480 h 5704395"/>
                <a:gd name="connsiteX19803" fmla="*/ 1271 w 5719680"/>
                <a:gd name="connsiteY19803" fmla="*/ 4598044 h 5704395"/>
                <a:gd name="connsiteX19804" fmla="*/ 8576 w 5719680"/>
                <a:gd name="connsiteY19804" fmla="*/ 4595509 h 5704395"/>
                <a:gd name="connsiteX19805" fmla="*/ 10164 w 5719680"/>
                <a:gd name="connsiteY19805" fmla="*/ 4592340 h 5704395"/>
                <a:gd name="connsiteX19806" fmla="*/ 43514 w 5719680"/>
                <a:gd name="connsiteY19806" fmla="*/ 4541004 h 5704395"/>
                <a:gd name="connsiteX19807" fmla="*/ 1271 w 5719680"/>
                <a:gd name="connsiteY19807" fmla="*/ 4507731 h 5704395"/>
                <a:gd name="connsiteX19808" fmla="*/ 1271 w 5719680"/>
                <a:gd name="connsiteY19808" fmla="*/ 4479528 h 5704395"/>
                <a:gd name="connsiteX19809" fmla="*/ 13975 w 5719680"/>
                <a:gd name="connsiteY19809" fmla="*/ 4447205 h 5704395"/>
                <a:gd name="connsiteX19810" fmla="*/ 1271 w 5719680"/>
                <a:gd name="connsiteY19810" fmla="*/ 4437382 h 5704395"/>
                <a:gd name="connsiteX19811" fmla="*/ 1271 w 5719680"/>
                <a:gd name="connsiteY19811" fmla="*/ 4431994 h 5704395"/>
                <a:gd name="connsiteX19812" fmla="*/ 15881 w 5719680"/>
                <a:gd name="connsiteY19812" fmla="*/ 4443086 h 5704395"/>
                <a:gd name="connsiteX19813" fmla="*/ 36209 w 5719680"/>
                <a:gd name="connsiteY19813" fmla="*/ 4391116 h 5704395"/>
                <a:gd name="connsiteX19814" fmla="*/ 1271 w 5719680"/>
                <a:gd name="connsiteY19814" fmla="*/ 4373370 h 5704395"/>
                <a:gd name="connsiteX19815" fmla="*/ 1271 w 5719680"/>
                <a:gd name="connsiteY19815" fmla="*/ 4368617 h 5704395"/>
                <a:gd name="connsiteX19816" fmla="*/ 17152 w 5719680"/>
                <a:gd name="connsiteY19816" fmla="*/ 4376856 h 5704395"/>
                <a:gd name="connsiteX19817" fmla="*/ 33985 w 5719680"/>
                <a:gd name="connsiteY19817" fmla="*/ 4385095 h 5704395"/>
                <a:gd name="connsiteX19818" fmla="*/ 37797 w 5719680"/>
                <a:gd name="connsiteY19818" fmla="*/ 4386996 h 5704395"/>
                <a:gd name="connsiteX19819" fmla="*/ 54948 w 5719680"/>
                <a:gd name="connsiteY19819" fmla="*/ 4343266 h 5704395"/>
                <a:gd name="connsiteX19820" fmla="*/ 1271 w 5719680"/>
                <a:gd name="connsiteY19820" fmla="*/ 4319816 h 5704395"/>
                <a:gd name="connsiteX19821" fmla="*/ 1271 w 5719680"/>
                <a:gd name="connsiteY19821" fmla="*/ 4315063 h 5704395"/>
                <a:gd name="connsiteX19822" fmla="*/ 56536 w 5719680"/>
                <a:gd name="connsiteY19822" fmla="*/ 4339146 h 5704395"/>
                <a:gd name="connsiteX19823" fmla="*/ 62571 w 5719680"/>
                <a:gd name="connsiteY19823" fmla="*/ 4323619 h 5704395"/>
                <a:gd name="connsiteX19824" fmla="*/ 34303 w 5719680"/>
                <a:gd name="connsiteY19824" fmla="*/ 4272600 h 5704395"/>
                <a:gd name="connsiteX19825" fmla="*/ 34303 w 5719680"/>
                <a:gd name="connsiteY19825" fmla="*/ 4272283 h 5704395"/>
                <a:gd name="connsiteX19826" fmla="*/ 1271 w 5719680"/>
                <a:gd name="connsiteY19826" fmla="*/ 4264995 h 5704395"/>
                <a:gd name="connsiteX19827" fmla="*/ 1271 w 5719680"/>
                <a:gd name="connsiteY19827" fmla="*/ 4260241 h 5704395"/>
                <a:gd name="connsiteX19828" fmla="*/ 37162 w 5719680"/>
                <a:gd name="connsiteY19828" fmla="*/ 4268480 h 5704395"/>
                <a:gd name="connsiteX19829" fmla="*/ 72735 w 5719680"/>
                <a:gd name="connsiteY19829" fmla="*/ 4213659 h 5704395"/>
                <a:gd name="connsiteX19830" fmla="*/ 80358 w 5719680"/>
                <a:gd name="connsiteY19830" fmla="*/ 4124930 h 5704395"/>
                <a:gd name="connsiteX19831" fmla="*/ 81946 w 5719680"/>
                <a:gd name="connsiteY19831" fmla="*/ 4106550 h 5704395"/>
                <a:gd name="connsiteX19832" fmla="*/ 80040 w 5719680"/>
                <a:gd name="connsiteY19832" fmla="*/ 4087220 h 5704395"/>
                <a:gd name="connsiteX19833" fmla="*/ 34303 w 5719680"/>
                <a:gd name="connsiteY19833" fmla="*/ 4106550 h 5704395"/>
                <a:gd name="connsiteX19834" fmla="*/ 1271 w 5719680"/>
                <a:gd name="connsiteY19834" fmla="*/ 4120810 h 5704395"/>
                <a:gd name="connsiteX19835" fmla="*/ 1271 w 5719680"/>
                <a:gd name="connsiteY19835" fmla="*/ 4116057 h 5704395"/>
                <a:gd name="connsiteX19836" fmla="*/ 33985 w 5719680"/>
                <a:gd name="connsiteY19836" fmla="*/ 4102114 h 5704395"/>
                <a:gd name="connsiteX19837" fmla="*/ 69559 w 5719680"/>
                <a:gd name="connsiteY19837" fmla="*/ 4086903 h 5704395"/>
                <a:gd name="connsiteX19838" fmla="*/ 79087 w 5719680"/>
                <a:gd name="connsiteY19838" fmla="*/ 4082784 h 5704395"/>
                <a:gd name="connsiteX19839" fmla="*/ 56536 w 5719680"/>
                <a:gd name="connsiteY19839" fmla="*/ 4034300 h 5704395"/>
                <a:gd name="connsiteX19840" fmla="*/ 37797 w 5719680"/>
                <a:gd name="connsiteY19840" fmla="*/ 4016554 h 5704395"/>
                <a:gd name="connsiteX19841" fmla="*/ 30174 w 5719680"/>
                <a:gd name="connsiteY19841" fmla="*/ 4012118 h 5704395"/>
                <a:gd name="connsiteX19842" fmla="*/ 27951 w 5719680"/>
                <a:gd name="connsiteY19842" fmla="*/ 4011167 h 5704395"/>
                <a:gd name="connsiteX19843" fmla="*/ 22234 w 5719680"/>
                <a:gd name="connsiteY19843" fmla="*/ 4010533 h 5704395"/>
                <a:gd name="connsiteX19844" fmla="*/ 1271 w 5719680"/>
                <a:gd name="connsiteY19844" fmla="*/ 4007048 h 5704395"/>
                <a:gd name="connsiteX19845" fmla="*/ 1271 w 5719680"/>
                <a:gd name="connsiteY19845" fmla="*/ 3992471 h 5704395"/>
                <a:gd name="connsiteX19846" fmla="*/ 13340 w 5719680"/>
                <a:gd name="connsiteY19846" fmla="*/ 3994689 h 5704395"/>
                <a:gd name="connsiteX19847" fmla="*/ 24139 w 5719680"/>
                <a:gd name="connsiteY19847" fmla="*/ 3996273 h 5704395"/>
                <a:gd name="connsiteX19848" fmla="*/ 27633 w 5719680"/>
                <a:gd name="connsiteY19848" fmla="*/ 3996907 h 5704395"/>
                <a:gd name="connsiteX19849" fmla="*/ 28586 w 5719680"/>
                <a:gd name="connsiteY19849" fmla="*/ 3996907 h 5704395"/>
                <a:gd name="connsiteX19850" fmla="*/ 36526 w 5719680"/>
                <a:gd name="connsiteY19850" fmla="*/ 3999442 h 5704395"/>
                <a:gd name="connsiteX19851" fmla="*/ 96874 w 5719680"/>
                <a:gd name="connsiteY19851" fmla="*/ 3926875 h 5704395"/>
                <a:gd name="connsiteX19852" fmla="*/ 80675 w 5719680"/>
                <a:gd name="connsiteY19852" fmla="*/ 3906277 h 5704395"/>
                <a:gd name="connsiteX19853" fmla="*/ 48278 w 5719680"/>
                <a:gd name="connsiteY19853" fmla="*/ 3873004 h 5704395"/>
                <a:gd name="connsiteX19854" fmla="*/ 1271 w 5719680"/>
                <a:gd name="connsiteY19854" fmla="*/ 3862230 h 5704395"/>
                <a:gd name="connsiteX19855" fmla="*/ 1271 w 5719680"/>
                <a:gd name="connsiteY19855" fmla="*/ 3841315 h 5704395"/>
                <a:gd name="connsiteX19856" fmla="*/ 22551 w 5719680"/>
                <a:gd name="connsiteY19856" fmla="*/ 3843850 h 5704395"/>
                <a:gd name="connsiteX19857" fmla="*/ 33033 w 5719680"/>
                <a:gd name="connsiteY19857" fmla="*/ 3799803 h 5704395"/>
                <a:gd name="connsiteX19858" fmla="*/ 1271 w 5719680"/>
                <a:gd name="connsiteY19858" fmla="*/ 3781107 h 5704395"/>
                <a:gd name="connsiteX19859" fmla="*/ 1271 w 5719680"/>
                <a:gd name="connsiteY19859" fmla="*/ 3764628 h 5704395"/>
                <a:gd name="connsiteX19860" fmla="*/ 41608 w 5719680"/>
                <a:gd name="connsiteY19860" fmla="*/ 3788078 h 5704395"/>
                <a:gd name="connsiteX19861" fmla="*/ 184537 w 5719680"/>
                <a:gd name="connsiteY19861" fmla="*/ 3719313 h 5704395"/>
                <a:gd name="connsiteX19862" fmla="*/ 114343 w 5719680"/>
                <a:gd name="connsiteY19862" fmla="*/ 3620128 h 5704395"/>
                <a:gd name="connsiteX19863" fmla="*/ 111167 w 5719680"/>
                <a:gd name="connsiteY19863" fmla="*/ 3615691 h 5704395"/>
                <a:gd name="connsiteX19864" fmla="*/ 20010 w 5719680"/>
                <a:gd name="connsiteY19864" fmla="*/ 3675266 h 5704395"/>
                <a:gd name="connsiteX19865" fmla="*/ 1271 w 5719680"/>
                <a:gd name="connsiteY19865" fmla="*/ 3687625 h 5704395"/>
                <a:gd name="connsiteX19866" fmla="*/ 1271 w 5719680"/>
                <a:gd name="connsiteY19866" fmla="*/ 3682238 h 5704395"/>
                <a:gd name="connsiteX19867" fmla="*/ 18740 w 5719680"/>
                <a:gd name="connsiteY19867" fmla="*/ 3670830 h 5704395"/>
                <a:gd name="connsiteX19868" fmla="*/ 83216 w 5719680"/>
                <a:gd name="connsiteY19868" fmla="*/ 3628683 h 5704395"/>
                <a:gd name="connsiteX19869" fmla="*/ 104814 w 5719680"/>
                <a:gd name="connsiteY19869" fmla="*/ 3614424 h 5704395"/>
                <a:gd name="connsiteX19870" fmla="*/ 108626 w 5719680"/>
                <a:gd name="connsiteY19870" fmla="*/ 3611888 h 5704395"/>
                <a:gd name="connsiteX19871" fmla="*/ 77817 w 5719680"/>
                <a:gd name="connsiteY19871" fmla="*/ 3567524 h 5704395"/>
                <a:gd name="connsiteX19872" fmla="*/ 1271 w 5719680"/>
                <a:gd name="connsiteY19872" fmla="*/ 3605868 h 5704395"/>
                <a:gd name="connsiteX19873" fmla="*/ 1271 w 5719680"/>
                <a:gd name="connsiteY19873" fmla="*/ 3600797 h 5704395"/>
                <a:gd name="connsiteX19874" fmla="*/ 75276 w 5719680"/>
                <a:gd name="connsiteY19874" fmla="*/ 3564038 h 5704395"/>
                <a:gd name="connsiteX19875" fmla="*/ 33033 w 5719680"/>
                <a:gd name="connsiteY19875" fmla="*/ 3501928 h 5704395"/>
                <a:gd name="connsiteX19876" fmla="*/ 12070 w 5719680"/>
                <a:gd name="connsiteY19876" fmla="*/ 3472458 h 5704395"/>
                <a:gd name="connsiteX19877" fmla="*/ 11752 w 5719680"/>
                <a:gd name="connsiteY19877" fmla="*/ 3472141 h 5704395"/>
                <a:gd name="connsiteX19878" fmla="*/ 11752 w 5719680"/>
                <a:gd name="connsiteY19878" fmla="*/ 3472458 h 5704395"/>
                <a:gd name="connsiteX19879" fmla="*/ 1271 w 5719680"/>
                <a:gd name="connsiteY19879" fmla="*/ 3481648 h 5704395"/>
                <a:gd name="connsiteX19880" fmla="*/ 1271 w 5719680"/>
                <a:gd name="connsiteY19880" fmla="*/ 3474993 h 5704395"/>
                <a:gd name="connsiteX19881" fmla="*/ 2859 w 5719680"/>
                <a:gd name="connsiteY19881" fmla="*/ 3473725 h 5704395"/>
                <a:gd name="connsiteX19882" fmla="*/ 9211 w 5719680"/>
                <a:gd name="connsiteY19882" fmla="*/ 3468338 h 5704395"/>
                <a:gd name="connsiteX19883" fmla="*/ 5717 w 5719680"/>
                <a:gd name="connsiteY19883" fmla="*/ 3463268 h 5704395"/>
                <a:gd name="connsiteX19884" fmla="*/ 4447 w 5719680"/>
                <a:gd name="connsiteY19884" fmla="*/ 3462000 h 5704395"/>
                <a:gd name="connsiteX19885" fmla="*/ 1271 w 5719680"/>
                <a:gd name="connsiteY19885" fmla="*/ 3456930 h 5704395"/>
                <a:gd name="connsiteX19886" fmla="*/ 1271 w 5719680"/>
                <a:gd name="connsiteY19886" fmla="*/ 3420488 h 5704395"/>
                <a:gd name="connsiteX19887" fmla="*/ 7941 w 5719680"/>
                <a:gd name="connsiteY19887" fmla="*/ 3430629 h 5704395"/>
                <a:gd name="connsiteX19888" fmla="*/ 25092 w 5719680"/>
                <a:gd name="connsiteY19888" fmla="*/ 3417953 h 5704395"/>
                <a:gd name="connsiteX19889" fmla="*/ 108308 w 5719680"/>
                <a:gd name="connsiteY19889" fmla="*/ 3359646 h 5704395"/>
                <a:gd name="connsiteX19890" fmla="*/ 99733 w 5719680"/>
                <a:gd name="connsiteY19890" fmla="*/ 3339048 h 5704395"/>
                <a:gd name="connsiteX19891" fmla="*/ 109896 w 5719680"/>
                <a:gd name="connsiteY19891" fmla="*/ 3332393 h 5704395"/>
                <a:gd name="connsiteX19892" fmla="*/ 107355 w 5719680"/>
                <a:gd name="connsiteY19892" fmla="*/ 3333978 h 5704395"/>
                <a:gd name="connsiteX19893" fmla="*/ 96239 w 5719680"/>
                <a:gd name="connsiteY19893" fmla="*/ 3310211 h 5704395"/>
                <a:gd name="connsiteX19894" fmla="*/ 50184 w 5719680"/>
                <a:gd name="connsiteY19894" fmla="*/ 3344435 h 5704395"/>
                <a:gd name="connsiteX19895" fmla="*/ 1271 w 5719680"/>
                <a:gd name="connsiteY19895" fmla="*/ 3402742 h 5704395"/>
                <a:gd name="connsiteX19896" fmla="*/ 1271 w 5719680"/>
                <a:gd name="connsiteY19896" fmla="*/ 3390067 h 5704395"/>
                <a:gd name="connsiteX19897" fmla="*/ 44467 w 5719680"/>
                <a:gd name="connsiteY19897" fmla="*/ 3339365 h 5704395"/>
                <a:gd name="connsiteX19898" fmla="*/ 138800 w 5719680"/>
                <a:gd name="connsiteY19898" fmla="*/ 3279473 h 5704395"/>
                <a:gd name="connsiteX19899" fmla="*/ 197242 w 5719680"/>
                <a:gd name="connsiteY19899" fmla="*/ 3251270 h 5704395"/>
                <a:gd name="connsiteX19900" fmla="*/ 191207 w 5719680"/>
                <a:gd name="connsiteY19900" fmla="*/ 3244298 h 5704395"/>
                <a:gd name="connsiteX19901" fmla="*/ 184854 w 5719680"/>
                <a:gd name="connsiteY19901" fmla="*/ 3236693 h 5704395"/>
                <a:gd name="connsiteX19902" fmla="*/ 151822 w 5719680"/>
                <a:gd name="connsiteY19902" fmla="*/ 3257608 h 5704395"/>
                <a:gd name="connsiteX19903" fmla="*/ 151504 w 5719680"/>
                <a:gd name="connsiteY19903" fmla="*/ 3257925 h 5704395"/>
                <a:gd name="connsiteX19904" fmla="*/ 151187 w 5719680"/>
                <a:gd name="connsiteY19904" fmla="*/ 3257925 h 5704395"/>
                <a:gd name="connsiteX19905" fmla="*/ 123554 w 5719680"/>
                <a:gd name="connsiteY19905" fmla="*/ 3265530 h 5704395"/>
                <a:gd name="connsiteX19906" fmla="*/ 96556 w 5719680"/>
                <a:gd name="connsiteY19906" fmla="*/ 3270600 h 5704395"/>
                <a:gd name="connsiteX19907" fmla="*/ 70512 w 5719680"/>
                <a:gd name="connsiteY19907" fmla="*/ 3273769 h 5704395"/>
                <a:gd name="connsiteX19908" fmla="*/ 31762 w 5719680"/>
                <a:gd name="connsiteY19908" fmla="*/ 3315598 h 5704395"/>
                <a:gd name="connsiteX19909" fmla="*/ 1271 w 5719680"/>
                <a:gd name="connsiteY19909" fmla="*/ 3348238 h 5704395"/>
                <a:gd name="connsiteX19910" fmla="*/ 1271 w 5719680"/>
                <a:gd name="connsiteY19910" fmla="*/ 3275353 h 5704395"/>
                <a:gd name="connsiteX19911" fmla="*/ 3176 w 5719680"/>
                <a:gd name="connsiteY19911" fmla="*/ 3275353 h 5704395"/>
                <a:gd name="connsiteX19912" fmla="*/ 84169 w 5719680"/>
                <a:gd name="connsiteY19912" fmla="*/ 3188209 h 5704395"/>
                <a:gd name="connsiteX19913" fmla="*/ 47325 w 5719680"/>
                <a:gd name="connsiteY19913" fmla="*/ 3185040 h 5704395"/>
                <a:gd name="connsiteX19914" fmla="*/ 37162 w 5719680"/>
                <a:gd name="connsiteY19914" fmla="*/ 3185357 h 5704395"/>
                <a:gd name="connsiteX19915" fmla="*/ 1271 w 5719680"/>
                <a:gd name="connsiteY19915" fmla="*/ 3197082 h 5704395"/>
                <a:gd name="connsiteX19916" fmla="*/ 1271 w 5719680"/>
                <a:gd name="connsiteY19916" fmla="*/ 3191378 h 5704395"/>
                <a:gd name="connsiteX19917" fmla="*/ 36526 w 5719680"/>
                <a:gd name="connsiteY19917" fmla="*/ 3180287 h 5704395"/>
                <a:gd name="connsiteX19918" fmla="*/ 47325 w 5719680"/>
                <a:gd name="connsiteY19918" fmla="*/ 3179653 h 5704395"/>
                <a:gd name="connsiteX19919" fmla="*/ 88298 w 5719680"/>
                <a:gd name="connsiteY19919" fmla="*/ 3183456 h 5704395"/>
                <a:gd name="connsiteX19920" fmla="*/ 103226 w 5719680"/>
                <a:gd name="connsiteY19920" fmla="*/ 3167612 h 5704395"/>
                <a:gd name="connsiteX19921" fmla="*/ 117837 w 5719680"/>
                <a:gd name="connsiteY19921" fmla="*/ 3155253 h 5704395"/>
                <a:gd name="connsiteX19922" fmla="*/ 89251 w 5719680"/>
                <a:gd name="connsiteY19922" fmla="*/ 3101699 h 5704395"/>
                <a:gd name="connsiteX19923" fmla="*/ 70194 w 5719680"/>
                <a:gd name="connsiteY19923" fmla="*/ 3112473 h 5704395"/>
                <a:gd name="connsiteX19924" fmla="*/ 54948 w 5719680"/>
                <a:gd name="connsiteY19924" fmla="*/ 3121029 h 5704395"/>
                <a:gd name="connsiteX19925" fmla="*/ 49549 w 5719680"/>
                <a:gd name="connsiteY19925" fmla="*/ 3123881 h 5704395"/>
                <a:gd name="connsiteX19926" fmla="*/ 45737 w 5719680"/>
                <a:gd name="connsiteY19926" fmla="*/ 3125149 h 5704395"/>
                <a:gd name="connsiteX19927" fmla="*/ 45420 w 5719680"/>
                <a:gd name="connsiteY19927" fmla="*/ 3125149 h 5704395"/>
                <a:gd name="connsiteX19928" fmla="*/ 45102 w 5719680"/>
                <a:gd name="connsiteY19928" fmla="*/ 3125149 h 5704395"/>
                <a:gd name="connsiteX19929" fmla="*/ 44785 w 5719680"/>
                <a:gd name="connsiteY19929" fmla="*/ 3125149 h 5704395"/>
                <a:gd name="connsiteX19930" fmla="*/ 43196 w 5719680"/>
                <a:gd name="connsiteY19930" fmla="*/ 3124198 h 5704395"/>
                <a:gd name="connsiteX19931" fmla="*/ 32397 w 5719680"/>
                <a:gd name="connsiteY19931" fmla="*/ 3114058 h 5704395"/>
                <a:gd name="connsiteX19932" fmla="*/ 1271 w 5719680"/>
                <a:gd name="connsiteY19932" fmla="*/ 3162541 h 5704395"/>
                <a:gd name="connsiteX19933" fmla="*/ 1271 w 5719680"/>
                <a:gd name="connsiteY19933" fmla="*/ 3153035 h 5704395"/>
                <a:gd name="connsiteX19934" fmla="*/ 28586 w 5719680"/>
                <a:gd name="connsiteY19934" fmla="*/ 3110255 h 5704395"/>
                <a:gd name="connsiteX19935" fmla="*/ 20645 w 5719680"/>
                <a:gd name="connsiteY19935" fmla="*/ 3102966 h 5704395"/>
                <a:gd name="connsiteX19936" fmla="*/ 7305 w 5719680"/>
                <a:gd name="connsiteY19936" fmla="*/ 3090608 h 5704395"/>
                <a:gd name="connsiteX19937" fmla="*/ 3176 w 5719680"/>
                <a:gd name="connsiteY19937" fmla="*/ 3086805 h 5704395"/>
                <a:gd name="connsiteX19938" fmla="*/ 1906 w 5719680"/>
                <a:gd name="connsiteY19938" fmla="*/ 3085855 h 5704395"/>
                <a:gd name="connsiteX19939" fmla="*/ 1588 w 5719680"/>
                <a:gd name="connsiteY19939" fmla="*/ 3085855 h 5704395"/>
                <a:gd name="connsiteX19940" fmla="*/ 1588 w 5719680"/>
                <a:gd name="connsiteY19940" fmla="*/ 3085538 h 5704395"/>
                <a:gd name="connsiteX19941" fmla="*/ 1271 w 5719680"/>
                <a:gd name="connsiteY19941" fmla="*/ 3085538 h 5704395"/>
                <a:gd name="connsiteX19942" fmla="*/ 318 w 5719680"/>
                <a:gd name="connsiteY19942" fmla="*/ 3083953 h 5704395"/>
                <a:gd name="connsiteX19943" fmla="*/ 318 w 5719680"/>
                <a:gd name="connsiteY19943" fmla="*/ 3083003 h 5704395"/>
                <a:gd name="connsiteX19944" fmla="*/ 1271 w 5719680"/>
                <a:gd name="connsiteY19944" fmla="*/ 3073496 h 5704395"/>
                <a:gd name="connsiteX19945" fmla="*/ 9846 w 5719680"/>
                <a:gd name="connsiteY19945" fmla="*/ 3026280 h 5704395"/>
                <a:gd name="connsiteX19946" fmla="*/ 1271 w 5719680"/>
                <a:gd name="connsiteY19946" fmla="*/ 3028498 h 5704395"/>
                <a:gd name="connsiteX19947" fmla="*/ 1271 w 5719680"/>
                <a:gd name="connsiteY19947" fmla="*/ 3024061 h 5704395"/>
                <a:gd name="connsiteX19948" fmla="*/ 10799 w 5719680"/>
                <a:gd name="connsiteY19948" fmla="*/ 3021526 h 5704395"/>
                <a:gd name="connsiteX19949" fmla="*/ 10799 w 5719680"/>
                <a:gd name="connsiteY19949" fmla="*/ 3021209 h 5704395"/>
                <a:gd name="connsiteX19950" fmla="*/ 41608 w 5719680"/>
                <a:gd name="connsiteY19950" fmla="*/ 3012970 h 5704395"/>
                <a:gd name="connsiteX19951" fmla="*/ 12387 w 5719680"/>
                <a:gd name="connsiteY19951" fmla="*/ 2958782 h 5704395"/>
                <a:gd name="connsiteX19952" fmla="*/ 1271 w 5719680"/>
                <a:gd name="connsiteY19952" fmla="*/ 2936917 h 5704395"/>
                <a:gd name="connsiteX19953" fmla="*/ 1271 w 5719680"/>
                <a:gd name="connsiteY19953" fmla="*/ 2891602 h 5704395"/>
                <a:gd name="connsiteX19954" fmla="*/ 31127 w 5719680"/>
                <a:gd name="connsiteY19954" fmla="*/ 2950226 h 5704395"/>
                <a:gd name="connsiteX19955" fmla="*/ 44467 w 5719680"/>
                <a:gd name="connsiteY19955" fmla="*/ 2943889 h 5704395"/>
                <a:gd name="connsiteX19956" fmla="*/ 72100 w 5719680"/>
                <a:gd name="connsiteY19956" fmla="*/ 2931847 h 5704395"/>
                <a:gd name="connsiteX19957" fmla="*/ 74958 w 5719680"/>
                <a:gd name="connsiteY19957" fmla="*/ 2930579 h 5704395"/>
                <a:gd name="connsiteX19958" fmla="*/ 105132 w 5719680"/>
                <a:gd name="connsiteY19958" fmla="*/ 2858646 h 5704395"/>
                <a:gd name="connsiteX19959" fmla="*/ 46055 w 5719680"/>
                <a:gd name="connsiteY19959" fmla="*/ 2809528 h 5704395"/>
                <a:gd name="connsiteX19960" fmla="*/ 1271 w 5719680"/>
                <a:gd name="connsiteY19960" fmla="*/ 2846604 h 5704395"/>
                <a:gd name="connsiteX19961" fmla="*/ 1271 w 5719680"/>
                <a:gd name="connsiteY19961" fmla="*/ 2819669 h 5704395"/>
                <a:gd name="connsiteX19962" fmla="*/ 101321 w 5719680"/>
                <a:gd name="connsiteY19962" fmla="*/ 2736644 h 5704395"/>
                <a:gd name="connsiteX19963" fmla="*/ 62571 w 5719680"/>
                <a:gd name="connsiteY19963" fmla="*/ 2697033 h 5704395"/>
                <a:gd name="connsiteX19964" fmla="*/ 59077 w 5719680"/>
                <a:gd name="connsiteY19964" fmla="*/ 2694181 h 5704395"/>
                <a:gd name="connsiteX19965" fmla="*/ 71464 w 5719680"/>
                <a:gd name="connsiteY19965" fmla="*/ 2681506 h 5704395"/>
                <a:gd name="connsiteX19966" fmla="*/ 48914 w 5719680"/>
                <a:gd name="connsiteY19966" fmla="*/ 2657422 h 5704395"/>
                <a:gd name="connsiteX19967" fmla="*/ 1271 w 5719680"/>
                <a:gd name="connsiteY19967" fmla="*/ 2684041 h 5704395"/>
                <a:gd name="connsiteX19968" fmla="*/ 1271 w 5719680"/>
                <a:gd name="connsiteY19968" fmla="*/ 2661542 h 5704395"/>
                <a:gd name="connsiteX19969" fmla="*/ 65430 w 5719680"/>
                <a:gd name="connsiteY19969" fmla="*/ 2615276 h 5704395"/>
                <a:gd name="connsiteX19970" fmla="*/ 54313 w 5719680"/>
                <a:gd name="connsiteY19970" fmla="*/ 2606086 h 5704395"/>
                <a:gd name="connsiteX19971" fmla="*/ 1271 w 5719680"/>
                <a:gd name="connsiteY19971" fmla="*/ 2568694 h 5704395"/>
                <a:gd name="connsiteX19972" fmla="*/ 1271 w 5719680"/>
                <a:gd name="connsiteY19972" fmla="*/ 2544293 h 5704395"/>
                <a:gd name="connsiteX19973" fmla="*/ 1906 w 5719680"/>
                <a:gd name="connsiteY19973" fmla="*/ 2544610 h 5704395"/>
                <a:gd name="connsiteX19974" fmla="*/ 17787 w 5719680"/>
                <a:gd name="connsiteY19974" fmla="*/ 2511020 h 5704395"/>
                <a:gd name="connsiteX19975" fmla="*/ 31127 w 5719680"/>
                <a:gd name="connsiteY19975" fmla="*/ 2484084 h 5704395"/>
                <a:gd name="connsiteX19976" fmla="*/ 36209 w 5719680"/>
                <a:gd name="connsiteY19976" fmla="*/ 2475212 h 5704395"/>
                <a:gd name="connsiteX19977" fmla="*/ 37797 w 5719680"/>
                <a:gd name="connsiteY19977" fmla="*/ 2472360 h 5704395"/>
                <a:gd name="connsiteX19978" fmla="*/ 40655 w 5719680"/>
                <a:gd name="connsiteY19978" fmla="*/ 2470458 h 5704395"/>
                <a:gd name="connsiteX19979" fmla="*/ 67653 w 5719680"/>
                <a:gd name="connsiteY19979" fmla="*/ 2473310 h 5704395"/>
                <a:gd name="connsiteX19980" fmla="*/ 89251 w 5719680"/>
                <a:gd name="connsiteY19980" fmla="*/ 2421024 h 5704395"/>
                <a:gd name="connsiteX19981" fmla="*/ 105450 w 5719680"/>
                <a:gd name="connsiteY19981" fmla="*/ 2378244 h 5704395"/>
                <a:gd name="connsiteX19982" fmla="*/ 54313 w 5719680"/>
                <a:gd name="connsiteY19982" fmla="*/ 2307261 h 5704395"/>
                <a:gd name="connsiteX19983" fmla="*/ 53995 w 5719680"/>
                <a:gd name="connsiteY19983" fmla="*/ 2306944 h 5704395"/>
                <a:gd name="connsiteX19984" fmla="*/ 21598 w 5719680"/>
                <a:gd name="connsiteY19984" fmla="*/ 2328492 h 5704395"/>
                <a:gd name="connsiteX19985" fmla="*/ 1271 w 5719680"/>
                <a:gd name="connsiteY19985" fmla="*/ 2342119 h 5704395"/>
                <a:gd name="connsiteX19986" fmla="*/ 1271 w 5719680"/>
                <a:gd name="connsiteY19986" fmla="*/ 2337048 h 5704395"/>
                <a:gd name="connsiteX19987" fmla="*/ 20963 w 5719680"/>
                <a:gd name="connsiteY19987" fmla="*/ 2323739 h 5704395"/>
                <a:gd name="connsiteX19988" fmla="*/ 45737 w 5719680"/>
                <a:gd name="connsiteY19988" fmla="*/ 2307261 h 5704395"/>
                <a:gd name="connsiteX19989" fmla="*/ 48914 w 5719680"/>
                <a:gd name="connsiteY19989" fmla="*/ 2305043 h 5704395"/>
                <a:gd name="connsiteX19990" fmla="*/ 1271 w 5719680"/>
                <a:gd name="connsiteY19990" fmla="*/ 2287297 h 5704395"/>
                <a:gd name="connsiteX19991" fmla="*/ 1271 w 5719680"/>
                <a:gd name="connsiteY19991" fmla="*/ 2272086 h 5704395"/>
                <a:gd name="connsiteX19992" fmla="*/ 60983 w 5719680"/>
                <a:gd name="connsiteY19992" fmla="*/ 2294269 h 5704395"/>
                <a:gd name="connsiteX19993" fmla="*/ 80675 w 5719680"/>
                <a:gd name="connsiteY19993" fmla="*/ 2248320 h 5704395"/>
                <a:gd name="connsiteX19994" fmla="*/ 94968 w 5719680"/>
                <a:gd name="connsiteY19994" fmla="*/ 2215363 h 5704395"/>
                <a:gd name="connsiteX19995" fmla="*/ 100368 w 5719680"/>
                <a:gd name="connsiteY19995" fmla="*/ 2204589 h 5704395"/>
                <a:gd name="connsiteX19996" fmla="*/ 102274 w 5719680"/>
                <a:gd name="connsiteY19996" fmla="*/ 2201420 h 5704395"/>
                <a:gd name="connsiteX19997" fmla="*/ 104497 w 5719680"/>
                <a:gd name="connsiteY19997" fmla="*/ 2199519 h 5704395"/>
                <a:gd name="connsiteX19998" fmla="*/ 105132 w 5719680"/>
                <a:gd name="connsiteY19998" fmla="*/ 2199202 h 5704395"/>
                <a:gd name="connsiteX19999" fmla="*/ 101956 w 5719680"/>
                <a:gd name="connsiteY19999" fmla="*/ 2197935 h 5704395"/>
                <a:gd name="connsiteX20000" fmla="*/ 42879 w 5719680"/>
                <a:gd name="connsiteY20000" fmla="*/ 2170999 h 5704395"/>
                <a:gd name="connsiteX20001" fmla="*/ 12387 w 5719680"/>
                <a:gd name="connsiteY20001" fmla="*/ 2157056 h 5704395"/>
                <a:gd name="connsiteX20002" fmla="*/ 2859 w 5719680"/>
                <a:gd name="connsiteY20002" fmla="*/ 2152937 h 5704395"/>
                <a:gd name="connsiteX20003" fmla="*/ 1906 w 5719680"/>
                <a:gd name="connsiteY20003" fmla="*/ 2152620 h 5704395"/>
                <a:gd name="connsiteX20004" fmla="*/ 1906 w 5719680"/>
                <a:gd name="connsiteY20004" fmla="*/ 2152937 h 5704395"/>
                <a:gd name="connsiteX20005" fmla="*/ 1271 w 5719680"/>
                <a:gd name="connsiteY20005" fmla="*/ 2166880 h 5704395"/>
                <a:gd name="connsiteX20006" fmla="*/ 1271 w 5719680"/>
                <a:gd name="connsiteY20006" fmla="*/ 2147549 h 5704395"/>
                <a:gd name="connsiteX20007" fmla="*/ 5400 w 5719680"/>
                <a:gd name="connsiteY20007" fmla="*/ 2149134 h 5704395"/>
                <a:gd name="connsiteX20008" fmla="*/ 64477 w 5719680"/>
                <a:gd name="connsiteY20008" fmla="*/ 2176069 h 5704395"/>
                <a:gd name="connsiteX20009" fmla="*/ 94651 w 5719680"/>
                <a:gd name="connsiteY20009" fmla="*/ 2190012 h 5704395"/>
                <a:gd name="connsiteX20010" fmla="*/ 104497 w 5719680"/>
                <a:gd name="connsiteY20010" fmla="*/ 2194132 h 5704395"/>
                <a:gd name="connsiteX20011" fmla="*/ 107355 w 5719680"/>
                <a:gd name="connsiteY20011" fmla="*/ 2195400 h 5704395"/>
                <a:gd name="connsiteX20012" fmla="*/ 108308 w 5719680"/>
                <a:gd name="connsiteY20012" fmla="*/ 2195716 h 5704395"/>
                <a:gd name="connsiteX20013" fmla="*/ 108626 w 5719680"/>
                <a:gd name="connsiteY20013" fmla="*/ 2195716 h 5704395"/>
                <a:gd name="connsiteX20014" fmla="*/ 133083 w 5719680"/>
                <a:gd name="connsiteY20014" fmla="*/ 2169732 h 5704395"/>
                <a:gd name="connsiteX20015" fmla="*/ 209311 w 5719680"/>
                <a:gd name="connsiteY20015" fmla="*/ 2085756 h 5704395"/>
                <a:gd name="connsiteX20016" fmla="*/ 59395 w 5719680"/>
                <a:gd name="connsiteY20016" fmla="*/ 1989739 h 5704395"/>
                <a:gd name="connsiteX20017" fmla="*/ 4447 w 5719680"/>
                <a:gd name="connsiteY20017" fmla="*/ 2043927 h 5704395"/>
                <a:gd name="connsiteX20018" fmla="*/ 1271 w 5719680"/>
                <a:gd name="connsiteY20018" fmla="*/ 2045828 h 5704395"/>
                <a:gd name="connsiteX20019" fmla="*/ 1271 w 5719680"/>
                <a:gd name="connsiteY20019" fmla="*/ 2021111 h 5704395"/>
                <a:gd name="connsiteX20020" fmla="*/ 39385 w 5719680"/>
                <a:gd name="connsiteY20020" fmla="*/ 1981500 h 5704395"/>
                <a:gd name="connsiteX20021" fmla="*/ 30809 w 5719680"/>
                <a:gd name="connsiteY20021" fmla="*/ 1978331 h 5704395"/>
                <a:gd name="connsiteX20022" fmla="*/ 1271 w 5719680"/>
                <a:gd name="connsiteY20022" fmla="*/ 1970409 h 5704395"/>
                <a:gd name="connsiteX20023" fmla="*/ 1271 w 5719680"/>
                <a:gd name="connsiteY20023" fmla="*/ 1949178 h 5704395"/>
                <a:gd name="connsiteX20024" fmla="*/ 36844 w 5719680"/>
                <a:gd name="connsiteY20024" fmla="*/ 1958684 h 5704395"/>
                <a:gd name="connsiteX20025" fmla="*/ 50819 w 5719680"/>
                <a:gd name="connsiteY20025" fmla="*/ 1963755 h 5704395"/>
                <a:gd name="connsiteX20026" fmla="*/ 399882 w 5719680"/>
                <a:gd name="connsiteY20026" fmla="*/ 1326493 h 5704395"/>
                <a:gd name="connsiteX20027" fmla="*/ 399247 w 5719680"/>
                <a:gd name="connsiteY20027" fmla="*/ 1325859 h 5704395"/>
                <a:gd name="connsiteX20028" fmla="*/ 352557 w 5719680"/>
                <a:gd name="connsiteY20028" fmla="*/ 1268502 h 5704395"/>
                <a:gd name="connsiteX20029" fmla="*/ 170244 w 5719680"/>
                <a:gd name="connsiteY20029" fmla="*/ 1033055 h 5704395"/>
                <a:gd name="connsiteX20030" fmla="*/ 1271 w 5719680"/>
                <a:gd name="connsiteY20030" fmla="*/ 1213364 h 5704395"/>
                <a:gd name="connsiteX20031" fmla="*/ 1271 w 5719680"/>
                <a:gd name="connsiteY20031" fmla="*/ 1182943 h 5704395"/>
                <a:gd name="connsiteX20032" fmla="*/ 389719 w 5719680"/>
                <a:gd name="connsiteY20032" fmla="*/ 768453 h 5704395"/>
                <a:gd name="connsiteX20033" fmla="*/ 253142 w 5719680"/>
                <a:gd name="connsiteY20033" fmla="*/ 663247 h 5704395"/>
                <a:gd name="connsiteX20034" fmla="*/ 252190 w 5719680"/>
                <a:gd name="connsiteY20034" fmla="*/ 661979 h 5704395"/>
                <a:gd name="connsiteX20035" fmla="*/ 221063 w 5719680"/>
                <a:gd name="connsiteY20035" fmla="*/ 601770 h 5704395"/>
                <a:gd name="connsiteX20036" fmla="*/ 199465 w 5719680"/>
                <a:gd name="connsiteY20036" fmla="*/ 583391 h 5704395"/>
                <a:gd name="connsiteX20037" fmla="*/ 1271 w 5719680"/>
                <a:gd name="connsiteY20037" fmla="*/ 420827 h 5704395"/>
                <a:gd name="connsiteX20038" fmla="*/ 1271 w 5719680"/>
                <a:gd name="connsiteY20038" fmla="*/ 394209 h 5704395"/>
                <a:gd name="connsiteX20039" fmla="*/ 14928 w 5719680"/>
                <a:gd name="connsiteY20039" fmla="*/ 405300 h 5704395"/>
                <a:gd name="connsiteX20040" fmla="*/ 166750 w 5719680"/>
                <a:gd name="connsiteY20040" fmla="*/ 528886 h 5704395"/>
                <a:gd name="connsiteX20041" fmla="*/ 216934 w 5719680"/>
                <a:gd name="connsiteY20041" fmla="*/ 571032 h 5704395"/>
                <a:gd name="connsiteX20042" fmla="*/ 231544 w 5719680"/>
                <a:gd name="connsiteY20042" fmla="*/ 583391 h 5704395"/>
                <a:gd name="connsiteX20043" fmla="*/ 235673 w 5719680"/>
                <a:gd name="connsiteY20043" fmla="*/ 587193 h 5704395"/>
                <a:gd name="connsiteX20044" fmla="*/ 237262 w 5719680"/>
                <a:gd name="connsiteY20044" fmla="*/ 588778 h 5704395"/>
                <a:gd name="connsiteX20045" fmla="*/ 239802 w 5719680"/>
                <a:gd name="connsiteY20045" fmla="*/ 592580 h 5704395"/>
                <a:gd name="connsiteX20046" fmla="*/ 239802 w 5719680"/>
                <a:gd name="connsiteY20046" fmla="*/ 592897 h 5704395"/>
                <a:gd name="connsiteX20047" fmla="*/ 240120 w 5719680"/>
                <a:gd name="connsiteY20047" fmla="*/ 593214 h 5704395"/>
                <a:gd name="connsiteX20048" fmla="*/ 258224 w 5719680"/>
                <a:gd name="connsiteY20048" fmla="*/ 632508 h 5704395"/>
                <a:gd name="connsiteX20049" fmla="*/ 266165 w 5719680"/>
                <a:gd name="connsiteY20049" fmla="*/ 645501 h 5704395"/>
                <a:gd name="connsiteX20050" fmla="*/ 268388 w 5719680"/>
                <a:gd name="connsiteY20050" fmla="*/ 648987 h 5704395"/>
                <a:gd name="connsiteX20051" fmla="*/ 405282 w 5719680"/>
                <a:gd name="connsiteY20051" fmla="*/ 754193 h 5704395"/>
                <a:gd name="connsiteX20052" fmla="*/ 597441 w 5719680"/>
                <a:gd name="connsiteY20052" fmla="*/ 587827 h 5704395"/>
                <a:gd name="connsiteX20053" fmla="*/ 738146 w 5719680"/>
                <a:gd name="connsiteY20053" fmla="*/ 467093 h 5704395"/>
                <a:gd name="connsiteX20054" fmla="*/ 785154 w 5719680"/>
                <a:gd name="connsiteY20054" fmla="*/ 427165 h 5704395"/>
                <a:gd name="connsiteX20055" fmla="*/ 798812 w 5719680"/>
                <a:gd name="connsiteY20055" fmla="*/ 415757 h 5704395"/>
                <a:gd name="connsiteX20056" fmla="*/ 800717 w 5719680"/>
                <a:gd name="connsiteY20056" fmla="*/ 414489 h 5704395"/>
                <a:gd name="connsiteX20057" fmla="*/ 798494 w 5719680"/>
                <a:gd name="connsiteY20057" fmla="*/ 411004 h 5704395"/>
                <a:gd name="connsiteX20058" fmla="*/ 781660 w 5719680"/>
                <a:gd name="connsiteY20058" fmla="*/ 355865 h 5704395"/>
                <a:gd name="connsiteX20059" fmla="*/ 774990 w 5719680"/>
                <a:gd name="connsiteY20059" fmla="*/ 323226 h 5704395"/>
                <a:gd name="connsiteX20060" fmla="*/ 708608 w 5719680"/>
                <a:gd name="connsiteY20060" fmla="*/ 0 h 5704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 ang="0">
                  <a:pos x="connsiteX9184" y="connsiteY9184"/>
                </a:cxn>
                <a:cxn ang="0">
                  <a:pos x="connsiteX9185" y="connsiteY9185"/>
                </a:cxn>
                <a:cxn ang="0">
                  <a:pos x="connsiteX9186" y="connsiteY9186"/>
                </a:cxn>
                <a:cxn ang="0">
                  <a:pos x="connsiteX9187" y="connsiteY9187"/>
                </a:cxn>
                <a:cxn ang="0">
                  <a:pos x="connsiteX9188" y="connsiteY9188"/>
                </a:cxn>
                <a:cxn ang="0">
                  <a:pos x="connsiteX9189" y="connsiteY9189"/>
                </a:cxn>
                <a:cxn ang="0">
                  <a:pos x="connsiteX9190" y="connsiteY9190"/>
                </a:cxn>
                <a:cxn ang="0">
                  <a:pos x="connsiteX9191" y="connsiteY9191"/>
                </a:cxn>
                <a:cxn ang="0">
                  <a:pos x="connsiteX9192" y="connsiteY9192"/>
                </a:cxn>
                <a:cxn ang="0">
                  <a:pos x="connsiteX9193" y="connsiteY9193"/>
                </a:cxn>
                <a:cxn ang="0">
                  <a:pos x="connsiteX9194" y="connsiteY9194"/>
                </a:cxn>
                <a:cxn ang="0">
                  <a:pos x="connsiteX9195" y="connsiteY9195"/>
                </a:cxn>
                <a:cxn ang="0">
                  <a:pos x="connsiteX9196" y="connsiteY9196"/>
                </a:cxn>
                <a:cxn ang="0">
                  <a:pos x="connsiteX9197" y="connsiteY9197"/>
                </a:cxn>
                <a:cxn ang="0">
                  <a:pos x="connsiteX9198" y="connsiteY9198"/>
                </a:cxn>
                <a:cxn ang="0">
                  <a:pos x="connsiteX9199" y="connsiteY9199"/>
                </a:cxn>
                <a:cxn ang="0">
                  <a:pos x="connsiteX9200" y="connsiteY9200"/>
                </a:cxn>
                <a:cxn ang="0">
                  <a:pos x="connsiteX9201" y="connsiteY9201"/>
                </a:cxn>
                <a:cxn ang="0">
                  <a:pos x="connsiteX9202" y="connsiteY9202"/>
                </a:cxn>
                <a:cxn ang="0">
                  <a:pos x="connsiteX9203" y="connsiteY9203"/>
                </a:cxn>
                <a:cxn ang="0">
                  <a:pos x="connsiteX9204" y="connsiteY9204"/>
                </a:cxn>
                <a:cxn ang="0">
                  <a:pos x="connsiteX9205" y="connsiteY9205"/>
                </a:cxn>
                <a:cxn ang="0">
                  <a:pos x="connsiteX9206" y="connsiteY9206"/>
                </a:cxn>
                <a:cxn ang="0">
                  <a:pos x="connsiteX9207" y="connsiteY9207"/>
                </a:cxn>
                <a:cxn ang="0">
                  <a:pos x="connsiteX9208" y="connsiteY9208"/>
                </a:cxn>
                <a:cxn ang="0">
                  <a:pos x="connsiteX9209" y="connsiteY9209"/>
                </a:cxn>
                <a:cxn ang="0">
                  <a:pos x="connsiteX9210" y="connsiteY9210"/>
                </a:cxn>
                <a:cxn ang="0">
                  <a:pos x="connsiteX9211" y="connsiteY9211"/>
                </a:cxn>
                <a:cxn ang="0">
                  <a:pos x="connsiteX9212" y="connsiteY9212"/>
                </a:cxn>
                <a:cxn ang="0">
                  <a:pos x="connsiteX9213" y="connsiteY9213"/>
                </a:cxn>
                <a:cxn ang="0">
                  <a:pos x="connsiteX9214" y="connsiteY9214"/>
                </a:cxn>
                <a:cxn ang="0">
                  <a:pos x="connsiteX9215" y="connsiteY9215"/>
                </a:cxn>
                <a:cxn ang="0">
                  <a:pos x="connsiteX9216" y="connsiteY9216"/>
                </a:cxn>
                <a:cxn ang="0">
                  <a:pos x="connsiteX9217" y="connsiteY9217"/>
                </a:cxn>
                <a:cxn ang="0">
                  <a:pos x="connsiteX9218" y="connsiteY9218"/>
                </a:cxn>
                <a:cxn ang="0">
                  <a:pos x="connsiteX9219" y="connsiteY9219"/>
                </a:cxn>
                <a:cxn ang="0">
                  <a:pos x="connsiteX9220" y="connsiteY9220"/>
                </a:cxn>
                <a:cxn ang="0">
                  <a:pos x="connsiteX9221" y="connsiteY9221"/>
                </a:cxn>
                <a:cxn ang="0">
                  <a:pos x="connsiteX9222" y="connsiteY9222"/>
                </a:cxn>
                <a:cxn ang="0">
                  <a:pos x="connsiteX9223" y="connsiteY9223"/>
                </a:cxn>
                <a:cxn ang="0">
                  <a:pos x="connsiteX9224" y="connsiteY9224"/>
                </a:cxn>
                <a:cxn ang="0">
                  <a:pos x="connsiteX9225" y="connsiteY9225"/>
                </a:cxn>
                <a:cxn ang="0">
                  <a:pos x="connsiteX9226" y="connsiteY9226"/>
                </a:cxn>
                <a:cxn ang="0">
                  <a:pos x="connsiteX9227" y="connsiteY9227"/>
                </a:cxn>
                <a:cxn ang="0">
                  <a:pos x="connsiteX9228" y="connsiteY9228"/>
                </a:cxn>
                <a:cxn ang="0">
                  <a:pos x="connsiteX9229" y="connsiteY9229"/>
                </a:cxn>
                <a:cxn ang="0">
                  <a:pos x="connsiteX9230" y="connsiteY9230"/>
                </a:cxn>
                <a:cxn ang="0">
                  <a:pos x="connsiteX9231" y="connsiteY9231"/>
                </a:cxn>
                <a:cxn ang="0">
                  <a:pos x="connsiteX9232" y="connsiteY9232"/>
                </a:cxn>
                <a:cxn ang="0">
                  <a:pos x="connsiteX9233" y="connsiteY9233"/>
                </a:cxn>
                <a:cxn ang="0">
                  <a:pos x="connsiteX9234" y="connsiteY9234"/>
                </a:cxn>
                <a:cxn ang="0">
                  <a:pos x="connsiteX9235" y="connsiteY9235"/>
                </a:cxn>
                <a:cxn ang="0">
                  <a:pos x="connsiteX9236" y="connsiteY9236"/>
                </a:cxn>
                <a:cxn ang="0">
                  <a:pos x="connsiteX9237" y="connsiteY9237"/>
                </a:cxn>
                <a:cxn ang="0">
                  <a:pos x="connsiteX9238" y="connsiteY9238"/>
                </a:cxn>
                <a:cxn ang="0">
                  <a:pos x="connsiteX9239" y="connsiteY9239"/>
                </a:cxn>
                <a:cxn ang="0">
                  <a:pos x="connsiteX9240" y="connsiteY9240"/>
                </a:cxn>
                <a:cxn ang="0">
                  <a:pos x="connsiteX9241" y="connsiteY9241"/>
                </a:cxn>
                <a:cxn ang="0">
                  <a:pos x="connsiteX9242" y="connsiteY9242"/>
                </a:cxn>
                <a:cxn ang="0">
                  <a:pos x="connsiteX9243" y="connsiteY9243"/>
                </a:cxn>
                <a:cxn ang="0">
                  <a:pos x="connsiteX9244" y="connsiteY9244"/>
                </a:cxn>
                <a:cxn ang="0">
                  <a:pos x="connsiteX9245" y="connsiteY9245"/>
                </a:cxn>
                <a:cxn ang="0">
                  <a:pos x="connsiteX9246" y="connsiteY9246"/>
                </a:cxn>
                <a:cxn ang="0">
                  <a:pos x="connsiteX9247" y="connsiteY9247"/>
                </a:cxn>
                <a:cxn ang="0">
                  <a:pos x="connsiteX9248" y="connsiteY9248"/>
                </a:cxn>
                <a:cxn ang="0">
                  <a:pos x="connsiteX9249" y="connsiteY9249"/>
                </a:cxn>
                <a:cxn ang="0">
                  <a:pos x="connsiteX9250" y="connsiteY9250"/>
                </a:cxn>
                <a:cxn ang="0">
                  <a:pos x="connsiteX9251" y="connsiteY9251"/>
                </a:cxn>
                <a:cxn ang="0">
                  <a:pos x="connsiteX9252" y="connsiteY9252"/>
                </a:cxn>
                <a:cxn ang="0">
                  <a:pos x="connsiteX9253" y="connsiteY9253"/>
                </a:cxn>
                <a:cxn ang="0">
                  <a:pos x="connsiteX9254" y="connsiteY9254"/>
                </a:cxn>
                <a:cxn ang="0">
                  <a:pos x="connsiteX9255" y="connsiteY9255"/>
                </a:cxn>
                <a:cxn ang="0">
                  <a:pos x="connsiteX9256" y="connsiteY9256"/>
                </a:cxn>
                <a:cxn ang="0">
                  <a:pos x="connsiteX9257" y="connsiteY9257"/>
                </a:cxn>
                <a:cxn ang="0">
                  <a:pos x="connsiteX9258" y="connsiteY9258"/>
                </a:cxn>
                <a:cxn ang="0">
                  <a:pos x="connsiteX9259" y="connsiteY9259"/>
                </a:cxn>
                <a:cxn ang="0">
                  <a:pos x="connsiteX9260" y="connsiteY9260"/>
                </a:cxn>
                <a:cxn ang="0">
                  <a:pos x="connsiteX9261" y="connsiteY9261"/>
                </a:cxn>
                <a:cxn ang="0">
                  <a:pos x="connsiteX9262" y="connsiteY9262"/>
                </a:cxn>
                <a:cxn ang="0">
                  <a:pos x="connsiteX9263" y="connsiteY9263"/>
                </a:cxn>
                <a:cxn ang="0">
                  <a:pos x="connsiteX9264" y="connsiteY9264"/>
                </a:cxn>
                <a:cxn ang="0">
                  <a:pos x="connsiteX9265" y="connsiteY9265"/>
                </a:cxn>
                <a:cxn ang="0">
                  <a:pos x="connsiteX9266" y="connsiteY9266"/>
                </a:cxn>
                <a:cxn ang="0">
                  <a:pos x="connsiteX9267" y="connsiteY9267"/>
                </a:cxn>
                <a:cxn ang="0">
                  <a:pos x="connsiteX9268" y="connsiteY9268"/>
                </a:cxn>
                <a:cxn ang="0">
                  <a:pos x="connsiteX9269" y="connsiteY9269"/>
                </a:cxn>
                <a:cxn ang="0">
                  <a:pos x="connsiteX9270" y="connsiteY9270"/>
                </a:cxn>
                <a:cxn ang="0">
                  <a:pos x="connsiteX9271" y="connsiteY9271"/>
                </a:cxn>
                <a:cxn ang="0">
                  <a:pos x="connsiteX9272" y="connsiteY9272"/>
                </a:cxn>
                <a:cxn ang="0">
                  <a:pos x="connsiteX9273" y="connsiteY9273"/>
                </a:cxn>
                <a:cxn ang="0">
                  <a:pos x="connsiteX9274" y="connsiteY9274"/>
                </a:cxn>
                <a:cxn ang="0">
                  <a:pos x="connsiteX9275" y="connsiteY9275"/>
                </a:cxn>
                <a:cxn ang="0">
                  <a:pos x="connsiteX9276" y="connsiteY9276"/>
                </a:cxn>
                <a:cxn ang="0">
                  <a:pos x="connsiteX9277" y="connsiteY9277"/>
                </a:cxn>
                <a:cxn ang="0">
                  <a:pos x="connsiteX9278" y="connsiteY9278"/>
                </a:cxn>
                <a:cxn ang="0">
                  <a:pos x="connsiteX9279" y="connsiteY9279"/>
                </a:cxn>
                <a:cxn ang="0">
                  <a:pos x="connsiteX9280" y="connsiteY9280"/>
                </a:cxn>
                <a:cxn ang="0">
                  <a:pos x="connsiteX9281" y="connsiteY9281"/>
                </a:cxn>
                <a:cxn ang="0">
                  <a:pos x="connsiteX9282" y="connsiteY9282"/>
                </a:cxn>
                <a:cxn ang="0">
                  <a:pos x="connsiteX9283" y="connsiteY9283"/>
                </a:cxn>
                <a:cxn ang="0">
                  <a:pos x="connsiteX9284" y="connsiteY9284"/>
                </a:cxn>
                <a:cxn ang="0">
                  <a:pos x="connsiteX9285" y="connsiteY9285"/>
                </a:cxn>
                <a:cxn ang="0">
                  <a:pos x="connsiteX9286" y="connsiteY9286"/>
                </a:cxn>
                <a:cxn ang="0">
                  <a:pos x="connsiteX9287" y="connsiteY9287"/>
                </a:cxn>
                <a:cxn ang="0">
                  <a:pos x="connsiteX9288" y="connsiteY9288"/>
                </a:cxn>
                <a:cxn ang="0">
                  <a:pos x="connsiteX9289" y="connsiteY9289"/>
                </a:cxn>
                <a:cxn ang="0">
                  <a:pos x="connsiteX9290" y="connsiteY9290"/>
                </a:cxn>
                <a:cxn ang="0">
                  <a:pos x="connsiteX9291" y="connsiteY9291"/>
                </a:cxn>
                <a:cxn ang="0">
                  <a:pos x="connsiteX9292" y="connsiteY9292"/>
                </a:cxn>
                <a:cxn ang="0">
                  <a:pos x="connsiteX9293" y="connsiteY9293"/>
                </a:cxn>
                <a:cxn ang="0">
                  <a:pos x="connsiteX9294" y="connsiteY9294"/>
                </a:cxn>
                <a:cxn ang="0">
                  <a:pos x="connsiteX9295" y="connsiteY9295"/>
                </a:cxn>
                <a:cxn ang="0">
                  <a:pos x="connsiteX9296" y="connsiteY9296"/>
                </a:cxn>
                <a:cxn ang="0">
                  <a:pos x="connsiteX9297" y="connsiteY9297"/>
                </a:cxn>
                <a:cxn ang="0">
                  <a:pos x="connsiteX9298" y="connsiteY9298"/>
                </a:cxn>
                <a:cxn ang="0">
                  <a:pos x="connsiteX9299" y="connsiteY9299"/>
                </a:cxn>
                <a:cxn ang="0">
                  <a:pos x="connsiteX9300" y="connsiteY9300"/>
                </a:cxn>
                <a:cxn ang="0">
                  <a:pos x="connsiteX9301" y="connsiteY9301"/>
                </a:cxn>
                <a:cxn ang="0">
                  <a:pos x="connsiteX9302" y="connsiteY9302"/>
                </a:cxn>
                <a:cxn ang="0">
                  <a:pos x="connsiteX9303" y="connsiteY9303"/>
                </a:cxn>
                <a:cxn ang="0">
                  <a:pos x="connsiteX9304" y="connsiteY9304"/>
                </a:cxn>
                <a:cxn ang="0">
                  <a:pos x="connsiteX9305" y="connsiteY9305"/>
                </a:cxn>
                <a:cxn ang="0">
                  <a:pos x="connsiteX9306" y="connsiteY9306"/>
                </a:cxn>
                <a:cxn ang="0">
                  <a:pos x="connsiteX9307" y="connsiteY9307"/>
                </a:cxn>
                <a:cxn ang="0">
                  <a:pos x="connsiteX9308" y="connsiteY9308"/>
                </a:cxn>
                <a:cxn ang="0">
                  <a:pos x="connsiteX9309" y="connsiteY9309"/>
                </a:cxn>
                <a:cxn ang="0">
                  <a:pos x="connsiteX9310" y="connsiteY9310"/>
                </a:cxn>
                <a:cxn ang="0">
                  <a:pos x="connsiteX9311" y="connsiteY9311"/>
                </a:cxn>
                <a:cxn ang="0">
                  <a:pos x="connsiteX9312" y="connsiteY9312"/>
                </a:cxn>
                <a:cxn ang="0">
                  <a:pos x="connsiteX9313" y="connsiteY9313"/>
                </a:cxn>
                <a:cxn ang="0">
                  <a:pos x="connsiteX9314" y="connsiteY9314"/>
                </a:cxn>
                <a:cxn ang="0">
                  <a:pos x="connsiteX9315" y="connsiteY9315"/>
                </a:cxn>
                <a:cxn ang="0">
                  <a:pos x="connsiteX9316" y="connsiteY9316"/>
                </a:cxn>
                <a:cxn ang="0">
                  <a:pos x="connsiteX9317" y="connsiteY9317"/>
                </a:cxn>
                <a:cxn ang="0">
                  <a:pos x="connsiteX9318" y="connsiteY9318"/>
                </a:cxn>
                <a:cxn ang="0">
                  <a:pos x="connsiteX9319" y="connsiteY9319"/>
                </a:cxn>
                <a:cxn ang="0">
                  <a:pos x="connsiteX9320" y="connsiteY9320"/>
                </a:cxn>
                <a:cxn ang="0">
                  <a:pos x="connsiteX9321" y="connsiteY9321"/>
                </a:cxn>
                <a:cxn ang="0">
                  <a:pos x="connsiteX9322" y="connsiteY9322"/>
                </a:cxn>
                <a:cxn ang="0">
                  <a:pos x="connsiteX9323" y="connsiteY9323"/>
                </a:cxn>
                <a:cxn ang="0">
                  <a:pos x="connsiteX9324" y="connsiteY9324"/>
                </a:cxn>
                <a:cxn ang="0">
                  <a:pos x="connsiteX9325" y="connsiteY9325"/>
                </a:cxn>
                <a:cxn ang="0">
                  <a:pos x="connsiteX9326" y="connsiteY9326"/>
                </a:cxn>
                <a:cxn ang="0">
                  <a:pos x="connsiteX9327" y="connsiteY9327"/>
                </a:cxn>
                <a:cxn ang="0">
                  <a:pos x="connsiteX9328" y="connsiteY9328"/>
                </a:cxn>
                <a:cxn ang="0">
                  <a:pos x="connsiteX9329" y="connsiteY9329"/>
                </a:cxn>
                <a:cxn ang="0">
                  <a:pos x="connsiteX9330" y="connsiteY9330"/>
                </a:cxn>
                <a:cxn ang="0">
                  <a:pos x="connsiteX9331" y="connsiteY9331"/>
                </a:cxn>
                <a:cxn ang="0">
                  <a:pos x="connsiteX9332" y="connsiteY9332"/>
                </a:cxn>
                <a:cxn ang="0">
                  <a:pos x="connsiteX9333" y="connsiteY9333"/>
                </a:cxn>
                <a:cxn ang="0">
                  <a:pos x="connsiteX9334" y="connsiteY9334"/>
                </a:cxn>
                <a:cxn ang="0">
                  <a:pos x="connsiteX9335" y="connsiteY9335"/>
                </a:cxn>
                <a:cxn ang="0">
                  <a:pos x="connsiteX9336" y="connsiteY9336"/>
                </a:cxn>
                <a:cxn ang="0">
                  <a:pos x="connsiteX9337" y="connsiteY9337"/>
                </a:cxn>
                <a:cxn ang="0">
                  <a:pos x="connsiteX9338" y="connsiteY9338"/>
                </a:cxn>
                <a:cxn ang="0">
                  <a:pos x="connsiteX9339" y="connsiteY9339"/>
                </a:cxn>
                <a:cxn ang="0">
                  <a:pos x="connsiteX9340" y="connsiteY9340"/>
                </a:cxn>
                <a:cxn ang="0">
                  <a:pos x="connsiteX9341" y="connsiteY9341"/>
                </a:cxn>
                <a:cxn ang="0">
                  <a:pos x="connsiteX9342" y="connsiteY9342"/>
                </a:cxn>
                <a:cxn ang="0">
                  <a:pos x="connsiteX9343" y="connsiteY9343"/>
                </a:cxn>
                <a:cxn ang="0">
                  <a:pos x="connsiteX9344" y="connsiteY9344"/>
                </a:cxn>
                <a:cxn ang="0">
                  <a:pos x="connsiteX9345" y="connsiteY9345"/>
                </a:cxn>
                <a:cxn ang="0">
                  <a:pos x="connsiteX9346" y="connsiteY9346"/>
                </a:cxn>
                <a:cxn ang="0">
                  <a:pos x="connsiteX9347" y="connsiteY9347"/>
                </a:cxn>
                <a:cxn ang="0">
                  <a:pos x="connsiteX9348" y="connsiteY9348"/>
                </a:cxn>
                <a:cxn ang="0">
                  <a:pos x="connsiteX9349" y="connsiteY9349"/>
                </a:cxn>
                <a:cxn ang="0">
                  <a:pos x="connsiteX9350" y="connsiteY9350"/>
                </a:cxn>
                <a:cxn ang="0">
                  <a:pos x="connsiteX9351" y="connsiteY9351"/>
                </a:cxn>
                <a:cxn ang="0">
                  <a:pos x="connsiteX9352" y="connsiteY9352"/>
                </a:cxn>
                <a:cxn ang="0">
                  <a:pos x="connsiteX9353" y="connsiteY9353"/>
                </a:cxn>
                <a:cxn ang="0">
                  <a:pos x="connsiteX9354" y="connsiteY9354"/>
                </a:cxn>
                <a:cxn ang="0">
                  <a:pos x="connsiteX9355" y="connsiteY9355"/>
                </a:cxn>
                <a:cxn ang="0">
                  <a:pos x="connsiteX9356" y="connsiteY9356"/>
                </a:cxn>
                <a:cxn ang="0">
                  <a:pos x="connsiteX9357" y="connsiteY9357"/>
                </a:cxn>
                <a:cxn ang="0">
                  <a:pos x="connsiteX9358" y="connsiteY9358"/>
                </a:cxn>
                <a:cxn ang="0">
                  <a:pos x="connsiteX9359" y="connsiteY9359"/>
                </a:cxn>
                <a:cxn ang="0">
                  <a:pos x="connsiteX9360" y="connsiteY9360"/>
                </a:cxn>
                <a:cxn ang="0">
                  <a:pos x="connsiteX9361" y="connsiteY9361"/>
                </a:cxn>
                <a:cxn ang="0">
                  <a:pos x="connsiteX9362" y="connsiteY9362"/>
                </a:cxn>
                <a:cxn ang="0">
                  <a:pos x="connsiteX9363" y="connsiteY9363"/>
                </a:cxn>
                <a:cxn ang="0">
                  <a:pos x="connsiteX9364" y="connsiteY9364"/>
                </a:cxn>
                <a:cxn ang="0">
                  <a:pos x="connsiteX9365" y="connsiteY9365"/>
                </a:cxn>
                <a:cxn ang="0">
                  <a:pos x="connsiteX9366" y="connsiteY9366"/>
                </a:cxn>
                <a:cxn ang="0">
                  <a:pos x="connsiteX9367" y="connsiteY9367"/>
                </a:cxn>
                <a:cxn ang="0">
                  <a:pos x="connsiteX9368" y="connsiteY9368"/>
                </a:cxn>
                <a:cxn ang="0">
                  <a:pos x="connsiteX9369" y="connsiteY9369"/>
                </a:cxn>
                <a:cxn ang="0">
                  <a:pos x="connsiteX9370" y="connsiteY9370"/>
                </a:cxn>
                <a:cxn ang="0">
                  <a:pos x="connsiteX9371" y="connsiteY9371"/>
                </a:cxn>
                <a:cxn ang="0">
                  <a:pos x="connsiteX9372" y="connsiteY9372"/>
                </a:cxn>
                <a:cxn ang="0">
                  <a:pos x="connsiteX9373" y="connsiteY9373"/>
                </a:cxn>
                <a:cxn ang="0">
                  <a:pos x="connsiteX9374" y="connsiteY9374"/>
                </a:cxn>
                <a:cxn ang="0">
                  <a:pos x="connsiteX9375" y="connsiteY9375"/>
                </a:cxn>
                <a:cxn ang="0">
                  <a:pos x="connsiteX9376" y="connsiteY9376"/>
                </a:cxn>
                <a:cxn ang="0">
                  <a:pos x="connsiteX9377" y="connsiteY9377"/>
                </a:cxn>
                <a:cxn ang="0">
                  <a:pos x="connsiteX9378" y="connsiteY9378"/>
                </a:cxn>
                <a:cxn ang="0">
                  <a:pos x="connsiteX9379" y="connsiteY9379"/>
                </a:cxn>
                <a:cxn ang="0">
                  <a:pos x="connsiteX9380" y="connsiteY9380"/>
                </a:cxn>
                <a:cxn ang="0">
                  <a:pos x="connsiteX9381" y="connsiteY9381"/>
                </a:cxn>
                <a:cxn ang="0">
                  <a:pos x="connsiteX9382" y="connsiteY9382"/>
                </a:cxn>
                <a:cxn ang="0">
                  <a:pos x="connsiteX9383" y="connsiteY9383"/>
                </a:cxn>
                <a:cxn ang="0">
                  <a:pos x="connsiteX9384" y="connsiteY9384"/>
                </a:cxn>
                <a:cxn ang="0">
                  <a:pos x="connsiteX9385" y="connsiteY9385"/>
                </a:cxn>
                <a:cxn ang="0">
                  <a:pos x="connsiteX9386" y="connsiteY9386"/>
                </a:cxn>
                <a:cxn ang="0">
                  <a:pos x="connsiteX9387" y="connsiteY9387"/>
                </a:cxn>
                <a:cxn ang="0">
                  <a:pos x="connsiteX9388" y="connsiteY9388"/>
                </a:cxn>
                <a:cxn ang="0">
                  <a:pos x="connsiteX9389" y="connsiteY9389"/>
                </a:cxn>
                <a:cxn ang="0">
                  <a:pos x="connsiteX9390" y="connsiteY9390"/>
                </a:cxn>
                <a:cxn ang="0">
                  <a:pos x="connsiteX9391" y="connsiteY9391"/>
                </a:cxn>
                <a:cxn ang="0">
                  <a:pos x="connsiteX9392" y="connsiteY9392"/>
                </a:cxn>
                <a:cxn ang="0">
                  <a:pos x="connsiteX9393" y="connsiteY9393"/>
                </a:cxn>
                <a:cxn ang="0">
                  <a:pos x="connsiteX9394" y="connsiteY9394"/>
                </a:cxn>
                <a:cxn ang="0">
                  <a:pos x="connsiteX9395" y="connsiteY9395"/>
                </a:cxn>
                <a:cxn ang="0">
                  <a:pos x="connsiteX9396" y="connsiteY9396"/>
                </a:cxn>
                <a:cxn ang="0">
                  <a:pos x="connsiteX9397" y="connsiteY9397"/>
                </a:cxn>
                <a:cxn ang="0">
                  <a:pos x="connsiteX9398" y="connsiteY9398"/>
                </a:cxn>
                <a:cxn ang="0">
                  <a:pos x="connsiteX9399" y="connsiteY9399"/>
                </a:cxn>
                <a:cxn ang="0">
                  <a:pos x="connsiteX9400" y="connsiteY9400"/>
                </a:cxn>
                <a:cxn ang="0">
                  <a:pos x="connsiteX9401" y="connsiteY9401"/>
                </a:cxn>
                <a:cxn ang="0">
                  <a:pos x="connsiteX9402" y="connsiteY9402"/>
                </a:cxn>
                <a:cxn ang="0">
                  <a:pos x="connsiteX9403" y="connsiteY9403"/>
                </a:cxn>
                <a:cxn ang="0">
                  <a:pos x="connsiteX9404" y="connsiteY9404"/>
                </a:cxn>
                <a:cxn ang="0">
                  <a:pos x="connsiteX9405" y="connsiteY9405"/>
                </a:cxn>
                <a:cxn ang="0">
                  <a:pos x="connsiteX9406" y="connsiteY9406"/>
                </a:cxn>
                <a:cxn ang="0">
                  <a:pos x="connsiteX9407" y="connsiteY9407"/>
                </a:cxn>
                <a:cxn ang="0">
                  <a:pos x="connsiteX9408" y="connsiteY9408"/>
                </a:cxn>
                <a:cxn ang="0">
                  <a:pos x="connsiteX9409" y="connsiteY9409"/>
                </a:cxn>
                <a:cxn ang="0">
                  <a:pos x="connsiteX9410" y="connsiteY9410"/>
                </a:cxn>
                <a:cxn ang="0">
                  <a:pos x="connsiteX9411" y="connsiteY9411"/>
                </a:cxn>
                <a:cxn ang="0">
                  <a:pos x="connsiteX9412" y="connsiteY9412"/>
                </a:cxn>
                <a:cxn ang="0">
                  <a:pos x="connsiteX9413" y="connsiteY9413"/>
                </a:cxn>
                <a:cxn ang="0">
                  <a:pos x="connsiteX9414" y="connsiteY9414"/>
                </a:cxn>
                <a:cxn ang="0">
                  <a:pos x="connsiteX9415" y="connsiteY9415"/>
                </a:cxn>
                <a:cxn ang="0">
                  <a:pos x="connsiteX9416" y="connsiteY9416"/>
                </a:cxn>
                <a:cxn ang="0">
                  <a:pos x="connsiteX9417" y="connsiteY9417"/>
                </a:cxn>
                <a:cxn ang="0">
                  <a:pos x="connsiteX9418" y="connsiteY9418"/>
                </a:cxn>
                <a:cxn ang="0">
                  <a:pos x="connsiteX9419" y="connsiteY9419"/>
                </a:cxn>
                <a:cxn ang="0">
                  <a:pos x="connsiteX9420" y="connsiteY9420"/>
                </a:cxn>
                <a:cxn ang="0">
                  <a:pos x="connsiteX9421" y="connsiteY9421"/>
                </a:cxn>
                <a:cxn ang="0">
                  <a:pos x="connsiteX9422" y="connsiteY9422"/>
                </a:cxn>
                <a:cxn ang="0">
                  <a:pos x="connsiteX9423" y="connsiteY9423"/>
                </a:cxn>
                <a:cxn ang="0">
                  <a:pos x="connsiteX9424" y="connsiteY9424"/>
                </a:cxn>
                <a:cxn ang="0">
                  <a:pos x="connsiteX9425" y="connsiteY9425"/>
                </a:cxn>
                <a:cxn ang="0">
                  <a:pos x="connsiteX9426" y="connsiteY9426"/>
                </a:cxn>
                <a:cxn ang="0">
                  <a:pos x="connsiteX9427" y="connsiteY9427"/>
                </a:cxn>
                <a:cxn ang="0">
                  <a:pos x="connsiteX9428" y="connsiteY9428"/>
                </a:cxn>
                <a:cxn ang="0">
                  <a:pos x="connsiteX9429" y="connsiteY9429"/>
                </a:cxn>
                <a:cxn ang="0">
                  <a:pos x="connsiteX9430" y="connsiteY9430"/>
                </a:cxn>
                <a:cxn ang="0">
                  <a:pos x="connsiteX9431" y="connsiteY9431"/>
                </a:cxn>
                <a:cxn ang="0">
                  <a:pos x="connsiteX9432" y="connsiteY9432"/>
                </a:cxn>
                <a:cxn ang="0">
                  <a:pos x="connsiteX9433" y="connsiteY9433"/>
                </a:cxn>
                <a:cxn ang="0">
                  <a:pos x="connsiteX9434" y="connsiteY9434"/>
                </a:cxn>
                <a:cxn ang="0">
                  <a:pos x="connsiteX9435" y="connsiteY9435"/>
                </a:cxn>
                <a:cxn ang="0">
                  <a:pos x="connsiteX9436" y="connsiteY9436"/>
                </a:cxn>
                <a:cxn ang="0">
                  <a:pos x="connsiteX9437" y="connsiteY9437"/>
                </a:cxn>
                <a:cxn ang="0">
                  <a:pos x="connsiteX9438" y="connsiteY9438"/>
                </a:cxn>
                <a:cxn ang="0">
                  <a:pos x="connsiteX9439" y="connsiteY9439"/>
                </a:cxn>
                <a:cxn ang="0">
                  <a:pos x="connsiteX9440" y="connsiteY9440"/>
                </a:cxn>
                <a:cxn ang="0">
                  <a:pos x="connsiteX9441" y="connsiteY9441"/>
                </a:cxn>
                <a:cxn ang="0">
                  <a:pos x="connsiteX9442" y="connsiteY9442"/>
                </a:cxn>
                <a:cxn ang="0">
                  <a:pos x="connsiteX9443" y="connsiteY9443"/>
                </a:cxn>
                <a:cxn ang="0">
                  <a:pos x="connsiteX9444" y="connsiteY9444"/>
                </a:cxn>
                <a:cxn ang="0">
                  <a:pos x="connsiteX9445" y="connsiteY9445"/>
                </a:cxn>
                <a:cxn ang="0">
                  <a:pos x="connsiteX9446" y="connsiteY9446"/>
                </a:cxn>
                <a:cxn ang="0">
                  <a:pos x="connsiteX9447" y="connsiteY9447"/>
                </a:cxn>
                <a:cxn ang="0">
                  <a:pos x="connsiteX9448" y="connsiteY9448"/>
                </a:cxn>
                <a:cxn ang="0">
                  <a:pos x="connsiteX9449" y="connsiteY9449"/>
                </a:cxn>
                <a:cxn ang="0">
                  <a:pos x="connsiteX9450" y="connsiteY9450"/>
                </a:cxn>
                <a:cxn ang="0">
                  <a:pos x="connsiteX9451" y="connsiteY9451"/>
                </a:cxn>
                <a:cxn ang="0">
                  <a:pos x="connsiteX9452" y="connsiteY9452"/>
                </a:cxn>
                <a:cxn ang="0">
                  <a:pos x="connsiteX9453" y="connsiteY9453"/>
                </a:cxn>
                <a:cxn ang="0">
                  <a:pos x="connsiteX9454" y="connsiteY9454"/>
                </a:cxn>
                <a:cxn ang="0">
                  <a:pos x="connsiteX9455" y="connsiteY9455"/>
                </a:cxn>
                <a:cxn ang="0">
                  <a:pos x="connsiteX9456" y="connsiteY9456"/>
                </a:cxn>
                <a:cxn ang="0">
                  <a:pos x="connsiteX9457" y="connsiteY9457"/>
                </a:cxn>
                <a:cxn ang="0">
                  <a:pos x="connsiteX9458" y="connsiteY9458"/>
                </a:cxn>
                <a:cxn ang="0">
                  <a:pos x="connsiteX9459" y="connsiteY9459"/>
                </a:cxn>
                <a:cxn ang="0">
                  <a:pos x="connsiteX9460" y="connsiteY9460"/>
                </a:cxn>
                <a:cxn ang="0">
                  <a:pos x="connsiteX9461" y="connsiteY9461"/>
                </a:cxn>
                <a:cxn ang="0">
                  <a:pos x="connsiteX9462" y="connsiteY9462"/>
                </a:cxn>
                <a:cxn ang="0">
                  <a:pos x="connsiteX9463" y="connsiteY9463"/>
                </a:cxn>
                <a:cxn ang="0">
                  <a:pos x="connsiteX9464" y="connsiteY9464"/>
                </a:cxn>
                <a:cxn ang="0">
                  <a:pos x="connsiteX9465" y="connsiteY9465"/>
                </a:cxn>
                <a:cxn ang="0">
                  <a:pos x="connsiteX9466" y="connsiteY9466"/>
                </a:cxn>
                <a:cxn ang="0">
                  <a:pos x="connsiteX9467" y="connsiteY9467"/>
                </a:cxn>
                <a:cxn ang="0">
                  <a:pos x="connsiteX9468" y="connsiteY9468"/>
                </a:cxn>
                <a:cxn ang="0">
                  <a:pos x="connsiteX9469" y="connsiteY9469"/>
                </a:cxn>
                <a:cxn ang="0">
                  <a:pos x="connsiteX9470" y="connsiteY9470"/>
                </a:cxn>
                <a:cxn ang="0">
                  <a:pos x="connsiteX9471" y="connsiteY9471"/>
                </a:cxn>
                <a:cxn ang="0">
                  <a:pos x="connsiteX9472" y="connsiteY9472"/>
                </a:cxn>
                <a:cxn ang="0">
                  <a:pos x="connsiteX9473" y="connsiteY9473"/>
                </a:cxn>
                <a:cxn ang="0">
                  <a:pos x="connsiteX9474" y="connsiteY9474"/>
                </a:cxn>
                <a:cxn ang="0">
                  <a:pos x="connsiteX9475" y="connsiteY9475"/>
                </a:cxn>
                <a:cxn ang="0">
                  <a:pos x="connsiteX9476" y="connsiteY9476"/>
                </a:cxn>
                <a:cxn ang="0">
                  <a:pos x="connsiteX9477" y="connsiteY9477"/>
                </a:cxn>
                <a:cxn ang="0">
                  <a:pos x="connsiteX9478" y="connsiteY9478"/>
                </a:cxn>
                <a:cxn ang="0">
                  <a:pos x="connsiteX9479" y="connsiteY9479"/>
                </a:cxn>
                <a:cxn ang="0">
                  <a:pos x="connsiteX9480" y="connsiteY9480"/>
                </a:cxn>
                <a:cxn ang="0">
                  <a:pos x="connsiteX9481" y="connsiteY9481"/>
                </a:cxn>
                <a:cxn ang="0">
                  <a:pos x="connsiteX9482" y="connsiteY9482"/>
                </a:cxn>
                <a:cxn ang="0">
                  <a:pos x="connsiteX9483" y="connsiteY9483"/>
                </a:cxn>
                <a:cxn ang="0">
                  <a:pos x="connsiteX9484" y="connsiteY9484"/>
                </a:cxn>
                <a:cxn ang="0">
                  <a:pos x="connsiteX9485" y="connsiteY9485"/>
                </a:cxn>
                <a:cxn ang="0">
                  <a:pos x="connsiteX9486" y="connsiteY9486"/>
                </a:cxn>
                <a:cxn ang="0">
                  <a:pos x="connsiteX9487" y="connsiteY9487"/>
                </a:cxn>
                <a:cxn ang="0">
                  <a:pos x="connsiteX9488" y="connsiteY9488"/>
                </a:cxn>
                <a:cxn ang="0">
                  <a:pos x="connsiteX9489" y="connsiteY9489"/>
                </a:cxn>
                <a:cxn ang="0">
                  <a:pos x="connsiteX9490" y="connsiteY9490"/>
                </a:cxn>
                <a:cxn ang="0">
                  <a:pos x="connsiteX9491" y="connsiteY9491"/>
                </a:cxn>
                <a:cxn ang="0">
                  <a:pos x="connsiteX9492" y="connsiteY9492"/>
                </a:cxn>
                <a:cxn ang="0">
                  <a:pos x="connsiteX9493" y="connsiteY9493"/>
                </a:cxn>
                <a:cxn ang="0">
                  <a:pos x="connsiteX9494" y="connsiteY9494"/>
                </a:cxn>
                <a:cxn ang="0">
                  <a:pos x="connsiteX9495" y="connsiteY9495"/>
                </a:cxn>
                <a:cxn ang="0">
                  <a:pos x="connsiteX9496" y="connsiteY9496"/>
                </a:cxn>
                <a:cxn ang="0">
                  <a:pos x="connsiteX9497" y="connsiteY9497"/>
                </a:cxn>
                <a:cxn ang="0">
                  <a:pos x="connsiteX9498" y="connsiteY9498"/>
                </a:cxn>
                <a:cxn ang="0">
                  <a:pos x="connsiteX9499" y="connsiteY9499"/>
                </a:cxn>
                <a:cxn ang="0">
                  <a:pos x="connsiteX9500" y="connsiteY9500"/>
                </a:cxn>
                <a:cxn ang="0">
                  <a:pos x="connsiteX9501" y="connsiteY9501"/>
                </a:cxn>
                <a:cxn ang="0">
                  <a:pos x="connsiteX9502" y="connsiteY9502"/>
                </a:cxn>
                <a:cxn ang="0">
                  <a:pos x="connsiteX9503" y="connsiteY9503"/>
                </a:cxn>
                <a:cxn ang="0">
                  <a:pos x="connsiteX9504" y="connsiteY9504"/>
                </a:cxn>
                <a:cxn ang="0">
                  <a:pos x="connsiteX9505" y="connsiteY9505"/>
                </a:cxn>
                <a:cxn ang="0">
                  <a:pos x="connsiteX9506" y="connsiteY9506"/>
                </a:cxn>
                <a:cxn ang="0">
                  <a:pos x="connsiteX9507" y="connsiteY9507"/>
                </a:cxn>
                <a:cxn ang="0">
                  <a:pos x="connsiteX9508" y="connsiteY9508"/>
                </a:cxn>
                <a:cxn ang="0">
                  <a:pos x="connsiteX9509" y="connsiteY9509"/>
                </a:cxn>
                <a:cxn ang="0">
                  <a:pos x="connsiteX9510" y="connsiteY9510"/>
                </a:cxn>
                <a:cxn ang="0">
                  <a:pos x="connsiteX9511" y="connsiteY9511"/>
                </a:cxn>
                <a:cxn ang="0">
                  <a:pos x="connsiteX9512" y="connsiteY9512"/>
                </a:cxn>
                <a:cxn ang="0">
                  <a:pos x="connsiteX9513" y="connsiteY9513"/>
                </a:cxn>
                <a:cxn ang="0">
                  <a:pos x="connsiteX9514" y="connsiteY9514"/>
                </a:cxn>
                <a:cxn ang="0">
                  <a:pos x="connsiteX9515" y="connsiteY9515"/>
                </a:cxn>
                <a:cxn ang="0">
                  <a:pos x="connsiteX9516" y="connsiteY9516"/>
                </a:cxn>
                <a:cxn ang="0">
                  <a:pos x="connsiteX9517" y="connsiteY9517"/>
                </a:cxn>
                <a:cxn ang="0">
                  <a:pos x="connsiteX9518" y="connsiteY9518"/>
                </a:cxn>
                <a:cxn ang="0">
                  <a:pos x="connsiteX9519" y="connsiteY9519"/>
                </a:cxn>
                <a:cxn ang="0">
                  <a:pos x="connsiteX9520" y="connsiteY9520"/>
                </a:cxn>
                <a:cxn ang="0">
                  <a:pos x="connsiteX9521" y="connsiteY9521"/>
                </a:cxn>
                <a:cxn ang="0">
                  <a:pos x="connsiteX9522" y="connsiteY9522"/>
                </a:cxn>
                <a:cxn ang="0">
                  <a:pos x="connsiteX9523" y="connsiteY9523"/>
                </a:cxn>
                <a:cxn ang="0">
                  <a:pos x="connsiteX9524" y="connsiteY9524"/>
                </a:cxn>
                <a:cxn ang="0">
                  <a:pos x="connsiteX9525" y="connsiteY9525"/>
                </a:cxn>
                <a:cxn ang="0">
                  <a:pos x="connsiteX9526" y="connsiteY9526"/>
                </a:cxn>
                <a:cxn ang="0">
                  <a:pos x="connsiteX9527" y="connsiteY9527"/>
                </a:cxn>
                <a:cxn ang="0">
                  <a:pos x="connsiteX9528" y="connsiteY9528"/>
                </a:cxn>
                <a:cxn ang="0">
                  <a:pos x="connsiteX9529" y="connsiteY9529"/>
                </a:cxn>
                <a:cxn ang="0">
                  <a:pos x="connsiteX9530" y="connsiteY9530"/>
                </a:cxn>
                <a:cxn ang="0">
                  <a:pos x="connsiteX9531" y="connsiteY9531"/>
                </a:cxn>
                <a:cxn ang="0">
                  <a:pos x="connsiteX9532" y="connsiteY9532"/>
                </a:cxn>
                <a:cxn ang="0">
                  <a:pos x="connsiteX9533" y="connsiteY9533"/>
                </a:cxn>
                <a:cxn ang="0">
                  <a:pos x="connsiteX9534" y="connsiteY9534"/>
                </a:cxn>
                <a:cxn ang="0">
                  <a:pos x="connsiteX9535" y="connsiteY9535"/>
                </a:cxn>
                <a:cxn ang="0">
                  <a:pos x="connsiteX9536" y="connsiteY9536"/>
                </a:cxn>
                <a:cxn ang="0">
                  <a:pos x="connsiteX9537" y="connsiteY9537"/>
                </a:cxn>
                <a:cxn ang="0">
                  <a:pos x="connsiteX9538" y="connsiteY9538"/>
                </a:cxn>
                <a:cxn ang="0">
                  <a:pos x="connsiteX9539" y="connsiteY9539"/>
                </a:cxn>
                <a:cxn ang="0">
                  <a:pos x="connsiteX9540" y="connsiteY9540"/>
                </a:cxn>
                <a:cxn ang="0">
                  <a:pos x="connsiteX9541" y="connsiteY9541"/>
                </a:cxn>
                <a:cxn ang="0">
                  <a:pos x="connsiteX9542" y="connsiteY9542"/>
                </a:cxn>
                <a:cxn ang="0">
                  <a:pos x="connsiteX9543" y="connsiteY9543"/>
                </a:cxn>
                <a:cxn ang="0">
                  <a:pos x="connsiteX9544" y="connsiteY9544"/>
                </a:cxn>
                <a:cxn ang="0">
                  <a:pos x="connsiteX9545" y="connsiteY9545"/>
                </a:cxn>
                <a:cxn ang="0">
                  <a:pos x="connsiteX9546" y="connsiteY9546"/>
                </a:cxn>
                <a:cxn ang="0">
                  <a:pos x="connsiteX9547" y="connsiteY9547"/>
                </a:cxn>
                <a:cxn ang="0">
                  <a:pos x="connsiteX9548" y="connsiteY9548"/>
                </a:cxn>
                <a:cxn ang="0">
                  <a:pos x="connsiteX9549" y="connsiteY9549"/>
                </a:cxn>
                <a:cxn ang="0">
                  <a:pos x="connsiteX9550" y="connsiteY9550"/>
                </a:cxn>
                <a:cxn ang="0">
                  <a:pos x="connsiteX9551" y="connsiteY9551"/>
                </a:cxn>
                <a:cxn ang="0">
                  <a:pos x="connsiteX9552" y="connsiteY9552"/>
                </a:cxn>
                <a:cxn ang="0">
                  <a:pos x="connsiteX9553" y="connsiteY9553"/>
                </a:cxn>
                <a:cxn ang="0">
                  <a:pos x="connsiteX9554" y="connsiteY9554"/>
                </a:cxn>
                <a:cxn ang="0">
                  <a:pos x="connsiteX9555" y="connsiteY9555"/>
                </a:cxn>
                <a:cxn ang="0">
                  <a:pos x="connsiteX9556" y="connsiteY9556"/>
                </a:cxn>
                <a:cxn ang="0">
                  <a:pos x="connsiteX9557" y="connsiteY9557"/>
                </a:cxn>
                <a:cxn ang="0">
                  <a:pos x="connsiteX9558" y="connsiteY9558"/>
                </a:cxn>
                <a:cxn ang="0">
                  <a:pos x="connsiteX9559" y="connsiteY9559"/>
                </a:cxn>
                <a:cxn ang="0">
                  <a:pos x="connsiteX9560" y="connsiteY9560"/>
                </a:cxn>
                <a:cxn ang="0">
                  <a:pos x="connsiteX9561" y="connsiteY9561"/>
                </a:cxn>
                <a:cxn ang="0">
                  <a:pos x="connsiteX9562" y="connsiteY9562"/>
                </a:cxn>
                <a:cxn ang="0">
                  <a:pos x="connsiteX9563" y="connsiteY9563"/>
                </a:cxn>
                <a:cxn ang="0">
                  <a:pos x="connsiteX9564" y="connsiteY9564"/>
                </a:cxn>
                <a:cxn ang="0">
                  <a:pos x="connsiteX9565" y="connsiteY9565"/>
                </a:cxn>
                <a:cxn ang="0">
                  <a:pos x="connsiteX9566" y="connsiteY9566"/>
                </a:cxn>
                <a:cxn ang="0">
                  <a:pos x="connsiteX9567" y="connsiteY9567"/>
                </a:cxn>
                <a:cxn ang="0">
                  <a:pos x="connsiteX9568" y="connsiteY9568"/>
                </a:cxn>
                <a:cxn ang="0">
                  <a:pos x="connsiteX9569" y="connsiteY9569"/>
                </a:cxn>
                <a:cxn ang="0">
                  <a:pos x="connsiteX9570" y="connsiteY9570"/>
                </a:cxn>
                <a:cxn ang="0">
                  <a:pos x="connsiteX9571" y="connsiteY9571"/>
                </a:cxn>
                <a:cxn ang="0">
                  <a:pos x="connsiteX9572" y="connsiteY9572"/>
                </a:cxn>
                <a:cxn ang="0">
                  <a:pos x="connsiteX9573" y="connsiteY9573"/>
                </a:cxn>
                <a:cxn ang="0">
                  <a:pos x="connsiteX9574" y="connsiteY9574"/>
                </a:cxn>
                <a:cxn ang="0">
                  <a:pos x="connsiteX9575" y="connsiteY9575"/>
                </a:cxn>
                <a:cxn ang="0">
                  <a:pos x="connsiteX9576" y="connsiteY9576"/>
                </a:cxn>
                <a:cxn ang="0">
                  <a:pos x="connsiteX9577" y="connsiteY9577"/>
                </a:cxn>
                <a:cxn ang="0">
                  <a:pos x="connsiteX9578" y="connsiteY9578"/>
                </a:cxn>
                <a:cxn ang="0">
                  <a:pos x="connsiteX9579" y="connsiteY9579"/>
                </a:cxn>
                <a:cxn ang="0">
                  <a:pos x="connsiteX9580" y="connsiteY9580"/>
                </a:cxn>
                <a:cxn ang="0">
                  <a:pos x="connsiteX9581" y="connsiteY9581"/>
                </a:cxn>
                <a:cxn ang="0">
                  <a:pos x="connsiteX9582" y="connsiteY9582"/>
                </a:cxn>
                <a:cxn ang="0">
                  <a:pos x="connsiteX9583" y="connsiteY9583"/>
                </a:cxn>
                <a:cxn ang="0">
                  <a:pos x="connsiteX9584" y="connsiteY9584"/>
                </a:cxn>
                <a:cxn ang="0">
                  <a:pos x="connsiteX9585" y="connsiteY9585"/>
                </a:cxn>
                <a:cxn ang="0">
                  <a:pos x="connsiteX9586" y="connsiteY9586"/>
                </a:cxn>
                <a:cxn ang="0">
                  <a:pos x="connsiteX9587" y="connsiteY9587"/>
                </a:cxn>
                <a:cxn ang="0">
                  <a:pos x="connsiteX9588" y="connsiteY9588"/>
                </a:cxn>
                <a:cxn ang="0">
                  <a:pos x="connsiteX9589" y="connsiteY9589"/>
                </a:cxn>
                <a:cxn ang="0">
                  <a:pos x="connsiteX9590" y="connsiteY9590"/>
                </a:cxn>
                <a:cxn ang="0">
                  <a:pos x="connsiteX9591" y="connsiteY9591"/>
                </a:cxn>
                <a:cxn ang="0">
                  <a:pos x="connsiteX9592" y="connsiteY9592"/>
                </a:cxn>
                <a:cxn ang="0">
                  <a:pos x="connsiteX9593" y="connsiteY9593"/>
                </a:cxn>
                <a:cxn ang="0">
                  <a:pos x="connsiteX9594" y="connsiteY9594"/>
                </a:cxn>
                <a:cxn ang="0">
                  <a:pos x="connsiteX9595" y="connsiteY9595"/>
                </a:cxn>
                <a:cxn ang="0">
                  <a:pos x="connsiteX9596" y="connsiteY9596"/>
                </a:cxn>
                <a:cxn ang="0">
                  <a:pos x="connsiteX9597" y="connsiteY9597"/>
                </a:cxn>
                <a:cxn ang="0">
                  <a:pos x="connsiteX9598" y="connsiteY9598"/>
                </a:cxn>
                <a:cxn ang="0">
                  <a:pos x="connsiteX9599" y="connsiteY9599"/>
                </a:cxn>
                <a:cxn ang="0">
                  <a:pos x="connsiteX9600" y="connsiteY9600"/>
                </a:cxn>
                <a:cxn ang="0">
                  <a:pos x="connsiteX9601" y="connsiteY9601"/>
                </a:cxn>
                <a:cxn ang="0">
                  <a:pos x="connsiteX9602" y="connsiteY9602"/>
                </a:cxn>
                <a:cxn ang="0">
                  <a:pos x="connsiteX9603" y="connsiteY9603"/>
                </a:cxn>
                <a:cxn ang="0">
                  <a:pos x="connsiteX9604" y="connsiteY9604"/>
                </a:cxn>
                <a:cxn ang="0">
                  <a:pos x="connsiteX9605" y="connsiteY9605"/>
                </a:cxn>
                <a:cxn ang="0">
                  <a:pos x="connsiteX9606" y="connsiteY9606"/>
                </a:cxn>
                <a:cxn ang="0">
                  <a:pos x="connsiteX9607" y="connsiteY9607"/>
                </a:cxn>
                <a:cxn ang="0">
                  <a:pos x="connsiteX9608" y="connsiteY9608"/>
                </a:cxn>
                <a:cxn ang="0">
                  <a:pos x="connsiteX9609" y="connsiteY9609"/>
                </a:cxn>
                <a:cxn ang="0">
                  <a:pos x="connsiteX9610" y="connsiteY9610"/>
                </a:cxn>
                <a:cxn ang="0">
                  <a:pos x="connsiteX9611" y="connsiteY9611"/>
                </a:cxn>
                <a:cxn ang="0">
                  <a:pos x="connsiteX9612" y="connsiteY9612"/>
                </a:cxn>
                <a:cxn ang="0">
                  <a:pos x="connsiteX9613" y="connsiteY9613"/>
                </a:cxn>
                <a:cxn ang="0">
                  <a:pos x="connsiteX9614" y="connsiteY9614"/>
                </a:cxn>
                <a:cxn ang="0">
                  <a:pos x="connsiteX9615" y="connsiteY9615"/>
                </a:cxn>
                <a:cxn ang="0">
                  <a:pos x="connsiteX9616" y="connsiteY9616"/>
                </a:cxn>
                <a:cxn ang="0">
                  <a:pos x="connsiteX9617" y="connsiteY9617"/>
                </a:cxn>
                <a:cxn ang="0">
                  <a:pos x="connsiteX9618" y="connsiteY9618"/>
                </a:cxn>
                <a:cxn ang="0">
                  <a:pos x="connsiteX9619" y="connsiteY9619"/>
                </a:cxn>
                <a:cxn ang="0">
                  <a:pos x="connsiteX9620" y="connsiteY9620"/>
                </a:cxn>
                <a:cxn ang="0">
                  <a:pos x="connsiteX9621" y="connsiteY9621"/>
                </a:cxn>
                <a:cxn ang="0">
                  <a:pos x="connsiteX9622" y="connsiteY9622"/>
                </a:cxn>
                <a:cxn ang="0">
                  <a:pos x="connsiteX9623" y="connsiteY9623"/>
                </a:cxn>
                <a:cxn ang="0">
                  <a:pos x="connsiteX9624" y="connsiteY9624"/>
                </a:cxn>
                <a:cxn ang="0">
                  <a:pos x="connsiteX9625" y="connsiteY9625"/>
                </a:cxn>
                <a:cxn ang="0">
                  <a:pos x="connsiteX9626" y="connsiteY9626"/>
                </a:cxn>
                <a:cxn ang="0">
                  <a:pos x="connsiteX9627" y="connsiteY9627"/>
                </a:cxn>
                <a:cxn ang="0">
                  <a:pos x="connsiteX9628" y="connsiteY9628"/>
                </a:cxn>
                <a:cxn ang="0">
                  <a:pos x="connsiteX9629" y="connsiteY9629"/>
                </a:cxn>
                <a:cxn ang="0">
                  <a:pos x="connsiteX9630" y="connsiteY9630"/>
                </a:cxn>
                <a:cxn ang="0">
                  <a:pos x="connsiteX9631" y="connsiteY9631"/>
                </a:cxn>
                <a:cxn ang="0">
                  <a:pos x="connsiteX9632" y="connsiteY9632"/>
                </a:cxn>
                <a:cxn ang="0">
                  <a:pos x="connsiteX9633" y="connsiteY9633"/>
                </a:cxn>
                <a:cxn ang="0">
                  <a:pos x="connsiteX9634" y="connsiteY9634"/>
                </a:cxn>
                <a:cxn ang="0">
                  <a:pos x="connsiteX9635" y="connsiteY9635"/>
                </a:cxn>
                <a:cxn ang="0">
                  <a:pos x="connsiteX9636" y="connsiteY9636"/>
                </a:cxn>
                <a:cxn ang="0">
                  <a:pos x="connsiteX9637" y="connsiteY9637"/>
                </a:cxn>
                <a:cxn ang="0">
                  <a:pos x="connsiteX9638" y="connsiteY9638"/>
                </a:cxn>
                <a:cxn ang="0">
                  <a:pos x="connsiteX9639" y="connsiteY9639"/>
                </a:cxn>
                <a:cxn ang="0">
                  <a:pos x="connsiteX9640" y="connsiteY9640"/>
                </a:cxn>
                <a:cxn ang="0">
                  <a:pos x="connsiteX9641" y="connsiteY9641"/>
                </a:cxn>
                <a:cxn ang="0">
                  <a:pos x="connsiteX9642" y="connsiteY9642"/>
                </a:cxn>
                <a:cxn ang="0">
                  <a:pos x="connsiteX9643" y="connsiteY9643"/>
                </a:cxn>
                <a:cxn ang="0">
                  <a:pos x="connsiteX9644" y="connsiteY9644"/>
                </a:cxn>
                <a:cxn ang="0">
                  <a:pos x="connsiteX9645" y="connsiteY9645"/>
                </a:cxn>
                <a:cxn ang="0">
                  <a:pos x="connsiteX9646" y="connsiteY9646"/>
                </a:cxn>
                <a:cxn ang="0">
                  <a:pos x="connsiteX9647" y="connsiteY9647"/>
                </a:cxn>
                <a:cxn ang="0">
                  <a:pos x="connsiteX9648" y="connsiteY9648"/>
                </a:cxn>
                <a:cxn ang="0">
                  <a:pos x="connsiteX9649" y="connsiteY9649"/>
                </a:cxn>
                <a:cxn ang="0">
                  <a:pos x="connsiteX9650" y="connsiteY9650"/>
                </a:cxn>
                <a:cxn ang="0">
                  <a:pos x="connsiteX9651" y="connsiteY9651"/>
                </a:cxn>
                <a:cxn ang="0">
                  <a:pos x="connsiteX9652" y="connsiteY9652"/>
                </a:cxn>
                <a:cxn ang="0">
                  <a:pos x="connsiteX9653" y="connsiteY9653"/>
                </a:cxn>
                <a:cxn ang="0">
                  <a:pos x="connsiteX9654" y="connsiteY9654"/>
                </a:cxn>
                <a:cxn ang="0">
                  <a:pos x="connsiteX9655" y="connsiteY9655"/>
                </a:cxn>
                <a:cxn ang="0">
                  <a:pos x="connsiteX9656" y="connsiteY9656"/>
                </a:cxn>
                <a:cxn ang="0">
                  <a:pos x="connsiteX9657" y="connsiteY9657"/>
                </a:cxn>
                <a:cxn ang="0">
                  <a:pos x="connsiteX9658" y="connsiteY9658"/>
                </a:cxn>
                <a:cxn ang="0">
                  <a:pos x="connsiteX9659" y="connsiteY9659"/>
                </a:cxn>
                <a:cxn ang="0">
                  <a:pos x="connsiteX9660" y="connsiteY9660"/>
                </a:cxn>
                <a:cxn ang="0">
                  <a:pos x="connsiteX9661" y="connsiteY9661"/>
                </a:cxn>
                <a:cxn ang="0">
                  <a:pos x="connsiteX9662" y="connsiteY9662"/>
                </a:cxn>
                <a:cxn ang="0">
                  <a:pos x="connsiteX9663" y="connsiteY9663"/>
                </a:cxn>
                <a:cxn ang="0">
                  <a:pos x="connsiteX9664" y="connsiteY9664"/>
                </a:cxn>
                <a:cxn ang="0">
                  <a:pos x="connsiteX9665" y="connsiteY9665"/>
                </a:cxn>
                <a:cxn ang="0">
                  <a:pos x="connsiteX9666" y="connsiteY9666"/>
                </a:cxn>
                <a:cxn ang="0">
                  <a:pos x="connsiteX9667" y="connsiteY9667"/>
                </a:cxn>
                <a:cxn ang="0">
                  <a:pos x="connsiteX9668" y="connsiteY9668"/>
                </a:cxn>
                <a:cxn ang="0">
                  <a:pos x="connsiteX9669" y="connsiteY9669"/>
                </a:cxn>
                <a:cxn ang="0">
                  <a:pos x="connsiteX9670" y="connsiteY9670"/>
                </a:cxn>
                <a:cxn ang="0">
                  <a:pos x="connsiteX9671" y="connsiteY9671"/>
                </a:cxn>
                <a:cxn ang="0">
                  <a:pos x="connsiteX9672" y="connsiteY9672"/>
                </a:cxn>
                <a:cxn ang="0">
                  <a:pos x="connsiteX9673" y="connsiteY9673"/>
                </a:cxn>
                <a:cxn ang="0">
                  <a:pos x="connsiteX9674" y="connsiteY9674"/>
                </a:cxn>
                <a:cxn ang="0">
                  <a:pos x="connsiteX9675" y="connsiteY9675"/>
                </a:cxn>
                <a:cxn ang="0">
                  <a:pos x="connsiteX9676" y="connsiteY9676"/>
                </a:cxn>
                <a:cxn ang="0">
                  <a:pos x="connsiteX9677" y="connsiteY9677"/>
                </a:cxn>
                <a:cxn ang="0">
                  <a:pos x="connsiteX9678" y="connsiteY9678"/>
                </a:cxn>
                <a:cxn ang="0">
                  <a:pos x="connsiteX9679" y="connsiteY9679"/>
                </a:cxn>
                <a:cxn ang="0">
                  <a:pos x="connsiteX9680" y="connsiteY9680"/>
                </a:cxn>
                <a:cxn ang="0">
                  <a:pos x="connsiteX9681" y="connsiteY9681"/>
                </a:cxn>
                <a:cxn ang="0">
                  <a:pos x="connsiteX9682" y="connsiteY9682"/>
                </a:cxn>
                <a:cxn ang="0">
                  <a:pos x="connsiteX9683" y="connsiteY9683"/>
                </a:cxn>
                <a:cxn ang="0">
                  <a:pos x="connsiteX9684" y="connsiteY9684"/>
                </a:cxn>
                <a:cxn ang="0">
                  <a:pos x="connsiteX9685" y="connsiteY9685"/>
                </a:cxn>
                <a:cxn ang="0">
                  <a:pos x="connsiteX9686" y="connsiteY9686"/>
                </a:cxn>
                <a:cxn ang="0">
                  <a:pos x="connsiteX9687" y="connsiteY9687"/>
                </a:cxn>
                <a:cxn ang="0">
                  <a:pos x="connsiteX9688" y="connsiteY9688"/>
                </a:cxn>
                <a:cxn ang="0">
                  <a:pos x="connsiteX9689" y="connsiteY9689"/>
                </a:cxn>
                <a:cxn ang="0">
                  <a:pos x="connsiteX9690" y="connsiteY9690"/>
                </a:cxn>
                <a:cxn ang="0">
                  <a:pos x="connsiteX9691" y="connsiteY9691"/>
                </a:cxn>
                <a:cxn ang="0">
                  <a:pos x="connsiteX9692" y="connsiteY9692"/>
                </a:cxn>
                <a:cxn ang="0">
                  <a:pos x="connsiteX9693" y="connsiteY9693"/>
                </a:cxn>
                <a:cxn ang="0">
                  <a:pos x="connsiteX9694" y="connsiteY9694"/>
                </a:cxn>
                <a:cxn ang="0">
                  <a:pos x="connsiteX9695" y="connsiteY9695"/>
                </a:cxn>
                <a:cxn ang="0">
                  <a:pos x="connsiteX9696" y="connsiteY9696"/>
                </a:cxn>
                <a:cxn ang="0">
                  <a:pos x="connsiteX9697" y="connsiteY9697"/>
                </a:cxn>
                <a:cxn ang="0">
                  <a:pos x="connsiteX9698" y="connsiteY9698"/>
                </a:cxn>
                <a:cxn ang="0">
                  <a:pos x="connsiteX9699" y="connsiteY9699"/>
                </a:cxn>
                <a:cxn ang="0">
                  <a:pos x="connsiteX9700" y="connsiteY9700"/>
                </a:cxn>
                <a:cxn ang="0">
                  <a:pos x="connsiteX9701" y="connsiteY9701"/>
                </a:cxn>
                <a:cxn ang="0">
                  <a:pos x="connsiteX9702" y="connsiteY9702"/>
                </a:cxn>
                <a:cxn ang="0">
                  <a:pos x="connsiteX9703" y="connsiteY9703"/>
                </a:cxn>
                <a:cxn ang="0">
                  <a:pos x="connsiteX9704" y="connsiteY9704"/>
                </a:cxn>
                <a:cxn ang="0">
                  <a:pos x="connsiteX9705" y="connsiteY9705"/>
                </a:cxn>
                <a:cxn ang="0">
                  <a:pos x="connsiteX9706" y="connsiteY9706"/>
                </a:cxn>
                <a:cxn ang="0">
                  <a:pos x="connsiteX9707" y="connsiteY9707"/>
                </a:cxn>
                <a:cxn ang="0">
                  <a:pos x="connsiteX9708" y="connsiteY9708"/>
                </a:cxn>
                <a:cxn ang="0">
                  <a:pos x="connsiteX9709" y="connsiteY9709"/>
                </a:cxn>
                <a:cxn ang="0">
                  <a:pos x="connsiteX9710" y="connsiteY9710"/>
                </a:cxn>
                <a:cxn ang="0">
                  <a:pos x="connsiteX9711" y="connsiteY9711"/>
                </a:cxn>
                <a:cxn ang="0">
                  <a:pos x="connsiteX9712" y="connsiteY9712"/>
                </a:cxn>
                <a:cxn ang="0">
                  <a:pos x="connsiteX9713" y="connsiteY9713"/>
                </a:cxn>
                <a:cxn ang="0">
                  <a:pos x="connsiteX9714" y="connsiteY9714"/>
                </a:cxn>
                <a:cxn ang="0">
                  <a:pos x="connsiteX9715" y="connsiteY9715"/>
                </a:cxn>
                <a:cxn ang="0">
                  <a:pos x="connsiteX9716" y="connsiteY9716"/>
                </a:cxn>
                <a:cxn ang="0">
                  <a:pos x="connsiteX9717" y="connsiteY9717"/>
                </a:cxn>
                <a:cxn ang="0">
                  <a:pos x="connsiteX9718" y="connsiteY9718"/>
                </a:cxn>
                <a:cxn ang="0">
                  <a:pos x="connsiteX9719" y="connsiteY9719"/>
                </a:cxn>
                <a:cxn ang="0">
                  <a:pos x="connsiteX9720" y="connsiteY9720"/>
                </a:cxn>
                <a:cxn ang="0">
                  <a:pos x="connsiteX9721" y="connsiteY9721"/>
                </a:cxn>
                <a:cxn ang="0">
                  <a:pos x="connsiteX9722" y="connsiteY9722"/>
                </a:cxn>
                <a:cxn ang="0">
                  <a:pos x="connsiteX9723" y="connsiteY9723"/>
                </a:cxn>
                <a:cxn ang="0">
                  <a:pos x="connsiteX9724" y="connsiteY9724"/>
                </a:cxn>
                <a:cxn ang="0">
                  <a:pos x="connsiteX9725" y="connsiteY9725"/>
                </a:cxn>
                <a:cxn ang="0">
                  <a:pos x="connsiteX9726" y="connsiteY9726"/>
                </a:cxn>
                <a:cxn ang="0">
                  <a:pos x="connsiteX9727" y="connsiteY9727"/>
                </a:cxn>
                <a:cxn ang="0">
                  <a:pos x="connsiteX9728" y="connsiteY9728"/>
                </a:cxn>
                <a:cxn ang="0">
                  <a:pos x="connsiteX9729" y="connsiteY9729"/>
                </a:cxn>
                <a:cxn ang="0">
                  <a:pos x="connsiteX9730" y="connsiteY9730"/>
                </a:cxn>
                <a:cxn ang="0">
                  <a:pos x="connsiteX9731" y="connsiteY9731"/>
                </a:cxn>
                <a:cxn ang="0">
                  <a:pos x="connsiteX9732" y="connsiteY9732"/>
                </a:cxn>
                <a:cxn ang="0">
                  <a:pos x="connsiteX9733" y="connsiteY9733"/>
                </a:cxn>
                <a:cxn ang="0">
                  <a:pos x="connsiteX9734" y="connsiteY9734"/>
                </a:cxn>
                <a:cxn ang="0">
                  <a:pos x="connsiteX9735" y="connsiteY9735"/>
                </a:cxn>
                <a:cxn ang="0">
                  <a:pos x="connsiteX9736" y="connsiteY9736"/>
                </a:cxn>
                <a:cxn ang="0">
                  <a:pos x="connsiteX9737" y="connsiteY9737"/>
                </a:cxn>
                <a:cxn ang="0">
                  <a:pos x="connsiteX9738" y="connsiteY9738"/>
                </a:cxn>
                <a:cxn ang="0">
                  <a:pos x="connsiteX9739" y="connsiteY9739"/>
                </a:cxn>
                <a:cxn ang="0">
                  <a:pos x="connsiteX9740" y="connsiteY9740"/>
                </a:cxn>
                <a:cxn ang="0">
                  <a:pos x="connsiteX9741" y="connsiteY9741"/>
                </a:cxn>
                <a:cxn ang="0">
                  <a:pos x="connsiteX9742" y="connsiteY9742"/>
                </a:cxn>
                <a:cxn ang="0">
                  <a:pos x="connsiteX9743" y="connsiteY9743"/>
                </a:cxn>
                <a:cxn ang="0">
                  <a:pos x="connsiteX9744" y="connsiteY9744"/>
                </a:cxn>
                <a:cxn ang="0">
                  <a:pos x="connsiteX9745" y="connsiteY9745"/>
                </a:cxn>
                <a:cxn ang="0">
                  <a:pos x="connsiteX9746" y="connsiteY9746"/>
                </a:cxn>
                <a:cxn ang="0">
                  <a:pos x="connsiteX9747" y="connsiteY9747"/>
                </a:cxn>
                <a:cxn ang="0">
                  <a:pos x="connsiteX9748" y="connsiteY9748"/>
                </a:cxn>
                <a:cxn ang="0">
                  <a:pos x="connsiteX9749" y="connsiteY9749"/>
                </a:cxn>
                <a:cxn ang="0">
                  <a:pos x="connsiteX9750" y="connsiteY9750"/>
                </a:cxn>
                <a:cxn ang="0">
                  <a:pos x="connsiteX9751" y="connsiteY9751"/>
                </a:cxn>
                <a:cxn ang="0">
                  <a:pos x="connsiteX9752" y="connsiteY9752"/>
                </a:cxn>
                <a:cxn ang="0">
                  <a:pos x="connsiteX9753" y="connsiteY9753"/>
                </a:cxn>
                <a:cxn ang="0">
                  <a:pos x="connsiteX9754" y="connsiteY9754"/>
                </a:cxn>
                <a:cxn ang="0">
                  <a:pos x="connsiteX9755" y="connsiteY9755"/>
                </a:cxn>
                <a:cxn ang="0">
                  <a:pos x="connsiteX9756" y="connsiteY9756"/>
                </a:cxn>
                <a:cxn ang="0">
                  <a:pos x="connsiteX9757" y="connsiteY9757"/>
                </a:cxn>
                <a:cxn ang="0">
                  <a:pos x="connsiteX9758" y="connsiteY9758"/>
                </a:cxn>
                <a:cxn ang="0">
                  <a:pos x="connsiteX9759" y="connsiteY9759"/>
                </a:cxn>
                <a:cxn ang="0">
                  <a:pos x="connsiteX9760" y="connsiteY9760"/>
                </a:cxn>
                <a:cxn ang="0">
                  <a:pos x="connsiteX9761" y="connsiteY9761"/>
                </a:cxn>
                <a:cxn ang="0">
                  <a:pos x="connsiteX9762" y="connsiteY9762"/>
                </a:cxn>
                <a:cxn ang="0">
                  <a:pos x="connsiteX9763" y="connsiteY9763"/>
                </a:cxn>
                <a:cxn ang="0">
                  <a:pos x="connsiteX9764" y="connsiteY9764"/>
                </a:cxn>
                <a:cxn ang="0">
                  <a:pos x="connsiteX9765" y="connsiteY9765"/>
                </a:cxn>
                <a:cxn ang="0">
                  <a:pos x="connsiteX9766" y="connsiteY9766"/>
                </a:cxn>
                <a:cxn ang="0">
                  <a:pos x="connsiteX9767" y="connsiteY9767"/>
                </a:cxn>
                <a:cxn ang="0">
                  <a:pos x="connsiteX9768" y="connsiteY9768"/>
                </a:cxn>
                <a:cxn ang="0">
                  <a:pos x="connsiteX9769" y="connsiteY9769"/>
                </a:cxn>
                <a:cxn ang="0">
                  <a:pos x="connsiteX9770" y="connsiteY9770"/>
                </a:cxn>
                <a:cxn ang="0">
                  <a:pos x="connsiteX9771" y="connsiteY9771"/>
                </a:cxn>
                <a:cxn ang="0">
                  <a:pos x="connsiteX9772" y="connsiteY9772"/>
                </a:cxn>
                <a:cxn ang="0">
                  <a:pos x="connsiteX9773" y="connsiteY9773"/>
                </a:cxn>
                <a:cxn ang="0">
                  <a:pos x="connsiteX9774" y="connsiteY9774"/>
                </a:cxn>
                <a:cxn ang="0">
                  <a:pos x="connsiteX9775" y="connsiteY9775"/>
                </a:cxn>
                <a:cxn ang="0">
                  <a:pos x="connsiteX9776" y="connsiteY9776"/>
                </a:cxn>
                <a:cxn ang="0">
                  <a:pos x="connsiteX9777" y="connsiteY9777"/>
                </a:cxn>
                <a:cxn ang="0">
                  <a:pos x="connsiteX9778" y="connsiteY9778"/>
                </a:cxn>
                <a:cxn ang="0">
                  <a:pos x="connsiteX9779" y="connsiteY9779"/>
                </a:cxn>
                <a:cxn ang="0">
                  <a:pos x="connsiteX9780" y="connsiteY9780"/>
                </a:cxn>
                <a:cxn ang="0">
                  <a:pos x="connsiteX9781" y="connsiteY9781"/>
                </a:cxn>
                <a:cxn ang="0">
                  <a:pos x="connsiteX9782" y="connsiteY9782"/>
                </a:cxn>
                <a:cxn ang="0">
                  <a:pos x="connsiteX9783" y="connsiteY9783"/>
                </a:cxn>
                <a:cxn ang="0">
                  <a:pos x="connsiteX9784" y="connsiteY9784"/>
                </a:cxn>
                <a:cxn ang="0">
                  <a:pos x="connsiteX9785" y="connsiteY9785"/>
                </a:cxn>
                <a:cxn ang="0">
                  <a:pos x="connsiteX9786" y="connsiteY9786"/>
                </a:cxn>
                <a:cxn ang="0">
                  <a:pos x="connsiteX9787" y="connsiteY9787"/>
                </a:cxn>
                <a:cxn ang="0">
                  <a:pos x="connsiteX9788" y="connsiteY9788"/>
                </a:cxn>
                <a:cxn ang="0">
                  <a:pos x="connsiteX9789" y="connsiteY9789"/>
                </a:cxn>
                <a:cxn ang="0">
                  <a:pos x="connsiteX9790" y="connsiteY9790"/>
                </a:cxn>
                <a:cxn ang="0">
                  <a:pos x="connsiteX9791" y="connsiteY9791"/>
                </a:cxn>
                <a:cxn ang="0">
                  <a:pos x="connsiteX9792" y="connsiteY9792"/>
                </a:cxn>
                <a:cxn ang="0">
                  <a:pos x="connsiteX9793" y="connsiteY9793"/>
                </a:cxn>
                <a:cxn ang="0">
                  <a:pos x="connsiteX9794" y="connsiteY9794"/>
                </a:cxn>
                <a:cxn ang="0">
                  <a:pos x="connsiteX9795" y="connsiteY9795"/>
                </a:cxn>
                <a:cxn ang="0">
                  <a:pos x="connsiteX9796" y="connsiteY9796"/>
                </a:cxn>
                <a:cxn ang="0">
                  <a:pos x="connsiteX9797" y="connsiteY9797"/>
                </a:cxn>
                <a:cxn ang="0">
                  <a:pos x="connsiteX9798" y="connsiteY9798"/>
                </a:cxn>
                <a:cxn ang="0">
                  <a:pos x="connsiteX9799" y="connsiteY9799"/>
                </a:cxn>
                <a:cxn ang="0">
                  <a:pos x="connsiteX9800" y="connsiteY9800"/>
                </a:cxn>
                <a:cxn ang="0">
                  <a:pos x="connsiteX9801" y="connsiteY9801"/>
                </a:cxn>
                <a:cxn ang="0">
                  <a:pos x="connsiteX9802" y="connsiteY9802"/>
                </a:cxn>
                <a:cxn ang="0">
                  <a:pos x="connsiteX9803" y="connsiteY9803"/>
                </a:cxn>
                <a:cxn ang="0">
                  <a:pos x="connsiteX9804" y="connsiteY9804"/>
                </a:cxn>
                <a:cxn ang="0">
                  <a:pos x="connsiteX9805" y="connsiteY9805"/>
                </a:cxn>
                <a:cxn ang="0">
                  <a:pos x="connsiteX9806" y="connsiteY9806"/>
                </a:cxn>
                <a:cxn ang="0">
                  <a:pos x="connsiteX9807" y="connsiteY9807"/>
                </a:cxn>
                <a:cxn ang="0">
                  <a:pos x="connsiteX9808" y="connsiteY9808"/>
                </a:cxn>
                <a:cxn ang="0">
                  <a:pos x="connsiteX9809" y="connsiteY9809"/>
                </a:cxn>
                <a:cxn ang="0">
                  <a:pos x="connsiteX9810" y="connsiteY9810"/>
                </a:cxn>
                <a:cxn ang="0">
                  <a:pos x="connsiteX9811" y="connsiteY9811"/>
                </a:cxn>
                <a:cxn ang="0">
                  <a:pos x="connsiteX9812" y="connsiteY9812"/>
                </a:cxn>
                <a:cxn ang="0">
                  <a:pos x="connsiteX9813" y="connsiteY9813"/>
                </a:cxn>
                <a:cxn ang="0">
                  <a:pos x="connsiteX9814" y="connsiteY9814"/>
                </a:cxn>
                <a:cxn ang="0">
                  <a:pos x="connsiteX9815" y="connsiteY9815"/>
                </a:cxn>
                <a:cxn ang="0">
                  <a:pos x="connsiteX9816" y="connsiteY9816"/>
                </a:cxn>
                <a:cxn ang="0">
                  <a:pos x="connsiteX9817" y="connsiteY9817"/>
                </a:cxn>
                <a:cxn ang="0">
                  <a:pos x="connsiteX9818" y="connsiteY9818"/>
                </a:cxn>
                <a:cxn ang="0">
                  <a:pos x="connsiteX9819" y="connsiteY9819"/>
                </a:cxn>
                <a:cxn ang="0">
                  <a:pos x="connsiteX9820" y="connsiteY9820"/>
                </a:cxn>
                <a:cxn ang="0">
                  <a:pos x="connsiteX9821" y="connsiteY9821"/>
                </a:cxn>
                <a:cxn ang="0">
                  <a:pos x="connsiteX9822" y="connsiteY9822"/>
                </a:cxn>
                <a:cxn ang="0">
                  <a:pos x="connsiteX9823" y="connsiteY9823"/>
                </a:cxn>
                <a:cxn ang="0">
                  <a:pos x="connsiteX9824" y="connsiteY9824"/>
                </a:cxn>
                <a:cxn ang="0">
                  <a:pos x="connsiteX9825" y="connsiteY9825"/>
                </a:cxn>
                <a:cxn ang="0">
                  <a:pos x="connsiteX9826" y="connsiteY9826"/>
                </a:cxn>
                <a:cxn ang="0">
                  <a:pos x="connsiteX9827" y="connsiteY9827"/>
                </a:cxn>
                <a:cxn ang="0">
                  <a:pos x="connsiteX9828" y="connsiteY9828"/>
                </a:cxn>
                <a:cxn ang="0">
                  <a:pos x="connsiteX9829" y="connsiteY9829"/>
                </a:cxn>
                <a:cxn ang="0">
                  <a:pos x="connsiteX9830" y="connsiteY9830"/>
                </a:cxn>
                <a:cxn ang="0">
                  <a:pos x="connsiteX9831" y="connsiteY9831"/>
                </a:cxn>
                <a:cxn ang="0">
                  <a:pos x="connsiteX9832" y="connsiteY9832"/>
                </a:cxn>
                <a:cxn ang="0">
                  <a:pos x="connsiteX9833" y="connsiteY9833"/>
                </a:cxn>
                <a:cxn ang="0">
                  <a:pos x="connsiteX9834" y="connsiteY9834"/>
                </a:cxn>
                <a:cxn ang="0">
                  <a:pos x="connsiteX9835" y="connsiteY9835"/>
                </a:cxn>
                <a:cxn ang="0">
                  <a:pos x="connsiteX9836" y="connsiteY9836"/>
                </a:cxn>
                <a:cxn ang="0">
                  <a:pos x="connsiteX9837" y="connsiteY9837"/>
                </a:cxn>
                <a:cxn ang="0">
                  <a:pos x="connsiteX9838" y="connsiteY9838"/>
                </a:cxn>
                <a:cxn ang="0">
                  <a:pos x="connsiteX9839" y="connsiteY9839"/>
                </a:cxn>
                <a:cxn ang="0">
                  <a:pos x="connsiteX9840" y="connsiteY9840"/>
                </a:cxn>
                <a:cxn ang="0">
                  <a:pos x="connsiteX9841" y="connsiteY9841"/>
                </a:cxn>
                <a:cxn ang="0">
                  <a:pos x="connsiteX9842" y="connsiteY9842"/>
                </a:cxn>
                <a:cxn ang="0">
                  <a:pos x="connsiteX9843" y="connsiteY9843"/>
                </a:cxn>
                <a:cxn ang="0">
                  <a:pos x="connsiteX9844" y="connsiteY9844"/>
                </a:cxn>
                <a:cxn ang="0">
                  <a:pos x="connsiteX9845" y="connsiteY9845"/>
                </a:cxn>
                <a:cxn ang="0">
                  <a:pos x="connsiteX9846" y="connsiteY9846"/>
                </a:cxn>
                <a:cxn ang="0">
                  <a:pos x="connsiteX9847" y="connsiteY9847"/>
                </a:cxn>
                <a:cxn ang="0">
                  <a:pos x="connsiteX9848" y="connsiteY9848"/>
                </a:cxn>
                <a:cxn ang="0">
                  <a:pos x="connsiteX9849" y="connsiteY9849"/>
                </a:cxn>
                <a:cxn ang="0">
                  <a:pos x="connsiteX9850" y="connsiteY9850"/>
                </a:cxn>
                <a:cxn ang="0">
                  <a:pos x="connsiteX9851" y="connsiteY9851"/>
                </a:cxn>
                <a:cxn ang="0">
                  <a:pos x="connsiteX9852" y="connsiteY9852"/>
                </a:cxn>
                <a:cxn ang="0">
                  <a:pos x="connsiteX9853" y="connsiteY9853"/>
                </a:cxn>
                <a:cxn ang="0">
                  <a:pos x="connsiteX9854" y="connsiteY9854"/>
                </a:cxn>
                <a:cxn ang="0">
                  <a:pos x="connsiteX9855" y="connsiteY9855"/>
                </a:cxn>
                <a:cxn ang="0">
                  <a:pos x="connsiteX9856" y="connsiteY9856"/>
                </a:cxn>
                <a:cxn ang="0">
                  <a:pos x="connsiteX9857" y="connsiteY9857"/>
                </a:cxn>
                <a:cxn ang="0">
                  <a:pos x="connsiteX9858" y="connsiteY9858"/>
                </a:cxn>
                <a:cxn ang="0">
                  <a:pos x="connsiteX9859" y="connsiteY9859"/>
                </a:cxn>
                <a:cxn ang="0">
                  <a:pos x="connsiteX9860" y="connsiteY9860"/>
                </a:cxn>
                <a:cxn ang="0">
                  <a:pos x="connsiteX9861" y="connsiteY9861"/>
                </a:cxn>
                <a:cxn ang="0">
                  <a:pos x="connsiteX9862" y="connsiteY9862"/>
                </a:cxn>
                <a:cxn ang="0">
                  <a:pos x="connsiteX9863" y="connsiteY9863"/>
                </a:cxn>
                <a:cxn ang="0">
                  <a:pos x="connsiteX9864" y="connsiteY9864"/>
                </a:cxn>
                <a:cxn ang="0">
                  <a:pos x="connsiteX9865" y="connsiteY9865"/>
                </a:cxn>
                <a:cxn ang="0">
                  <a:pos x="connsiteX9866" y="connsiteY9866"/>
                </a:cxn>
                <a:cxn ang="0">
                  <a:pos x="connsiteX9867" y="connsiteY9867"/>
                </a:cxn>
                <a:cxn ang="0">
                  <a:pos x="connsiteX9868" y="connsiteY9868"/>
                </a:cxn>
                <a:cxn ang="0">
                  <a:pos x="connsiteX9869" y="connsiteY9869"/>
                </a:cxn>
                <a:cxn ang="0">
                  <a:pos x="connsiteX9870" y="connsiteY9870"/>
                </a:cxn>
                <a:cxn ang="0">
                  <a:pos x="connsiteX9871" y="connsiteY9871"/>
                </a:cxn>
                <a:cxn ang="0">
                  <a:pos x="connsiteX9872" y="connsiteY9872"/>
                </a:cxn>
                <a:cxn ang="0">
                  <a:pos x="connsiteX9873" y="connsiteY9873"/>
                </a:cxn>
                <a:cxn ang="0">
                  <a:pos x="connsiteX9874" y="connsiteY9874"/>
                </a:cxn>
                <a:cxn ang="0">
                  <a:pos x="connsiteX9875" y="connsiteY9875"/>
                </a:cxn>
                <a:cxn ang="0">
                  <a:pos x="connsiteX9876" y="connsiteY9876"/>
                </a:cxn>
                <a:cxn ang="0">
                  <a:pos x="connsiteX9877" y="connsiteY9877"/>
                </a:cxn>
                <a:cxn ang="0">
                  <a:pos x="connsiteX9878" y="connsiteY9878"/>
                </a:cxn>
                <a:cxn ang="0">
                  <a:pos x="connsiteX9879" y="connsiteY9879"/>
                </a:cxn>
                <a:cxn ang="0">
                  <a:pos x="connsiteX9880" y="connsiteY9880"/>
                </a:cxn>
                <a:cxn ang="0">
                  <a:pos x="connsiteX9881" y="connsiteY9881"/>
                </a:cxn>
                <a:cxn ang="0">
                  <a:pos x="connsiteX9882" y="connsiteY9882"/>
                </a:cxn>
                <a:cxn ang="0">
                  <a:pos x="connsiteX9883" y="connsiteY9883"/>
                </a:cxn>
                <a:cxn ang="0">
                  <a:pos x="connsiteX9884" y="connsiteY9884"/>
                </a:cxn>
                <a:cxn ang="0">
                  <a:pos x="connsiteX9885" y="connsiteY9885"/>
                </a:cxn>
                <a:cxn ang="0">
                  <a:pos x="connsiteX9886" y="connsiteY9886"/>
                </a:cxn>
                <a:cxn ang="0">
                  <a:pos x="connsiteX9887" y="connsiteY9887"/>
                </a:cxn>
                <a:cxn ang="0">
                  <a:pos x="connsiteX9888" y="connsiteY9888"/>
                </a:cxn>
                <a:cxn ang="0">
                  <a:pos x="connsiteX9889" y="connsiteY9889"/>
                </a:cxn>
                <a:cxn ang="0">
                  <a:pos x="connsiteX9890" y="connsiteY9890"/>
                </a:cxn>
                <a:cxn ang="0">
                  <a:pos x="connsiteX9891" y="connsiteY9891"/>
                </a:cxn>
                <a:cxn ang="0">
                  <a:pos x="connsiteX9892" y="connsiteY9892"/>
                </a:cxn>
                <a:cxn ang="0">
                  <a:pos x="connsiteX9893" y="connsiteY9893"/>
                </a:cxn>
                <a:cxn ang="0">
                  <a:pos x="connsiteX9894" y="connsiteY9894"/>
                </a:cxn>
                <a:cxn ang="0">
                  <a:pos x="connsiteX9895" y="connsiteY9895"/>
                </a:cxn>
                <a:cxn ang="0">
                  <a:pos x="connsiteX9896" y="connsiteY9896"/>
                </a:cxn>
                <a:cxn ang="0">
                  <a:pos x="connsiteX9897" y="connsiteY9897"/>
                </a:cxn>
                <a:cxn ang="0">
                  <a:pos x="connsiteX9898" y="connsiteY9898"/>
                </a:cxn>
                <a:cxn ang="0">
                  <a:pos x="connsiteX9899" y="connsiteY9899"/>
                </a:cxn>
                <a:cxn ang="0">
                  <a:pos x="connsiteX9900" y="connsiteY9900"/>
                </a:cxn>
                <a:cxn ang="0">
                  <a:pos x="connsiteX9901" y="connsiteY9901"/>
                </a:cxn>
                <a:cxn ang="0">
                  <a:pos x="connsiteX9902" y="connsiteY9902"/>
                </a:cxn>
                <a:cxn ang="0">
                  <a:pos x="connsiteX9903" y="connsiteY9903"/>
                </a:cxn>
                <a:cxn ang="0">
                  <a:pos x="connsiteX9904" y="connsiteY9904"/>
                </a:cxn>
                <a:cxn ang="0">
                  <a:pos x="connsiteX9905" y="connsiteY9905"/>
                </a:cxn>
                <a:cxn ang="0">
                  <a:pos x="connsiteX9906" y="connsiteY9906"/>
                </a:cxn>
                <a:cxn ang="0">
                  <a:pos x="connsiteX9907" y="connsiteY9907"/>
                </a:cxn>
                <a:cxn ang="0">
                  <a:pos x="connsiteX9908" y="connsiteY9908"/>
                </a:cxn>
                <a:cxn ang="0">
                  <a:pos x="connsiteX9909" y="connsiteY9909"/>
                </a:cxn>
                <a:cxn ang="0">
                  <a:pos x="connsiteX9910" y="connsiteY9910"/>
                </a:cxn>
                <a:cxn ang="0">
                  <a:pos x="connsiteX9911" y="connsiteY9911"/>
                </a:cxn>
                <a:cxn ang="0">
                  <a:pos x="connsiteX9912" y="connsiteY9912"/>
                </a:cxn>
                <a:cxn ang="0">
                  <a:pos x="connsiteX9913" y="connsiteY9913"/>
                </a:cxn>
                <a:cxn ang="0">
                  <a:pos x="connsiteX9914" y="connsiteY9914"/>
                </a:cxn>
                <a:cxn ang="0">
                  <a:pos x="connsiteX9915" y="connsiteY9915"/>
                </a:cxn>
                <a:cxn ang="0">
                  <a:pos x="connsiteX9916" y="connsiteY9916"/>
                </a:cxn>
                <a:cxn ang="0">
                  <a:pos x="connsiteX9917" y="connsiteY9917"/>
                </a:cxn>
                <a:cxn ang="0">
                  <a:pos x="connsiteX9918" y="connsiteY9918"/>
                </a:cxn>
                <a:cxn ang="0">
                  <a:pos x="connsiteX9919" y="connsiteY9919"/>
                </a:cxn>
                <a:cxn ang="0">
                  <a:pos x="connsiteX9920" y="connsiteY9920"/>
                </a:cxn>
                <a:cxn ang="0">
                  <a:pos x="connsiteX9921" y="connsiteY9921"/>
                </a:cxn>
                <a:cxn ang="0">
                  <a:pos x="connsiteX9922" y="connsiteY9922"/>
                </a:cxn>
                <a:cxn ang="0">
                  <a:pos x="connsiteX9923" y="connsiteY9923"/>
                </a:cxn>
                <a:cxn ang="0">
                  <a:pos x="connsiteX9924" y="connsiteY9924"/>
                </a:cxn>
                <a:cxn ang="0">
                  <a:pos x="connsiteX9925" y="connsiteY9925"/>
                </a:cxn>
                <a:cxn ang="0">
                  <a:pos x="connsiteX9926" y="connsiteY9926"/>
                </a:cxn>
                <a:cxn ang="0">
                  <a:pos x="connsiteX9927" y="connsiteY9927"/>
                </a:cxn>
                <a:cxn ang="0">
                  <a:pos x="connsiteX9928" y="connsiteY9928"/>
                </a:cxn>
                <a:cxn ang="0">
                  <a:pos x="connsiteX9929" y="connsiteY9929"/>
                </a:cxn>
                <a:cxn ang="0">
                  <a:pos x="connsiteX9930" y="connsiteY9930"/>
                </a:cxn>
                <a:cxn ang="0">
                  <a:pos x="connsiteX9931" y="connsiteY9931"/>
                </a:cxn>
                <a:cxn ang="0">
                  <a:pos x="connsiteX9932" y="connsiteY9932"/>
                </a:cxn>
                <a:cxn ang="0">
                  <a:pos x="connsiteX9933" y="connsiteY9933"/>
                </a:cxn>
                <a:cxn ang="0">
                  <a:pos x="connsiteX9934" y="connsiteY9934"/>
                </a:cxn>
                <a:cxn ang="0">
                  <a:pos x="connsiteX9935" y="connsiteY9935"/>
                </a:cxn>
                <a:cxn ang="0">
                  <a:pos x="connsiteX9936" y="connsiteY9936"/>
                </a:cxn>
                <a:cxn ang="0">
                  <a:pos x="connsiteX9937" y="connsiteY9937"/>
                </a:cxn>
                <a:cxn ang="0">
                  <a:pos x="connsiteX9938" y="connsiteY9938"/>
                </a:cxn>
                <a:cxn ang="0">
                  <a:pos x="connsiteX9939" y="connsiteY9939"/>
                </a:cxn>
                <a:cxn ang="0">
                  <a:pos x="connsiteX9940" y="connsiteY9940"/>
                </a:cxn>
                <a:cxn ang="0">
                  <a:pos x="connsiteX9941" y="connsiteY9941"/>
                </a:cxn>
                <a:cxn ang="0">
                  <a:pos x="connsiteX9942" y="connsiteY9942"/>
                </a:cxn>
                <a:cxn ang="0">
                  <a:pos x="connsiteX9943" y="connsiteY9943"/>
                </a:cxn>
                <a:cxn ang="0">
                  <a:pos x="connsiteX9944" y="connsiteY9944"/>
                </a:cxn>
                <a:cxn ang="0">
                  <a:pos x="connsiteX9945" y="connsiteY9945"/>
                </a:cxn>
                <a:cxn ang="0">
                  <a:pos x="connsiteX9946" y="connsiteY9946"/>
                </a:cxn>
                <a:cxn ang="0">
                  <a:pos x="connsiteX9947" y="connsiteY9947"/>
                </a:cxn>
                <a:cxn ang="0">
                  <a:pos x="connsiteX9948" y="connsiteY9948"/>
                </a:cxn>
                <a:cxn ang="0">
                  <a:pos x="connsiteX9949" y="connsiteY9949"/>
                </a:cxn>
                <a:cxn ang="0">
                  <a:pos x="connsiteX9950" y="connsiteY9950"/>
                </a:cxn>
                <a:cxn ang="0">
                  <a:pos x="connsiteX9951" y="connsiteY9951"/>
                </a:cxn>
                <a:cxn ang="0">
                  <a:pos x="connsiteX9952" y="connsiteY9952"/>
                </a:cxn>
                <a:cxn ang="0">
                  <a:pos x="connsiteX9953" y="connsiteY9953"/>
                </a:cxn>
                <a:cxn ang="0">
                  <a:pos x="connsiteX9954" y="connsiteY9954"/>
                </a:cxn>
                <a:cxn ang="0">
                  <a:pos x="connsiteX9955" y="connsiteY9955"/>
                </a:cxn>
                <a:cxn ang="0">
                  <a:pos x="connsiteX9956" y="connsiteY9956"/>
                </a:cxn>
                <a:cxn ang="0">
                  <a:pos x="connsiteX9957" y="connsiteY9957"/>
                </a:cxn>
                <a:cxn ang="0">
                  <a:pos x="connsiteX9958" y="connsiteY9958"/>
                </a:cxn>
                <a:cxn ang="0">
                  <a:pos x="connsiteX9959" y="connsiteY9959"/>
                </a:cxn>
                <a:cxn ang="0">
                  <a:pos x="connsiteX9960" y="connsiteY9960"/>
                </a:cxn>
                <a:cxn ang="0">
                  <a:pos x="connsiteX9961" y="connsiteY9961"/>
                </a:cxn>
                <a:cxn ang="0">
                  <a:pos x="connsiteX9962" y="connsiteY9962"/>
                </a:cxn>
                <a:cxn ang="0">
                  <a:pos x="connsiteX9963" y="connsiteY9963"/>
                </a:cxn>
                <a:cxn ang="0">
                  <a:pos x="connsiteX9964" y="connsiteY9964"/>
                </a:cxn>
                <a:cxn ang="0">
                  <a:pos x="connsiteX9965" y="connsiteY9965"/>
                </a:cxn>
                <a:cxn ang="0">
                  <a:pos x="connsiteX9966" y="connsiteY9966"/>
                </a:cxn>
                <a:cxn ang="0">
                  <a:pos x="connsiteX9967" y="connsiteY9967"/>
                </a:cxn>
                <a:cxn ang="0">
                  <a:pos x="connsiteX9968" y="connsiteY9968"/>
                </a:cxn>
                <a:cxn ang="0">
                  <a:pos x="connsiteX9969" y="connsiteY9969"/>
                </a:cxn>
                <a:cxn ang="0">
                  <a:pos x="connsiteX9970" y="connsiteY9970"/>
                </a:cxn>
                <a:cxn ang="0">
                  <a:pos x="connsiteX9971" y="connsiteY9971"/>
                </a:cxn>
                <a:cxn ang="0">
                  <a:pos x="connsiteX9972" y="connsiteY9972"/>
                </a:cxn>
                <a:cxn ang="0">
                  <a:pos x="connsiteX9973" y="connsiteY9973"/>
                </a:cxn>
                <a:cxn ang="0">
                  <a:pos x="connsiteX9974" y="connsiteY9974"/>
                </a:cxn>
                <a:cxn ang="0">
                  <a:pos x="connsiteX9975" y="connsiteY9975"/>
                </a:cxn>
                <a:cxn ang="0">
                  <a:pos x="connsiteX9976" y="connsiteY9976"/>
                </a:cxn>
                <a:cxn ang="0">
                  <a:pos x="connsiteX9977" y="connsiteY9977"/>
                </a:cxn>
                <a:cxn ang="0">
                  <a:pos x="connsiteX9978" y="connsiteY9978"/>
                </a:cxn>
                <a:cxn ang="0">
                  <a:pos x="connsiteX9979" y="connsiteY9979"/>
                </a:cxn>
                <a:cxn ang="0">
                  <a:pos x="connsiteX9980" y="connsiteY9980"/>
                </a:cxn>
                <a:cxn ang="0">
                  <a:pos x="connsiteX9981" y="connsiteY9981"/>
                </a:cxn>
                <a:cxn ang="0">
                  <a:pos x="connsiteX9982" y="connsiteY9982"/>
                </a:cxn>
                <a:cxn ang="0">
                  <a:pos x="connsiteX9983" y="connsiteY9983"/>
                </a:cxn>
                <a:cxn ang="0">
                  <a:pos x="connsiteX9984" y="connsiteY9984"/>
                </a:cxn>
                <a:cxn ang="0">
                  <a:pos x="connsiteX9985" y="connsiteY9985"/>
                </a:cxn>
                <a:cxn ang="0">
                  <a:pos x="connsiteX9986" y="connsiteY9986"/>
                </a:cxn>
                <a:cxn ang="0">
                  <a:pos x="connsiteX9987" y="connsiteY9987"/>
                </a:cxn>
                <a:cxn ang="0">
                  <a:pos x="connsiteX9988" y="connsiteY9988"/>
                </a:cxn>
                <a:cxn ang="0">
                  <a:pos x="connsiteX9989" y="connsiteY9989"/>
                </a:cxn>
                <a:cxn ang="0">
                  <a:pos x="connsiteX9990" y="connsiteY9990"/>
                </a:cxn>
                <a:cxn ang="0">
                  <a:pos x="connsiteX9991" y="connsiteY9991"/>
                </a:cxn>
                <a:cxn ang="0">
                  <a:pos x="connsiteX9992" y="connsiteY9992"/>
                </a:cxn>
                <a:cxn ang="0">
                  <a:pos x="connsiteX9993" y="connsiteY9993"/>
                </a:cxn>
                <a:cxn ang="0">
                  <a:pos x="connsiteX9994" y="connsiteY9994"/>
                </a:cxn>
                <a:cxn ang="0">
                  <a:pos x="connsiteX9995" y="connsiteY9995"/>
                </a:cxn>
                <a:cxn ang="0">
                  <a:pos x="connsiteX9996" y="connsiteY9996"/>
                </a:cxn>
                <a:cxn ang="0">
                  <a:pos x="connsiteX9997" y="connsiteY9997"/>
                </a:cxn>
                <a:cxn ang="0">
                  <a:pos x="connsiteX9998" y="connsiteY9998"/>
                </a:cxn>
                <a:cxn ang="0">
                  <a:pos x="connsiteX9999" y="connsiteY9999"/>
                </a:cxn>
                <a:cxn ang="0">
                  <a:pos x="connsiteX10000" y="connsiteY10000"/>
                </a:cxn>
                <a:cxn ang="0">
                  <a:pos x="connsiteX10001" y="connsiteY10001"/>
                </a:cxn>
                <a:cxn ang="0">
                  <a:pos x="connsiteX10002" y="connsiteY10002"/>
                </a:cxn>
                <a:cxn ang="0">
                  <a:pos x="connsiteX10003" y="connsiteY10003"/>
                </a:cxn>
                <a:cxn ang="0">
                  <a:pos x="connsiteX10004" y="connsiteY10004"/>
                </a:cxn>
                <a:cxn ang="0">
                  <a:pos x="connsiteX10005" y="connsiteY10005"/>
                </a:cxn>
                <a:cxn ang="0">
                  <a:pos x="connsiteX10006" y="connsiteY10006"/>
                </a:cxn>
                <a:cxn ang="0">
                  <a:pos x="connsiteX10007" y="connsiteY10007"/>
                </a:cxn>
                <a:cxn ang="0">
                  <a:pos x="connsiteX10008" y="connsiteY10008"/>
                </a:cxn>
                <a:cxn ang="0">
                  <a:pos x="connsiteX10009" y="connsiteY10009"/>
                </a:cxn>
                <a:cxn ang="0">
                  <a:pos x="connsiteX10010" y="connsiteY10010"/>
                </a:cxn>
                <a:cxn ang="0">
                  <a:pos x="connsiteX10011" y="connsiteY10011"/>
                </a:cxn>
                <a:cxn ang="0">
                  <a:pos x="connsiteX10012" y="connsiteY10012"/>
                </a:cxn>
                <a:cxn ang="0">
                  <a:pos x="connsiteX10013" y="connsiteY10013"/>
                </a:cxn>
                <a:cxn ang="0">
                  <a:pos x="connsiteX10014" y="connsiteY10014"/>
                </a:cxn>
                <a:cxn ang="0">
                  <a:pos x="connsiteX10015" y="connsiteY10015"/>
                </a:cxn>
                <a:cxn ang="0">
                  <a:pos x="connsiteX10016" y="connsiteY10016"/>
                </a:cxn>
                <a:cxn ang="0">
                  <a:pos x="connsiteX10017" y="connsiteY10017"/>
                </a:cxn>
                <a:cxn ang="0">
                  <a:pos x="connsiteX10018" y="connsiteY10018"/>
                </a:cxn>
                <a:cxn ang="0">
                  <a:pos x="connsiteX10019" y="connsiteY10019"/>
                </a:cxn>
                <a:cxn ang="0">
                  <a:pos x="connsiteX10020" y="connsiteY10020"/>
                </a:cxn>
                <a:cxn ang="0">
                  <a:pos x="connsiteX10021" y="connsiteY10021"/>
                </a:cxn>
                <a:cxn ang="0">
                  <a:pos x="connsiteX10022" y="connsiteY10022"/>
                </a:cxn>
                <a:cxn ang="0">
                  <a:pos x="connsiteX10023" y="connsiteY10023"/>
                </a:cxn>
                <a:cxn ang="0">
                  <a:pos x="connsiteX10024" y="connsiteY10024"/>
                </a:cxn>
                <a:cxn ang="0">
                  <a:pos x="connsiteX10025" y="connsiteY10025"/>
                </a:cxn>
                <a:cxn ang="0">
                  <a:pos x="connsiteX10026" y="connsiteY10026"/>
                </a:cxn>
                <a:cxn ang="0">
                  <a:pos x="connsiteX10027" y="connsiteY10027"/>
                </a:cxn>
                <a:cxn ang="0">
                  <a:pos x="connsiteX10028" y="connsiteY10028"/>
                </a:cxn>
                <a:cxn ang="0">
                  <a:pos x="connsiteX10029" y="connsiteY10029"/>
                </a:cxn>
                <a:cxn ang="0">
                  <a:pos x="connsiteX10030" y="connsiteY10030"/>
                </a:cxn>
                <a:cxn ang="0">
                  <a:pos x="connsiteX10031" y="connsiteY10031"/>
                </a:cxn>
                <a:cxn ang="0">
                  <a:pos x="connsiteX10032" y="connsiteY10032"/>
                </a:cxn>
                <a:cxn ang="0">
                  <a:pos x="connsiteX10033" y="connsiteY10033"/>
                </a:cxn>
                <a:cxn ang="0">
                  <a:pos x="connsiteX10034" y="connsiteY10034"/>
                </a:cxn>
                <a:cxn ang="0">
                  <a:pos x="connsiteX10035" y="connsiteY10035"/>
                </a:cxn>
                <a:cxn ang="0">
                  <a:pos x="connsiteX10036" y="connsiteY10036"/>
                </a:cxn>
                <a:cxn ang="0">
                  <a:pos x="connsiteX10037" y="connsiteY10037"/>
                </a:cxn>
                <a:cxn ang="0">
                  <a:pos x="connsiteX10038" y="connsiteY10038"/>
                </a:cxn>
                <a:cxn ang="0">
                  <a:pos x="connsiteX10039" y="connsiteY10039"/>
                </a:cxn>
                <a:cxn ang="0">
                  <a:pos x="connsiteX10040" y="connsiteY10040"/>
                </a:cxn>
                <a:cxn ang="0">
                  <a:pos x="connsiteX10041" y="connsiteY10041"/>
                </a:cxn>
                <a:cxn ang="0">
                  <a:pos x="connsiteX10042" y="connsiteY10042"/>
                </a:cxn>
                <a:cxn ang="0">
                  <a:pos x="connsiteX10043" y="connsiteY10043"/>
                </a:cxn>
                <a:cxn ang="0">
                  <a:pos x="connsiteX10044" y="connsiteY10044"/>
                </a:cxn>
                <a:cxn ang="0">
                  <a:pos x="connsiteX10045" y="connsiteY10045"/>
                </a:cxn>
                <a:cxn ang="0">
                  <a:pos x="connsiteX10046" y="connsiteY10046"/>
                </a:cxn>
                <a:cxn ang="0">
                  <a:pos x="connsiteX10047" y="connsiteY10047"/>
                </a:cxn>
                <a:cxn ang="0">
                  <a:pos x="connsiteX10048" y="connsiteY10048"/>
                </a:cxn>
                <a:cxn ang="0">
                  <a:pos x="connsiteX10049" y="connsiteY10049"/>
                </a:cxn>
                <a:cxn ang="0">
                  <a:pos x="connsiteX10050" y="connsiteY10050"/>
                </a:cxn>
                <a:cxn ang="0">
                  <a:pos x="connsiteX10051" y="connsiteY10051"/>
                </a:cxn>
                <a:cxn ang="0">
                  <a:pos x="connsiteX10052" y="connsiteY10052"/>
                </a:cxn>
                <a:cxn ang="0">
                  <a:pos x="connsiteX10053" y="connsiteY10053"/>
                </a:cxn>
                <a:cxn ang="0">
                  <a:pos x="connsiteX10054" y="connsiteY10054"/>
                </a:cxn>
                <a:cxn ang="0">
                  <a:pos x="connsiteX10055" y="connsiteY10055"/>
                </a:cxn>
                <a:cxn ang="0">
                  <a:pos x="connsiteX10056" y="connsiteY10056"/>
                </a:cxn>
                <a:cxn ang="0">
                  <a:pos x="connsiteX10057" y="connsiteY10057"/>
                </a:cxn>
                <a:cxn ang="0">
                  <a:pos x="connsiteX10058" y="connsiteY10058"/>
                </a:cxn>
                <a:cxn ang="0">
                  <a:pos x="connsiteX10059" y="connsiteY10059"/>
                </a:cxn>
                <a:cxn ang="0">
                  <a:pos x="connsiteX10060" y="connsiteY10060"/>
                </a:cxn>
                <a:cxn ang="0">
                  <a:pos x="connsiteX10061" y="connsiteY10061"/>
                </a:cxn>
                <a:cxn ang="0">
                  <a:pos x="connsiteX10062" y="connsiteY10062"/>
                </a:cxn>
                <a:cxn ang="0">
                  <a:pos x="connsiteX10063" y="connsiteY10063"/>
                </a:cxn>
                <a:cxn ang="0">
                  <a:pos x="connsiteX10064" y="connsiteY10064"/>
                </a:cxn>
                <a:cxn ang="0">
                  <a:pos x="connsiteX10065" y="connsiteY10065"/>
                </a:cxn>
                <a:cxn ang="0">
                  <a:pos x="connsiteX10066" y="connsiteY10066"/>
                </a:cxn>
                <a:cxn ang="0">
                  <a:pos x="connsiteX10067" y="connsiteY10067"/>
                </a:cxn>
                <a:cxn ang="0">
                  <a:pos x="connsiteX10068" y="connsiteY10068"/>
                </a:cxn>
                <a:cxn ang="0">
                  <a:pos x="connsiteX10069" y="connsiteY10069"/>
                </a:cxn>
                <a:cxn ang="0">
                  <a:pos x="connsiteX10070" y="connsiteY10070"/>
                </a:cxn>
                <a:cxn ang="0">
                  <a:pos x="connsiteX10071" y="connsiteY10071"/>
                </a:cxn>
                <a:cxn ang="0">
                  <a:pos x="connsiteX10072" y="connsiteY10072"/>
                </a:cxn>
                <a:cxn ang="0">
                  <a:pos x="connsiteX10073" y="connsiteY10073"/>
                </a:cxn>
                <a:cxn ang="0">
                  <a:pos x="connsiteX10074" y="connsiteY10074"/>
                </a:cxn>
                <a:cxn ang="0">
                  <a:pos x="connsiteX10075" y="connsiteY10075"/>
                </a:cxn>
                <a:cxn ang="0">
                  <a:pos x="connsiteX10076" y="connsiteY10076"/>
                </a:cxn>
                <a:cxn ang="0">
                  <a:pos x="connsiteX10077" y="connsiteY10077"/>
                </a:cxn>
                <a:cxn ang="0">
                  <a:pos x="connsiteX10078" y="connsiteY10078"/>
                </a:cxn>
                <a:cxn ang="0">
                  <a:pos x="connsiteX10079" y="connsiteY10079"/>
                </a:cxn>
                <a:cxn ang="0">
                  <a:pos x="connsiteX10080" y="connsiteY10080"/>
                </a:cxn>
                <a:cxn ang="0">
                  <a:pos x="connsiteX10081" y="connsiteY10081"/>
                </a:cxn>
                <a:cxn ang="0">
                  <a:pos x="connsiteX10082" y="connsiteY10082"/>
                </a:cxn>
                <a:cxn ang="0">
                  <a:pos x="connsiteX10083" y="connsiteY10083"/>
                </a:cxn>
                <a:cxn ang="0">
                  <a:pos x="connsiteX10084" y="connsiteY10084"/>
                </a:cxn>
                <a:cxn ang="0">
                  <a:pos x="connsiteX10085" y="connsiteY10085"/>
                </a:cxn>
                <a:cxn ang="0">
                  <a:pos x="connsiteX10086" y="connsiteY10086"/>
                </a:cxn>
                <a:cxn ang="0">
                  <a:pos x="connsiteX10087" y="connsiteY10087"/>
                </a:cxn>
                <a:cxn ang="0">
                  <a:pos x="connsiteX10088" y="connsiteY10088"/>
                </a:cxn>
                <a:cxn ang="0">
                  <a:pos x="connsiteX10089" y="connsiteY10089"/>
                </a:cxn>
                <a:cxn ang="0">
                  <a:pos x="connsiteX10090" y="connsiteY10090"/>
                </a:cxn>
                <a:cxn ang="0">
                  <a:pos x="connsiteX10091" y="connsiteY10091"/>
                </a:cxn>
                <a:cxn ang="0">
                  <a:pos x="connsiteX10092" y="connsiteY10092"/>
                </a:cxn>
                <a:cxn ang="0">
                  <a:pos x="connsiteX10093" y="connsiteY10093"/>
                </a:cxn>
                <a:cxn ang="0">
                  <a:pos x="connsiteX10094" y="connsiteY10094"/>
                </a:cxn>
                <a:cxn ang="0">
                  <a:pos x="connsiteX10095" y="connsiteY10095"/>
                </a:cxn>
                <a:cxn ang="0">
                  <a:pos x="connsiteX10096" y="connsiteY10096"/>
                </a:cxn>
                <a:cxn ang="0">
                  <a:pos x="connsiteX10097" y="connsiteY10097"/>
                </a:cxn>
                <a:cxn ang="0">
                  <a:pos x="connsiteX10098" y="connsiteY10098"/>
                </a:cxn>
                <a:cxn ang="0">
                  <a:pos x="connsiteX10099" y="connsiteY10099"/>
                </a:cxn>
                <a:cxn ang="0">
                  <a:pos x="connsiteX10100" y="connsiteY10100"/>
                </a:cxn>
                <a:cxn ang="0">
                  <a:pos x="connsiteX10101" y="connsiteY10101"/>
                </a:cxn>
                <a:cxn ang="0">
                  <a:pos x="connsiteX10102" y="connsiteY10102"/>
                </a:cxn>
                <a:cxn ang="0">
                  <a:pos x="connsiteX10103" y="connsiteY10103"/>
                </a:cxn>
                <a:cxn ang="0">
                  <a:pos x="connsiteX10104" y="connsiteY10104"/>
                </a:cxn>
                <a:cxn ang="0">
                  <a:pos x="connsiteX10105" y="connsiteY10105"/>
                </a:cxn>
                <a:cxn ang="0">
                  <a:pos x="connsiteX10106" y="connsiteY10106"/>
                </a:cxn>
                <a:cxn ang="0">
                  <a:pos x="connsiteX10107" y="connsiteY10107"/>
                </a:cxn>
                <a:cxn ang="0">
                  <a:pos x="connsiteX10108" y="connsiteY10108"/>
                </a:cxn>
                <a:cxn ang="0">
                  <a:pos x="connsiteX10109" y="connsiteY10109"/>
                </a:cxn>
                <a:cxn ang="0">
                  <a:pos x="connsiteX10110" y="connsiteY10110"/>
                </a:cxn>
                <a:cxn ang="0">
                  <a:pos x="connsiteX10111" y="connsiteY10111"/>
                </a:cxn>
                <a:cxn ang="0">
                  <a:pos x="connsiteX10112" y="connsiteY10112"/>
                </a:cxn>
                <a:cxn ang="0">
                  <a:pos x="connsiteX10113" y="connsiteY10113"/>
                </a:cxn>
                <a:cxn ang="0">
                  <a:pos x="connsiteX10114" y="connsiteY10114"/>
                </a:cxn>
                <a:cxn ang="0">
                  <a:pos x="connsiteX10115" y="connsiteY10115"/>
                </a:cxn>
                <a:cxn ang="0">
                  <a:pos x="connsiteX10116" y="connsiteY10116"/>
                </a:cxn>
                <a:cxn ang="0">
                  <a:pos x="connsiteX10117" y="connsiteY10117"/>
                </a:cxn>
                <a:cxn ang="0">
                  <a:pos x="connsiteX10118" y="connsiteY10118"/>
                </a:cxn>
                <a:cxn ang="0">
                  <a:pos x="connsiteX10119" y="connsiteY10119"/>
                </a:cxn>
                <a:cxn ang="0">
                  <a:pos x="connsiteX10120" y="connsiteY10120"/>
                </a:cxn>
                <a:cxn ang="0">
                  <a:pos x="connsiteX10121" y="connsiteY10121"/>
                </a:cxn>
                <a:cxn ang="0">
                  <a:pos x="connsiteX10122" y="connsiteY10122"/>
                </a:cxn>
                <a:cxn ang="0">
                  <a:pos x="connsiteX10123" y="connsiteY10123"/>
                </a:cxn>
                <a:cxn ang="0">
                  <a:pos x="connsiteX10124" y="connsiteY10124"/>
                </a:cxn>
                <a:cxn ang="0">
                  <a:pos x="connsiteX10125" y="connsiteY10125"/>
                </a:cxn>
                <a:cxn ang="0">
                  <a:pos x="connsiteX10126" y="connsiteY10126"/>
                </a:cxn>
                <a:cxn ang="0">
                  <a:pos x="connsiteX10127" y="connsiteY10127"/>
                </a:cxn>
                <a:cxn ang="0">
                  <a:pos x="connsiteX10128" y="connsiteY10128"/>
                </a:cxn>
                <a:cxn ang="0">
                  <a:pos x="connsiteX10129" y="connsiteY10129"/>
                </a:cxn>
                <a:cxn ang="0">
                  <a:pos x="connsiteX10130" y="connsiteY10130"/>
                </a:cxn>
                <a:cxn ang="0">
                  <a:pos x="connsiteX10131" y="connsiteY10131"/>
                </a:cxn>
                <a:cxn ang="0">
                  <a:pos x="connsiteX10132" y="connsiteY10132"/>
                </a:cxn>
                <a:cxn ang="0">
                  <a:pos x="connsiteX10133" y="connsiteY10133"/>
                </a:cxn>
                <a:cxn ang="0">
                  <a:pos x="connsiteX10134" y="connsiteY10134"/>
                </a:cxn>
                <a:cxn ang="0">
                  <a:pos x="connsiteX10135" y="connsiteY10135"/>
                </a:cxn>
                <a:cxn ang="0">
                  <a:pos x="connsiteX10136" y="connsiteY10136"/>
                </a:cxn>
                <a:cxn ang="0">
                  <a:pos x="connsiteX10137" y="connsiteY10137"/>
                </a:cxn>
                <a:cxn ang="0">
                  <a:pos x="connsiteX10138" y="connsiteY10138"/>
                </a:cxn>
                <a:cxn ang="0">
                  <a:pos x="connsiteX10139" y="connsiteY10139"/>
                </a:cxn>
                <a:cxn ang="0">
                  <a:pos x="connsiteX10140" y="connsiteY10140"/>
                </a:cxn>
                <a:cxn ang="0">
                  <a:pos x="connsiteX10141" y="connsiteY10141"/>
                </a:cxn>
                <a:cxn ang="0">
                  <a:pos x="connsiteX10142" y="connsiteY10142"/>
                </a:cxn>
                <a:cxn ang="0">
                  <a:pos x="connsiteX10143" y="connsiteY10143"/>
                </a:cxn>
                <a:cxn ang="0">
                  <a:pos x="connsiteX10144" y="connsiteY10144"/>
                </a:cxn>
                <a:cxn ang="0">
                  <a:pos x="connsiteX10145" y="connsiteY10145"/>
                </a:cxn>
                <a:cxn ang="0">
                  <a:pos x="connsiteX10146" y="connsiteY10146"/>
                </a:cxn>
                <a:cxn ang="0">
                  <a:pos x="connsiteX10147" y="connsiteY10147"/>
                </a:cxn>
                <a:cxn ang="0">
                  <a:pos x="connsiteX10148" y="connsiteY10148"/>
                </a:cxn>
                <a:cxn ang="0">
                  <a:pos x="connsiteX10149" y="connsiteY10149"/>
                </a:cxn>
                <a:cxn ang="0">
                  <a:pos x="connsiteX10150" y="connsiteY10150"/>
                </a:cxn>
                <a:cxn ang="0">
                  <a:pos x="connsiteX10151" y="connsiteY10151"/>
                </a:cxn>
                <a:cxn ang="0">
                  <a:pos x="connsiteX10152" y="connsiteY10152"/>
                </a:cxn>
                <a:cxn ang="0">
                  <a:pos x="connsiteX10153" y="connsiteY10153"/>
                </a:cxn>
                <a:cxn ang="0">
                  <a:pos x="connsiteX10154" y="connsiteY10154"/>
                </a:cxn>
                <a:cxn ang="0">
                  <a:pos x="connsiteX10155" y="connsiteY10155"/>
                </a:cxn>
                <a:cxn ang="0">
                  <a:pos x="connsiteX10156" y="connsiteY10156"/>
                </a:cxn>
                <a:cxn ang="0">
                  <a:pos x="connsiteX10157" y="connsiteY10157"/>
                </a:cxn>
                <a:cxn ang="0">
                  <a:pos x="connsiteX10158" y="connsiteY10158"/>
                </a:cxn>
                <a:cxn ang="0">
                  <a:pos x="connsiteX10159" y="connsiteY10159"/>
                </a:cxn>
                <a:cxn ang="0">
                  <a:pos x="connsiteX10160" y="connsiteY10160"/>
                </a:cxn>
                <a:cxn ang="0">
                  <a:pos x="connsiteX10161" y="connsiteY10161"/>
                </a:cxn>
                <a:cxn ang="0">
                  <a:pos x="connsiteX10162" y="connsiteY10162"/>
                </a:cxn>
                <a:cxn ang="0">
                  <a:pos x="connsiteX10163" y="connsiteY10163"/>
                </a:cxn>
                <a:cxn ang="0">
                  <a:pos x="connsiteX10164" y="connsiteY10164"/>
                </a:cxn>
                <a:cxn ang="0">
                  <a:pos x="connsiteX10165" y="connsiteY10165"/>
                </a:cxn>
                <a:cxn ang="0">
                  <a:pos x="connsiteX10166" y="connsiteY10166"/>
                </a:cxn>
                <a:cxn ang="0">
                  <a:pos x="connsiteX10167" y="connsiteY10167"/>
                </a:cxn>
                <a:cxn ang="0">
                  <a:pos x="connsiteX10168" y="connsiteY10168"/>
                </a:cxn>
                <a:cxn ang="0">
                  <a:pos x="connsiteX10169" y="connsiteY10169"/>
                </a:cxn>
                <a:cxn ang="0">
                  <a:pos x="connsiteX10170" y="connsiteY10170"/>
                </a:cxn>
                <a:cxn ang="0">
                  <a:pos x="connsiteX10171" y="connsiteY10171"/>
                </a:cxn>
                <a:cxn ang="0">
                  <a:pos x="connsiteX10172" y="connsiteY10172"/>
                </a:cxn>
                <a:cxn ang="0">
                  <a:pos x="connsiteX10173" y="connsiteY10173"/>
                </a:cxn>
                <a:cxn ang="0">
                  <a:pos x="connsiteX10174" y="connsiteY10174"/>
                </a:cxn>
                <a:cxn ang="0">
                  <a:pos x="connsiteX10175" y="connsiteY10175"/>
                </a:cxn>
                <a:cxn ang="0">
                  <a:pos x="connsiteX10176" y="connsiteY10176"/>
                </a:cxn>
                <a:cxn ang="0">
                  <a:pos x="connsiteX10177" y="connsiteY10177"/>
                </a:cxn>
                <a:cxn ang="0">
                  <a:pos x="connsiteX10178" y="connsiteY10178"/>
                </a:cxn>
                <a:cxn ang="0">
                  <a:pos x="connsiteX10179" y="connsiteY10179"/>
                </a:cxn>
                <a:cxn ang="0">
                  <a:pos x="connsiteX10180" y="connsiteY10180"/>
                </a:cxn>
                <a:cxn ang="0">
                  <a:pos x="connsiteX10181" y="connsiteY10181"/>
                </a:cxn>
                <a:cxn ang="0">
                  <a:pos x="connsiteX10182" y="connsiteY10182"/>
                </a:cxn>
                <a:cxn ang="0">
                  <a:pos x="connsiteX10183" y="connsiteY10183"/>
                </a:cxn>
                <a:cxn ang="0">
                  <a:pos x="connsiteX10184" y="connsiteY10184"/>
                </a:cxn>
                <a:cxn ang="0">
                  <a:pos x="connsiteX10185" y="connsiteY10185"/>
                </a:cxn>
                <a:cxn ang="0">
                  <a:pos x="connsiteX10186" y="connsiteY10186"/>
                </a:cxn>
                <a:cxn ang="0">
                  <a:pos x="connsiteX10187" y="connsiteY10187"/>
                </a:cxn>
                <a:cxn ang="0">
                  <a:pos x="connsiteX10188" y="connsiteY10188"/>
                </a:cxn>
                <a:cxn ang="0">
                  <a:pos x="connsiteX10189" y="connsiteY10189"/>
                </a:cxn>
                <a:cxn ang="0">
                  <a:pos x="connsiteX10190" y="connsiteY10190"/>
                </a:cxn>
                <a:cxn ang="0">
                  <a:pos x="connsiteX10191" y="connsiteY10191"/>
                </a:cxn>
                <a:cxn ang="0">
                  <a:pos x="connsiteX10192" y="connsiteY10192"/>
                </a:cxn>
                <a:cxn ang="0">
                  <a:pos x="connsiteX10193" y="connsiteY10193"/>
                </a:cxn>
                <a:cxn ang="0">
                  <a:pos x="connsiteX10194" y="connsiteY10194"/>
                </a:cxn>
                <a:cxn ang="0">
                  <a:pos x="connsiteX10195" y="connsiteY10195"/>
                </a:cxn>
                <a:cxn ang="0">
                  <a:pos x="connsiteX10196" y="connsiteY10196"/>
                </a:cxn>
                <a:cxn ang="0">
                  <a:pos x="connsiteX10197" y="connsiteY10197"/>
                </a:cxn>
                <a:cxn ang="0">
                  <a:pos x="connsiteX10198" y="connsiteY10198"/>
                </a:cxn>
                <a:cxn ang="0">
                  <a:pos x="connsiteX10199" y="connsiteY10199"/>
                </a:cxn>
                <a:cxn ang="0">
                  <a:pos x="connsiteX10200" y="connsiteY10200"/>
                </a:cxn>
                <a:cxn ang="0">
                  <a:pos x="connsiteX10201" y="connsiteY10201"/>
                </a:cxn>
                <a:cxn ang="0">
                  <a:pos x="connsiteX10202" y="connsiteY10202"/>
                </a:cxn>
                <a:cxn ang="0">
                  <a:pos x="connsiteX10203" y="connsiteY10203"/>
                </a:cxn>
                <a:cxn ang="0">
                  <a:pos x="connsiteX10204" y="connsiteY10204"/>
                </a:cxn>
                <a:cxn ang="0">
                  <a:pos x="connsiteX10205" y="connsiteY10205"/>
                </a:cxn>
                <a:cxn ang="0">
                  <a:pos x="connsiteX10206" y="connsiteY10206"/>
                </a:cxn>
                <a:cxn ang="0">
                  <a:pos x="connsiteX10207" y="connsiteY10207"/>
                </a:cxn>
                <a:cxn ang="0">
                  <a:pos x="connsiteX10208" y="connsiteY10208"/>
                </a:cxn>
                <a:cxn ang="0">
                  <a:pos x="connsiteX10209" y="connsiteY10209"/>
                </a:cxn>
                <a:cxn ang="0">
                  <a:pos x="connsiteX10210" y="connsiteY10210"/>
                </a:cxn>
                <a:cxn ang="0">
                  <a:pos x="connsiteX10211" y="connsiteY10211"/>
                </a:cxn>
                <a:cxn ang="0">
                  <a:pos x="connsiteX10212" y="connsiteY10212"/>
                </a:cxn>
                <a:cxn ang="0">
                  <a:pos x="connsiteX10213" y="connsiteY10213"/>
                </a:cxn>
                <a:cxn ang="0">
                  <a:pos x="connsiteX10214" y="connsiteY10214"/>
                </a:cxn>
                <a:cxn ang="0">
                  <a:pos x="connsiteX10215" y="connsiteY10215"/>
                </a:cxn>
                <a:cxn ang="0">
                  <a:pos x="connsiteX10216" y="connsiteY10216"/>
                </a:cxn>
                <a:cxn ang="0">
                  <a:pos x="connsiteX10217" y="connsiteY10217"/>
                </a:cxn>
                <a:cxn ang="0">
                  <a:pos x="connsiteX10218" y="connsiteY10218"/>
                </a:cxn>
                <a:cxn ang="0">
                  <a:pos x="connsiteX10219" y="connsiteY10219"/>
                </a:cxn>
                <a:cxn ang="0">
                  <a:pos x="connsiteX10220" y="connsiteY10220"/>
                </a:cxn>
                <a:cxn ang="0">
                  <a:pos x="connsiteX10221" y="connsiteY10221"/>
                </a:cxn>
                <a:cxn ang="0">
                  <a:pos x="connsiteX10222" y="connsiteY10222"/>
                </a:cxn>
                <a:cxn ang="0">
                  <a:pos x="connsiteX10223" y="connsiteY10223"/>
                </a:cxn>
                <a:cxn ang="0">
                  <a:pos x="connsiteX10224" y="connsiteY10224"/>
                </a:cxn>
                <a:cxn ang="0">
                  <a:pos x="connsiteX10225" y="connsiteY10225"/>
                </a:cxn>
                <a:cxn ang="0">
                  <a:pos x="connsiteX10226" y="connsiteY10226"/>
                </a:cxn>
                <a:cxn ang="0">
                  <a:pos x="connsiteX10227" y="connsiteY10227"/>
                </a:cxn>
                <a:cxn ang="0">
                  <a:pos x="connsiteX10228" y="connsiteY10228"/>
                </a:cxn>
                <a:cxn ang="0">
                  <a:pos x="connsiteX10229" y="connsiteY10229"/>
                </a:cxn>
                <a:cxn ang="0">
                  <a:pos x="connsiteX10230" y="connsiteY10230"/>
                </a:cxn>
                <a:cxn ang="0">
                  <a:pos x="connsiteX10231" y="connsiteY10231"/>
                </a:cxn>
                <a:cxn ang="0">
                  <a:pos x="connsiteX10232" y="connsiteY10232"/>
                </a:cxn>
                <a:cxn ang="0">
                  <a:pos x="connsiteX10233" y="connsiteY10233"/>
                </a:cxn>
                <a:cxn ang="0">
                  <a:pos x="connsiteX10234" y="connsiteY10234"/>
                </a:cxn>
                <a:cxn ang="0">
                  <a:pos x="connsiteX10235" y="connsiteY10235"/>
                </a:cxn>
                <a:cxn ang="0">
                  <a:pos x="connsiteX10236" y="connsiteY10236"/>
                </a:cxn>
                <a:cxn ang="0">
                  <a:pos x="connsiteX10237" y="connsiteY10237"/>
                </a:cxn>
                <a:cxn ang="0">
                  <a:pos x="connsiteX10238" y="connsiteY10238"/>
                </a:cxn>
                <a:cxn ang="0">
                  <a:pos x="connsiteX10239" y="connsiteY10239"/>
                </a:cxn>
                <a:cxn ang="0">
                  <a:pos x="connsiteX10240" y="connsiteY10240"/>
                </a:cxn>
                <a:cxn ang="0">
                  <a:pos x="connsiteX10241" y="connsiteY10241"/>
                </a:cxn>
                <a:cxn ang="0">
                  <a:pos x="connsiteX10242" y="connsiteY10242"/>
                </a:cxn>
                <a:cxn ang="0">
                  <a:pos x="connsiteX10243" y="connsiteY10243"/>
                </a:cxn>
                <a:cxn ang="0">
                  <a:pos x="connsiteX10244" y="connsiteY10244"/>
                </a:cxn>
                <a:cxn ang="0">
                  <a:pos x="connsiteX10245" y="connsiteY10245"/>
                </a:cxn>
                <a:cxn ang="0">
                  <a:pos x="connsiteX10246" y="connsiteY10246"/>
                </a:cxn>
                <a:cxn ang="0">
                  <a:pos x="connsiteX10247" y="connsiteY10247"/>
                </a:cxn>
                <a:cxn ang="0">
                  <a:pos x="connsiteX10248" y="connsiteY10248"/>
                </a:cxn>
                <a:cxn ang="0">
                  <a:pos x="connsiteX10249" y="connsiteY10249"/>
                </a:cxn>
                <a:cxn ang="0">
                  <a:pos x="connsiteX10250" y="connsiteY10250"/>
                </a:cxn>
                <a:cxn ang="0">
                  <a:pos x="connsiteX10251" y="connsiteY10251"/>
                </a:cxn>
                <a:cxn ang="0">
                  <a:pos x="connsiteX10252" y="connsiteY10252"/>
                </a:cxn>
                <a:cxn ang="0">
                  <a:pos x="connsiteX10253" y="connsiteY10253"/>
                </a:cxn>
                <a:cxn ang="0">
                  <a:pos x="connsiteX10254" y="connsiteY10254"/>
                </a:cxn>
                <a:cxn ang="0">
                  <a:pos x="connsiteX10255" y="connsiteY10255"/>
                </a:cxn>
                <a:cxn ang="0">
                  <a:pos x="connsiteX10256" y="connsiteY10256"/>
                </a:cxn>
                <a:cxn ang="0">
                  <a:pos x="connsiteX10257" y="connsiteY10257"/>
                </a:cxn>
                <a:cxn ang="0">
                  <a:pos x="connsiteX10258" y="connsiteY10258"/>
                </a:cxn>
                <a:cxn ang="0">
                  <a:pos x="connsiteX10259" y="connsiteY10259"/>
                </a:cxn>
                <a:cxn ang="0">
                  <a:pos x="connsiteX10260" y="connsiteY10260"/>
                </a:cxn>
                <a:cxn ang="0">
                  <a:pos x="connsiteX10261" y="connsiteY10261"/>
                </a:cxn>
                <a:cxn ang="0">
                  <a:pos x="connsiteX10262" y="connsiteY10262"/>
                </a:cxn>
                <a:cxn ang="0">
                  <a:pos x="connsiteX10263" y="connsiteY10263"/>
                </a:cxn>
                <a:cxn ang="0">
                  <a:pos x="connsiteX10264" y="connsiteY10264"/>
                </a:cxn>
                <a:cxn ang="0">
                  <a:pos x="connsiteX10265" y="connsiteY10265"/>
                </a:cxn>
                <a:cxn ang="0">
                  <a:pos x="connsiteX10266" y="connsiteY10266"/>
                </a:cxn>
                <a:cxn ang="0">
                  <a:pos x="connsiteX10267" y="connsiteY10267"/>
                </a:cxn>
                <a:cxn ang="0">
                  <a:pos x="connsiteX10268" y="connsiteY10268"/>
                </a:cxn>
                <a:cxn ang="0">
                  <a:pos x="connsiteX10269" y="connsiteY10269"/>
                </a:cxn>
                <a:cxn ang="0">
                  <a:pos x="connsiteX10270" y="connsiteY10270"/>
                </a:cxn>
                <a:cxn ang="0">
                  <a:pos x="connsiteX10271" y="connsiteY10271"/>
                </a:cxn>
                <a:cxn ang="0">
                  <a:pos x="connsiteX10272" y="connsiteY10272"/>
                </a:cxn>
                <a:cxn ang="0">
                  <a:pos x="connsiteX10273" y="connsiteY10273"/>
                </a:cxn>
                <a:cxn ang="0">
                  <a:pos x="connsiteX10274" y="connsiteY10274"/>
                </a:cxn>
                <a:cxn ang="0">
                  <a:pos x="connsiteX10275" y="connsiteY10275"/>
                </a:cxn>
                <a:cxn ang="0">
                  <a:pos x="connsiteX10276" y="connsiteY10276"/>
                </a:cxn>
                <a:cxn ang="0">
                  <a:pos x="connsiteX10277" y="connsiteY10277"/>
                </a:cxn>
                <a:cxn ang="0">
                  <a:pos x="connsiteX10278" y="connsiteY10278"/>
                </a:cxn>
                <a:cxn ang="0">
                  <a:pos x="connsiteX10279" y="connsiteY10279"/>
                </a:cxn>
                <a:cxn ang="0">
                  <a:pos x="connsiteX10280" y="connsiteY10280"/>
                </a:cxn>
                <a:cxn ang="0">
                  <a:pos x="connsiteX10281" y="connsiteY10281"/>
                </a:cxn>
                <a:cxn ang="0">
                  <a:pos x="connsiteX10282" y="connsiteY10282"/>
                </a:cxn>
                <a:cxn ang="0">
                  <a:pos x="connsiteX10283" y="connsiteY10283"/>
                </a:cxn>
                <a:cxn ang="0">
                  <a:pos x="connsiteX10284" y="connsiteY10284"/>
                </a:cxn>
                <a:cxn ang="0">
                  <a:pos x="connsiteX10285" y="connsiteY10285"/>
                </a:cxn>
                <a:cxn ang="0">
                  <a:pos x="connsiteX10286" y="connsiteY10286"/>
                </a:cxn>
                <a:cxn ang="0">
                  <a:pos x="connsiteX10287" y="connsiteY10287"/>
                </a:cxn>
                <a:cxn ang="0">
                  <a:pos x="connsiteX10288" y="connsiteY10288"/>
                </a:cxn>
                <a:cxn ang="0">
                  <a:pos x="connsiteX10289" y="connsiteY10289"/>
                </a:cxn>
                <a:cxn ang="0">
                  <a:pos x="connsiteX10290" y="connsiteY10290"/>
                </a:cxn>
                <a:cxn ang="0">
                  <a:pos x="connsiteX10291" y="connsiteY10291"/>
                </a:cxn>
                <a:cxn ang="0">
                  <a:pos x="connsiteX10292" y="connsiteY10292"/>
                </a:cxn>
                <a:cxn ang="0">
                  <a:pos x="connsiteX10293" y="connsiteY10293"/>
                </a:cxn>
                <a:cxn ang="0">
                  <a:pos x="connsiteX10294" y="connsiteY10294"/>
                </a:cxn>
                <a:cxn ang="0">
                  <a:pos x="connsiteX10295" y="connsiteY10295"/>
                </a:cxn>
                <a:cxn ang="0">
                  <a:pos x="connsiteX10296" y="connsiteY10296"/>
                </a:cxn>
                <a:cxn ang="0">
                  <a:pos x="connsiteX10297" y="connsiteY10297"/>
                </a:cxn>
                <a:cxn ang="0">
                  <a:pos x="connsiteX10298" y="connsiteY10298"/>
                </a:cxn>
                <a:cxn ang="0">
                  <a:pos x="connsiteX10299" y="connsiteY10299"/>
                </a:cxn>
                <a:cxn ang="0">
                  <a:pos x="connsiteX10300" y="connsiteY10300"/>
                </a:cxn>
                <a:cxn ang="0">
                  <a:pos x="connsiteX10301" y="connsiteY10301"/>
                </a:cxn>
                <a:cxn ang="0">
                  <a:pos x="connsiteX10302" y="connsiteY10302"/>
                </a:cxn>
                <a:cxn ang="0">
                  <a:pos x="connsiteX10303" y="connsiteY10303"/>
                </a:cxn>
                <a:cxn ang="0">
                  <a:pos x="connsiteX10304" y="connsiteY10304"/>
                </a:cxn>
                <a:cxn ang="0">
                  <a:pos x="connsiteX10305" y="connsiteY10305"/>
                </a:cxn>
                <a:cxn ang="0">
                  <a:pos x="connsiteX10306" y="connsiteY10306"/>
                </a:cxn>
                <a:cxn ang="0">
                  <a:pos x="connsiteX10307" y="connsiteY10307"/>
                </a:cxn>
                <a:cxn ang="0">
                  <a:pos x="connsiteX10308" y="connsiteY10308"/>
                </a:cxn>
                <a:cxn ang="0">
                  <a:pos x="connsiteX10309" y="connsiteY10309"/>
                </a:cxn>
                <a:cxn ang="0">
                  <a:pos x="connsiteX10310" y="connsiteY10310"/>
                </a:cxn>
                <a:cxn ang="0">
                  <a:pos x="connsiteX10311" y="connsiteY10311"/>
                </a:cxn>
                <a:cxn ang="0">
                  <a:pos x="connsiteX10312" y="connsiteY10312"/>
                </a:cxn>
                <a:cxn ang="0">
                  <a:pos x="connsiteX10313" y="connsiteY10313"/>
                </a:cxn>
                <a:cxn ang="0">
                  <a:pos x="connsiteX10314" y="connsiteY10314"/>
                </a:cxn>
                <a:cxn ang="0">
                  <a:pos x="connsiteX10315" y="connsiteY10315"/>
                </a:cxn>
                <a:cxn ang="0">
                  <a:pos x="connsiteX10316" y="connsiteY10316"/>
                </a:cxn>
                <a:cxn ang="0">
                  <a:pos x="connsiteX10317" y="connsiteY10317"/>
                </a:cxn>
                <a:cxn ang="0">
                  <a:pos x="connsiteX10318" y="connsiteY10318"/>
                </a:cxn>
                <a:cxn ang="0">
                  <a:pos x="connsiteX10319" y="connsiteY10319"/>
                </a:cxn>
                <a:cxn ang="0">
                  <a:pos x="connsiteX10320" y="connsiteY10320"/>
                </a:cxn>
                <a:cxn ang="0">
                  <a:pos x="connsiteX10321" y="connsiteY10321"/>
                </a:cxn>
                <a:cxn ang="0">
                  <a:pos x="connsiteX10322" y="connsiteY10322"/>
                </a:cxn>
                <a:cxn ang="0">
                  <a:pos x="connsiteX10323" y="connsiteY10323"/>
                </a:cxn>
                <a:cxn ang="0">
                  <a:pos x="connsiteX10324" y="connsiteY10324"/>
                </a:cxn>
                <a:cxn ang="0">
                  <a:pos x="connsiteX10325" y="connsiteY10325"/>
                </a:cxn>
                <a:cxn ang="0">
                  <a:pos x="connsiteX10326" y="connsiteY10326"/>
                </a:cxn>
                <a:cxn ang="0">
                  <a:pos x="connsiteX10327" y="connsiteY10327"/>
                </a:cxn>
                <a:cxn ang="0">
                  <a:pos x="connsiteX10328" y="connsiteY10328"/>
                </a:cxn>
                <a:cxn ang="0">
                  <a:pos x="connsiteX10329" y="connsiteY10329"/>
                </a:cxn>
                <a:cxn ang="0">
                  <a:pos x="connsiteX10330" y="connsiteY10330"/>
                </a:cxn>
                <a:cxn ang="0">
                  <a:pos x="connsiteX10331" y="connsiteY10331"/>
                </a:cxn>
                <a:cxn ang="0">
                  <a:pos x="connsiteX10332" y="connsiteY10332"/>
                </a:cxn>
                <a:cxn ang="0">
                  <a:pos x="connsiteX10333" y="connsiteY10333"/>
                </a:cxn>
                <a:cxn ang="0">
                  <a:pos x="connsiteX10334" y="connsiteY10334"/>
                </a:cxn>
                <a:cxn ang="0">
                  <a:pos x="connsiteX10335" y="connsiteY10335"/>
                </a:cxn>
                <a:cxn ang="0">
                  <a:pos x="connsiteX10336" y="connsiteY10336"/>
                </a:cxn>
                <a:cxn ang="0">
                  <a:pos x="connsiteX10337" y="connsiteY10337"/>
                </a:cxn>
                <a:cxn ang="0">
                  <a:pos x="connsiteX10338" y="connsiteY10338"/>
                </a:cxn>
                <a:cxn ang="0">
                  <a:pos x="connsiteX10339" y="connsiteY10339"/>
                </a:cxn>
                <a:cxn ang="0">
                  <a:pos x="connsiteX10340" y="connsiteY10340"/>
                </a:cxn>
                <a:cxn ang="0">
                  <a:pos x="connsiteX10341" y="connsiteY10341"/>
                </a:cxn>
                <a:cxn ang="0">
                  <a:pos x="connsiteX10342" y="connsiteY10342"/>
                </a:cxn>
                <a:cxn ang="0">
                  <a:pos x="connsiteX10343" y="connsiteY10343"/>
                </a:cxn>
                <a:cxn ang="0">
                  <a:pos x="connsiteX10344" y="connsiteY10344"/>
                </a:cxn>
                <a:cxn ang="0">
                  <a:pos x="connsiteX10345" y="connsiteY10345"/>
                </a:cxn>
                <a:cxn ang="0">
                  <a:pos x="connsiteX10346" y="connsiteY10346"/>
                </a:cxn>
                <a:cxn ang="0">
                  <a:pos x="connsiteX10347" y="connsiteY10347"/>
                </a:cxn>
                <a:cxn ang="0">
                  <a:pos x="connsiteX10348" y="connsiteY10348"/>
                </a:cxn>
                <a:cxn ang="0">
                  <a:pos x="connsiteX10349" y="connsiteY10349"/>
                </a:cxn>
                <a:cxn ang="0">
                  <a:pos x="connsiteX10350" y="connsiteY10350"/>
                </a:cxn>
                <a:cxn ang="0">
                  <a:pos x="connsiteX10351" y="connsiteY10351"/>
                </a:cxn>
                <a:cxn ang="0">
                  <a:pos x="connsiteX10352" y="connsiteY10352"/>
                </a:cxn>
                <a:cxn ang="0">
                  <a:pos x="connsiteX10353" y="connsiteY10353"/>
                </a:cxn>
                <a:cxn ang="0">
                  <a:pos x="connsiteX10354" y="connsiteY10354"/>
                </a:cxn>
                <a:cxn ang="0">
                  <a:pos x="connsiteX10355" y="connsiteY10355"/>
                </a:cxn>
                <a:cxn ang="0">
                  <a:pos x="connsiteX10356" y="connsiteY10356"/>
                </a:cxn>
                <a:cxn ang="0">
                  <a:pos x="connsiteX10357" y="connsiteY10357"/>
                </a:cxn>
                <a:cxn ang="0">
                  <a:pos x="connsiteX10358" y="connsiteY10358"/>
                </a:cxn>
                <a:cxn ang="0">
                  <a:pos x="connsiteX10359" y="connsiteY10359"/>
                </a:cxn>
                <a:cxn ang="0">
                  <a:pos x="connsiteX10360" y="connsiteY10360"/>
                </a:cxn>
                <a:cxn ang="0">
                  <a:pos x="connsiteX10361" y="connsiteY10361"/>
                </a:cxn>
                <a:cxn ang="0">
                  <a:pos x="connsiteX10362" y="connsiteY10362"/>
                </a:cxn>
                <a:cxn ang="0">
                  <a:pos x="connsiteX10363" y="connsiteY10363"/>
                </a:cxn>
                <a:cxn ang="0">
                  <a:pos x="connsiteX10364" y="connsiteY10364"/>
                </a:cxn>
                <a:cxn ang="0">
                  <a:pos x="connsiteX10365" y="connsiteY10365"/>
                </a:cxn>
                <a:cxn ang="0">
                  <a:pos x="connsiteX10366" y="connsiteY10366"/>
                </a:cxn>
                <a:cxn ang="0">
                  <a:pos x="connsiteX10367" y="connsiteY10367"/>
                </a:cxn>
                <a:cxn ang="0">
                  <a:pos x="connsiteX10368" y="connsiteY10368"/>
                </a:cxn>
                <a:cxn ang="0">
                  <a:pos x="connsiteX10369" y="connsiteY10369"/>
                </a:cxn>
                <a:cxn ang="0">
                  <a:pos x="connsiteX10370" y="connsiteY10370"/>
                </a:cxn>
                <a:cxn ang="0">
                  <a:pos x="connsiteX10371" y="connsiteY10371"/>
                </a:cxn>
                <a:cxn ang="0">
                  <a:pos x="connsiteX10372" y="connsiteY10372"/>
                </a:cxn>
                <a:cxn ang="0">
                  <a:pos x="connsiteX10373" y="connsiteY10373"/>
                </a:cxn>
                <a:cxn ang="0">
                  <a:pos x="connsiteX10374" y="connsiteY10374"/>
                </a:cxn>
                <a:cxn ang="0">
                  <a:pos x="connsiteX10375" y="connsiteY10375"/>
                </a:cxn>
                <a:cxn ang="0">
                  <a:pos x="connsiteX10376" y="connsiteY10376"/>
                </a:cxn>
                <a:cxn ang="0">
                  <a:pos x="connsiteX10377" y="connsiteY10377"/>
                </a:cxn>
                <a:cxn ang="0">
                  <a:pos x="connsiteX10378" y="connsiteY10378"/>
                </a:cxn>
                <a:cxn ang="0">
                  <a:pos x="connsiteX10379" y="connsiteY10379"/>
                </a:cxn>
                <a:cxn ang="0">
                  <a:pos x="connsiteX10380" y="connsiteY10380"/>
                </a:cxn>
                <a:cxn ang="0">
                  <a:pos x="connsiteX10381" y="connsiteY10381"/>
                </a:cxn>
                <a:cxn ang="0">
                  <a:pos x="connsiteX10382" y="connsiteY10382"/>
                </a:cxn>
                <a:cxn ang="0">
                  <a:pos x="connsiteX10383" y="connsiteY10383"/>
                </a:cxn>
                <a:cxn ang="0">
                  <a:pos x="connsiteX10384" y="connsiteY10384"/>
                </a:cxn>
                <a:cxn ang="0">
                  <a:pos x="connsiteX10385" y="connsiteY10385"/>
                </a:cxn>
                <a:cxn ang="0">
                  <a:pos x="connsiteX10386" y="connsiteY10386"/>
                </a:cxn>
                <a:cxn ang="0">
                  <a:pos x="connsiteX10387" y="connsiteY10387"/>
                </a:cxn>
                <a:cxn ang="0">
                  <a:pos x="connsiteX10388" y="connsiteY10388"/>
                </a:cxn>
                <a:cxn ang="0">
                  <a:pos x="connsiteX10389" y="connsiteY10389"/>
                </a:cxn>
                <a:cxn ang="0">
                  <a:pos x="connsiteX10390" y="connsiteY10390"/>
                </a:cxn>
                <a:cxn ang="0">
                  <a:pos x="connsiteX10391" y="connsiteY10391"/>
                </a:cxn>
                <a:cxn ang="0">
                  <a:pos x="connsiteX10392" y="connsiteY10392"/>
                </a:cxn>
                <a:cxn ang="0">
                  <a:pos x="connsiteX10393" y="connsiteY10393"/>
                </a:cxn>
                <a:cxn ang="0">
                  <a:pos x="connsiteX10394" y="connsiteY10394"/>
                </a:cxn>
                <a:cxn ang="0">
                  <a:pos x="connsiteX10395" y="connsiteY10395"/>
                </a:cxn>
                <a:cxn ang="0">
                  <a:pos x="connsiteX10396" y="connsiteY10396"/>
                </a:cxn>
                <a:cxn ang="0">
                  <a:pos x="connsiteX10397" y="connsiteY10397"/>
                </a:cxn>
                <a:cxn ang="0">
                  <a:pos x="connsiteX10398" y="connsiteY10398"/>
                </a:cxn>
                <a:cxn ang="0">
                  <a:pos x="connsiteX10399" y="connsiteY10399"/>
                </a:cxn>
                <a:cxn ang="0">
                  <a:pos x="connsiteX10400" y="connsiteY10400"/>
                </a:cxn>
                <a:cxn ang="0">
                  <a:pos x="connsiteX10401" y="connsiteY10401"/>
                </a:cxn>
                <a:cxn ang="0">
                  <a:pos x="connsiteX10402" y="connsiteY10402"/>
                </a:cxn>
                <a:cxn ang="0">
                  <a:pos x="connsiteX10403" y="connsiteY10403"/>
                </a:cxn>
                <a:cxn ang="0">
                  <a:pos x="connsiteX10404" y="connsiteY10404"/>
                </a:cxn>
                <a:cxn ang="0">
                  <a:pos x="connsiteX10405" y="connsiteY10405"/>
                </a:cxn>
                <a:cxn ang="0">
                  <a:pos x="connsiteX10406" y="connsiteY10406"/>
                </a:cxn>
                <a:cxn ang="0">
                  <a:pos x="connsiteX10407" y="connsiteY10407"/>
                </a:cxn>
                <a:cxn ang="0">
                  <a:pos x="connsiteX10408" y="connsiteY10408"/>
                </a:cxn>
                <a:cxn ang="0">
                  <a:pos x="connsiteX10409" y="connsiteY10409"/>
                </a:cxn>
                <a:cxn ang="0">
                  <a:pos x="connsiteX10410" y="connsiteY10410"/>
                </a:cxn>
                <a:cxn ang="0">
                  <a:pos x="connsiteX10411" y="connsiteY10411"/>
                </a:cxn>
                <a:cxn ang="0">
                  <a:pos x="connsiteX10412" y="connsiteY10412"/>
                </a:cxn>
                <a:cxn ang="0">
                  <a:pos x="connsiteX10413" y="connsiteY10413"/>
                </a:cxn>
                <a:cxn ang="0">
                  <a:pos x="connsiteX10414" y="connsiteY10414"/>
                </a:cxn>
                <a:cxn ang="0">
                  <a:pos x="connsiteX10415" y="connsiteY10415"/>
                </a:cxn>
                <a:cxn ang="0">
                  <a:pos x="connsiteX10416" y="connsiteY10416"/>
                </a:cxn>
                <a:cxn ang="0">
                  <a:pos x="connsiteX10417" y="connsiteY10417"/>
                </a:cxn>
                <a:cxn ang="0">
                  <a:pos x="connsiteX10418" y="connsiteY10418"/>
                </a:cxn>
                <a:cxn ang="0">
                  <a:pos x="connsiteX10419" y="connsiteY10419"/>
                </a:cxn>
                <a:cxn ang="0">
                  <a:pos x="connsiteX10420" y="connsiteY10420"/>
                </a:cxn>
                <a:cxn ang="0">
                  <a:pos x="connsiteX10421" y="connsiteY10421"/>
                </a:cxn>
                <a:cxn ang="0">
                  <a:pos x="connsiteX10422" y="connsiteY10422"/>
                </a:cxn>
                <a:cxn ang="0">
                  <a:pos x="connsiteX10423" y="connsiteY10423"/>
                </a:cxn>
                <a:cxn ang="0">
                  <a:pos x="connsiteX10424" y="connsiteY10424"/>
                </a:cxn>
                <a:cxn ang="0">
                  <a:pos x="connsiteX10425" y="connsiteY10425"/>
                </a:cxn>
                <a:cxn ang="0">
                  <a:pos x="connsiteX10426" y="connsiteY10426"/>
                </a:cxn>
                <a:cxn ang="0">
                  <a:pos x="connsiteX10427" y="connsiteY10427"/>
                </a:cxn>
                <a:cxn ang="0">
                  <a:pos x="connsiteX10428" y="connsiteY10428"/>
                </a:cxn>
                <a:cxn ang="0">
                  <a:pos x="connsiteX10429" y="connsiteY10429"/>
                </a:cxn>
                <a:cxn ang="0">
                  <a:pos x="connsiteX10430" y="connsiteY10430"/>
                </a:cxn>
                <a:cxn ang="0">
                  <a:pos x="connsiteX10431" y="connsiteY10431"/>
                </a:cxn>
                <a:cxn ang="0">
                  <a:pos x="connsiteX10432" y="connsiteY10432"/>
                </a:cxn>
                <a:cxn ang="0">
                  <a:pos x="connsiteX10433" y="connsiteY10433"/>
                </a:cxn>
                <a:cxn ang="0">
                  <a:pos x="connsiteX10434" y="connsiteY10434"/>
                </a:cxn>
                <a:cxn ang="0">
                  <a:pos x="connsiteX10435" y="connsiteY10435"/>
                </a:cxn>
                <a:cxn ang="0">
                  <a:pos x="connsiteX10436" y="connsiteY10436"/>
                </a:cxn>
                <a:cxn ang="0">
                  <a:pos x="connsiteX10437" y="connsiteY10437"/>
                </a:cxn>
                <a:cxn ang="0">
                  <a:pos x="connsiteX10438" y="connsiteY10438"/>
                </a:cxn>
                <a:cxn ang="0">
                  <a:pos x="connsiteX10439" y="connsiteY10439"/>
                </a:cxn>
                <a:cxn ang="0">
                  <a:pos x="connsiteX10440" y="connsiteY10440"/>
                </a:cxn>
                <a:cxn ang="0">
                  <a:pos x="connsiteX10441" y="connsiteY10441"/>
                </a:cxn>
                <a:cxn ang="0">
                  <a:pos x="connsiteX10442" y="connsiteY10442"/>
                </a:cxn>
                <a:cxn ang="0">
                  <a:pos x="connsiteX10443" y="connsiteY10443"/>
                </a:cxn>
                <a:cxn ang="0">
                  <a:pos x="connsiteX10444" y="connsiteY10444"/>
                </a:cxn>
                <a:cxn ang="0">
                  <a:pos x="connsiteX10445" y="connsiteY10445"/>
                </a:cxn>
                <a:cxn ang="0">
                  <a:pos x="connsiteX10446" y="connsiteY10446"/>
                </a:cxn>
                <a:cxn ang="0">
                  <a:pos x="connsiteX10447" y="connsiteY10447"/>
                </a:cxn>
                <a:cxn ang="0">
                  <a:pos x="connsiteX10448" y="connsiteY10448"/>
                </a:cxn>
                <a:cxn ang="0">
                  <a:pos x="connsiteX10449" y="connsiteY10449"/>
                </a:cxn>
                <a:cxn ang="0">
                  <a:pos x="connsiteX10450" y="connsiteY10450"/>
                </a:cxn>
                <a:cxn ang="0">
                  <a:pos x="connsiteX10451" y="connsiteY10451"/>
                </a:cxn>
                <a:cxn ang="0">
                  <a:pos x="connsiteX10452" y="connsiteY10452"/>
                </a:cxn>
                <a:cxn ang="0">
                  <a:pos x="connsiteX10453" y="connsiteY10453"/>
                </a:cxn>
                <a:cxn ang="0">
                  <a:pos x="connsiteX10454" y="connsiteY10454"/>
                </a:cxn>
                <a:cxn ang="0">
                  <a:pos x="connsiteX10455" y="connsiteY10455"/>
                </a:cxn>
                <a:cxn ang="0">
                  <a:pos x="connsiteX10456" y="connsiteY10456"/>
                </a:cxn>
                <a:cxn ang="0">
                  <a:pos x="connsiteX10457" y="connsiteY10457"/>
                </a:cxn>
                <a:cxn ang="0">
                  <a:pos x="connsiteX10458" y="connsiteY10458"/>
                </a:cxn>
                <a:cxn ang="0">
                  <a:pos x="connsiteX10459" y="connsiteY10459"/>
                </a:cxn>
                <a:cxn ang="0">
                  <a:pos x="connsiteX10460" y="connsiteY10460"/>
                </a:cxn>
                <a:cxn ang="0">
                  <a:pos x="connsiteX10461" y="connsiteY10461"/>
                </a:cxn>
                <a:cxn ang="0">
                  <a:pos x="connsiteX10462" y="connsiteY10462"/>
                </a:cxn>
                <a:cxn ang="0">
                  <a:pos x="connsiteX10463" y="connsiteY10463"/>
                </a:cxn>
                <a:cxn ang="0">
                  <a:pos x="connsiteX10464" y="connsiteY10464"/>
                </a:cxn>
                <a:cxn ang="0">
                  <a:pos x="connsiteX10465" y="connsiteY10465"/>
                </a:cxn>
                <a:cxn ang="0">
                  <a:pos x="connsiteX10466" y="connsiteY10466"/>
                </a:cxn>
                <a:cxn ang="0">
                  <a:pos x="connsiteX10467" y="connsiteY10467"/>
                </a:cxn>
                <a:cxn ang="0">
                  <a:pos x="connsiteX10468" y="connsiteY10468"/>
                </a:cxn>
                <a:cxn ang="0">
                  <a:pos x="connsiteX10469" y="connsiteY10469"/>
                </a:cxn>
                <a:cxn ang="0">
                  <a:pos x="connsiteX10470" y="connsiteY10470"/>
                </a:cxn>
                <a:cxn ang="0">
                  <a:pos x="connsiteX10471" y="connsiteY10471"/>
                </a:cxn>
                <a:cxn ang="0">
                  <a:pos x="connsiteX10472" y="connsiteY10472"/>
                </a:cxn>
                <a:cxn ang="0">
                  <a:pos x="connsiteX10473" y="connsiteY10473"/>
                </a:cxn>
                <a:cxn ang="0">
                  <a:pos x="connsiteX10474" y="connsiteY10474"/>
                </a:cxn>
                <a:cxn ang="0">
                  <a:pos x="connsiteX10475" y="connsiteY10475"/>
                </a:cxn>
                <a:cxn ang="0">
                  <a:pos x="connsiteX10476" y="connsiteY10476"/>
                </a:cxn>
                <a:cxn ang="0">
                  <a:pos x="connsiteX10477" y="connsiteY10477"/>
                </a:cxn>
                <a:cxn ang="0">
                  <a:pos x="connsiteX10478" y="connsiteY10478"/>
                </a:cxn>
                <a:cxn ang="0">
                  <a:pos x="connsiteX10479" y="connsiteY10479"/>
                </a:cxn>
                <a:cxn ang="0">
                  <a:pos x="connsiteX10480" y="connsiteY10480"/>
                </a:cxn>
                <a:cxn ang="0">
                  <a:pos x="connsiteX10481" y="connsiteY10481"/>
                </a:cxn>
                <a:cxn ang="0">
                  <a:pos x="connsiteX10482" y="connsiteY10482"/>
                </a:cxn>
                <a:cxn ang="0">
                  <a:pos x="connsiteX10483" y="connsiteY10483"/>
                </a:cxn>
                <a:cxn ang="0">
                  <a:pos x="connsiteX10484" y="connsiteY10484"/>
                </a:cxn>
                <a:cxn ang="0">
                  <a:pos x="connsiteX10485" y="connsiteY10485"/>
                </a:cxn>
                <a:cxn ang="0">
                  <a:pos x="connsiteX10486" y="connsiteY10486"/>
                </a:cxn>
                <a:cxn ang="0">
                  <a:pos x="connsiteX10487" y="connsiteY10487"/>
                </a:cxn>
                <a:cxn ang="0">
                  <a:pos x="connsiteX10488" y="connsiteY10488"/>
                </a:cxn>
                <a:cxn ang="0">
                  <a:pos x="connsiteX10489" y="connsiteY10489"/>
                </a:cxn>
                <a:cxn ang="0">
                  <a:pos x="connsiteX10490" y="connsiteY10490"/>
                </a:cxn>
                <a:cxn ang="0">
                  <a:pos x="connsiteX10491" y="connsiteY10491"/>
                </a:cxn>
                <a:cxn ang="0">
                  <a:pos x="connsiteX10492" y="connsiteY10492"/>
                </a:cxn>
                <a:cxn ang="0">
                  <a:pos x="connsiteX10493" y="connsiteY10493"/>
                </a:cxn>
                <a:cxn ang="0">
                  <a:pos x="connsiteX10494" y="connsiteY10494"/>
                </a:cxn>
                <a:cxn ang="0">
                  <a:pos x="connsiteX10495" y="connsiteY10495"/>
                </a:cxn>
                <a:cxn ang="0">
                  <a:pos x="connsiteX10496" y="connsiteY10496"/>
                </a:cxn>
                <a:cxn ang="0">
                  <a:pos x="connsiteX10497" y="connsiteY10497"/>
                </a:cxn>
                <a:cxn ang="0">
                  <a:pos x="connsiteX10498" y="connsiteY10498"/>
                </a:cxn>
                <a:cxn ang="0">
                  <a:pos x="connsiteX10499" y="connsiteY10499"/>
                </a:cxn>
                <a:cxn ang="0">
                  <a:pos x="connsiteX10500" y="connsiteY10500"/>
                </a:cxn>
                <a:cxn ang="0">
                  <a:pos x="connsiteX10501" y="connsiteY10501"/>
                </a:cxn>
                <a:cxn ang="0">
                  <a:pos x="connsiteX10502" y="connsiteY10502"/>
                </a:cxn>
                <a:cxn ang="0">
                  <a:pos x="connsiteX10503" y="connsiteY10503"/>
                </a:cxn>
                <a:cxn ang="0">
                  <a:pos x="connsiteX10504" y="connsiteY10504"/>
                </a:cxn>
                <a:cxn ang="0">
                  <a:pos x="connsiteX10505" y="connsiteY10505"/>
                </a:cxn>
                <a:cxn ang="0">
                  <a:pos x="connsiteX10506" y="connsiteY10506"/>
                </a:cxn>
                <a:cxn ang="0">
                  <a:pos x="connsiteX10507" y="connsiteY10507"/>
                </a:cxn>
                <a:cxn ang="0">
                  <a:pos x="connsiteX10508" y="connsiteY10508"/>
                </a:cxn>
                <a:cxn ang="0">
                  <a:pos x="connsiteX10509" y="connsiteY10509"/>
                </a:cxn>
                <a:cxn ang="0">
                  <a:pos x="connsiteX10510" y="connsiteY10510"/>
                </a:cxn>
                <a:cxn ang="0">
                  <a:pos x="connsiteX10511" y="connsiteY10511"/>
                </a:cxn>
                <a:cxn ang="0">
                  <a:pos x="connsiteX10512" y="connsiteY10512"/>
                </a:cxn>
                <a:cxn ang="0">
                  <a:pos x="connsiteX10513" y="connsiteY10513"/>
                </a:cxn>
                <a:cxn ang="0">
                  <a:pos x="connsiteX10514" y="connsiteY10514"/>
                </a:cxn>
                <a:cxn ang="0">
                  <a:pos x="connsiteX10515" y="connsiteY10515"/>
                </a:cxn>
                <a:cxn ang="0">
                  <a:pos x="connsiteX10516" y="connsiteY10516"/>
                </a:cxn>
                <a:cxn ang="0">
                  <a:pos x="connsiteX10517" y="connsiteY10517"/>
                </a:cxn>
                <a:cxn ang="0">
                  <a:pos x="connsiteX10518" y="connsiteY10518"/>
                </a:cxn>
                <a:cxn ang="0">
                  <a:pos x="connsiteX10519" y="connsiteY10519"/>
                </a:cxn>
                <a:cxn ang="0">
                  <a:pos x="connsiteX10520" y="connsiteY10520"/>
                </a:cxn>
                <a:cxn ang="0">
                  <a:pos x="connsiteX10521" y="connsiteY10521"/>
                </a:cxn>
                <a:cxn ang="0">
                  <a:pos x="connsiteX10522" y="connsiteY10522"/>
                </a:cxn>
                <a:cxn ang="0">
                  <a:pos x="connsiteX10523" y="connsiteY10523"/>
                </a:cxn>
                <a:cxn ang="0">
                  <a:pos x="connsiteX10524" y="connsiteY10524"/>
                </a:cxn>
                <a:cxn ang="0">
                  <a:pos x="connsiteX10525" y="connsiteY10525"/>
                </a:cxn>
                <a:cxn ang="0">
                  <a:pos x="connsiteX10526" y="connsiteY10526"/>
                </a:cxn>
                <a:cxn ang="0">
                  <a:pos x="connsiteX10527" y="connsiteY10527"/>
                </a:cxn>
                <a:cxn ang="0">
                  <a:pos x="connsiteX10528" y="connsiteY10528"/>
                </a:cxn>
                <a:cxn ang="0">
                  <a:pos x="connsiteX10529" y="connsiteY10529"/>
                </a:cxn>
                <a:cxn ang="0">
                  <a:pos x="connsiteX10530" y="connsiteY10530"/>
                </a:cxn>
                <a:cxn ang="0">
                  <a:pos x="connsiteX10531" y="connsiteY10531"/>
                </a:cxn>
                <a:cxn ang="0">
                  <a:pos x="connsiteX10532" y="connsiteY10532"/>
                </a:cxn>
                <a:cxn ang="0">
                  <a:pos x="connsiteX10533" y="connsiteY10533"/>
                </a:cxn>
                <a:cxn ang="0">
                  <a:pos x="connsiteX10534" y="connsiteY10534"/>
                </a:cxn>
                <a:cxn ang="0">
                  <a:pos x="connsiteX10535" y="connsiteY10535"/>
                </a:cxn>
                <a:cxn ang="0">
                  <a:pos x="connsiteX10536" y="connsiteY10536"/>
                </a:cxn>
                <a:cxn ang="0">
                  <a:pos x="connsiteX10537" y="connsiteY10537"/>
                </a:cxn>
                <a:cxn ang="0">
                  <a:pos x="connsiteX10538" y="connsiteY10538"/>
                </a:cxn>
                <a:cxn ang="0">
                  <a:pos x="connsiteX10539" y="connsiteY10539"/>
                </a:cxn>
                <a:cxn ang="0">
                  <a:pos x="connsiteX10540" y="connsiteY10540"/>
                </a:cxn>
                <a:cxn ang="0">
                  <a:pos x="connsiteX10541" y="connsiteY10541"/>
                </a:cxn>
                <a:cxn ang="0">
                  <a:pos x="connsiteX10542" y="connsiteY10542"/>
                </a:cxn>
                <a:cxn ang="0">
                  <a:pos x="connsiteX10543" y="connsiteY10543"/>
                </a:cxn>
                <a:cxn ang="0">
                  <a:pos x="connsiteX10544" y="connsiteY10544"/>
                </a:cxn>
                <a:cxn ang="0">
                  <a:pos x="connsiteX10545" y="connsiteY10545"/>
                </a:cxn>
                <a:cxn ang="0">
                  <a:pos x="connsiteX10546" y="connsiteY10546"/>
                </a:cxn>
                <a:cxn ang="0">
                  <a:pos x="connsiteX10547" y="connsiteY10547"/>
                </a:cxn>
                <a:cxn ang="0">
                  <a:pos x="connsiteX10548" y="connsiteY10548"/>
                </a:cxn>
                <a:cxn ang="0">
                  <a:pos x="connsiteX10549" y="connsiteY10549"/>
                </a:cxn>
                <a:cxn ang="0">
                  <a:pos x="connsiteX10550" y="connsiteY10550"/>
                </a:cxn>
                <a:cxn ang="0">
                  <a:pos x="connsiteX10551" y="connsiteY10551"/>
                </a:cxn>
                <a:cxn ang="0">
                  <a:pos x="connsiteX10552" y="connsiteY10552"/>
                </a:cxn>
                <a:cxn ang="0">
                  <a:pos x="connsiteX10553" y="connsiteY10553"/>
                </a:cxn>
                <a:cxn ang="0">
                  <a:pos x="connsiteX10554" y="connsiteY10554"/>
                </a:cxn>
                <a:cxn ang="0">
                  <a:pos x="connsiteX10555" y="connsiteY10555"/>
                </a:cxn>
                <a:cxn ang="0">
                  <a:pos x="connsiteX10556" y="connsiteY10556"/>
                </a:cxn>
                <a:cxn ang="0">
                  <a:pos x="connsiteX10557" y="connsiteY10557"/>
                </a:cxn>
                <a:cxn ang="0">
                  <a:pos x="connsiteX10558" y="connsiteY10558"/>
                </a:cxn>
                <a:cxn ang="0">
                  <a:pos x="connsiteX10559" y="connsiteY10559"/>
                </a:cxn>
                <a:cxn ang="0">
                  <a:pos x="connsiteX10560" y="connsiteY10560"/>
                </a:cxn>
                <a:cxn ang="0">
                  <a:pos x="connsiteX10561" y="connsiteY10561"/>
                </a:cxn>
                <a:cxn ang="0">
                  <a:pos x="connsiteX10562" y="connsiteY10562"/>
                </a:cxn>
                <a:cxn ang="0">
                  <a:pos x="connsiteX10563" y="connsiteY10563"/>
                </a:cxn>
                <a:cxn ang="0">
                  <a:pos x="connsiteX10564" y="connsiteY10564"/>
                </a:cxn>
                <a:cxn ang="0">
                  <a:pos x="connsiteX10565" y="connsiteY10565"/>
                </a:cxn>
                <a:cxn ang="0">
                  <a:pos x="connsiteX10566" y="connsiteY10566"/>
                </a:cxn>
                <a:cxn ang="0">
                  <a:pos x="connsiteX10567" y="connsiteY10567"/>
                </a:cxn>
                <a:cxn ang="0">
                  <a:pos x="connsiteX10568" y="connsiteY10568"/>
                </a:cxn>
                <a:cxn ang="0">
                  <a:pos x="connsiteX10569" y="connsiteY10569"/>
                </a:cxn>
                <a:cxn ang="0">
                  <a:pos x="connsiteX10570" y="connsiteY10570"/>
                </a:cxn>
                <a:cxn ang="0">
                  <a:pos x="connsiteX10571" y="connsiteY10571"/>
                </a:cxn>
                <a:cxn ang="0">
                  <a:pos x="connsiteX10572" y="connsiteY10572"/>
                </a:cxn>
                <a:cxn ang="0">
                  <a:pos x="connsiteX10573" y="connsiteY10573"/>
                </a:cxn>
                <a:cxn ang="0">
                  <a:pos x="connsiteX10574" y="connsiteY10574"/>
                </a:cxn>
                <a:cxn ang="0">
                  <a:pos x="connsiteX10575" y="connsiteY10575"/>
                </a:cxn>
                <a:cxn ang="0">
                  <a:pos x="connsiteX10576" y="connsiteY10576"/>
                </a:cxn>
                <a:cxn ang="0">
                  <a:pos x="connsiteX10577" y="connsiteY10577"/>
                </a:cxn>
                <a:cxn ang="0">
                  <a:pos x="connsiteX10578" y="connsiteY10578"/>
                </a:cxn>
                <a:cxn ang="0">
                  <a:pos x="connsiteX10579" y="connsiteY10579"/>
                </a:cxn>
                <a:cxn ang="0">
                  <a:pos x="connsiteX10580" y="connsiteY10580"/>
                </a:cxn>
                <a:cxn ang="0">
                  <a:pos x="connsiteX10581" y="connsiteY10581"/>
                </a:cxn>
                <a:cxn ang="0">
                  <a:pos x="connsiteX10582" y="connsiteY10582"/>
                </a:cxn>
                <a:cxn ang="0">
                  <a:pos x="connsiteX10583" y="connsiteY10583"/>
                </a:cxn>
                <a:cxn ang="0">
                  <a:pos x="connsiteX10584" y="connsiteY10584"/>
                </a:cxn>
                <a:cxn ang="0">
                  <a:pos x="connsiteX10585" y="connsiteY10585"/>
                </a:cxn>
                <a:cxn ang="0">
                  <a:pos x="connsiteX10586" y="connsiteY10586"/>
                </a:cxn>
                <a:cxn ang="0">
                  <a:pos x="connsiteX10587" y="connsiteY10587"/>
                </a:cxn>
                <a:cxn ang="0">
                  <a:pos x="connsiteX10588" y="connsiteY10588"/>
                </a:cxn>
                <a:cxn ang="0">
                  <a:pos x="connsiteX10589" y="connsiteY10589"/>
                </a:cxn>
                <a:cxn ang="0">
                  <a:pos x="connsiteX10590" y="connsiteY10590"/>
                </a:cxn>
                <a:cxn ang="0">
                  <a:pos x="connsiteX10591" y="connsiteY10591"/>
                </a:cxn>
                <a:cxn ang="0">
                  <a:pos x="connsiteX10592" y="connsiteY10592"/>
                </a:cxn>
                <a:cxn ang="0">
                  <a:pos x="connsiteX10593" y="connsiteY10593"/>
                </a:cxn>
                <a:cxn ang="0">
                  <a:pos x="connsiteX10594" y="connsiteY10594"/>
                </a:cxn>
                <a:cxn ang="0">
                  <a:pos x="connsiteX10595" y="connsiteY10595"/>
                </a:cxn>
                <a:cxn ang="0">
                  <a:pos x="connsiteX10596" y="connsiteY10596"/>
                </a:cxn>
                <a:cxn ang="0">
                  <a:pos x="connsiteX10597" y="connsiteY10597"/>
                </a:cxn>
                <a:cxn ang="0">
                  <a:pos x="connsiteX10598" y="connsiteY10598"/>
                </a:cxn>
                <a:cxn ang="0">
                  <a:pos x="connsiteX10599" y="connsiteY10599"/>
                </a:cxn>
                <a:cxn ang="0">
                  <a:pos x="connsiteX10600" y="connsiteY10600"/>
                </a:cxn>
                <a:cxn ang="0">
                  <a:pos x="connsiteX10601" y="connsiteY10601"/>
                </a:cxn>
                <a:cxn ang="0">
                  <a:pos x="connsiteX10602" y="connsiteY10602"/>
                </a:cxn>
                <a:cxn ang="0">
                  <a:pos x="connsiteX10603" y="connsiteY10603"/>
                </a:cxn>
                <a:cxn ang="0">
                  <a:pos x="connsiteX10604" y="connsiteY10604"/>
                </a:cxn>
                <a:cxn ang="0">
                  <a:pos x="connsiteX10605" y="connsiteY10605"/>
                </a:cxn>
                <a:cxn ang="0">
                  <a:pos x="connsiteX10606" y="connsiteY10606"/>
                </a:cxn>
                <a:cxn ang="0">
                  <a:pos x="connsiteX10607" y="connsiteY10607"/>
                </a:cxn>
                <a:cxn ang="0">
                  <a:pos x="connsiteX10608" y="connsiteY10608"/>
                </a:cxn>
                <a:cxn ang="0">
                  <a:pos x="connsiteX10609" y="connsiteY10609"/>
                </a:cxn>
                <a:cxn ang="0">
                  <a:pos x="connsiteX10610" y="connsiteY10610"/>
                </a:cxn>
                <a:cxn ang="0">
                  <a:pos x="connsiteX10611" y="connsiteY10611"/>
                </a:cxn>
                <a:cxn ang="0">
                  <a:pos x="connsiteX10612" y="connsiteY10612"/>
                </a:cxn>
                <a:cxn ang="0">
                  <a:pos x="connsiteX10613" y="connsiteY10613"/>
                </a:cxn>
                <a:cxn ang="0">
                  <a:pos x="connsiteX10614" y="connsiteY10614"/>
                </a:cxn>
                <a:cxn ang="0">
                  <a:pos x="connsiteX10615" y="connsiteY10615"/>
                </a:cxn>
                <a:cxn ang="0">
                  <a:pos x="connsiteX10616" y="connsiteY10616"/>
                </a:cxn>
                <a:cxn ang="0">
                  <a:pos x="connsiteX10617" y="connsiteY10617"/>
                </a:cxn>
                <a:cxn ang="0">
                  <a:pos x="connsiteX10618" y="connsiteY10618"/>
                </a:cxn>
                <a:cxn ang="0">
                  <a:pos x="connsiteX10619" y="connsiteY10619"/>
                </a:cxn>
                <a:cxn ang="0">
                  <a:pos x="connsiteX10620" y="connsiteY10620"/>
                </a:cxn>
                <a:cxn ang="0">
                  <a:pos x="connsiteX10621" y="connsiteY10621"/>
                </a:cxn>
                <a:cxn ang="0">
                  <a:pos x="connsiteX10622" y="connsiteY10622"/>
                </a:cxn>
                <a:cxn ang="0">
                  <a:pos x="connsiteX10623" y="connsiteY10623"/>
                </a:cxn>
                <a:cxn ang="0">
                  <a:pos x="connsiteX10624" y="connsiteY10624"/>
                </a:cxn>
                <a:cxn ang="0">
                  <a:pos x="connsiteX10625" y="connsiteY10625"/>
                </a:cxn>
                <a:cxn ang="0">
                  <a:pos x="connsiteX10626" y="connsiteY10626"/>
                </a:cxn>
                <a:cxn ang="0">
                  <a:pos x="connsiteX10627" y="connsiteY10627"/>
                </a:cxn>
                <a:cxn ang="0">
                  <a:pos x="connsiteX10628" y="connsiteY10628"/>
                </a:cxn>
                <a:cxn ang="0">
                  <a:pos x="connsiteX10629" y="connsiteY10629"/>
                </a:cxn>
                <a:cxn ang="0">
                  <a:pos x="connsiteX10630" y="connsiteY10630"/>
                </a:cxn>
                <a:cxn ang="0">
                  <a:pos x="connsiteX10631" y="connsiteY10631"/>
                </a:cxn>
                <a:cxn ang="0">
                  <a:pos x="connsiteX10632" y="connsiteY10632"/>
                </a:cxn>
                <a:cxn ang="0">
                  <a:pos x="connsiteX10633" y="connsiteY10633"/>
                </a:cxn>
                <a:cxn ang="0">
                  <a:pos x="connsiteX10634" y="connsiteY10634"/>
                </a:cxn>
                <a:cxn ang="0">
                  <a:pos x="connsiteX10635" y="connsiteY10635"/>
                </a:cxn>
                <a:cxn ang="0">
                  <a:pos x="connsiteX10636" y="connsiteY10636"/>
                </a:cxn>
                <a:cxn ang="0">
                  <a:pos x="connsiteX10637" y="connsiteY10637"/>
                </a:cxn>
                <a:cxn ang="0">
                  <a:pos x="connsiteX10638" y="connsiteY10638"/>
                </a:cxn>
                <a:cxn ang="0">
                  <a:pos x="connsiteX10639" y="connsiteY10639"/>
                </a:cxn>
                <a:cxn ang="0">
                  <a:pos x="connsiteX10640" y="connsiteY10640"/>
                </a:cxn>
                <a:cxn ang="0">
                  <a:pos x="connsiteX10641" y="connsiteY10641"/>
                </a:cxn>
                <a:cxn ang="0">
                  <a:pos x="connsiteX10642" y="connsiteY10642"/>
                </a:cxn>
                <a:cxn ang="0">
                  <a:pos x="connsiteX10643" y="connsiteY10643"/>
                </a:cxn>
                <a:cxn ang="0">
                  <a:pos x="connsiteX10644" y="connsiteY10644"/>
                </a:cxn>
                <a:cxn ang="0">
                  <a:pos x="connsiteX10645" y="connsiteY10645"/>
                </a:cxn>
                <a:cxn ang="0">
                  <a:pos x="connsiteX10646" y="connsiteY10646"/>
                </a:cxn>
                <a:cxn ang="0">
                  <a:pos x="connsiteX10647" y="connsiteY10647"/>
                </a:cxn>
                <a:cxn ang="0">
                  <a:pos x="connsiteX10648" y="connsiteY10648"/>
                </a:cxn>
                <a:cxn ang="0">
                  <a:pos x="connsiteX10649" y="connsiteY10649"/>
                </a:cxn>
                <a:cxn ang="0">
                  <a:pos x="connsiteX10650" y="connsiteY10650"/>
                </a:cxn>
                <a:cxn ang="0">
                  <a:pos x="connsiteX10651" y="connsiteY10651"/>
                </a:cxn>
                <a:cxn ang="0">
                  <a:pos x="connsiteX10652" y="connsiteY10652"/>
                </a:cxn>
                <a:cxn ang="0">
                  <a:pos x="connsiteX10653" y="connsiteY10653"/>
                </a:cxn>
                <a:cxn ang="0">
                  <a:pos x="connsiteX10654" y="connsiteY10654"/>
                </a:cxn>
                <a:cxn ang="0">
                  <a:pos x="connsiteX10655" y="connsiteY10655"/>
                </a:cxn>
                <a:cxn ang="0">
                  <a:pos x="connsiteX10656" y="connsiteY10656"/>
                </a:cxn>
                <a:cxn ang="0">
                  <a:pos x="connsiteX10657" y="connsiteY10657"/>
                </a:cxn>
                <a:cxn ang="0">
                  <a:pos x="connsiteX10658" y="connsiteY10658"/>
                </a:cxn>
                <a:cxn ang="0">
                  <a:pos x="connsiteX10659" y="connsiteY10659"/>
                </a:cxn>
                <a:cxn ang="0">
                  <a:pos x="connsiteX10660" y="connsiteY10660"/>
                </a:cxn>
                <a:cxn ang="0">
                  <a:pos x="connsiteX10661" y="connsiteY10661"/>
                </a:cxn>
                <a:cxn ang="0">
                  <a:pos x="connsiteX10662" y="connsiteY10662"/>
                </a:cxn>
                <a:cxn ang="0">
                  <a:pos x="connsiteX10663" y="connsiteY10663"/>
                </a:cxn>
                <a:cxn ang="0">
                  <a:pos x="connsiteX10664" y="connsiteY10664"/>
                </a:cxn>
                <a:cxn ang="0">
                  <a:pos x="connsiteX10665" y="connsiteY10665"/>
                </a:cxn>
                <a:cxn ang="0">
                  <a:pos x="connsiteX10666" y="connsiteY10666"/>
                </a:cxn>
                <a:cxn ang="0">
                  <a:pos x="connsiteX10667" y="connsiteY10667"/>
                </a:cxn>
                <a:cxn ang="0">
                  <a:pos x="connsiteX10668" y="connsiteY10668"/>
                </a:cxn>
                <a:cxn ang="0">
                  <a:pos x="connsiteX10669" y="connsiteY10669"/>
                </a:cxn>
                <a:cxn ang="0">
                  <a:pos x="connsiteX10670" y="connsiteY10670"/>
                </a:cxn>
                <a:cxn ang="0">
                  <a:pos x="connsiteX10671" y="connsiteY10671"/>
                </a:cxn>
                <a:cxn ang="0">
                  <a:pos x="connsiteX10672" y="connsiteY10672"/>
                </a:cxn>
                <a:cxn ang="0">
                  <a:pos x="connsiteX10673" y="connsiteY10673"/>
                </a:cxn>
                <a:cxn ang="0">
                  <a:pos x="connsiteX10674" y="connsiteY10674"/>
                </a:cxn>
                <a:cxn ang="0">
                  <a:pos x="connsiteX10675" y="connsiteY10675"/>
                </a:cxn>
                <a:cxn ang="0">
                  <a:pos x="connsiteX10676" y="connsiteY10676"/>
                </a:cxn>
                <a:cxn ang="0">
                  <a:pos x="connsiteX10677" y="connsiteY10677"/>
                </a:cxn>
                <a:cxn ang="0">
                  <a:pos x="connsiteX10678" y="connsiteY10678"/>
                </a:cxn>
                <a:cxn ang="0">
                  <a:pos x="connsiteX10679" y="connsiteY10679"/>
                </a:cxn>
                <a:cxn ang="0">
                  <a:pos x="connsiteX10680" y="connsiteY10680"/>
                </a:cxn>
                <a:cxn ang="0">
                  <a:pos x="connsiteX10681" y="connsiteY10681"/>
                </a:cxn>
                <a:cxn ang="0">
                  <a:pos x="connsiteX10682" y="connsiteY10682"/>
                </a:cxn>
                <a:cxn ang="0">
                  <a:pos x="connsiteX10683" y="connsiteY10683"/>
                </a:cxn>
                <a:cxn ang="0">
                  <a:pos x="connsiteX10684" y="connsiteY10684"/>
                </a:cxn>
                <a:cxn ang="0">
                  <a:pos x="connsiteX10685" y="connsiteY10685"/>
                </a:cxn>
                <a:cxn ang="0">
                  <a:pos x="connsiteX10686" y="connsiteY10686"/>
                </a:cxn>
                <a:cxn ang="0">
                  <a:pos x="connsiteX10687" y="connsiteY10687"/>
                </a:cxn>
                <a:cxn ang="0">
                  <a:pos x="connsiteX10688" y="connsiteY10688"/>
                </a:cxn>
                <a:cxn ang="0">
                  <a:pos x="connsiteX10689" y="connsiteY10689"/>
                </a:cxn>
                <a:cxn ang="0">
                  <a:pos x="connsiteX10690" y="connsiteY10690"/>
                </a:cxn>
                <a:cxn ang="0">
                  <a:pos x="connsiteX10691" y="connsiteY10691"/>
                </a:cxn>
                <a:cxn ang="0">
                  <a:pos x="connsiteX10692" y="connsiteY10692"/>
                </a:cxn>
                <a:cxn ang="0">
                  <a:pos x="connsiteX10693" y="connsiteY10693"/>
                </a:cxn>
                <a:cxn ang="0">
                  <a:pos x="connsiteX10694" y="connsiteY10694"/>
                </a:cxn>
                <a:cxn ang="0">
                  <a:pos x="connsiteX10695" y="connsiteY10695"/>
                </a:cxn>
                <a:cxn ang="0">
                  <a:pos x="connsiteX10696" y="connsiteY10696"/>
                </a:cxn>
                <a:cxn ang="0">
                  <a:pos x="connsiteX10697" y="connsiteY10697"/>
                </a:cxn>
                <a:cxn ang="0">
                  <a:pos x="connsiteX10698" y="connsiteY10698"/>
                </a:cxn>
                <a:cxn ang="0">
                  <a:pos x="connsiteX10699" y="connsiteY10699"/>
                </a:cxn>
                <a:cxn ang="0">
                  <a:pos x="connsiteX10700" y="connsiteY10700"/>
                </a:cxn>
                <a:cxn ang="0">
                  <a:pos x="connsiteX10701" y="connsiteY10701"/>
                </a:cxn>
                <a:cxn ang="0">
                  <a:pos x="connsiteX10702" y="connsiteY10702"/>
                </a:cxn>
                <a:cxn ang="0">
                  <a:pos x="connsiteX10703" y="connsiteY10703"/>
                </a:cxn>
                <a:cxn ang="0">
                  <a:pos x="connsiteX10704" y="connsiteY10704"/>
                </a:cxn>
                <a:cxn ang="0">
                  <a:pos x="connsiteX10705" y="connsiteY10705"/>
                </a:cxn>
                <a:cxn ang="0">
                  <a:pos x="connsiteX10706" y="connsiteY10706"/>
                </a:cxn>
                <a:cxn ang="0">
                  <a:pos x="connsiteX10707" y="connsiteY10707"/>
                </a:cxn>
                <a:cxn ang="0">
                  <a:pos x="connsiteX10708" y="connsiteY10708"/>
                </a:cxn>
                <a:cxn ang="0">
                  <a:pos x="connsiteX10709" y="connsiteY10709"/>
                </a:cxn>
                <a:cxn ang="0">
                  <a:pos x="connsiteX10710" y="connsiteY10710"/>
                </a:cxn>
                <a:cxn ang="0">
                  <a:pos x="connsiteX10711" y="connsiteY10711"/>
                </a:cxn>
                <a:cxn ang="0">
                  <a:pos x="connsiteX10712" y="connsiteY10712"/>
                </a:cxn>
                <a:cxn ang="0">
                  <a:pos x="connsiteX10713" y="connsiteY10713"/>
                </a:cxn>
                <a:cxn ang="0">
                  <a:pos x="connsiteX10714" y="connsiteY10714"/>
                </a:cxn>
                <a:cxn ang="0">
                  <a:pos x="connsiteX10715" y="connsiteY10715"/>
                </a:cxn>
                <a:cxn ang="0">
                  <a:pos x="connsiteX10716" y="connsiteY10716"/>
                </a:cxn>
                <a:cxn ang="0">
                  <a:pos x="connsiteX10717" y="connsiteY10717"/>
                </a:cxn>
                <a:cxn ang="0">
                  <a:pos x="connsiteX10718" y="connsiteY10718"/>
                </a:cxn>
                <a:cxn ang="0">
                  <a:pos x="connsiteX10719" y="connsiteY10719"/>
                </a:cxn>
                <a:cxn ang="0">
                  <a:pos x="connsiteX10720" y="connsiteY10720"/>
                </a:cxn>
                <a:cxn ang="0">
                  <a:pos x="connsiteX10721" y="connsiteY10721"/>
                </a:cxn>
                <a:cxn ang="0">
                  <a:pos x="connsiteX10722" y="connsiteY10722"/>
                </a:cxn>
                <a:cxn ang="0">
                  <a:pos x="connsiteX10723" y="connsiteY10723"/>
                </a:cxn>
                <a:cxn ang="0">
                  <a:pos x="connsiteX10724" y="connsiteY10724"/>
                </a:cxn>
                <a:cxn ang="0">
                  <a:pos x="connsiteX10725" y="connsiteY10725"/>
                </a:cxn>
                <a:cxn ang="0">
                  <a:pos x="connsiteX10726" y="connsiteY10726"/>
                </a:cxn>
                <a:cxn ang="0">
                  <a:pos x="connsiteX10727" y="connsiteY10727"/>
                </a:cxn>
                <a:cxn ang="0">
                  <a:pos x="connsiteX10728" y="connsiteY10728"/>
                </a:cxn>
                <a:cxn ang="0">
                  <a:pos x="connsiteX10729" y="connsiteY10729"/>
                </a:cxn>
                <a:cxn ang="0">
                  <a:pos x="connsiteX10730" y="connsiteY10730"/>
                </a:cxn>
                <a:cxn ang="0">
                  <a:pos x="connsiteX10731" y="connsiteY10731"/>
                </a:cxn>
                <a:cxn ang="0">
                  <a:pos x="connsiteX10732" y="connsiteY10732"/>
                </a:cxn>
                <a:cxn ang="0">
                  <a:pos x="connsiteX10733" y="connsiteY10733"/>
                </a:cxn>
                <a:cxn ang="0">
                  <a:pos x="connsiteX10734" y="connsiteY10734"/>
                </a:cxn>
                <a:cxn ang="0">
                  <a:pos x="connsiteX10735" y="connsiteY10735"/>
                </a:cxn>
                <a:cxn ang="0">
                  <a:pos x="connsiteX10736" y="connsiteY10736"/>
                </a:cxn>
                <a:cxn ang="0">
                  <a:pos x="connsiteX10737" y="connsiteY10737"/>
                </a:cxn>
                <a:cxn ang="0">
                  <a:pos x="connsiteX10738" y="connsiteY10738"/>
                </a:cxn>
                <a:cxn ang="0">
                  <a:pos x="connsiteX10739" y="connsiteY10739"/>
                </a:cxn>
                <a:cxn ang="0">
                  <a:pos x="connsiteX10740" y="connsiteY10740"/>
                </a:cxn>
                <a:cxn ang="0">
                  <a:pos x="connsiteX10741" y="connsiteY10741"/>
                </a:cxn>
                <a:cxn ang="0">
                  <a:pos x="connsiteX10742" y="connsiteY10742"/>
                </a:cxn>
                <a:cxn ang="0">
                  <a:pos x="connsiteX10743" y="connsiteY10743"/>
                </a:cxn>
                <a:cxn ang="0">
                  <a:pos x="connsiteX10744" y="connsiteY10744"/>
                </a:cxn>
                <a:cxn ang="0">
                  <a:pos x="connsiteX10745" y="connsiteY10745"/>
                </a:cxn>
                <a:cxn ang="0">
                  <a:pos x="connsiteX10746" y="connsiteY10746"/>
                </a:cxn>
                <a:cxn ang="0">
                  <a:pos x="connsiteX10747" y="connsiteY10747"/>
                </a:cxn>
                <a:cxn ang="0">
                  <a:pos x="connsiteX10748" y="connsiteY10748"/>
                </a:cxn>
                <a:cxn ang="0">
                  <a:pos x="connsiteX10749" y="connsiteY10749"/>
                </a:cxn>
                <a:cxn ang="0">
                  <a:pos x="connsiteX10750" y="connsiteY10750"/>
                </a:cxn>
                <a:cxn ang="0">
                  <a:pos x="connsiteX10751" y="connsiteY10751"/>
                </a:cxn>
                <a:cxn ang="0">
                  <a:pos x="connsiteX10752" y="connsiteY10752"/>
                </a:cxn>
                <a:cxn ang="0">
                  <a:pos x="connsiteX10753" y="connsiteY10753"/>
                </a:cxn>
                <a:cxn ang="0">
                  <a:pos x="connsiteX10754" y="connsiteY10754"/>
                </a:cxn>
                <a:cxn ang="0">
                  <a:pos x="connsiteX10755" y="connsiteY10755"/>
                </a:cxn>
                <a:cxn ang="0">
                  <a:pos x="connsiteX10756" y="connsiteY10756"/>
                </a:cxn>
                <a:cxn ang="0">
                  <a:pos x="connsiteX10757" y="connsiteY10757"/>
                </a:cxn>
                <a:cxn ang="0">
                  <a:pos x="connsiteX10758" y="connsiteY10758"/>
                </a:cxn>
                <a:cxn ang="0">
                  <a:pos x="connsiteX10759" y="connsiteY10759"/>
                </a:cxn>
                <a:cxn ang="0">
                  <a:pos x="connsiteX10760" y="connsiteY10760"/>
                </a:cxn>
                <a:cxn ang="0">
                  <a:pos x="connsiteX10761" y="connsiteY10761"/>
                </a:cxn>
                <a:cxn ang="0">
                  <a:pos x="connsiteX10762" y="connsiteY10762"/>
                </a:cxn>
                <a:cxn ang="0">
                  <a:pos x="connsiteX10763" y="connsiteY10763"/>
                </a:cxn>
                <a:cxn ang="0">
                  <a:pos x="connsiteX10764" y="connsiteY10764"/>
                </a:cxn>
                <a:cxn ang="0">
                  <a:pos x="connsiteX10765" y="connsiteY10765"/>
                </a:cxn>
                <a:cxn ang="0">
                  <a:pos x="connsiteX10766" y="connsiteY10766"/>
                </a:cxn>
                <a:cxn ang="0">
                  <a:pos x="connsiteX10767" y="connsiteY10767"/>
                </a:cxn>
                <a:cxn ang="0">
                  <a:pos x="connsiteX10768" y="connsiteY10768"/>
                </a:cxn>
                <a:cxn ang="0">
                  <a:pos x="connsiteX10769" y="connsiteY10769"/>
                </a:cxn>
                <a:cxn ang="0">
                  <a:pos x="connsiteX10770" y="connsiteY10770"/>
                </a:cxn>
                <a:cxn ang="0">
                  <a:pos x="connsiteX10771" y="connsiteY10771"/>
                </a:cxn>
                <a:cxn ang="0">
                  <a:pos x="connsiteX10772" y="connsiteY10772"/>
                </a:cxn>
                <a:cxn ang="0">
                  <a:pos x="connsiteX10773" y="connsiteY10773"/>
                </a:cxn>
                <a:cxn ang="0">
                  <a:pos x="connsiteX10774" y="connsiteY10774"/>
                </a:cxn>
                <a:cxn ang="0">
                  <a:pos x="connsiteX10775" y="connsiteY10775"/>
                </a:cxn>
                <a:cxn ang="0">
                  <a:pos x="connsiteX10776" y="connsiteY10776"/>
                </a:cxn>
                <a:cxn ang="0">
                  <a:pos x="connsiteX10777" y="connsiteY10777"/>
                </a:cxn>
                <a:cxn ang="0">
                  <a:pos x="connsiteX10778" y="connsiteY10778"/>
                </a:cxn>
                <a:cxn ang="0">
                  <a:pos x="connsiteX10779" y="connsiteY10779"/>
                </a:cxn>
                <a:cxn ang="0">
                  <a:pos x="connsiteX10780" y="connsiteY10780"/>
                </a:cxn>
                <a:cxn ang="0">
                  <a:pos x="connsiteX10781" y="connsiteY10781"/>
                </a:cxn>
                <a:cxn ang="0">
                  <a:pos x="connsiteX10782" y="connsiteY10782"/>
                </a:cxn>
                <a:cxn ang="0">
                  <a:pos x="connsiteX10783" y="connsiteY10783"/>
                </a:cxn>
                <a:cxn ang="0">
                  <a:pos x="connsiteX10784" y="connsiteY10784"/>
                </a:cxn>
                <a:cxn ang="0">
                  <a:pos x="connsiteX10785" y="connsiteY10785"/>
                </a:cxn>
                <a:cxn ang="0">
                  <a:pos x="connsiteX10786" y="connsiteY10786"/>
                </a:cxn>
                <a:cxn ang="0">
                  <a:pos x="connsiteX10787" y="connsiteY10787"/>
                </a:cxn>
                <a:cxn ang="0">
                  <a:pos x="connsiteX10788" y="connsiteY10788"/>
                </a:cxn>
                <a:cxn ang="0">
                  <a:pos x="connsiteX10789" y="connsiteY10789"/>
                </a:cxn>
                <a:cxn ang="0">
                  <a:pos x="connsiteX10790" y="connsiteY10790"/>
                </a:cxn>
                <a:cxn ang="0">
                  <a:pos x="connsiteX10791" y="connsiteY10791"/>
                </a:cxn>
                <a:cxn ang="0">
                  <a:pos x="connsiteX10792" y="connsiteY10792"/>
                </a:cxn>
                <a:cxn ang="0">
                  <a:pos x="connsiteX10793" y="connsiteY10793"/>
                </a:cxn>
                <a:cxn ang="0">
                  <a:pos x="connsiteX10794" y="connsiteY10794"/>
                </a:cxn>
                <a:cxn ang="0">
                  <a:pos x="connsiteX10795" y="connsiteY10795"/>
                </a:cxn>
                <a:cxn ang="0">
                  <a:pos x="connsiteX10796" y="connsiteY10796"/>
                </a:cxn>
                <a:cxn ang="0">
                  <a:pos x="connsiteX10797" y="connsiteY10797"/>
                </a:cxn>
                <a:cxn ang="0">
                  <a:pos x="connsiteX10798" y="connsiteY10798"/>
                </a:cxn>
                <a:cxn ang="0">
                  <a:pos x="connsiteX10799" y="connsiteY10799"/>
                </a:cxn>
                <a:cxn ang="0">
                  <a:pos x="connsiteX10800" y="connsiteY10800"/>
                </a:cxn>
                <a:cxn ang="0">
                  <a:pos x="connsiteX10801" y="connsiteY10801"/>
                </a:cxn>
                <a:cxn ang="0">
                  <a:pos x="connsiteX10802" y="connsiteY10802"/>
                </a:cxn>
                <a:cxn ang="0">
                  <a:pos x="connsiteX10803" y="connsiteY10803"/>
                </a:cxn>
                <a:cxn ang="0">
                  <a:pos x="connsiteX10804" y="connsiteY10804"/>
                </a:cxn>
                <a:cxn ang="0">
                  <a:pos x="connsiteX10805" y="connsiteY10805"/>
                </a:cxn>
                <a:cxn ang="0">
                  <a:pos x="connsiteX10806" y="connsiteY10806"/>
                </a:cxn>
                <a:cxn ang="0">
                  <a:pos x="connsiteX10807" y="connsiteY10807"/>
                </a:cxn>
                <a:cxn ang="0">
                  <a:pos x="connsiteX10808" y="connsiteY10808"/>
                </a:cxn>
                <a:cxn ang="0">
                  <a:pos x="connsiteX10809" y="connsiteY10809"/>
                </a:cxn>
                <a:cxn ang="0">
                  <a:pos x="connsiteX10810" y="connsiteY10810"/>
                </a:cxn>
                <a:cxn ang="0">
                  <a:pos x="connsiteX10811" y="connsiteY10811"/>
                </a:cxn>
                <a:cxn ang="0">
                  <a:pos x="connsiteX10812" y="connsiteY10812"/>
                </a:cxn>
                <a:cxn ang="0">
                  <a:pos x="connsiteX10813" y="connsiteY10813"/>
                </a:cxn>
                <a:cxn ang="0">
                  <a:pos x="connsiteX10814" y="connsiteY10814"/>
                </a:cxn>
                <a:cxn ang="0">
                  <a:pos x="connsiteX10815" y="connsiteY10815"/>
                </a:cxn>
                <a:cxn ang="0">
                  <a:pos x="connsiteX10816" y="connsiteY10816"/>
                </a:cxn>
                <a:cxn ang="0">
                  <a:pos x="connsiteX10817" y="connsiteY10817"/>
                </a:cxn>
                <a:cxn ang="0">
                  <a:pos x="connsiteX10818" y="connsiteY10818"/>
                </a:cxn>
                <a:cxn ang="0">
                  <a:pos x="connsiteX10819" y="connsiteY10819"/>
                </a:cxn>
                <a:cxn ang="0">
                  <a:pos x="connsiteX10820" y="connsiteY10820"/>
                </a:cxn>
                <a:cxn ang="0">
                  <a:pos x="connsiteX10821" y="connsiteY10821"/>
                </a:cxn>
                <a:cxn ang="0">
                  <a:pos x="connsiteX10822" y="connsiteY10822"/>
                </a:cxn>
                <a:cxn ang="0">
                  <a:pos x="connsiteX10823" y="connsiteY10823"/>
                </a:cxn>
                <a:cxn ang="0">
                  <a:pos x="connsiteX10824" y="connsiteY10824"/>
                </a:cxn>
                <a:cxn ang="0">
                  <a:pos x="connsiteX10825" y="connsiteY10825"/>
                </a:cxn>
                <a:cxn ang="0">
                  <a:pos x="connsiteX10826" y="connsiteY10826"/>
                </a:cxn>
                <a:cxn ang="0">
                  <a:pos x="connsiteX10827" y="connsiteY10827"/>
                </a:cxn>
                <a:cxn ang="0">
                  <a:pos x="connsiteX10828" y="connsiteY10828"/>
                </a:cxn>
                <a:cxn ang="0">
                  <a:pos x="connsiteX10829" y="connsiteY10829"/>
                </a:cxn>
                <a:cxn ang="0">
                  <a:pos x="connsiteX10830" y="connsiteY10830"/>
                </a:cxn>
                <a:cxn ang="0">
                  <a:pos x="connsiteX10831" y="connsiteY10831"/>
                </a:cxn>
                <a:cxn ang="0">
                  <a:pos x="connsiteX10832" y="connsiteY10832"/>
                </a:cxn>
                <a:cxn ang="0">
                  <a:pos x="connsiteX10833" y="connsiteY10833"/>
                </a:cxn>
                <a:cxn ang="0">
                  <a:pos x="connsiteX10834" y="connsiteY10834"/>
                </a:cxn>
                <a:cxn ang="0">
                  <a:pos x="connsiteX10835" y="connsiteY10835"/>
                </a:cxn>
                <a:cxn ang="0">
                  <a:pos x="connsiteX10836" y="connsiteY10836"/>
                </a:cxn>
                <a:cxn ang="0">
                  <a:pos x="connsiteX10837" y="connsiteY10837"/>
                </a:cxn>
                <a:cxn ang="0">
                  <a:pos x="connsiteX10838" y="connsiteY10838"/>
                </a:cxn>
                <a:cxn ang="0">
                  <a:pos x="connsiteX10839" y="connsiteY10839"/>
                </a:cxn>
                <a:cxn ang="0">
                  <a:pos x="connsiteX10840" y="connsiteY10840"/>
                </a:cxn>
                <a:cxn ang="0">
                  <a:pos x="connsiteX10841" y="connsiteY10841"/>
                </a:cxn>
                <a:cxn ang="0">
                  <a:pos x="connsiteX10842" y="connsiteY10842"/>
                </a:cxn>
                <a:cxn ang="0">
                  <a:pos x="connsiteX10843" y="connsiteY10843"/>
                </a:cxn>
                <a:cxn ang="0">
                  <a:pos x="connsiteX10844" y="connsiteY10844"/>
                </a:cxn>
                <a:cxn ang="0">
                  <a:pos x="connsiteX10845" y="connsiteY10845"/>
                </a:cxn>
                <a:cxn ang="0">
                  <a:pos x="connsiteX10846" y="connsiteY10846"/>
                </a:cxn>
                <a:cxn ang="0">
                  <a:pos x="connsiteX10847" y="connsiteY10847"/>
                </a:cxn>
                <a:cxn ang="0">
                  <a:pos x="connsiteX10848" y="connsiteY10848"/>
                </a:cxn>
                <a:cxn ang="0">
                  <a:pos x="connsiteX10849" y="connsiteY10849"/>
                </a:cxn>
                <a:cxn ang="0">
                  <a:pos x="connsiteX10850" y="connsiteY10850"/>
                </a:cxn>
                <a:cxn ang="0">
                  <a:pos x="connsiteX10851" y="connsiteY10851"/>
                </a:cxn>
                <a:cxn ang="0">
                  <a:pos x="connsiteX10852" y="connsiteY10852"/>
                </a:cxn>
                <a:cxn ang="0">
                  <a:pos x="connsiteX10853" y="connsiteY10853"/>
                </a:cxn>
                <a:cxn ang="0">
                  <a:pos x="connsiteX10854" y="connsiteY10854"/>
                </a:cxn>
                <a:cxn ang="0">
                  <a:pos x="connsiteX10855" y="connsiteY10855"/>
                </a:cxn>
                <a:cxn ang="0">
                  <a:pos x="connsiteX10856" y="connsiteY10856"/>
                </a:cxn>
                <a:cxn ang="0">
                  <a:pos x="connsiteX10857" y="connsiteY10857"/>
                </a:cxn>
                <a:cxn ang="0">
                  <a:pos x="connsiteX10858" y="connsiteY10858"/>
                </a:cxn>
                <a:cxn ang="0">
                  <a:pos x="connsiteX10859" y="connsiteY10859"/>
                </a:cxn>
                <a:cxn ang="0">
                  <a:pos x="connsiteX10860" y="connsiteY10860"/>
                </a:cxn>
                <a:cxn ang="0">
                  <a:pos x="connsiteX10861" y="connsiteY10861"/>
                </a:cxn>
                <a:cxn ang="0">
                  <a:pos x="connsiteX10862" y="connsiteY10862"/>
                </a:cxn>
                <a:cxn ang="0">
                  <a:pos x="connsiteX10863" y="connsiteY10863"/>
                </a:cxn>
                <a:cxn ang="0">
                  <a:pos x="connsiteX10864" y="connsiteY10864"/>
                </a:cxn>
                <a:cxn ang="0">
                  <a:pos x="connsiteX10865" y="connsiteY10865"/>
                </a:cxn>
                <a:cxn ang="0">
                  <a:pos x="connsiteX10866" y="connsiteY10866"/>
                </a:cxn>
                <a:cxn ang="0">
                  <a:pos x="connsiteX10867" y="connsiteY10867"/>
                </a:cxn>
                <a:cxn ang="0">
                  <a:pos x="connsiteX10868" y="connsiteY10868"/>
                </a:cxn>
                <a:cxn ang="0">
                  <a:pos x="connsiteX10869" y="connsiteY10869"/>
                </a:cxn>
                <a:cxn ang="0">
                  <a:pos x="connsiteX10870" y="connsiteY10870"/>
                </a:cxn>
                <a:cxn ang="0">
                  <a:pos x="connsiteX10871" y="connsiteY10871"/>
                </a:cxn>
                <a:cxn ang="0">
                  <a:pos x="connsiteX10872" y="connsiteY10872"/>
                </a:cxn>
                <a:cxn ang="0">
                  <a:pos x="connsiteX10873" y="connsiteY10873"/>
                </a:cxn>
                <a:cxn ang="0">
                  <a:pos x="connsiteX10874" y="connsiteY10874"/>
                </a:cxn>
                <a:cxn ang="0">
                  <a:pos x="connsiteX10875" y="connsiteY10875"/>
                </a:cxn>
                <a:cxn ang="0">
                  <a:pos x="connsiteX10876" y="connsiteY10876"/>
                </a:cxn>
                <a:cxn ang="0">
                  <a:pos x="connsiteX10877" y="connsiteY10877"/>
                </a:cxn>
                <a:cxn ang="0">
                  <a:pos x="connsiteX10878" y="connsiteY10878"/>
                </a:cxn>
                <a:cxn ang="0">
                  <a:pos x="connsiteX10879" y="connsiteY10879"/>
                </a:cxn>
                <a:cxn ang="0">
                  <a:pos x="connsiteX10880" y="connsiteY10880"/>
                </a:cxn>
                <a:cxn ang="0">
                  <a:pos x="connsiteX10881" y="connsiteY10881"/>
                </a:cxn>
                <a:cxn ang="0">
                  <a:pos x="connsiteX10882" y="connsiteY10882"/>
                </a:cxn>
                <a:cxn ang="0">
                  <a:pos x="connsiteX10883" y="connsiteY10883"/>
                </a:cxn>
                <a:cxn ang="0">
                  <a:pos x="connsiteX10884" y="connsiteY10884"/>
                </a:cxn>
                <a:cxn ang="0">
                  <a:pos x="connsiteX10885" y="connsiteY10885"/>
                </a:cxn>
                <a:cxn ang="0">
                  <a:pos x="connsiteX10886" y="connsiteY10886"/>
                </a:cxn>
                <a:cxn ang="0">
                  <a:pos x="connsiteX10887" y="connsiteY10887"/>
                </a:cxn>
                <a:cxn ang="0">
                  <a:pos x="connsiteX10888" y="connsiteY10888"/>
                </a:cxn>
                <a:cxn ang="0">
                  <a:pos x="connsiteX10889" y="connsiteY10889"/>
                </a:cxn>
                <a:cxn ang="0">
                  <a:pos x="connsiteX10890" y="connsiteY10890"/>
                </a:cxn>
                <a:cxn ang="0">
                  <a:pos x="connsiteX10891" y="connsiteY10891"/>
                </a:cxn>
                <a:cxn ang="0">
                  <a:pos x="connsiteX10892" y="connsiteY10892"/>
                </a:cxn>
                <a:cxn ang="0">
                  <a:pos x="connsiteX10893" y="connsiteY10893"/>
                </a:cxn>
                <a:cxn ang="0">
                  <a:pos x="connsiteX10894" y="connsiteY10894"/>
                </a:cxn>
                <a:cxn ang="0">
                  <a:pos x="connsiteX10895" y="connsiteY10895"/>
                </a:cxn>
                <a:cxn ang="0">
                  <a:pos x="connsiteX10896" y="connsiteY10896"/>
                </a:cxn>
                <a:cxn ang="0">
                  <a:pos x="connsiteX10897" y="connsiteY10897"/>
                </a:cxn>
                <a:cxn ang="0">
                  <a:pos x="connsiteX10898" y="connsiteY10898"/>
                </a:cxn>
                <a:cxn ang="0">
                  <a:pos x="connsiteX10899" y="connsiteY10899"/>
                </a:cxn>
                <a:cxn ang="0">
                  <a:pos x="connsiteX10900" y="connsiteY10900"/>
                </a:cxn>
                <a:cxn ang="0">
                  <a:pos x="connsiteX10901" y="connsiteY10901"/>
                </a:cxn>
                <a:cxn ang="0">
                  <a:pos x="connsiteX10902" y="connsiteY10902"/>
                </a:cxn>
                <a:cxn ang="0">
                  <a:pos x="connsiteX10903" y="connsiteY10903"/>
                </a:cxn>
                <a:cxn ang="0">
                  <a:pos x="connsiteX10904" y="connsiteY10904"/>
                </a:cxn>
                <a:cxn ang="0">
                  <a:pos x="connsiteX10905" y="connsiteY10905"/>
                </a:cxn>
                <a:cxn ang="0">
                  <a:pos x="connsiteX10906" y="connsiteY10906"/>
                </a:cxn>
                <a:cxn ang="0">
                  <a:pos x="connsiteX10907" y="connsiteY10907"/>
                </a:cxn>
                <a:cxn ang="0">
                  <a:pos x="connsiteX10908" y="connsiteY10908"/>
                </a:cxn>
                <a:cxn ang="0">
                  <a:pos x="connsiteX10909" y="connsiteY10909"/>
                </a:cxn>
                <a:cxn ang="0">
                  <a:pos x="connsiteX10910" y="connsiteY10910"/>
                </a:cxn>
                <a:cxn ang="0">
                  <a:pos x="connsiteX10911" y="connsiteY10911"/>
                </a:cxn>
                <a:cxn ang="0">
                  <a:pos x="connsiteX10912" y="connsiteY10912"/>
                </a:cxn>
                <a:cxn ang="0">
                  <a:pos x="connsiteX10913" y="connsiteY10913"/>
                </a:cxn>
                <a:cxn ang="0">
                  <a:pos x="connsiteX10914" y="connsiteY10914"/>
                </a:cxn>
                <a:cxn ang="0">
                  <a:pos x="connsiteX10915" y="connsiteY10915"/>
                </a:cxn>
                <a:cxn ang="0">
                  <a:pos x="connsiteX10916" y="connsiteY10916"/>
                </a:cxn>
                <a:cxn ang="0">
                  <a:pos x="connsiteX10917" y="connsiteY10917"/>
                </a:cxn>
                <a:cxn ang="0">
                  <a:pos x="connsiteX10918" y="connsiteY10918"/>
                </a:cxn>
                <a:cxn ang="0">
                  <a:pos x="connsiteX10919" y="connsiteY10919"/>
                </a:cxn>
                <a:cxn ang="0">
                  <a:pos x="connsiteX10920" y="connsiteY10920"/>
                </a:cxn>
                <a:cxn ang="0">
                  <a:pos x="connsiteX10921" y="connsiteY10921"/>
                </a:cxn>
                <a:cxn ang="0">
                  <a:pos x="connsiteX10922" y="connsiteY10922"/>
                </a:cxn>
                <a:cxn ang="0">
                  <a:pos x="connsiteX10923" y="connsiteY10923"/>
                </a:cxn>
                <a:cxn ang="0">
                  <a:pos x="connsiteX10924" y="connsiteY10924"/>
                </a:cxn>
                <a:cxn ang="0">
                  <a:pos x="connsiteX10925" y="connsiteY10925"/>
                </a:cxn>
                <a:cxn ang="0">
                  <a:pos x="connsiteX10926" y="connsiteY10926"/>
                </a:cxn>
                <a:cxn ang="0">
                  <a:pos x="connsiteX10927" y="connsiteY10927"/>
                </a:cxn>
                <a:cxn ang="0">
                  <a:pos x="connsiteX10928" y="connsiteY10928"/>
                </a:cxn>
                <a:cxn ang="0">
                  <a:pos x="connsiteX10929" y="connsiteY10929"/>
                </a:cxn>
                <a:cxn ang="0">
                  <a:pos x="connsiteX10930" y="connsiteY10930"/>
                </a:cxn>
                <a:cxn ang="0">
                  <a:pos x="connsiteX10931" y="connsiteY10931"/>
                </a:cxn>
                <a:cxn ang="0">
                  <a:pos x="connsiteX10932" y="connsiteY10932"/>
                </a:cxn>
                <a:cxn ang="0">
                  <a:pos x="connsiteX10933" y="connsiteY10933"/>
                </a:cxn>
                <a:cxn ang="0">
                  <a:pos x="connsiteX10934" y="connsiteY10934"/>
                </a:cxn>
                <a:cxn ang="0">
                  <a:pos x="connsiteX10935" y="connsiteY10935"/>
                </a:cxn>
                <a:cxn ang="0">
                  <a:pos x="connsiteX10936" y="connsiteY10936"/>
                </a:cxn>
                <a:cxn ang="0">
                  <a:pos x="connsiteX10937" y="connsiteY10937"/>
                </a:cxn>
                <a:cxn ang="0">
                  <a:pos x="connsiteX10938" y="connsiteY10938"/>
                </a:cxn>
                <a:cxn ang="0">
                  <a:pos x="connsiteX10939" y="connsiteY10939"/>
                </a:cxn>
                <a:cxn ang="0">
                  <a:pos x="connsiteX10940" y="connsiteY10940"/>
                </a:cxn>
                <a:cxn ang="0">
                  <a:pos x="connsiteX10941" y="connsiteY10941"/>
                </a:cxn>
                <a:cxn ang="0">
                  <a:pos x="connsiteX10942" y="connsiteY10942"/>
                </a:cxn>
                <a:cxn ang="0">
                  <a:pos x="connsiteX10943" y="connsiteY10943"/>
                </a:cxn>
                <a:cxn ang="0">
                  <a:pos x="connsiteX10944" y="connsiteY10944"/>
                </a:cxn>
                <a:cxn ang="0">
                  <a:pos x="connsiteX10945" y="connsiteY10945"/>
                </a:cxn>
                <a:cxn ang="0">
                  <a:pos x="connsiteX10946" y="connsiteY10946"/>
                </a:cxn>
                <a:cxn ang="0">
                  <a:pos x="connsiteX10947" y="connsiteY10947"/>
                </a:cxn>
                <a:cxn ang="0">
                  <a:pos x="connsiteX10948" y="connsiteY10948"/>
                </a:cxn>
                <a:cxn ang="0">
                  <a:pos x="connsiteX10949" y="connsiteY10949"/>
                </a:cxn>
                <a:cxn ang="0">
                  <a:pos x="connsiteX10950" y="connsiteY10950"/>
                </a:cxn>
                <a:cxn ang="0">
                  <a:pos x="connsiteX10951" y="connsiteY10951"/>
                </a:cxn>
                <a:cxn ang="0">
                  <a:pos x="connsiteX10952" y="connsiteY10952"/>
                </a:cxn>
                <a:cxn ang="0">
                  <a:pos x="connsiteX10953" y="connsiteY10953"/>
                </a:cxn>
                <a:cxn ang="0">
                  <a:pos x="connsiteX10954" y="connsiteY10954"/>
                </a:cxn>
                <a:cxn ang="0">
                  <a:pos x="connsiteX10955" y="connsiteY10955"/>
                </a:cxn>
                <a:cxn ang="0">
                  <a:pos x="connsiteX10956" y="connsiteY10956"/>
                </a:cxn>
                <a:cxn ang="0">
                  <a:pos x="connsiteX10957" y="connsiteY10957"/>
                </a:cxn>
                <a:cxn ang="0">
                  <a:pos x="connsiteX10958" y="connsiteY10958"/>
                </a:cxn>
                <a:cxn ang="0">
                  <a:pos x="connsiteX10959" y="connsiteY10959"/>
                </a:cxn>
                <a:cxn ang="0">
                  <a:pos x="connsiteX10960" y="connsiteY10960"/>
                </a:cxn>
                <a:cxn ang="0">
                  <a:pos x="connsiteX10961" y="connsiteY10961"/>
                </a:cxn>
                <a:cxn ang="0">
                  <a:pos x="connsiteX10962" y="connsiteY10962"/>
                </a:cxn>
                <a:cxn ang="0">
                  <a:pos x="connsiteX10963" y="connsiteY10963"/>
                </a:cxn>
                <a:cxn ang="0">
                  <a:pos x="connsiteX10964" y="connsiteY10964"/>
                </a:cxn>
                <a:cxn ang="0">
                  <a:pos x="connsiteX10965" y="connsiteY10965"/>
                </a:cxn>
                <a:cxn ang="0">
                  <a:pos x="connsiteX10966" y="connsiteY10966"/>
                </a:cxn>
                <a:cxn ang="0">
                  <a:pos x="connsiteX10967" y="connsiteY10967"/>
                </a:cxn>
                <a:cxn ang="0">
                  <a:pos x="connsiteX10968" y="connsiteY10968"/>
                </a:cxn>
                <a:cxn ang="0">
                  <a:pos x="connsiteX10969" y="connsiteY10969"/>
                </a:cxn>
                <a:cxn ang="0">
                  <a:pos x="connsiteX10970" y="connsiteY10970"/>
                </a:cxn>
                <a:cxn ang="0">
                  <a:pos x="connsiteX10971" y="connsiteY10971"/>
                </a:cxn>
                <a:cxn ang="0">
                  <a:pos x="connsiteX10972" y="connsiteY10972"/>
                </a:cxn>
                <a:cxn ang="0">
                  <a:pos x="connsiteX10973" y="connsiteY10973"/>
                </a:cxn>
                <a:cxn ang="0">
                  <a:pos x="connsiteX10974" y="connsiteY10974"/>
                </a:cxn>
                <a:cxn ang="0">
                  <a:pos x="connsiteX10975" y="connsiteY10975"/>
                </a:cxn>
                <a:cxn ang="0">
                  <a:pos x="connsiteX10976" y="connsiteY10976"/>
                </a:cxn>
                <a:cxn ang="0">
                  <a:pos x="connsiteX10977" y="connsiteY10977"/>
                </a:cxn>
                <a:cxn ang="0">
                  <a:pos x="connsiteX10978" y="connsiteY10978"/>
                </a:cxn>
                <a:cxn ang="0">
                  <a:pos x="connsiteX10979" y="connsiteY10979"/>
                </a:cxn>
                <a:cxn ang="0">
                  <a:pos x="connsiteX10980" y="connsiteY10980"/>
                </a:cxn>
                <a:cxn ang="0">
                  <a:pos x="connsiteX10981" y="connsiteY10981"/>
                </a:cxn>
                <a:cxn ang="0">
                  <a:pos x="connsiteX10982" y="connsiteY10982"/>
                </a:cxn>
                <a:cxn ang="0">
                  <a:pos x="connsiteX10983" y="connsiteY10983"/>
                </a:cxn>
                <a:cxn ang="0">
                  <a:pos x="connsiteX10984" y="connsiteY10984"/>
                </a:cxn>
                <a:cxn ang="0">
                  <a:pos x="connsiteX10985" y="connsiteY10985"/>
                </a:cxn>
                <a:cxn ang="0">
                  <a:pos x="connsiteX10986" y="connsiteY10986"/>
                </a:cxn>
                <a:cxn ang="0">
                  <a:pos x="connsiteX10987" y="connsiteY10987"/>
                </a:cxn>
                <a:cxn ang="0">
                  <a:pos x="connsiteX10988" y="connsiteY10988"/>
                </a:cxn>
                <a:cxn ang="0">
                  <a:pos x="connsiteX10989" y="connsiteY10989"/>
                </a:cxn>
                <a:cxn ang="0">
                  <a:pos x="connsiteX10990" y="connsiteY10990"/>
                </a:cxn>
                <a:cxn ang="0">
                  <a:pos x="connsiteX10991" y="connsiteY10991"/>
                </a:cxn>
                <a:cxn ang="0">
                  <a:pos x="connsiteX10992" y="connsiteY10992"/>
                </a:cxn>
                <a:cxn ang="0">
                  <a:pos x="connsiteX10993" y="connsiteY10993"/>
                </a:cxn>
                <a:cxn ang="0">
                  <a:pos x="connsiteX10994" y="connsiteY10994"/>
                </a:cxn>
                <a:cxn ang="0">
                  <a:pos x="connsiteX10995" y="connsiteY10995"/>
                </a:cxn>
                <a:cxn ang="0">
                  <a:pos x="connsiteX10996" y="connsiteY10996"/>
                </a:cxn>
                <a:cxn ang="0">
                  <a:pos x="connsiteX10997" y="connsiteY10997"/>
                </a:cxn>
                <a:cxn ang="0">
                  <a:pos x="connsiteX10998" y="connsiteY10998"/>
                </a:cxn>
                <a:cxn ang="0">
                  <a:pos x="connsiteX10999" y="connsiteY10999"/>
                </a:cxn>
                <a:cxn ang="0">
                  <a:pos x="connsiteX11000" y="connsiteY11000"/>
                </a:cxn>
                <a:cxn ang="0">
                  <a:pos x="connsiteX11001" y="connsiteY11001"/>
                </a:cxn>
                <a:cxn ang="0">
                  <a:pos x="connsiteX11002" y="connsiteY11002"/>
                </a:cxn>
                <a:cxn ang="0">
                  <a:pos x="connsiteX11003" y="connsiteY11003"/>
                </a:cxn>
                <a:cxn ang="0">
                  <a:pos x="connsiteX11004" y="connsiteY11004"/>
                </a:cxn>
                <a:cxn ang="0">
                  <a:pos x="connsiteX11005" y="connsiteY11005"/>
                </a:cxn>
                <a:cxn ang="0">
                  <a:pos x="connsiteX11006" y="connsiteY11006"/>
                </a:cxn>
                <a:cxn ang="0">
                  <a:pos x="connsiteX11007" y="connsiteY11007"/>
                </a:cxn>
                <a:cxn ang="0">
                  <a:pos x="connsiteX11008" y="connsiteY11008"/>
                </a:cxn>
                <a:cxn ang="0">
                  <a:pos x="connsiteX11009" y="connsiteY11009"/>
                </a:cxn>
                <a:cxn ang="0">
                  <a:pos x="connsiteX11010" y="connsiteY11010"/>
                </a:cxn>
                <a:cxn ang="0">
                  <a:pos x="connsiteX11011" y="connsiteY11011"/>
                </a:cxn>
                <a:cxn ang="0">
                  <a:pos x="connsiteX11012" y="connsiteY11012"/>
                </a:cxn>
                <a:cxn ang="0">
                  <a:pos x="connsiteX11013" y="connsiteY11013"/>
                </a:cxn>
                <a:cxn ang="0">
                  <a:pos x="connsiteX11014" y="connsiteY11014"/>
                </a:cxn>
                <a:cxn ang="0">
                  <a:pos x="connsiteX11015" y="connsiteY11015"/>
                </a:cxn>
                <a:cxn ang="0">
                  <a:pos x="connsiteX11016" y="connsiteY11016"/>
                </a:cxn>
                <a:cxn ang="0">
                  <a:pos x="connsiteX11017" y="connsiteY11017"/>
                </a:cxn>
                <a:cxn ang="0">
                  <a:pos x="connsiteX11018" y="connsiteY11018"/>
                </a:cxn>
                <a:cxn ang="0">
                  <a:pos x="connsiteX11019" y="connsiteY11019"/>
                </a:cxn>
                <a:cxn ang="0">
                  <a:pos x="connsiteX11020" y="connsiteY11020"/>
                </a:cxn>
                <a:cxn ang="0">
                  <a:pos x="connsiteX11021" y="connsiteY11021"/>
                </a:cxn>
                <a:cxn ang="0">
                  <a:pos x="connsiteX11022" y="connsiteY11022"/>
                </a:cxn>
                <a:cxn ang="0">
                  <a:pos x="connsiteX11023" y="connsiteY11023"/>
                </a:cxn>
                <a:cxn ang="0">
                  <a:pos x="connsiteX11024" y="connsiteY11024"/>
                </a:cxn>
                <a:cxn ang="0">
                  <a:pos x="connsiteX11025" y="connsiteY11025"/>
                </a:cxn>
                <a:cxn ang="0">
                  <a:pos x="connsiteX11026" y="connsiteY11026"/>
                </a:cxn>
                <a:cxn ang="0">
                  <a:pos x="connsiteX11027" y="connsiteY11027"/>
                </a:cxn>
                <a:cxn ang="0">
                  <a:pos x="connsiteX11028" y="connsiteY11028"/>
                </a:cxn>
                <a:cxn ang="0">
                  <a:pos x="connsiteX11029" y="connsiteY11029"/>
                </a:cxn>
                <a:cxn ang="0">
                  <a:pos x="connsiteX11030" y="connsiteY11030"/>
                </a:cxn>
                <a:cxn ang="0">
                  <a:pos x="connsiteX11031" y="connsiteY11031"/>
                </a:cxn>
                <a:cxn ang="0">
                  <a:pos x="connsiteX11032" y="connsiteY11032"/>
                </a:cxn>
                <a:cxn ang="0">
                  <a:pos x="connsiteX11033" y="connsiteY11033"/>
                </a:cxn>
                <a:cxn ang="0">
                  <a:pos x="connsiteX11034" y="connsiteY11034"/>
                </a:cxn>
                <a:cxn ang="0">
                  <a:pos x="connsiteX11035" y="connsiteY11035"/>
                </a:cxn>
                <a:cxn ang="0">
                  <a:pos x="connsiteX11036" y="connsiteY11036"/>
                </a:cxn>
                <a:cxn ang="0">
                  <a:pos x="connsiteX11037" y="connsiteY11037"/>
                </a:cxn>
                <a:cxn ang="0">
                  <a:pos x="connsiteX11038" y="connsiteY11038"/>
                </a:cxn>
                <a:cxn ang="0">
                  <a:pos x="connsiteX11039" y="connsiteY11039"/>
                </a:cxn>
                <a:cxn ang="0">
                  <a:pos x="connsiteX11040" y="connsiteY11040"/>
                </a:cxn>
                <a:cxn ang="0">
                  <a:pos x="connsiteX11041" y="connsiteY11041"/>
                </a:cxn>
                <a:cxn ang="0">
                  <a:pos x="connsiteX11042" y="connsiteY11042"/>
                </a:cxn>
                <a:cxn ang="0">
                  <a:pos x="connsiteX11043" y="connsiteY11043"/>
                </a:cxn>
                <a:cxn ang="0">
                  <a:pos x="connsiteX11044" y="connsiteY11044"/>
                </a:cxn>
                <a:cxn ang="0">
                  <a:pos x="connsiteX11045" y="connsiteY11045"/>
                </a:cxn>
                <a:cxn ang="0">
                  <a:pos x="connsiteX11046" y="connsiteY11046"/>
                </a:cxn>
                <a:cxn ang="0">
                  <a:pos x="connsiteX11047" y="connsiteY11047"/>
                </a:cxn>
                <a:cxn ang="0">
                  <a:pos x="connsiteX11048" y="connsiteY11048"/>
                </a:cxn>
                <a:cxn ang="0">
                  <a:pos x="connsiteX11049" y="connsiteY11049"/>
                </a:cxn>
                <a:cxn ang="0">
                  <a:pos x="connsiteX11050" y="connsiteY11050"/>
                </a:cxn>
                <a:cxn ang="0">
                  <a:pos x="connsiteX11051" y="connsiteY11051"/>
                </a:cxn>
                <a:cxn ang="0">
                  <a:pos x="connsiteX11052" y="connsiteY11052"/>
                </a:cxn>
                <a:cxn ang="0">
                  <a:pos x="connsiteX11053" y="connsiteY11053"/>
                </a:cxn>
                <a:cxn ang="0">
                  <a:pos x="connsiteX11054" y="connsiteY11054"/>
                </a:cxn>
                <a:cxn ang="0">
                  <a:pos x="connsiteX11055" y="connsiteY11055"/>
                </a:cxn>
                <a:cxn ang="0">
                  <a:pos x="connsiteX11056" y="connsiteY11056"/>
                </a:cxn>
                <a:cxn ang="0">
                  <a:pos x="connsiteX11057" y="connsiteY11057"/>
                </a:cxn>
                <a:cxn ang="0">
                  <a:pos x="connsiteX11058" y="connsiteY11058"/>
                </a:cxn>
                <a:cxn ang="0">
                  <a:pos x="connsiteX11059" y="connsiteY11059"/>
                </a:cxn>
                <a:cxn ang="0">
                  <a:pos x="connsiteX11060" y="connsiteY11060"/>
                </a:cxn>
                <a:cxn ang="0">
                  <a:pos x="connsiteX11061" y="connsiteY11061"/>
                </a:cxn>
                <a:cxn ang="0">
                  <a:pos x="connsiteX11062" y="connsiteY11062"/>
                </a:cxn>
                <a:cxn ang="0">
                  <a:pos x="connsiteX11063" y="connsiteY11063"/>
                </a:cxn>
                <a:cxn ang="0">
                  <a:pos x="connsiteX11064" y="connsiteY11064"/>
                </a:cxn>
                <a:cxn ang="0">
                  <a:pos x="connsiteX11065" y="connsiteY11065"/>
                </a:cxn>
                <a:cxn ang="0">
                  <a:pos x="connsiteX11066" y="connsiteY11066"/>
                </a:cxn>
                <a:cxn ang="0">
                  <a:pos x="connsiteX11067" y="connsiteY11067"/>
                </a:cxn>
                <a:cxn ang="0">
                  <a:pos x="connsiteX11068" y="connsiteY11068"/>
                </a:cxn>
                <a:cxn ang="0">
                  <a:pos x="connsiteX11069" y="connsiteY11069"/>
                </a:cxn>
                <a:cxn ang="0">
                  <a:pos x="connsiteX11070" y="connsiteY11070"/>
                </a:cxn>
                <a:cxn ang="0">
                  <a:pos x="connsiteX11071" y="connsiteY11071"/>
                </a:cxn>
                <a:cxn ang="0">
                  <a:pos x="connsiteX11072" y="connsiteY11072"/>
                </a:cxn>
                <a:cxn ang="0">
                  <a:pos x="connsiteX11073" y="connsiteY11073"/>
                </a:cxn>
                <a:cxn ang="0">
                  <a:pos x="connsiteX11074" y="connsiteY11074"/>
                </a:cxn>
                <a:cxn ang="0">
                  <a:pos x="connsiteX11075" y="connsiteY11075"/>
                </a:cxn>
                <a:cxn ang="0">
                  <a:pos x="connsiteX11076" y="connsiteY11076"/>
                </a:cxn>
                <a:cxn ang="0">
                  <a:pos x="connsiteX11077" y="connsiteY11077"/>
                </a:cxn>
                <a:cxn ang="0">
                  <a:pos x="connsiteX11078" y="connsiteY11078"/>
                </a:cxn>
                <a:cxn ang="0">
                  <a:pos x="connsiteX11079" y="connsiteY11079"/>
                </a:cxn>
                <a:cxn ang="0">
                  <a:pos x="connsiteX11080" y="connsiteY11080"/>
                </a:cxn>
                <a:cxn ang="0">
                  <a:pos x="connsiteX11081" y="connsiteY11081"/>
                </a:cxn>
                <a:cxn ang="0">
                  <a:pos x="connsiteX11082" y="connsiteY11082"/>
                </a:cxn>
                <a:cxn ang="0">
                  <a:pos x="connsiteX11083" y="connsiteY11083"/>
                </a:cxn>
                <a:cxn ang="0">
                  <a:pos x="connsiteX11084" y="connsiteY11084"/>
                </a:cxn>
                <a:cxn ang="0">
                  <a:pos x="connsiteX11085" y="connsiteY11085"/>
                </a:cxn>
                <a:cxn ang="0">
                  <a:pos x="connsiteX11086" y="connsiteY11086"/>
                </a:cxn>
                <a:cxn ang="0">
                  <a:pos x="connsiteX11087" y="connsiteY11087"/>
                </a:cxn>
                <a:cxn ang="0">
                  <a:pos x="connsiteX11088" y="connsiteY11088"/>
                </a:cxn>
                <a:cxn ang="0">
                  <a:pos x="connsiteX11089" y="connsiteY11089"/>
                </a:cxn>
                <a:cxn ang="0">
                  <a:pos x="connsiteX11090" y="connsiteY11090"/>
                </a:cxn>
                <a:cxn ang="0">
                  <a:pos x="connsiteX11091" y="connsiteY11091"/>
                </a:cxn>
                <a:cxn ang="0">
                  <a:pos x="connsiteX11092" y="connsiteY11092"/>
                </a:cxn>
                <a:cxn ang="0">
                  <a:pos x="connsiteX11093" y="connsiteY11093"/>
                </a:cxn>
                <a:cxn ang="0">
                  <a:pos x="connsiteX11094" y="connsiteY11094"/>
                </a:cxn>
                <a:cxn ang="0">
                  <a:pos x="connsiteX11095" y="connsiteY11095"/>
                </a:cxn>
                <a:cxn ang="0">
                  <a:pos x="connsiteX11096" y="connsiteY11096"/>
                </a:cxn>
                <a:cxn ang="0">
                  <a:pos x="connsiteX11097" y="connsiteY11097"/>
                </a:cxn>
                <a:cxn ang="0">
                  <a:pos x="connsiteX11098" y="connsiteY11098"/>
                </a:cxn>
                <a:cxn ang="0">
                  <a:pos x="connsiteX11099" y="connsiteY11099"/>
                </a:cxn>
                <a:cxn ang="0">
                  <a:pos x="connsiteX11100" y="connsiteY11100"/>
                </a:cxn>
                <a:cxn ang="0">
                  <a:pos x="connsiteX11101" y="connsiteY11101"/>
                </a:cxn>
                <a:cxn ang="0">
                  <a:pos x="connsiteX11102" y="connsiteY11102"/>
                </a:cxn>
                <a:cxn ang="0">
                  <a:pos x="connsiteX11103" y="connsiteY11103"/>
                </a:cxn>
                <a:cxn ang="0">
                  <a:pos x="connsiteX11104" y="connsiteY11104"/>
                </a:cxn>
                <a:cxn ang="0">
                  <a:pos x="connsiteX11105" y="connsiteY11105"/>
                </a:cxn>
                <a:cxn ang="0">
                  <a:pos x="connsiteX11106" y="connsiteY11106"/>
                </a:cxn>
                <a:cxn ang="0">
                  <a:pos x="connsiteX11107" y="connsiteY11107"/>
                </a:cxn>
                <a:cxn ang="0">
                  <a:pos x="connsiteX11108" y="connsiteY11108"/>
                </a:cxn>
                <a:cxn ang="0">
                  <a:pos x="connsiteX11109" y="connsiteY11109"/>
                </a:cxn>
                <a:cxn ang="0">
                  <a:pos x="connsiteX11110" y="connsiteY11110"/>
                </a:cxn>
                <a:cxn ang="0">
                  <a:pos x="connsiteX11111" y="connsiteY11111"/>
                </a:cxn>
                <a:cxn ang="0">
                  <a:pos x="connsiteX11112" y="connsiteY11112"/>
                </a:cxn>
                <a:cxn ang="0">
                  <a:pos x="connsiteX11113" y="connsiteY11113"/>
                </a:cxn>
                <a:cxn ang="0">
                  <a:pos x="connsiteX11114" y="connsiteY11114"/>
                </a:cxn>
                <a:cxn ang="0">
                  <a:pos x="connsiteX11115" y="connsiteY11115"/>
                </a:cxn>
                <a:cxn ang="0">
                  <a:pos x="connsiteX11116" y="connsiteY11116"/>
                </a:cxn>
                <a:cxn ang="0">
                  <a:pos x="connsiteX11117" y="connsiteY11117"/>
                </a:cxn>
                <a:cxn ang="0">
                  <a:pos x="connsiteX11118" y="connsiteY11118"/>
                </a:cxn>
                <a:cxn ang="0">
                  <a:pos x="connsiteX11119" y="connsiteY11119"/>
                </a:cxn>
                <a:cxn ang="0">
                  <a:pos x="connsiteX11120" y="connsiteY11120"/>
                </a:cxn>
                <a:cxn ang="0">
                  <a:pos x="connsiteX11121" y="connsiteY11121"/>
                </a:cxn>
                <a:cxn ang="0">
                  <a:pos x="connsiteX11122" y="connsiteY11122"/>
                </a:cxn>
                <a:cxn ang="0">
                  <a:pos x="connsiteX11123" y="connsiteY11123"/>
                </a:cxn>
                <a:cxn ang="0">
                  <a:pos x="connsiteX11124" y="connsiteY11124"/>
                </a:cxn>
                <a:cxn ang="0">
                  <a:pos x="connsiteX11125" y="connsiteY11125"/>
                </a:cxn>
                <a:cxn ang="0">
                  <a:pos x="connsiteX11126" y="connsiteY11126"/>
                </a:cxn>
                <a:cxn ang="0">
                  <a:pos x="connsiteX11127" y="connsiteY11127"/>
                </a:cxn>
                <a:cxn ang="0">
                  <a:pos x="connsiteX11128" y="connsiteY11128"/>
                </a:cxn>
                <a:cxn ang="0">
                  <a:pos x="connsiteX11129" y="connsiteY11129"/>
                </a:cxn>
                <a:cxn ang="0">
                  <a:pos x="connsiteX11130" y="connsiteY11130"/>
                </a:cxn>
                <a:cxn ang="0">
                  <a:pos x="connsiteX11131" y="connsiteY11131"/>
                </a:cxn>
                <a:cxn ang="0">
                  <a:pos x="connsiteX11132" y="connsiteY11132"/>
                </a:cxn>
                <a:cxn ang="0">
                  <a:pos x="connsiteX11133" y="connsiteY11133"/>
                </a:cxn>
                <a:cxn ang="0">
                  <a:pos x="connsiteX11134" y="connsiteY11134"/>
                </a:cxn>
                <a:cxn ang="0">
                  <a:pos x="connsiteX11135" y="connsiteY11135"/>
                </a:cxn>
                <a:cxn ang="0">
                  <a:pos x="connsiteX11136" y="connsiteY11136"/>
                </a:cxn>
                <a:cxn ang="0">
                  <a:pos x="connsiteX11137" y="connsiteY11137"/>
                </a:cxn>
                <a:cxn ang="0">
                  <a:pos x="connsiteX11138" y="connsiteY11138"/>
                </a:cxn>
                <a:cxn ang="0">
                  <a:pos x="connsiteX11139" y="connsiteY11139"/>
                </a:cxn>
                <a:cxn ang="0">
                  <a:pos x="connsiteX11140" y="connsiteY11140"/>
                </a:cxn>
                <a:cxn ang="0">
                  <a:pos x="connsiteX11141" y="connsiteY11141"/>
                </a:cxn>
                <a:cxn ang="0">
                  <a:pos x="connsiteX11142" y="connsiteY11142"/>
                </a:cxn>
                <a:cxn ang="0">
                  <a:pos x="connsiteX11143" y="connsiteY11143"/>
                </a:cxn>
                <a:cxn ang="0">
                  <a:pos x="connsiteX11144" y="connsiteY11144"/>
                </a:cxn>
                <a:cxn ang="0">
                  <a:pos x="connsiteX11145" y="connsiteY11145"/>
                </a:cxn>
                <a:cxn ang="0">
                  <a:pos x="connsiteX11146" y="connsiteY11146"/>
                </a:cxn>
                <a:cxn ang="0">
                  <a:pos x="connsiteX11147" y="connsiteY11147"/>
                </a:cxn>
                <a:cxn ang="0">
                  <a:pos x="connsiteX11148" y="connsiteY11148"/>
                </a:cxn>
                <a:cxn ang="0">
                  <a:pos x="connsiteX11149" y="connsiteY11149"/>
                </a:cxn>
                <a:cxn ang="0">
                  <a:pos x="connsiteX11150" y="connsiteY11150"/>
                </a:cxn>
                <a:cxn ang="0">
                  <a:pos x="connsiteX11151" y="connsiteY11151"/>
                </a:cxn>
                <a:cxn ang="0">
                  <a:pos x="connsiteX11152" y="connsiteY11152"/>
                </a:cxn>
                <a:cxn ang="0">
                  <a:pos x="connsiteX11153" y="connsiteY11153"/>
                </a:cxn>
                <a:cxn ang="0">
                  <a:pos x="connsiteX11154" y="connsiteY11154"/>
                </a:cxn>
                <a:cxn ang="0">
                  <a:pos x="connsiteX11155" y="connsiteY11155"/>
                </a:cxn>
                <a:cxn ang="0">
                  <a:pos x="connsiteX11156" y="connsiteY11156"/>
                </a:cxn>
                <a:cxn ang="0">
                  <a:pos x="connsiteX11157" y="connsiteY11157"/>
                </a:cxn>
                <a:cxn ang="0">
                  <a:pos x="connsiteX11158" y="connsiteY11158"/>
                </a:cxn>
                <a:cxn ang="0">
                  <a:pos x="connsiteX11159" y="connsiteY11159"/>
                </a:cxn>
                <a:cxn ang="0">
                  <a:pos x="connsiteX11160" y="connsiteY11160"/>
                </a:cxn>
                <a:cxn ang="0">
                  <a:pos x="connsiteX11161" y="connsiteY11161"/>
                </a:cxn>
                <a:cxn ang="0">
                  <a:pos x="connsiteX11162" y="connsiteY11162"/>
                </a:cxn>
                <a:cxn ang="0">
                  <a:pos x="connsiteX11163" y="connsiteY11163"/>
                </a:cxn>
                <a:cxn ang="0">
                  <a:pos x="connsiteX11164" y="connsiteY11164"/>
                </a:cxn>
                <a:cxn ang="0">
                  <a:pos x="connsiteX11165" y="connsiteY11165"/>
                </a:cxn>
                <a:cxn ang="0">
                  <a:pos x="connsiteX11166" y="connsiteY11166"/>
                </a:cxn>
                <a:cxn ang="0">
                  <a:pos x="connsiteX11167" y="connsiteY11167"/>
                </a:cxn>
                <a:cxn ang="0">
                  <a:pos x="connsiteX11168" y="connsiteY11168"/>
                </a:cxn>
                <a:cxn ang="0">
                  <a:pos x="connsiteX11169" y="connsiteY11169"/>
                </a:cxn>
                <a:cxn ang="0">
                  <a:pos x="connsiteX11170" y="connsiteY11170"/>
                </a:cxn>
                <a:cxn ang="0">
                  <a:pos x="connsiteX11171" y="connsiteY11171"/>
                </a:cxn>
                <a:cxn ang="0">
                  <a:pos x="connsiteX11172" y="connsiteY11172"/>
                </a:cxn>
                <a:cxn ang="0">
                  <a:pos x="connsiteX11173" y="connsiteY11173"/>
                </a:cxn>
                <a:cxn ang="0">
                  <a:pos x="connsiteX11174" y="connsiteY11174"/>
                </a:cxn>
                <a:cxn ang="0">
                  <a:pos x="connsiteX11175" y="connsiteY11175"/>
                </a:cxn>
                <a:cxn ang="0">
                  <a:pos x="connsiteX11176" y="connsiteY11176"/>
                </a:cxn>
                <a:cxn ang="0">
                  <a:pos x="connsiteX11177" y="connsiteY11177"/>
                </a:cxn>
                <a:cxn ang="0">
                  <a:pos x="connsiteX11178" y="connsiteY11178"/>
                </a:cxn>
                <a:cxn ang="0">
                  <a:pos x="connsiteX11179" y="connsiteY11179"/>
                </a:cxn>
                <a:cxn ang="0">
                  <a:pos x="connsiteX11180" y="connsiteY11180"/>
                </a:cxn>
                <a:cxn ang="0">
                  <a:pos x="connsiteX11181" y="connsiteY11181"/>
                </a:cxn>
                <a:cxn ang="0">
                  <a:pos x="connsiteX11182" y="connsiteY11182"/>
                </a:cxn>
                <a:cxn ang="0">
                  <a:pos x="connsiteX11183" y="connsiteY11183"/>
                </a:cxn>
                <a:cxn ang="0">
                  <a:pos x="connsiteX11184" y="connsiteY11184"/>
                </a:cxn>
                <a:cxn ang="0">
                  <a:pos x="connsiteX11185" y="connsiteY11185"/>
                </a:cxn>
                <a:cxn ang="0">
                  <a:pos x="connsiteX11186" y="connsiteY11186"/>
                </a:cxn>
                <a:cxn ang="0">
                  <a:pos x="connsiteX11187" y="connsiteY11187"/>
                </a:cxn>
                <a:cxn ang="0">
                  <a:pos x="connsiteX11188" y="connsiteY11188"/>
                </a:cxn>
                <a:cxn ang="0">
                  <a:pos x="connsiteX11189" y="connsiteY11189"/>
                </a:cxn>
                <a:cxn ang="0">
                  <a:pos x="connsiteX11190" y="connsiteY11190"/>
                </a:cxn>
                <a:cxn ang="0">
                  <a:pos x="connsiteX11191" y="connsiteY11191"/>
                </a:cxn>
                <a:cxn ang="0">
                  <a:pos x="connsiteX11192" y="connsiteY11192"/>
                </a:cxn>
                <a:cxn ang="0">
                  <a:pos x="connsiteX11193" y="connsiteY11193"/>
                </a:cxn>
                <a:cxn ang="0">
                  <a:pos x="connsiteX11194" y="connsiteY11194"/>
                </a:cxn>
                <a:cxn ang="0">
                  <a:pos x="connsiteX11195" y="connsiteY11195"/>
                </a:cxn>
                <a:cxn ang="0">
                  <a:pos x="connsiteX11196" y="connsiteY11196"/>
                </a:cxn>
                <a:cxn ang="0">
                  <a:pos x="connsiteX11197" y="connsiteY11197"/>
                </a:cxn>
                <a:cxn ang="0">
                  <a:pos x="connsiteX11198" y="connsiteY11198"/>
                </a:cxn>
                <a:cxn ang="0">
                  <a:pos x="connsiteX11199" y="connsiteY11199"/>
                </a:cxn>
                <a:cxn ang="0">
                  <a:pos x="connsiteX11200" y="connsiteY11200"/>
                </a:cxn>
                <a:cxn ang="0">
                  <a:pos x="connsiteX11201" y="connsiteY11201"/>
                </a:cxn>
                <a:cxn ang="0">
                  <a:pos x="connsiteX11202" y="connsiteY11202"/>
                </a:cxn>
                <a:cxn ang="0">
                  <a:pos x="connsiteX11203" y="connsiteY11203"/>
                </a:cxn>
                <a:cxn ang="0">
                  <a:pos x="connsiteX11204" y="connsiteY11204"/>
                </a:cxn>
                <a:cxn ang="0">
                  <a:pos x="connsiteX11205" y="connsiteY11205"/>
                </a:cxn>
                <a:cxn ang="0">
                  <a:pos x="connsiteX11206" y="connsiteY11206"/>
                </a:cxn>
                <a:cxn ang="0">
                  <a:pos x="connsiteX11207" y="connsiteY11207"/>
                </a:cxn>
                <a:cxn ang="0">
                  <a:pos x="connsiteX11208" y="connsiteY11208"/>
                </a:cxn>
                <a:cxn ang="0">
                  <a:pos x="connsiteX11209" y="connsiteY11209"/>
                </a:cxn>
                <a:cxn ang="0">
                  <a:pos x="connsiteX11210" y="connsiteY11210"/>
                </a:cxn>
                <a:cxn ang="0">
                  <a:pos x="connsiteX11211" y="connsiteY11211"/>
                </a:cxn>
                <a:cxn ang="0">
                  <a:pos x="connsiteX11212" y="connsiteY11212"/>
                </a:cxn>
                <a:cxn ang="0">
                  <a:pos x="connsiteX11213" y="connsiteY11213"/>
                </a:cxn>
                <a:cxn ang="0">
                  <a:pos x="connsiteX11214" y="connsiteY11214"/>
                </a:cxn>
                <a:cxn ang="0">
                  <a:pos x="connsiteX11215" y="connsiteY11215"/>
                </a:cxn>
                <a:cxn ang="0">
                  <a:pos x="connsiteX11216" y="connsiteY11216"/>
                </a:cxn>
                <a:cxn ang="0">
                  <a:pos x="connsiteX11217" y="connsiteY11217"/>
                </a:cxn>
                <a:cxn ang="0">
                  <a:pos x="connsiteX11218" y="connsiteY11218"/>
                </a:cxn>
                <a:cxn ang="0">
                  <a:pos x="connsiteX11219" y="connsiteY11219"/>
                </a:cxn>
                <a:cxn ang="0">
                  <a:pos x="connsiteX11220" y="connsiteY11220"/>
                </a:cxn>
                <a:cxn ang="0">
                  <a:pos x="connsiteX11221" y="connsiteY11221"/>
                </a:cxn>
                <a:cxn ang="0">
                  <a:pos x="connsiteX11222" y="connsiteY11222"/>
                </a:cxn>
                <a:cxn ang="0">
                  <a:pos x="connsiteX11223" y="connsiteY11223"/>
                </a:cxn>
                <a:cxn ang="0">
                  <a:pos x="connsiteX11224" y="connsiteY11224"/>
                </a:cxn>
                <a:cxn ang="0">
                  <a:pos x="connsiteX11225" y="connsiteY11225"/>
                </a:cxn>
                <a:cxn ang="0">
                  <a:pos x="connsiteX11226" y="connsiteY11226"/>
                </a:cxn>
                <a:cxn ang="0">
                  <a:pos x="connsiteX11227" y="connsiteY11227"/>
                </a:cxn>
                <a:cxn ang="0">
                  <a:pos x="connsiteX11228" y="connsiteY11228"/>
                </a:cxn>
                <a:cxn ang="0">
                  <a:pos x="connsiteX11229" y="connsiteY11229"/>
                </a:cxn>
                <a:cxn ang="0">
                  <a:pos x="connsiteX11230" y="connsiteY11230"/>
                </a:cxn>
                <a:cxn ang="0">
                  <a:pos x="connsiteX11231" y="connsiteY11231"/>
                </a:cxn>
                <a:cxn ang="0">
                  <a:pos x="connsiteX11232" y="connsiteY11232"/>
                </a:cxn>
                <a:cxn ang="0">
                  <a:pos x="connsiteX11233" y="connsiteY11233"/>
                </a:cxn>
                <a:cxn ang="0">
                  <a:pos x="connsiteX11234" y="connsiteY11234"/>
                </a:cxn>
                <a:cxn ang="0">
                  <a:pos x="connsiteX11235" y="connsiteY11235"/>
                </a:cxn>
                <a:cxn ang="0">
                  <a:pos x="connsiteX11236" y="connsiteY11236"/>
                </a:cxn>
                <a:cxn ang="0">
                  <a:pos x="connsiteX11237" y="connsiteY11237"/>
                </a:cxn>
                <a:cxn ang="0">
                  <a:pos x="connsiteX11238" y="connsiteY11238"/>
                </a:cxn>
                <a:cxn ang="0">
                  <a:pos x="connsiteX11239" y="connsiteY11239"/>
                </a:cxn>
                <a:cxn ang="0">
                  <a:pos x="connsiteX11240" y="connsiteY11240"/>
                </a:cxn>
                <a:cxn ang="0">
                  <a:pos x="connsiteX11241" y="connsiteY11241"/>
                </a:cxn>
                <a:cxn ang="0">
                  <a:pos x="connsiteX11242" y="connsiteY11242"/>
                </a:cxn>
                <a:cxn ang="0">
                  <a:pos x="connsiteX11243" y="connsiteY11243"/>
                </a:cxn>
                <a:cxn ang="0">
                  <a:pos x="connsiteX11244" y="connsiteY11244"/>
                </a:cxn>
                <a:cxn ang="0">
                  <a:pos x="connsiteX11245" y="connsiteY11245"/>
                </a:cxn>
                <a:cxn ang="0">
                  <a:pos x="connsiteX11246" y="connsiteY11246"/>
                </a:cxn>
                <a:cxn ang="0">
                  <a:pos x="connsiteX11247" y="connsiteY11247"/>
                </a:cxn>
                <a:cxn ang="0">
                  <a:pos x="connsiteX11248" y="connsiteY11248"/>
                </a:cxn>
                <a:cxn ang="0">
                  <a:pos x="connsiteX11249" y="connsiteY11249"/>
                </a:cxn>
                <a:cxn ang="0">
                  <a:pos x="connsiteX11250" y="connsiteY11250"/>
                </a:cxn>
                <a:cxn ang="0">
                  <a:pos x="connsiteX11251" y="connsiteY11251"/>
                </a:cxn>
                <a:cxn ang="0">
                  <a:pos x="connsiteX11252" y="connsiteY11252"/>
                </a:cxn>
                <a:cxn ang="0">
                  <a:pos x="connsiteX11253" y="connsiteY11253"/>
                </a:cxn>
                <a:cxn ang="0">
                  <a:pos x="connsiteX11254" y="connsiteY11254"/>
                </a:cxn>
                <a:cxn ang="0">
                  <a:pos x="connsiteX11255" y="connsiteY11255"/>
                </a:cxn>
                <a:cxn ang="0">
                  <a:pos x="connsiteX11256" y="connsiteY11256"/>
                </a:cxn>
                <a:cxn ang="0">
                  <a:pos x="connsiteX11257" y="connsiteY11257"/>
                </a:cxn>
                <a:cxn ang="0">
                  <a:pos x="connsiteX11258" y="connsiteY11258"/>
                </a:cxn>
                <a:cxn ang="0">
                  <a:pos x="connsiteX11259" y="connsiteY11259"/>
                </a:cxn>
                <a:cxn ang="0">
                  <a:pos x="connsiteX11260" y="connsiteY11260"/>
                </a:cxn>
                <a:cxn ang="0">
                  <a:pos x="connsiteX11261" y="connsiteY11261"/>
                </a:cxn>
                <a:cxn ang="0">
                  <a:pos x="connsiteX11262" y="connsiteY11262"/>
                </a:cxn>
                <a:cxn ang="0">
                  <a:pos x="connsiteX11263" y="connsiteY11263"/>
                </a:cxn>
                <a:cxn ang="0">
                  <a:pos x="connsiteX11264" y="connsiteY11264"/>
                </a:cxn>
                <a:cxn ang="0">
                  <a:pos x="connsiteX11265" y="connsiteY11265"/>
                </a:cxn>
                <a:cxn ang="0">
                  <a:pos x="connsiteX11266" y="connsiteY11266"/>
                </a:cxn>
                <a:cxn ang="0">
                  <a:pos x="connsiteX11267" y="connsiteY11267"/>
                </a:cxn>
                <a:cxn ang="0">
                  <a:pos x="connsiteX11268" y="connsiteY11268"/>
                </a:cxn>
                <a:cxn ang="0">
                  <a:pos x="connsiteX11269" y="connsiteY11269"/>
                </a:cxn>
                <a:cxn ang="0">
                  <a:pos x="connsiteX11270" y="connsiteY11270"/>
                </a:cxn>
                <a:cxn ang="0">
                  <a:pos x="connsiteX11271" y="connsiteY11271"/>
                </a:cxn>
                <a:cxn ang="0">
                  <a:pos x="connsiteX11272" y="connsiteY11272"/>
                </a:cxn>
                <a:cxn ang="0">
                  <a:pos x="connsiteX11273" y="connsiteY11273"/>
                </a:cxn>
                <a:cxn ang="0">
                  <a:pos x="connsiteX11274" y="connsiteY11274"/>
                </a:cxn>
                <a:cxn ang="0">
                  <a:pos x="connsiteX11275" y="connsiteY11275"/>
                </a:cxn>
                <a:cxn ang="0">
                  <a:pos x="connsiteX11276" y="connsiteY11276"/>
                </a:cxn>
                <a:cxn ang="0">
                  <a:pos x="connsiteX11277" y="connsiteY11277"/>
                </a:cxn>
                <a:cxn ang="0">
                  <a:pos x="connsiteX11278" y="connsiteY11278"/>
                </a:cxn>
                <a:cxn ang="0">
                  <a:pos x="connsiteX11279" y="connsiteY11279"/>
                </a:cxn>
                <a:cxn ang="0">
                  <a:pos x="connsiteX11280" y="connsiteY11280"/>
                </a:cxn>
                <a:cxn ang="0">
                  <a:pos x="connsiteX11281" y="connsiteY11281"/>
                </a:cxn>
                <a:cxn ang="0">
                  <a:pos x="connsiteX11282" y="connsiteY11282"/>
                </a:cxn>
                <a:cxn ang="0">
                  <a:pos x="connsiteX11283" y="connsiteY11283"/>
                </a:cxn>
                <a:cxn ang="0">
                  <a:pos x="connsiteX11284" y="connsiteY11284"/>
                </a:cxn>
                <a:cxn ang="0">
                  <a:pos x="connsiteX11285" y="connsiteY11285"/>
                </a:cxn>
                <a:cxn ang="0">
                  <a:pos x="connsiteX11286" y="connsiteY11286"/>
                </a:cxn>
                <a:cxn ang="0">
                  <a:pos x="connsiteX11287" y="connsiteY11287"/>
                </a:cxn>
                <a:cxn ang="0">
                  <a:pos x="connsiteX11288" y="connsiteY11288"/>
                </a:cxn>
                <a:cxn ang="0">
                  <a:pos x="connsiteX11289" y="connsiteY11289"/>
                </a:cxn>
                <a:cxn ang="0">
                  <a:pos x="connsiteX11290" y="connsiteY11290"/>
                </a:cxn>
                <a:cxn ang="0">
                  <a:pos x="connsiteX11291" y="connsiteY11291"/>
                </a:cxn>
                <a:cxn ang="0">
                  <a:pos x="connsiteX11292" y="connsiteY11292"/>
                </a:cxn>
                <a:cxn ang="0">
                  <a:pos x="connsiteX11293" y="connsiteY11293"/>
                </a:cxn>
                <a:cxn ang="0">
                  <a:pos x="connsiteX11294" y="connsiteY11294"/>
                </a:cxn>
                <a:cxn ang="0">
                  <a:pos x="connsiteX11295" y="connsiteY11295"/>
                </a:cxn>
                <a:cxn ang="0">
                  <a:pos x="connsiteX11296" y="connsiteY11296"/>
                </a:cxn>
                <a:cxn ang="0">
                  <a:pos x="connsiteX11297" y="connsiteY11297"/>
                </a:cxn>
                <a:cxn ang="0">
                  <a:pos x="connsiteX11298" y="connsiteY11298"/>
                </a:cxn>
                <a:cxn ang="0">
                  <a:pos x="connsiteX11299" y="connsiteY11299"/>
                </a:cxn>
                <a:cxn ang="0">
                  <a:pos x="connsiteX11300" y="connsiteY11300"/>
                </a:cxn>
                <a:cxn ang="0">
                  <a:pos x="connsiteX11301" y="connsiteY11301"/>
                </a:cxn>
                <a:cxn ang="0">
                  <a:pos x="connsiteX11302" y="connsiteY11302"/>
                </a:cxn>
                <a:cxn ang="0">
                  <a:pos x="connsiteX11303" y="connsiteY11303"/>
                </a:cxn>
                <a:cxn ang="0">
                  <a:pos x="connsiteX11304" y="connsiteY11304"/>
                </a:cxn>
                <a:cxn ang="0">
                  <a:pos x="connsiteX11305" y="connsiteY11305"/>
                </a:cxn>
                <a:cxn ang="0">
                  <a:pos x="connsiteX11306" y="connsiteY11306"/>
                </a:cxn>
                <a:cxn ang="0">
                  <a:pos x="connsiteX11307" y="connsiteY11307"/>
                </a:cxn>
                <a:cxn ang="0">
                  <a:pos x="connsiteX11308" y="connsiteY11308"/>
                </a:cxn>
                <a:cxn ang="0">
                  <a:pos x="connsiteX11309" y="connsiteY11309"/>
                </a:cxn>
                <a:cxn ang="0">
                  <a:pos x="connsiteX11310" y="connsiteY11310"/>
                </a:cxn>
                <a:cxn ang="0">
                  <a:pos x="connsiteX11311" y="connsiteY11311"/>
                </a:cxn>
                <a:cxn ang="0">
                  <a:pos x="connsiteX11312" y="connsiteY11312"/>
                </a:cxn>
                <a:cxn ang="0">
                  <a:pos x="connsiteX11313" y="connsiteY11313"/>
                </a:cxn>
                <a:cxn ang="0">
                  <a:pos x="connsiteX11314" y="connsiteY11314"/>
                </a:cxn>
                <a:cxn ang="0">
                  <a:pos x="connsiteX11315" y="connsiteY11315"/>
                </a:cxn>
                <a:cxn ang="0">
                  <a:pos x="connsiteX11316" y="connsiteY11316"/>
                </a:cxn>
                <a:cxn ang="0">
                  <a:pos x="connsiteX11317" y="connsiteY11317"/>
                </a:cxn>
                <a:cxn ang="0">
                  <a:pos x="connsiteX11318" y="connsiteY11318"/>
                </a:cxn>
                <a:cxn ang="0">
                  <a:pos x="connsiteX11319" y="connsiteY11319"/>
                </a:cxn>
                <a:cxn ang="0">
                  <a:pos x="connsiteX11320" y="connsiteY11320"/>
                </a:cxn>
                <a:cxn ang="0">
                  <a:pos x="connsiteX11321" y="connsiteY11321"/>
                </a:cxn>
                <a:cxn ang="0">
                  <a:pos x="connsiteX11322" y="connsiteY11322"/>
                </a:cxn>
                <a:cxn ang="0">
                  <a:pos x="connsiteX11323" y="connsiteY11323"/>
                </a:cxn>
                <a:cxn ang="0">
                  <a:pos x="connsiteX11324" y="connsiteY11324"/>
                </a:cxn>
                <a:cxn ang="0">
                  <a:pos x="connsiteX11325" y="connsiteY11325"/>
                </a:cxn>
                <a:cxn ang="0">
                  <a:pos x="connsiteX11326" y="connsiteY11326"/>
                </a:cxn>
                <a:cxn ang="0">
                  <a:pos x="connsiteX11327" y="connsiteY11327"/>
                </a:cxn>
                <a:cxn ang="0">
                  <a:pos x="connsiteX11328" y="connsiteY11328"/>
                </a:cxn>
                <a:cxn ang="0">
                  <a:pos x="connsiteX11329" y="connsiteY11329"/>
                </a:cxn>
                <a:cxn ang="0">
                  <a:pos x="connsiteX11330" y="connsiteY11330"/>
                </a:cxn>
                <a:cxn ang="0">
                  <a:pos x="connsiteX11331" y="connsiteY11331"/>
                </a:cxn>
                <a:cxn ang="0">
                  <a:pos x="connsiteX11332" y="connsiteY11332"/>
                </a:cxn>
                <a:cxn ang="0">
                  <a:pos x="connsiteX11333" y="connsiteY11333"/>
                </a:cxn>
                <a:cxn ang="0">
                  <a:pos x="connsiteX11334" y="connsiteY11334"/>
                </a:cxn>
                <a:cxn ang="0">
                  <a:pos x="connsiteX11335" y="connsiteY11335"/>
                </a:cxn>
                <a:cxn ang="0">
                  <a:pos x="connsiteX11336" y="connsiteY11336"/>
                </a:cxn>
                <a:cxn ang="0">
                  <a:pos x="connsiteX11337" y="connsiteY11337"/>
                </a:cxn>
                <a:cxn ang="0">
                  <a:pos x="connsiteX11338" y="connsiteY11338"/>
                </a:cxn>
                <a:cxn ang="0">
                  <a:pos x="connsiteX11339" y="connsiteY11339"/>
                </a:cxn>
                <a:cxn ang="0">
                  <a:pos x="connsiteX11340" y="connsiteY11340"/>
                </a:cxn>
                <a:cxn ang="0">
                  <a:pos x="connsiteX11341" y="connsiteY11341"/>
                </a:cxn>
                <a:cxn ang="0">
                  <a:pos x="connsiteX11342" y="connsiteY11342"/>
                </a:cxn>
                <a:cxn ang="0">
                  <a:pos x="connsiteX11343" y="connsiteY11343"/>
                </a:cxn>
                <a:cxn ang="0">
                  <a:pos x="connsiteX11344" y="connsiteY11344"/>
                </a:cxn>
                <a:cxn ang="0">
                  <a:pos x="connsiteX11345" y="connsiteY11345"/>
                </a:cxn>
                <a:cxn ang="0">
                  <a:pos x="connsiteX11346" y="connsiteY11346"/>
                </a:cxn>
                <a:cxn ang="0">
                  <a:pos x="connsiteX11347" y="connsiteY11347"/>
                </a:cxn>
                <a:cxn ang="0">
                  <a:pos x="connsiteX11348" y="connsiteY11348"/>
                </a:cxn>
                <a:cxn ang="0">
                  <a:pos x="connsiteX11349" y="connsiteY11349"/>
                </a:cxn>
                <a:cxn ang="0">
                  <a:pos x="connsiteX11350" y="connsiteY11350"/>
                </a:cxn>
                <a:cxn ang="0">
                  <a:pos x="connsiteX11351" y="connsiteY11351"/>
                </a:cxn>
                <a:cxn ang="0">
                  <a:pos x="connsiteX11352" y="connsiteY11352"/>
                </a:cxn>
                <a:cxn ang="0">
                  <a:pos x="connsiteX11353" y="connsiteY11353"/>
                </a:cxn>
                <a:cxn ang="0">
                  <a:pos x="connsiteX11354" y="connsiteY11354"/>
                </a:cxn>
                <a:cxn ang="0">
                  <a:pos x="connsiteX11355" y="connsiteY11355"/>
                </a:cxn>
                <a:cxn ang="0">
                  <a:pos x="connsiteX11356" y="connsiteY11356"/>
                </a:cxn>
                <a:cxn ang="0">
                  <a:pos x="connsiteX11357" y="connsiteY11357"/>
                </a:cxn>
                <a:cxn ang="0">
                  <a:pos x="connsiteX11358" y="connsiteY11358"/>
                </a:cxn>
                <a:cxn ang="0">
                  <a:pos x="connsiteX11359" y="connsiteY11359"/>
                </a:cxn>
                <a:cxn ang="0">
                  <a:pos x="connsiteX11360" y="connsiteY11360"/>
                </a:cxn>
                <a:cxn ang="0">
                  <a:pos x="connsiteX11361" y="connsiteY11361"/>
                </a:cxn>
                <a:cxn ang="0">
                  <a:pos x="connsiteX11362" y="connsiteY11362"/>
                </a:cxn>
                <a:cxn ang="0">
                  <a:pos x="connsiteX11363" y="connsiteY11363"/>
                </a:cxn>
                <a:cxn ang="0">
                  <a:pos x="connsiteX11364" y="connsiteY11364"/>
                </a:cxn>
                <a:cxn ang="0">
                  <a:pos x="connsiteX11365" y="connsiteY11365"/>
                </a:cxn>
                <a:cxn ang="0">
                  <a:pos x="connsiteX11366" y="connsiteY11366"/>
                </a:cxn>
                <a:cxn ang="0">
                  <a:pos x="connsiteX11367" y="connsiteY11367"/>
                </a:cxn>
                <a:cxn ang="0">
                  <a:pos x="connsiteX11368" y="connsiteY11368"/>
                </a:cxn>
                <a:cxn ang="0">
                  <a:pos x="connsiteX11369" y="connsiteY11369"/>
                </a:cxn>
                <a:cxn ang="0">
                  <a:pos x="connsiteX11370" y="connsiteY11370"/>
                </a:cxn>
                <a:cxn ang="0">
                  <a:pos x="connsiteX11371" y="connsiteY11371"/>
                </a:cxn>
                <a:cxn ang="0">
                  <a:pos x="connsiteX11372" y="connsiteY11372"/>
                </a:cxn>
                <a:cxn ang="0">
                  <a:pos x="connsiteX11373" y="connsiteY11373"/>
                </a:cxn>
                <a:cxn ang="0">
                  <a:pos x="connsiteX11374" y="connsiteY11374"/>
                </a:cxn>
                <a:cxn ang="0">
                  <a:pos x="connsiteX11375" y="connsiteY11375"/>
                </a:cxn>
                <a:cxn ang="0">
                  <a:pos x="connsiteX11376" y="connsiteY11376"/>
                </a:cxn>
                <a:cxn ang="0">
                  <a:pos x="connsiteX11377" y="connsiteY11377"/>
                </a:cxn>
                <a:cxn ang="0">
                  <a:pos x="connsiteX11378" y="connsiteY11378"/>
                </a:cxn>
                <a:cxn ang="0">
                  <a:pos x="connsiteX11379" y="connsiteY11379"/>
                </a:cxn>
                <a:cxn ang="0">
                  <a:pos x="connsiteX11380" y="connsiteY11380"/>
                </a:cxn>
                <a:cxn ang="0">
                  <a:pos x="connsiteX11381" y="connsiteY11381"/>
                </a:cxn>
                <a:cxn ang="0">
                  <a:pos x="connsiteX11382" y="connsiteY11382"/>
                </a:cxn>
                <a:cxn ang="0">
                  <a:pos x="connsiteX11383" y="connsiteY11383"/>
                </a:cxn>
                <a:cxn ang="0">
                  <a:pos x="connsiteX11384" y="connsiteY11384"/>
                </a:cxn>
                <a:cxn ang="0">
                  <a:pos x="connsiteX11385" y="connsiteY11385"/>
                </a:cxn>
                <a:cxn ang="0">
                  <a:pos x="connsiteX11386" y="connsiteY11386"/>
                </a:cxn>
                <a:cxn ang="0">
                  <a:pos x="connsiteX11387" y="connsiteY11387"/>
                </a:cxn>
                <a:cxn ang="0">
                  <a:pos x="connsiteX11388" y="connsiteY11388"/>
                </a:cxn>
                <a:cxn ang="0">
                  <a:pos x="connsiteX11389" y="connsiteY11389"/>
                </a:cxn>
                <a:cxn ang="0">
                  <a:pos x="connsiteX11390" y="connsiteY11390"/>
                </a:cxn>
                <a:cxn ang="0">
                  <a:pos x="connsiteX11391" y="connsiteY11391"/>
                </a:cxn>
                <a:cxn ang="0">
                  <a:pos x="connsiteX11392" y="connsiteY11392"/>
                </a:cxn>
                <a:cxn ang="0">
                  <a:pos x="connsiteX11393" y="connsiteY11393"/>
                </a:cxn>
                <a:cxn ang="0">
                  <a:pos x="connsiteX11394" y="connsiteY11394"/>
                </a:cxn>
                <a:cxn ang="0">
                  <a:pos x="connsiteX11395" y="connsiteY11395"/>
                </a:cxn>
                <a:cxn ang="0">
                  <a:pos x="connsiteX11396" y="connsiteY11396"/>
                </a:cxn>
                <a:cxn ang="0">
                  <a:pos x="connsiteX11397" y="connsiteY11397"/>
                </a:cxn>
                <a:cxn ang="0">
                  <a:pos x="connsiteX11398" y="connsiteY11398"/>
                </a:cxn>
                <a:cxn ang="0">
                  <a:pos x="connsiteX11399" y="connsiteY11399"/>
                </a:cxn>
                <a:cxn ang="0">
                  <a:pos x="connsiteX11400" y="connsiteY11400"/>
                </a:cxn>
                <a:cxn ang="0">
                  <a:pos x="connsiteX11401" y="connsiteY11401"/>
                </a:cxn>
                <a:cxn ang="0">
                  <a:pos x="connsiteX11402" y="connsiteY11402"/>
                </a:cxn>
                <a:cxn ang="0">
                  <a:pos x="connsiteX11403" y="connsiteY11403"/>
                </a:cxn>
                <a:cxn ang="0">
                  <a:pos x="connsiteX11404" y="connsiteY11404"/>
                </a:cxn>
                <a:cxn ang="0">
                  <a:pos x="connsiteX11405" y="connsiteY11405"/>
                </a:cxn>
                <a:cxn ang="0">
                  <a:pos x="connsiteX11406" y="connsiteY11406"/>
                </a:cxn>
                <a:cxn ang="0">
                  <a:pos x="connsiteX11407" y="connsiteY11407"/>
                </a:cxn>
                <a:cxn ang="0">
                  <a:pos x="connsiteX11408" y="connsiteY11408"/>
                </a:cxn>
                <a:cxn ang="0">
                  <a:pos x="connsiteX11409" y="connsiteY11409"/>
                </a:cxn>
                <a:cxn ang="0">
                  <a:pos x="connsiteX11410" y="connsiteY11410"/>
                </a:cxn>
                <a:cxn ang="0">
                  <a:pos x="connsiteX11411" y="connsiteY11411"/>
                </a:cxn>
                <a:cxn ang="0">
                  <a:pos x="connsiteX11412" y="connsiteY11412"/>
                </a:cxn>
                <a:cxn ang="0">
                  <a:pos x="connsiteX11413" y="connsiteY11413"/>
                </a:cxn>
                <a:cxn ang="0">
                  <a:pos x="connsiteX11414" y="connsiteY11414"/>
                </a:cxn>
                <a:cxn ang="0">
                  <a:pos x="connsiteX11415" y="connsiteY11415"/>
                </a:cxn>
                <a:cxn ang="0">
                  <a:pos x="connsiteX11416" y="connsiteY11416"/>
                </a:cxn>
                <a:cxn ang="0">
                  <a:pos x="connsiteX11417" y="connsiteY11417"/>
                </a:cxn>
                <a:cxn ang="0">
                  <a:pos x="connsiteX11418" y="connsiteY11418"/>
                </a:cxn>
                <a:cxn ang="0">
                  <a:pos x="connsiteX11419" y="connsiteY11419"/>
                </a:cxn>
                <a:cxn ang="0">
                  <a:pos x="connsiteX11420" y="connsiteY11420"/>
                </a:cxn>
                <a:cxn ang="0">
                  <a:pos x="connsiteX11421" y="connsiteY11421"/>
                </a:cxn>
                <a:cxn ang="0">
                  <a:pos x="connsiteX11422" y="connsiteY11422"/>
                </a:cxn>
                <a:cxn ang="0">
                  <a:pos x="connsiteX11423" y="connsiteY11423"/>
                </a:cxn>
                <a:cxn ang="0">
                  <a:pos x="connsiteX11424" y="connsiteY11424"/>
                </a:cxn>
                <a:cxn ang="0">
                  <a:pos x="connsiteX11425" y="connsiteY11425"/>
                </a:cxn>
                <a:cxn ang="0">
                  <a:pos x="connsiteX11426" y="connsiteY11426"/>
                </a:cxn>
                <a:cxn ang="0">
                  <a:pos x="connsiteX11427" y="connsiteY11427"/>
                </a:cxn>
                <a:cxn ang="0">
                  <a:pos x="connsiteX11428" y="connsiteY11428"/>
                </a:cxn>
                <a:cxn ang="0">
                  <a:pos x="connsiteX11429" y="connsiteY11429"/>
                </a:cxn>
                <a:cxn ang="0">
                  <a:pos x="connsiteX11430" y="connsiteY11430"/>
                </a:cxn>
                <a:cxn ang="0">
                  <a:pos x="connsiteX11431" y="connsiteY11431"/>
                </a:cxn>
                <a:cxn ang="0">
                  <a:pos x="connsiteX11432" y="connsiteY11432"/>
                </a:cxn>
                <a:cxn ang="0">
                  <a:pos x="connsiteX11433" y="connsiteY11433"/>
                </a:cxn>
                <a:cxn ang="0">
                  <a:pos x="connsiteX11434" y="connsiteY11434"/>
                </a:cxn>
                <a:cxn ang="0">
                  <a:pos x="connsiteX11435" y="connsiteY11435"/>
                </a:cxn>
                <a:cxn ang="0">
                  <a:pos x="connsiteX11436" y="connsiteY11436"/>
                </a:cxn>
                <a:cxn ang="0">
                  <a:pos x="connsiteX11437" y="connsiteY11437"/>
                </a:cxn>
                <a:cxn ang="0">
                  <a:pos x="connsiteX11438" y="connsiteY11438"/>
                </a:cxn>
                <a:cxn ang="0">
                  <a:pos x="connsiteX11439" y="connsiteY11439"/>
                </a:cxn>
                <a:cxn ang="0">
                  <a:pos x="connsiteX11440" y="connsiteY11440"/>
                </a:cxn>
                <a:cxn ang="0">
                  <a:pos x="connsiteX11441" y="connsiteY11441"/>
                </a:cxn>
                <a:cxn ang="0">
                  <a:pos x="connsiteX11442" y="connsiteY11442"/>
                </a:cxn>
                <a:cxn ang="0">
                  <a:pos x="connsiteX11443" y="connsiteY11443"/>
                </a:cxn>
                <a:cxn ang="0">
                  <a:pos x="connsiteX11444" y="connsiteY11444"/>
                </a:cxn>
                <a:cxn ang="0">
                  <a:pos x="connsiteX11445" y="connsiteY11445"/>
                </a:cxn>
                <a:cxn ang="0">
                  <a:pos x="connsiteX11446" y="connsiteY11446"/>
                </a:cxn>
                <a:cxn ang="0">
                  <a:pos x="connsiteX11447" y="connsiteY11447"/>
                </a:cxn>
                <a:cxn ang="0">
                  <a:pos x="connsiteX11448" y="connsiteY11448"/>
                </a:cxn>
                <a:cxn ang="0">
                  <a:pos x="connsiteX11449" y="connsiteY11449"/>
                </a:cxn>
                <a:cxn ang="0">
                  <a:pos x="connsiteX11450" y="connsiteY11450"/>
                </a:cxn>
                <a:cxn ang="0">
                  <a:pos x="connsiteX11451" y="connsiteY11451"/>
                </a:cxn>
                <a:cxn ang="0">
                  <a:pos x="connsiteX11452" y="connsiteY11452"/>
                </a:cxn>
                <a:cxn ang="0">
                  <a:pos x="connsiteX11453" y="connsiteY11453"/>
                </a:cxn>
                <a:cxn ang="0">
                  <a:pos x="connsiteX11454" y="connsiteY11454"/>
                </a:cxn>
                <a:cxn ang="0">
                  <a:pos x="connsiteX11455" y="connsiteY11455"/>
                </a:cxn>
                <a:cxn ang="0">
                  <a:pos x="connsiteX11456" y="connsiteY11456"/>
                </a:cxn>
                <a:cxn ang="0">
                  <a:pos x="connsiteX11457" y="connsiteY11457"/>
                </a:cxn>
                <a:cxn ang="0">
                  <a:pos x="connsiteX11458" y="connsiteY11458"/>
                </a:cxn>
                <a:cxn ang="0">
                  <a:pos x="connsiteX11459" y="connsiteY11459"/>
                </a:cxn>
                <a:cxn ang="0">
                  <a:pos x="connsiteX11460" y="connsiteY11460"/>
                </a:cxn>
                <a:cxn ang="0">
                  <a:pos x="connsiteX11461" y="connsiteY11461"/>
                </a:cxn>
                <a:cxn ang="0">
                  <a:pos x="connsiteX11462" y="connsiteY11462"/>
                </a:cxn>
                <a:cxn ang="0">
                  <a:pos x="connsiteX11463" y="connsiteY11463"/>
                </a:cxn>
                <a:cxn ang="0">
                  <a:pos x="connsiteX11464" y="connsiteY11464"/>
                </a:cxn>
                <a:cxn ang="0">
                  <a:pos x="connsiteX11465" y="connsiteY11465"/>
                </a:cxn>
                <a:cxn ang="0">
                  <a:pos x="connsiteX11466" y="connsiteY11466"/>
                </a:cxn>
                <a:cxn ang="0">
                  <a:pos x="connsiteX11467" y="connsiteY11467"/>
                </a:cxn>
                <a:cxn ang="0">
                  <a:pos x="connsiteX11468" y="connsiteY11468"/>
                </a:cxn>
                <a:cxn ang="0">
                  <a:pos x="connsiteX11469" y="connsiteY11469"/>
                </a:cxn>
                <a:cxn ang="0">
                  <a:pos x="connsiteX11470" y="connsiteY11470"/>
                </a:cxn>
                <a:cxn ang="0">
                  <a:pos x="connsiteX11471" y="connsiteY11471"/>
                </a:cxn>
                <a:cxn ang="0">
                  <a:pos x="connsiteX11472" y="connsiteY11472"/>
                </a:cxn>
                <a:cxn ang="0">
                  <a:pos x="connsiteX11473" y="connsiteY11473"/>
                </a:cxn>
                <a:cxn ang="0">
                  <a:pos x="connsiteX11474" y="connsiteY11474"/>
                </a:cxn>
                <a:cxn ang="0">
                  <a:pos x="connsiteX11475" y="connsiteY11475"/>
                </a:cxn>
                <a:cxn ang="0">
                  <a:pos x="connsiteX11476" y="connsiteY11476"/>
                </a:cxn>
                <a:cxn ang="0">
                  <a:pos x="connsiteX11477" y="connsiteY11477"/>
                </a:cxn>
                <a:cxn ang="0">
                  <a:pos x="connsiteX11478" y="connsiteY11478"/>
                </a:cxn>
                <a:cxn ang="0">
                  <a:pos x="connsiteX11479" y="connsiteY11479"/>
                </a:cxn>
                <a:cxn ang="0">
                  <a:pos x="connsiteX11480" y="connsiteY11480"/>
                </a:cxn>
                <a:cxn ang="0">
                  <a:pos x="connsiteX11481" y="connsiteY11481"/>
                </a:cxn>
                <a:cxn ang="0">
                  <a:pos x="connsiteX11482" y="connsiteY11482"/>
                </a:cxn>
                <a:cxn ang="0">
                  <a:pos x="connsiteX11483" y="connsiteY11483"/>
                </a:cxn>
                <a:cxn ang="0">
                  <a:pos x="connsiteX11484" y="connsiteY11484"/>
                </a:cxn>
                <a:cxn ang="0">
                  <a:pos x="connsiteX11485" y="connsiteY11485"/>
                </a:cxn>
                <a:cxn ang="0">
                  <a:pos x="connsiteX11486" y="connsiteY11486"/>
                </a:cxn>
                <a:cxn ang="0">
                  <a:pos x="connsiteX11487" y="connsiteY11487"/>
                </a:cxn>
                <a:cxn ang="0">
                  <a:pos x="connsiteX11488" y="connsiteY11488"/>
                </a:cxn>
                <a:cxn ang="0">
                  <a:pos x="connsiteX11489" y="connsiteY11489"/>
                </a:cxn>
                <a:cxn ang="0">
                  <a:pos x="connsiteX11490" y="connsiteY11490"/>
                </a:cxn>
                <a:cxn ang="0">
                  <a:pos x="connsiteX11491" y="connsiteY11491"/>
                </a:cxn>
                <a:cxn ang="0">
                  <a:pos x="connsiteX11492" y="connsiteY11492"/>
                </a:cxn>
                <a:cxn ang="0">
                  <a:pos x="connsiteX11493" y="connsiteY11493"/>
                </a:cxn>
                <a:cxn ang="0">
                  <a:pos x="connsiteX11494" y="connsiteY11494"/>
                </a:cxn>
                <a:cxn ang="0">
                  <a:pos x="connsiteX11495" y="connsiteY11495"/>
                </a:cxn>
                <a:cxn ang="0">
                  <a:pos x="connsiteX11496" y="connsiteY11496"/>
                </a:cxn>
                <a:cxn ang="0">
                  <a:pos x="connsiteX11497" y="connsiteY11497"/>
                </a:cxn>
                <a:cxn ang="0">
                  <a:pos x="connsiteX11498" y="connsiteY11498"/>
                </a:cxn>
                <a:cxn ang="0">
                  <a:pos x="connsiteX11499" y="connsiteY11499"/>
                </a:cxn>
                <a:cxn ang="0">
                  <a:pos x="connsiteX11500" y="connsiteY11500"/>
                </a:cxn>
                <a:cxn ang="0">
                  <a:pos x="connsiteX11501" y="connsiteY11501"/>
                </a:cxn>
                <a:cxn ang="0">
                  <a:pos x="connsiteX11502" y="connsiteY11502"/>
                </a:cxn>
                <a:cxn ang="0">
                  <a:pos x="connsiteX11503" y="connsiteY11503"/>
                </a:cxn>
                <a:cxn ang="0">
                  <a:pos x="connsiteX11504" y="connsiteY11504"/>
                </a:cxn>
                <a:cxn ang="0">
                  <a:pos x="connsiteX11505" y="connsiteY11505"/>
                </a:cxn>
                <a:cxn ang="0">
                  <a:pos x="connsiteX11506" y="connsiteY11506"/>
                </a:cxn>
                <a:cxn ang="0">
                  <a:pos x="connsiteX11507" y="connsiteY11507"/>
                </a:cxn>
                <a:cxn ang="0">
                  <a:pos x="connsiteX11508" y="connsiteY11508"/>
                </a:cxn>
                <a:cxn ang="0">
                  <a:pos x="connsiteX11509" y="connsiteY11509"/>
                </a:cxn>
                <a:cxn ang="0">
                  <a:pos x="connsiteX11510" y="connsiteY11510"/>
                </a:cxn>
                <a:cxn ang="0">
                  <a:pos x="connsiteX11511" y="connsiteY11511"/>
                </a:cxn>
                <a:cxn ang="0">
                  <a:pos x="connsiteX11512" y="connsiteY11512"/>
                </a:cxn>
                <a:cxn ang="0">
                  <a:pos x="connsiteX11513" y="connsiteY11513"/>
                </a:cxn>
                <a:cxn ang="0">
                  <a:pos x="connsiteX11514" y="connsiteY11514"/>
                </a:cxn>
                <a:cxn ang="0">
                  <a:pos x="connsiteX11515" y="connsiteY11515"/>
                </a:cxn>
                <a:cxn ang="0">
                  <a:pos x="connsiteX11516" y="connsiteY11516"/>
                </a:cxn>
                <a:cxn ang="0">
                  <a:pos x="connsiteX11517" y="connsiteY11517"/>
                </a:cxn>
                <a:cxn ang="0">
                  <a:pos x="connsiteX11518" y="connsiteY11518"/>
                </a:cxn>
                <a:cxn ang="0">
                  <a:pos x="connsiteX11519" y="connsiteY11519"/>
                </a:cxn>
                <a:cxn ang="0">
                  <a:pos x="connsiteX11520" y="connsiteY11520"/>
                </a:cxn>
                <a:cxn ang="0">
                  <a:pos x="connsiteX11521" y="connsiteY11521"/>
                </a:cxn>
                <a:cxn ang="0">
                  <a:pos x="connsiteX11522" y="connsiteY11522"/>
                </a:cxn>
                <a:cxn ang="0">
                  <a:pos x="connsiteX11523" y="connsiteY11523"/>
                </a:cxn>
                <a:cxn ang="0">
                  <a:pos x="connsiteX11524" y="connsiteY11524"/>
                </a:cxn>
                <a:cxn ang="0">
                  <a:pos x="connsiteX11525" y="connsiteY11525"/>
                </a:cxn>
                <a:cxn ang="0">
                  <a:pos x="connsiteX11526" y="connsiteY11526"/>
                </a:cxn>
                <a:cxn ang="0">
                  <a:pos x="connsiteX11527" y="connsiteY11527"/>
                </a:cxn>
                <a:cxn ang="0">
                  <a:pos x="connsiteX11528" y="connsiteY11528"/>
                </a:cxn>
                <a:cxn ang="0">
                  <a:pos x="connsiteX11529" y="connsiteY11529"/>
                </a:cxn>
                <a:cxn ang="0">
                  <a:pos x="connsiteX11530" y="connsiteY11530"/>
                </a:cxn>
                <a:cxn ang="0">
                  <a:pos x="connsiteX11531" y="connsiteY11531"/>
                </a:cxn>
                <a:cxn ang="0">
                  <a:pos x="connsiteX11532" y="connsiteY11532"/>
                </a:cxn>
                <a:cxn ang="0">
                  <a:pos x="connsiteX11533" y="connsiteY11533"/>
                </a:cxn>
                <a:cxn ang="0">
                  <a:pos x="connsiteX11534" y="connsiteY11534"/>
                </a:cxn>
                <a:cxn ang="0">
                  <a:pos x="connsiteX11535" y="connsiteY11535"/>
                </a:cxn>
                <a:cxn ang="0">
                  <a:pos x="connsiteX11536" y="connsiteY11536"/>
                </a:cxn>
                <a:cxn ang="0">
                  <a:pos x="connsiteX11537" y="connsiteY11537"/>
                </a:cxn>
                <a:cxn ang="0">
                  <a:pos x="connsiteX11538" y="connsiteY11538"/>
                </a:cxn>
                <a:cxn ang="0">
                  <a:pos x="connsiteX11539" y="connsiteY11539"/>
                </a:cxn>
                <a:cxn ang="0">
                  <a:pos x="connsiteX11540" y="connsiteY11540"/>
                </a:cxn>
                <a:cxn ang="0">
                  <a:pos x="connsiteX11541" y="connsiteY11541"/>
                </a:cxn>
                <a:cxn ang="0">
                  <a:pos x="connsiteX11542" y="connsiteY11542"/>
                </a:cxn>
                <a:cxn ang="0">
                  <a:pos x="connsiteX11543" y="connsiteY11543"/>
                </a:cxn>
                <a:cxn ang="0">
                  <a:pos x="connsiteX11544" y="connsiteY11544"/>
                </a:cxn>
                <a:cxn ang="0">
                  <a:pos x="connsiteX11545" y="connsiteY11545"/>
                </a:cxn>
                <a:cxn ang="0">
                  <a:pos x="connsiteX11546" y="connsiteY11546"/>
                </a:cxn>
                <a:cxn ang="0">
                  <a:pos x="connsiteX11547" y="connsiteY11547"/>
                </a:cxn>
                <a:cxn ang="0">
                  <a:pos x="connsiteX11548" y="connsiteY11548"/>
                </a:cxn>
                <a:cxn ang="0">
                  <a:pos x="connsiteX11549" y="connsiteY11549"/>
                </a:cxn>
                <a:cxn ang="0">
                  <a:pos x="connsiteX11550" y="connsiteY11550"/>
                </a:cxn>
                <a:cxn ang="0">
                  <a:pos x="connsiteX11551" y="connsiteY11551"/>
                </a:cxn>
                <a:cxn ang="0">
                  <a:pos x="connsiteX11552" y="connsiteY11552"/>
                </a:cxn>
                <a:cxn ang="0">
                  <a:pos x="connsiteX11553" y="connsiteY11553"/>
                </a:cxn>
                <a:cxn ang="0">
                  <a:pos x="connsiteX11554" y="connsiteY11554"/>
                </a:cxn>
                <a:cxn ang="0">
                  <a:pos x="connsiteX11555" y="connsiteY11555"/>
                </a:cxn>
                <a:cxn ang="0">
                  <a:pos x="connsiteX11556" y="connsiteY11556"/>
                </a:cxn>
                <a:cxn ang="0">
                  <a:pos x="connsiteX11557" y="connsiteY11557"/>
                </a:cxn>
                <a:cxn ang="0">
                  <a:pos x="connsiteX11558" y="connsiteY11558"/>
                </a:cxn>
                <a:cxn ang="0">
                  <a:pos x="connsiteX11559" y="connsiteY11559"/>
                </a:cxn>
                <a:cxn ang="0">
                  <a:pos x="connsiteX11560" y="connsiteY11560"/>
                </a:cxn>
                <a:cxn ang="0">
                  <a:pos x="connsiteX11561" y="connsiteY11561"/>
                </a:cxn>
                <a:cxn ang="0">
                  <a:pos x="connsiteX11562" y="connsiteY11562"/>
                </a:cxn>
                <a:cxn ang="0">
                  <a:pos x="connsiteX11563" y="connsiteY11563"/>
                </a:cxn>
                <a:cxn ang="0">
                  <a:pos x="connsiteX11564" y="connsiteY11564"/>
                </a:cxn>
                <a:cxn ang="0">
                  <a:pos x="connsiteX11565" y="connsiteY11565"/>
                </a:cxn>
                <a:cxn ang="0">
                  <a:pos x="connsiteX11566" y="connsiteY11566"/>
                </a:cxn>
                <a:cxn ang="0">
                  <a:pos x="connsiteX11567" y="connsiteY11567"/>
                </a:cxn>
                <a:cxn ang="0">
                  <a:pos x="connsiteX11568" y="connsiteY11568"/>
                </a:cxn>
                <a:cxn ang="0">
                  <a:pos x="connsiteX11569" y="connsiteY11569"/>
                </a:cxn>
                <a:cxn ang="0">
                  <a:pos x="connsiteX11570" y="connsiteY11570"/>
                </a:cxn>
                <a:cxn ang="0">
                  <a:pos x="connsiteX11571" y="connsiteY11571"/>
                </a:cxn>
                <a:cxn ang="0">
                  <a:pos x="connsiteX11572" y="connsiteY11572"/>
                </a:cxn>
                <a:cxn ang="0">
                  <a:pos x="connsiteX11573" y="connsiteY11573"/>
                </a:cxn>
                <a:cxn ang="0">
                  <a:pos x="connsiteX11574" y="connsiteY11574"/>
                </a:cxn>
                <a:cxn ang="0">
                  <a:pos x="connsiteX11575" y="connsiteY11575"/>
                </a:cxn>
                <a:cxn ang="0">
                  <a:pos x="connsiteX11576" y="connsiteY11576"/>
                </a:cxn>
                <a:cxn ang="0">
                  <a:pos x="connsiteX11577" y="connsiteY11577"/>
                </a:cxn>
                <a:cxn ang="0">
                  <a:pos x="connsiteX11578" y="connsiteY11578"/>
                </a:cxn>
                <a:cxn ang="0">
                  <a:pos x="connsiteX11579" y="connsiteY11579"/>
                </a:cxn>
                <a:cxn ang="0">
                  <a:pos x="connsiteX11580" y="connsiteY11580"/>
                </a:cxn>
                <a:cxn ang="0">
                  <a:pos x="connsiteX11581" y="connsiteY11581"/>
                </a:cxn>
                <a:cxn ang="0">
                  <a:pos x="connsiteX11582" y="connsiteY11582"/>
                </a:cxn>
                <a:cxn ang="0">
                  <a:pos x="connsiteX11583" y="connsiteY11583"/>
                </a:cxn>
                <a:cxn ang="0">
                  <a:pos x="connsiteX11584" y="connsiteY11584"/>
                </a:cxn>
                <a:cxn ang="0">
                  <a:pos x="connsiteX11585" y="connsiteY11585"/>
                </a:cxn>
                <a:cxn ang="0">
                  <a:pos x="connsiteX11586" y="connsiteY11586"/>
                </a:cxn>
                <a:cxn ang="0">
                  <a:pos x="connsiteX11587" y="connsiteY11587"/>
                </a:cxn>
                <a:cxn ang="0">
                  <a:pos x="connsiteX11588" y="connsiteY11588"/>
                </a:cxn>
                <a:cxn ang="0">
                  <a:pos x="connsiteX11589" y="connsiteY11589"/>
                </a:cxn>
                <a:cxn ang="0">
                  <a:pos x="connsiteX11590" y="connsiteY11590"/>
                </a:cxn>
                <a:cxn ang="0">
                  <a:pos x="connsiteX11591" y="connsiteY11591"/>
                </a:cxn>
                <a:cxn ang="0">
                  <a:pos x="connsiteX11592" y="connsiteY11592"/>
                </a:cxn>
                <a:cxn ang="0">
                  <a:pos x="connsiteX11593" y="connsiteY11593"/>
                </a:cxn>
                <a:cxn ang="0">
                  <a:pos x="connsiteX11594" y="connsiteY11594"/>
                </a:cxn>
                <a:cxn ang="0">
                  <a:pos x="connsiteX11595" y="connsiteY11595"/>
                </a:cxn>
                <a:cxn ang="0">
                  <a:pos x="connsiteX11596" y="connsiteY11596"/>
                </a:cxn>
                <a:cxn ang="0">
                  <a:pos x="connsiteX11597" y="connsiteY11597"/>
                </a:cxn>
                <a:cxn ang="0">
                  <a:pos x="connsiteX11598" y="connsiteY11598"/>
                </a:cxn>
                <a:cxn ang="0">
                  <a:pos x="connsiteX11599" y="connsiteY11599"/>
                </a:cxn>
                <a:cxn ang="0">
                  <a:pos x="connsiteX11600" y="connsiteY11600"/>
                </a:cxn>
                <a:cxn ang="0">
                  <a:pos x="connsiteX11601" y="connsiteY11601"/>
                </a:cxn>
                <a:cxn ang="0">
                  <a:pos x="connsiteX11602" y="connsiteY11602"/>
                </a:cxn>
                <a:cxn ang="0">
                  <a:pos x="connsiteX11603" y="connsiteY11603"/>
                </a:cxn>
                <a:cxn ang="0">
                  <a:pos x="connsiteX11604" y="connsiteY11604"/>
                </a:cxn>
                <a:cxn ang="0">
                  <a:pos x="connsiteX11605" y="connsiteY11605"/>
                </a:cxn>
                <a:cxn ang="0">
                  <a:pos x="connsiteX11606" y="connsiteY11606"/>
                </a:cxn>
                <a:cxn ang="0">
                  <a:pos x="connsiteX11607" y="connsiteY11607"/>
                </a:cxn>
                <a:cxn ang="0">
                  <a:pos x="connsiteX11608" y="connsiteY11608"/>
                </a:cxn>
                <a:cxn ang="0">
                  <a:pos x="connsiteX11609" y="connsiteY11609"/>
                </a:cxn>
                <a:cxn ang="0">
                  <a:pos x="connsiteX11610" y="connsiteY11610"/>
                </a:cxn>
                <a:cxn ang="0">
                  <a:pos x="connsiteX11611" y="connsiteY11611"/>
                </a:cxn>
                <a:cxn ang="0">
                  <a:pos x="connsiteX11612" y="connsiteY11612"/>
                </a:cxn>
                <a:cxn ang="0">
                  <a:pos x="connsiteX11613" y="connsiteY11613"/>
                </a:cxn>
                <a:cxn ang="0">
                  <a:pos x="connsiteX11614" y="connsiteY11614"/>
                </a:cxn>
                <a:cxn ang="0">
                  <a:pos x="connsiteX11615" y="connsiteY11615"/>
                </a:cxn>
                <a:cxn ang="0">
                  <a:pos x="connsiteX11616" y="connsiteY11616"/>
                </a:cxn>
                <a:cxn ang="0">
                  <a:pos x="connsiteX11617" y="connsiteY11617"/>
                </a:cxn>
                <a:cxn ang="0">
                  <a:pos x="connsiteX11618" y="connsiteY11618"/>
                </a:cxn>
                <a:cxn ang="0">
                  <a:pos x="connsiteX11619" y="connsiteY11619"/>
                </a:cxn>
                <a:cxn ang="0">
                  <a:pos x="connsiteX11620" y="connsiteY11620"/>
                </a:cxn>
                <a:cxn ang="0">
                  <a:pos x="connsiteX11621" y="connsiteY11621"/>
                </a:cxn>
                <a:cxn ang="0">
                  <a:pos x="connsiteX11622" y="connsiteY11622"/>
                </a:cxn>
                <a:cxn ang="0">
                  <a:pos x="connsiteX11623" y="connsiteY11623"/>
                </a:cxn>
                <a:cxn ang="0">
                  <a:pos x="connsiteX11624" y="connsiteY11624"/>
                </a:cxn>
                <a:cxn ang="0">
                  <a:pos x="connsiteX11625" y="connsiteY11625"/>
                </a:cxn>
                <a:cxn ang="0">
                  <a:pos x="connsiteX11626" y="connsiteY11626"/>
                </a:cxn>
                <a:cxn ang="0">
                  <a:pos x="connsiteX11627" y="connsiteY11627"/>
                </a:cxn>
                <a:cxn ang="0">
                  <a:pos x="connsiteX11628" y="connsiteY11628"/>
                </a:cxn>
                <a:cxn ang="0">
                  <a:pos x="connsiteX11629" y="connsiteY11629"/>
                </a:cxn>
                <a:cxn ang="0">
                  <a:pos x="connsiteX11630" y="connsiteY11630"/>
                </a:cxn>
                <a:cxn ang="0">
                  <a:pos x="connsiteX11631" y="connsiteY11631"/>
                </a:cxn>
                <a:cxn ang="0">
                  <a:pos x="connsiteX11632" y="connsiteY11632"/>
                </a:cxn>
                <a:cxn ang="0">
                  <a:pos x="connsiteX11633" y="connsiteY11633"/>
                </a:cxn>
                <a:cxn ang="0">
                  <a:pos x="connsiteX11634" y="connsiteY11634"/>
                </a:cxn>
                <a:cxn ang="0">
                  <a:pos x="connsiteX11635" y="connsiteY11635"/>
                </a:cxn>
                <a:cxn ang="0">
                  <a:pos x="connsiteX11636" y="connsiteY11636"/>
                </a:cxn>
                <a:cxn ang="0">
                  <a:pos x="connsiteX11637" y="connsiteY11637"/>
                </a:cxn>
                <a:cxn ang="0">
                  <a:pos x="connsiteX11638" y="connsiteY11638"/>
                </a:cxn>
                <a:cxn ang="0">
                  <a:pos x="connsiteX11639" y="connsiteY11639"/>
                </a:cxn>
                <a:cxn ang="0">
                  <a:pos x="connsiteX11640" y="connsiteY11640"/>
                </a:cxn>
                <a:cxn ang="0">
                  <a:pos x="connsiteX11641" y="connsiteY11641"/>
                </a:cxn>
                <a:cxn ang="0">
                  <a:pos x="connsiteX11642" y="connsiteY11642"/>
                </a:cxn>
                <a:cxn ang="0">
                  <a:pos x="connsiteX11643" y="connsiteY11643"/>
                </a:cxn>
                <a:cxn ang="0">
                  <a:pos x="connsiteX11644" y="connsiteY11644"/>
                </a:cxn>
                <a:cxn ang="0">
                  <a:pos x="connsiteX11645" y="connsiteY11645"/>
                </a:cxn>
                <a:cxn ang="0">
                  <a:pos x="connsiteX11646" y="connsiteY11646"/>
                </a:cxn>
                <a:cxn ang="0">
                  <a:pos x="connsiteX11647" y="connsiteY11647"/>
                </a:cxn>
                <a:cxn ang="0">
                  <a:pos x="connsiteX11648" y="connsiteY11648"/>
                </a:cxn>
                <a:cxn ang="0">
                  <a:pos x="connsiteX11649" y="connsiteY11649"/>
                </a:cxn>
                <a:cxn ang="0">
                  <a:pos x="connsiteX11650" y="connsiteY11650"/>
                </a:cxn>
                <a:cxn ang="0">
                  <a:pos x="connsiteX11651" y="connsiteY11651"/>
                </a:cxn>
                <a:cxn ang="0">
                  <a:pos x="connsiteX11652" y="connsiteY11652"/>
                </a:cxn>
                <a:cxn ang="0">
                  <a:pos x="connsiteX11653" y="connsiteY11653"/>
                </a:cxn>
                <a:cxn ang="0">
                  <a:pos x="connsiteX11654" y="connsiteY11654"/>
                </a:cxn>
                <a:cxn ang="0">
                  <a:pos x="connsiteX11655" y="connsiteY11655"/>
                </a:cxn>
                <a:cxn ang="0">
                  <a:pos x="connsiteX11656" y="connsiteY11656"/>
                </a:cxn>
                <a:cxn ang="0">
                  <a:pos x="connsiteX11657" y="connsiteY11657"/>
                </a:cxn>
                <a:cxn ang="0">
                  <a:pos x="connsiteX11658" y="connsiteY11658"/>
                </a:cxn>
                <a:cxn ang="0">
                  <a:pos x="connsiteX11659" y="connsiteY11659"/>
                </a:cxn>
                <a:cxn ang="0">
                  <a:pos x="connsiteX11660" y="connsiteY11660"/>
                </a:cxn>
                <a:cxn ang="0">
                  <a:pos x="connsiteX11661" y="connsiteY11661"/>
                </a:cxn>
                <a:cxn ang="0">
                  <a:pos x="connsiteX11662" y="connsiteY11662"/>
                </a:cxn>
                <a:cxn ang="0">
                  <a:pos x="connsiteX11663" y="connsiteY11663"/>
                </a:cxn>
                <a:cxn ang="0">
                  <a:pos x="connsiteX11664" y="connsiteY11664"/>
                </a:cxn>
                <a:cxn ang="0">
                  <a:pos x="connsiteX11665" y="connsiteY11665"/>
                </a:cxn>
                <a:cxn ang="0">
                  <a:pos x="connsiteX11666" y="connsiteY11666"/>
                </a:cxn>
                <a:cxn ang="0">
                  <a:pos x="connsiteX11667" y="connsiteY11667"/>
                </a:cxn>
                <a:cxn ang="0">
                  <a:pos x="connsiteX11668" y="connsiteY11668"/>
                </a:cxn>
                <a:cxn ang="0">
                  <a:pos x="connsiteX11669" y="connsiteY11669"/>
                </a:cxn>
                <a:cxn ang="0">
                  <a:pos x="connsiteX11670" y="connsiteY11670"/>
                </a:cxn>
                <a:cxn ang="0">
                  <a:pos x="connsiteX11671" y="connsiteY11671"/>
                </a:cxn>
                <a:cxn ang="0">
                  <a:pos x="connsiteX11672" y="connsiteY11672"/>
                </a:cxn>
                <a:cxn ang="0">
                  <a:pos x="connsiteX11673" y="connsiteY11673"/>
                </a:cxn>
                <a:cxn ang="0">
                  <a:pos x="connsiteX11674" y="connsiteY11674"/>
                </a:cxn>
                <a:cxn ang="0">
                  <a:pos x="connsiteX11675" y="connsiteY11675"/>
                </a:cxn>
                <a:cxn ang="0">
                  <a:pos x="connsiteX11676" y="connsiteY11676"/>
                </a:cxn>
                <a:cxn ang="0">
                  <a:pos x="connsiteX11677" y="connsiteY11677"/>
                </a:cxn>
                <a:cxn ang="0">
                  <a:pos x="connsiteX11678" y="connsiteY11678"/>
                </a:cxn>
                <a:cxn ang="0">
                  <a:pos x="connsiteX11679" y="connsiteY11679"/>
                </a:cxn>
                <a:cxn ang="0">
                  <a:pos x="connsiteX11680" y="connsiteY11680"/>
                </a:cxn>
                <a:cxn ang="0">
                  <a:pos x="connsiteX11681" y="connsiteY11681"/>
                </a:cxn>
                <a:cxn ang="0">
                  <a:pos x="connsiteX11682" y="connsiteY11682"/>
                </a:cxn>
                <a:cxn ang="0">
                  <a:pos x="connsiteX11683" y="connsiteY11683"/>
                </a:cxn>
                <a:cxn ang="0">
                  <a:pos x="connsiteX11684" y="connsiteY11684"/>
                </a:cxn>
                <a:cxn ang="0">
                  <a:pos x="connsiteX11685" y="connsiteY11685"/>
                </a:cxn>
                <a:cxn ang="0">
                  <a:pos x="connsiteX11686" y="connsiteY11686"/>
                </a:cxn>
                <a:cxn ang="0">
                  <a:pos x="connsiteX11687" y="connsiteY11687"/>
                </a:cxn>
                <a:cxn ang="0">
                  <a:pos x="connsiteX11688" y="connsiteY11688"/>
                </a:cxn>
                <a:cxn ang="0">
                  <a:pos x="connsiteX11689" y="connsiteY11689"/>
                </a:cxn>
                <a:cxn ang="0">
                  <a:pos x="connsiteX11690" y="connsiteY11690"/>
                </a:cxn>
                <a:cxn ang="0">
                  <a:pos x="connsiteX11691" y="connsiteY11691"/>
                </a:cxn>
                <a:cxn ang="0">
                  <a:pos x="connsiteX11692" y="connsiteY11692"/>
                </a:cxn>
                <a:cxn ang="0">
                  <a:pos x="connsiteX11693" y="connsiteY11693"/>
                </a:cxn>
                <a:cxn ang="0">
                  <a:pos x="connsiteX11694" y="connsiteY11694"/>
                </a:cxn>
                <a:cxn ang="0">
                  <a:pos x="connsiteX11695" y="connsiteY11695"/>
                </a:cxn>
                <a:cxn ang="0">
                  <a:pos x="connsiteX11696" y="connsiteY11696"/>
                </a:cxn>
                <a:cxn ang="0">
                  <a:pos x="connsiteX11697" y="connsiteY11697"/>
                </a:cxn>
                <a:cxn ang="0">
                  <a:pos x="connsiteX11698" y="connsiteY11698"/>
                </a:cxn>
                <a:cxn ang="0">
                  <a:pos x="connsiteX11699" y="connsiteY11699"/>
                </a:cxn>
                <a:cxn ang="0">
                  <a:pos x="connsiteX11700" y="connsiteY11700"/>
                </a:cxn>
                <a:cxn ang="0">
                  <a:pos x="connsiteX11701" y="connsiteY11701"/>
                </a:cxn>
                <a:cxn ang="0">
                  <a:pos x="connsiteX11702" y="connsiteY11702"/>
                </a:cxn>
                <a:cxn ang="0">
                  <a:pos x="connsiteX11703" y="connsiteY11703"/>
                </a:cxn>
                <a:cxn ang="0">
                  <a:pos x="connsiteX11704" y="connsiteY11704"/>
                </a:cxn>
                <a:cxn ang="0">
                  <a:pos x="connsiteX11705" y="connsiteY11705"/>
                </a:cxn>
                <a:cxn ang="0">
                  <a:pos x="connsiteX11706" y="connsiteY11706"/>
                </a:cxn>
                <a:cxn ang="0">
                  <a:pos x="connsiteX11707" y="connsiteY11707"/>
                </a:cxn>
                <a:cxn ang="0">
                  <a:pos x="connsiteX11708" y="connsiteY11708"/>
                </a:cxn>
                <a:cxn ang="0">
                  <a:pos x="connsiteX11709" y="connsiteY11709"/>
                </a:cxn>
                <a:cxn ang="0">
                  <a:pos x="connsiteX11710" y="connsiteY11710"/>
                </a:cxn>
                <a:cxn ang="0">
                  <a:pos x="connsiteX11711" y="connsiteY11711"/>
                </a:cxn>
                <a:cxn ang="0">
                  <a:pos x="connsiteX11712" y="connsiteY11712"/>
                </a:cxn>
                <a:cxn ang="0">
                  <a:pos x="connsiteX11713" y="connsiteY11713"/>
                </a:cxn>
                <a:cxn ang="0">
                  <a:pos x="connsiteX11714" y="connsiteY11714"/>
                </a:cxn>
                <a:cxn ang="0">
                  <a:pos x="connsiteX11715" y="connsiteY11715"/>
                </a:cxn>
                <a:cxn ang="0">
                  <a:pos x="connsiteX11716" y="connsiteY11716"/>
                </a:cxn>
                <a:cxn ang="0">
                  <a:pos x="connsiteX11717" y="connsiteY11717"/>
                </a:cxn>
                <a:cxn ang="0">
                  <a:pos x="connsiteX11718" y="connsiteY11718"/>
                </a:cxn>
                <a:cxn ang="0">
                  <a:pos x="connsiteX11719" y="connsiteY11719"/>
                </a:cxn>
                <a:cxn ang="0">
                  <a:pos x="connsiteX11720" y="connsiteY11720"/>
                </a:cxn>
                <a:cxn ang="0">
                  <a:pos x="connsiteX11721" y="connsiteY11721"/>
                </a:cxn>
                <a:cxn ang="0">
                  <a:pos x="connsiteX11722" y="connsiteY11722"/>
                </a:cxn>
                <a:cxn ang="0">
                  <a:pos x="connsiteX11723" y="connsiteY11723"/>
                </a:cxn>
                <a:cxn ang="0">
                  <a:pos x="connsiteX11724" y="connsiteY11724"/>
                </a:cxn>
                <a:cxn ang="0">
                  <a:pos x="connsiteX11725" y="connsiteY11725"/>
                </a:cxn>
                <a:cxn ang="0">
                  <a:pos x="connsiteX11726" y="connsiteY11726"/>
                </a:cxn>
                <a:cxn ang="0">
                  <a:pos x="connsiteX11727" y="connsiteY11727"/>
                </a:cxn>
                <a:cxn ang="0">
                  <a:pos x="connsiteX11728" y="connsiteY11728"/>
                </a:cxn>
                <a:cxn ang="0">
                  <a:pos x="connsiteX11729" y="connsiteY11729"/>
                </a:cxn>
                <a:cxn ang="0">
                  <a:pos x="connsiteX11730" y="connsiteY11730"/>
                </a:cxn>
                <a:cxn ang="0">
                  <a:pos x="connsiteX11731" y="connsiteY11731"/>
                </a:cxn>
                <a:cxn ang="0">
                  <a:pos x="connsiteX11732" y="connsiteY11732"/>
                </a:cxn>
                <a:cxn ang="0">
                  <a:pos x="connsiteX11733" y="connsiteY11733"/>
                </a:cxn>
                <a:cxn ang="0">
                  <a:pos x="connsiteX11734" y="connsiteY11734"/>
                </a:cxn>
                <a:cxn ang="0">
                  <a:pos x="connsiteX11735" y="connsiteY11735"/>
                </a:cxn>
                <a:cxn ang="0">
                  <a:pos x="connsiteX11736" y="connsiteY11736"/>
                </a:cxn>
                <a:cxn ang="0">
                  <a:pos x="connsiteX11737" y="connsiteY11737"/>
                </a:cxn>
                <a:cxn ang="0">
                  <a:pos x="connsiteX11738" y="connsiteY11738"/>
                </a:cxn>
                <a:cxn ang="0">
                  <a:pos x="connsiteX11739" y="connsiteY11739"/>
                </a:cxn>
                <a:cxn ang="0">
                  <a:pos x="connsiteX11740" y="connsiteY11740"/>
                </a:cxn>
                <a:cxn ang="0">
                  <a:pos x="connsiteX11741" y="connsiteY11741"/>
                </a:cxn>
                <a:cxn ang="0">
                  <a:pos x="connsiteX11742" y="connsiteY11742"/>
                </a:cxn>
                <a:cxn ang="0">
                  <a:pos x="connsiteX11743" y="connsiteY11743"/>
                </a:cxn>
                <a:cxn ang="0">
                  <a:pos x="connsiteX11744" y="connsiteY11744"/>
                </a:cxn>
                <a:cxn ang="0">
                  <a:pos x="connsiteX11745" y="connsiteY11745"/>
                </a:cxn>
                <a:cxn ang="0">
                  <a:pos x="connsiteX11746" y="connsiteY11746"/>
                </a:cxn>
                <a:cxn ang="0">
                  <a:pos x="connsiteX11747" y="connsiteY11747"/>
                </a:cxn>
                <a:cxn ang="0">
                  <a:pos x="connsiteX11748" y="connsiteY11748"/>
                </a:cxn>
                <a:cxn ang="0">
                  <a:pos x="connsiteX11749" y="connsiteY11749"/>
                </a:cxn>
                <a:cxn ang="0">
                  <a:pos x="connsiteX11750" y="connsiteY11750"/>
                </a:cxn>
                <a:cxn ang="0">
                  <a:pos x="connsiteX11751" y="connsiteY11751"/>
                </a:cxn>
                <a:cxn ang="0">
                  <a:pos x="connsiteX11752" y="connsiteY11752"/>
                </a:cxn>
                <a:cxn ang="0">
                  <a:pos x="connsiteX11753" y="connsiteY11753"/>
                </a:cxn>
                <a:cxn ang="0">
                  <a:pos x="connsiteX11754" y="connsiteY11754"/>
                </a:cxn>
                <a:cxn ang="0">
                  <a:pos x="connsiteX11755" y="connsiteY11755"/>
                </a:cxn>
                <a:cxn ang="0">
                  <a:pos x="connsiteX11756" y="connsiteY11756"/>
                </a:cxn>
                <a:cxn ang="0">
                  <a:pos x="connsiteX11757" y="connsiteY11757"/>
                </a:cxn>
                <a:cxn ang="0">
                  <a:pos x="connsiteX11758" y="connsiteY11758"/>
                </a:cxn>
                <a:cxn ang="0">
                  <a:pos x="connsiteX11759" y="connsiteY11759"/>
                </a:cxn>
                <a:cxn ang="0">
                  <a:pos x="connsiteX11760" y="connsiteY11760"/>
                </a:cxn>
                <a:cxn ang="0">
                  <a:pos x="connsiteX11761" y="connsiteY11761"/>
                </a:cxn>
                <a:cxn ang="0">
                  <a:pos x="connsiteX11762" y="connsiteY11762"/>
                </a:cxn>
                <a:cxn ang="0">
                  <a:pos x="connsiteX11763" y="connsiteY11763"/>
                </a:cxn>
                <a:cxn ang="0">
                  <a:pos x="connsiteX11764" y="connsiteY11764"/>
                </a:cxn>
                <a:cxn ang="0">
                  <a:pos x="connsiteX11765" y="connsiteY11765"/>
                </a:cxn>
                <a:cxn ang="0">
                  <a:pos x="connsiteX11766" y="connsiteY11766"/>
                </a:cxn>
                <a:cxn ang="0">
                  <a:pos x="connsiteX11767" y="connsiteY11767"/>
                </a:cxn>
                <a:cxn ang="0">
                  <a:pos x="connsiteX11768" y="connsiteY11768"/>
                </a:cxn>
                <a:cxn ang="0">
                  <a:pos x="connsiteX11769" y="connsiteY11769"/>
                </a:cxn>
                <a:cxn ang="0">
                  <a:pos x="connsiteX11770" y="connsiteY11770"/>
                </a:cxn>
                <a:cxn ang="0">
                  <a:pos x="connsiteX11771" y="connsiteY11771"/>
                </a:cxn>
                <a:cxn ang="0">
                  <a:pos x="connsiteX11772" y="connsiteY11772"/>
                </a:cxn>
                <a:cxn ang="0">
                  <a:pos x="connsiteX11773" y="connsiteY11773"/>
                </a:cxn>
                <a:cxn ang="0">
                  <a:pos x="connsiteX11774" y="connsiteY11774"/>
                </a:cxn>
                <a:cxn ang="0">
                  <a:pos x="connsiteX11775" y="connsiteY11775"/>
                </a:cxn>
                <a:cxn ang="0">
                  <a:pos x="connsiteX11776" y="connsiteY11776"/>
                </a:cxn>
                <a:cxn ang="0">
                  <a:pos x="connsiteX11777" y="connsiteY11777"/>
                </a:cxn>
                <a:cxn ang="0">
                  <a:pos x="connsiteX11778" y="connsiteY11778"/>
                </a:cxn>
                <a:cxn ang="0">
                  <a:pos x="connsiteX11779" y="connsiteY11779"/>
                </a:cxn>
                <a:cxn ang="0">
                  <a:pos x="connsiteX11780" y="connsiteY11780"/>
                </a:cxn>
                <a:cxn ang="0">
                  <a:pos x="connsiteX11781" y="connsiteY11781"/>
                </a:cxn>
                <a:cxn ang="0">
                  <a:pos x="connsiteX11782" y="connsiteY11782"/>
                </a:cxn>
                <a:cxn ang="0">
                  <a:pos x="connsiteX11783" y="connsiteY11783"/>
                </a:cxn>
                <a:cxn ang="0">
                  <a:pos x="connsiteX11784" y="connsiteY11784"/>
                </a:cxn>
                <a:cxn ang="0">
                  <a:pos x="connsiteX11785" y="connsiteY11785"/>
                </a:cxn>
                <a:cxn ang="0">
                  <a:pos x="connsiteX11786" y="connsiteY11786"/>
                </a:cxn>
                <a:cxn ang="0">
                  <a:pos x="connsiteX11787" y="connsiteY11787"/>
                </a:cxn>
                <a:cxn ang="0">
                  <a:pos x="connsiteX11788" y="connsiteY11788"/>
                </a:cxn>
                <a:cxn ang="0">
                  <a:pos x="connsiteX11789" y="connsiteY11789"/>
                </a:cxn>
                <a:cxn ang="0">
                  <a:pos x="connsiteX11790" y="connsiteY11790"/>
                </a:cxn>
                <a:cxn ang="0">
                  <a:pos x="connsiteX11791" y="connsiteY11791"/>
                </a:cxn>
                <a:cxn ang="0">
                  <a:pos x="connsiteX11792" y="connsiteY11792"/>
                </a:cxn>
                <a:cxn ang="0">
                  <a:pos x="connsiteX11793" y="connsiteY11793"/>
                </a:cxn>
                <a:cxn ang="0">
                  <a:pos x="connsiteX11794" y="connsiteY11794"/>
                </a:cxn>
                <a:cxn ang="0">
                  <a:pos x="connsiteX11795" y="connsiteY11795"/>
                </a:cxn>
                <a:cxn ang="0">
                  <a:pos x="connsiteX11796" y="connsiteY11796"/>
                </a:cxn>
                <a:cxn ang="0">
                  <a:pos x="connsiteX11797" y="connsiteY11797"/>
                </a:cxn>
                <a:cxn ang="0">
                  <a:pos x="connsiteX11798" y="connsiteY11798"/>
                </a:cxn>
                <a:cxn ang="0">
                  <a:pos x="connsiteX11799" y="connsiteY11799"/>
                </a:cxn>
                <a:cxn ang="0">
                  <a:pos x="connsiteX11800" y="connsiteY11800"/>
                </a:cxn>
                <a:cxn ang="0">
                  <a:pos x="connsiteX11801" y="connsiteY11801"/>
                </a:cxn>
                <a:cxn ang="0">
                  <a:pos x="connsiteX11802" y="connsiteY11802"/>
                </a:cxn>
                <a:cxn ang="0">
                  <a:pos x="connsiteX11803" y="connsiteY11803"/>
                </a:cxn>
                <a:cxn ang="0">
                  <a:pos x="connsiteX11804" y="connsiteY11804"/>
                </a:cxn>
                <a:cxn ang="0">
                  <a:pos x="connsiteX11805" y="connsiteY11805"/>
                </a:cxn>
                <a:cxn ang="0">
                  <a:pos x="connsiteX11806" y="connsiteY11806"/>
                </a:cxn>
                <a:cxn ang="0">
                  <a:pos x="connsiteX11807" y="connsiteY11807"/>
                </a:cxn>
                <a:cxn ang="0">
                  <a:pos x="connsiteX11808" y="connsiteY11808"/>
                </a:cxn>
                <a:cxn ang="0">
                  <a:pos x="connsiteX11809" y="connsiteY11809"/>
                </a:cxn>
                <a:cxn ang="0">
                  <a:pos x="connsiteX11810" y="connsiteY11810"/>
                </a:cxn>
                <a:cxn ang="0">
                  <a:pos x="connsiteX11811" y="connsiteY11811"/>
                </a:cxn>
                <a:cxn ang="0">
                  <a:pos x="connsiteX11812" y="connsiteY11812"/>
                </a:cxn>
                <a:cxn ang="0">
                  <a:pos x="connsiteX11813" y="connsiteY11813"/>
                </a:cxn>
                <a:cxn ang="0">
                  <a:pos x="connsiteX11814" y="connsiteY11814"/>
                </a:cxn>
                <a:cxn ang="0">
                  <a:pos x="connsiteX11815" y="connsiteY11815"/>
                </a:cxn>
                <a:cxn ang="0">
                  <a:pos x="connsiteX11816" y="connsiteY11816"/>
                </a:cxn>
                <a:cxn ang="0">
                  <a:pos x="connsiteX11817" y="connsiteY11817"/>
                </a:cxn>
                <a:cxn ang="0">
                  <a:pos x="connsiteX11818" y="connsiteY11818"/>
                </a:cxn>
                <a:cxn ang="0">
                  <a:pos x="connsiteX11819" y="connsiteY11819"/>
                </a:cxn>
                <a:cxn ang="0">
                  <a:pos x="connsiteX11820" y="connsiteY11820"/>
                </a:cxn>
                <a:cxn ang="0">
                  <a:pos x="connsiteX11821" y="connsiteY11821"/>
                </a:cxn>
                <a:cxn ang="0">
                  <a:pos x="connsiteX11822" y="connsiteY11822"/>
                </a:cxn>
                <a:cxn ang="0">
                  <a:pos x="connsiteX11823" y="connsiteY11823"/>
                </a:cxn>
                <a:cxn ang="0">
                  <a:pos x="connsiteX11824" y="connsiteY11824"/>
                </a:cxn>
                <a:cxn ang="0">
                  <a:pos x="connsiteX11825" y="connsiteY11825"/>
                </a:cxn>
                <a:cxn ang="0">
                  <a:pos x="connsiteX11826" y="connsiteY11826"/>
                </a:cxn>
                <a:cxn ang="0">
                  <a:pos x="connsiteX11827" y="connsiteY11827"/>
                </a:cxn>
                <a:cxn ang="0">
                  <a:pos x="connsiteX11828" y="connsiteY11828"/>
                </a:cxn>
                <a:cxn ang="0">
                  <a:pos x="connsiteX11829" y="connsiteY11829"/>
                </a:cxn>
                <a:cxn ang="0">
                  <a:pos x="connsiteX11830" y="connsiteY11830"/>
                </a:cxn>
                <a:cxn ang="0">
                  <a:pos x="connsiteX11831" y="connsiteY11831"/>
                </a:cxn>
                <a:cxn ang="0">
                  <a:pos x="connsiteX11832" y="connsiteY11832"/>
                </a:cxn>
                <a:cxn ang="0">
                  <a:pos x="connsiteX11833" y="connsiteY11833"/>
                </a:cxn>
                <a:cxn ang="0">
                  <a:pos x="connsiteX11834" y="connsiteY11834"/>
                </a:cxn>
                <a:cxn ang="0">
                  <a:pos x="connsiteX11835" y="connsiteY11835"/>
                </a:cxn>
                <a:cxn ang="0">
                  <a:pos x="connsiteX11836" y="connsiteY11836"/>
                </a:cxn>
                <a:cxn ang="0">
                  <a:pos x="connsiteX11837" y="connsiteY11837"/>
                </a:cxn>
                <a:cxn ang="0">
                  <a:pos x="connsiteX11838" y="connsiteY11838"/>
                </a:cxn>
                <a:cxn ang="0">
                  <a:pos x="connsiteX11839" y="connsiteY11839"/>
                </a:cxn>
                <a:cxn ang="0">
                  <a:pos x="connsiteX11840" y="connsiteY11840"/>
                </a:cxn>
                <a:cxn ang="0">
                  <a:pos x="connsiteX11841" y="connsiteY11841"/>
                </a:cxn>
                <a:cxn ang="0">
                  <a:pos x="connsiteX11842" y="connsiteY11842"/>
                </a:cxn>
                <a:cxn ang="0">
                  <a:pos x="connsiteX11843" y="connsiteY11843"/>
                </a:cxn>
                <a:cxn ang="0">
                  <a:pos x="connsiteX11844" y="connsiteY11844"/>
                </a:cxn>
                <a:cxn ang="0">
                  <a:pos x="connsiteX11845" y="connsiteY11845"/>
                </a:cxn>
                <a:cxn ang="0">
                  <a:pos x="connsiteX11846" y="connsiteY11846"/>
                </a:cxn>
                <a:cxn ang="0">
                  <a:pos x="connsiteX11847" y="connsiteY11847"/>
                </a:cxn>
                <a:cxn ang="0">
                  <a:pos x="connsiteX11848" y="connsiteY11848"/>
                </a:cxn>
                <a:cxn ang="0">
                  <a:pos x="connsiteX11849" y="connsiteY11849"/>
                </a:cxn>
                <a:cxn ang="0">
                  <a:pos x="connsiteX11850" y="connsiteY11850"/>
                </a:cxn>
                <a:cxn ang="0">
                  <a:pos x="connsiteX11851" y="connsiteY11851"/>
                </a:cxn>
                <a:cxn ang="0">
                  <a:pos x="connsiteX11852" y="connsiteY11852"/>
                </a:cxn>
                <a:cxn ang="0">
                  <a:pos x="connsiteX11853" y="connsiteY11853"/>
                </a:cxn>
                <a:cxn ang="0">
                  <a:pos x="connsiteX11854" y="connsiteY11854"/>
                </a:cxn>
                <a:cxn ang="0">
                  <a:pos x="connsiteX11855" y="connsiteY11855"/>
                </a:cxn>
                <a:cxn ang="0">
                  <a:pos x="connsiteX11856" y="connsiteY11856"/>
                </a:cxn>
                <a:cxn ang="0">
                  <a:pos x="connsiteX11857" y="connsiteY11857"/>
                </a:cxn>
                <a:cxn ang="0">
                  <a:pos x="connsiteX11858" y="connsiteY11858"/>
                </a:cxn>
                <a:cxn ang="0">
                  <a:pos x="connsiteX11859" y="connsiteY11859"/>
                </a:cxn>
                <a:cxn ang="0">
                  <a:pos x="connsiteX11860" y="connsiteY11860"/>
                </a:cxn>
                <a:cxn ang="0">
                  <a:pos x="connsiteX11861" y="connsiteY11861"/>
                </a:cxn>
                <a:cxn ang="0">
                  <a:pos x="connsiteX11862" y="connsiteY11862"/>
                </a:cxn>
                <a:cxn ang="0">
                  <a:pos x="connsiteX11863" y="connsiteY11863"/>
                </a:cxn>
                <a:cxn ang="0">
                  <a:pos x="connsiteX11864" y="connsiteY11864"/>
                </a:cxn>
                <a:cxn ang="0">
                  <a:pos x="connsiteX11865" y="connsiteY11865"/>
                </a:cxn>
                <a:cxn ang="0">
                  <a:pos x="connsiteX11866" y="connsiteY11866"/>
                </a:cxn>
                <a:cxn ang="0">
                  <a:pos x="connsiteX11867" y="connsiteY11867"/>
                </a:cxn>
                <a:cxn ang="0">
                  <a:pos x="connsiteX11868" y="connsiteY11868"/>
                </a:cxn>
                <a:cxn ang="0">
                  <a:pos x="connsiteX11869" y="connsiteY11869"/>
                </a:cxn>
                <a:cxn ang="0">
                  <a:pos x="connsiteX11870" y="connsiteY11870"/>
                </a:cxn>
                <a:cxn ang="0">
                  <a:pos x="connsiteX11871" y="connsiteY11871"/>
                </a:cxn>
                <a:cxn ang="0">
                  <a:pos x="connsiteX11872" y="connsiteY11872"/>
                </a:cxn>
                <a:cxn ang="0">
                  <a:pos x="connsiteX11873" y="connsiteY11873"/>
                </a:cxn>
                <a:cxn ang="0">
                  <a:pos x="connsiteX11874" y="connsiteY11874"/>
                </a:cxn>
                <a:cxn ang="0">
                  <a:pos x="connsiteX11875" y="connsiteY11875"/>
                </a:cxn>
                <a:cxn ang="0">
                  <a:pos x="connsiteX11876" y="connsiteY11876"/>
                </a:cxn>
                <a:cxn ang="0">
                  <a:pos x="connsiteX11877" y="connsiteY11877"/>
                </a:cxn>
                <a:cxn ang="0">
                  <a:pos x="connsiteX11878" y="connsiteY11878"/>
                </a:cxn>
                <a:cxn ang="0">
                  <a:pos x="connsiteX11879" y="connsiteY11879"/>
                </a:cxn>
                <a:cxn ang="0">
                  <a:pos x="connsiteX11880" y="connsiteY11880"/>
                </a:cxn>
                <a:cxn ang="0">
                  <a:pos x="connsiteX11881" y="connsiteY11881"/>
                </a:cxn>
                <a:cxn ang="0">
                  <a:pos x="connsiteX11882" y="connsiteY11882"/>
                </a:cxn>
                <a:cxn ang="0">
                  <a:pos x="connsiteX11883" y="connsiteY11883"/>
                </a:cxn>
                <a:cxn ang="0">
                  <a:pos x="connsiteX11884" y="connsiteY11884"/>
                </a:cxn>
                <a:cxn ang="0">
                  <a:pos x="connsiteX11885" y="connsiteY11885"/>
                </a:cxn>
                <a:cxn ang="0">
                  <a:pos x="connsiteX11886" y="connsiteY11886"/>
                </a:cxn>
                <a:cxn ang="0">
                  <a:pos x="connsiteX11887" y="connsiteY11887"/>
                </a:cxn>
                <a:cxn ang="0">
                  <a:pos x="connsiteX11888" y="connsiteY11888"/>
                </a:cxn>
                <a:cxn ang="0">
                  <a:pos x="connsiteX11889" y="connsiteY11889"/>
                </a:cxn>
                <a:cxn ang="0">
                  <a:pos x="connsiteX11890" y="connsiteY11890"/>
                </a:cxn>
                <a:cxn ang="0">
                  <a:pos x="connsiteX11891" y="connsiteY11891"/>
                </a:cxn>
                <a:cxn ang="0">
                  <a:pos x="connsiteX11892" y="connsiteY11892"/>
                </a:cxn>
                <a:cxn ang="0">
                  <a:pos x="connsiteX11893" y="connsiteY11893"/>
                </a:cxn>
                <a:cxn ang="0">
                  <a:pos x="connsiteX11894" y="connsiteY11894"/>
                </a:cxn>
                <a:cxn ang="0">
                  <a:pos x="connsiteX11895" y="connsiteY11895"/>
                </a:cxn>
                <a:cxn ang="0">
                  <a:pos x="connsiteX11896" y="connsiteY11896"/>
                </a:cxn>
                <a:cxn ang="0">
                  <a:pos x="connsiteX11897" y="connsiteY11897"/>
                </a:cxn>
                <a:cxn ang="0">
                  <a:pos x="connsiteX11898" y="connsiteY11898"/>
                </a:cxn>
                <a:cxn ang="0">
                  <a:pos x="connsiteX11899" y="connsiteY11899"/>
                </a:cxn>
                <a:cxn ang="0">
                  <a:pos x="connsiteX11900" y="connsiteY11900"/>
                </a:cxn>
                <a:cxn ang="0">
                  <a:pos x="connsiteX11901" y="connsiteY11901"/>
                </a:cxn>
                <a:cxn ang="0">
                  <a:pos x="connsiteX11902" y="connsiteY11902"/>
                </a:cxn>
                <a:cxn ang="0">
                  <a:pos x="connsiteX11903" y="connsiteY11903"/>
                </a:cxn>
                <a:cxn ang="0">
                  <a:pos x="connsiteX11904" y="connsiteY11904"/>
                </a:cxn>
                <a:cxn ang="0">
                  <a:pos x="connsiteX11905" y="connsiteY11905"/>
                </a:cxn>
                <a:cxn ang="0">
                  <a:pos x="connsiteX11906" y="connsiteY11906"/>
                </a:cxn>
                <a:cxn ang="0">
                  <a:pos x="connsiteX11907" y="connsiteY11907"/>
                </a:cxn>
                <a:cxn ang="0">
                  <a:pos x="connsiteX11908" y="connsiteY11908"/>
                </a:cxn>
                <a:cxn ang="0">
                  <a:pos x="connsiteX11909" y="connsiteY11909"/>
                </a:cxn>
                <a:cxn ang="0">
                  <a:pos x="connsiteX11910" y="connsiteY11910"/>
                </a:cxn>
                <a:cxn ang="0">
                  <a:pos x="connsiteX11911" y="connsiteY11911"/>
                </a:cxn>
                <a:cxn ang="0">
                  <a:pos x="connsiteX11912" y="connsiteY11912"/>
                </a:cxn>
                <a:cxn ang="0">
                  <a:pos x="connsiteX11913" y="connsiteY11913"/>
                </a:cxn>
                <a:cxn ang="0">
                  <a:pos x="connsiteX11914" y="connsiteY11914"/>
                </a:cxn>
                <a:cxn ang="0">
                  <a:pos x="connsiteX11915" y="connsiteY11915"/>
                </a:cxn>
                <a:cxn ang="0">
                  <a:pos x="connsiteX11916" y="connsiteY11916"/>
                </a:cxn>
                <a:cxn ang="0">
                  <a:pos x="connsiteX11917" y="connsiteY11917"/>
                </a:cxn>
                <a:cxn ang="0">
                  <a:pos x="connsiteX11918" y="connsiteY11918"/>
                </a:cxn>
                <a:cxn ang="0">
                  <a:pos x="connsiteX11919" y="connsiteY11919"/>
                </a:cxn>
                <a:cxn ang="0">
                  <a:pos x="connsiteX11920" y="connsiteY11920"/>
                </a:cxn>
                <a:cxn ang="0">
                  <a:pos x="connsiteX11921" y="connsiteY11921"/>
                </a:cxn>
                <a:cxn ang="0">
                  <a:pos x="connsiteX11922" y="connsiteY11922"/>
                </a:cxn>
                <a:cxn ang="0">
                  <a:pos x="connsiteX11923" y="connsiteY11923"/>
                </a:cxn>
                <a:cxn ang="0">
                  <a:pos x="connsiteX11924" y="connsiteY11924"/>
                </a:cxn>
                <a:cxn ang="0">
                  <a:pos x="connsiteX11925" y="connsiteY11925"/>
                </a:cxn>
                <a:cxn ang="0">
                  <a:pos x="connsiteX11926" y="connsiteY11926"/>
                </a:cxn>
                <a:cxn ang="0">
                  <a:pos x="connsiteX11927" y="connsiteY11927"/>
                </a:cxn>
                <a:cxn ang="0">
                  <a:pos x="connsiteX11928" y="connsiteY11928"/>
                </a:cxn>
                <a:cxn ang="0">
                  <a:pos x="connsiteX11929" y="connsiteY11929"/>
                </a:cxn>
                <a:cxn ang="0">
                  <a:pos x="connsiteX11930" y="connsiteY11930"/>
                </a:cxn>
                <a:cxn ang="0">
                  <a:pos x="connsiteX11931" y="connsiteY11931"/>
                </a:cxn>
                <a:cxn ang="0">
                  <a:pos x="connsiteX11932" y="connsiteY11932"/>
                </a:cxn>
                <a:cxn ang="0">
                  <a:pos x="connsiteX11933" y="connsiteY11933"/>
                </a:cxn>
                <a:cxn ang="0">
                  <a:pos x="connsiteX11934" y="connsiteY11934"/>
                </a:cxn>
                <a:cxn ang="0">
                  <a:pos x="connsiteX11935" y="connsiteY11935"/>
                </a:cxn>
                <a:cxn ang="0">
                  <a:pos x="connsiteX11936" y="connsiteY11936"/>
                </a:cxn>
                <a:cxn ang="0">
                  <a:pos x="connsiteX11937" y="connsiteY11937"/>
                </a:cxn>
                <a:cxn ang="0">
                  <a:pos x="connsiteX11938" y="connsiteY11938"/>
                </a:cxn>
                <a:cxn ang="0">
                  <a:pos x="connsiteX11939" y="connsiteY11939"/>
                </a:cxn>
                <a:cxn ang="0">
                  <a:pos x="connsiteX11940" y="connsiteY11940"/>
                </a:cxn>
                <a:cxn ang="0">
                  <a:pos x="connsiteX11941" y="connsiteY11941"/>
                </a:cxn>
                <a:cxn ang="0">
                  <a:pos x="connsiteX11942" y="connsiteY11942"/>
                </a:cxn>
                <a:cxn ang="0">
                  <a:pos x="connsiteX11943" y="connsiteY11943"/>
                </a:cxn>
                <a:cxn ang="0">
                  <a:pos x="connsiteX11944" y="connsiteY11944"/>
                </a:cxn>
                <a:cxn ang="0">
                  <a:pos x="connsiteX11945" y="connsiteY11945"/>
                </a:cxn>
                <a:cxn ang="0">
                  <a:pos x="connsiteX11946" y="connsiteY11946"/>
                </a:cxn>
                <a:cxn ang="0">
                  <a:pos x="connsiteX11947" y="connsiteY11947"/>
                </a:cxn>
                <a:cxn ang="0">
                  <a:pos x="connsiteX11948" y="connsiteY11948"/>
                </a:cxn>
                <a:cxn ang="0">
                  <a:pos x="connsiteX11949" y="connsiteY11949"/>
                </a:cxn>
                <a:cxn ang="0">
                  <a:pos x="connsiteX11950" y="connsiteY11950"/>
                </a:cxn>
                <a:cxn ang="0">
                  <a:pos x="connsiteX11951" y="connsiteY11951"/>
                </a:cxn>
                <a:cxn ang="0">
                  <a:pos x="connsiteX11952" y="connsiteY11952"/>
                </a:cxn>
                <a:cxn ang="0">
                  <a:pos x="connsiteX11953" y="connsiteY11953"/>
                </a:cxn>
                <a:cxn ang="0">
                  <a:pos x="connsiteX11954" y="connsiteY11954"/>
                </a:cxn>
                <a:cxn ang="0">
                  <a:pos x="connsiteX11955" y="connsiteY11955"/>
                </a:cxn>
                <a:cxn ang="0">
                  <a:pos x="connsiteX11956" y="connsiteY11956"/>
                </a:cxn>
                <a:cxn ang="0">
                  <a:pos x="connsiteX11957" y="connsiteY11957"/>
                </a:cxn>
                <a:cxn ang="0">
                  <a:pos x="connsiteX11958" y="connsiteY11958"/>
                </a:cxn>
                <a:cxn ang="0">
                  <a:pos x="connsiteX11959" y="connsiteY11959"/>
                </a:cxn>
                <a:cxn ang="0">
                  <a:pos x="connsiteX11960" y="connsiteY11960"/>
                </a:cxn>
                <a:cxn ang="0">
                  <a:pos x="connsiteX11961" y="connsiteY11961"/>
                </a:cxn>
                <a:cxn ang="0">
                  <a:pos x="connsiteX11962" y="connsiteY11962"/>
                </a:cxn>
                <a:cxn ang="0">
                  <a:pos x="connsiteX11963" y="connsiteY11963"/>
                </a:cxn>
                <a:cxn ang="0">
                  <a:pos x="connsiteX11964" y="connsiteY11964"/>
                </a:cxn>
                <a:cxn ang="0">
                  <a:pos x="connsiteX11965" y="connsiteY11965"/>
                </a:cxn>
                <a:cxn ang="0">
                  <a:pos x="connsiteX11966" y="connsiteY11966"/>
                </a:cxn>
                <a:cxn ang="0">
                  <a:pos x="connsiteX11967" y="connsiteY11967"/>
                </a:cxn>
                <a:cxn ang="0">
                  <a:pos x="connsiteX11968" y="connsiteY11968"/>
                </a:cxn>
                <a:cxn ang="0">
                  <a:pos x="connsiteX11969" y="connsiteY11969"/>
                </a:cxn>
                <a:cxn ang="0">
                  <a:pos x="connsiteX11970" y="connsiteY11970"/>
                </a:cxn>
                <a:cxn ang="0">
                  <a:pos x="connsiteX11971" y="connsiteY11971"/>
                </a:cxn>
                <a:cxn ang="0">
                  <a:pos x="connsiteX11972" y="connsiteY11972"/>
                </a:cxn>
                <a:cxn ang="0">
                  <a:pos x="connsiteX11973" y="connsiteY11973"/>
                </a:cxn>
                <a:cxn ang="0">
                  <a:pos x="connsiteX11974" y="connsiteY11974"/>
                </a:cxn>
                <a:cxn ang="0">
                  <a:pos x="connsiteX11975" y="connsiteY11975"/>
                </a:cxn>
                <a:cxn ang="0">
                  <a:pos x="connsiteX11976" y="connsiteY11976"/>
                </a:cxn>
                <a:cxn ang="0">
                  <a:pos x="connsiteX11977" y="connsiteY11977"/>
                </a:cxn>
                <a:cxn ang="0">
                  <a:pos x="connsiteX11978" y="connsiteY11978"/>
                </a:cxn>
                <a:cxn ang="0">
                  <a:pos x="connsiteX11979" y="connsiteY11979"/>
                </a:cxn>
                <a:cxn ang="0">
                  <a:pos x="connsiteX11980" y="connsiteY11980"/>
                </a:cxn>
                <a:cxn ang="0">
                  <a:pos x="connsiteX11981" y="connsiteY11981"/>
                </a:cxn>
                <a:cxn ang="0">
                  <a:pos x="connsiteX11982" y="connsiteY11982"/>
                </a:cxn>
                <a:cxn ang="0">
                  <a:pos x="connsiteX11983" y="connsiteY11983"/>
                </a:cxn>
                <a:cxn ang="0">
                  <a:pos x="connsiteX11984" y="connsiteY11984"/>
                </a:cxn>
                <a:cxn ang="0">
                  <a:pos x="connsiteX11985" y="connsiteY11985"/>
                </a:cxn>
                <a:cxn ang="0">
                  <a:pos x="connsiteX11986" y="connsiteY11986"/>
                </a:cxn>
                <a:cxn ang="0">
                  <a:pos x="connsiteX11987" y="connsiteY11987"/>
                </a:cxn>
                <a:cxn ang="0">
                  <a:pos x="connsiteX11988" y="connsiteY11988"/>
                </a:cxn>
                <a:cxn ang="0">
                  <a:pos x="connsiteX11989" y="connsiteY11989"/>
                </a:cxn>
                <a:cxn ang="0">
                  <a:pos x="connsiteX11990" y="connsiteY11990"/>
                </a:cxn>
                <a:cxn ang="0">
                  <a:pos x="connsiteX11991" y="connsiteY11991"/>
                </a:cxn>
                <a:cxn ang="0">
                  <a:pos x="connsiteX11992" y="connsiteY11992"/>
                </a:cxn>
                <a:cxn ang="0">
                  <a:pos x="connsiteX11993" y="connsiteY11993"/>
                </a:cxn>
                <a:cxn ang="0">
                  <a:pos x="connsiteX11994" y="connsiteY11994"/>
                </a:cxn>
                <a:cxn ang="0">
                  <a:pos x="connsiteX11995" y="connsiteY11995"/>
                </a:cxn>
                <a:cxn ang="0">
                  <a:pos x="connsiteX11996" y="connsiteY11996"/>
                </a:cxn>
                <a:cxn ang="0">
                  <a:pos x="connsiteX11997" y="connsiteY11997"/>
                </a:cxn>
                <a:cxn ang="0">
                  <a:pos x="connsiteX11998" y="connsiteY11998"/>
                </a:cxn>
                <a:cxn ang="0">
                  <a:pos x="connsiteX11999" y="connsiteY11999"/>
                </a:cxn>
                <a:cxn ang="0">
                  <a:pos x="connsiteX12000" y="connsiteY12000"/>
                </a:cxn>
                <a:cxn ang="0">
                  <a:pos x="connsiteX12001" y="connsiteY12001"/>
                </a:cxn>
                <a:cxn ang="0">
                  <a:pos x="connsiteX12002" y="connsiteY12002"/>
                </a:cxn>
                <a:cxn ang="0">
                  <a:pos x="connsiteX12003" y="connsiteY12003"/>
                </a:cxn>
                <a:cxn ang="0">
                  <a:pos x="connsiteX12004" y="connsiteY12004"/>
                </a:cxn>
                <a:cxn ang="0">
                  <a:pos x="connsiteX12005" y="connsiteY12005"/>
                </a:cxn>
                <a:cxn ang="0">
                  <a:pos x="connsiteX12006" y="connsiteY12006"/>
                </a:cxn>
                <a:cxn ang="0">
                  <a:pos x="connsiteX12007" y="connsiteY12007"/>
                </a:cxn>
                <a:cxn ang="0">
                  <a:pos x="connsiteX12008" y="connsiteY12008"/>
                </a:cxn>
                <a:cxn ang="0">
                  <a:pos x="connsiteX12009" y="connsiteY12009"/>
                </a:cxn>
                <a:cxn ang="0">
                  <a:pos x="connsiteX12010" y="connsiteY12010"/>
                </a:cxn>
                <a:cxn ang="0">
                  <a:pos x="connsiteX12011" y="connsiteY12011"/>
                </a:cxn>
                <a:cxn ang="0">
                  <a:pos x="connsiteX12012" y="connsiteY12012"/>
                </a:cxn>
                <a:cxn ang="0">
                  <a:pos x="connsiteX12013" y="connsiteY12013"/>
                </a:cxn>
                <a:cxn ang="0">
                  <a:pos x="connsiteX12014" y="connsiteY12014"/>
                </a:cxn>
                <a:cxn ang="0">
                  <a:pos x="connsiteX12015" y="connsiteY12015"/>
                </a:cxn>
                <a:cxn ang="0">
                  <a:pos x="connsiteX12016" y="connsiteY12016"/>
                </a:cxn>
                <a:cxn ang="0">
                  <a:pos x="connsiteX12017" y="connsiteY12017"/>
                </a:cxn>
                <a:cxn ang="0">
                  <a:pos x="connsiteX12018" y="connsiteY12018"/>
                </a:cxn>
                <a:cxn ang="0">
                  <a:pos x="connsiteX12019" y="connsiteY12019"/>
                </a:cxn>
                <a:cxn ang="0">
                  <a:pos x="connsiteX12020" y="connsiteY12020"/>
                </a:cxn>
                <a:cxn ang="0">
                  <a:pos x="connsiteX12021" y="connsiteY12021"/>
                </a:cxn>
                <a:cxn ang="0">
                  <a:pos x="connsiteX12022" y="connsiteY12022"/>
                </a:cxn>
                <a:cxn ang="0">
                  <a:pos x="connsiteX12023" y="connsiteY12023"/>
                </a:cxn>
                <a:cxn ang="0">
                  <a:pos x="connsiteX12024" y="connsiteY12024"/>
                </a:cxn>
                <a:cxn ang="0">
                  <a:pos x="connsiteX12025" y="connsiteY12025"/>
                </a:cxn>
                <a:cxn ang="0">
                  <a:pos x="connsiteX12026" y="connsiteY12026"/>
                </a:cxn>
                <a:cxn ang="0">
                  <a:pos x="connsiteX12027" y="connsiteY12027"/>
                </a:cxn>
                <a:cxn ang="0">
                  <a:pos x="connsiteX12028" y="connsiteY12028"/>
                </a:cxn>
                <a:cxn ang="0">
                  <a:pos x="connsiteX12029" y="connsiteY12029"/>
                </a:cxn>
                <a:cxn ang="0">
                  <a:pos x="connsiteX12030" y="connsiteY12030"/>
                </a:cxn>
                <a:cxn ang="0">
                  <a:pos x="connsiteX12031" y="connsiteY12031"/>
                </a:cxn>
                <a:cxn ang="0">
                  <a:pos x="connsiteX12032" y="connsiteY12032"/>
                </a:cxn>
                <a:cxn ang="0">
                  <a:pos x="connsiteX12033" y="connsiteY12033"/>
                </a:cxn>
                <a:cxn ang="0">
                  <a:pos x="connsiteX12034" y="connsiteY12034"/>
                </a:cxn>
                <a:cxn ang="0">
                  <a:pos x="connsiteX12035" y="connsiteY12035"/>
                </a:cxn>
                <a:cxn ang="0">
                  <a:pos x="connsiteX12036" y="connsiteY12036"/>
                </a:cxn>
                <a:cxn ang="0">
                  <a:pos x="connsiteX12037" y="connsiteY12037"/>
                </a:cxn>
                <a:cxn ang="0">
                  <a:pos x="connsiteX12038" y="connsiteY12038"/>
                </a:cxn>
                <a:cxn ang="0">
                  <a:pos x="connsiteX12039" y="connsiteY12039"/>
                </a:cxn>
                <a:cxn ang="0">
                  <a:pos x="connsiteX12040" y="connsiteY12040"/>
                </a:cxn>
                <a:cxn ang="0">
                  <a:pos x="connsiteX12041" y="connsiteY12041"/>
                </a:cxn>
                <a:cxn ang="0">
                  <a:pos x="connsiteX12042" y="connsiteY12042"/>
                </a:cxn>
                <a:cxn ang="0">
                  <a:pos x="connsiteX12043" y="connsiteY12043"/>
                </a:cxn>
                <a:cxn ang="0">
                  <a:pos x="connsiteX12044" y="connsiteY12044"/>
                </a:cxn>
                <a:cxn ang="0">
                  <a:pos x="connsiteX12045" y="connsiteY12045"/>
                </a:cxn>
                <a:cxn ang="0">
                  <a:pos x="connsiteX12046" y="connsiteY12046"/>
                </a:cxn>
                <a:cxn ang="0">
                  <a:pos x="connsiteX12047" y="connsiteY12047"/>
                </a:cxn>
                <a:cxn ang="0">
                  <a:pos x="connsiteX12048" y="connsiteY12048"/>
                </a:cxn>
                <a:cxn ang="0">
                  <a:pos x="connsiteX12049" y="connsiteY12049"/>
                </a:cxn>
                <a:cxn ang="0">
                  <a:pos x="connsiteX12050" y="connsiteY12050"/>
                </a:cxn>
                <a:cxn ang="0">
                  <a:pos x="connsiteX12051" y="connsiteY12051"/>
                </a:cxn>
                <a:cxn ang="0">
                  <a:pos x="connsiteX12052" y="connsiteY12052"/>
                </a:cxn>
                <a:cxn ang="0">
                  <a:pos x="connsiteX12053" y="connsiteY12053"/>
                </a:cxn>
                <a:cxn ang="0">
                  <a:pos x="connsiteX12054" y="connsiteY12054"/>
                </a:cxn>
                <a:cxn ang="0">
                  <a:pos x="connsiteX12055" y="connsiteY12055"/>
                </a:cxn>
                <a:cxn ang="0">
                  <a:pos x="connsiteX12056" y="connsiteY12056"/>
                </a:cxn>
                <a:cxn ang="0">
                  <a:pos x="connsiteX12057" y="connsiteY12057"/>
                </a:cxn>
                <a:cxn ang="0">
                  <a:pos x="connsiteX12058" y="connsiteY12058"/>
                </a:cxn>
                <a:cxn ang="0">
                  <a:pos x="connsiteX12059" y="connsiteY12059"/>
                </a:cxn>
                <a:cxn ang="0">
                  <a:pos x="connsiteX12060" y="connsiteY12060"/>
                </a:cxn>
                <a:cxn ang="0">
                  <a:pos x="connsiteX12061" y="connsiteY12061"/>
                </a:cxn>
                <a:cxn ang="0">
                  <a:pos x="connsiteX12062" y="connsiteY12062"/>
                </a:cxn>
                <a:cxn ang="0">
                  <a:pos x="connsiteX12063" y="connsiteY12063"/>
                </a:cxn>
                <a:cxn ang="0">
                  <a:pos x="connsiteX12064" y="connsiteY12064"/>
                </a:cxn>
                <a:cxn ang="0">
                  <a:pos x="connsiteX12065" y="connsiteY12065"/>
                </a:cxn>
                <a:cxn ang="0">
                  <a:pos x="connsiteX12066" y="connsiteY12066"/>
                </a:cxn>
                <a:cxn ang="0">
                  <a:pos x="connsiteX12067" y="connsiteY12067"/>
                </a:cxn>
                <a:cxn ang="0">
                  <a:pos x="connsiteX12068" y="connsiteY12068"/>
                </a:cxn>
                <a:cxn ang="0">
                  <a:pos x="connsiteX12069" y="connsiteY12069"/>
                </a:cxn>
                <a:cxn ang="0">
                  <a:pos x="connsiteX12070" y="connsiteY12070"/>
                </a:cxn>
                <a:cxn ang="0">
                  <a:pos x="connsiteX12071" y="connsiteY12071"/>
                </a:cxn>
                <a:cxn ang="0">
                  <a:pos x="connsiteX12072" y="connsiteY12072"/>
                </a:cxn>
                <a:cxn ang="0">
                  <a:pos x="connsiteX12073" y="connsiteY12073"/>
                </a:cxn>
                <a:cxn ang="0">
                  <a:pos x="connsiteX12074" y="connsiteY12074"/>
                </a:cxn>
                <a:cxn ang="0">
                  <a:pos x="connsiteX12075" y="connsiteY12075"/>
                </a:cxn>
                <a:cxn ang="0">
                  <a:pos x="connsiteX12076" y="connsiteY12076"/>
                </a:cxn>
                <a:cxn ang="0">
                  <a:pos x="connsiteX12077" y="connsiteY12077"/>
                </a:cxn>
                <a:cxn ang="0">
                  <a:pos x="connsiteX12078" y="connsiteY12078"/>
                </a:cxn>
                <a:cxn ang="0">
                  <a:pos x="connsiteX12079" y="connsiteY12079"/>
                </a:cxn>
                <a:cxn ang="0">
                  <a:pos x="connsiteX12080" y="connsiteY12080"/>
                </a:cxn>
                <a:cxn ang="0">
                  <a:pos x="connsiteX12081" y="connsiteY12081"/>
                </a:cxn>
                <a:cxn ang="0">
                  <a:pos x="connsiteX12082" y="connsiteY12082"/>
                </a:cxn>
                <a:cxn ang="0">
                  <a:pos x="connsiteX12083" y="connsiteY12083"/>
                </a:cxn>
                <a:cxn ang="0">
                  <a:pos x="connsiteX12084" y="connsiteY12084"/>
                </a:cxn>
                <a:cxn ang="0">
                  <a:pos x="connsiteX12085" y="connsiteY12085"/>
                </a:cxn>
                <a:cxn ang="0">
                  <a:pos x="connsiteX12086" y="connsiteY12086"/>
                </a:cxn>
                <a:cxn ang="0">
                  <a:pos x="connsiteX12087" y="connsiteY12087"/>
                </a:cxn>
                <a:cxn ang="0">
                  <a:pos x="connsiteX12088" y="connsiteY12088"/>
                </a:cxn>
                <a:cxn ang="0">
                  <a:pos x="connsiteX12089" y="connsiteY12089"/>
                </a:cxn>
                <a:cxn ang="0">
                  <a:pos x="connsiteX12090" y="connsiteY12090"/>
                </a:cxn>
                <a:cxn ang="0">
                  <a:pos x="connsiteX12091" y="connsiteY12091"/>
                </a:cxn>
                <a:cxn ang="0">
                  <a:pos x="connsiteX12092" y="connsiteY12092"/>
                </a:cxn>
                <a:cxn ang="0">
                  <a:pos x="connsiteX12093" y="connsiteY12093"/>
                </a:cxn>
                <a:cxn ang="0">
                  <a:pos x="connsiteX12094" y="connsiteY12094"/>
                </a:cxn>
                <a:cxn ang="0">
                  <a:pos x="connsiteX12095" y="connsiteY12095"/>
                </a:cxn>
                <a:cxn ang="0">
                  <a:pos x="connsiteX12096" y="connsiteY12096"/>
                </a:cxn>
                <a:cxn ang="0">
                  <a:pos x="connsiteX12097" y="connsiteY12097"/>
                </a:cxn>
                <a:cxn ang="0">
                  <a:pos x="connsiteX12098" y="connsiteY12098"/>
                </a:cxn>
                <a:cxn ang="0">
                  <a:pos x="connsiteX12099" y="connsiteY12099"/>
                </a:cxn>
                <a:cxn ang="0">
                  <a:pos x="connsiteX12100" y="connsiteY12100"/>
                </a:cxn>
                <a:cxn ang="0">
                  <a:pos x="connsiteX12101" y="connsiteY12101"/>
                </a:cxn>
                <a:cxn ang="0">
                  <a:pos x="connsiteX12102" y="connsiteY12102"/>
                </a:cxn>
                <a:cxn ang="0">
                  <a:pos x="connsiteX12103" y="connsiteY12103"/>
                </a:cxn>
                <a:cxn ang="0">
                  <a:pos x="connsiteX12104" y="connsiteY12104"/>
                </a:cxn>
                <a:cxn ang="0">
                  <a:pos x="connsiteX12105" y="connsiteY12105"/>
                </a:cxn>
                <a:cxn ang="0">
                  <a:pos x="connsiteX12106" y="connsiteY12106"/>
                </a:cxn>
                <a:cxn ang="0">
                  <a:pos x="connsiteX12107" y="connsiteY12107"/>
                </a:cxn>
                <a:cxn ang="0">
                  <a:pos x="connsiteX12108" y="connsiteY12108"/>
                </a:cxn>
                <a:cxn ang="0">
                  <a:pos x="connsiteX12109" y="connsiteY12109"/>
                </a:cxn>
                <a:cxn ang="0">
                  <a:pos x="connsiteX12110" y="connsiteY12110"/>
                </a:cxn>
                <a:cxn ang="0">
                  <a:pos x="connsiteX12111" y="connsiteY12111"/>
                </a:cxn>
                <a:cxn ang="0">
                  <a:pos x="connsiteX12112" y="connsiteY12112"/>
                </a:cxn>
                <a:cxn ang="0">
                  <a:pos x="connsiteX12113" y="connsiteY12113"/>
                </a:cxn>
                <a:cxn ang="0">
                  <a:pos x="connsiteX12114" y="connsiteY12114"/>
                </a:cxn>
                <a:cxn ang="0">
                  <a:pos x="connsiteX12115" y="connsiteY12115"/>
                </a:cxn>
                <a:cxn ang="0">
                  <a:pos x="connsiteX12116" y="connsiteY12116"/>
                </a:cxn>
                <a:cxn ang="0">
                  <a:pos x="connsiteX12117" y="connsiteY12117"/>
                </a:cxn>
                <a:cxn ang="0">
                  <a:pos x="connsiteX12118" y="connsiteY12118"/>
                </a:cxn>
                <a:cxn ang="0">
                  <a:pos x="connsiteX12119" y="connsiteY12119"/>
                </a:cxn>
                <a:cxn ang="0">
                  <a:pos x="connsiteX12120" y="connsiteY12120"/>
                </a:cxn>
                <a:cxn ang="0">
                  <a:pos x="connsiteX12121" y="connsiteY12121"/>
                </a:cxn>
                <a:cxn ang="0">
                  <a:pos x="connsiteX12122" y="connsiteY12122"/>
                </a:cxn>
                <a:cxn ang="0">
                  <a:pos x="connsiteX12123" y="connsiteY12123"/>
                </a:cxn>
                <a:cxn ang="0">
                  <a:pos x="connsiteX12124" y="connsiteY12124"/>
                </a:cxn>
                <a:cxn ang="0">
                  <a:pos x="connsiteX12125" y="connsiteY12125"/>
                </a:cxn>
                <a:cxn ang="0">
                  <a:pos x="connsiteX12126" y="connsiteY12126"/>
                </a:cxn>
                <a:cxn ang="0">
                  <a:pos x="connsiteX12127" y="connsiteY12127"/>
                </a:cxn>
                <a:cxn ang="0">
                  <a:pos x="connsiteX12128" y="connsiteY12128"/>
                </a:cxn>
                <a:cxn ang="0">
                  <a:pos x="connsiteX12129" y="connsiteY12129"/>
                </a:cxn>
                <a:cxn ang="0">
                  <a:pos x="connsiteX12130" y="connsiteY12130"/>
                </a:cxn>
                <a:cxn ang="0">
                  <a:pos x="connsiteX12131" y="connsiteY12131"/>
                </a:cxn>
                <a:cxn ang="0">
                  <a:pos x="connsiteX12132" y="connsiteY12132"/>
                </a:cxn>
                <a:cxn ang="0">
                  <a:pos x="connsiteX12133" y="connsiteY12133"/>
                </a:cxn>
                <a:cxn ang="0">
                  <a:pos x="connsiteX12134" y="connsiteY12134"/>
                </a:cxn>
                <a:cxn ang="0">
                  <a:pos x="connsiteX12135" y="connsiteY12135"/>
                </a:cxn>
                <a:cxn ang="0">
                  <a:pos x="connsiteX12136" y="connsiteY12136"/>
                </a:cxn>
                <a:cxn ang="0">
                  <a:pos x="connsiteX12137" y="connsiteY12137"/>
                </a:cxn>
                <a:cxn ang="0">
                  <a:pos x="connsiteX12138" y="connsiteY12138"/>
                </a:cxn>
                <a:cxn ang="0">
                  <a:pos x="connsiteX12139" y="connsiteY12139"/>
                </a:cxn>
                <a:cxn ang="0">
                  <a:pos x="connsiteX12140" y="connsiteY12140"/>
                </a:cxn>
                <a:cxn ang="0">
                  <a:pos x="connsiteX12141" y="connsiteY12141"/>
                </a:cxn>
                <a:cxn ang="0">
                  <a:pos x="connsiteX12142" y="connsiteY12142"/>
                </a:cxn>
                <a:cxn ang="0">
                  <a:pos x="connsiteX12143" y="connsiteY12143"/>
                </a:cxn>
                <a:cxn ang="0">
                  <a:pos x="connsiteX12144" y="connsiteY12144"/>
                </a:cxn>
                <a:cxn ang="0">
                  <a:pos x="connsiteX12145" y="connsiteY12145"/>
                </a:cxn>
                <a:cxn ang="0">
                  <a:pos x="connsiteX12146" y="connsiteY12146"/>
                </a:cxn>
                <a:cxn ang="0">
                  <a:pos x="connsiteX12147" y="connsiteY12147"/>
                </a:cxn>
                <a:cxn ang="0">
                  <a:pos x="connsiteX12148" y="connsiteY12148"/>
                </a:cxn>
                <a:cxn ang="0">
                  <a:pos x="connsiteX12149" y="connsiteY12149"/>
                </a:cxn>
                <a:cxn ang="0">
                  <a:pos x="connsiteX12150" y="connsiteY12150"/>
                </a:cxn>
                <a:cxn ang="0">
                  <a:pos x="connsiteX12151" y="connsiteY12151"/>
                </a:cxn>
                <a:cxn ang="0">
                  <a:pos x="connsiteX12152" y="connsiteY12152"/>
                </a:cxn>
                <a:cxn ang="0">
                  <a:pos x="connsiteX12153" y="connsiteY12153"/>
                </a:cxn>
                <a:cxn ang="0">
                  <a:pos x="connsiteX12154" y="connsiteY12154"/>
                </a:cxn>
                <a:cxn ang="0">
                  <a:pos x="connsiteX12155" y="connsiteY12155"/>
                </a:cxn>
                <a:cxn ang="0">
                  <a:pos x="connsiteX12156" y="connsiteY12156"/>
                </a:cxn>
                <a:cxn ang="0">
                  <a:pos x="connsiteX12157" y="connsiteY12157"/>
                </a:cxn>
                <a:cxn ang="0">
                  <a:pos x="connsiteX12158" y="connsiteY12158"/>
                </a:cxn>
                <a:cxn ang="0">
                  <a:pos x="connsiteX12159" y="connsiteY12159"/>
                </a:cxn>
                <a:cxn ang="0">
                  <a:pos x="connsiteX12160" y="connsiteY12160"/>
                </a:cxn>
                <a:cxn ang="0">
                  <a:pos x="connsiteX12161" y="connsiteY12161"/>
                </a:cxn>
                <a:cxn ang="0">
                  <a:pos x="connsiteX12162" y="connsiteY12162"/>
                </a:cxn>
                <a:cxn ang="0">
                  <a:pos x="connsiteX12163" y="connsiteY12163"/>
                </a:cxn>
                <a:cxn ang="0">
                  <a:pos x="connsiteX12164" y="connsiteY12164"/>
                </a:cxn>
                <a:cxn ang="0">
                  <a:pos x="connsiteX12165" y="connsiteY12165"/>
                </a:cxn>
                <a:cxn ang="0">
                  <a:pos x="connsiteX12166" y="connsiteY12166"/>
                </a:cxn>
                <a:cxn ang="0">
                  <a:pos x="connsiteX12167" y="connsiteY12167"/>
                </a:cxn>
                <a:cxn ang="0">
                  <a:pos x="connsiteX12168" y="connsiteY12168"/>
                </a:cxn>
                <a:cxn ang="0">
                  <a:pos x="connsiteX12169" y="connsiteY12169"/>
                </a:cxn>
                <a:cxn ang="0">
                  <a:pos x="connsiteX12170" y="connsiteY12170"/>
                </a:cxn>
                <a:cxn ang="0">
                  <a:pos x="connsiteX12171" y="connsiteY12171"/>
                </a:cxn>
                <a:cxn ang="0">
                  <a:pos x="connsiteX12172" y="connsiteY12172"/>
                </a:cxn>
                <a:cxn ang="0">
                  <a:pos x="connsiteX12173" y="connsiteY12173"/>
                </a:cxn>
                <a:cxn ang="0">
                  <a:pos x="connsiteX12174" y="connsiteY12174"/>
                </a:cxn>
                <a:cxn ang="0">
                  <a:pos x="connsiteX12175" y="connsiteY12175"/>
                </a:cxn>
                <a:cxn ang="0">
                  <a:pos x="connsiteX12176" y="connsiteY12176"/>
                </a:cxn>
                <a:cxn ang="0">
                  <a:pos x="connsiteX12177" y="connsiteY12177"/>
                </a:cxn>
                <a:cxn ang="0">
                  <a:pos x="connsiteX12178" y="connsiteY12178"/>
                </a:cxn>
                <a:cxn ang="0">
                  <a:pos x="connsiteX12179" y="connsiteY12179"/>
                </a:cxn>
                <a:cxn ang="0">
                  <a:pos x="connsiteX12180" y="connsiteY12180"/>
                </a:cxn>
                <a:cxn ang="0">
                  <a:pos x="connsiteX12181" y="connsiteY12181"/>
                </a:cxn>
                <a:cxn ang="0">
                  <a:pos x="connsiteX12182" y="connsiteY12182"/>
                </a:cxn>
                <a:cxn ang="0">
                  <a:pos x="connsiteX12183" y="connsiteY12183"/>
                </a:cxn>
                <a:cxn ang="0">
                  <a:pos x="connsiteX12184" y="connsiteY12184"/>
                </a:cxn>
                <a:cxn ang="0">
                  <a:pos x="connsiteX12185" y="connsiteY12185"/>
                </a:cxn>
                <a:cxn ang="0">
                  <a:pos x="connsiteX12186" y="connsiteY12186"/>
                </a:cxn>
                <a:cxn ang="0">
                  <a:pos x="connsiteX12187" y="connsiteY12187"/>
                </a:cxn>
                <a:cxn ang="0">
                  <a:pos x="connsiteX12188" y="connsiteY12188"/>
                </a:cxn>
                <a:cxn ang="0">
                  <a:pos x="connsiteX12189" y="connsiteY12189"/>
                </a:cxn>
                <a:cxn ang="0">
                  <a:pos x="connsiteX12190" y="connsiteY12190"/>
                </a:cxn>
                <a:cxn ang="0">
                  <a:pos x="connsiteX12191" y="connsiteY12191"/>
                </a:cxn>
                <a:cxn ang="0">
                  <a:pos x="connsiteX12192" y="connsiteY12192"/>
                </a:cxn>
                <a:cxn ang="0">
                  <a:pos x="connsiteX12193" y="connsiteY12193"/>
                </a:cxn>
                <a:cxn ang="0">
                  <a:pos x="connsiteX12194" y="connsiteY12194"/>
                </a:cxn>
                <a:cxn ang="0">
                  <a:pos x="connsiteX12195" y="connsiteY12195"/>
                </a:cxn>
                <a:cxn ang="0">
                  <a:pos x="connsiteX12196" y="connsiteY12196"/>
                </a:cxn>
                <a:cxn ang="0">
                  <a:pos x="connsiteX12197" y="connsiteY12197"/>
                </a:cxn>
                <a:cxn ang="0">
                  <a:pos x="connsiteX12198" y="connsiteY12198"/>
                </a:cxn>
                <a:cxn ang="0">
                  <a:pos x="connsiteX12199" y="connsiteY12199"/>
                </a:cxn>
                <a:cxn ang="0">
                  <a:pos x="connsiteX12200" y="connsiteY12200"/>
                </a:cxn>
                <a:cxn ang="0">
                  <a:pos x="connsiteX12201" y="connsiteY12201"/>
                </a:cxn>
                <a:cxn ang="0">
                  <a:pos x="connsiteX12202" y="connsiteY12202"/>
                </a:cxn>
                <a:cxn ang="0">
                  <a:pos x="connsiteX12203" y="connsiteY12203"/>
                </a:cxn>
                <a:cxn ang="0">
                  <a:pos x="connsiteX12204" y="connsiteY12204"/>
                </a:cxn>
                <a:cxn ang="0">
                  <a:pos x="connsiteX12205" y="connsiteY12205"/>
                </a:cxn>
                <a:cxn ang="0">
                  <a:pos x="connsiteX12206" y="connsiteY12206"/>
                </a:cxn>
                <a:cxn ang="0">
                  <a:pos x="connsiteX12207" y="connsiteY12207"/>
                </a:cxn>
                <a:cxn ang="0">
                  <a:pos x="connsiteX12208" y="connsiteY12208"/>
                </a:cxn>
                <a:cxn ang="0">
                  <a:pos x="connsiteX12209" y="connsiteY12209"/>
                </a:cxn>
                <a:cxn ang="0">
                  <a:pos x="connsiteX12210" y="connsiteY12210"/>
                </a:cxn>
                <a:cxn ang="0">
                  <a:pos x="connsiteX12211" y="connsiteY12211"/>
                </a:cxn>
                <a:cxn ang="0">
                  <a:pos x="connsiteX12212" y="connsiteY12212"/>
                </a:cxn>
                <a:cxn ang="0">
                  <a:pos x="connsiteX12213" y="connsiteY12213"/>
                </a:cxn>
                <a:cxn ang="0">
                  <a:pos x="connsiteX12214" y="connsiteY12214"/>
                </a:cxn>
                <a:cxn ang="0">
                  <a:pos x="connsiteX12215" y="connsiteY12215"/>
                </a:cxn>
                <a:cxn ang="0">
                  <a:pos x="connsiteX12216" y="connsiteY12216"/>
                </a:cxn>
                <a:cxn ang="0">
                  <a:pos x="connsiteX12217" y="connsiteY12217"/>
                </a:cxn>
                <a:cxn ang="0">
                  <a:pos x="connsiteX12218" y="connsiteY12218"/>
                </a:cxn>
                <a:cxn ang="0">
                  <a:pos x="connsiteX12219" y="connsiteY12219"/>
                </a:cxn>
                <a:cxn ang="0">
                  <a:pos x="connsiteX12220" y="connsiteY12220"/>
                </a:cxn>
                <a:cxn ang="0">
                  <a:pos x="connsiteX12221" y="connsiteY12221"/>
                </a:cxn>
                <a:cxn ang="0">
                  <a:pos x="connsiteX12222" y="connsiteY12222"/>
                </a:cxn>
                <a:cxn ang="0">
                  <a:pos x="connsiteX12223" y="connsiteY12223"/>
                </a:cxn>
                <a:cxn ang="0">
                  <a:pos x="connsiteX12224" y="connsiteY12224"/>
                </a:cxn>
                <a:cxn ang="0">
                  <a:pos x="connsiteX12225" y="connsiteY12225"/>
                </a:cxn>
                <a:cxn ang="0">
                  <a:pos x="connsiteX12226" y="connsiteY12226"/>
                </a:cxn>
                <a:cxn ang="0">
                  <a:pos x="connsiteX12227" y="connsiteY12227"/>
                </a:cxn>
                <a:cxn ang="0">
                  <a:pos x="connsiteX12228" y="connsiteY12228"/>
                </a:cxn>
                <a:cxn ang="0">
                  <a:pos x="connsiteX12229" y="connsiteY12229"/>
                </a:cxn>
                <a:cxn ang="0">
                  <a:pos x="connsiteX12230" y="connsiteY12230"/>
                </a:cxn>
                <a:cxn ang="0">
                  <a:pos x="connsiteX12231" y="connsiteY12231"/>
                </a:cxn>
                <a:cxn ang="0">
                  <a:pos x="connsiteX12232" y="connsiteY12232"/>
                </a:cxn>
                <a:cxn ang="0">
                  <a:pos x="connsiteX12233" y="connsiteY12233"/>
                </a:cxn>
                <a:cxn ang="0">
                  <a:pos x="connsiteX12234" y="connsiteY12234"/>
                </a:cxn>
                <a:cxn ang="0">
                  <a:pos x="connsiteX12235" y="connsiteY12235"/>
                </a:cxn>
                <a:cxn ang="0">
                  <a:pos x="connsiteX12236" y="connsiteY12236"/>
                </a:cxn>
                <a:cxn ang="0">
                  <a:pos x="connsiteX12237" y="connsiteY12237"/>
                </a:cxn>
                <a:cxn ang="0">
                  <a:pos x="connsiteX12238" y="connsiteY12238"/>
                </a:cxn>
                <a:cxn ang="0">
                  <a:pos x="connsiteX12239" y="connsiteY12239"/>
                </a:cxn>
                <a:cxn ang="0">
                  <a:pos x="connsiteX12240" y="connsiteY12240"/>
                </a:cxn>
                <a:cxn ang="0">
                  <a:pos x="connsiteX12241" y="connsiteY12241"/>
                </a:cxn>
                <a:cxn ang="0">
                  <a:pos x="connsiteX12242" y="connsiteY12242"/>
                </a:cxn>
                <a:cxn ang="0">
                  <a:pos x="connsiteX12243" y="connsiteY12243"/>
                </a:cxn>
                <a:cxn ang="0">
                  <a:pos x="connsiteX12244" y="connsiteY12244"/>
                </a:cxn>
                <a:cxn ang="0">
                  <a:pos x="connsiteX12245" y="connsiteY12245"/>
                </a:cxn>
                <a:cxn ang="0">
                  <a:pos x="connsiteX12246" y="connsiteY12246"/>
                </a:cxn>
                <a:cxn ang="0">
                  <a:pos x="connsiteX12247" y="connsiteY12247"/>
                </a:cxn>
                <a:cxn ang="0">
                  <a:pos x="connsiteX12248" y="connsiteY12248"/>
                </a:cxn>
                <a:cxn ang="0">
                  <a:pos x="connsiteX12249" y="connsiteY12249"/>
                </a:cxn>
                <a:cxn ang="0">
                  <a:pos x="connsiteX12250" y="connsiteY12250"/>
                </a:cxn>
                <a:cxn ang="0">
                  <a:pos x="connsiteX12251" y="connsiteY12251"/>
                </a:cxn>
                <a:cxn ang="0">
                  <a:pos x="connsiteX12252" y="connsiteY12252"/>
                </a:cxn>
                <a:cxn ang="0">
                  <a:pos x="connsiteX12253" y="connsiteY12253"/>
                </a:cxn>
                <a:cxn ang="0">
                  <a:pos x="connsiteX12254" y="connsiteY12254"/>
                </a:cxn>
                <a:cxn ang="0">
                  <a:pos x="connsiteX12255" y="connsiteY12255"/>
                </a:cxn>
                <a:cxn ang="0">
                  <a:pos x="connsiteX12256" y="connsiteY12256"/>
                </a:cxn>
                <a:cxn ang="0">
                  <a:pos x="connsiteX12257" y="connsiteY12257"/>
                </a:cxn>
                <a:cxn ang="0">
                  <a:pos x="connsiteX12258" y="connsiteY12258"/>
                </a:cxn>
                <a:cxn ang="0">
                  <a:pos x="connsiteX12259" y="connsiteY12259"/>
                </a:cxn>
                <a:cxn ang="0">
                  <a:pos x="connsiteX12260" y="connsiteY12260"/>
                </a:cxn>
                <a:cxn ang="0">
                  <a:pos x="connsiteX12261" y="connsiteY12261"/>
                </a:cxn>
                <a:cxn ang="0">
                  <a:pos x="connsiteX12262" y="connsiteY12262"/>
                </a:cxn>
                <a:cxn ang="0">
                  <a:pos x="connsiteX12263" y="connsiteY12263"/>
                </a:cxn>
                <a:cxn ang="0">
                  <a:pos x="connsiteX12264" y="connsiteY12264"/>
                </a:cxn>
                <a:cxn ang="0">
                  <a:pos x="connsiteX12265" y="connsiteY12265"/>
                </a:cxn>
                <a:cxn ang="0">
                  <a:pos x="connsiteX12266" y="connsiteY12266"/>
                </a:cxn>
                <a:cxn ang="0">
                  <a:pos x="connsiteX12267" y="connsiteY12267"/>
                </a:cxn>
                <a:cxn ang="0">
                  <a:pos x="connsiteX12268" y="connsiteY12268"/>
                </a:cxn>
                <a:cxn ang="0">
                  <a:pos x="connsiteX12269" y="connsiteY12269"/>
                </a:cxn>
                <a:cxn ang="0">
                  <a:pos x="connsiteX12270" y="connsiteY12270"/>
                </a:cxn>
                <a:cxn ang="0">
                  <a:pos x="connsiteX12271" y="connsiteY12271"/>
                </a:cxn>
                <a:cxn ang="0">
                  <a:pos x="connsiteX12272" y="connsiteY12272"/>
                </a:cxn>
                <a:cxn ang="0">
                  <a:pos x="connsiteX12273" y="connsiteY12273"/>
                </a:cxn>
                <a:cxn ang="0">
                  <a:pos x="connsiteX12274" y="connsiteY12274"/>
                </a:cxn>
                <a:cxn ang="0">
                  <a:pos x="connsiteX12275" y="connsiteY12275"/>
                </a:cxn>
                <a:cxn ang="0">
                  <a:pos x="connsiteX12276" y="connsiteY12276"/>
                </a:cxn>
                <a:cxn ang="0">
                  <a:pos x="connsiteX12277" y="connsiteY12277"/>
                </a:cxn>
                <a:cxn ang="0">
                  <a:pos x="connsiteX12278" y="connsiteY12278"/>
                </a:cxn>
                <a:cxn ang="0">
                  <a:pos x="connsiteX12279" y="connsiteY12279"/>
                </a:cxn>
                <a:cxn ang="0">
                  <a:pos x="connsiteX12280" y="connsiteY12280"/>
                </a:cxn>
                <a:cxn ang="0">
                  <a:pos x="connsiteX12281" y="connsiteY12281"/>
                </a:cxn>
                <a:cxn ang="0">
                  <a:pos x="connsiteX12282" y="connsiteY12282"/>
                </a:cxn>
                <a:cxn ang="0">
                  <a:pos x="connsiteX12283" y="connsiteY12283"/>
                </a:cxn>
                <a:cxn ang="0">
                  <a:pos x="connsiteX12284" y="connsiteY12284"/>
                </a:cxn>
                <a:cxn ang="0">
                  <a:pos x="connsiteX12285" y="connsiteY12285"/>
                </a:cxn>
                <a:cxn ang="0">
                  <a:pos x="connsiteX12286" y="connsiteY12286"/>
                </a:cxn>
                <a:cxn ang="0">
                  <a:pos x="connsiteX12287" y="connsiteY12287"/>
                </a:cxn>
                <a:cxn ang="0">
                  <a:pos x="connsiteX12288" y="connsiteY12288"/>
                </a:cxn>
                <a:cxn ang="0">
                  <a:pos x="connsiteX12289" y="connsiteY12289"/>
                </a:cxn>
                <a:cxn ang="0">
                  <a:pos x="connsiteX12290" y="connsiteY12290"/>
                </a:cxn>
                <a:cxn ang="0">
                  <a:pos x="connsiteX12291" y="connsiteY12291"/>
                </a:cxn>
                <a:cxn ang="0">
                  <a:pos x="connsiteX12292" y="connsiteY12292"/>
                </a:cxn>
                <a:cxn ang="0">
                  <a:pos x="connsiteX12293" y="connsiteY12293"/>
                </a:cxn>
                <a:cxn ang="0">
                  <a:pos x="connsiteX12294" y="connsiteY12294"/>
                </a:cxn>
                <a:cxn ang="0">
                  <a:pos x="connsiteX12295" y="connsiteY12295"/>
                </a:cxn>
                <a:cxn ang="0">
                  <a:pos x="connsiteX12296" y="connsiteY12296"/>
                </a:cxn>
                <a:cxn ang="0">
                  <a:pos x="connsiteX12297" y="connsiteY12297"/>
                </a:cxn>
                <a:cxn ang="0">
                  <a:pos x="connsiteX12298" y="connsiteY12298"/>
                </a:cxn>
                <a:cxn ang="0">
                  <a:pos x="connsiteX12299" y="connsiteY12299"/>
                </a:cxn>
                <a:cxn ang="0">
                  <a:pos x="connsiteX12300" y="connsiteY12300"/>
                </a:cxn>
                <a:cxn ang="0">
                  <a:pos x="connsiteX12301" y="connsiteY12301"/>
                </a:cxn>
                <a:cxn ang="0">
                  <a:pos x="connsiteX12302" y="connsiteY12302"/>
                </a:cxn>
                <a:cxn ang="0">
                  <a:pos x="connsiteX12303" y="connsiteY12303"/>
                </a:cxn>
                <a:cxn ang="0">
                  <a:pos x="connsiteX12304" y="connsiteY12304"/>
                </a:cxn>
                <a:cxn ang="0">
                  <a:pos x="connsiteX12305" y="connsiteY12305"/>
                </a:cxn>
                <a:cxn ang="0">
                  <a:pos x="connsiteX12306" y="connsiteY12306"/>
                </a:cxn>
                <a:cxn ang="0">
                  <a:pos x="connsiteX12307" y="connsiteY12307"/>
                </a:cxn>
                <a:cxn ang="0">
                  <a:pos x="connsiteX12308" y="connsiteY12308"/>
                </a:cxn>
                <a:cxn ang="0">
                  <a:pos x="connsiteX12309" y="connsiteY12309"/>
                </a:cxn>
                <a:cxn ang="0">
                  <a:pos x="connsiteX12310" y="connsiteY12310"/>
                </a:cxn>
                <a:cxn ang="0">
                  <a:pos x="connsiteX12311" y="connsiteY12311"/>
                </a:cxn>
                <a:cxn ang="0">
                  <a:pos x="connsiteX12312" y="connsiteY12312"/>
                </a:cxn>
                <a:cxn ang="0">
                  <a:pos x="connsiteX12313" y="connsiteY12313"/>
                </a:cxn>
                <a:cxn ang="0">
                  <a:pos x="connsiteX12314" y="connsiteY12314"/>
                </a:cxn>
                <a:cxn ang="0">
                  <a:pos x="connsiteX12315" y="connsiteY12315"/>
                </a:cxn>
                <a:cxn ang="0">
                  <a:pos x="connsiteX12316" y="connsiteY12316"/>
                </a:cxn>
                <a:cxn ang="0">
                  <a:pos x="connsiteX12317" y="connsiteY12317"/>
                </a:cxn>
                <a:cxn ang="0">
                  <a:pos x="connsiteX12318" y="connsiteY12318"/>
                </a:cxn>
                <a:cxn ang="0">
                  <a:pos x="connsiteX12319" y="connsiteY12319"/>
                </a:cxn>
                <a:cxn ang="0">
                  <a:pos x="connsiteX12320" y="connsiteY12320"/>
                </a:cxn>
                <a:cxn ang="0">
                  <a:pos x="connsiteX12321" y="connsiteY12321"/>
                </a:cxn>
                <a:cxn ang="0">
                  <a:pos x="connsiteX12322" y="connsiteY12322"/>
                </a:cxn>
                <a:cxn ang="0">
                  <a:pos x="connsiteX12323" y="connsiteY12323"/>
                </a:cxn>
                <a:cxn ang="0">
                  <a:pos x="connsiteX12324" y="connsiteY12324"/>
                </a:cxn>
                <a:cxn ang="0">
                  <a:pos x="connsiteX12325" y="connsiteY12325"/>
                </a:cxn>
                <a:cxn ang="0">
                  <a:pos x="connsiteX12326" y="connsiteY12326"/>
                </a:cxn>
                <a:cxn ang="0">
                  <a:pos x="connsiteX12327" y="connsiteY12327"/>
                </a:cxn>
                <a:cxn ang="0">
                  <a:pos x="connsiteX12328" y="connsiteY12328"/>
                </a:cxn>
                <a:cxn ang="0">
                  <a:pos x="connsiteX12329" y="connsiteY12329"/>
                </a:cxn>
                <a:cxn ang="0">
                  <a:pos x="connsiteX12330" y="connsiteY12330"/>
                </a:cxn>
                <a:cxn ang="0">
                  <a:pos x="connsiteX12331" y="connsiteY12331"/>
                </a:cxn>
                <a:cxn ang="0">
                  <a:pos x="connsiteX12332" y="connsiteY12332"/>
                </a:cxn>
                <a:cxn ang="0">
                  <a:pos x="connsiteX12333" y="connsiteY12333"/>
                </a:cxn>
                <a:cxn ang="0">
                  <a:pos x="connsiteX12334" y="connsiteY12334"/>
                </a:cxn>
                <a:cxn ang="0">
                  <a:pos x="connsiteX12335" y="connsiteY12335"/>
                </a:cxn>
                <a:cxn ang="0">
                  <a:pos x="connsiteX12336" y="connsiteY12336"/>
                </a:cxn>
                <a:cxn ang="0">
                  <a:pos x="connsiteX12337" y="connsiteY12337"/>
                </a:cxn>
                <a:cxn ang="0">
                  <a:pos x="connsiteX12338" y="connsiteY12338"/>
                </a:cxn>
                <a:cxn ang="0">
                  <a:pos x="connsiteX12339" y="connsiteY12339"/>
                </a:cxn>
                <a:cxn ang="0">
                  <a:pos x="connsiteX12340" y="connsiteY12340"/>
                </a:cxn>
                <a:cxn ang="0">
                  <a:pos x="connsiteX12341" y="connsiteY12341"/>
                </a:cxn>
                <a:cxn ang="0">
                  <a:pos x="connsiteX12342" y="connsiteY12342"/>
                </a:cxn>
                <a:cxn ang="0">
                  <a:pos x="connsiteX12343" y="connsiteY12343"/>
                </a:cxn>
                <a:cxn ang="0">
                  <a:pos x="connsiteX12344" y="connsiteY12344"/>
                </a:cxn>
                <a:cxn ang="0">
                  <a:pos x="connsiteX12345" y="connsiteY12345"/>
                </a:cxn>
                <a:cxn ang="0">
                  <a:pos x="connsiteX12346" y="connsiteY12346"/>
                </a:cxn>
                <a:cxn ang="0">
                  <a:pos x="connsiteX12347" y="connsiteY12347"/>
                </a:cxn>
                <a:cxn ang="0">
                  <a:pos x="connsiteX12348" y="connsiteY12348"/>
                </a:cxn>
                <a:cxn ang="0">
                  <a:pos x="connsiteX12349" y="connsiteY12349"/>
                </a:cxn>
                <a:cxn ang="0">
                  <a:pos x="connsiteX12350" y="connsiteY12350"/>
                </a:cxn>
                <a:cxn ang="0">
                  <a:pos x="connsiteX12351" y="connsiteY12351"/>
                </a:cxn>
                <a:cxn ang="0">
                  <a:pos x="connsiteX12352" y="connsiteY12352"/>
                </a:cxn>
                <a:cxn ang="0">
                  <a:pos x="connsiteX12353" y="connsiteY12353"/>
                </a:cxn>
                <a:cxn ang="0">
                  <a:pos x="connsiteX12354" y="connsiteY12354"/>
                </a:cxn>
                <a:cxn ang="0">
                  <a:pos x="connsiteX12355" y="connsiteY12355"/>
                </a:cxn>
                <a:cxn ang="0">
                  <a:pos x="connsiteX12356" y="connsiteY12356"/>
                </a:cxn>
                <a:cxn ang="0">
                  <a:pos x="connsiteX12357" y="connsiteY12357"/>
                </a:cxn>
                <a:cxn ang="0">
                  <a:pos x="connsiteX12358" y="connsiteY12358"/>
                </a:cxn>
                <a:cxn ang="0">
                  <a:pos x="connsiteX12359" y="connsiteY12359"/>
                </a:cxn>
                <a:cxn ang="0">
                  <a:pos x="connsiteX12360" y="connsiteY12360"/>
                </a:cxn>
                <a:cxn ang="0">
                  <a:pos x="connsiteX12361" y="connsiteY12361"/>
                </a:cxn>
                <a:cxn ang="0">
                  <a:pos x="connsiteX12362" y="connsiteY12362"/>
                </a:cxn>
                <a:cxn ang="0">
                  <a:pos x="connsiteX12363" y="connsiteY12363"/>
                </a:cxn>
                <a:cxn ang="0">
                  <a:pos x="connsiteX12364" y="connsiteY12364"/>
                </a:cxn>
                <a:cxn ang="0">
                  <a:pos x="connsiteX12365" y="connsiteY12365"/>
                </a:cxn>
                <a:cxn ang="0">
                  <a:pos x="connsiteX12366" y="connsiteY12366"/>
                </a:cxn>
                <a:cxn ang="0">
                  <a:pos x="connsiteX12367" y="connsiteY12367"/>
                </a:cxn>
                <a:cxn ang="0">
                  <a:pos x="connsiteX12368" y="connsiteY12368"/>
                </a:cxn>
                <a:cxn ang="0">
                  <a:pos x="connsiteX12369" y="connsiteY12369"/>
                </a:cxn>
                <a:cxn ang="0">
                  <a:pos x="connsiteX12370" y="connsiteY12370"/>
                </a:cxn>
                <a:cxn ang="0">
                  <a:pos x="connsiteX12371" y="connsiteY12371"/>
                </a:cxn>
                <a:cxn ang="0">
                  <a:pos x="connsiteX12372" y="connsiteY12372"/>
                </a:cxn>
                <a:cxn ang="0">
                  <a:pos x="connsiteX12373" y="connsiteY12373"/>
                </a:cxn>
                <a:cxn ang="0">
                  <a:pos x="connsiteX12374" y="connsiteY12374"/>
                </a:cxn>
                <a:cxn ang="0">
                  <a:pos x="connsiteX12375" y="connsiteY12375"/>
                </a:cxn>
                <a:cxn ang="0">
                  <a:pos x="connsiteX12376" y="connsiteY12376"/>
                </a:cxn>
                <a:cxn ang="0">
                  <a:pos x="connsiteX12377" y="connsiteY12377"/>
                </a:cxn>
                <a:cxn ang="0">
                  <a:pos x="connsiteX12378" y="connsiteY12378"/>
                </a:cxn>
                <a:cxn ang="0">
                  <a:pos x="connsiteX12379" y="connsiteY12379"/>
                </a:cxn>
                <a:cxn ang="0">
                  <a:pos x="connsiteX12380" y="connsiteY12380"/>
                </a:cxn>
                <a:cxn ang="0">
                  <a:pos x="connsiteX12381" y="connsiteY12381"/>
                </a:cxn>
                <a:cxn ang="0">
                  <a:pos x="connsiteX12382" y="connsiteY12382"/>
                </a:cxn>
                <a:cxn ang="0">
                  <a:pos x="connsiteX12383" y="connsiteY12383"/>
                </a:cxn>
                <a:cxn ang="0">
                  <a:pos x="connsiteX12384" y="connsiteY12384"/>
                </a:cxn>
                <a:cxn ang="0">
                  <a:pos x="connsiteX12385" y="connsiteY12385"/>
                </a:cxn>
                <a:cxn ang="0">
                  <a:pos x="connsiteX12386" y="connsiteY12386"/>
                </a:cxn>
                <a:cxn ang="0">
                  <a:pos x="connsiteX12387" y="connsiteY12387"/>
                </a:cxn>
                <a:cxn ang="0">
                  <a:pos x="connsiteX12388" y="connsiteY12388"/>
                </a:cxn>
                <a:cxn ang="0">
                  <a:pos x="connsiteX12389" y="connsiteY12389"/>
                </a:cxn>
                <a:cxn ang="0">
                  <a:pos x="connsiteX12390" y="connsiteY12390"/>
                </a:cxn>
                <a:cxn ang="0">
                  <a:pos x="connsiteX12391" y="connsiteY12391"/>
                </a:cxn>
                <a:cxn ang="0">
                  <a:pos x="connsiteX12392" y="connsiteY12392"/>
                </a:cxn>
                <a:cxn ang="0">
                  <a:pos x="connsiteX12393" y="connsiteY12393"/>
                </a:cxn>
                <a:cxn ang="0">
                  <a:pos x="connsiteX12394" y="connsiteY12394"/>
                </a:cxn>
                <a:cxn ang="0">
                  <a:pos x="connsiteX12395" y="connsiteY12395"/>
                </a:cxn>
                <a:cxn ang="0">
                  <a:pos x="connsiteX12396" y="connsiteY12396"/>
                </a:cxn>
                <a:cxn ang="0">
                  <a:pos x="connsiteX12397" y="connsiteY12397"/>
                </a:cxn>
                <a:cxn ang="0">
                  <a:pos x="connsiteX12398" y="connsiteY12398"/>
                </a:cxn>
                <a:cxn ang="0">
                  <a:pos x="connsiteX12399" y="connsiteY12399"/>
                </a:cxn>
                <a:cxn ang="0">
                  <a:pos x="connsiteX12400" y="connsiteY12400"/>
                </a:cxn>
                <a:cxn ang="0">
                  <a:pos x="connsiteX12401" y="connsiteY12401"/>
                </a:cxn>
                <a:cxn ang="0">
                  <a:pos x="connsiteX12402" y="connsiteY12402"/>
                </a:cxn>
                <a:cxn ang="0">
                  <a:pos x="connsiteX12403" y="connsiteY12403"/>
                </a:cxn>
                <a:cxn ang="0">
                  <a:pos x="connsiteX12404" y="connsiteY12404"/>
                </a:cxn>
                <a:cxn ang="0">
                  <a:pos x="connsiteX12405" y="connsiteY12405"/>
                </a:cxn>
                <a:cxn ang="0">
                  <a:pos x="connsiteX12406" y="connsiteY12406"/>
                </a:cxn>
                <a:cxn ang="0">
                  <a:pos x="connsiteX12407" y="connsiteY12407"/>
                </a:cxn>
                <a:cxn ang="0">
                  <a:pos x="connsiteX12408" y="connsiteY12408"/>
                </a:cxn>
                <a:cxn ang="0">
                  <a:pos x="connsiteX12409" y="connsiteY12409"/>
                </a:cxn>
                <a:cxn ang="0">
                  <a:pos x="connsiteX12410" y="connsiteY12410"/>
                </a:cxn>
                <a:cxn ang="0">
                  <a:pos x="connsiteX12411" y="connsiteY12411"/>
                </a:cxn>
                <a:cxn ang="0">
                  <a:pos x="connsiteX12412" y="connsiteY12412"/>
                </a:cxn>
                <a:cxn ang="0">
                  <a:pos x="connsiteX12413" y="connsiteY12413"/>
                </a:cxn>
                <a:cxn ang="0">
                  <a:pos x="connsiteX12414" y="connsiteY12414"/>
                </a:cxn>
                <a:cxn ang="0">
                  <a:pos x="connsiteX12415" y="connsiteY12415"/>
                </a:cxn>
                <a:cxn ang="0">
                  <a:pos x="connsiteX12416" y="connsiteY12416"/>
                </a:cxn>
                <a:cxn ang="0">
                  <a:pos x="connsiteX12417" y="connsiteY12417"/>
                </a:cxn>
                <a:cxn ang="0">
                  <a:pos x="connsiteX12418" y="connsiteY12418"/>
                </a:cxn>
                <a:cxn ang="0">
                  <a:pos x="connsiteX12419" y="connsiteY12419"/>
                </a:cxn>
                <a:cxn ang="0">
                  <a:pos x="connsiteX12420" y="connsiteY12420"/>
                </a:cxn>
                <a:cxn ang="0">
                  <a:pos x="connsiteX12421" y="connsiteY12421"/>
                </a:cxn>
                <a:cxn ang="0">
                  <a:pos x="connsiteX12422" y="connsiteY12422"/>
                </a:cxn>
                <a:cxn ang="0">
                  <a:pos x="connsiteX12423" y="connsiteY12423"/>
                </a:cxn>
                <a:cxn ang="0">
                  <a:pos x="connsiteX12424" y="connsiteY12424"/>
                </a:cxn>
                <a:cxn ang="0">
                  <a:pos x="connsiteX12425" y="connsiteY12425"/>
                </a:cxn>
                <a:cxn ang="0">
                  <a:pos x="connsiteX12426" y="connsiteY12426"/>
                </a:cxn>
                <a:cxn ang="0">
                  <a:pos x="connsiteX12427" y="connsiteY12427"/>
                </a:cxn>
                <a:cxn ang="0">
                  <a:pos x="connsiteX12428" y="connsiteY12428"/>
                </a:cxn>
                <a:cxn ang="0">
                  <a:pos x="connsiteX12429" y="connsiteY12429"/>
                </a:cxn>
                <a:cxn ang="0">
                  <a:pos x="connsiteX12430" y="connsiteY12430"/>
                </a:cxn>
                <a:cxn ang="0">
                  <a:pos x="connsiteX12431" y="connsiteY12431"/>
                </a:cxn>
                <a:cxn ang="0">
                  <a:pos x="connsiteX12432" y="connsiteY12432"/>
                </a:cxn>
                <a:cxn ang="0">
                  <a:pos x="connsiteX12433" y="connsiteY12433"/>
                </a:cxn>
                <a:cxn ang="0">
                  <a:pos x="connsiteX12434" y="connsiteY12434"/>
                </a:cxn>
                <a:cxn ang="0">
                  <a:pos x="connsiteX12435" y="connsiteY12435"/>
                </a:cxn>
                <a:cxn ang="0">
                  <a:pos x="connsiteX12436" y="connsiteY12436"/>
                </a:cxn>
                <a:cxn ang="0">
                  <a:pos x="connsiteX12437" y="connsiteY12437"/>
                </a:cxn>
                <a:cxn ang="0">
                  <a:pos x="connsiteX12438" y="connsiteY12438"/>
                </a:cxn>
                <a:cxn ang="0">
                  <a:pos x="connsiteX12439" y="connsiteY12439"/>
                </a:cxn>
                <a:cxn ang="0">
                  <a:pos x="connsiteX12440" y="connsiteY12440"/>
                </a:cxn>
                <a:cxn ang="0">
                  <a:pos x="connsiteX12441" y="connsiteY12441"/>
                </a:cxn>
                <a:cxn ang="0">
                  <a:pos x="connsiteX12442" y="connsiteY12442"/>
                </a:cxn>
                <a:cxn ang="0">
                  <a:pos x="connsiteX12443" y="connsiteY12443"/>
                </a:cxn>
                <a:cxn ang="0">
                  <a:pos x="connsiteX12444" y="connsiteY12444"/>
                </a:cxn>
                <a:cxn ang="0">
                  <a:pos x="connsiteX12445" y="connsiteY12445"/>
                </a:cxn>
                <a:cxn ang="0">
                  <a:pos x="connsiteX12446" y="connsiteY12446"/>
                </a:cxn>
                <a:cxn ang="0">
                  <a:pos x="connsiteX12447" y="connsiteY12447"/>
                </a:cxn>
                <a:cxn ang="0">
                  <a:pos x="connsiteX12448" y="connsiteY12448"/>
                </a:cxn>
                <a:cxn ang="0">
                  <a:pos x="connsiteX12449" y="connsiteY12449"/>
                </a:cxn>
                <a:cxn ang="0">
                  <a:pos x="connsiteX12450" y="connsiteY12450"/>
                </a:cxn>
                <a:cxn ang="0">
                  <a:pos x="connsiteX12451" y="connsiteY12451"/>
                </a:cxn>
                <a:cxn ang="0">
                  <a:pos x="connsiteX12452" y="connsiteY12452"/>
                </a:cxn>
                <a:cxn ang="0">
                  <a:pos x="connsiteX12453" y="connsiteY12453"/>
                </a:cxn>
                <a:cxn ang="0">
                  <a:pos x="connsiteX12454" y="connsiteY12454"/>
                </a:cxn>
                <a:cxn ang="0">
                  <a:pos x="connsiteX12455" y="connsiteY12455"/>
                </a:cxn>
                <a:cxn ang="0">
                  <a:pos x="connsiteX12456" y="connsiteY12456"/>
                </a:cxn>
                <a:cxn ang="0">
                  <a:pos x="connsiteX12457" y="connsiteY12457"/>
                </a:cxn>
                <a:cxn ang="0">
                  <a:pos x="connsiteX12458" y="connsiteY12458"/>
                </a:cxn>
                <a:cxn ang="0">
                  <a:pos x="connsiteX12459" y="connsiteY12459"/>
                </a:cxn>
                <a:cxn ang="0">
                  <a:pos x="connsiteX12460" y="connsiteY12460"/>
                </a:cxn>
                <a:cxn ang="0">
                  <a:pos x="connsiteX12461" y="connsiteY12461"/>
                </a:cxn>
                <a:cxn ang="0">
                  <a:pos x="connsiteX12462" y="connsiteY12462"/>
                </a:cxn>
                <a:cxn ang="0">
                  <a:pos x="connsiteX12463" y="connsiteY12463"/>
                </a:cxn>
                <a:cxn ang="0">
                  <a:pos x="connsiteX12464" y="connsiteY12464"/>
                </a:cxn>
                <a:cxn ang="0">
                  <a:pos x="connsiteX12465" y="connsiteY12465"/>
                </a:cxn>
                <a:cxn ang="0">
                  <a:pos x="connsiteX12466" y="connsiteY12466"/>
                </a:cxn>
                <a:cxn ang="0">
                  <a:pos x="connsiteX12467" y="connsiteY12467"/>
                </a:cxn>
                <a:cxn ang="0">
                  <a:pos x="connsiteX12468" y="connsiteY12468"/>
                </a:cxn>
                <a:cxn ang="0">
                  <a:pos x="connsiteX12469" y="connsiteY12469"/>
                </a:cxn>
                <a:cxn ang="0">
                  <a:pos x="connsiteX12470" y="connsiteY12470"/>
                </a:cxn>
                <a:cxn ang="0">
                  <a:pos x="connsiteX12471" y="connsiteY12471"/>
                </a:cxn>
                <a:cxn ang="0">
                  <a:pos x="connsiteX12472" y="connsiteY12472"/>
                </a:cxn>
                <a:cxn ang="0">
                  <a:pos x="connsiteX12473" y="connsiteY12473"/>
                </a:cxn>
                <a:cxn ang="0">
                  <a:pos x="connsiteX12474" y="connsiteY12474"/>
                </a:cxn>
                <a:cxn ang="0">
                  <a:pos x="connsiteX12475" y="connsiteY12475"/>
                </a:cxn>
                <a:cxn ang="0">
                  <a:pos x="connsiteX12476" y="connsiteY12476"/>
                </a:cxn>
                <a:cxn ang="0">
                  <a:pos x="connsiteX12477" y="connsiteY12477"/>
                </a:cxn>
                <a:cxn ang="0">
                  <a:pos x="connsiteX12478" y="connsiteY12478"/>
                </a:cxn>
                <a:cxn ang="0">
                  <a:pos x="connsiteX12479" y="connsiteY12479"/>
                </a:cxn>
                <a:cxn ang="0">
                  <a:pos x="connsiteX12480" y="connsiteY12480"/>
                </a:cxn>
                <a:cxn ang="0">
                  <a:pos x="connsiteX12481" y="connsiteY12481"/>
                </a:cxn>
                <a:cxn ang="0">
                  <a:pos x="connsiteX12482" y="connsiteY12482"/>
                </a:cxn>
                <a:cxn ang="0">
                  <a:pos x="connsiteX12483" y="connsiteY12483"/>
                </a:cxn>
                <a:cxn ang="0">
                  <a:pos x="connsiteX12484" y="connsiteY12484"/>
                </a:cxn>
                <a:cxn ang="0">
                  <a:pos x="connsiteX12485" y="connsiteY12485"/>
                </a:cxn>
                <a:cxn ang="0">
                  <a:pos x="connsiteX12486" y="connsiteY12486"/>
                </a:cxn>
                <a:cxn ang="0">
                  <a:pos x="connsiteX12487" y="connsiteY12487"/>
                </a:cxn>
                <a:cxn ang="0">
                  <a:pos x="connsiteX12488" y="connsiteY12488"/>
                </a:cxn>
                <a:cxn ang="0">
                  <a:pos x="connsiteX12489" y="connsiteY12489"/>
                </a:cxn>
                <a:cxn ang="0">
                  <a:pos x="connsiteX12490" y="connsiteY12490"/>
                </a:cxn>
                <a:cxn ang="0">
                  <a:pos x="connsiteX12491" y="connsiteY12491"/>
                </a:cxn>
                <a:cxn ang="0">
                  <a:pos x="connsiteX12492" y="connsiteY12492"/>
                </a:cxn>
                <a:cxn ang="0">
                  <a:pos x="connsiteX12493" y="connsiteY12493"/>
                </a:cxn>
                <a:cxn ang="0">
                  <a:pos x="connsiteX12494" y="connsiteY12494"/>
                </a:cxn>
                <a:cxn ang="0">
                  <a:pos x="connsiteX12495" y="connsiteY12495"/>
                </a:cxn>
                <a:cxn ang="0">
                  <a:pos x="connsiteX12496" y="connsiteY12496"/>
                </a:cxn>
                <a:cxn ang="0">
                  <a:pos x="connsiteX12497" y="connsiteY12497"/>
                </a:cxn>
                <a:cxn ang="0">
                  <a:pos x="connsiteX12498" y="connsiteY12498"/>
                </a:cxn>
                <a:cxn ang="0">
                  <a:pos x="connsiteX12499" y="connsiteY12499"/>
                </a:cxn>
                <a:cxn ang="0">
                  <a:pos x="connsiteX12500" y="connsiteY12500"/>
                </a:cxn>
                <a:cxn ang="0">
                  <a:pos x="connsiteX12501" y="connsiteY12501"/>
                </a:cxn>
                <a:cxn ang="0">
                  <a:pos x="connsiteX12502" y="connsiteY12502"/>
                </a:cxn>
                <a:cxn ang="0">
                  <a:pos x="connsiteX12503" y="connsiteY12503"/>
                </a:cxn>
                <a:cxn ang="0">
                  <a:pos x="connsiteX12504" y="connsiteY12504"/>
                </a:cxn>
                <a:cxn ang="0">
                  <a:pos x="connsiteX12505" y="connsiteY12505"/>
                </a:cxn>
                <a:cxn ang="0">
                  <a:pos x="connsiteX12506" y="connsiteY12506"/>
                </a:cxn>
                <a:cxn ang="0">
                  <a:pos x="connsiteX12507" y="connsiteY12507"/>
                </a:cxn>
                <a:cxn ang="0">
                  <a:pos x="connsiteX12508" y="connsiteY12508"/>
                </a:cxn>
                <a:cxn ang="0">
                  <a:pos x="connsiteX12509" y="connsiteY12509"/>
                </a:cxn>
                <a:cxn ang="0">
                  <a:pos x="connsiteX12510" y="connsiteY12510"/>
                </a:cxn>
                <a:cxn ang="0">
                  <a:pos x="connsiteX12511" y="connsiteY12511"/>
                </a:cxn>
                <a:cxn ang="0">
                  <a:pos x="connsiteX12512" y="connsiteY12512"/>
                </a:cxn>
                <a:cxn ang="0">
                  <a:pos x="connsiteX12513" y="connsiteY12513"/>
                </a:cxn>
                <a:cxn ang="0">
                  <a:pos x="connsiteX12514" y="connsiteY12514"/>
                </a:cxn>
                <a:cxn ang="0">
                  <a:pos x="connsiteX12515" y="connsiteY12515"/>
                </a:cxn>
                <a:cxn ang="0">
                  <a:pos x="connsiteX12516" y="connsiteY12516"/>
                </a:cxn>
                <a:cxn ang="0">
                  <a:pos x="connsiteX12517" y="connsiteY12517"/>
                </a:cxn>
                <a:cxn ang="0">
                  <a:pos x="connsiteX12518" y="connsiteY12518"/>
                </a:cxn>
                <a:cxn ang="0">
                  <a:pos x="connsiteX12519" y="connsiteY12519"/>
                </a:cxn>
                <a:cxn ang="0">
                  <a:pos x="connsiteX12520" y="connsiteY12520"/>
                </a:cxn>
                <a:cxn ang="0">
                  <a:pos x="connsiteX12521" y="connsiteY12521"/>
                </a:cxn>
                <a:cxn ang="0">
                  <a:pos x="connsiteX12522" y="connsiteY12522"/>
                </a:cxn>
                <a:cxn ang="0">
                  <a:pos x="connsiteX12523" y="connsiteY12523"/>
                </a:cxn>
                <a:cxn ang="0">
                  <a:pos x="connsiteX12524" y="connsiteY12524"/>
                </a:cxn>
                <a:cxn ang="0">
                  <a:pos x="connsiteX12525" y="connsiteY12525"/>
                </a:cxn>
                <a:cxn ang="0">
                  <a:pos x="connsiteX12526" y="connsiteY12526"/>
                </a:cxn>
                <a:cxn ang="0">
                  <a:pos x="connsiteX12527" y="connsiteY12527"/>
                </a:cxn>
                <a:cxn ang="0">
                  <a:pos x="connsiteX12528" y="connsiteY12528"/>
                </a:cxn>
                <a:cxn ang="0">
                  <a:pos x="connsiteX12529" y="connsiteY12529"/>
                </a:cxn>
                <a:cxn ang="0">
                  <a:pos x="connsiteX12530" y="connsiteY12530"/>
                </a:cxn>
                <a:cxn ang="0">
                  <a:pos x="connsiteX12531" y="connsiteY12531"/>
                </a:cxn>
                <a:cxn ang="0">
                  <a:pos x="connsiteX12532" y="connsiteY12532"/>
                </a:cxn>
                <a:cxn ang="0">
                  <a:pos x="connsiteX12533" y="connsiteY12533"/>
                </a:cxn>
                <a:cxn ang="0">
                  <a:pos x="connsiteX12534" y="connsiteY12534"/>
                </a:cxn>
                <a:cxn ang="0">
                  <a:pos x="connsiteX12535" y="connsiteY12535"/>
                </a:cxn>
                <a:cxn ang="0">
                  <a:pos x="connsiteX12536" y="connsiteY12536"/>
                </a:cxn>
                <a:cxn ang="0">
                  <a:pos x="connsiteX12537" y="connsiteY12537"/>
                </a:cxn>
                <a:cxn ang="0">
                  <a:pos x="connsiteX12538" y="connsiteY12538"/>
                </a:cxn>
                <a:cxn ang="0">
                  <a:pos x="connsiteX12539" y="connsiteY12539"/>
                </a:cxn>
                <a:cxn ang="0">
                  <a:pos x="connsiteX12540" y="connsiteY12540"/>
                </a:cxn>
                <a:cxn ang="0">
                  <a:pos x="connsiteX12541" y="connsiteY12541"/>
                </a:cxn>
                <a:cxn ang="0">
                  <a:pos x="connsiteX12542" y="connsiteY12542"/>
                </a:cxn>
                <a:cxn ang="0">
                  <a:pos x="connsiteX12543" y="connsiteY12543"/>
                </a:cxn>
                <a:cxn ang="0">
                  <a:pos x="connsiteX12544" y="connsiteY12544"/>
                </a:cxn>
                <a:cxn ang="0">
                  <a:pos x="connsiteX12545" y="connsiteY12545"/>
                </a:cxn>
                <a:cxn ang="0">
                  <a:pos x="connsiteX12546" y="connsiteY12546"/>
                </a:cxn>
                <a:cxn ang="0">
                  <a:pos x="connsiteX12547" y="connsiteY12547"/>
                </a:cxn>
                <a:cxn ang="0">
                  <a:pos x="connsiteX12548" y="connsiteY12548"/>
                </a:cxn>
                <a:cxn ang="0">
                  <a:pos x="connsiteX12549" y="connsiteY12549"/>
                </a:cxn>
                <a:cxn ang="0">
                  <a:pos x="connsiteX12550" y="connsiteY12550"/>
                </a:cxn>
                <a:cxn ang="0">
                  <a:pos x="connsiteX12551" y="connsiteY12551"/>
                </a:cxn>
                <a:cxn ang="0">
                  <a:pos x="connsiteX12552" y="connsiteY12552"/>
                </a:cxn>
                <a:cxn ang="0">
                  <a:pos x="connsiteX12553" y="connsiteY12553"/>
                </a:cxn>
                <a:cxn ang="0">
                  <a:pos x="connsiteX12554" y="connsiteY12554"/>
                </a:cxn>
                <a:cxn ang="0">
                  <a:pos x="connsiteX12555" y="connsiteY12555"/>
                </a:cxn>
                <a:cxn ang="0">
                  <a:pos x="connsiteX12556" y="connsiteY12556"/>
                </a:cxn>
                <a:cxn ang="0">
                  <a:pos x="connsiteX12557" y="connsiteY12557"/>
                </a:cxn>
                <a:cxn ang="0">
                  <a:pos x="connsiteX12558" y="connsiteY12558"/>
                </a:cxn>
                <a:cxn ang="0">
                  <a:pos x="connsiteX12559" y="connsiteY12559"/>
                </a:cxn>
                <a:cxn ang="0">
                  <a:pos x="connsiteX12560" y="connsiteY12560"/>
                </a:cxn>
                <a:cxn ang="0">
                  <a:pos x="connsiteX12561" y="connsiteY12561"/>
                </a:cxn>
                <a:cxn ang="0">
                  <a:pos x="connsiteX12562" y="connsiteY12562"/>
                </a:cxn>
                <a:cxn ang="0">
                  <a:pos x="connsiteX12563" y="connsiteY12563"/>
                </a:cxn>
                <a:cxn ang="0">
                  <a:pos x="connsiteX12564" y="connsiteY12564"/>
                </a:cxn>
                <a:cxn ang="0">
                  <a:pos x="connsiteX12565" y="connsiteY12565"/>
                </a:cxn>
                <a:cxn ang="0">
                  <a:pos x="connsiteX12566" y="connsiteY12566"/>
                </a:cxn>
                <a:cxn ang="0">
                  <a:pos x="connsiteX12567" y="connsiteY12567"/>
                </a:cxn>
                <a:cxn ang="0">
                  <a:pos x="connsiteX12568" y="connsiteY12568"/>
                </a:cxn>
                <a:cxn ang="0">
                  <a:pos x="connsiteX12569" y="connsiteY12569"/>
                </a:cxn>
                <a:cxn ang="0">
                  <a:pos x="connsiteX12570" y="connsiteY12570"/>
                </a:cxn>
                <a:cxn ang="0">
                  <a:pos x="connsiteX12571" y="connsiteY12571"/>
                </a:cxn>
                <a:cxn ang="0">
                  <a:pos x="connsiteX12572" y="connsiteY12572"/>
                </a:cxn>
                <a:cxn ang="0">
                  <a:pos x="connsiteX12573" y="connsiteY12573"/>
                </a:cxn>
                <a:cxn ang="0">
                  <a:pos x="connsiteX12574" y="connsiteY12574"/>
                </a:cxn>
                <a:cxn ang="0">
                  <a:pos x="connsiteX12575" y="connsiteY12575"/>
                </a:cxn>
                <a:cxn ang="0">
                  <a:pos x="connsiteX12576" y="connsiteY12576"/>
                </a:cxn>
                <a:cxn ang="0">
                  <a:pos x="connsiteX12577" y="connsiteY12577"/>
                </a:cxn>
                <a:cxn ang="0">
                  <a:pos x="connsiteX12578" y="connsiteY12578"/>
                </a:cxn>
                <a:cxn ang="0">
                  <a:pos x="connsiteX12579" y="connsiteY12579"/>
                </a:cxn>
                <a:cxn ang="0">
                  <a:pos x="connsiteX12580" y="connsiteY12580"/>
                </a:cxn>
                <a:cxn ang="0">
                  <a:pos x="connsiteX12581" y="connsiteY12581"/>
                </a:cxn>
                <a:cxn ang="0">
                  <a:pos x="connsiteX12582" y="connsiteY12582"/>
                </a:cxn>
                <a:cxn ang="0">
                  <a:pos x="connsiteX12583" y="connsiteY12583"/>
                </a:cxn>
                <a:cxn ang="0">
                  <a:pos x="connsiteX12584" y="connsiteY12584"/>
                </a:cxn>
                <a:cxn ang="0">
                  <a:pos x="connsiteX12585" y="connsiteY12585"/>
                </a:cxn>
                <a:cxn ang="0">
                  <a:pos x="connsiteX12586" y="connsiteY12586"/>
                </a:cxn>
                <a:cxn ang="0">
                  <a:pos x="connsiteX12587" y="connsiteY12587"/>
                </a:cxn>
                <a:cxn ang="0">
                  <a:pos x="connsiteX12588" y="connsiteY12588"/>
                </a:cxn>
                <a:cxn ang="0">
                  <a:pos x="connsiteX12589" y="connsiteY12589"/>
                </a:cxn>
                <a:cxn ang="0">
                  <a:pos x="connsiteX12590" y="connsiteY12590"/>
                </a:cxn>
                <a:cxn ang="0">
                  <a:pos x="connsiteX12591" y="connsiteY12591"/>
                </a:cxn>
                <a:cxn ang="0">
                  <a:pos x="connsiteX12592" y="connsiteY12592"/>
                </a:cxn>
                <a:cxn ang="0">
                  <a:pos x="connsiteX12593" y="connsiteY12593"/>
                </a:cxn>
                <a:cxn ang="0">
                  <a:pos x="connsiteX12594" y="connsiteY12594"/>
                </a:cxn>
                <a:cxn ang="0">
                  <a:pos x="connsiteX12595" y="connsiteY12595"/>
                </a:cxn>
                <a:cxn ang="0">
                  <a:pos x="connsiteX12596" y="connsiteY12596"/>
                </a:cxn>
                <a:cxn ang="0">
                  <a:pos x="connsiteX12597" y="connsiteY12597"/>
                </a:cxn>
                <a:cxn ang="0">
                  <a:pos x="connsiteX12598" y="connsiteY12598"/>
                </a:cxn>
                <a:cxn ang="0">
                  <a:pos x="connsiteX12599" y="connsiteY12599"/>
                </a:cxn>
                <a:cxn ang="0">
                  <a:pos x="connsiteX12600" y="connsiteY12600"/>
                </a:cxn>
                <a:cxn ang="0">
                  <a:pos x="connsiteX12601" y="connsiteY12601"/>
                </a:cxn>
                <a:cxn ang="0">
                  <a:pos x="connsiteX12602" y="connsiteY12602"/>
                </a:cxn>
                <a:cxn ang="0">
                  <a:pos x="connsiteX12603" y="connsiteY12603"/>
                </a:cxn>
                <a:cxn ang="0">
                  <a:pos x="connsiteX12604" y="connsiteY12604"/>
                </a:cxn>
                <a:cxn ang="0">
                  <a:pos x="connsiteX12605" y="connsiteY12605"/>
                </a:cxn>
                <a:cxn ang="0">
                  <a:pos x="connsiteX12606" y="connsiteY12606"/>
                </a:cxn>
                <a:cxn ang="0">
                  <a:pos x="connsiteX12607" y="connsiteY12607"/>
                </a:cxn>
                <a:cxn ang="0">
                  <a:pos x="connsiteX12608" y="connsiteY12608"/>
                </a:cxn>
                <a:cxn ang="0">
                  <a:pos x="connsiteX12609" y="connsiteY12609"/>
                </a:cxn>
                <a:cxn ang="0">
                  <a:pos x="connsiteX12610" y="connsiteY12610"/>
                </a:cxn>
                <a:cxn ang="0">
                  <a:pos x="connsiteX12611" y="connsiteY12611"/>
                </a:cxn>
                <a:cxn ang="0">
                  <a:pos x="connsiteX12612" y="connsiteY12612"/>
                </a:cxn>
                <a:cxn ang="0">
                  <a:pos x="connsiteX12613" y="connsiteY12613"/>
                </a:cxn>
                <a:cxn ang="0">
                  <a:pos x="connsiteX12614" y="connsiteY12614"/>
                </a:cxn>
                <a:cxn ang="0">
                  <a:pos x="connsiteX12615" y="connsiteY12615"/>
                </a:cxn>
                <a:cxn ang="0">
                  <a:pos x="connsiteX12616" y="connsiteY12616"/>
                </a:cxn>
                <a:cxn ang="0">
                  <a:pos x="connsiteX12617" y="connsiteY12617"/>
                </a:cxn>
                <a:cxn ang="0">
                  <a:pos x="connsiteX12618" y="connsiteY12618"/>
                </a:cxn>
                <a:cxn ang="0">
                  <a:pos x="connsiteX12619" y="connsiteY12619"/>
                </a:cxn>
                <a:cxn ang="0">
                  <a:pos x="connsiteX12620" y="connsiteY12620"/>
                </a:cxn>
                <a:cxn ang="0">
                  <a:pos x="connsiteX12621" y="connsiteY12621"/>
                </a:cxn>
                <a:cxn ang="0">
                  <a:pos x="connsiteX12622" y="connsiteY12622"/>
                </a:cxn>
                <a:cxn ang="0">
                  <a:pos x="connsiteX12623" y="connsiteY12623"/>
                </a:cxn>
                <a:cxn ang="0">
                  <a:pos x="connsiteX12624" y="connsiteY12624"/>
                </a:cxn>
                <a:cxn ang="0">
                  <a:pos x="connsiteX12625" y="connsiteY12625"/>
                </a:cxn>
                <a:cxn ang="0">
                  <a:pos x="connsiteX12626" y="connsiteY12626"/>
                </a:cxn>
                <a:cxn ang="0">
                  <a:pos x="connsiteX12627" y="connsiteY12627"/>
                </a:cxn>
                <a:cxn ang="0">
                  <a:pos x="connsiteX12628" y="connsiteY12628"/>
                </a:cxn>
                <a:cxn ang="0">
                  <a:pos x="connsiteX12629" y="connsiteY12629"/>
                </a:cxn>
                <a:cxn ang="0">
                  <a:pos x="connsiteX12630" y="connsiteY12630"/>
                </a:cxn>
                <a:cxn ang="0">
                  <a:pos x="connsiteX12631" y="connsiteY12631"/>
                </a:cxn>
                <a:cxn ang="0">
                  <a:pos x="connsiteX12632" y="connsiteY12632"/>
                </a:cxn>
                <a:cxn ang="0">
                  <a:pos x="connsiteX12633" y="connsiteY12633"/>
                </a:cxn>
                <a:cxn ang="0">
                  <a:pos x="connsiteX12634" y="connsiteY12634"/>
                </a:cxn>
                <a:cxn ang="0">
                  <a:pos x="connsiteX12635" y="connsiteY12635"/>
                </a:cxn>
                <a:cxn ang="0">
                  <a:pos x="connsiteX12636" y="connsiteY12636"/>
                </a:cxn>
                <a:cxn ang="0">
                  <a:pos x="connsiteX12637" y="connsiteY12637"/>
                </a:cxn>
                <a:cxn ang="0">
                  <a:pos x="connsiteX12638" y="connsiteY12638"/>
                </a:cxn>
                <a:cxn ang="0">
                  <a:pos x="connsiteX12639" y="connsiteY12639"/>
                </a:cxn>
                <a:cxn ang="0">
                  <a:pos x="connsiteX12640" y="connsiteY12640"/>
                </a:cxn>
                <a:cxn ang="0">
                  <a:pos x="connsiteX12641" y="connsiteY12641"/>
                </a:cxn>
                <a:cxn ang="0">
                  <a:pos x="connsiteX12642" y="connsiteY12642"/>
                </a:cxn>
                <a:cxn ang="0">
                  <a:pos x="connsiteX12643" y="connsiteY12643"/>
                </a:cxn>
                <a:cxn ang="0">
                  <a:pos x="connsiteX12644" y="connsiteY12644"/>
                </a:cxn>
                <a:cxn ang="0">
                  <a:pos x="connsiteX12645" y="connsiteY12645"/>
                </a:cxn>
                <a:cxn ang="0">
                  <a:pos x="connsiteX12646" y="connsiteY12646"/>
                </a:cxn>
                <a:cxn ang="0">
                  <a:pos x="connsiteX12647" y="connsiteY12647"/>
                </a:cxn>
                <a:cxn ang="0">
                  <a:pos x="connsiteX12648" y="connsiteY12648"/>
                </a:cxn>
                <a:cxn ang="0">
                  <a:pos x="connsiteX12649" y="connsiteY12649"/>
                </a:cxn>
                <a:cxn ang="0">
                  <a:pos x="connsiteX12650" y="connsiteY12650"/>
                </a:cxn>
                <a:cxn ang="0">
                  <a:pos x="connsiteX12651" y="connsiteY12651"/>
                </a:cxn>
                <a:cxn ang="0">
                  <a:pos x="connsiteX12652" y="connsiteY12652"/>
                </a:cxn>
                <a:cxn ang="0">
                  <a:pos x="connsiteX12653" y="connsiteY12653"/>
                </a:cxn>
                <a:cxn ang="0">
                  <a:pos x="connsiteX12654" y="connsiteY12654"/>
                </a:cxn>
                <a:cxn ang="0">
                  <a:pos x="connsiteX12655" y="connsiteY12655"/>
                </a:cxn>
                <a:cxn ang="0">
                  <a:pos x="connsiteX12656" y="connsiteY12656"/>
                </a:cxn>
                <a:cxn ang="0">
                  <a:pos x="connsiteX12657" y="connsiteY12657"/>
                </a:cxn>
                <a:cxn ang="0">
                  <a:pos x="connsiteX12658" y="connsiteY12658"/>
                </a:cxn>
                <a:cxn ang="0">
                  <a:pos x="connsiteX12659" y="connsiteY12659"/>
                </a:cxn>
                <a:cxn ang="0">
                  <a:pos x="connsiteX12660" y="connsiteY12660"/>
                </a:cxn>
                <a:cxn ang="0">
                  <a:pos x="connsiteX12661" y="connsiteY12661"/>
                </a:cxn>
                <a:cxn ang="0">
                  <a:pos x="connsiteX12662" y="connsiteY12662"/>
                </a:cxn>
                <a:cxn ang="0">
                  <a:pos x="connsiteX12663" y="connsiteY12663"/>
                </a:cxn>
                <a:cxn ang="0">
                  <a:pos x="connsiteX12664" y="connsiteY12664"/>
                </a:cxn>
                <a:cxn ang="0">
                  <a:pos x="connsiteX12665" y="connsiteY12665"/>
                </a:cxn>
                <a:cxn ang="0">
                  <a:pos x="connsiteX12666" y="connsiteY12666"/>
                </a:cxn>
                <a:cxn ang="0">
                  <a:pos x="connsiteX12667" y="connsiteY12667"/>
                </a:cxn>
                <a:cxn ang="0">
                  <a:pos x="connsiteX12668" y="connsiteY12668"/>
                </a:cxn>
                <a:cxn ang="0">
                  <a:pos x="connsiteX12669" y="connsiteY12669"/>
                </a:cxn>
                <a:cxn ang="0">
                  <a:pos x="connsiteX12670" y="connsiteY12670"/>
                </a:cxn>
                <a:cxn ang="0">
                  <a:pos x="connsiteX12671" y="connsiteY12671"/>
                </a:cxn>
                <a:cxn ang="0">
                  <a:pos x="connsiteX12672" y="connsiteY12672"/>
                </a:cxn>
                <a:cxn ang="0">
                  <a:pos x="connsiteX12673" y="connsiteY12673"/>
                </a:cxn>
                <a:cxn ang="0">
                  <a:pos x="connsiteX12674" y="connsiteY12674"/>
                </a:cxn>
                <a:cxn ang="0">
                  <a:pos x="connsiteX12675" y="connsiteY12675"/>
                </a:cxn>
                <a:cxn ang="0">
                  <a:pos x="connsiteX12676" y="connsiteY12676"/>
                </a:cxn>
                <a:cxn ang="0">
                  <a:pos x="connsiteX12677" y="connsiteY12677"/>
                </a:cxn>
                <a:cxn ang="0">
                  <a:pos x="connsiteX12678" y="connsiteY12678"/>
                </a:cxn>
                <a:cxn ang="0">
                  <a:pos x="connsiteX12679" y="connsiteY12679"/>
                </a:cxn>
                <a:cxn ang="0">
                  <a:pos x="connsiteX12680" y="connsiteY12680"/>
                </a:cxn>
                <a:cxn ang="0">
                  <a:pos x="connsiteX12681" y="connsiteY12681"/>
                </a:cxn>
                <a:cxn ang="0">
                  <a:pos x="connsiteX12682" y="connsiteY12682"/>
                </a:cxn>
                <a:cxn ang="0">
                  <a:pos x="connsiteX12683" y="connsiteY12683"/>
                </a:cxn>
                <a:cxn ang="0">
                  <a:pos x="connsiteX12684" y="connsiteY12684"/>
                </a:cxn>
                <a:cxn ang="0">
                  <a:pos x="connsiteX12685" y="connsiteY12685"/>
                </a:cxn>
                <a:cxn ang="0">
                  <a:pos x="connsiteX12686" y="connsiteY12686"/>
                </a:cxn>
                <a:cxn ang="0">
                  <a:pos x="connsiteX12687" y="connsiteY12687"/>
                </a:cxn>
                <a:cxn ang="0">
                  <a:pos x="connsiteX12688" y="connsiteY12688"/>
                </a:cxn>
                <a:cxn ang="0">
                  <a:pos x="connsiteX12689" y="connsiteY12689"/>
                </a:cxn>
                <a:cxn ang="0">
                  <a:pos x="connsiteX12690" y="connsiteY12690"/>
                </a:cxn>
                <a:cxn ang="0">
                  <a:pos x="connsiteX12691" y="connsiteY12691"/>
                </a:cxn>
                <a:cxn ang="0">
                  <a:pos x="connsiteX12692" y="connsiteY12692"/>
                </a:cxn>
                <a:cxn ang="0">
                  <a:pos x="connsiteX12693" y="connsiteY12693"/>
                </a:cxn>
                <a:cxn ang="0">
                  <a:pos x="connsiteX12694" y="connsiteY12694"/>
                </a:cxn>
                <a:cxn ang="0">
                  <a:pos x="connsiteX12695" y="connsiteY12695"/>
                </a:cxn>
                <a:cxn ang="0">
                  <a:pos x="connsiteX12696" y="connsiteY12696"/>
                </a:cxn>
                <a:cxn ang="0">
                  <a:pos x="connsiteX12697" y="connsiteY12697"/>
                </a:cxn>
                <a:cxn ang="0">
                  <a:pos x="connsiteX12698" y="connsiteY12698"/>
                </a:cxn>
                <a:cxn ang="0">
                  <a:pos x="connsiteX12699" y="connsiteY12699"/>
                </a:cxn>
                <a:cxn ang="0">
                  <a:pos x="connsiteX12700" y="connsiteY12700"/>
                </a:cxn>
                <a:cxn ang="0">
                  <a:pos x="connsiteX12701" y="connsiteY12701"/>
                </a:cxn>
                <a:cxn ang="0">
                  <a:pos x="connsiteX12702" y="connsiteY12702"/>
                </a:cxn>
                <a:cxn ang="0">
                  <a:pos x="connsiteX12703" y="connsiteY12703"/>
                </a:cxn>
                <a:cxn ang="0">
                  <a:pos x="connsiteX12704" y="connsiteY12704"/>
                </a:cxn>
                <a:cxn ang="0">
                  <a:pos x="connsiteX12705" y="connsiteY12705"/>
                </a:cxn>
                <a:cxn ang="0">
                  <a:pos x="connsiteX12706" y="connsiteY12706"/>
                </a:cxn>
                <a:cxn ang="0">
                  <a:pos x="connsiteX12707" y="connsiteY12707"/>
                </a:cxn>
                <a:cxn ang="0">
                  <a:pos x="connsiteX12708" y="connsiteY12708"/>
                </a:cxn>
                <a:cxn ang="0">
                  <a:pos x="connsiteX12709" y="connsiteY12709"/>
                </a:cxn>
                <a:cxn ang="0">
                  <a:pos x="connsiteX12710" y="connsiteY12710"/>
                </a:cxn>
                <a:cxn ang="0">
                  <a:pos x="connsiteX12711" y="connsiteY12711"/>
                </a:cxn>
                <a:cxn ang="0">
                  <a:pos x="connsiteX12712" y="connsiteY12712"/>
                </a:cxn>
                <a:cxn ang="0">
                  <a:pos x="connsiteX12713" y="connsiteY12713"/>
                </a:cxn>
                <a:cxn ang="0">
                  <a:pos x="connsiteX12714" y="connsiteY12714"/>
                </a:cxn>
                <a:cxn ang="0">
                  <a:pos x="connsiteX12715" y="connsiteY12715"/>
                </a:cxn>
                <a:cxn ang="0">
                  <a:pos x="connsiteX12716" y="connsiteY12716"/>
                </a:cxn>
                <a:cxn ang="0">
                  <a:pos x="connsiteX12717" y="connsiteY12717"/>
                </a:cxn>
                <a:cxn ang="0">
                  <a:pos x="connsiteX12718" y="connsiteY12718"/>
                </a:cxn>
                <a:cxn ang="0">
                  <a:pos x="connsiteX12719" y="connsiteY12719"/>
                </a:cxn>
                <a:cxn ang="0">
                  <a:pos x="connsiteX12720" y="connsiteY12720"/>
                </a:cxn>
                <a:cxn ang="0">
                  <a:pos x="connsiteX12721" y="connsiteY12721"/>
                </a:cxn>
                <a:cxn ang="0">
                  <a:pos x="connsiteX12722" y="connsiteY12722"/>
                </a:cxn>
                <a:cxn ang="0">
                  <a:pos x="connsiteX12723" y="connsiteY12723"/>
                </a:cxn>
                <a:cxn ang="0">
                  <a:pos x="connsiteX12724" y="connsiteY12724"/>
                </a:cxn>
                <a:cxn ang="0">
                  <a:pos x="connsiteX12725" y="connsiteY12725"/>
                </a:cxn>
                <a:cxn ang="0">
                  <a:pos x="connsiteX12726" y="connsiteY12726"/>
                </a:cxn>
                <a:cxn ang="0">
                  <a:pos x="connsiteX12727" y="connsiteY12727"/>
                </a:cxn>
                <a:cxn ang="0">
                  <a:pos x="connsiteX12728" y="connsiteY12728"/>
                </a:cxn>
                <a:cxn ang="0">
                  <a:pos x="connsiteX12729" y="connsiteY12729"/>
                </a:cxn>
                <a:cxn ang="0">
                  <a:pos x="connsiteX12730" y="connsiteY12730"/>
                </a:cxn>
                <a:cxn ang="0">
                  <a:pos x="connsiteX12731" y="connsiteY12731"/>
                </a:cxn>
                <a:cxn ang="0">
                  <a:pos x="connsiteX12732" y="connsiteY12732"/>
                </a:cxn>
                <a:cxn ang="0">
                  <a:pos x="connsiteX12733" y="connsiteY12733"/>
                </a:cxn>
                <a:cxn ang="0">
                  <a:pos x="connsiteX12734" y="connsiteY12734"/>
                </a:cxn>
                <a:cxn ang="0">
                  <a:pos x="connsiteX12735" y="connsiteY12735"/>
                </a:cxn>
                <a:cxn ang="0">
                  <a:pos x="connsiteX12736" y="connsiteY12736"/>
                </a:cxn>
                <a:cxn ang="0">
                  <a:pos x="connsiteX12737" y="connsiteY12737"/>
                </a:cxn>
                <a:cxn ang="0">
                  <a:pos x="connsiteX12738" y="connsiteY12738"/>
                </a:cxn>
                <a:cxn ang="0">
                  <a:pos x="connsiteX12739" y="connsiteY12739"/>
                </a:cxn>
                <a:cxn ang="0">
                  <a:pos x="connsiteX12740" y="connsiteY12740"/>
                </a:cxn>
                <a:cxn ang="0">
                  <a:pos x="connsiteX12741" y="connsiteY12741"/>
                </a:cxn>
                <a:cxn ang="0">
                  <a:pos x="connsiteX12742" y="connsiteY12742"/>
                </a:cxn>
                <a:cxn ang="0">
                  <a:pos x="connsiteX12743" y="connsiteY12743"/>
                </a:cxn>
                <a:cxn ang="0">
                  <a:pos x="connsiteX12744" y="connsiteY12744"/>
                </a:cxn>
                <a:cxn ang="0">
                  <a:pos x="connsiteX12745" y="connsiteY12745"/>
                </a:cxn>
                <a:cxn ang="0">
                  <a:pos x="connsiteX12746" y="connsiteY12746"/>
                </a:cxn>
                <a:cxn ang="0">
                  <a:pos x="connsiteX12747" y="connsiteY12747"/>
                </a:cxn>
                <a:cxn ang="0">
                  <a:pos x="connsiteX12748" y="connsiteY12748"/>
                </a:cxn>
                <a:cxn ang="0">
                  <a:pos x="connsiteX12749" y="connsiteY12749"/>
                </a:cxn>
                <a:cxn ang="0">
                  <a:pos x="connsiteX12750" y="connsiteY12750"/>
                </a:cxn>
                <a:cxn ang="0">
                  <a:pos x="connsiteX12751" y="connsiteY12751"/>
                </a:cxn>
                <a:cxn ang="0">
                  <a:pos x="connsiteX12752" y="connsiteY12752"/>
                </a:cxn>
                <a:cxn ang="0">
                  <a:pos x="connsiteX12753" y="connsiteY12753"/>
                </a:cxn>
                <a:cxn ang="0">
                  <a:pos x="connsiteX12754" y="connsiteY12754"/>
                </a:cxn>
                <a:cxn ang="0">
                  <a:pos x="connsiteX12755" y="connsiteY12755"/>
                </a:cxn>
                <a:cxn ang="0">
                  <a:pos x="connsiteX12756" y="connsiteY12756"/>
                </a:cxn>
                <a:cxn ang="0">
                  <a:pos x="connsiteX12757" y="connsiteY12757"/>
                </a:cxn>
                <a:cxn ang="0">
                  <a:pos x="connsiteX12758" y="connsiteY12758"/>
                </a:cxn>
                <a:cxn ang="0">
                  <a:pos x="connsiteX12759" y="connsiteY12759"/>
                </a:cxn>
                <a:cxn ang="0">
                  <a:pos x="connsiteX12760" y="connsiteY12760"/>
                </a:cxn>
                <a:cxn ang="0">
                  <a:pos x="connsiteX12761" y="connsiteY12761"/>
                </a:cxn>
                <a:cxn ang="0">
                  <a:pos x="connsiteX12762" y="connsiteY12762"/>
                </a:cxn>
                <a:cxn ang="0">
                  <a:pos x="connsiteX12763" y="connsiteY12763"/>
                </a:cxn>
                <a:cxn ang="0">
                  <a:pos x="connsiteX12764" y="connsiteY12764"/>
                </a:cxn>
                <a:cxn ang="0">
                  <a:pos x="connsiteX12765" y="connsiteY12765"/>
                </a:cxn>
                <a:cxn ang="0">
                  <a:pos x="connsiteX12766" y="connsiteY12766"/>
                </a:cxn>
                <a:cxn ang="0">
                  <a:pos x="connsiteX12767" y="connsiteY12767"/>
                </a:cxn>
                <a:cxn ang="0">
                  <a:pos x="connsiteX12768" y="connsiteY12768"/>
                </a:cxn>
                <a:cxn ang="0">
                  <a:pos x="connsiteX12769" y="connsiteY12769"/>
                </a:cxn>
                <a:cxn ang="0">
                  <a:pos x="connsiteX12770" y="connsiteY12770"/>
                </a:cxn>
                <a:cxn ang="0">
                  <a:pos x="connsiteX12771" y="connsiteY12771"/>
                </a:cxn>
                <a:cxn ang="0">
                  <a:pos x="connsiteX12772" y="connsiteY12772"/>
                </a:cxn>
                <a:cxn ang="0">
                  <a:pos x="connsiteX12773" y="connsiteY12773"/>
                </a:cxn>
                <a:cxn ang="0">
                  <a:pos x="connsiteX12774" y="connsiteY12774"/>
                </a:cxn>
                <a:cxn ang="0">
                  <a:pos x="connsiteX12775" y="connsiteY12775"/>
                </a:cxn>
                <a:cxn ang="0">
                  <a:pos x="connsiteX12776" y="connsiteY12776"/>
                </a:cxn>
                <a:cxn ang="0">
                  <a:pos x="connsiteX12777" y="connsiteY12777"/>
                </a:cxn>
                <a:cxn ang="0">
                  <a:pos x="connsiteX12778" y="connsiteY12778"/>
                </a:cxn>
                <a:cxn ang="0">
                  <a:pos x="connsiteX12779" y="connsiteY12779"/>
                </a:cxn>
                <a:cxn ang="0">
                  <a:pos x="connsiteX12780" y="connsiteY12780"/>
                </a:cxn>
                <a:cxn ang="0">
                  <a:pos x="connsiteX12781" y="connsiteY12781"/>
                </a:cxn>
                <a:cxn ang="0">
                  <a:pos x="connsiteX12782" y="connsiteY12782"/>
                </a:cxn>
                <a:cxn ang="0">
                  <a:pos x="connsiteX12783" y="connsiteY12783"/>
                </a:cxn>
                <a:cxn ang="0">
                  <a:pos x="connsiteX12784" y="connsiteY12784"/>
                </a:cxn>
                <a:cxn ang="0">
                  <a:pos x="connsiteX12785" y="connsiteY12785"/>
                </a:cxn>
                <a:cxn ang="0">
                  <a:pos x="connsiteX12786" y="connsiteY12786"/>
                </a:cxn>
                <a:cxn ang="0">
                  <a:pos x="connsiteX12787" y="connsiteY12787"/>
                </a:cxn>
                <a:cxn ang="0">
                  <a:pos x="connsiteX12788" y="connsiteY12788"/>
                </a:cxn>
                <a:cxn ang="0">
                  <a:pos x="connsiteX12789" y="connsiteY12789"/>
                </a:cxn>
                <a:cxn ang="0">
                  <a:pos x="connsiteX12790" y="connsiteY12790"/>
                </a:cxn>
                <a:cxn ang="0">
                  <a:pos x="connsiteX12791" y="connsiteY12791"/>
                </a:cxn>
                <a:cxn ang="0">
                  <a:pos x="connsiteX12792" y="connsiteY12792"/>
                </a:cxn>
                <a:cxn ang="0">
                  <a:pos x="connsiteX12793" y="connsiteY12793"/>
                </a:cxn>
                <a:cxn ang="0">
                  <a:pos x="connsiteX12794" y="connsiteY12794"/>
                </a:cxn>
                <a:cxn ang="0">
                  <a:pos x="connsiteX12795" y="connsiteY12795"/>
                </a:cxn>
                <a:cxn ang="0">
                  <a:pos x="connsiteX12796" y="connsiteY12796"/>
                </a:cxn>
                <a:cxn ang="0">
                  <a:pos x="connsiteX12797" y="connsiteY12797"/>
                </a:cxn>
                <a:cxn ang="0">
                  <a:pos x="connsiteX12798" y="connsiteY12798"/>
                </a:cxn>
                <a:cxn ang="0">
                  <a:pos x="connsiteX12799" y="connsiteY12799"/>
                </a:cxn>
                <a:cxn ang="0">
                  <a:pos x="connsiteX12800" y="connsiteY12800"/>
                </a:cxn>
                <a:cxn ang="0">
                  <a:pos x="connsiteX12801" y="connsiteY12801"/>
                </a:cxn>
                <a:cxn ang="0">
                  <a:pos x="connsiteX12802" y="connsiteY12802"/>
                </a:cxn>
                <a:cxn ang="0">
                  <a:pos x="connsiteX12803" y="connsiteY12803"/>
                </a:cxn>
                <a:cxn ang="0">
                  <a:pos x="connsiteX12804" y="connsiteY12804"/>
                </a:cxn>
                <a:cxn ang="0">
                  <a:pos x="connsiteX12805" y="connsiteY12805"/>
                </a:cxn>
                <a:cxn ang="0">
                  <a:pos x="connsiteX12806" y="connsiteY12806"/>
                </a:cxn>
                <a:cxn ang="0">
                  <a:pos x="connsiteX12807" y="connsiteY12807"/>
                </a:cxn>
                <a:cxn ang="0">
                  <a:pos x="connsiteX12808" y="connsiteY12808"/>
                </a:cxn>
                <a:cxn ang="0">
                  <a:pos x="connsiteX12809" y="connsiteY12809"/>
                </a:cxn>
                <a:cxn ang="0">
                  <a:pos x="connsiteX12810" y="connsiteY12810"/>
                </a:cxn>
                <a:cxn ang="0">
                  <a:pos x="connsiteX12811" y="connsiteY12811"/>
                </a:cxn>
                <a:cxn ang="0">
                  <a:pos x="connsiteX12812" y="connsiteY12812"/>
                </a:cxn>
                <a:cxn ang="0">
                  <a:pos x="connsiteX12813" y="connsiteY12813"/>
                </a:cxn>
                <a:cxn ang="0">
                  <a:pos x="connsiteX12814" y="connsiteY12814"/>
                </a:cxn>
                <a:cxn ang="0">
                  <a:pos x="connsiteX12815" y="connsiteY12815"/>
                </a:cxn>
                <a:cxn ang="0">
                  <a:pos x="connsiteX12816" y="connsiteY12816"/>
                </a:cxn>
                <a:cxn ang="0">
                  <a:pos x="connsiteX12817" y="connsiteY12817"/>
                </a:cxn>
                <a:cxn ang="0">
                  <a:pos x="connsiteX12818" y="connsiteY12818"/>
                </a:cxn>
                <a:cxn ang="0">
                  <a:pos x="connsiteX12819" y="connsiteY12819"/>
                </a:cxn>
                <a:cxn ang="0">
                  <a:pos x="connsiteX12820" y="connsiteY12820"/>
                </a:cxn>
                <a:cxn ang="0">
                  <a:pos x="connsiteX12821" y="connsiteY12821"/>
                </a:cxn>
                <a:cxn ang="0">
                  <a:pos x="connsiteX12822" y="connsiteY12822"/>
                </a:cxn>
                <a:cxn ang="0">
                  <a:pos x="connsiteX12823" y="connsiteY12823"/>
                </a:cxn>
                <a:cxn ang="0">
                  <a:pos x="connsiteX12824" y="connsiteY12824"/>
                </a:cxn>
                <a:cxn ang="0">
                  <a:pos x="connsiteX12825" y="connsiteY12825"/>
                </a:cxn>
                <a:cxn ang="0">
                  <a:pos x="connsiteX12826" y="connsiteY12826"/>
                </a:cxn>
                <a:cxn ang="0">
                  <a:pos x="connsiteX12827" y="connsiteY12827"/>
                </a:cxn>
                <a:cxn ang="0">
                  <a:pos x="connsiteX12828" y="connsiteY12828"/>
                </a:cxn>
                <a:cxn ang="0">
                  <a:pos x="connsiteX12829" y="connsiteY12829"/>
                </a:cxn>
                <a:cxn ang="0">
                  <a:pos x="connsiteX12830" y="connsiteY12830"/>
                </a:cxn>
                <a:cxn ang="0">
                  <a:pos x="connsiteX12831" y="connsiteY12831"/>
                </a:cxn>
                <a:cxn ang="0">
                  <a:pos x="connsiteX12832" y="connsiteY12832"/>
                </a:cxn>
                <a:cxn ang="0">
                  <a:pos x="connsiteX12833" y="connsiteY12833"/>
                </a:cxn>
                <a:cxn ang="0">
                  <a:pos x="connsiteX12834" y="connsiteY12834"/>
                </a:cxn>
                <a:cxn ang="0">
                  <a:pos x="connsiteX12835" y="connsiteY12835"/>
                </a:cxn>
                <a:cxn ang="0">
                  <a:pos x="connsiteX12836" y="connsiteY12836"/>
                </a:cxn>
                <a:cxn ang="0">
                  <a:pos x="connsiteX12837" y="connsiteY12837"/>
                </a:cxn>
                <a:cxn ang="0">
                  <a:pos x="connsiteX12838" y="connsiteY12838"/>
                </a:cxn>
                <a:cxn ang="0">
                  <a:pos x="connsiteX12839" y="connsiteY12839"/>
                </a:cxn>
                <a:cxn ang="0">
                  <a:pos x="connsiteX12840" y="connsiteY12840"/>
                </a:cxn>
                <a:cxn ang="0">
                  <a:pos x="connsiteX12841" y="connsiteY12841"/>
                </a:cxn>
                <a:cxn ang="0">
                  <a:pos x="connsiteX12842" y="connsiteY12842"/>
                </a:cxn>
                <a:cxn ang="0">
                  <a:pos x="connsiteX12843" y="connsiteY12843"/>
                </a:cxn>
                <a:cxn ang="0">
                  <a:pos x="connsiteX12844" y="connsiteY12844"/>
                </a:cxn>
                <a:cxn ang="0">
                  <a:pos x="connsiteX12845" y="connsiteY12845"/>
                </a:cxn>
                <a:cxn ang="0">
                  <a:pos x="connsiteX12846" y="connsiteY12846"/>
                </a:cxn>
                <a:cxn ang="0">
                  <a:pos x="connsiteX12847" y="connsiteY12847"/>
                </a:cxn>
                <a:cxn ang="0">
                  <a:pos x="connsiteX12848" y="connsiteY12848"/>
                </a:cxn>
                <a:cxn ang="0">
                  <a:pos x="connsiteX12849" y="connsiteY12849"/>
                </a:cxn>
                <a:cxn ang="0">
                  <a:pos x="connsiteX12850" y="connsiteY12850"/>
                </a:cxn>
                <a:cxn ang="0">
                  <a:pos x="connsiteX12851" y="connsiteY12851"/>
                </a:cxn>
                <a:cxn ang="0">
                  <a:pos x="connsiteX12852" y="connsiteY12852"/>
                </a:cxn>
                <a:cxn ang="0">
                  <a:pos x="connsiteX12853" y="connsiteY12853"/>
                </a:cxn>
                <a:cxn ang="0">
                  <a:pos x="connsiteX12854" y="connsiteY12854"/>
                </a:cxn>
                <a:cxn ang="0">
                  <a:pos x="connsiteX12855" y="connsiteY12855"/>
                </a:cxn>
                <a:cxn ang="0">
                  <a:pos x="connsiteX12856" y="connsiteY12856"/>
                </a:cxn>
                <a:cxn ang="0">
                  <a:pos x="connsiteX12857" y="connsiteY12857"/>
                </a:cxn>
                <a:cxn ang="0">
                  <a:pos x="connsiteX12858" y="connsiteY12858"/>
                </a:cxn>
                <a:cxn ang="0">
                  <a:pos x="connsiteX12859" y="connsiteY12859"/>
                </a:cxn>
                <a:cxn ang="0">
                  <a:pos x="connsiteX12860" y="connsiteY12860"/>
                </a:cxn>
                <a:cxn ang="0">
                  <a:pos x="connsiteX12861" y="connsiteY12861"/>
                </a:cxn>
                <a:cxn ang="0">
                  <a:pos x="connsiteX12862" y="connsiteY12862"/>
                </a:cxn>
                <a:cxn ang="0">
                  <a:pos x="connsiteX12863" y="connsiteY12863"/>
                </a:cxn>
                <a:cxn ang="0">
                  <a:pos x="connsiteX12864" y="connsiteY12864"/>
                </a:cxn>
                <a:cxn ang="0">
                  <a:pos x="connsiteX12865" y="connsiteY12865"/>
                </a:cxn>
                <a:cxn ang="0">
                  <a:pos x="connsiteX12866" y="connsiteY12866"/>
                </a:cxn>
                <a:cxn ang="0">
                  <a:pos x="connsiteX12867" y="connsiteY12867"/>
                </a:cxn>
                <a:cxn ang="0">
                  <a:pos x="connsiteX12868" y="connsiteY12868"/>
                </a:cxn>
                <a:cxn ang="0">
                  <a:pos x="connsiteX12869" y="connsiteY12869"/>
                </a:cxn>
                <a:cxn ang="0">
                  <a:pos x="connsiteX12870" y="connsiteY12870"/>
                </a:cxn>
                <a:cxn ang="0">
                  <a:pos x="connsiteX12871" y="connsiteY12871"/>
                </a:cxn>
                <a:cxn ang="0">
                  <a:pos x="connsiteX12872" y="connsiteY12872"/>
                </a:cxn>
                <a:cxn ang="0">
                  <a:pos x="connsiteX12873" y="connsiteY12873"/>
                </a:cxn>
                <a:cxn ang="0">
                  <a:pos x="connsiteX12874" y="connsiteY12874"/>
                </a:cxn>
                <a:cxn ang="0">
                  <a:pos x="connsiteX12875" y="connsiteY12875"/>
                </a:cxn>
                <a:cxn ang="0">
                  <a:pos x="connsiteX12876" y="connsiteY12876"/>
                </a:cxn>
                <a:cxn ang="0">
                  <a:pos x="connsiteX12877" y="connsiteY12877"/>
                </a:cxn>
                <a:cxn ang="0">
                  <a:pos x="connsiteX12878" y="connsiteY12878"/>
                </a:cxn>
                <a:cxn ang="0">
                  <a:pos x="connsiteX12879" y="connsiteY12879"/>
                </a:cxn>
                <a:cxn ang="0">
                  <a:pos x="connsiteX12880" y="connsiteY12880"/>
                </a:cxn>
                <a:cxn ang="0">
                  <a:pos x="connsiteX12881" y="connsiteY12881"/>
                </a:cxn>
                <a:cxn ang="0">
                  <a:pos x="connsiteX12882" y="connsiteY12882"/>
                </a:cxn>
                <a:cxn ang="0">
                  <a:pos x="connsiteX12883" y="connsiteY12883"/>
                </a:cxn>
                <a:cxn ang="0">
                  <a:pos x="connsiteX12884" y="connsiteY12884"/>
                </a:cxn>
                <a:cxn ang="0">
                  <a:pos x="connsiteX12885" y="connsiteY12885"/>
                </a:cxn>
                <a:cxn ang="0">
                  <a:pos x="connsiteX12886" y="connsiteY12886"/>
                </a:cxn>
                <a:cxn ang="0">
                  <a:pos x="connsiteX12887" y="connsiteY12887"/>
                </a:cxn>
                <a:cxn ang="0">
                  <a:pos x="connsiteX12888" y="connsiteY12888"/>
                </a:cxn>
                <a:cxn ang="0">
                  <a:pos x="connsiteX12889" y="connsiteY12889"/>
                </a:cxn>
                <a:cxn ang="0">
                  <a:pos x="connsiteX12890" y="connsiteY12890"/>
                </a:cxn>
                <a:cxn ang="0">
                  <a:pos x="connsiteX12891" y="connsiteY12891"/>
                </a:cxn>
                <a:cxn ang="0">
                  <a:pos x="connsiteX12892" y="connsiteY12892"/>
                </a:cxn>
                <a:cxn ang="0">
                  <a:pos x="connsiteX12893" y="connsiteY12893"/>
                </a:cxn>
                <a:cxn ang="0">
                  <a:pos x="connsiteX12894" y="connsiteY12894"/>
                </a:cxn>
                <a:cxn ang="0">
                  <a:pos x="connsiteX12895" y="connsiteY12895"/>
                </a:cxn>
                <a:cxn ang="0">
                  <a:pos x="connsiteX12896" y="connsiteY12896"/>
                </a:cxn>
                <a:cxn ang="0">
                  <a:pos x="connsiteX12897" y="connsiteY12897"/>
                </a:cxn>
                <a:cxn ang="0">
                  <a:pos x="connsiteX12898" y="connsiteY12898"/>
                </a:cxn>
                <a:cxn ang="0">
                  <a:pos x="connsiteX12899" y="connsiteY12899"/>
                </a:cxn>
                <a:cxn ang="0">
                  <a:pos x="connsiteX12900" y="connsiteY12900"/>
                </a:cxn>
                <a:cxn ang="0">
                  <a:pos x="connsiteX12901" y="connsiteY12901"/>
                </a:cxn>
                <a:cxn ang="0">
                  <a:pos x="connsiteX12902" y="connsiteY12902"/>
                </a:cxn>
                <a:cxn ang="0">
                  <a:pos x="connsiteX12903" y="connsiteY12903"/>
                </a:cxn>
                <a:cxn ang="0">
                  <a:pos x="connsiteX12904" y="connsiteY12904"/>
                </a:cxn>
                <a:cxn ang="0">
                  <a:pos x="connsiteX12905" y="connsiteY12905"/>
                </a:cxn>
                <a:cxn ang="0">
                  <a:pos x="connsiteX12906" y="connsiteY12906"/>
                </a:cxn>
                <a:cxn ang="0">
                  <a:pos x="connsiteX12907" y="connsiteY12907"/>
                </a:cxn>
                <a:cxn ang="0">
                  <a:pos x="connsiteX12908" y="connsiteY12908"/>
                </a:cxn>
                <a:cxn ang="0">
                  <a:pos x="connsiteX12909" y="connsiteY12909"/>
                </a:cxn>
                <a:cxn ang="0">
                  <a:pos x="connsiteX12910" y="connsiteY12910"/>
                </a:cxn>
                <a:cxn ang="0">
                  <a:pos x="connsiteX12911" y="connsiteY12911"/>
                </a:cxn>
                <a:cxn ang="0">
                  <a:pos x="connsiteX12912" y="connsiteY12912"/>
                </a:cxn>
                <a:cxn ang="0">
                  <a:pos x="connsiteX12913" y="connsiteY12913"/>
                </a:cxn>
                <a:cxn ang="0">
                  <a:pos x="connsiteX12914" y="connsiteY12914"/>
                </a:cxn>
                <a:cxn ang="0">
                  <a:pos x="connsiteX12915" y="connsiteY12915"/>
                </a:cxn>
                <a:cxn ang="0">
                  <a:pos x="connsiteX12916" y="connsiteY12916"/>
                </a:cxn>
                <a:cxn ang="0">
                  <a:pos x="connsiteX12917" y="connsiteY12917"/>
                </a:cxn>
                <a:cxn ang="0">
                  <a:pos x="connsiteX12918" y="connsiteY12918"/>
                </a:cxn>
                <a:cxn ang="0">
                  <a:pos x="connsiteX12919" y="connsiteY12919"/>
                </a:cxn>
                <a:cxn ang="0">
                  <a:pos x="connsiteX12920" y="connsiteY12920"/>
                </a:cxn>
                <a:cxn ang="0">
                  <a:pos x="connsiteX12921" y="connsiteY12921"/>
                </a:cxn>
                <a:cxn ang="0">
                  <a:pos x="connsiteX12922" y="connsiteY12922"/>
                </a:cxn>
                <a:cxn ang="0">
                  <a:pos x="connsiteX12923" y="connsiteY12923"/>
                </a:cxn>
                <a:cxn ang="0">
                  <a:pos x="connsiteX12924" y="connsiteY12924"/>
                </a:cxn>
                <a:cxn ang="0">
                  <a:pos x="connsiteX12925" y="connsiteY12925"/>
                </a:cxn>
                <a:cxn ang="0">
                  <a:pos x="connsiteX12926" y="connsiteY12926"/>
                </a:cxn>
                <a:cxn ang="0">
                  <a:pos x="connsiteX12927" y="connsiteY12927"/>
                </a:cxn>
                <a:cxn ang="0">
                  <a:pos x="connsiteX12928" y="connsiteY12928"/>
                </a:cxn>
                <a:cxn ang="0">
                  <a:pos x="connsiteX12929" y="connsiteY12929"/>
                </a:cxn>
                <a:cxn ang="0">
                  <a:pos x="connsiteX12930" y="connsiteY12930"/>
                </a:cxn>
                <a:cxn ang="0">
                  <a:pos x="connsiteX12931" y="connsiteY12931"/>
                </a:cxn>
                <a:cxn ang="0">
                  <a:pos x="connsiteX12932" y="connsiteY12932"/>
                </a:cxn>
                <a:cxn ang="0">
                  <a:pos x="connsiteX12933" y="connsiteY12933"/>
                </a:cxn>
                <a:cxn ang="0">
                  <a:pos x="connsiteX12934" y="connsiteY12934"/>
                </a:cxn>
                <a:cxn ang="0">
                  <a:pos x="connsiteX12935" y="connsiteY12935"/>
                </a:cxn>
                <a:cxn ang="0">
                  <a:pos x="connsiteX12936" y="connsiteY12936"/>
                </a:cxn>
                <a:cxn ang="0">
                  <a:pos x="connsiteX12937" y="connsiteY12937"/>
                </a:cxn>
                <a:cxn ang="0">
                  <a:pos x="connsiteX12938" y="connsiteY12938"/>
                </a:cxn>
                <a:cxn ang="0">
                  <a:pos x="connsiteX12939" y="connsiteY12939"/>
                </a:cxn>
                <a:cxn ang="0">
                  <a:pos x="connsiteX12940" y="connsiteY12940"/>
                </a:cxn>
                <a:cxn ang="0">
                  <a:pos x="connsiteX12941" y="connsiteY12941"/>
                </a:cxn>
                <a:cxn ang="0">
                  <a:pos x="connsiteX12942" y="connsiteY12942"/>
                </a:cxn>
                <a:cxn ang="0">
                  <a:pos x="connsiteX12943" y="connsiteY12943"/>
                </a:cxn>
                <a:cxn ang="0">
                  <a:pos x="connsiteX12944" y="connsiteY12944"/>
                </a:cxn>
                <a:cxn ang="0">
                  <a:pos x="connsiteX12945" y="connsiteY12945"/>
                </a:cxn>
                <a:cxn ang="0">
                  <a:pos x="connsiteX12946" y="connsiteY12946"/>
                </a:cxn>
                <a:cxn ang="0">
                  <a:pos x="connsiteX12947" y="connsiteY12947"/>
                </a:cxn>
                <a:cxn ang="0">
                  <a:pos x="connsiteX12948" y="connsiteY12948"/>
                </a:cxn>
                <a:cxn ang="0">
                  <a:pos x="connsiteX12949" y="connsiteY12949"/>
                </a:cxn>
                <a:cxn ang="0">
                  <a:pos x="connsiteX12950" y="connsiteY12950"/>
                </a:cxn>
                <a:cxn ang="0">
                  <a:pos x="connsiteX12951" y="connsiteY12951"/>
                </a:cxn>
                <a:cxn ang="0">
                  <a:pos x="connsiteX12952" y="connsiteY12952"/>
                </a:cxn>
                <a:cxn ang="0">
                  <a:pos x="connsiteX12953" y="connsiteY12953"/>
                </a:cxn>
                <a:cxn ang="0">
                  <a:pos x="connsiteX12954" y="connsiteY12954"/>
                </a:cxn>
                <a:cxn ang="0">
                  <a:pos x="connsiteX12955" y="connsiteY12955"/>
                </a:cxn>
                <a:cxn ang="0">
                  <a:pos x="connsiteX12956" y="connsiteY12956"/>
                </a:cxn>
                <a:cxn ang="0">
                  <a:pos x="connsiteX12957" y="connsiteY12957"/>
                </a:cxn>
                <a:cxn ang="0">
                  <a:pos x="connsiteX12958" y="connsiteY12958"/>
                </a:cxn>
                <a:cxn ang="0">
                  <a:pos x="connsiteX12959" y="connsiteY12959"/>
                </a:cxn>
                <a:cxn ang="0">
                  <a:pos x="connsiteX12960" y="connsiteY12960"/>
                </a:cxn>
                <a:cxn ang="0">
                  <a:pos x="connsiteX12961" y="connsiteY12961"/>
                </a:cxn>
                <a:cxn ang="0">
                  <a:pos x="connsiteX12962" y="connsiteY12962"/>
                </a:cxn>
                <a:cxn ang="0">
                  <a:pos x="connsiteX12963" y="connsiteY12963"/>
                </a:cxn>
                <a:cxn ang="0">
                  <a:pos x="connsiteX12964" y="connsiteY12964"/>
                </a:cxn>
                <a:cxn ang="0">
                  <a:pos x="connsiteX12965" y="connsiteY12965"/>
                </a:cxn>
                <a:cxn ang="0">
                  <a:pos x="connsiteX12966" y="connsiteY12966"/>
                </a:cxn>
                <a:cxn ang="0">
                  <a:pos x="connsiteX12967" y="connsiteY12967"/>
                </a:cxn>
                <a:cxn ang="0">
                  <a:pos x="connsiteX12968" y="connsiteY12968"/>
                </a:cxn>
                <a:cxn ang="0">
                  <a:pos x="connsiteX12969" y="connsiteY12969"/>
                </a:cxn>
                <a:cxn ang="0">
                  <a:pos x="connsiteX12970" y="connsiteY12970"/>
                </a:cxn>
                <a:cxn ang="0">
                  <a:pos x="connsiteX12971" y="connsiteY12971"/>
                </a:cxn>
                <a:cxn ang="0">
                  <a:pos x="connsiteX12972" y="connsiteY12972"/>
                </a:cxn>
                <a:cxn ang="0">
                  <a:pos x="connsiteX12973" y="connsiteY12973"/>
                </a:cxn>
                <a:cxn ang="0">
                  <a:pos x="connsiteX12974" y="connsiteY12974"/>
                </a:cxn>
                <a:cxn ang="0">
                  <a:pos x="connsiteX12975" y="connsiteY12975"/>
                </a:cxn>
                <a:cxn ang="0">
                  <a:pos x="connsiteX12976" y="connsiteY12976"/>
                </a:cxn>
                <a:cxn ang="0">
                  <a:pos x="connsiteX12977" y="connsiteY12977"/>
                </a:cxn>
                <a:cxn ang="0">
                  <a:pos x="connsiteX12978" y="connsiteY12978"/>
                </a:cxn>
                <a:cxn ang="0">
                  <a:pos x="connsiteX12979" y="connsiteY12979"/>
                </a:cxn>
                <a:cxn ang="0">
                  <a:pos x="connsiteX12980" y="connsiteY12980"/>
                </a:cxn>
                <a:cxn ang="0">
                  <a:pos x="connsiteX12981" y="connsiteY12981"/>
                </a:cxn>
                <a:cxn ang="0">
                  <a:pos x="connsiteX12982" y="connsiteY12982"/>
                </a:cxn>
                <a:cxn ang="0">
                  <a:pos x="connsiteX12983" y="connsiteY12983"/>
                </a:cxn>
                <a:cxn ang="0">
                  <a:pos x="connsiteX12984" y="connsiteY12984"/>
                </a:cxn>
                <a:cxn ang="0">
                  <a:pos x="connsiteX12985" y="connsiteY12985"/>
                </a:cxn>
                <a:cxn ang="0">
                  <a:pos x="connsiteX12986" y="connsiteY12986"/>
                </a:cxn>
                <a:cxn ang="0">
                  <a:pos x="connsiteX12987" y="connsiteY12987"/>
                </a:cxn>
                <a:cxn ang="0">
                  <a:pos x="connsiteX12988" y="connsiteY12988"/>
                </a:cxn>
                <a:cxn ang="0">
                  <a:pos x="connsiteX12989" y="connsiteY12989"/>
                </a:cxn>
                <a:cxn ang="0">
                  <a:pos x="connsiteX12990" y="connsiteY12990"/>
                </a:cxn>
                <a:cxn ang="0">
                  <a:pos x="connsiteX12991" y="connsiteY12991"/>
                </a:cxn>
                <a:cxn ang="0">
                  <a:pos x="connsiteX12992" y="connsiteY12992"/>
                </a:cxn>
                <a:cxn ang="0">
                  <a:pos x="connsiteX12993" y="connsiteY12993"/>
                </a:cxn>
                <a:cxn ang="0">
                  <a:pos x="connsiteX12994" y="connsiteY12994"/>
                </a:cxn>
                <a:cxn ang="0">
                  <a:pos x="connsiteX12995" y="connsiteY12995"/>
                </a:cxn>
                <a:cxn ang="0">
                  <a:pos x="connsiteX12996" y="connsiteY12996"/>
                </a:cxn>
                <a:cxn ang="0">
                  <a:pos x="connsiteX12997" y="connsiteY12997"/>
                </a:cxn>
                <a:cxn ang="0">
                  <a:pos x="connsiteX12998" y="connsiteY12998"/>
                </a:cxn>
                <a:cxn ang="0">
                  <a:pos x="connsiteX12999" y="connsiteY12999"/>
                </a:cxn>
                <a:cxn ang="0">
                  <a:pos x="connsiteX13000" y="connsiteY13000"/>
                </a:cxn>
                <a:cxn ang="0">
                  <a:pos x="connsiteX13001" y="connsiteY13001"/>
                </a:cxn>
                <a:cxn ang="0">
                  <a:pos x="connsiteX13002" y="connsiteY13002"/>
                </a:cxn>
                <a:cxn ang="0">
                  <a:pos x="connsiteX13003" y="connsiteY13003"/>
                </a:cxn>
                <a:cxn ang="0">
                  <a:pos x="connsiteX13004" y="connsiteY13004"/>
                </a:cxn>
                <a:cxn ang="0">
                  <a:pos x="connsiteX13005" y="connsiteY13005"/>
                </a:cxn>
                <a:cxn ang="0">
                  <a:pos x="connsiteX13006" y="connsiteY13006"/>
                </a:cxn>
                <a:cxn ang="0">
                  <a:pos x="connsiteX13007" y="connsiteY13007"/>
                </a:cxn>
                <a:cxn ang="0">
                  <a:pos x="connsiteX13008" y="connsiteY13008"/>
                </a:cxn>
                <a:cxn ang="0">
                  <a:pos x="connsiteX13009" y="connsiteY13009"/>
                </a:cxn>
                <a:cxn ang="0">
                  <a:pos x="connsiteX13010" y="connsiteY13010"/>
                </a:cxn>
                <a:cxn ang="0">
                  <a:pos x="connsiteX13011" y="connsiteY13011"/>
                </a:cxn>
                <a:cxn ang="0">
                  <a:pos x="connsiteX13012" y="connsiteY13012"/>
                </a:cxn>
                <a:cxn ang="0">
                  <a:pos x="connsiteX13013" y="connsiteY13013"/>
                </a:cxn>
                <a:cxn ang="0">
                  <a:pos x="connsiteX13014" y="connsiteY13014"/>
                </a:cxn>
                <a:cxn ang="0">
                  <a:pos x="connsiteX13015" y="connsiteY13015"/>
                </a:cxn>
                <a:cxn ang="0">
                  <a:pos x="connsiteX13016" y="connsiteY13016"/>
                </a:cxn>
                <a:cxn ang="0">
                  <a:pos x="connsiteX13017" y="connsiteY13017"/>
                </a:cxn>
                <a:cxn ang="0">
                  <a:pos x="connsiteX13018" y="connsiteY13018"/>
                </a:cxn>
                <a:cxn ang="0">
                  <a:pos x="connsiteX13019" y="connsiteY13019"/>
                </a:cxn>
                <a:cxn ang="0">
                  <a:pos x="connsiteX13020" y="connsiteY13020"/>
                </a:cxn>
                <a:cxn ang="0">
                  <a:pos x="connsiteX13021" y="connsiteY13021"/>
                </a:cxn>
                <a:cxn ang="0">
                  <a:pos x="connsiteX13022" y="connsiteY13022"/>
                </a:cxn>
                <a:cxn ang="0">
                  <a:pos x="connsiteX13023" y="connsiteY13023"/>
                </a:cxn>
                <a:cxn ang="0">
                  <a:pos x="connsiteX13024" y="connsiteY13024"/>
                </a:cxn>
                <a:cxn ang="0">
                  <a:pos x="connsiteX13025" y="connsiteY13025"/>
                </a:cxn>
                <a:cxn ang="0">
                  <a:pos x="connsiteX13026" y="connsiteY13026"/>
                </a:cxn>
                <a:cxn ang="0">
                  <a:pos x="connsiteX13027" y="connsiteY13027"/>
                </a:cxn>
                <a:cxn ang="0">
                  <a:pos x="connsiteX13028" y="connsiteY13028"/>
                </a:cxn>
                <a:cxn ang="0">
                  <a:pos x="connsiteX13029" y="connsiteY13029"/>
                </a:cxn>
                <a:cxn ang="0">
                  <a:pos x="connsiteX13030" y="connsiteY13030"/>
                </a:cxn>
                <a:cxn ang="0">
                  <a:pos x="connsiteX13031" y="connsiteY13031"/>
                </a:cxn>
                <a:cxn ang="0">
                  <a:pos x="connsiteX13032" y="connsiteY13032"/>
                </a:cxn>
                <a:cxn ang="0">
                  <a:pos x="connsiteX13033" y="connsiteY13033"/>
                </a:cxn>
                <a:cxn ang="0">
                  <a:pos x="connsiteX13034" y="connsiteY13034"/>
                </a:cxn>
                <a:cxn ang="0">
                  <a:pos x="connsiteX13035" y="connsiteY13035"/>
                </a:cxn>
                <a:cxn ang="0">
                  <a:pos x="connsiteX13036" y="connsiteY13036"/>
                </a:cxn>
                <a:cxn ang="0">
                  <a:pos x="connsiteX13037" y="connsiteY13037"/>
                </a:cxn>
                <a:cxn ang="0">
                  <a:pos x="connsiteX13038" y="connsiteY13038"/>
                </a:cxn>
                <a:cxn ang="0">
                  <a:pos x="connsiteX13039" y="connsiteY13039"/>
                </a:cxn>
                <a:cxn ang="0">
                  <a:pos x="connsiteX13040" y="connsiteY13040"/>
                </a:cxn>
                <a:cxn ang="0">
                  <a:pos x="connsiteX13041" y="connsiteY13041"/>
                </a:cxn>
                <a:cxn ang="0">
                  <a:pos x="connsiteX13042" y="connsiteY13042"/>
                </a:cxn>
                <a:cxn ang="0">
                  <a:pos x="connsiteX13043" y="connsiteY13043"/>
                </a:cxn>
                <a:cxn ang="0">
                  <a:pos x="connsiteX13044" y="connsiteY13044"/>
                </a:cxn>
                <a:cxn ang="0">
                  <a:pos x="connsiteX13045" y="connsiteY13045"/>
                </a:cxn>
                <a:cxn ang="0">
                  <a:pos x="connsiteX13046" y="connsiteY13046"/>
                </a:cxn>
                <a:cxn ang="0">
                  <a:pos x="connsiteX13047" y="connsiteY13047"/>
                </a:cxn>
                <a:cxn ang="0">
                  <a:pos x="connsiteX13048" y="connsiteY13048"/>
                </a:cxn>
                <a:cxn ang="0">
                  <a:pos x="connsiteX13049" y="connsiteY13049"/>
                </a:cxn>
                <a:cxn ang="0">
                  <a:pos x="connsiteX13050" y="connsiteY13050"/>
                </a:cxn>
                <a:cxn ang="0">
                  <a:pos x="connsiteX13051" y="connsiteY13051"/>
                </a:cxn>
                <a:cxn ang="0">
                  <a:pos x="connsiteX13052" y="connsiteY13052"/>
                </a:cxn>
                <a:cxn ang="0">
                  <a:pos x="connsiteX13053" y="connsiteY13053"/>
                </a:cxn>
                <a:cxn ang="0">
                  <a:pos x="connsiteX13054" y="connsiteY13054"/>
                </a:cxn>
                <a:cxn ang="0">
                  <a:pos x="connsiteX13055" y="connsiteY13055"/>
                </a:cxn>
                <a:cxn ang="0">
                  <a:pos x="connsiteX13056" y="connsiteY13056"/>
                </a:cxn>
                <a:cxn ang="0">
                  <a:pos x="connsiteX13057" y="connsiteY13057"/>
                </a:cxn>
                <a:cxn ang="0">
                  <a:pos x="connsiteX13058" y="connsiteY13058"/>
                </a:cxn>
                <a:cxn ang="0">
                  <a:pos x="connsiteX13059" y="connsiteY13059"/>
                </a:cxn>
                <a:cxn ang="0">
                  <a:pos x="connsiteX13060" y="connsiteY13060"/>
                </a:cxn>
                <a:cxn ang="0">
                  <a:pos x="connsiteX13061" y="connsiteY13061"/>
                </a:cxn>
                <a:cxn ang="0">
                  <a:pos x="connsiteX13062" y="connsiteY13062"/>
                </a:cxn>
                <a:cxn ang="0">
                  <a:pos x="connsiteX13063" y="connsiteY13063"/>
                </a:cxn>
                <a:cxn ang="0">
                  <a:pos x="connsiteX13064" y="connsiteY13064"/>
                </a:cxn>
                <a:cxn ang="0">
                  <a:pos x="connsiteX13065" y="connsiteY13065"/>
                </a:cxn>
                <a:cxn ang="0">
                  <a:pos x="connsiteX13066" y="connsiteY13066"/>
                </a:cxn>
                <a:cxn ang="0">
                  <a:pos x="connsiteX13067" y="connsiteY13067"/>
                </a:cxn>
                <a:cxn ang="0">
                  <a:pos x="connsiteX13068" y="connsiteY13068"/>
                </a:cxn>
                <a:cxn ang="0">
                  <a:pos x="connsiteX13069" y="connsiteY13069"/>
                </a:cxn>
                <a:cxn ang="0">
                  <a:pos x="connsiteX13070" y="connsiteY13070"/>
                </a:cxn>
                <a:cxn ang="0">
                  <a:pos x="connsiteX13071" y="connsiteY13071"/>
                </a:cxn>
                <a:cxn ang="0">
                  <a:pos x="connsiteX13072" y="connsiteY13072"/>
                </a:cxn>
                <a:cxn ang="0">
                  <a:pos x="connsiteX13073" y="connsiteY13073"/>
                </a:cxn>
                <a:cxn ang="0">
                  <a:pos x="connsiteX13074" y="connsiteY13074"/>
                </a:cxn>
                <a:cxn ang="0">
                  <a:pos x="connsiteX13075" y="connsiteY13075"/>
                </a:cxn>
                <a:cxn ang="0">
                  <a:pos x="connsiteX13076" y="connsiteY13076"/>
                </a:cxn>
                <a:cxn ang="0">
                  <a:pos x="connsiteX13077" y="connsiteY13077"/>
                </a:cxn>
                <a:cxn ang="0">
                  <a:pos x="connsiteX13078" y="connsiteY13078"/>
                </a:cxn>
                <a:cxn ang="0">
                  <a:pos x="connsiteX13079" y="connsiteY13079"/>
                </a:cxn>
                <a:cxn ang="0">
                  <a:pos x="connsiteX13080" y="connsiteY13080"/>
                </a:cxn>
                <a:cxn ang="0">
                  <a:pos x="connsiteX13081" y="connsiteY13081"/>
                </a:cxn>
                <a:cxn ang="0">
                  <a:pos x="connsiteX13082" y="connsiteY13082"/>
                </a:cxn>
                <a:cxn ang="0">
                  <a:pos x="connsiteX13083" y="connsiteY13083"/>
                </a:cxn>
                <a:cxn ang="0">
                  <a:pos x="connsiteX13084" y="connsiteY13084"/>
                </a:cxn>
                <a:cxn ang="0">
                  <a:pos x="connsiteX13085" y="connsiteY13085"/>
                </a:cxn>
                <a:cxn ang="0">
                  <a:pos x="connsiteX13086" y="connsiteY13086"/>
                </a:cxn>
                <a:cxn ang="0">
                  <a:pos x="connsiteX13087" y="connsiteY13087"/>
                </a:cxn>
                <a:cxn ang="0">
                  <a:pos x="connsiteX13088" y="connsiteY13088"/>
                </a:cxn>
                <a:cxn ang="0">
                  <a:pos x="connsiteX13089" y="connsiteY13089"/>
                </a:cxn>
                <a:cxn ang="0">
                  <a:pos x="connsiteX13090" y="connsiteY13090"/>
                </a:cxn>
                <a:cxn ang="0">
                  <a:pos x="connsiteX13091" y="connsiteY13091"/>
                </a:cxn>
                <a:cxn ang="0">
                  <a:pos x="connsiteX13092" y="connsiteY13092"/>
                </a:cxn>
                <a:cxn ang="0">
                  <a:pos x="connsiteX13093" y="connsiteY13093"/>
                </a:cxn>
                <a:cxn ang="0">
                  <a:pos x="connsiteX13094" y="connsiteY13094"/>
                </a:cxn>
                <a:cxn ang="0">
                  <a:pos x="connsiteX13095" y="connsiteY13095"/>
                </a:cxn>
                <a:cxn ang="0">
                  <a:pos x="connsiteX13096" y="connsiteY13096"/>
                </a:cxn>
                <a:cxn ang="0">
                  <a:pos x="connsiteX13097" y="connsiteY13097"/>
                </a:cxn>
                <a:cxn ang="0">
                  <a:pos x="connsiteX13098" y="connsiteY13098"/>
                </a:cxn>
                <a:cxn ang="0">
                  <a:pos x="connsiteX13099" y="connsiteY13099"/>
                </a:cxn>
                <a:cxn ang="0">
                  <a:pos x="connsiteX13100" y="connsiteY13100"/>
                </a:cxn>
                <a:cxn ang="0">
                  <a:pos x="connsiteX13101" y="connsiteY13101"/>
                </a:cxn>
                <a:cxn ang="0">
                  <a:pos x="connsiteX13102" y="connsiteY13102"/>
                </a:cxn>
                <a:cxn ang="0">
                  <a:pos x="connsiteX13103" y="connsiteY13103"/>
                </a:cxn>
                <a:cxn ang="0">
                  <a:pos x="connsiteX13104" y="connsiteY13104"/>
                </a:cxn>
                <a:cxn ang="0">
                  <a:pos x="connsiteX13105" y="connsiteY13105"/>
                </a:cxn>
                <a:cxn ang="0">
                  <a:pos x="connsiteX13106" y="connsiteY13106"/>
                </a:cxn>
                <a:cxn ang="0">
                  <a:pos x="connsiteX13107" y="connsiteY13107"/>
                </a:cxn>
                <a:cxn ang="0">
                  <a:pos x="connsiteX13108" y="connsiteY13108"/>
                </a:cxn>
                <a:cxn ang="0">
                  <a:pos x="connsiteX13109" y="connsiteY13109"/>
                </a:cxn>
                <a:cxn ang="0">
                  <a:pos x="connsiteX13110" y="connsiteY13110"/>
                </a:cxn>
                <a:cxn ang="0">
                  <a:pos x="connsiteX13111" y="connsiteY13111"/>
                </a:cxn>
                <a:cxn ang="0">
                  <a:pos x="connsiteX13112" y="connsiteY13112"/>
                </a:cxn>
                <a:cxn ang="0">
                  <a:pos x="connsiteX13113" y="connsiteY13113"/>
                </a:cxn>
                <a:cxn ang="0">
                  <a:pos x="connsiteX13114" y="connsiteY13114"/>
                </a:cxn>
                <a:cxn ang="0">
                  <a:pos x="connsiteX13115" y="connsiteY13115"/>
                </a:cxn>
                <a:cxn ang="0">
                  <a:pos x="connsiteX13116" y="connsiteY13116"/>
                </a:cxn>
                <a:cxn ang="0">
                  <a:pos x="connsiteX13117" y="connsiteY13117"/>
                </a:cxn>
                <a:cxn ang="0">
                  <a:pos x="connsiteX13118" y="connsiteY13118"/>
                </a:cxn>
                <a:cxn ang="0">
                  <a:pos x="connsiteX13119" y="connsiteY13119"/>
                </a:cxn>
                <a:cxn ang="0">
                  <a:pos x="connsiteX13120" y="connsiteY13120"/>
                </a:cxn>
                <a:cxn ang="0">
                  <a:pos x="connsiteX13121" y="connsiteY13121"/>
                </a:cxn>
                <a:cxn ang="0">
                  <a:pos x="connsiteX13122" y="connsiteY13122"/>
                </a:cxn>
                <a:cxn ang="0">
                  <a:pos x="connsiteX13123" y="connsiteY13123"/>
                </a:cxn>
                <a:cxn ang="0">
                  <a:pos x="connsiteX13124" y="connsiteY13124"/>
                </a:cxn>
                <a:cxn ang="0">
                  <a:pos x="connsiteX13125" y="connsiteY13125"/>
                </a:cxn>
                <a:cxn ang="0">
                  <a:pos x="connsiteX13126" y="connsiteY13126"/>
                </a:cxn>
                <a:cxn ang="0">
                  <a:pos x="connsiteX13127" y="connsiteY13127"/>
                </a:cxn>
                <a:cxn ang="0">
                  <a:pos x="connsiteX13128" y="connsiteY13128"/>
                </a:cxn>
                <a:cxn ang="0">
                  <a:pos x="connsiteX13129" y="connsiteY13129"/>
                </a:cxn>
                <a:cxn ang="0">
                  <a:pos x="connsiteX13130" y="connsiteY13130"/>
                </a:cxn>
                <a:cxn ang="0">
                  <a:pos x="connsiteX13131" y="connsiteY13131"/>
                </a:cxn>
                <a:cxn ang="0">
                  <a:pos x="connsiteX13132" y="connsiteY13132"/>
                </a:cxn>
                <a:cxn ang="0">
                  <a:pos x="connsiteX13133" y="connsiteY13133"/>
                </a:cxn>
                <a:cxn ang="0">
                  <a:pos x="connsiteX13134" y="connsiteY13134"/>
                </a:cxn>
                <a:cxn ang="0">
                  <a:pos x="connsiteX13135" y="connsiteY13135"/>
                </a:cxn>
                <a:cxn ang="0">
                  <a:pos x="connsiteX13136" y="connsiteY13136"/>
                </a:cxn>
                <a:cxn ang="0">
                  <a:pos x="connsiteX13137" y="connsiteY13137"/>
                </a:cxn>
                <a:cxn ang="0">
                  <a:pos x="connsiteX13138" y="connsiteY13138"/>
                </a:cxn>
                <a:cxn ang="0">
                  <a:pos x="connsiteX13139" y="connsiteY13139"/>
                </a:cxn>
                <a:cxn ang="0">
                  <a:pos x="connsiteX13140" y="connsiteY13140"/>
                </a:cxn>
                <a:cxn ang="0">
                  <a:pos x="connsiteX13141" y="connsiteY13141"/>
                </a:cxn>
                <a:cxn ang="0">
                  <a:pos x="connsiteX13142" y="connsiteY13142"/>
                </a:cxn>
                <a:cxn ang="0">
                  <a:pos x="connsiteX13143" y="connsiteY13143"/>
                </a:cxn>
                <a:cxn ang="0">
                  <a:pos x="connsiteX13144" y="connsiteY13144"/>
                </a:cxn>
                <a:cxn ang="0">
                  <a:pos x="connsiteX13145" y="connsiteY13145"/>
                </a:cxn>
                <a:cxn ang="0">
                  <a:pos x="connsiteX13146" y="connsiteY13146"/>
                </a:cxn>
                <a:cxn ang="0">
                  <a:pos x="connsiteX13147" y="connsiteY13147"/>
                </a:cxn>
                <a:cxn ang="0">
                  <a:pos x="connsiteX13148" y="connsiteY13148"/>
                </a:cxn>
                <a:cxn ang="0">
                  <a:pos x="connsiteX13149" y="connsiteY13149"/>
                </a:cxn>
                <a:cxn ang="0">
                  <a:pos x="connsiteX13150" y="connsiteY13150"/>
                </a:cxn>
                <a:cxn ang="0">
                  <a:pos x="connsiteX13151" y="connsiteY13151"/>
                </a:cxn>
                <a:cxn ang="0">
                  <a:pos x="connsiteX13152" y="connsiteY13152"/>
                </a:cxn>
                <a:cxn ang="0">
                  <a:pos x="connsiteX13153" y="connsiteY13153"/>
                </a:cxn>
                <a:cxn ang="0">
                  <a:pos x="connsiteX13154" y="connsiteY13154"/>
                </a:cxn>
                <a:cxn ang="0">
                  <a:pos x="connsiteX13155" y="connsiteY13155"/>
                </a:cxn>
                <a:cxn ang="0">
                  <a:pos x="connsiteX13156" y="connsiteY13156"/>
                </a:cxn>
                <a:cxn ang="0">
                  <a:pos x="connsiteX13157" y="connsiteY13157"/>
                </a:cxn>
                <a:cxn ang="0">
                  <a:pos x="connsiteX13158" y="connsiteY13158"/>
                </a:cxn>
                <a:cxn ang="0">
                  <a:pos x="connsiteX13159" y="connsiteY13159"/>
                </a:cxn>
                <a:cxn ang="0">
                  <a:pos x="connsiteX13160" y="connsiteY13160"/>
                </a:cxn>
                <a:cxn ang="0">
                  <a:pos x="connsiteX13161" y="connsiteY13161"/>
                </a:cxn>
                <a:cxn ang="0">
                  <a:pos x="connsiteX13162" y="connsiteY13162"/>
                </a:cxn>
                <a:cxn ang="0">
                  <a:pos x="connsiteX13163" y="connsiteY13163"/>
                </a:cxn>
                <a:cxn ang="0">
                  <a:pos x="connsiteX13164" y="connsiteY13164"/>
                </a:cxn>
                <a:cxn ang="0">
                  <a:pos x="connsiteX13165" y="connsiteY13165"/>
                </a:cxn>
                <a:cxn ang="0">
                  <a:pos x="connsiteX13166" y="connsiteY13166"/>
                </a:cxn>
                <a:cxn ang="0">
                  <a:pos x="connsiteX13167" y="connsiteY13167"/>
                </a:cxn>
                <a:cxn ang="0">
                  <a:pos x="connsiteX13168" y="connsiteY13168"/>
                </a:cxn>
                <a:cxn ang="0">
                  <a:pos x="connsiteX13169" y="connsiteY13169"/>
                </a:cxn>
                <a:cxn ang="0">
                  <a:pos x="connsiteX13170" y="connsiteY13170"/>
                </a:cxn>
                <a:cxn ang="0">
                  <a:pos x="connsiteX13171" y="connsiteY13171"/>
                </a:cxn>
                <a:cxn ang="0">
                  <a:pos x="connsiteX13172" y="connsiteY13172"/>
                </a:cxn>
                <a:cxn ang="0">
                  <a:pos x="connsiteX13173" y="connsiteY13173"/>
                </a:cxn>
                <a:cxn ang="0">
                  <a:pos x="connsiteX13174" y="connsiteY13174"/>
                </a:cxn>
                <a:cxn ang="0">
                  <a:pos x="connsiteX13175" y="connsiteY13175"/>
                </a:cxn>
                <a:cxn ang="0">
                  <a:pos x="connsiteX13176" y="connsiteY13176"/>
                </a:cxn>
                <a:cxn ang="0">
                  <a:pos x="connsiteX13177" y="connsiteY13177"/>
                </a:cxn>
                <a:cxn ang="0">
                  <a:pos x="connsiteX13178" y="connsiteY13178"/>
                </a:cxn>
                <a:cxn ang="0">
                  <a:pos x="connsiteX13179" y="connsiteY13179"/>
                </a:cxn>
                <a:cxn ang="0">
                  <a:pos x="connsiteX13180" y="connsiteY13180"/>
                </a:cxn>
                <a:cxn ang="0">
                  <a:pos x="connsiteX13181" y="connsiteY13181"/>
                </a:cxn>
                <a:cxn ang="0">
                  <a:pos x="connsiteX13182" y="connsiteY13182"/>
                </a:cxn>
                <a:cxn ang="0">
                  <a:pos x="connsiteX13183" y="connsiteY13183"/>
                </a:cxn>
                <a:cxn ang="0">
                  <a:pos x="connsiteX13184" y="connsiteY13184"/>
                </a:cxn>
                <a:cxn ang="0">
                  <a:pos x="connsiteX13185" y="connsiteY13185"/>
                </a:cxn>
                <a:cxn ang="0">
                  <a:pos x="connsiteX13186" y="connsiteY13186"/>
                </a:cxn>
                <a:cxn ang="0">
                  <a:pos x="connsiteX13187" y="connsiteY13187"/>
                </a:cxn>
                <a:cxn ang="0">
                  <a:pos x="connsiteX13188" y="connsiteY13188"/>
                </a:cxn>
                <a:cxn ang="0">
                  <a:pos x="connsiteX13189" y="connsiteY13189"/>
                </a:cxn>
                <a:cxn ang="0">
                  <a:pos x="connsiteX13190" y="connsiteY13190"/>
                </a:cxn>
                <a:cxn ang="0">
                  <a:pos x="connsiteX13191" y="connsiteY13191"/>
                </a:cxn>
                <a:cxn ang="0">
                  <a:pos x="connsiteX13192" y="connsiteY13192"/>
                </a:cxn>
                <a:cxn ang="0">
                  <a:pos x="connsiteX13193" y="connsiteY13193"/>
                </a:cxn>
                <a:cxn ang="0">
                  <a:pos x="connsiteX13194" y="connsiteY13194"/>
                </a:cxn>
                <a:cxn ang="0">
                  <a:pos x="connsiteX13195" y="connsiteY13195"/>
                </a:cxn>
                <a:cxn ang="0">
                  <a:pos x="connsiteX13196" y="connsiteY13196"/>
                </a:cxn>
                <a:cxn ang="0">
                  <a:pos x="connsiteX13197" y="connsiteY13197"/>
                </a:cxn>
                <a:cxn ang="0">
                  <a:pos x="connsiteX13198" y="connsiteY13198"/>
                </a:cxn>
                <a:cxn ang="0">
                  <a:pos x="connsiteX13199" y="connsiteY13199"/>
                </a:cxn>
                <a:cxn ang="0">
                  <a:pos x="connsiteX13200" y="connsiteY13200"/>
                </a:cxn>
                <a:cxn ang="0">
                  <a:pos x="connsiteX13201" y="connsiteY13201"/>
                </a:cxn>
                <a:cxn ang="0">
                  <a:pos x="connsiteX13202" y="connsiteY13202"/>
                </a:cxn>
                <a:cxn ang="0">
                  <a:pos x="connsiteX13203" y="connsiteY13203"/>
                </a:cxn>
                <a:cxn ang="0">
                  <a:pos x="connsiteX13204" y="connsiteY13204"/>
                </a:cxn>
                <a:cxn ang="0">
                  <a:pos x="connsiteX13205" y="connsiteY13205"/>
                </a:cxn>
                <a:cxn ang="0">
                  <a:pos x="connsiteX13206" y="connsiteY13206"/>
                </a:cxn>
                <a:cxn ang="0">
                  <a:pos x="connsiteX13207" y="connsiteY13207"/>
                </a:cxn>
                <a:cxn ang="0">
                  <a:pos x="connsiteX13208" y="connsiteY13208"/>
                </a:cxn>
                <a:cxn ang="0">
                  <a:pos x="connsiteX13209" y="connsiteY13209"/>
                </a:cxn>
                <a:cxn ang="0">
                  <a:pos x="connsiteX13210" y="connsiteY13210"/>
                </a:cxn>
                <a:cxn ang="0">
                  <a:pos x="connsiteX13211" y="connsiteY13211"/>
                </a:cxn>
                <a:cxn ang="0">
                  <a:pos x="connsiteX13212" y="connsiteY13212"/>
                </a:cxn>
                <a:cxn ang="0">
                  <a:pos x="connsiteX13213" y="connsiteY13213"/>
                </a:cxn>
                <a:cxn ang="0">
                  <a:pos x="connsiteX13214" y="connsiteY13214"/>
                </a:cxn>
                <a:cxn ang="0">
                  <a:pos x="connsiteX13215" y="connsiteY13215"/>
                </a:cxn>
                <a:cxn ang="0">
                  <a:pos x="connsiteX13216" y="connsiteY13216"/>
                </a:cxn>
                <a:cxn ang="0">
                  <a:pos x="connsiteX13217" y="connsiteY13217"/>
                </a:cxn>
                <a:cxn ang="0">
                  <a:pos x="connsiteX13218" y="connsiteY13218"/>
                </a:cxn>
                <a:cxn ang="0">
                  <a:pos x="connsiteX13219" y="connsiteY13219"/>
                </a:cxn>
                <a:cxn ang="0">
                  <a:pos x="connsiteX13220" y="connsiteY13220"/>
                </a:cxn>
                <a:cxn ang="0">
                  <a:pos x="connsiteX13221" y="connsiteY13221"/>
                </a:cxn>
                <a:cxn ang="0">
                  <a:pos x="connsiteX13222" y="connsiteY13222"/>
                </a:cxn>
                <a:cxn ang="0">
                  <a:pos x="connsiteX13223" y="connsiteY13223"/>
                </a:cxn>
                <a:cxn ang="0">
                  <a:pos x="connsiteX13224" y="connsiteY13224"/>
                </a:cxn>
                <a:cxn ang="0">
                  <a:pos x="connsiteX13225" y="connsiteY13225"/>
                </a:cxn>
                <a:cxn ang="0">
                  <a:pos x="connsiteX13226" y="connsiteY13226"/>
                </a:cxn>
                <a:cxn ang="0">
                  <a:pos x="connsiteX13227" y="connsiteY13227"/>
                </a:cxn>
                <a:cxn ang="0">
                  <a:pos x="connsiteX13228" y="connsiteY13228"/>
                </a:cxn>
                <a:cxn ang="0">
                  <a:pos x="connsiteX13229" y="connsiteY13229"/>
                </a:cxn>
                <a:cxn ang="0">
                  <a:pos x="connsiteX13230" y="connsiteY13230"/>
                </a:cxn>
                <a:cxn ang="0">
                  <a:pos x="connsiteX13231" y="connsiteY13231"/>
                </a:cxn>
                <a:cxn ang="0">
                  <a:pos x="connsiteX13232" y="connsiteY13232"/>
                </a:cxn>
                <a:cxn ang="0">
                  <a:pos x="connsiteX13233" y="connsiteY13233"/>
                </a:cxn>
                <a:cxn ang="0">
                  <a:pos x="connsiteX13234" y="connsiteY13234"/>
                </a:cxn>
                <a:cxn ang="0">
                  <a:pos x="connsiteX13235" y="connsiteY13235"/>
                </a:cxn>
                <a:cxn ang="0">
                  <a:pos x="connsiteX13236" y="connsiteY13236"/>
                </a:cxn>
                <a:cxn ang="0">
                  <a:pos x="connsiteX13237" y="connsiteY13237"/>
                </a:cxn>
                <a:cxn ang="0">
                  <a:pos x="connsiteX13238" y="connsiteY13238"/>
                </a:cxn>
                <a:cxn ang="0">
                  <a:pos x="connsiteX13239" y="connsiteY13239"/>
                </a:cxn>
                <a:cxn ang="0">
                  <a:pos x="connsiteX13240" y="connsiteY13240"/>
                </a:cxn>
                <a:cxn ang="0">
                  <a:pos x="connsiteX13241" y="connsiteY13241"/>
                </a:cxn>
                <a:cxn ang="0">
                  <a:pos x="connsiteX13242" y="connsiteY13242"/>
                </a:cxn>
                <a:cxn ang="0">
                  <a:pos x="connsiteX13243" y="connsiteY13243"/>
                </a:cxn>
                <a:cxn ang="0">
                  <a:pos x="connsiteX13244" y="connsiteY13244"/>
                </a:cxn>
                <a:cxn ang="0">
                  <a:pos x="connsiteX13245" y="connsiteY13245"/>
                </a:cxn>
                <a:cxn ang="0">
                  <a:pos x="connsiteX13246" y="connsiteY13246"/>
                </a:cxn>
                <a:cxn ang="0">
                  <a:pos x="connsiteX13247" y="connsiteY13247"/>
                </a:cxn>
                <a:cxn ang="0">
                  <a:pos x="connsiteX13248" y="connsiteY13248"/>
                </a:cxn>
                <a:cxn ang="0">
                  <a:pos x="connsiteX13249" y="connsiteY13249"/>
                </a:cxn>
                <a:cxn ang="0">
                  <a:pos x="connsiteX13250" y="connsiteY13250"/>
                </a:cxn>
                <a:cxn ang="0">
                  <a:pos x="connsiteX13251" y="connsiteY13251"/>
                </a:cxn>
                <a:cxn ang="0">
                  <a:pos x="connsiteX13252" y="connsiteY13252"/>
                </a:cxn>
                <a:cxn ang="0">
                  <a:pos x="connsiteX13253" y="connsiteY13253"/>
                </a:cxn>
                <a:cxn ang="0">
                  <a:pos x="connsiteX13254" y="connsiteY13254"/>
                </a:cxn>
                <a:cxn ang="0">
                  <a:pos x="connsiteX13255" y="connsiteY13255"/>
                </a:cxn>
                <a:cxn ang="0">
                  <a:pos x="connsiteX13256" y="connsiteY13256"/>
                </a:cxn>
                <a:cxn ang="0">
                  <a:pos x="connsiteX13257" y="connsiteY13257"/>
                </a:cxn>
                <a:cxn ang="0">
                  <a:pos x="connsiteX13258" y="connsiteY13258"/>
                </a:cxn>
                <a:cxn ang="0">
                  <a:pos x="connsiteX13259" y="connsiteY13259"/>
                </a:cxn>
                <a:cxn ang="0">
                  <a:pos x="connsiteX13260" y="connsiteY13260"/>
                </a:cxn>
                <a:cxn ang="0">
                  <a:pos x="connsiteX13261" y="connsiteY13261"/>
                </a:cxn>
                <a:cxn ang="0">
                  <a:pos x="connsiteX13262" y="connsiteY13262"/>
                </a:cxn>
                <a:cxn ang="0">
                  <a:pos x="connsiteX13263" y="connsiteY13263"/>
                </a:cxn>
                <a:cxn ang="0">
                  <a:pos x="connsiteX13264" y="connsiteY13264"/>
                </a:cxn>
                <a:cxn ang="0">
                  <a:pos x="connsiteX13265" y="connsiteY13265"/>
                </a:cxn>
                <a:cxn ang="0">
                  <a:pos x="connsiteX13266" y="connsiteY13266"/>
                </a:cxn>
                <a:cxn ang="0">
                  <a:pos x="connsiteX13267" y="connsiteY13267"/>
                </a:cxn>
                <a:cxn ang="0">
                  <a:pos x="connsiteX13268" y="connsiteY13268"/>
                </a:cxn>
                <a:cxn ang="0">
                  <a:pos x="connsiteX13269" y="connsiteY13269"/>
                </a:cxn>
                <a:cxn ang="0">
                  <a:pos x="connsiteX13270" y="connsiteY13270"/>
                </a:cxn>
                <a:cxn ang="0">
                  <a:pos x="connsiteX13271" y="connsiteY13271"/>
                </a:cxn>
                <a:cxn ang="0">
                  <a:pos x="connsiteX13272" y="connsiteY13272"/>
                </a:cxn>
                <a:cxn ang="0">
                  <a:pos x="connsiteX13273" y="connsiteY13273"/>
                </a:cxn>
                <a:cxn ang="0">
                  <a:pos x="connsiteX13274" y="connsiteY13274"/>
                </a:cxn>
                <a:cxn ang="0">
                  <a:pos x="connsiteX13275" y="connsiteY13275"/>
                </a:cxn>
                <a:cxn ang="0">
                  <a:pos x="connsiteX13276" y="connsiteY13276"/>
                </a:cxn>
                <a:cxn ang="0">
                  <a:pos x="connsiteX13277" y="connsiteY13277"/>
                </a:cxn>
                <a:cxn ang="0">
                  <a:pos x="connsiteX13278" y="connsiteY13278"/>
                </a:cxn>
                <a:cxn ang="0">
                  <a:pos x="connsiteX13279" y="connsiteY13279"/>
                </a:cxn>
                <a:cxn ang="0">
                  <a:pos x="connsiteX13280" y="connsiteY13280"/>
                </a:cxn>
                <a:cxn ang="0">
                  <a:pos x="connsiteX13281" y="connsiteY13281"/>
                </a:cxn>
                <a:cxn ang="0">
                  <a:pos x="connsiteX13282" y="connsiteY13282"/>
                </a:cxn>
                <a:cxn ang="0">
                  <a:pos x="connsiteX13283" y="connsiteY13283"/>
                </a:cxn>
                <a:cxn ang="0">
                  <a:pos x="connsiteX13284" y="connsiteY13284"/>
                </a:cxn>
                <a:cxn ang="0">
                  <a:pos x="connsiteX13285" y="connsiteY13285"/>
                </a:cxn>
                <a:cxn ang="0">
                  <a:pos x="connsiteX13286" y="connsiteY13286"/>
                </a:cxn>
                <a:cxn ang="0">
                  <a:pos x="connsiteX13287" y="connsiteY13287"/>
                </a:cxn>
                <a:cxn ang="0">
                  <a:pos x="connsiteX13288" y="connsiteY13288"/>
                </a:cxn>
                <a:cxn ang="0">
                  <a:pos x="connsiteX13289" y="connsiteY13289"/>
                </a:cxn>
                <a:cxn ang="0">
                  <a:pos x="connsiteX13290" y="connsiteY13290"/>
                </a:cxn>
                <a:cxn ang="0">
                  <a:pos x="connsiteX13291" y="connsiteY13291"/>
                </a:cxn>
                <a:cxn ang="0">
                  <a:pos x="connsiteX13292" y="connsiteY13292"/>
                </a:cxn>
                <a:cxn ang="0">
                  <a:pos x="connsiteX13293" y="connsiteY13293"/>
                </a:cxn>
                <a:cxn ang="0">
                  <a:pos x="connsiteX13294" y="connsiteY13294"/>
                </a:cxn>
                <a:cxn ang="0">
                  <a:pos x="connsiteX13295" y="connsiteY13295"/>
                </a:cxn>
                <a:cxn ang="0">
                  <a:pos x="connsiteX13296" y="connsiteY13296"/>
                </a:cxn>
                <a:cxn ang="0">
                  <a:pos x="connsiteX13297" y="connsiteY13297"/>
                </a:cxn>
                <a:cxn ang="0">
                  <a:pos x="connsiteX13298" y="connsiteY13298"/>
                </a:cxn>
                <a:cxn ang="0">
                  <a:pos x="connsiteX13299" y="connsiteY13299"/>
                </a:cxn>
                <a:cxn ang="0">
                  <a:pos x="connsiteX13300" y="connsiteY13300"/>
                </a:cxn>
                <a:cxn ang="0">
                  <a:pos x="connsiteX13301" y="connsiteY13301"/>
                </a:cxn>
                <a:cxn ang="0">
                  <a:pos x="connsiteX13302" y="connsiteY13302"/>
                </a:cxn>
                <a:cxn ang="0">
                  <a:pos x="connsiteX13303" y="connsiteY13303"/>
                </a:cxn>
                <a:cxn ang="0">
                  <a:pos x="connsiteX13304" y="connsiteY13304"/>
                </a:cxn>
                <a:cxn ang="0">
                  <a:pos x="connsiteX13305" y="connsiteY13305"/>
                </a:cxn>
                <a:cxn ang="0">
                  <a:pos x="connsiteX13306" y="connsiteY13306"/>
                </a:cxn>
                <a:cxn ang="0">
                  <a:pos x="connsiteX13307" y="connsiteY13307"/>
                </a:cxn>
                <a:cxn ang="0">
                  <a:pos x="connsiteX13308" y="connsiteY13308"/>
                </a:cxn>
                <a:cxn ang="0">
                  <a:pos x="connsiteX13309" y="connsiteY13309"/>
                </a:cxn>
                <a:cxn ang="0">
                  <a:pos x="connsiteX13310" y="connsiteY13310"/>
                </a:cxn>
                <a:cxn ang="0">
                  <a:pos x="connsiteX13311" y="connsiteY13311"/>
                </a:cxn>
                <a:cxn ang="0">
                  <a:pos x="connsiteX13312" y="connsiteY13312"/>
                </a:cxn>
                <a:cxn ang="0">
                  <a:pos x="connsiteX13313" y="connsiteY13313"/>
                </a:cxn>
                <a:cxn ang="0">
                  <a:pos x="connsiteX13314" y="connsiteY13314"/>
                </a:cxn>
                <a:cxn ang="0">
                  <a:pos x="connsiteX13315" y="connsiteY13315"/>
                </a:cxn>
                <a:cxn ang="0">
                  <a:pos x="connsiteX13316" y="connsiteY13316"/>
                </a:cxn>
                <a:cxn ang="0">
                  <a:pos x="connsiteX13317" y="connsiteY13317"/>
                </a:cxn>
                <a:cxn ang="0">
                  <a:pos x="connsiteX13318" y="connsiteY13318"/>
                </a:cxn>
                <a:cxn ang="0">
                  <a:pos x="connsiteX13319" y="connsiteY13319"/>
                </a:cxn>
                <a:cxn ang="0">
                  <a:pos x="connsiteX13320" y="connsiteY13320"/>
                </a:cxn>
                <a:cxn ang="0">
                  <a:pos x="connsiteX13321" y="connsiteY13321"/>
                </a:cxn>
                <a:cxn ang="0">
                  <a:pos x="connsiteX13322" y="connsiteY13322"/>
                </a:cxn>
                <a:cxn ang="0">
                  <a:pos x="connsiteX13323" y="connsiteY13323"/>
                </a:cxn>
                <a:cxn ang="0">
                  <a:pos x="connsiteX13324" y="connsiteY13324"/>
                </a:cxn>
                <a:cxn ang="0">
                  <a:pos x="connsiteX13325" y="connsiteY13325"/>
                </a:cxn>
                <a:cxn ang="0">
                  <a:pos x="connsiteX13326" y="connsiteY13326"/>
                </a:cxn>
                <a:cxn ang="0">
                  <a:pos x="connsiteX13327" y="connsiteY13327"/>
                </a:cxn>
                <a:cxn ang="0">
                  <a:pos x="connsiteX13328" y="connsiteY13328"/>
                </a:cxn>
                <a:cxn ang="0">
                  <a:pos x="connsiteX13329" y="connsiteY13329"/>
                </a:cxn>
                <a:cxn ang="0">
                  <a:pos x="connsiteX13330" y="connsiteY13330"/>
                </a:cxn>
                <a:cxn ang="0">
                  <a:pos x="connsiteX13331" y="connsiteY13331"/>
                </a:cxn>
                <a:cxn ang="0">
                  <a:pos x="connsiteX13332" y="connsiteY13332"/>
                </a:cxn>
                <a:cxn ang="0">
                  <a:pos x="connsiteX13333" y="connsiteY13333"/>
                </a:cxn>
                <a:cxn ang="0">
                  <a:pos x="connsiteX13334" y="connsiteY13334"/>
                </a:cxn>
                <a:cxn ang="0">
                  <a:pos x="connsiteX13335" y="connsiteY13335"/>
                </a:cxn>
                <a:cxn ang="0">
                  <a:pos x="connsiteX13336" y="connsiteY13336"/>
                </a:cxn>
                <a:cxn ang="0">
                  <a:pos x="connsiteX13337" y="connsiteY13337"/>
                </a:cxn>
                <a:cxn ang="0">
                  <a:pos x="connsiteX13338" y="connsiteY13338"/>
                </a:cxn>
                <a:cxn ang="0">
                  <a:pos x="connsiteX13339" y="connsiteY13339"/>
                </a:cxn>
                <a:cxn ang="0">
                  <a:pos x="connsiteX13340" y="connsiteY13340"/>
                </a:cxn>
                <a:cxn ang="0">
                  <a:pos x="connsiteX13341" y="connsiteY13341"/>
                </a:cxn>
                <a:cxn ang="0">
                  <a:pos x="connsiteX13342" y="connsiteY13342"/>
                </a:cxn>
                <a:cxn ang="0">
                  <a:pos x="connsiteX13343" y="connsiteY13343"/>
                </a:cxn>
                <a:cxn ang="0">
                  <a:pos x="connsiteX13344" y="connsiteY13344"/>
                </a:cxn>
                <a:cxn ang="0">
                  <a:pos x="connsiteX13345" y="connsiteY13345"/>
                </a:cxn>
                <a:cxn ang="0">
                  <a:pos x="connsiteX13346" y="connsiteY13346"/>
                </a:cxn>
                <a:cxn ang="0">
                  <a:pos x="connsiteX13347" y="connsiteY13347"/>
                </a:cxn>
                <a:cxn ang="0">
                  <a:pos x="connsiteX13348" y="connsiteY13348"/>
                </a:cxn>
                <a:cxn ang="0">
                  <a:pos x="connsiteX13349" y="connsiteY13349"/>
                </a:cxn>
                <a:cxn ang="0">
                  <a:pos x="connsiteX13350" y="connsiteY13350"/>
                </a:cxn>
                <a:cxn ang="0">
                  <a:pos x="connsiteX13351" y="connsiteY13351"/>
                </a:cxn>
                <a:cxn ang="0">
                  <a:pos x="connsiteX13352" y="connsiteY13352"/>
                </a:cxn>
                <a:cxn ang="0">
                  <a:pos x="connsiteX13353" y="connsiteY13353"/>
                </a:cxn>
                <a:cxn ang="0">
                  <a:pos x="connsiteX13354" y="connsiteY13354"/>
                </a:cxn>
                <a:cxn ang="0">
                  <a:pos x="connsiteX13355" y="connsiteY13355"/>
                </a:cxn>
                <a:cxn ang="0">
                  <a:pos x="connsiteX13356" y="connsiteY13356"/>
                </a:cxn>
                <a:cxn ang="0">
                  <a:pos x="connsiteX13357" y="connsiteY13357"/>
                </a:cxn>
                <a:cxn ang="0">
                  <a:pos x="connsiteX13358" y="connsiteY13358"/>
                </a:cxn>
                <a:cxn ang="0">
                  <a:pos x="connsiteX13359" y="connsiteY13359"/>
                </a:cxn>
                <a:cxn ang="0">
                  <a:pos x="connsiteX13360" y="connsiteY13360"/>
                </a:cxn>
                <a:cxn ang="0">
                  <a:pos x="connsiteX13361" y="connsiteY13361"/>
                </a:cxn>
                <a:cxn ang="0">
                  <a:pos x="connsiteX13362" y="connsiteY13362"/>
                </a:cxn>
                <a:cxn ang="0">
                  <a:pos x="connsiteX13363" y="connsiteY13363"/>
                </a:cxn>
                <a:cxn ang="0">
                  <a:pos x="connsiteX13364" y="connsiteY13364"/>
                </a:cxn>
                <a:cxn ang="0">
                  <a:pos x="connsiteX13365" y="connsiteY13365"/>
                </a:cxn>
                <a:cxn ang="0">
                  <a:pos x="connsiteX13366" y="connsiteY13366"/>
                </a:cxn>
                <a:cxn ang="0">
                  <a:pos x="connsiteX13367" y="connsiteY13367"/>
                </a:cxn>
                <a:cxn ang="0">
                  <a:pos x="connsiteX13368" y="connsiteY13368"/>
                </a:cxn>
                <a:cxn ang="0">
                  <a:pos x="connsiteX13369" y="connsiteY13369"/>
                </a:cxn>
                <a:cxn ang="0">
                  <a:pos x="connsiteX13370" y="connsiteY13370"/>
                </a:cxn>
                <a:cxn ang="0">
                  <a:pos x="connsiteX13371" y="connsiteY13371"/>
                </a:cxn>
                <a:cxn ang="0">
                  <a:pos x="connsiteX13372" y="connsiteY13372"/>
                </a:cxn>
                <a:cxn ang="0">
                  <a:pos x="connsiteX13373" y="connsiteY13373"/>
                </a:cxn>
                <a:cxn ang="0">
                  <a:pos x="connsiteX13374" y="connsiteY13374"/>
                </a:cxn>
                <a:cxn ang="0">
                  <a:pos x="connsiteX13375" y="connsiteY13375"/>
                </a:cxn>
                <a:cxn ang="0">
                  <a:pos x="connsiteX13376" y="connsiteY13376"/>
                </a:cxn>
                <a:cxn ang="0">
                  <a:pos x="connsiteX13377" y="connsiteY13377"/>
                </a:cxn>
                <a:cxn ang="0">
                  <a:pos x="connsiteX13378" y="connsiteY13378"/>
                </a:cxn>
                <a:cxn ang="0">
                  <a:pos x="connsiteX13379" y="connsiteY13379"/>
                </a:cxn>
                <a:cxn ang="0">
                  <a:pos x="connsiteX13380" y="connsiteY13380"/>
                </a:cxn>
                <a:cxn ang="0">
                  <a:pos x="connsiteX13381" y="connsiteY13381"/>
                </a:cxn>
                <a:cxn ang="0">
                  <a:pos x="connsiteX13382" y="connsiteY13382"/>
                </a:cxn>
                <a:cxn ang="0">
                  <a:pos x="connsiteX13383" y="connsiteY13383"/>
                </a:cxn>
                <a:cxn ang="0">
                  <a:pos x="connsiteX13384" y="connsiteY13384"/>
                </a:cxn>
                <a:cxn ang="0">
                  <a:pos x="connsiteX13385" y="connsiteY13385"/>
                </a:cxn>
                <a:cxn ang="0">
                  <a:pos x="connsiteX13386" y="connsiteY13386"/>
                </a:cxn>
                <a:cxn ang="0">
                  <a:pos x="connsiteX13387" y="connsiteY13387"/>
                </a:cxn>
                <a:cxn ang="0">
                  <a:pos x="connsiteX13388" y="connsiteY13388"/>
                </a:cxn>
                <a:cxn ang="0">
                  <a:pos x="connsiteX13389" y="connsiteY13389"/>
                </a:cxn>
                <a:cxn ang="0">
                  <a:pos x="connsiteX13390" y="connsiteY13390"/>
                </a:cxn>
                <a:cxn ang="0">
                  <a:pos x="connsiteX13391" y="connsiteY13391"/>
                </a:cxn>
                <a:cxn ang="0">
                  <a:pos x="connsiteX13392" y="connsiteY13392"/>
                </a:cxn>
                <a:cxn ang="0">
                  <a:pos x="connsiteX13393" y="connsiteY13393"/>
                </a:cxn>
                <a:cxn ang="0">
                  <a:pos x="connsiteX13394" y="connsiteY13394"/>
                </a:cxn>
                <a:cxn ang="0">
                  <a:pos x="connsiteX13395" y="connsiteY13395"/>
                </a:cxn>
                <a:cxn ang="0">
                  <a:pos x="connsiteX13396" y="connsiteY13396"/>
                </a:cxn>
                <a:cxn ang="0">
                  <a:pos x="connsiteX13397" y="connsiteY13397"/>
                </a:cxn>
                <a:cxn ang="0">
                  <a:pos x="connsiteX13398" y="connsiteY13398"/>
                </a:cxn>
                <a:cxn ang="0">
                  <a:pos x="connsiteX13399" y="connsiteY13399"/>
                </a:cxn>
                <a:cxn ang="0">
                  <a:pos x="connsiteX13400" y="connsiteY13400"/>
                </a:cxn>
                <a:cxn ang="0">
                  <a:pos x="connsiteX13401" y="connsiteY13401"/>
                </a:cxn>
                <a:cxn ang="0">
                  <a:pos x="connsiteX13402" y="connsiteY13402"/>
                </a:cxn>
                <a:cxn ang="0">
                  <a:pos x="connsiteX13403" y="connsiteY13403"/>
                </a:cxn>
                <a:cxn ang="0">
                  <a:pos x="connsiteX13404" y="connsiteY13404"/>
                </a:cxn>
                <a:cxn ang="0">
                  <a:pos x="connsiteX13405" y="connsiteY13405"/>
                </a:cxn>
                <a:cxn ang="0">
                  <a:pos x="connsiteX13406" y="connsiteY13406"/>
                </a:cxn>
                <a:cxn ang="0">
                  <a:pos x="connsiteX13407" y="connsiteY13407"/>
                </a:cxn>
                <a:cxn ang="0">
                  <a:pos x="connsiteX13408" y="connsiteY13408"/>
                </a:cxn>
                <a:cxn ang="0">
                  <a:pos x="connsiteX13409" y="connsiteY13409"/>
                </a:cxn>
                <a:cxn ang="0">
                  <a:pos x="connsiteX13410" y="connsiteY13410"/>
                </a:cxn>
                <a:cxn ang="0">
                  <a:pos x="connsiteX13411" y="connsiteY13411"/>
                </a:cxn>
                <a:cxn ang="0">
                  <a:pos x="connsiteX13412" y="connsiteY13412"/>
                </a:cxn>
                <a:cxn ang="0">
                  <a:pos x="connsiteX13413" y="connsiteY13413"/>
                </a:cxn>
                <a:cxn ang="0">
                  <a:pos x="connsiteX13414" y="connsiteY13414"/>
                </a:cxn>
                <a:cxn ang="0">
                  <a:pos x="connsiteX13415" y="connsiteY13415"/>
                </a:cxn>
                <a:cxn ang="0">
                  <a:pos x="connsiteX13416" y="connsiteY13416"/>
                </a:cxn>
                <a:cxn ang="0">
                  <a:pos x="connsiteX13417" y="connsiteY13417"/>
                </a:cxn>
                <a:cxn ang="0">
                  <a:pos x="connsiteX13418" y="connsiteY13418"/>
                </a:cxn>
                <a:cxn ang="0">
                  <a:pos x="connsiteX13419" y="connsiteY13419"/>
                </a:cxn>
                <a:cxn ang="0">
                  <a:pos x="connsiteX13420" y="connsiteY13420"/>
                </a:cxn>
                <a:cxn ang="0">
                  <a:pos x="connsiteX13421" y="connsiteY13421"/>
                </a:cxn>
                <a:cxn ang="0">
                  <a:pos x="connsiteX13422" y="connsiteY13422"/>
                </a:cxn>
                <a:cxn ang="0">
                  <a:pos x="connsiteX13423" y="connsiteY13423"/>
                </a:cxn>
                <a:cxn ang="0">
                  <a:pos x="connsiteX13424" y="connsiteY13424"/>
                </a:cxn>
                <a:cxn ang="0">
                  <a:pos x="connsiteX13425" y="connsiteY13425"/>
                </a:cxn>
                <a:cxn ang="0">
                  <a:pos x="connsiteX13426" y="connsiteY13426"/>
                </a:cxn>
                <a:cxn ang="0">
                  <a:pos x="connsiteX13427" y="connsiteY13427"/>
                </a:cxn>
                <a:cxn ang="0">
                  <a:pos x="connsiteX13428" y="connsiteY13428"/>
                </a:cxn>
                <a:cxn ang="0">
                  <a:pos x="connsiteX13429" y="connsiteY13429"/>
                </a:cxn>
                <a:cxn ang="0">
                  <a:pos x="connsiteX13430" y="connsiteY13430"/>
                </a:cxn>
                <a:cxn ang="0">
                  <a:pos x="connsiteX13431" y="connsiteY13431"/>
                </a:cxn>
                <a:cxn ang="0">
                  <a:pos x="connsiteX13432" y="connsiteY13432"/>
                </a:cxn>
                <a:cxn ang="0">
                  <a:pos x="connsiteX13433" y="connsiteY13433"/>
                </a:cxn>
                <a:cxn ang="0">
                  <a:pos x="connsiteX13434" y="connsiteY13434"/>
                </a:cxn>
                <a:cxn ang="0">
                  <a:pos x="connsiteX13435" y="connsiteY13435"/>
                </a:cxn>
                <a:cxn ang="0">
                  <a:pos x="connsiteX13436" y="connsiteY13436"/>
                </a:cxn>
                <a:cxn ang="0">
                  <a:pos x="connsiteX13437" y="connsiteY13437"/>
                </a:cxn>
                <a:cxn ang="0">
                  <a:pos x="connsiteX13438" y="connsiteY13438"/>
                </a:cxn>
                <a:cxn ang="0">
                  <a:pos x="connsiteX13439" y="connsiteY13439"/>
                </a:cxn>
                <a:cxn ang="0">
                  <a:pos x="connsiteX13440" y="connsiteY13440"/>
                </a:cxn>
                <a:cxn ang="0">
                  <a:pos x="connsiteX13441" y="connsiteY13441"/>
                </a:cxn>
                <a:cxn ang="0">
                  <a:pos x="connsiteX13442" y="connsiteY13442"/>
                </a:cxn>
                <a:cxn ang="0">
                  <a:pos x="connsiteX13443" y="connsiteY13443"/>
                </a:cxn>
                <a:cxn ang="0">
                  <a:pos x="connsiteX13444" y="connsiteY13444"/>
                </a:cxn>
                <a:cxn ang="0">
                  <a:pos x="connsiteX13445" y="connsiteY13445"/>
                </a:cxn>
                <a:cxn ang="0">
                  <a:pos x="connsiteX13446" y="connsiteY13446"/>
                </a:cxn>
                <a:cxn ang="0">
                  <a:pos x="connsiteX13447" y="connsiteY13447"/>
                </a:cxn>
                <a:cxn ang="0">
                  <a:pos x="connsiteX13448" y="connsiteY13448"/>
                </a:cxn>
                <a:cxn ang="0">
                  <a:pos x="connsiteX13449" y="connsiteY13449"/>
                </a:cxn>
                <a:cxn ang="0">
                  <a:pos x="connsiteX13450" y="connsiteY13450"/>
                </a:cxn>
                <a:cxn ang="0">
                  <a:pos x="connsiteX13451" y="connsiteY13451"/>
                </a:cxn>
                <a:cxn ang="0">
                  <a:pos x="connsiteX13452" y="connsiteY13452"/>
                </a:cxn>
                <a:cxn ang="0">
                  <a:pos x="connsiteX13453" y="connsiteY13453"/>
                </a:cxn>
                <a:cxn ang="0">
                  <a:pos x="connsiteX13454" y="connsiteY13454"/>
                </a:cxn>
                <a:cxn ang="0">
                  <a:pos x="connsiteX13455" y="connsiteY13455"/>
                </a:cxn>
                <a:cxn ang="0">
                  <a:pos x="connsiteX13456" y="connsiteY13456"/>
                </a:cxn>
                <a:cxn ang="0">
                  <a:pos x="connsiteX13457" y="connsiteY13457"/>
                </a:cxn>
                <a:cxn ang="0">
                  <a:pos x="connsiteX13458" y="connsiteY13458"/>
                </a:cxn>
                <a:cxn ang="0">
                  <a:pos x="connsiteX13459" y="connsiteY13459"/>
                </a:cxn>
                <a:cxn ang="0">
                  <a:pos x="connsiteX13460" y="connsiteY13460"/>
                </a:cxn>
                <a:cxn ang="0">
                  <a:pos x="connsiteX13461" y="connsiteY13461"/>
                </a:cxn>
                <a:cxn ang="0">
                  <a:pos x="connsiteX13462" y="connsiteY13462"/>
                </a:cxn>
                <a:cxn ang="0">
                  <a:pos x="connsiteX13463" y="connsiteY13463"/>
                </a:cxn>
                <a:cxn ang="0">
                  <a:pos x="connsiteX13464" y="connsiteY13464"/>
                </a:cxn>
                <a:cxn ang="0">
                  <a:pos x="connsiteX13465" y="connsiteY13465"/>
                </a:cxn>
                <a:cxn ang="0">
                  <a:pos x="connsiteX13466" y="connsiteY13466"/>
                </a:cxn>
                <a:cxn ang="0">
                  <a:pos x="connsiteX13467" y="connsiteY13467"/>
                </a:cxn>
                <a:cxn ang="0">
                  <a:pos x="connsiteX13468" y="connsiteY13468"/>
                </a:cxn>
                <a:cxn ang="0">
                  <a:pos x="connsiteX13469" y="connsiteY13469"/>
                </a:cxn>
                <a:cxn ang="0">
                  <a:pos x="connsiteX13470" y="connsiteY13470"/>
                </a:cxn>
                <a:cxn ang="0">
                  <a:pos x="connsiteX13471" y="connsiteY13471"/>
                </a:cxn>
                <a:cxn ang="0">
                  <a:pos x="connsiteX13472" y="connsiteY13472"/>
                </a:cxn>
                <a:cxn ang="0">
                  <a:pos x="connsiteX13473" y="connsiteY13473"/>
                </a:cxn>
                <a:cxn ang="0">
                  <a:pos x="connsiteX13474" y="connsiteY13474"/>
                </a:cxn>
                <a:cxn ang="0">
                  <a:pos x="connsiteX13475" y="connsiteY13475"/>
                </a:cxn>
                <a:cxn ang="0">
                  <a:pos x="connsiteX13476" y="connsiteY13476"/>
                </a:cxn>
                <a:cxn ang="0">
                  <a:pos x="connsiteX13477" y="connsiteY13477"/>
                </a:cxn>
                <a:cxn ang="0">
                  <a:pos x="connsiteX13478" y="connsiteY13478"/>
                </a:cxn>
                <a:cxn ang="0">
                  <a:pos x="connsiteX13479" y="connsiteY13479"/>
                </a:cxn>
                <a:cxn ang="0">
                  <a:pos x="connsiteX13480" y="connsiteY13480"/>
                </a:cxn>
                <a:cxn ang="0">
                  <a:pos x="connsiteX13481" y="connsiteY13481"/>
                </a:cxn>
                <a:cxn ang="0">
                  <a:pos x="connsiteX13482" y="connsiteY13482"/>
                </a:cxn>
                <a:cxn ang="0">
                  <a:pos x="connsiteX13483" y="connsiteY13483"/>
                </a:cxn>
                <a:cxn ang="0">
                  <a:pos x="connsiteX13484" y="connsiteY13484"/>
                </a:cxn>
                <a:cxn ang="0">
                  <a:pos x="connsiteX13485" y="connsiteY13485"/>
                </a:cxn>
                <a:cxn ang="0">
                  <a:pos x="connsiteX13486" y="connsiteY13486"/>
                </a:cxn>
                <a:cxn ang="0">
                  <a:pos x="connsiteX13487" y="connsiteY13487"/>
                </a:cxn>
                <a:cxn ang="0">
                  <a:pos x="connsiteX13488" y="connsiteY13488"/>
                </a:cxn>
                <a:cxn ang="0">
                  <a:pos x="connsiteX13489" y="connsiteY13489"/>
                </a:cxn>
                <a:cxn ang="0">
                  <a:pos x="connsiteX13490" y="connsiteY13490"/>
                </a:cxn>
                <a:cxn ang="0">
                  <a:pos x="connsiteX13491" y="connsiteY13491"/>
                </a:cxn>
                <a:cxn ang="0">
                  <a:pos x="connsiteX13492" y="connsiteY13492"/>
                </a:cxn>
                <a:cxn ang="0">
                  <a:pos x="connsiteX13493" y="connsiteY13493"/>
                </a:cxn>
                <a:cxn ang="0">
                  <a:pos x="connsiteX13494" y="connsiteY13494"/>
                </a:cxn>
                <a:cxn ang="0">
                  <a:pos x="connsiteX13495" y="connsiteY13495"/>
                </a:cxn>
                <a:cxn ang="0">
                  <a:pos x="connsiteX13496" y="connsiteY13496"/>
                </a:cxn>
                <a:cxn ang="0">
                  <a:pos x="connsiteX13497" y="connsiteY13497"/>
                </a:cxn>
                <a:cxn ang="0">
                  <a:pos x="connsiteX13498" y="connsiteY13498"/>
                </a:cxn>
                <a:cxn ang="0">
                  <a:pos x="connsiteX13499" y="connsiteY13499"/>
                </a:cxn>
                <a:cxn ang="0">
                  <a:pos x="connsiteX13500" y="connsiteY13500"/>
                </a:cxn>
                <a:cxn ang="0">
                  <a:pos x="connsiteX13501" y="connsiteY13501"/>
                </a:cxn>
                <a:cxn ang="0">
                  <a:pos x="connsiteX13502" y="connsiteY13502"/>
                </a:cxn>
                <a:cxn ang="0">
                  <a:pos x="connsiteX13503" y="connsiteY13503"/>
                </a:cxn>
                <a:cxn ang="0">
                  <a:pos x="connsiteX13504" y="connsiteY13504"/>
                </a:cxn>
                <a:cxn ang="0">
                  <a:pos x="connsiteX13505" y="connsiteY13505"/>
                </a:cxn>
                <a:cxn ang="0">
                  <a:pos x="connsiteX13506" y="connsiteY13506"/>
                </a:cxn>
                <a:cxn ang="0">
                  <a:pos x="connsiteX13507" y="connsiteY13507"/>
                </a:cxn>
                <a:cxn ang="0">
                  <a:pos x="connsiteX13508" y="connsiteY13508"/>
                </a:cxn>
                <a:cxn ang="0">
                  <a:pos x="connsiteX13509" y="connsiteY13509"/>
                </a:cxn>
                <a:cxn ang="0">
                  <a:pos x="connsiteX13510" y="connsiteY13510"/>
                </a:cxn>
                <a:cxn ang="0">
                  <a:pos x="connsiteX13511" y="connsiteY13511"/>
                </a:cxn>
                <a:cxn ang="0">
                  <a:pos x="connsiteX13512" y="connsiteY13512"/>
                </a:cxn>
                <a:cxn ang="0">
                  <a:pos x="connsiteX13513" y="connsiteY13513"/>
                </a:cxn>
                <a:cxn ang="0">
                  <a:pos x="connsiteX13514" y="connsiteY13514"/>
                </a:cxn>
                <a:cxn ang="0">
                  <a:pos x="connsiteX13515" y="connsiteY13515"/>
                </a:cxn>
                <a:cxn ang="0">
                  <a:pos x="connsiteX13516" y="connsiteY13516"/>
                </a:cxn>
                <a:cxn ang="0">
                  <a:pos x="connsiteX13517" y="connsiteY13517"/>
                </a:cxn>
                <a:cxn ang="0">
                  <a:pos x="connsiteX13518" y="connsiteY13518"/>
                </a:cxn>
                <a:cxn ang="0">
                  <a:pos x="connsiteX13519" y="connsiteY13519"/>
                </a:cxn>
                <a:cxn ang="0">
                  <a:pos x="connsiteX13520" y="connsiteY13520"/>
                </a:cxn>
                <a:cxn ang="0">
                  <a:pos x="connsiteX13521" y="connsiteY13521"/>
                </a:cxn>
                <a:cxn ang="0">
                  <a:pos x="connsiteX13522" y="connsiteY13522"/>
                </a:cxn>
                <a:cxn ang="0">
                  <a:pos x="connsiteX13523" y="connsiteY13523"/>
                </a:cxn>
                <a:cxn ang="0">
                  <a:pos x="connsiteX13524" y="connsiteY13524"/>
                </a:cxn>
                <a:cxn ang="0">
                  <a:pos x="connsiteX13525" y="connsiteY13525"/>
                </a:cxn>
                <a:cxn ang="0">
                  <a:pos x="connsiteX13526" y="connsiteY13526"/>
                </a:cxn>
                <a:cxn ang="0">
                  <a:pos x="connsiteX13527" y="connsiteY13527"/>
                </a:cxn>
                <a:cxn ang="0">
                  <a:pos x="connsiteX13528" y="connsiteY13528"/>
                </a:cxn>
                <a:cxn ang="0">
                  <a:pos x="connsiteX13529" y="connsiteY13529"/>
                </a:cxn>
                <a:cxn ang="0">
                  <a:pos x="connsiteX13530" y="connsiteY13530"/>
                </a:cxn>
                <a:cxn ang="0">
                  <a:pos x="connsiteX13531" y="connsiteY13531"/>
                </a:cxn>
                <a:cxn ang="0">
                  <a:pos x="connsiteX13532" y="connsiteY13532"/>
                </a:cxn>
                <a:cxn ang="0">
                  <a:pos x="connsiteX13533" y="connsiteY13533"/>
                </a:cxn>
                <a:cxn ang="0">
                  <a:pos x="connsiteX13534" y="connsiteY13534"/>
                </a:cxn>
                <a:cxn ang="0">
                  <a:pos x="connsiteX13535" y="connsiteY13535"/>
                </a:cxn>
                <a:cxn ang="0">
                  <a:pos x="connsiteX13536" y="connsiteY13536"/>
                </a:cxn>
                <a:cxn ang="0">
                  <a:pos x="connsiteX13537" y="connsiteY13537"/>
                </a:cxn>
                <a:cxn ang="0">
                  <a:pos x="connsiteX13538" y="connsiteY13538"/>
                </a:cxn>
                <a:cxn ang="0">
                  <a:pos x="connsiteX13539" y="connsiteY13539"/>
                </a:cxn>
                <a:cxn ang="0">
                  <a:pos x="connsiteX13540" y="connsiteY13540"/>
                </a:cxn>
                <a:cxn ang="0">
                  <a:pos x="connsiteX13541" y="connsiteY13541"/>
                </a:cxn>
                <a:cxn ang="0">
                  <a:pos x="connsiteX13542" y="connsiteY13542"/>
                </a:cxn>
                <a:cxn ang="0">
                  <a:pos x="connsiteX13543" y="connsiteY13543"/>
                </a:cxn>
                <a:cxn ang="0">
                  <a:pos x="connsiteX13544" y="connsiteY13544"/>
                </a:cxn>
                <a:cxn ang="0">
                  <a:pos x="connsiteX13545" y="connsiteY13545"/>
                </a:cxn>
                <a:cxn ang="0">
                  <a:pos x="connsiteX13546" y="connsiteY13546"/>
                </a:cxn>
                <a:cxn ang="0">
                  <a:pos x="connsiteX13547" y="connsiteY13547"/>
                </a:cxn>
                <a:cxn ang="0">
                  <a:pos x="connsiteX13548" y="connsiteY13548"/>
                </a:cxn>
                <a:cxn ang="0">
                  <a:pos x="connsiteX13549" y="connsiteY13549"/>
                </a:cxn>
                <a:cxn ang="0">
                  <a:pos x="connsiteX13550" y="connsiteY13550"/>
                </a:cxn>
                <a:cxn ang="0">
                  <a:pos x="connsiteX13551" y="connsiteY13551"/>
                </a:cxn>
                <a:cxn ang="0">
                  <a:pos x="connsiteX13552" y="connsiteY13552"/>
                </a:cxn>
                <a:cxn ang="0">
                  <a:pos x="connsiteX13553" y="connsiteY13553"/>
                </a:cxn>
                <a:cxn ang="0">
                  <a:pos x="connsiteX13554" y="connsiteY13554"/>
                </a:cxn>
                <a:cxn ang="0">
                  <a:pos x="connsiteX13555" y="connsiteY13555"/>
                </a:cxn>
                <a:cxn ang="0">
                  <a:pos x="connsiteX13556" y="connsiteY13556"/>
                </a:cxn>
                <a:cxn ang="0">
                  <a:pos x="connsiteX13557" y="connsiteY13557"/>
                </a:cxn>
                <a:cxn ang="0">
                  <a:pos x="connsiteX13558" y="connsiteY13558"/>
                </a:cxn>
                <a:cxn ang="0">
                  <a:pos x="connsiteX13559" y="connsiteY13559"/>
                </a:cxn>
                <a:cxn ang="0">
                  <a:pos x="connsiteX13560" y="connsiteY13560"/>
                </a:cxn>
                <a:cxn ang="0">
                  <a:pos x="connsiteX13561" y="connsiteY13561"/>
                </a:cxn>
                <a:cxn ang="0">
                  <a:pos x="connsiteX13562" y="connsiteY13562"/>
                </a:cxn>
                <a:cxn ang="0">
                  <a:pos x="connsiteX13563" y="connsiteY13563"/>
                </a:cxn>
                <a:cxn ang="0">
                  <a:pos x="connsiteX13564" y="connsiteY13564"/>
                </a:cxn>
                <a:cxn ang="0">
                  <a:pos x="connsiteX13565" y="connsiteY13565"/>
                </a:cxn>
                <a:cxn ang="0">
                  <a:pos x="connsiteX13566" y="connsiteY13566"/>
                </a:cxn>
                <a:cxn ang="0">
                  <a:pos x="connsiteX13567" y="connsiteY13567"/>
                </a:cxn>
                <a:cxn ang="0">
                  <a:pos x="connsiteX13568" y="connsiteY13568"/>
                </a:cxn>
                <a:cxn ang="0">
                  <a:pos x="connsiteX13569" y="connsiteY13569"/>
                </a:cxn>
                <a:cxn ang="0">
                  <a:pos x="connsiteX13570" y="connsiteY13570"/>
                </a:cxn>
                <a:cxn ang="0">
                  <a:pos x="connsiteX13571" y="connsiteY13571"/>
                </a:cxn>
                <a:cxn ang="0">
                  <a:pos x="connsiteX13572" y="connsiteY13572"/>
                </a:cxn>
                <a:cxn ang="0">
                  <a:pos x="connsiteX13573" y="connsiteY13573"/>
                </a:cxn>
                <a:cxn ang="0">
                  <a:pos x="connsiteX13574" y="connsiteY13574"/>
                </a:cxn>
                <a:cxn ang="0">
                  <a:pos x="connsiteX13575" y="connsiteY13575"/>
                </a:cxn>
                <a:cxn ang="0">
                  <a:pos x="connsiteX13576" y="connsiteY13576"/>
                </a:cxn>
                <a:cxn ang="0">
                  <a:pos x="connsiteX13577" y="connsiteY13577"/>
                </a:cxn>
                <a:cxn ang="0">
                  <a:pos x="connsiteX13578" y="connsiteY13578"/>
                </a:cxn>
                <a:cxn ang="0">
                  <a:pos x="connsiteX13579" y="connsiteY13579"/>
                </a:cxn>
                <a:cxn ang="0">
                  <a:pos x="connsiteX13580" y="connsiteY13580"/>
                </a:cxn>
                <a:cxn ang="0">
                  <a:pos x="connsiteX13581" y="connsiteY13581"/>
                </a:cxn>
                <a:cxn ang="0">
                  <a:pos x="connsiteX13582" y="connsiteY13582"/>
                </a:cxn>
                <a:cxn ang="0">
                  <a:pos x="connsiteX13583" y="connsiteY13583"/>
                </a:cxn>
                <a:cxn ang="0">
                  <a:pos x="connsiteX13584" y="connsiteY13584"/>
                </a:cxn>
                <a:cxn ang="0">
                  <a:pos x="connsiteX13585" y="connsiteY13585"/>
                </a:cxn>
                <a:cxn ang="0">
                  <a:pos x="connsiteX13586" y="connsiteY13586"/>
                </a:cxn>
                <a:cxn ang="0">
                  <a:pos x="connsiteX13587" y="connsiteY13587"/>
                </a:cxn>
                <a:cxn ang="0">
                  <a:pos x="connsiteX13588" y="connsiteY13588"/>
                </a:cxn>
                <a:cxn ang="0">
                  <a:pos x="connsiteX13589" y="connsiteY13589"/>
                </a:cxn>
                <a:cxn ang="0">
                  <a:pos x="connsiteX13590" y="connsiteY13590"/>
                </a:cxn>
                <a:cxn ang="0">
                  <a:pos x="connsiteX13591" y="connsiteY13591"/>
                </a:cxn>
                <a:cxn ang="0">
                  <a:pos x="connsiteX13592" y="connsiteY13592"/>
                </a:cxn>
                <a:cxn ang="0">
                  <a:pos x="connsiteX13593" y="connsiteY13593"/>
                </a:cxn>
                <a:cxn ang="0">
                  <a:pos x="connsiteX13594" y="connsiteY13594"/>
                </a:cxn>
                <a:cxn ang="0">
                  <a:pos x="connsiteX13595" y="connsiteY13595"/>
                </a:cxn>
                <a:cxn ang="0">
                  <a:pos x="connsiteX13596" y="connsiteY13596"/>
                </a:cxn>
                <a:cxn ang="0">
                  <a:pos x="connsiteX13597" y="connsiteY13597"/>
                </a:cxn>
                <a:cxn ang="0">
                  <a:pos x="connsiteX13598" y="connsiteY13598"/>
                </a:cxn>
                <a:cxn ang="0">
                  <a:pos x="connsiteX13599" y="connsiteY13599"/>
                </a:cxn>
                <a:cxn ang="0">
                  <a:pos x="connsiteX13600" y="connsiteY13600"/>
                </a:cxn>
                <a:cxn ang="0">
                  <a:pos x="connsiteX13601" y="connsiteY13601"/>
                </a:cxn>
                <a:cxn ang="0">
                  <a:pos x="connsiteX13602" y="connsiteY13602"/>
                </a:cxn>
                <a:cxn ang="0">
                  <a:pos x="connsiteX13603" y="connsiteY13603"/>
                </a:cxn>
                <a:cxn ang="0">
                  <a:pos x="connsiteX13604" y="connsiteY13604"/>
                </a:cxn>
                <a:cxn ang="0">
                  <a:pos x="connsiteX13605" y="connsiteY13605"/>
                </a:cxn>
                <a:cxn ang="0">
                  <a:pos x="connsiteX13606" y="connsiteY13606"/>
                </a:cxn>
                <a:cxn ang="0">
                  <a:pos x="connsiteX13607" y="connsiteY13607"/>
                </a:cxn>
                <a:cxn ang="0">
                  <a:pos x="connsiteX13608" y="connsiteY13608"/>
                </a:cxn>
                <a:cxn ang="0">
                  <a:pos x="connsiteX13609" y="connsiteY13609"/>
                </a:cxn>
                <a:cxn ang="0">
                  <a:pos x="connsiteX13610" y="connsiteY13610"/>
                </a:cxn>
                <a:cxn ang="0">
                  <a:pos x="connsiteX13611" y="connsiteY13611"/>
                </a:cxn>
                <a:cxn ang="0">
                  <a:pos x="connsiteX13612" y="connsiteY13612"/>
                </a:cxn>
                <a:cxn ang="0">
                  <a:pos x="connsiteX13613" y="connsiteY13613"/>
                </a:cxn>
                <a:cxn ang="0">
                  <a:pos x="connsiteX13614" y="connsiteY13614"/>
                </a:cxn>
                <a:cxn ang="0">
                  <a:pos x="connsiteX13615" y="connsiteY13615"/>
                </a:cxn>
                <a:cxn ang="0">
                  <a:pos x="connsiteX13616" y="connsiteY13616"/>
                </a:cxn>
                <a:cxn ang="0">
                  <a:pos x="connsiteX13617" y="connsiteY13617"/>
                </a:cxn>
                <a:cxn ang="0">
                  <a:pos x="connsiteX13618" y="connsiteY13618"/>
                </a:cxn>
                <a:cxn ang="0">
                  <a:pos x="connsiteX13619" y="connsiteY13619"/>
                </a:cxn>
                <a:cxn ang="0">
                  <a:pos x="connsiteX13620" y="connsiteY13620"/>
                </a:cxn>
                <a:cxn ang="0">
                  <a:pos x="connsiteX13621" y="connsiteY13621"/>
                </a:cxn>
                <a:cxn ang="0">
                  <a:pos x="connsiteX13622" y="connsiteY13622"/>
                </a:cxn>
                <a:cxn ang="0">
                  <a:pos x="connsiteX13623" y="connsiteY13623"/>
                </a:cxn>
                <a:cxn ang="0">
                  <a:pos x="connsiteX13624" y="connsiteY13624"/>
                </a:cxn>
                <a:cxn ang="0">
                  <a:pos x="connsiteX13625" y="connsiteY13625"/>
                </a:cxn>
                <a:cxn ang="0">
                  <a:pos x="connsiteX13626" y="connsiteY13626"/>
                </a:cxn>
                <a:cxn ang="0">
                  <a:pos x="connsiteX13627" y="connsiteY13627"/>
                </a:cxn>
                <a:cxn ang="0">
                  <a:pos x="connsiteX13628" y="connsiteY13628"/>
                </a:cxn>
                <a:cxn ang="0">
                  <a:pos x="connsiteX13629" y="connsiteY13629"/>
                </a:cxn>
                <a:cxn ang="0">
                  <a:pos x="connsiteX13630" y="connsiteY13630"/>
                </a:cxn>
                <a:cxn ang="0">
                  <a:pos x="connsiteX13631" y="connsiteY13631"/>
                </a:cxn>
                <a:cxn ang="0">
                  <a:pos x="connsiteX13632" y="connsiteY13632"/>
                </a:cxn>
                <a:cxn ang="0">
                  <a:pos x="connsiteX13633" y="connsiteY13633"/>
                </a:cxn>
                <a:cxn ang="0">
                  <a:pos x="connsiteX13634" y="connsiteY13634"/>
                </a:cxn>
                <a:cxn ang="0">
                  <a:pos x="connsiteX13635" y="connsiteY13635"/>
                </a:cxn>
                <a:cxn ang="0">
                  <a:pos x="connsiteX13636" y="connsiteY13636"/>
                </a:cxn>
                <a:cxn ang="0">
                  <a:pos x="connsiteX13637" y="connsiteY13637"/>
                </a:cxn>
                <a:cxn ang="0">
                  <a:pos x="connsiteX13638" y="connsiteY13638"/>
                </a:cxn>
                <a:cxn ang="0">
                  <a:pos x="connsiteX13639" y="connsiteY13639"/>
                </a:cxn>
                <a:cxn ang="0">
                  <a:pos x="connsiteX13640" y="connsiteY13640"/>
                </a:cxn>
                <a:cxn ang="0">
                  <a:pos x="connsiteX13641" y="connsiteY13641"/>
                </a:cxn>
                <a:cxn ang="0">
                  <a:pos x="connsiteX13642" y="connsiteY13642"/>
                </a:cxn>
                <a:cxn ang="0">
                  <a:pos x="connsiteX13643" y="connsiteY13643"/>
                </a:cxn>
                <a:cxn ang="0">
                  <a:pos x="connsiteX13644" y="connsiteY13644"/>
                </a:cxn>
                <a:cxn ang="0">
                  <a:pos x="connsiteX13645" y="connsiteY13645"/>
                </a:cxn>
                <a:cxn ang="0">
                  <a:pos x="connsiteX13646" y="connsiteY13646"/>
                </a:cxn>
                <a:cxn ang="0">
                  <a:pos x="connsiteX13647" y="connsiteY13647"/>
                </a:cxn>
                <a:cxn ang="0">
                  <a:pos x="connsiteX13648" y="connsiteY13648"/>
                </a:cxn>
                <a:cxn ang="0">
                  <a:pos x="connsiteX13649" y="connsiteY13649"/>
                </a:cxn>
                <a:cxn ang="0">
                  <a:pos x="connsiteX13650" y="connsiteY13650"/>
                </a:cxn>
                <a:cxn ang="0">
                  <a:pos x="connsiteX13651" y="connsiteY13651"/>
                </a:cxn>
                <a:cxn ang="0">
                  <a:pos x="connsiteX13652" y="connsiteY13652"/>
                </a:cxn>
                <a:cxn ang="0">
                  <a:pos x="connsiteX13653" y="connsiteY13653"/>
                </a:cxn>
                <a:cxn ang="0">
                  <a:pos x="connsiteX13654" y="connsiteY13654"/>
                </a:cxn>
                <a:cxn ang="0">
                  <a:pos x="connsiteX13655" y="connsiteY13655"/>
                </a:cxn>
                <a:cxn ang="0">
                  <a:pos x="connsiteX13656" y="connsiteY13656"/>
                </a:cxn>
                <a:cxn ang="0">
                  <a:pos x="connsiteX13657" y="connsiteY13657"/>
                </a:cxn>
                <a:cxn ang="0">
                  <a:pos x="connsiteX13658" y="connsiteY13658"/>
                </a:cxn>
                <a:cxn ang="0">
                  <a:pos x="connsiteX13659" y="connsiteY13659"/>
                </a:cxn>
                <a:cxn ang="0">
                  <a:pos x="connsiteX13660" y="connsiteY13660"/>
                </a:cxn>
                <a:cxn ang="0">
                  <a:pos x="connsiteX13661" y="connsiteY13661"/>
                </a:cxn>
                <a:cxn ang="0">
                  <a:pos x="connsiteX13662" y="connsiteY13662"/>
                </a:cxn>
                <a:cxn ang="0">
                  <a:pos x="connsiteX13663" y="connsiteY13663"/>
                </a:cxn>
                <a:cxn ang="0">
                  <a:pos x="connsiteX13664" y="connsiteY13664"/>
                </a:cxn>
                <a:cxn ang="0">
                  <a:pos x="connsiteX13665" y="connsiteY13665"/>
                </a:cxn>
                <a:cxn ang="0">
                  <a:pos x="connsiteX13666" y="connsiteY13666"/>
                </a:cxn>
                <a:cxn ang="0">
                  <a:pos x="connsiteX13667" y="connsiteY13667"/>
                </a:cxn>
                <a:cxn ang="0">
                  <a:pos x="connsiteX13668" y="connsiteY13668"/>
                </a:cxn>
                <a:cxn ang="0">
                  <a:pos x="connsiteX13669" y="connsiteY13669"/>
                </a:cxn>
                <a:cxn ang="0">
                  <a:pos x="connsiteX13670" y="connsiteY13670"/>
                </a:cxn>
                <a:cxn ang="0">
                  <a:pos x="connsiteX13671" y="connsiteY13671"/>
                </a:cxn>
                <a:cxn ang="0">
                  <a:pos x="connsiteX13672" y="connsiteY13672"/>
                </a:cxn>
                <a:cxn ang="0">
                  <a:pos x="connsiteX13673" y="connsiteY13673"/>
                </a:cxn>
                <a:cxn ang="0">
                  <a:pos x="connsiteX13674" y="connsiteY13674"/>
                </a:cxn>
                <a:cxn ang="0">
                  <a:pos x="connsiteX13675" y="connsiteY13675"/>
                </a:cxn>
                <a:cxn ang="0">
                  <a:pos x="connsiteX13676" y="connsiteY13676"/>
                </a:cxn>
                <a:cxn ang="0">
                  <a:pos x="connsiteX13677" y="connsiteY13677"/>
                </a:cxn>
                <a:cxn ang="0">
                  <a:pos x="connsiteX13678" y="connsiteY13678"/>
                </a:cxn>
                <a:cxn ang="0">
                  <a:pos x="connsiteX13679" y="connsiteY13679"/>
                </a:cxn>
                <a:cxn ang="0">
                  <a:pos x="connsiteX13680" y="connsiteY13680"/>
                </a:cxn>
                <a:cxn ang="0">
                  <a:pos x="connsiteX13681" y="connsiteY13681"/>
                </a:cxn>
                <a:cxn ang="0">
                  <a:pos x="connsiteX13682" y="connsiteY13682"/>
                </a:cxn>
                <a:cxn ang="0">
                  <a:pos x="connsiteX13683" y="connsiteY13683"/>
                </a:cxn>
                <a:cxn ang="0">
                  <a:pos x="connsiteX13684" y="connsiteY13684"/>
                </a:cxn>
                <a:cxn ang="0">
                  <a:pos x="connsiteX13685" y="connsiteY13685"/>
                </a:cxn>
                <a:cxn ang="0">
                  <a:pos x="connsiteX13686" y="connsiteY13686"/>
                </a:cxn>
                <a:cxn ang="0">
                  <a:pos x="connsiteX13687" y="connsiteY13687"/>
                </a:cxn>
                <a:cxn ang="0">
                  <a:pos x="connsiteX13688" y="connsiteY13688"/>
                </a:cxn>
                <a:cxn ang="0">
                  <a:pos x="connsiteX13689" y="connsiteY13689"/>
                </a:cxn>
                <a:cxn ang="0">
                  <a:pos x="connsiteX13690" y="connsiteY13690"/>
                </a:cxn>
                <a:cxn ang="0">
                  <a:pos x="connsiteX13691" y="connsiteY13691"/>
                </a:cxn>
                <a:cxn ang="0">
                  <a:pos x="connsiteX13692" y="connsiteY13692"/>
                </a:cxn>
                <a:cxn ang="0">
                  <a:pos x="connsiteX13693" y="connsiteY13693"/>
                </a:cxn>
                <a:cxn ang="0">
                  <a:pos x="connsiteX13694" y="connsiteY13694"/>
                </a:cxn>
                <a:cxn ang="0">
                  <a:pos x="connsiteX13695" y="connsiteY13695"/>
                </a:cxn>
                <a:cxn ang="0">
                  <a:pos x="connsiteX13696" y="connsiteY13696"/>
                </a:cxn>
                <a:cxn ang="0">
                  <a:pos x="connsiteX13697" y="connsiteY13697"/>
                </a:cxn>
                <a:cxn ang="0">
                  <a:pos x="connsiteX13698" y="connsiteY13698"/>
                </a:cxn>
                <a:cxn ang="0">
                  <a:pos x="connsiteX13699" y="connsiteY13699"/>
                </a:cxn>
                <a:cxn ang="0">
                  <a:pos x="connsiteX13700" y="connsiteY13700"/>
                </a:cxn>
                <a:cxn ang="0">
                  <a:pos x="connsiteX13701" y="connsiteY13701"/>
                </a:cxn>
                <a:cxn ang="0">
                  <a:pos x="connsiteX13702" y="connsiteY13702"/>
                </a:cxn>
                <a:cxn ang="0">
                  <a:pos x="connsiteX13703" y="connsiteY13703"/>
                </a:cxn>
                <a:cxn ang="0">
                  <a:pos x="connsiteX13704" y="connsiteY13704"/>
                </a:cxn>
                <a:cxn ang="0">
                  <a:pos x="connsiteX13705" y="connsiteY13705"/>
                </a:cxn>
                <a:cxn ang="0">
                  <a:pos x="connsiteX13706" y="connsiteY13706"/>
                </a:cxn>
                <a:cxn ang="0">
                  <a:pos x="connsiteX13707" y="connsiteY13707"/>
                </a:cxn>
                <a:cxn ang="0">
                  <a:pos x="connsiteX13708" y="connsiteY13708"/>
                </a:cxn>
                <a:cxn ang="0">
                  <a:pos x="connsiteX13709" y="connsiteY13709"/>
                </a:cxn>
                <a:cxn ang="0">
                  <a:pos x="connsiteX13710" y="connsiteY13710"/>
                </a:cxn>
                <a:cxn ang="0">
                  <a:pos x="connsiteX13711" y="connsiteY13711"/>
                </a:cxn>
                <a:cxn ang="0">
                  <a:pos x="connsiteX13712" y="connsiteY13712"/>
                </a:cxn>
                <a:cxn ang="0">
                  <a:pos x="connsiteX13713" y="connsiteY13713"/>
                </a:cxn>
                <a:cxn ang="0">
                  <a:pos x="connsiteX13714" y="connsiteY13714"/>
                </a:cxn>
                <a:cxn ang="0">
                  <a:pos x="connsiteX13715" y="connsiteY13715"/>
                </a:cxn>
                <a:cxn ang="0">
                  <a:pos x="connsiteX13716" y="connsiteY13716"/>
                </a:cxn>
                <a:cxn ang="0">
                  <a:pos x="connsiteX13717" y="connsiteY13717"/>
                </a:cxn>
                <a:cxn ang="0">
                  <a:pos x="connsiteX13718" y="connsiteY13718"/>
                </a:cxn>
                <a:cxn ang="0">
                  <a:pos x="connsiteX13719" y="connsiteY13719"/>
                </a:cxn>
                <a:cxn ang="0">
                  <a:pos x="connsiteX13720" y="connsiteY13720"/>
                </a:cxn>
                <a:cxn ang="0">
                  <a:pos x="connsiteX13721" y="connsiteY13721"/>
                </a:cxn>
                <a:cxn ang="0">
                  <a:pos x="connsiteX13722" y="connsiteY13722"/>
                </a:cxn>
                <a:cxn ang="0">
                  <a:pos x="connsiteX13723" y="connsiteY13723"/>
                </a:cxn>
                <a:cxn ang="0">
                  <a:pos x="connsiteX13724" y="connsiteY13724"/>
                </a:cxn>
                <a:cxn ang="0">
                  <a:pos x="connsiteX13725" y="connsiteY13725"/>
                </a:cxn>
                <a:cxn ang="0">
                  <a:pos x="connsiteX13726" y="connsiteY13726"/>
                </a:cxn>
                <a:cxn ang="0">
                  <a:pos x="connsiteX13727" y="connsiteY13727"/>
                </a:cxn>
                <a:cxn ang="0">
                  <a:pos x="connsiteX13728" y="connsiteY13728"/>
                </a:cxn>
                <a:cxn ang="0">
                  <a:pos x="connsiteX13729" y="connsiteY13729"/>
                </a:cxn>
                <a:cxn ang="0">
                  <a:pos x="connsiteX13730" y="connsiteY13730"/>
                </a:cxn>
                <a:cxn ang="0">
                  <a:pos x="connsiteX13731" y="connsiteY13731"/>
                </a:cxn>
                <a:cxn ang="0">
                  <a:pos x="connsiteX13732" y="connsiteY13732"/>
                </a:cxn>
                <a:cxn ang="0">
                  <a:pos x="connsiteX13733" y="connsiteY13733"/>
                </a:cxn>
                <a:cxn ang="0">
                  <a:pos x="connsiteX13734" y="connsiteY13734"/>
                </a:cxn>
                <a:cxn ang="0">
                  <a:pos x="connsiteX13735" y="connsiteY13735"/>
                </a:cxn>
                <a:cxn ang="0">
                  <a:pos x="connsiteX13736" y="connsiteY13736"/>
                </a:cxn>
                <a:cxn ang="0">
                  <a:pos x="connsiteX13737" y="connsiteY13737"/>
                </a:cxn>
                <a:cxn ang="0">
                  <a:pos x="connsiteX13738" y="connsiteY13738"/>
                </a:cxn>
                <a:cxn ang="0">
                  <a:pos x="connsiteX13739" y="connsiteY13739"/>
                </a:cxn>
                <a:cxn ang="0">
                  <a:pos x="connsiteX13740" y="connsiteY13740"/>
                </a:cxn>
                <a:cxn ang="0">
                  <a:pos x="connsiteX13741" y="connsiteY13741"/>
                </a:cxn>
                <a:cxn ang="0">
                  <a:pos x="connsiteX13742" y="connsiteY13742"/>
                </a:cxn>
                <a:cxn ang="0">
                  <a:pos x="connsiteX13743" y="connsiteY13743"/>
                </a:cxn>
                <a:cxn ang="0">
                  <a:pos x="connsiteX13744" y="connsiteY13744"/>
                </a:cxn>
                <a:cxn ang="0">
                  <a:pos x="connsiteX13745" y="connsiteY13745"/>
                </a:cxn>
                <a:cxn ang="0">
                  <a:pos x="connsiteX13746" y="connsiteY13746"/>
                </a:cxn>
                <a:cxn ang="0">
                  <a:pos x="connsiteX13747" y="connsiteY13747"/>
                </a:cxn>
                <a:cxn ang="0">
                  <a:pos x="connsiteX13748" y="connsiteY13748"/>
                </a:cxn>
                <a:cxn ang="0">
                  <a:pos x="connsiteX13749" y="connsiteY13749"/>
                </a:cxn>
                <a:cxn ang="0">
                  <a:pos x="connsiteX13750" y="connsiteY13750"/>
                </a:cxn>
                <a:cxn ang="0">
                  <a:pos x="connsiteX13751" y="connsiteY13751"/>
                </a:cxn>
                <a:cxn ang="0">
                  <a:pos x="connsiteX13752" y="connsiteY13752"/>
                </a:cxn>
                <a:cxn ang="0">
                  <a:pos x="connsiteX13753" y="connsiteY13753"/>
                </a:cxn>
                <a:cxn ang="0">
                  <a:pos x="connsiteX13754" y="connsiteY13754"/>
                </a:cxn>
                <a:cxn ang="0">
                  <a:pos x="connsiteX13755" y="connsiteY13755"/>
                </a:cxn>
                <a:cxn ang="0">
                  <a:pos x="connsiteX13756" y="connsiteY13756"/>
                </a:cxn>
                <a:cxn ang="0">
                  <a:pos x="connsiteX13757" y="connsiteY13757"/>
                </a:cxn>
                <a:cxn ang="0">
                  <a:pos x="connsiteX13758" y="connsiteY13758"/>
                </a:cxn>
                <a:cxn ang="0">
                  <a:pos x="connsiteX13759" y="connsiteY13759"/>
                </a:cxn>
                <a:cxn ang="0">
                  <a:pos x="connsiteX13760" y="connsiteY13760"/>
                </a:cxn>
                <a:cxn ang="0">
                  <a:pos x="connsiteX13761" y="connsiteY13761"/>
                </a:cxn>
                <a:cxn ang="0">
                  <a:pos x="connsiteX13762" y="connsiteY13762"/>
                </a:cxn>
                <a:cxn ang="0">
                  <a:pos x="connsiteX13763" y="connsiteY13763"/>
                </a:cxn>
                <a:cxn ang="0">
                  <a:pos x="connsiteX13764" y="connsiteY13764"/>
                </a:cxn>
                <a:cxn ang="0">
                  <a:pos x="connsiteX13765" y="connsiteY13765"/>
                </a:cxn>
                <a:cxn ang="0">
                  <a:pos x="connsiteX13766" y="connsiteY13766"/>
                </a:cxn>
                <a:cxn ang="0">
                  <a:pos x="connsiteX13767" y="connsiteY13767"/>
                </a:cxn>
                <a:cxn ang="0">
                  <a:pos x="connsiteX13768" y="connsiteY13768"/>
                </a:cxn>
                <a:cxn ang="0">
                  <a:pos x="connsiteX13769" y="connsiteY13769"/>
                </a:cxn>
                <a:cxn ang="0">
                  <a:pos x="connsiteX13770" y="connsiteY13770"/>
                </a:cxn>
                <a:cxn ang="0">
                  <a:pos x="connsiteX13771" y="connsiteY13771"/>
                </a:cxn>
                <a:cxn ang="0">
                  <a:pos x="connsiteX13772" y="connsiteY13772"/>
                </a:cxn>
                <a:cxn ang="0">
                  <a:pos x="connsiteX13773" y="connsiteY13773"/>
                </a:cxn>
                <a:cxn ang="0">
                  <a:pos x="connsiteX13774" y="connsiteY13774"/>
                </a:cxn>
                <a:cxn ang="0">
                  <a:pos x="connsiteX13775" y="connsiteY13775"/>
                </a:cxn>
                <a:cxn ang="0">
                  <a:pos x="connsiteX13776" y="connsiteY13776"/>
                </a:cxn>
                <a:cxn ang="0">
                  <a:pos x="connsiteX13777" y="connsiteY13777"/>
                </a:cxn>
                <a:cxn ang="0">
                  <a:pos x="connsiteX13778" y="connsiteY13778"/>
                </a:cxn>
                <a:cxn ang="0">
                  <a:pos x="connsiteX13779" y="connsiteY13779"/>
                </a:cxn>
                <a:cxn ang="0">
                  <a:pos x="connsiteX13780" y="connsiteY13780"/>
                </a:cxn>
                <a:cxn ang="0">
                  <a:pos x="connsiteX13781" y="connsiteY13781"/>
                </a:cxn>
                <a:cxn ang="0">
                  <a:pos x="connsiteX13782" y="connsiteY13782"/>
                </a:cxn>
                <a:cxn ang="0">
                  <a:pos x="connsiteX13783" y="connsiteY13783"/>
                </a:cxn>
                <a:cxn ang="0">
                  <a:pos x="connsiteX13784" y="connsiteY13784"/>
                </a:cxn>
                <a:cxn ang="0">
                  <a:pos x="connsiteX13785" y="connsiteY13785"/>
                </a:cxn>
                <a:cxn ang="0">
                  <a:pos x="connsiteX13786" y="connsiteY13786"/>
                </a:cxn>
                <a:cxn ang="0">
                  <a:pos x="connsiteX13787" y="connsiteY13787"/>
                </a:cxn>
                <a:cxn ang="0">
                  <a:pos x="connsiteX13788" y="connsiteY13788"/>
                </a:cxn>
                <a:cxn ang="0">
                  <a:pos x="connsiteX13789" y="connsiteY13789"/>
                </a:cxn>
                <a:cxn ang="0">
                  <a:pos x="connsiteX13790" y="connsiteY13790"/>
                </a:cxn>
                <a:cxn ang="0">
                  <a:pos x="connsiteX13791" y="connsiteY13791"/>
                </a:cxn>
                <a:cxn ang="0">
                  <a:pos x="connsiteX13792" y="connsiteY13792"/>
                </a:cxn>
                <a:cxn ang="0">
                  <a:pos x="connsiteX13793" y="connsiteY13793"/>
                </a:cxn>
                <a:cxn ang="0">
                  <a:pos x="connsiteX13794" y="connsiteY13794"/>
                </a:cxn>
                <a:cxn ang="0">
                  <a:pos x="connsiteX13795" y="connsiteY13795"/>
                </a:cxn>
                <a:cxn ang="0">
                  <a:pos x="connsiteX13796" y="connsiteY13796"/>
                </a:cxn>
                <a:cxn ang="0">
                  <a:pos x="connsiteX13797" y="connsiteY13797"/>
                </a:cxn>
                <a:cxn ang="0">
                  <a:pos x="connsiteX13798" y="connsiteY13798"/>
                </a:cxn>
                <a:cxn ang="0">
                  <a:pos x="connsiteX13799" y="connsiteY13799"/>
                </a:cxn>
                <a:cxn ang="0">
                  <a:pos x="connsiteX13800" y="connsiteY13800"/>
                </a:cxn>
                <a:cxn ang="0">
                  <a:pos x="connsiteX13801" y="connsiteY13801"/>
                </a:cxn>
                <a:cxn ang="0">
                  <a:pos x="connsiteX13802" y="connsiteY13802"/>
                </a:cxn>
                <a:cxn ang="0">
                  <a:pos x="connsiteX13803" y="connsiteY13803"/>
                </a:cxn>
                <a:cxn ang="0">
                  <a:pos x="connsiteX13804" y="connsiteY13804"/>
                </a:cxn>
                <a:cxn ang="0">
                  <a:pos x="connsiteX13805" y="connsiteY13805"/>
                </a:cxn>
                <a:cxn ang="0">
                  <a:pos x="connsiteX13806" y="connsiteY13806"/>
                </a:cxn>
                <a:cxn ang="0">
                  <a:pos x="connsiteX13807" y="connsiteY13807"/>
                </a:cxn>
                <a:cxn ang="0">
                  <a:pos x="connsiteX13808" y="connsiteY13808"/>
                </a:cxn>
                <a:cxn ang="0">
                  <a:pos x="connsiteX13809" y="connsiteY13809"/>
                </a:cxn>
                <a:cxn ang="0">
                  <a:pos x="connsiteX13810" y="connsiteY13810"/>
                </a:cxn>
                <a:cxn ang="0">
                  <a:pos x="connsiteX13811" y="connsiteY13811"/>
                </a:cxn>
                <a:cxn ang="0">
                  <a:pos x="connsiteX13812" y="connsiteY13812"/>
                </a:cxn>
                <a:cxn ang="0">
                  <a:pos x="connsiteX13813" y="connsiteY13813"/>
                </a:cxn>
                <a:cxn ang="0">
                  <a:pos x="connsiteX13814" y="connsiteY13814"/>
                </a:cxn>
                <a:cxn ang="0">
                  <a:pos x="connsiteX13815" y="connsiteY13815"/>
                </a:cxn>
                <a:cxn ang="0">
                  <a:pos x="connsiteX13816" y="connsiteY13816"/>
                </a:cxn>
                <a:cxn ang="0">
                  <a:pos x="connsiteX13817" y="connsiteY13817"/>
                </a:cxn>
                <a:cxn ang="0">
                  <a:pos x="connsiteX13818" y="connsiteY13818"/>
                </a:cxn>
                <a:cxn ang="0">
                  <a:pos x="connsiteX13819" y="connsiteY13819"/>
                </a:cxn>
                <a:cxn ang="0">
                  <a:pos x="connsiteX13820" y="connsiteY13820"/>
                </a:cxn>
                <a:cxn ang="0">
                  <a:pos x="connsiteX13821" y="connsiteY13821"/>
                </a:cxn>
                <a:cxn ang="0">
                  <a:pos x="connsiteX13822" y="connsiteY13822"/>
                </a:cxn>
                <a:cxn ang="0">
                  <a:pos x="connsiteX13823" y="connsiteY13823"/>
                </a:cxn>
                <a:cxn ang="0">
                  <a:pos x="connsiteX13824" y="connsiteY13824"/>
                </a:cxn>
                <a:cxn ang="0">
                  <a:pos x="connsiteX13825" y="connsiteY13825"/>
                </a:cxn>
                <a:cxn ang="0">
                  <a:pos x="connsiteX13826" y="connsiteY13826"/>
                </a:cxn>
                <a:cxn ang="0">
                  <a:pos x="connsiteX13827" y="connsiteY13827"/>
                </a:cxn>
                <a:cxn ang="0">
                  <a:pos x="connsiteX13828" y="connsiteY13828"/>
                </a:cxn>
                <a:cxn ang="0">
                  <a:pos x="connsiteX13829" y="connsiteY13829"/>
                </a:cxn>
                <a:cxn ang="0">
                  <a:pos x="connsiteX13830" y="connsiteY13830"/>
                </a:cxn>
                <a:cxn ang="0">
                  <a:pos x="connsiteX13831" y="connsiteY13831"/>
                </a:cxn>
                <a:cxn ang="0">
                  <a:pos x="connsiteX13832" y="connsiteY13832"/>
                </a:cxn>
                <a:cxn ang="0">
                  <a:pos x="connsiteX13833" y="connsiteY13833"/>
                </a:cxn>
                <a:cxn ang="0">
                  <a:pos x="connsiteX13834" y="connsiteY13834"/>
                </a:cxn>
                <a:cxn ang="0">
                  <a:pos x="connsiteX13835" y="connsiteY13835"/>
                </a:cxn>
                <a:cxn ang="0">
                  <a:pos x="connsiteX13836" y="connsiteY13836"/>
                </a:cxn>
                <a:cxn ang="0">
                  <a:pos x="connsiteX13837" y="connsiteY13837"/>
                </a:cxn>
                <a:cxn ang="0">
                  <a:pos x="connsiteX13838" y="connsiteY13838"/>
                </a:cxn>
                <a:cxn ang="0">
                  <a:pos x="connsiteX13839" y="connsiteY13839"/>
                </a:cxn>
                <a:cxn ang="0">
                  <a:pos x="connsiteX13840" y="connsiteY13840"/>
                </a:cxn>
                <a:cxn ang="0">
                  <a:pos x="connsiteX13841" y="connsiteY13841"/>
                </a:cxn>
                <a:cxn ang="0">
                  <a:pos x="connsiteX13842" y="connsiteY13842"/>
                </a:cxn>
                <a:cxn ang="0">
                  <a:pos x="connsiteX13843" y="connsiteY13843"/>
                </a:cxn>
                <a:cxn ang="0">
                  <a:pos x="connsiteX13844" y="connsiteY13844"/>
                </a:cxn>
                <a:cxn ang="0">
                  <a:pos x="connsiteX13845" y="connsiteY13845"/>
                </a:cxn>
                <a:cxn ang="0">
                  <a:pos x="connsiteX13846" y="connsiteY13846"/>
                </a:cxn>
                <a:cxn ang="0">
                  <a:pos x="connsiteX13847" y="connsiteY13847"/>
                </a:cxn>
                <a:cxn ang="0">
                  <a:pos x="connsiteX13848" y="connsiteY13848"/>
                </a:cxn>
                <a:cxn ang="0">
                  <a:pos x="connsiteX13849" y="connsiteY13849"/>
                </a:cxn>
                <a:cxn ang="0">
                  <a:pos x="connsiteX13850" y="connsiteY13850"/>
                </a:cxn>
                <a:cxn ang="0">
                  <a:pos x="connsiteX13851" y="connsiteY13851"/>
                </a:cxn>
                <a:cxn ang="0">
                  <a:pos x="connsiteX13852" y="connsiteY13852"/>
                </a:cxn>
                <a:cxn ang="0">
                  <a:pos x="connsiteX13853" y="connsiteY13853"/>
                </a:cxn>
                <a:cxn ang="0">
                  <a:pos x="connsiteX13854" y="connsiteY13854"/>
                </a:cxn>
                <a:cxn ang="0">
                  <a:pos x="connsiteX13855" y="connsiteY13855"/>
                </a:cxn>
                <a:cxn ang="0">
                  <a:pos x="connsiteX13856" y="connsiteY13856"/>
                </a:cxn>
                <a:cxn ang="0">
                  <a:pos x="connsiteX13857" y="connsiteY13857"/>
                </a:cxn>
                <a:cxn ang="0">
                  <a:pos x="connsiteX13858" y="connsiteY13858"/>
                </a:cxn>
                <a:cxn ang="0">
                  <a:pos x="connsiteX13859" y="connsiteY13859"/>
                </a:cxn>
                <a:cxn ang="0">
                  <a:pos x="connsiteX13860" y="connsiteY13860"/>
                </a:cxn>
                <a:cxn ang="0">
                  <a:pos x="connsiteX13861" y="connsiteY13861"/>
                </a:cxn>
                <a:cxn ang="0">
                  <a:pos x="connsiteX13862" y="connsiteY13862"/>
                </a:cxn>
                <a:cxn ang="0">
                  <a:pos x="connsiteX13863" y="connsiteY13863"/>
                </a:cxn>
                <a:cxn ang="0">
                  <a:pos x="connsiteX13864" y="connsiteY13864"/>
                </a:cxn>
                <a:cxn ang="0">
                  <a:pos x="connsiteX13865" y="connsiteY13865"/>
                </a:cxn>
                <a:cxn ang="0">
                  <a:pos x="connsiteX13866" y="connsiteY13866"/>
                </a:cxn>
                <a:cxn ang="0">
                  <a:pos x="connsiteX13867" y="connsiteY13867"/>
                </a:cxn>
                <a:cxn ang="0">
                  <a:pos x="connsiteX13868" y="connsiteY13868"/>
                </a:cxn>
                <a:cxn ang="0">
                  <a:pos x="connsiteX13869" y="connsiteY13869"/>
                </a:cxn>
                <a:cxn ang="0">
                  <a:pos x="connsiteX13870" y="connsiteY13870"/>
                </a:cxn>
                <a:cxn ang="0">
                  <a:pos x="connsiteX13871" y="connsiteY13871"/>
                </a:cxn>
                <a:cxn ang="0">
                  <a:pos x="connsiteX13872" y="connsiteY13872"/>
                </a:cxn>
                <a:cxn ang="0">
                  <a:pos x="connsiteX13873" y="connsiteY13873"/>
                </a:cxn>
                <a:cxn ang="0">
                  <a:pos x="connsiteX13874" y="connsiteY13874"/>
                </a:cxn>
                <a:cxn ang="0">
                  <a:pos x="connsiteX13875" y="connsiteY13875"/>
                </a:cxn>
                <a:cxn ang="0">
                  <a:pos x="connsiteX13876" y="connsiteY13876"/>
                </a:cxn>
                <a:cxn ang="0">
                  <a:pos x="connsiteX13877" y="connsiteY13877"/>
                </a:cxn>
                <a:cxn ang="0">
                  <a:pos x="connsiteX13878" y="connsiteY13878"/>
                </a:cxn>
                <a:cxn ang="0">
                  <a:pos x="connsiteX13879" y="connsiteY13879"/>
                </a:cxn>
                <a:cxn ang="0">
                  <a:pos x="connsiteX13880" y="connsiteY13880"/>
                </a:cxn>
                <a:cxn ang="0">
                  <a:pos x="connsiteX13881" y="connsiteY13881"/>
                </a:cxn>
                <a:cxn ang="0">
                  <a:pos x="connsiteX13882" y="connsiteY13882"/>
                </a:cxn>
                <a:cxn ang="0">
                  <a:pos x="connsiteX13883" y="connsiteY13883"/>
                </a:cxn>
                <a:cxn ang="0">
                  <a:pos x="connsiteX13884" y="connsiteY13884"/>
                </a:cxn>
                <a:cxn ang="0">
                  <a:pos x="connsiteX13885" y="connsiteY13885"/>
                </a:cxn>
                <a:cxn ang="0">
                  <a:pos x="connsiteX13886" y="connsiteY13886"/>
                </a:cxn>
                <a:cxn ang="0">
                  <a:pos x="connsiteX13887" y="connsiteY13887"/>
                </a:cxn>
                <a:cxn ang="0">
                  <a:pos x="connsiteX13888" y="connsiteY13888"/>
                </a:cxn>
                <a:cxn ang="0">
                  <a:pos x="connsiteX13889" y="connsiteY13889"/>
                </a:cxn>
                <a:cxn ang="0">
                  <a:pos x="connsiteX13890" y="connsiteY13890"/>
                </a:cxn>
                <a:cxn ang="0">
                  <a:pos x="connsiteX13891" y="connsiteY13891"/>
                </a:cxn>
                <a:cxn ang="0">
                  <a:pos x="connsiteX13892" y="connsiteY13892"/>
                </a:cxn>
                <a:cxn ang="0">
                  <a:pos x="connsiteX13893" y="connsiteY13893"/>
                </a:cxn>
                <a:cxn ang="0">
                  <a:pos x="connsiteX13894" y="connsiteY13894"/>
                </a:cxn>
                <a:cxn ang="0">
                  <a:pos x="connsiteX13895" y="connsiteY13895"/>
                </a:cxn>
                <a:cxn ang="0">
                  <a:pos x="connsiteX13896" y="connsiteY13896"/>
                </a:cxn>
                <a:cxn ang="0">
                  <a:pos x="connsiteX13897" y="connsiteY13897"/>
                </a:cxn>
                <a:cxn ang="0">
                  <a:pos x="connsiteX13898" y="connsiteY13898"/>
                </a:cxn>
                <a:cxn ang="0">
                  <a:pos x="connsiteX13899" y="connsiteY13899"/>
                </a:cxn>
                <a:cxn ang="0">
                  <a:pos x="connsiteX13900" y="connsiteY13900"/>
                </a:cxn>
                <a:cxn ang="0">
                  <a:pos x="connsiteX13901" y="connsiteY13901"/>
                </a:cxn>
                <a:cxn ang="0">
                  <a:pos x="connsiteX13902" y="connsiteY13902"/>
                </a:cxn>
                <a:cxn ang="0">
                  <a:pos x="connsiteX13903" y="connsiteY13903"/>
                </a:cxn>
                <a:cxn ang="0">
                  <a:pos x="connsiteX13904" y="connsiteY13904"/>
                </a:cxn>
                <a:cxn ang="0">
                  <a:pos x="connsiteX13905" y="connsiteY13905"/>
                </a:cxn>
                <a:cxn ang="0">
                  <a:pos x="connsiteX13906" y="connsiteY13906"/>
                </a:cxn>
                <a:cxn ang="0">
                  <a:pos x="connsiteX13907" y="connsiteY13907"/>
                </a:cxn>
                <a:cxn ang="0">
                  <a:pos x="connsiteX13908" y="connsiteY13908"/>
                </a:cxn>
                <a:cxn ang="0">
                  <a:pos x="connsiteX13909" y="connsiteY13909"/>
                </a:cxn>
                <a:cxn ang="0">
                  <a:pos x="connsiteX13910" y="connsiteY13910"/>
                </a:cxn>
                <a:cxn ang="0">
                  <a:pos x="connsiteX13911" y="connsiteY13911"/>
                </a:cxn>
                <a:cxn ang="0">
                  <a:pos x="connsiteX13912" y="connsiteY13912"/>
                </a:cxn>
                <a:cxn ang="0">
                  <a:pos x="connsiteX13913" y="connsiteY13913"/>
                </a:cxn>
                <a:cxn ang="0">
                  <a:pos x="connsiteX13914" y="connsiteY13914"/>
                </a:cxn>
                <a:cxn ang="0">
                  <a:pos x="connsiteX13915" y="connsiteY13915"/>
                </a:cxn>
                <a:cxn ang="0">
                  <a:pos x="connsiteX13916" y="connsiteY13916"/>
                </a:cxn>
                <a:cxn ang="0">
                  <a:pos x="connsiteX13917" y="connsiteY13917"/>
                </a:cxn>
                <a:cxn ang="0">
                  <a:pos x="connsiteX13918" y="connsiteY13918"/>
                </a:cxn>
                <a:cxn ang="0">
                  <a:pos x="connsiteX13919" y="connsiteY13919"/>
                </a:cxn>
                <a:cxn ang="0">
                  <a:pos x="connsiteX13920" y="connsiteY13920"/>
                </a:cxn>
                <a:cxn ang="0">
                  <a:pos x="connsiteX13921" y="connsiteY13921"/>
                </a:cxn>
                <a:cxn ang="0">
                  <a:pos x="connsiteX13922" y="connsiteY13922"/>
                </a:cxn>
                <a:cxn ang="0">
                  <a:pos x="connsiteX13923" y="connsiteY13923"/>
                </a:cxn>
                <a:cxn ang="0">
                  <a:pos x="connsiteX13924" y="connsiteY13924"/>
                </a:cxn>
                <a:cxn ang="0">
                  <a:pos x="connsiteX13925" y="connsiteY13925"/>
                </a:cxn>
                <a:cxn ang="0">
                  <a:pos x="connsiteX13926" y="connsiteY13926"/>
                </a:cxn>
                <a:cxn ang="0">
                  <a:pos x="connsiteX13927" y="connsiteY13927"/>
                </a:cxn>
                <a:cxn ang="0">
                  <a:pos x="connsiteX13928" y="connsiteY13928"/>
                </a:cxn>
                <a:cxn ang="0">
                  <a:pos x="connsiteX13929" y="connsiteY13929"/>
                </a:cxn>
                <a:cxn ang="0">
                  <a:pos x="connsiteX13930" y="connsiteY13930"/>
                </a:cxn>
                <a:cxn ang="0">
                  <a:pos x="connsiteX13931" y="connsiteY13931"/>
                </a:cxn>
                <a:cxn ang="0">
                  <a:pos x="connsiteX13932" y="connsiteY13932"/>
                </a:cxn>
                <a:cxn ang="0">
                  <a:pos x="connsiteX13933" y="connsiteY13933"/>
                </a:cxn>
                <a:cxn ang="0">
                  <a:pos x="connsiteX13934" y="connsiteY13934"/>
                </a:cxn>
                <a:cxn ang="0">
                  <a:pos x="connsiteX13935" y="connsiteY13935"/>
                </a:cxn>
                <a:cxn ang="0">
                  <a:pos x="connsiteX13936" y="connsiteY13936"/>
                </a:cxn>
                <a:cxn ang="0">
                  <a:pos x="connsiteX13937" y="connsiteY13937"/>
                </a:cxn>
                <a:cxn ang="0">
                  <a:pos x="connsiteX13938" y="connsiteY13938"/>
                </a:cxn>
                <a:cxn ang="0">
                  <a:pos x="connsiteX13939" y="connsiteY13939"/>
                </a:cxn>
                <a:cxn ang="0">
                  <a:pos x="connsiteX13940" y="connsiteY13940"/>
                </a:cxn>
                <a:cxn ang="0">
                  <a:pos x="connsiteX13941" y="connsiteY13941"/>
                </a:cxn>
                <a:cxn ang="0">
                  <a:pos x="connsiteX13942" y="connsiteY13942"/>
                </a:cxn>
                <a:cxn ang="0">
                  <a:pos x="connsiteX13943" y="connsiteY13943"/>
                </a:cxn>
                <a:cxn ang="0">
                  <a:pos x="connsiteX13944" y="connsiteY13944"/>
                </a:cxn>
                <a:cxn ang="0">
                  <a:pos x="connsiteX13945" y="connsiteY13945"/>
                </a:cxn>
                <a:cxn ang="0">
                  <a:pos x="connsiteX13946" y="connsiteY13946"/>
                </a:cxn>
                <a:cxn ang="0">
                  <a:pos x="connsiteX13947" y="connsiteY13947"/>
                </a:cxn>
                <a:cxn ang="0">
                  <a:pos x="connsiteX13948" y="connsiteY13948"/>
                </a:cxn>
                <a:cxn ang="0">
                  <a:pos x="connsiteX13949" y="connsiteY13949"/>
                </a:cxn>
                <a:cxn ang="0">
                  <a:pos x="connsiteX13950" y="connsiteY13950"/>
                </a:cxn>
                <a:cxn ang="0">
                  <a:pos x="connsiteX13951" y="connsiteY13951"/>
                </a:cxn>
                <a:cxn ang="0">
                  <a:pos x="connsiteX13952" y="connsiteY13952"/>
                </a:cxn>
                <a:cxn ang="0">
                  <a:pos x="connsiteX13953" y="connsiteY13953"/>
                </a:cxn>
                <a:cxn ang="0">
                  <a:pos x="connsiteX13954" y="connsiteY13954"/>
                </a:cxn>
                <a:cxn ang="0">
                  <a:pos x="connsiteX13955" y="connsiteY13955"/>
                </a:cxn>
                <a:cxn ang="0">
                  <a:pos x="connsiteX13956" y="connsiteY13956"/>
                </a:cxn>
                <a:cxn ang="0">
                  <a:pos x="connsiteX13957" y="connsiteY13957"/>
                </a:cxn>
                <a:cxn ang="0">
                  <a:pos x="connsiteX13958" y="connsiteY13958"/>
                </a:cxn>
                <a:cxn ang="0">
                  <a:pos x="connsiteX13959" y="connsiteY13959"/>
                </a:cxn>
                <a:cxn ang="0">
                  <a:pos x="connsiteX13960" y="connsiteY13960"/>
                </a:cxn>
                <a:cxn ang="0">
                  <a:pos x="connsiteX13961" y="connsiteY13961"/>
                </a:cxn>
                <a:cxn ang="0">
                  <a:pos x="connsiteX13962" y="connsiteY13962"/>
                </a:cxn>
                <a:cxn ang="0">
                  <a:pos x="connsiteX13963" y="connsiteY13963"/>
                </a:cxn>
                <a:cxn ang="0">
                  <a:pos x="connsiteX13964" y="connsiteY13964"/>
                </a:cxn>
                <a:cxn ang="0">
                  <a:pos x="connsiteX13965" y="connsiteY13965"/>
                </a:cxn>
                <a:cxn ang="0">
                  <a:pos x="connsiteX13966" y="connsiteY13966"/>
                </a:cxn>
                <a:cxn ang="0">
                  <a:pos x="connsiteX13967" y="connsiteY13967"/>
                </a:cxn>
                <a:cxn ang="0">
                  <a:pos x="connsiteX13968" y="connsiteY13968"/>
                </a:cxn>
                <a:cxn ang="0">
                  <a:pos x="connsiteX13969" y="connsiteY13969"/>
                </a:cxn>
                <a:cxn ang="0">
                  <a:pos x="connsiteX13970" y="connsiteY13970"/>
                </a:cxn>
                <a:cxn ang="0">
                  <a:pos x="connsiteX13971" y="connsiteY13971"/>
                </a:cxn>
                <a:cxn ang="0">
                  <a:pos x="connsiteX13972" y="connsiteY13972"/>
                </a:cxn>
                <a:cxn ang="0">
                  <a:pos x="connsiteX13973" y="connsiteY13973"/>
                </a:cxn>
                <a:cxn ang="0">
                  <a:pos x="connsiteX13974" y="connsiteY13974"/>
                </a:cxn>
                <a:cxn ang="0">
                  <a:pos x="connsiteX13975" y="connsiteY13975"/>
                </a:cxn>
                <a:cxn ang="0">
                  <a:pos x="connsiteX13976" y="connsiteY13976"/>
                </a:cxn>
                <a:cxn ang="0">
                  <a:pos x="connsiteX13977" y="connsiteY13977"/>
                </a:cxn>
                <a:cxn ang="0">
                  <a:pos x="connsiteX13978" y="connsiteY13978"/>
                </a:cxn>
                <a:cxn ang="0">
                  <a:pos x="connsiteX13979" y="connsiteY13979"/>
                </a:cxn>
                <a:cxn ang="0">
                  <a:pos x="connsiteX13980" y="connsiteY13980"/>
                </a:cxn>
                <a:cxn ang="0">
                  <a:pos x="connsiteX13981" y="connsiteY13981"/>
                </a:cxn>
                <a:cxn ang="0">
                  <a:pos x="connsiteX13982" y="connsiteY13982"/>
                </a:cxn>
                <a:cxn ang="0">
                  <a:pos x="connsiteX13983" y="connsiteY13983"/>
                </a:cxn>
                <a:cxn ang="0">
                  <a:pos x="connsiteX13984" y="connsiteY13984"/>
                </a:cxn>
                <a:cxn ang="0">
                  <a:pos x="connsiteX13985" y="connsiteY13985"/>
                </a:cxn>
                <a:cxn ang="0">
                  <a:pos x="connsiteX13986" y="connsiteY13986"/>
                </a:cxn>
                <a:cxn ang="0">
                  <a:pos x="connsiteX13987" y="connsiteY13987"/>
                </a:cxn>
                <a:cxn ang="0">
                  <a:pos x="connsiteX13988" y="connsiteY13988"/>
                </a:cxn>
                <a:cxn ang="0">
                  <a:pos x="connsiteX13989" y="connsiteY13989"/>
                </a:cxn>
                <a:cxn ang="0">
                  <a:pos x="connsiteX13990" y="connsiteY13990"/>
                </a:cxn>
                <a:cxn ang="0">
                  <a:pos x="connsiteX13991" y="connsiteY13991"/>
                </a:cxn>
                <a:cxn ang="0">
                  <a:pos x="connsiteX13992" y="connsiteY13992"/>
                </a:cxn>
                <a:cxn ang="0">
                  <a:pos x="connsiteX13993" y="connsiteY13993"/>
                </a:cxn>
                <a:cxn ang="0">
                  <a:pos x="connsiteX13994" y="connsiteY13994"/>
                </a:cxn>
                <a:cxn ang="0">
                  <a:pos x="connsiteX13995" y="connsiteY13995"/>
                </a:cxn>
                <a:cxn ang="0">
                  <a:pos x="connsiteX13996" y="connsiteY13996"/>
                </a:cxn>
                <a:cxn ang="0">
                  <a:pos x="connsiteX13997" y="connsiteY13997"/>
                </a:cxn>
                <a:cxn ang="0">
                  <a:pos x="connsiteX13998" y="connsiteY13998"/>
                </a:cxn>
                <a:cxn ang="0">
                  <a:pos x="connsiteX13999" y="connsiteY13999"/>
                </a:cxn>
                <a:cxn ang="0">
                  <a:pos x="connsiteX14000" y="connsiteY14000"/>
                </a:cxn>
                <a:cxn ang="0">
                  <a:pos x="connsiteX14001" y="connsiteY14001"/>
                </a:cxn>
                <a:cxn ang="0">
                  <a:pos x="connsiteX14002" y="connsiteY14002"/>
                </a:cxn>
                <a:cxn ang="0">
                  <a:pos x="connsiteX14003" y="connsiteY14003"/>
                </a:cxn>
                <a:cxn ang="0">
                  <a:pos x="connsiteX14004" y="connsiteY14004"/>
                </a:cxn>
                <a:cxn ang="0">
                  <a:pos x="connsiteX14005" y="connsiteY14005"/>
                </a:cxn>
                <a:cxn ang="0">
                  <a:pos x="connsiteX14006" y="connsiteY14006"/>
                </a:cxn>
                <a:cxn ang="0">
                  <a:pos x="connsiteX14007" y="connsiteY14007"/>
                </a:cxn>
                <a:cxn ang="0">
                  <a:pos x="connsiteX14008" y="connsiteY14008"/>
                </a:cxn>
                <a:cxn ang="0">
                  <a:pos x="connsiteX14009" y="connsiteY14009"/>
                </a:cxn>
                <a:cxn ang="0">
                  <a:pos x="connsiteX14010" y="connsiteY14010"/>
                </a:cxn>
                <a:cxn ang="0">
                  <a:pos x="connsiteX14011" y="connsiteY14011"/>
                </a:cxn>
                <a:cxn ang="0">
                  <a:pos x="connsiteX14012" y="connsiteY14012"/>
                </a:cxn>
                <a:cxn ang="0">
                  <a:pos x="connsiteX14013" y="connsiteY14013"/>
                </a:cxn>
                <a:cxn ang="0">
                  <a:pos x="connsiteX14014" y="connsiteY14014"/>
                </a:cxn>
                <a:cxn ang="0">
                  <a:pos x="connsiteX14015" y="connsiteY14015"/>
                </a:cxn>
                <a:cxn ang="0">
                  <a:pos x="connsiteX14016" y="connsiteY14016"/>
                </a:cxn>
                <a:cxn ang="0">
                  <a:pos x="connsiteX14017" y="connsiteY14017"/>
                </a:cxn>
                <a:cxn ang="0">
                  <a:pos x="connsiteX14018" y="connsiteY14018"/>
                </a:cxn>
                <a:cxn ang="0">
                  <a:pos x="connsiteX14019" y="connsiteY14019"/>
                </a:cxn>
                <a:cxn ang="0">
                  <a:pos x="connsiteX14020" y="connsiteY14020"/>
                </a:cxn>
                <a:cxn ang="0">
                  <a:pos x="connsiteX14021" y="connsiteY14021"/>
                </a:cxn>
                <a:cxn ang="0">
                  <a:pos x="connsiteX14022" y="connsiteY14022"/>
                </a:cxn>
                <a:cxn ang="0">
                  <a:pos x="connsiteX14023" y="connsiteY14023"/>
                </a:cxn>
                <a:cxn ang="0">
                  <a:pos x="connsiteX14024" y="connsiteY14024"/>
                </a:cxn>
                <a:cxn ang="0">
                  <a:pos x="connsiteX14025" y="connsiteY14025"/>
                </a:cxn>
                <a:cxn ang="0">
                  <a:pos x="connsiteX14026" y="connsiteY14026"/>
                </a:cxn>
                <a:cxn ang="0">
                  <a:pos x="connsiteX14027" y="connsiteY14027"/>
                </a:cxn>
                <a:cxn ang="0">
                  <a:pos x="connsiteX14028" y="connsiteY14028"/>
                </a:cxn>
                <a:cxn ang="0">
                  <a:pos x="connsiteX14029" y="connsiteY14029"/>
                </a:cxn>
                <a:cxn ang="0">
                  <a:pos x="connsiteX14030" y="connsiteY14030"/>
                </a:cxn>
                <a:cxn ang="0">
                  <a:pos x="connsiteX14031" y="connsiteY14031"/>
                </a:cxn>
                <a:cxn ang="0">
                  <a:pos x="connsiteX14032" y="connsiteY14032"/>
                </a:cxn>
                <a:cxn ang="0">
                  <a:pos x="connsiteX14033" y="connsiteY14033"/>
                </a:cxn>
                <a:cxn ang="0">
                  <a:pos x="connsiteX14034" y="connsiteY14034"/>
                </a:cxn>
                <a:cxn ang="0">
                  <a:pos x="connsiteX14035" y="connsiteY14035"/>
                </a:cxn>
                <a:cxn ang="0">
                  <a:pos x="connsiteX14036" y="connsiteY14036"/>
                </a:cxn>
                <a:cxn ang="0">
                  <a:pos x="connsiteX14037" y="connsiteY14037"/>
                </a:cxn>
                <a:cxn ang="0">
                  <a:pos x="connsiteX14038" y="connsiteY14038"/>
                </a:cxn>
                <a:cxn ang="0">
                  <a:pos x="connsiteX14039" y="connsiteY14039"/>
                </a:cxn>
                <a:cxn ang="0">
                  <a:pos x="connsiteX14040" y="connsiteY14040"/>
                </a:cxn>
                <a:cxn ang="0">
                  <a:pos x="connsiteX14041" y="connsiteY14041"/>
                </a:cxn>
                <a:cxn ang="0">
                  <a:pos x="connsiteX14042" y="connsiteY14042"/>
                </a:cxn>
                <a:cxn ang="0">
                  <a:pos x="connsiteX14043" y="connsiteY14043"/>
                </a:cxn>
                <a:cxn ang="0">
                  <a:pos x="connsiteX14044" y="connsiteY14044"/>
                </a:cxn>
                <a:cxn ang="0">
                  <a:pos x="connsiteX14045" y="connsiteY14045"/>
                </a:cxn>
                <a:cxn ang="0">
                  <a:pos x="connsiteX14046" y="connsiteY14046"/>
                </a:cxn>
                <a:cxn ang="0">
                  <a:pos x="connsiteX14047" y="connsiteY14047"/>
                </a:cxn>
                <a:cxn ang="0">
                  <a:pos x="connsiteX14048" y="connsiteY14048"/>
                </a:cxn>
                <a:cxn ang="0">
                  <a:pos x="connsiteX14049" y="connsiteY14049"/>
                </a:cxn>
                <a:cxn ang="0">
                  <a:pos x="connsiteX14050" y="connsiteY14050"/>
                </a:cxn>
                <a:cxn ang="0">
                  <a:pos x="connsiteX14051" y="connsiteY14051"/>
                </a:cxn>
                <a:cxn ang="0">
                  <a:pos x="connsiteX14052" y="connsiteY14052"/>
                </a:cxn>
                <a:cxn ang="0">
                  <a:pos x="connsiteX14053" y="connsiteY14053"/>
                </a:cxn>
                <a:cxn ang="0">
                  <a:pos x="connsiteX14054" y="connsiteY14054"/>
                </a:cxn>
                <a:cxn ang="0">
                  <a:pos x="connsiteX14055" y="connsiteY14055"/>
                </a:cxn>
                <a:cxn ang="0">
                  <a:pos x="connsiteX14056" y="connsiteY14056"/>
                </a:cxn>
                <a:cxn ang="0">
                  <a:pos x="connsiteX14057" y="connsiteY14057"/>
                </a:cxn>
                <a:cxn ang="0">
                  <a:pos x="connsiteX14058" y="connsiteY14058"/>
                </a:cxn>
                <a:cxn ang="0">
                  <a:pos x="connsiteX14059" y="connsiteY14059"/>
                </a:cxn>
                <a:cxn ang="0">
                  <a:pos x="connsiteX14060" y="connsiteY14060"/>
                </a:cxn>
                <a:cxn ang="0">
                  <a:pos x="connsiteX14061" y="connsiteY14061"/>
                </a:cxn>
                <a:cxn ang="0">
                  <a:pos x="connsiteX14062" y="connsiteY14062"/>
                </a:cxn>
                <a:cxn ang="0">
                  <a:pos x="connsiteX14063" y="connsiteY14063"/>
                </a:cxn>
                <a:cxn ang="0">
                  <a:pos x="connsiteX14064" y="connsiteY14064"/>
                </a:cxn>
                <a:cxn ang="0">
                  <a:pos x="connsiteX14065" y="connsiteY14065"/>
                </a:cxn>
                <a:cxn ang="0">
                  <a:pos x="connsiteX14066" y="connsiteY14066"/>
                </a:cxn>
                <a:cxn ang="0">
                  <a:pos x="connsiteX14067" y="connsiteY14067"/>
                </a:cxn>
                <a:cxn ang="0">
                  <a:pos x="connsiteX14068" y="connsiteY14068"/>
                </a:cxn>
                <a:cxn ang="0">
                  <a:pos x="connsiteX14069" y="connsiteY14069"/>
                </a:cxn>
                <a:cxn ang="0">
                  <a:pos x="connsiteX14070" y="connsiteY14070"/>
                </a:cxn>
                <a:cxn ang="0">
                  <a:pos x="connsiteX14071" y="connsiteY14071"/>
                </a:cxn>
                <a:cxn ang="0">
                  <a:pos x="connsiteX14072" y="connsiteY14072"/>
                </a:cxn>
                <a:cxn ang="0">
                  <a:pos x="connsiteX14073" y="connsiteY14073"/>
                </a:cxn>
                <a:cxn ang="0">
                  <a:pos x="connsiteX14074" y="connsiteY14074"/>
                </a:cxn>
                <a:cxn ang="0">
                  <a:pos x="connsiteX14075" y="connsiteY14075"/>
                </a:cxn>
                <a:cxn ang="0">
                  <a:pos x="connsiteX14076" y="connsiteY14076"/>
                </a:cxn>
                <a:cxn ang="0">
                  <a:pos x="connsiteX14077" y="connsiteY14077"/>
                </a:cxn>
                <a:cxn ang="0">
                  <a:pos x="connsiteX14078" y="connsiteY14078"/>
                </a:cxn>
                <a:cxn ang="0">
                  <a:pos x="connsiteX14079" y="connsiteY14079"/>
                </a:cxn>
                <a:cxn ang="0">
                  <a:pos x="connsiteX14080" y="connsiteY14080"/>
                </a:cxn>
                <a:cxn ang="0">
                  <a:pos x="connsiteX14081" y="connsiteY14081"/>
                </a:cxn>
                <a:cxn ang="0">
                  <a:pos x="connsiteX14082" y="connsiteY14082"/>
                </a:cxn>
                <a:cxn ang="0">
                  <a:pos x="connsiteX14083" y="connsiteY14083"/>
                </a:cxn>
                <a:cxn ang="0">
                  <a:pos x="connsiteX14084" y="connsiteY14084"/>
                </a:cxn>
                <a:cxn ang="0">
                  <a:pos x="connsiteX14085" y="connsiteY14085"/>
                </a:cxn>
                <a:cxn ang="0">
                  <a:pos x="connsiteX14086" y="connsiteY14086"/>
                </a:cxn>
                <a:cxn ang="0">
                  <a:pos x="connsiteX14087" y="connsiteY14087"/>
                </a:cxn>
                <a:cxn ang="0">
                  <a:pos x="connsiteX14088" y="connsiteY14088"/>
                </a:cxn>
                <a:cxn ang="0">
                  <a:pos x="connsiteX14089" y="connsiteY14089"/>
                </a:cxn>
                <a:cxn ang="0">
                  <a:pos x="connsiteX14090" y="connsiteY14090"/>
                </a:cxn>
                <a:cxn ang="0">
                  <a:pos x="connsiteX14091" y="connsiteY14091"/>
                </a:cxn>
                <a:cxn ang="0">
                  <a:pos x="connsiteX14092" y="connsiteY14092"/>
                </a:cxn>
                <a:cxn ang="0">
                  <a:pos x="connsiteX14093" y="connsiteY14093"/>
                </a:cxn>
                <a:cxn ang="0">
                  <a:pos x="connsiteX14094" y="connsiteY14094"/>
                </a:cxn>
                <a:cxn ang="0">
                  <a:pos x="connsiteX14095" y="connsiteY14095"/>
                </a:cxn>
                <a:cxn ang="0">
                  <a:pos x="connsiteX14096" y="connsiteY14096"/>
                </a:cxn>
                <a:cxn ang="0">
                  <a:pos x="connsiteX14097" y="connsiteY14097"/>
                </a:cxn>
                <a:cxn ang="0">
                  <a:pos x="connsiteX14098" y="connsiteY14098"/>
                </a:cxn>
                <a:cxn ang="0">
                  <a:pos x="connsiteX14099" y="connsiteY14099"/>
                </a:cxn>
                <a:cxn ang="0">
                  <a:pos x="connsiteX14100" y="connsiteY14100"/>
                </a:cxn>
                <a:cxn ang="0">
                  <a:pos x="connsiteX14101" y="connsiteY14101"/>
                </a:cxn>
                <a:cxn ang="0">
                  <a:pos x="connsiteX14102" y="connsiteY14102"/>
                </a:cxn>
                <a:cxn ang="0">
                  <a:pos x="connsiteX14103" y="connsiteY14103"/>
                </a:cxn>
                <a:cxn ang="0">
                  <a:pos x="connsiteX14104" y="connsiteY14104"/>
                </a:cxn>
                <a:cxn ang="0">
                  <a:pos x="connsiteX14105" y="connsiteY14105"/>
                </a:cxn>
                <a:cxn ang="0">
                  <a:pos x="connsiteX14106" y="connsiteY14106"/>
                </a:cxn>
                <a:cxn ang="0">
                  <a:pos x="connsiteX14107" y="connsiteY14107"/>
                </a:cxn>
                <a:cxn ang="0">
                  <a:pos x="connsiteX14108" y="connsiteY14108"/>
                </a:cxn>
                <a:cxn ang="0">
                  <a:pos x="connsiteX14109" y="connsiteY14109"/>
                </a:cxn>
                <a:cxn ang="0">
                  <a:pos x="connsiteX14110" y="connsiteY14110"/>
                </a:cxn>
                <a:cxn ang="0">
                  <a:pos x="connsiteX14111" y="connsiteY14111"/>
                </a:cxn>
                <a:cxn ang="0">
                  <a:pos x="connsiteX14112" y="connsiteY14112"/>
                </a:cxn>
                <a:cxn ang="0">
                  <a:pos x="connsiteX14113" y="connsiteY14113"/>
                </a:cxn>
                <a:cxn ang="0">
                  <a:pos x="connsiteX14114" y="connsiteY14114"/>
                </a:cxn>
                <a:cxn ang="0">
                  <a:pos x="connsiteX14115" y="connsiteY14115"/>
                </a:cxn>
                <a:cxn ang="0">
                  <a:pos x="connsiteX14116" y="connsiteY14116"/>
                </a:cxn>
                <a:cxn ang="0">
                  <a:pos x="connsiteX14117" y="connsiteY14117"/>
                </a:cxn>
                <a:cxn ang="0">
                  <a:pos x="connsiteX14118" y="connsiteY14118"/>
                </a:cxn>
                <a:cxn ang="0">
                  <a:pos x="connsiteX14119" y="connsiteY14119"/>
                </a:cxn>
                <a:cxn ang="0">
                  <a:pos x="connsiteX14120" y="connsiteY14120"/>
                </a:cxn>
                <a:cxn ang="0">
                  <a:pos x="connsiteX14121" y="connsiteY14121"/>
                </a:cxn>
                <a:cxn ang="0">
                  <a:pos x="connsiteX14122" y="connsiteY14122"/>
                </a:cxn>
                <a:cxn ang="0">
                  <a:pos x="connsiteX14123" y="connsiteY14123"/>
                </a:cxn>
                <a:cxn ang="0">
                  <a:pos x="connsiteX14124" y="connsiteY14124"/>
                </a:cxn>
                <a:cxn ang="0">
                  <a:pos x="connsiteX14125" y="connsiteY14125"/>
                </a:cxn>
                <a:cxn ang="0">
                  <a:pos x="connsiteX14126" y="connsiteY14126"/>
                </a:cxn>
                <a:cxn ang="0">
                  <a:pos x="connsiteX14127" y="connsiteY14127"/>
                </a:cxn>
                <a:cxn ang="0">
                  <a:pos x="connsiteX14128" y="connsiteY14128"/>
                </a:cxn>
                <a:cxn ang="0">
                  <a:pos x="connsiteX14129" y="connsiteY14129"/>
                </a:cxn>
                <a:cxn ang="0">
                  <a:pos x="connsiteX14130" y="connsiteY14130"/>
                </a:cxn>
                <a:cxn ang="0">
                  <a:pos x="connsiteX14131" y="connsiteY14131"/>
                </a:cxn>
                <a:cxn ang="0">
                  <a:pos x="connsiteX14132" y="connsiteY14132"/>
                </a:cxn>
                <a:cxn ang="0">
                  <a:pos x="connsiteX14133" y="connsiteY14133"/>
                </a:cxn>
                <a:cxn ang="0">
                  <a:pos x="connsiteX14134" y="connsiteY14134"/>
                </a:cxn>
                <a:cxn ang="0">
                  <a:pos x="connsiteX14135" y="connsiteY14135"/>
                </a:cxn>
                <a:cxn ang="0">
                  <a:pos x="connsiteX14136" y="connsiteY14136"/>
                </a:cxn>
                <a:cxn ang="0">
                  <a:pos x="connsiteX14137" y="connsiteY14137"/>
                </a:cxn>
                <a:cxn ang="0">
                  <a:pos x="connsiteX14138" y="connsiteY14138"/>
                </a:cxn>
                <a:cxn ang="0">
                  <a:pos x="connsiteX14139" y="connsiteY14139"/>
                </a:cxn>
                <a:cxn ang="0">
                  <a:pos x="connsiteX14140" y="connsiteY14140"/>
                </a:cxn>
                <a:cxn ang="0">
                  <a:pos x="connsiteX14141" y="connsiteY14141"/>
                </a:cxn>
                <a:cxn ang="0">
                  <a:pos x="connsiteX14142" y="connsiteY14142"/>
                </a:cxn>
                <a:cxn ang="0">
                  <a:pos x="connsiteX14143" y="connsiteY14143"/>
                </a:cxn>
                <a:cxn ang="0">
                  <a:pos x="connsiteX14144" y="connsiteY14144"/>
                </a:cxn>
                <a:cxn ang="0">
                  <a:pos x="connsiteX14145" y="connsiteY14145"/>
                </a:cxn>
                <a:cxn ang="0">
                  <a:pos x="connsiteX14146" y="connsiteY14146"/>
                </a:cxn>
                <a:cxn ang="0">
                  <a:pos x="connsiteX14147" y="connsiteY14147"/>
                </a:cxn>
                <a:cxn ang="0">
                  <a:pos x="connsiteX14148" y="connsiteY14148"/>
                </a:cxn>
                <a:cxn ang="0">
                  <a:pos x="connsiteX14149" y="connsiteY14149"/>
                </a:cxn>
                <a:cxn ang="0">
                  <a:pos x="connsiteX14150" y="connsiteY14150"/>
                </a:cxn>
                <a:cxn ang="0">
                  <a:pos x="connsiteX14151" y="connsiteY14151"/>
                </a:cxn>
                <a:cxn ang="0">
                  <a:pos x="connsiteX14152" y="connsiteY14152"/>
                </a:cxn>
                <a:cxn ang="0">
                  <a:pos x="connsiteX14153" y="connsiteY14153"/>
                </a:cxn>
                <a:cxn ang="0">
                  <a:pos x="connsiteX14154" y="connsiteY14154"/>
                </a:cxn>
                <a:cxn ang="0">
                  <a:pos x="connsiteX14155" y="connsiteY14155"/>
                </a:cxn>
                <a:cxn ang="0">
                  <a:pos x="connsiteX14156" y="connsiteY14156"/>
                </a:cxn>
                <a:cxn ang="0">
                  <a:pos x="connsiteX14157" y="connsiteY14157"/>
                </a:cxn>
                <a:cxn ang="0">
                  <a:pos x="connsiteX14158" y="connsiteY14158"/>
                </a:cxn>
                <a:cxn ang="0">
                  <a:pos x="connsiteX14159" y="connsiteY14159"/>
                </a:cxn>
                <a:cxn ang="0">
                  <a:pos x="connsiteX14160" y="connsiteY14160"/>
                </a:cxn>
                <a:cxn ang="0">
                  <a:pos x="connsiteX14161" y="connsiteY14161"/>
                </a:cxn>
                <a:cxn ang="0">
                  <a:pos x="connsiteX14162" y="connsiteY14162"/>
                </a:cxn>
                <a:cxn ang="0">
                  <a:pos x="connsiteX14163" y="connsiteY14163"/>
                </a:cxn>
                <a:cxn ang="0">
                  <a:pos x="connsiteX14164" y="connsiteY14164"/>
                </a:cxn>
                <a:cxn ang="0">
                  <a:pos x="connsiteX14165" y="connsiteY14165"/>
                </a:cxn>
                <a:cxn ang="0">
                  <a:pos x="connsiteX14166" y="connsiteY14166"/>
                </a:cxn>
                <a:cxn ang="0">
                  <a:pos x="connsiteX14167" y="connsiteY14167"/>
                </a:cxn>
                <a:cxn ang="0">
                  <a:pos x="connsiteX14168" y="connsiteY14168"/>
                </a:cxn>
                <a:cxn ang="0">
                  <a:pos x="connsiteX14169" y="connsiteY14169"/>
                </a:cxn>
                <a:cxn ang="0">
                  <a:pos x="connsiteX14170" y="connsiteY14170"/>
                </a:cxn>
                <a:cxn ang="0">
                  <a:pos x="connsiteX14171" y="connsiteY14171"/>
                </a:cxn>
                <a:cxn ang="0">
                  <a:pos x="connsiteX14172" y="connsiteY14172"/>
                </a:cxn>
                <a:cxn ang="0">
                  <a:pos x="connsiteX14173" y="connsiteY14173"/>
                </a:cxn>
                <a:cxn ang="0">
                  <a:pos x="connsiteX14174" y="connsiteY14174"/>
                </a:cxn>
                <a:cxn ang="0">
                  <a:pos x="connsiteX14175" y="connsiteY14175"/>
                </a:cxn>
                <a:cxn ang="0">
                  <a:pos x="connsiteX14176" y="connsiteY14176"/>
                </a:cxn>
                <a:cxn ang="0">
                  <a:pos x="connsiteX14177" y="connsiteY14177"/>
                </a:cxn>
                <a:cxn ang="0">
                  <a:pos x="connsiteX14178" y="connsiteY14178"/>
                </a:cxn>
                <a:cxn ang="0">
                  <a:pos x="connsiteX14179" y="connsiteY14179"/>
                </a:cxn>
                <a:cxn ang="0">
                  <a:pos x="connsiteX14180" y="connsiteY14180"/>
                </a:cxn>
                <a:cxn ang="0">
                  <a:pos x="connsiteX14181" y="connsiteY14181"/>
                </a:cxn>
                <a:cxn ang="0">
                  <a:pos x="connsiteX14182" y="connsiteY14182"/>
                </a:cxn>
                <a:cxn ang="0">
                  <a:pos x="connsiteX14183" y="connsiteY14183"/>
                </a:cxn>
                <a:cxn ang="0">
                  <a:pos x="connsiteX14184" y="connsiteY14184"/>
                </a:cxn>
                <a:cxn ang="0">
                  <a:pos x="connsiteX14185" y="connsiteY14185"/>
                </a:cxn>
                <a:cxn ang="0">
                  <a:pos x="connsiteX14186" y="connsiteY14186"/>
                </a:cxn>
                <a:cxn ang="0">
                  <a:pos x="connsiteX14187" y="connsiteY14187"/>
                </a:cxn>
                <a:cxn ang="0">
                  <a:pos x="connsiteX14188" y="connsiteY14188"/>
                </a:cxn>
                <a:cxn ang="0">
                  <a:pos x="connsiteX14189" y="connsiteY14189"/>
                </a:cxn>
                <a:cxn ang="0">
                  <a:pos x="connsiteX14190" y="connsiteY14190"/>
                </a:cxn>
                <a:cxn ang="0">
                  <a:pos x="connsiteX14191" y="connsiteY14191"/>
                </a:cxn>
                <a:cxn ang="0">
                  <a:pos x="connsiteX14192" y="connsiteY14192"/>
                </a:cxn>
                <a:cxn ang="0">
                  <a:pos x="connsiteX14193" y="connsiteY14193"/>
                </a:cxn>
                <a:cxn ang="0">
                  <a:pos x="connsiteX14194" y="connsiteY14194"/>
                </a:cxn>
                <a:cxn ang="0">
                  <a:pos x="connsiteX14195" y="connsiteY14195"/>
                </a:cxn>
                <a:cxn ang="0">
                  <a:pos x="connsiteX14196" y="connsiteY14196"/>
                </a:cxn>
                <a:cxn ang="0">
                  <a:pos x="connsiteX14197" y="connsiteY14197"/>
                </a:cxn>
                <a:cxn ang="0">
                  <a:pos x="connsiteX14198" y="connsiteY14198"/>
                </a:cxn>
                <a:cxn ang="0">
                  <a:pos x="connsiteX14199" y="connsiteY14199"/>
                </a:cxn>
                <a:cxn ang="0">
                  <a:pos x="connsiteX14200" y="connsiteY14200"/>
                </a:cxn>
                <a:cxn ang="0">
                  <a:pos x="connsiteX14201" y="connsiteY14201"/>
                </a:cxn>
                <a:cxn ang="0">
                  <a:pos x="connsiteX14202" y="connsiteY14202"/>
                </a:cxn>
                <a:cxn ang="0">
                  <a:pos x="connsiteX14203" y="connsiteY14203"/>
                </a:cxn>
                <a:cxn ang="0">
                  <a:pos x="connsiteX14204" y="connsiteY14204"/>
                </a:cxn>
                <a:cxn ang="0">
                  <a:pos x="connsiteX14205" y="connsiteY14205"/>
                </a:cxn>
                <a:cxn ang="0">
                  <a:pos x="connsiteX14206" y="connsiteY14206"/>
                </a:cxn>
                <a:cxn ang="0">
                  <a:pos x="connsiteX14207" y="connsiteY14207"/>
                </a:cxn>
                <a:cxn ang="0">
                  <a:pos x="connsiteX14208" y="connsiteY14208"/>
                </a:cxn>
                <a:cxn ang="0">
                  <a:pos x="connsiteX14209" y="connsiteY14209"/>
                </a:cxn>
                <a:cxn ang="0">
                  <a:pos x="connsiteX14210" y="connsiteY14210"/>
                </a:cxn>
                <a:cxn ang="0">
                  <a:pos x="connsiteX14211" y="connsiteY14211"/>
                </a:cxn>
                <a:cxn ang="0">
                  <a:pos x="connsiteX14212" y="connsiteY14212"/>
                </a:cxn>
                <a:cxn ang="0">
                  <a:pos x="connsiteX14213" y="connsiteY14213"/>
                </a:cxn>
                <a:cxn ang="0">
                  <a:pos x="connsiteX14214" y="connsiteY14214"/>
                </a:cxn>
                <a:cxn ang="0">
                  <a:pos x="connsiteX14215" y="connsiteY14215"/>
                </a:cxn>
                <a:cxn ang="0">
                  <a:pos x="connsiteX14216" y="connsiteY14216"/>
                </a:cxn>
                <a:cxn ang="0">
                  <a:pos x="connsiteX14217" y="connsiteY14217"/>
                </a:cxn>
                <a:cxn ang="0">
                  <a:pos x="connsiteX14218" y="connsiteY14218"/>
                </a:cxn>
                <a:cxn ang="0">
                  <a:pos x="connsiteX14219" y="connsiteY14219"/>
                </a:cxn>
                <a:cxn ang="0">
                  <a:pos x="connsiteX14220" y="connsiteY14220"/>
                </a:cxn>
                <a:cxn ang="0">
                  <a:pos x="connsiteX14221" y="connsiteY14221"/>
                </a:cxn>
                <a:cxn ang="0">
                  <a:pos x="connsiteX14222" y="connsiteY14222"/>
                </a:cxn>
                <a:cxn ang="0">
                  <a:pos x="connsiteX14223" y="connsiteY14223"/>
                </a:cxn>
                <a:cxn ang="0">
                  <a:pos x="connsiteX14224" y="connsiteY14224"/>
                </a:cxn>
                <a:cxn ang="0">
                  <a:pos x="connsiteX14225" y="connsiteY14225"/>
                </a:cxn>
                <a:cxn ang="0">
                  <a:pos x="connsiteX14226" y="connsiteY14226"/>
                </a:cxn>
                <a:cxn ang="0">
                  <a:pos x="connsiteX14227" y="connsiteY14227"/>
                </a:cxn>
                <a:cxn ang="0">
                  <a:pos x="connsiteX14228" y="connsiteY14228"/>
                </a:cxn>
                <a:cxn ang="0">
                  <a:pos x="connsiteX14229" y="connsiteY14229"/>
                </a:cxn>
                <a:cxn ang="0">
                  <a:pos x="connsiteX14230" y="connsiteY14230"/>
                </a:cxn>
                <a:cxn ang="0">
                  <a:pos x="connsiteX14231" y="connsiteY14231"/>
                </a:cxn>
                <a:cxn ang="0">
                  <a:pos x="connsiteX14232" y="connsiteY14232"/>
                </a:cxn>
                <a:cxn ang="0">
                  <a:pos x="connsiteX14233" y="connsiteY14233"/>
                </a:cxn>
                <a:cxn ang="0">
                  <a:pos x="connsiteX14234" y="connsiteY14234"/>
                </a:cxn>
                <a:cxn ang="0">
                  <a:pos x="connsiteX14235" y="connsiteY14235"/>
                </a:cxn>
                <a:cxn ang="0">
                  <a:pos x="connsiteX14236" y="connsiteY14236"/>
                </a:cxn>
                <a:cxn ang="0">
                  <a:pos x="connsiteX14237" y="connsiteY14237"/>
                </a:cxn>
                <a:cxn ang="0">
                  <a:pos x="connsiteX14238" y="connsiteY14238"/>
                </a:cxn>
                <a:cxn ang="0">
                  <a:pos x="connsiteX14239" y="connsiteY14239"/>
                </a:cxn>
                <a:cxn ang="0">
                  <a:pos x="connsiteX14240" y="connsiteY14240"/>
                </a:cxn>
                <a:cxn ang="0">
                  <a:pos x="connsiteX14241" y="connsiteY14241"/>
                </a:cxn>
                <a:cxn ang="0">
                  <a:pos x="connsiteX14242" y="connsiteY14242"/>
                </a:cxn>
                <a:cxn ang="0">
                  <a:pos x="connsiteX14243" y="connsiteY14243"/>
                </a:cxn>
                <a:cxn ang="0">
                  <a:pos x="connsiteX14244" y="connsiteY14244"/>
                </a:cxn>
                <a:cxn ang="0">
                  <a:pos x="connsiteX14245" y="connsiteY14245"/>
                </a:cxn>
                <a:cxn ang="0">
                  <a:pos x="connsiteX14246" y="connsiteY14246"/>
                </a:cxn>
                <a:cxn ang="0">
                  <a:pos x="connsiteX14247" y="connsiteY14247"/>
                </a:cxn>
                <a:cxn ang="0">
                  <a:pos x="connsiteX14248" y="connsiteY14248"/>
                </a:cxn>
                <a:cxn ang="0">
                  <a:pos x="connsiteX14249" y="connsiteY14249"/>
                </a:cxn>
                <a:cxn ang="0">
                  <a:pos x="connsiteX14250" y="connsiteY14250"/>
                </a:cxn>
                <a:cxn ang="0">
                  <a:pos x="connsiteX14251" y="connsiteY14251"/>
                </a:cxn>
                <a:cxn ang="0">
                  <a:pos x="connsiteX14252" y="connsiteY14252"/>
                </a:cxn>
                <a:cxn ang="0">
                  <a:pos x="connsiteX14253" y="connsiteY14253"/>
                </a:cxn>
                <a:cxn ang="0">
                  <a:pos x="connsiteX14254" y="connsiteY14254"/>
                </a:cxn>
                <a:cxn ang="0">
                  <a:pos x="connsiteX14255" y="connsiteY14255"/>
                </a:cxn>
                <a:cxn ang="0">
                  <a:pos x="connsiteX14256" y="connsiteY14256"/>
                </a:cxn>
                <a:cxn ang="0">
                  <a:pos x="connsiteX14257" y="connsiteY14257"/>
                </a:cxn>
                <a:cxn ang="0">
                  <a:pos x="connsiteX14258" y="connsiteY14258"/>
                </a:cxn>
                <a:cxn ang="0">
                  <a:pos x="connsiteX14259" y="connsiteY14259"/>
                </a:cxn>
                <a:cxn ang="0">
                  <a:pos x="connsiteX14260" y="connsiteY14260"/>
                </a:cxn>
                <a:cxn ang="0">
                  <a:pos x="connsiteX14261" y="connsiteY14261"/>
                </a:cxn>
                <a:cxn ang="0">
                  <a:pos x="connsiteX14262" y="connsiteY14262"/>
                </a:cxn>
                <a:cxn ang="0">
                  <a:pos x="connsiteX14263" y="connsiteY14263"/>
                </a:cxn>
                <a:cxn ang="0">
                  <a:pos x="connsiteX14264" y="connsiteY14264"/>
                </a:cxn>
                <a:cxn ang="0">
                  <a:pos x="connsiteX14265" y="connsiteY14265"/>
                </a:cxn>
                <a:cxn ang="0">
                  <a:pos x="connsiteX14266" y="connsiteY14266"/>
                </a:cxn>
                <a:cxn ang="0">
                  <a:pos x="connsiteX14267" y="connsiteY14267"/>
                </a:cxn>
                <a:cxn ang="0">
                  <a:pos x="connsiteX14268" y="connsiteY14268"/>
                </a:cxn>
                <a:cxn ang="0">
                  <a:pos x="connsiteX14269" y="connsiteY14269"/>
                </a:cxn>
                <a:cxn ang="0">
                  <a:pos x="connsiteX14270" y="connsiteY14270"/>
                </a:cxn>
                <a:cxn ang="0">
                  <a:pos x="connsiteX14271" y="connsiteY14271"/>
                </a:cxn>
                <a:cxn ang="0">
                  <a:pos x="connsiteX14272" y="connsiteY14272"/>
                </a:cxn>
                <a:cxn ang="0">
                  <a:pos x="connsiteX14273" y="connsiteY14273"/>
                </a:cxn>
                <a:cxn ang="0">
                  <a:pos x="connsiteX14274" y="connsiteY14274"/>
                </a:cxn>
                <a:cxn ang="0">
                  <a:pos x="connsiteX14275" y="connsiteY14275"/>
                </a:cxn>
                <a:cxn ang="0">
                  <a:pos x="connsiteX14276" y="connsiteY14276"/>
                </a:cxn>
                <a:cxn ang="0">
                  <a:pos x="connsiteX14277" y="connsiteY14277"/>
                </a:cxn>
                <a:cxn ang="0">
                  <a:pos x="connsiteX14278" y="connsiteY14278"/>
                </a:cxn>
                <a:cxn ang="0">
                  <a:pos x="connsiteX14279" y="connsiteY14279"/>
                </a:cxn>
                <a:cxn ang="0">
                  <a:pos x="connsiteX14280" y="connsiteY14280"/>
                </a:cxn>
                <a:cxn ang="0">
                  <a:pos x="connsiteX14281" y="connsiteY14281"/>
                </a:cxn>
                <a:cxn ang="0">
                  <a:pos x="connsiteX14282" y="connsiteY14282"/>
                </a:cxn>
                <a:cxn ang="0">
                  <a:pos x="connsiteX14283" y="connsiteY14283"/>
                </a:cxn>
                <a:cxn ang="0">
                  <a:pos x="connsiteX14284" y="connsiteY14284"/>
                </a:cxn>
                <a:cxn ang="0">
                  <a:pos x="connsiteX14285" y="connsiteY14285"/>
                </a:cxn>
                <a:cxn ang="0">
                  <a:pos x="connsiteX14286" y="connsiteY14286"/>
                </a:cxn>
                <a:cxn ang="0">
                  <a:pos x="connsiteX14287" y="connsiteY14287"/>
                </a:cxn>
                <a:cxn ang="0">
                  <a:pos x="connsiteX14288" y="connsiteY14288"/>
                </a:cxn>
                <a:cxn ang="0">
                  <a:pos x="connsiteX14289" y="connsiteY14289"/>
                </a:cxn>
                <a:cxn ang="0">
                  <a:pos x="connsiteX14290" y="connsiteY14290"/>
                </a:cxn>
                <a:cxn ang="0">
                  <a:pos x="connsiteX14291" y="connsiteY14291"/>
                </a:cxn>
                <a:cxn ang="0">
                  <a:pos x="connsiteX14292" y="connsiteY14292"/>
                </a:cxn>
                <a:cxn ang="0">
                  <a:pos x="connsiteX14293" y="connsiteY14293"/>
                </a:cxn>
                <a:cxn ang="0">
                  <a:pos x="connsiteX14294" y="connsiteY14294"/>
                </a:cxn>
                <a:cxn ang="0">
                  <a:pos x="connsiteX14295" y="connsiteY14295"/>
                </a:cxn>
                <a:cxn ang="0">
                  <a:pos x="connsiteX14296" y="connsiteY14296"/>
                </a:cxn>
                <a:cxn ang="0">
                  <a:pos x="connsiteX14297" y="connsiteY14297"/>
                </a:cxn>
                <a:cxn ang="0">
                  <a:pos x="connsiteX14298" y="connsiteY14298"/>
                </a:cxn>
                <a:cxn ang="0">
                  <a:pos x="connsiteX14299" y="connsiteY14299"/>
                </a:cxn>
                <a:cxn ang="0">
                  <a:pos x="connsiteX14300" y="connsiteY14300"/>
                </a:cxn>
                <a:cxn ang="0">
                  <a:pos x="connsiteX14301" y="connsiteY14301"/>
                </a:cxn>
                <a:cxn ang="0">
                  <a:pos x="connsiteX14302" y="connsiteY14302"/>
                </a:cxn>
                <a:cxn ang="0">
                  <a:pos x="connsiteX14303" y="connsiteY14303"/>
                </a:cxn>
                <a:cxn ang="0">
                  <a:pos x="connsiteX14304" y="connsiteY14304"/>
                </a:cxn>
                <a:cxn ang="0">
                  <a:pos x="connsiteX14305" y="connsiteY14305"/>
                </a:cxn>
                <a:cxn ang="0">
                  <a:pos x="connsiteX14306" y="connsiteY14306"/>
                </a:cxn>
                <a:cxn ang="0">
                  <a:pos x="connsiteX14307" y="connsiteY14307"/>
                </a:cxn>
                <a:cxn ang="0">
                  <a:pos x="connsiteX14308" y="connsiteY14308"/>
                </a:cxn>
                <a:cxn ang="0">
                  <a:pos x="connsiteX14309" y="connsiteY14309"/>
                </a:cxn>
                <a:cxn ang="0">
                  <a:pos x="connsiteX14310" y="connsiteY14310"/>
                </a:cxn>
                <a:cxn ang="0">
                  <a:pos x="connsiteX14311" y="connsiteY14311"/>
                </a:cxn>
                <a:cxn ang="0">
                  <a:pos x="connsiteX14312" y="connsiteY14312"/>
                </a:cxn>
                <a:cxn ang="0">
                  <a:pos x="connsiteX14313" y="connsiteY14313"/>
                </a:cxn>
                <a:cxn ang="0">
                  <a:pos x="connsiteX14314" y="connsiteY14314"/>
                </a:cxn>
                <a:cxn ang="0">
                  <a:pos x="connsiteX14315" y="connsiteY14315"/>
                </a:cxn>
                <a:cxn ang="0">
                  <a:pos x="connsiteX14316" y="connsiteY14316"/>
                </a:cxn>
                <a:cxn ang="0">
                  <a:pos x="connsiteX14317" y="connsiteY14317"/>
                </a:cxn>
                <a:cxn ang="0">
                  <a:pos x="connsiteX14318" y="connsiteY14318"/>
                </a:cxn>
                <a:cxn ang="0">
                  <a:pos x="connsiteX14319" y="connsiteY14319"/>
                </a:cxn>
                <a:cxn ang="0">
                  <a:pos x="connsiteX14320" y="connsiteY14320"/>
                </a:cxn>
                <a:cxn ang="0">
                  <a:pos x="connsiteX14321" y="connsiteY14321"/>
                </a:cxn>
                <a:cxn ang="0">
                  <a:pos x="connsiteX14322" y="connsiteY14322"/>
                </a:cxn>
                <a:cxn ang="0">
                  <a:pos x="connsiteX14323" y="connsiteY14323"/>
                </a:cxn>
                <a:cxn ang="0">
                  <a:pos x="connsiteX14324" y="connsiteY14324"/>
                </a:cxn>
                <a:cxn ang="0">
                  <a:pos x="connsiteX14325" y="connsiteY14325"/>
                </a:cxn>
                <a:cxn ang="0">
                  <a:pos x="connsiteX14326" y="connsiteY14326"/>
                </a:cxn>
                <a:cxn ang="0">
                  <a:pos x="connsiteX14327" y="connsiteY14327"/>
                </a:cxn>
                <a:cxn ang="0">
                  <a:pos x="connsiteX14328" y="connsiteY14328"/>
                </a:cxn>
                <a:cxn ang="0">
                  <a:pos x="connsiteX14329" y="connsiteY14329"/>
                </a:cxn>
                <a:cxn ang="0">
                  <a:pos x="connsiteX14330" y="connsiteY14330"/>
                </a:cxn>
                <a:cxn ang="0">
                  <a:pos x="connsiteX14331" y="connsiteY14331"/>
                </a:cxn>
                <a:cxn ang="0">
                  <a:pos x="connsiteX14332" y="connsiteY14332"/>
                </a:cxn>
                <a:cxn ang="0">
                  <a:pos x="connsiteX14333" y="connsiteY14333"/>
                </a:cxn>
                <a:cxn ang="0">
                  <a:pos x="connsiteX14334" y="connsiteY14334"/>
                </a:cxn>
                <a:cxn ang="0">
                  <a:pos x="connsiteX14335" y="connsiteY14335"/>
                </a:cxn>
                <a:cxn ang="0">
                  <a:pos x="connsiteX14336" y="connsiteY14336"/>
                </a:cxn>
                <a:cxn ang="0">
                  <a:pos x="connsiteX14337" y="connsiteY14337"/>
                </a:cxn>
                <a:cxn ang="0">
                  <a:pos x="connsiteX14338" y="connsiteY14338"/>
                </a:cxn>
                <a:cxn ang="0">
                  <a:pos x="connsiteX14339" y="connsiteY14339"/>
                </a:cxn>
                <a:cxn ang="0">
                  <a:pos x="connsiteX14340" y="connsiteY14340"/>
                </a:cxn>
                <a:cxn ang="0">
                  <a:pos x="connsiteX14341" y="connsiteY14341"/>
                </a:cxn>
                <a:cxn ang="0">
                  <a:pos x="connsiteX14342" y="connsiteY14342"/>
                </a:cxn>
                <a:cxn ang="0">
                  <a:pos x="connsiteX14343" y="connsiteY14343"/>
                </a:cxn>
                <a:cxn ang="0">
                  <a:pos x="connsiteX14344" y="connsiteY14344"/>
                </a:cxn>
                <a:cxn ang="0">
                  <a:pos x="connsiteX14345" y="connsiteY14345"/>
                </a:cxn>
                <a:cxn ang="0">
                  <a:pos x="connsiteX14346" y="connsiteY14346"/>
                </a:cxn>
                <a:cxn ang="0">
                  <a:pos x="connsiteX14347" y="connsiteY14347"/>
                </a:cxn>
                <a:cxn ang="0">
                  <a:pos x="connsiteX14348" y="connsiteY14348"/>
                </a:cxn>
                <a:cxn ang="0">
                  <a:pos x="connsiteX14349" y="connsiteY14349"/>
                </a:cxn>
                <a:cxn ang="0">
                  <a:pos x="connsiteX14350" y="connsiteY14350"/>
                </a:cxn>
                <a:cxn ang="0">
                  <a:pos x="connsiteX14351" y="connsiteY14351"/>
                </a:cxn>
                <a:cxn ang="0">
                  <a:pos x="connsiteX14352" y="connsiteY14352"/>
                </a:cxn>
                <a:cxn ang="0">
                  <a:pos x="connsiteX14353" y="connsiteY14353"/>
                </a:cxn>
                <a:cxn ang="0">
                  <a:pos x="connsiteX14354" y="connsiteY14354"/>
                </a:cxn>
                <a:cxn ang="0">
                  <a:pos x="connsiteX14355" y="connsiteY14355"/>
                </a:cxn>
                <a:cxn ang="0">
                  <a:pos x="connsiteX14356" y="connsiteY14356"/>
                </a:cxn>
                <a:cxn ang="0">
                  <a:pos x="connsiteX14357" y="connsiteY14357"/>
                </a:cxn>
                <a:cxn ang="0">
                  <a:pos x="connsiteX14358" y="connsiteY14358"/>
                </a:cxn>
                <a:cxn ang="0">
                  <a:pos x="connsiteX14359" y="connsiteY14359"/>
                </a:cxn>
                <a:cxn ang="0">
                  <a:pos x="connsiteX14360" y="connsiteY14360"/>
                </a:cxn>
                <a:cxn ang="0">
                  <a:pos x="connsiteX14361" y="connsiteY14361"/>
                </a:cxn>
                <a:cxn ang="0">
                  <a:pos x="connsiteX14362" y="connsiteY14362"/>
                </a:cxn>
                <a:cxn ang="0">
                  <a:pos x="connsiteX14363" y="connsiteY14363"/>
                </a:cxn>
                <a:cxn ang="0">
                  <a:pos x="connsiteX14364" y="connsiteY14364"/>
                </a:cxn>
                <a:cxn ang="0">
                  <a:pos x="connsiteX14365" y="connsiteY14365"/>
                </a:cxn>
                <a:cxn ang="0">
                  <a:pos x="connsiteX14366" y="connsiteY14366"/>
                </a:cxn>
                <a:cxn ang="0">
                  <a:pos x="connsiteX14367" y="connsiteY14367"/>
                </a:cxn>
                <a:cxn ang="0">
                  <a:pos x="connsiteX14368" y="connsiteY14368"/>
                </a:cxn>
                <a:cxn ang="0">
                  <a:pos x="connsiteX14369" y="connsiteY14369"/>
                </a:cxn>
                <a:cxn ang="0">
                  <a:pos x="connsiteX14370" y="connsiteY14370"/>
                </a:cxn>
                <a:cxn ang="0">
                  <a:pos x="connsiteX14371" y="connsiteY14371"/>
                </a:cxn>
                <a:cxn ang="0">
                  <a:pos x="connsiteX14372" y="connsiteY14372"/>
                </a:cxn>
                <a:cxn ang="0">
                  <a:pos x="connsiteX14373" y="connsiteY14373"/>
                </a:cxn>
                <a:cxn ang="0">
                  <a:pos x="connsiteX14374" y="connsiteY14374"/>
                </a:cxn>
                <a:cxn ang="0">
                  <a:pos x="connsiteX14375" y="connsiteY14375"/>
                </a:cxn>
                <a:cxn ang="0">
                  <a:pos x="connsiteX14376" y="connsiteY14376"/>
                </a:cxn>
                <a:cxn ang="0">
                  <a:pos x="connsiteX14377" y="connsiteY14377"/>
                </a:cxn>
                <a:cxn ang="0">
                  <a:pos x="connsiteX14378" y="connsiteY14378"/>
                </a:cxn>
                <a:cxn ang="0">
                  <a:pos x="connsiteX14379" y="connsiteY14379"/>
                </a:cxn>
                <a:cxn ang="0">
                  <a:pos x="connsiteX14380" y="connsiteY14380"/>
                </a:cxn>
                <a:cxn ang="0">
                  <a:pos x="connsiteX14381" y="connsiteY14381"/>
                </a:cxn>
                <a:cxn ang="0">
                  <a:pos x="connsiteX14382" y="connsiteY14382"/>
                </a:cxn>
                <a:cxn ang="0">
                  <a:pos x="connsiteX14383" y="connsiteY14383"/>
                </a:cxn>
                <a:cxn ang="0">
                  <a:pos x="connsiteX14384" y="connsiteY14384"/>
                </a:cxn>
                <a:cxn ang="0">
                  <a:pos x="connsiteX14385" y="connsiteY14385"/>
                </a:cxn>
                <a:cxn ang="0">
                  <a:pos x="connsiteX14386" y="connsiteY14386"/>
                </a:cxn>
                <a:cxn ang="0">
                  <a:pos x="connsiteX14387" y="connsiteY14387"/>
                </a:cxn>
                <a:cxn ang="0">
                  <a:pos x="connsiteX14388" y="connsiteY14388"/>
                </a:cxn>
                <a:cxn ang="0">
                  <a:pos x="connsiteX14389" y="connsiteY14389"/>
                </a:cxn>
                <a:cxn ang="0">
                  <a:pos x="connsiteX14390" y="connsiteY14390"/>
                </a:cxn>
                <a:cxn ang="0">
                  <a:pos x="connsiteX14391" y="connsiteY14391"/>
                </a:cxn>
                <a:cxn ang="0">
                  <a:pos x="connsiteX14392" y="connsiteY14392"/>
                </a:cxn>
                <a:cxn ang="0">
                  <a:pos x="connsiteX14393" y="connsiteY14393"/>
                </a:cxn>
                <a:cxn ang="0">
                  <a:pos x="connsiteX14394" y="connsiteY14394"/>
                </a:cxn>
                <a:cxn ang="0">
                  <a:pos x="connsiteX14395" y="connsiteY14395"/>
                </a:cxn>
                <a:cxn ang="0">
                  <a:pos x="connsiteX14396" y="connsiteY14396"/>
                </a:cxn>
                <a:cxn ang="0">
                  <a:pos x="connsiteX14397" y="connsiteY14397"/>
                </a:cxn>
                <a:cxn ang="0">
                  <a:pos x="connsiteX14398" y="connsiteY14398"/>
                </a:cxn>
                <a:cxn ang="0">
                  <a:pos x="connsiteX14399" y="connsiteY14399"/>
                </a:cxn>
                <a:cxn ang="0">
                  <a:pos x="connsiteX14400" y="connsiteY14400"/>
                </a:cxn>
                <a:cxn ang="0">
                  <a:pos x="connsiteX14401" y="connsiteY14401"/>
                </a:cxn>
                <a:cxn ang="0">
                  <a:pos x="connsiteX14402" y="connsiteY14402"/>
                </a:cxn>
                <a:cxn ang="0">
                  <a:pos x="connsiteX14403" y="connsiteY14403"/>
                </a:cxn>
                <a:cxn ang="0">
                  <a:pos x="connsiteX14404" y="connsiteY14404"/>
                </a:cxn>
                <a:cxn ang="0">
                  <a:pos x="connsiteX14405" y="connsiteY14405"/>
                </a:cxn>
                <a:cxn ang="0">
                  <a:pos x="connsiteX14406" y="connsiteY14406"/>
                </a:cxn>
                <a:cxn ang="0">
                  <a:pos x="connsiteX14407" y="connsiteY14407"/>
                </a:cxn>
                <a:cxn ang="0">
                  <a:pos x="connsiteX14408" y="connsiteY14408"/>
                </a:cxn>
                <a:cxn ang="0">
                  <a:pos x="connsiteX14409" y="connsiteY14409"/>
                </a:cxn>
                <a:cxn ang="0">
                  <a:pos x="connsiteX14410" y="connsiteY14410"/>
                </a:cxn>
                <a:cxn ang="0">
                  <a:pos x="connsiteX14411" y="connsiteY14411"/>
                </a:cxn>
                <a:cxn ang="0">
                  <a:pos x="connsiteX14412" y="connsiteY14412"/>
                </a:cxn>
                <a:cxn ang="0">
                  <a:pos x="connsiteX14413" y="connsiteY14413"/>
                </a:cxn>
                <a:cxn ang="0">
                  <a:pos x="connsiteX14414" y="connsiteY14414"/>
                </a:cxn>
                <a:cxn ang="0">
                  <a:pos x="connsiteX14415" y="connsiteY14415"/>
                </a:cxn>
                <a:cxn ang="0">
                  <a:pos x="connsiteX14416" y="connsiteY14416"/>
                </a:cxn>
                <a:cxn ang="0">
                  <a:pos x="connsiteX14417" y="connsiteY14417"/>
                </a:cxn>
                <a:cxn ang="0">
                  <a:pos x="connsiteX14418" y="connsiteY14418"/>
                </a:cxn>
                <a:cxn ang="0">
                  <a:pos x="connsiteX14419" y="connsiteY14419"/>
                </a:cxn>
                <a:cxn ang="0">
                  <a:pos x="connsiteX14420" y="connsiteY14420"/>
                </a:cxn>
                <a:cxn ang="0">
                  <a:pos x="connsiteX14421" y="connsiteY14421"/>
                </a:cxn>
                <a:cxn ang="0">
                  <a:pos x="connsiteX14422" y="connsiteY14422"/>
                </a:cxn>
                <a:cxn ang="0">
                  <a:pos x="connsiteX14423" y="connsiteY14423"/>
                </a:cxn>
                <a:cxn ang="0">
                  <a:pos x="connsiteX14424" y="connsiteY14424"/>
                </a:cxn>
                <a:cxn ang="0">
                  <a:pos x="connsiteX14425" y="connsiteY14425"/>
                </a:cxn>
                <a:cxn ang="0">
                  <a:pos x="connsiteX14426" y="connsiteY14426"/>
                </a:cxn>
                <a:cxn ang="0">
                  <a:pos x="connsiteX14427" y="connsiteY14427"/>
                </a:cxn>
                <a:cxn ang="0">
                  <a:pos x="connsiteX14428" y="connsiteY14428"/>
                </a:cxn>
                <a:cxn ang="0">
                  <a:pos x="connsiteX14429" y="connsiteY14429"/>
                </a:cxn>
                <a:cxn ang="0">
                  <a:pos x="connsiteX14430" y="connsiteY14430"/>
                </a:cxn>
                <a:cxn ang="0">
                  <a:pos x="connsiteX14431" y="connsiteY14431"/>
                </a:cxn>
                <a:cxn ang="0">
                  <a:pos x="connsiteX14432" y="connsiteY14432"/>
                </a:cxn>
                <a:cxn ang="0">
                  <a:pos x="connsiteX14433" y="connsiteY14433"/>
                </a:cxn>
                <a:cxn ang="0">
                  <a:pos x="connsiteX14434" y="connsiteY14434"/>
                </a:cxn>
                <a:cxn ang="0">
                  <a:pos x="connsiteX14435" y="connsiteY14435"/>
                </a:cxn>
                <a:cxn ang="0">
                  <a:pos x="connsiteX14436" y="connsiteY14436"/>
                </a:cxn>
                <a:cxn ang="0">
                  <a:pos x="connsiteX14437" y="connsiteY14437"/>
                </a:cxn>
                <a:cxn ang="0">
                  <a:pos x="connsiteX14438" y="connsiteY14438"/>
                </a:cxn>
                <a:cxn ang="0">
                  <a:pos x="connsiteX14439" y="connsiteY14439"/>
                </a:cxn>
                <a:cxn ang="0">
                  <a:pos x="connsiteX14440" y="connsiteY14440"/>
                </a:cxn>
                <a:cxn ang="0">
                  <a:pos x="connsiteX14441" y="connsiteY14441"/>
                </a:cxn>
                <a:cxn ang="0">
                  <a:pos x="connsiteX14442" y="connsiteY14442"/>
                </a:cxn>
                <a:cxn ang="0">
                  <a:pos x="connsiteX14443" y="connsiteY14443"/>
                </a:cxn>
                <a:cxn ang="0">
                  <a:pos x="connsiteX14444" y="connsiteY14444"/>
                </a:cxn>
                <a:cxn ang="0">
                  <a:pos x="connsiteX14445" y="connsiteY14445"/>
                </a:cxn>
                <a:cxn ang="0">
                  <a:pos x="connsiteX14446" y="connsiteY14446"/>
                </a:cxn>
                <a:cxn ang="0">
                  <a:pos x="connsiteX14447" y="connsiteY14447"/>
                </a:cxn>
                <a:cxn ang="0">
                  <a:pos x="connsiteX14448" y="connsiteY14448"/>
                </a:cxn>
                <a:cxn ang="0">
                  <a:pos x="connsiteX14449" y="connsiteY14449"/>
                </a:cxn>
                <a:cxn ang="0">
                  <a:pos x="connsiteX14450" y="connsiteY14450"/>
                </a:cxn>
                <a:cxn ang="0">
                  <a:pos x="connsiteX14451" y="connsiteY14451"/>
                </a:cxn>
                <a:cxn ang="0">
                  <a:pos x="connsiteX14452" y="connsiteY14452"/>
                </a:cxn>
                <a:cxn ang="0">
                  <a:pos x="connsiteX14453" y="connsiteY14453"/>
                </a:cxn>
                <a:cxn ang="0">
                  <a:pos x="connsiteX14454" y="connsiteY14454"/>
                </a:cxn>
                <a:cxn ang="0">
                  <a:pos x="connsiteX14455" y="connsiteY14455"/>
                </a:cxn>
                <a:cxn ang="0">
                  <a:pos x="connsiteX14456" y="connsiteY14456"/>
                </a:cxn>
                <a:cxn ang="0">
                  <a:pos x="connsiteX14457" y="connsiteY14457"/>
                </a:cxn>
                <a:cxn ang="0">
                  <a:pos x="connsiteX14458" y="connsiteY14458"/>
                </a:cxn>
                <a:cxn ang="0">
                  <a:pos x="connsiteX14459" y="connsiteY14459"/>
                </a:cxn>
                <a:cxn ang="0">
                  <a:pos x="connsiteX14460" y="connsiteY14460"/>
                </a:cxn>
                <a:cxn ang="0">
                  <a:pos x="connsiteX14461" y="connsiteY14461"/>
                </a:cxn>
                <a:cxn ang="0">
                  <a:pos x="connsiteX14462" y="connsiteY14462"/>
                </a:cxn>
                <a:cxn ang="0">
                  <a:pos x="connsiteX14463" y="connsiteY14463"/>
                </a:cxn>
                <a:cxn ang="0">
                  <a:pos x="connsiteX14464" y="connsiteY14464"/>
                </a:cxn>
                <a:cxn ang="0">
                  <a:pos x="connsiteX14465" y="connsiteY14465"/>
                </a:cxn>
                <a:cxn ang="0">
                  <a:pos x="connsiteX14466" y="connsiteY14466"/>
                </a:cxn>
                <a:cxn ang="0">
                  <a:pos x="connsiteX14467" y="connsiteY14467"/>
                </a:cxn>
                <a:cxn ang="0">
                  <a:pos x="connsiteX14468" y="connsiteY14468"/>
                </a:cxn>
                <a:cxn ang="0">
                  <a:pos x="connsiteX14469" y="connsiteY14469"/>
                </a:cxn>
                <a:cxn ang="0">
                  <a:pos x="connsiteX14470" y="connsiteY14470"/>
                </a:cxn>
                <a:cxn ang="0">
                  <a:pos x="connsiteX14471" y="connsiteY14471"/>
                </a:cxn>
                <a:cxn ang="0">
                  <a:pos x="connsiteX14472" y="connsiteY14472"/>
                </a:cxn>
                <a:cxn ang="0">
                  <a:pos x="connsiteX14473" y="connsiteY14473"/>
                </a:cxn>
                <a:cxn ang="0">
                  <a:pos x="connsiteX14474" y="connsiteY14474"/>
                </a:cxn>
                <a:cxn ang="0">
                  <a:pos x="connsiteX14475" y="connsiteY14475"/>
                </a:cxn>
                <a:cxn ang="0">
                  <a:pos x="connsiteX14476" y="connsiteY14476"/>
                </a:cxn>
                <a:cxn ang="0">
                  <a:pos x="connsiteX14477" y="connsiteY14477"/>
                </a:cxn>
                <a:cxn ang="0">
                  <a:pos x="connsiteX14478" y="connsiteY14478"/>
                </a:cxn>
                <a:cxn ang="0">
                  <a:pos x="connsiteX14479" y="connsiteY14479"/>
                </a:cxn>
                <a:cxn ang="0">
                  <a:pos x="connsiteX14480" y="connsiteY14480"/>
                </a:cxn>
                <a:cxn ang="0">
                  <a:pos x="connsiteX14481" y="connsiteY14481"/>
                </a:cxn>
                <a:cxn ang="0">
                  <a:pos x="connsiteX14482" y="connsiteY14482"/>
                </a:cxn>
                <a:cxn ang="0">
                  <a:pos x="connsiteX14483" y="connsiteY14483"/>
                </a:cxn>
                <a:cxn ang="0">
                  <a:pos x="connsiteX14484" y="connsiteY14484"/>
                </a:cxn>
                <a:cxn ang="0">
                  <a:pos x="connsiteX14485" y="connsiteY14485"/>
                </a:cxn>
                <a:cxn ang="0">
                  <a:pos x="connsiteX14486" y="connsiteY14486"/>
                </a:cxn>
                <a:cxn ang="0">
                  <a:pos x="connsiteX14487" y="connsiteY14487"/>
                </a:cxn>
                <a:cxn ang="0">
                  <a:pos x="connsiteX14488" y="connsiteY14488"/>
                </a:cxn>
                <a:cxn ang="0">
                  <a:pos x="connsiteX14489" y="connsiteY14489"/>
                </a:cxn>
                <a:cxn ang="0">
                  <a:pos x="connsiteX14490" y="connsiteY14490"/>
                </a:cxn>
                <a:cxn ang="0">
                  <a:pos x="connsiteX14491" y="connsiteY14491"/>
                </a:cxn>
                <a:cxn ang="0">
                  <a:pos x="connsiteX14492" y="connsiteY14492"/>
                </a:cxn>
                <a:cxn ang="0">
                  <a:pos x="connsiteX14493" y="connsiteY14493"/>
                </a:cxn>
                <a:cxn ang="0">
                  <a:pos x="connsiteX14494" y="connsiteY14494"/>
                </a:cxn>
                <a:cxn ang="0">
                  <a:pos x="connsiteX14495" y="connsiteY14495"/>
                </a:cxn>
                <a:cxn ang="0">
                  <a:pos x="connsiteX14496" y="connsiteY14496"/>
                </a:cxn>
                <a:cxn ang="0">
                  <a:pos x="connsiteX14497" y="connsiteY14497"/>
                </a:cxn>
                <a:cxn ang="0">
                  <a:pos x="connsiteX14498" y="connsiteY14498"/>
                </a:cxn>
                <a:cxn ang="0">
                  <a:pos x="connsiteX14499" y="connsiteY14499"/>
                </a:cxn>
                <a:cxn ang="0">
                  <a:pos x="connsiteX14500" y="connsiteY14500"/>
                </a:cxn>
                <a:cxn ang="0">
                  <a:pos x="connsiteX14501" y="connsiteY14501"/>
                </a:cxn>
                <a:cxn ang="0">
                  <a:pos x="connsiteX14502" y="connsiteY14502"/>
                </a:cxn>
                <a:cxn ang="0">
                  <a:pos x="connsiteX14503" y="connsiteY14503"/>
                </a:cxn>
                <a:cxn ang="0">
                  <a:pos x="connsiteX14504" y="connsiteY14504"/>
                </a:cxn>
                <a:cxn ang="0">
                  <a:pos x="connsiteX14505" y="connsiteY14505"/>
                </a:cxn>
                <a:cxn ang="0">
                  <a:pos x="connsiteX14506" y="connsiteY14506"/>
                </a:cxn>
                <a:cxn ang="0">
                  <a:pos x="connsiteX14507" y="connsiteY14507"/>
                </a:cxn>
                <a:cxn ang="0">
                  <a:pos x="connsiteX14508" y="connsiteY14508"/>
                </a:cxn>
                <a:cxn ang="0">
                  <a:pos x="connsiteX14509" y="connsiteY14509"/>
                </a:cxn>
                <a:cxn ang="0">
                  <a:pos x="connsiteX14510" y="connsiteY14510"/>
                </a:cxn>
                <a:cxn ang="0">
                  <a:pos x="connsiteX14511" y="connsiteY14511"/>
                </a:cxn>
                <a:cxn ang="0">
                  <a:pos x="connsiteX14512" y="connsiteY14512"/>
                </a:cxn>
                <a:cxn ang="0">
                  <a:pos x="connsiteX14513" y="connsiteY14513"/>
                </a:cxn>
                <a:cxn ang="0">
                  <a:pos x="connsiteX14514" y="connsiteY14514"/>
                </a:cxn>
                <a:cxn ang="0">
                  <a:pos x="connsiteX14515" y="connsiteY14515"/>
                </a:cxn>
                <a:cxn ang="0">
                  <a:pos x="connsiteX14516" y="connsiteY14516"/>
                </a:cxn>
                <a:cxn ang="0">
                  <a:pos x="connsiteX14517" y="connsiteY14517"/>
                </a:cxn>
                <a:cxn ang="0">
                  <a:pos x="connsiteX14518" y="connsiteY14518"/>
                </a:cxn>
                <a:cxn ang="0">
                  <a:pos x="connsiteX14519" y="connsiteY14519"/>
                </a:cxn>
                <a:cxn ang="0">
                  <a:pos x="connsiteX14520" y="connsiteY14520"/>
                </a:cxn>
                <a:cxn ang="0">
                  <a:pos x="connsiteX14521" y="connsiteY14521"/>
                </a:cxn>
                <a:cxn ang="0">
                  <a:pos x="connsiteX14522" y="connsiteY14522"/>
                </a:cxn>
                <a:cxn ang="0">
                  <a:pos x="connsiteX14523" y="connsiteY14523"/>
                </a:cxn>
                <a:cxn ang="0">
                  <a:pos x="connsiteX14524" y="connsiteY14524"/>
                </a:cxn>
                <a:cxn ang="0">
                  <a:pos x="connsiteX14525" y="connsiteY14525"/>
                </a:cxn>
                <a:cxn ang="0">
                  <a:pos x="connsiteX14526" y="connsiteY14526"/>
                </a:cxn>
                <a:cxn ang="0">
                  <a:pos x="connsiteX14527" y="connsiteY14527"/>
                </a:cxn>
                <a:cxn ang="0">
                  <a:pos x="connsiteX14528" y="connsiteY14528"/>
                </a:cxn>
                <a:cxn ang="0">
                  <a:pos x="connsiteX14529" y="connsiteY14529"/>
                </a:cxn>
                <a:cxn ang="0">
                  <a:pos x="connsiteX14530" y="connsiteY14530"/>
                </a:cxn>
                <a:cxn ang="0">
                  <a:pos x="connsiteX14531" y="connsiteY14531"/>
                </a:cxn>
                <a:cxn ang="0">
                  <a:pos x="connsiteX14532" y="connsiteY14532"/>
                </a:cxn>
                <a:cxn ang="0">
                  <a:pos x="connsiteX14533" y="connsiteY14533"/>
                </a:cxn>
                <a:cxn ang="0">
                  <a:pos x="connsiteX14534" y="connsiteY14534"/>
                </a:cxn>
                <a:cxn ang="0">
                  <a:pos x="connsiteX14535" y="connsiteY14535"/>
                </a:cxn>
                <a:cxn ang="0">
                  <a:pos x="connsiteX14536" y="connsiteY14536"/>
                </a:cxn>
                <a:cxn ang="0">
                  <a:pos x="connsiteX14537" y="connsiteY14537"/>
                </a:cxn>
                <a:cxn ang="0">
                  <a:pos x="connsiteX14538" y="connsiteY14538"/>
                </a:cxn>
                <a:cxn ang="0">
                  <a:pos x="connsiteX14539" y="connsiteY14539"/>
                </a:cxn>
                <a:cxn ang="0">
                  <a:pos x="connsiteX14540" y="connsiteY14540"/>
                </a:cxn>
                <a:cxn ang="0">
                  <a:pos x="connsiteX14541" y="connsiteY14541"/>
                </a:cxn>
                <a:cxn ang="0">
                  <a:pos x="connsiteX14542" y="connsiteY14542"/>
                </a:cxn>
                <a:cxn ang="0">
                  <a:pos x="connsiteX14543" y="connsiteY14543"/>
                </a:cxn>
                <a:cxn ang="0">
                  <a:pos x="connsiteX14544" y="connsiteY14544"/>
                </a:cxn>
                <a:cxn ang="0">
                  <a:pos x="connsiteX14545" y="connsiteY14545"/>
                </a:cxn>
                <a:cxn ang="0">
                  <a:pos x="connsiteX14546" y="connsiteY14546"/>
                </a:cxn>
                <a:cxn ang="0">
                  <a:pos x="connsiteX14547" y="connsiteY14547"/>
                </a:cxn>
                <a:cxn ang="0">
                  <a:pos x="connsiteX14548" y="connsiteY14548"/>
                </a:cxn>
                <a:cxn ang="0">
                  <a:pos x="connsiteX14549" y="connsiteY14549"/>
                </a:cxn>
                <a:cxn ang="0">
                  <a:pos x="connsiteX14550" y="connsiteY14550"/>
                </a:cxn>
                <a:cxn ang="0">
                  <a:pos x="connsiteX14551" y="connsiteY14551"/>
                </a:cxn>
                <a:cxn ang="0">
                  <a:pos x="connsiteX14552" y="connsiteY14552"/>
                </a:cxn>
                <a:cxn ang="0">
                  <a:pos x="connsiteX14553" y="connsiteY14553"/>
                </a:cxn>
                <a:cxn ang="0">
                  <a:pos x="connsiteX14554" y="connsiteY14554"/>
                </a:cxn>
                <a:cxn ang="0">
                  <a:pos x="connsiteX14555" y="connsiteY14555"/>
                </a:cxn>
                <a:cxn ang="0">
                  <a:pos x="connsiteX14556" y="connsiteY14556"/>
                </a:cxn>
                <a:cxn ang="0">
                  <a:pos x="connsiteX14557" y="connsiteY14557"/>
                </a:cxn>
                <a:cxn ang="0">
                  <a:pos x="connsiteX14558" y="connsiteY14558"/>
                </a:cxn>
                <a:cxn ang="0">
                  <a:pos x="connsiteX14559" y="connsiteY14559"/>
                </a:cxn>
                <a:cxn ang="0">
                  <a:pos x="connsiteX14560" y="connsiteY14560"/>
                </a:cxn>
                <a:cxn ang="0">
                  <a:pos x="connsiteX14561" y="connsiteY14561"/>
                </a:cxn>
                <a:cxn ang="0">
                  <a:pos x="connsiteX14562" y="connsiteY14562"/>
                </a:cxn>
                <a:cxn ang="0">
                  <a:pos x="connsiteX14563" y="connsiteY14563"/>
                </a:cxn>
                <a:cxn ang="0">
                  <a:pos x="connsiteX14564" y="connsiteY14564"/>
                </a:cxn>
                <a:cxn ang="0">
                  <a:pos x="connsiteX14565" y="connsiteY14565"/>
                </a:cxn>
                <a:cxn ang="0">
                  <a:pos x="connsiteX14566" y="connsiteY14566"/>
                </a:cxn>
                <a:cxn ang="0">
                  <a:pos x="connsiteX14567" y="connsiteY14567"/>
                </a:cxn>
                <a:cxn ang="0">
                  <a:pos x="connsiteX14568" y="connsiteY14568"/>
                </a:cxn>
                <a:cxn ang="0">
                  <a:pos x="connsiteX14569" y="connsiteY14569"/>
                </a:cxn>
                <a:cxn ang="0">
                  <a:pos x="connsiteX14570" y="connsiteY14570"/>
                </a:cxn>
                <a:cxn ang="0">
                  <a:pos x="connsiteX14571" y="connsiteY14571"/>
                </a:cxn>
                <a:cxn ang="0">
                  <a:pos x="connsiteX14572" y="connsiteY14572"/>
                </a:cxn>
                <a:cxn ang="0">
                  <a:pos x="connsiteX14573" y="connsiteY14573"/>
                </a:cxn>
                <a:cxn ang="0">
                  <a:pos x="connsiteX14574" y="connsiteY14574"/>
                </a:cxn>
                <a:cxn ang="0">
                  <a:pos x="connsiteX14575" y="connsiteY14575"/>
                </a:cxn>
                <a:cxn ang="0">
                  <a:pos x="connsiteX14576" y="connsiteY14576"/>
                </a:cxn>
                <a:cxn ang="0">
                  <a:pos x="connsiteX14577" y="connsiteY14577"/>
                </a:cxn>
                <a:cxn ang="0">
                  <a:pos x="connsiteX14578" y="connsiteY14578"/>
                </a:cxn>
                <a:cxn ang="0">
                  <a:pos x="connsiteX14579" y="connsiteY14579"/>
                </a:cxn>
                <a:cxn ang="0">
                  <a:pos x="connsiteX14580" y="connsiteY14580"/>
                </a:cxn>
                <a:cxn ang="0">
                  <a:pos x="connsiteX14581" y="connsiteY14581"/>
                </a:cxn>
                <a:cxn ang="0">
                  <a:pos x="connsiteX14582" y="connsiteY14582"/>
                </a:cxn>
                <a:cxn ang="0">
                  <a:pos x="connsiteX14583" y="connsiteY14583"/>
                </a:cxn>
                <a:cxn ang="0">
                  <a:pos x="connsiteX14584" y="connsiteY14584"/>
                </a:cxn>
                <a:cxn ang="0">
                  <a:pos x="connsiteX14585" y="connsiteY14585"/>
                </a:cxn>
                <a:cxn ang="0">
                  <a:pos x="connsiteX14586" y="connsiteY14586"/>
                </a:cxn>
                <a:cxn ang="0">
                  <a:pos x="connsiteX14587" y="connsiteY14587"/>
                </a:cxn>
                <a:cxn ang="0">
                  <a:pos x="connsiteX14588" y="connsiteY14588"/>
                </a:cxn>
                <a:cxn ang="0">
                  <a:pos x="connsiteX14589" y="connsiteY14589"/>
                </a:cxn>
                <a:cxn ang="0">
                  <a:pos x="connsiteX14590" y="connsiteY14590"/>
                </a:cxn>
                <a:cxn ang="0">
                  <a:pos x="connsiteX14591" y="connsiteY14591"/>
                </a:cxn>
                <a:cxn ang="0">
                  <a:pos x="connsiteX14592" y="connsiteY14592"/>
                </a:cxn>
                <a:cxn ang="0">
                  <a:pos x="connsiteX14593" y="connsiteY14593"/>
                </a:cxn>
                <a:cxn ang="0">
                  <a:pos x="connsiteX14594" y="connsiteY14594"/>
                </a:cxn>
                <a:cxn ang="0">
                  <a:pos x="connsiteX14595" y="connsiteY14595"/>
                </a:cxn>
                <a:cxn ang="0">
                  <a:pos x="connsiteX14596" y="connsiteY14596"/>
                </a:cxn>
                <a:cxn ang="0">
                  <a:pos x="connsiteX14597" y="connsiteY14597"/>
                </a:cxn>
                <a:cxn ang="0">
                  <a:pos x="connsiteX14598" y="connsiteY14598"/>
                </a:cxn>
                <a:cxn ang="0">
                  <a:pos x="connsiteX14599" y="connsiteY14599"/>
                </a:cxn>
                <a:cxn ang="0">
                  <a:pos x="connsiteX14600" y="connsiteY14600"/>
                </a:cxn>
                <a:cxn ang="0">
                  <a:pos x="connsiteX14601" y="connsiteY14601"/>
                </a:cxn>
                <a:cxn ang="0">
                  <a:pos x="connsiteX14602" y="connsiteY14602"/>
                </a:cxn>
                <a:cxn ang="0">
                  <a:pos x="connsiteX14603" y="connsiteY14603"/>
                </a:cxn>
                <a:cxn ang="0">
                  <a:pos x="connsiteX14604" y="connsiteY14604"/>
                </a:cxn>
                <a:cxn ang="0">
                  <a:pos x="connsiteX14605" y="connsiteY14605"/>
                </a:cxn>
                <a:cxn ang="0">
                  <a:pos x="connsiteX14606" y="connsiteY14606"/>
                </a:cxn>
                <a:cxn ang="0">
                  <a:pos x="connsiteX14607" y="connsiteY14607"/>
                </a:cxn>
                <a:cxn ang="0">
                  <a:pos x="connsiteX14608" y="connsiteY14608"/>
                </a:cxn>
                <a:cxn ang="0">
                  <a:pos x="connsiteX14609" y="connsiteY14609"/>
                </a:cxn>
                <a:cxn ang="0">
                  <a:pos x="connsiteX14610" y="connsiteY14610"/>
                </a:cxn>
                <a:cxn ang="0">
                  <a:pos x="connsiteX14611" y="connsiteY14611"/>
                </a:cxn>
                <a:cxn ang="0">
                  <a:pos x="connsiteX14612" y="connsiteY14612"/>
                </a:cxn>
                <a:cxn ang="0">
                  <a:pos x="connsiteX14613" y="connsiteY14613"/>
                </a:cxn>
                <a:cxn ang="0">
                  <a:pos x="connsiteX14614" y="connsiteY14614"/>
                </a:cxn>
                <a:cxn ang="0">
                  <a:pos x="connsiteX14615" y="connsiteY14615"/>
                </a:cxn>
                <a:cxn ang="0">
                  <a:pos x="connsiteX14616" y="connsiteY14616"/>
                </a:cxn>
                <a:cxn ang="0">
                  <a:pos x="connsiteX14617" y="connsiteY14617"/>
                </a:cxn>
                <a:cxn ang="0">
                  <a:pos x="connsiteX14618" y="connsiteY14618"/>
                </a:cxn>
                <a:cxn ang="0">
                  <a:pos x="connsiteX14619" y="connsiteY14619"/>
                </a:cxn>
                <a:cxn ang="0">
                  <a:pos x="connsiteX14620" y="connsiteY14620"/>
                </a:cxn>
                <a:cxn ang="0">
                  <a:pos x="connsiteX14621" y="connsiteY14621"/>
                </a:cxn>
                <a:cxn ang="0">
                  <a:pos x="connsiteX14622" y="connsiteY14622"/>
                </a:cxn>
                <a:cxn ang="0">
                  <a:pos x="connsiteX14623" y="connsiteY14623"/>
                </a:cxn>
                <a:cxn ang="0">
                  <a:pos x="connsiteX14624" y="connsiteY14624"/>
                </a:cxn>
                <a:cxn ang="0">
                  <a:pos x="connsiteX14625" y="connsiteY14625"/>
                </a:cxn>
                <a:cxn ang="0">
                  <a:pos x="connsiteX14626" y="connsiteY14626"/>
                </a:cxn>
                <a:cxn ang="0">
                  <a:pos x="connsiteX14627" y="connsiteY14627"/>
                </a:cxn>
                <a:cxn ang="0">
                  <a:pos x="connsiteX14628" y="connsiteY14628"/>
                </a:cxn>
                <a:cxn ang="0">
                  <a:pos x="connsiteX14629" y="connsiteY14629"/>
                </a:cxn>
                <a:cxn ang="0">
                  <a:pos x="connsiteX14630" y="connsiteY14630"/>
                </a:cxn>
                <a:cxn ang="0">
                  <a:pos x="connsiteX14631" y="connsiteY14631"/>
                </a:cxn>
                <a:cxn ang="0">
                  <a:pos x="connsiteX14632" y="connsiteY14632"/>
                </a:cxn>
                <a:cxn ang="0">
                  <a:pos x="connsiteX14633" y="connsiteY14633"/>
                </a:cxn>
                <a:cxn ang="0">
                  <a:pos x="connsiteX14634" y="connsiteY14634"/>
                </a:cxn>
                <a:cxn ang="0">
                  <a:pos x="connsiteX14635" y="connsiteY14635"/>
                </a:cxn>
                <a:cxn ang="0">
                  <a:pos x="connsiteX14636" y="connsiteY14636"/>
                </a:cxn>
                <a:cxn ang="0">
                  <a:pos x="connsiteX14637" y="connsiteY14637"/>
                </a:cxn>
                <a:cxn ang="0">
                  <a:pos x="connsiteX14638" y="connsiteY14638"/>
                </a:cxn>
                <a:cxn ang="0">
                  <a:pos x="connsiteX14639" y="connsiteY14639"/>
                </a:cxn>
                <a:cxn ang="0">
                  <a:pos x="connsiteX14640" y="connsiteY14640"/>
                </a:cxn>
                <a:cxn ang="0">
                  <a:pos x="connsiteX14641" y="connsiteY14641"/>
                </a:cxn>
                <a:cxn ang="0">
                  <a:pos x="connsiteX14642" y="connsiteY14642"/>
                </a:cxn>
                <a:cxn ang="0">
                  <a:pos x="connsiteX14643" y="connsiteY14643"/>
                </a:cxn>
                <a:cxn ang="0">
                  <a:pos x="connsiteX14644" y="connsiteY14644"/>
                </a:cxn>
                <a:cxn ang="0">
                  <a:pos x="connsiteX14645" y="connsiteY14645"/>
                </a:cxn>
                <a:cxn ang="0">
                  <a:pos x="connsiteX14646" y="connsiteY14646"/>
                </a:cxn>
                <a:cxn ang="0">
                  <a:pos x="connsiteX14647" y="connsiteY14647"/>
                </a:cxn>
                <a:cxn ang="0">
                  <a:pos x="connsiteX14648" y="connsiteY14648"/>
                </a:cxn>
                <a:cxn ang="0">
                  <a:pos x="connsiteX14649" y="connsiteY14649"/>
                </a:cxn>
                <a:cxn ang="0">
                  <a:pos x="connsiteX14650" y="connsiteY14650"/>
                </a:cxn>
                <a:cxn ang="0">
                  <a:pos x="connsiteX14651" y="connsiteY14651"/>
                </a:cxn>
                <a:cxn ang="0">
                  <a:pos x="connsiteX14652" y="connsiteY14652"/>
                </a:cxn>
                <a:cxn ang="0">
                  <a:pos x="connsiteX14653" y="connsiteY14653"/>
                </a:cxn>
                <a:cxn ang="0">
                  <a:pos x="connsiteX14654" y="connsiteY14654"/>
                </a:cxn>
                <a:cxn ang="0">
                  <a:pos x="connsiteX14655" y="connsiteY14655"/>
                </a:cxn>
                <a:cxn ang="0">
                  <a:pos x="connsiteX14656" y="connsiteY14656"/>
                </a:cxn>
                <a:cxn ang="0">
                  <a:pos x="connsiteX14657" y="connsiteY14657"/>
                </a:cxn>
                <a:cxn ang="0">
                  <a:pos x="connsiteX14658" y="connsiteY14658"/>
                </a:cxn>
                <a:cxn ang="0">
                  <a:pos x="connsiteX14659" y="connsiteY14659"/>
                </a:cxn>
                <a:cxn ang="0">
                  <a:pos x="connsiteX14660" y="connsiteY14660"/>
                </a:cxn>
                <a:cxn ang="0">
                  <a:pos x="connsiteX14661" y="connsiteY14661"/>
                </a:cxn>
                <a:cxn ang="0">
                  <a:pos x="connsiteX14662" y="connsiteY14662"/>
                </a:cxn>
                <a:cxn ang="0">
                  <a:pos x="connsiteX14663" y="connsiteY14663"/>
                </a:cxn>
                <a:cxn ang="0">
                  <a:pos x="connsiteX14664" y="connsiteY14664"/>
                </a:cxn>
                <a:cxn ang="0">
                  <a:pos x="connsiteX14665" y="connsiteY14665"/>
                </a:cxn>
                <a:cxn ang="0">
                  <a:pos x="connsiteX14666" y="connsiteY14666"/>
                </a:cxn>
                <a:cxn ang="0">
                  <a:pos x="connsiteX14667" y="connsiteY14667"/>
                </a:cxn>
                <a:cxn ang="0">
                  <a:pos x="connsiteX14668" y="connsiteY14668"/>
                </a:cxn>
                <a:cxn ang="0">
                  <a:pos x="connsiteX14669" y="connsiteY14669"/>
                </a:cxn>
                <a:cxn ang="0">
                  <a:pos x="connsiteX14670" y="connsiteY14670"/>
                </a:cxn>
                <a:cxn ang="0">
                  <a:pos x="connsiteX14671" y="connsiteY14671"/>
                </a:cxn>
                <a:cxn ang="0">
                  <a:pos x="connsiteX14672" y="connsiteY14672"/>
                </a:cxn>
                <a:cxn ang="0">
                  <a:pos x="connsiteX14673" y="connsiteY14673"/>
                </a:cxn>
                <a:cxn ang="0">
                  <a:pos x="connsiteX14674" y="connsiteY14674"/>
                </a:cxn>
                <a:cxn ang="0">
                  <a:pos x="connsiteX14675" y="connsiteY14675"/>
                </a:cxn>
                <a:cxn ang="0">
                  <a:pos x="connsiteX14676" y="connsiteY14676"/>
                </a:cxn>
                <a:cxn ang="0">
                  <a:pos x="connsiteX14677" y="connsiteY14677"/>
                </a:cxn>
                <a:cxn ang="0">
                  <a:pos x="connsiteX14678" y="connsiteY14678"/>
                </a:cxn>
                <a:cxn ang="0">
                  <a:pos x="connsiteX14679" y="connsiteY14679"/>
                </a:cxn>
                <a:cxn ang="0">
                  <a:pos x="connsiteX14680" y="connsiteY14680"/>
                </a:cxn>
                <a:cxn ang="0">
                  <a:pos x="connsiteX14681" y="connsiteY14681"/>
                </a:cxn>
                <a:cxn ang="0">
                  <a:pos x="connsiteX14682" y="connsiteY14682"/>
                </a:cxn>
                <a:cxn ang="0">
                  <a:pos x="connsiteX14683" y="connsiteY14683"/>
                </a:cxn>
                <a:cxn ang="0">
                  <a:pos x="connsiteX14684" y="connsiteY14684"/>
                </a:cxn>
                <a:cxn ang="0">
                  <a:pos x="connsiteX14685" y="connsiteY14685"/>
                </a:cxn>
                <a:cxn ang="0">
                  <a:pos x="connsiteX14686" y="connsiteY14686"/>
                </a:cxn>
                <a:cxn ang="0">
                  <a:pos x="connsiteX14687" y="connsiteY14687"/>
                </a:cxn>
                <a:cxn ang="0">
                  <a:pos x="connsiteX14688" y="connsiteY14688"/>
                </a:cxn>
                <a:cxn ang="0">
                  <a:pos x="connsiteX14689" y="connsiteY14689"/>
                </a:cxn>
                <a:cxn ang="0">
                  <a:pos x="connsiteX14690" y="connsiteY14690"/>
                </a:cxn>
                <a:cxn ang="0">
                  <a:pos x="connsiteX14691" y="connsiteY14691"/>
                </a:cxn>
                <a:cxn ang="0">
                  <a:pos x="connsiteX14692" y="connsiteY14692"/>
                </a:cxn>
                <a:cxn ang="0">
                  <a:pos x="connsiteX14693" y="connsiteY14693"/>
                </a:cxn>
                <a:cxn ang="0">
                  <a:pos x="connsiteX14694" y="connsiteY14694"/>
                </a:cxn>
                <a:cxn ang="0">
                  <a:pos x="connsiteX14695" y="connsiteY14695"/>
                </a:cxn>
                <a:cxn ang="0">
                  <a:pos x="connsiteX14696" y="connsiteY14696"/>
                </a:cxn>
                <a:cxn ang="0">
                  <a:pos x="connsiteX14697" y="connsiteY14697"/>
                </a:cxn>
                <a:cxn ang="0">
                  <a:pos x="connsiteX14698" y="connsiteY14698"/>
                </a:cxn>
                <a:cxn ang="0">
                  <a:pos x="connsiteX14699" y="connsiteY14699"/>
                </a:cxn>
                <a:cxn ang="0">
                  <a:pos x="connsiteX14700" y="connsiteY14700"/>
                </a:cxn>
                <a:cxn ang="0">
                  <a:pos x="connsiteX14701" y="connsiteY14701"/>
                </a:cxn>
                <a:cxn ang="0">
                  <a:pos x="connsiteX14702" y="connsiteY14702"/>
                </a:cxn>
                <a:cxn ang="0">
                  <a:pos x="connsiteX14703" y="connsiteY14703"/>
                </a:cxn>
                <a:cxn ang="0">
                  <a:pos x="connsiteX14704" y="connsiteY14704"/>
                </a:cxn>
                <a:cxn ang="0">
                  <a:pos x="connsiteX14705" y="connsiteY14705"/>
                </a:cxn>
                <a:cxn ang="0">
                  <a:pos x="connsiteX14706" y="connsiteY14706"/>
                </a:cxn>
                <a:cxn ang="0">
                  <a:pos x="connsiteX14707" y="connsiteY14707"/>
                </a:cxn>
                <a:cxn ang="0">
                  <a:pos x="connsiteX14708" y="connsiteY14708"/>
                </a:cxn>
                <a:cxn ang="0">
                  <a:pos x="connsiteX14709" y="connsiteY14709"/>
                </a:cxn>
                <a:cxn ang="0">
                  <a:pos x="connsiteX14710" y="connsiteY14710"/>
                </a:cxn>
                <a:cxn ang="0">
                  <a:pos x="connsiteX14711" y="connsiteY14711"/>
                </a:cxn>
                <a:cxn ang="0">
                  <a:pos x="connsiteX14712" y="connsiteY14712"/>
                </a:cxn>
                <a:cxn ang="0">
                  <a:pos x="connsiteX14713" y="connsiteY14713"/>
                </a:cxn>
                <a:cxn ang="0">
                  <a:pos x="connsiteX14714" y="connsiteY14714"/>
                </a:cxn>
                <a:cxn ang="0">
                  <a:pos x="connsiteX14715" y="connsiteY14715"/>
                </a:cxn>
                <a:cxn ang="0">
                  <a:pos x="connsiteX14716" y="connsiteY14716"/>
                </a:cxn>
                <a:cxn ang="0">
                  <a:pos x="connsiteX14717" y="connsiteY14717"/>
                </a:cxn>
                <a:cxn ang="0">
                  <a:pos x="connsiteX14718" y="connsiteY14718"/>
                </a:cxn>
                <a:cxn ang="0">
                  <a:pos x="connsiteX14719" y="connsiteY14719"/>
                </a:cxn>
                <a:cxn ang="0">
                  <a:pos x="connsiteX14720" y="connsiteY14720"/>
                </a:cxn>
                <a:cxn ang="0">
                  <a:pos x="connsiteX14721" y="connsiteY14721"/>
                </a:cxn>
                <a:cxn ang="0">
                  <a:pos x="connsiteX14722" y="connsiteY14722"/>
                </a:cxn>
                <a:cxn ang="0">
                  <a:pos x="connsiteX14723" y="connsiteY14723"/>
                </a:cxn>
                <a:cxn ang="0">
                  <a:pos x="connsiteX14724" y="connsiteY14724"/>
                </a:cxn>
                <a:cxn ang="0">
                  <a:pos x="connsiteX14725" y="connsiteY14725"/>
                </a:cxn>
                <a:cxn ang="0">
                  <a:pos x="connsiteX14726" y="connsiteY14726"/>
                </a:cxn>
                <a:cxn ang="0">
                  <a:pos x="connsiteX14727" y="connsiteY14727"/>
                </a:cxn>
                <a:cxn ang="0">
                  <a:pos x="connsiteX14728" y="connsiteY14728"/>
                </a:cxn>
                <a:cxn ang="0">
                  <a:pos x="connsiteX14729" y="connsiteY14729"/>
                </a:cxn>
                <a:cxn ang="0">
                  <a:pos x="connsiteX14730" y="connsiteY14730"/>
                </a:cxn>
                <a:cxn ang="0">
                  <a:pos x="connsiteX14731" y="connsiteY14731"/>
                </a:cxn>
                <a:cxn ang="0">
                  <a:pos x="connsiteX14732" y="connsiteY14732"/>
                </a:cxn>
                <a:cxn ang="0">
                  <a:pos x="connsiteX14733" y="connsiteY14733"/>
                </a:cxn>
                <a:cxn ang="0">
                  <a:pos x="connsiteX14734" y="connsiteY14734"/>
                </a:cxn>
                <a:cxn ang="0">
                  <a:pos x="connsiteX14735" y="connsiteY14735"/>
                </a:cxn>
                <a:cxn ang="0">
                  <a:pos x="connsiteX14736" y="connsiteY14736"/>
                </a:cxn>
                <a:cxn ang="0">
                  <a:pos x="connsiteX14737" y="connsiteY14737"/>
                </a:cxn>
                <a:cxn ang="0">
                  <a:pos x="connsiteX14738" y="connsiteY14738"/>
                </a:cxn>
                <a:cxn ang="0">
                  <a:pos x="connsiteX14739" y="connsiteY14739"/>
                </a:cxn>
                <a:cxn ang="0">
                  <a:pos x="connsiteX14740" y="connsiteY14740"/>
                </a:cxn>
                <a:cxn ang="0">
                  <a:pos x="connsiteX14741" y="connsiteY14741"/>
                </a:cxn>
                <a:cxn ang="0">
                  <a:pos x="connsiteX14742" y="connsiteY14742"/>
                </a:cxn>
                <a:cxn ang="0">
                  <a:pos x="connsiteX14743" y="connsiteY14743"/>
                </a:cxn>
                <a:cxn ang="0">
                  <a:pos x="connsiteX14744" y="connsiteY14744"/>
                </a:cxn>
                <a:cxn ang="0">
                  <a:pos x="connsiteX14745" y="connsiteY14745"/>
                </a:cxn>
                <a:cxn ang="0">
                  <a:pos x="connsiteX14746" y="connsiteY14746"/>
                </a:cxn>
                <a:cxn ang="0">
                  <a:pos x="connsiteX14747" y="connsiteY14747"/>
                </a:cxn>
                <a:cxn ang="0">
                  <a:pos x="connsiteX14748" y="connsiteY14748"/>
                </a:cxn>
                <a:cxn ang="0">
                  <a:pos x="connsiteX14749" y="connsiteY14749"/>
                </a:cxn>
                <a:cxn ang="0">
                  <a:pos x="connsiteX14750" y="connsiteY14750"/>
                </a:cxn>
                <a:cxn ang="0">
                  <a:pos x="connsiteX14751" y="connsiteY14751"/>
                </a:cxn>
                <a:cxn ang="0">
                  <a:pos x="connsiteX14752" y="connsiteY14752"/>
                </a:cxn>
                <a:cxn ang="0">
                  <a:pos x="connsiteX14753" y="connsiteY14753"/>
                </a:cxn>
                <a:cxn ang="0">
                  <a:pos x="connsiteX14754" y="connsiteY14754"/>
                </a:cxn>
                <a:cxn ang="0">
                  <a:pos x="connsiteX14755" y="connsiteY14755"/>
                </a:cxn>
                <a:cxn ang="0">
                  <a:pos x="connsiteX14756" y="connsiteY14756"/>
                </a:cxn>
                <a:cxn ang="0">
                  <a:pos x="connsiteX14757" y="connsiteY14757"/>
                </a:cxn>
                <a:cxn ang="0">
                  <a:pos x="connsiteX14758" y="connsiteY14758"/>
                </a:cxn>
                <a:cxn ang="0">
                  <a:pos x="connsiteX14759" y="connsiteY14759"/>
                </a:cxn>
                <a:cxn ang="0">
                  <a:pos x="connsiteX14760" y="connsiteY14760"/>
                </a:cxn>
                <a:cxn ang="0">
                  <a:pos x="connsiteX14761" y="connsiteY14761"/>
                </a:cxn>
                <a:cxn ang="0">
                  <a:pos x="connsiteX14762" y="connsiteY14762"/>
                </a:cxn>
                <a:cxn ang="0">
                  <a:pos x="connsiteX14763" y="connsiteY14763"/>
                </a:cxn>
                <a:cxn ang="0">
                  <a:pos x="connsiteX14764" y="connsiteY14764"/>
                </a:cxn>
                <a:cxn ang="0">
                  <a:pos x="connsiteX14765" y="connsiteY14765"/>
                </a:cxn>
                <a:cxn ang="0">
                  <a:pos x="connsiteX14766" y="connsiteY14766"/>
                </a:cxn>
                <a:cxn ang="0">
                  <a:pos x="connsiteX14767" y="connsiteY14767"/>
                </a:cxn>
                <a:cxn ang="0">
                  <a:pos x="connsiteX14768" y="connsiteY14768"/>
                </a:cxn>
                <a:cxn ang="0">
                  <a:pos x="connsiteX14769" y="connsiteY14769"/>
                </a:cxn>
                <a:cxn ang="0">
                  <a:pos x="connsiteX14770" y="connsiteY14770"/>
                </a:cxn>
                <a:cxn ang="0">
                  <a:pos x="connsiteX14771" y="connsiteY14771"/>
                </a:cxn>
                <a:cxn ang="0">
                  <a:pos x="connsiteX14772" y="connsiteY14772"/>
                </a:cxn>
                <a:cxn ang="0">
                  <a:pos x="connsiteX14773" y="connsiteY14773"/>
                </a:cxn>
                <a:cxn ang="0">
                  <a:pos x="connsiteX14774" y="connsiteY14774"/>
                </a:cxn>
                <a:cxn ang="0">
                  <a:pos x="connsiteX14775" y="connsiteY14775"/>
                </a:cxn>
                <a:cxn ang="0">
                  <a:pos x="connsiteX14776" y="connsiteY14776"/>
                </a:cxn>
                <a:cxn ang="0">
                  <a:pos x="connsiteX14777" y="connsiteY14777"/>
                </a:cxn>
                <a:cxn ang="0">
                  <a:pos x="connsiteX14778" y="connsiteY14778"/>
                </a:cxn>
                <a:cxn ang="0">
                  <a:pos x="connsiteX14779" y="connsiteY14779"/>
                </a:cxn>
                <a:cxn ang="0">
                  <a:pos x="connsiteX14780" y="connsiteY14780"/>
                </a:cxn>
                <a:cxn ang="0">
                  <a:pos x="connsiteX14781" y="connsiteY14781"/>
                </a:cxn>
                <a:cxn ang="0">
                  <a:pos x="connsiteX14782" y="connsiteY14782"/>
                </a:cxn>
                <a:cxn ang="0">
                  <a:pos x="connsiteX14783" y="connsiteY14783"/>
                </a:cxn>
                <a:cxn ang="0">
                  <a:pos x="connsiteX14784" y="connsiteY14784"/>
                </a:cxn>
                <a:cxn ang="0">
                  <a:pos x="connsiteX14785" y="connsiteY14785"/>
                </a:cxn>
                <a:cxn ang="0">
                  <a:pos x="connsiteX14786" y="connsiteY14786"/>
                </a:cxn>
                <a:cxn ang="0">
                  <a:pos x="connsiteX14787" y="connsiteY14787"/>
                </a:cxn>
                <a:cxn ang="0">
                  <a:pos x="connsiteX14788" y="connsiteY14788"/>
                </a:cxn>
                <a:cxn ang="0">
                  <a:pos x="connsiteX14789" y="connsiteY14789"/>
                </a:cxn>
                <a:cxn ang="0">
                  <a:pos x="connsiteX14790" y="connsiteY14790"/>
                </a:cxn>
                <a:cxn ang="0">
                  <a:pos x="connsiteX14791" y="connsiteY14791"/>
                </a:cxn>
                <a:cxn ang="0">
                  <a:pos x="connsiteX14792" y="connsiteY14792"/>
                </a:cxn>
                <a:cxn ang="0">
                  <a:pos x="connsiteX14793" y="connsiteY14793"/>
                </a:cxn>
                <a:cxn ang="0">
                  <a:pos x="connsiteX14794" y="connsiteY14794"/>
                </a:cxn>
                <a:cxn ang="0">
                  <a:pos x="connsiteX14795" y="connsiteY14795"/>
                </a:cxn>
                <a:cxn ang="0">
                  <a:pos x="connsiteX14796" y="connsiteY14796"/>
                </a:cxn>
                <a:cxn ang="0">
                  <a:pos x="connsiteX14797" y="connsiteY14797"/>
                </a:cxn>
                <a:cxn ang="0">
                  <a:pos x="connsiteX14798" y="connsiteY14798"/>
                </a:cxn>
                <a:cxn ang="0">
                  <a:pos x="connsiteX14799" y="connsiteY14799"/>
                </a:cxn>
                <a:cxn ang="0">
                  <a:pos x="connsiteX14800" y="connsiteY14800"/>
                </a:cxn>
                <a:cxn ang="0">
                  <a:pos x="connsiteX14801" y="connsiteY14801"/>
                </a:cxn>
                <a:cxn ang="0">
                  <a:pos x="connsiteX14802" y="connsiteY14802"/>
                </a:cxn>
                <a:cxn ang="0">
                  <a:pos x="connsiteX14803" y="connsiteY14803"/>
                </a:cxn>
                <a:cxn ang="0">
                  <a:pos x="connsiteX14804" y="connsiteY14804"/>
                </a:cxn>
                <a:cxn ang="0">
                  <a:pos x="connsiteX14805" y="connsiteY14805"/>
                </a:cxn>
                <a:cxn ang="0">
                  <a:pos x="connsiteX14806" y="connsiteY14806"/>
                </a:cxn>
                <a:cxn ang="0">
                  <a:pos x="connsiteX14807" y="connsiteY14807"/>
                </a:cxn>
                <a:cxn ang="0">
                  <a:pos x="connsiteX14808" y="connsiteY14808"/>
                </a:cxn>
                <a:cxn ang="0">
                  <a:pos x="connsiteX14809" y="connsiteY14809"/>
                </a:cxn>
                <a:cxn ang="0">
                  <a:pos x="connsiteX14810" y="connsiteY14810"/>
                </a:cxn>
                <a:cxn ang="0">
                  <a:pos x="connsiteX14811" y="connsiteY14811"/>
                </a:cxn>
                <a:cxn ang="0">
                  <a:pos x="connsiteX14812" y="connsiteY14812"/>
                </a:cxn>
                <a:cxn ang="0">
                  <a:pos x="connsiteX14813" y="connsiteY14813"/>
                </a:cxn>
                <a:cxn ang="0">
                  <a:pos x="connsiteX14814" y="connsiteY14814"/>
                </a:cxn>
                <a:cxn ang="0">
                  <a:pos x="connsiteX14815" y="connsiteY14815"/>
                </a:cxn>
                <a:cxn ang="0">
                  <a:pos x="connsiteX14816" y="connsiteY14816"/>
                </a:cxn>
                <a:cxn ang="0">
                  <a:pos x="connsiteX14817" y="connsiteY14817"/>
                </a:cxn>
                <a:cxn ang="0">
                  <a:pos x="connsiteX14818" y="connsiteY14818"/>
                </a:cxn>
                <a:cxn ang="0">
                  <a:pos x="connsiteX14819" y="connsiteY14819"/>
                </a:cxn>
                <a:cxn ang="0">
                  <a:pos x="connsiteX14820" y="connsiteY14820"/>
                </a:cxn>
                <a:cxn ang="0">
                  <a:pos x="connsiteX14821" y="connsiteY14821"/>
                </a:cxn>
                <a:cxn ang="0">
                  <a:pos x="connsiteX14822" y="connsiteY14822"/>
                </a:cxn>
                <a:cxn ang="0">
                  <a:pos x="connsiteX14823" y="connsiteY14823"/>
                </a:cxn>
                <a:cxn ang="0">
                  <a:pos x="connsiteX14824" y="connsiteY14824"/>
                </a:cxn>
                <a:cxn ang="0">
                  <a:pos x="connsiteX14825" y="connsiteY14825"/>
                </a:cxn>
                <a:cxn ang="0">
                  <a:pos x="connsiteX14826" y="connsiteY14826"/>
                </a:cxn>
                <a:cxn ang="0">
                  <a:pos x="connsiteX14827" y="connsiteY14827"/>
                </a:cxn>
                <a:cxn ang="0">
                  <a:pos x="connsiteX14828" y="connsiteY14828"/>
                </a:cxn>
                <a:cxn ang="0">
                  <a:pos x="connsiteX14829" y="connsiteY14829"/>
                </a:cxn>
                <a:cxn ang="0">
                  <a:pos x="connsiteX14830" y="connsiteY14830"/>
                </a:cxn>
                <a:cxn ang="0">
                  <a:pos x="connsiteX14831" y="connsiteY14831"/>
                </a:cxn>
                <a:cxn ang="0">
                  <a:pos x="connsiteX14832" y="connsiteY14832"/>
                </a:cxn>
                <a:cxn ang="0">
                  <a:pos x="connsiteX14833" y="connsiteY14833"/>
                </a:cxn>
                <a:cxn ang="0">
                  <a:pos x="connsiteX14834" y="connsiteY14834"/>
                </a:cxn>
                <a:cxn ang="0">
                  <a:pos x="connsiteX14835" y="connsiteY14835"/>
                </a:cxn>
                <a:cxn ang="0">
                  <a:pos x="connsiteX14836" y="connsiteY14836"/>
                </a:cxn>
                <a:cxn ang="0">
                  <a:pos x="connsiteX14837" y="connsiteY14837"/>
                </a:cxn>
                <a:cxn ang="0">
                  <a:pos x="connsiteX14838" y="connsiteY14838"/>
                </a:cxn>
                <a:cxn ang="0">
                  <a:pos x="connsiteX14839" y="connsiteY14839"/>
                </a:cxn>
                <a:cxn ang="0">
                  <a:pos x="connsiteX14840" y="connsiteY14840"/>
                </a:cxn>
                <a:cxn ang="0">
                  <a:pos x="connsiteX14841" y="connsiteY14841"/>
                </a:cxn>
                <a:cxn ang="0">
                  <a:pos x="connsiteX14842" y="connsiteY14842"/>
                </a:cxn>
                <a:cxn ang="0">
                  <a:pos x="connsiteX14843" y="connsiteY14843"/>
                </a:cxn>
                <a:cxn ang="0">
                  <a:pos x="connsiteX14844" y="connsiteY14844"/>
                </a:cxn>
                <a:cxn ang="0">
                  <a:pos x="connsiteX14845" y="connsiteY14845"/>
                </a:cxn>
                <a:cxn ang="0">
                  <a:pos x="connsiteX14846" y="connsiteY14846"/>
                </a:cxn>
                <a:cxn ang="0">
                  <a:pos x="connsiteX14847" y="connsiteY14847"/>
                </a:cxn>
                <a:cxn ang="0">
                  <a:pos x="connsiteX14848" y="connsiteY14848"/>
                </a:cxn>
                <a:cxn ang="0">
                  <a:pos x="connsiteX14849" y="connsiteY14849"/>
                </a:cxn>
                <a:cxn ang="0">
                  <a:pos x="connsiteX14850" y="connsiteY14850"/>
                </a:cxn>
                <a:cxn ang="0">
                  <a:pos x="connsiteX14851" y="connsiteY14851"/>
                </a:cxn>
                <a:cxn ang="0">
                  <a:pos x="connsiteX14852" y="connsiteY14852"/>
                </a:cxn>
                <a:cxn ang="0">
                  <a:pos x="connsiteX14853" y="connsiteY14853"/>
                </a:cxn>
                <a:cxn ang="0">
                  <a:pos x="connsiteX14854" y="connsiteY14854"/>
                </a:cxn>
                <a:cxn ang="0">
                  <a:pos x="connsiteX14855" y="connsiteY14855"/>
                </a:cxn>
                <a:cxn ang="0">
                  <a:pos x="connsiteX14856" y="connsiteY14856"/>
                </a:cxn>
                <a:cxn ang="0">
                  <a:pos x="connsiteX14857" y="connsiteY14857"/>
                </a:cxn>
                <a:cxn ang="0">
                  <a:pos x="connsiteX14858" y="connsiteY14858"/>
                </a:cxn>
                <a:cxn ang="0">
                  <a:pos x="connsiteX14859" y="connsiteY14859"/>
                </a:cxn>
                <a:cxn ang="0">
                  <a:pos x="connsiteX14860" y="connsiteY14860"/>
                </a:cxn>
                <a:cxn ang="0">
                  <a:pos x="connsiteX14861" y="connsiteY14861"/>
                </a:cxn>
                <a:cxn ang="0">
                  <a:pos x="connsiteX14862" y="connsiteY14862"/>
                </a:cxn>
                <a:cxn ang="0">
                  <a:pos x="connsiteX14863" y="connsiteY14863"/>
                </a:cxn>
                <a:cxn ang="0">
                  <a:pos x="connsiteX14864" y="connsiteY14864"/>
                </a:cxn>
                <a:cxn ang="0">
                  <a:pos x="connsiteX14865" y="connsiteY14865"/>
                </a:cxn>
                <a:cxn ang="0">
                  <a:pos x="connsiteX14866" y="connsiteY14866"/>
                </a:cxn>
                <a:cxn ang="0">
                  <a:pos x="connsiteX14867" y="connsiteY14867"/>
                </a:cxn>
                <a:cxn ang="0">
                  <a:pos x="connsiteX14868" y="connsiteY14868"/>
                </a:cxn>
                <a:cxn ang="0">
                  <a:pos x="connsiteX14869" y="connsiteY14869"/>
                </a:cxn>
                <a:cxn ang="0">
                  <a:pos x="connsiteX14870" y="connsiteY14870"/>
                </a:cxn>
                <a:cxn ang="0">
                  <a:pos x="connsiteX14871" y="connsiteY14871"/>
                </a:cxn>
                <a:cxn ang="0">
                  <a:pos x="connsiteX14872" y="connsiteY14872"/>
                </a:cxn>
                <a:cxn ang="0">
                  <a:pos x="connsiteX14873" y="connsiteY14873"/>
                </a:cxn>
                <a:cxn ang="0">
                  <a:pos x="connsiteX14874" y="connsiteY14874"/>
                </a:cxn>
                <a:cxn ang="0">
                  <a:pos x="connsiteX14875" y="connsiteY14875"/>
                </a:cxn>
                <a:cxn ang="0">
                  <a:pos x="connsiteX14876" y="connsiteY14876"/>
                </a:cxn>
                <a:cxn ang="0">
                  <a:pos x="connsiteX14877" y="connsiteY14877"/>
                </a:cxn>
                <a:cxn ang="0">
                  <a:pos x="connsiteX14878" y="connsiteY14878"/>
                </a:cxn>
                <a:cxn ang="0">
                  <a:pos x="connsiteX14879" y="connsiteY14879"/>
                </a:cxn>
                <a:cxn ang="0">
                  <a:pos x="connsiteX14880" y="connsiteY14880"/>
                </a:cxn>
                <a:cxn ang="0">
                  <a:pos x="connsiteX14881" y="connsiteY14881"/>
                </a:cxn>
                <a:cxn ang="0">
                  <a:pos x="connsiteX14882" y="connsiteY14882"/>
                </a:cxn>
                <a:cxn ang="0">
                  <a:pos x="connsiteX14883" y="connsiteY14883"/>
                </a:cxn>
                <a:cxn ang="0">
                  <a:pos x="connsiteX14884" y="connsiteY14884"/>
                </a:cxn>
                <a:cxn ang="0">
                  <a:pos x="connsiteX14885" y="connsiteY14885"/>
                </a:cxn>
                <a:cxn ang="0">
                  <a:pos x="connsiteX14886" y="connsiteY14886"/>
                </a:cxn>
                <a:cxn ang="0">
                  <a:pos x="connsiteX14887" y="connsiteY14887"/>
                </a:cxn>
                <a:cxn ang="0">
                  <a:pos x="connsiteX14888" y="connsiteY14888"/>
                </a:cxn>
                <a:cxn ang="0">
                  <a:pos x="connsiteX14889" y="connsiteY14889"/>
                </a:cxn>
                <a:cxn ang="0">
                  <a:pos x="connsiteX14890" y="connsiteY14890"/>
                </a:cxn>
                <a:cxn ang="0">
                  <a:pos x="connsiteX14891" y="connsiteY14891"/>
                </a:cxn>
                <a:cxn ang="0">
                  <a:pos x="connsiteX14892" y="connsiteY14892"/>
                </a:cxn>
                <a:cxn ang="0">
                  <a:pos x="connsiteX14893" y="connsiteY14893"/>
                </a:cxn>
                <a:cxn ang="0">
                  <a:pos x="connsiteX14894" y="connsiteY14894"/>
                </a:cxn>
                <a:cxn ang="0">
                  <a:pos x="connsiteX14895" y="connsiteY14895"/>
                </a:cxn>
                <a:cxn ang="0">
                  <a:pos x="connsiteX14896" y="connsiteY14896"/>
                </a:cxn>
                <a:cxn ang="0">
                  <a:pos x="connsiteX14897" y="connsiteY14897"/>
                </a:cxn>
                <a:cxn ang="0">
                  <a:pos x="connsiteX14898" y="connsiteY14898"/>
                </a:cxn>
                <a:cxn ang="0">
                  <a:pos x="connsiteX14899" y="connsiteY14899"/>
                </a:cxn>
                <a:cxn ang="0">
                  <a:pos x="connsiteX14900" y="connsiteY14900"/>
                </a:cxn>
                <a:cxn ang="0">
                  <a:pos x="connsiteX14901" y="connsiteY14901"/>
                </a:cxn>
                <a:cxn ang="0">
                  <a:pos x="connsiteX14902" y="connsiteY14902"/>
                </a:cxn>
                <a:cxn ang="0">
                  <a:pos x="connsiteX14903" y="connsiteY14903"/>
                </a:cxn>
                <a:cxn ang="0">
                  <a:pos x="connsiteX14904" y="connsiteY14904"/>
                </a:cxn>
                <a:cxn ang="0">
                  <a:pos x="connsiteX14905" y="connsiteY14905"/>
                </a:cxn>
                <a:cxn ang="0">
                  <a:pos x="connsiteX14906" y="connsiteY14906"/>
                </a:cxn>
                <a:cxn ang="0">
                  <a:pos x="connsiteX14907" y="connsiteY14907"/>
                </a:cxn>
                <a:cxn ang="0">
                  <a:pos x="connsiteX14908" y="connsiteY14908"/>
                </a:cxn>
                <a:cxn ang="0">
                  <a:pos x="connsiteX14909" y="connsiteY14909"/>
                </a:cxn>
                <a:cxn ang="0">
                  <a:pos x="connsiteX14910" y="connsiteY14910"/>
                </a:cxn>
                <a:cxn ang="0">
                  <a:pos x="connsiteX14911" y="connsiteY14911"/>
                </a:cxn>
                <a:cxn ang="0">
                  <a:pos x="connsiteX14912" y="connsiteY14912"/>
                </a:cxn>
                <a:cxn ang="0">
                  <a:pos x="connsiteX14913" y="connsiteY14913"/>
                </a:cxn>
                <a:cxn ang="0">
                  <a:pos x="connsiteX14914" y="connsiteY14914"/>
                </a:cxn>
                <a:cxn ang="0">
                  <a:pos x="connsiteX14915" y="connsiteY14915"/>
                </a:cxn>
                <a:cxn ang="0">
                  <a:pos x="connsiteX14916" y="connsiteY14916"/>
                </a:cxn>
                <a:cxn ang="0">
                  <a:pos x="connsiteX14917" y="connsiteY14917"/>
                </a:cxn>
                <a:cxn ang="0">
                  <a:pos x="connsiteX14918" y="connsiteY14918"/>
                </a:cxn>
                <a:cxn ang="0">
                  <a:pos x="connsiteX14919" y="connsiteY14919"/>
                </a:cxn>
                <a:cxn ang="0">
                  <a:pos x="connsiteX14920" y="connsiteY14920"/>
                </a:cxn>
                <a:cxn ang="0">
                  <a:pos x="connsiteX14921" y="connsiteY14921"/>
                </a:cxn>
                <a:cxn ang="0">
                  <a:pos x="connsiteX14922" y="connsiteY14922"/>
                </a:cxn>
                <a:cxn ang="0">
                  <a:pos x="connsiteX14923" y="connsiteY14923"/>
                </a:cxn>
                <a:cxn ang="0">
                  <a:pos x="connsiteX14924" y="connsiteY14924"/>
                </a:cxn>
                <a:cxn ang="0">
                  <a:pos x="connsiteX14925" y="connsiteY14925"/>
                </a:cxn>
                <a:cxn ang="0">
                  <a:pos x="connsiteX14926" y="connsiteY14926"/>
                </a:cxn>
                <a:cxn ang="0">
                  <a:pos x="connsiteX14927" y="connsiteY14927"/>
                </a:cxn>
                <a:cxn ang="0">
                  <a:pos x="connsiteX14928" y="connsiteY14928"/>
                </a:cxn>
                <a:cxn ang="0">
                  <a:pos x="connsiteX14929" y="connsiteY14929"/>
                </a:cxn>
                <a:cxn ang="0">
                  <a:pos x="connsiteX14930" y="connsiteY14930"/>
                </a:cxn>
                <a:cxn ang="0">
                  <a:pos x="connsiteX14931" y="connsiteY14931"/>
                </a:cxn>
                <a:cxn ang="0">
                  <a:pos x="connsiteX14932" y="connsiteY14932"/>
                </a:cxn>
                <a:cxn ang="0">
                  <a:pos x="connsiteX14933" y="connsiteY14933"/>
                </a:cxn>
                <a:cxn ang="0">
                  <a:pos x="connsiteX14934" y="connsiteY14934"/>
                </a:cxn>
                <a:cxn ang="0">
                  <a:pos x="connsiteX14935" y="connsiteY14935"/>
                </a:cxn>
                <a:cxn ang="0">
                  <a:pos x="connsiteX14936" y="connsiteY14936"/>
                </a:cxn>
                <a:cxn ang="0">
                  <a:pos x="connsiteX14937" y="connsiteY14937"/>
                </a:cxn>
                <a:cxn ang="0">
                  <a:pos x="connsiteX14938" y="connsiteY14938"/>
                </a:cxn>
                <a:cxn ang="0">
                  <a:pos x="connsiteX14939" y="connsiteY14939"/>
                </a:cxn>
                <a:cxn ang="0">
                  <a:pos x="connsiteX14940" y="connsiteY14940"/>
                </a:cxn>
                <a:cxn ang="0">
                  <a:pos x="connsiteX14941" y="connsiteY14941"/>
                </a:cxn>
                <a:cxn ang="0">
                  <a:pos x="connsiteX14942" y="connsiteY14942"/>
                </a:cxn>
                <a:cxn ang="0">
                  <a:pos x="connsiteX14943" y="connsiteY14943"/>
                </a:cxn>
                <a:cxn ang="0">
                  <a:pos x="connsiteX14944" y="connsiteY14944"/>
                </a:cxn>
                <a:cxn ang="0">
                  <a:pos x="connsiteX14945" y="connsiteY14945"/>
                </a:cxn>
                <a:cxn ang="0">
                  <a:pos x="connsiteX14946" y="connsiteY14946"/>
                </a:cxn>
                <a:cxn ang="0">
                  <a:pos x="connsiteX14947" y="connsiteY14947"/>
                </a:cxn>
                <a:cxn ang="0">
                  <a:pos x="connsiteX14948" y="connsiteY14948"/>
                </a:cxn>
                <a:cxn ang="0">
                  <a:pos x="connsiteX14949" y="connsiteY14949"/>
                </a:cxn>
                <a:cxn ang="0">
                  <a:pos x="connsiteX14950" y="connsiteY14950"/>
                </a:cxn>
                <a:cxn ang="0">
                  <a:pos x="connsiteX14951" y="connsiteY14951"/>
                </a:cxn>
                <a:cxn ang="0">
                  <a:pos x="connsiteX14952" y="connsiteY14952"/>
                </a:cxn>
                <a:cxn ang="0">
                  <a:pos x="connsiteX14953" y="connsiteY14953"/>
                </a:cxn>
                <a:cxn ang="0">
                  <a:pos x="connsiteX14954" y="connsiteY14954"/>
                </a:cxn>
                <a:cxn ang="0">
                  <a:pos x="connsiteX14955" y="connsiteY14955"/>
                </a:cxn>
                <a:cxn ang="0">
                  <a:pos x="connsiteX14956" y="connsiteY14956"/>
                </a:cxn>
                <a:cxn ang="0">
                  <a:pos x="connsiteX14957" y="connsiteY14957"/>
                </a:cxn>
                <a:cxn ang="0">
                  <a:pos x="connsiteX14958" y="connsiteY14958"/>
                </a:cxn>
                <a:cxn ang="0">
                  <a:pos x="connsiteX14959" y="connsiteY14959"/>
                </a:cxn>
                <a:cxn ang="0">
                  <a:pos x="connsiteX14960" y="connsiteY14960"/>
                </a:cxn>
                <a:cxn ang="0">
                  <a:pos x="connsiteX14961" y="connsiteY14961"/>
                </a:cxn>
                <a:cxn ang="0">
                  <a:pos x="connsiteX14962" y="connsiteY14962"/>
                </a:cxn>
                <a:cxn ang="0">
                  <a:pos x="connsiteX14963" y="connsiteY14963"/>
                </a:cxn>
                <a:cxn ang="0">
                  <a:pos x="connsiteX14964" y="connsiteY14964"/>
                </a:cxn>
                <a:cxn ang="0">
                  <a:pos x="connsiteX14965" y="connsiteY14965"/>
                </a:cxn>
                <a:cxn ang="0">
                  <a:pos x="connsiteX14966" y="connsiteY14966"/>
                </a:cxn>
                <a:cxn ang="0">
                  <a:pos x="connsiteX14967" y="connsiteY14967"/>
                </a:cxn>
                <a:cxn ang="0">
                  <a:pos x="connsiteX14968" y="connsiteY14968"/>
                </a:cxn>
                <a:cxn ang="0">
                  <a:pos x="connsiteX14969" y="connsiteY14969"/>
                </a:cxn>
                <a:cxn ang="0">
                  <a:pos x="connsiteX14970" y="connsiteY14970"/>
                </a:cxn>
                <a:cxn ang="0">
                  <a:pos x="connsiteX14971" y="connsiteY14971"/>
                </a:cxn>
                <a:cxn ang="0">
                  <a:pos x="connsiteX14972" y="connsiteY14972"/>
                </a:cxn>
                <a:cxn ang="0">
                  <a:pos x="connsiteX14973" y="connsiteY14973"/>
                </a:cxn>
                <a:cxn ang="0">
                  <a:pos x="connsiteX14974" y="connsiteY14974"/>
                </a:cxn>
                <a:cxn ang="0">
                  <a:pos x="connsiteX14975" y="connsiteY14975"/>
                </a:cxn>
                <a:cxn ang="0">
                  <a:pos x="connsiteX14976" y="connsiteY14976"/>
                </a:cxn>
                <a:cxn ang="0">
                  <a:pos x="connsiteX14977" y="connsiteY14977"/>
                </a:cxn>
                <a:cxn ang="0">
                  <a:pos x="connsiteX14978" y="connsiteY14978"/>
                </a:cxn>
                <a:cxn ang="0">
                  <a:pos x="connsiteX14979" y="connsiteY14979"/>
                </a:cxn>
                <a:cxn ang="0">
                  <a:pos x="connsiteX14980" y="connsiteY14980"/>
                </a:cxn>
                <a:cxn ang="0">
                  <a:pos x="connsiteX14981" y="connsiteY14981"/>
                </a:cxn>
                <a:cxn ang="0">
                  <a:pos x="connsiteX14982" y="connsiteY14982"/>
                </a:cxn>
                <a:cxn ang="0">
                  <a:pos x="connsiteX14983" y="connsiteY14983"/>
                </a:cxn>
                <a:cxn ang="0">
                  <a:pos x="connsiteX14984" y="connsiteY14984"/>
                </a:cxn>
                <a:cxn ang="0">
                  <a:pos x="connsiteX14985" y="connsiteY14985"/>
                </a:cxn>
                <a:cxn ang="0">
                  <a:pos x="connsiteX14986" y="connsiteY14986"/>
                </a:cxn>
                <a:cxn ang="0">
                  <a:pos x="connsiteX14987" y="connsiteY14987"/>
                </a:cxn>
                <a:cxn ang="0">
                  <a:pos x="connsiteX14988" y="connsiteY14988"/>
                </a:cxn>
                <a:cxn ang="0">
                  <a:pos x="connsiteX14989" y="connsiteY14989"/>
                </a:cxn>
                <a:cxn ang="0">
                  <a:pos x="connsiteX14990" y="connsiteY14990"/>
                </a:cxn>
                <a:cxn ang="0">
                  <a:pos x="connsiteX14991" y="connsiteY14991"/>
                </a:cxn>
                <a:cxn ang="0">
                  <a:pos x="connsiteX14992" y="connsiteY14992"/>
                </a:cxn>
                <a:cxn ang="0">
                  <a:pos x="connsiteX14993" y="connsiteY14993"/>
                </a:cxn>
                <a:cxn ang="0">
                  <a:pos x="connsiteX14994" y="connsiteY14994"/>
                </a:cxn>
                <a:cxn ang="0">
                  <a:pos x="connsiteX14995" y="connsiteY14995"/>
                </a:cxn>
                <a:cxn ang="0">
                  <a:pos x="connsiteX14996" y="connsiteY14996"/>
                </a:cxn>
                <a:cxn ang="0">
                  <a:pos x="connsiteX14997" y="connsiteY14997"/>
                </a:cxn>
                <a:cxn ang="0">
                  <a:pos x="connsiteX14998" y="connsiteY14998"/>
                </a:cxn>
                <a:cxn ang="0">
                  <a:pos x="connsiteX14999" y="connsiteY14999"/>
                </a:cxn>
                <a:cxn ang="0">
                  <a:pos x="connsiteX15000" y="connsiteY15000"/>
                </a:cxn>
                <a:cxn ang="0">
                  <a:pos x="connsiteX15001" y="connsiteY15001"/>
                </a:cxn>
                <a:cxn ang="0">
                  <a:pos x="connsiteX15002" y="connsiteY15002"/>
                </a:cxn>
                <a:cxn ang="0">
                  <a:pos x="connsiteX15003" y="connsiteY15003"/>
                </a:cxn>
                <a:cxn ang="0">
                  <a:pos x="connsiteX15004" y="connsiteY15004"/>
                </a:cxn>
                <a:cxn ang="0">
                  <a:pos x="connsiteX15005" y="connsiteY15005"/>
                </a:cxn>
                <a:cxn ang="0">
                  <a:pos x="connsiteX15006" y="connsiteY15006"/>
                </a:cxn>
                <a:cxn ang="0">
                  <a:pos x="connsiteX15007" y="connsiteY15007"/>
                </a:cxn>
                <a:cxn ang="0">
                  <a:pos x="connsiteX15008" y="connsiteY15008"/>
                </a:cxn>
                <a:cxn ang="0">
                  <a:pos x="connsiteX15009" y="connsiteY15009"/>
                </a:cxn>
                <a:cxn ang="0">
                  <a:pos x="connsiteX15010" y="connsiteY15010"/>
                </a:cxn>
                <a:cxn ang="0">
                  <a:pos x="connsiteX15011" y="connsiteY15011"/>
                </a:cxn>
                <a:cxn ang="0">
                  <a:pos x="connsiteX15012" y="connsiteY15012"/>
                </a:cxn>
                <a:cxn ang="0">
                  <a:pos x="connsiteX15013" y="connsiteY15013"/>
                </a:cxn>
                <a:cxn ang="0">
                  <a:pos x="connsiteX15014" y="connsiteY15014"/>
                </a:cxn>
                <a:cxn ang="0">
                  <a:pos x="connsiteX15015" y="connsiteY15015"/>
                </a:cxn>
                <a:cxn ang="0">
                  <a:pos x="connsiteX15016" y="connsiteY15016"/>
                </a:cxn>
                <a:cxn ang="0">
                  <a:pos x="connsiteX15017" y="connsiteY15017"/>
                </a:cxn>
                <a:cxn ang="0">
                  <a:pos x="connsiteX15018" y="connsiteY15018"/>
                </a:cxn>
                <a:cxn ang="0">
                  <a:pos x="connsiteX15019" y="connsiteY15019"/>
                </a:cxn>
                <a:cxn ang="0">
                  <a:pos x="connsiteX15020" y="connsiteY15020"/>
                </a:cxn>
                <a:cxn ang="0">
                  <a:pos x="connsiteX15021" y="connsiteY15021"/>
                </a:cxn>
                <a:cxn ang="0">
                  <a:pos x="connsiteX15022" y="connsiteY15022"/>
                </a:cxn>
                <a:cxn ang="0">
                  <a:pos x="connsiteX15023" y="connsiteY15023"/>
                </a:cxn>
                <a:cxn ang="0">
                  <a:pos x="connsiteX15024" y="connsiteY15024"/>
                </a:cxn>
                <a:cxn ang="0">
                  <a:pos x="connsiteX15025" y="connsiteY15025"/>
                </a:cxn>
                <a:cxn ang="0">
                  <a:pos x="connsiteX15026" y="connsiteY15026"/>
                </a:cxn>
                <a:cxn ang="0">
                  <a:pos x="connsiteX15027" y="connsiteY15027"/>
                </a:cxn>
                <a:cxn ang="0">
                  <a:pos x="connsiteX15028" y="connsiteY15028"/>
                </a:cxn>
                <a:cxn ang="0">
                  <a:pos x="connsiteX15029" y="connsiteY15029"/>
                </a:cxn>
                <a:cxn ang="0">
                  <a:pos x="connsiteX15030" y="connsiteY15030"/>
                </a:cxn>
                <a:cxn ang="0">
                  <a:pos x="connsiteX15031" y="connsiteY15031"/>
                </a:cxn>
                <a:cxn ang="0">
                  <a:pos x="connsiteX15032" y="connsiteY15032"/>
                </a:cxn>
                <a:cxn ang="0">
                  <a:pos x="connsiteX15033" y="connsiteY15033"/>
                </a:cxn>
                <a:cxn ang="0">
                  <a:pos x="connsiteX15034" y="connsiteY15034"/>
                </a:cxn>
                <a:cxn ang="0">
                  <a:pos x="connsiteX15035" y="connsiteY15035"/>
                </a:cxn>
                <a:cxn ang="0">
                  <a:pos x="connsiteX15036" y="connsiteY15036"/>
                </a:cxn>
                <a:cxn ang="0">
                  <a:pos x="connsiteX15037" y="connsiteY15037"/>
                </a:cxn>
                <a:cxn ang="0">
                  <a:pos x="connsiteX15038" y="connsiteY15038"/>
                </a:cxn>
                <a:cxn ang="0">
                  <a:pos x="connsiteX15039" y="connsiteY15039"/>
                </a:cxn>
                <a:cxn ang="0">
                  <a:pos x="connsiteX15040" y="connsiteY15040"/>
                </a:cxn>
                <a:cxn ang="0">
                  <a:pos x="connsiteX15041" y="connsiteY15041"/>
                </a:cxn>
                <a:cxn ang="0">
                  <a:pos x="connsiteX15042" y="connsiteY15042"/>
                </a:cxn>
                <a:cxn ang="0">
                  <a:pos x="connsiteX15043" y="connsiteY15043"/>
                </a:cxn>
                <a:cxn ang="0">
                  <a:pos x="connsiteX15044" y="connsiteY15044"/>
                </a:cxn>
                <a:cxn ang="0">
                  <a:pos x="connsiteX15045" y="connsiteY15045"/>
                </a:cxn>
                <a:cxn ang="0">
                  <a:pos x="connsiteX15046" y="connsiteY15046"/>
                </a:cxn>
                <a:cxn ang="0">
                  <a:pos x="connsiteX15047" y="connsiteY15047"/>
                </a:cxn>
                <a:cxn ang="0">
                  <a:pos x="connsiteX15048" y="connsiteY15048"/>
                </a:cxn>
                <a:cxn ang="0">
                  <a:pos x="connsiteX15049" y="connsiteY15049"/>
                </a:cxn>
                <a:cxn ang="0">
                  <a:pos x="connsiteX15050" y="connsiteY15050"/>
                </a:cxn>
                <a:cxn ang="0">
                  <a:pos x="connsiteX15051" y="connsiteY15051"/>
                </a:cxn>
                <a:cxn ang="0">
                  <a:pos x="connsiteX15052" y="connsiteY15052"/>
                </a:cxn>
                <a:cxn ang="0">
                  <a:pos x="connsiteX15053" y="connsiteY15053"/>
                </a:cxn>
                <a:cxn ang="0">
                  <a:pos x="connsiteX15054" y="connsiteY15054"/>
                </a:cxn>
                <a:cxn ang="0">
                  <a:pos x="connsiteX15055" y="connsiteY15055"/>
                </a:cxn>
                <a:cxn ang="0">
                  <a:pos x="connsiteX15056" y="connsiteY15056"/>
                </a:cxn>
                <a:cxn ang="0">
                  <a:pos x="connsiteX15057" y="connsiteY15057"/>
                </a:cxn>
                <a:cxn ang="0">
                  <a:pos x="connsiteX15058" y="connsiteY15058"/>
                </a:cxn>
                <a:cxn ang="0">
                  <a:pos x="connsiteX15059" y="connsiteY15059"/>
                </a:cxn>
                <a:cxn ang="0">
                  <a:pos x="connsiteX15060" y="connsiteY15060"/>
                </a:cxn>
                <a:cxn ang="0">
                  <a:pos x="connsiteX15061" y="connsiteY15061"/>
                </a:cxn>
                <a:cxn ang="0">
                  <a:pos x="connsiteX15062" y="connsiteY15062"/>
                </a:cxn>
                <a:cxn ang="0">
                  <a:pos x="connsiteX15063" y="connsiteY15063"/>
                </a:cxn>
                <a:cxn ang="0">
                  <a:pos x="connsiteX15064" y="connsiteY15064"/>
                </a:cxn>
                <a:cxn ang="0">
                  <a:pos x="connsiteX15065" y="connsiteY15065"/>
                </a:cxn>
                <a:cxn ang="0">
                  <a:pos x="connsiteX15066" y="connsiteY15066"/>
                </a:cxn>
                <a:cxn ang="0">
                  <a:pos x="connsiteX15067" y="connsiteY15067"/>
                </a:cxn>
                <a:cxn ang="0">
                  <a:pos x="connsiteX15068" y="connsiteY15068"/>
                </a:cxn>
                <a:cxn ang="0">
                  <a:pos x="connsiteX15069" y="connsiteY15069"/>
                </a:cxn>
                <a:cxn ang="0">
                  <a:pos x="connsiteX15070" y="connsiteY15070"/>
                </a:cxn>
                <a:cxn ang="0">
                  <a:pos x="connsiteX15071" y="connsiteY15071"/>
                </a:cxn>
                <a:cxn ang="0">
                  <a:pos x="connsiteX15072" y="connsiteY15072"/>
                </a:cxn>
                <a:cxn ang="0">
                  <a:pos x="connsiteX15073" y="connsiteY15073"/>
                </a:cxn>
                <a:cxn ang="0">
                  <a:pos x="connsiteX15074" y="connsiteY15074"/>
                </a:cxn>
                <a:cxn ang="0">
                  <a:pos x="connsiteX15075" y="connsiteY15075"/>
                </a:cxn>
                <a:cxn ang="0">
                  <a:pos x="connsiteX15076" y="connsiteY15076"/>
                </a:cxn>
                <a:cxn ang="0">
                  <a:pos x="connsiteX15077" y="connsiteY15077"/>
                </a:cxn>
                <a:cxn ang="0">
                  <a:pos x="connsiteX15078" y="connsiteY15078"/>
                </a:cxn>
                <a:cxn ang="0">
                  <a:pos x="connsiteX15079" y="connsiteY15079"/>
                </a:cxn>
                <a:cxn ang="0">
                  <a:pos x="connsiteX15080" y="connsiteY15080"/>
                </a:cxn>
                <a:cxn ang="0">
                  <a:pos x="connsiteX15081" y="connsiteY15081"/>
                </a:cxn>
                <a:cxn ang="0">
                  <a:pos x="connsiteX15082" y="connsiteY15082"/>
                </a:cxn>
                <a:cxn ang="0">
                  <a:pos x="connsiteX15083" y="connsiteY15083"/>
                </a:cxn>
                <a:cxn ang="0">
                  <a:pos x="connsiteX15084" y="connsiteY15084"/>
                </a:cxn>
                <a:cxn ang="0">
                  <a:pos x="connsiteX15085" y="connsiteY15085"/>
                </a:cxn>
                <a:cxn ang="0">
                  <a:pos x="connsiteX15086" y="connsiteY15086"/>
                </a:cxn>
                <a:cxn ang="0">
                  <a:pos x="connsiteX15087" y="connsiteY15087"/>
                </a:cxn>
                <a:cxn ang="0">
                  <a:pos x="connsiteX15088" y="connsiteY15088"/>
                </a:cxn>
                <a:cxn ang="0">
                  <a:pos x="connsiteX15089" y="connsiteY15089"/>
                </a:cxn>
                <a:cxn ang="0">
                  <a:pos x="connsiteX15090" y="connsiteY15090"/>
                </a:cxn>
                <a:cxn ang="0">
                  <a:pos x="connsiteX15091" y="connsiteY15091"/>
                </a:cxn>
                <a:cxn ang="0">
                  <a:pos x="connsiteX15092" y="connsiteY15092"/>
                </a:cxn>
                <a:cxn ang="0">
                  <a:pos x="connsiteX15093" y="connsiteY15093"/>
                </a:cxn>
                <a:cxn ang="0">
                  <a:pos x="connsiteX15094" y="connsiteY15094"/>
                </a:cxn>
                <a:cxn ang="0">
                  <a:pos x="connsiteX15095" y="connsiteY15095"/>
                </a:cxn>
                <a:cxn ang="0">
                  <a:pos x="connsiteX15096" y="connsiteY15096"/>
                </a:cxn>
                <a:cxn ang="0">
                  <a:pos x="connsiteX15097" y="connsiteY15097"/>
                </a:cxn>
                <a:cxn ang="0">
                  <a:pos x="connsiteX15098" y="connsiteY15098"/>
                </a:cxn>
                <a:cxn ang="0">
                  <a:pos x="connsiteX15099" y="connsiteY15099"/>
                </a:cxn>
                <a:cxn ang="0">
                  <a:pos x="connsiteX15100" y="connsiteY15100"/>
                </a:cxn>
                <a:cxn ang="0">
                  <a:pos x="connsiteX15101" y="connsiteY15101"/>
                </a:cxn>
                <a:cxn ang="0">
                  <a:pos x="connsiteX15102" y="connsiteY15102"/>
                </a:cxn>
                <a:cxn ang="0">
                  <a:pos x="connsiteX15103" y="connsiteY15103"/>
                </a:cxn>
                <a:cxn ang="0">
                  <a:pos x="connsiteX15104" y="connsiteY15104"/>
                </a:cxn>
                <a:cxn ang="0">
                  <a:pos x="connsiteX15105" y="connsiteY15105"/>
                </a:cxn>
                <a:cxn ang="0">
                  <a:pos x="connsiteX15106" y="connsiteY15106"/>
                </a:cxn>
                <a:cxn ang="0">
                  <a:pos x="connsiteX15107" y="connsiteY15107"/>
                </a:cxn>
                <a:cxn ang="0">
                  <a:pos x="connsiteX15108" y="connsiteY15108"/>
                </a:cxn>
                <a:cxn ang="0">
                  <a:pos x="connsiteX15109" y="connsiteY15109"/>
                </a:cxn>
                <a:cxn ang="0">
                  <a:pos x="connsiteX15110" y="connsiteY15110"/>
                </a:cxn>
                <a:cxn ang="0">
                  <a:pos x="connsiteX15111" y="connsiteY15111"/>
                </a:cxn>
                <a:cxn ang="0">
                  <a:pos x="connsiteX15112" y="connsiteY15112"/>
                </a:cxn>
                <a:cxn ang="0">
                  <a:pos x="connsiteX15113" y="connsiteY15113"/>
                </a:cxn>
                <a:cxn ang="0">
                  <a:pos x="connsiteX15114" y="connsiteY15114"/>
                </a:cxn>
                <a:cxn ang="0">
                  <a:pos x="connsiteX15115" y="connsiteY15115"/>
                </a:cxn>
                <a:cxn ang="0">
                  <a:pos x="connsiteX15116" y="connsiteY15116"/>
                </a:cxn>
                <a:cxn ang="0">
                  <a:pos x="connsiteX15117" y="connsiteY15117"/>
                </a:cxn>
                <a:cxn ang="0">
                  <a:pos x="connsiteX15118" y="connsiteY15118"/>
                </a:cxn>
                <a:cxn ang="0">
                  <a:pos x="connsiteX15119" y="connsiteY15119"/>
                </a:cxn>
                <a:cxn ang="0">
                  <a:pos x="connsiteX15120" y="connsiteY15120"/>
                </a:cxn>
                <a:cxn ang="0">
                  <a:pos x="connsiteX15121" y="connsiteY15121"/>
                </a:cxn>
                <a:cxn ang="0">
                  <a:pos x="connsiteX15122" y="connsiteY15122"/>
                </a:cxn>
                <a:cxn ang="0">
                  <a:pos x="connsiteX15123" y="connsiteY15123"/>
                </a:cxn>
                <a:cxn ang="0">
                  <a:pos x="connsiteX15124" y="connsiteY15124"/>
                </a:cxn>
                <a:cxn ang="0">
                  <a:pos x="connsiteX15125" y="connsiteY15125"/>
                </a:cxn>
                <a:cxn ang="0">
                  <a:pos x="connsiteX15126" y="connsiteY15126"/>
                </a:cxn>
                <a:cxn ang="0">
                  <a:pos x="connsiteX15127" y="connsiteY15127"/>
                </a:cxn>
                <a:cxn ang="0">
                  <a:pos x="connsiteX15128" y="connsiteY15128"/>
                </a:cxn>
                <a:cxn ang="0">
                  <a:pos x="connsiteX15129" y="connsiteY15129"/>
                </a:cxn>
                <a:cxn ang="0">
                  <a:pos x="connsiteX15130" y="connsiteY15130"/>
                </a:cxn>
                <a:cxn ang="0">
                  <a:pos x="connsiteX15131" y="connsiteY15131"/>
                </a:cxn>
                <a:cxn ang="0">
                  <a:pos x="connsiteX15132" y="connsiteY15132"/>
                </a:cxn>
                <a:cxn ang="0">
                  <a:pos x="connsiteX15133" y="connsiteY15133"/>
                </a:cxn>
                <a:cxn ang="0">
                  <a:pos x="connsiteX15134" y="connsiteY15134"/>
                </a:cxn>
                <a:cxn ang="0">
                  <a:pos x="connsiteX15135" y="connsiteY15135"/>
                </a:cxn>
                <a:cxn ang="0">
                  <a:pos x="connsiteX15136" y="connsiteY15136"/>
                </a:cxn>
                <a:cxn ang="0">
                  <a:pos x="connsiteX15137" y="connsiteY15137"/>
                </a:cxn>
                <a:cxn ang="0">
                  <a:pos x="connsiteX15138" y="connsiteY15138"/>
                </a:cxn>
                <a:cxn ang="0">
                  <a:pos x="connsiteX15139" y="connsiteY15139"/>
                </a:cxn>
                <a:cxn ang="0">
                  <a:pos x="connsiteX15140" y="connsiteY15140"/>
                </a:cxn>
                <a:cxn ang="0">
                  <a:pos x="connsiteX15141" y="connsiteY15141"/>
                </a:cxn>
                <a:cxn ang="0">
                  <a:pos x="connsiteX15142" y="connsiteY15142"/>
                </a:cxn>
                <a:cxn ang="0">
                  <a:pos x="connsiteX15143" y="connsiteY15143"/>
                </a:cxn>
                <a:cxn ang="0">
                  <a:pos x="connsiteX15144" y="connsiteY15144"/>
                </a:cxn>
                <a:cxn ang="0">
                  <a:pos x="connsiteX15145" y="connsiteY15145"/>
                </a:cxn>
                <a:cxn ang="0">
                  <a:pos x="connsiteX15146" y="connsiteY15146"/>
                </a:cxn>
                <a:cxn ang="0">
                  <a:pos x="connsiteX15147" y="connsiteY15147"/>
                </a:cxn>
                <a:cxn ang="0">
                  <a:pos x="connsiteX15148" y="connsiteY15148"/>
                </a:cxn>
                <a:cxn ang="0">
                  <a:pos x="connsiteX15149" y="connsiteY15149"/>
                </a:cxn>
                <a:cxn ang="0">
                  <a:pos x="connsiteX15150" y="connsiteY15150"/>
                </a:cxn>
                <a:cxn ang="0">
                  <a:pos x="connsiteX15151" y="connsiteY15151"/>
                </a:cxn>
                <a:cxn ang="0">
                  <a:pos x="connsiteX15152" y="connsiteY15152"/>
                </a:cxn>
                <a:cxn ang="0">
                  <a:pos x="connsiteX15153" y="connsiteY15153"/>
                </a:cxn>
                <a:cxn ang="0">
                  <a:pos x="connsiteX15154" y="connsiteY15154"/>
                </a:cxn>
                <a:cxn ang="0">
                  <a:pos x="connsiteX15155" y="connsiteY15155"/>
                </a:cxn>
                <a:cxn ang="0">
                  <a:pos x="connsiteX15156" y="connsiteY15156"/>
                </a:cxn>
                <a:cxn ang="0">
                  <a:pos x="connsiteX15157" y="connsiteY15157"/>
                </a:cxn>
                <a:cxn ang="0">
                  <a:pos x="connsiteX15158" y="connsiteY15158"/>
                </a:cxn>
                <a:cxn ang="0">
                  <a:pos x="connsiteX15159" y="connsiteY15159"/>
                </a:cxn>
                <a:cxn ang="0">
                  <a:pos x="connsiteX15160" y="connsiteY15160"/>
                </a:cxn>
                <a:cxn ang="0">
                  <a:pos x="connsiteX15161" y="connsiteY15161"/>
                </a:cxn>
                <a:cxn ang="0">
                  <a:pos x="connsiteX15162" y="connsiteY15162"/>
                </a:cxn>
                <a:cxn ang="0">
                  <a:pos x="connsiteX15163" y="connsiteY15163"/>
                </a:cxn>
                <a:cxn ang="0">
                  <a:pos x="connsiteX15164" y="connsiteY15164"/>
                </a:cxn>
                <a:cxn ang="0">
                  <a:pos x="connsiteX15165" y="connsiteY15165"/>
                </a:cxn>
                <a:cxn ang="0">
                  <a:pos x="connsiteX15166" y="connsiteY15166"/>
                </a:cxn>
                <a:cxn ang="0">
                  <a:pos x="connsiteX15167" y="connsiteY15167"/>
                </a:cxn>
                <a:cxn ang="0">
                  <a:pos x="connsiteX15168" y="connsiteY15168"/>
                </a:cxn>
                <a:cxn ang="0">
                  <a:pos x="connsiteX15169" y="connsiteY15169"/>
                </a:cxn>
                <a:cxn ang="0">
                  <a:pos x="connsiteX15170" y="connsiteY15170"/>
                </a:cxn>
                <a:cxn ang="0">
                  <a:pos x="connsiteX15171" y="connsiteY15171"/>
                </a:cxn>
                <a:cxn ang="0">
                  <a:pos x="connsiteX15172" y="connsiteY15172"/>
                </a:cxn>
                <a:cxn ang="0">
                  <a:pos x="connsiteX15173" y="connsiteY15173"/>
                </a:cxn>
                <a:cxn ang="0">
                  <a:pos x="connsiteX15174" y="connsiteY15174"/>
                </a:cxn>
                <a:cxn ang="0">
                  <a:pos x="connsiteX15175" y="connsiteY15175"/>
                </a:cxn>
                <a:cxn ang="0">
                  <a:pos x="connsiteX15176" y="connsiteY15176"/>
                </a:cxn>
                <a:cxn ang="0">
                  <a:pos x="connsiteX15177" y="connsiteY15177"/>
                </a:cxn>
                <a:cxn ang="0">
                  <a:pos x="connsiteX15178" y="connsiteY15178"/>
                </a:cxn>
                <a:cxn ang="0">
                  <a:pos x="connsiteX15179" y="connsiteY15179"/>
                </a:cxn>
                <a:cxn ang="0">
                  <a:pos x="connsiteX15180" y="connsiteY15180"/>
                </a:cxn>
                <a:cxn ang="0">
                  <a:pos x="connsiteX15181" y="connsiteY15181"/>
                </a:cxn>
                <a:cxn ang="0">
                  <a:pos x="connsiteX15182" y="connsiteY15182"/>
                </a:cxn>
                <a:cxn ang="0">
                  <a:pos x="connsiteX15183" y="connsiteY15183"/>
                </a:cxn>
                <a:cxn ang="0">
                  <a:pos x="connsiteX15184" y="connsiteY15184"/>
                </a:cxn>
                <a:cxn ang="0">
                  <a:pos x="connsiteX15185" y="connsiteY15185"/>
                </a:cxn>
                <a:cxn ang="0">
                  <a:pos x="connsiteX15186" y="connsiteY15186"/>
                </a:cxn>
                <a:cxn ang="0">
                  <a:pos x="connsiteX15187" y="connsiteY15187"/>
                </a:cxn>
                <a:cxn ang="0">
                  <a:pos x="connsiteX15188" y="connsiteY15188"/>
                </a:cxn>
                <a:cxn ang="0">
                  <a:pos x="connsiteX15189" y="connsiteY15189"/>
                </a:cxn>
                <a:cxn ang="0">
                  <a:pos x="connsiteX15190" y="connsiteY15190"/>
                </a:cxn>
                <a:cxn ang="0">
                  <a:pos x="connsiteX15191" y="connsiteY15191"/>
                </a:cxn>
                <a:cxn ang="0">
                  <a:pos x="connsiteX15192" y="connsiteY15192"/>
                </a:cxn>
                <a:cxn ang="0">
                  <a:pos x="connsiteX15193" y="connsiteY15193"/>
                </a:cxn>
                <a:cxn ang="0">
                  <a:pos x="connsiteX15194" y="connsiteY15194"/>
                </a:cxn>
                <a:cxn ang="0">
                  <a:pos x="connsiteX15195" y="connsiteY15195"/>
                </a:cxn>
                <a:cxn ang="0">
                  <a:pos x="connsiteX15196" y="connsiteY15196"/>
                </a:cxn>
                <a:cxn ang="0">
                  <a:pos x="connsiteX15197" y="connsiteY15197"/>
                </a:cxn>
                <a:cxn ang="0">
                  <a:pos x="connsiteX15198" y="connsiteY15198"/>
                </a:cxn>
                <a:cxn ang="0">
                  <a:pos x="connsiteX15199" y="connsiteY15199"/>
                </a:cxn>
                <a:cxn ang="0">
                  <a:pos x="connsiteX15200" y="connsiteY15200"/>
                </a:cxn>
                <a:cxn ang="0">
                  <a:pos x="connsiteX15201" y="connsiteY15201"/>
                </a:cxn>
                <a:cxn ang="0">
                  <a:pos x="connsiteX15202" y="connsiteY15202"/>
                </a:cxn>
                <a:cxn ang="0">
                  <a:pos x="connsiteX15203" y="connsiteY15203"/>
                </a:cxn>
                <a:cxn ang="0">
                  <a:pos x="connsiteX15204" y="connsiteY15204"/>
                </a:cxn>
                <a:cxn ang="0">
                  <a:pos x="connsiteX15205" y="connsiteY15205"/>
                </a:cxn>
                <a:cxn ang="0">
                  <a:pos x="connsiteX15206" y="connsiteY15206"/>
                </a:cxn>
                <a:cxn ang="0">
                  <a:pos x="connsiteX15207" y="connsiteY15207"/>
                </a:cxn>
                <a:cxn ang="0">
                  <a:pos x="connsiteX15208" y="connsiteY15208"/>
                </a:cxn>
                <a:cxn ang="0">
                  <a:pos x="connsiteX15209" y="connsiteY15209"/>
                </a:cxn>
                <a:cxn ang="0">
                  <a:pos x="connsiteX15210" y="connsiteY15210"/>
                </a:cxn>
                <a:cxn ang="0">
                  <a:pos x="connsiteX15211" y="connsiteY15211"/>
                </a:cxn>
                <a:cxn ang="0">
                  <a:pos x="connsiteX15212" y="connsiteY15212"/>
                </a:cxn>
                <a:cxn ang="0">
                  <a:pos x="connsiteX15213" y="connsiteY15213"/>
                </a:cxn>
                <a:cxn ang="0">
                  <a:pos x="connsiteX15214" y="connsiteY15214"/>
                </a:cxn>
                <a:cxn ang="0">
                  <a:pos x="connsiteX15215" y="connsiteY15215"/>
                </a:cxn>
                <a:cxn ang="0">
                  <a:pos x="connsiteX15216" y="connsiteY15216"/>
                </a:cxn>
                <a:cxn ang="0">
                  <a:pos x="connsiteX15217" y="connsiteY15217"/>
                </a:cxn>
                <a:cxn ang="0">
                  <a:pos x="connsiteX15218" y="connsiteY15218"/>
                </a:cxn>
                <a:cxn ang="0">
                  <a:pos x="connsiteX15219" y="connsiteY15219"/>
                </a:cxn>
                <a:cxn ang="0">
                  <a:pos x="connsiteX15220" y="connsiteY15220"/>
                </a:cxn>
                <a:cxn ang="0">
                  <a:pos x="connsiteX15221" y="connsiteY15221"/>
                </a:cxn>
                <a:cxn ang="0">
                  <a:pos x="connsiteX15222" y="connsiteY15222"/>
                </a:cxn>
                <a:cxn ang="0">
                  <a:pos x="connsiteX15223" y="connsiteY15223"/>
                </a:cxn>
                <a:cxn ang="0">
                  <a:pos x="connsiteX15224" y="connsiteY15224"/>
                </a:cxn>
                <a:cxn ang="0">
                  <a:pos x="connsiteX15225" y="connsiteY15225"/>
                </a:cxn>
                <a:cxn ang="0">
                  <a:pos x="connsiteX15226" y="connsiteY15226"/>
                </a:cxn>
                <a:cxn ang="0">
                  <a:pos x="connsiteX15227" y="connsiteY15227"/>
                </a:cxn>
                <a:cxn ang="0">
                  <a:pos x="connsiteX15228" y="connsiteY15228"/>
                </a:cxn>
                <a:cxn ang="0">
                  <a:pos x="connsiteX15229" y="connsiteY15229"/>
                </a:cxn>
                <a:cxn ang="0">
                  <a:pos x="connsiteX15230" y="connsiteY15230"/>
                </a:cxn>
                <a:cxn ang="0">
                  <a:pos x="connsiteX15231" y="connsiteY15231"/>
                </a:cxn>
                <a:cxn ang="0">
                  <a:pos x="connsiteX15232" y="connsiteY15232"/>
                </a:cxn>
                <a:cxn ang="0">
                  <a:pos x="connsiteX15233" y="connsiteY15233"/>
                </a:cxn>
                <a:cxn ang="0">
                  <a:pos x="connsiteX15234" y="connsiteY15234"/>
                </a:cxn>
                <a:cxn ang="0">
                  <a:pos x="connsiteX15235" y="connsiteY15235"/>
                </a:cxn>
                <a:cxn ang="0">
                  <a:pos x="connsiteX15236" y="connsiteY15236"/>
                </a:cxn>
                <a:cxn ang="0">
                  <a:pos x="connsiteX15237" y="connsiteY15237"/>
                </a:cxn>
                <a:cxn ang="0">
                  <a:pos x="connsiteX15238" y="connsiteY15238"/>
                </a:cxn>
                <a:cxn ang="0">
                  <a:pos x="connsiteX15239" y="connsiteY15239"/>
                </a:cxn>
                <a:cxn ang="0">
                  <a:pos x="connsiteX15240" y="connsiteY15240"/>
                </a:cxn>
                <a:cxn ang="0">
                  <a:pos x="connsiteX15241" y="connsiteY15241"/>
                </a:cxn>
                <a:cxn ang="0">
                  <a:pos x="connsiteX15242" y="connsiteY15242"/>
                </a:cxn>
                <a:cxn ang="0">
                  <a:pos x="connsiteX15243" y="connsiteY15243"/>
                </a:cxn>
                <a:cxn ang="0">
                  <a:pos x="connsiteX15244" y="connsiteY15244"/>
                </a:cxn>
                <a:cxn ang="0">
                  <a:pos x="connsiteX15245" y="connsiteY15245"/>
                </a:cxn>
                <a:cxn ang="0">
                  <a:pos x="connsiteX15246" y="connsiteY15246"/>
                </a:cxn>
                <a:cxn ang="0">
                  <a:pos x="connsiteX15247" y="connsiteY15247"/>
                </a:cxn>
                <a:cxn ang="0">
                  <a:pos x="connsiteX15248" y="connsiteY15248"/>
                </a:cxn>
                <a:cxn ang="0">
                  <a:pos x="connsiteX15249" y="connsiteY15249"/>
                </a:cxn>
                <a:cxn ang="0">
                  <a:pos x="connsiteX15250" y="connsiteY15250"/>
                </a:cxn>
                <a:cxn ang="0">
                  <a:pos x="connsiteX15251" y="connsiteY15251"/>
                </a:cxn>
                <a:cxn ang="0">
                  <a:pos x="connsiteX15252" y="connsiteY15252"/>
                </a:cxn>
                <a:cxn ang="0">
                  <a:pos x="connsiteX15253" y="connsiteY15253"/>
                </a:cxn>
                <a:cxn ang="0">
                  <a:pos x="connsiteX15254" y="connsiteY15254"/>
                </a:cxn>
                <a:cxn ang="0">
                  <a:pos x="connsiteX15255" y="connsiteY15255"/>
                </a:cxn>
                <a:cxn ang="0">
                  <a:pos x="connsiteX15256" y="connsiteY15256"/>
                </a:cxn>
                <a:cxn ang="0">
                  <a:pos x="connsiteX15257" y="connsiteY15257"/>
                </a:cxn>
                <a:cxn ang="0">
                  <a:pos x="connsiteX15258" y="connsiteY15258"/>
                </a:cxn>
                <a:cxn ang="0">
                  <a:pos x="connsiteX15259" y="connsiteY15259"/>
                </a:cxn>
                <a:cxn ang="0">
                  <a:pos x="connsiteX15260" y="connsiteY15260"/>
                </a:cxn>
                <a:cxn ang="0">
                  <a:pos x="connsiteX15261" y="connsiteY15261"/>
                </a:cxn>
                <a:cxn ang="0">
                  <a:pos x="connsiteX15262" y="connsiteY15262"/>
                </a:cxn>
                <a:cxn ang="0">
                  <a:pos x="connsiteX15263" y="connsiteY15263"/>
                </a:cxn>
                <a:cxn ang="0">
                  <a:pos x="connsiteX15264" y="connsiteY15264"/>
                </a:cxn>
                <a:cxn ang="0">
                  <a:pos x="connsiteX15265" y="connsiteY15265"/>
                </a:cxn>
                <a:cxn ang="0">
                  <a:pos x="connsiteX15266" y="connsiteY15266"/>
                </a:cxn>
                <a:cxn ang="0">
                  <a:pos x="connsiteX15267" y="connsiteY15267"/>
                </a:cxn>
                <a:cxn ang="0">
                  <a:pos x="connsiteX15268" y="connsiteY15268"/>
                </a:cxn>
                <a:cxn ang="0">
                  <a:pos x="connsiteX15269" y="connsiteY15269"/>
                </a:cxn>
                <a:cxn ang="0">
                  <a:pos x="connsiteX15270" y="connsiteY15270"/>
                </a:cxn>
                <a:cxn ang="0">
                  <a:pos x="connsiteX15271" y="connsiteY15271"/>
                </a:cxn>
                <a:cxn ang="0">
                  <a:pos x="connsiteX15272" y="connsiteY15272"/>
                </a:cxn>
                <a:cxn ang="0">
                  <a:pos x="connsiteX15273" y="connsiteY15273"/>
                </a:cxn>
                <a:cxn ang="0">
                  <a:pos x="connsiteX15274" y="connsiteY15274"/>
                </a:cxn>
                <a:cxn ang="0">
                  <a:pos x="connsiteX15275" y="connsiteY15275"/>
                </a:cxn>
                <a:cxn ang="0">
                  <a:pos x="connsiteX15276" y="connsiteY15276"/>
                </a:cxn>
                <a:cxn ang="0">
                  <a:pos x="connsiteX15277" y="connsiteY15277"/>
                </a:cxn>
                <a:cxn ang="0">
                  <a:pos x="connsiteX15278" y="connsiteY15278"/>
                </a:cxn>
                <a:cxn ang="0">
                  <a:pos x="connsiteX15279" y="connsiteY15279"/>
                </a:cxn>
                <a:cxn ang="0">
                  <a:pos x="connsiteX15280" y="connsiteY15280"/>
                </a:cxn>
                <a:cxn ang="0">
                  <a:pos x="connsiteX15281" y="connsiteY15281"/>
                </a:cxn>
                <a:cxn ang="0">
                  <a:pos x="connsiteX15282" y="connsiteY15282"/>
                </a:cxn>
                <a:cxn ang="0">
                  <a:pos x="connsiteX15283" y="connsiteY15283"/>
                </a:cxn>
                <a:cxn ang="0">
                  <a:pos x="connsiteX15284" y="connsiteY15284"/>
                </a:cxn>
                <a:cxn ang="0">
                  <a:pos x="connsiteX15285" y="connsiteY15285"/>
                </a:cxn>
                <a:cxn ang="0">
                  <a:pos x="connsiteX15286" y="connsiteY15286"/>
                </a:cxn>
                <a:cxn ang="0">
                  <a:pos x="connsiteX15287" y="connsiteY15287"/>
                </a:cxn>
                <a:cxn ang="0">
                  <a:pos x="connsiteX15288" y="connsiteY15288"/>
                </a:cxn>
                <a:cxn ang="0">
                  <a:pos x="connsiteX15289" y="connsiteY15289"/>
                </a:cxn>
                <a:cxn ang="0">
                  <a:pos x="connsiteX15290" y="connsiteY15290"/>
                </a:cxn>
                <a:cxn ang="0">
                  <a:pos x="connsiteX15291" y="connsiteY15291"/>
                </a:cxn>
                <a:cxn ang="0">
                  <a:pos x="connsiteX15292" y="connsiteY15292"/>
                </a:cxn>
                <a:cxn ang="0">
                  <a:pos x="connsiteX15293" y="connsiteY15293"/>
                </a:cxn>
                <a:cxn ang="0">
                  <a:pos x="connsiteX15294" y="connsiteY15294"/>
                </a:cxn>
                <a:cxn ang="0">
                  <a:pos x="connsiteX15295" y="connsiteY15295"/>
                </a:cxn>
                <a:cxn ang="0">
                  <a:pos x="connsiteX15296" y="connsiteY15296"/>
                </a:cxn>
                <a:cxn ang="0">
                  <a:pos x="connsiteX15297" y="connsiteY15297"/>
                </a:cxn>
                <a:cxn ang="0">
                  <a:pos x="connsiteX15298" y="connsiteY15298"/>
                </a:cxn>
                <a:cxn ang="0">
                  <a:pos x="connsiteX15299" y="connsiteY15299"/>
                </a:cxn>
                <a:cxn ang="0">
                  <a:pos x="connsiteX15300" y="connsiteY15300"/>
                </a:cxn>
                <a:cxn ang="0">
                  <a:pos x="connsiteX15301" y="connsiteY15301"/>
                </a:cxn>
                <a:cxn ang="0">
                  <a:pos x="connsiteX15302" y="connsiteY15302"/>
                </a:cxn>
                <a:cxn ang="0">
                  <a:pos x="connsiteX15303" y="connsiteY15303"/>
                </a:cxn>
                <a:cxn ang="0">
                  <a:pos x="connsiteX15304" y="connsiteY15304"/>
                </a:cxn>
                <a:cxn ang="0">
                  <a:pos x="connsiteX15305" y="connsiteY15305"/>
                </a:cxn>
                <a:cxn ang="0">
                  <a:pos x="connsiteX15306" y="connsiteY15306"/>
                </a:cxn>
                <a:cxn ang="0">
                  <a:pos x="connsiteX15307" y="connsiteY15307"/>
                </a:cxn>
                <a:cxn ang="0">
                  <a:pos x="connsiteX15308" y="connsiteY15308"/>
                </a:cxn>
                <a:cxn ang="0">
                  <a:pos x="connsiteX15309" y="connsiteY15309"/>
                </a:cxn>
                <a:cxn ang="0">
                  <a:pos x="connsiteX15310" y="connsiteY15310"/>
                </a:cxn>
                <a:cxn ang="0">
                  <a:pos x="connsiteX15311" y="connsiteY15311"/>
                </a:cxn>
                <a:cxn ang="0">
                  <a:pos x="connsiteX15312" y="connsiteY15312"/>
                </a:cxn>
                <a:cxn ang="0">
                  <a:pos x="connsiteX15313" y="connsiteY15313"/>
                </a:cxn>
                <a:cxn ang="0">
                  <a:pos x="connsiteX15314" y="connsiteY15314"/>
                </a:cxn>
                <a:cxn ang="0">
                  <a:pos x="connsiteX15315" y="connsiteY15315"/>
                </a:cxn>
                <a:cxn ang="0">
                  <a:pos x="connsiteX15316" y="connsiteY15316"/>
                </a:cxn>
                <a:cxn ang="0">
                  <a:pos x="connsiteX15317" y="connsiteY15317"/>
                </a:cxn>
                <a:cxn ang="0">
                  <a:pos x="connsiteX15318" y="connsiteY15318"/>
                </a:cxn>
                <a:cxn ang="0">
                  <a:pos x="connsiteX15319" y="connsiteY15319"/>
                </a:cxn>
                <a:cxn ang="0">
                  <a:pos x="connsiteX15320" y="connsiteY15320"/>
                </a:cxn>
                <a:cxn ang="0">
                  <a:pos x="connsiteX15321" y="connsiteY15321"/>
                </a:cxn>
                <a:cxn ang="0">
                  <a:pos x="connsiteX15322" y="connsiteY15322"/>
                </a:cxn>
                <a:cxn ang="0">
                  <a:pos x="connsiteX15323" y="connsiteY15323"/>
                </a:cxn>
                <a:cxn ang="0">
                  <a:pos x="connsiteX15324" y="connsiteY15324"/>
                </a:cxn>
                <a:cxn ang="0">
                  <a:pos x="connsiteX15325" y="connsiteY15325"/>
                </a:cxn>
                <a:cxn ang="0">
                  <a:pos x="connsiteX15326" y="connsiteY15326"/>
                </a:cxn>
                <a:cxn ang="0">
                  <a:pos x="connsiteX15327" y="connsiteY15327"/>
                </a:cxn>
                <a:cxn ang="0">
                  <a:pos x="connsiteX15328" y="connsiteY15328"/>
                </a:cxn>
                <a:cxn ang="0">
                  <a:pos x="connsiteX15329" y="connsiteY15329"/>
                </a:cxn>
                <a:cxn ang="0">
                  <a:pos x="connsiteX15330" y="connsiteY15330"/>
                </a:cxn>
                <a:cxn ang="0">
                  <a:pos x="connsiteX15331" y="connsiteY15331"/>
                </a:cxn>
                <a:cxn ang="0">
                  <a:pos x="connsiteX15332" y="connsiteY15332"/>
                </a:cxn>
                <a:cxn ang="0">
                  <a:pos x="connsiteX15333" y="connsiteY15333"/>
                </a:cxn>
                <a:cxn ang="0">
                  <a:pos x="connsiteX15334" y="connsiteY15334"/>
                </a:cxn>
                <a:cxn ang="0">
                  <a:pos x="connsiteX15335" y="connsiteY15335"/>
                </a:cxn>
                <a:cxn ang="0">
                  <a:pos x="connsiteX15336" y="connsiteY15336"/>
                </a:cxn>
                <a:cxn ang="0">
                  <a:pos x="connsiteX15337" y="connsiteY15337"/>
                </a:cxn>
                <a:cxn ang="0">
                  <a:pos x="connsiteX15338" y="connsiteY15338"/>
                </a:cxn>
                <a:cxn ang="0">
                  <a:pos x="connsiteX15339" y="connsiteY15339"/>
                </a:cxn>
                <a:cxn ang="0">
                  <a:pos x="connsiteX15340" y="connsiteY15340"/>
                </a:cxn>
                <a:cxn ang="0">
                  <a:pos x="connsiteX15341" y="connsiteY15341"/>
                </a:cxn>
                <a:cxn ang="0">
                  <a:pos x="connsiteX15342" y="connsiteY15342"/>
                </a:cxn>
                <a:cxn ang="0">
                  <a:pos x="connsiteX15343" y="connsiteY15343"/>
                </a:cxn>
                <a:cxn ang="0">
                  <a:pos x="connsiteX15344" y="connsiteY15344"/>
                </a:cxn>
                <a:cxn ang="0">
                  <a:pos x="connsiteX15345" y="connsiteY15345"/>
                </a:cxn>
                <a:cxn ang="0">
                  <a:pos x="connsiteX15346" y="connsiteY15346"/>
                </a:cxn>
                <a:cxn ang="0">
                  <a:pos x="connsiteX15347" y="connsiteY15347"/>
                </a:cxn>
                <a:cxn ang="0">
                  <a:pos x="connsiteX15348" y="connsiteY15348"/>
                </a:cxn>
                <a:cxn ang="0">
                  <a:pos x="connsiteX15349" y="connsiteY15349"/>
                </a:cxn>
                <a:cxn ang="0">
                  <a:pos x="connsiteX15350" y="connsiteY15350"/>
                </a:cxn>
                <a:cxn ang="0">
                  <a:pos x="connsiteX15351" y="connsiteY15351"/>
                </a:cxn>
                <a:cxn ang="0">
                  <a:pos x="connsiteX15352" y="connsiteY15352"/>
                </a:cxn>
                <a:cxn ang="0">
                  <a:pos x="connsiteX15353" y="connsiteY15353"/>
                </a:cxn>
                <a:cxn ang="0">
                  <a:pos x="connsiteX15354" y="connsiteY15354"/>
                </a:cxn>
                <a:cxn ang="0">
                  <a:pos x="connsiteX15355" y="connsiteY15355"/>
                </a:cxn>
                <a:cxn ang="0">
                  <a:pos x="connsiteX15356" y="connsiteY15356"/>
                </a:cxn>
                <a:cxn ang="0">
                  <a:pos x="connsiteX15357" y="connsiteY15357"/>
                </a:cxn>
                <a:cxn ang="0">
                  <a:pos x="connsiteX15358" y="connsiteY15358"/>
                </a:cxn>
                <a:cxn ang="0">
                  <a:pos x="connsiteX15359" y="connsiteY15359"/>
                </a:cxn>
                <a:cxn ang="0">
                  <a:pos x="connsiteX15360" y="connsiteY15360"/>
                </a:cxn>
                <a:cxn ang="0">
                  <a:pos x="connsiteX15361" y="connsiteY15361"/>
                </a:cxn>
                <a:cxn ang="0">
                  <a:pos x="connsiteX15362" y="connsiteY15362"/>
                </a:cxn>
                <a:cxn ang="0">
                  <a:pos x="connsiteX15363" y="connsiteY15363"/>
                </a:cxn>
                <a:cxn ang="0">
                  <a:pos x="connsiteX15364" y="connsiteY15364"/>
                </a:cxn>
                <a:cxn ang="0">
                  <a:pos x="connsiteX15365" y="connsiteY15365"/>
                </a:cxn>
                <a:cxn ang="0">
                  <a:pos x="connsiteX15366" y="connsiteY15366"/>
                </a:cxn>
                <a:cxn ang="0">
                  <a:pos x="connsiteX15367" y="connsiteY15367"/>
                </a:cxn>
                <a:cxn ang="0">
                  <a:pos x="connsiteX15368" y="connsiteY15368"/>
                </a:cxn>
                <a:cxn ang="0">
                  <a:pos x="connsiteX15369" y="connsiteY15369"/>
                </a:cxn>
                <a:cxn ang="0">
                  <a:pos x="connsiteX15370" y="connsiteY15370"/>
                </a:cxn>
                <a:cxn ang="0">
                  <a:pos x="connsiteX15371" y="connsiteY15371"/>
                </a:cxn>
                <a:cxn ang="0">
                  <a:pos x="connsiteX15372" y="connsiteY15372"/>
                </a:cxn>
                <a:cxn ang="0">
                  <a:pos x="connsiteX15373" y="connsiteY15373"/>
                </a:cxn>
                <a:cxn ang="0">
                  <a:pos x="connsiteX15374" y="connsiteY15374"/>
                </a:cxn>
                <a:cxn ang="0">
                  <a:pos x="connsiteX15375" y="connsiteY15375"/>
                </a:cxn>
                <a:cxn ang="0">
                  <a:pos x="connsiteX15376" y="connsiteY15376"/>
                </a:cxn>
                <a:cxn ang="0">
                  <a:pos x="connsiteX15377" y="connsiteY15377"/>
                </a:cxn>
                <a:cxn ang="0">
                  <a:pos x="connsiteX15378" y="connsiteY15378"/>
                </a:cxn>
                <a:cxn ang="0">
                  <a:pos x="connsiteX15379" y="connsiteY15379"/>
                </a:cxn>
                <a:cxn ang="0">
                  <a:pos x="connsiteX15380" y="connsiteY15380"/>
                </a:cxn>
                <a:cxn ang="0">
                  <a:pos x="connsiteX15381" y="connsiteY15381"/>
                </a:cxn>
                <a:cxn ang="0">
                  <a:pos x="connsiteX15382" y="connsiteY15382"/>
                </a:cxn>
                <a:cxn ang="0">
                  <a:pos x="connsiteX15383" y="connsiteY15383"/>
                </a:cxn>
                <a:cxn ang="0">
                  <a:pos x="connsiteX15384" y="connsiteY15384"/>
                </a:cxn>
                <a:cxn ang="0">
                  <a:pos x="connsiteX15385" y="connsiteY15385"/>
                </a:cxn>
                <a:cxn ang="0">
                  <a:pos x="connsiteX15386" y="connsiteY15386"/>
                </a:cxn>
                <a:cxn ang="0">
                  <a:pos x="connsiteX15387" y="connsiteY15387"/>
                </a:cxn>
                <a:cxn ang="0">
                  <a:pos x="connsiteX15388" y="connsiteY15388"/>
                </a:cxn>
                <a:cxn ang="0">
                  <a:pos x="connsiteX15389" y="connsiteY15389"/>
                </a:cxn>
                <a:cxn ang="0">
                  <a:pos x="connsiteX15390" y="connsiteY15390"/>
                </a:cxn>
                <a:cxn ang="0">
                  <a:pos x="connsiteX15391" y="connsiteY15391"/>
                </a:cxn>
                <a:cxn ang="0">
                  <a:pos x="connsiteX15392" y="connsiteY15392"/>
                </a:cxn>
                <a:cxn ang="0">
                  <a:pos x="connsiteX15393" y="connsiteY15393"/>
                </a:cxn>
                <a:cxn ang="0">
                  <a:pos x="connsiteX15394" y="connsiteY15394"/>
                </a:cxn>
                <a:cxn ang="0">
                  <a:pos x="connsiteX15395" y="connsiteY15395"/>
                </a:cxn>
                <a:cxn ang="0">
                  <a:pos x="connsiteX15396" y="connsiteY15396"/>
                </a:cxn>
                <a:cxn ang="0">
                  <a:pos x="connsiteX15397" y="connsiteY15397"/>
                </a:cxn>
                <a:cxn ang="0">
                  <a:pos x="connsiteX15398" y="connsiteY15398"/>
                </a:cxn>
                <a:cxn ang="0">
                  <a:pos x="connsiteX15399" y="connsiteY15399"/>
                </a:cxn>
                <a:cxn ang="0">
                  <a:pos x="connsiteX15400" y="connsiteY15400"/>
                </a:cxn>
                <a:cxn ang="0">
                  <a:pos x="connsiteX15401" y="connsiteY15401"/>
                </a:cxn>
                <a:cxn ang="0">
                  <a:pos x="connsiteX15402" y="connsiteY15402"/>
                </a:cxn>
                <a:cxn ang="0">
                  <a:pos x="connsiteX15403" y="connsiteY15403"/>
                </a:cxn>
                <a:cxn ang="0">
                  <a:pos x="connsiteX15404" y="connsiteY15404"/>
                </a:cxn>
                <a:cxn ang="0">
                  <a:pos x="connsiteX15405" y="connsiteY15405"/>
                </a:cxn>
                <a:cxn ang="0">
                  <a:pos x="connsiteX15406" y="connsiteY15406"/>
                </a:cxn>
                <a:cxn ang="0">
                  <a:pos x="connsiteX15407" y="connsiteY15407"/>
                </a:cxn>
                <a:cxn ang="0">
                  <a:pos x="connsiteX15408" y="connsiteY15408"/>
                </a:cxn>
                <a:cxn ang="0">
                  <a:pos x="connsiteX15409" y="connsiteY15409"/>
                </a:cxn>
                <a:cxn ang="0">
                  <a:pos x="connsiteX15410" y="connsiteY15410"/>
                </a:cxn>
                <a:cxn ang="0">
                  <a:pos x="connsiteX15411" y="connsiteY15411"/>
                </a:cxn>
                <a:cxn ang="0">
                  <a:pos x="connsiteX15412" y="connsiteY15412"/>
                </a:cxn>
                <a:cxn ang="0">
                  <a:pos x="connsiteX15413" y="connsiteY15413"/>
                </a:cxn>
                <a:cxn ang="0">
                  <a:pos x="connsiteX15414" y="connsiteY15414"/>
                </a:cxn>
                <a:cxn ang="0">
                  <a:pos x="connsiteX15415" y="connsiteY15415"/>
                </a:cxn>
                <a:cxn ang="0">
                  <a:pos x="connsiteX15416" y="connsiteY15416"/>
                </a:cxn>
                <a:cxn ang="0">
                  <a:pos x="connsiteX15417" y="connsiteY15417"/>
                </a:cxn>
                <a:cxn ang="0">
                  <a:pos x="connsiteX15418" y="connsiteY15418"/>
                </a:cxn>
                <a:cxn ang="0">
                  <a:pos x="connsiteX15419" y="connsiteY15419"/>
                </a:cxn>
                <a:cxn ang="0">
                  <a:pos x="connsiteX15420" y="connsiteY15420"/>
                </a:cxn>
                <a:cxn ang="0">
                  <a:pos x="connsiteX15421" y="connsiteY15421"/>
                </a:cxn>
                <a:cxn ang="0">
                  <a:pos x="connsiteX15422" y="connsiteY15422"/>
                </a:cxn>
                <a:cxn ang="0">
                  <a:pos x="connsiteX15423" y="connsiteY15423"/>
                </a:cxn>
                <a:cxn ang="0">
                  <a:pos x="connsiteX15424" y="connsiteY15424"/>
                </a:cxn>
                <a:cxn ang="0">
                  <a:pos x="connsiteX15425" y="connsiteY15425"/>
                </a:cxn>
                <a:cxn ang="0">
                  <a:pos x="connsiteX15426" y="connsiteY15426"/>
                </a:cxn>
                <a:cxn ang="0">
                  <a:pos x="connsiteX15427" y="connsiteY15427"/>
                </a:cxn>
                <a:cxn ang="0">
                  <a:pos x="connsiteX15428" y="connsiteY15428"/>
                </a:cxn>
                <a:cxn ang="0">
                  <a:pos x="connsiteX15429" y="connsiteY15429"/>
                </a:cxn>
                <a:cxn ang="0">
                  <a:pos x="connsiteX15430" y="connsiteY15430"/>
                </a:cxn>
                <a:cxn ang="0">
                  <a:pos x="connsiteX15431" y="connsiteY15431"/>
                </a:cxn>
                <a:cxn ang="0">
                  <a:pos x="connsiteX15432" y="connsiteY15432"/>
                </a:cxn>
                <a:cxn ang="0">
                  <a:pos x="connsiteX15433" y="connsiteY15433"/>
                </a:cxn>
                <a:cxn ang="0">
                  <a:pos x="connsiteX15434" y="connsiteY15434"/>
                </a:cxn>
                <a:cxn ang="0">
                  <a:pos x="connsiteX15435" y="connsiteY15435"/>
                </a:cxn>
                <a:cxn ang="0">
                  <a:pos x="connsiteX15436" y="connsiteY15436"/>
                </a:cxn>
                <a:cxn ang="0">
                  <a:pos x="connsiteX15437" y="connsiteY15437"/>
                </a:cxn>
                <a:cxn ang="0">
                  <a:pos x="connsiteX15438" y="connsiteY15438"/>
                </a:cxn>
                <a:cxn ang="0">
                  <a:pos x="connsiteX15439" y="connsiteY15439"/>
                </a:cxn>
                <a:cxn ang="0">
                  <a:pos x="connsiteX15440" y="connsiteY15440"/>
                </a:cxn>
                <a:cxn ang="0">
                  <a:pos x="connsiteX15441" y="connsiteY15441"/>
                </a:cxn>
                <a:cxn ang="0">
                  <a:pos x="connsiteX15442" y="connsiteY15442"/>
                </a:cxn>
                <a:cxn ang="0">
                  <a:pos x="connsiteX15443" y="connsiteY15443"/>
                </a:cxn>
                <a:cxn ang="0">
                  <a:pos x="connsiteX15444" y="connsiteY15444"/>
                </a:cxn>
                <a:cxn ang="0">
                  <a:pos x="connsiteX15445" y="connsiteY15445"/>
                </a:cxn>
                <a:cxn ang="0">
                  <a:pos x="connsiteX15446" y="connsiteY15446"/>
                </a:cxn>
                <a:cxn ang="0">
                  <a:pos x="connsiteX15447" y="connsiteY15447"/>
                </a:cxn>
                <a:cxn ang="0">
                  <a:pos x="connsiteX15448" y="connsiteY15448"/>
                </a:cxn>
                <a:cxn ang="0">
                  <a:pos x="connsiteX15449" y="connsiteY15449"/>
                </a:cxn>
                <a:cxn ang="0">
                  <a:pos x="connsiteX15450" y="connsiteY15450"/>
                </a:cxn>
                <a:cxn ang="0">
                  <a:pos x="connsiteX15451" y="connsiteY15451"/>
                </a:cxn>
                <a:cxn ang="0">
                  <a:pos x="connsiteX15452" y="connsiteY15452"/>
                </a:cxn>
                <a:cxn ang="0">
                  <a:pos x="connsiteX15453" y="connsiteY15453"/>
                </a:cxn>
                <a:cxn ang="0">
                  <a:pos x="connsiteX15454" y="connsiteY15454"/>
                </a:cxn>
                <a:cxn ang="0">
                  <a:pos x="connsiteX15455" y="connsiteY15455"/>
                </a:cxn>
                <a:cxn ang="0">
                  <a:pos x="connsiteX15456" y="connsiteY15456"/>
                </a:cxn>
                <a:cxn ang="0">
                  <a:pos x="connsiteX15457" y="connsiteY15457"/>
                </a:cxn>
                <a:cxn ang="0">
                  <a:pos x="connsiteX15458" y="connsiteY15458"/>
                </a:cxn>
                <a:cxn ang="0">
                  <a:pos x="connsiteX15459" y="connsiteY15459"/>
                </a:cxn>
                <a:cxn ang="0">
                  <a:pos x="connsiteX15460" y="connsiteY15460"/>
                </a:cxn>
                <a:cxn ang="0">
                  <a:pos x="connsiteX15461" y="connsiteY15461"/>
                </a:cxn>
                <a:cxn ang="0">
                  <a:pos x="connsiteX15462" y="connsiteY15462"/>
                </a:cxn>
                <a:cxn ang="0">
                  <a:pos x="connsiteX15463" y="connsiteY15463"/>
                </a:cxn>
                <a:cxn ang="0">
                  <a:pos x="connsiteX15464" y="connsiteY15464"/>
                </a:cxn>
                <a:cxn ang="0">
                  <a:pos x="connsiteX15465" y="connsiteY15465"/>
                </a:cxn>
                <a:cxn ang="0">
                  <a:pos x="connsiteX15466" y="connsiteY15466"/>
                </a:cxn>
                <a:cxn ang="0">
                  <a:pos x="connsiteX15467" y="connsiteY15467"/>
                </a:cxn>
                <a:cxn ang="0">
                  <a:pos x="connsiteX15468" y="connsiteY15468"/>
                </a:cxn>
                <a:cxn ang="0">
                  <a:pos x="connsiteX15469" y="connsiteY15469"/>
                </a:cxn>
                <a:cxn ang="0">
                  <a:pos x="connsiteX15470" y="connsiteY15470"/>
                </a:cxn>
                <a:cxn ang="0">
                  <a:pos x="connsiteX15471" y="connsiteY15471"/>
                </a:cxn>
                <a:cxn ang="0">
                  <a:pos x="connsiteX15472" y="connsiteY15472"/>
                </a:cxn>
                <a:cxn ang="0">
                  <a:pos x="connsiteX15473" y="connsiteY15473"/>
                </a:cxn>
                <a:cxn ang="0">
                  <a:pos x="connsiteX15474" y="connsiteY15474"/>
                </a:cxn>
                <a:cxn ang="0">
                  <a:pos x="connsiteX15475" y="connsiteY15475"/>
                </a:cxn>
                <a:cxn ang="0">
                  <a:pos x="connsiteX15476" y="connsiteY15476"/>
                </a:cxn>
                <a:cxn ang="0">
                  <a:pos x="connsiteX15477" y="connsiteY15477"/>
                </a:cxn>
                <a:cxn ang="0">
                  <a:pos x="connsiteX15478" y="connsiteY15478"/>
                </a:cxn>
                <a:cxn ang="0">
                  <a:pos x="connsiteX15479" y="connsiteY15479"/>
                </a:cxn>
                <a:cxn ang="0">
                  <a:pos x="connsiteX15480" y="connsiteY15480"/>
                </a:cxn>
                <a:cxn ang="0">
                  <a:pos x="connsiteX15481" y="connsiteY15481"/>
                </a:cxn>
                <a:cxn ang="0">
                  <a:pos x="connsiteX15482" y="connsiteY15482"/>
                </a:cxn>
                <a:cxn ang="0">
                  <a:pos x="connsiteX15483" y="connsiteY15483"/>
                </a:cxn>
                <a:cxn ang="0">
                  <a:pos x="connsiteX15484" y="connsiteY15484"/>
                </a:cxn>
                <a:cxn ang="0">
                  <a:pos x="connsiteX15485" y="connsiteY15485"/>
                </a:cxn>
                <a:cxn ang="0">
                  <a:pos x="connsiteX15486" y="connsiteY15486"/>
                </a:cxn>
                <a:cxn ang="0">
                  <a:pos x="connsiteX15487" y="connsiteY15487"/>
                </a:cxn>
                <a:cxn ang="0">
                  <a:pos x="connsiteX15488" y="connsiteY15488"/>
                </a:cxn>
                <a:cxn ang="0">
                  <a:pos x="connsiteX15489" y="connsiteY15489"/>
                </a:cxn>
                <a:cxn ang="0">
                  <a:pos x="connsiteX15490" y="connsiteY15490"/>
                </a:cxn>
                <a:cxn ang="0">
                  <a:pos x="connsiteX15491" y="connsiteY15491"/>
                </a:cxn>
                <a:cxn ang="0">
                  <a:pos x="connsiteX15492" y="connsiteY15492"/>
                </a:cxn>
                <a:cxn ang="0">
                  <a:pos x="connsiteX15493" y="connsiteY15493"/>
                </a:cxn>
                <a:cxn ang="0">
                  <a:pos x="connsiteX15494" y="connsiteY15494"/>
                </a:cxn>
                <a:cxn ang="0">
                  <a:pos x="connsiteX15495" y="connsiteY15495"/>
                </a:cxn>
                <a:cxn ang="0">
                  <a:pos x="connsiteX15496" y="connsiteY15496"/>
                </a:cxn>
                <a:cxn ang="0">
                  <a:pos x="connsiteX15497" y="connsiteY15497"/>
                </a:cxn>
                <a:cxn ang="0">
                  <a:pos x="connsiteX15498" y="connsiteY15498"/>
                </a:cxn>
                <a:cxn ang="0">
                  <a:pos x="connsiteX15499" y="connsiteY15499"/>
                </a:cxn>
                <a:cxn ang="0">
                  <a:pos x="connsiteX15500" y="connsiteY15500"/>
                </a:cxn>
                <a:cxn ang="0">
                  <a:pos x="connsiteX15501" y="connsiteY15501"/>
                </a:cxn>
                <a:cxn ang="0">
                  <a:pos x="connsiteX15502" y="connsiteY15502"/>
                </a:cxn>
                <a:cxn ang="0">
                  <a:pos x="connsiteX15503" y="connsiteY15503"/>
                </a:cxn>
                <a:cxn ang="0">
                  <a:pos x="connsiteX15504" y="connsiteY15504"/>
                </a:cxn>
                <a:cxn ang="0">
                  <a:pos x="connsiteX15505" y="connsiteY15505"/>
                </a:cxn>
                <a:cxn ang="0">
                  <a:pos x="connsiteX15506" y="connsiteY15506"/>
                </a:cxn>
                <a:cxn ang="0">
                  <a:pos x="connsiteX15507" y="connsiteY15507"/>
                </a:cxn>
                <a:cxn ang="0">
                  <a:pos x="connsiteX15508" y="connsiteY15508"/>
                </a:cxn>
                <a:cxn ang="0">
                  <a:pos x="connsiteX15509" y="connsiteY15509"/>
                </a:cxn>
                <a:cxn ang="0">
                  <a:pos x="connsiteX15510" y="connsiteY15510"/>
                </a:cxn>
                <a:cxn ang="0">
                  <a:pos x="connsiteX15511" y="connsiteY15511"/>
                </a:cxn>
                <a:cxn ang="0">
                  <a:pos x="connsiteX15512" y="connsiteY15512"/>
                </a:cxn>
                <a:cxn ang="0">
                  <a:pos x="connsiteX15513" y="connsiteY15513"/>
                </a:cxn>
                <a:cxn ang="0">
                  <a:pos x="connsiteX15514" y="connsiteY15514"/>
                </a:cxn>
                <a:cxn ang="0">
                  <a:pos x="connsiteX15515" y="connsiteY15515"/>
                </a:cxn>
                <a:cxn ang="0">
                  <a:pos x="connsiteX15516" y="connsiteY15516"/>
                </a:cxn>
                <a:cxn ang="0">
                  <a:pos x="connsiteX15517" y="connsiteY15517"/>
                </a:cxn>
                <a:cxn ang="0">
                  <a:pos x="connsiteX15518" y="connsiteY15518"/>
                </a:cxn>
                <a:cxn ang="0">
                  <a:pos x="connsiteX15519" y="connsiteY15519"/>
                </a:cxn>
                <a:cxn ang="0">
                  <a:pos x="connsiteX15520" y="connsiteY15520"/>
                </a:cxn>
                <a:cxn ang="0">
                  <a:pos x="connsiteX15521" y="connsiteY15521"/>
                </a:cxn>
                <a:cxn ang="0">
                  <a:pos x="connsiteX15522" y="connsiteY15522"/>
                </a:cxn>
                <a:cxn ang="0">
                  <a:pos x="connsiteX15523" y="connsiteY15523"/>
                </a:cxn>
                <a:cxn ang="0">
                  <a:pos x="connsiteX15524" y="connsiteY15524"/>
                </a:cxn>
                <a:cxn ang="0">
                  <a:pos x="connsiteX15525" y="connsiteY15525"/>
                </a:cxn>
                <a:cxn ang="0">
                  <a:pos x="connsiteX15526" y="connsiteY15526"/>
                </a:cxn>
                <a:cxn ang="0">
                  <a:pos x="connsiteX15527" y="connsiteY15527"/>
                </a:cxn>
                <a:cxn ang="0">
                  <a:pos x="connsiteX15528" y="connsiteY15528"/>
                </a:cxn>
                <a:cxn ang="0">
                  <a:pos x="connsiteX15529" y="connsiteY15529"/>
                </a:cxn>
                <a:cxn ang="0">
                  <a:pos x="connsiteX15530" y="connsiteY15530"/>
                </a:cxn>
                <a:cxn ang="0">
                  <a:pos x="connsiteX15531" y="connsiteY15531"/>
                </a:cxn>
                <a:cxn ang="0">
                  <a:pos x="connsiteX15532" y="connsiteY15532"/>
                </a:cxn>
                <a:cxn ang="0">
                  <a:pos x="connsiteX15533" y="connsiteY15533"/>
                </a:cxn>
                <a:cxn ang="0">
                  <a:pos x="connsiteX15534" y="connsiteY15534"/>
                </a:cxn>
                <a:cxn ang="0">
                  <a:pos x="connsiteX15535" y="connsiteY15535"/>
                </a:cxn>
                <a:cxn ang="0">
                  <a:pos x="connsiteX15536" y="connsiteY15536"/>
                </a:cxn>
                <a:cxn ang="0">
                  <a:pos x="connsiteX15537" y="connsiteY15537"/>
                </a:cxn>
                <a:cxn ang="0">
                  <a:pos x="connsiteX15538" y="connsiteY15538"/>
                </a:cxn>
                <a:cxn ang="0">
                  <a:pos x="connsiteX15539" y="connsiteY15539"/>
                </a:cxn>
                <a:cxn ang="0">
                  <a:pos x="connsiteX15540" y="connsiteY15540"/>
                </a:cxn>
                <a:cxn ang="0">
                  <a:pos x="connsiteX15541" y="connsiteY15541"/>
                </a:cxn>
                <a:cxn ang="0">
                  <a:pos x="connsiteX15542" y="connsiteY15542"/>
                </a:cxn>
                <a:cxn ang="0">
                  <a:pos x="connsiteX15543" y="connsiteY15543"/>
                </a:cxn>
                <a:cxn ang="0">
                  <a:pos x="connsiteX15544" y="connsiteY15544"/>
                </a:cxn>
                <a:cxn ang="0">
                  <a:pos x="connsiteX15545" y="connsiteY15545"/>
                </a:cxn>
                <a:cxn ang="0">
                  <a:pos x="connsiteX15546" y="connsiteY15546"/>
                </a:cxn>
                <a:cxn ang="0">
                  <a:pos x="connsiteX15547" y="connsiteY15547"/>
                </a:cxn>
                <a:cxn ang="0">
                  <a:pos x="connsiteX15548" y="connsiteY15548"/>
                </a:cxn>
                <a:cxn ang="0">
                  <a:pos x="connsiteX15549" y="connsiteY15549"/>
                </a:cxn>
                <a:cxn ang="0">
                  <a:pos x="connsiteX15550" y="connsiteY15550"/>
                </a:cxn>
                <a:cxn ang="0">
                  <a:pos x="connsiteX15551" y="connsiteY15551"/>
                </a:cxn>
                <a:cxn ang="0">
                  <a:pos x="connsiteX15552" y="connsiteY15552"/>
                </a:cxn>
                <a:cxn ang="0">
                  <a:pos x="connsiteX15553" y="connsiteY15553"/>
                </a:cxn>
                <a:cxn ang="0">
                  <a:pos x="connsiteX15554" y="connsiteY15554"/>
                </a:cxn>
                <a:cxn ang="0">
                  <a:pos x="connsiteX15555" y="connsiteY15555"/>
                </a:cxn>
                <a:cxn ang="0">
                  <a:pos x="connsiteX15556" y="connsiteY15556"/>
                </a:cxn>
                <a:cxn ang="0">
                  <a:pos x="connsiteX15557" y="connsiteY15557"/>
                </a:cxn>
                <a:cxn ang="0">
                  <a:pos x="connsiteX15558" y="connsiteY15558"/>
                </a:cxn>
                <a:cxn ang="0">
                  <a:pos x="connsiteX15559" y="connsiteY15559"/>
                </a:cxn>
                <a:cxn ang="0">
                  <a:pos x="connsiteX15560" y="connsiteY15560"/>
                </a:cxn>
                <a:cxn ang="0">
                  <a:pos x="connsiteX15561" y="connsiteY15561"/>
                </a:cxn>
                <a:cxn ang="0">
                  <a:pos x="connsiteX15562" y="connsiteY15562"/>
                </a:cxn>
                <a:cxn ang="0">
                  <a:pos x="connsiteX15563" y="connsiteY15563"/>
                </a:cxn>
                <a:cxn ang="0">
                  <a:pos x="connsiteX15564" y="connsiteY15564"/>
                </a:cxn>
                <a:cxn ang="0">
                  <a:pos x="connsiteX15565" y="connsiteY15565"/>
                </a:cxn>
                <a:cxn ang="0">
                  <a:pos x="connsiteX15566" y="connsiteY15566"/>
                </a:cxn>
                <a:cxn ang="0">
                  <a:pos x="connsiteX15567" y="connsiteY15567"/>
                </a:cxn>
                <a:cxn ang="0">
                  <a:pos x="connsiteX15568" y="connsiteY15568"/>
                </a:cxn>
                <a:cxn ang="0">
                  <a:pos x="connsiteX15569" y="connsiteY15569"/>
                </a:cxn>
                <a:cxn ang="0">
                  <a:pos x="connsiteX15570" y="connsiteY15570"/>
                </a:cxn>
                <a:cxn ang="0">
                  <a:pos x="connsiteX15571" y="connsiteY15571"/>
                </a:cxn>
                <a:cxn ang="0">
                  <a:pos x="connsiteX15572" y="connsiteY15572"/>
                </a:cxn>
                <a:cxn ang="0">
                  <a:pos x="connsiteX15573" y="connsiteY15573"/>
                </a:cxn>
                <a:cxn ang="0">
                  <a:pos x="connsiteX15574" y="connsiteY15574"/>
                </a:cxn>
                <a:cxn ang="0">
                  <a:pos x="connsiteX15575" y="connsiteY15575"/>
                </a:cxn>
                <a:cxn ang="0">
                  <a:pos x="connsiteX15576" y="connsiteY15576"/>
                </a:cxn>
                <a:cxn ang="0">
                  <a:pos x="connsiteX15577" y="connsiteY15577"/>
                </a:cxn>
                <a:cxn ang="0">
                  <a:pos x="connsiteX15578" y="connsiteY15578"/>
                </a:cxn>
                <a:cxn ang="0">
                  <a:pos x="connsiteX15579" y="connsiteY15579"/>
                </a:cxn>
                <a:cxn ang="0">
                  <a:pos x="connsiteX15580" y="connsiteY15580"/>
                </a:cxn>
                <a:cxn ang="0">
                  <a:pos x="connsiteX15581" y="connsiteY15581"/>
                </a:cxn>
                <a:cxn ang="0">
                  <a:pos x="connsiteX15582" y="connsiteY15582"/>
                </a:cxn>
                <a:cxn ang="0">
                  <a:pos x="connsiteX15583" y="connsiteY15583"/>
                </a:cxn>
                <a:cxn ang="0">
                  <a:pos x="connsiteX15584" y="connsiteY15584"/>
                </a:cxn>
                <a:cxn ang="0">
                  <a:pos x="connsiteX15585" y="connsiteY15585"/>
                </a:cxn>
                <a:cxn ang="0">
                  <a:pos x="connsiteX15586" y="connsiteY15586"/>
                </a:cxn>
                <a:cxn ang="0">
                  <a:pos x="connsiteX15587" y="connsiteY15587"/>
                </a:cxn>
                <a:cxn ang="0">
                  <a:pos x="connsiteX15588" y="connsiteY15588"/>
                </a:cxn>
                <a:cxn ang="0">
                  <a:pos x="connsiteX15589" y="connsiteY15589"/>
                </a:cxn>
                <a:cxn ang="0">
                  <a:pos x="connsiteX15590" y="connsiteY15590"/>
                </a:cxn>
                <a:cxn ang="0">
                  <a:pos x="connsiteX15591" y="connsiteY15591"/>
                </a:cxn>
                <a:cxn ang="0">
                  <a:pos x="connsiteX15592" y="connsiteY15592"/>
                </a:cxn>
                <a:cxn ang="0">
                  <a:pos x="connsiteX15593" y="connsiteY15593"/>
                </a:cxn>
                <a:cxn ang="0">
                  <a:pos x="connsiteX15594" y="connsiteY15594"/>
                </a:cxn>
                <a:cxn ang="0">
                  <a:pos x="connsiteX15595" y="connsiteY15595"/>
                </a:cxn>
                <a:cxn ang="0">
                  <a:pos x="connsiteX15596" y="connsiteY15596"/>
                </a:cxn>
                <a:cxn ang="0">
                  <a:pos x="connsiteX15597" y="connsiteY15597"/>
                </a:cxn>
                <a:cxn ang="0">
                  <a:pos x="connsiteX15598" y="connsiteY15598"/>
                </a:cxn>
                <a:cxn ang="0">
                  <a:pos x="connsiteX15599" y="connsiteY15599"/>
                </a:cxn>
                <a:cxn ang="0">
                  <a:pos x="connsiteX15600" y="connsiteY15600"/>
                </a:cxn>
                <a:cxn ang="0">
                  <a:pos x="connsiteX15601" y="connsiteY15601"/>
                </a:cxn>
                <a:cxn ang="0">
                  <a:pos x="connsiteX15602" y="connsiteY15602"/>
                </a:cxn>
                <a:cxn ang="0">
                  <a:pos x="connsiteX15603" y="connsiteY15603"/>
                </a:cxn>
                <a:cxn ang="0">
                  <a:pos x="connsiteX15604" y="connsiteY15604"/>
                </a:cxn>
                <a:cxn ang="0">
                  <a:pos x="connsiteX15605" y="connsiteY15605"/>
                </a:cxn>
                <a:cxn ang="0">
                  <a:pos x="connsiteX15606" y="connsiteY15606"/>
                </a:cxn>
                <a:cxn ang="0">
                  <a:pos x="connsiteX15607" y="connsiteY15607"/>
                </a:cxn>
                <a:cxn ang="0">
                  <a:pos x="connsiteX15608" y="connsiteY15608"/>
                </a:cxn>
                <a:cxn ang="0">
                  <a:pos x="connsiteX15609" y="connsiteY15609"/>
                </a:cxn>
                <a:cxn ang="0">
                  <a:pos x="connsiteX15610" y="connsiteY15610"/>
                </a:cxn>
                <a:cxn ang="0">
                  <a:pos x="connsiteX15611" y="connsiteY15611"/>
                </a:cxn>
                <a:cxn ang="0">
                  <a:pos x="connsiteX15612" y="connsiteY15612"/>
                </a:cxn>
                <a:cxn ang="0">
                  <a:pos x="connsiteX15613" y="connsiteY15613"/>
                </a:cxn>
                <a:cxn ang="0">
                  <a:pos x="connsiteX15614" y="connsiteY15614"/>
                </a:cxn>
                <a:cxn ang="0">
                  <a:pos x="connsiteX15615" y="connsiteY15615"/>
                </a:cxn>
                <a:cxn ang="0">
                  <a:pos x="connsiteX15616" y="connsiteY15616"/>
                </a:cxn>
                <a:cxn ang="0">
                  <a:pos x="connsiteX15617" y="connsiteY15617"/>
                </a:cxn>
                <a:cxn ang="0">
                  <a:pos x="connsiteX15618" y="connsiteY15618"/>
                </a:cxn>
                <a:cxn ang="0">
                  <a:pos x="connsiteX15619" y="connsiteY15619"/>
                </a:cxn>
                <a:cxn ang="0">
                  <a:pos x="connsiteX15620" y="connsiteY15620"/>
                </a:cxn>
                <a:cxn ang="0">
                  <a:pos x="connsiteX15621" y="connsiteY15621"/>
                </a:cxn>
                <a:cxn ang="0">
                  <a:pos x="connsiteX15622" y="connsiteY15622"/>
                </a:cxn>
                <a:cxn ang="0">
                  <a:pos x="connsiteX15623" y="connsiteY15623"/>
                </a:cxn>
                <a:cxn ang="0">
                  <a:pos x="connsiteX15624" y="connsiteY15624"/>
                </a:cxn>
                <a:cxn ang="0">
                  <a:pos x="connsiteX15625" y="connsiteY15625"/>
                </a:cxn>
                <a:cxn ang="0">
                  <a:pos x="connsiteX15626" y="connsiteY15626"/>
                </a:cxn>
                <a:cxn ang="0">
                  <a:pos x="connsiteX15627" y="connsiteY15627"/>
                </a:cxn>
                <a:cxn ang="0">
                  <a:pos x="connsiteX15628" y="connsiteY15628"/>
                </a:cxn>
                <a:cxn ang="0">
                  <a:pos x="connsiteX15629" y="connsiteY15629"/>
                </a:cxn>
                <a:cxn ang="0">
                  <a:pos x="connsiteX15630" y="connsiteY15630"/>
                </a:cxn>
                <a:cxn ang="0">
                  <a:pos x="connsiteX15631" y="connsiteY15631"/>
                </a:cxn>
                <a:cxn ang="0">
                  <a:pos x="connsiteX15632" y="connsiteY15632"/>
                </a:cxn>
                <a:cxn ang="0">
                  <a:pos x="connsiteX15633" y="connsiteY15633"/>
                </a:cxn>
                <a:cxn ang="0">
                  <a:pos x="connsiteX15634" y="connsiteY15634"/>
                </a:cxn>
                <a:cxn ang="0">
                  <a:pos x="connsiteX15635" y="connsiteY15635"/>
                </a:cxn>
                <a:cxn ang="0">
                  <a:pos x="connsiteX15636" y="connsiteY15636"/>
                </a:cxn>
                <a:cxn ang="0">
                  <a:pos x="connsiteX15637" y="connsiteY15637"/>
                </a:cxn>
                <a:cxn ang="0">
                  <a:pos x="connsiteX15638" y="connsiteY15638"/>
                </a:cxn>
                <a:cxn ang="0">
                  <a:pos x="connsiteX15639" y="connsiteY15639"/>
                </a:cxn>
                <a:cxn ang="0">
                  <a:pos x="connsiteX15640" y="connsiteY15640"/>
                </a:cxn>
                <a:cxn ang="0">
                  <a:pos x="connsiteX15641" y="connsiteY15641"/>
                </a:cxn>
                <a:cxn ang="0">
                  <a:pos x="connsiteX15642" y="connsiteY15642"/>
                </a:cxn>
                <a:cxn ang="0">
                  <a:pos x="connsiteX15643" y="connsiteY15643"/>
                </a:cxn>
                <a:cxn ang="0">
                  <a:pos x="connsiteX15644" y="connsiteY15644"/>
                </a:cxn>
                <a:cxn ang="0">
                  <a:pos x="connsiteX15645" y="connsiteY15645"/>
                </a:cxn>
                <a:cxn ang="0">
                  <a:pos x="connsiteX15646" y="connsiteY15646"/>
                </a:cxn>
                <a:cxn ang="0">
                  <a:pos x="connsiteX15647" y="connsiteY15647"/>
                </a:cxn>
                <a:cxn ang="0">
                  <a:pos x="connsiteX15648" y="connsiteY15648"/>
                </a:cxn>
                <a:cxn ang="0">
                  <a:pos x="connsiteX15649" y="connsiteY15649"/>
                </a:cxn>
                <a:cxn ang="0">
                  <a:pos x="connsiteX15650" y="connsiteY15650"/>
                </a:cxn>
                <a:cxn ang="0">
                  <a:pos x="connsiteX15651" y="connsiteY15651"/>
                </a:cxn>
                <a:cxn ang="0">
                  <a:pos x="connsiteX15652" y="connsiteY15652"/>
                </a:cxn>
                <a:cxn ang="0">
                  <a:pos x="connsiteX15653" y="connsiteY15653"/>
                </a:cxn>
                <a:cxn ang="0">
                  <a:pos x="connsiteX15654" y="connsiteY15654"/>
                </a:cxn>
                <a:cxn ang="0">
                  <a:pos x="connsiteX15655" y="connsiteY15655"/>
                </a:cxn>
                <a:cxn ang="0">
                  <a:pos x="connsiteX15656" y="connsiteY15656"/>
                </a:cxn>
                <a:cxn ang="0">
                  <a:pos x="connsiteX15657" y="connsiteY15657"/>
                </a:cxn>
                <a:cxn ang="0">
                  <a:pos x="connsiteX15658" y="connsiteY15658"/>
                </a:cxn>
                <a:cxn ang="0">
                  <a:pos x="connsiteX15659" y="connsiteY15659"/>
                </a:cxn>
                <a:cxn ang="0">
                  <a:pos x="connsiteX15660" y="connsiteY15660"/>
                </a:cxn>
                <a:cxn ang="0">
                  <a:pos x="connsiteX15661" y="connsiteY15661"/>
                </a:cxn>
                <a:cxn ang="0">
                  <a:pos x="connsiteX15662" y="connsiteY15662"/>
                </a:cxn>
                <a:cxn ang="0">
                  <a:pos x="connsiteX15663" y="connsiteY15663"/>
                </a:cxn>
                <a:cxn ang="0">
                  <a:pos x="connsiteX15664" y="connsiteY15664"/>
                </a:cxn>
                <a:cxn ang="0">
                  <a:pos x="connsiteX15665" y="connsiteY15665"/>
                </a:cxn>
                <a:cxn ang="0">
                  <a:pos x="connsiteX15666" y="connsiteY15666"/>
                </a:cxn>
                <a:cxn ang="0">
                  <a:pos x="connsiteX15667" y="connsiteY15667"/>
                </a:cxn>
                <a:cxn ang="0">
                  <a:pos x="connsiteX15668" y="connsiteY15668"/>
                </a:cxn>
                <a:cxn ang="0">
                  <a:pos x="connsiteX15669" y="connsiteY15669"/>
                </a:cxn>
                <a:cxn ang="0">
                  <a:pos x="connsiteX15670" y="connsiteY15670"/>
                </a:cxn>
                <a:cxn ang="0">
                  <a:pos x="connsiteX15671" y="connsiteY15671"/>
                </a:cxn>
                <a:cxn ang="0">
                  <a:pos x="connsiteX15672" y="connsiteY15672"/>
                </a:cxn>
                <a:cxn ang="0">
                  <a:pos x="connsiteX15673" y="connsiteY15673"/>
                </a:cxn>
                <a:cxn ang="0">
                  <a:pos x="connsiteX15674" y="connsiteY15674"/>
                </a:cxn>
                <a:cxn ang="0">
                  <a:pos x="connsiteX15675" y="connsiteY15675"/>
                </a:cxn>
                <a:cxn ang="0">
                  <a:pos x="connsiteX15676" y="connsiteY15676"/>
                </a:cxn>
                <a:cxn ang="0">
                  <a:pos x="connsiteX15677" y="connsiteY15677"/>
                </a:cxn>
                <a:cxn ang="0">
                  <a:pos x="connsiteX15678" y="connsiteY15678"/>
                </a:cxn>
                <a:cxn ang="0">
                  <a:pos x="connsiteX15679" y="connsiteY15679"/>
                </a:cxn>
                <a:cxn ang="0">
                  <a:pos x="connsiteX15680" y="connsiteY15680"/>
                </a:cxn>
                <a:cxn ang="0">
                  <a:pos x="connsiteX15681" y="connsiteY15681"/>
                </a:cxn>
                <a:cxn ang="0">
                  <a:pos x="connsiteX15682" y="connsiteY15682"/>
                </a:cxn>
                <a:cxn ang="0">
                  <a:pos x="connsiteX15683" y="connsiteY15683"/>
                </a:cxn>
                <a:cxn ang="0">
                  <a:pos x="connsiteX15684" y="connsiteY15684"/>
                </a:cxn>
                <a:cxn ang="0">
                  <a:pos x="connsiteX15685" y="connsiteY15685"/>
                </a:cxn>
                <a:cxn ang="0">
                  <a:pos x="connsiteX15686" y="connsiteY15686"/>
                </a:cxn>
                <a:cxn ang="0">
                  <a:pos x="connsiteX15687" y="connsiteY15687"/>
                </a:cxn>
                <a:cxn ang="0">
                  <a:pos x="connsiteX15688" y="connsiteY15688"/>
                </a:cxn>
                <a:cxn ang="0">
                  <a:pos x="connsiteX15689" y="connsiteY15689"/>
                </a:cxn>
                <a:cxn ang="0">
                  <a:pos x="connsiteX15690" y="connsiteY15690"/>
                </a:cxn>
                <a:cxn ang="0">
                  <a:pos x="connsiteX15691" y="connsiteY15691"/>
                </a:cxn>
                <a:cxn ang="0">
                  <a:pos x="connsiteX15692" y="connsiteY15692"/>
                </a:cxn>
                <a:cxn ang="0">
                  <a:pos x="connsiteX15693" y="connsiteY15693"/>
                </a:cxn>
                <a:cxn ang="0">
                  <a:pos x="connsiteX15694" y="connsiteY15694"/>
                </a:cxn>
                <a:cxn ang="0">
                  <a:pos x="connsiteX15695" y="connsiteY15695"/>
                </a:cxn>
                <a:cxn ang="0">
                  <a:pos x="connsiteX15696" y="connsiteY15696"/>
                </a:cxn>
                <a:cxn ang="0">
                  <a:pos x="connsiteX15697" y="connsiteY15697"/>
                </a:cxn>
                <a:cxn ang="0">
                  <a:pos x="connsiteX15698" y="connsiteY15698"/>
                </a:cxn>
                <a:cxn ang="0">
                  <a:pos x="connsiteX15699" y="connsiteY15699"/>
                </a:cxn>
                <a:cxn ang="0">
                  <a:pos x="connsiteX15700" y="connsiteY15700"/>
                </a:cxn>
                <a:cxn ang="0">
                  <a:pos x="connsiteX15701" y="connsiteY15701"/>
                </a:cxn>
                <a:cxn ang="0">
                  <a:pos x="connsiteX15702" y="connsiteY15702"/>
                </a:cxn>
                <a:cxn ang="0">
                  <a:pos x="connsiteX15703" y="connsiteY15703"/>
                </a:cxn>
                <a:cxn ang="0">
                  <a:pos x="connsiteX15704" y="connsiteY15704"/>
                </a:cxn>
                <a:cxn ang="0">
                  <a:pos x="connsiteX15705" y="connsiteY15705"/>
                </a:cxn>
                <a:cxn ang="0">
                  <a:pos x="connsiteX15706" y="connsiteY15706"/>
                </a:cxn>
                <a:cxn ang="0">
                  <a:pos x="connsiteX15707" y="connsiteY15707"/>
                </a:cxn>
                <a:cxn ang="0">
                  <a:pos x="connsiteX15708" y="connsiteY15708"/>
                </a:cxn>
                <a:cxn ang="0">
                  <a:pos x="connsiteX15709" y="connsiteY15709"/>
                </a:cxn>
                <a:cxn ang="0">
                  <a:pos x="connsiteX15710" y="connsiteY15710"/>
                </a:cxn>
                <a:cxn ang="0">
                  <a:pos x="connsiteX15711" y="connsiteY15711"/>
                </a:cxn>
                <a:cxn ang="0">
                  <a:pos x="connsiteX15712" y="connsiteY15712"/>
                </a:cxn>
                <a:cxn ang="0">
                  <a:pos x="connsiteX15713" y="connsiteY15713"/>
                </a:cxn>
                <a:cxn ang="0">
                  <a:pos x="connsiteX15714" y="connsiteY15714"/>
                </a:cxn>
                <a:cxn ang="0">
                  <a:pos x="connsiteX15715" y="connsiteY15715"/>
                </a:cxn>
                <a:cxn ang="0">
                  <a:pos x="connsiteX15716" y="connsiteY15716"/>
                </a:cxn>
                <a:cxn ang="0">
                  <a:pos x="connsiteX15717" y="connsiteY15717"/>
                </a:cxn>
                <a:cxn ang="0">
                  <a:pos x="connsiteX15718" y="connsiteY15718"/>
                </a:cxn>
                <a:cxn ang="0">
                  <a:pos x="connsiteX15719" y="connsiteY15719"/>
                </a:cxn>
                <a:cxn ang="0">
                  <a:pos x="connsiteX15720" y="connsiteY15720"/>
                </a:cxn>
                <a:cxn ang="0">
                  <a:pos x="connsiteX15721" y="connsiteY15721"/>
                </a:cxn>
                <a:cxn ang="0">
                  <a:pos x="connsiteX15722" y="connsiteY15722"/>
                </a:cxn>
                <a:cxn ang="0">
                  <a:pos x="connsiteX15723" y="connsiteY15723"/>
                </a:cxn>
                <a:cxn ang="0">
                  <a:pos x="connsiteX15724" y="connsiteY15724"/>
                </a:cxn>
                <a:cxn ang="0">
                  <a:pos x="connsiteX15725" y="connsiteY15725"/>
                </a:cxn>
                <a:cxn ang="0">
                  <a:pos x="connsiteX15726" y="connsiteY15726"/>
                </a:cxn>
                <a:cxn ang="0">
                  <a:pos x="connsiteX15727" y="connsiteY15727"/>
                </a:cxn>
                <a:cxn ang="0">
                  <a:pos x="connsiteX15728" y="connsiteY15728"/>
                </a:cxn>
                <a:cxn ang="0">
                  <a:pos x="connsiteX15729" y="connsiteY15729"/>
                </a:cxn>
                <a:cxn ang="0">
                  <a:pos x="connsiteX15730" y="connsiteY15730"/>
                </a:cxn>
                <a:cxn ang="0">
                  <a:pos x="connsiteX15731" y="connsiteY15731"/>
                </a:cxn>
                <a:cxn ang="0">
                  <a:pos x="connsiteX15732" y="connsiteY15732"/>
                </a:cxn>
                <a:cxn ang="0">
                  <a:pos x="connsiteX15733" y="connsiteY15733"/>
                </a:cxn>
                <a:cxn ang="0">
                  <a:pos x="connsiteX15734" y="connsiteY15734"/>
                </a:cxn>
                <a:cxn ang="0">
                  <a:pos x="connsiteX15735" y="connsiteY15735"/>
                </a:cxn>
                <a:cxn ang="0">
                  <a:pos x="connsiteX15736" y="connsiteY15736"/>
                </a:cxn>
                <a:cxn ang="0">
                  <a:pos x="connsiteX15737" y="connsiteY15737"/>
                </a:cxn>
                <a:cxn ang="0">
                  <a:pos x="connsiteX15738" y="connsiteY15738"/>
                </a:cxn>
                <a:cxn ang="0">
                  <a:pos x="connsiteX15739" y="connsiteY15739"/>
                </a:cxn>
                <a:cxn ang="0">
                  <a:pos x="connsiteX15740" y="connsiteY15740"/>
                </a:cxn>
                <a:cxn ang="0">
                  <a:pos x="connsiteX15741" y="connsiteY15741"/>
                </a:cxn>
                <a:cxn ang="0">
                  <a:pos x="connsiteX15742" y="connsiteY15742"/>
                </a:cxn>
                <a:cxn ang="0">
                  <a:pos x="connsiteX15743" y="connsiteY15743"/>
                </a:cxn>
                <a:cxn ang="0">
                  <a:pos x="connsiteX15744" y="connsiteY15744"/>
                </a:cxn>
                <a:cxn ang="0">
                  <a:pos x="connsiteX15745" y="connsiteY15745"/>
                </a:cxn>
                <a:cxn ang="0">
                  <a:pos x="connsiteX15746" y="connsiteY15746"/>
                </a:cxn>
                <a:cxn ang="0">
                  <a:pos x="connsiteX15747" y="connsiteY15747"/>
                </a:cxn>
                <a:cxn ang="0">
                  <a:pos x="connsiteX15748" y="connsiteY15748"/>
                </a:cxn>
                <a:cxn ang="0">
                  <a:pos x="connsiteX15749" y="connsiteY15749"/>
                </a:cxn>
                <a:cxn ang="0">
                  <a:pos x="connsiteX15750" y="connsiteY15750"/>
                </a:cxn>
                <a:cxn ang="0">
                  <a:pos x="connsiteX15751" y="connsiteY15751"/>
                </a:cxn>
                <a:cxn ang="0">
                  <a:pos x="connsiteX15752" y="connsiteY15752"/>
                </a:cxn>
                <a:cxn ang="0">
                  <a:pos x="connsiteX15753" y="connsiteY15753"/>
                </a:cxn>
                <a:cxn ang="0">
                  <a:pos x="connsiteX15754" y="connsiteY15754"/>
                </a:cxn>
                <a:cxn ang="0">
                  <a:pos x="connsiteX15755" y="connsiteY15755"/>
                </a:cxn>
                <a:cxn ang="0">
                  <a:pos x="connsiteX15756" y="connsiteY15756"/>
                </a:cxn>
                <a:cxn ang="0">
                  <a:pos x="connsiteX15757" y="connsiteY15757"/>
                </a:cxn>
                <a:cxn ang="0">
                  <a:pos x="connsiteX15758" y="connsiteY15758"/>
                </a:cxn>
                <a:cxn ang="0">
                  <a:pos x="connsiteX15759" y="connsiteY15759"/>
                </a:cxn>
                <a:cxn ang="0">
                  <a:pos x="connsiteX15760" y="connsiteY15760"/>
                </a:cxn>
                <a:cxn ang="0">
                  <a:pos x="connsiteX15761" y="connsiteY15761"/>
                </a:cxn>
                <a:cxn ang="0">
                  <a:pos x="connsiteX15762" y="connsiteY15762"/>
                </a:cxn>
                <a:cxn ang="0">
                  <a:pos x="connsiteX15763" y="connsiteY15763"/>
                </a:cxn>
                <a:cxn ang="0">
                  <a:pos x="connsiteX15764" y="connsiteY15764"/>
                </a:cxn>
                <a:cxn ang="0">
                  <a:pos x="connsiteX15765" y="connsiteY15765"/>
                </a:cxn>
                <a:cxn ang="0">
                  <a:pos x="connsiteX15766" y="connsiteY15766"/>
                </a:cxn>
                <a:cxn ang="0">
                  <a:pos x="connsiteX15767" y="connsiteY15767"/>
                </a:cxn>
                <a:cxn ang="0">
                  <a:pos x="connsiteX15768" y="connsiteY15768"/>
                </a:cxn>
                <a:cxn ang="0">
                  <a:pos x="connsiteX15769" y="connsiteY15769"/>
                </a:cxn>
                <a:cxn ang="0">
                  <a:pos x="connsiteX15770" y="connsiteY15770"/>
                </a:cxn>
                <a:cxn ang="0">
                  <a:pos x="connsiteX15771" y="connsiteY15771"/>
                </a:cxn>
                <a:cxn ang="0">
                  <a:pos x="connsiteX15772" y="connsiteY15772"/>
                </a:cxn>
                <a:cxn ang="0">
                  <a:pos x="connsiteX15773" y="connsiteY15773"/>
                </a:cxn>
                <a:cxn ang="0">
                  <a:pos x="connsiteX15774" y="connsiteY15774"/>
                </a:cxn>
                <a:cxn ang="0">
                  <a:pos x="connsiteX15775" y="connsiteY15775"/>
                </a:cxn>
                <a:cxn ang="0">
                  <a:pos x="connsiteX15776" y="connsiteY15776"/>
                </a:cxn>
                <a:cxn ang="0">
                  <a:pos x="connsiteX15777" y="connsiteY15777"/>
                </a:cxn>
                <a:cxn ang="0">
                  <a:pos x="connsiteX15778" y="connsiteY15778"/>
                </a:cxn>
                <a:cxn ang="0">
                  <a:pos x="connsiteX15779" y="connsiteY15779"/>
                </a:cxn>
                <a:cxn ang="0">
                  <a:pos x="connsiteX15780" y="connsiteY15780"/>
                </a:cxn>
                <a:cxn ang="0">
                  <a:pos x="connsiteX15781" y="connsiteY15781"/>
                </a:cxn>
                <a:cxn ang="0">
                  <a:pos x="connsiteX15782" y="connsiteY15782"/>
                </a:cxn>
                <a:cxn ang="0">
                  <a:pos x="connsiteX15783" y="connsiteY15783"/>
                </a:cxn>
                <a:cxn ang="0">
                  <a:pos x="connsiteX15784" y="connsiteY15784"/>
                </a:cxn>
                <a:cxn ang="0">
                  <a:pos x="connsiteX15785" y="connsiteY15785"/>
                </a:cxn>
                <a:cxn ang="0">
                  <a:pos x="connsiteX15786" y="connsiteY15786"/>
                </a:cxn>
                <a:cxn ang="0">
                  <a:pos x="connsiteX15787" y="connsiteY15787"/>
                </a:cxn>
                <a:cxn ang="0">
                  <a:pos x="connsiteX15788" y="connsiteY15788"/>
                </a:cxn>
                <a:cxn ang="0">
                  <a:pos x="connsiteX15789" y="connsiteY15789"/>
                </a:cxn>
                <a:cxn ang="0">
                  <a:pos x="connsiteX15790" y="connsiteY15790"/>
                </a:cxn>
                <a:cxn ang="0">
                  <a:pos x="connsiteX15791" y="connsiteY15791"/>
                </a:cxn>
                <a:cxn ang="0">
                  <a:pos x="connsiteX15792" y="connsiteY15792"/>
                </a:cxn>
                <a:cxn ang="0">
                  <a:pos x="connsiteX15793" y="connsiteY15793"/>
                </a:cxn>
                <a:cxn ang="0">
                  <a:pos x="connsiteX15794" y="connsiteY15794"/>
                </a:cxn>
                <a:cxn ang="0">
                  <a:pos x="connsiteX15795" y="connsiteY15795"/>
                </a:cxn>
                <a:cxn ang="0">
                  <a:pos x="connsiteX15796" y="connsiteY15796"/>
                </a:cxn>
                <a:cxn ang="0">
                  <a:pos x="connsiteX15797" y="connsiteY15797"/>
                </a:cxn>
                <a:cxn ang="0">
                  <a:pos x="connsiteX15798" y="connsiteY15798"/>
                </a:cxn>
                <a:cxn ang="0">
                  <a:pos x="connsiteX15799" y="connsiteY15799"/>
                </a:cxn>
                <a:cxn ang="0">
                  <a:pos x="connsiteX15800" y="connsiteY15800"/>
                </a:cxn>
                <a:cxn ang="0">
                  <a:pos x="connsiteX15801" y="connsiteY15801"/>
                </a:cxn>
                <a:cxn ang="0">
                  <a:pos x="connsiteX15802" y="connsiteY15802"/>
                </a:cxn>
                <a:cxn ang="0">
                  <a:pos x="connsiteX15803" y="connsiteY15803"/>
                </a:cxn>
                <a:cxn ang="0">
                  <a:pos x="connsiteX15804" y="connsiteY15804"/>
                </a:cxn>
                <a:cxn ang="0">
                  <a:pos x="connsiteX15805" y="connsiteY15805"/>
                </a:cxn>
                <a:cxn ang="0">
                  <a:pos x="connsiteX15806" y="connsiteY15806"/>
                </a:cxn>
                <a:cxn ang="0">
                  <a:pos x="connsiteX15807" y="connsiteY15807"/>
                </a:cxn>
                <a:cxn ang="0">
                  <a:pos x="connsiteX15808" y="connsiteY15808"/>
                </a:cxn>
                <a:cxn ang="0">
                  <a:pos x="connsiteX15809" y="connsiteY15809"/>
                </a:cxn>
                <a:cxn ang="0">
                  <a:pos x="connsiteX15810" y="connsiteY15810"/>
                </a:cxn>
                <a:cxn ang="0">
                  <a:pos x="connsiteX15811" y="connsiteY15811"/>
                </a:cxn>
                <a:cxn ang="0">
                  <a:pos x="connsiteX15812" y="connsiteY15812"/>
                </a:cxn>
                <a:cxn ang="0">
                  <a:pos x="connsiteX15813" y="connsiteY15813"/>
                </a:cxn>
                <a:cxn ang="0">
                  <a:pos x="connsiteX15814" y="connsiteY15814"/>
                </a:cxn>
                <a:cxn ang="0">
                  <a:pos x="connsiteX15815" y="connsiteY15815"/>
                </a:cxn>
                <a:cxn ang="0">
                  <a:pos x="connsiteX15816" y="connsiteY15816"/>
                </a:cxn>
                <a:cxn ang="0">
                  <a:pos x="connsiteX15817" y="connsiteY15817"/>
                </a:cxn>
                <a:cxn ang="0">
                  <a:pos x="connsiteX15818" y="connsiteY15818"/>
                </a:cxn>
                <a:cxn ang="0">
                  <a:pos x="connsiteX15819" y="connsiteY15819"/>
                </a:cxn>
                <a:cxn ang="0">
                  <a:pos x="connsiteX15820" y="connsiteY15820"/>
                </a:cxn>
                <a:cxn ang="0">
                  <a:pos x="connsiteX15821" y="connsiteY15821"/>
                </a:cxn>
                <a:cxn ang="0">
                  <a:pos x="connsiteX15822" y="connsiteY15822"/>
                </a:cxn>
                <a:cxn ang="0">
                  <a:pos x="connsiteX15823" y="connsiteY15823"/>
                </a:cxn>
                <a:cxn ang="0">
                  <a:pos x="connsiteX15824" y="connsiteY15824"/>
                </a:cxn>
                <a:cxn ang="0">
                  <a:pos x="connsiteX15825" y="connsiteY15825"/>
                </a:cxn>
                <a:cxn ang="0">
                  <a:pos x="connsiteX15826" y="connsiteY15826"/>
                </a:cxn>
                <a:cxn ang="0">
                  <a:pos x="connsiteX15827" y="connsiteY15827"/>
                </a:cxn>
                <a:cxn ang="0">
                  <a:pos x="connsiteX15828" y="connsiteY15828"/>
                </a:cxn>
                <a:cxn ang="0">
                  <a:pos x="connsiteX15829" y="connsiteY15829"/>
                </a:cxn>
                <a:cxn ang="0">
                  <a:pos x="connsiteX15830" y="connsiteY15830"/>
                </a:cxn>
                <a:cxn ang="0">
                  <a:pos x="connsiteX15831" y="connsiteY15831"/>
                </a:cxn>
                <a:cxn ang="0">
                  <a:pos x="connsiteX15832" y="connsiteY15832"/>
                </a:cxn>
                <a:cxn ang="0">
                  <a:pos x="connsiteX15833" y="connsiteY15833"/>
                </a:cxn>
                <a:cxn ang="0">
                  <a:pos x="connsiteX15834" y="connsiteY15834"/>
                </a:cxn>
                <a:cxn ang="0">
                  <a:pos x="connsiteX15835" y="connsiteY15835"/>
                </a:cxn>
                <a:cxn ang="0">
                  <a:pos x="connsiteX15836" y="connsiteY15836"/>
                </a:cxn>
                <a:cxn ang="0">
                  <a:pos x="connsiteX15837" y="connsiteY15837"/>
                </a:cxn>
                <a:cxn ang="0">
                  <a:pos x="connsiteX15838" y="connsiteY15838"/>
                </a:cxn>
                <a:cxn ang="0">
                  <a:pos x="connsiteX15839" y="connsiteY15839"/>
                </a:cxn>
                <a:cxn ang="0">
                  <a:pos x="connsiteX15840" y="connsiteY15840"/>
                </a:cxn>
                <a:cxn ang="0">
                  <a:pos x="connsiteX15841" y="connsiteY15841"/>
                </a:cxn>
                <a:cxn ang="0">
                  <a:pos x="connsiteX15842" y="connsiteY15842"/>
                </a:cxn>
                <a:cxn ang="0">
                  <a:pos x="connsiteX15843" y="connsiteY15843"/>
                </a:cxn>
                <a:cxn ang="0">
                  <a:pos x="connsiteX15844" y="connsiteY15844"/>
                </a:cxn>
                <a:cxn ang="0">
                  <a:pos x="connsiteX15845" y="connsiteY15845"/>
                </a:cxn>
                <a:cxn ang="0">
                  <a:pos x="connsiteX15846" y="connsiteY15846"/>
                </a:cxn>
                <a:cxn ang="0">
                  <a:pos x="connsiteX15847" y="connsiteY15847"/>
                </a:cxn>
                <a:cxn ang="0">
                  <a:pos x="connsiteX15848" y="connsiteY15848"/>
                </a:cxn>
                <a:cxn ang="0">
                  <a:pos x="connsiteX15849" y="connsiteY15849"/>
                </a:cxn>
                <a:cxn ang="0">
                  <a:pos x="connsiteX15850" y="connsiteY15850"/>
                </a:cxn>
                <a:cxn ang="0">
                  <a:pos x="connsiteX15851" y="connsiteY15851"/>
                </a:cxn>
                <a:cxn ang="0">
                  <a:pos x="connsiteX15852" y="connsiteY15852"/>
                </a:cxn>
                <a:cxn ang="0">
                  <a:pos x="connsiteX15853" y="connsiteY15853"/>
                </a:cxn>
                <a:cxn ang="0">
                  <a:pos x="connsiteX15854" y="connsiteY15854"/>
                </a:cxn>
                <a:cxn ang="0">
                  <a:pos x="connsiteX15855" y="connsiteY15855"/>
                </a:cxn>
                <a:cxn ang="0">
                  <a:pos x="connsiteX15856" y="connsiteY15856"/>
                </a:cxn>
                <a:cxn ang="0">
                  <a:pos x="connsiteX15857" y="connsiteY15857"/>
                </a:cxn>
                <a:cxn ang="0">
                  <a:pos x="connsiteX15858" y="connsiteY15858"/>
                </a:cxn>
                <a:cxn ang="0">
                  <a:pos x="connsiteX15859" y="connsiteY15859"/>
                </a:cxn>
                <a:cxn ang="0">
                  <a:pos x="connsiteX15860" y="connsiteY15860"/>
                </a:cxn>
                <a:cxn ang="0">
                  <a:pos x="connsiteX15861" y="connsiteY15861"/>
                </a:cxn>
                <a:cxn ang="0">
                  <a:pos x="connsiteX15862" y="connsiteY15862"/>
                </a:cxn>
                <a:cxn ang="0">
                  <a:pos x="connsiteX15863" y="connsiteY15863"/>
                </a:cxn>
                <a:cxn ang="0">
                  <a:pos x="connsiteX15864" y="connsiteY15864"/>
                </a:cxn>
                <a:cxn ang="0">
                  <a:pos x="connsiteX15865" y="connsiteY15865"/>
                </a:cxn>
                <a:cxn ang="0">
                  <a:pos x="connsiteX15866" y="connsiteY15866"/>
                </a:cxn>
                <a:cxn ang="0">
                  <a:pos x="connsiteX15867" y="connsiteY15867"/>
                </a:cxn>
                <a:cxn ang="0">
                  <a:pos x="connsiteX15868" y="connsiteY15868"/>
                </a:cxn>
                <a:cxn ang="0">
                  <a:pos x="connsiteX15869" y="connsiteY15869"/>
                </a:cxn>
                <a:cxn ang="0">
                  <a:pos x="connsiteX15870" y="connsiteY15870"/>
                </a:cxn>
                <a:cxn ang="0">
                  <a:pos x="connsiteX15871" y="connsiteY15871"/>
                </a:cxn>
                <a:cxn ang="0">
                  <a:pos x="connsiteX15872" y="connsiteY15872"/>
                </a:cxn>
                <a:cxn ang="0">
                  <a:pos x="connsiteX15873" y="connsiteY15873"/>
                </a:cxn>
                <a:cxn ang="0">
                  <a:pos x="connsiteX15874" y="connsiteY15874"/>
                </a:cxn>
                <a:cxn ang="0">
                  <a:pos x="connsiteX15875" y="connsiteY15875"/>
                </a:cxn>
                <a:cxn ang="0">
                  <a:pos x="connsiteX15876" y="connsiteY15876"/>
                </a:cxn>
                <a:cxn ang="0">
                  <a:pos x="connsiteX15877" y="connsiteY15877"/>
                </a:cxn>
                <a:cxn ang="0">
                  <a:pos x="connsiteX15878" y="connsiteY15878"/>
                </a:cxn>
                <a:cxn ang="0">
                  <a:pos x="connsiteX15879" y="connsiteY15879"/>
                </a:cxn>
                <a:cxn ang="0">
                  <a:pos x="connsiteX15880" y="connsiteY15880"/>
                </a:cxn>
                <a:cxn ang="0">
                  <a:pos x="connsiteX15881" y="connsiteY15881"/>
                </a:cxn>
                <a:cxn ang="0">
                  <a:pos x="connsiteX15882" y="connsiteY15882"/>
                </a:cxn>
                <a:cxn ang="0">
                  <a:pos x="connsiteX15883" y="connsiteY15883"/>
                </a:cxn>
                <a:cxn ang="0">
                  <a:pos x="connsiteX15884" y="connsiteY15884"/>
                </a:cxn>
                <a:cxn ang="0">
                  <a:pos x="connsiteX15885" y="connsiteY15885"/>
                </a:cxn>
                <a:cxn ang="0">
                  <a:pos x="connsiteX15886" y="connsiteY15886"/>
                </a:cxn>
                <a:cxn ang="0">
                  <a:pos x="connsiteX15887" y="connsiteY15887"/>
                </a:cxn>
                <a:cxn ang="0">
                  <a:pos x="connsiteX15888" y="connsiteY15888"/>
                </a:cxn>
                <a:cxn ang="0">
                  <a:pos x="connsiteX15889" y="connsiteY15889"/>
                </a:cxn>
                <a:cxn ang="0">
                  <a:pos x="connsiteX15890" y="connsiteY15890"/>
                </a:cxn>
                <a:cxn ang="0">
                  <a:pos x="connsiteX15891" y="connsiteY15891"/>
                </a:cxn>
                <a:cxn ang="0">
                  <a:pos x="connsiteX15892" y="connsiteY15892"/>
                </a:cxn>
                <a:cxn ang="0">
                  <a:pos x="connsiteX15893" y="connsiteY15893"/>
                </a:cxn>
                <a:cxn ang="0">
                  <a:pos x="connsiteX15894" y="connsiteY15894"/>
                </a:cxn>
                <a:cxn ang="0">
                  <a:pos x="connsiteX15895" y="connsiteY15895"/>
                </a:cxn>
                <a:cxn ang="0">
                  <a:pos x="connsiteX15896" y="connsiteY15896"/>
                </a:cxn>
                <a:cxn ang="0">
                  <a:pos x="connsiteX15897" y="connsiteY15897"/>
                </a:cxn>
                <a:cxn ang="0">
                  <a:pos x="connsiteX15898" y="connsiteY15898"/>
                </a:cxn>
                <a:cxn ang="0">
                  <a:pos x="connsiteX15899" y="connsiteY15899"/>
                </a:cxn>
                <a:cxn ang="0">
                  <a:pos x="connsiteX15900" y="connsiteY15900"/>
                </a:cxn>
                <a:cxn ang="0">
                  <a:pos x="connsiteX15901" y="connsiteY15901"/>
                </a:cxn>
                <a:cxn ang="0">
                  <a:pos x="connsiteX15902" y="connsiteY15902"/>
                </a:cxn>
                <a:cxn ang="0">
                  <a:pos x="connsiteX15903" y="connsiteY15903"/>
                </a:cxn>
                <a:cxn ang="0">
                  <a:pos x="connsiteX15904" y="connsiteY15904"/>
                </a:cxn>
                <a:cxn ang="0">
                  <a:pos x="connsiteX15905" y="connsiteY15905"/>
                </a:cxn>
                <a:cxn ang="0">
                  <a:pos x="connsiteX15906" y="connsiteY15906"/>
                </a:cxn>
                <a:cxn ang="0">
                  <a:pos x="connsiteX15907" y="connsiteY15907"/>
                </a:cxn>
                <a:cxn ang="0">
                  <a:pos x="connsiteX15908" y="connsiteY15908"/>
                </a:cxn>
                <a:cxn ang="0">
                  <a:pos x="connsiteX15909" y="connsiteY15909"/>
                </a:cxn>
                <a:cxn ang="0">
                  <a:pos x="connsiteX15910" y="connsiteY15910"/>
                </a:cxn>
                <a:cxn ang="0">
                  <a:pos x="connsiteX15911" y="connsiteY15911"/>
                </a:cxn>
                <a:cxn ang="0">
                  <a:pos x="connsiteX15912" y="connsiteY15912"/>
                </a:cxn>
                <a:cxn ang="0">
                  <a:pos x="connsiteX15913" y="connsiteY15913"/>
                </a:cxn>
                <a:cxn ang="0">
                  <a:pos x="connsiteX15914" y="connsiteY15914"/>
                </a:cxn>
                <a:cxn ang="0">
                  <a:pos x="connsiteX15915" y="connsiteY15915"/>
                </a:cxn>
                <a:cxn ang="0">
                  <a:pos x="connsiteX15916" y="connsiteY15916"/>
                </a:cxn>
                <a:cxn ang="0">
                  <a:pos x="connsiteX15917" y="connsiteY15917"/>
                </a:cxn>
                <a:cxn ang="0">
                  <a:pos x="connsiteX15918" y="connsiteY15918"/>
                </a:cxn>
                <a:cxn ang="0">
                  <a:pos x="connsiteX15919" y="connsiteY15919"/>
                </a:cxn>
                <a:cxn ang="0">
                  <a:pos x="connsiteX15920" y="connsiteY15920"/>
                </a:cxn>
                <a:cxn ang="0">
                  <a:pos x="connsiteX15921" y="connsiteY15921"/>
                </a:cxn>
                <a:cxn ang="0">
                  <a:pos x="connsiteX15922" y="connsiteY15922"/>
                </a:cxn>
                <a:cxn ang="0">
                  <a:pos x="connsiteX15923" y="connsiteY15923"/>
                </a:cxn>
                <a:cxn ang="0">
                  <a:pos x="connsiteX15924" y="connsiteY15924"/>
                </a:cxn>
                <a:cxn ang="0">
                  <a:pos x="connsiteX15925" y="connsiteY15925"/>
                </a:cxn>
                <a:cxn ang="0">
                  <a:pos x="connsiteX15926" y="connsiteY15926"/>
                </a:cxn>
                <a:cxn ang="0">
                  <a:pos x="connsiteX15927" y="connsiteY15927"/>
                </a:cxn>
                <a:cxn ang="0">
                  <a:pos x="connsiteX15928" y="connsiteY15928"/>
                </a:cxn>
                <a:cxn ang="0">
                  <a:pos x="connsiteX15929" y="connsiteY15929"/>
                </a:cxn>
                <a:cxn ang="0">
                  <a:pos x="connsiteX15930" y="connsiteY15930"/>
                </a:cxn>
                <a:cxn ang="0">
                  <a:pos x="connsiteX15931" y="connsiteY15931"/>
                </a:cxn>
                <a:cxn ang="0">
                  <a:pos x="connsiteX15932" y="connsiteY15932"/>
                </a:cxn>
                <a:cxn ang="0">
                  <a:pos x="connsiteX15933" y="connsiteY15933"/>
                </a:cxn>
                <a:cxn ang="0">
                  <a:pos x="connsiteX15934" y="connsiteY15934"/>
                </a:cxn>
                <a:cxn ang="0">
                  <a:pos x="connsiteX15935" y="connsiteY15935"/>
                </a:cxn>
                <a:cxn ang="0">
                  <a:pos x="connsiteX15936" y="connsiteY15936"/>
                </a:cxn>
                <a:cxn ang="0">
                  <a:pos x="connsiteX15937" y="connsiteY15937"/>
                </a:cxn>
                <a:cxn ang="0">
                  <a:pos x="connsiteX15938" y="connsiteY15938"/>
                </a:cxn>
                <a:cxn ang="0">
                  <a:pos x="connsiteX15939" y="connsiteY15939"/>
                </a:cxn>
                <a:cxn ang="0">
                  <a:pos x="connsiteX15940" y="connsiteY15940"/>
                </a:cxn>
                <a:cxn ang="0">
                  <a:pos x="connsiteX15941" y="connsiteY15941"/>
                </a:cxn>
                <a:cxn ang="0">
                  <a:pos x="connsiteX15942" y="connsiteY15942"/>
                </a:cxn>
                <a:cxn ang="0">
                  <a:pos x="connsiteX15943" y="connsiteY15943"/>
                </a:cxn>
                <a:cxn ang="0">
                  <a:pos x="connsiteX15944" y="connsiteY15944"/>
                </a:cxn>
                <a:cxn ang="0">
                  <a:pos x="connsiteX15945" y="connsiteY15945"/>
                </a:cxn>
                <a:cxn ang="0">
                  <a:pos x="connsiteX15946" y="connsiteY15946"/>
                </a:cxn>
                <a:cxn ang="0">
                  <a:pos x="connsiteX15947" y="connsiteY15947"/>
                </a:cxn>
                <a:cxn ang="0">
                  <a:pos x="connsiteX15948" y="connsiteY15948"/>
                </a:cxn>
                <a:cxn ang="0">
                  <a:pos x="connsiteX15949" y="connsiteY15949"/>
                </a:cxn>
                <a:cxn ang="0">
                  <a:pos x="connsiteX15950" y="connsiteY15950"/>
                </a:cxn>
                <a:cxn ang="0">
                  <a:pos x="connsiteX15951" y="connsiteY15951"/>
                </a:cxn>
                <a:cxn ang="0">
                  <a:pos x="connsiteX15952" y="connsiteY15952"/>
                </a:cxn>
                <a:cxn ang="0">
                  <a:pos x="connsiteX15953" y="connsiteY15953"/>
                </a:cxn>
                <a:cxn ang="0">
                  <a:pos x="connsiteX15954" y="connsiteY15954"/>
                </a:cxn>
                <a:cxn ang="0">
                  <a:pos x="connsiteX15955" y="connsiteY15955"/>
                </a:cxn>
                <a:cxn ang="0">
                  <a:pos x="connsiteX15956" y="connsiteY15956"/>
                </a:cxn>
                <a:cxn ang="0">
                  <a:pos x="connsiteX15957" y="connsiteY15957"/>
                </a:cxn>
                <a:cxn ang="0">
                  <a:pos x="connsiteX15958" y="connsiteY15958"/>
                </a:cxn>
                <a:cxn ang="0">
                  <a:pos x="connsiteX15959" y="connsiteY15959"/>
                </a:cxn>
                <a:cxn ang="0">
                  <a:pos x="connsiteX15960" y="connsiteY15960"/>
                </a:cxn>
                <a:cxn ang="0">
                  <a:pos x="connsiteX15961" y="connsiteY15961"/>
                </a:cxn>
                <a:cxn ang="0">
                  <a:pos x="connsiteX15962" y="connsiteY15962"/>
                </a:cxn>
                <a:cxn ang="0">
                  <a:pos x="connsiteX15963" y="connsiteY15963"/>
                </a:cxn>
                <a:cxn ang="0">
                  <a:pos x="connsiteX15964" y="connsiteY15964"/>
                </a:cxn>
                <a:cxn ang="0">
                  <a:pos x="connsiteX15965" y="connsiteY15965"/>
                </a:cxn>
                <a:cxn ang="0">
                  <a:pos x="connsiteX15966" y="connsiteY15966"/>
                </a:cxn>
                <a:cxn ang="0">
                  <a:pos x="connsiteX15967" y="connsiteY15967"/>
                </a:cxn>
                <a:cxn ang="0">
                  <a:pos x="connsiteX15968" y="connsiteY15968"/>
                </a:cxn>
                <a:cxn ang="0">
                  <a:pos x="connsiteX15969" y="connsiteY15969"/>
                </a:cxn>
                <a:cxn ang="0">
                  <a:pos x="connsiteX15970" y="connsiteY15970"/>
                </a:cxn>
                <a:cxn ang="0">
                  <a:pos x="connsiteX15971" y="connsiteY15971"/>
                </a:cxn>
                <a:cxn ang="0">
                  <a:pos x="connsiteX15972" y="connsiteY15972"/>
                </a:cxn>
                <a:cxn ang="0">
                  <a:pos x="connsiteX15973" y="connsiteY15973"/>
                </a:cxn>
                <a:cxn ang="0">
                  <a:pos x="connsiteX15974" y="connsiteY15974"/>
                </a:cxn>
                <a:cxn ang="0">
                  <a:pos x="connsiteX15975" y="connsiteY15975"/>
                </a:cxn>
                <a:cxn ang="0">
                  <a:pos x="connsiteX15976" y="connsiteY15976"/>
                </a:cxn>
                <a:cxn ang="0">
                  <a:pos x="connsiteX15977" y="connsiteY15977"/>
                </a:cxn>
                <a:cxn ang="0">
                  <a:pos x="connsiteX15978" y="connsiteY15978"/>
                </a:cxn>
                <a:cxn ang="0">
                  <a:pos x="connsiteX15979" y="connsiteY15979"/>
                </a:cxn>
                <a:cxn ang="0">
                  <a:pos x="connsiteX15980" y="connsiteY15980"/>
                </a:cxn>
                <a:cxn ang="0">
                  <a:pos x="connsiteX15981" y="connsiteY15981"/>
                </a:cxn>
                <a:cxn ang="0">
                  <a:pos x="connsiteX15982" y="connsiteY15982"/>
                </a:cxn>
                <a:cxn ang="0">
                  <a:pos x="connsiteX15983" y="connsiteY15983"/>
                </a:cxn>
                <a:cxn ang="0">
                  <a:pos x="connsiteX15984" y="connsiteY15984"/>
                </a:cxn>
                <a:cxn ang="0">
                  <a:pos x="connsiteX15985" y="connsiteY15985"/>
                </a:cxn>
                <a:cxn ang="0">
                  <a:pos x="connsiteX15986" y="connsiteY15986"/>
                </a:cxn>
                <a:cxn ang="0">
                  <a:pos x="connsiteX15987" y="connsiteY15987"/>
                </a:cxn>
                <a:cxn ang="0">
                  <a:pos x="connsiteX15988" y="connsiteY15988"/>
                </a:cxn>
                <a:cxn ang="0">
                  <a:pos x="connsiteX15989" y="connsiteY15989"/>
                </a:cxn>
                <a:cxn ang="0">
                  <a:pos x="connsiteX15990" y="connsiteY15990"/>
                </a:cxn>
                <a:cxn ang="0">
                  <a:pos x="connsiteX15991" y="connsiteY15991"/>
                </a:cxn>
                <a:cxn ang="0">
                  <a:pos x="connsiteX15992" y="connsiteY15992"/>
                </a:cxn>
                <a:cxn ang="0">
                  <a:pos x="connsiteX15993" y="connsiteY15993"/>
                </a:cxn>
                <a:cxn ang="0">
                  <a:pos x="connsiteX15994" y="connsiteY15994"/>
                </a:cxn>
                <a:cxn ang="0">
                  <a:pos x="connsiteX15995" y="connsiteY15995"/>
                </a:cxn>
                <a:cxn ang="0">
                  <a:pos x="connsiteX15996" y="connsiteY15996"/>
                </a:cxn>
                <a:cxn ang="0">
                  <a:pos x="connsiteX15997" y="connsiteY15997"/>
                </a:cxn>
                <a:cxn ang="0">
                  <a:pos x="connsiteX15998" y="connsiteY15998"/>
                </a:cxn>
                <a:cxn ang="0">
                  <a:pos x="connsiteX15999" y="connsiteY15999"/>
                </a:cxn>
                <a:cxn ang="0">
                  <a:pos x="connsiteX16000" y="connsiteY16000"/>
                </a:cxn>
                <a:cxn ang="0">
                  <a:pos x="connsiteX16001" y="connsiteY16001"/>
                </a:cxn>
                <a:cxn ang="0">
                  <a:pos x="connsiteX16002" y="connsiteY16002"/>
                </a:cxn>
                <a:cxn ang="0">
                  <a:pos x="connsiteX16003" y="connsiteY16003"/>
                </a:cxn>
                <a:cxn ang="0">
                  <a:pos x="connsiteX16004" y="connsiteY16004"/>
                </a:cxn>
                <a:cxn ang="0">
                  <a:pos x="connsiteX16005" y="connsiteY16005"/>
                </a:cxn>
                <a:cxn ang="0">
                  <a:pos x="connsiteX16006" y="connsiteY16006"/>
                </a:cxn>
                <a:cxn ang="0">
                  <a:pos x="connsiteX16007" y="connsiteY16007"/>
                </a:cxn>
                <a:cxn ang="0">
                  <a:pos x="connsiteX16008" y="connsiteY16008"/>
                </a:cxn>
                <a:cxn ang="0">
                  <a:pos x="connsiteX16009" y="connsiteY16009"/>
                </a:cxn>
                <a:cxn ang="0">
                  <a:pos x="connsiteX16010" y="connsiteY16010"/>
                </a:cxn>
                <a:cxn ang="0">
                  <a:pos x="connsiteX16011" y="connsiteY16011"/>
                </a:cxn>
                <a:cxn ang="0">
                  <a:pos x="connsiteX16012" y="connsiteY16012"/>
                </a:cxn>
                <a:cxn ang="0">
                  <a:pos x="connsiteX16013" y="connsiteY16013"/>
                </a:cxn>
                <a:cxn ang="0">
                  <a:pos x="connsiteX16014" y="connsiteY16014"/>
                </a:cxn>
                <a:cxn ang="0">
                  <a:pos x="connsiteX16015" y="connsiteY16015"/>
                </a:cxn>
                <a:cxn ang="0">
                  <a:pos x="connsiteX16016" y="connsiteY16016"/>
                </a:cxn>
                <a:cxn ang="0">
                  <a:pos x="connsiteX16017" y="connsiteY16017"/>
                </a:cxn>
                <a:cxn ang="0">
                  <a:pos x="connsiteX16018" y="connsiteY16018"/>
                </a:cxn>
                <a:cxn ang="0">
                  <a:pos x="connsiteX16019" y="connsiteY16019"/>
                </a:cxn>
                <a:cxn ang="0">
                  <a:pos x="connsiteX16020" y="connsiteY16020"/>
                </a:cxn>
                <a:cxn ang="0">
                  <a:pos x="connsiteX16021" y="connsiteY16021"/>
                </a:cxn>
                <a:cxn ang="0">
                  <a:pos x="connsiteX16022" y="connsiteY16022"/>
                </a:cxn>
                <a:cxn ang="0">
                  <a:pos x="connsiteX16023" y="connsiteY16023"/>
                </a:cxn>
                <a:cxn ang="0">
                  <a:pos x="connsiteX16024" y="connsiteY16024"/>
                </a:cxn>
                <a:cxn ang="0">
                  <a:pos x="connsiteX16025" y="connsiteY16025"/>
                </a:cxn>
                <a:cxn ang="0">
                  <a:pos x="connsiteX16026" y="connsiteY16026"/>
                </a:cxn>
                <a:cxn ang="0">
                  <a:pos x="connsiteX16027" y="connsiteY16027"/>
                </a:cxn>
                <a:cxn ang="0">
                  <a:pos x="connsiteX16028" y="connsiteY16028"/>
                </a:cxn>
                <a:cxn ang="0">
                  <a:pos x="connsiteX16029" y="connsiteY16029"/>
                </a:cxn>
                <a:cxn ang="0">
                  <a:pos x="connsiteX16030" y="connsiteY16030"/>
                </a:cxn>
                <a:cxn ang="0">
                  <a:pos x="connsiteX16031" y="connsiteY16031"/>
                </a:cxn>
                <a:cxn ang="0">
                  <a:pos x="connsiteX16032" y="connsiteY16032"/>
                </a:cxn>
                <a:cxn ang="0">
                  <a:pos x="connsiteX16033" y="connsiteY16033"/>
                </a:cxn>
                <a:cxn ang="0">
                  <a:pos x="connsiteX16034" y="connsiteY16034"/>
                </a:cxn>
                <a:cxn ang="0">
                  <a:pos x="connsiteX16035" y="connsiteY16035"/>
                </a:cxn>
                <a:cxn ang="0">
                  <a:pos x="connsiteX16036" y="connsiteY16036"/>
                </a:cxn>
                <a:cxn ang="0">
                  <a:pos x="connsiteX16037" y="connsiteY16037"/>
                </a:cxn>
                <a:cxn ang="0">
                  <a:pos x="connsiteX16038" y="connsiteY16038"/>
                </a:cxn>
                <a:cxn ang="0">
                  <a:pos x="connsiteX16039" y="connsiteY16039"/>
                </a:cxn>
                <a:cxn ang="0">
                  <a:pos x="connsiteX16040" y="connsiteY16040"/>
                </a:cxn>
                <a:cxn ang="0">
                  <a:pos x="connsiteX16041" y="connsiteY16041"/>
                </a:cxn>
                <a:cxn ang="0">
                  <a:pos x="connsiteX16042" y="connsiteY16042"/>
                </a:cxn>
                <a:cxn ang="0">
                  <a:pos x="connsiteX16043" y="connsiteY16043"/>
                </a:cxn>
                <a:cxn ang="0">
                  <a:pos x="connsiteX16044" y="connsiteY16044"/>
                </a:cxn>
                <a:cxn ang="0">
                  <a:pos x="connsiteX16045" y="connsiteY16045"/>
                </a:cxn>
                <a:cxn ang="0">
                  <a:pos x="connsiteX16046" y="connsiteY16046"/>
                </a:cxn>
                <a:cxn ang="0">
                  <a:pos x="connsiteX16047" y="connsiteY16047"/>
                </a:cxn>
                <a:cxn ang="0">
                  <a:pos x="connsiteX16048" y="connsiteY16048"/>
                </a:cxn>
                <a:cxn ang="0">
                  <a:pos x="connsiteX16049" y="connsiteY16049"/>
                </a:cxn>
                <a:cxn ang="0">
                  <a:pos x="connsiteX16050" y="connsiteY16050"/>
                </a:cxn>
                <a:cxn ang="0">
                  <a:pos x="connsiteX16051" y="connsiteY16051"/>
                </a:cxn>
                <a:cxn ang="0">
                  <a:pos x="connsiteX16052" y="connsiteY16052"/>
                </a:cxn>
                <a:cxn ang="0">
                  <a:pos x="connsiteX16053" y="connsiteY16053"/>
                </a:cxn>
                <a:cxn ang="0">
                  <a:pos x="connsiteX16054" y="connsiteY16054"/>
                </a:cxn>
                <a:cxn ang="0">
                  <a:pos x="connsiteX16055" y="connsiteY16055"/>
                </a:cxn>
                <a:cxn ang="0">
                  <a:pos x="connsiteX16056" y="connsiteY16056"/>
                </a:cxn>
                <a:cxn ang="0">
                  <a:pos x="connsiteX16057" y="connsiteY16057"/>
                </a:cxn>
                <a:cxn ang="0">
                  <a:pos x="connsiteX16058" y="connsiteY16058"/>
                </a:cxn>
                <a:cxn ang="0">
                  <a:pos x="connsiteX16059" y="connsiteY16059"/>
                </a:cxn>
                <a:cxn ang="0">
                  <a:pos x="connsiteX16060" y="connsiteY16060"/>
                </a:cxn>
                <a:cxn ang="0">
                  <a:pos x="connsiteX16061" y="connsiteY16061"/>
                </a:cxn>
                <a:cxn ang="0">
                  <a:pos x="connsiteX16062" y="connsiteY16062"/>
                </a:cxn>
                <a:cxn ang="0">
                  <a:pos x="connsiteX16063" y="connsiteY16063"/>
                </a:cxn>
                <a:cxn ang="0">
                  <a:pos x="connsiteX16064" y="connsiteY16064"/>
                </a:cxn>
                <a:cxn ang="0">
                  <a:pos x="connsiteX16065" y="connsiteY16065"/>
                </a:cxn>
                <a:cxn ang="0">
                  <a:pos x="connsiteX16066" y="connsiteY16066"/>
                </a:cxn>
                <a:cxn ang="0">
                  <a:pos x="connsiteX16067" y="connsiteY16067"/>
                </a:cxn>
                <a:cxn ang="0">
                  <a:pos x="connsiteX16068" y="connsiteY16068"/>
                </a:cxn>
                <a:cxn ang="0">
                  <a:pos x="connsiteX16069" y="connsiteY16069"/>
                </a:cxn>
                <a:cxn ang="0">
                  <a:pos x="connsiteX16070" y="connsiteY16070"/>
                </a:cxn>
                <a:cxn ang="0">
                  <a:pos x="connsiteX16071" y="connsiteY16071"/>
                </a:cxn>
                <a:cxn ang="0">
                  <a:pos x="connsiteX16072" y="connsiteY16072"/>
                </a:cxn>
                <a:cxn ang="0">
                  <a:pos x="connsiteX16073" y="connsiteY16073"/>
                </a:cxn>
                <a:cxn ang="0">
                  <a:pos x="connsiteX16074" y="connsiteY16074"/>
                </a:cxn>
                <a:cxn ang="0">
                  <a:pos x="connsiteX16075" y="connsiteY16075"/>
                </a:cxn>
                <a:cxn ang="0">
                  <a:pos x="connsiteX16076" y="connsiteY16076"/>
                </a:cxn>
                <a:cxn ang="0">
                  <a:pos x="connsiteX16077" y="connsiteY16077"/>
                </a:cxn>
                <a:cxn ang="0">
                  <a:pos x="connsiteX16078" y="connsiteY16078"/>
                </a:cxn>
                <a:cxn ang="0">
                  <a:pos x="connsiteX16079" y="connsiteY16079"/>
                </a:cxn>
                <a:cxn ang="0">
                  <a:pos x="connsiteX16080" y="connsiteY16080"/>
                </a:cxn>
                <a:cxn ang="0">
                  <a:pos x="connsiteX16081" y="connsiteY16081"/>
                </a:cxn>
                <a:cxn ang="0">
                  <a:pos x="connsiteX16082" y="connsiteY16082"/>
                </a:cxn>
                <a:cxn ang="0">
                  <a:pos x="connsiteX16083" y="connsiteY16083"/>
                </a:cxn>
                <a:cxn ang="0">
                  <a:pos x="connsiteX16084" y="connsiteY16084"/>
                </a:cxn>
                <a:cxn ang="0">
                  <a:pos x="connsiteX16085" y="connsiteY16085"/>
                </a:cxn>
                <a:cxn ang="0">
                  <a:pos x="connsiteX16086" y="connsiteY16086"/>
                </a:cxn>
                <a:cxn ang="0">
                  <a:pos x="connsiteX16087" y="connsiteY16087"/>
                </a:cxn>
                <a:cxn ang="0">
                  <a:pos x="connsiteX16088" y="connsiteY16088"/>
                </a:cxn>
                <a:cxn ang="0">
                  <a:pos x="connsiteX16089" y="connsiteY16089"/>
                </a:cxn>
                <a:cxn ang="0">
                  <a:pos x="connsiteX16090" y="connsiteY16090"/>
                </a:cxn>
                <a:cxn ang="0">
                  <a:pos x="connsiteX16091" y="connsiteY16091"/>
                </a:cxn>
                <a:cxn ang="0">
                  <a:pos x="connsiteX16092" y="connsiteY16092"/>
                </a:cxn>
                <a:cxn ang="0">
                  <a:pos x="connsiteX16093" y="connsiteY16093"/>
                </a:cxn>
                <a:cxn ang="0">
                  <a:pos x="connsiteX16094" y="connsiteY16094"/>
                </a:cxn>
                <a:cxn ang="0">
                  <a:pos x="connsiteX16095" y="connsiteY16095"/>
                </a:cxn>
                <a:cxn ang="0">
                  <a:pos x="connsiteX16096" y="connsiteY16096"/>
                </a:cxn>
                <a:cxn ang="0">
                  <a:pos x="connsiteX16097" y="connsiteY16097"/>
                </a:cxn>
                <a:cxn ang="0">
                  <a:pos x="connsiteX16098" y="connsiteY16098"/>
                </a:cxn>
                <a:cxn ang="0">
                  <a:pos x="connsiteX16099" y="connsiteY16099"/>
                </a:cxn>
                <a:cxn ang="0">
                  <a:pos x="connsiteX16100" y="connsiteY16100"/>
                </a:cxn>
                <a:cxn ang="0">
                  <a:pos x="connsiteX16101" y="connsiteY16101"/>
                </a:cxn>
                <a:cxn ang="0">
                  <a:pos x="connsiteX16102" y="connsiteY16102"/>
                </a:cxn>
                <a:cxn ang="0">
                  <a:pos x="connsiteX16103" y="connsiteY16103"/>
                </a:cxn>
                <a:cxn ang="0">
                  <a:pos x="connsiteX16104" y="connsiteY16104"/>
                </a:cxn>
                <a:cxn ang="0">
                  <a:pos x="connsiteX16105" y="connsiteY16105"/>
                </a:cxn>
                <a:cxn ang="0">
                  <a:pos x="connsiteX16106" y="connsiteY16106"/>
                </a:cxn>
                <a:cxn ang="0">
                  <a:pos x="connsiteX16107" y="connsiteY16107"/>
                </a:cxn>
                <a:cxn ang="0">
                  <a:pos x="connsiteX16108" y="connsiteY16108"/>
                </a:cxn>
                <a:cxn ang="0">
                  <a:pos x="connsiteX16109" y="connsiteY16109"/>
                </a:cxn>
                <a:cxn ang="0">
                  <a:pos x="connsiteX16110" y="connsiteY16110"/>
                </a:cxn>
                <a:cxn ang="0">
                  <a:pos x="connsiteX16111" y="connsiteY16111"/>
                </a:cxn>
                <a:cxn ang="0">
                  <a:pos x="connsiteX16112" y="connsiteY16112"/>
                </a:cxn>
                <a:cxn ang="0">
                  <a:pos x="connsiteX16113" y="connsiteY16113"/>
                </a:cxn>
                <a:cxn ang="0">
                  <a:pos x="connsiteX16114" y="connsiteY16114"/>
                </a:cxn>
                <a:cxn ang="0">
                  <a:pos x="connsiteX16115" y="connsiteY16115"/>
                </a:cxn>
                <a:cxn ang="0">
                  <a:pos x="connsiteX16116" y="connsiteY16116"/>
                </a:cxn>
                <a:cxn ang="0">
                  <a:pos x="connsiteX16117" y="connsiteY16117"/>
                </a:cxn>
                <a:cxn ang="0">
                  <a:pos x="connsiteX16118" y="connsiteY16118"/>
                </a:cxn>
                <a:cxn ang="0">
                  <a:pos x="connsiteX16119" y="connsiteY16119"/>
                </a:cxn>
                <a:cxn ang="0">
                  <a:pos x="connsiteX16120" y="connsiteY16120"/>
                </a:cxn>
                <a:cxn ang="0">
                  <a:pos x="connsiteX16121" y="connsiteY16121"/>
                </a:cxn>
                <a:cxn ang="0">
                  <a:pos x="connsiteX16122" y="connsiteY16122"/>
                </a:cxn>
                <a:cxn ang="0">
                  <a:pos x="connsiteX16123" y="connsiteY16123"/>
                </a:cxn>
                <a:cxn ang="0">
                  <a:pos x="connsiteX16124" y="connsiteY16124"/>
                </a:cxn>
                <a:cxn ang="0">
                  <a:pos x="connsiteX16125" y="connsiteY16125"/>
                </a:cxn>
                <a:cxn ang="0">
                  <a:pos x="connsiteX16126" y="connsiteY16126"/>
                </a:cxn>
                <a:cxn ang="0">
                  <a:pos x="connsiteX16127" y="connsiteY16127"/>
                </a:cxn>
                <a:cxn ang="0">
                  <a:pos x="connsiteX16128" y="connsiteY16128"/>
                </a:cxn>
                <a:cxn ang="0">
                  <a:pos x="connsiteX16129" y="connsiteY16129"/>
                </a:cxn>
                <a:cxn ang="0">
                  <a:pos x="connsiteX16130" y="connsiteY16130"/>
                </a:cxn>
                <a:cxn ang="0">
                  <a:pos x="connsiteX16131" y="connsiteY16131"/>
                </a:cxn>
                <a:cxn ang="0">
                  <a:pos x="connsiteX16132" y="connsiteY16132"/>
                </a:cxn>
                <a:cxn ang="0">
                  <a:pos x="connsiteX16133" y="connsiteY16133"/>
                </a:cxn>
                <a:cxn ang="0">
                  <a:pos x="connsiteX16134" y="connsiteY16134"/>
                </a:cxn>
                <a:cxn ang="0">
                  <a:pos x="connsiteX16135" y="connsiteY16135"/>
                </a:cxn>
                <a:cxn ang="0">
                  <a:pos x="connsiteX16136" y="connsiteY16136"/>
                </a:cxn>
                <a:cxn ang="0">
                  <a:pos x="connsiteX16137" y="connsiteY16137"/>
                </a:cxn>
                <a:cxn ang="0">
                  <a:pos x="connsiteX16138" y="connsiteY16138"/>
                </a:cxn>
                <a:cxn ang="0">
                  <a:pos x="connsiteX16139" y="connsiteY16139"/>
                </a:cxn>
                <a:cxn ang="0">
                  <a:pos x="connsiteX16140" y="connsiteY16140"/>
                </a:cxn>
                <a:cxn ang="0">
                  <a:pos x="connsiteX16141" y="connsiteY16141"/>
                </a:cxn>
                <a:cxn ang="0">
                  <a:pos x="connsiteX16142" y="connsiteY16142"/>
                </a:cxn>
                <a:cxn ang="0">
                  <a:pos x="connsiteX16143" y="connsiteY16143"/>
                </a:cxn>
                <a:cxn ang="0">
                  <a:pos x="connsiteX16144" y="connsiteY16144"/>
                </a:cxn>
                <a:cxn ang="0">
                  <a:pos x="connsiteX16145" y="connsiteY16145"/>
                </a:cxn>
                <a:cxn ang="0">
                  <a:pos x="connsiteX16146" y="connsiteY16146"/>
                </a:cxn>
                <a:cxn ang="0">
                  <a:pos x="connsiteX16147" y="connsiteY16147"/>
                </a:cxn>
                <a:cxn ang="0">
                  <a:pos x="connsiteX16148" y="connsiteY16148"/>
                </a:cxn>
                <a:cxn ang="0">
                  <a:pos x="connsiteX16149" y="connsiteY16149"/>
                </a:cxn>
                <a:cxn ang="0">
                  <a:pos x="connsiteX16150" y="connsiteY16150"/>
                </a:cxn>
                <a:cxn ang="0">
                  <a:pos x="connsiteX16151" y="connsiteY16151"/>
                </a:cxn>
                <a:cxn ang="0">
                  <a:pos x="connsiteX16152" y="connsiteY16152"/>
                </a:cxn>
                <a:cxn ang="0">
                  <a:pos x="connsiteX16153" y="connsiteY16153"/>
                </a:cxn>
                <a:cxn ang="0">
                  <a:pos x="connsiteX16154" y="connsiteY16154"/>
                </a:cxn>
                <a:cxn ang="0">
                  <a:pos x="connsiteX16155" y="connsiteY16155"/>
                </a:cxn>
                <a:cxn ang="0">
                  <a:pos x="connsiteX16156" y="connsiteY16156"/>
                </a:cxn>
                <a:cxn ang="0">
                  <a:pos x="connsiteX16157" y="connsiteY16157"/>
                </a:cxn>
                <a:cxn ang="0">
                  <a:pos x="connsiteX16158" y="connsiteY16158"/>
                </a:cxn>
                <a:cxn ang="0">
                  <a:pos x="connsiteX16159" y="connsiteY16159"/>
                </a:cxn>
                <a:cxn ang="0">
                  <a:pos x="connsiteX16160" y="connsiteY16160"/>
                </a:cxn>
                <a:cxn ang="0">
                  <a:pos x="connsiteX16161" y="connsiteY16161"/>
                </a:cxn>
                <a:cxn ang="0">
                  <a:pos x="connsiteX16162" y="connsiteY16162"/>
                </a:cxn>
                <a:cxn ang="0">
                  <a:pos x="connsiteX16163" y="connsiteY16163"/>
                </a:cxn>
                <a:cxn ang="0">
                  <a:pos x="connsiteX16164" y="connsiteY16164"/>
                </a:cxn>
                <a:cxn ang="0">
                  <a:pos x="connsiteX16165" y="connsiteY16165"/>
                </a:cxn>
                <a:cxn ang="0">
                  <a:pos x="connsiteX16166" y="connsiteY16166"/>
                </a:cxn>
                <a:cxn ang="0">
                  <a:pos x="connsiteX16167" y="connsiteY16167"/>
                </a:cxn>
                <a:cxn ang="0">
                  <a:pos x="connsiteX16168" y="connsiteY16168"/>
                </a:cxn>
                <a:cxn ang="0">
                  <a:pos x="connsiteX16169" y="connsiteY16169"/>
                </a:cxn>
                <a:cxn ang="0">
                  <a:pos x="connsiteX16170" y="connsiteY16170"/>
                </a:cxn>
                <a:cxn ang="0">
                  <a:pos x="connsiteX16171" y="connsiteY16171"/>
                </a:cxn>
                <a:cxn ang="0">
                  <a:pos x="connsiteX16172" y="connsiteY16172"/>
                </a:cxn>
                <a:cxn ang="0">
                  <a:pos x="connsiteX16173" y="connsiteY16173"/>
                </a:cxn>
                <a:cxn ang="0">
                  <a:pos x="connsiteX16174" y="connsiteY16174"/>
                </a:cxn>
                <a:cxn ang="0">
                  <a:pos x="connsiteX16175" y="connsiteY16175"/>
                </a:cxn>
                <a:cxn ang="0">
                  <a:pos x="connsiteX16176" y="connsiteY16176"/>
                </a:cxn>
                <a:cxn ang="0">
                  <a:pos x="connsiteX16177" y="connsiteY16177"/>
                </a:cxn>
                <a:cxn ang="0">
                  <a:pos x="connsiteX16178" y="connsiteY16178"/>
                </a:cxn>
                <a:cxn ang="0">
                  <a:pos x="connsiteX16179" y="connsiteY16179"/>
                </a:cxn>
                <a:cxn ang="0">
                  <a:pos x="connsiteX16180" y="connsiteY16180"/>
                </a:cxn>
                <a:cxn ang="0">
                  <a:pos x="connsiteX16181" y="connsiteY16181"/>
                </a:cxn>
                <a:cxn ang="0">
                  <a:pos x="connsiteX16182" y="connsiteY16182"/>
                </a:cxn>
                <a:cxn ang="0">
                  <a:pos x="connsiteX16183" y="connsiteY16183"/>
                </a:cxn>
                <a:cxn ang="0">
                  <a:pos x="connsiteX16184" y="connsiteY16184"/>
                </a:cxn>
                <a:cxn ang="0">
                  <a:pos x="connsiteX16185" y="connsiteY16185"/>
                </a:cxn>
                <a:cxn ang="0">
                  <a:pos x="connsiteX16186" y="connsiteY16186"/>
                </a:cxn>
                <a:cxn ang="0">
                  <a:pos x="connsiteX16187" y="connsiteY16187"/>
                </a:cxn>
                <a:cxn ang="0">
                  <a:pos x="connsiteX16188" y="connsiteY16188"/>
                </a:cxn>
                <a:cxn ang="0">
                  <a:pos x="connsiteX16189" y="connsiteY16189"/>
                </a:cxn>
                <a:cxn ang="0">
                  <a:pos x="connsiteX16190" y="connsiteY16190"/>
                </a:cxn>
                <a:cxn ang="0">
                  <a:pos x="connsiteX16191" y="connsiteY16191"/>
                </a:cxn>
                <a:cxn ang="0">
                  <a:pos x="connsiteX16192" y="connsiteY16192"/>
                </a:cxn>
                <a:cxn ang="0">
                  <a:pos x="connsiteX16193" y="connsiteY16193"/>
                </a:cxn>
                <a:cxn ang="0">
                  <a:pos x="connsiteX16194" y="connsiteY16194"/>
                </a:cxn>
                <a:cxn ang="0">
                  <a:pos x="connsiteX16195" y="connsiteY16195"/>
                </a:cxn>
                <a:cxn ang="0">
                  <a:pos x="connsiteX16196" y="connsiteY16196"/>
                </a:cxn>
                <a:cxn ang="0">
                  <a:pos x="connsiteX16197" y="connsiteY16197"/>
                </a:cxn>
                <a:cxn ang="0">
                  <a:pos x="connsiteX16198" y="connsiteY16198"/>
                </a:cxn>
                <a:cxn ang="0">
                  <a:pos x="connsiteX16199" y="connsiteY16199"/>
                </a:cxn>
                <a:cxn ang="0">
                  <a:pos x="connsiteX16200" y="connsiteY16200"/>
                </a:cxn>
                <a:cxn ang="0">
                  <a:pos x="connsiteX16201" y="connsiteY16201"/>
                </a:cxn>
                <a:cxn ang="0">
                  <a:pos x="connsiteX16202" y="connsiteY16202"/>
                </a:cxn>
                <a:cxn ang="0">
                  <a:pos x="connsiteX16203" y="connsiteY16203"/>
                </a:cxn>
                <a:cxn ang="0">
                  <a:pos x="connsiteX16204" y="connsiteY16204"/>
                </a:cxn>
                <a:cxn ang="0">
                  <a:pos x="connsiteX16205" y="connsiteY16205"/>
                </a:cxn>
                <a:cxn ang="0">
                  <a:pos x="connsiteX16206" y="connsiteY16206"/>
                </a:cxn>
                <a:cxn ang="0">
                  <a:pos x="connsiteX16207" y="connsiteY16207"/>
                </a:cxn>
                <a:cxn ang="0">
                  <a:pos x="connsiteX16208" y="connsiteY16208"/>
                </a:cxn>
                <a:cxn ang="0">
                  <a:pos x="connsiteX16209" y="connsiteY16209"/>
                </a:cxn>
                <a:cxn ang="0">
                  <a:pos x="connsiteX16210" y="connsiteY16210"/>
                </a:cxn>
                <a:cxn ang="0">
                  <a:pos x="connsiteX16211" y="connsiteY16211"/>
                </a:cxn>
                <a:cxn ang="0">
                  <a:pos x="connsiteX16212" y="connsiteY16212"/>
                </a:cxn>
                <a:cxn ang="0">
                  <a:pos x="connsiteX16213" y="connsiteY16213"/>
                </a:cxn>
                <a:cxn ang="0">
                  <a:pos x="connsiteX16214" y="connsiteY16214"/>
                </a:cxn>
                <a:cxn ang="0">
                  <a:pos x="connsiteX16215" y="connsiteY16215"/>
                </a:cxn>
                <a:cxn ang="0">
                  <a:pos x="connsiteX16216" y="connsiteY16216"/>
                </a:cxn>
                <a:cxn ang="0">
                  <a:pos x="connsiteX16217" y="connsiteY16217"/>
                </a:cxn>
                <a:cxn ang="0">
                  <a:pos x="connsiteX16218" y="connsiteY16218"/>
                </a:cxn>
                <a:cxn ang="0">
                  <a:pos x="connsiteX16219" y="connsiteY16219"/>
                </a:cxn>
                <a:cxn ang="0">
                  <a:pos x="connsiteX16220" y="connsiteY16220"/>
                </a:cxn>
                <a:cxn ang="0">
                  <a:pos x="connsiteX16221" y="connsiteY16221"/>
                </a:cxn>
                <a:cxn ang="0">
                  <a:pos x="connsiteX16222" y="connsiteY16222"/>
                </a:cxn>
                <a:cxn ang="0">
                  <a:pos x="connsiteX16223" y="connsiteY16223"/>
                </a:cxn>
                <a:cxn ang="0">
                  <a:pos x="connsiteX16224" y="connsiteY16224"/>
                </a:cxn>
                <a:cxn ang="0">
                  <a:pos x="connsiteX16225" y="connsiteY16225"/>
                </a:cxn>
                <a:cxn ang="0">
                  <a:pos x="connsiteX16226" y="connsiteY16226"/>
                </a:cxn>
                <a:cxn ang="0">
                  <a:pos x="connsiteX16227" y="connsiteY16227"/>
                </a:cxn>
                <a:cxn ang="0">
                  <a:pos x="connsiteX16228" y="connsiteY16228"/>
                </a:cxn>
                <a:cxn ang="0">
                  <a:pos x="connsiteX16229" y="connsiteY16229"/>
                </a:cxn>
                <a:cxn ang="0">
                  <a:pos x="connsiteX16230" y="connsiteY16230"/>
                </a:cxn>
                <a:cxn ang="0">
                  <a:pos x="connsiteX16231" y="connsiteY16231"/>
                </a:cxn>
                <a:cxn ang="0">
                  <a:pos x="connsiteX16232" y="connsiteY16232"/>
                </a:cxn>
                <a:cxn ang="0">
                  <a:pos x="connsiteX16233" y="connsiteY16233"/>
                </a:cxn>
                <a:cxn ang="0">
                  <a:pos x="connsiteX16234" y="connsiteY16234"/>
                </a:cxn>
                <a:cxn ang="0">
                  <a:pos x="connsiteX16235" y="connsiteY16235"/>
                </a:cxn>
                <a:cxn ang="0">
                  <a:pos x="connsiteX16236" y="connsiteY16236"/>
                </a:cxn>
                <a:cxn ang="0">
                  <a:pos x="connsiteX16237" y="connsiteY16237"/>
                </a:cxn>
                <a:cxn ang="0">
                  <a:pos x="connsiteX16238" y="connsiteY16238"/>
                </a:cxn>
                <a:cxn ang="0">
                  <a:pos x="connsiteX16239" y="connsiteY16239"/>
                </a:cxn>
                <a:cxn ang="0">
                  <a:pos x="connsiteX16240" y="connsiteY16240"/>
                </a:cxn>
                <a:cxn ang="0">
                  <a:pos x="connsiteX16241" y="connsiteY16241"/>
                </a:cxn>
                <a:cxn ang="0">
                  <a:pos x="connsiteX16242" y="connsiteY16242"/>
                </a:cxn>
                <a:cxn ang="0">
                  <a:pos x="connsiteX16243" y="connsiteY16243"/>
                </a:cxn>
                <a:cxn ang="0">
                  <a:pos x="connsiteX16244" y="connsiteY16244"/>
                </a:cxn>
                <a:cxn ang="0">
                  <a:pos x="connsiteX16245" y="connsiteY16245"/>
                </a:cxn>
                <a:cxn ang="0">
                  <a:pos x="connsiteX16246" y="connsiteY16246"/>
                </a:cxn>
                <a:cxn ang="0">
                  <a:pos x="connsiteX16247" y="connsiteY16247"/>
                </a:cxn>
                <a:cxn ang="0">
                  <a:pos x="connsiteX16248" y="connsiteY16248"/>
                </a:cxn>
                <a:cxn ang="0">
                  <a:pos x="connsiteX16249" y="connsiteY16249"/>
                </a:cxn>
                <a:cxn ang="0">
                  <a:pos x="connsiteX16250" y="connsiteY16250"/>
                </a:cxn>
                <a:cxn ang="0">
                  <a:pos x="connsiteX16251" y="connsiteY16251"/>
                </a:cxn>
                <a:cxn ang="0">
                  <a:pos x="connsiteX16252" y="connsiteY16252"/>
                </a:cxn>
                <a:cxn ang="0">
                  <a:pos x="connsiteX16253" y="connsiteY16253"/>
                </a:cxn>
                <a:cxn ang="0">
                  <a:pos x="connsiteX16254" y="connsiteY16254"/>
                </a:cxn>
                <a:cxn ang="0">
                  <a:pos x="connsiteX16255" y="connsiteY16255"/>
                </a:cxn>
                <a:cxn ang="0">
                  <a:pos x="connsiteX16256" y="connsiteY16256"/>
                </a:cxn>
                <a:cxn ang="0">
                  <a:pos x="connsiteX16257" y="connsiteY16257"/>
                </a:cxn>
                <a:cxn ang="0">
                  <a:pos x="connsiteX16258" y="connsiteY16258"/>
                </a:cxn>
                <a:cxn ang="0">
                  <a:pos x="connsiteX16259" y="connsiteY16259"/>
                </a:cxn>
                <a:cxn ang="0">
                  <a:pos x="connsiteX16260" y="connsiteY16260"/>
                </a:cxn>
                <a:cxn ang="0">
                  <a:pos x="connsiteX16261" y="connsiteY16261"/>
                </a:cxn>
                <a:cxn ang="0">
                  <a:pos x="connsiteX16262" y="connsiteY16262"/>
                </a:cxn>
                <a:cxn ang="0">
                  <a:pos x="connsiteX16263" y="connsiteY16263"/>
                </a:cxn>
                <a:cxn ang="0">
                  <a:pos x="connsiteX16264" y="connsiteY16264"/>
                </a:cxn>
                <a:cxn ang="0">
                  <a:pos x="connsiteX16265" y="connsiteY16265"/>
                </a:cxn>
                <a:cxn ang="0">
                  <a:pos x="connsiteX16266" y="connsiteY16266"/>
                </a:cxn>
                <a:cxn ang="0">
                  <a:pos x="connsiteX16267" y="connsiteY16267"/>
                </a:cxn>
                <a:cxn ang="0">
                  <a:pos x="connsiteX16268" y="connsiteY16268"/>
                </a:cxn>
                <a:cxn ang="0">
                  <a:pos x="connsiteX16269" y="connsiteY16269"/>
                </a:cxn>
                <a:cxn ang="0">
                  <a:pos x="connsiteX16270" y="connsiteY16270"/>
                </a:cxn>
                <a:cxn ang="0">
                  <a:pos x="connsiteX16271" y="connsiteY16271"/>
                </a:cxn>
                <a:cxn ang="0">
                  <a:pos x="connsiteX16272" y="connsiteY16272"/>
                </a:cxn>
                <a:cxn ang="0">
                  <a:pos x="connsiteX16273" y="connsiteY16273"/>
                </a:cxn>
                <a:cxn ang="0">
                  <a:pos x="connsiteX16274" y="connsiteY16274"/>
                </a:cxn>
                <a:cxn ang="0">
                  <a:pos x="connsiteX16275" y="connsiteY16275"/>
                </a:cxn>
                <a:cxn ang="0">
                  <a:pos x="connsiteX16276" y="connsiteY16276"/>
                </a:cxn>
                <a:cxn ang="0">
                  <a:pos x="connsiteX16277" y="connsiteY16277"/>
                </a:cxn>
                <a:cxn ang="0">
                  <a:pos x="connsiteX16278" y="connsiteY16278"/>
                </a:cxn>
                <a:cxn ang="0">
                  <a:pos x="connsiteX16279" y="connsiteY16279"/>
                </a:cxn>
                <a:cxn ang="0">
                  <a:pos x="connsiteX16280" y="connsiteY16280"/>
                </a:cxn>
                <a:cxn ang="0">
                  <a:pos x="connsiteX16281" y="connsiteY16281"/>
                </a:cxn>
                <a:cxn ang="0">
                  <a:pos x="connsiteX16282" y="connsiteY16282"/>
                </a:cxn>
                <a:cxn ang="0">
                  <a:pos x="connsiteX16283" y="connsiteY16283"/>
                </a:cxn>
                <a:cxn ang="0">
                  <a:pos x="connsiteX16284" y="connsiteY16284"/>
                </a:cxn>
                <a:cxn ang="0">
                  <a:pos x="connsiteX16285" y="connsiteY16285"/>
                </a:cxn>
                <a:cxn ang="0">
                  <a:pos x="connsiteX16286" y="connsiteY16286"/>
                </a:cxn>
                <a:cxn ang="0">
                  <a:pos x="connsiteX16287" y="connsiteY16287"/>
                </a:cxn>
                <a:cxn ang="0">
                  <a:pos x="connsiteX16288" y="connsiteY16288"/>
                </a:cxn>
                <a:cxn ang="0">
                  <a:pos x="connsiteX16289" y="connsiteY16289"/>
                </a:cxn>
                <a:cxn ang="0">
                  <a:pos x="connsiteX16290" y="connsiteY16290"/>
                </a:cxn>
                <a:cxn ang="0">
                  <a:pos x="connsiteX16291" y="connsiteY16291"/>
                </a:cxn>
                <a:cxn ang="0">
                  <a:pos x="connsiteX16292" y="connsiteY16292"/>
                </a:cxn>
                <a:cxn ang="0">
                  <a:pos x="connsiteX16293" y="connsiteY16293"/>
                </a:cxn>
                <a:cxn ang="0">
                  <a:pos x="connsiteX16294" y="connsiteY16294"/>
                </a:cxn>
                <a:cxn ang="0">
                  <a:pos x="connsiteX16295" y="connsiteY16295"/>
                </a:cxn>
                <a:cxn ang="0">
                  <a:pos x="connsiteX16296" y="connsiteY16296"/>
                </a:cxn>
                <a:cxn ang="0">
                  <a:pos x="connsiteX16297" y="connsiteY16297"/>
                </a:cxn>
                <a:cxn ang="0">
                  <a:pos x="connsiteX16298" y="connsiteY16298"/>
                </a:cxn>
                <a:cxn ang="0">
                  <a:pos x="connsiteX16299" y="connsiteY16299"/>
                </a:cxn>
                <a:cxn ang="0">
                  <a:pos x="connsiteX16300" y="connsiteY16300"/>
                </a:cxn>
                <a:cxn ang="0">
                  <a:pos x="connsiteX16301" y="connsiteY16301"/>
                </a:cxn>
                <a:cxn ang="0">
                  <a:pos x="connsiteX16302" y="connsiteY16302"/>
                </a:cxn>
                <a:cxn ang="0">
                  <a:pos x="connsiteX16303" y="connsiteY16303"/>
                </a:cxn>
                <a:cxn ang="0">
                  <a:pos x="connsiteX16304" y="connsiteY16304"/>
                </a:cxn>
                <a:cxn ang="0">
                  <a:pos x="connsiteX16305" y="connsiteY16305"/>
                </a:cxn>
                <a:cxn ang="0">
                  <a:pos x="connsiteX16306" y="connsiteY16306"/>
                </a:cxn>
                <a:cxn ang="0">
                  <a:pos x="connsiteX16307" y="connsiteY16307"/>
                </a:cxn>
                <a:cxn ang="0">
                  <a:pos x="connsiteX16308" y="connsiteY16308"/>
                </a:cxn>
                <a:cxn ang="0">
                  <a:pos x="connsiteX16309" y="connsiteY16309"/>
                </a:cxn>
                <a:cxn ang="0">
                  <a:pos x="connsiteX16310" y="connsiteY16310"/>
                </a:cxn>
                <a:cxn ang="0">
                  <a:pos x="connsiteX16311" y="connsiteY16311"/>
                </a:cxn>
                <a:cxn ang="0">
                  <a:pos x="connsiteX16312" y="connsiteY16312"/>
                </a:cxn>
                <a:cxn ang="0">
                  <a:pos x="connsiteX16313" y="connsiteY16313"/>
                </a:cxn>
                <a:cxn ang="0">
                  <a:pos x="connsiteX16314" y="connsiteY16314"/>
                </a:cxn>
                <a:cxn ang="0">
                  <a:pos x="connsiteX16315" y="connsiteY16315"/>
                </a:cxn>
                <a:cxn ang="0">
                  <a:pos x="connsiteX16316" y="connsiteY16316"/>
                </a:cxn>
                <a:cxn ang="0">
                  <a:pos x="connsiteX16317" y="connsiteY16317"/>
                </a:cxn>
                <a:cxn ang="0">
                  <a:pos x="connsiteX16318" y="connsiteY16318"/>
                </a:cxn>
                <a:cxn ang="0">
                  <a:pos x="connsiteX16319" y="connsiteY16319"/>
                </a:cxn>
                <a:cxn ang="0">
                  <a:pos x="connsiteX16320" y="connsiteY16320"/>
                </a:cxn>
                <a:cxn ang="0">
                  <a:pos x="connsiteX16321" y="connsiteY16321"/>
                </a:cxn>
                <a:cxn ang="0">
                  <a:pos x="connsiteX16322" y="connsiteY16322"/>
                </a:cxn>
                <a:cxn ang="0">
                  <a:pos x="connsiteX16323" y="connsiteY16323"/>
                </a:cxn>
                <a:cxn ang="0">
                  <a:pos x="connsiteX16324" y="connsiteY16324"/>
                </a:cxn>
                <a:cxn ang="0">
                  <a:pos x="connsiteX16325" y="connsiteY16325"/>
                </a:cxn>
                <a:cxn ang="0">
                  <a:pos x="connsiteX16326" y="connsiteY16326"/>
                </a:cxn>
                <a:cxn ang="0">
                  <a:pos x="connsiteX16327" y="connsiteY16327"/>
                </a:cxn>
                <a:cxn ang="0">
                  <a:pos x="connsiteX16328" y="connsiteY16328"/>
                </a:cxn>
                <a:cxn ang="0">
                  <a:pos x="connsiteX16329" y="connsiteY16329"/>
                </a:cxn>
                <a:cxn ang="0">
                  <a:pos x="connsiteX16330" y="connsiteY16330"/>
                </a:cxn>
                <a:cxn ang="0">
                  <a:pos x="connsiteX16331" y="connsiteY16331"/>
                </a:cxn>
                <a:cxn ang="0">
                  <a:pos x="connsiteX16332" y="connsiteY16332"/>
                </a:cxn>
                <a:cxn ang="0">
                  <a:pos x="connsiteX16333" y="connsiteY16333"/>
                </a:cxn>
                <a:cxn ang="0">
                  <a:pos x="connsiteX16334" y="connsiteY16334"/>
                </a:cxn>
                <a:cxn ang="0">
                  <a:pos x="connsiteX16335" y="connsiteY16335"/>
                </a:cxn>
                <a:cxn ang="0">
                  <a:pos x="connsiteX16336" y="connsiteY16336"/>
                </a:cxn>
                <a:cxn ang="0">
                  <a:pos x="connsiteX16337" y="connsiteY16337"/>
                </a:cxn>
                <a:cxn ang="0">
                  <a:pos x="connsiteX16338" y="connsiteY16338"/>
                </a:cxn>
                <a:cxn ang="0">
                  <a:pos x="connsiteX16339" y="connsiteY16339"/>
                </a:cxn>
                <a:cxn ang="0">
                  <a:pos x="connsiteX16340" y="connsiteY16340"/>
                </a:cxn>
                <a:cxn ang="0">
                  <a:pos x="connsiteX16341" y="connsiteY16341"/>
                </a:cxn>
                <a:cxn ang="0">
                  <a:pos x="connsiteX16342" y="connsiteY16342"/>
                </a:cxn>
                <a:cxn ang="0">
                  <a:pos x="connsiteX16343" y="connsiteY16343"/>
                </a:cxn>
                <a:cxn ang="0">
                  <a:pos x="connsiteX16344" y="connsiteY16344"/>
                </a:cxn>
                <a:cxn ang="0">
                  <a:pos x="connsiteX16345" y="connsiteY16345"/>
                </a:cxn>
                <a:cxn ang="0">
                  <a:pos x="connsiteX16346" y="connsiteY16346"/>
                </a:cxn>
                <a:cxn ang="0">
                  <a:pos x="connsiteX16347" y="connsiteY16347"/>
                </a:cxn>
                <a:cxn ang="0">
                  <a:pos x="connsiteX16348" y="connsiteY16348"/>
                </a:cxn>
                <a:cxn ang="0">
                  <a:pos x="connsiteX16349" y="connsiteY16349"/>
                </a:cxn>
                <a:cxn ang="0">
                  <a:pos x="connsiteX16350" y="connsiteY16350"/>
                </a:cxn>
                <a:cxn ang="0">
                  <a:pos x="connsiteX16351" y="connsiteY16351"/>
                </a:cxn>
                <a:cxn ang="0">
                  <a:pos x="connsiteX16352" y="connsiteY16352"/>
                </a:cxn>
                <a:cxn ang="0">
                  <a:pos x="connsiteX16353" y="connsiteY16353"/>
                </a:cxn>
                <a:cxn ang="0">
                  <a:pos x="connsiteX16354" y="connsiteY16354"/>
                </a:cxn>
                <a:cxn ang="0">
                  <a:pos x="connsiteX16355" y="connsiteY16355"/>
                </a:cxn>
                <a:cxn ang="0">
                  <a:pos x="connsiteX16356" y="connsiteY16356"/>
                </a:cxn>
                <a:cxn ang="0">
                  <a:pos x="connsiteX16357" y="connsiteY16357"/>
                </a:cxn>
                <a:cxn ang="0">
                  <a:pos x="connsiteX16358" y="connsiteY16358"/>
                </a:cxn>
                <a:cxn ang="0">
                  <a:pos x="connsiteX16359" y="connsiteY16359"/>
                </a:cxn>
                <a:cxn ang="0">
                  <a:pos x="connsiteX16360" y="connsiteY16360"/>
                </a:cxn>
                <a:cxn ang="0">
                  <a:pos x="connsiteX16361" y="connsiteY16361"/>
                </a:cxn>
                <a:cxn ang="0">
                  <a:pos x="connsiteX16362" y="connsiteY16362"/>
                </a:cxn>
                <a:cxn ang="0">
                  <a:pos x="connsiteX16363" y="connsiteY16363"/>
                </a:cxn>
                <a:cxn ang="0">
                  <a:pos x="connsiteX16364" y="connsiteY16364"/>
                </a:cxn>
                <a:cxn ang="0">
                  <a:pos x="connsiteX16365" y="connsiteY16365"/>
                </a:cxn>
                <a:cxn ang="0">
                  <a:pos x="connsiteX16366" y="connsiteY16366"/>
                </a:cxn>
                <a:cxn ang="0">
                  <a:pos x="connsiteX16367" y="connsiteY16367"/>
                </a:cxn>
                <a:cxn ang="0">
                  <a:pos x="connsiteX16368" y="connsiteY16368"/>
                </a:cxn>
                <a:cxn ang="0">
                  <a:pos x="connsiteX16369" y="connsiteY16369"/>
                </a:cxn>
                <a:cxn ang="0">
                  <a:pos x="connsiteX16370" y="connsiteY16370"/>
                </a:cxn>
                <a:cxn ang="0">
                  <a:pos x="connsiteX16371" y="connsiteY16371"/>
                </a:cxn>
                <a:cxn ang="0">
                  <a:pos x="connsiteX16372" y="connsiteY16372"/>
                </a:cxn>
                <a:cxn ang="0">
                  <a:pos x="connsiteX16373" y="connsiteY16373"/>
                </a:cxn>
                <a:cxn ang="0">
                  <a:pos x="connsiteX16374" y="connsiteY16374"/>
                </a:cxn>
                <a:cxn ang="0">
                  <a:pos x="connsiteX16375" y="connsiteY16375"/>
                </a:cxn>
                <a:cxn ang="0">
                  <a:pos x="connsiteX16376" y="connsiteY16376"/>
                </a:cxn>
                <a:cxn ang="0">
                  <a:pos x="connsiteX16377" y="connsiteY16377"/>
                </a:cxn>
                <a:cxn ang="0">
                  <a:pos x="connsiteX16378" y="connsiteY16378"/>
                </a:cxn>
                <a:cxn ang="0">
                  <a:pos x="connsiteX16379" y="connsiteY16379"/>
                </a:cxn>
                <a:cxn ang="0">
                  <a:pos x="connsiteX16380" y="connsiteY16380"/>
                </a:cxn>
                <a:cxn ang="0">
                  <a:pos x="connsiteX16381" y="connsiteY16381"/>
                </a:cxn>
                <a:cxn ang="0">
                  <a:pos x="connsiteX16382" y="connsiteY16382"/>
                </a:cxn>
                <a:cxn ang="0">
                  <a:pos x="connsiteX16383" y="connsiteY16383"/>
                </a:cxn>
                <a:cxn ang="0">
                  <a:pos x="connsiteX16384" y="connsiteY16384"/>
                </a:cxn>
                <a:cxn ang="0">
                  <a:pos x="connsiteX16385" y="connsiteY16385"/>
                </a:cxn>
                <a:cxn ang="0">
                  <a:pos x="connsiteX16386" y="connsiteY16386"/>
                </a:cxn>
                <a:cxn ang="0">
                  <a:pos x="connsiteX16387" y="connsiteY16387"/>
                </a:cxn>
                <a:cxn ang="0">
                  <a:pos x="connsiteX16388" y="connsiteY16388"/>
                </a:cxn>
                <a:cxn ang="0">
                  <a:pos x="connsiteX16389" y="connsiteY16389"/>
                </a:cxn>
                <a:cxn ang="0">
                  <a:pos x="connsiteX16390" y="connsiteY16390"/>
                </a:cxn>
                <a:cxn ang="0">
                  <a:pos x="connsiteX16391" y="connsiteY16391"/>
                </a:cxn>
                <a:cxn ang="0">
                  <a:pos x="connsiteX16392" y="connsiteY16392"/>
                </a:cxn>
                <a:cxn ang="0">
                  <a:pos x="connsiteX16393" y="connsiteY16393"/>
                </a:cxn>
                <a:cxn ang="0">
                  <a:pos x="connsiteX16394" y="connsiteY16394"/>
                </a:cxn>
                <a:cxn ang="0">
                  <a:pos x="connsiteX16395" y="connsiteY16395"/>
                </a:cxn>
                <a:cxn ang="0">
                  <a:pos x="connsiteX16396" y="connsiteY16396"/>
                </a:cxn>
                <a:cxn ang="0">
                  <a:pos x="connsiteX16397" y="connsiteY16397"/>
                </a:cxn>
                <a:cxn ang="0">
                  <a:pos x="connsiteX16398" y="connsiteY16398"/>
                </a:cxn>
                <a:cxn ang="0">
                  <a:pos x="connsiteX16399" y="connsiteY16399"/>
                </a:cxn>
                <a:cxn ang="0">
                  <a:pos x="connsiteX16400" y="connsiteY16400"/>
                </a:cxn>
                <a:cxn ang="0">
                  <a:pos x="connsiteX16401" y="connsiteY16401"/>
                </a:cxn>
                <a:cxn ang="0">
                  <a:pos x="connsiteX16402" y="connsiteY16402"/>
                </a:cxn>
                <a:cxn ang="0">
                  <a:pos x="connsiteX16403" y="connsiteY16403"/>
                </a:cxn>
                <a:cxn ang="0">
                  <a:pos x="connsiteX16404" y="connsiteY16404"/>
                </a:cxn>
                <a:cxn ang="0">
                  <a:pos x="connsiteX16405" y="connsiteY16405"/>
                </a:cxn>
                <a:cxn ang="0">
                  <a:pos x="connsiteX16406" y="connsiteY16406"/>
                </a:cxn>
                <a:cxn ang="0">
                  <a:pos x="connsiteX16407" y="connsiteY16407"/>
                </a:cxn>
                <a:cxn ang="0">
                  <a:pos x="connsiteX16408" y="connsiteY16408"/>
                </a:cxn>
                <a:cxn ang="0">
                  <a:pos x="connsiteX16409" y="connsiteY16409"/>
                </a:cxn>
                <a:cxn ang="0">
                  <a:pos x="connsiteX16410" y="connsiteY16410"/>
                </a:cxn>
                <a:cxn ang="0">
                  <a:pos x="connsiteX16411" y="connsiteY16411"/>
                </a:cxn>
                <a:cxn ang="0">
                  <a:pos x="connsiteX16412" y="connsiteY16412"/>
                </a:cxn>
                <a:cxn ang="0">
                  <a:pos x="connsiteX16413" y="connsiteY16413"/>
                </a:cxn>
                <a:cxn ang="0">
                  <a:pos x="connsiteX16414" y="connsiteY16414"/>
                </a:cxn>
                <a:cxn ang="0">
                  <a:pos x="connsiteX16415" y="connsiteY16415"/>
                </a:cxn>
                <a:cxn ang="0">
                  <a:pos x="connsiteX16416" y="connsiteY16416"/>
                </a:cxn>
                <a:cxn ang="0">
                  <a:pos x="connsiteX16417" y="connsiteY16417"/>
                </a:cxn>
                <a:cxn ang="0">
                  <a:pos x="connsiteX16418" y="connsiteY16418"/>
                </a:cxn>
                <a:cxn ang="0">
                  <a:pos x="connsiteX16419" y="connsiteY16419"/>
                </a:cxn>
                <a:cxn ang="0">
                  <a:pos x="connsiteX16420" y="connsiteY16420"/>
                </a:cxn>
                <a:cxn ang="0">
                  <a:pos x="connsiteX16421" y="connsiteY16421"/>
                </a:cxn>
                <a:cxn ang="0">
                  <a:pos x="connsiteX16422" y="connsiteY16422"/>
                </a:cxn>
                <a:cxn ang="0">
                  <a:pos x="connsiteX16423" y="connsiteY16423"/>
                </a:cxn>
                <a:cxn ang="0">
                  <a:pos x="connsiteX16424" y="connsiteY16424"/>
                </a:cxn>
                <a:cxn ang="0">
                  <a:pos x="connsiteX16425" y="connsiteY16425"/>
                </a:cxn>
                <a:cxn ang="0">
                  <a:pos x="connsiteX16426" y="connsiteY16426"/>
                </a:cxn>
                <a:cxn ang="0">
                  <a:pos x="connsiteX16427" y="connsiteY16427"/>
                </a:cxn>
                <a:cxn ang="0">
                  <a:pos x="connsiteX16428" y="connsiteY16428"/>
                </a:cxn>
                <a:cxn ang="0">
                  <a:pos x="connsiteX16429" y="connsiteY16429"/>
                </a:cxn>
                <a:cxn ang="0">
                  <a:pos x="connsiteX16430" y="connsiteY16430"/>
                </a:cxn>
                <a:cxn ang="0">
                  <a:pos x="connsiteX16431" y="connsiteY16431"/>
                </a:cxn>
                <a:cxn ang="0">
                  <a:pos x="connsiteX16432" y="connsiteY16432"/>
                </a:cxn>
                <a:cxn ang="0">
                  <a:pos x="connsiteX16433" y="connsiteY16433"/>
                </a:cxn>
                <a:cxn ang="0">
                  <a:pos x="connsiteX16434" y="connsiteY16434"/>
                </a:cxn>
                <a:cxn ang="0">
                  <a:pos x="connsiteX16435" y="connsiteY16435"/>
                </a:cxn>
                <a:cxn ang="0">
                  <a:pos x="connsiteX16436" y="connsiteY16436"/>
                </a:cxn>
                <a:cxn ang="0">
                  <a:pos x="connsiteX16437" y="connsiteY16437"/>
                </a:cxn>
                <a:cxn ang="0">
                  <a:pos x="connsiteX16438" y="connsiteY16438"/>
                </a:cxn>
                <a:cxn ang="0">
                  <a:pos x="connsiteX16439" y="connsiteY16439"/>
                </a:cxn>
                <a:cxn ang="0">
                  <a:pos x="connsiteX16440" y="connsiteY16440"/>
                </a:cxn>
                <a:cxn ang="0">
                  <a:pos x="connsiteX16441" y="connsiteY16441"/>
                </a:cxn>
                <a:cxn ang="0">
                  <a:pos x="connsiteX16442" y="connsiteY16442"/>
                </a:cxn>
                <a:cxn ang="0">
                  <a:pos x="connsiteX16443" y="connsiteY16443"/>
                </a:cxn>
                <a:cxn ang="0">
                  <a:pos x="connsiteX16444" y="connsiteY16444"/>
                </a:cxn>
                <a:cxn ang="0">
                  <a:pos x="connsiteX16445" y="connsiteY16445"/>
                </a:cxn>
                <a:cxn ang="0">
                  <a:pos x="connsiteX16446" y="connsiteY16446"/>
                </a:cxn>
                <a:cxn ang="0">
                  <a:pos x="connsiteX16447" y="connsiteY16447"/>
                </a:cxn>
                <a:cxn ang="0">
                  <a:pos x="connsiteX16448" y="connsiteY16448"/>
                </a:cxn>
                <a:cxn ang="0">
                  <a:pos x="connsiteX16449" y="connsiteY16449"/>
                </a:cxn>
                <a:cxn ang="0">
                  <a:pos x="connsiteX16450" y="connsiteY16450"/>
                </a:cxn>
                <a:cxn ang="0">
                  <a:pos x="connsiteX16451" y="connsiteY16451"/>
                </a:cxn>
                <a:cxn ang="0">
                  <a:pos x="connsiteX16452" y="connsiteY16452"/>
                </a:cxn>
                <a:cxn ang="0">
                  <a:pos x="connsiteX16453" y="connsiteY16453"/>
                </a:cxn>
                <a:cxn ang="0">
                  <a:pos x="connsiteX16454" y="connsiteY16454"/>
                </a:cxn>
                <a:cxn ang="0">
                  <a:pos x="connsiteX16455" y="connsiteY16455"/>
                </a:cxn>
                <a:cxn ang="0">
                  <a:pos x="connsiteX16456" y="connsiteY16456"/>
                </a:cxn>
                <a:cxn ang="0">
                  <a:pos x="connsiteX16457" y="connsiteY16457"/>
                </a:cxn>
                <a:cxn ang="0">
                  <a:pos x="connsiteX16458" y="connsiteY16458"/>
                </a:cxn>
                <a:cxn ang="0">
                  <a:pos x="connsiteX16459" y="connsiteY16459"/>
                </a:cxn>
                <a:cxn ang="0">
                  <a:pos x="connsiteX16460" y="connsiteY16460"/>
                </a:cxn>
                <a:cxn ang="0">
                  <a:pos x="connsiteX16461" y="connsiteY16461"/>
                </a:cxn>
                <a:cxn ang="0">
                  <a:pos x="connsiteX16462" y="connsiteY16462"/>
                </a:cxn>
                <a:cxn ang="0">
                  <a:pos x="connsiteX16463" y="connsiteY16463"/>
                </a:cxn>
                <a:cxn ang="0">
                  <a:pos x="connsiteX16464" y="connsiteY16464"/>
                </a:cxn>
                <a:cxn ang="0">
                  <a:pos x="connsiteX16465" y="connsiteY16465"/>
                </a:cxn>
                <a:cxn ang="0">
                  <a:pos x="connsiteX16466" y="connsiteY16466"/>
                </a:cxn>
                <a:cxn ang="0">
                  <a:pos x="connsiteX16467" y="connsiteY16467"/>
                </a:cxn>
                <a:cxn ang="0">
                  <a:pos x="connsiteX16468" y="connsiteY16468"/>
                </a:cxn>
                <a:cxn ang="0">
                  <a:pos x="connsiteX16469" y="connsiteY16469"/>
                </a:cxn>
                <a:cxn ang="0">
                  <a:pos x="connsiteX16470" y="connsiteY16470"/>
                </a:cxn>
                <a:cxn ang="0">
                  <a:pos x="connsiteX16471" y="connsiteY16471"/>
                </a:cxn>
                <a:cxn ang="0">
                  <a:pos x="connsiteX16472" y="connsiteY16472"/>
                </a:cxn>
                <a:cxn ang="0">
                  <a:pos x="connsiteX16473" y="connsiteY16473"/>
                </a:cxn>
                <a:cxn ang="0">
                  <a:pos x="connsiteX16474" y="connsiteY16474"/>
                </a:cxn>
                <a:cxn ang="0">
                  <a:pos x="connsiteX16475" y="connsiteY16475"/>
                </a:cxn>
                <a:cxn ang="0">
                  <a:pos x="connsiteX16476" y="connsiteY16476"/>
                </a:cxn>
                <a:cxn ang="0">
                  <a:pos x="connsiteX16477" y="connsiteY16477"/>
                </a:cxn>
                <a:cxn ang="0">
                  <a:pos x="connsiteX16478" y="connsiteY16478"/>
                </a:cxn>
                <a:cxn ang="0">
                  <a:pos x="connsiteX16479" y="connsiteY16479"/>
                </a:cxn>
                <a:cxn ang="0">
                  <a:pos x="connsiteX16480" y="connsiteY16480"/>
                </a:cxn>
                <a:cxn ang="0">
                  <a:pos x="connsiteX16481" y="connsiteY16481"/>
                </a:cxn>
                <a:cxn ang="0">
                  <a:pos x="connsiteX16482" y="connsiteY16482"/>
                </a:cxn>
                <a:cxn ang="0">
                  <a:pos x="connsiteX16483" y="connsiteY16483"/>
                </a:cxn>
                <a:cxn ang="0">
                  <a:pos x="connsiteX16484" y="connsiteY16484"/>
                </a:cxn>
                <a:cxn ang="0">
                  <a:pos x="connsiteX16485" y="connsiteY16485"/>
                </a:cxn>
                <a:cxn ang="0">
                  <a:pos x="connsiteX16486" y="connsiteY16486"/>
                </a:cxn>
                <a:cxn ang="0">
                  <a:pos x="connsiteX16487" y="connsiteY16487"/>
                </a:cxn>
                <a:cxn ang="0">
                  <a:pos x="connsiteX16488" y="connsiteY16488"/>
                </a:cxn>
                <a:cxn ang="0">
                  <a:pos x="connsiteX16489" y="connsiteY16489"/>
                </a:cxn>
                <a:cxn ang="0">
                  <a:pos x="connsiteX16490" y="connsiteY16490"/>
                </a:cxn>
                <a:cxn ang="0">
                  <a:pos x="connsiteX16491" y="connsiteY16491"/>
                </a:cxn>
                <a:cxn ang="0">
                  <a:pos x="connsiteX16492" y="connsiteY16492"/>
                </a:cxn>
                <a:cxn ang="0">
                  <a:pos x="connsiteX16493" y="connsiteY16493"/>
                </a:cxn>
                <a:cxn ang="0">
                  <a:pos x="connsiteX16494" y="connsiteY16494"/>
                </a:cxn>
                <a:cxn ang="0">
                  <a:pos x="connsiteX16495" y="connsiteY16495"/>
                </a:cxn>
                <a:cxn ang="0">
                  <a:pos x="connsiteX16496" y="connsiteY16496"/>
                </a:cxn>
                <a:cxn ang="0">
                  <a:pos x="connsiteX16497" y="connsiteY16497"/>
                </a:cxn>
                <a:cxn ang="0">
                  <a:pos x="connsiteX16498" y="connsiteY16498"/>
                </a:cxn>
                <a:cxn ang="0">
                  <a:pos x="connsiteX16499" y="connsiteY16499"/>
                </a:cxn>
                <a:cxn ang="0">
                  <a:pos x="connsiteX16500" y="connsiteY16500"/>
                </a:cxn>
                <a:cxn ang="0">
                  <a:pos x="connsiteX16501" y="connsiteY16501"/>
                </a:cxn>
                <a:cxn ang="0">
                  <a:pos x="connsiteX16502" y="connsiteY16502"/>
                </a:cxn>
                <a:cxn ang="0">
                  <a:pos x="connsiteX16503" y="connsiteY16503"/>
                </a:cxn>
                <a:cxn ang="0">
                  <a:pos x="connsiteX16504" y="connsiteY16504"/>
                </a:cxn>
                <a:cxn ang="0">
                  <a:pos x="connsiteX16505" y="connsiteY16505"/>
                </a:cxn>
                <a:cxn ang="0">
                  <a:pos x="connsiteX16506" y="connsiteY16506"/>
                </a:cxn>
                <a:cxn ang="0">
                  <a:pos x="connsiteX16507" y="connsiteY16507"/>
                </a:cxn>
                <a:cxn ang="0">
                  <a:pos x="connsiteX16508" y="connsiteY16508"/>
                </a:cxn>
                <a:cxn ang="0">
                  <a:pos x="connsiteX16509" y="connsiteY16509"/>
                </a:cxn>
                <a:cxn ang="0">
                  <a:pos x="connsiteX16510" y="connsiteY16510"/>
                </a:cxn>
                <a:cxn ang="0">
                  <a:pos x="connsiteX16511" y="connsiteY16511"/>
                </a:cxn>
                <a:cxn ang="0">
                  <a:pos x="connsiteX16512" y="connsiteY16512"/>
                </a:cxn>
                <a:cxn ang="0">
                  <a:pos x="connsiteX16513" y="connsiteY16513"/>
                </a:cxn>
                <a:cxn ang="0">
                  <a:pos x="connsiteX16514" y="connsiteY16514"/>
                </a:cxn>
                <a:cxn ang="0">
                  <a:pos x="connsiteX16515" y="connsiteY16515"/>
                </a:cxn>
                <a:cxn ang="0">
                  <a:pos x="connsiteX16516" y="connsiteY16516"/>
                </a:cxn>
                <a:cxn ang="0">
                  <a:pos x="connsiteX16517" y="connsiteY16517"/>
                </a:cxn>
                <a:cxn ang="0">
                  <a:pos x="connsiteX16518" y="connsiteY16518"/>
                </a:cxn>
                <a:cxn ang="0">
                  <a:pos x="connsiteX16519" y="connsiteY16519"/>
                </a:cxn>
                <a:cxn ang="0">
                  <a:pos x="connsiteX16520" y="connsiteY16520"/>
                </a:cxn>
                <a:cxn ang="0">
                  <a:pos x="connsiteX16521" y="connsiteY16521"/>
                </a:cxn>
                <a:cxn ang="0">
                  <a:pos x="connsiteX16522" y="connsiteY16522"/>
                </a:cxn>
                <a:cxn ang="0">
                  <a:pos x="connsiteX16523" y="connsiteY16523"/>
                </a:cxn>
                <a:cxn ang="0">
                  <a:pos x="connsiteX16524" y="connsiteY16524"/>
                </a:cxn>
                <a:cxn ang="0">
                  <a:pos x="connsiteX16525" y="connsiteY16525"/>
                </a:cxn>
                <a:cxn ang="0">
                  <a:pos x="connsiteX16526" y="connsiteY16526"/>
                </a:cxn>
                <a:cxn ang="0">
                  <a:pos x="connsiteX16527" y="connsiteY16527"/>
                </a:cxn>
                <a:cxn ang="0">
                  <a:pos x="connsiteX16528" y="connsiteY16528"/>
                </a:cxn>
                <a:cxn ang="0">
                  <a:pos x="connsiteX16529" y="connsiteY16529"/>
                </a:cxn>
                <a:cxn ang="0">
                  <a:pos x="connsiteX16530" y="connsiteY16530"/>
                </a:cxn>
                <a:cxn ang="0">
                  <a:pos x="connsiteX16531" y="connsiteY16531"/>
                </a:cxn>
                <a:cxn ang="0">
                  <a:pos x="connsiteX16532" y="connsiteY16532"/>
                </a:cxn>
                <a:cxn ang="0">
                  <a:pos x="connsiteX16533" y="connsiteY16533"/>
                </a:cxn>
                <a:cxn ang="0">
                  <a:pos x="connsiteX16534" y="connsiteY16534"/>
                </a:cxn>
                <a:cxn ang="0">
                  <a:pos x="connsiteX16535" y="connsiteY16535"/>
                </a:cxn>
                <a:cxn ang="0">
                  <a:pos x="connsiteX16536" y="connsiteY16536"/>
                </a:cxn>
                <a:cxn ang="0">
                  <a:pos x="connsiteX16537" y="connsiteY16537"/>
                </a:cxn>
                <a:cxn ang="0">
                  <a:pos x="connsiteX16538" y="connsiteY16538"/>
                </a:cxn>
                <a:cxn ang="0">
                  <a:pos x="connsiteX16539" y="connsiteY16539"/>
                </a:cxn>
                <a:cxn ang="0">
                  <a:pos x="connsiteX16540" y="connsiteY16540"/>
                </a:cxn>
                <a:cxn ang="0">
                  <a:pos x="connsiteX16541" y="connsiteY16541"/>
                </a:cxn>
                <a:cxn ang="0">
                  <a:pos x="connsiteX16542" y="connsiteY16542"/>
                </a:cxn>
                <a:cxn ang="0">
                  <a:pos x="connsiteX16543" y="connsiteY16543"/>
                </a:cxn>
                <a:cxn ang="0">
                  <a:pos x="connsiteX16544" y="connsiteY16544"/>
                </a:cxn>
                <a:cxn ang="0">
                  <a:pos x="connsiteX16545" y="connsiteY16545"/>
                </a:cxn>
                <a:cxn ang="0">
                  <a:pos x="connsiteX16546" y="connsiteY16546"/>
                </a:cxn>
                <a:cxn ang="0">
                  <a:pos x="connsiteX16547" y="connsiteY16547"/>
                </a:cxn>
                <a:cxn ang="0">
                  <a:pos x="connsiteX16548" y="connsiteY16548"/>
                </a:cxn>
                <a:cxn ang="0">
                  <a:pos x="connsiteX16549" y="connsiteY16549"/>
                </a:cxn>
                <a:cxn ang="0">
                  <a:pos x="connsiteX16550" y="connsiteY16550"/>
                </a:cxn>
                <a:cxn ang="0">
                  <a:pos x="connsiteX16551" y="connsiteY16551"/>
                </a:cxn>
                <a:cxn ang="0">
                  <a:pos x="connsiteX16552" y="connsiteY16552"/>
                </a:cxn>
                <a:cxn ang="0">
                  <a:pos x="connsiteX16553" y="connsiteY16553"/>
                </a:cxn>
                <a:cxn ang="0">
                  <a:pos x="connsiteX16554" y="connsiteY16554"/>
                </a:cxn>
                <a:cxn ang="0">
                  <a:pos x="connsiteX16555" y="connsiteY16555"/>
                </a:cxn>
                <a:cxn ang="0">
                  <a:pos x="connsiteX16556" y="connsiteY16556"/>
                </a:cxn>
                <a:cxn ang="0">
                  <a:pos x="connsiteX16557" y="connsiteY16557"/>
                </a:cxn>
                <a:cxn ang="0">
                  <a:pos x="connsiteX16558" y="connsiteY16558"/>
                </a:cxn>
                <a:cxn ang="0">
                  <a:pos x="connsiteX16559" y="connsiteY16559"/>
                </a:cxn>
                <a:cxn ang="0">
                  <a:pos x="connsiteX16560" y="connsiteY16560"/>
                </a:cxn>
                <a:cxn ang="0">
                  <a:pos x="connsiteX16561" y="connsiteY16561"/>
                </a:cxn>
                <a:cxn ang="0">
                  <a:pos x="connsiteX16562" y="connsiteY16562"/>
                </a:cxn>
                <a:cxn ang="0">
                  <a:pos x="connsiteX16563" y="connsiteY16563"/>
                </a:cxn>
                <a:cxn ang="0">
                  <a:pos x="connsiteX16564" y="connsiteY16564"/>
                </a:cxn>
                <a:cxn ang="0">
                  <a:pos x="connsiteX16565" y="connsiteY16565"/>
                </a:cxn>
                <a:cxn ang="0">
                  <a:pos x="connsiteX16566" y="connsiteY16566"/>
                </a:cxn>
                <a:cxn ang="0">
                  <a:pos x="connsiteX16567" y="connsiteY16567"/>
                </a:cxn>
                <a:cxn ang="0">
                  <a:pos x="connsiteX16568" y="connsiteY16568"/>
                </a:cxn>
                <a:cxn ang="0">
                  <a:pos x="connsiteX16569" y="connsiteY16569"/>
                </a:cxn>
                <a:cxn ang="0">
                  <a:pos x="connsiteX16570" y="connsiteY16570"/>
                </a:cxn>
                <a:cxn ang="0">
                  <a:pos x="connsiteX16571" y="connsiteY16571"/>
                </a:cxn>
                <a:cxn ang="0">
                  <a:pos x="connsiteX16572" y="connsiteY16572"/>
                </a:cxn>
                <a:cxn ang="0">
                  <a:pos x="connsiteX16573" y="connsiteY16573"/>
                </a:cxn>
                <a:cxn ang="0">
                  <a:pos x="connsiteX16574" y="connsiteY16574"/>
                </a:cxn>
                <a:cxn ang="0">
                  <a:pos x="connsiteX16575" y="connsiteY16575"/>
                </a:cxn>
                <a:cxn ang="0">
                  <a:pos x="connsiteX16576" y="connsiteY16576"/>
                </a:cxn>
                <a:cxn ang="0">
                  <a:pos x="connsiteX16577" y="connsiteY16577"/>
                </a:cxn>
                <a:cxn ang="0">
                  <a:pos x="connsiteX16578" y="connsiteY16578"/>
                </a:cxn>
                <a:cxn ang="0">
                  <a:pos x="connsiteX16579" y="connsiteY16579"/>
                </a:cxn>
                <a:cxn ang="0">
                  <a:pos x="connsiteX16580" y="connsiteY16580"/>
                </a:cxn>
                <a:cxn ang="0">
                  <a:pos x="connsiteX16581" y="connsiteY16581"/>
                </a:cxn>
                <a:cxn ang="0">
                  <a:pos x="connsiteX16582" y="connsiteY16582"/>
                </a:cxn>
                <a:cxn ang="0">
                  <a:pos x="connsiteX16583" y="connsiteY16583"/>
                </a:cxn>
                <a:cxn ang="0">
                  <a:pos x="connsiteX16584" y="connsiteY16584"/>
                </a:cxn>
                <a:cxn ang="0">
                  <a:pos x="connsiteX16585" y="connsiteY16585"/>
                </a:cxn>
                <a:cxn ang="0">
                  <a:pos x="connsiteX16586" y="connsiteY16586"/>
                </a:cxn>
                <a:cxn ang="0">
                  <a:pos x="connsiteX16587" y="connsiteY16587"/>
                </a:cxn>
                <a:cxn ang="0">
                  <a:pos x="connsiteX16588" y="connsiteY16588"/>
                </a:cxn>
                <a:cxn ang="0">
                  <a:pos x="connsiteX16589" y="connsiteY16589"/>
                </a:cxn>
                <a:cxn ang="0">
                  <a:pos x="connsiteX16590" y="connsiteY16590"/>
                </a:cxn>
                <a:cxn ang="0">
                  <a:pos x="connsiteX16591" y="connsiteY16591"/>
                </a:cxn>
                <a:cxn ang="0">
                  <a:pos x="connsiteX16592" y="connsiteY16592"/>
                </a:cxn>
                <a:cxn ang="0">
                  <a:pos x="connsiteX16593" y="connsiteY16593"/>
                </a:cxn>
                <a:cxn ang="0">
                  <a:pos x="connsiteX16594" y="connsiteY16594"/>
                </a:cxn>
                <a:cxn ang="0">
                  <a:pos x="connsiteX16595" y="connsiteY16595"/>
                </a:cxn>
                <a:cxn ang="0">
                  <a:pos x="connsiteX16596" y="connsiteY16596"/>
                </a:cxn>
                <a:cxn ang="0">
                  <a:pos x="connsiteX16597" y="connsiteY16597"/>
                </a:cxn>
                <a:cxn ang="0">
                  <a:pos x="connsiteX16598" y="connsiteY16598"/>
                </a:cxn>
                <a:cxn ang="0">
                  <a:pos x="connsiteX16599" y="connsiteY16599"/>
                </a:cxn>
                <a:cxn ang="0">
                  <a:pos x="connsiteX16600" y="connsiteY16600"/>
                </a:cxn>
                <a:cxn ang="0">
                  <a:pos x="connsiteX16601" y="connsiteY16601"/>
                </a:cxn>
                <a:cxn ang="0">
                  <a:pos x="connsiteX16602" y="connsiteY16602"/>
                </a:cxn>
                <a:cxn ang="0">
                  <a:pos x="connsiteX16603" y="connsiteY16603"/>
                </a:cxn>
                <a:cxn ang="0">
                  <a:pos x="connsiteX16604" y="connsiteY16604"/>
                </a:cxn>
                <a:cxn ang="0">
                  <a:pos x="connsiteX16605" y="connsiteY16605"/>
                </a:cxn>
                <a:cxn ang="0">
                  <a:pos x="connsiteX16606" y="connsiteY16606"/>
                </a:cxn>
                <a:cxn ang="0">
                  <a:pos x="connsiteX16607" y="connsiteY16607"/>
                </a:cxn>
                <a:cxn ang="0">
                  <a:pos x="connsiteX16608" y="connsiteY16608"/>
                </a:cxn>
                <a:cxn ang="0">
                  <a:pos x="connsiteX16609" y="connsiteY16609"/>
                </a:cxn>
                <a:cxn ang="0">
                  <a:pos x="connsiteX16610" y="connsiteY16610"/>
                </a:cxn>
                <a:cxn ang="0">
                  <a:pos x="connsiteX16611" y="connsiteY16611"/>
                </a:cxn>
                <a:cxn ang="0">
                  <a:pos x="connsiteX16612" y="connsiteY16612"/>
                </a:cxn>
                <a:cxn ang="0">
                  <a:pos x="connsiteX16613" y="connsiteY16613"/>
                </a:cxn>
                <a:cxn ang="0">
                  <a:pos x="connsiteX16614" y="connsiteY16614"/>
                </a:cxn>
                <a:cxn ang="0">
                  <a:pos x="connsiteX16615" y="connsiteY16615"/>
                </a:cxn>
                <a:cxn ang="0">
                  <a:pos x="connsiteX16616" y="connsiteY16616"/>
                </a:cxn>
                <a:cxn ang="0">
                  <a:pos x="connsiteX16617" y="connsiteY16617"/>
                </a:cxn>
                <a:cxn ang="0">
                  <a:pos x="connsiteX16618" y="connsiteY16618"/>
                </a:cxn>
                <a:cxn ang="0">
                  <a:pos x="connsiteX16619" y="connsiteY16619"/>
                </a:cxn>
                <a:cxn ang="0">
                  <a:pos x="connsiteX16620" y="connsiteY16620"/>
                </a:cxn>
                <a:cxn ang="0">
                  <a:pos x="connsiteX16621" y="connsiteY16621"/>
                </a:cxn>
                <a:cxn ang="0">
                  <a:pos x="connsiteX16622" y="connsiteY16622"/>
                </a:cxn>
                <a:cxn ang="0">
                  <a:pos x="connsiteX16623" y="connsiteY16623"/>
                </a:cxn>
                <a:cxn ang="0">
                  <a:pos x="connsiteX16624" y="connsiteY16624"/>
                </a:cxn>
                <a:cxn ang="0">
                  <a:pos x="connsiteX16625" y="connsiteY16625"/>
                </a:cxn>
                <a:cxn ang="0">
                  <a:pos x="connsiteX16626" y="connsiteY16626"/>
                </a:cxn>
                <a:cxn ang="0">
                  <a:pos x="connsiteX16627" y="connsiteY16627"/>
                </a:cxn>
                <a:cxn ang="0">
                  <a:pos x="connsiteX16628" y="connsiteY16628"/>
                </a:cxn>
                <a:cxn ang="0">
                  <a:pos x="connsiteX16629" y="connsiteY16629"/>
                </a:cxn>
                <a:cxn ang="0">
                  <a:pos x="connsiteX16630" y="connsiteY16630"/>
                </a:cxn>
                <a:cxn ang="0">
                  <a:pos x="connsiteX16631" y="connsiteY16631"/>
                </a:cxn>
                <a:cxn ang="0">
                  <a:pos x="connsiteX16632" y="connsiteY16632"/>
                </a:cxn>
                <a:cxn ang="0">
                  <a:pos x="connsiteX16633" y="connsiteY16633"/>
                </a:cxn>
                <a:cxn ang="0">
                  <a:pos x="connsiteX16634" y="connsiteY16634"/>
                </a:cxn>
                <a:cxn ang="0">
                  <a:pos x="connsiteX16635" y="connsiteY16635"/>
                </a:cxn>
                <a:cxn ang="0">
                  <a:pos x="connsiteX16636" y="connsiteY16636"/>
                </a:cxn>
                <a:cxn ang="0">
                  <a:pos x="connsiteX16637" y="connsiteY16637"/>
                </a:cxn>
                <a:cxn ang="0">
                  <a:pos x="connsiteX16638" y="connsiteY16638"/>
                </a:cxn>
                <a:cxn ang="0">
                  <a:pos x="connsiteX16639" y="connsiteY16639"/>
                </a:cxn>
                <a:cxn ang="0">
                  <a:pos x="connsiteX16640" y="connsiteY16640"/>
                </a:cxn>
                <a:cxn ang="0">
                  <a:pos x="connsiteX16641" y="connsiteY16641"/>
                </a:cxn>
                <a:cxn ang="0">
                  <a:pos x="connsiteX16642" y="connsiteY16642"/>
                </a:cxn>
                <a:cxn ang="0">
                  <a:pos x="connsiteX16643" y="connsiteY16643"/>
                </a:cxn>
                <a:cxn ang="0">
                  <a:pos x="connsiteX16644" y="connsiteY16644"/>
                </a:cxn>
                <a:cxn ang="0">
                  <a:pos x="connsiteX16645" y="connsiteY16645"/>
                </a:cxn>
                <a:cxn ang="0">
                  <a:pos x="connsiteX16646" y="connsiteY16646"/>
                </a:cxn>
                <a:cxn ang="0">
                  <a:pos x="connsiteX16647" y="connsiteY16647"/>
                </a:cxn>
                <a:cxn ang="0">
                  <a:pos x="connsiteX16648" y="connsiteY16648"/>
                </a:cxn>
                <a:cxn ang="0">
                  <a:pos x="connsiteX16649" y="connsiteY16649"/>
                </a:cxn>
                <a:cxn ang="0">
                  <a:pos x="connsiteX16650" y="connsiteY16650"/>
                </a:cxn>
                <a:cxn ang="0">
                  <a:pos x="connsiteX16651" y="connsiteY16651"/>
                </a:cxn>
                <a:cxn ang="0">
                  <a:pos x="connsiteX16652" y="connsiteY16652"/>
                </a:cxn>
                <a:cxn ang="0">
                  <a:pos x="connsiteX16653" y="connsiteY16653"/>
                </a:cxn>
                <a:cxn ang="0">
                  <a:pos x="connsiteX16654" y="connsiteY16654"/>
                </a:cxn>
                <a:cxn ang="0">
                  <a:pos x="connsiteX16655" y="connsiteY16655"/>
                </a:cxn>
                <a:cxn ang="0">
                  <a:pos x="connsiteX16656" y="connsiteY16656"/>
                </a:cxn>
                <a:cxn ang="0">
                  <a:pos x="connsiteX16657" y="connsiteY16657"/>
                </a:cxn>
                <a:cxn ang="0">
                  <a:pos x="connsiteX16658" y="connsiteY16658"/>
                </a:cxn>
                <a:cxn ang="0">
                  <a:pos x="connsiteX16659" y="connsiteY16659"/>
                </a:cxn>
                <a:cxn ang="0">
                  <a:pos x="connsiteX16660" y="connsiteY16660"/>
                </a:cxn>
                <a:cxn ang="0">
                  <a:pos x="connsiteX16661" y="connsiteY16661"/>
                </a:cxn>
                <a:cxn ang="0">
                  <a:pos x="connsiteX16662" y="connsiteY16662"/>
                </a:cxn>
                <a:cxn ang="0">
                  <a:pos x="connsiteX16663" y="connsiteY16663"/>
                </a:cxn>
                <a:cxn ang="0">
                  <a:pos x="connsiteX16664" y="connsiteY16664"/>
                </a:cxn>
                <a:cxn ang="0">
                  <a:pos x="connsiteX16665" y="connsiteY16665"/>
                </a:cxn>
                <a:cxn ang="0">
                  <a:pos x="connsiteX16666" y="connsiteY16666"/>
                </a:cxn>
                <a:cxn ang="0">
                  <a:pos x="connsiteX16667" y="connsiteY16667"/>
                </a:cxn>
                <a:cxn ang="0">
                  <a:pos x="connsiteX16668" y="connsiteY16668"/>
                </a:cxn>
                <a:cxn ang="0">
                  <a:pos x="connsiteX16669" y="connsiteY16669"/>
                </a:cxn>
                <a:cxn ang="0">
                  <a:pos x="connsiteX16670" y="connsiteY16670"/>
                </a:cxn>
                <a:cxn ang="0">
                  <a:pos x="connsiteX16671" y="connsiteY16671"/>
                </a:cxn>
                <a:cxn ang="0">
                  <a:pos x="connsiteX16672" y="connsiteY16672"/>
                </a:cxn>
                <a:cxn ang="0">
                  <a:pos x="connsiteX16673" y="connsiteY16673"/>
                </a:cxn>
                <a:cxn ang="0">
                  <a:pos x="connsiteX16674" y="connsiteY16674"/>
                </a:cxn>
                <a:cxn ang="0">
                  <a:pos x="connsiteX16675" y="connsiteY16675"/>
                </a:cxn>
                <a:cxn ang="0">
                  <a:pos x="connsiteX16676" y="connsiteY16676"/>
                </a:cxn>
                <a:cxn ang="0">
                  <a:pos x="connsiteX16677" y="connsiteY16677"/>
                </a:cxn>
                <a:cxn ang="0">
                  <a:pos x="connsiteX16678" y="connsiteY16678"/>
                </a:cxn>
                <a:cxn ang="0">
                  <a:pos x="connsiteX16679" y="connsiteY16679"/>
                </a:cxn>
                <a:cxn ang="0">
                  <a:pos x="connsiteX16680" y="connsiteY16680"/>
                </a:cxn>
                <a:cxn ang="0">
                  <a:pos x="connsiteX16681" y="connsiteY16681"/>
                </a:cxn>
                <a:cxn ang="0">
                  <a:pos x="connsiteX16682" y="connsiteY16682"/>
                </a:cxn>
                <a:cxn ang="0">
                  <a:pos x="connsiteX16683" y="connsiteY16683"/>
                </a:cxn>
                <a:cxn ang="0">
                  <a:pos x="connsiteX16684" y="connsiteY16684"/>
                </a:cxn>
                <a:cxn ang="0">
                  <a:pos x="connsiteX16685" y="connsiteY16685"/>
                </a:cxn>
                <a:cxn ang="0">
                  <a:pos x="connsiteX16686" y="connsiteY16686"/>
                </a:cxn>
                <a:cxn ang="0">
                  <a:pos x="connsiteX16687" y="connsiteY16687"/>
                </a:cxn>
                <a:cxn ang="0">
                  <a:pos x="connsiteX16688" y="connsiteY16688"/>
                </a:cxn>
                <a:cxn ang="0">
                  <a:pos x="connsiteX16689" y="connsiteY16689"/>
                </a:cxn>
                <a:cxn ang="0">
                  <a:pos x="connsiteX16690" y="connsiteY16690"/>
                </a:cxn>
                <a:cxn ang="0">
                  <a:pos x="connsiteX16691" y="connsiteY16691"/>
                </a:cxn>
                <a:cxn ang="0">
                  <a:pos x="connsiteX16692" y="connsiteY16692"/>
                </a:cxn>
                <a:cxn ang="0">
                  <a:pos x="connsiteX16693" y="connsiteY16693"/>
                </a:cxn>
                <a:cxn ang="0">
                  <a:pos x="connsiteX16694" y="connsiteY16694"/>
                </a:cxn>
                <a:cxn ang="0">
                  <a:pos x="connsiteX16695" y="connsiteY16695"/>
                </a:cxn>
                <a:cxn ang="0">
                  <a:pos x="connsiteX16696" y="connsiteY16696"/>
                </a:cxn>
                <a:cxn ang="0">
                  <a:pos x="connsiteX16697" y="connsiteY16697"/>
                </a:cxn>
                <a:cxn ang="0">
                  <a:pos x="connsiteX16698" y="connsiteY16698"/>
                </a:cxn>
                <a:cxn ang="0">
                  <a:pos x="connsiteX16699" y="connsiteY16699"/>
                </a:cxn>
                <a:cxn ang="0">
                  <a:pos x="connsiteX16700" y="connsiteY16700"/>
                </a:cxn>
                <a:cxn ang="0">
                  <a:pos x="connsiteX16701" y="connsiteY16701"/>
                </a:cxn>
                <a:cxn ang="0">
                  <a:pos x="connsiteX16702" y="connsiteY16702"/>
                </a:cxn>
                <a:cxn ang="0">
                  <a:pos x="connsiteX16703" y="connsiteY16703"/>
                </a:cxn>
                <a:cxn ang="0">
                  <a:pos x="connsiteX16704" y="connsiteY16704"/>
                </a:cxn>
                <a:cxn ang="0">
                  <a:pos x="connsiteX16705" y="connsiteY16705"/>
                </a:cxn>
                <a:cxn ang="0">
                  <a:pos x="connsiteX16706" y="connsiteY16706"/>
                </a:cxn>
                <a:cxn ang="0">
                  <a:pos x="connsiteX16707" y="connsiteY16707"/>
                </a:cxn>
                <a:cxn ang="0">
                  <a:pos x="connsiteX16708" y="connsiteY16708"/>
                </a:cxn>
                <a:cxn ang="0">
                  <a:pos x="connsiteX16709" y="connsiteY16709"/>
                </a:cxn>
                <a:cxn ang="0">
                  <a:pos x="connsiteX16710" y="connsiteY16710"/>
                </a:cxn>
                <a:cxn ang="0">
                  <a:pos x="connsiteX16711" y="connsiteY16711"/>
                </a:cxn>
                <a:cxn ang="0">
                  <a:pos x="connsiteX16712" y="connsiteY16712"/>
                </a:cxn>
                <a:cxn ang="0">
                  <a:pos x="connsiteX16713" y="connsiteY16713"/>
                </a:cxn>
                <a:cxn ang="0">
                  <a:pos x="connsiteX16714" y="connsiteY16714"/>
                </a:cxn>
                <a:cxn ang="0">
                  <a:pos x="connsiteX16715" y="connsiteY16715"/>
                </a:cxn>
                <a:cxn ang="0">
                  <a:pos x="connsiteX16716" y="connsiteY16716"/>
                </a:cxn>
                <a:cxn ang="0">
                  <a:pos x="connsiteX16717" y="connsiteY16717"/>
                </a:cxn>
                <a:cxn ang="0">
                  <a:pos x="connsiteX16718" y="connsiteY16718"/>
                </a:cxn>
                <a:cxn ang="0">
                  <a:pos x="connsiteX16719" y="connsiteY16719"/>
                </a:cxn>
                <a:cxn ang="0">
                  <a:pos x="connsiteX16720" y="connsiteY16720"/>
                </a:cxn>
                <a:cxn ang="0">
                  <a:pos x="connsiteX16721" y="connsiteY16721"/>
                </a:cxn>
                <a:cxn ang="0">
                  <a:pos x="connsiteX16722" y="connsiteY16722"/>
                </a:cxn>
                <a:cxn ang="0">
                  <a:pos x="connsiteX16723" y="connsiteY16723"/>
                </a:cxn>
                <a:cxn ang="0">
                  <a:pos x="connsiteX16724" y="connsiteY16724"/>
                </a:cxn>
                <a:cxn ang="0">
                  <a:pos x="connsiteX16725" y="connsiteY16725"/>
                </a:cxn>
                <a:cxn ang="0">
                  <a:pos x="connsiteX16726" y="connsiteY16726"/>
                </a:cxn>
                <a:cxn ang="0">
                  <a:pos x="connsiteX16727" y="connsiteY16727"/>
                </a:cxn>
                <a:cxn ang="0">
                  <a:pos x="connsiteX16728" y="connsiteY16728"/>
                </a:cxn>
                <a:cxn ang="0">
                  <a:pos x="connsiteX16729" y="connsiteY16729"/>
                </a:cxn>
                <a:cxn ang="0">
                  <a:pos x="connsiteX16730" y="connsiteY16730"/>
                </a:cxn>
                <a:cxn ang="0">
                  <a:pos x="connsiteX16731" y="connsiteY16731"/>
                </a:cxn>
                <a:cxn ang="0">
                  <a:pos x="connsiteX16732" y="connsiteY16732"/>
                </a:cxn>
                <a:cxn ang="0">
                  <a:pos x="connsiteX16733" y="connsiteY16733"/>
                </a:cxn>
                <a:cxn ang="0">
                  <a:pos x="connsiteX16734" y="connsiteY16734"/>
                </a:cxn>
                <a:cxn ang="0">
                  <a:pos x="connsiteX16735" y="connsiteY16735"/>
                </a:cxn>
                <a:cxn ang="0">
                  <a:pos x="connsiteX16736" y="connsiteY16736"/>
                </a:cxn>
                <a:cxn ang="0">
                  <a:pos x="connsiteX16737" y="connsiteY16737"/>
                </a:cxn>
                <a:cxn ang="0">
                  <a:pos x="connsiteX16738" y="connsiteY16738"/>
                </a:cxn>
                <a:cxn ang="0">
                  <a:pos x="connsiteX16739" y="connsiteY16739"/>
                </a:cxn>
                <a:cxn ang="0">
                  <a:pos x="connsiteX16740" y="connsiteY16740"/>
                </a:cxn>
                <a:cxn ang="0">
                  <a:pos x="connsiteX16741" y="connsiteY16741"/>
                </a:cxn>
                <a:cxn ang="0">
                  <a:pos x="connsiteX16742" y="connsiteY16742"/>
                </a:cxn>
                <a:cxn ang="0">
                  <a:pos x="connsiteX16743" y="connsiteY16743"/>
                </a:cxn>
                <a:cxn ang="0">
                  <a:pos x="connsiteX16744" y="connsiteY16744"/>
                </a:cxn>
                <a:cxn ang="0">
                  <a:pos x="connsiteX16745" y="connsiteY16745"/>
                </a:cxn>
                <a:cxn ang="0">
                  <a:pos x="connsiteX16746" y="connsiteY16746"/>
                </a:cxn>
                <a:cxn ang="0">
                  <a:pos x="connsiteX16747" y="connsiteY16747"/>
                </a:cxn>
                <a:cxn ang="0">
                  <a:pos x="connsiteX16748" y="connsiteY16748"/>
                </a:cxn>
                <a:cxn ang="0">
                  <a:pos x="connsiteX16749" y="connsiteY16749"/>
                </a:cxn>
                <a:cxn ang="0">
                  <a:pos x="connsiteX16750" y="connsiteY16750"/>
                </a:cxn>
                <a:cxn ang="0">
                  <a:pos x="connsiteX16751" y="connsiteY16751"/>
                </a:cxn>
                <a:cxn ang="0">
                  <a:pos x="connsiteX16752" y="connsiteY16752"/>
                </a:cxn>
                <a:cxn ang="0">
                  <a:pos x="connsiteX16753" y="connsiteY16753"/>
                </a:cxn>
                <a:cxn ang="0">
                  <a:pos x="connsiteX16754" y="connsiteY16754"/>
                </a:cxn>
                <a:cxn ang="0">
                  <a:pos x="connsiteX16755" y="connsiteY16755"/>
                </a:cxn>
                <a:cxn ang="0">
                  <a:pos x="connsiteX16756" y="connsiteY16756"/>
                </a:cxn>
                <a:cxn ang="0">
                  <a:pos x="connsiteX16757" y="connsiteY16757"/>
                </a:cxn>
                <a:cxn ang="0">
                  <a:pos x="connsiteX16758" y="connsiteY16758"/>
                </a:cxn>
                <a:cxn ang="0">
                  <a:pos x="connsiteX16759" y="connsiteY16759"/>
                </a:cxn>
                <a:cxn ang="0">
                  <a:pos x="connsiteX16760" y="connsiteY16760"/>
                </a:cxn>
                <a:cxn ang="0">
                  <a:pos x="connsiteX16761" y="connsiteY16761"/>
                </a:cxn>
                <a:cxn ang="0">
                  <a:pos x="connsiteX16762" y="connsiteY16762"/>
                </a:cxn>
                <a:cxn ang="0">
                  <a:pos x="connsiteX16763" y="connsiteY16763"/>
                </a:cxn>
                <a:cxn ang="0">
                  <a:pos x="connsiteX16764" y="connsiteY16764"/>
                </a:cxn>
                <a:cxn ang="0">
                  <a:pos x="connsiteX16765" y="connsiteY16765"/>
                </a:cxn>
                <a:cxn ang="0">
                  <a:pos x="connsiteX16766" y="connsiteY16766"/>
                </a:cxn>
                <a:cxn ang="0">
                  <a:pos x="connsiteX16767" y="connsiteY16767"/>
                </a:cxn>
                <a:cxn ang="0">
                  <a:pos x="connsiteX16768" y="connsiteY16768"/>
                </a:cxn>
                <a:cxn ang="0">
                  <a:pos x="connsiteX16769" y="connsiteY16769"/>
                </a:cxn>
                <a:cxn ang="0">
                  <a:pos x="connsiteX16770" y="connsiteY16770"/>
                </a:cxn>
                <a:cxn ang="0">
                  <a:pos x="connsiteX16771" y="connsiteY16771"/>
                </a:cxn>
                <a:cxn ang="0">
                  <a:pos x="connsiteX16772" y="connsiteY16772"/>
                </a:cxn>
                <a:cxn ang="0">
                  <a:pos x="connsiteX16773" y="connsiteY16773"/>
                </a:cxn>
                <a:cxn ang="0">
                  <a:pos x="connsiteX16774" y="connsiteY16774"/>
                </a:cxn>
                <a:cxn ang="0">
                  <a:pos x="connsiteX16775" y="connsiteY16775"/>
                </a:cxn>
                <a:cxn ang="0">
                  <a:pos x="connsiteX16776" y="connsiteY16776"/>
                </a:cxn>
                <a:cxn ang="0">
                  <a:pos x="connsiteX16777" y="connsiteY16777"/>
                </a:cxn>
                <a:cxn ang="0">
                  <a:pos x="connsiteX16778" y="connsiteY16778"/>
                </a:cxn>
                <a:cxn ang="0">
                  <a:pos x="connsiteX16779" y="connsiteY16779"/>
                </a:cxn>
                <a:cxn ang="0">
                  <a:pos x="connsiteX16780" y="connsiteY16780"/>
                </a:cxn>
                <a:cxn ang="0">
                  <a:pos x="connsiteX16781" y="connsiteY16781"/>
                </a:cxn>
                <a:cxn ang="0">
                  <a:pos x="connsiteX16782" y="connsiteY16782"/>
                </a:cxn>
                <a:cxn ang="0">
                  <a:pos x="connsiteX16783" y="connsiteY16783"/>
                </a:cxn>
                <a:cxn ang="0">
                  <a:pos x="connsiteX16784" y="connsiteY16784"/>
                </a:cxn>
                <a:cxn ang="0">
                  <a:pos x="connsiteX16785" y="connsiteY16785"/>
                </a:cxn>
                <a:cxn ang="0">
                  <a:pos x="connsiteX16786" y="connsiteY16786"/>
                </a:cxn>
                <a:cxn ang="0">
                  <a:pos x="connsiteX16787" y="connsiteY16787"/>
                </a:cxn>
                <a:cxn ang="0">
                  <a:pos x="connsiteX16788" y="connsiteY16788"/>
                </a:cxn>
                <a:cxn ang="0">
                  <a:pos x="connsiteX16789" y="connsiteY16789"/>
                </a:cxn>
                <a:cxn ang="0">
                  <a:pos x="connsiteX16790" y="connsiteY16790"/>
                </a:cxn>
                <a:cxn ang="0">
                  <a:pos x="connsiteX16791" y="connsiteY16791"/>
                </a:cxn>
                <a:cxn ang="0">
                  <a:pos x="connsiteX16792" y="connsiteY16792"/>
                </a:cxn>
                <a:cxn ang="0">
                  <a:pos x="connsiteX16793" y="connsiteY16793"/>
                </a:cxn>
                <a:cxn ang="0">
                  <a:pos x="connsiteX16794" y="connsiteY16794"/>
                </a:cxn>
                <a:cxn ang="0">
                  <a:pos x="connsiteX16795" y="connsiteY16795"/>
                </a:cxn>
                <a:cxn ang="0">
                  <a:pos x="connsiteX16796" y="connsiteY16796"/>
                </a:cxn>
                <a:cxn ang="0">
                  <a:pos x="connsiteX16797" y="connsiteY16797"/>
                </a:cxn>
                <a:cxn ang="0">
                  <a:pos x="connsiteX16798" y="connsiteY16798"/>
                </a:cxn>
                <a:cxn ang="0">
                  <a:pos x="connsiteX16799" y="connsiteY16799"/>
                </a:cxn>
                <a:cxn ang="0">
                  <a:pos x="connsiteX16800" y="connsiteY16800"/>
                </a:cxn>
                <a:cxn ang="0">
                  <a:pos x="connsiteX16801" y="connsiteY16801"/>
                </a:cxn>
                <a:cxn ang="0">
                  <a:pos x="connsiteX16802" y="connsiteY16802"/>
                </a:cxn>
                <a:cxn ang="0">
                  <a:pos x="connsiteX16803" y="connsiteY16803"/>
                </a:cxn>
                <a:cxn ang="0">
                  <a:pos x="connsiteX16804" y="connsiteY16804"/>
                </a:cxn>
                <a:cxn ang="0">
                  <a:pos x="connsiteX16805" y="connsiteY16805"/>
                </a:cxn>
                <a:cxn ang="0">
                  <a:pos x="connsiteX16806" y="connsiteY16806"/>
                </a:cxn>
                <a:cxn ang="0">
                  <a:pos x="connsiteX16807" y="connsiteY16807"/>
                </a:cxn>
                <a:cxn ang="0">
                  <a:pos x="connsiteX16808" y="connsiteY16808"/>
                </a:cxn>
                <a:cxn ang="0">
                  <a:pos x="connsiteX16809" y="connsiteY16809"/>
                </a:cxn>
                <a:cxn ang="0">
                  <a:pos x="connsiteX16810" y="connsiteY16810"/>
                </a:cxn>
                <a:cxn ang="0">
                  <a:pos x="connsiteX16811" y="connsiteY16811"/>
                </a:cxn>
                <a:cxn ang="0">
                  <a:pos x="connsiteX16812" y="connsiteY16812"/>
                </a:cxn>
                <a:cxn ang="0">
                  <a:pos x="connsiteX16813" y="connsiteY16813"/>
                </a:cxn>
                <a:cxn ang="0">
                  <a:pos x="connsiteX16814" y="connsiteY16814"/>
                </a:cxn>
                <a:cxn ang="0">
                  <a:pos x="connsiteX16815" y="connsiteY16815"/>
                </a:cxn>
                <a:cxn ang="0">
                  <a:pos x="connsiteX16816" y="connsiteY16816"/>
                </a:cxn>
                <a:cxn ang="0">
                  <a:pos x="connsiteX16817" y="connsiteY16817"/>
                </a:cxn>
                <a:cxn ang="0">
                  <a:pos x="connsiteX16818" y="connsiteY16818"/>
                </a:cxn>
                <a:cxn ang="0">
                  <a:pos x="connsiteX16819" y="connsiteY16819"/>
                </a:cxn>
                <a:cxn ang="0">
                  <a:pos x="connsiteX16820" y="connsiteY16820"/>
                </a:cxn>
                <a:cxn ang="0">
                  <a:pos x="connsiteX16821" y="connsiteY16821"/>
                </a:cxn>
                <a:cxn ang="0">
                  <a:pos x="connsiteX16822" y="connsiteY16822"/>
                </a:cxn>
                <a:cxn ang="0">
                  <a:pos x="connsiteX16823" y="connsiteY16823"/>
                </a:cxn>
                <a:cxn ang="0">
                  <a:pos x="connsiteX16824" y="connsiteY16824"/>
                </a:cxn>
                <a:cxn ang="0">
                  <a:pos x="connsiteX16825" y="connsiteY16825"/>
                </a:cxn>
                <a:cxn ang="0">
                  <a:pos x="connsiteX16826" y="connsiteY16826"/>
                </a:cxn>
                <a:cxn ang="0">
                  <a:pos x="connsiteX16827" y="connsiteY16827"/>
                </a:cxn>
                <a:cxn ang="0">
                  <a:pos x="connsiteX16828" y="connsiteY16828"/>
                </a:cxn>
                <a:cxn ang="0">
                  <a:pos x="connsiteX16829" y="connsiteY16829"/>
                </a:cxn>
                <a:cxn ang="0">
                  <a:pos x="connsiteX16830" y="connsiteY16830"/>
                </a:cxn>
                <a:cxn ang="0">
                  <a:pos x="connsiteX16831" y="connsiteY16831"/>
                </a:cxn>
                <a:cxn ang="0">
                  <a:pos x="connsiteX16832" y="connsiteY16832"/>
                </a:cxn>
                <a:cxn ang="0">
                  <a:pos x="connsiteX16833" y="connsiteY16833"/>
                </a:cxn>
                <a:cxn ang="0">
                  <a:pos x="connsiteX16834" y="connsiteY16834"/>
                </a:cxn>
                <a:cxn ang="0">
                  <a:pos x="connsiteX16835" y="connsiteY16835"/>
                </a:cxn>
                <a:cxn ang="0">
                  <a:pos x="connsiteX16836" y="connsiteY16836"/>
                </a:cxn>
                <a:cxn ang="0">
                  <a:pos x="connsiteX16837" y="connsiteY16837"/>
                </a:cxn>
                <a:cxn ang="0">
                  <a:pos x="connsiteX16838" y="connsiteY16838"/>
                </a:cxn>
                <a:cxn ang="0">
                  <a:pos x="connsiteX16839" y="connsiteY16839"/>
                </a:cxn>
                <a:cxn ang="0">
                  <a:pos x="connsiteX16840" y="connsiteY16840"/>
                </a:cxn>
                <a:cxn ang="0">
                  <a:pos x="connsiteX16841" y="connsiteY16841"/>
                </a:cxn>
                <a:cxn ang="0">
                  <a:pos x="connsiteX16842" y="connsiteY16842"/>
                </a:cxn>
                <a:cxn ang="0">
                  <a:pos x="connsiteX16843" y="connsiteY16843"/>
                </a:cxn>
                <a:cxn ang="0">
                  <a:pos x="connsiteX16844" y="connsiteY16844"/>
                </a:cxn>
                <a:cxn ang="0">
                  <a:pos x="connsiteX16845" y="connsiteY16845"/>
                </a:cxn>
                <a:cxn ang="0">
                  <a:pos x="connsiteX16846" y="connsiteY16846"/>
                </a:cxn>
                <a:cxn ang="0">
                  <a:pos x="connsiteX16847" y="connsiteY16847"/>
                </a:cxn>
                <a:cxn ang="0">
                  <a:pos x="connsiteX16848" y="connsiteY16848"/>
                </a:cxn>
                <a:cxn ang="0">
                  <a:pos x="connsiteX16849" y="connsiteY16849"/>
                </a:cxn>
                <a:cxn ang="0">
                  <a:pos x="connsiteX16850" y="connsiteY16850"/>
                </a:cxn>
                <a:cxn ang="0">
                  <a:pos x="connsiteX16851" y="connsiteY16851"/>
                </a:cxn>
                <a:cxn ang="0">
                  <a:pos x="connsiteX16852" y="connsiteY16852"/>
                </a:cxn>
                <a:cxn ang="0">
                  <a:pos x="connsiteX16853" y="connsiteY16853"/>
                </a:cxn>
                <a:cxn ang="0">
                  <a:pos x="connsiteX16854" y="connsiteY16854"/>
                </a:cxn>
                <a:cxn ang="0">
                  <a:pos x="connsiteX16855" y="connsiteY16855"/>
                </a:cxn>
                <a:cxn ang="0">
                  <a:pos x="connsiteX16856" y="connsiteY16856"/>
                </a:cxn>
                <a:cxn ang="0">
                  <a:pos x="connsiteX16857" y="connsiteY16857"/>
                </a:cxn>
                <a:cxn ang="0">
                  <a:pos x="connsiteX16858" y="connsiteY16858"/>
                </a:cxn>
                <a:cxn ang="0">
                  <a:pos x="connsiteX16859" y="connsiteY16859"/>
                </a:cxn>
                <a:cxn ang="0">
                  <a:pos x="connsiteX16860" y="connsiteY16860"/>
                </a:cxn>
                <a:cxn ang="0">
                  <a:pos x="connsiteX16861" y="connsiteY16861"/>
                </a:cxn>
                <a:cxn ang="0">
                  <a:pos x="connsiteX16862" y="connsiteY16862"/>
                </a:cxn>
                <a:cxn ang="0">
                  <a:pos x="connsiteX16863" y="connsiteY16863"/>
                </a:cxn>
                <a:cxn ang="0">
                  <a:pos x="connsiteX16864" y="connsiteY16864"/>
                </a:cxn>
                <a:cxn ang="0">
                  <a:pos x="connsiteX16865" y="connsiteY16865"/>
                </a:cxn>
                <a:cxn ang="0">
                  <a:pos x="connsiteX16866" y="connsiteY16866"/>
                </a:cxn>
                <a:cxn ang="0">
                  <a:pos x="connsiteX16867" y="connsiteY16867"/>
                </a:cxn>
                <a:cxn ang="0">
                  <a:pos x="connsiteX16868" y="connsiteY16868"/>
                </a:cxn>
                <a:cxn ang="0">
                  <a:pos x="connsiteX16869" y="connsiteY16869"/>
                </a:cxn>
                <a:cxn ang="0">
                  <a:pos x="connsiteX16870" y="connsiteY16870"/>
                </a:cxn>
                <a:cxn ang="0">
                  <a:pos x="connsiteX16871" y="connsiteY16871"/>
                </a:cxn>
                <a:cxn ang="0">
                  <a:pos x="connsiteX16872" y="connsiteY16872"/>
                </a:cxn>
                <a:cxn ang="0">
                  <a:pos x="connsiteX16873" y="connsiteY16873"/>
                </a:cxn>
                <a:cxn ang="0">
                  <a:pos x="connsiteX16874" y="connsiteY16874"/>
                </a:cxn>
                <a:cxn ang="0">
                  <a:pos x="connsiteX16875" y="connsiteY16875"/>
                </a:cxn>
                <a:cxn ang="0">
                  <a:pos x="connsiteX16876" y="connsiteY16876"/>
                </a:cxn>
                <a:cxn ang="0">
                  <a:pos x="connsiteX16877" y="connsiteY16877"/>
                </a:cxn>
                <a:cxn ang="0">
                  <a:pos x="connsiteX16878" y="connsiteY16878"/>
                </a:cxn>
                <a:cxn ang="0">
                  <a:pos x="connsiteX16879" y="connsiteY16879"/>
                </a:cxn>
                <a:cxn ang="0">
                  <a:pos x="connsiteX16880" y="connsiteY16880"/>
                </a:cxn>
                <a:cxn ang="0">
                  <a:pos x="connsiteX16881" y="connsiteY16881"/>
                </a:cxn>
                <a:cxn ang="0">
                  <a:pos x="connsiteX16882" y="connsiteY16882"/>
                </a:cxn>
                <a:cxn ang="0">
                  <a:pos x="connsiteX16883" y="connsiteY16883"/>
                </a:cxn>
                <a:cxn ang="0">
                  <a:pos x="connsiteX16884" y="connsiteY16884"/>
                </a:cxn>
                <a:cxn ang="0">
                  <a:pos x="connsiteX16885" y="connsiteY16885"/>
                </a:cxn>
                <a:cxn ang="0">
                  <a:pos x="connsiteX16886" y="connsiteY16886"/>
                </a:cxn>
                <a:cxn ang="0">
                  <a:pos x="connsiteX16887" y="connsiteY16887"/>
                </a:cxn>
                <a:cxn ang="0">
                  <a:pos x="connsiteX16888" y="connsiteY16888"/>
                </a:cxn>
                <a:cxn ang="0">
                  <a:pos x="connsiteX16889" y="connsiteY16889"/>
                </a:cxn>
                <a:cxn ang="0">
                  <a:pos x="connsiteX16890" y="connsiteY16890"/>
                </a:cxn>
                <a:cxn ang="0">
                  <a:pos x="connsiteX16891" y="connsiteY16891"/>
                </a:cxn>
                <a:cxn ang="0">
                  <a:pos x="connsiteX16892" y="connsiteY16892"/>
                </a:cxn>
                <a:cxn ang="0">
                  <a:pos x="connsiteX16893" y="connsiteY16893"/>
                </a:cxn>
                <a:cxn ang="0">
                  <a:pos x="connsiteX16894" y="connsiteY16894"/>
                </a:cxn>
                <a:cxn ang="0">
                  <a:pos x="connsiteX16895" y="connsiteY16895"/>
                </a:cxn>
                <a:cxn ang="0">
                  <a:pos x="connsiteX16896" y="connsiteY16896"/>
                </a:cxn>
                <a:cxn ang="0">
                  <a:pos x="connsiteX16897" y="connsiteY16897"/>
                </a:cxn>
                <a:cxn ang="0">
                  <a:pos x="connsiteX16898" y="connsiteY16898"/>
                </a:cxn>
                <a:cxn ang="0">
                  <a:pos x="connsiteX16899" y="connsiteY16899"/>
                </a:cxn>
                <a:cxn ang="0">
                  <a:pos x="connsiteX16900" y="connsiteY16900"/>
                </a:cxn>
                <a:cxn ang="0">
                  <a:pos x="connsiteX16901" y="connsiteY16901"/>
                </a:cxn>
                <a:cxn ang="0">
                  <a:pos x="connsiteX16902" y="connsiteY16902"/>
                </a:cxn>
                <a:cxn ang="0">
                  <a:pos x="connsiteX16903" y="connsiteY16903"/>
                </a:cxn>
                <a:cxn ang="0">
                  <a:pos x="connsiteX16904" y="connsiteY16904"/>
                </a:cxn>
                <a:cxn ang="0">
                  <a:pos x="connsiteX16905" y="connsiteY16905"/>
                </a:cxn>
                <a:cxn ang="0">
                  <a:pos x="connsiteX16906" y="connsiteY16906"/>
                </a:cxn>
                <a:cxn ang="0">
                  <a:pos x="connsiteX16907" y="connsiteY16907"/>
                </a:cxn>
                <a:cxn ang="0">
                  <a:pos x="connsiteX16908" y="connsiteY16908"/>
                </a:cxn>
                <a:cxn ang="0">
                  <a:pos x="connsiteX16909" y="connsiteY16909"/>
                </a:cxn>
                <a:cxn ang="0">
                  <a:pos x="connsiteX16910" y="connsiteY16910"/>
                </a:cxn>
                <a:cxn ang="0">
                  <a:pos x="connsiteX16911" y="connsiteY16911"/>
                </a:cxn>
                <a:cxn ang="0">
                  <a:pos x="connsiteX16912" y="connsiteY16912"/>
                </a:cxn>
                <a:cxn ang="0">
                  <a:pos x="connsiteX16913" y="connsiteY16913"/>
                </a:cxn>
                <a:cxn ang="0">
                  <a:pos x="connsiteX16914" y="connsiteY16914"/>
                </a:cxn>
                <a:cxn ang="0">
                  <a:pos x="connsiteX16915" y="connsiteY16915"/>
                </a:cxn>
                <a:cxn ang="0">
                  <a:pos x="connsiteX16916" y="connsiteY16916"/>
                </a:cxn>
                <a:cxn ang="0">
                  <a:pos x="connsiteX16917" y="connsiteY16917"/>
                </a:cxn>
                <a:cxn ang="0">
                  <a:pos x="connsiteX16918" y="connsiteY16918"/>
                </a:cxn>
                <a:cxn ang="0">
                  <a:pos x="connsiteX16919" y="connsiteY16919"/>
                </a:cxn>
                <a:cxn ang="0">
                  <a:pos x="connsiteX16920" y="connsiteY16920"/>
                </a:cxn>
                <a:cxn ang="0">
                  <a:pos x="connsiteX16921" y="connsiteY16921"/>
                </a:cxn>
                <a:cxn ang="0">
                  <a:pos x="connsiteX16922" y="connsiteY16922"/>
                </a:cxn>
                <a:cxn ang="0">
                  <a:pos x="connsiteX16923" y="connsiteY16923"/>
                </a:cxn>
                <a:cxn ang="0">
                  <a:pos x="connsiteX16924" y="connsiteY16924"/>
                </a:cxn>
                <a:cxn ang="0">
                  <a:pos x="connsiteX16925" y="connsiteY16925"/>
                </a:cxn>
                <a:cxn ang="0">
                  <a:pos x="connsiteX16926" y="connsiteY16926"/>
                </a:cxn>
                <a:cxn ang="0">
                  <a:pos x="connsiteX16927" y="connsiteY16927"/>
                </a:cxn>
                <a:cxn ang="0">
                  <a:pos x="connsiteX16928" y="connsiteY16928"/>
                </a:cxn>
                <a:cxn ang="0">
                  <a:pos x="connsiteX16929" y="connsiteY16929"/>
                </a:cxn>
                <a:cxn ang="0">
                  <a:pos x="connsiteX16930" y="connsiteY16930"/>
                </a:cxn>
                <a:cxn ang="0">
                  <a:pos x="connsiteX16931" y="connsiteY16931"/>
                </a:cxn>
                <a:cxn ang="0">
                  <a:pos x="connsiteX16932" y="connsiteY16932"/>
                </a:cxn>
                <a:cxn ang="0">
                  <a:pos x="connsiteX16933" y="connsiteY16933"/>
                </a:cxn>
                <a:cxn ang="0">
                  <a:pos x="connsiteX16934" y="connsiteY16934"/>
                </a:cxn>
                <a:cxn ang="0">
                  <a:pos x="connsiteX16935" y="connsiteY16935"/>
                </a:cxn>
                <a:cxn ang="0">
                  <a:pos x="connsiteX16936" y="connsiteY16936"/>
                </a:cxn>
                <a:cxn ang="0">
                  <a:pos x="connsiteX16937" y="connsiteY16937"/>
                </a:cxn>
                <a:cxn ang="0">
                  <a:pos x="connsiteX16938" y="connsiteY16938"/>
                </a:cxn>
                <a:cxn ang="0">
                  <a:pos x="connsiteX16939" y="connsiteY16939"/>
                </a:cxn>
                <a:cxn ang="0">
                  <a:pos x="connsiteX16940" y="connsiteY16940"/>
                </a:cxn>
                <a:cxn ang="0">
                  <a:pos x="connsiteX16941" y="connsiteY16941"/>
                </a:cxn>
                <a:cxn ang="0">
                  <a:pos x="connsiteX16942" y="connsiteY16942"/>
                </a:cxn>
                <a:cxn ang="0">
                  <a:pos x="connsiteX16943" y="connsiteY16943"/>
                </a:cxn>
                <a:cxn ang="0">
                  <a:pos x="connsiteX16944" y="connsiteY16944"/>
                </a:cxn>
                <a:cxn ang="0">
                  <a:pos x="connsiteX16945" y="connsiteY16945"/>
                </a:cxn>
                <a:cxn ang="0">
                  <a:pos x="connsiteX16946" y="connsiteY16946"/>
                </a:cxn>
                <a:cxn ang="0">
                  <a:pos x="connsiteX16947" y="connsiteY16947"/>
                </a:cxn>
                <a:cxn ang="0">
                  <a:pos x="connsiteX16948" y="connsiteY16948"/>
                </a:cxn>
                <a:cxn ang="0">
                  <a:pos x="connsiteX16949" y="connsiteY16949"/>
                </a:cxn>
                <a:cxn ang="0">
                  <a:pos x="connsiteX16950" y="connsiteY16950"/>
                </a:cxn>
                <a:cxn ang="0">
                  <a:pos x="connsiteX16951" y="connsiteY16951"/>
                </a:cxn>
                <a:cxn ang="0">
                  <a:pos x="connsiteX16952" y="connsiteY16952"/>
                </a:cxn>
                <a:cxn ang="0">
                  <a:pos x="connsiteX16953" y="connsiteY16953"/>
                </a:cxn>
                <a:cxn ang="0">
                  <a:pos x="connsiteX16954" y="connsiteY16954"/>
                </a:cxn>
                <a:cxn ang="0">
                  <a:pos x="connsiteX16955" y="connsiteY16955"/>
                </a:cxn>
                <a:cxn ang="0">
                  <a:pos x="connsiteX16956" y="connsiteY16956"/>
                </a:cxn>
                <a:cxn ang="0">
                  <a:pos x="connsiteX16957" y="connsiteY16957"/>
                </a:cxn>
                <a:cxn ang="0">
                  <a:pos x="connsiteX16958" y="connsiteY16958"/>
                </a:cxn>
                <a:cxn ang="0">
                  <a:pos x="connsiteX16959" y="connsiteY16959"/>
                </a:cxn>
                <a:cxn ang="0">
                  <a:pos x="connsiteX16960" y="connsiteY16960"/>
                </a:cxn>
                <a:cxn ang="0">
                  <a:pos x="connsiteX16961" y="connsiteY16961"/>
                </a:cxn>
                <a:cxn ang="0">
                  <a:pos x="connsiteX16962" y="connsiteY16962"/>
                </a:cxn>
                <a:cxn ang="0">
                  <a:pos x="connsiteX16963" y="connsiteY16963"/>
                </a:cxn>
                <a:cxn ang="0">
                  <a:pos x="connsiteX16964" y="connsiteY16964"/>
                </a:cxn>
                <a:cxn ang="0">
                  <a:pos x="connsiteX16965" y="connsiteY16965"/>
                </a:cxn>
                <a:cxn ang="0">
                  <a:pos x="connsiteX16966" y="connsiteY16966"/>
                </a:cxn>
                <a:cxn ang="0">
                  <a:pos x="connsiteX16967" y="connsiteY16967"/>
                </a:cxn>
                <a:cxn ang="0">
                  <a:pos x="connsiteX16968" y="connsiteY16968"/>
                </a:cxn>
                <a:cxn ang="0">
                  <a:pos x="connsiteX16969" y="connsiteY16969"/>
                </a:cxn>
                <a:cxn ang="0">
                  <a:pos x="connsiteX16970" y="connsiteY16970"/>
                </a:cxn>
                <a:cxn ang="0">
                  <a:pos x="connsiteX16971" y="connsiteY16971"/>
                </a:cxn>
                <a:cxn ang="0">
                  <a:pos x="connsiteX16972" y="connsiteY16972"/>
                </a:cxn>
                <a:cxn ang="0">
                  <a:pos x="connsiteX16973" y="connsiteY16973"/>
                </a:cxn>
                <a:cxn ang="0">
                  <a:pos x="connsiteX16974" y="connsiteY16974"/>
                </a:cxn>
                <a:cxn ang="0">
                  <a:pos x="connsiteX16975" y="connsiteY16975"/>
                </a:cxn>
                <a:cxn ang="0">
                  <a:pos x="connsiteX16976" y="connsiteY16976"/>
                </a:cxn>
                <a:cxn ang="0">
                  <a:pos x="connsiteX16977" y="connsiteY16977"/>
                </a:cxn>
                <a:cxn ang="0">
                  <a:pos x="connsiteX16978" y="connsiteY16978"/>
                </a:cxn>
                <a:cxn ang="0">
                  <a:pos x="connsiteX16979" y="connsiteY16979"/>
                </a:cxn>
                <a:cxn ang="0">
                  <a:pos x="connsiteX16980" y="connsiteY16980"/>
                </a:cxn>
                <a:cxn ang="0">
                  <a:pos x="connsiteX16981" y="connsiteY16981"/>
                </a:cxn>
                <a:cxn ang="0">
                  <a:pos x="connsiteX16982" y="connsiteY16982"/>
                </a:cxn>
                <a:cxn ang="0">
                  <a:pos x="connsiteX16983" y="connsiteY16983"/>
                </a:cxn>
                <a:cxn ang="0">
                  <a:pos x="connsiteX16984" y="connsiteY16984"/>
                </a:cxn>
                <a:cxn ang="0">
                  <a:pos x="connsiteX16985" y="connsiteY16985"/>
                </a:cxn>
                <a:cxn ang="0">
                  <a:pos x="connsiteX16986" y="connsiteY16986"/>
                </a:cxn>
                <a:cxn ang="0">
                  <a:pos x="connsiteX16987" y="connsiteY16987"/>
                </a:cxn>
                <a:cxn ang="0">
                  <a:pos x="connsiteX16988" y="connsiteY16988"/>
                </a:cxn>
                <a:cxn ang="0">
                  <a:pos x="connsiteX16989" y="connsiteY16989"/>
                </a:cxn>
                <a:cxn ang="0">
                  <a:pos x="connsiteX16990" y="connsiteY16990"/>
                </a:cxn>
                <a:cxn ang="0">
                  <a:pos x="connsiteX16991" y="connsiteY16991"/>
                </a:cxn>
                <a:cxn ang="0">
                  <a:pos x="connsiteX16992" y="connsiteY16992"/>
                </a:cxn>
                <a:cxn ang="0">
                  <a:pos x="connsiteX16993" y="connsiteY16993"/>
                </a:cxn>
                <a:cxn ang="0">
                  <a:pos x="connsiteX16994" y="connsiteY16994"/>
                </a:cxn>
                <a:cxn ang="0">
                  <a:pos x="connsiteX16995" y="connsiteY16995"/>
                </a:cxn>
                <a:cxn ang="0">
                  <a:pos x="connsiteX16996" y="connsiteY16996"/>
                </a:cxn>
                <a:cxn ang="0">
                  <a:pos x="connsiteX16997" y="connsiteY16997"/>
                </a:cxn>
                <a:cxn ang="0">
                  <a:pos x="connsiteX16998" y="connsiteY16998"/>
                </a:cxn>
                <a:cxn ang="0">
                  <a:pos x="connsiteX16999" y="connsiteY16999"/>
                </a:cxn>
                <a:cxn ang="0">
                  <a:pos x="connsiteX17000" y="connsiteY17000"/>
                </a:cxn>
                <a:cxn ang="0">
                  <a:pos x="connsiteX17001" y="connsiteY17001"/>
                </a:cxn>
                <a:cxn ang="0">
                  <a:pos x="connsiteX17002" y="connsiteY17002"/>
                </a:cxn>
                <a:cxn ang="0">
                  <a:pos x="connsiteX17003" y="connsiteY17003"/>
                </a:cxn>
                <a:cxn ang="0">
                  <a:pos x="connsiteX17004" y="connsiteY17004"/>
                </a:cxn>
                <a:cxn ang="0">
                  <a:pos x="connsiteX17005" y="connsiteY17005"/>
                </a:cxn>
                <a:cxn ang="0">
                  <a:pos x="connsiteX17006" y="connsiteY17006"/>
                </a:cxn>
                <a:cxn ang="0">
                  <a:pos x="connsiteX17007" y="connsiteY17007"/>
                </a:cxn>
                <a:cxn ang="0">
                  <a:pos x="connsiteX17008" y="connsiteY17008"/>
                </a:cxn>
                <a:cxn ang="0">
                  <a:pos x="connsiteX17009" y="connsiteY17009"/>
                </a:cxn>
                <a:cxn ang="0">
                  <a:pos x="connsiteX17010" y="connsiteY17010"/>
                </a:cxn>
                <a:cxn ang="0">
                  <a:pos x="connsiteX17011" y="connsiteY17011"/>
                </a:cxn>
                <a:cxn ang="0">
                  <a:pos x="connsiteX17012" y="connsiteY17012"/>
                </a:cxn>
                <a:cxn ang="0">
                  <a:pos x="connsiteX17013" y="connsiteY17013"/>
                </a:cxn>
                <a:cxn ang="0">
                  <a:pos x="connsiteX17014" y="connsiteY17014"/>
                </a:cxn>
                <a:cxn ang="0">
                  <a:pos x="connsiteX17015" y="connsiteY17015"/>
                </a:cxn>
                <a:cxn ang="0">
                  <a:pos x="connsiteX17016" y="connsiteY17016"/>
                </a:cxn>
                <a:cxn ang="0">
                  <a:pos x="connsiteX17017" y="connsiteY17017"/>
                </a:cxn>
                <a:cxn ang="0">
                  <a:pos x="connsiteX17018" y="connsiteY17018"/>
                </a:cxn>
                <a:cxn ang="0">
                  <a:pos x="connsiteX17019" y="connsiteY17019"/>
                </a:cxn>
                <a:cxn ang="0">
                  <a:pos x="connsiteX17020" y="connsiteY17020"/>
                </a:cxn>
                <a:cxn ang="0">
                  <a:pos x="connsiteX17021" y="connsiteY17021"/>
                </a:cxn>
                <a:cxn ang="0">
                  <a:pos x="connsiteX17022" y="connsiteY17022"/>
                </a:cxn>
                <a:cxn ang="0">
                  <a:pos x="connsiteX17023" y="connsiteY17023"/>
                </a:cxn>
                <a:cxn ang="0">
                  <a:pos x="connsiteX17024" y="connsiteY17024"/>
                </a:cxn>
                <a:cxn ang="0">
                  <a:pos x="connsiteX17025" y="connsiteY17025"/>
                </a:cxn>
                <a:cxn ang="0">
                  <a:pos x="connsiteX17026" y="connsiteY17026"/>
                </a:cxn>
                <a:cxn ang="0">
                  <a:pos x="connsiteX17027" y="connsiteY17027"/>
                </a:cxn>
                <a:cxn ang="0">
                  <a:pos x="connsiteX17028" y="connsiteY17028"/>
                </a:cxn>
                <a:cxn ang="0">
                  <a:pos x="connsiteX17029" y="connsiteY17029"/>
                </a:cxn>
                <a:cxn ang="0">
                  <a:pos x="connsiteX17030" y="connsiteY17030"/>
                </a:cxn>
                <a:cxn ang="0">
                  <a:pos x="connsiteX17031" y="connsiteY17031"/>
                </a:cxn>
                <a:cxn ang="0">
                  <a:pos x="connsiteX17032" y="connsiteY17032"/>
                </a:cxn>
                <a:cxn ang="0">
                  <a:pos x="connsiteX17033" y="connsiteY17033"/>
                </a:cxn>
                <a:cxn ang="0">
                  <a:pos x="connsiteX17034" y="connsiteY17034"/>
                </a:cxn>
                <a:cxn ang="0">
                  <a:pos x="connsiteX17035" y="connsiteY17035"/>
                </a:cxn>
                <a:cxn ang="0">
                  <a:pos x="connsiteX17036" y="connsiteY17036"/>
                </a:cxn>
                <a:cxn ang="0">
                  <a:pos x="connsiteX17037" y="connsiteY17037"/>
                </a:cxn>
                <a:cxn ang="0">
                  <a:pos x="connsiteX17038" y="connsiteY17038"/>
                </a:cxn>
                <a:cxn ang="0">
                  <a:pos x="connsiteX17039" y="connsiteY17039"/>
                </a:cxn>
                <a:cxn ang="0">
                  <a:pos x="connsiteX17040" y="connsiteY17040"/>
                </a:cxn>
                <a:cxn ang="0">
                  <a:pos x="connsiteX17041" y="connsiteY17041"/>
                </a:cxn>
                <a:cxn ang="0">
                  <a:pos x="connsiteX17042" y="connsiteY17042"/>
                </a:cxn>
                <a:cxn ang="0">
                  <a:pos x="connsiteX17043" y="connsiteY17043"/>
                </a:cxn>
                <a:cxn ang="0">
                  <a:pos x="connsiteX17044" y="connsiteY17044"/>
                </a:cxn>
                <a:cxn ang="0">
                  <a:pos x="connsiteX17045" y="connsiteY17045"/>
                </a:cxn>
                <a:cxn ang="0">
                  <a:pos x="connsiteX17046" y="connsiteY17046"/>
                </a:cxn>
                <a:cxn ang="0">
                  <a:pos x="connsiteX17047" y="connsiteY17047"/>
                </a:cxn>
                <a:cxn ang="0">
                  <a:pos x="connsiteX17048" y="connsiteY17048"/>
                </a:cxn>
                <a:cxn ang="0">
                  <a:pos x="connsiteX17049" y="connsiteY17049"/>
                </a:cxn>
                <a:cxn ang="0">
                  <a:pos x="connsiteX17050" y="connsiteY17050"/>
                </a:cxn>
                <a:cxn ang="0">
                  <a:pos x="connsiteX17051" y="connsiteY17051"/>
                </a:cxn>
                <a:cxn ang="0">
                  <a:pos x="connsiteX17052" y="connsiteY17052"/>
                </a:cxn>
                <a:cxn ang="0">
                  <a:pos x="connsiteX17053" y="connsiteY17053"/>
                </a:cxn>
                <a:cxn ang="0">
                  <a:pos x="connsiteX17054" y="connsiteY17054"/>
                </a:cxn>
                <a:cxn ang="0">
                  <a:pos x="connsiteX17055" y="connsiteY17055"/>
                </a:cxn>
                <a:cxn ang="0">
                  <a:pos x="connsiteX17056" y="connsiteY17056"/>
                </a:cxn>
                <a:cxn ang="0">
                  <a:pos x="connsiteX17057" y="connsiteY17057"/>
                </a:cxn>
                <a:cxn ang="0">
                  <a:pos x="connsiteX17058" y="connsiteY17058"/>
                </a:cxn>
                <a:cxn ang="0">
                  <a:pos x="connsiteX17059" y="connsiteY17059"/>
                </a:cxn>
                <a:cxn ang="0">
                  <a:pos x="connsiteX17060" y="connsiteY17060"/>
                </a:cxn>
                <a:cxn ang="0">
                  <a:pos x="connsiteX17061" y="connsiteY17061"/>
                </a:cxn>
                <a:cxn ang="0">
                  <a:pos x="connsiteX17062" y="connsiteY17062"/>
                </a:cxn>
                <a:cxn ang="0">
                  <a:pos x="connsiteX17063" y="connsiteY17063"/>
                </a:cxn>
                <a:cxn ang="0">
                  <a:pos x="connsiteX17064" y="connsiteY17064"/>
                </a:cxn>
                <a:cxn ang="0">
                  <a:pos x="connsiteX17065" y="connsiteY17065"/>
                </a:cxn>
                <a:cxn ang="0">
                  <a:pos x="connsiteX17066" y="connsiteY17066"/>
                </a:cxn>
                <a:cxn ang="0">
                  <a:pos x="connsiteX17067" y="connsiteY17067"/>
                </a:cxn>
                <a:cxn ang="0">
                  <a:pos x="connsiteX17068" y="connsiteY17068"/>
                </a:cxn>
                <a:cxn ang="0">
                  <a:pos x="connsiteX17069" y="connsiteY17069"/>
                </a:cxn>
                <a:cxn ang="0">
                  <a:pos x="connsiteX17070" y="connsiteY17070"/>
                </a:cxn>
                <a:cxn ang="0">
                  <a:pos x="connsiteX17071" y="connsiteY17071"/>
                </a:cxn>
                <a:cxn ang="0">
                  <a:pos x="connsiteX17072" y="connsiteY17072"/>
                </a:cxn>
                <a:cxn ang="0">
                  <a:pos x="connsiteX17073" y="connsiteY17073"/>
                </a:cxn>
                <a:cxn ang="0">
                  <a:pos x="connsiteX17074" y="connsiteY17074"/>
                </a:cxn>
                <a:cxn ang="0">
                  <a:pos x="connsiteX17075" y="connsiteY17075"/>
                </a:cxn>
                <a:cxn ang="0">
                  <a:pos x="connsiteX17076" y="connsiteY17076"/>
                </a:cxn>
                <a:cxn ang="0">
                  <a:pos x="connsiteX17077" y="connsiteY17077"/>
                </a:cxn>
                <a:cxn ang="0">
                  <a:pos x="connsiteX17078" y="connsiteY17078"/>
                </a:cxn>
                <a:cxn ang="0">
                  <a:pos x="connsiteX17079" y="connsiteY17079"/>
                </a:cxn>
                <a:cxn ang="0">
                  <a:pos x="connsiteX17080" y="connsiteY17080"/>
                </a:cxn>
                <a:cxn ang="0">
                  <a:pos x="connsiteX17081" y="connsiteY17081"/>
                </a:cxn>
                <a:cxn ang="0">
                  <a:pos x="connsiteX17082" y="connsiteY17082"/>
                </a:cxn>
                <a:cxn ang="0">
                  <a:pos x="connsiteX17083" y="connsiteY17083"/>
                </a:cxn>
                <a:cxn ang="0">
                  <a:pos x="connsiteX17084" y="connsiteY17084"/>
                </a:cxn>
                <a:cxn ang="0">
                  <a:pos x="connsiteX17085" y="connsiteY17085"/>
                </a:cxn>
                <a:cxn ang="0">
                  <a:pos x="connsiteX17086" y="connsiteY17086"/>
                </a:cxn>
                <a:cxn ang="0">
                  <a:pos x="connsiteX17087" y="connsiteY17087"/>
                </a:cxn>
                <a:cxn ang="0">
                  <a:pos x="connsiteX17088" y="connsiteY17088"/>
                </a:cxn>
                <a:cxn ang="0">
                  <a:pos x="connsiteX17089" y="connsiteY17089"/>
                </a:cxn>
                <a:cxn ang="0">
                  <a:pos x="connsiteX17090" y="connsiteY17090"/>
                </a:cxn>
                <a:cxn ang="0">
                  <a:pos x="connsiteX17091" y="connsiteY17091"/>
                </a:cxn>
                <a:cxn ang="0">
                  <a:pos x="connsiteX17092" y="connsiteY17092"/>
                </a:cxn>
                <a:cxn ang="0">
                  <a:pos x="connsiteX17093" y="connsiteY17093"/>
                </a:cxn>
                <a:cxn ang="0">
                  <a:pos x="connsiteX17094" y="connsiteY17094"/>
                </a:cxn>
                <a:cxn ang="0">
                  <a:pos x="connsiteX17095" y="connsiteY17095"/>
                </a:cxn>
                <a:cxn ang="0">
                  <a:pos x="connsiteX17096" y="connsiteY17096"/>
                </a:cxn>
                <a:cxn ang="0">
                  <a:pos x="connsiteX17097" y="connsiteY17097"/>
                </a:cxn>
                <a:cxn ang="0">
                  <a:pos x="connsiteX17098" y="connsiteY17098"/>
                </a:cxn>
                <a:cxn ang="0">
                  <a:pos x="connsiteX17099" y="connsiteY17099"/>
                </a:cxn>
                <a:cxn ang="0">
                  <a:pos x="connsiteX17100" y="connsiteY17100"/>
                </a:cxn>
                <a:cxn ang="0">
                  <a:pos x="connsiteX17101" y="connsiteY17101"/>
                </a:cxn>
                <a:cxn ang="0">
                  <a:pos x="connsiteX17102" y="connsiteY17102"/>
                </a:cxn>
                <a:cxn ang="0">
                  <a:pos x="connsiteX17103" y="connsiteY17103"/>
                </a:cxn>
                <a:cxn ang="0">
                  <a:pos x="connsiteX17104" y="connsiteY17104"/>
                </a:cxn>
                <a:cxn ang="0">
                  <a:pos x="connsiteX17105" y="connsiteY17105"/>
                </a:cxn>
                <a:cxn ang="0">
                  <a:pos x="connsiteX17106" y="connsiteY17106"/>
                </a:cxn>
                <a:cxn ang="0">
                  <a:pos x="connsiteX17107" y="connsiteY17107"/>
                </a:cxn>
                <a:cxn ang="0">
                  <a:pos x="connsiteX17108" y="connsiteY17108"/>
                </a:cxn>
                <a:cxn ang="0">
                  <a:pos x="connsiteX17109" y="connsiteY17109"/>
                </a:cxn>
                <a:cxn ang="0">
                  <a:pos x="connsiteX17110" y="connsiteY17110"/>
                </a:cxn>
                <a:cxn ang="0">
                  <a:pos x="connsiteX17111" y="connsiteY17111"/>
                </a:cxn>
                <a:cxn ang="0">
                  <a:pos x="connsiteX17112" y="connsiteY17112"/>
                </a:cxn>
                <a:cxn ang="0">
                  <a:pos x="connsiteX17113" y="connsiteY17113"/>
                </a:cxn>
                <a:cxn ang="0">
                  <a:pos x="connsiteX17114" y="connsiteY17114"/>
                </a:cxn>
                <a:cxn ang="0">
                  <a:pos x="connsiteX17115" y="connsiteY17115"/>
                </a:cxn>
                <a:cxn ang="0">
                  <a:pos x="connsiteX17116" y="connsiteY17116"/>
                </a:cxn>
                <a:cxn ang="0">
                  <a:pos x="connsiteX17117" y="connsiteY17117"/>
                </a:cxn>
                <a:cxn ang="0">
                  <a:pos x="connsiteX17118" y="connsiteY17118"/>
                </a:cxn>
                <a:cxn ang="0">
                  <a:pos x="connsiteX17119" y="connsiteY17119"/>
                </a:cxn>
                <a:cxn ang="0">
                  <a:pos x="connsiteX17120" y="connsiteY17120"/>
                </a:cxn>
                <a:cxn ang="0">
                  <a:pos x="connsiteX17121" y="connsiteY17121"/>
                </a:cxn>
                <a:cxn ang="0">
                  <a:pos x="connsiteX17122" y="connsiteY17122"/>
                </a:cxn>
                <a:cxn ang="0">
                  <a:pos x="connsiteX17123" y="connsiteY17123"/>
                </a:cxn>
                <a:cxn ang="0">
                  <a:pos x="connsiteX17124" y="connsiteY17124"/>
                </a:cxn>
                <a:cxn ang="0">
                  <a:pos x="connsiteX17125" y="connsiteY17125"/>
                </a:cxn>
                <a:cxn ang="0">
                  <a:pos x="connsiteX17126" y="connsiteY17126"/>
                </a:cxn>
                <a:cxn ang="0">
                  <a:pos x="connsiteX17127" y="connsiteY17127"/>
                </a:cxn>
                <a:cxn ang="0">
                  <a:pos x="connsiteX17128" y="connsiteY17128"/>
                </a:cxn>
                <a:cxn ang="0">
                  <a:pos x="connsiteX17129" y="connsiteY17129"/>
                </a:cxn>
                <a:cxn ang="0">
                  <a:pos x="connsiteX17130" y="connsiteY17130"/>
                </a:cxn>
                <a:cxn ang="0">
                  <a:pos x="connsiteX17131" y="connsiteY17131"/>
                </a:cxn>
                <a:cxn ang="0">
                  <a:pos x="connsiteX17132" y="connsiteY17132"/>
                </a:cxn>
                <a:cxn ang="0">
                  <a:pos x="connsiteX17133" y="connsiteY17133"/>
                </a:cxn>
                <a:cxn ang="0">
                  <a:pos x="connsiteX17134" y="connsiteY17134"/>
                </a:cxn>
                <a:cxn ang="0">
                  <a:pos x="connsiteX17135" y="connsiteY17135"/>
                </a:cxn>
                <a:cxn ang="0">
                  <a:pos x="connsiteX17136" y="connsiteY17136"/>
                </a:cxn>
                <a:cxn ang="0">
                  <a:pos x="connsiteX17137" y="connsiteY17137"/>
                </a:cxn>
                <a:cxn ang="0">
                  <a:pos x="connsiteX17138" y="connsiteY17138"/>
                </a:cxn>
                <a:cxn ang="0">
                  <a:pos x="connsiteX17139" y="connsiteY17139"/>
                </a:cxn>
                <a:cxn ang="0">
                  <a:pos x="connsiteX17140" y="connsiteY17140"/>
                </a:cxn>
                <a:cxn ang="0">
                  <a:pos x="connsiteX17141" y="connsiteY17141"/>
                </a:cxn>
                <a:cxn ang="0">
                  <a:pos x="connsiteX17142" y="connsiteY17142"/>
                </a:cxn>
                <a:cxn ang="0">
                  <a:pos x="connsiteX17143" y="connsiteY17143"/>
                </a:cxn>
                <a:cxn ang="0">
                  <a:pos x="connsiteX17144" y="connsiteY17144"/>
                </a:cxn>
                <a:cxn ang="0">
                  <a:pos x="connsiteX17145" y="connsiteY17145"/>
                </a:cxn>
                <a:cxn ang="0">
                  <a:pos x="connsiteX17146" y="connsiteY17146"/>
                </a:cxn>
                <a:cxn ang="0">
                  <a:pos x="connsiteX17147" y="connsiteY17147"/>
                </a:cxn>
                <a:cxn ang="0">
                  <a:pos x="connsiteX17148" y="connsiteY17148"/>
                </a:cxn>
                <a:cxn ang="0">
                  <a:pos x="connsiteX17149" y="connsiteY17149"/>
                </a:cxn>
                <a:cxn ang="0">
                  <a:pos x="connsiteX17150" y="connsiteY17150"/>
                </a:cxn>
                <a:cxn ang="0">
                  <a:pos x="connsiteX17151" y="connsiteY17151"/>
                </a:cxn>
                <a:cxn ang="0">
                  <a:pos x="connsiteX17152" y="connsiteY17152"/>
                </a:cxn>
                <a:cxn ang="0">
                  <a:pos x="connsiteX17153" y="connsiteY17153"/>
                </a:cxn>
                <a:cxn ang="0">
                  <a:pos x="connsiteX17154" y="connsiteY17154"/>
                </a:cxn>
                <a:cxn ang="0">
                  <a:pos x="connsiteX17155" y="connsiteY17155"/>
                </a:cxn>
                <a:cxn ang="0">
                  <a:pos x="connsiteX17156" y="connsiteY17156"/>
                </a:cxn>
                <a:cxn ang="0">
                  <a:pos x="connsiteX17157" y="connsiteY17157"/>
                </a:cxn>
                <a:cxn ang="0">
                  <a:pos x="connsiteX17158" y="connsiteY17158"/>
                </a:cxn>
                <a:cxn ang="0">
                  <a:pos x="connsiteX17159" y="connsiteY17159"/>
                </a:cxn>
                <a:cxn ang="0">
                  <a:pos x="connsiteX17160" y="connsiteY17160"/>
                </a:cxn>
                <a:cxn ang="0">
                  <a:pos x="connsiteX17161" y="connsiteY17161"/>
                </a:cxn>
                <a:cxn ang="0">
                  <a:pos x="connsiteX17162" y="connsiteY17162"/>
                </a:cxn>
                <a:cxn ang="0">
                  <a:pos x="connsiteX17163" y="connsiteY17163"/>
                </a:cxn>
                <a:cxn ang="0">
                  <a:pos x="connsiteX17164" y="connsiteY17164"/>
                </a:cxn>
                <a:cxn ang="0">
                  <a:pos x="connsiteX17165" y="connsiteY17165"/>
                </a:cxn>
                <a:cxn ang="0">
                  <a:pos x="connsiteX17166" y="connsiteY17166"/>
                </a:cxn>
                <a:cxn ang="0">
                  <a:pos x="connsiteX17167" y="connsiteY17167"/>
                </a:cxn>
                <a:cxn ang="0">
                  <a:pos x="connsiteX17168" y="connsiteY17168"/>
                </a:cxn>
                <a:cxn ang="0">
                  <a:pos x="connsiteX17169" y="connsiteY17169"/>
                </a:cxn>
                <a:cxn ang="0">
                  <a:pos x="connsiteX17170" y="connsiteY17170"/>
                </a:cxn>
                <a:cxn ang="0">
                  <a:pos x="connsiteX17171" y="connsiteY17171"/>
                </a:cxn>
                <a:cxn ang="0">
                  <a:pos x="connsiteX17172" y="connsiteY17172"/>
                </a:cxn>
                <a:cxn ang="0">
                  <a:pos x="connsiteX17173" y="connsiteY17173"/>
                </a:cxn>
                <a:cxn ang="0">
                  <a:pos x="connsiteX17174" y="connsiteY17174"/>
                </a:cxn>
                <a:cxn ang="0">
                  <a:pos x="connsiteX17175" y="connsiteY17175"/>
                </a:cxn>
                <a:cxn ang="0">
                  <a:pos x="connsiteX17176" y="connsiteY17176"/>
                </a:cxn>
                <a:cxn ang="0">
                  <a:pos x="connsiteX17177" y="connsiteY17177"/>
                </a:cxn>
                <a:cxn ang="0">
                  <a:pos x="connsiteX17178" y="connsiteY17178"/>
                </a:cxn>
                <a:cxn ang="0">
                  <a:pos x="connsiteX17179" y="connsiteY17179"/>
                </a:cxn>
                <a:cxn ang="0">
                  <a:pos x="connsiteX17180" y="connsiteY17180"/>
                </a:cxn>
                <a:cxn ang="0">
                  <a:pos x="connsiteX17181" y="connsiteY17181"/>
                </a:cxn>
                <a:cxn ang="0">
                  <a:pos x="connsiteX17182" y="connsiteY17182"/>
                </a:cxn>
                <a:cxn ang="0">
                  <a:pos x="connsiteX17183" y="connsiteY17183"/>
                </a:cxn>
                <a:cxn ang="0">
                  <a:pos x="connsiteX17184" y="connsiteY17184"/>
                </a:cxn>
                <a:cxn ang="0">
                  <a:pos x="connsiteX17185" y="connsiteY17185"/>
                </a:cxn>
                <a:cxn ang="0">
                  <a:pos x="connsiteX17186" y="connsiteY17186"/>
                </a:cxn>
                <a:cxn ang="0">
                  <a:pos x="connsiteX17187" y="connsiteY17187"/>
                </a:cxn>
                <a:cxn ang="0">
                  <a:pos x="connsiteX17188" y="connsiteY17188"/>
                </a:cxn>
                <a:cxn ang="0">
                  <a:pos x="connsiteX17189" y="connsiteY17189"/>
                </a:cxn>
                <a:cxn ang="0">
                  <a:pos x="connsiteX17190" y="connsiteY17190"/>
                </a:cxn>
                <a:cxn ang="0">
                  <a:pos x="connsiteX17191" y="connsiteY17191"/>
                </a:cxn>
                <a:cxn ang="0">
                  <a:pos x="connsiteX17192" y="connsiteY17192"/>
                </a:cxn>
                <a:cxn ang="0">
                  <a:pos x="connsiteX17193" y="connsiteY17193"/>
                </a:cxn>
                <a:cxn ang="0">
                  <a:pos x="connsiteX17194" y="connsiteY17194"/>
                </a:cxn>
                <a:cxn ang="0">
                  <a:pos x="connsiteX17195" y="connsiteY17195"/>
                </a:cxn>
                <a:cxn ang="0">
                  <a:pos x="connsiteX17196" y="connsiteY17196"/>
                </a:cxn>
                <a:cxn ang="0">
                  <a:pos x="connsiteX17197" y="connsiteY17197"/>
                </a:cxn>
                <a:cxn ang="0">
                  <a:pos x="connsiteX17198" y="connsiteY17198"/>
                </a:cxn>
                <a:cxn ang="0">
                  <a:pos x="connsiteX17199" y="connsiteY17199"/>
                </a:cxn>
                <a:cxn ang="0">
                  <a:pos x="connsiteX17200" y="connsiteY17200"/>
                </a:cxn>
                <a:cxn ang="0">
                  <a:pos x="connsiteX17201" y="connsiteY17201"/>
                </a:cxn>
                <a:cxn ang="0">
                  <a:pos x="connsiteX17202" y="connsiteY17202"/>
                </a:cxn>
                <a:cxn ang="0">
                  <a:pos x="connsiteX17203" y="connsiteY17203"/>
                </a:cxn>
                <a:cxn ang="0">
                  <a:pos x="connsiteX17204" y="connsiteY17204"/>
                </a:cxn>
                <a:cxn ang="0">
                  <a:pos x="connsiteX17205" y="connsiteY17205"/>
                </a:cxn>
                <a:cxn ang="0">
                  <a:pos x="connsiteX17206" y="connsiteY17206"/>
                </a:cxn>
                <a:cxn ang="0">
                  <a:pos x="connsiteX17207" y="connsiteY17207"/>
                </a:cxn>
                <a:cxn ang="0">
                  <a:pos x="connsiteX17208" y="connsiteY17208"/>
                </a:cxn>
                <a:cxn ang="0">
                  <a:pos x="connsiteX17209" y="connsiteY17209"/>
                </a:cxn>
                <a:cxn ang="0">
                  <a:pos x="connsiteX17210" y="connsiteY17210"/>
                </a:cxn>
                <a:cxn ang="0">
                  <a:pos x="connsiteX17211" y="connsiteY17211"/>
                </a:cxn>
                <a:cxn ang="0">
                  <a:pos x="connsiteX17212" y="connsiteY17212"/>
                </a:cxn>
                <a:cxn ang="0">
                  <a:pos x="connsiteX17213" y="connsiteY17213"/>
                </a:cxn>
                <a:cxn ang="0">
                  <a:pos x="connsiteX17214" y="connsiteY17214"/>
                </a:cxn>
                <a:cxn ang="0">
                  <a:pos x="connsiteX17215" y="connsiteY17215"/>
                </a:cxn>
                <a:cxn ang="0">
                  <a:pos x="connsiteX17216" y="connsiteY17216"/>
                </a:cxn>
                <a:cxn ang="0">
                  <a:pos x="connsiteX17217" y="connsiteY17217"/>
                </a:cxn>
                <a:cxn ang="0">
                  <a:pos x="connsiteX17218" y="connsiteY17218"/>
                </a:cxn>
                <a:cxn ang="0">
                  <a:pos x="connsiteX17219" y="connsiteY17219"/>
                </a:cxn>
                <a:cxn ang="0">
                  <a:pos x="connsiteX17220" y="connsiteY17220"/>
                </a:cxn>
                <a:cxn ang="0">
                  <a:pos x="connsiteX17221" y="connsiteY17221"/>
                </a:cxn>
                <a:cxn ang="0">
                  <a:pos x="connsiteX17222" y="connsiteY17222"/>
                </a:cxn>
                <a:cxn ang="0">
                  <a:pos x="connsiteX17223" y="connsiteY17223"/>
                </a:cxn>
                <a:cxn ang="0">
                  <a:pos x="connsiteX17224" y="connsiteY17224"/>
                </a:cxn>
                <a:cxn ang="0">
                  <a:pos x="connsiteX17225" y="connsiteY17225"/>
                </a:cxn>
                <a:cxn ang="0">
                  <a:pos x="connsiteX17226" y="connsiteY17226"/>
                </a:cxn>
                <a:cxn ang="0">
                  <a:pos x="connsiteX17227" y="connsiteY17227"/>
                </a:cxn>
                <a:cxn ang="0">
                  <a:pos x="connsiteX17228" y="connsiteY17228"/>
                </a:cxn>
                <a:cxn ang="0">
                  <a:pos x="connsiteX17229" y="connsiteY17229"/>
                </a:cxn>
                <a:cxn ang="0">
                  <a:pos x="connsiteX17230" y="connsiteY17230"/>
                </a:cxn>
                <a:cxn ang="0">
                  <a:pos x="connsiteX17231" y="connsiteY17231"/>
                </a:cxn>
                <a:cxn ang="0">
                  <a:pos x="connsiteX17232" y="connsiteY17232"/>
                </a:cxn>
                <a:cxn ang="0">
                  <a:pos x="connsiteX17233" y="connsiteY17233"/>
                </a:cxn>
                <a:cxn ang="0">
                  <a:pos x="connsiteX17234" y="connsiteY17234"/>
                </a:cxn>
                <a:cxn ang="0">
                  <a:pos x="connsiteX17235" y="connsiteY17235"/>
                </a:cxn>
                <a:cxn ang="0">
                  <a:pos x="connsiteX17236" y="connsiteY17236"/>
                </a:cxn>
                <a:cxn ang="0">
                  <a:pos x="connsiteX17237" y="connsiteY17237"/>
                </a:cxn>
                <a:cxn ang="0">
                  <a:pos x="connsiteX17238" y="connsiteY17238"/>
                </a:cxn>
                <a:cxn ang="0">
                  <a:pos x="connsiteX17239" y="connsiteY17239"/>
                </a:cxn>
                <a:cxn ang="0">
                  <a:pos x="connsiteX17240" y="connsiteY17240"/>
                </a:cxn>
                <a:cxn ang="0">
                  <a:pos x="connsiteX17241" y="connsiteY17241"/>
                </a:cxn>
                <a:cxn ang="0">
                  <a:pos x="connsiteX17242" y="connsiteY17242"/>
                </a:cxn>
                <a:cxn ang="0">
                  <a:pos x="connsiteX17243" y="connsiteY17243"/>
                </a:cxn>
                <a:cxn ang="0">
                  <a:pos x="connsiteX17244" y="connsiteY17244"/>
                </a:cxn>
                <a:cxn ang="0">
                  <a:pos x="connsiteX17245" y="connsiteY17245"/>
                </a:cxn>
                <a:cxn ang="0">
                  <a:pos x="connsiteX17246" y="connsiteY17246"/>
                </a:cxn>
                <a:cxn ang="0">
                  <a:pos x="connsiteX17247" y="connsiteY17247"/>
                </a:cxn>
                <a:cxn ang="0">
                  <a:pos x="connsiteX17248" y="connsiteY17248"/>
                </a:cxn>
                <a:cxn ang="0">
                  <a:pos x="connsiteX17249" y="connsiteY17249"/>
                </a:cxn>
                <a:cxn ang="0">
                  <a:pos x="connsiteX17250" y="connsiteY17250"/>
                </a:cxn>
                <a:cxn ang="0">
                  <a:pos x="connsiteX17251" y="connsiteY17251"/>
                </a:cxn>
                <a:cxn ang="0">
                  <a:pos x="connsiteX17252" y="connsiteY17252"/>
                </a:cxn>
                <a:cxn ang="0">
                  <a:pos x="connsiteX17253" y="connsiteY17253"/>
                </a:cxn>
                <a:cxn ang="0">
                  <a:pos x="connsiteX17254" y="connsiteY17254"/>
                </a:cxn>
                <a:cxn ang="0">
                  <a:pos x="connsiteX17255" y="connsiteY17255"/>
                </a:cxn>
                <a:cxn ang="0">
                  <a:pos x="connsiteX17256" y="connsiteY17256"/>
                </a:cxn>
                <a:cxn ang="0">
                  <a:pos x="connsiteX17257" y="connsiteY17257"/>
                </a:cxn>
                <a:cxn ang="0">
                  <a:pos x="connsiteX17258" y="connsiteY17258"/>
                </a:cxn>
                <a:cxn ang="0">
                  <a:pos x="connsiteX17259" y="connsiteY17259"/>
                </a:cxn>
                <a:cxn ang="0">
                  <a:pos x="connsiteX17260" y="connsiteY17260"/>
                </a:cxn>
                <a:cxn ang="0">
                  <a:pos x="connsiteX17261" y="connsiteY17261"/>
                </a:cxn>
                <a:cxn ang="0">
                  <a:pos x="connsiteX17262" y="connsiteY17262"/>
                </a:cxn>
                <a:cxn ang="0">
                  <a:pos x="connsiteX17263" y="connsiteY17263"/>
                </a:cxn>
                <a:cxn ang="0">
                  <a:pos x="connsiteX17264" y="connsiteY17264"/>
                </a:cxn>
                <a:cxn ang="0">
                  <a:pos x="connsiteX17265" y="connsiteY17265"/>
                </a:cxn>
                <a:cxn ang="0">
                  <a:pos x="connsiteX17266" y="connsiteY17266"/>
                </a:cxn>
                <a:cxn ang="0">
                  <a:pos x="connsiteX17267" y="connsiteY17267"/>
                </a:cxn>
                <a:cxn ang="0">
                  <a:pos x="connsiteX17268" y="connsiteY17268"/>
                </a:cxn>
                <a:cxn ang="0">
                  <a:pos x="connsiteX17269" y="connsiteY17269"/>
                </a:cxn>
                <a:cxn ang="0">
                  <a:pos x="connsiteX17270" y="connsiteY17270"/>
                </a:cxn>
                <a:cxn ang="0">
                  <a:pos x="connsiteX17271" y="connsiteY17271"/>
                </a:cxn>
                <a:cxn ang="0">
                  <a:pos x="connsiteX17272" y="connsiteY17272"/>
                </a:cxn>
                <a:cxn ang="0">
                  <a:pos x="connsiteX17273" y="connsiteY17273"/>
                </a:cxn>
                <a:cxn ang="0">
                  <a:pos x="connsiteX17274" y="connsiteY17274"/>
                </a:cxn>
                <a:cxn ang="0">
                  <a:pos x="connsiteX17275" y="connsiteY17275"/>
                </a:cxn>
                <a:cxn ang="0">
                  <a:pos x="connsiteX17276" y="connsiteY17276"/>
                </a:cxn>
                <a:cxn ang="0">
                  <a:pos x="connsiteX17277" y="connsiteY17277"/>
                </a:cxn>
                <a:cxn ang="0">
                  <a:pos x="connsiteX17278" y="connsiteY17278"/>
                </a:cxn>
                <a:cxn ang="0">
                  <a:pos x="connsiteX17279" y="connsiteY17279"/>
                </a:cxn>
                <a:cxn ang="0">
                  <a:pos x="connsiteX17280" y="connsiteY17280"/>
                </a:cxn>
                <a:cxn ang="0">
                  <a:pos x="connsiteX17281" y="connsiteY17281"/>
                </a:cxn>
                <a:cxn ang="0">
                  <a:pos x="connsiteX17282" y="connsiteY17282"/>
                </a:cxn>
                <a:cxn ang="0">
                  <a:pos x="connsiteX17283" y="connsiteY17283"/>
                </a:cxn>
                <a:cxn ang="0">
                  <a:pos x="connsiteX17284" y="connsiteY17284"/>
                </a:cxn>
                <a:cxn ang="0">
                  <a:pos x="connsiteX17285" y="connsiteY17285"/>
                </a:cxn>
                <a:cxn ang="0">
                  <a:pos x="connsiteX17286" y="connsiteY17286"/>
                </a:cxn>
                <a:cxn ang="0">
                  <a:pos x="connsiteX17287" y="connsiteY17287"/>
                </a:cxn>
                <a:cxn ang="0">
                  <a:pos x="connsiteX17288" y="connsiteY17288"/>
                </a:cxn>
                <a:cxn ang="0">
                  <a:pos x="connsiteX17289" y="connsiteY17289"/>
                </a:cxn>
                <a:cxn ang="0">
                  <a:pos x="connsiteX17290" y="connsiteY17290"/>
                </a:cxn>
                <a:cxn ang="0">
                  <a:pos x="connsiteX17291" y="connsiteY17291"/>
                </a:cxn>
                <a:cxn ang="0">
                  <a:pos x="connsiteX17292" y="connsiteY17292"/>
                </a:cxn>
                <a:cxn ang="0">
                  <a:pos x="connsiteX17293" y="connsiteY17293"/>
                </a:cxn>
                <a:cxn ang="0">
                  <a:pos x="connsiteX17294" y="connsiteY17294"/>
                </a:cxn>
                <a:cxn ang="0">
                  <a:pos x="connsiteX17295" y="connsiteY17295"/>
                </a:cxn>
                <a:cxn ang="0">
                  <a:pos x="connsiteX17296" y="connsiteY17296"/>
                </a:cxn>
                <a:cxn ang="0">
                  <a:pos x="connsiteX17297" y="connsiteY17297"/>
                </a:cxn>
                <a:cxn ang="0">
                  <a:pos x="connsiteX17298" y="connsiteY17298"/>
                </a:cxn>
                <a:cxn ang="0">
                  <a:pos x="connsiteX17299" y="connsiteY17299"/>
                </a:cxn>
                <a:cxn ang="0">
                  <a:pos x="connsiteX17300" y="connsiteY17300"/>
                </a:cxn>
                <a:cxn ang="0">
                  <a:pos x="connsiteX17301" y="connsiteY17301"/>
                </a:cxn>
                <a:cxn ang="0">
                  <a:pos x="connsiteX17302" y="connsiteY17302"/>
                </a:cxn>
                <a:cxn ang="0">
                  <a:pos x="connsiteX17303" y="connsiteY17303"/>
                </a:cxn>
                <a:cxn ang="0">
                  <a:pos x="connsiteX17304" y="connsiteY17304"/>
                </a:cxn>
                <a:cxn ang="0">
                  <a:pos x="connsiteX17305" y="connsiteY17305"/>
                </a:cxn>
                <a:cxn ang="0">
                  <a:pos x="connsiteX17306" y="connsiteY17306"/>
                </a:cxn>
                <a:cxn ang="0">
                  <a:pos x="connsiteX17307" y="connsiteY17307"/>
                </a:cxn>
                <a:cxn ang="0">
                  <a:pos x="connsiteX17308" y="connsiteY17308"/>
                </a:cxn>
                <a:cxn ang="0">
                  <a:pos x="connsiteX17309" y="connsiteY17309"/>
                </a:cxn>
                <a:cxn ang="0">
                  <a:pos x="connsiteX17310" y="connsiteY17310"/>
                </a:cxn>
                <a:cxn ang="0">
                  <a:pos x="connsiteX17311" y="connsiteY17311"/>
                </a:cxn>
                <a:cxn ang="0">
                  <a:pos x="connsiteX17312" y="connsiteY17312"/>
                </a:cxn>
                <a:cxn ang="0">
                  <a:pos x="connsiteX17313" y="connsiteY17313"/>
                </a:cxn>
                <a:cxn ang="0">
                  <a:pos x="connsiteX17314" y="connsiteY17314"/>
                </a:cxn>
                <a:cxn ang="0">
                  <a:pos x="connsiteX17315" y="connsiteY17315"/>
                </a:cxn>
                <a:cxn ang="0">
                  <a:pos x="connsiteX17316" y="connsiteY17316"/>
                </a:cxn>
                <a:cxn ang="0">
                  <a:pos x="connsiteX17317" y="connsiteY17317"/>
                </a:cxn>
                <a:cxn ang="0">
                  <a:pos x="connsiteX17318" y="connsiteY17318"/>
                </a:cxn>
                <a:cxn ang="0">
                  <a:pos x="connsiteX17319" y="connsiteY17319"/>
                </a:cxn>
                <a:cxn ang="0">
                  <a:pos x="connsiteX17320" y="connsiteY17320"/>
                </a:cxn>
                <a:cxn ang="0">
                  <a:pos x="connsiteX17321" y="connsiteY17321"/>
                </a:cxn>
                <a:cxn ang="0">
                  <a:pos x="connsiteX17322" y="connsiteY17322"/>
                </a:cxn>
                <a:cxn ang="0">
                  <a:pos x="connsiteX17323" y="connsiteY17323"/>
                </a:cxn>
                <a:cxn ang="0">
                  <a:pos x="connsiteX17324" y="connsiteY17324"/>
                </a:cxn>
                <a:cxn ang="0">
                  <a:pos x="connsiteX17325" y="connsiteY17325"/>
                </a:cxn>
                <a:cxn ang="0">
                  <a:pos x="connsiteX17326" y="connsiteY17326"/>
                </a:cxn>
                <a:cxn ang="0">
                  <a:pos x="connsiteX17327" y="connsiteY17327"/>
                </a:cxn>
                <a:cxn ang="0">
                  <a:pos x="connsiteX17328" y="connsiteY17328"/>
                </a:cxn>
                <a:cxn ang="0">
                  <a:pos x="connsiteX17329" y="connsiteY17329"/>
                </a:cxn>
                <a:cxn ang="0">
                  <a:pos x="connsiteX17330" y="connsiteY17330"/>
                </a:cxn>
                <a:cxn ang="0">
                  <a:pos x="connsiteX17331" y="connsiteY17331"/>
                </a:cxn>
                <a:cxn ang="0">
                  <a:pos x="connsiteX17332" y="connsiteY17332"/>
                </a:cxn>
                <a:cxn ang="0">
                  <a:pos x="connsiteX17333" y="connsiteY17333"/>
                </a:cxn>
                <a:cxn ang="0">
                  <a:pos x="connsiteX17334" y="connsiteY17334"/>
                </a:cxn>
                <a:cxn ang="0">
                  <a:pos x="connsiteX17335" y="connsiteY17335"/>
                </a:cxn>
                <a:cxn ang="0">
                  <a:pos x="connsiteX17336" y="connsiteY17336"/>
                </a:cxn>
                <a:cxn ang="0">
                  <a:pos x="connsiteX17337" y="connsiteY17337"/>
                </a:cxn>
                <a:cxn ang="0">
                  <a:pos x="connsiteX17338" y="connsiteY17338"/>
                </a:cxn>
                <a:cxn ang="0">
                  <a:pos x="connsiteX17339" y="connsiteY17339"/>
                </a:cxn>
                <a:cxn ang="0">
                  <a:pos x="connsiteX17340" y="connsiteY17340"/>
                </a:cxn>
                <a:cxn ang="0">
                  <a:pos x="connsiteX17341" y="connsiteY17341"/>
                </a:cxn>
                <a:cxn ang="0">
                  <a:pos x="connsiteX17342" y="connsiteY17342"/>
                </a:cxn>
                <a:cxn ang="0">
                  <a:pos x="connsiteX17343" y="connsiteY17343"/>
                </a:cxn>
                <a:cxn ang="0">
                  <a:pos x="connsiteX17344" y="connsiteY17344"/>
                </a:cxn>
                <a:cxn ang="0">
                  <a:pos x="connsiteX17345" y="connsiteY17345"/>
                </a:cxn>
                <a:cxn ang="0">
                  <a:pos x="connsiteX17346" y="connsiteY17346"/>
                </a:cxn>
                <a:cxn ang="0">
                  <a:pos x="connsiteX17347" y="connsiteY17347"/>
                </a:cxn>
                <a:cxn ang="0">
                  <a:pos x="connsiteX17348" y="connsiteY17348"/>
                </a:cxn>
                <a:cxn ang="0">
                  <a:pos x="connsiteX17349" y="connsiteY17349"/>
                </a:cxn>
                <a:cxn ang="0">
                  <a:pos x="connsiteX17350" y="connsiteY17350"/>
                </a:cxn>
                <a:cxn ang="0">
                  <a:pos x="connsiteX17351" y="connsiteY17351"/>
                </a:cxn>
                <a:cxn ang="0">
                  <a:pos x="connsiteX17352" y="connsiteY17352"/>
                </a:cxn>
                <a:cxn ang="0">
                  <a:pos x="connsiteX17353" y="connsiteY17353"/>
                </a:cxn>
                <a:cxn ang="0">
                  <a:pos x="connsiteX17354" y="connsiteY17354"/>
                </a:cxn>
                <a:cxn ang="0">
                  <a:pos x="connsiteX17355" y="connsiteY17355"/>
                </a:cxn>
                <a:cxn ang="0">
                  <a:pos x="connsiteX17356" y="connsiteY17356"/>
                </a:cxn>
                <a:cxn ang="0">
                  <a:pos x="connsiteX17357" y="connsiteY17357"/>
                </a:cxn>
                <a:cxn ang="0">
                  <a:pos x="connsiteX17358" y="connsiteY17358"/>
                </a:cxn>
                <a:cxn ang="0">
                  <a:pos x="connsiteX17359" y="connsiteY17359"/>
                </a:cxn>
                <a:cxn ang="0">
                  <a:pos x="connsiteX17360" y="connsiteY17360"/>
                </a:cxn>
                <a:cxn ang="0">
                  <a:pos x="connsiteX17361" y="connsiteY17361"/>
                </a:cxn>
                <a:cxn ang="0">
                  <a:pos x="connsiteX17362" y="connsiteY17362"/>
                </a:cxn>
                <a:cxn ang="0">
                  <a:pos x="connsiteX17363" y="connsiteY17363"/>
                </a:cxn>
                <a:cxn ang="0">
                  <a:pos x="connsiteX17364" y="connsiteY17364"/>
                </a:cxn>
                <a:cxn ang="0">
                  <a:pos x="connsiteX17365" y="connsiteY17365"/>
                </a:cxn>
                <a:cxn ang="0">
                  <a:pos x="connsiteX17366" y="connsiteY17366"/>
                </a:cxn>
                <a:cxn ang="0">
                  <a:pos x="connsiteX17367" y="connsiteY17367"/>
                </a:cxn>
                <a:cxn ang="0">
                  <a:pos x="connsiteX17368" y="connsiteY17368"/>
                </a:cxn>
                <a:cxn ang="0">
                  <a:pos x="connsiteX17369" y="connsiteY17369"/>
                </a:cxn>
                <a:cxn ang="0">
                  <a:pos x="connsiteX17370" y="connsiteY17370"/>
                </a:cxn>
                <a:cxn ang="0">
                  <a:pos x="connsiteX17371" y="connsiteY17371"/>
                </a:cxn>
                <a:cxn ang="0">
                  <a:pos x="connsiteX17372" y="connsiteY17372"/>
                </a:cxn>
                <a:cxn ang="0">
                  <a:pos x="connsiteX17373" y="connsiteY17373"/>
                </a:cxn>
                <a:cxn ang="0">
                  <a:pos x="connsiteX17374" y="connsiteY17374"/>
                </a:cxn>
                <a:cxn ang="0">
                  <a:pos x="connsiteX17375" y="connsiteY17375"/>
                </a:cxn>
                <a:cxn ang="0">
                  <a:pos x="connsiteX17376" y="connsiteY17376"/>
                </a:cxn>
                <a:cxn ang="0">
                  <a:pos x="connsiteX17377" y="connsiteY17377"/>
                </a:cxn>
                <a:cxn ang="0">
                  <a:pos x="connsiteX17378" y="connsiteY17378"/>
                </a:cxn>
                <a:cxn ang="0">
                  <a:pos x="connsiteX17379" y="connsiteY17379"/>
                </a:cxn>
                <a:cxn ang="0">
                  <a:pos x="connsiteX17380" y="connsiteY17380"/>
                </a:cxn>
                <a:cxn ang="0">
                  <a:pos x="connsiteX17381" y="connsiteY17381"/>
                </a:cxn>
                <a:cxn ang="0">
                  <a:pos x="connsiteX17382" y="connsiteY17382"/>
                </a:cxn>
                <a:cxn ang="0">
                  <a:pos x="connsiteX17383" y="connsiteY17383"/>
                </a:cxn>
                <a:cxn ang="0">
                  <a:pos x="connsiteX17384" y="connsiteY17384"/>
                </a:cxn>
                <a:cxn ang="0">
                  <a:pos x="connsiteX17385" y="connsiteY17385"/>
                </a:cxn>
                <a:cxn ang="0">
                  <a:pos x="connsiteX17386" y="connsiteY17386"/>
                </a:cxn>
                <a:cxn ang="0">
                  <a:pos x="connsiteX17387" y="connsiteY17387"/>
                </a:cxn>
                <a:cxn ang="0">
                  <a:pos x="connsiteX17388" y="connsiteY17388"/>
                </a:cxn>
                <a:cxn ang="0">
                  <a:pos x="connsiteX17389" y="connsiteY17389"/>
                </a:cxn>
                <a:cxn ang="0">
                  <a:pos x="connsiteX17390" y="connsiteY17390"/>
                </a:cxn>
                <a:cxn ang="0">
                  <a:pos x="connsiteX17391" y="connsiteY17391"/>
                </a:cxn>
                <a:cxn ang="0">
                  <a:pos x="connsiteX17392" y="connsiteY17392"/>
                </a:cxn>
                <a:cxn ang="0">
                  <a:pos x="connsiteX17393" y="connsiteY17393"/>
                </a:cxn>
                <a:cxn ang="0">
                  <a:pos x="connsiteX17394" y="connsiteY17394"/>
                </a:cxn>
                <a:cxn ang="0">
                  <a:pos x="connsiteX17395" y="connsiteY17395"/>
                </a:cxn>
                <a:cxn ang="0">
                  <a:pos x="connsiteX17396" y="connsiteY17396"/>
                </a:cxn>
                <a:cxn ang="0">
                  <a:pos x="connsiteX17397" y="connsiteY17397"/>
                </a:cxn>
                <a:cxn ang="0">
                  <a:pos x="connsiteX17398" y="connsiteY17398"/>
                </a:cxn>
                <a:cxn ang="0">
                  <a:pos x="connsiteX17399" y="connsiteY17399"/>
                </a:cxn>
                <a:cxn ang="0">
                  <a:pos x="connsiteX17400" y="connsiteY17400"/>
                </a:cxn>
                <a:cxn ang="0">
                  <a:pos x="connsiteX17401" y="connsiteY17401"/>
                </a:cxn>
                <a:cxn ang="0">
                  <a:pos x="connsiteX17402" y="connsiteY17402"/>
                </a:cxn>
                <a:cxn ang="0">
                  <a:pos x="connsiteX17403" y="connsiteY17403"/>
                </a:cxn>
                <a:cxn ang="0">
                  <a:pos x="connsiteX17404" y="connsiteY17404"/>
                </a:cxn>
                <a:cxn ang="0">
                  <a:pos x="connsiteX17405" y="connsiteY17405"/>
                </a:cxn>
                <a:cxn ang="0">
                  <a:pos x="connsiteX17406" y="connsiteY17406"/>
                </a:cxn>
                <a:cxn ang="0">
                  <a:pos x="connsiteX17407" y="connsiteY17407"/>
                </a:cxn>
                <a:cxn ang="0">
                  <a:pos x="connsiteX17408" y="connsiteY17408"/>
                </a:cxn>
                <a:cxn ang="0">
                  <a:pos x="connsiteX17409" y="connsiteY17409"/>
                </a:cxn>
                <a:cxn ang="0">
                  <a:pos x="connsiteX17410" y="connsiteY17410"/>
                </a:cxn>
                <a:cxn ang="0">
                  <a:pos x="connsiteX17411" y="connsiteY17411"/>
                </a:cxn>
                <a:cxn ang="0">
                  <a:pos x="connsiteX17412" y="connsiteY17412"/>
                </a:cxn>
                <a:cxn ang="0">
                  <a:pos x="connsiteX17413" y="connsiteY17413"/>
                </a:cxn>
                <a:cxn ang="0">
                  <a:pos x="connsiteX17414" y="connsiteY17414"/>
                </a:cxn>
                <a:cxn ang="0">
                  <a:pos x="connsiteX17415" y="connsiteY17415"/>
                </a:cxn>
                <a:cxn ang="0">
                  <a:pos x="connsiteX17416" y="connsiteY17416"/>
                </a:cxn>
                <a:cxn ang="0">
                  <a:pos x="connsiteX17417" y="connsiteY17417"/>
                </a:cxn>
                <a:cxn ang="0">
                  <a:pos x="connsiteX17418" y="connsiteY17418"/>
                </a:cxn>
                <a:cxn ang="0">
                  <a:pos x="connsiteX17419" y="connsiteY17419"/>
                </a:cxn>
                <a:cxn ang="0">
                  <a:pos x="connsiteX17420" y="connsiteY17420"/>
                </a:cxn>
                <a:cxn ang="0">
                  <a:pos x="connsiteX17421" y="connsiteY17421"/>
                </a:cxn>
                <a:cxn ang="0">
                  <a:pos x="connsiteX17422" y="connsiteY17422"/>
                </a:cxn>
                <a:cxn ang="0">
                  <a:pos x="connsiteX17423" y="connsiteY17423"/>
                </a:cxn>
                <a:cxn ang="0">
                  <a:pos x="connsiteX17424" y="connsiteY17424"/>
                </a:cxn>
                <a:cxn ang="0">
                  <a:pos x="connsiteX17425" y="connsiteY17425"/>
                </a:cxn>
                <a:cxn ang="0">
                  <a:pos x="connsiteX17426" y="connsiteY17426"/>
                </a:cxn>
                <a:cxn ang="0">
                  <a:pos x="connsiteX17427" y="connsiteY17427"/>
                </a:cxn>
                <a:cxn ang="0">
                  <a:pos x="connsiteX17428" y="connsiteY17428"/>
                </a:cxn>
                <a:cxn ang="0">
                  <a:pos x="connsiteX17429" y="connsiteY17429"/>
                </a:cxn>
                <a:cxn ang="0">
                  <a:pos x="connsiteX17430" y="connsiteY17430"/>
                </a:cxn>
                <a:cxn ang="0">
                  <a:pos x="connsiteX17431" y="connsiteY17431"/>
                </a:cxn>
                <a:cxn ang="0">
                  <a:pos x="connsiteX17432" y="connsiteY17432"/>
                </a:cxn>
                <a:cxn ang="0">
                  <a:pos x="connsiteX17433" y="connsiteY17433"/>
                </a:cxn>
                <a:cxn ang="0">
                  <a:pos x="connsiteX17434" y="connsiteY17434"/>
                </a:cxn>
                <a:cxn ang="0">
                  <a:pos x="connsiteX17435" y="connsiteY17435"/>
                </a:cxn>
                <a:cxn ang="0">
                  <a:pos x="connsiteX17436" y="connsiteY17436"/>
                </a:cxn>
                <a:cxn ang="0">
                  <a:pos x="connsiteX17437" y="connsiteY17437"/>
                </a:cxn>
                <a:cxn ang="0">
                  <a:pos x="connsiteX17438" y="connsiteY17438"/>
                </a:cxn>
                <a:cxn ang="0">
                  <a:pos x="connsiteX17439" y="connsiteY17439"/>
                </a:cxn>
                <a:cxn ang="0">
                  <a:pos x="connsiteX17440" y="connsiteY17440"/>
                </a:cxn>
                <a:cxn ang="0">
                  <a:pos x="connsiteX17441" y="connsiteY17441"/>
                </a:cxn>
                <a:cxn ang="0">
                  <a:pos x="connsiteX17442" y="connsiteY17442"/>
                </a:cxn>
                <a:cxn ang="0">
                  <a:pos x="connsiteX17443" y="connsiteY17443"/>
                </a:cxn>
                <a:cxn ang="0">
                  <a:pos x="connsiteX17444" y="connsiteY17444"/>
                </a:cxn>
                <a:cxn ang="0">
                  <a:pos x="connsiteX17445" y="connsiteY17445"/>
                </a:cxn>
                <a:cxn ang="0">
                  <a:pos x="connsiteX17446" y="connsiteY17446"/>
                </a:cxn>
                <a:cxn ang="0">
                  <a:pos x="connsiteX17447" y="connsiteY17447"/>
                </a:cxn>
                <a:cxn ang="0">
                  <a:pos x="connsiteX17448" y="connsiteY17448"/>
                </a:cxn>
                <a:cxn ang="0">
                  <a:pos x="connsiteX17449" y="connsiteY17449"/>
                </a:cxn>
                <a:cxn ang="0">
                  <a:pos x="connsiteX17450" y="connsiteY17450"/>
                </a:cxn>
                <a:cxn ang="0">
                  <a:pos x="connsiteX17451" y="connsiteY17451"/>
                </a:cxn>
                <a:cxn ang="0">
                  <a:pos x="connsiteX17452" y="connsiteY17452"/>
                </a:cxn>
                <a:cxn ang="0">
                  <a:pos x="connsiteX17453" y="connsiteY17453"/>
                </a:cxn>
                <a:cxn ang="0">
                  <a:pos x="connsiteX17454" y="connsiteY17454"/>
                </a:cxn>
                <a:cxn ang="0">
                  <a:pos x="connsiteX17455" y="connsiteY17455"/>
                </a:cxn>
                <a:cxn ang="0">
                  <a:pos x="connsiteX17456" y="connsiteY17456"/>
                </a:cxn>
                <a:cxn ang="0">
                  <a:pos x="connsiteX17457" y="connsiteY17457"/>
                </a:cxn>
                <a:cxn ang="0">
                  <a:pos x="connsiteX17458" y="connsiteY17458"/>
                </a:cxn>
                <a:cxn ang="0">
                  <a:pos x="connsiteX17459" y="connsiteY17459"/>
                </a:cxn>
                <a:cxn ang="0">
                  <a:pos x="connsiteX17460" y="connsiteY17460"/>
                </a:cxn>
                <a:cxn ang="0">
                  <a:pos x="connsiteX17461" y="connsiteY17461"/>
                </a:cxn>
                <a:cxn ang="0">
                  <a:pos x="connsiteX17462" y="connsiteY17462"/>
                </a:cxn>
                <a:cxn ang="0">
                  <a:pos x="connsiteX17463" y="connsiteY17463"/>
                </a:cxn>
                <a:cxn ang="0">
                  <a:pos x="connsiteX17464" y="connsiteY17464"/>
                </a:cxn>
                <a:cxn ang="0">
                  <a:pos x="connsiteX17465" y="connsiteY17465"/>
                </a:cxn>
                <a:cxn ang="0">
                  <a:pos x="connsiteX17466" y="connsiteY17466"/>
                </a:cxn>
                <a:cxn ang="0">
                  <a:pos x="connsiteX17467" y="connsiteY17467"/>
                </a:cxn>
                <a:cxn ang="0">
                  <a:pos x="connsiteX17468" y="connsiteY17468"/>
                </a:cxn>
                <a:cxn ang="0">
                  <a:pos x="connsiteX17469" y="connsiteY17469"/>
                </a:cxn>
                <a:cxn ang="0">
                  <a:pos x="connsiteX17470" y="connsiteY17470"/>
                </a:cxn>
                <a:cxn ang="0">
                  <a:pos x="connsiteX17471" y="connsiteY17471"/>
                </a:cxn>
                <a:cxn ang="0">
                  <a:pos x="connsiteX17472" y="connsiteY17472"/>
                </a:cxn>
                <a:cxn ang="0">
                  <a:pos x="connsiteX17473" y="connsiteY17473"/>
                </a:cxn>
                <a:cxn ang="0">
                  <a:pos x="connsiteX17474" y="connsiteY17474"/>
                </a:cxn>
                <a:cxn ang="0">
                  <a:pos x="connsiteX17475" y="connsiteY17475"/>
                </a:cxn>
                <a:cxn ang="0">
                  <a:pos x="connsiteX17476" y="connsiteY17476"/>
                </a:cxn>
                <a:cxn ang="0">
                  <a:pos x="connsiteX17477" y="connsiteY17477"/>
                </a:cxn>
                <a:cxn ang="0">
                  <a:pos x="connsiteX17478" y="connsiteY17478"/>
                </a:cxn>
                <a:cxn ang="0">
                  <a:pos x="connsiteX17479" y="connsiteY17479"/>
                </a:cxn>
                <a:cxn ang="0">
                  <a:pos x="connsiteX17480" y="connsiteY17480"/>
                </a:cxn>
                <a:cxn ang="0">
                  <a:pos x="connsiteX17481" y="connsiteY17481"/>
                </a:cxn>
                <a:cxn ang="0">
                  <a:pos x="connsiteX17482" y="connsiteY17482"/>
                </a:cxn>
                <a:cxn ang="0">
                  <a:pos x="connsiteX17483" y="connsiteY17483"/>
                </a:cxn>
                <a:cxn ang="0">
                  <a:pos x="connsiteX17484" y="connsiteY17484"/>
                </a:cxn>
                <a:cxn ang="0">
                  <a:pos x="connsiteX17485" y="connsiteY17485"/>
                </a:cxn>
                <a:cxn ang="0">
                  <a:pos x="connsiteX17486" y="connsiteY17486"/>
                </a:cxn>
                <a:cxn ang="0">
                  <a:pos x="connsiteX17487" y="connsiteY17487"/>
                </a:cxn>
                <a:cxn ang="0">
                  <a:pos x="connsiteX17488" y="connsiteY17488"/>
                </a:cxn>
                <a:cxn ang="0">
                  <a:pos x="connsiteX17489" y="connsiteY17489"/>
                </a:cxn>
                <a:cxn ang="0">
                  <a:pos x="connsiteX17490" y="connsiteY17490"/>
                </a:cxn>
                <a:cxn ang="0">
                  <a:pos x="connsiteX17491" y="connsiteY17491"/>
                </a:cxn>
                <a:cxn ang="0">
                  <a:pos x="connsiteX17492" y="connsiteY17492"/>
                </a:cxn>
                <a:cxn ang="0">
                  <a:pos x="connsiteX17493" y="connsiteY17493"/>
                </a:cxn>
                <a:cxn ang="0">
                  <a:pos x="connsiteX17494" y="connsiteY17494"/>
                </a:cxn>
                <a:cxn ang="0">
                  <a:pos x="connsiteX17495" y="connsiteY17495"/>
                </a:cxn>
                <a:cxn ang="0">
                  <a:pos x="connsiteX17496" y="connsiteY17496"/>
                </a:cxn>
                <a:cxn ang="0">
                  <a:pos x="connsiteX17497" y="connsiteY17497"/>
                </a:cxn>
                <a:cxn ang="0">
                  <a:pos x="connsiteX17498" y="connsiteY17498"/>
                </a:cxn>
                <a:cxn ang="0">
                  <a:pos x="connsiteX17499" y="connsiteY17499"/>
                </a:cxn>
                <a:cxn ang="0">
                  <a:pos x="connsiteX17500" y="connsiteY17500"/>
                </a:cxn>
                <a:cxn ang="0">
                  <a:pos x="connsiteX17501" y="connsiteY17501"/>
                </a:cxn>
                <a:cxn ang="0">
                  <a:pos x="connsiteX17502" y="connsiteY17502"/>
                </a:cxn>
                <a:cxn ang="0">
                  <a:pos x="connsiteX17503" y="connsiteY17503"/>
                </a:cxn>
                <a:cxn ang="0">
                  <a:pos x="connsiteX17504" y="connsiteY17504"/>
                </a:cxn>
                <a:cxn ang="0">
                  <a:pos x="connsiteX17505" y="connsiteY17505"/>
                </a:cxn>
                <a:cxn ang="0">
                  <a:pos x="connsiteX17506" y="connsiteY17506"/>
                </a:cxn>
                <a:cxn ang="0">
                  <a:pos x="connsiteX17507" y="connsiteY17507"/>
                </a:cxn>
                <a:cxn ang="0">
                  <a:pos x="connsiteX17508" y="connsiteY17508"/>
                </a:cxn>
                <a:cxn ang="0">
                  <a:pos x="connsiteX17509" y="connsiteY17509"/>
                </a:cxn>
                <a:cxn ang="0">
                  <a:pos x="connsiteX17510" y="connsiteY17510"/>
                </a:cxn>
                <a:cxn ang="0">
                  <a:pos x="connsiteX17511" y="connsiteY17511"/>
                </a:cxn>
                <a:cxn ang="0">
                  <a:pos x="connsiteX17512" y="connsiteY17512"/>
                </a:cxn>
                <a:cxn ang="0">
                  <a:pos x="connsiteX17513" y="connsiteY17513"/>
                </a:cxn>
                <a:cxn ang="0">
                  <a:pos x="connsiteX17514" y="connsiteY17514"/>
                </a:cxn>
                <a:cxn ang="0">
                  <a:pos x="connsiteX17515" y="connsiteY17515"/>
                </a:cxn>
                <a:cxn ang="0">
                  <a:pos x="connsiteX17516" y="connsiteY17516"/>
                </a:cxn>
                <a:cxn ang="0">
                  <a:pos x="connsiteX17517" y="connsiteY17517"/>
                </a:cxn>
                <a:cxn ang="0">
                  <a:pos x="connsiteX17518" y="connsiteY17518"/>
                </a:cxn>
                <a:cxn ang="0">
                  <a:pos x="connsiteX17519" y="connsiteY17519"/>
                </a:cxn>
                <a:cxn ang="0">
                  <a:pos x="connsiteX17520" y="connsiteY17520"/>
                </a:cxn>
                <a:cxn ang="0">
                  <a:pos x="connsiteX17521" y="connsiteY17521"/>
                </a:cxn>
                <a:cxn ang="0">
                  <a:pos x="connsiteX17522" y="connsiteY17522"/>
                </a:cxn>
                <a:cxn ang="0">
                  <a:pos x="connsiteX17523" y="connsiteY17523"/>
                </a:cxn>
                <a:cxn ang="0">
                  <a:pos x="connsiteX17524" y="connsiteY17524"/>
                </a:cxn>
                <a:cxn ang="0">
                  <a:pos x="connsiteX17525" y="connsiteY17525"/>
                </a:cxn>
                <a:cxn ang="0">
                  <a:pos x="connsiteX17526" y="connsiteY17526"/>
                </a:cxn>
                <a:cxn ang="0">
                  <a:pos x="connsiteX17527" y="connsiteY17527"/>
                </a:cxn>
                <a:cxn ang="0">
                  <a:pos x="connsiteX17528" y="connsiteY17528"/>
                </a:cxn>
                <a:cxn ang="0">
                  <a:pos x="connsiteX17529" y="connsiteY17529"/>
                </a:cxn>
                <a:cxn ang="0">
                  <a:pos x="connsiteX17530" y="connsiteY17530"/>
                </a:cxn>
                <a:cxn ang="0">
                  <a:pos x="connsiteX17531" y="connsiteY17531"/>
                </a:cxn>
                <a:cxn ang="0">
                  <a:pos x="connsiteX17532" y="connsiteY17532"/>
                </a:cxn>
                <a:cxn ang="0">
                  <a:pos x="connsiteX17533" y="connsiteY17533"/>
                </a:cxn>
                <a:cxn ang="0">
                  <a:pos x="connsiteX17534" y="connsiteY17534"/>
                </a:cxn>
                <a:cxn ang="0">
                  <a:pos x="connsiteX17535" y="connsiteY17535"/>
                </a:cxn>
                <a:cxn ang="0">
                  <a:pos x="connsiteX17536" y="connsiteY17536"/>
                </a:cxn>
                <a:cxn ang="0">
                  <a:pos x="connsiteX17537" y="connsiteY17537"/>
                </a:cxn>
                <a:cxn ang="0">
                  <a:pos x="connsiteX17538" y="connsiteY17538"/>
                </a:cxn>
                <a:cxn ang="0">
                  <a:pos x="connsiteX17539" y="connsiteY17539"/>
                </a:cxn>
                <a:cxn ang="0">
                  <a:pos x="connsiteX17540" y="connsiteY17540"/>
                </a:cxn>
                <a:cxn ang="0">
                  <a:pos x="connsiteX17541" y="connsiteY17541"/>
                </a:cxn>
                <a:cxn ang="0">
                  <a:pos x="connsiteX17542" y="connsiteY17542"/>
                </a:cxn>
                <a:cxn ang="0">
                  <a:pos x="connsiteX17543" y="connsiteY17543"/>
                </a:cxn>
                <a:cxn ang="0">
                  <a:pos x="connsiteX17544" y="connsiteY17544"/>
                </a:cxn>
                <a:cxn ang="0">
                  <a:pos x="connsiteX17545" y="connsiteY17545"/>
                </a:cxn>
                <a:cxn ang="0">
                  <a:pos x="connsiteX17546" y="connsiteY17546"/>
                </a:cxn>
                <a:cxn ang="0">
                  <a:pos x="connsiteX17547" y="connsiteY17547"/>
                </a:cxn>
                <a:cxn ang="0">
                  <a:pos x="connsiteX17548" y="connsiteY17548"/>
                </a:cxn>
                <a:cxn ang="0">
                  <a:pos x="connsiteX17549" y="connsiteY17549"/>
                </a:cxn>
                <a:cxn ang="0">
                  <a:pos x="connsiteX17550" y="connsiteY17550"/>
                </a:cxn>
                <a:cxn ang="0">
                  <a:pos x="connsiteX17551" y="connsiteY17551"/>
                </a:cxn>
                <a:cxn ang="0">
                  <a:pos x="connsiteX17552" y="connsiteY17552"/>
                </a:cxn>
                <a:cxn ang="0">
                  <a:pos x="connsiteX17553" y="connsiteY17553"/>
                </a:cxn>
                <a:cxn ang="0">
                  <a:pos x="connsiteX17554" y="connsiteY17554"/>
                </a:cxn>
                <a:cxn ang="0">
                  <a:pos x="connsiteX17555" y="connsiteY17555"/>
                </a:cxn>
                <a:cxn ang="0">
                  <a:pos x="connsiteX17556" y="connsiteY17556"/>
                </a:cxn>
                <a:cxn ang="0">
                  <a:pos x="connsiteX17557" y="connsiteY17557"/>
                </a:cxn>
                <a:cxn ang="0">
                  <a:pos x="connsiteX17558" y="connsiteY17558"/>
                </a:cxn>
                <a:cxn ang="0">
                  <a:pos x="connsiteX17559" y="connsiteY17559"/>
                </a:cxn>
                <a:cxn ang="0">
                  <a:pos x="connsiteX17560" y="connsiteY17560"/>
                </a:cxn>
                <a:cxn ang="0">
                  <a:pos x="connsiteX17561" y="connsiteY17561"/>
                </a:cxn>
                <a:cxn ang="0">
                  <a:pos x="connsiteX17562" y="connsiteY17562"/>
                </a:cxn>
                <a:cxn ang="0">
                  <a:pos x="connsiteX17563" y="connsiteY17563"/>
                </a:cxn>
                <a:cxn ang="0">
                  <a:pos x="connsiteX17564" y="connsiteY17564"/>
                </a:cxn>
                <a:cxn ang="0">
                  <a:pos x="connsiteX17565" y="connsiteY17565"/>
                </a:cxn>
                <a:cxn ang="0">
                  <a:pos x="connsiteX17566" y="connsiteY17566"/>
                </a:cxn>
                <a:cxn ang="0">
                  <a:pos x="connsiteX17567" y="connsiteY17567"/>
                </a:cxn>
                <a:cxn ang="0">
                  <a:pos x="connsiteX17568" y="connsiteY17568"/>
                </a:cxn>
                <a:cxn ang="0">
                  <a:pos x="connsiteX17569" y="connsiteY17569"/>
                </a:cxn>
                <a:cxn ang="0">
                  <a:pos x="connsiteX17570" y="connsiteY17570"/>
                </a:cxn>
                <a:cxn ang="0">
                  <a:pos x="connsiteX17571" y="connsiteY17571"/>
                </a:cxn>
                <a:cxn ang="0">
                  <a:pos x="connsiteX17572" y="connsiteY17572"/>
                </a:cxn>
                <a:cxn ang="0">
                  <a:pos x="connsiteX17573" y="connsiteY17573"/>
                </a:cxn>
                <a:cxn ang="0">
                  <a:pos x="connsiteX17574" y="connsiteY17574"/>
                </a:cxn>
                <a:cxn ang="0">
                  <a:pos x="connsiteX17575" y="connsiteY17575"/>
                </a:cxn>
                <a:cxn ang="0">
                  <a:pos x="connsiteX17576" y="connsiteY17576"/>
                </a:cxn>
                <a:cxn ang="0">
                  <a:pos x="connsiteX17577" y="connsiteY17577"/>
                </a:cxn>
                <a:cxn ang="0">
                  <a:pos x="connsiteX17578" y="connsiteY17578"/>
                </a:cxn>
                <a:cxn ang="0">
                  <a:pos x="connsiteX17579" y="connsiteY17579"/>
                </a:cxn>
                <a:cxn ang="0">
                  <a:pos x="connsiteX17580" y="connsiteY17580"/>
                </a:cxn>
                <a:cxn ang="0">
                  <a:pos x="connsiteX17581" y="connsiteY17581"/>
                </a:cxn>
                <a:cxn ang="0">
                  <a:pos x="connsiteX17582" y="connsiteY17582"/>
                </a:cxn>
                <a:cxn ang="0">
                  <a:pos x="connsiteX17583" y="connsiteY17583"/>
                </a:cxn>
                <a:cxn ang="0">
                  <a:pos x="connsiteX17584" y="connsiteY17584"/>
                </a:cxn>
                <a:cxn ang="0">
                  <a:pos x="connsiteX17585" y="connsiteY17585"/>
                </a:cxn>
                <a:cxn ang="0">
                  <a:pos x="connsiteX17586" y="connsiteY17586"/>
                </a:cxn>
                <a:cxn ang="0">
                  <a:pos x="connsiteX17587" y="connsiteY17587"/>
                </a:cxn>
                <a:cxn ang="0">
                  <a:pos x="connsiteX17588" y="connsiteY17588"/>
                </a:cxn>
                <a:cxn ang="0">
                  <a:pos x="connsiteX17589" y="connsiteY17589"/>
                </a:cxn>
                <a:cxn ang="0">
                  <a:pos x="connsiteX17590" y="connsiteY17590"/>
                </a:cxn>
                <a:cxn ang="0">
                  <a:pos x="connsiteX17591" y="connsiteY17591"/>
                </a:cxn>
                <a:cxn ang="0">
                  <a:pos x="connsiteX17592" y="connsiteY17592"/>
                </a:cxn>
                <a:cxn ang="0">
                  <a:pos x="connsiteX17593" y="connsiteY17593"/>
                </a:cxn>
                <a:cxn ang="0">
                  <a:pos x="connsiteX17594" y="connsiteY17594"/>
                </a:cxn>
                <a:cxn ang="0">
                  <a:pos x="connsiteX17595" y="connsiteY17595"/>
                </a:cxn>
                <a:cxn ang="0">
                  <a:pos x="connsiteX17596" y="connsiteY17596"/>
                </a:cxn>
                <a:cxn ang="0">
                  <a:pos x="connsiteX17597" y="connsiteY17597"/>
                </a:cxn>
                <a:cxn ang="0">
                  <a:pos x="connsiteX17598" y="connsiteY17598"/>
                </a:cxn>
                <a:cxn ang="0">
                  <a:pos x="connsiteX17599" y="connsiteY17599"/>
                </a:cxn>
                <a:cxn ang="0">
                  <a:pos x="connsiteX17600" y="connsiteY17600"/>
                </a:cxn>
                <a:cxn ang="0">
                  <a:pos x="connsiteX17601" y="connsiteY17601"/>
                </a:cxn>
                <a:cxn ang="0">
                  <a:pos x="connsiteX17602" y="connsiteY17602"/>
                </a:cxn>
                <a:cxn ang="0">
                  <a:pos x="connsiteX17603" y="connsiteY17603"/>
                </a:cxn>
                <a:cxn ang="0">
                  <a:pos x="connsiteX17604" y="connsiteY17604"/>
                </a:cxn>
                <a:cxn ang="0">
                  <a:pos x="connsiteX17605" y="connsiteY17605"/>
                </a:cxn>
                <a:cxn ang="0">
                  <a:pos x="connsiteX17606" y="connsiteY17606"/>
                </a:cxn>
                <a:cxn ang="0">
                  <a:pos x="connsiteX17607" y="connsiteY17607"/>
                </a:cxn>
                <a:cxn ang="0">
                  <a:pos x="connsiteX17608" y="connsiteY17608"/>
                </a:cxn>
                <a:cxn ang="0">
                  <a:pos x="connsiteX17609" y="connsiteY17609"/>
                </a:cxn>
                <a:cxn ang="0">
                  <a:pos x="connsiteX17610" y="connsiteY17610"/>
                </a:cxn>
                <a:cxn ang="0">
                  <a:pos x="connsiteX17611" y="connsiteY17611"/>
                </a:cxn>
                <a:cxn ang="0">
                  <a:pos x="connsiteX17612" y="connsiteY17612"/>
                </a:cxn>
                <a:cxn ang="0">
                  <a:pos x="connsiteX17613" y="connsiteY17613"/>
                </a:cxn>
                <a:cxn ang="0">
                  <a:pos x="connsiteX17614" y="connsiteY17614"/>
                </a:cxn>
                <a:cxn ang="0">
                  <a:pos x="connsiteX17615" y="connsiteY17615"/>
                </a:cxn>
                <a:cxn ang="0">
                  <a:pos x="connsiteX17616" y="connsiteY17616"/>
                </a:cxn>
                <a:cxn ang="0">
                  <a:pos x="connsiteX17617" y="connsiteY17617"/>
                </a:cxn>
                <a:cxn ang="0">
                  <a:pos x="connsiteX17618" y="connsiteY17618"/>
                </a:cxn>
                <a:cxn ang="0">
                  <a:pos x="connsiteX17619" y="connsiteY17619"/>
                </a:cxn>
                <a:cxn ang="0">
                  <a:pos x="connsiteX17620" y="connsiteY17620"/>
                </a:cxn>
                <a:cxn ang="0">
                  <a:pos x="connsiteX17621" y="connsiteY17621"/>
                </a:cxn>
                <a:cxn ang="0">
                  <a:pos x="connsiteX17622" y="connsiteY17622"/>
                </a:cxn>
                <a:cxn ang="0">
                  <a:pos x="connsiteX17623" y="connsiteY17623"/>
                </a:cxn>
                <a:cxn ang="0">
                  <a:pos x="connsiteX17624" y="connsiteY17624"/>
                </a:cxn>
                <a:cxn ang="0">
                  <a:pos x="connsiteX17625" y="connsiteY17625"/>
                </a:cxn>
                <a:cxn ang="0">
                  <a:pos x="connsiteX17626" y="connsiteY17626"/>
                </a:cxn>
                <a:cxn ang="0">
                  <a:pos x="connsiteX17627" y="connsiteY17627"/>
                </a:cxn>
                <a:cxn ang="0">
                  <a:pos x="connsiteX17628" y="connsiteY17628"/>
                </a:cxn>
                <a:cxn ang="0">
                  <a:pos x="connsiteX17629" y="connsiteY17629"/>
                </a:cxn>
                <a:cxn ang="0">
                  <a:pos x="connsiteX17630" y="connsiteY17630"/>
                </a:cxn>
                <a:cxn ang="0">
                  <a:pos x="connsiteX17631" y="connsiteY17631"/>
                </a:cxn>
                <a:cxn ang="0">
                  <a:pos x="connsiteX17632" y="connsiteY17632"/>
                </a:cxn>
                <a:cxn ang="0">
                  <a:pos x="connsiteX17633" y="connsiteY17633"/>
                </a:cxn>
                <a:cxn ang="0">
                  <a:pos x="connsiteX17634" y="connsiteY17634"/>
                </a:cxn>
                <a:cxn ang="0">
                  <a:pos x="connsiteX17635" y="connsiteY17635"/>
                </a:cxn>
                <a:cxn ang="0">
                  <a:pos x="connsiteX17636" y="connsiteY17636"/>
                </a:cxn>
                <a:cxn ang="0">
                  <a:pos x="connsiteX17637" y="connsiteY17637"/>
                </a:cxn>
                <a:cxn ang="0">
                  <a:pos x="connsiteX17638" y="connsiteY17638"/>
                </a:cxn>
                <a:cxn ang="0">
                  <a:pos x="connsiteX17639" y="connsiteY17639"/>
                </a:cxn>
                <a:cxn ang="0">
                  <a:pos x="connsiteX17640" y="connsiteY17640"/>
                </a:cxn>
                <a:cxn ang="0">
                  <a:pos x="connsiteX17641" y="connsiteY17641"/>
                </a:cxn>
                <a:cxn ang="0">
                  <a:pos x="connsiteX17642" y="connsiteY17642"/>
                </a:cxn>
                <a:cxn ang="0">
                  <a:pos x="connsiteX17643" y="connsiteY17643"/>
                </a:cxn>
                <a:cxn ang="0">
                  <a:pos x="connsiteX17644" y="connsiteY17644"/>
                </a:cxn>
                <a:cxn ang="0">
                  <a:pos x="connsiteX17645" y="connsiteY17645"/>
                </a:cxn>
                <a:cxn ang="0">
                  <a:pos x="connsiteX17646" y="connsiteY17646"/>
                </a:cxn>
                <a:cxn ang="0">
                  <a:pos x="connsiteX17647" y="connsiteY17647"/>
                </a:cxn>
                <a:cxn ang="0">
                  <a:pos x="connsiteX17648" y="connsiteY17648"/>
                </a:cxn>
                <a:cxn ang="0">
                  <a:pos x="connsiteX17649" y="connsiteY17649"/>
                </a:cxn>
                <a:cxn ang="0">
                  <a:pos x="connsiteX17650" y="connsiteY17650"/>
                </a:cxn>
                <a:cxn ang="0">
                  <a:pos x="connsiteX17651" y="connsiteY17651"/>
                </a:cxn>
                <a:cxn ang="0">
                  <a:pos x="connsiteX17652" y="connsiteY17652"/>
                </a:cxn>
                <a:cxn ang="0">
                  <a:pos x="connsiteX17653" y="connsiteY17653"/>
                </a:cxn>
                <a:cxn ang="0">
                  <a:pos x="connsiteX17654" y="connsiteY17654"/>
                </a:cxn>
                <a:cxn ang="0">
                  <a:pos x="connsiteX17655" y="connsiteY17655"/>
                </a:cxn>
                <a:cxn ang="0">
                  <a:pos x="connsiteX17656" y="connsiteY17656"/>
                </a:cxn>
                <a:cxn ang="0">
                  <a:pos x="connsiteX17657" y="connsiteY17657"/>
                </a:cxn>
                <a:cxn ang="0">
                  <a:pos x="connsiteX17658" y="connsiteY17658"/>
                </a:cxn>
                <a:cxn ang="0">
                  <a:pos x="connsiteX17659" y="connsiteY17659"/>
                </a:cxn>
                <a:cxn ang="0">
                  <a:pos x="connsiteX17660" y="connsiteY17660"/>
                </a:cxn>
                <a:cxn ang="0">
                  <a:pos x="connsiteX17661" y="connsiteY17661"/>
                </a:cxn>
                <a:cxn ang="0">
                  <a:pos x="connsiteX17662" y="connsiteY17662"/>
                </a:cxn>
                <a:cxn ang="0">
                  <a:pos x="connsiteX17663" y="connsiteY17663"/>
                </a:cxn>
                <a:cxn ang="0">
                  <a:pos x="connsiteX17664" y="connsiteY17664"/>
                </a:cxn>
                <a:cxn ang="0">
                  <a:pos x="connsiteX17665" y="connsiteY17665"/>
                </a:cxn>
                <a:cxn ang="0">
                  <a:pos x="connsiteX17666" y="connsiteY17666"/>
                </a:cxn>
                <a:cxn ang="0">
                  <a:pos x="connsiteX17667" y="connsiteY17667"/>
                </a:cxn>
                <a:cxn ang="0">
                  <a:pos x="connsiteX17668" y="connsiteY17668"/>
                </a:cxn>
                <a:cxn ang="0">
                  <a:pos x="connsiteX17669" y="connsiteY17669"/>
                </a:cxn>
                <a:cxn ang="0">
                  <a:pos x="connsiteX17670" y="connsiteY17670"/>
                </a:cxn>
                <a:cxn ang="0">
                  <a:pos x="connsiteX17671" y="connsiteY17671"/>
                </a:cxn>
                <a:cxn ang="0">
                  <a:pos x="connsiteX17672" y="connsiteY17672"/>
                </a:cxn>
                <a:cxn ang="0">
                  <a:pos x="connsiteX17673" y="connsiteY17673"/>
                </a:cxn>
                <a:cxn ang="0">
                  <a:pos x="connsiteX17674" y="connsiteY17674"/>
                </a:cxn>
                <a:cxn ang="0">
                  <a:pos x="connsiteX17675" y="connsiteY17675"/>
                </a:cxn>
                <a:cxn ang="0">
                  <a:pos x="connsiteX17676" y="connsiteY17676"/>
                </a:cxn>
                <a:cxn ang="0">
                  <a:pos x="connsiteX17677" y="connsiteY17677"/>
                </a:cxn>
                <a:cxn ang="0">
                  <a:pos x="connsiteX17678" y="connsiteY17678"/>
                </a:cxn>
                <a:cxn ang="0">
                  <a:pos x="connsiteX17679" y="connsiteY17679"/>
                </a:cxn>
                <a:cxn ang="0">
                  <a:pos x="connsiteX17680" y="connsiteY17680"/>
                </a:cxn>
                <a:cxn ang="0">
                  <a:pos x="connsiteX17681" y="connsiteY17681"/>
                </a:cxn>
                <a:cxn ang="0">
                  <a:pos x="connsiteX17682" y="connsiteY17682"/>
                </a:cxn>
                <a:cxn ang="0">
                  <a:pos x="connsiteX17683" y="connsiteY17683"/>
                </a:cxn>
                <a:cxn ang="0">
                  <a:pos x="connsiteX17684" y="connsiteY17684"/>
                </a:cxn>
                <a:cxn ang="0">
                  <a:pos x="connsiteX17685" y="connsiteY17685"/>
                </a:cxn>
                <a:cxn ang="0">
                  <a:pos x="connsiteX17686" y="connsiteY17686"/>
                </a:cxn>
                <a:cxn ang="0">
                  <a:pos x="connsiteX17687" y="connsiteY17687"/>
                </a:cxn>
                <a:cxn ang="0">
                  <a:pos x="connsiteX17688" y="connsiteY17688"/>
                </a:cxn>
                <a:cxn ang="0">
                  <a:pos x="connsiteX17689" y="connsiteY17689"/>
                </a:cxn>
                <a:cxn ang="0">
                  <a:pos x="connsiteX17690" y="connsiteY17690"/>
                </a:cxn>
                <a:cxn ang="0">
                  <a:pos x="connsiteX17691" y="connsiteY17691"/>
                </a:cxn>
                <a:cxn ang="0">
                  <a:pos x="connsiteX17692" y="connsiteY17692"/>
                </a:cxn>
                <a:cxn ang="0">
                  <a:pos x="connsiteX17693" y="connsiteY17693"/>
                </a:cxn>
                <a:cxn ang="0">
                  <a:pos x="connsiteX17694" y="connsiteY17694"/>
                </a:cxn>
                <a:cxn ang="0">
                  <a:pos x="connsiteX17695" y="connsiteY17695"/>
                </a:cxn>
                <a:cxn ang="0">
                  <a:pos x="connsiteX17696" y="connsiteY17696"/>
                </a:cxn>
                <a:cxn ang="0">
                  <a:pos x="connsiteX17697" y="connsiteY17697"/>
                </a:cxn>
                <a:cxn ang="0">
                  <a:pos x="connsiteX17698" y="connsiteY17698"/>
                </a:cxn>
                <a:cxn ang="0">
                  <a:pos x="connsiteX17699" y="connsiteY17699"/>
                </a:cxn>
                <a:cxn ang="0">
                  <a:pos x="connsiteX17700" y="connsiteY17700"/>
                </a:cxn>
                <a:cxn ang="0">
                  <a:pos x="connsiteX17701" y="connsiteY17701"/>
                </a:cxn>
                <a:cxn ang="0">
                  <a:pos x="connsiteX17702" y="connsiteY17702"/>
                </a:cxn>
                <a:cxn ang="0">
                  <a:pos x="connsiteX17703" y="connsiteY17703"/>
                </a:cxn>
                <a:cxn ang="0">
                  <a:pos x="connsiteX17704" y="connsiteY17704"/>
                </a:cxn>
                <a:cxn ang="0">
                  <a:pos x="connsiteX17705" y="connsiteY17705"/>
                </a:cxn>
                <a:cxn ang="0">
                  <a:pos x="connsiteX17706" y="connsiteY17706"/>
                </a:cxn>
                <a:cxn ang="0">
                  <a:pos x="connsiteX17707" y="connsiteY17707"/>
                </a:cxn>
                <a:cxn ang="0">
                  <a:pos x="connsiteX17708" y="connsiteY17708"/>
                </a:cxn>
                <a:cxn ang="0">
                  <a:pos x="connsiteX17709" y="connsiteY17709"/>
                </a:cxn>
                <a:cxn ang="0">
                  <a:pos x="connsiteX17710" y="connsiteY17710"/>
                </a:cxn>
                <a:cxn ang="0">
                  <a:pos x="connsiteX17711" y="connsiteY17711"/>
                </a:cxn>
                <a:cxn ang="0">
                  <a:pos x="connsiteX17712" y="connsiteY17712"/>
                </a:cxn>
                <a:cxn ang="0">
                  <a:pos x="connsiteX17713" y="connsiteY17713"/>
                </a:cxn>
                <a:cxn ang="0">
                  <a:pos x="connsiteX17714" y="connsiteY17714"/>
                </a:cxn>
                <a:cxn ang="0">
                  <a:pos x="connsiteX17715" y="connsiteY17715"/>
                </a:cxn>
                <a:cxn ang="0">
                  <a:pos x="connsiteX17716" y="connsiteY17716"/>
                </a:cxn>
                <a:cxn ang="0">
                  <a:pos x="connsiteX17717" y="connsiteY17717"/>
                </a:cxn>
                <a:cxn ang="0">
                  <a:pos x="connsiteX17718" y="connsiteY17718"/>
                </a:cxn>
                <a:cxn ang="0">
                  <a:pos x="connsiteX17719" y="connsiteY17719"/>
                </a:cxn>
                <a:cxn ang="0">
                  <a:pos x="connsiteX17720" y="connsiteY17720"/>
                </a:cxn>
                <a:cxn ang="0">
                  <a:pos x="connsiteX17721" y="connsiteY17721"/>
                </a:cxn>
                <a:cxn ang="0">
                  <a:pos x="connsiteX17722" y="connsiteY17722"/>
                </a:cxn>
                <a:cxn ang="0">
                  <a:pos x="connsiteX17723" y="connsiteY17723"/>
                </a:cxn>
                <a:cxn ang="0">
                  <a:pos x="connsiteX17724" y="connsiteY17724"/>
                </a:cxn>
                <a:cxn ang="0">
                  <a:pos x="connsiteX17725" y="connsiteY17725"/>
                </a:cxn>
                <a:cxn ang="0">
                  <a:pos x="connsiteX17726" y="connsiteY17726"/>
                </a:cxn>
                <a:cxn ang="0">
                  <a:pos x="connsiteX17727" y="connsiteY17727"/>
                </a:cxn>
                <a:cxn ang="0">
                  <a:pos x="connsiteX17728" y="connsiteY17728"/>
                </a:cxn>
                <a:cxn ang="0">
                  <a:pos x="connsiteX17729" y="connsiteY17729"/>
                </a:cxn>
                <a:cxn ang="0">
                  <a:pos x="connsiteX17730" y="connsiteY17730"/>
                </a:cxn>
                <a:cxn ang="0">
                  <a:pos x="connsiteX17731" y="connsiteY17731"/>
                </a:cxn>
                <a:cxn ang="0">
                  <a:pos x="connsiteX17732" y="connsiteY17732"/>
                </a:cxn>
                <a:cxn ang="0">
                  <a:pos x="connsiteX17733" y="connsiteY17733"/>
                </a:cxn>
                <a:cxn ang="0">
                  <a:pos x="connsiteX17734" y="connsiteY17734"/>
                </a:cxn>
                <a:cxn ang="0">
                  <a:pos x="connsiteX17735" y="connsiteY17735"/>
                </a:cxn>
                <a:cxn ang="0">
                  <a:pos x="connsiteX17736" y="connsiteY17736"/>
                </a:cxn>
                <a:cxn ang="0">
                  <a:pos x="connsiteX17737" y="connsiteY17737"/>
                </a:cxn>
                <a:cxn ang="0">
                  <a:pos x="connsiteX17738" y="connsiteY17738"/>
                </a:cxn>
                <a:cxn ang="0">
                  <a:pos x="connsiteX17739" y="connsiteY17739"/>
                </a:cxn>
                <a:cxn ang="0">
                  <a:pos x="connsiteX17740" y="connsiteY17740"/>
                </a:cxn>
                <a:cxn ang="0">
                  <a:pos x="connsiteX17741" y="connsiteY17741"/>
                </a:cxn>
                <a:cxn ang="0">
                  <a:pos x="connsiteX17742" y="connsiteY17742"/>
                </a:cxn>
                <a:cxn ang="0">
                  <a:pos x="connsiteX17743" y="connsiteY17743"/>
                </a:cxn>
                <a:cxn ang="0">
                  <a:pos x="connsiteX17744" y="connsiteY17744"/>
                </a:cxn>
                <a:cxn ang="0">
                  <a:pos x="connsiteX17745" y="connsiteY17745"/>
                </a:cxn>
                <a:cxn ang="0">
                  <a:pos x="connsiteX17746" y="connsiteY17746"/>
                </a:cxn>
                <a:cxn ang="0">
                  <a:pos x="connsiteX17747" y="connsiteY17747"/>
                </a:cxn>
                <a:cxn ang="0">
                  <a:pos x="connsiteX17748" y="connsiteY17748"/>
                </a:cxn>
                <a:cxn ang="0">
                  <a:pos x="connsiteX17749" y="connsiteY17749"/>
                </a:cxn>
                <a:cxn ang="0">
                  <a:pos x="connsiteX17750" y="connsiteY17750"/>
                </a:cxn>
                <a:cxn ang="0">
                  <a:pos x="connsiteX17751" y="connsiteY17751"/>
                </a:cxn>
                <a:cxn ang="0">
                  <a:pos x="connsiteX17752" y="connsiteY17752"/>
                </a:cxn>
                <a:cxn ang="0">
                  <a:pos x="connsiteX17753" y="connsiteY17753"/>
                </a:cxn>
                <a:cxn ang="0">
                  <a:pos x="connsiteX17754" y="connsiteY17754"/>
                </a:cxn>
                <a:cxn ang="0">
                  <a:pos x="connsiteX17755" y="connsiteY17755"/>
                </a:cxn>
                <a:cxn ang="0">
                  <a:pos x="connsiteX17756" y="connsiteY17756"/>
                </a:cxn>
                <a:cxn ang="0">
                  <a:pos x="connsiteX17757" y="connsiteY17757"/>
                </a:cxn>
                <a:cxn ang="0">
                  <a:pos x="connsiteX17758" y="connsiteY17758"/>
                </a:cxn>
                <a:cxn ang="0">
                  <a:pos x="connsiteX17759" y="connsiteY17759"/>
                </a:cxn>
                <a:cxn ang="0">
                  <a:pos x="connsiteX17760" y="connsiteY17760"/>
                </a:cxn>
                <a:cxn ang="0">
                  <a:pos x="connsiteX17761" y="connsiteY17761"/>
                </a:cxn>
                <a:cxn ang="0">
                  <a:pos x="connsiteX17762" y="connsiteY17762"/>
                </a:cxn>
                <a:cxn ang="0">
                  <a:pos x="connsiteX17763" y="connsiteY17763"/>
                </a:cxn>
                <a:cxn ang="0">
                  <a:pos x="connsiteX17764" y="connsiteY17764"/>
                </a:cxn>
                <a:cxn ang="0">
                  <a:pos x="connsiteX17765" y="connsiteY17765"/>
                </a:cxn>
                <a:cxn ang="0">
                  <a:pos x="connsiteX17766" y="connsiteY17766"/>
                </a:cxn>
                <a:cxn ang="0">
                  <a:pos x="connsiteX17767" y="connsiteY17767"/>
                </a:cxn>
                <a:cxn ang="0">
                  <a:pos x="connsiteX17768" y="connsiteY17768"/>
                </a:cxn>
                <a:cxn ang="0">
                  <a:pos x="connsiteX17769" y="connsiteY17769"/>
                </a:cxn>
                <a:cxn ang="0">
                  <a:pos x="connsiteX17770" y="connsiteY17770"/>
                </a:cxn>
                <a:cxn ang="0">
                  <a:pos x="connsiteX17771" y="connsiteY17771"/>
                </a:cxn>
                <a:cxn ang="0">
                  <a:pos x="connsiteX17772" y="connsiteY17772"/>
                </a:cxn>
                <a:cxn ang="0">
                  <a:pos x="connsiteX17773" y="connsiteY17773"/>
                </a:cxn>
                <a:cxn ang="0">
                  <a:pos x="connsiteX17774" y="connsiteY17774"/>
                </a:cxn>
                <a:cxn ang="0">
                  <a:pos x="connsiteX17775" y="connsiteY17775"/>
                </a:cxn>
                <a:cxn ang="0">
                  <a:pos x="connsiteX17776" y="connsiteY17776"/>
                </a:cxn>
                <a:cxn ang="0">
                  <a:pos x="connsiteX17777" y="connsiteY17777"/>
                </a:cxn>
                <a:cxn ang="0">
                  <a:pos x="connsiteX17778" y="connsiteY17778"/>
                </a:cxn>
                <a:cxn ang="0">
                  <a:pos x="connsiteX17779" y="connsiteY17779"/>
                </a:cxn>
                <a:cxn ang="0">
                  <a:pos x="connsiteX17780" y="connsiteY17780"/>
                </a:cxn>
                <a:cxn ang="0">
                  <a:pos x="connsiteX17781" y="connsiteY17781"/>
                </a:cxn>
                <a:cxn ang="0">
                  <a:pos x="connsiteX17782" y="connsiteY17782"/>
                </a:cxn>
                <a:cxn ang="0">
                  <a:pos x="connsiteX17783" y="connsiteY17783"/>
                </a:cxn>
                <a:cxn ang="0">
                  <a:pos x="connsiteX17784" y="connsiteY17784"/>
                </a:cxn>
                <a:cxn ang="0">
                  <a:pos x="connsiteX17785" y="connsiteY17785"/>
                </a:cxn>
                <a:cxn ang="0">
                  <a:pos x="connsiteX17786" y="connsiteY17786"/>
                </a:cxn>
                <a:cxn ang="0">
                  <a:pos x="connsiteX17787" y="connsiteY17787"/>
                </a:cxn>
                <a:cxn ang="0">
                  <a:pos x="connsiteX17788" y="connsiteY17788"/>
                </a:cxn>
                <a:cxn ang="0">
                  <a:pos x="connsiteX17789" y="connsiteY17789"/>
                </a:cxn>
                <a:cxn ang="0">
                  <a:pos x="connsiteX17790" y="connsiteY17790"/>
                </a:cxn>
                <a:cxn ang="0">
                  <a:pos x="connsiteX17791" y="connsiteY17791"/>
                </a:cxn>
                <a:cxn ang="0">
                  <a:pos x="connsiteX17792" y="connsiteY17792"/>
                </a:cxn>
                <a:cxn ang="0">
                  <a:pos x="connsiteX17793" y="connsiteY17793"/>
                </a:cxn>
                <a:cxn ang="0">
                  <a:pos x="connsiteX17794" y="connsiteY17794"/>
                </a:cxn>
                <a:cxn ang="0">
                  <a:pos x="connsiteX17795" y="connsiteY17795"/>
                </a:cxn>
                <a:cxn ang="0">
                  <a:pos x="connsiteX17796" y="connsiteY17796"/>
                </a:cxn>
                <a:cxn ang="0">
                  <a:pos x="connsiteX17797" y="connsiteY17797"/>
                </a:cxn>
                <a:cxn ang="0">
                  <a:pos x="connsiteX17798" y="connsiteY17798"/>
                </a:cxn>
                <a:cxn ang="0">
                  <a:pos x="connsiteX17799" y="connsiteY17799"/>
                </a:cxn>
                <a:cxn ang="0">
                  <a:pos x="connsiteX17800" y="connsiteY17800"/>
                </a:cxn>
                <a:cxn ang="0">
                  <a:pos x="connsiteX17801" y="connsiteY17801"/>
                </a:cxn>
                <a:cxn ang="0">
                  <a:pos x="connsiteX17802" y="connsiteY17802"/>
                </a:cxn>
                <a:cxn ang="0">
                  <a:pos x="connsiteX17803" y="connsiteY17803"/>
                </a:cxn>
                <a:cxn ang="0">
                  <a:pos x="connsiteX17804" y="connsiteY17804"/>
                </a:cxn>
                <a:cxn ang="0">
                  <a:pos x="connsiteX17805" y="connsiteY17805"/>
                </a:cxn>
                <a:cxn ang="0">
                  <a:pos x="connsiteX17806" y="connsiteY17806"/>
                </a:cxn>
                <a:cxn ang="0">
                  <a:pos x="connsiteX17807" y="connsiteY17807"/>
                </a:cxn>
                <a:cxn ang="0">
                  <a:pos x="connsiteX17808" y="connsiteY17808"/>
                </a:cxn>
                <a:cxn ang="0">
                  <a:pos x="connsiteX17809" y="connsiteY17809"/>
                </a:cxn>
                <a:cxn ang="0">
                  <a:pos x="connsiteX17810" y="connsiteY17810"/>
                </a:cxn>
                <a:cxn ang="0">
                  <a:pos x="connsiteX17811" y="connsiteY17811"/>
                </a:cxn>
                <a:cxn ang="0">
                  <a:pos x="connsiteX17812" y="connsiteY17812"/>
                </a:cxn>
                <a:cxn ang="0">
                  <a:pos x="connsiteX17813" y="connsiteY17813"/>
                </a:cxn>
                <a:cxn ang="0">
                  <a:pos x="connsiteX17814" y="connsiteY17814"/>
                </a:cxn>
                <a:cxn ang="0">
                  <a:pos x="connsiteX17815" y="connsiteY17815"/>
                </a:cxn>
                <a:cxn ang="0">
                  <a:pos x="connsiteX17816" y="connsiteY17816"/>
                </a:cxn>
                <a:cxn ang="0">
                  <a:pos x="connsiteX17817" y="connsiteY17817"/>
                </a:cxn>
                <a:cxn ang="0">
                  <a:pos x="connsiteX17818" y="connsiteY17818"/>
                </a:cxn>
                <a:cxn ang="0">
                  <a:pos x="connsiteX17819" y="connsiteY17819"/>
                </a:cxn>
                <a:cxn ang="0">
                  <a:pos x="connsiteX17820" y="connsiteY17820"/>
                </a:cxn>
                <a:cxn ang="0">
                  <a:pos x="connsiteX17821" y="connsiteY17821"/>
                </a:cxn>
                <a:cxn ang="0">
                  <a:pos x="connsiteX17822" y="connsiteY17822"/>
                </a:cxn>
                <a:cxn ang="0">
                  <a:pos x="connsiteX17823" y="connsiteY17823"/>
                </a:cxn>
                <a:cxn ang="0">
                  <a:pos x="connsiteX17824" y="connsiteY17824"/>
                </a:cxn>
                <a:cxn ang="0">
                  <a:pos x="connsiteX17825" y="connsiteY17825"/>
                </a:cxn>
                <a:cxn ang="0">
                  <a:pos x="connsiteX17826" y="connsiteY17826"/>
                </a:cxn>
                <a:cxn ang="0">
                  <a:pos x="connsiteX17827" y="connsiteY17827"/>
                </a:cxn>
                <a:cxn ang="0">
                  <a:pos x="connsiteX17828" y="connsiteY17828"/>
                </a:cxn>
                <a:cxn ang="0">
                  <a:pos x="connsiteX17829" y="connsiteY17829"/>
                </a:cxn>
                <a:cxn ang="0">
                  <a:pos x="connsiteX17830" y="connsiteY17830"/>
                </a:cxn>
                <a:cxn ang="0">
                  <a:pos x="connsiteX17831" y="connsiteY17831"/>
                </a:cxn>
                <a:cxn ang="0">
                  <a:pos x="connsiteX17832" y="connsiteY17832"/>
                </a:cxn>
                <a:cxn ang="0">
                  <a:pos x="connsiteX17833" y="connsiteY17833"/>
                </a:cxn>
                <a:cxn ang="0">
                  <a:pos x="connsiteX17834" y="connsiteY17834"/>
                </a:cxn>
                <a:cxn ang="0">
                  <a:pos x="connsiteX17835" y="connsiteY17835"/>
                </a:cxn>
                <a:cxn ang="0">
                  <a:pos x="connsiteX17836" y="connsiteY17836"/>
                </a:cxn>
                <a:cxn ang="0">
                  <a:pos x="connsiteX17837" y="connsiteY17837"/>
                </a:cxn>
                <a:cxn ang="0">
                  <a:pos x="connsiteX17838" y="connsiteY17838"/>
                </a:cxn>
                <a:cxn ang="0">
                  <a:pos x="connsiteX17839" y="connsiteY17839"/>
                </a:cxn>
                <a:cxn ang="0">
                  <a:pos x="connsiteX17840" y="connsiteY17840"/>
                </a:cxn>
                <a:cxn ang="0">
                  <a:pos x="connsiteX17841" y="connsiteY17841"/>
                </a:cxn>
                <a:cxn ang="0">
                  <a:pos x="connsiteX17842" y="connsiteY17842"/>
                </a:cxn>
                <a:cxn ang="0">
                  <a:pos x="connsiteX17843" y="connsiteY17843"/>
                </a:cxn>
                <a:cxn ang="0">
                  <a:pos x="connsiteX17844" y="connsiteY17844"/>
                </a:cxn>
                <a:cxn ang="0">
                  <a:pos x="connsiteX17845" y="connsiteY17845"/>
                </a:cxn>
                <a:cxn ang="0">
                  <a:pos x="connsiteX17846" y="connsiteY17846"/>
                </a:cxn>
                <a:cxn ang="0">
                  <a:pos x="connsiteX17847" y="connsiteY17847"/>
                </a:cxn>
                <a:cxn ang="0">
                  <a:pos x="connsiteX17848" y="connsiteY17848"/>
                </a:cxn>
                <a:cxn ang="0">
                  <a:pos x="connsiteX17849" y="connsiteY17849"/>
                </a:cxn>
                <a:cxn ang="0">
                  <a:pos x="connsiteX17850" y="connsiteY17850"/>
                </a:cxn>
                <a:cxn ang="0">
                  <a:pos x="connsiteX17851" y="connsiteY17851"/>
                </a:cxn>
                <a:cxn ang="0">
                  <a:pos x="connsiteX17852" y="connsiteY17852"/>
                </a:cxn>
                <a:cxn ang="0">
                  <a:pos x="connsiteX17853" y="connsiteY17853"/>
                </a:cxn>
                <a:cxn ang="0">
                  <a:pos x="connsiteX17854" y="connsiteY17854"/>
                </a:cxn>
                <a:cxn ang="0">
                  <a:pos x="connsiteX17855" y="connsiteY17855"/>
                </a:cxn>
                <a:cxn ang="0">
                  <a:pos x="connsiteX17856" y="connsiteY17856"/>
                </a:cxn>
                <a:cxn ang="0">
                  <a:pos x="connsiteX17857" y="connsiteY17857"/>
                </a:cxn>
                <a:cxn ang="0">
                  <a:pos x="connsiteX17858" y="connsiteY17858"/>
                </a:cxn>
                <a:cxn ang="0">
                  <a:pos x="connsiteX17859" y="connsiteY17859"/>
                </a:cxn>
                <a:cxn ang="0">
                  <a:pos x="connsiteX17860" y="connsiteY17860"/>
                </a:cxn>
                <a:cxn ang="0">
                  <a:pos x="connsiteX17861" y="connsiteY17861"/>
                </a:cxn>
                <a:cxn ang="0">
                  <a:pos x="connsiteX17862" y="connsiteY17862"/>
                </a:cxn>
                <a:cxn ang="0">
                  <a:pos x="connsiteX17863" y="connsiteY17863"/>
                </a:cxn>
                <a:cxn ang="0">
                  <a:pos x="connsiteX17864" y="connsiteY17864"/>
                </a:cxn>
                <a:cxn ang="0">
                  <a:pos x="connsiteX17865" y="connsiteY17865"/>
                </a:cxn>
                <a:cxn ang="0">
                  <a:pos x="connsiteX17866" y="connsiteY17866"/>
                </a:cxn>
                <a:cxn ang="0">
                  <a:pos x="connsiteX17867" y="connsiteY17867"/>
                </a:cxn>
                <a:cxn ang="0">
                  <a:pos x="connsiteX17868" y="connsiteY17868"/>
                </a:cxn>
                <a:cxn ang="0">
                  <a:pos x="connsiteX17869" y="connsiteY17869"/>
                </a:cxn>
                <a:cxn ang="0">
                  <a:pos x="connsiteX17870" y="connsiteY17870"/>
                </a:cxn>
                <a:cxn ang="0">
                  <a:pos x="connsiteX17871" y="connsiteY17871"/>
                </a:cxn>
                <a:cxn ang="0">
                  <a:pos x="connsiteX17872" y="connsiteY17872"/>
                </a:cxn>
                <a:cxn ang="0">
                  <a:pos x="connsiteX17873" y="connsiteY17873"/>
                </a:cxn>
                <a:cxn ang="0">
                  <a:pos x="connsiteX17874" y="connsiteY17874"/>
                </a:cxn>
                <a:cxn ang="0">
                  <a:pos x="connsiteX17875" y="connsiteY17875"/>
                </a:cxn>
                <a:cxn ang="0">
                  <a:pos x="connsiteX17876" y="connsiteY17876"/>
                </a:cxn>
                <a:cxn ang="0">
                  <a:pos x="connsiteX17877" y="connsiteY17877"/>
                </a:cxn>
                <a:cxn ang="0">
                  <a:pos x="connsiteX17878" y="connsiteY17878"/>
                </a:cxn>
                <a:cxn ang="0">
                  <a:pos x="connsiteX17879" y="connsiteY17879"/>
                </a:cxn>
                <a:cxn ang="0">
                  <a:pos x="connsiteX17880" y="connsiteY17880"/>
                </a:cxn>
                <a:cxn ang="0">
                  <a:pos x="connsiteX17881" y="connsiteY17881"/>
                </a:cxn>
                <a:cxn ang="0">
                  <a:pos x="connsiteX17882" y="connsiteY17882"/>
                </a:cxn>
                <a:cxn ang="0">
                  <a:pos x="connsiteX17883" y="connsiteY17883"/>
                </a:cxn>
                <a:cxn ang="0">
                  <a:pos x="connsiteX17884" y="connsiteY17884"/>
                </a:cxn>
                <a:cxn ang="0">
                  <a:pos x="connsiteX17885" y="connsiteY17885"/>
                </a:cxn>
                <a:cxn ang="0">
                  <a:pos x="connsiteX17886" y="connsiteY17886"/>
                </a:cxn>
                <a:cxn ang="0">
                  <a:pos x="connsiteX17887" y="connsiteY17887"/>
                </a:cxn>
                <a:cxn ang="0">
                  <a:pos x="connsiteX17888" y="connsiteY17888"/>
                </a:cxn>
                <a:cxn ang="0">
                  <a:pos x="connsiteX17889" y="connsiteY17889"/>
                </a:cxn>
                <a:cxn ang="0">
                  <a:pos x="connsiteX17890" y="connsiteY17890"/>
                </a:cxn>
                <a:cxn ang="0">
                  <a:pos x="connsiteX17891" y="connsiteY17891"/>
                </a:cxn>
                <a:cxn ang="0">
                  <a:pos x="connsiteX17892" y="connsiteY17892"/>
                </a:cxn>
                <a:cxn ang="0">
                  <a:pos x="connsiteX17893" y="connsiteY17893"/>
                </a:cxn>
                <a:cxn ang="0">
                  <a:pos x="connsiteX17894" y="connsiteY17894"/>
                </a:cxn>
                <a:cxn ang="0">
                  <a:pos x="connsiteX17895" y="connsiteY17895"/>
                </a:cxn>
                <a:cxn ang="0">
                  <a:pos x="connsiteX17896" y="connsiteY17896"/>
                </a:cxn>
                <a:cxn ang="0">
                  <a:pos x="connsiteX17897" y="connsiteY17897"/>
                </a:cxn>
                <a:cxn ang="0">
                  <a:pos x="connsiteX17898" y="connsiteY17898"/>
                </a:cxn>
                <a:cxn ang="0">
                  <a:pos x="connsiteX17899" y="connsiteY17899"/>
                </a:cxn>
                <a:cxn ang="0">
                  <a:pos x="connsiteX17900" y="connsiteY17900"/>
                </a:cxn>
                <a:cxn ang="0">
                  <a:pos x="connsiteX17901" y="connsiteY17901"/>
                </a:cxn>
                <a:cxn ang="0">
                  <a:pos x="connsiteX17902" y="connsiteY17902"/>
                </a:cxn>
                <a:cxn ang="0">
                  <a:pos x="connsiteX17903" y="connsiteY17903"/>
                </a:cxn>
                <a:cxn ang="0">
                  <a:pos x="connsiteX17904" y="connsiteY17904"/>
                </a:cxn>
                <a:cxn ang="0">
                  <a:pos x="connsiteX17905" y="connsiteY17905"/>
                </a:cxn>
                <a:cxn ang="0">
                  <a:pos x="connsiteX17906" y="connsiteY17906"/>
                </a:cxn>
                <a:cxn ang="0">
                  <a:pos x="connsiteX17907" y="connsiteY17907"/>
                </a:cxn>
                <a:cxn ang="0">
                  <a:pos x="connsiteX17908" y="connsiteY17908"/>
                </a:cxn>
                <a:cxn ang="0">
                  <a:pos x="connsiteX17909" y="connsiteY17909"/>
                </a:cxn>
                <a:cxn ang="0">
                  <a:pos x="connsiteX17910" y="connsiteY17910"/>
                </a:cxn>
                <a:cxn ang="0">
                  <a:pos x="connsiteX17911" y="connsiteY17911"/>
                </a:cxn>
                <a:cxn ang="0">
                  <a:pos x="connsiteX17912" y="connsiteY17912"/>
                </a:cxn>
                <a:cxn ang="0">
                  <a:pos x="connsiteX17913" y="connsiteY17913"/>
                </a:cxn>
                <a:cxn ang="0">
                  <a:pos x="connsiteX17914" y="connsiteY17914"/>
                </a:cxn>
                <a:cxn ang="0">
                  <a:pos x="connsiteX17915" y="connsiteY17915"/>
                </a:cxn>
                <a:cxn ang="0">
                  <a:pos x="connsiteX17916" y="connsiteY17916"/>
                </a:cxn>
                <a:cxn ang="0">
                  <a:pos x="connsiteX17917" y="connsiteY17917"/>
                </a:cxn>
                <a:cxn ang="0">
                  <a:pos x="connsiteX17918" y="connsiteY17918"/>
                </a:cxn>
                <a:cxn ang="0">
                  <a:pos x="connsiteX17919" y="connsiteY17919"/>
                </a:cxn>
                <a:cxn ang="0">
                  <a:pos x="connsiteX17920" y="connsiteY17920"/>
                </a:cxn>
                <a:cxn ang="0">
                  <a:pos x="connsiteX17921" y="connsiteY17921"/>
                </a:cxn>
                <a:cxn ang="0">
                  <a:pos x="connsiteX17922" y="connsiteY17922"/>
                </a:cxn>
                <a:cxn ang="0">
                  <a:pos x="connsiteX17923" y="connsiteY17923"/>
                </a:cxn>
                <a:cxn ang="0">
                  <a:pos x="connsiteX17924" y="connsiteY17924"/>
                </a:cxn>
                <a:cxn ang="0">
                  <a:pos x="connsiteX17925" y="connsiteY17925"/>
                </a:cxn>
                <a:cxn ang="0">
                  <a:pos x="connsiteX17926" y="connsiteY17926"/>
                </a:cxn>
                <a:cxn ang="0">
                  <a:pos x="connsiteX17927" y="connsiteY17927"/>
                </a:cxn>
                <a:cxn ang="0">
                  <a:pos x="connsiteX17928" y="connsiteY17928"/>
                </a:cxn>
                <a:cxn ang="0">
                  <a:pos x="connsiteX17929" y="connsiteY17929"/>
                </a:cxn>
                <a:cxn ang="0">
                  <a:pos x="connsiteX17930" y="connsiteY17930"/>
                </a:cxn>
                <a:cxn ang="0">
                  <a:pos x="connsiteX17931" y="connsiteY17931"/>
                </a:cxn>
                <a:cxn ang="0">
                  <a:pos x="connsiteX17932" y="connsiteY17932"/>
                </a:cxn>
                <a:cxn ang="0">
                  <a:pos x="connsiteX17933" y="connsiteY17933"/>
                </a:cxn>
                <a:cxn ang="0">
                  <a:pos x="connsiteX17934" y="connsiteY17934"/>
                </a:cxn>
                <a:cxn ang="0">
                  <a:pos x="connsiteX17935" y="connsiteY17935"/>
                </a:cxn>
                <a:cxn ang="0">
                  <a:pos x="connsiteX17936" y="connsiteY17936"/>
                </a:cxn>
                <a:cxn ang="0">
                  <a:pos x="connsiteX17937" y="connsiteY17937"/>
                </a:cxn>
                <a:cxn ang="0">
                  <a:pos x="connsiteX17938" y="connsiteY17938"/>
                </a:cxn>
                <a:cxn ang="0">
                  <a:pos x="connsiteX17939" y="connsiteY17939"/>
                </a:cxn>
                <a:cxn ang="0">
                  <a:pos x="connsiteX17940" y="connsiteY17940"/>
                </a:cxn>
                <a:cxn ang="0">
                  <a:pos x="connsiteX17941" y="connsiteY17941"/>
                </a:cxn>
                <a:cxn ang="0">
                  <a:pos x="connsiteX17942" y="connsiteY17942"/>
                </a:cxn>
                <a:cxn ang="0">
                  <a:pos x="connsiteX17943" y="connsiteY17943"/>
                </a:cxn>
                <a:cxn ang="0">
                  <a:pos x="connsiteX17944" y="connsiteY17944"/>
                </a:cxn>
                <a:cxn ang="0">
                  <a:pos x="connsiteX17945" y="connsiteY17945"/>
                </a:cxn>
                <a:cxn ang="0">
                  <a:pos x="connsiteX17946" y="connsiteY17946"/>
                </a:cxn>
                <a:cxn ang="0">
                  <a:pos x="connsiteX17947" y="connsiteY17947"/>
                </a:cxn>
                <a:cxn ang="0">
                  <a:pos x="connsiteX17948" y="connsiteY17948"/>
                </a:cxn>
                <a:cxn ang="0">
                  <a:pos x="connsiteX17949" y="connsiteY17949"/>
                </a:cxn>
                <a:cxn ang="0">
                  <a:pos x="connsiteX17950" y="connsiteY17950"/>
                </a:cxn>
                <a:cxn ang="0">
                  <a:pos x="connsiteX17951" y="connsiteY17951"/>
                </a:cxn>
                <a:cxn ang="0">
                  <a:pos x="connsiteX17952" y="connsiteY17952"/>
                </a:cxn>
                <a:cxn ang="0">
                  <a:pos x="connsiteX17953" y="connsiteY17953"/>
                </a:cxn>
                <a:cxn ang="0">
                  <a:pos x="connsiteX17954" y="connsiteY17954"/>
                </a:cxn>
                <a:cxn ang="0">
                  <a:pos x="connsiteX17955" y="connsiteY17955"/>
                </a:cxn>
                <a:cxn ang="0">
                  <a:pos x="connsiteX17956" y="connsiteY17956"/>
                </a:cxn>
                <a:cxn ang="0">
                  <a:pos x="connsiteX17957" y="connsiteY17957"/>
                </a:cxn>
                <a:cxn ang="0">
                  <a:pos x="connsiteX17958" y="connsiteY17958"/>
                </a:cxn>
                <a:cxn ang="0">
                  <a:pos x="connsiteX17959" y="connsiteY17959"/>
                </a:cxn>
                <a:cxn ang="0">
                  <a:pos x="connsiteX17960" y="connsiteY17960"/>
                </a:cxn>
                <a:cxn ang="0">
                  <a:pos x="connsiteX17961" y="connsiteY17961"/>
                </a:cxn>
                <a:cxn ang="0">
                  <a:pos x="connsiteX17962" y="connsiteY17962"/>
                </a:cxn>
                <a:cxn ang="0">
                  <a:pos x="connsiteX17963" y="connsiteY17963"/>
                </a:cxn>
                <a:cxn ang="0">
                  <a:pos x="connsiteX17964" y="connsiteY17964"/>
                </a:cxn>
                <a:cxn ang="0">
                  <a:pos x="connsiteX17965" y="connsiteY17965"/>
                </a:cxn>
                <a:cxn ang="0">
                  <a:pos x="connsiteX17966" y="connsiteY17966"/>
                </a:cxn>
                <a:cxn ang="0">
                  <a:pos x="connsiteX17967" y="connsiteY17967"/>
                </a:cxn>
                <a:cxn ang="0">
                  <a:pos x="connsiteX17968" y="connsiteY17968"/>
                </a:cxn>
                <a:cxn ang="0">
                  <a:pos x="connsiteX17969" y="connsiteY17969"/>
                </a:cxn>
                <a:cxn ang="0">
                  <a:pos x="connsiteX17970" y="connsiteY17970"/>
                </a:cxn>
                <a:cxn ang="0">
                  <a:pos x="connsiteX17971" y="connsiteY17971"/>
                </a:cxn>
                <a:cxn ang="0">
                  <a:pos x="connsiteX17972" y="connsiteY17972"/>
                </a:cxn>
                <a:cxn ang="0">
                  <a:pos x="connsiteX17973" y="connsiteY17973"/>
                </a:cxn>
                <a:cxn ang="0">
                  <a:pos x="connsiteX17974" y="connsiteY17974"/>
                </a:cxn>
                <a:cxn ang="0">
                  <a:pos x="connsiteX17975" y="connsiteY17975"/>
                </a:cxn>
                <a:cxn ang="0">
                  <a:pos x="connsiteX17976" y="connsiteY17976"/>
                </a:cxn>
                <a:cxn ang="0">
                  <a:pos x="connsiteX17977" y="connsiteY17977"/>
                </a:cxn>
                <a:cxn ang="0">
                  <a:pos x="connsiteX17978" y="connsiteY17978"/>
                </a:cxn>
                <a:cxn ang="0">
                  <a:pos x="connsiteX17979" y="connsiteY17979"/>
                </a:cxn>
                <a:cxn ang="0">
                  <a:pos x="connsiteX17980" y="connsiteY17980"/>
                </a:cxn>
                <a:cxn ang="0">
                  <a:pos x="connsiteX17981" y="connsiteY17981"/>
                </a:cxn>
                <a:cxn ang="0">
                  <a:pos x="connsiteX17982" y="connsiteY17982"/>
                </a:cxn>
                <a:cxn ang="0">
                  <a:pos x="connsiteX17983" y="connsiteY17983"/>
                </a:cxn>
                <a:cxn ang="0">
                  <a:pos x="connsiteX17984" y="connsiteY17984"/>
                </a:cxn>
                <a:cxn ang="0">
                  <a:pos x="connsiteX17985" y="connsiteY17985"/>
                </a:cxn>
                <a:cxn ang="0">
                  <a:pos x="connsiteX17986" y="connsiteY17986"/>
                </a:cxn>
                <a:cxn ang="0">
                  <a:pos x="connsiteX17987" y="connsiteY17987"/>
                </a:cxn>
                <a:cxn ang="0">
                  <a:pos x="connsiteX17988" y="connsiteY17988"/>
                </a:cxn>
                <a:cxn ang="0">
                  <a:pos x="connsiteX17989" y="connsiteY17989"/>
                </a:cxn>
                <a:cxn ang="0">
                  <a:pos x="connsiteX17990" y="connsiteY17990"/>
                </a:cxn>
                <a:cxn ang="0">
                  <a:pos x="connsiteX17991" y="connsiteY17991"/>
                </a:cxn>
                <a:cxn ang="0">
                  <a:pos x="connsiteX17992" y="connsiteY17992"/>
                </a:cxn>
                <a:cxn ang="0">
                  <a:pos x="connsiteX17993" y="connsiteY17993"/>
                </a:cxn>
                <a:cxn ang="0">
                  <a:pos x="connsiteX17994" y="connsiteY17994"/>
                </a:cxn>
                <a:cxn ang="0">
                  <a:pos x="connsiteX17995" y="connsiteY17995"/>
                </a:cxn>
                <a:cxn ang="0">
                  <a:pos x="connsiteX17996" y="connsiteY17996"/>
                </a:cxn>
                <a:cxn ang="0">
                  <a:pos x="connsiteX17997" y="connsiteY17997"/>
                </a:cxn>
                <a:cxn ang="0">
                  <a:pos x="connsiteX17998" y="connsiteY17998"/>
                </a:cxn>
                <a:cxn ang="0">
                  <a:pos x="connsiteX17999" y="connsiteY17999"/>
                </a:cxn>
                <a:cxn ang="0">
                  <a:pos x="connsiteX18000" y="connsiteY18000"/>
                </a:cxn>
                <a:cxn ang="0">
                  <a:pos x="connsiteX18001" y="connsiteY18001"/>
                </a:cxn>
                <a:cxn ang="0">
                  <a:pos x="connsiteX18002" y="connsiteY18002"/>
                </a:cxn>
                <a:cxn ang="0">
                  <a:pos x="connsiteX18003" y="connsiteY18003"/>
                </a:cxn>
                <a:cxn ang="0">
                  <a:pos x="connsiteX18004" y="connsiteY18004"/>
                </a:cxn>
                <a:cxn ang="0">
                  <a:pos x="connsiteX18005" y="connsiteY18005"/>
                </a:cxn>
                <a:cxn ang="0">
                  <a:pos x="connsiteX18006" y="connsiteY18006"/>
                </a:cxn>
                <a:cxn ang="0">
                  <a:pos x="connsiteX18007" y="connsiteY18007"/>
                </a:cxn>
                <a:cxn ang="0">
                  <a:pos x="connsiteX18008" y="connsiteY18008"/>
                </a:cxn>
                <a:cxn ang="0">
                  <a:pos x="connsiteX18009" y="connsiteY18009"/>
                </a:cxn>
                <a:cxn ang="0">
                  <a:pos x="connsiteX18010" y="connsiteY18010"/>
                </a:cxn>
                <a:cxn ang="0">
                  <a:pos x="connsiteX18011" y="connsiteY18011"/>
                </a:cxn>
                <a:cxn ang="0">
                  <a:pos x="connsiteX18012" y="connsiteY18012"/>
                </a:cxn>
                <a:cxn ang="0">
                  <a:pos x="connsiteX18013" y="connsiteY18013"/>
                </a:cxn>
                <a:cxn ang="0">
                  <a:pos x="connsiteX18014" y="connsiteY18014"/>
                </a:cxn>
                <a:cxn ang="0">
                  <a:pos x="connsiteX18015" y="connsiteY18015"/>
                </a:cxn>
                <a:cxn ang="0">
                  <a:pos x="connsiteX18016" y="connsiteY18016"/>
                </a:cxn>
                <a:cxn ang="0">
                  <a:pos x="connsiteX18017" y="connsiteY18017"/>
                </a:cxn>
                <a:cxn ang="0">
                  <a:pos x="connsiteX18018" y="connsiteY18018"/>
                </a:cxn>
                <a:cxn ang="0">
                  <a:pos x="connsiteX18019" y="connsiteY18019"/>
                </a:cxn>
                <a:cxn ang="0">
                  <a:pos x="connsiteX18020" y="connsiteY18020"/>
                </a:cxn>
                <a:cxn ang="0">
                  <a:pos x="connsiteX18021" y="connsiteY18021"/>
                </a:cxn>
                <a:cxn ang="0">
                  <a:pos x="connsiteX18022" y="connsiteY18022"/>
                </a:cxn>
                <a:cxn ang="0">
                  <a:pos x="connsiteX18023" y="connsiteY18023"/>
                </a:cxn>
                <a:cxn ang="0">
                  <a:pos x="connsiteX18024" y="connsiteY18024"/>
                </a:cxn>
                <a:cxn ang="0">
                  <a:pos x="connsiteX18025" y="connsiteY18025"/>
                </a:cxn>
                <a:cxn ang="0">
                  <a:pos x="connsiteX18026" y="connsiteY18026"/>
                </a:cxn>
                <a:cxn ang="0">
                  <a:pos x="connsiteX18027" y="connsiteY18027"/>
                </a:cxn>
                <a:cxn ang="0">
                  <a:pos x="connsiteX18028" y="connsiteY18028"/>
                </a:cxn>
                <a:cxn ang="0">
                  <a:pos x="connsiteX18029" y="connsiteY18029"/>
                </a:cxn>
                <a:cxn ang="0">
                  <a:pos x="connsiteX18030" y="connsiteY18030"/>
                </a:cxn>
                <a:cxn ang="0">
                  <a:pos x="connsiteX18031" y="connsiteY18031"/>
                </a:cxn>
                <a:cxn ang="0">
                  <a:pos x="connsiteX18032" y="connsiteY18032"/>
                </a:cxn>
                <a:cxn ang="0">
                  <a:pos x="connsiteX18033" y="connsiteY18033"/>
                </a:cxn>
                <a:cxn ang="0">
                  <a:pos x="connsiteX18034" y="connsiteY18034"/>
                </a:cxn>
                <a:cxn ang="0">
                  <a:pos x="connsiteX18035" y="connsiteY18035"/>
                </a:cxn>
                <a:cxn ang="0">
                  <a:pos x="connsiteX18036" y="connsiteY18036"/>
                </a:cxn>
                <a:cxn ang="0">
                  <a:pos x="connsiteX18037" y="connsiteY18037"/>
                </a:cxn>
                <a:cxn ang="0">
                  <a:pos x="connsiteX18038" y="connsiteY18038"/>
                </a:cxn>
                <a:cxn ang="0">
                  <a:pos x="connsiteX18039" y="connsiteY18039"/>
                </a:cxn>
                <a:cxn ang="0">
                  <a:pos x="connsiteX18040" y="connsiteY18040"/>
                </a:cxn>
                <a:cxn ang="0">
                  <a:pos x="connsiteX18041" y="connsiteY18041"/>
                </a:cxn>
                <a:cxn ang="0">
                  <a:pos x="connsiteX18042" y="connsiteY18042"/>
                </a:cxn>
                <a:cxn ang="0">
                  <a:pos x="connsiteX18043" y="connsiteY18043"/>
                </a:cxn>
                <a:cxn ang="0">
                  <a:pos x="connsiteX18044" y="connsiteY18044"/>
                </a:cxn>
                <a:cxn ang="0">
                  <a:pos x="connsiteX18045" y="connsiteY18045"/>
                </a:cxn>
                <a:cxn ang="0">
                  <a:pos x="connsiteX18046" y="connsiteY18046"/>
                </a:cxn>
                <a:cxn ang="0">
                  <a:pos x="connsiteX18047" y="connsiteY18047"/>
                </a:cxn>
                <a:cxn ang="0">
                  <a:pos x="connsiteX18048" y="connsiteY18048"/>
                </a:cxn>
                <a:cxn ang="0">
                  <a:pos x="connsiteX18049" y="connsiteY18049"/>
                </a:cxn>
                <a:cxn ang="0">
                  <a:pos x="connsiteX18050" y="connsiteY18050"/>
                </a:cxn>
                <a:cxn ang="0">
                  <a:pos x="connsiteX18051" y="connsiteY18051"/>
                </a:cxn>
                <a:cxn ang="0">
                  <a:pos x="connsiteX18052" y="connsiteY18052"/>
                </a:cxn>
                <a:cxn ang="0">
                  <a:pos x="connsiteX18053" y="connsiteY18053"/>
                </a:cxn>
                <a:cxn ang="0">
                  <a:pos x="connsiteX18054" y="connsiteY18054"/>
                </a:cxn>
                <a:cxn ang="0">
                  <a:pos x="connsiteX18055" y="connsiteY18055"/>
                </a:cxn>
                <a:cxn ang="0">
                  <a:pos x="connsiteX18056" y="connsiteY18056"/>
                </a:cxn>
                <a:cxn ang="0">
                  <a:pos x="connsiteX18057" y="connsiteY18057"/>
                </a:cxn>
                <a:cxn ang="0">
                  <a:pos x="connsiteX18058" y="connsiteY18058"/>
                </a:cxn>
                <a:cxn ang="0">
                  <a:pos x="connsiteX18059" y="connsiteY18059"/>
                </a:cxn>
                <a:cxn ang="0">
                  <a:pos x="connsiteX18060" y="connsiteY18060"/>
                </a:cxn>
                <a:cxn ang="0">
                  <a:pos x="connsiteX18061" y="connsiteY18061"/>
                </a:cxn>
                <a:cxn ang="0">
                  <a:pos x="connsiteX18062" y="connsiteY18062"/>
                </a:cxn>
                <a:cxn ang="0">
                  <a:pos x="connsiteX18063" y="connsiteY18063"/>
                </a:cxn>
                <a:cxn ang="0">
                  <a:pos x="connsiteX18064" y="connsiteY18064"/>
                </a:cxn>
                <a:cxn ang="0">
                  <a:pos x="connsiteX18065" y="connsiteY18065"/>
                </a:cxn>
                <a:cxn ang="0">
                  <a:pos x="connsiteX18066" y="connsiteY18066"/>
                </a:cxn>
                <a:cxn ang="0">
                  <a:pos x="connsiteX18067" y="connsiteY18067"/>
                </a:cxn>
                <a:cxn ang="0">
                  <a:pos x="connsiteX18068" y="connsiteY18068"/>
                </a:cxn>
                <a:cxn ang="0">
                  <a:pos x="connsiteX18069" y="connsiteY18069"/>
                </a:cxn>
                <a:cxn ang="0">
                  <a:pos x="connsiteX18070" y="connsiteY18070"/>
                </a:cxn>
                <a:cxn ang="0">
                  <a:pos x="connsiteX18071" y="connsiteY18071"/>
                </a:cxn>
                <a:cxn ang="0">
                  <a:pos x="connsiteX18072" y="connsiteY18072"/>
                </a:cxn>
                <a:cxn ang="0">
                  <a:pos x="connsiteX18073" y="connsiteY18073"/>
                </a:cxn>
                <a:cxn ang="0">
                  <a:pos x="connsiteX18074" y="connsiteY18074"/>
                </a:cxn>
                <a:cxn ang="0">
                  <a:pos x="connsiteX18075" y="connsiteY18075"/>
                </a:cxn>
                <a:cxn ang="0">
                  <a:pos x="connsiteX18076" y="connsiteY18076"/>
                </a:cxn>
                <a:cxn ang="0">
                  <a:pos x="connsiteX18077" y="connsiteY18077"/>
                </a:cxn>
                <a:cxn ang="0">
                  <a:pos x="connsiteX18078" y="connsiteY18078"/>
                </a:cxn>
                <a:cxn ang="0">
                  <a:pos x="connsiteX18079" y="connsiteY18079"/>
                </a:cxn>
                <a:cxn ang="0">
                  <a:pos x="connsiteX18080" y="connsiteY18080"/>
                </a:cxn>
                <a:cxn ang="0">
                  <a:pos x="connsiteX18081" y="connsiteY18081"/>
                </a:cxn>
                <a:cxn ang="0">
                  <a:pos x="connsiteX18082" y="connsiteY18082"/>
                </a:cxn>
                <a:cxn ang="0">
                  <a:pos x="connsiteX18083" y="connsiteY18083"/>
                </a:cxn>
                <a:cxn ang="0">
                  <a:pos x="connsiteX18084" y="connsiteY18084"/>
                </a:cxn>
                <a:cxn ang="0">
                  <a:pos x="connsiteX18085" y="connsiteY18085"/>
                </a:cxn>
                <a:cxn ang="0">
                  <a:pos x="connsiteX18086" y="connsiteY18086"/>
                </a:cxn>
                <a:cxn ang="0">
                  <a:pos x="connsiteX18087" y="connsiteY18087"/>
                </a:cxn>
                <a:cxn ang="0">
                  <a:pos x="connsiteX18088" y="connsiteY18088"/>
                </a:cxn>
                <a:cxn ang="0">
                  <a:pos x="connsiteX18089" y="connsiteY18089"/>
                </a:cxn>
                <a:cxn ang="0">
                  <a:pos x="connsiteX18090" y="connsiteY18090"/>
                </a:cxn>
                <a:cxn ang="0">
                  <a:pos x="connsiteX18091" y="connsiteY18091"/>
                </a:cxn>
                <a:cxn ang="0">
                  <a:pos x="connsiteX18092" y="connsiteY18092"/>
                </a:cxn>
                <a:cxn ang="0">
                  <a:pos x="connsiteX18093" y="connsiteY18093"/>
                </a:cxn>
                <a:cxn ang="0">
                  <a:pos x="connsiteX18094" y="connsiteY18094"/>
                </a:cxn>
                <a:cxn ang="0">
                  <a:pos x="connsiteX18095" y="connsiteY18095"/>
                </a:cxn>
                <a:cxn ang="0">
                  <a:pos x="connsiteX18096" y="connsiteY18096"/>
                </a:cxn>
                <a:cxn ang="0">
                  <a:pos x="connsiteX18097" y="connsiteY18097"/>
                </a:cxn>
                <a:cxn ang="0">
                  <a:pos x="connsiteX18098" y="connsiteY18098"/>
                </a:cxn>
                <a:cxn ang="0">
                  <a:pos x="connsiteX18099" y="connsiteY18099"/>
                </a:cxn>
                <a:cxn ang="0">
                  <a:pos x="connsiteX18100" y="connsiteY18100"/>
                </a:cxn>
                <a:cxn ang="0">
                  <a:pos x="connsiteX18101" y="connsiteY18101"/>
                </a:cxn>
                <a:cxn ang="0">
                  <a:pos x="connsiteX18102" y="connsiteY18102"/>
                </a:cxn>
                <a:cxn ang="0">
                  <a:pos x="connsiteX18103" y="connsiteY18103"/>
                </a:cxn>
                <a:cxn ang="0">
                  <a:pos x="connsiteX18104" y="connsiteY18104"/>
                </a:cxn>
                <a:cxn ang="0">
                  <a:pos x="connsiteX18105" y="connsiteY18105"/>
                </a:cxn>
                <a:cxn ang="0">
                  <a:pos x="connsiteX18106" y="connsiteY18106"/>
                </a:cxn>
                <a:cxn ang="0">
                  <a:pos x="connsiteX18107" y="connsiteY18107"/>
                </a:cxn>
                <a:cxn ang="0">
                  <a:pos x="connsiteX18108" y="connsiteY18108"/>
                </a:cxn>
                <a:cxn ang="0">
                  <a:pos x="connsiteX18109" y="connsiteY18109"/>
                </a:cxn>
                <a:cxn ang="0">
                  <a:pos x="connsiteX18110" y="connsiteY18110"/>
                </a:cxn>
                <a:cxn ang="0">
                  <a:pos x="connsiteX18111" y="connsiteY18111"/>
                </a:cxn>
                <a:cxn ang="0">
                  <a:pos x="connsiteX18112" y="connsiteY18112"/>
                </a:cxn>
                <a:cxn ang="0">
                  <a:pos x="connsiteX18113" y="connsiteY18113"/>
                </a:cxn>
                <a:cxn ang="0">
                  <a:pos x="connsiteX18114" y="connsiteY18114"/>
                </a:cxn>
                <a:cxn ang="0">
                  <a:pos x="connsiteX18115" y="connsiteY18115"/>
                </a:cxn>
                <a:cxn ang="0">
                  <a:pos x="connsiteX18116" y="connsiteY18116"/>
                </a:cxn>
                <a:cxn ang="0">
                  <a:pos x="connsiteX18117" y="connsiteY18117"/>
                </a:cxn>
                <a:cxn ang="0">
                  <a:pos x="connsiteX18118" y="connsiteY18118"/>
                </a:cxn>
                <a:cxn ang="0">
                  <a:pos x="connsiteX18119" y="connsiteY18119"/>
                </a:cxn>
                <a:cxn ang="0">
                  <a:pos x="connsiteX18120" y="connsiteY18120"/>
                </a:cxn>
                <a:cxn ang="0">
                  <a:pos x="connsiteX18121" y="connsiteY18121"/>
                </a:cxn>
                <a:cxn ang="0">
                  <a:pos x="connsiteX18122" y="connsiteY18122"/>
                </a:cxn>
                <a:cxn ang="0">
                  <a:pos x="connsiteX18123" y="connsiteY18123"/>
                </a:cxn>
                <a:cxn ang="0">
                  <a:pos x="connsiteX18124" y="connsiteY18124"/>
                </a:cxn>
                <a:cxn ang="0">
                  <a:pos x="connsiteX18125" y="connsiteY18125"/>
                </a:cxn>
                <a:cxn ang="0">
                  <a:pos x="connsiteX18126" y="connsiteY18126"/>
                </a:cxn>
                <a:cxn ang="0">
                  <a:pos x="connsiteX18127" y="connsiteY18127"/>
                </a:cxn>
                <a:cxn ang="0">
                  <a:pos x="connsiteX18128" y="connsiteY18128"/>
                </a:cxn>
                <a:cxn ang="0">
                  <a:pos x="connsiteX18129" y="connsiteY18129"/>
                </a:cxn>
                <a:cxn ang="0">
                  <a:pos x="connsiteX18130" y="connsiteY18130"/>
                </a:cxn>
                <a:cxn ang="0">
                  <a:pos x="connsiteX18131" y="connsiteY18131"/>
                </a:cxn>
                <a:cxn ang="0">
                  <a:pos x="connsiteX18132" y="connsiteY18132"/>
                </a:cxn>
                <a:cxn ang="0">
                  <a:pos x="connsiteX18133" y="connsiteY18133"/>
                </a:cxn>
                <a:cxn ang="0">
                  <a:pos x="connsiteX18134" y="connsiteY18134"/>
                </a:cxn>
                <a:cxn ang="0">
                  <a:pos x="connsiteX18135" y="connsiteY18135"/>
                </a:cxn>
                <a:cxn ang="0">
                  <a:pos x="connsiteX18136" y="connsiteY18136"/>
                </a:cxn>
                <a:cxn ang="0">
                  <a:pos x="connsiteX18137" y="connsiteY18137"/>
                </a:cxn>
                <a:cxn ang="0">
                  <a:pos x="connsiteX18138" y="connsiteY18138"/>
                </a:cxn>
                <a:cxn ang="0">
                  <a:pos x="connsiteX18139" y="connsiteY18139"/>
                </a:cxn>
                <a:cxn ang="0">
                  <a:pos x="connsiteX18140" y="connsiteY18140"/>
                </a:cxn>
                <a:cxn ang="0">
                  <a:pos x="connsiteX18141" y="connsiteY18141"/>
                </a:cxn>
                <a:cxn ang="0">
                  <a:pos x="connsiteX18142" y="connsiteY18142"/>
                </a:cxn>
                <a:cxn ang="0">
                  <a:pos x="connsiteX18143" y="connsiteY18143"/>
                </a:cxn>
                <a:cxn ang="0">
                  <a:pos x="connsiteX18144" y="connsiteY18144"/>
                </a:cxn>
                <a:cxn ang="0">
                  <a:pos x="connsiteX18145" y="connsiteY18145"/>
                </a:cxn>
                <a:cxn ang="0">
                  <a:pos x="connsiteX18146" y="connsiteY18146"/>
                </a:cxn>
                <a:cxn ang="0">
                  <a:pos x="connsiteX18147" y="connsiteY18147"/>
                </a:cxn>
                <a:cxn ang="0">
                  <a:pos x="connsiteX18148" y="connsiteY18148"/>
                </a:cxn>
                <a:cxn ang="0">
                  <a:pos x="connsiteX18149" y="connsiteY18149"/>
                </a:cxn>
                <a:cxn ang="0">
                  <a:pos x="connsiteX18150" y="connsiteY18150"/>
                </a:cxn>
                <a:cxn ang="0">
                  <a:pos x="connsiteX18151" y="connsiteY18151"/>
                </a:cxn>
                <a:cxn ang="0">
                  <a:pos x="connsiteX18152" y="connsiteY18152"/>
                </a:cxn>
                <a:cxn ang="0">
                  <a:pos x="connsiteX18153" y="connsiteY18153"/>
                </a:cxn>
                <a:cxn ang="0">
                  <a:pos x="connsiteX18154" y="connsiteY18154"/>
                </a:cxn>
                <a:cxn ang="0">
                  <a:pos x="connsiteX18155" y="connsiteY18155"/>
                </a:cxn>
                <a:cxn ang="0">
                  <a:pos x="connsiteX18156" y="connsiteY18156"/>
                </a:cxn>
                <a:cxn ang="0">
                  <a:pos x="connsiteX18157" y="connsiteY18157"/>
                </a:cxn>
                <a:cxn ang="0">
                  <a:pos x="connsiteX18158" y="connsiteY18158"/>
                </a:cxn>
                <a:cxn ang="0">
                  <a:pos x="connsiteX18159" y="connsiteY18159"/>
                </a:cxn>
                <a:cxn ang="0">
                  <a:pos x="connsiteX18160" y="connsiteY18160"/>
                </a:cxn>
                <a:cxn ang="0">
                  <a:pos x="connsiteX18161" y="connsiteY18161"/>
                </a:cxn>
                <a:cxn ang="0">
                  <a:pos x="connsiteX18162" y="connsiteY18162"/>
                </a:cxn>
                <a:cxn ang="0">
                  <a:pos x="connsiteX18163" y="connsiteY18163"/>
                </a:cxn>
                <a:cxn ang="0">
                  <a:pos x="connsiteX18164" y="connsiteY18164"/>
                </a:cxn>
                <a:cxn ang="0">
                  <a:pos x="connsiteX18165" y="connsiteY18165"/>
                </a:cxn>
                <a:cxn ang="0">
                  <a:pos x="connsiteX18166" y="connsiteY18166"/>
                </a:cxn>
                <a:cxn ang="0">
                  <a:pos x="connsiteX18167" y="connsiteY18167"/>
                </a:cxn>
                <a:cxn ang="0">
                  <a:pos x="connsiteX18168" y="connsiteY18168"/>
                </a:cxn>
                <a:cxn ang="0">
                  <a:pos x="connsiteX18169" y="connsiteY18169"/>
                </a:cxn>
                <a:cxn ang="0">
                  <a:pos x="connsiteX18170" y="connsiteY18170"/>
                </a:cxn>
                <a:cxn ang="0">
                  <a:pos x="connsiteX18171" y="connsiteY18171"/>
                </a:cxn>
                <a:cxn ang="0">
                  <a:pos x="connsiteX18172" y="connsiteY18172"/>
                </a:cxn>
                <a:cxn ang="0">
                  <a:pos x="connsiteX18173" y="connsiteY18173"/>
                </a:cxn>
                <a:cxn ang="0">
                  <a:pos x="connsiteX18174" y="connsiteY18174"/>
                </a:cxn>
                <a:cxn ang="0">
                  <a:pos x="connsiteX18175" y="connsiteY18175"/>
                </a:cxn>
                <a:cxn ang="0">
                  <a:pos x="connsiteX18176" y="connsiteY18176"/>
                </a:cxn>
                <a:cxn ang="0">
                  <a:pos x="connsiteX18177" y="connsiteY18177"/>
                </a:cxn>
                <a:cxn ang="0">
                  <a:pos x="connsiteX18178" y="connsiteY18178"/>
                </a:cxn>
                <a:cxn ang="0">
                  <a:pos x="connsiteX18179" y="connsiteY18179"/>
                </a:cxn>
                <a:cxn ang="0">
                  <a:pos x="connsiteX18180" y="connsiteY18180"/>
                </a:cxn>
                <a:cxn ang="0">
                  <a:pos x="connsiteX18181" y="connsiteY18181"/>
                </a:cxn>
                <a:cxn ang="0">
                  <a:pos x="connsiteX18182" y="connsiteY18182"/>
                </a:cxn>
                <a:cxn ang="0">
                  <a:pos x="connsiteX18183" y="connsiteY18183"/>
                </a:cxn>
                <a:cxn ang="0">
                  <a:pos x="connsiteX18184" y="connsiteY18184"/>
                </a:cxn>
                <a:cxn ang="0">
                  <a:pos x="connsiteX18185" y="connsiteY18185"/>
                </a:cxn>
                <a:cxn ang="0">
                  <a:pos x="connsiteX18186" y="connsiteY18186"/>
                </a:cxn>
                <a:cxn ang="0">
                  <a:pos x="connsiteX18187" y="connsiteY18187"/>
                </a:cxn>
                <a:cxn ang="0">
                  <a:pos x="connsiteX18188" y="connsiteY18188"/>
                </a:cxn>
                <a:cxn ang="0">
                  <a:pos x="connsiteX18189" y="connsiteY18189"/>
                </a:cxn>
                <a:cxn ang="0">
                  <a:pos x="connsiteX18190" y="connsiteY18190"/>
                </a:cxn>
                <a:cxn ang="0">
                  <a:pos x="connsiteX18191" y="connsiteY18191"/>
                </a:cxn>
                <a:cxn ang="0">
                  <a:pos x="connsiteX18192" y="connsiteY18192"/>
                </a:cxn>
                <a:cxn ang="0">
                  <a:pos x="connsiteX18193" y="connsiteY18193"/>
                </a:cxn>
                <a:cxn ang="0">
                  <a:pos x="connsiteX18194" y="connsiteY18194"/>
                </a:cxn>
                <a:cxn ang="0">
                  <a:pos x="connsiteX18195" y="connsiteY18195"/>
                </a:cxn>
                <a:cxn ang="0">
                  <a:pos x="connsiteX18196" y="connsiteY18196"/>
                </a:cxn>
                <a:cxn ang="0">
                  <a:pos x="connsiteX18197" y="connsiteY18197"/>
                </a:cxn>
                <a:cxn ang="0">
                  <a:pos x="connsiteX18198" y="connsiteY18198"/>
                </a:cxn>
                <a:cxn ang="0">
                  <a:pos x="connsiteX18199" y="connsiteY18199"/>
                </a:cxn>
                <a:cxn ang="0">
                  <a:pos x="connsiteX18200" y="connsiteY18200"/>
                </a:cxn>
                <a:cxn ang="0">
                  <a:pos x="connsiteX18201" y="connsiteY18201"/>
                </a:cxn>
                <a:cxn ang="0">
                  <a:pos x="connsiteX18202" y="connsiteY18202"/>
                </a:cxn>
                <a:cxn ang="0">
                  <a:pos x="connsiteX18203" y="connsiteY18203"/>
                </a:cxn>
                <a:cxn ang="0">
                  <a:pos x="connsiteX18204" y="connsiteY18204"/>
                </a:cxn>
                <a:cxn ang="0">
                  <a:pos x="connsiteX18205" y="connsiteY18205"/>
                </a:cxn>
                <a:cxn ang="0">
                  <a:pos x="connsiteX18206" y="connsiteY18206"/>
                </a:cxn>
                <a:cxn ang="0">
                  <a:pos x="connsiteX18207" y="connsiteY18207"/>
                </a:cxn>
                <a:cxn ang="0">
                  <a:pos x="connsiteX18208" y="connsiteY18208"/>
                </a:cxn>
                <a:cxn ang="0">
                  <a:pos x="connsiteX18209" y="connsiteY18209"/>
                </a:cxn>
                <a:cxn ang="0">
                  <a:pos x="connsiteX18210" y="connsiteY18210"/>
                </a:cxn>
                <a:cxn ang="0">
                  <a:pos x="connsiteX18211" y="connsiteY18211"/>
                </a:cxn>
                <a:cxn ang="0">
                  <a:pos x="connsiteX18212" y="connsiteY18212"/>
                </a:cxn>
                <a:cxn ang="0">
                  <a:pos x="connsiteX18213" y="connsiteY18213"/>
                </a:cxn>
                <a:cxn ang="0">
                  <a:pos x="connsiteX18214" y="connsiteY18214"/>
                </a:cxn>
                <a:cxn ang="0">
                  <a:pos x="connsiteX18215" y="connsiteY18215"/>
                </a:cxn>
                <a:cxn ang="0">
                  <a:pos x="connsiteX18216" y="connsiteY18216"/>
                </a:cxn>
                <a:cxn ang="0">
                  <a:pos x="connsiteX18217" y="connsiteY18217"/>
                </a:cxn>
                <a:cxn ang="0">
                  <a:pos x="connsiteX18218" y="connsiteY18218"/>
                </a:cxn>
                <a:cxn ang="0">
                  <a:pos x="connsiteX18219" y="connsiteY18219"/>
                </a:cxn>
                <a:cxn ang="0">
                  <a:pos x="connsiteX18220" y="connsiteY18220"/>
                </a:cxn>
                <a:cxn ang="0">
                  <a:pos x="connsiteX18221" y="connsiteY18221"/>
                </a:cxn>
                <a:cxn ang="0">
                  <a:pos x="connsiteX18222" y="connsiteY18222"/>
                </a:cxn>
                <a:cxn ang="0">
                  <a:pos x="connsiteX18223" y="connsiteY18223"/>
                </a:cxn>
                <a:cxn ang="0">
                  <a:pos x="connsiteX18224" y="connsiteY18224"/>
                </a:cxn>
                <a:cxn ang="0">
                  <a:pos x="connsiteX18225" y="connsiteY18225"/>
                </a:cxn>
                <a:cxn ang="0">
                  <a:pos x="connsiteX18226" y="connsiteY18226"/>
                </a:cxn>
                <a:cxn ang="0">
                  <a:pos x="connsiteX18227" y="connsiteY18227"/>
                </a:cxn>
                <a:cxn ang="0">
                  <a:pos x="connsiteX18228" y="connsiteY18228"/>
                </a:cxn>
                <a:cxn ang="0">
                  <a:pos x="connsiteX18229" y="connsiteY18229"/>
                </a:cxn>
                <a:cxn ang="0">
                  <a:pos x="connsiteX18230" y="connsiteY18230"/>
                </a:cxn>
                <a:cxn ang="0">
                  <a:pos x="connsiteX18231" y="connsiteY18231"/>
                </a:cxn>
                <a:cxn ang="0">
                  <a:pos x="connsiteX18232" y="connsiteY18232"/>
                </a:cxn>
                <a:cxn ang="0">
                  <a:pos x="connsiteX18233" y="connsiteY18233"/>
                </a:cxn>
                <a:cxn ang="0">
                  <a:pos x="connsiteX18234" y="connsiteY18234"/>
                </a:cxn>
                <a:cxn ang="0">
                  <a:pos x="connsiteX18235" y="connsiteY18235"/>
                </a:cxn>
                <a:cxn ang="0">
                  <a:pos x="connsiteX18236" y="connsiteY18236"/>
                </a:cxn>
                <a:cxn ang="0">
                  <a:pos x="connsiteX18237" y="connsiteY18237"/>
                </a:cxn>
                <a:cxn ang="0">
                  <a:pos x="connsiteX18238" y="connsiteY18238"/>
                </a:cxn>
                <a:cxn ang="0">
                  <a:pos x="connsiteX18239" y="connsiteY18239"/>
                </a:cxn>
                <a:cxn ang="0">
                  <a:pos x="connsiteX18240" y="connsiteY18240"/>
                </a:cxn>
                <a:cxn ang="0">
                  <a:pos x="connsiteX18241" y="connsiteY18241"/>
                </a:cxn>
                <a:cxn ang="0">
                  <a:pos x="connsiteX18242" y="connsiteY18242"/>
                </a:cxn>
                <a:cxn ang="0">
                  <a:pos x="connsiteX18243" y="connsiteY18243"/>
                </a:cxn>
                <a:cxn ang="0">
                  <a:pos x="connsiteX18244" y="connsiteY18244"/>
                </a:cxn>
                <a:cxn ang="0">
                  <a:pos x="connsiteX18245" y="connsiteY18245"/>
                </a:cxn>
                <a:cxn ang="0">
                  <a:pos x="connsiteX18246" y="connsiteY18246"/>
                </a:cxn>
                <a:cxn ang="0">
                  <a:pos x="connsiteX18247" y="connsiteY18247"/>
                </a:cxn>
                <a:cxn ang="0">
                  <a:pos x="connsiteX18248" y="connsiteY18248"/>
                </a:cxn>
                <a:cxn ang="0">
                  <a:pos x="connsiteX18249" y="connsiteY18249"/>
                </a:cxn>
                <a:cxn ang="0">
                  <a:pos x="connsiteX18250" y="connsiteY18250"/>
                </a:cxn>
                <a:cxn ang="0">
                  <a:pos x="connsiteX18251" y="connsiteY18251"/>
                </a:cxn>
                <a:cxn ang="0">
                  <a:pos x="connsiteX18252" y="connsiteY18252"/>
                </a:cxn>
                <a:cxn ang="0">
                  <a:pos x="connsiteX18253" y="connsiteY18253"/>
                </a:cxn>
                <a:cxn ang="0">
                  <a:pos x="connsiteX18254" y="connsiteY18254"/>
                </a:cxn>
                <a:cxn ang="0">
                  <a:pos x="connsiteX18255" y="connsiteY18255"/>
                </a:cxn>
                <a:cxn ang="0">
                  <a:pos x="connsiteX18256" y="connsiteY18256"/>
                </a:cxn>
                <a:cxn ang="0">
                  <a:pos x="connsiteX18257" y="connsiteY18257"/>
                </a:cxn>
                <a:cxn ang="0">
                  <a:pos x="connsiteX18258" y="connsiteY18258"/>
                </a:cxn>
                <a:cxn ang="0">
                  <a:pos x="connsiteX18259" y="connsiteY18259"/>
                </a:cxn>
                <a:cxn ang="0">
                  <a:pos x="connsiteX18260" y="connsiteY18260"/>
                </a:cxn>
                <a:cxn ang="0">
                  <a:pos x="connsiteX18261" y="connsiteY18261"/>
                </a:cxn>
                <a:cxn ang="0">
                  <a:pos x="connsiteX18262" y="connsiteY18262"/>
                </a:cxn>
                <a:cxn ang="0">
                  <a:pos x="connsiteX18263" y="connsiteY18263"/>
                </a:cxn>
                <a:cxn ang="0">
                  <a:pos x="connsiteX18264" y="connsiteY18264"/>
                </a:cxn>
                <a:cxn ang="0">
                  <a:pos x="connsiteX18265" y="connsiteY18265"/>
                </a:cxn>
                <a:cxn ang="0">
                  <a:pos x="connsiteX18266" y="connsiteY18266"/>
                </a:cxn>
                <a:cxn ang="0">
                  <a:pos x="connsiteX18267" y="connsiteY18267"/>
                </a:cxn>
                <a:cxn ang="0">
                  <a:pos x="connsiteX18268" y="connsiteY18268"/>
                </a:cxn>
                <a:cxn ang="0">
                  <a:pos x="connsiteX18269" y="connsiteY18269"/>
                </a:cxn>
                <a:cxn ang="0">
                  <a:pos x="connsiteX18270" y="connsiteY18270"/>
                </a:cxn>
                <a:cxn ang="0">
                  <a:pos x="connsiteX18271" y="connsiteY18271"/>
                </a:cxn>
                <a:cxn ang="0">
                  <a:pos x="connsiteX18272" y="connsiteY18272"/>
                </a:cxn>
                <a:cxn ang="0">
                  <a:pos x="connsiteX18273" y="connsiteY18273"/>
                </a:cxn>
                <a:cxn ang="0">
                  <a:pos x="connsiteX18274" y="connsiteY18274"/>
                </a:cxn>
                <a:cxn ang="0">
                  <a:pos x="connsiteX18275" y="connsiteY18275"/>
                </a:cxn>
                <a:cxn ang="0">
                  <a:pos x="connsiteX18276" y="connsiteY18276"/>
                </a:cxn>
                <a:cxn ang="0">
                  <a:pos x="connsiteX18277" y="connsiteY18277"/>
                </a:cxn>
                <a:cxn ang="0">
                  <a:pos x="connsiteX18278" y="connsiteY18278"/>
                </a:cxn>
                <a:cxn ang="0">
                  <a:pos x="connsiteX18279" y="connsiteY18279"/>
                </a:cxn>
                <a:cxn ang="0">
                  <a:pos x="connsiteX18280" y="connsiteY18280"/>
                </a:cxn>
                <a:cxn ang="0">
                  <a:pos x="connsiteX18281" y="connsiteY18281"/>
                </a:cxn>
                <a:cxn ang="0">
                  <a:pos x="connsiteX18282" y="connsiteY18282"/>
                </a:cxn>
                <a:cxn ang="0">
                  <a:pos x="connsiteX18283" y="connsiteY18283"/>
                </a:cxn>
                <a:cxn ang="0">
                  <a:pos x="connsiteX18284" y="connsiteY18284"/>
                </a:cxn>
                <a:cxn ang="0">
                  <a:pos x="connsiteX18285" y="connsiteY18285"/>
                </a:cxn>
                <a:cxn ang="0">
                  <a:pos x="connsiteX18286" y="connsiteY18286"/>
                </a:cxn>
                <a:cxn ang="0">
                  <a:pos x="connsiteX18287" y="connsiteY18287"/>
                </a:cxn>
                <a:cxn ang="0">
                  <a:pos x="connsiteX18288" y="connsiteY18288"/>
                </a:cxn>
                <a:cxn ang="0">
                  <a:pos x="connsiteX18289" y="connsiteY18289"/>
                </a:cxn>
                <a:cxn ang="0">
                  <a:pos x="connsiteX18290" y="connsiteY18290"/>
                </a:cxn>
                <a:cxn ang="0">
                  <a:pos x="connsiteX18291" y="connsiteY18291"/>
                </a:cxn>
                <a:cxn ang="0">
                  <a:pos x="connsiteX18292" y="connsiteY18292"/>
                </a:cxn>
                <a:cxn ang="0">
                  <a:pos x="connsiteX18293" y="connsiteY18293"/>
                </a:cxn>
                <a:cxn ang="0">
                  <a:pos x="connsiteX18294" y="connsiteY18294"/>
                </a:cxn>
                <a:cxn ang="0">
                  <a:pos x="connsiteX18295" y="connsiteY18295"/>
                </a:cxn>
                <a:cxn ang="0">
                  <a:pos x="connsiteX18296" y="connsiteY18296"/>
                </a:cxn>
                <a:cxn ang="0">
                  <a:pos x="connsiteX18297" y="connsiteY18297"/>
                </a:cxn>
                <a:cxn ang="0">
                  <a:pos x="connsiteX18298" y="connsiteY18298"/>
                </a:cxn>
                <a:cxn ang="0">
                  <a:pos x="connsiteX18299" y="connsiteY18299"/>
                </a:cxn>
                <a:cxn ang="0">
                  <a:pos x="connsiteX18300" y="connsiteY18300"/>
                </a:cxn>
                <a:cxn ang="0">
                  <a:pos x="connsiteX18301" y="connsiteY18301"/>
                </a:cxn>
                <a:cxn ang="0">
                  <a:pos x="connsiteX18302" y="connsiteY18302"/>
                </a:cxn>
                <a:cxn ang="0">
                  <a:pos x="connsiteX18303" y="connsiteY18303"/>
                </a:cxn>
                <a:cxn ang="0">
                  <a:pos x="connsiteX18304" y="connsiteY18304"/>
                </a:cxn>
                <a:cxn ang="0">
                  <a:pos x="connsiteX18305" y="connsiteY18305"/>
                </a:cxn>
                <a:cxn ang="0">
                  <a:pos x="connsiteX18306" y="connsiteY18306"/>
                </a:cxn>
                <a:cxn ang="0">
                  <a:pos x="connsiteX18307" y="connsiteY18307"/>
                </a:cxn>
                <a:cxn ang="0">
                  <a:pos x="connsiteX18308" y="connsiteY18308"/>
                </a:cxn>
                <a:cxn ang="0">
                  <a:pos x="connsiteX18309" y="connsiteY18309"/>
                </a:cxn>
                <a:cxn ang="0">
                  <a:pos x="connsiteX18310" y="connsiteY18310"/>
                </a:cxn>
                <a:cxn ang="0">
                  <a:pos x="connsiteX18311" y="connsiteY18311"/>
                </a:cxn>
                <a:cxn ang="0">
                  <a:pos x="connsiteX18312" y="connsiteY18312"/>
                </a:cxn>
                <a:cxn ang="0">
                  <a:pos x="connsiteX18313" y="connsiteY18313"/>
                </a:cxn>
                <a:cxn ang="0">
                  <a:pos x="connsiteX18314" y="connsiteY18314"/>
                </a:cxn>
                <a:cxn ang="0">
                  <a:pos x="connsiteX18315" y="connsiteY18315"/>
                </a:cxn>
                <a:cxn ang="0">
                  <a:pos x="connsiteX18316" y="connsiteY18316"/>
                </a:cxn>
                <a:cxn ang="0">
                  <a:pos x="connsiteX18317" y="connsiteY18317"/>
                </a:cxn>
                <a:cxn ang="0">
                  <a:pos x="connsiteX18318" y="connsiteY18318"/>
                </a:cxn>
                <a:cxn ang="0">
                  <a:pos x="connsiteX18319" y="connsiteY18319"/>
                </a:cxn>
                <a:cxn ang="0">
                  <a:pos x="connsiteX18320" y="connsiteY18320"/>
                </a:cxn>
                <a:cxn ang="0">
                  <a:pos x="connsiteX18321" y="connsiteY18321"/>
                </a:cxn>
                <a:cxn ang="0">
                  <a:pos x="connsiteX18322" y="connsiteY18322"/>
                </a:cxn>
                <a:cxn ang="0">
                  <a:pos x="connsiteX18323" y="connsiteY18323"/>
                </a:cxn>
                <a:cxn ang="0">
                  <a:pos x="connsiteX18324" y="connsiteY18324"/>
                </a:cxn>
                <a:cxn ang="0">
                  <a:pos x="connsiteX18325" y="connsiteY18325"/>
                </a:cxn>
                <a:cxn ang="0">
                  <a:pos x="connsiteX18326" y="connsiteY18326"/>
                </a:cxn>
                <a:cxn ang="0">
                  <a:pos x="connsiteX18327" y="connsiteY18327"/>
                </a:cxn>
                <a:cxn ang="0">
                  <a:pos x="connsiteX18328" y="connsiteY18328"/>
                </a:cxn>
                <a:cxn ang="0">
                  <a:pos x="connsiteX18329" y="connsiteY18329"/>
                </a:cxn>
                <a:cxn ang="0">
                  <a:pos x="connsiteX18330" y="connsiteY18330"/>
                </a:cxn>
                <a:cxn ang="0">
                  <a:pos x="connsiteX18331" y="connsiteY18331"/>
                </a:cxn>
                <a:cxn ang="0">
                  <a:pos x="connsiteX18332" y="connsiteY18332"/>
                </a:cxn>
                <a:cxn ang="0">
                  <a:pos x="connsiteX18333" y="connsiteY18333"/>
                </a:cxn>
                <a:cxn ang="0">
                  <a:pos x="connsiteX18334" y="connsiteY18334"/>
                </a:cxn>
                <a:cxn ang="0">
                  <a:pos x="connsiteX18335" y="connsiteY18335"/>
                </a:cxn>
                <a:cxn ang="0">
                  <a:pos x="connsiteX18336" y="connsiteY18336"/>
                </a:cxn>
                <a:cxn ang="0">
                  <a:pos x="connsiteX18337" y="connsiteY18337"/>
                </a:cxn>
                <a:cxn ang="0">
                  <a:pos x="connsiteX18338" y="connsiteY18338"/>
                </a:cxn>
                <a:cxn ang="0">
                  <a:pos x="connsiteX18339" y="connsiteY18339"/>
                </a:cxn>
                <a:cxn ang="0">
                  <a:pos x="connsiteX18340" y="connsiteY18340"/>
                </a:cxn>
                <a:cxn ang="0">
                  <a:pos x="connsiteX18341" y="connsiteY18341"/>
                </a:cxn>
                <a:cxn ang="0">
                  <a:pos x="connsiteX18342" y="connsiteY18342"/>
                </a:cxn>
                <a:cxn ang="0">
                  <a:pos x="connsiteX18343" y="connsiteY18343"/>
                </a:cxn>
                <a:cxn ang="0">
                  <a:pos x="connsiteX18344" y="connsiteY18344"/>
                </a:cxn>
                <a:cxn ang="0">
                  <a:pos x="connsiteX18345" y="connsiteY18345"/>
                </a:cxn>
                <a:cxn ang="0">
                  <a:pos x="connsiteX18346" y="connsiteY18346"/>
                </a:cxn>
                <a:cxn ang="0">
                  <a:pos x="connsiteX18347" y="connsiteY18347"/>
                </a:cxn>
                <a:cxn ang="0">
                  <a:pos x="connsiteX18348" y="connsiteY18348"/>
                </a:cxn>
                <a:cxn ang="0">
                  <a:pos x="connsiteX18349" y="connsiteY18349"/>
                </a:cxn>
                <a:cxn ang="0">
                  <a:pos x="connsiteX18350" y="connsiteY18350"/>
                </a:cxn>
                <a:cxn ang="0">
                  <a:pos x="connsiteX18351" y="connsiteY18351"/>
                </a:cxn>
                <a:cxn ang="0">
                  <a:pos x="connsiteX18352" y="connsiteY18352"/>
                </a:cxn>
                <a:cxn ang="0">
                  <a:pos x="connsiteX18353" y="connsiteY18353"/>
                </a:cxn>
                <a:cxn ang="0">
                  <a:pos x="connsiteX18354" y="connsiteY18354"/>
                </a:cxn>
                <a:cxn ang="0">
                  <a:pos x="connsiteX18355" y="connsiteY18355"/>
                </a:cxn>
                <a:cxn ang="0">
                  <a:pos x="connsiteX18356" y="connsiteY18356"/>
                </a:cxn>
                <a:cxn ang="0">
                  <a:pos x="connsiteX18357" y="connsiteY18357"/>
                </a:cxn>
                <a:cxn ang="0">
                  <a:pos x="connsiteX18358" y="connsiteY18358"/>
                </a:cxn>
                <a:cxn ang="0">
                  <a:pos x="connsiteX18359" y="connsiteY18359"/>
                </a:cxn>
                <a:cxn ang="0">
                  <a:pos x="connsiteX18360" y="connsiteY18360"/>
                </a:cxn>
                <a:cxn ang="0">
                  <a:pos x="connsiteX18361" y="connsiteY18361"/>
                </a:cxn>
                <a:cxn ang="0">
                  <a:pos x="connsiteX18362" y="connsiteY18362"/>
                </a:cxn>
                <a:cxn ang="0">
                  <a:pos x="connsiteX18363" y="connsiteY18363"/>
                </a:cxn>
                <a:cxn ang="0">
                  <a:pos x="connsiteX18364" y="connsiteY18364"/>
                </a:cxn>
                <a:cxn ang="0">
                  <a:pos x="connsiteX18365" y="connsiteY18365"/>
                </a:cxn>
                <a:cxn ang="0">
                  <a:pos x="connsiteX18366" y="connsiteY18366"/>
                </a:cxn>
                <a:cxn ang="0">
                  <a:pos x="connsiteX18367" y="connsiteY18367"/>
                </a:cxn>
                <a:cxn ang="0">
                  <a:pos x="connsiteX18368" y="connsiteY18368"/>
                </a:cxn>
                <a:cxn ang="0">
                  <a:pos x="connsiteX18369" y="connsiteY18369"/>
                </a:cxn>
                <a:cxn ang="0">
                  <a:pos x="connsiteX18370" y="connsiteY18370"/>
                </a:cxn>
                <a:cxn ang="0">
                  <a:pos x="connsiteX18371" y="connsiteY18371"/>
                </a:cxn>
                <a:cxn ang="0">
                  <a:pos x="connsiteX18372" y="connsiteY18372"/>
                </a:cxn>
                <a:cxn ang="0">
                  <a:pos x="connsiteX18373" y="connsiteY18373"/>
                </a:cxn>
                <a:cxn ang="0">
                  <a:pos x="connsiteX18374" y="connsiteY18374"/>
                </a:cxn>
                <a:cxn ang="0">
                  <a:pos x="connsiteX18375" y="connsiteY18375"/>
                </a:cxn>
                <a:cxn ang="0">
                  <a:pos x="connsiteX18376" y="connsiteY18376"/>
                </a:cxn>
                <a:cxn ang="0">
                  <a:pos x="connsiteX18377" y="connsiteY18377"/>
                </a:cxn>
                <a:cxn ang="0">
                  <a:pos x="connsiteX18378" y="connsiteY18378"/>
                </a:cxn>
                <a:cxn ang="0">
                  <a:pos x="connsiteX18379" y="connsiteY18379"/>
                </a:cxn>
                <a:cxn ang="0">
                  <a:pos x="connsiteX18380" y="connsiteY18380"/>
                </a:cxn>
                <a:cxn ang="0">
                  <a:pos x="connsiteX18381" y="connsiteY18381"/>
                </a:cxn>
                <a:cxn ang="0">
                  <a:pos x="connsiteX18382" y="connsiteY18382"/>
                </a:cxn>
                <a:cxn ang="0">
                  <a:pos x="connsiteX18383" y="connsiteY18383"/>
                </a:cxn>
                <a:cxn ang="0">
                  <a:pos x="connsiteX18384" y="connsiteY18384"/>
                </a:cxn>
                <a:cxn ang="0">
                  <a:pos x="connsiteX18385" y="connsiteY18385"/>
                </a:cxn>
                <a:cxn ang="0">
                  <a:pos x="connsiteX18386" y="connsiteY18386"/>
                </a:cxn>
                <a:cxn ang="0">
                  <a:pos x="connsiteX18387" y="connsiteY18387"/>
                </a:cxn>
                <a:cxn ang="0">
                  <a:pos x="connsiteX18388" y="connsiteY18388"/>
                </a:cxn>
                <a:cxn ang="0">
                  <a:pos x="connsiteX18389" y="connsiteY18389"/>
                </a:cxn>
                <a:cxn ang="0">
                  <a:pos x="connsiteX18390" y="connsiteY18390"/>
                </a:cxn>
                <a:cxn ang="0">
                  <a:pos x="connsiteX18391" y="connsiteY18391"/>
                </a:cxn>
                <a:cxn ang="0">
                  <a:pos x="connsiteX18392" y="connsiteY18392"/>
                </a:cxn>
                <a:cxn ang="0">
                  <a:pos x="connsiteX18393" y="connsiteY18393"/>
                </a:cxn>
                <a:cxn ang="0">
                  <a:pos x="connsiteX18394" y="connsiteY18394"/>
                </a:cxn>
                <a:cxn ang="0">
                  <a:pos x="connsiteX18395" y="connsiteY18395"/>
                </a:cxn>
                <a:cxn ang="0">
                  <a:pos x="connsiteX18396" y="connsiteY18396"/>
                </a:cxn>
                <a:cxn ang="0">
                  <a:pos x="connsiteX18397" y="connsiteY18397"/>
                </a:cxn>
                <a:cxn ang="0">
                  <a:pos x="connsiteX18398" y="connsiteY18398"/>
                </a:cxn>
                <a:cxn ang="0">
                  <a:pos x="connsiteX18399" y="connsiteY18399"/>
                </a:cxn>
                <a:cxn ang="0">
                  <a:pos x="connsiteX18400" y="connsiteY18400"/>
                </a:cxn>
                <a:cxn ang="0">
                  <a:pos x="connsiteX18401" y="connsiteY18401"/>
                </a:cxn>
                <a:cxn ang="0">
                  <a:pos x="connsiteX18402" y="connsiteY18402"/>
                </a:cxn>
                <a:cxn ang="0">
                  <a:pos x="connsiteX18403" y="connsiteY18403"/>
                </a:cxn>
                <a:cxn ang="0">
                  <a:pos x="connsiteX18404" y="connsiteY18404"/>
                </a:cxn>
                <a:cxn ang="0">
                  <a:pos x="connsiteX18405" y="connsiteY18405"/>
                </a:cxn>
                <a:cxn ang="0">
                  <a:pos x="connsiteX18406" y="connsiteY18406"/>
                </a:cxn>
                <a:cxn ang="0">
                  <a:pos x="connsiteX18407" y="connsiteY18407"/>
                </a:cxn>
                <a:cxn ang="0">
                  <a:pos x="connsiteX18408" y="connsiteY18408"/>
                </a:cxn>
                <a:cxn ang="0">
                  <a:pos x="connsiteX18409" y="connsiteY18409"/>
                </a:cxn>
                <a:cxn ang="0">
                  <a:pos x="connsiteX18410" y="connsiteY18410"/>
                </a:cxn>
                <a:cxn ang="0">
                  <a:pos x="connsiteX18411" y="connsiteY18411"/>
                </a:cxn>
                <a:cxn ang="0">
                  <a:pos x="connsiteX18412" y="connsiteY18412"/>
                </a:cxn>
                <a:cxn ang="0">
                  <a:pos x="connsiteX18413" y="connsiteY18413"/>
                </a:cxn>
                <a:cxn ang="0">
                  <a:pos x="connsiteX18414" y="connsiteY18414"/>
                </a:cxn>
                <a:cxn ang="0">
                  <a:pos x="connsiteX18415" y="connsiteY18415"/>
                </a:cxn>
                <a:cxn ang="0">
                  <a:pos x="connsiteX18416" y="connsiteY18416"/>
                </a:cxn>
                <a:cxn ang="0">
                  <a:pos x="connsiteX18417" y="connsiteY18417"/>
                </a:cxn>
                <a:cxn ang="0">
                  <a:pos x="connsiteX18418" y="connsiteY18418"/>
                </a:cxn>
                <a:cxn ang="0">
                  <a:pos x="connsiteX18419" y="connsiteY18419"/>
                </a:cxn>
                <a:cxn ang="0">
                  <a:pos x="connsiteX18420" y="connsiteY18420"/>
                </a:cxn>
                <a:cxn ang="0">
                  <a:pos x="connsiteX18421" y="connsiteY18421"/>
                </a:cxn>
                <a:cxn ang="0">
                  <a:pos x="connsiteX18422" y="connsiteY18422"/>
                </a:cxn>
                <a:cxn ang="0">
                  <a:pos x="connsiteX18423" y="connsiteY18423"/>
                </a:cxn>
                <a:cxn ang="0">
                  <a:pos x="connsiteX18424" y="connsiteY18424"/>
                </a:cxn>
                <a:cxn ang="0">
                  <a:pos x="connsiteX18425" y="connsiteY18425"/>
                </a:cxn>
                <a:cxn ang="0">
                  <a:pos x="connsiteX18426" y="connsiteY18426"/>
                </a:cxn>
                <a:cxn ang="0">
                  <a:pos x="connsiteX18427" y="connsiteY18427"/>
                </a:cxn>
                <a:cxn ang="0">
                  <a:pos x="connsiteX18428" y="connsiteY18428"/>
                </a:cxn>
                <a:cxn ang="0">
                  <a:pos x="connsiteX18429" y="connsiteY18429"/>
                </a:cxn>
                <a:cxn ang="0">
                  <a:pos x="connsiteX18430" y="connsiteY18430"/>
                </a:cxn>
                <a:cxn ang="0">
                  <a:pos x="connsiteX18431" y="connsiteY18431"/>
                </a:cxn>
                <a:cxn ang="0">
                  <a:pos x="connsiteX18432" y="connsiteY18432"/>
                </a:cxn>
                <a:cxn ang="0">
                  <a:pos x="connsiteX18433" y="connsiteY18433"/>
                </a:cxn>
                <a:cxn ang="0">
                  <a:pos x="connsiteX18434" y="connsiteY18434"/>
                </a:cxn>
                <a:cxn ang="0">
                  <a:pos x="connsiteX18435" y="connsiteY18435"/>
                </a:cxn>
                <a:cxn ang="0">
                  <a:pos x="connsiteX18436" y="connsiteY18436"/>
                </a:cxn>
                <a:cxn ang="0">
                  <a:pos x="connsiteX18437" y="connsiteY18437"/>
                </a:cxn>
                <a:cxn ang="0">
                  <a:pos x="connsiteX18438" y="connsiteY18438"/>
                </a:cxn>
                <a:cxn ang="0">
                  <a:pos x="connsiteX18439" y="connsiteY18439"/>
                </a:cxn>
                <a:cxn ang="0">
                  <a:pos x="connsiteX18440" y="connsiteY18440"/>
                </a:cxn>
                <a:cxn ang="0">
                  <a:pos x="connsiteX18441" y="connsiteY18441"/>
                </a:cxn>
                <a:cxn ang="0">
                  <a:pos x="connsiteX18442" y="connsiteY18442"/>
                </a:cxn>
                <a:cxn ang="0">
                  <a:pos x="connsiteX18443" y="connsiteY18443"/>
                </a:cxn>
                <a:cxn ang="0">
                  <a:pos x="connsiteX18444" y="connsiteY18444"/>
                </a:cxn>
                <a:cxn ang="0">
                  <a:pos x="connsiteX18445" y="connsiteY18445"/>
                </a:cxn>
                <a:cxn ang="0">
                  <a:pos x="connsiteX18446" y="connsiteY18446"/>
                </a:cxn>
                <a:cxn ang="0">
                  <a:pos x="connsiteX18447" y="connsiteY18447"/>
                </a:cxn>
                <a:cxn ang="0">
                  <a:pos x="connsiteX18448" y="connsiteY18448"/>
                </a:cxn>
                <a:cxn ang="0">
                  <a:pos x="connsiteX18449" y="connsiteY18449"/>
                </a:cxn>
                <a:cxn ang="0">
                  <a:pos x="connsiteX18450" y="connsiteY18450"/>
                </a:cxn>
                <a:cxn ang="0">
                  <a:pos x="connsiteX18451" y="connsiteY18451"/>
                </a:cxn>
                <a:cxn ang="0">
                  <a:pos x="connsiteX18452" y="connsiteY18452"/>
                </a:cxn>
                <a:cxn ang="0">
                  <a:pos x="connsiteX18453" y="connsiteY18453"/>
                </a:cxn>
                <a:cxn ang="0">
                  <a:pos x="connsiteX18454" y="connsiteY18454"/>
                </a:cxn>
                <a:cxn ang="0">
                  <a:pos x="connsiteX18455" y="connsiteY18455"/>
                </a:cxn>
                <a:cxn ang="0">
                  <a:pos x="connsiteX18456" y="connsiteY18456"/>
                </a:cxn>
                <a:cxn ang="0">
                  <a:pos x="connsiteX18457" y="connsiteY18457"/>
                </a:cxn>
                <a:cxn ang="0">
                  <a:pos x="connsiteX18458" y="connsiteY18458"/>
                </a:cxn>
                <a:cxn ang="0">
                  <a:pos x="connsiteX18459" y="connsiteY18459"/>
                </a:cxn>
                <a:cxn ang="0">
                  <a:pos x="connsiteX18460" y="connsiteY18460"/>
                </a:cxn>
                <a:cxn ang="0">
                  <a:pos x="connsiteX18461" y="connsiteY18461"/>
                </a:cxn>
                <a:cxn ang="0">
                  <a:pos x="connsiteX18462" y="connsiteY18462"/>
                </a:cxn>
                <a:cxn ang="0">
                  <a:pos x="connsiteX18463" y="connsiteY18463"/>
                </a:cxn>
                <a:cxn ang="0">
                  <a:pos x="connsiteX18464" y="connsiteY18464"/>
                </a:cxn>
                <a:cxn ang="0">
                  <a:pos x="connsiteX18465" y="connsiteY18465"/>
                </a:cxn>
                <a:cxn ang="0">
                  <a:pos x="connsiteX18466" y="connsiteY18466"/>
                </a:cxn>
                <a:cxn ang="0">
                  <a:pos x="connsiteX18467" y="connsiteY18467"/>
                </a:cxn>
                <a:cxn ang="0">
                  <a:pos x="connsiteX18468" y="connsiteY18468"/>
                </a:cxn>
                <a:cxn ang="0">
                  <a:pos x="connsiteX18469" y="connsiteY18469"/>
                </a:cxn>
                <a:cxn ang="0">
                  <a:pos x="connsiteX18470" y="connsiteY18470"/>
                </a:cxn>
                <a:cxn ang="0">
                  <a:pos x="connsiteX18471" y="connsiteY18471"/>
                </a:cxn>
                <a:cxn ang="0">
                  <a:pos x="connsiteX18472" y="connsiteY18472"/>
                </a:cxn>
                <a:cxn ang="0">
                  <a:pos x="connsiteX18473" y="connsiteY18473"/>
                </a:cxn>
                <a:cxn ang="0">
                  <a:pos x="connsiteX18474" y="connsiteY18474"/>
                </a:cxn>
                <a:cxn ang="0">
                  <a:pos x="connsiteX18475" y="connsiteY18475"/>
                </a:cxn>
                <a:cxn ang="0">
                  <a:pos x="connsiteX18476" y="connsiteY18476"/>
                </a:cxn>
                <a:cxn ang="0">
                  <a:pos x="connsiteX18477" y="connsiteY18477"/>
                </a:cxn>
                <a:cxn ang="0">
                  <a:pos x="connsiteX18478" y="connsiteY18478"/>
                </a:cxn>
                <a:cxn ang="0">
                  <a:pos x="connsiteX18479" y="connsiteY18479"/>
                </a:cxn>
                <a:cxn ang="0">
                  <a:pos x="connsiteX18480" y="connsiteY18480"/>
                </a:cxn>
                <a:cxn ang="0">
                  <a:pos x="connsiteX18481" y="connsiteY18481"/>
                </a:cxn>
                <a:cxn ang="0">
                  <a:pos x="connsiteX18482" y="connsiteY18482"/>
                </a:cxn>
                <a:cxn ang="0">
                  <a:pos x="connsiteX18483" y="connsiteY18483"/>
                </a:cxn>
                <a:cxn ang="0">
                  <a:pos x="connsiteX18484" y="connsiteY18484"/>
                </a:cxn>
                <a:cxn ang="0">
                  <a:pos x="connsiteX18485" y="connsiteY18485"/>
                </a:cxn>
                <a:cxn ang="0">
                  <a:pos x="connsiteX18486" y="connsiteY18486"/>
                </a:cxn>
                <a:cxn ang="0">
                  <a:pos x="connsiteX18487" y="connsiteY18487"/>
                </a:cxn>
                <a:cxn ang="0">
                  <a:pos x="connsiteX18488" y="connsiteY18488"/>
                </a:cxn>
                <a:cxn ang="0">
                  <a:pos x="connsiteX18489" y="connsiteY18489"/>
                </a:cxn>
                <a:cxn ang="0">
                  <a:pos x="connsiteX18490" y="connsiteY18490"/>
                </a:cxn>
                <a:cxn ang="0">
                  <a:pos x="connsiteX18491" y="connsiteY18491"/>
                </a:cxn>
                <a:cxn ang="0">
                  <a:pos x="connsiteX18492" y="connsiteY18492"/>
                </a:cxn>
                <a:cxn ang="0">
                  <a:pos x="connsiteX18493" y="connsiteY18493"/>
                </a:cxn>
                <a:cxn ang="0">
                  <a:pos x="connsiteX18494" y="connsiteY18494"/>
                </a:cxn>
                <a:cxn ang="0">
                  <a:pos x="connsiteX18495" y="connsiteY18495"/>
                </a:cxn>
                <a:cxn ang="0">
                  <a:pos x="connsiteX18496" y="connsiteY18496"/>
                </a:cxn>
                <a:cxn ang="0">
                  <a:pos x="connsiteX18497" y="connsiteY18497"/>
                </a:cxn>
                <a:cxn ang="0">
                  <a:pos x="connsiteX18498" y="connsiteY18498"/>
                </a:cxn>
                <a:cxn ang="0">
                  <a:pos x="connsiteX18499" y="connsiteY18499"/>
                </a:cxn>
                <a:cxn ang="0">
                  <a:pos x="connsiteX18500" y="connsiteY18500"/>
                </a:cxn>
                <a:cxn ang="0">
                  <a:pos x="connsiteX18501" y="connsiteY18501"/>
                </a:cxn>
                <a:cxn ang="0">
                  <a:pos x="connsiteX18502" y="connsiteY18502"/>
                </a:cxn>
                <a:cxn ang="0">
                  <a:pos x="connsiteX18503" y="connsiteY18503"/>
                </a:cxn>
                <a:cxn ang="0">
                  <a:pos x="connsiteX18504" y="connsiteY18504"/>
                </a:cxn>
                <a:cxn ang="0">
                  <a:pos x="connsiteX18505" y="connsiteY18505"/>
                </a:cxn>
                <a:cxn ang="0">
                  <a:pos x="connsiteX18506" y="connsiteY18506"/>
                </a:cxn>
                <a:cxn ang="0">
                  <a:pos x="connsiteX18507" y="connsiteY18507"/>
                </a:cxn>
                <a:cxn ang="0">
                  <a:pos x="connsiteX18508" y="connsiteY18508"/>
                </a:cxn>
                <a:cxn ang="0">
                  <a:pos x="connsiteX18509" y="connsiteY18509"/>
                </a:cxn>
                <a:cxn ang="0">
                  <a:pos x="connsiteX18510" y="connsiteY18510"/>
                </a:cxn>
                <a:cxn ang="0">
                  <a:pos x="connsiteX18511" y="connsiteY18511"/>
                </a:cxn>
                <a:cxn ang="0">
                  <a:pos x="connsiteX18512" y="connsiteY18512"/>
                </a:cxn>
                <a:cxn ang="0">
                  <a:pos x="connsiteX18513" y="connsiteY18513"/>
                </a:cxn>
                <a:cxn ang="0">
                  <a:pos x="connsiteX18514" y="connsiteY18514"/>
                </a:cxn>
                <a:cxn ang="0">
                  <a:pos x="connsiteX18515" y="connsiteY18515"/>
                </a:cxn>
                <a:cxn ang="0">
                  <a:pos x="connsiteX18516" y="connsiteY18516"/>
                </a:cxn>
                <a:cxn ang="0">
                  <a:pos x="connsiteX18517" y="connsiteY18517"/>
                </a:cxn>
                <a:cxn ang="0">
                  <a:pos x="connsiteX18518" y="connsiteY18518"/>
                </a:cxn>
                <a:cxn ang="0">
                  <a:pos x="connsiteX18519" y="connsiteY18519"/>
                </a:cxn>
                <a:cxn ang="0">
                  <a:pos x="connsiteX18520" y="connsiteY18520"/>
                </a:cxn>
                <a:cxn ang="0">
                  <a:pos x="connsiteX18521" y="connsiteY18521"/>
                </a:cxn>
                <a:cxn ang="0">
                  <a:pos x="connsiteX18522" y="connsiteY18522"/>
                </a:cxn>
                <a:cxn ang="0">
                  <a:pos x="connsiteX18523" y="connsiteY18523"/>
                </a:cxn>
                <a:cxn ang="0">
                  <a:pos x="connsiteX18524" y="connsiteY18524"/>
                </a:cxn>
                <a:cxn ang="0">
                  <a:pos x="connsiteX18525" y="connsiteY18525"/>
                </a:cxn>
                <a:cxn ang="0">
                  <a:pos x="connsiteX18526" y="connsiteY18526"/>
                </a:cxn>
                <a:cxn ang="0">
                  <a:pos x="connsiteX18527" y="connsiteY18527"/>
                </a:cxn>
                <a:cxn ang="0">
                  <a:pos x="connsiteX18528" y="connsiteY18528"/>
                </a:cxn>
                <a:cxn ang="0">
                  <a:pos x="connsiteX18529" y="connsiteY18529"/>
                </a:cxn>
                <a:cxn ang="0">
                  <a:pos x="connsiteX18530" y="connsiteY18530"/>
                </a:cxn>
                <a:cxn ang="0">
                  <a:pos x="connsiteX18531" y="connsiteY18531"/>
                </a:cxn>
                <a:cxn ang="0">
                  <a:pos x="connsiteX18532" y="connsiteY18532"/>
                </a:cxn>
                <a:cxn ang="0">
                  <a:pos x="connsiteX18533" y="connsiteY18533"/>
                </a:cxn>
                <a:cxn ang="0">
                  <a:pos x="connsiteX18534" y="connsiteY18534"/>
                </a:cxn>
                <a:cxn ang="0">
                  <a:pos x="connsiteX18535" y="connsiteY18535"/>
                </a:cxn>
                <a:cxn ang="0">
                  <a:pos x="connsiteX18536" y="connsiteY18536"/>
                </a:cxn>
                <a:cxn ang="0">
                  <a:pos x="connsiteX18537" y="connsiteY18537"/>
                </a:cxn>
                <a:cxn ang="0">
                  <a:pos x="connsiteX18538" y="connsiteY18538"/>
                </a:cxn>
                <a:cxn ang="0">
                  <a:pos x="connsiteX18539" y="connsiteY18539"/>
                </a:cxn>
                <a:cxn ang="0">
                  <a:pos x="connsiteX18540" y="connsiteY18540"/>
                </a:cxn>
                <a:cxn ang="0">
                  <a:pos x="connsiteX18541" y="connsiteY18541"/>
                </a:cxn>
                <a:cxn ang="0">
                  <a:pos x="connsiteX18542" y="connsiteY18542"/>
                </a:cxn>
                <a:cxn ang="0">
                  <a:pos x="connsiteX18543" y="connsiteY18543"/>
                </a:cxn>
                <a:cxn ang="0">
                  <a:pos x="connsiteX18544" y="connsiteY18544"/>
                </a:cxn>
                <a:cxn ang="0">
                  <a:pos x="connsiteX18545" y="connsiteY18545"/>
                </a:cxn>
                <a:cxn ang="0">
                  <a:pos x="connsiteX18546" y="connsiteY18546"/>
                </a:cxn>
                <a:cxn ang="0">
                  <a:pos x="connsiteX18547" y="connsiteY18547"/>
                </a:cxn>
                <a:cxn ang="0">
                  <a:pos x="connsiteX18548" y="connsiteY18548"/>
                </a:cxn>
                <a:cxn ang="0">
                  <a:pos x="connsiteX18549" y="connsiteY18549"/>
                </a:cxn>
                <a:cxn ang="0">
                  <a:pos x="connsiteX18550" y="connsiteY18550"/>
                </a:cxn>
                <a:cxn ang="0">
                  <a:pos x="connsiteX18551" y="connsiteY18551"/>
                </a:cxn>
                <a:cxn ang="0">
                  <a:pos x="connsiteX18552" y="connsiteY18552"/>
                </a:cxn>
                <a:cxn ang="0">
                  <a:pos x="connsiteX18553" y="connsiteY18553"/>
                </a:cxn>
                <a:cxn ang="0">
                  <a:pos x="connsiteX18554" y="connsiteY18554"/>
                </a:cxn>
                <a:cxn ang="0">
                  <a:pos x="connsiteX18555" y="connsiteY18555"/>
                </a:cxn>
                <a:cxn ang="0">
                  <a:pos x="connsiteX18556" y="connsiteY18556"/>
                </a:cxn>
                <a:cxn ang="0">
                  <a:pos x="connsiteX18557" y="connsiteY18557"/>
                </a:cxn>
                <a:cxn ang="0">
                  <a:pos x="connsiteX18558" y="connsiteY18558"/>
                </a:cxn>
                <a:cxn ang="0">
                  <a:pos x="connsiteX18559" y="connsiteY18559"/>
                </a:cxn>
                <a:cxn ang="0">
                  <a:pos x="connsiteX18560" y="connsiteY18560"/>
                </a:cxn>
                <a:cxn ang="0">
                  <a:pos x="connsiteX18561" y="connsiteY18561"/>
                </a:cxn>
                <a:cxn ang="0">
                  <a:pos x="connsiteX18562" y="connsiteY18562"/>
                </a:cxn>
                <a:cxn ang="0">
                  <a:pos x="connsiteX18563" y="connsiteY18563"/>
                </a:cxn>
                <a:cxn ang="0">
                  <a:pos x="connsiteX18564" y="connsiteY18564"/>
                </a:cxn>
                <a:cxn ang="0">
                  <a:pos x="connsiteX18565" y="connsiteY18565"/>
                </a:cxn>
                <a:cxn ang="0">
                  <a:pos x="connsiteX18566" y="connsiteY18566"/>
                </a:cxn>
                <a:cxn ang="0">
                  <a:pos x="connsiteX18567" y="connsiteY18567"/>
                </a:cxn>
                <a:cxn ang="0">
                  <a:pos x="connsiteX18568" y="connsiteY18568"/>
                </a:cxn>
                <a:cxn ang="0">
                  <a:pos x="connsiteX18569" y="connsiteY18569"/>
                </a:cxn>
                <a:cxn ang="0">
                  <a:pos x="connsiteX18570" y="connsiteY18570"/>
                </a:cxn>
                <a:cxn ang="0">
                  <a:pos x="connsiteX18571" y="connsiteY18571"/>
                </a:cxn>
                <a:cxn ang="0">
                  <a:pos x="connsiteX18572" y="connsiteY18572"/>
                </a:cxn>
                <a:cxn ang="0">
                  <a:pos x="connsiteX18573" y="connsiteY18573"/>
                </a:cxn>
                <a:cxn ang="0">
                  <a:pos x="connsiteX18574" y="connsiteY18574"/>
                </a:cxn>
                <a:cxn ang="0">
                  <a:pos x="connsiteX18575" y="connsiteY18575"/>
                </a:cxn>
                <a:cxn ang="0">
                  <a:pos x="connsiteX18576" y="connsiteY18576"/>
                </a:cxn>
                <a:cxn ang="0">
                  <a:pos x="connsiteX18577" y="connsiteY18577"/>
                </a:cxn>
                <a:cxn ang="0">
                  <a:pos x="connsiteX18578" y="connsiteY18578"/>
                </a:cxn>
                <a:cxn ang="0">
                  <a:pos x="connsiteX18579" y="connsiteY18579"/>
                </a:cxn>
                <a:cxn ang="0">
                  <a:pos x="connsiteX18580" y="connsiteY18580"/>
                </a:cxn>
                <a:cxn ang="0">
                  <a:pos x="connsiteX18581" y="connsiteY18581"/>
                </a:cxn>
                <a:cxn ang="0">
                  <a:pos x="connsiteX18582" y="connsiteY18582"/>
                </a:cxn>
                <a:cxn ang="0">
                  <a:pos x="connsiteX18583" y="connsiteY18583"/>
                </a:cxn>
                <a:cxn ang="0">
                  <a:pos x="connsiteX18584" y="connsiteY18584"/>
                </a:cxn>
                <a:cxn ang="0">
                  <a:pos x="connsiteX18585" y="connsiteY18585"/>
                </a:cxn>
                <a:cxn ang="0">
                  <a:pos x="connsiteX18586" y="connsiteY18586"/>
                </a:cxn>
                <a:cxn ang="0">
                  <a:pos x="connsiteX18587" y="connsiteY18587"/>
                </a:cxn>
                <a:cxn ang="0">
                  <a:pos x="connsiteX18588" y="connsiteY18588"/>
                </a:cxn>
                <a:cxn ang="0">
                  <a:pos x="connsiteX18589" y="connsiteY18589"/>
                </a:cxn>
                <a:cxn ang="0">
                  <a:pos x="connsiteX18590" y="connsiteY18590"/>
                </a:cxn>
                <a:cxn ang="0">
                  <a:pos x="connsiteX18591" y="connsiteY18591"/>
                </a:cxn>
                <a:cxn ang="0">
                  <a:pos x="connsiteX18592" y="connsiteY18592"/>
                </a:cxn>
                <a:cxn ang="0">
                  <a:pos x="connsiteX18593" y="connsiteY18593"/>
                </a:cxn>
                <a:cxn ang="0">
                  <a:pos x="connsiteX18594" y="connsiteY18594"/>
                </a:cxn>
                <a:cxn ang="0">
                  <a:pos x="connsiteX18595" y="connsiteY18595"/>
                </a:cxn>
                <a:cxn ang="0">
                  <a:pos x="connsiteX18596" y="connsiteY18596"/>
                </a:cxn>
                <a:cxn ang="0">
                  <a:pos x="connsiteX18597" y="connsiteY18597"/>
                </a:cxn>
                <a:cxn ang="0">
                  <a:pos x="connsiteX18598" y="connsiteY18598"/>
                </a:cxn>
                <a:cxn ang="0">
                  <a:pos x="connsiteX18599" y="connsiteY18599"/>
                </a:cxn>
                <a:cxn ang="0">
                  <a:pos x="connsiteX18600" y="connsiteY18600"/>
                </a:cxn>
                <a:cxn ang="0">
                  <a:pos x="connsiteX18601" y="connsiteY18601"/>
                </a:cxn>
                <a:cxn ang="0">
                  <a:pos x="connsiteX18602" y="connsiteY18602"/>
                </a:cxn>
                <a:cxn ang="0">
                  <a:pos x="connsiteX18603" y="connsiteY18603"/>
                </a:cxn>
                <a:cxn ang="0">
                  <a:pos x="connsiteX18604" y="connsiteY18604"/>
                </a:cxn>
                <a:cxn ang="0">
                  <a:pos x="connsiteX18605" y="connsiteY18605"/>
                </a:cxn>
                <a:cxn ang="0">
                  <a:pos x="connsiteX18606" y="connsiteY18606"/>
                </a:cxn>
                <a:cxn ang="0">
                  <a:pos x="connsiteX18607" y="connsiteY18607"/>
                </a:cxn>
                <a:cxn ang="0">
                  <a:pos x="connsiteX18608" y="connsiteY18608"/>
                </a:cxn>
                <a:cxn ang="0">
                  <a:pos x="connsiteX18609" y="connsiteY18609"/>
                </a:cxn>
                <a:cxn ang="0">
                  <a:pos x="connsiteX18610" y="connsiteY18610"/>
                </a:cxn>
                <a:cxn ang="0">
                  <a:pos x="connsiteX18611" y="connsiteY18611"/>
                </a:cxn>
                <a:cxn ang="0">
                  <a:pos x="connsiteX18612" y="connsiteY18612"/>
                </a:cxn>
                <a:cxn ang="0">
                  <a:pos x="connsiteX18613" y="connsiteY18613"/>
                </a:cxn>
                <a:cxn ang="0">
                  <a:pos x="connsiteX18614" y="connsiteY18614"/>
                </a:cxn>
                <a:cxn ang="0">
                  <a:pos x="connsiteX18615" y="connsiteY18615"/>
                </a:cxn>
                <a:cxn ang="0">
                  <a:pos x="connsiteX18616" y="connsiteY18616"/>
                </a:cxn>
                <a:cxn ang="0">
                  <a:pos x="connsiteX18617" y="connsiteY18617"/>
                </a:cxn>
                <a:cxn ang="0">
                  <a:pos x="connsiteX18618" y="connsiteY18618"/>
                </a:cxn>
                <a:cxn ang="0">
                  <a:pos x="connsiteX18619" y="connsiteY18619"/>
                </a:cxn>
                <a:cxn ang="0">
                  <a:pos x="connsiteX18620" y="connsiteY18620"/>
                </a:cxn>
                <a:cxn ang="0">
                  <a:pos x="connsiteX18621" y="connsiteY18621"/>
                </a:cxn>
                <a:cxn ang="0">
                  <a:pos x="connsiteX18622" y="connsiteY18622"/>
                </a:cxn>
                <a:cxn ang="0">
                  <a:pos x="connsiteX18623" y="connsiteY18623"/>
                </a:cxn>
                <a:cxn ang="0">
                  <a:pos x="connsiteX18624" y="connsiteY18624"/>
                </a:cxn>
                <a:cxn ang="0">
                  <a:pos x="connsiteX18625" y="connsiteY18625"/>
                </a:cxn>
                <a:cxn ang="0">
                  <a:pos x="connsiteX18626" y="connsiteY18626"/>
                </a:cxn>
                <a:cxn ang="0">
                  <a:pos x="connsiteX18627" y="connsiteY18627"/>
                </a:cxn>
                <a:cxn ang="0">
                  <a:pos x="connsiteX18628" y="connsiteY18628"/>
                </a:cxn>
                <a:cxn ang="0">
                  <a:pos x="connsiteX18629" y="connsiteY18629"/>
                </a:cxn>
                <a:cxn ang="0">
                  <a:pos x="connsiteX18630" y="connsiteY18630"/>
                </a:cxn>
                <a:cxn ang="0">
                  <a:pos x="connsiteX18631" y="connsiteY18631"/>
                </a:cxn>
                <a:cxn ang="0">
                  <a:pos x="connsiteX18632" y="connsiteY18632"/>
                </a:cxn>
                <a:cxn ang="0">
                  <a:pos x="connsiteX18633" y="connsiteY18633"/>
                </a:cxn>
                <a:cxn ang="0">
                  <a:pos x="connsiteX18634" y="connsiteY18634"/>
                </a:cxn>
                <a:cxn ang="0">
                  <a:pos x="connsiteX18635" y="connsiteY18635"/>
                </a:cxn>
                <a:cxn ang="0">
                  <a:pos x="connsiteX18636" y="connsiteY18636"/>
                </a:cxn>
                <a:cxn ang="0">
                  <a:pos x="connsiteX18637" y="connsiteY18637"/>
                </a:cxn>
                <a:cxn ang="0">
                  <a:pos x="connsiteX18638" y="connsiteY18638"/>
                </a:cxn>
                <a:cxn ang="0">
                  <a:pos x="connsiteX18639" y="connsiteY18639"/>
                </a:cxn>
                <a:cxn ang="0">
                  <a:pos x="connsiteX18640" y="connsiteY18640"/>
                </a:cxn>
                <a:cxn ang="0">
                  <a:pos x="connsiteX18641" y="connsiteY18641"/>
                </a:cxn>
                <a:cxn ang="0">
                  <a:pos x="connsiteX18642" y="connsiteY18642"/>
                </a:cxn>
                <a:cxn ang="0">
                  <a:pos x="connsiteX18643" y="connsiteY18643"/>
                </a:cxn>
                <a:cxn ang="0">
                  <a:pos x="connsiteX18644" y="connsiteY18644"/>
                </a:cxn>
                <a:cxn ang="0">
                  <a:pos x="connsiteX18645" y="connsiteY18645"/>
                </a:cxn>
                <a:cxn ang="0">
                  <a:pos x="connsiteX18646" y="connsiteY18646"/>
                </a:cxn>
                <a:cxn ang="0">
                  <a:pos x="connsiteX18647" y="connsiteY18647"/>
                </a:cxn>
                <a:cxn ang="0">
                  <a:pos x="connsiteX18648" y="connsiteY18648"/>
                </a:cxn>
                <a:cxn ang="0">
                  <a:pos x="connsiteX18649" y="connsiteY18649"/>
                </a:cxn>
                <a:cxn ang="0">
                  <a:pos x="connsiteX18650" y="connsiteY18650"/>
                </a:cxn>
                <a:cxn ang="0">
                  <a:pos x="connsiteX18651" y="connsiteY18651"/>
                </a:cxn>
                <a:cxn ang="0">
                  <a:pos x="connsiteX18652" y="connsiteY18652"/>
                </a:cxn>
                <a:cxn ang="0">
                  <a:pos x="connsiteX18653" y="connsiteY18653"/>
                </a:cxn>
                <a:cxn ang="0">
                  <a:pos x="connsiteX18654" y="connsiteY18654"/>
                </a:cxn>
                <a:cxn ang="0">
                  <a:pos x="connsiteX18655" y="connsiteY18655"/>
                </a:cxn>
                <a:cxn ang="0">
                  <a:pos x="connsiteX18656" y="connsiteY18656"/>
                </a:cxn>
                <a:cxn ang="0">
                  <a:pos x="connsiteX18657" y="connsiteY18657"/>
                </a:cxn>
                <a:cxn ang="0">
                  <a:pos x="connsiteX18658" y="connsiteY18658"/>
                </a:cxn>
                <a:cxn ang="0">
                  <a:pos x="connsiteX18659" y="connsiteY18659"/>
                </a:cxn>
                <a:cxn ang="0">
                  <a:pos x="connsiteX18660" y="connsiteY18660"/>
                </a:cxn>
                <a:cxn ang="0">
                  <a:pos x="connsiteX18661" y="connsiteY18661"/>
                </a:cxn>
                <a:cxn ang="0">
                  <a:pos x="connsiteX18662" y="connsiteY18662"/>
                </a:cxn>
                <a:cxn ang="0">
                  <a:pos x="connsiteX18663" y="connsiteY18663"/>
                </a:cxn>
                <a:cxn ang="0">
                  <a:pos x="connsiteX18664" y="connsiteY18664"/>
                </a:cxn>
                <a:cxn ang="0">
                  <a:pos x="connsiteX18665" y="connsiteY18665"/>
                </a:cxn>
                <a:cxn ang="0">
                  <a:pos x="connsiteX18666" y="connsiteY18666"/>
                </a:cxn>
                <a:cxn ang="0">
                  <a:pos x="connsiteX18667" y="connsiteY18667"/>
                </a:cxn>
                <a:cxn ang="0">
                  <a:pos x="connsiteX18668" y="connsiteY18668"/>
                </a:cxn>
                <a:cxn ang="0">
                  <a:pos x="connsiteX18669" y="connsiteY18669"/>
                </a:cxn>
                <a:cxn ang="0">
                  <a:pos x="connsiteX18670" y="connsiteY18670"/>
                </a:cxn>
                <a:cxn ang="0">
                  <a:pos x="connsiteX18671" y="connsiteY18671"/>
                </a:cxn>
                <a:cxn ang="0">
                  <a:pos x="connsiteX18672" y="connsiteY18672"/>
                </a:cxn>
                <a:cxn ang="0">
                  <a:pos x="connsiteX18673" y="connsiteY18673"/>
                </a:cxn>
                <a:cxn ang="0">
                  <a:pos x="connsiteX18674" y="connsiteY18674"/>
                </a:cxn>
                <a:cxn ang="0">
                  <a:pos x="connsiteX18675" y="connsiteY18675"/>
                </a:cxn>
                <a:cxn ang="0">
                  <a:pos x="connsiteX18676" y="connsiteY18676"/>
                </a:cxn>
                <a:cxn ang="0">
                  <a:pos x="connsiteX18677" y="connsiteY18677"/>
                </a:cxn>
                <a:cxn ang="0">
                  <a:pos x="connsiteX18678" y="connsiteY18678"/>
                </a:cxn>
                <a:cxn ang="0">
                  <a:pos x="connsiteX18679" y="connsiteY18679"/>
                </a:cxn>
                <a:cxn ang="0">
                  <a:pos x="connsiteX18680" y="connsiteY18680"/>
                </a:cxn>
                <a:cxn ang="0">
                  <a:pos x="connsiteX18681" y="connsiteY18681"/>
                </a:cxn>
                <a:cxn ang="0">
                  <a:pos x="connsiteX18682" y="connsiteY18682"/>
                </a:cxn>
                <a:cxn ang="0">
                  <a:pos x="connsiteX18683" y="connsiteY18683"/>
                </a:cxn>
                <a:cxn ang="0">
                  <a:pos x="connsiteX18684" y="connsiteY18684"/>
                </a:cxn>
                <a:cxn ang="0">
                  <a:pos x="connsiteX18685" y="connsiteY18685"/>
                </a:cxn>
                <a:cxn ang="0">
                  <a:pos x="connsiteX18686" y="connsiteY18686"/>
                </a:cxn>
                <a:cxn ang="0">
                  <a:pos x="connsiteX18687" y="connsiteY18687"/>
                </a:cxn>
                <a:cxn ang="0">
                  <a:pos x="connsiteX18688" y="connsiteY18688"/>
                </a:cxn>
                <a:cxn ang="0">
                  <a:pos x="connsiteX18689" y="connsiteY18689"/>
                </a:cxn>
                <a:cxn ang="0">
                  <a:pos x="connsiteX18690" y="connsiteY18690"/>
                </a:cxn>
                <a:cxn ang="0">
                  <a:pos x="connsiteX18691" y="connsiteY18691"/>
                </a:cxn>
                <a:cxn ang="0">
                  <a:pos x="connsiteX18692" y="connsiteY18692"/>
                </a:cxn>
                <a:cxn ang="0">
                  <a:pos x="connsiteX18693" y="connsiteY18693"/>
                </a:cxn>
                <a:cxn ang="0">
                  <a:pos x="connsiteX18694" y="connsiteY18694"/>
                </a:cxn>
                <a:cxn ang="0">
                  <a:pos x="connsiteX18695" y="connsiteY18695"/>
                </a:cxn>
                <a:cxn ang="0">
                  <a:pos x="connsiteX18696" y="connsiteY18696"/>
                </a:cxn>
                <a:cxn ang="0">
                  <a:pos x="connsiteX18697" y="connsiteY18697"/>
                </a:cxn>
                <a:cxn ang="0">
                  <a:pos x="connsiteX18698" y="connsiteY18698"/>
                </a:cxn>
                <a:cxn ang="0">
                  <a:pos x="connsiteX18699" y="connsiteY18699"/>
                </a:cxn>
                <a:cxn ang="0">
                  <a:pos x="connsiteX18700" y="connsiteY18700"/>
                </a:cxn>
                <a:cxn ang="0">
                  <a:pos x="connsiteX18701" y="connsiteY18701"/>
                </a:cxn>
                <a:cxn ang="0">
                  <a:pos x="connsiteX18702" y="connsiteY18702"/>
                </a:cxn>
                <a:cxn ang="0">
                  <a:pos x="connsiteX18703" y="connsiteY18703"/>
                </a:cxn>
                <a:cxn ang="0">
                  <a:pos x="connsiteX18704" y="connsiteY18704"/>
                </a:cxn>
                <a:cxn ang="0">
                  <a:pos x="connsiteX18705" y="connsiteY18705"/>
                </a:cxn>
                <a:cxn ang="0">
                  <a:pos x="connsiteX18706" y="connsiteY18706"/>
                </a:cxn>
                <a:cxn ang="0">
                  <a:pos x="connsiteX18707" y="connsiteY18707"/>
                </a:cxn>
                <a:cxn ang="0">
                  <a:pos x="connsiteX18708" y="connsiteY18708"/>
                </a:cxn>
                <a:cxn ang="0">
                  <a:pos x="connsiteX18709" y="connsiteY18709"/>
                </a:cxn>
                <a:cxn ang="0">
                  <a:pos x="connsiteX18710" y="connsiteY18710"/>
                </a:cxn>
                <a:cxn ang="0">
                  <a:pos x="connsiteX18711" y="connsiteY18711"/>
                </a:cxn>
                <a:cxn ang="0">
                  <a:pos x="connsiteX18712" y="connsiteY18712"/>
                </a:cxn>
                <a:cxn ang="0">
                  <a:pos x="connsiteX18713" y="connsiteY18713"/>
                </a:cxn>
                <a:cxn ang="0">
                  <a:pos x="connsiteX18714" y="connsiteY18714"/>
                </a:cxn>
                <a:cxn ang="0">
                  <a:pos x="connsiteX18715" y="connsiteY18715"/>
                </a:cxn>
                <a:cxn ang="0">
                  <a:pos x="connsiteX18716" y="connsiteY18716"/>
                </a:cxn>
                <a:cxn ang="0">
                  <a:pos x="connsiteX18717" y="connsiteY18717"/>
                </a:cxn>
                <a:cxn ang="0">
                  <a:pos x="connsiteX18718" y="connsiteY18718"/>
                </a:cxn>
                <a:cxn ang="0">
                  <a:pos x="connsiteX18719" y="connsiteY18719"/>
                </a:cxn>
                <a:cxn ang="0">
                  <a:pos x="connsiteX18720" y="connsiteY18720"/>
                </a:cxn>
                <a:cxn ang="0">
                  <a:pos x="connsiteX18721" y="connsiteY18721"/>
                </a:cxn>
                <a:cxn ang="0">
                  <a:pos x="connsiteX18722" y="connsiteY18722"/>
                </a:cxn>
                <a:cxn ang="0">
                  <a:pos x="connsiteX18723" y="connsiteY18723"/>
                </a:cxn>
                <a:cxn ang="0">
                  <a:pos x="connsiteX18724" y="connsiteY18724"/>
                </a:cxn>
                <a:cxn ang="0">
                  <a:pos x="connsiteX18725" y="connsiteY18725"/>
                </a:cxn>
                <a:cxn ang="0">
                  <a:pos x="connsiteX18726" y="connsiteY18726"/>
                </a:cxn>
                <a:cxn ang="0">
                  <a:pos x="connsiteX18727" y="connsiteY18727"/>
                </a:cxn>
                <a:cxn ang="0">
                  <a:pos x="connsiteX18728" y="connsiteY18728"/>
                </a:cxn>
                <a:cxn ang="0">
                  <a:pos x="connsiteX18729" y="connsiteY18729"/>
                </a:cxn>
                <a:cxn ang="0">
                  <a:pos x="connsiteX18730" y="connsiteY18730"/>
                </a:cxn>
                <a:cxn ang="0">
                  <a:pos x="connsiteX18731" y="connsiteY18731"/>
                </a:cxn>
                <a:cxn ang="0">
                  <a:pos x="connsiteX18732" y="connsiteY18732"/>
                </a:cxn>
                <a:cxn ang="0">
                  <a:pos x="connsiteX18733" y="connsiteY18733"/>
                </a:cxn>
                <a:cxn ang="0">
                  <a:pos x="connsiteX18734" y="connsiteY18734"/>
                </a:cxn>
                <a:cxn ang="0">
                  <a:pos x="connsiteX18735" y="connsiteY18735"/>
                </a:cxn>
                <a:cxn ang="0">
                  <a:pos x="connsiteX18736" y="connsiteY18736"/>
                </a:cxn>
                <a:cxn ang="0">
                  <a:pos x="connsiteX18737" y="connsiteY18737"/>
                </a:cxn>
                <a:cxn ang="0">
                  <a:pos x="connsiteX18738" y="connsiteY18738"/>
                </a:cxn>
                <a:cxn ang="0">
                  <a:pos x="connsiteX18739" y="connsiteY18739"/>
                </a:cxn>
                <a:cxn ang="0">
                  <a:pos x="connsiteX18740" y="connsiteY18740"/>
                </a:cxn>
                <a:cxn ang="0">
                  <a:pos x="connsiteX18741" y="connsiteY18741"/>
                </a:cxn>
                <a:cxn ang="0">
                  <a:pos x="connsiteX18742" y="connsiteY18742"/>
                </a:cxn>
                <a:cxn ang="0">
                  <a:pos x="connsiteX18743" y="connsiteY18743"/>
                </a:cxn>
                <a:cxn ang="0">
                  <a:pos x="connsiteX18744" y="connsiteY18744"/>
                </a:cxn>
                <a:cxn ang="0">
                  <a:pos x="connsiteX18745" y="connsiteY18745"/>
                </a:cxn>
                <a:cxn ang="0">
                  <a:pos x="connsiteX18746" y="connsiteY18746"/>
                </a:cxn>
                <a:cxn ang="0">
                  <a:pos x="connsiteX18747" y="connsiteY18747"/>
                </a:cxn>
                <a:cxn ang="0">
                  <a:pos x="connsiteX18748" y="connsiteY18748"/>
                </a:cxn>
                <a:cxn ang="0">
                  <a:pos x="connsiteX18749" y="connsiteY18749"/>
                </a:cxn>
                <a:cxn ang="0">
                  <a:pos x="connsiteX18750" y="connsiteY18750"/>
                </a:cxn>
                <a:cxn ang="0">
                  <a:pos x="connsiteX18751" y="connsiteY18751"/>
                </a:cxn>
                <a:cxn ang="0">
                  <a:pos x="connsiteX18752" y="connsiteY18752"/>
                </a:cxn>
                <a:cxn ang="0">
                  <a:pos x="connsiteX18753" y="connsiteY18753"/>
                </a:cxn>
                <a:cxn ang="0">
                  <a:pos x="connsiteX18754" y="connsiteY18754"/>
                </a:cxn>
                <a:cxn ang="0">
                  <a:pos x="connsiteX18755" y="connsiteY18755"/>
                </a:cxn>
                <a:cxn ang="0">
                  <a:pos x="connsiteX18756" y="connsiteY18756"/>
                </a:cxn>
                <a:cxn ang="0">
                  <a:pos x="connsiteX18757" y="connsiteY18757"/>
                </a:cxn>
                <a:cxn ang="0">
                  <a:pos x="connsiteX18758" y="connsiteY18758"/>
                </a:cxn>
                <a:cxn ang="0">
                  <a:pos x="connsiteX18759" y="connsiteY18759"/>
                </a:cxn>
                <a:cxn ang="0">
                  <a:pos x="connsiteX18760" y="connsiteY18760"/>
                </a:cxn>
                <a:cxn ang="0">
                  <a:pos x="connsiteX18761" y="connsiteY18761"/>
                </a:cxn>
                <a:cxn ang="0">
                  <a:pos x="connsiteX18762" y="connsiteY18762"/>
                </a:cxn>
                <a:cxn ang="0">
                  <a:pos x="connsiteX18763" y="connsiteY18763"/>
                </a:cxn>
                <a:cxn ang="0">
                  <a:pos x="connsiteX18764" y="connsiteY18764"/>
                </a:cxn>
                <a:cxn ang="0">
                  <a:pos x="connsiteX18765" y="connsiteY18765"/>
                </a:cxn>
                <a:cxn ang="0">
                  <a:pos x="connsiteX18766" y="connsiteY18766"/>
                </a:cxn>
                <a:cxn ang="0">
                  <a:pos x="connsiteX18767" y="connsiteY18767"/>
                </a:cxn>
                <a:cxn ang="0">
                  <a:pos x="connsiteX18768" y="connsiteY18768"/>
                </a:cxn>
                <a:cxn ang="0">
                  <a:pos x="connsiteX18769" y="connsiteY18769"/>
                </a:cxn>
                <a:cxn ang="0">
                  <a:pos x="connsiteX18770" y="connsiteY18770"/>
                </a:cxn>
                <a:cxn ang="0">
                  <a:pos x="connsiteX18771" y="connsiteY18771"/>
                </a:cxn>
                <a:cxn ang="0">
                  <a:pos x="connsiteX18772" y="connsiteY18772"/>
                </a:cxn>
                <a:cxn ang="0">
                  <a:pos x="connsiteX18773" y="connsiteY18773"/>
                </a:cxn>
                <a:cxn ang="0">
                  <a:pos x="connsiteX18774" y="connsiteY18774"/>
                </a:cxn>
                <a:cxn ang="0">
                  <a:pos x="connsiteX18775" y="connsiteY18775"/>
                </a:cxn>
                <a:cxn ang="0">
                  <a:pos x="connsiteX18776" y="connsiteY18776"/>
                </a:cxn>
                <a:cxn ang="0">
                  <a:pos x="connsiteX18777" y="connsiteY18777"/>
                </a:cxn>
                <a:cxn ang="0">
                  <a:pos x="connsiteX18778" y="connsiteY18778"/>
                </a:cxn>
                <a:cxn ang="0">
                  <a:pos x="connsiteX18779" y="connsiteY18779"/>
                </a:cxn>
                <a:cxn ang="0">
                  <a:pos x="connsiteX18780" y="connsiteY18780"/>
                </a:cxn>
                <a:cxn ang="0">
                  <a:pos x="connsiteX18781" y="connsiteY18781"/>
                </a:cxn>
                <a:cxn ang="0">
                  <a:pos x="connsiteX18782" y="connsiteY18782"/>
                </a:cxn>
                <a:cxn ang="0">
                  <a:pos x="connsiteX18783" y="connsiteY18783"/>
                </a:cxn>
                <a:cxn ang="0">
                  <a:pos x="connsiteX18784" y="connsiteY18784"/>
                </a:cxn>
                <a:cxn ang="0">
                  <a:pos x="connsiteX18785" y="connsiteY18785"/>
                </a:cxn>
                <a:cxn ang="0">
                  <a:pos x="connsiteX18786" y="connsiteY18786"/>
                </a:cxn>
                <a:cxn ang="0">
                  <a:pos x="connsiteX18787" y="connsiteY18787"/>
                </a:cxn>
                <a:cxn ang="0">
                  <a:pos x="connsiteX18788" y="connsiteY18788"/>
                </a:cxn>
                <a:cxn ang="0">
                  <a:pos x="connsiteX18789" y="connsiteY18789"/>
                </a:cxn>
                <a:cxn ang="0">
                  <a:pos x="connsiteX18790" y="connsiteY18790"/>
                </a:cxn>
                <a:cxn ang="0">
                  <a:pos x="connsiteX18791" y="connsiteY18791"/>
                </a:cxn>
                <a:cxn ang="0">
                  <a:pos x="connsiteX18792" y="connsiteY18792"/>
                </a:cxn>
                <a:cxn ang="0">
                  <a:pos x="connsiteX18793" y="connsiteY18793"/>
                </a:cxn>
                <a:cxn ang="0">
                  <a:pos x="connsiteX18794" y="connsiteY18794"/>
                </a:cxn>
                <a:cxn ang="0">
                  <a:pos x="connsiteX18795" y="connsiteY18795"/>
                </a:cxn>
                <a:cxn ang="0">
                  <a:pos x="connsiteX18796" y="connsiteY18796"/>
                </a:cxn>
                <a:cxn ang="0">
                  <a:pos x="connsiteX18797" y="connsiteY18797"/>
                </a:cxn>
                <a:cxn ang="0">
                  <a:pos x="connsiteX18798" y="connsiteY18798"/>
                </a:cxn>
                <a:cxn ang="0">
                  <a:pos x="connsiteX18799" y="connsiteY18799"/>
                </a:cxn>
                <a:cxn ang="0">
                  <a:pos x="connsiteX18800" y="connsiteY18800"/>
                </a:cxn>
                <a:cxn ang="0">
                  <a:pos x="connsiteX18801" y="connsiteY18801"/>
                </a:cxn>
                <a:cxn ang="0">
                  <a:pos x="connsiteX18802" y="connsiteY18802"/>
                </a:cxn>
                <a:cxn ang="0">
                  <a:pos x="connsiteX18803" y="connsiteY18803"/>
                </a:cxn>
                <a:cxn ang="0">
                  <a:pos x="connsiteX18804" y="connsiteY18804"/>
                </a:cxn>
                <a:cxn ang="0">
                  <a:pos x="connsiteX18805" y="connsiteY18805"/>
                </a:cxn>
                <a:cxn ang="0">
                  <a:pos x="connsiteX18806" y="connsiteY18806"/>
                </a:cxn>
                <a:cxn ang="0">
                  <a:pos x="connsiteX18807" y="connsiteY18807"/>
                </a:cxn>
                <a:cxn ang="0">
                  <a:pos x="connsiteX18808" y="connsiteY18808"/>
                </a:cxn>
                <a:cxn ang="0">
                  <a:pos x="connsiteX18809" y="connsiteY18809"/>
                </a:cxn>
                <a:cxn ang="0">
                  <a:pos x="connsiteX18810" y="connsiteY18810"/>
                </a:cxn>
                <a:cxn ang="0">
                  <a:pos x="connsiteX18811" y="connsiteY18811"/>
                </a:cxn>
                <a:cxn ang="0">
                  <a:pos x="connsiteX18812" y="connsiteY18812"/>
                </a:cxn>
                <a:cxn ang="0">
                  <a:pos x="connsiteX18813" y="connsiteY18813"/>
                </a:cxn>
                <a:cxn ang="0">
                  <a:pos x="connsiteX18814" y="connsiteY18814"/>
                </a:cxn>
                <a:cxn ang="0">
                  <a:pos x="connsiteX18815" y="connsiteY18815"/>
                </a:cxn>
                <a:cxn ang="0">
                  <a:pos x="connsiteX18816" y="connsiteY18816"/>
                </a:cxn>
                <a:cxn ang="0">
                  <a:pos x="connsiteX18817" y="connsiteY18817"/>
                </a:cxn>
                <a:cxn ang="0">
                  <a:pos x="connsiteX18818" y="connsiteY18818"/>
                </a:cxn>
                <a:cxn ang="0">
                  <a:pos x="connsiteX18819" y="connsiteY18819"/>
                </a:cxn>
                <a:cxn ang="0">
                  <a:pos x="connsiteX18820" y="connsiteY18820"/>
                </a:cxn>
                <a:cxn ang="0">
                  <a:pos x="connsiteX18821" y="connsiteY18821"/>
                </a:cxn>
                <a:cxn ang="0">
                  <a:pos x="connsiteX18822" y="connsiteY18822"/>
                </a:cxn>
                <a:cxn ang="0">
                  <a:pos x="connsiteX18823" y="connsiteY18823"/>
                </a:cxn>
                <a:cxn ang="0">
                  <a:pos x="connsiteX18824" y="connsiteY18824"/>
                </a:cxn>
                <a:cxn ang="0">
                  <a:pos x="connsiteX18825" y="connsiteY18825"/>
                </a:cxn>
                <a:cxn ang="0">
                  <a:pos x="connsiteX18826" y="connsiteY18826"/>
                </a:cxn>
                <a:cxn ang="0">
                  <a:pos x="connsiteX18827" y="connsiteY18827"/>
                </a:cxn>
                <a:cxn ang="0">
                  <a:pos x="connsiteX18828" y="connsiteY18828"/>
                </a:cxn>
                <a:cxn ang="0">
                  <a:pos x="connsiteX18829" y="connsiteY18829"/>
                </a:cxn>
                <a:cxn ang="0">
                  <a:pos x="connsiteX18830" y="connsiteY18830"/>
                </a:cxn>
                <a:cxn ang="0">
                  <a:pos x="connsiteX18831" y="connsiteY18831"/>
                </a:cxn>
                <a:cxn ang="0">
                  <a:pos x="connsiteX18832" y="connsiteY18832"/>
                </a:cxn>
                <a:cxn ang="0">
                  <a:pos x="connsiteX18833" y="connsiteY18833"/>
                </a:cxn>
                <a:cxn ang="0">
                  <a:pos x="connsiteX18834" y="connsiteY18834"/>
                </a:cxn>
                <a:cxn ang="0">
                  <a:pos x="connsiteX18835" y="connsiteY18835"/>
                </a:cxn>
                <a:cxn ang="0">
                  <a:pos x="connsiteX18836" y="connsiteY18836"/>
                </a:cxn>
                <a:cxn ang="0">
                  <a:pos x="connsiteX18837" y="connsiteY18837"/>
                </a:cxn>
                <a:cxn ang="0">
                  <a:pos x="connsiteX18838" y="connsiteY18838"/>
                </a:cxn>
                <a:cxn ang="0">
                  <a:pos x="connsiteX18839" y="connsiteY18839"/>
                </a:cxn>
                <a:cxn ang="0">
                  <a:pos x="connsiteX18840" y="connsiteY18840"/>
                </a:cxn>
                <a:cxn ang="0">
                  <a:pos x="connsiteX18841" y="connsiteY18841"/>
                </a:cxn>
                <a:cxn ang="0">
                  <a:pos x="connsiteX18842" y="connsiteY18842"/>
                </a:cxn>
                <a:cxn ang="0">
                  <a:pos x="connsiteX18843" y="connsiteY18843"/>
                </a:cxn>
                <a:cxn ang="0">
                  <a:pos x="connsiteX18844" y="connsiteY18844"/>
                </a:cxn>
                <a:cxn ang="0">
                  <a:pos x="connsiteX18845" y="connsiteY18845"/>
                </a:cxn>
                <a:cxn ang="0">
                  <a:pos x="connsiteX18846" y="connsiteY18846"/>
                </a:cxn>
                <a:cxn ang="0">
                  <a:pos x="connsiteX18847" y="connsiteY18847"/>
                </a:cxn>
                <a:cxn ang="0">
                  <a:pos x="connsiteX18848" y="connsiteY18848"/>
                </a:cxn>
                <a:cxn ang="0">
                  <a:pos x="connsiteX18849" y="connsiteY18849"/>
                </a:cxn>
                <a:cxn ang="0">
                  <a:pos x="connsiteX18850" y="connsiteY18850"/>
                </a:cxn>
                <a:cxn ang="0">
                  <a:pos x="connsiteX18851" y="connsiteY18851"/>
                </a:cxn>
                <a:cxn ang="0">
                  <a:pos x="connsiteX18852" y="connsiteY18852"/>
                </a:cxn>
                <a:cxn ang="0">
                  <a:pos x="connsiteX18853" y="connsiteY18853"/>
                </a:cxn>
                <a:cxn ang="0">
                  <a:pos x="connsiteX18854" y="connsiteY18854"/>
                </a:cxn>
                <a:cxn ang="0">
                  <a:pos x="connsiteX18855" y="connsiteY18855"/>
                </a:cxn>
                <a:cxn ang="0">
                  <a:pos x="connsiteX18856" y="connsiteY18856"/>
                </a:cxn>
                <a:cxn ang="0">
                  <a:pos x="connsiteX18857" y="connsiteY18857"/>
                </a:cxn>
                <a:cxn ang="0">
                  <a:pos x="connsiteX18858" y="connsiteY18858"/>
                </a:cxn>
                <a:cxn ang="0">
                  <a:pos x="connsiteX18859" y="connsiteY18859"/>
                </a:cxn>
                <a:cxn ang="0">
                  <a:pos x="connsiteX18860" y="connsiteY18860"/>
                </a:cxn>
                <a:cxn ang="0">
                  <a:pos x="connsiteX18861" y="connsiteY18861"/>
                </a:cxn>
                <a:cxn ang="0">
                  <a:pos x="connsiteX18862" y="connsiteY18862"/>
                </a:cxn>
                <a:cxn ang="0">
                  <a:pos x="connsiteX18863" y="connsiteY18863"/>
                </a:cxn>
                <a:cxn ang="0">
                  <a:pos x="connsiteX18864" y="connsiteY18864"/>
                </a:cxn>
                <a:cxn ang="0">
                  <a:pos x="connsiteX18865" y="connsiteY18865"/>
                </a:cxn>
                <a:cxn ang="0">
                  <a:pos x="connsiteX18866" y="connsiteY18866"/>
                </a:cxn>
                <a:cxn ang="0">
                  <a:pos x="connsiteX18867" y="connsiteY18867"/>
                </a:cxn>
                <a:cxn ang="0">
                  <a:pos x="connsiteX18868" y="connsiteY18868"/>
                </a:cxn>
                <a:cxn ang="0">
                  <a:pos x="connsiteX18869" y="connsiteY18869"/>
                </a:cxn>
                <a:cxn ang="0">
                  <a:pos x="connsiteX18870" y="connsiteY18870"/>
                </a:cxn>
                <a:cxn ang="0">
                  <a:pos x="connsiteX18871" y="connsiteY18871"/>
                </a:cxn>
                <a:cxn ang="0">
                  <a:pos x="connsiteX18872" y="connsiteY18872"/>
                </a:cxn>
                <a:cxn ang="0">
                  <a:pos x="connsiteX18873" y="connsiteY18873"/>
                </a:cxn>
                <a:cxn ang="0">
                  <a:pos x="connsiteX18874" y="connsiteY18874"/>
                </a:cxn>
                <a:cxn ang="0">
                  <a:pos x="connsiteX18875" y="connsiteY18875"/>
                </a:cxn>
                <a:cxn ang="0">
                  <a:pos x="connsiteX18876" y="connsiteY18876"/>
                </a:cxn>
                <a:cxn ang="0">
                  <a:pos x="connsiteX18877" y="connsiteY18877"/>
                </a:cxn>
                <a:cxn ang="0">
                  <a:pos x="connsiteX18878" y="connsiteY18878"/>
                </a:cxn>
                <a:cxn ang="0">
                  <a:pos x="connsiteX18879" y="connsiteY18879"/>
                </a:cxn>
                <a:cxn ang="0">
                  <a:pos x="connsiteX18880" y="connsiteY18880"/>
                </a:cxn>
                <a:cxn ang="0">
                  <a:pos x="connsiteX18881" y="connsiteY18881"/>
                </a:cxn>
                <a:cxn ang="0">
                  <a:pos x="connsiteX18882" y="connsiteY18882"/>
                </a:cxn>
                <a:cxn ang="0">
                  <a:pos x="connsiteX18883" y="connsiteY18883"/>
                </a:cxn>
                <a:cxn ang="0">
                  <a:pos x="connsiteX18884" y="connsiteY18884"/>
                </a:cxn>
                <a:cxn ang="0">
                  <a:pos x="connsiteX18885" y="connsiteY18885"/>
                </a:cxn>
                <a:cxn ang="0">
                  <a:pos x="connsiteX18886" y="connsiteY18886"/>
                </a:cxn>
                <a:cxn ang="0">
                  <a:pos x="connsiteX18887" y="connsiteY18887"/>
                </a:cxn>
                <a:cxn ang="0">
                  <a:pos x="connsiteX18888" y="connsiteY18888"/>
                </a:cxn>
                <a:cxn ang="0">
                  <a:pos x="connsiteX18889" y="connsiteY18889"/>
                </a:cxn>
                <a:cxn ang="0">
                  <a:pos x="connsiteX18890" y="connsiteY18890"/>
                </a:cxn>
                <a:cxn ang="0">
                  <a:pos x="connsiteX18891" y="connsiteY18891"/>
                </a:cxn>
                <a:cxn ang="0">
                  <a:pos x="connsiteX18892" y="connsiteY18892"/>
                </a:cxn>
                <a:cxn ang="0">
                  <a:pos x="connsiteX18893" y="connsiteY18893"/>
                </a:cxn>
                <a:cxn ang="0">
                  <a:pos x="connsiteX18894" y="connsiteY18894"/>
                </a:cxn>
                <a:cxn ang="0">
                  <a:pos x="connsiteX18895" y="connsiteY18895"/>
                </a:cxn>
                <a:cxn ang="0">
                  <a:pos x="connsiteX18896" y="connsiteY18896"/>
                </a:cxn>
                <a:cxn ang="0">
                  <a:pos x="connsiteX18897" y="connsiteY18897"/>
                </a:cxn>
                <a:cxn ang="0">
                  <a:pos x="connsiteX18898" y="connsiteY18898"/>
                </a:cxn>
                <a:cxn ang="0">
                  <a:pos x="connsiteX18899" y="connsiteY18899"/>
                </a:cxn>
                <a:cxn ang="0">
                  <a:pos x="connsiteX18900" y="connsiteY18900"/>
                </a:cxn>
                <a:cxn ang="0">
                  <a:pos x="connsiteX18901" y="connsiteY18901"/>
                </a:cxn>
                <a:cxn ang="0">
                  <a:pos x="connsiteX18902" y="connsiteY18902"/>
                </a:cxn>
                <a:cxn ang="0">
                  <a:pos x="connsiteX18903" y="connsiteY18903"/>
                </a:cxn>
                <a:cxn ang="0">
                  <a:pos x="connsiteX18904" y="connsiteY18904"/>
                </a:cxn>
                <a:cxn ang="0">
                  <a:pos x="connsiteX18905" y="connsiteY18905"/>
                </a:cxn>
                <a:cxn ang="0">
                  <a:pos x="connsiteX18906" y="connsiteY18906"/>
                </a:cxn>
                <a:cxn ang="0">
                  <a:pos x="connsiteX18907" y="connsiteY18907"/>
                </a:cxn>
                <a:cxn ang="0">
                  <a:pos x="connsiteX18908" y="connsiteY18908"/>
                </a:cxn>
                <a:cxn ang="0">
                  <a:pos x="connsiteX18909" y="connsiteY18909"/>
                </a:cxn>
                <a:cxn ang="0">
                  <a:pos x="connsiteX18910" y="connsiteY18910"/>
                </a:cxn>
                <a:cxn ang="0">
                  <a:pos x="connsiteX18911" y="connsiteY18911"/>
                </a:cxn>
                <a:cxn ang="0">
                  <a:pos x="connsiteX18912" y="connsiteY18912"/>
                </a:cxn>
                <a:cxn ang="0">
                  <a:pos x="connsiteX18913" y="connsiteY18913"/>
                </a:cxn>
                <a:cxn ang="0">
                  <a:pos x="connsiteX18914" y="connsiteY18914"/>
                </a:cxn>
                <a:cxn ang="0">
                  <a:pos x="connsiteX18915" y="connsiteY18915"/>
                </a:cxn>
                <a:cxn ang="0">
                  <a:pos x="connsiteX18916" y="connsiteY18916"/>
                </a:cxn>
                <a:cxn ang="0">
                  <a:pos x="connsiteX18917" y="connsiteY18917"/>
                </a:cxn>
                <a:cxn ang="0">
                  <a:pos x="connsiteX18918" y="connsiteY18918"/>
                </a:cxn>
                <a:cxn ang="0">
                  <a:pos x="connsiteX18919" y="connsiteY18919"/>
                </a:cxn>
                <a:cxn ang="0">
                  <a:pos x="connsiteX18920" y="connsiteY18920"/>
                </a:cxn>
                <a:cxn ang="0">
                  <a:pos x="connsiteX18921" y="connsiteY18921"/>
                </a:cxn>
                <a:cxn ang="0">
                  <a:pos x="connsiteX18922" y="connsiteY18922"/>
                </a:cxn>
                <a:cxn ang="0">
                  <a:pos x="connsiteX18923" y="connsiteY18923"/>
                </a:cxn>
                <a:cxn ang="0">
                  <a:pos x="connsiteX18924" y="connsiteY18924"/>
                </a:cxn>
                <a:cxn ang="0">
                  <a:pos x="connsiteX18925" y="connsiteY18925"/>
                </a:cxn>
                <a:cxn ang="0">
                  <a:pos x="connsiteX18926" y="connsiteY18926"/>
                </a:cxn>
                <a:cxn ang="0">
                  <a:pos x="connsiteX18927" y="connsiteY18927"/>
                </a:cxn>
                <a:cxn ang="0">
                  <a:pos x="connsiteX18928" y="connsiteY18928"/>
                </a:cxn>
                <a:cxn ang="0">
                  <a:pos x="connsiteX18929" y="connsiteY18929"/>
                </a:cxn>
                <a:cxn ang="0">
                  <a:pos x="connsiteX18930" y="connsiteY18930"/>
                </a:cxn>
                <a:cxn ang="0">
                  <a:pos x="connsiteX18931" y="connsiteY18931"/>
                </a:cxn>
                <a:cxn ang="0">
                  <a:pos x="connsiteX18932" y="connsiteY18932"/>
                </a:cxn>
                <a:cxn ang="0">
                  <a:pos x="connsiteX18933" y="connsiteY18933"/>
                </a:cxn>
                <a:cxn ang="0">
                  <a:pos x="connsiteX18934" y="connsiteY18934"/>
                </a:cxn>
                <a:cxn ang="0">
                  <a:pos x="connsiteX18935" y="connsiteY18935"/>
                </a:cxn>
                <a:cxn ang="0">
                  <a:pos x="connsiteX18936" y="connsiteY18936"/>
                </a:cxn>
                <a:cxn ang="0">
                  <a:pos x="connsiteX18937" y="connsiteY18937"/>
                </a:cxn>
                <a:cxn ang="0">
                  <a:pos x="connsiteX18938" y="connsiteY18938"/>
                </a:cxn>
                <a:cxn ang="0">
                  <a:pos x="connsiteX18939" y="connsiteY18939"/>
                </a:cxn>
                <a:cxn ang="0">
                  <a:pos x="connsiteX18940" y="connsiteY18940"/>
                </a:cxn>
                <a:cxn ang="0">
                  <a:pos x="connsiteX18941" y="connsiteY18941"/>
                </a:cxn>
                <a:cxn ang="0">
                  <a:pos x="connsiteX18942" y="connsiteY18942"/>
                </a:cxn>
                <a:cxn ang="0">
                  <a:pos x="connsiteX18943" y="connsiteY18943"/>
                </a:cxn>
                <a:cxn ang="0">
                  <a:pos x="connsiteX18944" y="connsiteY18944"/>
                </a:cxn>
                <a:cxn ang="0">
                  <a:pos x="connsiteX18945" y="connsiteY18945"/>
                </a:cxn>
                <a:cxn ang="0">
                  <a:pos x="connsiteX18946" y="connsiteY18946"/>
                </a:cxn>
                <a:cxn ang="0">
                  <a:pos x="connsiteX18947" y="connsiteY18947"/>
                </a:cxn>
                <a:cxn ang="0">
                  <a:pos x="connsiteX18948" y="connsiteY18948"/>
                </a:cxn>
                <a:cxn ang="0">
                  <a:pos x="connsiteX18949" y="connsiteY18949"/>
                </a:cxn>
                <a:cxn ang="0">
                  <a:pos x="connsiteX18950" y="connsiteY18950"/>
                </a:cxn>
                <a:cxn ang="0">
                  <a:pos x="connsiteX18951" y="connsiteY18951"/>
                </a:cxn>
                <a:cxn ang="0">
                  <a:pos x="connsiteX18952" y="connsiteY18952"/>
                </a:cxn>
                <a:cxn ang="0">
                  <a:pos x="connsiteX18953" y="connsiteY18953"/>
                </a:cxn>
                <a:cxn ang="0">
                  <a:pos x="connsiteX18954" y="connsiteY18954"/>
                </a:cxn>
                <a:cxn ang="0">
                  <a:pos x="connsiteX18955" y="connsiteY18955"/>
                </a:cxn>
                <a:cxn ang="0">
                  <a:pos x="connsiteX18956" y="connsiteY18956"/>
                </a:cxn>
                <a:cxn ang="0">
                  <a:pos x="connsiteX18957" y="connsiteY18957"/>
                </a:cxn>
                <a:cxn ang="0">
                  <a:pos x="connsiteX18958" y="connsiteY18958"/>
                </a:cxn>
                <a:cxn ang="0">
                  <a:pos x="connsiteX18959" y="connsiteY18959"/>
                </a:cxn>
                <a:cxn ang="0">
                  <a:pos x="connsiteX18960" y="connsiteY18960"/>
                </a:cxn>
                <a:cxn ang="0">
                  <a:pos x="connsiteX18961" y="connsiteY18961"/>
                </a:cxn>
                <a:cxn ang="0">
                  <a:pos x="connsiteX18962" y="connsiteY18962"/>
                </a:cxn>
                <a:cxn ang="0">
                  <a:pos x="connsiteX18963" y="connsiteY18963"/>
                </a:cxn>
                <a:cxn ang="0">
                  <a:pos x="connsiteX18964" y="connsiteY18964"/>
                </a:cxn>
                <a:cxn ang="0">
                  <a:pos x="connsiteX18965" y="connsiteY18965"/>
                </a:cxn>
                <a:cxn ang="0">
                  <a:pos x="connsiteX18966" y="connsiteY18966"/>
                </a:cxn>
                <a:cxn ang="0">
                  <a:pos x="connsiteX18967" y="connsiteY18967"/>
                </a:cxn>
                <a:cxn ang="0">
                  <a:pos x="connsiteX18968" y="connsiteY18968"/>
                </a:cxn>
                <a:cxn ang="0">
                  <a:pos x="connsiteX18969" y="connsiteY18969"/>
                </a:cxn>
                <a:cxn ang="0">
                  <a:pos x="connsiteX18970" y="connsiteY18970"/>
                </a:cxn>
                <a:cxn ang="0">
                  <a:pos x="connsiteX18971" y="connsiteY18971"/>
                </a:cxn>
                <a:cxn ang="0">
                  <a:pos x="connsiteX18972" y="connsiteY18972"/>
                </a:cxn>
                <a:cxn ang="0">
                  <a:pos x="connsiteX18973" y="connsiteY18973"/>
                </a:cxn>
                <a:cxn ang="0">
                  <a:pos x="connsiteX18974" y="connsiteY18974"/>
                </a:cxn>
                <a:cxn ang="0">
                  <a:pos x="connsiteX18975" y="connsiteY18975"/>
                </a:cxn>
                <a:cxn ang="0">
                  <a:pos x="connsiteX18976" y="connsiteY18976"/>
                </a:cxn>
                <a:cxn ang="0">
                  <a:pos x="connsiteX18977" y="connsiteY18977"/>
                </a:cxn>
                <a:cxn ang="0">
                  <a:pos x="connsiteX18978" y="connsiteY18978"/>
                </a:cxn>
                <a:cxn ang="0">
                  <a:pos x="connsiteX18979" y="connsiteY18979"/>
                </a:cxn>
                <a:cxn ang="0">
                  <a:pos x="connsiteX18980" y="connsiteY18980"/>
                </a:cxn>
                <a:cxn ang="0">
                  <a:pos x="connsiteX18981" y="connsiteY18981"/>
                </a:cxn>
                <a:cxn ang="0">
                  <a:pos x="connsiteX18982" y="connsiteY18982"/>
                </a:cxn>
                <a:cxn ang="0">
                  <a:pos x="connsiteX18983" y="connsiteY18983"/>
                </a:cxn>
                <a:cxn ang="0">
                  <a:pos x="connsiteX18984" y="connsiteY18984"/>
                </a:cxn>
                <a:cxn ang="0">
                  <a:pos x="connsiteX18985" y="connsiteY18985"/>
                </a:cxn>
                <a:cxn ang="0">
                  <a:pos x="connsiteX18986" y="connsiteY18986"/>
                </a:cxn>
                <a:cxn ang="0">
                  <a:pos x="connsiteX18987" y="connsiteY18987"/>
                </a:cxn>
                <a:cxn ang="0">
                  <a:pos x="connsiteX18988" y="connsiteY18988"/>
                </a:cxn>
                <a:cxn ang="0">
                  <a:pos x="connsiteX18989" y="connsiteY18989"/>
                </a:cxn>
                <a:cxn ang="0">
                  <a:pos x="connsiteX18990" y="connsiteY18990"/>
                </a:cxn>
                <a:cxn ang="0">
                  <a:pos x="connsiteX18991" y="connsiteY18991"/>
                </a:cxn>
                <a:cxn ang="0">
                  <a:pos x="connsiteX18992" y="connsiteY18992"/>
                </a:cxn>
                <a:cxn ang="0">
                  <a:pos x="connsiteX18993" y="connsiteY18993"/>
                </a:cxn>
                <a:cxn ang="0">
                  <a:pos x="connsiteX18994" y="connsiteY18994"/>
                </a:cxn>
                <a:cxn ang="0">
                  <a:pos x="connsiteX18995" y="connsiteY18995"/>
                </a:cxn>
                <a:cxn ang="0">
                  <a:pos x="connsiteX18996" y="connsiteY18996"/>
                </a:cxn>
                <a:cxn ang="0">
                  <a:pos x="connsiteX18997" y="connsiteY18997"/>
                </a:cxn>
                <a:cxn ang="0">
                  <a:pos x="connsiteX18998" y="connsiteY18998"/>
                </a:cxn>
                <a:cxn ang="0">
                  <a:pos x="connsiteX18999" y="connsiteY18999"/>
                </a:cxn>
                <a:cxn ang="0">
                  <a:pos x="connsiteX19000" y="connsiteY19000"/>
                </a:cxn>
                <a:cxn ang="0">
                  <a:pos x="connsiteX19001" y="connsiteY19001"/>
                </a:cxn>
                <a:cxn ang="0">
                  <a:pos x="connsiteX19002" y="connsiteY19002"/>
                </a:cxn>
                <a:cxn ang="0">
                  <a:pos x="connsiteX19003" y="connsiteY19003"/>
                </a:cxn>
                <a:cxn ang="0">
                  <a:pos x="connsiteX19004" y="connsiteY19004"/>
                </a:cxn>
                <a:cxn ang="0">
                  <a:pos x="connsiteX19005" y="connsiteY19005"/>
                </a:cxn>
                <a:cxn ang="0">
                  <a:pos x="connsiteX19006" y="connsiteY19006"/>
                </a:cxn>
                <a:cxn ang="0">
                  <a:pos x="connsiteX19007" y="connsiteY19007"/>
                </a:cxn>
                <a:cxn ang="0">
                  <a:pos x="connsiteX19008" y="connsiteY19008"/>
                </a:cxn>
                <a:cxn ang="0">
                  <a:pos x="connsiteX19009" y="connsiteY19009"/>
                </a:cxn>
                <a:cxn ang="0">
                  <a:pos x="connsiteX19010" y="connsiteY19010"/>
                </a:cxn>
                <a:cxn ang="0">
                  <a:pos x="connsiteX19011" y="connsiteY19011"/>
                </a:cxn>
                <a:cxn ang="0">
                  <a:pos x="connsiteX19012" y="connsiteY19012"/>
                </a:cxn>
                <a:cxn ang="0">
                  <a:pos x="connsiteX19013" y="connsiteY19013"/>
                </a:cxn>
                <a:cxn ang="0">
                  <a:pos x="connsiteX19014" y="connsiteY19014"/>
                </a:cxn>
                <a:cxn ang="0">
                  <a:pos x="connsiteX19015" y="connsiteY19015"/>
                </a:cxn>
                <a:cxn ang="0">
                  <a:pos x="connsiteX19016" y="connsiteY19016"/>
                </a:cxn>
                <a:cxn ang="0">
                  <a:pos x="connsiteX19017" y="connsiteY19017"/>
                </a:cxn>
                <a:cxn ang="0">
                  <a:pos x="connsiteX19018" y="connsiteY19018"/>
                </a:cxn>
                <a:cxn ang="0">
                  <a:pos x="connsiteX19019" y="connsiteY19019"/>
                </a:cxn>
                <a:cxn ang="0">
                  <a:pos x="connsiteX19020" y="connsiteY19020"/>
                </a:cxn>
                <a:cxn ang="0">
                  <a:pos x="connsiteX19021" y="connsiteY19021"/>
                </a:cxn>
                <a:cxn ang="0">
                  <a:pos x="connsiteX19022" y="connsiteY19022"/>
                </a:cxn>
                <a:cxn ang="0">
                  <a:pos x="connsiteX19023" y="connsiteY19023"/>
                </a:cxn>
                <a:cxn ang="0">
                  <a:pos x="connsiteX19024" y="connsiteY19024"/>
                </a:cxn>
                <a:cxn ang="0">
                  <a:pos x="connsiteX19025" y="connsiteY19025"/>
                </a:cxn>
                <a:cxn ang="0">
                  <a:pos x="connsiteX19026" y="connsiteY19026"/>
                </a:cxn>
                <a:cxn ang="0">
                  <a:pos x="connsiteX19027" y="connsiteY19027"/>
                </a:cxn>
                <a:cxn ang="0">
                  <a:pos x="connsiteX19028" y="connsiteY19028"/>
                </a:cxn>
                <a:cxn ang="0">
                  <a:pos x="connsiteX19029" y="connsiteY19029"/>
                </a:cxn>
                <a:cxn ang="0">
                  <a:pos x="connsiteX19030" y="connsiteY19030"/>
                </a:cxn>
                <a:cxn ang="0">
                  <a:pos x="connsiteX19031" y="connsiteY19031"/>
                </a:cxn>
                <a:cxn ang="0">
                  <a:pos x="connsiteX19032" y="connsiteY19032"/>
                </a:cxn>
                <a:cxn ang="0">
                  <a:pos x="connsiteX19033" y="connsiteY19033"/>
                </a:cxn>
                <a:cxn ang="0">
                  <a:pos x="connsiteX19034" y="connsiteY19034"/>
                </a:cxn>
                <a:cxn ang="0">
                  <a:pos x="connsiteX19035" y="connsiteY19035"/>
                </a:cxn>
                <a:cxn ang="0">
                  <a:pos x="connsiteX19036" y="connsiteY19036"/>
                </a:cxn>
                <a:cxn ang="0">
                  <a:pos x="connsiteX19037" y="connsiteY19037"/>
                </a:cxn>
                <a:cxn ang="0">
                  <a:pos x="connsiteX19038" y="connsiteY19038"/>
                </a:cxn>
                <a:cxn ang="0">
                  <a:pos x="connsiteX19039" y="connsiteY19039"/>
                </a:cxn>
                <a:cxn ang="0">
                  <a:pos x="connsiteX19040" y="connsiteY19040"/>
                </a:cxn>
                <a:cxn ang="0">
                  <a:pos x="connsiteX19041" y="connsiteY19041"/>
                </a:cxn>
                <a:cxn ang="0">
                  <a:pos x="connsiteX19042" y="connsiteY19042"/>
                </a:cxn>
                <a:cxn ang="0">
                  <a:pos x="connsiteX19043" y="connsiteY19043"/>
                </a:cxn>
                <a:cxn ang="0">
                  <a:pos x="connsiteX19044" y="connsiteY19044"/>
                </a:cxn>
                <a:cxn ang="0">
                  <a:pos x="connsiteX19045" y="connsiteY19045"/>
                </a:cxn>
                <a:cxn ang="0">
                  <a:pos x="connsiteX19046" y="connsiteY19046"/>
                </a:cxn>
                <a:cxn ang="0">
                  <a:pos x="connsiteX19047" y="connsiteY19047"/>
                </a:cxn>
                <a:cxn ang="0">
                  <a:pos x="connsiteX19048" y="connsiteY19048"/>
                </a:cxn>
                <a:cxn ang="0">
                  <a:pos x="connsiteX19049" y="connsiteY19049"/>
                </a:cxn>
                <a:cxn ang="0">
                  <a:pos x="connsiteX19050" y="connsiteY19050"/>
                </a:cxn>
                <a:cxn ang="0">
                  <a:pos x="connsiteX19051" y="connsiteY19051"/>
                </a:cxn>
                <a:cxn ang="0">
                  <a:pos x="connsiteX19052" y="connsiteY19052"/>
                </a:cxn>
                <a:cxn ang="0">
                  <a:pos x="connsiteX19053" y="connsiteY19053"/>
                </a:cxn>
                <a:cxn ang="0">
                  <a:pos x="connsiteX19054" y="connsiteY19054"/>
                </a:cxn>
                <a:cxn ang="0">
                  <a:pos x="connsiteX19055" y="connsiteY19055"/>
                </a:cxn>
                <a:cxn ang="0">
                  <a:pos x="connsiteX19056" y="connsiteY19056"/>
                </a:cxn>
                <a:cxn ang="0">
                  <a:pos x="connsiteX19057" y="connsiteY19057"/>
                </a:cxn>
                <a:cxn ang="0">
                  <a:pos x="connsiteX19058" y="connsiteY19058"/>
                </a:cxn>
                <a:cxn ang="0">
                  <a:pos x="connsiteX19059" y="connsiteY19059"/>
                </a:cxn>
                <a:cxn ang="0">
                  <a:pos x="connsiteX19060" y="connsiteY19060"/>
                </a:cxn>
                <a:cxn ang="0">
                  <a:pos x="connsiteX19061" y="connsiteY19061"/>
                </a:cxn>
                <a:cxn ang="0">
                  <a:pos x="connsiteX19062" y="connsiteY19062"/>
                </a:cxn>
                <a:cxn ang="0">
                  <a:pos x="connsiteX19063" y="connsiteY19063"/>
                </a:cxn>
                <a:cxn ang="0">
                  <a:pos x="connsiteX19064" y="connsiteY19064"/>
                </a:cxn>
                <a:cxn ang="0">
                  <a:pos x="connsiteX19065" y="connsiteY19065"/>
                </a:cxn>
                <a:cxn ang="0">
                  <a:pos x="connsiteX19066" y="connsiteY19066"/>
                </a:cxn>
                <a:cxn ang="0">
                  <a:pos x="connsiteX19067" y="connsiteY19067"/>
                </a:cxn>
                <a:cxn ang="0">
                  <a:pos x="connsiteX19068" y="connsiteY19068"/>
                </a:cxn>
                <a:cxn ang="0">
                  <a:pos x="connsiteX19069" y="connsiteY19069"/>
                </a:cxn>
                <a:cxn ang="0">
                  <a:pos x="connsiteX19070" y="connsiteY19070"/>
                </a:cxn>
                <a:cxn ang="0">
                  <a:pos x="connsiteX19071" y="connsiteY19071"/>
                </a:cxn>
                <a:cxn ang="0">
                  <a:pos x="connsiteX19072" y="connsiteY19072"/>
                </a:cxn>
                <a:cxn ang="0">
                  <a:pos x="connsiteX19073" y="connsiteY19073"/>
                </a:cxn>
                <a:cxn ang="0">
                  <a:pos x="connsiteX19074" y="connsiteY19074"/>
                </a:cxn>
                <a:cxn ang="0">
                  <a:pos x="connsiteX19075" y="connsiteY19075"/>
                </a:cxn>
                <a:cxn ang="0">
                  <a:pos x="connsiteX19076" y="connsiteY19076"/>
                </a:cxn>
                <a:cxn ang="0">
                  <a:pos x="connsiteX19077" y="connsiteY19077"/>
                </a:cxn>
                <a:cxn ang="0">
                  <a:pos x="connsiteX19078" y="connsiteY19078"/>
                </a:cxn>
                <a:cxn ang="0">
                  <a:pos x="connsiteX19079" y="connsiteY19079"/>
                </a:cxn>
                <a:cxn ang="0">
                  <a:pos x="connsiteX19080" y="connsiteY19080"/>
                </a:cxn>
                <a:cxn ang="0">
                  <a:pos x="connsiteX19081" y="connsiteY19081"/>
                </a:cxn>
                <a:cxn ang="0">
                  <a:pos x="connsiteX19082" y="connsiteY19082"/>
                </a:cxn>
                <a:cxn ang="0">
                  <a:pos x="connsiteX19083" y="connsiteY19083"/>
                </a:cxn>
                <a:cxn ang="0">
                  <a:pos x="connsiteX19084" y="connsiteY19084"/>
                </a:cxn>
                <a:cxn ang="0">
                  <a:pos x="connsiteX19085" y="connsiteY19085"/>
                </a:cxn>
                <a:cxn ang="0">
                  <a:pos x="connsiteX19086" y="connsiteY19086"/>
                </a:cxn>
                <a:cxn ang="0">
                  <a:pos x="connsiteX19087" y="connsiteY19087"/>
                </a:cxn>
                <a:cxn ang="0">
                  <a:pos x="connsiteX19088" y="connsiteY19088"/>
                </a:cxn>
                <a:cxn ang="0">
                  <a:pos x="connsiteX19089" y="connsiteY19089"/>
                </a:cxn>
                <a:cxn ang="0">
                  <a:pos x="connsiteX19090" y="connsiteY19090"/>
                </a:cxn>
                <a:cxn ang="0">
                  <a:pos x="connsiteX19091" y="connsiteY19091"/>
                </a:cxn>
                <a:cxn ang="0">
                  <a:pos x="connsiteX19092" y="connsiteY19092"/>
                </a:cxn>
                <a:cxn ang="0">
                  <a:pos x="connsiteX19093" y="connsiteY19093"/>
                </a:cxn>
                <a:cxn ang="0">
                  <a:pos x="connsiteX19094" y="connsiteY19094"/>
                </a:cxn>
                <a:cxn ang="0">
                  <a:pos x="connsiteX19095" y="connsiteY19095"/>
                </a:cxn>
                <a:cxn ang="0">
                  <a:pos x="connsiteX19096" y="connsiteY19096"/>
                </a:cxn>
                <a:cxn ang="0">
                  <a:pos x="connsiteX19097" y="connsiteY19097"/>
                </a:cxn>
                <a:cxn ang="0">
                  <a:pos x="connsiteX19098" y="connsiteY19098"/>
                </a:cxn>
                <a:cxn ang="0">
                  <a:pos x="connsiteX19099" y="connsiteY19099"/>
                </a:cxn>
                <a:cxn ang="0">
                  <a:pos x="connsiteX19100" y="connsiteY19100"/>
                </a:cxn>
                <a:cxn ang="0">
                  <a:pos x="connsiteX19101" y="connsiteY19101"/>
                </a:cxn>
                <a:cxn ang="0">
                  <a:pos x="connsiteX19102" y="connsiteY19102"/>
                </a:cxn>
                <a:cxn ang="0">
                  <a:pos x="connsiteX19103" y="connsiteY19103"/>
                </a:cxn>
                <a:cxn ang="0">
                  <a:pos x="connsiteX19104" y="connsiteY19104"/>
                </a:cxn>
                <a:cxn ang="0">
                  <a:pos x="connsiteX19105" y="connsiteY19105"/>
                </a:cxn>
                <a:cxn ang="0">
                  <a:pos x="connsiteX19106" y="connsiteY19106"/>
                </a:cxn>
                <a:cxn ang="0">
                  <a:pos x="connsiteX19107" y="connsiteY19107"/>
                </a:cxn>
                <a:cxn ang="0">
                  <a:pos x="connsiteX19108" y="connsiteY19108"/>
                </a:cxn>
                <a:cxn ang="0">
                  <a:pos x="connsiteX19109" y="connsiteY19109"/>
                </a:cxn>
                <a:cxn ang="0">
                  <a:pos x="connsiteX19110" y="connsiteY19110"/>
                </a:cxn>
                <a:cxn ang="0">
                  <a:pos x="connsiteX19111" y="connsiteY19111"/>
                </a:cxn>
                <a:cxn ang="0">
                  <a:pos x="connsiteX19112" y="connsiteY19112"/>
                </a:cxn>
                <a:cxn ang="0">
                  <a:pos x="connsiteX19113" y="connsiteY19113"/>
                </a:cxn>
                <a:cxn ang="0">
                  <a:pos x="connsiteX19114" y="connsiteY19114"/>
                </a:cxn>
                <a:cxn ang="0">
                  <a:pos x="connsiteX19115" y="connsiteY19115"/>
                </a:cxn>
                <a:cxn ang="0">
                  <a:pos x="connsiteX19116" y="connsiteY19116"/>
                </a:cxn>
                <a:cxn ang="0">
                  <a:pos x="connsiteX19117" y="connsiteY19117"/>
                </a:cxn>
                <a:cxn ang="0">
                  <a:pos x="connsiteX19118" y="connsiteY19118"/>
                </a:cxn>
                <a:cxn ang="0">
                  <a:pos x="connsiteX19119" y="connsiteY19119"/>
                </a:cxn>
                <a:cxn ang="0">
                  <a:pos x="connsiteX19120" y="connsiteY19120"/>
                </a:cxn>
                <a:cxn ang="0">
                  <a:pos x="connsiteX19121" y="connsiteY19121"/>
                </a:cxn>
                <a:cxn ang="0">
                  <a:pos x="connsiteX19122" y="connsiteY19122"/>
                </a:cxn>
                <a:cxn ang="0">
                  <a:pos x="connsiteX19123" y="connsiteY19123"/>
                </a:cxn>
                <a:cxn ang="0">
                  <a:pos x="connsiteX19124" y="connsiteY19124"/>
                </a:cxn>
                <a:cxn ang="0">
                  <a:pos x="connsiteX19125" y="connsiteY19125"/>
                </a:cxn>
                <a:cxn ang="0">
                  <a:pos x="connsiteX19126" y="connsiteY19126"/>
                </a:cxn>
                <a:cxn ang="0">
                  <a:pos x="connsiteX19127" y="connsiteY19127"/>
                </a:cxn>
                <a:cxn ang="0">
                  <a:pos x="connsiteX19128" y="connsiteY19128"/>
                </a:cxn>
                <a:cxn ang="0">
                  <a:pos x="connsiteX19129" y="connsiteY19129"/>
                </a:cxn>
                <a:cxn ang="0">
                  <a:pos x="connsiteX19130" y="connsiteY19130"/>
                </a:cxn>
                <a:cxn ang="0">
                  <a:pos x="connsiteX19131" y="connsiteY19131"/>
                </a:cxn>
                <a:cxn ang="0">
                  <a:pos x="connsiteX19132" y="connsiteY19132"/>
                </a:cxn>
                <a:cxn ang="0">
                  <a:pos x="connsiteX19133" y="connsiteY19133"/>
                </a:cxn>
                <a:cxn ang="0">
                  <a:pos x="connsiteX19134" y="connsiteY19134"/>
                </a:cxn>
                <a:cxn ang="0">
                  <a:pos x="connsiteX19135" y="connsiteY19135"/>
                </a:cxn>
                <a:cxn ang="0">
                  <a:pos x="connsiteX19136" y="connsiteY19136"/>
                </a:cxn>
                <a:cxn ang="0">
                  <a:pos x="connsiteX19137" y="connsiteY19137"/>
                </a:cxn>
                <a:cxn ang="0">
                  <a:pos x="connsiteX19138" y="connsiteY19138"/>
                </a:cxn>
                <a:cxn ang="0">
                  <a:pos x="connsiteX19139" y="connsiteY19139"/>
                </a:cxn>
                <a:cxn ang="0">
                  <a:pos x="connsiteX19140" y="connsiteY19140"/>
                </a:cxn>
                <a:cxn ang="0">
                  <a:pos x="connsiteX19141" y="connsiteY19141"/>
                </a:cxn>
                <a:cxn ang="0">
                  <a:pos x="connsiteX19142" y="connsiteY19142"/>
                </a:cxn>
                <a:cxn ang="0">
                  <a:pos x="connsiteX19143" y="connsiteY19143"/>
                </a:cxn>
                <a:cxn ang="0">
                  <a:pos x="connsiteX19144" y="connsiteY19144"/>
                </a:cxn>
                <a:cxn ang="0">
                  <a:pos x="connsiteX19145" y="connsiteY19145"/>
                </a:cxn>
                <a:cxn ang="0">
                  <a:pos x="connsiteX19146" y="connsiteY19146"/>
                </a:cxn>
                <a:cxn ang="0">
                  <a:pos x="connsiteX19147" y="connsiteY19147"/>
                </a:cxn>
                <a:cxn ang="0">
                  <a:pos x="connsiteX19148" y="connsiteY19148"/>
                </a:cxn>
                <a:cxn ang="0">
                  <a:pos x="connsiteX19149" y="connsiteY19149"/>
                </a:cxn>
                <a:cxn ang="0">
                  <a:pos x="connsiteX19150" y="connsiteY19150"/>
                </a:cxn>
                <a:cxn ang="0">
                  <a:pos x="connsiteX19151" y="connsiteY19151"/>
                </a:cxn>
                <a:cxn ang="0">
                  <a:pos x="connsiteX19152" y="connsiteY19152"/>
                </a:cxn>
                <a:cxn ang="0">
                  <a:pos x="connsiteX19153" y="connsiteY19153"/>
                </a:cxn>
                <a:cxn ang="0">
                  <a:pos x="connsiteX19154" y="connsiteY19154"/>
                </a:cxn>
                <a:cxn ang="0">
                  <a:pos x="connsiteX19155" y="connsiteY19155"/>
                </a:cxn>
                <a:cxn ang="0">
                  <a:pos x="connsiteX19156" y="connsiteY19156"/>
                </a:cxn>
                <a:cxn ang="0">
                  <a:pos x="connsiteX19157" y="connsiteY19157"/>
                </a:cxn>
                <a:cxn ang="0">
                  <a:pos x="connsiteX19158" y="connsiteY19158"/>
                </a:cxn>
                <a:cxn ang="0">
                  <a:pos x="connsiteX19159" y="connsiteY19159"/>
                </a:cxn>
                <a:cxn ang="0">
                  <a:pos x="connsiteX19160" y="connsiteY19160"/>
                </a:cxn>
                <a:cxn ang="0">
                  <a:pos x="connsiteX19161" y="connsiteY19161"/>
                </a:cxn>
                <a:cxn ang="0">
                  <a:pos x="connsiteX19162" y="connsiteY19162"/>
                </a:cxn>
                <a:cxn ang="0">
                  <a:pos x="connsiteX19163" y="connsiteY19163"/>
                </a:cxn>
                <a:cxn ang="0">
                  <a:pos x="connsiteX19164" y="connsiteY19164"/>
                </a:cxn>
                <a:cxn ang="0">
                  <a:pos x="connsiteX19165" y="connsiteY19165"/>
                </a:cxn>
                <a:cxn ang="0">
                  <a:pos x="connsiteX19166" y="connsiteY19166"/>
                </a:cxn>
                <a:cxn ang="0">
                  <a:pos x="connsiteX19167" y="connsiteY19167"/>
                </a:cxn>
                <a:cxn ang="0">
                  <a:pos x="connsiteX19168" y="connsiteY19168"/>
                </a:cxn>
                <a:cxn ang="0">
                  <a:pos x="connsiteX19169" y="connsiteY19169"/>
                </a:cxn>
                <a:cxn ang="0">
                  <a:pos x="connsiteX19170" y="connsiteY19170"/>
                </a:cxn>
                <a:cxn ang="0">
                  <a:pos x="connsiteX19171" y="connsiteY19171"/>
                </a:cxn>
                <a:cxn ang="0">
                  <a:pos x="connsiteX19172" y="connsiteY19172"/>
                </a:cxn>
                <a:cxn ang="0">
                  <a:pos x="connsiteX19173" y="connsiteY19173"/>
                </a:cxn>
                <a:cxn ang="0">
                  <a:pos x="connsiteX19174" y="connsiteY19174"/>
                </a:cxn>
                <a:cxn ang="0">
                  <a:pos x="connsiteX19175" y="connsiteY19175"/>
                </a:cxn>
                <a:cxn ang="0">
                  <a:pos x="connsiteX19176" y="connsiteY19176"/>
                </a:cxn>
                <a:cxn ang="0">
                  <a:pos x="connsiteX19177" y="connsiteY19177"/>
                </a:cxn>
                <a:cxn ang="0">
                  <a:pos x="connsiteX19178" y="connsiteY19178"/>
                </a:cxn>
                <a:cxn ang="0">
                  <a:pos x="connsiteX19179" y="connsiteY19179"/>
                </a:cxn>
                <a:cxn ang="0">
                  <a:pos x="connsiteX19180" y="connsiteY19180"/>
                </a:cxn>
                <a:cxn ang="0">
                  <a:pos x="connsiteX19181" y="connsiteY19181"/>
                </a:cxn>
                <a:cxn ang="0">
                  <a:pos x="connsiteX19182" y="connsiteY19182"/>
                </a:cxn>
                <a:cxn ang="0">
                  <a:pos x="connsiteX19183" y="connsiteY19183"/>
                </a:cxn>
                <a:cxn ang="0">
                  <a:pos x="connsiteX19184" y="connsiteY19184"/>
                </a:cxn>
                <a:cxn ang="0">
                  <a:pos x="connsiteX19185" y="connsiteY19185"/>
                </a:cxn>
                <a:cxn ang="0">
                  <a:pos x="connsiteX19186" y="connsiteY19186"/>
                </a:cxn>
                <a:cxn ang="0">
                  <a:pos x="connsiteX19187" y="connsiteY19187"/>
                </a:cxn>
                <a:cxn ang="0">
                  <a:pos x="connsiteX19188" y="connsiteY19188"/>
                </a:cxn>
                <a:cxn ang="0">
                  <a:pos x="connsiteX19189" y="connsiteY19189"/>
                </a:cxn>
                <a:cxn ang="0">
                  <a:pos x="connsiteX19190" y="connsiteY19190"/>
                </a:cxn>
                <a:cxn ang="0">
                  <a:pos x="connsiteX19191" y="connsiteY19191"/>
                </a:cxn>
                <a:cxn ang="0">
                  <a:pos x="connsiteX19192" y="connsiteY19192"/>
                </a:cxn>
                <a:cxn ang="0">
                  <a:pos x="connsiteX19193" y="connsiteY19193"/>
                </a:cxn>
                <a:cxn ang="0">
                  <a:pos x="connsiteX19194" y="connsiteY19194"/>
                </a:cxn>
                <a:cxn ang="0">
                  <a:pos x="connsiteX19195" y="connsiteY19195"/>
                </a:cxn>
                <a:cxn ang="0">
                  <a:pos x="connsiteX19196" y="connsiteY19196"/>
                </a:cxn>
                <a:cxn ang="0">
                  <a:pos x="connsiteX19197" y="connsiteY19197"/>
                </a:cxn>
                <a:cxn ang="0">
                  <a:pos x="connsiteX19198" y="connsiteY19198"/>
                </a:cxn>
                <a:cxn ang="0">
                  <a:pos x="connsiteX19199" y="connsiteY19199"/>
                </a:cxn>
                <a:cxn ang="0">
                  <a:pos x="connsiteX19200" y="connsiteY19200"/>
                </a:cxn>
                <a:cxn ang="0">
                  <a:pos x="connsiteX19201" y="connsiteY19201"/>
                </a:cxn>
                <a:cxn ang="0">
                  <a:pos x="connsiteX19202" y="connsiteY19202"/>
                </a:cxn>
                <a:cxn ang="0">
                  <a:pos x="connsiteX19203" y="connsiteY19203"/>
                </a:cxn>
                <a:cxn ang="0">
                  <a:pos x="connsiteX19204" y="connsiteY19204"/>
                </a:cxn>
                <a:cxn ang="0">
                  <a:pos x="connsiteX19205" y="connsiteY19205"/>
                </a:cxn>
                <a:cxn ang="0">
                  <a:pos x="connsiteX19206" y="connsiteY19206"/>
                </a:cxn>
                <a:cxn ang="0">
                  <a:pos x="connsiteX19207" y="connsiteY19207"/>
                </a:cxn>
                <a:cxn ang="0">
                  <a:pos x="connsiteX19208" y="connsiteY19208"/>
                </a:cxn>
                <a:cxn ang="0">
                  <a:pos x="connsiteX19209" y="connsiteY19209"/>
                </a:cxn>
                <a:cxn ang="0">
                  <a:pos x="connsiteX19210" y="connsiteY19210"/>
                </a:cxn>
                <a:cxn ang="0">
                  <a:pos x="connsiteX19211" y="connsiteY19211"/>
                </a:cxn>
                <a:cxn ang="0">
                  <a:pos x="connsiteX19212" y="connsiteY19212"/>
                </a:cxn>
                <a:cxn ang="0">
                  <a:pos x="connsiteX19213" y="connsiteY19213"/>
                </a:cxn>
                <a:cxn ang="0">
                  <a:pos x="connsiteX19214" y="connsiteY19214"/>
                </a:cxn>
                <a:cxn ang="0">
                  <a:pos x="connsiteX19215" y="connsiteY19215"/>
                </a:cxn>
                <a:cxn ang="0">
                  <a:pos x="connsiteX19216" y="connsiteY19216"/>
                </a:cxn>
                <a:cxn ang="0">
                  <a:pos x="connsiteX19217" y="connsiteY19217"/>
                </a:cxn>
                <a:cxn ang="0">
                  <a:pos x="connsiteX19218" y="connsiteY19218"/>
                </a:cxn>
                <a:cxn ang="0">
                  <a:pos x="connsiteX19219" y="connsiteY19219"/>
                </a:cxn>
                <a:cxn ang="0">
                  <a:pos x="connsiteX19220" y="connsiteY19220"/>
                </a:cxn>
                <a:cxn ang="0">
                  <a:pos x="connsiteX19221" y="connsiteY19221"/>
                </a:cxn>
                <a:cxn ang="0">
                  <a:pos x="connsiteX19222" y="connsiteY19222"/>
                </a:cxn>
                <a:cxn ang="0">
                  <a:pos x="connsiteX19223" y="connsiteY19223"/>
                </a:cxn>
                <a:cxn ang="0">
                  <a:pos x="connsiteX19224" y="connsiteY19224"/>
                </a:cxn>
                <a:cxn ang="0">
                  <a:pos x="connsiteX19225" y="connsiteY19225"/>
                </a:cxn>
                <a:cxn ang="0">
                  <a:pos x="connsiteX19226" y="connsiteY19226"/>
                </a:cxn>
                <a:cxn ang="0">
                  <a:pos x="connsiteX19227" y="connsiteY19227"/>
                </a:cxn>
                <a:cxn ang="0">
                  <a:pos x="connsiteX19228" y="connsiteY19228"/>
                </a:cxn>
                <a:cxn ang="0">
                  <a:pos x="connsiteX19229" y="connsiteY19229"/>
                </a:cxn>
                <a:cxn ang="0">
                  <a:pos x="connsiteX19230" y="connsiteY19230"/>
                </a:cxn>
                <a:cxn ang="0">
                  <a:pos x="connsiteX19231" y="connsiteY19231"/>
                </a:cxn>
                <a:cxn ang="0">
                  <a:pos x="connsiteX19232" y="connsiteY19232"/>
                </a:cxn>
                <a:cxn ang="0">
                  <a:pos x="connsiteX19233" y="connsiteY19233"/>
                </a:cxn>
                <a:cxn ang="0">
                  <a:pos x="connsiteX19234" y="connsiteY19234"/>
                </a:cxn>
                <a:cxn ang="0">
                  <a:pos x="connsiteX19235" y="connsiteY19235"/>
                </a:cxn>
                <a:cxn ang="0">
                  <a:pos x="connsiteX19236" y="connsiteY19236"/>
                </a:cxn>
                <a:cxn ang="0">
                  <a:pos x="connsiteX19237" y="connsiteY19237"/>
                </a:cxn>
                <a:cxn ang="0">
                  <a:pos x="connsiteX19238" y="connsiteY19238"/>
                </a:cxn>
                <a:cxn ang="0">
                  <a:pos x="connsiteX19239" y="connsiteY19239"/>
                </a:cxn>
                <a:cxn ang="0">
                  <a:pos x="connsiteX19240" y="connsiteY19240"/>
                </a:cxn>
                <a:cxn ang="0">
                  <a:pos x="connsiteX19241" y="connsiteY19241"/>
                </a:cxn>
                <a:cxn ang="0">
                  <a:pos x="connsiteX19242" y="connsiteY19242"/>
                </a:cxn>
                <a:cxn ang="0">
                  <a:pos x="connsiteX19243" y="connsiteY19243"/>
                </a:cxn>
                <a:cxn ang="0">
                  <a:pos x="connsiteX19244" y="connsiteY19244"/>
                </a:cxn>
                <a:cxn ang="0">
                  <a:pos x="connsiteX19245" y="connsiteY19245"/>
                </a:cxn>
                <a:cxn ang="0">
                  <a:pos x="connsiteX19246" y="connsiteY19246"/>
                </a:cxn>
                <a:cxn ang="0">
                  <a:pos x="connsiteX19247" y="connsiteY19247"/>
                </a:cxn>
                <a:cxn ang="0">
                  <a:pos x="connsiteX19248" y="connsiteY19248"/>
                </a:cxn>
                <a:cxn ang="0">
                  <a:pos x="connsiteX19249" y="connsiteY19249"/>
                </a:cxn>
                <a:cxn ang="0">
                  <a:pos x="connsiteX19250" y="connsiteY19250"/>
                </a:cxn>
                <a:cxn ang="0">
                  <a:pos x="connsiteX19251" y="connsiteY19251"/>
                </a:cxn>
                <a:cxn ang="0">
                  <a:pos x="connsiteX19252" y="connsiteY19252"/>
                </a:cxn>
                <a:cxn ang="0">
                  <a:pos x="connsiteX19253" y="connsiteY19253"/>
                </a:cxn>
                <a:cxn ang="0">
                  <a:pos x="connsiteX19254" y="connsiteY19254"/>
                </a:cxn>
                <a:cxn ang="0">
                  <a:pos x="connsiteX19255" y="connsiteY19255"/>
                </a:cxn>
                <a:cxn ang="0">
                  <a:pos x="connsiteX19256" y="connsiteY19256"/>
                </a:cxn>
                <a:cxn ang="0">
                  <a:pos x="connsiteX19257" y="connsiteY19257"/>
                </a:cxn>
                <a:cxn ang="0">
                  <a:pos x="connsiteX19258" y="connsiteY19258"/>
                </a:cxn>
                <a:cxn ang="0">
                  <a:pos x="connsiteX19259" y="connsiteY19259"/>
                </a:cxn>
                <a:cxn ang="0">
                  <a:pos x="connsiteX19260" y="connsiteY19260"/>
                </a:cxn>
                <a:cxn ang="0">
                  <a:pos x="connsiteX19261" y="connsiteY19261"/>
                </a:cxn>
                <a:cxn ang="0">
                  <a:pos x="connsiteX19262" y="connsiteY19262"/>
                </a:cxn>
                <a:cxn ang="0">
                  <a:pos x="connsiteX19263" y="connsiteY19263"/>
                </a:cxn>
                <a:cxn ang="0">
                  <a:pos x="connsiteX19264" y="connsiteY19264"/>
                </a:cxn>
                <a:cxn ang="0">
                  <a:pos x="connsiteX19265" y="connsiteY19265"/>
                </a:cxn>
                <a:cxn ang="0">
                  <a:pos x="connsiteX19266" y="connsiteY19266"/>
                </a:cxn>
                <a:cxn ang="0">
                  <a:pos x="connsiteX19267" y="connsiteY19267"/>
                </a:cxn>
                <a:cxn ang="0">
                  <a:pos x="connsiteX19268" y="connsiteY19268"/>
                </a:cxn>
                <a:cxn ang="0">
                  <a:pos x="connsiteX19269" y="connsiteY19269"/>
                </a:cxn>
                <a:cxn ang="0">
                  <a:pos x="connsiteX19270" y="connsiteY19270"/>
                </a:cxn>
                <a:cxn ang="0">
                  <a:pos x="connsiteX19271" y="connsiteY19271"/>
                </a:cxn>
                <a:cxn ang="0">
                  <a:pos x="connsiteX19272" y="connsiteY19272"/>
                </a:cxn>
                <a:cxn ang="0">
                  <a:pos x="connsiteX19273" y="connsiteY19273"/>
                </a:cxn>
                <a:cxn ang="0">
                  <a:pos x="connsiteX19274" y="connsiteY19274"/>
                </a:cxn>
                <a:cxn ang="0">
                  <a:pos x="connsiteX19275" y="connsiteY19275"/>
                </a:cxn>
                <a:cxn ang="0">
                  <a:pos x="connsiteX19276" y="connsiteY19276"/>
                </a:cxn>
                <a:cxn ang="0">
                  <a:pos x="connsiteX19277" y="connsiteY19277"/>
                </a:cxn>
                <a:cxn ang="0">
                  <a:pos x="connsiteX19278" y="connsiteY19278"/>
                </a:cxn>
                <a:cxn ang="0">
                  <a:pos x="connsiteX19279" y="connsiteY19279"/>
                </a:cxn>
                <a:cxn ang="0">
                  <a:pos x="connsiteX19280" y="connsiteY19280"/>
                </a:cxn>
                <a:cxn ang="0">
                  <a:pos x="connsiteX19281" y="connsiteY19281"/>
                </a:cxn>
                <a:cxn ang="0">
                  <a:pos x="connsiteX19282" y="connsiteY19282"/>
                </a:cxn>
                <a:cxn ang="0">
                  <a:pos x="connsiteX19283" y="connsiteY19283"/>
                </a:cxn>
                <a:cxn ang="0">
                  <a:pos x="connsiteX19284" y="connsiteY19284"/>
                </a:cxn>
                <a:cxn ang="0">
                  <a:pos x="connsiteX19285" y="connsiteY19285"/>
                </a:cxn>
                <a:cxn ang="0">
                  <a:pos x="connsiteX19286" y="connsiteY19286"/>
                </a:cxn>
                <a:cxn ang="0">
                  <a:pos x="connsiteX19287" y="connsiteY19287"/>
                </a:cxn>
                <a:cxn ang="0">
                  <a:pos x="connsiteX19288" y="connsiteY19288"/>
                </a:cxn>
                <a:cxn ang="0">
                  <a:pos x="connsiteX19289" y="connsiteY19289"/>
                </a:cxn>
                <a:cxn ang="0">
                  <a:pos x="connsiteX19290" y="connsiteY19290"/>
                </a:cxn>
                <a:cxn ang="0">
                  <a:pos x="connsiteX19291" y="connsiteY19291"/>
                </a:cxn>
                <a:cxn ang="0">
                  <a:pos x="connsiteX19292" y="connsiteY19292"/>
                </a:cxn>
                <a:cxn ang="0">
                  <a:pos x="connsiteX19293" y="connsiteY19293"/>
                </a:cxn>
                <a:cxn ang="0">
                  <a:pos x="connsiteX19294" y="connsiteY19294"/>
                </a:cxn>
                <a:cxn ang="0">
                  <a:pos x="connsiteX19295" y="connsiteY19295"/>
                </a:cxn>
                <a:cxn ang="0">
                  <a:pos x="connsiteX19296" y="connsiteY19296"/>
                </a:cxn>
                <a:cxn ang="0">
                  <a:pos x="connsiteX19297" y="connsiteY19297"/>
                </a:cxn>
                <a:cxn ang="0">
                  <a:pos x="connsiteX19298" y="connsiteY19298"/>
                </a:cxn>
                <a:cxn ang="0">
                  <a:pos x="connsiteX19299" y="connsiteY19299"/>
                </a:cxn>
                <a:cxn ang="0">
                  <a:pos x="connsiteX19300" y="connsiteY19300"/>
                </a:cxn>
                <a:cxn ang="0">
                  <a:pos x="connsiteX19301" y="connsiteY19301"/>
                </a:cxn>
                <a:cxn ang="0">
                  <a:pos x="connsiteX19302" y="connsiteY19302"/>
                </a:cxn>
                <a:cxn ang="0">
                  <a:pos x="connsiteX19303" y="connsiteY19303"/>
                </a:cxn>
                <a:cxn ang="0">
                  <a:pos x="connsiteX19304" y="connsiteY19304"/>
                </a:cxn>
                <a:cxn ang="0">
                  <a:pos x="connsiteX19305" y="connsiteY19305"/>
                </a:cxn>
                <a:cxn ang="0">
                  <a:pos x="connsiteX19306" y="connsiteY19306"/>
                </a:cxn>
                <a:cxn ang="0">
                  <a:pos x="connsiteX19307" y="connsiteY19307"/>
                </a:cxn>
                <a:cxn ang="0">
                  <a:pos x="connsiteX19308" y="connsiteY19308"/>
                </a:cxn>
                <a:cxn ang="0">
                  <a:pos x="connsiteX19309" y="connsiteY19309"/>
                </a:cxn>
                <a:cxn ang="0">
                  <a:pos x="connsiteX19310" y="connsiteY19310"/>
                </a:cxn>
                <a:cxn ang="0">
                  <a:pos x="connsiteX19311" y="connsiteY19311"/>
                </a:cxn>
                <a:cxn ang="0">
                  <a:pos x="connsiteX19312" y="connsiteY19312"/>
                </a:cxn>
                <a:cxn ang="0">
                  <a:pos x="connsiteX19313" y="connsiteY19313"/>
                </a:cxn>
                <a:cxn ang="0">
                  <a:pos x="connsiteX19314" y="connsiteY19314"/>
                </a:cxn>
                <a:cxn ang="0">
                  <a:pos x="connsiteX19315" y="connsiteY19315"/>
                </a:cxn>
                <a:cxn ang="0">
                  <a:pos x="connsiteX19316" y="connsiteY19316"/>
                </a:cxn>
                <a:cxn ang="0">
                  <a:pos x="connsiteX19317" y="connsiteY19317"/>
                </a:cxn>
                <a:cxn ang="0">
                  <a:pos x="connsiteX19318" y="connsiteY19318"/>
                </a:cxn>
                <a:cxn ang="0">
                  <a:pos x="connsiteX19319" y="connsiteY19319"/>
                </a:cxn>
                <a:cxn ang="0">
                  <a:pos x="connsiteX19320" y="connsiteY19320"/>
                </a:cxn>
                <a:cxn ang="0">
                  <a:pos x="connsiteX19321" y="connsiteY19321"/>
                </a:cxn>
                <a:cxn ang="0">
                  <a:pos x="connsiteX19322" y="connsiteY19322"/>
                </a:cxn>
                <a:cxn ang="0">
                  <a:pos x="connsiteX19323" y="connsiteY19323"/>
                </a:cxn>
                <a:cxn ang="0">
                  <a:pos x="connsiteX19324" y="connsiteY19324"/>
                </a:cxn>
                <a:cxn ang="0">
                  <a:pos x="connsiteX19325" y="connsiteY19325"/>
                </a:cxn>
                <a:cxn ang="0">
                  <a:pos x="connsiteX19326" y="connsiteY19326"/>
                </a:cxn>
                <a:cxn ang="0">
                  <a:pos x="connsiteX19327" y="connsiteY19327"/>
                </a:cxn>
                <a:cxn ang="0">
                  <a:pos x="connsiteX19328" y="connsiteY19328"/>
                </a:cxn>
                <a:cxn ang="0">
                  <a:pos x="connsiteX19329" y="connsiteY19329"/>
                </a:cxn>
                <a:cxn ang="0">
                  <a:pos x="connsiteX19330" y="connsiteY19330"/>
                </a:cxn>
                <a:cxn ang="0">
                  <a:pos x="connsiteX19331" y="connsiteY19331"/>
                </a:cxn>
                <a:cxn ang="0">
                  <a:pos x="connsiteX19332" y="connsiteY19332"/>
                </a:cxn>
                <a:cxn ang="0">
                  <a:pos x="connsiteX19333" y="connsiteY19333"/>
                </a:cxn>
                <a:cxn ang="0">
                  <a:pos x="connsiteX19334" y="connsiteY19334"/>
                </a:cxn>
                <a:cxn ang="0">
                  <a:pos x="connsiteX19335" y="connsiteY19335"/>
                </a:cxn>
                <a:cxn ang="0">
                  <a:pos x="connsiteX19336" y="connsiteY19336"/>
                </a:cxn>
                <a:cxn ang="0">
                  <a:pos x="connsiteX19337" y="connsiteY19337"/>
                </a:cxn>
                <a:cxn ang="0">
                  <a:pos x="connsiteX19338" y="connsiteY19338"/>
                </a:cxn>
                <a:cxn ang="0">
                  <a:pos x="connsiteX19339" y="connsiteY19339"/>
                </a:cxn>
                <a:cxn ang="0">
                  <a:pos x="connsiteX19340" y="connsiteY19340"/>
                </a:cxn>
                <a:cxn ang="0">
                  <a:pos x="connsiteX19341" y="connsiteY19341"/>
                </a:cxn>
                <a:cxn ang="0">
                  <a:pos x="connsiteX19342" y="connsiteY19342"/>
                </a:cxn>
                <a:cxn ang="0">
                  <a:pos x="connsiteX19343" y="connsiteY19343"/>
                </a:cxn>
                <a:cxn ang="0">
                  <a:pos x="connsiteX19344" y="connsiteY19344"/>
                </a:cxn>
                <a:cxn ang="0">
                  <a:pos x="connsiteX19345" y="connsiteY19345"/>
                </a:cxn>
                <a:cxn ang="0">
                  <a:pos x="connsiteX19346" y="connsiteY19346"/>
                </a:cxn>
                <a:cxn ang="0">
                  <a:pos x="connsiteX19347" y="connsiteY19347"/>
                </a:cxn>
                <a:cxn ang="0">
                  <a:pos x="connsiteX19348" y="connsiteY19348"/>
                </a:cxn>
                <a:cxn ang="0">
                  <a:pos x="connsiteX19349" y="connsiteY19349"/>
                </a:cxn>
                <a:cxn ang="0">
                  <a:pos x="connsiteX19350" y="connsiteY19350"/>
                </a:cxn>
                <a:cxn ang="0">
                  <a:pos x="connsiteX19351" y="connsiteY19351"/>
                </a:cxn>
                <a:cxn ang="0">
                  <a:pos x="connsiteX19352" y="connsiteY19352"/>
                </a:cxn>
                <a:cxn ang="0">
                  <a:pos x="connsiteX19353" y="connsiteY19353"/>
                </a:cxn>
                <a:cxn ang="0">
                  <a:pos x="connsiteX19354" y="connsiteY19354"/>
                </a:cxn>
                <a:cxn ang="0">
                  <a:pos x="connsiteX19355" y="connsiteY19355"/>
                </a:cxn>
                <a:cxn ang="0">
                  <a:pos x="connsiteX19356" y="connsiteY19356"/>
                </a:cxn>
                <a:cxn ang="0">
                  <a:pos x="connsiteX19357" y="connsiteY19357"/>
                </a:cxn>
                <a:cxn ang="0">
                  <a:pos x="connsiteX19358" y="connsiteY19358"/>
                </a:cxn>
                <a:cxn ang="0">
                  <a:pos x="connsiteX19359" y="connsiteY19359"/>
                </a:cxn>
                <a:cxn ang="0">
                  <a:pos x="connsiteX19360" y="connsiteY19360"/>
                </a:cxn>
                <a:cxn ang="0">
                  <a:pos x="connsiteX19361" y="connsiteY19361"/>
                </a:cxn>
                <a:cxn ang="0">
                  <a:pos x="connsiteX19362" y="connsiteY19362"/>
                </a:cxn>
                <a:cxn ang="0">
                  <a:pos x="connsiteX19363" y="connsiteY19363"/>
                </a:cxn>
                <a:cxn ang="0">
                  <a:pos x="connsiteX19364" y="connsiteY19364"/>
                </a:cxn>
                <a:cxn ang="0">
                  <a:pos x="connsiteX19365" y="connsiteY19365"/>
                </a:cxn>
                <a:cxn ang="0">
                  <a:pos x="connsiteX19366" y="connsiteY19366"/>
                </a:cxn>
                <a:cxn ang="0">
                  <a:pos x="connsiteX19367" y="connsiteY19367"/>
                </a:cxn>
                <a:cxn ang="0">
                  <a:pos x="connsiteX19368" y="connsiteY19368"/>
                </a:cxn>
                <a:cxn ang="0">
                  <a:pos x="connsiteX19369" y="connsiteY19369"/>
                </a:cxn>
                <a:cxn ang="0">
                  <a:pos x="connsiteX19370" y="connsiteY19370"/>
                </a:cxn>
                <a:cxn ang="0">
                  <a:pos x="connsiteX19371" y="connsiteY19371"/>
                </a:cxn>
                <a:cxn ang="0">
                  <a:pos x="connsiteX19372" y="connsiteY19372"/>
                </a:cxn>
                <a:cxn ang="0">
                  <a:pos x="connsiteX19373" y="connsiteY19373"/>
                </a:cxn>
                <a:cxn ang="0">
                  <a:pos x="connsiteX19374" y="connsiteY19374"/>
                </a:cxn>
                <a:cxn ang="0">
                  <a:pos x="connsiteX19375" y="connsiteY19375"/>
                </a:cxn>
                <a:cxn ang="0">
                  <a:pos x="connsiteX19376" y="connsiteY19376"/>
                </a:cxn>
                <a:cxn ang="0">
                  <a:pos x="connsiteX19377" y="connsiteY19377"/>
                </a:cxn>
                <a:cxn ang="0">
                  <a:pos x="connsiteX19378" y="connsiteY19378"/>
                </a:cxn>
                <a:cxn ang="0">
                  <a:pos x="connsiteX19379" y="connsiteY19379"/>
                </a:cxn>
                <a:cxn ang="0">
                  <a:pos x="connsiteX19380" y="connsiteY19380"/>
                </a:cxn>
                <a:cxn ang="0">
                  <a:pos x="connsiteX19381" y="connsiteY19381"/>
                </a:cxn>
                <a:cxn ang="0">
                  <a:pos x="connsiteX19382" y="connsiteY19382"/>
                </a:cxn>
                <a:cxn ang="0">
                  <a:pos x="connsiteX19383" y="connsiteY19383"/>
                </a:cxn>
                <a:cxn ang="0">
                  <a:pos x="connsiteX19384" y="connsiteY19384"/>
                </a:cxn>
                <a:cxn ang="0">
                  <a:pos x="connsiteX19385" y="connsiteY19385"/>
                </a:cxn>
                <a:cxn ang="0">
                  <a:pos x="connsiteX19386" y="connsiteY19386"/>
                </a:cxn>
                <a:cxn ang="0">
                  <a:pos x="connsiteX19387" y="connsiteY19387"/>
                </a:cxn>
                <a:cxn ang="0">
                  <a:pos x="connsiteX19388" y="connsiteY19388"/>
                </a:cxn>
                <a:cxn ang="0">
                  <a:pos x="connsiteX19389" y="connsiteY19389"/>
                </a:cxn>
                <a:cxn ang="0">
                  <a:pos x="connsiteX19390" y="connsiteY19390"/>
                </a:cxn>
                <a:cxn ang="0">
                  <a:pos x="connsiteX19391" y="connsiteY19391"/>
                </a:cxn>
                <a:cxn ang="0">
                  <a:pos x="connsiteX19392" y="connsiteY19392"/>
                </a:cxn>
                <a:cxn ang="0">
                  <a:pos x="connsiteX19393" y="connsiteY19393"/>
                </a:cxn>
                <a:cxn ang="0">
                  <a:pos x="connsiteX19394" y="connsiteY19394"/>
                </a:cxn>
                <a:cxn ang="0">
                  <a:pos x="connsiteX19395" y="connsiteY19395"/>
                </a:cxn>
                <a:cxn ang="0">
                  <a:pos x="connsiteX19396" y="connsiteY19396"/>
                </a:cxn>
                <a:cxn ang="0">
                  <a:pos x="connsiteX19397" y="connsiteY19397"/>
                </a:cxn>
                <a:cxn ang="0">
                  <a:pos x="connsiteX19398" y="connsiteY19398"/>
                </a:cxn>
                <a:cxn ang="0">
                  <a:pos x="connsiteX19399" y="connsiteY19399"/>
                </a:cxn>
                <a:cxn ang="0">
                  <a:pos x="connsiteX19400" y="connsiteY19400"/>
                </a:cxn>
                <a:cxn ang="0">
                  <a:pos x="connsiteX19401" y="connsiteY19401"/>
                </a:cxn>
                <a:cxn ang="0">
                  <a:pos x="connsiteX19402" y="connsiteY19402"/>
                </a:cxn>
                <a:cxn ang="0">
                  <a:pos x="connsiteX19403" y="connsiteY19403"/>
                </a:cxn>
                <a:cxn ang="0">
                  <a:pos x="connsiteX19404" y="connsiteY19404"/>
                </a:cxn>
                <a:cxn ang="0">
                  <a:pos x="connsiteX19405" y="connsiteY19405"/>
                </a:cxn>
                <a:cxn ang="0">
                  <a:pos x="connsiteX19406" y="connsiteY19406"/>
                </a:cxn>
                <a:cxn ang="0">
                  <a:pos x="connsiteX19407" y="connsiteY19407"/>
                </a:cxn>
                <a:cxn ang="0">
                  <a:pos x="connsiteX19408" y="connsiteY19408"/>
                </a:cxn>
                <a:cxn ang="0">
                  <a:pos x="connsiteX19409" y="connsiteY19409"/>
                </a:cxn>
                <a:cxn ang="0">
                  <a:pos x="connsiteX19410" y="connsiteY19410"/>
                </a:cxn>
                <a:cxn ang="0">
                  <a:pos x="connsiteX19411" y="connsiteY19411"/>
                </a:cxn>
                <a:cxn ang="0">
                  <a:pos x="connsiteX19412" y="connsiteY19412"/>
                </a:cxn>
                <a:cxn ang="0">
                  <a:pos x="connsiteX19413" y="connsiteY19413"/>
                </a:cxn>
                <a:cxn ang="0">
                  <a:pos x="connsiteX19414" y="connsiteY19414"/>
                </a:cxn>
                <a:cxn ang="0">
                  <a:pos x="connsiteX19415" y="connsiteY19415"/>
                </a:cxn>
                <a:cxn ang="0">
                  <a:pos x="connsiteX19416" y="connsiteY19416"/>
                </a:cxn>
                <a:cxn ang="0">
                  <a:pos x="connsiteX19417" y="connsiteY19417"/>
                </a:cxn>
                <a:cxn ang="0">
                  <a:pos x="connsiteX19418" y="connsiteY19418"/>
                </a:cxn>
                <a:cxn ang="0">
                  <a:pos x="connsiteX19419" y="connsiteY19419"/>
                </a:cxn>
                <a:cxn ang="0">
                  <a:pos x="connsiteX19420" y="connsiteY19420"/>
                </a:cxn>
                <a:cxn ang="0">
                  <a:pos x="connsiteX19421" y="connsiteY19421"/>
                </a:cxn>
                <a:cxn ang="0">
                  <a:pos x="connsiteX19422" y="connsiteY19422"/>
                </a:cxn>
                <a:cxn ang="0">
                  <a:pos x="connsiteX19423" y="connsiteY19423"/>
                </a:cxn>
                <a:cxn ang="0">
                  <a:pos x="connsiteX19424" y="connsiteY19424"/>
                </a:cxn>
                <a:cxn ang="0">
                  <a:pos x="connsiteX19425" y="connsiteY19425"/>
                </a:cxn>
                <a:cxn ang="0">
                  <a:pos x="connsiteX19426" y="connsiteY19426"/>
                </a:cxn>
                <a:cxn ang="0">
                  <a:pos x="connsiteX19427" y="connsiteY19427"/>
                </a:cxn>
                <a:cxn ang="0">
                  <a:pos x="connsiteX19428" y="connsiteY19428"/>
                </a:cxn>
                <a:cxn ang="0">
                  <a:pos x="connsiteX19429" y="connsiteY19429"/>
                </a:cxn>
                <a:cxn ang="0">
                  <a:pos x="connsiteX19430" y="connsiteY19430"/>
                </a:cxn>
                <a:cxn ang="0">
                  <a:pos x="connsiteX19431" y="connsiteY19431"/>
                </a:cxn>
                <a:cxn ang="0">
                  <a:pos x="connsiteX19432" y="connsiteY19432"/>
                </a:cxn>
                <a:cxn ang="0">
                  <a:pos x="connsiteX19433" y="connsiteY19433"/>
                </a:cxn>
                <a:cxn ang="0">
                  <a:pos x="connsiteX19434" y="connsiteY19434"/>
                </a:cxn>
                <a:cxn ang="0">
                  <a:pos x="connsiteX19435" y="connsiteY19435"/>
                </a:cxn>
                <a:cxn ang="0">
                  <a:pos x="connsiteX19436" y="connsiteY19436"/>
                </a:cxn>
                <a:cxn ang="0">
                  <a:pos x="connsiteX19437" y="connsiteY19437"/>
                </a:cxn>
                <a:cxn ang="0">
                  <a:pos x="connsiteX19438" y="connsiteY19438"/>
                </a:cxn>
                <a:cxn ang="0">
                  <a:pos x="connsiteX19439" y="connsiteY19439"/>
                </a:cxn>
                <a:cxn ang="0">
                  <a:pos x="connsiteX19440" y="connsiteY19440"/>
                </a:cxn>
                <a:cxn ang="0">
                  <a:pos x="connsiteX19441" y="connsiteY19441"/>
                </a:cxn>
                <a:cxn ang="0">
                  <a:pos x="connsiteX19442" y="connsiteY19442"/>
                </a:cxn>
                <a:cxn ang="0">
                  <a:pos x="connsiteX19443" y="connsiteY19443"/>
                </a:cxn>
                <a:cxn ang="0">
                  <a:pos x="connsiteX19444" y="connsiteY19444"/>
                </a:cxn>
                <a:cxn ang="0">
                  <a:pos x="connsiteX19445" y="connsiteY19445"/>
                </a:cxn>
                <a:cxn ang="0">
                  <a:pos x="connsiteX19446" y="connsiteY19446"/>
                </a:cxn>
                <a:cxn ang="0">
                  <a:pos x="connsiteX19447" y="connsiteY19447"/>
                </a:cxn>
                <a:cxn ang="0">
                  <a:pos x="connsiteX19448" y="connsiteY19448"/>
                </a:cxn>
                <a:cxn ang="0">
                  <a:pos x="connsiteX19449" y="connsiteY19449"/>
                </a:cxn>
                <a:cxn ang="0">
                  <a:pos x="connsiteX19450" y="connsiteY19450"/>
                </a:cxn>
                <a:cxn ang="0">
                  <a:pos x="connsiteX19451" y="connsiteY19451"/>
                </a:cxn>
                <a:cxn ang="0">
                  <a:pos x="connsiteX19452" y="connsiteY19452"/>
                </a:cxn>
                <a:cxn ang="0">
                  <a:pos x="connsiteX19453" y="connsiteY19453"/>
                </a:cxn>
                <a:cxn ang="0">
                  <a:pos x="connsiteX19454" y="connsiteY19454"/>
                </a:cxn>
                <a:cxn ang="0">
                  <a:pos x="connsiteX19455" y="connsiteY19455"/>
                </a:cxn>
                <a:cxn ang="0">
                  <a:pos x="connsiteX19456" y="connsiteY19456"/>
                </a:cxn>
                <a:cxn ang="0">
                  <a:pos x="connsiteX19457" y="connsiteY19457"/>
                </a:cxn>
                <a:cxn ang="0">
                  <a:pos x="connsiteX19458" y="connsiteY19458"/>
                </a:cxn>
                <a:cxn ang="0">
                  <a:pos x="connsiteX19459" y="connsiteY19459"/>
                </a:cxn>
                <a:cxn ang="0">
                  <a:pos x="connsiteX19460" y="connsiteY19460"/>
                </a:cxn>
                <a:cxn ang="0">
                  <a:pos x="connsiteX19461" y="connsiteY19461"/>
                </a:cxn>
                <a:cxn ang="0">
                  <a:pos x="connsiteX19462" y="connsiteY19462"/>
                </a:cxn>
                <a:cxn ang="0">
                  <a:pos x="connsiteX19463" y="connsiteY19463"/>
                </a:cxn>
                <a:cxn ang="0">
                  <a:pos x="connsiteX19464" y="connsiteY19464"/>
                </a:cxn>
                <a:cxn ang="0">
                  <a:pos x="connsiteX19465" y="connsiteY19465"/>
                </a:cxn>
                <a:cxn ang="0">
                  <a:pos x="connsiteX19466" y="connsiteY19466"/>
                </a:cxn>
                <a:cxn ang="0">
                  <a:pos x="connsiteX19467" y="connsiteY19467"/>
                </a:cxn>
                <a:cxn ang="0">
                  <a:pos x="connsiteX19468" y="connsiteY19468"/>
                </a:cxn>
                <a:cxn ang="0">
                  <a:pos x="connsiteX19469" y="connsiteY19469"/>
                </a:cxn>
                <a:cxn ang="0">
                  <a:pos x="connsiteX19470" y="connsiteY19470"/>
                </a:cxn>
                <a:cxn ang="0">
                  <a:pos x="connsiteX19471" y="connsiteY19471"/>
                </a:cxn>
                <a:cxn ang="0">
                  <a:pos x="connsiteX19472" y="connsiteY19472"/>
                </a:cxn>
                <a:cxn ang="0">
                  <a:pos x="connsiteX19473" y="connsiteY19473"/>
                </a:cxn>
                <a:cxn ang="0">
                  <a:pos x="connsiteX19474" y="connsiteY19474"/>
                </a:cxn>
                <a:cxn ang="0">
                  <a:pos x="connsiteX19475" y="connsiteY19475"/>
                </a:cxn>
                <a:cxn ang="0">
                  <a:pos x="connsiteX19476" y="connsiteY19476"/>
                </a:cxn>
                <a:cxn ang="0">
                  <a:pos x="connsiteX19477" y="connsiteY19477"/>
                </a:cxn>
                <a:cxn ang="0">
                  <a:pos x="connsiteX19478" y="connsiteY19478"/>
                </a:cxn>
                <a:cxn ang="0">
                  <a:pos x="connsiteX19479" y="connsiteY19479"/>
                </a:cxn>
                <a:cxn ang="0">
                  <a:pos x="connsiteX19480" y="connsiteY19480"/>
                </a:cxn>
                <a:cxn ang="0">
                  <a:pos x="connsiteX19481" y="connsiteY19481"/>
                </a:cxn>
                <a:cxn ang="0">
                  <a:pos x="connsiteX19482" y="connsiteY19482"/>
                </a:cxn>
                <a:cxn ang="0">
                  <a:pos x="connsiteX19483" y="connsiteY19483"/>
                </a:cxn>
                <a:cxn ang="0">
                  <a:pos x="connsiteX19484" y="connsiteY19484"/>
                </a:cxn>
                <a:cxn ang="0">
                  <a:pos x="connsiteX19485" y="connsiteY19485"/>
                </a:cxn>
                <a:cxn ang="0">
                  <a:pos x="connsiteX19486" y="connsiteY19486"/>
                </a:cxn>
                <a:cxn ang="0">
                  <a:pos x="connsiteX19487" y="connsiteY19487"/>
                </a:cxn>
                <a:cxn ang="0">
                  <a:pos x="connsiteX19488" y="connsiteY19488"/>
                </a:cxn>
                <a:cxn ang="0">
                  <a:pos x="connsiteX19489" y="connsiteY19489"/>
                </a:cxn>
                <a:cxn ang="0">
                  <a:pos x="connsiteX19490" y="connsiteY19490"/>
                </a:cxn>
                <a:cxn ang="0">
                  <a:pos x="connsiteX19491" y="connsiteY19491"/>
                </a:cxn>
                <a:cxn ang="0">
                  <a:pos x="connsiteX19492" y="connsiteY19492"/>
                </a:cxn>
                <a:cxn ang="0">
                  <a:pos x="connsiteX19493" y="connsiteY19493"/>
                </a:cxn>
                <a:cxn ang="0">
                  <a:pos x="connsiteX19494" y="connsiteY19494"/>
                </a:cxn>
                <a:cxn ang="0">
                  <a:pos x="connsiteX19495" y="connsiteY19495"/>
                </a:cxn>
                <a:cxn ang="0">
                  <a:pos x="connsiteX19496" y="connsiteY19496"/>
                </a:cxn>
                <a:cxn ang="0">
                  <a:pos x="connsiteX19497" y="connsiteY19497"/>
                </a:cxn>
                <a:cxn ang="0">
                  <a:pos x="connsiteX19498" y="connsiteY19498"/>
                </a:cxn>
                <a:cxn ang="0">
                  <a:pos x="connsiteX19499" y="connsiteY19499"/>
                </a:cxn>
                <a:cxn ang="0">
                  <a:pos x="connsiteX19500" y="connsiteY19500"/>
                </a:cxn>
                <a:cxn ang="0">
                  <a:pos x="connsiteX19501" y="connsiteY19501"/>
                </a:cxn>
                <a:cxn ang="0">
                  <a:pos x="connsiteX19502" y="connsiteY19502"/>
                </a:cxn>
                <a:cxn ang="0">
                  <a:pos x="connsiteX19503" y="connsiteY19503"/>
                </a:cxn>
                <a:cxn ang="0">
                  <a:pos x="connsiteX19504" y="connsiteY19504"/>
                </a:cxn>
                <a:cxn ang="0">
                  <a:pos x="connsiteX19505" y="connsiteY19505"/>
                </a:cxn>
                <a:cxn ang="0">
                  <a:pos x="connsiteX19506" y="connsiteY19506"/>
                </a:cxn>
                <a:cxn ang="0">
                  <a:pos x="connsiteX19507" y="connsiteY19507"/>
                </a:cxn>
                <a:cxn ang="0">
                  <a:pos x="connsiteX19508" y="connsiteY19508"/>
                </a:cxn>
                <a:cxn ang="0">
                  <a:pos x="connsiteX19509" y="connsiteY19509"/>
                </a:cxn>
                <a:cxn ang="0">
                  <a:pos x="connsiteX19510" y="connsiteY19510"/>
                </a:cxn>
                <a:cxn ang="0">
                  <a:pos x="connsiteX19511" y="connsiteY19511"/>
                </a:cxn>
                <a:cxn ang="0">
                  <a:pos x="connsiteX19512" y="connsiteY19512"/>
                </a:cxn>
                <a:cxn ang="0">
                  <a:pos x="connsiteX19513" y="connsiteY19513"/>
                </a:cxn>
                <a:cxn ang="0">
                  <a:pos x="connsiteX19514" y="connsiteY19514"/>
                </a:cxn>
                <a:cxn ang="0">
                  <a:pos x="connsiteX19515" y="connsiteY19515"/>
                </a:cxn>
                <a:cxn ang="0">
                  <a:pos x="connsiteX19516" y="connsiteY19516"/>
                </a:cxn>
                <a:cxn ang="0">
                  <a:pos x="connsiteX19517" y="connsiteY19517"/>
                </a:cxn>
                <a:cxn ang="0">
                  <a:pos x="connsiteX19518" y="connsiteY19518"/>
                </a:cxn>
                <a:cxn ang="0">
                  <a:pos x="connsiteX19519" y="connsiteY19519"/>
                </a:cxn>
                <a:cxn ang="0">
                  <a:pos x="connsiteX19520" y="connsiteY19520"/>
                </a:cxn>
                <a:cxn ang="0">
                  <a:pos x="connsiteX19521" y="connsiteY19521"/>
                </a:cxn>
                <a:cxn ang="0">
                  <a:pos x="connsiteX19522" y="connsiteY19522"/>
                </a:cxn>
                <a:cxn ang="0">
                  <a:pos x="connsiteX19523" y="connsiteY19523"/>
                </a:cxn>
                <a:cxn ang="0">
                  <a:pos x="connsiteX19524" y="connsiteY19524"/>
                </a:cxn>
                <a:cxn ang="0">
                  <a:pos x="connsiteX19525" y="connsiteY19525"/>
                </a:cxn>
                <a:cxn ang="0">
                  <a:pos x="connsiteX19526" y="connsiteY19526"/>
                </a:cxn>
                <a:cxn ang="0">
                  <a:pos x="connsiteX19527" y="connsiteY19527"/>
                </a:cxn>
                <a:cxn ang="0">
                  <a:pos x="connsiteX19528" y="connsiteY19528"/>
                </a:cxn>
                <a:cxn ang="0">
                  <a:pos x="connsiteX19529" y="connsiteY19529"/>
                </a:cxn>
                <a:cxn ang="0">
                  <a:pos x="connsiteX19530" y="connsiteY19530"/>
                </a:cxn>
                <a:cxn ang="0">
                  <a:pos x="connsiteX19531" y="connsiteY19531"/>
                </a:cxn>
                <a:cxn ang="0">
                  <a:pos x="connsiteX19532" y="connsiteY19532"/>
                </a:cxn>
                <a:cxn ang="0">
                  <a:pos x="connsiteX19533" y="connsiteY19533"/>
                </a:cxn>
                <a:cxn ang="0">
                  <a:pos x="connsiteX19534" y="connsiteY19534"/>
                </a:cxn>
                <a:cxn ang="0">
                  <a:pos x="connsiteX19535" y="connsiteY19535"/>
                </a:cxn>
                <a:cxn ang="0">
                  <a:pos x="connsiteX19536" y="connsiteY19536"/>
                </a:cxn>
                <a:cxn ang="0">
                  <a:pos x="connsiteX19537" y="connsiteY19537"/>
                </a:cxn>
                <a:cxn ang="0">
                  <a:pos x="connsiteX19538" y="connsiteY19538"/>
                </a:cxn>
                <a:cxn ang="0">
                  <a:pos x="connsiteX19539" y="connsiteY19539"/>
                </a:cxn>
                <a:cxn ang="0">
                  <a:pos x="connsiteX19540" y="connsiteY19540"/>
                </a:cxn>
                <a:cxn ang="0">
                  <a:pos x="connsiteX19541" y="connsiteY19541"/>
                </a:cxn>
                <a:cxn ang="0">
                  <a:pos x="connsiteX19542" y="connsiteY19542"/>
                </a:cxn>
                <a:cxn ang="0">
                  <a:pos x="connsiteX19543" y="connsiteY19543"/>
                </a:cxn>
                <a:cxn ang="0">
                  <a:pos x="connsiteX19544" y="connsiteY19544"/>
                </a:cxn>
                <a:cxn ang="0">
                  <a:pos x="connsiteX19545" y="connsiteY19545"/>
                </a:cxn>
                <a:cxn ang="0">
                  <a:pos x="connsiteX19546" y="connsiteY19546"/>
                </a:cxn>
                <a:cxn ang="0">
                  <a:pos x="connsiteX19547" y="connsiteY19547"/>
                </a:cxn>
                <a:cxn ang="0">
                  <a:pos x="connsiteX19548" y="connsiteY19548"/>
                </a:cxn>
                <a:cxn ang="0">
                  <a:pos x="connsiteX19549" y="connsiteY19549"/>
                </a:cxn>
                <a:cxn ang="0">
                  <a:pos x="connsiteX19550" y="connsiteY19550"/>
                </a:cxn>
                <a:cxn ang="0">
                  <a:pos x="connsiteX19551" y="connsiteY19551"/>
                </a:cxn>
                <a:cxn ang="0">
                  <a:pos x="connsiteX19552" y="connsiteY19552"/>
                </a:cxn>
                <a:cxn ang="0">
                  <a:pos x="connsiteX19553" y="connsiteY19553"/>
                </a:cxn>
                <a:cxn ang="0">
                  <a:pos x="connsiteX19554" y="connsiteY19554"/>
                </a:cxn>
                <a:cxn ang="0">
                  <a:pos x="connsiteX19555" y="connsiteY19555"/>
                </a:cxn>
                <a:cxn ang="0">
                  <a:pos x="connsiteX19556" y="connsiteY19556"/>
                </a:cxn>
                <a:cxn ang="0">
                  <a:pos x="connsiteX19557" y="connsiteY19557"/>
                </a:cxn>
                <a:cxn ang="0">
                  <a:pos x="connsiteX19558" y="connsiteY19558"/>
                </a:cxn>
                <a:cxn ang="0">
                  <a:pos x="connsiteX19559" y="connsiteY19559"/>
                </a:cxn>
                <a:cxn ang="0">
                  <a:pos x="connsiteX19560" y="connsiteY19560"/>
                </a:cxn>
                <a:cxn ang="0">
                  <a:pos x="connsiteX19561" y="connsiteY19561"/>
                </a:cxn>
                <a:cxn ang="0">
                  <a:pos x="connsiteX19562" y="connsiteY19562"/>
                </a:cxn>
                <a:cxn ang="0">
                  <a:pos x="connsiteX19563" y="connsiteY19563"/>
                </a:cxn>
                <a:cxn ang="0">
                  <a:pos x="connsiteX19564" y="connsiteY19564"/>
                </a:cxn>
                <a:cxn ang="0">
                  <a:pos x="connsiteX19565" y="connsiteY19565"/>
                </a:cxn>
                <a:cxn ang="0">
                  <a:pos x="connsiteX19566" y="connsiteY19566"/>
                </a:cxn>
                <a:cxn ang="0">
                  <a:pos x="connsiteX19567" y="connsiteY19567"/>
                </a:cxn>
                <a:cxn ang="0">
                  <a:pos x="connsiteX19568" y="connsiteY19568"/>
                </a:cxn>
                <a:cxn ang="0">
                  <a:pos x="connsiteX19569" y="connsiteY19569"/>
                </a:cxn>
                <a:cxn ang="0">
                  <a:pos x="connsiteX19570" y="connsiteY19570"/>
                </a:cxn>
                <a:cxn ang="0">
                  <a:pos x="connsiteX19571" y="connsiteY19571"/>
                </a:cxn>
                <a:cxn ang="0">
                  <a:pos x="connsiteX19572" y="connsiteY19572"/>
                </a:cxn>
                <a:cxn ang="0">
                  <a:pos x="connsiteX19573" y="connsiteY19573"/>
                </a:cxn>
                <a:cxn ang="0">
                  <a:pos x="connsiteX19574" y="connsiteY19574"/>
                </a:cxn>
                <a:cxn ang="0">
                  <a:pos x="connsiteX19575" y="connsiteY19575"/>
                </a:cxn>
                <a:cxn ang="0">
                  <a:pos x="connsiteX19576" y="connsiteY19576"/>
                </a:cxn>
                <a:cxn ang="0">
                  <a:pos x="connsiteX19577" y="connsiteY19577"/>
                </a:cxn>
                <a:cxn ang="0">
                  <a:pos x="connsiteX19578" y="connsiteY19578"/>
                </a:cxn>
                <a:cxn ang="0">
                  <a:pos x="connsiteX19579" y="connsiteY19579"/>
                </a:cxn>
                <a:cxn ang="0">
                  <a:pos x="connsiteX19580" y="connsiteY19580"/>
                </a:cxn>
                <a:cxn ang="0">
                  <a:pos x="connsiteX19581" y="connsiteY19581"/>
                </a:cxn>
                <a:cxn ang="0">
                  <a:pos x="connsiteX19582" y="connsiteY19582"/>
                </a:cxn>
                <a:cxn ang="0">
                  <a:pos x="connsiteX19583" y="connsiteY19583"/>
                </a:cxn>
                <a:cxn ang="0">
                  <a:pos x="connsiteX19584" y="connsiteY19584"/>
                </a:cxn>
                <a:cxn ang="0">
                  <a:pos x="connsiteX19585" y="connsiteY19585"/>
                </a:cxn>
                <a:cxn ang="0">
                  <a:pos x="connsiteX19586" y="connsiteY19586"/>
                </a:cxn>
                <a:cxn ang="0">
                  <a:pos x="connsiteX19587" y="connsiteY19587"/>
                </a:cxn>
                <a:cxn ang="0">
                  <a:pos x="connsiteX19588" y="connsiteY19588"/>
                </a:cxn>
                <a:cxn ang="0">
                  <a:pos x="connsiteX19589" y="connsiteY19589"/>
                </a:cxn>
                <a:cxn ang="0">
                  <a:pos x="connsiteX19590" y="connsiteY19590"/>
                </a:cxn>
                <a:cxn ang="0">
                  <a:pos x="connsiteX19591" y="connsiteY19591"/>
                </a:cxn>
                <a:cxn ang="0">
                  <a:pos x="connsiteX19592" y="connsiteY19592"/>
                </a:cxn>
                <a:cxn ang="0">
                  <a:pos x="connsiteX19593" y="connsiteY19593"/>
                </a:cxn>
                <a:cxn ang="0">
                  <a:pos x="connsiteX19594" y="connsiteY19594"/>
                </a:cxn>
                <a:cxn ang="0">
                  <a:pos x="connsiteX19595" y="connsiteY19595"/>
                </a:cxn>
                <a:cxn ang="0">
                  <a:pos x="connsiteX19596" y="connsiteY19596"/>
                </a:cxn>
                <a:cxn ang="0">
                  <a:pos x="connsiteX19597" y="connsiteY19597"/>
                </a:cxn>
                <a:cxn ang="0">
                  <a:pos x="connsiteX19598" y="connsiteY19598"/>
                </a:cxn>
                <a:cxn ang="0">
                  <a:pos x="connsiteX19599" y="connsiteY19599"/>
                </a:cxn>
                <a:cxn ang="0">
                  <a:pos x="connsiteX19600" y="connsiteY19600"/>
                </a:cxn>
                <a:cxn ang="0">
                  <a:pos x="connsiteX19601" y="connsiteY19601"/>
                </a:cxn>
                <a:cxn ang="0">
                  <a:pos x="connsiteX19602" y="connsiteY19602"/>
                </a:cxn>
                <a:cxn ang="0">
                  <a:pos x="connsiteX19603" y="connsiteY19603"/>
                </a:cxn>
                <a:cxn ang="0">
                  <a:pos x="connsiteX19604" y="connsiteY19604"/>
                </a:cxn>
                <a:cxn ang="0">
                  <a:pos x="connsiteX19605" y="connsiteY19605"/>
                </a:cxn>
                <a:cxn ang="0">
                  <a:pos x="connsiteX19606" y="connsiteY19606"/>
                </a:cxn>
                <a:cxn ang="0">
                  <a:pos x="connsiteX19607" y="connsiteY19607"/>
                </a:cxn>
                <a:cxn ang="0">
                  <a:pos x="connsiteX19608" y="connsiteY19608"/>
                </a:cxn>
                <a:cxn ang="0">
                  <a:pos x="connsiteX19609" y="connsiteY19609"/>
                </a:cxn>
                <a:cxn ang="0">
                  <a:pos x="connsiteX19610" y="connsiteY19610"/>
                </a:cxn>
                <a:cxn ang="0">
                  <a:pos x="connsiteX19611" y="connsiteY19611"/>
                </a:cxn>
                <a:cxn ang="0">
                  <a:pos x="connsiteX19612" y="connsiteY19612"/>
                </a:cxn>
                <a:cxn ang="0">
                  <a:pos x="connsiteX19613" y="connsiteY19613"/>
                </a:cxn>
                <a:cxn ang="0">
                  <a:pos x="connsiteX19614" y="connsiteY19614"/>
                </a:cxn>
                <a:cxn ang="0">
                  <a:pos x="connsiteX19615" y="connsiteY19615"/>
                </a:cxn>
                <a:cxn ang="0">
                  <a:pos x="connsiteX19616" y="connsiteY19616"/>
                </a:cxn>
                <a:cxn ang="0">
                  <a:pos x="connsiteX19617" y="connsiteY19617"/>
                </a:cxn>
                <a:cxn ang="0">
                  <a:pos x="connsiteX19618" y="connsiteY19618"/>
                </a:cxn>
                <a:cxn ang="0">
                  <a:pos x="connsiteX19619" y="connsiteY19619"/>
                </a:cxn>
                <a:cxn ang="0">
                  <a:pos x="connsiteX19620" y="connsiteY19620"/>
                </a:cxn>
                <a:cxn ang="0">
                  <a:pos x="connsiteX19621" y="connsiteY19621"/>
                </a:cxn>
                <a:cxn ang="0">
                  <a:pos x="connsiteX19622" y="connsiteY19622"/>
                </a:cxn>
                <a:cxn ang="0">
                  <a:pos x="connsiteX19623" y="connsiteY19623"/>
                </a:cxn>
                <a:cxn ang="0">
                  <a:pos x="connsiteX19624" y="connsiteY19624"/>
                </a:cxn>
                <a:cxn ang="0">
                  <a:pos x="connsiteX19625" y="connsiteY19625"/>
                </a:cxn>
                <a:cxn ang="0">
                  <a:pos x="connsiteX19626" y="connsiteY19626"/>
                </a:cxn>
                <a:cxn ang="0">
                  <a:pos x="connsiteX19627" y="connsiteY19627"/>
                </a:cxn>
                <a:cxn ang="0">
                  <a:pos x="connsiteX19628" y="connsiteY19628"/>
                </a:cxn>
                <a:cxn ang="0">
                  <a:pos x="connsiteX19629" y="connsiteY19629"/>
                </a:cxn>
                <a:cxn ang="0">
                  <a:pos x="connsiteX19630" y="connsiteY19630"/>
                </a:cxn>
                <a:cxn ang="0">
                  <a:pos x="connsiteX19631" y="connsiteY19631"/>
                </a:cxn>
                <a:cxn ang="0">
                  <a:pos x="connsiteX19632" y="connsiteY19632"/>
                </a:cxn>
                <a:cxn ang="0">
                  <a:pos x="connsiteX19633" y="connsiteY19633"/>
                </a:cxn>
                <a:cxn ang="0">
                  <a:pos x="connsiteX19634" y="connsiteY19634"/>
                </a:cxn>
                <a:cxn ang="0">
                  <a:pos x="connsiteX19635" y="connsiteY19635"/>
                </a:cxn>
                <a:cxn ang="0">
                  <a:pos x="connsiteX19636" y="connsiteY19636"/>
                </a:cxn>
                <a:cxn ang="0">
                  <a:pos x="connsiteX19637" y="connsiteY19637"/>
                </a:cxn>
                <a:cxn ang="0">
                  <a:pos x="connsiteX19638" y="connsiteY19638"/>
                </a:cxn>
                <a:cxn ang="0">
                  <a:pos x="connsiteX19639" y="connsiteY19639"/>
                </a:cxn>
                <a:cxn ang="0">
                  <a:pos x="connsiteX19640" y="connsiteY19640"/>
                </a:cxn>
                <a:cxn ang="0">
                  <a:pos x="connsiteX19641" y="connsiteY19641"/>
                </a:cxn>
                <a:cxn ang="0">
                  <a:pos x="connsiteX19642" y="connsiteY19642"/>
                </a:cxn>
                <a:cxn ang="0">
                  <a:pos x="connsiteX19643" y="connsiteY19643"/>
                </a:cxn>
                <a:cxn ang="0">
                  <a:pos x="connsiteX19644" y="connsiteY19644"/>
                </a:cxn>
                <a:cxn ang="0">
                  <a:pos x="connsiteX19645" y="connsiteY19645"/>
                </a:cxn>
                <a:cxn ang="0">
                  <a:pos x="connsiteX19646" y="connsiteY19646"/>
                </a:cxn>
                <a:cxn ang="0">
                  <a:pos x="connsiteX19647" y="connsiteY19647"/>
                </a:cxn>
                <a:cxn ang="0">
                  <a:pos x="connsiteX19648" y="connsiteY19648"/>
                </a:cxn>
                <a:cxn ang="0">
                  <a:pos x="connsiteX19649" y="connsiteY19649"/>
                </a:cxn>
                <a:cxn ang="0">
                  <a:pos x="connsiteX19650" y="connsiteY19650"/>
                </a:cxn>
                <a:cxn ang="0">
                  <a:pos x="connsiteX19651" y="connsiteY19651"/>
                </a:cxn>
                <a:cxn ang="0">
                  <a:pos x="connsiteX19652" y="connsiteY19652"/>
                </a:cxn>
                <a:cxn ang="0">
                  <a:pos x="connsiteX19653" y="connsiteY19653"/>
                </a:cxn>
                <a:cxn ang="0">
                  <a:pos x="connsiteX19654" y="connsiteY19654"/>
                </a:cxn>
                <a:cxn ang="0">
                  <a:pos x="connsiteX19655" y="connsiteY19655"/>
                </a:cxn>
                <a:cxn ang="0">
                  <a:pos x="connsiteX19656" y="connsiteY19656"/>
                </a:cxn>
                <a:cxn ang="0">
                  <a:pos x="connsiteX19657" y="connsiteY19657"/>
                </a:cxn>
                <a:cxn ang="0">
                  <a:pos x="connsiteX19658" y="connsiteY19658"/>
                </a:cxn>
                <a:cxn ang="0">
                  <a:pos x="connsiteX19659" y="connsiteY19659"/>
                </a:cxn>
                <a:cxn ang="0">
                  <a:pos x="connsiteX19660" y="connsiteY19660"/>
                </a:cxn>
                <a:cxn ang="0">
                  <a:pos x="connsiteX19661" y="connsiteY19661"/>
                </a:cxn>
                <a:cxn ang="0">
                  <a:pos x="connsiteX19662" y="connsiteY19662"/>
                </a:cxn>
                <a:cxn ang="0">
                  <a:pos x="connsiteX19663" y="connsiteY19663"/>
                </a:cxn>
                <a:cxn ang="0">
                  <a:pos x="connsiteX19664" y="connsiteY19664"/>
                </a:cxn>
                <a:cxn ang="0">
                  <a:pos x="connsiteX19665" y="connsiteY19665"/>
                </a:cxn>
                <a:cxn ang="0">
                  <a:pos x="connsiteX19666" y="connsiteY19666"/>
                </a:cxn>
                <a:cxn ang="0">
                  <a:pos x="connsiteX19667" y="connsiteY19667"/>
                </a:cxn>
                <a:cxn ang="0">
                  <a:pos x="connsiteX19668" y="connsiteY19668"/>
                </a:cxn>
                <a:cxn ang="0">
                  <a:pos x="connsiteX19669" y="connsiteY19669"/>
                </a:cxn>
                <a:cxn ang="0">
                  <a:pos x="connsiteX19670" y="connsiteY19670"/>
                </a:cxn>
                <a:cxn ang="0">
                  <a:pos x="connsiteX19671" y="connsiteY19671"/>
                </a:cxn>
                <a:cxn ang="0">
                  <a:pos x="connsiteX19672" y="connsiteY19672"/>
                </a:cxn>
                <a:cxn ang="0">
                  <a:pos x="connsiteX19673" y="connsiteY19673"/>
                </a:cxn>
                <a:cxn ang="0">
                  <a:pos x="connsiteX19674" y="connsiteY19674"/>
                </a:cxn>
                <a:cxn ang="0">
                  <a:pos x="connsiteX19675" y="connsiteY19675"/>
                </a:cxn>
                <a:cxn ang="0">
                  <a:pos x="connsiteX19676" y="connsiteY19676"/>
                </a:cxn>
                <a:cxn ang="0">
                  <a:pos x="connsiteX19677" y="connsiteY19677"/>
                </a:cxn>
                <a:cxn ang="0">
                  <a:pos x="connsiteX19678" y="connsiteY19678"/>
                </a:cxn>
                <a:cxn ang="0">
                  <a:pos x="connsiteX19679" y="connsiteY19679"/>
                </a:cxn>
                <a:cxn ang="0">
                  <a:pos x="connsiteX19680" y="connsiteY19680"/>
                </a:cxn>
                <a:cxn ang="0">
                  <a:pos x="connsiteX19681" y="connsiteY19681"/>
                </a:cxn>
                <a:cxn ang="0">
                  <a:pos x="connsiteX19682" y="connsiteY19682"/>
                </a:cxn>
                <a:cxn ang="0">
                  <a:pos x="connsiteX19683" y="connsiteY19683"/>
                </a:cxn>
                <a:cxn ang="0">
                  <a:pos x="connsiteX19684" y="connsiteY19684"/>
                </a:cxn>
                <a:cxn ang="0">
                  <a:pos x="connsiteX19685" y="connsiteY19685"/>
                </a:cxn>
                <a:cxn ang="0">
                  <a:pos x="connsiteX19686" y="connsiteY19686"/>
                </a:cxn>
                <a:cxn ang="0">
                  <a:pos x="connsiteX19687" y="connsiteY19687"/>
                </a:cxn>
                <a:cxn ang="0">
                  <a:pos x="connsiteX19688" y="connsiteY19688"/>
                </a:cxn>
                <a:cxn ang="0">
                  <a:pos x="connsiteX19689" y="connsiteY19689"/>
                </a:cxn>
                <a:cxn ang="0">
                  <a:pos x="connsiteX19690" y="connsiteY19690"/>
                </a:cxn>
                <a:cxn ang="0">
                  <a:pos x="connsiteX19691" y="connsiteY19691"/>
                </a:cxn>
                <a:cxn ang="0">
                  <a:pos x="connsiteX19692" y="connsiteY19692"/>
                </a:cxn>
                <a:cxn ang="0">
                  <a:pos x="connsiteX19693" y="connsiteY19693"/>
                </a:cxn>
                <a:cxn ang="0">
                  <a:pos x="connsiteX19694" y="connsiteY19694"/>
                </a:cxn>
                <a:cxn ang="0">
                  <a:pos x="connsiteX19695" y="connsiteY19695"/>
                </a:cxn>
                <a:cxn ang="0">
                  <a:pos x="connsiteX19696" y="connsiteY19696"/>
                </a:cxn>
                <a:cxn ang="0">
                  <a:pos x="connsiteX19697" y="connsiteY19697"/>
                </a:cxn>
                <a:cxn ang="0">
                  <a:pos x="connsiteX19698" y="connsiteY19698"/>
                </a:cxn>
                <a:cxn ang="0">
                  <a:pos x="connsiteX19699" y="connsiteY19699"/>
                </a:cxn>
                <a:cxn ang="0">
                  <a:pos x="connsiteX19700" y="connsiteY19700"/>
                </a:cxn>
                <a:cxn ang="0">
                  <a:pos x="connsiteX19701" y="connsiteY19701"/>
                </a:cxn>
                <a:cxn ang="0">
                  <a:pos x="connsiteX19702" y="connsiteY19702"/>
                </a:cxn>
                <a:cxn ang="0">
                  <a:pos x="connsiteX19703" y="connsiteY19703"/>
                </a:cxn>
                <a:cxn ang="0">
                  <a:pos x="connsiteX19704" y="connsiteY19704"/>
                </a:cxn>
                <a:cxn ang="0">
                  <a:pos x="connsiteX19705" y="connsiteY19705"/>
                </a:cxn>
                <a:cxn ang="0">
                  <a:pos x="connsiteX19706" y="connsiteY19706"/>
                </a:cxn>
                <a:cxn ang="0">
                  <a:pos x="connsiteX19707" y="connsiteY19707"/>
                </a:cxn>
                <a:cxn ang="0">
                  <a:pos x="connsiteX19708" y="connsiteY19708"/>
                </a:cxn>
                <a:cxn ang="0">
                  <a:pos x="connsiteX19709" y="connsiteY19709"/>
                </a:cxn>
                <a:cxn ang="0">
                  <a:pos x="connsiteX19710" y="connsiteY19710"/>
                </a:cxn>
                <a:cxn ang="0">
                  <a:pos x="connsiteX19711" y="connsiteY19711"/>
                </a:cxn>
                <a:cxn ang="0">
                  <a:pos x="connsiteX19712" y="connsiteY19712"/>
                </a:cxn>
                <a:cxn ang="0">
                  <a:pos x="connsiteX19713" y="connsiteY19713"/>
                </a:cxn>
                <a:cxn ang="0">
                  <a:pos x="connsiteX19714" y="connsiteY19714"/>
                </a:cxn>
                <a:cxn ang="0">
                  <a:pos x="connsiteX19715" y="connsiteY19715"/>
                </a:cxn>
                <a:cxn ang="0">
                  <a:pos x="connsiteX19716" y="connsiteY19716"/>
                </a:cxn>
                <a:cxn ang="0">
                  <a:pos x="connsiteX19717" y="connsiteY19717"/>
                </a:cxn>
                <a:cxn ang="0">
                  <a:pos x="connsiteX19718" y="connsiteY19718"/>
                </a:cxn>
                <a:cxn ang="0">
                  <a:pos x="connsiteX19719" y="connsiteY19719"/>
                </a:cxn>
                <a:cxn ang="0">
                  <a:pos x="connsiteX19720" y="connsiteY19720"/>
                </a:cxn>
                <a:cxn ang="0">
                  <a:pos x="connsiteX19721" y="connsiteY19721"/>
                </a:cxn>
                <a:cxn ang="0">
                  <a:pos x="connsiteX19722" y="connsiteY19722"/>
                </a:cxn>
                <a:cxn ang="0">
                  <a:pos x="connsiteX19723" y="connsiteY19723"/>
                </a:cxn>
                <a:cxn ang="0">
                  <a:pos x="connsiteX19724" y="connsiteY19724"/>
                </a:cxn>
                <a:cxn ang="0">
                  <a:pos x="connsiteX19725" y="connsiteY19725"/>
                </a:cxn>
                <a:cxn ang="0">
                  <a:pos x="connsiteX19726" y="connsiteY19726"/>
                </a:cxn>
                <a:cxn ang="0">
                  <a:pos x="connsiteX19727" y="connsiteY19727"/>
                </a:cxn>
                <a:cxn ang="0">
                  <a:pos x="connsiteX19728" y="connsiteY19728"/>
                </a:cxn>
                <a:cxn ang="0">
                  <a:pos x="connsiteX19729" y="connsiteY19729"/>
                </a:cxn>
                <a:cxn ang="0">
                  <a:pos x="connsiteX19730" y="connsiteY19730"/>
                </a:cxn>
                <a:cxn ang="0">
                  <a:pos x="connsiteX19731" y="connsiteY19731"/>
                </a:cxn>
                <a:cxn ang="0">
                  <a:pos x="connsiteX19732" y="connsiteY19732"/>
                </a:cxn>
                <a:cxn ang="0">
                  <a:pos x="connsiteX19733" y="connsiteY19733"/>
                </a:cxn>
                <a:cxn ang="0">
                  <a:pos x="connsiteX19734" y="connsiteY19734"/>
                </a:cxn>
                <a:cxn ang="0">
                  <a:pos x="connsiteX19735" y="connsiteY19735"/>
                </a:cxn>
                <a:cxn ang="0">
                  <a:pos x="connsiteX19736" y="connsiteY19736"/>
                </a:cxn>
                <a:cxn ang="0">
                  <a:pos x="connsiteX19737" y="connsiteY19737"/>
                </a:cxn>
                <a:cxn ang="0">
                  <a:pos x="connsiteX19738" y="connsiteY19738"/>
                </a:cxn>
                <a:cxn ang="0">
                  <a:pos x="connsiteX19739" y="connsiteY19739"/>
                </a:cxn>
                <a:cxn ang="0">
                  <a:pos x="connsiteX19740" y="connsiteY19740"/>
                </a:cxn>
                <a:cxn ang="0">
                  <a:pos x="connsiteX19741" y="connsiteY19741"/>
                </a:cxn>
                <a:cxn ang="0">
                  <a:pos x="connsiteX19742" y="connsiteY19742"/>
                </a:cxn>
                <a:cxn ang="0">
                  <a:pos x="connsiteX19743" y="connsiteY19743"/>
                </a:cxn>
                <a:cxn ang="0">
                  <a:pos x="connsiteX19744" y="connsiteY19744"/>
                </a:cxn>
                <a:cxn ang="0">
                  <a:pos x="connsiteX19745" y="connsiteY19745"/>
                </a:cxn>
                <a:cxn ang="0">
                  <a:pos x="connsiteX19746" y="connsiteY19746"/>
                </a:cxn>
                <a:cxn ang="0">
                  <a:pos x="connsiteX19747" y="connsiteY19747"/>
                </a:cxn>
                <a:cxn ang="0">
                  <a:pos x="connsiteX19748" y="connsiteY19748"/>
                </a:cxn>
                <a:cxn ang="0">
                  <a:pos x="connsiteX19749" y="connsiteY19749"/>
                </a:cxn>
                <a:cxn ang="0">
                  <a:pos x="connsiteX19750" y="connsiteY19750"/>
                </a:cxn>
                <a:cxn ang="0">
                  <a:pos x="connsiteX19751" y="connsiteY19751"/>
                </a:cxn>
                <a:cxn ang="0">
                  <a:pos x="connsiteX19752" y="connsiteY19752"/>
                </a:cxn>
                <a:cxn ang="0">
                  <a:pos x="connsiteX19753" y="connsiteY19753"/>
                </a:cxn>
                <a:cxn ang="0">
                  <a:pos x="connsiteX19754" y="connsiteY19754"/>
                </a:cxn>
                <a:cxn ang="0">
                  <a:pos x="connsiteX19755" y="connsiteY19755"/>
                </a:cxn>
                <a:cxn ang="0">
                  <a:pos x="connsiteX19756" y="connsiteY19756"/>
                </a:cxn>
                <a:cxn ang="0">
                  <a:pos x="connsiteX19757" y="connsiteY19757"/>
                </a:cxn>
                <a:cxn ang="0">
                  <a:pos x="connsiteX19758" y="connsiteY19758"/>
                </a:cxn>
                <a:cxn ang="0">
                  <a:pos x="connsiteX19759" y="connsiteY19759"/>
                </a:cxn>
                <a:cxn ang="0">
                  <a:pos x="connsiteX19760" y="connsiteY19760"/>
                </a:cxn>
                <a:cxn ang="0">
                  <a:pos x="connsiteX19761" y="connsiteY19761"/>
                </a:cxn>
                <a:cxn ang="0">
                  <a:pos x="connsiteX19762" y="connsiteY19762"/>
                </a:cxn>
                <a:cxn ang="0">
                  <a:pos x="connsiteX19763" y="connsiteY19763"/>
                </a:cxn>
                <a:cxn ang="0">
                  <a:pos x="connsiteX19764" y="connsiteY19764"/>
                </a:cxn>
                <a:cxn ang="0">
                  <a:pos x="connsiteX19765" y="connsiteY19765"/>
                </a:cxn>
                <a:cxn ang="0">
                  <a:pos x="connsiteX19766" y="connsiteY19766"/>
                </a:cxn>
                <a:cxn ang="0">
                  <a:pos x="connsiteX19767" y="connsiteY19767"/>
                </a:cxn>
                <a:cxn ang="0">
                  <a:pos x="connsiteX19768" y="connsiteY19768"/>
                </a:cxn>
                <a:cxn ang="0">
                  <a:pos x="connsiteX19769" y="connsiteY19769"/>
                </a:cxn>
                <a:cxn ang="0">
                  <a:pos x="connsiteX19770" y="connsiteY19770"/>
                </a:cxn>
                <a:cxn ang="0">
                  <a:pos x="connsiteX19771" y="connsiteY19771"/>
                </a:cxn>
                <a:cxn ang="0">
                  <a:pos x="connsiteX19772" y="connsiteY19772"/>
                </a:cxn>
                <a:cxn ang="0">
                  <a:pos x="connsiteX19773" y="connsiteY19773"/>
                </a:cxn>
                <a:cxn ang="0">
                  <a:pos x="connsiteX19774" y="connsiteY19774"/>
                </a:cxn>
                <a:cxn ang="0">
                  <a:pos x="connsiteX19775" y="connsiteY19775"/>
                </a:cxn>
                <a:cxn ang="0">
                  <a:pos x="connsiteX19776" y="connsiteY19776"/>
                </a:cxn>
                <a:cxn ang="0">
                  <a:pos x="connsiteX19777" y="connsiteY19777"/>
                </a:cxn>
                <a:cxn ang="0">
                  <a:pos x="connsiteX19778" y="connsiteY19778"/>
                </a:cxn>
                <a:cxn ang="0">
                  <a:pos x="connsiteX19779" y="connsiteY19779"/>
                </a:cxn>
                <a:cxn ang="0">
                  <a:pos x="connsiteX19780" y="connsiteY19780"/>
                </a:cxn>
                <a:cxn ang="0">
                  <a:pos x="connsiteX19781" y="connsiteY19781"/>
                </a:cxn>
                <a:cxn ang="0">
                  <a:pos x="connsiteX19782" y="connsiteY19782"/>
                </a:cxn>
                <a:cxn ang="0">
                  <a:pos x="connsiteX19783" y="connsiteY19783"/>
                </a:cxn>
                <a:cxn ang="0">
                  <a:pos x="connsiteX19784" y="connsiteY19784"/>
                </a:cxn>
                <a:cxn ang="0">
                  <a:pos x="connsiteX19785" y="connsiteY19785"/>
                </a:cxn>
                <a:cxn ang="0">
                  <a:pos x="connsiteX19786" y="connsiteY19786"/>
                </a:cxn>
                <a:cxn ang="0">
                  <a:pos x="connsiteX19787" y="connsiteY19787"/>
                </a:cxn>
                <a:cxn ang="0">
                  <a:pos x="connsiteX19788" y="connsiteY19788"/>
                </a:cxn>
                <a:cxn ang="0">
                  <a:pos x="connsiteX19789" y="connsiteY19789"/>
                </a:cxn>
                <a:cxn ang="0">
                  <a:pos x="connsiteX19790" y="connsiteY19790"/>
                </a:cxn>
                <a:cxn ang="0">
                  <a:pos x="connsiteX19791" y="connsiteY19791"/>
                </a:cxn>
                <a:cxn ang="0">
                  <a:pos x="connsiteX19792" y="connsiteY19792"/>
                </a:cxn>
                <a:cxn ang="0">
                  <a:pos x="connsiteX19793" y="connsiteY19793"/>
                </a:cxn>
                <a:cxn ang="0">
                  <a:pos x="connsiteX19794" y="connsiteY19794"/>
                </a:cxn>
                <a:cxn ang="0">
                  <a:pos x="connsiteX19795" y="connsiteY19795"/>
                </a:cxn>
                <a:cxn ang="0">
                  <a:pos x="connsiteX19796" y="connsiteY19796"/>
                </a:cxn>
                <a:cxn ang="0">
                  <a:pos x="connsiteX19797" y="connsiteY19797"/>
                </a:cxn>
                <a:cxn ang="0">
                  <a:pos x="connsiteX19798" y="connsiteY19798"/>
                </a:cxn>
                <a:cxn ang="0">
                  <a:pos x="connsiteX19799" y="connsiteY19799"/>
                </a:cxn>
                <a:cxn ang="0">
                  <a:pos x="connsiteX19800" y="connsiteY19800"/>
                </a:cxn>
                <a:cxn ang="0">
                  <a:pos x="connsiteX19801" y="connsiteY19801"/>
                </a:cxn>
                <a:cxn ang="0">
                  <a:pos x="connsiteX19802" y="connsiteY19802"/>
                </a:cxn>
                <a:cxn ang="0">
                  <a:pos x="connsiteX19803" y="connsiteY19803"/>
                </a:cxn>
                <a:cxn ang="0">
                  <a:pos x="connsiteX19804" y="connsiteY19804"/>
                </a:cxn>
                <a:cxn ang="0">
                  <a:pos x="connsiteX19805" y="connsiteY19805"/>
                </a:cxn>
                <a:cxn ang="0">
                  <a:pos x="connsiteX19806" y="connsiteY19806"/>
                </a:cxn>
                <a:cxn ang="0">
                  <a:pos x="connsiteX19807" y="connsiteY19807"/>
                </a:cxn>
                <a:cxn ang="0">
                  <a:pos x="connsiteX19808" y="connsiteY19808"/>
                </a:cxn>
                <a:cxn ang="0">
                  <a:pos x="connsiteX19809" y="connsiteY19809"/>
                </a:cxn>
                <a:cxn ang="0">
                  <a:pos x="connsiteX19810" y="connsiteY19810"/>
                </a:cxn>
                <a:cxn ang="0">
                  <a:pos x="connsiteX19811" y="connsiteY19811"/>
                </a:cxn>
                <a:cxn ang="0">
                  <a:pos x="connsiteX19812" y="connsiteY19812"/>
                </a:cxn>
                <a:cxn ang="0">
                  <a:pos x="connsiteX19813" y="connsiteY19813"/>
                </a:cxn>
                <a:cxn ang="0">
                  <a:pos x="connsiteX19814" y="connsiteY19814"/>
                </a:cxn>
                <a:cxn ang="0">
                  <a:pos x="connsiteX19815" y="connsiteY19815"/>
                </a:cxn>
                <a:cxn ang="0">
                  <a:pos x="connsiteX19816" y="connsiteY19816"/>
                </a:cxn>
                <a:cxn ang="0">
                  <a:pos x="connsiteX19817" y="connsiteY19817"/>
                </a:cxn>
                <a:cxn ang="0">
                  <a:pos x="connsiteX19818" y="connsiteY19818"/>
                </a:cxn>
                <a:cxn ang="0">
                  <a:pos x="connsiteX19819" y="connsiteY19819"/>
                </a:cxn>
                <a:cxn ang="0">
                  <a:pos x="connsiteX19820" y="connsiteY19820"/>
                </a:cxn>
                <a:cxn ang="0">
                  <a:pos x="connsiteX19821" y="connsiteY19821"/>
                </a:cxn>
                <a:cxn ang="0">
                  <a:pos x="connsiteX19822" y="connsiteY19822"/>
                </a:cxn>
                <a:cxn ang="0">
                  <a:pos x="connsiteX19823" y="connsiteY19823"/>
                </a:cxn>
                <a:cxn ang="0">
                  <a:pos x="connsiteX19824" y="connsiteY19824"/>
                </a:cxn>
                <a:cxn ang="0">
                  <a:pos x="connsiteX19825" y="connsiteY19825"/>
                </a:cxn>
                <a:cxn ang="0">
                  <a:pos x="connsiteX19826" y="connsiteY19826"/>
                </a:cxn>
                <a:cxn ang="0">
                  <a:pos x="connsiteX19827" y="connsiteY19827"/>
                </a:cxn>
                <a:cxn ang="0">
                  <a:pos x="connsiteX19828" y="connsiteY19828"/>
                </a:cxn>
                <a:cxn ang="0">
                  <a:pos x="connsiteX19829" y="connsiteY19829"/>
                </a:cxn>
                <a:cxn ang="0">
                  <a:pos x="connsiteX19830" y="connsiteY19830"/>
                </a:cxn>
                <a:cxn ang="0">
                  <a:pos x="connsiteX19831" y="connsiteY19831"/>
                </a:cxn>
                <a:cxn ang="0">
                  <a:pos x="connsiteX19832" y="connsiteY19832"/>
                </a:cxn>
                <a:cxn ang="0">
                  <a:pos x="connsiteX19833" y="connsiteY19833"/>
                </a:cxn>
                <a:cxn ang="0">
                  <a:pos x="connsiteX19834" y="connsiteY19834"/>
                </a:cxn>
                <a:cxn ang="0">
                  <a:pos x="connsiteX19835" y="connsiteY19835"/>
                </a:cxn>
                <a:cxn ang="0">
                  <a:pos x="connsiteX19836" y="connsiteY19836"/>
                </a:cxn>
                <a:cxn ang="0">
                  <a:pos x="connsiteX19837" y="connsiteY19837"/>
                </a:cxn>
                <a:cxn ang="0">
                  <a:pos x="connsiteX19838" y="connsiteY19838"/>
                </a:cxn>
                <a:cxn ang="0">
                  <a:pos x="connsiteX19839" y="connsiteY19839"/>
                </a:cxn>
                <a:cxn ang="0">
                  <a:pos x="connsiteX19840" y="connsiteY19840"/>
                </a:cxn>
                <a:cxn ang="0">
                  <a:pos x="connsiteX19841" y="connsiteY19841"/>
                </a:cxn>
                <a:cxn ang="0">
                  <a:pos x="connsiteX19842" y="connsiteY19842"/>
                </a:cxn>
                <a:cxn ang="0">
                  <a:pos x="connsiteX19843" y="connsiteY19843"/>
                </a:cxn>
                <a:cxn ang="0">
                  <a:pos x="connsiteX19844" y="connsiteY19844"/>
                </a:cxn>
                <a:cxn ang="0">
                  <a:pos x="connsiteX19845" y="connsiteY19845"/>
                </a:cxn>
                <a:cxn ang="0">
                  <a:pos x="connsiteX19846" y="connsiteY19846"/>
                </a:cxn>
                <a:cxn ang="0">
                  <a:pos x="connsiteX19847" y="connsiteY19847"/>
                </a:cxn>
                <a:cxn ang="0">
                  <a:pos x="connsiteX19848" y="connsiteY19848"/>
                </a:cxn>
                <a:cxn ang="0">
                  <a:pos x="connsiteX19849" y="connsiteY19849"/>
                </a:cxn>
                <a:cxn ang="0">
                  <a:pos x="connsiteX19850" y="connsiteY19850"/>
                </a:cxn>
                <a:cxn ang="0">
                  <a:pos x="connsiteX19851" y="connsiteY19851"/>
                </a:cxn>
                <a:cxn ang="0">
                  <a:pos x="connsiteX19852" y="connsiteY19852"/>
                </a:cxn>
                <a:cxn ang="0">
                  <a:pos x="connsiteX19853" y="connsiteY19853"/>
                </a:cxn>
                <a:cxn ang="0">
                  <a:pos x="connsiteX19854" y="connsiteY19854"/>
                </a:cxn>
                <a:cxn ang="0">
                  <a:pos x="connsiteX19855" y="connsiteY19855"/>
                </a:cxn>
                <a:cxn ang="0">
                  <a:pos x="connsiteX19856" y="connsiteY19856"/>
                </a:cxn>
                <a:cxn ang="0">
                  <a:pos x="connsiteX19857" y="connsiteY19857"/>
                </a:cxn>
                <a:cxn ang="0">
                  <a:pos x="connsiteX19858" y="connsiteY19858"/>
                </a:cxn>
                <a:cxn ang="0">
                  <a:pos x="connsiteX19859" y="connsiteY19859"/>
                </a:cxn>
                <a:cxn ang="0">
                  <a:pos x="connsiteX19860" y="connsiteY19860"/>
                </a:cxn>
                <a:cxn ang="0">
                  <a:pos x="connsiteX19861" y="connsiteY19861"/>
                </a:cxn>
                <a:cxn ang="0">
                  <a:pos x="connsiteX19862" y="connsiteY19862"/>
                </a:cxn>
                <a:cxn ang="0">
                  <a:pos x="connsiteX19863" y="connsiteY19863"/>
                </a:cxn>
                <a:cxn ang="0">
                  <a:pos x="connsiteX19864" y="connsiteY19864"/>
                </a:cxn>
                <a:cxn ang="0">
                  <a:pos x="connsiteX19865" y="connsiteY19865"/>
                </a:cxn>
                <a:cxn ang="0">
                  <a:pos x="connsiteX19866" y="connsiteY19866"/>
                </a:cxn>
                <a:cxn ang="0">
                  <a:pos x="connsiteX19867" y="connsiteY19867"/>
                </a:cxn>
                <a:cxn ang="0">
                  <a:pos x="connsiteX19868" y="connsiteY19868"/>
                </a:cxn>
                <a:cxn ang="0">
                  <a:pos x="connsiteX19869" y="connsiteY19869"/>
                </a:cxn>
                <a:cxn ang="0">
                  <a:pos x="connsiteX19870" y="connsiteY19870"/>
                </a:cxn>
                <a:cxn ang="0">
                  <a:pos x="connsiteX19871" y="connsiteY19871"/>
                </a:cxn>
                <a:cxn ang="0">
                  <a:pos x="connsiteX19872" y="connsiteY19872"/>
                </a:cxn>
                <a:cxn ang="0">
                  <a:pos x="connsiteX19873" y="connsiteY19873"/>
                </a:cxn>
                <a:cxn ang="0">
                  <a:pos x="connsiteX19874" y="connsiteY19874"/>
                </a:cxn>
                <a:cxn ang="0">
                  <a:pos x="connsiteX19875" y="connsiteY19875"/>
                </a:cxn>
                <a:cxn ang="0">
                  <a:pos x="connsiteX19876" y="connsiteY19876"/>
                </a:cxn>
                <a:cxn ang="0">
                  <a:pos x="connsiteX19877" y="connsiteY19877"/>
                </a:cxn>
                <a:cxn ang="0">
                  <a:pos x="connsiteX19878" y="connsiteY19878"/>
                </a:cxn>
                <a:cxn ang="0">
                  <a:pos x="connsiteX19879" y="connsiteY19879"/>
                </a:cxn>
                <a:cxn ang="0">
                  <a:pos x="connsiteX19880" y="connsiteY19880"/>
                </a:cxn>
                <a:cxn ang="0">
                  <a:pos x="connsiteX19881" y="connsiteY19881"/>
                </a:cxn>
                <a:cxn ang="0">
                  <a:pos x="connsiteX19882" y="connsiteY19882"/>
                </a:cxn>
                <a:cxn ang="0">
                  <a:pos x="connsiteX19883" y="connsiteY19883"/>
                </a:cxn>
                <a:cxn ang="0">
                  <a:pos x="connsiteX19884" y="connsiteY19884"/>
                </a:cxn>
                <a:cxn ang="0">
                  <a:pos x="connsiteX19885" y="connsiteY19885"/>
                </a:cxn>
                <a:cxn ang="0">
                  <a:pos x="connsiteX19886" y="connsiteY19886"/>
                </a:cxn>
                <a:cxn ang="0">
                  <a:pos x="connsiteX19887" y="connsiteY19887"/>
                </a:cxn>
                <a:cxn ang="0">
                  <a:pos x="connsiteX19888" y="connsiteY19888"/>
                </a:cxn>
                <a:cxn ang="0">
                  <a:pos x="connsiteX19889" y="connsiteY19889"/>
                </a:cxn>
                <a:cxn ang="0">
                  <a:pos x="connsiteX19890" y="connsiteY19890"/>
                </a:cxn>
                <a:cxn ang="0">
                  <a:pos x="connsiteX19891" y="connsiteY19891"/>
                </a:cxn>
                <a:cxn ang="0">
                  <a:pos x="connsiteX19892" y="connsiteY19892"/>
                </a:cxn>
                <a:cxn ang="0">
                  <a:pos x="connsiteX19893" y="connsiteY19893"/>
                </a:cxn>
                <a:cxn ang="0">
                  <a:pos x="connsiteX19894" y="connsiteY19894"/>
                </a:cxn>
                <a:cxn ang="0">
                  <a:pos x="connsiteX19895" y="connsiteY19895"/>
                </a:cxn>
                <a:cxn ang="0">
                  <a:pos x="connsiteX19896" y="connsiteY19896"/>
                </a:cxn>
                <a:cxn ang="0">
                  <a:pos x="connsiteX19897" y="connsiteY19897"/>
                </a:cxn>
                <a:cxn ang="0">
                  <a:pos x="connsiteX19898" y="connsiteY19898"/>
                </a:cxn>
                <a:cxn ang="0">
                  <a:pos x="connsiteX19899" y="connsiteY19899"/>
                </a:cxn>
                <a:cxn ang="0">
                  <a:pos x="connsiteX19900" y="connsiteY19900"/>
                </a:cxn>
                <a:cxn ang="0">
                  <a:pos x="connsiteX19901" y="connsiteY19901"/>
                </a:cxn>
                <a:cxn ang="0">
                  <a:pos x="connsiteX19902" y="connsiteY19902"/>
                </a:cxn>
                <a:cxn ang="0">
                  <a:pos x="connsiteX19903" y="connsiteY19903"/>
                </a:cxn>
                <a:cxn ang="0">
                  <a:pos x="connsiteX19904" y="connsiteY19904"/>
                </a:cxn>
                <a:cxn ang="0">
                  <a:pos x="connsiteX19905" y="connsiteY19905"/>
                </a:cxn>
                <a:cxn ang="0">
                  <a:pos x="connsiteX19906" y="connsiteY19906"/>
                </a:cxn>
                <a:cxn ang="0">
                  <a:pos x="connsiteX19907" y="connsiteY19907"/>
                </a:cxn>
                <a:cxn ang="0">
                  <a:pos x="connsiteX19908" y="connsiteY19908"/>
                </a:cxn>
                <a:cxn ang="0">
                  <a:pos x="connsiteX19909" y="connsiteY19909"/>
                </a:cxn>
                <a:cxn ang="0">
                  <a:pos x="connsiteX19910" y="connsiteY19910"/>
                </a:cxn>
                <a:cxn ang="0">
                  <a:pos x="connsiteX19911" y="connsiteY19911"/>
                </a:cxn>
                <a:cxn ang="0">
                  <a:pos x="connsiteX19912" y="connsiteY19912"/>
                </a:cxn>
                <a:cxn ang="0">
                  <a:pos x="connsiteX19913" y="connsiteY19913"/>
                </a:cxn>
                <a:cxn ang="0">
                  <a:pos x="connsiteX19914" y="connsiteY19914"/>
                </a:cxn>
                <a:cxn ang="0">
                  <a:pos x="connsiteX19915" y="connsiteY19915"/>
                </a:cxn>
                <a:cxn ang="0">
                  <a:pos x="connsiteX19916" y="connsiteY19916"/>
                </a:cxn>
                <a:cxn ang="0">
                  <a:pos x="connsiteX19917" y="connsiteY19917"/>
                </a:cxn>
                <a:cxn ang="0">
                  <a:pos x="connsiteX19918" y="connsiteY19918"/>
                </a:cxn>
                <a:cxn ang="0">
                  <a:pos x="connsiteX19919" y="connsiteY19919"/>
                </a:cxn>
                <a:cxn ang="0">
                  <a:pos x="connsiteX19920" y="connsiteY19920"/>
                </a:cxn>
                <a:cxn ang="0">
                  <a:pos x="connsiteX19921" y="connsiteY19921"/>
                </a:cxn>
                <a:cxn ang="0">
                  <a:pos x="connsiteX19922" y="connsiteY19922"/>
                </a:cxn>
                <a:cxn ang="0">
                  <a:pos x="connsiteX19923" y="connsiteY19923"/>
                </a:cxn>
                <a:cxn ang="0">
                  <a:pos x="connsiteX19924" y="connsiteY19924"/>
                </a:cxn>
                <a:cxn ang="0">
                  <a:pos x="connsiteX19925" y="connsiteY19925"/>
                </a:cxn>
                <a:cxn ang="0">
                  <a:pos x="connsiteX19926" y="connsiteY19926"/>
                </a:cxn>
                <a:cxn ang="0">
                  <a:pos x="connsiteX19927" y="connsiteY19927"/>
                </a:cxn>
                <a:cxn ang="0">
                  <a:pos x="connsiteX19928" y="connsiteY19928"/>
                </a:cxn>
                <a:cxn ang="0">
                  <a:pos x="connsiteX19929" y="connsiteY19929"/>
                </a:cxn>
                <a:cxn ang="0">
                  <a:pos x="connsiteX19930" y="connsiteY19930"/>
                </a:cxn>
                <a:cxn ang="0">
                  <a:pos x="connsiteX19931" y="connsiteY19931"/>
                </a:cxn>
                <a:cxn ang="0">
                  <a:pos x="connsiteX19932" y="connsiteY19932"/>
                </a:cxn>
                <a:cxn ang="0">
                  <a:pos x="connsiteX19933" y="connsiteY19933"/>
                </a:cxn>
                <a:cxn ang="0">
                  <a:pos x="connsiteX19934" y="connsiteY19934"/>
                </a:cxn>
                <a:cxn ang="0">
                  <a:pos x="connsiteX19935" y="connsiteY19935"/>
                </a:cxn>
                <a:cxn ang="0">
                  <a:pos x="connsiteX19936" y="connsiteY19936"/>
                </a:cxn>
                <a:cxn ang="0">
                  <a:pos x="connsiteX19937" y="connsiteY19937"/>
                </a:cxn>
                <a:cxn ang="0">
                  <a:pos x="connsiteX19938" y="connsiteY19938"/>
                </a:cxn>
                <a:cxn ang="0">
                  <a:pos x="connsiteX19939" y="connsiteY19939"/>
                </a:cxn>
                <a:cxn ang="0">
                  <a:pos x="connsiteX19940" y="connsiteY19940"/>
                </a:cxn>
                <a:cxn ang="0">
                  <a:pos x="connsiteX19941" y="connsiteY19941"/>
                </a:cxn>
                <a:cxn ang="0">
                  <a:pos x="connsiteX19942" y="connsiteY19942"/>
                </a:cxn>
                <a:cxn ang="0">
                  <a:pos x="connsiteX19943" y="connsiteY19943"/>
                </a:cxn>
                <a:cxn ang="0">
                  <a:pos x="connsiteX19944" y="connsiteY19944"/>
                </a:cxn>
                <a:cxn ang="0">
                  <a:pos x="connsiteX19945" y="connsiteY19945"/>
                </a:cxn>
                <a:cxn ang="0">
                  <a:pos x="connsiteX19946" y="connsiteY19946"/>
                </a:cxn>
                <a:cxn ang="0">
                  <a:pos x="connsiteX19947" y="connsiteY19947"/>
                </a:cxn>
                <a:cxn ang="0">
                  <a:pos x="connsiteX19948" y="connsiteY19948"/>
                </a:cxn>
                <a:cxn ang="0">
                  <a:pos x="connsiteX19949" y="connsiteY19949"/>
                </a:cxn>
                <a:cxn ang="0">
                  <a:pos x="connsiteX19950" y="connsiteY19950"/>
                </a:cxn>
                <a:cxn ang="0">
                  <a:pos x="connsiteX19951" y="connsiteY19951"/>
                </a:cxn>
                <a:cxn ang="0">
                  <a:pos x="connsiteX19952" y="connsiteY19952"/>
                </a:cxn>
                <a:cxn ang="0">
                  <a:pos x="connsiteX19953" y="connsiteY19953"/>
                </a:cxn>
                <a:cxn ang="0">
                  <a:pos x="connsiteX19954" y="connsiteY19954"/>
                </a:cxn>
                <a:cxn ang="0">
                  <a:pos x="connsiteX19955" y="connsiteY19955"/>
                </a:cxn>
                <a:cxn ang="0">
                  <a:pos x="connsiteX19956" y="connsiteY19956"/>
                </a:cxn>
                <a:cxn ang="0">
                  <a:pos x="connsiteX19957" y="connsiteY19957"/>
                </a:cxn>
                <a:cxn ang="0">
                  <a:pos x="connsiteX19958" y="connsiteY19958"/>
                </a:cxn>
                <a:cxn ang="0">
                  <a:pos x="connsiteX19959" y="connsiteY19959"/>
                </a:cxn>
                <a:cxn ang="0">
                  <a:pos x="connsiteX19960" y="connsiteY19960"/>
                </a:cxn>
                <a:cxn ang="0">
                  <a:pos x="connsiteX19961" y="connsiteY19961"/>
                </a:cxn>
                <a:cxn ang="0">
                  <a:pos x="connsiteX19962" y="connsiteY19962"/>
                </a:cxn>
                <a:cxn ang="0">
                  <a:pos x="connsiteX19963" y="connsiteY19963"/>
                </a:cxn>
                <a:cxn ang="0">
                  <a:pos x="connsiteX19964" y="connsiteY19964"/>
                </a:cxn>
                <a:cxn ang="0">
                  <a:pos x="connsiteX19965" y="connsiteY19965"/>
                </a:cxn>
                <a:cxn ang="0">
                  <a:pos x="connsiteX19966" y="connsiteY19966"/>
                </a:cxn>
                <a:cxn ang="0">
                  <a:pos x="connsiteX19967" y="connsiteY19967"/>
                </a:cxn>
                <a:cxn ang="0">
                  <a:pos x="connsiteX19968" y="connsiteY19968"/>
                </a:cxn>
                <a:cxn ang="0">
                  <a:pos x="connsiteX19969" y="connsiteY19969"/>
                </a:cxn>
                <a:cxn ang="0">
                  <a:pos x="connsiteX19970" y="connsiteY19970"/>
                </a:cxn>
                <a:cxn ang="0">
                  <a:pos x="connsiteX19971" y="connsiteY19971"/>
                </a:cxn>
                <a:cxn ang="0">
                  <a:pos x="connsiteX19972" y="connsiteY19972"/>
                </a:cxn>
                <a:cxn ang="0">
                  <a:pos x="connsiteX19973" y="connsiteY19973"/>
                </a:cxn>
                <a:cxn ang="0">
                  <a:pos x="connsiteX19974" y="connsiteY19974"/>
                </a:cxn>
                <a:cxn ang="0">
                  <a:pos x="connsiteX19975" y="connsiteY19975"/>
                </a:cxn>
                <a:cxn ang="0">
                  <a:pos x="connsiteX19976" y="connsiteY19976"/>
                </a:cxn>
                <a:cxn ang="0">
                  <a:pos x="connsiteX19977" y="connsiteY19977"/>
                </a:cxn>
                <a:cxn ang="0">
                  <a:pos x="connsiteX19978" y="connsiteY19978"/>
                </a:cxn>
                <a:cxn ang="0">
                  <a:pos x="connsiteX19979" y="connsiteY19979"/>
                </a:cxn>
                <a:cxn ang="0">
                  <a:pos x="connsiteX19980" y="connsiteY19980"/>
                </a:cxn>
                <a:cxn ang="0">
                  <a:pos x="connsiteX19981" y="connsiteY19981"/>
                </a:cxn>
                <a:cxn ang="0">
                  <a:pos x="connsiteX19982" y="connsiteY19982"/>
                </a:cxn>
                <a:cxn ang="0">
                  <a:pos x="connsiteX19983" y="connsiteY19983"/>
                </a:cxn>
                <a:cxn ang="0">
                  <a:pos x="connsiteX19984" y="connsiteY19984"/>
                </a:cxn>
                <a:cxn ang="0">
                  <a:pos x="connsiteX19985" y="connsiteY19985"/>
                </a:cxn>
                <a:cxn ang="0">
                  <a:pos x="connsiteX19986" y="connsiteY19986"/>
                </a:cxn>
                <a:cxn ang="0">
                  <a:pos x="connsiteX19987" y="connsiteY19987"/>
                </a:cxn>
                <a:cxn ang="0">
                  <a:pos x="connsiteX19988" y="connsiteY19988"/>
                </a:cxn>
                <a:cxn ang="0">
                  <a:pos x="connsiteX19989" y="connsiteY19989"/>
                </a:cxn>
                <a:cxn ang="0">
                  <a:pos x="connsiteX19990" y="connsiteY19990"/>
                </a:cxn>
                <a:cxn ang="0">
                  <a:pos x="connsiteX19991" y="connsiteY19991"/>
                </a:cxn>
                <a:cxn ang="0">
                  <a:pos x="connsiteX19992" y="connsiteY19992"/>
                </a:cxn>
                <a:cxn ang="0">
                  <a:pos x="connsiteX19993" y="connsiteY19993"/>
                </a:cxn>
                <a:cxn ang="0">
                  <a:pos x="connsiteX19994" y="connsiteY19994"/>
                </a:cxn>
                <a:cxn ang="0">
                  <a:pos x="connsiteX19995" y="connsiteY19995"/>
                </a:cxn>
                <a:cxn ang="0">
                  <a:pos x="connsiteX19996" y="connsiteY19996"/>
                </a:cxn>
                <a:cxn ang="0">
                  <a:pos x="connsiteX19997" y="connsiteY19997"/>
                </a:cxn>
                <a:cxn ang="0">
                  <a:pos x="connsiteX19998" y="connsiteY19998"/>
                </a:cxn>
                <a:cxn ang="0">
                  <a:pos x="connsiteX19999" y="connsiteY19999"/>
                </a:cxn>
                <a:cxn ang="0">
                  <a:pos x="connsiteX20000" y="connsiteY20000"/>
                </a:cxn>
                <a:cxn ang="0">
                  <a:pos x="connsiteX20001" y="connsiteY20001"/>
                </a:cxn>
                <a:cxn ang="0">
                  <a:pos x="connsiteX20002" y="connsiteY20002"/>
                </a:cxn>
                <a:cxn ang="0">
                  <a:pos x="connsiteX20003" y="connsiteY20003"/>
                </a:cxn>
                <a:cxn ang="0">
                  <a:pos x="connsiteX20004" y="connsiteY20004"/>
                </a:cxn>
                <a:cxn ang="0">
                  <a:pos x="connsiteX20005" y="connsiteY20005"/>
                </a:cxn>
                <a:cxn ang="0">
                  <a:pos x="connsiteX20006" y="connsiteY20006"/>
                </a:cxn>
                <a:cxn ang="0">
                  <a:pos x="connsiteX20007" y="connsiteY20007"/>
                </a:cxn>
                <a:cxn ang="0">
                  <a:pos x="connsiteX20008" y="connsiteY20008"/>
                </a:cxn>
                <a:cxn ang="0">
                  <a:pos x="connsiteX20009" y="connsiteY20009"/>
                </a:cxn>
                <a:cxn ang="0">
                  <a:pos x="connsiteX20010" y="connsiteY20010"/>
                </a:cxn>
                <a:cxn ang="0">
                  <a:pos x="connsiteX20011" y="connsiteY20011"/>
                </a:cxn>
                <a:cxn ang="0">
                  <a:pos x="connsiteX20012" y="connsiteY20012"/>
                </a:cxn>
                <a:cxn ang="0">
                  <a:pos x="connsiteX20013" y="connsiteY20013"/>
                </a:cxn>
                <a:cxn ang="0">
                  <a:pos x="connsiteX20014" y="connsiteY20014"/>
                </a:cxn>
                <a:cxn ang="0">
                  <a:pos x="connsiteX20015" y="connsiteY20015"/>
                </a:cxn>
                <a:cxn ang="0">
                  <a:pos x="connsiteX20016" y="connsiteY20016"/>
                </a:cxn>
                <a:cxn ang="0">
                  <a:pos x="connsiteX20017" y="connsiteY20017"/>
                </a:cxn>
                <a:cxn ang="0">
                  <a:pos x="connsiteX20018" y="connsiteY20018"/>
                </a:cxn>
                <a:cxn ang="0">
                  <a:pos x="connsiteX20019" y="connsiteY20019"/>
                </a:cxn>
                <a:cxn ang="0">
                  <a:pos x="connsiteX20020" y="connsiteY20020"/>
                </a:cxn>
                <a:cxn ang="0">
                  <a:pos x="connsiteX20021" y="connsiteY20021"/>
                </a:cxn>
                <a:cxn ang="0">
                  <a:pos x="connsiteX20022" y="connsiteY20022"/>
                </a:cxn>
                <a:cxn ang="0">
                  <a:pos x="connsiteX20023" y="connsiteY20023"/>
                </a:cxn>
                <a:cxn ang="0">
                  <a:pos x="connsiteX20024" y="connsiteY20024"/>
                </a:cxn>
                <a:cxn ang="0">
                  <a:pos x="connsiteX20025" y="connsiteY20025"/>
                </a:cxn>
                <a:cxn ang="0">
                  <a:pos x="connsiteX20026" y="connsiteY20026"/>
                </a:cxn>
                <a:cxn ang="0">
                  <a:pos x="connsiteX20027" y="connsiteY20027"/>
                </a:cxn>
                <a:cxn ang="0">
                  <a:pos x="connsiteX20028" y="connsiteY20028"/>
                </a:cxn>
                <a:cxn ang="0">
                  <a:pos x="connsiteX20029" y="connsiteY20029"/>
                </a:cxn>
                <a:cxn ang="0">
                  <a:pos x="connsiteX20030" y="connsiteY20030"/>
                </a:cxn>
                <a:cxn ang="0">
                  <a:pos x="connsiteX20031" y="connsiteY20031"/>
                </a:cxn>
                <a:cxn ang="0">
                  <a:pos x="connsiteX20032" y="connsiteY20032"/>
                </a:cxn>
                <a:cxn ang="0">
                  <a:pos x="connsiteX20033" y="connsiteY20033"/>
                </a:cxn>
                <a:cxn ang="0">
                  <a:pos x="connsiteX20034" y="connsiteY20034"/>
                </a:cxn>
                <a:cxn ang="0">
                  <a:pos x="connsiteX20035" y="connsiteY20035"/>
                </a:cxn>
                <a:cxn ang="0">
                  <a:pos x="connsiteX20036" y="connsiteY20036"/>
                </a:cxn>
                <a:cxn ang="0">
                  <a:pos x="connsiteX20037" y="connsiteY20037"/>
                </a:cxn>
                <a:cxn ang="0">
                  <a:pos x="connsiteX20038" y="connsiteY20038"/>
                </a:cxn>
                <a:cxn ang="0">
                  <a:pos x="connsiteX20039" y="connsiteY20039"/>
                </a:cxn>
                <a:cxn ang="0">
                  <a:pos x="connsiteX20040" y="connsiteY20040"/>
                </a:cxn>
                <a:cxn ang="0">
                  <a:pos x="connsiteX20041" y="connsiteY20041"/>
                </a:cxn>
                <a:cxn ang="0">
                  <a:pos x="connsiteX20042" y="connsiteY20042"/>
                </a:cxn>
                <a:cxn ang="0">
                  <a:pos x="connsiteX20043" y="connsiteY20043"/>
                </a:cxn>
                <a:cxn ang="0">
                  <a:pos x="connsiteX20044" y="connsiteY20044"/>
                </a:cxn>
                <a:cxn ang="0">
                  <a:pos x="connsiteX20045" y="connsiteY20045"/>
                </a:cxn>
                <a:cxn ang="0">
                  <a:pos x="connsiteX20046" y="connsiteY20046"/>
                </a:cxn>
                <a:cxn ang="0">
                  <a:pos x="connsiteX20047" y="connsiteY20047"/>
                </a:cxn>
                <a:cxn ang="0">
                  <a:pos x="connsiteX20048" y="connsiteY20048"/>
                </a:cxn>
                <a:cxn ang="0">
                  <a:pos x="connsiteX20049" y="connsiteY20049"/>
                </a:cxn>
                <a:cxn ang="0">
                  <a:pos x="connsiteX20050" y="connsiteY20050"/>
                </a:cxn>
                <a:cxn ang="0">
                  <a:pos x="connsiteX20051" y="connsiteY20051"/>
                </a:cxn>
                <a:cxn ang="0">
                  <a:pos x="connsiteX20052" y="connsiteY20052"/>
                </a:cxn>
                <a:cxn ang="0">
                  <a:pos x="connsiteX20053" y="connsiteY20053"/>
                </a:cxn>
                <a:cxn ang="0">
                  <a:pos x="connsiteX20054" y="connsiteY20054"/>
                </a:cxn>
                <a:cxn ang="0">
                  <a:pos x="connsiteX20055" y="connsiteY20055"/>
                </a:cxn>
                <a:cxn ang="0">
                  <a:pos x="connsiteX20056" y="connsiteY20056"/>
                </a:cxn>
                <a:cxn ang="0">
                  <a:pos x="connsiteX20057" y="connsiteY20057"/>
                </a:cxn>
                <a:cxn ang="0">
                  <a:pos x="connsiteX20058" y="connsiteY20058"/>
                </a:cxn>
                <a:cxn ang="0">
                  <a:pos x="connsiteX20059" y="connsiteY20059"/>
                </a:cxn>
                <a:cxn ang="0">
                  <a:pos x="connsiteX20060" y="connsiteY20060"/>
                </a:cxn>
              </a:cxnLst>
              <a:rect l="l" t="t" r="r" b="b"/>
              <a:pathLst>
                <a:path w="5719680" h="5704395">
                  <a:moveTo>
                    <a:pt x="1534734" y="5674195"/>
                  </a:moveTo>
                  <a:cubicBezTo>
                    <a:pt x="1572213" y="5674195"/>
                    <a:pt x="1572213" y="5674195"/>
                    <a:pt x="1572213" y="5674195"/>
                  </a:cubicBezTo>
                  <a:cubicBezTo>
                    <a:pt x="1572213" y="5677364"/>
                    <a:pt x="1572213" y="5677364"/>
                    <a:pt x="1572213" y="5677364"/>
                  </a:cubicBezTo>
                  <a:lnTo>
                    <a:pt x="1588730" y="5677364"/>
                  </a:lnTo>
                  <a:cubicBezTo>
                    <a:pt x="1589047" y="5703982"/>
                    <a:pt x="1589047" y="5703982"/>
                    <a:pt x="1589047" y="5703982"/>
                  </a:cubicBezTo>
                  <a:cubicBezTo>
                    <a:pt x="1584601" y="5703982"/>
                    <a:pt x="1584601" y="5703982"/>
                    <a:pt x="1584601" y="5703982"/>
                  </a:cubicBezTo>
                  <a:cubicBezTo>
                    <a:pt x="1584601" y="5681483"/>
                    <a:pt x="1584601" y="5681483"/>
                    <a:pt x="1584601" y="5681483"/>
                  </a:cubicBezTo>
                  <a:cubicBezTo>
                    <a:pt x="1568084" y="5681483"/>
                    <a:pt x="1568084" y="5681483"/>
                    <a:pt x="1568084" y="5681483"/>
                  </a:cubicBezTo>
                  <a:cubicBezTo>
                    <a:pt x="1568084" y="5678315"/>
                    <a:pt x="1568084" y="5678315"/>
                    <a:pt x="1568084" y="5678315"/>
                  </a:cubicBezTo>
                  <a:cubicBezTo>
                    <a:pt x="1539181" y="5678315"/>
                    <a:pt x="1539181" y="5678315"/>
                    <a:pt x="1539181" y="5678315"/>
                  </a:cubicBezTo>
                  <a:cubicBezTo>
                    <a:pt x="1539816" y="5703982"/>
                    <a:pt x="1539816" y="5703982"/>
                    <a:pt x="1539816" y="5703982"/>
                  </a:cubicBezTo>
                  <a:cubicBezTo>
                    <a:pt x="1535687" y="5703982"/>
                    <a:pt x="1535687" y="5703982"/>
                    <a:pt x="1535687" y="5703982"/>
                  </a:cubicBezTo>
                  <a:cubicBezTo>
                    <a:pt x="1534734" y="5674195"/>
                    <a:pt x="1534734" y="5674195"/>
                    <a:pt x="1534734" y="5674195"/>
                  </a:cubicBezTo>
                  <a:close/>
                  <a:moveTo>
                    <a:pt x="1384501" y="5673878"/>
                  </a:moveTo>
                  <a:cubicBezTo>
                    <a:pt x="1384501" y="5673878"/>
                    <a:pt x="1384501" y="5673878"/>
                    <a:pt x="1431508" y="5677364"/>
                  </a:cubicBezTo>
                  <a:cubicBezTo>
                    <a:pt x="1431508" y="5677364"/>
                    <a:pt x="1431508" y="5677364"/>
                    <a:pt x="1429285" y="5703982"/>
                  </a:cubicBezTo>
                  <a:lnTo>
                    <a:pt x="1429265" y="5704395"/>
                  </a:lnTo>
                  <a:lnTo>
                    <a:pt x="1425156" y="5704395"/>
                  </a:lnTo>
                  <a:lnTo>
                    <a:pt x="1425156" y="5703982"/>
                  </a:lnTo>
                  <a:cubicBezTo>
                    <a:pt x="1425156" y="5703982"/>
                    <a:pt x="1425156" y="5703982"/>
                    <a:pt x="1427062" y="5681167"/>
                  </a:cubicBezTo>
                  <a:cubicBezTo>
                    <a:pt x="1427062" y="5681167"/>
                    <a:pt x="1427062" y="5681167"/>
                    <a:pt x="1388312" y="5678315"/>
                  </a:cubicBezTo>
                  <a:lnTo>
                    <a:pt x="1386406" y="5703032"/>
                  </a:lnTo>
                  <a:cubicBezTo>
                    <a:pt x="1386406" y="5703032"/>
                    <a:pt x="1386406" y="5703032"/>
                    <a:pt x="1400382" y="5703982"/>
                  </a:cubicBezTo>
                  <a:cubicBezTo>
                    <a:pt x="1400382" y="5703982"/>
                    <a:pt x="1400382" y="5703982"/>
                    <a:pt x="1403479" y="5704220"/>
                  </a:cubicBezTo>
                  <a:lnTo>
                    <a:pt x="1405762" y="5704395"/>
                  </a:lnTo>
                  <a:lnTo>
                    <a:pt x="1382277" y="5704395"/>
                  </a:lnTo>
                  <a:lnTo>
                    <a:pt x="1382277" y="5703982"/>
                  </a:lnTo>
                  <a:close/>
                  <a:moveTo>
                    <a:pt x="2661328" y="5614937"/>
                  </a:moveTo>
                  <a:lnTo>
                    <a:pt x="2661328" y="5636485"/>
                  </a:lnTo>
                  <a:cubicBezTo>
                    <a:pt x="2661328" y="5636485"/>
                    <a:pt x="2661328" y="5636485"/>
                    <a:pt x="2683244" y="5636802"/>
                  </a:cubicBezTo>
                  <a:cubicBezTo>
                    <a:pt x="2683244" y="5636802"/>
                    <a:pt x="2683244" y="5636802"/>
                    <a:pt x="2683244" y="5614937"/>
                  </a:cubicBezTo>
                  <a:cubicBezTo>
                    <a:pt x="2683244" y="5614937"/>
                    <a:pt x="2683244" y="5614937"/>
                    <a:pt x="2661328" y="5614937"/>
                  </a:cubicBezTo>
                  <a:close/>
                  <a:moveTo>
                    <a:pt x="2578747" y="5611451"/>
                  </a:moveTo>
                  <a:cubicBezTo>
                    <a:pt x="2578747" y="5611451"/>
                    <a:pt x="2578747" y="5611451"/>
                    <a:pt x="2554926" y="5612402"/>
                  </a:cubicBezTo>
                  <a:cubicBezTo>
                    <a:pt x="2554926" y="5612402"/>
                    <a:pt x="2554926" y="5612402"/>
                    <a:pt x="2555244" y="5618423"/>
                  </a:cubicBezTo>
                  <a:cubicBezTo>
                    <a:pt x="2555244" y="5618423"/>
                    <a:pt x="2555244" y="5618423"/>
                    <a:pt x="2555244" y="5620641"/>
                  </a:cubicBezTo>
                  <a:cubicBezTo>
                    <a:pt x="2555244" y="5620641"/>
                    <a:pt x="2555244" y="5620641"/>
                    <a:pt x="2531422" y="5620958"/>
                  </a:cubicBezTo>
                  <a:cubicBezTo>
                    <a:pt x="2531422" y="5620958"/>
                    <a:pt x="2531422" y="5620958"/>
                    <a:pt x="2532375" y="5641239"/>
                  </a:cubicBezTo>
                  <a:cubicBezTo>
                    <a:pt x="2532375" y="5641239"/>
                    <a:pt x="2532375" y="5641239"/>
                    <a:pt x="2521894" y="5642189"/>
                  </a:cubicBezTo>
                  <a:cubicBezTo>
                    <a:pt x="2521894" y="5642189"/>
                    <a:pt x="2521894" y="5642189"/>
                    <a:pt x="2522211" y="5655816"/>
                  </a:cubicBezTo>
                  <a:cubicBezTo>
                    <a:pt x="2522211" y="5655816"/>
                    <a:pt x="2522211" y="5655816"/>
                    <a:pt x="2528246" y="5656132"/>
                  </a:cubicBezTo>
                  <a:cubicBezTo>
                    <a:pt x="2528246" y="5656132"/>
                    <a:pt x="2528246" y="5656132"/>
                    <a:pt x="2530152" y="5656132"/>
                  </a:cubicBezTo>
                  <a:cubicBezTo>
                    <a:pt x="2530152" y="5656132"/>
                    <a:pt x="2530152" y="5656132"/>
                    <a:pt x="2531104" y="5673561"/>
                  </a:cubicBezTo>
                  <a:cubicBezTo>
                    <a:pt x="2531104" y="5673561"/>
                    <a:pt x="2531104" y="5673561"/>
                    <a:pt x="2573666" y="5673244"/>
                  </a:cubicBezTo>
                  <a:cubicBezTo>
                    <a:pt x="2573666" y="5673244"/>
                    <a:pt x="2573666" y="5673244"/>
                    <a:pt x="2575254" y="5686871"/>
                  </a:cubicBezTo>
                  <a:cubicBezTo>
                    <a:pt x="2575254" y="5686871"/>
                    <a:pt x="2575254" y="5686871"/>
                    <a:pt x="2593676" y="5687187"/>
                  </a:cubicBezTo>
                  <a:cubicBezTo>
                    <a:pt x="2593676" y="5687187"/>
                    <a:pt x="2593676" y="5687187"/>
                    <a:pt x="2593676" y="5673878"/>
                  </a:cubicBezTo>
                  <a:lnTo>
                    <a:pt x="2622261" y="5673244"/>
                  </a:lnTo>
                  <a:cubicBezTo>
                    <a:pt x="2622261" y="5673244"/>
                    <a:pt x="2622261" y="5673244"/>
                    <a:pt x="2621944" y="5620641"/>
                  </a:cubicBezTo>
                  <a:cubicBezTo>
                    <a:pt x="2621944" y="5620641"/>
                    <a:pt x="2621944" y="5620641"/>
                    <a:pt x="2579382" y="5620641"/>
                  </a:cubicBezTo>
                  <a:cubicBezTo>
                    <a:pt x="2579382" y="5620641"/>
                    <a:pt x="2579382" y="5620641"/>
                    <a:pt x="2578747" y="5611451"/>
                  </a:cubicBezTo>
                  <a:close/>
                  <a:moveTo>
                    <a:pt x="2657199" y="5610501"/>
                  </a:moveTo>
                  <a:cubicBezTo>
                    <a:pt x="2657199" y="5610501"/>
                    <a:pt x="2657199" y="5610501"/>
                    <a:pt x="2687373" y="5610817"/>
                  </a:cubicBezTo>
                  <a:cubicBezTo>
                    <a:pt x="2687373" y="5610817"/>
                    <a:pt x="2687373" y="5610817"/>
                    <a:pt x="2687373" y="5640922"/>
                  </a:cubicBezTo>
                  <a:cubicBezTo>
                    <a:pt x="2687373" y="5640922"/>
                    <a:pt x="2687373" y="5640922"/>
                    <a:pt x="2685150" y="5640922"/>
                  </a:cubicBezTo>
                  <a:cubicBezTo>
                    <a:pt x="2685150" y="5640922"/>
                    <a:pt x="2685150" y="5640922"/>
                    <a:pt x="2657199" y="5640605"/>
                  </a:cubicBezTo>
                  <a:close/>
                  <a:moveTo>
                    <a:pt x="2582559" y="5607332"/>
                  </a:moveTo>
                  <a:cubicBezTo>
                    <a:pt x="2582559" y="5607332"/>
                    <a:pt x="2582559" y="5607332"/>
                    <a:pt x="2583194" y="5616521"/>
                  </a:cubicBezTo>
                  <a:lnTo>
                    <a:pt x="2626072" y="5616521"/>
                  </a:lnTo>
                  <a:cubicBezTo>
                    <a:pt x="2626072" y="5616521"/>
                    <a:pt x="2626072" y="5616521"/>
                    <a:pt x="2626390" y="5677047"/>
                  </a:cubicBezTo>
                  <a:cubicBezTo>
                    <a:pt x="2626390" y="5677047"/>
                    <a:pt x="2626390" y="5677047"/>
                    <a:pt x="2624167" y="5677364"/>
                  </a:cubicBezTo>
                  <a:cubicBezTo>
                    <a:pt x="2624167" y="5677364"/>
                    <a:pt x="2624167" y="5677364"/>
                    <a:pt x="2597804" y="5677998"/>
                  </a:cubicBezTo>
                  <a:cubicBezTo>
                    <a:pt x="2597804" y="5677998"/>
                    <a:pt x="2597804" y="5677998"/>
                    <a:pt x="2597804" y="5691624"/>
                  </a:cubicBezTo>
                  <a:cubicBezTo>
                    <a:pt x="2597804" y="5691624"/>
                    <a:pt x="2597804" y="5691624"/>
                    <a:pt x="2571442" y="5690990"/>
                  </a:cubicBezTo>
                  <a:cubicBezTo>
                    <a:pt x="2571442" y="5690990"/>
                    <a:pt x="2571442" y="5690990"/>
                    <a:pt x="2569854" y="5677681"/>
                  </a:cubicBezTo>
                  <a:cubicBezTo>
                    <a:pt x="2569854" y="5677681"/>
                    <a:pt x="2569854" y="5677681"/>
                    <a:pt x="2526976" y="5677998"/>
                  </a:cubicBezTo>
                  <a:cubicBezTo>
                    <a:pt x="2526976" y="5677998"/>
                    <a:pt x="2526976" y="5677998"/>
                    <a:pt x="2526340" y="5660252"/>
                  </a:cubicBezTo>
                  <a:cubicBezTo>
                    <a:pt x="2526340" y="5660252"/>
                    <a:pt x="2526340" y="5660252"/>
                    <a:pt x="2519988" y="5659935"/>
                  </a:cubicBezTo>
                  <a:cubicBezTo>
                    <a:pt x="2519988" y="5659935"/>
                    <a:pt x="2519988" y="5659935"/>
                    <a:pt x="2518082" y="5659618"/>
                  </a:cubicBezTo>
                  <a:cubicBezTo>
                    <a:pt x="2518082" y="5659618"/>
                    <a:pt x="2518082" y="5659618"/>
                    <a:pt x="2517447" y="5638387"/>
                  </a:cubicBezTo>
                  <a:cubicBezTo>
                    <a:pt x="2517447" y="5638387"/>
                    <a:pt x="2517447" y="5638387"/>
                    <a:pt x="2527928" y="5637436"/>
                  </a:cubicBezTo>
                  <a:cubicBezTo>
                    <a:pt x="2527928" y="5637436"/>
                    <a:pt x="2527928" y="5637436"/>
                    <a:pt x="2526976" y="5616838"/>
                  </a:cubicBezTo>
                  <a:cubicBezTo>
                    <a:pt x="2526976" y="5616838"/>
                    <a:pt x="2526976" y="5616838"/>
                    <a:pt x="2550797" y="5616521"/>
                  </a:cubicBezTo>
                  <a:cubicBezTo>
                    <a:pt x="2550797" y="5616521"/>
                    <a:pt x="2550797" y="5616521"/>
                    <a:pt x="2550479" y="5610501"/>
                  </a:cubicBezTo>
                  <a:cubicBezTo>
                    <a:pt x="2550479" y="5610501"/>
                    <a:pt x="2550479" y="5610501"/>
                    <a:pt x="2550479" y="5608599"/>
                  </a:cubicBezTo>
                  <a:cubicBezTo>
                    <a:pt x="2550479" y="5608599"/>
                    <a:pt x="2550479" y="5608599"/>
                    <a:pt x="2582559" y="5607332"/>
                  </a:cubicBezTo>
                  <a:close/>
                  <a:moveTo>
                    <a:pt x="1262535" y="5564869"/>
                  </a:moveTo>
                  <a:cubicBezTo>
                    <a:pt x="1262535" y="5564869"/>
                    <a:pt x="1262535" y="5564869"/>
                    <a:pt x="1231091" y="5587368"/>
                  </a:cubicBezTo>
                  <a:cubicBezTo>
                    <a:pt x="1231091" y="5587368"/>
                    <a:pt x="1231091" y="5587368"/>
                    <a:pt x="1245384" y="5607649"/>
                  </a:cubicBezTo>
                  <a:lnTo>
                    <a:pt x="1277146" y="5585150"/>
                  </a:lnTo>
                  <a:cubicBezTo>
                    <a:pt x="1277146" y="5585150"/>
                    <a:pt x="1277146" y="5585150"/>
                    <a:pt x="1262535" y="5564869"/>
                  </a:cubicBezTo>
                  <a:close/>
                  <a:moveTo>
                    <a:pt x="1263488" y="5559165"/>
                  </a:moveTo>
                  <a:cubicBezTo>
                    <a:pt x="1263488" y="5559165"/>
                    <a:pt x="1263488" y="5559165"/>
                    <a:pt x="1282863" y="5586100"/>
                  </a:cubicBezTo>
                  <a:cubicBezTo>
                    <a:pt x="1282863" y="5586100"/>
                    <a:pt x="1282863" y="5586100"/>
                    <a:pt x="1244431" y="5613353"/>
                  </a:cubicBezTo>
                  <a:cubicBezTo>
                    <a:pt x="1244431" y="5613353"/>
                    <a:pt x="1244431" y="5613353"/>
                    <a:pt x="1243160" y="5611451"/>
                  </a:cubicBezTo>
                  <a:cubicBezTo>
                    <a:pt x="1243160" y="5611451"/>
                    <a:pt x="1243160" y="5611451"/>
                    <a:pt x="1225374" y="5586417"/>
                  </a:cubicBezTo>
                  <a:close/>
                  <a:moveTo>
                    <a:pt x="1127865" y="5526208"/>
                  </a:moveTo>
                  <a:cubicBezTo>
                    <a:pt x="1127865" y="5526208"/>
                    <a:pt x="1127865" y="5526208"/>
                    <a:pt x="1089433" y="5532546"/>
                  </a:cubicBezTo>
                  <a:cubicBezTo>
                    <a:pt x="1089433" y="5532546"/>
                    <a:pt x="1089433" y="5532546"/>
                    <a:pt x="1093562" y="5556313"/>
                  </a:cubicBezTo>
                  <a:cubicBezTo>
                    <a:pt x="1093562" y="5556313"/>
                    <a:pt x="1093562" y="5556313"/>
                    <a:pt x="1071646" y="5560115"/>
                  </a:cubicBezTo>
                  <a:cubicBezTo>
                    <a:pt x="1071646" y="5560115"/>
                    <a:pt x="1071646" y="5560115"/>
                    <a:pt x="1074187" y="5575643"/>
                  </a:cubicBezTo>
                  <a:cubicBezTo>
                    <a:pt x="1074187" y="5575643"/>
                    <a:pt x="1074187" y="5575643"/>
                    <a:pt x="1133582" y="5565186"/>
                  </a:cubicBezTo>
                  <a:cubicBezTo>
                    <a:pt x="1133582" y="5565186"/>
                    <a:pt x="1133582" y="5565186"/>
                    <a:pt x="1135805" y="5578495"/>
                  </a:cubicBezTo>
                  <a:cubicBezTo>
                    <a:pt x="1135805" y="5578495"/>
                    <a:pt x="1135805" y="5578495"/>
                    <a:pt x="1108808" y="5583248"/>
                  </a:cubicBezTo>
                  <a:cubicBezTo>
                    <a:pt x="1108808" y="5583248"/>
                    <a:pt x="1108808" y="5583248"/>
                    <a:pt x="1111666" y="5599409"/>
                  </a:cubicBezTo>
                  <a:cubicBezTo>
                    <a:pt x="1111666" y="5599409"/>
                    <a:pt x="1111666" y="5599409"/>
                    <a:pt x="1169155" y="5589269"/>
                  </a:cubicBezTo>
                  <a:lnTo>
                    <a:pt x="1166297" y="5572157"/>
                  </a:lnTo>
                  <a:cubicBezTo>
                    <a:pt x="1166297" y="5572157"/>
                    <a:pt x="1166297" y="5572157"/>
                    <a:pt x="1170426" y="5571523"/>
                  </a:cubicBezTo>
                  <a:cubicBezTo>
                    <a:pt x="1170426" y="5571523"/>
                    <a:pt x="1170426" y="5571523"/>
                    <a:pt x="1166614" y="5548707"/>
                  </a:cubicBezTo>
                  <a:cubicBezTo>
                    <a:pt x="1166614" y="5548707"/>
                    <a:pt x="1166614" y="5548707"/>
                    <a:pt x="1132629" y="5554728"/>
                  </a:cubicBezTo>
                  <a:cubicBezTo>
                    <a:pt x="1132629" y="5554728"/>
                    <a:pt x="1132629" y="5554728"/>
                    <a:pt x="1127865" y="5526208"/>
                  </a:cubicBezTo>
                  <a:close/>
                  <a:moveTo>
                    <a:pt x="1131358" y="5521138"/>
                  </a:moveTo>
                  <a:cubicBezTo>
                    <a:pt x="1131358" y="5521138"/>
                    <a:pt x="1131358" y="5521138"/>
                    <a:pt x="1136123" y="5549658"/>
                  </a:cubicBezTo>
                  <a:cubicBezTo>
                    <a:pt x="1136123" y="5549658"/>
                    <a:pt x="1136123" y="5549658"/>
                    <a:pt x="1170108" y="5543954"/>
                  </a:cubicBezTo>
                  <a:cubicBezTo>
                    <a:pt x="1170108" y="5543954"/>
                    <a:pt x="1170108" y="5543954"/>
                    <a:pt x="1170426" y="5546172"/>
                  </a:cubicBezTo>
                  <a:lnTo>
                    <a:pt x="1175507" y="5575009"/>
                  </a:lnTo>
                  <a:cubicBezTo>
                    <a:pt x="1175507" y="5575009"/>
                    <a:pt x="1175507" y="5575009"/>
                    <a:pt x="1171378" y="5575643"/>
                  </a:cubicBezTo>
                  <a:cubicBezTo>
                    <a:pt x="1171378" y="5575643"/>
                    <a:pt x="1171378" y="5575643"/>
                    <a:pt x="1174237" y="5592755"/>
                  </a:cubicBezTo>
                  <a:cubicBezTo>
                    <a:pt x="1174237" y="5592755"/>
                    <a:pt x="1174237" y="5592755"/>
                    <a:pt x="1108172" y="5604163"/>
                  </a:cubicBezTo>
                  <a:cubicBezTo>
                    <a:pt x="1108172" y="5604163"/>
                    <a:pt x="1108172" y="5604163"/>
                    <a:pt x="1103726" y="5579762"/>
                  </a:cubicBezTo>
                  <a:cubicBezTo>
                    <a:pt x="1103726" y="5579762"/>
                    <a:pt x="1103726" y="5579762"/>
                    <a:pt x="1131041" y="5575009"/>
                  </a:cubicBezTo>
                  <a:cubicBezTo>
                    <a:pt x="1131041" y="5575009"/>
                    <a:pt x="1131041" y="5575009"/>
                    <a:pt x="1130088" y="5570256"/>
                  </a:cubicBezTo>
                  <a:cubicBezTo>
                    <a:pt x="1130088" y="5570256"/>
                    <a:pt x="1130088" y="5570256"/>
                    <a:pt x="1070693" y="5580396"/>
                  </a:cubicBezTo>
                  <a:cubicBezTo>
                    <a:pt x="1070693" y="5580396"/>
                    <a:pt x="1070693" y="5580396"/>
                    <a:pt x="1066882" y="5556630"/>
                  </a:cubicBezTo>
                  <a:cubicBezTo>
                    <a:pt x="1066882" y="5556630"/>
                    <a:pt x="1066882" y="5556630"/>
                    <a:pt x="1088798" y="5552827"/>
                  </a:cubicBezTo>
                  <a:cubicBezTo>
                    <a:pt x="1088798" y="5552827"/>
                    <a:pt x="1088798" y="5552827"/>
                    <a:pt x="1084669" y="5529060"/>
                  </a:cubicBezTo>
                  <a:cubicBezTo>
                    <a:pt x="1084669" y="5529060"/>
                    <a:pt x="1084669" y="5529060"/>
                    <a:pt x="1131358" y="5521138"/>
                  </a:cubicBezTo>
                  <a:close/>
                  <a:moveTo>
                    <a:pt x="425609" y="5514800"/>
                  </a:moveTo>
                  <a:cubicBezTo>
                    <a:pt x="425609" y="5514800"/>
                    <a:pt x="425609" y="5514800"/>
                    <a:pt x="412587" y="5544588"/>
                  </a:cubicBezTo>
                  <a:cubicBezTo>
                    <a:pt x="412587" y="5544588"/>
                    <a:pt x="412587" y="5544588"/>
                    <a:pt x="439902" y="5555045"/>
                  </a:cubicBezTo>
                  <a:cubicBezTo>
                    <a:pt x="439902" y="5555045"/>
                    <a:pt x="439902" y="5555045"/>
                    <a:pt x="446890" y="5537299"/>
                  </a:cubicBezTo>
                  <a:lnTo>
                    <a:pt x="432915" y="5531912"/>
                  </a:lnTo>
                  <a:cubicBezTo>
                    <a:pt x="432915" y="5531912"/>
                    <a:pt x="432915" y="5531912"/>
                    <a:pt x="437679" y="5519237"/>
                  </a:cubicBezTo>
                  <a:cubicBezTo>
                    <a:pt x="437679" y="5519237"/>
                    <a:pt x="437679" y="5519237"/>
                    <a:pt x="425609" y="5514800"/>
                  </a:cubicBezTo>
                  <a:close/>
                  <a:moveTo>
                    <a:pt x="410999" y="5509096"/>
                  </a:moveTo>
                  <a:cubicBezTo>
                    <a:pt x="410999" y="5509096"/>
                    <a:pt x="410999" y="5509096"/>
                    <a:pt x="406235" y="5521772"/>
                  </a:cubicBezTo>
                  <a:cubicBezTo>
                    <a:pt x="406235" y="5521772"/>
                    <a:pt x="406235" y="5521772"/>
                    <a:pt x="392259" y="5516385"/>
                  </a:cubicBezTo>
                  <a:cubicBezTo>
                    <a:pt x="392259" y="5516385"/>
                    <a:pt x="392259" y="5516385"/>
                    <a:pt x="385272" y="5534131"/>
                  </a:cubicBezTo>
                  <a:cubicBezTo>
                    <a:pt x="385272" y="5534131"/>
                    <a:pt x="385272" y="5534131"/>
                    <a:pt x="408458" y="5543003"/>
                  </a:cubicBezTo>
                  <a:lnTo>
                    <a:pt x="421480" y="5513216"/>
                  </a:lnTo>
                  <a:cubicBezTo>
                    <a:pt x="421480" y="5513216"/>
                    <a:pt x="421480" y="5513216"/>
                    <a:pt x="410999" y="5509096"/>
                  </a:cubicBezTo>
                  <a:close/>
                  <a:moveTo>
                    <a:pt x="329053" y="5478675"/>
                  </a:moveTo>
                  <a:cubicBezTo>
                    <a:pt x="328418" y="5479626"/>
                    <a:pt x="327465" y="5480893"/>
                    <a:pt x="326830" y="5482161"/>
                  </a:cubicBezTo>
                  <a:cubicBezTo>
                    <a:pt x="321113" y="5490400"/>
                    <a:pt x="315396" y="5498639"/>
                    <a:pt x="310314" y="5505294"/>
                  </a:cubicBezTo>
                  <a:cubicBezTo>
                    <a:pt x="310314" y="5505294"/>
                    <a:pt x="310314" y="5505294"/>
                    <a:pt x="336041" y="5520504"/>
                  </a:cubicBezTo>
                  <a:cubicBezTo>
                    <a:pt x="336041" y="5520504"/>
                    <a:pt x="336041" y="5520504"/>
                    <a:pt x="345887" y="5504026"/>
                  </a:cubicBezTo>
                  <a:cubicBezTo>
                    <a:pt x="345887" y="5504026"/>
                    <a:pt x="345887" y="5504026"/>
                    <a:pt x="332865" y="5496421"/>
                  </a:cubicBezTo>
                  <a:cubicBezTo>
                    <a:pt x="332865" y="5496421"/>
                    <a:pt x="332865" y="5496421"/>
                    <a:pt x="339852" y="5484696"/>
                  </a:cubicBezTo>
                  <a:cubicBezTo>
                    <a:pt x="339852" y="5484696"/>
                    <a:pt x="339852" y="5484696"/>
                    <a:pt x="329053" y="5478675"/>
                  </a:cubicBezTo>
                  <a:close/>
                  <a:moveTo>
                    <a:pt x="601888" y="5476140"/>
                  </a:moveTo>
                  <a:cubicBezTo>
                    <a:pt x="601888" y="5476140"/>
                    <a:pt x="601888" y="5476140"/>
                    <a:pt x="601253" y="5476457"/>
                  </a:cubicBezTo>
                  <a:cubicBezTo>
                    <a:pt x="601253" y="5476457"/>
                    <a:pt x="601253" y="5476457"/>
                    <a:pt x="595218" y="5488499"/>
                  </a:cubicBezTo>
                  <a:cubicBezTo>
                    <a:pt x="593630" y="5487865"/>
                    <a:pt x="592677" y="5486914"/>
                    <a:pt x="592042" y="5486281"/>
                  </a:cubicBezTo>
                  <a:cubicBezTo>
                    <a:pt x="592042" y="5486281"/>
                    <a:pt x="592042" y="5486281"/>
                    <a:pt x="577431" y="5521772"/>
                  </a:cubicBezTo>
                  <a:cubicBezTo>
                    <a:pt x="577431" y="5521772"/>
                    <a:pt x="577431" y="5521772"/>
                    <a:pt x="534235" y="5509413"/>
                  </a:cubicBezTo>
                  <a:cubicBezTo>
                    <a:pt x="534235" y="5509413"/>
                    <a:pt x="534235" y="5509413"/>
                    <a:pt x="506285" y="5586100"/>
                  </a:cubicBezTo>
                  <a:cubicBezTo>
                    <a:pt x="525659" y="5590220"/>
                    <a:pt x="546305" y="5594339"/>
                    <a:pt x="567267" y="5598459"/>
                  </a:cubicBezTo>
                  <a:cubicBezTo>
                    <a:pt x="646990" y="5614620"/>
                    <a:pt x="728300" y="5630781"/>
                    <a:pt x="737829" y="5632366"/>
                  </a:cubicBezTo>
                  <a:cubicBezTo>
                    <a:pt x="760380" y="5605430"/>
                    <a:pt x="792142" y="5595607"/>
                    <a:pt x="799764" y="5593389"/>
                  </a:cubicBezTo>
                  <a:lnTo>
                    <a:pt x="800717" y="5512265"/>
                  </a:lnTo>
                  <a:cubicBezTo>
                    <a:pt x="800717" y="5512265"/>
                    <a:pt x="800717" y="5512265"/>
                    <a:pt x="601888" y="5476140"/>
                  </a:cubicBezTo>
                  <a:close/>
                  <a:moveTo>
                    <a:pt x="1538228" y="5472337"/>
                  </a:moveTo>
                  <a:cubicBezTo>
                    <a:pt x="1538228" y="5472337"/>
                    <a:pt x="1538228" y="5472337"/>
                    <a:pt x="1520124" y="5504026"/>
                  </a:cubicBezTo>
                  <a:cubicBezTo>
                    <a:pt x="1520124" y="5504026"/>
                    <a:pt x="1520124" y="5504026"/>
                    <a:pt x="1540134" y="5515434"/>
                  </a:cubicBezTo>
                  <a:cubicBezTo>
                    <a:pt x="1540134" y="5515434"/>
                    <a:pt x="1540134" y="5515434"/>
                    <a:pt x="1528382" y="5536349"/>
                  </a:cubicBezTo>
                  <a:cubicBezTo>
                    <a:pt x="1528382" y="5536349"/>
                    <a:pt x="1528382" y="5536349"/>
                    <a:pt x="1541722" y="5543954"/>
                  </a:cubicBezTo>
                  <a:cubicBezTo>
                    <a:pt x="1541722" y="5543954"/>
                    <a:pt x="1541722" y="5543954"/>
                    <a:pt x="1568402" y="5496421"/>
                  </a:cubicBezTo>
                  <a:lnTo>
                    <a:pt x="1554744" y="5488499"/>
                  </a:lnTo>
                  <a:cubicBezTo>
                    <a:pt x="1554744" y="5488499"/>
                    <a:pt x="1554744" y="5488499"/>
                    <a:pt x="1557603" y="5483429"/>
                  </a:cubicBezTo>
                  <a:cubicBezTo>
                    <a:pt x="1557603" y="5483429"/>
                    <a:pt x="1557603" y="5483429"/>
                    <a:pt x="1538228" y="5472337"/>
                  </a:cubicBezTo>
                  <a:close/>
                  <a:moveTo>
                    <a:pt x="2095967" y="5470753"/>
                  </a:moveTo>
                  <a:cubicBezTo>
                    <a:pt x="2095967" y="5470753"/>
                    <a:pt x="2095967" y="5470753"/>
                    <a:pt x="2095967" y="5472021"/>
                  </a:cubicBezTo>
                  <a:lnTo>
                    <a:pt x="2095967" y="5474239"/>
                  </a:lnTo>
                  <a:cubicBezTo>
                    <a:pt x="2095967" y="5474239"/>
                    <a:pt x="2095967" y="5474239"/>
                    <a:pt x="2079450" y="5473922"/>
                  </a:cubicBezTo>
                  <a:cubicBezTo>
                    <a:pt x="2079450" y="5473922"/>
                    <a:pt x="2079450" y="5473922"/>
                    <a:pt x="2079133" y="5524307"/>
                  </a:cubicBezTo>
                  <a:cubicBezTo>
                    <a:pt x="2079133" y="5524307"/>
                    <a:pt x="2079133" y="5524307"/>
                    <a:pt x="2105495" y="5524624"/>
                  </a:cubicBezTo>
                  <a:cubicBezTo>
                    <a:pt x="2105495" y="5524624"/>
                    <a:pt x="2105495" y="5524624"/>
                    <a:pt x="2105813" y="5501491"/>
                  </a:cubicBezTo>
                  <a:cubicBezTo>
                    <a:pt x="2105813" y="5501491"/>
                    <a:pt x="2105813" y="5501491"/>
                    <a:pt x="2124235" y="5501491"/>
                  </a:cubicBezTo>
                  <a:cubicBezTo>
                    <a:pt x="2124235" y="5501491"/>
                    <a:pt x="2124235" y="5501491"/>
                    <a:pt x="2124870" y="5471070"/>
                  </a:cubicBezTo>
                  <a:cubicBezTo>
                    <a:pt x="2124870" y="5471070"/>
                    <a:pt x="2124870" y="5471070"/>
                    <a:pt x="2095967" y="5470753"/>
                  </a:cubicBezTo>
                  <a:close/>
                  <a:moveTo>
                    <a:pt x="315078" y="5470119"/>
                  </a:moveTo>
                  <a:cubicBezTo>
                    <a:pt x="315078" y="5470119"/>
                    <a:pt x="315078" y="5470119"/>
                    <a:pt x="308091" y="5482161"/>
                  </a:cubicBezTo>
                  <a:cubicBezTo>
                    <a:pt x="308091" y="5482161"/>
                    <a:pt x="308091" y="5482161"/>
                    <a:pt x="295386" y="5474556"/>
                  </a:cubicBezTo>
                  <a:cubicBezTo>
                    <a:pt x="295386" y="5474556"/>
                    <a:pt x="295386" y="5474556"/>
                    <a:pt x="285540" y="5491034"/>
                  </a:cubicBezTo>
                  <a:cubicBezTo>
                    <a:pt x="285540" y="5491034"/>
                    <a:pt x="285540" y="5491034"/>
                    <a:pt x="306502" y="5503076"/>
                  </a:cubicBezTo>
                  <a:cubicBezTo>
                    <a:pt x="312220" y="5495153"/>
                    <a:pt x="318890" y="5485647"/>
                    <a:pt x="325242" y="5476457"/>
                  </a:cubicBezTo>
                  <a:cubicBezTo>
                    <a:pt x="325242" y="5476457"/>
                    <a:pt x="325242" y="5476457"/>
                    <a:pt x="315078" y="5470119"/>
                  </a:cubicBezTo>
                  <a:close/>
                  <a:moveTo>
                    <a:pt x="1329235" y="5467267"/>
                  </a:moveTo>
                  <a:cubicBezTo>
                    <a:pt x="1329235" y="5467267"/>
                    <a:pt x="1329235" y="5467267"/>
                    <a:pt x="1328600" y="5483745"/>
                  </a:cubicBezTo>
                  <a:lnTo>
                    <a:pt x="1325424" y="5483429"/>
                  </a:lnTo>
                  <a:cubicBezTo>
                    <a:pt x="1325424" y="5483429"/>
                    <a:pt x="1325424" y="5483429"/>
                    <a:pt x="1324471" y="5512582"/>
                  </a:cubicBezTo>
                  <a:cubicBezTo>
                    <a:pt x="1324471" y="5512582"/>
                    <a:pt x="1324471" y="5512582"/>
                    <a:pt x="1354962" y="5512582"/>
                  </a:cubicBezTo>
                  <a:cubicBezTo>
                    <a:pt x="1354962" y="5512582"/>
                    <a:pt x="1354962" y="5512582"/>
                    <a:pt x="1355597" y="5494520"/>
                  </a:cubicBezTo>
                  <a:cubicBezTo>
                    <a:pt x="1355597" y="5494520"/>
                    <a:pt x="1355597" y="5494520"/>
                    <a:pt x="1378784" y="5495153"/>
                  </a:cubicBezTo>
                  <a:cubicBezTo>
                    <a:pt x="1378784" y="5495153"/>
                    <a:pt x="1378784" y="5495153"/>
                    <a:pt x="1379736" y="5468852"/>
                  </a:cubicBezTo>
                  <a:cubicBezTo>
                    <a:pt x="1379736" y="5468852"/>
                    <a:pt x="1379736" y="5468852"/>
                    <a:pt x="1329235" y="5467267"/>
                  </a:cubicBezTo>
                  <a:close/>
                  <a:moveTo>
                    <a:pt x="2091838" y="5466633"/>
                  </a:moveTo>
                  <a:cubicBezTo>
                    <a:pt x="2091838" y="5466633"/>
                    <a:pt x="2091838" y="5466633"/>
                    <a:pt x="2129317" y="5466950"/>
                  </a:cubicBezTo>
                  <a:cubicBezTo>
                    <a:pt x="2129317" y="5466950"/>
                    <a:pt x="2129317" y="5466950"/>
                    <a:pt x="2128046" y="5505611"/>
                  </a:cubicBezTo>
                  <a:cubicBezTo>
                    <a:pt x="2128046" y="5505611"/>
                    <a:pt x="2128046" y="5505611"/>
                    <a:pt x="2126140" y="5505611"/>
                  </a:cubicBezTo>
                  <a:cubicBezTo>
                    <a:pt x="2126140" y="5505611"/>
                    <a:pt x="2126140" y="5505611"/>
                    <a:pt x="2109942" y="5505611"/>
                  </a:cubicBezTo>
                  <a:cubicBezTo>
                    <a:pt x="2109942" y="5505611"/>
                    <a:pt x="2109942" y="5505611"/>
                    <a:pt x="2109942" y="5528743"/>
                  </a:cubicBezTo>
                  <a:cubicBezTo>
                    <a:pt x="2109942" y="5528743"/>
                    <a:pt x="2109942" y="5528743"/>
                    <a:pt x="2075004" y="5528427"/>
                  </a:cubicBezTo>
                  <a:cubicBezTo>
                    <a:pt x="2075004" y="5528427"/>
                    <a:pt x="2075004" y="5528427"/>
                    <a:pt x="2075322" y="5469802"/>
                  </a:cubicBezTo>
                  <a:cubicBezTo>
                    <a:pt x="2075322" y="5469802"/>
                    <a:pt x="2075322" y="5469802"/>
                    <a:pt x="2091838" y="5469802"/>
                  </a:cubicBezTo>
                  <a:cubicBezTo>
                    <a:pt x="2091838" y="5469802"/>
                    <a:pt x="2091838" y="5469802"/>
                    <a:pt x="2091838" y="5468535"/>
                  </a:cubicBezTo>
                  <a:close/>
                  <a:moveTo>
                    <a:pt x="1536640" y="5466633"/>
                  </a:moveTo>
                  <a:cubicBezTo>
                    <a:pt x="1536640" y="5466633"/>
                    <a:pt x="1536640" y="5466633"/>
                    <a:pt x="1563320" y="5481844"/>
                  </a:cubicBezTo>
                  <a:lnTo>
                    <a:pt x="1560462" y="5486914"/>
                  </a:lnTo>
                  <a:cubicBezTo>
                    <a:pt x="1560462" y="5486914"/>
                    <a:pt x="1560462" y="5486914"/>
                    <a:pt x="1574119" y="5494836"/>
                  </a:cubicBezTo>
                  <a:cubicBezTo>
                    <a:pt x="1574119" y="5494836"/>
                    <a:pt x="1574119" y="5494836"/>
                    <a:pt x="1543628" y="5549658"/>
                  </a:cubicBezTo>
                  <a:cubicBezTo>
                    <a:pt x="1543628" y="5549658"/>
                    <a:pt x="1543628" y="5549658"/>
                    <a:pt x="1541722" y="5548707"/>
                  </a:cubicBezTo>
                  <a:cubicBezTo>
                    <a:pt x="1541722" y="5548707"/>
                    <a:pt x="1541722" y="5548707"/>
                    <a:pt x="1522665" y="5537933"/>
                  </a:cubicBezTo>
                  <a:cubicBezTo>
                    <a:pt x="1522665" y="5537933"/>
                    <a:pt x="1522665" y="5537933"/>
                    <a:pt x="1534417" y="5517019"/>
                  </a:cubicBezTo>
                  <a:cubicBezTo>
                    <a:pt x="1534417" y="5517019"/>
                    <a:pt x="1534417" y="5517019"/>
                    <a:pt x="1514407" y="5505611"/>
                  </a:cubicBezTo>
                  <a:cubicBezTo>
                    <a:pt x="1514407" y="5505611"/>
                    <a:pt x="1514407" y="5505611"/>
                    <a:pt x="1536640" y="5466633"/>
                  </a:cubicBezTo>
                  <a:close/>
                  <a:moveTo>
                    <a:pt x="1325106" y="5462831"/>
                  </a:moveTo>
                  <a:cubicBezTo>
                    <a:pt x="1325106" y="5462831"/>
                    <a:pt x="1325106" y="5462831"/>
                    <a:pt x="1383865" y="5464732"/>
                  </a:cubicBezTo>
                  <a:cubicBezTo>
                    <a:pt x="1383865" y="5464732"/>
                    <a:pt x="1383865" y="5464732"/>
                    <a:pt x="1382913" y="5499590"/>
                  </a:cubicBezTo>
                  <a:cubicBezTo>
                    <a:pt x="1382913" y="5499590"/>
                    <a:pt x="1382913" y="5499590"/>
                    <a:pt x="1359726" y="5498639"/>
                  </a:cubicBezTo>
                  <a:cubicBezTo>
                    <a:pt x="1359726" y="5498639"/>
                    <a:pt x="1359726" y="5498639"/>
                    <a:pt x="1359091" y="5517019"/>
                  </a:cubicBezTo>
                  <a:cubicBezTo>
                    <a:pt x="1359091" y="5517019"/>
                    <a:pt x="1359091" y="5517019"/>
                    <a:pt x="1357185" y="5516702"/>
                  </a:cubicBezTo>
                  <a:cubicBezTo>
                    <a:pt x="1357185" y="5516702"/>
                    <a:pt x="1357185" y="5516702"/>
                    <a:pt x="1320024" y="5516702"/>
                  </a:cubicBezTo>
                  <a:cubicBezTo>
                    <a:pt x="1320024" y="5516702"/>
                    <a:pt x="1320024" y="5516702"/>
                    <a:pt x="1321295" y="5479309"/>
                  </a:cubicBezTo>
                  <a:cubicBezTo>
                    <a:pt x="1321295" y="5479309"/>
                    <a:pt x="1321295" y="5479309"/>
                    <a:pt x="1324471" y="5479309"/>
                  </a:cubicBezTo>
                  <a:close/>
                  <a:moveTo>
                    <a:pt x="779119" y="5456493"/>
                  </a:moveTo>
                  <a:cubicBezTo>
                    <a:pt x="779119" y="5456493"/>
                    <a:pt x="779119" y="5456493"/>
                    <a:pt x="779437" y="5492301"/>
                  </a:cubicBezTo>
                  <a:cubicBezTo>
                    <a:pt x="779437" y="5492301"/>
                    <a:pt x="779437" y="5492301"/>
                    <a:pt x="813740" y="5491034"/>
                  </a:cubicBezTo>
                  <a:cubicBezTo>
                    <a:pt x="813740" y="5491034"/>
                    <a:pt x="813740" y="5491034"/>
                    <a:pt x="813422" y="5462197"/>
                  </a:cubicBezTo>
                  <a:close/>
                  <a:moveTo>
                    <a:pt x="1540769" y="5446036"/>
                  </a:moveTo>
                  <a:cubicBezTo>
                    <a:pt x="1531241" y="5446036"/>
                    <a:pt x="1520442" y="5446670"/>
                    <a:pt x="1509007" y="5446986"/>
                  </a:cubicBezTo>
                  <a:cubicBezTo>
                    <a:pt x="1489633" y="5447620"/>
                    <a:pt x="1464541" y="5448888"/>
                    <a:pt x="1438814" y="5449205"/>
                  </a:cubicBezTo>
                  <a:cubicBezTo>
                    <a:pt x="1437543" y="5457761"/>
                    <a:pt x="1435955" y="5474556"/>
                    <a:pt x="1434684" y="5490717"/>
                  </a:cubicBezTo>
                  <a:cubicBezTo>
                    <a:pt x="1433096" y="5512265"/>
                    <a:pt x="1431508" y="5533180"/>
                    <a:pt x="1431508" y="5534447"/>
                  </a:cubicBezTo>
                  <a:cubicBezTo>
                    <a:pt x="1431508" y="5534447"/>
                    <a:pt x="1431826" y="5534131"/>
                    <a:pt x="1431826" y="5534131"/>
                  </a:cubicBezTo>
                  <a:cubicBezTo>
                    <a:pt x="1431826" y="5534131"/>
                    <a:pt x="1431826" y="5534131"/>
                    <a:pt x="1433414" y="5533814"/>
                  </a:cubicBezTo>
                  <a:cubicBezTo>
                    <a:pt x="1433414" y="5533814"/>
                    <a:pt x="1433414" y="5533814"/>
                    <a:pt x="1499479" y="5627613"/>
                  </a:cubicBezTo>
                  <a:lnTo>
                    <a:pt x="1599211" y="5615888"/>
                  </a:lnTo>
                  <a:cubicBezTo>
                    <a:pt x="1599211" y="5585466"/>
                    <a:pt x="1598893" y="5556630"/>
                    <a:pt x="1597623" y="5533180"/>
                  </a:cubicBezTo>
                  <a:cubicBezTo>
                    <a:pt x="1596670" y="5509096"/>
                    <a:pt x="1594447" y="5489766"/>
                    <a:pt x="1592223" y="5482478"/>
                  </a:cubicBezTo>
                  <a:cubicBezTo>
                    <a:pt x="1586824" y="5465049"/>
                    <a:pt x="1579836" y="5456810"/>
                    <a:pt x="1572213" y="5452057"/>
                  </a:cubicBezTo>
                  <a:cubicBezTo>
                    <a:pt x="1564273" y="5447303"/>
                    <a:pt x="1553792" y="5445719"/>
                    <a:pt x="1540769" y="5446036"/>
                  </a:cubicBezTo>
                  <a:close/>
                  <a:moveTo>
                    <a:pt x="698762" y="5443184"/>
                  </a:moveTo>
                  <a:cubicBezTo>
                    <a:pt x="698762" y="5443184"/>
                    <a:pt x="698762" y="5443184"/>
                    <a:pt x="694950" y="5488499"/>
                  </a:cubicBezTo>
                  <a:lnTo>
                    <a:pt x="820092" y="5511315"/>
                  </a:lnTo>
                  <a:cubicBezTo>
                    <a:pt x="819457" y="5496104"/>
                    <a:pt x="819139" y="5479943"/>
                    <a:pt x="818822" y="5462831"/>
                  </a:cubicBezTo>
                  <a:cubicBezTo>
                    <a:pt x="818822" y="5462831"/>
                    <a:pt x="818822" y="5462831"/>
                    <a:pt x="817551" y="5462831"/>
                  </a:cubicBezTo>
                  <a:cubicBezTo>
                    <a:pt x="817551" y="5462831"/>
                    <a:pt x="817551" y="5462831"/>
                    <a:pt x="817869" y="5494836"/>
                  </a:cubicBezTo>
                  <a:cubicBezTo>
                    <a:pt x="817869" y="5494836"/>
                    <a:pt x="817869" y="5494836"/>
                    <a:pt x="775308" y="5496738"/>
                  </a:cubicBezTo>
                  <a:cubicBezTo>
                    <a:pt x="775308" y="5496738"/>
                    <a:pt x="775308" y="5496738"/>
                    <a:pt x="774990" y="5455859"/>
                  </a:cubicBezTo>
                  <a:cubicBezTo>
                    <a:pt x="774990" y="5455859"/>
                    <a:pt x="774990" y="5455859"/>
                    <a:pt x="698762" y="5443184"/>
                  </a:cubicBezTo>
                  <a:close/>
                  <a:moveTo>
                    <a:pt x="1989882" y="5436846"/>
                  </a:moveTo>
                  <a:cubicBezTo>
                    <a:pt x="1989882" y="5436846"/>
                    <a:pt x="1989882" y="5436846"/>
                    <a:pt x="1960979" y="5437163"/>
                  </a:cubicBezTo>
                  <a:cubicBezTo>
                    <a:pt x="1960979" y="5437163"/>
                    <a:pt x="1960979" y="5437163"/>
                    <a:pt x="1961932" y="5467584"/>
                  </a:cubicBezTo>
                  <a:cubicBezTo>
                    <a:pt x="1961932" y="5467584"/>
                    <a:pt x="1961932" y="5467584"/>
                    <a:pt x="1980354" y="5467584"/>
                  </a:cubicBezTo>
                  <a:cubicBezTo>
                    <a:pt x="1980354" y="5467584"/>
                    <a:pt x="1980354" y="5467584"/>
                    <a:pt x="1980354" y="5490717"/>
                  </a:cubicBezTo>
                  <a:lnTo>
                    <a:pt x="2007033" y="5490400"/>
                  </a:lnTo>
                  <a:cubicBezTo>
                    <a:pt x="2007033" y="5490400"/>
                    <a:pt x="2007033" y="5490400"/>
                    <a:pt x="2006716" y="5440015"/>
                  </a:cubicBezTo>
                  <a:cubicBezTo>
                    <a:pt x="2006716" y="5440015"/>
                    <a:pt x="2006716" y="5440015"/>
                    <a:pt x="1989882" y="5440015"/>
                  </a:cubicBezTo>
                  <a:cubicBezTo>
                    <a:pt x="1989882" y="5440015"/>
                    <a:pt x="1989882" y="5440015"/>
                    <a:pt x="1989882" y="5436846"/>
                  </a:cubicBezTo>
                  <a:close/>
                  <a:moveTo>
                    <a:pt x="359545" y="5435895"/>
                  </a:moveTo>
                  <a:cubicBezTo>
                    <a:pt x="355098" y="5441282"/>
                    <a:pt x="343664" y="5457761"/>
                    <a:pt x="331594" y="5475189"/>
                  </a:cubicBezTo>
                  <a:cubicBezTo>
                    <a:pt x="331594" y="5475189"/>
                    <a:pt x="331594" y="5475189"/>
                    <a:pt x="345570" y="5483112"/>
                  </a:cubicBezTo>
                  <a:cubicBezTo>
                    <a:pt x="345570" y="5483112"/>
                    <a:pt x="345570" y="5483112"/>
                    <a:pt x="338582" y="5495153"/>
                  </a:cubicBezTo>
                  <a:cubicBezTo>
                    <a:pt x="338582" y="5495153"/>
                    <a:pt x="338582" y="5495153"/>
                    <a:pt x="351604" y="5502442"/>
                  </a:cubicBezTo>
                  <a:cubicBezTo>
                    <a:pt x="351604" y="5502442"/>
                    <a:pt x="351604" y="5502442"/>
                    <a:pt x="337629" y="5526208"/>
                  </a:cubicBezTo>
                  <a:cubicBezTo>
                    <a:pt x="337629" y="5526208"/>
                    <a:pt x="337629" y="5526208"/>
                    <a:pt x="308091" y="5508780"/>
                  </a:cubicBezTo>
                  <a:cubicBezTo>
                    <a:pt x="307455" y="5509730"/>
                    <a:pt x="306820" y="5510681"/>
                    <a:pt x="306185" y="5511315"/>
                  </a:cubicBezTo>
                  <a:cubicBezTo>
                    <a:pt x="303326" y="5515434"/>
                    <a:pt x="300785" y="5518603"/>
                    <a:pt x="299197" y="5520821"/>
                  </a:cubicBezTo>
                  <a:cubicBezTo>
                    <a:pt x="298880" y="5521138"/>
                    <a:pt x="298880" y="5521138"/>
                    <a:pt x="298880" y="5521138"/>
                  </a:cubicBezTo>
                  <a:cubicBezTo>
                    <a:pt x="298880" y="5521138"/>
                    <a:pt x="298880" y="5521138"/>
                    <a:pt x="398612" y="5564552"/>
                  </a:cubicBezTo>
                  <a:cubicBezTo>
                    <a:pt x="398612" y="5564552"/>
                    <a:pt x="398929" y="5564552"/>
                    <a:pt x="399247" y="5564552"/>
                  </a:cubicBezTo>
                  <a:cubicBezTo>
                    <a:pt x="399247" y="5564552"/>
                    <a:pt x="399247" y="5564552"/>
                    <a:pt x="406870" y="5546806"/>
                  </a:cubicBezTo>
                  <a:cubicBezTo>
                    <a:pt x="406870" y="5546806"/>
                    <a:pt x="406870" y="5546806"/>
                    <a:pt x="379872" y="5536666"/>
                  </a:cubicBezTo>
                  <a:cubicBezTo>
                    <a:pt x="379872" y="5536666"/>
                    <a:pt x="379872" y="5536666"/>
                    <a:pt x="380825" y="5534764"/>
                  </a:cubicBezTo>
                  <a:cubicBezTo>
                    <a:pt x="380825" y="5534764"/>
                    <a:pt x="380825" y="5534764"/>
                    <a:pt x="389719" y="5510998"/>
                  </a:cubicBezTo>
                  <a:cubicBezTo>
                    <a:pt x="389719" y="5510998"/>
                    <a:pt x="389719" y="5510998"/>
                    <a:pt x="403694" y="5516385"/>
                  </a:cubicBezTo>
                  <a:cubicBezTo>
                    <a:pt x="403694" y="5516385"/>
                    <a:pt x="403694" y="5516385"/>
                    <a:pt x="408458" y="5503709"/>
                  </a:cubicBezTo>
                  <a:cubicBezTo>
                    <a:pt x="408458" y="5503709"/>
                    <a:pt x="408458" y="5503709"/>
                    <a:pt x="423069" y="5509096"/>
                  </a:cubicBezTo>
                  <a:cubicBezTo>
                    <a:pt x="423069" y="5509096"/>
                    <a:pt x="423069" y="5509096"/>
                    <a:pt x="435456" y="5481210"/>
                  </a:cubicBezTo>
                  <a:cubicBezTo>
                    <a:pt x="435456" y="5481210"/>
                    <a:pt x="435456" y="5481210"/>
                    <a:pt x="439585" y="5482795"/>
                  </a:cubicBezTo>
                  <a:cubicBezTo>
                    <a:pt x="439585" y="5482795"/>
                    <a:pt x="439585" y="5482795"/>
                    <a:pt x="427515" y="5510681"/>
                  </a:cubicBezTo>
                  <a:cubicBezTo>
                    <a:pt x="427515" y="5510681"/>
                    <a:pt x="427515" y="5510681"/>
                    <a:pt x="443079" y="5517019"/>
                  </a:cubicBezTo>
                  <a:cubicBezTo>
                    <a:pt x="443079" y="5517019"/>
                    <a:pt x="443079" y="5517019"/>
                    <a:pt x="438314" y="5529694"/>
                  </a:cubicBezTo>
                  <a:cubicBezTo>
                    <a:pt x="438314" y="5529694"/>
                    <a:pt x="438314" y="5529694"/>
                    <a:pt x="452289" y="5535081"/>
                  </a:cubicBezTo>
                  <a:cubicBezTo>
                    <a:pt x="452289" y="5535081"/>
                    <a:pt x="452289" y="5535081"/>
                    <a:pt x="442443" y="5560432"/>
                  </a:cubicBezTo>
                  <a:cubicBezTo>
                    <a:pt x="442443" y="5560432"/>
                    <a:pt x="442443" y="5560432"/>
                    <a:pt x="410999" y="5548391"/>
                  </a:cubicBezTo>
                  <a:cubicBezTo>
                    <a:pt x="410999" y="5548391"/>
                    <a:pt x="410999" y="5548391"/>
                    <a:pt x="403694" y="5565502"/>
                  </a:cubicBezTo>
                  <a:cubicBezTo>
                    <a:pt x="417034" y="5568354"/>
                    <a:pt x="455466" y="5575960"/>
                    <a:pt x="501838" y="5585466"/>
                  </a:cubicBezTo>
                  <a:cubicBezTo>
                    <a:pt x="501838" y="5585466"/>
                    <a:pt x="501838" y="5585466"/>
                    <a:pt x="529788" y="5508146"/>
                  </a:cubicBezTo>
                  <a:cubicBezTo>
                    <a:pt x="529788" y="5508146"/>
                    <a:pt x="529788" y="5508146"/>
                    <a:pt x="382413" y="5465683"/>
                  </a:cubicBezTo>
                  <a:cubicBezTo>
                    <a:pt x="382413" y="5465683"/>
                    <a:pt x="382413" y="5465683"/>
                    <a:pt x="359545" y="5435895"/>
                  </a:cubicBezTo>
                  <a:close/>
                  <a:moveTo>
                    <a:pt x="1994011" y="5432726"/>
                  </a:moveTo>
                  <a:cubicBezTo>
                    <a:pt x="1994011" y="5432726"/>
                    <a:pt x="1994011" y="5432726"/>
                    <a:pt x="1994011" y="5435895"/>
                  </a:cubicBezTo>
                  <a:lnTo>
                    <a:pt x="2010845" y="5435895"/>
                  </a:lnTo>
                  <a:cubicBezTo>
                    <a:pt x="2010845" y="5435895"/>
                    <a:pt x="2010845" y="5435895"/>
                    <a:pt x="2011162" y="5494520"/>
                  </a:cubicBezTo>
                  <a:cubicBezTo>
                    <a:pt x="2011162" y="5494520"/>
                    <a:pt x="2011162" y="5494520"/>
                    <a:pt x="1976224" y="5494836"/>
                  </a:cubicBezTo>
                  <a:cubicBezTo>
                    <a:pt x="1976224" y="5494836"/>
                    <a:pt x="1976224" y="5494836"/>
                    <a:pt x="1976224" y="5471704"/>
                  </a:cubicBezTo>
                  <a:cubicBezTo>
                    <a:pt x="1976224" y="5471704"/>
                    <a:pt x="1976224" y="5471704"/>
                    <a:pt x="1957802" y="5471704"/>
                  </a:cubicBezTo>
                  <a:cubicBezTo>
                    <a:pt x="1957802" y="5471704"/>
                    <a:pt x="1957802" y="5471704"/>
                    <a:pt x="1957802" y="5469802"/>
                  </a:cubicBezTo>
                  <a:cubicBezTo>
                    <a:pt x="1957802" y="5469802"/>
                    <a:pt x="1957802" y="5469802"/>
                    <a:pt x="1956850" y="5433043"/>
                  </a:cubicBezTo>
                  <a:cubicBezTo>
                    <a:pt x="1956850" y="5433043"/>
                    <a:pt x="1956850" y="5433043"/>
                    <a:pt x="1994011" y="5432726"/>
                  </a:cubicBezTo>
                  <a:close/>
                  <a:moveTo>
                    <a:pt x="531377" y="5431776"/>
                  </a:moveTo>
                  <a:cubicBezTo>
                    <a:pt x="531377" y="5431776"/>
                    <a:pt x="531377" y="5431776"/>
                    <a:pt x="513272" y="5462197"/>
                  </a:cubicBezTo>
                  <a:cubicBezTo>
                    <a:pt x="513272" y="5462197"/>
                    <a:pt x="513272" y="5462197"/>
                    <a:pt x="544081" y="5479943"/>
                  </a:cubicBezTo>
                  <a:lnTo>
                    <a:pt x="561868" y="5449522"/>
                  </a:lnTo>
                  <a:cubicBezTo>
                    <a:pt x="561868" y="5449522"/>
                    <a:pt x="561868" y="5449522"/>
                    <a:pt x="531377" y="5431776"/>
                  </a:cubicBezTo>
                  <a:close/>
                  <a:moveTo>
                    <a:pt x="2066110" y="5427022"/>
                  </a:moveTo>
                  <a:cubicBezTo>
                    <a:pt x="2061346" y="5454909"/>
                    <a:pt x="2056582" y="5482795"/>
                    <a:pt x="2056582" y="5482795"/>
                  </a:cubicBezTo>
                  <a:cubicBezTo>
                    <a:pt x="2056582" y="5482795"/>
                    <a:pt x="2056582" y="5482795"/>
                    <a:pt x="2056264" y="5484062"/>
                  </a:cubicBezTo>
                  <a:cubicBezTo>
                    <a:pt x="2056264" y="5484062"/>
                    <a:pt x="2056264" y="5484062"/>
                    <a:pt x="2035937" y="5491351"/>
                  </a:cubicBezTo>
                  <a:cubicBezTo>
                    <a:pt x="2035937" y="5491351"/>
                    <a:pt x="2035937" y="5491351"/>
                    <a:pt x="2012115" y="5565819"/>
                  </a:cubicBezTo>
                  <a:cubicBezTo>
                    <a:pt x="2038160" y="5573742"/>
                    <a:pt x="2075004" y="5582298"/>
                    <a:pt x="2147421" y="5589269"/>
                  </a:cubicBezTo>
                  <a:cubicBezTo>
                    <a:pt x="2151232" y="5589586"/>
                    <a:pt x="2155044" y="5590220"/>
                    <a:pt x="2159173" y="5590537"/>
                  </a:cubicBezTo>
                  <a:cubicBezTo>
                    <a:pt x="2165208" y="5576594"/>
                    <a:pt x="2178865" y="5546172"/>
                    <a:pt x="2196334" y="5506561"/>
                  </a:cubicBezTo>
                  <a:cubicBezTo>
                    <a:pt x="2196334" y="5506561"/>
                    <a:pt x="2196334" y="5506561"/>
                    <a:pt x="2164890" y="5448571"/>
                  </a:cubicBezTo>
                  <a:cubicBezTo>
                    <a:pt x="2164890" y="5448571"/>
                    <a:pt x="2164890" y="5448571"/>
                    <a:pt x="2066110" y="5427022"/>
                  </a:cubicBezTo>
                  <a:close/>
                  <a:moveTo>
                    <a:pt x="529788" y="5426072"/>
                  </a:moveTo>
                  <a:lnTo>
                    <a:pt x="531694" y="5427022"/>
                  </a:lnTo>
                  <a:cubicBezTo>
                    <a:pt x="531694" y="5427022"/>
                    <a:pt x="531694" y="5427022"/>
                    <a:pt x="567585" y="5447937"/>
                  </a:cubicBezTo>
                  <a:cubicBezTo>
                    <a:pt x="567585" y="5447937"/>
                    <a:pt x="567585" y="5447937"/>
                    <a:pt x="545352" y="5485647"/>
                  </a:cubicBezTo>
                  <a:cubicBezTo>
                    <a:pt x="545352" y="5485647"/>
                    <a:pt x="545352" y="5485647"/>
                    <a:pt x="507555" y="5463781"/>
                  </a:cubicBezTo>
                  <a:cubicBezTo>
                    <a:pt x="507555" y="5463781"/>
                    <a:pt x="507555" y="5463781"/>
                    <a:pt x="529788" y="5426072"/>
                  </a:cubicBezTo>
                  <a:close/>
                  <a:moveTo>
                    <a:pt x="1033214" y="5405157"/>
                  </a:moveTo>
                  <a:cubicBezTo>
                    <a:pt x="1033214" y="5405157"/>
                    <a:pt x="1033214" y="5405157"/>
                    <a:pt x="994147" y="5443501"/>
                  </a:cubicBezTo>
                  <a:cubicBezTo>
                    <a:pt x="994147" y="5443501"/>
                    <a:pt x="994147" y="5443501"/>
                    <a:pt x="1005264" y="5454275"/>
                  </a:cubicBezTo>
                  <a:cubicBezTo>
                    <a:pt x="1005264" y="5454275"/>
                    <a:pt x="1005264" y="5454275"/>
                    <a:pt x="1022098" y="5437163"/>
                  </a:cubicBezTo>
                  <a:cubicBezTo>
                    <a:pt x="1022098" y="5437163"/>
                    <a:pt x="1022098" y="5437163"/>
                    <a:pt x="1038931" y="5453641"/>
                  </a:cubicBezTo>
                  <a:cubicBezTo>
                    <a:pt x="1038931" y="5453641"/>
                    <a:pt x="1038931" y="5453641"/>
                    <a:pt x="1064341" y="5427656"/>
                  </a:cubicBezTo>
                  <a:lnTo>
                    <a:pt x="1048460" y="5411812"/>
                  </a:lnTo>
                  <a:cubicBezTo>
                    <a:pt x="1048460" y="5411812"/>
                    <a:pt x="1048460" y="5411812"/>
                    <a:pt x="1045919" y="5414664"/>
                  </a:cubicBezTo>
                  <a:cubicBezTo>
                    <a:pt x="1045919" y="5414664"/>
                    <a:pt x="1045919" y="5414664"/>
                    <a:pt x="1044331" y="5415931"/>
                  </a:cubicBezTo>
                  <a:cubicBezTo>
                    <a:pt x="1044331" y="5415931"/>
                    <a:pt x="1044331" y="5415931"/>
                    <a:pt x="1033214" y="5405157"/>
                  </a:cubicBezTo>
                  <a:close/>
                  <a:moveTo>
                    <a:pt x="816916" y="5403890"/>
                  </a:moveTo>
                  <a:cubicBezTo>
                    <a:pt x="816916" y="5403890"/>
                    <a:pt x="816916" y="5403890"/>
                    <a:pt x="817551" y="5458394"/>
                  </a:cubicBezTo>
                  <a:cubicBezTo>
                    <a:pt x="817551" y="5458394"/>
                    <a:pt x="817551" y="5458394"/>
                    <a:pt x="818822" y="5458394"/>
                  </a:cubicBezTo>
                  <a:cubicBezTo>
                    <a:pt x="818504" y="5440966"/>
                    <a:pt x="818186" y="5422586"/>
                    <a:pt x="817869" y="5403890"/>
                  </a:cubicBezTo>
                  <a:close/>
                  <a:moveTo>
                    <a:pt x="523436" y="5402622"/>
                  </a:moveTo>
                  <a:lnTo>
                    <a:pt x="485004" y="5490717"/>
                  </a:lnTo>
                  <a:cubicBezTo>
                    <a:pt x="485004" y="5490717"/>
                    <a:pt x="485004" y="5490717"/>
                    <a:pt x="574890" y="5516385"/>
                  </a:cubicBezTo>
                  <a:cubicBezTo>
                    <a:pt x="574890" y="5516385"/>
                    <a:pt x="574890" y="5516385"/>
                    <a:pt x="589183" y="5481844"/>
                  </a:cubicBezTo>
                  <a:cubicBezTo>
                    <a:pt x="586960" y="5477091"/>
                    <a:pt x="585689" y="5472337"/>
                    <a:pt x="583466" y="5466000"/>
                  </a:cubicBezTo>
                  <a:cubicBezTo>
                    <a:pt x="581560" y="5459345"/>
                    <a:pt x="578702" y="5451740"/>
                    <a:pt x="575208" y="5444768"/>
                  </a:cubicBezTo>
                  <a:cubicBezTo>
                    <a:pt x="568538" y="5430825"/>
                    <a:pt x="552975" y="5421002"/>
                    <a:pt x="532647" y="5408326"/>
                  </a:cubicBezTo>
                  <a:cubicBezTo>
                    <a:pt x="530106" y="5406742"/>
                    <a:pt x="526930" y="5404840"/>
                    <a:pt x="523436" y="5402622"/>
                  </a:cubicBezTo>
                  <a:close/>
                  <a:moveTo>
                    <a:pt x="778802" y="5401355"/>
                  </a:moveTo>
                  <a:cubicBezTo>
                    <a:pt x="778802" y="5401355"/>
                    <a:pt x="778802" y="5401355"/>
                    <a:pt x="779119" y="5452057"/>
                  </a:cubicBezTo>
                  <a:cubicBezTo>
                    <a:pt x="779119" y="5452057"/>
                    <a:pt x="779119" y="5452057"/>
                    <a:pt x="813422" y="5457444"/>
                  </a:cubicBezTo>
                  <a:cubicBezTo>
                    <a:pt x="813422" y="5457444"/>
                    <a:pt x="813422" y="5457444"/>
                    <a:pt x="812787" y="5403573"/>
                  </a:cubicBezTo>
                  <a:close/>
                  <a:moveTo>
                    <a:pt x="1032897" y="5399136"/>
                  </a:moveTo>
                  <a:cubicBezTo>
                    <a:pt x="1032897" y="5399136"/>
                    <a:pt x="1032897" y="5399136"/>
                    <a:pt x="1044331" y="5410227"/>
                  </a:cubicBezTo>
                  <a:cubicBezTo>
                    <a:pt x="1044331" y="5410227"/>
                    <a:pt x="1044331" y="5410227"/>
                    <a:pt x="1046872" y="5407375"/>
                  </a:cubicBezTo>
                  <a:lnTo>
                    <a:pt x="1048460" y="5406108"/>
                  </a:lnTo>
                  <a:cubicBezTo>
                    <a:pt x="1048460" y="5406108"/>
                    <a:pt x="1048460" y="5406108"/>
                    <a:pt x="1070376" y="5427339"/>
                  </a:cubicBezTo>
                  <a:cubicBezTo>
                    <a:pt x="1070376" y="5427339"/>
                    <a:pt x="1070376" y="5427339"/>
                    <a:pt x="1038931" y="5459345"/>
                  </a:cubicBezTo>
                  <a:cubicBezTo>
                    <a:pt x="1038931" y="5459345"/>
                    <a:pt x="1038931" y="5459345"/>
                    <a:pt x="1022415" y="5443184"/>
                  </a:cubicBezTo>
                  <a:cubicBezTo>
                    <a:pt x="1022415" y="5443184"/>
                    <a:pt x="1022415" y="5443184"/>
                    <a:pt x="1005581" y="5460296"/>
                  </a:cubicBezTo>
                  <a:cubicBezTo>
                    <a:pt x="1005581" y="5460296"/>
                    <a:pt x="1005581" y="5460296"/>
                    <a:pt x="988112" y="5443501"/>
                  </a:cubicBezTo>
                  <a:cubicBezTo>
                    <a:pt x="988112" y="5443501"/>
                    <a:pt x="988112" y="5443501"/>
                    <a:pt x="989701" y="5441916"/>
                  </a:cubicBezTo>
                  <a:cubicBezTo>
                    <a:pt x="989701" y="5441916"/>
                    <a:pt x="989701" y="5441916"/>
                    <a:pt x="1032897" y="5399136"/>
                  </a:cubicBezTo>
                  <a:close/>
                  <a:moveTo>
                    <a:pt x="3741232" y="5397869"/>
                  </a:moveTo>
                  <a:cubicBezTo>
                    <a:pt x="3741232" y="5397869"/>
                    <a:pt x="3741232" y="5397869"/>
                    <a:pt x="3708200" y="5421952"/>
                  </a:cubicBezTo>
                  <a:cubicBezTo>
                    <a:pt x="3708200" y="5421952"/>
                    <a:pt x="3708200" y="5421952"/>
                    <a:pt x="3724081" y="5443818"/>
                  </a:cubicBezTo>
                  <a:lnTo>
                    <a:pt x="3757113" y="5419734"/>
                  </a:lnTo>
                  <a:cubicBezTo>
                    <a:pt x="3757113" y="5419734"/>
                    <a:pt x="3757113" y="5419734"/>
                    <a:pt x="3741232" y="5397869"/>
                  </a:cubicBezTo>
                  <a:close/>
                  <a:moveTo>
                    <a:pt x="2002269" y="5393749"/>
                  </a:moveTo>
                  <a:cubicBezTo>
                    <a:pt x="1999093" y="5395334"/>
                    <a:pt x="1983847" y="5404523"/>
                    <a:pt x="1983847" y="5404523"/>
                  </a:cubicBezTo>
                  <a:cubicBezTo>
                    <a:pt x="1983847" y="5404523"/>
                    <a:pt x="1983847" y="5404523"/>
                    <a:pt x="1983212" y="5404840"/>
                  </a:cubicBezTo>
                  <a:cubicBezTo>
                    <a:pt x="1983212" y="5404840"/>
                    <a:pt x="1983212" y="5404840"/>
                    <a:pt x="1922547" y="5401355"/>
                  </a:cubicBezTo>
                  <a:cubicBezTo>
                    <a:pt x="1922229" y="5414664"/>
                    <a:pt x="1921594" y="5427656"/>
                    <a:pt x="1920959" y="5440015"/>
                  </a:cubicBezTo>
                  <a:cubicBezTo>
                    <a:pt x="1918418" y="5483745"/>
                    <a:pt x="1914289" y="5522723"/>
                    <a:pt x="1912701" y="5538250"/>
                  </a:cubicBezTo>
                  <a:cubicBezTo>
                    <a:pt x="1933981" y="5543320"/>
                    <a:pt x="1953356" y="5548391"/>
                    <a:pt x="1967649" y="5552193"/>
                  </a:cubicBezTo>
                  <a:cubicBezTo>
                    <a:pt x="1980989" y="5555679"/>
                    <a:pt x="1992741" y="5559798"/>
                    <a:pt x="2007669" y="5564552"/>
                  </a:cubicBezTo>
                  <a:cubicBezTo>
                    <a:pt x="2007669" y="5564552"/>
                    <a:pt x="2007669" y="5564552"/>
                    <a:pt x="2032443" y="5487865"/>
                  </a:cubicBezTo>
                  <a:cubicBezTo>
                    <a:pt x="2032443" y="5487865"/>
                    <a:pt x="2032443" y="5487865"/>
                    <a:pt x="2052453" y="5480893"/>
                  </a:cubicBezTo>
                  <a:cubicBezTo>
                    <a:pt x="2053406" y="5474873"/>
                    <a:pt x="2057535" y="5451106"/>
                    <a:pt x="2061664" y="5427022"/>
                  </a:cubicBezTo>
                  <a:cubicBezTo>
                    <a:pt x="2062934" y="5420685"/>
                    <a:pt x="2063887" y="5414664"/>
                    <a:pt x="2065158" y="5408643"/>
                  </a:cubicBezTo>
                  <a:cubicBezTo>
                    <a:pt x="2061664" y="5408326"/>
                    <a:pt x="2047371" y="5404840"/>
                    <a:pt x="2032443" y="5401038"/>
                  </a:cubicBezTo>
                  <a:cubicBezTo>
                    <a:pt x="2018785" y="5397552"/>
                    <a:pt x="2004810" y="5394066"/>
                    <a:pt x="2002269" y="5393749"/>
                  </a:cubicBezTo>
                  <a:close/>
                  <a:moveTo>
                    <a:pt x="3742185" y="5392165"/>
                  </a:moveTo>
                  <a:cubicBezTo>
                    <a:pt x="3742185" y="5392165"/>
                    <a:pt x="3742185" y="5392165"/>
                    <a:pt x="3762830" y="5420685"/>
                  </a:cubicBezTo>
                  <a:cubicBezTo>
                    <a:pt x="3762830" y="5420685"/>
                    <a:pt x="3762830" y="5420685"/>
                    <a:pt x="3723128" y="5449522"/>
                  </a:cubicBezTo>
                  <a:cubicBezTo>
                    <a:pt x="3723128" y="5449522"/>
                    <a:pt x="3723128" y="5449522"/>
                    <a:pt x="3702165" y="5421002"/>
                  </a:cubicBezTo>
                  <a:cubicBezTo>
                    <a:pt x="3702165" y="5421002"/>
                    <a:pt x="3702165" y="5421002"/>
                    <a:pt x="3704071" y="5419734"/>
                  </a:cubicBezTo>
                  <a:close/>
                  <a:moveTo>
                    <a:pt x="187713" y="5389630"/>
                  </a:moveTo>
                  <a:cubicBezTo>
                    <a:pt x="180725" y="5399453"/>
                    <a:pt x="174055" y="5408643"/>
                    <a:pt x="168656" y="5416248"/>
                  </a:cubicBezTo>
                  <a:cubicBezTo>
                    <a:pt x="168656" y="5416248"/>
                    <a:pt x="168656" y="5416248"/>
                    <a:pt x="188666" y="5432093"/>
                  </a:cubicBezTo>
                  <a:cubicBezTo>
                    <a:pt x="188666" y="5432093"/>
                    <a:pt x="188666" y="5432093"/>
                    <a:pt x="200735" y="5417199"/>
                  </a:cubicBezTo>
                  <a:cubicBezTo>
                    <a:pt x="200735" y="5417199"/>
                    <a:pt x="200735" y="5417199"/>
                    <a:pt x="188983" y="5408009"/>
                  </a:cubicBezTo>
                  <a:cubicBezTo>
                    <a:pt x="188983" y="5408009"/>
                    <a:pt x="188983" y="5408009"/>
                    <a:pt x="197242" y="5397235"/>
                  </a:cubicBezTo>
                  <a:cubicBezTo>
                    <a:pt x="197242" y="5397235"/>
                    <a:pt x="197242" y="5397235"/>
                    <a:pt x="187713" y="5389630"/>
                  </a:cubicBezTo>
                  <a:close/>
                  <a:moveTo>
                    <a:pt x="467218" y="5387411"/>
                  </a:moveTo>
                  <a:cubicBezTo>
                    <a:pt x="467218" y="5387411"/>
                    <a:pt x="467218" y="5387411"/>
                    <a:pt x="449431" y="5417833"/>
                  </a:cubicBezTo>
                  <a:lnTo>
                    <a:pt x="480240" y="5435578"/>
                  </a:lnTo>
                  <a:cubicBezTo>
                    <a:pt x="480240" y="5435578"/>
                    <a:pt x="480240" y="5435578"/>
                    <a:pt x="498027" y="5405157"/>
                  </a:cubicBezTo>
                  <a:cubicBezTo>
                    <a:pt x="498027" y="5405157"/>
                    <a:pt x="498027" y="5405157"/>
                    <a:pt x="467218" y="5387411"/>
                  </a:cubicBezTo>
                  <a:close/>
                  <a:moveTo>
                    <a:pt x="465947" y="5381707"/>
                  </a:moveTo>
                  <a:cubicBezTo>
                    <a:pt x="465947" y="5381707"/>
                    <a:pt x="465947" y="5381707"/>
                    <a:pt x="467535" y="5382658"/>
                  </a:cubicBezTo>
                  <a:cubicBezTo>
                    <a:pt x="467535" y="5382658"/>
                    <a:pt x="467535" y="5382658"/>
                    <a:pt x="503744" y="5403573"/>
                  </a:cubicBezTo>
                  <a:lnTo>
                    <a:pt x="481510" y="5441282"/>
                  </a:lnTo>
                  <a:cubicBezTo>
                    <a:pt x="481510" y="5441282"/>
                    <a:pt x="481510" y="5441282"/>
                    <a:pt x="443714" y="5419417"/>
                  </a:cubicBezTo>
                  <a:cubicBezTo>
                    <a:pt x="443714" y="5419417"/>
                    <a:pt x="443714" y="5419417"/>
                    <a:pt x="465947" y="5381707"/>
                  </a:cubicBezTo>
                  <a:close/>
                  <a:moveTo>
                    <a:pt x="309996" y="5380440"/>
                  </a:moveTo>
                  <a:cubicBezTo>
                    <a:pt x="309996" y="5380440"/>
                    <a:pt x="309996" y="5380440"/>
                    <a:pt x="227415" y="5490400"/>
                  </a:cubicBezTo>
                  <a:cubicBezTo>
                    <a:pt x="227415" y="5490400"/>
                    <a:pt x="227415" y="5490400"/>
                    <a:pt x="294751" y="5519554"/>
                  </a:cubicBezTo>
                  <a:cubicBezTo>
                    <a:pt x="296656" y="5517019"/>
                    <a:pt x="299832" y="5512582"/>
                    <a:pt x="304279" y="5506561"/>
                  </a:cubicBezTo>
                  <a:cubicBezTo>
                    <a:pt x="304279" y="5506561"/>
                    <a:pt x="304279" y="5506561"/>
                    <a:pt x="279822" y="5492301"/>
                  </a:cubicBezTo>
                  <a:cubicBezTo>
                    <a:pt x="279822" y="5492301"/>
                    <a:pt x="279822" y="5492301"/>
                    <a:pt x="281093" y="5490717"/>
                  </a:cubicBezTo>
                  <a:cubicBezTo>
                    <a:pt x="281093" y="5490717"/>
                    <a:pt x="281093" y="5490717"/>
                    <a:pt x="293798" y="5468852"/>
                  </a:cubicBezTo>
                  <a:cubicBezTo>
                    <a:pt x="293798" y="5468852"/>
                    <a:pt x="293798" y="5468852"/>
                    <a:pt x="306502" y="5476457"/>
                  </a:cubicBezTo>
                  <a:cubicBezTo>
                    <a:pt x="306502" y="5476457"/>
                    <a:pt x="306502" y="5476457"/>
                    <a:pt x="313490" y="5464415"/>
                  </a:cubicBezTo>
                  <a:cubicBezTo>
                    <a:pt x="313490" y="5464415"/>
                    <a:pt x="313490" y="5464415"/>
                    <a:pt x="327783" y="5472971"/>
                  </a:cubicBezTo>
                  <a:cubicBezTo>
                    <a:pt x="335088" y="5462514"/>
                    <a:pt x="342076" y="5452057"/>
                    <a:pt x="347793" y="5444451"/>
                  </a:cubicBezTo>
                  <a:cubicBezTo>
                    <a:pt x="350651" y="5440332"/>
                    <a:pt x="352875" y="5436846"/>
                    <a:pt x="354780" y="5434628"/>
                  </a:cubicBezTo>
                  <a:cubicBezTo>
                    <a:pt x="355416" y="5433677"/>
                    <a:pt x="356051" y="5433043"/>
                    <a:pt x="356686" y="5432410"/>
                  </a:cubicBezTo>
                  <a:cubicBezTo>
                    <a:pt x="356686" y="5432410"/>
                    <a:pt x="356686" y="5432410"/>
                    <a:pt x="328100" y="5395017"/>
                  </a:cubicBezTo>
                  <a:cubicBezTo>
                    <a:pt x="328100" y="5395017"/>
                    <a:pt x="328100" y="5395017"/>
                    <a:pt x="309996" y="5380440"/>
                  </a:cubicBezTo>
                  <a:close/>
                  <a:moveTo>
                    <a:pt x="175008" y="5379489"/>
                  </a:moveTo>
                  <a:cubicBezTo>
                    <a:pt x="175008" y="5379489"/>
                    <a:pt x="175008" y="5379489"/>
                    <a:pt x="166433" y="5390263"/>
                  </a:cubicBezTo>
                  <a:cubicBezTo>
                    <a:pt x="166433" y="5390263"/>
                    <a:pt x="166433" y="5390263"/>
                    <a:pt x="154681" y="5381074"/>
                  </a:cubicBezTo>
                  <a:cubicBezTo>
                    <a:pt x="154681" y="5381074"/>
                    <a:pt x="154681" y="5381074"/>
                    <a:pt x="142929" y="5395967"/>
                  </a:cubicBezTo>
                  <a:cubicBezTo>
                    <a:pt x="142929" y="5395967"/>
                    <a:pt x="142929" y="5395967"/>
                    <a:pt x="165162" y="5413396"/>
                  </a:cubicBezTo>
                  <a:cubicBezTo>
                    <a:pt x="170562" y="5406108"/>
                    <a:pt x="177232" y="5396601"/>
                    <a:pt x="184219" y="5387095"/>
                  </a:cubicBezTo>
                  <a:cubicBezTo>
                    <a:pt x="184219" y="5387095"/>
                    <a:pt x="184219" y="5387095"/>
                    <a:pt x="175008" y="5379489"/>
                  </a:cubicBezTo>
                  <a:close/>
                  <a:moveTo>
                    <a:pt x="1242525" y="5371567"/>
                  </a:moveTo>
                  <a:cubicBezTo>
                    <a:pt x="1242525" y="5371567"/>
                    <a:pt x="1242525" y="5371567"/>
                    <a:pt x="1211081" y="5394066"/>
                  </a:cubicBezTo>
                  <a:cubicBezTo>
                    <a:pt x="1211081" y="5394066"/>
                    <a:pt x="1211081" y="5394066"/>
                    <a:pt x="1225374" y="5414347"/>
                  </a:cubicBezTo>
                  <a:lnTo>
                    <a:pt x="1257136" y="5391848"/>
                  </a:lnTo>
                  <a:cubicBezTo>
                    <a:pt x="1257136" y="5391848"/>
                    <a:pt x="1257136" y="5391848"/>
                    <a:pt x="1242525" y="5371567"/>
                  </a:cubicBezTo>
                  <a:close/>
                  <a:moveTo>
                    <a:pt x="1163120" y="5368081"/>
                  </a:moveTo>
                  <a:cubicBezTo>
                    <a:pt x="1163120" y="5368081"/>
                    <a:pt x="1163120" y="5368081"/>
                    <a:pt x="958891" y="5402939"/>
                  </a:cubicBezTo>
                  <a:cubicBezTo>
                    <a:pt x="958891" y="5402939"/>
                    <a:pt x="958891" y="5402939"/>
                    <a:pt x="976361" y="5470436"/>
                  </a:cubicBezTo>
                  <a:cubicBezTo>
                    <a:pt x="976361" y="5470436"/>
                    <a:pt x="976361" y="5470436"/>
                    <a:pt x="1013840" y="5549341"/>
                  </a:cubicBezTo>
                  <a:cubicBezTo>
                    <a:pt x="1013840" y="5549341"/>
                    <a:pt x="1013840" y="5549341"/>
                    <a:pt x="1016063" y="5551559"/>
                  </a:cubicBezTo>
                  <a:cubicBezTo>
                    <a:pt x="1016380" y="5551559"/>
                    <a:pt x="1016380" y="5551559"/>
                    <a:pt x="1016380" y="5551559"/>
                  </a:cubicBezTo>
                  <a:cubicBezTo>
                    <a:pt x="1025909" y="5543954"/>
                    <a:pt x="1164391" y="5469169"/>
                    <a:pt x="1179319" y="5461246"/>
                  </a:cubicBezTo>
                  <a:cubicBezTo>
                    <a:pt x="1179319" y="5461246"/>
                    <a:pt x="1179319" y="5461246"/>
                    <a:pt x="1163120" y="5368081"/>
                  </a:cubicBezTo>
                  <a:close/>
                  <a:moveTo>
                    <a:pt x="816281" y="5366814"/>
                  </a:moveTo>
                  <a:cubicBezTo>
                    <a:pt x="816281" y="5366814"/>
                    <a:pt x="816281" y="5366814"/>
                    <a:pt x="816916" y="5399453"/>
                  </a:cubicBezTo>
                  <a:cubicBezTo>
                    <a:pt x="816916" y="5399453"/>
                    <a:pt x="816916" y="5399453"/>
                    <a:pt x="817869" y="5399453"/>
                  </a:cubicBezTo>
                  <a:cubicBezTo>
                    <a:pt x="817551" y="5388679"/>
                    <a:pt x="817551" y="5377905"/>
                    <a:pt x="817551" y="5366814"/>
                  </a:cubicBezTo>
                  <a:close/>
                  <a:moveTo>
                    <a:pt x="1004629" y="5366180"/>
                  </a:moveTo>
                  <a:cubicBezTo>
                    <a:pt x="987160" y="5368715"/>
                    <a:pt x="966514" y="5371567"/>
                    <a:pt x="949045" y="5373785"/>
                  </a:cubicBezTo>
                  <a:cubicBezTo>
                    <a:pt x="949681" y="5380757"/>
                    <a:pt x="949998" y="5386144"/>
                    <a:pt x="949998" y="5389947"/>
                  </a:cubicBezTo>
                  <a:lnTo>
                    <a:pt x="1004629" y="5380757"/>
                  </a:lnTo>
                  <a:cubicBezTo>
                    <a:pt x="1004629" y="5377271"/>
                    <a:pt x="1004629" y="5372201"/>
                    <a:pt x="1004629" y="5366180"/>
                  </a:cubicBezTo>
                  <a:close/>
                  <a:moveTo>
                    <a:pt x="1243478" y="5365863"/>
                  </a:moveTo>
                  <a:cubicBezTo>
                    <a:pt x="1243478" y="5365863"/>
                    <a:pt x="1243478" y="5365863"/>
                    <a:pt x="1262853" y="5392799"/>
                  </a:cubicBezTo>
                  <a:cubicBezTo>
                    <a:pt x="1262853" y="5392799"/>
                    <a:pt x="1262853" y="5392799"/>
                    <a:pt x="1224421" y="5420051"/>
                  </a:cubicBezTo>
                  <a:cubicBezTo>
                    <a:pt x="1224421" y="5420051"/>
                    <a:pt x="1224421" y="5420051"/>
                    <a:pt x="1223150" y="5418150"/>
                  </a:cubicBezTo>
                  <a:cubicBezTo>
                    <a:pt x="1223150" y="5418150"/>
                    <a:pt x="1223150" y="5418150"/>
                    <a:pt x="1205364" y="5393115"/>
                  </a:cubicBezTo>
                  <a:close/>
                  <a:moveTo>
                    <a:pt x="778802" y="5363011"/>
                  </a:moveTo>
                  <a:cubicBezTo>
                    <a:pt x="778802" y="5363011"/>
                    <a:pt x="778802" y="5363011"/>
                    <a:pt x="778802" y="5396918"/>
                  </a:cubicBezTo>
                  <a:cubicBezTo>
                    <a:pt x="778802" y="5396918"/>
                    <a:pt x="778802" y="5396918"/>
                    <a:pt x="812787" y="5399136"/>
                  </a:cubicBezTo>
                  <a:cubicBezTo>
                    <a:pt x="812787" y="5399136"/>
                    <a:pt x="812787" y="5399136"/>
                    <a:pt x="812152" y="5366497"/>
                  </a:cubicBezTo>
                  <a:close/>
                  <a:moveTo>
                    <a:pt x="2137257" y="5360793"/>
                  </a:moveTo>
                  <a:cubicBezTo>
                    <a:pt x="2137257" y="5360793"/>
                    <a:pt x="2137257" y="5360793"/>
                    <a:pt x="2138210" y="5391531"/>
                  </a:cubicBezTo>
                  <a:cubicBezTo>
                    <a:pt x="2138210" y="5391531"/>
                    <a:pt x="2138210" y="5391531"/>
                    <a:pt x="2156632" y="5391531"/>
                  </a:cubicBezTo>
                  <a:cubicBezTo>
                    <a:pt x="2156632" y="5391531"/>
                    <a:pt x="2156632" y="5391531"/>
                    <a:pt x="2156950" y="5414664"/>
                  </a:cubicBezTo>
                  <a:lnTo>
                    <a:pt x="2183312" y="5414347"/>
                  </a:lnTo>
                  <a:cubicBezTo>
                    <a:pt x="2183312" y="5414347"/>
                    <a:pt x="2183312" y="5414347"/>
                    <a:pt x="2182994" y="5363962"/>
                  </a:cubicBezTo>
                  <a:cubicBezTo>
                    <a:pt x="2182994" y="5363962"/>
                    <a:pt x="2182994" y="5363962"/>
                    <a:pt x="2166478" y="5363962"/>
                  </a:cubicBezTo>
                  <a:cubicBezTo>
                    <a:pt x="2166478" y="5363962"/>
                    <a:pt x="2166478" y="5363962"/>
                    <a:pt x="2166478" y="5360793"/>
                  </a:cubicBezTo>
                  <a:cubicBezTo>
                    <a:pt x="2166478" y="5360793"/>
                    <a:pt x="2166478" y="5360793"/>
                    <a:pt x="2137257" y="5360793"/>
                  </a:cubicBezTo>
                  <a:close/>
                  <a:moveTo>
                    <a:pt x="2133128" y="5356673"/>
                  </a:moveTo>
                  <a:cubicBezTo>
                    <a:pt x="2133128" y="5356673"/>
                    <a:pt x="2133128" y="5356673"/>
                    <a:pt x="2170607" y="5356673"/>
                  </a:cubicBezTo>
                  <a:cubicBezTo>
                    <a:pt x="2170607" y="5356673"/>
                    <a:pt x="2170607" y="5356673"/>
                    <a:pt x="2170607" y="5359842"/>
                  </a:cubicBezTo>
                  <a:cubicBezTo>
                    <a:pt x="2170607" y="5359842"/>
                    <a:pt x="2170607" y="5359842"/>
                    <a:pt x="2187123" y="5359842"/>
                  </a:cubicBezTo>
                  <a:lnTo>
                    <a:pt x="2187441" y="5418466"/>
                  </a:lnTo>
                  <a:cubicBezTo>
                    <a:pt x="2187441" y="5418466"/>
                    <a:pt x="2187441" y="5418466"/>
                    <a:pt x="2152503" y="5418783"/>
                  </a:cubicBezTo>
                  <a:cubicBezTo>
                    <a:pt x="2152503" y="5418783"/>
                    <a:pt x="2152503" y="5418783"/>
                    <a:pt x="2152503" y="5395651"/>
                  </a:cubicBezTo>
                  <a:cubicBezTo>
                    <a:pt x="2152503" y="5395651"/>
                    <a:pt x="2152503" y="5395651"/>
                    <a:pt x="2134398" y="5395651"/>
                  </a:cubicBezTo>
                  <a:cubicBezTo>
                    <a:pt x="2134398" y="5395651"/>
                    <a:pt x="2134398" y="5395651"/>
                    <a:pt x="2134398" y="5393749"/>
                  </a:cubicBezTo>
                  <a:cubicBezTo>
                    <a:pt x="2134398" y="5393749"/>
                    <a:pt x="2134398" y="5393749"/>
                    <a:pt x="2133128" y="5356673"/>
                  </a:cubicBezTo>
                  <a:close/>
                  <a:moveTo>
                    <a:pt x="1260312" y="5351286"/>
                  </a:moveTo>
                  <a:cubicBezTo>
                    <a:pt x="1260312" y="5351286"/>
                    <a:pt x="1260312" y="5351286"/>
                    <a:pt x="1177096" y="5365546"/>
                  </a:cubicBezTo>
                  <a:cubicBezTo>
                    <a:pt x="1177096" y="5365546"/>
                    <a:pt x="1177096" y="5365546"/>
                    <a:pt x="1203140" y="5511948"/>
                  </a:cubicBezTo>
                  <a:cubicBezTo>
                    <a:pt x="1222833" y="5511315"/>
                    <a:pt x="1273652" y="5510047"/>
                    <a:pt x="1273652" y="5510047"/>
                  </a:cubicBezTo>
                  <a:cubicBezTo>
                    <a:pt x="1273652" y="5510047"/>
                    <a:pt x="1273652" y="5510047"/>
                    <a:pt x="1274287" y="5510047"/>
                  </a:cubicBezTo>
                  <a:cubicBezTo>
                    <a:pt x="1274287" y="5510047"/>
                    <a:pt x="1274287" y="5510047"/>
                    <a:pt x="1353692" y="5560432"/>
                  </a:cubicBezTo>
                  <a:cubicBezTo>
                    <a:pt x="1353692" y="5560432"/>
                    <a:pt x="1353692" y="5560432"/>
                    <a:pt x="1351468" y="5564235"/>
                  </a:cubicBezTo>
                  <a:cubicBezTo>
                    <a:pt x="1351468" y="5564235"/>
                    <a:pt x="1351468" y="5564235"/>
                    <a:pt x="1273016" y="5514484"/>
                  </a:cubicBezTo>
                  <a:cubicBezTo>
                    <a:pt x="1269523" y="5514484"/>
                    <a:pt x="1252054" y="5515117"/>
                    <a:pt x="1234585" y="5515434"/>
                  </a:cubicBezTo>
                  <a:cubicBezTo>
                    <a:pt x="1225056" y="5515751"/>
                    <a:pt x="1215210" y="5516068"/>
                    <a:pt x="1207905" y="5516068"/>
                  </a:cubicBezTo>
                  <a:cubicBezTo>
                    <a:pt x="1206317" y="5516068"/>
                    <a:pt x="1205046" y="5516068"/>
                    <a:pt x="1203776" y="5516068"/>
                  </a:cubicBezTo>
                  <a:cubicBezTo>
                    <a:pt x="1203776" y="5516068"/>
                    <a:pt x="1203776" y="5516068"/>
                    <a:pt x="1221880" y="5618740"/>
                  </a:cubicBezTo>
                  <a:cubicBezTo>
                    <a:pt x="1221880" y="5618740"/>
                    <a:pt x="1221880" y="5618740"/>
                    <a:pt x="1324153" y="5630148"/>
                  </a:cubicBezTo>
                  <a:cubicBezTo>
                    <a:pt x="1325741" y="5626662"/>
                    <a:pt x="1332094" y="5612719"/>
                    <a:pt x="1338764" y="5597825"/>
                  </a:cubicBezTo>
                  <a:cubicBezTo>
                    <a:pt x="1342575" y="5589586"/>
                    <a:pt x="1346386" y="5581030"/>
                    <a:pt x="1349245" y="5574375"/>
                  </a:cubicBezTo>
                  <a:cubicBezTo>
                    <a:pt x="1350515" y="5570890"/>
                    <a:pt x="1351786" y="5568038"/>
                    <a:pt x="1352421" y="5566136"/>
                  </a:cubicBezTo>
                  <a:cubicBezTo>
                    <a:pt x="1352739" y="5564869"/>
                    <a:pt x="1353056" y="5563918"/>
                    <a:pt x="1353374" y="5563284"/>
                  </a:cubicBezTo>
                  <a:cubicBezTo>
                    <a:pt x="1353374" y="5562967"/>
                    <a:pt x="1353692" y="5562967"/>
                    <a:pt x="1353692" y="5562650"/>
                  </a:cubicBezTo>
                  <a:cubicBezTo>
                    <a:pt x="1353692" y="5562650"/>
                    <a:pt x="1353374" y="5562334"/>
                    <a:pt x="1353374" y="5562334"/>
                  </a:cubicBezTo>
                  <a:cubicBezTo>
                    <a:pt x="1354009" y="5559798"/>
                    <a:pt x="1354645" y="5560749"/>
                    <a:pt x="1354962" y="5560115"/>
                  </a:cubicBezTo>
                  <a:cubicBezTo>
                    <a:pt x="1359726" y="5557263"/>
                    <a:pt x="1422933" y="5536983"/>
                    <a:pt x="1431191" y="5534447"/>
                  </a:cubicBezTo>
                  <a:cubicBezTo>
                    <a:pt x="1431191" y="5534447"/>
                    <a:pt x="1431191" y="5534447"/>
                    <a:pt x="1427062" y="5534131"/>
                  </a:cubicBezTo>
                  <a:cubicBezTo>
                    <a:pt x="1427062" y="5534131"/>
                    <a:pt x="1428650" y="5510998"/>
                    <a:pt x="1430555" y="5488182"/>
                  </a:cubicBezTo>
                  <a:cubicBezTo>
                    <a:pt x="1431508" y="5476457"/>
                    <a:pt x="1432461" y="5465049"/>
                    <a:pt x="1433414" y="5456176"/>
                  </a:cubicBezTo>
                  <a:cubicBezTo>
                    <a:pt x="1433732" y="5453641"/>
                    <a:pt x="1434049" y="5451106"/>
                    <a:pt x="1434049" y="5449205"/>
                  </a:cubicBezTo>
                  <a:cubicBezTo>
                    <a:pt x="1432144" y="5449205"/>
                    <a:pt x="1430238" y="5449205"/>
                    <a:pt x="1428332" y="5449205"/>
                  </a:cubicBezTo>
                  <a:cubicBezTo>
                    <a:pt x="1426744" y="5449205"/>
                    <a:pt x="1424838" y="5449205"/>
                    <a:pt x="1423250" y="5449205"/>
                  </a:cubicBezTo>
                  <a:cubicBezTo>
                    <a:pt x="1423250" y="5449205"/>
                    <a:pt x="1423250" y="5449205"/>
                    <a:pt x="1423250" y="5449522"/>
                  </a:cubicBezTo>
                  <a:cubicBezTo>
                    <a:pt x="1421980" y="5449522"/>
                    <a:pt x="1421027" y="5449205"/>
                    <a:pt x="1420074" y="5449205"/>
                  </a:cubicBezTo>
                  <a:cubicBezTo>
                    <a:pt x="1397205" y="5448888"/>
                    <a:pt x="1374655" y="5447620"/>
                    <a:pt x="1355280" y="5444451"/>
                  </a:cubicBezTo>
                  <a:cubicBezTo>
                    <a:pt x="1340987" y="5441599"/>
                    <a:pt x="1325424" y="5438430"/>
                    <a:pt x="1311131" y="5431776"/>
                  </a:cubicBezTo>
                  <a:cubicBezTo>
                    <a:pt x="1311131" y="5431776"/>
                    <a:pt x="1311131" y="5431776"/>
                    <a:pt x="1276510" y="5510681"/>
                  </a:cubicBezTo>
                  <a:cubicBezTo>
                    <a:pt x="1276510" y="5510681"/>
                    <a:pt x="1276510" y="5510681"/>
                    <a:pt x="1272381" y="5508780"/>
                  </a:cubicBezTo>
                  <a:cubicBezTo>
                    <a:pt x="1272381" y="5508780"/>
                    <a:pt x="1272381" y="5508780"/>
                    <a:pt x="1307319" y="5429558"/>
                  </a:cubicBezTo>
                  <a:cubicBezTo>
                    <a:pt x="1300967" y="5426389"/>
                    <a:pt x="1295250" y="5422269"/>
                    <a:pt x="1289533" y="5417199"/>
                  </a:cubicBezTo>
                  <a:cubicBezTo>
                    <a:pt x="1274605" y="5402939"/>
                    <a:pt x="1264441" y="5382024"/>
                    <a:pt x="1260312" y="5351286"/>
                  </a:cubicBezTo>
                  <a:close/>
                  <a:moveTo>
                    <a:pt x="406870" y="5346850"/>
                  </a:moveTo>
                  <a:lnTo>
                    <a:pt x="389083" y="5377271"/>
                  </a:lnTo>
                  <a:cubicBezTo>
                    <a:pt x="389083" y="5377271"/>
                    <a:pt x="389083" y="5377271"/>
                    <a:pt x="419575" y="5395334"/>
                  </a:cubicBezTo>
                  <a:cubicBezTo>
                    <a:pt x="419575" y="5395334"/>
                    <a:pt x="419575" y="5395334"/>
                    <a:pt x="437679" y="5364596"/>
                  </a:cubicBezTo>
                  <a:cubicBezTo>
                    <a:pt x="437679" y="5364596"/>
                    <a:pt x="437679" y="5364596"/>
                    <a:pt x="406870" y="5346850"/>
                  </a:cubicBezTo>
                  <a:close/>
                  <a:moveTo>
                    <a:pt x="3752984" y="5346216"/>
                  </a:moveTo>
                  <a:cubicBezTo>
                    <a:pt x="3750761" y="5347167"/>
                    <a:pt x="3748220" y="5348117"/>
                    <a:pt x="3745361" y="5349068"/>
                  </a:cubicBezTo>
                  <a:cubicBezTo>
                    <a:pt x="3720587" y="5358892"/>
                    <a:pt x="3675168" y="5376637"/>
                    <a:pt x="3666274" y="5379806"/>
                  </a:cubicBezTo>
                  <a:cubicBezTo>
                    <a:pt x="3666274" y="5382658"/>
                    <a:pt x="3666592" y="5388362"/>
                    <a:pt x="3666592" y="5394066"/>
                  </a:cubicBezTo>
                  <a:cubicBezTo>
                    <a:pt x="3666592" y="5396601"/>
                    <a:pt x="3666592" y="5399136"/>
                    <a:pt x="3666592" y="5401355"/>
                  </a:cubicBezTo>
                  <a:cubicBezTo>
                    <a:pt x="3666592" y="5401355"/>
                    <a:pt x="3666592" y="5401355"/>
                    <a:pt x="3669768" y="5401355"/>
                  </a:cubicBezTo>
                  <a:cubicBezTo>
                    <a:pt x="3670403" y="5430191"/>
                    <a:pt x="3673262" y="5472971"/>
                    <a:pt x="3679296" y="5517969"/>
                  </a:cubicBezTo>
                  <a:cubicBezTo>
                    <a:pt x="3685331" y="5565502"/>
                    <a:pt x="3695813" y="5616205"/>
                    <a:pt x="3709788" y="5642506"/>
                  </a:cubicBezTo>
                  <a:cubicBezTo>
                    <a:pt x="3723763" y="5670075"/>
                    <a:pt x="3735515" y="5687187"/>
                    <a:pt x="3743773" y="5697645"/>
                  </a:cubicBezTo>
                  <a:cubicBezTo>
                    <a:pt x="3743773" y="5697645"/>
                    <a:pt x="3743773" y="5697645"/>
                    <a:pt x="3842870" y="5555679"/>
                  </a:cubicBezTo>
                  <a:close/>
                  <a:moveTo>
                    <a:pt x="942375" y="5336393"/>
                  </a:moveTo>
                  <a:cubicBezTo>
                    <a:pt x="942375" y="5336393"/>
                    <a:pt x="942375" y="5336393"/>
                    <a:pt x="904896" y="5341146"/>
                  </a:cubicBezTo>
                  <a:cubicBezTo>
                    <a:pt x="904896" y="5341146"/>
                    <a:pt x="904896" y="5341146"/>
                    <a:pt x="909978" y="5375053"/>
                  </a:cubicBezTo>
                  <a:cubicBezTo>
                    <a:pt x="914742" y="5374419"/>
                    <a:pt x="928082" y="5372518"/>
                    <a:pt x="944599" y="5370300"/>
                  </a:cubicBezTo>
                  <a:cubicBezTo>
                    <a:pt x="943963" y="5360476"/>
                    <a:pt x="943328" y="5349068"/>
                    <a:pt x="942693" y="5337660"/>
                  </a:cubicBezTo>
                  <a:cubicBezTo>
                    <a:pt x="942375" y="5337343"/>
                    <a:pt x="942375" y="5336709"/>
                    <a:pt x="942375" y="5336393"/>
                  </a:cubicBezTo>
                  <a:close/>
                  <a:moveTo>
                    <a:pt x="416399" y="5335125"/>
                  </a:moveTo>
                  <a:cubicBezTo>
                    <a:pt x="414175" y="5336709"/>
                    <a:pt x="410999" y="5339245"/>
                    <a:pt x="406870" y="5342097"/>
                  </a:cubicBezTo>
                  <a:cubicBezTo>
                    <a:pt x="406870" y="5342097"/>
                    <a:pt x="406870" y="5342097"/>
                    <a:pt x="407188" y="5342097"/>
                  </a:cubicBezTo>
                  <a:cubicBezTo>
                    <a:pt x="407188" y="5342097"/>
                    <a:pt x="407188" y="5342097"/>
                    <a:pt x="443396" y="5363328"/>
                  </a:cubicBezTo>
                  <a:cubicBezTo>
                    <a:pt x="443396" y="5363328"/>
                    <a:pt x="443396" y="5363328"/>
                    <a:pt x="421163" y="5401038"/>
                  </a:cubicBezTo>
                  <a:cubicBezTo>
                    <a:pt x="421163" y="5401038"/>
                    <a:pt x="421163" y="5401038"/>
                    <a:pt x="383366" y="5378856"/>
                  </a:cubicBezTo>
                  <a:cubicBezTo>
                    <a:pt x="383366" y="5378856"/>
                    <a:pt x="383366" y="5378856"/>
                    <a:pt x="403376" y="5344632"/>
                  </a:cubicBezTo>
                  <a:cubicBezTo>
                    <a:pt x="380825" y="5360793"/>
                    <a:pt x="341440" y="5388045"/>
                    <a:pt x="332865" y="5394066"/>
                  </a:cubicBezTo>
                  <a:cubicBezTo>
                    <a:pt x="332865" y="5394066"/>
                    <a:pt x="332865" y="5394066"/>
                    <a:pt x="384954" y="5461880"/>
                  </a:cubicBezTo>
                  <a:cubicBezTo>
                    <a:pt x="384954" y="5461880"/>
                    <a:pt x="384954" y="5461880"/>
                    <a:pt x="480875" y="5489449"/>
                  </a:cubicBezTo>
                  <a:cubicBezTo>
                    <a:pt x="480875" y="5489449"/>
                    <a:pt x="480875" y="5489449"/>
                    <a:pt x="519625" y="5400404"/>
                  </a:cubicBezTo>
                  <a:cubicBezTo>
                    <a:pt x="502791" y="5391214"/>
                    <a:pt x="478017" y="5378222"/>
                    <a:pt x="455466" y="5364596"/>
                  </a:cubicBezTo>
                  <a:cubicBezTo>
                    <a:pt x="455466" y="5364596"/>
                    <a:pt x="455466" y="5364596"/>
                    <a:pt x="386225" y="5460296"/>
                  </a:cubicBezTo>
                  <a:cubicBezTo>
                    <a:pt x="386225" y="5460296"/>
                    <a:pt x="386225" y="5460296"/>
                    <a:pt x="382413" y="5457761"/>
                  </a:cubicBezTo>
                  <a:cubicBezTo>
                    <a:pt x="382413" y="5457761"/>
                    <a:pt x="382413" y="5457761"/>
                    <a:pt x="451654" y="5362060"/>
                  </a:cubicBezTo>
                  <a:cubicBezTo>
                    <a:pt x="442443" y="5356356"/>
                    <a:pt x="433550" y="5350336"/>
                    <a:pt x="426245" y="5344632"/>
                  </a:cubicBezTo>
                  <a:cubicBezTo>
                    <a:pt x="422116" y="5341463"/>
                    <a:pt x="419257" y="5338294"/>
                    <a:pt x="416399" y="5335125"/>
                  </a:cubicBezTo>
                  <a:close/>
                  <a:moveTo>
                    <a:pt x="230592" y="5332590"/>
                  </a:moveTo>
                  <a:cubicBezTo>
                    <a:pt x="226780" y="5336709"/>
                    <a:pt x="209311" y="5360476"/>
                    <a:pt x="192477" y="5383292"/>
                  </a:cubicBezTo>
                  <a:cubicBezTo>
                    <a:pt x="191842" y="5384243"/>
                    <a:pt x="191207" y="5385193"/>
                    <a:pt x="190254" y="5386461"/>
                  </a:cubicBezTo>
                  <a:cubicBezTo>
                    <a:pt x="190254" y="5386461"/>
                    <a:pt x="190254" y="5386461"/>
                    <a:pt x="203276" y="5396601"/>
                  </a:cubicBezTo>
                  <a:cubicBezTo>
                    <a:pt x="203276" y="5396601"/>
                    <a:pt x="203276" y="5396601"/>
                    <a:pt x="194701" y="5407375"/>
                  </a:cubicBezTo>
                  <a:cubicBezTo>
                    <a:pt x="194701" y="5407375"/>
                    <a:pt x="194701" y="5407375"/>
                    <a:pt x="206452" y="5416565"/>
                  </a:cubicBezTo>
                  <a:cubicBezTo>
                    <a:pt x="206452" y="5416565"/>
                    <a:pt x="206452" y="5416565"/>
                    <a:pt x="189301" y="5438114"/>
                  </a:cubicBezTo>
                  <a:cubicBezTo>
                    <a:pt x="189301" y="5438114"/>
                    <a:pt x="189301" y="5438114"/>
                    <a:pt x="166115" y="5419417"/>
                  </a:cubicBezTo>
                  <a:cubicBezTo>
                    <a:pt x="163256" y="5423220"/>
                    <a:pt x="161033" y="5426389"/>
                    <a:pt x="159763" y="5428607"/>
                  </a:cubicBezTo>
                  <a:cubicBezTo>
                    <a:pt x="159763" y="5428607"/>
                    <a:pt x="159763" y="5428607"/>
                    <a:pt x="222333" y="5488182"/>
                  </a:cubicBezTo>
                  <a:lnTo>
                    <a:pt x="223286" y="5488499"/>
                  </a:lnTo>
                  <a:cubicBezTo>
                    <a:pt x="223286" y="5488499"/>
                    <a:pt x="223286" y="5488499"/>
                    <a:pt x="306502" y="5377905"/>
                  </a:cubicBezTo>
                  <a:cubicBezTo>
                    <a:pt x="306502" y="5377905"/>
                    <a:pt x="306502" y="5377905"/>
                    <a:pt x="283951" y="5359842"/>
                  </a:cubicBezTo>
                  <a:cubicBezTo>
                    <a:pt x="282363" y="5358892"/>
                    <a:pt x="270611" y="5352554"/>
                    <a:pt x="257907" y="5345899"/>
                  </a:cubicBezTo>
                  <a:cubicBezTo>
                    <a:pt x="251237" y="5342413"/>
                    <a:pt x="244567" y="5338928"/>
                    <a:pt x="239167" y="5336393"/>
                  </a:cubicBezTo>
                  <a:cubicBezTo>
                    <a:pt x="236626" y="5335125"/>
                    <a:pt x="234085" y="5334174"/>
                    <a:pt x="232497" y="5333541"/>
                  </a:cubicBezTo>
                  <a:cubicBezTo>
                    <a:pt x="231544" y="5332907"/>
                    <a:pt x="230909" y="5332907"/>
                    <a:pt x="230592" y="5332590"/>
                  </a:cubicBezTo>
                  <a:close/>
                  <a:moveTo>
                    <a:pt x="2141068" y="5331005"/>
                  </a:moveTo>
                  <a:cubicBezTo>
                    <a:pt x="2133128" y="5336076"/>
                    <a:pt x="2083262" y="5369032"/>
                    <a:pt x="2076274" y="5373468"/>
                  </a:cubicBezTo>
                  <a:cubicBezTo>
                    <a:pt x="2075957" y="5375370"/>
                    <a:pt x="2074369" y="5382341"/>
                    <a:pt x="2072780" y="5391531"/>
                  </a:cubicBezTo>
                  <a:cubicBezTo>
                    <a:pt x="2071192" y="5400404"/>
                    <a:pt x="2068969" y="5411495"/>
                    <a:pt x="2067063" y="5422586"/>
                  </a:cubicBezTo>
                  <a:cubicBezTo>
                    <a:pt x="2067063" y="5422586"/>
                    <a:pt x="2067063" y="5422586"/>
                    <a:pt x="2167748" y="5444768"/>
                  </a:cubicBezTo>
                  <a:cubicBezTo>
                    <a:pt x="2167748" y="5444768"/>
                    <a:pt x="2167748" y="5444768"/>
                    <a:pt x="2198558" y="5501491"/>
                  </a:cubicBezTo>
                  <a:cubicBezTo>
                    <a:pt x="2217932" y="5457761"/>
                    <a:pt x="2241754" y="5403573"/>
                    <a:pt x="2266210" y="5348117"/>
                  </a:cubicBezTo>
                  <a:cubicBezTo>
                    <a:pt x="2266210" y="5348117"/>
                    <a:pt x="2266210" y="5348117"/>
                    <a:pt x="2140751" y="5333857"/>
                  </a:cubicBezTo>
                  <a:cubicBezTo>
                    <a:pt x="2140751" y="5333857"/>
                    <a:pt x="2140751" y="5333857"/>
                    <a:pt x="2141068" y="5331005"/>
                  </a:cubicBezTo>
                  <a:close/>
                  <a:moveTo>
                    <a:pt x="815963" y="5329421"/>
                  </a:moveTo>
                  <a:cubicBezTo>
                    <a:pt x="815963" y="5329421"/>
                    <a:pt x="815963" y="5329421"/>
                    <a:pt x="816281" y="5362377"/>
                  </a:cubicBezTo>
                  <a:cubicBezTo>
                    <a:pt x="816281" y="5362377"/>
                    <a:pt x="816281" y="5362377"/>
                    <a:pt x="817551" y="5362377"/>
                  </a:cubicBezTo>
                  <a:cubicBezTo>
                    <a:pt x="817551" y="5362377"/>
                    <a:pt x="817233" y="5362060"/>
                    <a:pt x="817233" y="5361744"/>
                  </a:cubicBezTo>
                  <a:cubicBezTo>
                    <a:pt x="817233" y="5350969"/>
                    <a:pt x="817233" y="5340195"/>
                    <a:pt x="817233" y="5329738"/>
                  </a:cubicBezTo>
                  <a:cubicBezTo>
                    <a:pt x="816916" y="5329738"/>
                    <a:pt x="816281" y="5329421"/>
                    <a:pt x="815963" y="5329421"/>
                  </a:cubicBezTo>
                  <a:close/>
                  <a:moveTo>
                    <a:pt x="1004629" y="5328153"/>
                  </a:moveTo>
                  <a:cubicBezTo>
                    <a:pt x="1004629" y="5328153"/>
                    <a:pt x="1004629" y="5328153"/>
                    <a:pt x="946822" y="5335759"/>
                  </a:cubicBezTo>
                  <a:cubicBezTo>
                    <a:pt x="947457" y="5347800"/>
                    <a:pt x="948410" y="5359525"/>
                    <a:pt x="949045" y="5369666"/>
                  </a:cubicBezTo>
                  <a:cubicBezTo>
                    <a:pt x="957621" y="5368398"/>
                    <a:pt x="967150" y="5367131"/>
                    <a:pt x="976678" y="5365863"/>
                  </a:cubicBezTo>
                  <a:cubicBezTo>
                    <a:pt x="986207" y="5364596"/>
                    <a:pt x="995735" y="5363328"/>
                    <a:pt x="1004629" y="5362060"/>
                  </a:cubicBezTo>
                  <a:cubicBezTo>
                    <a:pt x="1004629" y="5357624"/>
                    <a:pt x="1004629" y="5352554"/>
                    <a:pt x="1004629" y="5347167"/>
                  </a:cubicBezTo>
                  <a:cubicBezTo>
                    <a:pt x="1004629" y="5341146"/>
                    <a:pt x="1004629" y="5334491"/>
                    <a:pt x="1004629" y="5328153"/>
                  </a:cubicBezTo>
                  <a:close/>
                  <a:moveTo>
                    <a:pt x="778484" y="5326569"/>
                  </a:moveTo>
                  <a:cubicBezTo>
                    <a:pt x="778484" y="5326569"/>
                    <a:pt x="778484" y="5326569"/>
                    <a:pt x="778802" y="5358575"/>
                  </a:cubicBezTo>
                  <a:cubicBezTo>
                    <a:pt x="778802" y="5358575"/>
                    <a:pt x="778802" y="5358575"/>
                    <a:pt x="812152" y="5362060"/>
                  </a:cubicBezTo>
                  <a:cubicBezTo>
                    <a:pt x="812152" y="5362060"/>
                    <a:pt x="812152" y="5362060"/>
                    <a:pt x="811834" y="5329104"/>
                  </a:cubicBezTo>
                  <a:cubicBezTo>
                    <a:pt x="803576" y="5328470"/>
                    <a:pt x="791506" y="5327520"/>
                    <a:pt x="778484" y="5326569"/>
                  </a:cubicBezTo>
                  <a:close/>
                  <a:moveTo>
                    <a:pt x="1039884" y="5323400"/>
                  </a:moveTo>
                  <a:cubicBezTo>
                    <a:pt x="1039884" y="5323400"/>
                    <a:pt x="1039884" y="5323400"/>
                    <a:pt x="1009075" y="5327520"/>
                  </a:cubicBezTo>
                  <a:cubicBezTo>
                    <a:pt x="1009075" y="5334174"/>
                    <a:pt x="1009075" y="5340829"/>
                    <a:pt x="1009075" y="5347167"/>
                  </a:cubicBezTo>
                  <a:cubicBezTo>
                    <a:pt x="1009075" y="5352237"/>
                    <a:pt x="1009075" y="5356990"/>
                    <a:pt x="1009075" y="5361427"/>
                  </a:cubicBezTo>
                  <a:cubicBezTo>
                    <a:pt x="1014475" y="5360793"/>
                    <a:pt x="1019557" y="5360159"/>
                    <a:pt x="1024003" y="5359525"/>
                  </a:cubicBezTo>
                  <a:cubicBezTo>
                    <a:pt x="1030673" y="5358575"/>
                    <a:pt x="1036073" y="5357624"/>
                    <a:pt x="1039567" y="5357307"/>
                  </a:cubicBezTo>
                  <a:cubicBezTo>
                    <a:pt x="1041155" y="5356990"/>
                    <a:pt x="1042425" y="5356990"/>
                    <a:pt x="1043378" y="5356673"/>
                  </a:cubicBezTo>
                  <a:cubicBezTo>
                    <a:pt x="1043060" y="5355406"/>
                    <a:pt x="1043060" y="5353821"/>
                    <a:pt x="1042743" y="5351920"/>
                  </a:cubicBezTo>
                  <a:cubicBezTo>
                    <a:pt x="1041790" y="5343047"/>
                    <a:pt x="1040520" y="5328787"/>
                    <a:pt x="1039884" y="5323400"/>
                  </a:cubicBezTo>
                  <a:close/>
                  <a:moveTo>
                    <a:pt x="708608" y="5321499"/>
                  </a:moveTo>
                  <a:lnTo>
                    <a:pt x="699079" y="5438747"/>
                  </a:lnTo>
                  <a:cubicBezTo>
                    <a:pt x="699079" y="5438747"/>
                    <a:pt x="699079" y="5438747"/>
                    <a:pt x="774990" y="5451106"/>
                  </a:cubicBezTo>
                  <a:cubicBezTo>
                    <a:pt x="774990" y="5451106"/>
                    <a:pt x="774990" y="5451106"/>
                    <a:pt x="774673" y="5401038"/>
                  </a:cubicBezTo>
                  <a:cubicBezTo>
                    <a:pt x="774673" y="5401038"/>
                    <a:pt x="774673" y="5401038"/>
                    <a:pt x="703526" y="5396601"/>
                  </a:cubicBezTo>
                  <a:cubicBezTo>
                    <a:pt x="703526" y="5396601"/>
                    <a:pt x="703526" y="5396601"/>
                    <a:pt x="703844" y="5392165"/>
                  </a:cubicBezTo>
                  <a:cubicBezTo>
                    <a:pt x="703844" y="5392165"/>
                    <a:pt x="703844" y="5392165"/>
                    <a:pt x="774673" y="5396601"/>
                  </a:cubicBezTo>
                  <a:cubicBezTo>
                    <a:pt x="774673" y="5396601"/>
                    <a:pt x="774673" y="5396601"/>
                    <a:pt x="774673" y="5362377"/>
                  </a:cubicBezTo>
                  <a:cubicBezTo>
                    <a:pt x="774673" y="5362377"/>
                    <a:pt x="774673" y="5362377"/>
                    <a:pt x="706067" y="5355406"/>
                  </a:cubicBezTo>
                  <a:cubicBezTo>
                    <a:pt x="706067" y="5355406"/>
                    <a:pt x="706067" y="5355406"/>
                    <a:pt x="706385" y="5350969"/>
                  </a:cubicBezTo>
                  <a:cubicBezTo>
                    <a:pt x="706385" y="5350969"/>
                    <a:pt x="706385" y="5350969"/>
                    <a:pt x="774673" y="5357941"/>
                  </a:cubicBezTo>
                  <a:cubicBezTo>
                    <a:pt x="774673" y="5357941"/>
                    <a:pt x="774673" y="5357941"/>
                    <a:pt x="774355" y="5326252"/>
                  </a:cubicBezTo>
                  <a:cubicBezTo>
                    <a:pt x="745134" y="5324034"/>
                    <a:pt x="713055" y="5321499"/>
                    <a:pt x="708608" y="5321499"/>
                  </a:cubicBezTo>
                  <a:close/>
                  <a:moveTo>
                    <a:pt x="359545" y="5314210"/>
                  </a:moveTo>
                  <a:lnTo>
                    <a:pt x="324607" y="5318647"/>
                  </a:lnTo>
                  <a:cubicBezTo>
                    <a:pt x="324607" y="5318647"/>
                    <a:pt x="324607" y="5318647"/>
                    <a:pt x="329053" y="5353821"/>
                  </a:cubicBezTo>
                  <a:cubicBezTo>
                    <a:pt x="329053" y="5353821"/>
                    <a:pt x="329053" y="5353821"/>
                    <a:pt x="364309" y="5349385"/>
                  </a:cubicBezTo>
                  <a:cubicBezTo>
                    <a:pt x="364309" y="5349385"/>
                    <a:pt x="364309" y="5349385"/>
                    <a:pt x="359545" y="5314210"/>
                  </a:cubicBezTo>
                  <a:close/>
                  <a:moveTo>
                    <a:pt x="811516" y="5312943"/>
                  </a:moveTo>
                  <a:cubicBezTo>
                    <a:pt x="811516" y="5312943"/>
                    <a:pt x="811516" y="5312943"/>
                    <a:pt x="778484" y="5313577"/>
                  </a:cubicBezTo>
                  <a:cubicBezTo>
                    <a:pt x="778484" y="5313577"/>
                    <a:pt x="778484" y="5313577"/>
                    <a:pt x="778484" y="5322133"/>
                  </a:cubicBezTo>
                  <a:cubicBezTo>
                    <a:pt x="791506" y="5323400"/>
                    <a:pt x="803576" y="5324034"/>
                    <a:pt x="811834" y="5324668"/>
                  </a:cubicBezTo>
                  <a:cubicBezTo>
                    <a:pt x="811834" y="5324668"/>
                    <a:pt x="811834" y="5324668"/>
                    <a:pt x="811516" y="5312943"/>
                  </a:cubicBezTo>
                  <a:close/>
                  <a:moveTo>
                    <a:pt x="363356" y="5309774"/>
                  </a:moveTo>
                  <a:cubicBezTo>
                    <a:pt x="363356" y="5309774"/>
                    <a:pt x="363356" y="5309774"/>
                    <a:pt x="368756" y="5352871"/>
                  </a:cubicBezTo>
                  <a:lnTo>
                    <a:pt x="325242" y="5358575"/>
                  </a:lnTo>
                  <a:cubicBezTo>
                    <a:pt x="325242" y="5358575"/>
                    <a:pt x="325242" y="5358575"/>
                    <a:pt x="319842" y="5315161"/>
                  </a:cubicBezTo>
                  <a:cubicBezTo>
                    <a:pt x="319842" y="5315161"/>
                    <a:pt x="319842" y="5315161"/>
                    <a:pt x="321748" y="5314844"/>
                  </a:cubicBezTo>
                  <a:cubicBezTo>
                    <a:pt x="321748" y="5314844"/>
                    <a:pt x="321748" y="5314844"/>
                    <a:pt x="363356" y="5309774"/>
                  </a:cubicBezTo>
                  <a:close/>
                  <a:moveTo>
                    <a:pt x="1965425" y="5304070"/>
                  </a:moveTo>
                  <a:cubicBezTo>
                    <a:pt x="1965425" y="5304070"/>
                    <a:pt x="1965425" y="5304070"/>
                    <a:pt x="1955897" y="5316745"/>
                  </a:cubicBezTo>
                  <a:cubicBezTo>
                    <a:pt x="1955897" y="5316745"/>
                    <a:pt x="1955897" y="5316745"/>
                    <a:pt x="1987659" y="5340512"/>
                  </a:cubicBezTo>
                  <a:lnTo>
                    <a:pt x="1997187" y="5327837"/>
                  </a:lnTo>
                  <a:cubicBezTo>
                    <a:pt x="1997187" y="5327837"/>
                    <a:pt x="1997187" y="5327837"/>
                    <a:pt x="1965425" y="5304070"/>
                  </a:cubicBezTo>
                  <a:close/>
                  <a:moveTo>
                    <a:pt x="1964472" y="5298366"/>
                  </a:moveTo>
                  <a:lnTo>
                    <a:pt x="1966061" y="5299634"/>
                  </a:lnTo>
                  <a:cubicBezTo>
                    <a:pt x="1966061" y="5299634"/>
                    <a:pt x="1966061" y="5299634"/>
                    <a:pt x="2002904" y="5327203"/>
                  </a:cubicBezTo>
                  <a:cubicBezTo>
                    <a:pt x="2002904" y="5327203"/>
                    <a:pt x="2002904" y="5327203"/>
                    <a:pt x="1988612" y="5346216"/>
                  </a:cubicBezTo>
                  <a:cubicBezTo>
                    <a:pt x="1988612" y="5346216"/>
                    <a:pt x="1988612" y="5346216"/>
                    <a:pt x="1950180" y="5317379"/>
                  </a:cubicBezTo>
                  <a:cubicBezTo>
                    <a:pt x="1950180" y="5317379"/>
                    <a:pt x="1950180" y="5317379"/>
                    <a:pt x="1964472" y="5298366"/>
                  </a:cubicBezTo>
                  <a:close/>
                  <a:moveTo>
                    <a:pt x="3660557" y="5295514"/>
                  </a:moveTo>
                  <a:cubicBezTo>
                    <a:pt x="3660557" y="5295514"/>
                    <a:pt x="3660557" y="5295514"/>
                    <a:pt x="3633560" y="5326252"/>
                  </a:cubicBezTo>
                  <a:cubicBezTo>
                    <a:pt x="3633560" y="5326252"/>
                    <a:pt x="3633560" y="5326252"/>
                    <a:pt x="3653887" y="5343998"/>
                  </a:cubicBezTo>
                  <a:cubicBezTo>
                    <a:pt x="3653887" y="5343998"/>
                    <a:pt x="3653887" y="5343998"/>
                    <a:pt x="3680885" y="5313260"/>
                  </a:cubicBezTo>
                  <a:close/>
                  <a:moveTo>
                    <a:pt x="308726" y="5293930"/>
                  </a:moveTo>
                  <a:cubicBezTo>
                    <a:pt x="307455" y="5299634"/>
                    <a:pt x="302691" y="5313577"/>
                    <a:pt x="298244" y="5327520"/>
                  </a:cubicBezTo>
                  <a:cubicBezTo>
                    <a:pt x="293798" y="5340829"/>
                    <a:pt x="289351" y="5353188"/>
                    <a:pt x="287763" y="5357307"/>
                  </a:cubicBezTo>
                  <a:cubicBezTo>
                    <a:pt x="287763" y="5357307"/>
                    <a:pt x="287763" y="5357307"/>
                    <a:pt x="329689" y="5390580"/>
                  </a:cubicBezTo>
                  <a:cubicBezTo>
                    <a:pt x="334770" y="5387411"/>
                    <a:pt x="353510" y="5374419"/>
                    <a:pt x="372567" y="5361110"/>
                  </a:cubicBezTo>
                  <a:cubicBezTo>
                    <a:pt x="383366" y="5353188"/>
                    <a:pt x="394483" y="5345582"/>
                    <a:pt x="402741" y="5339561"/>
                  </a:cubicBezTo>
                  <a:cubicBezTo>
                    <a:pt x="406870" y="5336709"/>
                    <a:pt x="410364" y="5334174"/>
                    <a:pt x="412587" y="5332273"/>
                  </a:cubicBezTo>
                  <a:cubicBezTo>
                    <a:pt x="413222" y="5331956"/>
                    <a:pt x="413540" y="5331639"/>
                    <a:pt x="413858" y="5331322"/>
                  </a:cubicBezTo>
                  <a:cubicBezTo>
                    <a:pt x="409411" y="5324668"/>
                    <a:pt x="406870" y="5318013"/>
                    <a:pt x="406870" y="5311675"/>
                  </a:cubicBezTo>
                  <a:cubicBezTo>
                    <a:pt x="406870" y="5308823"/>
                    <a:pt x="407505" y="5306288"/>
                    <a:pt x="408140" y="5303753"/>
                  </a:cubicBezTo>
                  <a:close/>
                  <a:moveTo>
                    <a:pt x="710831" y="5292662"/>
                  </a:moveTo>
                  <a:cubicBezTo>
                    <a:pt x="710831" y="5292662"/>
                    <a:pt x="710831" y="5292662"/>
                    <a:pt x="708925" y="5317062"/>
                  </a:cubicBezTo>
                  <a:cubicBezTo>
                    <a:pt x="714643" y="5317379"/>
                    <a:pt x="745769" y="5319597"/>
                    <a:pt x="774355" y="5321816"/>
                  </a:cubicBezTo>
                  <a:cubicBezTo>
                    <a:pt x="774355" y="5321816"/>
                    <a:pt x="774355" y="5321816"/>
                    <a:pt x="774355" y="5309457"/>
                  </a:cubicBezTo>
                  <a:lnTo>
                    <a:pt x="815645" y="5308823"/>
                  </a:lnTo>
                  <a:cubicBezTo>
                    <a:pt x="815645" y="5308823"/>
                    <a:pt x="815645" y="5308823"/>
                    <a:pt x="815963" y="5310725"/>
                  </a:cubicBezTo>
                  <a:cubicBezTo>
                    <a:pt x="815963" y="5310725"/>
                    <a:pt x="815963" y="5310725"/>
                    <a:pt x="815963" y="5324985"/>
                  </a:cubicBezTo>
                  <a:cubicBezTo>
                    <a:pt x="816281" y="5324985"/>
                    <a:pt x="816916" y="5325301"/>
                    <a:pt x="817233" y="5325301"/>
                  </a:cubicBezTo>
                  <a:cubicBezTo>
                    <a:pt x="817233" y="5318330"/>
                    <a:pt x="816916" y="5311992"/>
                    <a:pt x="816916" y="5305021"/>
                  </a:cubicBezTo>
                  <a:cubicBezTo>
                    <a:pt x="808340" y="5305021"/>
                    <a:pt x="795000" y="5304704"/>
                    <a:pt x="780390" y="5303753"/>
                  </a:cubicBezTo>
                  <a:cubicBezTo>
                    <a:pt x="755615" y="5301852"/>
                    <a:pt x="728618" y="5299317"/>
                    <a:pt x="710831" y="5292662"/>
                  </a:cubicBezTo>
                  <a:close/>
                  <a:moveTo>
                    <a:pt x="3660240" y="5289810"/>
                  </a:moveTo>
                  <a:cubicBezTo>
                    <a:pt x="3660240" y="5289810"/>
                    <a:pt x="3660240" y="5289810"/>
                    <a:pt x="3686920" y="5312943"/>
                  </a:cubicBezTo>
                  <a:cubicBezTo>
                    <a:pt x="3686920" y="5312943"/>
                    <a:pt x="3686920" y="5312943"/>
                    <a:pt x="3654205" y="5349702"/>
                  </a:cubicBezTo>
                  <a:cubicBezTo>
                    <a:pt x="3654205" y="5349702"/>
                    <a:pt x="3654205" y="5349702"/>
                    <a:pt x="3627842" y="5326569"/>
                  </a:cubicBezTo>
                  <a:cubicBezTo>
                    <a:pt x="3627842" y="5326569"/>
                    <a:pt x="3627842" y="5326569"/>
                    <a:pt x="3629113" y="5324985"/>
                  </a:cubicBezTo>
                  <a:close/>
                  <a:moveTo>
                    <a:pt x="938881" y="5287592"/>
                  </a:moveTo>
                  <a:cubicBezTo>
                    <a:pt x="896638" y="5292345"/>
                    <a:pt x="856301" y="5296782"/>
                    <a:pt x="837879" y="5298683"/>
                  </a:cubicBezTo>
                  <a:cubicBezTo>
                    <a:pt x="837879" y="5319597"/>
                    <a:pt x="837879" y="5340512"/>
                    <a:pt x="838196" y="5361427"/>
                  </a:cubicBezTo>
                  <a:cubicBezTo>
                    <a:pt x="838514" y="5377588"/>
                    <a:pt x="838514" y="5393432"/>
                    <a:pt x="838832" y="5409277"/>
                  </a:cubicBezTo>
                  <a:lnTo>
                    <a:pt x="945869" y="5390897"/>
                  </a:lnTo>
                  <a:cubicBezTo>
                    <a:pt x="945551" y="5387095"/>
                    <a:pt x="945234" y="5381391"/>
                    <a:pt x="944916" y="5374419"/>
                  </a:cubicBezTo>
                  <a:cubicBezTo>
                    <a:pt x="923953" y="5377271"/>
                    <a:pt x="908390" y="5379489"/>
                    <a:pt x="908390" y="5379489"/>
                  </a:cubicBezTo>
                  <a:cubicBezTo>
                    <a:pt x="908390" y="5379489"/>
                    <a:pt x="908390" y="5379489"/>
                    <a:pt x="906484" y="5379806"/>
                  </a:cubicBezTo>
                  <a:cubicBezTo>
                    <a:pt x="906484" y="5379806"/>
                    <a:pt x="906484" y="5379806"/>
                    <a:pt x="900132" y="5337660"/>
                  </a:cubicBezTo>
                  <a:cubicBezTo>
                    <a:pt x="900132" y="5337660"/>
                    <a:pt x="900132" y="5337660"/>
                    <a:pt x="942058" y="5332273"/>
                  </a:cubicBezTo>
                  <a:cubicBezTo>
                    <a:pt x="941422" y="5319597"/>
                    <a:pt x="940470" y="5307239"/>
                    <a:pt x="939834" y="5297415"/>
                  </a:cubicBezTo>
                  <a:cubicBezTo>
                    <a:pt x="939517" y="5293613"/>
                    <a:pt x="939199" y="5290444"/>
                    <a:pt x="938881" y="5287592"/>
                  </a:cubicBezTo>
                  <a:close/>
                  <a:moveTo>
                    <a:pt x="1975589" y="5287275"/>
                  </a:moveTo>
                  <a:cubicBezTo>
                    <a:pt x="1957802" y="5298683"/>
                    <a:pt x="1937475" y="5300901"/>
                    <a:pt x="1924135" y="5300901"/>
                  </a:cubicBezTo>
                  <a:cubicBezTo>
                    <a:pt x="1923500" y="5300901"/>
                    <a:pt x="1922864" y="5300901"/>
                    <a:pt x="1922229" y="5300901"/>
                  </a:cubicBezTo>
                  <a:cubicBezTo>
                    <a:pt x="1922547" y="5313893"/>
                    <a:pt x="1922864" y="5333224"/>
                    <a:pt x="1922864" y="5355406"/>
                  </a:cubicBezTo>
                  <a:cubicBezTo>
                    <a:pt x="1922864" y="5368715"/>
                    <a:pt x="1922864" y="5382658"/>
                    <a:pt x="1922547" y="5396918"/>
                  </a:cubicBezTo>
                  <a:cubicBezTo>
                    <a:pt x="1922547" y="5396918"/>
                    <a:pt x="1922547" y="5396918"/>
                    <a:pt x="1982259" y="5400404"/>
                  </a:cubicBezTo>
                  <a:cubicBezTo>
                    <a:pt x="1985118" y="5398503"/>
                    <a:pt x="1999093" y="5390263"/>
                    <a:pt x="2000681" y="5389630"/>
                  </a:cubicBezTo>
                  <a:cubicBezTo>
                    <a:pt x="2000999" y="5389313"/>
                    <a:pt x="2001634" y="5389313"/>
                    <a:pt x="2001634" y="5389313"/>
                  </a:cubicBezTo>
                  <a:cubicBezTo>
                    <a:pt x="2004492" y="5389313"/>
                    <a:pt x="2018468" y="5393115"/>
                    <a:pt x="2033396" y="5396918"/>
                  </a:cubicBezTo>
                  <a:cubicBezTo>
                    <a:pt x="2048006" y="5400404"/>
                    <a:pt x="2063570" y="5404207"/>
                    <a:pt x="2065158" y="5404207"/>
                  </a:cubicBezTo>
                  <a:lnTo>
                    <a:pt x="2065158" y="5405318"/>
                  </a:lnTo>
                  <a:lnTo>
                    <a:pt x="2064840" y="5404207"/>
                  </a:lnTo>
                  <a:cubicBezTo>
                    <a:pt x="2065158" y="5405474"/>
                    <a:pt x="2065158" y="5405474"/>
                    <a:pt x="2065158" y="5405474"/>
                  </a:cubicBezTo>
                  <a:lnTo>
                    <a:pt x="2065158" y="5405318"/>
                  </a:lnTo>
                  <a:lnTo>
                    <a:pt x="2065475" y="5406425"/>
                  </a:lnTo>
                  <a:cubicBezTo>
                    <a:pt x="2066428" y="5400087"/>
                    <a:pt x="2067699" y="5394383"/>
                    <a:pt x="2068652" y="5388996"/>
                  </a:cubicBezTo>
                  <a:cubicBezTo>
                    <a:pt x="2069604" y="5383926"/>
                    <a:pt x="2070557" y="5379489"/>
                    <a:pt x="2071192" y="5376320"/>
                  </a:cubicBezTo>
                  <a:cubicBezTo>
                    <a:pt x="2071510" y="5375053"/>
                    <a:pt x="2071828" y="5373785"/>
                    <a:pt x="2071828" y="5372835"/>
                  </a:cubicBezTo>
                  <a:cubicBezTo>
                    <a:pt x="2071828" y="5372835"/>
                    <a:pt x="2071828" y="5372835"/>
                    <a:pt x="2071828" y="5372518"/>
                  </a:cubicBezTo>
                  <a:cubicBezTo>
                    <a:pt x="2071828" y="5372518"/>
                    <a:pt x="2071828" y="5372518"/>
                    <a:pt x="1975589" y="5287275"/>
                  </a:cubicBezTo>
                  <a:close/>
                  <a:moveTo>
                    <a:pt x="2007986" y="5284423"/>
                  </a:moveTo>
                  <a:cubicBezTo>
                    <a:pt x="2007986" y="5284423"/>
                    <a:pt x="2007986" y="5284423"/>
                    <a:pt x="1998458" y="5297098"/>
                  </a:cubicBezTo>
                  <a:lnTo>
                    <a:pt x="2030537" y="5320865"/>
                  </a:lnTo>
                  <a:cubicBezTo>
                    <a:pt x="2030537" y="5320865"/>
                    <a:pt x="2030537" y="5320865"/>
                    <a:pt x="2039748" y="5308190"/>
                  </a:cubicBezTo>
                  <a:cubicBezTo>
                    <a:pt x="2039748" y="5308190"/>
                    <a:pt x="2039748" y="5308190"/>
                    <a:pt x="2007986" y="5284423"/>
                  </a:cubicBezTo>
                  <a:close/>
                  <a:moveTo>
                    <a:pt x="1003993" y="5279986"/>
                  </a:moveTo>
                  <a:cubicBezTo>
                    <a:pt x="984936" y="5282205"/>
                    <a:pt x="963973" y="5284740"/>
                    <a:pt x="943328" y="5286958"/>
                  </a:cubicBezTo>
                  <a:cubicBezTo>
                    <a:pt x="944281" y="5296782"/>
                    <a:pt x="945551" y="5313577"/>
                    <a:pt x="946504" y="5331639"/>
                  </a:cubicBezTo>
                  <a:cubicBezTo>
                    <a:pt x="946504" y="5331639"/>
                    <a:pt x="946504" y="5331639"/>
                    <a:pt x="1004629" y="5324034"/>
                  </a:cubicBezTo>
                  <a:cubicBezTo>
                    <a:pt x="1004629" y="5315161"/>
                    <a:pt x="1004629" y="5306605"/>
                    <a:pt x="1004311" y="5299317"/>
                  </a:cubicBezTo>
                  <a:cubicBezTo>
                    <a:pt x="1004311" y="5292345"/>
                    <a:pt x="1004311" y="5286324"/>
                    <a:pt x="1003993" y="5281888"/>
                  </a:cubicBezTo>
                  <a:cubicBezTo>
                    <a:pt x="1003993" y="5281254"/>
                    <a:pt x="1003993" y="5280620"/>
                    <a:pt x="1003993" y="5279986"/>
                  </a:cubicBezTo>
                  <a:close/>
                  <a:moveTo>
                    <a:pt x="68924" y="5276501"/>
                  </a:moveTo>
                  <a:cubicBezTo>
                    <a:pt x="68924" y="5276501"/>
                    <a:pt x="68924" y="5276501"/>
                    <a:pt x="48914" y="5302486"/>
                  </a:cubicBezTo>
                  <a:cubicBezTo>
                    <a:pt x="48914" y="5302486"/>
                    <a:pt x="48914" y="5302486"/>
                    <a:pt x="70194" y="5319281"/>
                  </a:cubicBezTo>
                  <a:cubicBezTo>
                    <a:pt x="70194" y="5319281"/>
                    <a:pt x="70194" y="5319281"/>
                    <a:pt x="81946" y="5304387"/>
                  </a:cubicBezTo>
                  <a:cubicBezTo>
                    <a:pt x="81946" y="5304387"/>
                    <a:pt x="81946" y="5304387"/>
                    <a:pt x="70512" y="5294880"/>
                  </a:cubicBezTo>
                  <a:cubicBezTo>
                    <a:pt x="70512" y="5294880"/>
                    <a:pt x="70512" y="5294880"/>
                    <a:pt x="78770" y="5284423"/>
                  </a:cubicBezTo>
                  <a:close/>
                  <a:moveTo>
                    <a:pt x="3466810" y="5274599"/>
                  </a:moveTo>
                  <a:cubicBezTo>
                    <a:pt x="3466810" y="5274599"/>
                    <a:pt x="3466810" y="5274599"/>
                    <a:pt x="3434095" y="5299317"/>
                  </a:cubicBezTo>
                  <a:cubicBezTo>
                    <a:pt x="3434095" y="5299317"/>
                    <a:pt x="3434095" y="5299317"/>
                    <a:pt x="3450294" y="5320865"/>
                  </a:cubicBezTo>
                  <a:lnTo>
                    <a:pt x="3483008" y="5296148"/>
                  </a:lnTo>
                  <a:cubicBezTo>
                    <a:pt x="3483008" y="5296148"/>
                    <a:pt x="3483008" y="5296148"/>
                    <a:pt x="3466810" y="5274599"/>
                  </a:cubicBezTo>
                  <a:close/>
                  <a:moveTo>
                    <a:pt x="1062435" y="5271747"/>
                  </a:moveTo>
                  <a:cubicBezTo>
                    <a:pt x="1051954" y="5273649"/>
                    <a:pt x="1032261" y="5276501"/>
                    <a:pt x="1008440" y="5279353"/>
                  </a:cubicBezTo>
                  <a:cubicBezTo>
                    <a:pt x="1008758" y="5287592"/>
                    <a:pt x="1009075" y="5305021"/>
                    <a:pt x="1009075" y="5323400"/>
                  </a:cubicBezTo>
                  <a:cubicBezTo>
                    <a:pt x="1009075" y="5323400"/>
                    <a:pt x="1009075" y="5323400"/>
                    <a:pt x="1043696" y="5318647"/>
                  </a:cubicBezTo>
                  <a:cubicBezTo>
                    <a:pt x="1043696" y="5318647"/>
                    <a:pt x="1043696" y="5318647"/>
                    <a:pt x="1044013" y="5320865"/>
                  </a:cubicBezTo>
                  <a:cubicBezTo>
                    <a:pt x="1044013" y="5320865"/>
                    <a:pt x="1044649" y="5330372"/>
                    <a:pt x="1045601" y="5339561"/>
                  </a:cubicBezTo>
                  <a:cubicBezTo>
                    <a:pt x="1045919" y="5344315"/>
                    <a:pt x="1046554" y="5348751"/>
                    <a:pt x="1046872" y="5352237"/>
                  </a:cubicBezTo>
                  <a:cubicBezTo>
                    <a:pt x="1047190" y="5354138"/>
                    <a:pt x="1047190" y="5355406"/>
                    <a:pt x="1047507" y="5356356"/>
                  </a:cubicBezTo>
                  <a:cubicBezTo>
                    <a:pt x="1047507" y="5356673"/>
                    <a:pt x="1047507" y="5356990"/>
                    <a:pt x="1047507" y="5357307"/>
                  </a:cubicBezTo>
                  <a:cubicBezTo>
                    <a:pt x="1047825" y="5357307"/>
                    <a:pt x="1047825" y="5357307"/>
                    <a:pt x="1047825" y="5357307"/>
                  </a:cubicBezTo>
                  <a:cubicBezTo>
                    <a:pt x="1048142" y="5357941"/>
                    <a:pt x="1048142" y="5358575"/>
                    <a:pt x="1047825" y="5358892"/>
                  </a:cubicBezTo>
                  <a:cubicBezTo>
                    <a:pt x="1048142" y="5358892"/>
                    <a:pt x="1047825" y="5359208"/>
                    <a:pt x="1047825" y="5359525"/>
                  </a:cubicBezTo>
                  <a:cubicBezTo>
                    <a:pt x="1047507" y="5359842"/>
                    <a:pt x="1047507" y="5359842"/>
                    <a:pt x="1047190" y="5360159"/>
                  </a:cubicBezTo>
                  <a:cubicBezTo>
                    <a:pt x="1047190" y="5360159"/>
                    <a:pt x="1046872" y="5360159"/>
                    <a:pt x="1046554" y="5360476"/>
                  </a:cubicBezTo>
                  <a:cubicBezTo>
                    <a:pt x="1046554" y="5360476"/>
                    <a:pt x="1046554" y="5360476"/>
                    <a:pt x="1046237" y="5360476"/>
                  </a:cubicBezTo>
                  <a:cubicBezTo>
                    <a:pt x="1044013" y="5360793"/>
                    <a:pt x="1028768" y="5363011"/>
                    <a:pt x="1009075" y="5365546"/>
                  </a:cubicBezTo>
                  <a:cubicBezTo>
                    <a:pt x="1009075" y="5371567"/>
                    <a:pt x="1009075" y="5376320"/>
                    <a:pt x="1009075" y="5380123"/>
                  </a:cubicBezTo>
                  <a:cubicBezTo>
                    <a:pt x="1009075" y="5380123"/>
                    <a:pt x="1009075" y="5380123"/>
                    <a:pt x="1076728" y="5368398"/>
                  </a:cubicBezTo>
                  <a:cubicBezTo>
                    <a:pt x="1075775" y="5362060"/>
                    <a:pt x="1072599" y="5340512"/>
                    <a:pt x="1069423" y="5318647"/>
                  </a:cubicBezTo>
                  <a:cubicBezTo>
                    <a:pt x="1067517" y="5305654"/>
                    <a:pt x="1065294" y="5292345"/>
                    <a:pt x="1064023" y="5282205"/>
                  </a:cubicBezTo>
                  <a:cubicBezTo>
                    <a:pt x="1063388" y="5278402"/>
                    <a:pt x="1062753" y="5274599"/>
                    <a:pt x="1062435" y="5271747"/>
                  </a:cubicBezTo>
                  <a:close/>
                  <a:moveTo>
                    <a:pt x="3467762" y="5268895"/>
                  </a:moveTo>
                  <a:cubicBezTo>
                    <a:pt x="3467762" y="5268895"/>
                    <a:pt x="3467762" y="5268895"/>
                    <a:pt x="3488725" y="5297098"/>
                  </a:cubicBezTo>
                  <a:cubicBezTo>
                    <a:pt x="3488725" y="5297098"/>
                    <a:pt x="3488725" y="5297098"/>
                    <a:pt x="3449340" y="5326569"/>
                  </a:cubicBezTo>
                  <a:cubicBezTo>
                    <a:pt x="3449340" y="5326569"/>
                    <a:pt x="3449340" y="5326569"/>
                    <a:pt x="3428378" y="5298366"/>
                  </a:cubicBezTo>
                  <a:cubicBezTo>
                    <a:pt x="3428378" y="5298366"/>
                    <a:pt x="3428378" y="5298366"/>
                    <a:pt x="3429966" y="5297098"/>
                  </a:cubicBezTo>
                  <a:close/>
                  <a:moveTo>
                    <a:pt x="480875" y="5268262"/>
                  </a:moveTo>
                  <a:cubicBezTo>
                    <a:pt x="480875" y="5268262"/>
                    <a:pt x="480875" y="5268262"/>
                    <a:pt x="462453" y="5291078"/>
                  </a:cubicBezTo>
                  <a:cubicBezTo>
                    <a:pt x="462453" y="5291078"/>
                    <a:pt x="462453" y="5291078"/>
                    <a:pt x="489133" y="5312626"/>
                  </a:cubicBezTo>
                  <a:cubicBezTo>
                    <a:pt x="489133" y="5312626"/>
                    <a:pt x="489133" y="5312626"/>
                    <a:pt x="506602" y="5290444"/>
                  </a:cubicBezTo>
                  <a:cubicBezTo>
                    <a:pt x="499615" y="5284423"/>
                    <a:pt x="492945" y="5278719"/>
                    <a:pt x="486910" y="5273649"/>
                  </a:cubicBezTo>
                  <a:cubicBezTo>
                    <a:pt x="484687" y="5271431"/>
                    <a:pt x="482781" y="5269846"/>
                    <a:pt x="480875" y="5268262"/>
                  </a:cubicBezTo>
                  <a:close/>
                  <a:moveTo>
                    <a:pt x="56536" y="5266360"/>
                  </a:moveTo>
                  <a:cubicBezTo>
                    <a:pt x="56536" y="5266360"/>
                    <a:pt x="56536" y="5266360"/>
                    <a:pt x="47961" y="5277134"/>
                  </a:cubicBezTo>
                  <a:cubicBezTo>
                    <a:pt x="47961" y="5277134"/>
                    <a:pt x="47961" y="5277134"/>
                    <a:pt x="36209" y="5267945"/>
                  </a:cubicBezTo>
                  <a:cubicBezTo>
                    <a:pt x="36209" y="5267945"/>
                    <a:pt x="36209" y="5267945"/>
                    <a:pt x="24457" y="5282838"/>
                  </a:cubicBezTo>
                  <a:cubicBezTo>
                    <a:pt x="24457" y="5282838"/>
                    <a:pt x="24457" y="5282838"/>
                    <a:pt x="45420" y="5299634"/>
                  </a:cubicBezTo>
                  <a:lnTo>
                    <a:pt x="65430" y="5273649"/>
                  </a:lnTo>
                  <a:cubicBezTo>
                    <a:pt x="65430" y="5273649"/>
                    <a:pt x="65430" y="5273649"/>
                    <a:pt x="56536" y="5266360"/>
                  </a:cubicBezTo>
                  <a:close/>
                  <a:moveTo>
                    <a:pt x="1995599" y="5265727"/>
                  </a:moveTo>
                  <a:cubicBezTo>
                    <a:pt x="1993058" y="5270797"/>
                    <a:pt x="1989564" y="5275550"/>
                    <a:pt x="1985435" y="5279353"/>
                  </a:cubicBezTo>
                  <a:cubicBezTo>
                    <a:pt x="1983530" y="5281254"/>
                    <a:pt x="1981306" y="5282838"/>
                    <a:pt x="1979401" y="5284423"/>
                  </a:cubicBezTo>
                  <a:cubicBezTo>
                    <a:pt x="1979401" y="5284423"/>
                    <a:pt x="1979401" y="5284423"/>
                    <a:pt x="1993376" y="5297098"/>
                  </a:cubicBezTo>
                  <a:cubicBezTo>
                    <a:pt x="1993376" y="5297098"/>
                    <a:pt x="1993376" y="5297098"/>
                    <a:pt x="2007351" y="5278719"/>
                  </a:cubicBezTo>
                  <a:cubicBezTo>
                    <a:pt x="2007351" y="5278719"/>
                    <a:pt x="2007351" y="5278719"/>
                    <a:pt x="2008939" y="5279986"/>
                  </a:cubicBezTo>
                  <a:cubicBezTo>
                    <a:pt x="2008939" y="5279986"/>
                    <a:pt x="2008939" y="5279986"/>
                    <a:pt x="2045783" y="5307556"/>
                  </a:cubicBezTo>
                  <a:cubicBezTo>
                    <a:pt x="2045783" y="5307556"/>
                    <a:pt x="2045783" y="5307556"/>
                    <a:pt x="2031172" y="5326569"/>
                  </a:cubicBezTo>
                  <a:lnTo>
                    <a:pt x="2002269" y="5305021"/>
                  </a:lnTo>
                  <a:cubicBezTo>
                    <a:pt x="2002269" y="5305021"/>
                    <a:pt x="2002269" y="5305021"/>
                    <a:pt x="2074686" y="5369349"/>
                  </a:cubicBezTo>
                  <a:cubicBezTo>
                    <a:pt x="2078815" y="5366497"/>
                    <a:pt x="2093108" y="5357307"/>
                    <a:pt x="2107083" y="5348117"/>
                  </a:cubicBezTo>
                  <a:cubicBezTo>
                    <a:pt x="2120741" y="5338928"/>
                    <a:pt x="2134398" y="5330055"/>
                    <a:pt x="2138528" y="5327520"/>
                  </a:cubicBezTo>
                  <a:cubicBezTo>
                    <a:pt x="2138528" y="5327520"/>
                    <a:pt x="2138528" y="5327520"/>
                    <a:pt x="2134398" y="5297415"/>
                  </a:cubicBezTo>
                  <a:cubicBezTo>
                    <a:pt x="2134398" y="5297415"/>
                    <a:pt x="2134398" y="5297415"/>
                    <a:pt x="1995599" y="5265727"/>
                  </a:cubicBezTo>
                  <a:close/>
                  <a:moveTo>
                    <a:pt x="3306094" y="5262241"/>
                  </a:moveTo>
                  <a:cubicBezTo>
                    <a:pt x="3306094" y="5262241"/>
                    <a:pt x="3306094" y="5262241"/>
                    <a:pt x="3306412" y="5289176"/>
                  </a:cubicBezTo>
                  <a:lnTo>
                    <a:pt x="3347385" y="5288859"/>
                  </a:lnTo>
                  <a:cubicBezTo>
                    <a:pt x="3347385" y="5288859"/>
                    <a:pt x="3347385" y="5288859"/>
                    <a:pt x="3347067" y="5262241"/>
                  </a:cubicBezTo>
                  <a:cubicBezTo>
                    <a:pt x="3347067" y="5262241"/>
                    <a:pt x="3347067" y="5262241"/>
                    <a:pt x="3306094" y="5262241"/>
                  </a:cubicBezTo>
                  <a:close/>
                  <a:moveTo>
                    <a:pt x="661283" y="5258755"/>
                  </a:moveTo>
                  <a:cubicBezTo>
                    <a:pt x="657471" y="5270797"/>
                    <a:pt x="649848" y="5295514"/>
                    <a:pt x="642543" y="5319597"/>
                  </a:cubicBezTo>
                  <a:cubicBezTo>
                    <a:pt x="637461" y="5335759"/>
                    <a:pt x="632697" y="5351920"/>
                    <a:pt x="628886" y="5363962"/>
                  </a:cubicBezTo>
                  <a:cubicBezTo>
                    <a:pt x="626980" y="5369983"/>
                    <a:pt x="625392" y="5375053"/>
                    <a:pt x="624121" y="5378539"/>
                  </a:cubicBezTo>
                  <a:cubicBezTo>
                    <a:pt x="623486" y="5380123"/>
                    <a:pt x="622851" y="5381707"/>
                    <a:pt x="622533" y="5382658"/>
                  </a:cubicBezTo>
                  <a:cubicBezTo>
                    <a:pt x="622216" y="5382975"/>
                    <a:pt x="622216" y="5383609"/>
                    <a:pt x="621898" y="5383926"/>
                  </a:cubicBezTo>
                  <a:cubicBezTo>
                    <a:pt x="621898" y="5383926"/>
                    <a:pt x="621898" y="5384243"/>
                    <a:pt x="621580" y="5384243"/>
                  </a:cubicBezTo>
                  <a:cubicBezTo>
                    <a:pt x="621580" y="5384559"/>
                    <a:pt x="621580" y="5384876"/>
                    <a:pt x="620627" y="5385193"/>
                  </a:cubicBezTo>
                  <a:cubicBezTo>
                    <a:pt x="620627" y="5385193"/>
                    <a:pt x="620627" y="5385193"/>
                    <a:pt x="619992" y="5385510"/>
                  </a:cubicBezTo>
                  <a:cubicBezTo>
                    <a:pt x="617134" y="5387728"/>
                    <a:pt x="607605" y="5396918"/>
                    <a:pt x="599029" y="5405474"/>
                  </a:cubicBezTo>
                  <a:cubicBezTo>
                    <a:pt x="592995" y="5411495"/>
                    <a:pt x="587277" y="5417199"/>
                    <a:pt x="583784" y="5420685"/>
                  </a:cubicBezTo>
                  <a:cubicBezTo>
                    <a:pt x="587595" y="5425121"/>
                    <a:pt x="591089" y="5429874"/>
                    <a:pt x="593947" y="5435578"/>
                  </a:cubicBezTo>
                  <a:cubicBezTo>
                    <a:pt x="598712" y="5445085"/>
                    <a:pt x="601888" y="5455225"/>
                    <a:pt x="604429" y="5462514"/>
                  </a:cubicBezTo>
                  <a:cubicBezTo>
                    <a:pt x="605382" y="5466317"/>
                    <a:pt x="606335" y="5469485"/>
                    <a:pt x="606970" y="5471387"/>
                  </a:cubicBezTo>
                  <a:cubicBezTo>
                    <a:pt x="607287" y="5472021"/>
                    <a:pt x="607605" y="5472337"/>
                    <a:pt x="607605" y="5472654"/>
                  </a:cubicBezTo>
                  <a:cubicBezTo>
                    <a:pt x="607605" y="5472654"/>
                    <a:pt x="607605" y="5472654"/>
                    <a:pt x="690504" y="5487548"/>
                  </a:cubicBezTo>
                  <a:cubicBezTo>
                    <a:pt x="690504" y="5487548"/>
                    <a:pt x="690504" y="5487548"/>
                    <a:pt x="694315" y="5442233"/>
                  </a:cubicBezTo>
                  <a:lnTo>
                    <a:pt x="693997" y="5442233"/>
                  </a:lnTo>
                  <a:cubicBezTo>
                    <a:pt x="693997" y="5442233"/>
                    <a:pt x="693997" y="5442233"/>
                    <a:pt x="694633" y="5437797"/>
                  </a:cubicBezTo>
                  <a:cubicBezTo>
                    <a:pt x="694633" y="5437797"/>
                    <a:pt x="694633" y="5437797"/>
                    <a:pt x="694633" y="5438114"/>
                  </a:cubicBezTo>
                  <a:cubicBezTo>
                    <a:pt x="694633" y="5438114"/>
                    <a:pt x="694633" y="5438114"/>
                    <a:pt x="706385" y="5290761"/>
                  </a:cubicBezTo>
                  <a:cubicBezTo>
                    <a:pt x="692409" y="5283789"/>
                    <a:pt x="676528" y="5271747"/>
                    <a:pt x="661283" y="5258755"/>
                  </a:cubicBezTo>
                  <a:close/>
                  <a:moveTo>
                    <a:pt x="3351196" y="5257804"/>
                  </a:moveTo>
                  <a:cubicBezTo>
                    <a:pt x="3351196" y="5257804"/>
                    <a:pt x="3351196" y="5257804"/>
                    <a:pt x="3351514" y="5293296"/>
                  </a:cubicBezTo>
                  <a:cubicBezTo>
                    <a:pt x="3351514" y="5293296"/>
                    <a:pt x="3351514" y="5293296"/>
                    <a:pt x="3302283" y="5293296"/>
                  </a:cubicBezTo>
                  <a:cubicBezTo>
                    <a:pt x="3302283" y="5293296"/>
                    <a:pt x="3302283" y="5293296"/>
                    <a:pt x="3301966" y="5258121"/>
                  </a:cubicBezTo>
                  <a:cubicBezTo>
                    <a:pt x="3301966" y="5258121"/>
                    <a:pt x="3301966" y="5258121"/>
                    <a:pt x="3304189" y="5258121"/>
                  </a:cubicBezTo>
                  <a:close/>
                  <a:moveTo>
                    <a:pt x="468806" y="5257487"/>
                  </a:moveTo>
                  <a:cubicBezTo>
                    <a:pt x="468806" y="5257487"/>
                    <a:pt x="468806" y="5257487"/>
                    <a:pt x="433550" y="5300584"/>
                  </a:cubicBezTo>
                  <a:cubicBezTo>
                    <a:pt x="433550" y="5300584"/>
                    <a:pt x="433550" y="5300584"/>
                    <a:pt x="432915" y="5301535"/>
                  </a:cubicBezTo>
                  <a:cubicBezTo>
                    <a:pt x="431962" y="5302169"/>
                    <a:pt x="427515" y="5307239"/>
                    <a:pt x="427833" y="5311675"/>
                  </a:cubicBezTo>
                  <a:cubicBezTo>
                    <a:pt x="427833" y="5314844"/>
                    <a:pt x="429103" y="5319914"/>
                    <a:pt x="439267" y="5328153"/>
                  </a:cubicBezTo>
                  <a:cubicBezTo>
                    <a:pt x="467853" y="5350969"/>
                    <a:pt x="522801" y="5377271"/>
                    <a:pt x="543764" y="5390580"/>
                  </a:cubicBezTo>
                  <a:cubicBezTo>
                    <a:pt x="557104" y="5399136"/>
                    <a:pt x="570126" y="5407059"/>
                    <a:pt x="580607" y="5417516"/>
                  </a:cubicBezTo>
                  <a:cubicBezTo>
                    <a:pt x="580607" y="5417516"/>
                    <a:pt x="580607" y="5417516"/>
                    <a:pt x="614910" y="5382658"/>
                  </a:cubicBezTo>
                  <a:cubicBezTo>
                    <a:pt x="606970" y="5375687"/>
                    <a:pt x="573302" y="5347484"/>
                    <a:pt x="539952" y="5318647"/>
                  </a:cubicBezTo>
                  <a:cubicBezTo>
                    <a:pt x="529471" y="5310091"/>
                    <a:pt x="519307" y="5301218"/>
                    <a:pt x="509778" y="5293296"/>
                  </a:cubicBezTo>
                  <a:cubicBezTo>
                    <a:pt x="509778" y="5293296"/>
                    <a:pt x="509778" y="5293296"/>
                    <a:pt x="489768" y="5318330"/>
                  </a:cubicBezTo>
                  <a:cubicBezTo>
                    <a:pt x="489768" y="5318330"/>
                    <a:pt x="489768" y="5318330"/>
                    <a:pt x="456419" y="5291711"/>
                  </a:cubicBezTo>
                  <a:cubicBezTo>
                    <a:pt x="456419" y="5291711"/>
                    <a:pt x="456419" y="5291711"/>
                    <a:pt x="477699" y="5265410"/>
                  </a:cubicBezTo>
                  <a:cubicBezTo>
                    <a:pt x="474523" y="5262558"/>
                    <a:pt x="471664" y="5260339"/>
                    <a:pt x="469441" y="5258121"/>
                  </a:cubicBezTo>
                  <a:cubicBezTo>
                    <a:pt x="469123" y="5258121"/>
                    <a:pt x="469123" y="5257804"/>
                    <a:pt x="468806" y="5257487"/>
                  </a:cubicBezTo>
                  <a:close/>
                  <a:moveTo>
                    <a:pt x="3464269" y="5247030"/>
                  </a:moveTo>
                  <a:cubicBezTo>
                    <a:pt x="3448070" y="5259389"/>
                    <a:pt x="3431554" y="5272381"/>
                    <a:pt x="3415355" y="5285057"/>
                  </a:cubicBezTo>
                  <a:cubicBezTo>
                    <a:pt x="3382958" y="5310091"/>
                    <a:pt x="3351196" y="5335125"/>
                    <a:pt x="3322928" y="5356990"/>
                  </a:cubicBezTo>
                  <a:cubicBezTo>
                    <a:pt x="3322928" y="5356990"/>
                    <a:pt x="3322928" y="5356990"/>
                    <a:pt x="3444259" y="5463781"/>
                  </a:cubicBezTo>
                  <a:cubicBezTo>
                    <a:pt x="3444259" y="5463781"/>
                    <a:pt x="3444259" y="5463781"/>
                    <a:pt x="3649440" y="5417199"/>
                  </a:cubicBezTo>
                  <a:cubicBezTo>
                    <a:pt x="3649123" y="5411812"/>
                    <a:pt x="3649123" y="5406425"/>
                    <a:pt x="3648805" y="5401355"/>
                  </a:cubicBezTo>
                  <a:cubicBezTo>
                    <a:pt x="3648805" y="5401355"/>
                    <a:pt x="3648805" y="5401355"/>
                    <a:pt x="3662145" y="5401355"/>
                  </a:cubicBezTo>
                  <a:cubicBezTo>
                    <a:pt x="3662145" y="5399136"/>
                    <a:pt x="3662145" y="5396601"/>
                    <a:pt x="3662145" y="5394066"/>
                  </a:cubicBezTo>
                  <a:cubicBezTo>
                    <a:pt x="3662145" y="5388045"/>
                    <a:pt x="3661828" y="5382024"/>
                    <a:pt x="3661828" y="5379489"/>
                  </a:cubicBezTo>
                  <a:cubicBezTo>
                    <a:pt x="3661828" y="5379489"/>
                    <a:pt x="3661828" y="5379489"/>
                    <a:pt x="3464269" y="5247030"/>
                  </a:cubicBezTo>
                  <a:close/>
                  <a:moveTo>
                    <a:pt x="2197287" y="5240692"/>
                  </a:moveTo>
                  <a:cubicBezTo>
                    <a:pt x="2197287" y="5240692"/>
                    <a:pt x="2197287" y="5240692"/>
                    <a:pt x="2197287" y="5241960"/>
                  </a:cubicBezTo>
                  <a:lnTo>
                    <a:pt x="2197287" y="5244178"/>
                  </a:lnTo>
                  <a:cubicBezTo>
                    <a:pt x="2197287" y="5244178"/>
                    <a:pt x="2197287" y="5244178"/>
                    <a:pt x="2180771" y="5243861"/>
                  </a:cubicBezTo>
                  <a:cubicBezTo>
                    <a:pt x="2180771" y="5243861"/>
                    <a:pt x="2180771" y="5243861"/>
                    <a:pt x="2180453" y="5294563"/>
                  </a:cubicBezTo>
                  <a:cubicBezTo>
                    <a:pt x="2180453" y="5294563"/>
                    <a:pt x="2180453" y="5294563"/>
                    <a:pt x="2206816" y="5294563"/>
                  </a:cubicBezTo>
                  <a:cubicBezTo>
                    <a:pt x="2206816" y="5294563"/>
                    <a:pt x="2206816" y="5294563"/>
                    <a:pt x="2207133" y="5271431"/>
                  </a:cubicBezTo>
                  <a:cubicBezTo>
                    <a:pt x="2207133" y="5271431"/>
                    <a:pt x="2207133" y="5271431"/>
                    <a:pt x="2225555" y="5271747"/>
                  </a:cubicBezTo>
                  <a:cubicBezTo>
                    <a:pt x="2225555" y="5271747"/>
                    <a:pt x="2225555" y="5271747"/>
                    <a:pt x="2226190" y="5241009"/>
                  </a:cubicBezTo>
                  <a:cubicBezTo>
                    <a:pt x="2226190" y="5241009"/>
                    <a:pt x="2226190" y="5241009"/>
                    <a:pt x="2197287" y="5240692"/>
                  </a:cubicBezTo>
                  <a:close/>
                  <a:moveTo>
                    <a:pt x="553927" y="5238157"/>
                  </a:moveTo>
                  <a:cubicBezTo>
                    <a:pt x="553927" y="5238157"/>
                    <a:pt x="553927" y="5238157"/>
                    <a:pt x="512637" y="5289810"/>
                  </a:cubicBezTo>
                  <a:cubicBezTo>
                    <a:pt x="522801" y="5298366"/>
                    <a:pt x="533600" y="5307873"/>
                    <a:pt x="544399" y="5317062"/>
                  </a:cubicBezTo>
                  <a:cubicBezTo>
                    <a:pt x="579019" y="5346533"/>
                    <a:pt x="613322" y="5375370"/>
                    <a:pt x="618722" y="5380123"/>
                  </a:cubicBezTo>
                  <a:cubicBezTo>
                    <a:pt x="621898" y="5372201"/>
                    <a:pt x="630791" y="5342413"/>
                    <a:pt x="639685" y="5313577"/>
                  </a:cubicBezTo>
                  <a:cubicBezTo>
                    <a:pt x="640002" y="5312626"/>
                    <a:pt x="640320" y="5311358"/>
                    <a:pt x="640637" y="5310408"/>
                  </a:cubicBezTo>
                  <a:cubicBezTo>
                    <a:pt x="640637" y="5310408"/>
                    <a:pt x="640637" y="5310408"/>
                    <a:pt x="553927" y="5238157"/>
                  </a:cubicBezTo>
                  <a:close/>
                  <a:moveTo>
                    <a:pt x="2193158" y="5236573"/>
                  </a:moveTo>
                  <a:cubicBezTo>
                    <a:pt x="2193158" y="5236573"/>
                    <a:pt x="2193158" y="5236573"/>
                    <a:pt x="2230637" y="5236890"/>
                  </a:cubicBezTo>
                  <a:cubicBezTo>
                    <a:pt x="2230637" y="5236890"/>
                    <a:pt x="2230637" y="5236890"/>
                    <a:pt x="2229366" y="5275867"/>
                  </a:cubicBezTo>
                  <a:cubicBezTo>
                    <a:pt x="2229366" y="5275867"/>
                    <a:pt x="2229366" y="5275867"/>
                    <a:pt x="2227461" y="5275867"/>
                  </a:cubicBezTo>
                  <a:cubicBezTo>
                    <a:pt x="2227461" y="5275867"/>
                    <a:pt x="2227461" y="5275867"/>
                    <a:pt x="2211262" y="5275550"/>
                  </a:cubicBezTo>
                  <a:cubicBezTo>
                    <a:pt x="2211262" y="5275550"/>
                    <a:pt x="2211262" y="5275550"/>
                    <a:pt x="2211262" y="5298683"/>
                  </a:cubicBezTo>
                  <a:cubicBezTo>
                    <a:pt x="2211262" y="5298683"/>
                    <a:pt x="2211262" y="5298683"/>
                    <a:pt x="2176324" y="5298683"/>
                  </a:cubicBezTo>
                  <a:cubicBezTo>
                    <a:pt x="2176324" y="5298683"/>
                    <a:pt x="2176324" y="5298683"/>
                    <a:pt x="2176642" y="5239742"/>
                  </a:cubicBezTo>
                  <a:cubicBezTo>
                    <a:pt x="2176642" y="5239742"/>
                    <a:pt x="2176642" y="5239742"/>
                    <a:pt x="2193158" y="5240059"/>
                  </a:cubicBezTo>
                  <a:cubicBezTo>
                    <a:pt x="2193158" y="5240059"/>
                    <a:pt x="2193158" y="5240059"/>
                    <a:pt x="2193158" y="5238791"/>
                  </a:cubicBezTo>
                  <a:close/>
                  <a:moveTo>
                    <a:pt x="334135" y="5235939"/>
                  </a:moveTo>
                  <a:cubicBezTo>
                    <a:pt x="334135" y="5235939"/>
                    <a:pt x="334135" y="5235939"/>
                    <a:pt x="329689" y="5271114"/>
                  </a:cubicBezTo>
                  <a:cubicBezTo>
                    <a:pt x="329689" y="5271114"/>
                    <a:pt x="329689" y="5271114"/>
                    <a:pt x="364944" y="5275233"/>
                  </a:cubicBezTo>
                  <a:cubicBezTo>
                    <a:pt x="364944" y="5275233"/>
                    <a:pt x="364944" y="5275233"/>
                    <a:pt x="369073" y="5240375"/>
                  </a:cubicBezTo>
                  <a:close/>
                  <a:moveTo>
                    <a:pt x="330324" y="5231186"/>
                  </a:moveTo>
                  <a:lnTo>
                    <a:pt x="332547" y="5231503"/>
                  </a:lnTo>
                  <a:cubicBezTo>
                    <a:pt x="332547" y="5231503"/>
                    <a:pt x="332547" y="5231503"/>
                    <a:pt x="373838" y="5236573"/>
                  </a:cubicBezTo>
                  <a:cubicBezTo>
                    <a:pt x="373838" y="5236573"/>
                    <a:pt x="373838" y="5236573"/>
                    <a:pt x="368438" y="5279986"/>
                  </a:cubicBezTo>
                  <a:cubicBezTo>
                    <a:pt x="368438" y="5279986"/>
                    <a:pt x="368438" y="5279986"/>
                    <a:pt x="324924" y="5274599"/>
                  </a:cubicBezTo>
                  <a:cubicBezTo>
                    <a:pt x="324924" y="5274599"/>
                    <a:pt x="324924" y="5274599"/>
                    <a:pt x="330324" y="5231186"/>
                  </a:cubicBezTo>
                  <a:close/>
                  <a:moveTo>
                    <a:pt x="295386" y="5224214"/>
                  </a:moveTo>
                  <a:cubicBezTo>
                    <a:pt x="290621" y="5224848"/>
                    <a:pt x="285540" y="5225165"/>
                    <a:pt x="280775" y="5225482"/>
                  </a:cubicBezTo>
                  <a:cubicBezTo>
                    <a:pt x="280458" y="5225799"/>
                    <a:pt x="279822" y="5226432"/>
                    <a:pt x="278870" y="5226432"/>
                  </a:cubicBezTo>
                  <a:cubicBezTo>
                    <a:pt x="278870" y="5226432"/>
                    <a:pt x="278870" y="5226432"/>
                    <a:pt x="278870" y="5225799"/>
                  </a:cubicBezTo>
                  <a:cubicBezTo>
                    <a:pt x="251872" y="5227700"/>
                    <a:pt x="227415" y="5229601"/>
                    <a:pt x="222651" y="5229601"/>
                  </a:cubicBezTo>
                  <a:cubicBezTo>
                    <a:pt x="220745" y="5231186"/>
                    <a:pt x="212487" y="5241326"/>
                    <a:pt x="202323" y="5254635"/>
                  </a:cubicBezTo>
                  <a:cubicBezTo>
                    <a:pt x="171514" y="5295197"/>
                    <a:pt x="117519" y="5369032"/>
                    <a:pt x="109261" y="5380440"/>
                  </a:cubicBezTo>
                  <a:lnTo>
                    <a:pt x="156269" y="5425438"/>
                  </a:lnTo>
                  <a:cubicBezTo>
                    <a:pt x="157857" y="5423220"/>
                    <a:pt x="160080" y="5420368"/>
                    <a:pt x="162621" y="5416882"/>
                  </a:cubicBezTo>
                  <a:cubicBezTo>
                    <a:pt x="162621" y="5416882"/>
                    <a:pt x="162621" y="5416882"/>
                    <a:pt x="136894" y="5396601"/>
                  </a:cubicBezTo>
                  <a:cubicBezTo>
                    <a:pt x="136894" y="5396601"/>
                    <a:pt x="136894" y="5396601"/>
                    <a:pt x="138164" y="5394700"/>
                  </a:cubicBezTo>
                  <a:cubicBezTo>
                    <a:pt x="138164" y="5394700"/>
                    <a:pt x="138164" y="5394700"/>
                    <a:pt x="154045" y="5375053"/>
                  </a:cubicBezTo>
                  <a:cubicBezTo>
                    <a:pt x="154045" y="5375053"/>
                    <a:pt x="154045" y="5375053"/>
                    <a:pt x="165797" y="5384243"/>
                  </a:cubicBezTo>
                  <a:cubicBezTo>
                    <a:pt x="165797" y="5384243"/>
                    <a:pt x="165797" y="5384243"/>
                    <a:pt x="174373" y="5373785"/>
                  </a:cubicBezTo>
                  <a:cubicBezTo>
                    <a:pt x="174373" y="5373785"/>
                    <a:pt x="174373" y="5373785"/>
                    <a:pt x="186760" y="5383609"/>
                  </a:cubicBezTo>
                  <a:cubicBezTo>
                    <a:pt x="187713" y="5382341"/>
                    <a:pt x="188983" y="5380757"/>
                    <a:pt x="189936" y="5379489"/>
                  </a:cubicBezTo>
                  <a:cubicBezTo>
                    <a:pt x="199147" y="5366814"/>
                    <a:pt x="208358" y="5354455"/>
                    <a:pt x="215346" y="5344948"/>
                  </a:cubicBezTo>
                  <a:cubicBezTo>
                    <a:pt x="218840" y="5340195"/>
                    <a:pt x="222016" y="5336076"/>
                    <a:pt x="224239" y="5333541"/>
                  </a:cubicBezTo>
                  <a:cubicBezTo>
                    <a:pt x="225192" y="5331956"/>
                    <a:pt x="226145" y="5331005"/>
                    <a:pt x="226780" y="5330055"/>
                  </a:cubicBezTo>
                  <a:cubicBezTo>
                    <a:pt x="227733" y="5329104"/>
                    <a:pt x="227415" y="5328787"/>
                    <a:pt x="229003" y="5328153"/>
                  </a:cubicBezTo>
                  <a:cubicBezTo>
                    <a:pt x="229321" y="5327837"/>
                    <a:pt x="229639" y="5327837"/>
                    <a:pt x="229956" y="5327837"/>
                  </a:cubicBezTo>
                  <a:cubicBezTo>
                    <a:pt x="232180" y="5328153"/>
                    <a:pt x="235356" y="5330055"/>
                    <a:pt x="241073" y="5332590"/>
                  </a:cubicBezTo>
                  <a:cubicBezTo>
                    <a:pt x="254731" y="5339245"/>
                    <a:pt x="277281" y="5350969"/>
                    <a:pt x="283951" y="5354772"/>
                  </a:cubicBezTo>
                  <a:cubicBezTo>
                    <a:pt x="285857" y="5350019"/>
                    <a:pt x="289986" y="5338294"/>
                    <a:pt x="293798" y="5326252"/>
                  </a:cubicBezTo>
                  <a:cubicBezTo>
                    <a:pt x="299197" y="5311041"/>
                    <a:pt x="304279" y="5294563"/>
                    <a:pt x="304597" y="5292028"/>
                  </a:cubicBezTo>
                  <a:cubicBezTo>
                    <a:pt x="304597" y="5292028"/>
                    <a:pt x="304597" y="5291711"/>
                    <a:pt x="304597" y="5291711"/>
                  </a:cubicBezTo>
                  <a:cubicBezTo>
                    <a:pt x="304597" y="5291711"/>
                    <a:pt x="304597" y="5291711"/>
                    <a:pt x="306185" y="5291711"/>
                  </a:cubicBezTo>
                  <a:cubicBezTo>
                    <a:pt x="306185" y="5291711"/>
                    <a:pt x="306185" y="5291711"/>
                    <a:pt x="306820" y="5289810"/>
                  </a:cubicBezTo>
                  <a:cubicBezTo>
                    <a:pt x="306820" y="5289810"/>
                    <a:pt x="306820" y="5289810"/>
                    <a:pt x="295386" y="5224214"/>
                  </a:cubicBezTo>
                  <a:close/>
                  <a:moveTo>
                    <a:pt x="1347022" y="5222630"/>
                  </a:moveTo>
                  <a:cubicBezTo>
                    <a:pt x="1347022" y="5222630"/>
                    <a:pt x="1347022" y="5222630"/>
                    <a:pt x="1347022" y="5231820"/>
                  </a:cubicBezTo>
                  <a:cubicBezTo>
                    <a:pt x="1347022" y="5231820"/>
                    <a:pt x="1347022" y="5231820"/>
                    <a:pt x="1327012" y="5231820"/>
                  </a:cubicBezTo>
                  <a:cubicBezTo>
                    <a:pt x="1327012" y="5231820"/>
                    <a:pt x="1327012" y="5231820"/>
                    <a:pt x="1327012" y="5242594"/>
                  </a:cubicBezTo>
                  <a:cubicBezTo>
                    <a:pt x="1327012" y="5242594"/>
                    <a:pt x="1327012" y="5242594"/>
                    <a:pt x="1318754" y="5242594"/>
                  </a:cubicBezTo>
                  <a:cubicBezTo>
                    <a:pt x="1318754" y="5242594"/>
                    <a:pt x="1318754" y="5242594"/>
                    <a:pt x="1318754" y="5258438"/>
                  </a:cubicBezTo>
                  <a:cubicBezTo>
                    <a:pt x="1318754" y="5258438"/>
                    <a:pt x="1318754" y="5258438"/>
                    <a:pt x="1323200" y="5258438"/>
                  </a:cubicBezTo>
                  <a:cubicBezTo>
                    <a:pt x="1323200" y="5258438"/>
                    <a:pt x="1323200" y="5258438"/>
                    <a:pt x="1325424" y="5258438"/>
                  </a:cubicBezTo>
                  <a:cubicBezTo>
                    <a:pt x="1325424" y="5258438"/>
                    <a:pt x="1325424" y="5258438"/>
                    <a:pt x="1325424" y="5271747"/>
                  </a:cubicBezTo>
                  <a:cubicBezTo>
                    <a:pt x="1325424" y="5271747"/>
                    <a:pt x="1325424" y="5271747"/>
                    <a:pt x="1328600" y="5272381"/>
                  </a:cubicBezTo>
                  <a:cubicBezTo>
                    <a:pt x="1328600" y="5272381"/>
                    <a:pt x="1328600" y="5272381"/>
                    <a:pt x="1330188" y="5272698"/>
                  </a:cubicBezTo>
                  <a:cubicBezTo>
                    <a:pt x="1330188" y="5272698"/>
                    <a:pt x="1330188" y="5272698"/>
                    <a:pt x="1330188" y="5274599"/>
                  </a:cubicBezTo>
                  <a:cubicBezTo>
                    <a:pt x="1330188" y="5274599"/>
                    <a:pt x="1330188" y="5274599"/>
                    <a:pt x="1330188" y="5284740"/>
                  </a:cubicBezTo>
                  <a:cubicBezTo>
                    <a:pt x="1330188" y="5284740"/>
                    <a:pt x="1330188" y="5284740"/>
                    <a:pt x="1352739" y="5284740"/>
                  </a:cubicBezTo>
                  <a:cubicBezTo>
                    <a:pt x="1352739" y="5284740"/>
                    <a:pt x="1352739" y="5284740"/>
                    <a:pt x="1352739" y="5273332"/>
                  </a:cubicBezTo>
                  <a:cubicBezTo>
                    <a:pt x="1352739" y="5273332"/>
                    <a:pt x="1352739" y="5273332"/>
                    <a:pt x="1377513" y="5273332"/>
                  </a:cubicBezTo>
                  <a:cubicBezTo>
                    <a:pt x="1377513" y="5273332"/>
                    <a:pt x="1377513" y="5273332"/>
                    <a:pt x="1377513" y="5231820"/>
                  </a:cubicBezTo>
                  <a:lnTo>
                    <a:pt x="1362585" y="5231820"/>
                  </a:lnTo>
                  <a:cubicBezTo>
                    <a:pt x="1362585" y="5231820"/>
                    <a:pt x="1362585" y="5231820"/>
                    <a:pt x="1362585" y="5222630"/>
                  </a:cubicBezTo>
                  <a:cubicBezTo>
                    <a:pt x="1362585" y="5222630"/>
                    <a:pt x="1362585" y="5222630"/>
                    <a:pt x="1347022" y="5222630"/>
                  </a:cubicBezTo>
                  <a:close/>
                  <a:moveTo>
                    <a:pt x="1342893" y="5218510"/>
                  </a:moveTo>
                  <a:cubicBezTo>
                    <a:pt x="1342893" y="5218510"/>
                    <a:pt x="1342893" y="5218510"/>
                    <a:pt x="1366714" y="5218510"/>
                  </a:cubicBezTo>
                  <a:lnTo>
                    <a:pt x="1366714" y="5227700"/>
                  </a:lnTo>
                  <a:cubicBezTo>
                    <a:pt x="1366714" y="5227700"/>
                    <a:pt x="1366714" y="5227700"/>
                    <a:pt x="1381642" y="5227700"/>
                  </a:cubicBezTo>
                  <a:cubicBezTo>
                    <a:pt x="1381642" y="5227700"/>
                    <a:pt x="1381642" y="5227700"/>
                    <a:pt x="1381642" y="5277451"/>
                  </a:cubicBezTo>
                  <a:cubicBezTo>
                    <a:pt x="1381642" y="5277451"/>
                    <a:pt x="1381642" y="5277451"/>
                    <a:pt x="1356868" y="5277451"/>
                  </a:cubicBezTo>
                  <a:cubicBezTo>
                    <a:pt x="1356868" y="5277451"/>
                    <a:pt x="1356868" y="5277451"/>
                    <a:pt x="1356868" y="5288859"/>
                  </a:cubicBezTo>
                  <a:cubicBezTo>
                    <a:pt x="1356868" y="5288859"/>
                    <a:pt x="1356868" y="5288859"/>
                    <a:pt x="1326059" y="5288859"/>
                  </a:cubicBezTo>
                  <a:cubicBezTo>
                    <a:pt x="1326059" y="5288859"/>
                    <a:pt x="1326059" y="5288859"/>
                    <a:pt x="1326059" y="5276184"/>
                  </a:cubicBezTo>
                  <a:cubicBezTo>
                    <a:pt x="1326059" y="5276184"/>
                    <a:pt x="1326059" y="5276184"/>
                    <a:pt x="1322883" y="5275550"/>
                  </a:cubicBezTo>
                  <a:cubicBezTo>
                    <a:pt x="1322883" y="5275550"/>
                    <a:pt x="1322883" y="5275550"/>
                    <a:pt x="1321295" y="5275233"/>
                  </a:cubicBezTo>
                  <a:cubicBezTo>
                    <a:pt x="1321295" y="5275233"/>
                    <a:pt x="1321295" y="5275233"/>
                    <a:pt x="1321295" y="5262558"/>
                  </a:cubicBezTo>
                  <a:cubicBezTo>
                    <a:pt x="1321295" y="5262558"/>
                    <a:pt x="1321295" y="5262558"/>
                    <a:pt x="1316530" y="5262558"/>
                  </a:cubicBezTo>
                  <a:cubicBezTo>
                    <a:pt x="1316530" y="5262558"/>
                    <a:pt x="1316530" y="5262558"/>
                    <a:pt x="1314625" y="5262558"/>
                  </a:cubicBezTo>
                  <a:cubicBezTo>
                    <a:pt x="1314625" y="5262558"/>
                    <a:pt x="1314625" y="5262558"/>
                    <a:pt x="1314625" y="5238474"/>
                  </a:cubicBezTo>
                  <a:cubicBezTo>
                    <a:pt x="1314625" y="5238474"/>
                    <a:pt x="1314625" y="5238474"/>
                    <a:pt x="1322883" y="5238474"/>
                  </a:cubicBezTo>
                  <a:cubicBezTo>
                    <a:pt x="1322883" y="5238474"/>
                    <a:pt x="1322883" y="5238474"/>
                    <a:pt x="1322883" y="5227700"/>
                  </a:cubicBezTo>
                  <a:cubicBezTo>
                    <a:pt x="1322883" y="5227700"/>
                    <a:pt x="1322883" y="5227700"/>
                    <a:pt x="1342893" y="5227700"/>
                  </a:cubicBezTo>
                  <a:cubicBezTo>
                    <a:pt x="1342893" y="5227700"/>
                    <a:pt x="1342893" y="5227700"/>
                    <a:pt x="1342893" y="5218510"/>
                  </a:cubicBezTo>
                  <a:close/>
                  <a:moveTo>
                    <a:pt x="524389" y="5213440"/>
                  </a:moveTo>
                  <a:cubicBezTo>
                    <a:pt x="524389" y="5213440"/>
                    <a:pt x="524389" y="5213440"/>
                    <a:pt x="483734" y="5264776"/>
                  </a:cubicBezTo>
                  <a:cubicBezTo>
                    <a:pt x="490721" y="5270797"/>
                    <a:pt x="499615" y="5278719"/>
                    <a:pt x="509461" y="5286958"/>
                  </a:cubicBezTo>
                  <a:cubicBezTo>
                    <a:pt x="509461" y="5286958"/>
                    <a:pt x="509461" y="5286958"/>
                    <a:pt x="550751" y="5235305"/>
                  </a:cubicBezTo>
                  <a:close/>
                  <a:moveTo>
                    <a:pt x="2050230" y="5213123"/>
                  </a:moveTo>
                  <a:cubicBezTo>
                    <a:pt x="2050230" y="5213123"/>
                    <a:pt x="2050230" y="5213123"/>
                    <a:pt x="2010210" y="5213440"/>
                  </a:cubicBezTo>
                  <a:cubicBezTo>
                    <a:pt x="2010210" y="5213440"/>
                    <a:pt x="2010210" y="5213440"/>
                    <a:pt x="2010527" y="5229284"/>
                  </a:cubicBezTo>
                  <a:lnTo>
                    <a:pt x="2050230" y="5228968"/>
                  </a:lnTo>
                  <a:cubicBezTo>
                    <a:pt x="2050230" y="5228968"/>
                    <a:pt x="2050230" y="5228968"/>
                    <a:pt x="2050230" y="5213123"/>
                  </a:cubicBezTo>
                  <a:close/>
                  <a:moveTo>
                    <a:pt x="2054359" y="5209004"/>
                  </a:moveTo>
                  <a:cubicBezTo>
                    <a:pt x="2054359" y="5209004"/>
                    <a:pt x="2054359" y="5209004"/>
                    <a:pt x="2054359" y="5233087"/>
                  </a:cubicBezTo>
                  <a:cubicBezTo>
                    <a:pt x="2054359" y="5233087"/>
                    <a:pt x="2054359" y="5233087"/>
                    <a:pt x="2006398" y="5233404"/>
                  </a:cubicBezTo>
                  <a:cubicBezTo>
                    <a:pt x="2006398" y="5233404"/>
                    <a:pt x="2006398" y="5233404"/>
                    <a:pt x="2006081" y="5209320"/>
                  </a:cubicBezTo>
                  <a:cubicBezTo>
                    <a:pt x="2006081" y="5209320"/>
                    <a:pt x="2006081" y="5209320"/>
                    <a:pt x="2008304" y="5209320"/>
                  </a:cubicBezTo>
                  <a:close/>
                  <a:moveTo>
                    <a:pt x="1243796" y="5207419"/>
                  </a:moveTo>
                  <a:cubicBezTo>
                    <a:pt x="1243796" y="5207419"/>
                    <a:pt x="1243796" y="5207419"/>
                    <a:pt x="1212034" y="5229918"/>
                  </a:cubicBezTo>
                  <a:lnTo>
                    <a:pt x="1226327" y="5250199"/>
                  </a:lnTo>
                  <a:cubicBezTo>
                    <a:pt x="1226327" y="5250199"/>
                    <a:pt x="1226327" y="5250199"/>
                    <a:pt x="1258088" y="5227700"/>
                  </a:cubicBezTo>
                  <a:cubicBezTo>
                    <a:pt x="1258088" y="5227700"/>
                    <a:pt x="1258088" y="5227700"/>
                    <a:pt x="1243796" y="5207419"/>
                  </a:cubicBezTo>
                  <a:close/>
                  <a:moveTo>
                    <a:pt x="512637" y="5203616"/>
                  </a:moveTo>
                  <a:cubicBezTo>
                    <a:pt x="512637" y="5203616"/>
                    <a:pt x="512637" y="5203616"/>
                    <a:pt x="471664" y="5254319"/>
                  </a:cubicBezTo>
                  <a:cubicBezTo>
                    <a:pt x="473888" y="5256220"/>
                    <a:pt x="477064" y="5258755"/>
                    <a:pt x="480558" y="5261924"/>
                  </a:cubicBezTo>
                  <a:lnTo>
                    <a:pt x="521213" y="5210905"/>
                  </a:lnTo>
                  <a:cubicBezTo>
                    <a:pt x="521213" y="5210905"/>
                    <a:pt x="521213" y="5210905"/>
                    <a:pt x="512637" y="5203616"/>
                  </a:cubicBezTo>
                  <a:close/>
                  <a:moveTo>
                    <a:pt x="1244748" y="5201715"/>
                  </a:moveTo>
                  <a:lnTo>
                    <a:pt x="1263806" y="5228651"/>
                  </a:lnTo>
                  <a:cubicBezTo>
                    <a:pt x="1263806" y="5228651"/>
                    <a:pt x="1263806" y="5228651"/>
                    <a:pt x="1225374" y="5255903"/>
                  </a:cubicBezTo>
                  <a:cubicBezTo>
                    <a:pt x="1225374" y="5255903"/>
                    <a:pt x="1225374" y="5255903"/>
                    <a:pt x="1224421" y="5254002"/>
                  </a:cubicBezTo>
                  <a:cubicBezTo>
                    <a:pt x="1224421" y="5254002"/>
                    <a:pt x="1224421" y="5254002"/>
                    <a:pt x="1206317" y="5228968"/>
                  </a:cubicBezTo>
                  <a:cubicBezTo>
                    <a:pt x="1206317" y="5228968"/>
                    <a:pt x="1206317" y="5228968"/>
                    <a:pt x="1244748" y="5201715"/>
                  </a:cubicBezTo>
                  <a:close/>
                  <a:moveTo>
                    <a:pt x="429421" y="5198863"/>
                  </a:moveTo>
                  <a:cubicBezTo>
                    <a:pt x="429421" y="5198863"/>
                    <a:pt x="429421" y="5198863"/>
                    <a:pt x="405917" y="5225165"/>
                  </a:cubicBezTo>
                  <a:lnTo>
                    <a:pt x="432597" y="5248615"/>
                  </a:lnTo>
                  <a:cubicBezTo>
                    <a:pt x="432597" y="5248615"/>
                    <a:pt x="432597" y="5248615"/>
                    <a:pt x="456101" y="5222313"/>
                  </a:cubicBezTo>
                  <a:cubicBezTo>
                    <a:pt x="456101" y="5222313"/>
                    <a:pt x="456101" y="5222313"/>
                    <a:pt x="429421" y="5198863"/>
                  </a:cubicBezTo>
                  <a:close/>
                  <a:moveTo>
                    <a:pt x="791506" y="5192842"/>
                  </a:moveTo>
                  <a:cubicBezTo>
                    <a:pt x="791506" y="5192842"/>
                    <a:pt x="791506" y="5192842"/>
                    <a:pt x="753074" y="5197596"/>
                  </a:cubicBezTo>
                  <a:cubicBezTo>
                    <a:pt x="753074" y="5197596"/>
                    <a:pt x="753074" y="5197596"/>
                    <a:pt x="756251" y="5222313"/>
                  </a:cubicBezTo>
                  <a:lnTo>
                    <a:pt x="794683" y="5217560"/>
                  </a:lnTo>
                  <a:cubicBezTo>
                    <a:pt x="794683" y="5217560"/>
                    <a:pt x="794683" y="5217560"/>
                    <a:pt x="791506" y="5192842"/>
                  </a:cubicBezTo>
                  <a:close/>
                  <a:moveTo>
                    <a:pt x="429103" y="5192842"/>
                  </a:moveTo>
                  <a:cubicBezTo>
                    <a:pt x="429103" y="5192842"/>
                    <a:pt x="429103" y="5192842"/>
                    <a:pt x="430691" y="5194427"/>
                  </a:cubicBezTo>
                  <a:cubicBezTo>
                    <a:pt x="430691" y="5194427"/>
                    <a:pt x="430691" y="5194427"/>
                    <a:pt x="461818" y="5221996"/>
                  </a:cubicBezTo>
                  <a:lnTo>
                    <a:pt x="432915" y="5254635"/>
                  </a:lnTo>
                  <a:cubicBezTo>
                    <a:pt x="432915" y="5254635"/>
                    <a:pt x="432915" y="5254635"/>
                    <a:pt x="400200" y="5225482"/>
                  </a:cubicBezTo>
                  <a:cubicBezTo>
                    <a:pt x="400200" y="5225482"/>
                    <a:pt x="400200" y="5225482"/>
                    <a:pt x="429103" y="5192842"/>
                  </a:cubicBezTo>
                  <a:close/>
                  <a:moveTo>
                    <a:pt x="3332774" y="5189673"/>
                  </a:moveTo>
                  <a:cubicBezTo>
                    <a:pt x="3332774" y="5189673"/>
                    <a:pt x="3332774" y="5189673"/>
                    <a:pt x="3266392" y="5277451"/>
                  </a:cubicBezTo>
                  <a:cubicBezTo>
                    <a:pt x="3266392" y="5277451"/>
                    <a:pt x="3266392" y="5277451"/>
                    <a:pt x="3311494" y="5346850"/>
                  </a:cubicBezTo>
                  <a:cubicBezTo>
                    <a:pt x="3311494" y="5346850"/>
                    <a:pt x="3311494" y="5346850"/>
                    <a:pt x="3312129" y="5347484"/>
                  </a:cubicBezTo>
                  <a:cubicBezTo>
                    <a:pt x="3342621" y="5323717"/>
                    <a:pt x="3377876" y="5296148"/>
                    <a:pt x="3413132" y="5268579"/>
                  </a:cubicBezTo>
                  <a:cubicBezTo>
                    <a:pt x="3425519" y="5258755"/>
                    <a:pt x="3437906" y="5249248"/>
                    <a:pt x="3450294" y="5239742"/>
                  </a:cubicBezTo>
                  <a:cubicBezTo>
                    <a:pt x="3450294" y="5239742"/>
                    <a:pt x="3450294" y="5239742"/>
                    <a:pt x="3332774" y="5189673"/>
                  </a:cubicBezTo>
                  <a:close/>
                  <a:moveTo>
                    <a:pt x="2277962" y="5188406"/>
                  </a:moveTo>
                  <a:cubicBezTo>
                    <a:pt x="2273198" y="5190941"/>
                    <a:pt x="2240801" y="5207102"/>
                    <a:pt x="2238260" y="5208370"/>
                  </a:cubicBezTo>
                  <a:cubicBezTo>
                    <a:pt x="2236990" y="5209004"/>
                    <a:pt x="2236036" y="5208687"/>
                    <a:pt x="2233813" y="5209004"/>
                  </a:cubicBezTo>
                  <a:cubicBezTo>
                    <a:pt x="2221426" y="5209954"/>
                    <a:pt x="2182359" y="5210905"/>
                    <a:pt x="2172830" y="5211222"/>
                  </a:cubicBezTo>
                  <a:cubicBezTo>
                    <a:pt x="2170607" y="5224848"/>
                    <a:pt x="2169019" y="5234038"/>
                    <a:pt x="2169019" y="5234038"/>
                  </a:cubicBezTo>
                  <a:cubicBezTo>
                    <a:pt x="2169019" y="5234038"/>
                    <a:pt x="2169019" y="5234038"/>
                    <a:pt x="2169019" y="5234988"/>
                  </a:cubicBezTo>
                  <a:cubicBezTo>
                    <a:pt x="2169019" y="5234988"/>
                    <a:pt x="2169019" y="5234988"/>
                    <a:pt x="2132810" y="5253685"/>
                  </a:cubicBezTo>
                  <a:cubicBezTo>
                    <a:pt x="2132810" y="5253685"/>
                    <a:pt x="2132810" y="5253685"/>
                    <a:pt x="2143292" y="5329421"/>
                  </a:cubicBezTo>
                  <a:cubicBezTo>
                    <a:pt x="2143292" y="5329421"/>
                    <a:pt x="2143292" y="5329421"/>
                    <a:pt x="2142974" y="5329738"/>
                  </a:cubicBezTo>
                  <a:lnTo>
                    <a:pt x="2268116" y="5343681"/>
                  </a:lnTo>
                  <a:cubicBezTo>
                    <a:pt x="2273198" y="5332273"/>
                    <a:pt x="2278598" y="5320548"/>
                    <a:pt x="2283680" y="5308823"/>
                  </a:cubicBezTo>
                  <a:cubicBezTo>
                    <a:pt x="2300513" y="5270480"/>
                    <a:pt x="2317347" y="5232453"/>
                    <a:pt x="2332593" y="5197279"/>
                  </a:cubicBezTo>
                  <a:cubicBezTo>
                    <a:pt x="2332593" y="5197279"/>
                    <a:pt x="2332593" y="5197279"/>
                    <a:pt x="2277962" y="5188406"/>
                  </a:cubicBezTo>
                  <a:close/>
                  <a:moveTo>
                    <a:pt x="795318" y="5188406"/>
                  </a:moveTo>
                  <a:cubicBezTo>
                    <a:pt x="795318" y="5188406"/>
                    <a:pt x="795318" y="5188406"/>
                    <a:pt x="799129" y="5221362"/>
                  </a:cubicBezTo>
                  <a:cubicBezTo>
                    <a:pt x="799129" y="5221362"/>
                    <a:pt x="799129" y="5221362"/>
                    <a:pt x="752757" y="5227066"/>
                  </a:cubicBezTo>
                  <a:cubicBezTo>
                    <a:pt x="752757" y="5227066"/>
                    <a:pt x="752757" y="5227066"/>
                    <a:pt x="752439" y="5224848"/>
                  </a:cubicBezTo>
                  <a:cubicBezTo>
                    <a:pt x="752439" y="5224848"/>
                    <a:pt x="752439" y="5224848"/>
                    <a:pt x="748628" y="5194110"/>
                  </a:cubicBezTo>
                  <a:close/>
                  <a:moveTo>
                    <a:pt x="2006398" y="5184920"/>
                  </a:moveTo>
                  <a:cubicBezTo>
                    <a:pt x="2006081" y="5198863"/>
                    <a:pt x="2005763" y="5212489"/>
                    <a:pt x="2005128" y="5224848"/>
                  </a:cubicBezTo>
                  <a:cubicBezTo>
                    <a:pt x="2004810" y="5238791"/>
                    <a:pt x="2002269" y="5251150"/>
                    <a:pt x="1997822" y="5261607"/>
                  </a:cubicBezTo>
                  <a:lnTo>
                    <a:pt x="2133763" y="5292979"/>
                  </a:lnTo>
                  <a:cubicBezTo>
                    <a:pt x="2133763" y="5292979"/>
                    <a:pt x="2133763" y="5292979"/>
                    <a:pt x="2128046" y="5251150"/>
                  </a:cubicBezTo>
                  <a:cubicBezTo>
                    <a:pt x="2128046" y="5251150"/>
                    <a:pt x="2128046" y="5251150"/>
                    <a:pt x="2163937" y="5232770"/>
                  </a:cubicBezTo>
                  <a:cubicBezTo>
                    <a:pt x="2145198" y="5228968"/>
                    <a:pt x="2058488" y="5207736"/>
                    <a:pt x="2058488" y="5207736"/>
                  </a:cubicBezTo>
                  <a:cubicBezTo>
                    <a:pt x="2058488" y="5207736"/>
                    <a:pt x="2058488" y="5207736"/>
                    <a:pt x="2056582" y="5207419"/>
                  </a:cubicBezTo>
                  <a:cubicBezTo>
                    <a:pt x="2056582" y="5207419"/>
                    <a:pt x="2056582" y="5207419"/>
                    <a:pt x="2056582" y="5188406"/>
                  </a:cubicBezTo>
                  <a:cubicBezTo>
                    <a:pt x="2056582" y="5188406"/>
                    <a:pt x="2056582" y="5188406"/>
                    <a:pt x="2006398" y="5184920"/>
                  </a:cubicBezTo>
                  <a:close/>
                  <a:moveTo>
                    <a:pt x="547257" y="5184920"/>
                  </a:moveTo>
                  <a:cubicBezTo>
                    <a:pt x="547257" y="5184920"/>
                    <a:pt x="547257" y="5184920"/>
                    <a:pt x="527247" y="5209954"/>
                  </a:cubicBezTo>
                  <a:lnTo>
                    <a:pt x="553292" y="5231820"/>
                  </a:lnTo>
                  <a:cubicBezTo>
                    <a:pt x="553292" y="5231820"/>
                    <a:pt x="553292" y="5231820"/>
                    <a:pt x="573937" y="5206152"/>
                  </a:cubicBezTo>
                  <a:cubicBezTo>
                    <a:pt x="573937" y="5206152"/>
                    <a:pt x="573937" y="5206152"/>
                    <a:pt x="547257" y="5184920"/>
                  </a:cubicBezTo>
                  <a:close/>
                  <a:moveTo>
                    <a:pt x="1271" y="5179533"/>
                  </a:moveTo>
                  <a:cubicBezTo>
                    <a:pt x="14611" y="5206468"/>
                    <a:pt x="14611" y="5206468"/>
                    <a:pt x="14611" y="5206468"/>
                  </a:cubicBezTo>
                  <a:cubicBezTo>
                    <a:pt x="1271" y="5221045"/>
                    <a:pt x="1271" y="5221045"/>
                    <a:pt x="1271" y="5221045"/>
                  </a:cubicBezTo>
                  <a:lnTo>
                    <a:pt x="1271" y="5214391"/>
                  </a:lnTo>
                  <a:cubicBezTo>
                    <a:pt x="9211" y="5205835"/>
                    <a:pt x="9211" y="5205835"/>
                    <a:pt x="9211" y="5205835"/>
                  </a:cubicBezTo>
                  <a:cubicBezTo>
                    <a:pt x="1271" y="5189673"/>
                    <a:pt x="1271" y="5189673"/>
                    <a:pt x="1271" y="5189673"/>
                  </a:cubicBezTo>
                  <a:cubicBezTo>
                    <a:pt x="1271" y="5179533"/>
                    <a:pt x="1271" y="5179533"/>
                    <a:pt x="1271" y="5179533"/>
                  </a:cubicBezTo>
                  <a:close/>
                  <a:moveTo>
                    <a:pt x="677799" y="5168442"/>
                  </a:moveTo>
                  <a:cubicBezTo>
                    <a:pt x="677799" y="5168442"/>
                    <a:pt x="677799" y="5168442"/>
                    <a:pt x="655248" y="5199814"/>
                  </a:cubicBezTo>
                  <a:cubicBezTo>
                    <a:pt x="655248" y="5199814"/>
                    <a:pt x="655248" y="5199814"/>
                    <a:pt x="675575" y="5214391"/>
                  </a:cubicBezTo>
                  <a:lnTo>
                    <a:pt x="698126" y="5183019"/>
                  </a:lnTo>
                  <a:cubicBezTo>
                    <a:pt x="698126" y="5183019"/>
                    <a:pt x="698126" y="5183019"/>
                    <a:pt x="677799" y="5168442"/>
                  </a:cubicBezTo>
                  <a:close/>
                  <a:moveTo>
                    <a:pt x="1617633" y="5167808"/>
                  </a:moveTo>
                  <a:cubicBezTo>
                    <a:pt x="1617633" y="5167808"/>
                    <a:pt x="1617633" y="5167808"/>
                    <a:pt x="1617633" y="5189990"/>
                  </a:cubicBezTo>
                  <a:cubicBezTo>
                    <a:pt x="1617633" y="5189990"/>
                    <a:pt x="1617633" y="5189990"/>
                    <a:pt x="1574754" y="5189990"/>
                  </a:cubicBezTo>
                  <a:cubicBezTo>
                    <a:pt x="1574754" y="5189990"/>
                    <a:pt x="1574754" y="5189990"/>
                    <a:pt x="1574754" y="5250833"/>
                  </a:cubicBezTo>
                  <a:cubicBezTo>
                    <a:pt x="1574754" y="5250833"/>
                    <a:pt x="1574754" y="5250833"/>
                    <a:pt x="1594447" y="5250833"/>
                  </a:cubicBezTo>
                  <a:cubicBezTo>
                    <a:pt x="1594447" y="5250833"/>
                    <a:pt x="1594447" y="5250833"/>
                    <a:pt x="1594447" y="5333857"/>
                  </a:cubicBezTo>
                  <a:cubicBezTo>
                    <a:pt x="1594447" y="5333857"/>
                    <a:pt x="1594447" y="5333857"/>
                    <a:pt x="1620809" y="5333857"/>
                  </a:cubicBezTo>
                  <a:cubicBezTo>
                    <a:pt x="1620809" y="5333857"/>
                    <a:pt x="1620809" y="5333857"/>
                    <a:pt x="1620809" y="5251467"/>
                  </a:cubicBezTo>
                  <a:cubicBezTo>
                    <a:pt x="1620809" y="5251467"/>
                    <a:pt x="1620809" y="5251467"/>
                    <a:pt x="1717683" y="5251467"/>
                  </a:cubicBezTo>
                  <a:cubicBezTo>
                    <a:pt x="1717683" y="5251467"/>
                    <a:pt x="1717683" y="5251467"/>
                    <a:pt x="1717683" y="5283789"/>
                  </a:cubicBezTo>
                  <a:cubicBezTo>
                    <a:pt x="1717683" y="5283789"/>
                    <a:pt x="1717683" y="5283789"/>
                    <a:pt x="1756750" y="5283789"/>
                  </a:cubicBezTo>
                  <a:cubicBezTo>
                    <a:pt x="1756750" y="5283789"/>
                    <a:pt x="1756750" y="5283789"/>
                    <a:pt x="1756750" y="5250833"/>
                  </a:cubicBezTo>
                  <a:cubicBezTo>
                    <a:pt x="1756750" y="5250833"/>
                    <a:pt x="1756750" y="5250833"/>
                    <a:pt x="1783748" y="5250833"/>
                  </a:cubicBezTo>
                  <a:cubicBezTo>
                    <a:pt x="1783748" y="5250833"/>
                    <a:pt x="1783748" y="5250833"/>
                    <a:pt x="1784065" y="5190307"/>
                  </a:cubicBezTo>
                  <a:lnTo>
                    <a:pt x="1726259" y="5190307"/>
                  </a:lnTo>
                  <a:cubicBezTo>
                    <a:pt x="1726259" y="5190307"/>
                    <a:pt x="1726259" y="5190307"/>
                    <a:pt x="1726259" y="5167808"/>
                  </a:cubicBezTo>
                  <a:cubicBezTo>
                    <a:pt x="1726259" y="5167808"/>
                    <a:pt x="1726259" y="5167808"/>
                    <a:pt x="1617633" y="5167808"/>
                  </a:cubicBezTo>
                  <a:close/>
                  <a:moveTo>
                    <a:pt x="963656" y="5163372"/>
                  </a:moveTo>
                  <a:cubicBezTo>
                    <a:pt x="963656" y="5163372"/>
                    <a:pt x="963656" y="5163372"/>
                    <a:pt x="932212" y="5185871"/>
                  </a:cubicBezTo>
                  <a:lnTo>
                    <a:pt x="946504" y="5206152"/>
                  </a:lnTo>
                  <a:cubicBezTo>
                    <a:pt x="946504" y="5206152"/>
                    <a:pt x="946504" y="5206152"/>
                    <a:pt x="978266" y="5183653"/>
                  </a:cubicBezTo>
                  <a:cubicBezTo>
                    <a:pt x="978266" y="5183653"/>
                    <a:pt x="978266" y="5183653"/>
                    <a:pt x="963656" y="5163372"/>
                  </a:cubicBezTo>
                  <a:close/>
                  <a:moveTo>
                    <a:pt x="1613186" y="5163055"/>
                  </a:moveTo>
                  <a:cubicBezTo>
                    <a:pt x="1613186" y="5163055"/>
                    <a:pt x="1613186" y="5163055"/>
                    <a:pt x="1731023" y="5163055"/>
                  </a:cubicBezTo>
                  <a:lnTo>
                    <a:pt x="1731023" y="5185871"/>
                  </a:lnTo>
                  <a:cubicBezTo>
                    <a:pt x="1731023" y="5185871"/>
                    <a:pt x="1731023" y="5185871"/>
                    <a:pt x="1788829" y="5185871"/>
                  </a:cubicBezTo>
                  <a:cubicBezTo>
                    <a:pt x="1788829" y="5185871"/>
                    <a:pt x="1788829" y="5185871"/>
                    <a:pt x="1788829" y="5188089"/>
                  </a:cubicBezTo>
                  <a:cubicBezTo>
                    <a:pt x="1788829" y="5188089"/>
                    <a:pt x="1788829" y="5188089"/>
                    <a:pt x="1788512" y="5255586"/>
                  </a:cubicBezTo>
                  <a:cubicBezTo>
                    <a:pt x="1788512" y="5255586"/>
                    <a:pt x="1788512" y="5255586"/>
                    <a:pt x="1761197" y="5255586"/>
                  </a:cubicBezTo>
                  <a:cubicBezTo>
                    <a:pt x="1761197" y="5255586"/>
                    <a:pt x="1761197" y="5255586"/>
                    <a:pt x="1761197" y="5288542"/>
                  </a:cubicBezTo>
                  <a:cubicBezTo>
                    <a:pt x="1761197" y="5288542"/>
                    <a:pt x="1761197" y="5288542"/>
                    <a:pt x="1712919" y="5288542"/>
                  </a:cubicBezTo>
                  <a:cubicBezTo>
                    <a:pt x="1712919" y="5288542"/>
                    <a:pt x="1712919" y="5288542"/>
                    <a:pt x="1712919" y="5256220"/>
                  </a:cubicBezTo>
                  <a:cubicBezTo>
                    <a:pt x="1712919" y="5256220"/>
                    <a:pt x="1712919" y="5256220"/>
                    <a:pt x="1625573" y="5256220"/>
                  </a:cubicBezTo>
                  <a:cubicBezTo>
                    <a:pt x="1625573" y="5256220"/>
                    <a:pt x="1625573" y="5256220"/>
                    <a:pt x="1625573" y="5338611"/>
                  </a:cubicBezTo>
                  <a:cubicBezTo>
                    <a:pt x="1625573" y="5338611"/>
                    <a:pt x="1625573" y="5338611"/>
                    <a:pt x="1589682" y="5338611"/>
                  </a:cubicBezTo>
                  <a:cubicBezTo>
                    <a:pt x="1589682" y="5338611"/>
                    <a:pt x="1589682" y="5338611"/>
                    <a:pt x="1589682" y="5255586"/>
                  </a:cubicBezTo>
                  <a:cubicBezTo>
                    <a:pt x="1589682" y="5255586"/>
                    <a:pt x="1589682" y="5255586"/>
                    <a:pt x="1570308" y="5255586"/>
                  </a:cubicBezTo>
                  <a:cubicBezTo>
                    <a:pt x="1570308" y="5255586"/>
                    <a:pt x="1570308" y="5255586"/>
                    <a:pt x="1570308" y="5185554"/>
                  </a:cubicBezTo>
                  <a:cubicBezTo>
                    <a:pt x="1570308" y="5185554"/>
                    <a:pt x="1570308" y="5185554"/>
                    <a:pt x="1613186" y="5185554"/>
                  </a:cubicBezTo>
                  <a:cubicBezTo>
                    <a:pt x="1613186" y="5185554"/>
                    <a:pt x="1613186" y="5185554"/>
                    <a:pt x="1613186" y="5163055"/>
                  </a:cubicBezTo>
                  <a:close/>
                  <a:moveTo>
                    <a:pt x="676846" y="5162738"/>
                  </a:moveTo>
                  <a:lnTo>
                    <a:pt x="703844" y="5182068"/>
                  </a:lnTo>
                  <a:cubicBezTo>
                    <a:pt x="703844" y="5182068"/>
                    <a:pt x="703844" y="5182068"/>
                    <a:pt x="676528" y="5220095"/>
                  </a:cubicBezTo>
                  <a:cubicBezTo>
                    <a:pt x="676528" y="5220095"/>
                    <a:pt x="676528" y="5220095"/>
                    <a:pt x="674940" y="5218827"/>
                  </a:cubicBezTo>
                  <a:cubicBezTo>
                    <a:pt x="674940" y="5218827"/>
                    <a:pt x="674940" y="5218827"/>
                    <a:pt x="649531" y="5200765"/>
                  </a:cubicBezTo>
                  <a:cubicBezTo>
                    <a:pt x="649531" y="5200765"/>
                    <a:pt x="649531" y="5200765"/>
                    <a:pt x="676846" y="5162738"/>
                  </a:cubicBezTo>
                  <a:close/>
                  <a:moveTo>
                    <a:pt x="728300" y="5157985"/>
                  </a:moveTo>
                  <a:cubicBezTo>
                    <a:pt x="728300" y="5157985"/>
                    <a:pt x="728300" y="5157985"/>
                    <a:pt x="707337" y="5215024"/>
                  </a:cubicBezTo>
                  <a:cubicBezTo>
                    <a:pt x="707337" y="5215024"/>
                    <a:pt x="707337" y="5215024"/>
                    <a:pt x="750216" y="5279986"/>
                  </a:cubicBezTo>
                  <a:cubicBezTo>
                    <a:pt x="760380" y="5281254"/>
                    <a:pt x="771496" y="5282205"/>
                    <a:pt x="781660" y="5282838"/>
                  </a:cubicBezTo>
                  <a:cubicBezTo>
                    <a:pt x="795635" y="5283789"/>
                    <a:pt x="808340" y="5284106"/>
                    <a:pt x="816916" y="5284423"/>
                  </a:cubicBezTo>
                  <a:cubicBezTo>
                    <a:pt x="816916" y="5279353"/>
                    <a:pt x="816916" y="5274282"/>
                    <a:pt x="816916" y="5269529"/>
                  </a:cubicBezTo>
                  <a:cubicBezTo>
                    <a:pt x="816916" y="5234672"/>
                    <a:pt x="817233" y="5201715"/>
                    <a:pt x="817233" y="5172245"/>
                  </a:cubicBezTo>
                  <a:cubicBezTo>
                    <a:pt x="817233" y="5172245"/>
                    <a:pt x="817233" y="5172245"/>
                    <a:pt x="728300" y="5157985"/>
                  </a:cubicBezTo>
                  <a:close/>
                  <a:moveTo>
                    <a:pt x="964609" y="5157668"/>
                  </a:moveTo>
                  <a:lnTo>
                    <a:pt x="983983" y="5184603"/>
                  </a:lnTo>
                  <a:cubicBezTo>
                    <a:pt x="983983" y="5184603"/>
                    <a:pt x="983983" y="5184603"/>
                    <a:pt x="945551" y="5211856"/>
                  </a:cubicBezTo>
                  <a:cubicBezTo>
                    <a:pt x="945551" y="5211856"/>
                    <a:pt x="945551" y="5211856"/>
                    <a:pt x="944599" y="5210271"/>
                  </a:cubicBezTo>
                  <a:cubicBezTo>
                    <a:pt x="944599" y="5210271"/>
                    <a:pt x="944599" y="5210271"/>
                    <a:pt x="926494" y="5184920"/>
                  </a:cubicBezTo>
                  <a:cubicBezTo>
                    <a:pt x="926494" y="5184920"/>
                    <a:pt x="926494" y="5184920"/>
                    <a:pt x="964609" y="5157668"/>
                  </a:cubicBezTo>
                  <a:close/>
                  <a:moveTo>
                    <a:pt x="550751" y="5157351"/>
                  </a:moveTo>
                  <a:cubicBezTo>
                    <a:pt x="550751" y="5157351"/>
                    <a:pt x="550751" y="5157351"/>
                    <a:pt x="515496" y="5200448"/>
                  </a:cubicBezTo>
                  <a:cubicBezTo>
                    <a:pt x="515496" y="5200448"/>
                    <a:pt x="515496" y="5200448"/>
                    <a:pt x="524071" y="5207419"/>
                  </a:cubicBezTo>
                  <a:cubicBezTo>
                    <a:pt x="524071" y="5207419"/>
                    <a:pt x="524071" y="5207419"/>
                    <a:pt x="546622" y="5179216"/>
                  </a:cubicBezTo>
                  <a:cubicBezTo>
                    <a:pt x="546622" y="5179216"/>
                    <a:pt x="546622" y="5179216"/>
                    <a:pt x="579972" y="5205201"/>
                  </a:cubicBezTo>
                  <a:cubicBezTo>
                    <a:pt x="579972" y="5205201"/>
                    <a:pt x="579972" y="5205201"/>
                    <a:pt x="578384" y="5207102"/>
                  </a:cubicBezTo>
                  <a:cubicBezTo>
                    <a:pt x="578384" y="5207102"/>
                    <a:pt x="578384" y="5207102"/>
                    <a:pt x="556468" y="5234672"/>
                  </a:cubicBezTo>
                  <a:cubicBezTo>
                    <a:pt x="556468" y="5234672"/>
                    <a:pt x="556468" y="5234672"/>
                    <a:pt x="641908" y="5305971"/>
                  </a:cubicBezTo>
                  <a:cubicBezTo>
                    <a:pt x="646037" y="5292662"/>
                    <a:pt x="649848" y="5279986"/>
                    <a:pt x="653025" y="5269846"/>
                  </a:cubicBezTo>
                  <a:cubicBezTo>
                    <a:pt x="654930" y="5264142"/>
                    <a:pt x="656518" y="5259072"/>
                    <a:pt x="657471" y="5255586"/>
                  </a:cubicBezTo>
                  <a:cubicBezTo>
                    <a:pt x="656518" y="5254635"/>
                    <a:pt x="655248" y="5253685"/>
                    <a:pt x="654295" y="5252734"/>
                  </a:cubicBezTo>
                  <a:cubicBezTo>
                    <a:pt x="636508" y="5237207"/>
                    <a:pt x="620310" y="5221679"/>
                    <a:pt x="613005" y="5215975"/>
                  </a:cubicBezTo>
                  <a:cubicBezTo>
                    <a:pt x="613005" y="5215975"/>
                    <a:pt x="613005" y="5215975"/>
                    <a:pt x="613005" y="5215658"/>
                  </a:cubicBezTo>
                  <a:cubicBezTo>
                    <a:pt x="613005" y="5215658"/>
                    <a:pt x="613005" y="5215658"/>
                    <a:pt x="612687" y="5215658"/>
                  </a:cubicBezTo>
                  <a:cubicBezTo>
                    <a:pt x="612687" y="5215341"/>
                    <a:pt x="582513" y="5187138"/>
                    <a:pt x="550751" y="5157351"/>
                  </a:cubicBezTo>
                  <a:close/>
                  <a:moveTo>
                    <a:pt x="1137393" y="5155766"/>
                  </a:moveTo>
                  <a:cubicBezTo>
                    <a:pt x="1137393" y="5155766"/>
                    <a:pt x="1137393" y="5155766"/>
                    <a:pt x="1074822" y="5259389"/>
                  </a:cubicBezTo>
                  <a:cubicBezTo>
                    <a:pt x="1075140" y="5259389"/>
                    <a:pt x="1075140" y="5259706"/>
                    <a:pt x="1075140" y="5260023"/>
                  </a:cubicBezTo>
                  <a:cubicBezTo>
                    <a:pt x="1075775" y="5260973"/>
                    <a:pt x="1075458" y="5261290"/>
                    <a:pt x="1075775" y="5261924"/>
                  </a:cubicBezTo>
                  <a:cubicBezTo>
                    <a:pt x="1075775" y="5262241"/>
                    <a:pt x="1075775" y="5262558"/>
                    <a:pt x="1075775" y="5262875"/>
                  </a:cubicBezTo>
                  <a:cubicBezTo>
                    <a:pt x="1075775" y="5262875"/>
                    <a:pt x="1075775" y="5263191"/>
                    <a:pt x="1075775" y="5263191"/>
                  </a:cubicBezTo>
                  <a:cubicBezTo>
                    <a:pt x="1076410" y="5268262"/>
                    <a:pt x="1080222" y="5294563"/>
                    <a:pt x="1084033" y="5318964"/>
                  </a:cubicBezTo>
                  <a:cubicBezTo>
                    <a:pt x="1086892" y="5339878"/>
                    <a:pt x="1090068" y="5359525"/>
                    <a:pt x="1091021" y="5365863"/>
                  </a:cubicBezTo>
                  <a:cubicBezTo>
                    <a:pt x="1091021" y="5365863"/>
                    <a:pt x="1091021" y="5365863"/>
                    <a:pt x="1172967" y="5351920"/>
                  </a:cubicBezTo>
                  <a:cubicBezTo>
                    <a:pt x="1172967" y="5351920"/>
                    <a:pt x="1172967" y="5351920"/>
                    <a:pt x="1167567" y="5248615"/>
                  </a:cubicBezTo>
                  <a:cubicBezTo>
                    <a:pt x="1167567" y="5248615"/>
                    <a:pt x="1167567" y="5248615"/>
                    <a:pt x="1106584" y="5209637"/>
                  </a:cubicBezTo>
                  <a:cubicBezTo>
                    <a:pt x="1106584" y="5209637"/>
                    <a:pt x="1106584" y="5209637"/>
                    <a:pt x="1108808" y="5205835"/>
                  </a:cubicBezTo>
                  <a:cubicBezTo>
                    <a:pt x="1108808" y="5205835"/>
                    <a:pt x="1108808" y="5205835"/>
                    <a:pt x="1171696" y="5246079"/>
                  </a:cubicBezTo>
                  <a:cubicBezTo>
                    <a:pt x="1171696" y="5246079"/>
                    <a:pt x="1171696" y="5246079"/>
                    <a:pt x="1177413" y="5350969"/>
                  </a:cubicBezTo>
                  <a:cubicBezTo>
                    <a:pt x="1177413" y="5350969"/>
                    <a:pt x="1177413" y="5350969"/>
                    <a:pt x="1259041" y="5337026"/>
                  </a:cubicBezTo>
                  <a:cubicBezTo>
                    <a:pt x="1258724" y="5332273"/>
                    <a:pt x="1258406" y="5327203"/>
                    <a:pt x="1258724" y="5321816"/>
                  </a:cubicBezTo>
                  <a:cubicBezTo>
                    <a:pt x="1258724" y="5320231"/>
                    <a:pt x="1258724" y="5318964"/>
                    <a:pt x="1258724" y="5317696"/>
                  </a:cubicBezTo>
                  <a:cubicBezTo>
                    <a:pt x="1259359" y="5268895"/>
                    <a:pt x="1265076" y="5239742"/>
                    <a:pt x="1271428" y="5221679"/>
                  </a:cubicBezTo>
                  <a:cubicBezTo>
                    <a:pt x="1274605" y="5212806"/>
                    <a:pt x="1278098" y="5206785"/>
                    <a:pt x="1280639" y="5202666"/>
                  </a:cubicBezTo>
                  <a:cubicBezTo>
                    <a:pt x="1280957" y="5202032"/>
                    <a:pt x="1281275" y="5201715"/>
                    <a:pt x="1281592" y="5201081"/>
                  </a:cubicBezTo>
                  <a:cubicBezTo>
                    <a:pt x="1270793" y="5197913"/>
                    <a:pt x="1240937" y="5188723"/>
                    <a:pt x="1210763" y="5179216"/>
                  </a:cubicBezTo>
                  <a:cubicBezTo>
                    <a:pt x="1192024" y="5173512"/>
                    <a:pt x="1173284" y="5167491"/>
                    <a:pt x="1159309" y="5163055"/>
                  </a:cubicBezTo>
                  <a:cubicBezTo>
                    <a:pt x="1152004" y="5160837"/>
                    <a:pt x="1146287" y="5158935"/>
                    <a:pt x="1142158" y="5157668"/>
                  </a:cubicBezTo>
                  <a:cubicBezTo>
                    <a:pt x="1139934" y="5157034"/>
                    <a:pt x="1138346" y="5156400"/>
                    <a:pt x="1137393" y="5155766"/>
                  </a:cubicBezTo>
                  <a:close/>
                  <a:moveTo>
                    <a:pt x="675258" y="5144358"/>
                  </a:moveTo>
                  <a:cubicBezTo>
                    <a:pt x="675258" y="5144358"/>
                    <a:pt x="675258" y="5144358"/>
                    <a:pt x="627297" y="5200448"/>
                  </a:cubicBezTo>
                  <a:cubicBezTo>
                    <a:pt x="635556" y="5207736"/>
                    <a:pt x="650801" y="5222313"/>
                    <a:pt x="667953" y="5237207"/>
                  </a:cubicBezTo>
                  <a:cubicBezTo>
                    <a:pt x="685422" y="5252417"/>
                    <a:pt x="704796" y="5267311"/>
                    <a:pt x="716866" y="5272698"/>
                  </a:cubicBezTo>
                  <a:cubicBezTo>
                    <a:pt x="722583" y="5275233"/>
                    <a:pt x="732429" y="5277451"/>
                    <a:pt x="744181" y="5279353"/>
                  </a:cubicBezTo>
                  <a:lnTo>
                    <a:pt x="702255" y="5215658"/>
                  </a:lnTo>
                  <a:cubicBezTo>
                    <a:pt x="702255" y="5215658"/>
                    <a:pt x="702255" y="5215658"/>
                    <a:pt x="723854" y="5157034"/>
                  </a:cubicBezTo>
                  <a:cubicBezTo>
                    <a:pt x="723854" y="5157034"/>
                    <a:pt x="723854" y="5157034"/>
                    <a:pt x="692409" y="5151964"/>
                  </a:cubicBezTo>
                  <a:cubicBezTo>
                    <a:pt x="692409" y="5151964"/>
                    <a:pt x="692409" y="5151964"/>
                    <a:pt x="692092" y="5151964"/>
                  </a:cubicBezTo>
                  <a:cubicBezTo>
                    <a:pt x="692092" y="5151964"/>
                    <a:pt x="685104" y="5148795"/>
                    <a:pt x="675258" y="5144358"/>
                  </a:cubicBezTo>
                  <a:close/>
                  <a:moveTo>
                    <a:pt x="2051818" y="5144042"/>
                  </a:moveTo>
                  <a:cubicBezTo>
                    <a:pt x="2051818" y="5144042"/>
                    <a:pt x="2051818" y="5144042"/>
                    <a:pt x="2012115" y="5144358"/>
                  </a:cubicBezTo>
                  <a:cubicBezTo>
                    <a:pt x="2012115" y="5144358"/>
                    <a:pt x="2012115" y="5144358"/>
                    <a:pt x="2012115" y="5159886"/>
                  </a:cubicBezTo>
                  <a:lnTo>
                    <a:pt x="2051818" y="5159886"/>
                  </a:lnTo>
                  <a:cubicBezTo>
                    <a:pt x="2051818" y="5159886"/>
                    <a:pt x="2051818" y="5159886"/>
                    <a:pt x="2051818" y="5144042"/>
                  </a:cubicBezTo>
                  <a:close/>
                  <a:moveTo>
                    <a:pt x="2055947" y="5139922"/>
                  </a:moveTo>
                  <a:cubicBezTo>
                    <a:pt x="2055947" y="5139922"/>
                    <a:pt x="2055947" y="5139922"/>
                    <a:pt x="2055947" y="5163689"/>
                  </a:cubicBezTo>
                  <a:cubicBezTo>
                    <a:pt x="2055947" y="5163689"/>
                    <a:pt x="2055947" y="5163689"/>
                    <a:pt x="2007986" y="5164322"/>
                  </a:cubicBezTo>
                  <a:cubicBezTo>
                    <a:pt x="2007986" y="5164322"/>
                    <a:pt x="2007986" y="5164322"/>
                    <a:pt x="2007669" y="5140239"/>
                  </a:cubicBezTo>
                  <a:cubicBezTo>
                    <a:pt x="2007669" y="5140239"/>
                    <a:pt x="2007669" y="5140239"/>
                    <a:pt x="2009892" y="5140239"/>
                  </a:cubicBezTo>
                  <a:close/>
                  <a:moveTo>
                    <a:pt x="1046554" y="5138021"/>
                  </a:moveTo>
                  <a:cubicBezTo>
                    <a:pt x="1046554" y="5138021"/>
                    <a:pt x="1046554" y="5138021"/>
                    <a:pt x="1047507" y="5168759"/>
                  </a:cubicBezTo>
                  <a:cubicBezTo>
                    <a:pt x="1047507" y="5168759"/>
                    <a:pt x="1047507" y="5168759"/>
                    <a:pt x="1065929" y="5168759"/>
                  </a:cubicBezTo>
                  <a:cubicBezTo>
                    <a:pt x="1065929" y="5168759"/>
                    <a:pt x="1065929" y="5168759"/>
                    <a:pt x="1065929" y="5191892"/>
                  </a:cubicBezTo>
                  <a:cubicBezTo>
                    <a:pt x="1065929" y="5191892"/>
                    <a:pt x="1065929" y="5191892"/>
                    <a:pt x="1092609" y="5191575"/>
                  </a:cubicBezTo>
                  <a:cubicBezTo>
                    <a:pt x="1092609" y="5191575"/>
                    <a:pt x="1092609" y="5191575"/>
                    <a:pt x="1092291" y="5141190"/>
                  </a:cubicBezTo>
                  <a:cubicBezTo>
                    <a:pt x="1092291" y="5141190"/>
                    <a:pt x="1092291" y="5141190"/>
                    <a:pt x="1075775" y="5141190"/>
                  </a:cubicBezTo>
                  <a:cubicBezTo>
                    <a:pt x="1075775" y="5141190"/>
                    <a:pt x="1075775" y="5141190"/>
                    <a:pt x="1075458" y="5138021"/>
                  </a:cubicBezTo>
                  <a:close/>
                  <a:moveTo>
                    <a:pt x="325560" y="5137704"/>
                  </a:moveTo>
                  <a:cubicBezTo>
                    <a:pt x="325560" y="5137704"/>
                    <a:pt x="325560" y="5137704"/>
                    <a:pt x="317301" y="5162738"/>
                  </a:cubicBezTo>
                  <a:lnTo>
                    <a:pt x="338264" y="5148795"/>
                  </a:lnTo>
                  <a:cubicBezTo>
                    <a:pt x="338264" y="5148795"/>
                    <a:pt x="338264" y="5148795"/>
                    <a:pt x="325560" y="5137704"/>
                  </a:cubicBezTo>
                  <a:close/>
                  <a:moveTo>
                    <a:pt x="3610056" y="5134218"/>
                  </a:moveTo>
                  <a:cubicBezTo>
                    <a:pt x="3589728" y="5149429"/>
                    <a:pt x="3532239" y="5194110"/>
                    <a:pt x="3467762" y="5244178"/>
                  </a:cubicBezTo>
                  <a:lnTo>
                    <a:pt x="3664368" y="5376004"/>
                  </a:lnTo>
                  <a:cubicBezTo>
                    <a:pt x="3669133" y="5374102"/>
                    <a:pt x="3689778" y="5366180"/>
                    <a:pt x="3710741" y="5357941"/>
                  </a:cubicBezTo>
                  <a:cubicBezTo>
                    <a:pt x="3722493" y="5353504"/>
                    <a:pt x="3734562" y="5348751"/>
                    <a:pt x="3743773" y="5344948"/>
                  </a:cubicBezTo>
                  <a:cubicBezTo>
                    <a:pt x="3746632" y="5343998"/>
                    <a:pt x="3748855" y="5343047"/>
                    <a:pt x="3751078" y="5342097"/>
                  </a:cubicBezTo>
                  <a:cubicBezTo>
                    <a:pt x="3751078" y="5342097"/>
                    <a:pt x="3751078" y="5342097"/>
                    <a:pt x="3712964" y="5253368"/>
                  </a:cubicBezTo>
                  <a:cubicBezTo>
                    <a:pt x="3712964" y="5253368"/>
                    <a:pt x="3712646" y="5252734"/>
                    <a:pt x="3711694" y="5250833"/>
                  </a:cubicBezTo>
                  <a:cubicBezTo>
                    <a:pt x="3705659" y="5238474"/>
                    <a:pt x="3676756" y="5187138"/>
                    <a:pt x="3610056" y="5134218"/>
                  </a:cubicBezTo>
                  <a:close/>
                  <a:moveTo>
                    <a:pt x="1042425" y="5133901"/>
                  </a:moveTo>
                  <a:cubicBezTo>
                    <a:pt x="1042425" y="5133901"/>
                    <a:pt x="1042425" y="5133901"/>
                    <a:pt x="1079587" y="5133901"/>
                  </a:cubicBezTo>
                  <a:cubicBezTo>
                    <a:pt x="1079587" y="5133901"/>
                    <a:pt x="1079587" y="5133901"/>
                    <a:pt x="1079904" y="5137070"/>
                  </a:cubicBezTo>
                  <a:cubicBezTo>
                    <a:pt x="1079904" y="5137070"/>
                    <a:pt x="1079904" y="5137070"/>
                    <a:pt x="1096420" y="5137070"/>
                  </a:cubicBezTo>
                  <a:cubicBezTo>
                    <a:pt x="1096420" y="5137070"/>
                    <a:pt x="1096420" y="5137070"/>
                    <a:pt x="1096738" y="5195694"/>
                  </a:cubicBezTo>
                  <a:cubicBezTo>
                    <a:pt x="1096738" y="5195694"/>
                    <a:pt x="1096738" y="5195694"/>
                    <a:pt x="1061800" y="5196011"/>
                  </a:cubicBezTo>
                  <a:cubicBezTo>
                    <a:pt x="1061800" y="5196011"/>
                    <a:pt x="1061800" y="5196011"/>
                    <a:pt x="1061800" y="5172878"/>
                  </a:cubicBezTo>
                  <a:cubicBezTo>
                    <a:pt x="1061800" y="5172878"/>
                    <a:pt x="1061800" y="5172878"/>
                    <a:pt x="1043696" y="5172878"/>
                  </a:cubicBezTo>
                  <a:lnTo>
                    <a:pt x="1043378" y="5170977"/>
                  </a:lnTo>
                  <a:cubicBezTo>
                    <a:pt x="1043378" y="5170977"/>
                    <a:pt x="1043378" y="5170977"/>
                    <a:pt x="1042425" y="5133901"/>
                  </a:cubicBezTo>
                  <a:close/>
                  <a:moveTo>
                    <a:pt x="621263" y="5131049"/>
                  </a:moveTo>
                  <a:lnTo>
                    <a:pt x="598712" y="5162421"/>
                  </a:lnTo>
                  <a:cubicBezTo>
                    <a:pt x="598712" y="5162421"/>
                    <a:pt x="598712" y="5162421"/>
                    <a:pt x="619039" y="5176998"/>
                  </a:cubicBezTo>
                  <a:cubicBezTo>
                    <a:pt x="619039" y="5176998"/>
                    <a:pt x="619039" y="5176998"/>
                    <a:pt x="641590" y="5145309"/>
                  </a:cubicBezTo>
                  <a:cubicBezTo>
                    <a:pt x="641590" y="5145309"/>
                    <a:pt x="641590" y="5145309"/>
                    <a:pt x="621263" y="5131049"/>
                  </a:cubicBezTo>
                  <a:close/>
                  <a:moveTo>
                    <a:pt x="323336" y="5129465"/>
                  </a:moveTo>
                  <a:cubicBezTo>
                    <a:pt x="323336" y="5129465"/>
                    <a:pt x="323336" y="5129465"/>
                    <a:pt x="345887" y="5149429"/>
                  </a:cubicBezTo>
                  <a:lnTo>
                    <a:pt x="343346" y="5151013"/>
                  </a:lnTo>
                  <a:cubicBezTo>
                    <a:pt x="343346" y="5151013"/>
                    <a:pt x="343346" y="5151013"/>
                    <a:pt x="308726" y="5174146"/>
                  </a:cubicBezTo>
                  <a:cubicBezTo>
                    <a:pt x="308726" y="5174146"/>
                    <a:pt x="308726" y="5174146"/>
                    <a:pt x="323336" y="5129465"/>
                  </a:cubicBezTo>
                  <a:close/>
                  <a:moveTo>
                    <a:pt x="1414674" y="5128831"/>
                  </a:moveTo>
                  <a:cubicBezTo>
                    <a:pt x="1402605" y="5137387"/>
                    <a:pt x="1383230" y="5151013"/>
                    <a:pt x="1363538" y="5164956"/>
                  </a:cubicBezTo>
                  <a:cubicBezTo>
                    <a:pt x="1347975" y="5176047"/>
                    <a:pt x="1332094" y="5187138"/>
                    <a:pt x="1320024" y="5195694"/>
                  </a:cubicBezTo>
                  <a:cubicBezTo>
                    <a:pt x="1314307" y="5200131"/>
                    <a:pt x="1309225" y="5203616"/>
                    <a:pt x="1305731" y="5206468"/>
                  </a:cubicBezTo>
                  <a:cubicBezTo>
                    <a:pt x="1303826" y="5207736"/>
                    <a:pt x="1302555" y="5208687"/>
                    <a:pt x="1301602" y="5209320"/>
                  </a:cubicBezTo>
                  <a:cubicBezTo>
                    <a:pt x="1301602" y="5209320"/>
                    <a:pt x="1301602" y="5209320"/>
                    <a:pt x="1301602" y="5209637"/>
                  </a:cubicBezTo>
                  <a:cubicBezTo>
                    <a:pt x="1300967" y="5210271"/>
                    <a:pt x="1300649" y="5210271"/>
                    <a:pt x="1300332" y="5210905"/>
                  </a:cubicBezTo>
                  <a:cubicBezTo>
                    <a:pt x="1298426" y="5213440"/>
                    <a:pt x="1293979" y="5218827"/>
                    <a:pt x="1289215" y="5234988"/>
                  </a:cubicBezTo>
                  <a:cubicBezTo>
                    <a:pt x="1284451" y="5250833"/>
                    <a:pt x="1280004" y="5276818"/>
                    <a:pt x="1279369" y="5317696"/>
                  </a:cubicBezTo>
                  <a:cubicBezTo>
                    <a:pt x="1279369" y="5319281"/>
                    <a:pt x="1279369" y="5320548"/>
                    <a:pt x="1279369" y="5321816"/>
                  </a:cubicBezTo>
                  <a:cubicBezTo>
                    <a:pt x="1279369" y="5366180"/>
                    <a:pt x="1290168" y="5388996"/>
                    <a:pt x="1303826" y="5401988"/>
                  </a:cubicBezTo>
                  <a:cubicBezTo>
                    <a:pt x="1317801" y="5415298"/>
                    <a:pt x="1337493" y="5420051"/>
                    <a:pt x="1359091" y="5423854"/>
                  </a:cubicBezTo>
                  <a:cubicBezTo>
                    <a:pt x="1373384" y="5426389"/>
                    <a:pt x="1390535" y="5427656"/>
                    <a:pt x="1408640" y="5427973"/>
                  </a:cubicBezTo>
                  <a:cubicBezTo>
                    <a:pt x="1408004" y="5422586"/>
                    <a:pt x="1407687" y="5416565"/>
                    <a:pt x="1407687" y="5409594"/>
                  </a:cubicBezTo>
                  <a:cubicBezTo>
                    <a:pt x="1407052" y="5397869"/>
                    <a:pt x="1407052" y="5384876"/>
                    <a:pt x="1406099" y="5374102"/>
                  </a:cubicBezTo>
                  <a:cubicBezTo>
                    <a:pt x="1405464" y="5368398"/>
                    <a:pt x="1405146" y="5362377"/>
                    <a:pt x="1405146" y="5356040"/>
                  </a:cubicBezTo>
                  <a:cubicBezTo>
                    <a:pt x="1405146" y="5332273"/>
                    <a:pt x="1409910" y="5303119"/>
                    <a:pt x="1427379" y="5237523"/>
                  </a:cubicBezTo>
                  <a:cubicBezTo>
                    <a:pt x="1431826" y="5221362"/>
                    <a:pt x="1433414" y="5207102"/>
                    <a:pt x="1433414" y="5194427"/>
                  </a:cubicBezTo>
                  <a:cubicBezTo>
                    <a:pt x="1433414" y="5169709"/>
                    <a:pt x="1427062" y="5151647"/>
                    <a:pt x="1421027" y="5139605"/>
                  </a:cubicBezTo>
                  <a:cubicBezTo>
                    <a:pt x="1418804" y="5135169"/>
                    <a:pt x="1416580" y="5131683"/>
                    <a:pt x="1414674" y="5128831"/>
                  </a:cubicBezTo>
                  <a:close/>
                  <a:moveTo>
                    <a:pt x="1189800" y="5128831"/>
                  </a:moveTo>
                  <a:lnTo>
                    <a:pt x="1188530" y="5144358"/>
                  </a:lnTo>
                  <a:cubicBezTo>
                    <a:pt x="1188530" y="5144358"/>
                    <a:pt x="1188530" y="5144358"/>
                    <a:pt x="1227915" y="5148161"/>
                  </a:cubicBezTo>
                  <a:cubicBezTo>
                    <a:pt x="1227915" y="5148161"/>
                    <a:pt x="1227915" y="5148161"/>
                    <a:pt x="1229503" y="5132634"/>
                  </a:cubicBezTo>
                  <a:cubicBezTo>
                    <a:pt x="1229503" y="5132634"/>
                    <a:pt x="1229503" y="5132634"/>
                    <a:pt x="1189800" y="5128831"/>
                  </a:cubicBezTo>
                  <a:close/>
                  <a:moveTo>
                    <a:pt x="3011980" y="5127247"/>
                  </a:moveTo>
                  <a:cubicBezTo>
                    <a:pt x="3011980" y="5127247"/>
                    <a:pt x="3011980" y="5127247"/>
                    <a:pt x="2990699" y="5134218"/>
                  </a:cubicBezTo>
                  <a:cubicBezTo>
                    <a:pt x="2990699" y="5134218"/>
                    <a:pt x="2990699" y="5134218"/>
                    <a:pt x="2991652" y="5137704"/>
                  </a:cubicBezTo>
                  <a:cubicBezTo>
                    <a:pt x="2991652" y="5137704"/>
                    <a:pt x="2991652" y="5137704"/>
                    <a:pt x="2992287" y="5139605"/>
                  </a:cubicBezTo>
                  <a:cubicBezTo>
                    <a:pt x="2992287" y="5139605"/>
                    <a:pt x="2992287" y="5139605"/>
                    <a:pt x="2977359" y="5144358"/>
                  </a:cubicBezTo>
                  <a:cubicBezTo>
                    <a:pt x="2977359" y="5144358"/>
                    <a:pt x="2977359" y="5144358"/>
                    <a:pt x="2993240" y="5196645"/>
                  </a:cubicBezTo>
                  <a:cubicBezTo>
                    <a:pt x="2993240" y="5196645"/>
                    <a:pt x="2993240" y="5196645"/>
                    <a:pt x="3008168" y="5191892"/>
                  </a:cubicBezTo>
                  <a:lnTo>
                    <a:pt x="3000863" y="5169076"/>
                  </a:lnTo>
                  <a:cubicBezTo>
                    <a:pt x="3000863" y="5169076"/>
                    <a:pt x="3000863" y="5169076"/>
                    <a:pt x="3023096" y="5161787"/>
                  </a:cubicBezTo>
                  <a:cubicBezTo>
                    <a:pt x="3023096" y="5161787"/>
                    <a:pt x="3023096" y="5161787"/>
                    <a:pt x="3011980" y="5127247"/>
                  </a:cubicBezTo>
                  <a:close/>
                  <a:moveTo>
                    <a:pt x="620310" y="5125345"/>
                  </a:moveTo>
                  <a:cubicBezTo>
                    <a:pt x="620310" y="5125345"/>
                    <a:pt x="620310" y="5125345"/>
                    <a:pt x="647307" y="5144358"/>
                  </a:cubicBezTo>
                  <a:cubicBezTo>
                    <a:pt x="647307" y="5144358"/>
                    <a:pt x="647307" y="5144358"/>
                    <a:pt x="619992" y="5182702"/>
                  </a:cubicBezTo>
                  <a:cubicBezTo>
                    <a:pt x="619992" y="5182702"/>
                    <a:pt x="619992" y="5182702"/>
                    <a:pt x="618404" y="5181434"/>
                  </a:cubicBezTo>
                  <a:lnTo>
                    <a:pt x="592995" y="5163372"/>
                  </a:lnTo>
                  <a:cubicBezTo>
                    <a:pt x="592995" y="5163372"/>
                    <a:pt x="592995" y="5163372"/>
                    <a:pt x="620310" y="5125345"/>
                  </a:cubicBezTo>
                  <a:close/>
                  <a:moveTo>
                    <a:pt x="1186307" y="5124395"/>
                  </a:moveTo>
                  <a:lnTo>
                    <a:pt x="1188212" y="5124395"/>
                  </a:lnTo>
                  <a:cubicBezTo>
                    <a:pt x="1188212" y="5124395"/>
                    <a:pt x="1188212" y="5124395"/>
                    <a:pt x="1233949" y="5128831"/>
                  </a:cubicBezTo>
                  <a:cubicBezTo>
                    <a:pt x="1233949" y="5128831"/>
                    <a:pt x="1233949" y="5128831"/>
                    <a:pt x="1231726" y="5152914"/>
                  </a:cubicBezTo>
                  <a:cubicBezTo>
                    <a:pt x="1231726" y="5152914"/>
                    <a:pt x="1231726" y="5152914"/>
                    <a:pt x="1183766" y="5148161"/>
                  </a:cubicBezTo>
                  <a:cubicBezTo>
                    <a:pt x="1183766" y="5148161"/>
                    <a:pt x="1183766" y="5148161"/>
                    <a:pt x="1186307" y="5124395"/>
                  </a:cubicBezTo>
                  <a:close/>
                  <a:moveTo>
                    <a:pt x="3180635" y="5122810"/>
                  </a:moveTo>
                  <a:lnTo>
                    <a:pt x="3180635" y="5150696"/>
                  </a:lnTo>
                  <a:cubicBezTo>
                    <a:pt x="3180635" y="5150696"/>
                    <a:pt x="3180635" y="5150696"/>
                    <a:pt x="3155226" y="5150696"/>
                  </a:cubicBezTo>
                  <a:cubicBezTo>
                    <a:pt x="3155226" y="5150696"/>
                    <a:pt x="3155226" y="5150696"/>
                    <a:pt x="3155226" y="5201081"/>
                  </a:cubicBezTo>
                  <a:cubicBezTo>
                    <a:pt x="3155226" y="5201081"/>
                    <a:pt x="3155226" y="5201081"/>
                    <a:pt x="3188258" y="5201081"/>
                  </a:cubicBezTo>
                  <a:cubicBezTo>
                    <a:pt x="3188258" y="5201081"/>
                    <a:pt x="3188258" y="5201081"/>
                    <a:pt x="3188258" y="5168759"/>
                  </a:cubicBezTo>
                  <a:cubicBezTo>
                    <a:pt x="3188258" y="5168759"/>
                    <a:pt x="3188258" y="5168759"/>
                    <a:pt x="3190164" y="5168759"/>
                  </a:cubicBezTo>
                  <a:cubicBezTo>
                    <a:pt x="3190164" y="5168759"/>
                    <a:pt x="3190164" y="5168759"/>
                    <a:pt x="3215573" y="5168759"/>
                  </a:cubicBezTo>
                  <a:cubicBezTo>
                    <a:pt x="3215573" y="5168759"/>
                    <a:pt x="3215573" y="5168759"/>
                    <a:pt x="3215573" y="5122810"/>
                  </a:cubicBezTo>
                  <a:cubicBezTo>
                    <a:pt x="3215573" y="5122810"/>
                    <a:pt x="3215573" y="5122810"/>
                    <a:pt x="3180635" y="5122810"/>
                  </a:cubicBezTo>
                  <a:close/>
                  <a:moveTo>
                    <a:pt x="3014520" y="5121859"/>
                  </a:moveTo>
                  <a:lnTo>
                    <a:pt x="3028178" y="5164639"/>
                  </a:lnTo>
                  <a:cubicBezTo>
                    <a:pt x="3028178" y="5164639"/>
                    <a:pt x="3028178" y="5164639"/>
                    <a:pt x="3006262" y="5171611"/>
                  </a:cubicBezTo>
                  <a:cubicBezTo>
                    <a:pt x="3006262" y="5171611"/>
                    <a:pt x="3006262" y="5171611"/>
                    <a:pt x="3013568" y="5194427"/>
                  </a:cubicBezTo>
                  <a:cubicBezTo>
                    <a:pt x="3013568" y="5194427"/>
                    <a:pt x="3013568" y="5194427"/>
                    <a:pt x="2990699" y="5201715"/>
                  </a:cubicBezTo>
                  <a:cubicBezTo>
                    <a:pt x="2990699" y="5201715"/>
                    <a:pt x="2990699" y="5201715"/>
                    <a:pt x="2990064" y="5199814"/>
                  </a:cubicBezTo>
                  <a:cubicBezTo>
                    <a:pt x="2990064" y="5199814"/>
                    <a:pt x="2990064" y="5199814"/>
                    <a:pt x="2972277" y="5141823"/>
                  </a:cubicBezTo>
                  <a:cubicBezTo>
                    <a:pt x="2972277" y="5141823"/>
                    <a:pt x="2972277" y="5141823"/>
                    <a:pt x="2987205" y="5136753"/>
                  </a:cubicBezTo>
                  <a:cubicBezTo>
                    <a:pt x="2987205" y="5136753"/>
                    <a:pt x="2987205" y="5136753"/>
                    <a:pt x="2985935" y="5133267"/>
                  </a:cubicBezTo>
                  <a:cubicBezTo>
                    <a:pt x="2985935" y="5133267"/>
                    <a:pt x="2985935" y="5133267"/>
                    <a:pt x="2985300" y="5131366"/>
                  </a:cubicBezTo>
                  <a:cubicBezTo>
                    <a:pt x="2985300" y="5131366"/>
                    <a:pt x="2985300" y="5131366"/>
                    <a:pt x="3014520" y="5121859"/>
                  </a:cubicBezTo>
                  <a:close/>
                  <a:moveTo>
                    <a:pt x="736876" y="5120275"/>
                  </a:moveTo>
                  <a:cubicBezTo>
                    <a:pt x="736876" y="5120275"/>
                    <a:pt x="736876" y="5120275"/>
                    <a:pt x="735288" y="5135802"/>
                  </a:cubicBezTo>
                  <a:cubicBezTo>
                    <a:pt x="735288" y="5135802"/>
                    <a:pt x="735288" y="5135802"/>
                    <a:pt x="774990" y="5139605"/>
                  </a:cubicBezTo>
                  <a:lnTo>
                    <a:pt x="776578" y="5124078"/>
                  </a:lnTo>
                  <a:cubicBezTo>
                    <a:pt x="776578" y="5124078"/>
                    <a:pt x="776578" y="5124078"/>
                    <a:pt x="736876" y="5120275"/>
                  </a:cubicBezTo>
                  <a:close/>
                  <a:moveTo>
                    <a:pt x="3176824" y="5119007"/>
                  </a:moveTo>
                  <a:cubicBezTo>
                    <a:pt x="3176824" y="5119007"/>
                    <a:pt x="3176824" y="5119007"/>
                    <a:pt x="3219384" y="5119007"/>
                  </a:cubicBezTo>
                  <a:cubicBezTo>
                    <a:pt x="3219384" y="5119007"/>
                    <a:pt x="3219384" y="5119007"/>
                    <a:pt x="3219384" y="5172561"/>
                  </a:cubicBezTo>
                  <a:cubicBezTo>
                    <a:pt x="3219384" y="5172561"/>
                    <a:pt x="3219384" y="5172561"/>
                    <a:pt x="3192069" y="5172561"/>
                  </a:cubicBezTo>
                  <a:cubicBezTo>
                    <a:pt x="3192069" y="5172561"/>
                    <a:pt x="3192069" y="5172561"/>
                    <a:pt x="3192069" y="5204884"/>
                  </a:cubicBezTo>
                  <a:cubicBezTo>
                    <a:pt x="3192069" y="5204884"/>
                    <a:pt x="3192069" y="5204884"/>
                    <a:pt x="3151414" y="5204884"/>
                  </a:cubicBezTo>
                  <a:cubicBezTo>
                    <a:pt x="3151414" y="5204884"/>
                    <a:pt x="3151414" y="5204884"/>
                    <a:pt x="3151414" y="5146894"/>
                  </a:cubicBezTo>
                  <a:cubicBezTo>
                    <a:pt x="3151414" y="5146894"/>
                    <a:pt x="3151414" y="5146894"/>
                    <a:pt x="3176824" y="5146894"/>
                  </a:cubicBezTo>
                  <a:close/>
                  <a:moveTo>
                    <a:pt x="1873634" y="5118691"/>
                  </a:moveTo>
                  <a:cubicBezTo>
                    <a:pt x="1873634" y="5118691"/>
                    <a:pt x="1873634" y="5118691"/>
                    <a:pt x="1435320" y="5122493"/>
                  </a:cubicBezTo>
                  <a:cubicBezTo>
                    <a:pt x="1443895" y="5136436"/>
                    <a:pt x="1454059" y="5160520"/>
                    <a:pt x="1454377" y="5194427"/>
                  </a:cubicBezTo>
                  <a:cubicBezTo>
                    <a:pt x="1454377" y="5209004"/>
                    <a:pt x="1452154" y="5225165"/>
                    <a:pt x="1447707" y="5242911"/>
                  </a:cubicBezTo>
                  <a:cubicBezTo>
                    <a:pt x="1430238" y="5307873"/>
                    <a:pt x="1426109" y="5335442"/>
                    <a:pt x="1426109" y="5356040"/>
                  </a:cubicBezTo>
                  <a:cubicBezTo>
                    <a:pt x="1426109" y="5361744"/>
                    <a:pt x="1426426" y="5366814"/>
                    <a:pt x="1426744" y="5372518"/>
                  </a:cubicBezTo>
                  <a:cubicBezTo>
                    <a:pt x="1428014" y="5386778"/>
                    <a:pt x="1428014" y="5403256"/>
                    <a:pt x="1428650" y="5415931"/>
                  </a:cubicBezTo>
                  <a:cubicBezTo>
                    <a:pt x="1428967" y="5421002"/>
                    <a:pt x="1429285" y="5425121"/>
                    <a:pt x="1429603" y="5428290"/>
                  </a:cubicBezTo>
                  <a:cubicBezTo>
                    <a:pt x="1457871" y="5428290"/>
                    <a:pt x="1486456" y="5427022"/>
                    <a:pt x="1508372" y="5426389"/>
                  </a:cubicBezTo>
                  <a:cubicBezTo>
                    <a:pt x="1519171" y="5426072"/>
                    <a:pt x="1530288" y="5425121"/>
                    <a:pt x="1540769" y="5425121"/>
                  </a:cubicBezTo>
                  <a:cubicBezTo>
                    <a:pt x="1555380" y="5425121"/>
                    <a:pt x="1569672" y="5426706"/>
                    <a:pt x="1582695" y="5434311"/>
                  </a:cubicBezTo>
                  <a:cubicBezTo>
                    <a:pt x="1596035" y="5441916"/>
                    <a:pt x="1605881" y="5455859"/>
                    <a:pt x="1612233" y="5476457"/>
                  </a:cubicBezTo>
                  <a:cubicBezTo>
                    <a:pt x="1612551" y="5477725"/>
                    <a:pt x="1612869" y="5479626"/>
                    <a:pt x="1613186" y="5481210"/>
                  </a:cubicBezTo>
                  <a:cubicBezTo>
                    <a:pt x="1634467" y="5484696"/>
                    <a:pt x="1768502" y="5506244"/>
                    <a:pt x="1815509" y="5515751"/>
                  </a:cubicBezTo>
                  <a:cubicBezTo>
                    <a:pt x="1839331" y="5520504"/>
                    <a:pt x="1866328" y="5526842"/>
                    <a:pt x="1892373" y="5533180"/>
                  </a:cubicBezTo>
                  <a:cubicBezTo>
                    <a:pt x="1893961" y="5516385"/>
                    <a:pt x="1897773" y="5479626"/>
                    <a:pt x="1900314" y="5438747"/>
                  </a:cubicBezTo>
                  <a:cubicBezTo>
                    <a:pt x="1901584" y="5412763"/>
                    <a:pt x="1902219" y="5382024"/>
                    <a:pt x="1902219" y="5355406"/>
                  </a:cubicBezTo>
                  <a:cubicBezTo>
                    <a:pt x="1902219" y="5331005"/>
                    <a:pt x="1901584" y="5309774"/>
                    <a:pt x="1901584" y="5297415"/>
                  </a:cubicBezTo>
                  <a:cubicBezTo>
                    <a:pt x="1900949" y="5270797"/>
                    <a:pt x="1893644" y="5223580"/>
                    <a:pt x="1886338" y="5183653"/>
                  </a:cubicBezTo>
                  <a:cubicBezTo>
                    <a:pt x="1881257" y="5155450"/>
                    <a:pt x="1876175" y="5131049"/>
                    <a:pt x="1873634" y="5118691"/>
                  </a:cubicBezTo>
                  <a:close/>
                  <a:moveTo>
                    <a:pt x="2007351" y="5115839"/>
                  </a:moveTo>
                  <a:cubicBezTo>
                    <a:pt x="2007351" y="5135802"/>
                    <a:pt x="2007033" y="5158302"/>
                    <a:pt x="2006398" y="5180484"/>
                  </a:cubicBezTo>
                  <a:cubicBezTo>
                    <a:pt x="2006398" y="5180484"/>
                    <a:pt x="2006398" y="5180484"/>
                    <a:pt x="2061029" y="5184286"/>
                  </a:cubicBezTo>
                  <a:cubicBezTo>
                    <a:pt x="2061029" y="5184286"/>
                    <a:pt x="2061029" y="5184286"/>
                    <a:pt x="2061029" y="5203933"/>
                  </a:cubicBezTo>
                  <a:cubicBezTo>
                    <a:pt x="2067381" y="5205518"/>
                    <a:pt x="2089297" y="5210905"/>
                    <a:pt x="2112165" y="5216292"/>
                  </a:cubicBezTo>
                  <a:cubicBezTo>
                    <a:pt x="2135034" y="5221679"/>
                    <a:pt x="2158855" y="5227066"/>
                    <a:pt x="2165525" y="5228651"/>
                  </a:cubicBezTo>
                  <a:cubicBezTo>
                    <a:pt x="2167431" y="5217560"/>
                    <a:pt x="2172195" y="5189673"/>
                    <a:pt x="2177277" y="5159569"/>
                  </a:cubicBezTo>
                  <a:cubicBezTo>
                    <a:pt x="2177277" y="5159569"/>
                    <a:pt x="2177277" y="5159569"/>
                    <a:pt x="2062299" y="5136119"/>
                  </a:cubicBezTo>
                  <a:cubicBezTo>
                    <a:pt x="2062299" y="5136119"/>
                    <a:pt x="2062299" y="5136119"/>
                    <a:pt x="2064205" y="5116155"/>
                  </a:cubicBezTo>
                  <a:cubicBezTo>
                    <a:pt x="2064205" y="5116155"/>
                    <a:pt x="2064205" y="5116155"/>
                    <a:pt x="2007351" y="5115839"/>
                  </a:cubicBezTo>
                  <a:close/>
                  <a:moveTo>
                    <a:pt x="733064" y="5115522"/>
                  </a:moveTo>
                  <a:cubicBezTo>
                    <a:pt x="733064" y="5115522"/>
                    <a:pt x="733064" y="5115522"/>
                    <a:pt x="735288" y="5115839"/>
                  </a:cubicBezTo>
                  <a:cubicBezTo>
                    <a:pt x="735288" y="5115839"/>
                    <a:pt x="735288" y="5115839"/>
                    <a:pt x="781025" y="5120275"/>
                  </a:cubicBezTo>
                  <a:lnTo>
                    <a:pt x="778802" y="5144042"/>
                  </a:lnTo>
                  <a:cubicBezTo>
                    <a:pt x="778802" y="5144042"/>
                    <a:pt x="778802" y="5144042"/>
                    <a:pt x="730841" y="5139605"/>
                  </a:cubicBezTo>
                  <a:cubicBezTo>
                    <a:pt x="730841" y="5139605"/>
                    <a:pt x="730841" y="5139605"/>
                    <a:pt x="733064" y="5115522"/>
                  </a:cubicBezTo>
                  <a:close/>
                  <a:moveTo>
                    <a:pt x="607923" y="5114254"/>
                  </a:moveTo>
                  <a:cubicBezTo>
                    <a:pt x="607923" y="5114254"/>
                    <a:pt x="607923" y="5114254"/>
                    <a:pt x="571079" y="5148161"/>
                  </a:cubicBezTo>
                  <a:cubicBezTo>
                    <a:pt x="571397" y="5148161"/>
                    <a:pt x="571397" y="5148161"/>
                    <a:pt x="571714" y="5148478"/>
                  </a:cubicBezTo>
                  <a:cubicBezTo>
                    <a:pt x="595218" y="5170660"/>
                    <a:pt x="616498" y="5190624"/>
                    <a:pt x="624121" y="5197596"/>
                  </a:cubicBezTo>
                  <a:cubicBezTo>
                    <a:pt x="624121" y="5197596"/>
                    <a:pt x="624121" y="5197596"/>
                    <a:pt x="671129" y="5142457"/>
                  </a:cubicBezTo>
                  <a:cubicBezTo>
                    <a:pt x="664459" y="5139605"/>
                    <a:pt x="656836" y="5136119"/>
                    <a:pt x="649531" y="5132950"/>
                  </a:cubicBezTo>
                  <a:cubicBezTo>
                    <a:pt x="638732" y="5128197"/>
                    <a:pt x="628250" y="5123444"/>
                    <a:pt x="619992" y="5119641"/>
                  </a:cubicBezTo>
                  <a:cubicBezTo>
                    <a:pt x="616181" y="5118057"/>
                    <a:pt x="612687" y="5116472"/>
                    <a:pt x="610464" y="5115205"/>
                  </a:cubicBezTo>
                  <a:cubicBezTo>
                    <a:pt x="609511" y="5114888"/>
                    <a:pt x="608558" y="5114571"/>
                    <a:pt x="607923" y="5114254"/>
                  </a:cubicBezTo>
                  <a:close/>
                  <a:moveTo>
                    <a:pt x="488180" y="5098410"/>
                  </a:moveTo>
                  <a:cubicBezTo>
                    <a:pt x="475476" y="5115839"/>
                    <a:pt x="419257" y="5182068"/>
                    <a:pt x="419257" y="5182068"/>
                  </a:cubicBezTo>
                  <a:cubicBezTo>
                    <a:pt x="419257" y="5182068"/>
                    <a:pt x="419257" y="5182068"/>
                    <a:pt x="418304" y="5183336"/>
                  </a:cubicBezTo>
                  <a:cubicBezTo>
                    <a:pt x="418304" y="5183336"/>
                    <a:pt x="418304" y="5183336"/>
                    <a:pt x="392259" y="5171611"/>
                  </a:cubicBezTo>
                  <a:cubicBezTo>
                    <a:pt x="390036" y="5175413"/>
                    <a:pt x="384637" y="5184286"/>
                    <a:pt x="378920" y="5193476"/>
                  </a:cubicBezTo>
                  <a:cubicBezTo>
                    <a:pt x="375108" y="5199497"/>
                    <a:pt x="371297" y="5205201"/>
                    <a:pt x="368120" y="5209954"/>
                  </a:cubicBezTo>
                  <a:cubicBezTo>
                    <a:pt x="366850" y="5212172"/>
                    <a:pt x="365580" y="5214074"/>
                    <a:pt x="364309" y="5215341"/>
                  </a:cubicBezTo>
                  <a:cubicBezTo>
                    <a:pt x="363991" y="5215975"/>
                    <a:pt x="363674" y="5216292"/>
                    <a:pt x="363356" y="5216926"/>
                  </a:cubicBezTo>
                  <a:cubicBezTo>
                    <a:pt x="366850" y="5220728"/>
                    <a:pt x="382731" y="5233721"/>
                    <a:pt x="397659" y="5245763"/>
                  </a:cubicBezTo>
                  <a:cubicBezTo>
                    <a:pt x="414175" y="5259072"/>
                    <a:pt x="430056" y="5271431"/>
                    <a:pt x="430056" y="5271431"/>
                  </a:cubicBezTo>
                  <a:lnTo>
                    <a:pt x="427515" y="5274916"/>
                  </a:lnTo>
                  <a:cubicBezTo>
                    <a:pt x="427515" y="5274916"/>
                    <a:pt x="410364" y="5261607"/>
                    <a:pt x="393212" y="5247981"/>
                  </a:cubicBezTo>
                  <a:cubicBezTo>
                    <a:pt x="384637" y="5241009"/>
                    <a:pt x="376061" y="5234038"/>
                    <a:pt x="369709" y="5228651"/>
                  </a:cubicBezTo>
                  <a:cubicBezTo>
                    <a:pt x="366532" y="5225799"/>
                    <a:pt x="363674" y="5223580"/>
                    <a:pt x="361768" y="5221679"/>
                  </a:cubicBezTo>
                  <a:cubicBezTo>
                    <a:pt x="360815" y="5220728"/>
                    <a:pt x="360180" y="5219778"/>
                    <a:pt x="359545" y="5219144"/>
                  </a:cubicBezTo>
                  <a:cubicBezTo>
                    <a:pt x="359545" y="5219144"/>
                    <a:pt x="359227" y="5218827"/>
                    <a:pt x="359227" y="5218827"/>
                  </a:cubicBezTo>
                  <a:cubicBezTo>
                    <a:pt x="356051" y="5219144"/>
                    <a:pt x="349381" y="5219778"/>
                    <a:pt x="339852" y="5220728"/>
                  </a:cubicBezTo>
                  <a:cubicBezTo>
                    <a:pt x="328736" y="5221679"/>
                    <a:pt x="314443" y="5222630"/>
                    <a:pt x="299832" y="5223897"/>
                  </a:cubicBezTo>
                  <a:cubicBezTo>
                    <a:pt x="299832" y="5223897"/>
                    <a:pt x="299832" y="5223897"/>
                    <a:pt x="311267" y="5289493"/>
                  </a:cubicBezTo>
                  <a:cubicBezTo>
                    <a:pt x="311267" y="5289493"/>
                    <a:pt x="311267" y="5289493"/>
                    <a:pt x="310631" y="5289493"/>
                  </a:cubicBezTo>
                  <a:cubicBezTo>
                    <a:pt x="310631" y="5289493"/>
                    <a:pt x="310631" y="5289493"/>
                    <a:pt x="409411" y="5299634"/>
                  </a:cubicBezTo>
                  <a:cubicBezTo>
                    <a:pt x="412269" y="5292662"/>
                    <a:pt x="416716" y="5288226"/>
                    <a:pt x="418622" y="5286324"/>
                  </a:cubicBezTo>
                  <a:cubicBezTo>
                    <a:pt x="418622" y="5286324"/>
                    <a:pt x="418622" y="5286324"/>
                    <a:pt x="535506" y="5143091"/>
                  </a:cubicBezTo>
                  <a:cubicBezTo>
                    <a:pt x="516448" y="5125028"/>
                    <a:pt x="498662" y="5108233"/>
                    <a:pt x="488180" y="5098410"/>
                  </a:cubicBezTo>
                  <a:close/>
                  <a:moveTo>
                    <a:pt x="2318618" y="5095875"/>
                  </a:moveTo>
                  <a:cubicBezTo>
                    <a:pt x="2318618" y="5095875"/>
                    <a:pt x="2318618" y="5095875"/>
                    <a:pt x="2289714" y="5096191"/>
                  </a:cubicBezTo>
                  <a:cubicBezTo>
                    <a:pt x="2289714" y="5096191"/>
                    <a:pt x="2289714" y="5096191"/>
                    <a:pt x="2290667" y="5126613"/>
                  </a:cubicBezTo>
                  <a:cubicBezTo>
                    <a:pt x="2290667" y="5126613"/>
                    <a:pt x="2290667" y="5126613"/>
                    <a:pt x="2308771" y="5126613"/>
                  </a:cubicBezTo>
                  <a:cubicBezTo>
                    <a:pt x="2308771" y="5126613"/>
                    <a:pt x="2308771" y="5126613"/>
                    <a:pt x="2309089" y="5149746"/>
                  </a:cubicBezTo>
                  <a:lnTo>
                    <a:pt x="2335451" y="5149429"/>
                  </a:lnTo>
                  <a:cubicBezTo>
                    <a:pt x="2335451" y="5149429"/>
                    <a:pt x="2335451" y="5149429"/>
                    <a:pt x="2335134" y="5099043"/>
                  </a:cubicBezTo>
                  <a:cubicBezTo>
                    <a:pt x="2335134" y="5099043"/>
                    <a:pt x="2335134" y="5099043"/>
                    <a:pt x="2318618" y="5099360"/>
                  </a:cubicBezTo>
                  <a:cubicBezTo>
                    <a:pt x="2318618" y="5099360"/>
                    <a:pt x="2318618" y="5099360"/>
                    <a:pt x="2318618" y="5095875"/>
                  </a:cubicBezTo>
                  <a:close/>
                  <a:moveTo>
                    <a:pt x="2322746" y="5091755"/>
                  </a:moveTo>
                  <a:cubicBezTo>
                    <a:pt x="2322746" y="5091755"/>
                    <a:pt x="2322746" y="5091755"/>
                    <a:pt x="2322746" y="5094924"/>
                  </a:cubicBezTo>
                  <a:cubicBezTo>
                    <a:pt x="2322746" y="5094924"/>
                    <a:pt x="2322746" y="5094924"/>
                    <a:pt x="2339263" y="5094924"/>
                  </a:cubicBezTo>
                  <a:lnTo>
                    <a:pt x="2339580" y="5153548"/>
                  </a:lnTo>
                  <a:cubicBezTo>
                    <a:pt x="2339580" y="5153548"/>
                    <a:pt x="2339580" y="5153548"/>
                    <a:pt x="2304960" y="5153865"/>
                  </a:cubicBezTo>
                  <a:cubicBezTo>
                    <a:pt x="2304960" y="5153865"/>
                    <a:pt x="2304960" y="5153865"/>
                    <a:pt x="2304642" y="5130732"/>
                  </a:cubicBezTo>
                  <a:cubicBezTo>
                    <a:pt x="2304642" y="5130732"/>
                    <a:pt x="2304642" y="5130732"/>
                    <a:pt x="2286538" y="5131049"/>
                  </a:cubicBezTo>
                  <a:cubicBezTo>
                    <a:pt x="2286538" y="5131049"/>
                    <a:pt x="2286538" y="5131049"/>
                    <a:pt x="2286538" y="5128831"/>
                  </a:cubicBezTo>
                  <a:cubicBezTo>
                    <a:pt x="2286538" y="5128831"/>
                    <a:pt x="2286538" y="5128831"/>
                    <a:pt x="2285268" y="5092072"/>
                  </a:cubicBezTo>
                  <a:cubicBezTo>
                    <a:pt x="2285268" y="5092072"/>
                    <a:pt x="2285268" y="5092072"/>
                    <a:pt x="2322746" y="5091755"/>
                  </a:cubicBezTo>
                  <a:close/>
                  <a:moveTo>
                    <a:pt x="3476656" y="5088586"/>
                  </a:moveTo>
                  <a:cubicBezTo>
                    <a:pt x="3476656" y="5088586"/>
                    <a:pt x="3476656" y="5088586"/>
                    <a:pt x="3432189" y="5112353"/>
                  </a:cubicBezTo>
                  <a:lnTo>
                    <a:pt x="3439812" y="5126930"/>
                  </a:lnTo>
                  <a:cubicBezTo>
                    <a:pt x="3439812" y="5126930"/>
                    <a:pt x="3439812" y="5126930"/>
                    <a:pt x="3436954" y="5128514"/>
                  </a:cubicBezTo>
                  <a:cubicBezTo>
                    <a:pt x="3436954" y="5128514"/>
                    <a:pt x="3436954" y="5128514"/>
                    <a:pt x="3450294" y="5153865"/>
                  </a:cubicBezTo>
                  <a:cubicBezTo>
                    <a:pt x="3450294" y="5153865"/>
                    <a:pt x="3450294" y="5153865"/>
                    <a:pt x="3477291" y="5138971"/>
                  </a:cubicBezTo>
                  <a:cubicBezTo>
                    <a:pt x="3477291" y="5138971"/>
                    <a:pt x="3477291" y="5138971"/>
                    <a:pt x="3468715" y="5122810"/>
                  </a:cubicBezTo>
                  <a:cubicBezTo>
                    <a:pt x="3468715" y="5122810"/>
                    <a:pt x="3468715" y="5122810"/>
                    <a:pt x="3489043" y="5112036"/>
                  </a:cubicBezTo>
                  <a:cubicBezTo>
                    <a:pt x="3489043" y="5112036"/>
                    <a:pt x="3489043" y="5112036"/>
                    <a:pt x="3476656" y="5088586"/>
                  </a:cubicBezTo>
                  <a:close/>
                  <a:moveTo>
                    <a:pt x="141023" y="5086051"/>
                  </a:moveTo>
                  <a:cubicBezTo>
                    <a:pt x="141023" y="5086051"/>
                    <a:pt x="141023" y="5086051"/>
                    <a:pt x="137847" y="5104114"/>
                  </a:cubicBezTo>
                  <a:cubicBezTo>
                    <a:pt x="137847" y="5104114"/>
                    <a:pt x="137847" y="5104114"/>
                    <a:pt x="218522" y="5197913"/>
                  </a:cubicBezTo>
                  <a:lnTo>
                    <a:pt x="249649" y="5195377"/>
                  </a:lnTo>
                  <a:cubicBezTo>
                    <a:pt x="249649" y="5195377"/>
                    <a:pt x="249649" y="5195377"/>
                    <a:pt x="244249" y="5138338"/>
                  </a:cubicBezTo>
                  <a:cubicBezTo>
                    <a:pt x="244249" y="5138338"/>
                    <a:pt x="244249" y="5138338"/>
                    <a:pt x="141023" y="5086051"/>
                  </a:cubicBezTo>
                  <a:close/>
                  <a:moveTo>
                    <a:pt x="4353602" y="5083833"/>
                  </a:moveTo>
                  <a:cubicBezTo>
                    <a:pt x="4353602" y="5083833"/>
                    <a:pt x="4353602" y="5083833"/>
                    <a:pt x="4345978" y="5084150"/>
                  </a:cubicBezTo>
                  <a:cubicBezTo>
                    <a:pt x="4345978" y="5084150"/>
                    <a:pt x="4345978" y="5084150"/>
                    <a:pt x="4346614" y="5100945"/>
                  </a:cubicBezTo>
                  <a:cubicBezTo>
                    <a:pt x="4346614" y="5100945"/>
                    <a:pt x="4346614" y="5100945"/>
                    <a:pt x="4344708" y="5100945"/>
                  </a:cubicBezTo>
                  <a:cubicBezTo>
                    <a:pt x="4344708" y="5101262"/>
                    <a:pt x="4345026" y="5101262"/>
                    <a:pt x="4345026" y="5101262"/>
                  </a:cubicBezTo>
                  <a:cubicBezTo>
                    <a:pt x="4349472" y="5102846"/>
                    <a:pt x="4352331" y="5102846"/>
                    <a:pt x="4353284" y="5102846"/>
                  </a:cubicBezTo>
                  <a:cubicBezTo>
                    <a:pt x="4353602" y="5102846"/>
                    <a:pt x="4353602" y="5102846"/>
                    <a:pt x="4353602" y="5102846"/>
                  </a:cubicBezTo>
                  <a:close/>
                  <a:moveTo>
                    <a:pt x="53678" y="5083833"/>
                  </a:moveTo>
                  <a:lnTo>
                    <a:pt x="57172" y="5086368"/>
                  </a:lnTo>
                  <a:cubicBezTo>
                    <a:pt x="1271" y="5164006"/>
                    <a:pt x="1271" y="5164006"/>
                    <a:pt x="1271" y="5164006"/>
                  </a:cubicBezTo>
                  <a:cubicBezTo>
                    <a:pt x="1271" y="5156400"/>
                    <a:pt x="1271" y="5156400"/>
                    <a:pt x="1271" y="5156400"/>
                  </a:cubicBezTo>
                  <a:cubicBezTo>
                    <a:pt x="23822" y="5125345"/>
                    <a:pt x="23822" y="5125345"/>
                    <a:pt x="23822" y="5125345"/>
                  </a:cubicBezTo>
                  <a:cubicBezTo>
                    <a:pt x="1271" y="5109501"/>
                    <a:pt x="1271" y="5109501"/>
                    <a:pt x="1271" y="5109501"/>
                  </a:cubicBezTo>
                  <a:cubicBezTo>
                    <a:pt x="1271" y="5103797"/>
                    <a:pt x="1271" y="5103797"/>
                    <a:pt x="1271" y="5103797"/>
                  </a:cubicBezTo>
                  <a:cubicBezTo>
                    <a:pt x="26363" y="5121859"/>
                    <a:pt x="26363" y="5121859"/>
                    <a:pt x="26363" y="5121859"/>
                  </a:cubicBezTo>
                  <a:cubicBezTo>
                    <a:pt x="53678" y="5083833"/>
                    <a:pt x="53678" y="5083833"/>
                    <a:pt x="53678" y="5083833"/>
                  </a:cubicBezTo>
                  <a:close/>
                  <a:moveTo>
                    <a:pt x="4357095" y="5083516"/>
                  </a:moveTo>
                  <a:lnTo>
                    <a:pt x="4367259" y="5098727"/>
                  </a:lnTo>
                  <a:cubicBezTo>
                    <a:pt x="4367259" y="5098727"/>
                    <a:pt x="4367259" y="5098727"/>
                    <a:pt x="4357095" y="5083516"/>
                  </a:cubicBezTo>
                  <a:close/>
                  <a:moveTo>
                    <a:pt x="640002" y="5083516"/>
                  </a:moveTo>
                  <a:lnTo>
                    <a:pt x="640002" y="5084467"/>
                  </a:lnTo>
                  <a:cubicBezTo>
                    <a:pt x="640002" y="5084467"/>
                    <a:pt x="640002" y="5084467"/>
                    <a:pt x="611416" y="5110768"/>
                  </a:cubicBezTo>
                  <a:cubicBezTo>
                    <a:pt x="617769" y="5113937"/>
                    <a:pt x="635556" y="5121859"/>
                    <a:pt x="652707" y="5129465"/>
                  </a:cubicBezTo>
                  <a:cubicBezTo>
                    <a:pt x="672399" y="5138338"/>
                    <a:pt x="691456" y="5146577"/>
                    <a:pt x="693680" y="5147844"/>
                  </a:cubicBezTo>
                  <a:cubicBezTo>
                    <a:pt x="693680" y="5147844"/>
                    <a:pt x="693680" y="5147844"/>
                    <a:pt x="817233" y="5167808"/>
                  </a:cubicBezTo>
                  <a:cubicBezTo>
                    <a:pt x="817551" y="5145309"/>
                    <a:pt x="817551" y="5125028"/>
                    <a:pt x="817869" y="5108233"/>
                  </a:cubicBezTo>
                  <a:cubicBezTo>
                    <a:pt x="817869" y="5108233"/>
                    <a:pt x="817869" y="5108233"/>
                    <a:pt x="694633" y="5101895"/>
                  </a:cubicBezTo>
                  <a:cubicBezTo>
                    <a:pt x="694633" y="5101895"/>
                    <a:pt x="694633" y="5101895"/>
                    <a:pt x="640002" y="5083516"/>
                  </a:cubicBezTo>
                  <a:close/>
                  <a:moveTo>
                    <a:pt x="3478562" y="5082882"/>
                  </a:moveTo>
                  <a:cubicBezTo>
                    <a:pt x="3478562" y="5082882"/>
                    <a:pt x="3478562" y="5082882"/>
                    <a:pt x="3494760" y="5113620"/>
                  </a:cubicBezTo>
                  <a:cubicBezTo>
                    <a:pt x="3494760" y="5113620"/>
                    <a:pt x="3494760" y="5113620"/>
                    <a:pt x="3474115" y="5124711"/>
                  </a:cubicBezTo>
                  <a:cubicBezTo>
                    <a:pt x="3474115" y="5124711"/>
                    <a:pt x="3474115" y="5124711"/>
                    <a:pt x="3482690" y="5140556"/>
                  </a:cubicBezTo>
                  <a:cubicBezTo>
                    <a:pt x="3482690" y="5140556"/>
                    <a:pt x="3482690" y="5140556"/>
                    <a:pt x="3481102" y="5141506"/>
                  </a:cubicBezTo>
                  <a:cubicBezTo>
                    <a:pt x="3481102" y="5141506"/>
                    <a:pt x="3481102" y="5141506"/>
                    <a:pt x="3448705" y="5159569"/>
                  </a:cubicBezTo>
                  <a:cubicBezTo>
                    <a:pt x="3448705" y="5159569"/>
                    <a:pt x="3448705" y="5159569"/>
                    <a:pt x="3431236" y="5126613"/>
                  </a:cubicBezTo>
                  <a:lnTo>
                    <a:pt x="3434095" y="5125028"/>
                  </a:lnTo>
                  <a:cubicBezTo>
                    <a:pt x="3434095" y="5125028"/>
                    <a:pt x="3434095" y="5125028"/>
                    <a:pt x="3426472" y="5110451"/>
                  </a:cubicBezTo>
                  <a:cubicBezTo>
                    <a:pt x="3426472" y="5110451"/>
                    <a:pt x="3426472" y="5110451"/>
                    <a:pt x="3478562" y="5082882"/>
                  </a:cubicBezTo>
                  <a:close/>
                  <a:moveTo>
                    <a:pt x="1244748" y="5080664"/>
                  </a:moveTo>
                  <a:cubicBezTo>
                    <a:pt x="1244748" y="5080664"/>
                    <a:pt x="1244748" y="5080664"/>
                    <a:pt x="1243160" y="5096508"/>
                  </a:cubicBezTo>
                  <a:cubicBezTo>
                    <a:pt x="1243160" y="5096508"/>
                    <a:pt x="1243160" y="5096508"/>
                    <a:pt x="1282863" y="5100311"/>
                  </a:cubicBezTo>
                  <a:lnTo>
                    <a:pt x="1284451" y="5084467"/>
                  </a:lnTo>
                  <a:cubicBezTo>
                    <a:pt x="1284451" y="5084467"/>
                    <a:pt x="1284451" y="5084467"/>
                    <a:pt x="1244748" y="5080664"/>
                  </a:cubicBezTo>
                  <a:close/>
                  <a:moveTo>
                    <a:pt x="137212" y="5079080"/>
                  </a:moveTo>
                  <a:cubicBezTo>
                    <a:pt x="137212" y="5079080"/>
                    <a:pt x="137212" y="5079080"/>
                    <a:pt x="248696" y="5135169"/>
                  </a:cubicBezTo>
                  <a:cubicBezTo>
                    <a:pt x="248696" y="5135169"/>
                    <a:pt x="248696" y="5135169"/>
                    <a:pt x="254731" y="5199497"/>
                  </a:cubicBezTo>
                  <a:lnTo>
                    <a:pt x="252190" y="5199814"/>
                  </a:lnTo>
                  <a:cubicBezTo>
                    <a:pt x="252190" y="5199814"/>
                    <a:pt x="252190" y="5199814"/>
                    <a:pt x="216616" y="5202666"/>
                  </a:cubicBezTo>
                  <a:cubicBezTo>
                    <a:pt x="216616" y="5202666"/>
                    <a:pt x="216616" y="5202666"/>
                    <a:pt x="132765" y="5105381"/>
                  </a:cubicBezTo>
                  <a:cubicBezTo>
                    <a:pt x="132765" y="5105381"/>
                    <a:pt x="132765" y="5105381"/>
                    <a:pt x="137212" y="5079080"/>
                  </a:cubicBezTo>
                  <a:close/>
                  <a:moveTo>
                    <a:pt x="2055629" y="5076544"/>
                  </a:moveTo>
                  <a:cubicBezTo>
                    <a:pt x="2055629" y="5076544"/>
                    <a:pt x="2055629" y="5076544"/>
                    <a:pt x="2015927" y="5076861"/>
                  </a:cubicBezTo>
                  <a:cubicBezTo>
                    <a:pt x="2015927" y="5076861"/>
                    <a:pt x="2015927" y="5076861"/>
                    <a:pt x="2016244" y="5092706"/>
                  </a:cubicBezTo>
                  <a:lnTo>
                    <a:pt x="2055947" y="5092389"/>
                  </a:lnTo>
                  <a:cubicBezTo>
                    <a:pt x="2055947" y="5092389"/>
                    <a:pt x="2055947" y="5092389"/>
                    <a:pt x="2055629" y="5076544"/>
                  </a:cubicBezTo>
                  <a:close/>
                  <a:moveTo>
                    <a:pt x="1240937" y="5076228"/>
                  </a:moveTo>
                  <a:cubicBezTo>
                    <a:pt x="1240937" y="5076228"/>
                    <a:pt x="1240937" y="5076228"/>
                    <a:pt x="1243160" y="5076544"/>
                  </a:cubicBezTo>
                  <a:cubicBezTo>
                    <a:pt x="1243160" y="5076544"/>
                    <a:pt x="1243160" y="5076544"/>
                    <a:pt x="1288897" y="5080981"/>
                  </a:cubicBezTo>
                  <a:lnTo>
                    <a:pt x="1286674" y="5104747"/>
                  </a:lnTo>
                  <a:cubicBezTo>
                    <a:pt x="1286674" y="5104747"/>
                    <a:pt x="1286674" y="5104747"/>
                    <a:pt x="1238714" y="5099994"/>
                  </a:cubicBezTo>
                  <a:cubicBezTo>
                    <a:pt x="1238714" y="5099994"/>
                    <a:pt x="1238714" y="5099994"/>
                    <a:pt x="1240937" y="5076228"/>
                  </a:cubicBezTo>
                  <a:close/>
                  <a:moveTo>
                    <a:pt x="2060076" y="5072425"/>
                  </a:moveTo>
                  <a:cubicBezTo>
                    <a:pt x="2060076" y="5072425"/>
                    <a:pt x="2060076" y="5072425"/>
                    <a:pt x="2060076" y="5096508"/>
                  </a:cubicBezTo>
                  <a:cubicBezTo>
                    <a:pt x="2060076" y="5096508"/>
                    <a:pt x="2060076" y="5096508"/>
                    <a:pt x="2012115" y="5096825"/>
                  </a:cubicBezTo>
                  <a:cubicBezTo>
                    <a:pt x="2012115" y="5096825"/>
                    <a:pt x="2012115" y="5096825"/>
                    <a:pt x="2011798" y="5072742"/>
                  </a:cubicBezTo>
                  <a:cubicBezTo>
                    <a:pt x="2011798" y="5072742"/>
                    <a:pt x="2011798" y="5072742"/>
                    <a:pt x="2014021" y="5072742"/>
                  </a:cubicBezTo>
                  <a:close/>
                  <a:moveTo>
                    <a:pt x="871546" y="5069256"/>
                  </a:moveTo>
                  <a:lnTo>
                    <a:pt x="869958" y="5084784"/>
                  </a:lnTo>
                  <a:cubicBezTo>
                    <a:pt x="869958" y="5084784"/>
                    <a:pt x="869958" y="5084784"/>
                    <a:pt x="909661" y="5088586"/>
                  </a:cubicBezTo>
                  <a:cubicBezTo>
                    <a:pt x="909661" y="5088586"/>
                    <a:pt x="909661" y="5088586"/>
                    <a:pt x="911249" y="5073059"/>
                  </a:cubicBezTo>
                  <a:cubicBezTo>
                    <a:pt x="911249" y="5073059"/>
                    <a:pt x="911249" y="5073059"/>
                    <a:pt x="871546" y="5069256"/>
                  </a:cubicBezTo>
                  <a:close/>
                  <a:moveTo>
                    <a:pt x="2197287" y="5067355"/>
                  </a:moveTo>
                  <a:cubicBezTo>
                    <a:pt x="2193476" y="5088586"/>
                    <a:pt x="2180771" y="5164956"/>
                    <a:pt x="2173783" y="5206785"/>
                  </a:cubicBezTo>
                  <a:cubicBezTo>
                    <a:pt x="2179183" y="5206468"/>
                    <a:pt x="2190935" y="5206152"/>
                    <a:pt x="2203004" y="5205835"/>
                  </a:cubicBezTo>
                  <a:cubicBezTo>
                    <a:pt x="2211262" y="5205835"/>
                    <a:pt x="2219203" y="5205518"/>
                    <a:pt x="2225555" y="5205201"/>
                  </a:cubicBezTo>
                  <a:cubicBezTo>
                    <a:pt x="2228731" y="5204884"/>
                    <a:pt x="2231590" y="5204884"/>
                    <a:pt x="2233496" y="5204567"/>
                  </a:cubicBezTo>
                  <a:cubicBezTo>
                    <a:pt x="2234448" y="5204567"/>
                    <a:pt x="2235401" y="5204567"/>
                    <a:pt x="2235719" y="5204250"/>
                  </a:cubicBezTo>
                  <a:cubicBezTo>
                    <a:pt x="2236036" y="5204250"/>
                    <a:pt x="2236354" y="5204250"/>
                    <a:pt x="2236354" y="5204250"/>
                  </a:cubicBezTo>
                  <a:cubicBezTo>
                    <a:pt x="2239848" y="5202666"/>
                    <a:pt x="2276692" y="5184286"/>
                    <a:pt x="2276692" y="5184286"/>
                  </a:cubicBezTo>
                  <a:cubicBezTo>
                    <a:pt x="2276692" y="5184286"/>
                    <a:pt x="2276692" y="5184286"/>
                    <a:pt x="2277327" y="5183969"/>
                  </a:cubicBezTo>
                  <a:lnTo>
                    <a:pt x="2334498" y="5193159"/>
                  </a:lnTo>
                  <a:cubicBezTo>
                    <a:pt x="2346250" y="5166541"/>
                    <a:pt x="2357050" y="5141823"/>
                    <a:pt x="2366578" y="5120275"/>
                  </a:cubicBezTo>
                  <a:cubicBezTo>
                    <a:pt x="2374518" y="5102212"/>
                    <a:pt x="2381506" y="5086051"/>
                    <a:pt x="2387223" y="5073059"/>
                  </a:cubicBezTo>
                  <a:cubicBezTo>
                    <a:pt x="2387223" y="5073059"/>
                    <a:pt x="2387223" y="5073059"/>
                    <a:pt x="2197287" y="5067355"/>
                  </a:cubicBezTo>
                  <a:close/>
                  <a:moveTo>
                    <a:pt x="867735" y="5064820"/>
                  </a:moveTo>
                  <a:lnTo>
                    <a:pt x="869958" y="5064820"/>
                  </a:lnTo>
                  <a:cubicBezTo>
                    <a:pt x="869958" y="5064820"/>
                    <a:pt x="869958" y="5064820"/>
                    <a:pt x="915695" y="5069256"/>
                  </a:cubicBezTo>
                  <a:cubicBezTo>
                    <a:pt x="915695" y="5069256"/>
                    <a:pt x="915695" y="5069256"/>
                    <a:pt x="913472" y="5093340"/>
                  </a:cubicBezTo>
                  <a:cubicBezTo>
                    <a:pt x="913472" y="5093340"/>
                    <a:pt x="913472" y="5093340"/>
                    <a:pt x="865512" y="5088586"/>
                  </a:cubicBezTo>
                  <a:cubicBezTo>
                    <a:pt x="865512" y="5088586"/>
                    <a:pt x="865512" y="5088586"/>
                    <a:pt x="867735" y="5064820"/>
                  </a:cubicBezTo>
                  <a:close/>
                  <a:moveTo>
                    <a:pt x="2007669" y="5061968"/>
                  </a:moveTo>
                  <a:cubicBezTo>
                    <a:pt x="2007669" y="5071474"/>
                    <a:pt x="2007669" y="5089537"/>
                    <a:pt x="2007669" y="5111402"/>
                  </a:cubicBezTo>
                  <a:cubicBezTo>
                    <a:pt x="2007669" y="5111402"/>
                    <a:pt x="2007669" y="5111402"/>
                    <a:pt x="2068969" y="5112036"/>
                  </a:cubicBezTo>
                  <a:cubicBezTo>
                    <a:pt x="2068969" y="5112036"/>
                    <a:pt x="2068969" y="5112036"/>
                    <a:pt x="2067063" y="5132634"/>
                  </a:cubicBezTo>
                  <a:lnTo>
                    <a:pt x="2177912" y="5155450"/>
                  </a:lnTo>
                  <a:cubicBezTo>
                    <a:pt x="2178230" y="5152914"/>
                    <a:pt x="2178865" y="5150379"/>
                    <a:pt x="2179183" y="5147527"/>
                  </a:cubicBezTo>
                  <a:cubicBezTo>
                    <a:pt x="2182677" y="5126296"/>
                    <a:pt x="2186488" y="5104747"/>
                    <a:pt x="2189347" y="5088586"/>
                  </a:cubicBezTo>
                  <a:cubicBezTo>
                    <a:pt x="2190617" y="5080347"/>
                    <a:pt x="2191888" y="5073692"/>
                    <a:pt x="2192523" y="5068939"/>
                  </a:cubicBezTo>
                  <a:cubicBezTo>
                    <a:pt x="2192840" y="5068305"/>
                    <a:pt x="2192840" y="5067988"/>
                    <a:pt x="2192840" y="5067355"/>
                  </a:cubicBezTo>
                  <a:cubicBezTo>
                    <a:pt x="2192840" y="5067355"/>
                    <a:pt x="2192840" y="5067355"/>
                    <a:pt x="2007669" y="5061968"/>
                  </a:cubicBezTo>
                  <a:close/>
                  <a:moveTo>
                    <a:pt x="1964472" y="5060383"/>
                  </a:moveTo>
                  <a:lnTo>
                    <a:pt x="1893644" y="5112670"/>
                  </a:lnTo>
                  <a:cubicBezTo>
                    <a:pt x="1898726" y="5137387"/>
                    <a:pt x="1916830" y="5226116"/>
                    <a:pt x="1921276" y="5279986"/>
                  </a:cubicBezTo>
                  <a:cubicBezTo>
                    <a:pt x="1922229" y="5280303"/>
                    <a:pt x="1923182" y="5280303"/>
                    <a:pt x="1924135" y="5280303"/>
                  </a:cubicBezTo>
                  <a:cubicBezTo>
                    <a:pt x="1937157" y="5280303"/>
                    <a:pt x="1958438" y="5276818"/>
                    <a:pt x="1971142" y="5264459"/>
                  </a:cubicBezTo>
                  <a:cubicBezTo>
                    <a:pt x="1978448" y="5257487"/>
                    <a:pt x="1983847" y="5243544"/>
                    <a:pt x="1984482" y="5224214"/>
                  </a:cubicBezTo>
                  <a:cubicBezTo>
                    <a:pt x="1986706" y="5166541"/>
                    <a:pt x="1987024" y="5085417"/>
                    <a:pt x="1987024" y="5061334"/>
                  </a:cubicBezTo>
                  <a:cubicBezTo>
                    <a:pt x="1987024" y="5061334"/>
                    <a:pt x="1987024" y="5061334"/>
                    <a:pt x="1964472" y="5060383"/>
                  </a:cubicBezTo>
                  <a:close/>
                  <a:moveTo>
                    <a:pt x="683516" y="5057214"/>
                  </a:moveTo>
                  <a:lnTo>
                    <a:pt x="681928" y="5072742"/>
                  </a:lnTo>
                  <a:cubicBezTo>
                    <a:pt x="681928" y="5072742"/>
                    <a:pt x="681928" y="5072742"/>
                    <a:pt x="721630" y="5076544"/>
                  </a:cubicBezTo>
                  <a:cubicBezTo>
                    <a:pt x="721630" y="5076544"/>
                    <a:pt x="721630" y="5076544"/>
                    <a:pt x="722901" y="5061017"/>
                  </a:cubicBezTo>
                  <a:cubicBezTo>
                    <a:pt x="722901" y="5061017"/>
                    <a:pt x="722901" y="5061017"/>
                    <a:pt x="683516" y="5057214"/>
                  </a:cubicBezTo>
                  <a:close/>
                  <a:moveTo>
                    <a:pt x="679705" y="5052778"/>
                  </a:moveTo>
                  <a:lnTo>
                    <a:pt x="681610" y="5052778"/>
                  </a:lnTo>
                  <a:cubicBezTo>
                    <a:pt x="681610" y="5052778"/>
                    <a:pt x="681610" y="5052778"/>
                    <a:pt x="727665" y="5057214"/>
                  </a:cubicBezTo>
                  <a:cubicBezTo>
                    <a:pt x="727665" y="5057214"/>
                    <a:pt x="727665" y="5057214"/>
                    <a:pt x="725124" y="5081298"/>
                  </a:cubicBezTo>
                  <a:cubicBezTo>
                    <a:pt x="725124" y="5081298"/>
                    <a:pt x="725124" y="5081298"/>
                    <a:pt x="677164" y="5076544"/>
                  </a:cubicBezTo>
                  <a:cubicBezTo>
                    <a:pt x="677164" y="5076544"/>
                    <a:pt x="677164" y="5076544"/>
                    <a:pt x="679705" y="5052778"/>
                  </a:cubicBezTo>
                  <a:close/>
                  <a:moveTo>
                    <a:pt x="302056" y="5049926"/>
                  </a:moveTo>
                  <a:lnTo>
                    <a:pt x="282046" y="5126930"/>
                  </a:lnTo>
                  <a:cubicBezTo>
                    <a:pt x="282046" y="5126930"/>
                    <a:pt x="282046" y="5126930"/>
                    <a:pt x="294751" y="5199497"/>
                  </a:cubicBezTo>
                  <a:cubicBezTo>
                    <a:pt x="294751" y="5199497"/>
                    <a:pt x="294751" y="5199497"/>
                    <a:pt x="350334" y="5195694"/>
                  </a:cubicBezTo>
                  <a:cubicBezTo>
                    <a:pt x="350334" y="5195694"/>
                    <a:pt x="350334" y="5195694"/>
                    <a:pt x="384637" y="5141506"/>
                  </a:cubicBezTo>
                  <a:cubicBezTo>
                    <a:pt x="384637" y="5141506"/>
                    <a:pt x="384637" y="5141506"/>
                    <a:pt x="416081" y="5158935"/>
                  </a:cubicBezTo>
                  <a:cubicBezTo>
                    <a:pt x="416081" y="5158935"/>
                    <a:pt x="416081" y="5158935"/>
                    <a:pt x="463724" y="5097776"/>
                  </a:cubicBezTo>
                  <a:cubicBezTo>
                    <a:pt x="463724" y="5097776"/>
                    <a:pt x="463724" y="5097776"/>
                    <a:pt x="440538" y="5078129"/>
                  </a:cubicBezTo>
                  <a:cubicBezTo>
                    <a:pt x="440538" y="5078129"/>
                    <a:pt x="440538" y="5078129"/>
                    <a:pt x="424339" y="5098727"/>
                  </a:cubicBezTo>
                  <a:cubicBezTo>
                    <a:pt x="424339" y="5098727"/>
                    <a:pt x="424339" y="5098727"/>
                    <a:pt x="396071" y="5085417"/>
                  </a:cubicBezTo>
                  <a:cubicBezTo>
                    <a:pt x="396071" y="5085417"/>
                    <a:pt x="396071" y="5085417"/>
                    <a:pt x="362721" y="5125345"/>
                  </a:cubicBezTo>
                  <a:cubicBezTo>
                    <a:pt x="362721" y="5125345"/>
                    <a:pt x="362721" y="5125345"/>
                    <a:pt x="334135" y="5105381"/>
                  </a:cubicBezTo>
                  <a:cubicBezTo>
                    <a:pt x="334135" y="5105381"/>
                    <a:pt x="334135" y="5105381"/>
                    <a:pt x="343664" y="5057214"/>
                  </a:cubicBezTo>
                  <a:cubicBezTo>
                    <a:pt x="343664" y="5057214"/>
                    <a:pt x="343664" y="5057214"/>
                    <a:pt x="302056" y="5049926"/>
                  </a:cubicBezTo>
                  <a:close/>
                  <a:moveTo>
                    <a:pt x="1259359" y="5048341"/>
                  </a:moveTo>
                  <a:cubicBezTo>
                    <a:pt x="1252689" y="5054996"/>
                    <a:pt x="1225374" y="5078763"/>
                    <a:pt x="1198058" y="5102529"/>
                  </a:cubicBezTo>
                  <a:cubicBezTo>
                    <a:pt x="1172967" y="5124395"/>
                    <a:pt x="1148192" y="5145626"/>
                    <a:pt x="1140569" y="5152281"/>
                  </a:cubicBezTo>
                  <a:cubicBezTo>
                    <a:pt x="1150733" y="5156083"/>
                    <a:pt x="1184401" y="5166541"/>
                    <a:pt x="1216480" y="5176364"/>
                  </a:cubicBezTo>
                  <a:cubicBezTo>
                    <a:pt x="1246654" y="5185871"/>
                    <a:pt x="1275557" y="5194744"/>
                    <a:pt x="1284451" y="5197596"/>
                  </a:cubicBezTo>
                  <a:cubicBezTo>
                    <a:pt x="1284768" y="5197279"/>
                    <a:pt x="1284768" y="5196962"/>
                    <a:pt x="1285086" y="5196962"/>
                  </a:cubicBezTo>
                  <a:cubicBezTo>
                    <a:pt x="1285721" y="5195694"/>
                    <a:pt x="1286039" y="5195694"/>
                    <a:pt x="1286356" y="5195061"/>
                  </a:cubicBezTo>
                  <a:cubicBezTo>
                    <a:pt x="1287627" y="5193793"/>
                    <a:pt x="1288262" y="5193476"/>
                    <a:pt x="1289533" y="5192525"/>
                  </a:cubicBezTo>
                  <a:cubicBezTo>
                    <a:pt x="1294615" y="5188723"/>
                    <a:pt x="1305731" y="5180484"/>
                    <a:pt x="1319706" y="5170660"/>
                  </a:cubicBezTo>
                  <a:lnTo>
                    <a:pt x="1209175" y="5094607"/>
                  </a:lnTo>
                  <a:cubicBezTo>
                    <a:pt x="1209175" y="5094607"/>
                    <a:pt x="1209175" y="5094607"/>
                    <a:pt x="1211716" y="5090804"/>
                  </a:cubicBezTo>
                  <a:cubicBezTo>
                    <a:pt x="1211716" y="5090804"/>
                    <a:pt x="1211716" y="5090804"/>
                    <a:pt x="1323518" y="5167808"/>
                  </a:cubicBezTo>
                  <a:cubicBezTo>
                    <a:pt x="1334317" y="5160203"/>
                    <a:pt x="1346386" y="5151647"/>
                    <a:pt x="1358138" y="5143408"/>
                  </a:cubicBezTo>
                  <a:cubicBezTo>
                    <a:pt x="1337493" y="5124711"/>
                    <a:pt x="1270158" y="5059116"/>
                    <a:pt x="1259359" y="5048341"/>
                  </a:cubicBezTo>
                  <a:close/>
                  <a:moveTo>
                    <a:pt x="841690" y="5047391"/>
                  </a:moveTo>
                  <a:cubicBezTo>
                    <a:pt x="839784" y="5054996"/>
                    <a:pt x="838832" y="5063235"/>
                    <a:pt x="838832" y="5072108"/>
                  </a:cubicBezTo>
                  <a:cubicBezTo>
                    <a:pt x="838832" y="5086051"/>
                    <a:pt x="838514" y="5109501"/>
                    <a:pt x="838514" y="5138971"/>
                  </a:cubicBezTo>
                  <a:cubicBezTo>
                    <a:pt x="838514" y="5138971"/>
                    <a:pt x="838514" y="5138971"/>
                    <a:pt x="991924" y="5134535"/>
                  </a:cubicBezTo>
                  <a:cubicBezTo>
                    <a:pt x="991924" y="5134535"/>
                    <a:pt x="991924" y="5134535"/>
                    <a:pt x="991924" y="5138971"/>
                  </a:cubicBezTo>
                  <a:cubicBezTo>
                    <a:pt x="991924" y="5138971"/>
                    <a:pt x="991924" y="5138971"/>
                    <a:pt x="838196" y="5143408"/>
                  </a:cubicBezTo>
                  <a:cubicBezTo>
                    <a:pt x="838196" y="5178899"/>
                    <a:pt x="837879" y="5222947"/>
                    <a:pt x="837879" y="5269529"/>
                  </a:cubicBezTo>
                  <a:cubicBezTo>
                    <a:pt x="837879" y="5274282"/>
                    <a:pt x="837879" y="5279353"/>
                    <a:pt x="837879" y="5284423"/>
                  </a:cubicBezTo>
                  <a:cubicBezTo>
                    <a:pt x="858524" y="5282205"/>
                    <a:pt x="902673" y="5277451"/>
                    <a:pt x="946822" y="5272064"/>
                  </a:cubicBezTo>
                  <a:cubicBezTo>
                    <a:pt x="956668" y="5271114"/>
                    <a:pt x="966832" y="5269846"/>
                    <a:pt x="976361" y="5268895"/>
                  </a:cubicBezTo>
                  <a:cubicBezTo>
                    <a:pt x="976361" y="5268895"/>
                    <a:pt x="976361" y="5268895"/>
                    <a:pt x="1010663" y="5155766"/>
                  </a:cubicBezTo>
                  <a:cubicBezTo>
                    <a:pt x="1010663" y="5155766"/>
                    <a:pt x="1010663" y="5155766"/>
                    <a:pt x="992241" y="5138338"/>
                  </a:cubicBezTo>
                  <a:cubicBezTo>
                    <a:pt x="992241" y="5138338"/>
                    <a:pt x="992241" y="5138338"/>
                    <a:pt x="992241" y="5137387"/>
                  </a:cubicBezTo>
                  <a:cubicBezTo>
                    <a:pt x="992241" y="5137070"/>
                    <a:pt x="997323" y="5094290"/>
                    <a:pt x="1000500" y="5063869"/>
                  </a:cubicBezTo>
                  <a:cubicBezTo>
                    <a:pt x="1000500" y="5063869"/>
                    <a:pt x="1000500" y="5063869"/>
                    <a:pt x="841690" y="5047391"/>
                  </a:cubicBezTo>
                  <a:close/>
                  <a:moveTo>
                    <a:pt x="298562" y="5044539"/>
                  </a:moveTo>
                  <a:cubicBezTo>
                    <a:pt x="298562" y="5044539"/>
                    <a:pt x="298562" y="5044539"/>
                    <a:pt x="349063" y="5053729"/>
                  </a:cubicBezTo>
                  <a:cubicBezTo>
                    <a:pt x="349063" y="5053729"/>
                    <a:pt x="349063" y="5053729"/>
                    <a:pt x="339217" y="5103163"/>
                  </a:cubicBezTo>
                  <a:cubicBezTo>
                    <a:pt x="339217" y="5103163"/>
                    <a:pt x="339217" y="5103163"/>
                    <a:pt x="361768" y="5119007"/>
                  </a:cubicBezTo>
                  <a:cubicBezTo>
                    <a:pt x="361768" y="5119007"/>
                    <a:pt x="361768" y="5119007"/>
                    <a:pt x="394800" y="5079713"/>
                  </a:cubicBezTo>
                  <a:cubicBezTo>
                    <a:pt x="394800" y="5079713"/>
                    <a:pt x="394800" y="5079713"/>
                    <a:pt x="423069" y="5092706"/>
                  </a:cubicBezTo>
                  <a:cubicBezTo>
                    <a:pt x="423069" y="5092706"/>
                    <a:pt x="423069" y="5092706"/>
                    <a:pt x="439902" y="5071157"/>
                  </a:cubicBezTo>
                  <a:cubicBezTo>
                    <a:pt x="439902" y="5071157"/>
                    <a:pt x="439902" y="5071157"/>
                    <a:pt x="470076" y="5097142"/>
                  </a:cubicBezTo>
                  <a:cubicBezTo>
                    <a:pt x="470076" y="5097142"/>
                    <a:pt x="470076" y="5097142"/>
                    <a:pt x="468806" y="5099043"/>
                  </a:cubicBezTo>
                  <a:cubicBezTo>
                    <a:pt x="468806" y="5099043"/>
                    <a:pt x="468806" y="5099043"/>
                    <a:pt x="417034" y="5164956"/>
                  </a:cubicBezTo>
                  <a:cubicBezTo>
                    <a:pt x="417034" y="5164956"/>
                    <a:pt x="417034" y="5164956"/>
                    <a:pt x="386225" y="5147527"/>
                  </a:cubicBezTo>
                  <a:cubicBezTo>
                    <a:pt x="386225" y="5147527"/>
                    <a:pt x="386225" y="5147527"/>
                    <a:pt x="352875" y="5200131"/>
                  </a:cubicBezTo>
                  <a:lnTo>
                    <a:pt x="290939" y="5204250"/>
                  </a:lnTo>
                  <a:cubicBezTo>
                    <a:pt x="290939" y="5204250"/>
                    <a:pt x="290939" y="5204250"/>
                    <a:pt x="277281" y="5126930"/>
                  </a:cubicBezTo>
                  <a:cubicBezTo>
                    <a:pt x="277281" y="5126930"/>
                    <a:pt x="277281" y="5126930"/>
                    <a:pt x="298562" y="5044539"/>
                  </a:cubicBezTo>
                  <a:close/>
                  <a:moveTo>
                    <a:pt x="3133310" y="5041370"/>
                  </a:moveTo>
                  <a:cubicBezTo>
                    <a:pt x="3131722" y="5049926"/>
                    <a:pt x="3118699" y="5112670"/>
                    <a:pt x="3105359" y="5175413"/>
                  </a:cubicBezTo>
                  <a:cubicBezTo>
                    <a:pt x="3098372" y="5209004"/>
                    <a:pt x="3091066" y="5242911"/>
                    <a:pt x="3085349" y="5268262"/>
                  </a:cubicBezTo>
                  <a:cubicBezTo>
                    <a:pt x="3082491" y="5280937"/>
                    <a:pt x="3080268" y="5291711"/>
                    <a:pt x="3078362" y="5299000"/>
                  </a:cubicBezTo>
                  <a:cubicBezTo>
                    <a:pt x="3077726" y="5301535"/>
                    <a:pt x="3077091" y="5303753"/>
                    <a:pt x="3076774" y="5305338"/>
                  </a:cubicBezTo>
                  <a:cubicBezTo>
                    <a:pt x="3076774" y="5305338"/>
                    <a:pt x="3077091" y="5305338"/>
                    <a:pt x="3077091" y="5305654"/>
                  </a:cubicBezTo>
                  <a:cubicBezTo>
                    <a:pt x="3101866" y="5315795"/>
                    <a:pt x="3133945" y="5335442"/>
                    <a:pt x="3162213" y="5355406"/>
                  </a:cubicBezTo>
                  <a:cubicBezTo>
                    <a:pt x="3190481" y="5375370"/>
                    <a:pt x="3214302" y="5394383"/>
                    <a:pt x="3224149" y="5407059"/>
                  </a:cubicBezTo>
                  <a:cubicBezTo>
                    <a:pt x="3225419" y="5408960"/>
                    <a:pt x="3226690" y="5411178"/>
                    <a:pt x="3227642" y="5413396"/>
                  </a:cubicBezTo>
                  <a:cubicBezTo>
                    <a:pt x="3240665" y="5403256"/>
                    <a:pt x="3270521" y="5379806"/>
                    <a:pt x="3308636" y="5350336"/>
                  </a:cubicBezTo>
                  <a:cubicBezTo>
                    <a:pt x="3308636" y="5350336"/>
                    <a:pt x="3308636" y="5350336"/>
                    <a:pt x="3308000" y="5349702"/>
                  </a:cubicBezTo>
                  <a:cubicBezTo>
                    <a:pt x="3308000" y="5349702"/>
                    <a:pt x="3308000" y="5349702"/>
                    <a:pt x="3260992" y="5277134"/>
                  </a:cubicBezTo>
                  <a:cubicBezTo>
                    <a:pt x="3260992" y="5277134"/>
                    <a:pt x="3260992" y="5277134"/>
                    <a:pt x="3328963" y="5187138"/>
                  </a:cubicBezTo>
                  <a:cubicBezTo>
                    <a:pt x="3328963" y="5187138"/>
                    <a:pt x="3328963" y="5187138"/>
                    <a:pt x="3217479" y="5067988"/>
                  </a:cubicBezTo>
                  <a:cubicBezTo>
                    <a:pt x="3217479" y="5067988"/>
                    <a:pt x="3217479" y="5067988"/>
                    <a:pt x="3133310" y="5041370"/>
                  </a:cubicBezTo>
                  <a:close/>
                  <a:moveTo>
                    <a:pt x="1007487" y="5038835"/>
                  </a:moveTo>
                  <a:cubicBezTo>
                    <a:pt x="1006217" y="5056581"/>
                    <a:pt x="997959" y="5126930"/>
                    <a:pt x="996688" y="5136753"/>
                  </a:cubicBezTo>
                  <a:cubicBezTo>
                    <a:pt x="996688" y="5136753"/>
                    <a:pt x="996688" y="5136753"/>
                    <a:pt x="1015745" y="5154499"/>
                  </a:cubicBezTo>
                  <a:cubicBezTo>
                    <a:pt x="1015745" y="5154499"/>
                    <a:pt x="1015745" y="5154499"/>
                    <a:pt x="981125" y="5268262"/>
                  </a:cubicBezTo>
                  <a:cubicBezTo>
                    <a:pt x="999229" y="5266043"/>
                    <a:pt x="1016063" y="5263825"/>
                    <a:pt x="1030038" y="5262241"/>
                  </a:cubicBezTo>
                  <a:cubicBezTo>
                    <a:pt x="1041155" y="5260656"/>
                    <a:pt x="1050683" y="5259389"/>
                    <a:pt x="1057036" y="5258121"/>
                  </a:cubicBezTo>
                  <a:cubicBezTo>
                    <a:pt x="1060212" y="5257804"/>
                    <a:pt x="1062753" y="5257171"/>
                    <a:pt x="1064341" y="5256854"/>
                  </a:cubicBezTo>
                  <a:cubicBezTo>
                    <a:pt x="1064341" y="5256854"/>
                    <a:pt x="1064341" y="5256854"/>
                    <a:pt x="1064659" y="5256854"/>
                  </a:cubicBezTo>
                  <a:cubicBezTo>
                    <a:pt x="1065611" y="5256220"/>
                    <a:pt x="1066882" y="5255586"/>
                    <a:pt x="1068470" y="5255586"/>
                  </a:cubicBezTo>
                  <a:cubicBezTo>
                    <a:pt x="1070058" y="5255586"/>
                    <a:pt x="1070693" y="5255903"/>
                    <a:pt x="1071646" y="5256220"/>
                  </a:cubicBezTo>
                  <a:cubicBezTo>
                    <a:pt x="1071646" y="5256220"/>
                    <a:pt x="1071646" y="5256220"/>
                    <a:pt x="1133899" y="5152914"/>
                  </a:cubicBezTo>
                  <a:cubicBezTo>
                    <a:pt x="1133899" y="5152914"/>
                    <a:pt x="1133899" y="5152914"/>
                    <a:pt x="1094515" y="5075594"/>
                  </a:cubicBezTo>
                  <a:cubicBezTo>
                    <a:pt x="1094515" y="5075594"/>
                    <a:pt x="1094515" y="5075594"/>
                    <a:pt x="1007487" y="5038835"/>
                  </a:cubicBezTo>
                  <a:close/>
                  <a:moveTo>
                    <a:pt x="3343256" y="5036617"/>
                  </a:moveTo>
                  <a:cubicBezTo>
                    <a:pt x="3343256" y="5036617"/>
                    <a:pt x="3343256" y="5036617"/>
                    <a:pt x="3298789" y="5060066"/>
                  </a:cubicBezTo>
                  <a:cubicBezTo>
                    <a:pt x="3298789" y="5060066"/>
                    <a:pt x="3298789" y="5060066"/>
                    <a:pt x="3306412" y="5074960"/>
                  </a:cubicBezTo>
                  <a:cubicBezTo>
                    <a:pt x="3306412" y="5074960"/>
                    <a:pt x="3306412" y="5074960"/>
                    <a:pt x="3303554" y="5076228"/>
                  </a:cubicBezTo>
                  <a:cubicBezTo>
                    <a:pt x="3303554" y="5076228"/>
                    <a:pt x="3303554" y="5076228"/>
                    <a:pt x="3317211" y="5101895"/>
                  </a:cubicBezTo>
                  <a:lnTo>
                    <a:pt x="3343891" y="5087002"/>
                  </a:lnTo>
                  <a:cubicBezTo>
                    <a:pt x="3343891" y="5087002"/>
                    <a:pt x="3343891" y="5087002"/>
                    <a:pt x="3335316" y="5070840"/>
                  </a:cubicBezTo>
                  <a:cubicBezTo>
                    <a:pt x="3335316" y="5070840"/>
                    <a:pt x="3335316" y="5070840"/>
                    <a:pt x="3355960" y="5060066"/>
                  </a:cubicBezTo>
                  <a:cubicBezTo>
                    <a:pt x="3355960" y="5060066"/>
                    <a:pt x="3355960" y="5060066"/>
                    <a:pt x="3343256" y="5036617"/>
                  </a:cubicBezTo>
                  <a:close/>
                  <a:moveTo>
                    <a:pt x="740687" y="5033765"/>
                  </a:moveTo>
                  <a:cubicBezTo>
                    <a:pt x="740370" y="5033765"/>
                    <a:pt x="740370" y="5033765"/>
                    <a:pt x="739417" y="5034081"/>
                  </a:cubicBezTo>
                  <a:cubicBezTo>
                    <a:pt x="728300" y="5035666"/>
                    <a:pt x="651119" y="5044856"/>
                    <a:pt x="637461" y="5046440"/>
                  </a:cubicBezTo>
                  <a:cubicBezTo>
                    <a:pt x="637461" y="5046440"/>
                    <a:pt x="637461" y="5046440"/>
                    <a:pt x="639685" y="5078763"/>
                  </a:cubicBezTo>
                  <a:cubicBezTo>
                    <a:pt x="639685" y="5078763"/>
                    <a:pt x="639685" y="5078763"/>
                    <a:pt x="695268" y="5097776"/>
                  </a:cubicBezTo>
                  <a:cubicBezTo>
                    <a:pt x="695268" y="5097776"/>
                    <a:pt x="695268" y="5097776"/>
                    <a:pt x="817869" y="5104114"/>
                  </a:cubicBezTo>
                  <a:cubicBezTo>
                    <a:pt x="817869" y="5090804"/>
                    <a:pt x="817869" y="5080030"/>
                    <a:pt x="817869" y="5072108"/>
                  </a:cubicBezTo>
                  <a:cubicBezTo>
                    <a:pt x="817869" y="5065453"/>
                    <a:pt x="818504" y="5059116"/>
                    <a:pt x="819457" y="5053095"/>
                  </a:cubicBezTo>
                  <a:cubicBezTo>
                    <a:pt x="819457" y="5053095"/>
                    <a:pt x="819457" y="5053095"/>
                    <a:pt x="744181" y="5042637"/>
                  </a:cubicBezTo>
                  <a:cubicBezTo>
                    <a:pt x="744181" y="5042637"/>
                    <a:pt x="744181" y="5042637"/>
                    <a:pt x="741958" y="5036617"/>
                  </a:cubicBezTo>
                  <a:cubicBezTo>
                    <a:pt x="741958" y="5036617"/>
                    <a:pt x="741958" y="5036300"/>
                    <a:pt x="741323" y="5035032"/>
                  </a:cubicBezTo>
                  <a:cubicBezTo>
                    <a:pt x="741323" y="5034715"/>
                    <a:pt x="741005" y="5034081"/>
                    <a:pt x="740687" y="5033765"/>
                  </a:cubicBezTo>
                  <a:close/>
                  <a:moveTo>
                    <a:pt x="3345162" y="5030913"/>
                  </a:moveTo>
                  <a:cubicBezTo>
                    <a:pt x="3345162" y="5030913"/>
                    <a:pt x="3345162" y="5030913"/>
                    <a:pt x="3361360" y="5061651"/>
                  </a:cubicBezTo>
                  <a:cubicBezTo>
                    <a:pt x="3361360" y="5061651"/>
                    <a:pt x="3361360" y="5061651"/>
                    <a:pt x="3341032" y="5072425"/>
                  </a:cubicBezTo>
                  <a:cubicBezTo>
                    <a:pt x="3341032" y="5072425"/>
                    <a:pt x="3341032" y="5072425"/>
                    <a:pt x="3349608" y="5088586"/>
                  </a:cubicBezTo>
                  <a:lnTo>
                    <a:pt x="3347702" y="5089537"/>
                  </a:lnTo>
                  <a:cubicBezTo>
                    <a:pt x="3347702" y="5089537"/>
                    <a:pt x="3347702" y="5089537"/>
                    <a:pt x="3315306" y="5107599"/>
                  </a:cubicBezTo>
                  <a:cubicBezTo>
                    <a:pt x="3315306" y="5107599"/>
                    <a:pt x="3315306" y="5107599"/>
                    <a:pt x="3297836" y="5074643"/>
                  </a:cubicBezTo>
                  <a:cubicBezTo>
                    <a:pt x="3297836" y="5074643"/>
                    <a:pt x="3297836" y="5074643"/>
                    <a:pt x="3301012" y="5073059"/>
                  </a:cubicBezTo>
                  <a:cubicBezTo>
                    <a:pt x="3301012" y="5073059"/>
                    <a:pt x="3301012" y="5073059"/>
                    <a:pt x="3293072" y="5058482"/>
                  </a:cubicBezTo>
                  <a:cubicBezTo>
                    <a:pt x="3293072" y="5058482"/>
                    <a:pt x="3293072" y="5058482"/>
                    <a:pt x="3345162" y="5030913"/>
                  </a:cubicBezTo>
                  <a:close/>
                  <a:moveTo>
                    <a:pt x="1629702" y="5029962"/>
                  </a:moveTo>
                  <a:lnTo>
                    <a:pt x="1626209" y="5099994"/>
                  </a:lnTo>
                  <a:cubicBezTo>
                    <a:pt x="1626209" y="5099994"/>
                    <a:pt x="1626209" y="5099994"/>
                    <a:pt x="1768502" y="5098727"/>
                  </a:cubicBezTo>
                  <a:cubicBezTo>
                    <a:pt x="1768502" y="5098727"/>
                    <a:pt x="1768502" y="5098727"/>
                    <a:pt x="1763738" y="5031863"/>
                  </a:cubicBezTo>
                  <a:cubicBezTo>
                    <a:pt x="1756115" y="5031863"/>
                    <a:pt x="1727847" y="5032180"/>
                    <a:pt x="1699579" y="5032497"/>
                  </a:cubicBezTo>
                  <a:cubicBezTo>
                    <a:pt x="1682745" y="5032497"/>
                    <a:pt x="1665911" y="5032814"/>
                    <a:pt x="1653206" y="5033131"/>
                  </a:cubicBezTo>
                  <a:cubicBezTo>
                    <a:pt x="1646536" y="5033131"/>
                    <a:pt x="1641137" y="5033131"/>
                    <a:pt x="1637325" y="5033448"/>
                  </a:cubicBezTo>
                  <a:cubicBezTo>
                    <a:pt x="1635420" y="5033448"/>
                    <a:pt x="1633831" y="5033448"/>
                    <a:pt x="1632561" y="5033448"/>
                  </a:cubicBezTo>
                  <a:cubicBezTo>
                    <a:pt x="1632243" y="5033765"/>
                    <a:pt x="1631608" y="5033765"/>
                    <a:pt x="1631291" y="5033765"/>
                  </a:cubicBezTo>
                  <a:cubicBezTo>
                    <a:pt x="1631291" y="5033765"/>
                    <a:pt x="1631291" y="5033765"/>
                    <a:pt x="1629702" y="5029962"/>
                  </a:cubicBezTo>
                  <a:close/>
                  <a:moveTo>
                    <a:pt x="1327012" y="5029962"/>
                  </a:moveTo>
                  <a:cubicBezTo>
                    <a:pt x="1327012" y="5029962"/>
                    <a:pt x="1327012" y="5029962"/>
                    <a:pt x="1326059" y="5046757"/>
                  </a:cubicBezTo>
                  <a:cubicBezTo>
                    <a:pt x="1326059" y="5046757"/>
                    <a:pt x="1326059" y="5046757"/>
                    <a:pt x="1322883" y="5046440"/>
                  </a:cubicBezTo>
                  <a:cubicBezTo>
                    <a:pt x="1322883" y="5046440"/>
                    <a:pt x="1322883" y="5046440"/>
                    <a:pt x="1321295" y="5075277"/>
                  </a:cubicBezTo>
                  <a:cubicBezTo>
                    <a:pt x="1321295" y="5075277"/>
                    <a:pt x="1321295" y="5075277"/>
                    <a:pt x="1352104" y="5076228"/>
                  </a:cubicBezTo>
                  <a:cubicBezTo>
                    <a:pt x="1352104" y="5076228"/>
                    <a:pt x="1352104" y="5076228"/>
                    <a:pt x="1352739" y="5057848"/>
                  </a:cubicBezTo>
                  <a:cubicBezTo>
                    <a:pt x="1352739" y="5057848"/>
                    <a:pt x="1352739" y="5057848"/>
                    <a:pt x="1376243" y="5059116"/>
                  </a:cubicBezTo>
                  <a:lnTo>
                    <a:pt x="1377513" y="5032497"/>
                  </a:lnTo>
                  <a:cubicBezTo>
                    <a:pt x="1377513" y="5032497"/>
                    <a:pt x="1377513" y="5032497"/>
                    <a:pt x="1327012" y="5029962"/>
                  </a:cubicBezTo>
                  <a:close/>
                  <a:moveTo>
                    <a:pt x="1322883" y="5025842"/>
                  </a:moveTo>
                  <a:cubicBezTo>
                    <a:pt x="1322883" y="5025842"/>
                    <a:pt x="1322883" y="5025842"/>
                    <a:pt x="1381642" y="5028694"/>
                  </a:cubicBezTo>
                  <a:lnTo>
                    <a:pt x="1380054" y="5063552"/>
                  </a:lnTo>
                  <a:cubicBezTo>
                    <a:pt x="1380054" y="5063552"/>
                    <a:pt x="1380054" y="5063552"/>
                    <a:pt x="1356868" y="5062284"/>
                  </a:cubicBezTo>
                  <a:cubicBezTo>
                    <a:pt x="1356868" y="5062284"/>
                    <a:pt x="1356868" y="5062284"/>
                    <a:pt x="1355915" y="5080347"/>
                  </a:cubicBezTo>
                  <a:cubicBezTo>
                    <a:pt x="1355915" y="5080347"/>
                    <a:pt x="1355915" y="5080347"/>
                    <a:pt x="1354009" y="5080347"/>
                  </a:cubicBezTo>
                  <a:cubicBezTo>
                    <a:pt x="1354009" y="5080347"/>
                    <a:pt x="1354009" y="5080347"/>
                    <a:pt x="1316848" y="5079396"/>
                  </a:cubicBezTo>
                  <a:cubicBezTo>
                    <a:pt x="1316848" y="5079396"/>
                    <a:pt x="1316848" y="5079396"/>
                    <a:pt x="1318754" y="5042004"/>
                  </a:cubicBezTo>
                  <a:cubicBezTo>
                    <a:pt x="1318754" y="5042004"/>
                    <a:pt x="1318754" y="5042004"/>
                    <a:pt x="1322247" y="5042321"/>
                  </a:cubicBezTo>
                  <a:cubicBezTo>
                    <a:pt x="1322247" y="5042321"/>
                    <a:pt x="1322247" y="5042321"/>
                    <a:pt x="1322883" y="5025842"/>
                  </a:cubicBezTo>
                  <a:close/>
                  <a:moveTo>
                    <a:pt x="2736604" y="5024575"/>
                  </a:moveTo>
                  <a:cubicBezTo>
                    <a:pt x="2735334" y="5083199"/>
                    <a:pt x="2734063" y="5141506"/>
                    <a:pt x="2733745" y="5159252"/>
                  </a:cubicBezTo>
                  <a:cubicBezTo>
                    <a:pt x="2745180" y="5166224"/>
                    <a:pt x="2774083" y="5183653"/>
                    <a:pt x="2807115" y="5202349"/>
                  </a:cubicBezTo>
                  <a:cubicBezTo>
                    <a:pt x="2835066" y="5218193"/>
                    <a:pt x="2865875" y="5234988"/>
                    <a:pt x="2890014" y="5246079"/>
                  </a:cubicBezTo>
                  <a:cubicBezTo>
                    <a:pt x="2891920" y="5207736"/>
                    <a:pt x="2901448" y="5088903"/>
                    <a:pt x="2902401" y="5064820"/>
                  </a:cubicBezTo>
                  <a:cubicBezTo>
                    <a:pt x="2902401" y="5064820"/>
                    <a:pt x="2902401" y="5064820"/>
                    <a:pt x="2901766" y="5065136"/>
                  </a:cubicBezTo>
                  <a:cubicBezTo>
                    <a:pt x="2901766" y="5065136"/>
                    <a:pt x="2901766" y="5065136"/>
                    <a:pt x="2901130" y="5065136"/>
                  </a:cubicBezTo>
                  <a:cubicBezTo>
                    <a:pt x="2900813" y="5065136"/>
                    <a:pt x="2858252" y="5054362"/>
                    <a:pt x="2815056" y="5043588"/>
                  </a:cubicBezTo>
                  <a:cubicBezTo>
                    <a:pt x="2783929" y="5035983"/>
                    <a:pt x="2752167" y="5028377"/>
                    <a:pt x="2736604" y="5024575"/>
                  </a:cubicBezTo>
                  <a:close/>
                  <a:moveTo>
                    <a:pt x="944281" y="5024575"/>
                  </a:moveTo>
                  <a:cubicBezTo>
                    <a:pt x="944281" y="5024575"/>
                    <a:pt x="944281" y="5024575"/>
                    <a:pt x="943011" y="5040102"/>
                  </a:cubicBezTo>
                  <a:cubicBezTo>
                    <a:pt x="943011" y="5040102"/>
                    <a:pt x="943011" y="5040102"/>
                    <a:pt x="982395" y="5043905"/>
                  </a:cubicBezTo>
                  <a:lnTo>
                    <a:pt x="983983" y="5028377"/>
                  </a:lnTo>
                  <a:cubicBezTo>
                    <a:pt x="983983" y="5028377"/>
                    <a:pt x="983983" y="5028377"/>
                    <a:pt x="944281" y="5024575"/>
                  </a:cubicBezTo>
                  <a:close/>
                  <a:moveTo>
                    <a:pt x="940787" y="5020138"/>
                  </a:moveTo>
                  <a:cubicBezTo>
                    <a:pt x="940787" y="5020138"/>
                    <a:pt x="940787" y="5020138"/>
                    <a:pt x="942693" y="5020138"/>
                  </a:cubicBezTo>
                  <a:cubicBezTo>
                    <a:pt x="942693" y="5020138"/>
                    <a:pt x="942693" y="5020138"/>
                    <a:pt x="988430" y="5024575"/>
                  </a:cubicBezTo>
                  <a:lnTo>
                    <a:pt x="986207" y="5048341"/>
                  </a:lnTo>
                  <a:cubicBezTo>
                    <a:pt x="986207" y="5048341"/>
                    <a:pt x="986207" y="5048341"/>
                    <a:pt x="938246" y="5043905"/>
                  </a:cubicBezTo>
                  <a:cubicBezTo>
                    <a:pt x="938246" y="5043905"/>
                    <a:pt x="938246" y="5043905"/>
                    <a:pt x="940787" y="5020138"/>
                  </a:cubicBezTo>
                  <a:close/>
                  <a:moveTo>
                    <a:pt x="1500114" y="5016336"/>
                  </a:moveTo>
                  <a:cubicBezTo>
                    <a:pt x="1499161" y="5016336"/>
                    <a:pt x="1475975" y="5022040"/>
                    <a:pt x="1453742" y="5027744"/>
                  </a:cubicBezTo>
                  <a:cubicBezTo>
                    <a:pt x="1436908" y="5031863"/>
                    <a:pt x="1420392" y="5035983"/>
                    <a:pt x="1412769" y="5037884"/>
                  </a:cubicBezTo>
                  <a:cubicBezTo>
                    <a:pt x="1413086" y="5039469"/>
                    <a:pt x="1413404" y="5041370"/>
                    <a:pt x="1413722" y="5042954"/>
                  </a:cubicBezTo>
                  <a:cubicBezTo>
                    <a:pt x="1418486" y="5067038"/>
                    <a:pt x="1422615" y="5088903"/>
                    <a:pt x="1424838" y="5101579"/>
                  </a:cubicBezTo>
                  <a:lnTo>
                    <a:pt x="1526476" y="5100945"/>
                  </a:lnTo>
                  <a:cubicBezTo>
                    <a:pt x="1526476" y="5100945"/>
                    <a:pt x="1526476" y="5100945"/>
                    <a:pt x="1529335" y="5022357"/>
                  </a:cubicBezTo>
                  <a:cubicBezTo>
                    <a:pt x="1529335" y="5022357"/>
                    <a:pt x="1529335" y="5022357"/>
                    <a:pt x="1500114" y="5016336"/>
                  </a:cubicBezTo>
                  <a:close/>
                  <a:moveTo>
                    <a:pt x="38432" y="5014751"/>
                  </a:moveTo>
                  <a:cubicBezTo>
                    <a:pt x="38432" y="5014751"/>
                    <a:pt x="38432" y="5014751"/>
                    <a:pt x="8894" y="5054045"/>
                  </a:cubicBezTo>
                  <a:cubicBezTo>
                    <a:pt x="8894" y="5054045"/>
                    <a:pt x="8894" y="5054045"/>
                    <a:pt x="121966" y="5113303"/>
                  </a:cubicBezTo>
                  <a:cubicBezTo>
                    <a:pt x="121966" y="5113303"/>
                    <a:pt x="121966" y="5113303"/>
                    <a:pt x="121966" y="5113620"/>
                  </a:cubicBezTo>
                  <a:cubicBezTo>
                    <a:pt x="122283" y="5113620"/>
                    <a:pt x="146740" y="5141506"/>
                    <a:pt x="171832" y="5169393"/>
                  </a:cubicBezTo>
                  <a:cubicBezTo>
                    <a:pt x="184537" y="5183653"/>
                    <a:pt x="196924" y="5197596"/>
                    <a:pt x="206770" y="5208053"/>
                  </a:cubicBezTo>
                  <a:cubicBezTo>
                    <a:pt x="211534" y="5213440"/>
                    <a:pt x="215663" y="5217876"/>
                    <a:pt x="218522" y="5220728"/>
                  </a:cubicBezTo>
                  <a:cubicBezTo>
                    <a:pt x="219792" y="5222313"/>
                    <a:pt x="221063" y="5223580"/>
                    <a:pt x="222016" y="5224531"/>
                  </a:cubicBezTo>
                  <a:cubicBezTo>
                    <a:pt x="222333" y="5224848"/>
                    <a:pt x="222651" y="5225165"/>
                    <a:pt x="222651" y="5225165"/>
                  </a:cubicBezTo>
                  <a:cubicBezTo>
                    <a:pt x="227098" y="5225165"/>
                    <a:pt x="250602" y="5223580"/>
                    <a:pt x="276964" y="5221362"/>
                  </a:cubicBezTo>
                  <a:cubicBezTo>
                    <a:pt x="276011" y="5206785"/>
                    <a:pt x="263306" y="5132950"/>
                    <a:pt x="263306" y="5132950"/>
                  </a:cubicBezTo>
                  <a:cubicBezTo>
                    <a:pt x="263306" y="5132950"/>
                    <a:pt x="263306" y="5132950"/>
                    <a:pt x="263306" y="5132317"/>
                  </a:cubicBezTo>
                  <a:cubicBezTo>
                    <a:pt x="263306" y="5132317"/>
                    <a:pt x="263306" y="5132317"/>
                    <a:pt x="263306" y="5132000"/>
                  </a:cubicBezTo>
                  <a:cubicBezTo>
                    <a:pt x="263306" y="5132000"/>
                    <a:pt x="263306" y="5132000"/>
                    <a:pt x="38432" y="5014751"/>
                  </a:cubicBezTo>
                  <a:close/>
                  <a:moveTo>
                    <a:pt x="389401" y="5011899"/>
                  </a:moveTo>
                  <a:cubicBezTo>
                    <a:pt x="389401" y="5011899"/>
                    <a:pt x="389401" y="5011899"/>
                    <a:pt x="364944" y="5038835"/>
                  </a:cubicBezTo>
                  <a:cubicBezTo>
                    <a:pt x="364944" y="5038835"/>
                    <a:pt x="364944" y="5038835"/>
                    <a:pt x="290304" y="5027110"/>
                  </a:cubicBezTo>
                  <a:lnTo>
                    <a:pt x="267753" y="5132634"/>
                  </a:lnTo>
                  <a:cubicBezTo>
                    <a:pt x="268706" y="5138654"/>
                    <a:pt x="280140" y="5205518"/>
                    <a:pt x="281411" y="5221045"/>
                  </a:cubicBezTo>
                  <a:cubicBezTo>
                    <a:pt x="285857" y="5220728"/>
                    <a:pt x="290304" y="5220412"/>
                    <a:pt x="294433" y="5220095"/>
                  </a:cubicBezTo>
                  <a:cubicBezTo>
                    <a:pt x="310949" y="5218510"/>
                    <a:pt x="327148" y="5217243"/>
                    <a:pt x="339535" y="5216292"/>
                  </a:cubicBezTo>
                  <a:cubicBezTo>
                    <a:pt x="345570" y="5215658"/>
                    <a:pt x="350651" y="5215341"/>
                    <a:pt x="354145" y="5214708"/>
                  </a:cubicBezTo>
                  <a:cubicBezTo>
                    <a:pt x="356051" y="5214708"/>
                    <a:pt x="357639" y="5214391"/>
                    <a:pt x="358592" y="5214391"/>
                  </a:cubicBezTo>
                  <a:cubicBezTo>
                    <a:pt x="358910" y="5214391"/>
                    <a:pt x="359227" y="5214391"/>
                    <a:pt x="359545" y="5214391"/>
                  </a:cubicBezTo>
                  <a:cubicBezTo>
                    <a:pt x="361450" y="5212172"/>
                    <a:pt x="369073" y="5200765"/>
                    <a:pt x="375743" y="5189990"/>
                  </a:cubicBezTo>
                  <a:cubicBezTo>
                    <a:pt x="383049" y="5178582"/>
                    <a:pt x="389719" y="5167808"/>
                    <a:pt x="389719" y="5167808"/>
                  </a:cubicBezTo>
                  <a:cubicBezTo>
                    <a:pt x="389719" y="5167808"/>
                    <a:pt x="389719" y="5167808"/>
                    <a:pt x="390671" y="5166224"/>
                  </a:cubicBezTo>
                  <a:cubicBezTo>
                    <a:pt x="390671" y="5166224"/>
                    <a:pt x="390671" y="5166224"/>
                    <a:pt x="417034" y="5177949"/>
                  </a:cubicBezTo>
                  <a:cubicBezTo>
                    <a:pt x="421163" y="5173195"/>
                    <a:pt x="436409" y="5155133"/>
                    <a:pt x="451654" y="5136753"/>
                  </a:cubicBezTo>
                  <a:cubicBezTo>
                    <a:pt x="460548" y="5125979"/>
                    <a:pt x="469441" y="5115205"/>
                    <a:pt x="476111" y="5106966"/>
                  </a:cubicBezTo>
                  <a:cubicBezTo>
                    <a:pt x="479605" y="5102529"/>
                    <a:pt x="482146" y="5099043"/>
                    <a:pt x="484051" y="5096508"/>
                  </a:cubicBezTo>
                  <a:cubicBezTo>
                    <a:pt x="484687" y="5095875"/>
                    <a:pt x="484687" y="5095875"/>
                    <a:pt x="485004" y="5095241"/>
                  </a:cubicBezTo>
                  <a:cubicBezTo>
                    <a:pt x="484687" y="5094924"/>
                    <a:pt x="484051" y="5094290"/>
                    <a:pt x="483734" y="5093973"/>
                  </a:cubicBezTo>
                  <a:cubicBezTo>
                    <a:pt x="472299" y="5082882"/>
                    <a:pt x="447525" y="5061651"/>
                    <a:pt x="426245" y="5043271"/>
                  </a:cubicBezTo>
                  <a:cubicBezTo>
                    <a:pt x="410046" y="5029328"/>
                    <a:pt x="395753" y="5017286"/>
                    <a:pt x="389401" y="5011899"/>
                  </a:cubicBezTo>
                  <a:close/>
                  <a:moveTo>
                    <a:pt x="3023731" y="5006829"/>
                  </a:moveTo>
                  <a:cubicBezTo>
                    <a:pt x="3023731" y="5006829"/>
                    <a:pt x="3023731" y="5006829"/>
                    <a:pt x="2907165" y="5062601"/>
                  </a:cubicBezTo>
                  <a:cubicBezTo>
                    <a:pt x="2906530" y="5081298"/>
                    <a:pt x="2896048" y="5211222"/>
                    <a:pt x="2894143" y="5248298"/>
                  </a:cubicBezTo>
                  <a:cubicBezTo>
                    <a:pt x="2904624" y="5253051"/>
                    <a:pt x="2913835" y="5256854"/>
                    <a:pt x="2920505" y="5258438"/>
                  </a:cubicBezTo>
                  <a:cubicBezTo>
                    <a:pt x="2967830" y="5272381"/>
                    <a:pt x="3025320" y="5284740"/>
                    <a:pt x="3072644" y="5303753"/>
                  </a:cubicBezTo>
                  <a:cubicBezTo>
                    <a:pt x="3074550" y="5296465"/>
                    <a:pt x="3078044" y="5281888"/>
                    <a:pt x="3081856" y="5263825"/>
                  </a:cubicBezTo>
                  <a:cubicBezTo>
                    <a:pt x="3098372" y="5189040"/>
                    <a:pt x="3127275" y="5049609"/>
                    <a:pt x="3129181" y="5040102"/>
                  </a:cubicBezTo>
                  <a:cubicBezTo>
                    <a:pt x="3129181" y="5040102"/>
                    <a:pt x="3129181" y="5040102"/>
                    <a:pt x="3023731" y="5006829"/>
                  </a:cubicBezTo>
                  <a:close/>
                  <a:moveTo>
                    <a:pt x="1192024" y="5003660"/>
                  </a:moveTo>
                  <a:cubicBezTo>
                    <a:pt x="1192024" y="5003660"/>
                    <a:pt x="1192024" y="5003660"/>
                    <a:pt x="1173919" y="5035349"/>
                  </a:cubicBezTo>
                  <a:lnTo>
                    <a:pt x="1193929" y="5046757"/>
                  </a:lnTo>
                  <a:cubicBezTo>
                    <a:pt x="1193929" y="5046757"/>
                    <a:pt x="1193929" y="5046757"/>
                    <a:pt x="1181860" y="5067672"/>
                  </a:cubicBezTo>
                  <a:cubicBezTo>
                    <a:pt x="1181860" y="5067672"/>
                    <a:pt x="1181860" y="5067672"/>
                    <a:pt x="1195517" y="5075594"/>
                  </a:cubicBezTo>
                  <a:cubicBezTo>
                    <a:pt x="1195517" y="5075594"/>
                    <a:pt x="1195517" y="5075594"/>
                    <a:pt x="1222197" y="5027744"/>
                  </a:cubicBezTo>
                  <a:cubicBezTo>
                    <a:pt x="1222197" y="5027744"/>
                    <a:pt x="1222197" y="5027744"/>
                    <a:pt x="1208540" y="5019822"/>
                  </a:cubicBezTo>
                  <a:cubicBezTo>
                    <a:pt x="1208540" y="5019822"/>
                    <a:pt x="1208540" y="5019822"/>
                    <a:pt x="1211398" y="5014751"/>
                  </a:cubicBezTo>
                  <a:cubicBezTo>
                    <a:pt x="1211398" y="5014751"/>
                    <a:pt x="1211398" y="5014751"/>
                    <a:pt x="1192024" y="5003660"/>
                  </a:cubicBezTo>
                  <a:close/>
                  <a:moveTo>
                    <a:pt x="1190436" y="4997956"/>
                  </a:moveTo>
                  <a:cubicBezTo>
                    <a:pt x="1190436" y="4997956"/>
                    <a:pt x="1190436" y="4997956"/>
                    <a:pt x="1217116" y="5013484"/>
                  </a:cubicBezTo>
                  <a:cubicBezTo>
                    <a:pt x="1217116" y="5013484"/>
                    <a:pt x="1217116" y="5013484"/>
                    <a:pt x="1214257" y="5018237"/>
                  </a:cubicBezTo>
                  <a:cubicBezTo>
                    <a:pt x="1214257" y="5018237"/>
                    <a:pt x="1214257" y="5018237"/>
                    <a:pt x="1227915" y="5026159"/>
                  </a:cubicBezTo>
                  <a:cubicBezTo>
                    <a:pt x="1227915" y="5026159"/>
                    <a:pt x="1227915" y="5026159"/>
                    <a:pt x="1197106" y="5081298"/>
                  </a:cubicBezTo>
                  <a:cubicBezTo>
                    <a:pt x="1197106" y="5081298"/>
                    <a:pt x="1197106" y="5081298"/>
                    <a:pt x="1195200" y="5080030"/>
                  </a:cubicBezTo>
                  <a:cubicBezTo>
                    <a:pt x="1195200" y="5080030"/>
                    <a:pt x="1195200" y="5080030"/>
                    <a:pt x="1176143" y="5069256"/>
                  </a:cubicBezTo>
                  <a:lnTo>
                    <a:pt x="1188212" y="5048341"/>
                  </a:lnTo>
                  <a:cubicBezTo>
                    <a:pt x="1188212" y="5048341"/>
                    <a:pt x="1188212" y="5048341"/>
                    <a:pt x="1168202" y="5036933"/>
                  </a:cubicBezTo>
                  <a:cubicBezTo>
                    <a:pt x="1168202" y="5036933"/>
                    <a:pt x="1168202" y="5036933"/>
                    <a:pt x="1190436" y="4997956"/>
                  </a:cubicBezTo>
                  <a:close/>
                  <a:moveTo>
                    <a:pt x="163256" y="4989083"/>
                  </a:moveTo>
                  <a:cubicBezTo>
                    <a:pt x="163256" y="4989083"/>
                    <a:pt x="163256" y="4989083"/>
                    <a:pt x="130224" y="5037567"/>
                  </a:cubicBezTo>
                  <a:cubicBezTo>
                    <a:pt x="130224" y="5037567"/>
                    <a:pt x="130224" y="5037567"/>
                    <a:pt x="249649" y="5093023"/>
                  </a:cubicBezTo>
                  <a:lnTo>
                    <a:pt x="259495" y="5041053"/>
                  </a:lnTo>
                  <a:cubicBezTo>
                    <a:pt x="259495" y="5041053"/>
                    <a:pt x="259495" y="5041053"/>
                    <a:pt x="202959" y="5028377"/>
                  </a:cubicBezTo>
                  <a:cubicBezTo>
                    <a:pt x="202959" y="5028377"/>
                    <a:pt x="202959" y="5028377"/>
                    <a:pt x="163256" y="4989083"/>
                  </a:cubicBezTo>
                  <a:close/>
                  <a:moveTo>
                    <a:pt x="1381007" y="4988450"/>
                  </a:moveTo>
                  <a:cubicBezTo>
                    <a:pt x="1372114" y="4992886"/>
                    <a:pt x="1347339" y="5004928"/>
                    <a:pt x="1322565" y="5016970"/>
                  </a:cubicBezTo>
                  <a:cubicBezTo>
                    <a:pt x="1307002" y="5024258"/>
                    <a:pt x="1291438" y="5031863"/>
                    <a:pt x="1279686" y="5037567"/>
                  </a:cubicBezTo>
                  <a:cubicBezTo>
                    <a:pt x="1273969" y="5040419"/>
                    <a:pt x="1269205" y="5042637"/>
                    <a:pt x="1265711" y="5044539"/>
                  </a:cubicBezTo>
                  <a:cubicBezTo>
                    <a:pt x="1264441" y="5045173"/>
                    <a:pt x="1263806" y="5045489"/>
                    <a:pt x="1263170" y="5045806"/>
                  </a:cubicBezTo>
                  <a:cubicBezTo>
                    <a:pt x="1269523" y="5052144"/>
                    <a:pt x="1291121" y="5073059"/>
                    <a:pt x="1313036" y="5094290"/>
                  </a:cubicBezTo>
                  <a:cubicBezTo>
                    <a:pt x="1326059" y="5106966"/>
                    <a:pt x="1339399" y="5119641"/>
                    <a:pt x="1349245" y="5129148"/>
                  </a:cubicBezTo>
                  <a:cubicBezTo>
                    <a:pt x="1354327" y="5133901"/>
                    <a:pt x="1358774" y="5137704"/>
                    <a:pt x="1361632" y="5140556"/>
                  </a:cubicBezTo>
                  <a:cubicBezTo>
                    <a:pt x="1361632" y="5140556"/>
                    <a:pt x="1361632" y="5140556"/>
                    <a:pt x="1361950" y="5140556"/>
                  </a:cubicBezTo>
                  <a:cubicBezTo>
                    <a:pt x="1379419" y="5128514"/>
                    <a:pt x="1395617" y="5117106"/>
                    <a:pt x="1405146" y="5110135"/>
                  </a:cubicBezTo>
                  <a:cubicBezTo>
                    <a:pt x="1403240" y="5099043"/>
                    <a:pt x="1398794" y="5074009"/>
                    <a:pt x="1393394" y="5046757"/>
                  </a:cubicBezTo>
                  <a:cubicBezTo>
                    <a:pt x="1389583" y="5027110"/>
                    <a:pt x="1385136" y="5006195"/>
                    <a:pt x="1381007" y="4988450"/>
                  </a:cubicBezTo>
                  <a:close/>
                  <a:moveTo>
                    <a:pt x="2074369" y="4987816"/>
                  </a:moveTo>
                  <a:cubicBezTo>
                    <a:pt x="2074369" y="4987816"/>
                    <a:pt x="2074369" y="4987816"/>
                    <a:pt x="2074686" y="5027427"/>
                  </a:cubicBezTo>
                  <a:lnTo>
                    <a:pt x="2088662" y="5027427"/>
                  </a:lnTo>
                  <a:cubicBezTo>
                    <a:pt x="2088662" y="5027427"/>
                    <a:pt x="2088662" y="5027427"/>
                    <a:pt x="2088344" y="4987816"/>
                  </a:cubicBezTo>
                  <a:cubicBezTo>
                    <a:pt x="2088344" y="4987816"/>
                    <a:pt x="2088344" y="4987816"/>
                    <a:pt x="2074369" y="4987816"/>
                  </a:cubicBezTo>
                  <a:close/>
                  <a:moveTo>
                    <a:pt x="2092473" y="4983379"/>
                  </a:moveTo>
                  <a:lnTo>
                    <a:pt x="2092473" y="4985598"/>
                  </a:lnTo>
                  <a:cubicBezTo>
                    <a:pt x="2092473" y="4985598"/>
                    <a:pt x="2092473" y="4985598"/>
                    <a:pt x="2093108" y="5031546"/>
                  </a:cubicBezTo>
                  <a:cubicBezTo>
                    <a:pt x="2093108" y="5031546"/>
                    <a:pt x="2093108" y="5031546"/>
                    <a:pt x="2070557" y="5031546"/>
                  </a:cubicBezTo>
                  <a:cubicBezTo>
                    <a:pt x="2070557" y="5031546"/>
                    <a:pt x="2070557" y="5031546"/>
                    <a:pt x="2070240" y="4983696"/>
                  </a:cubicBezTo>
                  <a:cubicBezTo>
                    <a:pt x="2070240" y="4983696"/>
                    <a:pt x="2070240" y="4983696"/>
                    <a:pt x="2092473" y="4983379"/>
                  </a:cubicBezTo>
                  <a:close/>
                  <a:moveTo>
                    <a:pt x="162621" y="4981795"/>
                  </a:moveTo>
                  <a:cubicBezTo>
                    <a:pt x="162621" y="4981795"/>
                    <a:pt x="162621" y="4981795"/>
                    <a:pt x="205182" y="5023941"/>
                  </a:cubicBezTo>
                  <a:cubicBezTo>
                    <a:pt x="205182" y="5023941"/>
                    <a:pt x="205182" y="5023941"/>
                    <a:pt x="264894" y="5037567"/>
                  </a:cubicBezTo>
                  <a:lnTo>
                    <a:pt x="264577" y="5039785"/>
                  </a:lnTo>
                  <a:cubicBezTo>
                    <a:pt x="264577" y="5039785"/>
                    <a:pt x="264577" y="5039785"/>
                    <a:pt x="253142" y="5099677"/>
                  </a:cubicBezTo>
                  <a:cubicBezTo>
                    <a:pt x="253142" y="5099677"/>
                    <a:pt x="253142" y="5099677"/>
                    <a:pt x="123236" y="5039469"/>
                  </a:cubicBezTo>
                  <a:cubicBezTo>
                    <a:pt x="123236" y="5039469"/>
                    <a:pt x="123236" y="5039469"/>
                    <a:pt x="162621" y="4981795"/>
                  </a:cubicBezTo>
                  <a:close/>
                  <a:moveTo>
                    <a:pt x="2350062" y="4977042"/>
                  </a:moveTo>
                  <a:cubicBezTo>
                    <a:pt x="2350062" y="4977042"/>
                    <a:pt x="2350062" y="4977042"/>
                    <a:pt x="2331322" y="4977359"/>
                  </a:cubicBezTo>
                  <a:cubicBezTo>
                    <a:pt x="2331322" y="4977359"/>
                    <a:pt x="2331322" y="4977359"/>
                    <a:pt x="2331958" y="5026476"/>
                  </a:cubicBezTo>
                  <a:cubicBezTo>
                    <a:pt x="2331958" y="5026476"/>
                    <a:pt x="2331958" y="5026476"/>
                    <a:pt x="2362449" y="5026793"/>
                  </a:cubicBezTo>
                  <a:cubicBezTo>
                    <a:pt x="2362449" y="5026793"/>
                    <a:pt x="2362449" y="5026793"/>
                    <a:pt x="2362766" y="4996055"/>
                  </a:cubicBezTo>
                  <a:cubicBezTo>
                    <a:pt x="2358638" y="4989717"/>
                    <a:pt x="2354191" y="4983379"/>
                    <a:pt x="2350062" y="4977042"/>
                  </a:cubicBezTo>
                  <a:close/>
                  <a:moveTo>
                    <a:pt x="1994964" y="4973239"/>
                  </a:moveTo>
                  <a:lnTo>
                    <a:pt x="1980989" y="4973556"/>
                  </a:lnTo>
                  <a:cubicBezTo>
                    <a:pt x="1980989" y="4973556"/>
                    <a:pt x="1980989" y="4973556"/>
                    <a:pt x="1980989" y="5013167"/>
                  </a:cubicBezTo>
                  <a:cubicBezTo>
                    <a:pt x="1980989" y="5013167"/>
                    <a:pt x="1980989" y="5013167"/>
                    <a:pt x="1995282" y="5013167"/>
                  </a:cubicBezTo>
                  <a:cubicBezTo>
                    <a:pt x="1995282" y="5013167"/>
                    <a:pt x="1995282" y="5013167"/>
                    <a:pt x="1994964" y="4973239"/>
                  </a:cubicBezTo>
                  <a:close/>
                  <a:moveTo>
                    <a:pt x="2254141" y="4972922"/>
                  </a:moveTo>
                  <a:lnTo>
                    <a:pt x="2225238" y="4973239"/>
                  </a:lnTo>
                  <a:cubicBezTo>
                    <a:pt x="2225238" y="4973239"/>
                    <a:pt x="2225238" y="4973239"/>
                    <a:pt x="2226190" y="5003660"/>
                  </a:cubicBezTo>
                  <a:cubicBezTo>
                    <a:pt x="2226190" y="5003660"/>
                    <a:pt x="2226190" y="5003660"/>
                    <a:pt x="2244295" y="5003660"/>
                  </a:cubicBezTo>
                  <a:cubicBezTo>
                    <a:pt x="2244295" y="5003660"/>
                    <a:pt x="2244295" y="5003660"/>
                    <a:pt x="2244612" y="5026793"/>
                  </a:cubicBezTo>
                  <a:cubicBezTo>
                    <a:pt x="2244612" y="5026793"/>
                    <a:pt x="2244612" y="5026793"/>
                    <a:pt x="2270975" y="5026476"/>
                  </a:cubicBezTo>
                  <a:cubicBezTo>
                    <a:pt x="2270975" y="5026476"/>
                    <a:pt x="2270975" y="5026476"/>
                    <a:pt x="2270657" y="4976091"/>
                  </a:cubicBezTo>
                  <a:cubicBezTo>
                    <a:pt x="2270657" y="4976091"/>
                    <a:pt x="2270657" y="4976091"/>
                    <a:pt x="2254141" y="4976091"/>
                  </a:cubicBezTo>
                  <a:cubicBezTo>
                    <a:pt x="2254141" y="4976091"/>
                    <a:pt x="2254141" y="4976091"/>
                    <a:pt x="2254141" y="4972922"/>
                  </a:cubicBezTo>
                  <a:close/>
                  <a:moveTo>
                    <a:pt x="1999093" y="4969119"/>
                  </a:moveTo>
                  <a:cubicBezTo>
                    <a:pt x="1999093" y="4969119"/>
                    <a:pt x="1999093" y="4969119"/>
                    <a:pt x="1999093" y="4971338"/>
                  </a:cubicBezTo>
                  <a:cubicBezTo>
                    <a:pt x="1999093" y="4971338"/>
                    <a:pt x="1999093" y="4971338"/>
                    <a:pt x="1999411" y="5017286"/>
                  </a:cubicBezTo>
                  <a:lnTo>
                    <a:pt x="1976860" y="5017286"/>
                  </a:lnTo>
                  <a:cubicBezTo>
                    <a:pt x="1976860" y="5017286"/>
                    <a:pt x="1976860" y="5017286"/>
                    <a:pt x="1976542" y="4969436"/>
                  </a:cubicBezTo>
                  <a:cubicBezTo>
                    <a:pt x="1976542" y="4969436"/>
                    <a:pt x="1976542" y="4969436"/>
                    <a:pt x="1999093" y="4969119"/>
                  </a:cubicBezTo>
                  <a:close/>
                  <a:moveTo>
                    <a:pt x="2258270" y="4968803"/>
                  </a:moveTo>
                  <a:cubicBezTo>
                    <a:pt x="2258270" y="4968803"/>
                    <a:pt x="2258270" y="4968803"/>
                    <a:pt x="2258270" y="4971971"/>
                  </a:cubicBezTo>
                  <a:cubicBezTo>
                    <a:pt x="2258270" y="4971971"/>
                    <a:pt x="2258270" y="4971971"/>
                    <a:pt x="2274786" y="4971971"/>
                  </a:cubicBezTo>
                  <a:cubicBezTo>
                    <a:pt x="2274786" y="4971971"/>
                    <a:pt x="2274786" y="4971971"/>
                    <a:pt x="2275421" y="5030596"/>
                  </a:cubicBezTo>
                  <a:cubicBezTo>
                    <a:pt x="2275421" y="5030596"/>
                    <a:pt x="2275421" y="5030596"/>
                    <a:pt x="2240483" y="5030913"/>
                  </a:cubicBezTo>
                  <a:cubicBezTo>
                    <a:pt x="2240483" y="5030913"/>
                    <a:pt x="2240483" y="5030913"/>
                    <a:pt x="2240166" y="5007780"/>
                  </a:cubicBezTo>
                  <a:cubicBezTo>
                    <a:pt x="2240166" y="5007780"/>
                    <a:pt x="2240166" y="5007780"/>
                    <a:pt x="2222062" y="5007780"/>
                  </a:cubicBezTo>
                  <a:lnTo>
                    <a:pt x="2222062" y="5005878"/>
                  </a:lnTo>
                  <a:cubicBezTo>
                    <a:pt x="2222062" y="5005878"/>
                    <a:pt x="2222062" y="5005878"/>
                    <a:pt x="2220791" y="4969119"/>
                  </a:cubicBezTo>
                  <a:cubicBezTo>
                    <a:pt x="2220791" y="4969119"/>
                    <a:pt x="2220791" y="4969119"/>
                    <a:pt x="2258270" y="4968803"/>
                  </a:cubicBezTo>
                  <a:close/>
                  <a:moveTo>
                    <a:pt x="1783748" y="4967852"/>
                  </a:moveTo>
                  <a:cubicBezTo>
                    <a:pt x="1783748" y="4967852"/>
                    <a:pt x="1783748" y="4967852"/>
                    <a:pt x="1784065" y="5013484"/>
                  </a:cubicBezTo>
                  <a:cubicBezTo>
                    <a:pt x="1784065" y="5013484"/>
                    <a:pt x="1784065" y="5013484"/>
                    <a:pt x="1810745" y="5013801"/>
                  </a:cubicBezTo>
                  <a:cubicBezTo>
                    <a:pt x="1810745" y="5013801"/>
                    <a:pt x="1810745" y="5013801"/>
                    <a:pt x="1810745" y="5016019"/>
                  </a:cubicBezTo>
                  <a:cubicBezTo>
                    <a:pt x="1810745" y="5016019"/>
                    <a:pt x="1810745" y="5016019"/>
                    <a:pt x="1811063" y="5044539"/>
                  </a:cubicBezTo>
                  <a:cubicBezTo>
                    <a:pt x="1811063" y="5044539"/>
                    <a:pt x="1811063" y="5044539"/>
                    <a:pt x="1841872" y="5044539"/>
                  </a:cubicBezTo>
                  <a:cubicBezTo>
                    <a:pt x="1841872" y="5044539"/>
                    <a:pt x="1841872" y="5044539"/>
                    <a:pt x="1842507" y="4995104"/>
                  </a:cubicBezTo>
                  <a:cubicBezTo>
                    <a:pt x="1842507" y="4995104"/>
                    <a:pt x="1842507" y="4995104"/>
                    <a:pt x="1815827" y="4994787"/>
                  </a:cubicBezTo>
                  <a:cubicBezTo>
                    <a:pt x="1815827" y="4994787"/>
                    <a:pt x="1815827" y="4994787"/>
                    <a:pt x="1816780" y="4968169"/>
                  </a:cubicBezTo>
                  <a:close/>
                  <a:moveTo>
                    <a:pt x="1779619" y="4963732"/>
                  </a:moveTo>
                  <a:cubicBezTo>
                    <a:pt x="1779619" y="4963732"/>
                    <a:pt x="1779619" y="4963732"/>
                    <a:pt x="1820909" y="4964049"/>
                  </a:cubicBezTo>
                  <a:cubicBezTo>
                    <a:pt x="1820909" y="4964049"/>
                    <a:pt x="1820909" y="4964049"/>
                    <a:pt x="1819956" y="4990668"/>
                  </a:cubicBezTo>
                  <a:cubicBezTo>
                    <a:pt x="1819956" y="4990668"/>
                    <a:pt x="1819956" y="4990668"/>
                    <a:pt x="1846636" y="4990985"/>
                  </a:cubicBezTo>
                  <a:cubicBezTo>
                    <a:pt x="1846636" y="4990985"/>
                    <a:pt x="1846636" y="4990985"/>
                    <a:pt x="1846001" y="5048658"/>
                  </a:cubicBezTo>
                  <a:cubicBezTo>
                    <a:pt x="1846001" y="5048658"/>
                    <a:pt x="1846001" y="5048658"/>
                    <a:pt x="1806934" y="5048658"/>
                  </a:cubicBezTo>
                  <a:cubicBezTo>
                    <a:pt x="1806934" y="5048658"/>
                    <a:pt x="1806934" y="5048658"/>
                    <a:pt x="1806616" y="5017920"/>
                  </a:cubicBezTo>
                  <a:lnTo>
                    <a:pt x="1779936" y="5017603"/>
                  </a:lnTo>
                  <a:cubicBezTo>
                    <a:pt x="1779936" y="5017603"/>
                    <a:pt x="1779936" y="5017603"/>
                    <a:pt x="1779619" y="4963732"/>
                  </a:cubicBezTo>
                  <a:close/>
                  <a:moveTo>
                    <a:pt x="30174" y="4961197"/>
                  </a:moveTo>
                  <a:cubicBezTo>
                    <a:pt x="30174" y="4961197"/>
                    <a:pt x="30174" y="4961197"/>
                    <a:pt x="6035" y="4993203"/>
                  </a:cubicBezTo>
                  <a:lnTo>
                    <a:pt x="37162" y="5009364"/>
                  </a:lnTo>
                  <a:cubicBezTo>
                    <a:pt x="37162" y="5009364"/>
                    <a:pt x="37162" y="5009364"/>
                    <a:pt x="58124" y="4981795"/>
                  </a:cubicBezTo>
                  <a:cubicBezTo>
                    <a:pt x="58124" y="4981795"/>
                    <a:pt x="58124" y="4981795"/>
                    <a:pt x="30174" y="4961197"/>
                  </a:cubicBezTo>
                  <a:close/>
                  <a:moveTo>
                    <a:pt x="927130" y="4959930"/>
                  </a:moveTo>
                  <a:cubicBezTo>
                    <a:pt x="927130" y="4959930"/>
                    <a:pt x="927130" y="4959930"/>
                    <a:pt x="926494" y="4960247"/>
                  </a:cubicBezTo>
                  <a:cubicBezTo>
                    <a:pt x="926494" y="4960247"/>
                    <a:pt x="925224" y="4960563"/>
                    <a:pt x="923001" y="4961514"/>
                  </a:cubicBezTo>
                  <a:cubicBezTo>
                    <a:pt x="914425" y="4965000"/>
                    <a:pt x="892827" y="4975140"/>
                    <a:pt x="874087" y="4993203"/>
                  </a:cubicBezTo>
                  <a:cubicBezTo>
                    <a:pt x="860747" y="5005878"/>
                    <a:pt x="848678" y="5022040"/>
                    <a:pt x="842961" y="5042954"/>
                  </a:cubicBezTo>
                  <a:cubicBezTo>
                    <a:pt x="842961" y="5042954"/>
                    <a:pt x="842961" y="5042954"/>
                    <a:pt x="1001135" y="5059432"/>
                  </a:cubicBezTo>
                  <a:cubicBezTo>
                    <a:pt x="1002405" y="5047074"/>
                    <a:pt x="1003358" y="5037250"/>
                    <a:pt x="1003358" y="5035349"/>
                  </a:cubicBezTo>
                  <a:cubicBezTo>
                    <a:pt x="996688" y="5028694"/>
                    <a:pt x="981125" y="5013484"/>
                    <a:pt x="965561" y="4997956"/>
                  </a:cubicBezTo>
                  <a:cubicBezTo>
                    <a:pt x="955398" y="4987816"/>
                    <a:pt x="944916" y="4977675"/>
                    <a:pt x="937293" y="4970070"/>
                  </a:cubicBezTo>
                  <a:cubicBezTo>
                    <a:pt x="933482" y="4966267"/>
                    <a:pt x="930306" y="4963099"/>
                    <a:pt x="928082" y="4960880"/>
                  </a:cubicBezTo>
                  <a:cubicBezTo>
                    <a:pt x="927765" y="4960563"/>
                    <a:pt x="927447" y="4960247"/>
                    <a:pt x="927130" y="4959930"/>
                  </a:cubicBezTo>
                  <a:close/>
                  <a:moveTo>
                    <a:pt x="2036572" y="4957711"/>
                  </a:moveTo>
                  <a:lnTo>
                    <a:pt x="1964472" y="4961831"/>
                  </a:lnTo>
                  <a:cubicBezTo>
                    <a:pt x="1964472" y="4961831"/>
                    <a:pt x="1964472" y="4961831"/>
                    <a:pt x="1970825" y="5039785"/>
                  </a:cubicBezTo>
                  <a:cubicBezTo>
                    <a:pt x="1970825" y="5039785"/>
                    <a:pt x="1970825" y="5039785"/>
                    <a:pt x="2034666" y="5041687"/>
                  </a:cubicBezTo>
                  <a:cubicBezTo>
                    <a:pt x="2034666" y="5041687"/>
                    <a:pt x="2034666" y="5041687"/>
                    <a:pt x="2036572" y="4957711"/>
                  </a:cubicBezTo>
                  <a:close/>
                  <a:moveTo>
                    <a:pt x="643496" y="4952007"/>
                  </a:moveTo>
                  <a:cubicBezTo>
                    <a:pt x="643496" y="4952007"/>
                    <a:pt x="643496" y="4952007"/>
                    <a:pt x="604746" y="5016970"/>
                  </a:cubicBezTo>
                  <a:cubicBezTo>
                    <a:pt x="604746" y="5016970"/>
                    <a:pt x="604746" y="5016970"/>
                    <a:pt x="572667" y="4995738"/>
                  </a:cubicBezTo>
                  <a:cubicBezTo>
                    <a:pt x="572667" y="4995738"/>
                    <a:pt x="572667" y="4995738"/>
                    <a:pt x="517401" y="5077495"/>
                  </a:cubicBezTo>
                  <a:cubicBezTo>
                    <a:pt x="517401" y="5077495"/>
                    <a:pt x="517401" y="5077495"/>
                    <a:pt x="565679" y="5122493"/>
                  </a:cubicBezTo>
                  <a:cubicBezTo>
                    <a:pt x="565679" y="5122493"/>
                    <a:pt x="565679" y="5122493"/>
                    <a:pt x="589501" y="5099994"/>
                  </a:cubicBezTo>
                  <a:cubicBezTo>
                    <a:pt x="589501" y="5099994"/>
                    <a:pt x="589501" y="5099994"/>
                    <a:pt x="551069" y="5066087"/>
                  </a:cubicBezTo>
                  <a:cubicBezTo>
                    <a:pt x="551069" y="5066087"/>
                    <a:pt x="551069" y="5066087"/>
                    <a:pt x="580290" y="5030596"/>
                  </a:cubicBezTo>
                  <a:cubicBezTo>
                    <a:pt x="580290" y="5030596"/>
                    <a:pt x="580290" y="5030596"/>
                    <a:pt x="620627" y="5035666"/>
                  </a:cubicBezTo>
                  <a:lnTo>
                    <a:pt x="703208" y="5012533"/>
                  </a:lnTo>
                  <a:cubicBezTo>
                    <a:pt x="703208" y="5012533"/>
                    <a:pt x="703208" y="5012533"/>
                    <a:pt x="679705" y="4986231"/>
                  </a:cubicBezTo>
                  <a:cubicBezTo>
                    <a:pt x="679705" y="4986231"/>
                    <a:pt x="679705" y="4986231"/>
                    <a:pt x="643496" y="4952007"/>
                  </a:cubicBezTo>
                  <a:close/>
                  <a:moveTo>
                    <a:pt x="2390082" y="4949789"/>
                  </a:moveTo>
                  <a:cubicBezTo>
                    <a:pt x="2390082" y="4949789"/>
                    <a:pt x="2390082" y="4949789"/>
                    <a:pt x="2357050" y="4950106"/>
                  </a:cubicBezTo>
                  <a:lnTo>
                    <a:pt x="2358002" y="4976725"/>
                  </a:lnTo>
                  <a:cubicBezTo>
                    <a:pt x="2358002" y="4976725"/>
                    <a:pt x="2358002" y="4976725"/>
                    <a:pt x="2355461" y="4976725"/>
                  </a:cubicBezTo>
                  <a:cubicBezTo>
                    <a:pt x="2357050" y="4979577"/>
                    <a:pt x="2358955" y="4982112"/>
                    <a:pt x="2360543" y="4984647"/>
                  </a:cubicBezTo>
                  <a:cubicBezTo>
                    <a:pt x="2363084" y="4988450"/>
                    <a:pt x="2365308" y="4992252"/>
                    <a:pt x="2367848" y="4995738"/>
                  </a:cubicBezTo>
                  <a:cubicBezTo>
                    <a:pt x="2367848" y="4995738"/>
                    <a:pt x="2367848" y="4995738"/>
                    <a:pt x="2389764" y="4995421"/>
                  </a:cubicBezTo>
                  <a:cubicBezTo>
                    <a:pt x="2389764" y="4995421"/>
                    <a:pt x="2389764" y="4995421"/>
                    <a:pt x="2390082" y="4949789"/>
                  </a:cubicBezTo>
                  <a:close/>
                  <a:moveTo>
                    <a:pt x="642543" y="4944719"/>
                  </a:moveTo>
                  <a:cubicBezTo>
                    <a:pt x="642543" y="4944719"/>
                    <a:pt x="642543" y="4944719"/>
                    <a:pt x="644449" y="4946620"/>
                  </a:cubicBezTo>
                  <a:lnTo>
                    <a:pt x="682881" y="4983063"/>
                  </a:lnTo>
                  <a:cubicBezTo>
                    <a:pt x="682881" y="4983063"/>
                    <a:pt x="682881" y="4983063"/>
                    <a:pt x="711784" y="5015068"/>
                  </a:cubicBezTo>
                  <a:cubicBezTo>
                    <a:pt x="711784" y="5015068"/>
                    <a:pt x="711784" y="5015068"/>
                    <a:pt x="621263" y="5040419"/>
                  </a:cubicBezTo>
                  <a:cubicBezTo>
                    <a:pt x="621263" y="5040419"/>
                    <a:pt x="621263" y="5040419"/>
                    <a:pt x="582196" y="5035666"/>
                  </a:cubicBezTo>
                  <a:cubicBezTo>
                    <a:pt x="582196" y="5035666"/>
                    <a:pt x="582196" y="5035666"/>
                    <a:pt x="557739" y="5065453"/>
                  </a:cubicBezTo>
                  <a:cubicBezTo>
                    <a:pt x="557739" y="5065453"/>
                    <a:pt x="557739" y="5065453"/>
                    <a:pt x="596488" y="5099994"/>
                  </a:cubicBezTo>
                  <a:cubicBezTo>
                    <a:pt x="596488" y="5099994"/>
                    <a:pt x="596488" y="5099994"/>
                    <a:pt x="565679" y="5128831"/>
                  </a:cubicBezTo>
                  <a:cubicBezTo>
                    <a:pt x="565679" y="5128831"/>
                    <a:pt x="565679" y="5128831"/>
                    <a:pt x="511367" y="5078129"/>
                  </a:cubicBezTo>
                  <a:cubicBezTo>
                    <a:pt x="511367" y="5078129"/>
                    <a:pt x="511367" y="5078129"/>
                    <a:pt x="571397" y="4989083"/>
                  </a:cubicBezTo>
                  <a:cubicBezTo>
                    <a:pt x="571397" y="4989083"/>
                    <a:pt x="571397" y="4989083"/>
                    <a:pt x="603158" y="5010315"/>
                  </a:cubicBezTo>
                  <a:cubicBezTo>
                    <a:pt x="603158" y="5010315"/>
                    <a:pt x="603158" y="5010315"/>
                    <a:pt x="642543" y="4944719"/>
                  </a:cubicBezTo>
                  <a:close/>
                  <a:moveTo>
                    <a:pt x="1005899" y="4938381"/>
                  </a:moveTo>
                  <a:cubicBezTo>
                    <a:pt x="1005899" y="4938381"/>
                    <a:pt x="1005899" y="4938381"/>
                    <a:pt x="972231" y="4958028"/>
                  </a:cubicBezTo>
                  <a:cubicBezTo>
                    <a:pt x="972231" y="4958028"/>
                    <a:pt x="972231" y="4958028"/>
                    <a:pt x="984936" y="4979260"/>
                  </a:cubicBezTo>
                  <a:lnTo>
                    <a:pt x="1018286" y="4959930"/>
                  </a:lnTo>
                  <a:cubicBezTo>
                    <a:pt x="1018286" y="4959930"/>
                    <a:pt x="1018286" y="4959930"/>
                    <a:pt x="1005899" y="4938381"/>
                  </a:cubicBezTo>
                  <a:close/>
                  <a:moveTo>
                    <a:pt x="2177277" y="4938064"/>
                  </a:moveTo>
                  <a:cubicBezTo>
                    <a:pt x="2177277" y="4938064"/>
                    <a:pt x="2177277" y="4938064"/>
                    <a:pt x="2145515" y="4960563"/>
                  </a:cubicBezTo>
                  <a:cubicBezTo>
                    <a:pt x="2145515" y="4960563"/>
                    <a:pt x="2145515" y="4960563"/>
                    <a:pt x="2160126" y="4980844"/>
                  </a:cubicBezTo>
                  <a:lnTo>
                    <a:pt x="2191570" y="4958345"/>
                  </a:lnTo>
                  <a:cubicBezTo>
                    <a:pt x="2191570" y="4958345"/>
                    <a:pt x="2191570" y="4958345"/>
                    <a:pt x="2177277" y="4938064"/>
                  </a:cubicBezTo>
                  <a:close/>
                  <a:moveTo>
                    <a:pt x="1007487" y="4932994"/>
                  </a:moveTo>
                  <a:cubicBezTo>
                    <a:pt x="1007487" y="4932994"/>
                    <a:pt x="1007487" y="4932994"/>
                    <a:pt x="1024003" y="4961514"/>
                  </a:cubicBezTo>
                  <a:cubicBezTo>
                    <a:pt x="1024003" y="4961514"/>
                    <a:pt x="1024003" y="4961514"/>
                    <a:pt x="983348" y="4984964"/>
                  </a:cubicBezTo>
                  <a:cubicBezTo>
                    <a:pt x="983348" y="4984964"/>
                    <a:pt x="983348" y="4984964"/>
                    <a:pt x="982395" y="4983379"/>
                  </a:cubicBezTo>
                  <a:cubicBezTo>
                    <a:pt x="982395" y="4983379"/>
                    <a:pt x="982395" y="4983379"/>
                    <a:pt x="966832" y="4956444"/>
                  </a:cubicBezTo>
                  <a:close/>
                  <a:moveTo>
                    <a:pt x="2178230" y="4932360"/>
                  </a:moveTo>
                  <a:cubicBezTo>
                    <a:pt x="2178230" y="4932360"/>
                    <a:pt x="2178230" y="4932360"/>
                    <a:pt x="2197287" y="4959296"/>
                  </a:cubicBezTo>
                  <a:cubicBezTo>
                    <a:pt x="2197287" y="4959296"/>
                    <a:pt x="2197287" y="4959296"/>
                    <a:pt x="2159173" y="4986548"/>
                  </a:cubicBezTo>
                  <a:cubicBezTo>
                    <a:pt x="2159173" y="4986548"/>
                    <a:pt x="2159173" y="4986548"/>
                    <a:pt x="2157902" y="4984964"/>
                  </a:cubicBezTo>
                  <a:cubicBezTo>
                    <a:pt x="2157902" y="4984964"/>
                    <a:pt x="2157902" y="4984964"/>
                    <a:pt x="2139798" y="4959613"/>
                  </a:cubicBezTo>
                  <a:close/>
                  <a:moveTo>
                    <a:pt x="639685" y="4928241"/>
                  </a:moveTo>
                  <a:cubicBezTo>
                    <a:pt x="638732" y="4928875"/>
                    <a:pt x="637779" y="4929192"/>
                    <a:pt x="637144" y="4929508"/>
                  </a:cubicBezTo>
                  <a:cubicBezTo>
                    <a:pt x="637144" y="4929508"/>
                    <a:pt x="637144" y="4929508"/>
                    <a:pt x="599982" y="4993203"/>
                  </a:cubicBezTo>
                  <a:cubicBezTo>
                    <a:pt x="599982" y="4993203"/>
                    <a:pt x="599982" y="4993203"/>
                    <a:pt x="569173" y="4974823"/>
                  </a:cubicBezTo>
                  <a:cubicBezTo>
                    <a:pt x="569173" y="4974823"/>
                    <a:pt x="569173" y="4974823"/>
                    <a:pt x="498344" y="5079396"/>
                  </a:cubicBezTo>
                  <a:cubicBezTo>
                    <a:pt x="510096" y="5090488"/>
                    <a:pt x="539952" y="5118691"/>
                    <a:pt x="567903" y="5144992"/>
                  </a:cubicBezTo>
                  <a:cubicBezTo>
                    <a:pt x="567903" y="5144992"/>
                    <a:pt x="567903" y="5144992"/>
                    <a:pt x="635556" y="5082565"/>
                  </a:cubicBezTo>
                  <a:cubicBezTo>
                    <a:pt x="635556" y="5082565"/>
                    <a:pt x="635556" y="5082565"/>
                    <a:pt x="632697" y="5042637"/>
                  </a:cubicBezTo>
                  <a:cubicBezTo>
                    <a:pt x="632697" y="5042637"/>
                    <a:pt x="632697" y="5042637"/>
                    <a:pt x="634920" y="5042321"/>
                  </a:cubicBezTo>
                  <a:cubicBezTo>
                    <a:pt x="634920" y="5042321"/>
                    <a:pt x="661283" y="5039152"/>
                    <a:pt x="687645" y="5035983"/>
                  </a:cubicBezTo>
                  <a:cubicBezTo>
                    <a:pt x="700667" y="5034398"/>
                    <a:pt x="714007" y="5032814"/>
                    <a:pt x="723854" y="5031546"/>
                  </a:cubicBezTo>
                  <a:cubicBezTo>
                    <a:pt x="728618" y="5030913"/>
                    <a:pt x="732747" y="5030279"/>
                    <a:pt x="735605" y="5029962"/>
                  </a:cubicBezTo>
                  <a:cubicBezTo>
                    <a:pt x="737194" y="5029962"/>
                    <a:pt x="738146" y="5029645"/>
                    <a:pt x="738782" y="5029645"/>
                  </a:cubicBezTo>
                  <a:cubicBezTo>
                    <a:pt x="732112" y="5015702"/>
                    <a:pt x="713055" y="4982746"/>
                    <a:pt x="672717" y="4952958"/>
                  </a:cubicBezTo>
                  <a:cubicBezTo>
                    <a:pt x="665412" y="4947571"/>
                    <a:pt x="653977" y="4939015"/>
                    <a:pt x="639685" y="4928241"/>
                  </a:cubicBezTo>
                  <a:close/>
                  <a:moveTo>
                    <a:pt x="2317665" y="4926973"/>
                  </a:moveTo>
                  <a:cubicBezTo>
                    <a:pt x="2310360" y="4928875"/>
                    <a:pt x="2282091" y="4935212"/>
                    <a:pt x="2280821" y="4935529"/>
                  </a:cubicBezTo>
                  <a:cubicBezTo>
                    <a:pt x="2280821" y="4935529"/>
                    <a:pt x="2280821" y="4935529"/>
                    <a:pt x="2295114" y="5049609"/>
                  </a:cubicBezTo>
                  <a:lnTo>
                    <a:pt x="2395481" y="5052461"/>
                  </a:lnTo>
                  <a:cubicBezTo>
                    <a:pt x="2395481" y="5052461"/>
                    <a:pt x="2395481" y="5052461"/>
                    <a:pt x="2395481" y="5054362"/>
                  </a:cubicBezTo>
                  <a:cubicBezTo>
                    <a:pt x="2396434" y="5052144"/>
                    <a:pt x="2397387" y="5050243"/>
                    <a:pt x="2398340" y="5048341"/>
                  </a:cubicBezTo>
                  <a:cubicBezTo>
                    <a:pt x="2394846" y="5044539"/>
                    <a:pt x="2381824" y="5024892"/>
                    <a:pt x="2366896" y="5002393"/>
                  </a:cubicBezTo>
                  <a:cubicBezTo>
                    <a:pt x="2366896" y="5002393"/>
                    <a:pt x="2366896" y="5002393"/>
                    <a:pt x="2366578" y="5030913"/>
                  </a:cubicBezTo>
                  <a:cubicBezTo>
                    <a:pt x="2366578" y="5030913"/>
                    <a:pt x="2366578" y="5030913"/>
                    <a:pt x="2327828" y="5030913"/>
                  </a:cubicBezTo>
                  <a:cubicBezTo>
                    <a:pt x="2327828" y="5030913"/>
                    <a:pt x="2327828" y="5030913"/>
                    <a:pt x="2327193" y="4973239"/>
                  </a:cubicBezTo>
                  <a:cubicBezTo>
                    <a:pt x="2327193" y="4973239"/>
                    <a:pt x="2327193" y="4973239"/>
                    <a:pt x="2347521" y="4972922"/>
                  </a:cubicBezTo>
                  <a:cubicBezTo>
                    <a:pt x="2333228" y="4951057"/>
                    <a:pt x="2320841" y="4932044"/>
                    <a:pt x="2317665" y="4926973"/>
                  </a:cubicBezTo>
                  <a:close/>
                  <a:moveTo>
                    <a:pt x="257907" y="4926656"/>
                  </a:moveTo>
                  <a:cubicBezTo>
                    <a:pt x="257907" y="4926656"/>
                    <a:pt x="257907" y="4926656"/>
                    <a:pt x="220745" y="5011266"/>
                  </a:cubicBezTo>
                  <a:lnTo>
                    <a:pt x="362721" y="5033131"/>
                  </a:lnTo>
                  <a:cubicBezTo>
                    <a:pt x="362721" y="5033131"/>
                    <a:pt x="362721" y="5033131"/>
                    <a:pt x="385590" y="5008414"/>
                  </a:cubicBezTo>
                  <a:cubicBezTo>
                    <a:pt x="382413" y="5005245"/>
                    <a:pt x="376061" y="4999224"/>
                    <a:pt x="367485" y="4991935"/>
                  </a:cubicBezTo>
                  <a:cubicBezTo>
                    <a:pt x="365262" y="4995421"/>
                    <a:pt x="362403" y="4998907"/>
                    <a:pt x="358274" y="5002076"/>
                  </a:cubicBezTo>
                  <a:cubicBezTo>
                    <a:pt x="348746" y="5009681"/>
                    <a:pt x="339535" y="5012850"/>
                    <a:pt x="330959" y="5012850"/>
                  </a:cubicBezTo>
                  <a:cubicBezTo>
                    <a:pt x="317301" y="5012533"/>
                    <a:pt x="306185" y="5004611"/>
                    <a:pt x="297609" y="4996689"/>
                  </a:cubicBezTo>
                  <a:cubicBezTo>
                    <a:pt x="289033" y="4988766"/>
                    <a:pt x="281728" y="4980527"/>
                    <a:pt x="278552" y="4979894"/>
                  </a:cubicBezTo>
                  <a:cubicBezTo>
                    <a:pt x="277281" y="4979577"/>
                    <a:pt x="275693" y="4979260"/>
                    <a:pt x="274105" y="4979260"/>
                  </a:cubicBezTo>
                  <a:cubicBezTo>
                    <a:pt x="268706" y="4979260"/>
                    <a:pt x="261718" y="4981795"/>
                    <a:pt x="256636" y="4986231"/>
                  </a:cubicBezTo>
                  <a:cubicBezTo>
                    <a:pt x="251237" y="4990668"/>
                    <a:pt x="247425" y="4997006"/>
                    <a:pt x="247425" y="5004294"/>
                  </a:cubicBezTo>
                  <a:cubicBezTo>
                    <a:pt x="247425" y="5005562"/>
                    <a:pt x="248061" y="5009998"/>
                    <a:pt x="248061" y="5011582"/>
                  </a:cubicBezTo>
                  <a:cubicBezTo>
                    <a:pt x="248061" y="5011582"/>
                    <a:pt x="239802" y="5006829"/>
                    <a:pt x="239802" y="5006829"/>
                  </a:cubicBezTo>
                  <a:cubicBezTo>
                    <a:pt x="239802" y="5005878"/>
                    <a:pt x="239802" y="5005245"/>
                    <a:pt x="239802" y="5004294"/>
                  </a:cubicBezTo>
                  <a:cubicBezTo>
                    <a:pt x="240120" y="4984013"/>
                    <a:pt x="259177" y="4971655"/>
                    <a:pt x="274105" y="4971655"/>
                  </a:cubicBezTo>
                  <a:cubicBezTo>
                    <a:pt x="276646" y="4971655"/>
                    <a:pt x="278870" y="4971971"/>
                    <a:pt x="280775" y="4972605"/>
                  </a:cubicBezTo>
                  <a:cubicBezTo>
                    <a:pt x="288398" y="4975140"/>
                    <a:pt x="294433" y="4983379"/>
                    <a:pt x="302691" y="4990985"/>
                  </a:cubicBezTo>
                  <a:cubicBezTo>
                    <a:pt x="310949" y="4998590"/>
                    <a:pt x="320478" y="5004928"/>
                    <a:pt x="330959" y="5004928"/>
                  </a:cubicBezTo>
                  <a:cubicBezTo>
                    <a:pt x="337629" y="5004928"/>
                    <a:pt x="344934" y="5002710"/>
                    <a:pt x="353510" y="4995738"/>
                  </a:cubicBezTo>
                  <a:cubicBezTo>
                    <a:pt x="357321" y="4992886"/>
                    <a:pt x="359862" y="4990034"/>
                    <a:pt x="361768" y="4986865"/>
                  </a:cubicBezTo>
                  <a:cubicBezTo>
                    <a:pt x="361450" y="4986865"/>
                    <a:pt x="361450" y="4986865"/>
                    <a:pt x="361133" y="4986548"/>
                  </a:cubicBezTo>
                  <a:cubicBezTo>
                    <a:pt x="346205" y="4973873"/>
                    <a:pt x="327465" y="4959296"/>
                    <a:pt x="316031" y="4953592"/>
                  </a:cubicBezTo>
                  <a:cubicBezTo>
                    <a:pt x="295703" y="4943135"/>
                    <a:pt x="279187" y="4934262"/>
                    <a:pt x="257907" y="4926656"/>
                  </a:cubicBezTo>
                  <a:close/>
                  <a:moveTo>
                    <a:pt x="1355915" y="4921269"/>
                  </a:moveTo>
                  <a:cubicBezTo>
                    <a:pt x="1355915" y="4921269"/>
                    <a:pt x="1355915" y="4921269"/>
                    <a:pt x="1227279" y="5000174"/>
                  </a:cubicBezTo>
                  <a:cubicBezTo>
                    <a:pt x="1227279" y="5000174"/>
                    <a:pt x="1227279" y="5000174"/>
                    <a:pt x="1179319" y="4989717"/>
                  </a:cubicBezTo>
                  <a:lnTo>
                    <a:pt x="1098644" y="5074326"/>
                  </a:lnTo>
                  <a:cubicBezTo>
                    <a:pt x="1098644" y="5074326"/>
                    <a:pt x="1098644" y="5074326"/>
                    <a:pt x="1137076" y="5149429"/>
                  </a:cubicBezTo>
                  <a:cubicBezTo>
                    <a:pt x="1144381" y="5143091"/>
                    <a:pt x="1170426" y="5120592"/>
                    <a:pt x="1196470" y="5098093"/>
                  </a:cubicBezTo>
                  <a:cubicBezTo>
                    <a:pt x="1211716" y="5084784"/>
                    <a:pt x="1227279" y="5071157"/>
                    <a:pt x="1238714" y="5061017"/>
                  </a:cubicBezTo>
                  <a:cubicBezTo>
                    <a:pt x="1244431" y="5055947"/>
                    <a:pt x="1249195" y="5051827"/>
                    <a:pt x="1252689" y="5048658"/>
                  </a:cubicBezTo>
                  <a:cubicBezTo>
                    <a:pt x="1254277" y="5047074"/>
                    <a:pt x="1255547" y="5046123"/>
                    <a:pt x="1256500" y="5045173"/>
                  </a:cubicBezTo>
                  <a:cubicBezTo>
                    <a:pt x="1256818" y="5044856"/>
                    <a:pt x="1257136" y="5044539"/>
                    <a:pt x="1257453" y="5044222"/>
                  </a:cubicBezTo>
                  <a:cubicBezTo>
                    <a:pt x="1257771" y="5043271"/>
                    <a:pt x="1258088" y="5043905"/>
                    <a:pt x="1258088" y="5043588"/>
                  </a:cubicBezTo>
                  <a:cubicBezTo>
                    <a:pt x="1258088" y="5043588"/>
                    <a:pt x="1258088" y="5043271"/>
                    <a:pt x="1258088" y="5043271"/>
                  </a:cubicBezTo>
                  <a:cubicBezTo>
                    <a:pt x="1259676" y="5042321"/>
                    <a:pt x="1266982" y="5038835"/>
                    <a:pt x="1278734" y="5033131"/>
                  </a:cubicBezTo>
                  <a:cubicBezTo>
                    <a:pt x="1309860" y="5017920"/>
                    <a:pt x="1367349" y="4990351"/>
                    <a:pt x="1380054" y="4984013"/>
                  </a:cubicBezTo>
                  <a:cubicBezTo>
                    <a:pt x="1376878" y="4970387"/>
                    <a:pt x="1374019" y="4958979"/>
                    <a:pt x="1371796" y="4952324"/>
                  </a:cubicBezTo>
                  <a:cubicBezTo>
                    <a:pt x="1370208" y="4947254"/>
                    <a:pt x="1364491" y="4935529"/>
                    <a:pt x="1356868" y="4921269"/>
                  </a:cubicBezTo>
                  <a:cubicBezTo>
                    <a:pt x="1356550" y="4921269"/>
                    <a:pt x="1356233" y="4921269"/>
                    <a:pt x="1355915" y="4921269"/>
                  </a:cubicBezTo>
                  <a:close/>
                  <a:moveTo>
                    <a:pt x="796271" y="4919368"/>
                  </a:moveTo>
                  <a:cubicBezTo>
                    <a:pt x="779119" y="4927290"/>
                    <a:pt x="755615" y="4937114"/>
                    <a:pt x="732429" y="4941867"/>
                  </a:cubicBezTo>
                  <a:cubicBezTo>
                    <a:pt x="718772" y="4945036"/>
                    <a:pt x="708608" y="4947254"/>
                    <a:pt x="701303" y="4949156"/>
                  </a:cubicBezTo>
                  <a:cubicBezTo>
                    <a:pt x="736558" y="4979894"/>
                    <a:pt x="753392" y="5010949"/>
                    <a:pt x="759109" y="5023624"/>
                  </a:cubicBezTo>
                  <a:lnTo>
                    <a:pt x="824221" y="5032814"/>
                  </a:lnTo>
                  <a:cubicBezTo>
                    <a:pt x="829303" y="5017920"/>
                    <a:pt x="836608" y="5004928"/>
                    <a:pt x="845184" y="4994154"/>
                  </a:cubicBezTo>
                  <a:cubicBezTo>
                    <a:pt x="844231" y="4991935"/>
                    <a:pt x="830891" y="4971655"/>
                    <a:pt x="818186" y="4952641"/>
                  </a:cubicBezTo>
                  <a:cubicBezTo>
                    <a:pt x="811516" y="4942818"/>
                    <a:pt x="805164" y="4932677"/>
                    <a:pt x="800082" y="4925072"/>
                  </a:cubicBezTo>
                  <a:cubicBezTo>
                    <a:pt x="798812" y="4922854"/>
                    <a:pt x="797541" y="4920952"/>
                    <a:pt x="796271" y="4919368"/>
                  </a:cubicBezTo>
                  <a:close/>
                  <a:moveTo>
                    <a:pt x="2039430" y="4917784"/>
                  </a:moveTo>
                  <a:cubicBezTo>
                    <a:pt x="2039430" y="4917784"/>
                    <a:pt x="2039430" y="4917784"/>
                    <a:pt x="2039430" y="4932044"/>
                  </a:cubicBezTo>
                  <a:cubicBezTo>
                    <a:pt x="2039430" y="4932044"/>
                    <a:pt x="2039430" y="4932044"/>
                    <a:pt x="2079450" y="4932044"/>
                  </a:cubicBezTo>
                  <a:cubicBezTo>
                    <a:pt x="2079450" y="4932044"/>
                    <a:pt x="2079450" y="4932044"/>
                    <a:pt x="2079133" y="4917784"/>
                  </a:cubicBezTo>
                  <a:close/>
                  <a:moveTo>
                    <a:pt x="3310541" y="4917467"/>
                  </a:moveTo>
                  <a:cubicBezTo>
                    <a:pt x="3301648" y="4932360"/>
                    <a:pt x="3283861" y="4961197"/>
                    <a:pt x="3266710" y="4989717"/>
                  </a:cubicBezTo>
                  <a:cubicBezTo>
                    <a:pt x="3246064" y="5024575"/>
                    <a:pt x="3225737" y="5058799"/>
                    <a:pt x="3221290" y="5065770"/>
                  </a:cubicBezTo>
                  <a:cubicBezTo>
                    <a:pt x="3221290" y="5065770"/>
                    <a:pt x="3221290" y="5065770"/>
                    <a:pt x="3333092" y="5185237"/>
                  </a:cubicBezTo>
                  <a:cubicBezTo>
                    <a:pt x="3333092" y="5185237"/>
                    <a:pt x="3333092" y="5185237"/>
                    <a:pt x="3454105" y="5236573"/>
                  </a:cubicBezTo>
                  <a:cubicBezTo>
                    <a:pt x="3488090" y="5210271"/>
                    <a:pt x="3520487" y="5184920"/>
                    <a:pt x="3546532" y="5164639"/>
                  </a:cubicBezTo>
                  <a:cubicBezTo>
                    <a:pt x="3564954" y="5150696"/>
                    <a:pt x="3580517" y="5138654"/>
                    <a:pt x="3591316" y="5130415"/>
                  </a:cubicBezTo>
                  <a:cubicBezTo>
                    <a:pt x="3593857" y="5128514"/>
                    <a:pt x="3596080" y="5126613"/>
                    <a:pt x="3597986" y="5125028"/>
                  </a:cubicBezTo>
                  <a:cubicBezTo>
                    <a:pt x="3596080" y="5123444"/>
                    <a:pt x="3594175" y="5122176"/>
                    <a:pt x="3591952" y="5120592"/>
                  </a:cubicBezTo>
                  <a:cubicBezTo>
                    <a:pt x="3498889" y="5053412"/>
                    <a:pt x="3389946" y="4978309"/>
                    <a:pt x="3339127" y="4939332"/>
                  </a:cubicBezTo>
                  <a:cubicBezTo>
                    <a:pt x="3330234" y="4932677"/>
                    <a:pt x="3320705" y="4925389"/>
                    <a:pt x="3310541" y="4917467"/>
                  </a:cubicBezTo>
                  <a:close/>
                  <a:moveTo>
                    <a:pt x="2035302" y="4913664"/>
                  </a:moveTo>
                  <a:cubicBezTo>
                    <a:pt x="2035302" y="4913664"/>
                    <a:pt x="2035302" y="4913664"/>
                    <a:pt x="2037525" y="4913664"/>
                  </a:cubicBezTo>
                  <a:cubicBezTo>
                    <a:pt x="2037525" y="4913664"/>
                    <a:pt x="2037525" y="4913664"/>
                    <a:pt x="2083580" y="4913664"/>
                  </a:cubicBezTo>
                  <a:cubicBezTo>
                    <a:pt x="2083580" y="4913664"/>
                    <a:pt x="2083580" y="4913664"/>
                    <a:pt x="2083580" y="4936163"/>
                  </a:cubicBezTo>
                  <a:lnTo>
                    <a:pt x="2035302" y="4936163"/>
                  </a:lnTo>
                  <a:cubicBezTo>
                    <a:pt x="2035302" y="4936163"/>
                    <a:pt x="2035302" y="4936163"/>
                    <a:pt x="2035302" y="4913664"/>
                  </a:cubicBezTo>
                  <a:close/>
                  <a:moveTo>
                    <a:pt x="1016698" y="4910178"/>
                  </a:moveTo>
                  <a:cubicBezTo>
                    <a:pt x="1016698" y="4910178"/>
                    <a:pt x="1016698" y="4910178"/>
                    <a:pt x="931259" y="4957711"/>
                  </a:cubicBezTo>
                  <a:cubicBezTo>
                    <a:pt x="945869" y="4972605"/>
                    <a:pt x="1004946" y="5030596"/>
                    <a:pt x="1009393" y="5035032"/>
                  </a:cubicBezTo>
                  <a:cubicBezTo>
                    <a:pt x="1009393" y="5035032"/>
                    <a:pt x="1009393" y="5035032"/>
                    <a:pt x="1052271" y="5053095"/>
                  </a:cubicBezTo>
                  <a:cubicBezTo>
                    <a:pt x="1052271" y="5053095"/>
                    <a:pt x="1052271" y="5053095"/>
                    <a:pt x="1052271" y="5052778"/>
                  </a:cubicBezTo>
                  <a:lnTo>
                    <a:pt x="1051001" y="5051510"/>
                  </a:lnTo>
                  <a:cubicBezTo>
                    <a:pt x="1052271" y="5049292"/>
                    <a:pt x="1056083" y="5036617"/>
                    <a:pt x="1059259" y="5025209"/>
                  </a:cubicBezTo>
                  <a:cubicBezTo>
                    <a:pt x="1061800" y="5015385"/>
                    <a:pt x="1064341" y="5006195"/>
                    <a:pt x="1064976" y="5003343"/>
                  </a:cubicBezTo>
                  <a:cubicBezTo>
                    <a:pt x="1062753" y="4998907"/>
                    <a:pt x="1051001" y="4976408"/>
                    <a:pt x="1038931" y="4953592"/>
                  </a:cubicBezTo>
                  <a:cubicBezTo>
                    <a:pt x="1032261" y="4940916"/>
                    <a:pt x="1025909" y="4928241"/>
                    <a:pt x="1020827" y="4918417"/>
                  </a:cubicBezTo>
                  <a:cubicBezTo>
                    <a:pt x="1019239" y="4915249"/>
                    <a:pt x="1017969" y="4912713"/>
                    <a:pt x="1016698" y="4910178"/>
                  </a:cubicBezTo>
                  <a:close/>
                  <a:moveTo>
                    <a:pt x="905849" y="4907643"/>
                  </a:moveTo>
                  <a:lnTo>
                    <a:pt x="872499" y="4927290"/>
                  </a:lnTo>
                  <a:cubicBezTo>
                    <a:pt x="872499" y="4927290"/>
                    <a:pt x="872499" y="4927290"/>
                    <a:pt x="884886" y="4948522"/>
                  </a:cubicBezTo>
                  <a:cubicBezTo>
                    <a:pt x="884886" y="4948522"/>
                    <a:pt x="884886" y="4948522"/>
                    <a:pt x="918554" y="4929192"/>
                  </a:cubicBezTo>
                  <a:cubicBezTo>
                    <a:pt x="918554" y="4929192"/>
                    <a:pt x="918554" y="4929192"/>
                    <a:pt x="905849" y="4907643"/>
                  </a:cubicBezTo>
                  <a:close/>
                  <a:moveTo>
                    <a:pt x="2334181" y="4905425"/>
                  </a:moveTo>
                  <a:cubicBezTo>
                    <a:pt x="2332910" y="4907326"/>
                    <a:pt x="2330687" y="4911129"/>
                    <a:pt x="2328464" y="4914615"/>
                  </a:cubicBezTo>
                  <a:cubicBezTo>
                    <a:pt x="2326876" y="4917467"/>
                    <a:pt x="2324970" y="4920002"/>
                    <a:pt x="2323382" y="4922220"/>
                  </a:cubicBezTo>
                  <a:cubicBezTo>
                    <a:pt x="2322746" y="4923171"/>
                    <a:pt x="2322111" y="4924121"/>
                    <a:pt x="2321476" y="4924755"/>
                  </a:cubicBezTo>
                  <a:cubicBezTo>
                    <a:pt x="2324970" y="4930459"/>
                    <a:pt x="2337992" y="4950423"/>
                    <a:pt x="2352603" y="4972605"/>
                  </a:cubicBezTo>
                  <a:cubicBezTo>
                    <a:pt x="2352603" y="4972605"/>
                    <a:pt x="2352603" y="4972605"/>
                    <a:pt x="2353556" y="4972605"/>
                  </a:cubicBezTo>
                  <a:cubicBezTo>
                    <a:pt x="2353556" y="4972605"/>
                    <a:pt x="2353556" y="4972605"/>
                    <a:pt x="2352603" y="4945987"/>
                  </a:cubicBezTo>
                  <a:cubicBezTo>
                    <a:pt x="2352603" y="4945987"/>
                    <a:pt x="2352603" y="4945987"/>
                    <a:pt x="2394211" y="4945670"/>
                  </a:cubicBezTo>
                  <a:cubicBezTo>
                    <a:pt x="2394211" y="4945670"/>
                    <a:pt x="2394211" y="4945670"/>
                    <a:pt x="2393893" y="4999541"/>
                  </a:cubicBezTo>
                  <a:cubicBezTo>
                    <a:pt x="2393893" y="4999541"/>
                    <a:pt x="2393893" y="4999541"/>
                    <a:pt x="2370389" y="4999858"/>
                  </a:cubicBezTo>
                  <a:cubicBezTo>
                    <a:pt x="2377059" y="5009998"/>
                    <a:pt x="2383412" y="5019505"/>
                    <a:pt x="2388494" y="5027110"/>
                  </a:cubicBezTo>
                  <a:cubicBezTo>
                    <a:pt x="2392623" y="5032814"/>
                    <a:pt x="2395799" y="5037567"/>
                    <a:pt x="2398340" y="5041053"/>
                  </a:cubicBezTo>
                  <a:cubicBezTo>
                    <a:pt x="2398975" y="5042321"/>
                    <a:pt x="2399610" y="5042954"/>
                    <a:pt x="2400246" y="5043905"/>
                  </a:cubicBezTo>
                  <a:cubicBezTo>
                    <a:pt x="2401834" y="5040736"/>
                    <a:pt x="2402786" y="5037884"/>
                    <a:pt x="2403422" y="5036617"/>
                  </a:cubicBezTo>
                  <a:cubicBezTo>
                    <a:pt x="2403422" y="5036617"/>
                    <a:pt x="2403422" y="5036617"/>
                    <a:pt x="2421844" y="4923804"/>
                  </a:cubicBezTo>
                  <a:cubicBezTo>
                    <a:pt x="2413268" y="4922220"/>
                    <a:pt x="2395799" y="4918417"/>
                    <a:pt x="2378648" y="4914615"/>
                  </a:cubicBezTo>
                  <a:cubicBezTo>
                    <a:pt x="2358955" y="4910495"/>
                    <a:pt x="2339580" y="4906693"/>
                    <a:pt x="2334181" y="4905425"/>
                  </a:cubicBezTo>
                  <a:close/>
                  <a:moveTo>
                    <a:pt x="132130" y="4904791"/>
                  </a:moveTo>
                  <a:cubicBezTo>
                    <a:pt x="117519" y="4904791"/>
                    <a:pt x="105767" y="4906059"/>
                    <a:pt x="99733" y="4907009"/>
                  </a:cubicBezTo>
                  <a:cubicBezTo>
                    <a:pt x="99733" y="4907009"/>
                    <a:pt x="99733" y="4907009"/>
                    <a:pt x="101638" y="4925706"/>
                  </a:cubicBezTo>
                  <a:cubicBezTo>
                    <a:pt x="104179" y="4925389"/>
                    <a:pt x="107673" y="4925072"/>
                    <a:pt x="111802" y="4925072"/>
                  </a:cubicBezTo>
                  <a:cubicBezTo>
                    <a:pt x="129589" y="4925072"/>
                    <a:pt x="135941" y="4930459"/>
                    <a:pt x="137847" y="4935846"/>
                  </a:cubicBezTo>
                  <a:cubicBezTo>
                    <a:pt x="142293" y="4936480"/>
                    <a:pt x="151822" y="4937431"/>
                    <a:pt x="160715" y="4938064"/>
                  </a:cubicBezTo>
                  <a:cubicBezTo>
                    <a:pt x="160715" y="4938064"/>
                    <a:pt x="160715" y="4938064"/>
                    <a:pt x="161668" y="4938064"/>
                  </a:cubicBezTo>
                  <a:cubicBezTo>
                    <a:pt x="161668" y="4938064"/>
                    <a:pt x="161668" y="4938064"/>
                    <a:pt x="162303" y="4938381"/>
                  </a:cubicBezTo>
                  <a:cubicBezTo>
                    <a:pt x="162303" y="4938381"/>
                    <a:pt x="162303" y="4938381"/>
                    <a:pt x="180725" y="4947254"/>
                  </a:cubicBezTo>
                  <a:cubicBezTo>
                    <a:pt x="182631" y="4944719"/>
                    <a:pt x="185807" y="4942818"/>
                    <a:pt x="189936" y="4942818"/>
                  </a:cubicBezTo>
                  <a:cubicBezTo>
                    <a:pt x="192160" y="4942818"/>
                    <a:pt x="194383" y="4943135"/>
                    <a:pt x="196606" y="4944402"/>
                  </a:cubicBezTo>
                  <a:cubicBezTo>
                    <a:pt x="202641" y="4947254"/>
                    <a:pt x="209311" y="4950423"/>
                    <a:pt x="213122" y="4952324"/>
                  </a:cubicBezTo>
                  <a:lnTo>
                    <a:pt x="225827" y="4935846"/>
                  </a:lnTo>
                  <a:cubicBezTo>
                    <a:pt x="218840" y="4929508"/>
                    <a:pt x="198512" y="4913664"/>
                    <a:pt x="169926" y="4907960"/>
                  </a:cubicBezTo>
                  <a:cubicBezTo>
                    <a:pt x="158174" y="4906059"/>
                    <a:pt x="145470" y="4904791"/>
                    <a:pt x="132130" y="4904791"/>
                  </a:cubicBezTo>
                  <a:close/>
                  <a:moveTo>
                    <a:pt x="1839966" y="4903524"/>
                  </a:moveTo>
                  <a:cubicBezTo>
                    <a:pt x="1831073" y="4906059"/>
                    <a:pt x="1782795" y="4920319"/>
                    <a:pt x="1735470" y="4934579"/>
                  </a:cubicBezTo>
                  <a:cubicBezTo>
                    <a:pt x="1688462" y="4948522"/>
                    <a:pt x="1642090" y="4962465"/>
                    <a:pt x="1633196" y="4965000"/>
                  </a:cubicBezTo>
                  <a:cubicBezTo>
                    <a:pt x="1633196" y="4965000"/>
                    <a:pt x="1633196" y="4965000"/>
                    <a:pt x="1629702" y="5029645"/>
                  </a:cubicBezTo>
                  <a:cubicBezTo>
                    <a:pt x="1631291" y="5029011"/>
                    <a:pt x="1633196" y="5029011"/>
                    <a:pt x="1637325" y="5029011"/>
                  </a:cubicBezTo>
                  <a:cubicBezTo>
                    <a:pt x="1664641" y="5028061"/>
                    <a:pt x="1765961" y="5027427"/>
                    <a:pt x="1765961" y="5027427"/>
                  </a:cubicBezTo>
                  <a:cubicBezTo>
                    <a:pt x="1765961" y="5027427"/>
                    <a:pt x="1765961" y="5027427"/>
                    <a:pt x="1767867" y="5027427"/>
                  </a:cubicBezTo>
                  <a:lnTo>
                    <a:pt x="1772949" y="5098727"/>
                  </a:lnTo>
                  <a:cubicBezTo>
                    <a:pt x="1772949" y="5098727"/>
                    <a:pt x="1772949" y="5098727"/>
                    <a:pt x="1878716" y="5097776"/>
                  </a:cubicBezTo>
                  <a:cubicBezTo>
                    <a:pt x="1878716" y="5097776"/>
                    <a:pt x="1878716" y="5097776"/>
                    <a:pt x="1950180" y="5045173"/>
                  </a:cubicBezTo>
                  <a:cubicBezTo>
                    <a:pt x="1950180" y="5045173"/>
                    <a:pt x="1950180" y="5045173"/>
                    <a:pt x="1946368" y="4996372"/>
                  </a:cubicBezTo>
                  <a:cubicBezTo>
                    <a:pt x="1946368" y="4996372"/>
                    <a:pt x="1946368" y="4996372"/>
                    <a:pt x="1850448" y="4973556"/>
                  </a:cubicBezTo>
                  <a:cubicBezTo>
                    <a:pt x="1850448" y="4973556"/>
                    <a:pt x="1850448" y="4973556"/>
                    <a:pt x="1850448" y="4972288"/>
                  </a:cubicBezTo>
                  <a:cubicBezTo>
                    <a:pt x="1850448" y="4971971"/>
                    <a:pt x="1848224" y="4954543"/>
                    <a:pt x="1845683" y="4936797"/>
                  </a:cubicBezTo>
                  <a:cubicBezTo>
                    <a:pt x="1844413" y="4927924"/>
                    <a:pt x="1843142" y="4919051"/>
                    <a:pt x="1841872" y="4912397"/>
                  </a:cubicBezTo>
                  <a:cubicBezTo>
                    <a:pt x="1841237" y="4909228"/>
                    <a:pt x="1840601" y="4906376"/>
                    <a:pt x="1840284" y="4904791"/>
                  </a:cubicBezTo>
                  <a:cubicBezTo>
                    <a:pt x="1839966" y="4904157"/>
                    <a:pt x="1839966" y="4903841"/>
                    <a:pt x="1839966" y="4903524"/>
                  </a:cubicBezTo>
                  <a:close/>
                  <a:moveTo>
                    <a:pt x="907437" y="4902256"/>
                  </a:moveTo>
                  <a:cubicBezTo>
                    <a:pt x="907437" y="4902256"/>
                    <a:pt x="907437" y="4902256"/>
                    <a:pt x="923953" y="4930776"/>
                  </a:cubicBezTo>
                  <a:cubicBezTo>
                    <a:pt x="923953" y="4930776"/>
                    <a:pt x="923953" y="4930776"/>
                    <a:pt x="883298" y="4954226"/>
                  </a:cubicBezTo>
                  <a:lnTo>
                    <a:pt x="882345" y="4952641"/>
                  </a:lnTo>
                  <a:cubicBezTo>
                    <a:pt x="882345" y="4952641"/>
                    <a:pt x="882345" y="4952641"/>
                    <a:pt x="866782" y="4925706"/>
                  </a:cubicBezTo>
                  <a:cubicBezTo>
                    <a:pt x="866782" y="4925706"/>
                    <a:pt x="866782" y="4925706"/>
                    <a:pt x="907437" y="4902256"/>
                  </a:cubicBezTo>
                  <a:close/>
                  <a:moveTo>
                    <a:pt x="118353" y="4900791"/>
                  </a:moveTo>
                  <a:cubicBezTo>
                    <a:pt x="132447" y="4900038"/>
                    <a:pt x="151346" y="4900197"/>
                    <a:pt x="170562" y="4903841"/>
                  </a:cubicBezTo>
                  <a:cubicBezTo>
                    <a:pt x="208358" y="4910812"/>
                    <a:pt x="231862" y="4935212"/>
                    <a:pt x="231862" y="4935212"/>
                  </a:cubicBezTo>
                  <a:cubicBezTo>
                    <a:pt x="231862" y="4935212"/>
                    <a:pt x="231862" y="4935212"/>
                    <a:pt x="214393" y="4957711"/>
                  </a:cubicBezTo>
                  <a:cubicBezTo>
                    <a:pt x="214393" y="4957711"/>
                    <a:pt x="203912" y="4952641"/>
                    <a:pt x="194701" y="4948205"/>
                  </a:cubicBezTo>
                  <a:cubicBezTo>
                    <a:pt x="185490" y="4944085"/>
                    <a:pt x="182313" y="4952958"/>
                    <a:pt x="182313" y="4952958"/>
                  </a:cubicBezTo>
                  <a:cubicBezTo>
                    <a:pt x="182313" y="4952958"/>
                    <a:pt x="182313" y="4952958"/>
                    <a:pt x="160398" y="4942501"/>
                  </a:cubicBezTo>
                  <a:cubicBezTo>
                    <a:pt x="160398" y="4942501"/>
                    <a:pt x="134035" y="4940283"/>
                    <a:pt x="134035" y="4939966"/>
                  </a:cubicBezTo>
                  <a:cubicBezTo>
                    <a:pt x="133718" y="4925072"/>
                    <a:pt x="97509" y="4930459"/>
                    <a:pt x="97509" y="4930459"/>
                  </a:cubicBezTo>
                  <a:cubicBezTo>
                    <a:pt x="97509" y="4930459"/>
                    <a:pt x="97509" y="4930459"/>
                    <a:pt x="94968" y="4903207"/>
                  </a:cubicBezTo>
                  <a:cubicBezTo>
                    <a:pt x="94968" y="4903207"/>
                    <a:pt x="104259" y="4901543"/>
                    <a:pt x="118353" y="4900791"/>
                  </a:cubicBezTo>
                  <a:close/>
                  <a:moveTo>
                    <a:pt x="1437861" y="4900038"/>
                  </a:moveTo>
                  <a:cubicBezTo>
                    <a:pt x="1437861" y="4900038"/>
                    <a:pt x="1437861" y="4900038"/>
                    <a:pt x="1406099" y="4922220"/>
                  </a:cubicBezTo>
                  <a:cubicBezTo>
                    <a:pt x="1406099" y="4922220"/>
                    <a:pt x="1406099" y="4922220"/>
                    <a:pt x="1420392" y="4942501"/>
                  </a:cubicBezTo>
                  <a:lnTo>
                    <a:pt x="1452154" y="4920319"/>
                  </a:lnTo>
                  <a:cubicBezTo>
                    <a:pt x="1452154" y="4920319"/>
                    <a:pt x="1452154" y="4920319"/>
                    <a:pt x="1437861" y="4900038"/>
                  </a:cubicBezTo>
                  <a:close/>
                  <a:moveTo>
                    <a:pt x="1563320" y="4897503"/>
                  </a:moveTo>
                  <a:cubicBezTo>
                    <a:pt x="1563320" y="4897503"/>
                    <a:pt x="1563320" y="4897503"/>
                    <a:pt x="1506149" y="4923804"/>
                  </a:cubicBezTo>
                  <a:lnTo>
                    <a:pt x="1517901" y="4987499"/>
                  </a:lnTo>
                  <a:cubicBezTo>
                    <a:pt x="1517901" y="4987499"/>
                    <a:pt x="1517901" y="4987499"/>
                    <a:pt x="1552521" y="4992569"/>
                  </a:cubicBezTo>
                  <a:cubicBezTo>
                    <a:pt x="1552521" y="4992569"/>
                    <a:pt x="1552521" y="4992569"/>
                    <a:pt x="1553156" y="5077812"/>
                  </a:cubicBezTo>
                  <a:cubicBezTo>
                    <a:pt x="1553156" y="5077812"/>
                    <a:pt x="1553156" y="5077812"/>
                    <a:pt x="1600164" y="5077178"/>
                  </a:cubicBezTo>
                  <a:cubicBezTo>
                    <a:pt x="1600164" y="5077178"/>
                    <a:pt x="1600164" y="5077178"/>
                    <a:pt x="1607151" y="4929192"/>
                  </a:cubicBezTo>
                  <a:cubicBezTo>
                    <a:pt x="1607151" y="4929192"/>
                    <a:pt x="1607151" y="4929192"/>
                    <a:pt x="1572849" y="4937114"/>
                  </a:cubicBezTo>
                  <a:cubicBezTo>
                    <a:pt x="1572849" y="4937114"/>
                    <a:pt x="1572849" y="4937114"/>
                    <a:pt x="1563320" y="4897503"/>
                  </a:cubicBezTo>
                  <a:close/>
                  <a:moveTo>
                    <a:pt x="1126912" y="4896235"/>
                  </a:moveTo>
                  <a:cubicBezTo>
                    <a:pt x="1126912" y="4896235"/>
                    <a:pt x="1126912" y="4896235"/>
                    <a:pt x="1126594" y="4896552"/>
                  </a:cubicBezTo>
                  <a:lnTo>
                    <a:pt x="1136440" y="4913030"/>
                  </a:lnTo>
                  <a:cubicBezTo>
                    <a:pt x="1136440" y="4913030"/>
                    <a:pt x="1136440" y="4913030"/>
                    <a:pt x="1136758" y="4913030"/>
                  </a:cubicBezTo>
                  <a:cubicBezTo>
                    <a:pt x="1136758" y="4913030"/>
                    <a:pt x="1136758" y="4913030"/>
                    <a:pt x="1126912" y="4896235"/>
                  </a:cubicBezTo>
                  <a:close/>
                  <a:moveTo>
                    <a:pt x="1438814" y="4894334"/>
                  </a:moveTo>
                  <a:cubicBezTo>
                    <a:pt x="1438814" y="4894334"/>
                    <a:pt x="1438814" y="4894334"/>
                    <a:pt x="1457871" y="4921269"/>
                  </a:cubicBezTo>
                  <a:cubicBezTo>
                    <a:pt x="1457871" y="4921269"/>
                    <a:pt x="1457871" y="4921269"/>
                    <a:pt x="1419439" y="4948205"/>
                  </a:cubicBezTo>
                  <a:cubicBezTo>
                    <a:pt x="1419439" y="4948205"/>
                    <a:pt x="1419439" y="4948205"/>
                    <a:pt x="1418168" y="4946620"/>
                  </a:cubicBezTo>
                  <a:cubicBezTo>
                    <a:pt x="1418168" y="4946620"/>
                    <a:pt x="1418168" y="4946620"/>
                    <a:pt x="1400382" y="4921269"/>
                  </a:cubicBezTo>
                  <a:close/>
                  <a:moveTo>
                    <a:pt x="1119924" y="4894017"/>
                  </a:moveTo>
                  <a:cubicBezTo>
                    <a:pt x="1119924" y="4894017"/>
                    <a:pt x="1119924" y="4894017"/>
                    <a:pt x="1090703" y="4910812"/>
                  </a:cubicBezTo>
                  <a:cubicBezTo>
                    <a:pt x="1090703" y="4910812"/>
                    <a:pt x="1090703" y="4910812"/>
                    <a:pt x="1103090" y="4932360"/>
                  </a:cubicBezTo>
                  <a:cubicBezTo>
                    <a:pt x="1103090" y="4932360"/>
                    <a:pt x="1103090" y="4932360"/>
                    <a:pt x="1132629" y="4915249"/>
                  </a:cubicBezTo>
                  <a:close/>
                  <a:moveTo>
                    <a:pt x="1566496" y="4890848"/>
                  </a:moveTo>
                  <a:cubicBezTo>
                    <a:pt x="1566496" y="4890848"/>
                    <a:pt x="1566496" y="4890848"/>
                    <a:pt x="1576342" y="4931410"/>
                  </a:cubicBezTo>
                  <a:cubicBezTo>
                    <a:pt x="1576342" y="4931410"/>
                    <a:pt x="1576342" y="4931410"/>
                    <a:pt x="1612233" y="4923171"/>
                  </a:cubicBezTo>
                  <a:cubicBezTo>
                    <a:pt x="1612233" y="4923171"/>
                    <a:pt x="1612233" y="4923171"/>
                    <a:pt x="1611916" y="4926340"/>
                  </a:cubicBezTo>
                  <a:cubicBezTo>
                    <a:pt x="1611916" y="4926340"/>
                    <a:pt x="1611916" y="4926340"/>
                    <a:pt x="1604611" y="5081932"/>
                  </a:cubicBezTo>
                  <a:cubicBezTo>
                    <a:pt x="1604611" y="5081932"/>
                    <a:pt x="1604611" y="5081932"/>
                    <a:pt x="1548392" y="5082565"/>
                  </a:cubicBezTo>
                  <a:lnTo>
                    <a:pt x="1547757" y="4996372"/>
                  </a:lnTo>
                  <a:cubicBezTo>
                    <a:pt x="1547757" y="4996372"/>
                    <a:pt x="1547757" y="4996372"/>
                    <a:pt x="1513772" y="4991618"/>
                  </a:cubicBezTo>
                  <a:cubicBezTo>
                    <a:pt x="1513772" y="4991618"/>
                    <a:pt x="1513772" y="4991618"/>
                    <a:pt x="1501067" y="4920952"/>
                  </a:cubicBezTo>
                  <a:cubicBezTo>
                    <a:pt x="1501067" y="4920952"/>
                    <a:pt x="1501067" y="4920952"/>
                    <a:pt x="1566496" y="4890848"/>
                  </a:cubicBezTo>
                  <a:close/>
                  <a:moveTo>
                    <a:pt x="73370" y="4887996"/>
                  </a:moveTo>
                  <a:cubicBezTo>
                    <a:pt x="57489" y="4908594"/>
                    <a:pt x="44467" y="4925389"/>
                    <a:pt x="38432" y="4932994"/>
                  </a:cubicBezTo>
                  <a:lnTo>
                    <a:pt x="226780" y="4984964"/>
                  </a:lnTo>
                  <a:cubicBezTo>
                    <a:pt x="226780" y="4984964"/>
                    <a:pt x="226780" y="4984964"/>
                    <a:pt x="253142" y="4925072"/>
                  </a:cubicBezTo>
                  <a:cubicBezTo>
                    <a:pt x="247743" y="4923171"/>
                    <a:pt x="242661" y="4921586"/>
                    <a:pt x="236626" y="4919685"/>
                  </a:cubicBezTo>
                  <a:cubicBezTo>
                    <a:pt x="202641" y="4910495"/>
                    <a:pt x="158174" y="4899721"/>
                    <a:pt x="122283" y="4894651"/>
                  </a:cubicBezTo>
                  <a:cubicBezTo>
                    <a:pt x="104814" y="4892116"/>
                    <a:pt x="91474" y="4890531"/>
                    <a:pt x="82581" y="4889264"/>
                  </a:cubicBezTo>
                  <a:cubicBezTo>
                    <a:pt x="78452" y="4888630"/>
                    <a:pt x="75594" y="4888313"/>
                    <a:pt x="73370" y="4887996"/>
                  </a:cubicBezTo>
                  <a:close/>
                  <a:moveTo>
                    <a:pt x="2937339" y="4882609"/>
                  </a:moveTo>
                  <a:cubicBezTo>
                    <a:pt x="2937339" y="4882609"/>
                    <a:pt x="2937339" y="4882609"/>
                    <a:pt x="2901766" y="4894017"/>
                  </a:cubicBezTo>
                  <a:cubicBezTo>
                    <a:pt x="2901766" y="4894017"/>
                    <a:pt x="2901766" y="4894017"/>
                    <a:pt x="2910977" y="4921586"/>
                  </a:cubicBezTo>
                  <a:cubicBezTo>
                    <a:pt x="2910977" y="4921586"/>
                    <a:pt x="2910977" y="4921586"/>
                    <a:pt x="2879215" y="4931727"/>
                  </a:cubicBezTo>
                  <a:cubicBezTo>
                    <a:pt x="2879215" y="4931727"/>
                    <a:pt x="2879215" y="4931727"/>
                    <a:pt x="2886520" y="4953909"/>
                  </a:cubicBezTo>
                  <a:cubicBezTo>
                    <a:pt x="2886520" y="4953909"/>
                    <a:pt x="2886520" y="4953909"/>
                    <a:pt x="2888426" y="4953275"/>
                  </a:cubicBezTo>
                  <a:cubicBezTo>
                    <a:pt x="2888426" y="4953275"/>
                    <a:pt x="2888426" y="4953275"/>
                    <a:pt x="2890332" y="4952641"/>
                  </a:cubicBezTo>
                  <a:lnTo>
                    <a:pt x="2895731" y="4969119"/>
                  </a:lnTo>
                  <a:cubicBezTo>
                    <a:pt x="2895731" y="4969119"/>
                    <a:pt x="2895731" y="4969119"/>
                    <a:pt x="2949408" y="4952007"/>
                  </a:cubicBezTo>
                  <a:cubicBezTo>
                    <a:pt x="2949408" y="4952007"/>
                    <a:pt x="2949408" y="4952007"/>
                    <a:pt x="2944326" y="4936163"/>
                  </a:cubicBezTo>
                  <a:cubicBezTo>
                    <a:pt x="2944326" y="4936163"/>
                    <a:pt x="2944326" y="4936163"/>
                    <a:pt x="2918917" y="4944402"/>
                  </a:cubicBezTo>
                  <a:cubicBezTo>
                    <a:pt x="2918917" y="4944402"/>
                    <a:pt x="2918917" y="4944402"/>
                    <a:pt x="2914788" y="4931727"/>
                  </a:cubicBezTo>
                  <a:cubicBezTo>
                    <a:pt x="2914788" y="4931727"/>
                    <a:pt x="2914788" y="4931727"/>
                    <a:pt x="2970054" y="4913981"/>
                  </a:cubicBezTo>
                  <a:cubicBezTo>
                    <a:pt x="2970054" y="4913981"/>
                    <a:pt x="2970054" y="4913981"/>
                    <a:pt x="2965290" y="4899087"/>
                  </a:cubicBezTo>
                  <a:cubicBezTo>
                    <a:pt x="2965290" y="4899087"/>
                    <a:pt x="2965290" y="4899087"/>
                    <a:pt x="2944644" y="4905425"/>
                  </a:cubicBezTo>
                  <a:cubicBezTo>
                    <a:pt x="2944644" y="4905425"/>
                    <a:pt x="2944644" y="4905425"/>
                    <a:pt x="2937339" y="4882609"/>
                  </a:cubicBezTo>
                  <a:close/>
                  <a:moveTo>
                    <a:pt x="2940198" y="4877539"/>
                  </a:moveTo>
                  <a:cubicBezTo>
                    <a:pt x="2940198" y="4877539"/>
                    <a:pt x="2940198" y="4877539"/>
                    <a:pt x="2947503" y="4900355"/>
                  </a:cubicBezTo>
                  <a:cubicBezTo>
                    <a:pt x="2947503" y="4900355"/>
                    <a:pt x="2947503" y="4900355"/>
                    <a:pt x="2968148" y="4893700"/>
                  </a:cubicBezTo>
                  <a:cubicBezTo>
                    <a:pt x="2968148" y="4893700"/>
                    <a:pt x="2968148" y="4893700"/>
                    <a:pt x="2975453" y="4916516"/>
                  </a:cubicBezTo>
                  <a:cubicBezTo>
                    <a:pt x="2975453" y="4916516"/>
                    <a:pt x="2975453" y="4916516"/>
                    <a:pt x="2920188" y="4934262"/>
                  </a:cubicBezTo>
                  <a:cubicBezTo>
                    <a:pt x="2920188" y="4934262"/>
                    <a:pt x="2920188" y="4934262"/>
                    <a:pt x="2921776" y="4939015"/>
                  </a:cubicBezTo>
                  <a:cubicBezTo>
                    <a:pt x="2921776" y="4939015"/>
                    <a:pt x="2921776" y="4939015"/>
                    <a:pt x="2946868" y="4930776"/>
                  </a:cubicBezTo>
                  <a:lnTo>
                    <a:pt x="2954490" y="4954543"/>
                  </a:lnTo>
                  <a:cubicBezTo>
                    <a:pt x="2954490" y="4954543"/>
                    <a:pt x="2954490" y="4954543"/>
                    <a:pt x="2892872" y="4974507"/>
                  </a:cubicBezTo>
                  <a:cubicBezTo>
                    <a:pt x="2892872" y="4974507"/>
                    <a:pt x="2892872" y="4974507"/>
                    <a:pt x="2887790" y="4958028"/>
                  </a:cubicBezTo>
                  <a:cubicBezTo>
                    <a:pt x="2887790" y="4958028"/>
                    <a:pt x="2887790" y="4958028"/>
                    <a:pt x="2885567" y="4958345"/>
                  </a:cubicBezTo>
                  <a:cubicBezTo>
                    <a:pt x="2885567" y="4958345"/>
                    <a:pt x="2885567" y="4958345"/>
                    <a:pt x="2883662" y="4958979"/>
                  </a:cubicBezTo>
                  <a:cubicBezTo>
                    <a:pt x="2883662" y="4958979"/>
                    <a:pt x="2883662" y="4958979"/>
                    <a:pt x="2874133" y="4929192"/>
                  </a:cubicBezTo>
                  <a:cubicBezTo>
                    <a:pt x="2874133" y="4929192"/>
                    <a:pt x="2874133" y="4929192"/>
                    <a:pt x="2876038" y="4928558"/>
                  </a:cubicBezTo>
                  <a:cubicBezTo>
                    <a:pt x="2876038" y="4928558"/>
                    <a:pt x="2876038" y="4928558"/>
                    <a:pt x="2905577" y="4919051"/>
                  </a:cubicBezTo>
                  <a:cubicBezTo>
                    <a:pt x="2905577" y="4919051"/>
                    <a:pt x="2905577" y="4919051"/>
                    <a:pt x="2896684" y="4891482"/>
                  </a:cubicBezTo>
                  <a:cubicBezTo>
                    <a:pt x="2896684" y="4891482"/>
                    <a:pt x="2896684" y="4891482"/>
                    <a:pt x="2940198" y="4877539"/>
                  </a:cubicBezTo>
                  <a:close/>
                  <a:moveTo>
                    <a:pt x="3108536" y="4866448"/>
                  </a:moveTo>
                  <a:cubicBezTo>
                    <a:pt x="3108536" y="4866448"/>
                    <a:pt x="3108536" y="4866448"/>
                    <a:pt x="3108536" y="4912397"/>
                  </a:cubicBezTo>
                  <a:lnTo>
                    <a:pt x="3135851" y="4912397"/>
                  </a:lnTo>
                  <a:cubicBezTo>
                    <a:pt x="3135851" y="4912397"/>
                    <a:pt x="3135851" y="4912397"/>
                    <a:pt x="3135851" y="4914298"/>
                  </a:cubicBezTo>
                  <a:cubicBezTo>
                    <a:pt x="3135851" y="4914298"/>
                    <a:pt x="3135851" y="4914298"/>
                    <a:pt x="3135851" y="4944402"/>
                  </a:cubicBezTo>
                  <a:cubicBezTo>
                    <a:pt x="3135851" y="4944402"/>
                    <a:pt x="3135851" y="4944402"/>
                    <a:pt x="3168883" y="4944402"/>
                  </a:cubicBezTo>
                  <a:cubicBezTo>
                    <a:pt x="3168883" y="4944402"/>
                    <a:pt x="3168883" y="4944402"/>
                    <a:pt x="3168883" y="4894334"/>
                  </a:cubicBezTo>
                  <a:cubicBezTo>
                    <a:pt x="3168883" y="4894334"/>
                    <a:pt x="3168883" y="4894334"/>
                    <a:pt x="3143474" y="4894334"/>
                  </a:cubicBezTo>
                  <a:cubicBezTo>
                    <a:pt x="3143474" y="4894334"/>
                    <a:pt x="3143474" y="4894334"/>
                    <a:pt x="3143474" y="4866448"/>
                  </a:cubicBezTo>
                  <a:cubicBezTo>
                    <a:pt x="3143474" y="4866448"/>
                    <a:pt x="3143474" y="4866448"/>
                    <a:pt x="3108536" y="4866448"/>
                  </a:cubicBezTo>
                  <a:close/>
                  <a:moveTo>
                    <a:pt x="2007986" y="4864546"/>
                  </a:moveTo>
                  <a:cubicBezTo>
                    <a:pt x="2007986" y="4864546"/>
                    <a:pt x="2007986" y="4864546"/>
                    <a:pt x="1975272" y="4866448"/>
                  </a:cubicBezTo>
                  <a:cubicBezTo>
                    <a:pt x="1975272" y="4866448"/>
                    <a:pt x="1975272" y="4866448"/>
                    <a:pt x="1974954" y="4877222"/>
                  </a:cubicBezTo>
                  <a:lnTo>
                    <a:pt x="1988612" y="4877222"/>
                  </a:lnTo>
                  <a:cubicBezTo>
                    <a:pt x="1988612" y="4877222"/>
                    <a:pt x="1988612" y="4877222"/>
                    <a:pt x="1988294" y="4892116"/>
                  </a:cubicBezTo>
                  <a:cubicBezTo>
                    <a:pt x="1988294" y="4892116"/>
                    <a:pt x="1988294" y="4892116"/>
                    <a:pt x="2007351" y="4892433"/>
                  </a:cubicBezTo>
                  <a:cubicBezTo>
                    <a:pt x="2007351" y="4892433"/>
                    <a:pt x="2007351" y="4892433"/>
                    <a:pt x="2007986" y="4864546"/>
                  </a:cubicBezTo>
                  <a:close/>
                  <a:moveTo>
                    <a:pt x="1101185" y="4862962"/>
                  </a:moveTo>
                  <a:cubicBezTo>
                    <a:pt x="1101185" y="4862962"/>
                    <a:pt x="1101185" y="4862962"/>
                    <a:pt x="1020510" y="4907960"/>
                  </a:cubicBezTo>
                  <a:cubicBezTo>
                    <a:pt x="1025591" y="4918100"/>
                    <a:pt x="1034485" y="4935529"/>
                    <a:pt x="1043696" y="4952641"/>
                  </a:cubicBezTo>
                  <a:cubicBezTo>
                    <a:pt x="1056400" y="4977675"/>
                    <a:pt x="1069423" y="5002076"/>
                    <a:pt x="1069423" y="5002076"/>
                  </a:cubicBezTo>
                  <a:cubicBezTo>
                    <a:pt x="1069423" y="5002076"/>
                    <a:pt x="1069423" y="5002076"/>
                    <a:pt x="1069740" y="5002710"/>
                  </a:cubicBezTo>
                  <a:cubicBezTo>
                    <a:pt x="1069740" y="5002710"/>
                    <a:pt x="1069740" y="5002710"/>
                    <a:pt x="1069423" y="5003660"/>
                  </a:cubicBezTo>
                  <a:cubicBezTo>
                    <a:pt x="1069423" y="5003660"/>
                    <a:pt x="1066247" y="5016019"/>
                    <a:pt x="1062753" y="5028694"/>
                  </a:cubicBezTo>
                  <a:cubicBezTo>
                    <a:pt x="1061165" y="5035032"/>
                    <a:pt x="1059259" y="5041053"/>
                    <a:pt x="1057671" y="5045806"/>
                  </a:cubicBezTo>
                  <a:cubicBezTo>
                    <a:pt x="1057036" y="5048341"/>
                    <a:pt x="1056400" y="5050243"/>
                    <a:pt x="1055765" y="5051827"/>
                  </a:cubicBezTo>
                  <a:cubicBezTo>
                    <a:pt x="1055448" y="5052461"/>
                    <a:pt x="1055130" y="5053095"/>
                    <a:pt x="1054812" y="5053729"/>
                  </a:cubicBezTo>
                  <a:cubicBezTo>
                    <a:pt x="1054812" y="5053729"/>
                    <a:pt x="1054812" y="5053729"/>
                    <a:pt x="1054495" y="5054045"/>
                  </a:cubicBezTo>
                  <a:cubicBezTo>
                    <a:pt x="1054495" y="5054045"/>
                    <a:pt x="1054495" y="5054045"/>
                    <a:pt x="1095468" y="5071157"/>
                  </a:cubicBezTo>
                  <a:cubicBezTo>
                    <a:pt x="1095468" y="5071157"/>
                    <a:pt x="1095468" y="5071157"/>
                    <a:pt x="1175825" y="4987182"/>
                  </a:cubicBezTo>
                  <a:cubicBezTo>
                    <a:pt x="1175825" y="4987182"/>
                    <a:pt x="1175825" y="4987182"/>
                    <a:pt x="1134852" y="4918734"/>
                  </a:cubicBezTo>
                  <a:cubicBezTo>
                    <a:pt x="1134852" y="4918734"/>
                    <a:pt x="1134852" y="4918734"/>
                    <a:pt x="1101820" y="4938064"/>
                  </a:cubicBezTo>
                  <a:cubicBezTo>
                    <a:pt x="1101820" y="4938064"/>
                    <a:pt x="1101820" y="4938064"/>
                    <a:pt x="1100549" y="4936163"/>
                  </a:cubicBezTo>
                  <a:cubicBezTo>
                    <a:pt x="1100549" y="4936163"/>
                    <a:pt x="1100549" y="4936163"/>
                    <a:pt x="1084986" y="4909228"/>
                  </a:cubicBezTo>
                  <a:cubicBezTo>
                    <a:pt x="1084986" y="4909228"/>
                    <a:pt x="1084986" y="4909228"/>
                    <a:pt x="1117701" y="4890531"/>
                  </a:cubicBezTo>
                  <a:cubicBezTo>
                    <a:pt x="1117701" y="4890531"/>
                    <a:pt x="1117701" y="4890531"/>
                    <a:pt x="1101185" y="4862962"/>
                  </a:cubicBezTo>
                  <a:close/>
                  <a:moveTo>
                    <a:pt x="3104724" y="4862645"/>
                  </a:moveTo>
                  <a:cubicBezTo>
                    <a:pt x="3104724" y="4862645"/>
                    <a:pt x="3104724" y="4862645"/>
                    <a:pt x="3147285" y="4862645"/>
                  </a:cubicBezTo>
                  <a:cubicBezTo>
                    <a:pt x="3147285" y="4862645"/>
                    <a:pt x="3147285" y="4862645"/>
                    <a:pt x="3147285" y="4890531"/>
                  </a:cubicBezTo>
                  <a:cubicBezTo>
                    <a:pt x="3147285" y="4890531"/>
                    <a:pt x="3147285" y="4890531"/>
                    <a:pt x="3172694" y="4890531"/>
                  </a:cubicBezTo>
                  <a:cubicBezTo>
                    <a:pt x="3172694" y="4890531"/>
                    <a:pt x="3172694" y="4890531"/>
                    <a:pt x="3172694" y="4948205"/>
                  </a:cubicBezTo>
                  <a:cubicBezTo>
                    <a:pt x="3172694" y="4948205"/>
                    <a:pt x="3172694" y="4948205"/>
                    <a:pt x="3132039" y="4948205"/>
                  </a:cubicBezTo>
                  <a:lnTo>
                    <a:pt x="3132039" y="4916199"/>
                  </a:lnTo>
                  <a:cubicBezTo>
                    <a:pt x="3132039" y="4916199"/>
                    <a:pt x="3132039" y="4916199"/>
                    <a:pt x="3104724" y="4916199"/>
                  </a:cubicBezTo>
                  <a:cubicBezTo>
                    <a:pt x="3104724" y="4916199"/>
                    <a:pt x="3104724" y="4916199"/>
                    <a:pt x="3104724" y="4862645"/>
                  </a:cubicBezTo>
                  <a:close/>
                  <a:moveTo>
                    <a:pt x="2126140" y="4856624"/>
                  </a:moveTo>
                  <a:cubicBezTo>
                    <a:pt x="2126140" y="4856624"/>
                    <a:pt x="2126140" y="4856624"/>
                    <a:pt x="2012115" y="4864230"/>
                  </a:cubicBezTo>
                  <a:cubicBezTo>
                    <a:pt x="2012115" y="4864230"/>
                    <a:pt x="2012115" y="4864230"/>
                    <a:pt x="2011480" y="4896869"/>
                  </a:cubicBezTo>
                  <a:cubicBezTo>
                    <a:pt x="2011480" y="4896869"/>
                    <a:pt x="2011480" y="4896869"/>
                    <a:pt x="2009574" y="4896869"/>
                  </a:cubicBezTo>
                  <a:cubicBezTo>
                    <a:pt x="2009574" y="4896869"/>
                    <a:pt x="2009574" y="4896869"/>
                    <a:pt x="1984165" y="4896235"/>
                  </a:cubicBezTo>
                  <a:cubicBezTo>
                    <a:pt x="1984165" y="4896235"/>
                    <a:pt x="1984165" y="4896235"/>
                    <a:pt x="1984482" y="4881341"/>
                  </a:cubicBezTo>
                  <a:cubicBezTo>
                    <a:pt x="1984482" y="4881341"/>
                    <a:pt x="1984482" y="4881341"/>
                    <a:pt x="1970825" y="4881341"/>
                  </a:cubicBezTo>
                  <a:cubicBezTo>
                    <a:pt x="1970825" y="4881341"/>
                    <a:pt x="1970825" y="4881341"/>
                    <a:pt x="1971142" y="4866765"/>
                  </a:cubicBezTo>
                  <a:cubicBezTo>
                    <a:pt x="1971142" y="4866765"/>
                    <a:pt x="1971142" y="4866765"/>
                    <a:pt x="1957167" y="4867715"/>
                  </a:cubicBezTo>
                  <a:cubicBezTo>
                    <a:pt x="1957167" y="4867715"/>
                    <a:pt x="1957167" y="4867715"/>
                    <a:pt x="1960026" y="4904157"/>
                  </a:cubicBezTo>
                  <a:cubicBezTo>
                    <a:pt x="1960026" y="4904157"/>
                    <a:pt x="1960026" y="4904157"/>
                    <a:pt x="2124552" y="4893066"/>
                  </a:cubicBezTo>
                  <a:lnTo>
                    <a:pt x="2124870" y="4897503"/>
                  </a:lnTo>
                  <a:cubicBezTo>
                    <a:pt x="2124870" y="4897503"/>
                    <a:pt x="2124870" y="4897503"/>
                    <a:pt x="1960344" y="4908594"/>
                  </a:cubicBezTo>
                  <a:cubicBezTo>
                    <a:pt x="1960344" y="4908594"/>
                    <a:pt x="1960344" y="4908594"/>
                    <a:pt x="1964155" y="4957395"/>
                  </a:cubicBezTo>
                  <a:cubicBezTo>
                    <a:pt x="1964155" y="4957395"/>
                    <a:pt x="1964155" y="4957395"/>
                    <a:pt x="2123917" y="4948205"/>
                  </a:cubicBezTo>
                  <a:cubicBezTo>
                    <a:pt x="2123917" y="4948205"/>
                    <a:pt x="2123917" y="4948205"/>
                    <a:pt x="2124235" y="4952641"/>
                  </a:cubicBezTo>
                  <a:cubicBezTo>
                    <a:pt x="2124235" y="4952641"/>
                    <a:pt x="2124235" y="4952641"/>
                    <a:pt x="2040701" y="4957395"/>
                  </a:cubicBezTo>
                  <a:cubicBezTo>
                    <a:pt x="2040701" y="4957395"/>
                    <a:pt x="2040701" y="4957395"/>
                    <a:pt x="2039113" y="5042004"/>
                  </a:cubicBezTo>
                  <a:cubicBezTo>
                    <a:pt x="2039113" y="5042004"/>
                    <a:pt x="2039113" y="5042004"/>
                    <a:pt x="2123282" y="5044539"/>
                  </a:cubicBezTo>
                  <a:cubicBezTo>
                    <a:pt x="2123282" y="5044539"/>
                    <a:pt x="2123282" y="5044539"/>
                    <a:pt x="2126140" y="4856624"/>
                  </a:cubicBezTo>
                  <a:close/>
                  <a:moveTo>
                    <a:pt x="1392441" y="4855674"/>
                  </a:moveTo>
                  <a:cubicBezTo>
                    <a:pt x="1392441" y="4855674"/>
                    <a:pt x="1392441" y="4855674"/>
                    <a:pt x="1392441" y="4868032"/>
                  </a:cubicBezTo>
                  <a:cubicBezTo>
                    <a:pt x="1392441" y="4868032"/>
                    <a:pt x="1392441" y="4868032"/>
                    <a:pt x="1391806" y="4868032"/>
                  </a:cubicBezTo>
                  <a:cubicBezTo>
                    <a:pt x="1391806" y="4868032"/>
                    <a:pt x="1391806" y="4868032"/>
                    <a:pt x="1391806" y="4876271"/>
                  </a:cubicBezTo>
                  <a:cubicBezTo>
                    <a:pt x="1391806" y="4876271"/>
                    <a:pt x="1391806" y="4876271"/>
                    <a:pt x="1407687" y="4876271"/>
                  </a:cubicBezTo>
                  <a:cubicBezTo>
                    <a:pt x="1407687" y="4876271"/>
                    <a:pt x="1407687" y="4876271"/>
                    <a:pt x="1407687" y="4855674"/>
                  </a:cubicBezTo>
                  <a:close/>
                  <a:moveTo>
                    <a:pt x="1147557" y="4850920"/>
                  </a:moveTo>
                  <a:cubicBezTo>
                    <a:pt x="1147557" y="4850920"/>
                    <a:pt x="1147557" y="4850920"/>
                    <a:pt x="1113889" y="4870250"/>
                  </a:cubicBezTo>
                  <a:lnTo>
                    <a:pt x="1123736" y="4887045"/>
                  </a:lnTo>
                  <a:cubicBezTo>
                    <a:pt x="1123736" y="4887045"/>
                    <a:pt x="1123736" y="4887045"/>
                    <a:pt x="1125641" y="4885778"/>
                  </a:cubicBezTo>
                  <a:cubicBezTo>
                    <a:pt x="1125641" y="4885778"/>
                    <a:pt x="1125641" y="4885778"/>
                    <a:pt x="1128500" y="4890531"/>
                  </a:cubicBezTo>
                  <a:cubicBezTo>
                    <a:pt x="1128500" y="4890531"/>
                    <a:pt x="1128500" y="4890531"/>
                    <a:pt x="1159944" y="4872469"/>
                  </a:cubicBezTo>
                  <a:cubicBezTo>
                    <a:pt x="1159944" y="4872469"/>
                    <a:pt x="1159944" y="4872469"/>
                    <a:pt x="1147557" y="4850920"/>
                  </a:cubicBezTo>
                  <a:close/>
                  <a:moveTo>
                    <a:pt x="1646536" y="4846484"/>
                  </a:moveTo>
                  <a:cubicBezTo>
                    <a:pt x="1645583" y="4846801"/>
                    <a:pt x="1644631" y="4846801"/>
                    <a:pt x="1643995" y="4846801"/>
                  </a:cubicBezTo>
                  <a:cubicBezTo>
                    <a:pt x="1644631" y="4850603"/>
                    <a:pt x="1646219" y="4859159"/>
                    <a:pt x="1648124" y="4867082"/>
                  </a:cubicBezTo>
                  <a:cubicBezTo>
                    <a:pt x="1649712" y="4875004"/>
                    <a:pt x="1651301" y="4882609"/>
                    <a:pt x="1651936" y="4886095"/>
                  </a:cubicBezTo>
                  <a:cubicBezTo>
                    <a:pt x="1651936" y="4886095"/>
                    <a:pt x="1651936" y="4886095"/>
                    <a:pt x="1676075" y="4881025"/>
                  </a:cubicBezTo>
                  <a:cubicBezTo>
                    <a:pt x="1676075" y="4881025"/>
                    <a:pt x="1676075" y="4881025"/>
                    <a:pt x="1671946" y="4846484"/>
                  </a:cubicBezTo>
                  <a:cubicBezTo>
                    <a:pt x="1669087" y="4846484"/>
                    <a:pt x="1663370" y="4846484"/>
                    <a:pt x="1657971" y="4846484"/>
                  </a:cubicBezTo>
                  <a:cubicBezTo>
                    <a:pt x="1653841" y="4846484"/>
                    <a:pt x="1649712" y="4846484"/>
                    <a:pt x="1646536" y="4846484"/>
                  </a:cubicBezTo>
                  <a:close/>
                  <a:moveTo>
                    <a:pt x="1372749" y="4842998"/>
                  </a:moveTo>
                  <a:cubicBezTo>
                    <a:pt x="1372749" y="4842998"/>
                    <a:pt x="1372749" y="4842998"/>
                    <a:pt x="1372749" y="4863596"/>
                  </a:cubicBezTo>
                  <a:lnTo>
                    <a:pt x="1387677" y="4863596"/>
                  </a:lnTo>
                  <a:cubicBezTo>
                    <a:pt x="1387677" y="4863596"/>
                    <a:pt x="1387677" y="4863596"/>
                    <a:pt x="1387677" y="4851554"/>
                  </a:cubicBezTo>
                  <a:cubicBezTo>
                    <a:pt x="1387677" y="4851554"/>
                    <a:pt x="1387677" y="4851554"/>
                    <a:pt x="1388312" y="4851554"/>
                  </a:cubicBezTo>
                  <a:cubicBezTo>
                    <a:pt x="1388312" y="4851554"/>
                    <a:pt x="1388312" y="4851554"/>
                    <a:pt x="1388312" y="4846484"/>
                  </a:cubicBezTo>
                  <a:cubicBezTo>
                    <a:pt x="1388312" y="4846484"/>
                    <a:pt x="1388312" y="4846484"/>
                    <a:pt x="1382595" y="4846484"/>
                  </a:cubicBezTo>
                  <a:cubicBezTo>
                    <a:pt x="1382595" y="4846484"/>
                    <a:pt x="1382595" y="4846484"/>
                    <a:pt x="1382595" y="4844266"/>
                  </a:cubicBezTo>
                  <a:cubicBezTo>
                    <a:pt x="1382595" y="4844266"/>
                    <a:pt x="1382595" y="4844266"/>
                    <a:pt x="1382595" y="4842998"/>
                  </a:cubicBezTo>
                  <a:cubicBezTo>
                    <a:pt x="1382595" y="4842998"/>
                    <a:pt x="1382595" y="4842998"/>
                    <a:pt x="1372749" y="4842998"/>
                  </a:cubicBezTo>
                  <a:close/>
                  <a:moveTo>
                    <a:pt x="1673851" y="4841731"/>
                  </a:moveTo>
                  <a:cubicBezTo>
                    <a:pt x="1673851" y="4841731"/>
                    <a:pt x="1673851" y="4841731"/>
                    <a:pt x="1676075" y="4841731"/>
                  </a:cubicBezTo>
                  <a:cubicBezTo>
                    <a:pt x="1676075" y="4841731"/>
                    <a:pt x="1676075" y="4841731"/>
                    <a:pt x="1676392" y="4843949"/>
                  </a:cubicBezTo>
                  <a:cubicBezTo>
                    <a:pt x="1676392" y="4843949"/>
                    <a:pt x="1676392" y="4843949"/>
                    <a:pt x="1681157" y="4884510"/>
                  </a:cubicBezTo>
                  <a:cubicBezTo>
                    <a:pt x="1681157" y="4884510"/>
                    <a:pt x="1681157" y="4884510"/>
                    <a:pt x="1648442" y="4891799"/>
                  </a:cubicBezTo>
                  <a:lnTo>
                    <a:pt x="1647807" y="4889581"/>
                  </a:lnTo>
                  <a:cubicBezTo>
                    <a:pt x="1647807" y="4889264"/>
                    <a:pt x="1638913" y="4847751"/>
                    <a:pt x="1638913" y="4844583"/>
                  </a:cubicBezTo>
                  <a:cubicBezTo>
                    <a:pt x="1638913" y="4844266"/>
                    <a:pt x="1638913" y="4844266"/>
                    <a:pt x="1638913" y="4843949"/>
                  </a:cubicBezTo>
                  <a:cubicBezTo>
                    <a:pt x="1638913" y="4843949"/>
                    <a:pt x="1638913" y="4842681"/>
                    <a:pt x="1640501" y="4842364"/>
                  </a:cubicBezTo>
                  <a:cubicBezTo>
                    <a:pt x="1640501" y="4842364"/>
                    <a:pt x="1640501" y="4842364"/>
                    <a:pt x="1640501" y="4842047"/>
                  </a:cubicBezTo>
                  <a:cubicBezTo>
                    <a:pt x="1641454" y="4842047"/>
                    <a:pt x="1641454" y="4842047"/>
                    <a:pt x="1641772" y="4842047"/>
                  </a:cubicBezTo>
                  <a:cubicBezTo>
                    <a:pt x="1642090" y="4842047"/>
                    <a:pt x="1642407" y="4842047"/>
                    <a:pt x="1642725" y="4842047"/>
                  </a:cubicBezTo>
                  <a:cubicBezTo>
                    <a:pt x="1649395" y="4841731"/>
                    <a:pt x="1673851" y="4841731"/>
                    <a:pt x="1673851" y="4841731"/>
                  </a:cubicBezTo>
                  <a:close/>
                  <a:moveTo>
                    <a:pt x="1892373" y="4841097"/>
                  </a:moveTo>
                  <a:lnTo>
                    <a:pt x="1863470" y="4841414"/>
                  </a:lnTo>
                  <a:cubicBezTo>
                    <a:pt x="1863470" y="4841414"/>
                    <a:pt x="1863470" y="4841414"/>
                    <a:pt x="1864423" y="4871835"/>
                  </a:cubicBezTo>
                  <a:cubicBezTo>
                    <a:pt x="1864423" y="4871835"/>
                    <a:pt x="1864423" y="4871835"/>
                    <a:pt x="1882527" y="4871835"/>
                  </a:cubicBezTo>
                  <a:cubicBezTo>
                    <a:pt x="1882527" y="4871835"/>
                    <a:pt x="1882527" y="4871835"/>
                    <a:pt x="1882845" y="4894968"/>
                  </a:cubicBezTo>
                  <a:cubicBezTo>
                    <a:pt x="1882845" y="4894968"/>
                    <a:pt x="1882845" y="4894968"/>
                    <a:pt x="1909207" y="4894651"/>
                  </a:cubicBezTo>
                  <a:cubicBezTo>
                    <a:pt x="1909207" y="4894651"/>
                    <a:pt x="1909207" y="4894651"/>
                    <a:pt x="1908889" y="4844266"/>
                  </a:cubicBezTo>
                  <a:cubicBezTo>
                    <a:pt x="1908889" y="4844266"/>
                    <a:pt x="1908889" y="4844266"/>
                    <a:pt x="1892373" y="4844583"/>
                  </a:cubicBezTo>
                  <a:cubicBezTo>
                    <a:pt x="1892373" y="4844583"/>
                    <a:pt x="1892373" y="4844583"/>
                    <a:pt x="1892373" y="4841097"/>
                  </a:cubicBezTo>
                  <a:close/>
                  <a:moveTo>
                    <a:pt x="110849" y="4839512"/>
                  </a:moveTo>
                  <a:cubicBezTo>
                    <a:pt x="103226" y="4849336"/>
                    <a:pt x="95921" y="4858842"/>
                    <a:pt x="88616" y="4868032"/>
                  </a:cubicBezTo>
                  <a:cubicBezTo>
                    <a:pt x="97509" y="4869300"/>
                    <a:pt x="109896" y="4870884"/>
                    <a:pt x="125460" y="4873102"/>
                  </a:cubicBezTo>
                  <a:cubicBezTo>
                    <a:pt x="162939" y="4878173"/>
                    <a:pt x="208041" y="4889264"/>
                    <a:pt x="242343" y="4898770"/>
                  </a:cubicBezTo>
                  <a:cubicBezTo>
                    <a:pt x="277917" y="4908594"/>
                    <a:pt x="299832" y="4920636"/>
                    <a:pt x="325877" y="4934262"/>
                  </a:cubicBezTo>
                  <a:cubicBezTo>
                    <a:pt x="334135" y="4938381"/>
                    <a:pt x="343346" y="4944719"/>
                    <a:pt x="352557" y="4951691"/>
                  </a:cubicBezTo>
                  <a:cubicBezTo>
                    <a:pt x="346205" y="4944085"/>
                    <a:pt x="337629" y="4936480"/>
                    <a:pt x="328100" y="4929508"/>
                  </a:cubicBezTo>
                  <a:cubicBezTo>
                    <a:pt x="307773" y="4914615"/>
                    <a:pt x="283951" y="4901939"/>
                    <a:pt x="271247" y="4896235"/>
                  </a:cubicBezTo>
                  <a:cubicBezTo>
                    <a:pt x="240120" y="4882609"/>
                    <a:pt x="155951" y="4872152"/>
                    <a:pt x="125777" y="4863279"/>
                  </a:cubicBezTo>
                  <a:cubicBezTo>
                    <a:pt x="115931" y="4860110"/>
                    <a:pt x="111802" y="4850920"/>
                    <a:pt x="110849" y="4839512"/>
                  </a:cubicBezTo>
                  <a:close/>
                  <a:moveTo>
                    <a:pt x="2391670" y="4837928"/>
                  </a:moveTo>
                  <a:cubicBezTo>
                    <a:pt x="2391670" y="4837928"/>
                    <a:pt x="2391670" y="4837928"/>
                    <a:pt x="2387223" y="4867082"/>
                  </a:cubicBezTo>
                  <a:cubicBezTo>
                    <a:pt x="2387223" y="4867082"/>
                    <a:pt x="2387223" y="4867082"/>
                    <a:pt x="2405963" y="4869617"/>
                  </a:cubicBezTo>
                  <a:cubicBezTo>
                    <a:pt x="2405963" y="4869617"/>
                    <a:pt x="2405963" y="4869617"/>
                    <a:pt x="2408186" y="4855040"/>
                  </a:cubicBezTo>
                  <a:cubicBezTo>
                    <a:pt x="2408186" y="4855040"/>
                    <a:pt x="2408186" y="4855040"/>
                    <a:pt x="2421844" y="4856941"/>
                  </a:cubicBezTo>
                  <a:cubicBezTo>
                    <a:pt x="2421844" y="4856941"/>
                    <a:pt x="2421844" y="4856941"/>
                    <a:pt x="2424067" y="4843632"/>
                  </a:cubicBezTo>
                  <a:close/>
                  <a:moveTo>
                    <a:pt x="1896502" y="4836977"/>
                  </a:moveTo>
                  <a:cubicBezTo>
                    <a:pt x="1896502" y="4836977"/>
                    <a:pt x="1896502" y="4836977"/>
                    <a:pt x="1896502" y="4840146"/>
                  </a:cubicBezTo>
                  <a:cubicBezTo>
                    <a:pt x="1896502" y="4840146"/>
                    <a:pt x="1896502" y="4840146"/>
                    <a:pt x="1913018" y="4840146"/>
                  </a:cubicBezTo>
                  <a:cubicBezTo>
                    <a:pt x="1913018" y="4840146"/>
                    <a:pt x="1913018" y="4840146"/>
                    <a:pt x="1913654" y="4898770"/>
                  </a:cubicBezTo>
                  <a:cubicBezTo>
                    <a:pt x="1913654" y="4898770"/>
                    <a:pt x="1913654" y="4898770"/>
                    <a:pt x="1878716" y="4899087"/>
                  </a:cubicBezTo>
                  <a:cubicBezTo>
                    <a:pt x="1878716" y="4899087"/>
                    <a:pt x="1878716" y="4899087"/>
                    <a:pt x="1878398" y="4875954"/>
                  </a:cubicBezTo>
                  <a:cubicBezTo>
                    <a:pt x="1878398" y="4875954"/>
                    <a:pt x="1878398" y="4875954"/>
                    <a:pt x="1860294" y="4875954"/>
                  </a:cubicBezTo>
                  <a:lnTo>
                    <a:pt x="1860294" y="4874053"/>
                  </a:lnTo>
                  <a:cubicBezTo>
                    <a:pt x="1860294" y="4874053"/>
                    <a:pt x="1860294" y="4874053"/>
                    <a:pt x="1859023" y="4837294"/>
                  </a:cubicBezTo>
                  <a:cubicBezTo>
                    <a:pt x="1859023" y="4837294"/>
                    <a:pt x="1859023" y="4837294"/>
                    <a:pt x="1896502" y="4836977"/>
                  </a:cubicBezTo>
                  <a:close/>
                  <a:moveTo>
                    <a:pt x="1271" y="4836977"/>
                  </a:moveTo>
                  <a:cubicBezTo>
                    <a:pt x="45737" y="4875004"/>
                    <a:pt x="45737" y="4875004"/>
                    <a:pt x="45737" y="4875004"/>
                  </a:cubicBezTo>
                  <a:cubicBezTo>
                    <a:pt x="44149" y="4876905"/>
                    <a:pt x="44149" y="4876905"/>
                    <a:pt x="44149" y="4876905"/>
                  </a:cubicBezTo>
                  <a:cubicBezTo>
                    <a:pt x="1271" y="4929192"/>
                    <a:pt x="1271" y="4929192"/>
                    <a:pt x="1271" y="4929192"/>
                  </a:cubicBezTo>
                  <a:lnTo>
                    <a:pt x="1271" y="4921903"/>
                  </a:lnTo>
                  <a:cubicBezTo>
                    <a:pt x="39067" y="4875638"/>
                    <a:pt x="39067" y="4875638"/>
                    <a:pt x="39067" y="4875638"/>
                  </a:cubicBezTo>
                  <a:cubicBezTo>
                    <a:pt x="1271" y="4842998"/>
                    <a:pt x="1271" y="4842998"/>
                    <a:pt x="1271" y="4842998"/>
                  </a:cubicBezTo>
                  <a:cubicBezTo>
                    <a:pt x="1271" y="4836977"/>
                    <a:pt x="1271" y="4836977"/>
                    <a:pt x="1271" y="4836977"/>
                  </a:cubicBezTo>
                  <a:close/>
                  <a:moveTo>
                    <a:pt x="1022415" y="4836343"/>
                  </a:moveTo>
                  <a:lnTo>
                    <a:pt x="988748" y="4855674"/>
                  </a:lnTo>
                  <a:cubicBezTo>
                    <a:pt x="988748" y="4855674"/>
                    <a:pt x="988748" y="4855674"/>
                    <a:pt x="1001452" y="4877222"/>
                  </a:cubicBezTo>
                  <a:cubicBezTo>
                    <a:pt x="1001452" y="4877222"/>
                    <a:pt x="1001452" y="4877222"/>
                    <a:pt x="1034802" y="4857892"/>
                  </a:cubicBezTo>
                  <a:cubicBezTo>
                    <a:pt x="1034802" y="4857892"/>
                    <a:pt x="1034802" y="4857892"/>
                    <a:pt x="1022415" y="4836343"/>
                  </a:cubicBezTo>
                  <a:close/>
                  <a:moveTo>
                    <a:pt x="478652" y="4835710"/>
                  </a:moveTo>
                  <a:cubicBezTo>
                    <a:pt x="478652" y="4835710"/>
                    <a:pt x="478652" y="4835710"/>
                    <a:pt x="403059" y="4928241"/>
                  </a:cubicBezTo>
                  <a:cubicBezTo>
                    <a:pt x="403059" y="4928241"/>
                    <a:pt x="403059" y="4928241"/>
                    <a:pt x="464359" y="4979894"/>
                  </a:cubicBezTo>
                  <a:cubicBezTo>
                    <a:pt x="464359" y="4979894"/>
                    <a:pt x="464359" y="4979894"/>
                    <a:pt x="447525" y="5008097"/>
                  </a:cubicBezTo>
                  <a:cubicBezTo>
                    <a:pt x="447525" y="5008097"/>
                    <a:pt x="447525" y="5008097"/>
                    <a:pt x="474523" y="5033765"/>
                  </a:cubicBezTo>
                  <a:lnTo>
                    <a:pt x="502791" y="4967852"/>
                  </a:lnTo>
                  <a:cubicBezTo>
                    <a:pt x="502791" y="4967852"/>
                    <a:pt x="502791" y="4967852"/>
                    <a:pt x="448796" y="4927290"/>
                  </a:cubicBezTo>
                  <a:cubicBezTo>
                    <a:pt x="448796" y="4927290"/>
                    <a:pt x="448796" y="4927290"/>
                    <a:pt x="487863" y="4877539"/>
                  </a:cubicBezTo>
                  <a:cubicBezTo>
                    <a:pt x="487863" y="4877539"/>
                    <a:pt x="487863" y="4877539"/>
                    <a:pt x="527247" y="4902890"/>
                  </a:cubicBezTo>
                  <a:cubicBezTo>
                    <a:pt x="527247" y="4902890"/>
                    <a:pt x="527247" y="4902890"/>
                    <a:pt x="516131" y="4919368"/>
                  </a:cubicBezTo>
                  <a:cubicBezTo>
                    <a:pt x="516131" y="4919368"/>
                    <a:pt x="516131" y="4919368"/>
                    <a:pt x="581560" y="4956127"/>
                  </a:cubicBezTo>
                  <a:cubicBezTo>
                    <a:pt x="581560" y="4956127"/>
                    <a:pt x="581560" y="4956127"/>
                    <a:pt x="596171" y="4925072"/>
                  </a:cubicBezTo>
                  <a:cubicBezTo>
                    <a:pt x="596171" y="4925072"/>
                    <a:pt x="596171" y="4925072"/>
                    <a:pt x="478652" y="4835710"/>
                  </a:cubicBezTo>
                  <a:close/>
                  <a:moveTo>
                    <a:pt x="1989564" y="4833808"/>
                  </a:moveTo>
                  <a:cubicBezTo>
                    <a:pt x="1989564" y="4833808"/>
                    <a:pt x="1989564" y="4833808"/>
                    <a:pt x="1989247" y="4848702"/>
                  </a:cubicBezTo>
                  <a:cubicBezTo>
                    <a:pt x="1989247" y="4848702"/>
                    <a:pt x="1989247" y="4848702"/>
                    <a:pt x="1975589" y="4848385"/>
                  </a:cubicBezTo>
                  <a:cubicBezTo>
                    <a:pt x="1975589" y="4848385"/>
                    <a:pt x="1975589" y="4848385"/>
                    <a:pt x="1975272" y="4862011"/>
                  </a:cubicBezTo>
                  <a:lnTo>
                    <a:pt x="2007986" y="4860110"/>
                  </a:lnTo>
                  <a:cubicBezTo>
                    <a:pt x="2007986" y="4860110"/>
                    <a:pt x="2007986" y="4860110"/>
                    <a:pt x="2008622" y="4834125"/>
                  </a:cubicBezTo>
                  <a:cubicBezTo>
                    <a:pt x="2008622" y="4834125"/>
                    <a:pt x="2008622" y="4834125"/>
                    <a:pt x="1989564" y="4833808"/>
                  </a:cubicBezTo>
                  <a:close/>
                  <a:moveTo>
                    <a:pt x="1526476" y="4832224"/>
                  </a:moveTo>
                  <a:cubicBezTo>
                    <a:pt x="1514089" y="4838879"/>
                    <a:pt x="1501384" y="4846167"/>
                    <a:pt x="1488362" y="4853138"/>
                  </a:cubicBezTo>
                  <a:cubicBezTo>
                    <a:pt x="1459141" y="4869300"/>
                    <a:pt x="1430238" y="4885778"/>
                    <a:pt x="1408322" y="4897820"/>
                  </a:cubicBezTo>
                  <a:cubicBezTo>
                    <a:pt x="1397205" y="4903841"/>
                    <a:pt x="1388312" y="4909228"/>
                    <a:pt x="1381960" y="4912713"/>
                  </a:cubicBezTo>
                  <a:cubicBezTo>
                    <a:pt x="1380054" y="4913664"/>
                    <a:pt x="1378466" y="4914615"/>
                    <a:pt x="1377195" y="4915249"/>
                  </a:cubicBezTo>
                  <a:cubicBezTo>
                    <a:pt x="1384183" y="4928241"/>
                    <a:pt x="1389265" y="4938698"/>
                    <a:pt x="1391488" y="4945670"/>
                  </a:cubicBezTo>
                  <a:cubicBezTo>
                    <a:pt x="1397205" y="4962782"/>
                    <a:pt x="1405146" y="4998907"/>
                    <a:pt x="1411816" y="5033448"/>
                  </a:cubicBezTo>
                  <a:cubicBezTo>
                    <a:pt x="1419756" y="5031546"/>
                    <a:pt x="1435955" y="5027427"/>
                    <a:pt x="1452471" y="5023307"/>
                  </a:cubicBezTo>
                  <a:cubicBezTo>
                    <a:pt x="1472163" y="5018554"/>
                    <a:pt x="1490903" y="5013801"/>
                    <a:pt x="1497573" y="5012216"/>
                  </a:cubicBezTo>
                  <a:lnTo>
                    <a:pt x="1479469" y="4915565"/>
                  </a:lnTo>
                  <a:cubicBezTo>
                    <a:pt x="1479469" y="4915565"/>
                    <a:pt x="1479469" y="4915565"/>
                    <a:pt x="1481057" y="4914615"/>
                  </a:cubicBezTo>
                  <a:cubicBezTo>
                    <a:pt x="1481057" y="4914615"/>
                    <a:pt x="1495985" y="4905742"/>
                    <a:pt x="1510913" y="4896235"/>
                  </a:cubicBezTo>
                  <a:cubicBezTo>
                    <a:pt x="1518218" y="4891799"/>
                    <a:pt x="1525841" y="4887045"/>
                    <a:pt x="1531558" y="4883560"/>
                  </a:cubicBezTo>
                  <a:cubicBezTo>
                    <a:pt x="1534099" y="4881658"/>
                    <a:pt x="1536640" y="4880074"/>
                    <a:pt x="1538228" y="4879123"/>
                  </a:cubicBezTo>
                  <a:cubicBezTo>
                    <a:pt x="1538546" y="4878806"/>
                    <a:pt x="1538863" y="4878806"/>
                    <a:pt x="1539181" y="4878490"/>
                  </a:cubicBezTo>
                  <a:cubicBezTo>
                    <a:pt x="1535687" y="4870567"/>
                    <a:pt x="1528064" y="4838879"/>
                    <a:pt x="1526476" y="4832224"/>
                  </a:cubicBezTo>
                  <a:close/>
                  <a:moveTo>
                    <a:pt x="902038" y="4831273"/>
                  </a:moveTo>
                  <a:cubicBezTo>
                    <a:pt x="864241" y="4865497"/>
                    <a:pt x="830573" y="4898770"/>
                    <a:pt x="824539" y="4904474"/>
                  </a:cubicBezTo>
                  <a:cubicBezTo>
                    <a:pt x="824539" y="4904474"/>
                    <a:pt x="824539" y="4904474"/>
                    <a:pt x="823586" y="4905108"/>
                  </a:cubicBezTo>
                  <a:cubicBezTo>
                    <a:pt x="823586" y="4905108"/>
                    <a:pt x="823586" y="4905108"/>
                    <a:pt x="822633" y="4905742"/>
                  </a:cubicBezTo>
                  <a:cubicBezTo>
                    <a:pt x="822315" y="4905742"/>
                    <a:pt x="813740" y="4910812"/>
                    <a:pt x="800400" y="4917467"/>
                  </a:cubicBezTo>
                  <a:cubicBezTo>
                    <a:pt x="801670" y="4919368"/>
                    <a:pt x="803258" y="4921586"/>
                    <a:pt x="804846" y="4924438"/>
                  </a:cubicBezTo>
                  <a:cubicBezTo>
                    <a:pt x="812469" y="4936163"/>
                    <a:pt x="823586" y="4952641"/>
                    <a:pt x="832797" y="4966584"/>
                  </a:cubicBezTo>
                  <a:cubicBezTo>
                    <a:pt x="837243" y="4973556"/>
                    <a:pt x="841373" y="4979894"/>
                    <a:pt x="844549" y="4984330"/>
                  </a:cubicBezTo>
                  <a:cubicBezTo>
                    <a:pt x="845819" y="4986865"/>
                    <a:pt x="847090" y="4988766"/>
                    <a:pt x="848043" y="4990034"/>
                  </a:cubicBezTo>
                  <a:cubicBezTo>
                    <a:pt x="848043" y="4990351"/>
                    <a:pt x="848043" y="4990351"/>
                    <a:pt x="848043" y="4990351"/>
                  </a:cubicBezTo>
                  <a:cubicBezTo>
                    <a:pt x="854713" y="4982429"/>
                    <a:pt x="862018" y="4975457"/>
                    <a:pt x="869005" y="4969753"/>
                  </a:cubicBezTo>
                  <a:cubicBezTo>
                    <a:pt x="891556" y="4951374"/>
                    <a:pt x="913472" y="4942818"/>
                    <a:pt x="918554" y="4940916"/>
                  </a:cubicBezTo>
                  <a:cubicBezTo>
                    <a:pt x="918554" y="4940916"/>
                    <a:pt x="918554" y="4940916"/>
                    <a:pt x="966514" y="4914298"/>
                  </a:cubicBezTo>
                  <a:cubicBezTo>
                    <a:pt x="960797" y="4906693"/>
                    <a:pt x="946187" y="4887362"/>
                    <a:pt x="931576" y="4868983"/>
                  </a:cubicBezTo>
                  <a:cubicBezTo>
                    <a:pt x="922683" y="4857258"/>
                    <a:pt x="913472" y="4845850"/>
                    <a:pt x="906802" y="4837294"/>
                  </a:cubicBezTo>
                  <a:cubicBezTo>
                    <a:pt x="905214" y="4835076"/>
                    <a:pt x="903626" y="4832858"/>
                    <a:pt x="902038" y="4831273"/>
                  </a:cubicBezTo>
                  <a:close/>
                  <a:moveTo>
                    <a:pt x="1024003" y="4830639"/>
                  </a:moveTo>
                  <a:cubicBezTo>
                    <a:pt x="1024003" y="4830639"/>
                    <a:pt x="1024003" y="4830639"/>
                    <a:pt x="1040520" y="4859159"/>
                  </a:cubicBezTo>
                  <a:cubicBezTo>
                    <a:pt x="1040520" y="4859159"/>
                    <a:pt x="1040520" y="4859159"/>
                    <a:pt x="999864" y="4882609"/>
                  </a:cubicBezTo>
                  <a:lnTo>
                    <a:pt x="998911" y="4881025"/>
                  </a:lnTo>
                  <a:cubicBezTo>
                    <a:pt x="998911" y="4881025"/>
                    <a:pt x="998911" y="4881025"/>
                    <a:pt x="983348" y="4854089"/>
                  </a:cubicBezTo>
                  <a:cubicBezTo>
                    <a:pt x="983348" y="4854089"/>
                    <a:pt x="983348" y="4854089"/>
                    <a:pt x="1024003" y="4830639"/>
                  </a:cubicBezTo>
                  <a:close/>
                  <a:moveTo>
                    <a:pt x="478017" y="4829055"/>
                  </a:moveTo>
                  <a:cubicBezTo>
                    <a:pt x="478017" y="4829055"/>
                    <a:pt x="478017" y="4829055"/>
                    <a:pt x="601888" y="4923804"/>
                  </a:cubicBezTo>
                  <a:cubicBezTo>
                    <a:pt x="601888" y="4923804"/>
                    <a:pt x="601888" y="4923804"/>
                    <a:pt x="601253" y="4925389"/>
                  </a:cubicBezTo>
                  <a:cubicBezTo>
                    <a:pt x="601253" y="4925389"/>
                    <a:pt x="601253" y="4925389"/>
                    <a:pt x="583784" y="4962782"/>
                  </a:cubicBezTo>
                  <a:cubicBezTo>
                    <a:pt x="583784" y="4962782"/>
                    <a:pt x="583784" y="4962782"/>
                    <a:pt x="509461" y="4921269"/>
                  </a:cubicBezTo>
                  <a:cubicBezTo>
                    <a:pt x="509461" y="4921269"/>
                    <a:pt x="509461" y="4921269"/>
                    <a:pt x="520895" y="4904474"/>
                  </a:cubicBezTo>
                  <a:cubicBezTo>
                    <a:pt x="520895" y="4904474"/>
                    <a:pt x="520895" y="4904474"/>
                    <a:pt x="489133" y="4883877"/>
                  </a:cubicBezTo>
                  <a:cubicBezTo>
                    <a:pt x="489133" y="4883877"/>
                    <a:pt x="489133" y="4883877"/>
                    <a:pt x="455466" y="4926656"/>
                  </a:cubicBezTo>
                  <a:lnTo>
                    <a:pt x="508826" y="4966267"/>
                  </a:lnTo>
                  <a:cubicBezTo>
                    <a:pt x="508826" y="4966267"/>
                    <a:pt x="508826" y="4966267"/>
                    <a:pt x="476111" y="5042004"/>
                  </a:cubicBezTo>
                  <a:cubicBezTo>
                    <a:pt x="476111" y="5042004"/>
                    <a:pt x="476111" y="5042004"/>
                    <a:pt x="441490" y="5009047"/>
                  </a:cubicBezTo>
                  <a:cubicBezTo>
                    <a:pt x="441490" y="5009047"/>
                    <a:pt x="441490" y="5009047"/>
                    <a:pt x="458324" y="4980844"/>
                  </a:cubicBezTo>
                  <a:cubicBezTo>
                    <a:pt x="458324" y="4980844"/>
                    <a:pt x="458324" y="4980844"/>
                    <a:pt x="396706" y="4928875"/>
                  </a:cubicBezTo>
                  <a:cubicBezTo>
                    <a:pt x="396706" y="4928875"/>
                    <a:pt x="396706" y="4928875"/>
                    <a:pt x="478017" y="4829055"/>
                  </a:cubicBezTo>
                  <a:close/>
                  <a:moveTo>
                    <a:pt x="652072" y="4825252"/>
                  </a:moveTo>
                  <a:cubicBezTo>
                    <a:pt x="652072" y="4825252"/>
                    <a:pt x="652072" y="4825252"/>
                    <a:pt x="626662" y="4854406"/>
                  </a:cubicBezTo>
                  <a:cubicBezTo>
                    <a:pt x="626662" y="4854406"/>
                    <a:pt x="626662" y="4854406"/>
                    <a:pt x="645402" y="4870567"/>
                  </a:cubicBezTo>
                  <a:lnTo>
                    <a:pt x="670811" y="4841414"/>
                  </a:lnTo>
                  <a:cubicBezTo>
                    <a:pt x="670811" y="4841414"/>
                    <a:pt x="670811" y="4841414"/>
                    <a:pt x="652072" y="4825252"/>
                  </a:cubicBezTo>
                  <a:close/>
                  <a:moveTo>
                    <a:pt x="3016108" y="4823985"/>
                  </a:moveTo>
                  <a:lnTo>
                    <a:pt x="3025637" y="5002710"/>
                  </a:lnTo>
                  <a:cubicBezTo>
                    <a:pt x="3025637" y="5002710"/>
                    <a:pt x="3025637" y="5002710"/>
                    <a:pt x="3217479" y="5063552"/>
                  </a:cubicBezTo>
                  <a:cubicBezTo>
                    <a:pt x="3221926" y="5055947"/>
                    <a:pt x="3242888" y="5021089"/>
                    <a:pt x="3264169" y="4985598"/>
                  </a:cubicBezTo>
                  <a:cubicBezTo>
                    <a:pt x="3276238" y="4965951"/>
                    <a:pt x="3287990" y="4945987"/>
                    <a:pt x="3297201" y="4930776"/>
                  </a:cubicBezTo>
                  <a:cubicBezTo>
                    <a:pt x="3301330" y="4924438"/>
                    <a:pt x="3304506" y="4919051"/>
                    <a:pt x="3307047" y="4914932"/>
                  </a:cubicBezTo>
                  <a:cubicBezTo>
                    <a:pt x="3264486" y="4882292"/>
                    <a:pt x="3215573" y="4845216"/>
                    <a:pt x="3204139" y="4836343"/>
                  </a:cubicBezTo>
                  <a:cubicBezTo>
                    <a:pt x="3204139" y="4836343"/>
                    <a:pt x="3204139" y="4836343"/>
                    <a:pt x="3016108" y="4823985"/>
                  </a:cubicBezTo>
                  <a:close/>
                  <a:moveTo>
                    <a:pt x="1386724" y="4821767"/>
                  </a:moveTo>
                  <a:lnTo>
                    <a:pt x="1386724" y="4838879"/>
                  </a:lnTo>
                  <a:cubicBezTo>
                    <a:pt x="1386724" y="4838879"/>
                    <a:pt x="1386724" y="4838879"/>
                    <a:pt x="1392441" y="4838879"/>
                  </a:cubicBezTo>
                  <a:cubicBezTo>
                    <a:pt x="1392441" y="4838879"/>
                    <a:pt x="1392441" y="4838879"/>
                    <a:pt x="1392441" y="4842364"/>
                  </a:cubicBezTo>
                  <a:cubicBezTo>
                    <a:pt x="1392441" y="4842364"/>
                    <a:pt x="1392441" y="4842364"/>
                    <a:pt x="1402605" y="4842364"/>
                  </a:cubicBezTo>
                  <a:cubicBezTo>
                    <a:pt x="1402605" y="4842364"/>
                    <a:pt x="1402605" y="4842364"/>
                    <a:pt x="1402605" y="4821767"/>
                  </a:cubicBezTo>
                  <a:cubicBezTo>
                    <a:pt x="1402605" y="4821767"/>
                    <a:pt x="1402605" y="4821767"/>
                    <a:pt x="1386724" y="4821767"/>
                  </a:cubicBezTo>
                  <a:close/>
                  <a:moveTo>
                    <a:pt x="2281456" y="4819548"/>
                  </a:moveTo>
                  <a:cubicBezTo>
                    <a:pt x="2281456" y="4819548"/>
                    <a:pt x="2281456" y="4819548"/>
                    <a:pt x="2257635" y="4824302"/>
                  </a:cubicBezTo>
                  <a:cubicBezTo>
                    <a:pt x="2257635" y="4824302"/>
                    <a:pt x="2257635" y="4824302"/>
                    <a:pt x="2258905" y="4911446"/>
                  </a:cubicBezTo>
                  <a:cubicBezTo>
                    <a:pt x="2258905" y="4911446"/>
                    <a:pt x="2258905" y="4911446"/>
                    <a:pt x="2278915" y="4920952"/>
                  </a:cubicBezTo>
                  <a:cubicBezTo>
                    <a:pt x="2278915" y="4920952"/>
                    <a:pt x="2278915" y="4920952"/>
                    <a:pt x="2280186" y="4931410"/>
                  </a:cubicBezTo>
                  <a:cubicBezTo>
                    <a:pt x="2284632" y="4930142"/>
                    <a:pt x="2314488" y="4923488"/>
                    <a:pt x="2317665" y="4922537"/>
                  </a:cubicBezTo>
                  <a:cubicBezTo>
                    <a:pt x="2318618" y="4921586"/>
                    <a:pt x="2322111" y="4916516"/>
                    <a:pt x="2324970" y="4911763"/>
                  </a:cubicBezTo>
                  <a:cubicBezTo>
                    <a:pt x="2328146" y="4906693"/>
                    <a:pt x="2331005" y="4901939"/>
                    <a:pt x="2331005" y="4901939"/>
                  </a:cubicBezTo>
                  <a:cubicBezTo>
                    <a:pt x="2331005" y="4901939"/>
                    <a:pt x="2331005" y="4901939"/>
                    <a:pt x="2331958" y="4900672"/>
                  </a:cubicBezTo>
                  <a:cubicBezTo>
                    <a:pt x="2331958" y="4900672"/>
                    <a:pt x="2331958" y="4900672"/>
                    <a:pt x="2333546" y="4900989"/>
                  </a:cubicBezTo>
                  <a:cubicBezTo>
                    <a:pt x="2333546" y="4900989"/>
                    <a:pt x="2357050" y="4905742"/>
                    <a:pt x="2380553" y="4910812"/>
                  </a:cubicBezTo>
                  <a:cubicBezTo>
                    <a:pt x="2392623" y="4913030"/>
                    <a:pt x="2404374" y="4915565"/>
                    <a:pt x="2413268" y="4917467"/>
                  </a:cubicBezTo>
                  <a:cubicBezTo>
                    <a:pt x="2417079" y="4918417"/>
                    <a:pt x="2420256" y="4919051"/>
                    <a:pt x="2422479" y="4919685"/>
                  </a:cubicBezTo>
                  <a:cubicBezTo>
                    <a:pt x="2422479" y="4919685"/>
                    <a:pt x="2422479" y="4919685"/>
                    <a:pt x="2434866" y="4845216"/>
                  </a:cubicBezTo>
                  <a:cubicBezTo>
                    <a:pt x="2434866" y="4845216"/>
                    <a:pt x="2434866" y="4845216"/>
                    <a:pt x="2427878" y="4844266"/>
                  </a:cubicBezTo>
                  <a:cubicBezTo>
                    <a:pt x="2427878" y="4844266"/>
                    <a:pt x="2427878" y="4844266"/>
                    <a:pt x="2425338" y="4861694"/>
                  </a:cubicBezTo>
                  <a:cubicBezTo>
                    <a:pt x="2425338" y="4861694"/>
                    <a:pt x="2425338" y="4861694"/>
                    <a:pt x="2411680" y="4859793"/>
                  </a:cubicBezTo>
                  <a:cubicBezTo>
                    <a:pt x="2411680" y="4859793"/>
                    <a:pt x="2411680" y="4859793"/>
                    <a:pt x="2409456" y="4874370"/>
                  </a:cubicBezTo>
                  <a:cubicBezTo>
                    <a:pt x="2409456" y="4874370"/>
                    <a:pt x="2409456" y="4874370"/>
                    <a:pt x="2382459" y="4870567"/>
                  </a:cubicBezTo>
                  <a:cubicBezTo>
                    <a:pt x="2382459" y="4870567"/>
                    <a:pt x="2382459" y="4870567"/>
                    <a:pt x="2387541" y="4837294"/>
                  </a:cubicBezTo>
                  <a:cubicBezTo>
                    <a:pt x="2387541" y="4837294"/>
                    <a:pt x="2387541" y="4837294"/>
                    <a:pt x="2281456" y="4819548"/>
                  </a:cubicBezTo>
                  <a:close/>
                  <a:moveTo>
                    <a:pt x="651436" y="4819231"/>
                  </a:moveTo>
                  <a:lnTo>
                    <a:pt x="676528" y="4841097"/>
                  </a:lnTo>
                  <a:cubicBezTo>
                    <a:pt x="676528" y="4841097"/>
                    <a:pt x="676528" y="4841097"/>
                    <a:pt x="645719" y="4876271"/>
                  </a:cubicBezTo>
                  <a:cubicBezTo>
                    <a:pt x="645719" y="4876271"/>
                    <a:pt x="645719" y="4876271"/>
                    <a:pt x="644131" y="4875004"/>
                  </a:cubicBezTo>
                  <a:cubicBezTo>
                    <a:pt x="644131" y="4875004"/>
                    <a:pt x="644131" y="4875004"/>
                    <a:pt x="620627" y="4854723"/>
                  </a:cubicBezTo>
                  <a:cubicBezTo>
                    <a:pt x="620627" y="4854723"/>
                    <a:pt x="620627" y="4854723"/>
                    <a:pt x="651436" y="4819231"/>
                  </a:cubicBezTo>
                  <a:close/>
                  <a:moveTo>
                    <a:pt x="2186170" y="4818915"/>
                  </a:moveTo>
                  <a:cubicBezTo>
                    <a:pt x="2186170" y="4818915"/>
                    <a:pt x="2186170" y="4818915"/>
                    <a:pt x="2182359" y="4908277"/>
                  </a:cubicBezTo>
                  <a:cubicBezTo>
                    <a:pt x="2182359" y="4908277"/>
                    <a:pt x="2182359" y="4908277"/>
                    <a:pt x="2216026" y="4914298"/>
                  </a:cubicBezTo>
                  <a:cubicBezTo>
                    <a:pt x="2216026" y="4914298"/>
                    <a:pt x="2216026" y="4914298"/>
                    <a:pt x="2216026" y="4916199"/>
                  </a:cubicBezTo>
                  <a:cubicBezTo>
                    <a:pt x="2216026" y="4916199"/>
                    <a:pt x="2208086" y="5026793"/>
                    <a:pt x="2208086" y="5046757"/>
                  </a:cubicBezTo>
                  <a:cubicBezTo>
                    <a:pt x="2208086" y="5046757"/>
                    <a:pt x="2208086" y="5046757"/>
                    <a:pt x="2208086" y="5047074"/>
                  </a:cubicBezTo>
                  <a:cubicBezTo>
                    <a:pt x="2208086" y="5047074"/>
                    <a:pt x="2208086" y="5047074"/>
                    <a:pt x="2290667" y="5049609"/>
                  </a:cubicBezTo>
                  <a:cubicBezTo>
                    <a:pt x="2290667" y="5049609"/>
                    <a:pt x="2290667" y="5049609"/>
                    <a:pt x="2274786" y="4924121"/>
                  </a:cubicBezTo>
                  <a:cubicBezTo>
                    <a:pt x="2274786" y="4924121"/>
                    <a:pt x="2274786" y="4924121"/>
                    <a:pt x="2254458" y="4914298"/>
                  </a:cubicBezTo>
                  <a:cubicBezTo>
                    <a:pt x="2254458" y="4914298"/>
                    <a:pt x="2254458" y="4914298"/>
                    <a:pt x="2253188" y="4824935"/>
                  </a:cubicBezTo>
                  <a:cubicBezTo>
                    <a:pt x="2253188" y="4824935"/>
                    <a:pt x="2253188" y="4824935"/>
                    <a:pt x="2231272" y="4829372"/>
                  </a:cubicBezTo>
                  <a:cubicBezTo>
                    <a:pt x="2231272" y="4829372"/>
                    <a:pt x="2231272" y="4829372"/>
                    <a:pt x="2186170" y="4818915"/>
                  </a:cubicBezTo>
                  <a:close/>
                  <a:moveTo>
                    <a:pt x="1382595" y="4817647"/>
                  </a:moveTo>
                  <a:cubicBezTo>
                    <a:pt x="1382595" y="4817647"/>
                    <a:pt x="1382595" y="4817647"/>
                    <a:pt x="1406734" y="4817647"/>
                  </a:cubicBezTo>
                  <a:cubicBezTo>
                    <a:pt x="1406734" y="4817647"/>
                    <a:pt x="1406734" y="4817647"/>
                    <a:pt x="1406734" y="4846484"/>
                  </a:cubicBezTo>
                  <a:cubicBezTo>
                    <a:pt x="1406734" y="4846484"/>
                    <a:pt x="1406734" y="4846484"/>
                    <a:pt x="1392441" y="4846484"/>
                  </a:cubicBezTo>
                  <a:cubicBezTo>
                    <a:pt x="1392441" y="4846484"/>
                    <a:pt x="1392441" y="4846484"/>
                    <a:pt x="1392441" y="4851554"/>
                  </a:cubicBezTo>
                  <a:cubicBezTo>
                    <a:pt x="1392441" y="4851554"/>
                    <a:pt x="1392441" y="4851554"/>
                    <a:pt x="1411816" y="4851554"/>
                  </a:cubicBezTo>
                  <a:cubicBezTo>
                    <a:pt x="1411816" y="4851554"/>
                    <a:pt x="1411816" y="4851554"/>
                    <a:pt x="1411816" y="4880391"/>
                  </a:cubicBezTo>
                  <a:cubicBezTo>
                    <a:pt x="1411816" y="4880391"/>
                    <a:pt x="1411816" y="4880391"/>
                    <a:pt x="1387677" y="4880391"/>
                  </a:cubicBezTo>
                  <a:cubicBezTo>
                    <a:pt x="1387677" y="4880391"/>
                    <a:pt x="1387677" y="4880391"/>
                    <a:pt x="1387677" y="4878490"/>
                  </a:cubicBezTo>
                  <a:lnTo>
                    <a:pt x="1387677" y="4868032"/>
                  </a:lnTo>
                  <a:cubicBezTo>
                    <a:pt x="1387677" y="4868032"/>
                    <a:pt x="1387677" y="4868032"/>
                    <a:pt x="1368302" y="4868032"/>
                  </a:cubicBezTo>
                  <a:cubicBezTo>
                    <a:pt x="1368302" y="4868032"/>
                    <a:pt x="1368302" y="4868032"/>
                    <a:pt x="1368302" y="4865814"/>
                  </a:cubicBezTo>
                  <a:cubicBezTo>
                    <a:pt x="1368302" y="4865814"/>
                    <a:pt x="1368302" y="4865814"/>
                    <a:pt x="1368302" y="4838879"/>
                  </a:cubicBezTo>
                  <a:cubicBezTo>
                    <a:pt x="1368302" y="4838879"/>
                    <a:pt x="1368302" y="4838879"/>
                    <a:pt x="1382595" y="4838879"/>
                  </a:cubicBezTo>
                  <a:cubicBezTo>
                    <a:pt x="1382595" y="4838879"/>
                    <a:pt x="1382595" y="4838879"/>
                    <a:pt x="1382595" y="4817647"/>
                  </a:cubicBezTo>
                  <a:close/>
                  <a:moveTo>
                    <a:pt x="2822678" y="4810992"/>
                  </a:moveTo>
                  <a:cubicBezTo>
                    <a:pt x="2820138" y="4810992"/>
                    <a:pt x="2801080" y="4811309"/>
                    <a:pt x="2782024" y="4820182"/>
                  </a:cubicBezTo>
                  <a:cubicBezTo>
                    <a:pt x="2762966" y="4829689"/>
                    <a:pt x="2744227" y="4845850"/>
                    <a:pt x="2740098" y="4881658"/>
                  </a:cubicBezTo>
                  <a:cubicBezTo>
                    <a:pt x="2739462" y="4888313"/>
                    <a:pt x="2737874" y="4953909"/>
                    <a:pt x="2736604" y="5020138"/>
                  </a:cubicBezTo>
                  <a:cubicBezTo>
                    <a:pt x="2752167" y="5023941"/>
                    <a:pt x="2783929" y="5031546"/>
                    <a:pt x="2816008" y="5039469"/>
                  </a:cubicBezTo>
                  <a:cubicBezTo>
                    <a:pt x="2856028" y="5049292"/>
                    <a:pt x="2895413" y="5059116"/>
                    <a:pt x="2901448" y="5060700"/>
                  </a:cubicBezTo>
                  <a:cubicBezTo>
                    <a:pt x="2901448" y="5060700"/>
                    <a:pt x="2901448" y="5060700"/>
                    <a:pt x="2903354" y="5059749"/>
                  </a:cubicBezTo>
                  <a:lnTo>
                    <a:pt x="2902718" y="5059432"/>
                  </a:lnTo>
                  <a:cubicBezTo>
                    <a:pt x="2902718" y="5059432"/>
                    <a:pt x="2903036" y="5059432"/>
                    <a:pt x="2903036" y="5059116"/>
                  </a:cubicBezTo>
                  <a:cubicBezTo>
                    <a:pt x="2903354" y="5058799"/>
                    <a:pt x="2904307" y="5058165"/>
                    <a:pt x="2904624" y="5058165"/>
                  </a:cubicBezTo>
                  <a:cubicBezTo>
                    <a:pt x="2905260" y="5058482"/>
                    <a:pt x="2905260" y="5058482"/>
                    <a:pt x="2905577" y="5058482"/>
                  </a:cubicBezTo>
                  <a:cubicBezTo>
                    <a:pt x="2905577" y="5058482"/>
                    <a:pt x="2905577" y="5058482"/>
                    <a:pt x="3021190" y="5003026"/>
                  </a:cubicBezTo>
                  <a:cubicBezTo>
                    <a:pt x="3021190" y="5003026"/>
                    <a:pt x="3021190" y="5003026"/>
                    <a:pt x="3011662" y="4823668"/>
                  </a:cubicBezTo>
                  <a:cubicBezTo>
                    <a:pt x="3011662" y="4823668"/>
                    <a:pt x="3011662" y="4823668"/>
                    <a:pt x="2822678" y="4810992"/>
                  </a:cubicBezTo>
                  <a:close/>
                  <a:moveTo>
                    <a:pt x="481193" y="4810359"/>
                  </a:moveTo>
                  <a:cubicBezTo>
                    <a:pt x="481193" y="4810359"/>
                    <a:pt x="481193" y="4810359"/>
                    <a:pt x="383684" y="4927924"/>
                  </a:cubicBezTo>
                  <a:cubicBezTo>
                    <a:pt x="383684" y="4927924"/>
                    <a:pt x="383684" y="4927924"/>
                    <a:pt x="443714" y="4980844"/>
                  </a:cubicBezTo>
                  <a:lnTo>
                    <a:pt x="419892" y="5009364"/>
                  </a:lnTo>
                  <a:cubicBezTo>
                    <a:pt x="442443" y="5029011"/>
                    <a:pt x="477699" y="5059432"/>
                    <a:pt x="495168" y="5076228"/>
                  </a:cubicBezTo>
                  <a:cubicBezTo>
                    <a:pt x="495168" y="5076228"/>
                    <a:pt x="495168" y="5076228"/>
                    <a:pt x="567903" y="4968803"/>
                  </a:cubicBezTo>
                  <a:cubicBezTo>
                    <a:pt x="567903" y="4968803"/>
                    <a:pt x="567903" y="4968803"/>
                    <a:pt x="598394" y="4986865"/>
                  </a:cubicBezTo>
                  <a:cubicBezTo>
                    <a:pt x="598394" y="4986865"/>
                    <a:pt x="598394" y="4986865"/>
                    <a:pt x="634285" y="4925706"/>
                  </a:cubicBezTo>
                  <a:cubicBezTo>
                    <a:pt x="634285" y="4925706"/>
                    <a:pt x="634285" y="4925706"/>
                    <a:pt x="634920" y="4925706"/>
                  </a:cubicBezTo>
                  <a:cubicBezTo>
                    <a:pt x="634920" y="4925706"/>
                    <a:pt x="635556" y="4925389"/>
                    <a:pt x="635556" y="4925389"/>
                  </a:cubicBezTo>
                  <a:cubicBezTo>
                    <a:pt x="595853" y="4895918"/>
                    <a:pt x="536776" y="4851871"/>
                    <a:pt x="481193" y="4810359"/>
                  </a:cubicBezTo>
                  <a:close/>
                  <a:moveTo>
                    <a:pt x="2396116" y="4809091"/>
                  </a:moveTo>
                  <a:cubicBezTo>
                    <a:pt x="2396116" y="4809091"/>
                    <a:pt x="2396116" y="4809091"/>
                    <a:pt x="2392305" y="4833808"/>
                  </a:cubicBezTo>
                  <a:cubicBezTo>
                    <a:pt x="2392305" y="4833808"/>
                    <a:pt x="2392305" y="4833808"/>
                    <a:pt x="2424702" y="4839195"/>
                  </a:cubicBezTo>
                  <a:cubicBezTo>
                    <a:pt x="2424702" y="4839195"/>
                    <a:pt x="2424702" y="4839195"/>
                    <a:pt x="2426290" y="4828738"/>
                  </a:cubicBezTo>
                  <a:lnTo>
                    <a:pt x="2412633" y="4826837"/>
                  </a:lnTo>
                  <a:cubicBezTo>
                    <a:pt x="2412633" y="4826837"/>
                    <a:pt x="2412633" y="4826837"/>
                    <a:pt x="2414856" y="4811943"/>
                  </a:cubicBezTo>
                  <a:cubicBezTo>
                    <a:pt x="2414856" y="4811943"/>
                    <a:pt x="2414856" y="4811943"/>
                    <a:pt x="2396116" y="4809091"/>
                  </a:cubicBezTo>
                  <a:close/>
                  <a:moveTo>
                    <a:pt x="2137257" y="4807824"/>
                  </a:moveTo>
                  <a:cubicBezTo>
                    <a:pt x="2137257" y="4807824"/>
                    <a:pt x="2137257" y="4807824"/>
                    <a:pt x="2138528" y="4855674"/>
                  </a:cubicBezTo>
                  <a:cubicBezTo>
                    <a:pt x="2138528" y="4855674"/>
                    <a:pt x="2138528" y="4855674"/>
                    <a:pt x="2130587" y="4856307"/>
                  </a:cubicBezTo>
                  <a:cubicBezTo>
                    <a:pt x="2130587" y="4856307"/>
                    <a:pt x="2130587" y="4856307"/>
                    <a:pt x="2127728" y="5044539"/>
                  </a:cubicBezTo>
                  <a:cubicBezTo>
                    <a:pt x="2127728" y="5044539"/>
                    <a:pt x="2127728" y="5044539"/>
                    <a:pt x="2203640" y="5046757"/>
                  </a:cubicBezTo>
                  <a:cubicBezTo>
                    <a:pt x="2203640" y="5028061"/>
                    <a:pt x="2210310" y="4932994"/>
                    <a:pt x="2211580" y="4917784"/>
                  </a:cubicBezTo>
                  <a:cubicBezTo>
                    <a:pt x="2211580" y="4917784"/>
                    <a:pt x="2211580" y="4917784"/>
                    <a:pt x="2177595" y="4912080"/>
                  </a:cubicBezTo>
                  <a:cubicBezTo>
                    <a:pt x="2177595" y="4912080"/>
                    <a:pt x="2177595" y="4912080"/>
                    <a:pt x="2181724" y="4817964"/>
                  </a:cubicBezTo>
                  <a:cubicBezTo>
                    <a:pt x="2181724" y="4817964"/>
                    <a:pt x="2181724" y="4817964"/>
                    <a:pt x="2137257" y="4807824"/>
                  </a:cubicBezTo>
                  <a:close/>
                  <a:moveTo>
                    <a:pt x="1748174" y="4805922"/>
                  </a:moveTo>
                  <a:cubicBezTo>
                    <a:pt x="1748174" y="4805922"/>
                    <a:pt x="1748174" y="4805922"/>
                    <a:pt x="1748492" y="4809091"/>
                  </a:cubicBezTo>
                  <a:cubicBezTo>
                    <a:pt x="1748492" y="4809091"/>
                    <a:pt x="1748492" y="4809091"/>
                    <a:pt x="1748492" y="4926023"/>
                  </a:cubicBezTo>
                  <a:cubicBezTo>
                    <a:pt x="1794547" y="4912397"/>
                    <a:pt x="1837108" y="4899721"/>
                    <a:pt x="1840284" y="4899087"/>
                  </a:cubicBezTo>
                  <a:cubicBezTo>
                    <a:pt x="1840284" y="4898770"/>
                    <a:pt x="1840601" y="4898770"/>
                    <a:pt x="1840601" y="4898770"/>
                  </a:cubicBezTo>
                  <a:cubicBezTo>
                    <a:pt x="1840601" y="4898770"/>
                    <a:pt x="1840919" y="4898770"/>
                    <a:pt x="1840919" y="4898770"/>
                  </a:cubicBezTo>
                  <a:cubicBezTo>
                    <a:pt x="1843142" y="4899404"/>
                    <a:pt x="1843142" y="4900355"/>
                    <a:pt x="1843460" y="4900989"/>
                  </a:cubicBezTo>
                  <a:cubicBezTo>
                    <a:pt x="1847271" y="4908911"/>
                    <a:pt x="1853306" y="4960563"/>
                    <a:pt x="1854577" y="4970070"/>
                  </a:cubicBezTo>
                  <a:cubicBezTo>
                    <a:pt x="1854577" y="4970070"/>
                    <a:pt x="1854577" y="4970070"/>
                    <a:pt x="1946051" y="4991618"/>
                  </a:cubicBezTo>
                  <a:cubicBezTo>
                    <a:pt x="1946051" y="4991618"/>
                    <a:pt x="1946051" y="4991618"/>
                    <a:pt x="1931758" y="4808457"/>
                  </a:cubicBezTo>
                  <a:cubicBezTo>
                    <a:pt x="1912383" y="4808774"/>
                    <a:pt x="1850765" y="4809725"/>
                    <a:pt x="1850448" y="4809725"/>
                  </a:cubicBezTo>
                  <a:cubicBezTo>
                    <a:pt x="1850448" y="4809725"/>
                    <a:pt x="1850448" y="4809725"/>
                    <a:pt x="1748174" y="4805922"/>
                  </a:cubicBezTo>
                  <a:close/>
                  <a:moveTo>
                    <a:pt x="1205681" y="4804972"/>
                  </a:moveTo>
                  <a:cubicBezTo>
                    <a:pt x="1205681" y="4804972"/>
                    <a:pt x="1205681" y="4804972"/>
                    <a:pt x="1104996" y="4860744"/>
                  </a:cubicBezTo>
                  <a:cubicBezTo>
                    <a:pt x="1104996" y="4860744"/>
                    <a:pt x="1104996" y="4860744"/>
                    <a:pt x="1109443" y="4868032"/>
                  </a:cubicBezTo>
                  <a:cubicBezTo>
                    <a:pt x="1109443" y="4868032"/>
                    <a:pt x="1109443" y="4868032"/>
                    <a:pt x="1149145" y="4845216"/>
                  </a:cubicBezTo>
                  <a:cubicBezTo>
                    <a:pt x="1149145" y="4845216"/>
                    <a:pt x="1149145" y="4845216"/>
                    <a:pt x="1165661" y="4873736"/>
                  </a:cubicBezTo>
                  <a:cubicBezTo>
                    <a:pt x="1165661" y="4873736"/>
                    <a:pt x="1165661" y="4873736"/>
                    <a:pt x="1130406" y="4894017"/>
                  </a:cubicBezTo>
                  <a:lnTo>
                    <a:pt x="1142475" y="4914615"/>
                  </a:lnTo>
                  <a:cubicBezTo>
                    <a:pt x="1142475" y="4914615"/>
                    <a:pt x="1142475" y="4914615"/>
                    <a:pt x="1138664" y="4916516"/>
                  </a:cubicBezTo>
                  <a:cubicBezTo>
                    <a:pt x="1138664" y="4916516"/>
                    <a:pt x="1138664" y="4916516"/>
                    <a:pt x="1179954" y="4985598"/>
                  </a:cubicBezTo>
                  <a:cubicBezTo>
                    <a:pt x="1179954" y="4985598"/>
                    <a:pt x="1179954" y="4985598"/>
                    <a:pt x="1226327" y="4995421"/>
                  </a:cubicBezTo>
                  <a:cubicBezTo>
                    <a:pt x="1226327" y="4995421"/>
                    <a:pt x="1226327" y="4995421"/>
                    <a:pt x="1299061" y="4951057"/>
                  </a:cubicBezTo>
                  <a:cubicBezTo>
                    <a:pt x="1299061" y="4951057"/>
                    <a:pt x="1299061" y="4951057"/>
                    <a:pt x="1205681" y="4804972"/>
                  </a:cubicBezTo>
                  <a:close/>
                  <a:moveTo>
                    <a:pt x="1700849" y="4803704"/>
                  </a:moveTo>
                  <a:cubicBezTo>
                    <a:pt x="1700849" y="4803704"/>
                    <a:pt x="1700849" y="4803704"/>
                    <a:pt x="1620491" y="4807190"/>
                  </a:cubicBezTo>
                  <a:lnTo>
                    <a:pt x="1591906" y="4845216"/>
                  </a:lnTo>
                  <a:cubicBezTo>
                    <a:pt x="1591906" y="4845216"/>
                    <a:pt x="1591906" y="4845216"/>
                    <a:pt x="1593494" y="4907643"/>
                  </a:cubicBezTo>
                  <a:cubicBezTo>
                    <a:pt x="1593494" y="4907643"/>
                    <a:pt x="1593494" y="4907643"/>
                    <a:pt x="1630655" y="4899087"/>
                  </a:cubicBezTo>
                  <a:cubicBezTo>
                    <a:pt x="1630655" y="4899087"/>
                    <a:pt x="1630655" y="4899087"/>
                    <a:pt x="1630973" y="4936480"/>
                  </a:cubicBezTo>
                  <a:cubicBezTo>
                    <a:pt x="1630973" y="4936480"/>
                    <a:pt x="1630973" y="4936480"/>
                    <a:pt x="1720224" y="4911129"/>
                  </a:cubicBezTo>
                  <a:cubicBezTo>
                    <a:pt x="1720224" y="4911129"/>
                    <a:pt x="1720224" y="4911129"/>
                    <a:pt x="1700849" y="4803704"/>
                  </a:cubicBezTo>
                  <a:close/>
                  <a:moveTo>
                    <a:pt x="187078" y="4803387"/>
                  </a:moveTo>
                  <a:cubicBezTo>
                    <a:pt x="177549" y="4803387"/>
                    <a:pt x="167068" y="4806873"/>
                    <a:pt x="161351" y="4811309"/>
                  </a:cubicBezTo>
                  <a:cubicBezTo>
                    <a:pt x="153093" y="4816696"/>
                    <a:pt x="142611" y="4830956"/>
                    <a:pt x="142611" y="4840780"/>
                  </a:cubicBezTo>
                  <a:cubicBezTo>
                    <a:pt x="142611" y="4843949"/>
                    <a:pt x="143564" y="4846801"/>
                    <a:pt x="146423" y="4848702"/>
                  </a:cubicBezTo>
                  <a:cubicBezTo>
                    <a:pt x="150869" y="4852188"/>
                    <a:pt x="157222" y="4854089"/>
                    <a:pt x="164209" y="4854089"/>
                  </a:cubicBezTo>
                  <a:cubicBezTo>
                    <a:pt x="174373" y="4854089"/>
                    <a:pt x="186125" y="4850286"/>
                    <a:pt x="195336" y="4841731"/>
                  </a:cubicBezTo>
                  <a:cubicBezTo>
                    <a:pt x="204864" y="4832858"/>
                    <a:pt x="208358" y="4825886"/>
                    <a:pt x="208358" y="4820499"/>
                  </a:cubicBezTo>
                  <a:cubicBezTo>
                    <a:pt x="208358" y="4816696"/>
                    <a:pt x="206770" y="4813527"/>
                    <a:pt x="204229" y="4810359"/>
                  </a:cubicBezTo>
                  <a:cubicBezTo>
                    <a:pt x="200735" y="4805605"/>
                    <a:pt x="194383" y="4803387"/>
                    <a:pt x="187078" y="4803387"/>
                  </a:cubicBezTo>
                  <a:close/>
                  <a:moveTo>
                    <a:pt x="521530" y="4803070"/>
                  </a:moveTo>
                  <a:cubicBezTo>
                    <a:pt x="521213" y="4803704"/>
                    <a:pt x="520895" y="4804338"/>
                    <a:pt x="520578" y="4804972"/>
                  </a:cubicBezTo>
                  <a:cubicBezTo>
                    <a:pt x="519625" y="4807507"/>
                    <a:pt x="518672" y="4809408"/>
                    <a:pt x="518037" y="4810992"/>
                  </a:cubicBezTo>
                  <a:cubicBezTo>
                    <a:pt x="528518" y="4818915"/>
                    <a:pt x="538999" y="4826837"/>
                    <a:pt x="549481" y="4834759"/>
                  </a:cubicBezTo>
                  <a:cubicBezTo>
                    <a:pt x="550434" y="4832224"/>
                    <a:pt x="552022" y="4829055"/>
                    <a:pt x="553610" y="4825569"/>
                  </a:cubicBezTo>
                  <a:cubicBezTo>
                    <a:pt x="553610" y="4825569"/>
                    <a:pt x="553610" y="4825569"/>
                    <a:pt x="521530" y="4803070"/>
                  </a:cubicBezTo>
                  <a:close/>
                  <a:moveTo>
                    <a:pt x="775308" y="4802436"/>
                  </a:moveTo>
                  <a:lnTo>
                    <a:pt x="746404" y="4802753"/>
                  </a:lnTo>
                  <a:cubicBezTo>
                    <a:pt x="746404" y="4802753"/>
                    <a:pt x="746404" y="4802753"/>
                    <a:pt x="747357" y="4833175"/>
                  </a:cubicBezTo>
                  <a:cubicBezTo>
                    <a:pt x="747357" y="4833175"/>
                    <a:pt x="747357" y="4833175"/>
                    <a:pt x="765779" y="4833175"/>
                  </a:cubicBezTo>
                  <a:cubicBezTo>
                    <a:pt x="765779" y="4833175"/>
                    <a:pt x="765779" y="4833175"/>
                    <a:pt x="765779" y="4856307"/>
                  </a:cubicBezTo>
                  <a:cubicBezTo>
                    <a:pt x="765779" y="4856307"/>
                    <a:pt x="765779" y="4856307"/>
                    <a:pt x="792459" y="4856307"/>
                  </a:cubicBezTo>
                  <a:cubicBezTo>
                    <a:pt x="792459" y="4856307"/>
                    <a:pt x="792459" y="4856307"/>
                    <a:pt x="791824" y="4805605"/>
                  </a:cubicBezTo>
                  <a:cubicBezTo>
                    <a:pt x="791824" y="4805605"/>
                    <a:pt x="791824" y="4805605"/>
                    <a:pt x="775308" y="4805922"/>
                  </a:cubicBezTo>
                  <a:cubicBezTo>
                    <a:pt x="775308" y="4805922"/>
                    <a:pt x="775308" y="4805922"/>
                    <a:pt x="775308" y="4802436"/>
                  </a:cubicBezTo>
                  <a:close/>
                  <a:moveTo>
                    <a:pt x="187078" y="4800852"/>
                  </a:moveTo>
                  <a:cubicBezTo>
                    <a:pt x="194701" y="4800852"/>
                    <a:pt x="202006" y="4803070"/>
                    <a:pt x="206452" y="4808774"/>
                  </a:cubicBezTo>
                  <a:cubicBezTo>
                    <a:pt x="209311" y="4812260"/>
                    <a:pt x="210899" y="4816063"/>
                    <a:pt x="210899" y="4820499"/>
                  </a:cubicBezTo>
                  <a:cubicBezTo>
                    <a:pt x="210899" y="4827154"/>
                    <a:pt x="207088" y="4834442"/>
                    <a:pt x="197242" y="4843632"/>
                  </a:cubicBezTo>
                  <a:cubicBezTo>
                    <a:pt x="187395" y="4852505"/>
                    <a:pt x="175326" y="4856624"/>
                    <a:pt x="164209" y="4856624"/>
                  </a:cubicBezTo>
                  <a:cubicBezTo>
                    <a:pt x="156904" y="4856624"/>
                    <a:pt x="149916" y="4854723"/>
                    <a:pt x="144834" y="4850920"/>
                  </a:cubicBezTo>
                  <a:cubicBezTo>
                    <a:pt x="141341" y="4848385"/>
                    <a:pt x="140070" y="4844583"/>
                    <a:pt x="140070" y="4840780"/>
                  </a:cubicBezTo>
                  <a:cubicBezTo>
                    <a:pt x="140070" y="4829372"/>
                    <a:pt x="151187" y="4815112"/>
                    <a:pt x="159763" y="4809091"/>
                  </a:cubicBezTo>
                  <a:cubicBezTo>
                    <a:pt x="166433" y="4804338"/>
                    <a:pt x="176914" y="4800852"/>
                    <a:pt x="187078" y="4800852"/>
                  </a:cubicBezTo>
                  <a:close/>
                  <a:moveTo>
                    <a:pt x="1704660" y="4798951"/>
                  </a:moveTo>
                  <a:cubicBezTo>
                    <a:pt x="1704660" y="4798951"/>
                    <a:pt x="1704660" y="4798951"/>
                    <a:pt x="1704978" y="4800852"/>
                  </a:cubicBezTo>
                  <a:cubicBezTo>
                    <a:pt x="1704978" y="4800852"/>
                    <a:pt x="1704978" y="4800852"/>
                    <a:pt x="1725623" y="4914298"/>
                  </a:cubicBezTo>
                  <a:cubicBezTo>
                    <a:pt x="1725623" y="4914298"/>
                    <a:pt x="1725623" y="4914298"/>
                    <a:pt x="1626209" y="4942818"/>
                  </a:cubicBezTo>
                  <a:cubicBezTo>
                    <a:pt x="1626209" y="4942818"/>
                    <a:pt x="1626209" y="4942818"/>
                    <a:pt x="1625891" y="4904791"/>
                  </a:cubicBezTo>
                  <a:lnTo>
                    <a:pt x="1589047" y="4913664"/>
                  </a:lnTo>
                  <a:cubicBezTo>
                    <a:pt x="1589047" y="4913664"/>
                    <a:pt x="1589047" y="4913664"/>
                    <a:pt x="1587142" y="4843949"/>
                  </a:cubicBezTo>
                  <a:cubicBezTo>
                    <a:pt x="1587142" y="4843949"/>
                    <a:pt x="1587142" y="4843949"/>
                    <a:pt x="1617951" y="4802753"/>
                  </a:cubicBezTo>
                  <a:cubicBezTo>
                    <a:pt x="1617951" y="4802753"/>
                    <a:pt x="1617951" y="4802753"/>
                    <a:pt x="1704660" y="4798951"/>
                  </a:cubicBezTo>
                  <a:close/>
                  <a:moveTo>
                    <a:pt x="779437" y="4798317"/>
                  </a:moveTo>
                  <a:cubicBezTo>
                    <a:pt x="779437" y="4798317"/>
                    <a:pt x="779437" y="4798317"/>
                    <a:pt x="779437" y="4801486"/>
                  </a:cubicBezTo>
                  <a:cubicBezTo>
                    <a:pt x="779437" y="4801486"/>
                    <a:pt x="779437" y="4801486"/>
                    <a:pt x="795953" y="4801486"/>
                  </a:cubicBezTo>
                  <a:cubicBezTo>
                    <a:pt x="795953" y="4801486"/>
                    <a:pt x="795953" y="4801486"/>
                    <a:pt x="796588" y="4860427"/>
                  </a:cubicBezTo>
                  <a:cubicBezTo>
                    <a:pt x="796588" y="4860427"/>
                    <a:pt x="796588" y="4860427"/>
                    <a:pt x="761650" y="4860427"/>
                  </a:cubicBezTo>
                  <a:cubicBezTo>
                    <a:pt x="761650" y="4860427"/>
                    <a:pt x="761650" y="4860427"/>
                    <a:pt x="761650" y="4837294"/>
                  </a:cubicBezTo>
                  <a:cubicBezTo>
                    <a:pt x="761650" y="4837294"/>
                    <a:pt x="761650" y="4837294"/>
                    <a:pt x="743228" y="4837611"/>
                  </a:cubicBezTo>
                  <a:lnTo>
                    <a:pt x="743228" y="4835393"/>
                  </a:lnTo>
                  <a:cubicBezTo>
                    <a:pt x="743228" y="4835393"/>
                    <a:pt x="743228" y="4835393"/>
                    <a:pt x="742275" y="4798634"/>
                  </a:cubicBezTo>
                  <a:cubicBezTo>
                    <a:pt x="742275" y="4798634"/>
                    <a:pt x="742275" y="4798634"/>
                    <a:pt x="779437" y="4798317"/>
                  </a:cubicBezTo>
                  <a:close/>
                  <a:moveTo>
                    <a:pt x="1402923" y="4795148"/>
                  </a:moveTo>
                  <a:cubicBezTo>
                    <a:pt x="1402923" y="4795148"/>
                    <a:pt x="1402923" y="4795148"/>
                    <a:pt x="1333046" y="4836977"/>
                  </a:cubicBezTo>
                  <a:cubicBezTo>
                    <a:pt x="1333682" y="4837611"/>
                    <a:pt x="1333999" y="4838562"/>
                    <a:pt x="1334317" y="4839195"/>
                  </a:cubicBezTo>
                  <a:cubicBezTo>
                    <a:pt x="1347022" y="4860744"/>
                    <a:pt x="1359726" y="4882926"/>
                    <a:pt x="1370208" y="4901939"/>
                  </a:cubicBezTo>
                  <a:cubicBezTo>
                    <a:pt x="1372114" y="4905425"/>
                    <a:pt x="1373702" y="4908277"/>
                    <a:pt x="1375290" y="4911446"/>
                  </a:cubicBezTo>
                  <a:cubicBezTo>
                    <a:pt x="1386724" y="4904791"/>
                    <a:pt x="1414357" y="4889264"/>
                    <a:pt x="1446754" y="4871201"/>
                  </a:cubicBezTo>
                  <a:cubicBezTo>
                    <a:pt x="1446754" y="4871201"/>
                    <a:pt x="1446754" y="4871201"/>
                    <a:pt x="1402923" y="4795148"/>
                  </a:cubicBezTo>
                  <a:close/>
                  <a:moveTo>
                    <a:pt x="1266982" y="4794197"/>
                  </a:moveTo>
                  <a:cubicBezTo>
                    <a:pt x="1266982" y="4794197"/>
                    <a:pt x="1266982" y="4794197"/>
                    <a:pt x="1233314" y="4813527"/>
                  </a:cubicBezTo>
                  <a:cubicBezTo>
                    <a:pt x="1233314" y="4813527"/>
                    <a:pt x="1233314" y="4813527"/>
                    <a:pt x="1245701" y="4835076"/>
                  </a:cubicBezTo>
                  <a:lnTo>
                    <a:pt x="1279369" y="4815746"/>
                  </a:lnTo>
                  <a:cubicBezTo>
                    <a:pt x="1279369" y="4815746"/>
                    <a:pt x="1279369" y="4815746"/>
                    <a:pt x="1266982" y="4794197"/>
                  </a:cubicBezTo>
                  <a:close/>
                  <a:moveTo>
                    <a:pt x="573620" y="4793247"/>
                  </a:moveTo>
                  <a:cubicBezTo>
                    <a:pt x="571079" y="4798317"/>
                    <a:pt x="568856" y="4803387"/>
                    <a:pt x="566632" y="4807824"/>
                  </a:cubicBezTo>
                  <a:cubicBezTo>
                    <a:pt x="563774" y="4813844"/>
                    <a:pt x="561233" y="4819548"/>
                    <a:pt x="559009" y="4824302"/>
                  </a:cubicBezTo>
                  <a:cubicBezTo>
                    <a:pt x="559009" y="4824302"/>
                    <a:pt x="559009" y="4824302"/>
                    <a:pt x="575843" y="4836343"/>
                  </a:cubicBezTo>
                  <a:cubicBezTo>
                    <a:pt x="575843" y="4836343"/>
                    <a:pt x="575843" y="4836343"/>
                    <a:pt x="595218" y="4808774"/>
                  </a:cubicBezTo>
                  <a:cubicBezTo>
                    <a:pt x="595218" y="4808774"/>
                    <a:pt x="595218" y="4808774"/>
                    <a:pt x="573620" y="4793247"/>
                  </a:cubicBezTo>
                  <a:close/>
                  <a:moveTo>
                    <a:pt x="1268252" y="4788810"/>
                  </a:moveTo>
                  <a:cubicBezTo>
                    <a:pt x="1268252" y="4788810"/>
                    <a:pt x="1268252" y="4788810"/>
                    <a:pt x="1285086" y="4817330"/>
                  </a:cubicBezTo>
                  <a:cubicBezTo>
                    <a:pt x="1285086" y="4817330"/>
                    <a:pt x="1285086" y="4817330"/>
                    <a:pt x="1244431" y="4840780"/>
                  </a:cubicBezTo>
                  <a:cubicBezTo>
                    <a:pt x="1244431" y="4840780"/>
                    <a:pt x="1244431" y="4840780"/>
                    <a:pt x="1243478" y="4838879"/>
                  </a:cubicBezTo>
                  <a:cubicBezTo>
                    <a:pt x="1243478" y="4838879"/>
                    <a:pt x="1243478" y="4838879"/>
                    <a:pt x="1227597" y="4812260"/>
                  </a:cubicBezTo>
                  <a:close/>
                  <a:moveTo>
                    <a:pt x="1126594" y="4788810"/>
                  </a:moveTo>
                  <a:cubicBezTo>
                    <a:pt x="1126594" y="4788810"/>
                    <a:pt x="1126594" y="4788810"/>
                    <a:pt x="1092927" y="4808140"/>
                  </a:cubicBezTo>
                  <a:cubicBezTo>
                    <a:pt x="1092927" y="4808140"/>
                    <a:pt x="1092927" y="4808140"/>
                    <a:pt x="1105314" y="4829689"/>
                  </a:cubicBezTo>
                  <a:cubicBezTo>
                    <a:pt x="1105314" y="4829689"/>
                    <a:pt x="1105314" y="4829689"/>
                    <a:pt x="1138346" y="4810675"/>
                  </a:cubicBezTo>
                  <a:cubicBezTo>
                    <a:pt x="1138346" y="4810675"/>
                    <a:pt x="1138346" y="4810675"/>
                    <a:pt x="1133582" y="4800852"/>
                  </a:cubicBezTo>
                  <a:close/>
                  <a:moveTo>
                    <a:pt x="487545" y="4778987"/>
                  </a:moveTo>
                  <a:cubicBezTo>
                    <a:pt x="486275" y="4781522"/>
                    <a:pt x="485322" y="4783740"/>
                    <a:pt x="484687" y="4785641"/>
                  </a:cubicBezTo>
                  <a:cubicBezTo>
                    <a:pt x="484687" y="4785641"/>
                    <a:pt x="484687" y="4785641"/>
                    <a:pt x="484369" y="4785958"/>
                  </a:cubicBezTo>
                  <a:cubicBezTo>
                    <a:pt x="488180" y="4788810"/>
                    <a:pt x="491674" y="4791345"/>
                    <a:pt x="495486" y="4794197"/>
                  </a:cubicBezTo>
                  <a:cubicBezTo>
                    <a:pt x="501838" y="4798951"/>
                    <a:pt x="507873" y="4803704"/>
                    <a:pt x="514225" y="4808457"/>
                  </a:cubicBezTo>
                  <a:cubicBezTo>
                    <a:pt x="515178" y="4806239"/>
                    <a:pt x="516448" y="4803387"/>
                    <a:pt x="518037" y="4800218"/>
                  </a:cubicBezTo>
                  <a:cubicBezTo>
                    <a:pt x="518037" y="4800218"/>
                    <a:pt x="518037" y="4800218"/>
                    <a:pt x="487545" y="4778987"/>
                  </a:cubicBezTo>
                  <a:close/>
                  <a:moveTo>
                    <a:pt x="968420" y="4775818"/>
                  </a:moveTo>
                  <a:cubicBezTo>
                    <a:pt x="953810" y="4787226"/>
                    <a:pt x="937293" y="4800218"/>
                    <a:pt x="921095" y="4814478"/>
                  </a:cubicBezTo>
                  <a:cubicBezTo>
                    <a:pt x="915695" y="4818915"/>
                    <a:pt x="910613" y="4823668"/>
                    <a:pt x="905532" y="4828104"/>
                  </a:cubicBezTo>
                  <a:cubicBezTo>
                    <a:pt x="912519" y="4837294"/>
                    <a:pt x="924906" y="4852822"/>
                    <a:pt x="936976" y="4868349"/>
                  </a:cubicBezTo>
                  <a:cubicBezTo>
                    <a:pt x="945869" y="4880074"/>
                    <a:pt x="954762" y="4891482"/>
                    <a:pt x="961750" y="4900355"/>
                  </a:cubicBezTo>
                  <a:cubicBezTo>
                    <a:pt x="964926" y="4904791"/>
                    <a:pt x="967785" y="4908594"/>
                    <a:pt x="969691" y="4911446"/>
                  </a:cubicBezTo>
                  <a:cubicBezTo>
                    <a:pt x="970008" y="4911763"/>
                    <a:pt x="970326" y="4911763"/>
                    <a:pt x="970326" y="4912080"/>
                  </a:cubicBezTo>
                  <a:cubicBezTo>
                    <a:pt x="970326" y="4912080"/>
                    <a:pt x="970326" y="4912080"/>
                    <a:pt x="1070376" y="4856307"/>
                  </a:cubicBezTo>
                  <a:cubicBezTo>
                    <a:pt x="1070376" y="4856307"/>
                    <a:pt x="1070376" y="4856307"/>
                    <a:pt x="1045601" y="4827471"/>
                  </a:cubicBezTo>
                  <a:cubicBezTo>
                    <a:pt x="1043060" y="4825886"/>
                    <a:pt x="1023368" y="4812894"/>
                    <a:pt x="1003676" y="4799584"/>
                  </a:cubicBezTo>
                  <a:cubicBezTo>
                    <a:pt x="992877" y="4792613"/>
                    <a:pt x="982395" y="4785324"/>
                    <a:pt x="974455" y="4779937"/>
                  </a:cubicBezTo>
                  <a:cubicBezTo>
                    <a:pt x="972231" y="4778353"/>
                    <a:pt x="970326" y="4777085"/>
                    <a:pt x="968420" y="4775818"/>
                  </a:cubicBezTo>
                  <a:close/>
                  <a:moveTo>
                    <a:pt x="363039" y="4774867"/>
                  </a:moveTo>
                  <a:cubicBezTo>
                    <a:pt x="363039" y="4774867"/>
                    <a:pt x="363039" y="4774867"/>
                    <a:pt x="362086" y="4794197"/>
                  </a:cubicBezTo>
                  <a:lnTo>
                    <a:pt x="383366" y="4814795"/>
                  </a:lnTo>
                  <a:cubicBezTo>
                    <a:pt x="383366" y="4814795"/>
                    <a:pt x="383366" y="4814795"/>
                    <a:pt x="392577" y="4804972"/>
                  </a:cubicBezTo>
                  <a:cubicBezTo>
                    <a:pt x="392577" y="4804972"/>
                    <a:pt x="392577" y="4804972"/>
                    <a:pt x="363039" y="4774867"/>
                  </a:cubicBezTo>
                  <a:close/>
                  <a:moveTo>
                    <a:pt x="1268887" y="4769797"/>
                  </a:moveTo>
                  <a:cubicBezTo>
                    <a:pt x="1268887" y="4769797"/>
                    <a:pt x="1268887" y="4769797"/>
                    <a:pt x="1209493" y="4802753"/>
                  </a:cubicBezTo>
                  <a:lnTo>
                    <a:pt x="1302873" y="4948522"/>
                  </a:lnTo>
                  <a:cubicBezTo>
                    <a:pt x="1302873" y="4948522"/>
                    <a:pt x="1302873" y="4948522"/>
                    <a:pt x="1301602" y="4949472"/>
                  </a:cubicBezTo>
                  <a:cubicBezTo>
                    <a:pt x="1301602" y="4949472"/>
                    <a:pt x="1301602" y="4949472"/>
                    <a:pt x="1354327" y="4917150"/>
                  </a:cubicBezTo>
                  <a:cubicBezTo>
                    <a:pt x="1354327" y="4917150"/>
                    <a:pt x="1354327" y="4917150"/>
                    <a:pt x="1354645" y="4917150"/>
                  </a:cubicBezTo>
                  <a:cubicBezTo>
                    <a:pt x="1353692" y="4915565"/>
                    <a:pt x="1352739" y="4913664"/>
                    <a:pt x="1351786" y="4912080"/>
                  </a:cubicBezTo>
                  <a:cubicBezTo>
                    <a:pt x="1336540" y="4883877"/>
                    <a:pt x="1315577" y="4848068"/>
                    <a:pt x="1298426" y="4818915"/>
                  </a:cubicBezTo>
                  <a:cubicBezTo>
                    <a:pt x="1283816" y="4794514"/>
                    <a:pt x="1272064" y="4775184"/>
                    <a:pt x="1268887" y="4769797"/>
                  </a:cubicBezTo>
                  <a:close/>
                  <a:moveTo>
                    <a:pt x="538047" y="4767579"/>
                  </a:moveTo>
                  <a:cubicBezTo>
                    <a:pt x="536141" y="4771381"/>
                    <a:pt x="534553" y="4775184"/>
                    <a:pt x="532965" y="4778670"/>
                  </a:cubicBezTo>
                  <a:cubicBezTo>
                    <a:pt x="529153" y="4786275"/>
                    <a:pt x="525977" y="4793247"/>
                    <a:pt x="523436" y="4798951"/>
                  </a:cubicBezTo>
                  <a:cubicBezTo>
                    <a:pt x="523436" y="4798951"/>
                    <a:pt x="523436" y="4798951"/>
                    <a:pt x="555198" y="4821767"/>
                  </a:cubicBezTo>
                  <a:cubicBezTo>
                    <a:pt x="559327" y="4813211"/>
                    <a:pt x="564409" y="4802436"/>
                    <a:pt x="569808" y="4790712"/>
                  </a:cubicBezTo>
                  <a:cubicBezTo>
                    <a:pt x="569808" y="4790712"/>
                    <a:pt x="569808" y="4790712"/>
                    <a:pt x="538047" y="4767579"/>
                  </a:cubicBezTo>
                  <a:close/>
                  <a:moveTo>
                    <a:pt x="2283997" y="4766945"/>
                  </a:moveTo>
                  <a:cubicBezTo>
                    <a:pt x="2283997" y="4790712"/>
                    <a:pt x="2283680" y="4809725"/>
                    <a:pt x="2283680" y="4815429"/>
                  </a:cubicBezTo>
                  <a:cubicBezTo>
                    <a:pt x="2283680" y="4815429"/>
                    <a:pt x="2283680" y="4815429"/>
                    <a:pt x="2388176" y="4832858"/>
                  </a:cubicBezTo>
                  <a:cubicBezTo>
                    <a:pt x="2388176" y="4832858"/>
                    <a:pt x="2388176" y="4832858"/>
                    <a:pt x="2392623" y="4804338"/>
                  </a:cubicBezTo>
                  <a:cubicBezTo>
                    <a:pt x="2392623" y="4804338"/>
                    <a:pt x="2392623" y="4804338"/>
                    <a:pt x="2394528" y="4804655"/>
                  </a:cubicBezTo>
                  <a:cubicBezTo>
                    <a:pt x="2394528" y="4804655"/>
                    <a:pt x="2394528" y="4804655"/>
                    <a:pt x="2419620" y="4808457"/>
                  </a:cubicBezTo>
                  <a:cubicBezTo>
                    <a:pt x="2419620" y="4808457"/>
                    <a:pt x="2419620" y="4808457"/>
                    <a:pt x="2417397" y="4823351"/>
                  </a:cubicBezTo>
                  <a:cubicBezTo>
                    <a:pt x="2417397" y="4823351"/>
                    <a:pt x="2417397" y="4823351"/>
                    <a:pt x="2430737" y="4825252"/>
                  </a:cubicBezTo>
                  <a:cubicBezTo>
                    <a:pt x="2430737" y="4825252"/>
                    <a:pt x="2430737" y="4825252"/>
                    <a:pt x="2428831" y="4839829"/>
                  </a:cubicBezTo>
                  <a:lnTo>
                    <a:pt x="2435501" y="4841097"/>
                  </a:lnTo>
                  <a:cubicBezTo>
                    <a:pt x="2435501" y="4841097"/>
                    <a:pt x="2435501" y="4841097"/>
                    <a:pt x="2442171" y="4801169"/>
                  </a:cubicBezTo>
                  <a:cubicBezTo>
                    <a:pt x="2431054" y="4798634"/>
                    <a:pt x="2397704" y="4791345"/>
                    <a:pt x="2364037" y="4784057"/>
                  </a:cubicBezTo>
                  <a:cubicBezTo>
                    <a:pt x="2329734" y="4776452"/>
                    <a:pt x="2294478" y="4768846"/>
                    <a:pt x="2283997" y="4766945"/>
                  </a:cubicBezTo>
                  <a:close/>
                  <a:moveTo>
                    <a:pt x="359227" y="4764093"/>
                  </a:moveTo>
                  <a:cubicBezTo>
                    <a:pt x="359227" y="4764093"/>
                    <a:pt x="359227" y="4764093"/>
                    <a:pt x="399247" y="4804972"/>
                  </a:cubicBezTo>
                  <a:cubicBezTo>
                    <a:pt x="399247" y="4804972"/>
                    <a:pt x="399247" y="4804972"/>
                    <a:pt x="397659" y="4806556"/>
                  </a:cubicBezTo>
                  <a:lnTo>
                    <a:pt x="383366" y="4821450"/>
                  </a:lnTo>
                  <a:cubicBezTo>
                    <a:pt x="383366" y="4821450"/>
                    <a:pt x="383366" y="4821450"/>
                    <a:pt x="357004" y="4795782"/>
                  </a:cubicBezTo>
                  <a:cubicBezTo>
                    <a:pt x="357004" y="4795782"/>
                    <a:pt x="357004" y="4795782"/>
                    <a:pt x="359227" y="4764093"/>
                  </a:cubicBezTo>
                  <a:close/>
                  <a:moveTo>
                    <a:pt x="1963837" y="4762192"/>
                  </a:moveTo>
                  <a:cubicBezTo>
                    <a:pt x="1963837" y="4762192"/>
                    <a:pt x="1963837" y="4762192"/>
                    <a:pt x="1963520" y="4771698"/>
                  </a:cubicBezTo>
                  <a:lnTo>
                    <a:pt x="1977177" y="4771698"/>
                  </a:lnTo>
                  <a:cubicBezTo>
                    <a:pt x="1977177" y="4771698"/>
                    <a:pt x="1977177" y="4771698"/>
                    <a:pt x="1976860" y="4786592"/>
                  </a:cubicBezTo>
                  <a:cubicBezTo>
                    <a:pt x="1976860" y="4786592"/>
                    <a:pt x="1976860" y="4786592"/>
                    <a:pt x="1995917" y="4786909"/>
                  </a:cubicBezTo>
                  <a:cubicBezTo>
                    <a:pt x="1995917" y="4786909"/>
                    <a:pt x="1995917" y="4786909"/>
                    <a:pt x="1996552" y="4763142"/>
                  </a:cubicBezTo>
                  <a:cubicBezTo>
                    <a:pt x="1984800" y="4762825"/>
                    <a:pt x="1973684" y="4762509"/>
                    <a:pt x="1964472" y="4762192"/>
                  </a:cubicBezTo>
                  <a:cubicBezTo>
                    <a:pt x="1964155" y="4762192"/>
                    <a:pt x="1963837" y="4762192"/>
                    <a:pt x="1963837" y="4762192"/>
                  </a:cubicBezTo>
                  <a:close/>
                  <a:moveTo>
                    <a:pt x="1948909" y="4761558"/>
                  </a:moveTo>
                  <a:cubicBezTo>
                    <a:pt x="1948909" y="4761558"/>
                    <a:pt x="1948909" y="4761558"/>
                    <a:pt x="1952721" y="4812577"/>
                  </a:cubicBezTo>
                  <a:cubicBezTo>
                    <a:pt x="1977812" y="4812894"/>
                    <a:pt x="2048642" y="4813211"/>
                    <a:pt x="2081992" y="4813211"/>
                  </a:cubicBezTo>
                  <a:cubicBezTo>
                    <a:pt x="2087073" y="4813211"/>
                    <a:pt x="2091202" y="4813211"/>
                    <a:pt x="2094061" y="4813211"/>
                  </a:cubicBezTo>
                  <a:cubicBezTo>
                    <a:pt x="2095649" y="4813211"/>
                    <a:pt x="2096602" y="4813211"/>
                    <a:pt x="2097237" y="4813211"/>
                  </a:cubicBezTo>
                  <a:cubicBezTo>
                    <a:pt x="2097237" y="4813211"/>
                    <a:pt x="2097237" y="4813211"/>
                    <a:pt x="2095649" y="4766311"/>
                  </a:cubicBezTo>
                  <a:cubicBezTo>
                    <a:pt x="2086438" y="4765994"/>
                    <a:pt x="2052770" y="4765044"/>
                    <a:pt x="2018785" y="4763776"/>
                  </a:cubicBezTo>
                  <a:cubicBezTo>
                    <a:pt x="2012751" y="4763776"/>
                    <a:pt x="2006716" y="4763459"/>
                    <a:pt x="2000681" y="4763459"/>
                  </a:cubicBezTo>
                  <a:cubicBezTo>
                    <a:pt x="2000681" y="4763459"/>
                    <a:pt x="2000681" y="4763459"/>
                    <a:pt x="2000046" y="4791345"/>
                  </a:cubicBezTo>
                  <a:cubicBezTo>
                    <a:pt x="2000046" y="4791345"/>
                    <a:pt x="2000046" y="4791345"/>
                    <a:pt x="1998140" y="4791345"/>
                  </a:cubicBezTo>
                  <a:cubicBezTo>
                    <a:pt x="1998140" y="4791345"/>
                    <a:pt x="1998140" y="4791345"/>
                    <a:pt x="1972731" y="4790712"/>
                  </a:cubicBezTo>
                  <a:cubicBezTo>
                    <a:pt x="1972731" y="4790712"/>
                    <a:pt x="1972731" y="4790712"/>
                    <a:pt x="1973048" y="4775818"/>
                  </a:cubicBezTo>
                  <a:cubicBezTo>
                    <a:pt x="1973048" y="4775818"/>
                    <a:pt x="1973048" y="4775818"/>
                    <a:pt x="1959391" y="4775501"/>
                  </a:cubicBezTo>
                  <a:cubicBezTo>
                    <a:pt x="1959391" y="4775501"/>
                    <a:pt x="1959391" y="4775501"/>
                    <a:pt x="1959391" y="4761875"/>
                  </a:cubicBezTo>
                  <a:cubicBezTo>
                    <a:pt x="1955262" y="4761875"/>
                    <a:pt x="1951768" y="4761558"/>
                    <a:pt x="1948909" y="4761558"/>
                  </a:cubicBezTo>
                  <a:close/>
                  <a:moveTo>
                    <a:pt x="1156768" y="4753636"/>
                  </a:moveTo>
                  <a:cubicBezTo>
                    <a:pt x="1156768" y="4753636"/>
                    <a:pt x="1156768" y="4753636"/>
                    <a:pt x="1124053" y="4772332"/>
                  </a:cubicBezTo>
                  <a:lnTo>
                    <a:pt x="1132629" y="4789127"/>
                  </a:lnTo>
                  <a:cubicBezTo>
                    <a:pt x="1132629" y="4789127"/>
                    <a:pt x="1132629" y="4789127"/>
                    <a:pt x="1135805" y="4794514"/>
                  </a:cubicBezTo>
                  <a:cubicBezTo>
                    <a:pt x="1135805" y="4794514"/>
                    <a:pt x="1135805" y="4794514"/>
                    <a:pt x="1169155" y="4775184"/>
                  </a:cubicBezTo>
                  <a:cubicBezTo>
                    <a:pt x="1169155" y="4775184"/>
                    <a:pt x="1169155" y="4775184"/>
                    <a:pt x="1156768" y="4753636"/>
                  </a:cubicBezTo>
                  <a:close/>
                  <a:moveTo>
                    <a:pt x="2404374" y="4750467"/>
                  </a:moveTo>
                  <a:cubicBezTo>
                    <a:pt x="2404374" y="4750467"/>
                    <a:pt x="2404374" y="4750467"/>
                    <a:pt x="2399928" y="4780571"/>
                  </a:cubicBezTo>
                  <a:cubicBezTo>
                    <a:pt x="2399928" y="4780571"/>
                    <a:pt x="2399928" y="4780571"/>
                    <a:pt x="2418668" y="4783423"/>
                  </a:cubicBezTo>
                  <a:cubicBezTo>
                    <a:pt x="2418668" y="4783423"/>
                    <a:pt x="2418668" y="4783423"/>
                    <a:pt x="2420891" y="4768846"/>
                  </a:cubicBezTo>
                  <a:cubicBezTo>
                    <a:pt x="2420891" y="4768846"/>
                    <a:pt x="2420891" y="4768846"/>
                    <a:pt x="2434548" y="4770748"/>
                  </a:cubicBezTo>
                  <a:cubicBezTo>
                    <a:pt x="2434548" y="4770748"/>
                    <a:pt x="2434548" y="4770748"/>
                    <a:pt x="2436772" y="4756805"/>
                  </a:cubicBezTo>
                  <a:close/>
                  <a:moveTo>
                    <a:pt x="504061" y="4743178"/>
                  </a:moveTo>
                  <a:cubicBezTo>
                    <a:pt x="502791" y="4746030"/>
                    <a:pt x="501520" y="4748882"/>
                    <a:pt x="500250" y="4751417"/>
                  </a:cubicBezTo>
                  <a:cubicBezTo>
                    <a:pt x="495803" y="4760607"/>
                    <a:pt x="492309" y="4768846"/>
                    <a:pt x="489451" y="4774867"/>
                  </a:cubicBezTo>
                  <a:lnTo>
                    <a:pt x="519625" y="4796416"/>
                  </a:lnTo>
                  <a:cubicBezTo>
                    <a:pt x="523436" y="4788176"/>
                    <a:pt x="528518" y="4777402"/>
                    <a:pt x="534235" y="4765044"/>
                  </a:cubicBezTo>
                  <a:cubicBezTo>
                    <a:pt x="534235" y="4765044"/>
                    <a:pt x="534235" y="4765044"/>
                    <a:pt x="504061" y="4743178"/>
                  </a:cubicBezTo>
                  <a:close/>
                  <a:moveTo>
                    <a:pt x="1353692" y="4738425"/>
                  </a:moveTo>
                  <a:cubicBezTo>
                    <a:pt x="1353692" y="4738425"/>
                    <a:pt x="1353692" y="4738425"/>
                    <a:pt x="1305096" y="4762825"/>
                  </a:cubicBezTo>
                  <a:cubicBezTo>
                    <a:pt x="1305096" y="4762825"/>
                    <a:pt x="1305096" y="4762825"/>
                    <a:pt x="1322247" y="4788493"/>
                  </a:cubicBezTo>
                  <a:cubicBezTo>
                    <a:pt x="1322247" y="4788493"/>
                    <a:pt x="1322247" y="4788493"/>
                    <a:pt x="1349245" y="4775818"/>
                  </a:cubicBezTo>
                  <a:cubicBezTo>
                    <a:pt x="1349245" y="4775818"/>
                    <a:pt x="1349245" y="4775818"/>
                    <a:pt x="1363220" y="4798317"/>
                  </a:cubicBezTo>
                  <a:lnTo>
                    <a:pt x="1381007" y="4786909"/>
                  </a:lnTo>
                  <a:cubicBezTo>
                    <a:pt x="1381007" y="4786909"/>
                    <a:pt x="1381007" y="4786909"/>
                    <a:pt x="1353692" y="4738425"/>
                  </a:cubicBezTo>
                  <a:close/>
                  <a:moveTo>
                    <a:pt x="1869187" y="4733672"/>
                  </a:moveTo>
                  <a:cubicBezTo>
                    <a:pt x="1869187" y="4733672"/>
                    <a:pt x="1869187" y="4733672"/>
                    <a:pt x="1869505" y="4773283"/>
                  </a:cubicBezTo>
                  <a:cubicBezTo>
                    <a:pt x="1869505" y="4773283"/>
                    <a:pt x="1869505" y="4773283"/>
                    <a:pt x="1883798" y="4773283"/>
                  </a:cubicBezTo>
                  <a:cubicBezTo>
                    <a:pt x="1883798" y="4773283"/>
                    <a:pt x="1883798" y="4773283"/>
                    <a:pt x="1883480" y="4733672"/>
                  </a:cubicBezTo>
                  <a:close/>
                  <a:moveTo>
                    <a:pt x="1355280" y="4732087"/>
                  </a:moveTo>
                  <a:cubicBezTo>
                    <a:pt x="1355280" y="4732087"/>
                    <a:pt x="1355280" y="4732087"/>
                    <a:pt x="1387359" y="4788493"/>
                  </a:cubicBezTo>
                  <a:cubicBezTo>
                    <a:pt x="1387359" y="4788493"/>
                    <a:pt x="1387359" y="4788493"/>
                    <a:pt x="1385454" y="4789761"/>
                  </a:cubicBezTo>
                  <a:cubicBezTo>
                    <a:pt x="1385454" y="4789761"/>
                    <a:pt x="1385454" y="4789761"/>
                    <a:pt x="1361632" y="4804655"/>
                  </a:cubicBezTo>
                  <a:cubicBezTo>
                    <a:pt x="1361632" y="4804655"/>
                    <a:pt x="1361632" y="4804655"/>
                    <a:pt x="1347339" y="4781839"/>
                  </a:cubicBezTo>
                  <a:cubicBezTo>
                    <a:pt x="1347339" y="4781839"/>
                    <a:pt x="1347339" y="4781839"/>
                    <a:pt x="1320659" y="4794514"/>
                  </a:cubicBezTo>
                  <a:cubicBezTo>
                    <a:pt x="1320659" y="4794514"/>
                    <a:pt x="1320659" y="4794514"/>
                    <a:pt x="1298426" y="4760924"/>
                  </a:cubicBezTo>
                  <a:close/>
                  <a:moveTo>
                    <a:pt x="191842" y="4730820"/>
                  </a:moveTo>
                  <a:cubicBezTo>
                    <a:pt x="189619" y="4734622"/>
                    <a:pt x="187395" y="4738425"/>
                    <a:pt x="185172" y="4741594"/>
                  </a:cubicBezTo>
                  <a:cubicBezTo>
                    <a:pt x="178502" y="4751101"/>
                    <a:pt x="149281" y="4789444"/>
                    <a:pt x="118154" y="4830006"/>
                  </a:cubicBezTo>
                  <a:cubicBezTo>
                    <a:pt x="118154" y="4830639"/>
                    <a:pt x="118154" y="4831273"/>
                    <a:pt x="118154" y="4831907"/>
                  </a:cubicBezTo>
                  <a:cubicBezTo>
                    <a:pt x="118154" y="4845850"/>
                    <a:pt x="121648" y="4854089"/>
                    <a:pt x="128001" y="4855990"/>
                  </a:cubicBezTo>
                  <a:cubicBezTo>
                    <a:pt x="156904" y="4864546"/>
                    <a:pt x="241073" y="4874687"/>
                    <a:pt x="274423" y="4889264"/>
                  </a:cubicBezTo>
                  <a:cubicBezTo>
                    <a:pt x="287763" y="4895285"/>
                    <a:pt x="311902" y="4907643"/>
                    <a:pt x="332865" y="4923488"/>
                  </a:cubicBezTo>
                  <a:cubicBezTo>
                    <a:pt x="349699" y="4936163"/>
                    <a:pt x="364627" y="4950423"/>
                    <a:pt x="370026" y="4965634"/>
                  </a:cubicBezTo>
                  <a:cubicBezTo>
                    <a:pt x="371932" y="4967218"/>
                    <a:pt x="373838" y="4968486"/>
                    <a:pt x="375426" y="4970070"/>
                  </a:cubicBezTo>
                  <a:cubicBezTo>
                    <a:pt x="386860" y="4979577"/>
                    <a:pt x="396389" y="4988133"/>
                    <a:pt x="400518" y="4991935"/>
                  </a:cubicBezTo>
                  <a:cubicBezTo>
                    <a:pt x="400518" y="4991935"/>
                    <a:pt x="400518" y="4991935"/>
                    <a:pt x="403059" y="4992569"/>
                  </a:cubicBezTo>
                  <a:cubicBezTo>
                    <a:pt x="403059" y="4992569"/>
                    <a:pt x="405282" y="4997006"/>
                    <a:pt x="414493" y="5004611"/>
                  </a:cubicBezTo>
                  <a:cubicBezTo>
                    <a:pt x="414810" y="5005245"/>
                    <a:pt x="415446" y="5005562"/>
                    <a:pt x="416081" y="5006195"/>
                  </a:cubicBezTo>
                  <a:cubicBezTo>
                    <a:pt x="416081" y="5006195"/>
                    <a:pt x="416081" y="5006195"/>
                    <a:pt x="436409" y="4981478"/>
                  </a:cubicBezTo>
                  <a:cubicBezTo>
                    <a:pt x="436409" y="4981478"/>
                    <a:pt x="436409" y="4981478"/>
                    <a:pt x="293162" y="4855040"/>
                  </a:cubicBezTo>
                  <a:cubicBezTo>
                    <a:pt x="293162" y="4855040"/>
                    <a:pt x="293162" y="4855040"/>
                    <a:pt x="287445" y="4876588"/>
                  </a:cubicBezTo>
                  <a:cubicBezTo>
                    <a:pt x="287445" y="4876588"/>
                    <a:pt x="287445" y="4876588"/>
                    <a:pt x="219792" y="4849653"/>
                  </a:cubicBezTo>
                  <a:cubicBezTo>
                    <a:pt x="219792" y="4849653"/>
                    <a:pt x="219792" y="4849653"/>
                    <a:pt x="241391" y="4764093"/>
                  </a:cubicBezTo>
                  <a:cubicBezTo>
                    <a:pt x="241391" y="4764093"/>
                    <a:pt x="241391" y="4764093"/>
                    <a:pt x="191842" y="4730820"/>
                  </a:cubicBezTo>
                  <a:close/>
                  <a:moveTo>
                    <a:pt x="485957" y="4730186"/>
                  </a:moveTo>
                  <a:cubicBezTo>
                    <a:pt x="485957" y="4730186"/>
                    <a:pt x="485957" y="4730186"/>
                    <a:pt x="465312" y="4758072"/>
                  </a:cubicBezTo>
                  <a:lnTo>
                    <a:pt x="485639" y="4772332"/>
                  </a:lnTo>
                  <a:cubicBezTo>
                    <a:pt x="489451" y="4764410"/>
                    <a:pt x="494533" y="4753319"/>
                    <a:pt x="500250" y="4740643"/>
                  </a:cubicBezTo>
                  <a:cubicBezTo>
                    <a:pt x="500250" y="4740643"/>
                    <a:pt x="500250" y="4740643"/>
                    <a:pt x="485957" y="4730186"/>
                  </a:cubicBezTo>
                  <a:close/>
                  <a:moveTo>
                    <a:pt x="1030673" y="4729235"/>
                  </a:moveTo>
                  <a:cubicBezTo>
                    <a:pt x="1020192" y="4734622"/>
                    <a:pt x="1009075" y="4741911"/>
                    <a:pt x="997959" y="4752051"/>
                  </a:cubicBezTo>
                  <a:cubicBezTo>
                    <a:pt x="990971" y="4758389"/>
                    <a:pt x="982078" y="4765361"/>
                    <a:pt x="972231" y="4772966"/>
                  </a:cubicBezTo>
                  <a:cubicBezTo>
                    <a:pt x="980807" y="4778987"/>
                    <a:pt x="995100" y="4788810"/>
                    <a:pt x="1009075" y="4798000"/>
                  </a:cubicBezTo>
                  <a:cubicBezTo>
                    <a:pt x="1029085" y="4811309"/>
                    <a:pt x="1048460" y="4823985"/>
                    <a:pt x="1048460" y="4823985"/>
                  </a:cubicBezTo>
                  <a:cubicBezTo>
                    <a:pt x="1048460" y="4823985"/>
                    <a:pt x="1048460" y="4823985"/>
                    <a:pt x="1048778" y="4823985"/>
                  </a:cubicBezTo>
                  <a:cubicBezTo>
                    <a:pt x="1048778" y="4823985"/>
                    <a:pt x="1048778" y="4823985"/>
                    <a:pt x="1074187" y="4854406"/>
                  </a:cubicBezTo>
                  <a:cubicBezTo>
                    <a:pt x="1074187" y="4854406"/>
                    <a:pt x="1074187" y="4854406"/>
                    <a:pt x="1141522" y="4816696"/>
                  </a:cubicBezTo>
                  <a:cubicBezTo>
                    <a:pt x="1141522" y="4816696"/>
                    <a:pt x="1141522" y="4816696"/>
                    <a:pt x="1140252" y="4814478"/>
                  </a:cubicBezTo>
                  <a:cubicBezTo>
                    <a:pt x="1140252" y="4814478"/>
                    <a:pt x="1140252" y="4814478"/>
                    <a:pt x="1104043" y="4835393"/>
                  </a:cubicBezTo>
                  <a:cubicBezTo>
                    <a:pt x="1104043" y="4835393"/>
                    <a:pt x="1104043" y="4835393"/>
                    <a:pt x="1102773" y="4833491"/>
                  </a:cubicBezTo>
                  <a:cubicBezTo>
                    <a:pt x="1102773" y="4833491"/>
                    <a:pt x="1102773" y="4833491"/>
                    <a:pt x="1087209" y="4806873"/>
                  </a:cubicBezTo>
                  <a:cubicBezTo>
                    <a:pt x="1087209" y="4806873"/>
                    <a:pt x="1087209" y="4806873"/>
                    <a:pt x="1125324" y="4784691"/>
                  </a:cubicBezTo>
                  <a:cubicBezTo>
                    <a:pt x="1125324" y="4784691"/>
                    <a:pt x="1125324" y="4784691"/>
                    <a:pt x="1117701" y="4771381"/>
                  </a:cubicBezTo>
                  <a:cubicBezTo>
                    <a:pt x="1117701" y="4771381"/>
                    <a:pt x="1117701" y="4771381"/>
                    <a:pt x="1118654" y="4771065"/>
                  </a:cubicBezTo>
                  <a:cubicBezTo>
                    <a:pt x="1118654" y="4771065"/>
                    <a:pt x="1118654" y="4771065"/>
                    <a:pt x="1115795" y="4765677"/>
                  </a:cubicBezTo>
                  <a:close/>
                  <a:moveTo>
                    <a:pt x="1978130" y="4728285"/>
                  </a:moveTo>
                  <a:cubicBezTo>
                    <a:pt x="1978130" y="4728285"/>
                    <a:pt x="1978130" y="4728285"/>
                    <a:pt x="1977812" y="4743178"/>
                  </a:cubicBezTo>
                  <a:cubicBezTo>
                    <a:pt x="1977812" y="4743178"/>
                    <a:pt x="1977812" y="4743178"/>
                    <a:pt x="1964155" y="4742861"/>
                  </a:cubicBezTo>
                  <a:cubicBezTo>
                    <a:pt x="1964155" y="4742861"/>
                    <a:pt x="1964155" y="4742861"/>
                    <a:pt x="1963837" y="4757755"/>
                  </a:cubicBezTo>
                  <a:cubicBezTo>
                    <a:pt x="1973048" y="4758072"/>
                    <a:pt x="1984482" y="4758389"/>
                    <a:pt x="1996552" y="4758706"/>
                  </a:cubicBezTo>
                  <a:cubicBezTo>
                    <a:pt x="1996552" y="4758706"/>
                    <a:pt x="1996552" y="4758706"/>
                    <a:pt x="1997187" y="4728602"/>
                  </a:cubicBezTo>
                  <a:cubicBezTo>
                    <a:pt x="1997187" y="4728602"/>
                    <a:pt x="1997187" y="4728602"/>
                    <a:pt x="1978130" y="4728285"/>
                  </a:cubicBezTo>
                  <a:close/>
                  <a:moveTo>
                    <a:pt x="2284315" y="4727017"/>
                  </a:moveTo>
                  <a:cubicBezTo>
                    <a:pt x="2284315" y="4739059"/>
                    <a:pt x="2284315" y="4751101"/>
                    <a:pt x="2283997" y="4762509"/>
                  </a:cubicBezTo>
                  <a:cubicBezTo>
                    <a:pt x="2294796" y="4764410"/>
                    <a:pt x="2329734" y="4772015"/>
                    <a:pt x="2364990" y="4779620"/>
                  </a:cubicBezTo>
                  <a:cubicBezTo>
                    <a:pt x="2398340" y="4786909"/>
                    <a:pt x="2431690" y="4794197"/>
                    <a:pt x="2442806" y="4796732"/>
                  </a:cubicBezTo>
                  <a:cubicBezTo>
                    <a:pt x="2442806" y="4796732"/>
                    <a:pt x="2442806" y="4796732"/>
                    <a:pt x="2448841" y="4759023"/>
                  </a:cubicBezTo>
                  <a:cubicBezTo>
                    <a:pt x="2448841" y="4759023"/>
                    <a:pt x="2448841" y="4759023"/>
                    <a:pt x="2440901" y="4757438"/>
                  </a:cubicBezTo>
                  <a:cubicBezTo>
                    <a:pt x="2440901" y="4757438"/>
                    <a:pt x="2440901" y="4757438"/>
                    <a:pt x="2438042" y="4775501"/>
                  </a:cubicBezTo>
                  <a:cubicBezTo>
                    <a:pt x="2438042" y="4775501"/>
                    <a:pt x="2438042" y="4775501"/>
                    <a:pt x="2424384" y="4773283"/>
                  </a:cubicBezTo>
                  <a:cubicBezTo>
                    <a:pt x="2424384" y="4773283"/>
                    <a:pt x="2424384" y="4773283"/>
                    <a:pt x="2422161" y="4788176"/>
                  </a:cubicBezTo>
                  <a:cubicBezTo>
                    <a:pt x="2422161" y="4788176"/>
                    <a:pt x="2422161" y="4788176"/>
                    <a:pt x="2395164" y="4784057"/>
                  </a:cubicBezTo>
                  <a:cubicBezTo>
                    <a:pt x="2395164" y="4784057"/>
                    <a:pt x="2395164" y="4784057"/>
                    <a:pt x="2400563" y="4749516"/>
                  </a:cubicBezTo>
                  <a:cubicBezTo>
                    <a:pt x="2400563" y="4749516"/>
                    <a:pt x="2400563" y="4749516"/>
                    <a:pt x="2284315" y="4727017"/>
                  </a:cubicBezTo>
                  <a:close/>
                  <a:moveTo>
                    <a:pt x="2432008" y="4723848"/>
                  </a:moveTo>
                  <a:cubicBezTo>
                    <a:pt x="2432008" y="4723848"/>
                    <a:pt x="2432008" y="4723848"/>
                    <a:pt x="2430102" y="4736841"/>
                  </a:cubicBezTo>
                  <a:cubicBezTo>
                    <a:pt x="2430102" y="4736841"/>
                    <a:pt x="2430102" y="4736841"/>
                    <a:pt x="2443759" y="4738742"/>
                  </a:cubicBezTo>
                  <a:cubicBezTo>
                    <a:pt x="2443759" y="4738742"/>
                    <a:pt x="2443759" y="4738742"/>
                    <a:pt x="2441536" y="4753002"/>
                  </a:cubicBezTo>
                  <a:lnTo>
                    <a:pt x="2449794" y="4754586"/>
                  </a:lnTo>
                  <a:cubicBezTo>
                    <a:pt x="2449794" y="4754586"/>
                    <a:pt x="2449794" y="4754586"/>
                    <a:pt x="2453923" y="4728602"/>
                  </a:cubicBezTo>
                  <a:cubicBezTo>
                    <a:pt x="2448841" y="4727651"/>
                    <a:pt x="2441218" y="4725750"/>
                    <a:pt x="2432008" y="4723848"/>
                  </a:cubicBezTo>
                  <a:close/>
                  <a:moveTo>
                    <a:pt x="2408821" y="4722898"/>
                  </a:moveTo>
                  <a:cubicBezTo>
                    <a:pt x="2408821" y="4722898"/>
                    <a:pt x="2408821" y="4722898"/>
                    <a:pt x="2405328" y="4746030"/>
                  </a:cubicBezTo>
                  <a:cubicBezTo>
                    <a:pt x="2405328" y="4746030"/>
                    <a:pt x="2405328" y="4746030"/>
                    <a:pt x="2437407" y="4752368"/>
                  </a:cubicBezTo>
                  <a:cubicBezTo>
                    <a:pt x="2437407" y="4752368"/>
                    <a:pt x="2437407" y="4752368"/>
                    <a:pt x="2438995" y="4742545"/>
                  </a:cubicBezTo>
                  <a:lnTo>
                    <a:pt x="2425338" y="4740326"/>
                  </a:lnTo>
                  <a:cubicBezTo>
                    <a:pt x="2425338" y="4740326"/>
                    <a:pt x="2425338" y="4740326"/>
                    <a:pt x="2427561" y="4725750"/>
                  </a:cubicBezTo>
                  <a:cubicBezTo>
                    <a:pt x="2427561" y="4725750"/>
                    <a:pt x="2427561" y="4725750"/>
                    <a:pt x="2408821" y="4722898"/>
                  </a:cubicBezTo>
                  <a:close/>
                  <a:moveTo>
                    <a:pt x="336676" y="4721313"/>
                  </a:moveTo>
                  <a:lnTo>
                    <a:pt x="321113" y="4739376"/>
                  </a:lnTo>
                  <a:cubicBezTo>
                    <a:pt x="321113" y="4739376"/>
                    <a:pt x="321113" y="4739376"/>
                    <a:pt x="340805" y="4781205"/>
                  </a:cubicBezTo>
                  <a:cubicBezTo>
                    <a:pt x="340805" y="4781205"/>
                    <a:pt x="340805" y="4781205"/>
                    <a:pt x="332230" y="4816379"/>
                  </a:cubicBezTo>
                  <a:cubicBezTo>
                    <a:pt x="332230" y="4816379"/>
                    <a:pt x="332230" y="4816379"/>
                    <a:pt x="365897" y="4842681"/>
                  </a:cubicBezTo>
                  <a:cubicBezTo>
                    <a:pt x="365897" y="4842681"/>
                    <a:pt x="365897" y="4842681"/>
                    <a:pt x="348428" y="4876271"/>
                  </a:cubicBezTo>
                  <a:cubicBezTo>
                    <a:pt x="348428" y="4876271"/>
                    <a:pt x="348428" y="4876271"/>
                    <a:pt x="378602" y="4902256"/>
                  </a:cubicBezTo>
                  <a:cubicBezTo>
                    <a:pt x="378602" y="4902256"/>
                    <a:pt x="378602" y="4902256"/>
                    <a:pt x="450701" y="4808457"/>
                  </a:cubicBezTo>
                  <a:cubicBezTo>
                    <a:pt x="450701" y="4808457"/>
                    <a:pt x="450701" y="4808457"/>
                    <a:pt x="336676" y="4721313"/>
                  </a:cubicBezTo>
                  <a:close/>
                  <a:moveTo>
                    <a:pt x="1359091" y="4718778"/>
                  </a:moveTo>
                  <a:cubicBezTo>
                    <a:pt x="1359091" y="4718778"/>
                    <a:pt x="1359091" y="4718778"/>
                    <a:pt x="1294615" y="4755220"/>
                  </a:cubicBezTo>
                  <a:cubicBezTo>
                    <a:pt x="1294615" y="4755220"/>
                    <a:pt x="1294615" y="4755220"/>
                    <a:pt x="1286992" y="4759657"/>
                  </a:cubicBezTo>
                  <a:cubicBezTo>
                    <a:pt x="1291756" y="4767579"/>
                    <a:pt x="1310496" y="4798634"/>
                    <a:pt x="1330823" y="4833175"/>
                  </a:cubicBezTo>
                  <a:lnTo>
                    <a:pt x="1400699" y="4791345"/>
                  </a:lnTo>
                  <a:cubicBezTo>
                    <a:pt x="1400699" y="4791345"/>
                    <a:pt x="1400699" y="4791345"/>
                    <a:pt x="1359091" y="4718778"/>
                  </a:cubicBezTo>
                  <a:close/>
                  <a:moveTo>
                    <a:pt x="758474" y="4716560"/>
                  </a:moveTo>
                  <a:cubicBezTo>
                    <a:pt x="750534" y="4732087"/>
                    <a:pt x="681610" y="4862328"/>
                    <a:pt x="653977" y="4912713"/>
                  </a:cubicBezTo>
                  <a:cubicBezTo>
                    <a:pt x="664776" y="4920952"/>
                    <a:pt x="673987" y="4927924"/>
                    <a:pt x="680975" y="4932994"/>
                  </a:cubicBezTo>
                  <a:cubicBezTo>
                    <a:pt x="687645" y="4931093"/>
                    <a:pt x="701303" y="4927290"/>
                    <a:pt x="727983" y="4921586"/>
                  </a:cubicBezTo>
                  <a:cubicBezTo>
                    <a:pt x="747675" y="4917467"/>
                    <a:pt x="768955" y="4908911"/>
                    <a:pt x="785154" y="4901622"/>
                  </a:cubicBezTo>
                  <a:cubicBezTo>
                    <a:pt x="793094" y="4897820"/>
                    <a:pt x="800082" y="4894334"/>
                    <a:pt x="804846" y="4891799"/>
                  </a:cubicBezTo>
                  <a:cubicBezTo>
                    <a:pt x="807705" y="4890214"/>
                    <a:pt x="809928" y="4888947"/>
                    <a:pt x="811199" y="4888313"/>
                  </a:cubicBezTo>
                  <a:cubicBezTo>
                    <a:pt x="815010" y="4884827"/>
                    <a:pt x="824856" y="4875004"/>
                    <a:pt x="838196" y="4862328"/>
                  </a:cubicBezTo>
                  <a:cubicBezTo>
                    <a:pt x="838196" y="4862328"/>
                    <a:pt x="838196" y="4862328"/>
                    <a:pt x="821680" y="4781205"/>
                  </a:cubicBezTo>
                  <a:cubicBezTo>
                    <a:pt x="821680" y="4781205"/>
                    <a:pt x="821680" y="4781205"/>
                    <a:pt x="758474" y="4716560"/>
                  </a:cubicBezTo>
                  <a:close/>
                  <a:moveTo>
                    <a:pt x="336359" y="4714975"/>
                  </a:moveTo>
                  <a:cubicBezTo>
                    <a:pt x="336359" y="4714975"/>
                    <a:pt x="336359" y="4714975"/>
                    <a:pt x="457371" y="4807507"/>
                  </a:cubicBezTo>
                  <a:cubicBezTo>
                    <a:pt x="457371" y="4807507"/>
                    <a:pt x="457371" y="4807507"/>
                    <a:pt x="455783" y="4809408"/>
                  </a:cubicBezTo>
                  <a:cubicBezTo>
                    <a:pt x="455783" y="4809408"/>
                    <a:pt x="455783" y="4809408"/>
                    <a:pt x="379237" y="4909228"/>
                  </a:cubicBezTo>
                  <a:cubicBezTo>
                    <a:pt x="379237" y="4909228"/>
                    <a:pt x="379237" y="4909228"/>
                    <a:pt x="342393" y="4877222"/>
                  </a:cubicBezTo>
                  <a:cubicBezTo>
                    <a:pt x="342393" y="4877222"/>
                    <a:pt x="342393" y="4877222"/>
                    <a:pt x="359862" y="4843949"/>
                  </a:cubicBezTo>
                  <a:cubicBezTo>
                    <a:pt x="359862" y="4843949"/>
                    <a:pt x="359862" y="4843949"/>
                    <a:pt x="326830" y="4817964"/>
                  </a:cubicBezTo>
                  <a:cubicBezTo>
                    <a:pt x="326830" y="4817964"/>
                    <a:pt x="326830" y="4817964"/>
                    <a:pt x="336041" y="4781839"/>
                  </a:cubicBezTo>
                  <a:lnTo>
                    <a:pt x="315396" y="4738425"/>
                  </a:lnTo>
                  <a:cubicBezTo>
                    <a:pt x="315396" y="4738425"/>
                    <a:pt x="315396" y="4738425"/>
                    <a:pt x="336359" y="4714975"/>
                  </a:cubicBezTo>
                  <a:close/>
                  <a:moveTo>
                    <a:pt x="612687" y="4711173"/>
                  </a:moveTo>
                  <a:cubicBezTo>
                    <a:pt x="609828" y="4717194"/>
                    <a:pt x="606652" y="4723214"/>
                    <a:pt x="603794" y="4729552"/>
                  </a:cubicBezTo>
                  <a:cubicBezTo>
                    <a:pt x="593947" y="4750150"/>
                    <a:pt x="584101" y="4771065"/>
                    <a:pt x="575208" y="4789444"/>
                  </a:cubicBezTo>
                  <a:cubicBezTo>
                    <a:pt x="575208" y="4789444"/>
                    <a:pt x="575208" y="4789444"/>
                    <a:pt x="600935" y="4807824"/>
                  </a:cubicBezTo>
                  <a:cubicBezTo>
                    <a:pt x="600935" y="4807824"/>
                    <a:pt x="600935" y="4807824"/>
                    <a:pt x="599665" y="4809408"/>
                  </a:cubicBezTo>
                  <a:cubicBezTo>
                    <a:pt x="599665" y="4809408"/>
                    <a:pt x="599665" y="4809408"/>
                    <a:pt x="576796" y="4842047"/>
                  </a:cubicBezTo>
                  <a:cubicBezTo>
                    <a:pt x="576796" y="4842047"/>
                    <a:pt x="576796" y="4842047"/>
                    <a:pt x="557104" y="4828104"/>
                  </a:cubicBezTo>
                  <a:cubicBezTo>
                    <a:pt x="556151" y="4830323"/>
                    <a:pt x="555198" y="4832541"/>
                    <a:pt x="554563" y="4834125"/>
                  </a:cubicBezTo>
                  <a:cubicBezTo>
                    <a:pt x="553927" y="4835393"/>
                    <a:pt x="553610" y="4836343"/>
                    <a:pt x="552975" y="4837294"/>
                  </a:cubicBezTo>
                  <a:cubicBezTo>
                    <a:pt x="562503" y="4844583"/>
                    <a:pt x="571714" y="4851237"/>
                    <a:pt x="580607" y="4858209"/>
                  </a:cubicBezTo>
                  <a:cubicBezTo>
                    <a:pt x="592677" y="4831590"/>
                    <a:pt x="621898" y="4770431"/>
                    <a:pt x="646355" y="4719729"/>
                  </a:cubicBezTo>
                  <a:cubicBezTo>
                    <a:pt x="646355" y="4719729"/>
                    <a:pt x="646355" y="4719729"/>
                    <a:pt x="612687" y="4711173"/>
                  </a:cubicBezTo>
                  <a:close/>
                  <a:moveTo>
                    <a:pt x="1944780" y="4709271"/>
                  </a:moveTo>
                  <a:lnTo>
                    <a:pt x="1948592" y="4757121"/>
                  </a:lnTo>
                  <a:cubicBezTo>
                    <a:pt x="1951450" y="4757121"/>
                    <a:pt x="1955262" y="4757438"/>
                    <a:pt x="1959708" y="4757438"/>
                  </a:cubicBezTo>
                  <a:cubicBezTo>
                    <a:pt x="1959708" y="4757438"/>
                    <a:pt x="1959708" y="4757438"/>
                    <a:pt x="1960026" y="4738742"/>
                  </a:cubicBezTo>
                  <a:cubicBezTo>
                    <a:pt x="1960026" y="4738742"/>
                    <a:pt x="1960026" y="4738742"/>
                    <a:pt x="1973684" y="4738742"/>
                  </a:cubicBezTo>
                  <a:cubicBezTo>
                    <a:pt x="1973684" y="4738742"/>
                    <a:pt x="1973684" y="4738742"/>
                    <a:pt x="1974001" y="4723848"/>
                  </a:cubicBezTo>
                  <a:cubicBezTo>
                    <a:pt x="1974001" y="4723848"/>
                    <a:pt x="1974001" y="4723848"/>
                    <a:pt x="2001316" y="4724482"/>
                  </a:cubicBezTo>
                  <a:cubicBezTo>
                    <a:pt x="2001316" y="4724482"/>
                    <a:pt x="2001316" y="4724482"/>
                    <a:pt x="2000681" y="4759023"/>
                  </a:cubicBezTo>
                  <a:cubicBezTo>
                    <a:pt x="2007033" y="4759023"/>
                    <a:pt x="2013703" y="4759340"/>
                    <a:pt x="2020373" y="4759657"/>
                  </a:cubicBezTo>
                  <a:cubicBezTo>
                    <a:pt x="2053406" y="4760607"/>
                    <a:pt x="2086120" y="4761558"/>
                    <a:pt x="2095332" y="4761875"/>
                  </a:cubicBezTo>
                  <a:cubicBezTo>
                    <a:pt x="2095332" y="4761875"/>
                    <a:pt x="2095332" y="4761875"/>
                    <a:pt x="2093743" y="4717510"/>
                  </a:cubicBezTo>
                  <a:cubicBezTo>
                    <a:pt x="2093743" y="4717510"/>
                    <a:pt x="2093743" y="4717510"/>
                    <a:pt x="1944780" y="4709271"/>
                  </a:cubicBezTo>
                  <a:close/>
                  <a:moveTo>
                    <a:pt x="1481374" y="4706102"/>
                  </a:moveTo>
                  <a:cubicBezTo>
                    <a:pt x="1481374" y="4706102"/>
                    <a:pt x="1481374" y="4706102"/>
                    <a:pt x="1434049" y="4730503"/>
                  </a:cubicBezTo>
                  <a:cubicBezTo>
                    <a:pt x="1434049" y="4730503"/>
                    <a:pt x="1434049" y="4730503"/>
                    <a:pt x="1473434" y="4795782"/>
                  </a:cubicBezTo>
                  <a:lnTo>
                    <a:pt x="1521077" y="4770748"/>
                  </a:lnTo>
                  <a:cubicBezTo>
                    <a:pt x="1521077" y="4770748"/>
                    <a:pt x="1521077" y="4770748"/>
                    <a:pt x="1481374" y="4706102"/>
                  </a:cubicBezTo>
                  <a:close/>
                  <a:moveTo>
                    <a:pt x="1179319" y="4704518"/>
                  </a:moveTo>
                  <a:cubicBezTo>
                    <a:pt x="1145016" y="4704518"/>
                    <a:pt x="1104043" y="4706102"/>
                    <a:pt x="1081492" y="4712123"/>
                  </a:cubicBezTo>
                  <a:cubicBezTo>
                    <a:pt x="1081492" y="4712123"/>
                    <a:pt x="1081492" y="4712123"/>
                    <a:pt x="1080539" y="4712440"/>
                  </a:cubicBezTo>
                  <a:cubicBezTo>
                    <a:pt x="1080539" y="4712440"/>
                    <a:pt x="1080539" y="4712440"/>
                    <a:pt x="1079587" y="4712440"/>
                  </a:cubicBezTo>
                  <a:cubicBezTo>
                    <a:pt x="1079587" y="4712440"/>
                    <a:pt x="1079269" y="4712440"/>
                    <a:pt x="1078316" y="4712440"/>
                  </a:cubicBezTo>
                  <a:cubicBezTo>
                    <a:pt x="1073234" y="4713074"/>
                    <a:pt x="1056718" y="4715926"/>
                    <a:pt x="1035755" y="4726383"/>
                  </a:cubicBezTo>
                  <a:cubicBezTo>
                    <a:pt x="1035755" y="4726383"/>
                    <a:pt x="1035755" y="4726383"/>
                    <a:pt x="1118971" y="4762192"/>
                  </a:cubicBezTo>
                  <a:cubicBezTo>
                    <a:pt x="1118971" y="4762192"/>
                    <a:pt x="1118971" y="4762192"/>
                    <a:pt x="1122465" y="4768846"/>
                  </a:cubicBezTo>
                  <a:cubicBezTo>
                    <a:pt x="1122465" y="4768846"/>
                    <a:pt x="1122465" y="4768846"/>
                    <a:pt x="1158356" y="4747932"/>
                  </a:cubicBezTo>
                  <a:cubicBezTo>
                    <a:pt x="1158356" y="4747932"/>
                    <a:pt x="1158356" y="4747932"/>
                    <a:pt x="1174872" y="4776768"/>
                  </a:cubicBezTo>
                  <a:cubicBezTo>
                    <a:pt x="1174872" y="4776768"/>
                    <a:pt x="1174872" y="4776768"/>
                    <a:pt x="1137076" y="4798317"/>
                  </a:cubicBezTo>
                  <a:cubicBezTo>
                    <a:pt x="1137076" y="4798317"/>
                    <a:pt x="1137076" y="4798317"/>
                    <a:pt x="1139934" y="4803704"/>
                  </a:cubicBezTo>
                  <a:cubicBezTo>
                    <a:pt x="1139934" y="4803704"/>
                    <a:pt x="1139934" y="4803704"/>
                    <a:pt x="1144698" y="4811943"/>
                  </a:cubicBezTo>
                  <a:cubicBezTo>
                    <a:pt x="1144698" y="4811943"/>
                    <a:pt x="1144698" y="4811943"/>
                    <a:pt x="1144063" y="4812260"/>
                  </a:cubicBezTo>
                  <a:cubicBezTo>
                    <a:pt x="1144063" y="4812260"/>
                    <a:pt x="1144063" y="4812260"/>
                    <a:pt x="1145334" y="4814795"/>
                  </a:cubicBezTo>
                  <a:cubicBezTo>
                    <a:pt x="1145334" y="4814795"/>
                    <a:pt x="1145334" y="4814795"/>
                    <a:pt x="1256818" y="4752685"/>
                  </a:cubicBezTo>
                  <a:cubicBezTo>
                    <a:pt x="1256818" y="4752685"/>
                    <a:pt x="1256818" y="4752685"/>
                    <a:pt x="1237443" y="4705786"/>
                  </a:cubicBezTo>
                  <a:cubicBezTo>
                    <a:pt x="1226962" y="4705469"/>
                    <a:pt x="1204728" y="4704518"/>
                    <a:pt x="1179319" y="4704518"/>
                  </a:cubicBezTo>
                  <a:close/>
                  <a:moveTo>
                    <a:pt x="1728482" y="4700399"/>
                  </a:moveTo>
                  <a:cubicBezTo>
                    <a:pt x="1728482" y="4700399"/>
                    <a:pt x="1728482" y="4700399"/>
                    <a:pt x="1605246" y="4788493"/>
                  </a:cubicBezTo>
                  <a:cubicBezTo>
                    <a:pt x="1604928" y="4788810"/>
                    <a:pt x="1571578" y="4806873"/>
                    <a:pt x="1530605" y="4830006"/>
                  </a:cubicBezTo>
                  <a:cubicBezTo>
                    <a:pt x="1530605" y="4830639"/>
                    <a:pt x="1533464" y="4842364"/>
                    <a:pt x="1536640" y="4854089"/>
                  </a:cubicBezTo>
                  <a:cubicBezTo>
                    <a:pt x="1538228" y="4860110"/>
                    <a:pt x="1539816" y="4866131"/>
                    <a:pt x="1541087" y="4870884"/>
                  </a:cubicBezTo>
                  <a:cubicBezTo>
                    <a:pt x="1541722" y="4873102"/>
                    <a:pt x="1542357" y="4875004"/>
                    <a:pt x="1542992" y="4875954"/>
                  </a:cubicBezTo>
                  <a:cubicBezTo>
                    <a:pt x="1542992" y="4876588"/>
                    <a:pt x="1543310" y="4876905"/>
                    <a:pt x="1543310" y="4877222"/>
                  </a:cubicBezTo>
                  <a:cubicBezTo>
                    <a:pt x="1543945" y="4877539"/>
                    <a:pt x="1544263" y="4878490"/>
                    <a:pt x="1544263" y="4879123"/>
                  </a:cubicBezTo>
                  <a:cubicBezTo>
                    <a:pt x="1543945" y="4881025"/>
                    <a:pt x="1543628" y="4880391"/>
                    <a:pt x="1543310" y="4880708"/>
                  </a:cubicBezTo>
                  <a:cubicBezTo>
                    <a:pt x="1539499" y="4884193"/>
                    <a:pt x="1493126" y="4912713"/>
                    <a:pt x="1484551" y="4917784"/>
                  </a:cubicBezTo>
                  <a:cubicBezTo>
                    <a:pt x="1484551" y="4917784"/>
                    <a:pt x="1484551" y="4917784"/>
                    <a:pt x="1502337" y="5012216"/>
                  </a:cubicBezTo>
                  <a:lnTo>
                    <a:pt x="1533782" y="5018871"/>
                  </a:lnTo>
                  <a:cubicBezTo>
                    <a:pt x="1533782" y="5018871"/>
                    <a:pt x="1533782" y="5018871"/>
                    <a:pt x="1530923" y="5100628"/>
                  </a:cubicBezTo>
                  <a:cubicBezTo>
                    <a:pt x="1530923" y="5100628"/>
                    <a:pt x="1530923" y="5100628"/>
                    <a:pt x="1621762" y="5099994"/>
                  </a:cubicBezTo>
                  <a:cubicBezTo>
                    <a:pt x="1621762" y="5099994"/>
                    <a:pt x="1621762" y="5099994"/>
                    <a:pt x="1629067" y="4961831"/>
                  </a:cubicBezTo>
                  <a:cubicBezTo>
                    <a:pt x="1629067" y="4961831"/>
                    <a:pt x="1629067" y="4961831"/>
                    <a:pt x="1630655" y="4961197"/>
                  </a:cubicBezTo>
                  <a:cubicBezTo>
                    <a:pt x="1630655" y="4961197"/>
                    <a:pt x="1689097" y="4943768"/>
                    <a:pt x="1744045" y="4927290"/>
                  </a:cubicBezTo>
                  <a:cubicBezTo>
                    <a:pt x="1744045" y="4927290"/>
                    <a:pt x="1744045" y="4927290"/>
                    <a:pt x="1744045" y="4809408"/>
                  </a:cubicBezTo>
                  <a:cubicBezTo>
                    <a:pt x="1744045" y="4809408"/>
                    <a:pt x="1744045" y="4809408"/>
                    <a:pt x="1728482" y="4700399"/>
                  </a:cubicBezTo>
                  <a:close/>
                  <a:moveTo>
                    <a:pt x="1482963" y="4700082"/>
                  </a:moveTo>
                  <a:lnTo>
                    <a:pt x="1484233" y="4701983"/>
                  </a:lnTo>
                  <a:cubicBezTo>
                    <a:pt x="1484233" y="4701983"/>
                    <a:pt x="1484233" y="4701983"/>
                    <a:pt x="1527747" y="4772332"/>
                  </a:cubicBezTo>
                  <a:cubicBezTo>
                    <a:pt x="1527747" y="4772332"/>
                    <a:pt x="1527747" y="4772332"/>
                    <a:pt x="1471528" y="4802120"/>
                  </a:cubicBezTo>
                  <a:cubicBezTo>
                    <a:pt x="1471528" y="4802120"/>
                    <a:pt x="1471528" y="4802120"/>
                    <a:pt x="1427379" y="4728602"/>
                  </a:cubicBezTo>
                  <a:cubicBezTo>
                    <a:pt x="1427379" y="4728602"/>
                    <a:pt x="1427379" y="4728602"/>
                    <a:pt x="1482963" y="4700082"/>
                  </a:cubicBezTo>
                  <a:close/>
                  <a:moveTo>
                    <a:pt x="570126" y="4700082"/>
                  </a:moveTo>
                  <a:cubicBezTo>
                    <a:pt x="559327" y="4722581"/>
                    <a:pt x="548846" y="4744763"/>
                    <a:pt x="539635" y="4763776"/>
                  </a:cubicBezTo>
                  <a:cubicBezTo>
                    <a:pt x="539635" y="4763776"/>
                    <a:pt x="539635" y="4763776"/>
                    <a:pt x="571714" y="4786592"/>
                  </a:cubicBezTo>
                  <a:cubicBezTo>
                    <a:pt x="582831" y="4763459"/>
                    <a:pt x="595853" y="4735890"/>
                    <a:pt x="608240" y="4709905"/>
                  </a:cubicBezTo>
                  <a:cubicBezTo>
                    <a:pt x="608240" y="4709905"/>
                    <a:pt x="608240" y="4709905"/>
                    <a:pt x="570126" y="4700082"/>
                  </a:cubicBezTo>
                  <a:close/>
                  <a:moveTo>
                    <a:pt x="330959" y="4698497"/>
                  </a:moveTo>
                  <a:cubicBezTo>
                    <a:pt x="330959" y="4698497"/>
                    <a:pt x="330959" y="4698497"/>
                    <a:pt x="300468" y="4735573"/>
                  </a:cubicBezTo>
                  <a:cubicBezTo>
                    <a:pt x="300468" y="4735573"/>
                    <a:pt x="300468" y="4735573"/>
                    <a:pt x="314761" y="4774233"/>
                  </a:cubicBezTo>
                  <a:cubicBezTo>
                    <a:pt x="314761" y="4774233"/>
                    <a:pt x="314761" y="4774233"/>
                    <a:pt x="294115" y="4851871"/>
                  </a:cubicBezTo>
                  <a:cubicBezTo>
                    <a:pt x="294115" y="4851871"/>
                    <a:pt x="294115" y="4851871"/>
                    <a:pt x="295386" y="4850286"/>
                  </a:cubicBezTo>
                  <a:cubicBezTo>
                    <a:pt x="295386" y="4850286"/>
                    <a:pt x="295386" y="4850286"/>
                    <a:pt x="380508" y="4925072"/>
                  </a:cubicBezTo>
                  <a:cubicBezTo>
                    <a:pt x="380508" y="4925072"/>
                    <a:pt x="380508" y="4925072"/>
                    <a:pt x="477381" y="4807507"/>
                  </a:cubicBezTo>
                  <a:cubicBezTo>
                    <a:pt x="400835" y="4750467"/>
                    <a:pt x="331912" y="4699131"/>
                    <a:pt x="330959" y="4698497"/>
                  </a:cubicBezTo>
                  <a:close/>
                  <a:moveTo>
                    <a:pt x="440855" y="4697230"/>
                  </a:moveTo>
                  <a:cubicBezTo>
                    <a:pt x="439585" y="4699765"/>
                    <a:pt x="438314" y="4702300"/>
                    <a:pt x="437361" y="4704518"/>
                  </a:cubicBezTo>
                  <a:cubicBezTo>
                    <a:pt x="432597" y="4714025"/>
                    <a:pt x="429103" y="4722264"/>
                    <a:pt x="425927" y="4728602"/>
                  </a:cubicBezTo>
                  <a:cubicBezTo>
                    <a:pt x="425927" y="4728602"/>
                    <a:pt x="425927" y="4728602"/>
                    <a:pt x="444984" y="4741911"/>
                  </a:cubicBezTo>
                  <a:cubicBezTo>
                    <a:pt x="444984" y="4741911"/>
                    <a:pt x="444984" y="4741911"/>
                    <a:pt x="464359" y="4714342"/>
                  </a:cubicBezTo>
                  <a:cubicBezTo>
                    <a:pt x="464359" y="4714342"/>
                    <a:pt x="464359" y="4714342"/>
                    <a:pt x="440855" y="4697230"/>
                  </a:cubicBezTo>
                  <a:close/>
                  <a:moveTo>
                    <a:pt x="1887609" y="4692159"/>
                  </a:moveTo>
                  <a:cubicBezTo>
                    <a:pt x="1887609" y="4692159"/>
                    <a:pt x="1887609" y="4692159"/>
                    <a:pt x="1887927" y="4732087"/>
                  </a:cubicBezTo>
                  <a:cubicBezTo>
                    <a:pt x="1887927" y="4732087"/>
                    <a:pt x="1887927" y="4732087"/>
                    <a:pt x="1902219" y="4731770"/>
                  </a:cubicBezTo>
                  <a:cubicBezTo>
                    <a:pt x="1902219" y="4731770"/>
                    <a:pt x="1902219" y="4731770"/>
                    <a:pt x="1901902" y="4692159"/>
                  </a:cubicBezTo>
                  <a:close/>
                  <a:moveTo>
                    <a:pt x="2284632" y="4691843"/>
                  </a:moveTo>
                  <a:cubicBezTo>
                    <a:pt x="2284315" y="4701349"/>
                    <a:pt x="2284315" y="4711806"/>
                    <a:pt x="2284315" y="4722581"/>
                  </a:cubicBezTo>
                  <a:cubicBezTo>
                    <a:pt x="2284315" y="4722581"/>
                    <a:pt x="2284315" y="4722581"/>
                    <a:pt x="2401198" y="4745080"/>
                  </a:cubicBezTo>
                  <a:cubicBezTo>
                    <a:pt x="2401198" y="4745080"/>
                    <a:pt x="2401198" y="4745080"/>
                    <a:pt x="2405328" y="4718144"/>
                  </a:cubicBezTo>
                  <a:lnTo>
                    <a:pt x="2405963" y="4718144"/>
                  </a:lnTo>
                  <a:cubicBezTo>
                    <a:pt x="2394528" y="4715609"/>
                    <a:pt x="2382776" y="4713074"/>
                    <a:pt x="2370707" y="4710539"/>
                  </a:cubicBezTo>
                  <a:cubicBezTo>
                    <a:pt x="2331322" y="4701983"/>
                    <a:pt x="2292255" y="4693427"/>
                    <a:pt x="2284632" y="4691843"/>
                  </a:cubicBezTo>
                  <a:close/>
                  <a:moveTo>
                    <a:pt x="708925" y="4689941"/>
                  </a:moveTo>
                  <a:lnTo>
                    <a:pt x="683516" y="4719095"/>
                  </a:lnTo>
                  <a:cubicBezTo>
                    <a:pt x="683516" y="4719095"/>
                    <a:pt x="683516" y="4719095"/>
                    <a:pt x="702255" y="4735573"/>
                  </a:cubicBezTo>
                  <a:cubicBezTo>
                    <a:pt x="702255" y="4735573"/>
                    <a:pt x="702255" y="4735573"/>
                    <a:pt x="727665" y="4706419"/>
                  </a:cubicBezTo>
                  <a:cubicBezTo>
                    <a:pt x="727665" y="4706419"/>
                    <a:pt x="727665" y="4706419"/>
                    <a:pt x="708925" y="4689941"/>
                  </a:cubicBezTo>
                  <a:close/>
                  <a:moveTo>
                    <a:pt x="1883480" y="4688040"/>
                  </a:moveTo>
                  <a:cubicBezTo>
                    <a:pt x="1883480" y="4688040"/>
                    <a:pt x="1883480" y="4688040"/>
                    <a:pt x="1906031" y="4688040"/>
                  </a:cubicBezTo>
                  <a:cubicBezTo>
                    <a:pt x="1906031" y="4688040"/>
                    <a:pt x="1906031" y="4688040"/>
                    <a:pt x="1906031" y="4689941"/>
                  </a:cubicBezTo>
                  <a:cubicBezTo>
                    <a:pt x="1906031" y="4689941"/>
                    <a:pt x="1906031" y="4689941"/>
                    <a:pt x="1906348" y="4735890"/>
                  </a:cubicBezTo>
                  <a:cubicBezTo>
                    <a:pt x="1906348" y="4735890"/>
                    <a:pt x="1906348" y="4735890"/>
                    <a:pt x="1887609" y="4736207"/>
                  </a:cubicBezTo>
                  <a:cubicBezTo>
                    <a:pt x="1887609" y="4736207"/>
                    <a:pt x="1887609" y="4736207"/>
                    <a:pt x="1887927" y="4777402"/>
                  </a:cubicBezTo>
                  <a:cubicBezTo>
                    <a:pt x="1887927" y="4777402"/>
                    <a:pt x="1887927" y="4777402"/>
                    <a:pt x="1865376" y="4777402"/>
                  </a:cubicBezTo>
                  <a:lnTo>
                    <a:pt x="1865058" y="4729552"/>
                  </a:lnTo>
                  <a:cubicBezTo>
                    <a:pt x="1865058" y="4729552"/>
                    <a:pt x="1865058" y="4729552"/>
                    <a:pt x="1883798" y="4729235"/>
                  </a:cubicBezTo>
                  <a:cubicBezTo>
                    <a:pt x="1883798" y="4729235"/>
                    <a:pt x="1883798" y="4729235"/>
                    <a:pt x="1883480" y="4688040"/>
                  </a:cubicBezTo>
                  <a:close/>
                  <a:moveTo>
                    <a:pt x="708608" y="4684237"/>
                  </a:moveTo>
                  <a:cubicBezTo>
                    <a:pt x="708608" y="4684237"/>
                    <a:pt x="708608" y="4684237"/>
                    <a:pt x="733382" y="4705786"/>
                  </a:cubicBezTo>
                  <a:cubicBezTo>
                    <a:pt x="733382" y="4705786"/>
                    <a:pt x="733382" y="4705786"/>
                    <a:pt x="702573" y="4741277"/>
                  </a:cubicBezTo>
                  <a:lnTo>
                    <a:pt x="701303" y="4740009"/>
                  </a:lnTo>
                  <a:cubicBezTo>
                    <a:pt x="701303" y="4740009"/>
                    <a:pt x="701303" y="4740009"/>
                    <a:pt x="677799" y="4719729"/>
                  </a:cubicBezTo>
                  <a:cubicBezTo>
                    <a:pt x="677799" y="4719729"/>
                    <a:pt x="677799" y="4719729"/>
                    <a:pt x="708608" y="4684237"/>
                  </a:cubicBezTo>
                  <a:close/>
                  <a:moveTo>
                    <a:pt x="257907" y="4682336"/>
                  </a:moveTo>
                  <a:lnTo>
                    <a:pt x="248061" y="4721947"/>
                  </a:lnTo>
                  <a:cubicBezTo>
                    <a:pt x="248061" y="4721947"/>
                    <a:pt x="248061" y="4721947"/>
                    <a:pt x="271882" y="4693744"/>
                  </a:cubicBezTo>
                  <a:cubicBezTo>
                    <a:pt x="271882" y="4693744"/>
                    <a:pt x="271882" y="4693744"/>
                    <a:pt x="257907" y="4682336"/>
                  </a:cubicBezTo>
                  <a:close/>
                  <a:moveTo>
                    <a:pt x="418939" y="4681385"/>
                  </a:moveTo>
                  <a:cubicBezTo>
                    <a:pt x="418939" y="4681385"/>
                    <a:pt x="418939" y="4681385"/>
                    <a:pt x="398294" y="4708954"/>
                  </a:cubicBezTo>
                  <a:lnTo>
                    <a:pt x="422433" y="4726066"/>
                  </a:lnTo>
                  <a:cubicBezTo>
                    <a:pt x="425927" y="4717827"/>
                    <a:pt x="431009" y="4707053"/>
                    <a:pt x="437044" y="4694695"/>
                  </a:cubicBezTo>
                  <a:cubicBezTo>
                    <a:pt x="437044" y="4694695"/>
                    <a:pt x="437044" y="4694695"/>
                    <a:pt x="418939" y="4681385"/>
                  </a:cubicBezTo>
                  <a:close/>
                  <a:moveTo>
                    <a:pt x="2418350" y="4676315"/>
                  </a:moveTo>
                  <a:cubicBezTo>
                    <a:pt x="2418350" y="4676315"/>
                    <a:pt x="2418350" y="4676315"/>
                    <a:pt x="2413903" y="4706419"/>
                  </a:cubicBezTo>
                  <a:cubicBezTo>
                    <a:pt x="2413903" y="4706419"/>
                    <a:pt x="2413903" y="4706419"/>
                    <a:pt x="2432643" y="4709271"/>
                  </a:cubicBezTo>
                  <a:cubicBezTo>
                    <a:pt x="2432643" y="4709271"/>
                    <a:pt x="2432643" y="4709271"/>
                    <a:pt x="2434866" y="4694695"/>
                  </a:cubicBezTo>
                  <a:cubicBezTo>
                    <a:pt x="2434866" y="4694695"/>
                    <a:pt x="2434866" y="4694695"/>
                    <a:pt x="2448524" y="4696596"/>
                  </a:cubicBezTo>
                  <a:cubicBezTo>
                    <a:pt x="2448524" y="4696596"/>
                    <a:pt x="2448524" y="4696596"/>
                    <a:pt x="2450747" y="4682336"/>
                  </a:cubicBezTo>
                  <a:cubicBezTo>
                    <a:pt x="2441854" y="4680751"/>
                    <a:pt x="2430737" y="4678533"/>
                    <a:pt x="2418350" y="4676315"/>
                  </a:cubicBezTo>
                  <a:close/>
                  <a:moveTo>
                    <a:pt x="255048" y="4674097"/>
                  </a:moveTo>
                  <a:cubicBezTo>
                    <a:pt x="255048" y="4674097"/>
                    <a:pt x="255048" y="4674097"/>
                    <a:pt x="260765" y="4678850"/>
                  </a:cubicBezTo>
                  <a:cubicBezTo>
                    <a:pt x="260765" y="4678850"/>
                    <a:pt x="260765" y="4678850"/>
                    <a:pt x="274741" y="4690575"/>
                  </a:cubicBezTo>
                  <a:cubicBezTo>
                    <a:pt x="274741" y="4690575"/>
                    <a:pt x="274741" y="4690575"/>
                    <a:pt x="277917" y="4693427"/>
                  </a:cubicBezTo>
                  <a:cubicBezTo>
                    <a:pt x="277917" y="4693427"/>
                    <a:pt x="277917" y="4693427"/>
                    <a:pt x="275058" y="4696596"/>
                  </a:cubicBezTo>
                  <a:lnTo>
                    <a:pt x="251554" y="4724799"/>
                  </a:lnTo>
                  <a:cubicBezTo>
                    <a:pt x="251554" y="4724799"/>
                    <a:pt x="251554" y="4724799"/>
                    <a:pt x="243614" y="4720679"/>
                  </a:cubicBezTo>
                  <a:cubicBezTo>
                    <a:pt x="243614" y="4720679"/>
                    <a:pt x="243614" y="4720679"/>
                    <a:pt x="253460" y="4681068"/>
                  </a:cubicBezTo>
                  <a:cubicBezTo>
                    <a:pt x="253460" y="4681068"/>
                    <a:pt x="253460" y="4681068"/>
                    <a:pt x="255048" y="4674097"/>
                  </a:cubicBezTo>
                  <a:close/>
                  <a:moveTo>
                    <a:pt x="2116612" y="4663640"/>
                  </a:moveTo>
                  <a:cubicBezTo>
                    <a:pt x="2116612" y="4663640"/>
                    <a:pt x="2116612" y="4663640"/>
                    <a:pt x="2116930" y="4703250"/>
                  </a:cubicBezTo>
                  <a:cubicBezTo>
                    <a:pt x="2116930" y="4703250"/>
                    <a:pt x="2116930" y="4703250"/>
                    <a:pt x="2130905" y="4703250"/>
                  </a:cubicBezTo>
                  <a:cubicBezTo>
                    <a:pt x="2130905" y="4703250"/>
                    <a:pt x="2130905" y="4703250"/>
                    <a:pt x="2130587" y="4663640"/>
                  </a:cubicBezTo>
                  <a:close/>
                  <a:moveTo>
                    <a:pt x="2221744" y="4663006"/>
                  </a:moveTo>
                  <a:cubicBezTo>
                    <a:pt x="2221744" y="4663006"/>
                    <a:pt x="2221744" y="4663006"/>
                    <a:pt x="2211262" y="4663323"/>
                  </a:cubicBezTo>
                  <a:lnTo>
                    <a:pt x="2211580" y="4676949"/>
                  </a:lnTo>
                  <a:cubicBezTo>
                    <a:pt x="2211580" y="4676949"/>
                    <a:pt x="2211580" y="4676949"/>
                    <a:pt x="2196652" y="4677266"/>
                  </a:cubicBezTo>
                  <a:cubicBezTo>
                    <a:pt x="2196652" y="4677266"/>
                    <a:pt x="2196652" y="4677266"/>
                    <a:pt x="2196970" y="4696279"/>
                  </a:cubicBezTo>
                  <a:cubicBezTo>
                    <a:pt x="2196970" y="4696279"/>
                    <a:pt x="2196970" y="4696279"/>
                    <a:pt x="2223332" y="4695645"/>
                  </a:cubicBezTo>
                  <a:cubicBezTo>
                    <a:pt x="2223332" y="4695645"/>
                    <a:pt x="2223332" y="4695645"/>
                    <a:pt x="2221744" y="4663006"/>
                  </a:cubicBezTo>
                  <a:close/>
                  <a:moveTo>
                    <a:pt x="2239848" y="4662689"/>
                  </a:moveTo>
                  <a:cubicBezTo>
                    <a:pt x="2239848" y="4662689"/>
                    <a:pt x="2239848" y="4662689"/>
                    <a:pt x="2226190" y="4663006"/>
                  </a:cubicBezTo>
                  <a:lnTo>
                    <a:pt x="2227778" y="4695645"/>
                  </a:lnTo>
                  <a:cubicBezTo>
                    <a:pt x="2227778" y="4695645"/>
                    <a:pt x="2227778" y="4695645"/>
                    <a:pt x="2255729" y="4695011"/>
                  </a:cubicBezTo>
                  <a:cubicBezTo>
                    <a:pt x="2255729" y="4695011"/>
                    <a:pt x="2255729" y="4695011"/>
                    <a:pt x="2255094" y="4675998"/>
                  </a:cubicBezTo>
                  <a:cubicBezTo>
                    <a:pt x="2255094" y="4675998"/>
                    <a:pt x="2255094" y="4675998"/>
                    <a:pt x="2240166" y="4676315"/>
                  </a:cubicBezTo>
                  <a:cubicBezTo>
                    <a:pt x="2240166" y="4676315"/>
                    <a:pt x="2240166" y="4676315"/>
                    <a:pt x="2239848" y="4662689"/>
                  </a:cubicBezTo>
                  <a:close/>
                  <a:moveTo>
                    <a:pt x="2036890" y="4660471"/>
                  </a:moveTo>
                  <a:cubicBezTo>
                    <a:pt x="2036890" y="4660471"/>
                    <a:pt x="2036890" y="4660471"/>
                    <a:pt x="2036890" y="4681068"/>
                  </a:cubicBezTo>
                  <a:cubicBezTo>
                    <a:pt x="2036890" y="4681068"/>
                    <a:pt x="2036890" y="4681068"/>
                    <a:pt x="2052453" y="4681068"/>
                  </a:cubicBezTo>
                  <a:lnTo>
                    <a:pt x="2052453" y="4660471"/>
                  </a:lnTo>
                  <a:cubicBezTo>
                    <a:pt x="2052453" y="4660471"/>
                    <a:pt x="2052453" y="4660471"/>
                    <a:pt x="2036890" y="4660471"/>
                  </a:cubicBezTo>
                  <a:close/>
                  <a:moveTo>
                    <a:pt x="2112483" y="4659520"/>
                  </a:moveTo>
                  <a:cubicBezTo>
                    <a:pt x="2112483" y="4659520"/>
                    <a:pt x="2112483" y="4659520"/>
                    <a:pt x="2134716" y="4659520"/>
                  </a:cubicBezTo>
                  <a:cubicBezTo>
                    <a:pt x="2134716" y="4659520"/>
                    <a:pt x="2134716" y="4659520"/>
                    <a:pt x="2134716" y="4661421"/>
                  </a:cubicBezTo>
                  <a:cubicBezTo>
                    <a:pt x="2134716" y="4661421"/>
                    <a:pt x="2134716" y="4661421"/>
                    <a:pt x="2135352" y="4707370"/>
                  </a:cubicBezTo>
                  <a:lnTo>
                    <a:pt x="2112800" y="4707687"/>
                  </a:lnTo>
                  <a:cubicBezTo>
                    <a:pt x="2112800" y="4707687"/>
                    <a:pt x="2112800" y="4707687"/>
                    <a:pt x="2112483" y="4659520"/>
                  </a:cubicBezTo>
                  <a:close/>
                  <a:moveTo>
                    <a:pt x="1961296" y="4658886"/>
                  </a:moveTo>
                  <a:cubicBezTo>
                    <a:pt x="1961296" y="4658886"/>
                    <a:pt x="1961296" y="4658886"/>
                    <a:pt x="1961296" y="4679484"/>
                  </a:cubicBezTo>
                  <a:cubicBezTo>
                    <a:pt x="1961296" y="4679484"/>
                    <a:pt x="1961296" y="4679484"/>
                    <a:pt x="1977177" y="4679484"/>
                  </a:cubicBezTo>
                  <a:lnTo>
                    <a:pt x="1977177" y="4658886"/>
                  </a:lnTo>
                  <a:cubicBezTo>
                    <a:pt x="1977177" y="4658886"/>
                    <a:pt x="1977177" y="4658886"/>
                    <a:pt x="1961296" y="4658886"/>
                  </a:cubicBezTo>
                  <a:close/>
                  <a:moveTo>
                    <a:pt x="2032760" y="4656351"/>
                  </a:moveTo>
                  <a:cubicBezTo>
                    <a:pt x="2032760" y="4656351"/>
                    <a:pt x="2032760" y="4656351"/>
                    <a:pt x="2056582" y="4656351"/>
                  </a:cubicBezTo>
                  <a:lnTo>
                    <a:pt x="2056582" y="4685188"/>
                  </a:lnTo>
                  <a:cubicBezTo>
                    <a:pt x="2056582" y="4685188"/>
                    <a:pt x="2056582" y="4685188"/>
                    <a:pt x="2032760" y="4685188"/>
                  </a:cubicBezTo>
                  <a:cubicBezTo>
                    <a:pt x="2032760" y="4685188"/>
                    <a:pt x="2032760" y="4685188"/>
                    <a:pt x="2032760" y="4683287"/>
                  </a:cubicBezTo>
                  <a:cubicBezTo>
                    <a:pt x="2032760" y="4683287"/>
                    <a:pt x="2032760" y="4683287"/>
                    <a:pt x="2032760" y="4656351"/>
                  </a:cubicBezTo>
                  <a:close/>
                  <a:moveTo>
                    <a:pt x="1495350" y="4656034"/>
                  </a:moveTo>
                  <a:cubicBezTo>
                    <a:pt x="1495350" y="4656034"/>
                    <a:pt x="1495350" y="4656034"/>
                    <a:pt x="1380689" y="4720046"/>
                  </a:cubicBezTo>
                  <a:cubicBezTo>
                    <a:pt x="1380689" y="4720046"/>
                    <a:pt x="1380689" y="4720046"/>
                    <a:pt x="1456600" y="4852188"/>
                  </a:cubicBezTo>
                  <a:lnTo>
                    <a:pt x="1579836" y="4782472"/>
                  </a:lnTo>
                  <a:cubicBezTo>
                    <a:pt x="1579836" y="4782472"/>
                    <a:pt x="1579836" y="4782472"/>
                    <a:pt x="1495350" y="4656034"/>
                  </a:cubicBezTo>
                  <a:close/>
                  <a:moveTo>
                    <a:pt x="1957167" y="4654767"/>
                  </a:moveTo>
                  <a:cubicBezTo>
                    <a:pt x="1957167" y="4654767"/>
                    <a:pt x="1957167" y="4654767"/>
                    <a:pt x="1981306" y="4654767"/>
                  </a:cubicBezTo>
                  <a:lnTo>
                    <a:pt x="1981306" y="4683603"/>
                  </a:lnTo>
                  <a:cubicBezTo>
                    <a:pt x="1981306" y="4683603"/>
                    <a:pt x="1981306" y="4683603"/>
                    <a:pt x="1957167" y="4683603"/>
                  </a:cubicBezTo>
                  <a:cubicBezTo>
                    <a:pt x="1957167" y="4683603"/>
                    <a:pt x="1957167" y="4683603"/>
                    <a:pt x="1957167" y="4681385"/>
                  </a:cubicBezTo>
                  <a:cubicBezTo>
                    <a:pt x="1957167" y="4681385"/>
                    <a:pt x="1957167" y="4681385"/>
                    <a:pt x="1957167" y="4654767"/>
                  </a:cubicBezTo>
                  <a:close/>
                  <a:moveTo>
                    <a:pt x="2284632" y="4651598"/>
                  </a:moveTo>
                  <a:cubicBezTo>
                    <a:pt x="2284632" y="4653816"/>
                    <a:pt x="2284632" y="4656668"/>
                    <a:pt x="2284632" y="4659837"/>
                  </a:cubicBezTo>
                  <a:cubicBezTo>
                    <a:pt x="2284632" y="4667442"/>
                    <a:pt x="2284632" y="4676949"/>
                    <a:pt x="2284632" y="4687406"/>
                  </a:cubicBezTo>
                  <a:cubicBezTo>
                    <a:pt x="2289714" y="4688357"/>
                    <a:pt x="2331005" y="4697230"/>
                    <a:pt x="2372613" y="4706419"/>
                  </a:cubicBezTo>
                  <a:cubicBezTo>
                    <a:pt x="2394846" y="4711173"/>
                    <a:pt x="2417079" y="4716243"/>
                    <a:pt x="2433913" y="4719729"/>
                  </a:cubicBezTo>
                  <a:cubicBezTo>
                    <a:pt x="2442171" y="4721630"/>
                    <a:pt x="2449476" y="4723214"/>
                    <a:pt x="2454241" y="4724165"/>
                  </a:cubicBezTo>
                  <a:cubicBezTo>
                    <a:pt x="2454558" y="4724165"/>
                    <a:pt x="2454558" y="4724165"/>
                    <a:pt x="2454558" y="4724482"/>
                  </a:cubicBezTo>
                  <a:cubicBezTo>
                    <a:pt x="2454558" y="4724482"/>
                    <a:pt x="2454558" y="4724482"/>
                    <a:pt x="2461228" y="4684237"/>
                  </a:cubicBezTo>
                  <a:cubicBezTo>
                    <a:pt x="2459323" y="4683920"/>
                    <a:pt x="2457099" y="4683287"/>
                    <a:pt x="2454876" y="4682970"/>
                  </a:cubicBezTo>
                  <a:cubicBezTo>
                    <a:pt x="2454876" y="4682970"/>
                    <a:pt x="2454876" y="4682970"/>
                    <a:pt x="2452018" y="4701349"/>
                  </a:cubicBezTo>
                  <a:cubicBezTo>
                    <a:pt x="2452018" y="4701349"/>
                    <a:pt x="2452018" y="4701349"/>
                    <a:pt x="2438360" y="4699448"/>
                  </a:cubicBezTo>
                  <a:cubicBezTo>
                    <a:pt x="2438360" y="4699448"/>
                    <a:pt x="2438360" y="4699448"/>
                    <a:pt x="2436136" y="4714025"/>
                  </a:cubicBezTo>
                  <a:cubicBezTo>
                    <a:pt x="2436136" y="4714025"/>
                    <a:pt x="2436136" y="4714025"/>
                    <a:pt x="2409139" y="4709905"/>
                  </a:cubicBezTo>
                  <a:cubicBezTo>
                    <a:pt x="2409139" y="4709905"/>
                    <a:pt x="2409139" y="4709905"/>
                    <a:pt x="2414221" y="4675681"/>
                  </a:cubicBezTo>
                  <a:cubicBezTo>
                    <a:pt x="2366260" y="4666808"/>
                    <a:pt x="2302419" y="4654767"/>
                    <a:pt x="2284632" y="4651598"/>
                  </a:cubicBezTo>
                  <a:close/>
                  <a:moveTo>
                    <a:pt x="2095332" y="4650330"/>
                  </a:moveTo>
                  <a:cubicBezTo>
                    <a:pt x="2095332" y="4650330"/>
                    <a:pt x="2095332" y="4650330"/>
                    <a:pt x="2103272" y="4853455"/>
                  </a:cubicBezTo>
                  <a:cubicBezTo>
                    <a:pt x="2103272" y="4853455"/>
                    <a:pt x="2103272" y="4853455"/>
                    <a:pt x="2098825" y="4853772"/>
                  </a:cubicBezTo>
                  <a:cubicBezTo>
                    <a:pt x="2098825" y="4853772"/>
                    <a:pt x="2098825" y="4853772"/>
                    <a:pt x="2097555" y="4817647"/>
                  </a:cubicBezTo>
                  <a:cubicBezTo>
                    <a:pt x="2094696" y="4817647"/>
                    <a:pt x="2089614" y="4817647"/>
                    <a:pt x="2081992" y="4817647"/>
                  </a:cubicBezTo>
                  <a:cubicBezTo>
                    <a:pt x="2061664" y="4817647"/>
                    <a:pt x="2027043" y="4817647"/>
                    <a:pt x="1997505" y="4817330"/>
                  </a:cubicBezTo>
                  <a:cubicBezTo>
                    <a:pt x="1982894" y="4817330"/>
                    <a:pt x="1969237" y="4817013"/>
                    <a:pt x="1959391" y="4817013"/>
                  </a:cubicBezTo>
                  <a:cubicBezTo>
                    <a:pt x="1957167" y="4817013"/>
                    <a:pt x="1954944" y="4817013"/>
                    <a:pt x="1953038" y="4817013"/>
                  </a:cubicBezTo>
                  <a:cubicBezTo>
                    <a:pt x="1953038" y="4817013"/>
                    <a:pt x="1953038" y="4817013"/>
                    <a:pt x="1956850" y="4863279"/>
                  </a:cubicBezTo>
                  <a:cubicBezTo>
                    <a:pt x="1956850" y="4863279"/>
                    <a:pt x="1956850" y="4863279"/>
                    <a:pt x="1971142" y="4862328"/>
                  </a:cubicBezTo>
                  <a:cubicBezTo>
                    <a:pt x="1971142" y="4862328"/>
                    <a:pt x="1971142" y="4862328"/>
                    <a:pt x="1971460" y="4844266"/>
                  </a:cubicBezTo>
                  <a:cubicBezTo>
                    <a:pt x="1971460" y="4844266"/>
                    <a:pt x="1971460" y="4844266"/>
                    <a:pt x="1985118" y="4844583"/>
                  </a:cubicBezTo>
                  <a:cubicBezTo>
                    <a:pt x="1985118" y="4844583"/>
                    <a:pt x="1985118" y="4844583"/>
                    <a:pt x="1985435" y="4829689"/>
                  </a:cubicBezTo>
                  <a:cubicBezTo>
                    <a:pt x="1985435" y="4829689"/>
                    <a:pt x="1985435" y="4829689"/>
                    <a:pt x="2012751" y="4830006"/>
                  </a:cubicBezTo>
                  <a:cubicBezTo>
                    <a:pt x="2012751" y="4830006"/>
                    <a:pt x="2012751" y="4830006"/>
                    <a:pt x="2012115" y="4859793"/>
                  </a:cubicBezTo>
                  <a:cubicBezTo>
                    <a:pt x="2012115" y="4859793"/>
                    <a:pt x="2012115" y="4859793"/>
                    <a:pt x="2134081" y="4851554"/>
                  </a:cubicBezTo>
                  <a:cubicBezTo>
                    <a:pt x="2134081" y="4851554"/>
                    <a:pt x="2134081" y="4851554"/>
                    <a:pt x="2132810" y="4802120"/>
                  </a:cubicBezTo>
                  <a:cubicBezTo>
                    <a:pt x="2132810" y="4802120"/>
                    <a:pt x="2132810" y="4802120"/>
                    <a:pt x="2154408" y="4807190"/>
                  </a:cubicBezTo>
                  <a:cubicBezTo>
                    <a:pt x="2153773" y="4805288"/>
                    <a:pt x="2153773" y="4802753"/>
                    <a:pt x="2153456" y="4797683"/>
                  </a:cubicBezTo>
                  <a:cubicBezTo>
                    <a:pt x="2151868" y="4768846"/>
                    <a:pt x="2151868" y="4676315"/>
                    <a:pt x="2151868" y="4650330"/>
                  </a:cubicBezTo>
                  <a:cubicBezTo>
                    <a:pt x="2132810" y="4650330"/>
                    <a:pt x="2113753" y="4650330"/>
                    <a:pt x="2095332" y="4650330"/>
                  </a:cubicBezTo>
                  <a:close/>
                  <a:moveTo>
                    <a:pt x="2016562" y="4650330"/>
                  </a:moveTo>
                  <a:cubicBezTo>
                    <a:pt x="2016562" y="4650330"/>
                    <a:pt x="2016562" y="4650330"/>
                    <a:pt x="2020056" y="4708954"/>
                  </a:cubicBezTo>
                  <a:cubicBezTo>
                    <a:pt x="2020056" y="4708954"/>
                    <a:pt x="2020056" y="4708954"/>
                    <a:pt x="2093426" y="4713074"/>
                  </a:cubicBezTo>
                  <a:lnTo>
                    <a:pt x="2090885" y="4650330"/>
                  </a:lnTo>
                  <a:cubicBezTo>
                    <a:pt x="2064205" y="4650330"/>
                    <a:pt x="2038795" y="4650330"/>
                    <a:pt x="2016562" y="4650330"/>
                  </a:cubicBezTo>
                  <a:close/>
                  <a:moveTo>
                    <a:pt x="2012115" y="4650330"/>
                  </a:moveTo>
                  <a:cubicBezTo>
                    <a:pt x="1977177" y="4650647"/>
                    <a:pt x="1950180" y="4650647"/>
                    <a:pt x="1940016" y="4650647"/>
                  </a:cubicBezTo>
                  <a:cubicBezTo>
                    <a:pt x="1940016" y="4650647"/>
                    <a:pt x="1940016" y="4650647"/>
                    <a:pt x="1944462" y="4704835"/>
                  </a:cubicBezTo>
                  <a:cubicBezTo>
                    <a:pt x="1944462" y="4704835"/>
                    <a:pt x="1944462" y="4704835"/>
                    <a:pt x="2015609" y="4708638"/>
                  </a:cubicBezTo>
                  <a:cubicBezTo>
                    <a:pt x="2015609" y="4708638"/>
                    <a:pt x="2015609" y="4708638"/>
                    <a:pt x="2012115" y="4650330"/>
                  </a:cubicBezTo>
                  <a:close/>
                  <a:moveTo>
                    <a:pt x="1919053" y="4650330"/>
                  </a:moveTo>
                  <a:cubicBezTo>
                    <a:pt x="1902855" y="4660471"/>
                    <a:pt x="1867281" y="4681702"/>
                    <a:pt x="1832026" y="4702934"/>
                  </a:cubicBezTo>
                  <a:cubicBezTo>
                    <a:pt x="1789147" y="4728602"/>
                    <a:pt x="1746904" y="4753636"/>
                    <a:pt x="1741187" y="4757121"/>
                  </a:cubicBezTo>
                  <a:cubicBezTo>
                    <a:pt x="1741187" y="4757121"/>
                    <a:pt x="1741187" y="4757121"/>
                    <a:pt x="1747539" y="4801486"/>
                  </a:cubicBezTo>
                  <a:cubicBezTo>
                    <a:pt x="1747539" y="4801486"/>
                    <a:pt x="1747539" y="4801486"/>
                    <a:pt x="1850765" y="4805288"/>
                  </a:cubicBezTo>
                  <a:cubicBezTo>
                    <a:pt x="1850448" y="4805288"/>
                    <a:pt x="1911748" y="4804338"/>
                    <a:pt x="1931122" y="4804021"/>
                  </a:cubicBezTo>
                  <a:cubicBezTo>
                    <a:pt x="1931122" y="4804021"/>
                    <a:pt x="1931122" y="4804021"/>
                    <a:pt x="1919053" y="4650330"/>
                  </a:cubicBezTo>
                  <a:close/>
                  <a:moveTo>
                    <a:pt x="2221108" y="4650013"/>
                  </a:moveTo>
                  <a:cubicBezTo>
                    <a:pt x="2200463" y="4650013"/>
                    <a:pt x="2178548" y="4650013"/>
                    <a:pt x="2155997" y="4650330"/>
                  </a:cubicBezTo>
                  <a:cubicBezTo>
                    <a:pt x="2156314" y="4663640"/>
                    <a:pt x="2156314" y="4694061"/>
                    <a:pt x="2156314" y="4724799"/>
                  </a:cubicBezTo>
                  <a:cubicBezTo>
                    <a:pt x="2156632" y="4745080"/>
                    <a:pt x="2156950" y="4765361"/>
                    <a:pt x="2157267" y="4780571"/>
                  </a:cubicBezTo>
                  <a:cubicBezTo>
                    <a:pt x="2157267" y="4788493"/>
                    <a:pt x="2157585" y="4794831"/>
                    <a:pt x="2157902" y="4798951"/>
                  </a:cubicBezTo>
                  <a:cubicBezTo>
                    <a:pt x="2157902" y="4801169"/>
                    <a:pt x="2158220" y="4803070"/>
                    <a:pt x="2158220" y="4804021"/>
                  </a:cubicBezTo>
                  <a:cubicBezTo>
                    <a:pt x="2158220" y="4804655"/>
                    <a:pt x="2158538" y="4804972"/>
                    <a:pt x="2158538" y="4805288"/>
                  </a:cubicBezTo>
                  <a:cubicBezTo>
                    <a:pt x="2158538" y="4805288"/>
                    <a:pt x="2158538" y="4805288"/>
                    <a:pt x="2157902" y="4805288"/>
                  </a:cubicBezTo>
                  <a:cubicBezTo>
                    <a:pt x="2157902" y="4805288"/>
                    <a:pt x="2157902" y="4805288"/>
                    <a:pt x="2158220" y="4804972"/>
                  </a:cubicBezTo>
                  <a:cubicBezTo>
                    <a:pt x="2158220" y="4804972"/>
                    <a:pt x="2158220" y="4804972"/>
                    <a:pt x="2156632" y="4805922"/>
                  </a:cubicBezTo>
                  <a:cubicBezTo>
                    <a:pt x="2156632" y="4805922"/>
                    <a:pt x="2156632" y="4805922"/>
                    <a:pt x="2156632" y="4807507"/>
                  </a:cubicBezTo>
                  <a:cubicBezTo>
                    <a:pt x="2156632" y="4807507"/>
                    <a:pt x="2156632" y="4807507"/>
                    <a:pt x="2229049" y="4824302"/>
                  </a:cubicBezTo>
                  <a:lnTo>
                    <a:pt x="2223332" y="4699765"/>
                  </a:lnTo>
                  <a:cubicBezTo>
                    <a:pt x="2223332" y="4699765"/>
                    <a:pt x="2223332" y="4699765"/>
                    <a:pt x="2193158" y="4700715"/>
                  </a:cubicBezTo>
                  <a:cubicBezTo>
                    <a:pt x="2193158" y="4700715"/>
                    <a:pt x="2193158" y="4700715"/>
                    <a:pt x="2193158" y="4698497"/>
                  </a:cubicBezTo>
                  <a:cubicBezTo>
                    <a:pt x="2193158" y="4698497"/>
                    <a:pt x="2193158" y="4698497"/>
                    <a:pt x="2192523" y="4673463"/>
                  </a:cubicBezTo>
                  <a:cubicBezTo>
                    <a:pt x="2192523" y="4673463"/>
                    <a:pt x="2192523" y="4673463"/>
                    <a:pt x="2207133" y="4672829"/>
                  </a:cubicBezTo>
                  <a:cubicBezTo>
                    <a:pt x="2207133" y="4672829"/>
                    <a:pt x="2207133" y="4672829"/>
                    <a:pt x="2206816" y="4659203"/>
                  </a:cubicBezTo>
                  <a:cubicBezTo>
                    <a:pt x="2206816" y="4659203"/>
                    <a:pt x="2206816" y="4659203"/>
                    <a:pt x="2221744" y="4658886"/>
                  </a:cubicBezTo>
                  <a:cubicBezTo>
                    <a:pt x="2221744" y="4658886"/>
                    <a:pt x="2221744" y="4658886"/>
                    <a:pt x="2221108" y="4650013"/>
                  </a:cubicBezTo>
                  <a:close/>
                  <a:moveTo>
                    <a:pt x="2279868" y="4649696"/>
                  </a:moveTo>
                  <a:cubicBezTo>
                    <a:pt x="2263670" y="4649696"/>
                    <a:pt x="2245248" y="4650013"/>
                    <a:pt x="2225555" y="4650013"/>
                  </a:cubicBezTo>
                  <a:cubicBezTo>
                    <a:pt x="2225555" y="4650013"/>
                    <a:pt x="2225555" y="4650013"/>
                    <a:pt x="2225873" y="4658886"/>
                  </a:cubicBezTo>
                  <a:cubicBezTo>
                    <a:pt x="2225873" y="4658886"/>
                    <a:pt x="2225873" y="4658886"/>
                    <a:pt x="2243977" y="4658569"/>
                  </a:cubicBezTo>
                  <a:cubicBezTo>
                    <a:pt x="2243977" y="4658569"/>
                    <a:pt x="2243977" y="4658569"/>
                    <a:pt x="2244295" y="4672195"/>
                  </a:cubicBezTo>
                  <a:cubicBezTo>
                    <a:pt x="2244295" y="4672195"/>
                    <a:pt x="2244295" y="4672195"/>
                    <a:pt x="2259223" y="4671562"/>
                  </a:cubicBezTo>
                  <a:cubicBezTo>
                    <a:pt x="2259223" y="4671562"/>
                    <a:pt x="2259223" y="4671562"/>
                    <a:pt x="2259858" y="4699131"/>
                  </a:cubicBezTo>
                  <a:cubicBezTo>
                    <a:pt x="2259858" y="4699131"/>
                    <a:pt x="2259858" y="4699131"/>
                    <a:pt x="2227778" y="4699765"/>
                  </a:cubicBezTo>
                  <a:cubicBezTo>
                    <a:pt x="2227778" y="4699765"/>
                    <a:pt x="2227778" y="4699765"/>
                    <a:pt x="2233496" y="4824302"/>
                  </a:cubicBezTo>
                  <a:lnTo>
                    <a:pt x="2279233" y="4815429"/>
                  </a:lnTo>
                  <a:cubicBezTo>
                    <a:pt x="2279550" y="4801169"/>
                    <a:pt x="2280186" y="4701032"/>
                    <a:pt x="2280186" y="4659837"/>
                  </a:cubicBezTo>
                  <a:cubicBezTo>
                    <a:pt x="2280186" y="4656351"/>
                    <a:pt x="2280186" y="4653182"/>
                    <a:pt x="2280186" y="4650647"/>
                  </a:cubicBezTo>
                  <a:cubicBezTo>
                    <a:pt x="2279868" y="4650647"/>
                    <a:pt x="2279868" y="4650647"/>
                    <a:pt x="2279868" y="4650647"/>
                  </a:cubicBezTo>
                  <a:cubicBezTo>
                    <a:pt x="2279868" y="4650647"/>
                    <a:pt x="2279868" y="4650647"/>
                    <a:pt x="2279868" y="4649696"/>
                  </a:cubicBezTo>
                  <a:close/>
                  <a:moveTo>
                    <a:pt x="1496938" y="4649696"/>
                  </a:moveTo>
                  <a:lnTo>
                    <a:pt x="1586506" y="4784057"/>
                  </a:lnTo>
                  <a:cubicBezTo>
                    <a:pt x="1586506" y="4784057"/>
                    <a:pt x="1586506" y="4784057"/>
                    <a:pt x="1584283" y="4785324"/>
                  </a:cubicBezTo>
                  <a:cubicBezTo>
                    <a:pt x="1584283" y="4785324"/>
                    <a:pt x="1584283" y="4785324"/>
                    <a:pt x="1455012" y="4858526"/>
                  </a:cubicBezTo>
                  <a:cubicBezTo>
                    <a:pt x="1455012" y="4858526"/>
                    <a:pt x="1455012" y="4858526"/>
                    <a:pt x="1374337" y="4718461"/>
                  </a:cubicBezTo>
                  <a:cubicBezTo>
                    <a:pt x="1374337" y="4718461"/>
                    <a:pt x="1374337" y="4718461"/>
                    <a:pt x="1496938" y="4649696"/>
                  </a:cubicBezTo>
                  <a:close/>
                  <a:moveTo>
                    <a:pt x="2422796" y="4648746"/>
                  </a:moveTo>
                  <a:cubicBezTo>
                    <a:pt x="2422796" y="4648746"/>
                    <a:pt x="2422796" y="4648746"/>
                    <a:pt x="2418985" y="4671879"/>
                  </a:cubicBezTo>
                  <a:cubicBezTo>
                    <a:pt x="2431372" y="4674414"/>
                    <a:pt x="2442806" y="4676315"/>
                    <a:pt x="2451382" y="4677899"/>
                  </a:cubicBezTo>
                  <a:cubicBezTo>
                    <a:pt x="2451382" y="4677899"/>
                    <a:pt x="2451382" y="4677899"/>
                    <a:pt x="2452970" y="4668393"/>
                  </a:cubicBezTo>
                  <a:lnTo>
                    <a:pt x="2439313" y="4666175"/>
                  </a:lnTo>
                  <a:cubicBezTo>
                    <a:pt x="2439313" y="4666175"/>
                    <a:pt x="2439313" y="4666175"/>
                    <a:pt x="2441536" y="4651598"/>
                  </a:cubicBezTo>
                  <a:cubicBezTo>
                    <a:pt x="2441536" y="4651598"/>
                    <a:pt x="2441536" y="4651598"/>
                    <a:pt x="2422796" y="4648746"/>
                  </a:cubicBezTo>
                  <a:close/>
                  <a:moveTo>
                    <a:pt x="240438" y="4645894"/>
                  </a:moveTo>
                  <a:cubicBezTo>
                    <a:pt x="238850" y="4655717"/>
                    <a:pt x="235991" y="4673463"/>
                    <a:pt x="230592" y="4686772"/>
                  </a:cubicBezTo>
                  <a:cubicBezTo>
                    <a:pt x="224874" y="4701032"/>
                    <a:pt x="217252" y="4715609"/>
                    <a:pt x="213440" y="4721947"/>
                  </a:cubicBezTo>
                  <a:cubicBezTo>
                    <a:pt x="213440" y="4721947"/>
                    <a:pt x="213440" y="4721947"/>
                    <a:pt x="276964" y="4765044"/>
                  </a:cubicBezTo>
                  <a:cubicBezTo>
                    <a:pt x="276964" y="4765044"/>
                    <a:pt x="276964" y="4765044"/>
                    <a:pt x="279822" y="4724165"/>
                  </a:cubicBezTo>
                  <a:cubicBezTo>
                    <a:pt x="279822" y="4724165"/>
                    <a:pt x="279822" y="4724165"/>
                    <a:pt x="279822" y="4722264"/>
                  </a:cubicBezTo>
                  <a:cubicBezTo>
                    <a:pt x="279822" y="4722264"/>
                    <a:pt x="279822" y="4722264"/>
                    <a:pt x="281093" y="4721313"/>
                  </a:cubicBezTo>
                  <a:cubicBezTo>
                    <a:pt x="281093" y="4721313"/>
                    <a:pt x="281093" y="4721313"/>
                    <a:pt x="308408" y="4695645"/>
                  </a:cubicBezTo>
                  <a:cubicBezTo>
                    <a:pt x="308408" y="4695645"/>
                    <a:pt x="308408" y="4695645"/>
                    <a:pt x="240438" y="4645894"/>
                  </a:cubicBezTo>
                  <a:close/>
                  <a:moveTo>
                    <a:pt x="176596" y="4645577"/>
                  </a:moveTo>
                  <a:cubicBezTo>
                    <a:pt x="174691" y="4656351"/>
                    <a:pt x="172150" y="4668710"/>
                    <a:pt x="169291" y="4681068"/>
                  </a:cubicBezTo>
                  <a:cubicBezTo>
                    <a:pt x="163256" y="4704201"/>
                    <a:pt x="156269" y="4726700"/>
                    <a:pt x="146740" y="4738742"/>
                  </a:cubicBezTo>
                  <a:cubicBezTo>
                    <a:pt x="141023" y="4745713"/>
                    <a:pt x="133083" y="4763459"/>
                    <a:pt x="127048" y="4783106"/>
                  </a:cubicBezTo>
                  <a:cubicBezTo>
                    <a:pt x="147058" y="4756488"/>
                    <a:pt x="162939" y="4735256"/>
                    <a:pt x="167068" y="4729235"/>
                  </a:cubicBezTo>
                  <a:cubicBezTo>
                    <a:pt x="178184" y="4713708"/>
                    <a:pt x="189936" y="4680435"/>
                    <a:pt x="196289" y="4661104"/>
                  </a:cubicBezTo>
                  <a:cubicBezTo>
                    <a:pt x="194701" y="4659520"/>
                    <a:pt x="192477" y="4657936"/>
                    <a:pt x="190254" y="4656034"/>
                  </a:cubicBezTo>
                  <a:cubicBezTo>
                    <a:pt x="185807" y="4652865"/>
                    <a:pt x="181361" y="4649063"/>
                    <a:pt x="176596" y="4645577"/>
                  </a:cubicBezTo>
                  <a:close/>
                  <a:moveTo>
                    <a:pt x="687010" y="4645260"/>
                  </a:moveTo>
                  <a:cubicBezTo>
                    <a:pt x="684151" y="4651281"/>
                    <a:pt x="658742" y="4704201"/>
                    <a:pt x="633015" y="4757438"/>
                  </a:cubicBezTo>
                  <a:cubicBezTo>
                    <a:pt x="619675" y="4785641"/>
                    <a:pt x="606017" y="4814161"/>
                    <a:pt x="595853" y="4835710"/>
                  </a:cubicBezTo>
                  <a:cubicBezTo>
                    <a:pt x="591089" y="4845850"/>
                    <a:pt x="587277" y="4854406"/>
                    <a:pt x="584419" y="4860744"/>
                  </a:cubicBezTo>
                  <a:cubicBezTo>
                    <a:pt x="609193" y="4879440"/>
                    <a:pt x="631744" y="4896552"/>
                    <a:pt x="650166" y="4910178"/>
                  </a:cubicBezTo>
                  <a:cubicBezTo>
                    <a:pt x="665094" y="4883560"/>
                    <a:pt x="690821" y="4834759"/>
                    <a:pt x="713372" y="4792613"/>
                  </a:cubicBezTo>
                  <a:cubicBezTo>
                    <a:pt x="735288" y="4751101"/>
                    <a:pt x="754027" y="4715926"/>
                    <a:pt x="755298" y="4713074"/>
                  </a:cubicBezTo>
                  <a:cubicBezTo>
                    <a:pt x="755298" y="4713074"/>
                    <a:pt x="755298" y="4713074"/>
                    <a:pt x="701938" y="4658252"/>
                  </a:cubicBezTo>
                  <a:cubicBezTo>
                    <a:pt x="701938" y="4658252"/>
                    <a:pt x="701938" y="4658252"/>
                    <a:pt x="687010" y="4645260"/>
                  </a:cubicBezTo>
                  <a:close/>
                  <a:moveTo>
                    <a:pt x="551704" y="4643042"/>
                  </a:moveTo>
                  <a:cubicBezTo>
                    <a:pt x="546940" y="4652865"/>
                    <a:pt x="542176" y="4663006"/>
                    <a:pt x="537411" y="4672829"/>
                  </a:cubicBezTo>
                  <a:cubicBezTo>
                    <a:pt x="526295" y="4696279"/>
                    <a:pt x="515178" y="4719729"/>
                    <a:pt x="505967" y="4739376"/>
                  </a:cubicBezTo>
                  <a:cubicBezTo>
                    <a:pt x="505967" y="4739376"/>
                    <a:pt x="505967" y="4739376"/>
                    <a:pt x="536141" y="4761241"/>
                  </a:cubicBezTo>
                  <a:cubicBezTo>
                    <a:pt x="548210" y="4735256"/>
                    <a:pt x="563456" y="4703567"/>
                    <a:pt x="577431" y="4674414"/>
                  </a:cubicBezTo>
                  <a:close/>
                  <a:moveTo>
                    <a:pt x="597759" y="4642091"/>
                  </a:moveTo>
                  <a:cubicBezTo>
                    <a:pt x="590136" y="4658569"/>
                    <a:pt x="580925" y="4676949"/>
                    <a:pt x="572032" y="4695962"/>
                  </a:cubicBezTo>
                  <a:lnTo>
                    <a:pt x="610146" y="4705786"/>
                  </a:lnTo>
                  <a:cubicBezTo>
                    <a:pt x="617134" y="4691209"/>
                    <a:pt x="623804" y="4677266"/>
                    <a:pt x="629838" y="4664907"/>
                  </a:cubicBezTo>
                  <a:cubicBezTo>
                    <a:pt x="629838" y="4664907"/>
                    <a:pt x="629838" y="4664907"/>
                    <a:pt x="597759" y="4642091"/>
                  </a:cubicBezTo>
                  <a:close/>
                  <a:moveTo>
                    <a:pt x="372567" y="4640190"/>
                  </a:moveTo>
                  <a:cubicBezTo>
                    <a:pt x="372567" y="4640190"/>
                    <a:pt x="372567" y="4640190"/>
                    <a:pt x="356051" y="4674414"/>
                  </a:cubicBezTo>
                  <a:cubicBezTo>
                    <a:pt x="356051" y="4674414"/>
                    <a:pt x="356051" y="4674414"/>
                    <a:pt x="369073" y="4683603"/>
                  </a:cubicBezTo>
                  <a:lnTo>
                    <a:pt x="384954" y="4650647"/>
                  </a:lnTo>
                  <a:cubicBezTo>
                    <a:pt x="384954" y="4650647"/>
                    <a:pt x="384954" y="4650647"/>
                    <a:pt x="372567" y="4640190"/>
                  </a:cubicBezTo>
                  <a:close/>
                  <a:moveTo>
                    <a:pt x="1498526" y="4639556"/>
                  </a:moveTo>
                  <a:cubicBezTo>
                    <a:pt x="1498526" y="4639556"/>
                    <a:pt x="1498526" y="4639556"/>
                    <a:pt x="1362903" y="4716560"/>
                  </a:cubicBezTo>
                  <a:cubicBezTo>
                    <a:pt x="1362903" y="4716560"/>
                    <a:pt x="1362903" y="4716560"/>
                    <a:pt x="1450883" y="4868983"/>
                  </a:cubicBezTo>
                  <a:cubicBezTo>
                    <a:pt x="1462635" y="4862328"/>
                    <a:pt x="1475022" y="4855674"/>
                    <a:pt x="1487409" y="4848702"/>
                  </a:cubicBezTo>
                  <a:cubicBezTo>
                    <a:pt x="1538546" y="4820182"/>
                    <a:pt x="1589365" y="4792296"/>
                    <a:pt x="1600482" y="4785958"/>
                  </a:cubicBezTo>
                  <a:cubicBezTo>
                    <a:pt x="1587777" y="4769797"/>
                    <a:pt x="1511548" y="4658886"/>
                    <a:pt x="1498526" y="4639556"/>
                  </a:cubicBezTo>
                  <a:close/>
                  <a:moveTo>
                    <a:pt x="236944" y="4637972"/>
                  </a:moveTo>
                  <a:cubicBezTo>
                    <a:pt x="236944" y="4637972"/>
                    <a:pt x="236944" y="4637972"/>
                    <a:pt x="315396" y="4695011"/>
                  </a:cubicBezTo>
                  <a:cubicBezTo>
                    <a:pt x="315396" y="4695011"/>
                    <a:pt x="315396" y="4695011"/>
                    <a:pt x="284269" y="4724482"/>
                  </a:cubicBezTo>
                  <a:cubicBezTo>
                    <a:pt x="284269" y="4724482"/>
                    <a:pt x="284269" y="4724482"/>
                    <a:pt x="280775" y="4772966"/>
                  </a:cubicBezTo>
                  <a:cubicBezTo>
                    <a:pt x="280775" y="4772966"/>
                    <a:pt x="280775" y="4772966"/>
                    <a:pt x="207723" y="4723531"/>
                  </a:cubicBezTo>
                  <a:cubicBezTo>
                    <a:pt x="207723" y="4723531"/>
                    <a:pt x="219157" y="4703884"/>
                    <a:pt x="226462" y="4685188"/>
                  </a:cubicBezTo>
                  <a:cubicBezTo>
                    <a:pt x="234085" y="4666175"/>
                    <a:pt x="236944" y="4637972"/>
                    <a:pt x="236944" y="4637972"/>
                  </a:cubicBezTo>
                  <a:close/>
                  <a:moveTo>
                    <a:pt x="161668" y="4634169"/>
                  </a:moveTo>
                  <a:cubicBezTo>
                    <a:pt x="161668" y="4634169"/>
                    <a:pt x="161668" y="4634169"/>
                    <a:pt x="125142" y="4720046"/>
                  </a:cubicBezTo>
                  <a:cubicBezTo>
                    <a:pt x="125142" y="4720046"/>
                    <a:pt x="125142" y="4720046"/>
                    <a:pt x="91792" y="4706736"/>
                  </a:cubicBezTo>
                  <a:cubicBezTo>
                    <a:pt x="91792" y="4706736"/>
                    <a:pt x="91792" y="4706736"/>
                    <a:pt x="26045" y="4819548"/>
                  </a:cubicBezTo>
                  <a:cubicBezTo>
                    <a:pt x="46055" y="4836660"/>
                    <a:pt x="61618" y="4850286"/>
                    <a:pt x="70194" y="4857258"/>
                  </a:cubicBezTo>
                  <a:cubicBezTo>
                    <a:pt x="75594" y="4850286"/>
                    <a:pt x="81311" y="4842998"/>
                    <a:pt x="86710" y="4835710"/>
                  </a:cubicBezTo>
                  <a:cubicBezTo>
                    <a:pt x="95921" y="4823668"/>
                    <a:pt x="105450" y="4811309"/>
                    <a:pt x="114343" y="4799268"/>
                  </a:cubicBezTo>
                  <a:cubicBezTo>
                    <a:pt x="120378" y="4772649"/>
                    <a:pt x="131812" y="4745080"/>
                    <a:pt x="140705" y="4733672"/>
                  </a:cubicBezTo>
                  <a:cubicBezTo>
                    <a:pt x="148646" y="4724482"/>
                    <a:pt x="155951" y="4701983"/>
                    <a:pt x="161668" y="4679167"/>
                  </a:cubicBezTo>
                  <a:cubicBezTo>
                    <a:pt x="164844" y="4665541"/>
                    <a:pt x="167703" y="4651598"/>
                    <a:pt x="169926" y="4640190"/>
                  </a:cubicBezTo>
                  <a:cubicBezTo>
                    <a:pt x="167068" y="4637972"/>
                    <a:pt x="164209" y="4636070"/>
                    <a:pt x="161668" y="4634169"/>
                  </a:cubicBezTo>
                  <a:close/>
                  <a:moveTo>
                    <a:pt x="650166" y="4632584"/>
                  </a:moveTo>
                  <a:cubicBezTo>
                    <a:pt x="646355" y="4640824"/>
                    <a:pt x="641273" y="4651281"/>
                    <a:pt x="635556" y="4663640"/>
                  </a:cubicBezTo>
                  <a:cubicBezTo>
                    <a:pt x="635556" y="4663640"/>
                    <a:pt x="635556" y="4663640"/>
                    <a:pt x="653342" y="4676315"/>
                  </a:cubicBezTo>
                  <a:cubicBezTo>
                    <a:pt x="653342" y="4676315"/>
                    <a:pt x="653342" y="4676315"/>
                    <a:pt x="672399" y="4648746"/>
                  </a:cubicBezTo>
                  <a:cubicBezTo>
                    <a:pt x="672399" y="4648746"/>
                    <a:pt x="672399" y="4648746"/>
                    <a:pt x="650166" y="4632584"/>
                  </a:cubicBezTo>
                  <a:close/>
                  <a:moveTo>
                    <a:pt x="1619539" y="4623395"/>
                  </a:moveTo>
                  <a:lnTo>
                    <a:pt x="1572531" y="4647478"/>
                  </a:lnTo>
                  <a:cubicBezTo>
                    <a:pt x="1572531" y="4647478"/>
                    <a:pt x="1572531" y="4647478"/>
                    <a:pt x="1617633" y="4714658"/>
                  </a:cubicBezTo>
                  <a:cubicBezTo>
                    <a:pt x="1617633" y="4714658"/>
                    <a:pt x="1617633" y="4714658"/>
                    <a:pt x="1659241" y="4687723"/>
                  </a:cubicBezTo>
                  <a:cubicBezTo>
                    <a:pt x="1659241" y="4687723"/>
                    <a:pt x="1659241" y="4687723"/>
                    <a:pt x="1619539" y="4623395"/>
                  </a:cubicBezTo>
                  <a:close/>
                  <a:moveTo>
                    <a:pt x="2412315" y="4623078"/>
                  </a:moveTo>
                  <a:cubicBezTo>
                    <a:pt x="2388811" y="4636704"/>
                    <a:pt x="2358638" y="4648429"/>
                    <a:pt x="2323064" y="4649380"/>
                  </a:cubicBezTo>
                  <a:cubicBezTo>
                    <a:pt x="2316076" y="4649380"/>
                    <a:pt x="2307818" y="4649380"/>
                    <a:pt x="2298290" y="4649380"/>
                  </a:cubicBezTo>
                  <a:cubicBezTo>
                    <a:pt x="2316076" y="4652865"/>
                    <a:pt x="2345298" y="4658252"/>
                    <a:pt x="2374836" y="4663640"/>
                  </a:cubicBezTo>
                  <a:cubicBezTo>
                    <a:pt x="2388494" y="4666175"/>
                    <a:pt x="2402151" y="4669027"/>
                    <a:pt x="2415174" y="4671245"/>
                  </a:cubicBezTo>
                  <a:cubicBezTo>
                    <a:pt x="2415174" y="4671245"/>
                    <a:pt x="2415174" y="4671245"/>
                    <a:pt x="2419303" y="4643992"/>
                  </a:cubicBezTo>
                  <a:cubicBezTo>
                    <a:pt x="2419303" y="4643992"/>
                    <a:pt x="2419303" y="4643992"/>
                    <a:pt x="2421208" y="4644309"/>
                  </a:cubicBezTo>
                  <a:cubicBezTo>
                    <a:pt x="2421208" y="4644309"/>
                    <a:pt x="2421208" y="4644309"/>
                    <a:pt x="2446300" y="4648112"/>
                  </a:cubicBezTo>
                  <a:cubicBezTo>
                    <a:pt x="2446300" y="4648112"/>
                    <a:pt x="2446300" y="4648112"/>
                    <a:pt x="2444077" y="4662689"/>
                  </a:cubicBezTo>
                  <a:cubicBezTo>
                    <a:pt x="2444077" y="4662689"/>
                    <a:pt x="2444077" y="4662689"/>
                    <a:pt x="2457417" y="4664907"/>
                  </a:cubicBezTo>
                  <a:cubicBezTo>
                    <a:pt x="2457417" y="4664907"/>
                    <a:pt x="2457417" y="4664907"/>
                    <a:pt x="2455511" y="4678533"/>
                  </a:cubicBezTo>
                  <a:cubicBezTo>
                    <a:pt x="2457734" y="4679167"/>
                    <a:pt x="2459958" y="4679484"/>
                    <a:pt x="2461864" y="4679801"/>
                  </a:cubicBezTo>
                  <a:cubicBezTo>
                    <a:pt x="2461864" y="4679801"/>
                    <a:pt x="2461864" y="4679801"/>
                    <a:pt x="2467263" y="4646844"/>
                  </a:cubicBezTo>
                  <a:cubicBezTo>
                    <a:pt x="2467263" y="4646844"/>
                    <a:pt x="2467263" y="4646844"/>
                    <a:pt x="2412315" y="4623078"/>
                  </a:cubicBezTo>
                  <a:close/>
                  <a:moveTo>
                    <a:pt x="230592" y="4623078"/>
                  </a:moveTo>
                  <a:cubicBezTo>
                    <a:pt x="228368" y="4631634"/>
                    <a:pt x="224239" y="4646528"/>
                    <a:pt x="219792" y="4659837"/>
                  </a:cubicBezTo>
                  <a:cubicBezTo>
                    <a:pt x="215346" y="4673146"/>
                    <a:pt x="205817" y="4702617"/>
                    <a:pt x="194065" y="4726066"/>
                  </a:cubicBezTo>
                  <a:cubicBezTo>
                    <a:pt x="194065" y="4726066"/>
                    <a:pt x="194065" y="4726066"/>
                    <a:pt x="247108" y="4761875"/>
                  </a:cubicBezTo>
                  <a:cubicBezTo>
                    <a:pt x="247108" y="4761875"/>
                    <a:pt x="247108" y="4761875"/>
                    <a:pt x="225827" y="4846484"/>
                  </a:cubicBezTo>
                  <a:cubicBezTo>
                    <a:pt x="225827" y="4846484"/>
                    <a:pt x="225827" y="4846484"/>
                    <a:pt x="283951" y="4869617"/>
                  </a:cubicBezTo>
                  <a:cubicBezTo>
                    <a:pt x="283951" y="4869617"/>
                    <a:pt x="283951" y="4869617"/>
                    <a:pt x="309361" y="4774233"/>
                  </a:cubicBezTo>
                  <a:cubicBezTo>
                    <a:pt x="309361" y="4774233"/>
                    <a:pt x="309361" y="4774233"/>
                    <a:pt x="294433" y="4734622"/>
                  </a:cubicBezTo>
                  <a:cubicBezTo>
                    <a:pt x="294433" y="4734622"/>
                    <a:pt x="294433" y="4734622"/>
                    <a:pt x="326512" y="4695328"/>
                  </a:cubicBezTo>
                  <a:close/>
                  <a:moveTo>
                    <a:pt x="656836" y="4619275"/>
                  </a:moveTo>
                  <a:cubicBezTo>
                    <a:pt x="655883" y="4621177"/>
                    <a:pt x="654295" y="4624662"/>
                    <a:pt x="652072" y="4628782"/>
                  </a:cubicBezTo>
                  <a:cubicBezTo>
                    <a:pt x="652072" y="4628782"/>
                    <a:pt x="652072" y="4628782"/>
                    <a:pt x="678116" y="4647795"/>
                  </a:cubicBezTo>
                  <a:cubicBezTo>
                    <a:pt x="678116" y="4647795"/>
                    <a:pt x="678116" y="4647795"/>
                    <a:pt x="677164" y="4649380"/>
                  </a:cubicBezTo>
                  <a:cubicBezTo>
                    <a:pt x="677164" y="4649380"/>
                    <a:pt x="677164" y="4649380"/>
                    <a:pt x="654295" y="4682019"/>
                  </a:cubicBezTo>
                  <a:cubicBezTo>
                    <a:pt x="654295" y="4682019"/>
                    <a:pt x="654295" y="4682019"/>
                    <a:pt x="633650" y="4667442"/>
                  </a:cubicBezTo>
                  <a:cubicBezTo>
                    <a:pt x="627615" y="4679484"/>
                    <a:pt x="621263" y="4693110"/>
                    <a:pt x="614593" y="4707053"/>
                  </a:cubicBezTo>
                  <a:cubicBezTo>
                    <a:pt x="614593" y="4707053"/>
                    <a:pt x="614593" y="4707053"/>
                    <a:pt x="648260" y="4715926"/>
                  </a:cubicBezTo>
                  <a:cubicBezTo>
                    <a:pt x="667635" y="4675364"/>
                    <a:pt x="683198" y="4643042"/>
                    <a:pt x="683198" y="4643042"/>
                  </a:cubicBezTo>
                  <a:cubicBezTo>
                    <a:pt x="683198" y="4643042"/>
                    <a:pt x="683198" y="4643042"/>
                    <a:pt x="685104" y="4643676"/>
                  </a:cubicBezTo>
                  <a:cubicBezTo>
                    <a:pt x="685104" y="4643676"/>
                    <a:pt x="685104" y="4643676"/>
                    <a:pt x="656836" y="4619275"/>
                  </a:cubicBezTo>
                  <a:close/>
                  <a:moveTo>
                    <a:pt x="1865058" y="4618958"/>
                  </a:moveTo>
                  <a:lnTo>
                    <a:pt x="1833296" y="4641140"/>
                  </a:lnTo>
                  <a:cubicBezTo>
                    <a:pt x="1833296" y="4641140"/>
                    <a:pt x="1833296" y="4641140"/>
                    <a:pt x="1847907" y="4661421"/>
                  </a:cubicBezTo>
                  <a:cubicBezTo>
                    <a:pt x="1847907" y="4661421"/>
                    <a:pt x="1847907" y="4661421"/>
                    <a:pt x="1879351" y="4639239"/>
                  </a:cubicBezTo>
                  <a:cubicBezTo>
                    <a:pt x="1879351" y="4639239"/>
                    <a:pt x="1879351" y="4639239"/>
                    <a:pt x="1865058" y="4618958"/>
                  </a:cubicBezTo>
                  <a:close/>
                  <a:moveTo>
                    <a:pt x="563774" y="4618008"/>
                  </a:moveTo>
                  <a:cubicBezTo>
                    <a:pt x="560597" y="4624662"/>
                    <a:pt x="557104" y="4631634"/>
                    <a:pt x="553927" y="4638605"/>
                  </a:cubicBezTo>
                  <a:cubicBezTo>
                    <a:pt x="553927" y="4638605"/>
                    <a:pt x="553927" y="4638605"/>
                    <a:pt x="579655" y="4669977"/>
                  </a:cubicBezTo>
                  <a:cubicBezTo>
                    <a:pt x="584736" y="4659203"/>
                    <a:pt x="589501" y="4649063"/>
                    <a:pt x="594265" y="4639556"/>
                  </a:cubicBezTo>
                  <a:cubicBezTo>
                    <a:pt x="594265" y="4639556"/>
                    <a:pt x="594265" y="4639556"/>
                    <a:pt x="563774" y="4618008"/>
                  </a:cubicBezTo>
                  <a:close/>
                  <a:moveTo>
                    <a:pt x="1621127" y="4617374"/>
                  </a:moveTo>
                  <a:cubicBezTo>
                    <a:pt x="1621127" y="4617374"/>
                    <a:pt x="1621127" y="4617374"/>
                    <a:pt x="1622397" y="4618958"/>
                  </a:cubicBezTo>
                  <a:cubicBezTo>
                    <a:pt x="1622397" y="4618958"/>
                    <a:pt x="1622397" y="4618958"/>
                    <a:pt x="1665593" y="4688991"/>
                  </a:cubicBezTo>
                  <a:lnTo>
                    <a:pt x="1616362" y="4720996"/>
                  </a:lnTo>
                  <a:cubicBezTo>
                    <a:pt x="1616362" y="4720996"/>
                    <a:pt x="1616362" y="4720996"/>
                    <a:pt x="1565861" y="4645577"/>
                  </a:cubicBezTo>
                  <a:cubicBezTo>
                    <a:pt x="1565861" y="4645577"/>
                    <a:pt x="1565861" y="4645577"/>
                    <a:pt x="1621127" y="4617374"/>
                  </a:cubicBezTo>
                  <a:close/>
                  <a:moveTo>
                    <a:pt x="1866011" y="4613254"/>
                  </a:moveTo>
                  <a:cubicBezTo>
                    <a:pt x="1866011" y="4613254"/>
                    <a:pt x="1866011" y="4613254"/>
                    <a:pt x="1885068" y="4640190"/>
                  </a:cubicBezTo>
                  <a:cubicBezTo>
                    <a:pt x="1885068" y="4640190"/>
                    <a:pt x="1885068" y="4640190"/>
                    <a:pt x="1846954" y="4667125"/>
                  </a:cubicBezTo>
                  <a:lnTo>
                    <a:pt x="1845683" y="4665541"/>
                  </a:lnTo>
                  <a:cubicBezTo>
                    <a:pt x="1845683" y="4665541"/>
                    <a:pt x="1845683" y="4665541"/>
                    <a:pt x="1827579" y="4640190"/>
                  </a:cubicBezTo>
                  <a:cubicBezTo>
                    <a:pt x="1827579" y="4640190"/>
                    <a:pt x="1827579" y="4640190"/>
                    <a:pt x="1866011" y="4613254"/>
                  </a:cubicBezTo>
                  <a:close/>
                  <a:moveTo>
                    <a:pt x="526612" y="4612621"/>
                  </a:moveTo>
                  <a:cubicBezTo>
                    <a:pt x="520895" y="4624345"/>
                    <a:pt x="515178" y="4636704"/>
                    <a:pt x="509143" y="4649063"/>
                  </a:cubicBezTo>
                  <a:cubicBezTo>
                    <a:pt x="495168" y="4677583"/>
                    <a:pt x="481193" y="4706736"/>
                    <a:pt x="470711" y="4728602"/>
                  </a:cubicBezTo>
                  <a:cubicBezTo>
                    <a:pt x="465629" y="4739693"/>
                    <a:pt x="461183" y="4748882"/>
                    <a:pt x="458324" y="4755537"/>
                  </a:cubicBezTo>
                  <a:cubicBezTo>
                    <a:pt x="456736" y="4758706"/>
                    <a:pt x="455466" y="4761558"/>
                    <a:pt x="454830" y="4763459"/>
                  </a:cubicBezTo>
                  <a:cubicBezTo>
                    <a:pt x="454830" y="4763459"/>
                    <a:pt x="454830" y="4763459"/>
                    <a:pt x="454513" y="4763459"/>
                  </a:cubicBezTo>
                  <a:cubicBezTo>
                    <a:pt x="463088" y="4770114"/>
                    <a:pt x="471982" y="4776452"/>
                    <a:pt x="480875" y="4783106"/>
                  </a:cubicBezTo>
                  <a:cubicBezTo>
                    <a:pt x="481510" y="4781522"/>
                    <a:pt x="482463" y="4778987"/>
                    <a:pt x="484051" y="4776135"/>
                  </a:cubicBezTo>
                  <a:cubicBezTo>
                    <a:pt x="484051" y="4776135"/>
                    <a:pt x="484051" y="4776135"/>
                    <a:pt x="459277" y="4759023"/>
                  </a:cubicBezTo>
                  <a:cubicBezTo>
                    <a:pt x="459277" y="4759023"/>
                    <a:pt x="459277" y="4759023"/>
                    <a:pt x="485004" y="4724482"/>
                  </a:cubicBezTo>
                  <a:cubicBezTo>
                    <a:pt x="485004" y="4724482"/>
                    <a:pt x="485004" y="4724482"/>
                    <a:pt x="502156" y="4736841"/>
                  </a:cubicBezTo>
                  <a:cubicBezTo>
                    <a:pt x="515813" y="4708321"/>
                    <a:pt x="532965" y="4671879"/>
                    <a:pt x="548528" y="4639239"/>
                  </a:cubicBezTo>
                  <a:cubicBezTo>
                    <a:pt x="548528" y="4639239"/>
                    <a:pt x="548528" y="4639239"/>
                    <a:pt x="526612" y="4612621"/>
                  </a:cubicBezTo>
                  <a:close/>
                  <a:moveTo>
                    <a:pt x="481193" y="4612621"/>
                  </a:moveTo>
                  <a:cubicBezTo>
                    <a:pt x="479287" y="4616423"/>
                    <a:pt x="477699" y="4619909"/>
                    <a:pt x="475793" y="4623712"/>
                  </a:cubicBezTo>
                  <a:cubicBezTo>
                    <a:pt x="464041" y="4648429"/>
                    <a:pt x="452289" y="4672829"/>
                    <a:pt x="442443" y="4693427"/>
                  </a:cubicBezTo>
                  <a:cubicBezTo>
                    <a:pt x="442443" y="4693427"/>
                    <a:pt x="442443" y="4693427"/>
                    <a:pt x="470076" y="4713391"/>
                  </a:cubicBezTo>
                  <a:cubicBezTo>
                    <a:pt x="470076" y="4713391"/>
                    <a:pt x="470076" y="4713391"/>
                    <a:pt x="468806" y="4714975"/>
                  </a:cubicBezTo>
                  <a:cubicBezTo>
                    <a:pt x="468806" y="4714975"/>
                    <a:pt x="468806" y="4714975"/>
                    <a:pt x="445937" y="4747932"/>
                  </a:cubicBezTo>
                  <a:cubicBezTo>
                    <a:pt x="445937" y="4747932"/>
                    <a:pt x="445937" y="4747932"/>
                    <a:pt x="424339" y="4732404"/>
                  </a:cubicBezTo>
                  <a:cubicBezTo>
                    <a:pt x="423069" y="4734939"/>
                    <a:pt x="422116" y="4736841"/>
                    <a:pt x="421480" y="4738742"/>
                  </a:cubicBezTo>
                  <a:cubicBezTo>
                    <a:pt x="430691" y="4745713"/>
                    <a:pt x="440538" y="4753002"/>
                    <a:pt x="451019" y="4760924"/>
                  </a:cubicBezTo>
                  <a:cubicBezTo>
                    <a:pt x="458007" y="4745080"/>
                    <a:pt x="485957" y="4686772"/>
                    <a:pt x="512002" y="4632901"/>
                  </a:cubicBezTo>
                  <a:cubicBezTo>
                    <a:pt x="508826" y="4630683"/>
                    <a:pt x="495486" y="4621810"/>
                    <a:pt x="481193" y="4612621"/>
                  </a:cubicBezTo>
                  <a:close/>
                  <a:moveTo>
                    <a:pt x="2494578" y="4610085"/>
                  </a:moveTo>
                  <a:cubicBezTo>
                    <a:pt x="2494578" y="4610085"/>
                    <a:pt x="2494578" y="4610085"/>
                    <a:pt x="2423432" y="5042637"/>
                  </a:cubicBezTo>
                  <a:cubicBezTo>
                    <a:pt x="2423432" y="5042637"/>
                    <a:pt x="2423432" y="5042637"/>
                    <a:pt x="2423114" y="5043905"/>
                  </a:cubicBezTo>
                  <a:cubicBezTo>
                    <a:pt x="2423114" y="5043905"/>
                    <a:pt x="2361178" y="5184603"/>
                    <a:pt x="2298925" y="5325301"/>
                  </a:cubicBezTo>
                  <a:cubicBezTo>
                    <a:pt x="2268116" y="5395651"/>
                    <a:pt x="2236990" y="5466000"/>
                    <a:pt x="2213486" y="5518920"/>
                  </a:cubicBezTo>
                  <a:cubicBezTo>
                    <a:pt x="2201734" y="5545539"/>
                    <a:pt x="2192205" y="5567721"/>
                    <a:pt x="2185218" y="5583248"/>
                  </a:cubicBezTo>
                  <a:cubicBezTo>
                    <a:pt x="2183312" y="5587051"/>
                    <a:pt x="2181724" y="5590854"/>
                    <a:pt x="2180453" y="5594022"/>
                  </a:cubicBezTo>
                  <a:cubicBezTo>
                    <a:pt x="2296702" y="5614620"/>
                    <a:pt x="2422796" y="5680850"/>
                    <a:pt x="2423432" y="5680850"/>
                  </a:cubicBezTo>
                  <a:cubicBezTo>
                    <a:pt x="2423432" y="5680850"/>
                    <a:pt x="2423432" y="5680850"/>
                    <a:pt x="2423749" y="5681167"/>
                  </a:cubicBezTo>
                  <a:cubicBezTo>
                    <a:pt x="2423749" y="5681167"/>
                    <a:pt x="2423749" y="5681167"/>
                    <a:pt x="2425655" y="5682117"/>
                  </a:cubicBezTo>
                  <a:cubicBezTo>
                    <a:pt x="2425655" y="5682117"/>
                    <a:pt x="2425655" y="5682117"/>
                    <a:pt x="2712782" y="5162421"/>
                  </a:cubicBezTo>
                  <a:cubicBezTo>
                    <a:pt x="2713418" y="5133584"/>
                    <a:pt x="2718182" y="4895918"/>
                    <a:pt x="2719452" y="4879757"/>
                  </a:cubicBezTo>
                  <a:cubicBezTo>
                    <a:pt x="2723899" y="4837611"/>
                    <a:pt x="2748038" y="4814161"/>
                    <a:pt x="2771224" y="4802753"/>
                  </a:cubicBezTo>
                  <a:cubicBezTo>
                    <a:pt x="2746132" y="4785324"/>
                    <a:pt x="2681974" y="4740960"/>
                    <a:pt x="2617497" y="4695962"/>
                  </a:cubicBezTo>
                  <a:cubicBezTo>
                    <a:pt x="2576206" y="4667442"/>
                    <a:pt x="2535234" y="4638605"/>
                    <a:pt x="2504107" y="4617057"/>
                  </a:cubicBezTo>
                  <a:cubicBezTo>
                    <a:pt x="2500931" y="4614522"/>
                    <a:pt x="2497754" y="4612304"/>
                    <a:pt x="2494578" y="4610085"/>
                  </a:cubicBezTo>
                  <a:close/>
                  <a:moveTo>
                    <a:pt x="614593" y="4607233"/>
                  </a:moveTo>
                  <a:cubicBezTo>
                    <a:pt x="610464" y="4615473"/>
                    <a:pt x="605382" y="4626247"/>
                    <a:pt x="599665" y="4638288"/>
                  </a:cubicBezTo>
                  <a:cubicBezTo>
                    <a:pt x="599665" y="4638288"/>
                    <a:pt x="599665" y="4638288"/>
                    <a:pt x="631744" y="4661104"/>
                  </a:cubicBezTo>
                  <a:cubicBezTo>
                    <a:pt x="637779" y="4648746"/>
                    <a:pt x="642861" y="4637972"/>
                    <a:pt x="646672" y="4630049"/>
                  </a:cubicBezTo>
                  <a:cubicBezTo>
                    <a:pt x="646672" y="4630049"/>
                    <a:pt x="646672" y="4630049"/>
                    <a:pt x="614593" y="4607233"/>
                  </a:cubicBezTo>
                  <a:close/>
                  <a:moveTo>
                    <a:pt x="1235537" y="4601529"/>
                  </a:moveTo>
                  <a:lnTo>
                    <a:pt x="1223468" y="4657619"/>
                  </a:lnTo>
                  <a:cubicBezTo>
                    <a:pt x="1223468" y="4657619"/>
                    <a:pt x="1223468" y="4657619"/>
                    <a:pt x="1233949" y="4656985"/>
                  </a:cubicBezTo>
                  <a:cubicBezTo>
                    <a:pt x="1233949" y="4656985"/>
                    <a:pt x="1233949" y="4656985"/>
                    <a:pt x="1267617" y="4610402"/>
                  </a:cubicBezTo>
                  <a:cubicBezTo>
                    <a:pt x="1267617" y="4610402"/>
                    <a:pt x="1267617" y="4610402"/>
                    <a:pt x="1235537" y="4601529"/>
                  </a:cubicBezTo>
                  <a:close/>
                  <a:moveTo>
                    <a:pt x="390989" y="4601529"/>
                  </a:moveTo>
                  <a:cubicBezTo>
                    <a:pt x="390989" y="4601529"/>
                    <a:pt x="390989" y="4601529"/>
                    <a:pt x="373838" y="4637655"/>
                  </a:cubicBezTo>
                  <a:cubicBezTo>
                    <a:pt x="373838" y="4637655"/>
                    <a:pt x="373838" y="4637655"/>
                    <a:pt x="386225" y="4648112"/>
                  </a:cubicBezTo>
                  <a:lnTo>
                    <a:pt x="403376" y="4611987"/>
                  </a:lnTo>
                  <a:cubicBezTo>
                    <a:pt x="403376" y="4611987"/>
                    <a:pt x="403376" y="4611987"/>
                    <a:pt x="390989" y="4601529"/>
                  </a:cubicBezTo>
                  <a:close/>
                  <a:moveTo>
                    <a:pt x="1232044" y="4595825"/>
                  </a:moveTo>
                  <a:cubicBezTo>
                    <a:pt x="1232044" y="4595825"/>
                    <a:pt x="1232044" y="4595825"/>
                    <a:pt x="1275557" y="4607867"/>
                  </a:cubicBezTo>
                  <a:cubicBezTo>
                    <a:pt x="1275557" y="4607867"/>
                    <a:pt x="1275557" y="4607867"/>
                    <a:pt x="1273652" y="4610402"/>
                  </a:cubicBezTo>
                  <a:cubicBezTo>
                    <a:pt x="1273652" y="4610402"/>
                    <a:pt x="1273652" y="4610402"/>
                    <a:pt x="1236173" y="4661421"/>
                  </a:cubicBezTo>
                  <a:lnTo>
                    <a:pt x="1217751" y="4663006"/>
                  </a:lnTo>
                  <a:cubicBezTo>
                    <a:pt x="1217751" y="4663006"/>
                    <a:pt x="1217751" y="4663006"/>
                    <a:pt x="1232044" y="4595825"/>
                  </a:cubicBezTo>
                  <a:close/>
                  <a:moveTo>
                    <a:pt x="1859023" y="4592657"/>
                  </a:moveTo>
                  <a:lnTo>
                    <a:pt x="1732611" y="4697230"/>
                  </a:lnTo>
                  <a:cubicBezTo>
                    <a:pt x="1732611" y="4697230"/>
                    <a:pt x="1732611" y="4697230"/>
                    <a:pt x="1740234" y="4752368"/>
                  </a:cubicBezTo>
                  <a:cubicBezTo>
                    <a:pt x="1750398" y="4746347"/>
                    <a:pt x="1791053" y="4722264"/>
                    <a:pt x="1831708" y="4697863"/>
                  </a:cubicBezTo>
                  <a:cubicBezTo>
                    <a:pt x="1855212" y="4683920"/>
                    <a:pt x="1878716" y="4669977"/>
                    <a:pt x="1896185" y="4659203"/>
                  </a:cubicBezTo>
                  <a:cubicBezTo>
                    <a:pt x="1905078" y="4653816"/>
                    <a:pt x="1912383" y="4649380"/>
                    <a:pt x="1917465" y="4646211"/>
                  </a:cubicBezTo>
                  <a:cubicBezTo>
                    <a:pt x="1918100" y="4645894"/>
                    <a:pt x="1918418" y="4645577"/>
                    <a:pt x="1918735" y="4645260"/>
                  </a:cubicBezTo>
                  <a:cubicBezTo>
                    <a:pt x="1918735" y="4645260"/>
                    <a:pt x="1918735" y="4645260"/>
                    <a:pt x="1859023" y="4592657"/>
                  </a:cubicBezTo>
                  <a:close/>
                  <a:moveTo>
                    <a:pt x="446255" y="4590438"/>
                  </a:moveTo>
                  <a:cubicBezTo>
                    <a:pt x="446255" y="4590438"/>
                    <a:pt x="446255" y="4590438"/>
                    <a:pt x="387495" y="4713074"/>
                  </a:cubicBezTo>
                  <a:cubicBezTo>
                    <a:pt x="396389" y="4719729"/>
                    <a:pt x="406552" y="4727651"/>
                    <a:pt x="417987" y="4735890"/>
                  </a:cubicBezTo>
                  <a:cubicBezTo>
                    <a:pt x="418622" y="4734306"/>
                    <a:pt x="419575" y="4732087"/>
                    <a:pt x="420528" y="4729869"/>
                  </a:cubicBezTo>
                  <a:cubicBezTo>
                    <a:pt x="420528" y="4729869"/>
                    <a:pt x="420528" y="4729869"/>
                    <a:pt x="392259" y="4709905"/>
                  </a:cubicBezTo>
                  <a:cubicBezTo>
                    <a:pt x="392259" y="4709905"/>
                    <a:pt x="392259" y="4709905"/>
                    <a:pt x="417987" y="4675681"/>
                  </a:cubicBezTo>
                  <a:cubicBezTo>
                    <a:pt x="417987" y="4675681"/>
                    <a:pt x="417987" y="4675681"/>
                    <a:pt x="438949" y="4690575"/>
                  </a:cubicBezTo>
                  <a:cubicBezTo>
                    <a:pt x="450066" y="4667125"/>
                    <a:pt x="464041" y="4638288"/>
                    <a:pt x="477381" y="4610085"/>
                  </a:cubicBezTo>
                  <a:cubicBezTo>
                    <a:pt x="469123" y="4604698"/>
                    <a:pt x="460865" y="4599628"/>
                    <a:pt x="454513" y="4595509"/>
                  </a:cubicBezTo>
                  <a:cubicBezTo>
                    <a:pt x="451337" y="4593290"/>
                    <a:pt x="448478" y="4591706"/>
                    <a:pt x="446255" y="4590438"/>
                  </a:cubicBezTo>
                  <a:close/>
                  <a:moveTo>
                    <a:pt x="622851" y="4589805"/>
                  </a:moveTo>
                  <a:cubicBezTo>
                    <a:pt x="621898" y="4592340"/>
                    <a:pt x="619675" y="4597093"/>
                    <a:pt x="616498" y="4603431"/>
                  </a:cubicBezTo>
                  <a:cubicBezTo>
                    <a:pt x="616498" y="4603431"/>
                    <a:pt x="616498" y="4603431"/>
                    <a:pt x="648578" y="4626247"/>
                  </a:cubicBezTo>
                  <a:cubicBezTo>
                    <a:pt x="650801" y="4621493"/>
                    <a:pt x="652389" y="4618008"/>
                    <a:pt x="653342" y="4616106"/>
                  </a:cubicBezTo>
                  <a:cubicBezTo>
                    <a:pt x="653342" y="4616106"/>
                    <a:pt x="653342" y="4616106"/>
                    <a:pt x="622851" y="4589805"/>
                  </a:cubicBezTo>
                  <a:close/>
                  <a:moveTo>
                    <a:pt x="2459958" y="4585685"/>
                  </a:moveTo>
                  <a:cubicBezTo>
                    <a:pt x="2452018" y="4593924"/>
                    <a:pt x="2437407" y="4607867"/>
                    <a:pt x="2417079" y="4620543"/>
                  </a:cubicBezTo>
                  <a:lnTo>
                    <a:pt x="2468216" y="4642408"/>
                  </a:lnTo>
                  <a:cubicBezTo>
                    <a:pt x="2468216" y="4642408"/>
                    <a:pt x="2468216" y="4642408"/>
                    <a:pt x="2475521" y="4596776"/>
                  </a:cubicBezTo>
                  <a:cubicBezTo>
                    <a:pt x="2472345" y="4594558"/>
                    <a:pt x="2469486" y="4592340"/>
                    <a:pt x="2466946" y="4590438"/>
                  </a:cubicBezTo>
                  <a:cubicBezTo>
                    <a:pt x="2464087" y="4588537"/>
                    <a:pt x="2462181" y="4586953"/>
                    <a:pt x="2459958" y="4585685"/>
                  </a:cubicBezTo>
                  <a:close/>
                  <a:moveTo>
                    <a:pt x="1219339" y="4583467"/>
                  </a:moveTo>
                  <a:cubicBezTo>
                    <a:pt x="1217433" y="4598361"/>
                    <a:pt x="1207587" y="4672195"/>
                    <a:pt x="1205999" y="4683920"/>
                  </a:cubicBezTo>
                  <a:cubicBezTo>
                    <a:pt x="1220927" y="4684237"/>
                    <a:pt x="1232997" y="4684871"/>
                    <a:pt x="1239349" y="4685188"/>
                  </a:cubicBezTo>
                  <a:cubicBezTo>
                    <a:pt x="1239349" y="4685188"/>
                    <a:pt x="1239349" y="4685188"/>
                    <a:pt x="1302555" y="4603114"/>
                  </a:cubicBezTo>
                  <a:close/>
                  <a:moveTo>
                    <a:pt x="580607" y="4582833"/>
                  </a:moveTo>
                  <a:cubicBezTo>
                    <a:pt x="576478" y="4591389"/>
                    <a:pt x="571397" y="4602163"/>
                    <a:pt x="565679" y="4614205"/>
                  </a:cubicBezTo>
                  <a:cubicBezTo>
                    <a:pt x="565679" y="4614205"/>
                    <a:pt x="565679" y="4614205"/>
                    <a:pt x="595853" y="4635753"/>
                  </a:cubicBezTo>
                  <a:cubicBezTo>
                    <a:pt x="601888" y="4623712"/>
                    <a:pt x="606970" y="4612937"/>
                    <a:pt x="611099" y="4604381"/>
                  </a:cubicBezTo>
                  <a:cubicBezTo>
                    <a:pt x="611099" y="4604381"/>
                    <a:pt x="611099" y="4604381"/>
                    <a:pt x="580607" y="4582833"/>
                  </a:cubicBezTo>
                  <a:close/>
                  <a:moveTo>
                    <a:pt x="1637643" y="4578080"/>
                  </a:moveTo>
                  <a:lnTo>
                    <a:pt x="1517901" y="4641140"/>
                  </a:lnTo>
                  <a:cubicBezTo>
                    <a:pt x="1517901" y="4641140"/>
                    <a:pt x="1517901" y="4641140"/>
                    <a:pt x="1607151" y="4768846"/>
                  </a:cubicBezTo>
                  <a:cubicBezTo>
                    <a:pt x="1607151" y="4768846"/>
                    <a:pt x="1607151" y="4768846"/>
                    <a:pt x="1710060" y="4691843"/>
                  </a:cubicBezTo>
                  <a:cubicBezTo>
                    <a:pt x="1710060" y="4691843"/>
                    <a:pt x="1710060" y="4691843"/>
                    <a:pt x="1637643" y="4578080"/>
                  </a:cubicBezTo>
                  <a:close/>
                  <a:moveTo>
                    <a:pt x="60983" y="4575862"/>
                  </a:moveTo>
                  <a:cubicBezTo>
                    <a:pt x="60983" y="4575862"/>
                    <a:pt x="60983" y="4575862"/>
                    <a:pt x="50184" y="4591706"/>
                  </a:cubicBezTo>
                  <a:lnTo>
                    <a:pt x="62571" y="4599945"/>
                  </a:lnTo>
                  <a:cubicBezTo>
                    <a:pt x="62571" y="4599945"/>
                    <a:pt x="62571" y="4599945"/>
                    <a:pt x="54948" y="4611353"/>
                  </a:cubicBezTo>
                  <a:cubicBezTo>
                    <a:pt x="54948" y="4611353"/>
                    <a:pt x="54948" y="4611353"/>
                    <a:pt x="78452" y="4627514"/>
                  </a:cubicBezTo>
                  <a:cubicBezTo>
                    <a:pt x="78452" y="4627514"/>
                    <a:pt x="78452" y="4627514"/>
                    <a:pt x="86393" y="4616423"/>
                  </a:cubicBezTo>
                  <a:cubicBezTo>
                    <a:pt x="86393" y="4616423"/>
                    <a:pt x="86393" y="4616423"/>
                    <a:pt x="98462" y="4624662"/>
                  </a:cubicBezTo>
                  <a:cubicBezTo>
                    <a:pt x="98462" y="4624662"/>
                    <a:pt x="98462" y="4624662"/>
                    <a:pt x="109261" y="4609135"/>
                  </a:cubicBezTo>
                  <a:cubicBezTo>
                    <a:pt x="109261" y="4609135"/>
                    <a:pt x="109261" y="4609135"/>
                    <a:pt x="60983" y="4575862"/>
                  </a:cubicBezTo>
                  <a:close/>
                  <a:moveTo>
                    <a:pt x="1639231" y="4572059"/>
                  </a:moveTo>
                  <a:cubicBezTo>
                    <a:pt x="1639231" y="4572059"/>
                    <a:pt x="1639231" y="4572059"/>
                    <a:pt x="1716412" y="4692793"/>
                  </a:cubicBezTo>
                  <a:cubicBezTo>
                    <a:pt x="1716412" y="4692793"/>
                    <a:pt x="1716412" y="4692793"/>
                    <a:pt x="1714507" y="4694061"/>
                  </a:cubicBezTo>
                  <a:lnTo>
                    <a:pt x="1606199" y="4775501"/>
                  </a:lnTo>
                  <a:cubicBezTo>
                    <a:pt x="1606199" y="4775501"/>
                    <a:pt x="1606199" y="4775501"/>
                    <a:pt x="1511231" y="4639556"/>
                  </a:cubicBezTo>
                  <a:cubicBezTo>
                    <a:pt x="1511231" y="4639556"/>
                    <a:pt x="1511231" y="4639556"/>
                    <a:pt x="1639231" y="4572059"/>
                  </a:cubicBezTo>
                  <a:close/>
                  <a:moveTo>
                    <a:pt x="1099597" y="4571108"/>
                  </a:moveTo>
                  <a:cubicBezTo>
                    <a:pt x="1099597" y="4571108"/>
                    <a:pt x="1099597" y="4571108"/>
                    <a:pt x="1090703" y="4650964"/>
                  </a:cubicBezTo>
                  <a:lnTo>
                    <a:pt x="1125324" y="4653182"/>
                  </a:lnTo>
                  <a:cubicBezTo>
                    <a:pt x="1125324" y="4653182"/>
                    <a:pt x="1125324" y="4653182"/>
                    <a:pt x="1131994" y="4596776"/>
                  </a:cubicBezTo>
                  <a:cubicBezTo>
                    <a:pt x="1131994" y="4596776"/>
                    <a:pt x="1131994" y="4596776"/>
                    <a:pt x="1192659" y="4609135"/>
                  </a:cubicBezTo>
                  <a:cubicBezTo>
                    <a:pt x="1192659" y="4609135"/>
                    <a:pt x="1192659" y="4609135"/>
                    <a:pt x="1194882" y="4593924"/>
                  </a:cubicBezTo>
                  <a:cubicBezTo>
                    <a:pt x="1194882" y="4593924"/>
                    <a:pt x="1194882" y="4593924"/>
                    <a:pt x="1099597" y="4571108"/>
                  </a:cubicBezTo>
                  <a:close/>
                  <a:moveTo>
                    <a:pt x="563456" y="4570158"/>
                  </a:moveTo>
                  <a:cubicBezTo>
                    <a:pt x="563456" y="4570158"/>
                    <a:pt x="563456" y="4570158"/>
                    <a:pt x="542811" y="4598044"/>
                  </a:cubicBezTo>
                  <a:cubicBezTo>
                    <a:pt x="542811" y="4598044"/>
                    <a:pt x="542811" y="4598044"/>
                    <a:pt x="561868" y="4611670"/>
                  </a:cubicBezTo>
                  <a:cubicBezTo>
                    <a:pt x="567585" y="4599628"/>
                    <a:pt x="572985" y="4588854"/>
                    <a:pt x="577114" y="4579981"/>
                  </a:cubicBezTo>
                  <a:cubicBezTo>
                    <a:pt x="577114" y="4579981"/>
                    <a:pt x="577114" y="4579981"/>
                    <a:pt x="563456" y="4570158"/>
                  </a:cubicBezTo>
                  <a:close/>
                  <a:moveTo>
                    <a:pt x="60030" y="4570158"/>
                  </a:moveTo>
                  <a:cubicBezTo>
                    <a:pt x="60030" y="4570158"/>
                    <a:pt x="60030" y="4570158"/>
                    <a:pt x="115296" y="4608184"/>
                  </a:cubicBezTo>
                  <a:cubicBezTo>
                    <a:pt x="115296" y="4608184"/>
                    <a:pt x="115296" y="4608184"/>
                    <a:pt x="114025" y="4609769"/>
                  </a:cubicBezTo>
                  <a:cubicBezTo>
                    <a:pt x="114025" y="4609769"/>
                    <a:pt x="114025" y="4609769"/>
                    <a:pt x="99733" y="4630683"/>
                  </a:cubicBezTo>
                  <a:cubicBezTo>
                    <a:pt x="99733" y="4630683"/>
                    <a:pt x="99733" y="4630683"/>
                    <a:pt x="87345" y="4622127"/>
                  </a:cubicBezTo>
                  <a:cubicBezTo>
                    <a:pt x="87345" y="4622127"/>
                    <a:pt x="87345" y="4622127"/>
                    <a:pt x="79405" y="4633535"/>
                  </a:cubicBezTo>
                  <a:lnTo>
                    <a:pt x="48914" y="4612304"/>
                  </a:lnTo>
                  <a:cubicBezTo>
                    <a:pt x="48914" y="4612304"/>
                    <a:pt x="48914" y="4612304"/>
                    <a:pt x="56854" y="4601213"/>
                  </a:cubicBezTo>
                  <a:cubicBezTo>
                    <a:pt x="56854" y="4601213"/>
                    <a:pt x="56854" y="4601213"/>
                    <a:pt x="44467" y="4592657"/>
                  </a:cubicBezTo>
                  <a:cubicBezTo>
                    <a:pt x="44467" y="4592657"/>
                    <a:pt x="44467" y="4592657"/>
                    <a:pt x="60030" y="4570158"/>
                  </a:cubicBezTo>
                  <a:close/>
                  <a:moveTo>
                    <a:pt x="1095468" y="4565404"/>
                  </a:moveTo>
                  <a:cubicBezTo>
                    <a:pt x="1095468" y="4565404"/>
                    <a:pt x="1095468" y="4565404"/>
                    <a:pt x="1200282" y="4590438"/>
                  </a:cubicBezTo>
                  <a:cubicBezTo>
                    <a:pt x="1200282" y="4590438"/>
                    <a:pt x="1200282" y="4590438"/>
                    <a:pt x="1199964" y="4592657"/>
                  </a:cubicBezTo>
                  <a:cubicBezTo>
                    <a:pt x="1199964" y="4592657"/>
                    <a:pt x="1199964" y="4592657"/>
                    <a:pt x="1196788" y="4614522"/>
                  </a:cubicBezTo>
                  <a:cubicBezTo>
                    <a:pt x="1196788" y="4614522"/>
                    <a:pt x="1196788" y="4614522"/>
                    <a:pt x="1135805" y="4602163"/>
                  </a:cubicBezTo>
                  <a:lnTo>
                    <a:pt x="1129453" y="4657936"/>
                  </a:lnTo>
                  <a:cubicBezTo>
                    <a:pt x="1129453" y="4657936"/>
                    <a:pt x="1129453" y="4657936"/>
                    <a:pt x="1085304" y="4655084"/>
                  </a:cubicBezTo>
                  <a:cubicBezTo>
                    <a:pt x="1085304" y="4655084"/>
                    <a:pt x="1085304" y="4655084"/>
                    <a:pt x="1095468" y="4565404"/>
                  </a:cubicBezTo>
                  <a:close/>
                  <a:moveTo>
                    <a:pt x="409729" y="4562235"/>
                  </a:moveTo>
                  <a:cubicBezTo>
                    <a:pt x="409729" y="4562235"/>
                    <a:pt x="409729" y="4562235"/>
                    <a:pt x="392259" y="4598994"/>
                  </a:cubicBezTo>
                  <a:cubicBezTo>
                    <a:pt x="392259" y="4598994"/>
                    <a:pt x="392259" y="4598994"/>
                    <a:pt x="404647" y="4609769"/>
                  </a:cubicBezTo>
                  <a:lnTo>
                    <a:pt x="422433" y="4572693"/>
                  </a:lnTo>
                  <a:cubicBezTo>
                    <a:pt x="422433" y="4572693"/>
                    <a:pt x="422433" y="4572693"/>
                    <a:pt x="409729" y="4562235"/>
                  </a:cubicBezTo>
                  <a:close/>
                  <a:moveTo>
                    <a:pt x="590771" y="4561918"/>
                  </a:moveTo>
                  <a:cubicBezTo>
                    <a:pt x="589501" y="4564454"/>
                    <a:pt x="586642" y="4570474"/>
                    <a:pt x="582513" y="4579030"/>
                  </a:cubicBezTo>
                  <a:cubicBezTo>
                    <a:pt x="582513" y="4579030"/>
                    <a:pt x="582513" y="4579030"/>
                    <a:pt x="612687" y="4600579"/>
                  </a:cubicBezTo>
                  <a:cubicBezTo>
                    <a:pt x="616181" y="4593607"/>
                    <a:pt x="618404" y="4588854"/>
                    <a:pt x="619357" y="4586953"/>
                  </a:cubicBezTo>
                  <a:cubicBezTo>
                    <a:pt x="619357" y="4586953"/>
                    <a:pt x="619357" y="4586953"/>
                    <a:pt x="590771" y="4561918"/>
                  </a:cubicBezTo>
                  <a:close/>
                  <a:moveTo>
                    <a:pt x="2230002" y="4561602"/>
                  </a:moveTo>
                  <a:cubicBezTo>
                    <a:pt x="2230002" y="4561602"/>
                    <a:pt x="2230002" y="4561602"/>
                    <a:pt x="2229684" y="4562552"/>
                  </a:cubicBezTo>
                  <a:lnTo>
                    <a:pt x="2229684" y="4564770"/>
                  </a:lnTo>
                  <a:cubicBezTo>
                    <a:pt x="2229684" y="4564770"/>
                    <a:pt x="2229684" y="4564770"/>
                    <a:pt x="2213168" y="4563186"/>
                  </a:cubicBezTo>
                  <a:cubicBezTo>
                    <a:pt x="2213168" y="4563186"/>
                    <a:pt x="2213168" y="4563186"/>
                    <a:pt x="2208404" y="4613571"/>
                  </a:cubicBezTo>
                  <a:cubicBezTo>
                    <a:pt x="2208404" y="4613571"/>
                    <a:pt x="2208404" y="4613571"/>
                    <a:pt x="2234766" y="4615789"/>
                  </a:cubicBezTo>
                  <a:cubicBezTo>
                    <a:pt x="2234766" y="4615789"/>
                    <a:pt x="2234766" y="4615789"/>
                    <a:pt x="2236990" y="4592974"/>
                  </a:cubicBezTo>
                  <a:cubicBezTo>
                    <a:pt x="2236990" y="4592974"/>
                    <a:pt x="2236990" y="4592974"/>
                    <a:pt x="2255094" y="4594558"/>
                  </a:cubicBezTo>
                  <a:cubicBezTo>
                    <a:pt x="2255094" y="4594558"/>
                    <a:pt x="2255094" y="4594558"/>
                    <a:pt x="2258588" y="4564137"/>
                  </a:cubicBezTo>
                  <a:cubicBezTo>
                    <a:pt x="2258588" y="4564137"/>
                    <a:pt x="2258588" y="4564137"/>
                    <a:pt x="2230002" y="4561602"/>
                  </a:cubicBezTo>
                  <a:close/>
                  <a:moveTo>
                    <a:pt x="1417533" y="4561285"/>
                  </a:moveTo>
                  <a:cubicBezTo>
                    <a:pt x="1417533" y="4561285"/>
                    <a:pt x="1417533" y="4561285"/>
                    <a:pt x="1384501" y="4577763"/>
                  </a:cubicBezTo>
                  <a:cubicBezTo>
                    <a:pt x="1384501" y="4577763"/>
                    <a:pt x="1384501" y="4577763"/>
                    <a:pt x="1376878" y="4574277"/>
                  </a:cubicBezTo>
                  <a:cubicBezTo>
                    <a:pt x="1376878" y="4574277"/>
                    <a:pt x="1376878" y="4574277"/>
                    <a:pt x="1273969" y="4696913"/>
                  </a:cubicBezTo>
                  <a:cubicBezTo>
                    <a:pt x="1273969" y="4696913"/>
                    <a:pt x="1273969" y="4696913"/>
                    <a:pt x="1282227" y="4718144"/>
                  </a:cubicBezTo>
                  <a:cubicBezTo>
                    <a:pt x="1282227" y="4718144"/>
                    <a:pt x="1282227" y="4718144"/>
                    <a:pt x="1320024" y="4694695"/>
                  </a:cubicBezTo>
                  <a:cubicBezTo>
                    <a:pt x="1320024" y="4694695"/>
                    <a:pt x="1320024" y="4694695"/>
                    <a:pt x="1382277" y="4603114"/>
                  </a:cubicBezTo>
                  <a:cubicBezTo>
                    <a:pt x="1382277" y="4603114"/>
                    <a:pt x="1382277" y="4603114"/>
                    <a:pt x="1391806" y="4617691"/>
                  </a:cubicBezTo>
                  <a:lnTo>
                    <a:pt x="1430238" y="4600896"/>
                  </a:lnTo>
                  <a:cubicBezTo>
                    <a:pt x="1430238" y="4600896"/>
                    <a:pt x="1430238" y="4600896"/>
                    <a:pt x="1417533" y="4561285"/>
                  </a:cubicBezTo>
                  <a:close/>
                  <a:moveTo>
                    <a:pt x="1639231" y="4559700"/>
                  </a:moveTo>
                  <a:cubicBezTo>
                    <a:pt x="1639231" y="4559700"/>
                    <a:pt x="1639231" y="4559700"/>
                    <a:pt x="1502337" y="4637338"/>
                  </a:cubicBezTo>
                  <a:cubicBezTo>
                    <a:pt x="1509007" y="4647161"/>
                    <a:pt x="1530288" y="4678216"/>
                    <a:pt x="1551886" y="4709271"/>
                  </a:cubicBezTo>
                  <a:cubicBezTo>
                    <a:pt x="1564908" y="4728285"/>
                    <a:pt x="1577931" y="4746981"/>
                    <a:pt x="1588094" y="4761241"/>
                  </a:cubicBezTo>
                  <a:cubicBezTo>
                    <a:pt x="1593176" y="4768529"/>
                    <a:pt x="1597305" y="4774233"/>
                    <a:pt x="1600164" y="4778670"/>
                  </a:cubicBezTo>
                  <a:cubicBezTo>
                    <a:pt x="1601752" y="4780571"/>
                    <a:pt x="1603022" y="4782472"/>
                    <a:pt x="1603975" y="4783423"/>
                  </a:cubicBezTo>
                  <a:cubicBezTo>
                    <a:pt x="1603975" y="4783740"/>
                    <a:pt x="1603975" y="4783740"/>
                    <a:pt x="1604293" y="4783740"/>
                  </a:cubicBezTo>
                  <a:cubicBezTo>
                    <a:pt x="1604293" y="4783740"/>
                    <a:pt x="1604293" y="4783740"/>
                    <a:pt x="1727211" y="4695962"/>
                  </a:cubicBezTo>
                  <a:cubicBezTo>
                    <a:pt x="1727211" y="4695962"/>
                    <a:pt x="1727211" y="4695962"/>
                    <a:pt x="1639231" y="4559700"/>
                  </a:cubicBezTo>
                  <a:close/>
                  <a:moveTo>
                    <a:pt x="2226190" y="4556848"/>
                  </a:moveTo>
                  <a:cubicBezTo>
                    <a:pt x="2226190" y="4556848"/>
                    <a:pt x="2226190" y="4556848"/>
                    <a:pt x="2263352" y="4560334"/>
                  </a:cubicBezTo>
                  <a:cubicBezTo>
                    <a:pt x="2263352" y="4560334"/>
                    <a:pt x="2263352" y="4560334"/>
                    <a:pt x="2258905" y="4598994"/>
                  </a:cubicBezTo>
                  <a:cubicBezTo>
                    <a:pt x="2258905" y="4598994"/>
                    <a:pt x="2258905" y="4598994"/>
                    <a:pt x="2256682" y="4598994"/>
                  </a:cubicBezTo>
                  <a:cubicBezTo>
                    <a:pt x="2256682" y="4598994"/>
                    <a:pt x="2256682" y="4598994"/>
                    <a:pt x="2240801" y="4597410"/>
                  </a:cubicBezTo>
                  <a:cubicBezTo>
                    <a:pt x="2240801" y="4597410"/>
                    <a:pt x="2240801" y="4597410"/>
                    <a:pt x="2238578" y="4620543"/>
                  </a:cubicBezTo>
                  <a:cubicBezTo>
                    <a:pt x="2238578" y="4620543"/>
                    <a:pt x="2238578" y="4620543"/>
                    <a:pt x="2203957" y="4617374"/>
                  </a:cubicBezTo>
                  <a:cubicBezTo>
                    <a:pt x="2203957" y="4617374"/>
                    <a:pt x="2203957" y="4617374"/>
                    <a:pt x="2209356" y="4558750"/>
                  </a:cubicBezTo>
                  <a:cubicBezTo>
                    <a:pt x="2209356" y="4558750"/>
                    <a:pt x="2209356" y="4558750"/>
                    <a:pt x="2225873" y="4560334"/>
                  </a:cubicBezTo>
                  <a:cubicBezTo>
                    <a:pt x="2225873" y="4560334"/>
                    <a:pt x="2225873" y="4560334"/>
                    <a:pt x="2225873" y="4559067"/>
                  </a:cubicBezTo>
                  <a:close/>
                  <a:moveTo>
                    <a:pt x="1420392" y="4554630"/>
                  </a:moveTo>
                  <a:lnTo>
                    <a:pt x="1421344" y="4557165"/>
                  </a:lnTo>
                  <a:cubicBezTo>
                    <a:pt x="1421344" y="4557165"/>
                    <a:pt x="1421344" y="4557165"/>
                    <a:pt x="1435955" y="4603431"/>
                  </a:cubicBezTo>
                  <a:cubicBezTo>
                    <a:pt x="1435955" y="4603431"/>
                    <a:pt x="1435955" y="4603431"/>
                    <a:pt x="1389900" y="4623712"/>
                  </a:cubicBezTo>
                  <a:cubicBezTo>
                    <a:pt x="1389900" y="4623712"/>
                    <a:pt x="1389900" y="4623712"/>
                    <a:pt x="1382277" y="4611353"/>
                  </a:cubicBezTo>
                  <a:cubicBezTo>
                    <a:pt x="1382277" y="4611353"/>
                    <a:pt x="1382277" y="4611353"/>
                    <a:pt x="1323518" y="4697863"/>
                  </a:cubicBezTo>
                  <a:cubicBezTo>
                    <a:pt x="1323518" y="4697863"/>
                    <a:pt x="1323518" y="4697863"/>
                    <a:pt x="1279686" y="4725116"/>
                  </a:cubicBezTo>
                  <a:cubicBezTo>
                    <a:pt x="1279686" y="4725116"/>
                    <a:pt x="1279686" y="4725116"/>
                    <a:pt x="1268570" y="4695962"/>
                  </a:cubicBezTo>
                  <a:cubicBezTo>
                    <a:pt x="1268570" y="4695962"/>
                    <a:pt x="1268570" y="4695962"/>
                    <a:pt x="1375607" y="4568573"/>
                  </a:cubicBezTo>
                  <a:cubicBezTo>
                    <a:pt x="1375607" y="4568573"/>
                    <a:pt x="1375607" y="4568573"/>
                    <a:pt x="1384183" y="4572376"/>
                  </a:cubicBezTo>
                  <a:cubicBezTo>
                    <a:pt x="1384183" y="4572376"/>
                    <a:pt x="1384183" y="4572376"/>
                    <a:pt x="1420392" y="4554630"/>
                  </a:cubicBezTo>
                  <a:close/>
                  <a:moveTo>
                    <a:pt x="641273" y="4545123"/>
                  </a:moveTo>
                  <a:cubicBezTo>
                    <a:pt x="650484" y="4559383"/>
                    <a:pt x="669858" y="4587270"/>
                    <a:pt x="686057" y="4596142"/>
                  </a:cubicBezTo>
                  <a:cubicBezTo>
                    <a:pt x="708925" y="4608501"/>
                    <a:pt x="753074" y="4620226"/>
                    <a:pt x="765462" y="4629416"/>
                  </a:cubicBezTo>
                  <a:cubicBezTo>
                    <a:pt x="777849" y="4638605"/>
                    <a:pt x="801670" y="4680435"/>
                    <a:pt x="816281" y="4690892"/>
                  </a:cubicBezTo>
                  <a:cubicBezTo>
                    <a:pt x="831209" y="4701983"/>
                    <a:pt x="848995" y="4706419"/>
                    <a:pt x="855983" y="4712440"/>
                  </a:cubicBezTo>
                  <a:cubicBezTo>
                    <a:pt x="862018" y="4717827"/>
                    <a:pt x="879169" y="4729552"/>
                    <a:pt x="886792" y="4729552"/>
                  </a:cubicBezTo>
                  <a:cubicBezTo>
                    <a:pt x="888698" y="4729869"/>
                    <a:pt x="891556" y="4726383"/>
                    <a:pt x="893780" y="4721313"/>
                  </a:cubicBezTo>
                  <a:cubicBezTo>
                    <a:pt x="896003" y="4716243"/>
                    <a:pt x="897591" y="4709588"/>
                    <a:pt x="897591" y="4704201"/>
                  </a:cubicBezTo>
                  <a:cubicBezTo>
                    <a:pt x="897591" y="4698814"/>
                    <a:pt x="896003" y="4694695"/>
                    <a:pt x="892827" y="4694061"/>
                  </a:cubicBezTo>
                  <a:cubicBezTo>
                    <a:pt x="881392" y="4690892"/>
                    <a:pt x="848678" y="4691209"/>
                    <a:pt x="836926" y="4683603"/>
                  </a:cubicBezTo>
                  <a:cubicBezTo>
                    <a:pt x="825174" y="4675998"/>
                    <a:pt x="798494" y="4623078"/>
                    <a:pt x="776896" y="4615789"/>
                  </a:cubicBezTo>
                  <a:cubicBezTo>
                    <a:pt x="754980" y="4607867"/>
                    <a:pt x="706067" y="4596142"/>
                    <a:pt x="690504" y="4587270"/>
                  </a:cubicBezTo>
                  <a:cubicBezTo>
                    <a:pt x="679069" y="4580615"/>
                    <a:pt x="653977" y="4557165"/>
                    <a:pt x="641273" y="4545123"/>
                  </a:cubicBezTo>
                  <a:close/>
                  <a:moveTo>
                    <a:pt x="1732929" y="4541004"/>
                  </a:moveTo>
                  <a:lnTo>
                    <a:pt x="1697673" y="4566355"/>
                  </a:lnTo>
                  <a:cubicBezTo>
                    <a:pt x="1697673" y="4566355"/>
                    <a:pt x="1697673" y="4566355"/>
                    <a:pt x="1743728" y="4624979"/>
                  </a:cubicBezTo>
                  <a:cubicBezTo>
                    <a:pt x="1743728" y="4624979"/>
                    <a:pt x="1743728" y="4624979"/>
                    <a:pt x="1786924" y="4592657"/>
                  </a:cubicBezTo>
                  <a:cubicBezTo>
                    <a:pt x="1786924" y="4592657"/>
                    <a:pt x="1786924" y="4592657"/>
                    <a:pt x="1732929" y="4541004"/>
                  </a:cubicBezTo>
                  <a:close/>
                  <a:moveTo>
                    <a:pt x="563138" y="4537835"/>
                  </a:moveTo>
                  <a:cubicBezTo>
                    <a:pt x="558374" y="4547342"/>
                    <a:pt x="545034" y="4575228"/>
                    <a:pt x="528836" y="4608501"/>
                  </a:cubicBezTo>
                  <a:cubicBezTo>
                    <a:pt x="528836" y="4608501"/>
                    <a:pt x="528836" y="4608501"/>
                    <a:pt x="550751" y="4635120"/>
                  </a:cubicBezTo>
                  <a:cubicBezTo>
                    <a:pt x="553927" y="4628148"/>
                    <a:pt x="557104" y="4621810"/>
                    <a:pt x="559962" y="4615473"/>
                  </a:cubicBezTo>
                  <a:cubicBezTo>
                    <a:pt x="559962" y="4615473"/>
                    <a:pt x="559962" y="4615473"/>
                    <a:pt x="536776" y="4598994"/>
                  </a:cubicBezTo>
                  <a:cubicBezTo>
                    <a:pt x="536776" y="4598994"/>
                    <a:pt x="536776" y="4598994"/>
                    <a:pt x="562503" y="4564454"/>
                  </a:cubicBezTo>
                  <a:cubicBezTo>
                    <a:pt x="562503" y="4564454"/>
                    <a:pt x="562503" y="4564454"/>
                    <a:pt x="579019" y="4576178"/>
                  </a:cubicBezTo>
                  <a:cubicBezTo>
                    <a:pt x="583466" y="4566672"/>
                    <a:pt x="586642" y="4560334"/>
                    <a:pt x="587277" y="4558750"/>
                  </a:cubicBezTo>
                  <a:cubicBezTo>
                    <a:pt x="587277" y="4558750"/>
                    <a:pt x="587277" y="4558750"/>
                    <a:pt x="563138" y="4537835"/>
                  </a:cubicBezTo>
                  <a:close/>
                  <a:moveTo>
                    <a:pt x="635873" y="4536251"/>
                  </a:moveTo>
                  <a:cubicBezTo>
                    <a:pt x="635873" y="4536251"/>
                    <a:pt x="677164" y="4576495"/>
                    <a:pt x="691774" y="4585051"/>
                  </a:cubicBezTo>
                  <a:cubicBezTo>
                    <a:pt x="706385" y="4593607"/>
                    <a:pt x="755615" y="4605332"/>
                    <a:pt x="777849" y="4613254"/>
                  </a:cubicBezTo>
                  <a:cubicBezTo>
                    <a:pt x="801035" y="4621810"/>
                    <a:pt x="828033" y="4675047"/>
                    <a:pt x="838514" y="4681385"/>
                  </a:cubicBezTo>
                  <a:cubicBezTo>
                    <a:pt x="848678" y="4688357"/>
                    <a:pt x="881392" y="4688357"/>
                    <a:pt x="893462" y="4691526"/>
                  </a:cubicBezTo>
                  <a:cubicBezTo>
                    <a:pt x="898544" y="4693110"/>
                    <a:pt x="900132" y="4698497"/>
                    <a:pt x="900132" y="4704201"/>
                  </a:cubicBezTo>
                  <a:cubicBezTo>
                    <a:pt x="899814" y="4715926"/>
                    <a:pt x="894415" y="4731454"/>
                    <a:pt x="886792" y="4732087"/>
                  </a:cubicBezTo>
                  <a:cubicBezTo>
                    <a:pt x="877263" y="4732087"/>
                    <a:pt x="860747" y="4720046"/>
                    <a:pt x="854395" y="4714342"/>
                  </a:cubicBezTo>
                  <a:cubicBezTo>
                    <a:pt x="848678" y="4709271"/>
                    <a:pt x="829938" y="4704201"/>
                    <a:pt x="814693" y="4693110"/>
                  </a:cubicBezTo>
                  <a:cubicBezTo>
                    <a:pt x="799447" y="4681702"/>
                    <a:pt x="775625" y="4639556"/>
                    <a:pt x="764191" y="4631317"/>
                  </a:cubicBezTo>
                  <a:cubicBezTo>
                    <a:pt x="752757" y="4623078"/>
                    <a:pt x="707973" y="4611036"/>
                    <a:pt x="684786" y="4598361"/>
                  </a:cubicBezTo>
                  <a:cubicBezTo>
                    <a:pt x="661283" y="4585368"/>
                    <a:pt x="633650" y="4537835"/>
                    <a:pt x="633650" y="4537835"/>
                  </a:cubicBezTo>
                  <a:cubicBezTo>
                    <a:pt x="633650" y="4537835"/>
                    <a:pt x="633650" y="4537835"/>
                    <a:pt x="635873" y="4536251"/>
                  </a:cubicBezTo>
                  <a:close/>
                  <a:moveTo>
                    <a:pt x="1979401" y="4535300"/>
                  </a:moveTo>
                  <a:cubicBezTo>
                    <a:pt x="1979401" y="4535300"/>
                    <a:pt x="1979401" y="4535300"/>
                    <a:pt x="1979083" y="4536567"/>
                  </a:cubicBezTo>
                  <a:cubicBezTo>
                    <a:pt x="1979083" y="4536567"/>
                    <a:pt x="1979083" y="4536567"/>
                    <a:pt x="1979083" y="4538469"/>
                  </a:cubicBezTo>
                  <a:cubicBezTo>
                    <a:pt x="1979083" y="4538469"/>
                    <a:pt x="1979083" y="4538469"/>
                    <a:pt x="1962567" y="4536884"/>
                  </a:cubicBezTo>
                  <a:cubicBezTo>
                    <a:pt x="1962567" y="4536884"/>
                    <a:pt x="1962567" y="4536884"/>
                    <a:pt x="1957802" y="4587270"/>
                  </a:cubicBezTo>
                  <a:cubicBezTo>
                    <a:pt x="1957802" y="4587270"/>
                    <a:pt x="1957802" y="4587270"/>
                    <a:pt x="1984165" y="4589805"/>
                  </a:cubicBezTo>
                  <a:lnTo>
                    <a:pt x="1986388" y="4566672"/>
                  </a:lnTo>
                  <a:cubicBezTo>
                    <a:pt x="1986388" y="4566672"/>
                    <a:pt x="1986388" y="4566672"/>
                    <a:pt x="2004492" y="4568256"/>
                  </a:cubicBezTo>
                  <a:cubicBezTo>
                    <a:pt x="2004492" y="4568256"/>
                    <a:pt x="2004492" y="4568256"/>
                    <a:pt x="2007986" y="4537835"/>
                  </a:cubicBezTo>
                  <a:cubicBezTo>
                    <a:pt x="2007986" y="4537835"/>
                    <a:pt x="2007986" y="4537835"/>
                    <a:pt x="1979401" y="4535300"/>
                  </a:cubicBezTo>
                  <a:close/>
                  <a:moveTo>
                    <a:pt x="1733246" y="4534983"/>
                  </a:moveTo>
                  <a:cubicBezTo>
                    <a:pt x="1733246" y="4534983"/>
                    <a:pt x="1733246" y="4534983"/>
                    <a:pt x="1793911" y="4593290"/>
                  </a:cubicBezTo>
                  <a:cubicBezTo>
                    <a:pt x="1793911" y="4593290"/>
                    <a:pt x="1793911" y="4593290"/>
                    <a:pt x="1791688" y="4594875"/>
                  </a:cubicBezTo>
                  <a:lnTo>
                    <a:pt x="1742775" y="4631634"/>
                  </a:lnTo>
                  <a:cubicBezTo>
                    <a:pt x="1742775" y="4631634"/>
                    <a:pt x="1742775" y="4631634"/>
                    <a:pt x="1691003" y="4565404"/>
                  </a:cubicBezTo>
                  <a:cubicBezTo>
                    <a:pt x="1691003" y="4565404"/>
                    <a:pt x="1691003" y="4565404"/>
                    <a:pt x="1733246" y="4534983"/>
                  </a:cubicBezTo>
                  <a:close/>
                  <a:moveTo>
                    <a:pt x="2063252" y="4532765"/>
                  </a:moveTo>
                  <a:cubicBezTo>
                    <a:pt x="2063252" y="4532765"/>
                    <a:pt x="2063252" y="4532765"/>
                    <a:pt x="2063252" y="4534032"/>
                  </a:cubicBezTo>
                  <a:lnTo>
                    <a:pt x="2062934" y="4536251"/>
                  </a:lnTo>
                  <a:cubicBezTo>
                    <a:pt x="2062934" y="4536251"/>
                    <a:pt x="2062934" y="4536251"/>
                    <a:pt x="2046418" y="4534666"/>
                  </a:cubicBezTo>
                  <a:cubicBezTo>
                    <a:pt x="2046418" y="4534666"/>
                    <a:pt x="2046418" y="4534666"/>
                    <a:pt x="2041972" y="4584734"/>
                  </a:cubicBezTo>
                  <a:cubicBezTo>
                    <a:pt x="2041972" y="4584734"/>
                    <a:pt x="2041972" y="4584734"/>
                    <a:pt x="2068334" y="4587270"/>
                  </a:cubicBezTo>
                  <a:cubicBezTo>
                    <a:pt x="2068334" y="4587270"/>
                    <a:pt x="2068334" y="4587270"/>
                    <a:pt x="2070240" y="4564137"/>
                  </a:cubicBezTo>
                  <a:cubicBezTo>
                    <a:pt x="2070240" y="4564137"/>
                    <a:pt x="2070240" y="4564137"/>
                    <a:pt x="2088662" y="4566038"/>
                  </a:cubicBezTo>
                  <a:cubicBezTo>
                    <a:pt x="2088662" y="4566038"/>
                    <a:pt x="2088662" y="4566038"/>
                    <a:pt x="2092155" y="4535617"/>
                  </a:cubicBezTo>
                  <a:cubicBezTo>
                    <a:pt x="2092155" y="4535617"/>
                    <a:pt x="2092155" y="4535617"/>
                    <a:pt x="2063252" y="4532765"/>
                  </a:cubicBezTo>
                  <a:close/>
                  <a:moveTo>
                    <a:pt x="1975589" y="4530863"/>
                  </a:moveTo>
                  <a:cubicBezTo>
                    <a:pt x="1975589" y="4530863"/>
                    <a:pt x="1975589" y="4530863"/>
                    <a:pt x="2012751" y="4534349"/>
                  </a:cubicBezTo>
                  <a:cubicBezTo>
                    <a:pt x="2012751" y="4534349"/>
                    <a:pt x="2012751" y="4534349"/>
                    <a:pt x="2008304" y="4573010"/>
                  </a:cubicBezTo>
                  <a:cubicBezTo>
                    <a:pt x="2008304" y="4573010"/>
                    <a:pt x="2008304" y="4573010"/>
                    <a:pt x="2006081" y="4572693"/>
                  </a:cubicBezTo>
                  <a:cubicBezTo>
                    <a:pt x="2006081" y="4572693"/>
                    <a:pt x="2006081" y="4572693"/>
                    <a:pt x="1990200" y="4571108"/>
                  </a:cubicBezTo>
                  <a:lnTo>
                    <a:pt x="1987976" y="4594241"/>
                  </a:lnTo>
                  <a:cubicBezTo>
                    <a:pt x="1987976" y="4594241"/>
                    <a:pt x="1987976" y="4594241"/>
                    <a:pt x="1953038" y="4591072"/>
                  </a:cubicBezTo>
                  <a:cubicBezTo>
                    <a:pt x="1953038" y="4591072"/>
                    <a:pt x="1953038" y="4591072"/>
                    <a:pt x="1958755" y="4532448"/>
                  </a:cubicBezTo>
                  <a:cubicBezTo>
                    <a:pt x="1958755" y="4532448"/>
                    <a:pt x="1958755" y="4532448"/>
                    <a:pt x="1975272" y="4534032"/>
                  </a:cubicBezTo>
                  <a:cubicBezTo>
                    <a:pt x="1975272" y="4534032"/>
                    <a:pt x="1975272" y="4534032"/>
                    <a:pt x="1975272" y="4532765"/>
                  </a:cubicBezTo>
                  <a:cubicBezTo>
                    <a:pt x="1975272" y="4532765"/>
                    <a:pt x="1975272" y="4532765"/>
                    <a:pt x="1975589" y="4530863"/>
                  </a:cubicBezTo>
                  <a:close/>
                  <a:moveTo>
                    <a:pt x="2154091" y="4530230"/>
                  </a:moveTo>
                  <a:cubicBezTo>
                    <a:pt x="2154091" y="4530230"/>
                    <a:pt x="2154091" y="4530230"/>
                    <a:pt x="2153773" y="4531497"/>
                  </a:cubicBezTo>
                  <a:lnTo>
                    <a:pt x="2153773" y="4533715"/>
                  </a:lnTo>
                  <a:cubicBezTo>
                    <a:pt x="2153773" y="4533715"/>
                    <a:pt x="2153773" y="4533715"/>
                    <a:pt x="2137257" y="4532131"/>
                  </a:cubicBezTo>
                  <a:cubicBezTo>
                    <a:pt x="2137257" y="4532131"/>
                    <a:pt x="2137257" y="4532131"/>
                    <a:pt x="2132493" y="4582199"/>
                  </a:cubicBezTo>
                  <a:cubicBezTo>
                    <a:pt x="2132493" y="4582199"/>
                    <a:pt x="2132493" y="4582199"/>
                    <a:pt x="2158855" y="4584734"/>
                  </a:cubicBezTo>
                  <a:cubicBezTo>
                    <a:pt x="2158855" y="4584734"/>
                    <a:pt x="2158855" y="4584734"/>
                    <a:pt x="2161078" y="4561918"/>
                  </a:cubicBezTo>
                  <a:cubicBezTo>
                    <a:pt x="2161078" y="4561918"/>
                    <a:pt x="2161078" y="4561918"/>
                    <a:pt x="2179183" y="4563503"/>
                  </a:cubicBezTo>
                  <a:cubicBezTo>
                    <a:pt x="2179183" y="4563503"/>
                    <a:pt x="2179183" y="4563503"/>
                    <a:pt x="2182994" y="4533082"/>
                  </a:cubicBezTo>
                  <a:cubicBezTo>
                    <a:pt x="2182994" y="4533082"/>
                    <a:pt x="2182994" y="4533082"/>
                    <a:pt x="2154091" y="4530230"/>
                  </a:cubicBezTo>
                  <a:close/>
                  <a:moveTo>
                    <a:pt x="317937" y="4530230"/>
                  </a:moveTo>
                  <a:lnTo>
                    <a:pt x="300468" y="4548926"/>
                  </a:lnTo>
                  <a:cubicBezTo>
                    <a:pt x="300468" y="4548926"/>
                    <a:pt x="300468" y="4548926"/>
                    <a:pt x="325560" y="4565404"/>
                  </a:cubicBezTo>
                  <a:cubicBezTo>
                    <a:pt x="325560" y="4565404"/>
                    <a:pt x="325560" y="4565404"/>
                    <a:pt x="329053" y="4567622"/>
                  </a:cubicBezTo>
                  <a:cubicBezTo>
                    <a:pt x="329053" y="4567622"/>
                    <a:pt x="329053" y="4567622"/>
                    <a:pt x="327148" y="4571108"/>
                  </a:cubicBezTo>
                  <a:cubicBezTo>
                    <a:pt x="327148" y="4571108"/>
                    <a:pt x="327148" y="4571108"/>
                    <a:pt x="307773" y="4611036"/>
                  </a:cubicBezTo>
                  <a:cubicBezTo>
                    <a:pt x="307773" y="4611036"/>
                    <a:pt x="307773" y="4611036"/>
                    <a:pt x="303961" y="4618958"/>
                  </a:cubicBezTo>
                  <a:cubicBezTo>
                    <a:pt x="303961" y="4618958"/>
                    <a:pt x="303961" y="4618958"/>
                    <a:pt x="299832" y="4611036"/>
                  </a:cubicBezTo>
                  <a:cubicBezTo>
                    <a:pt x="299832" y="4611036"/>
                    <a:pt x="299832" y="4611036"/>
                    <a:pt x="280458" y="4573960"/>
                  </a:cubicBezTo>
                  <a:cubicBezTo>
                    <a:pt x="280458" y="4573960"/>
                    <a:pt x="280458" y="4573960"/>
                    <a:pt x="256636" y="4598994"/>
                  </a:cubicBezTo>
                  <a:cubicBezTo>
                    <a:pt x="256636" y="4598994"/>
                    <a:pt x="256636" y="4598994"/>
                    <a:pt x="316031" y="4641457"/>
                  </a:cubicBezTo>
                  <a:cubicBezTo>
                    <a:pt x="316031" y="4641457"/>
                    <a:pt x="316031" y="4641457"/>
                    <a:pt x="359545" y="4553046"/>
                  </a:cubicBezTo>
                  <a:cubicBezTo>
                    <a:pt x="359545" y="4553046"/>
                    <a:pt x="359545" y="4553046"/>
                    <a:pt x="317937" y="4530230"/>
                  </a:cubicBezTo>
                  <a:close/>
                  <a:moveTo>
                    <a:pt x="2059758" y="4528328"/>
                  </a:moveTo>
                  <a:cubicBezTo>
                    <a:pt x="2059758" y="4528328"/>
                    <a:pt x="2059758" y="4528328"/>
                    <a:pt x="2096920" y="4531814"/>
                  </a:cubicBezTo>
                  <a:cubicBezTo>
                    <a:pt x="2096920" y="4531814"/>
                    <a:pt x="2096920" y="4531814"/>
                    <a:pt x="2092155" y="4570474"/>
                  </a:cubicBezTo>
                  <a:cubicBezTo>
                    <a:pt x="2092155" y="4570474"/>
                    <a:pt x="2092155" y="4570474"/>
                    <a:pt x="2090250" y="4570158"/>
                  </a:cubicBezTo>
                  <a:cubicBezTo>
                    <a:pt x="2090250" y="4570158"/>
                    <a:pt x="2090250" y="4570158"/>
                    <a:pt x="2074051" y="4568890"/>
                  </a:cubicBezTo>
                  <a:cubicBezTo>
                    <a:pt x="2074051" y="4568890"/>
                    <a:pt x="2074051" y="4568890"/>
                    <a:pt x="2072145" y="4591706"/>
                  </a:cubicBezTo>
                  <a:cubicBezTo>
                    <a:pt x="2072145" y="4591706"/>
                    <a:pt x="2072145" y="4591706"/>
                    <a:pt x="2037207" y="4588537"/>
                  </a:cubicBezTo>
                  <a:cubicBezTo>
                    <a:pt x="2037207" y="4588537"/>
                    <a:pt x="2037207" y="4588537"/>
                    <a:pt x="2042924" y="4529913"/>
                  </a:cubicBezTo>
                  <a:cubicBezTo>
                    <a:pt x="2042924" y="4529913"/>
                    <a:pt x="2042924" y="4529913"/>
                    <a:pt x="2059440" y="4531497"/>
                  </a:cubicBezTo>
                  <a:cubicBezTo>
                    <a:pt x="2059440" y="4531497"/>
                    <a:pt x="2059440" y="4531497"/>
                    <a:pt x="2059440" y="4530230"/>
                  </a:cubicBezTo>
                  <a:close/>
                  <a:moveTo>
                    <a:pt x="522801" y="4526427"/>
                  </a:moveTo>
                  <a:cubicBezTo>
                    <a:pt x="518672" y="4534666"/>
                    <a:pt x="513590" y="4545440"/>
                    <a:pt x="507873" y="4557482"/>
                  </a:cubicBezTo>
                  <a:cubicBezTo>
                    <a:pt x="507873" y="4557482"/>
                    <a:pt x="507873" y="4557482"/>
                    <a:pt x="528518" y="4572059"/>
                  </a:cubicBezTo>
                  <a:cubicBezTo>
                    <a:pt x="528518" y="4572059"/>
                    <a:pt x="528518" y="4572059"/>
                    <a:pt x="547575" y="4544490"/>
                  </a:cubicBezTo>
                  <a:cubicBezTo>
                    <a:pt x="547575" y="4544490"/>
                    <a:pt x="547575" y="4544490"/>
                    <a:pt x="522801" y="4526427"/>
                  </a:cubicBezTo>
                  <a:close/>
                  <a:moveTo>
                    <a:pt x="426880" y="4526110"/>
                  </a:moveTo>
                  <a:cubicBezTo>
                    <a:pt x="426880" y="4526110"/>
                    <a:pt x="426880" y="4526110"/>
                    <a:pt x="410999" y="4559700"/>
                  </a:cubicBezTo>
                  <a:cubicBezTo>
                    <a:pt x="410999" y="4559700"/>
                    <a:pt x="410999" y="4559700"/>
                    <a:pt x="423704" y="4570474"/>
                  </a:cubicBezTo>
                  <a:lnTo>
                    <a:pt x="439585" y="4536884"/>
                  </a:lnTo>
                  <a:cubicBezTo>
                    <a:pt x="439585" y="4536884"/>
                    <a:pt x="439585" y="4536884"/>
                    <a:pt x="426880" y="4526110"/>
                  </a:cubicBezTo>
                  <a:close/>
                  <a:moveTo>
                    <a:pt x="2150280" y="4525793"/>
                  </a:moveTo>
                  <a:cubicBezTo>
                    <a:pt x="2150280" y="4525793"/>
                    <a:pt x="2150280" y="4525793"/>
                    <a:pt x="2187441" y="4529279"/>
                  </a:cubicBezTo>
                  <a:cubicBezTo>
                    <a:pt x="2187441" y="4529279"/>
                    <a:pt x="2187441" y="4529279"/>
                    <a:pt x="2182994" y="4567939"/>
                  </a:cubicBezTo>
                  <a:cubicBezTo>
                    <a:pt x="2182994" y="4567939"/>
                    <a:pt x="2182994" y="4567939"/>
                    <a:pt x="2180771" y="4567939"/>
                  </a:cubicBezTo>
                  <a:cubicBezTo>
                    <a:pt x="2180771" y="4567939"/>
                    <a:pt x="2180771" y="4567939"/>
                    <a:pt x="2164890" y="4566355"/>
                  </a:cubicBezTo>
                  <a:cubicBezTo>
                    <a:pt x="2164890" y="4566355"/>
                    <a:pt x="2164890" y="4566355"/>
                    <a:pt x="2162667" y="4589488"/>
                  </a:cubicBezTo>
                  <a:cubicBezTo>
                    <a:pt x="2162667" y="4589488"/>
                    <a:pt x="2162667" y="4589488"/>
                    <a:pt x="2128046" y="4586002"/>
                  </a:cubicBezTo>
                  <a:cubicBezTo>
                    <a:pt x="2128046" y="4586002"/>
                    <a:pt x="2128046" y="4586002"/>
                    <a:pt x="2133446" y="4527695"/>
                  </a:cubicBezTo>
                  <a:cubicBezTo>
                    <a:pt x="2133446" y="4527695"/>
                    <a:pt x="2133446" y="4527695"/>
                    <a:pt x="2149962" y="4529279"/>
                  </a:cubicBezTo>
                  <a:cubicBezTo>
                    <a:pt x="2149962" y="4529279"/>
                    <a:pt x="2149962" y="4529279"/>
                    <a:pt x="2149962" y="4528011"/>
                  </a:cubicBezTo>
                  <a:close/>
                  <a:moveTo>
                    <a:pt x="316984" y="4524526"/>
                  </a:moveTo>
                  <a:cubicBezTo>
                    <a:pt x="316984" y="4524526"/>
                    <a:pt x="316984" y="4524526"/>
                    <a:pt x="365580" y="4551144"/>
                  </a:cubicBezTo>
                  <a:cubicBezTo>
                    <a:pt x="365580" y="4551144"/>
                    <a:pt x="365580" y="4551144"/>
                    <a:pt x="317619" y="4648112"/>
                  </a:cubicBezTo>
                  <a:cubicBezTo>
                    <a:pt x="317619" y="4648112"/>
                    <a:pt x="317619" y="4648112"/>
                    <a:pt x="249966" y="4599628"/>
                  </a:cubicBezTo>
                  <a:cubicBezTo>
                    <a:pt x="249966" y="4599628"/>
                    <a:pt x="249966" y="4599628"/>
                    <a:pt x="281411" y="4566672"/>
                  </a:cubicBezTo>
                  <a:cubicBezTo>
                    <a:pt x="281411" y="4566672"/>
                    <a:pt x="281411" y="4566672"/>
                    <a:pt x="303644" y="4609135"/>
                  </a:cubicBezTo>
                  <a:cubicBezTo>
                    <a:pt x="303644" y="4609135"/>
                    <a:pt x="303644" y="4609135"/>
                    <a:pt x="323336" y="4569207"/>
                  </a:cubicBezTo>
                  <a:lnTo>
                    <a:pt x="293480" y="4549560"/>
                  </a:lnTo>
                  <a:cubicBezTo>
                    <a:pt x="293480" y="4549560"/>
                    <a:pt x="293480" y="4549560"/>
                    <a:pt x="316984" y="4524526"/>
                  </a:cubicBezTo>
                  <a:close/>
                  <a:moveTo>
                    <a:pt x="1271" y="4521040"/>
                  </a:moveTo>
                  <a:cubicBezTo>
                    <a:pt x="21281" y="4534666"/>
                    <a:pt x="21281" y="4534666"/>
                    <a:pt x="21281" y="4534666"/>
                  </a:cubicBezTo>
                  <a:cubicBezTo>
                    <a:pt x="20010" y="4536567"/>
                    <a:pt x="20010" y="4536567"/>
                    <a:pt x="20010" y="4536567"/>
                  </a:cubicBezTo>
                  <a:cubicBezTo>
                    <a:pt x="5717" y="4557482"/>
                    <a:pt x="5717" y="4557482"/>
                    <a:pt x="5717" y="4557482"/>
                  </a:cubicBezTo>
                  <a:cubicBezTo>
                    <a:pt x="1271" y="4554313"/>
                    <a:pt x="1271" y="4554313"/>
                    <a:pt x="1271" y="4554313"/>
                  </a:cubicBezTo>
                  <a:cubicBezTo>
                    <a:pt x="1271" y="4549243"/>
                    <a:pt x="1271" y="4549243"/>
                    <a:pt x="1271" y="4549243"/>
                  </a:cubicBezTo>
                  <a:lnTo>
                    <a:pt x="4765" y="4551461"/>
                  </a:lnTo>
                  <a:cubicBezTo>
                    <a:pt x="15564" y="4535934"/>
                    <a:pt x="15564" y="4535934"/>
                    <a:pt x="15564" y="4535934"/>
                  </a:cubicBezTo>
                  <a:cubicBezTo>
                    <a:pt x="1271" y="4526110"/>
                    <a:pt x="1271" y="4526110"/>
                    <a:pt x="1271" y="4526110"/>
                  </a:cubicBezTo>
                  <a:cubicBezTo>
                    <a:pt x="1271" y="4521040"/>
                    <a:pt x="1271" y="4521040"/>
                    <a:pt x="1271" y="4521040"/>
                  </a:cubicBezTo>
                  <a:close/>
                  <a:moveTo>
                    <a:pt x="2303690" y="4520406"/>
                  </a:moveTo>
                  <a:cubicBezTo>
                    <a:pt x="2303690" y="4520406"/>
                    <a:pt x="2303690" y="4520406"/>
                    <a:pt x="2303690" y="4521674"/>
                  </a:cubicBezTo>
                  <a:cubicBezTo>
                    <a:pt x="2303690" y="4521674"/>
                    <a:pt x="2303690" y="4521674"/>
                    <a:pt x="2303372" y="4523892"/>
                  </a:cubicBezTo>
                  <a:cubicBezTo>
                    <a:pt x="2303372" y="4523892"/>
                    <a:pt x="2303372" y="4523892"/>
                    <a:pt x="2286856" y="4522308"/>
                  </a:cubicBezTo>
                  <a:cubicBezTo>
                    <a:pt x="2286856" y="4522308"/>
                    <a:pt x="2286856" y="4522308"/>
                    <a:pt x="2282091" y="4572693"/>
                  </a:cubicBezTo>
                  <a:cubicBezTo>
                    <a:pt x="2282091" y="4572693"/>
                    <a:pt x="2282091" y="4572693"/>
                    <a:pt x="2308454" y="4574911"/>
                  </a:cubicBezTo>
                  <a:cubicBezTo>
                    <a:pt x="2308454" y="4574911"/>
                    <a:pt x="2308454" y="4574911"/>
                    <a:pt x="2310677" y="4552095"/>
                  </a:cubicBezTo>
                  <a:lnTo>
                    <a:pt x="2329099" y="4553679"/>
                  </a:lnTo>
                  <a:cubicBezTo>
                    <a:pt x="2329099" y="4553679"/>
                    <a:pt x="2329099" y="4553679"/>
                    <a:pt x="2332593" y="4523258"/>
                  </a:cubicBezTo>
                  <a:cubicBezTo>
                    <a:pt x="2332593" y="4523258"/>
                    <a:pt x="2332593" y="4523258"/>
                    <a:pt x="2303690" y="4520406"/>
                  </a:cubicBezTo>
                  <a:close/>
                  <a:moveTo>
                    <a:pt x="1392124" y="4519772"/>
                  </a:moveTo>
                  <a:cubicBezTo>
                    <a:pt x="1388947" y="4523575"/>
                    <a:pt x="1386406" y="4527061"/>
                    <a:pt x="1384183" y="4529913"/>
                  </a:cubicBezTo>
                  <a:cubicBezTo>
                    <a:pt x="1384183" y="4529913"/>
                    <a:pt x="1384183" y="4529913"/>
                    <a:pt x="1384183" y="4530230"/>
                  </a:cubicBezTo>
                  <a:cubicBezTo>
                    <a:pt x="1384183" y="4530230"/>
                    <a:pt x="1384183" y="4530230"/>
                    <a:pt x="1256183" y="4697230"/>
                  </a:cubicBezTo>
                  <a:cubicBezTo>
                    <a:pt x="1256183" y="4697230"/>
                    <a:pt x="1256183" y="4697230"/>
                    <a:pt x="1275240" y="4742228"/>
                  </a:cubicBezTo>
                  <a:cubicBezTo>
                    <a:pt x="1275240" y="4742228"/>
                    <a:pt x="1275240" y="4742228"/>
                    <a:pt x="1284451" y="4737158"/>
                  </a:cubicBezTo>
                  <a:lnTo>
                    <a:pt x="1460729" y="4637021"/>
                  </a:lnTo>
                  <a:cubicBezTo>
                    <a:pt x="1459459" y="4633218"/>
                    <a:pt x="1457871" y="4627831"/>
                    <a:pt x="1455647" y="4620543"/>
                  </a:cubicBezTo>
                  <a:cubicBezTo>
                    <a:pt x="1445484" y="4588220"/>
                    <a:pt x="1428014" y="4528328"/>
                    <a:pt x="1425474" y="4520089"/>
                  </a:cubicBezTo>
                  <a:cubicBezTo>
                    <a:pt x="1412134" y="4520089"/>
                    <a:pt x="1399429" y="4519772"/>
                    <a:pt x="1392124" y="4519772"/>
                  </a:cubicBezTo>
                  <a:close/>
                  <a:moveTo>
                    <a:pt x="309996" y="4518188"/>
                  </a:moveTo>
                  <a:cubicBezTo>
                    <a:pt x="299197" y="4529279"/>
                    <a:pt x="288716" y="4539736"/>
                    <a:pt x="280775" y="4547975"/>
                  </a:cubicBezTo>
                  <a:cubicBezTo>
                    <a:pt x="276646" y="4552412"/>
                    <a:pt x="272835" y="4556215"/>
                    <a:pt x="270294" y="4558750"/>
                  </a:cubicBezTo>
                  <a:cubicBezTo>
                    <a:pt x="269023" y="4560334"/>
                    <a:pt x="267753" y="4561285"/>
                    <a:pt x="267118" y="4561918"/>
                  </a:cubicBezTo>
                  <a:cubicBezTo>
                    <a:pt x="266800" y="4562235"/>
                    <a:pt x="266482" y="4562552"/>
                    <a:pt x="266165" y="4562869"/>
                  </a:cubicBezTo>
                  <a:cubicBezTo>
                    <a:pt x="266165" y="4562869"/>
                    <a:pt x="266165" y="4563186"/>
                    <a:pt x="265847" y="4563186"/>
                  </a:cubicBezTo>
                  <a:cubicBezTo>
                    <a:pt x="265530" y="4563503"/>
                    <a:pt x="265847" y="4563186"/>
                    <a:pt x="265530" y="4563503"/>
                  </a:cubicBezTo>
                  <a:cubicBezTo>
                    <a:pt x="263941" y="4565087"/>
                    <a:pt x="256319" y="4573326"/>
                    <a:pt x="249331" y="4581566"/>
                  </a:cubicBezTo>
                  <a:cubicBezTo>
                    <a:pt x="245520" y="4586002"/>
                    <a:pt x="241708" y="4590438"/>
                    <a:pt x="238850" y="4594558"/>
                  </a:cubicBezTo>
                  <a:cubicBezTo>
                    <a:pt x="237262" y="4596459"/>
                    <a:pt x="235991" y="4598044"/>
                    <a:pt x="235356" y="4599311"/>
                  </a:cubicBezTo>
                  <a:cubicBezTo>
                    <a:pt x="235356" y="4599311"/>
                    <a:pt x="235356" y="4599311"/>
                    <a:pt x="331594" y="4672195"/>
                  </a:cubicBezTo>
                  <a:cubicBezTo>
                    <a:pt x="331594" y="4672195"/>
                    <a:pt x="331594" y="4672195"/>
                    <a:pt x="385590" y="4559067"/>
                  </a:cubicBezTo>
                  <a:close/>
                  <a:moveTo>
                    <a:pt x="2299878" y="4515970"/>
                  </a:moveTo>
                  <a:cubicBezTo>
                    <a:pt x="2299878" y="4515970"/>
                    <a:pt x="2299878" y="4515970"/>
                    <a:pt x="2337040" y="4519456"/>
                  </a:cubicBezTo>
                  <a:cubicBezTo>
                    <a:pt x="2337040" y="4519456"/>
                    <a:pt x="2337040" y="4519456"/>
                    <a:pt x="2332593" y="4558116"/>
                  </a:cubicBezTo>
                  <a:lnTo>
                    <a:pt x="2330687" y="4558116"/>
                  </a:lnTo>
                  <a:cubicBezTo>
                    <a:pt x="2330687" y="4558116"/>
                    <a:pt x="2330687" y="4558116"/>
                    <a:pt x="2314488" y="4556531"/>
                  </a:cubicBezTo>
                  <a:cubicBezTo>
                    <a:pt x="2314488" y="4556531"/>
                    <a:pt x="2314488" y="4556531"/>
                    <a:pt x="2312265" y="4579664"/>
                  </a:cubicBezTo>
                  <a:cubicBezTo>
                    <a:pt x="2312265" y="4579664"/>
                    <a:pt x="2312265" y="4579664"/>
                    <a:pt x="2277645" y="4576178"/>
                  </a:cubicBezTo>
                  <a:cubicBezTo>
                    <a:pt x="2277645" y="4576178"/>
                    <a:pt x="2277645" y="4576178"/>
                    <a:pt x="2283044" y="4517871"/>
                  </a:cubicBezTo>
                  <a:cubicBezTo>
                    <a:pt x="2283044" y="4517871"/>
                    <a:pt x="2283044" y="4517871"/>
                    <a:pt x="2299560" y="4519456"/>
                  </a:cubicBezTo>
                  <a:cubicBezTo>
                    <a:pt x="2299560" y="4519456"/>
                    <a:pt x="2299560" y="4519456"/>
                    <a:pt x="2299878" y="4518188"/>
                  </a:cubicBezTo>
                  <a:cubicBezTo>
                    <a:pt x="2299878" y="4518188"/>
                    <a:pt x="2299878" y="4518188"/>
                    <a:pt x="2299878" y="4515970"/>
                  </a:cubicBezTo>
                  <a:close/>
                  <a:moveTo>
                    <a:pt x="505332" y="4513752"/>
                  </a:moveTo>
                  <a:cubicBezTo>
                    <a:pt x="505332" y="4513752"/>
                    <a:pt x="505332" y="4513752"/>
                    <a:pt x="484687" y="4541321"/>
                  </a:cubicBezTo>
                  <a:cubicBezTo>
                    <a:pt x="484687" y="4541321"/>
                    <a:pt x="484687" y="4541321"/>
                    <a:pt x="504061" y="4554947"/>
                  </a:cubicBezTo>
                  <a:cubicBezTo>
                    <a:pt x="510096" y="4542905"/>
                    <a:pt x="515178" y="4532131"/>
                    <a:pt x="519307" y="4523892"/>
                  </a:cubicBezTo>
                  <a:cubicBezTo>
                    <a:pt x="519307" y="4523892"/>
                    <a:pt x="519307" y="4523892"/>
                    <a:pt x="505332" y="4513752"/>
                  </a:cubicBezTo>
                  <a:close/>
                  <a:moveTo>
                    <a:pt x="824221" y="4511850"/>
                  </a:moveTo>
                  <a:lnTo>
                    <a:pt x="793094" y="4542271"/>
                  </a:lnTo>
                  <a:cubicBezTo>
                    <a:pt x="793094" y="4542271"/>
                    <a:pt x="793094" y="4542271"/>
                    <a:pt x="841373" y="4571742"/>
                  </a:cubicBezTo>
                  <a:cubicBezTo>
                    <a:pt x="841373" y="4571742"/>
                    <a:pt x="841373" y="4571742"/>
                    <a:pt x="863288" y="4535934"/>
                  </a:cubicBezTo>
                  <a:cubicBezTo>
                    <a:pt x="863288" y="4535934"/>
                    <a:pt x="863288" y="4535934"/>
                    <a:pt x="824221" y="4511850"/>
                  </a:cubicBezTo>
                  <a:close/>
                  <a:moveTo>
                    <a:pt x="530741" y="4509949"/>
                  </a:moveTo>
                  <a:cubicBezTo>
                    <a:pt x="529471" y="4512484"/>
                    <a:pt x="527565" y="4516920"/>
                    <a:pt x="524707" y="4522624"/>
                  </a:cubicBezTo>
                  <a:cubicBezTo>
                    <a:pt x="524707" y="4522624"/>
                    <a:pt x="524707" y="4522624"/>
                    <a:pt x="553292" y="4543539"/>
                  </a:cubicBezTo>
                  <a:cubicBezTo>
                    <a:pt x="553292" y="4543539"/>
                    <a:pt x="553292" y="4543539"/>
                    <a:pt x="552339" y="4545123"/>
                  </a:cubicBezTo>
                  <a:cubicBezTo>
                    <a:pt x="552339" y="4545123"/>
                    <a:pt x="552339" y="4545123"/>
                    <a:pt x="529471" y="4577763"/>
                  </a:cubicBezTo>
                  <a:cubicBezTo>
                    <a:pt x="529471" y="4577763"/>
                    <a:pt x="529471" y="4577763"/>
                    <a:pt x="505967" y="4561285"/>
                  </a:cubicBezTo>
                  <a:cubicBezTo>
                    <a:pt x="498979" y="4575862"/>
                    <a:pt x="491039" y="4592023"/>
                    <a:pt x="483098" y="4608501"/>
                  </a:cubicBezTo>
                  <a:cubicBezTo>
                    <a:pt x="497074" y="4617691"/>
                    <a:pt x="510096" y="4626247"/>
                    <a:pt x="513908" y="4628782"/>
                  </a:cubicBezTo>
                  <a:cubicBezTo>
                    <a:pt x="535188" y="4584734"/>
                    <a:pt x="554880" y="4544807"/>
                    <a:pt x="559645" y="4534983"/>
                  </a:cubicBezTo>
                  <a:cubicBezTo>
                    <a:pt x="559645" y="4534983"/>
                    <a:pt x="559645" y="4534983"/>
                    <a:pt x="530741" y="4509949"/>
                  </a:cubicBezTo>
                  <a:close/>
                  <a:moveTo>
                    <a:pt x="1880939" y="4508998"/>
                  </a:moveTo>
                  <a:lnTo>
                    <a:pt x="1872998" y="4532448"/>
                  </a:lnTo>
                  <a:cubicBezTo>
                    <a:pt x="1872998" y="4532448"/>
                    <a:pt x="1872998" y="4532448"/>
                    <a:pt x="1901902" y="4542588"/>
                  </a:cubicBezTo>
                  <a:cubicBezTo>
                    <a:pt x="1901902" y="4542588"/>
                    <a:pt x="1901902" y="4542588"/>
                    <a:pt x="1910160" y="4524843"/>
                  </a:cubicBezTo>
                  <a:cubicBezTo>
                    <a:pt x="1910160" y="4524843"/>
                    <a:pt x="1910160" y="4524843"/>
                    <a:pt x="1880939" y="4508998"/>
                  </a:cubicBezTo>
                  <a:close/>
                  <a:moveTo>
                    <a:pt x="2108672" y="4505196"/>
                  </a:moveTo>
                  <a:cubicBezTo>
                    <a:pt x="2099778" y="4505512"/>
                    <a:pt x="2091202" y="4505829"/>
                    <a:pt x="2083580" y="4506146"/>
                  </a:cubicBezTo>
                  <a:cubicBezTo>
                    <a:pt x="2068652" y="4506780"/>
                    <a:pt x="2055947" y="4507414"/>
                    <a:pt x="2047371" y="4507731"/>
                  </a:cubicBezTo>
                  <a:cubicBezTo>
                    <a:pt x="2042924" y="4507731"/>
                    <a:pt x="2039430" y="4508048"/>
                    <a:pt x="2036890" y="4508048"/>
                  </a:cubicBezTo>
                  <a:cubicBezTo>
                    <a:pt x="2035937" y="4508048"/>
                    <a:pt x="2035302" y="4508048"/>
                    <a:pt x="2034666" y="4508364"/>
                  </a:cubicBezTo>
                  <a:cubicBezTo>
                    <a:pt x="2034666" y="4508364"/>
                    <a:pt x="2034666" y="4508364"/>
                    <a:pt x="2007986" y="4629733"/>
                  </a:cubicBezTo>
                  <a:cubicBezTo>
                    <a:pt x="2034031" y="4629733"/>
                    <a:pt x="2065158" y="4629733"/>
                    <a:pt x="2097872" y="4629416"/>
                  </a:cubicBezTo>
                  <a:cubicBezTo>
                    <a:pt x="2101366" y="4629416"/>
                    <a:pt x="2104542" y="4629416"/>
                    <a:pt x="2108036" y="4629416"/>
                  </a:cubicBezTo>
                  <a:cubicBezTo>
                    <a:pt x="2108036" y="4629416"/>
                    <a:pt x="2108036" y="4629416"/>
                    <a:pt x="2108672" y="4505196"/>
                  </a:cubicBezTo>
                  <a:close/>
                  <a:moveTo>
                    <a:pt x="1964472" y="4504562"/>
                  </a:moveTo>
                  <a:cubicBezTo>
                    <a:pt x="1964472" y="4504562"/>
                    <a:pt x="1964472" y="4504562"/>
                    <a:pt x="1947639" y="4531814"/>
                  </a:cubicBezTo>
                  <a:lnTo>
                    <a:pt x="1921594" y="4619909"/>
                  </a:lnTo>
                  <a:cubicBezTo>
                    <a:pt x="1921594" y="4619909"/>
                    <a:pt x="1921594" y="4619909"/>
                    <a:pt x="1935252" y="4631951"/>
                  </a:cubicBezTo>
                  <a:cubicBezTo>
                    <a:pt x="1935252" y="4631951"/>
                    <a:pt x="1935252" y="4631951"/>
                    <a:pt x="1935252" y="4629733"/>
                  </a:cubicBezTo>
                  <a:cubicBezTo>
                    <a:pt x="1935252" y="4629733"/>
                    <a:pt x="1962884" y="4629733"/>
                    <a:pt x="2003222" y="4629733"/>
                  </a:cubicBezTo>
                  <a:cubicBezTo>
                    <a:pt x="2003222" y="4629733"/>
                    <a:pt x="2003222" y="4629733"/>
                    <a:pt x="2030220" y="4508364"/>
                  </a:cubicBezTo>
                  <a:cubicBezTo>
                    <a:pt x="2018150" y="4508048"/>
                    <a:pt x="1972731" y="4505196"/>
                    <a:pt x="1964472" y="4504562"/>
                  </a:cubicBezTo>
                  <a:close/>
                  <a:moveTo>
                    <a:pt x="1581424" y="4503611"/>
                  </a:moveTo>
                  <a:cubicBezTo>
                    <a:pt x="1581424" y="4503611"/>
                    <a:pt x="1581424" y="4503611"/>
                    <a:pt x="1558238" y="4511850"/>
                  </a:cubicBezTo>
                  <a:cubicBezTo>
                    <a:pt x="1558238" y="4511850"/>
                    <a:pt x="1558238" y="4511850"/>
                    <a:pt x="1554744" y="4539419"/>
                  </a:cubicBezTo>
                  <a:lnTo>
                    <a:pt x="1464223" y="4577446"/>
                  </a:lnTo>
                  <a:cubicBezTo>
                    <a:pt x="1464223" y="4577446"/>
                    <a:pt x="1464223" y="4577446"/>
                    <a:pt x="1473116" y="4613888"/>
                  </a:cubicBezTo>
                  <a:cubicBezTo>
                    <a:pt x="1473116" y="4613888"/>
                    <a:pt x="1473116" y="4613888"/>
                    <a:pt x="1571896" y="4554313"/>
                  </a:cubicBezTo>
                  <a:cubicBezTo>
                    <a:pt x="1571896" y="4554313"/>
                    <a:pt x="1571896" y="4554313"/>
                    <a:pt x="1571896" y="4530863"/>
                  </a:cubicBezTo>
                  <a:cubicBezTo>
                    <a:pt x="1571896" y="4530863"/>
                    <a:pt x="1571896" y="4530863"/>
                    <a:pt x="1593176" y="4519139"/>
                  </a:cubicBezTo>
                  <a:cubicBezTo>
                    <a:pt x="1593176" y="4519139"/>
                    <a:pt x="1593176" y="4519139"/>
                    <a:pt x="1581424" y="4503611"/>
                  </a:cubicBezTo>
                  <a:close/>
                  <a:moveTo>
                    <a:pt x="1740551" y="4502977"/>
                  </a:moveTo>
                  <a:lnTo>
                    <a:pt x="1656382" y="4558433"/>
                  </a:lnTo>
                  <a:cubicBezTo>
                    <a:pt x="1656382" y="4558433"/>
                    <a:pt x="1656382" y="4558433"/>
                    <a:pt x="1733881" y="4673780"/>
                  </a:cubicBezTo>
                  <a:cubicBezTo>
                    <a:pt x="1733881" y="4673780"/>
                    <a:pt x="1733881" y="4673780"/>
                    <a:pt x="1836472" y="4591389"/>
                  </a:cubicBezTo>
                  <a:cubicBezTo>
                    <a:pt x="1836472" y="4591389"/>
                    <a:pt x="1836472" y="4591389"/>
                    <a:pt x="1746586" y="4512484"/>
                  </a:cubicBezTo>
                  <a:cubicBezTo>
                    <a:pt x="1746586" y="4512484"/>
                    <a:pt x="1746586" y="4512484"/>
                    <a:pt x="1740551" y="4502977"/>
                  </a:cubicBezTo>
                  <a:close/>
                  <a:moveTo>
                    <a:pt x="2402151" y="4502027"/>
                  </a:moveTo>
                  <a:cubicBezTo>
                    <a:pt x="2402151" y="4502027"/>
                    <a:pt x="2402151" y="4502027"/>
                    <a:pt x="2402151" y="4503294"/>
                  </a:cubicBezTo>
                  <a:cubicBezTo>
                    <a:pt x="2402151" y="4503294"/>
                    <a:pt x="2402151" y="4503294"/>
                    <a:pt x="2401834" y="4505512"/>
                  </a:cubicBezTo>
                  <a:cubicBezTo>
                    <a:pt x="2401834" y="4505512"/>
                    <a:pt x="2401834" y="4505512"/>
                    <a:pt x="2385318" y="4503928"/>
                  </a:cubicBezTo>
                  <a:cubicBezTo>
                    <a:pt x="2385318" y="4503928"/>
                    <a:pt x="2385318" y="4503928"/>
                    <a:pt x="2380553" y="4553996"/>
                  </a:cubicBezTo>
                  <a:cubicBezTo>
                    <a:pt x="2380553" y="4553996"/>
                    <a:pt x="2380553" y="4553996"/>
                    <a:pt x="2406916" y="4556531"/>
                  </a:cubicBezTo>
                  <a:lnTo>
                    <a:pt x="2409139" y="4533399"/>
                  </a:lnTo>
                  <a:cubicBezTo>
                    <a:pt x="2409139" y="4533399"/>
                    <a:pt x="2409139" y="4533399"/>
                    <a:pt x="2427561" y="4535300"/>
                  </a:cubicBezTo>
                  <a:cubicBezTo>
                    <a:pt x="2427561" y="4535300"/>
                    <a:pt x="2427561" y="4535300"/>
                    <a:pt x="2431054" y="4504879"/>
                  </a:cubicBezTo>
                  <a:cubicBezTo>
                    <a:pt x="2431054" y="4504879"/>
                    <a:pt x="2431054" y="4504879"/>
                    <a:pt x="2402151" y="4502027"/>
                  </a:cubicBezTo>
                  <a:close/>
                  <a:moveTo>
                    <a:pt x="2196652" y="4502027"/>
                  </a:moveTo>
                  <a:cubicBezTo>
                    <a:pt x="2195064" y="4502027"/>
                    <a:pt x="2193476" y="4502344"/>
                    <a:pt x="2192205" y="4502344"/>
                  </a:cubicBezTo>
                  <a:cubicBezTo>
                    <a:pt x="2164572" y="4503294"/>
                    <a:pt x="2137257" y="4504245"/>
                    <a:pt x="2113118" y="4505196"/>
                  </a:cubicBezTo>
                  <a:cubicBezTo>
                    <a:pt x="2113118" y="4505196"/>
                    <a:pt x="2113118" y="4505196"/>
                    <a:pt x="2112483" y="4629416"/>
                  </a:cubicBezTo>
                  <a:cubicBezTo>
                    <a:pt x="2140116" y="4629416"/>
                    <a:pt x="2168384" y="4629416"/>
                    <a:pt x="2195382" y="4629416"/>
                  </a:cubicBezTo>
                  <a:cubicBezTo>
                    <a:pt x="2195382" y="4628148"/>
                    <a:pt x="2195382" y="4626881"/>
                    <a:pt x="2195064" y="4625296"/>
                  </a:cubicBezTo>
                  <a:cubicBezTo>
                    <a:pt x="2195064" y="4620543"/>
                    <a:pt x="2195064" y="4614205"/>
                    <a:pt x="2195064" y="4606917"/>
                  </a:cubicBezTo>
                  <a:cubicBezTo>
                    <a:pt x="2195064" y="4572059"/>
                    <a:pt x="2196334" y="4514385"/>
                    <a:pt x="2196652" y="4502027"/>
                  </a:cubicBezTo>
                  <a:close/>
                  <a:moveTo>
                    <a:pt x="1878398" y="4502027"/>
                  </a:moveTo>
                  <a:cubicBezTo>
                    <a:pt x="1878398" y="4502027"/>
                    <a:pt x="1878398" y="4502027"/>
                    <a:pt x="1916194" y="4522941"/>
                  </a:cubicBezTo>
                  <a:cubicBezTo>
                    <a:pt x="1916194" y="4522941"/>
                    <a:pt x="1916194" y="4522941"/>
                    <a:pt x="1915242" y="4524843"/>
                  </a:cubicBezTo>
                  <a:cubicBezTo>
                    <a:pt x="1915242" y="4524843"/>
                    <a:pt x="1915242" y="4524843"/>
                    <a:pt x="1904443" y="4548292"/>
                  </a:cubicBezTo>
                  <a:lnTo>
                    <a:pt x="1866964" y="4535300"/>
                  </a:lnTo>
                  <a:cubicBezTo>
                    <a:pt x="1866964" y="4535300"/>
                    <a:pt x="1866964" y="4535300"/>
                    <a:pt x="1878398" y="4502027"/>
                  </a:cubicBezTo>
                  <a:close/>
                  <a:moveTo>
                    <a:pt x="2250012" y="4500125"/>
                  </a:moveTo>
                  <a:cubicBezTo>
                    <a:pt x="2234131" y="4500759"/>
                    <a:pt x="2217615" y="4501393"/>
                    <a:pt x="2201098" y="4502027"/>
                  </a:cubicBezTo>
                  <a:cubicBezTo>
                    <a:pt x="2200781" y="4513752"/>
                    <a:pt x="2199510" y="4572059"/>
                    <a:pt x="2199510" y="4606917"/>
                  </a:cubicBezTo>
                  <a:cubicBezTo>
                    <a:pt x="2199510" y="4614839"/>
                    <a:pt x="2199510" y="4621177"/>
                    <a:pt x="2199510" y="4625930"/>
                  </a:cubicBezTo>
                  <a:cubicBezTo>
                    <a:pt x="2199828" y="4627197"/>
                    <a:pt x="2199828" y="4628465"/>
                    <a:pt x="2199828" y="4629416"/>
                  </a:cubicBezTo>
                  <a:cubicBezTo>
                    <a:pt x="2229366" y="4629099"/>
                    <a:pt x="2257000" y="4629099"/>
                    <a:pt x="2279868" y="4628782"/>
                  </a:cubicBezTo>
                  <a:cubicBezTo>
                    <a:pt x="2277327" y="4617374"/>
                    <a:pt x="2271610" y="4592340"/>
                    <a:pt x="2265893" y="4566989"/>
                  </a:cubicBezTo>
                  <a:cubicBezTo>
                    <a:pt x="2262081" y="4549877"/>
                    <a:pt x="2257952" y="4533082"/>
                    <a:pt x="2255094" y="4520089"/>
                  </a:cubicBezTo>
                  <a:cubicBezTo>
                    <a:pt x="2253506" y="4513752"/>
                    <a:pt x="2252235" y="4508364"/>
                    <a:pt x="2251282" y="4504879"/>
                  </a:cubicBezTo>
                  <a:cubicBezTo>
                    <a:pt x="2250647" y="4502977"/>
                    <a:pt x="2250330" y="4501393"/>
                    <a:pt x="2250012" y="4500442"/>
                  </a:cubicBezTo>
                  <a:cubicBezTo>
                    <a:pt x="2250012" y="4500442"/>
                    <a:pt x="2250012" y="4500442"/>
                    <a:pt x="2250012" y="4500125"/>
                  </a:cubicBezTo>
                  <a:close/>
                  <a:moveTo>
                    <a:pt x="1583012" y="4498224"/>
                  </a:moveTo>
                  <a:cubicBezTo>
                    <a:pt x="1583012" y="4498224"/>
                    <a:pt x="1583012" y="4498224"/>
                    <a:pt x="1584283" y="4499492"/>
                  </a:cubicBezTo>
                  <a:cubicBezTo>
                    <a:pt x="1584283" y="4499492"/>
                    <a:pt x="1584283" y="4499492"/>
                    <a:pt x="1600482" y="4520723"/>
                  </a:cubicBezTo>
                  <a:cubicBezTo>
                    <a:pt x="1600482" y="4520723"/>
                    <a:pt x="1600482" y="4520723"/>
                    <a:pt x="1576342" y="4533399"/>
                  </a:cubicBezTo>
                  <a:cubicBezTo>
                    <a:pt x="1576342" y="4533399"/>
                    <a:pt x="1576342" y="4533399"/>
                    <a:pt x="1576660" y="4556848"/>
                  </a:cubicBezTo>
                  <a:lnTo>
                    <a:pt x="1469940" y="4621177"/>
                  </a:lnTo>
                  <a:cubicBezTo>
                    <a:pt x="1469940" y="4621177"/>
                    <a:pt x="1469940" y="4621177"/>
                    <a:pt x="1458824" y="4574594"/>
                  </a:cubicBezTo>
                  <a:cubicBezTo>
                    <a:pt x="1458824" y="4574594"/>
                    <a:pt x="1458824" y="4574594"/>
                    <a:pt x="1550298" y="4535934"/>
                  </a:cubicBezTo>
                  <a:cubicBezTo>
                    <a:pt x="1550298" y="4535934"/>
                    <a:pt x="1550298" y="4535934"/>
                    <a:pt x="1554109" y="4508681"/>
                  </a:cubicBezTo>
                  <a:cubicBezTo>
                    <a:pt x="1554109" y="4508681"/>
                    <a:pt x="1554109" y="4508681"/>
                    <a:pt x="1583012" y="4498224"/>
                  </a:cubicBezTo>
                  <a:close/>
                  <a:moveTo>
                    <a:pt x="713055" y="4497907"/>
                  </a:moveTo>
                  <a:cubicBezTo>
                    <a:pt x="707655" y="4503611"/>
                    <a:pt x="702891" y="4508364"/>
                    <a:pt x="699397" y="4511850"/>
                  </a:cubicBezTo>
                  <a:cubicBezTo>
                    <a:pt x="696856" y="4514068"/>
                    <a:pt x="695268" y="4515970"/>
                    <a:pt x="693997" y="4517554"/>
                  </a:cubicBezTo>
                  <a:cubicBezTo>
                    <a:pt x="693362" y="4518188"/>
                    <a:pt x="693045" y="4518505"/>
                    <a:pt x="692727" y="4518822"/>
                  </a:cubicBezTo>
                  <a:cubicBezTo>
                    <a:pt x="692727" y="4518822"/>
                    <a:pt x="692727" y="4518822"/>
                    <a:pt x="765462" y="4563186"/>
                  </a:cubicBezTo>
                  <a:cubicBezTo>
                    <a:pt x="765462" y="4563186"/>
                    <a:pt x="765462" y="4563186"/>
                    <a:pt x="786424" y="4542905"/>
                  </a:cubicBezTo>
                  <a:cubicBezTo>
                    <a:pt x="786424" y="4542905"/>
                    <a:pt x="786424" y="4542905"/>
                    <a:pt x="713055" y="4497907"/>
                  </a:cubicBezTo>
                  <a:close/>
                  <a:moveTo>
                    <a:pt x="2398340" y="4497590"/>
                  </a:moveTo>
                  <a:cubicBezTo>
                    <a:pt x="2398340" y="4497590"/>
                    <a:pt x="2398340" y="4497590"/>
                    <a:pt x="2435501" y="4501076"/>
                  </a:cubicBezTo>
                  <a:cubicBezTo>
                    <a:pt x="2435501" y="4501076"/>
                    <a:pt x="2435501" y="4501076"/>
                    <a:pt x="2431054" y="4539736"/>
                  </a:cubicBezTo>
                  <a:cubicBezTo>
                    <a:pt x="2431054" y="4539736"/>
                    <a:pt x="2431054" y="4539736"/>
                    <a:pt x="2429149" y="4539419"/>
                  </a:cubicBezTo>
                  <a:cubicBezTo>
                    <a:pt x="2429149" y="4539419"/>
                    <a:pt x="2429149" y="4539419"/>
                    <a:pt x="2412950" y="4538152"/>
                  </a:cubicBezTo>
                  <a:lnTo>
                    <a:pt x="2410727" y="4560968"/>
                  </a:lnTo>
                  <a:cubicBezTo>
                    <a:pt x="2410727" y="4560968"/>
                    <a:pt x="2410727" y="4560968"/>
                    <a:pt x="2376106" y="4557799"/>
                  </a:cubicBezTo>
                  <a:cubicBezTo>
                    <a:pt x="2376106" y="4557799"/>
                    <a:pt x="2376106" y="4557799"/>
                    <a:pt x="2381506" y="4499492"/>
                  </a:cubicBezTo>
                  <a:cubicBezTo>
                    <a:pt x="2381506" y="4499492"/>
                    <a:pt x="2381506" y="4499492"/>
                    <a:pt x="2398022" y="4500759"/>
                  </a:cubicBezTo>
                  <a:cubicBezTo>
                    <a:pt x="2398022" y="4500759"/>
                    <a:pt x="2398022" y="4500759"/>
                    <a:pt x="2398340" y="4499808"/>
                  </a:cubicBezTo>
                  <a:cubicBezTo>
                    <a:pt x="2398340" y="4499808"/>
                    <a:pt x="2398340" y="4499808"/>
                    <a:pt x="2398340" y="4497590"/>
                  </a:cubicBezTo>
                  <a:close/>
                  <a:moveTo>
                    <a:pt x="2346886" y="4496640"/>
                  </a:moveTo>
                  <a:cubicBezTo>
                    <a:pt x="2337675" y="4496956"/>
                    <a:pt x="2300513" y="4498541"/>
                    <a:pt x="2254458" y="4500125"/>
                  </a:cubicBezTo>
                  <a:cubicBezTo>
                    <a:pt x="2255729" y="4503928"/>
                    <a:pt x="2257317" y="4511216"/>
                    <a:pt x="2259858" y="4521040"/>
                  </a:cubicBezTo>
                  <a:cubicBezTo>
                    <a:pt x="2267481" y="4553679"/>
                    <a:pt x="2280503" y="4611353"/>
                    <a:pt x="2284315" y="4628782"/>
                  </a:cubicBezTo>
                  <a:cubicBezTo>
                    <a:pt x="2299560" y="4628782"/>
                    <a:pt x="2312900" y="4628465"/>
                    <a:pt x="2322429" y="4628465"/>
                  </a:cubicBezTo>
                  <a:cubicBezTo>
                    <a:pt x="2341168" y="4628148"/>
                    <a:pt x="2358320" y="4624345"/>
                    <a:pt x="2373566" y="4618641"/>
                  </a:cubicBezTo>
                  <a:cubicBezTo>
                    <a:pt x="2373566" y="4618641"/>
                    <a:pt x="2373566" y="4618641"/>
                    <a:pt x="2361814" y="4561285"/>
                  </a:cubicBezTo>
                  <a:cubicBezTo>
                    <a:pt x="2358002" y="4560968"/>
                    <a:pt x="2348791" y="4559700"/>
                    <a:pt x="2346568" y="4558750"/>
                  </a:cubicBezTo>
                  <a:cubicBezTo>
                    <a:pt x="2344662" y="4557799"/>
                    <a:pt x="2345298" y="4557165"/>
                    <a:pt x="2344980" y="4556848"/>
                  </a:cubicBezTo>
                  <a:cubicBezTo>
                    <a:pt x="2344662" y="4555264"/>
                    <a:pt x="2344662" y="4553046"/>
                    <a:pt x="2344662" y="4550194"/>
                  </a:cubicBezTo>
                  <a:cubicBezTo>
                    <a:pt x="2344662" y="4536251"/>
                    <a:pt x="2346250" y="4505512"/>
                    <a:pt x="2346886" y="4496640"/>
                  </a:cubicBezTo>
                  <a:close/>
                  <a:moveTo>
                    <a:pt x="1741822" y="4496323"/>
                  </a:moveTo>
                  <a:cubicBezTo>
                    <a:pt x="1741822" y="4496323"/>
                    <a:pt x="1741822" y="4496323"/>
                    <a:pt x="1750398" y="4509315"/>
                  </a:cubicBezTo>
                  <a:cubicBezTo>
                    <a:pt x="1750398" y="4509315"/>
                    <a:pt x="1750398" y="4509315"/>
                    <a:pt x="1843778" y="4591389"/>
                  </a:cubicBezTo>
                  <a:cubicBezTo>
                    <a:pt x="1843778" y="4591389"/>
                    <a:pt x="1843778" y="4591389"/>
                    <a:pt x="1841554" y="4593290"/>
                  </a:cubicBezTo>
                  <a:lnTo>
                    <a:pt x="1732929" y="4680751"/>
                  </a:lnTo>
                  <a:cubicBezTo>
                    <a:pt x="1732929" y="4680751"/>
                    <a:pt x="1732929" y="4680751"/>
                    <a:pt x="1650030" y="4556848"/>
                  </a:cubicBezTo>
                  <a:cubicBezTo>
                    <a:pt x="1650030" y="4556848"/>
                    <a:pt x="1650030" y="4556848"/>
                    <a:pt x="1741822" y="4496323"/>
                  </a:cubicBezTo>
                  <a:close/>
                  <a:moveTo>
                    <a:pt x="444031" y="4490619"/>
                  </a:moveTo>
                  <a:cubicBezTo>
                    <a:pt x="444031" y="4490619"/>
                    <a:pt x="444031" y="4490619"/>
                    <a:pt x="428150" y="4523892"/>
                  </a:cubicBezTo>
                  <a:cubicBezTo>
                    <a:pt x="428150" y="4523892"/>
                    <a:pt x="428150" y="4523892"/>
                    <a:pt x="440855" y="4534666"/>
                  </a:cubicBezTo>
                  <a:cubicBezTo>
                    <a:pt x="440855" y="4534666"/>
                    <a:pt x="440855" y="4534666"/>
                    <a:pt x="456736" y="4501393"/>
                  </a:cubicBezTo>
                  <a:close/>
                  <a:moveTo>
                    <a:pt x="1156133" y="4488084"/>
                  </a:moveTo>
                  <a:cubicBezTo>
                    <a:pt x="1156133" y="4488084"/>
                    <a:pt x="1156133" y="4488084"/>
                    <a:pt x="1152957" y="4518505"/>
                  </a:cubicBezTo>
                  <a:cubicBezTo>
                    <a:pt x="1152957" y="4518505"/>
                    <a:pt x="1152957" y="4518505"/>
                    <a:pt x="1113572" y="4506780"/>
                  </a:cubicBezTo>
                  <a:lnTo>
                    <a:pt x="1110078" y="4534032"/>
                  </a:lnTo>
                  <a:cubicBezTo>
                    <a:pt x="1110078" y="4534032"/>
                    <a:pt x="1110078" y="4534032"/>
                    <a:pt x="1161215" y="4547342"/>
                  </a:cubicBezTo>
                  <a:cubicBezTo>
                    <a:pt x="1161215" y="4547342"/>
                    <a:pt x="1161215" y="4547342"/>
                    <a:pt x="1213622" y="4538152"/>
                  </a:cubicBezTo>
                  <a:cubicBezTo>
                    <a:pt x="1213622" y="4538152"/>
                    <a:pt x="1213622" y="4538152"/>
                    <a:pt x="1276193" y="4554313"/>
                  </a:cubicBezTo>
                  <a:cubicBezTo>
                    <a:pt x="1276193" y="4554313"/>
                    <a:pt x="1276193" y="4554313"/>
                    <a:pt x="1311766" y="4541955"/>
                  </a:cubicBezTo>
                  <a:cubicBezTo>
                    <a:pt x="1311766" y="4541955"/>
                    <a:pt x="1311766" y="4541955"/>
                    <a:pt x="1156133" y="4488084"/>
                  </a:cubicBezTo>
                  <a:close/>
                  <a:moveTo>
                    <a:pt x="1872046" y="4483964"/>
                  </a:moveTo>
                  <a:cubicBezTo>
                    <a:pt x="1872046" y="4483964"/>
                    <a:pt x="1872046" y="4483964"/>
                    <a:pt x="1851718" y="4539103"/>
                  </a:cubicBezTo>
                  <a:cubicBezTo>
                    <a:pt x="1851718" y="4539103"/>
                    <a:pt x="1851718" y="4539103"/>
                    <a:pt x="1911113" y="4587586"/>
                  </a:cubicBezTo>
                  <a:lnTo>
                    <a:pt x="1933981" y="4514702"/>
                  </a:lnTo>
                  <a:cubicBezTo>
                    <a:pt x="1933981" y="4514702"/>
                    <a:pt x="1933981" y="4514702"/>
                    <a:pt x="1872046" y="4483964"/>
                  </a:cubicBezTo>
                  <a:close/>
                  <a:moveTo>
                    <a:pt x="1152321" y="4481746"/>
                  </a:moveTo>
                  <a:cubicBezTo>
                    <a:pt x="1152321" y="4481746"/>
                    <a:pt x="1152321" y="4481746"/>
                    <a:pt x="1326059" y="4541955"/>
                  </a:cubicBezTo>
                  <a:cubicBezTo>
                    <a:pt x="1326059" y="4541955"/>
                    <a:pt x="1326059" y="4541955"/>
                    <a:pt x="1319706" y="4544173"/>
                  </a:cubicBezTo>
                  <a:cubicBezTo>
                    <a:pt x="1319706" y="4544173"/>
                    <a:pt x="1319706" y="4544173"/>
                    <a:pt x="1276510" y="4559067"/>
                  </a:cubicBezTo>
                  <a:cubicBezTo>
                    <a:pt x="1276510" y="4559067"/>
                    <a:pt x="1276510" y="4559067"/>
                    <a:pt x="1213304" y="4542905"/>
                  </a:cubicBezTo>
                  <a:lnTo>
                    <a:pt x="1160897" y="4552095"/>
                  </a:lnTo>
                  <a:cubicBezTo>
                    <a:pt x="1160897" y="4552095"/>
                    <a:pt x="1160897" y="4552095"/>
                    <a:pt x="1104996" y="4537518"/>
                  </a:cubicBezTo>
                  <a:cubicBezTo>
                    <a:pt x="1104996" y="4537518"/>
                    <a:pt x="1104996" y="4537518"/>
                    <a:pt x="1109760" y="4500442"/>
                  </a:cubicBezTo>
                  <a:cubicBezTo>
                    <a:pt x="1109760" y="4500442"/>
                    <a:pt x="1109760" y="4500442"/>
                    <a:pt x="1148828" y="4512484"/>
                  </a:cubicBezTo>
                  <a:cubicBezTo>
                    <a:pt x="1148828" y="4512484"/>
                    <a:pt x="1148828" y="4512484"/>
                    <a:pt x="1152321" y="4481746"/>
                  </a:cubicBezTo>
                  <a:close/>
                  <a:moveTo>
                    <a:pt x="498662" y="4481746"/>
                  </a:moveTo>
                  <a:cubicBezTo>
                    <a:pt x="498662" y="4481746"/>
                    <a:pt x="498662" y="4481746"/>
                    <a:pt x="448160" y="4586636"/>
                  </a:cubicBezTo>
                  <a:cubicBezTo>
                    <a:pt x="448478" y="4586636"/>
                    <a:pt x="448478" y="4586636"/>
                    <a:pt x="448478" y="4586636"/>
                  </a:cubicBezTo>
                  <a:cubicBezTo>
                    <a:pt x="454513" y="4590122"/>
                    <a:pt x="466900" y="4598044"/>
                    <a:pt x="479287" y="4606283"/>
                  </a:cubicBezTo>
                  <a:cubicBezTo>
                    <a:pt x="487545" y="4589488"/>
                    <a:pt x="495168" y="4573326"/>
                    <a:pt x="502156" y="4558750"/>
                  </a:cubicBezTo>
                  <a:cubicBezTo>
                    <a:pt x="502156" y="4558750"/>
                    <a:pt x="502156" y="4558750"/>
                    <a:pt x="478969" y="4542271"/>
                  </a:cubicBezTo>
                  <a:cubicBezTo>
                    <a:pt x="478969" y="4542271"/>
                    <a:pt x="478969" y="4542271"/>
                    <a:pt x="504697" y="4508048"/>
                  </a:cubicBezTo>
                  <a:cubicBezTo>
                    <a:pt x="504697" y="4508048"/>
                    <a:pt x="504697" y="4508048"/>
                    <a:pt x="521213" y="4520089"/>
                  </a:cubicBezTo>
                  <a:cubicBezTo>
                    <a:pt x="524071" y="4513752"/>
                    <a:pt x="526295" y="4509315"/>
                    <a:pt x="527565" y="4506780"/>
                  </a:cubicBezTo>
                  <a:cubicBezTo>
                    <a:pt x="527565" y="4506780"/>
                    <a:pt x="527565" y="4506780"/>
                    <a:pt x="498662" y="4481746"/>
                  </a:cubicBezTo>
                  <a:close/>
                  <a:moveTo>
                    <a:pt x="1869505" y="4477626"/>
                  </a:moveTo>
                  <a:cubicBezTo>
                    <a:pt x="1869505" y="4477626"/>
                    <a:pt x="1869505" y="4477626"/>
                    <a:pt x="1939698" y="4512484"/>
                  </a:cubicBezTo>
                  <a:lnTo>
                    <a:pt x="1939063" y="4514385"/>
                  </a:lnTo>
                  <a:cubicBezTo>
                    <a:pt x="1939063" y="4514385"/>
                    <a:pt x="1939063" y="4514385"/>
                    <a:pt x="1913654" y="4595825"/>
                  </a:cubicBezTo>
                  <a:cubicBezTo>
                    <a:pt x="1913654" y="4595825"/>
                    <a:pt x="1913654" y="4595825"/>
                    <a:pt x="1846001" y="4540687"/>
                  </a:cubicBezTo>
                  <a:cubicBezTo>
                    <a:pt x="1846001" y="4540687"/>
                    <a:pt x="1846001" y="4540687"/>
                    <a:pt x="1869505" y="4477626"/>
                  </a:cubicBezTo>
                  <a:close/>
                  <a:moveTo>
                    <a:pt x="377967" y="4473824"/>
                  </a:moveTo>
                  <a:cubicBezTo>
                    <a:pt x="377967" y="4473824"/>
                    <a:pt x="377967" y="4473824"/>
                    <a:pt x="359862" y="4479528"/>
                  </a:cubicBezTo>
                  <a:cubicBezTo>
                    <a:pt x="359862" y="4479528"/>
                    <a:pt x="359862" y="4479528"/>
                    <a:pt x="338582" y="4505196"/>
                  </a:cubicBezTo>
                  <a:lnTo>
                    <a:pt x="373838" y="4524526"/>
                  </a:lnTo>
                  <a:cubicBezTo>
                    <a:pt x="373838" y="4524526"/>
                    <a:pt x="373838" y="4524526"/>
                    <a:pt x="393530" y="4485865"/>
                  </a:cubicBezTo>
                  <a:cubicBezTo>
                    <a:pt x="393530" y="4485865"/>
                    <a:pt x="393530" y="4485865"/>
                    <a:pt x="377967" y="4473824"/>
                  </a:cubicBezTo>
                  <a:close/>
                  <a:moveTo>
                    <a:pt x="378920" y="4468753"/>
                  </a:moveTo>
                  <a:cubicBezTo>
                    <a:pt x="378920" y="4468753"/>
                    <a:pt x="378920" y="4468753"/>
                    <a:pt x="398929" y="4484598"/>
                  </a:cubicBezTo>
                  <a:lnTo>
                    <a:pt x="375743" y="4530547"/>
                  </a:lnTo>
                  <a:cubicBezTo>
                    <a:pt x="375743" y="4530547"/>
                    <a:pt x="375743" y="4530547"/>
                    <a:pt x="331594" y="4506463"/>
                  </a:cubicBezTo>
                  <a:cubicBezTo>
                    <a:pt x="331594" y="4506463"/>
                    <a:pt x="331594" y="4506463"/>
                    <a:pt x="357321" y="4475725"/>
                  </a:cubicBezTo>
                  <a:cubicBezTo>
                    <a:pt x="357321" y="4475725"/>
                    <a:pt x="357321" y="4475725"/>
                    <a:pt x="378920" y="4468753"/>
                  </a:cubicBezTo>
                  <a:close/>
                  <a:moveTo>
                    <a:pt x="1769455" y="4466218"/>
                  </a:moveTo>
                  <a:cubicBezTo>
                    <a:pt x="1769455" y="4466218"/>
                    <a:pt x="1769455" y="4466218"/>
                    <a:pt x="1643042" y="4557482"/>
                  </a:cubicBezTo>
                  <a:lnTo>
                    <a:pt x="1730705" y="4693110"/>
                  </a:lnTo>
                  <a:cubicBezTo>
                    <a:pt x="1730705" y="4693110"/>
                    <a:pt x="1730705" y="4693110"/>
                    <a:pt x="1855529" y="4589805"/>
                  </a:cubicBezTo>
                  <a:cubicBezTo>
                    <a:pt x="1855529" y="4589805"/>
                    <a:pt x="1855529" y="4589805"/>
                    <a:pt x="1755797" y="4502344"/>
                  </a:cubicBezTo>
                  <a:cubicBezTo>
                    <a:pt x="1755797" y="4502344"/>
                    <a:pt x="1755797" y="4502344"/>
                    <a:pt x="1769455" y="4466218"/>
                  </a:cubicBezTo>
                  <a:close/>
                  <a:moveTo>
                    <a:pt x="2371024" y="4464951"/>
                  </a:moveTo>
                  <a:cubicBezTo>
                    <a:pt x="2371024" y="4464951"/>
                    <a:pt x="2371024" y="4464951"/>
                    <a:pt x="2351332" y="4495055"/>
                  </a:cubicBezTo>
                  <a:cubicBezTo>
                    <a:pt x="2351014" y="4499808"/>
                    <a:pt x="2349109" y="4535300"/>
                    <a:pt x="2349109" y="4550194"/>
                  </a:cubicBezTo>
                  <a:cubicBezTo>
                    <a:pt x="2349109" y="4552095"/>
                    <a:pt x="2349109" y="4553679"/>
                    <a:pt x="2349109" y="4554630"/>
                  </a:cubicBezTo>
                  <a:cubicBezTo>
                    <a:pt x="2349109" y="4554947"/>
                    <a:pt x="2349109" y="4554947"/>
                    <a:pt x="2349109" y="4554947"/>
                  </a:cubicBezTo>
                  <a:cubicBezTo>
                    <a:pt x="2352920" y="4555581"/>
                    <a:pt x="2363720" y="4557165"/>
                    <a:pt x="2363720" y="4557165"/>
                  </a:cubicBezTo>
                  <a:cubicBezTo>
                    <a:pt x="2363720" y="4557165"/>
                    <a:pt x="2363720" y="4557165"/>
                    <a:pt x="2365308" y="4557482"/>
                  </a:cubicBezTo>
                  <a:lnTo>
                    <a:pt x="2377694" y="4617057"/>
                  </a:lnTo>
                  <a:cubicBezTo>
                    <a:pt x="2392305" y="4611036"/>
                    <a:pt x="2405328" y="4603748"/>
                    <a:pt x="2415809" y="4596142"/>
                  </a:cubicBezTo>
                  <a:cubicBezTo>
                    <a:pt x="2427243" y="4588220"/>
                    <a:pt x="2435819" y="4580298"/>
                    <a:pt x="2441854" y="4574594"/>
                  </a:cubicBezTo>
                  <a:cubicBezTo>
                    <a:pt x="2445030" y="4571742"/>
                    <a:pt x="2447253" y="4569207"/>
                    <a:pt x="2448524" y="4567622"/>
                  </a:cubicBezTo>
                  <a:cubicBezTo>
                    <a:pt x="2449159" y="4566672"/>
                    <a:pt x="2449794" y="4566355"/>
                    <a:pt x="2450112" y="4566038"/>
                  </a:cubicBezTo>
                  <a:cubicBezTo>
                    <a:pt x="2450747" y="4561918"/>
                    <a:pt x="2451700" y="4550511"/>
                    <a:pt x="2452335" y="4536567"/>
                  </a:cubicBezTo>
                  <a:cubicBezTo>
                    <a:pt x="2453288" y="4521040"/>
                    <a:pt x="2454241" y="4501393"/>
                    <a:pt x="2455511" y="4480795"/>
                  </a:cubicBezTo>
                  <a:cubicBezTo>
                    <a:pt x="2437724" y="4477943"/>
                    <a:pt x="2380871" y="4466852"/>
                    <a:pt x="2371024" y="4464951"/>
                  </a:cubicBezTo>
                  <a:close/>
                  <a:moveTo>
                    <a:pt x="747675" y="4464634"/>
                  </a:moveTo>
                  <a:cubicBezTo>
                    <a:pt x="736876" y="4474774"/>
                    <a:pt x="727030" y="4484598"/>
                    <a:pt x="718454" y="4492837"/>
                  </a:cubicBezTo>
                  <a:cubicBezTo>
                    <a:pt x="717819" y="4493471"/>
                    <a:pt x="716866" y="4494104"/>
                    <a:pt x="716231" y="4495055"/>
                  </a:cubicBezTo>
                  <a:cubicBezTo>
                    <a:pt x="716231" y="4495055"/>
                    <a:pt x="716231" y="4495055"/>
                    <a:pt x="789283" y="4539736"/>
                  </a:cubicBezTo>
                  <a:cubicBezTo>
                    <a:pt x="789283" y="4539736"/>
                    <a:pt x="789283" y="4539736"/>
                    <a:pt x="820410" y="4509315"/>
                  </a:cubicBezTo>
                  <a:cubicBezTo>
                    <a:pt x="820410" y="4509315"/>
                    <a:pt x="820410" y="4509315"/>
                    <a:pt x="747675" y="4464634"/>
                  </a:cubicBezTo>
                  <a:close/>
                  <a:moveTo>
                    <a:pt x="649531" y="4458930"/>
                  </a:moveTo>
                  <a:lnTo>
                    <a:pt x="628250" y="4479845"/>
                  </a:lnTo>
                  <a:cubicBezTo>
                    <a:pt x="628250" y="4479845"/>
                    <a:pt x="628250" y="4479845"/>
                    <a:pt x="688915" y="4516604"/>
                  </a:cubicBezTo>
                  <a:cubicBezTo>
                    <a:pt x="688915" y="4516604"/>
                    <a:pt x="688915" y="4516604"/>
                    <a:pt x="689233" y="4516287"/>
                  </a:cubicBezTo>
                  <a:cubicBezTo>
                    <a:pt x="691139" y="4513752"/>
                    <a:pt x="698444" y="4506146"/>
                    <a:pt x="709243" y="4495689"/>
                  </a:cubicBezTo>
                  <a:cubicBezTo>
                    <a:pt x="709243" y="4495689"/>
                    <a:pt x="709243" y="4495689"/>
                    <a:pt x="649531" y="4458930"/>
                  </a:cubicBezTo>
                  <a:close/>
                  <a:moveTo>
                    <a:pt x="459912" y="4457662"/>
                  </a:moveTo>
                  <a:lnTo>
                    <a:pt x="445302" y="4488084"/>
                  </a:lnTo>
                  <a:cubicBezTo>
                    <a:pt x="445302" y="4488084"/>
                    <a:pt x="445302" y="4488084"/>
                    <a:pt x="458007" y="4498858"/>
                  </a:cubicBezTo>
                  <a:cubicBezTo>
                    <a:pt x="458007" y="4498858"/>
                    <a:pt x="458007" y="4498858"/>
                    <a:pt x="472299" y="4469070"/>
                  </a:cubicBezTo>
                  <a:cubicBezTo>
                    <a:pt x="472299" y="4469070"/>
                    <a:pt x="472299" y="4469070"/>
                    <a:pt x="459912" y="4457662"/>
                  </a:cubicBezTo>
                  <a:close/>
                  <a:moveTo>
                    <a:pt x="1057353" y="4450374"/>
                  </a:moveTo>
                  <a:cubicBezTo>
                    <a:pt x="1056083" y="4459247"/>
                    <a:pt x="1054495" y="4470338"/>
                    <a:pt x="1052589" y="4482697"/>
                  </a:cubicBezTo>
                  <a:cubicBezTo>
                    <a:pt x="1052589" y="4482697"/>
                    <a:pt x="1052589" y="4482697"/>
                    <a:pt x="1080539" y="4486499"/>
                  </a:cubicBezTo>
                  <a:cubicBezTo>
                    <a:pt x="1080539" y="4486499"/>
                    <a:pt x="1080539" y="4486499"/>
                    <a:pt x="1083080" y="4467803"/>
                  </a:cubicBezTo>
                  <a:lnTo>
                    <a:pt x="1068152" y="4465585"/>
                  </a:lnTo>
                  <a:cubicBezTo>
                    <a:pt x="1068152" y="4465585"/>
                    <a:pt x="1068152" y="4465585"/>
                    <a:pt x="1070058" y="4452275"/>
                  </a:cubicBezTo>
                  <a:cubicBezTo>
                    <a:pt x="1070058" y="4452275"/>
                    <a:pt x="1070058" y="4452275"/>
                    <a:pt x="1057353" y="4450374"/>
                  </a:cubicBezTo>
                  <a:close/>
                  <a:moveTo>
                    <a:pt x="458324" y="4450374"/>
                  </a:moveTo>
                  <a:cubicBezTo>
                    <a:pt x="458324" y="4450374"/>
                    <a:pt x="458324" y="4450374"/>
                    <a:pt x="477699" y="4468120"/>
                  </a:cubicBezTo>
                  <a:cubicBezTo>
                    <a:pt x="477699" y="4468120"/>
                    <a:pt x="477699" y="4468120"/>
                    <a:pt x="461500" y="4502027"/>
                  </a:cubicBezTo>
                  <a:cubicBezTo>
                    <a:pt x="461500" y="4502027"/>
                    <a:pt x="461500" y="4502027"/>
                    <a:pt x="462453" y="4502660"/>
                  </a:cubicBezTo>
                  <a:cubicBezTo>
                    <a:pt x="462453" y="4502660"/>
                    <a:pt x="462453" y="4502660"/>
                    <a:pt x="460548" y="4504562"/>
                  </a:cubicBezTo>
                  <a:cubicBezTo>
                    <a:pt x="460548" y="4504562"/>
                    <a:pt x="460548" y="4504562"/>
                    <a:pt x="460230" y="4504245"/>
                  </a:cubicBezTo>
                  <a:cubicBezTo>
                    <a:pt x="460230" y="4504245"/>
                    <a:pt x="460230" y="4504245"/>
                    <a:pt x="444349" y="4537518"/>
                  </a:cubicBezTo>
                  <a:cubicBezTo>
                    <a:pt x="444349" y="4537518"/>
                    <a:pt x="444349" y="4537518"/>
                    <a:pt x="444984" y="4538152"/>
                  </a:cubicBezTo>
                  <a:cubicBezTo>
                    <a:pt x="444984" y="4538152"/>
                    <a:pt x="444984" y="4538152"/>
                    <a:pt x="443396" y="4540053"/>
                  </a:cubicBezTo>
                  <a:cubicBezTo>
                    <a:pt x="443396" y="4540053"/>
                    <a:pt x="443396" y="4540053"/>
                    <a:pt x="443079" y="4540053"/>
                  </a:cubicBezTo>
                  <a:cubicBezTo>
                    <a:pt x="443079" y="4540053"/>
                    <a:pt x="443079" y="4540053"/>
                    <a:pt x="426880" y="4573326"/>
                  </a:cubicBezTo>
                  <a:cubicBezTo>
                    <a:pt x="426880" y="4573326"/>
                    <a:pt x="426880" y="4573326"/>
                    <a:pt x="427833" y="4573960"/>
                  </a:cubicBezTo>
                  <a:cubicBezTo>
                    <a:pt x="427833" y="4573960"/>
                    <a:pt x="427833" y="4573960"/>
                    <a:pt x="426245" y="4576178"/>
                  </a:cubicBezTo>
                  <a:cubicBezTo>
                    <a:pt x="426245" y="4576178"/>
                    <a:pt x="426245" y="4576178"/>
                    <a:pt x="425927" y="4575862"/>
                  </a:cubicBezTo>
                  <a:cubicBezTo>
                    <a:pt x="425927" y="4575862"/>
                    <a:pt x="425927" y="4575862"/>
                    <a:pt x="408140" y="4612621"/>
                  </a:cubicBezTo>
                  <a:cubicBezTo>
                    <a:pt x="408140" y="4612621"/>
                    <a:pt x="408140" y="4612621"/>
                    <a:pt x="408776" y="4613254"/>
                  </a:cubicBezTo>
                  <a:cubicBezTo>
                    <a:pt x="408776" y="4613254"/>
                    <a:pt x="408776" y="4613254"/>
                    <a:pt x="407188" y="4615156"/>
                  </a:cubicBezTo>
                  <a:cubicBezTo>
                    <a:pt x="407188" y="4615156"/>
                    <a:pt x="407188" y="4615156"/>
                    <a:pt x="406870" y="4615156"/>
                  </a:cubicBezTo>
                  <a:cubicBezTo>
                    <a:pt x="406870" y="4615156"/>
                    <a:pt x="406870" y="4615156"/>
                    <a:pt x="389719" y="4651281"/>
                  </a:cubicBezTo>
                  <a:cubicBezTo>
                    <a:pt x="389719" y="4651281"/>
                    <a:pt x="389719" y="4651281"/>
                    <a:pt x="390671" y="4652232"/>
                  </a:cubicBezTo>
                  <a:cubicBezTo>
                    <a:pt x="390671" y="4652232"/>
                    <a:pt x="390671" y="4652232"/>
                    <a:pt x="389083" y="4654133"/>
                  </a:cubicBezTo>
                  <a:cubicBezTo>
                    <a:pt x="389083" y="4654133"/>
                    <a:pt x="389083" y="4654133"/>
                    <a:pt x="388448" y="4653499"/>
                  </a:cubicBezTo>
                  <a:cubicBezTo>
                    <a:pt x="388448" y="4653499"/>
                    <a:pt x="388448" y="4653499"/>
                    <a:pt x="370979" y="4690258"/>
                  </a:cubicBezTo>
                  <a:cubicBezTo>
                    <a:pt x="370979" y="4690258"/>
                    <a:pt x="370979" y="4690258"/>
                    <a:pt x="350651" y="4675998"/>
                  </a:cubicBezTo>
                  <a:cubicBezTo>
                    <a:pt x="350651" y="4675998"/>
                    <a:pt x="350651" y="4675998"/>
                    <a:pt x="369073" y="4637338"/>
                  </a:cubicBezTo>
                  <a:cubicBezTo>
                    <a:pt x="369073" y="4637338"/>
                    <a:pt x="369073" y="4637338"/>
                    <a:pt x="368120" y="4636387"/>
                  </a:cubicBezTo>
                  <a:cubicBezTo>
                    <a:pt x="368120" y="4636387"/>
                    <a:pt x="368120" y="4636387"/>
                    <a:pt x="369709" y="4634486"/>
                  </a:cubicBezTo>
                  <a:cubicBezTo>
                    <a:pt x="369709" y="4634486"/>
                    <a:pt x="369709" y="4634486"/>
                    <a:pt x="370344" y="4634803"/>
                  </a:cubicBezTo>
                  <a:cubicBezTo>
                    <a:pt x="370344" y="4634803"/>
                    <a:pt x="370344" y="4634803"/>
                    <a:pt x="387495" y="4598677"/>
                  </a:cubicBezTo>
                  <a:cubicBezTo>
                    <a:pt x="387495" y="4598677"/>
                    <a:pt x="387495" y="4598677"/>
                    <a:pt x="386225" y="4597410"/>
                  </a:cubicBezTo>
                  <a:cubicBezTo>
                    <a:pt x="386225" y="4597410"/>
                    <a:pt x="386225" y="4597410"/>
                    <a:pt x="388130" y="4595509"/>
                  </a:cubicBezTo>
                  <a:cubicBezTo>
                    <a:pt x="388130" y="4595509"/>
                    <a:pt x="388130" y="4595509"/>
                    <a:pt x="388766" y="4596142"/>
                  </a:cubicBezTo>
                  <a:cubicBezTo>
                    <a:pt x="388766" y="4596142"/>
                    <a:pt x="388766" y="4596142"/>
                    <a:pt x="406235" y="4559067"/>
                  </a:cubicBezTo>
                  <a:cubicBezTo>
                    <a:pt x="406235" y="4559067"/>
                    <a:pt x="406235" y="4559067"/>
                    <a:pt x="405282" y="4558433"/>
                  </a:cubicBezTo>
                  <a:cubicBezTo>
                    <a:pt x="405282" y="4558433"/>
                    <a:pt x="405282" y="4558433"/>
                    <a:pt x="406870" y="4556215"/>
                  </a:cubicBezTo>
                  <a:cubicBezTo>
                    <a:pt x="406870" y="4556215"/>
                    <a:pt x="406870" y="4556215"/>
                    <a:pt x="407505" y="4556848"/>
                  </a:cubicBezTo>
                  <a:cubicBezTo>
                    <a:pt x="407505" y="4556848"/>
                    <a:pt x="407505" y="4556848"/>
                    <a:pt x="423386" y="4523258"/>
                  </a:cubicBezTo>
                  <a:cubicBezTo>
                    <a:pt x="423386" y="4523258"/>
                    <a:pt x="423386" y="4523258"/>
                    <a:pt x="422433" y="4522308"/>
                  </a:cubicBezTo>
                  <a:cubicBezTo>
                    <a:pt x="422433" y="4522308"/>
                    <a:pt x="422433" y="4522308"/>
                    <a:pt x="424339" y="4520406"/>
                  </a:cubicBezTo>
                  <a:cubicBezTo>
                    <a:pt x="424339" y="4520406"/>
                    <a:pt x="424339" y="4520406"/>
                    <a:pt x="424657" y="4520723"/>
                  </a:cubicBezTo>
                  <a:cubicBezTo>
                    <a:pt x="424657" y="4520723"/>
                    <a:pt x="424657" y="4520723"/>
                    <a:pt x="440538" y="4487450"/>
                  </a:cubicBezTo>
                  <a:cubicBezTo>
                    <a:pt x="440538" y="4487450"/>
                    <a:pt x="440538" y="4487450"/>
                    <a:pt x="439585" y="4486816"/>
                  </a:cubicBezTo>
                  <a:cubicBezTo>
                    <a:pt x="439585" y="4486816"/>
                    <a:pt x="439585" y="4486816"/>
                    <a:pt x="441490" y="4484915"/>
                  </a:cubicBezTo>
                  <a:lnTo>
                    <a:pt x="441808" y="4485232"/>
                  </a:lnTo>
                  <a:cubicBezTo>
                    <a:pt x="441808" y="4485232"/>
                    <a:pt x="441808" y="4485232"/>
                    <a:pt x="458324" y="4450374"/>
                  </a:cubicBezTo>
                  <a:close/>
                  <a:moveTo>
                    <a:pt x="1041472" y="4448156"/>
                  </a:moveTo>
                  <a:cubicBezTo>
                    <a:pt x="1041472" y="4448156"/>
                    <a:pt x="1041472" y="4448156"/>
                    <a:pt x="1039884" y="4461782"/>
                  </a:cubicBezTo>
                  <a:cubicBezTo>
                    <a:pt x="1039884" y="4461782"/>
                    <a:pt x="1039884" y="4461782"/>
                    <a:pt x="1024956" y="4459881"/>
                  </a:cubicBezTo>
                  <a:cubicBezTo>
                    <a:pt x="1024956" y="4459881"/>
                    <a:pt x="1024956" y="4459881"/>
                    <a:pt x="1022415" y="4478577"/>
                  </a:cubicBezTo>
                  <a:cubicBezTo>
                    <a:pt x="1022415" y="4478577"/>
                    <a:pt x="1022415" y="4478577"/>
                    <a:pt x="1048142" y="4482063"/>
                  </a:cubicBezTo>
                  <a:cubicBezTo>
                    <a:pt x="1050048" y="4469704"/>
                    <a:pt x="1051636" y="4458613"/>
                    <a:pt x="1052907" y="4449740"/>
                  </a:cubicBezTo>
                  <a:cubicBezTo>
                    <a:pt x="1052907" y="4449740"/>
                    <a:pt x="1052907" y="4449740"/>
                    <a:pt x="1041472" y="4448156"/>
                  </a:cubicBezTo>
                  <a:close/>
                  <a:moveTo>
                    <a:pt x="1322247" y="4446571"/>
                  </a:moveTo>
                  <a:cubicBezTo>
                    <a:pt x="1322247" y="4446571"/>
                    <a:pt x="1322247" y="4446571"/>
                    <a:pt x="1320024" y="4458613"/>
                  </a:cubicBezTo>
                  <a:lnTo>
                    <a:pt x="1339716" y="4467169"/>
                  </a:lnTo>
                  <a:cubicBezTo>
                    <a:pt x="1339716" y="4467169"/>
                    <a:pt x="1339716" y="4467169"/>
                    <a:pt x="1342575" y="4468437"/>
                  </a:cubicBezTo>
                  <a:cubicBezTo>
                    <a:pt x="1342575" y="4468437"/>
                    <a:pt x="1342575" y="4468437"/>
                    <a:pt x="1342575" y="4471289"/>
                  </a:cubicBezTo>
                  <a:cubicBezTo>
                    <a:pt x="1342575" y="4471289"/>
                    <a:pt x="1342575" y="4471289"/>
                    <a:pt x="1341940" y="4489351"/>
                  </a:cubicBezTo>
                  <a:cubicBezTo>
                    <a:pt x="1341940" y="4489351"/>
                    <a:pt x="1341940" y="4489351"/>
                    <a:pt x="1362903" y="4486499"/>
                  </a:cubicBezTo>
                  <a:cubicBezTo>
                    <a:pt x="1362903" y="4486499"/>
                    <a:pt x="1362903" y="4486499"/>
                    <a:pt x="1365761" y="4467486"/>
                  </a:cubicBezTo>
                  <a:cubicBezTo>
                    <a:pt x="1365761" y="4467486"/>
                    <a:pt x="1365761" y="4467486"/>
                    <a:pt x="1366714" y="4463049"/>
                  </a:cubicBezTo>
                  <a:cubicBezTo>
                    <a:pt x="1366714" y="4463049"/>
                    <a:pt x="1366714" y="4463049"/>
                    <a:pt x="1371161" y="4463683"/>
                  </a:cubicBezTo>
                  <a:cubicBezTo>
                    <a:pt x="1371161" y="4463683"/>
                    <a:pt x="1371161" y="4463683"/>
                    <a:pt x="1387359" y="4466852"/>
                  </a:cubicBezTo>
                  <a:cubicBezTo>
                    <a:pt x="1387359" y="4466852"/>
                    <a:pt x="1387359" y="4466852"/>
                    <a:pt x="1390218" y="4457029"/>
                  </a:cubicBezTo>
                  <a:cubicBezTo>
                    <a:pt x="1390218" y="4457029"/>
                    <a:pt x="1390218" y="4457029"/>
                    <a:pt x="1322247" y="4446571"/>
                  </a:cubicBezTo>
                  <a:close/>
                  <a:moveTo>
                    <a:pt x="1100549" y="4446571"/>
                  </a:moveTo>
                  <a:lnTo>
                    <a:pt x="1087070" y="4551201"/>
                  </a:lnTo>
                  <a:lnTo>
                    <a:pt x="1086892" y="4551778"/>
                  </a:lnTo>
                  <a:lnTo>
                    <a:pt x="1086992" y="4551802"/>
                  </a:lnTo>
                  <a:lnTo>
                    <a:pt x="1068788" y="4693110"/>
                  </a:lnTo>
                  <a:cubicBezTo>
                    <a:pt x="1072599" y="4692159"/>
                    <a:pt x="1075775" y="4691843"/>
                    <a:pt x="1077046" y="4691843"/>
                  </a:cubicBezTo>
                  <a:cubicBezTo>
                    <a:pt x="1103726" y="4685188"/>
                    <a:pt x="1144381" y="4683603"/>
                    <a:pt x="1179319" y="4683603"/>
                  </a:cubicBezTo>
                  <a:cubicBezTo>
                    <a:pt x="1187259" y="4683603"/>
                    <a:pt x="1194565" y="4683920"/>
                    <a:pt x="1201235" y="4683920"/>
                  </a:cubicBezTo>
                  <a:cubicBezTo>
                    <a:pt x="1202187" y="4678533"/>
                    <a:pt x="1205046" y="4655400"/>
                    <a:pt x="1208222" y="4632584"/>
                  </a:cubicBezTo>
                  <a:cubicBezTo>
                    <a:pt x="1210128" y="4619275"/>
                    <a:pt x="1211716" y="4606283"/>
                    <a:pt x="1213304" y="4596459"/>
                  </a:cubicBezTo>
                  <a:cubicBezTo>
                    <a:pt x="1213939" y="4591389"/>
                    <a:pt x="1214575" y="4587270"/>
                    <a:pt x="1214892" y="4584418"/>
                  </a:cubicBezTo>
                  <a:cubicBezTo>
                    <a:pt x="1214892" y="4583467"/>
                    <a:pt x="1215210" y="4583150"/>
                    <a:pt x="1215210" y="4582516"/>
                  </a:cubicBezTo>
                  <a:cubicBezTo>
                    <a:pt x="1215210" y="4582516"/>
                    <a:pt x="1215210" y="4582516"/>
                    <a:pt x="1129247" y="4561924"/>
                  </a:cubicBezTo>
                  <a:lnTo>
                    <a:pt x="1086992" y="4551802"/>
                  </a:lnTo>
                  <a:lnTo>
                    <a:pt x="1087070" y="4551201"/>
                  </a:lnTo>
                  <a:lnTo>
                    <a:pt x="1088162" y="4547659"/>
                  </a:lnTo>
                  <a:cubicBezTo>
                    <a:pt x="1088162" y="4547659"/>
                    <a:pt x="1088162" y="4547659"/>
                    <a:pt x="1216798" y="4578080"/>
                  </a:cubicBezTo>
                  <a:cubicBezTo>
                    <a:pt x="1217116" y="4578080"/>
                    <a:pt x="1217433" y="4578080"/>
                    <a:pt x="1217751" y="4578080"/>
                  </a:cubicBezTo>
                  <a:cubicBezTo>
                    <a:pt x="1217751" y="4578080"/>
                    <a:pt x="1218704" y="4577763"/>
                    <a:pt x="1219657" y="4578714"/>
                  </a:cubicBezTo>
                  <a:cubicBezTo>
                    <a:pt x="1219657" y="4578714"/>
                    <a:pt x="1219657" y="4578714"/>
                    <a:pt x="1305414" y="4599311"/>
                  </a:cubicBezTo>
                  <a:cubicBezTo>
                    <a:pt x="1305414" y="4599311"/>
                    <a:pt x="1305414" y="4599311"/>
                    <a:pt x="1352739" y="4537835"/>
                  </a:cubicBezTo>
                  <a:cubicBezTo>
                    <a:pt x="1352739" y="4537835"/>
                    <a:pt x="1352739" y="4537835"/>
                    <a:pt x="1100549" y="4446571"/>
                  </a:cubicBezTo>
                  <a:close/>
                  <a:moveTo>
                    <a:pt x="2002269" y="4442135"/>
                  </a:moveTo>
                  <a:cubicBezTo>
                    <a:pt x="2002269" y="4442135"/>
                    <a:pt x="2002269" y="4442135"/>
                    <a:pt x="1999728" y="4458296"/>
                  </a:cubicBezTo>
                  <a:cubicBezTo>
                    <a:pt x="1999728" y="4458296"/>
                    <a:pt x="1999728" y="4458296"/>
                    <a:pt x="1996552" y="4457979"/>
                  </a:cubicBezTo>
                  <a:cubicBezTo>
                    <a:pt x="1996552" y="4457979"/>
                    <a:pt x="1996552" y="4457979"/>
                    <a:pt x="1992423" y="4486499"/>
                  </a:cubicBezTo>
                  <a:lnTo>
                    <a:pt x="2022597" y="4490302"/>
                  </a:lnTo>
                  <a:cubicBezTo>
                    <a:pt x="2022597" y="4490302"/>
                    <a:pt x="2022597" y="4490302"/>
                    <a:pt x="2025455" y="4472239"/>
                  </a:cubicBezTo>
                  <a:cubicBezTo>
                    <a:pt x="2025455" y="4472239"/>
                    <a:pt x="2025455" y="4472239"/>
                    <a:pt x="2048324" y="4475725"/>
                  </a:cubicBezTo>
                  <a:cubicBezTo>
                    <a:pt x="2048324" y="4475725"/>
                    <a:pt x="2048324" y="4475725"/>
                    <a:pt x="2052453" y="4449740"/>
                  </a:cubicBezTo>
                  <a:cubicBezTo>
                    <a:pt x="2052453" y="4449740"/>
                    <a:pt x="2052453" y="4449740"/>
                    <a:pt x="2002269" y="4442135"/>
                  </a:cubicBezTo>
                  <a:close/>
                  <a:moveTo>
                    <a:pt x="1318436" y="4441501"/>
                  </a:moveTo>
                  <a:cubicBezTo>
                    <a:pt x="1318436" y="4441501"/>
                    <a:pt x="1318436" y="4441501"/>
                    <a:pt x="1395935" y="4453543"/>
                  </a:cubicBezTo>
                  <a:cubicBezTo>
                    <a:pt x="1395935" y="4453543"/>
                    <a:pt x="1395935" y="4453543"/>
                    <a:pt x="1390535" y="4471605"/>
                  </a:cubicBezTo>
                  <a:cubicBezTo>
                    <a:pt x="1390535" y="4471605"/>
                    <a:pt x="1390535" y="4471605"/>
                    <a:pt x="1370208" y="4468120"/>
                  </a:cubicBezTo>
                  <a:cubicBezTo>
                    <a:pt x="1370208" y="4468120"/>
                    <a:pt x="1370208" y="4468120"/>
                    <a:pt x="1366714" y="4490619"/>
                  </a:cubicBezTo>
                  <a:cubicBezTo>
                    <a:pt x="1366714" y="4490619"/>
                    <a:pt x="1366714" y="4490619"/>
                    <a:pt x="1337493" y="4494421"/>
                  </a:cubicBezTo>
                  <a:lnTo>
                    <a:pt x="1338128" y="4471289"/>
                  </a:lnTo>
                  <a:cubicBezTo>
                    <a:pt x="1338128" y="4471289"/>
                    <a:pt x="1338128" y="4471289"/>
                    <a:pt x="1315260" y="4461148"/>
                  </a:cubicBezTo>
                  <a:cubicBezTo>
                    <a:pt x="1315260" y="4461148"/>
                    <a:pt x="1315260" y="4461148"/>
                    <a:pt x="1318436" y="4441501"/>
                  </a:cubicBezTo>
                  <a:close/>
                  <a:moveTo>
                    <a:pt x="262036" y="4439917"/>
                  </a:moveTo>
                  <a:cubicBezTo>
                    <a:pt x="262036" y="4439917"/>
                    <a:pt x="262036" y="4439917"/>
                    <a:pt x="238214" y="4479845"/>
                  </a:cubicBezTo>
                  <a:cubicBezTo>
                    <a:pt x="238214" y="4479845"/>
                    <a:pt x="238214" y="4479845"/>
                    <a:pt x="246790" y="4481429"/>
                  </a:cubicBezTo>
                  <a:lnTo>
                    <a:pt x="286810" y="4454810"/>
                  </a:lnTo>
                  <a:cubicBezTo>
                    <a:pt x="286810" y="4454810"/>
                    <a:pt x="286810" y="4454810"/>
                    <a:pt x="262036" y="4439917"/>
                  </a:cubicBezTo>
                  <a:close/>
                  <a:moveTo>
                    <a:pt x="1998775" y="4437382"/>
                  </a:moveTo>
                  <a:cubicBezTo>
                    <a:pt x="1998775" y="4437382"/>
                    <a:pt x="1998775" y="4437382"/>
                    <a:pt x="2057217" y="4446254"/>
                  </a:cubicBezTo>
                  <a:cubicBezTo>
                    <a:pt x="2057217" y="4446254"/>
                    <a:pt x="2057217" y="4446254"/>
                    <a:pt x="2051818" y="4480478"/>
                  </a:cubicBezTo>
                  <a:cubicBezTo>
                    <a:pt x="2051818" y="4480478"/>
                    <a:pt x="2051818" y="4480478"/>
                    <a:pt x="2028949" y="4476993"/>
                  </a:cubicBezTo>
                  <a:cubicBezTo>
                    <a:pt x="2028949" y="4476993"/>
                    <a:pt x="2028949" y="4476993"/>
                    <a:pt x="2026090" y="4495055"/>
                  </a:cubicBezTo>
                  <a:lnTo>
                    <a:pt x="2024185" y="4494738"/>
                  </a:lnTo>
                  <a:cubicBezTo>
                    <a:pt x="2024185" y="4494738"/>
                    <a:pt x="2024185" y="4494738"/>
                    <a:pt x="1987659" y="4489985"/>
                  </a:cubicBezTo>
                  <a:cubicBezTo>
                    <a:pt x="1987659" y="4489985"/>
                    <a:pt x="1987659" y="4489985"/>
                    <a:pt x="1993058" y="4453226"/>
                  </a:cubicBezTo>
                  <a:cubicBezTo>
                    <a:pt x="1993058" y="4453226"/>
                    <a:pt x="1993058" y="4453226"/>
                    <a:pt x="1996234" y="4453860"/>
                  </a:cubicBezTo>
                  <a:cubicBezTo>
                    <a:pt x="1996234" y="4453860"/>
                    <a:pt x="1996234" y="4453860"/>
                    <a:pt x="1998775" y="4437382"/>
                  </a:cubicBezTo>
                  <a:close/>
                  <a:moveTo>
                    <a:pt x="449749" y="4437065"/>
                  </a:moveTo>
                  <a:cubicBezTo>
                    <a:pt x="449749" y="4437065"/>
                    <a:pt x="449749" y="4437065"/>
                    <a:pt x="335723" y="4675364"/>
                  </a:cubicBezTo>
                  <a:cubicBezTo>
                    <a:pt x="335723" y="4675364"/>
                    <a:pt x="335723" y="4675364"/>
                    <a:pt x="347158" y="4683920"/>
                  </a:cubicBezTo>
                  <a:cubicBezTo>
                    <a:pt x="347158" y="4683920"/>
                    <a:pt x="347158" y="4683920"/>
                    <a:pt x="347793" y="4683287"/>
                  </a:cubicBezTo>
                  <a:cubicBezTo>
                    <a:pt x="347793" y="4683287"/>
                    <a:pt x="361450" y="4693427"/>
                    <a:pt x="383049" y="4709905"/>
                  </a:cubicBezTo>
                  <a:cubicBezTo>
                    <a:pt x="383049" y="4709905"/>
                    <a:pt x="383049" y="4709905"/>
                    <a:pt x="442761" y="4586002"/>
                  </a:cubicBezTo>
                  <a:cubicBezTo>
                    <a:pt x="442761" y="4586002"/>
                    <a:pt x="442761" y="4586002"/>
                    <a:pt x="441808" y="4585368"/>
                  </a:cubicBezTo>
                  <a:cubicBezTo>
                    <a:pt x="442126" y="4585051"/>
                    <a:pt x="442443" y="4584734"/>
                    <a:pt x="443079" y="4584418"/>
                  </a:cubicBezTo>
                  <a:cubicBezTo>
                    <a:pt x="443079" y="4584418"/>
                    <a:pt x="443396" y="4584418"/>
                    <a:pt x="443396" y="4584418"/>
                  </a:cubicBezTo>
                  <a:lnTo>
                    <a:pt x="494215" y="4479211"/>
                  </a:lnTo>
                  <a:cubicBezTo>
                    <a:pt x="494215" y="4479211"/>
                    <a:pt x="494215" y="4479211"/>
                    <a:pt x="449749" y="4437065"/>
                  </a:cubicBezTo>
                  <a:close/>
                  <a:moveTo>
                    <a:pt x="260448" y="4433896"/>
                  </a:moveTo>
                  <a:cubicBezTo>
                    <a:pt x="260448" y="4433896"/>
                    <a:pt x="260448" y="4433896"/>
                    <a:pt x="264259" y="4436114"/>
                  </a:cubicBezTo>
                  <a:cubicBezTo>
                    <a:pt x="264259" y="4436114"/>
                    <a:pt x="264259" y="4436114"/>
                    <a:pt x="289033" y="4451008"/>
                  </a:cubicBezTo>
                  <a:lnTo>
                    <a:pt x="295068" y="4454810"/>
                  </a:lnTo>
                  <a:cubicBezTo>
                    <a:pt x="295068" y="4454810"/>
                    <a:pt x="295068" y="4454810"/>
                    <a:pt x="289351" y="4458613"/>
                  </a:cubicBezTo>
                  <a:cubicBezTo>
                    <a:pt x="289351" y="4458613"/>
                    <a:pt x="289351" y="4458613"/>
                    <a:pt x="249331" y="4485232"/>
                  </a:cubicBezTo>
                  <a:cubicBezTo>
                    <a:pt x="249331" y="4485232"/>
                    <a:pt x="249331" y="4485232"/>
                    <a:pt x="247743" y="4486182"/>
                  </a:cubicBezTo>
                  <a:cubicBezTo>
                    <a:pt x="247743" y="4486182"/>
                    <a:pt x="247743" y="4486182"/>
                    <a:pt x="245837" y="4485865"/>
                  </a:cubicBezTo>
                  <a:cubicBezTo>
                    <a:pt x="245837" y="4485865"/>
                    <a:pt x="245837" y="4485865"/>
                    <a:pt x="237262" y="4484281"/>
                  </a:cubicBezTo>
                  <a:cubicBezTo>
                    <a:pt x="237262" y="4484281"/>
                    <a:pt x="237262" y="4484281"/>
                    <a:pt x="231227" y="4483013"/>
                  </a:cubicBezTo>
                  <a:cubicBezTo>
                    <a:pt x="231227" y="4483013"/>
                    <a:pt x="231227" y="4483013"/>
                    <a:pt x="234403" y="4477626"/>
                  </a:cubicBezTo>
                  <a:cubicBezTo>
                    <a:pt x="234403" y="4477626"/>
                    <a:pt x="234403" y="4477626"/>
                    <a:pt x="258224" y="4437698"/>
                  </a:cubicBezTo>
                  <a:cubicBezTo>
                    <a:pt x="258224" y="4437698"/>
                    <a:pt x="258224" y="4437698"/>
                    <a:pt x="260448" y="4433896"/>
                  </a:cubicBezTo>
                  <a:close/>
                  <a:moveTo>
                    <a:pt x="1312401" y="4433579"/>
                  </a:moveTo>
                  <a:cubicBezTo>
                    <a:pt x="1312401" y="4433579"/>
                    <a:pt x="1312401" y="4433579"/>
                    <a:pt x="1306366" y="4460831"/>
                  </a:cubicBezTo>
                  <a:lnTo>
                    <a:pt x="1334635" y="4508998"/>
                  </a:lnTo>
                  <a:cubicBezTo>
                    <a:pt x="1334635" y="4508998"/>
                    <a:pt x="1334635" y="4508998"/>
                    <a:pt x="1364491" y="4519772"/>
                  </a:cubicBezTo>
                  <a:cubicBezTo>
                    <a:pt x="1369573" y="4513435"/>
                    <a:pt x="1381007" y="4498224"/>
                    <a:pt x="1387359" y="4488717"/>
                  </a:cubicBezTo>
                  <a:cubicBezTo>
                    <a:pt x="1394982" y="4476993"/>
                    <a:pt x="1398794" y="4466535"/>
                    <a:pt x="1402605" y="4451008"/>
                  </a:cubicBezTo>
                  <a:cubicBezTo>
                    <a:pt x="1402923" y="4450374"/>
                    <a:pt x="1402923" y="4449106"/>
                    <a:pt x="1403240" y="4448156"/>
                  </a:cubicBezTo>
                  <a:cubicBezTo>
                    <a:pt x="1384501" y="4445621"/>
                    <a:pt x="1325106" y="4435797"/>
                    <a:pt x="1312401" y="4433579"/>
                  </a:cubicBezTo>
                  <a:close/>
                  <a:moveTo>
                    <a:pt x="1570308" y="4432945"/>
                  </a:moveTo>
                  <a:cubicBezTo>
                    <a:pt x="1556015" y="4440234"/>
                    <a:pt x="1508372" y="4465585"/>
                    <a:pt x="1498843" y="4470655"/>
                  </a:cubicBezTo>
                  <a:cubicBezTo>
                    <a:pt x="1498526" y="4474774"/>
                    <a:pt x="1498526" y="4479211"/>
                    <a:pt x="1498208" y="4483013"/>
                  </a:cubicBezTo>
                  <a:cubicBezTo>
                    <a:pt x="1497255" y="4493471"/>
                    <a:pt x="1496620" y="4502344"/>
                    <a:pt x="1496303" y="4508681"/>
                  </a:cubicBezTo>
                  <a:cubicBezTo>
                    <a:pt x="1495985" y="4511850"/>
                    <a:pt x="1495985" y="4514068"/>
                    <a:pt x="1495667" y="4515970"/>
                  </a:cubicBezTo>
                  <a:cubicBezTo>
                    <a:pt x="1495667" y="4516604"/>
                    <a:pt x="1495667" y="4517554"/>
                    <a:pt x="1495350" y="4517871"/>
                  </a:cubicBezTo>
                  <a:cubicBezTo>
                    <a:pt x="1495350" y="4518188"/>
                    <a:pt x="1495350" y="4518188"/>
                    <a:pt x="1495350" y="4518505"/>
                  </a:cubicBezTo>
                  <a:cubicBezTo>
                    <a:pt x="1495350" y="4518505"/>
                    <a:pt x="1495350" y="4518822"/>
                    <a:pt x="1495350" y="4518822"/>
                  </a:cubicBezTo>
                  <a:cubicBezTo>
                    <a:pt x="1495032" y="4519139"/>
                    <a:pt x="1495667" y="4519139"/>
                    <a:pt x="1494079" y="4520723"/>
                  </a:cubicBezTo>
                  <a:cubicBezTo>
                    <a:pt x="1493126" y="4521040"/>
                    <a:pt x="1492809" y="4521040"/>
                    <a:pt x="1492809" y="4520723"/>
                  </a:cubicBezTo>
                  <a:cubicBezTo>
                    <a:pt x="1492809" y="4520723"/>
                    <a:pt x="1492809" y="4520723"/>
                    <a:pt x="1492491" y="4521040"/>
                  </a:cubicBezTo>
                  <a:cubicBezTo>
                    <a:pt x="1491856" y="4521040"/>
                    <a:pt x="1490585" y="4521040"/>
                    <a:pt x="1488680" y="4521040"/>
                  </a:cubicBezTo>
                  <a:cubicBezTo>
                    <a:pt x="1479151" y="4521040"/>
                    <a:pt x="1453742" y="4520723"/>
                    <a:pt x="1430238" y="4520089"/>
                  </a:cubicBezTo>
                  <a:cubicBezTo>
                    <a:pt x="1432461" y="4527695"/>
                    <a:pt x="1439766" y="4553046"/>
                    <a:pt x="1447707" y="4579030"/>
                  </a:cubicBezTo>
                  <a:cubicBezTo>
                    <a:pt x="1452154" y="4594241"/>
                    <a:pt x="1456600" y="4609452"/>
                    <a:pt x="1460412" y="4620860"/>
                  </a:cubicBezTo>
                  <a:cubicBezTo>
                    <a:pt x="1462000" y="4626564"/>
                    <a:pt x="1463588" y="4631317"/>
                    <a:pt x="1464541" y="4634803"/>
                  </a:cubicBezTo>
                  <a:cubicBezTo>
                    <a:pt x="1464541" y="4634803"/>
                    <a:pt x="1464541" y="4634803"/>
                    <a:pt x="1621444" y="4545757"/>
                  </a:cubicBezTo>
                  <a:cubicBezTo>
                    <a:pt x="1620174" y="4543222"/>
                    <a:pt x="1619221" y="4540053"/>
                    <a:pt x="1617315" y="4536251"/>
                  </a:cubicBezTo>
                  <a:cubicBezTo>
                    <a:pt x="1612869" y="4524843"/>
                    <a:pt x="1605563" y="4509315"/>
                    <a:pt x="1595717" y="4492837"/>
                  </a:cubicBezTo>
                  <a:cubicBezTo>
                    <a:pt x="1583965" y="4472556"/>
                    <a:pt x="1576978" y="4454810"/>
                    <a:pt x="1573166" y="4443402"/>
                  </a:cubicBezTo>
                  <a:cubicBezTo>
                    <a:pt x="1573166" y="4443402"/>
                    <a:pt x="1573166" y="4443402"/>
                    <a:pt x="1573166" y="4442769"/>
                  </a:cubicBezTo>
                  <a:cubicBezTo>
                    <a:pt x="1572849" y="4442452"/>
                    <a:pt x="1572849" y="4441818"/>
                    <a:pt x="1572531" y="4441501"/>
                  </a:cubicBezTo>
                  <a:cubicBezTo>
                    <a:pt x="1572531" y="4441184"/>
                    <a:pt x="1572213" y="4440550"/>
                    <a:pt x="1572213" y="4439917"/>
                  </a:cubicBezTo>
                  <a:cubicBezTo>
                    <a:pt x="1572213" y="4439600"/>
                    <a:pt x="1572213" y="4439600"/>
                    <a:pt x="1571896" y="4439283"/>
                  </a:cubicBezTo>
                  <a:cubicBezTo>
                    <a:pt x="1571896" y="4438649"/>
                    <a:pt x="1571578" y="4438332"/>
                    <a:pt x="1571578" y="4437382"/>
                  </a:cubicBezTo>
                  <a:cubicBezTo>
                    <a:pt x="1571261" y="4436748"/>
                    <a:pt x="1570943" y="4436114"/>
                    <a:pt x="1570943" y="4435480"/>
                  </a:cubicBezTo>
                  <a:cubicBezTo>
                    <a:pt x="1570943" y="4435163"/>
                    <a:pt x="1570943" y="4434846"/>
                    <a:pt x="1570943" y="4434530"/>
                  </a:cubicBezTo>
                  <a:cubicBezTo>
                    <a:pt x="1570625" y="4433896"/>
                    <a:pt x="1570625" y="4433579"/>
                    <a:pt x="1570308" y="4432945"/>
                  </a:cubicBezTo>
                  <a:close/>
                  <a:moveTo>
                    <a:pt x="2197922" y="4431994"/>
                  </a:moveTo>
                  <a:cubicBezTo>
                    <a:pt x="2197922" y="4431994"/>
                    <a:pt x="2197922" y="4431994"/>
                    <a:pt x="2195699" y="4448156"/>
                  </a:cubicBezTo>
                  <a:cubicBezTo>
                    <a:pt x="2195699" y="4448156"/>
                    <a:pt x="2195699" y="4448156"/>
                    <a:pt x="2192205" y="4447839"/>
                  </a:cubicBezTo>
                  <a:cubicBezTo>
                    <a:pt x="2192205" y="4447839"/>
                    <a:pt x="2192205" y="4447839"/>
                    <a:pt x="2188076" y="4476359"/>
                  </a:cubicBezTo>
                  <a:cubicBezTo>
                    <a:pt x="2188076" y="4476359"/>
                    <a:pt x="2188076" y="4476359"/>
                    <a:pt x="2218250" y="4480161"/>
                  </a:cubicBezTo>
                  <a:cubicBezTo>
                    <a:pt x="2218250" y="4480161"/>
                    <a:pt x="2218250" y="4480161"/>
                    <a:pt x="2221108" y="4462099"/>
                  </a:cubicBezTo>
                  <a:cubicBezTo>
                    <a:pt x="2221108" y="4462099"/>
                    <a:pt x="2221108" y="4462099"/>
                    <a:pt x="2243977" y="4465585"/>
                  </a:cubicBezTo>
                  <a:lnTo>
                    <a:pt x="2248106" y="4439283"/>
                  </a:lnTo>
                  <a:cubicBezTo>
                    <a:pt x="2248106" y="4439283"/>
                    <a:pt x="2248106" y="4439283"/>
                    <a:pt x="2197922" y="4431994"/>
                  </a:cubicBezTo>
                  <a:close/>
                  <a:moveTo>
                    <a:pt x="1059894" y="4431678"/>
                  </a:moveTo>
                  <a:cubicBezTo>
                    <a:pt x="1059577" y="4434530"/>
                    <a:pt x="1058941" y="4439600"/>
                    <a:pt x="1057989" y="4446254"/>
                  </a:cubicBezTo>
                  <a:cubicBezTo>
                    <a:pt x="1057989" y="4446254"/>
                    <a:pt x="1057989" y="4446254"/>
                    <a:pt x="1074822" y="4448473"/>
                  </a:cubicBezTo>
                  <a:cubicBezTo>
                    <a:pt x="1074822" y="4448473"/>
                    <a:pt x="1074822" y="4448473"/>
                    <a:pt x="1072917" y="4462099"/>
                  </a:cubicBezTo>
                  <a:cubicBezTo>
                    <a:pt x="1072917" y="4462099"/>
                    <a:pt x="1072917" y="4462099"/>
                    <a:pt x="1087845" y="4464000"/>
                  </a:cubicBezTo>
                  <a:cubicBezTo>
                    <a:pt x="1087845" y="4464000"/>
                    <a:pt x="1087845" y="4464000"/>
                    <a:pt x="1084033" y="4491252"/>
                  </a:cubicBezTo>
                  <a:cubicBezTo>
                    <a:pt x="1084033" y="4491252"/>
                    <a:pt x="1084033" y="4491252"/>
                    <a:pt x="1051954" y="4486816"/>
                  </a:cubicBezTo>
                  <a:cubicBezTo>
                    <a:pt x="1049730" y="4502027"/>
                    <a:pt x="1047190" y="4519139"/>
                    <a:pt x="1044649" y="4536567"/>
                  </a:cubicBezTo>
                  <a:cubicBezTo>
                    <a:pt x="1037026" y="4590122"/>
                    <a:pt x="1029403" y="4645894"/>
                    <a:pt x="1029085" y="4652865"/>
                  </a:cubicBezTo>
                  <a:cubicBezTo>
                    <a:pt x="1048460" y="4654133"/>
                    <a:pt x="1063706" y="4655400"/>
                    <a:pt x="1069105" y="4655717"/>
                  </a:cubicBezTo>
                  <a:cubicBezTo>
                    <a:pt x="1069105" y="4655717"/>
                    <a:pt x="1069105" y="4655717"/>
                    <a:pt x="1096420" y="4444987"/>
                  </a:cubicBezTo>
                  <a:cubicBezTo>
                    <a:pt x="1096420" y="4444987"/>
                    <a:pt x="1096420" y="4444987"/>
                    <a:pt x="1059894" y="4431678"/>
                  </a:cubicBezTo>
                  <a:close/>
                  <a:moveTo>
                    <a:pt x="1843778" y="4428192"/>
                  </a:moveTo>
                  <a:cubicBezTo>
                    <a:pt x="1843778" y="4428192"/>
                    <a:pt x="1843778" y="4428192"/>
                    <a:pt x="1820274" y="4442135"/>
                  </a:cubicBezTo>
                  <a:cubicBezTo>
                    <a:pt x="1820274" y="4442135"/>
                    <a:pt x="1820274" y="4442135"/>
                    <a:pt x="1794229" y="4494421"/>
                  </a:cubicBezTo>
                  <a:cubicBezTo>
                    <a:pt x="1794229" y="4494421"/>
                    <a:pt x="1794229" y="4494421"/>
                    <a:pt x="1835837" y="4526110"/>
                  </a:cubicBezTo>
                  <a:lnTo>
                    <a:pt x="1860929" y="4457662"/>
                  </a:lnTo>
                  <a:cubicBezTo>
                    <a:pt x="1860929" y="4457662"/>
                    <a:pt x="1860929" y="4457662"/>
                    <a:pt x="1941604" y="4491886"/>
                  </a:cubicBezTo>
                  <a:cubicBezTo>
                    <a:pt x="1941604" y="4491886"/>
                    <a:pt x="1941604" y="4491886"/>
                    <a:pt x="1955262" y="4428826"/>
                  </a:cubicBezTo>
                  <a:cubicBezTo>
                    <a:pt x="1955262" y="4428826"/>
                    <a:pt x="1955262" y="4428826"/>
                    <a:pt x="1843778" y="4428192"/>
                  </a:cubicBezTo>
                  <a:close/>
                  <a:moveTo>
                    <a:pt x="2194428" y="4427241"/>
                  </a:moveTo>
                  <a:lnTo>
                    <a:pt x="2252870" y="4435797"/>
                  </a:lnTo>
                  <a:cubicBezTo>
                    <a:pt x="2252870" y="4435797"/>
                    <a:pt x="2252870" y="4435797"/>
                    <a:pt x="2247471" y="4470338"/>
                  </a:cubicBezTo>
                  <a:cubicBezTo>
                    <a:pt x="2247471" y="4470338"/>
                    <a:pt x="2247471" y="4470338"/>
                    <a:pt x="2224602" y="4466852"/>
                  </a:cubicBezTo>
                  <a:cubicBezTo>
                    <a:pt x="2224602" y="4466852"/>
                    <a:pt x="2224602" y="4466852"/>
                    <a:pt x="2221744" y="4484915"/>
                  </a:cubicBezTo>
                  <a:cubicBezTo>
                    <a:pt x="2221744" y="4484915"/>
                    <a:pt x="2221744" y="4484915"/>
                    <a:pt x="2219838" y="4484598"/>
                  </a:cubicBezTo>
                  <a:cubicBezTo>
                    <a:pt x="2219838" y="4484598"/>
                    <a:pt x="2219838" y="4484598"/>
                    <a:pt x="2183312" y="4479845"/>
                  </a:cubicBezTo>
                  <a:cubicBezTo>
                    <a:pt x="2183312" y="4479845"/>
                    <a:pt x="2183312" y="4479845"/>
                    <a:pt x="2188712" y="4443086"/>
                  </a:cubicBezTo>
                  <a:cubicBezTo>
                    <a:pt x="2188712" y="4443086"/>
                    <a:pt x="2188712" y="4443086"/>
                    <a:pt x="2191888" y="4443402"/>
                  </a:cubicBezTo>
                  <a:cubicBezTo>
                    <a:pt x="2191888" y="4443402"/>
                    <a:pt x="2191888" y="4443402"/>
                    <a:pt x="2194428" y="4427241"/>
                  </a:cubicBezTo>
                  <a:close/>
                  <a:moveTo>
                    <a:pt x="683834" y="4425340"/>
                  </a:moveTo>
                  <a:lnTo>
                    <a:pt x="652389" y="4456078"/>
                  </a:lnTo>
                  <a:cubicBezTo>
                    <a:pt x="652389" y="4456078"/>
                    <a:pt x="652389" y="4456078"/>
                    <a:pt x="712419" y="4492520"/>
                  </a:cubicBezTo>
                  <a:cubicBezTo>
                    <a:pt x="721313" y="4483964"/>
                    <a:pt x="732112" y="4473507"/>
                    <a:pt x="743546" y="4462099"/>
                  </a:cubicBezTo>
                  <a:cubicBezTo>
                    <a:pt x="743546" y="4462099"/>
                    <a:pt x="743546" y="4462099"/>
                    <a:pt x="683834" y="4425340"/>
                  </a:cubicBezTo>
                  <a:close/>
                  <a:moveTo>
                    <a:pt x="1842507" y="4423438"/>
                  </a:moveTo>
                  <a:cubicBezTo>
                    <a:pt x="1842507" y="4423438"/>
                    <a:pt x="1842507" y="4423438"/>
                    <a:pt x="1960979" y="4424072"/>
                  </a:cubicBezTo>
                  <a:cubicBezTo>
                    <a:pt x="1960979" y="4424072"/>
                    <a:pt x="1960979" y="4424072"/>
                    <a:pt x="1960661" y="4426924"/>
                  </a:cubicBezTo>
                  <a:cubicBezTo>
                    <a:pt x="1960661" y="4426924"/>
                    <a:pt x="1960661" y="4426924"/>
                    <a:pt x="1945098" y="4498541"/>
                  </a:cubicBezTo>
                  <a:lnTo>
                    <a:pt x="1863788" y="4463683"/>
                  </a:lnTo>
                  <a:cubicBezTo>
                    <a:pt x="1863788" y="4463683"/>
                    <a:pt x="1863788" y="4463683"/>
                    <a:pt x="1838060" y="4533715"/>
                  </a:cubicBezTo>
                  <a:cubicBezTo>
                    <a:pt x="1838060" y="4533715"/>
                    <a:pt x="1838060" y="4533715"/>
                    <a:pt x="1788512" y="4495689"/>
                  </a:cubicBezTo>
                  <a:cubicBezTo>
                    <a:pt x="1788512" y="4495689"/>
                    <a:pt x="1788512" y="4495689"/>
                    <a:pt x="1816780" y="4438966"/>
                  </a:cubicBezTo>
                  <a:cubicBezTo>
                    <a:pt x="1816780" y="4438966"/>
                    <a:pt x="1816780" y="4438966"/>
                    <a:pt x="1842507" y="4423438"/>
                  </a:cubicBezTo>
                  <a:close/>
                  <a:moveTo>
                    <a:pt x="984301" y="4422488"/>
                  </a:moveTo>
                  <a:cubicBezTo>
                    <a:pt x="984301" y="4422488"/>
                    <a:pt x="984301" y="4422488"/>
                    <a:pt x="979854" y="4454810"/>
                  </a:cubicBezTo>
                  <a:cubicBezTo>
                    <a:pt x="979854" y="4454810"/>
                    <a:pt x="979854" y="4454810"/>
                    <a:pt x="1003676" y="4458296"/>
                  </a:cubicBezTo>
                  <a:cubicBezTo>
                    <a:pt x="1003676" y="4458296"/>
                    <a:pt x="1003676" y="4458296"/>
                    <a:pt x="1006217" y="4439283"/>
                  </a:cubicBezTo>
                  <a:lnTo>
                    <a:pt x="991606" y="4437382"/>
                  </a:lnTo>
                  <a:cubicBezTo>
                    <a:pt x="991606" y="4437382"/>
                    <a:pt x="991606" y="4437382"/>
                    <a:pt x="993194" y="4423755"/>
                  </a:cubicBezTo>
                  <a:cubicBezTo>
                    <a:pt x="993194" y="4423755"/>
                    <a:pt x="993194" y="4423755"/>
                    <a:pt x="984301" y="4422488"/>
                  </a:cubicBezTo>
                  <a:close/>
                  <a:moveTo>
                    <a:pt x="964926" y="4419953"/>
                  </a:moveTo>
                  <a:cubicBezTo>
                    <a:pt x="964926" y="4419953"/>
                    <a:pt x="964926" y="4419953"/>
                    <a:pt x="963021" y="4433579"/>
                  </a:cubicBezTo>
                  <a:cubicBezTo>
                    <a:pt x="963021" y="4433579"/>
                    <a:pt x="963021" y="4433579"/>
                    <a:pt x="948092" y="4431361"/>
                  </a:cubicBezTo>
                  <a:cubicBezTo>
                    <a:pt x="948092" y="4431361"/>
                    <a:pt x="948092" y="4431361"/>
                    <a:pt x="945551" y="4450374"/>
                  </a:cubicBezTo>
                  <a:cubicBezTo>
                    <a:pt x="945551" y="4450374"/>
                    <a:pt x="945551" y="4450374"/>
                    <a:pt x="975408" y="4454493"/>
                  </a:cubicBezTo>
                  <a:cubicBezTo>
                    <a:pt x="975408" y="4454493"/>
                    <a:pt x="975408" y="4454493"/>
                    <a:pt x="979854" y="4421854"/>
                  </a:cubicBezTo>
                  <a:close/>
                  <a:moveTo>
                    <a:pt x="53678" y="4419636"/>
                  </a:moveTo>
                  <a:cubicBezTo>
                    <a:pt x="53678" y="4419636"/>
                    <a:pt x="53678" y="4419636"/>
                    <a:pt x="28904" y="4485232"/>
                  </a:cubicBezTo>
                  <a:cubicBezTo>
                    <a:pt x="28904" y="4485232"/>
                    <a:pt x="28904" y="4485232"/>
                    <a:pt x="57807" y="4503928"/>
                  </a:cubicBezTo>
                  <a:cubicBezTo>
                    <a:pt x="57807" y="4503928"/>
                    <a:pt x="57807" y="4503928"/>
                    <a:pt x="62254" y="4500759"/>
                  </a:cubicBezTo>
                  <a:cubicBezTo>
                    <a:pt x="62254" y="4500759"/>
                    <a:pt x="62254" y="4500759"/>
                    <a:pt x="43514" y="4474457"/>
                  </a:cubicBezTo>
                  <a:cubicBezTo>
                    <a:pt x="43514" y="4474457"/>
                    <a:pt x="43514" y="4474457"/>
                    <a:pt x="73053" y="4451642"/>
                  </a:cubicBezTo>
                  <a:cubicBezTo>
                    <a:pt x="73053" y="4451642"/>
                    <a:pt x="73053" y="4451642"/>
                    <a:pt x="111484" y="4472239"/>
                  </a:cubicBezTo>
                  <a:cubicBezTo>
                    <a:pt x="111484" y="4472239"/>
                    <a:pt x="111484" y="4472239"/>
                    <a:pt x="125142" y="4463683"/>
                  </a:cubicBezTo>
                  <a:close/>
                  <a:moveTo>
                    <a:pt x="2643224" y="4418685"/>
                  </a:moveTo>
                  <a:cubicBezTo>
                    <a:pt x="2640048" y="4420270"/>
                    <a:pt x="2634648" y="4422805"/>
                    <a:pt x="2629249" y="4426290"/>
                  </a:cubicBezTo>
                  <a:cubicBezTo>
                    <a:pt x="2620673" y="4431994"/>
                    <a:pt x="2612415" y="4440234"/>
                    <a:pt x="2612732" y="4449423"/>
                  </a:cubicBezTo>
                  <a:cubicBezTo>
                    <a:pt x="2612732" y="4458930"/>
                    <a:pt x="2620356" y="4465901"/>
                    <a:pt x="2628614" y="4470972"/>
                  </a:cubicBezTo>
                  <a:cubicBezTo>
                    <a:pt x="2633696" y="4473824"/>
                    <a:pt x="2639095" y="4476042"/>
                    <a:pt x="2642271" y="4476993"/>
                  </a:cubicBezTo>
                  <a:cubicBezTo>
                    <a:pt x="2642271" y="4476993"/>
                    <a:pt x="2642271" y="4476993"/>
                    <a:pt x="2642271" y="4466218"/>
                  </a:cubicBezTo>
                  <a:cubicBezTo>
                    <a:pt x="2642271" y="4466218"/>
                    <a:pt x="2642271" y="4466218"/>
                    <a:pt x="2791552" y="4466218"/>
                  </a:cubicBezTo>
                  <a:cubicBezTo>
                    <a:pt x="2791552" y="4466218"/>
                    <a:pt x="2791552" y="4466218"/>
                    <a:pt x="2791552" y="4473507"/>
                  </a:cubicBezTo>
                  <a:cubicBezTo>
                    <a:pt x="2794410" y="4471922"/>
                    <a:pt x="2798540" y="4469704"/>
                    <a:pt x="2802668" y="4466535"/>
                  </a:cubicBezTo>
                  <a:cubicBezTo>
                    <a:pt x="2809656" y="4461465"/>
                    <a:pt x="2816326" y="4454177"/>
                    <a:pt x="2816326" y="4448156"/>
                  </a:cubicBezTo>
                  <a:cubicBezTo>
                    <a:pt x="2816326" y="4441818"/>
                    <a:pt x="2809974" y="4434846"/>
                    <a:pt x="2802986" y="4429776"/>
                  </a:cubicBezTo>
                  <a:cubicBezTo>
                    <a:pt x="2798857" y="4426607"/>
                    <a:pt x="2794728" y="4424389"/>
                    <a:pt x="2792187" y="4422805"/>
                  </a:cubicBezTo>
                  <a:cubicBezTo>
                    <a:pt x="2792187" y="4422805"/>
                    <a:pt x="2792187" y="4422805"/>
                    <a:pt x="2791870" y="4431044"/>
                  </a:cubicBezTo>
                  <a:cubicBezTo>
                    <a:pt x="2791870" y="4431044"/>
                    <a:pt x="2791870" y="4431044"/>
                    <a:pt x="2789646" y="4431044"/>
                  </a:cubicBezTo>
                  <a:lnTo>
                    <a:pt x="2643224" y="4431044"/>
                  </a:lnTo>
                  <a:cubicBezTo>
                    <a:pt x="2643224" y="4431044"/>
                    <a:pt x="2643224" y="4431044"/>
                    <a:pt x="2643224" y="4418685"/>
                  </a:cubicBezTo>
                  <a:close/>
                  <a:moveTo>
                    <a:pt x="1022415" y="4418051"/>
                  </a:moveTo>
                  <a:cubicBezTo>
                    <a:pt x="1019557" y="4447839"/>
                    <a:pt x="994782" y="4628465"/>
                    <a:pt x="991606" y="4649696"/>
                  </a:cubicBezTo>
                  <a:cubicBezTo>
                    <a:pt x="1003041" y="4650647"/>
                    <a:pt x="1014475" y="4651598"/>
                    <a:pt x="1024639" y="4652232"/>
                  </a:cubicBezTo>
                  <a:cubicBezTo>
                    <a:pt x="1025274" y="4641140"/>
                    <a:pt x="1038296" y="4548926"/>
                    <a:pt x="1047507" y="4486182"/>
                  </a:cubicBezTo>
                  <a:cubicBezTo>
                    <a:pt x="1047507" y="4486182"/>
                    <a:pt x="1047507" y="4486182"/>
                    <a:pt x="1017651" y="4482063"/>
                  </a:cubicBezTo>
                  <a:cubicBezTo>
                    <a:pt x="1017651" y="4482063"/>
                    <a:pt x="1017651" y="4482063"/>
                    <a:pt x="1017969" y="4480161"/>
                  </a:cubicBezTo>
                  <a:cubicBezTo>
                    <a:pt x="1017969" y="4480161"/>
                    <a:pt x="1017969" y="4480161"/>
                    <a:pt x="1021462" y="4455127"/>
                  </a:cubicBezTo>
                  <a:cubicBezTo>
                    <a:pt x="1021462" y="4455127"/>
                    <a:pt x="1021462" y="4455127"/>
                    <a:pt x="1036073" y="4457029"/>
                  </a:cubicBezTo>
                  <a:cubicBezTo>
                    <a:pt x="1036073" y="4457029"/>
                    <a:pt x="1036073" y="4457029"/>
                    <a:pt x="1037979" y="4443719"/>
                  </a:cubicBezTo>
                  <a:cubicBezTo>
                    <a:pt x="1037979" y="4443719"/>
                    <a:pt x="1037979" y="4443719"/>
                    <a:pt x="1053542" y="4445621"/>
                  </a:cubicBezTo>
                  <a:cubicBezTo>
                    <a:pt x="1054495" y="4438015"/>
                    <a:pt x="1055448" y="4432628"/>
                    <a:pt x="1055765" y="4430093"/>
                  </a:cubicBezTo>
                  <a:cubicBezTo>
                    <a:pt x="1055765" y="4430093"/>
                    <a:pt x="1055765" y="4430093"/>
                    <a:pt x="1022415" y="4418051"/>
                  </a:cubicBezTo>
                  <a:close/>
                  <a:moveTo>
                    <a:pt x="1973684" y="4414249"/>
                  </a:moveTo>
                  <a:cubicBezTo>
                    <a:pt x="1920641" y="4416150"/>
                    <a:pt x="1854259" y="4416467"/>
                    <a:pt x="1838696" y="4416467"/>
                  </a:cubicBezTo>
                  <a:cubicBezTo>
                    <a:pt x="1838696" y="4416467"/>
                    <a:pt x="1838696" y="4416467"/>
                    <a:pt x="1800264" y="4444036"/>
                  </a:cubicBezTo>
                  <a:cubicBezTo>
                    <a:pt x="1800264" y="4444036"/>
                    <a:pt x="1800264" y="4444036"/>
                    <a:pt x="1799946" y="4445304"/>
                  </a:cubicBezTo>
                  <a:lnTo>
                    <a:pt x="1780254" y="4496006"/>
                  </a:lnTo>
                  <a:cubicBezTo>
                    <a:pt x="1780254" y="4496006"/>
                    <a:pt x="1780254" y="4496006"/>
                    <a:pt x="1917782" y="4616740"/>
                  </a:cubicBezTo>
                  <a:cubicBezTo>
                    <a:pt x="1917782" y="4616740"/>
                    <a:pt x="1917782" y="4616740"/>
                    <a:pt x="1943510" y="4529913"/>
                  </a:cubicBezTo>
                  <a:cubicBezTo>
                    <a:pt x="1943510" y="4529913"/>
                    <a:pt x="1943510" y="4529913"/>
                    <a:pt x="1961932" y="4499808"/>
                  </a:cubicBezTo>
                  <a:cubicBezTo>
                    <a:pt x="1961932" y="4499808"/>
                    <a:pt x="1961932" y="4499808"/>
                    <a:pt x="1963202" y="4500125"/>
                  </a:cubicBezTo>
                  <a:cubicBezTo>
                    <a:pt x="1963202" y="4500125"/>
                    <a:pt x="1963520" y="4500125"/>
                    <a:pt x="1963837" y="4500125"/>
                  </a:cubicBezTo>
                  <a:cubicBezTo>
                    <a:pt x="1963837" y="4500125"/>
                    <a:pt x="1963837" y="4500125"/>
                    <a:pt x="1973684" y="4414249"/>
                  </a:cubicBezTo>
                  <a:close/>
                  <a:moveTo>
                    <a:pt x="576161" y="4414249"/>
                  </a:moveTo>
                  <a:cubicBezTo>
                    <a:pt x="576161" y="4414249"/>
                    <a:pt x="575843" y="4414249"/>
                    <a:pt x="575843" y="4414566"/>
                  </a:cubicBezTo>
                  <a:cubicBezTo>
                    <a:pt x="568856" y="4421220"/>
                    <a:pt x="563456" y="4426607"/>
                    <a:pt x="559645" y="4430727"/>
                  </a:cubicBezTo>
                  <a:cubicBezTo>
                    <a:pt x="557421" y="4432628"/>
                    <a:pt x="556151" y="4434213"/>
                    <a:pt x="554880" y="4435480"/>
                  </a:cubicBezTo>
                  <a:cubicBezTo>
                    <a:pt x="554880" y="4435480"/>
                    <a:pt x="554880" y="4435480"/>
                    <a:pt x="625074" y="4478260"/>
                  </a:cubicBezTo>
                  <a:lnTo>
                    <a:pt x="624439" y="4477309"/>
                  </a:lnTo>
                  <a:cubicBezTo>
                    <a:pt x="624439" y="4477309"/>
                    <a:pt x="624439" y="4477309"/>
                    <a:pt x="645719" y="4456712"/>
                  </a:cubicBezTo>
                  <a:cubicBezTo>
                    <a:pt x="645719" y="4456712"/>
                    <a:pt x="645719" y="4456712"/>
                    <a:pt x="576161" y="4414249"/>
                  </a:cubicBezTo>
                  <a:close/>
                  <a:moveTo>
                    <a:pt x="2104860" y="4412981"/>
                  </a:moveTo>
                  <a:cubicBezTo>
                    <a:pt x="2104860" y="4412981"/>
                    <a:pt x="2104860" y="4412981"/>
                    <a:pt x="2102319" y="4429459"/>
                  </a:cubicBezTo>
                  <a:cubicBezTo>
                    <a:pt x="2102319" y="4429459"/>
                    <a:pt x="2102319" y="4429459"/>
                    <a:pt x="2099143" y="4428826"/>
                  </a:cubicBezTo>
                  <a:cubicBezTo>
                    <a:pt x="2099143" y="4428826"/>
                    <a:pt x="2099143" y="4428826"/>
                    <a:pt x="2094696" y="4457345"/>
                  </a:cubicBezTo>
                  <a:cubicBezTo>
                    <a:pt x="2094696" y="4457345"/>
                    <a:pt x="2094696" y="4457345"/>
                    <a:pt x="2125188" y="4461148"/>
                  </a:cubicBezTo>
                  <a:cubicBezTo>
                    <a:pt x="2125188" y="4461148"/>
                    <a:pt x="2125188" y="4461148"/>
                    <a:pt x="2128046" y="4443402"/>
                  </a:cubicBezTo>
                  <a:cubicBezTo>
                    <a:pt x="2128046" y="4443402"/>
                    <a:pt x="2128046" y="4443402"/>
                    <a:pt x="2150915" y="4446571"/>
                  </a:cubicBezTo>
                  <a:lnTo>
                    <a:pt x="2155044" y="4420586"/>
                  </a:lnTo>
                  <a:cubicBezTo>
                    <a:pt x="2155044" y="4420586"/>
                    <a:pt x="2155044" y="4420586"/>
                    <a:pt x="2104860" y="4412981"/>
                  </a:cubicBezTo>
                  <a:close/>
                  <a:moveTo>
                    <a:pt x="51137" y="4412664"/>
                  </a:moveTo>
                  <a:cubicBezTo>
                    <a:pt x="51137" y="4412664"/>
                    <a:pt x="51137" y="4412664"/>
                    <a:pt x="134035" y="4463683"/>
                  </a:cubicBezTo>
                  <a:cubicBezTo>
                    <a:pt x="134035" y="4463683"/>
                    <a:pt x="134035" y="4463683"/>
                    <a:pt x="130542" y="4465901"/>
                  </a:cubicBezTo>
                  <a:cubicBezTo>
                    <a:pt x="130542" y="4465901"/>
                    <a:pt x="130542" y="4465901"/>
                    <a:pt x="111802" y="4477626"/>
                  </a:cubicBezTo>
                  <a:cubicBezTo>
                    <a:pt x="111802" y="4477626"/>
                    <a:pt x="111802" y="4477626"/>
                    <a:pt x="73370" y="4457029"/>
                  </a:cubicBezTo>
                  <a:cubicBezTo>
                    <a:pt x="73370" y="4457029"/>
                    <a:pt x="73370" y="4457029"/>
                    <a:pt x="49866" y="4475408"/>
                  </a:cubicBezTo>
                  <a:cubicBezTo>
                    <a:pt x="49866" y="4475408"/>
                    <a:pt x="49866" y="4475408"/>
                    <a:pt x="68924" y="4501710"/>
                  </a:cubicBezTo>
                  <a:cubicBezTo>
                    <a:pt x="68924" y="4501710"/>
                    <a:pt x="68924" y="4501710"/>
                    <a:pt x="57807" y="4509632"/>
                  </a:cubicBezTo>
                  <a:cubicBezTo>
                    <a:pt x="57807" y="4509632"/>
                    <a:pt x="57807" y="4509632"/>
                    <a:pt x="23186" y="4486816"/>
                  </a:cubicBezTo>
                  <a:close/>
                  <a:moveTo>
                    <a:pt x="2647988" y="4412031"/>
                  </a:moveTo>
                  <a:lnTo>
                    <a:pt x="2647988" y="4426290"/>
                  </a:lnTo>
                  <a:cubicBezTo>
                    <a:pt x="2647988" y="4426290"/>
                    <a:pt x="2647988" y="4426290"/>
                    <a:pt x="2787105" y="4426290"/>
                  </a:cubicBezTo>
                  <a:cubicBezTo>
                    <a:pt x="2787105" y="4426290"/>
                    <a:pt x="2787105" y="4426290"/>
                    <a:pt x="2787740" y="4415516"/>
                  </a:cubicBezTo>
                  <a:cubicBezTo>
                    <a:pt x="2787740" y="4415516"/>
                    <a:pt x="2787740" y="4415516"/>
                    <a:pt x="2790917" y="4416784"/>
                  </a:cubicBezTo>
                  <a:cubicBezTo>
                    <a:pt x="2790917" y="4417418"/>
                    <a:pt x="2820138" y="4430093"/>
                    <a:pt x="2821090" y="4448156"/>
                  </a:cubicBezTo>
                  <a:cubicBezTo>
                    <a:pt x="2820773" y="4457345"/>
                    <a:pt x="2812832" y="4464634"/>
                    <a:pt x="2805210" y="4470338"/>
                  </a:cubicBezTo>
                  <a:cubicBezTo>
                    <a:pt x="2797904" y="4476042"/>
                    <a:pt x="2790282" y="4479528"/>
                    <a:pt x="2790282" y="4479528"/>
                  </a:cubicBezTo>
                  <a:cubicBezTo>
                    <a:pt x="2790282" y="4479528"/>
                    <a:pt x="2790282" y="4479528"/>
                    <a:pt x="2787105" y="4481112"/>
                  </a:cubicBezTo>
                  <a:cubicBezTo>
                    <a:pt x="2787105" y="4481112"/>
                    <a:pt x="2787105" y="4481112"/>
                    <a:pt x="2787105" y="4470655"/>
                  </a:cubicBezTo>
                  <a:cubicBezTo>
                    <a:pt x="2787105" y="4470655"/>
                    <a:pt x="2787105" y="4470655"/>
                    <a:pt x="2646718" y="4470655"/>
                  </a:cubicBezTo>
                  <a:cubicBezTo>
                    <a:pt x="2646718" y="4470655"/>
                    <a:pt x="2646718" y="4470655"/>
                    <a:pt x="2646718" y="4483330"/>
                  </a:cubicBezTo>
                  <a:cubicBezTo>
                    <a:pt x="2646718" y="4483330"/>
                    <a:pt x="2646718" y="4483330"/>
                    <a:pt x="2643859" y="4482380"/>
                  </a:cubicBezTo>
                  <a:cubicBezTo>
                    <a:pt x="2643859" y="4482063"/>
                    <a:pt x="2608604" y="4473507"/>
                    <a:pt x="2607968" y="4449423"/>
                  </a:cubicBezTo>
                  <a:cubicBezTo>
                    <a:pt x="2608604" y="4425340"/>
                    <a:pt x="2644812" y="4413298"/>
                    <a:pt x="2644812" y="4412981"/>
                  </a:cubicBezTo>
                  <a:cubicBezTo>
                    <a:pt x="2644812" y="4412981"/>
                    <a:pt x="2644812" y="4412981"/>
                    <a:pt x="2647988" y="4412031"/>
                  </a:cubicBezTo>
                  <a:close/>
                  <a:moveTo>
                    <a:pt x="255366" y="4410129"/>
                  </a:moveTo>
                  <a:cubicBezTo>
                    <a:pt x="255366" y="4410129"/>
                    <a:pt x="255366" y="4410129"/>
                    <a:pt x="216616" y="4480795"/>
                  </a:cubicBezTo>
                  <a:lnTo>
                    <a:pt x="263306" y="4510583"/>
                  </a:lnTo>
                  <a:cubicBezTo>
                    <a:pt x="263306" y="4510583"/>
                    <a:pt x="263306" y="4510583"/>
                    <a:pt x="322066" y="4451325"/>
                  </a:cubicBezTo>
                  <a:cubicBezTo>
                    <a:pt x="322066" y="4451325"/>
                    <a:pt x="322066" y="4451325"/>
                    <a:pt x="255366" y="4410129"/>
                  </a:cubicBezTo>
                  <a:close/>
                  <a:moveTo>
                    <a:pt x="2101366" y="4408228"/>
                  </a:moveTo>
                  <a:lnTo>
                    <a:pt x="2159490" y="4417101"/>
                  </a:lnTo>
                  <a:cubicBezTo>
                    <a:pt x="2159490" y="4417101"/>
                    <a:pt x="2159490" y="4417101"/>
                    <a:pt x="2154408" y="4451325"/>
                  </a:cubicBezTo>
                  <a:cubicBezTo>
                    <a:pt x="2154408" y="4451325"/>
                    <a:pt x="2154408" y="4451325"/>
                    <a:pt x="2131540" y="4447839"/>
                  </a:cubicBezTo>
                  <a:cubicBezTo>
                    <a:pt x="2131540" y="4447839"/>
                    <a:pt x="2131540" y="4447839"/>
                    <a:pt x="2128682" y="4465901"/>
                  </a:cubicBezTo>
                  <a:cubicBezTo>
                    <a:pt x="2128682" y="4465901"/>
                    <a:pt x="2128682" y="4465901"/>
                    <a:pt x="2126776" y="4465585"/>
                  </a:cubicBezTo>
                  <a:cubicBezTo>
                    <a:pt x="2126776" y="4465585"/>
                    <a:pt x="2126776" y="4465585"/>
                    <a:pt x="2089932" y="4461148"/>
                  </a:cubicBezTo>
                  <a:cubicBezTo>
                    <a:pt x="2089932" y="4461148"/>
                    <a:pt x="2089932" y="4461148"/>
                    <a:pt x="2095649" y="4424072"/>
                  </a:cubicBezTo>
                  <a:cubicBezTo>
                    <a:pt x="2095649" y="4424072"/>
                    <a:pt x="2095649" y="4424072"/>
                    <a:pt x="2098825" y="4424706"/>
                  </a:cubicBezTo>
                  <a:cubicBezTo>
                    <a:pt x="2098825" y="4424706"/>
                    <a:pt x="2098825" y="4424706"/>
                    <a:pt x="2101366" y="4408228"/>
                  </a:cubicBezTo>
                  <a:close/>
                  <a:moveTo>
                    <a:pt x="2070240" y="4406010"/>
                  </a:moveTo>
                  <a:cubicBezTo>
                    <a:pt x="2054041" y="4407911"/>
                    <a:pt x="2037842" y="4409495"/>
                    <a:pt x="2021962" y="4411080"/>
                  </a:cubicBezTo>
                  <a:cubicBezTo>
                    <a:pt x="2010210" y="4412347"/>
                    <a:pt x="1994964" y="4413298"/>
                    <a:pt x="1978130" y="4413932"/>
                  </a:cubicBezTo>
                  <a:cubicBezTo>
                    <a:pt x="1978130" y="4413932"/>
                    <a:pt x="1978130" y="4413932"/>
                    <a:pt x="1968284" y="4500442"/>
                  </a:cubicBezTo>
                  <a:cubicBezTo>
                    <a:pt x="1982259" y="4501393"/>
                    <a:pt x="2023550" y="4503928"/>
                    <a:pt x="2031490" y="4503928"/>
                  </a:cubicBezTo>
                  <a:cubicBezTo>
                    <a:pt x="2031808" y="4503928"/>
                    <a:pt x="2032125" y="4503928"/>
                    <a:pt x="2032125" y="4503928"/>
                  </a:cubicBezTo>
                  <a:cubicBezTo>
                    <a:pt x="2032125" y="4503928"/>
                    <a:pt x="2032125" y="4503928"/>
                    <a:pt x="2032443" y="4503928"/>
                  </a:cubicBezTo>
                  <a:cubicBezTo>
                    <a:pt x="2033713" y="4503611"/>
                    <a:pt x="2047689" y="4503294"/>
                    <a:pt x="2070240" y="4502344"/>
                  </a:cubicBezTo>
                  <a:cubicBezTo>
                    <a:pt x="2070240" y="4502344"/>
                    <a:pt x="2070240" y="4502344"/>
                    <a:pt x="2070240" y="4406010"/>
                  </a:cubicBezTo>
                  <a:close/>
                  <a:moveTo>
                    <a:pt x="986524" y="4405059"/>
                  </a:moveTo>
                  <a:cubicBezTo>
                    <a:pt x="986524" y="4405059"/>
                    <a:pt x="986524" y="4405059"/>
                    <a:pt x="984619" y="4418368"/>
                  </a:cubicBezTo>
                  <a:cubicBezTo>
                    <a:pt x="984619" y="4418368"/>
                    <a:pt x="984619" y="4418368"/>
                    <a:pt x="997959" y="4420270"/>
                  </a:cubicBezTo>
                  <a:cubicBezTo>
                    <a:pt x="997959" y="4420270"/>
                    <a:pt x="997959" y="4420270"/>
                    <a:pt x="996053" y="4433896"/>
                  </a:cubicBezTo>
                  <a:cubicBezTo>
                    <a:pt x="996053" y="4433896"/>
                    <a:pt x="996053" y="4433896"/>
                    <a:pt x="1010981" y="4435797"/>
                  </a:cubicBezTo>
                  <a:cubicBezTo>
                    <a:pt x="1010981" y="4435797"/>
                    <a:pt x="1010981" y="4435797"/>
                    <a:pt x="1007170" y="4462733"/>
                  </a:cubicBezTo>
                  <a:cubicBezTo>
                    <a:pt x="1007170" y="4462733"/>
                    <a:pt x="1007170" y="4462733"/>
                    <a:pt x="979219" y="4458930"/>
                  </a:cubicBezTo>
                  <a:lnTo>
                    <a:pt x="953810" y="4646844"/>
                  </a:lnTo>
                  <a:cubicBezTo>
                    <a:pt x="964291" y="4647478"/>
                    <a:pt x="975725" y="4648429"/>
                    <a:pt x="987160" y="4649380"/>
                  </a:cubicBezTo>
                  <a:cubicBezTo>
                    <a:pt x="988748" y="4639239"/>
                    <a:pt x="995735" y="4588537"/>
                    <a:pt x="1002723" y="4536567"/>
                  </a:cubicBezTo>
                  <a:cubicBezTo>
                    <a:pt x="1009710" y="4483330"/>
                    <a:pt x="1017016" y="4428509"/>
                    <a:pt x="1018286" y="4416467"/>
                  </a:cubicBezTo>
                  <a:cubicBezTo>
                    <a:pt x="1018286" y="4416467"/>
                    <a:pt x="1018286" y="4416467"/>
                    <a:pt x="986524" y="4405059"/>
                  </a:cubicBezTo>
                  <a:close/>
                  <a:moveTo>
                    <a:pt x="253778" y="4403791"/>
                  </a:moveTo>
                  <a:cubicBezTo>
                    <a:pt x="253778" y="4403791"/>
                    <a:pt x="253778" y="4403791"/>
                    <a:pt x="329053" y="4450691"/>
                  </a:cubicBezTo>
                  <a:lnTo>
                    <a:pt x="263941" y="4516287"/>
                  </a:lnTo>
                  <a:cubicBezTo>
                    <a:pt x="263941" y="4516287"/>
                    <a:pt x="263941" y="4516287"/>
                    <a:pt x="210582" y="4482380"/>
                  </a:cubicBezTo>
                  <a:cubicBezTo>
                    <a:pt x="210582" y="4482380"/>
                    <a:pt x="210582" y="4482380"/>
                    <a:pt x="253778" y="4403791"/>
                  </a:cubicBezTo>
                  <a:close/>
                  <a:moveTo>
                    <a:pt x="412269" y="4401573"/>
                  </a:moveTo>
                  <a:cubicBezTo>
                    <a:pt x="412269" y="4401573"/>
                    <a:pt x="412269" y="4401573"/>
                    <a:pt x="411317" y="4402841"/>
                  </a:cubicBezTo>
                  <a:cubicBezTo>
                    <a:pt x="410999" y="4403158"/>
                    <a:pt x="401470" y="4415199"/>
                    <a:pt x="391942" y="4427558"/>
                  </a:cubicBezTo>
                  <a:cubicBezTo>
                    <a:pt x="387178" y="4433896"/>
                    <a:pt x="382413" y="4439917"/>
                    <a:pt x="378920" y="4444670"/>
                  </a:cubicBezTo>
                  <a:cubicBezTo>
                    <a:pt x="377014" y="4446888"/>
                    <a:pt x="375743" y="4449106"/>
                    <a:pt x="374473" y="4450374"/>
                  </a:cubicBezTo>
                  <a:cubicBezTo>
                    <a:pt x="374155" y="4451008"/>
                    <a:pt x="373838" y="4451642"/>
                    <a:pt x="373520" y="4451958"/>
                  </a:cubicBezTo>
                  <a:cubicBezTo>
                    <a:pt x="373202" y="4452592"/>
                    <a:pt x="372885" y="4452592"/>
                    <a:pt x="372885" y="4452909"/>
                  </a:cubicBezTo>
                  <a:cubicBezTo>
                    <a:pt x="371614" y="4454177"/>
                    <a:pt x="371614" y="4454177"/>
                    <a:pt x="370661" y="4455444"/>
                  </a:cubicBezTo>
                  <a:cubicBezTo>
                    <a:pt x="363991" y="4462416"/>
                    <a:pt x="338264" y="4489034"/>
                    <a:pt x="313808" y="4514068"/>
                  </a:cubicBezTo>
                  <a:cubicBezTo>
                    <a:pt x="313808" y="4514068"/>
                    <a:pt x="313808" y="4514068"/>
                    <a:pt x="387813" y="4554313"/>
                  </a:cubicBezTo>
                  <a:cubicBezTo>
                    <a:pt x="387813" y="4554313"/>
                    <a:pt x="387813" y="4554313"/>
                    <a:pt x="445619" y="4433262"/>
                  </a:cubicBezTo>
                  <a:cubicBezTo>
                    <a:pt x="445619" y="4433262"/>
                    <a:pt x="445619" y="4433262"/>
                    <a:pt x="412269" y="4401573"/>
                  </a:cubicBezTo>
                  <a:close/>
                  <a:moveTo>
                    <a:pt x="48914" y="4397771"/>
                  </a:moveTo>
                  <a:cubicBezTo>
                    <a:pt x="48914" y="4397771"/>
                    <a:pt x="48914" y="4397771"/>
                    <a:pt x="12705" y="4489985"/>
                  </a:cubicBezTo>
                  <a:cubicBezTo>
                    <a:pt x="12705" y="4489985"/>
                    <a:pt x="12705" y="4489985"/>
                    <a:pt x="147375" y="4596459"/>
                  </a:cubicBezTo>
                  <a:lnTo>
                    <a:pt x="205817" y="4500442"/>
                  </a:lnTo>
                  <a:cubicBezTo>
                    <a:pt x="205817" y="4500442"/>
                    <a:pt x="205817" y="4500442"/>
                    <a:pt x="175008" y="4478894"/>
                  </a:cubicBezTo>
                  <a:cubicBezTo>
                    <a:pt x="175008" y="4478894"/>
                    <a:pt x="175008" y="4478894"/>
                    <a:pt x="175326" y="4478260"/>
                  </a:cubicBezTo>
                  <a:cubicBezTo>
                    <a:pt x="168338" y="4473824"/>
                    <a:pt x="138482" y="4455127"/>
                    <a:pt x="108626" y="4435797"/>
                  </a:cubicBezTo>
                  <a:cubicBezTo>
                    <a:pt x="91792" y="4425023"/>
                    <a:pt x="74641" y="4413932"/>
                    <a:pt x="61618" y="4405693"/>
                  </a:cubicBezTo>
                  <a:cubicBezTo>
                    <a:pt x="56536" y="4402524"/>
                    <a:pt x="52407" y="4399989"/>
                    <a:pt x="48914" y="4397771"/>
                  </a:cubicBezTo>
                  <a:close/>
                  <a:moveTo>
                    <a:pt x="1517583" y="4396186"/>
                  </a:moveTo>
                  <a:cubicBezTo>
                    <a:pt x="1517583" y="4396186"/>
                    <a:pt x="1517583" y="4396186"/>
                    <a:pt x="1516948" y="4402524"/>
                  </a:cubicBezTo>
                  <a:cubicBezTo>
                    <a:pt x="1516948" y="4402524"/>
                    <a:pt x="1516948" y="4402524"/>
                    <a:pt x="1524571" y="4403158"/>
                  </a:cubicBezTo>
                  <a:lnTo>
                    <a:pt x="1529017" y="4403475"/>
                  </a:lnTo>
                  <a:cubicBezTo>
                    <a:pt x="1529017" y="4403475"/>
                    <a:pt x="1529017" y="4403475"/>
                    <a:pt x="1528700" y="4407911"/>
                  </a:cubicBezTo>
                  <a:cubicBezTo>
                    <a:pt x="1528700" y="4407911"/>
                    <a:pt x="1528700" y="4407911"/>
                    <a:pt x="1527429" y="4420586"/>
                  </a:cubicBezTo>
                  <a:cubicBezTo>
                    <a:pt x="1527429" y="4420586"/>
                    <a:pt x="1527429" y="4420586"/>
                    <a:pt x="1550933" y="4423755"/>
                  </a:cubicBezTo>
                  <a:cubicBezTo>
                    <a:pt x="1550933" y="4423755"/>
                    <a:pt x="1550933" y="4423755"/>
                    <a:pt x="1554109" y="4397771"/>
                  </a:cubicBezTo>
                  <a:cubicBezTo>
                    <a:pt x="1554109" y="4397771"/>
                    <a:pt x="1554109" y="4397771"/>
                    <a:pt x="1517583" y="4396186"/>
                  </a:cubicBezTo>
                  <a:close/>
                  <a:moveTo>
                    <a:pt x="1503925" y="4395235"/>
                  </a:moveTo>
                  <a:cubicBezTo>
                    <a:pt x="1503608" y="4398721"/>
                    <a:pt x="1503608" y="4402207"/>
                    <a:pt x="1503290" y="4405376"/>
                  </a:cubicBezTo>
                  <a:cubicBezTo>
                    <a:pt x="1502020" y="4425974"/>
                    <a:pt x="1500432" y="4446571"/>
                    <a:pt x="1499479" y="4464634"/>
                  </a:cubicBezTo>
                  <a:cubicBezTo>
                    <a:pt x="1506149" y="4460831"/>
                    <a:pt x="1519489" y="4453860"/>
                    <a:pt x="1533146" y="4446571"/>
                  </a:cubicBezTo>
                  <a:cubicBezTo>
                    <a:pt x="1542675" y="4441501"/>
                    <a:pt x="1552203" y="4436431"/>
                    <a:pt x="1559509" y="4432628"/>
                  </a:cubicBezTo>
                  <a:cubicBezTo>
                    <a:pt x="1563955" y="4430410"/>
                    <a:pt x="1567449" y="4428509"/>
                    <a:pt x="1569672" y="4427241"/>
                  </a:cubicBezTo>
                  <a:cubicBezTo>
                    <a:pt x="1568720" y="4419319"/>
                    <a:pt x="1569037" y="4413932"/>
                    <a:pt x="1569037" y="4407277"/>
                  </a:cubicBezTo>
                  <a:cubicBezTo>
                    <a:pt x="1569037" y="4404108"/>
                    <a:pt x="1569037" y="4401256"/>
                    <a:pt x="1569037" y="4398721"/>
                  </a:cubicBezTo>
                  <a:cubicBezTo>
                    <a:pt x="1569037" y="4398721"/>
                    <a:pt x="1569037" y="4398721"/>
                    <a:pt x="1558556" y="4398087"/>
                  </a:cubicBezTo>
                  <a:cubicBezTo>
                    <a:pt x="1558556" y="4398087"/>
                    <a:pt x="1558556" y="4398087"/>
                    <a:pt x="1554744" y="4428509"/>
                  </a:cubicBezTo>
                  <a:cubicBezTo>
                    <a:pt x="1554744" y="4428509"/>
                    <a:pt x="1554744" y="4428509"/>
                    <a:pt x="1522665" y="4424706"/>
                  </a:cubicBezTo>
                  <a:cubicBezTo>
                    <a:pt x="1522665" y="4424706"/>
                    <a:pt x="1522665" y="4424706"/>
                    <a:pt x="1524253" y="4407594"/>
                  </a:cubicBezTo>
                  <a:cubicBezTo>
                    <a:pt x="1524253" y="4407594"/>
                    <a:pt x="1524253" y="4407594"/>
                    <a:pt x="1511866" y="4406643"/>
                  </a:cubicBezTo>
                  <a:cubicBezTo>
                    <a:pt x="1511866" y="4406643"/>
                    <a:pt x="1511866" y="4406643"/>
                    <a:pt x="1513136" y="4395869"/>
                  </a:cubicBezTo>
                  <a:cubicBezTo>
                    <a:pt x="1513136" y="4395869"/>
                    <a:pt x="1513136" y="4395869"/>
                    <a:pt x="1503925" y="4395235"/>
                  </a:cubicBezTo>
                  <a:close/>
                  <a:moveTo>
                    <a:pt x="242343" y="4394919"/>
                  </a:moveTo>
                  <a:cubicBezTo>
                    <a:pt x="242343" y="4394919"/>
                    <a:pt x="242343" y="4394919"/>
                    <a:pt x="182313" y="4477626"/>
                  </a:cubicBezTo>
                  <a:cubicBezTo>
                    <a:pt x="182313" y="4477626"/>
                    <a:pt x="182313" y="4477626"/>
                    <a:pt x="212805" y="4498858"/>
                  </a:cubicBezTo>
                  <a:cubicBezTo>
                    <a:pt x="212805" y="4498858"/>
                    <a:pt x="212805" y="4498858"/>
                    <a:pt x="151504" y="4599628"/>
                  </a:cubicBezTo>
                  <a:cubicBezTo>
                    <a:pt x="156586" y="4603431"/>
                    <a:pt x="165797" y="4610085"/>
                    <a:pt x="174373" y="4616423"/>
                  </a:cubicBezTo>
                  <a:cubicBezTo>
                    <a:pt x="181361" y="4591072"/>
                    <a:pt x="210264" y="4556531"/>
                    <a:pt x="216934" y="4543222"/>
                  </a:cubicBezTo>
                  <a:cubicBezTo>
                    <a:pt x="217569" y="4541638"/>
                    <a:pt x="217887" y="4540370"/>
                    <a:pt x="217887" y="4539419"/>
                  </a:cubicBezTo>
                  <a:cubicBezTo>
                    <a:pt x="218204" y="4535300"/>
                    <a:pt x="214393" y="4530863"/>
                    <a:pt x="209946" y="4527378"/>
                  </a:cubicBezTo>
                  <a:cubicBezTo>
                    <a:pt x="205817" y="4523892"/>
                    <a:pt x="201371" y="4521991"/>
                    <a:pt x="201371" y="4521991"/>
                  </a:cubicBezTo>
                  <a:cubicBezTo>
                    <a:pt x="201371" y="4521991"/>
                    <a:pt x="201371" y="4521991"/>
                    <a:pt x="204547" y="4515019"/>
                  </a:cubicBezTo>
                  <a:cubicBezTo>
                    <a:pt x="204864" y="4515019"/>
                    <a:pt x="209629" y="4517237"/>
                    <a:pt x="214711" y="4521357"/>
                  </a:cubicBezTo>
                  <a:cubicBezTo>
                    <a:pt x="219792" y="4525159"/>
                    <a:pt x="225510" y="4531180"/>
                    <a:pt x="225827" y="4539419"/>
                  </a:cubicBezTo>
                  <a:cubicBezTo>
                    <a:pt x="225827" y="4541638"/>
                    <a:pt x="225192" y="4544173"/>
                    <a:pt x="223922" y="4546708"/>
                  </a:cubicBezTo>
                  <a:cubicBezTo>
                    <a:pt x="215981" y="4562235"/>
                    <a:pt x="184854" y="4599628"/>
                    <a:pt x="181043" y="4621493"/>
                  </a:cubicBezTo>
                  <a:cubicBezTo>
                    <a:pt x="182631" y="4622761"/>
                    <a:pt x="184219" y="4624029"/>
                    <a:pt x="185807" y="4624979"/>
                  </a:cubicBezTo>
                  <a:cubicBezTo>
                    <a:pt x="192160" y="4630049"/>
                    <a:pt x="198194" y="4634803"/>
                    <a:pt x="203594" y="4638922"/>
                  </a:cubicBezTo>
                  <a:cubicBezTo>
                    <a:pt x="207088" y="4626881"/>
                    <a:pt x="209946" y="4615789"/>
                    <a:pt x="210264" y="4613571"/>
                  </a:cubicBezTo>
                  <a:cubicBezTo>
                    <a:pt x="210899" y="4611670"/>
                    <a:pt x="210264" y="4605015"/>
                    <a:pt x="213440" y="4594558"/>
                  </a:cubicBezTo>
                  <a:cubicBezTo>
                    <a:pt x="215346" y="4589171"/>
                    <a:pt x="217887" y="4585685"/>
                    <a:pt x="221698" y="4580932"/>
                  </a:cubicBezTo>
                  <a:cubicBezTo>
                    <a:pt x="226780" y="4573960"/>
                    <a:pt x="233768" y="4566038"/>
                    <a:pt x="239485" y="4559383"/>
                  </a:cubicBezTo>
                  <a:cubicBezTo>
                    <a:pt x="242343" y="4556215"/>
                    <a:pt x="245202" y="4553363"/>
                    <a:pt x="247108" y="4551461"/>
                  </a:cubicBezTo>
                  <a:cubicBezTo>
                    <a:pt x="248061" y="4550194"/>
                    <a:pt x="248696" y="4549560"/>
                    <a:pt x="249331" y="4548926"/>
                  </a:cubicBezTo>
                  <a:cubicBezTo>
                    <a:pt x="249649" y="4548609"/>
                    <a:pt x="249966" y="4548292"/>
                    <a:pt x="250284" y="4547975"/>
                  </a:cubicBezTo>
                  <a:cubicBezTo>
                    <a:pt x="250284" y="4547975"/>
                    <a:pt x="250602" y="4547659"/>
                    <a:pt x="250602" y="4547659"/>
                  </a:cubicBezTo>
                  <a:cubicBezTo>
                    <a:pt x="250602" y="4547659"/>
                    <a:pt x="250919" y="4547342"/>
                    <a:pt x="250919" y="4547342"/>
                  </a:cubicBezTo>
                  <a:cubicBezTo>
                    <a:pt x="253142" y="4545123"/>
                    <a:pt x="279822" y="4517871"/>
                    <a:pt x="305232" y="4491569"/>
                  </a:cubicBezTo>
                  <a:cubicBezTo>
                    <a:pt x="317937" y="4478577"/>
                    <a:pt x="330324" y="4465901"/>
                    <a:pt x="339535" y="4456078"/>
                  </a:cubicBezTo>
                  <a:cubicBezTo>
                    <a:pt x="339535" y="4456078"/>
                    <a:pt x="339535" y="4456078"/>
                    <a:pt x="242343" y="4394919"/>
                  </a:cubicBezTo>
                  <a:close/>
                  <a:moveTo>
                    <a:pt x="2295114" y="4392700"/>
                  </a:moveTo>
                  <a:lnTo>
                    <a:pt x="2292890" y="4408862"/>
                  </a:lnTo>
                  <a:cubicBezTo>
                    <a:pt x="2292890" y="4408862"/>
                    <a:pt x="2292890" y="4408862"/>
                    <a:pt x="2289396" y="4408545"/>
                  </a:cubicBezTo>
                  <a:cubicBezTo>
                    <a:pt x="2289396" y="4408545"/>
                    <a:pt x="2289396" y="4408545"/>
                    <a:pt x="2285268" y="4437065"/>
                  </a:cubicBezTo>
                  <a:cubicBezTo>
                    <a:pt x="2285268" y="4437065"/>
                    <a:pt x="2285268" y="4437065"/>
                    <a:pt x="2315441" y="4440867"/>
                  </a:cubicBezTo>
                  <a:cubicBezTo>
                    <a:pt x="2315441" y="4440867"/>
                    <a:pt x="2315441" y="4440867"/>
                    <a:pt x="2318300" y="4422805"/>
                  </a:cubicBezTo>
                  <a:cubicBezTo>
                    <a:pt x="2318300" y="4422805"/>
                    <a:pt x="2318300" y="4422805"/>
                    <a:pt x="2341168" y="4426290"/>
                  </a:cubicBezTo>
                  <a:cubicBezTo>
                    <a:pt x="2341168" y="4426290"/>
                    <a:pt x="2341168" y="4426290"/>
                    <a:pt x="2345298" y="4399989"/>
                  </a:cubicBezTo>
                  <a:cubicBezTo>
                    <a:pt x="2345298" y="4399989"/>
                    <a:pt x="2345298" y="4399989"/>
                    <a:pt x="2295114" y="4392700"/>
                  </a:cubicBezTo>
                  <a:close/>
                  <a:moveTo>
                    <a:pt x="947140" y="4390799"/>
                  </a:moveTo>
                  <a:cubicBezTo>
                    <a:pt x="947140" y="4390799"/>
                    <a:pt x="947140" y="4390799"/>
                    <a:pt x="827080" y="4508681"/>
                  </a:cubicBezTo>
                  <a:cubicBezTo>
                    <a:pt x="827080" y="4508681"/>
                    <a:pt x="827080" y="4508681"/>
                    <a:pt x="869005" y="4534349"/>
                  </a:cubicBezTo>
                  <a:cubicBezTo>
                    <a:pt x="869005" y="4534349"/>
                    <a:pt x="869005" y="4534349"/>
                    <a:pt x="842961" y="4577446"/>
                  </a:cubicBezTo>
                  <a:cubicBezTo>
                    <a:pt x="842961" y="4577446"/>
                    <a:pt x="842961" y="4577446"/>
                    <a:pt x="841055" y="4576178"/>
                  </a:cubicBezTo>
                  <a:cubicBezTo>
                    <a:pt x="841055" y="4576178"/>
                    <a:pt x="841055" y="4576178"/>
                    <a:pt x="790236" y="4545123"/>
                  </a:cubicBezTo>
                  <a:cubicBezTo>
                    <a:pt x="790236" y="4545123"/>
                    <a:pt x="790236" y="4545123"/>
                    <a:pt x="769273" y="4565721"/>
                  </a:cubicBezTo>
                  <a:cubicBezTo>
                    <a:pt x="769273" y="4565721"/>
                    <a:pt x="769273" y="4565721"/>
                    <a:pt x="858842" y="4626247"/>
                  </a:cubicBezTo>
                  <a:cubicBezTo>
                    <a:pt x="858842" y="4626247"/>
                    <a:pt x="858842" y="4626247"/>
                    <a:pt x="906484" y="4643042"/>
                  </a:cubicBezTo>
                  <a:cubicBezTo>
                    <a:pt x="906802" y="4643042"/>
                    <a:pt x="908072" y="4643042"/>
                    <a:pt x="909978" y="4643359"/>
                  </a:cubicBezTo>
                  <a:cubicBezTo>
                    <a:pt x="909978" y="4643359"/>
                    <a:pt x="909978" y="4643359"/>
                    <a:pt x="929671" y="4478577"/>
                  </a:cubicBezTo>
                  <a:lnTo>
                    <a:pt x="886474" y="4452275"/>
                  </a:lnTo>
                  <a:cubicBezTo>
                    <a:pt x="886474" y="4452275"/>
                    <a:pt x="886474" y="4452275"/>
                    <a:pt x="888698" y="4448473"/>
                  </a:cubicBezTo>
                  <a:cubicBezTo>
                    <a:pt x="888698" y="4448473"/>
                    <a:pt x="888698" y="4448473"/>
                    <a:pt x="934435" y="4476359"/>
                  </a:cubicBezTo>
                  <a:cubicBezTo>
                    <a:pt x="934435" y="4476359"/>
                    <a:pt x="934435" y="4476359"/>
                    <a:pt x="914107" y="4643676"/>
                  </a:cubicBezTo>
                  <a:cubicBezTo>
                    <a:pt x="922048" y="4644309"/>
                    <a:pt x="934435" y="4645260"/>
                    <a:pt x="949363" y="4646528"/>
                  </a:cubicBezTo>
                  <a:cubicBezTo>
                    <a:pt x="949363" y="4646528"/>
                    <a:pt x="949363" y="4646528"/>
                    <a:pt x="974772" y="4458613"/>
                  </a:cubicBezTo>
                  <a:cubicBezTo>
                    <a:pt x="974772" y="4458613"/>
                    <a:pt x="974772" y="4458613"/>
                    <a:pt x="941105" y="4453860"/>
                  </a:cubicBezTo>
                  <a:cubicBezTo>
                    <a:pt x="941105" y="4453860"/>
                    <a:pt x="941105" y="4453860"/>
                    <a:pt x="941105" y="4451642"/>
                  </a:cubicBezTo>
                  <a:cubicBezTo>
                    <a:pt x="941105" y="4451642"/>
                    <a:pt x="941105" y="4451642"/>
                    <a:pt x="944599" y="4426607"/>
                  </a:cubicBezTo>
                  <a:cubicBezTo>
                    <a:pt x="944599" y="4426607"/>
                    <a:pt x="944599" y="4426607"/>
                    <a:pt x="959527" y="4428826"/>
                  </a:cubicBezTo>
                  <a:cubicBezTo>
                    <a:pt x="959527" y="4428826"/>
                    <a:pt x="959527" y="4428826"/>
                    <a:pt x="961432" y="4415199"/>
                  </a:cubicBezTo>
                  <a:cubicBezTo>
                    <a:pt x="961432" y="4415199"/>
                    <a:pt x="961432" y="4415199"/>
                    <a:pt x="980490" y="4417734"/>
                  </a:cubicBezTo>
                  <a:cubicBezTo>
                    <a:pt x="980490" y="4417734"/>
                    <a:pt x="980490" y="4417734"/>
                    <a:pt x="982395" y="4403475"/>
                  </a:cubicBezTo>
                  <a:cubicBezTo>
                    <a:pt x="982395" y="4403475"/>
                    <a:pt x="982395" y="4403475"/>
                    <a:pt x="947140" y="4390799"/>
                  </a:cubicBezTo>
                  <a:close/>
                  <a:moveTo>
                    <a:pt x="2396434" y="4387947"/>
                  </a:moveTo>
                  <a:lnTo>
                    <a:pt x="2394211" y="4404425"/>
                  </a:lnTo>
                  <a:cubicBezTo>
                    <a:pt x="2394211" y="4404425"/>
                    <a:pt x="2394211" y="4404425"/>
                    <a:pt x="2390717" y="4403791"/>
                  </a:cubicBezTo>
                  <a:cubicBezTo>
                    <a:pt x="2390717" y="4403791"/>
                    <a:pt x="2390717" y="4403791"/>
                    <a:pt x="2386588" y="4432628"/>
                  </a:cubicBezTo>
                  <a:cubicBezTo>
                    <a:pt x="2386588" y="4432628"/>
                    <a:pt x="2386588" y="4432628"/>
                    <a:pt x="2416762" y="4436431"/>
                  </a:cubicBezTo>
                  <a:cubicBezTo>
                    <a:pt x="2416762" y="4436431"/>
                    <a:pt x="2416762" y="4436431"/>
                    <a:pt x="2419620" y="4418368"/>
                  </a:cubicBezTo>
                  <a:cubicBezTo>
                    <a:pt x="2419620" y="4418368"/>
                    <a:pt x="2419620" y="4418368"/>
                    <a:pt x="2442489" y="4421854"/>
                  </a:cubicBezTo>
                  <a:cubicBezTo>
                    <a:pt x="2442489" y="4421854"/>
                    <a:pt x="2442489" y="4421854"/>
                    <a:pt x="2446618" y="4395552"/>
                  </a:cubicBezTo>
                  <a:cubicBezTo>
                    <a:pt x="2446618" y="4395552"/>
                    <a:pt x="2446618" y="4395552"/>
                    <a:pt x="2396434" y="4387947"/>
                  </a:cubicBezTo>
                  <a:close/>
                  <a:moveTo>
                    <a:pt x="2291620" y="4387947"/>
                  </a:moveTo>
                  <a:cubicBezTo>
                    <a:pt x="2291620" y="4387947"/>
                    <a:pt x="2291620" y="4387947"/>
                    <a:pt x="2350062" y="4396503"/>
                  </a:cubicBezTo>
                  <a:cubicBezTo>
                    <a:pt x="2350062" y="4396503"/>
                    <a:pt x="2350062" y="4396503"/>
                    <a:pt x="2344662" y="4431044"/>
                  </a:cubicBezTo>
                  <a:cubicBezTo>
                    <a:pt x="2344662" y="4431044"/>
                    <a:pt x="2344662" y="4431044"/>
                    <a:pt x="2321794" y="4427558"/>
                  </a:cubicBezTo>
                  <a:cubicBezTo>
                    <a:pt x="2321794" y="4427558"/>
                    <a:pt x="2321794" y="4427558"/>
                    <a:pt x="2319253" y="4445621"/>
                  </a:cubicBezTo>
                  <a:cubicBezTo>
                    <a:pt x="2319253" y="4445621"/>
                    <a:pt x="2319253" y="4445621"/>
                    <a:pt x="2317030" y="4445304"/>
                  </a:cubicBezTo>
                  <a:cubicBezTo>
                    <a:pt x="2317030" y="4445304"/>
                    <a:pt x="2317030" y="4445304"/>
                    <a:pt x="2280503" y="4440550"/>
                  </a:cubicBezTo>
                  <a:cubicBezTo>
                    <a:pt x="2280503" y="4440550"/>
                    <a:pt x="2280503" y="4440550"/>
                    <a:pt x="2285903" y="4403791"/>
                  </a:cubicBezTo>
                  <a:cubicBezTo>
                    <a:pt x="2285903" y="4403791"/>
                    <a:pt x="2285903" y="4403791"/>
                    <a:pt x="2289396" y="4404108"/>
                  </a:cubicBezTo>
                  <a:close/>
                  <a:moveTo>
                    <a:pt x="183584" y="4384144"/>
                  </a:moveTo>
                  <a:cubicBezTo>
                    <a:pt x="178502" y="4386679"/>
                    <a:pt x="161668" y="4394919"/>
                    <a:pt x="150552" y="4396820"/>
                  </a:cubicBezTo>
                  <a:cubicBezTo>
                    <a:pt x="147058" y="4397454"/>
                    <a:pt x="143564" y="4397771"/>
                    <a:pt x="140388" y="4397771"/>
                  </a:cubicBezTo>
                  <a:cubicBezTo>
                    <a:pt x="131812" y="4397771"/>
                    <a:pt x="124189" y="4395869"/>
                    <a:pt x="119425" y="4395235"/>
                  </a:cubicBezTo>
                  <a:cubicBezTo>
                    <a:pt x="115296" y="4394285"/>
                    <a:pt x="106403" y="4393334"/>
                    <a:pt x="99733" y="4393334"/>
                  </a:cubicBezTo>
                  <a:cubicBezTo>
                    <a:pt x="96239" y="4393334"/>
                    <a:pt x="93380" y="4393651"/>
                    <a:pt x="92745" y="4394285"/>
                  </a:cubicBezTo>
                  <a:cubicBezTo>
                    <a:pt x="92110" y="4394919"/>
                    <a:pt x="91792" y="4395235"/>
                    <a:pt x="91792" y="4395552"/>
                  </a:cubicBezTo>
                  <a:cubicBezTo>
                    <a:pt x="91792" y="4396186"/>
                    <a:pt x="93698" y="4398087"/>
                    <a:pt x="96239" y="4398721"/>
                  </a:cubicBezTo>
                  <a:cubicBezTo>
                    <a:pt x="99733" y="4399672"/>
                    <a:pt x="116884" y="4400306"/>
                    <a:pt x="123236" y="4403158"/>
                  </a:cubicBezTo>
                  <a:cubicBezTo>
                    <a:pt x="128953" y="4406010"/>
                    <a:pt x="141658" y="4414883"/>
                    <a:pt x="150869" y="4415199"/>
                  </a:cubicBezTo>
                  <a:cubicBezTo>
                    <a:pt x="151504" y="4415199"/>
                    <a:pt x="152140" y="4415516"/>
                    <a:pt x="152775" y="4415516"/>
                  </a:cubicBezTo>
                  <a:cubicBezTo>
                    <a:pt x="161986" y="4415516"/>
                    <a:pt x="173103" y="4411714"/>
                    <a:pt x="177867" y="4407277"/>
                  </a:cubicBezTo>
                  <a:cubicBezTo>
                    <a:pt x="182313" y="4403475"/>
                    <a:pt x="185807" y="4397454"/>
                    <a:pt x="185490" y="4394602"/>
                  </a:cubicBezTo>
                  <a:cubicBezTo>
                    <a:pt x="185490" y="4393968"/>
                    <a:pt x="185490" y="4393651"/>
                    <a:pt x="185490" y="4393334"/>
                  </a:cubicBezTo>
                  <a:cubicBezTo>
                    <a:pt x="184537" y="4391433"/>
                    <a:pt x="183902" y="4388581"/>
                    <a:pt x="183902" y="4386363"/>
                  </a:cubicBezTo>
                  <a:cubicBezTo>
                    <a:pt x="183584" y="4385412"/>
                    <a:pt x="183584" y="4384778"/>
                    <a:pt x="183584" y="4384144"/>
                  </a:cubicBezTo>
                  <a:close/>
                  <a:moveTo>
                    <a:pt x="2392940" y="4383194"/>
                  </a:moveTo>
                  <a:cubicBezTo>
                    <a:pt x="2392940" y="4383194"/>
                    <a:pt x="2392940" y="4383194"/>
                    <a:pt x="2451382" y="4392067"/>
                  </a:cubicBezTo>
                  <a:cubicBezTo>
                    <a:pt x="2451382" y="4392067"/>
                    <a:pt x="2451382" y="4392067"/>
                    <a:pt x="2445983" y="4426607"/>
                  </a:cubicBezTo>
                  <a:cubicBezTo>
                    <a:pt x="2445983" y="4426607"/>
                    <a:pt x="2445983" y="4426607"/>
                    <a:pt x="2423114" y="4423122"/>
                  </a:cubicBezTo>
                  <a:cubicBezTo>
                    <a:pt x="2423114" y="4423122"/>
                    <a:pt x="2423114" y="4423122"/>
                    <a:pt x="2420573" y="4440867"/>
                  </a:cubicBezTo>
                  <a:cubicBezTo>
                    <a:pt x="2420573" y="4440867"/>
                    <a:pt x="2420573" y="4440867"/>
                    <a:pt x="2418350" y="4440867"/>
                  </a:cubicBezTo>
                  <a:cubicBezTo>
                    <a:pt x="2418350" y="4440867"/>
                    <a:pt x="2418350" y="4440867"/>
                    <a:pt x="2381824" y="4436114"/>
                  </a:cubicBezTo>
                  <a:cubicBezTo>
                    <a:pt x="2381824" y="4436114"/>
                    <a:pt x="2381824" y="4436114"/>
                    <a:pt x="2387223" y="4399355"/>
                  </a:cubicBezTo>
                  <a:cubicBezTo>
                    <a:pt x="2387223" y="4399355"/>
                    <a:pt x="2387223" y="4399355"/>
                    <a:pt x="2390717" y="4399672"/>
                  </a:cubicBezTo>
                  <a:close/>
                  <a:moveTo>
                    <a:pt x="611099" y="4380659"/>
                  </a:moveTo>
                  <a:cubicBezTo>
                    <a:pt x="599347" y="4391750"/>
                    <a:pt x="588548" y="4402207"/>
                    <a:pt x="579337" y="4411080"/>
                  </a:cubicBezTo>
                  <a:cubicBezTo>
                    <a:pt x="579337" y="4411080"/>
                    <a:pt x="579337" y="4411080"/>
                    <a:pt x="648578" y="4453543"/>
                  </a:cubicBezTo>
                  <a:cubicBezTo>
                    <a:pt x="648578" y="4453543"/>
                    <a:pt x="648578" y="4453543"/>
                    <a:pt x="680022" y="4423122"/>
                  </a:cubicBezTo>
                  <a:cubicBezTo>
                    <a:pt x="680022" y="4423122"/>
                    <a:pt x="680022" y="4423122"/>
                    <a:pt x="611099" y="4380659"/>
                  </a:cubicBezTo>
                  <a:close/>
                  <a:moveTo>
                    <a:pt x="184537" y="4380659"/>
                  </a:moveTo>
                  <a:cubicBezTo>
                    <a:pt x="186125" y="4381292"/>
                    <a:pt x="185490" y="4381926"/>
                    <a:pt x="185807" y="4382243"/>
                  </a:cubicBezTo>
                  <a:cubicBezTo>
                    <a:pt x="186125" y="4383827"/>
                    <a:pt x="186442" y="4389848"/>
                    <a:pt x="187713" y="4392067"/>
                  </a:cubicBezTo>
                  <a:cubicBezTo>
                    <a:pt x="188031" y="4393017"/>
                    <a:pt x="188348" y="4393651"/>
                    <a:pt x="188348" y="4394602"/>
                  </a:cubicBezTo>
                  <a:cubicBezTo>
                    <a:pt x="188031" y="4399038"/>
                    <a:pt x="184537" y="4404742"/>
                    <a:pt x="179773" y="4409179"/>
                  </a:cubicBezTo>
                  <a:cubicBezTo>
                    <a:pt x="174055" y="4414249"/>
                    <a:pt x="162939" y="4418051"/>
                    <a:pt x="152775" y="4418051"/>
                  </a:cubicBezTo>
                  <a:cubicBezTo>
                    <a:pt x="152140" y="4418051"/>
                    <a:pt x="151504" y="4418051"/>
                    <a:pt x="150869" y="4418051"/>
                  </a:cubicBezTo>
                  <a:cubicBezTo>
                    <a:pt x="140070" y="4417418"/>
                    <a:pt x="127365" y="4408228"/>
                    <a:pt x="121966" y="4405693"/>
                  </a:cubicBezTo>
                  <a:cubicBezTo>
                    <a:pt x="116884" y="4403158"/>
                    <a:pt x="99733" y="4402524"/>
                    <a:pt x="95604" y="4401256"/>
                  </a:cubicBezTo>
                  <a:cubicBezTo>
                    <a:pt x="92427" y="4400306"/>
                    <a:pt x="89569" y="4398721"/>
                    <a:pt x="89251" y="4395552"/>
                  </a:cubicBezTo>
                  <a:cubicBezTo>
                    <a:pt x="89251" y="4394285"/>
                    <a:pt x="89886" y="4393334"/>
                    <a:pt x="91157" y="4392383"/>
                  </a:cubicBezTo>
                  <a:cubicBezTo>
                    <a:pt x="93063" y="4390799"/>
                    <a:pt x="95921" y="4390799"/>
                    <a:pt x="99733" y="4390799"/>
                  </a:cubicBezTo>
                  <a:cubicBezTo>
                    <a:pt x="106720" y="4390799"/>
                    <a:pt x="115614" y="4391750"/>
                    <a:pt x="120060" y="4392700"/>
                  </a:cubicBezTo>
                  <a:cubicBezTo>
                    <a:pt x="124824" y="4393334"/>
                    <a:pt x="132130" y="4394919"/>
                    <a:pt x="140388" y="4394919"/>
                  </a:cubicBezTo>
                  <a:cubicBezTo>
                    <a:pt x="143564" y="4394919"/>
                    <a:pt x="146740" y="4394919"/>
                    <a:pt x="150234" y="4394285"/>
                  </a:cubicBezTo>
                  <a:cubicBezTo>
                    <a:pt x="161986" y="4392383"/>
                    <a:pt x="181361" y="4382243"/>
                    <a:pt x="183584" y="4381292"/>
                  </a:cubicBezTo>
                  <a:cubicBezTo>
                    <a:pt x="183584" y="4380975"/>
                    <a:pt x="183902" y="4380975"/>
                    <a:pt x="184537" y="4380659"/>
                  </a:cubicBezTo>
                  <a:close/>
                  <a:moveTo>
                    <a:pt x="2249376" y="4380025"/>
                  </a:moveTo>
                  <a:cubicBezTo>
                    <a:pt x="2223014" y="4382243"/>
                    <a:pt x="2195699" y="4385412"/>
                    <a:pt x="2176960" y="4389215"/>
                  </a:cubicBezTo>
                  <a:cubicBezTo>
                    <a:pt x="2175689" y="4389531"/>
                    <a:pt x="2174418" y="4389531"/>
                    <a:pt x="2172830" y="4389848"/>
                  </a:cubicBezTo>
                  <a:cubicBezTo>
                    <a:pt x="2172830" y="4389848"/>
                    <a:pt x="2172830" y="4389848"/>
                    <a:pt x="2161396" y="4497907"/>
                  </a:cubicBezTo>
                  <a:cubicBezTo>
                    <a:pt x="2161396" y="4497907"/>
                    <a:pt x="2161396" y="4497907"/>
                    <a:pt x="2156950" y="4497590"/>
                  </a:cubicBezTo>
                  <a:cubicBezTo>
                    <a:pt x="2156950" y="4497590"/>
                    <a:pt x="2156950" y="4497590"/>
                    <a:pt x="2168384" y="4390799"/>
                  </a:cubicBezTo>
                  <a:cubicBezTo>
                    <a:pt x="2137575" y="4396820"/>
                    <a:pt x="2106130" y="4401573"/>
                    <a:pt x="2074686" y="4405376"/>
                  </a:cubicBezTo>
                  <a:cubicBezTo>
                    <a:pt x="2074686" y="4405376"/>
                    <a:pt x="2074686" y="4405376"/>
                    <a:pt x="2074686" y="4502027"/>
                  </a:cubicBezTo>
                  <a:cubicBezTo>
                    <a:pt x="2077545" y="4502027"/>
                    <a:pt x="2080403" y="4502027"/>
                    <a:pt x="2083262" y="4501710"/>
                  </a:cubicBezTo>
                  <a:cubicBezTo>
                    <a:pt x="2135352" y="4499808"/>
                    <a:pt x="2216662" y="4496956"/>
                    <a:pt x="2275739" y="4494738"/>
                  </a:cubicBezTo>
                  <a:cubicBezTo>
                    <a:pt x="2275739" y="4494738"/>
                    <a:pt x="2275739" y="4494738"/>
                    <a:pt x="2249376" y="4380025"/>
                  </a:cubicBezTo>
                  <a:close/>
                  <a:moveTo>
                    <a:pt x="428150" y="4380025"/>
                  </a:moveTo>
                  <a:cubicBezTo>
                    <a:pt x="428150" y="4380025"/>
                    <a:pt x="428150" y="4380025"/>
                    <a:pt x="415128" y="4397454"/>
                  </a:cubicBezTo>
                  <a:cubicBezTo>
                    <a:pt x="415128" y="4397454"/>
                    <a:pt x="415128" y="4397454"/>
                    <a:pt x="498979" y="4476676"/>
                  </a:cubicBezTo>
                  <a:cubicBezTo>
                    <a:pt x="498979" y="4476676"/>
                    <a:pt x="498979" y="4476676"/>
                    <a:pt x="499297" y="4476359"/>
                  </a:cubicBezTo>
                  <a:cubicBezTo>
                    <a:pt x="499297" y="4476359"/>
                    <a:pt x="499297" y="4476359"/>
                    <a:pt x="704796" y="4655084"/>
                  </a:cubicBezTo>
                  <a:lnTo>
                    <a:pt x="825809" y="4779304"/>
                  </a:lnTo>
                  <a:cubicBezTo>
                    <a:pt x="825809" y="4779304"/>
                    <a:pt x="825809" y="4779304"/>
                    <a:pt x="842008" y="4858526"/>
                  </a:cubicBezTo>
                  <a:cubicBezTo>
                    <a:pt x="860112" y="4841414"/>
                    <a:pt x="883616" y="4819548"/>
                    <a:pt x="907437" y="4798634"/>
                  </a:cubicBezTo>
                  <a:cubicBezTo>
                    <a:pt x="936976" y="4772966"/>
                    <a:pt x="967785" y="4751101"/>
                    <a:pt x="983983" y="4736524"/>
                  </a:cubicBezTo>
                  <a:cubicBezTo>
                    <a:pt x="1015428" y="4708638"/>
                    <a:pt x="1046554" y="4698180"/>
                    <a:pt x="1064023" y="4694061"/>
                  </a:cubicBezTo>
                  <a:cubicBezTo>
                    <a:pt x="1064023" y="4694061"/>
                    <a:pt x="1064023" y="4694061"/>
                    <a:pt x="1068470" y="4660154"/>
                  </a:cubicBezTo>
                  <a:cubicBezTo>
                    <a:pt x="1046872" y="4658569"/>
                    <a:pt x="905849" y="4647478"/>
                    <a:pt x="905849" y="4647478"/>
                  </a:cubicBezTo>
                  <a:cubicBezTo>
                    <a:pt x="905849" y="4647478"/>
                    <a:pt x="905849" y="4647478"/>
                    <a:pt x="905532" y="4647478"/>
                  </a:cubicBezTo>
                  <a:cubicBezTo>
                    <a:pt x="905532" y="4647478"/>
                    <a:pt x="905532" y="4647478"/>
                    <a:pt x="856618" y="4630366"/>
                  </a:cubicBezTo>
                  <a:cubicBezTo>
                    <a:pt x="856618" y="4630366"/>
                    <a:pt x="856618" y="4630366"/>
                    <a:pt x="764826" y="4567622"/>
                  </a:cubicBezTo>
                  <a:cubicBezTo>
                    <a:pt x="764826" y="4567622"/>
                    <a:pt x="764826" y="4567622"/>
                    <a:pt x="508508" y="4412664"/>
                  </a:cubicBezTo>
                  <a:cubicBezTo>
                    <a:pt x="508508" y="4412664"/>
                    <a:pt x="508508" y="4412664"/>
                    <a:pt x="508190" y="4413615"/>
                  </a:cubicBezTo>
                  <a:cubicBezTo>
                    <a:pt x="508190" y="4413615"/>
                    <a:pt x="508190" y="4413615"/>
                    <a:pt x="484369" y="4399038"/>
                  </a:cubicBezTo>
                  <a:cubicBezTo>
                    <a:pt x="484369" y="4399038"/>
                    <a:pt x="484369" y="4399038"/>
                    <a:pt x="428150" y="4380025"/>
                  </a:cubicBezTo>
                  <a:close/>
                  <a:moveTo>
                    <a:pt x="2365308" y="4373687"/>
                  </a:moveTo>
                  <a:cubicBezTo>
                    <a:pt x="2365308" y="4373687"/>
                    <a:pt x="2365308" y="4373687"/>
                    <a:pt x="2332275" y="4374955"/>
                  </a:cubicBezTo>
                  <a:cubicBezTo>
                    <a:pt x="2332275" y="4374955"/>
                    <a:pt x="2305913" y="4375905"/>
                    <a:pt x="2273198" y="4378440"/>
                  </a:cubicBezTo>
                  <a:cubicBezTo>
                    <a:pt x="2266846" y="4378757"/>
                    <a:pt x="2260176" y="4379074"/>
                    <a:pt x="2253823" y="4379708"/>
                  </a:cubicBezTo>
                  <a:cubicBezTo>
                    <a:pt x="2253823" y="4379708"/>
                    <a:pt x="2253823" y="4379708"/>
                    <a:pt x="2280186" y="4494738"/>
                  </a:cubicBezTo>
                  <a:cubicBezTo>
                    <a:pt x="2315759" y="4493471"/>
                    <a:pt x="2342439" y="4492520"/>
                    <a:pt x="2348156" y="4492203"/>
                  </a:cubicBezTo>
                  <a:cubicBezTo>
                    <a:pt x="2348156" y="4492203"/>
                    <a:pt x="2348156" y="4492203"/>
                    <a:pt x="2367848" y="4462099"/>
                  </a:cubicBezTo>
                  <a:cubicBezTo>
                    <a:pt x="2367531" y="4455127"/>
                    <a:pt x="2365308" y="4399989"/>
                    <a:pt x="2365308" y="4377490"/>
                  </a:cubicBezTo>
                  <a:cubicBezTo>
                    <a:pt x="2365308" y="4375905"/>
                    <a:pt x="2365308" y="4374955"/>
                    <a:pt x="2365308" y="4373687"/>
                  </a:cubicBezTo>
                  <a:close/>
                  <a:moveTo>
                    <a:pt x="2465040" y="4369884"/>
                  </a:moveTo>
                  <a:cubicBezTo>
                    <a:pt x="2465040" y="4369884"/>
                    <a:pt x="2465040" y="4369884"/>
                    <a:pt x="2369754" y="4373687"/>
                  </a:cubicBezTo>
                  <a:cubicBezTo>
                    <a:pt x="2369754" y="4374638"/>
                    <a:pt x="2369754" y="4375905"/>
                    <a:pt x="2369754" y="4377490"/>
                  </a:cubicBezTo>
                  <a:cubicBezTo>
                    <a:pt x="2369754" y="4399038"/>
                    <a:pt x="2371978" y="4451008"/>
                    <a:pt x="2372295" y="4460831"/>
                  </a:cubicBezTo>
                  <a:cubicBezTo>
                    <a:pt x="2377694" y="4461782"/>
                    <a:pt x="2396116" y="4465268"/>
                    <a:pt x="2414856" y="4468753"/>
                  </a:cubicBezTo>
                  <a:cubicBezTo>
                    <a:pt x="2431054" y="4471922"/>
                    <a:pt x="2447571" y="4475091"/>
                    <a:pt x="2455511" y="4476359"/>
                  </a:cubicBezTo>
                  <a:cubicBezTo>
                    <a:pt x="2457734" y="4438015"/>
                    <a:pt x="2460593" y="4396186"/>
                    <a:pt x="2465040" y="4369884"/>
                  </a:cubicBezTo>
                  <a:close/>
                  <a:moveTo>
                    <a:pt x="1725941" y="4367349"/>
                  </a:moveTo>
                  <a:cubicBezTo>
                    <a:pt x="1725941" y="4367349"/>
                    <a:pt x="1725941" y="4367349"/>
                    <a:pt x="1709107" y="4406643"/>
                  </a:cubicBezTo>
                  <a:cubicBezTo>
                    <a:pt x="1709107" y="4406643"/>
                    <a:pt x="1709107" y="4406643"/>
                    <a:pt x="1624621" y="4443719"/>
                  </a:cubicBezTo>
                  <a:lnTo>
                    <a:pt x="1627797" y="4452909"/>
                  </a:lnTo>
                  <a:cubicBezTo>
                    <a:pt x="1627797" y="4452909"/>
                    <a:pt x="1627797" y="4452909"/>
                    <a:pt x="1750398" y="4417418"/>
                  </a:cubicBezTo>
                  <a:cubicBezTo>
                    <a:pt x="1750398" y="4417418"/>
                    <a:pt x="1750398" y="4417418"/>
                    <a:pt x="1738646" y="4368300"/>
                  </a:cubicBezTo>
                  <a:cubicBezTo>
                    <a:pt x="1738646" y="4368300"/>
                    <a:pt x="1738646" y="4368300"/>
                    <a:pt x="1725941" y="4367349"/>
                  </a:cubicBezTo>
                  <a:close/>
                  <a:moveTo>
                    <a:pt x="1723082" y="4362596"/>
                  </a:moveTo>
                  <a:cubicBezTo>
                    <a:pt x="1723082" y="4362596"/>
                    <a:pt x="1723082" y="4362596"/>
                    <a:pt x="1742457" y="4363864"/>
                  </a:cubicBezTo>
                  <a:cubicBezTo>
                    <a:pt x="1742457" y="4363864"/>
                    <a:pt x="1742457" y="4363864"/>
                    <a:pt x="1742775" y="4365448"/>
                  </a:cubicBezTo>
                  <a:lnTo>
                    <a:pt x="1756115" y="4420586"/>
                  </a:lnTo>
                  <a:cubicBezTo>
                    <a:pt x="1756115" y="4420586"/>
                    <a:pt x="1756115" y="4420586"/>
                    <a:pt x="1624938" y="4458613"/>
                  </a:cubicBezTo>
                  <a:cubicBezTo>
                    <a:pt x="1624938" y="4458613"/>
                    <a:pt x="1624938" y="4458613"/>
                    <a:pt x="1618586" y="4440867"/>
                  </a:cubicBezTo>
                  <a:cubicBezTo>
                    <a:pt x="1618586" y="4440867"/>
                    <a:pt x="1618586" y="4440867"/>
                    <a:pt x="1705613" y="4403158"/>
                  </a:cubicBezTo>
                  <a:cubicBezTo>
                    <a:pt x="1705613" y="4403158"/>
                    <a:pt x="1705613" y="4403158"/>
                    <a:pt x="1723082" y="4362596"/>
                  </a:cubicBezTo>
                  <a:close/>
                  <a:moveTo>
                    <a:pt x="858524" y="4358793"/>
                  </a:moveTo>
                  <a:cubicBezTo>
                    <a:pt x="848043" y="4368617"/>
                    <a:pt x="812469" y="4402524"/>
                    <a:pt x="776896" y="4436431"/>
                  </a:cubicBezTo>
                  <a:cubicBezTo>
                    <a:pt x="768003" y="4444987"/>
                    <a:pt x="759109" y="4453543"/>
                    <a:pt x="750534" y="4461782"/>
                  </a:cubicBezTo>
                  <a:cubicBezTo>
                    <a:pt x="750534" y="4461782"/>
                    <a:pt x="750534" y="4461782"/>
                    <a:pt x="823268" y="4506463"/>
                  </a:cubicBezTo>
                  <a:lnTo>
                    <a:pt x="942375" y="4389215"/>
                  </a:lnTo>
                  <a:cubicBezTo>
                    <a:pt x="942375" y="4389215"/>
                    <a:pt x="942375" y="4389215"/>
                    <a:pt x="858524" y="4358793"/>
                  </a:cubicBezTo>
                  <a:close/>
                  <a:moveTo>
                    <a:pt x="568856" y="4354674"/>
                  </a:moveTo>
                  <a:cubicBezTo>
                    <a:pt x="568856" y="4354674"/>
                    <a:pt x="568856" y="4354674"/>
                    <a:pt x="547257" y="4391433"/>
                  </a:cubicBezTo>
                  <a:cubicBezTo>
                    <a:pt x="547257" y="4391433"/>
                    <a:pt x="547257" y="4391433"/>
                    <a:pt x="575208" y="4408862"/>
                  </a:cubicBezTo>
                  <a:cubicBezTo>
                    <a:pt x="584419" y="4399672"/>
                    <a:pt x="595536" y="4389215"/>
                    <a:pt x="606970" y="4378124"/>
                  </a:cubicBezTo>
                  <a:cubicBezTo>
                    <a:pt x="606970" y="4378124"/>
                    <a:pt x="606970" y="4378124"/>
                    <a:pt x="568856" y="4354674"/>
                  </a:cubicBezTo>
                  <a:close/>
                  <a:moveTo>
                    <a:pt x="2782024" y="4354357"/>
                  </a:moveTo>
                  <a:cubicBezTo>
                    <a:pt x="2782024" y="4354357"/>
                    <a:pt x="2782024" y="4354357"/>
                    <a:pt x="2754073" y="4358160"/>
                  </a:cubicBezTo>
                  <a:cubicBezTo>
                    <a:pt x="2754073" y="4358160"/>
                    <a:pt x="2754073" y="4358160"/>
                    <a:pt x="2486638" y="4368934"/>
                  </a:cubicBezTo>
                  <a:cubicBezTo>
                    <a:pt x="2481556" y="4393968"/>
                    <a:pt x="2478062" y="4443719"/>
                    <a:pt x="2475839" y="4487450"/>
                  </a:cubicBezTo>
                  <a:cubicBezTo>
                    <a:pt x="2474568" y="4510266"/>
                    <a:pt x="2473616" y="4531497"/>
                    <a:pt x="2472663" y="4547025"/>
                  </a:cubicBezTo>
                  <a:cubicBezTo>
                    <a:pt x="2472028" y="4554947"/>
                    <a:pt x="2471710" y="4561285"/>
                    <a:pt x="2471074" y="4566038"/>
                  </a:cubicBezTo>
                  <a:cubicBezTo>
                    <a:pt x="2471074" y="4566672"/>
                    <a:pt x="2470757" y="4567306"/>
                    <a:pt x="2470757" y="4567622"/>
                  </a:cubicBezTo>
                  <a:cubicBezTo>
                    <a:pt x="2473616" y="4569841"/>
                    <a:pt x="2478062" y="4573010"/>
                    <a:pt x="2482826" y="4576495"/>
                  </a:cubicBezTo>
                  <a:cubicBezTo>
                    <a:pt x="2517129" y="4600896"/>
                    <a:pt x="2594946" y="4655084"/>
                    <a:pt x="2664187" y="4703250"/>
                  </a:cubicBezTo>
                  <a:cubicBezTo>
                    <a:pt x="2733428" y="4751417"/>
                    <a:pt x="2793775" y="4793247"/>
                    <a:pt x="2794093" y="4793247"/>
                  </a:cubicBezTo>
                  <a:cubicBezTo>
                    <a:pt x="2794093" y="4793247"/>
                    <a:pt x="2794093" y="4793247"/>
                    <a:pt x="2793140" y="4794514"/>
                  </a:cubicBezTo>
                  <a:cubicBezTo>
                    <a:pt x="2808386" y="4790395"/>
                    <a:pt x="2820455" y="4790078"/>
                    <a:pt x="2822678" y="4790078"/>
                  </a:cubicBezTo>
                  <a:cubicBezTo>
                    <a:pt x="2823314" y="4790078"/>
                    <a:pt x="2823632" y="4790078"/>
                    <a:pt x="2823632" y="4790078"/>
                  </a:cubicBezTo>
                  <a:cubicBezTo>
                    <a:pt x="2823632" y="4790078"/>
                    <a:pt x="2823632" y="4790078"/>
                    <a:pt x="3201916" y="4815429"/>
                  </a:cubicBezTo>
                  <a:cubicBezTo>
                    <a:pt x="3202233" y="4806556"/>
                    <a:pt x="3202233" y="4786909"/>
                    <a:pt x="3202233" y="4761558"/>
                  </a:cubicBezTo>
                  <a:cubicBezTo>
                    <a:pt x="3202233" y="4706419"/>
                    <a:pt x="3201916" y="4623395"/>
                    <a:pt x="3201280" y="4554313"/>
                  </a:cubicBezTo>
                  <a:cubicBezTo>
                    <a:pt x="3200645" y="4488400"/>
                    <a:pt x="3200328" y="4434846"/>
                    <a:pt x="3200010" y="4429776"/>
                  </a:cubicBezTo>
                  <a:cubicBezTo>
                    <a:pt x="3200010" y="4429459"/>
                    <a:pt x="3200010" y="4428826"/>
                    <a:pt x="3199692" y="4427558"/>
                  </a:cubicBezTo>
                  <a:cubicBezTo>
                    <a:pt x="3198739" y="4421220"/>
                    <a:pt x="3194610" y="4403791"/>
                    <a:pt x="3180953" y="4388581"/>
                  </a:cubicBezTo>
                  <a:cubicBezTo>
                    <a:pt x="3167295" y="4373687"/>
                    <a:pt x="3144744" y="4359744"/>
                    <a:pt x="3102501" y="4359427"/>
                  </a:cubicBezTo>
                  <a:cubicBezTo>
                    <a:pt x="3101230" y="4359427"/>
                    <a:pt x="3099642" y="4359427"/>
                    <a:pt x="3098054" y="4359427"/>
                  </a:cubicBezTo>
                  <a:cubicBezTo>
                    <a:pt x="3082808" y="4360061"/>
                    <a:pt x="3065340" y="4360061"/>
                    <a:pt x="3046918" y="4360061"/>
                  </a:cubicBezTo>
                  <a:cubicBezTo>
                    <a:pt x="2940515" y="4360061"/>
                    <a:pt x="2795364" y="4354991"/>
                    <a:pt x="2782024" y="4354357"/>
                  </a:cubicBezTo>
                  <a:close/>
                  <a:moveTo>
                    <a:pt x="1862199" y="4341681"/>
                  </a:moveTo>
                  <a:cubicBezTo>
                    <a:pt x="1862199" y="4341681"/>
                    <a:pt x="1862199" y="4341681"/>
                    <a:pt x="1861564" y="4363864"/>
                  </a:cubicBezTo>
                  <a:lnTo>
                    <a:pt x="1865376" y="4364180"/>
                  </a:lnTo>
                  <a:cubicBezTo>
                    <a:pt x="1865376" y="4364180"/>
                    <a:pt x="1865376" y="4364180"/>
                    <a:pt x="1867281" y="4364180"/>
                  </a:cubicBezTo>
                  <a:cubicBezTo>
                    <a:pt x="1867281" y="4364180"/>
                    <a:pt x="1867281" y="4364180"/>
                    <a:pt x="1866964" y="4380025"/>
                  </a:cubicBezTo>
                  <a:cubicBezTo>
                    <a:pt x="1866964" y="4380025"/>
                    <a:pt x="1866964" y="4380025"/>
                    <a:pt x="1921594" y="4381926"/>
                  </a:cubicBezTo>
                  <a:cubicBezTo>
                    <a:pt x="1921594" y="4381926"/>
                    <a:pt x="1921594" y="4381926"/>
                    <a:pt x="1922229" y="4366082"/>
                  </a:cubicBezTo>
                  <a:cubicBezTo>
                    <a:pt x="1922229" y="4366082"/>
                    <a:pt x="1922229" y="4366082"/>
                    <a:pt x="1898090" y="4365765"/>
                  </a:cubicBezTo>
                  <a:cubicBezTo>
                    <a:pt x="1898090" y="4365765"/>
                    <a:pt x="1898090" y="4365765"/>
                    <a:pt x="1898726" y="4342632"/>
                  </a:cubicBezTo>
                  <a:cubicBezTo>
                    <a:pt x="1898726" y="4342632"/>
                    <a:pt x="1898726" y="4342632"/>
                    <a:pt x="1862199" y="4341681"/>
                  </a:cubicBezTo>
                  <a:close/>
                  <a:moveTo>
                    <a:pt x="1858070" y="4337562"/>
                  </a:moveTo>
                  <a:cubicBezTo>
                    <a:pt x="1858070" y="4337562"/>
                    <a:pt x="1858070" y="4337562"/>
                    <a:pt x="1902855" y="4338513"/>
                  </a:cubicBezTo>
                  <a:cubicBezTo>
                    <a:pt x="1902855" y="4338513"/>
                    <a:pt x="1902855" y="4338513"/>
                    <a:pt x="1902219" y="4361645"/>
                  </a:cubicBezTo>
                  <a:cubicBezTo>
                    <a:pt x="1902219" y="4361645"/>
                    <a:pt x="1902219" y="4361645"/>
                    <a:pt x="1926358" y="4362279"/>
                  </a:cubicBezTo>
                  <a:cubicBezTo>
                    <a:pt x="1926358" y="4362279"/>
                    <a:pt x="1926358" y="4362279"/>
                    <a:pt x="1925723" y="4386363"/>
                  </a:cubicBezTo>
                  <a:cubicBezTo>
                    <a:pt x="1925723" y="4386363"/>
                    <a:pt x="1925723" y="4386363"/>
                    <a:pt x="1923817" y="4386046"/>
                  </a:cubicBezTo>
                  <a:lnTo>
                    <a:pt x="1862835" y="4383827"/>
                  </a:lnTo>
                  <a:cubicBezTo>
                    <a:pt x="1862835" y="4383827"/>
                    <a:pt x="1862835" y="4383827"/>
                    <a:pt x="1863152" y="4368300"/>
                  </a:cubicBezTo>
                  <a:cubicBezTo>
                    <a:pt x="1863152" y="4368300"/>
                    <a:pt x="1863152" y="4368300"/>
                    <a:pt x="1859341" y="4367983"/>
                  </a:cubicBezTo>
                  <a:cubicBezTo>
                    <a:pt x="1859341" y="4367983"/>
                    <a:pt x="1859341" y="4367983"/>
                    <a:pt x="1857435" y="4367983"/>
                  </a:cubicBezTo>
                  <a:cubicBezTo>
                    <a:pt x="1857435" y="4367983"/>
                    <a:pt x="1857435" y="4367983"/>
                    <a:pt x="1858070" y="4337562"/>
                  </a:cubicBezTo>
                  <a:close/>
                  <a:moveTo>
                    <a:pt x="1569990" y="4331858"/>
                  </a:moveTo>
                  <a:cubicBezTo>
                    <a:pt x="1569990" y="4331858"/>
                    <a:pt x="1569990" y="4331858"/>
                    <a:pt x="1566496" y="4363547"/>
                  </a:cubicBezTo>
                  <a:cubicBezTo>
                    <a:pt x="1566496" y="4363547"/>
                    <a:pt x="1566496" y="4363547"/>
                    <a:pt x="1562685" y="4363230"/>
                  </a:cubicBezTo>
                  <a:cubicBezTo>
                    <a:pt x="1562685" y="4363230"/>
                    <a:pt x="1562685" y="4363230"/>
                    <a:pt x="1559191" y="4393017"/>
                  </a:cubicBezTo>
                  <a:cubicBezTo>
                    <a:pt x="1559191" y="4393017"/>
                    <a:pt x="1559191" y="4393017"/>
                    <a:pt x="1569355" y="4393334"/>
                  </a:cubicBezTo>
                  <a:cubicBezTo>
                    <a:pt x="1569355" y="4392383"/>
                    <a:pt x="1569355" y="4391433"/>
                    <a:pt x="1569672" y="4390799"/>
                  </a:cubicBezTo>
                  <a:cubicBezTo>
                    <a:pt x="1571261" y="4371469"/>
                    <a:pt x="1574119" y="4348970"/>
                    <a:pt x="1576342" y="4332492"/>
                  </a:cubicBezTo>
                  <a:cubicBezTo>
                    <a:pt x="1574437" y="4332175"/>
                    <a:pt x="1572213" y="4332175"/>
                    <a:pt x="1569990" y="4331858"/>
                  </a:cubicBezTo>
                  <a:close/>
                  <a:moveTo>
                    <a:pt x="781025" y="4330590"/>
                  </a:moveTo>
                  <a:cubicBezTo>
                    <a:pt x="781025" y="4330590"/>
                    <a:pt x="781025" y="4330590"/>
                    <a:pt x="687010" y="4422488"/>
                  </a:cubicBezTo>
                  <a:cubicBezTo>
                    <a:pt x="687010" y="4422488"/>
                    <a:pt x="687010" y="4422488"/>
                    <a:pt x="746722" y="4459247"/>
                  </a:cubicBezTo>
                  <a:cubicBezTo>
                    <a:pt x="788013" y="4419636"/>
                    <a:pt x="838514" y="4371786"/>
                    <a:pt x="854077" y="4357209"/>
                  </a:cubicBezTo>
                  <a:close/>
                  <a:moveTo>
                    <a:pt x="1529017" y="4329006"/>
                  </a:moveTo>
                  <a:cubicBezTo>
                    <a:pt x="1529017" y="4329006"/>
                    <a:pt x="1529017" y="4329006"/>
                    <a:pt x="1528064" y="4336294"/>
                  </a:cubicBezTo>
                  <a:cubicBezTo>
                    <a:pt x="1528064" y="4336294"/>
                    <a:pt x="1528064" y="4336294"/>
                    <a:pt x="1536005" y="4336928"/>
                  </a:cubicBezTo>
                  <a:cubicBezTo>
                    <a:pt x="1536005" y="4336928"/>
                    <a:pt x="1536005" y="4336928"/>
                    <a:pt x="1540769" y="4336928"/>
                  </a:cubicBezTo>
                  <a:cubicBezTo>
                    <a:pt x="1540769" y="4336928"/>
                    <a:pt x="1540769" y="4336928"/>
                    <a:pt x="1540452" y="4341681"/>
                  </a:cubicBezTo>
                  <a:cubicBezTo>
                    <a:pt x="1540452" y="4341681"/>
                    <a:pt x="1540452" y="4341681"/>
                    <a:pt x="1538546" y="4360378"/>
                  </a:cubicBezTo>
                  <a:cubicBezTo>
                    <a:pt x="1538546" y="4360378"/>
                    <a:pt x="1538546" y="4360378"/>
                    <a:pt x="1538228" y="4364180"/>
                  </a:cubicBezTo>
                  <a:cubicBezTo>
                    <a:pt x="1538228" y="4364180"/>
                    <a:pt x="1538228" y="4364180"/>
                    <a:pt x="1534099" y="4364180"/>
                  </a:cubicBezTo>
                  <a:cubicBezTo>
                    <a:pt x="1534099" y="4364180"/>
                    <a:pt x="1534099" y="4364180"/>
                    <a:pt x="1533464" y="4364180"/>
                  </a:cubicBezTo>
                  <a:cubicBezTo>
                    <a:pt x="1533464" y="4364180"/>
                    <a:pt x="1533464" y="4364180"/>
                    <a:pt x="1531558" y="4375905"/>
                  </a:cubicBezTo>
                  <a:cubicBezTo>
                    <a:pt x="1531558" y="4375905"/>
                    <a:pt x="1531558" y="4375905"/>
                    <a:pt x="1530923" y="4379708"/>
                  </a:cubicBezTo>
                  <a:cubicBezTo>
                    <a:pt x="1530923" y="4379708"/>
                    <a:pt x="1530923" y="4379708"/>
                    <a:pt x="1526794" y="4379391"/>
                  </a:cubicBezTo>
                  <a:cubicBezTo>
                    <a:pt x="1526794" y="4379391"/>
                    <a:pt x="1526794" y="4379391"/>
                    <a:pt x="1519489" y="4379074"/>
                  </a:cubicBezTo>
                  <a:cubicBezTo>
                    <a:pt x="1519489" y="4379074"/>
                    <a:pt x="1519489" y="4379074"/>
                    <a:pt x="1518218" y="4390799"/>
                  </a:cubicBezTo>
                  <a:cubicBezTo>
                    <a:pt x="1518218" y="4390799"/>
                    <a:pt x="1518218" y="4390799"/>
                    <a:pt x="1554744" y="4392700"/>
                  </a:cubicBezTo>
                  <a:cubicBezTo>
                    <a:pt x="1554744" y="4392700"/>
                    <a:pt x="1554744" y="4392700"/>
                    <a:pt x="1558238" y="4362913"/>
                  </a:cubicBezTo>
                  <a:cubicBezTo>
                    <a:pt x="1558238" y="4362913"/>
                    <a:pt x="1558238" y="4362913"/>
                    <a:pt x="1558556" y="4358793"/>
                  </a:cubicBezTo>
                  <a:cubicBezTo>
                    <a:pt x="1558556" y="4358793"/>
                    <a:pt x="1558556" y="4358793"/>
                    <a:pt x="1562367" y="4359110"/>
                  </a:cubicBezTo>
                  <a:cubicBezTo>
                    <a:pt x="1562367" y="4359110"/>
                    <a:pt x="1562367" y="4359110"/>
                    <a:pt x="1565543" y="4331541"/>
                  </a:cubicBezTo>
                  <a:cubicBezTo>
                    <a:pt x="1554744" y="4330907"/>
                    <a:pt x="1540769" y="4329957"/>
                    <a:pt x="1529017" y="4329006"/>
                  </a:cubicBezTo>
                  <a:close/>
                  <a:moveTo>
                    <a:pt x="2394211" y="4328372"/>
                  </a:moveTo>
                  <a:cubicBezTo>
                    <a:pt x="2394211" y="4328372"/>
                    <a:pt x="2394211" y="4328372"/>
                    <a:pt x="2354508" y="4329323"/>
                  </a:cubicBezTo>
                  <a:cubicBezTo>
                    <a:pt x="2354508" y="4329323"/>
                    <a:pt x="2354508" y="4329323"/>
                    <a:pt x="2354826" y="4343266"/>
                  </a:cubicBezTo>
                  <a:lnTo>
                    <a:pt x="2394528" y="4342632"/>
                  </a:lnTo>
                  <a:cubicBezTo>
                    <a:pt x="2394528" y="4342632"/>
                    <a:pt x="2394528" y="4342632"/>
                    <a:pt x="2394211" y="4328372"/>
                  </a:cubicBezTo>
                  <a:close/>
                  <a:moveTo>
                    <a:pt x="2451064" y="4327738"/>
                  </a:moveTo>
                  <a:cubicBezTo>
                    <a:pt x="2451064" y="4327738"/>
                    <a:pt x="2451064" y="4327738"/>
                    <a:pt x="2411362" y="4328689"/>
                  </a:cubicBezTo>
                  <a:cubicBezTo>
                    <a:pt x="2411362" y="4328689"/>
                    <a:pt x="2411362" y="4328689"/>
                    <a:pt x="2411680" y="4342632"/>
                  </a:cubicBezTo>
                  <a:lnTo>
                    <a:pt x="2451382" y="4341998"/>
                  </a:lnTo>
                  <a:cubicBezTo>
                    <a:pt x="2451382" y="4341998"/>
                    <a:pt x="2451382" y="4341998"/>
                    <a:pt x="2451064" y="4327738"/>
                  </a:cubicBezTo>
                  <a:close/>
                  <a:moveTo>
                    <a:pt x="1508372" y="4327738"/>
                  </a:moveTo>
                  <a:cubicBezTo>
                    <a:pt x="1507102" y="4345167"/>
                    <a:pt x="1505831" y="4367032"/>
                    <a:pt x="1504243" y="4390165"/>
                  </a:cubicBezTo>
                  <a:cubicBezTo>
                    <a:pt x="1504243" y="4390165"/>
                    <a:pt x="1504243" y="4390165"/>
                    <a:pt x="1513772" y="4390799"/>
                  </a:cubicBezTo>
                  <a:cubicBezTo>
                    <a:pt x="1513772" y="4390799"/>
                    <a:pt x="1513772" y="4390799"/>
                    <a:pt x="1515677" y="4374321"/>
                  </a:cubicBezTo>
                  <a:cubicBezTo>
                    <a:pt x="1515677" y="4374321"/>
                    <a:pt x="1515677" y="4374321"/>
                    <a:pt x="1527112" y="4374955"/>
                  </a:cubicBezTo>
                  <a:cubicBezTo>
                    <a:pt x="1527112" y="4374955"/>
                    <a:pt x="1527112" y="4374955"/>
                    <a:pt x="1529970" y="4359744"/>
                  </a:cubicBezTo>
                  <a:cubicBezTo>
                    <a:pt x="1529970" y="4359744"/>
                    <a:pt x="1529970" y="4359744"/>
                    <a:pt x="1534099" y="4359744"/>
                  </a:cubicBezTo>
                  <a:cubicBezTo>
                    <a:pt x="1534099" y="4359744"/>
                    <a:pt x="1534099" y="4359744"/>
                    <a:pt x="1536005" y="4341365"/>
                  </a:cubicBezTo>
                  <a:lnTo>
                    <a:pt x="1522983" y="4340731"/>
                  </a:lnTo>
                  <a:cubicBezTo>
                    <a:pt x="1522983" y="4340731"/>
                    <a:pt x="1522983" y="4340731"/>
                    <a:pt x="1524571" y="4328689"/>
                  </a:cubicBezTo>
                  <a:cubicBezTo>
                    <a:pt x="1515995" y="4328055"/>
                    <a:pt x="1509643" y="4327738"/>
                    <a:pt x="1508372" y="4327738"/>
                  </a:cubicBezTo>
                  <a:close/>
                  <a:moveTo>
                    <a:pt x="2510459" y="4325520"/>
                  </a:moveTo>
                  <a:cubicBezTo>
                    <a:pt x="2510459" y="4325520"/>
                    <a:pt x="2510459" y="4325520"/>
                    <a:pt x="2470757" y="4326471"/>
                  </a:cubicBezTo>
                  <a:cubicBezTo>
                    <a:pt x="2470757" y="4326471"/>
                    <a:pt x="2470757" y="4326471"/>
                    <a:pt x="2471074" y="4340414"/>
                  </a:cubicBezTo>
                  <a:lnTo>
                    <a:pt x="2510777" y="4339780"/>
                  </a:lnTo>
                  <a:cubicBezTo>
                    <a:pt x="2510777" y="4339780"/>
                    <a:pt x="2510777" y="4339780"/>
                    <a:pt x="2510459" y="4325520"/>
                  </a:cubicBezTo>
                  <a:close/>
                  <a:moveTo>
                    <a:pt x="77499" y="4324886"/>
                  </a:moveTo>
                  <a:lnTo>
                    <a:pt x="50502" y="4393651"/>
                  </a:lnTo>
                  <a:cubicBezTo>
                    <a:pt x="79405" y="4411080"/>
                    <a:pt x="166115" y="4467169"/>
                    <a:pt x="177867" y="4474774"/>
                  </a:cubicBezTo>
                  <a:cubicBezTo>
                    <a:pt x="177867" y="4474774"/>
                    <a:pt x="177867" y="4474774"/>
                    <a:pt x="237579" y="4392383"/>
                  </a:cubicBezTo>
                  <a:cubicBezTo>
                    <a:pt x="237579" y="4392383"/>
                    <a:pt x="237579" y="4392383"/>
                    <a:pt x="239167" y="4393017"/>
                  </a:cubicBezTo>
                  <a:cubicBezTo>
                    <a:pt x="239167" y="4393017"/>
                    <a:pt x="239167" y="4393017"/>
                    <a:pt x="237579" y="4392067"/>
                  </a:cubicBezTo>
                  <a:cubicBezTo>
                    <a:pt x="237579" y="4392067"/>
                    <a:pt x="237579" y="4392067"/>
                    <a:pt x="237897" y="4392067"/>
                  </a:cubicBezTo>
                  <a:cubicBezTo>
                    <a:pt x="237897" y="4392067"/>
                    <a:pt x="237897" y="4392067"/>
                    <a:pt x="224874" y="4382877"/>
                  </a:cubicBezTo>
                  <a:cubicBezTo>
                    <a:pt x="224874" y="4382877"/>
                    <a:pt x="224874" y="4382877"/>
                    <a:pt x="217569" y="4378124"/>
                  </a:cubicBezTo>
                  <a:cubicBezTo>
                    <a:pt x="211217" y="4374004"/>
                    <a:pt x="208358" y="4372103"/>
                    <a:pt x="203276" y="4368617"/>
                  </a:cubicBezTo>
                  <a:cubicBezTo>
                    <a:pt x="198194" y="4364814"/>
                    <a:pt x="194701" y="4362596"/>
                    <a:pt x="191842" y="4360061"/>
                  </a:cubicBezTo>
                  <a:cubicBezTo>
                    <a:pt x="191842" y="4360061"/>
                    <a:pt x="191842" y="4360061"/>
                    <a:pt x="191207" y="4359427"/>
                  </a:cubicBezTo>
                  <a:cubicBezTo>
                    <a:pt x="191207" y="4359427"/>
                    <a:pt x="191207" y="4359427"/>
                    <a:pt x="190889" y="4359110"/>
                  </a:cubicBezTo>
                  <a:cubicBezTo>
                    <a:pt x="185490" y="4351505"/>
                    <a:pt x="181043" y="4342632"/>
                    <a:pt x="177867" y="4333442"/>
                  </a:cubicBezTo>
                  <a:cubicBezTo>
                    <a:pt x="177867" y="4333442"/>
                    <a:pt x="177867" y="4333442"/>
                    <a:pt x="77499" y="4324886"/>
                  </a:cubicBezTo>
                  <a:close/>
                  <a:moveTo>
                    <a:pt x="2398340" y="4324253"/>
                  </a:moveTo>
                  <a:cubicBezTo>
                    <a:pt x="2398340" y="4324253"/>
                    <a:pt x="2398340" y="4324253"/>
                    <a:pt x="2398658" y="4346752"/>
                  </a:cubicBezTo>
                  <a:cubicBezTo>
                    <a:pt x="2398658" y="4346752"/>
                    <a:pt x="2398658" y="4346752"/>
                    <a:pt x="2350697" y="4347702"/>
                  </a:cubicBezTo>
                  <a:cubicBezTo>
                    <a:pt x="2350697" y="4347702"/>
                    <a:pt x="2350697" y="4347702"/>
                    <a:pt x="2350062" y="4325203"/>
                  </a:cubicBezTo>
                  <a:cubicBezTo>
                    <a:pt x="2350062" y="4325203"/>
                    <a:pt x="2350062" y="4325203"/>
                    <a:pt x="2352285" y="4325203"/>
                  </a:cubicBezTo>
                  <a:close/>
                  <a:moveTo>
                    <a:pt x="2455194" y="4323619"/>
                  </a:moveTo>
                  <a:cubicBezTo>
                    <a:pt x="2455194" y="4323619"/>
                    <a:pt x="2455194" y="4323619"/>
                    <a:pt x="2455829" y="4346118"/>
                  </a:cubicBezTo>
                  <a:cubicBezTo>
                    <a:pt x="2455829" y="4346118"/>
                    <a:pt x="2455829" y="4346118"/>
                    <a:pt x="2407551" y="4347068"/>
                  </a:cubicBezTo>
                  <a:cubicBezTo>
                    <a:pt x="2407551" y="4347068"/>
                    <a:pt x="2407551" y="4347068"/>
                    <a:pt x="2407233" y="4324569"/>
                  </a:cubicBezTo>
                  <a:cubicBezTo>
                    <a:pt x="2407233" y="4324569"/>
                    <a:pt x="2407233" y="4324569"/>
                    <a:pt x="2409139" y="4324569"/>
                  </a:cubicBezTo>
                  <a:close/>
                  <a:moveTo>
                    <a:pt x="2566360" y="4322668"/>
                  </a:moveTo>
                  <a:lnTo>
                    <a:pt x="2526658" y="4323619"/>
                  </a:lnTo>
                  <a:cubicBezTo>
                    <a:pt x="2526658" y="4323619"/>
                    <a:pt x="2526658" y="4323619"/>
                    <a:pt x="2526976" y="4337562"/>
                  </a:cubicBezTo>
                  <a:cubicBezTo>
                    <a:pt x="2526976" y="4337562"/>
                    <a:pt x="2526976" y="4337562"/>
                    <a:pt x="2566678" y="4336611"/>
                  </a:cubicBezTo>
                  <a:cubicBezTo>
                    <a:pt x="2566678" y="4336611"/>
                    <a:pt x="2566678" y="4336611"/>
                    <a:pt x="2566360" y="4322668"/>
                  </a:cubicBezTo>
                  <a:close/>
                  <a:moveTo>
                    <a:pt x="2514588" y="4321401"/>
                  </a:moveTo>
                  <a:cubicBezTo>
                    <a:pt x="2514588" y="4321401"/>
                    <a:pt x="2514588" y="4321401"/>
                    <a:pt x="2514906" y="4343583"/>
                  </a:cubicBezTo>
                  <a:cubicBezTo>
                    <a:pt x="2514906" y="4343583"/>
                    <a:pt x="2514906" y="4343583"/>
                    <a:pt x="2466946" y="4344850"/>
                  </a:cubicBezTo>
                  <a:cubicBezTo>
                    <a:pt x="2466946" y="4344850"/>
                    <a:pt x="2466946" y="4344850"/>
                    <a:pt x="2466310" y="4322351"/>
                  </a:cubicBezTo>
                  <a:cubicBezTo>
                    <a:pt x="2466310" y="4322351"/>
                    <a:pt x="2466310" y="4322351"/>
                    <a:pt x="2468534" y="4322351"/>
                  </a:cubicBezTo>
                  <a:close/>
                  <a:moveTo>
                    <a:pt x="485004" y="4320450"/>
                  </a:moveTo>
                  <a:lnTo>
                    <a:pt x="454513" y="4367349"/>
                  </a:lnTo>
                  <a:cubicBezTo>
                    <a:pt x="454513" y="4367349"/>
                    <a:pt x="454513" y="4367349"/>
                    <a:pt x="484687" y="4378124"/>
                  </a:cubicBezTo>
                  <a:cubicBezTo>
                    <a:pt x="484687" y="4378124"/>
                    <a:pt x="484687" y="4378124"/>
                    <a:pt x="513272" y="4331224"/>
                  </a:cubicBezTo>
                  <a:cubicBezTo>
                    <a:pt x="513272" y="4331224"/>
                    <a:pt x="513272" y="4331224"/>
                    <a:pt x="485004" y="4320450"/>
                  </a:cubicBezTo>
                  <a:close/>
                  <a:moveTo>
                    <a:pt x="2620673" y="4319182"/>
                  </a:moveTo>
                  <a:cubicBezTo>
                    <a:pt x="2620673" y="4319182"/>
                    <a:pt x="2620673" y="4319182"/>
                    <a:pt x="2580971" y="4319816"/>
                  </a:cubicBezTo>
                  <a:lnTo>
                    <a:pt x="2581288" y="4334076"/>
                  </a:lnTo>
                  <a:cubicBezTo>
                    <a:pt x="2581288" y="4334076"/>
                    <a:pt x="2581288" y="4334076"/>
                    <a:pt x="2620991" y="4333125"/>
                  </a:cubicBezTo>
                  <a:cubicBezTo>
                    <a:pt x="2620991" y="4333125"/>
                    <a:pt x="2620991" y="4333125"/>
                    <a:pt x="2620673" y="4319182"/>
                  </a:cubicBezTo>
                  <a:close/>
                  <a:moveTo>
                    <a:pt x="2570489" y="4318549"/>
                  </a:moveTo>
                  <a:cubicBezTo>
                    <a:pt x="2570489" y="4318549"/>
                    <a:pt x="2570489" y="4318549"/>
                    <a:pt x="2570807" y="4340731"/>
                  </a:cubicBezTo>
                  <a:lnTo>
                    <a:pt x="2522846" y="4341681"/>
                  </a:lnTo>
                  <a:cubicBezTo>
                    <a:pt x="2522846" y="4341681"/>
                    <a:pt x="2522846" y="4341681"/>
                    <a:pt x="2522211" y="4319499"/>
                  </a:cubicBezTo>
                  <a:cubicBezTo>
                    <a:pt x="2522211" y="4319499"/>
                    <a:pt x="2522211" y="4319499"/>
                    <a:pt x="2524434" y="4319499"/>
                  </a:cubicBezTo>
                  <a:cubicBezTo>
                    <a:pt x="2524434" y="4319499"/>
                    <a:pt x="2524434" y="4319499"/>
                    <a:pt x="2570489" y="4318549"/>
                  </a:cubicBezTo>
                  <a:close/>
                  <a:moveTo>
                    <a:pt x="1847589" y="4317281"/>
                  </a:moveTo>
                  <a:cubicBezTo>
                    <a:pt x="1842825" y="4354357"/>
                    <a:pt x="1839013" y="4382243"/>
                    <a:pt x="1837425" y="4395552"/>
                  </a:cubicBezTo>
                  <a:cubicBezTo>
                    <a:pt x="1844730" y="4395552"/>
                    <a:pt x="1874269" y="4395552"/>
                    <a:pt x="1908572" y="4394919"/>
                  </a:cubicBezTo>
                  <a:cubicBezTo>
                    <a:pt x="1948274" y="4394285"/>
                    <a:pt x="1994646" y="4393017"/>
                    <a:pt x="2019738" y="4390482"/>
                  </a:cubicBezTo>
                  <a:cubicBezTo>
                    <a:pt x="2021962" y="4390482"/>
                    <a:pt x="2024185" y="4390165"/>
                    <a:pt x="2026408" y="4389848"/>
                  </a:cubicBezTo>
                  <a:cubicBezTo>
                    <a:pt x="2026408" y="4389848"/>
                    <a:pt x="2026408" y="4389848"/>
                    <a:pt x="2032443" y="4331541"/>
                  </a:cubicBezTo>
                  <a:cubicBezTo>
                    <a:pt x="2032443" y="4331541"/>
                    <a:pt x="2032443" y="4331541"/>
                    <a:pt x="1847589" y="4317281"/>
                  </a:cubicBezTo>
                  <a:close/>
                  <a:moveTo>
                    <a:pt x="2675304" y="4316964"/>
                  </a:moveTo>
                  <a:cubicBezTo>
                    <a:pt x="2675304" y="4316964"/>
                    <a:pt x="2675304" y="4316964"/>
                    <a:pt x="2635601" y="4317598"/>
                  </a:cubicBezTo>
                  <a:cubicBezTo>
                    <a:pt x="2635601" y="4317598"/>
                    <a:pt x="2635601" y="4317598"/>
                    <a:pt x="2635919" y="4331858"/>
                  </a:cubicBezTo>
                  <a:lnTo>
                    <a:pt x="2675621" y="4330907"/>
                  </a:lnTo>
                  <a:cubicBezTo>
                    <a:pt x="2675621" y="4330907"/>
                    <a:pt x="2675621" y="4330907"/>
                    <a:pt x="2675304" y="4316964"/>
                  </a:cubicBezTo>
                  <a:close/>
                  <a:moveTo>
                    <a:pt x="483416" y="4314746"/>
                  </a:moveTo>
                  <a:cubicBezTo>
                    <a:pt x="483416" y="4314746"/>
                    <a:pt x="483416" y="4314746"/>
                    <a:pt x="519942" y="4329006"/>
                  </a:cubicBezTo>
                  <a:cubicBezTo>
                    <a:pt x="519942" y="4329006"/>
                    <a:pt x="519942" y="4329006"/>
                    <a:pt x="486592" y="4383511"/>
                  </a:cubicBezTo>
                  <a:lnTo>
                    <a:pt x="447525" y="4369884"/>
                  </a:lnTo>
                  <a:cubicBezTo>
                    <a:pt x="447525" y="4369884"/>
                    <a:pt x="447525" y="4369884"/>
                    <a:pt x="483416" y="4314746"/>
                  </a:cubicBezTo>
                  <a:close/>
                  <a:moveTo>
                    <a:pt x="2679432" y="4312528"/>
                  </a:moveTo>
                  <a:cubicBezTo>
                    <a:pt x="2679432" y="4312528"/>
                    <a:pt x="2679432" y="4312528"/>
                    <a:pt x="2680068" y="4335027"/>
                  </a:cubicBezTo>
                  <a:cubicBezTo>
                    <a:pt x="2680068" y="4335027"/>
                    <a:pt x="2680068" y="4335027"/>
                    <a:pt x="2631790" y="4335977"/>
                  </a:cubicBezTo>
                  <a:cubicBezTo>
                    <a:pt x="2631790" y="4335977"/>
                    <a:pt x="2631790" y="4335977"/>
                    <a:pt x="2631472" y="4313478"/>
                  </a:cubicBezTo>
                  <a:cubicBezTo>
                    <a:pt x="2631472" y="4313478"/>
                    <a:pt x="2631472" y="4313478"/>
                    <a:pt x="2633378" y="4313478"/>
                  </a:cubicBezTo>
                  <a:close/>
                  <a:moveTo>
                    <a:pt x="1713236" y="4312528"/>
                  </a:moveTo>
                  <a:cubicBezTo>
                    <a:pt x="1713236" y="4312528"/>
                    <a:pt x="1713236" y="4312528"/>
                    <a:pt x="1677345" y="4388581"/>
                  </a:cubicBezTo>
                  <a:lnTo>
                    <a:pt x="1603975" y="4440867"/>
                  </a:lnTo>
                  <a:cubicBezTo>
                    <a:pt x="1603975" y="4440867"/>
                    <a:pt x="1603975" y="4440867"/>
                    <a:pt x="1640819" y="4516287"/>
                  </a:cubicBezTo>
                  <a:cubicBezTo>
                    <a:pt x="1640819" y="4516287"/>
                    <a:pt x="1640819" y="4516287"/>
                    <a:pt x="1774219" y="4418051"/>
                  </a:cubicBezTo>
                  <a:cubicBezTo>
                    <a:pt x="1774219" y="4418051"/>
                    <a:pt x="1774219" y="4418051"/>
                    <a:pt x="1784065" y="4325203"/>
                  </a:cubicBezTo>
                  <a:cubicBezTo>
                    <a:pt x="1784065" y="4325203"/>
                    <a:pt x="1784065" y="4325203"/>
                    <a:pt x="1713236" y="4312528"/>
                  </a:cubicBezTo>
                  <a:close/>
                  <a:moveTo>
                    <a:pt x="1710378" y="4307458"/>
                  </a:moveTo>
                  <a:cubicBezTo>
                    <a:pt x="1710378" y="4307458"/>
                    <a:pt x="1710378" y="4307458"/>
                    <a:pt x="1789147" y="4321401"/>
                  </a:cubicBezTo>
                  <a:cubicBezTo>
                    <a:pt x="1789147" y="4321401"/>
                    <a:pt x="1789147" y="4321401"/>
                    <a:pt x="1788829" y="4323619"/>
                  </a:cubicBezTo>
                  <a:cubicBezTo>
                    <a:pt x="1788829" y="4323619"/>
                    <a:pt x="1788829" y="4323619"/>
                    <a:pt x="1778666" y="4420586"/>
                  </a:cubicBezTo>
                  <a:lnTo>
                    <a:pt x="1639231" y="4523258"/>
                  </a:lnTo>
                  <a:cubicBezTo>
                    <a:pt x="1639231" y="4523258"/>
                    <a:pt x="1639231" y="4523258"/>
                    <a:pt x="1597941" y="4439283"/>
                  </a:cubicBezTo>
                  <a:cubicBezTo>
                    <a:pt x="1597941" y="4439283"/>
                    <a:pt x="1597941" y="4439283"/>
                    <a:pt x="1673851" y="4385412"/>
                  </a:cubicBezTo>
                  <a:cubicBezTo>
                    <a:pt x="1673851" y="4385412"/>
                    <a:pt x="1673851" y="4385412"/>
                    <a:pt x="1710378" y="4307458"/>
                  </a:cubicBezTo>
                  <a:close/>
                  <a:moveTo>
                    <a:pt x="1200917" y="4305239"/>
                  </a:moveTo>
                  <a:cubicBezTo>
                    <a:pt x="1200917" y="4305239"/>
                    <a:pt x="1200917" y="4305239"/>
                    <a:pt x="1186942" y="4306824"/>
                  </a:cubicBezTo>
                  <a:cubicBezTo>
                    <a:pt x="1186942" y="4306824"/>
                    <a:pt x="1186942" y="4306824"/>
                    <a:pt x="1182177" y="4418368"/>
                  </a:cubicBezTo>
                  <a:cubicBezTo>
                    <a:pt x="1182177" y="4418368"/>
                    <a:pt x="1182177" y="4418368"/>
                    <a:pt x="1237126" y="4439917"/>
                  </a:cubicBezTo>
                  <a:cubicBezTo>
                    <a:pt x="1237126" y="4439917"/>
                    <a:pt x="1237126" y="4439917"/>
                    <a:pt x="1242525" y="4425657"/>
                  </a:cubicBezTo>
                  <a:lnTo>
                    <a:pt x="1197423" y="4377490"/>
                  </a:lnTo>
                  <a:cubicBezTo>
                    <a:pt x="1197423" y="4377490"/>
                    <a:pt x="1197423" y="4377490"/>
                    <a:pt x="1200917" y="4305239"/>
                  </a:cubicBezTo>
                  <a:close/>
                  <a:moveTo>
                    <a:pt x="1205681" y="4299852"/>
                  </a:moveTo>
                  <a:lnTo>
                    <a:pt x="1202187" y="4375905"/>
                  </a:lnTo>
                  <a:cubicBezTo>
                    <a:pt x="1202187" y="4375905"/>
                    <a:pt x="1202187" y="4375905"/>
                    <a:pt x="1247925" y="4424389"/>
                  </a:cubicBezTo>
                  <a:cubicBezTo>
                    <a:pt x="1247925" y="4424389"/>
                    <a:pt x="1247925" y="4424389"/>
                    <a:pt x="1247607" y="4425657"/>
                  </a:cubicBezTo>
                  <a:cubicBezTo>
                    <a:pt x="1247607" y="4425657"/>
                    <a:pt x="1247607" y="4425657"/>
                    <a:pt x="1239984" y="4445938"/>
                  </a:cubicBezTo>
                  <a:cubicBezTo>
                    <a:pt x="1239984" y="4445938"/>
                    <a:pt x="1239984" y="4445938"/>
                    <a:pt x="1177096" y="4421537"/>
                  </a:cubicBezTo>
                  <a:cubicBezTo>
                    <a:pt x="1177096" y="4421537"/>
                    <a:pt x="1177096" y="4421537"/>
                    <a:pt x="1182177" y="4302387"/>
                  </a:cubicBezTo>
                  <a:cubicBezTo>
                    <a:pt x="1182177" y="4302387"/>
                    <a:pt x="1182177" y="4302387"/>
                    <a:pt x="1205681" y="4299852"/>
                  </a:cubicBezTo>
                  <a:close/>
                  <a:moveTo>
                    <a:pt x="695903" y="4299852"/>
                  </a:moveTo>
                  <a:cubicBezTo>
                    <a:pt x="689233" y="4306190"/>
                    <a:pt x="657154" y="4336294"/>
                    <a:pt x="625074" y="4367032"/>
                  </a:cubicBezTo>
                  <a:cubicBezTo>
                    <a:pt x="621580" y="4370518"/>
                    <a:pt x="617769" y="4374004"/>
                    <a:pt x="613957" y="4377490"/>
                  </a:cubicBezTo>
                  <a:cubicBezTo>
                    <a:pt x="613957" y="4377490"/>
                    <a:pt x="613957" y="4377490"/>
                    <a:pt x="683198" y="4419953"/>
                  </a:cubicBezTo>
                  <a:cubicBezTo>
                    <a:pt x="683198" y="4419953"/>
                    <a:pt x="683198" y="4419953"/>
                    <a:pt x="776261" y="4329006"/>
                  </a:cubicBezTo>
                  <a:close/>
                  <a:moveTo>
                    <a:pt x="1544898" y="4298268"/>
                  </a:moveTo>
                  <a:cubicBezTo>
                    <a:pt x="1544898" y="4298268"/>
                    <a:pt x="1544898" y="4298268"/>
                    <a:pt x="1543628" y="4309993"/>
                  </a:cubicBezTo>
                  <a:cubicBezTo>
                    <a:pt x="1543628" y="4309993"/>
                    <a:pt x="1543628" y="4309993"/>
                    <a:pt x="1542992" y="4314112"/>
                  </a:cubicBezTo>
                  <a:cubicBezTo>
                    <a:pt x="1542992" y="4314112"/>
                    <a:pt x="1542992" y="4314112"/>
                    <a:pt x="1538863" y="4313795"/>
                  </a:cubicBezTo>
                  <a:cubicBezTo>
                    <a:pt x="1538863" y="4313795"/>
                    <a:pt x="1538863" y="4313795"/>
                    <a:pt x="1530923" y="4313478"/>
                  </a:cubicBezTo>
                  <a:cubicBezTo>
                    <a:pt x="1530923" y="4313478"/>
                    <a:pt x="1530923" y="4313478"/>
                    <a:pt x="1529653" y="4323936"/>
                  </a:cubicBezTo>
                  <a:cubicBezTo>
                    <a:pt x="1538863" y="4324569"/>
                    <a:pt x="1549345" y="4325520"/>
                    <a:pt x="1558556" y="4326154"/>
                  </a:cubicBezTo>
                  <a:cubicBezTo>
                    <a:pt x="1561414" y="4326154"/>
                    <a:pt x="1563955" y="4326471"/>
                    <a:pt x="1566179" y="4326471"/>
                  </a:cubicBezTo>
                  <a:cubicBezTo>
                    <a:pt x="1566179" y="4326471"/>
                    <a:pt x="1566179" y="4326471"/>
                    <a:pt x="1569037" y="4300803"/>
                  </a:cubicBezTo>
                  <a:cubicBezTo>
                    <a:pt x="1569037" y="4300803"/>
                    <a:pt x="1569037" y="4300803"/>
                    <a:pt x="1544898" y="4298268"/>
                  </a:cubicBezTo>
                  <a:close/>
                  <a:moveTo>
                    <a:pt x="1707837" y="4290346"/>
                  </a:moveTo>
                  <a:cubicBezTo>
                    <a:pt x="1704978" y="4296050"/>
                    <a:pt x="1694179" y="4316013"/>
                    <a:pt x="1683062" y="4335977"/>
                  </a:cubicBezTo>
                  <a:cubicBezTo>
                    <a:pt x="1676710" y="4347702"/>
                    <a:pt x="1670358" y="4359427"/>
                    <a:pt x="1665276" y="4368300"/>
                  </a:cubicBezTo>
                  <a:cubicBezTo>
                    <a:pt x="1662735" y="4372736"/>
                    <a:pt x="1660829" y="4376539"/>
                    <a:pt x="1659241" y="4379074"/>
                  </a:cubicBezTo>
                  <a:cubicBezTo>
                    <a:pt x="1658288" y="4380342"/>
                    <a:pt x="1657653" y="4381609"/>
                    <a:pt x="1657335" y="4382243"/>
                  </a:cubicBezTo>
                  <a:cubicBezTo>
                    <a:pt x="1657018" y="4382560"/>
                    <a:pt x="1657018" y="4382877"/>
                    <a:pt x="1656700" y="4383194"/>
                  </a:cubicBezTo>
                  <a:cubicBezTo>
                    <a:pt x="1656382" y="4383511"/>
                    <a:pt x="1656700" y="4383511"/>
                    <a:pt x="1655430" y="4384144"/>
                  </a:cubicBezTo>
                  <a:cubicBezTo>
                    <a:pt x="1655430" y="4384144"/>
                    <a:pt x="1655430" y="4384144"/>
                    <a:pt x="1655430" y="4384461"/>
                  </a:cubicBezTo>
                  <a:cubicBezTo>
                    <a:pt x="1653524" y="4385729"/>
                    <a:pt x="1635420" y="4399038"/>
                    <a:pt x="1618268" y="4412031"/>
                  </a:cubicBezTo>
                  <a:cubicBezTo>
                    <a:pt x="1604611" y="4422488"/>
                    <a:pt x="1591271" y="4432628"/>
                    <a:pt x="1586189" y="4436431"/>
                  </a:cubicBezTo>
                  <a:cubicBezTo>
                    <a:pt x="1589682" y="4447839"/>
                    <a:pt x="1596352" y="4465901"/>
                    <a:pt x="1608104" y="4485549"/>
                  </a:cubicBezTo>
                  <a:cubicBezTo>
                    <a:pt x="1620809" y="4507097"/>
                    <a:pt x="1629385" y="4526744"/>
                    <a:pt x="1633831" y="4538469"/>
                  </a:cubicBezTo>
                  <a:cubicBezTo>
                    <a:pt x="1633831" y="4538469"/>
                    <a:pt x="1633831" y="4538469"/>
                    <a:pt x="1781842" y="4431678"/>
                  </a:cubicBezTo>
                  <a:cubicBezTo>
                    <a:pt x="1781842" y="4431678"/>
                    <a:pt x="1781842" y="4431678"/>
                    <a:pt x="1788829" y="4402841"/>
                  </a:cubicBezTo>
                  <a:cubicBezTo>
                    <a:pt x="1788829" y="4402841"/>
                    <a:pt x="1788829" y="4402841"/>
                    <a:pt x="1799629" y="4307141"/>
                  </a:cubicBezTo>
                  <a:cubicBezTo>
                    <a:pt x="1784383" y="4304922"/>
                    <a:pt x="1734834" y="4295099"/>
                    <a:pt x="1720541" y="4292247"/>
                  </a:cubicBezTo>
                  <a:cubicBezTo>
                    <a:pt x="1720541" y="4292247"/>
                    <a:pt x="1720541" y="4292247"/>
                    <a:pt x="1707837" y="4290346"/>
                  </a:cubicBezTo>
                  <a:close/>
                  <a:moveTo>
                    <a:pt x="966197" y="4287177"/>
                  </a:moveTo>
                  <a:cubicBezTo>
                    <a:pt x="966197" y="4287177"/>
                    <a:pt x="966197" y="4287177"/>
                    <a:pt x="959209" y="4290662"/>
                  </a:cubicBezTo>
                  <a:cubicBezTo>
                    <a:pt x="959209" y="4290662"/>
                    <a:pt x="959209" y="4290662"/>
                    <a:pt x="956668" y="4300169"/>
                  </a:cubicBezTo>
                  <a:cubicBezTo>
                    <a:pt x="956668" y="4300169"/>
                    <a:pt x="956668" y="4300169"/>
                    <a:pt x="967785" y="4305239"/>
                  </a:cubicBezTo>
                  <a:lnTo>
                    <a:pt x="976678" y="4296050"/>
                  </a:lnTo>
                  <a:cubicBezTo>
                    <a:pt x="976678" y="4296050"/>
                    <a:pt x="976678" y="4296050"/>
                    <a:pt x="966197" y="4287177"/>
                  </a:cubicBezTo>
                  <a:close/>
                  <a:moveTo>
                    <a:pt x="1582695" y="4286543"/>
                  </a:moveTo>
                  <a:cubicBezTo>
                    <a:pt x="1567132" y="4288444"/>
                    <a:pt x="1521077" y="4293831"/>
                    <a:pt x="1510278" y="4294782"/>
                  </a:cubicBezTo>
                  <a:cubicBezTo>
                    <a:pt x="1510278" y="4298902"/>
                    <a:pt x="1509643" y="4309042"/>
                    <a:pt x="1508690" y="4322351"/>
                  </a:cubicBezTo>
                  <a:cubicBezTo>
                    <a:pt x="1510595" y="4322668"/>
                    <a:pt x="1516948" y="4322985"/>
                    <a:pt x="1525206" y="4323619"/>
                  </a:cubicBezTo>
                  <a:cubicBezTo>
                    <a:pt x="1525206" y="4323619"/>
                    <a:pt x="1525206" y="4323619"/>
                    <a:pt x="1527112" y="4308725"/>
                  </a:cubicBezTo>
                  <a:cubicBezTo>
                    <a:pt x="1527112" y="4308725"/>
                    <a:pt x="1527112" y="4308725"/>
                    <a:pt x="1539181" y="4309359"/>
                  </a:cubicBezTo>
                  <a:cubicBezTo>
                    <a:pt x="1539181" y="4309359"/>
                    <a:pt x="1539181" y="4309359"/>
                    <a:pt x="1541087" y="4293514"/>
                  </a:cubicBezTo>
                  <a:cubicBezTo>
                    <a:pt x="1541087" y="4293514"/>
                    <a:pt x="1541087" y="4293514"/>
                    <a:pt x="1573802" y="4296683"/>
                  </a:cubicBezTo>
                  <a:cubicBezTo>
                    <a:pt x="1573802" y="4296683"/>
                    <a:pt x="1573802" y="4296683"/>
                    <a:pt x="1570625" y="4326788"/>
                  </a:cubicBezTo>
                  <a:cubicBezTo>
                    <a:pt x="1570943" y="4326788"/>
                    <a:pt x="1570943" y="4326788"/>
                    <a:pt x="1570943" y="4326788"/>
                  </a:cubicBezTo>
                  <a:cubicBezTo>
                    <a:pt x="1573484" y="4327105"/>
                    <a:pt x="1575390" y="4327105"/>
                    <a:pt x="1576978" y="4327105"/>
                  </a:cubicBezTo>
                  <a:cubicBezTo>
                    <a:pt x="1577931" y="4321401"/>
                    <a:pt x="1578566" y="4316647"/>
                    <a:pt x="1579201" y="4313478"/>
                  </a:cubicBezTo>
                  <a:cubicBezTo>
                    <a:pt x="1579836" y="4307774"/>
                    <a:pt x="1581424" y="4297951"/>
                    <a:pt x="1582695" y="4286543"/>
                  </a:cubicBezTo>
                  <a:close/>
                  <a:moveTo>
                    <a:pt x="966832" y="4281473"/>
                  </a:moveTo>
                  <a:cubicBezTo>
                    <a:pt x="966832" y="4281473"/>
                    <a:pt x="966832" y="4281473"/>
                    <a:pt x="983348" y="4295733"/>
                  </a:cubicBezTo>
                  <a:cubicBezTo>
                    <a:pt x="983348" y="4295733"/>
                    <a:pt x="983348" y="4295733"/>
                    <a:pt x="981760" y="4297634"/>
                  </a:cubicBezTo>
                  <a:cubicBezTo>
                    <a:pt x="981760" y="4297634"/>
                    <a:pt x="981760" y="4297634"/>
                    <a:pt x="969055" y="4310943"/>
                  </a:cubicBezTo>
                  <a:cubicBezTo>
                    <a:pt x="969055" y="4310943"/>
                    <a:pt x="969055" y="4310943"/>
                    <a:pt x="950951" y="4302704"/>
                  </a:cubicBezTo>
                  <a:cubicBezTo>
                    <a:pt x="950951" y="4302704"/>
                    <a:pt x="950951" y="4302704"/>
                    <a:pt x="955080" y="4287494"/>
                  </a:cubicBezTo>
                  <a:close/>
                  <a:moveTo>
                    <a:pt x="1130088" y="4280839"/>
                  </a:moveTo>
                  <a:lnTo>
                    <a:pt x="1065611" y="4287810"/>
                  </a:lnTo>
                  <a:cubicBezTo>
                    <a:pt x="1065611" y="4287810"/>
                    <a:pt x="1065611" y="4287810"/>
                    <a:pt x="1051636" y="4318549"/>
                  </a:cubicBezTo>
                  <a:cubicBezTo>
                    <a:pt x="1051636" y="4318549"/>
                    <a:pt x="1051636" y="4318549"/>
                    <a:pt x="1070058" y="4318232"/>
                  </a:cubicBezTo>
                  <a:cubicBezTo>
                    <a:pt x="1070058" y="4318232"/>
                    <a:pt x="1070058" y="4318232"/>
                    <a:pt x="1077363" y="4297951"/>
                  </a:cubicBezTo>
                  <a:cubicBezTo>
                    <a:pt x="1077363" y="4297951"/>
                    <a:pt x="1077363" y="4297951"/>
                    <a:pt x="1109125" y="4296050"/>
                  </a:cubicBezTo>
                  <a:cubicBezTo>
                    <a:pt x="1109125" y="4296050"/>
                    <a:pt x="1109125" y="4296050"/>
                    <a:pt x="1083080" y="4390165"/>
                  </a:cubicBezTo>
                  <a:cubicBezTo>
                    <a:pt x="1083080" y="4390165"/>
                    <a:pt x="1083080" y="4390165"/>
                    <a:pt x="1056400" y="4382560"/>
                  </a:cubicBezTo>
                  <a:cubicBezTo>
                    <a:pt x="1056400" y="4382560"/>
                    <a:pt x="1056400" y="4382560"/>
                    <a:pt x="1059577" y="4354357"/>
                  </a:cubicBezTo>
                  <a:cubicBezTo>
                    <a:pt x="1059577" y="4354357"/>
                    <a:pt x="1059577" y="4354357"/>
                    <a:pt x="1043696" y="4345484"/>
                  </a:cubicBezTo>
                  <a:cubicBezTo>
                    <a:pt x="1043696" y="4345484"/>
                    <a:pt x="1043696" y="4345484"/>
                    <a:pt x="1024639" y="4384144"/>
                  </a:cubicBezTo>
                  <a:cubicBezTo>
                    <a:pt x="1024639" y="4384144"/>
                    <a:pt x="1024639" y="4384144"/>
                    <a:pt x="1120877" y="4418685"/>
                  </a:cubicBezTo>
                  <a:cubicBezTo>
                    <a:pt x="1120877" y="4418685"/>
                    <a:pt x="1120877" y="4418685"/>
                    <a:pt x="1130088" y="4280839"/>
                  </a:cubicBezTo>
                  <a:close/>
                  <a:moveTo>
                    <a:pt x="1271" y="4279888"/>
                  </a:moveTo>
                  <a:cubicBezTo>
                    <a:pt x="27315" y="4292881"/>
                    <a:pt x="27315" y="4292881"/>
                    <a:pt x="27315" y="4292881"/>
                  </a:cubicBezTo>
                  <a:cubicBezTo>
                    <a:pt x="16516" y="4314429"/>
                    <a:pt x="16516" y="4314429"/>
                    <a:pt x="16516" y="4314429"/>
                  </a:cubicBezTo>
                  <a:cubicBezTo>
                    <a:pt x="14928" y="4313478"/>
                    <a:pt x="14928" y="4313478"/>
                    <a:pt x="14928" y="4313478"/>
                  </a:cubicBezTo>
                  <a:cubicBezTo>
                    <a:pt x="1271" y="4306824"/>
                    <a:pt x="1271" y="4306824"/>
                    <a:pt x="1271" y="4306824"/>
                  </a:cubicBezTo>
                  <a:cubicBezTo>
                    <a:pt x="1271" y="4302070"/>
                    <a:pt x="1271" y="4302070"/>
                    <a:pt x="1271" y="4302070"/>
                  </a:cubicBezTo>
                  <a:lnTo>
                    <a:pt x="14928" y="4308725"/>
                  </a:lnTo>
                  <a:cubicBezTo>
                    <a:pt x="21916" y="4294782"/>
                    <a:pt x="21916" y="4294782"/>
                    <a:pt x="21916" y="4294782"/>
                  </a:cubicBezTo>
                  <a:cubicBezTo>
                    <a:pt x="1271" y="4284642"/>
                    <a:pt x="1271" y="4284642"/>
                    <a:pt x="1271" y="4284642"/>
                  </a:cubicBezTo>
                  <a:cubicBezTo>
                    <a:pt x="1271" y="4279888"/>
                    <a:pt x="1271" y="4279888"/>
                    <a:pt x="1271" y="4279888"/>
                  </a:cubicBezTo>
                  <a:close/>
                  <a:moveTo>
                    <a:pt x="2133763" y="4278621"/>
                  </a:moveTo>
                  <a:lnTo>
                    <a:pt x="2100731" y="4278938"/>
                  </a:lnTo>
                  <a:cubicBezTo>
                    <a:pt x="2100731" y="4278938"/>
                    <a:pt x="2100731" y="4278938"/>
                    <a:pt x="2101048" y="4305556"/>
                  </a:cubicBezTo>
                  <a:cubicBezTo>
                    <a:pt x="2101048" y="4305556"/>
                    <a:pt x="2101048" y="4305556"/>
                    <a:pt x="2074369" y="4305873"/>
                  </a:cubicBezTo>
                  <a:cubicBezTo>
                    <a:pt x="2074369" y="4305873"/>
                    <a:pt x="2074369" y="4305873"/>
                    <a:pt x="2075004" y="4355308"/>
                  </a:cubicBezTo>
                  <a:cubicBezTo>
                    <a:pt x="2075004" y="4355308"/>
                    <a:pt x="2075004" y="4355308"/>
                    <a:pt x="2105813" y="4355308"/>
                  </a:cubicBezTo>
                  <a:cubicBezTo>
                    <a:pt x="2105813" y="4355308"/>
                    <a:pt x="2105813" y="4355308"/>
                    <a:pt x="2105813" y="4324569"/>
                  </a:cubicBezTo>
                  <a:cubicBezTo>
                    <a:pt x="2105813" y="4324569"/>
                    <a:pt x="2105813" y="4324569"/>
                    <a:pt x="2108036" y="4324569"/>
                  </a:cubicBezTo>
                  <a:cubicBezTo>
                    <a:pt x="2108036" y="4324569"/>
                    <a:pt x="2108036" y="4324569"/>
                    <a:pt x="2133446" y="4324253"/>
                  </a:cubicBezTo>
                  <a:cubicBezTo>
                    <a:pt x="2133446" y="4324253"/>
                    <a:pt x="2133446" y="4324253"/>
                    <a:pt x="2133763" y="4278621"/>
                  </a:cubicBezTo>
                  <a:close/>
                  <a:moveTo>
                    <a:pt x="1135170" y="4275452"/>
                  </a:moveTo>
                  <a:cubicBezTo>
                    <a:pt x="1135170" y="4275452"/>
                    <a:pt x="1135170" y="4275452"/>
                    <a:pt x="1135170" y="4278304"/>
                  </a:cubicBezTo>
                  <a:cubicBezTo>
                    <a:pt x="1135170" y="4278304"/>
                    <a:pt x="1135170" y="4278304"/>
                    <a:pt x="1125006" y="4425023"/>
                  </a:cubicBezTo>
                  <a:cubicBezTo>
                    <a:pt x="1125006" y="4425023"/>
                    <a:pt x="1125006" y="4425023"/>
                    <a:pt x="1017969" y="4386996"/>
                  </a:cubicBezTo>
                  <a:cubicBezTo>
                    <a:pt x="1017969" y="4386996"/>
                    <a:pt x="1017969" y="4386996"/>
                    <a:pt x="1041472" y="4339146"/>
                  </a:cubicBezTo>
                  <a:cubicBezTo>
                    <a:pt x="1041472" y="4339146"/>
                    <a:pt x="1041472" y="4339146"/>
                    <a:pt x="1064659" y="4351822"/>
                  </a:cubicBezTo>
                  <a:cubicBezTo>
                    <a:pt x="1064659" y="4351822"/>
                    <a:pt x="1064659" y="4351822"/>
                    <a:pt x="1061482" y="4379074"/>
                  </a:cubicBezTo>
                  <a:cubicBezTo>
                    <a:pt x="1061482" y="4379074"/>
                    <a:pt x="1061482" y="4379074"/>
                    <a:pt x="1079904" y="4384461"/>
                  </a:cubicBezTo>
                  <a:cubicBezTo>
                    <a:pt x="1079904" y="4384461"/>
                    <a:pt x="1079904" y="4384461"/>
                    <a:pt x="1102773" y="4301120"/>
                  </a:cubicBezTo>
                  <a:cubicBezTo>
                    <a:pt x="1102773" y="4301120"/>
                    <a:pt x="1102773" y="4301120"/>
                    <a:pt x="1080857" y="4302387"/>
                  </a:cubicBezTo>
                  <a:cubicBezTo>
                    <a:pt x="1080857" y="4302387"/>
                    <a:pt x="1080857" y="4302387"/>
                    <a:pt x="1073234" y="4322985"/>
                  </a:cubicBezTo>
                  <a:cubicBezTo>
                    <a:pt x="1073234" y="4322985"/>
                    <a:pt x="1073234" y="4322985"/>
                    <a:pt x="1044013" y="4323302"/>
                  </a:cubicBezTo>
                  <a:lnTo>
                    <a:pt x="1062753" y="4283374"/>
                  </a:lnTo>
                  <a:cubicBezTo>
                    <a:pt x="1062753" y="4283374"/>
                    <a:pt x="1062753" y="4283374"/>
                    <a:pt x="1135170" y="4275452"/>
                  </a:cubicBezTo>
                  <a:close/>
                  <a:moveTo>
                    <a:pt x="2137892" y="4274501"/>
                  </a:moveTo>
                  <a:cubicBezTo>
                    <a:pt x="2137892" y="4274501"/>
                    <a:pt x="2137892" y="4274501"/>
                    <a:pt x="2137575" y="4328372"/>
                  </a:cubicBezTo>
                  <a:cubicBezTo>
                    <a:pt x="2137575" y="4328372"/>
                    <a:pt x="2137575" y="4328372"/>
                    <a:pt x="2109942" y="4328689"/>
                  </a:cubicBezTo>
                  <a:cubicBezTo>
                    <a:pt x="2109942" y="4328689"/>
                    <a:pt x="2109942" y="4328689"/>
                    <a:pt x="2109942" y="4359744"/>
                  </a:cubicBezTo>
                  <a:cubicBezTo>
                    <a:pt x="2109942" y="4359744"/>
                    <a:pt x="2109942" y="4359744"/>
                    <a:pt x="2070875" y="4359427"/>
                  </a:cubicBezTo>
                  <a:cubicBezTo>
                    <a:pt x="2070875" y="4359427"/>
                    <a:pt x="2070875" y="4359427"/>
                    <a:pt x="2070240" y="4302070"/>
                  </a:cubicBezTo>
                  <a:cubicBezTo>
                    <a:pt x="2070240" y="4302070"/>
                    <a:pt x="2070240" y="4302070"/>
                    <a:pt x="2096602" y="4301437"/>
                  </a:cubicBezTo>
                  <a:lnTo>
                    <a:pt x="2096602" y="4274818"/>
                  </a:lnTo>
                  <a:cubicBezTo>
                    <a:pt x="2096602" y="4274818"/>
                    <a:pt x="2096602" y="4274818"/>
                    <a:pt x="2137892" y="4274501"/>
                  </a:cubicBezTo>
                  <a:close/>
                  <a:moveTo>
                    <a:pt x="1228550" y="4269114"/>
                  </a:moveTo>
                  <a:cubicBezTo>
                    <a:pt x="1228550" y="4269114"/>
                    <a:pt x="1228550" y="4269114"/>
                    <a:pt x="1163120" y="4277353"/>
                  </a:cubicBezTo>
                  <a:lnTo>
                    <a:pt x="1152004" y="4431044"/>
                  </a:lnTo>
                  <a:cubicBezTo>
                    <a:pt x="1152004" y="4431044"/>
                    <a:pt x="1152004" y="4431044"/>
                    <a:pt x="1294932" y="4485549"/>
                  </a:cubicBezTo>
                  <a:cubicBezTo>
                    <a:pt x="1294932" y="4485549"/>
                    <a:pt x="1294932" y="4485549"/>
                    <a:pt x="1280957" y="4460197"/>
                  </a:cubicBezTo>
                  <a:cubicBezTo>
                    <a:pt x="1280957" y="4460197"/>
                    <a:pt x="1280957" y="4460197"/>
                    <a:pt x="1288580" y="4430727"/>
                  </a:cubicBezTo>
                  <a:cubicBezTo>
                    <a:pt x="1288580" y="4430727"/>
                    <a:pt x="1288580" y="4430727"/>
                    <a:pt x="1225374" y="4364180"/>
                  </a:cubicBezTo>
                  <a:cubicBezTo>
                    <a:pt x="1225374" y="4364180"/>
                    <a:pt x="1225374" y="4364180"/>
                    <a:pt x="1228550" y="4269114"/>
                  </a:cubicBezTo>
                  <a:close/>
                  <a:moveTo>
                    <a:pt x="1968919" y="4268797"/>
                  </a:moveTo>
                  <a:cubicBezTo>
                    <a:pt x="1968919" y="4268797"/>
                    <a:pt x="1968919" y="4268797"/>
                    <a:pt x="1967966" y="4285592"/>
                  </a:cubicBezTo>
                  <a:cubicBezTo>
                    <a:pt x="1967966" y="4285592"/>
                    <a:pt x="1967966" y="4285592"/>
                    <a:pt x="1964472" y="4285275"/>
                  </a:cubicBezTo>
                  <a:cubicBezTo>
                    <a:pt x="1964472" y="4285275"/>
                    <a:pt x="1964472" y="4285275"/>
                    <a:pt x="1962567" y="4314112"/>
                  </a:cubicBezTo>
                  <a:cubicBezTo>
                    <a:pt x="1962567" y="4314112"/>
                    <a:pt x="1962567" y="4314112"/>
                    <a:pt x="1993058" y="4315380"/>
                  </a:cubicBezTo>
                  <a:lnTo>
                    <a:pt x="1994329" y="4297000"/>
                  </a:lnTo>
                  <a:cubicBezTo>
                    <a:pt x="1994329" y="4297000"/>
                    <a:pt x="1994329" y="4297000"/>
                    <a:pt x="2017515" y="4298585"/>
                  </a:cubicBezTo>
                  <a:cubicBezTo>
                    <a:pt x="2017515" y="4298585"/>
                    <a:pt x="2017515" y="4298585"/>
                    <a:pt x="2019420" y="4272283"/>
                  </a:cubicBezTo>
                  <a:cubicBezTo>
                    <a:pt x="2019420" y="4272283"/>
                    <a:pt x="2019420" y="4272283"/>
                    <a:pt x="1968919" y="4268797"/>
                  </a:cubicBezTo>
                  <a:close/>
                  <a:moveTo>
                    <a:pt x="127048" y="4266579"/>
                  </a:moveTo>
                  <a:cubicBezTo>
                    <a:pt x="127048" y="4266579"/>
                    <a:pt x="127048" y="4266579"/>
                    <a:pt x="126413" y="4302070"/>
                  </a:cubicBezTo>
                  <a:cubicBezTo>
                    <a:pt x="126413" y="4302070"/>
                    <a:pt x="126413" y="4302070"/>
                    <a:pt x="161668" y="4302704"/>
                  </a:cubicBezTo>
                  <a:lnTo>
                    <a:pt x="162303" y="4267213"/>
                  </a:lnTo>
                  <a:cubicBezTo>
                    <a:pt x="162303" y="4267213"/>
                    <a:pt x="162303" y="4267213"/>
                    <a:pt x="127048" y="4266579"/>
                  </a:cubicBezTo>
                  <a:close/>
                  <a:moveTo>
                    <a:pt x="602841" y="4266262"/>
                  </a:moveTo>
                  <a:lnTo>
                    <a:pt x="511049" y="4408862"/>
                  </a:lnTo>
                  <a:cubicBezTo>
                    <a:pt x="511049" y="4408862"/>
                    <a:pt x="511049" y="4408862"/>
                    <a:pt x="551069" y="4433262"/>
                  </a:cubicBezTo>
                  <a:cubicBezTo>
                    <a:pt x="553610" y="4430093"/>
                    <a:pt x="561550" y="4422171"/>
                    <a:pt x="572349" y="4411714"/>
                  </a:cubicBezTo>
                  <a:cubicBezTo>
                    <a:pt x="572349" y="4411714"/>
                    <a:pt x="572349" y="4411714"/>
                    <a:pt x="541540" y="4393017"/>
                  </a:cubicBezTo>
                  <a:cubicBezTo>
                    <a:pt x="541540" y="4393017"/>
                    <a:pt x="541540" y="4393017"/>
                    <a:pt x="567267" y="4348653"/>
                  </a:cubicBezTo>
                  <a:cubicBezTo>
                    <a:pt x="567267" y="4348653"/>
                    <a:pt x="567267" y="4348653"/>
                    <a:pt x="610146" y="4375272"/>
                  </a:cubicBezTo>
                  <a:cubicBezTo>
                    <a:pt x="643814" y="4342949"/>
                    <a:pt x="680657" y="4308091"/>
                    <a:pt x="691139" y="4298268"/>
                  </a:cubicBezTo>
                  <a:cubicBezTo>
                    <a:pt x="691139" y="4298268"/>
                    <a:pt x="691139" y="4298268"/>
                    <a:pt x="602841" y="4266262"/>
                  </a:cubicBezTo>
                  <a:close/>
                  <a:moveTo>
                    <a:pt x="1965108" y="4264361"/>
                  </a:moveTo>
                  <a:cubicBezTo>
                    <a:pt x="1965108" y="4264361"/>
                    <a:pt x="1965108" y="4264361"/>
                    <a:pt x="2023867" y="4268480"/>
                  </a:cubicBezTo>
                  <a:cubicBezTo>
                    <a:pt x="2023867" y="4268480"/>
                    <a:pt x="2023867" y="4268480"/>
                    <a:pt x="2021326" y="4303021"/>
                  </a:cubicBezTo>
                  <a:cubicBezTo>
                    <a:pt x="2021326" y="4303021"/>
                    <a:pt x="2021326" y="4303021"/>
                    <a:pt x="1998458" y="4301437"/>
                  </a:cubicBezTo>
                  <a:cubicBezTo>
                    <a:pt x="1998458" y="4301437"/>
                    <a:pt x="1998458" y="4301437"/>
                    <a:pt x="1997187" y="4319816"/>
                  </a:cubicBezTo>
                  <a:lnTo>
                    <a:pt x="1994964" y="4319499"/>
                  </a:lnTo>
                  <a:cubicBezTo>
                    <a:pt x="1994964" y="4319499"/>
                    <a:pt x="1994964" y="4319499"/>
                    <a:pt x="1958120" y="4317915"/>
                  </a:cubicBezTo>
                  <a:cubicBezTo>
                    <a:pt x="1958120" y="4317915"/>
                    <a:pt x="1958120" y="4317915"/>
                    <a:pt x="1960661" y="4280839"/>
                  </a:cubicBezTo>
                  <a:cubicBezTo>
                    <a:pt x="1960661" y="4280839"/>
                    <a:pt x="1960661" y="4280839"/>
                    <a:pt x="1963837" y="4281156"/>
                  </a:cubicBezTo>
                  <a:cubicBezTo>
                    <a:pt x="1963837" y="4281156"/>
                    <a:pt x="1963837" y="4281156"/>
                    <a:pt x="1965108" y="4264361"/>
                  </a:cubicBezTo>
                  <a:close/>
                  <a:moveTo>
                    <a:pt x="1146287" y="4264361"/>
                  </a:moveTo>
                  <a:cubicBezTo>
                    <a:pt x="1101820" y="4271015"/>
                    <a:pt x="1059259" y="4277353"/>
                    <a:pt x="1057989" y="4277670"/>
                  </a:cubicBezTo>
                  <a:cubicBezTo>
                    <a:pt x="1057989" y="4277670"/>
                    <a:pt x="1057989" y="4277670"/>
                    <a:pt x="1057671" y="4277670"/>
                  </a:cubicBezTo>
                  <a:cubicBezTo>
                    <a:pt x="1057036" y="4277670"/>
                    <a:pt x="1056400" y="4277670"/>
                    <a:pt x="1056083" y="4277353"/>
                  </a:cubicBezTo>
                  <a:lnTo>
                    <a:pt x="1008440" y="4390799"/>
                  </a:lnTo>
                  <a:cubicBezTo>
                    <a:pt x="1008440" y="4390799"/>
                    <a:pt x="1008440" y="4390799"/>
                    <a:pt x="1135805" y="4437065"/>
                  </a:cubicBezTo>
                  <a:cubicBezTo>
                    <a:pt x="1135805" y="4437065"/>
                    <a:pt x="1135805" y="4437065"/>
                    <a:pt x="1146287" y="4264361"/>
                  </a:cubicBezTo>
                  <a:close/>
                  <a:moveTo>
                    <a:pt x="1233314" y="4263727"/>
                  </a:moveTo>
                  <a:cubicBezTo>
                    <a:pt x="1233314" y="4263727"/>
                    <a:pt x="1233314" y="4263727"/>
                    <a:pt x="1233314" y="4266579"/>
                  </a:cubicBezTo>
                  <a:cubicBezTo>
                    <a:pt x="1233314" y="4266579"/>
                    <a:pt x="1233314" y="4266579"/>
                    <a:pt x="1230138" y="4362279"/>
                  </a:cubicBezTo>
                  <a:cubicBezTo>
                    <a:pt x="1230138" y="4362279"/>
                    <a:pt x="1230138" y="4362279"/>
                    <a:pt x="1293979" y="4429459"/>
                  </a:cubicBezTo>
                  <a:cubicBezTo>
                    <a:pt x="1293979" y="4429459"/>
                    <a:pt x="1293979" y="4429459"/>
                    <a:pt x="1286039" y="4459564"/>
                  </a:cubicBezTo>
                  <a:lnTo>
                    <a:pt x="1305096" y="4494421"/>
                  </a:lnTo>
                  <a:cubicBezTo>
                    <a:pt x="1305096" y="4494421"/>
                    <a:pt x="1305096" y="4494421"/>
                    <a:pt x="1147239" y="4433896"/>
                  </a:cubicBezTo>
                  <a:cubicBezTo>
                    <a:pt x="1147239" y="4433896"/>
                    <a:pt x="1147239" y="4433896"/>
                    <a:pt x="1158674" y="4273234"/>
                  </a:cubicBezTo>
                  <a:cubicBezTo>
                    <a:pt x="1158674" y="4273234"/>
                    <a:pt x="1158674" y="4273234"/>
                    <a:pt x="1233314" y="4263727"/>
                  </a:cubicBezTo>
                  <a:close/>
                  <a:moveTo>
                    <a:pt x="911249" y="4262776"/>
                  </a:moveTo>
                  <a:cubicBezTo>
                    <a:pt x="908072" y="4266896"/>
                    <a:pt x="899497" y="4278621"/>
                    <a:pt x="896321" y="4289712"/>
                  </a:cubicBezTo>
                  <a:cubicBezTo>
                    <a:pt x="892509" y="4302070"/>
                    <a:pt x="886792" y="4329006"/>
                    <a:pt x="885204" y="4336294"/>
                  </a:cubicBezTo>
                  <a:cubicBezTo>
                    <a:pt x="885204" y="4336294"/>
                    <a:pt x="885204" y="4336294"/>
                    <a:pt x="994147" y="4373687"/>
                  </a:cubicBezTo>
                  <a:lnTo>
                    <a:pt x="1013522" y="4322351"/>
                  </a:lnTo>
                  <a:cubicBezTo>
                    <a:pt x="1013522" y="4322351"/>
                    <a:pt x="1013522" y="4322351"/>
                    <a:pt x="1002405" y="4313161"/>
                  </a:cubicBezTo>
                  <a:cubicBezTo>
                    <a:pt x="1002405" y="4313161"/>
                    <a:pt x="1002405" y="4313161"/>
                    <a:pt x="969055" y="4333442"/>
                  </a:cubicBezTo>
                  <a:cubicBezTo>
                    <a:pt x="969055" y="4333442"/>
                    <a:pt x="969055" y="4333442"/>
                    <a:pt x="933164" y="4316013"/>
                  </a:cubicBezTo>
                  <a:cubicBezTo>
                    <a:pt x="933164" y="4316013"/>
                    <a:pt x="933164" y="4316013"/>
                    <a:pt x="939517" y="4281473"/>
                  </a:cubicBezTo>
                  <a:cubicBezTo>
                    <a:pt x="939517" y="4281473"/>
                    <a:pt x="939517" y="4281473"/>
                    <a:pt x="911249" y="4262776"/>
                  </a:cubicBezTo>
                  <a:close/>
                  <a:moveTo>
                    <a:pt x="122919" y="4262459"/>
                  </a:moveTo>
                  <a:cubicBezTo>
                    <a:pt x="122919" y="4262459"/>
                    <a:pt x="122919" y="4262459"/>
                    <a:pt x="124824" y="4262459"/>
                  </a:cubicBezTo>
                  <a:cubicBezTo>
                    <a:pt x="124824" y="4262459"/>
                    <a:pt x="124824" y="4262459"/>
                    <a:pt x="166750" y="4263093"/>
                  </a:cubicBezTo>
                  <a:lnTo>
                    <a:pt x="165797" y="4306824"/>
                  </a:lnTo>
                  <a:cubicBezTo>
                    <a:pt x="165797" y="4306824"/>
                    <a:pt x="165797" y="4306824"/>
                    <a:pt x="121966" y="4306190"/>
                  </a:cubicBezTo>
                  <a:cubicBezTo>
                    <a:pt x="121966" y="4306190"/>
                    <a:pt x="121966" y="4306190"/>
                    <a:pt x="122919" y="4262459"/>
                  </a:cubicBezTo>
                  <a:close/>
                  <a:moveTo>
                    <a:pt x="539952" y="4259607"/>
                  </a:moveTo>
                  <a:cubicBezTo>
                    <a:pt x="539952" y="4259607"/>
                    <a:pt x="539952" y="4259607"/>
                    <a:pt x="509143" y="4306507"/>
                  </a:cubicBezTo>
                  <a:lnTo>
                    <a:pt x="536776" y="4316013"/>
                  </a:lnTo>
                  <a:cubicBezTo>
                    <a:pt x="536776" y="4316013"/>
                    <a:pt x="536776" y="4316013"/>
                    <a:pt x="565362" y="4269431"/>
                  </a:cubicBezTo>
                  <a:cubicBezTo>
                    <a:pt x="565362" y="4269431"/>
                    <a:pt x="565362" y="4269431"/>
                    <a:pt x="539952" y="4259607"/>
                  </a:cubicBezTo>
                  <a:close/>
                  <a:moveTo>
                    <a:pt x="375743" y="4258023"/>
                  </a:moveTo>
                  <a:cubicBezTo>
                    <a:pt x="375743" y="4258023"/>
                    <a:pt x="375743" y="4258023"/>
                    <a:pt x="360498" y="4291296"/>
                  </a:cubicBezTo>
                  <a:cubicBezTo>
                    <a:pt x="360498" y="4291296"/>
                    <a:pt x="360498" y="4291296"/>
                    <a:pt x="359862" y="4292564"/>
                  </a:cubicBezTo>
                  <a:cubicBezTo>
                    <a:pt x="359862" y="4292564"/>
                    <a:pt x="359862" y="4292564"/>
                    <a:pt x="358910" y="4293198"/>
                  </a:cubicBezTo>
                  <a:cubicBezTo>
                    <a:pt x="358910" y="4293198"/>
                    <a:pt x="358910" y="4293198"/>
                    <a:pt x="339852" y="4305239"/>
                  </a:cubicBezTo>
                  <a:cubicBezTo>
                    <a:pt x="339852" y="4305239"/>
                    <a:pt x="339852" y="4305239"/>
                    <a:pt x="287445" y="4385095"/>
                  </a:cubicBezTo>
                  <a:cubicBezTo>
                    <a:pt x="287445" y="4385095"/>
                    <a:pt x="287445" y="4385095"/>
                    <a:pt x="351922" y="4425023"/>
                  </a:cubicBezTo>
                  <a:lnTo>
                    <a:pt x="401470" y="4351822"/>
                  </a:lnTo>
                  <a:cubicBezTo>
                    <a:pt x="401470" y="4351822"/>
                    <a:pt x="401470" y="4351822"/>
                    <a:pt x="378284" y="4337245"/>
                  </a:cubicBezTo>
                  <a:cubicBezTo>
                    <a:pt x="378284" y="4337245"/>
                    <a:pt x="378284" y="4337245"/>
                    <a:pt x="343029" y="4389848"/>
                  </a:cubicBezTo>
                  <a:cubicBezTo>
                    <a:pt x="343029" y="4389848"/>
                    <a:pt x="343029" y="4389848"/>
                    <a:pt x="340805" y="4393334"/>
                  </a:cubicBezTo>
                  <a:cubicBezTo>
                    <a:pt x="340805" y="4393334"/>
                    <a:pt x="340805" y="4393334"/>
                    <a:pt x="336994" y="4390799"/>
                  </a:cubicBezTo>
                  <a:cubicBezTo>
                    <a:pt x="336994" y="4390799"/>
                    <a:pt x="336994" y="4390799"/>
                    <a:pt x="321748" y="4380659"/>
                  </a:cubicBezTo>
                  <a:cubicBezTo>
                    <a:pt x="321748" y="4380659"/>
                    <a:pt x="321748" y="4380659"/>
                    <a:pt x="317937" y="4378124"/>
                  </a:cubicBezTo>
                  <a:cubicBezTo>
                    <a:pt x="317937" y="4378124"/>
                    <a:pt x="317937" y="4378124"/>
                    <a:pt x="320478" y="4374321"/>
                  </a:cubicBezTo>
                  <a:cubicBezTo>
                    <a:pt x="320478" y="4374321"/>
                    <a:pt x="320478" y="4374321"/>
                    <a:pt x="357004" y="4319499"/>
                  </a:cubicBezTo>
                  <a:cubicBezTo>
                    <a:pt x="357004" y="4319499"/>
                    <a:pt x="357004" y="4319499"/>
                    <a:pt x="357957" y="4317915"/>
                  </a:cubicBezTo>
                  <a:cubicBezTo>
                    <a:pt x="357957" y="4317915"/>
                    <a:pt x="357957" y="4317915"/>
                    <a:pt x="359862" y="4317598"/>
                  </a:cubicBezTo>
                  <a:cubicBezTo>
                    <a:pt x="359862" y="4317598"/>
                    <a:pt x="359862" y="4317598"/>
                    <a:pt x="397024" y="4311894"/>
                  </a:cubicBezTo>
                  <a:cubicBezTo>
                    <a:pt x="397024" y="4311894"/>
                    <a:pt x="397024" y="4311894"/>
                    <a:pt x="398612" y="4311577"/>
                  </a:cubicBezTo>
                  <a:cubicBezTo>
                    <a:pt x="398612" y="4311577"/>
                    <a:pt x="398612" y="4311577"/>
                    <a:pt x="399882" y="4312211"/>
                  </a:cubicBezTo>
                  <a:cubicBezTo>
                    <a:pt x="399882" y="4312211"/>
                    <a:pt x="399882" y="4312211"/>
                    <a:pt x="422433" y="4324569"/>
                  </a:cubicBezTo>
                  <a:cubicBezTo>
                    <a:pt x="422433" y="4324569"/>
                    <a:pt x="422433" y="4324569"/>
                    <a:pt x="437679" y="4309042"/>
                  </a:cubicBezTo>
                  <a:cubicBezTo>
                    <a:pt x="437679" y="4309042"/>
                    <a:pt x="437679" y="4309042"/>
                    <a:pt x="375743" y="4258023"/>
                  </a:cubicBezTo>
                  <a:close/>
                  <a:moveTo>
                    <a:pt x="2286856" y="4257389"/>
                  </a:moveTo>
                  <a:lnTo>
                    <a:pt x="2253823" y="4257706"/>
                  </a:lnTo>
                  <a:cubicBezTo>
                    <a:pt x="2253823" y="4257706"/>
                    <a:pt x="2253823" y="4257706"/>
                    <a:pt x="2254141" y="4284642"/>
                  </a:cubicBezTo>
                  <a:cubicBezTo>
                    <a:pt x="2254141" y="4284642"/>
                    <a:pt x="2254141" y="4284642"/>
                    <a:pt x="2227461" y="4284958"/>
                  </a:cubicBezTo>
                  <a:cubicBezTo>
                    <a:pt x="2227461" y="4284958"/>
                    <a:pt x="2227461" y="4284958"/>
                    <a:pt x="2228096" y="4334393"/>
                  </a:cubicBezTo>
                  <a:cubicBezTo>
                    <a:pt x="2228096" y="4334393"/>
                    <a:pt x="2228096" y="4334393"/>
                    <a:pt x="2258905" y="4334393"/>
                  </a:cubicBezTo>
                  <a:cubicBezTo>
                    <a:pt x="2258905" y="4334393"/>
                    <a:pt x="2258905" y="4334393"/>
                    <a:pt x="2258905" y="4303655"/>
                  </a:cubicBezTo>
                  <a:cubicBezTo>
                    <a:pt x="2258905" y="4303655"/>
                    <a:pt x="2258905" y="4303655"/>
                    <a:pt x="2261128" y="4303338"/>
                  </a:cubicBezTo>
                  <a:cubicBezTo>
                    <a:pt x="2261128" y="4303338"/>
                    <a:pt x="2261128" y="4303338"/>
                    <a:pt x="2286538" y="4303338"/>
                  </a:cubicBezTo>
                  <a:cubicBezTo>
                    <a:pt x="2286538" y="4303338"/>
                    <a:pt x="2286538" y="4303338"/>
                    <a:pt x="2286856" y="4257389"/>
                  </a:cubicBezTo>
                  <a:close/>
                  <a:moveTo>
                    <a:pt x="1750080" y="4257072"/>
                  </a:moveTo>
                  <a:cubicBezTo>
                    <a:pt x="1750080" y="4257072"/>
                    <a:pt x="1750080" y="4257072"/>
                    <a:pt x="1745633" y="4281473"/>
                  </a:cubicBezTo>
                  <a:lnTo>
                    <a:pt x="1783748" y="4288444"/>
                  </a:lnTo>
                  <a:cubicBezTo>
                    <a:pt x="1783748" y="4288444"/>
                    <a:pt x="1783748" y="4288444"/>
                    <a:pt x="1788194" y="4263727"/>
                  </a:cubicBezTo>
                  <a:cubicBezTo>
                    <a:pt x="1788194" y="4263727"/>
                    <a:pt x="1788194" y="4263727"/>
                    <a:pt x="1750080" y="4257072"/>
                  </a:cubicBezTo>
                  <a:close/>
                  <a:moveTo>
                    <a:pt x="910296" y="4256755"/>
                  </a:moveTo>
                  <a:cubicBezTo>
                    <a:pt x="910296" y="4256755"/>
                    <a:pt x="910296" y="4256755"/>
                    <a:pt x="944599" y="4279254"/>
                  </a:cubicBezTo>
                  <a:cubicBezTo>
                    <a:pt x="944599" y="4279254"/>
                    <a:pt x="944599" y="4279254"/>
                    <a:pt x="938564" y="4313478"/>
                  </a:cubicBezTo>
                  <a:cubicBezTo>
                    <a:pt x="938564" y="4313478"/>
                    <a:pt x="938564" y="4313478"/>
                    <a:pt x="968738" y="4328055"/>
                  </a:cubicBezTo>
                  <a:cubicBezTo>
                    <a:pt x="968738" y="4328055"/>
                    <a:pt x="968738" y="4328055"/>
                    <a:pt x="1003041" y="4307458"/>
                  </a:cubicBezTo>
                  <a:cubicBezTo>
                    <a:pt x="1003041" y="4307458"/>
                    <a:pt x="1003041" y="4307458"/>
                    <a:pt x="1019239" y="4320767"/>
                  </a:cubicBezTo>
                  <a:lnTo>
                    <a:pt x="1018604" y="4322351"/>
                  </a:lnTo>
                  <a:cubicBezTo>
                    <a:pt x="1018604" y="4322351"/>
                    <a:pt x="1018604" y="4322351"/>
                    <a:pt x="996688" y="4379708"/>
                  </a:cubicBezTo>
                  <a:cubicBezTo>
                    <a:pt x="996688" y="4379708"/>
                    <a:pt x="996688" y="4379708"/>
                    <a:pt x="879804" y="4339463"/>
                  </a:cubicBezTo>
                  <a:cubicBezTo>
                    <a:pt x="879804" y="4339463"/>
                    <a:pt x="879804" y="4339463"/>
                    <a:pt x="880440" y="4337562"/>
                  </a:cubicBezTo>
                  <a:cubicBezTo>
                    <a:pt x="880440" y="4337562"/>
                    <a:pt x="887110" y="4303338"/>
                    <a:pt x="891874" y="4288444"/>
                  </a:cubicBezTo>
                  <a:cubicBezTo>
                    <a:pt x="896321" y="4272917"/>
                    <a:pt x="908708" y="4258340"/>
                    <a:pt x="909025" y="4258340"/>
                  </a:cubicBezTo>
                  <a:cubicBezTo>
                    <a:pt x="909025" y="4258340"/>
                    <a:pt x="909025" y="4258340"/>
                    <a:pt x="910296" y="4256755"/>
                  </a:cubicBezTo>
                  <a:close/>
                  <a:moveTo>
                    <a:pt x="538047" y="4254220"/>
                  </a:moveTo>
                  <a:cubicBezTo>
                    <a:pt x="538047" y="4254220"/>
                    <a:pt x="538047" y="4254220"/>
                    <a:pt x="572032" y="4267213"/>
                  </a:cubicBezTo>
                  <a:lnTo>
                    <a:pt x="538682" y="4321401"/>
                  </a:lnTo>
                  <a:cubicBezTo>
                    <a:pt x="538682" y="4321401"/>
                    <a:pt x="538682" y="4321401"/>
                    <a:pt x="502156" y="4309042"/>
                  </a:cubicBezTo>
                  <a:cubicBezTo>
                    <a:pt x="502156" y="4309042"/>
                    <a:pt x="502156" y="4309042"/>
                    <a:pt x="538047" y="4254220"/>
                  </a:cubicBezTo>
                  <a:close/>
                  <a:moveTo>
                    <a:pt x="2290985" y="4253270"/>
                  </a:moveTo>
                  <a:cubicBezTo>
                    <a:pt x="2290985" y="4253270"/>
                    <a:pt x="2290985" y="4253270"/>
                    <a:pt x="2290667" y="4307458"/>
                  </a:cubicBezTo>
                  <a:cubicBezTo>
                    <a:pt x="2290667" y="4307458"/>
                    <a:pt x="2290667" y="4307458"/>
                    <a:pt x="2263034" y="4307774"/>
                  </a:cubicBezTo>
                  <a:cubicBezTo>
                    <a:pt x="2263034" y="4307774"/>
                    <a:pt x="2263034" y="4307774"/>
                    <a:pt x="2263034" y="4338513"/>
                  </a:cubicBezTo>
                  <a:cubicBezTo>
                    <a:pt x="2263034" y="4338513"/>
                    <a:pt x="2263034" y="4338513"/>
                    <a:pt x="2223967" y="4338513"/>
                  </a:cubicBezTo>
                  <a:cubicBezTo>
                    <a:pt x="2223967" y="4338513"/>
                    <a:pt x="2223967" y="4338513"/>
                    <a:pt x="2223332" y="4280839"/>
                  </a:cubicBezTo>
                  <a:cubicBezTo>
                    <a:pt x="2223332" y="4280839"/>
                    <a:pt x="2223332" y="4280839"/>
                    <a:pt x="2249694" y="4280522"/>
                  </a:cubicBezTo>
                  <a:lnTo>
                    <a:pt x="2249694" y="4253587"/>
                  </a:lnTo>
                  <a:cubicBezTo>
                    <a:pt x="2249694" y="4253587"/>
                    <a:pt x="2249694" y="4253587"/>
                    <a:pt x="2290985" y="4253270"/>
                  </a:cubicBezTo>
                  <a:close/>
                  <a:moveTo>
                    <a:pt x="1746904" y="4252319"/>
                  </a:moveTo>
                  <a:cubicBezTo>
                    <a:pt x="1746904" y="4252319"/>
                    <a:pt x="1746904" y="4252319"/>
                    <a:pt x="1792959" y="4260558"/>
                  </a:cubicBezTo>
                  <a:lnTo>
                    <a:pt x="1787241" y="4293198"/>
                  </a:lnTo>
                  <a:cubicBezTo>
                    <a:pt x="1787241" y="4293198"/>
                    <a:pt x="1787241" y="4293198"/>
                    <a:pt x="1740869" y="4284642"/>
                  </a:cubicBezTo>
                  <a:cubicBezTo>
                    <a:pt x="1740869" y="4284642"/>
                    <a:pt x="1740869" y="4284642"/>
                    <a:pt x="1741187" y="4282740"/>
                  </a:cubicBezTo>
                  <a:cubicBezTo>
                    <a:pt x="1741187" y="4282740"/>
                    <a:pt x="1741187" y="4282740"/>
                    <a:pt x="1746904" y="4252319"/>
                  </a:cubicBezTo>
                  <a:close/>
                  <a:moveTo>
                    <a:pt x="2572712" y="4251051"/>
                  </a:moveTo>
                  <a:cubicBezTo>
                    <a:pt x="2550797" y="4251685"/>
                    <a:pt x="2526976" y="4252319"/>
                    <a:pt x="2503472" y="4253270"/>
                  </a:cubicBezTo>
                  <a:cubicBezTo>
                    <a:pt x="2457417" y="4254537"/>
                    <a:pt x="2411362" y="4256122"/>
                    <a:pt x="2376742" y="4257389"/>
                  </a:cubicBezTo>
                  <a:cubicBezTo>
                    <a:pt x="2359273" y="4258023"/>
                    <a:pt x="2344980" y="4258657"/>
                    <a:pt x="2334816" y="4259291"/>
                  </a:cubicBezTo>
                  <a:cubicBezTo>
                    <a:pt x="2333863" y="4259291"/>
                    <a:pt x="2332910" y="4259291"/>
                    <a:pt x="2331958" y="4259291"/>
                  </a:cubicBezTo>
                  <a:cubicBezTo>
                    <a:pt x="2331958" y="4263727"/>
                    <a:pt x="2332275" y="4272600"/>
                    <a:pt x="2333228" y="4284958"/>
                  </a:cubicBezTo>
                  <a:cubicBezTo>
                    <a:pt x="2334498" y="4302704"/>
                    <a:pt x="2337040" y="4326788"/>
                    <a:pt x="2342121" y="4353723"/>
                  </a:cubicBezTo>
                  <a:cubicBezTo>
                    <a:pt x="2342121" y="4353723"/>
                    <a:pt x="2342121" y="4353723"/>
                    <a:pt x="2401516" y="4351505"/>
                  </a:cubicBezTo>
                  <a:cubicBezTo>
                    <a:pt x="2401516" y="4351505"/>
                    <a:pt x="2401516" y="4351505"/>
                    <a:pt x="2401516" y="4257072"/>
                  </a:cubicBezTo>
                  <a:cubicBezTo>
                    <a:pt x="2401516" y="4257072"/>
                    <a:pt x="2401516" y="4257072"/>
                    <a:pt x="2405963" y="4257072"/>
                  </a:cubicBezTo>
                  <a:cubicBezTo>
                    <a:pt x="2405963" y="4257072"/>
                    <a:pt x="2405963" y="4257072"/>
                    <a:pt x="2405963" y="4351188"/>
                  </a:cubicBezTo>
                  <a:cubicBezTo>
                    <a:pt x="2405963" y="4351188"/>
                    <a:pt x="2405963" y="4351188"/>
                    <a:pt x="2459323" y="4349287"/>
                  </a:cubicBezTo>
                  <a:cubicBezTo>
                    <a:pt x="2459323" y="4349287"/>
                    <a:pt x="2459323" y="4349287"/>
                    <a:pt x="2459323" y="4257072"/>
                  </a:cubicBezTo>
                  <a:cubicBezTo>
                    <a:pt x="2459323" y="4257072"/>
                    <a:pt x="2459323" y="4257072"/>
                    <a:pt x="2463769" y="4257072"/>
                  </a:cubicBezTo>
                  <a:cubicBezTo>
                    <a:pt x="2463769" y="4257072"/>
                    <a:pt x="2463769" y="4257072"/>
                    <a:pt x="2463769" y="4348970"/>
                  </a:cubicBezTo>
                  <a:cubicBezTo>
                    <a:pt x="2463769" y="4348970"/>
                    <a:pt x="2463769" y="4348970"/>
                    <a:pt x="2517129" y="4346752"/>
                  </a:cubicBezTo>
                  <a:cubicBezTo>
                    <a:pt x="2517129" y="4346752"/>
                    <a:pt x="2517129" y="4346752"/>
                    <a:pt x="2517129" y="4254220"/>
                  </a:cubicBezTo>
                  <a:lnTo>
                    <a:pt x="2521576" y="4254220"/>
                  </a:lnTo>
                  <a:cubicBezTo>
                    <a:pt x="2521576" y="4254220"/>
                    <a:pt x="2521576" y="4254220"/>
                    <a:pt x="2521576" y="4346752"/>
                  </a:cubicBezTo>
                  <a:cubicBezTo>
                    <a:pt x="2521576" y="4346752"/>
                    <a:pt x="2521576" y="4346752"/>
                    <a:pt x="2572712" y="4344533"/>
                  </a:cubicBezTo>
                  <a:cubicBezTo>
                    <a:pt x="2572712" y="4344533"/>
                    <a:pt x="2572712" y="4344533"/>
                    <a:pt x="2572712" y="4251051"/>
                  </a:cubicBezTo>
                  <a:close/>
                  <a:moveTo>
                    <a:pt x="374155" y="4250735"/>
                  </a:moveTo>
                  <a:cubicBezTo>
                    <a:pt x="374155" y="4250735"/>
                    <a:pt x="374155" y="4250735"/>
                    <a:pt x="444349" y="4308725"/>
                  </a:cubicBezTo>
                  <a:cubicBezTo>
                    <a:pt x="444349" y="4308725"/>
                    <a:pt x="444349" y="4308725"/>
                    <a:pt x="423069" y="4330273"/>
                  </a:cubicBezTo>
                  <a:cubicBezTo>
                    <a:pt x="423069" y="4330273"/>
                    <a:pt x="423069" y="4330273"/>
                    <a:pt x="397659" y="4316013"/>
                  </a:cubicBezTo>
                  <a:cubicBezTo>
                    <a:pt x="397659" y="4316013"/>
                    <a:pt x="397659" y="4316013"/>
                    <a:pt x="360498" y="4322034"/>
                  </a:cubicBezTo>
                  <a:cubicBezTo>
                    <a:pt x="360498" y="4322034"/>
                    <a:pt x="360498" y="4322034"/>
                    <a:pt x="324289" y="4376856"/>
                  </a:cubicBezTo>
                  <a:cubicBezTo>
                    <a:pt x="324289" y="4376856"/>
                    <a:pt x="324289" y="4376856"/>
                    <a:pt x="339535" y="4387313"/>
                  </a:cubicBezTo>
                  <a:cubicBezTo>
                    <a:pt x="339535" y="4387313"/>
                    <a:pt x="339535" y="4387313"/>
                    <a:pt x="377014" y="4331224"/>
                  </a:cubicBezTo>
                  <a:lnTo>
                    <a:pt x="407505" y="4350554"/>
                  </a:lnTo>
                  <a:cubicBezTo>
                    <a:pt x="407505" y="4350554"/>
                    <a:pt x="407505" y="4350554"/>
                    <a:pt x="353192" y="4431044"/>
                  </a:cubicBezTo>
                  <a:cubicBezTo>
                    <a:pt x="353192" y="4431044"/>
                    <a:pt x="353192" y="4431044"/>
                    <a:pt x="281093" y="4386363"/>
                  </a:cubicBezTo>
                  <a:cubicBezTo>
                    <a:pt x="281093" y="4386363"/>
                    <a:pt x="281093" y="4386363"/>
                    <a:pt x="336676" y="4301754"/>
                  </a:cubicBezTo>
                  <a:cubicBezTo>
                    <a:pt x="336676" y="4301754"/>
                    <a:pt x="336676" y="4301754"/>
                    <a:pt x="356369" y="4289395"/>
                  </a:cubicBezTo>
                  <a:cubicBezTo>
                    <a:pt x="356369" y="4289395"/>
                    <a:pt x="356369" y="4289395"/>
                    <a:pt x="374155" y="4250735"/>
                  </a:cubicBezTo>
                  <a:close/>
                  <a:moveTo>
                    <a:pt x="1856482" y="4250101"/>
                  </a:moveTo>
                  <a:cubicBezTo>
                    <a:pt x="1853624" y="4272917"/>
                    <a:pt x="1850765" y="4294148"/>
                    <a:pt x="1848224" y="4312845"/>
                  </a:cubicBezTo>
                  <a:cubicBezTo>
                    <a:pt x="1848224" y="4312845"/>
                    <a:pt x="1848224" y="4312845"/>
                    <a:pt x="2033078" y="4327105"/>
                  </a:cubicBezTo>
                  <a:cubicBezTo>
                    <a:pt x="2033078" y="4327105"/>
                    <a:pt x="2033078" y="4327105"/>
                    <a:pt x="2039748" y="4264361"/>
                  </a:cubicBezTo>
                  <a:close/>
                  <a:moveTo>
                    <a:pt x="1242525" y="4249784"/>
                  </a:moveTo>
                  <a:cubicBezTo>
                    <a:pt x="1230456" y="4251685"/>
                    <a:pt x="1190436" y="4257706"/>
                    <a:pt x="1150733" y="4263727"/>
                  </a:cubicBezTo>
                  <a:lnTo>
                    <a:pt x="1139934" y="4438649"/>
                  </a:lnTo>
                  <a:cubicBezTo>
                    <a:pt x="1139934" y="4438649"/>
                    <a:pt x="1139934" y="4438649"/>
                    <a:pt x="1327012" y="4506146"/>
                  </a:cubicBezTo>
                  <a:cubicBezTo>
                    <a:pt x="1327012" y="4506146"/>
                    <a:pt x="1327012" y="4506146"/>
                    <a:pt x="1300967" y="4461782"/>
                  </a:cubicBezTo>
                  <a:cubicBezTo>
                    <a:pt x="1300967" y="4461782"/>
                    <a:pt x="1300967" y="4461782"/>
                    <a:pt x="1307319" y="4431361"/>
                  </a:cubicBezTo>
                  <a:cubicBezTo>
                    <a:pt x="1307319" y="4431361"/>
                    <a:pt x="1307319" y="4431361"/>
                    <a:pt x="1242525" y="4361645"/>
                  </a:cubicBezTo>
                  <a:cubicBezTo>
                    <a:pt x="1242525" y="4361645"/>
                    <a:pt x="1242525" y="4361645"/>
                    <a:pt x="1242525" y="4249784"/>
                  </a:cubicBezTo>
                  <a:close/>
                  <a:moveTo>
                    <a:pt x="2626708" y="4249467"/>
                  </a:moveTo>
                  <a:cubicBezTo>
                    <a:pt x="2611780" y="4249784"/>
                    <a:pt x="2594946" y="4250418"/>
                    <a:pt x="2577159" y="4251051"/>
                  </a:cubicBezTo>
                  <a:cubicBezTo>
                    <a:pt x="2577159" y="4251051"/>
                    <a:pt x="2577159" y="4251051"/>
                    <a:pt x="2577159" y="4315697"/>
                  </a:cubicBezTo>
                  <a:cubicBezTo>
                    <a:pt x="2577159" y="4315697"/>
                    <a:pt x="2577159" y="4315697"/>
                    <a:pt x="2578747" y="4315697"/>
                  </a:cubicBezTo>
                  <a:cubicBezTo>
                    <a:pt x="2578747" y="4315697"/>
                    <a:pt x="2578747" y="4315697"/>
                    <a:pt x="2624802" y="4314746"/>
                  </a:cubicBezTo>
                  <a:cubicBezTo>
                    <a:pt x="2624802" y="4314746"/>
                    <a:pt x="2624802" y="4314746"/>
                    <a:pt x="2625437" y="4337245"/>
                  </a:cubicBezTo>
                  <a:lnTo>
                    <a:pt x="2577159" y="4338196"/>
                  </a:lnTo>
                  <a:cubicBezTo>
                    <a:pt x="2577159" y="4338196"/>
                    <a:pt x="2577159" y="4338196"/>
                    <a:pt x="2577159" y="4344533"/>
                  </a:cubicBezTo>
                  <a:cubicBezTo>
                    <a:pt x="2577159" y="4344533"/>
                    <a:pt x="2577159" y="4344533"/>
                    <a:pt x="2626708" y="4342632"/>
                  </a:cubicBezTo>
                  <a:cubicBezTo>
                    <a:pt x="2626708" y="4342632"/>
                    <a:pt x="2626708" y="4342632"/>
                    <a:pt x="2626708" y="4249467"/>
                  </a:cubicBezTo>
                  <a:close/>
                  <a:moveTo>
                    <a:pt x="1455965" y="4248199"/>
                  </a:moveTo>
                  <a:cubicBezTo>
                    <a:pt x="1452789" y="4265628"/>
                    <a:pt x="1448660" y="4292247"/>
                    <a:pt x="1447072" y="4304606"/>
                  </a:cubicBezTo>
                  <a:cubicBezTo>
                    <a:pt x="1446119" y="4312845"/>
                    <a:pt x="1441354" y="4346118"/>
                    <a:pt x="1436273" y="4379708"/>
                  </a:cubicBezTo>
                  <a:cubicBezTo>
                    <a:pt x="1431191" y="4413615"/>
                    <a:pt x="1426109" y="4446888"/>
                    <a:pt x="1423885" y="4456078"/>
                  </a:cubicBezTo>
                  <a:cubicBezTo>
                    <a:pt x="1419756" y="4472556"/>
                    <a:pt x="1414992" y="4486499"/>
                    <a:pt x="1405464" y="4500759"/>
                  </a:cubicBezTo>
                  <a:cubicBezTo>
                    <a:pt x="1402605" y="4504879"/>
                    <a:pt x="1399111" y="4509632"/>
                    <a:pt x="1395617" y="4514385"/>
                  </a:cubicBezTo>
                  <a:cubicBezTo>
                    <a:pt x="1419439" y="4515019"/>
                    <a:pt x="1473752" y="4515653"/>
                    <a:pt x="1488680" y="4515653"/>
                  </a:cubicBezTo>
                  <a:cubicBezTo>
                    <a:pt x="1489315" y="4515653"/>
                    <a:pt x="1489950" y="4515653"/>
                    <a:pt x="1490585" y="4515653"/>
                  </a:cubicBezTo>
                  <a:cubicBezTo>
                    <a:pt x="1491538" y="4504562"/>
                    <a:pt x="1495032" y="4452275"/>
                    <a:pt x="1498208" y="4401256"/>
                  </a:cubicBezTo>
                  <a:cubicBezTo>
                    <a:pt x="1501702" y="4350554"/>
                    <a:pt x="1504878" y="4301437"/>
                    <a:pt x="1505196" y="4293514"/>
                  </a:cubicBezTo>
                  <a:cubicBezTo>
                    <a:pt x="1505196" y="4293514"/>
                    <a:pt x="1505196" y="4293514"/>
                    <a:pt x="1455965" y="4248199"/>
                  </a:cubicBezTo>
                  <a:close/>
                  <a:moveTo>
                    <a:pt x="2685467" y="4247566"/>
                  </a:moveTo>
                  <a:cubicBezTo>
                    <a:pt x="2679115" y="4247883"/>
                    <a:pt x="2658787" y="4248516"/>
                    <a:pt x="2631154" y="4249150"/>
                  </a:cubicBezTo>
                  <a:cubicBezTo>
                    <a:pt x="2631154" y="4249150"/>
                    <a:pt x="2631154" y="4249150"/>
                    <a:pt x="2631154" y="4342315"/>
                  </a:cubicBezTo>
                  <a:lnTo>
                    <a:pt x="2685467" y="4340097"/>
                  </a:lnTo>
                  <a:cubicBezTo>
                    <a:pt x="2685467" y="4340097"/>
                    <a:pt x="2685467" y="4340097"/>
                    <a:pt x="2685467" y="4247566"/>
                  </a:cubicBezTo>
                  <a:close/>
                  <a:moveTo>
                    <a:pt x="1671946" y="4246615"/>
                  </a:moveTo>
                  <a:cubicBezTo>
                    <a:pt x="1671946" y="4246615"/>
                    <a:pt x="1671946" y="4246615"/>
                    <a:pt x="1614457" y="4273234"/>
                  </a:cubicBezTo>
                  <a:lnTo>
                    <a:pt x="1595400" y="4383827"/>
                  </a:lnTo>
                  <a:cubicBezTo>
                    <a:pt x="1595400" y="4383827"/>
                    <a:pt x="1595400" y="4383827"/>
                    <a:pt x="1596035" y="4393968"/>
                  </a:cubicBezTo>
                  <a:cubicBezTo>
                    <a:pt x="1596035" y="4393968"/>
                    <a:pt x="1596035" y="4393968"/>
                    <a:pt x="1625256" y="4371152"/>
                  </a:cubicBezTo>
                  <a:cubicBezTo>
                    <a:pt x="1625256" y="4371152"/>
                    <a:pt x="1625256" y="4371152"/>
                    <a:pt x="1631291" y="4341681"/>
                  </a:cubicBezTo>
                  <a:cubicBezTo>
                    <a:pt x="1631291" y="4341681"/>
                    <a:pt x="1631291" y="4341681"/>
                    <a:pt x="1631926" y="4337879"/>
                  </a:cubicBezTo>
                  <a:cubicBezTo>
                    <a:pt x="1631926" y="4337879"/>
                    <a:pt x="1631926" y="4337879"/>
                    <a:pt x="1636055" y="4338196"/>
                  </a:cubicBezTo>
                  <a:cubicBezTo>
                    <a:pt x="1636055" y="4338196"/>
                    <a:pt x="1636055" y="4338196"/>
                    <a:pt x="1649395" y="4339146"/>
                  </a:cubicBezTo>
                  <a:cubicBezTo>
                    <a:pt x="1649395" y="4339146"/>
                    <a:pt x="1649395" y="4339146"/>
                    <a:pt x="1658923" y="4321084"/>
                  </a:cubicBezTo>
                  <a:cubicBezTo>
                    <a:pt x="1658923" y="4321084"/>
                    <a:pt x="1658923" y="4321084"/>
                    <a:pt x="1641772" y="4313478"/>
                  </a:cubicBezTo>
                  <a:cubicBezTo>
                    <a:pt x="1641772" y="4313478"/>
                    <a:pt x="1641772" y="4313478"/>
                    <a:pt x="1638913" y="4312211"/>
                  </a:cubicBezTo>
                  <a:cubicBezTo>
                    <a:pt x="1638913" y="4312211"/>
                    <a:pt x="1638913" y="4312211"/>
                    <a:pt x="1638913" y="4309042"/>
                  </a:cubicBezTo>
                  <a:cubicBezTo>
                    <a:pt x="1638913" y="4309042"/>
                    <a:pt x="1638913" y="4309042"/>
                    <a:pt x="1640819" y="4287494"/>
                  </a:cubicBezTo>
                  <a:cubicBezTo>
                    <a:pt x="1640819" y="4287494"/>
                    <a:pt x="1640819" y="4287494"/>
                    <a:pt x="1641137" y="4285592"/>
                  </a:cubicBezTo>
                  <a:cubicBezTo>
                    <a:pt x="1641137" y="4285592"/>
                    <a:pt x="1641137" y="4285592"/>
                    <a:pt x="1642725" y="4284642"/>
                  </a:cubicBezTo>
                  <a:cubicBezTo>
                    <a:pt x="1642725" y="4284642"/>
                    <a:pt x="1642725" y="4284642"/>
                    <a:pt x="1665276" y="4266262"/>
                  </a:cubicBezTo>
                  <a:cubicBezTo>
                    <a:pt x="1665276" y="4266262"/>
                    <a:pt x="1665276" y="4266262"/>
                    <a:pt x="1670040" y="4262143"/>
                  </a:cubicBezTo>
                  <a:cubicBezTo>
                    <a:pt x="1670040" y="4262143"/>
                    <a:pt x="1670040" y="4262143"/>
                    <a:pt x="1672263" y="4268163"/>
                  </a:cubicBezTo>
                  <a:cubicBezTo>
                    <a:pt x="1672263" y="4268163"/>
                    <a:pt x="1672263" y="4268163"/>
                    <a:pt x="1678616" y="4286543"/>
                  </a:cubicBezTo>
                  <a:cubicBezTo>
                    <a:pt x="1678616" y="4286543"/>
                    <a:pt x="1678616" y="4286543"/>
                    <a:pt x="1686874" y="4251051"/>
                  </a:cubicBezTo>
                  <a:cubicBezTo>
                    <a:pt x="1686874" y="4251051"/>
                    <a:pt x="1686874" y="4251051"/>
                    <a:pt x="1671946" y="4246615"/>
                  </a:cubicBezTo>
                  <a:close/>
                  <a:moveTo>
                    <a:pt x="1730070" y="4243129"/>
                  </a:moveTo>
                  <a:lnTo>
                    <a:pt x="1722447" y="4288127"/>
                  </a:lnTo>
                  <a:cubicBezTo>
                    <a:pt x="1729435" y="4289712"/>
                    <a:pt x="1744045" y="4292564"/>
                    <a:pt x="1758973" y="4295416"/>
                  </a:cubicBezTo>
                  <a:cubicBezTo>
                    <a:pt x="1775489" y="4298585"/>
                    <a:pt x="1792641" y="4301754"/>
                    <a:pt x="1800264" y="4302704"/>
                  </a:cubicBezTo>
                  <a:cubicBezTo>
                    <a:pt x="1800264" y="4302704"/>
                    <a:pt x="1800264" y="4302704"/>
                    <a:pt x="1805663" y="4255171"/>
                  </a:cubicBezTo>
                  <a:cubicBezTo>
                    <a:pt x="1798993" y="4254220"/>
                    <a:pt x="1784383" y="4252002"/>
                    <a:pt x="1769455" y="4249784"/>
                  </a:cubicBezTo>
                  <a:cubicBezTo>
                    <a:pt x="1752939" y="4247249"/>
                    <a:pt x="1735787" y="4244080"/>
                    <a:pt x="1730070" y="4243129"/>
                  </a:cubicBezTo>
                  <a:close/>
                  <a:moveTo>
                    <a:pt x="1671628" y="4241862"/>
                  </a:moveTo>
                  <a:cubicBezTo>
                    <a:pt x="1671628" y="4241862"/>
                    <a:pt x="1671628" y="4241862"/>
                    <a:pt x="1692273" y="4247883"/>
                  </a:cubicBezTo>
                  <a:cubicBezTo>
                    <a:pt x="1692273" y="4247883"/>
                    <a:pt x="1692273" y="4247883"/>
                    <a:pt x="1679569" y="4302387"/>
                  </a:cubicBezTo>
                  <a:cubicBezTo>
                    <a:pt x="1679569" y="4302387"/>
                    <a:pt x="1679569" y="4302387"/>
                    <a:pt x="1668134" y="4269748"/>
                  </a:cubicBezTo>
                  <a:cubicBezTo>
                    <a:pt x="1668134" y="4269748"/>
                    <a:pt x="1668134" y="4269748"/>
                    <a:pt x="1645266" y="4288127"/>
                  </a:cubicBezTo>
                  <a:cubicBezTo>
                    <a:pt x="1645266" y="4288127"/>
                    <a:pt x="1645266" y="4288127"/>
                    <a:pt x="1643360" y="4309359"/>
                  </a:cubicBezTo>
                  <a:cubicBezTo>
                    <a:pt x="1643360" y="4309359"/>
                    <a:pt x="1643360" y="4309359"/>
                    <a:pt x="1665276" y="4318865"/>
                  </a:cubicBezTo>
                  <a:cubicBezTo>
                    <a:pt x="1665276" y="4318865"/>
                    <a:pt x="1665276" y="4318865"/>
                    <a:pt x="1651936" y="4343900"/>
                  </a:cubicBezTo>
                  <a:cubicBezTo>
                    <a:pt x="1651936" y="4343900"/>
                    <a:pt x="1651936" y="4343900"/>
                    <a:pt x="1635737" y="4342632"/>
                  </a:cubicBezTo>
                  <a:cubicBezTo>
                    <a:pt x="1635737" y="4342632"/>
                    <a:pt x="1635737" y="4342632"/>
                    <a:pt x="1629067" y="4373687"/>
                  </a:cubicBezTo>
                  <a:lnTo>
                    <a:pt x="1591906" y="4402841"/>
                  </a:lnTo>
                  <a:cubicBezTo>
                    <a:pt x="1591906" y="4402841"/>
                    <a:pt x="1591906" y="4402841"/>
                    <a:pt x="1590953" y="4383827"/>
                  </a:cubicBezTo>
                  <a:cubicBezTo>
                    <a:pt x="1590953" y="4383827"/>
                    <a:pt x="1590953" y="4383827"/>
                    <a:pt x="1610645" y="4270382"/>
                  </a:cubicBezTo>
                  <a:cubicBezTo>
                    <a:pt x="1610645" y="4270382"/>
                    <a:pt x="1610645" y="4270382"/>
                    <a:pt x="1671628" y="4241862"/>
                  </a:cubicBezTo>
                  <a:close/>
                  <a:moveTo>
                    <a:pt x="526612" y="4238376"/>
                  </a:moveTo>
                  <a:cubicBezTo>
                    <a:pt x="522483" y="4244714"/>
                    <a:pt x="515496" y="4255171"/>
                    <a:pt x="509143" y="4265311"/>
                  </a:cubicBezTo>
                  <a:cubicBezTo>
                    <a:pt x="499615" y="4280205"/>
                    <a:pt x="490721" y="4294148"/>
                    <a:pt x="490721" y="4294148"/>
                  </a:cubicBezTo>
                  <a:cubicBezTo>
                    <a:pt x="490721" y="4294148"/>
                    <a:pt x="490721" y="4294148"/>
                    <a:pt x="490404" y="4294465"/>
                  </a:cubicBezTo>
                  <a:lnTo>
                    <a:pt x="431327" y="4375588"/>
                  </a:lnTo>
                  <a:cubicBezTo>
                    <a:pt x="431327" y="4375588"/>
                    <a:pt x="431327" y="4375588"/>
                    <a:pt x="486592" y="4394285"/>
                  </a:cubicBezTo>
                  <a:cubicBezTo>
                    <a:pt x="486592" y="4394285"/>
                    <a:pt x="486592" y="4394285"/>
                    <a:pt x="506602" y="4406327"/>
                  </a:cubicBezTo>
                  <a:cubicBezTo>
                    <a:pt x="506602" y="4406327"/>
                    <a:pt x="506602" y="4406327"/>
                    <a:pt x="597759" y="4264361"/>
                  </a:cubicBezTo>
                  <a:cubicBezTo>
                    <a:pt x="597759" y="4264361"/>
                    <a:pt x="597759" y="4264361"/>
                    <a:pt x="526612" y="4238376"/>
                  </a:cubicBezTo>
                  <a:close/>
                  <a:moveTo>
                    <a:pt x="971279" y="4235207"/>
                  </a:moveTo>
                  <a:cubicBezTo>
                    <a:pt x="968420" y="4235841"/>
                    <a:pt x="960162" y="4237108"/>
                    <a:pt x="950951" y="4239327"/>
                  </a:cubicBezTo>
                  <a:cubicBezTo>
                    <a:pt x="941422" y="4241545"/>
                    <a:pt x="930623" y="4244714"/>
                    <a:pt x="924589" y="4247883"/>
                  </a:cubicBezTo>
                  <a:cubicBezTo>
                    <a:pt x="927765" y="4249784"/>
                    <a:pt x="933482" y="4253270"/>
                    <a:pt x="938881" y="4256439"/>
                  </a:cubicBezTo>
                  <a:cubicBezTo>
                    <a:pt x="944916" y="4259924"/>
                    <a:pt x="950951" y="4263410"/>
                    <a:pt x="953174" y="4264678"/>
                  </a:cubicBezTo>
                  <a:cubicBezTo>
                    <a:pt x="953174" y="4264678"/>
                    <a:pt x="953174" y="4264678"/>
                    <a:pt x="978584" y="4255488"/>
                  </a:cubicBezTo>
                  <a:cubicBezTo>
                    <a:pt x="978584" y="4255488"/>
                    <a:pt x="978584" y="4255488"/>
                    <a:pt x="1023050" y="4304289"/>
                  </a:cubicBezTo>
                  <a:cubicBezTo>
                    <a:pt x="1023050" y="4304289"/>
                    <a:pt x="1023050" y="4304289"/>
                    <a:pt x="1035438" y="4278304"/>
                  </a:cubicBezTo>
                  <a:cubicBezTo>
                    <a:pt x="1035438" y="4278304"/>
                    <a:pt x="1035438" y="4278304"/>
                    <a:pt x="971279" y="4235207"/>
                  </a:cubicBezTo>
                  <a:close/>
                  <a:moveTo>
                    <a:pt x="362086" y="4234256"/>
                  </a:moveTo>
                  <a:lnTo>
                    <a:pt x="271247" y="4387630"/>
                  </a:lnTo>
                  <a:cubicBezTo>
                    <a:pt x="271247" y="4387630"/>
                    <a:pt x="271247" y="4387630"/>
                    <a:pt x="355098" y="4439917"/>
                  </a:cubicBezTo>
                  <a:cubicBezTo>
                    <a:pt x="355098" y="4439917"/>
                    <a:pt x="355416" y="4439600"/>
                    <a:pt x="355416" y="4439600"/>
                  </a:cubicBezTo>
                  <a:cubicBezTo>
                    <a:pt x="356051" y="4438649"/>
                    <a:pt x="356369" y="4438015"/>
                    <a:pt x="357321" y="4436748"/>
                  </a:cubicBezTo>
                  <a:cubicBezTo>
                    <a:pt x="365580" y="4425974"/>
                    <a:pt x="393848" y="4389848"/>
                    <a:pt x="393848" y="4389848"/>
                  </a:cubicBezTo>
                  <a:cubicBezTo>
                    <a:pt x="393848" y="4389848"/>
                    <a:pt x="393848" y="4389848"/>
                    <a:pt x="451019" y="4311260"/>
                  </a:cubicBezTo>
                  <a:cubicBezTo>
                    <a:pt x="451019" y="4311260"/>
                    <a:pt x="451019" y="4311260"/>
                    <a:pt x="363356" y="4235207"/>
                  </a:cubicBezTo>
                  <a:cubicBezTo>
                    <a:pt x="363356" y="4235207"/>
                    <a:pt x="363356" y="4235207"/>
                    <a:pt x="362086" y="4234256"/>
                  </a:cubicBezTo>
                  <a:close/>
                  <a:moveTo>
                    <a:pt x="1680521" y="4233306"/>
                  </a:moveTo>
                  <a:cubicBezTo>
                    <a:pt x="1680521" y="4233306"/>
                    <a:pt x="1680521" y="4233306"/>
                    <a:pt x="1603022" y="4233623"/>
                  </a:cubicBezTo>
                  <a:cubicBezTo>
                    <a:pt x="1603022" y="4233623"/>
                    <a:pt x="1603022" y="4233940"/>
                    <a:pt x="1603022" y="4233940"/>
                  </a:cubicBezTo>
                  <a:cubicBezTo>
                    <a:pt x="1602387" y="4239960"/>
                    <a:pt x="1601752" y="4250418"/>
                    <a:pt x="1600482" y="4261509"/>
                  </a:cubicBezTo>
                  <a:cubicBezTo>
                    <a:pt x="1597941" y="4282106"/>
                    <a:pt x="1594764" y="4305556"/>
                    <a:pt x="1593176" y="4315697"/>
                  </a:cubicBezTo>
                  <a:cubicBezTo>
                    <a:pt x="1591588" y="4326788"/>
                    <a:pt x="1586189" y="4363547"/>
                    <a:pt x="1583648" y="4392067"/>
                  </a:cubicBezTo>
                  <a:cubicBezTo>
                    <a:pt x="1583648" y="4394602"/>
                    <a:pt x="1583330" y="4400623"/>
                    <a:pt x="1583330" y="4407277"/>
                  </a:cubicBezTo>
                  <a:cubicBezTo>
                    <a:pt x="1583330" y="4413615"/>
                    <a:pt x="1583648" y="4420270"/>
                    <a:pt x="1584283" y="4424072"/>
                  </a:cubicBezTo>
                  <a:cubicBezTo>
                    <a:pt x="1584283" y="4424072"/>
                    <a:pt x="1584283" y="4424072"/>
                    <a:pt x="1584283" y="4425657"/>
                  </a:cubicBezTo>
                  <a:cubicBezTo>
                    <a:pt x="1584283" y="4427241"/>
                    <a:pt x="1584601" y="4429142"/>
                    <a:pt x="1584918" y="4430727"/>
                  </a:cubicBezTo>
                  <a:cubicBezTo>
                    <a:pt x="1591588" y="4425974"/>
                    <a:pt x="1603658" y="4416784"/>
                    <a:pt x="1616045" y="4407277"/>
                  </a:cubicBezTo>
                  <a:cubicBezTo>
                    <a:pt x="1624938" y="4400623"/>
                    <a:pt x="1634149" y="4393651"/>
                    <a:pt x="1640819" y="4388581"/>
                  </a:cubicBezTo>
                  <a:cubicBezTo>
                    <a:pt x="1644313" y="4386046"/>
                    <a:pt x="1647171" y="4383827"/>
                    <a:pt x="1649395" y="4382243"/>
                  </a:cubicBezTo>
                  <a:cubicBezTo>
                    <a:pt x="1650348" y="4381609"/>
                    <a:pt x="1651301" y="4380975"/>
                    <a:pt x="1651618" y="4380659"/>
                  </a:cubicBezTo>
                  <a:cubicBezTo>
                    <a:pt x="1652253" y="4380342"/>
                    <a:pt x="1652253" y="4380025"/>
                    <a:pt x="1652571" y="4380025"/>
                  </a:cubicBezTo>
                  <a:cubicBezTo>
                    <a:pt x="1653524" y="4378757"/>
                    <a:pt x="1657018" y="4372420"/>
                    <a:pt x="1661464" y="4364497"/>
                  </a:cubicBezTo>
                  <a:cubicBezTo>
                    <a:pt x="1676392" y="4337562"/>
                    <a:pt x="1704025" y="4286543"/>
                    <a:pt x="1704343" y="4286543"/>
                  </a:cubicBezTo>
                  <a:cubicBezTo>
                    <a:pt x="1704343" y="4286543"/>
                    <a:pt x="1704343" y="4286543"/>
                    <a:pt x="1704978" y="4284958"/>
                  </a:cubicBezTo>
                  <a:cubicBezTo>
                    <a:pt x="1704978" y="4284958"/>
                    <a:pt x="1704978" y="4284958"/>
                    <a:pt x="1717365" y="4286543"/>
                  </a:cubicBezTo>
                  <a:cubicBezTo>
                    <a:pt x="1717365" y="4286543"/>
                    <a:pt x="1717365" y="4286543"/>
                    <a:pt x="1724988" y="4242495"/>
                  </a:cubicBezTo>
                  <a:cubicBezTo>
                    <a:pt x="1724988" y="4242495"/>
                    <a:pt x="1724988" y="4242495"/>
                    <a:pt x="1680521" y="4233306"/>
                  </a:cubicBezTo>
                  <a:close/>
                  <a:moveTo>
                    <a:pt x="971279" y="4230454"/>
                  </a:moveTo>
                  <a:cubicBezTo>
                    <a:pt x="971279" y="4230454"/>
                    <a:pt x="971279" y="4230454"/>
                    <a:pt x="972231" y="4230454"/>
                  </a:cubicBezTo>
                  <a:cubicBezTo>
                    <a:pt x="972231" y="4230454"/>
                    <a:pt x="972231" y="4230454"/>
                    <a:pt x="1041472" y="4276719"/>
                  </a:cubicBezTo>
                  <a:cubicBezTo>
                    <a:pt x="1041472" y="4276719"/>
                    <a:pt x="1041472" y="4276719"/>
                    <a:pt x="1040520" y="4278621"/>
                  </a:cubicBezTo>
                  <a:cubicBezTo>
                    <a:pt x="1040520" y="4278621"/>
                    <a:pt x="1040520" y="4278621"/>
                    <a:pt x="1024321" y="4312528"/>
                  </a:cubicBezTo>
                  <a:cubicBezTo>
                    <a:pt x="1024321" y="4312528"/>
                    <a:pt x="1024321" y="4312528"/>
                    <a:pt x="977313" y="4260875"/>
                  </a:cubicBezTo>
                  <a:cubicBezTo>
                    <a:pt x="977313" y="4260875"/>
                    <a:pt x="977313" y="4260875"/>
                    <a:pt x="952857" y="4269748"/>
                  </a:cubicBezTo>
                  <a:cubicBezTo>
                    <a:pt x="952857" y="4269748"/>
                    <a:pt x="952857" y="4269748"/>
                    <a:pt x="951904" y="4269114"/>
                  </a:cubicBezTo>
                  <a:cubicBezTo>
                    <a:pt x="951904" y="4269114"/>
                    <a:pt x="943963" y="4264678"/>
                    <a:pt x="935705" y="4259924"/>
                  </a:cubicBezTo>
                  <a:cubicBezTo>
                    <a:pt x="931576" y="4257706"/>
                    <a:pt x="927765" y="4255171"/>
                    <a:pt x="924589" y="4253270"/>
                  </a:cubicBezTo>
                  <a:cubicBezTo>
                    <a:pt x="923001" y="4252319"/>
                    <a:pt x="921730" y="4251685"/>
                    <a:pt x="920777" y="4250735"/>
                  </a:cubicBezTo>
                  <a:cubicBezTo>
                    <a:pt x="920142" y="4250418"/>
                    <a:pt x="919824" y="4250418"/>
                    <a:pt x="919507" y="4250101"/>
                  </a:cubicBezTo>
                  <a:cubicBezTo>
                    <a:pt x="919189" y="4249784"/>
                    <a:pt x="918872" y="4249784"/>
                    <a:pt x="918236" y="4248516"/>
                  </a:cubicBezTo>
                  <a:cubicBezTo>
                    <a:pt x="918236" y="4248516"/>
                    <a:pt x="918236" y="4248516"/>
                    <a:pt x="917601" y="4246932"/>
                  </a:cubicBezTo>
                  <a:cubicBezTo>
                    <a:pt x="917601" y="4246932"/>
                    <a:pt x="917601" y="4246932"/>
                    <a:pt x="919189" y="4245981"/>
                  </a:cubicBezTo>
                  <a:cubicBezTo>
                    <a:pt x="931576" y="4236475"/>
                    <a:pt x="971279" y="4230454"/>
                    <a:pt x="971279" y="4230454"/>
                  </a:cubicBezTo>
                  <a:close/>
                  <a:moveTo>
                    <a:pt x="2064522" y="4229186"/>
                  </a:moveTo>
                  <a:cubicBezTo>
                    <a:pt x="2064522" y="4229186"/>
                    <a:pt x="2064522" y="4229186"/>
                    <a:pt x="2047371" y="4387630"/>
                  </a:cubicBezTo>
                  <a:cubicBezTo>
                    <a:pt x="2089932" y="4382877"/>
                    <a:pt x="2131858" y="4377173"/>
                    <a:pt x="2172830" y="4368617"/>
                  </a:cubicBezTo>
                  <a:cubicBezTo>
                    <a:pt x="2178230" y="4367666"/>
                    <a:pt x="2184582" y="4366716"/>
                    <a:pt x="2190935" y="4365765"/>
                  </a:cubicBezTo>
                  <a:cubicBezTo>
                    <a:pt x="2190935" y="4365765"/>
                    <a:pt x="2190935" y="4365765"/>
                    <a:pt x="2171242" y="4244397"/>
                  </a:cubicBezTo>
                  <a:cubicBezTo>
                    <a:pt x="2165208" y="4243446"/>
                    <a:pt x="2138845" y="4239643"/>
                    <a:pt x="2112800" y="4235841"/>
                  </a:cubicBezTo>
                  <a:cubicBezTo>
                    <a:pt x="2093743" y="4233306"/>
                    <a:pt x="2075004" y="4230771"/>
                    <a:pt x="2064522" y="4229186"/>
                  </a:cubicBezTo>
                  <a:close/>
                  <a:moveTo>
                    <a:pt x="974137" y="4222532"/>
                  </a:moveTo>
                  <a:cubicBezTo>
                    <a:pt x="961750" y="4224750"/>
                    <a:pt x="950633" y="4227602"/>
                    <a:pt x="941740" y="4230771"/>
                  </a:cubicBezTo>
                  <a:cubicBezTo>
                    <a:pt x="921730" y="4237742"/>
                    <a:pt x="908072" y="4243129"/>
                    <a:pt x="901402" y="4253903"/>
                  </a:cubicBezTo>
                  <a:cubicBezTo>
                    <a:pt x="890603" y="4271015"/>
                    <a:pt x="882345" y="4295733"/>
                    <a:pt x="876946" y="4316013"/>
                  </a:cubicBezTo>
                  <a:cubicBezTo>
                    <a:pt x="874405" y="4325837"/>
                    <a:pt x="872499" y="4334710"/>
                    <a:pt x="871229" y="4341365"/>
                  </a:cubicBezTo>
                  <a:lnTo>
                    <a:pt x="1004311" y="4389531"/>
                  </a:lnTo>
                  <a:cubicBezTo>
                    <a:pt x="1004311" y="4389531"/>
                    <a:pt x="1004311" y="4389531"/>
                    <a:pt x="1052271" y="4275135"/>
                  </a:cubicBezTo>
                  <a:cubicBezTo>
                    <a:pt x="1051954" y="4275135"/>
                    <a:pt x="1051954" y="4275135"/>
                    <a:pt x="1051636" y="4274818"/>
                  </a:cubicBezTo>
                  <a:cubicBezTo>
                    <a:pt x="1036390" y="4265628"/>
                    <a:pt x="989383" y="4233306"/>
                    <a:pt x="974137" y="4222532"/>
                  </a:cubicBezTo>
                  <a:close/>
                  <a:moveTo>
                    <a:pt x="1053542" y="4220313"/>
                  </a:moveTo>
                  <a:lnTo>
                    <a:pt x="1006852" y="4226968"/>
                  </a:lnTo>
                  <a:cubicBezTo>
                    <a:pt x="1006852" y="4226968"/>
                    <a:pt x="1006852" y="4226968"/>
                    <a:pt x="1058624" y="4261826"/>
                  </a:cubicBezTo>
                  <a:cubicBezTo>
                    <a:pt x="1058624" y="4261826"/>
                    <a:pt x="1058624" y="4261826"/>
                    <a:pt x="1203140" y="4239643"/>
                  </a:cubicBezTo>
                  <a:cubicBezTo>
                    <a:pt x="1203140" y="4239643"/>
                    <a:pt x="1203140" y="4239643"/>
                    <a:pt x="1189165" y="4234573"/>
                  </a:cubicBezTo>
                  <a:cubicBezTo>
                    <a:pt x="1189165" y="4234573"/>
                    <a:pt x="1189165" y="4234573"/>
                    <a:pt x="1072599" y="4238693"/>
                  </a:cubicBezTo>
                  <a:cubicBezTo>
                    <a:pt x="1072599" y="4238693"/>
                    <a:pt x="1072599" y="4238693"/>
                    <a:pt x="1053542" y="4220313"/>
                  </a:cubicBezTo>
                  <a:close/>
                  <a:moveTo>
                    <a:pt x="86075" y="4219363"/>
                  </a:moveTo>
                  <a:cubicBezTo>
                    <a:pt x="86075" y="4219363"/>
                    <a:pt x="86075" y="4219363"/>
                    <a:pt x="50819" y="4273234"/>
                  </a:cubicBezTo>
                  <a:lnTo>
                    <a:pt x="77182" y="4320133"/>
                  </a:lnTo>
                  <a:cubicBezTo>
                    <a:pt x="77182" y="4320133"/>
                    <a:pt x="77182" y="4320133"/>
                    <a:pt x="176596" y="4329006"/>
                  </a:cubicBezTo>
                  <a:cubicBezTo>
                    <a:pt x="175326" y="4324253"/>
                    <a:pt x="174373" y="4319182"/>
                    <a:pt x="174055" y="4314746"/>
                  </a:cubicBezTo>
                  <a:cubicBezTo>
                    <a:pt x="174055" y="4313161"/>
                    <a:pt x="174373" y="4311894"/>
                    <a:pt x="174373" y="4310309"/>
                  </a:cubicBezTo>
                  <a:cubicBezTo>
                    <a:pt x="175643" y="4302704"/>
                    <a:pt x="180090" y="4277353"/>
                    <a:pt x="184537" y="4254854"/>
                  </a:cubicBezTo>
                  <a:cubicBezTo>
                    <a:pt x="163574" y="4247883"/>
                    <a:pt x="104497" y="4226334"/>
                    <a:pt x="86075" y="4219363"/>
                  </a:cubicBezTo>
                  <a:close/>
                  <a:moveTo>
                    <a:pt x="1055130" y="4215243"/>
                  </a:moveTo>
                  <a:cubicBezTo>
                    <a:pt x="1055130" y="4215243"/>
                    <a:pt x="1055130" y="4215243"/>
                    <a:pt x="1074505" y="4233940"/>
                  </a:cubicBezTo>
                  <a:cubicBezTo>
                    <a:pt x="1074505" y="4233940"/>
                    <a:pt x="1074505" y="4233940"/>
                    <a:pt x="1189800" y="4229820"/>
                  </a:cubicBezTo>
                  <a:cubicBezTo>
                    <a:pt x="1189800" y="4229820"/>
                    <a:pt x="1189800" y="4229820"/>
                    <a:pt x="1190436" y="4230137"/>
                  </a:cubicBezTo>
                  <a:cubicBezTo>
                    <a:pt x="1190436" y="4230137"/>
                    <a:pt x="1190436" y="4230137"/>
                    <a:pt x="1221562" y="4241545"/>
                  </a:cubicBezTo>
                  <a:lnTo>
                    <a:pt x="1057353" y="4266579"/>
                  </a:lnTo>
                  <a:cubicBezTo>
                    <a:pt x="1057353" y="4266579"/>
                    <a:pt x="1057353" y="4266579"/>
                    <a:pt x="994147" y="4224116"/>
                  </a:cubicBezTo>
                  <a:cubicBezTo>
                    <a:pt x="994147" y="4224116"/>
                    <a:pt x="994147" y="4224116"/>
                    <a:pt x="1055130" y="4215243"/>
                  </a:cubicBezTo>
                  <a:close/>
                  <a:moveTo>
                    <a:pt x="311267" y="4211440"/>
                  </a:moveTo>
                  <a:cubicBezTo>
                    <a:pt x="311267" y="4211440"/>
                    <a:pt x="311267" y="4211440"/>
                    <a:pt x="228686" y="4212708"/>
                  </a:cubicBezTo>
                  <a:cubicBezTo>
                    <a:pt x="228686" y="4212708"/>
                    <a:pt x="228686" y="4212708"/>
                    <a:pt x="225192" y="4238059"/>
                  </a:cubicBezTo>
                  <a:cubicBezTo>
                    <a:pt x="225192" y="4238059"/>
                    <a:pt x="225192" y="4238059"/>
                    <a:pt x="273470" y="4239643"/>
                  </a:cubicBezTo>
                  <a:cubicBezTo>
                    <a:pt x="273470" y="4239643"/>
                    <a:pt x="273470" y="4239643"/>
                    <a:pt x="270611" y="4272917"/>
                  </a:cubicBezTo>
                  <a:cubicBezTo>
                    <a:pt x="270611" y="4272917"/>
                    <a:pt x="270611" y="4272917"/>
                    <a:pt x="230909" y="4263093"/>
                  </a:cubicBezTo>
                  <a:lnTo>
                    <a:pt x="213758" y="4304922"/>
                  </a:lnTo>
                  <a:cubicBezTo>
                    <a:pt x="213758" y="4304922"/>
                    <a:pt x="213758" y="4304922"/>
                    <a:pt x="220745" y="4331541"/>
                  </a:cubicBezTo>
                  <a:cubicBezTo>
                    <a:pt x="220745" y="4331541"/>
                    <a:pt x="220745" y="4331541"/>
                    <a:pt x="256954" y="4354040"/>
                  </a:cubicBezTo>
                  <a:cubicBezTo>
                    <a:pt x="256954" y="4354040"/>
                    <a:pt x="256954" y="4354040"/>
                    <a:pt x="281728" y="4312528"/>
                  </a:cubicBezTo>
                  <a:cubicBezTo>
                    <a:pt x="281728" y="4312528"/>
                    <a:pt x="281728" y="4312528"/>
                    <a:pt x="258542" y="4300169"/>
                  </a:cubicBezTo>
                  <a:cubicBezTo>
                    <a:pt x="258542" y="4300169"/>
                    <a:pt x="258542" y="4300169"/>
                    <a:pt x="260765" y="4290662"/>
                  </a:cubicBezTo>
                  <a:cubicBezTo>
                    <a:pt x="260765" y="4290662"/>
                    <a:pt x="260765" y="4290662"/>
                    <a:pt x="308091" y="4275135"/>
                  </a:cubicBezTo>
                  <a:cubicBezTo>
                    <a:pt x="308091" y="4275135"/>
                    <a:pt x="308091" y="4275135"/>
                    <a:pt x="328100" y="4230454"/>
                  </a:cubicBezTo>
                  <a:cubicBezTo>
                    <a:pt x="328100" y="4230454"/>
                    <a:pt x="328100" y="4230454"/>
                    <a:pt x="311267" y="4211440"/>
                  </a:cubicBezTo>
                  <a:close/>
                  <a:moveTo>
                    <a:pt x="2199193" y="4211124"/>
                  </a:moveTo>
                  <a:cubicBezTo>
                    <a:pt x="2198558" y="4212391"/>
                    <a:pt x="2197287" y="4213659"/>
                    <a:pt x="2196017" y="4215877"/>
                  </a:cubicBezTo>
                  <a:cubicBezTo>
                    <a:pt x="2189664" y="4224750"/>
                    <a:pt x="2178230" y="4239643"/>
                    <a:pt x="2175689" y="4243129"/>
                  </a:cubicBezTo>
                  <a:cubicBezTo>
                    <a:pt x="2175689" y="4243129"/>
                    <a:pt x="2175689" y="4243129"/>
                    <a:pt x="2195382" y="4365131"/>
                  </a:cubicBezTo>
                  <a:cubicBezTo>
                    <a:pt x="2238895" y="4358793"/>
                    <a:pt x="2297655" y="4355941"/>
                    <a:pt x="2321158" y="4354674"/>
                  </a:cubicBezTo>
                  <a:cubicBezTo>
                    <a:pt x="2310995" y="4299535"/>
                    <a:pt x="2310995" y="4256439"/>
                    <a:pt x="2310995" y="4256122"/>
                  </a:cubicBezTo>
                  <a:cubicBezTo>
                    <a:pt x="2310995" y="4256122"/>
                    <a:pt x="2310995" y="4256122"/>
                    <a:pt x="2310995" y="4255805"/>
                  </a:cubicBezTo>
                  <a:cubicBezTo>
                    <a:pt x="2310995" y="4255805"/>
                    <a:pt x="2310995" y="4255805"/>
                    <a:pt x="2312265" y="4239010"/>
                  </a:cubicBezTo>
                  <a:cubicBezTo>
                    <a:pt x="2301466" y="4236475"/>
                    <a:pt x="2280186" y="4231088"/>
                    <a:pt x="2258270" y="4226017"/>
                  </a:cubicBezTo>
                  <a:cubicBezTo>
                    <a:pt x="2243024" y="4222215"/>
                    <a:pt x="2227778" y="4218412"/>
                    <a:pt x="2216344" y="4215560"/>
                  </a:cubicBezTo>
                  <a:cubicBezTo>
                    <a:pt x="2210627" y="4214292"/>
                    <a:pt x="2205863" y="4213025"/>
                    <a:pt x="2202369" y="4212074"/>
                  </a:cubicBezTo>
                  <a:cubicBezTo>
                    <a:pt x="2201098" y="4211757"/>
                    <a:pt x="2200146" y="4211440"/>
                    <a:pt x="2199193" y="4211124"/>
                  </a:cubicBezTo>
                  <a:close/>
                  <a:moveTo>
                    <a:pt x="1727847" y="4208588"/>
                  </a:moveTo>
                  <a:cubicBezTo>
                    <a:pt x="1727847" y="4208588"/>
                    <a:pt x="1727847" y="4208588"/>
                    <a:pt x="1723400" y="4232989"/>
                  </a:cubicBezTo>
                  <a:lnTo>
                    <a:pt x="1761514" y="4239960"/>
                  </a:lnTo>
                  <a:cubicBezTo>
                    <a:pt x="1761514" y="4239960"/>
                    <a:pt x="1761514" y="4239960"/>
                    <a:pt x="1765961" y="4215560"/>
                  </a:cubicBezTo>
                  <a:cubicBezTo>
                    <a:pt x="1765961" y="4215560"/>
                    <a:pt x="1765961" y="4215560"/>
                    <a:pt x="1727847" y="4208588"/>
                  </a:cubicBezTo>
                  <a:close/>
                  <a:moveTo>
                    <a:pt x="313490" y="4206687"/>
                  </a:moveTo>
                  <a:cubicBezTo>
                    <a:pt x="313490" y="4206687"/>
                    <a:pt x="313490" y="4206687"/>
                    <a:pt x="333500" y="4229503"/>
                  </a:cubicBezTo>
                  <a:cubicBezTo>
                    <a:pt x="333500" y="4229503"/>
                    <a:pt x="333500" y="4229503"/>
                    <a:pt x="332865" y="4231088"/>
                  </a:cubicBezTo>
                  <a:cubicBezTo>
                    <a:pt x="332865" y="4231088"/>
                    <a:pt x="332865" y="4231088"/>
                    <a:pt x="311584" y="4278938"/>
                  </a:cubicBezTo>
                  <a:cubicBezTo>
                    <a:pt x="311584" y="4278938"/>
                    <a:pt x="311584" y="4278938"/>
                    <a:pt x="264577" y="4294148"/>
                  </a:cubicBezTo>
                  <a:cubicBezTo>
                    <a:pt x="264577" y="4294148"/>
                    <a:pt x="264577" y="4294148"/>
                    <a:pt x="263941" y="4297634"/>
                  </a:cubicBezTo>
                  <a:cubicBezTo>
                    <a:pt x="263941" y="4297634"/>
                    <a:pt x="263941" y="4297634"/>
                    <a:pt x="288398" y="4310943"/>
                  </a:cubicBezTo>
                  <a:cubicBezTo>
                    <a:pt x="288398" y="4310943"/>
                    <a:pt x="288398" y="4310943"/>
                    <a:pt x="258542" y="4360695"/>
                  </a:cubicBezTo>
                  <a:lnTo>
                    <a:pt x="216934" y="4334710"/>
                  </a:lnTo>
                  <a:cubicBezTo>
                    <a:pt x="216934" y="4334710"/>
                    <a:pt x="216934" y="4334710"/>
                    <a:pt x="208676" y="4304289"/>
                  </a:cubicBezTo>
                  <a:cubicBezTo>
                    <a:pt x="208676" y="4304289"/>
                    <a:pt x="208676" y="4304289"/>
                    <a:pt x="228051" y="4257389"/>
                  </a:cubicBezTo>
                  <a:cubicBezTo>
                    <a:pt x="228051" y="4257389"/>
                    <a:pt x="228051" y="4257389"/>
                    <a:pt x="266482" y="4267213"/>
                  </a:cubicBezTo>
                  <a:cubicBezTo>
                    <a:pt x="266482" y="4267213"/>
                    <a:pt x="266482" y="4267213"/>
                    <a:pt x="268388" y="4244080"/>
                  </a:cubicBezTo>
                  <a:cubicBezTo>
                    <a:pt x="268388" y="4244080"/>
                    <a:pt x="268388" y="4244080"/>
                    <a:pt x="219792" y="4242495"/>
                  </a:cubicBezTo>
                  <a:cubicBezTo>
                    <a:pt x="219792" y="4242495"/>
                    <a:pt x="219792" y="4242495"/>
                    <a:pt x="224557" y="4207955"/>
                  </a:cubicBezTo>
                  <a:cubicBezTo>
                    <a:pt x="224557" y="4207955"/>
                    <a:pt x="224557" y="4207955"/>
                    <a:pt x="313490" y="4206687"/>
                  </a:cubicBezTo>
                  <a:close/>
                  <a:moveTo>
                    <a:pt x="4915469" y="4195596"/>
                  </a:moveTo>
                  <a:cubicBezTo>
                    <a:pt x="4915152" y="4196864"/>
                    <a:pt x="4914516" y="4197814"/>
                    <a:pt x="4914198" y="4199082"/>
                  </a:cubicBezTo>
                  <a:cubicBezTo>
                    <a:pt x="4913246" y="4201300"/>
                    <a:pt x="4912293" y="4203201"/>
                    <a:pt x="4910705" y="4205103"/>
                  </a:cubicBezTo>
                  <a:cubicBezTo>
                    <a:pt x="4910070" y="4205736"/>
                    <a:pt x="4909116" y="4206370"/>
                    <a:pt x="4908164" y="4207004"/>
                  </a:cubicBezTo>
                  <a:cubicBezTo>
                    <a:pt x="4904035" y="4214926"/>
                    <a:pt x="4892283" y="4234890"/>
                    <a:pt x="4869732" y="4264044"/>
                  </a:cubicBezTo>
                  <a:cubicBezTo>
                    <a:pt x="4835747" y="4308091"/>
                    <a:pt x="4782387" y="4378757"/>
                    <a:pt x="4764918" y="4411714"/>
                  </a:cubicBezTo>
                  <a:cubicBezTo>
                    <a:pt x="4764918" y="4411714"/>
                    <a:pt x="4764918" y="4411714"/>
                    <a:pt x="4764282" y="4412981"/>
                  </a:cubicBezTo>
                  <a:cubicBezTo>
                    <a:pt x="4764282" y="4412981"/>
                    <a:pt x="4764282" y="4412981"/>
                    <a:pt x="4763330" y="4413932"/>
                  </a:cubicBezTo>
                  <a:cubicBezTo>
                    <a:pt x="4762059" y="4415199"/>
                    <a:pt x="4737920" y="4445304"/>
                    <a:pt x="4724580" y="4548926"/>
                  </a:cubicBezTo>
                  <a:cubicBezTo>
                    <a:pt x="4717275" y="4604698"/>
                    <a:pt x="4710922" y="4670611"/>
                    <a:pt x="4706476" y="4722581"/>
                  </a:cubicBezTo>
                  <a:cubicBezTo>
                    <a:pt x="4702029" y="4774550"/>
                    <a:pt x="4699488" y="4812577"/>
                    <a:pt x="4699488" y="4812577"/>
                  </a:cubicBezTo>
                  <a:cubicBezTo>
                    <a:pt x="4699488" y="4812577"/>
                    <a:pt x="4699488" y="4812577"/>
                    <a:pt x="4699488" y="4812894"/>
                  </a:cubicBezTo>
                  <a:cubicBezTo>
                    <a:pt x="4699488" y="4812894"/>
                    <a:pt x="4699488" y="4812894"/>
                    <a:pt x="4699488" y="4813211"/>
                  </a:cubicBezTo>
                  <a:cubicBezTo>
                    <a:pt x="4699488" y="4813844"/>
                    <a:pt x="4689960" y="4887679"/>
                    <a:pt x="4645493" y="4968169"/>
                  </a:cubicBezTo>
                  <a:cubicBezTo>
                    <a:pt x="4623895" y="5006829"/>
                    <a:pt x="4618178" y="5056581"/>
                    <a:pt x="4618178" y="5095241"/>
                  </a:cubicBezTo>
                  <a:cubicBezTo>
                    <a:pt x="4618178" y="5112670"/>
                    <a:pt x="4619448" y="5127563"/>
                    <a:pt x="4620401" y="5138338"/>
                  </a:cubicBezTo>
                  <a:cubicBezTo>
                    <a:pt x="4621036" y="5143091"/>
                    <a:pt x="4621354" y="5146894"/>
                    <a:pt x="4621990" y="5149746"/>
                  </a:cubicBezTo>
                  <a:cubicBezTo>
                    <a:pt x="4881484" y="5145943"/>
                    <a:pt x="5259450" y="5140239"/>
                    <a:pt x="5296930" y="5140239"/>
                  </a:cubicBezTo>
                  <a:cubicBezTo>
                    <a:pt x="5296930" y="5140239"/>
                    <a:pt x="5296930" y="5140239"/>
                    <a:pt x="5299152" y="5140239"/>
                  </a:cubicBezTo>
                  <a:cubicBezTo>
                    <a:pt x="5299470" y="5140239"/>
                    <a:pt x="5299788" y="5140239"/>
                    <a:pt x="5300106" y="5140239"/>
                  </a:cubicBezTo>
                  <a:cubicBezTo>
                    <a:pt x="5300106" y="5140239"/>
                    <a:pt x="5300423" y="5140239"/>
                    <a:pt x="5300741" y="5140239"/>
                  </a:cubicBezTo>
                  <a:cubicBezTo>
                    <a:pt x="5300741" y="5140239"/>
                    <a:pt x="5301058" y="5140239"/>
                    <a:pt x="5301058" y="5140239"/>
                  </a:cubicBezTo>
                  <a:cubicBezTo>
                    <a:pt x="5302329" y="5140239"/>
                    <a:pt x="5304234" y="5140239"/>
                    <a:pt x="5306776" y="5140239"/>
                  </a:cubicBezTo>
                  <a:cubicBezTo>
                    <a:pt x="5323292" y="5140239"/>
                    <a:pt x="5366488" y="5141190"/>
                    <a:pt x="5420483" y="5155450"/>
                  </a:cubicBezTo>
                  <a:cubicBezTo>
                    <a:pt x="5420800" y="5155133"/>
                    <a:pt x="5420800" y="5154816"/>
                    <a:pt x="5421118" y="5154182"/>
                  </a:cubicBezTo>
                  <a:cubicBezTo>
                    <a:pt x="5432552" y="5134852"/>
                    <a:pt x="5480196" y="5046440"/>
                    <a:pt x="5480196" y="4925389"/>
                  </a:cubicBezTo>
                  <a:cubicBezTo>
                    <a:pt x="5480196" y="4881975"/>
                    <a:pt x="5474160" y="4834442"/>
                    <a:pt x="5457962" y="4784057"/>
                  </a:cubicBezTo>
                  <a:cubicBezTo>
                    <a:pt x="5457962" y="4784057"/>
                    <a:pt x="5457962" y="4784057"/>
                    <a:pt x="5457962" y="4783423"/>
                  </a:cubicBezTo>
                  <a:cubicBezTo>
                    <a:pt x="5457962" y="4783423"/>
                    <a:pt x="5457962" y="4783423"/>
                    <a:pt x="5457644" y="4782789"/>
                  </a:cubicBezTo>
                  <a:cubicBezTo>
                    <a:pt x="5457644" y="4782789"/>
                    <a:pt x="5457009" y="4779304"/>
                    <a:pt x="5455421" y="4772649"/>
                  </a:cubicBezTo>
                  <a:cubicBezTo>
                    <a:pt x="5444940" y="4725433"/>
                    <a:pt x="5390627" y="4524209"/>
                    <a:pt x="5228959" y="4365448"/>
                  </a:cubicBezTo>
                  <a:cubicBezTo>
                    <a:pt x="5117157" y="4255488"/>
                    <a:pt x="4977405" y="4210807"/>
                    <a:pt x="4915469" y="4195596"/>
                  </a:cubicBezTo>
                  <a:close/>
                  <a:moveTo>
                    <a:pt x="319842" y="4195596"/>
                  </a:moveTo>
                  <a:cubicBezTo>
                    <a:pt x="319842" y="4195596"/>
                    <a:pt x="319842" y="4195596"/>
                    <a:pt x="214075" y="4196864"/>
                  </a:cubicBezTo>
                  <a:cubicBezTo>
                    <a:pt x="212805" y="4214609"/>
                    <a:pt x="211534" y="4229820"/>
                    <a:pt x="209311" y="4239327"/>
                  </a:cubicBezTo>
                  <a:cubicBezTo>
                    <a:pt x="203912" y="4262459"/>
                    <a:pt x="196606" y="4304289"/>
                    <a:pt x="195018" y="4313478"/>
                  </a:cubicBezTo>
                  <a:cubicBezTo>
                    <a:pt x="195018" y="4313795"/>
                    <a:pt x="195018" y="4314112"/>
                    <a:pt x="195018" y="4314746"/>
                  </a:cubicBezTo>
                  <a:cubicBezTo>
                    <a:pt x="194701" y="4321084"/>
                    <a:pt x="200418" y="4337562"/>
                    <a:pt x="206770" y="4345484"/>
                  </a:cubicBezTo>
                  <a:cubicBezTo>
                    <a:pt x="206770" y="4345484"/>
                    <a:pt x="207088" y="4345484"/>
                    <a:pt x="207088" y="4345801"/>
                  </a:cubicBezTo>
                  <a:cubicBezTo>
                    <a:pt x="211217" y="4348970"/>
                    <a:pt x="235356" y="4365765"/>
                    <a:pt x="247743" y="4373370"/>
                  </a:cubicBezTo>
                  <a:cubicBezTo>
                    <a:pt x="254095" y="4377490"/>
                    <a:pt x="260130" y="4380975"/>
                    <a:pt x="264577" y="4383827"/>
                  </a:cubicBezTo>
                  <a:cubicBezTo>
                    <a:pt x="265212" y="4384144"/>
                    <a:pt x="265530" y="4384461"/>
                    <a:pt x="266165" y="4384778"/>
                  </a:cubicBezTo>
                  <a:cubicBezTo>
                    <a:pt x="266165" y="4384778"/>
                    <a:pt x="266165" y="4384778"/>
                    <a:pt x="266482" y="4384778"/>
                  </a:cubicBezTo>
                  <a:cubicBezTo>
                    <a:pt x="266482" y="4384778"/>
                    <a:pt x="266482" y="4384778"/>
                    <a:pt x="266800" y="4384778"/>
                  </a:cubicBezTo>
                  <a:cubicBezTo>
                    <a:pt x="266800" y="4384778"/>
                    <a:pt x="266800" y="4384778"/>
                    <a:pt x="358274" y="4230771"/>
                  </a:cubicBezTo>
                  <a:cubicBezTo>
                    <a:pt x="358274" y="4230771"/>
                    <a:pt x="358274" y="4230771"/>
                    <a:pt x="357639" y="4230137"/>
                  </a:cubicBezTo>
                  <a:cubicBezTo>
                    <a:pt x="357639" y="4230137"/>
                    <a:pt x="357639" y="4230137"/>
                    <a:pt x="353192" y="4226334"/>
                  </a:cubicBezTo>
                  <a:cubicBezTo>
                    <a:pt x="353192" y="4226334"/>
                    <a:pt x="353192" y="4226334"/>
                    <a:pt x="319842" y="4195596"/>
                  </a:cubicBezTo>
                  <a:close/>
                  <a:moveTo>
                    <a:pt x="1365126" y="4191160"/>
                  </a:moveTo>
                  <a:cubicBezTo>
                    <a:pt x="1342575" y="4188308"/>
                    <a:pt x="1327647" y="4205103"/>
                    <a:pt x="1324153" y="4222215"/>
                  </a:cubicBezTo>
                  <a:cubicBezTo>
                    <a:pt x="1320342" y="4239327"/>
                    <a:pt x="1308272" y="4332809"/>
                    <a:pt x="1308272" y="4332809"/>
                  </a:cubicBezTo>
                  <a:cubicBezTo>
                    <a:pt x="1308272" y="4332809"/>
                    <a:pt x="1306049" y="4372103"/>
                    <a:pt x="1340034" y="4376856"/>
                  </a:cubicBezTo>
                  <a:cubicBezTo>
                    <a:pt x="1374019" y="4381926"/>
                    <a:pt x="1381960" y="4343900"/>
                    <a:pt x="1381960" y="4343900"/>
                  </a:cubicBezTo>
                  <a:cubicBezTo>
                    <a:pt x="1381960" y="4343900"/>
                    <a:pt x="1381960" y="4343900"/>
                    <a:pt x="1397523" y="4233306"/>
                  </a:cubicBezTo>
                  <a:cubicBezTo>
                    <a:pt x="1397523" y="4233306"/>
                    <a:pt x="1397841" y="4194962"/>
                    <a:pt x="1365126" y="4191160"/>
                  </a:cubicBezTo>
                  <a:close/>
                  <a:moveTo>
                    <a:pt x="3084714" y="4190526"/>
                  </a:moveTo>
                  <a:lnTo>
                    <a:pt x="3043424" y="4203518"/>
                  </a:lnTo>
                  <a:cubicBezTo>
                    <a:pt x="3043424" y="4203518"/>
                    <a:pt x="3043424" y="4203518"/>
                    <a:pt x="3045965" y="4210490"/>
                  </a:cubicBezTo>
                  <a:cubicBezTo>
                    <a:pt x="3059305" y="4206053"/>
                    <a:pt x="3072962" y="4201617"/>
                    <a:pt x="3086938" y="4197181"/>
                  </a:cubicBezTo>
                  <a:cubicBezTo>
                    <a:pt x="3086938" y="4197181"/>
                    <a:pt x="3086938" y="4197181"/>
                    <a:pt x="3084714" y="4190526"/>
                  </a:cubicBezTo>
                  <a:close/>
                  <a:moveTo>
                    <a:pt x="1360362" y="4186406"/>
                  </a:moveTo>
                  <a:cubicBezTo>
                    <a:pt x="1361950" y="4186406"/>
                    <a:pt x="1363855" y="4186406"/>
                    <a:pt x="1365444" y="4186723"/>
                  </a:cubicBezTo>
                  <a:cubicBezTo>
                    <a:pt x="1394664" y="4190209"/>
                    <a:pt x="1401970" y="4218729"/>
                    <a:pt x="1401970" y="4233623"/>
                  </a:cubicBezTo>
                  <a:cubicBezTo>
                    <a:pt x="1401970" y="4233623"/>
                    <a:pt x="1401970" y="4233623"/>
                    <a:pt x="1401970" y="4233940"/>
                  </a:cubicBezTo>
                  <a:cubicBezTo>
                    <a:pt x="1401970" y="4233940"/>
                    <a:pt x="1401970" y="4233940"/>
                    <a:pt x="1386406" y="4344533"/>
                  </a:cubicBezTo>
                  <a:cubicBezTo>
                    <a:pt x="1383548" y="4357526"/>
                    <a:pt x="1371478" y="4381926"/>
                    <a:pt x="1346069" y="4381926"/>
                  </a:cubicBezTo>
                  <a:cubicBezTo>
                    <a:pt x="1343845" y="4381926"/>
                    <a:pt x="1341622" y="4381609"/>
                    <a:pt x="1339399" y="4381292"/>
                  </a:cubicBezTo>
                  <a:cubicBezTo>
                    <a:pt x="1309225" y="4376856"/>
                    <a:pt x="1302873" y="4347702"/>
                    <a:pt x="1303826" y="4332809"/>
                  </a:cubicBezTo>
                  <a:cubicBezTo>
                    <a:pt x="1304461" y="4328689"/>
                    <a:pt x="1316213" y="4238376"/>
                    <a:pt x="1319706" y="4221264"/>
                  </a:cubicBezTo>
                  <a:cubicBezTo>
                    <a:pt x="1323200" y="4204469"/>
                    <a:pt x="1337493" y="4186406"/>
                    <a:pt x="1360362" y="4186406"/>
                  </a:cubicBezTo>
                  <a:close/>
                  <a:moveTo>
                    <a:pt x="3130451" y="4176266"/>
                  </a:moveTo>
                  <a:lnTo>
                    <a:pt x="3088843" y="4189258"/>
                  </a:lnTo>
                  <a:cubicBezTo>
                    <a:pt x="3088843" y="4189258"/>
                    <a:pt x="3088843" y="4189258"/>
                    <a:pt x="3091066" y="4195596"/>
                  </a:cubicBezTo>
                  <a:cubicBezTo>
                    <a:pt x="3104724" y="4191476"/>
                    <a:pt x="3118699" y="4187040"/>
                    <a:pt x="3132674" y="4182287"/>
                  </a:cubicBezTo>
                  <a:cubicBezTo>
                    <a:pt x="3132357" y="4181653"/>
                    <a:pt x="3131404" y="4179435"/>
                    <a:pt x="3130451" y="4176266"/>
                  </a:cubicBezTo>
                  <a:close/>
                  <a:moveTo>
                    <a:pt x="2884614" y="4169294"/>
                  </a:moveTo>
                  <a:cubicBezTo>
                    <a:pt x="2882073" y="4174364"/>
                    <a:pt x="2879850" y="4179118"/>
                    <a:pt x="2877627" y="4183871"/>
                  </a:cubicBezTo>
                  <a:cubicBezTo>
                    <a:pt x="2859522" y="4222215"/>
                    <a:pt x="2843324" y="4256122"/>
                    <a:pt x="2839512" y="4264678"/>
                  </a:cubicBezTo>
                  <a:cubicBezTo>
                    <a:pt x="2841418" y="4265628"/>
                    <a:pt x="2844594" y="4266896"/>
                    <a:pt x="2847770" y="4268163"/>
                  </a:cubicBezTo>
                  <a:cubicBezTo>
                    <a:pt x="2850312" y="4269114"/>
                    <a:pt x="2852852" y="4270382"/>
                    <a:pt x="2854758" y="4271332"/>
                  </a:cubicBezTo>
                  <a:cubicBezTo>
                    <a:pt x="2855711" y="4271649"/>
                    <a:pt x="2856346" y="4271966"/>
                    <a:pt x="2856982" y="4272283"/>
                  </a:cubicBezTo>
                  <a:cubicBezTo>
                    <a:pt x="2858570" y="4271649"/>
                    <a:pt x="2860793" y="4270699"/>
                    <a:pt x="2864604" y="4269431"/>
                  </a:cubicBezTo>
                  <a:cubicBezTo>
                    <a:pt x="2875086" y="4265945"/>
                    <a:pt x="2894460" y="4259607"/>
                    <a:pt x="2920188" y="4251051"/>
                  </a:cubicBezTo>
                  <a:lnTo>
                    <a:pt x="2919235" y="4251051"/>
                  </a:lnTo>
                  <a:cubicBezTo>
                    <a:pt x="2919235" y="4251051"/>
                    <a:pt x="2919870" y="4232672"/>
                    <a:pt x="2920823" y="4213976"/>
                  </a:cubicBezTo>
                  <a:cubicBezTo>
                    <a:pt x="2921140" y="4204786"/>
                    <a:pt x="2921458" y="4195596"/>
                    <a:pt x="2921776" y="4188624"/>
                  </a:cubicBezTo>
                  <a:cubicBezTo>
                    <a:pt x="2921776" y="4185139"/>
                    <a:pt x="2922093" y="4182287"/>
                    <a:pt x="2922093" y="4180068"/>
                  </a:cubicBezTo>
                  <a:cubicBezTo>
                    <a:pt x="2922093" y="4179752"/>
                    <a:pt x="2922093" y="4179435"/>
                    <a:pt x="2922093" y="4178801"/>
                  </a:cubicBezTo>
                  <a:cubicBezTo>
                    <a:pt x="2922093" y="4178801"/>
                    <a:pt x="2922093" y="4178801"/>
                    <a:pt x="2883979" y="4172463"/>
                  </a:cubicBezTo>
                  <a:cubicBezTo>
                    <a:pt x="2883979" y="4172463"/>
                    <a:pt x="2883979" y="4172463"/>
                    <a:pt x="2884614" y="4169294"/>
                  </a:cubicBezTo>
                  <a:close/>
                  <a:moveTo>
                    <a:pt x="117519" y="4167393"/>
                  </a:moveTo>
                  <a:cubicBezTo>
                    <a:pt x="117519" y="4167393"/>
                    <a:pt x="117519" y="4167393"/>
                    <a:pt x="109896" y="4201934"/>
                  </a:cubicBezTo>
                  <a:lnTo>
                    <a:pt x="144517" y="4209539"/>
                  </a:lnTo>
                  <a:cubicBezTo>
                    <a:pt x="144517" y="4209539"/>
                    <a:pt x="144517" y="4209539"/>
                    <a:pt x="152140" y="4174998"/>
                  </a:cubicBezTo>
                  <a:cubicBezTo>
                    <a:pt x="152140" y="4174998"/>
                    <a:pt x="152140" y="4174998"/>
                    <a:pt x="117519" y="4167393"/>
                  </a:cubicBezTo>
                  <a:close/>
                  <a:moveTo>
                    <a:pt x="1758338" y="4165492"/>
                  </a:moveTo>
                  <a:cubicBezTo>
                    <a:pt x="1758338" y="4165492"/>
                    <a:pt x="1758338" y="4165492"/>
                    <a:pt x="1753891" y="4189892"/>
                  </a:cubicBezTo>
                  <a:cubicBezTo>
                    <a:pt x="1753891" y="4189892"/>
                    <a:pt x="1753891" y="4189892"/>
                    <a:pt x="1792006" y="4196864"/>
                  </a:cubicBezTo>
                  <a:cubicBezTo>
                    <a:pt x="1792006" y="4196864"/>
                    <a:pt x="1792006" y="4196864"/>
                    <a:pt x="1796452" y="4172463"/>
                  </a:cubicBezTo>
                  <a:close/>
                  <a:moveTo>
                    <a:pt x="3024684" y="4162640"/>
                  </a:moveTo>
                  <a:cubicBezTo>
                    <a:pt x="3024684" y="4162640"/>
                    <a:pt x="3024684" y="4162640"/>
                    <a:pt x="2991652" y="4173097"/>
                  </a:cubicBezTo>
                  <a:cubicBezTo>
                    <a:pt x="2991652" y="4173097"/>
                    <a:pt x="2991652" y="4173097"/>
                    <a:pt x="3003404" y="4211757"/>
                  </a:cubicBezTo>
                  <a:cubicBezTo>
                    <a:pt x="3003404" y="4211757"/>
                    <a:pt x="3003404" y="4211757"/>
                    <a:pt x="3037706" y="4200666"/>
                  </a:cubicBezTo>
                  <a:close/>
                  <a:moveTo>
                    <a:pt x="114343" y="4162640"/>
                  </a:moveTo>
                  <a:cubicBezTo>
                    <a:pt x="114343" y="4162640"/>
                    <a:pt x="114343" y="4162640"/>
                    <a:pt x="116249" y="4162956"/>
                  </a:cubicBezTo>
                  <a:cubicBezTo>
                    <a:pt x="116249" y="4162956"/>
                    <a:pt x="116249" y="4162956"/>
                    <a:pt x="156904" y="4171829"/>
                  </a:cubicBezTo>
                  <a:lnTo>
                    <a:pt x="147693" y="4214609"/>
                  </a:lnTo>
                  <a:cubicBezTo>
                    <a:pt x="147693" y="4214609"/>
                    <a:pt x="147693" y="4214609"/>
                    <a:pt x="104814" y="4205103"/>
                  </a:cubicBezTo>
                  <a:cubicBezTo>
                    <a:pt x="104814" y="4205103"/>
                    <a:pt x="104814" y="4205103"/>
                    <a:pt x="114343" y="4162640"/>
                  </a:cubicBezTo>
                  <a:close/>
                  <a:moveTo>
                    <a:pt x="1755162" y="4160738"/>
                  </a:moveTo>
                  <a:cubicBezTo>
                    <a:pt x="1755162" y="4160738"/>
                    <a:pt x="1755162" y="4160738"/>
                    <a:pt x="1801217" y="4169294"/>
                  </a:cubicBezTo>
                  <a:cubicBezTo>
                    <a:pt x="1801217" y="4169294"/>
                    <a:pt x="1801217" y="4169294"/>
                    <a:pt x="1795499" y="4201617"/>
                  </a:cubicBezTo>
                  <a:cubicBezTo>
                    <a:pt x="1795499" y="4201617"/>
                    <a:pt x="1795499" y="4201617"/>
                    <a:pt x="1749127" y="4193378"/>
                  </a:cubicBezTo>
                  <a:cubicBezTo>
                    <a:pt x="1749127" y="4193378"/>
                    <a:pt x="1749127" y="4193378"/>
                    <a:pt x="1749445" y="4191160"/>
                  </a:cubicBezTo>
                  <a:close/>
                  <a:moveTo>
                    <a:pt x="1384501" y="4155985"/>
                  </a:moveTo>
                  <a:cubicBezTo>
                    <a:pt x="1384501" y="4155985"/>
                    <a:pt x="1384501" y="4155985"/>
                    <a:pt x="1369255" y="4168660"/>
                  </a:cubicBezTo>
                  <a:cubicBezTo>
                    <a:pt x="1369255" y="4168660"/>
                    <a:pt x="1369255" y="4168660"/>
                    <a:pt x="1367985" y="4169928"/>
                  </a:cubicBezTo>
                  <a:cubicBezTo>
                    <a:pt x="1367985" y="4169928"/>
                    <a:pt x="1367985" y="4169928"/>
                    <a:pt x="1366396" y="4169928"/>
                  </a:cubicBezTo>
                  <a:cubicBezTo>
                    <a:pt x="1357821" y="4169928"/>
                    <a:pt x="1341305" y="4171196"/>
                    <a:pt x="1332729" y="4177216"/>
                  </a:cubicBezTo>
                  <a:cubicBezTo>
                    <a:pt x="1329553" y="4179118"/>
                    <a:pt x="1321930" y="4184505"/>
                    <a:pt x="1317166" y="4190209"/>
                  </a:cubicBezTo>
                  <a:cubicBezTo>
                    <a:pt x="1311766" y="4196864"/>
                    <a:pt x="1309225" y="4202884"/>
                    <a:pt x="1309225" y="4202884"/>
                  </a:cubicBezTo>
                  <a:cubicBezTo>
                    <a:pt x="1309225" y="4202884"/>
                    <a:pt x="1309225" y="4202884"/>
                    <a:pt x="1308272" y="4205736"/>
                  </a:cubicBezTo>
                  <a:cubicBezTo>
                    <a:pt x="1308272" y="4205736"/>
                    <a:pt x="1308272" y="4205736"/>
                    <a:pt x="1305096" y="4205736"/>
                  </a:cubicBezTo>
                  <a:cubicBezTo>
                    <a:pt x="1305096" y="4205736"/>
                    <a:pt x="1305096" y="4205736"/>
                    <a:pt x="1281910" y="4206053"/>
                  </a:cubicBezTo>
                  <a:cubicBezTo>
                    <a:pt x="1281910" y="4206053"/>
                    <a:pt x="1281910" y="4206053"/>
                    <a:pt x="1282227" y="4341365"/>
                  </a:cubicBezTo>
                  <a:cubicBezTo>
                    <a:pt x="1282227" y="4341365"/>
                    <a:pt x="1282227" y="4341365"/>
                    <a:pt x="1284133" y="4341681"/>
                  </a:cubicBezTo>
                  <a:cubicBezTo>
                    <a:pt x="1284133" y="4341681"/>
                    <a:pt x="1284133" y="4341681"/>
                    <a:pt x="1288262" y="4341998"/>
                  </a:cubicBezTo>
                  <a:cubicBezTo>
                    <a:pt x="1288262" y="4341998"/>
                    <a:pt x="1288262" y="4341998"/>
                    <a:pt x="1288262" y="4345801"/>
                  </a:cubicBezTo>
                  <a:cubicBezTo>
                    <a:pt x="1288262" y="4346118"/>
                    <a:pt x="1289215" y="4364180"/>
                    <a:pt x="1299696" y="4375905"/>
                  </a:cubicBezTo>
                  <a:cubicBezTo>
                    <a:pt x="1310813" y="4387947"/>
                    <a:pt x="1325741" y="4393651"/>
                    <a:pt x="1325741" y="4393651"/>
                  </a:cubicBezTo>
                  <a:cubicBezTo>
                    <a:pt x="1325741" y="4393651"/>
                    <a:pt x="1325741" y="4393651"/>
                    <a:pt x="1328600" y="4394602"/>
                  </a:cubicBezTo>
                  <a:cubicBezTo>
                    <a:pt x="1328600" y="4394602"/>
                    <a:pt x="1328600" y="4394602"/>
                    <a:pt x="1328600" y="4397771"/>
                  </a:cubicBezTo>
                  <a:cubicBezTo>
                    <a:pt x="1328600" y="4397771"/>
                    <a:pt x="1328600" y="4397771"/>
                    <a:pt x="1328600" y="4406327"/>
                  </a:cubicBezTo>
                  <a:cubicBezTo>
                    <a:pt x="1328600" y="4406327"/>
                    <a:pt x="1328600" y="4406327"/>
                    <a:pt x="1381325" y="4406327"/>
                  </a:cubicBezTo>
                  <a:cubicBezTo>
                    <a:pt x="1381325" y="4406327"/>
                    <a:pt x="1381325" y="4406327"/>
                    <a:pt x="1381960" y="4385412"/>
                  </a:cubicBezTo>
                  <a:cubicBezTo>
                    <a:pt x="1381960" y="4385412"/>
                    <a:pt x="1381960" y="4385412"/>
                    <a:pt x="1381960" y="4383511"/>
                  </a:cubicBezTo>
                  <a:cubicBezTo>
                    <a:pt x="1381960" y="4383511"/>
                    <a:pt x="1381960" y="4383511"/>
                    <a:pt x="1383230" y="4382243"/>
                  </a:cubicBezTo>
                  <a:cubicBezTo>
                    <a:pt x="1383230" y="4381926"/>
                    <a:pt x="1396570" y="4368934"/>
                    <a:pt x="1399111" y="4353406"/>
                  </a:cubicBezTo>
                  <a:cubicBezTo>
                    <a:pt x="1401652" y="4336611"/>
                    <a:pt x="1416580" y="4228869"/>
                    <a:pt x="1416580" y="4227919"/>
                  </a:cubicBezTo>
                  <a:cubicBezTo>
                    <a:pt x="1416898" y="4227602"/>
                    <a:pt x="1418804" y="4211440"/>
                    <a:pt x="1410545" y="4199716"/>
                  </a:cubicBezTo>
                  <a:cubicBezTo>
                    <a:pt x="1410545" y="4199716"/>
                    <a:pt x="1410545" y="4199716"/>
                    <a:pt x="1409910" y="4198448"/>
                  </a:cubicBezTo>
                  <a:cubicBezTo>
                    <a:pt x="1409910" y="4198448"/>
                    <a:pt x="1409910" y="4198448"/>
                    <a:pt x="1409910" y="4197181"/>
                  </a:cubicBezTo>
                  <a:cubicBezTo>
                    <a:pt x="1409910" y="4195596"/>
                    <a:pt x="1409910" y="4194962"/>
                    <a:pt x="1414674" y="4189575"/>
                  </a:cubicBezTo>
                  <a:cubicBezTo>
                    <a:pt x="1414674" y="4189575"/>
                    <a:pt x="1414674" y="4189575"/>
                    <a:pt x="1384501" y="4155985"/>
                  </a:cubicBezTo>
                  <a:close/>
                  <a:moveTo>
                    <a:pt x="31127" y="4153133"/>
                  </a:moveTo>
                  <a:cubicBezTo>
                    <a:pt x="31127" y="4153133"/>
                    <a:pt x="31127" y="4153133"/>
                    <a:pt x="31127" y="4154401"/>
                  </a:cubicBezTo>
                  <a:cubicBezTo>
                    <a:pt x="31127" y="4154401"/>
                    <a:pt x="31127" y="4154401"/>
                    <a:pt x="30492" y="4156302"/>
                  </a:cubicBezTo>
                  <a:cubicBezTo>
                    <a:pt x="30492" y="4156302"/>
                    <a:pt x="30492" y="4156302"/>
                    <a:pt x="14293" y="4153450"/>
                  </a:cubicBezTo>
                  <a:lnTo>
                    <a:pt x="5082" y="4202884"/>
                  </a:lnTo>
                  <a:cubicBezTo>
                    <a:pt x="5082" y="4202884"/>
                    <a:pt x="5082" y="4202884"/>
                    <a:pt x="31127" y="4207955"/>
                  </a:cubicBezTo>
                  <a:cubicBezTo>
                    <a:pt x="31127" y="4207955"/>
                    <a:pt x="31127" y="4207955"/>
                    <a:pt x="35256" y="4185139"/>
                  </a:cubicBezTo>
                  <a:cubicBezTo>
                    <a:pt x="35256" y="4185139"/>
                    <a:pt x="35256" y="4185139"/>
                    <a:pt x="53360" y="4188308"/>
                  </a:cubicBezTo>
                  <a:cubicBezTo>
                    <a:pt x="53360" y="4188308"/>
                    <a:pt x="53360" y="4188308"/>
                    <a:pt x="59713" y="4158520"/>
                  </a:cubicBezTo>
                  <a:cubicBezTo>
                    <a:pt x="59713" y="4158520"/>
                    <a:pt x="59713" y="4158520"/>
                    <a:pt x="31127" y="4153133"/>
                  </a:cubicBezTo>
                  <a:close/>
                  <a:moveTo>
                    <a:pt x="1152957" y="4152499"/>
                  </a:moveTo>
                  <a:cubicBezTo>
                    <a:pt x="1149463" y="4158837"/>
                    <a:pt x="1136440" y="4180702"/>
                    <a:pt x="1119289" y="4191476"/>
                  </a:cubicBezTo>
                  <a:cubicBezTo>
                    <a:pt x="1104043" y="4200666"/>
                    <a:pt x="1091656" y="4206053"/>
                    <a:pt x="1084986" y="4208272"/>
                  </a:cubicBezTo>
                  <a:cubicBezTo>
                    <a:pt x="1086257" y="4209222"/>
                    <a:pt x="1087845" y="4210490"/>
                    <a:pt x="1088798" y="4210807"/>
                  </a:cubicBezTo>
                  <a:cubicBezTo>
                    <a:pt x="1088798" y="4210807"/>
                    <a:pt x="1088798" y="4210807"/>
                    <a:pt x="1185354" y="4202251"/>
                  </a:cubicBezTo>
                  <a:cubicBezTo>
                    <a:pt x="1185354" y="4202251"/>
                    <a:pt x="1185354" y="4202251"/>
                    <a:pt x="1185354" y="4163273"/>
                  </a:cubicBezTo>
                  <a:cubicBezTo>
                    <a:pt x="1185354" y="4163273"/>
                    <a:pt x="1185354" y="4163273"/>
                    <a:pt x="1152957" y="4152499"/>
                  </a:cubicBezTo>
                  <a:close/>
                  <a:moveTo>
                    <a:pt x="641908" y="4150915"/>
                  </a:moveTo>
                  <a:cubicBezTo>
                    <a:pt x="641908" y="4150915"/>
                    <a:pt x="641908" y="4150915"/>
                    <a:pt x="688280" y="4258657"/>
                  </a:cubicBezTo>
                  <a:cubicBezTo>
                    <a:pt x="688280" y="4258657"/>
                    <a:pt x="688280" y="4258657"/>
                    <a:pt x="739417" y="4275769"/>
                  </a:cubicBezTo>
                  <a:cubicBezTo>
                    <a:pt x="739417" y="4275769"/>
                    <a:pt x="739417" y="4275769"/>
                    <a:pt x="748310" y="4254220"/>
                  </a:cubicBezTo>
                  <a:cubicBezTo>
                    <a:pt x="748310" y="4254220"/>
                    <a:pt x="748310" y="4254220"/>
                    <a:pt x="761015" y="4258340"/>
                  </a:cubicBezTo>
                  <a:cubicBezTo>
                    <a:pt x="761015" y="4258340"/>
                    <a:pt x="761015" y="4258340"/>
                    <a:pt x="779119" y="4213976"/>
                  </a:cubicBezTo>
                  <a:cubicBezTo>
                    <a:pt x="779119" y="4213976"/>
                    <a:pt x="779119" y="4213976"/>
                    <a:pt x="733700" y="4199082"/>
                  </a:cubicBezTo>
                  <a:cubicBezTo>
                    <a:pt x="733700" y="4199082"/>
                    <a:pt x="733700" y="4199082"/>
                    <a:pt x="723536" y="4219996"/>
                  </a:cubicBezTo>
                  <a:cubicBezTo>
                    <a:pt x="723536" y="4219996"/>
                    <a:pt x="723536" y="4219996"/>
                    <a:pt x="688280" y="4207321"/>
                  </a:cubicBezTo>
                  <a:cubicBezTo>
                    <a:pt x="688280" y="4207321"/>
                    <a:pt x="688280" y="4207321"/>
                    <a:pt x="664141" y="4157886"/>
                  </a:cubicBezTo>
                  <a:close/>
                  <a:moveTo>
                    <a:pt x="1385136" y="4149647"/>
                  </a:moveTo>
                  <a:cubicBezTo>
                    <a:pt x="1385136" y="4149647"/>
                    <a:pt x="1385136" y="4149647"/>
                    <a:pt x="1420392" y="4189575"/>
                  </a:cubicBezTo>
                  <a:cubicBezTo>
                    <a:pt x="1420392" y="4189575"/>
                    <a:pt x="1414039" y="4196547"/>
                    <a:pt x="1414039" y="4197181"/>
                  </a:cubicBezTo>
                  <a:cubicBezTo>
                    <a:pt x="1423885" y="4210490"/>
                    <a:pt x="1421027" y="4228552"/>
                    <a:pt x="1421027" y="4228552"/>
                  </a:cubicBezTo>
                  <a:cubicBezTo>
                    <a:pt x="1421027" y="4228552"/>
                    <a:pt x="1406099" y="4336928"/>
                    <a:pt x="1403558" y="4354040"/>
                  </a:cubicBezTo>
                  <a:cubicBezTo>
                    <a:pt x="1400699" y="4371152"/>
                    <a:pt x="1386406" y="4385412"/>
                    <a:pt x="1386406" y="4385412"/>
                  </a:cubicBezTo>
                  <a:cubicBezTo>
                    <a:pt x="1386406" y="4385412"/>
                    <a:pt x="1386406" y="4385412"/>
                    <a:pt x="1385771" y="4410763"/>
                  </a:cubicBezTo>
                  <a:cubicBezTo>
                    <a:pt x="1385771" y="4410763"/>
                    <a:pt x="1385771" y="4410763"/>
                    <a:pt x="1324153" y="4410446"/>
                  </a:cubicBezTo>
                  <a:lnTo>
                    <a:pt x="1324153" y="4397771"/>
                  </a:lnTo>
                  <a:cubicBezTo>
                    <a:pt x="1324153" y="4397771"/>
                    <a:pt x="1308590" y="4392067"/>
                    <a:pt x="1296520" y="4379074"/>
                  </a:cubicBezTo>
                  <a:cubicBezTo>
                    <a:pt x="1284768" y="4365765"/>
                    <a:pt x="1283816" y="4346118"/>
                    <a:pt x="1283816" y="4346118"/>
                  </a:cubicBezTo>
                  <a:cubicBezTo>
                    <a:pt x="1283816" y="4346118"/>
                    <a:pt x="1283816" y="4346118"/>
                    <a:pt x="1277781" y="4345484"/>
                  </a:cubicBezTo>
                  <a:cubicBezTo>
                    <a:pt x="1277781" y="4345484"/>
                    <a:pt x="1277781" y="4345484"/>
                    <a:pt x="1277463" y="4201617"/>
                  </a:cubicBezTo>
                  <a:cubicBezTo>
                    <a:pt x="1277463" y="4201617"/>
                    <a:pt x="1277463" y="4201617"/>
                    <a:pt x="1305096" y="4201300"/>
                  </a:cubicBezTo>
                  <a:cubicBezTo>
                    <a:pt x="1305096" y="4201300"/>
                    <a:pt x="1307955" y="4194645"/>
                    <a:pt x="1313672" y="4187674"/>
                  </a:cubicBezTo>
                  <a:cubicBezTo>
                    <a:pt x="1318118" y="4182287"/>
                    <a:pt x="1324788" y="4176900"/>
                    <a:pt x="1330188" y="4173414"/>
                  </a:cubicBezTo>
                  <a:cubicBezTo>
                    <a:pt x="1342575" y="4165175"/>
                    <a:pt x="1366396" y="4165492"/>
                    <a:pt x="1366396" y="4165492"/>
                  </a:cubicBezTo>
                  <a:cubicBezTo>
                    <a:pt x="1366396" y="4165492"/>
                    <a:pt x="1366396" y="4165492"/>
                    <a:pt x="1385136" y="4149647"/>
                  </a:cubicBezTo>
                  <a:close/>
                  <a:moveTo>
                    <a:pt x="27951" y="4148380"/>
                  </a:moveTo>
                  <a:cubicBezTo>
                    <a:pt x="27951" y="4148380"/>
                    <a:pt x="27951" y="4148380"/>
                    <a:pt x="64477" y="4155351"/>
                  </a:cubicBezTo>
                  <a:cubicBezTo>
                    <a:pt x="64477" y="4155351"/>
                    <a:pt x="64477" y="4155351"/>
                    <a:pt x="56536" y="4193378"/>
                  </a:cubicBezTo>
                  <a:cubicBezTo>
                    <a:pt x="56536" y="4193378"/>
                    <a:pt x="56536" y="4193378"/>
                    <a:pt x="54631" y="4192744"/>
                  </a:cubicBezTo>
                  <a:cubicBezTo>
                    <a:pt x="54631" y="4192744"/>
                    <a:pt x="54631" y="4192744"/>
                    <a:pt x="38750" y="4189892"/>
                  </a:cubicBezTo>
                  <a:cubicBezTo>
                    <a:pt x="38750" y="4189892"/>
                    <a:pt x="38750" y="4189892"/>
                    <a:pt x="34303" y="4212708"/>
                  </a:cubicBezTo>
                  <a:cubicBezTo>
                    <a:pt x="34303" y="4212708"/>
                    <a:pt x="34303" y="4212708"/>
                    <a:pt x="1271" y="4206687"/>
                  </a:cubicBezTo>
                  <a:cubicBezTo>
                    <a:pt x="1271" y="4206687"/>
                    <a:pt x="1271" y="4206687"/>
                    <a:pt x="0" y="4206370"/>
                  </a:cubicBezTo>
                  <a:lnTo>
                    <a:pt x="1271" y="4199716"/>
                  </a:lnTo>
                  <a:cubicBezTo>
                    <a:pt x="1271" y="4199716"/>
                    <a:pt x="1271" y="4199716"/>
                    <a:pt x="11117" y="4148697"/>
                  </a:cubicBezTo>
                  <a:cubicBezTo>
                    <a:pt x="11117" y="4148697"/>
                    <a:pt x="11117" y="4148697"/>
                    <a:pt x="27315" y="4151549"/>
                  </a:cubicBezTo>
                  <a:cubicBezTo>
                    <a:pt x="27315" y="4151549"/>
                    <a:pt x="27315" y="4151549"/>
                    <a:pt x="27633" y="4150281"/>
                  </a:cubicBezTo>
                  <a:cubicBezTo>
                    <a:pt x="27633" y="4150281"/>
                    <a:pt x="27633" y="4150281"/>
                    <a:pt x="27951" y="4148380"/>
                  </a:cubicBezTo>
                  <a:close/>
                  <a:moveTo>
                    <a:pt x="3070739" y="4148063"/>
                  </a:moveTo>
                  <a:cubicBezTo>
                    <a:pt x="3070739" y="4148063"/>
                    <a:pt x="3070739" y="4148063"/>
                    <a:pt x="3029131" y="4161372"/>
                  </a:cubicBezTo>
                  <a:lnTo>
                    <a:pt x="3042153" y="4199399"/>
                  </a:lnTo>
                  <a:cubicBezTo>
                    <a:pt x="3042153" y="4199399"/>
                    <a:pt x="3042153" y="4199399"/>
                    <a:pt x="3083444" y="4186406"/>
                  </a:cubicBezTo>
                  <a:cubicBezTo>
                    <a:pt x="3083444" y="4186406"/>
                    <a:pt x="3083444" y="4186406"/>
                    <a:pt x="3070739" y="4148063"/>
                  </a:cubicBezTo>
                  <a:close/>
                  <a:moveTo>
                    <a:pt x="1710378" y="4147746"/>
                  </a:moveTo>
                  <a:cubicBezTo>
                    <a:pt x="1710378" y="4147746"/>
                    <a:pt x="1710378" y="4147746"/>
                    <a:pt x="1711013" y="4150915"/>
                  </a:cubicBezTo>
                  <a:cubicBezTo>
                    <a:pt x="1711013" y="4150915"/>
                    <a:pt x="1711013" y="4150915"/>
                    <a:pt x="1710695" y="4151232"/>
                  </a:cubicBezTo>
                  <a:cubicBezTo>
                    <a:pt x="1710695" y="4151232"/>
                    <a:pt x="1706249" y="4171196"/>
                    <a:pt x="1701484" y="4191476"/>
                  </a:cubicBezTo>
                  <a:cubicBezTo>
                    <a:pt x="1698943" y="4201300"/>
                    <a:pt x="1696402" y="4211440"/>
                    <a:pt x="1694497" y="4219046"/>
                  </a:cubicBezTo>
                  <a:cubicBezTo>
                    <a:pt x="1693544" y="4222848"/>
                    <a:pt x="1692591" y="4226017"/>
                    <a:pt x="1691956" y="4228552"/>
                  </a:cubicBezTo>
                  <a:cubicBezTo>
                    <a:pt x="1691638" y="4229186"/>
                    <a:pt x="1691638" y="4229820"/>
                    <a:pt x="1691320" y="4230137"/>
                  </a:cubicBezTo>
                  <a:cubicBezTo>
                    <a:pt x="1691320" y="4230137"/>
                    <a:pt x="1691320" y="4230137"/>
                    <a:pt x="1718636" y="4235841"/>
                  </a:cubicBezTo>
                  <a:cubicBezTo>
                    <a:pt x="1718636" y="4235841"/>
                    <a:pt x="1718636" y="4235841"/>
                    <a:pt x="1718953" y="4234256"/>
                  </a:cubicBezTo>
                  <a:cubicBezTo>
                    <a:pt x="1718953" y="4234256"/>
                    <a:pt x="1718953" y="4234256"/>
                    <a:pt x="1724353" y="4203835"/>
                  </a:cubicBezTo>
                  <a:cubicBezTo>
                    <a:pt x="1724353" y="4203835"/>
                    <a:pt x="1724353" y="4203835"/>
                    <a:pt x="1770725" y="4212391"/>
                  </a:cubicBezTo>
                  <a:cubicBezTo>
                    <a:pt x="1770725" y="4212391"/>
                    <a:pt x="1770725" y="4212391"/>
                    <a:pt x="1765008" y="4244080"/>
                  </a:cubicBezTo>
                  <a:cubicBezTo>
                    <a:pt x="1781524" y="4246615"/>
                    <a:pt x="1798676" y="4249467"/>
                    <a:pt x="1806299" y="4250735"/>
                  </a:cubicBezTo>
                  <a:cubicBezTo>
                    <a:pt x="1806299" y="4250735"/>
                    <a:pt x="1806299" y="4250735"/>
                    <a:pt x="1815509" y="4167710"/>
                  </a:cubicBezTo>
                  <a:cubicBezTo>
                    <a:pt x="1815509" y="4167710"/>
                    <a:pt x="1815509" y="4167710"/>
                    <a:pt x="1710378" y="4147746"/>
                  </a:cubicBezTo>
                  <a:close/>
                  <a:moveTo>
                    <a:pt x="1150733" y="4146795"/>
                  </a:moveTo>
                  <a:cubicBezTo>
                    <a:pt x="1150733" y="4146795"/>
                    <a:pt x="1150733" y="4146795"/>
                    <a:pt x="1190118" y="4159788"/>
                  </a:cubicBezTo>
                  <a:cubicBezTo>
                    <a:pt x="1190118" y="4159788"/>
                    <a:pt x="1190118" y="4159788"/>
                    <a:pt x="1190118" y="4161689"/>
                  </a:cubicBezTo>
                  <a:cubicBezTo>
                    <a:pt x="1190118" y="4161689"/>
                    <a:pt x="1190118" y="4161689"/>
                    <a:pt x="1190118" y="4206370"/>
                  </a:cubicBezTo>
                  <a:cubicBezTo>
                    <a:pt x="1190118" y="4206370"/>
                    <a:pt x="1190118" y="4206370"/>
                    <a:pt x="1087527" y="4215877"/>
                  </a:cubicBezTo>
                  <a:cubicBezTo>
                    <a:pt x="1087527" y="4215877"/>
                    <a:pt x="1087527" y="4215877"/>
                    <a:pt x="1086892" y="4215243"/>
                  </a:cubicBezTo>
                  <a:cubicBezTo>
                    <a:pt x="1086892" y="4215243"/>
                    <a:pt x="1084986" y="4213976"/>
                    <a:pt x="1083080" y="4212391"/>
                  </a:cubicBezTo>
                  <a:cubicBezTo>
                    <a:pt x="1081810" y="4211757"/>
                    <a:pt x="1080857" y="4211124"/>
                    <a:pt x="1080222" y="4210173"/>
                  </a:cubicBezTo>
                  <a:cubicBezTo>
                    <a:pt x="1079269" y="4209222"/>
                    <a:pt x="1078634" y="4209539"/>
                    <a:pt x="1078316" y="4207004"/>
                  </a:cubicBezTo>
                  <a:cubicBezTo>
                    <a:pt x="1077999" y="4206370"/>
                    <a:pt x="1078634" y="4205420"/>
                    <a:pt x="1079269" y="4204786"/>
                  </a:cubicBezTo>
                  <a:cubicBezTo>
                    <a:pt x="1080222" y="4204469"/>
                    <a:pt x="1080539" y="4204469"/>
                    <a:pt x="1080857" y="4204469"/>
                  </a:cubicBezTo>
                  <a:cubicBezTo>
                    <a:pt x="1081492" y="4204786"/>
                    <a:pt x="1098009" y="4199082"/>
                    <a:pt x="1116748" y="4187357"/>
                  </a:cubicBezTo>
                  <a:cubicBezTo>
                    <a:pt x="1125959" y="4181653"/>
                    <a:pt x="1134217" y="4172146"/>
                    <a:pt x="1140252" y="4163590"/>
                  </a:cubicBezTo>
                  <a:cubicBezTo>
                    <a:pt x="1146287" y="4155351"/>
                    <a:pt x="1149780" y="4148380"/>
                    <a:pt x="1149780" y="4148380"/>
                  </a:cubicBezTo>
                  <a:cubicBezTo>
                    <a:pt x="1149780" y="4148380"/>
                    <a:pt x="1149780" y="4148380"/>
                    <a:pt x="1150733" y="4146795"/>
                  </a:cubicBezTo>
                  <a:close/>
                  <a:moveTo>
                    <a:pt x="1271" y="4146795"/>
                  </a:moveTo>
                  <a:cubicBezTo>
                    <a:pt x="1906" y="4150281"/>
                    <a:pt x="2224" y="4154084"/>
                    <a:pt x="2224" y="4157569"/>
                  </a:cubicBezTo>
                  <a:cubicBezTo>
                    <a:pt x="2224" y="4161372"/>
                    <a:pt x="1906" y="4165492"/>
                    <a:pt x="1271" y="4169294"/>
                  </a:cubicBezTo>
                  <a:close/>
                  <a:moveTo>
                    <a:pt x="843913" y="4146478"/>
                  </a:moveTo>
                  <a:cubicBezTo>
                    <a:pt x="843913" y="4146478"/>
                    <a:pt x="843913" y="4146478"/>
                    <a:pt x="781343" y="4293831"/>
                  </a:cubicBezTo>
                  <a:cubicBezTo>
                    <a:pt x="781343" y="4293831"/>
                    <a:pt x="781343" y="4293831"/>
                    <a:pt x="846772" y="4317281"/>
                  </a:cubicBezTo>
                  <a:lnTo>
                    <a:pt x="857889" y="4271966"/>
                  </a:lnTo>
                  <a:cubicBezTo>
                    <a:pt x="857889" y="4271966"/>
                    <a:pt x="857889" y="4271966"/>
                    <a:pt x="835655" y="4266579"/>
                  </a:cubicBezTo>
                  <a:cubicBezTo>
                    <a:pt x="835655" y="4266579"/>
                    <a:pt x="835655" y="4266579"/>
                    <a:pt x="826127" y="4289078"/>
                  </a:cubicBezTo>
                  <a:cubicBezTo>
                    <a:pt x="826127" y="4289078"/>
                    <a:pt x="826127" y="4289078"/>
                    <a:pt x="807070" y="4282740"/>
                  </a:cubicBezTo>
                  <a:cubicBezTo>
                    <a:pt x="807070" y="4282740"/>
                    <a:pt x="807070" y="4282740"/>
                    <a:pt x="845502" y="4190843"/>
                  </a:cubicBezTo>
                  <a:cubicBezTo>
                    <a:pt x="845502" y="4190843"/>
                    <a:pt x="845502" y="4190843"/>
                    <a:pt x="872817" y="4195596"/>
                  </a:cubicBezTo>
                  <a:cubicBezTo>
                    <a:pt x="872817" y="4195596"/>
                    <a:pt x="872817" y="4195596"/>
                    <a:pt x="858524" y="4230771"/>
                  </a:cubicBezTo>
                  <a:cubicBezTo>
                    <a:pt x="858524" y="4230771"/>
                    <a:pt x="858524" y="4230771"/>
                    <a:pt x="872817" y="4235524"/>
                  </a:cubicBezTo>
                  <a:cubicBezTo>
                    <a:pt x="875358" y="4229186"/>
                    <a:pt x="886474" y="4211440"/>
                    <a:pt x="920777" y="4206687"/>
                  </a:cubicBezTo>
                  <a:cubicBezTo>
                    <a:pt x="920777" y="4206687"/>
                    <a:pt x="920777" y="4206687"/>
                    <a:pt x="906167" y="4162323"/>
                  </a:cubicBezTo>
                  <a:cubicBezTo>
                    <a:pt x="906167" y="4162323"/>
                    <a:pt x="906167" y="4162323"/>
                    <a:pt x="843913" y="4146478"/>
                  </a:cubicBezTo>
                  <a:close/>
                  <a:moveTo>
                    <a:pt x="633650" y="4143309"/>
                  </a:moveTo>
                  <a:cubicBezTo>
                    <a:pt x="633650" y="4143309"/>
                    <a:pt x="633650" y="4143309"/>
                    <a:pt x="667317" y="4154084"/>
                  </a:cubicBezTo>
                  <a:cubicBezTo>
                    <a:pt x="667317" y="4154084"/>
                    <a:pt x="667317" y="4154084"/>
                    <a:pt x="691774" y="4203518"/>
                  </a:cubicBezTo>
                  <a:cubicBezTo>
                    <a:pt x="691774" y="4203518"/>
                    <a:pt x="691774" y="4203518"/>
                    <a:pt x="720995" y="4213976"/>
                  </a:cubicBezTo>
                  <a:cubicBezTo>
                    <a:pt x="720995" y="4213976"/>
                    <a:pt x="720995" y="4213976"/>
                    <a:pt x="731476" y="4193378"/>
                  </a:cubicBezTo>
                  <a:cubicBezTo>
                    <a:pt x="731476" y="4193378"/>
                    <a:pt x="731476" y="4193378"/>
                    <a:pt x="785154" y="4210807"/>
                  </a:cubicBezTo>
                  <a:cubicBezTo>
                    <a:pt x="785154" y="4210807"/>
                    <a:pt x="785154" y="4210807"/>
                    <a:pt x="784201" y="4213342"/>
                  </a:cubicBezTo>
                  <a:cubicBezTo>
                    <a:pt x="784201" y="4213342"/>
                    <a:pt x="784201" y="4213342"/>
                    <a:pt x="763874" y="4264361"/>
                  </a:cubicBezTo>
                  <a:cubicBezTo>
                    <a:pt x="763874" y="4264361"/>
                    <a:pt x="763874" y="4264361"/>
                    <a:pt x="750851" y="4259924"/>
                  </a:cubicBezTo>
                  <a:cubicBezTo>
                    <a:pt x="750851" y="4259924"/>
                    <a:pt x="750851" y="4259924"/>
                    <a:pt x="742275" y="4281473"/>
                  </a:cubicBezTo>
                  <a:lnTo>
                    <a:pt x="684786" y="4262459"/>
                  </a:lnTo>
                  <a:cubicBezTo>
                    <a:pt x="684786" y="4262459"/>
                    <a:pt x="684786" y="4262459"/>
                    <a:pt x="633650" y="4143309"/>
                  </a:cubicBezTo>
                  <a:close/>
                  <a:moveTo>
                    <a:pt x="2088026" y="4142359"/>
                  </a:moveTo>
                  <a:cubicBezTo>
                    <a:pt x="2088026" y="4142359"/>
                    <a:pt x="2088026" y="4142359"/>
                    <a:pt x="2086756" y="4164541"/>
                  </a:cubicBezTo>
                  <a:cubicBezTo>
                    <a:pt x="2086756" y="4164541"/>
                    <a:pt x="2086756" y="4164541"/>
                    <a:pt x="2090250" y="4164858"/>
                  </a:cubicBezTo>
                  <a:cubicBezTo>
                    <a:pt x="2090250" y="4164858"/>
                    <a:pt x="2090250" y="4164858"/>
                    <a:pt x="2092473" y="4164858"/>
                  </a:cubicBezTo>
                  <a:cubicBezTo>
                    <a:pt x="2092473" y="4164858"/>
                    <a:pt x="2092473" y="4164858"/>
                    <a:pt x="2091520" y="4180702"/>
                  </a:cubicBezTo>
                  <a:cubicBezTo>
                    <a:pt x="2091520" y="4180702"/>
                    <a:pt x="2091520" y="4180702"/>
                    <a:pt x="2146150" y="4184822"/>
                  </a:cubicBezTo>
                  <a:cubicBezTo>
                    <a:pt x="2146150" y="4184822"/>
                    <a:pt x="2146150" y="4184822"/>
                    <a:pt x="2147103" y="4169294"/>
                  </a:cubicBezTo>
                  <a:lnTo>
                    <a:pt x="2122964" y="4167710"/>
                  </a:lnTo>
                  <a:cubicBezTo>
                    <a:pt x="2122964" y="4167710"/>
                    <a:pt x="2122964" y="4167710"/>
                    <a:pt x="2124552" y="4144577"/>
                  </a:cubicBezTo>
                  <a:cubicBezTo>
                    <a:pt x="2124552" y="4144577"/>
                    <a:pt x="2124552" y="4144577"/>
                    <a:pt x="2088026" y="4142359"/>
                  </a:cubicBezTo>
                  <a:close/>
                  <a:moveTo>
                    <a:pt x="841055" y="4141091"/>
                  </a:moveTo>
                  <a:cubicBezTo>
                    <a:pt x="841055" y="4141091"/>
                    <a:pt x="841055" y="4141091"/>
                    <a:pt x="909661" y="4158520"/>
                  </a:cubicBezTo>
                  <a:cubicBezTo>
                    <a:pt x="909661" y="4158520"/>
                    <a:pt x="909661" y="4158520"/>
                    <a:pt x="927130" y="4210807"/>
                  </a:cubicBezTo>
                  <a:cubicBezTo>
                    <a:pt x="927130" y="4210807"/>
                    <a:pt x="927130" y="4210807"/>
                    <a:pt x="924271" y="4211124"/>
                  </a:cubicBezTo>
                  <a:cubicBezTo>
                    <a:pt x="902991" y="4213342"/>
                    <a:pt x="890921" y="4220630"/>
                    <a:pt x="884251" y="4226968"/>
                  </a:cubicBezTo>
                  <a:cubicBezTo>
                    <a:pt x="881075" y="4230454"/>
                    <a:pt x="879169" y="4233306"/>
                    <a:pt x="877899" y="4235524"/>
                  </a:cubicBezTo>
                  <a:cubicBezTo>
                    <a:pt x="876628" y="4237742"/>
                    <a:pt x="876311" y="4239010"/>
                    <a:pt x="876311" y="4239010"/>
                  </a:cubicBezTo>
                  <a:cubicBezTo>
                    <a:pt x="876311" y="4239010"/>
                    <a:pt x="876311" y="4239010"/>
                    <a:pt x="875675" y="4241545"/>
                  </a:cubicBezTo>
                  <a:cubicBezTo>
                    <a:pt x="875675" y="4241545"/>
                    <a:pt x="875675" y="4241545"/>
                    <a:pt x="852172" y="4233306"/>
                  </a:cubicBezTo>
                  <a:cubicBezTo>
                    <a:pt x="852172" y="4233306"/>
                    <a:pt x="852172" y="4233306"/>
                    <a:pt x="866464" y="4199082"/>
                  </a:cubicBezTo>
                  <a:cubicBezTo>
                    <a:pt x="866464" y="4199082"/>
                    <a:pt x="866464" y="4199082"/>
                    <a:pt x="848360" y="4195913"/>
                  </a:cubicBezTo>
                  <a:cubicBezTo>
                    <a:pt x="848360" y="4195913"/>
                    <a:pt x="848360" y="4195913"/>
                    <a:pt x="813422" y="4279888"/>
                  </a:cubicBezTo>
                  <a:cubicBezTo>
                    <a:pt x="813422" y="4279888"/>
                    <a:pt x="813422" y="4279888"/>
                    <a:pt x="823586" y="4283374"/>
                  </a:cubicBezTo>
                  <a:cubicBezTo>
                    <a:pt x="823586" y="4283374"/>
                    <a:pt x="823586" y="4283374"/>
                    <a:pt x="833114" y="4260875"/>
                  </a:cubicBezTo>
                  <a:lnTo>
                    <a:pt x="863606" y="4268797"/>
                  </a:lnTo>
                  <a:cubicBezTo>
                    <a:pt x="863606" y="4268797"/>
                    <a:pt x="863606" y="4268797"/>
                    <a:pt x="849948" y="4323619"/>
                  </a:cubicBezTo>
                  <a:cubicBezTo>
                    <a:pt x="849948" y="4323619"/>
                    <a:pt x="849948" y="4323619"/>
                    <a:pt x="774990" y="4296683"/>
                  </a:cubicBezTo>
                  <a:cubicBezTo>
                    <a:pt x="774990" y="4296683"/>
                    <a:pt x="774990" y="4296683"/>
                    <a:pt x="841055" y="4141091"/>
                  </a:cubicBezTo>
                  <a:close/>
                  <a:moveTo>
                    <a:pt x="92110" y="4140457"/>
                  </a:moveTo>
                  <a:cubicBezTo>
                    <a:pt x="87345" y="4173414"/>
                    <a:pt x="87028" y="4206053"/>
                    <a:pt x="87028" y="4213976"/>
                  </a:cubicBezTo>
                  <a:cubicBezTo>
                    <a:pt x="87028" y="4213976"/>
                    <a:pt x="87028" y="4213976"/>
                    <a:pt x="87028" y="4215243"/>
                  </a:cubicBezTo>
                  <a:cubicBezTo>
                    <a:pt x="96239" y="4218412"/>
                    <a:pt x="117202" y="4226334"/>
                    <a:pt x="138482" y="4233940"/>
                  </a:cubicBezTo>
                  <a:cubicBezTo>
                    <a:pt x="151822" y="4238693"/>
                    <a:pt x="165162" y="4243446"/>
                    <a:pt x="175643" y="4247249"/>
                  </a:cubicBezTo>
                  <a:cubicBezTo>
                    <a:pt x="179455" y="4248516"/>
                    <a:pt x="182631" y="4249784"/>
                    <a:pt x="185490" y="4250735"/>
                  </a:cubicBezTo>
                  <a:cubicBezTo>
                    <a:pt x="186760" y="4244714"/>
                    <a:pt x="188031" y="4239327"/>
                    <a:pt x="188983" y="4234573"/>
                  </a:cubicBezTo>
                  <a:cubicBezTo>
                    <a:pt x="191207" y="4225700"/>
                    <a:pt x="193112" y="4201934"/>
                    <a:pt x="194383" y="4178167"/>
                  </a:cubicBezTo>
                  <a:cubicBezTo>
                    <a:pt x="194383" y="4174681"/>
                    <a:pt x="194701" y="4171196"/>
                    <a:pt x="194701" y="4168027"/>
                  </a:cubicBezTo>
                  <a:close/>
                  <a:moveTo>
                    <a:pt x="2084215" y="4137922"/>
                  </a:moveTo>
                  <a:cubicBezTo>
                    <a:pt x="2084215" y="4137922"/>
                    <a:pt x="2084215" y="4137922"/>
                    <a:pt x="2128682" y="4140774"/>
                  </a:cubicBezTo>
                  <a:lnTo>
                    <a:pt x="2127411" y="4163907"/>
                  </a:lnTo>
                  <a:cubicBezTo>
                    <a:pt x="2127411" y="4163907"/>
                    <a:pt x="2127411" y="4163907"/>
                    <a:pt x="2151232" y="4165175"/>
                  </a:cubicBezTo>
                  <a:cubicBezTo>
                    <a:pt x="2151232" y="4165175"/>
                    <a:pt x="2151232" y="4165175"/>
                    <a:pt x="2149962" y="4189258"/>
                  </a:cubicBezTo>
                  <a:cubicBezTo>
                    <a:pt x="2149962" y="4189258"/>
                    <a:pt x="2149962" y="4189258"/>
                    <a:pt x="2147738" y="4189258"/>
                  </a:cubicBezTo>
                  <a:cubicBezTo>
                    <a:pt x="2147738" y="4189258"/>
                    <a:pt x="2147738" y="4189258"/>
                    <a:pt x="2087073" y="4184505"/>
                  </a:cubicBezTo>
                  <a:cubicBezTo>
                    <a:pt x="2087073" y="4184505"/>
                    <a:pt x="2087073" y="4184505"/>
                    <a:pt x="2088026" y="4168977"/>
                  </a:cubicBezTo>
                  <a:cubicBezTo>
                    <a:pt x="2088026" y="4168977"/>
                    <a:pt x="2088026" y="4168977"/>
                    <a:pt x="2084215" y="4168660"/>
                  </a:cubicBezTo>
                  <a:cubicBezTo>
                    <a:pt x="2084215" y="4168660"/>
                    <a:pt x="2084215" y="4168660"/>
                    <a:pt x="2082309" y="4168660"/>
                  </a:cubicBezTo>
                  <a:cubicBezTo>
                    <a:pt x="2082309" y="4168660"/>
                    <a:pt x="2082309" y="4168660"/>
                    <a:pt x="2084215" y="4137922"/>
                  </a:cubicBezTo>
                  <a:close/>
                  <a:moveTo>
                    <a:pt x="1150416" y="4135387"/>
                  </a:moveTo>
                  <a:cubicBezTo>
                    <a:pt x="1140252" y="4154084"/>
                    <a:pt x="1122465" y="4169294"/>
                    <a:pt x="1106267" y="4181019"/>
                  </a:cubicBezTo>
                  <a:cubicBezTo>
                    <a:pt x="1087209" y="4194329"/>
                    <a:pt x="1070376" y="4202568"/>
                    <a:pt x="1070058" y="4202884"/>
                  </a:cubicBezTo>
                  <a:cubicBezTo>
                    <a:pt x="1070058" y="4202884"/>
                    <a:pt x="1070058" y="4202884"/>
                    <a:pt x="1069740" y="4202884"/>
                  </a:cubicBezTo>
                  <a:cubicBezTo>
                    <a:pt x="1069740" y="4202884"/>
                    <a:pt x="1069740" y="4202884"/>
                    <a:pt x="1069423" y="4202884"/>
                  </a:cubicBezTo>
                  <a:cubicBezTo>
                    <a:pt x="1048142" y="4210807"/>
                    <a:pt x="1011616" y="4215560"/>
                    <a:pt x="980172" y="4221264"/>
                  </a:cubicBezTo>
                  <a:cubicBezTo>
                    <a:pt x="988430" y="4226968"/>
                    <a:pt x="1000817" y="4235524"/>
                    <a:pt x="1013840" y="4244397"/>
                  </a:cubicBezTo>
                  <a:cubicBezTo>
                    <a:pt x="1024639" y="4251685"/>
                    <a:pt x="1035438" y="4258974"/>
                    <a:pt x="1043696" y="4264678"/>
                  </a:cubicBezTo>
                  <a:cubicBezTo>
                    <a:pt x="1047825" y="4267213"/>
                    <a:pt x="1051319" y="4269748"/>
                    <a:pt x="1053859" y="4271015"/>
                  </a:cubicBezTo>
                  <a:cubicBezTo>
                    <a:pt x="1055130" y="4271966"/>
                    <a:pt x="1056400" y="4272600"/>
                    <a:pt x="1057036" y="4272917"/>
                  </a:cubicBezTo>
                  <a:cubicBezTo>
                    <a:pt x="1057353" y="4273234"/>
                    <a:pt x="1057671" y="4273234"/>
                    <a:pt x="1057671" y="4273234"/>
                  </a:cubicBezTo>
                  <a:cubicBezTo>
                    <a:pt x="1069423" y="4271332"/>
                    <a:pt x="1224738" y="4248199"/>
                    <a:pt x="1243160" y="4245031"/>
                  </a:cubicBezTo>
                  <a:cubicBezTo>
                    <a:pt x="1246019" y="4237108"/>
                    <a:pt x="1255865" y="4206687"/>
                    <a:pt x="1271746" y="4181019"/>
                  </a:cubicBezTo>
                  <a:cubicBezTo>
                    <a:pt x="1271746" y="4181019"/>
                    <a:pt x="1271746" y="4181019"/>
                    <a:pt x="1168520" y="4142676"/>
                  </a:cubicBezTo>
                  <a:cubicBezTo>
                    <a:pt x="1168520" y="4142676"/>
                    <a:pt x="1168520" y="4142676"/>
                    <a:pt x="1168520" y="4142359"/>
                  </a:cubicBezTo>
                  <a:cubicBezTo>
                    <a:pt x="1168520" y="4142359"/>
                    <a:pt x="1168520" y="4142359"/>
                    <a:pt x="1150416" y="4135387"/>
                  </a:cubicBezTo>
                  <a:close/>
                  <a:moveTo>
                    <a:pt x="3115841" y="4133803"/>
                  </a:moveTo>
                  <a:cubicBezTo>
                    <a:pt x="3115841" y="4133803"/>
                    <a:pt x="3115841" y="4133803"/>
                    <a:pt x="3074868" y="4146795"/>
                  </a:cubicBezTo>
                  <a:lnTo>
                    <a:pt x="3087573" y="4185139"/>
                  </a:lnTo>
                  <a:cubicBezTo>
                    <a:pt x="3087573" y="4185139"/>
                    <a:pt x="3087573" y="4185139"/>
                    <a:pt x="3129181" y="4172146"/>
                  </a:cubicBezTo>
                  <a:cubicBezTo>
                    <a:pt x="3126004" y="4163273"/>
                    <a:pt x="3121240" y="4149013"/>
                    <a:pt x="3115841" y="4133803"/>
                  </a:cubicBezTo>
                  <a:close/>
                  <a:moveTo>
                    <a:pt x="3267662" y="4133169"/>
                  </a:moveTo>
                  <a:cubicBezTo>
                    <a:pt x="3267662" y="4133169"/>
                    <a:pt x="3267662" y="4133169"/>
                    <a:pt x="3229231" y="4144894"/>
                  </a:cubicBezTo>
                  <a:cubicBezTo>
                    <a:pt x="3230184" y="4147429"/>
                    <a:pt x="3230819" y="4149013"/>
                    <a:pt x="3230819" y="4149013"/>
                  </a:cubicBezTo>
                  <a:cubicBezTo>
                    <a:pt x="3230819" y="4149013"/>
                    <a:pt x="3230819" y="4149013"/>
                    <a:pt x="3226372" y="4150598"/>
                  </a:cubicBezTo>
                  <a:cubicBezTo>
                    <a:pt x="3226372" y="4150598"/>
                    <a:pt x="3226054" y="4149013"/>
                    <a:pt x="3225102" y="4146478"/>
                  </a:cubicBezTo>
                  <a:cubicBezTo>
                    <a:pt x="3225102" y="4146478"/>
                    <a:pt x="3225102" y="4146478"/>
                    <a:pt x="3183811" y="4159471"/>
                  </a:cubicBezTo>
                  <a:cubicBezTo>
                    <a:pt x="3185082" y="4162640"/>
                    <a:pt x="3185717" y="4164541"/>
                    <a:pt x="3185717" y="4164541"/>
                  </a:cubicBezTo>
                  <a:cubicBezTo>
                    <a:pt x="3185717" y="4164541"/>
                    <a:pt x="3185717" y="4164541"/>
                    <a:pt x="3181588" y="4166125"/>
                  </a:cubicBezTo>
                  <a:cubicBezTo>
                    <a:pt x="3181588" y="4166125"/>
                    <a:pt x="3180953" y="4164224"/>
                    <a:pt x="3179682" y="4160738"/>
                  </a:cubicBezTo>
                  <a:lnTo>
                    <a:pt x="3134580" y="4174681"/>
                  </a:lnTo>
                  <a:cubicBezTo>
                    <a:pt x="3135851" y="4178484"/>
                    <a:pt x="3136486" y="4180702"/>
                    <a:pt x="3136804" y="4181019"/>
                  </a:cubicBezTo>
                  <a:cubicBezTo>
                    <a:pt x="3180635" y="4166759"/>
                    <a:pt x="3226054" y="4152182"/>
                    <a:pt x="3269568" y="4138239"/>
                  </a:cubicBezTo>
                  <a:cubicBezTo>
                    <a:pt x="3269251" y="4137605"/>
                    <a:pt x="3268616" y="4135704"/>
                    <a:pt x="3267662" y="4133169"/>
                  </a:cubicBezTo>
                  <a:close/>
                  <a:moveTo>
                    <a:pt x="2269069" y="4131268"/>
                  </a:moveTo>
                  <a:cubicBezTo>
                    <a:pt x="2269069" y="4131268"/>
                    <a:pt x="2269069" y="4131268"/>
                    <a:pt x="2267163" y="4154401"/>
                  </a:cubicBezTo>
                  <a:cubicBezTo>
                    <a:pt x="2267163" y="4154401"/>
                    <a:pt x="2267163" y="4154401"/>
                    <a:pt x="2243342" y="4152182"/>
                  </a:cubicBezTo>
                  <a:cubicBezTo>
                    <a:pt x="2243342" y="4152182"/>
                    <a:pt x="2243342" y="4152182"/>
                    <a:pt x="2241754" y="4167710"/>
                  </a:cubicBezTo>
                  <a:cubicBezTo>
                    <a:pt x="2241754" y="4167710"/>
                    <a:pt x="2241754" y="4167710"/>
                    <a:pt x="2296384" y="4171829"/>
                  </a:cubicBezTo>
                  <a:lnTo>
                    <a:pt x="2297655" y="4155985"/>
                  </a:lnTo>
                  <a:cubicBezTo>
                    <a:pt x="2297655" y="4155985"/>
                    <a:pt x="2297655" y="4155985"/>
                    <a:pt x="2303690" y="4156619"/>
                  </a:cubicBezTo>
                  <a:cubicBezTo>
                    <a:pt x="2303690" y="4156619"/>
                    <a:pt x="2303690" y="4156619"/>
                    <a:pt x="2305595" y="4134437"/>
                  </a:cubicBezTo>
                  <a:cubicBezTo>
                    <a:pt x="2305595" y="4134437"/>
                    <a:pt x="2305595" y="4134437"/>
                    <a:pt x="2269069" y="4131268"/>
                  </a:cubicBezTo>
                  <a:close/>
                  <a:moveTo>
                    <a:pt x="2265258" y="4126514"/>
                  </a:moveTo>
                  <a:cubicBezTo>
                    <a:pt x="2265258" y="4126514"/>
                    <a:pt x="2265258" y="4126514"/>
                    <a:pt x="2310042" y="4130634"/>
                  </a:cubicBezTo>
                  <a:cubicBezTo>
                    <a:pt x="2310042" y="4130634"/>
                    <a:pt x="2310042" y="4130634"/>
                    <a:pt x="2307501" y="4161055"/>
                  </a:cubicBezTo>
                  <a:cubicBezTo>
                    <a:pt x="2307501" y="4161055"/>
                    <a:pt x="2307501" y="4161055"/>
                    <a:pt x="2301466" y="4160421"/>
                  </a:cubicBezTo>
                  <a:lnTo>
                    <a:pt x="2300196" y="4176266"/>
                  </a:lnTo>
                  <a:cubicBezTo>
                    <a:pt x="2300196" y="4176266"/>
                    <a:pt x="2300196" y="4176266"/>
                    <a:pt x="2237307" y="4171512"/>
                  </a:cubicBezTo>
                  <a:cubicBezTo>
                    <a:pt x="2237307" y="4171512"/>
                    <a:pt x="2237307" y="4171512"/>
                    <a:pt x="2237625" y="4169611"/>
                  </a:cubicBezTo>
                  <a:cubicBezTo>
                    <a:pt x="2237625" y="4169611"/>
                    <a:pt x="2237625" y="4169611"/>
                    <a:pt x="2239530" y="4147746"/>
                  </a:cubicBezTo>
                  <a:cubicBezTo>
                    <a:pt x="2239530" y="4147746"/>
                    <a:pt x="2239530" y="4147746"/>
                    <a:pt x="2263352" y="4149647"/>
                  </a:cubicBezTo>
                  <a:cubicBezTo>
                    <a:pt x="2263352" y="4149647"/>
                    <a:pt x="2263352" y="4149647"/>
                    <a:pt x="2265258" y="4126514"/>
                  </a:cubicBezTo>
                  <a:close/>
                  <a:moveTo>
                    <a:pt x="832479" y="4119543"/>
                  </a:moveTo>
                  <a:cubicBezTo>
                    <a:pt x="832479" y="4119543"/>
                    <a:pt x="832479" y="4119543"/>
                    <a:pt x="762285" y="4301754"/>
                  </a:cubicBezTo>
                  <a:lnTo>
                    <a:pt x="857571" y="4336294"/>
                  </a:lnTo>
                  <a:cubicBezTo>
                    <a:pt x="862018" y="4315380"/>
                    <a:pt x="871864" y="4274501"/>
                    <a:pt x="889333" y="4246298"/>
                  </a:cubicBezTo>
                  <a:cubicBezTo>
                    <a:pt x="899814" y="4230137"/>
                    <a:pt x="917283" y="4224116"/>
                    <a:pt x="936976" y="4217144"/>
                  </a:cubicBezTo>
                  <a:cubicBezTo>
                    <a:pt x="944599" y="4214609"/>
                    <a:pt x="953810" y="4212074"/>
                    <a:pt x="963656" y="4210173"/>
                  </a:cubicBezTo>
                  <a:cubicBezTo>
                    <a:pt x="959844" y="4203518"/>
                    <a:pt x="953492" y="4193378"/>
                    <a:pt x="945234" y="4182604"/>
                  </a:cubicBezTo>
                  <a:cubicBezTo>
                    <a:pt x="930623" y="4163907"/>
                    <a:pt x="909978" y="4143626"/>
                    <a:pt x="887110" y="4136021"/>
                  </a:cubicBezTo>
                  <a:cubicBezTo>
                    <a:pt x="871864" y="4130951"/>
                    <a:pt x="852172" y="4125247"/>
                    <a:pt x="832479" y="4119543"/>
                  </a:cubicBezTo>
                  <a:close/>
                  <a:moveTo>
                    <a:pt x="3165072" y="4118275"/>
                  </a:moveTo>
                  <a:cubicBezTo>
                    <a:pt x="3165072" y="4118275"/>
                    <a:pt x="3165072" y="4118275"/>
                    <a:pt x="3120288" y="4132535"/>
                  </a:cubicBezTo>
                  <a:cubicBezTo>
                    <a:pt x="3125369" y="4147746"/>
                    <a:pt x="3130134" y="4161689"/>
                    <a:pt x="3133310" y="4170879"/>
                  </a:cubicBezTo>
                  <a:cubicBezTo>
                    <a:pt x="3133310" y="4170879"/>
                    <a:pt x="3133310" y="4170879"/>
                    <a:pt x="3178412" y="4156619"/>
                  </a:cubicBezTo>
                  <a:cubicBezTo>
                    <a:pt x="3175236" y="4148063"/>
                    <a:pt x="3170471" y="4133803"/>
                    <a:pt x="3165072" y="4118275"/>
                  </a:cubicBezTo>
                  <a:close/>
                  <a:moveTo>
                    <a:pt x="1753891" y="4117958"/>
                  </a:moveTo>
                  <a:cubicBezTo>
                    <a:pt x="1753891" y="4117958"/>
                    <a:pt x="1753891" y="4117958"/>
                    <a:pt x="1749445" y="4142359"/>
                  </a:cubicBezTo>
                  <a:lnTo>
                    <a:pt x="1787559" y="4149330"/>
                  </a:lnTo>
                  <a:cubicBezTo>
                    <a:pt x="1787559" y="4149330"/>
                    <a:pt x="1787559" y="4149330"/>
                    <a:pt x="1792006" y="4124613"/>
                  </a:cubicBezTo>
                  <a:cubicBezTo>
                    <a:pt x="1792006" y="4124613"/>
                    <a:pt x="1792006" y="4124613"/>
                    <a:pt x="1753891" y="4117958"/>
                  </a:cubicBezTo>
                  <a:close/>
                  <a:moveTo>
                    <a:pt x="3318482" y="4117008"/>
                  </a:moveTo>
                  <a:lnTo>
                    <a:pt x="3271792" y="4131585"/>
                  </a:lnTo>
                  <a:cubicBezTo>
                    <a:pt x="3272744" y="4134753"/>
                    <a:pt x="3273380" y="4136655"/>
                    <a:pt x="3273697" y="4136972"/>
                  </a:cubicBezTo>
                  <a:cubicBezTo>
                    <a:pt x="3289261" y="4131901"/>
                    <a:pt x="3304824" y="4126831"/>
                    <a:pt x="3320070" y="4122078"/>
                  </a:cubicBezTo>
                  <a:cubicBezTo>
                    <a:pt x="3319752" y="4121127"/>
                    <a:pt x="3319117" y="4119226"/>
                    <a:pt x="3318482" y="4117008"/>
                  </a:cubicBezTo>
                  <a:close/>
                  <a:moveTo>
                    <a:pt x="1894279" y="4115106"/>
                  </a:moveTo>
                  <a:cubicBezTo>
                    <a:pt x="1894279" y="4115106"/>
                    <a:pt x="1894279" y="4115106"/>
                    <a:pt x="1889515" y="4159788"/>
                  </a:cubicBezTo>
                  <a:cubicBezTo>
                    <a:pt x="1889515" y="4159788"/>
                    <a:pt x="1889515" y="4159788"/>
                    <a:pt x="1932393" y="4165175"/>
                  </a:cubicBezTo>
                  <a:cubicBezTo>
                    <a:pt x="1932393" y="4165175"/>
                    <a:pt x="1932393" y="4165175"/>
                    <a:pt x="1937157" y="4118275"/>
                  </a:cubicBezTo>
                  <a:close/>
                  <a:moveTo>
                    <a:pt x="4507646" y="4114790"/>
                  </a:moveTo>
                  <a:cubicBezTo>
                    <a:pt x="4465721" y="4369568"/>
                    <a:pt x="4407596" y="4719729"/>
                    <a:pt x="4389810" y="4832224"/>
                  </a:cubicBezTo>
                  <a:cubicBezTo>
                    <a:pt x="4376470" y="4916199"/>
                    <a:pt x="4372976" y="4974823"/>
                    <a:pt x="4372976" y="5013167"/>
                  </a:cubicBezTo>
                  <a:cubicBezTo>
                    <a:pt x="4372976" y="5035666"/>
                    <a:pt x="4374246" y="5050877"/>
                    <a:pt x="4375200" y="5060700"/>
                  </a:cubicBezTo>
                  <a:cubicBezTo>
                    <a:pt x="4375834" y="5065453"/>
                    <a:pt x="4376470" y="5068622"/>
                    <a:pt x="4376788" y="5070524"/>
                  </a:cubicBezTo>
                  <a:cubicBezTo>
                    <a:pt x="4376788" y="5071791"/>
                    <a:pt x="4377105" y="5072425"/>
                    <a:pt x="4377105" y="5072742"/>
                  </a:cubicBezTo>
                  <a:cubicBezTo>
                    <a:pt x="4377423" y="5074009"/>
                    <a:pt x="4377740" y="5074960"/>
                    <a:pt x="4377740" y="5075911"/>
                  </a:cubicBezTo>
                  <a:cubicBezTo>
                    <a:pt x="4378058" y="5077812"/>
                    <a:pt x="4378058" y="5079396"/>
                    <a:pt x="4377740" y="5080347"/>
                  </a:cubicBezTo>
                  <a:cubicBezTo>
                    <a:pt x="4378058" y="5081932"/>
                    <a:pt x="4378058" y="5085734"/>
                    <a:pt x="4378376" y="5090171"/>
                  </a:cubicBezTo>
                  <a:cubicBezTo>
                    <a:pt x="4379328" y="5103163"/>
                    <a:pt x="4381234" y="5125028"/>
                    <a:pt x="4383775" y="5153548"/>
                  </a:cubicBezTo>
                  <a:cubicBezTo>
                    <a:pt x="4406962" y="5153231"/>
                    <a:pt x="4491448" y="5151964"/>
                    <a:pt x="4601026" y="5150062"/>
                  </a:cubicBezTo>
                  <a:cubicBezTo>
                    <a:pt x="4599438" y="5139605"/>
                    <a:pt x="4597532" y="5119641"/>
                    <a:pt x="4597532" y="5095241"/>
                  </a:cubicBezTo>
                  <a:cubicBezTo>
                    <a:pt x="4597532" y="5054679"/>
                    <a:pt x="4602932" y="5002076"/>
                    <a:pt x="4627071" y="4958028"/>
                  </a:cubicBezTo>
                  <a:cubicBezTo>
                    <a:pt x="4648352" y="4919685"/>
                    <a:pt x="4661374" y="4882609"/>
                    <a:pt x="4668997" y="4855040"/>
                  </a:cubicBezTo>
                  <a:cubicBezTo>
                    <a:pt x="4672808" y="4841414"/>
                    <a:pt x="4675350" y="4830323"/>
                    <a:pt x="4676938" y="4822400"/>
                  </a:cubicBezTo>
                  <a:cubicBezTo>
                    <a:pt x="4678208" y="4815429"/>
                    <a:pt x="4678843" y="4811626"/>
                    <a:pt x="4678843" y="4810675"/>
                  </a:cubicBezTo>
                  <a:cubicBezTo>
                    <a:pt x="4679478" y="4801486"/>
                    <a:pt x="4689642" y="4655084"/>
                    <a:pt x="4703935" y="4546391"/>
                  </a:cubicBezTo>
                  <a:cubicBezTo>
                    <a:pt x="4717275" y="4442769"/>
                    <a:pt x="4741414" y="4407911"/>
                    <a:pt x="4746814" y="4400939"/>
                  </a:cubicBezTo>
                  <a:cubicBezTo>
                    <a:pt x="4766824" y="4364497"/>
                    <a:pt x="4819230" y="4295733"/>
                    <a:pt x="4853216" y="4251368"/>
                  </a:cubicBezTo>
                  <a:cubicBezTo>
                    <a:pt x="4867508" y="4232989"/>
                    <a:pt x="4877037" y="4218412"/>
                    <a:pt x="4883072" y="4208588"/>
                  </a:cubicBezTo>
                  <a:cubicBezTo>
                    <a:pt x="4886248" y="4203518"/>
                    <a:pt x="4888472" y="4200033"/>
                    <a:pt x="4889742" y="4197497"/>
                  </a:cubicBezTo>
                  <a:cubicBezTo>
                    <a:pt x="4891012" y="4194962"/>
                    <a:pt x="4891648" y="4194012"/>
                    <a:pt x="4891648" y="4194012"/>
                  </a:cubicBezTo>
                  <a:cubicBezTo>
                    <a:pt x="4891648" y="4194012"/>
                    <a:pt x="4891648" y="4194012"/>
                    <a:pt x="4893554" y="4190526"/>
                  </a:cubicBezTo>
                  <a:cubicBezTo>
                    <a:pt x="4890377" y="4189892"/>
                    <a:pt x="4888154" y="4189258"/>
                    <a:pt x="4886566" y="4188941"/>
                  </a:cubicBezTo>
                  <a:close/>
                  <a:moveTo>
                    <a:pt x="1542357" y="4114473"/>
                  </a:moveTo>
                  <a:cubicBezTo>
                    <a:pt x="1542357" y="4114473"/>
                    <a:pt x="1542357" y="4114473"/>
                    <a:pt x="1510595" y="4141408"/>
                  </a:cubicBezTo>
                  <a:cubicBezTo>
                    <a:pt x="1513454" y="4147429"/>
                    <a:pt x="1523300" y="4168660"/>
                    <a:pt x="1524571" y="4179752"/>
                  </a:cubicBezTo>
                  <a:cubicBezTo>
                    <a:pt x="1524888" y="4181653"/>
                    <a:pt x="1524888" y="4183554"/>
                    <a:pt x="1524888" y="4185139"/>
                  </a:cubicBezTo>
                  <a:cubicBezTo>
                    <a:pt x="1524888" y="4195596"/>
                    <a:pt x="1521712" y="4204469"/>
                    <a:pt x="1521712" y="4204469"/>
                  </a:cubicBezTo>
                  <a:cubicBezTo>
                    <a:pt x="1521712" y="4204469"/>
                    <a:pt x="1521712" y="4204469"/>
                    <a:pt x="1521394" y="4206053"/>
                  </a:cubicBezTo>
                  <a:cubicBezTo>
                    <a:pt x="1521394" y="4206053"/>
                    <a:pt x="1521394" y="4206053"/>
                    <a:pt x="1488362" y="4205736"/>
                  </a:cubicBezTo>
                  <a:cubicBezTo>
                    <a:pt x="1488362" y="4205736"/>
                    <a:pt x="1488362" y="4205736"/>
                    <a:pt x="1477563" y="4235524"/>
                  </a:cubicBezTo>
                  <a:cubicBezTo>
                    <a:pt x="1477563" y="4235524"/>
                    <a:pt x="1477563" y="4235524"/>
                    <a:pt x="1518853" y="4273551"/>
                  </a:cubicBezTo>
                  <a:cubicBezTo>
                    <a:pt x="1518853" y="4273551"/>
                    <a:pt x="1518853" y="4273551"/>
                    <a:pt x="1563955" y="4266896"/>
                  </a:cubicBezTo>
                  <a:cubicBezTo>
                    <a:pt x="1565226" y="4260241"/>
                    <a:pt x="1570625" y="4233940"/>
                    <a:pt x="1570308" y="4207955"/>
                  </a:cubicBezTo>
                  <a:cubicBezTo>
                    <a:pt x="1570308" y="4200666"/>
                    <a:pt x="1569990" y="4193378"/>
                    <a:pt x="1569037" y="4186723"/>
                  </a:cubicBezTo>
                  <a:cubicBezTo>
                    <a:pt x="1564908" y="4156936"/>
                    <a:pt x="1547439" y="4123662"/>
                    <a:pt x="1542357" y="4114473"/>
                  </a:cubicBezTo>
                  <a:close/>
                  <a:moveTo>
                    <a:pt x="1874587" y="4113522"/>
                  </a:moveTo>
                  <a:cubicBezTo>
                    <a:pt x="1868234" y="4160105"/>
                    <a:pt x="1862517" y="4205420"/>
                    <a:pt x="1857118" y="4245664"/>
                  </a:cubicBezTo>
                  <a:cubicBezTo>
                    <a:pt x="1857118" y="4245664"/>
                    <a:pt x="1857118" y="4245664"/>
                    <a:pt x="2040066" y="4259924"/>
                  </a:cubicBezTo>
                  <a:cubicBezTo>
                    <a:pt x="2040066" y="4259924"/>
                    <a:pt x="2040066" y="4259924"/>
                    <a:pt x="2046736" y="4197497"/>
                  </a:cubicBezTo>
                  <a:lnTo>
                    <a:pt x="1865693" y="4183554"/>
                  </a:lnTo>
                  <a:cubicBezTo>
                    <a:pt x="1865693" y="4183554"/>
                    <a:pt x="1865693" y="4183554"/>
                    <a:pt x="1866011" y="4179118"/>
                  </a:cubicBezTo>
                  <a:cubicBezTo>
                    <a:pt x="1866011" y="4179118"/>
                    <a:pt x="1866011" y="4179118"/>
                    <a:pt x="2047371" y="4193061"/>
                  </a:cubicBezTo>
                  <a:cubicBezTo>
                    <a:pt x="2047371" y="4193061"/>
                    <a:pt x="2047371" y="4193061"/>
                    <a:pt x="2054359" y="4127148"/>
                  </a:cubicBezTo>
                  <a:cubicBezTo>
                    <a:pt x="2054359" y="4127148"/>
                    <a:pt x="2054359" y="4127148"/>
                    <a:pt x="1941604" y="4118592"/>
                  </a:cubicBezTo>
                  <a:cubicBezTo>
                    <a:pt x="1941604" y="4118592"/>
                    <a:pt x="1941604" y="4118592"/>
                    <a:pt x="1936204" y="4169928"/>
                  </a:cubicBezTo>
                  <a:cubicBezTo>
                    <a:pt x="1936204" y="4169928"/>
                    <a:pt x="1936204" y="4169928"/>
                    <a:pt x="1885068" y="4163590"/>
                  </a:cubicBezTo>
                  <a:cubicBezTo>
                    <a:pt x="1885068" y="4163590"/>
                    <a:pt x="1885068" y="4163590"/>
                    <a:pt x="1890150" y="4114790"/>
                  </a:cubicBezTo>
                  <a:cubicBezTo>
                    <a:pt x="1890150" y="4114790"/>
                    <a:pt x="1890150" y="4114790"/>
                    <a:pt x="1874587" y="4113522"/>
                  </a:cubicBezTo>
                  <a:close/>
                  <a:moveTo>
                    <a:pt x="1750398" y="4113205"/>
                  </a:moveTo>
                  <a:cubicBezTo>
                    <a:pt x="1750398" y="4113205"/>
                    <a:pt x="1750398" y="4113205"/>
                    <a:pt x="1796770" y="4121444"/>
                  </a:cubicBezTo>
                  <a:lnTo>
                    <a:pt x="1790735" y="4154084"/>
                  </a:lnTo>
                  <a:cubicBezTo>
                    <a:pt x="1790735" y="4154084"/>
                    <a:pt x="1790735" y="4154084"/>
                    <a:pt x="1744363" y="4145528"/>
                  </a:cubicBezTo>
                  <a:cubicBezTo>
                    <a:pt x="1744363" y="4145528"/>
                    <a:pt x="1744363" y="4145528"/>
                    <a:pt x="1744998" y="4143626"/>
                  </a:cubicBezTo>
                  <a:cubicBezTo>
                    <a:pt x="1744998" y="4143626"/>
                    <a:pt x="1744998" y="4143626"/>
                    <a:pt x="1750398" y="4113205"/>
                  </a:cubicBezTo>
                  <a:close/>
                  <a:moveTo>
                    <a:pt x="1543628" y="4107184"/>
                  </a:moveTo>
                  <a:cubicBezTo>
                    <a:pt x="1543628" y="4107184"/>
                    <a:pt x="1543628" y="4107184"/>
                    <a:pt x="1545216" y="4109402"/>
                  </a:cubicBezTo>
                  <a:cubicBezTo>
                    <a:pt x="1545216" y="4109719"/>
                    <a:pt x="1568720" y="4149647"/>
                    <a:pt x="1573802" y="4186089"/>
                  </a:cubicBezTo>
                  <a:cubicBezTo>
                    <a:pt x="1574754" y="4193061"/>
                    <a:pt x="1575072" y="4200349"/>
                    <a:pt x="1575072" y="4207955"/>
                  </a:cubicBezTo>
                  <a:cubicBezTo>
                    <a:pt x="1575072" y="4238693"/>
                    <a:pt x="1568084" y="4269431"/>
                    <a:pt x="1568084" y="4269431"/>
                  </a:cubicBezTo>
                  <a:cubicBezTo>
                    <a:pt x="1568084" y="4269431"/>
                    <a:pt x="1568084" y="4269431"/>
                    <a:pt x="1567767" y="4271015"/>
                  </a:cubicBezTo>
                  <a:cubicBezTo>
                    <a:pt x="1567767" y="4271015"/>
                    <a:pt x="1567767" y="4271015"/>
                    <a:pt x="1517265" y="4278621"/>
                  </a:cubicBezTo>
                  <a:cubicBezTo>
                    <a:pt x="1517265" y="4278621"/>
                    <a:pt x="1517265" y="4278621"/>
                    <a:pt x="1471846" y="4236792"/>
                  </a:cubicBezTo>
                  <a:cubicBezTo>
                    <a:pt x="1471846" y="4236792"/>
                    <a:pt x="1471846" y="4236792"/>
                    <a:pt x="1484868" y="4200983"/>
                  </a:cubicBezTo>
                  <a:cubicBezTo>
                    <a:pt x="1484868" y="4200983"/>
                    <a:pt x="1484868" y="4200983"/>
                    <a:pt x="1517901" y="4201300"/>
                  </a:cubicBezTo>
                  <a:cubicBezTo>
                    <a:pt x="1518853" y="4198448"/>
                    <a:pt x="1520442" y="4192427"/>
                    <a:pt x="1520442" y="4185139"/>
                  </a:cubicBezTo>
                  <a:cubicBezTo>
                    <a:pt x="1520442" y="4183554"/>
                    <a:pt x="1520124" y="4181970"/>
                    <a:pt x="1520124" y="4180385"/>
                  </a:cubicBezTo>
                  <a:cubicBezTo>
                    <a:pt x="1518853" y="4168977"/>
                    <a:pt x="1505831" y="4141725"/>
                    <a:pt x="1505831" y="4141725"/>
                  </a:cubicBezTo>
                  <a:cubicBezTo>
                    <a:pt x="1505831" y="4141725"/>
                    <a:pt x="1505831" y="4141725"/>
                    <a:pt x="1504878" y="4140141"/>
                  </a:cubicBezTo>
                  <a:cubicBezTo>
                    <a:pt x="1504878" y="4140141"/>
                    <a:pt x="1504878" y="4140141"/>
                    <a:pt x="1543628" y="4107184"/>
                  </a:cubicBezTo>
                  <a:close/>
                  <a:moveTo>
                    <a:pt x="1357185" y="4107184"/>
                  </a:moveTo>
                  <a:cubicBezTo>
                    <a:pt x="1351786" y="4112571"/>
                    <a:pt x="1337175" y="4125881"/>
                    <a:pt x="1331458" y="4130634"/>
                  </a:cubicBezTo>
                  <a:cubicBezTo>
                    <a:pt x="1324153" y="4136655"/>
                    <a:pt x="1311448" y="4138239"/>
                    <a:pt x="1286992" y="4168344"/>
                  </a:cubicBezTo>
                  <a:cubicBezTo>
                    <a:pt x="1274922" y="4182920"/>
                    <a:pt x="1265076" y="4203201"/>
                    <a:pt x="1258088" y="4219680"/>
                  </a:cubicBezTo>
                  <a:cubicBezTo>
                    <a:pt x="1252054" y="4234573"/>
                    <a:pt x="1248560" y="4246298"/>
                    <a:pt x="1247607" y="4248516"/>
                  </a:cubicBezTo>
                  <a:lnTo>
                    <a:pt x="1247607" y="4359744"/>
                  </a:lnTo>
                  <a:cubicBezTo>
                    <a:pt x="1247607" y="4359744"/>
                    <a:pt x="1247607" y="4359744"/>
                    <a:pt x="1311766" y="4428192"/>
                  </a:cubicBezTo>
                  <a:cubicBezTo>
                    <a:pt x="1316530" y="4428826"/>
                    <a:pt x="1336858" y="4432311"/>
                    <a:pt x="1358138" y="4435797"/>
                  </a:cubicBezTo>
                  <a:cubicBezTo>
                    <a:pt x="1376560" y="4438649"/>
                    <a:pt x="1395617" y="4441818"/>
                    <a:pt x="1404193" y="4443086"/>
                  </a:cubicBezTo>
                  <a:cubicBezTo>
                    <a:pt x="1406734" y="4429459"/>
                    <a:pt x="1410863" y="4402841"/>
                    <a:pt x="1414674" y="4376539"/>
                  </a:cubicBezTo>
                  <a:cubicBezTo>
                    <a:pt x="1419756" y="4343266"/>
                    <a:pt x="1424521" y="4309359"/>
                    <a:pt x="1425474" y="4302070"/>
                  </a:cubicBezTo>
                  <a:cubicBezTo>
                    <a:pt x="1427379" y="4285592"/>
                    <a:pt x="1433414" y="4250418"/>
                    <a:pt x="1436273" y="4234573"/>
                  </a:cubicBezTo>
                  <a:cubicBezTo>
                    <a:pt x="1437543" y="4228869"/>
                    <a:pt x="1440402" y="4220630"/>
                    <a:pt x="1444213" y="4209856"/>
                  </a:cubicBezTo>
                  <a:cubicBezTo>
                    <a:pt x="1452471" y="4187674"/>
                    <a:pt x="1464223" y="4157253"/>
                    <a:pt x="1470893" y="4140141"/>
                  </a:cubicBezTo>
                  <a:lnTo>
                    <a:pt x="1471049" y="4139777"/>
                  </a:lnTo>
                  <a:lnTo>
                    <a:pt x="1471211" y="4139824"/>
                  </a:lnTo>
                  <a:cubicBezTo>
                    <a:pt x="1471846" y="4137922"/>
                    <a:pt x="1471846" y="4137922"/>
                    <a:pt x="1471846" y="4137922"/>
                  </a:cubicBezTo>
                  <a:lnTo>
                    <a:pt x="1471049" y="4139777"/>
                  </a:lnTo>
                  <a:lnTo>
                    <a:pt x="1469429" y="4139314"/>
                  </a:lnTo>
                  <a:cubicBezTo>
                    <a:pt x="1464084" y="4137784"/>
                    <a:pt x="1442704" y="4131664"/>
                    <a:pt x="1357185" y="4107184"/>
                  </a:cubicBezTo>
                  <a:close/>
                  <a:moveTo>
                    <a:pt x="3210491" y="4104015"/>
                  </a:moveTo>
                  <a:lnTo>
                    <a:pt x="3169518" y="4117008"/>
                  </a:lnTo>
                  <a:cubicBezTo>
                    <a:pt x="3174600" y="4132535"/>
                    <a:pt x="3179682" y="4146478"/>
                    <a:pt x="3182541" y="4155351"/>
                  </a:cubicBezTo>
                  <a:cubicBezTo>
                    <a:pt x="3182541" y="4155351"/>
                    <a:pt x="3182541" y="4155351"/>
                    <a:pt x="3223831" y="4142359"/>
                  </a:cubicBezTo>
                  <a:cubicBezTo>
                    <a:pt x="3220972" y="4134120"/>
                    <a:pt x="3215891" y="4119860"/>
                    <a:pt x="3210491" y="4104015"/>
                  </a:cubicBezTo>
                  <a:close/>
                  <a:moveTo>
                    <a:pt x="3362948" y="4103065"/>
                  </a:moveTo>
                  <a:lnTo>
                    <a:pt x="3322611" y="4115740"/>
                  </a:lnTo>
                  <a:cubicBezTo>
                    <a:pt x="3323564" y="4118275"/>
                    <a:pt x="3323881" y="4119860"/>
                    <a:pt x="3324199" y="4120810"/>
                  </a:cubicBezTo>
                  <a:cubicBezTo>
                    <a:pt x="3338174" y="4116374"/>
                    <a:pt x="3351514" y="4111938"/>
                    <a:pt x="3364536" y="4107818"/>
                  </a:cubicBezTo>
                  <a:cubicBezTo>
                    <a:pt x="3363901" y="4106550"/>
                    <a:pt x="3363584" y="4104966"/>
                    <a:pt x="3362948" y="4103065"/>
                  </a:cubicBezTo>
                  <a:close/>
                  <a:moveTo>
                    <a:pt x="1705613" y="4100846"/>
                  </a:moveTo>
                  <a:lnTo>
                    <a:pt x="1710060" y="4143309"/>
                  </a:lnTo>
                  <a:cubicBezTo>
                    <a:pt x="1710060" y="4143309"/>
                    <a:pt x="1710060" y="4143309"/>
                    <a:pt x="1816145" y="4163273"/>
                  </a:cubicBezTo>
                  <a:cubicBezTo>
                    <a:pt x="1816145" y="4163273"/>
                    <a:pt x="1816145" y="4163273"/>
                    <a:pt x="1820591" y="4122395"/>
                  </a:cubicBezTo>
                  <a:cubicBezTo>
                    <a:pt x="1794229" y="4117642"/>
                    <a:pt x="1729752" y="4105283"/>
                    <a:pt x="1705613" y="4100846"/>
                  </a:cubicBezTo>
                  <a:close/>
                  <a:moveTo>
                    <a:pt x="1594129" y="4098311"/>
                  </a:moveTo>
                  <a:cubicBezTo>
                    <a:pt x="1598576" y="4106550"/>
                    <a:pt x="1608422" y="4125881"/>
                    <a:pt x="1613821" y="4147429"/>
                  </a:cubicBezTo>
                  <a:cubicBezTo>
                    <a:pt x="1619856" y="4171512"/>
                    <a:pt x="1620809" y="4200033"/>
                    <a:pt x="1620809" y="4212074"/>
                  </a:cubicBezTo>
                  <a:cubicBezTo>
                    <a:pt x="1620809" y="4213342"/>
                    <a:pt x="1620809" y="4214609"/>
                    <a:pt x="1620809" y="4215243"/>
                  </a:cubicBezTo>
                  <a:cubicBezTo>
                    <a:pt x="1625256" y="4215560"/>
                    <a:pt x="1636372" y="4215877"/>
                    <a:pt x="1647807" y="4216511"/>
                  </a:cubicBezTo>
                  <a:cubicBezTo>
                    <a:pt x="1655112" y="4216511"/>
                    <a:pt x="1662417" y="4216828"/>
                    <a:pt x="1667817" y="4217144"/>
                  </a:cubicBezTo>
                  <a:cubicBezTo>
                    <a:pt x="1670675" y="4217461"/>
                    <a:pt x="1672899" y="4217461"/>
                    <a:pt x="1674487" y="4217461"/>
                  </a:cubicBezTo>
                  <a:cubicBezTo>
                    <a:pt x="1674804" y="4217461"/>
                    <a:pt x="1674804" y="4217461"/>
                    <a:pt x="1675122" y="4217461"/>
                  </a:cubicBezTo>
                  <a:cubicBezTo>
                    <a:pt x="1675757" y="4213342"/>
                    <a:pt x="1677663" y="4204469"/>
                    <a:pt x="1679569" y="4195279"/>
                  </a:cubicBezTo>
                  <a:cubicBezTo>
                    <a:pt x="1681157" y="4187357"/>
                    <a:pt x="1682745" y="4179118"/>
                    <a:pt x="1683698" y="4174681"/>
                  </a:cubicBezTo>
                  <a:cubicBezTo>
                    <a:pt x="1683698" y="4174681"/>
                    <a:pt x="1683698" y="4174681"/>
                    <a:pt x="1648124" y="4182287"/>
                  </a:cubicBezTo>
                  <a:cubicBezTo>
                    <a:pt x="1648124" y="4182287"/>
                    <a:pt x="1648124" y="4182287"/>
                    <a:pt x="1662417" y="4147746"/>
                  </a:cubicBezTo>
                  <a:cubicBezTo>
                    <a:pt x="1662417" y="4147746"/>
                    <a:pt x="1662417" y="4147746"/>
                    <a:pt x="1688144" y="4150915"/>
                  </a:cubicBezTo>
                  <a:cubicBezTo>
                    <a:pt x="1688144" y="4150915"/>
                    <a:pt x="1688144" y="4150915"/>
                    <a:pt x="1682110" y="4109086"/>
                  </a:cubicBezTo>
                  <a:close/>
                  <a:moveTo>
                    <a:pt x="994782" y="4096093"/>
                  </a:moveTo>
                  <a:cubicBezTo>
                    <a:pt x="994782" y="4096093"/>
                    <a:pt x="994782" y="4096093"/>
                    <a:pt x="943011" y="4145528"/>
                  </a:cubicBezTo>
                  <a:cubicBezTo>
                    <a:pt x="943011" y="4145528"/>
                    <a:pt x="943011" y="4145528"/>
                    <a:pt x="961750" y="4157253"/>
                  </a:cubicBezTo>
                  <a:lnTo>
                    <a:pt x="1013840" y="4113839"/>
                  </a:lnTo>
                  <a:cubicBezTo>
                    <a:pt x="1013840" y="4113839"/>
                    <a:pt x="1013840" y="4113839"/>
                    <a:pt x="995100" y="4110036"/>
                  </a:cubicBezTo>
                  <a:cubicBezTo>
                    <a:pt x="995100" y="4110036"/>
                    <a:pt x="995100" y="4110036"/>
                    <a:pt x="994782" y="4096093"/>
                  </a:cubicBezTo>
                  <a:close/>
                  <a:moveTo>
                    <a:pt x="1585236" y="4092607"/>
                  </a:moveTo>
                  <a:cubicBezTo>
                    <a:pt x="1585236" y="4092607"/>
                    <a:pt x="1585236" y="4092607"/>
                    <a:pt x="1686239" y="4104966"/>
                  </a:cubicBezTo>
                  <a:cubicBezTo>
                    <a:pt x="1686239" y="4104966"/>
                    <a:pt x="1686239" y="4104966"/>
                    <a:pt x="1686556" y="4106867"/>
                  </a:cubicBezTo>
                  <a:cubicBezTo>
                    <a:pt x="1686556" y="4106867"/>
                    <a:pt x="1686556" y="4106867"/>
                    <a:pt x="1693861" y="4156619"/>
                  </a:cubicBezTo>
                  <a:cubicBezTo>
                    <a:pt x="1693861" y="4156619"/>
                    <a:pt x="1693861" y="4156619"/>
                    <a:pt x="1665593" y="4152816"/>
                  </a:cubicBezTo>
                  <a:cubicBezTo>
                    <a:pt x="1665593" y="4152816"/>
                    <a:pt x="1665593" y="4152816"/>
                    <a:pt x="1656065" y="4175949"/>
                  </a:cubicBezTo>
                  <a:cubicBezTo>
                    <a:pt x="1656065" y="4175949"/>
                    <a:pt x="1656065" y="4175949"/>
                    <a:pt x="1689732" y="4168660"/>
                  </a:cubicBezTo>
                  <a:cubicBezTo>
                    <a:pt x="1689732" y="4168660"/>
                    <a:pt x="1689732" y="4168660"/>
                    <a:pt x="1688780" y="4172146"/>
                  </a:cubicBezTo>
                  <a:cubicBezTo>
                    <a:pt x="1688780" y="4172146"/>
                    <a:pt x="1686556" y="4184188"/>
                    <a:pt x="1684015" y="4196230"/>
                  </a:cubicBezTo>
                  <a:cubicBezTo>
                    <a:pt x="1682745" y="4202251"/>
                    <a:pt x="1681474" y="4208272"/>
                    <a:pt x="1680839" y="4212708"/>
                  </a:cubicBezTo>
                  <a:cubicBezTo>
                    <a:pt x="1680204" y="4215243"/>
                    <a:pt x="1679886" y="4217144"/>
                    <a:pt x="1679569" y="4218412"/>
                  </a:cubicBezTo>
                  <a:cubicBezTo>
                    <a:pt x="1679569" y="4219046"/>
                    <a:pt x="1679251" y="4219680"/>
                    <a:pt x="1679251" y="4219996"/>
                  </a:cubicBezTo>
                  <a:cubicBezTo>
                    <a:pt x="1679251" y="4219996"/>
                    <a:pt x="1679251" y="4219996"/>
                    <a:pt x="1679251" y="4220313"/>
                  </a:cubicBezTo>
                  <a:cubicBezTo>
                    <a:pt x="1679251" y="4220947"/>
                    <a:pt x="1678933" y="4220947"/>
                    <a:pt x="1678933" y="4221264"/>
                  </a:cubicBezTo>
                  <a:cubicBezTo>
                    <a:pt x="1678933" y="4221264"/>
                    <a:pt x="1678933" y="4221264"/>
                    <a:pt x="1677028" y="4220313"/>
                  </a:cubicBezTo>
                  <a:cubicBezTo>
                    <a:pt x="1677028" y="4220313"/>
                    <a:pt x="1677028" y="4220313"/>
                    <a:pt x="1677028" y="4222532"/>
                  </a:cubicBezTo>
                  <a:cubicBezTo>
                    <a:pt x="1676710" y="4222532"/>
                    <a:pt x="1676710" y="4222532"/>
                    <a:pt x="1676710" y="4222532"/>
                  </a:cubicBezTo>
                  <a:cubicBezTo>
                    <a:pt x="1676710" y="4222532"/>
                    <a:pt x="1676392" y="4222532"/>
                    <a:pt x="1676075" y="4222215"/>
                  </a:cubicBezTo>
                  <a:cubicBezTo>
                    <a:pt x="1671628" y="4221898"/>
                    <a:pt x="1618268" y="4219996"/>
                    <a:pt x="1618268" y="4219996"/>
                  </a:cubicBezTo>
                  <a:cubicBezTo>
                    <a:pt x="1618268" y="4219996"/>
                    <a:pt x="1618268" y="4219996"/>
                    <a:pt x="1615727" y="4219996"/>
                  </a:cubicBezTo>
                  <a:cubicBezTo>
                    <a:pt x="1615727" y="4219996"/>
                    <a:pt x="1615727" y="4219996"/>
                    <a:pt x="1616045" y="4217461"/>
                  </a:cubicBezTo>
                  <a:cubicBezTo>
                    <a:pt x="1616045" y="4217461"/>
                    <a:pt x="1616045" y="4215560"/>
                    <a:pt x="1616045" y="4212074"/>
                  </a:cubicBezTo>
                  <a:cubicBezTo>
                    <a:pt x="1616045" y="4200349"/>
                    <a:pt x="1615410" y="4171829"/>
                    <a:pt x="1609375" y="4148697"/>
                  </a:cubicBezTo>
                  <a:cubicBezTo>
                    <a:pt x="1602387" y="4121127"/>
                    <a:pt x="1587777" y="4096727"/>
                    <a:pt x="1587777" y="4096727"/>
                  </a:cubicBezTo>
                  <a:cubicBezTo>
                    <a:pt x="1587777" y="4096727"/>
                    <a:pt x="1587777" y="4096727"/>
                    <a:pt x="1585236" y="4092607"/>
                  </a:cubicBezTo>
                  <a:close/>
                  <a:moveTo>
                    <a:pt x="3253052" y="4090389"/>
                  </a:moveTo>
                  <a:cubicBezTo>
                    <a:pt x="3253052" y="4090389"/>
                    <a:pt x="3253052" y="4090389"/>
                    <a:pt x="3214938" y="4102748"/>
                  </a:cubicBezTo>
                  <a:cubicBezTo>
                    <a:pt x="3220338" y="4118592"/>
                    <a:pt x="3225102" y="4132852"/>
                    <a:pt x="3227960" y="4141091"/>
                  </a:cubicBezTo>
                  <a:cubicBezTo>
                    <a:pt x="3227960" y="4141091"/>
                    <a:pt x="3227960" y="4141091"/>
                    <a:pt x="3266392" y="4129049"/>
                  </a:cubicBezTo>
                  <a:cubicBezTo>
                    <a:pt x="3263216" y="4120177"/>
                    <a:pt x="3258452" y="4105917"/>
                    <a:pt x="3253052" y="4090389"/>
                  </a:cubicBezTo>
                  <a:close/>
                  <a:moveTo>
                    <a:pt x="2079133" y="4090072"/>
                  </a:moveTo>
                  <a:cubicBezTo>
                    <a:pt x="2079133" y="4090072"/>
                    <a:pt x="2079133" y="4090072"/>
                    <a:pt x="2064840" y="4224750"/>
                  </a:cubicBezTo>
                  <a:cubicBezTo>
                    <a:pt x="2089932" y="4228236"/>
                    <a:pt x="2161396" y="4238376"/>
                    <a:pt x="2172195" y="4239960"/>
                  </a:cubicBezTo>
                  <a:cubicBezTo>
                    <a:pt x="2174101" y="4237742"/>
                    <a:pt x="2178865" y="4231404"/>
                    <a:pt x="2183947" y="4225067"/>
                  </a:cubicBezTo>
                  <a:cubicBezTo>
                    <a:pt x="2186806" y="4220947"/>
                    <a:pt x="2189982" y="4216828"/>
                    <a:pt x="2192205" y="4213342"/>
                  </a:cubicBezTo>
                  <a:cubicBezTo>
                    <a:pt x="2193476" y="4211757"/>
                    <a:pt x="2194428" y="4210490"/>
                    <a:pt x="2195064" y="4209539"/>
                  </a:cubicBezTo>
                  <a:cubicBezTo>
                    <a:pt x="2195064" y="4209222"/>
                    <a:pt x="2195382" y="4208905"/>
                    <a:pt x="2195382" y="4208588"/>
                  </a:cubicBezTo>
                  <a:cubicBezTo>
                    <a:pt x="2195064" y="4207321"/>
                    <a:pt x="2195064" y="4206053"/>
                    <a:pt x="2195064" y="4203835"/>
                  </a:cubicBezTo>
                  <a:cubicBezTo>
                    <a:pt x="2195064" y="4189575"/>
                    <a:pt x="2197605" y="4144260"/>
                    <a:pt x="2200463" y="4098311"/>
                  </a:cubicBezTo>
                  <a:cubicBezTo>
                    <a:pt x="2189664" y="4097678"/>
                    <a:pt x="2108672" y="4092290"/>
                    <a:pt x="2079133" y="4090072"/>
                  </a:cubicBezTo>
                  <a:close/>
                  <a:moveTo>
                    <a:pt x="289351" y="4090072"/>
                  </a:moveTo>
                  <a:cubicBezTo>
                    <a:pt x="289351" y="4090072"/>
                    <a:pt x="289351" y="4090072"/>
                    <a:pt x="229639" y="4102748"/>
                  </a:cubicBezTo>
                  <a:cubicBezTo>
                    <a:pt x="229639" y="4102748"/>
                    <a:pt x="229639" y="4102748"/>
                    <a:pt x="226462" y="4171196"/>
                  </a:cubicBezTo>
                  <a:cubicBezTo>
                    <a:pt x="226462" y="4171196"/>
                    <a:pt x="226462" y="4171196"/>
                    <a:pt x="316666" y="4170245"/>
                  </a:cubicBezTo>
                  <a:cubicBezTo>
                    <a:pt x="316666" y="4170245"/>
                    <a:pt x="316666" y="4170245"/>
                    <a:pt x="317619" y="4145211"/>
                  </a:cubicBezTo>
                  <a:lnTo>
                    <a:pt x="266165" y="4118909"/>
                  </a:lnTo>
                  <a:cubicBezTo>
                    <a:pt x="266165" y="4118909"/>
                    <a:pt x="266165" y="4118909"/>
                    <a:pt x="289033" y="4099262"/>
                  </a:cubicBezTo>
                  <a:cubicBezTo>
                    <a:pt x="289033" y="4099262"/>
                    <a:pt x="289033" y="4099262"/>
                    <a:pt x="289351" y="4090072"/>
                  </a:cubicBezTo>
                  <a:close/>
                  <a:moveTo>
                    <a:pt x="3406462" y="4089439"/>
                  </a:moveTo>
                  <a:lnTo>
                    <a:pt x="3367077" y="4101797"/>
                  </a:lnTo>
                  <a:cubicBezTo>
                    <a:pt x="3367712" y="4103382"/>
                    <a:pt x="3368348" y="4104966"/>
                    <a:pt x="3368666" y="4106550"/>
                  </a:cubicBezTo>
                  <a:cubicBezTo>
                    <a:pt x="3382323" y="4102114"/>
                    <a:pt x="3395663" y="4097678"/>
                    <a:pt x="3408050" y="4093875"/>
                  </a:cubicBezTo>
                  <a:cubicBezTo>
                    <a:pt x="3407732" y="4092607"/>
                    <a:pt x="3407097" y="4091023"/>
                    <a:pt x="3406462" y="4089439"/>
                  </a:cubicBezTo>
                  <a:close/>
                  <a:moveTo>
                    <a:pt x="144834" y="4087220"/>
                  </a:moveTo>
                  <a:lnTo>
                    <a:pt x="144199" y="4122712"/>
                  </a:lnTo>
                  <a:cubicBezTo>
                    <a:pt x="144199" y="4122712"/>
                    <a:pt x="144199" y="4122712"/>
                    <a:pt x="179773" y="4123346"/>
                  </a:cubicBezTo>
                  <a:cubicBezTo>
                    <a:pt x="179773" y="4123346"/>
                    <a:pt x="179773" y="4123346"/>
                    <a:pt x="180408" y="4087854"/>
                  </a:cubicBezTo>
                  <a:cubicBezTo>
                    <a:pt x="180408" y="4087854"/>
                    <a:pt x="180408" y="4087854"/>
                    <a:pt x="144834" y="4087220"/>
                  </a:cubicBezTo>
                  <a:close/>
                  <a:moveTo>
                    <a:pt x="414175" y="4086903"/>
                  </a:moveTo>
                  <a:lnTo>
                    <a:pt x="384319" y="4093241"/>
                  </a:lnTo>
                  <a:cubicBezTo>
                    <a:pt x="384319" y="4093241"/>
                    <a:pt x="384319" y="4093241"/>
                    <a:pt x="408140" y="4130000"/>
                  </a:cubicBezTo>
                  <a:cubicBezTo>
                    <a:pt x="408140" y="4130000"/>
                    <a:pt x="408140" y="4130000"/>
                    <a:pt x="410681" y="4192427"/>
                  </a:cubicBezTo>
                  <a:cubicBezTo>
                    <a:pt x="410681" y="4192427"/>
                    <a:pt x="410681" y="4192427"/>
                    <a:pt x="447525" y="4220313"/>
                  </a:cubicBezTo>
                  <a:cubicBezTo>
                    <a:pt x="447525" y="4220313"/>
                    <a:pt x="447525" y="4220313"/>
                    <a:pt x="460865" y="4200983"/>
                  </a:cubicBezTo>
                  <a:cubicBezTo>
                    <a:pt x="460865" y="4200983"/>
                    <a:pt x="460865" y="4200983"/>
                    <a:pt x="449431" y="4106867"/>
                  </a:cubicBezTo>
                  <a:cubicBezTo>
                    <a:pt x="449431" y="4106867"/>
                    <a:pt x="449431" y="4106867"/>
                    <a:pt x="414175" y="4086903"/>
                  </a:cubicBezTo>
                  <a:close/>
                  <a:moveTo>
                    <a:pt x="999229" y="4085319"/>
                  </a:moveTo>
                  <a:cubicBezTo>
                    <a:pt x="999229" y="4085319"/>
                    <a:pt x="999229" y="4085319"/>
                    <a:pt x="999547" y="4106234"/>
                  </a:cubicBezTo>
                  <a:cubicBezTo>
                    <a:pt x="999547" y="4106234"/>
                    <a:pt x="999547" y="4106234"/>
                    <a:pt x="1024321" y="4111304"/>
                  </a:cubicBezTo>
                  <a:lnTo>
                    <a:pt x="1020510" y="4114473"/>
                  </a:lnTo>
                  <a:cubicBezTo>
                    <a:pt x="1020510" y="4114473"/>
                    <a:pt x="1020510" y="4114473"/>
                    <a:pt x="962068" y="4162956"/>
                  </a:cubicBezTo>
                  <a:cubicBezTo>
                    <a:pt x="962068" y="4162956"/>
                    <a:pt x="962068" y="4162956"/>
                    <a:pt x="935388" y="4146478"/>
                  </a:cubicBezTo>
                  <a:cubicBezTo>
                    <a:pt x="935388" y="4146478"/>
                    <a:pt x="935388" y="4146478"/>
                    <a:pt x="999229" y="4085319"/>
                  </a:cubicBezTo>
                  <a:close/>
                  <a:moveTo>
                    <a:pt x="294115" y="4084368"/>
                  </a:moveTo>
                  <a:cubicBezTo>
                    <a:pt x="294115" y="4084368"/>
                    <a:pt x="294115" y="4084368"/>
                    <a:pt x="294115" y="4087220"/>
                  </a:cubicBezTo>
                  <a:cubicBezTo>
                    <a:pt x="294115" y="4087220"/>
                    <a:pt x="294115" y="4087220"/>
                    <a:pt x="293798" y="4101480"/>
                  </a:cubicBezTo>
                  <a:lnTo>
                    <a:pt x="274423" y="4117958"/>
                  </a:lnTo>
                  <a:cubicBezTo>
                    <a:pt x="274423" y="4117958"/>
                    <a:pt x="274423" y="4117958"/>
                    <a:pt x="322701" y="4142359"/>
                  </a:cubicBezTo>
                  <a:cubicBezTo>
                    <a:pt x="322701" y="4142359"/>
                    <a:pt x="322701" y="4142359"/>
                    <a:pt x="321113" y="4174998"/>
                  </a:cubicBezTo>
                  <a:cubicBezTo>
                    <a:pt x="321113" y="4174998"/>
                    <a:pt x="321113" y="4174998"/>
                    <a:pt x="221381" y="4175949"/>
                  </a:cubicBezTo>
                  <a:cubicBezTo>
                    <a:pt x="221381" y="4175949"/>
                    <a:pt x="221381" y="4175949"/>
                    <a:pt x="225192" y="4098945"/>
                  </a:cubicBezTo>
                  <a:cubicBezTo>
                    <a:pt x="225192" y="4098945"/>
                    <a:pt x="225192" y="4098945"/>
                    <a:pt x="294115" y="4084368"/>
                  </a:cubicBezTo>
                  <a:close/>
                  <a:moveTo>
                    <a:pt x="140705" y="4083101"/>
                  </a:moveTo>
                  <a:lnTo>
                    <a:pt x="142929" y="4083101"/>
                  </a:lnTo>
                  <a:cubicBezTo>
                    <a:pt x="142929" y="4083101"/>
                    <a:pt x="142929" y="4083101"/>
                    <a:pt x="184537" y="4084051"/>
                  </a:cubicBezTo>
                  <a:cubicBezTo>
                    <a:pt x="184537" y="4084051"/>
                    <a:pt x="184537" y="4084051"/>
                    <a:pt x="183902" y="4127465"/>
                  </a:cubicBezTo>
                  <a:cubicBezTo>
                    <a:pt x="183902" y="4127465"/>
                    <a:pt x="183902" y="4127465"/>
                    <a:pt x="140070" y="4126831"/>
                  </a:cubicBezTo>
                  <a:cubicBezTo>
                    <a:pt x="140070" y="4126831"/>
                    <a:pt x="140070" y="4126831"/>
                    <a:pt x="140705" y="4083101"/>
                  </a:cubicBezTo>
                  <a:close/>
                  <a:moveTo>
                    <a:pt x="414810" y="4082150"/>
                  </a:moveTo>
                  <a:cubicBezTo>
                    <a:pt x="414810" y="4082150"/>
                    <a:pt x="414810" y="4082150"/>
                    <a:pt x="416081" y="4083101"/>
                  </a:cubicBezTo>
                  <a:cubicBezTo>
                    <a:pt x="416081" y="4083101"/>
                    <a:pt x="416081" y="4083101"/>
                    <a:pt x="451337" y="4103065"/>
                  </a:cubicBezTo>
                  <a:cubicBezTo>
                    <a:pt x="451337" y="4103065"/>
                    <a:pt x="451337" y="4103065"/>
                    <a:pt x="453560" y="4104015"/>
                  </a:cubicBezTo>
                  <a:cubicBezTo>
                    <a:pt x="453560" y="4104015"/>
                    <a:pt x="453560" y="4104015"/>
                    <a:pt x="453560" y="4106234"/>
                  </a:cubicBezTo>
                  <a:cubicBezTo>
                    <a:pt x="453560" y="4106234"/>
                    <a:pt x="453560" y="4106234"/>
                    <a:pt x="465312" y="4200349"/>
                  </a:cubicBezTo>
                  <a:cubicBezTo>
                    <a:pt x="465312" y="4200349"/>
                    <a:pt x="465312" y="4200349"/>
                    <a:pt x="465312" y="4201934"/>
                  </a:cubicBezTo>
                  <a:cubicBezTo>
                    <a:pt x="465312" y="4201934"/>
                    <a:pt x="465312" y="4201934"/>
                    <a:pt x="464359" y="4203518"/>
                  </a:cubicBezTo>
                  <a:cubicBezTo>
                    <a:pt x="464359" y="4203518"/>
                    <a:pt x="464359" y="4203518"/>
                    <a:pt x="451019" y="4222848"/>
                  </a:cubicBezTo>
                  <a:cubicBezTo>
                    <a:pt x="451019" y="4222848"/>
                    <a:pt x="451019" y="4222848"/>
                    <a:pt x="448478" y="4226651"/>
                  </a:cubicBezTo>
                  <a:cubicBezTo>
                    <a:pt x="448478" y="4226651"/>
                    <a:pt x="448478" y="4226651"/>
                    <a:pt x="444667" y="4223799"/>
                  </a:cubicBezTo>
                  <a:cubicBezTo>
                    <a:pt x="444667" y="4223799"/>
                    <a:pt x="444667" y="4223799"/>
                    <a:pt x="408140" y="4195913"/>
                  </a:cubicBezTo>
                  <a:cubicBezTo>
                    <a:pt x="408140" y="4195913"/>
                    <a:pt x="408140" y="4195913"/>
                    <a:pt x="406235" y="4194645"/>
                  </a:cubicBezTo>
                  <a:cubicBezTo>
                    <a:pt x="406235" y="4194645"/>
                    <a:pt x="406235" y="4194645"/>
                    <a:pt x="406235" y="4192427"/>
                  </a:cubicBezTo>
                  <a:cubicBezTo>
                    <a:pt x="406235" y="4192427"/>
                    <a:pt x="406235" y="4192427"/>
                    <a:pt x="404011" y="4131268"/>
                  </a:cubicBezTo>
                  <a:lnTo>
                    <a:pt x="380508" y="4095459"/>
                  </a:lnTo>
                  <a:cubicBezTo>
                    <a:pt x="380508" y="4095459"/>
                    <a:pt x="380508" y="4095459"/>
                    <a:pt x="377014" y="4090072"/>
                  </a:cubicBezTo>
                  <a:cubicBezTo>
                    <a:pt x="377014" y="4090072"/>
                    <a:pt x="377014" y="4090072"/>
                    <a:pt x="383366" y="4088805"/>
                  </a:cubicBezTo>
                  <a:cubicBezTo>
                    <a:pt x="383366" y="4088805"/>
                    <a:pt x="383366" y="4088805"/>
                    <a:pt x="413222" y="4082467"/>
                  </a:cubicBezTo>
                  <a:cubicBezTo>
                    <a:pt x="413222" y="4082467"/>
                    <a:pt x="413222" y="4082467"/>
                    <a:pt x="414810" y="4082150"/>
                  </a:cubicBezTo>
                  <a:close/>
                  <a:moveTo>
                    <a:pt x="1562367" y="4079615"/>
                  </a:moveTo>
                  <a:cubicBezTo>
                    <a:pt x="1599846" y="4131268"/>
                    <a:pt x="1603658" y="4190843"/>
                    <a:pt x="1603658" y="4218412"/>
                  </a:cubicBezTo>
                  <a:cubicBezTo>
                    <a:pt x="1603658" y="4222532"/>
                    <a:pt x="1603658" y="4226017"/>
                    <a:pt x="1603340" y="4228552"/>
                  </a:cubicBezTo>
                  <a:cubicBezTo>
                    <a:pt x="1603340" y="4228552"/>
                    <a:pt x="1603340" y="4228552"/>
                    <a:pt x="1680839" y="4227919"/>
                  </a:cubicBezTo>
                  <a:cubicBezTo>
                    <a:pt x="1680839" y="4227919"/>
                    <a:pt x="1680839" y="4227919"/>
                    <a:pt x="1686874" y="4229186"/>
                  </a:cubicBezTo>
                  <a:cubicBezTo>
                    <a:pt x="1688462" y="4225384"/>
                    <a:pt x="1693226" y="4206370"/>
                    <a:pt x="1697673" y="4188624"/>
                  </a:cubicBezTo>
                  <a:cubicBezTo>
                    <a:pt x="1701802" y="4170562"/>
                    <a:pt x="1705613" y="4153450"/>
                    <a:pt x="1706249" y="4150598"/>
                  </a:cubicBezTo>
                  <a:cubicBezTo>
                    <a:pt x="1706249" y="4150598"/>
                    <a:pt x="1706249" y="4150598"/>
                    <a:pt x="1701167" y="4099896"/>
                  </a:cubicBezTo>
                  <a:cubicBezTo>
                    <a:pt x="1698308" y="4099579"/>
                    <a:pt x="1696402" y="4099262"/>
                    <a:pt x="1696402" y="4099262"/>
                  </a:cubicBezTo>
                  <a:cubicBezTo>
                    <a:pt x="1695450" y="4098945"/>
                    <a:pt x="1657971" y="4093558"/>
                    <a:pt x="1621444" y="4088171"/>
                  </a:cubicBezTo>
                  <a:cubicBezTo>
                    <a:pt x="1598893" y="4085002"/>
                    <a:pt x="1576342" y="4081833"/>
                    <a:pt x="1562367" y="4079615"/>
                  </a:cubicBezTo>
                  <a:close/>
                  <a:moveTo>
                    <a:pt x="3303871" y="4074545"/>
                  </a:moveTo>
                  <a:cubicBezTo>
                    <a:pt x="3303871" y="4074545"/>
                    <a:pt x="3303871" y="4074545"/>
                    <a:pt x="3257181" y="4089122"/>
                  </a:cubicBezTo>
                  <a:cubicBezTo>
                    <a:pt x="3262581" y="4104966"/>
                    <a:pt x="3267345" y="4118909"/>
                    <a:pt x="3270521" y="4127782"/>
                  </a:cubicBezTo>
                  <a:cubicBezTo>
                    <a:pt x="3270521" y="4127782"/>
                    <a:pt x="3270521" y="4127782"/>
                    <a:pt x="3316894" y="4113205"/>
                  </a:cubicBezTo>
                  <a:cubicBezTo>
                    <a:pt x="3314035" y="4104015"/>
                    <a:pt x="3308953" y="4090072"/>
                    <a:pt x="3303871" y="4074545"/>
                  </a:cubicBezTo>
                  <a:close/>
                  <a:moveTo>
                    <a:pt x="1538546" y="4072960"/>
                  </a:moveTo>
                  <a:cubicBezTo>
                    <a:pt x="1530288" y="4084051"/>
                    <a:pt x="1520442" y="4098628"/>
                    <a:pt x="1512183" y="4111304"/>
                  </a:cubicBezTo>
                  <a:cubicBezTo>
                    <a:pt x="1506149" y="4120810"/>
                    <a:pt x="1500749" y="4129049"/>
                    <a:pt x="1496938" y="4135070"/>
                  </a:cubicBezTo>
                  <a:cubicBezTo>
                    <a:pt x="1496303" y="4136655"/>
                    <a:pt x="1487727" y="4158203"/>
                    <a:pt x="1478516" y="4181653"/>
                  </a:cubicBezTo>
                  <a:cubicBezTo>
                    <a:pt x="1473752" y="4194012"/>
                    <a:pt x="1468670" y="4206687"/>
                    <a:pt x="1464858" y="4217144"/>
                  </a:cubicBezTo>
                  <a:cubicBezTo>
                    <a:pt x="1461047" y="4227602"/>
                    <a:pt x="1458188" y="4236475"/>
                    <a:pt x="1457871" y="4238693"/>
                  </a:cubicBezTo>
                  <a:cubicBezTo>
                    <a:pt x="1457553" y="4239643"/>
                    <a:pt x="1457553" y="4240911"/>
                    <a:pt x="1457235" y="4242179"/>
                  </a:cubicBezTo>
                  <a:cubicBezTo>
                    <a:pt x="1457235" y="4242179"/>
                    <a:pt x="1457235" y="4242179"/>
                    <a:pt x="1508690" y="4289712"/>
                  </a:cubicBezTo>
                  <a:cubicBezTo>
                    <a:pt x="1509007" y="4289712"/>
                    <a:pt x="1509007" y="4289712"/>
                    <a:pt x="1509007" y="4289712"/>
                  </a:cubicBezTo>
                  <a:cubicBezTo>
                    <a:pt x="1514407" y="4289078"/>
                    <a:pt x="1533782" y="4287177"/>
                    <a:pt x="1551886" y="4284958"/>
                  </a:cubicBezTo>
                  <a:cubicBezTo>
                    <a:pt x="1561097" y="4284008"/>
                    <a:pt x="1569672" y="4282740"/>
                    <a:pt x="1576342" y="4282106"/>
                  </a:cubicBezTo>
                  <a:cubicBezTo>
                    <a:pt x="1579201" y="4281790"/>
                    <a:pt x="1581742" y="4281473"/>
                    <a:pt x="1583648" y="4281156"/>
                  </a:cubicBezTo>
                  <a:cubicBezTo>
                    <a:pt x="1584601" y="4274184"/>
                    <a:pt x="1585236" y="4266896"/>
                    <a:pt x="1586189" y="4259924"/>
                  </a:cubicBezTo>
                  <a:cubicBezTo>
                    <a:pt x="1587777" y="4245347"/>
                    <a:pt x="1588730" y="4232038"/>
                    <a:pt x="1589047" y="4228552"/>
                  </a:cubicBezTo>
                  <a:cubicBezTo>
                    <a:pt x="1589047" y="4226017"/>
                    <a:pt x="1589365" y="4222848"/>
                    <a:pt x="1589365" y="4218412"/>
                  </a:cubicBezTo>
                  <a:cubicBezTo>
                    <a:pt x="1589365" y="4189575"/>
                    <a:pt x="1584918" y="4123029"/>
                    <a:pt x="1538546" y="4072960"/>
                  </a:cubicBezTo>
                  <a:close/>
                  <a:moveTo>
                    <a:pt x="308726" y="4072643"/>
                  </a:moveTo>
                  <a:cubicBezTo>
                    <a:pt x="304914" y="4073594"/>
                    <a:pt x="294751" y="4075495"/>
                    <a:pt x="294751" y="4075495"/>
                  </a:cubicBezTo>
                  <a:cubicBezTo>
                    <a:pt x="278870" y="4078981"/>
                    <a:pt x="258860" y="4082467"/>
                    <a:pt x="240120" y="4086903"/>
                  </a:cubicBezTo>
                  <a:cubicBezTo>
                    <a:pt x="230592" y="4088805"/>
                    <a:pt x="222016" y="4090706"/>
                    <a:pt x="215981" y="4092290"/>
                  </a:cubicBezTo>
                  <a:cubicBezTo>
                    <a:pt x="215981" y="4092290"/>
                    <a:pt x="215663" y="4092290"/>
                    <a:pt x="215346" y="4092290"/>
                  </a:cubicBezTo>
                  <a:cubicBezTo>
                    <a:pt x="216299" y="4097044"/>
                    <a:pt x="216616" y="4101163"/>
                    <a:pt x="216616" y="4105283"/>
                  </a:cubicBezTo>
                  <a:cubicBezTo>
                    <a:pt x="216934" y="4107818"/>
                    <a:pt x="216934" y="4110987"/>
                    <a:pt x="216934" y="4115106"/>
                  </a:cubicBezTo>
                  <a:cubicBezTo>
                    <a:pt x="216934" y="4129366"/>
                    <a:pt x="216299" y="4154401"/>
                    <a:pt x="215028" y="4179118"/>
                  </a:cubicBezTo>
                  <a:cubicBezTo>
                    <a:pt x="215028" y="4180385"/>
                    <a:pt x="215028" y="4181336"/>
                    <a:pt x="215028" y="4182604"/>
                  </a:cubicBezTo>
                  <a:cubicBezTo>
                    <a:pt x="215028" y="4182604"/>
                    <a:pt x="215028" y="4182604"/>
                    <a:pt x="325242" y="4181336"/>
                  </a:cubicBezTo>
                  <a:cubicBezTo>
                    <a:pt x="325242" y="4181336"/>
                    <a:pt x="325242" y="4181336"/>
                    <a:pt x="353192" y="4207004"/>
                  </a:cubicBezTo>
                  <a:cubicBezTo>
                    <a:pt x="353192" y="4207004"/>
                    <a:pt x="353192" y="4207004"/>
                    <a:pt x="352875" y="4144260"/>
                  </a:cubicBezTo>
                  <a:cubicBezTo>
                    <a:pt x="352875" y="4144260"/>
                    <a:pt x="352875" y="4144260"/>
                    <a:pt x="308726" y="4072643"/>
                  </a:cubicBezTo>
                  <a:close/>
                  <a:moveTo>
                    <a:pt x="2206498" y="4071376"/>
                  </a:moveTo>
                  <a:cubicBezTo>
                    <a:pt x="2203322" y="4125881"/>
                    <a:pt x="2199510" y="4187040"/>
                    <a:pt x="2199510" y="4203835"/>
                  </a:cubicBezTo>
                  <a:cubicBezTo>
                    <a:pt x="2199510" y="4205103"/>
                    <a:pt x="2199510" y="4206053"/>
                    <a:pt x="2199510" y="4206687"/>
                  </a:cubicBezTo>
                  <a:cubicBezTo>
                    <a:pt x="2204592" y="4208272"/>
                    <a:pt x="2233496" y="4215243"/>
                    <a:pt x="2261446" y="4222215"/>
                  </a:cubicBezTo>
                  <a:cubicBezTo>
                    <a:pt x="2282091" y="4227285"/>
                    <a:pt x="2302101" y="4232038"/>
                    <a:pt x="2312583" y="4234573"/>
                  </a:cubicBezTo>
                  <a:lnTo>
                    <a:pt x="2324335" y="4089755"/>
                  </a:lnTo>
                  <a:cubicBezTo>
                    <a:pt x="2324335" y="4089755"/>
                    <a:pt x="2324335" y="4089755"/>
                    <a:pt x="2206498" y="4071376"/>
                  </a:cubicBezTo>
                  <a:close/>
                  <a:moveTo>
                    <a:pt x="3703436" y="4062820"/>
                  </a:moveTo>
                  <a:cubicBezTo>
                    <a:pt x="3703436" y="4062820"/>
                    <a:pt x="3703436" y="4062820"/>
                    <a:pt x="3494760" y="4121127"/>
                  </a:cubicBezTo>
                  <a:cubicBezTo>
                    <a:pt x="3494760" y="4121127"/>
                    <a:pt x="3494760" y="4121127"/>
                    <a:pt x="3080268" y="4256755"/>
                  </a:cubicBezTo>
                  <a:cubicBezTo>
                    <a:pt x="3080268" y="4256755"/>
                    <a:pt x="3080268" y="4256755"/>
                    <a:pt x="2847453" y="4335661"/>
                  </a:cubicBezTo>
                  <a:cubicBezTo>
                    <a:pt x="2855393" y="4335977"/>
                    <a:pt x="2863969" y="4336294"/>
                    <a:pt x="2872862" y="4336611"/>
                  </a:cubicBezTo>
                  <a:cubicBezTo>
                    <a:pt x="2925270" y="4337879"/>
                    <a:pt x="2991652" y="4339463"/>
                    <a:pt x="3046918" y="4339146"/>
                  </a:cubicBezTo>
                  <a:cubicBezTo>
                    <a:pt x="3065340" y="4339463"/>
                    <a:pt x="3082491" y="4339146"/>
                    <a:pt x="3097419" y="4338829"/>
                  </a:cubicBezTo>
                  <a:cubicBezTo>
                    <a:pt x="3099324" y="4338829"/>
                    <a:pt x="3100913" y="4338829"/>
                    <a:pt x="3102501" y="4338829"/>
                  </a:cubicBezTo>
                  <a:cubicBezTo>
                    <a:pt x="3156178" y="4338513"/>
                    <a:pt x="3187305" y="4360695"/>
                    <a:pt x="3203186" y="4383194"/>
                  </a:cubicBezTo>
                  <a:cubicBezTo>
                    <a:pt x="3219067" y="4405693"/>
                    <a:pt x="3220972" y="4427558"/>
                    <a:pt x="3220972" y="4428509"/>
                  </a:cubicBezTo>
                  <a:cubicBezTo>
                    <a:pt x="3220972" y="4428509"/>
                    <a:pt x="3220972" y="4428509"/>
                    <a:pt x="3220972" y="4428826"/>
                  </a:cubicBezTo>
                  <a:cubicBezTo>
                    <a:pt x="3220972" y="4428826"/>
                    <a:pt x="3220972" y="4428826"/>
                    <a:pt x="3220972" y="4429142"/>
                  </a:cubicBezTo>
                  <a:cubicBezTo>
                    <a:pt x="3220972" y="4429142"/>
                    <a:pt x="3223196" y="4651281"/>
                    <a:pt x="3223196" y="4761558"/>
                  </a:cubicBezTo>
                  <a:cubicBezTo>
                    <a:pt x="3223196" y="4779937"/>
                    <a:pt x="3223196" y="4795148"/>
                    <a:pt x="3222878" y="4805922"/>
                  </a:cubicBezTo>
                  <a:cubicBezTo>
                    <a:pt x="3222878" y="4811309"/>
                    <a:pt x="3222878" y="4815429"/>
                    <a:pt x="3222561" y="4818598"/>
                  </a:cubicBezTo>
                  <a:cubicBezTo>
                    <a:pt x="3222561" y="4819865"/>
                    <a:pt x="3222561" y="4821133"/>
                    <a:pt x="3222561" y="4822400"/>
                  </a:cubicBezTo>
                  <a:cubicBezTo>
                    <a:pt x="3222561" y="4822717"/>
                    <a:pt x="3222243" y="4823351"/>
                    <a:pt x="3222243" y="4823985"/>
                  </a:cubicBezTo>
                  <a:cubicBezTo>
                    <a:pt x="3244794" y="4841097"/>
                    <a:pt x="3310224" y="4891165"/>
                    <a:pt x="3351832" y="4922854"/>
                  </a:cubicBezTo>
                  <a:cubicBezTo>
                    <a:pt x="3401698" y="4961197"/>
                    <a:pt x="3510641" y="5036300"/>
                    <a:pt x="3604338" y="5103797"/>
                  </a:cubicBezTo>
                  <a:cubicBezTo>
                    <a:pt x="3607515" y="5106015"/>
                    <a:pt x="3610691" y="5108550"/>
                    <a:pt x="3613867" y="5111085"/>
                  </a:cubicBezTo>
                  <a:cubicBezTo>
                    <a:pt x="3613867" y="5111085"/>
                    <a:pt x="3613867" y="5111085"/>
                    <a:pt x="3742820" y="4864863"/>
                  </a:cubicBezTo>
                  <a:cubicBezTo>
                    <a:pt x="3742820" y="4864863"/>
                    <a:pt x="3742820" y="4864863"/>
                    <a:pt x="3742820" y="4864546"/>
                  </a:cubicBezTo>
                  <a:cubicBezTo>
                    <a:pt x="3742820" y="4864546"/>
                    <a:pt x="3743138" y="4864546"/>
                    <a:pt x="3743456" y="4863913"/>
                  </a:cubicBezTo>
                  <a:cubicBezTo>
                    <a:pt x="3745679" y="4859793"/>
                    <a:pt x="3755525" y="4839195"/>
                    <a:pt x="3755525" y="4815112"/>
                  </a:cubicBezTo>
                  <a:cubicBezTo>
                    <a:pt x="3754890" y="4786909"/>
                    <a:pt x="3743773" y="4753636"/>
                    <a:pt x="3687872" y="4727968"/>
                  </a:cubicBezTo>
                  <a:cubicBezTo>
                    <a:pt x="3687872" y="4727968"/>
                    <a:pt x="3687872" y="4727968"/>
                    <a:pt x="3682155" y="4725116"/>
                  </a:cubicBezTo>
                  <a:cubicBezTo>
                    <a:pt x="3682155" y="4725116"/>
                    <a:pt x="3682155" y="4725116"/>
                    <a:pt x="3674532" y="4593290"/>
                  </a:cubicBezTo>
                  <a:cubicBezTo>
                    <a:pt x="3674532" y="4593290"/>
                    <a:pt x="3674532" y="4593290"/>
                    <a:pt x="3674850" y="4592974"/>
                  </a:cubicBezTo>
                  <a:cubicBezTo>
                    <a:pt x="3674850" y="4592340"/>
                    <a:pt x="3675485" y="4571742"/>
                    <a:pt x="3684061" y="4550194"/>
                  </a:cubicBezTo>
                  <a:cubicBezTo>
                    <a:pt x="3688508" y="4539419"/>
                    <a:pt x="3694542" y="4528328"/>
                    <a:pt x="3704388" y="4519456"/>
                  </a:cubicBezTo>
                  <a:cubicBezTo>
                    <a:pt x="3713917" y="4510583"/>
                    <a:pt x="3727575" y="4504562"/>
                    <a:pt x="3743773" y="4504562"/>
                  </a:cubicBezTo>
                  <a:cubicBezTo>
                    <a:pt x="3747267" y="4504562"/>
                    <a:pt x="3751078" y="4504879"/>
                    <a:pt x="3754890" y="4505512"/>
                  </a:cubicBezTo>
                  <a:cubicBezTo>
                    <a:pt x="3808250" y="4513435"/>
                    <a:pt x="3946732" y="4538469"/>
                    <a:pt x="3993104" y="4547025"/>
                  </a:cubicBezTo>
                  <a:lnTo>
                    <a:pt x="3980082" y="4488717"/>
                  </a:lnTo>
                  <a:cubicBezTo>
                    <a:pt x="3980082" y="4488717"/>
                    <a:pt x="3980082" y="4488717"/>
                    <a:pt x="4041700" y="4394285"/>
                  </a:cubicBezTo>
                  <a:cubicBezTo>
                    <a:pt x="4041700" y="4394285"/>
                    <a:pt x="4041700" y="4394285"/>
                    <a:pt x="4063933" y="4330907"/>
                  </a:cubicBezTo>
                  <a:cubicBezTo>
                    <a:pt x="4063933" y="4330907"/>
                    <a:pt x="4063933" y="4330907"/>
                    <a:pt x="4064251" y="4330590"/>
                  </a:cubicBezTo>
                  <a:cubicBezTo>
                    <a:pt x="4064251" y="4330273"/>
                    <a:pt x="4064251" y="4329640"/>
                    <a:pt x="4064251" y="4329006"/>
                  </a:cubicBezTo>
                  <a:cubicBezTo>
                    <a:pt x="4063933" y="4327105"/>
                    <a:pt x="4064568" y="4320450"/>
                    <a:pt x="4044241" y="4311260"/>
                  </a:cubicBezTo>
                  <a:cubicBezTo>
                    <a:pt x="4025184" y="4302704"/>
                    <a:pt x="3968965" y="4269114"/>
                    <a:pt x="3915923" y="4236792"/>
                  </a:cubicBezTo>
                  <a:cubicBezTo>
                    <a:pt x="3862880" y="4204786"/>
                    <a:pt x="3814602" y="4174364"/>
                    <a:pt x="3814602" y="4174364"/>
                  </a:cubicBezTo>
                  <a:cubicBezTo>
                    <a:pt x="3814602" y="4174364"/>
                    <a:pt x="3814602" y="4174364"/>
                    <a:pt x="3813649" y="4174048"/>
                  </a:cubicBezTo>
                  <a:cubicBezTo>
                    <a:pt x="3813649" y="4174048"/>
                    <a:pt x="3813649" y="4174048"/>
                    <a:pt x="3813014" y="4173097"/>
                  </a:cubicBezTo>
                  <a:cubicBezTo>
                    <a:pt x="3812696" y="4173097"/>
                    <a:pt x="3737738" y="4102114"/>
                    <a:pt x="3703436" y="4062820"/>
                  </a:cubicBezTo>
                  <a:close/>
                  <a:moveTo>
                    <a:pt x="1729435" y="4062186"/>
                  </a:moveTo>
                  <a:cubicBezTo>
                    <a:pt x="1729435" y="4062186"/>
                    <a:pt x="1729435" y="4062186"/>
                    <a:pt x="1724988" y="4086587"/>
                  </a:cubicBezTo>
                  <a:cubicBezTo>
                    <a:pt x="1724988" y="4086587"/>
                    <a:pt x="1724988" y="4086587"/>
                    <a:pt x="1763102" y="4093558"/>
                  </a:cubicBezTo>
                  <a:cubicBezTo>
                    <a:pt x="1763102" y="4093558"/>
                    <a:pt x="1763102" y="4093558"/>
                    <a:pt x="1767549" y="4069158"/>
                  </a:cubicBezTo>
                  <a:close/>
                  <a:moveTo>
                    <a:pt x="3348338" y="4060285"/>
                  </a:moveTo>
                  <a:cubicBezTo>
                    <a:pt x="3348338" y="4060285"/>
                    <a:pt x="3348338" y="4060285"/>
                    <a:pt x="3308000" y="4073277"/>
                  </a:cubicBezTo>
                  <a:cubicBezTo>
                    <a:pt x="3313400" y="4088805"/>
                    <a:pt x="3318164" y="4102748"/>
                    <a:pt x="3321340" y="4111938"/>
                  </a:cubicBezTo>
                  <a:cubicBezTo>
                    <a:pt x="3321340" y="4111938"/>
                    <a:pt x="3321340" y="4111938"/>
                    <a:pt x="3361360" y="4099262"/>
                  </a:cubicBezTo>
                  <a:cubicBezTo>
                    <a:pt x="3358184" y="4089439"/>
                    <a:pt x="3353420" y="4075179"/>
                    <a:pt x="3348338" y="4060285"/>
                  </a:cubicBezTo>
                  <a:close/>
                  <a:moveTo>
                    <a:pt x="1212669" y="4059334"/>
                  </a:moveTo>
                  <a:cubicBezTo>
                    <a:pt x="1211716" y="4059334"/>
                    <a:pt x="1211398" y="4059651"/>
                    <a:pt x="1211081" y="4059968"/>
                  </a:cubicBezTo>
                  <a:cubicBezTo>
                    <a:pt x="1210763" y="4060285"/>
                    <a:pt x="1210763" y="4060919"/>
                    <a:pt x="1210763" y="4061552"/>
                  </a:cubicBezTo>
                  <a:cubicBezTo>
                    <a:pt x="1210763" y="4064404"/>
                    <a:pt x="1213939" y="4069158"/>
                    <a:pt x="1220292" y="4070425"/>
                  </a:cubicBezTo>
                  <a:cubicBezTo>
                    <a:pt x="1224421" y="4071059"/>
                    <a:pt x="1239031" y="4072327"/>
                    <a:pt x="1252371" y="4074228"/>
                  </a:cubicBezTo>
                  <a:cubicBezTo>
                    <a:pt x="1259359" y="4075179"/>
                    <a:pt x="1265711" y="4076129"/>
                    <a:pt x="1270476" y="4077397"/>
                  </a:cubicBezTo>
                  <a:cubicBezTo>
                    <a:pt x="1275557" y="4078981"/>
                    <a:pt x="1279051" y="4079932"/>
                    <a:pt x="1279369" y="4083101"/>
                  </a:cubicBezTo>
                  <a:cubicBezTo>
                    <a:pt x="1279369" y="4083735"/>
                    <a:pt x="1279369" y="4084051"/>
                    <a:pt x="1279369" y="4084368"/>
                  </a:cubicBezTo>
                  <a:cubicBezTo>
                    <a:pt x="1275240" y="4092924"/>
                    <a:pt x="1261265" y="4094826"/>
                    <a:pt x="1251736" y="4096093"/>
                  </a:cubicBezTo>
                  <a:cubicBezTo>
                    <a:pt x="1242525" y="4097044"/>
                    <a:pt x="1231726" y="4097678"/>
                    <a:pt x="1224738" y="4101163"/>
                  </a:cubicBezTo>
                  <a:cubicBezTo>
                    <a:pt x="1219974" y="4103382"/>
                    <a:pt x="1215845" y="4108769"/>
                    <a:pt x="1215845" y="4112888"/>
                  </a:cubicBezTo>
                  <a:cubicBezTo>
                    <a:pt x="1215845" y="4114790"/>
                    <a:pt x="1216480" y="4116374"/>
                    <a:pt x="1218386" y="4117642"/>
                  </a:cubicBezTo>
                  <a:cubicBezTo>
                    <a:pt x="1220927" y="4119860"/>
                    <a:pt x="1223468" y="4120494"/>
                    <a:pt x="1225691" y="4120494"/>
                  </a:cubicBezTo>
                  <a:cubicBezTo>
                    <a:pt x="1228232" y="4120494"/>
                    <a:pt x="1231091" y="4119226"/>
                    <a:pt x="1233949" y="4117642"/>
                  </a:cubicBezTo>
                  <a:cubicBezTo>
                    <a:pt x="1238714" y="4114790"/>
                    <a:pt x="1247607" y="4110353"/>
                    <a:pt x="1251736" y="4110036"/>
                  </a:cubicBezTo>
                  <a:cubicBezTo>
                    <a:pt x="1252371" y="4110036"/>
                    <a:pt x="1253959" y="4110670"/>
                    <a:pt x="1253959" y="4111938"/>
                  </a:cubicBezTo>
                  <a:cubicBezTo>
                    <a:pt x="1253959" y="4112254"/>
                    <a:pt x="1253959" y="4112571"/>
                    <a:pt x="1253959" y="4112571"/>
                  </a:cubicBezTo>
                  <a:cubicBezTo>
                    <a:pt x="1253642" y="4113839"/>
                    <a:pt x="1253642" y="4115106"/>
                    <a:pt x="1253642" y="4116691"/>
                  </a:cubicBezTo>
                  <a:cubicBezTo>
                    <a:pt x="1253324" y="4125881"/>
                    <a:pt x="1258088" y="4139507"/>
                    <a:pt x="1261582" y="4139507"/>
                  </a:cubicBezTo>
                  <a:cubicBezTo>
                    <a:pt x="1263806" y="4139824"/>
                    <a:pt x="1265711" y="4140141"/>
                    <a:pt x="1266982" y="4140141"/>
                  </a:cubicBezTo>
                  <a:cubicBezTo>
                    <a:pt x="1269523" y="4140141"/>
                    <a:pt x="1270158" y="4139824"/>
                    <a:pt x="1270793" y="4137605"/>
                  </a:cubicBezTo>
                  <a:cubicBezTo>
                    <a:pt x="1272064" y="4133486"/>
                    <a:pt x="1270793" y="4116374"/>
                    <a:pt x="1276828" y="4109719"/>
                  </a:cubicBezTo>
                  <a:cubicBezTo>
                    <a:pt x="1280004" y="4106550"/>
                    <a:pt x="1288580" y="4100530"/>
                    <a:pt x="1296838" y="4095142"/>
                  </a:cubicBezTo>
                  <a:cubicBezTo>
                    <a:pt x="1305096" y="4089439"/>
                    <a:pt x="1313036" y="4084051"/>
                    <a:pt x="1313354" y="4083418"/>
                  </a:cubicBezTo>
                  <a:cubicBezTo>
                    <a:pt x="1314307" y="4082150"/>
                    <a:pt x="1317483" y="4075179"/>
                    <a:pt x="1317483" y="4070742"/>
                  </a:cubicBezTo>
                  <a:cubicBezTo>
                    <a:pt x="1317483" y="4069158"/>
                    <a:pt x="1317166" y="4067890"/>
                    <a:pt x="1316530" y="4066939"/>
                  </a:cubicBezTo>
                  <a:cubicBezTo>
                    <a:pt x="1315577" y="4066306"/>
                    <a:pt x="1308272" y="4061235"/>
                    <a:pt x="1296203" y="4060919"/>
                  </a:cubicBezTo>
                  <a:cubicBezTo>
                    <a:pt x="1294932" y="4060919"/>
                    <a:pt x="1293026" y="4060919"/>
                    <a:pt x="1291121" y="4060919"/>
                  </a:cubicBezTo>
                  <a:cubicBezTo>
                    <a:pt x="1271746" y="4060919"/>
                    <a:pt x="1221880" y="4062503"/>
                    <a:pt x="1221880" y="4062503"/>
                  </a:cubicBezTo>
                  <a:cubicBezTo>
                    <a:pt x="1221880" y="4062503"/>
                    <a:pt x="1221880" y="4062503"/>
                    <a:pt x="1221562" y="4062503"/>
                  </a:cubicBezTo>
                  <a:cubicBezTo>
                    <a:pt x="1221562" y="4062503"/>
                    <a:pt x="1221562" y="4062503"/>
                    <a:pt x="1221245" y="4062503"/>
                  </a:cubicBezTo>
                  <a:cubicBezTo>
                    <a:pt x="1221245" y="4062503"/>
                    <a:pt x="1215527" y="4059334"/>
                    <a:pt x="1212669" y="4059334"/>
                  </a:cubicBezTo>
                  <a:close/>
                  <a:moveTo>
                    <a:pt x="1725941" y="4057433"/>
                  </a:moveTo>
                  <a:cubicBezTo>
                    <a:pt x="1725941" y="4057433"/>
                    <a:pt x="1725941" y="4057433"/>
                    <a:pt x="1772313" y="4065989"/>
                  </a:cubicBezTo>
                  <a:cubicBezTo>
                    <a:pt x="1772313" y="4065989"/>
                    <a:pt x="1772313" y="4065989"/>
                    <a:pt x="1766279" y="4098311"/>
                  </a:cubicBezTo>
                  <a:cubicBezTo>
                    <a:pt x="1766279" y="4098311"/>
                    <a:pt x="1766279" y="4098311"/>
                    <a:pt x="1719906" y="4090072"/>
                  </a:cubicBezTo>
                  <a:cubicBezTo>
                    <a:pt x="1719906" y="4090072"/>
                    <a:pt x="1719906" y="4090072"/>
                    <a:pt x="1720541" y="4087854"/>
                  </a:cubicBezTo>
                  <a:close/>
                  <a:moveTo>
                    <a:pt x="2941150" y="4057116"/>
                  </a:moveTo>
                  <a:cubicBezTo>
                    <a:pt x="2940833" y="4057433"/>
                    <a:pt x="2940833" y="4057750"/>
                    <a:pt x="2940515" y="4057750"/>
                  </a:cubicBezTo>
                  <a:cubicBezTo>
                    <a:pt x="2940198" y="4058067"/>
                    <a:pt x="2940198" y="4058700"/>
                    <a:pt x="2939245" y="4059017"/>
                  </a:cubicBezTo>
                  <a:cubicBezTo>
                    <a:pt x="2938610" y="4059968"/>
                    <a:pt x="2936386" y="4063771"/>
                    <a:pt x="2933528" y="4068841"/>
                  </a:cubicBezTo>
                  <a:cubicBezTo>
                    <a:pt x="2923682" y="4087854"/>
                    <a:pt x="2903989" y="4128416"/>
                    <a:pt x="2885250" y="4168027"/>
                  </a:cubicBezTo>
                  <a:cubicBezTo>
                    <a:pt x="2885250" y="4168027"/>
                    <a:pt x="2885250" y="4168027"/>
                    <a:pt x="2924316" y="4174681"/>
                  </a:cubicBezTo>
                  <a:cubicBezTo>
                    <a:pt x="2924316" y="4174681"/>
                    <a:pt x="2924316" y="4174681"/>
                    <a:pt x="2971642" y="4159471"/>
                  </a:cubicBezTo>
                  <a:lnTo>
                    <a:pt x="2972912" y="4163590"/>
                  </a:lnTo>
                  <a:cubicBezTo>
                    <a:pt x="2972912" y="4163590"/>
                    <a:pt x="2972912" y="4163590"/>
                    <a:pt x="2926540" y="4178801"/>
                  </a:cubicBezTo>
                  <a:cubicBezTo>
                    <a:pt x="2926222" y="4187674"/>
                    <a:pt x="2923999" y="4241228"/>
                    <a:pt x="2923682" y="4250101"/>
                  </a:cubicBezTo>
                  <a:cubicBezTo>
                    <a:pt x="2944009" y="4243446"/>
                    <a:pt x="2968148" y="4235524"/>
                    <a:pt x="2994828" y="4226968"/>
                  </a:cubicBezTo>
                  <a:cubicBezTo>
                    <a:pt x="2994510" y="4226017"/>
                    <a:pt x="2994193" y="4225700"/>
                    <a:pt x="2993875" y="4224116"/>
                  </a:cubicBezTo>
                  <a:cubicBezTo>
                    <a:pt x="2986570" y="4204152"/>
                    <a:pt x="2943691" y="4065355"/>
                    <a:pt x="2941150" y="4057116"/>
                  </a:cubicBezTo>
                  <a:close/>
                  <a:moveTo>
                    <a:pt x="2988476" y="4056799"/>
                  </a:moveTo>
                  <a:cubicBezTo>
                    <a:pt x="2980218" y="4057116"/>
                    <a:pt x="2972277" y="4057116"/>
                    <a:pt x="2965607" y="4057433"/>
                  </a:cubicBezTo>
                  <a:cubicBezTo>
                    <a:pt x="2958937" y="4057750"/>
                    <a:pt x="2953220" y="4057750"/>
                    <a:pt x="2949408" y="4058067"/>
                  </a:cubicBezTo>
                  <a:cubicBezTo>
                    <a:pt x="2948138" y="4058067"/>
                    <a:pt x="2946868" y="4058067"/>
                    <a:pt x="2945915" y="4058067"/>
                  </a:cubicBezTo>
                  <a:cubicBezTo>
                    <a:pt x="2949091" y="4068207"/>
                    <a:pt x="2960208" y="4104332"/>
                    <a:pt x="2971642" y="4140457"/>
                  </a:cubicBezTo>
                  <a:cubicBezTo>
                    <a:pt x="2978312" y="4161689"/>
                    <a:pt x="2984982" y="4182604"/>
                    <a:pt x="2990064" y="4198765"/>
                  </a:cubicBezTo>
                  <a:cubicBezTo>
                    <a:pt x="2992605" y="4206687"/>
                    <a:pt x="2994828" y="4213342"/>
                    <a:pt x="2996098" y="4217778"/>
                  </a:cubicBezTo>
                  <a:cubicBezTo>
                    <a:pt x="2997051" y="4220313"/>
                    <a:pt x="2997686" y="4221898"/>
                    <a:pt x="2998004" y="4223165"/>
                  </a:cubicBezTo>
                  <a:cubicBezTo>
                    <a:pt x="2998322" y="4223799"/>
                    <a:pt x="2998322" y="4224116"/>
                    <a:pt x="2998640" y="4224433"/>
                  </a:cubicBezTo>
                  <a:cubicBezTo>
                    <a:pt x="2998640" y="4224750"/>
                    <a:pt x="2998640" y="4224750"/>
                    <a:pt x="2998640" y="4224750"/>
                  </a:cubicBezTo>
                  <a:cubicBezTo>
                    <a:pt x="2998640" y="4224750"/>
                    <a:pt x="2998640" y="4224750"/>
                    <a:pt x="2997369" y="4225384"/>
                  </a:cubicBezTo>
                  <a:cubicBezTo>
                    <a:pt x="2997369" y="4225384"/>
                    <a:pt x="2997369" y="4225384"/>
                    <a:pt x="2996734" y="4225700"/>
                  </a:cubicBezTo>
                  <a:cubicBezTo>
                    <a:pt x="2996734" y="4225700"/>
                    <a:pt x="2996734" y="4225700"/>
                    <a:pt x="2996734" y="4226334"/>
                  </a:cubicBezTo>
                  <a:cubicBezTo>
                    <a:pt x="3011026" y="4221581"/>
                    <a:pt x="3025955" y="4216828"/>
                    <a:pt x="3041518" y="4211757"/>
                  </a:cubicBezTo>
                  <a:cubicBezTo>
                    <a:pt x="3041518" y="4211757"/>
                    <a:pt x="3041518" y="4211757"/>
                    <a:pt x="3039295" y="4204786"/>
                  </a:cubicBezTo>
                  <a:cubicBezTo>
                    <a:pt x="3039295" y="4204786"/>
                    <a:pt x="3039295" y="4204786"/>
                    <a:pt x="3000545" y="4216828"/>
                  </a:cubicBezTo>
                  <a:cubicBezTo>
                    <a:pt x="3000545" y="4216828"/>
                    <a:pt x="3000545" y="4216828"/>
                    <a:pt x="2986570" y="4170562"/>
                  </a:cubicBezTo>
                  <a:cubicBezTo>
                    <a:pt x="2986570" y="4170562"/>
                    <a:pt x="2986570" y="4170562"/>
                    <a:pt x="3023414" y="4158837"/>
                  </a:cubicBezTo>
                  <a:cubicBezTo>
                    <a:pt x="3023414" y="4158837"/>
                    <a:pt x="3023414" y="4158837"/>
                    <a:pt x="2988476" y="4056799"/>
                  </a:cubicBezTo>
                  <a:close/>
                  <a:moveTo>
                    <a:pt x="1212669" y="4056799"/>
                  </a:moveTo>
                  <a:cubicBezTo>
                    <a:pt x="1216163" y="4056799"/>
                    <a:pt x="1220927" y="4059334"/>
                    <a:pt x="1222197" y="4059968"/>
                  </a:cubicBezTo>
                  <a:cubicBezTo>
                    <a:pt x="1226644" y="4059968"/>
                    <a:pt x="1272699" y="4058383"/>
                    <a:pt x="1291121" y="4058383"/>
                  </a:cubicBezTo>
                  <a:cubicBezTo>
                    <a:pt x="1293026" y="4058383"/>
                    <a:pt x="1294932" y="4058383"/>
                    <a:pt x="1296203" y="4058383"/>
                  </a:cubicBezTo>
                  <a:cubicBezTo>
                    <a:pt x="1309860" y="4058700"/>
                    <a:pt x="1318118" y="4064721"/>
                    <a:pt x="1318118" y="4065038"/>
                  </a:cubicBezTo>
                  <a:cubicBezTo>
                    <a:pt x="1318118" y="4065038"/>
                    <a:pt x="1318118" y="4065038"/>
                    <a:pt x="1317483" y="4065989"/>
                  </a:cubicBezTo>
                  <a:cubicBezTo>
                    <a:pt x="1317483" y="4065989"/>
                    <a:pt x="1317483" y="4065989"/>
                    <a:pt x="1318436" y="4065038"/>
                  </a:cubicBezTo>
                  <a:cubicBezTo>
                    <a:pt x="1319706" y="4066623"/>
                    <a:pt x="1320024" y="4068524"/>
                    <a:pt x="1320024" y="4070742"/>
                  </a:cubicBezTo>
                  <a:cubicBezTo>
                    <a:pt x="1320024" y="4076446"/>
                    <a:pt x="1316848" y="4082784"/>
                    <a:pt x="1315577" y="4085002"/>
                  </a:cubicBezTo>
                  <a:cubicBezTo>
                    <a:pt x="1313989" y="4086587"/>
                    <a:pt x="1306684" y="4091340"/>
                    <a:pt x="1298426" y="4097044"/>
                  </a:cubicBezTo>
                  <a:cubicBezTo>
                    <a:pt x="1290168" y="4102748"/>
                    <a:pt x="1281275" y="4108769"/>
                    <a:pt x="1278734" y="4111621"/>
                  </a:cubicBezTo>
                  <a:cubicBezTo>
                    <a:pt x="1273969" y="4116374"/>
                    <a:pt x="1274605" y="4133169"/>
                    <a:pt x="1273334" y="4138239"/>
                  </a:cubicBezTo>
                  <a:cubicBezTo>
                    <a:pt x="1272699" y="4141408"/>
                    <a:pt x="1270158" y="4142676"/>
                    <a:pt x="1267299" y="4142676"/>
                  </a:cubicBezTo>
                  <a:cubicBezTo>
                    <a:pt x="1267299" y="4142676"/>
                    <a:pt x="1267299" y="4142676"/>
                    <a:pt x="1266982" y="4142676"/>
                  </a:cubicBezTo>
                  <a:cubicBezTo>
                    <a:pt x="1265394" y="4142676"/>
                    <a:pt x="1263170" y="4142359"/>
                    <a:pt x="1260947" y="4142042"/>
                  </a:cubicBezTo>
                  <a:cubicBezTo>
                    <a:pt x="1254595" y="4140141"/>
                    <a:pt x="1251101" y="4126514"/>
                    <a:pt x="1250783" y="4116691"/>
                  </a:cubicBezTo>
                  <a:cubicBezTo>
                    <a:pt x="1250783" y="4115423"/>
                    <a:pt x="1251101" y="4114156"/>
                    <a:pt x="1251101" y="4112888"/>
                  </a:cubicBezTo>
                  <a:cubicBezTo>
                    <a:pt x="1248242" y="4113205"/>
                    <a:pt x="1239349" y="4117325"/>
                    <a:pt x="1235220" y="4119860"/>
                  </a:cubicBezTo>
                  <a:cubicBezTo>
                    <a:pt x="1232361" y="4121761"/>
                    <a:pt x="1229185" y="4123346"/>
                    <a:pt x="1225691" y="4123346"/>
                  </a:cubicBezTo>
                  <a:cubicBezTo>
                    <a:pt x="1222833" y="4123346"/>
                    <a:pt x="1219657" y="4122078"/>
                    <a:pt x="1216798" y="4119543"/>
                  </a:cubicBezTo>
                  <a:cubicBezTo>
                    <a:pt x="1214257" y="4117958"/>
                    <a:pt x="1213304" y="4115423"/>
                    <a:pt x="1213304" y="4112888"/>
                  </a:cubicBezTo>
                  <a:cubicBezTo>
                    <a:pt x="1213304" y="4107184"/>
                    <a:pt x="1218068" y="4101480"/>
                    <a:pt x="1223468" y="4098945"/>
                  </a:cubicBezTo>
                  <a:cubicBezTo>
                    <a:pt x="1231091" y="4094826"/>
                    <a:pt x="1242207" y="4094192"/>
                    <a:pt x="1251418" y="4093558"/>
                  </a:cubicBezTo>
                  <a:cubicBezTo>
                    <a:pt x="1260947" y="4092607"/>
                    <a:pt x="1274287" y="4089755"/>
                    <a:pt x="1276828" y="4083418"/>
                  </a:cubicBezTo>
                  <a:cubicBezTo>
                    <a:pt x="1276828" y="4083418"/>
                    <a:pt x="1276828" y="4083101"/>
                    <a:pt x="1276828" y="4083101"/>
                  </a:cubicBezTo>
                  <a:cubicBezTo>
                    <a:pt x="1276828" y="4083101"/>
                    <a:pt x="1276828" y="4082467"/>
                    <a:pt x="1275557" y="4081833"/>
                  </a:cubicBezTo>
                  <a:cubicBezTo>
                    <a:pt x="1266346" y="4077080"/>
                    <a:pt x="1227279" y="4074228"/>
                    <a:pt x="1219974" y="4072960"/>
                  </a:cubicBezTo>
                  <a:cubicBezTo>
                    <a:pt x="1212351" y="4071376"/>
                    <a:pt x="1208222" y="4065989"/>
                    <a:pt x="1208222" y="4061552"/>
                  </a:cubicBezTo>
                  <a:cubicBezTo>
                    <a:pt x="1208222" y="4060602"/>
                    <a:pt x="1208222" y="4059334"/>
                    <a:pt x="1208857" y="4058383"/>
                  </a:cubicBezTo>
                  <a:cubicBezTo>
                    <a:pt x="1209810" y="4057116"/>
                    <a:pt x="1211398" y="4056799"/>
                    <a:pt x="1212669" y="4056799"/>
                  </a:cubicBezTo>
                  <a:close/>
                  <a:moveTo>
                    <a:pt x="3039612" y="4054898"/>
                  </a:moveTo>
                  <a:cubicBezTo>
                    <a:pt x="3031990" y="4055215"/>
                    <a:pt x="3023731" y="4055531"/>
                    <a:pt x="3015473" y="4055848"/>
                  </a:cubicBezTo>
                  <a:cubicBezTo>
                    <a:pt x="3007850" y="4056165"/>
                    <a:pt x="3000228" y="4056165"/>
                    <a:pt x="2993240" y="4056482"/>
                  </a:cubicBezTo>
                  <a:lnTo>
                    <a:pt x="3027543" y="4157569"/>
                  </a:lnTo>
                  <a:cubicBezTo>
                    <a:pt x="3027543" y="4157569"/>
                    <a:pt x="3027543" y="4157569"/>
                    <a:pt x="3069468" y="4144260"/>
                  </a:cubicBezTo>
                  <a:cubicBezTo>
                    <a:pt x="3069468" y="4144260"/>
                    <a:pt x="3069468" y="4144260"/>
                    <a:pt x="3039612" y="4054898"/>
                  </a:cubicBezTo>
                  <a:close/>
                  <a:moveTo>
                    <a:pt x="3089478" y="4052996"/>
                  </a:moveTo>
                  <a:cubicBezTo>
                    <a:pt x="3089478" y="4052996"/>
                    <a:pt x="3089478" y="4052996"/>
                    <a:pt x="3088208" y="4053313"/>
                  </a:cubicBezTo>
                  <a:cubicBezTo>
                    <a:pt x="3088208" y="4053313"/>
                    <a:pt x="3088208" y="4053313"/>
                    <a:pt x="3087890" y="4053313"/>
                  </a:cubicBezTo>
                  <a:cubicBezTo>
                    <a:pt x="3087890" y="4053313"/>
                    <a:pt x="3068833" y="4053947"/>
                    <a:pt x="3044376" y="4054898"/>
                  </a:cubicBezTo>
                  <a:lnTo>
                    <a:pt x="3073598" y="4142993"/>
                  </a:lnTo>
                  <a:cubicBezTo>
                    <a:pt x="3073598" y="4142993"/>
                    <a:pt x="3073598" y="4142993"/>
                    <a:pt x="3114570" y="4130000"/>
                  </a:cubicBezTo>
                  <a:cubicBezTo>
                    <a:pt x="3113300" y="4126514"/>
                    <a:pt x="3112347" y="4123029"/>
                    <a:pt x="3111076" y="4119543"/>
                  </a:cubicBezTo>
                  <a:cubicBezTo>
                    <a:pt x="3105677" y="4103698"/>
                    <a:pt x="3100278" y="4087854"/>
                    <a:pt x="3096148" y="4075495"/>
                  </a:cubicBezTo>
                  <a:cubicBezTo>
                    <a:pt x="3092337" y="4063137"/>
                    <a:pt x="3089478" y="4055531"/>
                    <a:pt x="3089478" y="4053313"/>
                  </a:cubicBezTo>
                  <a:cubicBezTo>
                    <a:pt x="3089478" y="4052996"/>
                    <a:pt x="3089478" y="4052996"/>
                    <a:pt x="3089478" y="4052996"/>
                  </a:cubicBezTo>
                  <a:close/>
                  <a:moveTo>
                    <a:pt x="419257" y="4052680"/>
                  </a:moveTo>
                  <a:lnTo>
                    <a:pt x="330324" y="4073277"/>
                  </a:lnTo>
                  <a:cubicBezTo>
                    <a:pt x="330324" y="4073277"/>
                    <a:pt x="330324" y="4073277"/>
                    <a:pt x="369073" y="4136021"/>
                  </a:cubicBezTo>
                  <a:cubicBezTo>
                    <a:pt x="369073" y="4136021"/>
                    <a:pt x="369073" y="4136021"/>
                    <a:pt x="369709" y="4136972"/>
                  </a:cubicBezTo>
                  <a:cubicBezTo>
                    <a:pt x="369709" y="4136972"/>
                    <a:pt x="369709" y="4136972"/>
                    <a:pt x="369709" y="4138239"/>
                  </a:cubicBezTo>
                  <a:cubicBezTo>
                    <a:pt x="369709" y="4138239"/>
                    <a:pt x="369709" y="4138239"/>
                    <a:pt x="370979" y="4205736"/>
                  </a:cubicBezTo>
                  <a:cubicBezTo>
                    <a:pt x="370979" y="4205736"/>
                    <a:pt x="370979" y="4205736"/>
                    <a:pt x="455148" y="4275452"/>
                  </a:cubicBezTo>
                  <a:cubicBezTo>
                    <a:pt x="455148" y="4275452"/>
                    <a:pt x="455148" y="4275452"/>
                    <a:pt x="497391" y="4211124"/>
                  </a:cubicBezTo>
                  <a:cubicBezTo>
                    <a:pt x="497391" y="4211124"/>
                    <a:pt x="497391" y="4211124"/>
                    <a:pt x="481510" y="4084051"/>
                  </a:cubicBezTo>
                  <a:cubicBezTo>
                    <a:pt x="481510" y="4084051"/>
                    <a:pt x="481510" y="4084051"/>
                    <a:pt x="419257" y="4052680"/>
                  </a:cubicBezTo>
                  <a:close/>
                  <a:moveTo>
                    <a:pt x="1948274" y="4051412"/>
                  </a:moveTo>
                  <a:cubicBezTo>
                    <a:pt x="1948274" y="4051412"/>
                    <a:pt x="1948274" y="4051412"/>
                    <a:pt x="1941922" y="4114156"/>
                  </a:cubicBezTo>
                  <a:lnTo>
                    <a:pt x="2054676" y="4123029"/>
                  </a:lnTo>
                  <a:cubicBezTo>
                    <a:pt x="2054676" y="4123029"/>
                    <a:pt x="2054676" y="4123029"/>
                    <a:pt x="2061664" y="4059968"/>
                  </a:cubicBezTo>
                  <a:cubicBezTo>
                    <a:pt x="2061664" y="4059968"/>
                    <a:pt x="2061664" y="4059968"/>
                    <a:pt x="1948274" y="4051412"/>
                  </a:cubicBezTo>
                  <a:close/>
                  <a:moveTo>
                    <a:pt x="420528" y="4047926"/>
                  </a:moveTo>
                  <a:cubicBezTo>
                    <a:pt x="420210" y="4048243"/>
                    <a:pt x="420210" y="4048243"/>
                    <a:pt x="419892" y="4048243"/>
                  </a:cubicBezTo>
                  <a:cubicBezTo>
                    <a:pt x="419892" y="4048243"/>
                    <a:pt x="419892" y="4048243"/>
                    <a:pt x="485639" y="4081199"/>
                  </a:cubicBezTo>
                  <a:cubicBezTo>
                    <a:pt x="485639" y="4081199"/>
                    <a:pt x="485639" y="4081199"/>
                    <a:pt x="502156" y="4212074"/>
                  </a:cubicBezTo>
                  <a:cubicBezTo>
                    <a:pt x="502156" y="4212074"/>
                    <a:pt x="502156" y="4212074"/>
                    <a:pt x="456101" y="4282106"/>
                  </a:cubicBezTo>
                  <a:cubicBezTo>
                    <a:pt x="456101" y="4282106"/>
                    <a:pt x="456101" y="4282106"/>
                    <a:pt x="366532" y="4207955"/>
                  </a:cubicBezTo>
                  <a:cubicBezTo>
                    <a:pt x="366532" y="4207955"/>
                    <a:pt x="366532" y="4207955"/>
                    <a:pt x="365262" y="4138239"/>
                  </a:cubicBezTo>
                  <a:cubicBezTo>
                    <a:pt x="365262" y="4138239"/>
                    <a:pt x="365262" y="4138239"/>
                    <a:pt x="323336" y="4070425"/>
                  </a:cubicBezTo>
                  <a:cubicBezTo>
                    <a:pt x="323336" y="4070425"/>
                    <a:pt x="323336" y="4070425"/>
                    <a:pt x="400835" y="4052363"/>
                  </a:cubicBezTo>
                  <a:cubicBezTo>
                    <a:pt x="390671" y="4054581"/>
                    <a:pt x="378602" y="4057433"/>
                    <a:pt x="366215" y="4059968"/>
                  </a:cubicBezTo>
                  <a:cubicBezTo>
                    <a:pt x="351922" y="4063137"/>
                    <a:pt x="337311" y="4066306"/>
                    <a:pt x="326195" y="4068841"/>
                  </a:cubicBezTo>
                  <a:cubicBezTo>
                    <a:pt x="323336" y="4069475"/>
                    <a:pt x="318254" y="4070742"/>
                    <a:pt x="314125" y="4071693"/>
                  </a:cubicBezTo>
                  <a:cubicBezTo>
                    <a:pt x="314125" y="4071693"/>
                    <a:pt x="314125" y="4071693"/>
                    <a:pt x="357957" y="4142676"/>
                  </a:cubicBezTo>
                  <a:lnTo>
                    <a:pt x="358592" y="4209856"/>
                  </a:lnTo>
                  <a:cubicBezTo>
                    <a:pt x="358592" y="4209856"/>
                    <a:pt x="358592" y="4209856"/>
                    <a:pt x="358274" y="4211440"/>
                  </a:cubicBezTo>
                  <a:cubicBezTo>
                    <a:pt x="358274" y="4211440"/>
                    <a:pt x="358274" y="4211440"/>
                    <a:pt x="459595" y="4299535"/>
                  </a:cubicBezTo>
                  <a:cubicBezTo>
                    <a:pt x="459595" y="4299535"/>
                    <a:pt x="459595" y="4299535"/>
                    <a:pt x="472299" y="4282106"/>
                  </a:cubicBezTo>
                  <a:cubicBezTo>
                    <a:pt x="473888" y="4279888"/>
                    <a:pt x="482781" y="4265628"/>
                    <a:pt x="491992" y="4251368"/>
                  </a:cubicBezTo>
                  <a:cubicBezTo>
                    <a:pt x="497074" y="4243763"/>
                    <a:pt x="501838" y="4236158"/>
                    <a:pt x="505967" y="4230137"/>
                  </a:cubicBezTo>
                  <a:cubicBezTo>
                    <a:pt x="507873" y="4227285"/>
                    <a:pt x="509461" y="4224750"/>
                    <a:pt x="510414" y="4222848"/>
                  </a:cubicBezTo>
                  <a:cubicBezTo>
                    <a:pt x="510731" y="4222848"/>
                    <a:pt x="510731" y="4222532"/>
                    <a:pt x="511049" y="4222532"/>
                  </a:cubicBezTo>
                  <a:cubicBezTo>
                    <a:pt x="511049" y="4222532"/>
                    <a:pt x="511049" y="4222532"/>
                    <a:pt x="490086" y="4082150"/>
                  </a:cubicBezTo>
                  <a:cubicBezTo>
                    <a:pt x="490086" y="4082150"/>
                    <a:pt x="490086" y="4082150"/>
                    <a:pt x="420528" y="4047926"/>
                  </a:cubicBezTo>
                  <a:close/>
                  <a:moveTo>
                    <a:pt x="1901267" y="4047609"/>
                  </a:moveTo>
                  <a:cubicBezTo>
                    <a:pt x="1901267" y="4047609"/>
                    <a:pt x="1901267" y="4047609"/>
                    <a:pt x="1894597" y="4110670"/>
                  </a:cubicBezTo>
                  <a:lnTo>
                    <a:pt x="1937792" y="4113839"/>
                  </a:lnTo>
                  <a:cubicBezTo>
                    <a:pt x="1937792" y="4113839"/>
                    <a:pt x="1937792" y="4113839"/>
                    <a:pt x="1944145" y="4051095"/>
                  </a:cubicBezTo>
                  <a:cubicBezTo>
                    <a:pt x="1944145" y="4051095"/>
                    <a:pt x="1944145" y="4051095"/>
                    <a:pt x="1901267" y="4047609"/>
                  </a:cubicBezTo>
                  <a:close/>
                  <a:moveTo>
                    <a:pt x="3391852" y="4046659"/>
                  </a:moveTo>
                  <a:cubicBezTo>
                    <a:pt x="3391852" y="4046659"/>
                    <a:pt x="3391852" y="4046659"/>
                    <a:pt x="3352467" y="4059017"/>
                  </a:cubicBezTo>
                  <a:cubicBezTo>
                    <a:pt x="3357549" y="4073911"/>
                    <a:pt x="3362313" y="4087854"/>
                    <a:pt x="3365807" y="4097994"/>
                  </a:cubicBezTo>
                  <a:cubicBezTo>
                    <a:pt x="3365807" y="4097994"/>
                    <a:pt x="3365807" y="4097994"/>
                    <a:pt x="3405192" y="4085319"/>
                  </a:cubicBezTo>
                  <a:cubicBezTo>
                    <a:pt x="3402015" y="4075812"/>
                    <a:pt x="3397251" y="4061869"/>
                    <a:pt x="3391852" y="4046659"/>
                  </a:cubicBezTo>
                  <a:close/>
                  <a:moveTo>
                    <a:pt x="1699896" y="4046659"/>
                  </a:moveTo>
                  <a:cubicBezTo>
                    <a:pt x="1699896" y="4046659"/>
                    <a:pt x="1699896" y="4046659"/>
                    <a:pt x="1705296" y="4096410"/>
                  </a:cubicBezTo>
                  <a:cubicBezTo>
                    <a:pt x="1717048" y="4098628"/>
                    <a:pt x="1740551" y="4103065"/>
                    <a:pt x="1764373" y="4107501"/>
                  </a:cubicBezTo>
                  <a:cubicBezTo>
                    <a:pt x="1785971" y="4111621"/>
                    <a:pt x="1808204" y="4115740"/>
                    <a:pt x="1821227" y="4117958"/>
                  </a:cubicBezTo>
                  <a:cubicBezTo>
                    <a:pt x="1821227" y="4117958"/>
                    <a:pt x="1821227" y="4117958"/>
                    <a:pt x="1826626" y="4070425"/>
                  </a:cubicBezTo>
                  <a:cubicBezTo>
                    <a:pt x="1803758" y="4066306"/>
                    <a:pt x="1718636" y="4050144"/>
                    <a:pt x="1699896" y="4046659"/>
                  </a:cubicBezTo>
                  <a:close/>
                  <a:moveTo>
                    <a:pt x="1883162" y="4046342"/>
                  </a:moveTo>
                  <a:cubicBezTo>
                    <a:pt x="1880621" y="4067256"/>
                    <a:pt x="1877763" y="4088171"/>
                    <a:pt x="1874904" y="4109086"/>
                  </a:cubicBezTo>
                  <a:cubicBezTo>
                    <a:pt x="1874904" y="4109086"/>
                    <a:pt x="1874904" y="4109086"/>
                    <a:pt x="1890467" y="4110353"/>
                  </a:cubicBezTo>
                  <a:cubicBezTo>
                    <a:pt x="1890467" y="4110353"/>
                    <a:pt x="1890467" y="4110353"/>
                    <a:pt x="1897137" y="4047292"/>
                  </a:cubicBezTo>
                  <a:close/>
                  <a:moveTo>
                    <a:pt x="1183130" y="4046342"/>
                  </a:moveTo>
                  <a:cubicBezTo>
                    <a:pt x="1169473" y="4050778"/>
                    <a:pt x="1158038" y="4053630"/>
                    <a:pt x="1152639" y="4054898"/>
                  </a:cubicBezTo>
                  <a:cubicBezTo>
                    <a:pt x="1152639" y="4054898"/>
                    <a:pt x="1149780" y="4050144"/>
                    <a:pt x="1149780" y="4050144"/>
                  </a:cubicBezTo>
                  <a:cubicBezTo>
                    <a:pt x="1149780" y="4050144"/>
                    <a:pt x="1149780" y="4050144"/>
                    <a:pt x="1148510" y="4048560"/>
                  </a:cubicBezTo>
                  <a:cubicBezTo>
                    <a:pt x="1156768" y="4060602"/>
                    <a:pt x="1161850" y="4073911"/>
                    <a:pt x="1161850" y="4090072"/>
                  </a:cubicBezTo>
                  <a:cubicBezTo>
                    <a:pt x="1161850" y="4100846"/>
                    <a:pt x="1159627" y="4112254"/>
                    <a:pt x="1155180" y="4124930"/>
                  </a:cubicBezTo>
                  <a:cubicBezTo>
                    <a:pt x="1154545" y="4127148"/>
                    <a:pt x="1153274" y="4129366"/>
                    <a:pt x="1152321" y="4131268"/>
                  </a:cubicBezTo>
                  <a:cubicBezTo>
                    <a:pt x="1152321" y="4131268"/>
                    <a:pt x="1152321" y="4131268"/>
                    <a:pt x="1170108" y="4138239"/>
                  </a:cubicBezTo>
                  <a:cubicBezTo>
                    <a:pt x="1170108" y="4138239"/>
                    <a:pt x="1170108" y="4138239"/>
                    <a:pt x="1182813" y="4105600"/>
                  </a:cubicBezTo>
                  <a:cubicBezTo>
                    <a:pt x="1182813" y="4105600"/>
                    <a:pt x="1182813" y="4105600"/>
                    <a:pt x="1183130" y="4046342"/>
                  </a:cubicBezTo>
                  <a:close/>
                  <a:moveTo>
                    <a:pt x="665412" y="4045708"/>
                  </a:moveTo>
                  <a:cubicBezTo>
                    <a:pt x="665412" y="4045708"/>
                    <a:pt x="665412" y="4045708"/>
                    <a:pt x="638414" y="4107818"/>
                  </a:cubicBezTo>
                  <a:lnTo>
                    <a:pt x="668905" y="4116057"/>
                  </a:lnTo>
                  <a:cubicBezTo>
                    <a:pt x="669858" y="4113839"/>
                    <a:pt x="671446" y="4110353"/>
                    <a:pt x="673352" y="4106550"/>
                  </a:cubicBezTo>
                  <a:cubicBezTo>
                    <a:pt x="674623" y="4103382"/>
                    <a:pt x="675893" y="4100530"/>
                    <a:pt x="676846" y="4098311"/>
                  </a:cubicBezTo>
                  <a:cubicBezTo>
                    <a:pt x="677481" y="4097361"/>
                    <a:pt x="677799" y="4096410"/>
                    <a:pt x="678116" y="4095776"/>
                  </a:cubicBezTo>
                  <a:cubicBezTo>
                    <a:pt x="678434" y="4095459"/>
                    <a:pt x="678434" y="4095142"/>
                    <a:pt x="678434" y="4094826"/>
                  </a:cubicBezTo>
                  <a:cubicBezTo>
                    <a:pt x="678434" y="4094826"/>
                    <a:pt x="678752" y="4094509"/>
                    <a:pt x="678752" y="4094192"/>
                  </a:cubicBezTo>
                  <a:cubicBezTo>
                    <a:pt x="678752" y="4094192"/>
                    <a:pt x="678752" y="4094192"/>
                    <a:pt x="679069" y="4094192"/>
                  </a:cubicBezTo>
                  <a:cubicBezTo>
                    <a:pt x="679069" y="4094192"/>
                    <a:pt x="679069" y="4093875"/>
                    <a:pt x="679069" y="4093875"/>
                  </a:cubicBezTo>
                  <a:cubicBezTo>
                    <a:pt x="679387" y="4093558"/>
                    <a:pt x="679705" y="4093558"/>
                    <a:pt x="680022" y="4093241"/>
                  </a:cubicBezTo>
                  <a:cubicBezTo>
                    <a:pt x="680022" y="4093241"/>
                    <a:pt x="680340" y="4093241"/>
                    <a:pt x="680657" y="4093241"/>
                  </a:cubicBezTo>
                  <a:cubicBezTo>
                    <a:pt x="681293" y="4093241"/>
                    <a:pt x="681610" y="4093241"/>
                    <a:pt x="681928" y="4093558"/>
                  </a:cubicBezTo>
                  <a:cubicBezTo>
                    <a:pt x="683198" y="4093875"/>
                    <a:pt x="687645" y="4095142"/>
                    <a:pt x="687645" y="4095142"/>
                  </a:cubicBezTo>
                  <a:cubicBezTo>
                    <a:pt x="687645" y="4095142"/>
                    <a:pt x="687645" y="4095142"/>
                    <a:pt x="688598" y="4095459"/>
                  </a:cubicBezTo>
                  <a:cubicBezTo>
                    <a:pt x="688598" y="4095459"/>
                    <a:pt x="688598" y="4095459"/>
                    <a:pt x="714007" y="4136655"/>
                  </a:cubicBezTo>
                  <a:cubicBezTo>
                    <a:pt x="714007" y="4136655"/>
                    <a:pt x="714007" y="4136655"/>
                    <a:pt x="769908" y="4151549"/>
                  </a:cubicBezTo>
                  <a:cubicBezTo>
                    <a:pt x="769908" y="4151549"/>
                    <a:pt x="769908" y="4151549"/>
                    <a:pt x="765462" y="4162956"/>
                  </a:cubicBezTo>
                  <a:cubicBezTo>
                    <a:pt x="765462" y="4162956"/>
                    <a:pt x="765462" y="4162956"/>
                    <a:pt x="794047" y="4171829"/>
                  </a:cubicBezTo>
                  <a:cubicBezTo>
                    <a:pt x="794047" y="4171829"/>
                    <a:pt x="794047" y="4171829"/>
                    <a:pt x="808658" y="4128733"/>
                  </a:cubicBezTo>
                  <a:cubicBezTo>
                    <a:pt x="808658" y="4128733"/>
                    <a:pt x="808658" y="4128733"/>
                    <a:pt x="738146" y="4108452"/>
                  </a:cubicBezTo>
                  <a:cubicBezTo>
                    <a:pt x="738146" y="4108452"/>
                    <a:pt x="738146" y="4108452"/>
                    <a:pt x="706385" y="4059017"/>
                  </a:cubicBezTo>
                  <a:cubicBezTo>
                    <a:pt x="706385" y="4059017"/>
                    <a:pt x="706385" y="4059017"/>
                    <a:pt x="665412" y="4045708"/>
                  </a:cubicBezTo>
                  <a:close/>
                  <a:moveTo>
                    <a:pt x="1444531" y="4040638"/>
                  </a:moveTo>
                  <a:lnTo>
                    <a:pt x="1431826" y="4081833"/>
                  </a:lnTo>
                  <a:cubicBezTo>
                    <a:pt x="1431826" y="4081833"/>
                    <a:pt x="1431826" y="4081833"/>
                    <a:pt x="1467082" y="4076763"/>
                  </a:cubicBezTo>
                  <a:cubicBezTo>
                    <a:pt x="1467082" y="4076763"/>
                    <a:pt x="1467082" y="4076763"/>
                    <a:pt x="1461682" y="4042856"/>
                  </a:cubicBezTo>
                  <a:cubicBezTo>
                    <a:pt x="1461682" y="4042856"/>
                    <a:pt x="1461682" y="4042856"/>
                    <a:pt x="1444531" y="4040638"/>
                  </a:cubicBezTo>
                  <a:close/>
                  <a:moveTo>
                    <a:pt x="662871" y="4040004"/>
                  </a:moveTo>
                  <a:cubicBezTo>
                    <a:pt x="662871" y="4040004"/>
                    <a:pt x="662871" y="4040004"/>
                    <a:pt x="709243" y="4055215"/>
                  </a:cubicBezTo>
                  <a:cubicBezTo>
                    <a:pt x="709243" y="4055215"/>
                    <a:pt x="709243" y="4055215"/>
                    <a:pt x="741005" y="4104649"/>
                  </a:cubicBezTo>
                  <a:cubicBezTo>
                    <a:pt x="741005" y="4104649"/>
                    <a:pt x="741005" y="4104649"/>
                    <a:pt x="814693" y="4125564"/>
                  </a:cubicBezTo>
                  <a:cubicBezTo>
                    <a:pt x="814693" y="4125564"/>
                    <a:pt x="814693" y="4125564"/>
                    <a:pt x="813740" y="4128099"/>
                  </a:cubicBezTo>
                  <a:cubicBezTo>
                    <a:pt x="813740" y="4128099"/>
                    <a:pt x="813740" y="4128099"/>
                    <a:pt x="797223" y="4177533"/>
                  </a:cubicBezTo>
                  <a:cubicBezTo>
                    <a:pt x="797223" y="4177533"/>
                    <a:pt x="797223" y="4177533"/>
                    <a:pt x="759109" y="4166125"/>
                  </a:cubicBezTo>
                  <a:cubicBezTo>
                    <a:pt x="759109" y="4166125"/>
                    <a:pt x="759109" y="4166125"/>
                    <a:pt x="763556" y="4154717"/>
                  </a:cubicBezTo>
                  <a:cubicBezTo>
                    <a:pt x="763556" y="4154717"/>
                    <a:pt x="763556" y="4154717"/>
                    <a:pt x="711149" y="4140774"/>
                  </a:cubicBezTo>
                  <a:cubicBezTo>
                    <a:pt x="711149" y="4140774"/>
                    <a:pt x="711149" y="4140774"/>
                    <a:pt x="685422" y="4099579"/>
                  </a:cubicBezTo>
                  <a:cubicBezTo>
                    <a:pt x="684786" y="4099262"/>
                    <a:pt x="684151" y="4098945"/>
                    <a:pt x="683198" y="4098945"/>
                  </a:cubicBezTo>
                  <a:cubicBezTo>
                    <a:pt x="682881" y="4098628"/>
                    <a:pt x="682563" y="4098628"/>
                    <a:pt x="682245" y="4098311"/>
                  </a:cubicBezTo>
                  <a:cubicBezTo>
                    <a:pt x="679387" y="4104332"/>
                    <a:pt x="672082" y="4119860"/>
                    <a:pt x="672082" y="4119860"/>
                  </a:cubicBezTo>
                  <a:lnTo>
                    <a:pt x="671446" y="4121761"/>
                  </a:lnTo>
                  <a:cubicBezTo>
                    <a:pt x="671446" y="4121761"/>
                    <a:pt x="671446" y="4121761"/>
                    <a:pt x="631744" y="4110670"/>
                  </a:cubicBezTo>
                  <a:cubicBezTo>
                    <a:pt x="631744" y="4110670"/>
                    <a:pt x="631744" y="4110670"/>
                    <a:pt x="662871" y="4040004"/>
                  </a:cubicBezTo>
                  <a:close/>
                  <a:moveTo>
                    <a:pt x="3138709" y="4037469"/>
                  </a:moveTo>
                  <a:cubicBezTo>
                    <a:pt x="3138709" y="4037469"/>
                    <a:pt x="3138709" y="4037469"/>
                    <a:pt x="3092972" y="4051729"/>
                  </a:cubicBezTo>
                  <a:cubicBezTo>
                    <a:pt x="3092972" y="4051729"/>
                    <a:pt x="3092972" y="4051729"/>
                    <a:pt x="3091066" y="4053630"/>
                  </a:cubicBezTo>
                  <a:cubicBezTo>
                    <a:pt x="3091066" y="4053630"/>
                    <a:pt x="3091066" y="4053630"/>
                    <a:pt x="3091702" y="4052996"/>
                  </a:cubicBezTo>
                  <a:lnTo>
                    <a:pt x="3091914" y="4053313"/>
                  </a:lnTo>
                  <a:lnTo>
                    <a:pt x="3091702" y="4053313"/>
                  </a:lnTo>
                  <a:cubicBezTo>
                    <a:pt x="3092972" y="4054898"/>
                    <a:pt x="3092972" y="4054898"/>
                    <a:pt x="3092972" y="4054898"/>
                  </a:cubicBezTo>
                  <a:lnTo>
                    <a:pt x="3091914" y="4053313"/>
                  </a:lnTo>
                  <a:lnTo>
                    <a:pt x="3092019" y="4053313"/>
                  </a:lnTo>
                  <a:cubicBezTo>
                    <a:pt x="3092019" y="4053313"/>
                    <a:pt x="3092019" y="4053313"/>
                    <a:pt x="3093290" y="4053313"/>
                  </a:cubicBezTo>
                  <a:cubicBezTo>
                    <a:pt x="3093290" y="4053313"/>
                    <a:pt x="3093290" y="4053313"/>
                    <a:pt x="3093925" y="4052996"/>
                  </a:cubicBezTo>
                  <a:cubicBezTo>
                    <a:pt x="3094243" y="4056165"/>
                    <a:pt x="3105359" y="4088805"/>
                    <a:pt x="3115841" y="4119860"/>
                  </a:cubicBezTo>
                  <a:cubicBezTo>
                    <a:pt x="3116794" y="4122712"/>
                    <a:pt x="3117746" y="4125564"/>
                    <a:pt x="3118699" y="4128733"/>
                  </a:cubicBezTo>
                  <a:cubicBezTo>
                    <a:pt x="3118699" y="4128733"/>
                    <a:pt x="3118699" y="4128733"/>
                    <a:pt x="3163801" y="4114473"/>
                  </a:cubicBezTo>
                  <a:cubicBezTo>
                    <a:pt x="3162531" y="4110670"/>
                    <a:pt x="3161260" y="4106867"/>
                    <a:pt x="3159990" y="4103065"/>
                  </a:cubicBezTo>
                  <a:cubicBezTo>
                    <a:pt x="3154590" y="4087220"/>
                    <a:pt x="3149191" y="4071376"/>
                    <a:pt x="3145062" y="4059017"/>
                  </a:cubicBezTo>
                  <a:cubicBezTo>
                    <a:pt x="3141568" y="4047609"/>
                    <a:pt x="3139027" y="4040638"/>
                    <a:pt x="3138709" y="4037469"/>
                  </a:cubicBezTo>
                  <a:close/>
                  <a:moveTo>
                    <a:pt x="3140933" y="4036835"/>
                  </a:moveTo>
                  <a:cubicBezTo>
                    <a:pt x="3140933" y="4036835"/>
                    <a:pt x="3140933" y="4036835"/>
                    <a:pt x="3139980" y="4037152"/>
                  </a:cubicBezTo>
                  <a:cubicBezTo>
                    <a:pt x="3139980" y="4037152"/>
                    <a:pt x="3139980" y="4037152"/>
                    <a:pt x="3139027" y="4038103"/>
                  </a:cubicBezTo>
                  <a:cubicBezTo>
                    <a:pt x="3139344" y="4038736"/>
                    <a:pt x="3141250" y="4039053"/>
                    <a:pt x="3141886" y="4038420"/>
                  </a:cubicBezTo>
                  <a:close/>
                  <a:moveTo>
                    <a:pt x="1441037" y="4035568"/>
                  </a:moveTo>
                  <a:cubicBezTo>
                    <a:pt x="1441037" y="4035568"/>
                    <a:pt x="1441037" y="4035568"/>
                    <a:pt x="1465811" y="4038736"/>
                  </a:cubicBezTo>
                  <a:cubicBezTo>
                    <a:pt x="1465811" y="4038736"/>
                    <a:pt x="1465811" y="4038736"/>
                    <a:pt x="1466129" y="4040321"/>
                  </a:cubicBezTo>
                  <a:lnTo>
                    <a:pt x="1472481" y="4080566"/>
                  </a:lnTo>
                  <a:cubicBezTo>
                    <a:pt x="1472481" y="4080566"/>
                    <a:pt x="1472481" y="4080566"/>
                    <a:pt x="1425156" y="4087854"/>
                  </a:cubicBezTo>
                  <a:cubicBezTo>
                    <a:pt x="1425156" y="4087854"/>
                    <a:pt x="1425156" y="4087854"/>
                    <a:pt x="1441037" y="4035568"/>
                  </a:cubicBezTo>
                  <a:close/>
                  <a:moveTo>
                    <a:pt x="169926" y="4035251"/>
                  </a:moveTo>
                  <a:cubicBezTo>
                    <a:pt x="162939" y="4036835"/>
                    <a:pt x="142293" y="4041588"/>
                    <a:pt x="122283" y="4046025"/>
                  </a:cubicBezTo>
                  <a:cubicBezTo>
                    <a:pt x="108308" y="4049194"/>
                    <a:pt x="94333" y="4052680"/>
                    <a:pt x="84804" y="4054581"/>
                  </a:cubicBezTo>
                  <a:cubicBezTo>
                    <a:pt x="91157" y="4069158"/>
                    <a:pt x="96239" y="4086903"/>
                    <a:pt x="96239" y="4106550"/>
                  </a:cubicBezTo>
                  <a:cubicBezTo>
                    <a:pt x="96239" y="4113205"/>
                    <a:pt x="95604" y="4120177"/>
                    <a:pt x="94333" y="4127465"/>
                  </a:cubicBezTo>
                  <a:cubicBezTo>
                    <a:pt x="93698" y="4130317"/>
                    <a:pt x="93380" y="4133169"/>
                    <a:pt x="92745" y="4136021"/>
                  </a:cubicBezTo>
                  <a:lnTo>
                    <a:pt x="195018" y="4163590"/>
                  </a:lnTo>
                  <a:cubicBezTo>
                    <a:pt x="195653" y="4144260"/>
                    <a:pt x="195971" y="4125881"/>
                    <a:pt x="195971" y="4115106"/>
                  </a:cubicBezTo>
                  <a:cubicBezTo>
                    <a:pt x="195971" y="4110987"/>
                    <a:pt x="195971" y="4108135"/>
                    <a:pt x="195971" y="4106550"/>
                  </a:cubicBezTo>
                  <a:cubicBezTo>
                    <a:pt x="195018" y="4092607"/>
                    <a:pt x="192477" y="4078031"/>
                    <a:pt x="178820" y="4050778"/>
                  </a:cubicBezTo>
                  <a:cubicBezTo>
                    <a:pt x="176279" y="4046342"/>
                    <a:pt x="173420" y="4041272"/>
                    <a:pt x="169926" y="4035251"/>
                  </a:cubicBezTo>
                  <a:close/>
                  <a:moveTo>
                    <a:pt x="3432507" y="4033666"/>
                  </a:moveTo>
                  <a:cubicBezTo>
                    <a:pt x="3432507" y="4033666"/>
                    <a:pt x="3432507" y="4033666"/>
                    <a:pt x="3396298" y="4045391"/>
                  </a:cubicBezTo>
                  <a:cubicBezTo>
                    <a:pt x="3401380" y="4060602"/>
                    <a:pt x="3406144" y="4074545"/>
                    <a:pt x="3409320" y="4084051"/>
                  </a:cubicBezTo>
                  <a:cubicBezTo>
                    <a:pt x="3409320" y="4084051"/>
                    <a:pt x="3409320" y="4084051"/>
                    <a:pt x="3444576" y="4072960"/>
                  </a:cubicBezTo>
                  <a:cubicBezTo>
                    <a:pt x="3444576" y="4072960"/>
                    <a:pt x="3444576" y="4072960"/>
                    <a:pt x="3432507" y="4033666"/>
                  </a:cubicBezTo>
                  <a:close/>
                  <a:moveTo>
                    <a:pt x="661600" y="4029547"/>
                  </a:moveTo>
                  <a:cubicBezTo>
                    <a:pt x="661600" y="4029547"/>
                    <a:pt x="661600" y="4029547"/>
                    <a:pt x="621898" y="4118275"/>
                  </a:cubicBezTo>
                  <a:cubicBezTo>
                    <a:pt x="621898" y="4118275"/>
                    <a:pt x="621898" y="4118275"/>
                    <a:pt x="653342" y="4258340"/>
                  </a:cubicBezTo>
                  <a:lnTo>
                    <a:pt x="653977" y="4262459"/>
                  </a:lnTo>
                  <a:cubicBezTo>
                    <a:pt x="653977" y="4262459"/>
                    <a:pt x="653977" y="4262459"/>
                    <a:pt x="652707" y="4262143"/>
                  </a:cubicBezTo>
                  <a:cubicBezTo>
                    <a:pt x="652707" y="4262143"/>
                    <a:pt x="652707" y="4262143"/>
                    <a:pt x="758156" y="4300169"/>
                  </a:cubicBezTo>
                  <a:cubicBezTo>
                    <a:pt x="758156" y="4300169"/>
                    <a:pt x="758156" y="4300169"/>
                    <a:pt x="828033" y="4118275"/>
                  </a:cubicBezTo>
                  <a:cubicBezTo>
                    <a:pt x="787377" y="4106550"/>
                    <a:pt x="747357" y="4095776"/>
                    <a:pt x="747040" y="4095776"/>
                  </a:cubicBezTo>
                  <a:cubicBezTo>
                    <a:pt x="747040" y="4095776"/>
                    <a:pt x="747040" y="4095776"/>
                    <a:pt x="746404" y="4095459"/>
                  </a:cubicBezTo>
                  <a:cubicBezTo>
                    <a:pt x="746404" y="4095459"/>
                    <a:pt x="746404" y="4095459"/>
                    <a:pt x="713055" y="4047609"/>
                  </a:cubicBezTo>
                  <a:cubicBezTo>
                    <a:pt x="713055" y="4047609"/>
                    <a:pt x="713055" y="4047609"/>
                    <a:pt x="661600" y="4029547"/>
                  </a:cubicBezTo>
                  <a:close/>
                  <a:moveTo>
                    <a:pt x="242343" y="4028913"/>
                  </a:moveTo>
                  <a:cubicBezTo>
                    <a:pt x="242343" y="4028913"/>
                    <a:pt x="242343" y="4028913"/>
                    <a:pt x="210264" y="4036518"/>
                  </a:cubicBezTo>
                  <a:cubicBezTo>
                    <a:pt x="210264" y="4036518"/>
                    <a:pt x="210264" y="4036518"/>
                    <a:pt x="219475" y="4063454"/>
                  </a:cubicBezTo>
                  <a:cubicBezTo>
                    <a:pt x="219475" y="4063454"/>
                    <a:pt x="219475" y="4063454"/>
                    <a:pt x="237579" y="4057116"/>
                  </a:cubicBezTo>
                  <a:lnTo>
                    <a:pt x="232497" y="4043173"/>
                  </a:lnTo>
                  <a:cubicBezTo>
                    <a:pt x="232497" y="4043173"/>
                    <a:pt x="232497" y="4043173"/>
                    <a:pt x="245520" y="4038736"/>
                  </a:cubicBezTo>
                  <a:cubicBezTo>
                    <a:pt x="245520" y="4038736"/>
                    <a:pt x="245520" y="4038736"/>
                    <a:pt x="242343" y="4028913"/>
                  </a:cubicBezTo>
                  <a:close/>
                  <a:moveTo>
                    <a:pt x="1271" y="4028913"/>
                  </a:moveTo>
                  <a:cubicBezTo>
                    <a:pt x="28268" y="4033666"/>
                    <a:pt x="28268" y="4033666"/>
                    <a:pt x="28268" y="4033666"/>
                  </a:cubicBezTo>
                  <a:cubicBezTo>
                    <a:pt x="20010" y="4072010"/>
                    <a:pt x="20010" y="4072010"/>
                    <a:pt x="20010" y="4072010"/>
                  </a:cubicBezTo>
                  <a:cubicBezTo>
                    <a:pt x="18105" y="4071376"/>
                    <a:pt x="18105" y="4071376"/>
                    <a:pt x="18105" y="4071376"/>
                  </a:cubicBezTo>
                  <a:cubicBezTo>
                    <a:pt x="2224" y="4068524"/>
                    <a:pt x="2224" y="4068524"/>
                    <a:pt x="2224" y="4068524"/>
                  </a:cubicBezTo>
                  <a:cubicBezTo>
                    <a:pt x="1271" y="4073277"/>
                    <a:pt x="1271" y="4073277"/>
                    <a:pt x="1271" y="4073277"/>
                  </a:cubicBezTo>
                  <a:cubicBezTo>
                    <a:pt x="1271" y="4064087"/>
                    <a:pt x="1271" y="4064087"/>
                    <a:pt x="1271" y="4064087"/>
                  </a:cubicBezTo>
                  <a:lnTo>
                    <a:pt x="16834" y="4066939"/>
                  </a:lnTo>
                  <a:cubicBezTo>
                    <a:pt x="23186" y="4037152"/>
                    <a:pt x="23186" y="4037152"/>
                    <a:pt x="23186" y="4037152"/>
                  </a:cubicBezTo>
                  <a:cubicBezTo>
                    <a:pt x="1271" y="4033032"/>
                    <a:pt x="1271" y="4033032"/>
                    <a:pt x="1271" y="4033032"/>
                  </a:cubicBezTo>
                  <a:cubicBezTo>
                    <a:pt x="1271" y="4028913"/>
                    <a:pt x="1271" y="4028913"/>
                    <a:pt x="1271" y="4028913"/>
                  </a:cubicBezTo>
                  <a:close/>
                  <a:moveTo>
                    <a:pt x="3183811" y="4023526"/>
                  </a:moveTo>
                  <a:cubicBezTo>
                    <a:pt x="3183811" y="4023526"/>
                    <a:pt x="3183811" y="4023526"/>
                    <a:pt x="3141568" y="4036518"/>
                  </a:cubicBezTo>
                  <a:cubicBezTo>
                    <a:pt x="3141568" y="4036518"/>
                    <a:pt x="3141568" y="4036518"/>
                    <a:pt x="3142203" y="4036518"/>
                  </a:cubicBezTo>
                  <a:cubicBezTo>
                    <a:pt x="3142203" y="4036518"/>
                    <a:pt x="3142203" y="4036518"/>
                    <a:pt x="3142838" y="4036518"/>
                  </a:cubicBezTo>
                  <a:cubicBezTo>
                    <a:pt x="3143156" y="4039687"/>
                    <a:pt x="3154273" y="4072010"/>
                    <a:pt x="3164754" y="4103065"/>
                  </a:cubicBezTo>
                  <a:cubicBezTo>
                    <a:pt x="3165707" y="4106550"/>
                    <a:pt x="3166978" y="4109719"/>
                    <a:pt x="3167930" y="4112888"/>
                  </a:cubicBezTo>
                  <a:cubicBezTo>
                    <a:pt x="3167930" y="4112888"/>
                    <a:pt x="3167930" y="4112888"/>
                    <a:pt x="3209221" y="4099896"/>
                  </a:cubicBezTo>
                  <a:cubicBezTo>
                    <a:pt x="3207950" y="4095776"/>
                    <a:pt x="3206362" y="4091657"/>
                    <a:pt x="3205092" y="4087537"/>
                  </a:cubicBezTo>
                  <a:cubicBezTo>
                    <a:pt x="3199692" y="4071693"/>
                    <a:pt x="3194293" y="4055531"/>
                    <a:pt x="3190164" y="4043490"/>
                  </a:cubicBezTo>
                  <a:cubicBezTo>
                    <a:pt x="3186988" y="4033666"/>
                    <a:pt x="3184764" y="4027012"/>
                    <a:pt x="3183811" y="4023526"/>
                  </a:cubicBezTo>
                  <a:close/>
                  <a:moveTo>
                    <a:pt x="1771360" y="4022892"/>
                  </a:moveTo>
                  <a:cubicBezTo>
                    <a:pt x="1771360" y="4022892"/>
                    <a:pt x="1771360" y="4022892"/>
                    <a:pt x="1766914" y="4047292"/>
                  </a:cubicBezTo>
                  <a:cubicBezTo>
                    <a:pt x="1766914" y="4047292"/>
                    <a:pt x="1766914" y="4047292"/>
                    <a:pt x="1805028" y="4054264"/>
                  </a:cubicBezTo>
                  <a:cubicBezTo>
                    <a:pt x="1805028" y="4054264"/>
                    <a:pt x="1805028" y="4054264"/>
                    <a:pt x="1809475" y="4029864"/>
                  </a:cubicBezTo>
                  <a:close/>
                  <a:moveTo>
                    <a:pt x="3186670" y="4022575"/>
                  </a:moveTo>
                  <a:cubicBezTo>
                    <a:pt x="3186670" y="4022575"/>
                    <a:pt x="3186670" y="4022575"/>
                    <a:pt x="3185082" y="4022892"/>
                  </a:cubicBezTo>
                  <a:cubicBezTo>
                    <a:pt x="3185717" y="4023209"/>
                    <a:pt x="3186352" y="4023209"/>
                    <a:pt x="3186670" y="4022892"/>
                  </a:cubicBezTo>
                  <a:cubicBezTo>
                    <a:pt x="3186670" y="4022892"/>
                    <a:pt x="3186670" y="4022892"/>
                    <a:pt x="3186670" y="4022575"/>
                  </a:cubicBezTo>
                  <a:close/>
                  <a:moveTo>
                    <a:pt x="1768184" y="4018139"/>
                  </a:moveTo>
                  <a:cubicBezTo>
                    <a:pt x="1768184" y="4018139"/>
                    <a:pt x="1768184" y="4018139"/>
                    <a:pt x="1814239" y="4026378"/>
                  </a:cubicBezTo>
                  <a:cubicBezTo>
                    <a:pt x="1814239" y="4026378"/>
                    <a:pt x="1814239" y="4026378"/>
                    <a:pt x="1808522" y="4059017"/>
                  </a:cubicBezTo>
                  <a:cubicBezTo>
                    <a:pt x="1808522" y="4059017"/>
                    <a:pt x="1808522" y="4059017"/>
                    <a:pt x="1762149" y="4050461"/>
                  </a:cubicBezTo>
                  <a:cubicBezTo>
                    <a:pt x="1762149" y="4050461"/>
                    <a:pt x="1762149" y="4050461"/>
                    <a:pt x="1762467" y="4048560"/>
                  </a:cubicBezTo>
                  <a:close/>
                  <a:moveTo>
                    <a:pt x="1061800" y="4016237"/>
                  </a:moveTo>
                  <a:cubicBezTo>
                    <a:pt x="1061800" y="4016237"/>
                    <a:pt x="1061800" y="4016237"/>
                    <a:pt x="1047190" y="4035251"/>
                  </a:cubicBezTo>
                  <a:cubicBezTo>
                    <a:pt x="1047190" y="4035251"/>
                    <a:pt x="1047190" y="4035251"/>
                    <a:pt x="1044966" y="4069475"/>
                  </a:cubicBezTo>
                  <a:cubicBezTo>
                    <a:pt x="1044966" y="4070742"/>
                    <a:pt x="1043696" y="4071693"/>
                    <a:pt x="1042425" y="4071693"/>
                  </a:cubicBezTo>
                  <a:cubicBezTo>
                    <a:pt x="1042425" y="4071693"/>
                    <a:pt x="1042425" y="4071693"/>
                    <a:pt x="1024321" y="4070425"/>
                  </a:cubicBezTo>
                  <a:lnTo>
                    <a:pt x="1022098" y="4095459"/>
                  </a:lnTo>
                  <a:cubicBezTo>
                    <a:pt x="1029403" y="4096093"/>
                    <a:pt x="1051954" y="4098311"/>
                    <a:pt x="1055448" y="4098311"/>
                  </a:cubicBezTo>
                  <a:cubicBezTo>
                    <a:pt x="1055448" y="4098311"/>
                    <a:pt x="1055448" y="4098311"/>
                    <a:pt x="1055765" y="4098311"/>
                  </a:cubicBezTo>
                  <a:cubicBezTo>
                    <a:pt x="1056083" y="4098311"/>
                    <a:pt x="1056400" y="4098311"/>
                    <a:pt x="1056718" y="4098311"/>
                  </a:cubicBezTo>
                  <a:cubicBezTo>
                    <a:pt x="1057989" y="4098628"/>
                    <a:pt x="1058624" y="4099896"/>
                    <a:pt x="1058624" y="4100846"/>
                  </a:cubicBezTo>
                  <a:cubicBezTo>
                    <a:pt x="1058306" y="4101163"/>
                    <a:pt x="1058306" y="4101163"/>
                    <a:pt x="1058306" y="4101480"/>
                  </a:cubicBezTo>
                  <a:cubicBezTo>
                    <a:pt x="1045284" y="4139507"/>
                    <a:pt x="991289" y="4173414"/>
                    <a:pt x="980172" y="4180068"/>
                  </a:cubicBezTo>
                  <a:cubicBezTo>
                    <a:pt x="980172" y="4180068"/>
                    <a:pt x="980172" y="4180068"/>
                    <a:pt x="983348" y="4185772"/>
                  </a:cubicBezTo>
                  <a:cubicBezTo>
                    <a:pt x="989065" y="4184505"/>
                    <a:pt x="1009393" y="4179752"/>
                    <a:pt x="1032261" y="4172463"/>
                  </a:cubicBezTo>
                  <a:cubicBezTo>
                    <a:pt x="1058941" y="4163590"/>
                    <a:pt x="1089433" y="4150281"/>
                    <a:pt x="1102773" y="4134753"/>
                  </a:cubicBezTo>
                  <a:cubicBezTo>
                    <a:pt x="1116748" y="4118275"/>
                    <a:pt x="1122148" y="4103065"/>
                    <a:pt x="1122148" y="4090072"/>
                  </a:cubicBezTo>
                  <a:cubicBezTo>
                    <a:pt x="1122148" y="4077397"/>
                    <a:pt x="1117066" y="4066306"/>
                    <a:pt x="1109443" y="4057116"/>
                  </a:cubicBezTo>
                  <a:cubicBezTo>
                    <a:pt x="1095150" y="4040638"/>
                    <a:pt x="1069105" y="4021308"/>
                    <a:pt x="1061800" y="4016237"/>
                  </a:cubicBezTo>
                  <a:close/>
                  <a:moveTo>
                    <a:pt x="1062753" y="4011167"/>
                  </a:moveTo>
                  <a:cubicBezTo>
                    <a:pt x="1062753" y="4011167"/>
                    <a:pt x="1095785" y="4034300"/>
                    <a:pt x="1112937" y="4054264"/>
                  </a:cubicBezTo>
                  <a:cubicBezTo>
                    <a:pt x="1121195" y="4064087"/>
                    <a:pt x="1126912" y="4076129"/>
                    <a:pt x="1126912" y="4090072"/>
                  </a:cubicBezTo>
                  <a:cubicBezTo>
                    <a:pt x="1126912" y="4104649"/>
                    <a:pt x="1120877" y="4120810"/>
                    <a:pt x="1106267" y="4137922"/>
                  </a:cubicBezTo>
                  <a:cubicBezTo>
                    <a:pt x="1077046" y="4171512"/>
                    <a:pt x="982713" y="4190526"/>
                    <a:pt x="982713" y="4190843"/>
                  </a:cubicBezTo>
                  <a:cubicBezTo>
                    <a:pt x="982395" y="4190843"/>
                    <a:pt x="982395" y="4190843"/>
                    <a:pt x="982078" y="4190843"/>
                  </a:cubicBezTo>
                  <a:cubicBezTo>
                    <a:pt x="981442" y="4190843"/>
                    <a:pt x="980490" y="4190526"/>
                    <a:pt x="980172" y="4189575"/>
                  </a:cubicBezTo>
                  <a:cubicBezTo>
                    <a:pt x="980172" y="4189575"/>
                    <a:pt x="980172" y="4189575"/>
                    <a:pt x="975090" y="4180385"/>
                  </a:cubicBezTo>
                  <a:cubicBezTo>
                    <a:pt x="974455" y="4179118"/>
                    <a:pt x="974772" y="4177850"/>
                    <a:pt x="975725" y="4177216"/>
                  </a:cubicBezTo>
                  <a:cubicBezTo>
                    <a:pt x="975725" y="4177216"/>
                    <a:pt x="991924" y="4168027"/>
                    <a:pt x="1010028" y="4153450"/>
                  </a:cubicBezTo>
                  <a:cubicBezTo>
                    <a:pt x="1026862" y="4139824"/>
                    <a:pt x="1045284" y="4121444"/>
                    <a:pt x="1052907" y="4103065"/>
                  </a:cubicBezTo>
                  <a:cubicBezTo>
                    <a:pt x="1043696" y="4102431"/>
                    <a:pt x="1019239" y="4099896"/>
                    <a:pt x="1019239" y="4099896"/>
                  </a:cubicBezTo>
                  <a:cubicBezTo>
                    <a:pt x="1017969" y="4099579"/>
                    <a:pt x="1017016" y="4098628"/>
                    <a:pt x="1017016" y="4097361"/>
                  </a:cubicBezTo>
                  <a:cubicBezTo>
                    <a:pt x="1017016" y="4097361"/>
                    <a:pt x="1017016" y="4097361"/>
                    <a:pt x="1019874" y="4067573"/>
                  </a:cubicBezTo>
                  <a:cubicBezTo>
                    <a:pt x="1019874" y="4066623"/>
                    <a:pt x="1021145" y="4065672"/>
                    <a:pt x="1022415" y="4065672"/>
                  </a:cubicBezTo>
                  <a:cubicBezTo>
                    <a:pt x="1022415" y="4065672"/>
                    <a:pt x="1022415" y="4065672"/>
                    <a:pt x="1040520" y="4066939"/>
                  </a:cubicBezTo>
                  <a:cubicBezTo>
                    <a:pt x="1040520" y="4066939"/>
                    <a:pt x="1040520" y="4066939"/>
                    <a:pt x="1042743" y="4033983"/>
                  </a:cubicBezTo>
                  <a:cubicBezTo>
                    <a:pt x="1042743" y="4033983"/>
                    <a:pt x="1042743" y="4033983"/>
                    <a:pt x="1043060" y="4032716"/>
                  </a:cubicBezTo>
                  <a:cubicBezTo>
                    <a:pt x="1043060" y="4032716"/>
                    <a:pt x="1043060" y="4032716"/>
                    <a:pt x="1059577" y="4011484"/>
                  </a:cubicBezTo>
                  <a:cubicBezTo>
                    <a:pt x="1060212" y="4010533"/>
                    <a:pt x="1061800" y="4010533"/>
                    <a:pt x="1062753" y="4011167"/>
                  </a:cubicBezTo>
                  <a:close/>
                  <a:moveTo>
                    <a:pt x="3226690" y="4010217"/>
                  </a:moveTo>
                  <a:cubicBezTo>
                    <a:pt x="3226690" y="4010217"/>
                    <a:pt x="3226690" y="4010217"/>
                    <a:pt x="3188258" y="4022258"/>
                  </a:cubicBezTo>
                  <a:cubicBezTo>
                    <a:pt x="3189846" y="4028279"/>
                    <a:pt x="3199692" y="4058383"/>
                    <a:pt x="3209856" y="4087537"/>
                  </a:cubicBezTo>
                  <a:cubicBezTo>
                    <a:pt x="3210809" y="4091340"/>
                    <a:pt x="3212079" y="4095142"/>
                    <a:pt x="3213350" y="4098628"/>
                  </a:cubicBezTo>
                  <a:cubicBezTo>
                    <a:pt x="3213350" y="4098628"/>
                    <a:pt x="3213350" y="4098628"/>
                    <a:pt x="3251782" y="4086587"/>
                  </a:cubicBezTo>
                  <a:cubicBezTo>
                    <a:pt x="3250511" y="4083101"/>
                    <a:pt x="3249241" y="4079298"/>
                    <a:pt x="3247970" y="4075812"/>
                  </a:cubicBezTo>
                  <a:cubicBezTo>
                    <a:pt x="3242571" y="4059968"/>
                    <a:pt x="3237171" y="4043807"/>
                    <a:pt x="3233360" y="4031765"/>
                  </a:cubicBezTo>
                  <a:cubicBezTo>
                    <a:pt x="3229548" y="4020040"/>
                    <a:pt x="3227007" y="4012752"/>
                    <a:pt x="3226690" y="4010217"/>
                  </a:cubicBezTo>
                  <a:close/>
                  <a:moveTo>
                    <a:pt x="2289396" y="4004829"/>
                  </a:moveTo>
                  <a:cubicBezTo>
                    <a:pt x="2289396" y="4004829"/>
                    <a:pt x="2289396" y="4004829"/>
                    <a:pt x="2287491" y="4027962"/>
                  </a:cubicBezTo>
                  <a:cubicBezTo>
                    <a:pt x="2287491" y="4027962"/>
                    <a:pt x="2287491" y="4027962"/>
                    <a:pt x="2263352" y="4025744"/>
                  </a:cubicBezTo>
                  <a:cubicBezTo>
                    <a:pt x="2263352" y="4025744"/>
                    <a:pt x="2263352" y="4025744"/>
                    <a:pt x="2262081" y="4041588"/>
                  </a:cubicBezTo>
                  <a:cubicBezTo>
                    <a:pt x="2262081" y="4041588"/>
                    <a:pt x="2262081" y="4041588"/>
                    <a:pt x="2316712" y="4045391"/>
                  </a:cubicBezTo>
                  <a:cubicBezTo>
                    <a:pt x="2316712" y="4045391"/>
                    <a:pt x="2316712" y="4045391"/>
                    <a:pt x="2317982" y="4029547"/>
                  </a:cubicBezTo>
                  <a:cubicBezTo>
                    <a:pt x="2317982" y="4029547"/>
                    <a:pt x="2317982" y="4029547"/>
                    <a:pt x="2323700" y="4030180"/>
                  </a:cubicBezTo>
                  <a:lnTo>
                    <a:pt x="2325605" y="4007998"/>
                  </a:lnTo>
                  <a:cubicBezTo>
                    <a:pt x="2325605" y="4007998"/>
                    <a:pt x="2325605" y="4007998"/>
                    <a:pt x="2289396" y="4004829"/>
                  </a:cubicBezTo>
                  <a:close/>
                  <a:moveTo>
                    <a:pt x="218204" y="4001977"/>
                  </a:moveTo>
                  <a:cubicBezTo>
                    <a:pt x="218204" y="4001977"/>
                    <a:pt x="218204" y="4001977"/>
                    <a:pt x="200418" y="4008315"/>
                  </a:cubicBezTo>
                  <a:cubicBezTo>
                    <a:pt x="200418" y="4008315"/>
                    <a:pt x="200418" y="4008315"/>
                    <a:pt x="208676" y="4032082"/>
                  </a:cubicBezTo>
                  <a:lnTo>
                    <a:pt x="240755" y="4024793"/>
                  </a:lnTo>
                  <a:cubicBezTo>
                    <a:pt x="240755" y="4024793"/>
                    <a:pt x="240755" y="4024793"/>
                    <a:pt x="235991" y="4011484"/>
                  </a:cubicBezTo>
                  <a:cubicBezTo>
                    <a:pt x="235991" y="4011484"/>
                    <a:pt x="235991" y="4011484"/>
                    <a:pt x="223286" y="4015921"/>
                  </a:cubicBezTo>
                  <a:cubicBezTo>
                    <a:pt x="223286" y="4015921"/>
                    <a:pt x="223286" y="4015921"/>
                    <a:pt x="218204" y="4001977"/>
                  </a:cubicBezTo>
                  <a:close/>
                  <a:moveTo>
                    <a:pt x="2987523" y="4001344"/>
                  </a:moveTo>
                  <a:cubicBezTo>
                    <a:pt x="2987523" y="4001344"/>
                    <a:pt x="2987523" y="4001344"/>
                    <a:pt x="2972595" y="4005780"/>
                  </a:cubicBezTo>
                  <a:cubicBezTo>
                    <a:pt x="2972595" y="4005780"/>
                    <a:pt x="2972595" y="4005780"/>
                    <a:pt x="2984346" y="4043807"/>
                  </a:cubicBezTo>
                  <a:cubicBezTo>
                    <a:pt x="2984346" y="4043807"/>
                    <a:pt x="2984346" y="4043807"/>
                    <a:pt x="2999275" y="4039053"/>
                  </a:cubicBezTo>
                  <a:close/>
                  <a:moveTo>
                    <a:pt x="2285585" y="4000393"/>
                  </a:moveTo>
                  <a:lnTo>
                    <a:pt x="2330370" y="4004196"/>
                  </a:lnTo>
                  <a:cubicBezTo>
                    <a:pt x="2330370" y="4004196"/>
                    <a:pt x="2330370" y="4004196"/>
                    <a:pt x="2327511" y="4034617"/>
                  </a:cubicBezTo>
                  <a:cubicBezTo>
                    <a:pt x="2327511" y="4034617"/>
                    <a:pt x="2327511" y="4034617"/>
                    <a:pt x="2321794" y="4034300"/>
                  </a:cubicBezTo>
                  <a:cubicBezTo>
                    <a:pt x="2321794" y="4034300"/>
                    <a:pt x="2321794" y="4034300"/>
                    <a:pt x="2320523" y="4049828"/>
                  </a:cubicBezTo>
                  <a:cubicBezTo>
                    <a:pt x="2320523" y="4049828"/>
                    <a:pt x="2320523" y="4049828"/>
                    <a:pt x="2257635" y="4045391"/>
                  </a:cubicBezTo>
                  <a:cubicBezTo>
                    <a:pt x="2257635" y="4045391"/>
                    <a:pt x="2257635" y="4045391"/>
                    <a:pt x="2257635" y="4043173"/>
                  </a:cubicBezTo>
                  <a:cubicBezTo>
                    <a:pt x="2257635" y="4043173"/>
                    <a:pt x="2257635" y="4043173"/>
                    <a:pt x="2259540" y="4021308"/>
                  </a:cubicBezTo>
                  <a:cubicBezTo>
                    <a:pt x="2259540" y="4021308"/>
                    <a:pt x="2259540" y="4021308"/>
                    <a:pt x="2283680" y="4023526"/>
                  </a:cubicBezTo>
                  <a:cubicBezTo>
                    <a:pt x="2283680" y="4023526"/>
                    <a:pt x="2283680" y="4023526"/>
                    <a:pt x="2285585" y="4000393"/>
                  </a:cubicBezTo>
                  <a:close/>
                  <a:moveTo>
                    <a:pt x="2106766" y="3999442"/>
                  </a:moveTo>
                  <a:cubicBezTo>
                    <a:pt x="2106766" y="3999442"/>
                    <a:pt x="2106766" y="3999442"/>
                    <a:pt x="2104860" y="4021624"/>
                  </a:cubicBezTo>
                  <a:cubicBezTo>
                    <a:pt x="2104860" y="4021624"/>
                    <a:pt x="2104860" y="4021624"/>
                    <a:pt x="2108672" y="4022258"/>
                  </a:cubicBezTo>
                  <a:cubicBezTo>
                    <a:pt x="2108672" y="4022258"/>
                    <a:pt x="2108672" y="4022258"/>
                    <a:pt x="2110577" y="4022258"/>
                  </a:cubicBezTo>
                  <a:cubicBezTo>
                    <a:pt x="2110577" y="4022258"/>
                    <a:pt x="2110577" y="4022258"/>
                    <a:pt x="2109307" y="4038103"/>
                  </a:cubicBezTo>
                  <a:cubicBezTo>
                    <a:pt x="2109307" y="4038103"/>
                    <a:pt x="2109307" y="4038103"/>
                    <a:pt x="2163620" y="4043807"/>
                  </a:cubicBezTo>
                  <a:cubicBezTo>
                    <a:pt x="2163620" y="4043807"/>
                    <a:pt x="2163620" y="4043807"/>
                    <a:pt x="2164890" y="4028279"/>
                  </a:cubicBezTo>
                  <a:lnTo>
                    <a:pt x="2141068" y="4026061"/>
                  </a:lnTo>
                  <a:cubicBezTo>
                    <a:pt x="2141068" y="4026061"/>
                    <a:pt x="2141068" y="4026061"/>
                    <a:pt x="2143292" y="4002928"/>
                  </a:cubicBezTo>
                  <a:cubicBezTo>
                    <a:pt x="2143292" y="4002928"/>
                    <a:pt x="2143292" y="4002928"/>
                    <a:pt x="2106766" y="3999442"/>
                  </a:cubicBezTo>
                  <a:close/>
                  <a:moveTo>
                    <a:pt x="380508" y="3996907"/>
                  </a:moveTo>
                  <a:cubicBezTo>
                    <a:pt x="380508" y="3996907"/>
                    <a:pt x="380508" y="3996907"/>
                    <a:pt x="246155" y="4027962"/>
                  </a:cubicBezTo>
                  <a:cubicBezTo>
                    <a:pt x="246155" y="4027962"/>
                    <a:pt x="246155" y="4027962"/>
                    <a:pt x="250919" y="4041272"/>
                  </a:cubicBezTo>
                  <a:cubicBezTo>
                    <a:pt x="250919" y="4041272"/>
                    <a:pt x="250919" y="4041272"/>
                    <a:pt x="237897" y="4045708"/>
                  </a:cubicBezTo>
                  <a:cubicBezTo>
                    <a:pt x="237897" y="4045708"/>
                    <a:pt x="237897" y="4045708"/>
                    <a:pt x="242979" y="4059651"/>
                  </a:cubicBezTo>
                  <a:cubicBezTo>
                    <a:pt x="242979" y="4059651"/>
                    <a:pt x="242979" y="4059651"/>
                    <a:pt x="216934" y="4068841"/>
                  </a:cubicBezTo>
                  <a:cubicBezTo>
                    <a:pt x="216934" y="4068841"/>
                    <a:pt x="216934" y="4068841"/>
                    <a:pt x="206135" y="4037469"/>
                  </a:cubicBezTo>
                  <a:lnTo>
                    <a:pt x="196289" y="4039687"/>
                  </a:lnTo>
                  <a:cubicBezTo>
                    <a:pt x="196606" y="4040321"/>
                    <a:pt x="196924" y="4040955"/>
                    <a:pt x="197242" y="4041272"/>
                  </a:cubicBezTo>
                  <a:cubicBezTo>
                    <a:pt x="203276" y="4052996"/>
                    <a:pt x="207405" y="4063137"/>
                    <a:pt x="210582" y="4072327"/>
                  </a:cubicBezTo>
                  <a:cubicBezTo>
                    <a:pt x="213440" y="4071376"/>
                    <a:pt x="216616" y="4070742"/>
                    <a:pt x="220745" y="4069791"/>
                  </a:cubicBezTo>
                  <a:cubicBezTo>
                    <a:pt x="236626" y="4066306"/>
                    <a:pt x="259177" y="4061235"/>
                    <a:pt x="278234" y="4057116"/>
                  </a:cubicBezTo>
                  <a:cubicBezTo>
                    <a:pt x="286810" y="4055215"/>
                    <a:pt x="294115" y="4053630"/>
                    <a:pt x="300150" y="4052363"/>
                  </a:cubicBezTo>
                  <a:cubicBezTo>
                    <a:pt x="300150" y="4052363"/>
                    <a:pt x="370979" y="4036518"/>
                    <a:pt x="403376" y="4029547"/>
                  </a:cubicBezTo>
                  <a:cubicBezTo>
                    <a:pt x="403376" y="4029547"/>
                    <a:pt x="403376" y="4029547"/>
                    <a:pt x="380508" y="3996907"/>
                  </a:cubicBezTo>
                  <a:close/>
                  <a:moveTo>
                    <a:pt x="2990381" y="3995957"/>
                  </a:moveTo>
                  <a:cubicBezTo>
                    <a:pt x="2990381" y="3995957"/>
                    <a:pt x="2990381" y="3995957"/>
                    <a:pt x="3004356" y="4041905"/>
                  </a:cubicBezTo>
                  <a:cubicBezTo>
                    <a:pt x="3004356" y="4041905"/>
                    <a:pt x="3004356" y="4041905"/>
                    <a:pt x="2981488" y="4048877"/>
                  </a:cubicBezTo>
                  <a:cubicBezTo>
                    <a:pt x="2981488" y="4048877"/>
                    <a:pt x="2981488" y="4048877"/>
                    <a:pt x="2980853" y="4046976"/>
                  </a:cubicBezTo>
                  <a:lnTo>
                    <a:pt x="2967195" y="4002928"/>
                  </a:lnTo>
                  <a:cubicBezTo>
                    <a:pt x="2967195" y="4002928"/>
                    <a:pt x="2967195" y="4002928"/>
                    <a:pt x="2990381" y="3995957"/>
                  </a:cubicBezTo>
                  <a:close/>
                  <a:moveTo>
                    <a:pt x="1259041" y="3995323"/>
                  </a:moveTo>
                  <a:cubicBezTo>
                    <a:pt x="1254595" y="4002928"/>
                    <a:pt x="1247925" y="4011484"/>
                    <a:pt x="1237126" y="4020674"/>
                  </a:cubicBezTo>
                  <a:cubicBezTo>
                    <a:pt x="1225374" y="4030814"/>
                    <a:pt x="1205999" y="4038420"/>
                    <a:pt x="1188212" y="4044440"/>
                  </a:cubicBezTo>
                  <a:cubicBezTo>
                    <a:pt x="1188212" y="4044440"/>
                    <a:pt x="1188212" y="4044440"/>
                    <a:pt x="1187895" y="4106550"/>
                  </a:cubicBezTo>
                  <a:lnTo>
                    <a:pt x="1175190" y="4139507"/>
                  </a:lnTo>
                  <a:cubicBezTo>
                    <a:pt x="1175190" y="4139507"/>
                    <a:pt x="1175190" y="4139507"/>
                    <a:pt x="1274605" y="4176266"/>
                  </a:cubicBezTo>
                  <a:cubicBezTo>
                    <a:pt x="1277146" y="4172463"/>
                    <a:pt x="1280004" y="4168660"/>
                    <a:pt x="1282863" y="4164858"/>
                  </a:cubicBezTo>
                  <a:cubicBezTo>
                    <a:pt x="1307319" y="4134437"/>
                    <a:pt x="1323200" y="4131268"/>
                    <a:pt x="1328282" y="4126831"/>
                  </a:cubicBezTo>
                  <a:cubicBezTo>
                    <a:pt x="1334317" y="4121444"/>
                    <a:pt x="1352421" y="4104966"/>
                    <a:pt x="1354645" y="4102114"/>
                  </a:cubicBezTo>
                  <a:cubicBezTo>
                    <a:pt x="1355280" y="4101480"/>
                    <a:pt x="1355597" y="4101163"/>
                    <a:pt x="1356233" y="4100530"/>
                  </a:cubicBezTo>
                  <a:cubicBezTo>
                    <a:pt x="1356233" y="4098945"/>
                    <a:pt x="1356550" y="4097361"/>
                    <a:pt x="1356550" y="4096727"/>
                  </a:cubicBezTo>
                  <a:cubicBezTo>
                    <a:pt x="1356550" y="4092290"/>
                    <a:pt x="1352739" y="4084368"/>
                    <a:pt x="1348610" y="4078347"/>
                  </a:cubicBezTo>
                  <a:cubicBezTo>
                    <a:pt x="1346704" y="4075179"/>
                    <a:pt x="1344481" y="4072643"/>
                    <a:pt x="1342893" y="4070425"/>
                  </a:cubicBezTo>
                  <a:cubicBezTo>
                    <a:pt x="1341940" y="4069475"/>
                    <a:pt x="1341305" y="4068841"/>
                    <a:pt x="1340669" y="4068207"/>
                  </a:cubicBezTo>
                  <a:cubicBezTo>
                    <a:pt x="1340669" y="4067890"/>
                    <a:pt x="1340352" y="4067573"/>
                    <a:pt x="1340034" y="4067256"/>
                  </a:cubicBezTo>
                  <a:cubicBezTo>
                    <a:pt x="1337811" y="4065038"/>
                    <a:pt x="1327647" y="4057116"/>
                    <a:pt x="1315895" y="4046659"/>
                  </a:cubicBezTo>
                  <a:cubicBezTo>
                    <a:pt x="1295885" y="4028913"/>
                    <a:pt x="1269840" y="4004829"/>
                    <a:pt x="1259041" y="3995323"/>
                  </a:cubicBezTo>
                  <a:close/>
                  <a:moveTo>
                    <a:pt x="2103272" y="3995006"/>
                  </a:moveTo>
                  <a:cubicBezTo>
                    <a:pt x="2103272" y="3995006"/>
                    <a:pt x="2103272" y="3995006"/>
                    <a:pt x="2147738" y="3999125"/>
                  </a:cubicBezTo>
                  <a:lnTo>
                    <a:pt x="2145515" y="4022258"/>
                  </a:lnTo>
                  <a:cubicBezTo>
                    <a:pt x="2145515" y="4022258"/>
                    <a:pt x="2145515" y="4022258"/>
                    <a:pt x="2169654" y="4024476"/>
                  </a:cubicBezTo>
                  <a:cubicBezTo>
                    <a:pt x="2169654" y="4024476"/>
                    <a:pt x="2169654" y="4024476"/>
                    <a:pt x="2167431" y="4048243"/>
                  </a:cubicBezTo>
                  <a:cubicBezTo>
                    <a:pt x="2167431" y="4048243"/>
                    <a:pt x="2167431" y="4048243"/>
                    <a:pt x="2165208" y="4048243"/>
                  </a:cubicBezTo>
                  <a:cubicBezTo>
                    <a:pt x="2165208" y="4048243"/>
                    <a:pt x="2165208" y="4048243"/>
                    <a:pt x="2104542" y="4041588"/>
                  </a:cubicBezTo>
                  <a:cubicBezTo>
                    <a:pt x="2104542" y="4041588"/>
                    <a:pt x="2104542" y="4041588"/>
                    <a:pt x="2106130" y="4026061"/>
                  </a:cubicBezTo>
                  <a:cubicBezTo>
                    <a:pt x="2106130" y="4026061"/>
                    <a:pt x="2106130" y="4026061"/>
                    <a:pt x="2102319" y="4025744"/>
                  </a:cubicBezTo>
                  <a:cubicBezTo>
                    <a:pt x="2102319" y="4025744"/>
                    <a:pt x="2102319" y="4025744"/>
                    <a:pt x="2100413" y="4025427"/>
                  </a:cubicBezTo>
                  <a:cubicBezTo>
                    <a:pt x="2100413" y="4025427"/>
                    <a:pt x="2100413" y="4025427"/>
                    <a:pt x="2103272" y="3995006"/>
                  </a:cubicBezTo>
                  <a:close/>
                  <a:moveTo>
                    <a:pt x="3277509" y="3994055"/>
                  </a:moveTo>
                  <a:cubicBezTo>
                    <a:pt x="3277509" y="3994055"/>
                    <a:pt x="3277509" y="3994055"/>
                    <a:pt x="3229231" y="4009266"/>
                  </a:cubicBezTo>
                  <a:cubicBezTo>
                    <a:pt x="3229231" y="4009266"/>
                    <a:pt x="3229231" y="4009266"/>
                    <a:pt x="3230184" y="4009266"/>
                  </a:cubicBezTo>
                  <a:cubicBezTo>
                    <a:pt x="3230184" y="4009266"/>
                    <a:pt x="3230184" y="4009266"/>
                    <a:pt x="3230819" y="4009266"/>
                  </a:cubicBezTo>
                  <a:cubicBezTo>
                    <a:pt x="3231454" y="4012118"/>
                    <a:pt x="3242253" y="4044757"/>
                    <a:pt x="3252734" y="4075812"/>
                  </a:cubicBezTo>
                  <a:cubicBezTo>
                    <a:pt x="3253687" y="4078981"/>
                    <a:pt x="3254958" y="4082150"/>
                    <a:pt x="3255911" y="4085319"/>
                  </a:cubicBezTo>
                  <a:cubicBezTo>
                    <a:pt x="3255911" y="4085319"/>
                    <a:pt x="3255911" y="4085319"/>
                    <a:pt x="3302283" y="4070425"/>
                  </a:cubicBezTo>
                  <a:cubicBezTo>
                    <a:pt x="3301330" y="4067256"/>
                    <a:pt x="3300060" y="4063771"/>
                    <a:pt x="3298789" y="4060285"/>
                  </a:cubicBezTo>
                  <a:cubicBezTo>
                    <a:pt x="3293390" y="4044440"/>
                    <a:pt x="3287990" y="4028279"/>
                    <a:pt x="3284179" y="4015921"/>
                  </a:cubicBezTo>
                  <a:cubicBezTo>
                    <a:pt x="3280367" y="4004196"/>
                    <a:pt x="3277826" y="3996907"/>
                    <a:pt x="3277509" y="3994055"/>
                  </a:cubicBezTo>
                  <a:close/>
                  <a:moveTo>
                    <a:pt x="1055765" y="3990253"/>
                  </a:moveTo>
                  <a:cubicBezTo>
                    <a:pt x="1055765" y="3990253"/>
                    <a:pt x="1055765" y="3990253"/>
                    <a:pt x="920460" y="4150598"/>
                  </a:cubicBezTo>
                  <a:cubicBezTo>
                    <a:pt x="943646" y="4169928"/>
                    <a:pt x="961115" y="4196547"/>
                    <a:pt x="968420" y="4208905"/>
                  </a:cubicBezTo>
                  <a:cubicBezTo>
                    <a:pt x="1002405" y="4201934"/>
                    <a:pt x="1043378" y="4197497"/>
                    <a:pt x="1064023" y="4189575"/>
                  </a:cubicBezTo>
                  <a:cubicBezTo>
                    <a:pt x="1064976" y="4189258"/>
                    <a:pt x="1068788" y="4187357"/>
                    <a:pt x="1074187" y="4184505"/>
                  </a:cubicBezTo>
                  <a:cubicBezTo>
                    <a:pt x="1093244" y="4174048"/>
                    <a:pt x="1132311" y="4147746"/>
                    <a:pt x="1141522" y="4120177"/>
                  </a:cubicBezTo>
                  <a:cubicBezTo>
                    <a:pt x="1145651" y="4108769"/>
                    <a:pt x="1147557" y="4098945"/>
                    <a:pt x="1147557" y="4090072"/>
                  </a:cubicBezTo>
                  <a:cubicBezTo>
                    <a:pt x="1147239" y="4069158"/>
                    <a:pt x="1137711" y="4054264"/>
                    <a:pt x="1121195" y="4038103"/>
                  </a:cubicBezTo>
                  <a:cubicBezTo>
                    <a:pt x="1107855" y="4025110"/>
                    <a:pt x="1083080" y="4006414"/>
                    <a:pt x="1055765" y="3990253"/>
                  </a:cubicBezTo>
                  <a:close/>
                  <a:moveTo>
                    <a:pt x="1954944" y="3987084"/>
                  </a:moveTo>
                  <a:cubicBezTo>
                    <a:pt x="1954944" y="3987084"/>
                    <a:pt x="1954944" y="3987084"/>
                    <a:pt x="1948909" y="4046976"/>
                  </a:cubicBezTo>
                  <a:lnTo>
                    <a:pt x="2061982" y="4055531"/>
                  </a:lnTo>
                  <a:cubicBezTo>
                    <a:pt x="2061982" y="4055531"/>
                    <a:pt x="2061982" y="4055531"/>
                    <a:pt x="2068334" y="3995957"/>
                  </a:cubicBezTo>
                  <a:cubicBezTo>
                    <a:pt x="2068334" y="3995957"/>
                    <a:pt x="2068334" y="3995957"/>
                    <a:pt x="1954944" y="3987084"/>
                  </a:cubicBezTo>
                  <a:close/>
                  <a:moveTo>
                    <a:pt x="1907937" y="3983598"/>
                  </a:moveTo>
                  <a:cubicBezTo>
                    <a:pt x="1907937" y="3983598"/>
                    <a:pt x="1907937" y="3983598"/>
                    <a:pt x="1901902" y="4043490"/>
                  </a:cubicBezTo>
                  <a:lnTo>
                    <a:pt x="1944462" y="4046659"/>
                  </a:lnTo>
                  <a:cubicBezTo>
                    <a:pt x="1944462" y="4046659"/>
                    <a:pt x="1944462" y="4046659"/>
                    <a:pt x="1950815" y="3986767"/>
                  </a:cubicBezTo>
                  <a:cubicBezTo>
                    <a:pt x="1950815" y="3986767"/>
                    <a:pt x="1950815" y="3986767"/>
                    <a:pt x="1907937" y="3983598"/>
                  </a:cubicBezTo>
                  <a:close/>
                  <a:moveTo>
                    <a:pt x="1891420" y="3982330"/>
                  </a:moveTo>
                  <a:cubicBezTo>
                    <a:pt x="1888879" y="4001977"/>
                    <a:pt x="1886338" y="4021941"/>
                    <a:pt x="1883798" y="4041905"/>
                  </a:cubicBezTo>
                  <a:cubicBezTo>
                    <a:pt x="1883798" y="4041905"/>
                    <a:pt x="1883798" y="4041905"/>
                    <a:pt x="1897455" y="4043173"/>
                  </a:cubicBezTo>
                  <a:lnTo>
                    <a:pt x="1903807" y="3983281"/>
                  </a:lnTo>
                  <a:cubicBezTo>
                    <a:pt x="1903807" y="3983281"/>
                    <a:pt x="1903807" y="3983281"/>
                    <a:pt x="1891420" y="3982330"/>
                  </a:cubicBezTo>
                  <a:close/>
                  <a:moveTo>
                    <a:pt x="107673" y="3981697"/>
                  </a:moveTo>
                  <a:lnTo>
                    <a:pt x="77182" y="3999759"/>
                  </a:lnTo>
                  <a:cubicBezTo>
                    <a:pt x="77182" y="3999759"/>
                    <a:pt x="77182" y="3999759"/>
                    <a:pt x="95286" y="4030180"/>
                  </a:cubicBezTo>
                  <a:cubicBezTo>
                    <a:pt x="95286" y="4030180"/>
                    <a:pt x="95286" y="4030180"/>
                    <a:pt x="125777" y="4012118"/>
                  </a:cubicBezTo>
                  <a:cubicBezTo>
                    <a:pt x="125777" y="4012118"/>
                    <a:pt x="125777" y="4012118"/>
                    <a:pt x="107673" y="3981697"/>
                  </a:cubicBezTo>
                  <a:close/>
                  <a:moveTo>
                    <a:pt x="491674" y="3978528"/>
                  </a:moveTo>
                  <a:lnTo>
                    <a:pt x="431009" y="3995640"/>
                  </a:lnTo>
                  <a:cubicBezTo>
                    <a:pt x="431009" y="3995640"/>
                    <a:pt x="431009" y="3995640"/>
                    <a:pt x="441490" y="4018139"/>
                  </a:cubicBezTo>
                  <a:cubicBezTo>
                    <a:pt x="441490" y="4018139"/>
                    <a:pt x="441490" y="4018139"/>
                    <a:pt x="480875" y="4035568"/>
                  </a:cubicBezTo>
                  <a:cubicBezTo>
                    <a:pt x="480875" y="4035568"/>
                    <a:pt x="480875" y="4035568"/>
                    <a:pt x="519625" y="3988985"/>
                  </a:cubicBezTo>
                  <a:cubicBezTo>
                    <a:pt x="519625" y="3988985"/>
                    <a:pt x="519625" y="3988985"/>
                    <a:pt x="491674" y="3978528"/>
                  </a:cubicBezTo>
                  <a:close/>
                  <a:moveTo>
                    <a:pt x="109261" y="3975993"/>
                  </a:moveTo>
                  <a:cubicBezTo>
                    <a:pt x="109261" y="3975993"/>
                    <a:pt x="109261" y="3975993"/>
                    <a:pt x="110214" y="3977894"/>
                  </a:cubicBezTo>
                  <a:cubicBezTo>
                    <a:pt x="110214" y="3977894"/>
                    <a:pt x="110214" y="3977894"/>
                    <a:pt x="131494" y="4013702"/>
                  </a:cubicBezTo>
                  <a:lnTo>
                    <a:pt x="93698" y="4035884"/>
                  </a:lnTo>
                  <a:cubicBezTo>
                    <a:pt x="93698" y="4035884"/>
                    <a:pt x="93698" y="4035884"/>
                    <a:pt x="71464" y="3998175"/>
                  </a:cubicBezTo>
                  <a:cubicBezTo>
                    <a:pt x="71464" y="3998175"/>
                    <a:pt x="71464" y="3998175"/>
                    <a:pt x="109261" y="3975993"/>
                  </a:cubicBezTo>
                  <a:close/>
                  <a:moveTo>
                    <a:pt x="1341940" y="3974408"/>
                  </a:moveTo>
                  <a:cubicBezTo>
                    <a:pt x="1341940" y="3974408"/>
                    <a:pt x="1341940" y="3974408"/>
                    <a:pt x="1321930" y="4016554"/>
                  </a:cubicBezTo>
                  <a:cubicBezTo>
                    <a:pt x="1321930" y="4016554"/>
                    <a:pt x="1321930" y="4016554"/>
                    <a:pt x="1348610" y="4039053"/>
                  </a:cubicBezTo>
                  <a:cubicBezTo>
                    <a:pt x="1348610" y="4039053"/>
                    <a:pt x="1348610" y="4039053"/>
                    <a:pt x="1358138" y="4018456"/>
                  </a:cubicBezTo>
                  <a:lnTo>
                    <a:pt x="1345116" y="4005463"/>
                  </a:lnTo>
                  <a:cubicBezTo>
                    <a:pt x="1345116" y="4005463"/>
                    <a:pt x="1345116" y="4005463"/>
                    <a:pt x="1343210" y="4003562"/>
                  </a:cubicBezTo>
                  <a:cubicBezTo>
                    <a:pt x="1343210" y="4003562"/>
                    <a:pt x="1343210" y="4003562"/>
                    <a:pt x="1343845" y="4001344"/>
                  </a:cubicBezTo>
                  <a:cubicBezTo>
                    <a:pt x="1343845" y="4001344"/>
                    <a:pt x="1343845" y="4001344"/>
                    <a:pt x="1347657" y="3985816"/>
                  </a:cubicBezTo>
                  <a:cubicBezTo>
                    <a:pt x="1347657" y="3985816"/>
                    <a:pt x="1347657" y="3985816"/>
                    <a:pt x="1341940" y="3974408"/>
                  </a:cubicBezTo>
                  <a:close/>
                  <a:moveTo>
                    <a:pt x="491992" y="3973774"/>
                  </a:moveTo>
                  <a:cubicBezTo>
                    <a:pt x="491992" y="3973774"/>
                    <a:pt x="491992" y="3973774"/>
                    <a:pt x="526930" y="3986767"/>
                  </a:cubicBezTo>
                  <a:cubicBezTo>
                    <a:pt x="526930" y="3986767"/>
                    <a:pt x="526930" y="3986767"/>
                    <a:pt x="482146" y="4040955"/>
                  </a:cubicBezTo>
                  <a:lnTo>
                    <a:pt x="437997" y="4021624"/>
                  </a:lnTo>
                  <a:cubicBezTo>
                    <a:pt x="437997" y="4021624"/>
                    <a:pt x="437997" y="4021624"/>
                    <a:pt x="424657" y="3992788"/>
                  </a:cubicBezTo>
                  <a:cubicBezTo>
                    <a:pt x="424657" y="3992788"/>
                    <a:pt x="424657" y="3992788"/>
                    <a:pt x="491992" y="3973774"/>
                  </a:cubicBezTo>
                  <a:close/>
                  <a:moveTo>
                    <a:pt x="1742140" y="3971239"/>
                  </a:moveTo>
                  <a:cubicBezTo>
                    <a:pt x="1742140" y="3971239"/>
                    <a:pt x="1742140" y="3971239"/>
                    <a:pt x="1737693" y="3995957"/>
                  </a:cubicBezTo>
                  <a:lnTo>
                    <a:pt x="1776125" y="4002928"/>
                  </a:lnTo>
                  <a:cubicBezTo>
                    <a:pt x="1776125" y="4002928"/>
                    <a:pt x="1776125" y="4002928"/>
                    <a:pt x="1780571" y="3978211"/>
                  </a:cubicBezTo>
                  <a:cubicBezTo>
                    <a:pt x="1780571" y="3978211"/>
                    <a:pt x="1780571" y="3978211"/>
                    <a:pt x="1742140" y="3971239"/>
                  </a:cubicBezTo>
                  <a:close/>
                  <a:moveTo>
                    <a:pt x="869641" y="3969021"/>
                  </a:moveTo>
                  <a:cubicBezTo>
                    <a:pt x="869641" y="3969021"/>
                    <a:pt x="869641" y="3969021"/>
                    <a:pt x="848995" y="4023526"/>
                  </a:cubicBezTo>
                  <a:lnTo>
                    <a:pt x="864559" y="4029547"/>
                  </a:lnTo>
                  <a:cubicBezTo>
                    <a:pt x="864559" y="4029547"/>
                    <a:pt x="864559" y="4029547"/>
                    <a:pt x="874087" y="4003879"/>
                  </a:cubicBezTo>
                  <a:cubicBezTo>
                    <a:pt x="874087" y="4003879"/>
                    <a:pt x="874087" y="4003879"/>
                    <a:pt x="886792" y="4008632"/>
                  </a:cubicBezTo>
                  <a:cubicBezTo>
                    <a:pt x="886792" y="4008632"/>
                    <a:pt x="886792" y="4008632"/>
                    <a:pt x="865512" y="4064721"/>
                  </a:cubicBezTo>
                  <a:cubicBezTo>
                    <a:pt x="865512" y="4064721"/>
                    <a:pt x="865512" y="4064721"/>
                    <a:pt x="880122" y="4070108"/>
                  </a:cubicBezTo>
                  <a:cubicBezTo>
                    <a:pt x="880122" y="4070108"/>
                    <a:pt x="880122" y="4070108"/>
                    <a:pt x="888062" y="4049511"/>
                  </a:cubicBezTo>
                  <a:cubicBezTo>
                    <a:pt x="888062" y="4049511"/>
                    <a:pt x="888062" y="4049511"/>
                    <a:pt x="910296" y="4057750"/>
                  </a:cubicBezTo>
                  <a:cubicBezTo>
                    <a:pt x="910296" y="4057750"/>
                    <a:pt x="910296" y="4057750"/>
                    <a:pt x="924271" y="4021624"/>
                  </a:cubicBezTo>
                  <a:cubicBezTo>
                    <a:pt x="924271" y="4021624"/>
                    <a:pt x="924271" y="4021624"/>
                    <a:pt x="896956" y="4011484"/>
                  </a:cubicBezTo>
                  <a:cubicBezTo>
                    <a:pt x="896956" y="4011484"/>
                    <a:pt x="896956" y="4011484"/>
                    <a:pt x="909343" y="3979478"/>
                  </a:cubicBezTo>
                  <a:cubicBezTo>
                    <a:pt x="909343" y="3979478"/>
                    <a:pt x="909343" y="3979478"/>
                    <a:pt x="887427" y="3971239"/>
                  </a:cubicBezTo>
                  <a:cubicBezTo>
                    <a:pt x="887427" y="3971239"/>
                    <a:pt x="887427" y="3971239"/>
                    <a:pt x="886792" y="3973141"/>
                  </a:cubicBezTo>
                  <a:cubicBezTo>
                    <a:pt x="886792" y="3973141"/>
                    <a:pt x="886792" y="3973141"/>
                    <a:pt x="886157" y="3975042"/>
                  </a:cubicBezTo>
                  <a:cubicBezTo>
                    <a:pt x="886157" y="3975042"/>
                    <a:pt x="886157" y="3975042"/>
                    <a:pt x="869641" y="3969021"/>
                  </a:cubicBezTo>
                  <a:close/>
                  <a:moveTo>
                    <a:pt x="1738963" y="3966486"/>
                  </a:moveTo>
                  <a:cubicBezTo>
                    <a:pt x="1738963" y="3966486"/>
                    <a:pt x="1738963" y="3966486"/>
                    <a:pt x="1785336" y="3975042"/>
                  </a:cubicBezTo>
                  <a:lnTo>
                    <a:pt x="1779301" y="4007681"/>
                  </a:lnTo>
                  <a:cubicBezTo>
                    <a:pt x="1779301" y="4007681"/>
                    <a:pt x="1779301" y="4007681"/>
                    <a:pt x="1732929" y="3999125"/>
                  </a:cubicBezTo>
                  <a:cubicBezTo>
                    <a:pt x="1732929" y="3999125"/>
                    <a:pt x="1732929" y="3999125"/>
                    <a:pt x="1733564" y="3997224"/>
                  </a:cubicBezTo>
                  <a:cubicBezTo>
                    <a:pt x="1733564" y="3997224"/>
                    <a:pt x="1733564" y="3997224"/>
                    <a:pt x="1738963" y="3966486"/>
                  </a:cubicBezTo>
                  <a:close/>
                  <a:moveTo>
                    <a:pt x="1341622" y="3964268"/>
                  </a:moveTo>
                  <a:cubicBezTo>
                    <a:pt x="1341622" y="3964268"/>
                    <a:pt x="1341622" y="3964268"/>
                    <a:pt x="1352421" y="3985499"/>
                  </a:cubicBezTo>
                  <a:lnTo>
                    <a:pt x="1348292" y="4002294"/>
                  </a:lnTo>
                  <a:cubicBezTo>
                    <a:pt x="1348292" y="4002294"/>
                    <a:pt x="1348292" y="4002294"/>
                    <a:pt x="1363220" y="4017505"/>
                  </a:cubicBezTo>
                  <a:cubicBezTo>
                    <a:pt x="1363220" y="4017505"/>
                    <a:pt x="1363220" y="4017505"/>
                    <a:pt x="1350198" y="4046025"/>
                  </a:cubicBezTo>
                  <a:cubicBezTo>
                    <a:pt x="1350198" y="4046025"/>
                    <a:pt x="1350198" y="4046025"/>
                    <a:pt x="1316530" y="4017822"/>
                  </a:cubicBezTo>
                  <a:cubicBezTo>
                    <a:pt x="1316530" y="4017822"/>
                    <a:pt x="1316530" y="4017822"/>
                    <a:pt x="1341622" y="3964268"/>
                  </a:cubicBezTo>
                  <a:close/>
                  <a:moveTo>
                    <a:pt x="867417" y="3963634"/>
                  </a:moveTo>
                  <a:cubicBezTo>
                    <a:pt x="867417" y="3963634"/>
                    <a:pt x="867417" y="3963634"/>
                    <a:pt x="883616" y="3969655"/>
                  </a:cubicBezTo>
                  <a:cubicBezTo>
                    <a:pt x="883616" y="3969655"/>
                    <a:pt x="883616" y="3969655"/>
                    <a:pt x="884251" y="3967754"/>
                  </a:cubicBezTo>
                  <a:cubicBezTo>
                    <a:pt x="884251" y="3967754"/>
                    <a:pt x="884251" y="3967754"/>
                    <a:pt x="885204" y="3965852"/>
                  </a:cubicBezTo>
                  <a:cubicBezTo>
                    <a:pt x="885204" y="3965852"/>
                    <a:pt x="885204" y="3965852"/>
                    <a:pt x="914742" y="3976943"/>
                  </a:cubicBezTo>
                  <a:cubicBezTo>
                    <a:pt x="914742" y="3976943"/>
                    <a:pt x="914742" y="3976943"/>
                    <a:pt x="913790" y="3978845"/>
                  </a:cubicBezTo>
                  <a:cubicBezTo>
                    <a:pt x="913790" y="3978845"/>
                    <a:pt x="913790" y="3978845"/>
                    <a:pt x="902355" y="4008949"/>
                  </a:cubicBezTo>
                  <a:cubicBezTo>
                    <a:pt x="902355" y="4008949"/>
                    <a:pt x="902355" y="4008949"/>
                    <a:pt x="929671" y="4019089"/>
                  </a:cubicBezTo>
                  <a:cubicBezTo>
                    <a:pt x="929671" y="4019089"/>
                    <a:pt x="929671" y="4019089"/>
                    <a:pt x="912837" y="4063454"/>
                  </a:cubicBezTo>
                  <a:cubicBezTo>
                    <a:pt x="912837" y="4063454"/>
                    <a:pt x="912837" y="4063454"/>
                    <a:pt x="890286" y="4054898"/>
                  </a:cubicBezTo>
                  <a:cubicBezTo>
                    <a:pt x="890286" y="4054898"/>
                    <a:pt x="890286" y="4054898"/>
                    <a:pt x="882345" y="4075812"/>
                  </a:cubicBezTo>
                  <a:cubicBezTo>
                    <a:pt x="882345" y="4075812"/>
                    <a:pt x="882345" y="4075812"/>
                    <a:pt x="859794" y="4067256"/>
                  </a:cubicBezTo>
                  <a:cubicBezTo>
                    <a:pt x="859794" y="4067256"/>
                    <a:pt x="859794" y="4067256"/>
                    <a:pt x="881075" y="4010850"/>
                  </a:cubicBezTo>
                  <a:cubicBezTo>
                    <a:pt x="881075" y="4010850"/>
                    <a:pt x="881075" y="4010850"/>
                    <a:pt x="876628" y="4009266"/>
                  </a:cubicBezTo>
                  <a:lnTo>
                    <a:pt x="866782" y="4034934"/>
                  </a:lnTo>
                  <a:cubicBezTo>
                    <a:pt x="866782" y="4034934"/>
                    <a:pt x="866782" y="4034934"/>
                    <a:pt x="843596" y="4026061"/>
                  </a:cubicBezTo>
                  <a:cubicBezTo>
                    <a:pt x="843596" y="4026061"/>
                    <a:pt x="843596" y="4026061"/>
                    <a:pt x="867417" y="3963634"/>
                  </a:cubicBezTo>
                  <a:close/>
                  <a:moveTo>
                    <a:pt x="2985300" y="3961099"/>
                  </a:moveTo>
                  <a:cubicBezTo>
                    <a:pt x="2985300" y="3961099"/>
                    <a:pt x="2984982" y="3961416"/>
                    <a:pt x="2984982" y="3961416"/>
                  </a:cubicBezTo>
                  <a:cubicBezTo>
                    <a:pt x="2974500" y="3985499"/>
                    <a:pt x="2963701" y="4009583"/>
                    <a:pt x="2955443" y="4027645"/>
                  </a:cubicBezTo>
                  <a:cubicBezTo>
                    <a:pt x="2951314" y="4036835"/>
                    <a:pt x="2947503" y="4044440"/>
                    <a:pt x="2944962" y="4049828"/>
                  </a:cubicBezTo>
                  <a:cubicBezTo>
                    <a:pt x="2944326" y="4051412"/>
                    <a:pt x="2943374" y="4052680"/>
                    <a:pt x="2942738" y="4053947"/>
                  </a:cubicBezTo>
                  <a:cubicBezTo>
                    <a:pt x="2944326" y="4053630"/>
                    <a:pt x="2980853" y="4052680"/>
                    <a:pt x="3016744" y="4051412"/>
                  </a:cubicBezTo>
                  <a:close/>
                  <a:moveTo>
                    <a:pt x="766097" y="3960782"/>
                  </a:moveTo>
                  <a:cubicBezTo>
                    <a:pt x="766097" y="3960782"/>
                    <a:pt x="766097" y="3960782"/>
                    <a:pt x="766097" y="3962050"/>
                  </a:cubicBezTo>
                  <a:cubicBezTo>
                    <a:pt x="766097" y="3962050"/>
                    <a:pt x="766097" y="3962050"/>
                    <a:pt x="765779" y="3963951"/>
                  </a:cubicBezTo>
                  <a:cubicBezTo>
                    <a:pt x="765779" y="3963951"/>
                    <a:pt x="765779" y="3963951"/>
                    <a:pt x="749263" y="3961099"/>
                  </a:cubicBezTo>
                  <a:cubicBezTo>
                    <a:pt x="749263" y="3961099"/>
                    <a:pt x="749263" y="3961099"/>
                    <a:pt x="740370" y="4010850"/>
                  </a:cubicBezTo>
                  <a:lnTo>
                    <a:pt x="766414" y="4015604"/>
                  </a:lnTo>
                  <a:cubicBezTo>
                    <a:pt x="766414" y="4015604"/>
                    <a:pt x="766414" y="4015604"/>
                    <a:pt x="770544" y="3992788"/>
                  </a:cubicBezTo>
                  <a:cubicBezTo>
                    <a:pt x="770544" y="3992788"/>
                    <a:pt x="770544" y="3992788"/>
                    <a:pt x="788648" y="3995957"/>
                  </a:cubicBezTo>
                  <a:cubicBezTo>
                    <a:pt x="788648" y="3995957"/>
                    <a:pt x="788648" y="3995957"/>
                    <a:pt x="794683" y="3965852"/>
                  </a:cubicBezTo>
                  <a:cubicBezTo>
                    <a:pt x="794683" y="3965852"/>
                    <a:pt x="794683" y="3965852"/>
                    <a:pt x="766097" y="3960782"/>
                  </a:cubicBezTo>
                  <a:close/>
                  <a:moveTo>
                    <a:pt x="762921" y="3956029"/>
                  </a:moveTo>
                  <a:cubicBezTo>
                    <a:pt x="762921" y="3956029"/>
                    <a:pt x="762921" y="3956029"/>
                    <a:pt x="799764" y="3962683"/>
                  </a:cubicBezTo>
                  <a:cubicBezTo>
                    <a:pt x="799764" y="3962683"/>
                    <a:pt x="799764" y="3962683"/>
                    <a:pt x="791824" y="4000710"/>
                  </a:cubicBezTo>
                  <a:cubicBezTo>
                    <a:pt x="791824" y="4000710"/>
                    <a:pt x="791824" y="4000710"/>
                    <a:pt x="789918" y="4000393"/>
                  </a:cubicBezTo>
                  <a:cubicBezTo>
                    <a:pt x="789918" y="4000393"/>
                    <a:pt x="789918" y="4000393"/>
                    <a:pt x="774037" y="3997541"/>
                  </a:cubicBezTo>
                  <a:lnTo>
                    <a:pt x="769591" y="4020357"/>
                  </a:lnTo>
                  <a:cubicBezTo>
                    <a:pt x="769591" y="4020357"/>
                    <a:pt x="769591" y="4020357"/>
                    <a:pt x="735605" y="4014019"/>
                  </a:cubicBezTo>
                  <a:cubicBezTo>
                    <a:pt x="735605" y="4014019"/>
                    <a:pt x="735605" y="4014019"/>
                    <a:pt x="746087" y="3956346"/>
                  </a:cubicBezTo>
                  <a:cubicBezTo>
                    <a:pt x="746087" y="3956346"/>
                    <a:pt x="746087" y="3956346"/>
                    <a:pt x="762285" y="3959198"/>
                  </a:cubicBezTo>
                  <a:cubicBezTo>
                    <a:pt x="762285" y="3959198"/>
                    <a:pt x="762285" y="3959198"/>
                    <a:pt x="762603" y="3957930"/>
                  </a:cubicBezTo>
                  <a:cubicBezTo>
                    <a:pt x="762603" y="3957930"/>
                    <a:pt x="762603" y="3957930"/>
                    <a:pt x="762921" y="3956029"/>
                  </a:cubicBezTo>
                  <a:close/>
                  <a:moveTo>
                    <a:pt x="2093743" y="3955078"/>
                  </a:moveTo>
                  <a:cubicBezTo>
                    <a:pt x="2093743" y="3955078"/>
                    <a:pt x="2093743" y="3955078"/>
                    <a:pt x="2079768" y="4085953"/>
                  </a:cubicBezTo>
                  <a:cubicBezTo>
                    <a:pt x="2109624" y="4087854"/>
                    <a:pt x="2191252" y="4093241"/>
                    <a:pt x="2200781" y="4093875"/>
                  </a:cubicBezTo>
                  <a:cubicBezTo>
                    <a:pt x="2203957" y="4042222"/>
                    <a:pt x="2207451" y="3990886"/>
                    <a:pt x="2208086" y="3980746"/>
                  </a:cubicBezTo>
                  <a:cubicBezTo>
                    <a:pt x="2208086" y="3980746"/>
                    <a:pt x="2208086" y="3980746"/>
                    <a:pt x="2093743" y="3955078"/>
                  </a:cubicBezTo>
                  <a:close/>
                  <a:moveTo>
                    <a:pt x="3411544" y="3952226"/>
                  </a:moveTo>
                  <a:cubicBezTo>
                    <a:pt x="3411544" y="3952226"/>
                    <a:pt x="3411544" y="3952226"/>
                    <a:pt x="3279732" y="3993421"/>
                  </a:cubicBezTo>
                  <a:cubicBezTo>
                    <a:pt x="3279732" y="3993421"/>
                    <a:pt x="3279732" y="3993421"/>
                    <a:pt x="3279414" y="3993738"/>
                  </a:cubicBezTo>
                  <a:cubicBezTo>
                    <a:pt x="3279414" y="3993738"/>
                    <a:pt x="3279414" y="3993738"/>
                    <a:pt x="3281638" y="3994055"/>
                  </a:cubicBezTo>
                  <a:cubicBezTo>
                    <a:pt x="3281638" y="3994055"/>
                    <a:pt x="3281638" y="3994055"/>
                    <a:pt x="3279732" y="3993738"/>
                  </a:cubicBezTo>
                  <a:cubicBezTo>
                    <a:pt x="3279732" y="3993738"/>
                    <a:pt x="3279732" y="3993738"/>
                    <a:pt x="3281002" y="3993738"/>
                  </a:cubicBezTo>
                  <a:cubicBezTo>
                    <a:pt x="3281002" y="3993738"/>
                    <a:pt x="3281002" y="3993738"/>
                    <a:pt x="3281638" y="3993421"/>
                  </a:cubicBezTo>
                  <a:cubicBezTo>
                    <a:pt x="3282273" y="3996590"/>
                    <a:pt x="3293072" y="4029230"/>
                    <a:pt x="3303554" y="4060285"/>
                  </a:cubicBezTo>
                  <a:cubicBezTo>
                    <a:pt x="3304506" y="4063137"/>
                    <a:pt x="3305777" y="4066306"/>
                    <a:pt x="3306730" y="4069158"/>
                  </a:cubicBezTo>
                  <a:cubicBezTo>
                    <a:pt x="3306730" y="4069158"/>
                    <a:pt x="3306730" y="4069158"/>
                    <a:pt x="3347067" y="4056482"/>
                  </a:cubicBezTo>
                  <a:cubicBezTo>
                    <a:pt x="3346114" y="4054581"/>
                    <a:pt x="3345479" y="4052363"/>
                    <a:pt x="3344844" y="4050461"/>
                  </a:cubicBezTo>
                  <a:cubicBezTo>
                    <a:pt x="3339444" y="4034617"/>
                    <a:pt x="3334045" y="4018456"/>
                    <a:pt x="3329916" y="4006414"/>
                  </a:cubicBezTo>
                  <a:cubicBezTo>
                    <a:pt x="3326104" y="3993738"/>
                    <a:pt x="3323246" y="3986133"/>
                    <a:pt x="3323246" y="3983915"/>
                  </a:cubicBezTo>
                  <a:cubicBezTo>
                    <a:pt x="3323246" y="3983915"/>
                    <a:pt x="3323246" y="3983598"/>
                    <a:pt x="3323246" y="3983281"/>
                  </a:cubicBezTo>
                  <a:cubicBezTo>
                    <a:pt x="3323246" y="3983281"/>
                    <a:pt x="3323246" y="3983281"/>
                    <a:pt x="3323564" y="3982964"/>
                  </a:cubicBezTo>
                  <a:cubicBezTo>
                    <a:pt x="3323564" y="3982647"/>
                    <a:pt x="3323564" y="3982330"/>
                    <a:pt x="3324199" y="3982014"/>
                  </a:cubicBezTo>
                  <a:cubicBezTo>
                    <a:pt x="3324834" y="3981380"/>
                    <a:pt x="3326740" y="3981697"/>
                    <a:pt x="3327057" y="3982330"/>
                  </a:cubicBezTo>
                  <a:cubicBezTo>
                    <a:pt x="3327057" y="3982330"/>
                    <a:pt x="3327057" y="3982330"/>
                    <a:pt x="3325469" y="3983915"/>
                  </a:cubicBezTo>
                  <a:cubicBezTo>
                    <a:pt x="3325469" y="3983915"/>
                    <a:pt x="3325469" y="3983915"/>
                    <a:pt x="3327692" y="3984232"/>
                  </a:cubicBezTo>
                  <a:cubicBezTo>
                    <a:pt x="3327692" y="3984232"/>
                    <a:pt x="3327692" y="3984232"/>
                    <a:pt x="3325787" y="3983915"/>
                  </a:cubicBezTo>
                  <a:cubicBezTo>
                    <a:pt x="3325787" y="3983915"/>
                    <a:pt x="3325787" y="3983915"/>
                    <a:pt x="3327057" y="3983915"/>
                  </a:cubicBezTo>
                  <a:cubicBezTo>
                    <a:pt x="3327057" y="3983915"/>
                    <a:pt x="3327057" y="3983915"/>
                    <a:pt x="3327692" y="3983915"/>
                  </a:cubicBezTo>
                  <a:cubicBezTo>
                    <a:pt x="3328328" y="3986767"/>
                    <a:pt x="3339127" y="4019406"/>
                    <a:pt x="3349608" y="4050461"/>
                  </a:cubicBezTo>
                  <a:cubicBezTo>
                    <a:pt x="3350244" y="4052046"/>
                    <a:pt x="3350561" y="4053630"/>
                    <a:pt x="3351196" y="4055215"/>
                  </a:cubicBezTo>
                  <a:cubicBezTo>
                    <a:pt x="3351196" y="4055215"/>
                    <a:pt x="3351196" y="4055215"/>
                    <a:pt x="3390581" y="4042539"/>
                  </a:cubicBezTo>
                  <a:cubicBezTo>
                    <a:pt x="3389628" y="4040004"/>
                    <a:pt x="3388675" y="4037469"/>
                    <a:pt x="3388040" y="4034617"/>
                  </a:cubicBezTo>
                  <a:cubicBezTo>
                    <a:pt x="3382640" y="4018773"/>
                    <a:pt x="3377241" y="4002928"/>
                    <a:pt x="3373112" y="3990569"/>
                  </a:cubicBezTo>
                  <a:cubicBezTo>
                    <a:pt x="3368983" y="3978211"/>
                    <a:pt x="3366442" y="3970606"/>
                    <a:pt x="3366124" y="3968387"/>
                  </a:cubicBezTo>
                  <a:cubicBezTo>
                    <a:pt x="3366124" y="3968070"/>
                    <a:pt x="3366124" y="3968070"/>
                    <a:pt x="3366442" y="3967754"/>
                  </a:cubicBezTo>
                  <a:cubicBezTo>
                    <a:pt x="3366442" y="3967754"/>
                    <a:pt x="3366442" y="3967754"/>
                    <a:pt x="3366442" y="3967120"/>
                  </a:cubicBezTo>
                  <a:cubicBezTo>
                    <a:pt x="3366760" y="3967120"/>
                    <a:pt x="3366760" y="3966803"/>
                    <a:pt x="3367395" y="3966486"/>
                  </a:cubicBezTo>
                  <a:cubicBezTo>
                    <a:pt x="3368030" y="3965852"/>
                    <a:pt x="3369618" y="3966169"/>
                    <a:pt x="3369936" y="3966803"/>
                  </a:cubicBezTo>
                  <a:cubicBezTo>
                    <a:pt x="3369936" y="3966803"/>
                    <a:pt x="3369936" y="3966803"/>
                    <a:pt x="3367077" y="3969655"/>
                  </a:cubicBezTo>
                  <a:cubicBezTo>
                    <a:pt x="3367077" y="3969655"/>
                    <a:pt x="3367077" y="3969655"/>
                    <a:pt x="3368348" y="3968387"/>
                  </a:cubicBezTo>
                  <a:cubicBezTo>
                    <a:pt x="3368348" y="3968387"/>
                    <a:pt x="3368348" y="3968387"/>
                    <a:pt x="3369618" y="3969972"/>
                  </a:cubicBezTo>
                  <a:cubicBezTo>
                    <a:pt x="3369618" y="3969972"/>
                    <a:pt x="3369618" y="3969972"/>
                    <a:pt x="3368666" y="3968387"/>
                  </a:cubicBezTo>
                  <a:cubicBezTo>
                    <a:pt x="3368666" y="3968387"/>
                    <a:pt x="3368666" y="3968387"/>
                    <a:pt x="3369936" y="3968387"/>
                  </a:cubicBezTo>
                  <a:cubicBezTo>
                    <a:pt x="3369936" y="3968387"/>
                    <a:pt x="3369936" y="3968387"/>
                    <a:pt x="3370571" y="3968070"/>
                  </a:cubicBezTo>
                  <a:cubicBezTo>
                    <a:pt x="3371206" y="3971239"/>
                    <a:pt x="3382005" y="4003879"/>
                    <a:pt x="3392487" y="4034934"/>
                  </a:cubicBezTo>
                  <a:cubicBezTo>
                    <a:pt x="3393440" y="4037152"/>
                    <a:pt x="3394075" y="4039053"/>
                    <a:pt x="3394710" y="4041272"/>
                  </a:cubicBezTo>
                  <a:cubicBezTo>
                    <a:pt x="3394710" y="4041272"/>
                    <a:pt x="3394710" y="4041272"/>
                    <a:pt x="3435365" y="4028596"/>
                  </a:cubicBezTo>
                  <a:cubicBezTo>
                    <a:pt x="3435365" y="4028596"/>
                    <a:pt x="3435365" y="4028596"/>
                    <a:pt x="3436000" y="4030497"/>
                  </a:cubicBezTo>
                  <a:cubicBezTo>
                    <a:pt x="3436000" y="4030497"/>
                    <a:pt x="3436000" y="4030497"/>
                    <a:pt x="3449658" y="4075812"/>
                  </a:cubicBezTo>
                  <a:lnTo>
                    <a:pt x="3410909" y="4088171"/>
                  </a:lnTo>
                  <a:cubicBezTo>
                    <a:pt x="3411226" y="4089755"/>
                    <a:pt x="3411862" y="4091340"/>
                    <a:pt x="3412179" y="4092290"/>
                  </a:cubicBezTo>
                  <a:cubicBezTo>
                    <a:pt x="3427425" y="4087537"/>
                    <a:pt x="3441400" y="4083101"/>
                    <a:pt x="3454105" y="4078981"/>
                  </a:cubicBezTo>
                  <a:cubicBezTo>
                    <a:pt x="3451882" y="4073277"/>
                    <a:pt x="3442353" y="4045391"/>
                    <a:pt x="3432824" y="4017188"/>
                  </a:cubicBezTo>
                  <a:cubicBezTo>
                    <a:pt x="3427425" y="4001344"/>
                    <a:pt x="3422025" y="3985499"/>
                    <a:pt x="3418214" y="3973141"/>
                  </a:cubicBezTo>
                  <a:cubicBezTo>
                    <a:pt x="3414720" y="3962366"/>
                    <a:pt x="3412179" y="3955395"/>
                    <a:pt x="3411544" y="3952226"/>
                  </a:cubicBezTo>
                  <a:close/>
                  <a:moveTo>
                    <a:pt x="3414085" y="3951592"/>
                  </a:moveTo>
                  <a:cubicBezTo>
                    <a:pt x="3414085" y="3951592"/>
                    <a:pt x="3414085" y="3951592"/>
                    <a:pt x="3412179" y="3951909"/>
                  </a:cubicBezTo>
                  <a:cubicBezTo>
                    <a:pt x="3412179" y="3951909"/>
                    <a:pt x="3412179" y="3951909"/>
                    <a:pt x="3411862" y="3952226"/>
                  </a:cubicBezTo>
                  <a:cubicBezTo>
                    <a:pt x="3412179" y="3952860"/>
                    <a:pt x="3414085" y="3953177"/>
                    <a:pt x="3414720" y="3952543"/>
                  </a:cubicBezTo>
                  <a:close/>
                  <a:moveTo>
                    <a:pt x="196606" y="3951592"/>
                  </a:moveTo>
                  <a:cubicBezTo>
                    <a:pt x="186125" y="3955078"/>
                    <a:pt x="176279" y="3958564"/>
                    <a:pt x="167703" y="3961416"/>
                  </a:cubicBezTo>
                  <a:cubicBezTo>
                    <a:pt x="166433" y="3962050"/>
                    <a:pt x="165162" y="3962366"/>
                    <a:pt x="164209" y="3962683"/>
                  </a:cubicBezTo>
                  <a:cubicBezTo>
                    <a:pt x="164209" y="3962683"/>
                    <a:pt x="164209" y="3962683"/>
                    <a:pt x="182313" y="3987084"/>
                  </a:cubicBezTo>
                  <a:cubicBezTo>
                    <a:pt x="182313" y="3987084"/>
                    <a:pt x="182313" y="3987084"/>
                    <a:pt x="197559" y="3975676"/>
                  </a:cubicBezTo>
                  <a:cubicBezTo>
                    <a:pt x="197559" y="3975676"/>
                    <a:pt x="197559" y="3975676"/>
                    <a:pt x="188666" y="3963951"/>
                  </a:cubicBezTo>
                  <a:cubicBezTo>
                    <a:pt x="188666" y="3963951"/>
                    <a:pt x="188666" y="3963951"/>
                    <a:pt x="199782" y="3955712"/>
                  </a:cubicBezTo>
                  <a:cubicBezTo>
                    <a:pt x="199782" y="3955712"/>
                    <a:pt x="199782" y="3955712"/>
                    <a:pt x="196606" y="3951592"/>
                  </a:cubicBezTo>
                  <a:close/>
                  <a:moveTo>
                    <a:pt x="348428" y="3951275"/>
                  </a:moveTo>
                  <a:cubicBezTo>
                    <a:pt x="334453" y="3955712"/>
                    <a:pt x="299197" y="3967437"/>
                    <a:pt x="263306" y="3979478"/>
                  </a:cubicBezTo>
                  <a:cubicBezTo>
                    <a:pt x="240120" y="3987084"/>
                    <a:pt x="216934" y="3994689"/>
                    <a:pt x="198830" y="4000076"/>
                  </a:cubicBezTo>
                  <a:cubicBezTo>
                    <a:pt x="189936" y="4002928"/>
                    <a:pt x="182631" y="4005463"/>
                    <a:pt x="176914" y="4007048"/>
                  </a:cubicBezTo>
                  <a:cubicBezTo>
                    <a:pt x="183584" y="4017505"/>
                    <a:pt x="189619" y="4027328"/>
                    <a:pt x="194065" y="4035568"/>
                  </a:cubicBezTo>
                  <a:cubicBezTo>
                    <a:pt x="194065" y="4035568"/>
                    <a:pt x="194065" y="4035568"/>
                    <a:pt x="204547" y="4033032"/>
                  </a:cubicBezTo>
                  <a:cubicBezTo>
                    <a:pt x="204547" y="4033032"/>
                    <a:pt x="204547" y="4033032"/>
                    <a:pt x="195018" y="4005463"/>
                  </a:cubicBezTo>
                  <a:cubicBezTo>
                    <a:pt x="195018" y="4005463"/>
                    <a:pt x="195018" y="4005463"/>
                    <a:pt x="196924" y="4004829"/>
                  </a:cubicBezTo>
                  <a:cubicBezTo>
                    <a:pt x="196924" y="4004829"/>
                    <a:pt x="196924" y="4004829"/>
                    <a:pt x="221063" y="3996590"/>
                  </a:cubicBezTo>
                  <a:cubicBezTo>
                    <a:pt x="221063" y="3996590"/>
                    <a:pt x="221063" y="3996590"/>
                    <a:pt x="225827" y="4010850"/>
                  </a:cubicBezTo>
                  <a:cubicBezTo>
                    <a:pt x="225827" y="4010850"/>
                    <a:pt x="225827" y="4010850"/>
                    <a:pt x="238850" y="4006414"/>
                  </a:cubicBezTo>
                  <a:cubicBezTo>
                    <a:pt x="238850" y="4006414"/>
                    <a:pt x="238850" y="4006414"/>
                    <a:pt x="244884" y="4023843"/>
                  </a:cubicBezTo>
                  <a:cubicBezTo>
                    <a:pt x="244884" y="4023843"/>
                    <a:pt x="244884" y="4023843"/>
                    <a:pt x="377649" y="3992788"/>
                  </a:cubicBezTo>
                  <a:close/>
                  <a:moveTo>
                    <a:pt x="2234766" y="3942403"/>
                  </a:moveTo>
                  <a:cubicBezTo>
                    <a:pt x="2234766" y="3942403"/>
                    <a:pt x="2234766" y="3942403"/>
                    <a:pt x="2212533" y="3979795"/>
                  </a:cubicBezTo>
                  <a:cubicBezTo>
                    <a:pt x="2212215" y="3984549"/>
                    <a:pt x="2209674" y="4022892"/>
                    <a:pt x="2206816" y="4066939"/>
                  </a:cubicBezTo>
                  <a:cubicBezTo>
                    <a:pt x="2206816" y="4066939"/>
                    <a:pt x="2206816" y="4066939"/>
                    <a:pt x="2324652" y="4085319"/>
                  </a:cubicBezTo>
                  <a:cubicBezTo>
                    <a:pt x="2324652" y="4085319"/>
                    <a:pt x="2324652" y="4085319"/>
                    <a:pt x="2325605" y="4074862"/>
                  </a:cubicBezTo>
                  <a:lnTo>
                    <a:pt x="2368484" y="3986767"/>
                  </a:lnTo>
                  <a:cubicBezTo>
                    <a:pt x="2368484" y="3986767"/>
                    <a:pt x="2368484" y="3986767"/>
                    <a:pt x="2234131" y="3943987"/>
                  </a:cubicBezTo>
                  <a:cubicBezTo>
                    <a:pt x="2234131" y="3943987"/>
                    <a:pt x="2234131" y="3943987"/>
                    <a:pt x="2234766" y="3942403"/>
                  </a:cubicBezTo>
                  <a:close/>
                  <a:moveTo>
                    <a:pt x="625709" y="3935431"/>
                  </a:moveTo>
                  <a:cubicBezTo>
                    <a:pt x="625709" y="3935431"/>
                    <a:pt x="625709" y="3935431"/>
                    <a:pt x="619675" y="3945571"/>
                  </a:cubicBezTo>
                  <a:cubicBezTo>
                    <a:pt x="619675" y="3945571"/>
                    <a:pt x="619675" y="3945571"/>
                    <a:pt x="617769" y="3948740"/>
                  </a:cubicBezTo>
                  <a:cubicBezTo>
                    <a:pt x="617769" y="3948740"/>
                    <a:pt x="617769" y="3948740"/>
                    <a:pt x="614275" y="3947473"/>
                  </a:cubicBezTo>
                  <a:cubicBezTo>
                    <a:pt x="614275" y="3947473"/>
                    <a:pt x="614275" y="3947473"/>
                    <a:pt x="612369" y="3946839"/>
                  </a:cubicBezTo>
                  <a:cubicBezTo>
                    <a:pt x="612369" y="3946839"/>
                    <a:pt x="612369" y="3946839"/>
                    <a:pt x="590136" y="3984549"/>
                  </a:cubicBezTo>
                  <a:cubicBezTo>
                    <a:pt x="590136" y="3984549"/>
                    <a:pt x="590136" y="3984549"/>
                    <a:pt x="593947" y="3986767"/>
                  </a:cubicBezTo>
                  <a:cubicBezTo>
                    <a:pt x="593947" y="3986767"/>
                    <a:pt x="593947" y="3986767"/>
                    <a:pt x="597441" y="3988985"/>
                  </a:cubicBezTo>
                  <a:cubicBezTo>
                    <a:pt x="597441" y="3988985"/>
                    <a:pt x="597441" y="3988985"/>
                    <a:pt x="595218" y="3992788"/>
                  </a:cubicBezTo>
                  <a:cubicBezTo>
                    <a:pt x="595218" y="3992788"/>
                    <a:pt x="595218" y="3992788"/>
                    <a:pt x="587913" y="4004513"/>
                  </a:cubicBezTo>
                  <a:cubicBezTo>
                    <a:pt x="587913" y="4004513"/>
                    <a:pt x="587913" y="4004513"/>
                    <a:pt x="586007" y="4007998"/>
                  </a:cubicBezTo>
                  <a:cubicBezTo>
                    <a:pt x="586007" y="4007998"/>
                    <a:pt x="586007" y="4007998"/>
                    <a:pt x="582196" y="4006097"/>
                  </a:cubicBezTo>
                  <a:cubicBezTo>
                    <a:pt x="582196" y="4006097"/>
                    <a:pt x="582196" y="4006097"/>
                    <a:pt x="581243" y="4005463"/>
                  </a:cubicBezTo>
                  <a:cubicBezTo>
                    <a:pt x="581243" y="4005463"/>
                    <a:pt x="581243" y="4005463"/>
                    <a:pt x="559327" y="4042856"/>
                  </a:cubicBezTo>
                  <a:cubicBezTo>
                    <a:pt x="559327" y="4042856"/>
                    <a:pt x="559327" y="4042856"/>
                    <a:pt x="586007" y="4058067"/>
                  </a:cubicBezTo>
                  <a:cubicBezTo>
                    <a:pt x="586007" y="4058067"/>
                    <a:pt x="586007" y="4058067"/>
                    <a:pt x="589818" y="4060285"/>
                  </a:cubicBezTo>
                  <a:cubicBezTo>
                    <a:pt x="589818" y="4060285"/>
                    <a:pt x="589818" y="4060285"/>
                    <a:pt x="587595" y="4064087"/>
                  </a:cubicBezTo>
                  <a:cubicBezTo>
                    <a:pt x="587595" y="4064087"/>
                    <a:pt x="587595" y="4064087"/>
                    <a:pt x="579972" y="4076763"/>
                  </a:cubicBezTo>
                  <a:cubicBezTo>
                    <a:pt x="579972" y="4076763"/>
                    <a:pt x="579972" y="4076763"/>
                    <a:pt x="578067" y="4079932"/>
                  </a:cubicBezTo>
                  <a:cubicBezTo>
                    <a:pt x="578067" y="4079932"/>
                    <a:pt x="578067" y="4079932"/>
                    <a:pt x="574890" y="4078664"/>
                  </a:cubicBezTo>
                  <a:cubicBezTo>
                    <a:pt x="574890" y="4078664"/>
                    <a:pt x="574890" y="4078664"/>
                    <a:pt x="572349" y="4078031"/>
                  </a:cubicBezTo>
                  <a:cubicBezTo>
                    <a:pt x="572349" y="4078031"/>
                    <a:pt x="572349" y="4078031"/>
                    <a:pt x="552022" y="4115423"/>
                  </a:cubicBezTo>
                  <a:cubicBezTo>
                    <a:pt x="552022" y="4115423"/>
                    <a:pt x="552022" y="4115423"/>
                    <a:pt x="582513" y="4133169"/>
                  </a:cubicBezTo>
                  <a:cubicBezTo>
                    <a:pt x="582513" y="4133169"/>
                    <a:pt x="582513" y="4133169"/>
                    <a:pt x="586007" y="4135070"/>
                  </a:cubicBezTo>
                  <a:cubicBezTo>
                    <a:pt x="586007" y="4135070"/>
                    <a:pt x="586007" y="4135070"/>
                    <a:pt x="584419" y="4138873"/>
                  </a:cubicBezTo>
                  <a:cubicBezTo>
                    <a:pt x="584419" y="4138873"/>
                    <a:pt x="584419" y="4138873"/>
                    <a:pt x="577749" y="4153450"/>
                  </a:cubicBezTo>
                  <a:cubicBezTo>
                    <a:pt x="577749" y="4153450"/>
                    <a:pt x="577749" y="4153450"/>
                    <a:pt x="578702" y="4154084"/>
                  </a:cubicBezTo>
                  <a:cubicBezTo>
                    <a:pt x="578702" y="4154084"/>
                    <a:pt x="578702" y="4154084"/>
                    <a:pt x="582513" y="4156302"/>
                  </a:cubicBezTo>
                  <a:cubicBezTo>
                    <a:pt x="582513" y="4156302"/>
                    <a:pt x="582513" y="4156302"/>
                    <a:pt x="580290" y="4160105"/>
                  </a:cubicBezTo>
                  <a:cubicBezTo>
                    <a:pt x="580290" y="4160105"/>
                    <a:pt x="580290" y="4160105"/>
                    <a:pt x="571397" y="4177216"/>
                  </a:cubicBezTo>
                  <a:cubicBezTo>
                    <a:pt x="571397" y="4177216"/>
                    <a:pt x="571397" y="4177216"/>
                    <a:pt x="569173" y="4181019"/>
                  </a:cubicBezTo>
                  <a:cubicBezTo>
                    <a:pt x="569173" y="4181019"/>
                    <a:pt x="569173" y="4181019"/>
                    <a:pt x="565362" y="4179118"/>
                  </a:cubicBezTo>
                  <a:cubicBezTo>
                    <a:pt x="565362" y="4179118"/>
                    <a:pt x="565362" y="4179118"/>
                    <a:pt x="547893" y="4170245"/>
                  </a:cubicBezTo>
                  <a:cubicBezTo>
                    <a:pt x="547893" y="4170245"/>
                    <a:pt x="547893" y="4170245"/>
                    <a:pt x="540270" y="4184822"/>
                  </a:cubicBezTo>
                  <a:lnTo>
                    <a:pt x="587595" y="4210173"/>
                  </a:lnTo>
                  <a:cubicBezTo>
                    <a:pt x="587595" y="4210173"/>
                    <a:pt x="587595" y="4210173"/>
                    <a:pt x="608240" y="4173097"/>
                  </a:cubicBezTo>
                  <a:cubicBezTo>
                    <a:pt x="608240" y="4173097"/>
                    <a:pt x="608240" y="4173097"/>
                    <a:pt x="606017" y="4171196"/>
                  </a:cubicBezTo>
                  <a:cubicBezTo>
                    <a:pt x="606017" y="4171196"/>
                    <a:pt x="606017" y="4171196"/>
                    <a:pt x="603158" y="4168977"/>
                  </a:cubicBezTo>
                  <a:cubicBezTo>
                    <a:pt x="603158" y="4168977"/>
                    <a:pt x="603158" y="4168977"/>
                    <a:pt x="604746" y="4165808"/>
                  </a:cubicBezTo>
                  <a:cubicBezTo>
                    <a:pt x="604746" y="4165808"/>
                    <a:pt x="604746" y="4165808"/>
                    <a:pt x="610146" y="4155351"/>
                  </a:cubicBezTo>
                  <a:cubicBezTo>
                    <a:pt x="610146" y="4155351"/>
                    <a:pt x="610146" y="4155351"/>
                    <a:pt x="599982" y="4149964"/>
                  </a:cubicBezTo>
                  <a:cubicBezTo>
                    <a:pt x="599982" y="4149964"/>
                    <a:pt x="599982" y="4149964"/>
                    <a:pt x="596171" y="4147746"/>
                  </a:cubicBezTo>
                  <a:cubicBezTo>
                    <a:pt x="596171" y="4147746"/>
                    <a:pt x="596171" y="4147746"/>
                    <a:pt x="598394" y="4143943"/>
                  </a:cubicBezTo>
                  <a:cubicBezTo>
                    <a:pt x="598394" y="4143943"/>
                    <a:pt x="598394" y="4143943"/>
                    <a:pt x="608240" y="4126514"/>
                  </a:cubicBezTo>
                  <a:cubicBezTo>
                    <a:pt x="608240" y="4126514"/>
                    <a:pt x="608240" y="4126514"/>
                    <a:pt x="590136" y="4116691"/>
                  </a:cubicBezTo>
                  <a:cubicBezTo>
                    <a:pt x="590136" y="4116691"/>
                    <a:pt x="590136" y="4116691"/>
                    <a:pt x="586007" y="4114473"/>
                  </a:cubicBezTo>
                  <a:cubicBezTo>
                    <a:pt x="586007" y="4114473"/>
                    <a:pt x="586007" y="4114473"/>
                    <a:pt x="588230" y="4110670"/>
                  </a:cubicBezTo>
                  <a:cubicBezTo>
                    <a:pt x="588230" y="4110670"/>
                    <a:pt x="588230" y="4110670"/>
                    <a:pt x="598394" y="4093558"/>
                  </a:cubicBezTo>
                  <a:cubicBezTo>
                    <a:pt x="598394" y="4093558"/>
                    <a:pt x="598394" y="4093558"/>
                    <a:pt x="600300" y="4090389"/>
                  </a:cubicBezTo>
                  <a:cubicBezTo>
                    <a:pt x="600300" y="4090389"/>
                    <a:pt x="600300" y="4090389"/>
                    <a:pt x="603794" y="4091974"/>
                  </a:cubicBezTo>
                  <a:cubicBezTo>
                    <a:pt x="603794" y="4091974"/>
                    <a:pt x="603794" y="4091974"/>
                    <a:pt x="607287" y="4093241"/>
                  </a:cubicBezTo>
                  <a:cubicBezTo>
                    <a:pt x="607287" y="4093241"/>
                    <a:pt x="607287" y="4093241"/>
                    <a:pt x="613322" y="4081516"/>
                  </a:cubicBezTo>
                  <a:cubicBezTo>
                    <a:pt x="613322" y="4081516"/>
                    <a:pt x="613322" y="4081516"/>
                    <a:pt x="607287" y="4078664"/>
                  </a:cubicBezTo>
                  <a:cubicBezTo>
                    <a:pt x="607287" y="4078664"/>
                    <a:pt x="607287" y="4078664"/>
                    <a:pt x="602841" y="4076446"/>
                  </a:cubicBezTo>
                  <a:cubicBezTo>
                    <a:pt x="602841" y="4076446"/>
                    <a:pt x="602841" y="4076446"/>
                    <a:pt x="605064" y="4072327"/>
                  </a:cubicBezTo>
                  <a:cubicBezTo>
                    <a:pt x="605064" y="4072327"/>
                    <a:pt x="605064" y="4072327"/>
                    <a:pt x="615228" y="4053947"/>
                  </a:cubicBezTo>
                  <a:cubicBezTo>
                    <a:pt x="615228" y="4053947"/>
                    <a:pt x="615228" y="4053947"/>
                    <a:pt x="598712" y="4045074"/>
                  </a:cubicBezTo>
                  <a:cubicBezTo>
                    <a:pt x="598712" y="4045074"/>
                    <a:pt x="598712" y="4045074"/>
                    <a:pt x="594900" y="4042856"/>
                  </a:cubicBezTo>
                  <a:cubicBezTo>
                    <a:pt x="594900" y="4042856"/>
                    <a:pt x="594900" y="4042856"/>
                    <a:pt x="596806" y="4039053"/>
                  </a:cubicBezTo>
                  <a:cubicBezTo>
                    <a:pt x="596806" y="4039053"/>
                    <a:pt x="596806" y="4039053"/>
                    <a:pt x="606017" y="4021624"/>
                  </a:cubicBezTo>
                  <a:cubicBezTo>
                    <a:pt x="606017" y="4021624"/>
                    <a:pt x="606017" y="4021624"/>
                    <a:pt x="607923" y="4018139"/>
                  </a:cubicBezTo>
                  <a:cubicBezTo>
                    <a:pt x="607923" y="4018139"/>
                    <a:pt x="607923" y="4018139"/>
                    <a:pt x="611416" y="4019406"/>
                  </a:cubicBezTo>
                  <a:cubicBezTo>
                    <a:pt x="611416" y="4019406"/>
                    <a:pt x="611416" y="4019406"/>
                    <a:pt x="614593" y="4020357"/>
                  </a:cubicBezTo>
                  <a:cubicBezTo>
                    <a:pt x="614593" y="4020357"/>
                    <a:pt x="614593" y="4020357"/>
                    <a:pt x="622216" y="4006731"/>
                  </a:cubicBezTo>
                  <a:cubicBezTo>
                    <a:pt x="622216" y="4006731"/>
                    <a:pt x="622216" y="4006731"/>
                    <a:pt x="624121" y="4002928"/>
                  </a:cubicBezTo>
                  <a:cubicBezTo>
                    <a:pt x="624121" y="4002928"/>
                    <a:pt x="624121" y="4002928"/>
                    <a:pt x="627933" y="4005146"/>
                  </a:cubicBezTo>
                  <a:cubicBezTo>
                    <a:pt x="627933" y="4005146"/>
                    <a:pt x="627933" y="4005146"/>
                    <a:pt x="638414" y="4010533"/>
                  </a:cubicBezTo>
                  <a:cubicBezTo>
                    <a:pt x="638414" y="4010533"/>
                    <a:pt x="638414" y="4010533"/>
                    <a:pt x="646037" y="3995640"/>
                  </a:cubicBezTo>
                  <a:cubicBezTo>
                    <a:pt x="646037" y="3995640"/>
                    <a:pt x="646037" y="3995640"/>
                    <a:pt x="629521" y="3986133"/>
                  </a:cubicBezTo>
                  <a:cubicBezTo>
                    <a:pt x="629521" y="3986133"/>
                    <a:pt x="629521" y="3986133"/>
                    <a:pt x="625709" y="3983915"/>
                  </a:cubicBezTo>
                  <a:cubicBezTo>
                    <a:pt x="625709" y="3983915"/>
                    <a:pt x="625709" y="3983915"/>
                    <a:pt x="627933" y="3980112"/>
                  </a:cubicBezTo>
                  <a:cubicBezTo>
                    <a:pt x="627933" y="3980112"/>
                    <a:pt x="627933" y="3980112"/>
                    <a:pt x="637461" y="3963000"/>
                  </a:cubicBezTo>
                  <a:cubicBezTo>
                    <a:pt x="637461" y="3963000"/>
                    <a:pt x="637461" y="3963000"/>
                    <a:pt x="639049" y="3959831"/>
                  </a:cubicBezTo>
                  <a:cubicBezTo>
                    <a:pt x="639049" y="3959831"/>
                    <a:pt x="639049" y="3959831"/>
                    <a:pt x="642543" y="3960782"/>
                  </a:cubicBezTo>
                  <a:cubicBezTo>
                    <a:pt x="642543" y="3960782"/>
                    <a:pt x="642543" y="3960782"/>
                    <a:pt x="645402" y="3961733"/>
                  </a:cubicBezTo>
                  <a:cubicBezTo>
                    <a:pt x="645402" y="3961733"/>
                    <a:pt x="645402" y="3961733"/>
                    <a:pt x="651436" y="3950325"/>
                  </a:cubicBezTo>
                  <a:cubicBezTo>
                    <a:pt x="651436" y="3950325"/>
                    <a:pt x="651436" y="3950325"/>
                    <a:pt x="625709" y="3935431"/>
                  </a:cubicBezTo>
                  <a:close/>
                  <a:moveTo>
                    <a:pt x="1776760" y="3932579"/>
                  </a:moveTo>
                  <a:cubicBezTo>
                    <a:pt x="1776760" y="3932579"/>
                    <a:pt x="1776760" y="3932579"/>
                    <a:pt x="1772313" y="3956979"/>
                  </a:cubicBezTo>
                  <a:cubicBezTo>
                    <a:pt x="1772313" y="3956979"/>
                    <a:pt x="1772313" y="3956979"/>
                    <a:pt x="1810428" y="3963951"/>
                  </a:cubicBezTo>
                  <a:lnTo>
                    <a:pt x="1814874" y="3939234"/>
                  </a:lnTo>
                  <a:cubicBezTo>
                    <a:pt x="1814874" y="3939234"/>
                    <a:pt x="1814874" y="3939234"/>
                    <a:pt x="1776760" y="3932579"/>
                  </a:cubicBezTo>
                  <a:close/>
                  <a:moveTo>
                    <a:pt x="99733" y="3930361"/>
                  </a:moveTo>
                  <a:cubicBezTo>
                    <a:pt x="99733" y="3930361"/>
                    <a:pt x="99733" y="3930361"/>
                    <a:pt x="40338" y="4001344"/>
                  </a:cubicBezTo>
                  <a:cubicBezTo>
                    <a:pt x="48278" y="4006097"/>
                    <a:pt x="58760" y="4014019"/>
                    <a:pt x="67971" y="4025744"/>
                  </a:cubicBezTo>
                  <a:cubicBezTo>
                    <a:pt x="72417" y="4031765"/>
                    <a:pt x="78134" y="4040321"/>
                    <a:pt x="82899" y="4050461"/>
                  </a:cubicBezTo>
                  <a:cubicBezTo>
                    <a:pt x="92427" y="4048560"/>
                    <a:pt x="106720" y="4045074"/>
                    <a:pt x="121331" y="4041905"/>
                  </a:cubicBezTo>
                  <a:cubicBezTo>
                    <a:pt x="140388" y="4037469"/>
                    <a:pt x="158810" y="4033349"/>
                    <a:pt x="167703" y="4031448"/>
                  </a:cubicBezTo>
                  <a:cubicBezTo>
                    <a:pt x="150234" y="4002294"/>
                    <a:pt x="122919" y="3962683"/>
                    <a:pt x="112120" y="3947473"/>
                  </a:cubicBezTo>
                  <a:cubicBezTo>
                    <a:pt x="109261" y="3943353"/>
                    <a:pt x="104814" y="3937332"/>
                    <a:pt x="99733" y="3930361"/>
                  </a:cubicBezTo>
                  <a:close/>
                  <a:moveTo>
                    <a:pt x="624121" y="3929410"/>
                  </a:moveTo>
                  <a:cubicBezTo>
                    <a:pt x="624121" y="3929410"/>
                    <a:pt x="624121" y="3929410"/>
                    <a:pt x="657471" y="3948423"/>
                  </a:cubicBezTo>
                  <a:cubicBezTo>
                    <a:pt x="657471" y="3948423"/>
                    <a:pt x="657471" y="3948423"/>
                    <a:pt x="647307" y="3967120"/>
                  </a:cubicBezTo>
                  <a:cubicBezTo>
                    <a:pt x="647307" y="3967120"/>
                    <a:pt x="647307" y="3967120"/>
                    <a:pt x="641273" y="3965218"/>
                  </a:cubicBezTo>
                  <a:cubicBezTo>
                    <a:pt x="641273" y="3965218"/>
                    <a:pt x="641273" y="3965218"/>
                    <a:pt x="631744" y="3982330"/>
                  </a:cubicBezTo>
                  <a:cubicBezTo>
                    <a:pt x="631744" y="3982330"/>
                    <a:pt x="631744" y="3982330"/>
                    <a:pt x="652072" y="3994055"/>
                  </a:cubicBezTo>
                  <a:cubicBezTo>
                    <a:pt x="652072" y="3994055"/>
                    <a:pt x="652072" y="3994055"/>
                    <a:pt x="640320" y="4016554"/>
                  </a:cubicBezTo>
                  <a:cubicBezTo>
                    <a:pt x="640320" y="4016554"/>
                    <a:pt x="640320" y="4016554"/>
                    <a:pt x="626027" y="4008949"/>
                  </a:cubicBezTo>
                  <a:cubicBezTo>
                    <a:pt x="626027" y="4008949"/>
                    <a:pt x="626027" y="4008949"/>
                    <a:pt x="616498" y="4025744"/>
                  </a:cubicBezTo>
                  <a:cubicBezTo>
                    <a:pt x="616498" y="4025744"/>
                    <a:pt x="616498" y="4025744"/>
                    <a:pt x="610146" y="4023526"/>
                  </a:cubicBezTo>
                  <a:cubicBezTo>
                    <a:pt x="610146" y="4023526"/>
                    <a:pt x="610146" y="4023526"/>
                    <a:pt x="600935" y="4040955"/>
                  </a:cubicBezTo>
                  <a:cubicBezTo>
                    <a:pt x="600935" y="4040955"/>
                    <a:pt x="600935" y="4040955"/>
                    <a:pt x="621263" y="4052046"/>
                  </a:cubicBezTo>
                  <a:cubicBezTo>
                    <a:pt x="621263" y="4052046"/>
                    <a:pt x="621263" y="4052046"/>
                    <a:pt x="608876" y="4074545"/>
                  </a:cubicBezTo>
                  <a:cubicBezTo>
                    <a:pt x="608876" y="4074545"/>
                    <a:pt x="608876" y="4074545"/>
                    <a:pt x="619357" y="4079298"/>
                  </a:cubicBezTo>
                  <a:cubicBezTo>
                    <a:pt x="619357" y="4079298"/>
                    <a:pt x="619357" y="4079298"/>
                    <a:pt x="609193" y="4098945"/>
                  </a:cubicBezTo>
                  <a:cubicBezTo>
                    <a:pt x="609193" y="4098945"/>
                    <a:pt x="609193" y="4098945"/>
                    <a:pt x="602206" y="4096093"/>
                  </a:cubicBezTo>
                  <a:cubicBezTo>
                    <a:pt x="602206" y="4096093"/>
                    <a:pt x="602206" y="4096093"/>
                    <a:pt x="592042" y="4112888"/>
                  </a:cubicBezTo>
                  <a:cubicBezTo>
                    <a:pt x="592042" y="4112888"/>
                    <a:pt x="592042" y="4112888"/>
                    <a:pt x="614275" y="4124930"/>
                  </a:cubicBezTo>
                  <a:cubicBezTo>
                    <a:pt x="614275" y="4124930"/>
                    <a:pt x="614275" y="4124930"/>
                    <a:pt x="602206" y="4145845"/>
                  </a:cubicBezTo>
                  <a:cubicBezTo>
                    <a:pt x="602206" y="4145845"/>
                    <a:pt x="602206" y="4145845"/>
                    <a:pt x="616181" y="4153450"/>
                  </a:cubicBezTo>
                  <a:cubicBezTo>
                    <a:pt x="616181" y="4153450"/>
                    <a:pt x="616181" y="4153450"/>
                    <a:pt x="608558" y="4167710"/>
                  </a:cubicBezTo>
                  <a:cubicBezTo>
                    <a:pt x="608558" y="4167710"/>
                    <a:pt x="608558" y="4167710"/>
                    <a:pt x="613957" y="4171829"/>
                  </a:cubicBezTo>
                  <a:lnTo>
                    <a:pt x="589501" y="4216194"/>
                  </a:lnTo>
                  <a:cubicBezTo>
                    <a:pt x="589501" y="4216194"/>
                    <a:pt x="589501" y="4216194"/>
                    <a:pt x="534235" y="4186723"/>
                  </a:cubicBezTo>
                  <a:cubicBezTo>
                    <a:pt x="534235" y="4186723"/>
                    <a:pt x="534235" y="4186723"/>
                    <a:pt x="545987" y="4164541"/>
                  </a:cubicBezTo>
                  <a:cubicBezTo>
                    <a:pt x="545987" y="4164541"/>
                    <a:pt x="545987" y="4164541"/>
                    <a:pt x="567267" y="4175315"/>
                  </a:cubicBezTo>
                  <a:cubicBezTo>
                    <a:pt x="567267" y="4175315"/>
                    <a:pt x="567267" y="4175315"/>
                    <a:pt x="576478" y="4157886"/>
                  </a:cubicBezTo>
                  <a:cubicBezTo>
                    <a:pt x="576478" y="4157886"/>
                    <a:pt x="576478" y="4157886"/>
                    <a:pt x="572032" y="4155351"/>
                  </a:cubicBezTo>
                  <a:cubicBezTo>
                    <a:pt x="572032" y="4155351"/>
                    <a:pt x="572032" y="4155351"/>
                    <a:pt x="580290" y="4136972"/>
                  </a:cubicBezTo>
                  <a:cubicBezTo>
                    <a:pt x="580290" y="4136972"/>
                    <a:pt x="580290" y="4136972"/>
                    <a:pt x="546305" y="4117008"/>
                  </a:cubicBezTo>
                  <a:cubicBezTo>
                    <a:pt x="546305" y="4117008"/>
                    <a:pt x="546305" y="4117008"/>
                    <a:pt x="570126" y="4072643"/>
                  </a:cubicBezTo>
                  <a:cubicBezTo>
                    <a:pt x="570126" y="4072643"/>
                    <a:pt x="570126" y="4072643"/>
                    <a:pt x="576161" y="4074545"/>
                  </a:cubicBezTo>
                  <a:cubicBezTo>
                    <a:pt x="576161" y="4074545"/>
                    <a:pt x="576161" y="4074545"/>
                    <a:pt x="583784" y="4061869"/>
                  </a:cubicBezTo>
                  <a:cubicBezTo>
                    <a:pt x="583784" y="4061869"/>
                    <a:pt x="583784" y="4061869"/>
                    <a:pt x="553292" y="4044440"/>
                  </a:cubicBezTo>
                  <a:cubicBezTo>
                    <a:pt x="553292" y="4044440"/>
                    <a:pt x="553292" y="4044440"/>
                    <a:pt x="579337" y="3999442"/>
                  </a:cubicBezTo>
                  <a:cubicBezTo>
                    <a:pt x="579337" y="3999442"/>
                    <a:pt x="579337" y="3999442"/>
                    <a:pt x="584419" y="4001977"/>
                  </a:cubicBezTo>
                  <a:cubicBezTo>
                    <a:pt x="584419" y="4001977"/>
                    <a:pt x="584419" y="4001977"/>
                    <a:pt x="591406" y="3990569"/>
                  </a:cubicBezTo>
                  <a:cubicBezTo>
                    <a:pt x="591406" y="3990569"/>
                    <a:pt x="591406" y="3990569"/>
                    <a:pt x="584419" y="3985816"/>
                  </a:cubicBezTo>
                  <a:cubicBezTo>
                    <a:pt x="584419" y="3985816"/>
                    <a:pt x="584419" y="3985816"/>
                    <a:pt x="610464" y="3941452"/>
                  </a:cubicBezTo>
                  <a:cubicBezTo>
                    <a:pt x="610464" y="3941452"/>
                    <a:pt x="610464" y="3941452"/>
                    <a:pt x="615863" y="3943353"/>
                  </a:cubicBezTo>
                  <a:cubicBezTo>
                    <a:pt x="615863" y="3943353"/>
                    <a:pt x="615863" y="3943353"/>
                    <a:pt x="624121" y="3929410"/>
                  </a:cubicBezTo>
                  <a:close/>
                  <a:moveTo>
                    <a:pt x="3486502" y="3928776"/>
                  </a:moveTo>
                  <a:cubicBezTo>
                    <a:pt x="3486502" y="3928776"/>
                    <a:pt x="3486502" y="3928776"/>
                    <a:pt x="3415673" y="3950958"/>
                  </a:cubicBezTo>
                  <a:cubicBezTo>
                    <a:pt x="3416626" y="3954761"/>
                    <a:pt x="3427107" y="3986767"/>
                    <a:pt x="3437589" y="4017188"/>
                  </a:cubicBezTo>
                  <a:cubicBezTo>
                    <a:pt x="3447117" y="4045391"/>
                    <a:pt x="3456328" y="4072327"/>
                    <a:pt x="3458234" y="4077714"/>
                  </a:cubicBezTo>
                  <a:cubicBezTo>
                    <a:pt x="3496984" y="4065355"/>
                    <a:pt x="3523663" y="4056799"/>
                    <a:pt x="3530333" y="4054581"/>
                  </a:cubicBezTo>
                  <a:cubicBezTo>
                    <a:pt x="3530333" y="4054581"/>
                    <a:pt x="3530333" y="4054581"/>
                    <a:pt x="3486502" y="3928776"/>
                  </a:cubicBezTo>
                  <a:close/>
                  <a:moveTo>
                    <a:pt x="162621" y="3928776"/>
                  </a:moveTo>
                  <a:cubicBezTo>
                    <a:pt x="162621" y="3928776"/>
                    <a:pt x="162621" y="3928776"/>
                    <a:pt x="147375" y="3940184"/>
                  </a:cubicBezTo>
                  <a:cubicBezTo>
                    <a:pt x="147375" y="3940184"/>
                    <a:pt x="147375" y="3940184"/>
                    <a:pt x="161351" y="3958881"/>
                  </a:cubicBezTo>
                  <a:cubicBezTo>
                    <a:pt x="162939" y="3958564"/>
                    <a:pt x="164527" y="3957930"/>
                    <a:pt x="166115" y="3957296"/>
                  </a:cubicBezTo>
                  <a:cubicBezTo>
                    <a:pt x="174373" y="3954444"/>
                    <a:pt x="183902" y="3951275"/>
                    <a:pt x="193748" y="3947790"/>
                  </a:cubicBezTo>
                  <a:cubicBezTo>
                    <a:pt x="193748" y="3947790"/>
                    <a:pt x="193748" y="3947790"/>
                    <a:pt x="182631" y="3932579"/>
                  </a:cubicBezTo>
                  <a:cubicBezTo>
                    <a:pt x="182631" y="3932579"/>
                    <a:pt x="182631" y="3932579"/>
                    <a:pt x="171514" y="3940818"/>
                  </a:cubicBezTo>
                  <a:cubicBezTo>
                    <a:pt x="171514" y="3940818"/>
                    <a:pt x="171514" y="3940818"/>
                    <a:pt x="162621" y="3928776"/>
                  </a:cubicBezTo>
                  <a:close/>
                  <a:moveTo>
                    <a:pt x="832162" y="3928143"/>
                  </a:moveTo>
                  <a:cubicBezTo>
                    <a:pt x="832162" y="3928143"/>
                    <a:pt x="832162" y="3928143"/>
                    <a:pt x="802623" y="4106550"/>
                  </a:cubicBezTo>
                  <a:cubicBezTo>
                    <a:pt x="831209" y="4114473"/>
                    <a:pt x="865194" y="4124296"/>
                    <a:pt x="888380" y="4131901"/>
                  </a:cubicBezTo>
                  <a:cubicBezTo>
                    <a:pt x="898544" y="4135387"/>
                    <a:pt x="908072" y="4141091"/>
                    <a:pt x="916966" y="4147746"/>
                  </a:cubicBezTo>
                  <a:cubicBezTo>
                    <a:pt x="916966" y="4147746"/>
                    <a:pt x="916966" y="4147746"/>
                    <a:pt x="1051954" y="3988034"/>
                  </a:cubicBezTo>
                  <a:cubicBezTo>
                    <a:pt x="1033532" y="3977894"/>
                    <a:pt x="1014475" y="3968704"/>
                    <a:pt x="997006" y="3963634"/>
                  </a:cubicBezTo>
                  <a:cubicBezTo>
                    <a:pt x="949681" y="3949374"/>
                    <a:pt x="908708" y="3935748"/>
                    <a:pt x="832479" y="3928143"/>
                  </a:cubicBezTo>
                  <a:cubicBezTo>
                    <a:pt x="832479" y="3928143"/>
                    <a:pt x="832479" y="3928143"/>
                    <a:pt x="832162" y="3928143"/>
                  </a:cubicBezTo>
                  <a:close/>
                  <a:moveTo>
                    <a:pt x="3019285" y="3927826"/>
                  </a:moveTo>
                  <a:cubicBezTo>
                    <a:pt x="3019285" y="3927826"/>
                    <a:pt x="3019285" y="3927826"/>
                    <a:pt x="3004356" y="3932579"/>
                  </a:cubicBezTo>
                  <a:cubicBezTo>
                    <a:pt x="3004356" y="3932579"/>
                    <a:pt x="3004356" y="3932579"/>
                    <a:pt x="3016108" y="3970289"/>
                  </a:cubicBezTo>
                  <a:lnTo>
                    <a:pt x="3031036" y="3965852"/>
                  </a:lnTo>
                  <a:cubicBezTo>
                    <a:pt x="3031036" y="3965852"/>
                    <a:pt x="3031036" y="3965852"/>
                    <a:pt x="3019285" y="3927826"/>
                  </a:cubicBezTo>
                  <a:close/>
                  <a:moveTo>
                    <a:pt x="1960979" y="3926875"/>
                  </a:moveTo>
                  <a:cubicBezTo>
                    <a:pt x="1960979" y="3926875"/>
                    <a:pt x="1960979" y="3926875"/>
                    <a:pt x="1955262" y="3982647"/>
                  </a:cubicBezTo>
                  <a:lnTo>
                    <a:pt x="2068969" y="3991520"/>
                  </a:lnTo>
                  <a:cubicBezTo>
                    <a:pt x="2068969" y="3991520"/>
                    <a:pt x="2068969" y="3991520"/>
                    <a:pt x="2074686" y="3935431"/>
                  </a:cubicBezTo>
                  <a:cubicBezTo>
                    <a:pt x="2074686" y="3935431"/>
                    <a:pt x="2074686" y="3935431"/>
                    <a:pt x="1960979" y="3926875"/>
                  </a:cubicBezTo>
                  <a:close/>
                  <a:moveTo>
                    <a:pt x="1914289" y="3923072"/>
                  </a:moveTo>
                  <a:cubicBezTo>
                    <a:pt x="1914289" y="3923072"/>
                    <a:pt x="1914289" y="3923072"/>
                    <a:pt x="1908572" y="3979162"/>
                  </a:cubicBezTo>
                  <a:cubicBezTo>
                    <a:pt x="1908572" y="3979162"/>
                    <a:pt x="1908572" y="3979162"/>
                    <a:pt x="1951132" y="3982330"/>
                  </a:cubicBezTo>
                  <a:cubicBezTo>
                    <a:pt x="1951132" y="3982330"/>
                    <a:pt x="1951132" y="3982330"/>
                    <a:pt x="1956850" y="3926558"/>
                  </a:cubicBezTo>
                  <a:close/>
                  <a:moveTo>
                    <a:pt x="3022143" y="3922439"/>
                  </a:moveTo>
                  <a:cubicBezTo>
                    <a:pt x="3022143" y="3922439"/>
                    <a:pt x="3022143" y="3922439"/>
                    <a:pt x="3036436" y="3968387"/>
                  </a:cubicBezTo>
                  <a:cubicBezTo>
                    <a:pt x="3036436" y="3968387"/>
                    <a:pt x="3036436" y="3968387"/>
                    <a:pt x="3013250" y="3975676"/>
                  </a:cubicBezTo>
                  <a:cubicBezTo>
                    <a:pt x="3013250" y="3975676"/>
                    <a:pt x="3013250" y="3975676"/>
                    <a:pt x="3012615" y="3973458"/>
                  </a:cubicBezTo>
                  <a:cubicBezTo>
                    <a:pt x="3012615" y="3973458"/>
                    <a:pt x="3012615" y="3973458"/>
                    <a:pt x="2998957" y="3929727"/>
                  </a:cubicBezTo>
                  <a:close/>
                  <a:moveTo>
                    <a:pt x="1899361" y="3922122"/>
                  </a:moveTo>
                  <a:cubicBezTo>
                    <a:pt x="1897137" y="3940184"/>
                    <a:pt x="1894597" y="3958881"/>
                    <a:pt x="1892056" y="3977894"/>
                  </a:cubicBezTo>
                  <a:cubicBezTo>
                    <a:pt x="1892056" y="3977894"/>
                    <a:pt x="1892056" y="3977894"/>
                    <a:pt x="1904443" y="3978845"/>
                  </a:cubicBezTo>
                  <a:lnTo>
                    <a:pt x="1910160" y="3922755"/>
                  </a:lnTo>
                  <a:cubicBezTo>
                    <a:pt x="1910160" y="3922755"/>
                    <a:pt x="1910160" y="3922755"/>
                    <a:pt x="1899361" y="3922122"/>
                  </a:cubicBezTo>
                  <a:close/>
                  <a:moveTo>
                    <a:pt x="1476293" y="3921171"/>
                  </a:moveTo>
                  <a:cubicBezTo>
                    <a:pt x="1476293" y="3921171"/>
                    <a:pt x="1476293" y="3921171"/>
                    <a:pt x="1462000" y="3933213"/>
                  </a:cubicBezTo>
                  <a:cubicBezTo>
                    <a:pt x="1462000" y="3933213"/>
                    <a:pt x="1462000" y="3933213"/>
                    <a:pt x="1531241" y="4018456"/>
                  </a:cubicBezTo>
                  <a:lnTo>
                    <a:pt x="1543310" y="4003562"/>
                  </a:lnTo>
                  <a:cubicBezTo>
                    <a:pt x="1543310" y="4003562"/>
                    <a:pt x="1543310" y="4003562"/>
                    <a:pt x="1476293" y="3921171"/>
                  </a:cubicBezTo>
                  <a:close/>
                  <a:moveTo>
                    <a:pt x="3052317" y="3917368"/>
                  </a:moveTo>
                  <a:cubicBezTo>
                    <a:pt x="3052317" y="3917368"/>
                    <a:pt x="3052317" y="3917368"/>
                    <a:pt x="3037389" y="3922122"/>
                  </a:cubicBezTo>
                  <a:cubicBezTo>
                    <a:pt x="3037389" y="3922122"/>
                    <a:pt x="3037389" y="3922122"/>
                    <a:pt x="3049141" y="3960148"/>
                  </a:cubicBezTo>
                  <a:lnTo>
                    <a:pt x="3064069" y="3955395"/>
                  </a:lnTo>
                  <a:cubicBezTo>
                    <a:pt x="3064069" y="3955395"/>
                    <a:pt x="3064069" y="3955395"/>
                    <a:pt x="3052317" y="3917368"/>
                  </a:cubicBezTo>
                  <a:close/>
                  <a:moveTo>
                    <a:pt x="3117429" y="3914833"/>
                  </a:moveTo>
                  <a:cubicBezTo>
                    <a:pt x="3117429" y="3914833"/>
                    <a:pt x="3117429" y="3914833"/>
                    <a:pt x="3102183" y="3919587"/>
                  </a:cubicBezTo>
                  <a:cubicBezTo>
                    <a:pt x="3102183" y="3919587"/>
                    <a:pt x="3102183" y="3919587"/>
                    <a:pt x="3113935" y="3957613"/>
                  </a:cubicBezTo>
                  <a:cubicBezTo>
                    <a:pt x="3113935" y="3957613"/>
                    <a:pt x="3113935" y="3957613"/>
                    <a:pt x="3129181" y="3952860"/>
                  </a:cubicBezTo>
                  <a:close/>
                  <a:moveTo>
                    <a:pt x="1476928" y="3914516"/>
                  </a:moveTo>
                  <a:cubicBezTo>
                    <a:pt x="1476928" y="3914516"/>
                    <a:pt x="1476928" y="3914516"/>
                    <a:pt x="1549345" y="4003562"/>
                  </a:cubicBezTo>
                  <a:lnTo>
                    <a:pt x="1548392" y="4005146"/>
                  </a:lnTo>
                  <a:cubicBezTo>
                    <a:pt x="1548392" y="4005146"/>
                    <a:pt x="1548392" y="4005146"/>
                    <a:pt x="1531241" y="4025744"/>
                  </a:cubicBezTo>
                  <a:cubicBezTo>
                    <a:pt x="1531241" y="4025744"/>
                    <a:pt x="1531241" y="4025744"/>
                    <a:pt x="1455647" y="3932579"/>
                  </a:cubicBezTo>
                  <a:cubicBezTo>
                    <a:pt x="1455647" y="3932579"/>
                    <a:pt x="1455647" y="3932579"/>
                    <a:pt x="1476928" y="3914516"/>
                  </a:cubicBezTo>
                  <a:close/>
                  <a:moveTo>
                    <a:pt x="690186" y="3913883"/>
                  </a:moveTo>
                  <a:cubicBezTo>
                    <a:pt x="690186" y="3913883"/>
                    <a:pt x="690186" y="3913883"/>
                    <a:pt x="662871" y="4025427"/>
                  </a:cubicBezTo>
                  <a:cubicBezTo>
                    <a:pt x="662871" y="4025427"/>
                    <a:pt x="662871" y="4025427"/>
                    <a:pt x="715913" y="4043807"/>
                  </a:cubicBezTo>
                  <a:cubicBezTo>
                    <a:pt x="715913" y="4043807"/>
                    <a:pt x="715913" y="4043807"/>
                    <a:pt x="748945" y="4091657"/>
                  </a:cubicBezTo>
                  <a:cubicBezTo>
                    <a:pt x="753074" y="4092924"/>
                    <a:pt x="773402" y="4098311"/>
                    <a:pt x="798494" y="4105283"/>
                  </a:cubicBezTo>
                  <a:cubicBezTo>
                    <a:pt x="798494" y="4105283"/>
                    <a:pt x="798494" y="4105283"/>
                    <a:pt x="828033" y="3927509"/>
                  </a:cubicBezTo>
                  <a:cubicBezTo>
                    <a:pt x="754663" y="3920220"/>
                    <a:pt x="724489" y="3917051"/>
                    <a:pt x="724489" y="3917051"/>
                  </a:cubicBezTo>
                  <a:cubicBezTo>
                    <a:pt x="716231" y="3916418"/>
                    <a:pt x="703844" y="3915150"/>
                    <a:pt x="690186" y="3913883"/>
                  </a:cubicBezTo>
                  <a:close/>
                  <a:moveTo>
                    <a:pt x="3055176" y="3912298"/>
                  </a:moveTo>
                  <a:cubicBezTo>
                    <a:pt x="3055176" y="3912298"/>
                    <a:pt x="3055176" y="3912298"/>
                    <a:pt x="3069468" y="3958247"/>
                  </a:cubicBezTo>
                  <a:cubicBezTo>
                    <a:pt x="3069468" y="3958247"/>
                    <a:pt x="3069468" y="3958247"/>
                    <a:pt x="3046282" y="3965218"/>
                  </a:cubicBezTo>
                  <a:cubicBezTo>
                    <a:pt x="3046282" y="3965218"/>
                    <a:pt x="3046282" y="3965218"/>
                    <a:pt x="3045647" y="3963317"/>
                  </a:cubicBezTo>
                  <a:cubicBezTo>
                    <a:pt x="3045647" y="3963317"/>
                    <a:pt x="3045647" y="3963317"/>
                    <a:pt x="3032307" y="3919270"/>
                  </a:cubicBezTo>
                  <a:close/>
                  <a:moveTo>
                    <a:pt x="1713236" y="3911664"/>
                  </a:moveTo>
                  <a:cubicBezTo>
                    <a:pt x="1713236" y="3911664"/>
                    <a:pt x="1713236" y="3911664"/>
                    <a:pt x="1695132" y="4000393"/>
                  </a:cubicBezTo>
                  <a:cubicBezTo>
                    <a:pt x="1695132" y="4000393"/>
                    <a:pt x="1695132" y="4000393"/>
                    <a:pt x="1695132" y="4000710"/>
                  </a:cubicBezTo>
                  <a:cubicBezTo>
                    <a:pt x="1695132" y="4000710"/>
                    <a:pt x="1695132" y="4000710"/>
                    <a:pt x="1696085" y="3996590"/>
                  </a:cubicBezTo>
                  <a:cubicBezTo>
                    <a:pt x="1696085" y="3996590"/>
                    <a:pt x="1729435" y="4002928"/>
                    <a:pt x="1763102" y="4009266"/>
                  </a:cubicBezTo>
                  <a:cubicBezTo>
                    <a:pt x="1796452" y="4015604"/>
                    <a:pt x="1830755" y="4021941"/>
                    <a:pt x="1831073" y="4021941"/>
                  </a:cubicBezTo>
                  <a:cubicBezTo>
                    <a:pt x="1831073" y="4021941"/>
                    <a:pt x="1831073" y="4021941"/>
                    <a:pt x="1831073" y="4026378"/>
                  </a:cubicBezTo>
                  <a:cubicBezTo>
                    <a:pt x="1828214" y="4026378"/>
                    <a:pt x="1698308" y="4001661"/>
                    <a:pt x="1695450" y="4001027"/>
                  </a:cubicBezTo>
                  <a:cubicBezTo>
                    <a:pt x="1695450" y="4001027"/>
                    <a:pt x="1695450" y="4001027"/>
                    <a:pt x="1699579" y="4041905"/>
                  </a:cubicBezTo>
                  <a:cubicBezTo>
                    <a:pt x="1707519" y="4043490"/>
                    <a:pt x="1735787" y="4048877"/>
                    <a:pt x="1764373" y="4054264"/>
                  </a:cubicBezTo>
                  <a:cubicBezTo>
                    <a:pt x="1790100" y="4059017"/>
                    <a:pt x="1816462" y="4063771"/>
                    <a:pt x="1827261" y="4065989"/>
                  </a:cubicBezTo>
                  <a:cubicBezTo>
                    <a:pt x="1827261" y="4065989"/>
                    <a:pt x="1827261" y="4065989"/>
                    <a:pt x="1837108" y="3977577"/>
                  </a:cubicBezTo>
                  <a:cubicBezTo>
                    <a:pt x="1811698" y="3972824"/>
                    <a:pt x="1707201" y="3952860"/>
                    <a:pt x="1706884" y="3952860"/>
                  </a:cubicBezTo>
                  <a:cubicBezTo>
                    <a:pt x="1706884" y="3952860"/>
                    <a:pt x="1706884" y="3952860"/>
                    <a:pt x="1707837" y="3948740"/>
                  </a:cubicBezTo>
                  <a:cubicBezTo>
                    <a:pt x="1707837" y="3948740"/>
                    <a:pt x="1736422" y="3954127"/>
                    <a:pt x="1767549" y="3959831"/>
                  </a:cubicBezTo>
                  <a:cubicBezTo>
                    <a:pt x="1767549" y="3959831"/>
                    <a:pt x="1767549" y="3959831"/>
                    <a:pt x="1767867" y="3958247"/>
                  </a:cubicBezTo>
                  <a:cubicBezTo>
                    <a:pt x="1767867" y="3958247"/>
                    <a:pt x="1767867" y="3958247"/>
                    <a:pt x="1773266" y="3927826"/>
                  </a:cubicBezTo>
                  <a:cubicBezTo>
                    <a:pt x="1773266" y="3927826"/>
                    <a:pt x="1773266" y="3927826"/>
                    <a:pt x="1819638" y="3936065"/>
                  </a:cubicBezTo>
                  <a:lnTo>
                    <a:pt x="1813604" y="3968704"/>
                  </a:lnTo>
                  <a:cubicBezTo>
                    <a:pt x="1824085" y="3970606"/>
                    <a:pt x="1832661" y="3972190"/>
                    <a:pt x="1837743" y="3973141"/>
                  </a:cubicBezTo>
                  <a:cubicBezTo>
                    <a:pt x="1837743" y="3973141"/>
                    <a:pt x="1837743" y="3973141"/>
                    <a:pt x="1841872" y="3935748"/>
                  </a:cubicBezTo>
                  <a:cubicBezTo>
                    <a:pt x="1818686" y="3931628"/>
                    <a:pt x="1726576" y="3914199"/>
                    <a:pt x="1713236" y="3911664"/>
                  </a:cubicBezTo>
                  <a:close/>
                  <a:moveTo>
                    <a:pt x="3119970" y="3909763"/>
                  </a:moveTo>
                  <a:cubicBezTo>
                    <a:pt x="3119970" y="3909763"/>
                    <a:pt x="3119970" y="3909763"/>
                    <a:pt x="3134263" y="3955712"/>
                  </a:cubicBezTo>
                  <a:cubicBezTo>
                    <a:pt x="3134263" y="3955712"/>
                    <a:pt x="3134263" y="3955712"/>
                    <a:pt x="3111394" y="3962683"/>
                  </a:cubicBezTo>
                  <a:cubicBezTo>
                    <a:pt x="3111394" y="3962683"/>
                    <a:pt x="3111394" y="3962683"/>
                    <a:pt x="3110759" y="3960782"/>
                  </a:cubicBezTo>
                  <a:lnTo>
                    <a:pt x="3097101" y="3916735"/>
                  </a:lnTo>
                  <a:cubicBezTo>
                    <a:pt x="3097101" y="3916735"/>
                    <a:pt x="3097101" y="3916735"/>
                    <a:pt x="3119970" y="3909763"/>
                  </a:cubicBezTo>
                  <a:close/>
                  <a:moveTo>
                    <a:pt x="632697" y="3908496"/>
                  </a:moveTo>
                  <a:cubicBezTo>
                    <a:pt x="619357" y="3924340"/>
                    <a:pt x="602841" y="3945571"/>
                    <a:pt x="585054" y="3966803"/>
                  </a:cubicBezTo>
                  <a:cubicBezTo>
                    <a:pt x="552657" y="4005780"/>
                    <a:pt x="518354" y="4046025"/>
                    <a:pt x="502791" y="4064087"/>
                  </a:cubicBezTo>
                  <a:cubicBezTo>
                    <a:pt x="502791" y="4064087"/>
                    <a:pt x="502791" y="4064087"/>
                    <a:pt x="510414" y="4067890"/>
                  </a:cubicBezTo>
                  <a:cubicBezTo>
                    <a:pt x="510414" y="4067890"/>
                    <a:pt x="510414" y="4067890"/>
                    <a:pt x="531377" y="4218412"/>
                  </a:cubicBezTo>
                  <a:cubicBezTo>
                    <a:pt x="531377" y="4218412"/>
                    <a:pt x="531377" y="4218412"/>
                    <a:pt x="606652" y="4245347"/>
                  </a:cubicBezTo>
                  <a:cubicBezTo>
                    <a:pt x="606652" y="4245347"/>
                    <a:pt x="606652" y="4245347"/>
                    <a:pt x="648260" y="4260558"/>
                  </a:cubicBezTo>
                  <a:cubicBezTo>
                    <a:pt x="648260" y="4260558"/>
                    <a:pt x="648260" y="4260558"/>
                    <a:pt x="616498" y="4117642"/>
                  </a:cubicBezTo>
                  <a:cubicBezTo>
                    <a:pt x="616498" y="4117642"/>
                    <a:pt x="616498" y="4117642"/>
                    <a:pt x="657154" y="4026695"/>
                  </a:cubicBezTo>
                  <a:cubicBezTo>
                    <a:pt x="657154" y="4026695"/>
                    <a:pt x="657154" y="4026695"/>
                    <a:pt x="684786" y="3913249"/>
                  </a:cubicBezTo>
                  <a:cubicBezTo>
                    <a:pt x="666365" y="3911664"/>
                    <a:pt x="646672" y="3909763"/>
                    <a:pt x="632697" y="3908496"/>
                  </a:cubicBezTo>
                  <a:close/>
                  <a:moveTo>
                    <a:pt x="318572" y="3908496"/>
                  </a:moveTo>
                  <a:cubicBezTo>
                    <a:pt x="308091" y="3911981"/>
                    <a:pt x="269976" y="3925607"/>
                    <a:pt x="230909" y="3939551"/>
                  </a:cubicBezTo>
                  <a:cubicBezTo>
                    <a:pt x="220745" y="3943036"/>
                    <a:pt x="210582" y="3946522"/>
                    <a:pt x="200735" y="3950008"/>
                  </a:cubicBezTo>
                  <a:cubicBezTo>
                    <a:pt x="200735" y="3950008"/>
                    <a:pt x="200735" y="3950008"/>
                    <a:pt x="205500" y="3956662"/>
                  </a:cubicBezTo>
                  <a:cubicBezTo>
                    <a:pt x="205500" y="3956662"/>
                    <a:pt x="205500" y="3956662"/>
                    <a:pt x="194383" y="3964585"/>
                  </a:cubicBezTo>
                  <a:cubicBezTo>
                    <a:pt x="194383" y="3964585"/>
                    <a:pt x="194383" y="3964585"/>
                    <a:pt x="203276" y="3976626"/>
                  </a:cubicBezTo>
                  <a:cubicBezTo>
                    <a:pt x="203276" y="3976626"/>
                    <a:pt x="203276" y="3976626"/>
                    <a:pt x="181361" y="3992788"/>
                  </a:cubicBezTo>
                  <a:cubicBezTo>
                    <a:pt x="181361" y="3992788"/>
                    <a:pt x="181361" y="3992788"/>
                    <a:pt x="160080" y="3963951"/>
                  </a:cubicBezTo>
                  <a:cubicBezTo>
                    <a:pt x="156586" y="3965218"/>
                    <a:pt x="153728" y="3966169"/>
                    <a:pt x="150869" y="3967120"/>
                  </a:cubicBezTo>
                  <a:cubicBezTo>
                    <a:pt x="158492" y="3978528"/>
                    <a:pt x="166750" y="3990886"/>
                    <a:pt x="174691" y="4003245"/>
                  </a:cubicBezTo>
                  <a:cubicBezTo>
                    <a:pt x="180090" y="4001344"/>
                    <a:pt x="188348" y="3999125"/>
                    <a:pt x="197559" y="3995957"/>
                  </a:cubicBezTo>
                  <a:cubicBezTo>
                    <a:pt x="242661" y="3981697"/>
                    <a:pt x="321113" y="3955712"/>
                    <a:pt x="345887" y="3947473"/>
                  </a:cubicBezTo>
                  <a:cubicBezTo>
                    <a:pt x="345887" y="3947473"/>
                    <a:pt x="345887" y="3947473"/>
                    <a:pt x="318572" y="3908496"/>
                  </a:cubicBezTo>
                  <a:close/>
                  <a:moveTo>
                    <a:pt x="984936" y="3907228"/>
                  </a:moveTo>
                  <a:cubicBezTo>
                    <a:pt x="984936" y="3907228"/>
                    <a:pt x="984936" y="3907228"/>
                    <a:pt x="973820" y="3928459"/>
                  </a:cubicBezTo>
                  <a:cubicBezTo>
                    <a:pt x="973820" y="3928459"/>
                    <a:pt x="973820" y="3928459"/>
                    <a:pt x="1022415" y="3946522"/>
                  </a:cubicBezTo>
                  <a:cubicBezTo>
                    <a:pt x="1022415" y="3946522"/>
                    <a:pt x="1022415" y="3946522"/>
                    <a:pt x="1039884" y="3908496"/>
                  </a:cubicBezTo>
                  <a:close/>
                  <a:moveTo>
                    <a:pt x="3150461" y="3904693"/>
                  </a:moveTo>
                  <a:cubicBezTo>
                    <a:pt x="3150461" y="3904693"/>
                    <a:pt x="3150461" y="3904693"/>
                    <a:pt x="3135216" y="3909446"/>
                  </a:cubicBezTo>
                  <a:cubicBezTo>
                    <a:pt x="3135216" y="3909446"/>
                    <a:pt x="3135216" y="3909446"/>
                    <a:pt x="3146968" y="3947156"/>
                  </a:cubicBezTo>
                  <a:lnTo>
                    <a:pt x="3162213" y="3942719"/>
                  </a:lnTo>
                  <a:cubicBezTo>
                    <a:pt x="3162213" y="3942719"/>
                    <a:pt x="3162213" y="3942719"/>
                    <a:pt x="3150461" y="3904693"/>
                  </a:cubicBezTo>
                  <a:close/>
                  <a:moveTo>
                    <a:pt x="26363" y="3903425"/>
                  </a:moveTo>
                  <a:cubicBezTo>
                    <a:pt x="26680" y="3905327"/>
                    <a:pt x="26680" y="3905327"/>
                    <a:pt x="26680" y="3905327"/>
                  </a:cubicBezTo>
                  <a:cubicBezTo>
                    <a:pt x="32080" y="3934163"/>
                    <a:pt x="32080" y="3934163"/>
                    <a:pt x="32080" y="3934163"/>
                  </a:cubicBezTo>
                  <a:cubicBezTo>
                    <a:pt x="27951" y="3934797"/>
                    <a:pt x="27951" y="3934797"/>
                    <a:pt x="27951" y="3934797"/>
                  </a:cubicBezTo>
                  <a:cubicBezTo>
                    <a:pt x="31127" y="3951909"/>
                    <a:pt x="31127" y="3951909"/>
                    <a:pt x="31127" y="3951909"/>
                  </a:cubicBezTo>
                  <a:cubicBezTo>
                    <a:pt x="1271" y="3957613"/>
                    <a:pt x="1271" y="3957613"/>
                    <a:pt x="1271" y="3957613"/>
                  </a:cubicBezTo>
                  <a:lnTo>
                    <a:pt x="1271" y="3953494"/>
                  </a:lnTo>
                  <a:cubicBezTo>
                    <a:pt x="26363" y="3948740"/>
                    <a:pt x="26363" y="3948740"/>
                    <a:pt x="26363" y="3948740"/>
                  </a:cubicBezTo>
                  <a:cubicBezTo>
                    <a:pt x="23186" y="3931628"/>
                    <a:pt x="23186" y="3931628"/>
                    <a:pt x="23186" y="3931628"/>
                  </a:cubicBezTo>
                  <a:cubicBezTo>
                    <a:pt x="27315" y="3930995"/>
                    <a:pt x="27315" y="3930995"/>
                    <a:pt x="27315" y="3930995"/>
                  </a:cubicBezTo>
                  <a:cubicBezTo>
                    <a:pt x="22869" y="3908179"/>
                    <a:pt x="22869" y="3908179"/>
                    <a:pt x="22869" y="3908179"/>
                  </a:cubicBezTo>
                  <a:cubicBezTo>
                    <a:pt x="1271" y="3912298"/>
                    <a:pt x="1271" y="3912298"/>
                    <a:pt x="1271" y="3912298"/>
                  </a:cubicBezTo>
                  <a:cubicBezTo>
                    <a:pt x="1271" y="3907862"/>
                    <a:pt x="1271" y="3907862"/>
                    <a:pt x="1271" y="3907862"/>
                  </a:cubicBezTo>
                  <a:cubicBezTo>
                    <a:pt x="26363" y="3903425"/>
                    <a:pt x="26363" y="3903425"/>
                    <a:pt x="26363" y="3903425"/>
                  </a:cubicBezTo>
                  <a:close/>
                  <a:moveTo>
                    <a:pt x="1381960" y="3903108"/>
                  </a:moveTo>
                  <a:cubicBezTo>
                    <a:pt x="1381960" y="3903108"/>
                    <a:pt x="1381960" y="3903108"/>
                    <a:pt x="1371796" y="3905010"/>
                  </a:cubicBezTo>
                  <a:cubicBezTo>
                    <a:pt x="1371796" y="3905010"/>
                    <a:pt x="1371796" y="3905010"/>
                    <a:pt x="1374337" y="3932896"/>
                  </a:cubicBezTo>
                  <a:cubicBezTo>
                    <a:pt x="1374337" y="3932896"/>
                    <a:pt x="1374337" y="3932896"/>
                    <a:pt x="1363220" y="3943036"/>
                  </a:cubicBezTo>
                  <a:cubicBezTo>
                    <a:pt x="1363220" y="3943036"/>
                    <a:pt x="1363220" y="3943036"/>
                    <a:pt x="1418804" y="4033032"/>
                  </a:cubicBezTo>
                  <a:cubicBezTo>
                    <a:pt x="1418804" y="4033032"/>
                    <a:pt x="1418804" y="4033032"/>
                    <a:pt x="1415627" y="4088488"/>
                  </a:cubicBezTo>
                  <a:cubicBezTo>
                    <a:pt x="1415627" y="4088488"/>
                    <a:pt x="1415627" y="4088488"/>
                    <a:pt x="1469940" y="4103065"/>
                  </a:cubicBezTo>
                  <a:lnTo>
                    <a:pt x="1494714" y="4061869"/>
                  </a:lnTo>
                  <a:cubicBezTo>
                    <a:pt x="1494714" y="4061869"/>
                    <a:pt x="1494714" y="4061869"/>
                    <a:pt x="1381960" y="3903108"/>
                  </a:cubicBezTo>
                  <a:close/>
                  <a:moveTo>
                    <a:pt x="982078" y="3902475"/>
                  </a:moveTo>
                  <a:cubicBezTo>
                    <a:pt x="982078" y="3902475"/>
                    <a:pt x="982078" y="3902475"/>
                    <a:pt x="1047190" y="3903742"/>
                  </a:cubicBezTo>
                  <a:cubicBezTo>
                    <a:pt x="1047190" y="3903742"/>
                    <a:pt x="1047190" y="3903742"/>
                    <a:pt x="1045919" y="3907228"/>
                  </a:cubicBezTo>
                  <a:cubicBezTo>
                    <a:pt x="1045919" y="3907228"/>
                    <a:pt x="1045919" y="3907228"/>
                    <a:pt x="1024639" y="3952543"/>
                  </a:cubicBezTo>
                  <a:cubicBezTo>
                    <a:pt x="1024639" y="3952543"/>
                    <a:pt x="1024639" y="3952543"/>
                    <a:pt x="967150" y="3930995"/>
                  </a:cubicBezTo>
                  <a:close/>
                  <a:moveTo>
                    <a:pt x="3153002" y="3899623"/>
                  </a:moveTo>
                  <a:cubicBezTo>
                    <a:pt x="3153002" y="3899623"/>
                    <a:pt x="3153002" y="3899623"/>
                    <a:pt x="3167295" y="3945255"/>
                  </a:cubicBezTo>
                  <a:cubicBezTo>
                    <a:pt x="3167295" y="3945255"/>
                    <a:pt x="3167295" y="3945255"/>
                    <a:pt x="3144426" y="3952543"/>
                  </a:cubicBezTo>
                  <a:cubicBezTo>
                    <a:pt x="3144426" y="3952543"/>
                    <a:pt x="3144426" y="3952543"/>
                    <a:pt x="3143791" y="3950325"/>
                  </a:cubicBezTo>
                  <a:cubicBezTo>
                    <a:pt x="3143791" y="3950325"/>
                    <a:pt x="3143791" y="3950325"/>
                    <a:pt x="3130134" y="3906594"/>
                  </a:cubicBezTo>
                  <a:close/>
                  <a:moveTo>
                    <a:pt x="2337992" y="3898989"/>
                  </a:moveTo>
                  <a:cubicBezTo>
                    <a:pt x="2337992" y="3898989"/>
                    <a:pt x="2337992" y="3898989"/>
                    <a:pt x="2335769" y="3922122"/>
                  </a:cubicBezTo>
                  <a:cubicBezTo>
                    <a:pt x="2335769" y="3922122"/>
                    <a:pt x="2335769" y="3922122"/>
                    <a:pt x="2311948" y="3919903"/>
                  </a:cubicBezTo>
                  <a:cubicBezTo>
                    <a:pt x="2311948" y="3919903"/>
                    <a:pt x="2311948" y="3919903"/>
                    <a:pt x="2310677" y="3935431"/>
                  </a:cubicBezTo>
                  <a:cubicBezTo>
                    <a:pt x="2310677" y="3935431"/>
                    <a:pt x="2310677" y="3935431"/>
                    <a:pt x="2364990" y="3939551"/>
                  </a:cubicBezTo>
                  <a:lnTo>
                    <a:pt x="2366578" y="3923706"/>
                  </a:lnTo>
                  <a:cubicBezTo>
                    <a:pt x="2366578" y="3923706"/>
                    <a:pt x="2366578" y="3923706"/>
                    <a:pt x="2372295" y="3924340"/>
                  </a:cubicBezTo>
                  <a:cubicBezTo>
                    <a:pt x="2372295" y="3924340"/>
                    <a:pt x="2372295" y="3924340"/>
                    <a:pt x="2374201" y="3902158"/>
                  </a:cubicBezTo>
                  <a:cubicBezTo>
                    <a:pt x="2374201" y="3902158"/>
                    <a:pt x="2374201" y="3902158"/>
                    <a:pt x="2337992" y="3898989"/>
                  </a:cubicBezTo>
                  <a:close/>
                  <a:moveTo>
                    <a:pt x="1383865" y="3898038"/>
                  </a:moveTo>
                  <a:cubicBezTo>
                    <a:pt x="1383865" y="3898038"/>
                    <a:pt x="1383865" y="3898038"/>
                    <a:pt x="1500114" y="4061552"/>
                  </a:cubicBezTo>
                  <a:lnTo>
                    <a:pt x="1499479" y="4062820"/>
                  </a:lnTo>
                  <a:cubicBezTo>
                    <a:pt x="1499479" y="4062820"/>
                    <a:pt x="1499479" y="4062820"/>
                    <a:pt x="1472163" y="4108452"/>
                  </a:cubicBezTo>
                  <a:cubicBezTo>
                    <a:pt x="1472163" y="4108452"/>
                    <a:pt x="1472163" y="4108452"/>
                    <a:pt x="1410863" y="4091974"/>
                  </a:cubicBezTo>
                  <a:cubicBezTo>
                    <a:pt x="1410863" y="4091974"/>
                    <a:pt x="1410863" y="4091974"/>
                    <a:pt x="1414039" y="4033983"/>
                  </a:cubicBezTo>
                  <a:cubicBezTo>
                    <a:pt x="1414039" y="4033983"/>
                    <a:pt x="1414039" y="4033983"/>
                    <a:pt x="1357185" y="3942086"/>
                  </a:cubicBezTo>
                  <a:cubicBezTo>
                    <a:pt x="1357185" y="3942086"/>
                    <a:pt x="1357185" y="3942086"/>
                    <a:pt x="1369255" y="3930995"/>
                  </a:cubicBezTo>
                  <a:cubicBezTo>
                    <a:pt x="1369255" y="3930995"/>
                    <a:pt x="1369255" y="3930995"/>
                    <a:pt x="1367032" y="3901207"/>
                  </a:cubicBezTo>
                  <a:cubicBezTo>
                    <a:pt x="1367032" y="3901207"/>
                    <a:pt x="1367032" y="3901207"/>
                    <a:pt x="1383865" y="3898038"/>
                  </a:cubicBezTo>
                  <a:close/>
                  <a:moveTo>
                    <a:pt x="1081810" y="3896771"/>
                  </a:moveTo>
                  <a:cubicBezTo>
                    <a:pt x="1081810" y="3896771"/>
                    <a:pt x="1081810" y="3896771"/>
                    <a:pt x="1051001" y="3957930"/>
                  </a:cubicBezTo>
                  <a:cubicBezTo>
                    <a:pt x="1051001" y="3957930"/>
                    <a:pt x="1051001" y="3957930"/>
                    <a:pt x="1076410" y="3967754"/>
                  </a:cubicBezTo>
                  <a:cubicBezTo>
                    <a:pt x="1076410" y="3967754"/>
                    <a:pt x="1076410" y="3967754"/>
                    <a:pt x="1082763" y="3954127"/>
                  </a:cubicBezTo>
                  <a:cubicBezTo>
                    <a:pt x="1082763" y="3954127"/>
                    <a:pt x="1082763" y="3954127"/>
                    <a:pt x="1093562" y="3979795"/>
                  </a:cubicBezTo>
                  <a:lnTo>
                    <a:pt x="1113889" y="3998175"/>
                  </a:lnTo>
                  <a:cubicBezTo>
                    <a:pt x="1113889" y="3998175"/>
                    <a:pt x="1113889" y="3998175"/>
                    <a:pt x="1081810" y="3896771"/>
                  </a:cubicBezTo>
                  <a:close/>
                  <a:moveTo>
                    <a:pt x="2334181" y="3894552"/>
                  </a:moveTo>
                  <a:cubicBezTo>
                    <a:pt x="2334181" y="3894552"/>
                    <a:pt x="2334181" y="3894552"/>
                    <a:pt x="2378648" y="3898355"/>
                  </a:cubicBezTo>
                  <a:cubicBezTo>
                    <a:pt x="2378648" y="3898355"/>
                    <a:pt x="2378648" y="3898355"/>
                    <a:pt x="2376106" y="3928776"/>
                  </a:cubicBezTo>
                  <a:cubicBezTo>
                    <a:pt x="2376106" y="3928776"/>
                    <a:pt x="2376106" y="3928776"/>
                    <a:pt x="2370389" y="3928459"/>
                  </a:cubicBezTo>
                  <a:lnTo>
                    <a:pt x="2368801" y="3943987"/>
                  </a:lnTo>
                  <a:cubicBezTo>
                    <a:pt x="2368801" y="3943987"/>
                    <a:pt x="2368801" y="3943987"/>
                    <a:pt x="2305913" y="3939551"/>
                  </a:cubicBezTo>
                  <a:cubicBezTo>
                    <a:pt x="2305913" y="3939551"/>
                    <a:pt x="2305913" y="3939551"/>
                    <a:pt x="2306230" y="3937332"/>
                  </a:cubicBezTo>
                  <a:cubicBezTo>
                    <a:pt x="2306230" y="3937332"/>
                    <a:pt x="2306230" y="3937332"/>
                    <a:pt x="2308136" y="3915467"/>
                  </a:cubicBezTo>
                  <a:cubicBezTo>
                    <a:pt x="2308136" y="3915467"/>
                    <a:pt x="2308136" y="3915467"/>
                    <a:pt x="2331958" y="3917685"/>
                  </a:cubicBezTo>
                  <a:cubicBezTo>
                    <a:pt x="2331958" y="3917685"/>
                    <a:pt x="2331958" y="3917685"/>
                    <a:pt x="2334181" y="3894552"/>
                  </a:cubicBezTo>
                  <a:close/>
                  <a:moveTo>
                    <a:pt x="513272" y="3892651"/>
                  </a:moveTo>
                  <a:cubicBezTo>
                    <a:pt x="513272" y="3892651"/>
                    <a:pt x="513272" y="3892651"/>
                    <a:pt x="508508" y="3956346"/>
                  </a:cubicBezTo>
                  <a:lnTo>
                    <a:pt x="540587" y="3966486"/>
                  </a:lnTo>
                  <a:cubicBezTo>
                    <a:pt x="540587" y="3966486"/>
                    <a:pt x="540587" y="3966486"/>
                    <a:pt x="583784" y="3912932"/>
                  </a:cubicBezTo>
                  <a:cubicBezTo>
                    <a:pt x="583784" y="3912932"/>
                    <a:pt x="583784" y="3912932"/>
                    <a:pt x="513272" y="3892651"/>
                  </a:cubicBezTo>
                  <a:close/>
                  <a:moveTo>
                    <a:pt x="1143110" y="3891067"/>
                  </a:moveTo>
                  <a:lnTo>
                    <a:pt x="1122465" y="3906911"/>
                  </a:lnTo>
                  <a:cubicBezTo>
                    <a:pt x="1122465" y="3906911"/>
                    <a:pt x="1122465" y="3906911"/>
                    <a:pt x="1158674" y="3996907"/>
                  </a:cubicBezTo>
                  <a:cubicBezTo>
                    <a:pt x="1158674" y="3996907"/>
                    <a:pt x="1158674" y="3996907"/>
                    <a:pt x="1182495" y="4011484"/>
                  </a:cubicBezTo>
                  <a:cubicBezTo>
                    <a:pt x="1182495" y="4011484"/>
                    <a:pt x="1182495" y="4011484"/>
                    <a:pt x="1202823" y="4004513"/>
                  </a:cubicBezTo>
                  <a:cubicBezTo>
                    <a:pt x="1202823" y="4004513"/>
                    <a:pt x="1202823" y="4004513"/>
                    <a:pt x="1201552" y="3997858"/>
                  </a:cubicBezTo>
                  <a:cubicBezTo>
                    <a:pt x="1201552" y="3997858"/>
                    <a:pt x="1201552" y="3997858"/>
                    <a:pt x="1200599" y="3993421"/>
                  </a:cubicBezTo>
                  <a:cubicBezTo>
                    <a:pt x="1200599" y="3993421"/>
                    <a:pt x="1200599" y="3993421"/>
                    <a:pt x="1205364" y="3992788"/>
                  </a:cubicBezTo>
                  <a:cubicBezTo>
                    <a:pt x="1205364" y="3992788"/>
                    <a:pt x="1205364" y="3992788"/>
                    <a:pt x="1207905" y="3992154"/>
                  </a:cubicBezTo>
                  <a:cubicBezTo>
                    <a:pt x="1207905" y="3992154"/>
                    <a:pt x="1207905" y="3992154"/>
                    <a:pt x="1200917" y="3971239"/>
                  </a:cubicBezTo>
                  <a:cubicBezTo>
                    <a:pt x="1200917" y="3971239"/>
                    <a:pt x="1200917" y="3971239"/>
                    <a:pt x="1197106" y="3973458"/>
                  </a:cubicBezTo>
                  <a:cubicBezTo>
                    <a:pt x="1197106" y="3973458"/>
                    <a:pt x="1197106" y="3973458"/>
                    <a:pt x="1192659" y="3975676"/>
                  </a:cubicBezTo>
                  <a:cubicBezTo>
                    <a:pt x="1192659" y="3975676"/>
                    <a:pt x="1192659" y="3975676"/>
                    <a:pt x="1190753" y="3970922"/>
                  </a:cubicBezTo>
                  <a:cubicBezTo>
                    <a:pt x="1190753" y="3970922"/>
                    <a:pt x="1190753" y="3970922"/>
                    <a:pt x="1180272" y="3940818"/>
                  </a:cubicBezTo>
                  <a:cubicBezTo>
                    <a:pt x="1180272" y="3940818"/>
                    <a:pt x="1180272" y="3940818"/>
                    <a:pt x="1164391" y="3942086"/>
                  </a:cubicBezTo>
                  <a:cubicBezTo>
                    <a:pt x="1164391" y="3942086"/>
                    <a:pt x="1164391" y="3942086"/>
                    <a:pt x="1161215" y="3942086"/>
                  </a:cubicBezTo>
                  <a:cubicBezTo>
                    <a:pt x="1161215" y="3942086"/>
                    <a:pt x="1161215" y="3942086"/>
                    <a:pt x="1159944" y="3939234"/>
                  </a:cubicBezTo>
                  <a:cubicBezTo>
                    <a:pt x="1159944" y="3939234"/>
                    <a:pt x="1159944" y="3939234"/>
                    <a:pt x="1148828" y="3914199"/>
                  </a:cubicBezTo>
                  <a:cubicBezTo>
                    <a:pt x="1148828" y="3914199"/>
                    <a:pt x="1148828" y="3914199"/>
                    <a:pt x="1148192" y="3912615"/>
                  </a:cubicBezTo>
                  <a:cubicBezTo>
                    <a:pt x="1148192" y="3912615"/>
                    <a:pt x="1148192" y="3912615"/>
                    <a:pt x="1148510" y="3911031"/>
                  </a:cubicBezTo>
                  <a:cubicBezTo>
                    <a:pt x="1148510" y="3911031"/>
                    <a:pt x="1148510" y="3911031"/>
                    <a:pt x="1151051" y="3902475"/>
                  </a:cubicBezTo>
                  <a:cubicBezTo>
                    <a:pt x="1151051" y="3902475"/>
                    <a:pt x="1151051" y="3902475"/>
                    <a:pt x="1143110" y="3891067"/>
                  </a:cubicBezTo>
                  <a:close/>
                  <a:moveTo>
                    <a:pt x="3072010" y="3888848"/>
                  </a:moveTo>
                  <a:cubicBezTo>
                    <a:pt x="3072010" y="3888848"/>
                    <a:pt x="3072010" y="3888848"/>
                    <a:pt x="3122511" y="4038103"/>
                  </a:cubicBezTo>
                  <a:cubicBezTo>
                    <a:pt x="3122511" y="4038103"/>
                    <a:pt x="3122511" y="4038103"/>
                    <a:pt x="3162531" y="4025427"/>
                  </a:cubicBezTo>
                  <a:cubicBezTo>
                    <a:pt x="3162531" y="4025427"/>
                    <a:pt x="3162531" y="4025427"/>
                    <a:pt x="3120923" y="3896771"/>
                  </a:cubicBezTo>
                  <a:cubicBezTo>
                    <a:pt x="3120923" y="3896771"/>
                    <a:pt x="3120923" y="3896771"/>
                    <a:pt x="3122828" y="3896137"/>
                  </a:cubicBezTo>
                  <a:cubicBezTo>
                    <a:pt x="3104724" y="3895503"/>
                    <a:pt x="3087573" y="3892968"/>
                    <a:pt x="3072010" y="3888848"/>
                  </a:cubicBezTo>
                  <a:close/>
                  <a:moveTo>
                    <a:pt x="104179" y="3888848"/>
                  </a:moveTo>
                  <a:cubicBezTo>
                    <a:pt x="104179" y="3888848"/>
                    <a:pt x="104179" y="3888848"/>
                    <a:pt x="95921" y="3892017"/>
                  </a:cubicBezTo>
                  <a:cubicBezTo>
                    <a:pt x="96239" y="3892334"/>
                    <a:pt x="96556" y="3892651"/>
                    <a:pt x="96874" y="3892968"/>
                  </a:cubicBezTo>
                  <a:cubicBezTo>
                    <a:pt x="103862" y="3901524"/>
                    <a:pt x="110532" y="3910397"/>
                    <a:pt x="116566" y="3918319"/>
                  </a:cubicBezTo>
                  <a:cubicBezTo>
                    <a:pt x="116566" y="3918319"/>
                    <a:pt x="116566" y="3918319"/>
                    <a:pt x="123872" y="3915467"/>
                  </a:cubicBezTo>
                  <a:cubicBezTo>
                    <a:pt x="123872" y="3915467"/>
                    <a:pt x="123872" y="3915467"/>
                    <a:pt x="104179" y="3888848"/>
                  </a:cubicBezTo>
                  <a:close/>
                  <a:moveTo>
                    <a:pt x="3209538" y="3888532"/>
                  </a:moveTo>
                  <a:cubicBezTo>
                    <a:pt x="3209538" y="3888532"/>
                    <a:pt x="3209538" y="3888532"/>
                    <a:pt x="3194610" y="3893285"/>
                  </a:cubicBezTo>
                  <a:cubicBezTo>
                    <a:pt x="3194610" y="3893285"/>
                    <a:pt x="3194610" y="3893285"/>
                    <a:pt x="3206362" y="3931311"/>
                  </a:cubicBezTo>
                  <a:lnTo>
                    <a:pt x="3221290" y="3926558"/>
                  </a:lnTo>
                  <a:cubicBezTo>
                    <a:pt x="3221290" y="3926558"/>
                    <a:pt x="3221290" y="3926558"/>
                    <a:pt x="3209538" y="3888532"/>
                  </a:cubicBezTo>
                  <a:close/>
                  <a:moveTo>
                    <a:pt x="509143" y="3886947"/>
                  </a:moveTo>
                  <a:cubicBezTo>
                    <a:pt x="509143" y="3886947"/>
                    <a:pt x="509143" y="3886947"/>
                    <a:pt x="591406" y="3910397"/>
                  </a:cubicBezTo>
                  <a:lnTo>
                    <a:pt x="542176" y="3971556"/>
                  </a:lnTo>
                  <a:cubicBezTo>
                    <a:pt x="542176" y="3971556"/>
                    <a:pt x="542176" y="3971556"/>
                    <a:pt x="503744" y="3959514"/>
                  </a:cubicBezTo>
                  <a:cubicBezTo>
                    <a:pt x="503744" y="3959514"/>
                    <a:pt x="503744" y="3959514"/>
                    <a:pt x="509143" y="3886947"/>
                  </a:cubicBezTo>
                  <a:close/>
                  <a:moveTo>
                    <a:pt x="1144381" y="3884412"/>
                  </a:moveTo>
                  <a:cubicBezTo>
                    <a:pt x="1144381" y="3884412"/>
                    <a:pt x="1144381" y="3884412"/>
                    <a:pt x="1155815" y="3901841"/>
                  </a:cubicBezTo>
                  <a:cubicBezTo>
                    <a:pt x="1155815" y="3901841"/>
                    <a:pt x="1155815" y="3901841"/>
                    <a:pt x="1152957" y="3912298"/>
                  </a:cubicBezTo>
                  <a:cubicBezTo>
                    <a:pt x="1152957" y="3912298"/>
                    <a:pt x="1152957" y="3912298"/>
                    <a:pt x="1164073" y="3937649"/>
                  </a:cubicBezTo>
                  <a:cubicBezTo>
                    <a:pt x="1164073" y="3937649"/>
                    <a:pt x="1164073" y="3937649"/>
                    <a:pt x="1183448" y="3936065"/>
                  </a:cubicBezTo>
                  <a:cubicBezTo>
                    <a:pt x="1183448" y="3936065"/>
                    <a:pt x="1183448" y="3936065"/>
                    <a:pt x="1194882" y="3969338"/>
                  </a:cubicBezTo>
                  <a:cubicBezTo>
                    <a:pt x="1194882" y="3969338"/>
                    <a:pt x="1194882" y="3969338"/>
                    <a:pt x="1203776" y="3964902"/>
                  </a:cubicBezTo>
                  <a:cubicBezTo>
                    <a:pt x="1203776" y="3964902"/>
                    <a:pt x="1203776" y="3964902"/>
                    <a:pt x="1213622" y="3995957"/>
                  </a:cubicBezTo>
                  <a:cubicBezTo>
                    <a:pt x="1213622" y="3995957"/>
                    <a:pt x="1213622" y="3995957"/>
                    <a:pt x="1205999" y="3996907"/>
                  </a:cubicBezTo>
                  <a:cubicBezTo>
                    <a:pt x="1205999" y="3996907"/>
                    <a:pt x="1205999" y="3996907"/>
                    <a:pt x="1208222" y="4007681"/>
                  </a:cubicBezTo>
                  <a:cubicBezTo>
                    <a:pt x="1208222" y="4007681"/>
                    <a:pt x="1208222" y="4007681"/>
                    <a:pt x="1182177" y="4016237"/>
                  </a:cubicBezTo>
                  <a:lnTo>
                    <a:pt x="1155180" y="4000076"/>
                  </a:lnTo>
                  <a:cubicBezTo>
                    <a:pt x="1155180" y="4000076"/>
                    <a:pt x="1155180" y="4000076"/>
                    <a:pt x="1117383" y="3905644"/>
                  </a:cubicBezTo>
                  <a:cubicBezTo>
                    <a:pt x="1117383" y="3905644"/>
                    <a:pt x="1117383" y="3905644"/>
                    <a:pt x="1144381" y="3884412"/>
                  </a:cubicBezTo>
                  <a:close/>
                  <a:moveTo>
                    <a:pt x="1082763" y="3884412"/>
                  </a:moveTo>
                  <a:cubicBezTo>
                    <a:pt x="1082763" y="3884412"/>
                    <a:pt x="1082763" y="3884412"/>
                    <a:pt x="1123418" y="4013385"/>
                  </a:cubicBezTo>
                  <a:cubicBezTo>
                    <a:pt x="1123418" y="4013385"/>
                    <a:pt x="1123418" y="4013385"/>
                    <a:pt x="1117066" y="4007365"/>
                  </a:cubicBezTo>
                  <a:cubicBezTo>
                    <a:pt x="1117066" y="4007365"/>
                    <a:pt x="1117066" y="4007365"/>
                    <a:pt x="1089750" y="3982330"/>
                  </a:cubicBezTo>
                  <a:cubicBezTo>
                    <a:pt x="1089750" y="3982330"/>
                    <a:pt x="1089750" y="3982330"/>
                    <a:pt x="1082445" y="3965535"/>
                  </a:cubicBezTo>
                  <a:cubicBezTo>
                    <a:pt x="1082445" y="3965535"/>
                    <a:pt x="1082445" y="3965535"/>
                    <a:pt x="1078951" y="3973774"/>
                  </a:cubicBezTo>
                  <a:cubicBezTo>
                    <a:pt x="1078951" y="3973774"/>
                    <a:pt x="1078951" y="3973774"/>
                    <a:pt x="1044649" y="3960465"/>
                  </a:cubicBezTo>
                  <a:close/>
                  <a:moveTo>
                    <a:pt x="3212397" y="3883461"/>
                  </a:moveTo>
                  <a:cubicBezTo>
                    <a:pt x="3212397" y="3883461"/>
                    <a:pt x="3212397" y="3883461"/>
                    <a:pt x="3226372" y="3929410"/>
                  </a:cubicBezTo>
                  <a:cubicBezTo>
                    <a:pt x="3226372" y="3929410"/>
                    <a:pt x="3226372" y="3929410"/>
                    <a:pt x="3203504" y="3936382"/>
                  </a:cubicBezTo>
                  <a:cubicBezTo>
                    <a:pt x="3203504" y="3936382"/>
                    <a:pt x="3203504" y="3936382"/>
                    <a:pt x="3202868" y="3934480"/>
                  </a:cubicBezTo>
                  <a:cubicBezTo>
                    <a:pt x="3202868" y="3934480"/>
                    <a:pt x="3202868" y="3934480"/>
                    <a:pt x="3189211" y="3890433"/>
                  </a:cubicBezTo>
                  <a:close/>
                  <a:moveTo>
                    <a:pt x="1320977" y="3881560"/>
                  </a:moveTo>
                  <a:cubicBezTo>
                    <a:pt x="1314942" y="3888848"/>
                    <a:pt x="1305096" y="3902475"/>
                    <a:pt x="1302237" y="3913883"/>
                  </a:cubicBezTo>
                  <a:cubicBezTo>
                    <a:pt x="1301285" y="3917051"/>
                    <a:pt x="1300332" y="3921171"/>
                    <a:pt x="1299379" y="3925607"/>
                  </a:cubicBezTo>
                  <a:cubicBezTo>
                    <a:pt x="1297791" y="3933213"/>
                    <a:pt x="1296203" y="3942086"/>
                    <a:pt x="1293344" y="3951275"/>
                  </a:cubicBezTo>
                  <a:cubicBezTo>
                    <a:pt x="1289850" y="3963317"/>
                    <a:pt x="1285404" y="3975359"/>
                    <a:pt x="1283180" y="3980746"/>
                  </a:cubicBezTo>
                  <a:cubicBezTo>
                    <a:pt x="1283180" y="3980746"/>
                    <a:pt x="1283180" y="3980746"/>
                    <a:pt x="1305096" y="3999442"/>
                  </a:cubicBezTo>
                  <a:lnTo>
                    <a:pt x="1324471" y="3953177"/>
                  </a:lnTo>
                  <a:cubicBezTo>
                    <a:pt x="1324471" y="3953177"/>
                    <a:pt x="1324471" y="3953177"/>
                    <a:pt x="1315577" y="3937332"/>
                  </a:cubicBezTo>
                  <a:cubicBezTo>
                    <a:pt x="1315577" y="3937332"/>
                    <a:pt x="1315577" y="3937332"/>
                    <a:pt x="1313989" y="3934163"/>
                  </a:cubicBezTo>
                  <a:cubicBezTo>
                    <a:pt x="1313989" y="3934163"/>
                    <a:pt x="1313989" y="3934163"/>
                    <a:pt x="1316530" y="3931945"/>
                  </a:cubicBezTo>
                  <a:cubicBezTo>
                    <a:pt x="1316530" y="3931945"/>
                    <a:pt x="1316530" y="3931945"/>
                    <a:pt x="1333364" y="3917368"/>
                  </a:cubicBezTo>
                  <a:cubicBezTo>
                    <a:pt x="1333364" y="3917368"/>
                    <a:pt x="1333364" y="3917368"/>
                    <a:pt x="1320977" y="3881560"/>
                  </a:cubicBezTo>
                  <a:close/>
                  <a:moveTo>
                    <a:pt x="3242571" y="3878391"/>
                  </a:moveTo>
                  <a:cubicBezTo>
                    <a:pt x="3242571" y="3878391"/>
                    <a:pt x="3242571" y="3878391"/>
                    <a:pt x="3227642" y="3882828"/>
                  </a:cubicBezTo>
                  <a:cubicBezTo>
                    <a:pt x="3227642" y="3882828"/>
                    <a:pt x="3227642" y="3882828"/>
                    <a:pt x="3239394" y="3920854"/>
                  </a:cubicBezTo>
                  <a:lnTo>
                    <a:pt x="3254322" y="3916101"/>
                  </a:lnTo>
                  <a:cubicBezTo>
                    <a:pt x="3254322" y="3916101"/>
                    <a:pt x="3254322" y="3916101"/>
                    <a:pt x="3242571" y="3878391"/>
                  </a:cubicBezTo>
                  <a:close/>
                  <a:moveTo>
                    <a:pt x="1919053" y="3876807"/>
                  </a:moveTo>
                  <a:cubicBezTo>
                    <a:pt x="1919053" y="3876807"/>
                    <a:pt x="1919053" y="3876807"/>
                    <a:pt x="1914924" y="3918636"/>
                  </a:cubicBezTo>
                  <a:cubicBezTo>
                    <a:pt x="1914924" y="3918636"/>
                    <a:pt x="1914924" y="3918636"/>
                    <a:pt x="1957167" y="3922122"/>
                  </a:cubicBezTo>
                  <a:lnTo>
                    <a:pt x="1961296" y="3881243"/>
                  </a:lnTo>
                  <a:cubicBezTo>
                    <a:pt x="1961296" y="3881243"/>
                    <a:pt x="1961296" y="3881243"/>
                    <a:pt x="1919053" y="3876807"/>
                  </a:cubicBezTo>
                  <a:close/>
                  <a:moveTo>
                    <a:pt x="1179637" y="3876173"/>
                  </a:moveTo>
                  <a:lnTo>
                    <a:pt x="1174555" y="3882828"/>
                  </a:lnTo>
                  <a:cubicBezTo>
                    <a:pt x="1174555" y="3882828"/>
                    <a:pt x="1174555" y="3882828"/>
                    <a:pt x="1203458" y="3911981"/>
                  </a:cubicBezTo>
                  <a:cubicBezTo>
                    <a:pt x="1203458" y="3911981"/>
                    <a:pt x="1203458" y="3911981"/>
                    <a:pt x="1210763" y="3902792"/>
                  </a:cubicBezTo>
                  <a:cubicBezTo>
                    <a:pt x="1210763" y="3902792"/>
                    <a:pt x="1210763" y="3902792"/>
                    <a:pt x="1179637" y="3876173"/>
                  </a:cubicBezTo>
                  <a:close/>
                  <a:moveTo>
                    <a:pt x="1238714" y="3875222"/>
                  </a:moveTo>
                  <a:cubicBezTo>
                    <a:pt x="1238714" y="3875222"/>
                    <a:pt x="1238714" y="3875222"/>
                    <a:pt x="1217433" y="3902475"/>
                  </a:cubicBezTo>
                  <a:lnTo>
                    <a:pt x="1217751" y="3902792"/>
                  </a:lnTo>
                  <a:cubicBezTo>
                    <a:pt x="1217751" y="3902792"/>
                    <a:pt x="1217751" y="3902792"/>
                    <a:pt x="1215527" y="3905960"/>
                  </a:cubicBezTo>
                  <a:cubicBezTo>
                    <a:pt x="1215527" y="3905960"/>
                    <a:pt x="1215527" y="3905960"/>
                    <a:pt x="1212987" y="3909763"/>
                  </a:cubicBezTo>
                  <a:cubicBezTo>
                    <a:pt x="1212987" y="3909763"/>
                    <a:pt x="1212987" y="3909763"/>
                    <a:pt x="1241255" y="3932579"/>
                  </a:cubicBezTo>
                  <a:cubicBezTo>
                    <a:pt x="1241255" y="3932579"/>
                    <a:pt x="1241255" y="3932579"/>
                    <a:pt x="1268252" y="3898989"/>
                  </a:cubicBezTo>
                  <a:cubicBezTo>
                    <a:pt x="1268252" y="3898989"/>
                    <a:pt x="1268252" y="3898989"/>
                    <a:pt x="1238714" y="3875222"/>
                  </a:cubicBezTo>
                  <a:close/>
                  <a:moveTo>
                    <a:pt x="139753" y="3874905"/>
                  </a:moveTo>
                  <a:lnTo>
                    <a:pt x="107991" y="3887264"/>
                  </a:lnTo>
                  <a:cubicBezTo>
                    <a:pt x="107991" y="3887264"/>
                    <a:pt x="107991" y="3887264"/>
                    <a:pt x="125460" y="3910714"/>
                  </a:cubicBezTo>
                  <a:cubicBezTo>
                    <a:pt x="125460" y="3910714"/>
                    <a:pt x="125460" y="3910714"/>
                    <a:pt x="141023" y="3899623"/>
                  </a:cubicBezTo>
                  <a:cubicBezTo>
                    <a:pt x="141023" y="3899623"/>
                    <a:pt x="141023" y="3899623"/>
                    <a:pt x="132130" y="3887581"/>
                  </a:cubicBezTo>
                  <a:cubicBezTo>
                    <a:pt x="132130" y="3887581"/>
                    <a:pt x="132130" y="3887581"/>
                    <a:pt x="142929" y="3879342"/>
                  </a:cubicBezTo>
                  <a:cubicBezTo>
                    <a:pt x="142929" y="3879342"/>
                    <a:pt x="142929" y="3879342"/>
                    <a:pt x="139753" y="3874905"/>
                  </a:cubicBezTo>
                  <a:close/>
                  <a:moveTo>
                    <a:pt x="1146287" y="3874589"/>
                  </a:moveTo>
                  <a:cubicBezTo>
                    <a:pt x="1146287" y="3874589"/>
                    <a:pt x="1146287" y="3874589"/>
                    <a:pt x="1105631" y="3907545"/>
                  </a:cubicBezTo>
                  <a:lnTo>
                    <a:pt x="1139934" y="4037152"/>
                  </a:lnTo>
                  <a:cubicBezTo>
                    <a:pt x="1139934" y="4037152"/>
                    <a:pt x="1139934" y="4037152"/>
                    <a:pt x="1139299" y="4036518"/>
                  </a:cubicBezTo>
                  <a:cubicBezTo>
                    <a:pt x="1141205" y="4038420"/>
                    <a:pt x="1142793" y="4040638"/>
                    <a:pt x="1144698" y="4043173"/>
                  </a:cubicBezTo>
                  <a:cubicBezTo>
                    <a:pt x="1144698" y="4043173"/>
                    <a:pt x="1144698" y="4043173"/>
                    <a:pt x="1146287" y="4042539"/>
                  </a:cubicBezTo>
                  <a:cubicBezTo>
                    <a:pt x="1146287" y="4042539"/>
                    <a:pt x="1160579" y="4038420"/>
                    <a:pt x="1179001" y="4032716"/>
                  </a:cubicBezTo>
                  <a:cubicBezTo>
                    <a:pt x="1195517" y="4027328"/>
                    <a:pt x="1214575" y="4019723"/>
                    <a:pt x="1225056" y="4012118"/>
                  </a:cubicBezTo>
                  <a:cubicBezTo>
                    <a:pt x="1225056" y="4012118"/>
                    <a:pt x="1225056" y="4012118"/>
                    <a:pt x="1199647" y="3928459"/>
                  </a:cubicBezTo>
                  <a:cubicBezTo>
                    <a:pt x="1199647" y="3928459"/>
                    <a:pt x="1199647" y="3928459"/>
                    <a:pt x="1146287" y="3874589"/>
                  </a:cubicBezTo>
                  <a:close/>
                  <a:moveTo>
                    <a:pt x="499932" y="3873638"/>
                  </a:moveTo>
                  <a:cubicBezTo>
                    <a:pt x="499932" y="3873638"/>
                    <a:pt x="499932" y="3873638"/>
                    <a:pt x="494533" y="3962683"/>
                  </a:cubicBezTo>
                  <a:lnTo>
                    <a:pt x="402741" y="3990569"/>
                  </a:lnTo>
                  <a:cubicBezTo>
                    <a:pt x="402741" y="3990569"/>
                    <a:pt x="402741" y="3990569"/>
                    <a:pt x="429103" y="4027962"/>
                  </a:cubicBezTo>
                  <a:cubicBezTo>
                    <a:pt x="429103" y="4027962"/>
                    <a:pt x="429103" y="4027962"/>
                    <a:pt x="482781" y="4054264"/>
                  </a:cubicBezTo>
                  <a:cubicBezTo>
                    <a:pt x="495803" y="4039053"/>
                    <a:pt x="533282" y="3995006"/>
                    <a:pt x="568220" y="3952860"/>
                  </a:cubicBezTo>
                  <a:cubicBezTo>
                    <a:pt x="582196" y="3936382"/>
                    <a:pt x="595218" y="3919903"/>
                    <a:pt x="606970" y="3905327"/>
                  </a:cubicBezTo>
                  <a:cubicBezTo>
                    <a:pt x="600300" y="3904059"/>
                    <a:pt x="592359" y="3902792"/>
                    <a:pt x="582831" y="3900573"/>
                  </a:cubicBezTo>
                  <a:cubicBezTo>
                    <a:pt x="557739" y="3894236"/>
                    <a:pt x="525659" y="3885363"/>
                    <a:pt x="499932" y="3873638"/>
                  </a:cubicBezTo>
                  <a:close/>
                  <a:moveTo>
                    <a:pt x="3245429" y="3873004"/>
                  </a:moveTo>
                  <a:cubicBezTo>
                    <a:pt x="3245429" y="3873004"/>
                    <a:pt x="3245429" y="3873004"/>
                    <a:pt x="3259404" y="3918953"/>
                  </a:cubicBezTo>
                  <a:cubicBezTo>
                    <a:pt x="3259404" y="3918953"/>
                    <a:pt x="3259404" y="3918953"/>
                    <a:pt x="3236536" y="3925924"/>
                  </a:cubicBezTo>
                  <a:cubicBezTo>
                    <a:pt x="3236536" y="3925924"/>
                    <a:pt x="3236536" y="3925924"/>
                    <a:pt x="3235901" y="3924023"/>
                  </a:cubicBezTo>
                  <a:cubicBezTo>
                    <a:pt x="3235901" y="3924023"/>
                    <a:pt x="3235901" y="3924023"/>
                    <a:pt x="3222243" y="3880292"/>
                  </a:cubicBezTo>
                  <a:close/>
                  <a:moveTo>
                    <a:pt x="1322565" y="3873004"/>
                  </a:moveTo>
                  <a:cubicBezTo>
                    <a:pt x="1322565" y="3873004"/>
                    <a:pt x="1322565" y="3873004"/>
                    <a:pt x="1338764" y="3918636"/>
                  </a:cubicBezTo>
                  <a:cubicBezTo>
                    <a:pt x="1338764" y="3918636"/>
                    <a:pt x="1338764" y="3918636"/>
                    <a:pt x="1319389" y="3935114"/>
                  </a:cubicBezTo>
                  <a:lnTo>
                    <a:pt x="1329553" y="3952860"/>
                  </a:lnTo>
                  <a:cubicBezTo>
                    <a:pt x="1329553" y="3952860"/>
                    <a:pt x="1329553" y="3952860"/>
                    <a:pt x="1307002" y="4006731"/>
                  </a:cubicBezTo>
                  <a:cubicBezTo>
                    <a:pt x="1307002" y="4006731"/>
                    <a:pt x="1307002" y="4006731"/>
                    <a:pt x="1277781" y="3982014"/>
                  </a:cubicBezTo>
                  <a:cubicBezTo>
                    <a:pt x="1277781" y="3982014"/>
                    <a:pt x="1284451" y="3965852"/>
                    <a:pt x="1289215" y="3950008"/>
                  </a:cubicBezTo>
                  <a:cubicBezTo>
                    <a:pt x="1293344" y="3935431"/>
                    <a:pt x="1295567" y="3921488"/>
                    <a:pt x="1297791" y="3912615"/>
                  </a:cubicBezTo>
                  <a:cubicBezTo>
                    <a:pt x="1302555" y="3894552"/>
                    <a:pt x="1322565" y="3873004"/>
                    <a:pt x="1322565" y="3873004"/>
                  </a:cubicBezTo>
                  <a:close/>
                  <a:moveTo>
                    <a:pt x="3023731" y="3872370"/>
                  </a:moveTo>
                  <a:cubicBezTo>
                    <a:pt x="3022143" y="3876807"/>
                    <a:pt x="3019602" y="3882511"/>
                    <a:pt x="3016426" y="3889482"/>
                  </a:cubicBezTo>
                  <a:lnTo>
                    <a:pt x="3070421" y="4047609"/>
                  </a:lnTo>
                  <a:cubicBezTo>
                    <a:pt x="3070421" y="4047609"/>
                    <a:pt x="3070421" y="4047609"/>
                    <a:pt x="3065974" y="4048877"/>
                  </a:cubicBezTo>
                  <a:cubicBezTo>
                    <a:pt x="3065974" y="4048877"/>
                    <a:pt x="3065974" y="4048877"/>
                    <a:pt x="3013885" y="3895503"/>
                  </a:cubicBezTo>
                  <a:cubicBezTo>
                    <a:pt x="3006580" y="3911981"/>
                    <a:pt x="2997369" y="3933213"/>
                    <a:pt x="2987840" y="3955078"/>
                  </a:cubicBezTo>
                  <a:cubicBezTo>
                    <a:pt x="2987840" y="3955078"/>
                    <a:pt x="2987840" y="3955078"/>
                    <a:pt x="3021190" y="4051095"/>
                  </a:cubicBezTo>
                  <a:cubicBezTo>
                    <a:pt x="3053588" y="4050144"/>
                    <a:pt x="3084079" y="4049194"/>
                    <a:pt x="3087255" y="4048877"/>
                  </a:cubicBezTo>
                  <a:cubicBezTo>
                    <a:pt x="3087255" y="4048877"/>
                    <a:pt x="3087255" y="4048877"/>
                    <a:pt x="3118382" y="4039370"/>
                  </a:cubicBezTo>
                  <a:cubicBezTo>
                    <a:pt x="3118382" y="4039370"/>
                    <a:pt x="3118382" y="4039370"/>
                    <a:pt x="3066610" y="3887581"/>
                  </a:cubicBezTo>
                  <a:cubicBezTo>
                    <a:pt x="3050094" y="3883144"/>
                    <a:pt x="3035483" y="3877757"/>
                    <a:pt x="3023731" y="3872370"/>
                  </a:cubicBezTo>
                  <a:close/>
                  <a:moveTo>
                    <a:pt x="1606199" y="3870152"/>
                  </a:moveTo>
                  <a:cubicBezTo>
                    <a:pt x="1606199" y="3870152"/>
                    <a:pt x="1606199" y="3870152"/>
                    <a:pt x="1586189" y="3911031"/>
                  </a:cubicBezTo>
                  <a:cubicBezTo>
                    <a:pt x="1590318" y="3916101"/>
                    <a:pt x="1604928" y="3936065"/>
                    <a:pt x="1610328" y="3975042"/>
                  </a:cubicBezTo>
                  <a:cubicBezTo>
                    <a:pt x="1610645" y="3978845"/>
                    <a:pt x="1610963" y="3982330"/>
                    <a:pt x="1610963" y="3985816"/>
                  </a:cubicBezTo>
                  <a:cubicBezTo>
                    <a:pt x="1610963" y="4020674"/>
                    <a:pt x="1589365" y="4046976"/>
                    <a:pt x="1583012" y="4053947"/>
                  </a:cubicBezTo>
                  <a:cubicBezTo>
                    <a:pt x="1583012" y="4053947"/>
                    <a:pt x="1583012" y="4053947"/>
                    <a:pt x="1591588" y="4061552"/>
                  </a:cubicBezTo>
                  <a:cubicBezTo>
                    <a:pt x="1591588" y="4061552"/>
                    <a:pt x="1591588" y="4061552"/>
                    <a:pt x="1668770" y="4069158"/>
                  </a:cubicBezTo>
                  <a:cubicBezTo>
                    <a:pt x="1668770" y="4069158"/>
                    <a:pt x="1668770" y="4069158"/>
                    <a:pt x="1666229" y="4003245"/>
                  </a:cubicBezTo>
                  <a:cubicBezTo>
                    <a:pt x="1666229" y="4003245"/>
                    <a:pt x="1666229" y="4003245"/>
                    <a:pt x="1643042" y="3989302"/>
                  </a:cubicBezTo>
                  <a:cubicBezTo>
                    <a:pt x="1643042" y="3989302"/>
                    <a:pt x="1643042" y="3989302"/>
                    <a:pt x="1675757" y="3951592"/>
                  </a:cubicBezTo>
                  <a:cubicBezTo>
                    <a:pt x="1675757" y="3951592"/>
                    <a:pt x="1675757" y="3951592"/>
                    <a:pt x="1625891" y="3898355"/>
                  </a:cubicBezTo>
                  <a:cubicBezTo>
                    <a:pt x="1625891" y="3898355"/>
                    <a:pt x="1625891" y="3898355"/>
                    <a:pt x="1687191" y="3901524"/>
                  </a:cubicBezTo>
                  <a:cubicBezTo>
                    <a:pt x="1687191" y="3901524"/>
                    <a:pt x="1687191" y="3901524"/>
                    <a:pt x="1693861" y="3875856"/>
                  </a:cubicBezTo>
                  <a:cubicBezTo>
                    <a:pt x="1693861" y="3875856"/>
                    <a:pt x="1693861" y="3875856"/>
                    <a:pt x="1606199" y="3870152"/>
                  </a:cubicBezTo>
                  <a:close/>
                  <a:moveTo>
                    <a:pt x="1603340" y="3865399"/>
                  </a:moveTo>
                  <a:cubicBezTo>
                    <a:pt x="1603340" y="3865399"/>
                    <a:pt x="1603340" y="3865399"/>
                    <a:pt x="1699579" y="3871420"/>
                  </a:cubicBezTo>
                  <a:cubicBezTo>
                    <a:pt x="1699579" y="3871420"/>
                    <a:pt x="1699579" y="3871420"/>
                    <a:pt x="1690685" y="3906594"/>
                  </a:cubicBezTo>
                  <a:cubicBezTo>
                    <a:pt x="1690685" y="3906594"/>
                    <a:pt x="1690685" y="3906594"/>
                    <a:pt x="1637325" y="3903742"/>
                  </a:cubicBezTo>
                  <a:cubicBezTo>
                    <a:pt x="1637325" y="3903742"/>
                    <a:pt x="1637325" y="3903742"/>
                    <a:pt x="1682110" y="3951592"/>
                  </a:cubicBezTo>
                  <a:cubicBezTo>
                    <a:pt x="1682110" y="3951592"/>
                    <a:pt x="1682110" y="3951592"/>
                    <a:pt x="1650348" y="3988034"/>
                  </a:cubicBezTo>
                  <a:cubicBezTo>
                    <a:pt x="1650348" y="3988034"/>
                    <a:pt x="1650348" y="3988034"/>
                    <a:pt x="1670675" y="4000393"/>
                  </a:cubicBezTo>
                  <a:cubicBezTo>
                    <a:pt x="1670675" y="4000393"/>
                    <a:pt x="1670675" y="4000393"/>
                    <a:pt x="1673534" y="4074545"/>
                  </a:cubicBezTo>
                  <a:cubicBezTo>
                    <a:pt x="1673534" y="4074545"/>
                    <a:pt x="1673534" y="4074545"/>
                    <a:pt x="1670993" y="4074228"/>
                  </a:cubicBezTo>
                  <a:lnTo>
                    <a:pt x="1589682" y="4065989"/>
                  </a:lnTo>
                  <a:cubicBezTo>
                    <a:pt x="1589682" y="4065989"/>
                    <a:pt x="1589682" y="4065989"/>
                    <a:pt x="1576025" y="4054264"/>
                  </a:cubicBezTo>
                  <a:cubicBezTo>
                    <a:pt x="1576025" y="4054264"/>
                    <a:pt x="1576025" y="4054264"/>
                    <a:pt x="1577931" y="4052680"/>
                  </a:cubicBezTo>
                  <a:cubicBezTo>
                    <a:pt x="1577931" y="4052680"/>
                    <a:pt x="1584918" y="4045708"/>
                    <a:pt x="1591906" y="4033666"/>
                  </a:cubicBezTo>
                  <a:cubicBezTo>
                    <a:pt x="1599211" y="4021624"/>
                    <a:pt x="1606199" y="4004829"/>
                    <a:pt x="1606199" y="3985816"/>
                  </a:cubicBezTo>
                  <a:cubicBezTo>
                    <a:pt x="1606199" y="3982647"/>
                    <a:pt x="1605881" y="3979162"/>
                    <a:pt x="1605563" y="3975676"/>
                  </a:cubicBezTo>
                  <a:cubicBezTo>
                    <a:pt x="1602705" y="3953494"/>
                    <a:pt x="1596670" y="3937966"/>
                    <a:pt x="1591271" y="3927826"/>
                  </a:cubicBezTo>
                  <a:cubicBezTo>
                    <a:pt x="1586189" y="3917368"/>
                    <a:pt x="1581742" y="3912932"/>
                    <a:pt x="1581742" y="3912932"/>
                  </a:cubicBezTo>
                  <a:cubicBezTo>
                    <a:pt x="1581742" y="3912932"/>
                    <a:pt x="1581742" y="3912932"/>
                    <a:pt x="1580472" y="3911981"/>
                  </a:cubicBezTo>
                  <a:cubicBezTo>
                    <a:pt x="1580472" y="3911981"/>
                    <a:pt x="1580472" y="3911981"/>
                    <a:pt x="1603340" y="3865399"/>
                  </a:cubicBezTo>
                  <a:close/>
                  <a:moveTo>
                    <a:pt x="287445" y="3864131"/>
                  </a:moveTo>
                  <a:lnTo>
                    <a:pt x="119107" y="3921805"/>
                  </a:lnTo>
                  <a:cubicBezTo>
                    <a:pt x="123236" y="3927192"/>
                    <a:pt x="126730" y="3931945"/>
                    <a:pt x="129271" y="3935748"/>
                  </a:cubicBezTo>
                  <a:cubicBezTo>
                    <a:pt x="133718" y="3941769"/>
                    <a:pt x="140388" y="3951592"/>
                    <a:pt x="148328" y="3963317"/>
                  </a:cubicBezTo>
                  <a:cubicBezTo>
                    <a:pt x="150869" y="3962366"/>
                    <a:pt x="154045" y="3961416"/>
                    <a:pt x="157222" y="3960465"/>
                  </a:cubicBezTo>
                  <a:cubicBezTo>
                    <a:pt x="157222" y="3960465"/>
                    <a:pt x="157222" y="3960465"/>
                    <a:pt x="141658" y="3939234"/>
                  </a:cubicBezTo>
                  <a:cubicBezTo>
                    <a:pt x="141658" y="3939234"/>
                    <a:pt x="141658" y="3939234"/>
                    <a:pt x="143246" y="3937966"/>
                  </a:cubicBezTo>
                  <a:cubicBezTo>
                    <a:pt x="143246" y="3937966"/>
                    <a:pt x="143246" y="3937966"/>
                    <a:pt x="163574" y="3923072"/>
                  </a:cubicBezTo>
                  <a:cubicBezTo>
                    <a:pt x="163574" y="3923072"/>
                    <a:pt x="163574" y="3923072"/>
                    <a:pt x="172467" y="3935114"/>
                  </a:cubicBezTo>
                  <a:cubicBezTo>
                    <a:pt x="172467" y="3935114"/>
                    <a:pt x="172467" y="3935114"/>
                    <a:pt x="183584" y="3926875"/>
                  </a:cubicBezTo>
                  <a:cubicBezTo>
                    <a:pt x="183584" y="3926875"/>
                    <a:pt x="183584" y="3926875"/>
                    <a:pt x="197877" y="3946522"/>
                  </a:cubicBezTo>
                  <a:cubicBezTo>
                    <a:pt x="244249" y="3930361"/>
                    <a:pt x="300785" y="3910080"/>
                    <a:pt x="315713" y="3904693"/>
                  </a:cubicBezTo>
                  <a:cubicBezTo>
                    <a:pt x="315713" y="3904693"/>
                    <a:pt x="315713" y="3904693"/>
                    <a:pt x="287445" y="3864131"/>
                  </a:cubicBezTo>
                  <a:close/>
                  <a:moveTo>
                    <a:pt x="85440" y="3863814"/>
                  </a:moveTo>
                  <a:cubicBezTo>
                    <a:pt x="85440" y="3863814"/>
                    <a:pt x="85440" y="3863814"/>
                    <a:pt x="75276" y="3869201"/>
                  </a:cubicBezTo>
                  <a:cubicBezTo>
                    <a:pt x="80993" y="3874905"/>
                    <a:pt x="87028" y="3881560"/>
                    <a:pt x="92745" y="3888532"/>
                  </a:cubicBezTo>
                  <a:cubicBezTo>
                    <a:pt x="92745" y="3888532"/>
                    <a:pt x="92745" y="3888532"/>
                    <a:pt x="101321" y="3885046"/>
                  </a:cubicBezTo>
                  <a:cubicBezTo>
                    <a:pt x="101321" y="3885046"/>
                    <a:pt x="101321" y="3885046"/>
                    <a:pt x="85440" y="3863814"/>
                  </a:cubicBezTo>
                  <a:close/>
                  <a:moveTo>
                    <a:pt x="3261628" y="3862864"/>
                  </a:moveTo>
                  <a:cubicBezTo>
                    <a:pt x="3245112" y="3868251"/>
                    <a:pt x="3230501" y="3873004"/>
                    <a:pt x="3217479" y="3876807"/>
                  </a:cubicBezTo>
                  <a:cubicBezTo>
                    <a:pt x="3217479" y="3876807"/>
                    <a:pt x="3217479" y="3876807"/>
                    <a:pt x="3256228" y="3995957"/>
                  </a:cubicBezTo>
                  <a:cubicBezTo>
                    <a:pt x="3256228" y="3995957"/>
                    <a:pt x="3256228" y="3995957"/>
                    <a:pt x="3252099" y="3997224"/>
                  </a:cubicBezTo>
                  <a:cubicBezTo>
                    <a:pt x="3252099" y="3997224"/>
                    <a:pt x="3252099" y="3997224"/>
                    <a:pt x="3213350" y="3878391"/>
                  </a:cubicBezTo>
                  <a:cubicBezTo>
                    <a:pt x="3200010" y="3882511"/>
                    <a:pt x="3188893" y="3885996"/>
                    <a:pt x="3181270" y="3888532"/>
                  </a:cubicBezTo>
                  <a:cubicBezTo>
                    <a:pt x="3178094" y="3889482"/>
                    <a:pt x="3174600" y="3890116"/>
                    <a:pt x="3171424" y="3891067"/>
                  </a:cubicBezTo>
                  <a:cubicBezTo>
                    <a:pt x="3171424" y="3891067"/>
                    <a:pt x="3171424" y="3891067"/>
                    <a:pt x="3210174" y="4010533"/>
                  </a:cubicBezTo>
                  <a:cubicBezTo>
                    <a:pt x="3210174" y="4010533"/>
                    <a:pt x="3210174" y="4010533"/>
                    <a:pt x="3206044" y="4011801"/>
                  </a:cubicBezTo>
                  <a:cubicBezTo>
                    <a:pt x="3206044" y="4011801"/>
                    <a:pt x="3206044" y="4011801"/>
                    <a:pt x="3167295" y="3892017"/>
                  </a:cubicBezTo>
                  <a:cubicBezTo>
                    <a:pt x="3153955" y="3894869"/>
                    <a:pt x="3140615" y="3896137"/>
                    <a:pt x="3127593" y="3896137"/>
                  </a:cubicBezTo>
                  <a:cubicBezTo>
                    <a:pt x="3126958" y="3896137"/>
                    <a:pt x="3126004" y="3896137"/>
                    <a:pt x="3125369" y="3896137"/>
                  </a:cubicBezTo>
                  <a:cubicBezTo>
                    <a:pt x="3125369" y="3896137"/>
                    <a:pt x="3125369" y="3896137"/>
                    <a:pt x="3166978" y="4024160"/>
                  </a:cubicBezTo>
                  <a:lnTo>
                    <a:pt x="3300377" y="3982330"/>
                  </a:lnTo>
                  <a:cubicBezTo>
                    <a:pt x="3300377" y="3982330"/>
                    <a:pt x="3300377" y="3982330"/>
                    <a:pt x="3261628" y="3862864"/>
                  </a:cubicBezTo>
                  <a:close/>
                  <a:moveTo>
                    <a:pt x="1249513" y="3860962"/>
                  </a:moveTo>
                  <a:cubicBezTo>
                    <a:pt x="1249513" y="3860962"/>
                    <a:pt x="1249513" y="3860962"/>
                    <a:pt x="1241255" y="3871420"/>
                  </a:cubicBezTo>
                  <a:cubicBezTo>
                    <a:pt x="1241255" y="3871420"/>
                    <a:pt x="1241255" y="3871420"/>
                    <a:pt x="1274287" y="3898355"/>
                  </a:cubicBezTo>
                  <a:cubicBezTo>
                    <a:pt x="1274287" y="3898355"/>
                    <a:pt x="1274287" y="3898355"/>
                    <a:pt x="1241890" y="3938600"/>
                  </a:cubicBezTo>
                  <a:cubicBezTo>
                    <a:pt x="1241890" y="3938600"/>
                    <a:pt x="1241890" y="3938600"/>
                    <a:pt x="1209810" y="3912615"/>
                  </a:cubicBezTo>
                  <a:lnTo>
                    <a:pt x="1207269" y="3915784"/>
                  </a:lnTo>
                  <a:cubicBezTo>
                    <a:pt x="1207269" y="3915784"/>
                    <a:pt x="1207269" y="3915784"/>
                    <a:pt x="1212351" y="3920854"/>
                  </a:cubicBezTo>
                  <a:cubicBezTo>
                    <a:pt x="1212351" y="3920854"/>
                    <a:pt x="1212351" y="3920854"/>
                    <a:pt x="1236808" y="4001344"/>
                  </a:cubicBezTo>
                  <a:cubicBezTo>
                    <a:pt x="1249513" y="3987401"/>
                    <a:pt x="1251736" y="3977577"/>
                    <a:pt x="1255865" y="3967120"/>
                  </a:cubicBezTo>
                  <a:cubicBezTo>
                    <a:pt x="1259994" y="3955712"/>
                    <a:pt x="1269840" y="3919270"/>
                    <a:pt x="1273652" y="3908496"/>
                  </a:cubicBezTo>
                  <a:cubicBezTo>
                    <a:pt x="1275240" y="3903742"/>
                    <a:pt x="1277146" y="3896137"/>
                    <a:pt x="1280639" y="3887898"/>
                  </a:cubicBezTo>
                  <a:cubicBezTo>
                    <a:pt x="1274287" y="3882511"/>
                    <a:pt x="1260947" y="3871103"/>
                    <a:pt x="1249513" y="3860962"/>
                  </a:cubicBezTo>
                  <a:close/>
                  <a:moveTo>
                    <a:pt x="3301330" y="3859061"/>
                  </a:moveTo>
                  <a:cubicBezTo>
                    <a:pt x="3301330" y="3859061"/>
                    <a:pt x="3301330" y="3859061"/>
                    <a:pt x="3286084" y="3863497"/>
                  </a:cubicBezTo>
                  <a:lnTo>
                    <a:pt x="3297836" y="3901524"/>
                  </a:lnTo>
                  <a:cubicBezTo>
                    <a:pt x="3297836" y="3901524"/>
                    <a:pt x="3297836" y="3901524"/>
                    <a:pt x="3313082" y="3896771"/>
                  </a:cubicBezTo>
                  <a:cubicBezTo>
                    <a:pt x="3313082" y="3896771"/>
                    <a:pt x="3313082" y="3896771"/>
                    <a:pt x="3301330" y="3859061"/>
                  </a:cubicBezTo>
                  <a:close/>
                  <a:moveTo>
                    <a:pt x="1777078" y="3858427"/>
                  </a:moveTo>
                  <a:lnTo>
                    <a:pt x="1774537" y="3874905"/>
                  </a:lnTo>
                  <a:cubicBezTo>
                    <a:pt x="1774537" y="3874905"/>
                    <a:pt x="1774537" y="3874905"/>
                    <a:pt x="1771043" y="3874272"/>
                  </a:cubicBezTo>
                  <a:cubicBezTo>
                    <a:pt x="1771043" y="3874272"/>
                    <a:pt x="1771043" y="3874272"/>
                    <a:pt x="1766596" y="3902792"/>
                  </a:cubicBezTo>
                  <a:cubicBezTo>
                    <a:pt x="1766596" y="3902792"/>
                    <a:pt x="1766596" y="3902792"/>
                    <a:pt x="1796770" y="3906911"/>
                  </a:cubicBezTo>
                  <a:cubicBezTo>
                    <a:pt x="1796770" y="3906911"/>
                    <a:pt x="1796770" y="3906911"/>
                    <a:pt x="1799946" y="3889165"/>
                  </a:cubicBezTo>
                  <a:cubicBezTo>
                    <a:pt x="1799946" y="3889165"/>
                    <a:pt x="1799946" y="3889165"/>
                    <a:pt x="1822815" y="3892651"/>
                  </a:cubicBezTo>
                  <a:cubicBezTo>
                    <a:pt x="1822815" y="3892651"/>
                    <a:pt x="1822815" y="3892651"/>
                    <a:pt x="1826944" y="3866666"/>
                  </a:cubicBezTo>
                  <a:cubicBezTo>
                    <a:pt x="1826944" y="3866666"/>
                    <a:pt x="1826944" y="3866666"/>
                    <a:pt x="1777078" y="3858427"/>
                  </a:cubicBezTo>
                  <a:close/>
                  <a:moveTo>
                    <a:pt x="3304189" y="3853674"/>
                  </a:moveTo>
                  <a:lnTo>
                    <a:pt x="3318164" y="3899623"/>
                  </a:lnTo>
                  <a:cubicBezTo>
                    <a:pt x="3318164" y="3899623"/>
                    <a:pt x="3318164" y="3899623"/>
                    <a:pt x="3295296" y="3906594"/>
                  </a:cubicBezTo>
                  <a:cubicBezTo>
                    <a:pt x="3295296" y="3906594"/>
                    <a:pt x="3295296" y="3906594"/>
                    <a:pt x="3294660" y="3904693"/>
                  </a:cubicBezTo>
                  <a:cubicBezTo>
                    <a:pt x="3294660" y="3904693"/>
                    <a:pt x="3294660" y="3904693"/>
                    <a:pt x="3281002" y="3860645"/>
                  </a:cubicBezTo>
                  <a:cubicBezTo>
                    <a:pt x="3281002" y="3860645"/>
                    <a:pt x="3281002" y="3860645"/>
                    <a:pt x="3304189" y="3853674"/>
                  </a:cubicBezTo>
                  <a:close/>
                  <a:moveTo>
                    <a:pt x="1907937" y="3853674"/>
                  </a:moveTo>
                  <a:cubicBezTo>
                    <a:pt x="1905396" y="3873638"/>
                    <a:pt x="1902855" y="3895186"/>
                    <a:pt x="1899996" y="3917685"/>
                  </a:cubicBezTo>
                  <a:cubicBezTo>
                    <a:pt x="1899996" y="3917685"/>
                    <a:pt x="1899996" y="3917685"/>
                    <a:pt x="1910795" y="3918319"/>
                  </a:cubicBezTo>
                  <a:cubicBezTo>
                    <a:pt x="1910795" y="3918319"/>
                    <a:pt x="1910795" y="3918319"/>
                    <a:pt x="1915559" y="3872370"/>
                  </a:cubicBezTo>
                  <a:cubicBezTo>
                    <a:pt x="1915559" y="3872370"/>
                    <a:pt x="1915559" y="3872370"/>
                    <a:pt x="1966061" y="3877440"/>
                  </a:cubicBezTo>
                  <a:cubicBezTo>
                    <a:pt x="1966061" y="3877440"/>
                    <a:pt x="1966061" y="3877440"/>
                    <a:pt x="1965743" y="3879659"/>
                  </a:cubicBezTo>
                  <a:cubicBezTo>
                    <a:pt x="1965743" y="3879659"/>
                    <a:pt x="1965743" y="3879659"/>
                    <a:pt x="1961614" y="3922439"/>
                  </a:cubicBezTo>
                  <a:cubicBezTo>
                    <a:pt x="1961614" y="3922439"/>
                    <a:pt x="1961614" y="3922439"/>
                    <a:pt x="2075322" y="3930995"/>
                  </a:cubicBezTo>
                  <a:lnTo>
                    <a:pt x="2081992" y="3866666"/>
                  </a:lnTo>
                  <a:cubicBezTo>
                    <a:pt x="2081992" y="3866666"/>
                    <a:pt x="2081992" y="3866666"/>
                    <a:pt x="1907937" y="3853674"/>
                  </a:cubicBezTo>
                  <a:close/>
                  <a:moveTo>
                    <a:pt x="1773584" y="3853674"/>
                  </a:moveTo>
                  <a:cubicBezTo>
                    <a:pt x="1773584" y="3853674"/>
                    <a:pt x="1773584" y="3853674"/>
                    <a:pt x="1831708" y="3863181"/>
                  </a:cubicBezTo>
                  <a:cubicBezTo>
                    <a:pt x="1831708" y="3863181"/>
                    <a:pt x="1831708" y="3863181"/>
                    <a:pt x="1826308" y="3897404"/>
                  </a:cubicBezTo>
                  <a:cubicBezTo>
                    <a:pt x="1826308" y="3897404"/>
                    <a:pt x="1826308" y="3897404"/>
                    <a:pt x="1803440" y="3893919"/>
                  </a:cubicBezTo>
                  <a:cubicBezTo>
                    <a:pt x="1803440" y="3893919"/>
                    <a:pt x="1803440" y="3893919"/>
                    <a:pt x="1800264" y="3911664"/>
                  </a:cubicBezTo>
                  <a:cubicBezTo>
                    <a:pt x="1800264" y="3911664"/>
                    <a:pt x="1800264" y="3911664"/>
                    <a:pt x="1798358" y="3911348"/>
                  </a:cubicBezTo>
                  <a:cubicBezTo>
                    <a:pt x="1798358" y="3911348"/>
                    <a:pt x="1798358" y="3911348"/>
                    <a:pt x="1761832" y="3906277"/>
                  </a:cubicBezTo>
                  <a:cubicBezTo>
                    <a:pt x="1761832" y="3906277"/>
                    <a:pt x="1761832" y="3906277"/>
                    <a:pt x="1767867" y="3869518"/>
                  </a:cubicBezTo>
                  <a:cubicBezTo>
                    <a:pt x="1767867" y="3869518"/>
                    <a:pt x="1767867" y="3869518"/>
                    <a:pt x="1771043" y="3870152"/>
                  </a:cubicBezTo>
                  <a:close/>
                  <a:moveTo>
                    <a:pt x="106403" y="3853040"/>
                  </a:moveTo>
                  <a:cubicBezTo>
                    <a:pt x="106403" y="3853040"/>
                    <a:pt x="106403" y="3853040"/>
                    <a:pt x="102274" y="3855258"/>
                  </a:cubicBezTo>
                  <a:cubicBezTo>
                    <a:pt x="102274" y="3855258"/>
                    <a:pt x="102274" y="3855258"/>
                    <a:pt x="90839" y="3863814"/>
                  </a:cubicBezTo>
                  <a:cubicBezTo>
                    <a:pt x="90839" y="3863814"/>
                    <a:pt x="90839" y="3863814"/>
                    <a:pt x="105450" y="3883461"/>
                  </a:cubicBezTo>
                  <a:cubicBezTo>
                    <a:pt x="105450" y="3883461"/>
                    <a:pt x="105450" y="3883461"/>
                    <a:pt x="136894" y="3871103"/>
                  </a:cubicBezTo>
                  <a:cubicBezTo>
                    <a:pt x="136894" y="3871103"/>
                    <a:pt x="136894" y="3871103"/>
                    <a:pt x="125777" y="3856209"/>
                  </a:cubicBezTo>
                  <a:cubicBezTo>
                    <a:pt x="125777" y="3856209"/>
                    <a:pt x="125777" y="3856209"/>
                    <a:pt x="114978" y="3864448"/>
                  </a:cubicBezTo>
                  <a:close/>
                  <a:moveTo>
                    <a:pt x="1325741" y="3852089"/>
                  </a:moveTo>
                  <a:cubicBezTo>
                    <a:pt x="1325424" y="3852406"/>
                    <a:pt x="1325106" y="3852723"/>
                    <a:pt x="1324788" y="3853040"/>
                  </a:cubicBezTo>
                  <a:cubicBezTo>
                    <a:pt x="1318118" y="3859061"/>
                    <a:pt x="1311131" y="3866349"/>
                    <a:pt x="1306366" y="3872053"/>
                  </a:cubicBezTo>
                  <a:cubicBezTo>
                    <a:pt x="1294615" y="3885680"/>
                    <a:pt x="1290803" y="3902475"/>
                    <a:pt x="1286992" y="3913249"/>
                  </a:cubicBezTo>
                  <a:cubicBezTo>
                    <a:pt x="1283816" y="3922755"/>
                    <a:pt x="1273969" y="3959198"/>
                    <a:pt x="1269205" y="3971873"/>
                  </a:cubicBezTo>
                  <a:cubicBezTo>
                    <a:pt x="1268252" y="3975042"/>
                    <a:pt x="1266982" y="3978211"/>
                    <a:pt x="1265711" y="3981697"/>
                  </a:cubicBezTo>
                  <a:cubicBezTo>
                    <a:pt x="1272699" y="3988351"/>
                    <a:pt x="1303190" y="4016237"/>
                    <a:pt x="1325424" y="4035884"/>
                  </a:cubicBezTo>
                  <a:cubicBezTo>
                    <a:pt x="1332411" y="4042222"/>
                    <a:pt x="1338446" y="4047292"/>
                    <a:pt x="1342893" y="4051095"/>
                  </a:cubicBezTo>
                  <a:cubicBezTo>
                    <a:pt x="1345116" y="4052996"/>
                    <a:pt x="1347022" y="4054264"/>
                    <a:pt x="1348292" y="4055531"/>
                  </a:cubicBezTo>
                  <a:cubicBezTo>
                    <a:pt x="1348927" y="4055848"/>
                    <a:pt x="1349245" y="4056165"/>
                    <a:pt x="1349880" y="4056799"/>
                  </a:cubicBezTo>
                  <a:cubicBezTo>
                    <a:pt x="1349880" y="4056799"/>
                    <a:pt x="1350198" y="4056799"/>
                    <a:pt x="1350198" y="4057116"/>
                  </a:cubicBezTo>
                  <a:cubicBezTo>
                    <a:pt x="1350515" y="4057116"/>
                    <a:pt x="1350515" y="4057433"/>
                    <a:pt x="1350833" y="4057433"/>
                  </a:cubicBezTo>
                  <a:cubicBezTo>
                    <a:pt x="1350833" y="4057750"/>
                    <a:pt x="1351151" y="4057750"/>
                    <a:pt x="1351468" y="4058383"/>
                  </a:cubicBezTo>
                  <a:cubicBezTo>
                    <a:pt x="1351468" y="4058383"/>
                    <a:pt x="1351468" y="4058383"/>
                    <a:pt x="1351468" y="4058700"/>
                  </a:cubicBezTo>
                  <a:cubicBezTo>
                    <a:pt x="1351468" y="4058700"/>
                    <a:pt x="1351786" y="4058700"/>
                    <a:pt x="1351786" y="4059017"/>
                  </a:cubicBezTo>
                  <a:cubicBezTo>
                    <a:pt x="1353056" y="4060285"/>
                    <a:pt x="1357185" y="4065355"/>
                    <a:pt x="1361315" y="4071376"/>
                  </a:cubicBezTo>
                  <a:cubicBezTo>
                    <a:pt x="1365761" y="4078347"/>
                    <a:pt x="1370525" y="4086587"/>
                    <a:pt x="1370525" y="4096410"/>
                  </a:cubicBezTo>
                  <a:cubicBezTo>
                    <a:pt x="1370525" y="4096410"/>
                    <a:pt x="1370525" y="4096410"/>
                    <a:pt x="1395300" y="4103382"/>
                  </a:cubicBezTo>
                  <a:cubicBezTo>
                    <a:pt x="1394982" y="4101163"/>
                    <a:pt x="1394982" y="4097994"/>
                    <a:pt x="1394982" y="4094509"/>
                  </a:cubicBezTo>
                  <a:cubicBezTo>
                    <a:pt x="1394982" y="4075495"/>
                    <a:pt x="1395935" y="4042222"/>
                    <a:pt x="1395935" y="4035568"/>
                  </a:cubicBezTo>
                  <a:lnTo>
                    <a:pt x="1362267" y="4006097"/>
                  </a:lnTo>
                  <a:cubicBezTo>
                    <a:pt x="1362267" y="4006097"/>
                    <a:pt x="1362267" y="4006097"/>
                    <a:pt x="1366079" y="3985499"/>
                  </a:cubicBezTo>
                  <a:cubicBezTo>
                    <a:pt x="1366079" y="3985499"/>
                    <a:pt x="1366079" y="3985499"/>
                    <a:pt x="1336858" y="3934480"/>
                  </a:cubicBezTo>
                  <a:cubicBezTo>
                    <a:pt x="1336858" y="3934480"/>
                    <a:pt x="1336858" y="3934480"/>
                    <a:pt x="1354962" y="3921171"/>
                  </a:cubicBezTo>
                  <a:cubicBezTo>
                    <a:pt x="1354962" y="3921171"/>
                    <a:pt x="1354962" y="3921171"/>
                    <a:pt x="1325741" y="3852089"/>
                  </a:cubicBezTo>
                  <a:close/>
                  <a:moveTo>
                    <a:pt x="462453" y="3850505"/>
                  </a:moveTo>
                  <a:cubicBezTo>
                    <a:pt x="462453" y="3850505"/>
                    <a:pt x="462453" y="3850505"/>
                    <a:pt x="369709" y="3943987"/>
                  </a:cubicBezTo>
                  <a:cubicBezTo>
                    <a:pt x="369709" y="3943987"/>
                    <a:pt x="369709" y="3943987"/>
                    <a:pt x="399565" y="3986133"/>
                  </a:cubicBezTo>
                  <a:cubicBezTo>
                    <a:pt x="399565" y="3986133"/>
                    <a:pt x="399565" y="3986133"/>
                    <a:pt x="489451" y="3958881"/>
                  </a:cubicBezTo>
                  <a:cubicBezTo>
                    <a:pt x="489451" y="3958881"/>
                    <a:pt x="489451" y="3958881"/>
                    <a:pt x="494850" y="3871103"/>
                  </a:cubicBezTo>
                  <a:cubicBezTo>
                    <a:pt x="488498" y="3867934"/>
                    <a:pt x="482146" y="3864448"/>
                    <a:pt x="476746" y="3860962"/>
                  </a:cubicBezTo>
                  <a:cubicBezTo>
                    <a:pt x="471347" y="3857477"/>
                    <a:pt x="466900" y="3853991"/>
                    <a:pt x="462453" y="3850505"/>
                  </a:cubicBezTo>
                  <a:close/>
                  <a:moveTo>
                    <a:pt x="3334362" y="3848604"/>
                  </a:moveTo>
                  <a:cubicBezTo>
                    <a:pt x="3334362" y="3848604"/>
                    <a:pt x="3334362" y="3848604"/>
                    <a:pt x="3319434" y="3853357"/>
                  </a:cubicBezTo>
                  <a:lnTo>
                    <a:pt x="3331186" y="3891067"/>
                  </a:lnTo>
                  <a:cubicBezTo>
                    <a:pt x="3331186" y="3891067"/>
                    <a:pt x="3331186" y="3891067"/>
                    <a:pt x="3346114" y="3886630"/>
                  </a:cubicBezTo>
                  <a:cubicBezTo>
                    <a:pt x="3346114" y="3886630"/>
                    <a:pt x="3346114" y="3886630"/>
                    <a:pt x="3334362" y="3848604"/>
                  </a:cubicBezTo>
                  <a:close/>
                  <a:moveTo>
                    <a:pt x="3306412" y="3848287"/>
                  </a:moveTo>
                  <a:cubicBezTo>
                    <a:pt x="3292119" y="3853040"/>
                    <a:pt x="3278462" y="3857477"/>
                    <a:pt x="3266074" y="3861596"/>
                  </a:cubicBezTo>
                  <a:lnTo>
                    <a:pt x="3304824" y="3981063"/>
                  </a:lnTo>
                  <a:cubicBezTo>
                    <a:pt x="3304824" y="3981063"/>
                    <a:pt x="3304824" y="3981063"/>
                    <a:pt x="3345479" y="3968387"/>
                  </a:cubicBezTo>
                  <a:cubicBezTo>
                    <a:pt x="3345479" y="3968387"/>
                    <a:pt x="3345479" y="3968387"/>
                    <a:pt x="3306412" y="3848287"/>
                  </a:cubicBezTo>
                  <a:close/>
                  <a:moveTo>
                    <a:pt x="3337221" y="3843533"/>
                  </a:moveTo>
                  <a:lnTo>
                    <a:pt x="3351196" y="3889165"/>
                  </a:lnTo>
                  <a:cubicBezTo>
                    <a:pt x="3351196" y="3889165"/>
                    <a:pt x="3351196" y="3889165"/>
                    <a:pt x="3328328" y="3896454"/>
                  </a:cubicBezTo>
                  <a:cubicBezTo>
                    <a:pt x="3328328" y="3896454"/>
                    <a:pt x="3328328" y="3896454"/>
                    <a:pt x="3327692" y="3894236"/>
                  </a:cubicBezTo>
                  <a:cubicBezTo>
                    <a:pt x="3327692" y="3894236"/>
                    <a:pt x="3327692" y="3894236"/>
                    <a:pt x="3314035" y="3850505"/>
                  </a:cubicBezTo>
                  <a:cubicBezTo>
                    <a:pt x="3314035" y="3850505"/>
                    <a:pt x="3314035" y="3850505"/>
                    <a:pt x="3337221" y="3843533"/>
                  </a:cubicBezTo>
                  <a:close/>
                  <a:moveTo>
                    <a:pt x="4504152" y="3839731"/>
                  </a:moveTo>
                  <a:cubicBezTo>
                    <a:pt x="4504152" y="3839731"/>
                    <a:pt x="4504152" y="3839731"/>
                    <a:pt x="3725986" y="4056799"/>
                  </a:cubicBezTo>
                  <a:cubicBezTo>
                    <a:pt x="3741868" y="4074228"/>
                    <a:pt x="3764101" y="4096727"/>
                    <a:pt x="3783793" y="4116057"/>
                  </a:cubicBezTo>
                  <a:cubicBezTo>
                    <a:pt x="3804756" y="4136655"/>
                    <a:pt x="3822860" y="4153767"/>
                    <a:pt x="3826672" y="4157253"/>
                  </a:cubicBezTo>
                  <a:cubicBezTo>
                    <a:pt x="3833342" y="4161689"/>
                    <a:pt x="3878126" y="4189575"/>
                    <a:pt x="3926722" y="4219046"/>
                  </a:cubicBezTo>
                  <a:cubicBezTo>
                    <a:pt x="3979129" y="4251051"/>
                    <a:pt x="4036936" y="4285275"/>
                    <a:pt x="4052499" y="4292247"/>
                  </a:cubicBezTo>
                  <a:cubicBezTo>
                    <a:pt x="4076956" y="4302387"/>
                    <a:pt x="4085531" y="4317598"/>
                    <a:pt x="4085214" y="4329006"/>
                  </a:cubicBezTo>
                  <a:cubicBezTo>
                    <a:pt x="4085214" y="4333759"/>
                    <a:pt x="4083943" y="4337245"/>
                    <a:pt x="4082990" y="4339146"/>
                  </a:cubicBezTo>
                  <a:cubicBezTo>
                    <a:pt x="4082990" y="4339146"/>
                    <a:pt x="4082990" y="4339146"/>
                    <a:pt x="4060757" y="4403475"/>
                  </a:cubicBezTo>
                  <a:cubicBezTo>
                    <a:pt x="4060757" y="4403475"/>
                    <a:pt x="4060757" y="4403475"/>
                    <a:pt x="4002315" y="4492520"/>
                  </a:cubicBezTo>
                  <a:cubicBezTo>
                    <a:pt x="4002315" y="4492520"/>
                    <a:pt x="4002315" y="4492520"/>
                    <a:pt x="4020102" y="4573010"/>
                  </a:cubicBezTo>
                  <a:cubicBezTo>
                    <a:pt x="4020102" y="4573010"/>
                    <a:pt x="4020102" y="4573010"/>
                    <a:pt x="4004856" y="4570158"/>
                  </a:cubicBezTo>
                  <a:cubicBezTo>
                    <a:pt x="4004538" y="4570158"/>
                    <a:pt x="3957531" y="4561602"/>
                    <a:pt x="3902265" y="4551778"/>
                  </a:cubicBezTo>
                  <a:cubicBezTo>
                    <a:pt x="3846999" y="4541955"/>
                    <a:pt x="3783476" y="4530863"/>
                    <a:pt x="3751714" y="4525793"/>
                  </a:cubicBezTo>
                  <a:cubicBezTo>
                    <a:pt x="3748855" y="4525476"/>
                    <a:pt x="3746314" y="4525159"/>
                    <a:pt x="3743773" y="4525159"/>
                  </a:cubicBezTo>
                  <a:cubicBezTo>
                    <a:pt x="3732656" y="4525476"/>
                    <a:pt x="3725034" y="4528962"/>
                    <a:pt x="3718364" y="4534666"/>
                  </a:cubicBezTo>
                  <a:cubicBezTo>
                    <a:pt x="3708835" y="4543539"/>
                    <a:pt x="3702483" y="4558433"/>
                    <a:pt x="3699306" y="4571108"/>
                  </a:cubicBezTo>
                  <a:cubicBezTo>
                    <a:pt x="3697718" y="4577446"/>
                    <a:pt x="3696766" y="4583467"/>
                    <a:pt x="3696130" y="4587586"/>
                  </a:cubicBezTo>
                  <a:cubicBezTo>
                    <a:pt x="3695813" y="4590755"/>
                    <a:pt x="3695495" y="4592657"/>
                    <a:pt x="3695495" y="4593607"/>
                  </a:cubicBezTo>
                  <a:cubicBezTo>
                    <a:pt x="3695495" y="4593607"/>
                    <a:pt x="3695495" y="4593607"/>
                    <a:pt x="3702165" y="4711490"/>
                  </a:cubicBezTo>
                  <a:cubicBezTo>
                    <a:pt x="3759654" y="4739376"/>
                    <a:pt x="3776806" y="4781205"/>
                    <a:pt x="3776170" y="4815112"/>
                  </a:cubicBezTo>
                  <a:cubicBezTo>
                    <a:pt x="3776170" y="4847434"/>
                    <a:pt x="3762513" y="4872152"/>
                    <a:pt x="3760925" y="4874687"/>
                  </a:cubicBezTo>
                  <a:cubicBezTo>
                    <a:pt x="3760925" y="4874687"/>
                    <a:pt x="3760925" y="4874687"/>
                    <a:pt x="3630701" y="5124078"/>
                  </a:cubicBezTo>
                  <a:cubicBezTo>
                    <a:pt x="3705341" y="5185871"/>
                    <a:pt x="3731704" y="5243861"/>
                    <a:pt x="3732021" y="5244812"/>
                  </a:cubicBezTo>
                  <a:cubicBezTo>
                    <a:pt x="3732021" y="5244812"/>
                    <a:pt x="3732021" y="5244812"/>
                    <a:pt x="3748220" y="5282522"/>
                  </a:cubicBezTo>
                  <a:cubicBezTo>
                    <a:pt x="3756796" y="5279353"/>
                    <a:pt x="3784746" y="5268579"/>
                    <a:pt x="3816190" y="5256220"/>
                  </a:cubicBezTo>
                  <a:cubicBezTo>
                    <a:pt x="3853987" y="5241326"/>
                    <a:pt x="3897183" y="5223897"/>
                    <a:pt x="3915605" y="5214708"/>
                  </a:cubicBezTo>
                  <a:cubicBezTo>
                    <a:pt x="3934027" y="5205518"/>
                    <a:pt x="3944508" y="5199814"/>
                    <a:pt x="3949272" y="5194110"/>
                  </a:cubicBezTo>
                  <a:cubicBezTo>
                    <a:pt x="3953719" y="5189040"/>
                    <a:pt x="3955942" y="5182068"/>
                    <a:pt x="3955942" y="5164322"/>
                  </a:cubicBezTo>
                  <a:cubicBezTo>
                    <a:pt x="3955942" y="5161787"/>
                    <a:pt x="3955942" y="5158935"/>
                    <a:pt x="3955942" y="5156083"/>
                  </a:cubicBezTo>
                  <a:cubicBezTo>
                    <a:pt x="3955942" y="5155450"/>
                    <a:pt x="3955942" y="5154816"/>
                    <a:pt x="3955942" y="5153865"/>
                  </a:cubicBezTo>
                  <a:cubicBezTo>
                    <a:pt x="3955625" y="5128514"/>
                    <a:pt x="3969600" y="5112036"/>
                    <a:pt x="3982622" y="5103163"/>
                  </a:cubicBezTo>
                  <a:cubicBezTo>
                    <a:pt x="3995645" y="5094290"/>
                    <a:pt x="4008032" y="5091755"/>
                    <a:pt x="4008667" y="5091438"/>
                  </a:cubicBezTo>
                  <a:cubicBezTo>
                    <a:pt x="4008667" y="5091438"/>
                    <a:pt x="4008667" y="5091438"/>
                    <a:pt x="4009620" y="5091438"/>
                  </a:cubicBezTo>
                  <a:cubicBezTo>
                    <a:pt x="4009620" y="5091438"/>
                    <a:pt x="4009620" y="5091438"/>
                    <a:pt x="4329462" y="5080664"/>
                  </a:cubicBezTo>
                  <a:cubicBezTo>
                    <a:pt x="4327874" y="5072425"/>
                    <a:pt x="4324698" y="5051193"/>
                    <a:pt x="4324698" y="5013167"/>
                  </a:cubicBezTo>
                  <a:cubicBezTo>
                    <a:pt x="4324698" y="4971971"/>
                    <a:pt x="4328192" y="4910812"/>
                    <a:pt x="4342167" y="4824619"/>
                  </a:cubicBezTo>
                  <a:cubicBezTo>
                    <a:pt x="4368847" y="4656034"/>
                    <a:pt x="4484778" y="3956346"/>
                    <a:pt x="4504152" y="3839731"/>
                  </a:cubicBezTo>
                  <a:close/>
                  <a:moveTo>
                    <a:pt x="1588412" y="3839414"/>
                  </a:moveTo>
                  <a:cubicBezTo>
                    <a:pt x="1582377" y="3847970"/>
                    <a:pt x="1576342" y="3856526"/>
                    <a:pt x="1570943" y="3864448"/>
                  </a:cubicBezTo>
                  <a:cubicBezTo>
                    <a:pt x="1562685" y="3876490"/>
                    <a:pt x="1560144" y="3886630"/>
                    <a:pt x="1560144" y="3897721"/>
                  </a:cubicBezTo>
                  <a:cubicBezTo>
                    <a:pt x="1560144" y="3911981"/>
                    <a:pt x="1564908" y="3928459"/>
                    <a:pt x="1570943" y="3949374"/>
                  </a:cubicBezTo>
                  <a:cubicBezTo>
                    <a:pt x="1575072" y="3963951"/>
                    <a:pt x="1576978" y="3977260"/>
                    <a:pt x="1576978" y="3988985"/>
                  </a:cubicBezTo>
                  <a:cubicBezTo>
                    <a:pt x="1576978" y="4021941"/>
                    <a:pt x="1561732" y="4044124"/>
                    <a:pt x="1547439" y="4061552"/>
                  </a:cubicBezTo>
                  <a:cubicBezTo>
                    <a:pt x="1551568" y="4065989"/>
                    <a:pt x="1555380" y="4070425"/>
                    <a:pt x="1558873" y="4074862"/>
                  </a:cubicBezTo>
                  <a:cubicBezTo>
                    <a:pt x="1591588" y="4079298"/>
                    <a:pt x="1694814" y="4094192"/>
                    <a:pt x="1697355" y="4094826"/>
                  </a:cubicBezTo>
                  <a:cubicBezTo>
                    <a:pt x="1697355" y="4094826"/>
                    <a:pt x="1698626" y="4095142"/>
                    <a:pt x="1700531" y="4095459"/>
                  </a:cubicBezTo>
                  <a:cubicBezTo>
                    <a:pt x="1700531" y="4095459"/>
                    <a:pt x="1700531" y="4095459"/>
                    <a:pt x="1690685" y="4000076"/>
                  </a:cubicBezTo>
                  <a:cubicBezTo>
                    <a:pt x="1690685" y="4000076"/>
                    <a:pt x="1690685" y="4000076"/>
                    <a:pt x="1721494" y="3848287"/>
                  </a:cubicBezTo>
                  <a:cubicBezTo>
                    <a:pt x="1704660" y="3847019"/>
                    <a:pt x="1615092" y="3840682"/>
                    <a:pt x="1588412" y="3839414"/>
                  </a:cubicBezTo>
                  <a:close/>
                  <a:moveTo>
                    <a:pt x="1208540" y="3838780"/>
                  </a:moveTo>
                  <a:cubicBezTo>
                    <a:pt x="1208540" y="3838780"/>
                    <a:pt x="1208540" y="3838780"/>
                    <a:pt x="1186307" y="3867300"/>
                  </a:cubicBezTo>
                  <a:cubicBezTo>
                    <a:pt x="1186307" y="3867300"/>
                    <a:pt x="1186307" y="3867300"/>
                    <a:pt x="1185989" y="3868568"/>
                  </a:cubicBezTo>
                  <a:cubicBezTo>
                    <a:pt x="1185989" y="3868568"/>
                    <a:pt x="1185989" y="3868568"/>
                    <a:pt x="1183130" y="3873638"/>
                  </a:cubicBezTo>
                  <a:cubicBezTo>
                    <a:pt x="1183130" y="3873638"/>
                    <a:pt x="1183130" y="3873638"/>
                    <a:pt x="1213304" y="3898989"/>
                  </a:cubicBezTo>
                  <a:cubicBezTo>
                    <a:pt x="1213304" y="3898989"/>
                    <a:pt x="1213304" y="3898989"/>
                    <a:pt x="1234585" y="3871737"/>
                  </a:cubicBezTo>
                  <a:cubicBezTo>
                    <a:pt x="1234585" y="3871737"/>
                    <a:pt x="1234585" y="3871737"/>
                    <a:pt x="1233632" y="3871103"/>
                  </a:cubicBezTo>
                  <a:cubicBezTo>
                    <a:pt x="1233632" y="3871103"/>
                    <a:pt x="1233632" y="3871103"/>
                    <a:pt x="1235855" y="3867617"/>
                  </a:cubicBezTo>
                  <a:lnTo>
                    <a:pt x="1238396" y="3864131"/>
                  </a:lnTo>
                  <a:cubicBezTo>
                    <a:pt x="1238396" y="3864131"/>
                    <a:pt x="1238396" y="3864131"/>
                    <a:pt x="1208540" y="3838780"/>
                  </a:cubicBezTo>
                  <a:close/>
                  <a:moveTo>
                    <a:pt x="1149463" y="3838780"/>
                  </a:moveTo>
                  <a:lnTo>
                    <a:pt x="1141840" y="3847970"/>
                  </a:lnTo>
                  <a:cubicBezTo>
                    <a:pt x="1141840" y="3847970"/>
                    <a:pt x="1141840" y="3847970"/>
                    <a:pt x="1148192" y="3856209"/>
                  </a:cubicBezTo>
                  <a:cubicBezTo>
                    <a:pt x="1148192" y="3856209"/>
                    <a:pt x="1148192" y="3856209"/>
                    <a:pt x="1171061" y="3879025"/>
                  </a:cubicBezTo>
                  <a:cubicBezTo>
                    <a:pt x="1171061" y="3879025"/>
                    <a:pt x="1171061" y="3879025"/>
                    <a:pt x="1180907" y="3866033"/>
                  </a:cubicBezTo>
                  <a:cubicBezTo>
                    <a:pt x="1180907" y="3866033"/>
                    <a:pt x="1180907" y="3866033"/>
                    <a:pt x="1180589" y="3866033"/>
                  </a:cubicBezTo>
                  <a:cubicBezTo>
                    <a:pt x="1180589" y="3866033"/>
                    <a:pt x="1180589" y="3866033"/>
                    <a:pt x="1180907" y="3865716"/>
                  </a:cubicBezTo>
                  <a:cubicBezTo>
                    <a:pt x="1180907" y="3865716"/>
                    <a:pt x="1180907" y="3865716"/>
                    <a:pt x="1149463" y="3838780"/>
                  </a:cubicBezTo>
                  <a:close/>
                  <a:moveTo>
                    <a:pt x="1345434" y="3835294"/>
                  </a:moveTo>
                  <a:cubicBezTo>
                    <a:pt x="1345434" y="3835294"/>
                    <a:pt x="1345434" y="3835294"/>
                    <a:pt x="1344163" y="3836245"/>
                  </a:cubicBezTo>
                  <a:cubicBezTo>
                    <a:pt x="1344163" y="3836562"/>
                    <a:pt x="1337811" y="3841315"/>
                    <a:pt x="1329870" y="3848604"/>
                  </a:cubicBezTo>
                  <a:cubicBezTo>
                    <a:pt x="1329870" y="3848604"/>
                    <a:pt x="1329870" y="3848604"/>
                    <a:pt x="1361315" y="3923072"/>
                  </a:cubicBezTo>
                  <a:cubicBezTo>
                    <a:pt x="1361315" y="3923072"/>
                    <a:pt x="1361315" y="3923072"/>
                    <a:pt x="1343528" y="3935748"/>
                  </a:cubicBezTo>
                  <a:cubicBezTo>
                    <a:pt x="1343528" y="3935748"/>
                    <a:pt x="1343528" y="3935748"/>
                    <a:pt x="1371478" y="3984549"/>
                  </a:cubicBezTo>
                  <a:cubicBezTo>
                    <a:pt x="1371478" y="3984549"/>
                    <a:pt x="1371478" y="3984549"/>
                    <a:pt x="1367985" y="4003879"/>
                  </a:cubicBezTo>
                  <a:cubicBezTo>
                    <a:pt x="1367985" y="4003879"/>
                    <a:pt x="1367985" y="4003879"/>
                    <a:pt x="1401334" y="4033032"/>
                  </a:cubicBezTo>
                  <a:cubicBezTo>
                    <a:pt x="1401334" y="4033032"/>
                    <a:pt x="1401334" y="4033032"/>
                    <a:pt x="1401334" y="4034300"/>
                  </a:cubicBezTo>
                  <a:cubicBezTo>
                    <a:pt x="1401334" y="4034300"/>
                    <a:pt x="1400382" y="4073594"/>
                    <a:pt x="1400382" y="4094509"/>
                  </a:cubicBezTo>
                  <a:cubicBezTo>
                    <a:pt x="1400382" y="4098628"/>
                    <a:pt x="1400382" y="4101797"/>
                    <a:pt x="1400382" y="4104015"/>
                  </a:cubicBezTo>
                  <a:cubicBezTo>
                    <a:pt x="1400382" y="4104332"/>
                    <a:pt x="1400382" y="4104649"/>
                    <a:pt x="1400382" y="4104966"/>
                  </a:cubicBezTo>
                  <a:lnTo>
                    <a:pt x="1476293" y="4126831"/>
                  </a:lnTo>
                  <a:cubicBezTo>
                    <a:pt x="1476293" y="4126831"/>
                    <a:pt x="1476293" y="4126514"/>
                    <a:pt x="1476293" y="4126514"/>
                  </a:cubicBezTo>
                  <a:cubicBezTo>
                    <a:pt x="1476293" y="4126514"/>
                    <a:pt x="1476293" y="4126514"/>
                    <a:pt x="1477563" y="4126831"/>
                  </a:cubicBezTo>
                  <a:cubicBezTo>
                    <a:pt x="1485186" y="4114473"/>
                    <a:pt x="1504878" y="4083418"/>
                    <a:pt x="1521077" y="4061552"/>
                  </a:cubicBezTo>
                  <a:cubicBezTo>
                    <a:pt x="1515995" y="4054898"/>
                    <a:pt x="1505196" y="4040638"/>
                    <a:pt x="1491856" y="4023526"/>
                  </a:cubicBezTo>
                  <a:cubicBezTo>
                    <a:pt x="1464858" y="3988351"/>
                    <a:pt x="1426109" y="3938600"/>
                    <a:pt x="1394029" y="3897404"/>
                  </a:cubicBezTo>
                  <a:cubicBezTo>
                    <a:pt x="1373384" y="3871103"/>
                    <a:pt x="1355597" y="3848287"/>
                    <a:pt x="1345434" y="3835294"/>
                  </a:cubicBezTo>
                  <a:close/>
                  <a:moveTo>
                    <a:pt x="403694" y="3834661"/>
                  </a:moveTo>
                  <a:lnTo>
                    <a:pt x="355098" y="3844167"/>
                  </a:lnTo>
                  <a:cubicBezTo>
                    <a:pt x="355098" y="3844167"/>
                    <a:pt x="355098" y="3844167"/>
                    <a:pt x="371932" y="3866033"/>
                  </a:cubicBezTo>
                  <a:cubicBezTo>
                    <a:pt x="371932" y="3866033"/>
                    <a:pt x="371932" y="3866033"/>
                    <a:pt x="403694" y="3834661"/>
                  </a:cubicBezTo>
                  <a:close/>
                  <a:moveTo>
                    <a:pt x="3352467" y="3833393"/>
                  </a:moveTo>
                  <a:cubicBezTo>
                    <a:pt x="3337856" y="3838146"/>
                    <a:pt x="3324199" y="3842583"/>
                    <a:pt x="3310541" y="3847019"/>
                  </a:cubicBezTo>
                  <a:lnTo>
                    <a:pt x="3349608" y="3967120"/>
                  </a:lnTo>
                  <a:cubicBezTo>
                    <a:pt x="3349608" y="3967120"/>
                    <a:pt x="3349608" y="3967120"/>
                    <a:pt x="3391216" y="3953810"/>
                  </a:cubicBezTo>
                  <a:cubicBezTo>
                    <a:pt x="3391216" y="3953810"/>
                    <a:pt x="3391216" y="3953810"/>
                    <a:pt x="3352467" y="3833393"/>
                  </a:cubicBezTo>
                  <a:close/>
                  <a:moveTo>
                    <a:pt x="1729117" y="3832126"/>
                  </a:moveTo>
                  <a:cubicBezTo>
                    <a:pt x="1729117" y="3832126"/>
                    <a:pt x="1729117" y="3832126"/>
                    <a:pt x="1713871" y="3907228"/>
                  </a:cubicBezTo>
                  <a:cubicBezTo>
                    <a:pt x="1721177" y="3908812"/>
                    <a:pt x="1750080" y="3914199"/>
                    <a:pt x="1779301" y="3919587"/>
                  </a:cubicBezTo>
                  <a:cubicBezTo>
                    <a:pt x="1805346" y="3924657"/>
                    <a:pt x="1831708" y="3929410"/>
                    <a:pt x="1842507" y="3931628"/>
                  </a:cubicBezTo>
                  <a:cubicBezTo>
                    <a:pt x="1842507" y="3931628"/>
                    <a:pt x="1842507" y="3931628"/>
                    <a:pt x="1850765" y="3857477"/>
                  </a:cubicBezTo>
                  <a:cubicBezTo>
                    <a:pt x="1841872" y="3855575"/>
                    <a:pt x="1818050" y="3851139"/>
                    <a:pt x="1793594" y="3846385"/>
                  </a:cubicBezTo>
                  <a:cubicBezTo>
                    <a:pt x="1763102" y="3840682"/>
                    <a:pt x="1731023" y="3834661"/>
                    <a:pt x="1729435" y="3834661"/>
                  </a:cubicBezTo>
                  <a:cubicBezTo>
                    <a:pt x="1729435" y="3834661"/>
                    <a:pt x="1729435" y="3834661"/>
                    <a:pt x="1729435" y="3833710"/>
                  </a:cubicBezTo>
                  <a:cubicBezTo>
                    <a:pt x="1729435" y="3833710"/>
                    <a:pt x="1729435" y="3833710"/>
                    <a:pt x="1729435" y="3832759"/>
                  </a:cubicBezTo>
                  <a:cubicBezTo>
                    <a:pt x="1729435" y="3832759"/>
                    <a:pt x="1729435" y="3832759"/>
                    <a:pt x="1729117" y="3832126"/>
                  </a:cubicBezTo>
                  <a:close/>
                  <a:moveTo>
                    <a:pt x="3394392" y="3828006"/>
                  </a:moveTo>
                  <a:cubicBezTo>
                    <a:pt x="3394392" y="3828006"/>
                    <a:pt x="3394392" y="3828006"/>
                    <a:pt x="3379147" y="3832759"/>
                  </a:cubicBezTo>
                  <a:lnTo>
                    <a:pt x="3390899" y="3870469"/>
                  </a:lnTo>
                  <a:cubicBezTo>
                    <a:pt x="3390899" y="3870469"/>
                    <a:pt x="3390899" y="3870469"/>
                    <a:pt x="3406144" y="3866033"/>
                  </a:cubicBezTo>
                  <a:cubicBezTo>
                    <a:pt x="3406144" y="3866033"/>
                    <a:pt x="3406144" y="3866033"/>
                    <a:pt x="3394392" y="3828006"/>
                  </a:cubicBezTo>
                  <a:close/>
                  <a:moveTo>
                    <a:pt x="417351" y="3827689"/>
                  </a:moveTo>
                  <a:cubicBezTo>
                    <a:pt x="417351" y="3827689"/>
                    <a:pt x="417351" y="3827689"/>
                    <a:pt x="406870" y="3837830"/>
                  </a:cubicBezTo>
                  <a:cubicBezTo>
                    <a:pt x="406870" y="3837830"/>
                    <a:pt x="406870" y="3837830"/>
                    <a:pt x="375108" y="3869201"/>
                  </a:cubicBezTo>
                  <a:cubicBezTo>
                    <a:pt x="375108" y="3869201"/>
                    <a:pt x="375108" y="3869201"/>
                    <a:pt x="371614" y="3872687"/>
                  </a:cubicBezTo>
                  <a:cubicBezTo>
                    <a:pt x="371614" y="3872687"/>
                    <a:pt x="371614" y="3872687"/>
                    <a:pt x="368438" y="3868568"/>
                  </a:cubicBezTo>
                  <a:lnTo>
                    <a:pt x="351604" y="3847019"/>
                  </a:lnTo>
                  <a:cubicBezTo>
                    <a:pt x="351604" y="3847019"/>
                    <a:pt x="351604" y="3847019"/>
                    <a:pt x="347158" y="3841315"/>
                  </a:cubicBezTo>
                  <a:cubicBezTo>
                    <a:pt x="347158" y="3841315"/>
                    <a:pt x="347158" y="3841315"/>
                    <a:pt x="354145" y="3840048"/>
                  </a:cubicBezTo>
                  <a:cubicBezTo>
                    <a:pt x="354145" y="3840048"/>
                    <a:pt x="354145" y="3840048"/>
                    <a:pt x="402741" y="3830541"/>
                  </a:cubicBezTo>
                  <a:cubicBezTo>
                    <a:pt x="402741" y="3830541"/>
                    <a:pt x="402741" y="3830541"/>
                    <a:pt x="417351" y="3827689"/>
                  </a:cubicBezTo>
                  <a:close/>
                  <a:moveTo>
                    <a:pt x="261401" y="3827055"/>
                  </a:moveTo>
                  <a:cubicBezTo>
                    <a:pt x="261401" y="3827055"/>
                    <a:pt x="261401" y="3827055"/>
                    <a:pt x="143564" y="3873321"/>
                  </a:cubicBezTo>
                  <a:lnTo>
                    <a:pt x="148963" y="3880292"/>
                  </a:lnTo>
                  <a:cubicBezTo>
                    <a:pt x="148963" y="3880292"/>
                    <a:pt x="148963" y="3880292"/>
                    <a:pt x="137847" y="3888215"/>
                  </a:cubicBezTo>
                  <a:cubicBezTo>
                    <a:pt x="137847" y="3888215"/>
                    <a:pt x="137847" y="3888215"/>
                    <a:pt x="146740" y="3900256"/>
                  </a:cubicBezTo>
                  <a:cubicBezTo>
                    <a:pt x="146740" y="3900256"/>
                    <a:pt x="146740" y="3900256"/>
                    <a:pt x="128001" y="3914199"/>
                  </a:cubicBezTo>
                  <a:cubicBezTo>
                    <a:pt x="128001" y="3914199"/>
                    <a:pt x="128001" y="3914199"/>
                    <a:pt x="284587" y="3860329"/>
                  </a:cubicBezTo>
                  <a:cubicBezTo>
                    <a:pt x="284587" y="3860329"/>
                    <a:pt x="284587" y="3860329"/>
                    <a:pt x="261401" y="3827055"/>
                  </a:cubicBezTo>
                  <a:close/>
                  <a:moveTo>
                    <a:pt x="1219339" y="3824837"/>
                  </a:moveTo>
                  <a:cubicBezTo>
                    <a:pt x="1219339" y="3824837"/>
                    <a:pt x="1219339" y="3824837"/>
                    <a:pt x="1211081" y="3835294"/>
                  </a:cubicBezTo>
                  <a:cubicBezTo>
                    <a:pt x="1211081" y="3835294"/>
                    <a:pt x="1211081" y="3835294"/>
                    <a:pt x="1242525" y="3861596"/>
                  </a:cubicBezTo>
                  <a:lnTo>
                    <a:pt x="1245384" y="3857477"/>
                  </a:lnTo>
                  <a:cubicBezTo>
                    <a:pt x="1236173" y="3849237"/>
                    <a:pt x="1228550" y="3842900"/>
                    <a:pt x="1228550" y="3842900"/>
                  </a:cubicBezTo>
                  <a:cubicBezTo>
                    <a:pt x="1228550" y="3842900"/>
                    <a:pt x="1228550" y="3842900"/>
                    <a:pt x="1227279" y="3841632"/>
                  </a:cubicBezTo>
                  <a:cubicBezTo>
                    <a:pt x="1227279" y="3841632"/>
                    <a:pt x="1227279" y="3841632"/>
                    <a:pt x="1219339" y="3824837"/>
                  </a:cubicBezTo>
                  <a:close/>
                  <a:moveTo>
                    <a:pt x="1104678" y="3823886"/>
                  </a:moveTo>
                  <a:cubicBezTo>
                    <a:pt x="1100549" y="3831492"/>
                    <a:pt x="1092291" y="3847970"/>
                    <a:pt x="1084351" y="3863814"/>
                  </a:cubicBezTo>
                  <a:cubicBezTo>
                    <a:pt x="1074187" y="3883461"/>
                    <a:pt x="1064976" y="3902475"/>
                    <a:pt x="1064976" y="3902475"/>
                  </a:cubicBezTo>
                  <a:cubicBezTo>
                    <a:pt x="1064976" y="3902475"/>
                    <a:pt x="1064976" y="3902475"/>
                    <a:pt x="1064023" y="3904376"/>
                  </a:cubicBezTo>
                  <a:cubicBezTo>
                    <a:pt x="1064023" y="3904376"/>
                    <a:pt x="1064023" y="3904376"/>
                    <a:pt x="1063706" y="3904376"/>
                  </a:cubicBezTo>
                  <a:lnTo>
                    <a:pt x="1033850" y="3962683"/>
                  </a:lnTo>
                  <a:cubicBezTo>
                    <a:pt x="1073234" y="3981063"/>
                    <a:pt x="1111666" y="4009266"/>
                    <a:pt x="1131041" y="4027962"/>
                  </a:cubicBezTo>
                  <a:cubicBezTo>
                    <a:pt x="1131358" y="4028279"/>
                    <a:pt x="1131676" y="4028596"/>
                    <a:pt x="1131994" y="4028913"/>
                  </a:cubicBezTo>
                  <a:cubicBezTo>
                    <a:pt x="1131994" y="4028913"/>
                    <a:pt x="1131994" y="4028913"/>
                    <a:pt x="1099914" y="3905644"/>
                  </a:cubicBezTo>
                  <a:cubicBezTo>
                    <a:pt x="1099914" y="3905644"/>
                    <a:pt x="1099914" y="3905644"/>
                    <a:pt x="1142793" y="3870786"/>
                  </a:cubicBezTo>
                  <a:cubicBezTo>
                    <a:pt x="1142793" y="3870786"/>
                    <a:pt x="1142793" y="3870786"/>
                    <a:pt x="1137711" y="3865399"/>
                  </a:cubicBezTo>
                  <a:cubicBezTo>
                    <a:pt x="1137711" y="3865399"/>
                    <a:pt x="1137711" y="3865399"/>
                    <a:pt x="1104678" y="3823886"/>
                  </a:cubicBezTo>
                  <a:close/>
                  <a:moveTo>
                    <a:pt x="3396934" y="3822619"/>
                  </a:moveTo>
                  <a:lnTo>
                    <a:pt x="3411226" y="3868568"/>
                  </a:lnTo>
                  <a:cubicBezTo>
                    <a:pt x="3411226" y="3868568"/>
                    <a:pt x="3411226" y="3868568"/>
                    <a:pt x="3388358" y="3875856"/>
                  </a:cubicBezTo>
                  <a:cubicBezTo>
                    <a:pt x="3388358" y="3875856"/>
                    <a:pt x="3388358" y="3875856"/>
                    <a:pt x="3387722" y="3873638"/>
                  </a:cubicBezTo>
                  <a:cubicBezTo>
                    <a:pt x="3387722" y="3873638"/>
                    <a:pt x="3387722" y="3873638"/>
                    <a:pt x="3374065" y="3829907"/>
                  </a:cubicBezTo>
                  <a:cubicBezTo>
                    <a:pt x="3374065" y="3829907"/>
                    <a:pt x="3374065" y="3829907"/>
                    <a:pt x="3396934" y="3822619"/>
                  </a:cubicBezTo>
                  <a:close/>
                  <a:moveTo>
                    <a:pt x="3398204" y="3818499"/>
                  </a:moveTo>
                  <a:cubicBezTo>
                    <a:pt x="3384229" y="3823253"/>
                    <a:pt x="3370254" y="3827689"/>
                    <a:pt x="3356596" y="3832126"/>
                  </a:cubicBezTo>
                  <a:cubicBezTo>
                    <a:pt x="3356596" y="3832126"/>
                    <a:pt x="3356596" y="3832126"/>
                    <a:pt x="3395663" y="3952543"/>
                  </a:cubicBezTo>
                  <a:lnTo>
                    <a:pt x="3437271" y="3939551"/>
                  </a:lnTo>
                  <a:cubicBezTo>
                    <a:pt x="3437271" y="3939551"/>
                    <a:pt x="3437271" y="3939551"/>
                    <a:pt x="3398204" y="3818499"/>
                  </a:cubicBezTo>
                  <a:close/>
                  <a:moveTo>
                    <a:pt x="938881" y="3817866"/>
                  </a:moveTo>
                  <a:lnTo>
                    <a:pt x="923636" y="3860012"/>
                  </a:lnTo>
                  <a:cubicBezTo>
                    <a:pt x="923636" y="3860012"/>
                    <a:pt x="923636" y="3860012"/>
                    <a:pt x="927765" y="3916101"/>
                  </a:cubicBezTo>
                  <a:cubicBezTo>
                    <a:pt x="927765" y="3916101"/>
                    <a:pt x="927765" y="3916101"/>
                    <a:pt x="956351" y="3923389"/>
                  </a:cubicBezTo>
                  <a:cubicBezTo>
                    <a:pt x="956351" y="3923389"/>
                    <a:pt x="956351" y="3923389"/>
                    <a:pt x="964609" y="3905010"/>
                  </a:cubicBezTo>
                  <a:cubicBezTo>
                    <a:pt x="964609" y="3905010"/>
                    <a:pt x="964609" y="3905010"/>
                    <a:pt x="947457" y="3904059"/>
                  </a:cubicBezTo>
                  <a:cubicBezTo>
                    <a:pt x="947457" y="3904059"/>
                    <a:pt x="947457" y="3904059"/>
                    <a:pt x="948410" y="3878391"/>
                  </a:cubicBezTo>
                  <a:cubicBezTo>
                    <a:pt x="948410" y="3878391"/>
                    <a:pt x="948410" y="3878391"/>
                    <a:pt x="955715" y="3860012"/>
                  </a:cubicBezTo>
                  <a:cubicBezTo>
                    <a:pt x="955715" y="3860012"/>
                    <a:pt x="955715" y="3860012"/>
                    <a:pt x="957621" y="3860962"/>
                  </a:cubicBezTo>
                  <a:cubicBezTo>
                    <a:pt x="957621" y="3860962"/>
                    <a:pt x="957621" y="3860962"/>
                    <a:pt x="977313" y="3867617"/>
                  </a:cubicBezTo>
                  <a:cubicBezTo>
                    <a:pt x="977313" y="3867617"/>
                    <a:pt x="977313" y="3867617"/>
                    <a:pt x="991289" y="3834027"/>
                  </a:cubicBezTo>
                  <a:cubicBezTo>
                    <a:pt x="991289" y="3834027"/>
                    <a:pt x="991289" y="3834027"/>
                    <a:pt x="938881" y="3817866"/>
                  </a:cubicBezTo>
                  <a:close/>
                  <a:moveTo>
                    <a:pt x="3427425" y="3817549"/>
                  </a:moveTo>
                  <a:cubicBezTo>
                    <a:pt x="3427425" y="3817549"/>
                    <a:pt x="3427425" y="3817549"/>
                    <a:pt x="3412179" y="3822302"/>
                  </a:cubicBezTo>
                  <a:lnTo>
                    <a:pt x="3423931" y="3860329"/>
                  </a:lnTo>
                  <a:cubicBezTo>
                    <a:pt x="3423931" y="3860329"/>
                    <a:pt x="3423931" y="3860329"/>
                    <a:pt x="3439177" y="3855575"/>
                  </a:cubicBezTo>
                  <a:cubicBezTo>
                    <a:pt x="3439177" y="3855575"/>
                    <a:pt x="3439177" y="3855575"/>
                    <a:pt x="3427425" y="3817549"/>
                  </a:cubicBezTo>
                  <a:close/>
                  <a:moveTo>
                    <a:pt x="2180453" y="3815330"/>
                  </a:moveTo>
                  <a:cubicBezTo>
                    <a:pt x="2180453" y="3815330"/>
                    <a:pt x="2180453" y="3815330"/>
                    <a:pt x="2145833" y="3862547"/>
                  </a:cubicBezTo>
                  <a:cubicBezTo>
                    <a:pt x="2145833" y="3862547"/>
                    <a:pt x="2145833" y="3862547"/>
                    <a:pt x="2159173" y="3872370"/>
                  </a:cubicBezTo>
                  <a:cubicBezTo>
                    <a:pt x="2159173" y="3872370"/>
                    <a:pt x="2159173" y="3872370"/>
                    <a:pt x="2175372" y="3850188"/>
                  </a:cubicBezTo>
                  <a:cubicBezTo>
                    <a:pt x="2175372" y="3850188"/>
                    <a:pt x="2175372" y="3850188"/>
                    <a:pt x="2186170" y="3858110"/>
                  </a:cubicBezTo>
                  <a:cubicBezTo>
                    <a:pt x="2186170" y="3858110"/>
                    <a:pt x="2186170" y="3858110"/>
                    <a:pt x="2150597" y="3906594"/>
                  </a:cubicBezTo>
                  <a:cubicBezTo>
                    <a:pt x="2150597" y="3906594"/>
                    <a:pt x="2150597" y="3906594"/>
                    <a:pt x="2163302" y="3915784"/>
                  </a:cubicBezTo>
                  <a:cubicBezTo>
                    <a:pt x="2163302" y="3915784"/>
                    <a:pt x="2163302" y="3915784"/>
                    <a:pt x="2176324" y="3897721"/>
                  </a:cubicBezTo>
                  <a:cubicBezTo>
                    <a:pt x="2176324" y="3897721"/>
                    <a:pt x="2176324" y="3897721"/>
                    <a:pt x="2196017" y="3911981"/>
                  </a:cubicBezTo>
                  <a:lnTo>
                    <a:pt x="2218568" y="3880609"/>
                  </a:lnTo>
                  <a:cubicBezTo>
                    <a:pt x="2218568" y="3880609"/>
                    <a:pt x="2218568" y="3880609"/>
                    <a:pt x="2195382" y="3863497"/>
                  </a:cubicBezTo>
                  <a:cubicBezTo>
                    <a:pt x="2195382" y="3863497"/>
                    <a:pt x="2195382" y="3863497"/>
                    <a:pt x="2215709" y="3835928"/>
                  </a:cubicBezTo>
                  <a:cubicBezTo>
                    <a:pt x="2215709" y="3835928"/>
                    <a:pt x="2215709" y="3835928"/>
                    <a:pt x="2196970" y="3822302"/>
                  </a:cubicBezTo>
                  <a:cubicBezTo>
                    <a:pt x="2196970" y="3822302"/>
                    <a:pt x="2196970" y="3822302"/>
                    <a:pt x="2195699" y="3823886"/>
                  </a:cubicBezTo>
                  <a:cubicBezTo>
                    <a:pt x="2195699" y="3823886"/>
                    <a:pt x="2195699" y="3823886"/>
                    <a:pt x="2194428" y="3825788"/>
                  </a:cubicBezTo>
                  <a:cubicBezTo>
                    <a:pt x="2194428" y="3825788"/>
                    <a:pt x="2194428" y="3825788"/>
                    <a:pt x="2180453" y="3815330"/>
                  </a:cubicBezTo>
                  <a:close/>
                  <a:moveTo>
                    <a:pt x="764191" y="3812795"/>
                  </a:moveTo>
                  <a:lnTo>
                    <a:pt x="754027" y="3876807"/>
                  </a:lnTo>
                  <a:cubicBezTo>
                    <a:pt x="754027" y="3876807"/>
                    <a:pt x="754027" y="3876807"/>
                    <a:pt x="783566" y="3878708"/>
                  </a:cubicBezTo>
                  <a:cubicBezTo>
                    <a:pt x="783566" y="3878708"/>
                    <a:pt x="783566" y="3878708"/>
                    <a:pt x="825492" y="3890750"/>
                  </a:cubicBezTo>
                  <a:cubicBezTo>
                    <a:pt x="825492" y="3890750"/>
                    <a:pt x="825492" y="3890750"/>
                    <a:pt x="822951" y="3901207"/>
                  </a:cubicBezTo>
                  <a:cubicBezTo>
                    <a:pt x="822951" y="3901207"/>
                    <a:pt x="822951" y="3901207"/>
                    <a:pt x="896321" y="3910714"/>
                  </a:cubicBezTo>
                  <a:cubicBezTo>
                    <a:pt x="896321" y="3910714"/>
                    <a:pt x="896321" y="3910714"/>
                    <a:pt x="891874" y="3869201"/>
                  </a:cubicBezTo>
                  <a:cubicBezTo>
                    <a:pt x="891874" y="3869201"/>
                    <a:pt x="891874" y="3869201"/>
                    <a:pt x="801670" y="3847019"/>
                  </a:cubicBezTo>
                  <a:cubicBezTo>
                    <a:pt x="801670" y="3847019"/>
                    <a:pt x="801670" y="3847019"/>
                    <a:pt x="810246" y="3814697"/>
                  </a:cubicBezTo>
                  <a:cubicBezTo>
                    <a:pt x="810246" y="3814697"/>
                    <a:pt x="810246" y="3814697"/>
                    <a:pt x="764191" y="3812795"/>
                  </a:cubicBezTo>
                  <a:close/>
                  <a:moveTo>
                    <a:pt x="3429966" y="3812478"/>
                  </a:moveTo>
                  <a:lnTo>
                    <a:pt x="3444259" y="3858427"/>
                  </a:lnTo>
                  <a:cubicBezTo>
                    <a:pt x="3444259" y="3858427"/>
                    <a:pt x="3444259" y="3858427"/>
                    <a:pt x="3421390" y="3865399"/>
                  </a:cubicBezTo>
                  <a:cubicBezTo>
                    <a:pt x="3421390" y="3865399"/>
                    <a:pt x="3421390" y="3865399"/>
                    <a:pt x="3420755" y="3863497"/>
                  </a:cubicBezTo>
                  <a:cubicBezTo>
                    <a:pt x="3420755" y="3863497"/>
                    <a:pt x="3420755" y="3863497"/>
                    <a:pt x="3407097" y="3819450"/>
                  </a:cubicBezTo>
                  <a:cubicBezTo>
                    <a:pt x="3407097" y="3819450"/>
                    <a:pt x="3407097" y="3819450"/>
                    <a:pt x="3429966" y="3812478"/>
                  </a:cubicBezTo>
                  <a:close/>
                  <a:moveTo>
                    <a:pt x="936023" y="3812162"/>
                  </a:moveTo>
                  <a:cubicBezTo>
                    <a:pt x="936023" y="3812162"/>
                    <a:pt x="936023" y="3812162"/>
                    <a:pt x="997641" y="3831175"/>
                  </a:cubicBezTo>
                  <a:cubicBezTo>
                    <a:pt x="997641" y="3831175"/>
                    <a:pt x="997641" y="3831175"/>
                    <a:pt x="979854" y="3873638"/>
                  </a:cubicBezTo>
                  <a:cubicBezTo>
                    <a:pt x="979854" y="3873638"/>
                    <a:pt x="979854" y="3873638"/>
                    <a:pt x="958256" y="3866033"/>
                  </a:cubicBezTo>
                  <a:cubicBezTo>
                    <a:pt x="958256" y="3866033"/>
                    <a:pt x="958256" y="3866033"/>
                    <a:pt x="953174" y="3879342"/>
                  </a:cubicBezTo>
                  <a:cubicBezTo>
                    <a:pt x="953174" y="3879342"/>
                    <a:pt x="953174" y="3879342"/>
                    <a:pt x="952221" y="3899623"/>
                  </a:cubicBezTo>
                  <a:cubicBezTo>
                    <a:pt x="952221" y="3899623"/>
                    <a:pt x="952221" y="3899623"/>
                    <a:pt x="971596" y="3900573"/>
                  </a:cubicBezTo>
                  <a:cubicBezTo>
                    <a:pt x="971596" y="3900573"/>
                    <a:pt x="971596" y="3900573"/>
                    <a:pt x="958891" y="3928776"/>
                  </a:cubicBezTo>
                  <a:cubicBezTo>
                    <a:pt x="958891" y="3928776"/>
                    <a:pt x="958891" y="3928776"/>
                    <a:pt x="923318" y="3919903"/>
                  </a:cubicBezTo>
                  <a:lnTo>
                    <a:pt x="918872" y="3859378"/>
                  </a:lnTo>
                  <a:cubicBezTo>
                    <a:pt x="918872" y="3859378"/>
                    <a:pt x="918872" y="3859378"/>
                    <a:pt x="936023" y="3812162"/>
                  </a:cubicBezTo>
                  <a:close/>
                  <a:moveTo>
                    <a:pt x="2179500" y="3809626"/>
                  </a:moveTo>
                  <a:cubicBezTo>
                    <a:pt x="2179500" y="3809626"/>
                    <a:pt x="2179500" y="3809626"/>
                    <a:pt x="2193476" y="3819767"/>
                  </a:cubicBezTo>
                  <a:cubicBezTo>
                    <a:pt x="2193476" y="3819767"/>
                    <a:pt x="2193476" y="3819767"/>
                    <a:pt x="2194746" y="3817866"/>
                  </a:cubicBezTo>
                  <a:cubicBezTo>
                    <a:pt x="2194746" y="3817866"/>
                    <a:pt x="2194746" y="3817866"/>
                    <a:pt x="2196017" y="3816281"/>
                  </a:cubicBezTo>
                  <a:cubicBezTo>
                    <a:pt x="2196017" y="3816281"/>
                    <a:pt x="2196017" y="3816281"/>
                    <a:pt x="2221426" y="3834978"/>
                  </a:cubicBezTo>
                  <a:cubicBezTo>
                    <a:pt x="2221426" y="3834978"/>
                    <a:pt x="2221426" y="3834978"/>
                    <a:pt x="2220156" y="3836562"/>
                  </a:cubicBezTo>
                  <a:cubicBezTo>
                    <a:pt x="2220156" y="3836562"/>
                    <a:pt x="2220156" y="3836562"/>
                    <a:pt x="2201098" y="3862547"/>
                  </a:cubicBezTo>
                  <a:lnTo>
                    <a:pt x="2224602" y="3879659"/>
                  </a:lnTo>
                  <a:cubicBezTo>
                    <a:pt x="2224602" y="3879659"/>
                    <a:pt x="2224602" y="3879659"/>
                    <a:pt x="2196652" y="3917685"/>
                  </a:cubicBezTo>
                  <a:cubicBezTo>
                    <a:pt x="2196652" y="3917685"/>
                    <a:pt x="2196652" y="3917685"/>
                    <a:pt x="2177277" y="3903742"/>
                  </a:cubicBezTo>
                  <a:cubicBezTo>
                    <a:pt x="2177277" y="3903742"/>
                    <a:pt x="2177277" y="3903742"/>
                    <a:pt x="2164255" y="3921805"/>
                  </a:cubicBezTo>
                  <a:cubicBezTo>
                    <a:pt x="2164255" y="3921805"/>
                    <a:pt x="2164255" y="3921805"/>
                    <a:pt x="2144562" y="3907545"/>
                  </a:cubicBezTo>
                  <a:cubicBezTo>
                    <a:pt x="2144562" y="3907545"/>
                    <a:pt x="2144562" y="3907545"/>
                    <a:pt x="2180136" y="3859061"/>
                  </a:cubicBezTo>
                  <a:cubicBezTo>
                    <a:pt x="2180136" y="3859061"/>
                    <a:pt x="2180136" y="3859061"/>
                    <a:pt x="2176324" y="3855892"/>
                  </a:cubicBezTo>
                  <a:cubicBezTo>
                    <a:pt x="2176324" y="3855892"/>
                    <a:pt x="2176324" y="3855892"/>
                    <a:pt x="2160126" y="3878074"/>
                  </a:cubicBezTo>
                  <a:cubicBezTo>
                    <a:pt x="2160126" y="3878074"/>
                    <a:pt x="2160126" y="3878074"/>
                    <a:pt x="2139798" y="3863497"/>
                  </a:cubicBezTo>
                  <a:cubicBezTo>
                    <a:pt x="2139798" y="3863497"/>
                    <a:pt x="2139798" y="3863497"/>
                    <a:pt x="2179500" y="3809626"/>
                  </a:cubicBezTo>
                  <a:close/>
                  <a:moveTo>
                    <a:pt x="1629385" y="3808676"/>
                  </a:moveTo>
                  <a:cubicBezTo>
                    <a:pt x="1629385" y="3808676"/>
                    <a:pt x="1629385" y="3808676"/>
                    <a:pt x="1628432" y="3833710"/>
                  </a:cubicBezTo>
                  <a:lnTo>
                    <a:pt x="1667181" y="3835294"/>
                  </a:lnTo>
                  <a:cubicBezTo>
                    <a:pt x="1667181" y="3835294"/>
                    <a:pt x="1667181" y="3835294"/>
                    <a:pt x="1668134" y="3810577"/>
                  </a:cubicBezTo>
                  <a:cubicBezTo>
                    <a:pt x="1668134" y="3810577"/>
                    <a:pt x="1668134" y="3810577"/>
                    <a:pt x="1629385" y="3808676"/>
                  </a:cubicBezTo>
                  <a:close/>
                  <a:moveTo>
                    <a:pt x="760380" y="3808042"/>
                  </a:moveTo>
                  <a:cubicBezTo>
                    <a:pt x="760380" y="3808042"/>
                    <a:pt x="760380" y="3808042"/>
                    <a:pt x="816281" y="3810260"/>
                  </a:cubicBezTo>
                  <a:cubicBezTo>
                    <a:pt x="816281" y="3810260"/>
                    <a:pt x="816281" y="3810260"/>
                    <a:pt x="807387" y="3843533"/>
                  </a:cubicBezTo>
                  <a:cubicBezTo>
                    <a:pt x="807387" y="3843533"/>
                    <a:pt x="807387" y="3843533"/>
                    <a:pt x="896003" y="3865716"/>
                  </a:cubicBezTo>
                  <a:cubicBezTo>
                    <a:pt x="896003" y="3865716"/>
                    <a:pt x="896003" y="3865716"/>
                    <a:pt x="896321" y="3867300"/>
                  </a:cubicBezTo>
                  <a:cubicBezTo>
                    <a:pt x="896321" y="3867300"/>
                    <a:pt x="896321" y="3867300"/>
                    <a:pt x="901720" y="3916101"/>
                  </a:cubicBezTo>
                  <a:cubicBezTo>
                    <a:pt x="901720" y="3916101"/>
                    <a:pt x="901720" y="3916101"/>
                    <a:pt x="817233" y="3905010"/>
                  </a:cubicBezTo>
                  <a:cubicBezTo>
                    <a:pt x="817233" y="3905010"/>
                    <a:pt x="817233" y="3905010"/>
                    <a:pt x="819774" y="3894236"/>
                  </a:cubicBezTo>
                  <a:cubicBezTo>
                    <a:pt x="819774" y="3894236"/>
                    <a:pt x="819774" y="3894236"/>
                    <a:pt x="782931" y="3883461"/>
                  </a:cubicBezTo>
                  <a:lnTo>
                    <a:pt x="748628" y="3881243"/>
                  </a:lnTo>
                  <a:cubicBezTo>
                    <a:pt x="748628" y="3881243"/>
                    <a:pt x="748628" y="3881243"/>
                    <a:pt x="760380" y="3808042"/>
                  </a:cubicBezTo>
                  <a:close/>
                  <a:moveTo>
                    <a:pt x="1271" y="3807408"/>
                  </a:moveTo>
                  <a:cubicBezTo>
                    <a:pt x="17787" y="3811845"/>
                    <a:pt x="17787" y="3811845"/>
                    <a:pt x="17787" y="3811845"/>
                  </a:cubicBezTo>
                  <a:cubicBezTo>
                    <a:pt x="13340" y="3814697"/>
                    <a:pt x="13340" y="3814697"/>
                    <a:pt x="13340" y="3814697"/>
                  </a:cubicBezTo>
                  <a:cubicBezTo>
                    <a:pt x="1271" y="3822302"/>
                    <a:pt x="1271" y="3822302"/>
                    <a:pt x="1271" y="3822302"/>
                  </a:cubicBezTo>
                  <a:lnTo>
                    <a:pt x="1271" y="3816598"/>
                  </a:lnTo>
                  <a:cubicBezTo>
                    <a:pt x="6353" y="3813746"/>
                    <a:pt x="6353" y="3813746"/>
                    <a:pt x="6353" y="3813746"/>
                  </a:cubicBezTo>
                  <a:cubicBezTo>
                    <a:pt x="1271" y="3812478"/>
                    <a:pt x="1271" y="3812478"/>
                    <a:pt x="1271" y="3812478"/>
                  </a:cubicBezTo>
                  <a:cubicBezTo>
                    <a:pt x="1271" y="3807408"/>
                    <a:pt x="1271" y="3807408"/>
                    <a:pt x="1271" y="3807408"/>
                  </a:cubicBezTo>
                  <a:close/>
                  <a:moveTo>
                    <a:pt x="3442988" y="3803923"/>
                  </a:moveTo>
                  <a:cubicBezTo>
                    <a:pt x="3429330" y="3808359"/>
                    <a:pt x="3415990" y="3812795"/>
                    <a:pt x="3402333" y="3817232"/>
                  </a:cubicBezTo>
                  <a:lnTo>
                    <a:pt x="3441718" y="3938283"/>
                  </a:lnTo>
                  <a:cubicBezTo>
                    <a:pt x="3441718" y="3938283"/>
                    <a:pt x="3441718" y="3938283"/>
                    <a:pt x="3485232" y="3924657"/>
                  </a:cubicBezTo>
                  <a:cubicBezTo>
                    <a:pt x="3485232" y="3924657"/>
                    <a:pt x="3485232" y="3924657"/>
                    <a:pt x="3442988" y="3803923"/>
                  </a:cubicBezTo>
                  <a:close/>
                  <a:moveTo>
                    <a:pt x="933800" y="3803289"/>
                  </a:moveTo>
                  <a:cubicBezTo>
                    <a:pt x="925224" y="3828323"/>
                    <a:pt x="917601" y="3849871"/>
                    <a:pt x="917283" y="3850188"/>
                  </a:cubicBezTo>
                  <a:cubicBezTo>
                    <a:pt x="917283" y="3850188"/>
                    <a:pt x="917283" y="3850188"/>
                    <a:pt x="916648" y="3851773"/>
                  </a:cubicBezTo>
                  <a:cubicBezTo>
                    <a:pt x="916648" y="3851773"/>
                    <a:pt x="916648" y="3851773"/>
                    <a:pt x="915060" y="3851773"/>
                  </a:cubicBezTo>
                  <a:cubicBezTo>
                    <a:pt x="914425" y="3851773"/>
                    <a:pt x="911884" y="3851456"/>
                    <a:pt x="907755" y="3850822"/>
                  </a:cubicBezTo>
                  <a:cubicBezTo>
                    <a:pt x="907755" y="3850822"/>
                    <a:pt x="907755" y="3850822"/>
                    <a:pt x="915378" y="3926558"/>
                  </a:cubicBezTo>
                  <a:cubicBezTo>
                    <a:pt x="947775" y="3933530"/>
                    <a:pt x="973502" y="3941769"/>
                    <a:pt x="1001135" y="3950008"/>
                  </a:cubicBezTo>
                  <a:cubicBezTo>
                    <a:pt x="1010663" y="3952860"/>
                    <a:pt x="1020192" y="3956346"/>
                    <a:pt x="1030038" y="3960782"/>
                  </a:cubicBezTo>
                  <a:cubicBezTo>
                    <a:pt x="1030038" y="3960782"/>
                    <a:pt x="1030038" y="3960782"/>
                    <a:pt x="1059577" y="3902792"/>
                  </a:cubicBezTo>
                  <a:cubicBezTo>
                    <a:pt x="1059577" y="3902792"/>
                    <a:pt x="1059577" y="3902792"/>
                    <a:pt x="985254" y="3874272"/>
                  </a:cubicBezTo>
                  <a:cubicBezTo>
                    <a:pt x="985254" y="3874272"/>
                    <a:pt x="985254" y="3874272"/>
                    <a:pt x="1004311" y="3827372"/>
                  </a:cubicBezTo>
                  <a:close/>
                  <a:moveTo>
                    <a:pt x="353828" y="3802972"/>
                  </a:moveTo>
                  <a:cubicBezTo>
                    <a:pt x="353828" y="3802972"/>
                    <a:pt x="353828" y="3802972"/>
                    <a:pt x="330641" y="3806458"/>
                  </a:cubicBezTo>
                  <a:cubicBezTo>
                    <a:pt x="330641" y="3806458"/>
                    <a:pt x="330641" y="3806458"/>
                    <a:pt x="336676" y="3815964"/>
                  </a:cubicBezTo>
                  <a:lnTo>
                    <a:pt x="338582" y="3819133"/>
                  </a:lnTo>
                  <a:cubicBezTo>
                    <a:pt x="338582" y="3819133"/>
                    <a:pt x="338582" y="3819133"/>
                    <a:pt x="336041" y="3821351"/>
                  </a:cubicBezTo>
                  <a:cubicBezTo>
                    <a:pt x="336041" y="3821351"/>
                    <a:pt x="336041" y="3821351"/>
                    <a:pt x="317937" y="3838780"/>
                  </a:cubicBezTo>
                  <a:cubicBezTo>
                    <a:pt x="317937" y="3838780"/>
                    <a:pt x="317937" y="3838780"/>
                    <a:pt x="369073" y="3905960"/>
                  </a:cubicBezTo>
                  <a:cubicBezTo>
                    <a:pt x="369073" y="3905960"/>
                    <a:pt x="369073" y="3905960"/>
                    <a:pt x="433868" y="3841949"/>
                  </a:cubicBezTo>
                  <a:cubicBezTo>
                    <a:pt x="433868" y="3841949"/>
                    <a:pt x="433868" y="3841949"/>
                    <a:pt x="417669" y="3808042"/>
                  </a:cubicBezTo>
                  <a:cubicBezTo>
                    <a:pt x="417669" y="3808042"/>
                    <a:pt x="417669" y="3808042"/>
                    <a:pt x="366532" y="3814063"/>
                  </a:cubicBezTo>
                  <a:cubicBezTo>
                    <a:pt x="366532" y="3814063"/>
                    <a:pt x="366532" y="3814063"/>
                    <a:pt x="364309" y="3814380"/>
                  </a:cubicBezTo>
                  <a:cubicBezTo>
                    <a:pt x="364309" y="3814380"/>
                    <a:pt x="364309" y="3814380"/>
                    <a:pt x="362721" y="3812478"/>
                  </a:cubicBezTo>
                  <a:cubicBezTo>
                    <a:pt x="362721" y="3812478"/>
                    <a:pt x="362721" y="3812478"/>
                    <a:pt x="353828" y="3802972"/>
                  </a:cubicBezTo>
                  <a:close/>
                  <a:moveTo>
                    <a:pt x="1178684" y="3801387"/>
                  </a:moveTo>
                  <a:cubicBezTo>
                    <a:pt x="1178684" y="3801387"/>
                    <a:pt x="1178684" y="3801387"/>
                    <a:pt x="1160579" y="3824520"/>
                  </a:cubicBezTo>
                  <a:cubicBezTo>
                    <a:pt x="1160579" y="3824520"/>
                    <a:pt x="1160579" y="3824520"/>
                    <a:pt x="1158356" y="3827689"/>
                  </a:cubicBezTo>
                  <a:cubicBezTo>
                    <a:pt x="1158356" y="3827689"/>
                    <a:pt x="1158356" y="3827689"/>
                    <a:pt x="1152639" y="3835611"/>
                  </a:cubicBezTo>
                  <a:cubicBezTo>
                    <a:pt x="1152639" y="3835611"/>
                    <a:pt x="1152639" y="3835611"/>
                    <a:pt x="1183766" y="3862230"/>
                  </a:cubicBezTo>
                  <a:cubicBezTo>
                    <a:pt x="1183766" y="3862230"/>
                    <a:pt x="1183766" y="3862230"/>
                    <a:pt x="1184718" y="3860962"/>
                  </a:cubicBezTo>
                  <a:cubicBezTo>
                    <a:pt x="1184718" y="3860962"/>
                    <a:pt x="1184718" y="3860962"/>
                    <a:pt x="1204728" y="3834978"/>
                  </a:cubicBezTo>
                  <a:cubicBezTo>
                    <a:pt x="1204728" y="3834978"/>
                    <a:pt x="1204728" y="3834978"/>
                    <a:pt x="1206317" y="3832126"/>
                  </a:cubicBezTo>
                  <a:lnTo>
                    <a:pt x="1208857" y="3827055"/>
                  </a:lnTo>
                  <a:cubicBezTo>
                    <a:pt x="1208857" y="3827055"/>
                    <a:pt x="1208857" y="3827055"/>
                    <a:pt x="1178684" y="3801387"/>
                  </a:cubicBezTo>
                  <a:close/>
                  <a:moveTo>
                    <a:pt x="355416" y="3798535"/>
                  </a:moveTo>
                  <a:cubicBezTo>
                    <a:pt x="355416" y="3798535"/>
                    <a:pt x="355416" y="3798535"/>
                    <a:pt x="365897" y="3809626"/>
                  </a:cubicBezTo>
                  <a:cubicBezTo>
                    <a:pt x="365897" y="3809626"/>
                    <a:pt x="365897" y="3809626"/>
                    <a:pt x="420210" y="3803289"/>
                  </a:cubicBezTo>
                  <a:cubicBezTo>
                    <a:pt x="420210" y="3803289"/>
                    <a:pt x="420210" y="3803289"/>
                    <a:pt x="439267" y="3842900"/>
                  </a:cubicBezTo>
                  <a:cubicBezTo>
                    <a:pt x="439267" y="3842900"/>
                    <a:pt x="439267" y="3842900"/>
                    <a:pt x="368438" y="3912615"/>
                  </a:cubicBezTo>
                  <a:lnTo>
                    <a:pt x="312220" y="3838146"/>
                  </a:lnTo>
                  <a:cubicBezTo>
                    <a:pt x="312220" y="3838146"/>
                    <a:pt x="312220" y="3838146"/>
                    <a:pt x="332865" y="3818182"/>
                  </a:cubicBezTo>
                  <a:cubicBezTo>
                    <a:pt x="332865" y="3818182"/>
                    <a:pt x="332865" y="3818182"/>
                    <a:pt x="323336" y="3803289"/>
                  </a:cubicBezTo>
                  <a:cubicBezTo>
                    <a:pt x="323336" y="3803289"/>
                    <a:pt x="323336" y="3803289"/>
                    <a:pt x="355416" y="3798535"/>
                  </a:cubicBezTo>
                  <a:close/>
                  <a:moveTo>
                    <a:pt x="1122783" y="3798219"/>
                  </a:moveTo>
                  <a:lnTo>
                    <a:pt x="1112619" y="3810894"/>
                  </a:lnTo>
                  <a:cubicBezTo>
                    <a:pt x="1112619" y="3810894"/>
                    <a:pt x="1112619" y="3810894"/>
                    <a:pt x="1138664" y="3843850"/>
                  </a:cubicBezTo>
                  <a:cubicBezTo>
                    <a:pt x="1138664" y="3843850"/>
                    <a:pt x="1138664" y="3843850"/>
                    <a:pt x="1153592" y="3824837"/>
                  </a:cubicBezTo>
                  <a:cubicBezTo>
                    <a:pt x="1153592" y="3824837"/>
                    <a:pt x="1153592" y="3824837"/>
                    <a:pt x="1152957" y="3824520"/>
                  </a:cubicBezTo>
                  <a:cubicBezTo>
                    <a:pt x="1152957" y="3824520"/>
                    <a:pt x="1152957" y="3824520"/>
                    <a:pt x="1153274" y="3824203"/>
                  </a:cubicBezTo>
                  <a:cubicBezTo>
                    <a:pt x="1153274" y="3824203"/>
                    <a:pt x="1153274" y="3824203"/>
                    <a:pt x="1122783" y="3798219"/>
                  </a:cubicBezTo>
                  <a:close/>
                  <a:moveTo>
                    <a:pt x="3523981" y="3797585"/>
                  </a:moveTo>
                  <a:cubicBezTo>
                    <a:pt x="3523981" y="3797585"/>
                    <a:pt x="3523981" y="3797585"/>
                    <a:pt x="3508418" y="3845752"/>
                  </a:cubicBezTo>
                  <a:cubicBezTo>
                    <a:pt x="3508418" y="3845752"/>
                    <a:pt x="3508418" y="3845752"/>
                    <a:pt x="3524298" y="3850822"/>
                  </a:cubicBezTo>
                  <a:cubicBezTo>
                    <a:pt x="3524298" y="3850822"/>
                    <a:pt x="3524298" y="3850822"/>
                    <a:pt x="3523346" y="3853991"/>
                  </a:cubicBezTo>
                  <a:cubicBezTo>
                    <a:pt x="3523346" y="3853991"/>
                    <a:pt x="3523346" y="3853991"/>
                    <a:pt x="3550661" y="3862864"/>
                  </a:cubicBezTo>
                  <a:lnTo>
                    <a:pt x="3559554" y="3833393"/>
                  </a:lnTo>
                  <a:cubicBezTo>
                    <a:pt x="3559554" y="3833393"/>
                    <a:pt x="3559554" y="3833393"/>
                    <a:pt x="3542085" y="3828006"/>
                  </a:cubicBezTo>
                  <a:cubicBezTo>
                    <a:pt x="3542085" y="3828006"/>
                    <a:pt x="3542085" y="3828006"/>
                    <a:pt x="3549390" y="3805824"/>
                  </a:cubicBezTo>
                  <a:cubicBezTo>
                    <a:pt x="3549390" y="3805824"/>
                    <a:pt x="3549390" y="3805824"/>
                    <a:pt x="3523981" y="3797585"/>
                  </a:cubicBezTo>
                  <a:close/>
                  <a:moveTo>
                    <a:pt x="1615727" y="3796634"/>
                  </a:moveTo>
                  <a:cubicBezTo>
                    <a:pt x="1608740" y="3809626"/>
                    <a:pt x="1600164" y="3822619"/>
                    <a:pt x="1591588" y="3834978"/>
                  </a:cubicBezTo>
                  <a:cubicBezTo>
                    <a:pt x="1599211" y="3835611"/>
                    <a:pt x="1610963" y="3836245"/>
                    <a:pt x="1623985" y="3837196"/>
                  </a:cubicBezTo>
                  <a:cubicBezTo>
                    <a:pt x="1623985" y="3837196"/>
                    <a:pt x="1623985" y="3837196"/>
                    <a:pt x="1624303" y="3835294"/>
                  </a:cubicBezTo>
                  <a:cubicBezTo>
                    <a:pt x="1624303" y="3835294"/>
                    <a:pt x="1624303" y="3835294"/>
                    <a:pt x="1625573" y="3804556"/>
                  </a:cubicBezTo>
                  <a:cubicBezTo>
                    <a:pt x="1625573" y="3804556"/>
                    <a:pt x="1625573" y="3804556"/>
                    <a:pt x="1672581" y="3806774"/>
                  </a:cubicBezTo>
                  <a:cubicBezTo>
                    <a:pt x="1672581" y="3806774"/>
                    <a:pt x="1672581" y="3806774"/>
                    <a:pt x="1670993" y="3839731"/>
                  </a:cubicBezTo>
                  <a:lnTo>
                    <a:pt x="1646854" y="3838463"/>
                  </a:lnTo>
                  <a:cubicBezTo>
                    <a:pt x="1679569" y="3840682"/>
                    <a:pt x="1713554" y="3843217"/>
                    <a:pt x="1722130" y="3843850"/>
                  </a:cubicBezTo>
                  <a:cubicBezTo>
                    <a:pt x="1722130" y="3843850"/>
                    <a:pt x="1722130" y="3843850"/>
                    <a:pt x="1729435" y="3807408"/>
                  </a:cubicBezTo>
                  <a:cubicBezTo>
                    <a:pt x="1713236" y="3806774"/>
                    <a:pt x="1615410" y="3799803"/>
                    <a:pt x="1615410" y="3799803"/>
                  </a:cubicBezTo>
                  <a:cubicBezTo>
                    <a:pt x="1615410" y="3799803"/>
                    <a:pt x="1615410" y="3799803"/>
                    <a:pt x="1615727" y="3796634"/>
                  </a:cubicBezTo>
                  <a:close/>
                  <a:moveTo>
                    <a:pt x="752757" y="3794733"/>
                  </a:moveTo>
                  <a:cubicBezTo>
                    <a:pt x="752439" y="3795367"/>
                    <a:pt x="752439" y="3795683"/>
                    <a:pt x="752439" y="3796000"/>
                  </a:cubicBezTo>
                  <a:cubicBezTo>
                    <a:pt x="752122" y="3798852"/>
                    <a:pt x="748310" y="3824203"/>
                    <a:pt x="744499" y="3850188"/>
                  </a:cubicBezTo>
                  <a:cubicBezTo>
                    <a:pt x="742593" y="3863814"/>
                    <a:pt x="740370" y="3877440"/>
                    <a:pt x="738782" y="3887898"/>
                  </a:cubicBezTo>
                  <a:cubicBezTo>
                    <a:pt x="738146" y="3892968"/>
                    <a:pt x="737511" y="3897404"/>
                    <a:pt x="736876" y="3900573"/>
                  </a:cubicBezTo>
                  <a:cubicBezTo>
                    <a:pt x="736558" y="3902158"/>
                    <a:pt x="736558" y="3903108"/>
                    <a:pt x="736241" y="3904059"/>
                  </a:cubicBezTo>
                  <a:cubicBezTo>
                    <a:pt x="750851" y="3905644"/>
                    <a:pt x="781978" y="3908812"/>
                    <a:pt x="834067" y="3913883"/>
                  </a:cubicBezTo>
                  <a:cubicBezTo>
                    <a:pt x="864241" y="3916735"/>
                    <a:pt x="889015" y="3920854"/>
                    <a:pt x="910931" y="3925291"/>
                  </a:cubicBezTo>
                  <a:cubicBezTo>
                    <a:pt x="910931" y="3925291"/>
                    <a:pt x="910931" y="3925291"/>
                    <a:pt x="903308" y="3850188"/>
                  </a:cubicBezTo>
                  <a:cubicBezTo>
                    <a:pt x="877263" y="3846069"/>
                    <a:pt x="816598" y="3836562"/>
                    <a:pt x="816281" y="3836562"/>
                  </a:cubicBezTo>
                  <a:cubicBezTo>
                    <a:pt x="816281" y="3836562"/>
                    <a:pt x="816281" y="3836562"/>
                    <a:pt x="813422" y="3836245"/>
                  </a:cubicBezTo>
                  <a:cubicBezTo>
                    <a:pt x="813422" y="3836245"/>
                    <a:pt x="813422" y="3836245"/>
                    <a:pt x="825174" y="3798219"/>
                  </a:cubicBezTo>
                  <a:close/>
                  <a:moveTo>
                    <a:pt x="2397069" y="3793782"/>
                  </a:moveTo>
                  <a:cubicBezTo>
                    <a:pt x="2397069" y="3793782"/>
                    <a:pt x="2397069" y="3793782"/>
                    <a:pt x="2395164" y="3816915"/>
                  </a:cubicBezTo>
                  <a:cubicBezTo>
                    <a:pt x="2395164" y="3816915"/>
                    <a:pt x="2395164" y="3816915"/>
                    <a:pt x="2371024" y="3814697"/>
                  </a:cubicBezTo>
                  <a:cubicBezTo>
                    <a:pt x="2371024" y="3814697"/>
                    <a:pt x="2371024" y="3814697"/>
                    <a:pt x="2369754" y="3830224"/>
                  </a:cubicBezTo>
                  <a:cubicBezTo>
                    <a:pt x="2369754" y="3830224"/>
                    <a:pt x="2369754" y="3830224"/>
                    <a:pt x="2424384" y="3834344"/>
                  </a:cubicBezTo>
                  <a:lnTo>
                    <a:pt x="2425655" y="3818499"/>
                  </a:lnTo>
                  <a:cubicBezTo>
                    <a:pt x="2425655" y="3818499"/>
                    <a:pt x="2425655" y="3818499"/>
                    <a:pt x="2431372" y="3819133"/>
                  </a:cubicBezTo>
                  <a:cubicBezTo>
                    <a:pt x="2431372" y="3819133"/>
                    <a:pt x="2431372" y="3819133"/>
                    <a:pt x="2433596" y="3796951"/>
                  </a:cubicBezTo>
                  <a:cubicBezTo>
                    <a:pt x="2433596" y="3796951"/>
                    <a:pt x="2433596" y="3796951"/>
                    <a:pt x="2397069" y="3793782"/>
                  </a:cubicBezTo>
                  <a:close/>
                  <a:moveTo>
                    <a:pt x="3521440" y="3792515"/>
                  </a:moveTo>
                  <a:cubicBezTo>
                    <a:pt x="3521440" y="3792515"/>
                    <a:pt x="3521440" y="3792515"/>
                    <a:pt x="3554472" y="3803289"/>
                  </a:cubicBezTo>
                  <a:cubicBezTo>
                    <a:pt x="3554472" y="3803289"/>
                    <a:pt x="3554472" y="3803289"/>
                    <a:pt x="3547485" y="3825154"/>
                  </a:cubicBezTo>
                  <a:lnTo>
                    <a:pt x="3564636" y="3830858"/>
                  </a:lnTo>
                  <a:cubicBezTo>
                    <a:pt x="3564636" y="3830858"/>
                    <a:pt x="3564636" y="3830858"/>
                    <a:pt x="3564001" y="3832759"/>
                  </a:cubicBezTo>
                  <a:cubicBezTo>
                    <a:pt x="3564001" y="3832759"/>
                    <a:pt x="3564001" y="3832759"/>
                    <a:pt x="3553520" y="3868251"/>
                  </a:cubicBezTo>
                  <a:cubicBezTo>
                    <a:pt x="3553520" y="3868251"/>
                    <a:pt x="3553520" y="3868251"/>
                    <a:pt x="3517946" y="3856526"/>
                  </a:cubicBezTo>
                  <a:cubicBezTo>
                    <a:pt x="3517946" y="3856526"/>
                    <a:pt x="3517946" y="3856526"/>
                    <a:pt x="3518899" y="3853357"/>
                  </a:cubicBezTo>
                  <a:cubicBezTo>
                    <a:pt x="3518899" y="3853357"/>
                    <a:pt x="3518899" y="3853357"/>
                    <a:pt x="3503336" y="3848287"/>
                  </a:cubicBezTo>
                  <a:cubicBezTo>
                    <a:pt x="3503336" y="3848287"/>
                    <a:pt x="3503336" y="3848287"/>
                    <a:pt x="3521440" y="3792515"/>
                  </a:cubicBezTo>
                  <a:close/>
                  <a:moveTo>
                    <a:pt x="1294932" y="3790613"/>
                  </a:moveTo>
                  <a:cubicBezTo>
                    <a:pt x="1294932" y="3790613"/>
                    <a:pt x="1294932" y="3790613"/>
                    <a:pt x="1275240" y="3802338"/>
                  </a:cubicBezTo>
                  <a:cubicBezTo>
                    <a:pt x="1275240" y="3802338"/>
                    <a:pt x="1275240" y="3802338"/>
                    <a:pt x="1278098" y="3807091"/>
                  </a:cubicBezTo>
                  <a:cubicBezTo>
                    <a:pt x="1278098" y="3807091"/>
                    <a:pt x="1278098" y="3807091"/>
                    <a:pt x="1280639" y="3810894"/>
                  </a:cubicBezTo>
                  <a:cubicBezTo>
                    <a:pt x="1280639" y="3810894"/>
                    <a:pt x="1280639" y="3810894"/>
                    <a:pt x="1276828" y="3813112"/>
                  </a:cubicBezTo>
                  <a:cubicBezTo>
                    <a:pt x="1276828" y="3813112"/>
                    <a:pt x="1276828" y="3813112"/>
                    <a:pt x="1253642" y="3827689"/>
                  </a:cubicBezTo>
                  <a:cubicBezTo>
                    <a:pt x="1253642" y="3827689"/>
                    <a:pt x="1253642" y="3827689"/>
                    <a:pt x="1266029" y="3847970"/>
                  </a:cubicBezTo>
                  <a:cubicBezTo>
                    <a:pt x="1266029" y="3847970"/>
                    <a:pt x="1266029" y="3847970"/>
                    <a:pt x="1307319" y="3822936"/>
                  </a:cubicBezTo>
                  <a:lnTo>
                    <a:pt x="1300649" y="3813429"/>
                  </a:lnTo>
                  <a:cubicBezTo>
                    <a:pt x="1300649" y="3813429"/>
                    <a:pt x="1300649" y="3813429"/>
                    <a:pt x="1298108" y="3809310"/>
                  </a:cubicBezTo>
                  <a:cubicBezTo>
                    <a:pt x="1298108" y="3809310"/>
                    <a:pt x="1298108" y="3809310"/>
                    <a:pt x="1302237" y="3807091"/>
                  </a:cubicBezTo>
                  <a:cubicBezTo>
                    <a:pt x="1302237" y="3807091"/>
                    <a:pt x="1302237" y="3807091"/>
                    <a:pt x="1304143" y="3805824"/>
                  </a:cubicBezTo>
                  <a:cubicBezTo>
                    <a:pt x="1304143" y="3805824"/>
                    <a:pt x="1304143" y="3805824"/>
                    <a:pt x="1294932" y="3790613"/>
                  </a:cubicBezTo>
                  <a:close/>
                  <a:moveTo>
                    <a:pt x="2393258" y="3789346"/>
                  </a:moveTo>
                  <a:cubicBezTo>
                    <a:pt x="2393258" y="3789346"/>
                    <a:pt x="2393258" y="3789346"/>
                    <a:pt x="2438042" y="3793148"/>
                  </a:cubicBezTo>
                  <a:cubicBezTo>
                    <a:pt x="2438042" y="3793148"/>
                    <a:pt x="2438042" y="3793148"/>
                    <a:pt x="2435184" y="3823570"/>
                  </a:cubicBezTo>
                  <a:cubicBezTo>
                    <a:pt x="2435184" y="3823570"/>
                    <a:pt x="2435184" y="3823570"/>
                    <a:pt x="2429466" y="3823253"/>
                  </a:cubicBezTo>
                  <a:lnTo>
                    <a:pt x="2428196" y="3838780"/>
                  </a:lnTo>
                  <a:cubicBezTo>
                    <a:pt x="2428196" y="3838780"/>
                    <a:pt x="2428196" y="3838780"/>
                    <a:pt x="2365308" y="3834344"/>
                  </a:cubicBezTo>
                  <a:cubicBezTo>
                    <a:pt x="2365308" y="3834344"/>
                    <a:pt x="2365308" y="3834344"/>
                    <a:pt x="2365625" y="3832126"/>
                  </a:cubicBezTo>
                  <a:cubicBezTo>
                    <a:pt x="2365625" y="3832126"/>
                    <a:pt x="2365625" y="3832126"/>
                    <a:pt x="2367213" y="3810260"/>
                  </a:cubicBezTo>
                  <a:cubicBezTo>
                    <a:pt x="2367213" y="3810260"/>
                    <a:pt x="2367213" y="3810260"/>
                    <a:pt x="2391352" y="3812162"/>
                  </a:cubicBezTo>
                  <a:cubicBezTo>
                    <a:pt x="2391352" y="3812162"/>
                    <a:pt x="2391352" y="3812162"/>
                    <a:pt x="2393258" y="3789346"/>
                  </a:cubicBezTo>
                  <a:close/>
                  <a:moveTo>
                    <a:pt x="1786924" y="3788395"/>
                  </a:moveTo>
                  <a:lnTo>
                    <a:pt x="1784065" y="3804873"/>
                  </a:lnTo>
                  <a:cubicBezTo>
                    <a:pt x="1784065" y="3804873"/>
                    <a:pt x="1784065" y="3804873"/>
                    <a:pt x="1780889" y="3804239"/>
                  </a:cubicBezTo>
                  <a:cubicBezTo>
                    <a:pt x="1780889" y="3804239"/>
                    <a:pt x="1780889" y="3804239"/>
                    <a:pt x="1776442" y="3832759"/>
                  </a:cubicBezTo>
                  <a:cubicBezTo>
                    <a:pt x="1776442" y="3832759"/>
                    <a:pt x="1776442" y="3832759"/>
                    <a:pt x="1806616" y="3836879"/>
                  </a:cubicBezTo>
                  <a:cubicBezTo>
                    <a:pt x="1806616" y="3836879"/>
                    <a:pt x="1806616" y="3836879"/>
                    <a:pt x="1809475" y="3818816"/>
                  </a:cubicBezTo>
                  <a:cubicBezTo>
                    <a:pt x="1809475" y="3818816"/>
                    <a:pt x="1809475" y="3818816"/>
                    <a:pt x="1832661" y="3822619"/>
                  </a:cubicBezTo>
                  <a:cubicBezTo>
                    <a:pt x="1832661" y="3822619"/>
                    <a:pt x="1832661" y="3822619"/>
                    <a:pt x="1836790" y="3796317"/>
                  </a:cubicBezTo>
                  <a:cubicBezTo>
                    <a:pt x="1836790" y="3796317"/>
                    <a:pt x="1836790" y="3796317"/>
                    <a:pt x="1786924" y="3788395"/>
                  </a:cubicBezTo>
                  <a:close/>
                  <a:moveTo>
                    <a:pt x="1271" y="3787761"/>
                  </a:moveTo>
                  <a:cubicBezTo>
                    <a:pt x="23822" y="3800120"/>
                    <a:pt x="23822" y="3800120"/>
                    <a:pt x="23822" y="3800120"/>
                  </a:cubicBezTo>
                  <a:cubicBezTo>
                    <a:pt x="19375" y="3802021"/>
                    <a:pt x="19375" y="3802021"/>
                    <a:pt x="19375" y="3802021"/>
                  </a:cubicBezTo>
                  <a:cubicBezTo>
                    <a:pt x="14611" y="3803923"/>
                    <a:pt x="14611" y="3803923"/>
                    <a:pt x="14611" y="3803923"/>
                  </a:cubicBezTo>
                  <a:cubicBezTo>
                    <a:pt x="13658" y="3804239"/>
                    <a:pt x="13658" y="3804239"/>
                    <a:pt x="13658" y="3804239"/>
                  </a:cubicBezTo>
                  <a:cubicBezTo>
                    <a:pt x="1271" y="3800437"/>
                    <a:pt x="1271" y="3800437"/>
                    <a:pt x="1271" y="3800437"/>
                  </a:cubicBezTo>
                  <a:lnTo>
                    <a:pt x="1271" y="3795367"/>
                  </a:lnTo>
                  <a:cubicBezTo>
                    <a:pt x="11752" y="3798852"/>
                    <a:pt x="11752" y="3798852"/>
                    <a:pt x="11752" y="3798852"/>
                  </a:cubicBezTo>
                  <a:cubicBezTo>
                    <a:pt x="1271" y="3793148"/>
                    <a:pt x="1271" y="3793148"/>
                    <a:pt x="1271" y="3793148"/>
                  </a:cubicBezTo>
                  <a:cubicBezTo>
                    <a:pt x="1271" y="3787761"/>
                    <a:pt x="1271" y="3787761"/>
                    <a:pt x="1271" y="3787761"/>
                  </a:cubicBezTo>
                  <a:close/>
                  <a:moveTo>
                    <a:pt x="1916512" y="3787444"/>
                  </a:moveTo>
                  <a:cubicBezTo>
                    <a:pt x="1914289" y="3805507"/>
                    <a:pt x="1911430" y="3826422"/>
                    <a:pt x="1908572" y="3849237"/>
                  </a:cubicBezTo>
                  <a:lnTo>
                    <a:pt x="2082627" y="3862547"/>
                  </a:lnTo>
                  <a:cubicBezTo>
                    <a:pt x="2082627" y="3862547"/>
                    <a:pt x="2082627" y="3862547"/>
                    <a:pt x="2089297" y="3800437"/>
                  </a:cubicBezTo>
                  <a:cubicBezTo>
                    <a:pt x="2089297" y="3800437"/>
                    <a:pt x="2089297" y="3800437"/>
                    <a:pt x="1916512" y="3787444"/>
                  </a:cubicBezTo>
                  <a:close/>
                  <a:moveTo>
                    <a:pt x="233450" y="3787444"/>
                  </a:moveTo>
                  <a:lnTo>
                    <a:pt x="110214" y="3851139"/>
                  </a:lnTo>
                  <a:cubicBezTo>
                    <a:pt x="110214" y="3851139"/>
                    <a:pt x="110214" y="3851139"/>
                    <a:pt x="115931" y="3858744"/>
                  </a:cubicBezTo>
                  <a:cubicBezTo>
                    <a:pt x="115931" y="3858744"/>
                    <a:pt x="115931" y="3858744"/>
                    <a:pt x="126730" y="3850505"/>
                  </a:cubicBezTo>
                  <a:cubicBezTo>
                    <a:pt x="126730" y="3850505"/>
                    <a:pt x="126730" y="3850505"/>
                    <a:pt x="141023" y="3869518"/>
                  </a:cubicBezTo>
                  <a:cubicBezTo>
                    <a:pt x="141023" y="3869518"/>
                    <a:pt x="141023" y="3869518"/>
                    <a:pt x="259177" y="3823253"/>
                  </a:cubicBezTo>
                  <a:cubicBezTo>
                    <a:pt x="256636" y="3819767"/>
                    <a:pt x="252825" y="3814697"/>
                    <a:pt x="248378" y="3808359"/>
                  </a:cubicBezTo>
                  <a:cubicBezTo>
                    <a:pt x="243932" y="3802338"/>
                    <a:pt x="239167" y="3795367"/>
                    <a:pt x="233450" y="3787444"/>
                  </a:cubicBezTo>
                  <a:close/>
                  <a:moveTo>
                    <a:pt x="2618450" y="3784592"/>
                  </a:moveTo>
                  <a:cubicBezTo>
                    <a:pt x="2588276" y="3783959"/>
                    <a:pt x="2558737" y="3833076"/>
                    <a:pt x="2551114" y="3863497"/>
                  </a:cubicBezTo>
                  <a:cubicBezTo>
                    <a:pt x="2548256" y="3874589"/>
                    <a:pt x="2546032" y="3889482"/>
                    <a:pt x="2546032" y="3904693"/>
                  </a:cubicBezTo>
                  <a:cubicBezTo>
                    <a:pt x="2546032" y="3935114"/>
                    <a:pt x="2554926" y="3965852"/>
                    <a:pt x="2584782" y="3974408"/>
                  </a:cubicBezTo>
                  <a:cubicBezTo>
                    <a:pt x="2587958" y="3975042"/>
                    <a:pt x="2590817" y="3975676"/>
                    <a:pt x="2593993" y="3975676"/>
                  </a:cubicBezTo>
                  <a:cubicBezTo>
                    <a:pt x="2613050" y="3975676"/>
                    <a:pt x="2629249" y="3957613"/>
                    <a:pt x="2640366" y="3937966"/>
                  </a:cubicBezTo>
                  <a:cubicBezTo>
                    <a:pt x="2651800" y="3918319"/>
                    <a:pt x="2658470" y="3897404"/>
                    <a:pt x="2659740" y="3893285"/>
                  </a:cubicBezTo>
                  <a:cubicBezTo>
                    <a:pt x="2660693" y="3889482"/>
                    <a:pt x="2664504" y="3872053"/>
                    <a:pt x="2664504" y="3852406"/>
                  </a:cubicBezTo>
                  <a:cubicBezTo>
                    <a:pt x="2664504" y="3825154"/>
                    <a:pt x="2657517" y="3794733"/>
                    <a:pt x="2627026" y="3785860"/>
                  </a:cubicBezTo>
                  <a:cubicBezTo>
                    <a:pt x="2624167" y="3784909"/>
                    <a:pt x="2621308" y="3784592"/>
                    <a:pt x="2618450" y="3784592"/>
                  </a:cubicBezTo>
                  <a:close/>
                  <a:moveTo>
                    <a:pt x="1296520" y="3784592"/>
                  </a:moveTo>
                  <a:cubicBezTo>
                    <a:pt x="1296520" y="3784592"/>
                    <a:pt x="1296520" y="3784592"/>
                    <a:pt x="1310178" y="3807408"/>
                  </a:cubicBezTo>
                  <a:lnTo>
                    <a:pt x="1304461" y="3810894"/>
                  </a:lnTo>
                  <a:cubicBezTo>
                    <a:pt x="1304461" y="3810894"/>
                    <a:pt x="1304461" y="3810894"/>
                    <a:pt x="1313672" y="3824203"/>
                  </a:cubicBezTo>
                  <a:cubicBezTo>
                    <a:pt x="1313672" y="3824203"/>
                    <a:pt x="1313672" y="3824203"/>
                    <a:pt x="1264441" y="3854308"/>
                  </a:cubicBezTo>
                  <a:cubicBezTo>
                    <a:pt x="1264441" y="3854308"/>
                    <a:pt x="1264441" y="3854308"/>
                    <a:pt x="1247607" y="3826105"/>
                  </a:cubicBezTo>
                  <a:cubicBezTo>
                    <a:pt x="1247607" y="3826105"/>
                    <a:pt x="1247607" y="3826105"/>
                    <a:pt x="1274287" y="3809310"/>
                  </a:cubicBezTo>
                  <a:cubicBezTo>
                    <a:pt x="1274287" y="3809310"/>
                    <a:pt x="1274287" y="3809310"/>
                    <a:pt x="1269205" y="3800754"/>
                  </a:cubicBezTo>
                  <a:cubicBezTo>
                    <a:pt x="1269205" y="3800754"/>
                    <a:pt x="1269205" y="3800754"/>
                    <a:pt x="1296520" y="3784592"/>
                  </a:cubicBezTo>
                  <a:close/>
                  <a:moveTo>
                    <a:pt x="1783430" y="3783642"/>
                  </a:moveTo>
                  <a:cubicBezTo>
                    <a:pt x="1783430" y="3783642"/>
                    <a:pt x="1783430" y="3783642"/>
                    <a:pt x="1841554" y="3793148"/>
                  </a:cubicBezTo>
                  <a:cubicBezTo>
                    <a:pt x="1841554" y="3793148"/>
                    <a:pt x="1841554" y="3793148"/>
                    <a:pt x="1835837" y="3827372"/>
                  </a:cubicBezTo>
                  <a:cubicBezTo>
                    <a:pt x="1835837" y="3827372"/>
                    <a:pt x="1835837" y="3827372"/>
                    <a:pt x="1812969" y="3823570"/>
                  </a:cubicBezTo>
                  <a:cubicBezTo>
                    <a:pt x="1812969" y="3823570"/>
                    <a:pt x="1812969" y="3823570"/>
                    <a:pt x="1810110" y="3841632"/>
                  </a:cubicBezTo>
                  <a:cubicBezTo>
                    <a:pt x="1810110" y="3841632"/>
                    <a:pt x="1810110" y="3841632"/>
                    <a:pt x="1808204" y="3841315"/>
                  </a:cubicBezTo>
                  <a:cubicBezTo>
                    <a:pt x="1808204" y="3841315"/>
                    <a:pt x="1808204" y="3841315"/>
                    <a:pt x="1771360" y="3836245"/>
                  </a:cubicBezTo>
                  <a:cubicBezTo>
                    <a:pt x="1771360" y="3836245"/>
                    <a:pt x="1771360" y="3836245"/>
                    <a:pt x="1777395" y="3799486"/>
                  </a:cubicBezTo>
                  <a:cubicBezTo>
                    <a:pt x="1777395" y="3799486"/>
                    <a:pt x="1777395" y="3799486"/>
                    <a:pt x="1780889" y="3800120"/>
                  </a:cubicBezTo>
                  <a:close/>
                  <a:moveTo>
                    <a:pt x="2618450" y="3779839"/>
                  </a:moveTo>
                  <a:cubicBezTo>
                    <a:pt x="2621626" y="3779839"/>
                    <a:pt x="2625120" y="3780473"/>
                    <a:pt x="2628296" y="3781423"/>
                  </a:cubicBezTo>
                  <a:cubicBezTo>
                    <a:pt x="2661964" y="3791247"/>
                    <a:pt x="2669269" y="3824837"/>
                    <a:pt x="2669269" y="3852406"/>
                  </a:cubicBezTo>
                  <a:cubicBezTo>
                    <a:pt x="2669269" y="3872687"/>
                    <a:pt x="2665457" y="3890433"/>
                    <a:pt x="2664187" y="3894552"/>
                  </a:cubicBezTo>
                  <a:cubicBezTo>
                    <a:pt x="2662916" y="3898989"/>
                    <a:pt x="2656246" y="3920220"/>
                    <a:pt x="2644494" y="3940501"/>
                  </a:cubicBezTo>
                  <a:cubicBezTo>
                    <a:pt x="2632742" y="3960465"/>
                    <a:pt x="2616226" y="3980112"/>
                    <a:pt x="2593993" y="3980112"/>
                  </a:cubicBezTo>
                  <a:cubicBezTo>
                    <a:pt x="2590499" y="3980112"/>
                    <a:pt x="2587006" y="3979795"/>
                    <a:pt x="2583512" y="3978845"/>
                  </a:cubicBezTo>
                  <a:cubicBezTo>
                    <a:pt x="2550479" y="3969338"/>
                    <a:pt x="2541268" y="3935748"/>
                    <a:pt x="2541268" y="3904693"/>
                  </a:cubicBezTo>
                  <a:cubicBezTo>
                    <a:pt x="2541268" y="3889165"/>
                    <a:pt x="2543809" y="3873955"/>
                    <a:pt x="2546668" y="3862230"/>
                  </a:cubicBezTo>
                  <a:cubicBezTo>
                    <a:pt x="2554926" y="3830858"/>
                    <a:pt x="2583512" y="3780473"/>
                    <a:pt x="2618450" y="3779839"/>
                  </a:cubicBezTo>
                  <a:close/>
                  <a:moveTo>
                    <a:pt x="1676075" y="3778888"/>
                  </a:moveTo>
                  <a:cubicBezTo>
                    <a:pt x="1676075" y="3778888"/>
                    <a:pt x="1676075" y="3778888"/>
                    <a:pt x="1675122" y="3792831"/>
                  </a:cubicBezTo>
                  <a:cubicBezTo>
                    <a:pt x="1675122" y="3792831"/>
                    <a:pt x="1675122" y="3792831"/>
                    <a:pt x="1714824" y="3795367"/>
                  </a:cubicBezTo>
                  <a:lnTo>
                    <a:pt x="1715777" y="3781423"/>
                  </a:lnTo>
                  <a:cubicBezTo>
                    <a:pt x="1715777" y="3781423"/>
                    <a:pt x="1715777" y="3781423"/>
                    <a:pt x="1676075" y="3778888"/>
                  </a:cubicBezTo>
                  <a:close/>
                  <a:moveTo>
                    <a:pt x="2112483" y="3777938"/>
                  </a:moveTo>
                  <a:cubicBezTo>
                    <a:pt x="2112483" y="3777938"/>
                    <a:pt x="2112483" y="3777938"/>
                    <a:pt x="2094061" y="3950642"/>
                  </a:cubicBezTo>
                  <a:lnTo>
                    <a:pt x="2209356" y="3976626"/>
                  </a:lnTo>
                  <a:cubicBezTo>
                    <a:pt x="2209356" y="3976626"/>
                    <a:pt x="2209356" y="3976626"/>
                    <a:pt x="2257952" y="3894552"/>
                  </a:cubicBezTo>
                  <a:cubicBezTo>
                    <a:pt x="2257952" y="3894552"/>
                    <a:pt x="2257952" y="3894552"/>
                    <a:pt x="2257317" y="3807725"/>
                  </a:cubicBezTo>
                  <a:cubicBezTo>
                    <a:pt x="2236990" y="3804239"/>
                    <a:pt x="2146468" y="3785226"/>
                    <a:pt x="2112483" y="3777938"/>
                  </a:cubicBezTo>
                  <a:close/>
                  <a:moveTo>
                    <a:pt x="1196788" y="3777938"/>
                  </a:moveTo>
                  <a:cubicBezTo>
                    <a:pt x="1196788" y="3777938"/>
                    <a:pt x="1196788" y="3777938"/>
                    <a:pt x="1181225" y="3797902"/>
                  </a:cubicBezTo>
                  <a:cubicBezTo>
                    <a:pt x="1181225" y="3797902"/>
                    <a:pt x="1181225" y="3797902"/>
                    <a:pt x="1212669" y="3824520"/>
                  </a:cubicBezTo>
                  <a:lnTo>
                    <a:pt x="1216798" y="3819450"/>
                  </a:lnTo>
                  <a:cubicBezTo>
                    <a:pt x="1216798" y="3819450"/>
                    <a:pt x="1216798" y="3819450"/>
                    <a:pt x="1196788" y="3777938"/>
                  </a:cubicBezTo>
                  <a:close/>
                  <a:moveTo>
                    <a:pt x="423704" y="3775403"/>
                  </a:moveTo>
                  <a:cubicBezTo>
                    <a:pt x="423704" y="3775403"/>
                    <a:pt x="423704" y="3775403"/>
                    <a:pt x="276011" y="3811211"/>
                  </a:cubicBezTo>
                  <a:cubicBezTo>
                    <a:pt x="276011" y="3811528"/>
                    <a:pt x="276329" y="3811845"/>
                    <a:pt x="276329" y="3811845"/>
                  </a:cubicBezTo>
                  <a:cubicBezTo>
                    <a:pt x="277599" y="3813429"/>
                    <a:pt x="278552" y="3814697"/>
                    <a:pt x="279187" y="3815647"/>
                  </a:cubicBezTo>
                  <a:cubicBezTo>
                    <a:pt x="279505" y="3815964"/>
                    <a:pt x="279505" y="3816281"/>
                    <a:pt x="279822" y="3816598"/>
                  </a:cubicBezTo>
                  <a:cubicBezTo>
                    <a:pt x="280140" y="3816915"/>
                    <a:pt x="280140" y="3816915"/>
                    <a:pt x="280140" y="3817232"/>
                  </a:cubicBezTo>
                  <a:cubicBezTo>
                    <a:pt x="280458" y="3817549"/>
                    <a:pt x="280458" y="3817549"/>
                    <a:pt x="280458" y="3817866"/>
                  </a:cubicBezTo>
                  <a:cubicBezTo>
                    <a:pt x="280775" y="3818182"/>
                    <a:pt x="280775" y="3818182"/>
                    <a:pt x="281093" y="3818816"/>
                  </a:cubicBezTo>
                  <a:cubicBezTo>
                    <a:pt x="281093" y="3819133"/>
                    <a:pt x="281093" y="3819133"/>
                    <a:pt x="281411" y="3819450"/>
                  </a:cubicBezTo>
                  <a:lnTo>
                    <a:pt x="366532" y="3939867"/>
                  </a:lnTo>
                  <a:cubicBezTo>
                    <a:pt x="366532" y="3939867"/>
                    <a:pt x="366532" y="3939867"/>
                    <a:pt x="458642" y="3847019"/>
                  </a:cubicBezTo>
                  <a:cubicBezTo>
                    <a:pt x="437361" y="3827689"/>
                    <a:pt x="432915" y="3809626"/>
                    <a:pt x="430691" y="3801071"/>
                  </a:cubicBezTo>
                  <a:cubicBezTo>
                    <a:pt x="429103" y="3796000"/>
                    <a:pt x="426562" y="3786177"/>
                    <a:pt x="423704" y="3775403"/>
                  </a:cubicBezTo>
                  <a:close/>
                  <a:moveTo>
                    <a:pt x="1299061" y="3775086"/>
                  </a:moveTo>
                  <a:cubicBezTo>
                    <a:pt x="1299061" y="3775086"/>
                    <a:pt x="1299061" y="3775086"/>
                    <a:pt x="1222515" y="3798535"/>
                  </a:cubicBezTo>
                  <a:cubicBezTo>
                    <a:pt x="1222515" y="3798535"/>
                    <a:pt x="1222515" y="3798535"/>
                    <a:pt x="1239031" y="3833076"/>
                  </a:cubicBezTo>
                  <a:cubicBezTo>
                    <a:pt x="1242525" y="3835928"/>
                    <a:pt x="1253959" y="3846069"/>
                    <a:pt x="1265394" y="3855892"/>
                  </a:cubicBezTo>
                  <a:cubicBezTo>
                    <a:pt x="1272064" y="3861913"/>
                    <a:pt x="1279051" y="3867617"/>
                    <a:pt x="1284133" y="3872370"/>
                  </a:cubicBezTo>
                  <a:cubicBezTo>
                    <a:pt x="1285404" y="3873004"/>
                    <a:pt x="1286356" y="3873955"/>
                    <a:pt x="1286992" y="3874589"/>
                  </a:cubicBezTo>
                  <a:cubicBezTo>
                    <a:pt x="1289533" y="3870786"/>
                    <a:pt x="1292074" y="3866666"/>
                    <a:pt x="1295250" y="3862864"/>
                  </a:cubicBezTo>
                  <a:cubicBezTo>
                    <a:pt x="1300649" y="3856526"/>
                    <a:pt x="1307955" y="3848921"/>
                    <a:pt x="1315260" y="3842266"/>
                  </a:cubicBezTo>
                  <a:cubicBezTo>
                    <a:pt x="1325424" y="3833076"/>
                    <a:pt x="1335270" y="3825471"/>
                    <a:pt x="1336858" y="3824520"/>
                  </a:cubicBezTo>
                  <a:cubicBezTo>
                    <a:pt x="1336540" y="3824203"/>
                    <a:pt x="1336540" y="3824203"/>
                    <a:pt x="1336540" y="3824203"/>
                  </a:cubicBezTo>
                  <a:cubicBezTo>
                    <a:pt x="1336540" y="3824203"/>
                    <a:pt x="1336540" y="3824203"/>
                    <a:pt x="1299061" y="3775086"/>
                  </a:cubicBezTo>
                  <a:close/>
                  <a:moveTo>
                    <a:pt x="1672263" y="3774452"/>
                  </a:moveTo>
                  <a:cubicBezTo>
                    <a:pt x="1672263" y="3774452"/>
                    <a:pt x="1672263" y="3774452"/>
                    <a:pt x="1674169" y="3774452"/>
                  </a:cubicBezTo>
                  <a:cubicBezTo>
                    <a:pt x="1674169" y="3774452"/>
                    <a:pt x="1674169" y="3774452"/>
                    <a:pt x="1720224" y="3777621"/>
                  </a:cubicBezTo>
                  <a:lnTo>
                    <a:pt x="1718636" y="3799803"/>
                  </a:lnTo>
                  <a:cubicBezTo>
                    <a:pt x="1718636" y="3799803"/>
                    <a:pt x="1718636" y="3799803"/>
                    <a:pt x="1670675" y="3796634"/>
                  </a:cubicBezTo>
                  <a:cubicBezTo>
                    <a:pt x="1670675" y="3796634"/>
                    <a:pt x="1670675" y="3796634"/>
                    <a:pt x="1672263" y="3774452"/>
                  </a:cubicBezTo>
                  <a:close/>
                  <a:moveTo>
                    <a:pt x="1740869" y="3774135"/>
                  </a:moveTo>
                  <a:cubicBezTo>
                    <a:pt x="1740869" y="3774135"/>
                    <a:pt x="1740869" y="3774135"/>
                    <a:pt x="1729435" y="3830224"/>
                  </a:cubicBezTo>
                  <a:cubicBezTo>
                    <a:pt x="1734199" y="3830541"/>
                    <a:pt x="1830438" y="3848921"/>
                    <a:pt x="1851400" y="3853040"/>
                  </a:cubicBezTo>
                  <a:cubicBezTo>
                    <a:pt x="1851400" y="3853040"/>
                    <a:pt x="1851400" y="3853040"/>
                    <a:pt x="1859023" y="3784592"/>
                  </a:cubicBezTo>
                  <a:cubicBezTo>
                    <a:pt x="1859023" y="3784592"/>
                    <a:pt x="1859023" y="3784592"/>
                    <a:pt x="1740869" y="3774135"/>
                  </a:cubicBezTo>
                  <a:close/>
                  <a:moveTo>
                    <a:pt x="3559872" y="3765896"/>
                  </a:moveTo>
                  <a:cubicBezTo>
                    <a:pt x="3528428" y="3776353"/>
                    <a:pt x="3495713" y="3786811"/>
                    <a:pt x="3462998" y="3797585"/>
                  </a:cubicBezTo>
                  <a:lnTo>
                    <a:pt x="3504924" y="3918319"/>
                  </a:lnTo>
                  <a:cubicBezTo>
                    <a:pt x="3504924" y="3918319"/>
                    <a:pt x="3504924" y="3918319"/>
                    <a:pt x="3605927" y="3886313"/>
                  </a:cubicBezTo>
                  <a:cubicBezTo>
                    <a:pt x="3605927" y="3886313"/>
                    <a:pt x="3605927" y="3886313"/>
                    <a:pt x="3559872" y="3765896"/>
                  </a:cubicBezTo>
                  <a:close/>
                  <a:moveTo>
                    <a:pt x="3628160" y="3765262"/>
                  </a:moveTo>
                  <a:cubicBezTo>
                    <a:pt x="3628160" y="3765262"/>
                    <a:pt x="3628160" y="3765262"/>
                    <a:pt x="3612597" y="3813112"/>
                  </a:cubicBezTo>
                  <a:lnTo>
                    <a:pt x="3628478" y="3818182"/>
                  </a:lnTo>
                  <a:cubicBezTo>
                    <a:pt x="3628478" y="3818182"/>
                    <a:pt x="3628478" y="3818182"/>
                    <a:pt x="3627525" y="3821351"/>
                  </a:cubicBezTo>
                  <a:cubicBezTo>
                    <a:pt x="3627525" y="3821351"/>
                    <a:pt x="3627525" y="3821351"/>
                    <a:pt x="3654840" y="3830224"/>
                  </a:cubicBezTo>
                  <a:cubicBezTo>
                    <a:pt x="3654840" y="3830224"/>
                    <a:pt x="3654840" y="3830224"/>
                    <a:pt x="3663733" y="3801071"/>
                  </a:cubicBezTo>
                  <a:cubicBezTo>
                    <a:pt x="3663733" y="3801071"/>
                    <a:pt x="3663733" y="3801071"/>
                    <a:pt x="3646264" y="3795367"/>
                  </a:cubicBezTo>
                  <a:cubicBezTo>
                    <a:pt x="3646264" y="3795367"/>
                    <a:pt x="3646264" y="3795367"/>
                    <a:pt x="3653570" y="3773184"/>
                  </a:cubicBezTo>
                  <a:cubicBezTo>
                    <a:pt x="3653570" y="3773184"/>
                    <a:pt x="3653570" y="3773184"/>
                    <a:pt x="3628160" y="3765262"/>
                  </a:cubicBezTo>
                  <a:close/>
                  <a:moveTo>
                    <a:pt x="1628432" y="3764312"/>
                  </a:moveTo>
                  <a:cubicBezTo>
                    <a:pt x="1628114" y="3764628"/>
                    <a:pt x="1628114" y="3764945"/>
                    <a:pt x="1628114" y="3765262"/>
                  </a:cubicBezTo>
                  <a:cubicBezTo>
                    <a:pt x="1625573" y="3775403"/>
                    <a:pt x="1621444" y="3785226"/>
                    <a:pt x="1616362" y="3795367"/>
                  </a:cubicBezTo>
                  <a:cubicBezTo>
                    <a:pt x="1622397" y="3795683"/>
                    <a:pt x="1718318" y="3802655"/>
                    <a:pt x="1730388" y="3802972"/>
                  </a:cubicBezTo>
                  <a:cubicBezTo>
                    <a:pt x="1730388" y="3802972"/>
                    <a:pt x="1730388" y="3802972"/>
                    <a:pt x="1736422" y="3773818"/>
                  </a:cubicBezTo>
                  <a:cubicBezTo>
                    <a:pt x="1736422" y="3773818"/>
                    <a:pt x="1736422" y="3773818"/>
                    <a:pt x="1628432" y="3764312"/>
                  </a:cubicBezTo>
                  <a:close/>
                  <a:moveTo>
                    <a:pt x="1152004" y="3760826"/>
                  </a:moveTo>
                  <a:cubicBezTo>
                    <a:pt x="1152004" y="3760826"/>
                    <a:pt x="1152004" y="3760826"/>
                    <a:pt x="1125324" y="3794733"/>
                  </a:cubicBezTo>
                  <a:cubicBezTo>
                    <a:pt x="1125324" y="3794733"/>
                    <a:pt x="1125324" y="3794733"/>
                    <a:pt x="1156133" y="3820718"/>
                  </a:cubicBezTo>
                  <a:cubicBezTo>
                    <a:pt x="1156133" y="3820718"/>
                    <a:pt x="1156133" y="3820718"/>
                    <a:pt x="1174555" y="3797902"/>
                  </a:cubicBezTo>
                  <a:cubicBezTo>
                    <a:pt x="1174555" y="3797902"/>
                    <a:pt x="1174555" y="3797902"/>
                    <a:pt x="1173284" y="3796951"/>
                  </a:cubicBezTo>
                  <a:cubicBezTo>
                    <a:pt x="1173284" y="3796951"/>
                    <a:pt x="1173284" y="3796951"/>
                    <a:pt x="1175825" y="3793782"/>
                  </a:cubicBezTo>
                  <a:lnTo>
                    <a:pt x="1181225" y="3785860"/>
                  </a:lnTo>
                  <a:cubicBezTo>
                    <a:pt x="1181225" y="3785860"/>
                    <a:pt x="1181225" y="3785860"/>
                    <a:pt x="1152004" y="3760826"/>
                  </a:cubicBezTo>
                  <a:close/>
                  <a:moveTo>
                    <a:pt x="985889" y="3760826"/>
                  </a:moveTo>
                  <a:cubicBezTo>
                    <a:pt x="985889" y="3760826"/>
                    <a:pt x="985889" y="3760826"/>
                    <a:pt x="979219" y="3777621"/>
                  </a:cubicBezTo>
                  <a:cubicBezTo>
                    <a:pt x="979219" y="3777621"/>
                    <a:pt x="979219" y="3777621"/>
                    <a:pt x="1026227" y="3794099"/>
                  </a:cubicBezTo>
                  <a:cubicBezTo>
                    <a:pt x="1026227" y="3794099"/>
                    <a:pt x="1026227" y="3794099"/>
                    <a:pt x="1030356" y="3795683"/>
                  </a:cubicBezTo>
                  <a:cubicBezTo>
                    <a:pt x="1030356" y="3795683"/>
                    <a:pt x="1030356" y="3795683"/>
                    <a:pt x="1029085" y="3799803"/>
                  </a:cubicBezTo>
                  <a:cubicBezTo>
                    <a:pt x="1029085" y="3799803"/>
                    <a:pt x="1029085" y="3799803"/>
                    <a:pt x="1024639" y="3813112"/>
                  </a:cubicBezTo>
                  <a:cubicBezTo>
                    <a:pt x="1024639" y="3813112"/>
                    <a:pt x="1024639" y="3813112"/>
                    <a:pt x="1032579" y="3823886"/>
                  </a:cubicBezTo>
                  <a:cubicBezTo>
                    <a:pt x="1032579" y="3823886"/>
                    <a:pt x="1032579" y="3823886"/>
                    <a:pt x="1071329" y="3825154"/>
                  </a:cubicBezTo>
                  <a:cubicBezTo>
                    <a:pt x="1071329" y="3825154"/>
                    <a:pt x="1071329" y="3825154"/>
                    <a:pt x="1072917" y="3821668"/>
                  </a:cubicBezTo>
                  <a:cubicBezTo>
                    <a:pt x="1072917" y="3821668"/>
                    <a:pt x="1072917" y="3821668"/>
                    <a:pt x="1062118" y="3788712"/>
                  </a:cubicBezTo>
                  <a:close/>
                  <a:moveTo>
                    <a:pt x="3625619" y="3759875"/>
                  </a:moveTo>
                  <a:cubicBezTo>
                    <a:pt x="3625619" y="3759875"/>
                    <a:pt x="3625619" y="3759875"/>
                    <a:pt x="3658651" y="3770649"/>
                  </a:cubicBezTo>
                  <a:cubicBezTo>
                    <a:pt x="3658651" y="3770649"/>
                    <a:pt x="3658651" y="3770649"/>
                    <a:pt x="3651664" y="3792515"/>
                  </a:cubicBezTo>
                  <a:cubicBezTo>
                    <a:pt x="3651664" y="3792515"/>
                    <a:pt x="3651664" y="3792515"/>
                    <a:pt x="3668815" y="3798219"/>
                  </a:cubicBezTo>
                  <a:cubicBezTo>
                    <a:pt x="3668815" y="3798219"/>
                    <a:pt x="3668815" y="3798219"/>
                    <a:pt x="3668180" y="3800120"/>
                  </a:cubicBezTo>
                  <a:cubicBezTo>
                    <a:pt x="3668180" y="3800120"/>
                    <a:pt x="3668180" y="3800120"/>
                    <a:pt x="3657698" y="3835611"/>
                  </a:cubicBezTo>
                  <a:cubicBezTo>
                    <a:pt x="3657698" y="3835611"/>
                    <a:pt x="3657698" y="3835611"/>
                    <a:pt x="3622125" y="3824203"/>
                  </a:cubicBezTo>
                  <a:lnTo>
                    <a:pt x="3623078" y="3821034"/>
                  </a:lnTo>
                  <a:cubicBezTo>
                    <a:pt x="3623078" y="3821034"/>
                    <a:pt x="3623078" y="3821034"/>
                    <a:pt x="3607515" y="3815964"/>
                  </a:cubicBezTo>
                  <a:cubicBezTo>
                    <a:pt x="3607515" y="3815964"/>
                    <a:pt x="3607515" y="3815964"/>
                    <a:pt x="3625619" y="3759875"/>
                  </a:cubicBezTo>
                  <a:close/>
                  <a:moveTo>
                    <a:pt x="517719" y="3758924"/>
                  </a:moveTo>
                  <a:cubicBezTo>
                    <a:pt x="517719" y="3758924"/>
                    <a:pt x="517719" y="3758924"/>
                    <a:pt x="466900" y="3766213"/>
                  </a:cubicBezTo>
                  <a:cubicBezTo>
                    <a:pt x="470711" y="3777621"/>
                    <a:pt x="481193" y="3805824"/>
                    <a:pt x="494533" y="3814697"/>
                  </a:cubicBezTo>
                  <a:cubicBezTo>
                    <a:pt x="509461" y="3824203"/>
                    <a:pt x="544717" y="3836245"/>
                    <a:pt x="557421" y="3840365"/>
                  </a:cubicBezTo>
                  <a:lnTo>
                    <a:pt x="567267" y="3802021"/>
                  </a:lnTo>
                  <a:cubicBezTo>
                    <a:pt x="559962" y="3799803"/>
                    <a:pt x="545034" y="3794416"/>
                    <a:pt x="535188" y="3784275"/>
                  </a:cubicBezTo>
                  <a:cubicBezTo>
                    <a:pt x="525659" y="3774452"/>
                    <a:pt x="520260" y="3763995"/>
                    <a:pt x="517719" y="3758924"/>
                  </a:cubicBezTo>
                  <a:close/>
                  <a:moveTo>
                    <a:pt x="983031" y="3755122"/>
                  </a:moveTo>
                  <a:cubicBezTo>
                    <a:pt x="983031" y="3755122"/>
                    <a:pt x="983031" y="3755122"/>
                    <a:pt x="1065611" y="3785543"/>
                  </a:cubicBezTo>
                  <a:cubicBezTo>
                    <a:pt x="1065611" y="3785543"/>
                    <a:pt x="1065611" y="3785543"/>
                    <a:pt x="1077681" y="3821668"/>
                  </a:cubicBezTo>
                  <a:cubicBezTo>
                    <a:pt x="1077681" y="3821668"/>
                    <a:pt x="1077681" y="3821668"/>
                    <a:pt x="1074187" y="3829590"/>
                  </a:cubicBezTo>
                  <a:cubicBezTo>
                    <a:pt x="1074187" y="3829590"/>
                    <a:pt x="1074187" y="3829590"/>
                    <a:pt x="1030356" y="3828323"/>
                  </a:cubicBezTo>
                  <a:cubicBezTo>
                    <a:pt x="1030356" y="3828323"/>
                    <a:pt x="1030356" y="3828323"/>
                    <a:pt x="1019557" y="3814063"/>
                  </a:cubicBezTo>
                  <a:cubicBezTo>
                    <a:pt x="1019557" y="3814063"/>
                    <a:pt x="1019557" y="3814063"/>
                    <a:pt x="1024956" y="3798535"/>
                  </a:cubicBezTo>
                  <a:cubicBezTo>
                    <a:pt x="1024956" y="3798535"/>
                    <a:pt x="1024956" y="3798535"/>
                    <a:pt x="973502" y="3780156"/>
                  </a:cubicBezTo>
                  <a:close/>
                  <a:moveTo>
                    <a:pt x="1095785" y="3754805"/>
                  </a:moveTo>
                  <a:lnTo>
                    <a:pt x="1081810" y="3771917"/>
                  </a:lnTo>
                  <a:cubicBezTo>
                    <a:pt x="1081810" y="3771917"/>
                    <a:pt x="1081810" y="3771917"/>
                    <a:pt x="1109443" y="3806774"/>
                  </a:cubicBezTo>
                  <a:cubicBezTo>
                    <a:pt x="1109443" y="3806774"/>
                    <a:pt x="1109443" y="3806774"/>
                    <a:pt x="1118654" y="3795050"/>
                  </a:cubicBezTo>
                  <a:cubicBezTo>
                    <a:pt x="1118654" y="3795050"/>
                    <a:pt x="1118654" y="3795050"/>
                    <a:pt x="1118018" y="3794416"/>
                  </a:cubicBezTo>
                  <a:cubicBezTo>
                    <a:pt x="1118018" y="3794416"/>
                    <a:pt x="1118018" y="3794416"/>
                    <a:pt x="1128500" y="3781740"/>
                  </a:cubicBezTo>
                  <a:cubicBezTo>
                    <a:pt x="1128500" y="3781740"/>
                    <a:pt x="1128500" y="3781740"/>
                    <a:pt x="1126912" y="3780790"/>
                  </a:cubicBezTo>
                  <a:cubicBezTo>
                    <a:pt x="1126912" y="3780790"/>
                    <a:pt x="1126912" y="3780790"/>
                    <a:pt x="1127229" y="3780473"/>
                  </a:cubicBezTo>
                  <a:cubicBezTo>
                    <a:pt x="1127229" y="3780473"/>
                    <a:pt x="1127229" y="3780473"/>
                    <a:pt x="1095785" y="3754805"/>
                  </a:cubicBezTo>
                  <a:close/>
                  <a:moveTo>
                    <a:pt x="520578" y="3754171"/>
                  </a:moveTo>
                  <a:cubicBezTo>
                    <a:pt x="520578" y="3754171"/>
                    <a:pt x="525659" y="3768114"/>
                    <a:pt x="538364" y="3781107"/>
                  </a:cubicBezTo>
                  <a:cubicBezTo>
                    <a:pt x="550751" y="3794099"/>
                    <a:pt x="572667" y="3798852"/>
                    <a:pt x="572667" y="3798852"/>
                  </a:cubicBezTo>
                  <a:cubicBezTo>
                    <a:pt x="572667" y="3798852"/>
                    <a:pt x="572667" y="3798852"/>
                    <a:pt x="560280" y="3846069"/>
                  </a:cubicBezTo>
                  <a:cubicBezTo>
                    <a:pt x="560280" y="3846069"/>
                    <a:pt x="511049" y="3830541"/>
                    <a:pt x="492309" y="3818182"/>
                  </a:cubicBezTo>
                  <a:cubicBezTo>
                    <a:pt x="473570" y="3806141"/>
                    <a:pt x="460865" y="3762410"/>
                    <a:pt x="460865" y="3762410"/>
                  </a:cubicBezTo>
                  <a:cubicBezTo>
                    <a:pt x="460865" y="3762410"/>
                    <a:pt x="460865" y="3762410"/>
                    <a:pt x="520578" y="3754171"/>
                  </a:cubicBezTo>
                  <a:close/>
                  <a:moveTo>
                    <a:pt x="1414039" y="3745932"/>
                  </a:moveTo>
                  <a:cubicBezTo>
                    <a:pt x="1414039" y="3745932"/>
                    <a:pt x="1414039" y="3745932"/>
                    <a:pt x="1404511" y="3795050"/>
                  </a:cubicBezTo>
                  <a:cubicBezTo>
                    <a:pt x="1404511" y="3795050"/>
                    <a:pt x="1404511" y="3795050"/>
                    <a:pt x="1378466" y="3813746"/>
                  </a:cubicBezTo>
                  <a:lnTo>
                    <a:pt x="1437225" y="3886947"/>
                  </a:lnTo>
                  <a:cubicBezTo>
                    <a:pt x="1437225" y="3886947"/>
                    <a:pt x="1437225" y="3886947"/>
                    <a:pt x="1466764" y="3867300"/>
                  </a:cubicBezTo>
                  <a:cubicBezTo>
                    <a:pt x="1466764" y="3867300"/>
                    <a:pt x="1466764" y="3867300"/>
                    <a:pt x="1436590" y="3823253"/>
                  </a:cubicBezTo>
                  <a:cubicBezTo>
                    <a:pt x="1436590" y="3823253"/>
                    <a:pt x="1436590" y="3823253"/>
                    <a:pt x="1456600" y="3816598"/>
                  </a:cubicBezTo>
                  <a:cubicBezTo>
                    <a:pt x="1456600" y="3816598"/>
                    <a:pt x="1456600" y="3816598"/>
                    <a:pt x="1513454" y="3898672"/>
                  </a:cubicBezTo>
                  <a:cubicBezTo>
                    <a:pt x="1513454" y="3898672"/>
                    <a:pt x="1513454" y="3898672"/>
                    <a:pt x="1513454" y="3898355"/>
                  </a:cubicBezTo>
                  <a:cubicBezTo>
                    <a:pt x="1513454" y="3890750"/>
                    <a:pt x="1514089" y="3879976"/>
                    <a:pt x="1518853" y="3870786"/>
                  </a:cubicBezTo>
                  <a:cubicBezTo>
                    <a:pt x="1524888" y="3858427"/>
                    <a:pt x="1534417" y="3841632"/>
                    <a:pt x="1537911" y="3836245"/>
                  </a:cubicBezTo>
                  <a:cubicBezTo>
                    <a:pt x="1537911" y="3836245"/>
                    <a:pt x="1537911" y="3836245"/>
                    <a:pt x="1414039" y="3745932"/>
                  </a:cubicBezTo>
                  <a:close/>
                  <a:moveTo>
                    <a:pt x="188348" y="3743714"/>
                  </a:moveTo>
                  <a:cubicBezTo>
                    <a:pt x="188348" y="3743714"/>
                    <a:pt x="188348" y="3743714"/>
                    <a:pt x="56536" y="3806458"/>
                  </a:cubicBezTo>
                  <a:cubicBezTo>
                    <a:pt x="56536" y="3806458"/>
                    <a:pt x="56536" y="3806458"/>
                    <a:pt x="50184" y="3833076"/>
                  </a:cubicBezTo>
                  <a:cubicBezTo>
                    <a:pt x="50184" y="3833076"/>
                    <a:pt x="50184" y="3833076"/>
                    <a:pt x="77499" y="3844484"/>
                  </a:cubicBezTo>
                  <a:cubicBezTo>
                    <a:pt x="77499" y="3844484"/>
                    <a:pt x="77499" y="3844484"/>
                    <a:pt x="82899" y="3817549"/>
                  </a:cubicBezTo>
                  <a:lnTo>
                    <a:pt x="201053" y="3762093"/>
                  </a:lnTo>
                  <a:cubicBezTo>
                    <a:pt x="201053" y="3762093"/>
                    <a:pt x="201053" y="3762093"/>
                    <a:pt x="188348" y="3743714"/>
                  </a:cubicBezTo>
                  <a:close/>
                  <a:moveTo>
                    <a:pt x="932212" y="3742446"/>
                  </a:moveTo>
                  <a:cubicBezTo>
                    <a:pt x="932212" y="3742446"/>
                    <a:pt x="932212" y="3742446"/>
                    <a:pt x="902038" y="3744664"/>
                  </a:cubicBezTo>
                  <a:cubicBezTo>
                    <a:pt x="902038" y="3744664"/>
                    <a:pt x="902038" y="3744664"/>
                    <a:pt x="891874" y="3775086"/>
                  </a:cubicBezTo>
                  <a:cubicBezTo>
                    <a:pt x="891874" y="3775086"/>
                    <a:pt x="891874" y="3775086"/>
                    <a:pt x="890921" y="3778255"/>
                  </a:cubicBezTo>
                  <a:cubicBezTo>
                    <a:pt x="890921" y="3778255"/>
                    <a:pt x="890921" y="3778255"/>
                    <a:pt x="887745" y="3778255"/>
                  </a:cubicBezTo>
                  <a:lnTo>
                    <a:pt x="857253" y="3778255"/>
                  </a:lnTo>
                  <a:cubicBezTo>
                    <a:pt x="857253" y="3778255"/>
                    <a:pt x="857253" y="3778255"/>
                    <a:pt x="846772" y="3807725"/>
                  </a:cubicBezTo>
                  <a:cubicBezTo>
                    <a:pt x="846772" y="3807725"/>
                    <a:pt x="846772" y="3807725"/>
                    <a:pt x="909661" y="3811211"/>
                  </a:cubicBezTo>
                  <a:cubicBezTo>
                    <a:pt x="909661" y="3811211"/>
                    <a:pt x="909661" y="3811211"/>
                    <a:pt x="932212" y="3742446"/>
                  </a:cubicBezTo>
                  <a:close/>
                  <a:moveTo>
                    <a:pt x="2632107" y="3740545"/>
                  </a:moveTo>
                  <a:cubicBezTo>
                    <a:pt x="2610192" y="3740545"/>
                    <a:pt x="2590817" y="3753854"/>
                    <a:pt x="2577159" y="3767164"/>
                  </a:cubicBezTo>
                  <a:cubicBezTo>
                    <a:pt x="2563502" y="3780790"/>
                    <a:pt x="2555561" y="3794416"/>
                    <a:pt x="2555561" y="3794416"/>
                  </a:cubicBezTo>
                  <a:cubicBezTo>
                    <a:pt x="2555561" y="3794416"/>
                    <a:pt x="2555561" y="3794416"/>
                    <a:pt x="2553656" y="3797585"/>
                  </a:cubicBezTo>
                  <a:cubicBezTo>
                    <a:pt x="2553656" y="3797585"/>
                    <a:pt x="2553656" y="3797585"/>
                    <a:pt x="2530469" y="3762093"/>
                  </a:cubicBezTo>
                  <a:cubicBezTo>
                    <a:pt x="2530469" y="3762093"/>
                    <a:pt x="2530469" y="3762093"/>
                    <a:pt x="2444077" y="3939551"/>
                  </a:cubicBezTo>
                  <a:cubicBezTo>
                    <a:pt x="2444077" y="3939551"/>
                    <a:pt x="2444077" y="3939551"/>
                    <a:pt x="2517764" y="3924974"/>
                  </a:cubicBezTo>
                  <a:cubicBezTo>
                    <a:pt x="2517764" y="3924974"/>
                    <a:pt x="2517764" y="3924974"/>
                    <a:pt x="2517764" y="3927826"/>
                  </a:cubicBezTo>
                  <a:cubicBezTo>
                    <a:pt x="2517764" y="3927826"/>
                    <a:pt x="2518717" y="3950958"/>
                    <a:pt x="2526976" y="3974091"/>
                  </a:cubicBezTo>
                  <a:cubicBezTo>
                    <a:pt x="2535234" y="3997224"/>
                    <a:pt x="2550162" y="4019723"/>
                    <a:pt x="2578430" y="4019723"/>
                  </a:cubicBezTo>
                  <a:cubicBezTo>
                    <a:pt x="2579065" y="4019723"/>
                    <a:pt x="2579382" y="4019723"/>
                    <a:pt x="2580018" y="4019723"/>
                  </a:cubicBezTo>
                  <a:cubicBezTo>
                    <a:pt x="2609239" y="4018773"/>
                    <a:pt x="2631472" y="3999442"/>
                    <a:pt x="2646718" y="3980112"/>
                  </a:cubicBezTo>
                  <a:cubicBezTo>
                    <a:pt x="2661646" y="3960465"/>
                    <a:pt x="2669269" y="3941452"/>
                    <a:pt x="2669269" y="3941452"/>
                  </a:cubicBezTo>
                  <a:cubicBezTo>
                    <a:pt x="2669269" y="3941452"/>
                    <a:pt x="2669269" y="3941452"/>
                    <a:pt x="2670857" y="3937332"/>
                  </a:cubicBezTo>
                  <a:cubicBezTo>
                    <a:pt x="2670857" y="3937332"/>
                    <a:pt x="2670857" y="3937332"/>
                    <a:pt x="2684832" y="3956979"/>
                  </a:cubicBezTo>
                  <a:lnTo>
                    <a:pt x="2774718" y="3779839"/>
                  </a:lnTo>
                  <a:cubicBezTo>
                    <a:pt x="2774718" y="3779839"/>
                    <a:pt x="2774718" y="3779839"/>
                    <a:pt x="2687055" y="3796634"/>
                  </a:cubicBezTo>
                  <a:cubicBezTo>
                    <a:pt x="2687055" y="3796634"/>
                    <a:pt x="2687055" y="3796634"/>
                    <a:pt x="2686738" y="3794733"/>
                  </a:cubicBezTo>
                  <a:cubicBezTo>
                    <a:pt x="2686738" y="3794416"/>
                    <a:pt x="2682926" y="3782057"/>
                    <a:pt x="2675304" y="3769065"/>
                  </a:cubicBezTo>
                  <a:cubicBezTo>
                    <a:pt x="2667363" y="3756072"/>
                    <a:pt x="2655611" y="3743080"/>
                    <a:pt x="2639412" y="3740862"/>
                  </a:cubicBezTo>
                  <a:cubicBezTo>
                    <a:pt x="2636872" y="3740545"/>
                    <a:pt x="2634331" y="3740545"/>
                    <a:pt x="2632107" y="3740545"/>
                  </a:cubicBezTo>
                  <a:close/>
                  <a:moveTo>
                    <a:pt x="1169155" y="3738960"/>
                  </a:moveTo>
                  <a:cubicBezTo>
                    <a:pt x="1169155" y="3738960"/>
                    <a:pt x="1169155" y="3738960"/>
                    <a:pt x="1154545" y="3757340"/>
                  </a:cubicBezTo>
                  <a:cubicBezTo>
                    <a:pt x="1154545" y="3757340"/>
                    <a:pt x="1154545" y="3757340"/>
                    <a:pt x="1185671" y="3783642"/>
                  </a:cubicBezTo>
                  <a:cubicBezTo>
                    <a:pt x="1185671" y="3783642"/>
                    <a:pt x="1185671" y="3783642"/>
                    <a:pt x="1193929" y="3773184"/>
                  </a:cubicBezTo>
                  <a:lnTo>
                    <a:pt x="1195200" y="3774135"/>
                  </a:lnTo>
                  <a:cubicBezTo>
                    <a:pt x="1195200" y="3774135"/>
                    <a:pt x="1195200" y="3774135"/>
                    <a:pt x="1183448" y="3749101"/>
                  </a:cubicBezTo>
                  <a:cubicBezTo>
                    <a:pt x="1180907" y="3747516"/>
                    <a:pt x="1175507" y="3743714"/>
                    <a:pt x="1169155" y="3738960"/>
                  </a:cubicBezTo>
                  <a:close/>
                  <a:moveTo>
                    <a:pt x="1410863" y="3737693"/>
                  </a:moveTo>
                  <a:cubicBezTo>
                    <a:pt x="1410863" y="3737693"/>
                    <a:pt x="1410863" y="3737693"/>
                    <a:pt x="1543945" y="3834978"/>
                  </a:cubicBezTo>
                  <a:cubicBezTo>
                    <a:pt x="1543945" y="3834978"/>
                    <a:pt x="1543945" y="3834978"/>
                    <a:pt x="1542992" y="3836879"/>
                  </a:cubicBezTo>
                  <a:cubicBezTo>
                    <a:pt x="1542992" y="3836879"/>
                    <a:pt x="1530288" y="3858110"/>
                    <a:pt x="1522983" y="3873004"/>
                  </a:cubicBezTo>
                  <a:cubicBezTo>
                    <a:pt x="1518853" y="3880926"/>
                    <a:pt x="1517901" y="3891067"/>
                    <a:pt x="1517901" y="3898355"/>
                  </a:cubicBezTo>
                  <a:cubicBezTo>
                    <a:pt x="1517901" y="3903425"/>
                    <a:pt x="1518536" y="3906594"/>
                    <a:pt x="1518536" y="3906594"/>
                  </a:cubicBezTo>
                  <a:cubicBezTo>
                    <a:pt x="1518536" y="3906594"/>
                    <a:pt x="1518536" y="3906594"/>
                    <a:pt x="1514089" y="3908179"/>
                  </a:cubicBezTo>
                  <a:cubicBezTo>
                    <a:pt x="1514089" y="3908179"/>
                    <a:pt x="1514089" y="3908179"/>
                    <a:pt x="1454694" y="3821985"/>
                  </a:cubicBezTo>
                  <a:cubicBezTo>
                    <a:pt x="1454694" y="3821985"/>
                    <a:pt x="1454694" y="3821985"/>
                    <a:pt x="1443895" y="3825788"/>
                  </a:cubicBezTo>
                  <a:lnTo>
                    <a:pt x="1473434" y="3868568"/>
                  </a:lnTo>
                  <a:cubicBezTo>
                    <a:pt x="1473434" y="3868568"/>
                    <a:pt x="1473434" y="3868568"/>
                    <a:pt x="1436273" y="3893285"/>
                  </a:cubicBezTo>
                  <a:cubicBezTo>
                    <a:pt x="1436273" y="3893285"/>
                    <a:pt x="1436273" y="3893285"/>
                    <a:pt x="1371796" y="3812795"/>
                  </a:cubicBezTo>
                  <a:cubicBezTo>
                    <a:pt x="1371796" y="3812795"/>
                    <a:pt x="1371796" y="3812795"/>
                    <a:pt x="1400382" y="3792198"/>
                  </a:cubicBezTo>
                  <a:cubicBezTo>
                    <a:pt x="1400382" y="3792198"/>
                    <a:pt x="1400382" y="3792198"/>
                    <a:pt x="1410863" y="3737693"/>
                  </a:cubicBezTo>
                  <a:close/>
                  <a:moveTo>
                    <a:pt x="938564" y="3737693"/>
                  </a:moveTo>
                  <a:cubicBezTo>
                    <a:pt x="938564" y="3737693"/>
                    <a:pt x="938564" y="3737693"/>
                    <a:pt x="912837" y="3815647"/>
                  </a:cubicBezTo>
                  <a:cubicBezTo>
                    <a:pt x="912837" y="3815647"/>
                    <a:pt x="912837" y="3815647"/>
                    <a:pt x="840737" y="3811845"/>
                  </a:cubicBezTo>
                  <a:lnTo>
                    <a:pt x="854395" y="3773818"/>
                  </a:lnTo>
                  <a:cubicBezTo>
                    <a:pt x="854395" y="3773818"/>
                    <a:pt x="854395" y="3773818"/>
                    <a:pt x="887745" y="3773818"/>
                  </a:cubicBezTo>
                  <a:cubicBezTo>
                    <a:pt x="887745" y="3773818"/>
                    <a:pt x="887745" y="3773818"/>
                    <a:pt x="898862" y="3740228"/>
                  </a:cubicBezTo>
                  <a:cubicBezTo>
                    <a:pt x="898862" y="3740228"/>
                    <a:pt x="898862" y="3740228"/>
                    <a:pt x="938564" y="3737693"/>
                  </a:cubicBezTo>
                  <a:close/>
                  <a:moveTo>
                    <a:pt x="189936" y="3737693"/>
                  </a:moveTo>
                  <a:cubicBezTo>
                    <a:pt x="189936" y="3737693"/>
                    <a:pt x="189936" y="3737693"/>
                    <a:pt x="190889" y="3739277"/>
                  </a:cubicBezTo>
                  <a:lnTo>
                    <a:pt x="208358" y="3763995"/>
                  </a:lnTo>
                  <a:cubicBezTo>
                    <a:pt x="208358" y="3763995"/>
                    <a:pt x="208358" y="3763995"/>
                    <a:pt x="87028" y="3821034"/>
                  </a:cubicBezTo>
                  <a:cubicBezTo>
                    <a:pt x="87028" y="3821034"/>
                    <a:pt x="87028" y="3821034"/>
                    <a:pt x="80993" y="3851139"/>
                  </a:cubicBezTo>
                  <a:cubicBezTo>
                    <a:pt x="80993" y="3851139"/>
                    <a:pt x="80993" y="3851139"/>
                    <a:pt x="44467" y="3835611"/>
                  </a:cubicBezTo>
                  <a:cubicBezTo>
                    <a:pt x="44467" y="3835611"/>
                    <a:pt x="44467" y="3835611"/>
                    <a:pt x="52407" y="3803289"/>
                  </a:cubicBezTo>
                  <a:cubicBezTo>
                    <a:pt x="52407" y="3803289"/>
                    <a:pt x="52407" y="3803289"/>
                    <a:pt x="189936" y="3737693"/>
                  </a:cubicBezTo>
                  <a:close/>
                  <a:moveTo>
                    <a:pt x="2632107" y="3735792"/>
                  </a:moveTo>
                  <a:cubicBezTo>
                    <a:pt x="2634648" y="3735792"/>
                    <a:pt x="2637189" y="3735792"/>
                    <a:pt x="2640048" y="3736425"/>
                  </a:cubicBezTo>
                  <a:cubicBezTo>
                    <a:pt x="2672445" y="3740862"/>
                    <a:pt x="2687373" y="3781740"/>
                    <a:pt x="2690549" y="3791247"/>
                  </a:cubicBezTo>
                  <a:cubicBezTo>
                    <a:pt x="2690549" y="3791247"/>
                    <a:pt x="2690549" y="3791247"/>
                    <a:pt x="2783294" y="3773501"/>
                  </a:cubicBezTo>
                  <a:cubicBezTo>
                    <a:pt x="2783294" y="3773501"/>
                    <a:pt x="2783294" y="3773501"/>
                    <a:pt x="2781070" y="3777621"/>
                  </a:cubicBezTo>
                  <a:cubicBezTo>
                    <a:pt x="2781070" y="3777621"/>
                    <a:pt x="2781070" y="3777621"/>
                    <a:pt x="2685467" y="3966169"/>
                  </a:cubicBezTo>
                  <a:cubicBezTo>
                    <a:pt x="2685467" y="3966169"/>
                    <a:pt x="2685467" y="3966169"/>
                    <a:pt x="2671810" y="3946839"/>
                  </a:cubicBezTo>
                  <a:cubicBezTo>
                    <a:pt x="2664822" y="3963000"/>
                    <a:pt x="2634648" y="4022575"/>
                    <a:pt x="2580018" y="4024160"/>
                  </a:cubicBezTo>
                  <a:cubicBezTo>
                    <a:pt x="2579382" y="4024160"/>
                    <a:pt x="2579065" y="4024160"/>
                    <a:pt x="2578430" y="4024160"/>
                  </a:cubicBezTo>
                  <a:cubicBezTo>
                    <a:pt x="2547303" y="4024160"/>
                    <a:pt x="2530787" y="3999442"/>
                    <a:pt x="2522529" y="3975676"/>
                  </a:cubicBezTo>
                  <a:cubicBezTo>
                    <a:pt x="2515541" y="3956346"/>
                    <a:pt x="2513636" y="3937332"/>
                    <a:pt x="2513318" y="3930678"/>
                  </a:cubicBezTo>
                  <a:cubicBezTo>
                    <a:pt x="2513318" y="3930678"/>
                    <a:pt x="2513318" y="3930678"/>
                    <a:pt x="2435819" y="3945888"/>
                  </a:cubicBezTo>
                  <a:cubicBezTo>
                    <a:pt x="2435819" y="3945888"/>
                    <a:pt x="2435819" y="3945888"/>
                    <a:pt x="2530152" y="3752587"/>
                  </a:cubicBezTo>
                  <a:cubicBezTo>
                    <a:pt x="2530152" y="3752587"/>
                    <a:pt x="2530152" y="3752587"/>
                    <a:pt x="2553338" y="3788712"/>
                  </a:cubicBezTo>
                  <a:cubicBezTo>
                    <a:pt x="2561278" y="3776987"/>
                    <a:pt x="2591134" y="3736108"/>
                    <a:pt x="2632107" y="3735792"/>
                  </a:cubicBezTo>
                  <a:close/>
                  <a:moveTo>
                    <a:pt x="693362" y="3734207"/>
                  </a:moveTo>
                  <a:cubicBezTo>
                    <a:pt x="693362" y="3734207"/>
                    <a:pt x="693362" y="3734207"/>
                    <a:pt x="676528" y="3809943"/>
                  </a:cubicBezTo>
                  <a:cubicBezTo>
                    <a:pt x="679387" y="3805824"/>
                    <a:pt x="682245" y="3801704"/>
                    <a:pt x="684469" y="3797902"/>
                  </a:cubicBezTo>
                  <a:cubicBezTo>
                    <a:pt x="693997" y="3783325"/>
                    <a:pt x="700350" y="3772551"/>
                    <a:pt x="702891" y="3768748"/>
                  </a:cubicBezTo>
                  <a:cubicBezTo>
                    <a:pt x="703526" y="3764945"/>
                    <a:pt x="706067" y="3756072"/>
                    <a:pt x="713372" y="3734841"/>
                  </a:cubicBezTo>
                  <a:cubicBezTo>
                    <a:pt x="711149" y="3734841"/>
                    <a:pt x="708608" y="3734841"/>
                    <a:pt x="706385" y="3734841"/>
                  </a:cubicBezTo>
                  <a:cubicBezTo>
                    <a:pt x="703208" y="3734524"/>
                    <a:pt x="698762" y="3734524"/>
                    <a:pt x="693362" y="3734207"/>
                  </a:cubicBezTo>
                  <a:close/>
                  <a:moveTo>
                    <a:pt x="958574" y="3732940"/>
                  </a:moveTo>
                  <a:cubicBezTo>
                    <a:pt x="955398" y="3742446"/>
                    <a:pt x="945234" y="3771600"/>
                    <a:pt x="935705" y="3798535"/>
                  </a:cubicBezTo>
                  <a:cubicBezTo>
                    <a:pt x="935705" y="3798535"/>
                    <a:pt x="935705" y="3798535"/>
                    <a:pt x="1011299" y="3824203"/>
                  </a:cubicBezTo>
                  <a:cubicBezTo>
                    <a:pt x="1011299" y="3824203"/>
                    <a:pt x="1011299" y="3824203"/>
                    <a:pt x="992241" y="3871420"/>
                  </a:cubicBezTo>
                  <a:cubicBezTo>
                    <a:pt x="992241" y="3871420"/>
                    <a:pt x="992241" y="3871420"/>
                    <a:pt x="1061482" y="3898038"/>
                  </a:cubicBezTo>
                  <a:cubicBezTo>
                    <a:pt x="1064341" y="3892017"/>
                    <a:pt x="1072599" y="3875222"/>
                    <a:pt x="1081175" y="3858427"/>
                  </a:cubicBezTo>
                  <a:cubicBezTo>
                    <a:pt x="1086257" y="3847970"/>
                    <a:pt x="1091656" y="3837513"/>
                    <a:pt x="1095785" y="3829907"/>
                  </a:cubicBezTo>
                  <a:cubicBezTo>
                    <a:pt x="1097691" y="3825788"/>
                    <a:pt x="1099597" y="3822619"/>
                    <a:pt x="1100867" y="3820401"/>
                  </a:cubicBezTo>
                  <a:cubicBezTo>
                    <a:pt x="1100867" y="3820084"/>
                    <a:pt x="1101185" y="3819767"/>
                    <a:pt x="1101185" y="3819450"/>
                  </a:cubicBezTo>
                  <a:cubicBezTo>
                    <a:pt x="1101185" y="3819450"/>
                    <a:pt x="1101185" y="3819450"/>
                    <a:pt x="1068788" y="3778571"/>
                  </a:cubicBezTo>
                  <a:lnTo>
                    <a:pt x="1024321" y="3755756"/>
                  </a:lnTo>
                  <a:cubicBezTo>
                    <a:pt x="1024321" y="3755756"/>
                    <a:pt x="1024321" y="3755756"/>
                    <a:pt x="958574" y="3732940"/>
                  </a:cubicBezTo>
                  <a:close/>
                  <a:moveTo>
                    <a:pt x="192795" y="3731038"/>
                  </a:moveTo>
                  <a:cubicBezTo>
                    <a:pt x="192795" y="3731038"/>
                    <a:pt x="192795" y="3731038"/>
                    <a:pt x="47643" y="3801071"/>
                  </a:cubicBezTo>
                  <a:cubicBezTo>
                    <a:pt x="47643" y="3801071"/>
                    <a:pt x="47643" y="3801071"/>
                    <a:pt x="36526" y="3846702"/>
                  </a:cubicBezTo>
                  <a:cubicBezTo>
                    <a:pt x="44785" y="3848921"/>
                    <a:pt x="52725" y="3851773"/>
                    <a:pt x="58760" y="3855258"/>
                  </a:cubicBezTo>
                  <a:cubicBezTo>
                    <a:pt x="63206" y="3857793"/>
                    <a:pt x="67653" y="3861596"/>
                    <a:pt x="72100" y="3866033"/>
                  </a:cubicBezTo>
                  <a:cubicBezTo>
                    <a:pt x="72100" y="3866033"/>
                    <a:pt x="72100" y="3866033"/>
                    <a:pt x="101321" y="3850822"/>
                  </a:cubicBezTo>
                  <a:cubicBezTo>
                    <a:pt x="101321" y="3850822"/>
                    <a:pt x="101321" y="3850822"/>
                    <a:pt x="107038" y="3846702"/>
                  </a:cubicBezTo>
                  <a:cubicBezTo>
                    <a:pt x="107038" y="3846702"/>
                    <a:pt x="107038" y="3846702"/>
                    <a:pt x="107673" y="3847653"/>
                  </a:cubicBezTo>
                  <a:cubicBezTo>
                    <a:pt x="107673" y="3847653"/>
                    <a:pt x="107673" y="3847653"/>
                    <a:pt x="230909" y="3783959"/>
                  </a:cubicBezTo>
                  <a:cubicBezTo>
                    <a:pt x="220110" y="3769065"/>
                    <a:pt x="207088" y="3750685"/>
                    <a:pt x="192795" y="3731038"/>
                  </a:cubicBezTo>
                  <a:close/>
                  <a:moveTo>
                    <a:pt x="854077" y="3730721"/>
                  </a:moveTo>
                  <a:cubicBezTo>
                    <a:pt x="854077" y="3730721"/>
                    <a:pt x="854077" y="3730721"/>
                    <a:pt x="809611" y="3736742"/>
                  </a:cubicBezTo>
                  <a:cubicBezTo>
                    <a:pt x="809611" y="3736742"/>
                    <a:pt x="809611" y="3736742"/>
                    <a:pt x="787377" y="3770332"/>
                  </a:cubicBezTo>
                  <a:lnTo>
                    <a:pt x="818186" y="3771283"/>
                  </a:lnTo>
                  <a:cubicBezTo>
                    <a:pt x="818186" y="3771283"/>
                    <a:pt x="818186" y="3771283"/>
                    <a:pt x="827080" y="3748150"/>
                  </a:cubicBezTo>
                  <a:cubicBezTo>
                    <a:pt x="827080" y="3748150"/>
                    <a:pt x="827080" y="3748150"/>
                    <a:pt x="828350" y="3745298"/>
                  </a:cubicBezTo>
                  <a:cubicBezTo>
                    <a:pt x="828350" y="3745298"/>
                    <a:pt x="828350" y="3745298"/>
                    <a:pt x="831209" y="3745298"/>
                  </a:cubicBezTo>
                  <a:cubicBezTo>
                    <a:pt x="831209" y="3745298"/>
                    <a:pt x="831209" y="3745298"/>
                    <a:pt x="847407" y="3745298"/>
                  </a:cubicBezTo>
                  <a:cubicBezTo>
                    <a:pt x="847407" y="3745298"/>
                    <a:pt x="847407" y="3745298"/>
                    <a:pt x="854077" y="3730721"/>
                  </a:cubicBezTo>
                  <a:close/>
                  <a:moveTo>
                    <a:pt x="3669768" y="3730088"/>
                  </a:moveTo>
                  <a:cubicBezTo>
                    <a:pt x="3638642" y="3740228"/>
                    <a:pt x="3602433" y="3751953"/>
                    <a:pt x="3564001" y="3764628"/>
                  </a:cubicBezTo>
                  <a:lnTo>
                    <a:pt x="3610056" y="3885046"/>
                  </a:lnTo>
                  <a:cubicBezTo>
                    <a:pt x="3610056" y="3885046"/>
                    <a:pt x="3610056" y="3885046"/>
                    <a:pt x="3716140" y="3851139"/>
                  </a:cubicBezTo>
                  <a:cubicBezTo>
                    <a:pt x="3716140" y="3851139"/>
                    <a:pt x="3716140" y="3851139"/>
                    <a:pt x="3669768" y="3730088"/>
                  </a:cubicBezTo>
                  <a:close/>
                  <a:moveTo>
                    <a:pt x="3726622" y="3729771"/>
                  </a:moveTo>
                  <a:cubicBezTo>
                    <a:pt x="3726622" y="3729771"/>
                    <a:pt x="3726622" y="3729771"/>
                    <a:pt x="3711058" y="3777621"/>
                  </a:cubicBezTo>
                  <a:lnTo>
                    <a:pt x="3726940" y="3782691"/>
                  </a:lnTo>
                  <a:cubicBezTo>
                    <a:pt x="3726940" y="3782691"/>
                    <a:pt x="3726940" y="3782691"/>
                    <a:pt x="3725669" y="3785860"/>
                  </a:cubicBezTo>
                  <a:cubicBezTo>
                    <a:pt x="3725669" y="3785860"/>
                    <a:pt x="3725669" y="3785860"/>
                    <a:pt x="3753302" y="3794733"/>
                  </a:cubicBezTo>
                  <a:cubicBezTo>
                    <a:pt x="3753302" y="3794733"/>
                    <a:pt x="3753302" y="3794733"/>
                    <a:pt x="3762195" y="3765579"/>
                  </a:cubicBezTo>
                  <a:cubicBezTo>
                    <a:pt x="3762195" y="3765579"/>
                    <a:pt x="3762195" y="3765579"/>
                    <a:pt x="3744726" y="3759875"/>
                  </a:cubicBezTo>
                  <a:cubicBezTo>
                    <a:pt x="3744726" y="3759875"/>
                    <a:pt x="3744726" y="3759875"/>
                    <a:pt x="3751714" y="3737693"/>
                  </a:cubicBezTo>
                  <a:cubicBezTo>
                    <a:pt x="3751714" y="3737693"/>
                    <a:pt x="3751714" y="3737693"/>
                    <a:pt x="3726622" y="3729771"/>
                  </a:cubicBezTo>
                  <a:close/>
                  <a:moveTo>
                    <a:pt x="769908" y="3729454"/>
                  </a:moveTo>
                  <a:cubicBezTo>
                    <a:pt x="769908" y="3729454"/>
                    <a:pt x="769908" y="3729454"/>
                    <a:pt x="737511" y="3731989"/>
                  </a:cubicBezTo>
                  <a:cubicBezTo>
                    <a:pt x="736876" y="3734207"/>
                    <a:pt x="735923" y="3736425"/>
                    <a:pt x="734970" y="3738644"/>
                  </a:cubicBezTo>
                  <a:cubicBezTo>
                    <a:pt x="729571" y="3754488"/>
                    <a:pt x="726712" y="3763678"/>
                    <a:pt x="725442" y="3768748"/>
                  </a:cubicBezTo>
                  <a:cubicBezTo>
                    <a:pt x="724489" y="3771283"/>
                    <a:pt x="724171" y="3772867"/>
                    <a:pt x="724171" y="3773501"/>
                  </a:cubicBezTo>
                  <a:cubicBezTo>
                    <a:pt x="724171" y="3773818"/>
                    <a:pt x="724171" y="3773818"/>
                    <a:pt x="723854" y="3774135"/>
                  </a:cubicBezTo>
                  <a:cubicBezTo>
                    <a:pt x="723854" y="3774135"/>
                    <a:pt x="723854" y="3774135"/>
                    <a:pt x="723854" y="3776036"/>
                  </a:cubicBezTo>
                  <a:cubicBezTo>
                    <a:pt x="723854" y="3776036"/>
                    <a:pt x="723854" y="3776036"/>
                    <a:pt x="722583" y="3778255"/>
                  </a:cubicBezTo>
                  <a:cubicBezTo>
                    <a:pt x="722583" y="3778571"/>
                    <a:pt x="693045" y="3828323"/>
                    <a:pt x="654930" y="3878708"/>
                  </a:cubicBezTo>
                  <a:cubicBezTo>
                    <a:pt x="651436" y="3883461"/>
                    <a:pt x="647307" y="3889165"/>
                    <a:pt x="642861" y="3895186"/>
                  </a:cubicBezTo>
                  <a:cubicBezTo>
                    <a:pt x="673987" y="3897721"/>
                    <a:pt x="719725" y="3902158"/>
                    <a:pt x="731159" y="3903425"/>
                  </a:cubicBezTo>
                  <a:cubicBezTo>
                    <a:pt x="732112" y="3898355"/>
                    <a:pt x="735923" y="3872687"/>
                    <a:pt x="739417" y="3847970"/>
                  </a:cubicBezTo>
                  <a:cubicBezTo>
                    <a:pt x="743546" y="3821351"/>
                    <a:pt x="747357" y="3795050"/>
                    <a:pt x="747357" y="3795050"/>
                  </a:cubicBezTo>
                  <a:cubicBezTo>
                    <a:pt x="747357" y="3795050"/>
                    <a:pt x="747357" y="3795050"/>
                    <a:pt x="747357" y="3794733"/>
                  </a:cubicBezTo>
                  <a:cubicBezTo>
                    <a:pt x="747357" y="3794733"/>
                    <a:pt x="747357" y="3794733"/>
                    <a:pt x="747357" y="3794416"/>
                  </a:cubicBezTo>
                  <a:cubicBezTo>
                    <a:pt x="747357" y="3794416"/>
                    <a:pt x="753074" y="3777304"/>
                    <a:pt x="759109" y="3759875"/>
                  </a:cubicBezTo>
                  <a:cubicBezTo>
                    <a:pt x="762285" y="3751002"/>
                    <a:pt x="765144" y="3742446"/>
                    <a:pt x="767685" y="3735792"/>
                  </a:cubicBezTo>
                  <a:cubicBezTo>
                    <a:pt x="768320" y="3733257"/>
                    <a:pt x="769273" y="3731038"/>
                    <a:pt x="769908" y="3729454"/>
                  </a:cubicBezTo>
                  <a:close/>
                  <a:moveTo>
                    <a:pt x="1060847" y="3726285"/>
                  </a:moveTo>
                  <a:lnTo>
                    <a:pt x="1051001" y="3738644"/>
                  </a:lnTo>
                  <a:cubicBezTo>
                    <a:pt x="1058624" y="3749101"/>
                    <a:pt x="1064659" y="3757974"/>
                    <a:pt x="1066882" y="3761460"/>
                  </a:cubicBezTo>
                  <a:cubicBezTo>
                    <a:pt x="1066882" y="3761460"/>
                    <a:pt x="1066882" y="3761460"/>
                    <a:pt x="1078316" y="3767164"/>
                  </a:cubicBezTo>
                  <a:cubicBezTo>
                    <a:pt x="1078316" y="3767164"/>
                    <a:pt x="1078316" y="3767164"/>
                    <a:pt x="1078634" y="3767797"/>
                  </a:cubicBezTo>
                  <a:cubicBezTo>
                    <a:pt x="1078634" y="3767797"/>
                    <a:pt x="1078634" y="3767797"/>
                    <a:pt x="1091656" y="3751319"/>
                  </a:cubicBezTo>
                  <a:cubicBezTo>
                    <a:pt x="1091656" y="3751319"/>
                    <a:pt x="1091656" y="3751319"/>
                    <a:pt x="1060847" y="3726285"/>
                  </a:cubicBezTo>
                  <a:close/>
                  <a:moveTo>
                    <a:pt x="861065" y="3725334"/>
                  </a:moveTo>
                  <a:cubicBezTo>
                    <a:pt x="861065" y="3725334"/>
                    <a:pt x="861065" y="3725334"/>
                    <a:pt x="850266" y="3749735"/>
                  </a:cubicBezTo>
                  <a:cubicBezTo>
                    <a:pt x="850266" y="3749735"/>
                    <a:pt x="850266" y="3749735"/>
                    <a:pt x="831209" y="3749735"/>
                  </a:cubicBezTo>
                  <a:lnTo>
                    <a:pt x="821363" y="3775719"/>
                  </a:lnTo>
                  <a:cubicBezTo>
                    <a:pt x="821363" y="3775719"/>
                    <a:pt x="821363" y="3775719"/>
                    <a:pt x="779119" y="3774452"/>
                  </a:cubicBezTo>
                  <a:cubicBezTo>
                    <a:pt x="779119" y="3774452"/>
                    <a:pt x="779119" y="3774452"/>
                    <a:pt x="807070" y="3732623"/>
                  </a:cubicBezTo>
                  <a:cubicBezTo>
                    <a:pt x="807070" y="3732623"/>
                    <a:pt x="807070" y="3732623"/>
                    <a:pt x="861065" y="3725334"/>
                  </a:cubicBezTo>
                  <a:close/>
                  <a:moveTo>
                    <a:pt x="3724081" y="3724384"/>
                  </a:moveTo>
                  <a:cubicBezTo>
                    <a:pt x="3724081" y="3724384"/>
                    <a:pt x="3724081" y="3724384"/>
                    <a:pt x="3757113" y="3735158"/>
                  </a:cubicBezTo>
                  <a:cubicBezTo>
                    <a:pt x="3757113" y="3735158"/>
                    <a:pt x="3757113" y="3735158"/>
                    <a:pt x="3749808" y="3757340"/>
                  </a:cubicBezTo>
                  <a:cubicBezTo>
                    <a:pt x="3749808" y="3757340"/>
                    <a:pt x="3749808" y="3757340"/>
                    <a:pt x="3767277" y="3762727"/>
                  </a:cubicBezTo>
                  <a:cubicBezTo>
                    <a:pt x="3767277" y="3762727"/>
                    <a:pt x="3767277" y="3762727"/>
                    <a:pt x="3766642" y="3764628"/>
                  </a:cubicBezTo>
                  <a:cubicBezTo>
                    <a:pt x="3766642" y="3764628"/>
                    <a:pt x="3766642" y="3764628"/>
                    <a:pt x="3756160" y="3800120"/>
                  </a:cubicBezTo>
                  <a:cubicBezTo>
                    <a:pt x="3756160" y="3800120"/>
                    <a:pt x="3756160" y="3800120"/>
                    <a:pt x="3720587" y="3788712"/>
                  </a:cubicBezTo>
                  <a:lnTo>
                    <a:pt x="3721540" y="3785543"/>
                  </a:lnTo>
                  <a:cubicBezTo>
                    <a:pt x="3721540" y="3785543"/>
                    <a:pt x="3721540" y="3785543"/>
                    <a:pt x="3705659" y="3780473"/>
                  </a:cubicBezTo>
                  <a:cubicBezTo>
                    <a:pt x="3705659" y="3780473"/>
                    <a:pt x="3705659" y="3780473"/>
                    <a:pt x="3724081" y="3724384"/>
                  </a:cubicBezTo>
                  <a:close/>
                  <a:moveTo>
                    <a:pt x="1942239" y="3721849"/>
                  </a:moveTo>
                  <a:lnTo>
                    <a:pt x="1932393" y="3768748"/>
                  </a:lnTo>
                  <a:cubicBezTo>
                    <a:pt x="1932393" y="3768748"/>
                    <a:pt x="1932393" y="3768748"/>
                    <a:pt x="1975272" y="3777304"/>
                  </a:cubicBezTo>
                  <a:cubicBezTo>
                    <a:pt x="1975272" y="3777304"/>
                    <a:pt x="1975272" y="3777304"/>
                    <a:pt x="1986071" y="3724701"/>
                  </a:cubicBezTo>
                  <a:cubicBezTo>
                    <a:pt x="1972731" y="3723750"/>
                    <a:pt x="1959708" y="3723116"/>
                    <a:pt x="1949227" y="3722482"/>
                  </a:cubicBezTo>
                  <a:cubicBezTo>
                    <a:pt x="1946686" y="3722165"/>
                    <a:pt x="1944462" y="3722165"/>
                    <a:pt x="1942239" y="3721849"/>
                  </a:cubicBezTo>
                  <a:close/>
                  <a:moveTo>
                    <a:pt x="1924135" y="3720898"/>
                  </a:moveTo>
                  <a:cubicBezTo>
                    <a:pt x="1923500" y="3727869"/>
                    <a:pt x="1920959" y="3750368"/>
                    <a:pt x="1916830" y="3783008"/>
                  </a:cubicBezTo>
                  <a:lnTo>
                    <a:pt x="2089614" y="3796000"/>
                  </a:lnTo>
                  <a:cubicBezTo>
                    <a:pt x="2089614" y="3796000"/>
                    <a:pt x="2089614" y="3796000"/>
                    <a:pt x="2096602" y="3731355"/>
                  </a:cubicBezTo>
                  <a:cubicBezTo>
                    <a:pt x="2087073" y="3730721"/>
                    <a:pt x="2048642" y="3728503"/>
                    <a:pt x="2010210" y="3725968"/>
                  </a:cubicBezTo>
                  <a:cubicBezTo>
                    <a:pt x="2003540" y="3725651"/>
                    <a:pt x="1996870" y="3725334"/>
                    <a:pt x="1990200" y="3725017"/>
                  </a:cubicBezTo>
                  <a:cubicBezTo>
                    <a:pt x="1990200" y="3725017"/>
                    <a:pt x="1990200" y="3725017"/>
                    <a:pt x="1978765" y="3782057"/>
                  </a:cubicBezTo>
                  <a:cubicBezTo>
                    <a:pt x="1978765" y="3782057"/>
                    <a:pt x="1978765" y="3782057"/>
                    <a:pt x="1927629" y="3772234"/>
                  </a:cubicBezTo>
                  <a:cubicBezTo>
                    <a:pt x="1927629" y="3772234"/>
                    <a:pt x="1927629" y="3772234"/>
                    <a:pt x="1938110" y="3721849"/>
                  </a:cubicBezTo>
                  <a:cubicBezTo>
                    <a:pt x="1934616" y="3721532"/>
                    <a:pt x="1931758" y="3721215"/>
                    <a:pt x="1929217" y="3721215"/>
                  </a:cubicBezTo>
                  <a:cubicBezTo>
                    <a:pt x="1926994" y="3720898"/>
                    <a:pt x="1925405" y="3720898"/>
                    <a:pt x="1924135" y="3720898"/>
                  </a:cubicBezTo>
                  <a:close/>
                  <a:moveTo>
                    <a:pt x="1125324" y="3717729"/>
                  </a:moveTo>
                  <a:cubicBezTo>
                    <a:pt x="1125324" y="3717729"/>
                    <a:pt x="1125324" y="3717729"/>
                    <a:pt x="1098326" y="3751319"/>
                  </a:cubicBezTo>
                  <a:cubicBezTo>
                    <a:pt x="1098326" y="3751319"/>
                    <a:pt x="1098326" y="3751319"/>
                    <a:pt x="1130088" y="3776987"/>
                  </a:cubicBezTo>
                  <a:cubicBezTo>
                    <a:pt x="1130088" y="3776987"/>
                    <a:pt x="1130088" y="3776987"/>
                    <a:pt x="1146604" y="3756389"/>
                  </a:cubicBezTo>
                  <a:cubicBezTo>
                    <a:pt x="1146604" y="3756389"/>
                    <a:pt x="1146604" y="3756389"/>
                    <a:pt x="1144381" y="3754805"/>
                  </a:cubicBezTo>
                  <a:cubicBezTo>
                    <a:pt x="1144381" y="3754805"/>
                    <a:pt x="1144381" y="3754805"/>
                    <a:pt x="1147239" y="3751319"/>
                  </a:cubicBezTo>
                  <a:cubicBezTo>
                    <a:pt x="1147239" y="3751319"/>
                    <a:pt x="1147239" y="3751319"/>
                    <a:pt x="1154862" y="3741812"/>
                  </a:cubicBezTo>
                  <a:close/>
                  <a:moveTo>
                    <a:pt x="3875585" y="3715194"/>
                  </a:moveTo>
                  <a:cubicBezTo>
                    <a:pt x="3875585" y="3715194"/>
                    <a:pt x="3875585" y="3715194"/>
                    <a:pt x="3830483" y="3738327"/>
                  </a:cubicBezTo>
                  <a:lnTo>
                    <a:pt x="3838106" y="3752904"/>
                  </a:lnTo>
                  <a:cubicBezTo>
                    <a:pt x="3838106" y="3752904"/>
                    <a:pt x="3838106" y="3752904"/>
                    <a:pt x="3835248" y="3754488"/>
                  </a:cubicBezTo>
                  <a:cubicBezTo>
                    <a:pt x="3835248" y="3754488"/>
                    <a:pt x="3835248" y="3754488"/>
                    <a:pt x="3848270" y="3780156"/>
                  </a:cubicBezTo>
                  <a:cubicBezTo>
                    <a:pt x="3848270" y="3780156"/>
                    <a:pt x="3848270" y="3780156"/>
                    <a:pt x="3875268" y="3765579"/>
                  </a:cubicBezTo>
                  <a:cubicBezTo>
                    <a:pt x="3875268" y="3765579"/>
                    <a:pt x="3875268" y="3765579"/>
                    <a:pt x="3867009" y="3749418"/>
                  </a:cubicBezTo>
                  <a:cubicBezTo>
                    <a:pt x="3867009" y="3749418"/>
                    <a:pt x="3867009" y="3749418"/>
                    <a:pt x="3887654" y="3738960"/>
                  </a:cubicBezTo>
                  <a:cubicBezTo>
                    <a:pt x="3887654" y="3738960"/>
                    <a:pt x="3887654" y="3738960"/>
                    <a:pt x="3875585" y="3715194"/>
                  </a:cubicBezTo>
                  <a:close/>
                  <a:moveTo>
                    <a:pt x="1835202" y="3712976"/>
                  </a:moveTo>
                  <a:lnTo>
                    <a:pt x="1832343" y="3752587"/>
                  </a:lnTo>
                  <a:cubicBezTo>
                    <a:pt x="1832343" y="3752587"/>
                    <a:pt x="1832343" y="3752587"/>
                    <a:pt x="1846318" y="3753537"/>
                  </a:cubicBezTo>
                  <a:cubicBezTo>
                    <a:pt x="1846318" y="3753537"/>
                    <a:pt x="1846318" y="3753537"/>
                    <a:pt x="1849177" y="3713926"/>
                  </a:cubicBezTo>
                  <a:cubicBezTo>
                    <a:pt x="1849177" y="3713926"/>
                    <a:pt x="1849177" y="3713926"/>
                    <a:pt x="1835202" y="3712976"/>
                  </a:cubicBezTo>
                  <a:close/>
                  <a:moveTo>
                    <a:pt x="2139480" y="3712342"/>
                  </a:moveTo>
                  <a:cubicBezTo>
                    <a:pt x="2139480" y="3712342"/>
                    <a:pt x="2139480" y="3712342"/>
                    <a:pt x="2137257" y="3734524"/>
                  </a:cubicBezTo>
                  <a:cubicBezTo>
                    <a:pt x="2137257" y="3734524"/>
                    <a:pt x="2137257" y="3734524"/>
                    <a:pt x="2141068" y="3735158"/>
                  </a:cubicBezTo>
                  <a:cubicBezTo>
                    <a:pt x="2141068" y="3735158"/>
                    <a:pt x="2141068" y="3735158"/>
                    <a:pt x="2143292" y="3735158"/>
                  </a:cubicBezTo>
                  <a:cubicBezTo>
                    <a:pt x="2143292" y="3735158"/>
                    <a:pt x="2143292" y="3735158"/>
                    <a:pt x="2141704" y="3751002"/>
                  </a:cubicBezTo>
                  <a:cubicBezTo>
                    <a:pt x="2141704" y="3751002"/>
                    <a:pt x="2141704" y="3751002"/>
                    <a:pt x="2196017" y="3756706"/>
                  </a:cubicBezTo>
                  <a:cubicBezTo>
                    <a:pt x="2196017" y="3756706"/>
                    <a:pt x="2196017" y="3756706"/>
                    <a:pt x="2197605" y="3741179"/>
                  </a:cubicBezTo>
                  <a:lnTo>
                    <a:pt x="2173783" y="3738960"/>
                  </a:lnTo>
                  <a:cubicBezTo>
                    <a:pt x="2173783" y="3738960"/>
                    <a:pt x="2173783" y="3738960"/>
                    <a:pt x="2175689" y="3715828"/>
                  </a:cubicBezTo>
                  <a:cubicBezTo>
                    <a:pt x="2175689" y="3715828"/>
                    <a:pt x="2175689" y="3715828"/>
                    <a:pt x="2139480" y="3712342"/>
                  </a:cubicBezTo>
                  <a:close/>
                  <a:moveTo>
                    <a:pt x="1130723" y="3711074"/>
                  </a:moveTo>
                  <a:cubicBezTo>
                    <a:pt x="1130723" y="3711074"/>
                    <a:pt x="1130723" y="3711074"/>
                    <a:pt x="1127865" y="3714243"/>
                  </a:cubicBezTo>
                  <a:cubicBezTo>
                    <a:pt x="1127865" y="3714243"/>
                    <a:pt x="1127865" y="3714243"/>
                    <a:pt x="1160897" y="3741179"/>
                  </a:cubicBezTo>
                  <a:lnTo>
                    <a:pt x="1165026" y="3735792"/>
                  </a:lnTo>
                  <a:cubicBezTo>
                    <a:pt x="1161532" y="3733573"/>
                    <a:pt x="1158356" y="3731038"/>
                    <a:pt x="1154862" y="3728503"/>
                  </a:cubicBezTo>
                  <a:cubicBezTo>
                    <a:pt x="1147557" y="3723116"/>
                    <a:pt x="1139934" y="3717729"/>
                    <a:pt x="1134217" y="3713609"/>
                  </a:cubicBezTo>
                  <a:cubicBezTo>
                    <a:pt x="1132947" y="3712659"/>
                    <a:pt x="1131676" y="3711708"/>
                    <a:pt x="1130723" y="3711074"/>
                  </a:cubicBezTo>
                  <a:close/>
                  <a:moveTo>
                    <a:pt x="3877491" y="3709807"/>
                  </a:moveTo>
                  <a:cubicBezTo>
                    <a:pt x="3877491" y="3709807"/>
                    <a:pt x="3877491" y="3709807"/>
                    <a:pt x="3893372" y="3740862"/>
                  </a:cubicBezTo>
                  <a:cubicBezTo>
                    <a:pt x="3893372" y="3740862"/>
                    <a:pt x="3893372" y="3740862"/>
                    <a:pt x="3872726" y="3751319"/>
                  </a:cubicBezTo>
                  <a:cubicBezTo>
                    <a:pt x="3872726" y="3751319"/>
                    <a:pt x="3872726" y="3751319"/>
                    <a:pt x="3880984" y="3767480"/>
                  </a:cubicBezTo>
                  <a:cubicBezTo>
                    <a:pt x="3880984" y="3767480"/>
                    <a:pt x="3880984" y="3767480"/>
                    <a:pt x="3879079" y="3768431"/>
                  </a:cubicBezTo>
                  <a:cubicBezTo>
                    <a:pt x="3879079" y="3768431"/>
                    <a:pt x="3879079" y="3768431"/>
                    <a:pt x="3846364" y="3785860"/>
                  </a:cubicBezTo>
                  <a:lnTo>
                    <a:pt x="3829530" y="3752587"/>
                  </a:lnTo>
                  <a:cubicBezTo>
                    <a:pt x="3829530" y="3752587"/>
                    <a:pt x="3829530" y="3752587"/>
                    <a:pt x="3832389" y="3751002"/>
                  </a:cubicBezTo>
                  <a:cubicBezTo>
                    <a:pt x="3832389" y="3751002"/>
                    <a:pt x="3832389" y="3751002"/>
                    <a:pt x="3825084" y="3736425"/>
                  </a:cubicBezTo>
                  <a:cubicBezTo>
                    <a:pt x="3825084" y="3736425"/>
                    <a:pt x="3825084" y="3736425"/>
                    <a:pt x="3877491" y="3709807"/>
                  </a:cubicBezTo>
                  <a:close/>
                  <a:moveTo>
                    <a:pt x="1831390" y="3708539"/>
                  </a:moveTo>
                  <a:cubicBezTo>
                    <a:pt x="1831390" y="3708539"/>
                    <a:pt x="1831390" y="3708539"/>
                    <a:pt x="1853624" y="3710124"/>
                  </a:cubicBezTo>
                  <a:cubicBezTo>
                    <a:pt x="1853624" y="3710124"/>
                    <a:pt x="1853624" y="3710124"/>
                    <a:pt x="1850448" y="3757974"/>
                  </a:cubicBezTo>
                  <a:cubicBezTo>
                    <a:pt x="1850448" y="3757974"/>
                    <a:pt x="1850448" y="3757974"/>
                    <a:pt x="1827897" y="3756389"/>
                  </a:cubicBezTo>
                  <a:cubicBezTo>
                    <a:pt x="1827897" y="3756389"/>
                    <a:pt x="1827897" y="3756389"/>
                    <a:pt x="1828214" y="3754171"/>
                  </a:cubicBezTo>
                  <a:close/>
                  <a:moveTo>
                    <a:pt x="1241572" y="3708539"/>
                  </a:moveTo>
                  <a:cubicBezTo>
                    <a:pt x="1241572" y="3708539"/>
                    <a:pt x="1241572" y="3708539"/>
                    <a:pt x="1201552" y="3724701"/>
                  </a:cubicBezTo>
                  <a:cubicBezTo>
                    <a:pt x="1201552" y="3724701"/>
                    <a:pt x="1201552" y="3724701"/>
                    <a:pt x="1220292" y="3772551"/>
                  </a:cubicBezTo>
                  <a:cubicBezTo>
                    <a:pt x="1220292" y="3772551"/>
                    <a:pt x="1220292" y="3772551"/>
                    <a:pt x="1275240" y="3755122"/>
                  </a:cubicBezTo>
                  <a:cubicBezTo>
                    <a:pt x="1275240" y="3755122"/>
                    <a:pt x="1275240" y="3755122"/>
                    <a:pt x="1242843" y="3709490"/>
                  </a:cubicBezTo>
                  <a:close/>
                  <a:moveTo>
                    <a:pt x="2135669" y="3707905"/>
                  </a:moveTo>
                  <a:cubicBezTo>
                    <a:pt x="2135669" y="3707905"/>
                    <a:pt x="2135669" y="3707905"/>
                    <a:pt x="2180136" y="3712025"/>
                  </a:cubicBezTo>
                  <a:lnTo>
                    <a:pt x="2178230" y="3735158"/>
                  </a:lnTo>
                  <a:cubicBezTo>
                    <a:pt x="2178230" y="3735158"/>
                    <a:pt x="2178230" y="3735158"/>
                    <a:pt x="2202052" y="3737376"/>
                  </a:cubicBezTo>
                  <a:cubicBezTo>
                    <a:pt x="2202052" y="3737376"/>
                    <a:pt x="2202052" y="3737376"/>
                    <a:pt x="2199828" y="3761143"/>
                  </a:cubicBezTo>
                  <a:cubicBezTo>
                    <a:pt x="2199828" y="3761143"/>
                    <a:pt x="2199828" y="3761143"/>
                    <a:pt x="2197922" y="3761143"/>
                  </a:cubicBezTo>
                  <a:cubicBezTo>
                    <a:pt x="2197922" y="3761143"/>
                    <a:pt x="2197922" y="3761143"/>
                    <a:pt x="2137257" y="3754488"/>
                  </a:cubicBezTo>
                  <a:cubicBezTo>
                    <a:pt x="2137257" y="3754488"/>
                    <a:pt x="2137257" y="3754488"/>
                    <a:pt x="2138528" y="3738960"/>
                  </a:cubicBezTo>
                  <a:cubicBezTo>
                    <a:pt x="2138528" y="3738960"/>
                    <a:pt x="2138528" y="3738960"/>
                    <a:pt x="2135034" y="3738644"/>
                  </a:cubicBezTo>
                  <a:cubicBezTo>
                    <a:pt x="2135034" y="3738644"/>
                    <a:pt x="2135034" y="3738644"/>
                    <a:pt x="2132810" y="3738327"/>
                  </a:cubicBezTo>
                  <a:cubicBezTo>
                    <a:pt x="2132810" y="3738327"/>
                    <a:pt x="2132810" y="3738327"/>
                    <a:pt x="2135669" y="3707905"/>
                  </a:cubicBezTo>
                  <a:close/>
                  <a:moveTo>
                    <a:pt x="1709425" y="3706321"/>
                  </a:moveTo>
                  <a:cubicBezTo>
                    <a:pt x="1709425" y="3706321"/>
                    <a:pt x="1709425" y="3706321"/>
                    <a:pt x="1706566" y="3745932"/>
                  </a:cubicBezTo>
                  <a:cubicBezTo>
                    <a:pt x="1706566" y="3745932"/>
                    <a:pt x="1706566" y="3745932"/>
                    <a:pt x="1720859" y="3746883"/>
                  </a:cubicBezTo>
                  <a:lnTo>
                    <a:pt x="1723718" y="3707272"/>
                  </a:lnTo>
                  <a:cubicBezTo>
                    <a:pt x="1723718" y="3707272"/>
                    <a:pt x="1723718" y="3707272"/>
                    <a:pt x="1709425" y="3706321"/>
                  </a:cubicBezTo>
                  <a:close/>
                  <a:moveTo>
                    <a:pt x="1653524" y="3703152"/>
                  </a:moveTo>
                  <a:lnTo>
                    <a:pt x="1650665" y="3742763"/>
                  </a:lnTo>
                  <a:cubicBezTo>
                    <a:pt x="1650665" y="3742763"/>
                    <a:pt x="1650665" y="3742763"/>
                    <a:pt x="1664958" y="3743714"/>
                  </a:cubicBezTo>
                  <a:cubicBezTo>
                    <a:pt x="1664958" y="3743714"/>
                    <a:pt x="1664958" y="3743714"/>
                    <a:pt x="1667499" y="3704103"/>
                  </a:cubicBezTo>
                  <a:cubicBezTo>
                    <a:pt x="1667499" y="3704103"/>
                    <a:pt x="1667499" y="3704103"/>
                    <a:pt x="1653524" y="3703152"/>
                  </a:cubicBezTo>
                  <a:close/>
                  <a:moveTo>
                    <a:pt x="1705613" y="3701885"/>
                  </a:moveTo>
                  <a:cubicBezTo>
                    <a:pt x="1705613" y="3701885"/>
                    <a:pt x="1705613" y="3701885"/>
                    <a:pt x="1727847" y="3703469"/>
                  </a:cubicBezTo>
                  <a:lnTo>
                    <a:pt x="1724670" y="3751319"/>
                  </a:lnTo>
                  <a:cubicBezTo>
                    <a:pt x="1724670" y="3751319"/>
                    <a:pt x="1724670" y="3751319"/>
                    <a:pt x="1702120" y="3749735"/>
                  </a:cubicBezTo>
                  <a:cubicBezTo>
                    <a:pt x="1702120" y="3749735"/>
                    <a:pt x="1702120" y="3749735"/>
                    <a:pt x="1702437" y="3747833"/>
                  </a:cubicBezTo>
                  <a:cubicBezTo>
                    <a:pt x="1702437" y="3747833"/>
                    <a:pt x="1702437" y="3747833"/>
                    <a:pt x="1705613" y="3701885"/>
                  </a:cubicBezTo>
                  <a:close/>
                  <a:moveTo>
                    <a:pt x="2431690" y="3700300"/>
                  </a:moveTo>
                  <a:cubicBezTo>
                    <a:pt x="2431690" y="3700300"/>
                    <a:pt x="2431690" y="3700300"/>
                    <a:pt x="2429466" y="3723433"/>
                  </a:cubicBezTo>
                  <a:cubicBezTo>
                    <a:pt x="2429466" y="3723433"/>
                    <a:pt x="2429466" y="3723433"/>
                    <a:pt x="2405645" y="3721215"/>
                  </a:cubicBezTo>
                  <a:cubicBezTo>
                    <a:pt x="2405645" y="3721215"/>
                    <a:pt x="2405645" y="3721215"/>
                    <a:pt x="2404374" y="3736742"/>
                  </a:cubicBezTo>
                  <a:cubicBezTo>
                    <a:pt x="2404374" y="3736742"/>
                    <a:pt x="2404374" y="3736742"/>
                    <a:pt x="2459005" y="3740862"/>
                  </a:cubicBezTo>
                  <a:lnTo>
                    <a:pt x="2460276" y="3725017"/>
                  </a:lnTo>
                  <a:cubicBezTo>
                    <a:pt x="2460276" y="3725017"/>
                    <a:pt x="2460276" y="3725017"/>
                    <a:pt x="2465993" y="3725651"/>
                  </a:cubicBezTo>
                  <a:cubicBezTo>
                    <a:pt x="2465993" y="3725651"/>
                    <a:pt x="2465993" y="3725651"/>
                    <a:pt x="2467898" y="3703469"/>
                  </a:cubicBezTo>
                  <a:cubicBezTo>
                    <a:pt x="2467898" y="3703469"/>
                    <a:pt x="2467898" y="3703469"/>
                    <a:pt x="2431690" y="3700300"/>
                  </a:cubicBezTo>
                  <a:close/>
                  <a:moveTo>
                    <a:pt x="3762513" y="3699983"/>
                  </a:moveTo>
                  <a:cubicBezTo>
                    <a:pt x="3747902" y="3704737"/>
                    <a:pt x="3715823" y="3715194"/>
                    <a:pt x="3673897" y="3728820"/>
                  </a:cubicBezTo>
                  <a:lnTo>
                    <a:pt x="3720587" y="3849871"/>
                  </a:lnTo>
                  <a:cubicBezTo>
                    <a:pt x="3720587" y="3849871"/>
                    <a:pt x="3720587" y="3849871"/>
                    <a:pt x="3818731" y="3818499"/>
                  </a:cubicBezTo>
                  <a:cubicBezTo>
                    <a:pt x="3817778" y="3816598"/>
                    <a:pt x="3817143" y="3814697"/>
                    <a:pt x="3816190" y="3812795"/>
                  </a:cubicBezTo>
                  <a:cubicBezTo>
                    <a:pt x="3793004" y="3764628"/>
                    <a:pt x="3771088" y="3718046"/>
                    <a:pt x="3762513" y="3699983"/>
                  </a:cubicBezTo>
                  <a:close/>
                  <a:moveTo>
                    <a:pt x="1649712" y="3698716"/>
                  </a:moveTo>
                  <a:cubicBezTo>
                    <a:pt x="1649712" y="3698716"/>
                    <a:pt x="1649712" y="3698716"/>
                    <a:pt x="1671946" y="3700300"/>
                  </a:cubicBezTo>
                  <a:cubicBezTo>
                    <a:pt x="1671946" y="3700300"/>
                    <a:pt x="1671946" y="3700300"/>
                    <a:pt x="1668770" y="3748150"/>
                  </a:cubicBezTo>
                  <a:cubicBezTo>
                    <a:pt x="1668770" y="3748150"/>
                    <a:pt x="1668770" y="3748150"/>
                    <a:pt x="1646219" y="3746566"/>
                  </a:cubicBezTo>
                  <a:cubicBezTo>
                    <a:pt x="1646219" y="3746566"/>
                    <a:pt x="1646219" y="3746566"/>
                    <a:pt x="1646536" y="3744664"/>
                  </a:cubicBezTo>
                  <a:close/>
                  <a:moveTo>
                    <a:pt x="2427878" y="3695547"/>
                  </a:moveTo>
                  <a:cubicBezTo>
                    <a:pt x="2427878" y="3695547"/>
                    <a:pt x="2427878" y="3695547"/>
                    <a:pt x="2472345" y="3699666"/>
                  </a:cubicBezTo>
                  <a:cubicBezTo>
                    <a:pt x="2472345" y="3699666"/>
                    <a:pt x="2472345" y="3699666"/>
                    <a:pt x="2469804" y="3730088"/>
                  </a:cubicBezTo>
                  <a:cubicBezTo>
                    <a:pt x="2469804" y="3730088"/>
                    <a:pt x="2469804" y="3730088"/>
                    <a:pt x="2464087" y="3729454"/>
                  </a:cubicBezTo>
                  <a:lnTo>
                    <a:pt x="2462816" y="3745298"/>
                  </a:lnTo>
                  <a:cubicBezTo>
                    <a:pt x="2462816" y="3745298"/>
                    <a:pt x="2462816" y="3745298"/>
                    <a:pt x="2399928" y="3740545"/>
                  </a:cubicBezTo>
                  <a:cubicBezTo>
                    <a:pt x="2399928" y="3740545"/>
                    <a:pt x="2399928" y="3740545"/>
                    <a:pt x="2399928" y="3738644"/>
                  </a:cubicBezTo>
                  <a:cubicBezTo>
                    <a:pt x="2399928" y="3738644"/>
                    <a:pt x="2399928" y="3738644"/>
                    <a:pt x="2401834" y="3716778"/>
                  </a:cubicBezTo>
                  <a:cubicBezTo>
                    <a:pt x="2401834" y="3716778"/>
                    <a:pt x="2401834" y="3716778"/>
                    <a:pt x="2425973" y="3718680"/>
                  </a:cubicBezTo>
                  <a:cubicBezTo>
                    <a:pt x="2425973" y="3718680"/>
                    <a:pt x="2425973" y="3718680"/>
                    <a:pt x="2427878" y="3695547"/>
                  </a:cubicBezTo>
                  <a:close/>
                  <a:moveTo>
                    <a:pt x="1373066" y="3690160"/>
                  </a:moveTo>
                  <a:cubicBezTo>
                    <a:pt x="1373066" y="3690160"/>
                    <a:pt x="1373066" y="3690160"/>
                    <a:pt x="1369573" y="3772867"/>
                  </a:cubicBezTo>
                  <a:cubicBezTo>
                    <a:pt x="1369573" y="3772867"/>
                    <a:pt x="1369573" y="3772867"/>
                    <a:pt x="1347975" y="3803289"/>
                  </a:cubicBezTo>
                  <a:cubicBezTo>
                    <a:pt x="1356233" y="3814063"/>
                    <a:pt x="1404511" y="3877124"/>
                    <a:pt x="1447389" y="3932262"/>
                  </a:cubicBezTo>
                  <a:cubicBezTo>
                    <a:pt x="1470893" y="3962366"/>
                    <a:pt x="1494397" y="3992788"/>
                    <a:pt x="1512183" y="4015604"/>
                  </a:cubicBezTo>
                  <a:cubicBezTo>
                    <a:pt x="1521077" y="4027012"/>
                    <a:pt x="1528382" y="4036835"/>
                    <a:pt x="1533464" y="4043490"/>
                  </a:cubicBezTo>
                  <a:cubicBezTo>
                    <a:pt x="1533782" y="4044124"/>
                    <a:pt x="1534099" y="4044440"/>
                    <a:pt x="1534417" y="4044757"/>
                  </a:cubicBezTo>
                  <a:cubicBezTo>
                    <a:pt x="1546486" y="4029230"/>
                    <a:pt x="1556015" y="4013702"/>
                    <a:pt x="1556015" y="3988985"/>
                  </a:cubicBezTo>
                  <a:cubicBezTo>
                    <a:pt x="1556015" y="3979478"/>
                    <a:pt x="1554427" y="3968070"/>
                    <a:pt x="1550933" y="3954761"/>
                  </a:cubicBezTo>
                  <a:cubicBezTo>
                    <a:pt x="1545216" y="3934480"/>
                    <a:pt x="1539181" y="3916735"/>
                    <a:pt x="1539181" y="3897721"/>
                  </a:cubicBezTo>
                  <a:cubicBezTo>
                    <a:pt x="1539181" y="3882828"/>
                    <a:pt x="1543310" y="3867934"/>
                    <a:pt x="1553792" y="3852723"/>
                  </a:cubicBezTo>
                  <a:cubicBezTo>
                    <a:pt x="1558238" y="3846385"/>
                    <a:pt x="1563002" y="3839731"/>
                    <a:pt x="1567767" y="3832759"/>
                  </a:cubicBezTo>
                  <a:cubicBezTo>
                    <a:pt x="1551886" y="3821668"/>
                    <a:pt x="1509325" y="3790296"/>
                    <a:pt x="1467082" y="3759241"/>
                  </a:cubicBezTo>
                  <a:cubicBezTo>
                    <a:pt x="1442943" y="3741496"/>
                    <a:pt x="1418804" y="3723750"/>
                    <a:pt x="1400699" y="3710441"/>
                  </a:cubicBezTo>
                  <a:cubicBezTo>
                    <a:pt x="1391806" y="3703786"/>
                    <a:pt x="1384183" y="3698399"/>
                    <a:pt x="1378784" y="3694279"/>
                  </a:cubicBezTo>
                  <a:cubicBezTo>
                    <a:pt x="1376243" y="3692695"/>
                    <a:pt x="1374337" y="3691110"/>
                    <a:pt x="1373066" y="3690160"/>
                  </a:cubicBezTo>
                  <a:close/>
                  <a:moveTo>
                    <a:pt x="1090386" y="3689526"/>
                  </a:moveTo>
                  <a:lnTo>
                    <a:pt x="1063706" y="3722799"/>
                  </a:lnTo>
                  <a:cubicBezTo>
                    <a:pt x="1063706" y="3722799"/>
                    <a:pt x="1063706" y="3722799"/>
                    <a:pt x="1094515" y="3747833"/>
                  </a:cubicBezTo>
                  <a:cubicBezTo>
                    <a:pt x="1094515" y="3747833"/>
                    <a:pt x="1094515" y="3747833"/>
                    <a:pt x="1121195" y="3714560"/>
                  </a:cubicBezTo>
                  <a:cubicBezTo>
                    <a:pt x="1121195" y="3714560"/>
                    <a:pt x="1121195" y="3714560"/>
                    <a:pt x="1090386" y="3689526"/>
                  </a:cubicBezTo>
                  <a:close/>
                  <a:moveTo>
                    <a:pt x="564091" y="3686674"/>
                  </a:moveTo>
                  <a:lnTo>
                    <a:pt x="448478" y="3701568"/>
                  </a:lnTo>
                  <a:cubicBezTo>
                    <a:pt x="448478" y="3701568"/>
                    <a:pt x="448478" y="3701568"/>
                    <a:pt x="457689" y="3731355"/>
                  </a:cubicBezTo>
                  <a:cubicBezTo>
                    <a:pt x="457689" y="3731355"/>
                    <a:pt x="457689" y="3731355"/>
                    <a:pt x="546622" y="3721532"/>
                  </a:cubicBezTo>
                  <a:cubicBezTo>
                    <a:pt x="546622" y="3721532"/>
                    <a:pt x="546622" y="3721532"/>
                    <a:pt x="549163" y="3721532"/>
                  </a:cubicBezTo>
                  <a:cubicBezTo>
                    <a:pt x="549163" y="3721532"/>
                    <a:pt x="549163" y="3721532"/>
                    <a:pt x="550751" y="3723433"/>
                  </a:cubicBezTo>
                  <a:cubicBezTo>
                    <a:pt x="550751" y="3723750"/>
                    <a:pt x="564091" y="3743397"/>
                    <a:pt x="576796" y="3751319"/>
                  </a:cubicBezTo>
                  <a:cubicBezTo>
                    <a:pt x="589501" y="3759558"/>
                    <a:pt x="619357" y="3767480"/>
                    <a:pt x="619675" y="3767797"/>
                  </a:cubicBezTo>
                  <a:cubicBezTo>
                    <a:pt x="619675" y="3767797"/>
                    <a:pt x="619675" y="3767797"/>
                    <a:pt x="624121" y="3768748"/>
                  </a:cubicBezTo>
                  <a:cubicBezTo>
                    <a:pt x="624121" y="3768748"/>
                    <a:pt x="624121" y="3768748"/>
                    <a:pt x="622851" y="3773184"/>
                  </a:cubicBezTo>
                  <a:cubicBezTo>
                    <a:pt x="622851" y="3773184"/>
                    <a:pt x="622851" y="3773184"/>
                    <a:pt x="601253" y="3853674"/>
                  </a:cubicBezTo>
                  <a:cubicBezTo>
                    <a:pt x="601253" y="3853674"/>
                    <a:pt x="601253" y="3853674"/>
                    <a:pt x="618404" y="3858744"/>
                  </a:cubicBezTo>
                  <a:cubicBezTo>
                    <a:pt x="618404" y="3858744"/>
                    <a:pt x="618404" y="3858744"/>
                    <a:pt x="650166" y="3820718"/>
                  </a:cubicBezTo>
                  <a:cubicBezTo>
                    <a:pt x="650166" y="3820718"/>
                    <a:pt x="650166" y="3820718"/>
                    <a:pt x="667953" y="3743397"/>
                  </a:cubicBezTo>
                  <a:cubicBezTo>
                    <a:pt x="656836" y="3740228"/>
                    <a:pt x="626345" y="3731038"/>
                    <a:pt x="606335" y="3719947"/>
                  </a:cubicBezTo>
                  <a:cubicBezTo>
                    <a:pt x="586007" y="3708539"/>
                    <a:pt x="569173" y="3691744"/>
                    <a:pt x="564091" y="3686674"/>
                  </a:cubicBezTo>
                  <a:close/>
                  <a:moveTo>
                    <a:pt x="1032579" y="3684773"/>
                  </a:moveTo>
                  <a:lnTo>
                    <a:pt x="1020192" y="3700300"/>
                  </a:lnTo>
                  <a:cubicBezTo>
                    <a:pt x="1029085" y="3710124"/>
                    <a:pt x="1039249" y="3722799"/>
                    <a:pt x="1047825" y="3734207"/>
                  </a:cubicBezTo>
                  <a:cubicBezTo>
                    <a:pt x="1047825" y="3734207"/>
                    <a:pt x="1047825" y="3734207"/>
                    <a:pt x="1063706" y="3714560"/>
                  </a:cubicBezTo>
                  <a:cubicBezTo>
                    <a:pt x="1063706" y="3714560"/>
                    <a:pt x="1063706" y="3714560"/>
                    <a:pt x="1065294" y="3712025"/>
                  </a:cubicBezTo>
                  <a:cubicBezTo>
                    <a:pt x="1065294" y="3712025"/>
                    <a:pt x="1065294" y="3712025"/>
                    <a:pt x="1064341" y="3711391"/>
                  </a:cubicBezTo>
                  <a:cubicBezTo>
                    <a:pt x="1064341" y="3711391"/>
                    <a:pt x="1064341" y="3711391"/>
                    <a:pt x="1064976" y="3710757"/>
                  </a:cubicBezTo>
                  <a:cubicBezTo>
                    <a:pt x="1064976" y="3710757"/>
                    <a:pt x="1064976" y="3710757"/>
                    <a:pt x="1032579" y="3684773"/>
                  </a:cubicBezTo>
                  <a:close/>
                  <a:moveTo>
                    <a:pt x="883616" y="3683822"/>
                  </a:moveTo>
                  <a:cubicBezTo>
                    <a:pt x="883616" y="3683822"/>
                    <a:pt x="883616" y="3683822"/>
                    <a:pt x="856301" y="3710441"/>
                  </a:cubicBezTo>
                  <a:cubicBezTo>
                    <a:pt x="856301" y="3710441"/>
                    <a:pt x="856301" y="3710441"/>
                    <a:pt x="797859" y="3727236"/>
                  </a:cubicBezTo>
                  <a:lnTo>
                    <a:pt x="775625" y="3728820"/>
                  </a:lnTo>
                  <a:cubicBezTo>
                    <a:pt x="771814" y="3738327"/>
                    <a:pt x="759427" y="3774769"/>
                    <a:pt x="754345" y="3789663"/>
                  </a:cubicBezTo>
                  <a:cubicBezTo>
                    <a:pt x="754345" y="3789663"/>
                    <a:pt x="754345" y="3789663"/>
                    <a:pt x="832162" y="3793148"/>
                  </a:cubicBezTo>
                  <a:cubicBezTo>
                    <a:pt x="832162" y="3793148"/>
                    <a:pt x="832162" y="3793148"/>
                    <a:pt x="820092" y="3832126"/>
                  </a:cubicBezTo>
                  <a:cubicBezTo>
                    <a:pt x="827397" y="3833076"/>
                    <a:pt x="846137" y="3835928"/>
                    <a:pt x="865512" y="3839097"/>
                  </a:cubicBezTo>
                  <a:cubicBezTo>
                    <a:pt x="885839" y="3842266"/>
                    <a:pt x="907120" y="3845435"/>
                    <a:pt x="913154" y="3846385"/>
                  </a:cubicBezTo>
                  <a:cubicBezTo>
                    <a:pt x="918236" y="3832442"/>
                    <a:pt x="947775" y="3748467"/>
                    <a:pt x="953810" y="3731355"/>
                  </a:cubicBezTo>
                  <a:cubicBezTo>
                    <a:pt x="953810" y="3731355"/>
                    <a:pt x="953810" y="3731355"/>
                    <a:pt x="913472" y="3717412"/>
                  </a:cubicBezTo>
                  <a:cubicBezTo>
                    <a:pt x="913472" y="3717412"/>
                    <a:pt x="913472" y="3717412"/>
                    <a:pt x="883616" y="3683822"/>
                  </a:cubicBezTo>
                  <a:close/>
                  <a:moveTo>
                    <a:pt x="565679" y="3681921"/>
                  </a:moveTo>
                  <a:cubicBezTo>
                    <a:pt x="565679" y="3681921"/>
                    <a:pt x="584736" y="3702835"/>
                    <a:pt x="608558" y="3716145"/>
                  </a:cubicBezTo>
                  <a:cubicBezTo>
                    <a:pt x="632379" y="3729454"/>
                    <a:pt x="673352" y="3740228"/>
                    <a:pt x="673352" y="3740228"/>
                  </a:cubicBezTo>
                  <a:cubicBezTo>
                    <a:pt x="673352" y="3740228"/>
                    <a:pt x="673352" y="3740228"/>
                    <a:pt x="654295" y="3822619"/>
                  </a:cubicBezTo>
                  <a:cubicBezTo>
                    <a:pt x="654295" y="3822619"/>
                    <a:pt x="654295" y="3822619"/>
                    <a:pt x="619992" y="3863814"/>
                  </a:cubicBezTo>
                  <a:cubicBezTo>
                    <a:pt x="619992" y="3863814"/>
                    <a:pt x="619992" y="3863814"/>
                    <a:pt x="595853" y="3856843"/>
                  </a:cubicBezTo>
                  <a:cubicBezTo>
                    <a:pt x="595853" y="3856843"/>
                    <a:pt x="595853" y="3856843"/>
                    <a:pt x="618722" y="3771917"/>
                  </a:cubicBezTo>
                  <a:cubicBezTo>
                    <a:pt x="618722" y="3771917"/>
                    <a:pt x="587913" y="3763678"/>
                    <a:pt x="574255" y="3755122"/>
                  </a:cubicBezTo>
                  <a:cubicBezTo>
                    <a:pt x="560915" y="3746566"/>
                    <a:pt x="546940" y="3725968"/>
                    <a:pt x="546940" y="3725968"/>
                  </a:cubicBezTo>
                  <a:lnTo>
                    <a:pt x="454513" y="3736108"/>
                  </a:lnTo>
                  <a:cubicBezTo>
                    <a:pt x="454513" y="3736108"/>
                    <a:pt x="454513" y="3736108"/>
                    <a:pt x="442761" y="3697765"/>
                  </a:cubicBezTo>
                  <a:cubicBezTo>
                    <a:pt x="442761" y="3697765"/>
                    <a:pt x="442761" y="3697765"/>
                    <a:pt x="565679" y="3681921"/>
                  </a:cubicBezTo>
                  <a:close/>
                  <a:moveTo>
                    <a:pt x="2122964" y="3681604"/>
                  </a:moveTo>
                  <a:cubicBezTo>
                    <a:pt x="2122964" y="3681604"/>
                    <a:pt x="2122964" y="3681604"/>
                    <a:pt x="2113118" y="3773501"/>
                  </a:cubicBezTo>
                  <a:cubicBezTo>
                    <a:pt x="2127728" y="3776670"/>
                    <a:pt x="2153138" y="3782057"/>
                    <a:pt x="2179183" y="3787444"/>
                  </a:cubicBezTo>
                  <a:cubicBezTo>
                    <a:pt x="2212215" y="3794416"/>
                    <a:pt x="2245883" y="3801387"/>
                    <a:pt x="2257317" y="3803289"/>
                  </a:cubicBezTo>
                  <a:cubicBezTo>
                    <a:pt x="2257317" y="3803289"/>
                    <a:pt x="2257317" y="3803289"/>
                    <a:pt x="2257000" y="3791247"/>
                  </a:cubicBezTo>
                  <a:cubicBezTo>
                    <a:pt x="2257000" y="3791247"/>
                    <a:pt x="2257000" y="3791247"/>
                    <a:pt x="2257317" y="3790930"/>
                  </a:cubicBezTo>
                  <a:cubicBezTo>
                    <a:pt x="2257317" y="3790930"/>
                    <a:pt x="2266210" y="3765579"/>
                    <a:pt x="2278280" y="3730405"/>
                  </a:cubicBezTo>
                  <a:cubicBezTo>
                    <a:pt x="2277645" y="3730088"/>
                    <a:pt x="2277010" y="3729771"/>
                    <a:pt x="2276056" y="3729454"/>
                  </a:cubicBezTo>
                  <a:cubicBezTo>
                    <a:pt x="2262716" y="3722165"/>
                    <a:pt x="2219203" y="3695230"/>
                    <a:pt x="2214438" y="3692378"/>
                  </a:cubicBezTo>
                  <a:cubicBezTo>
                    <a:pt x="2214438" y="3692378"/>
                    <a:pt x="2214438" y="3692378"/>
                    <a:pt x="2122964" y="3681604"/>
                  </a:cubicBezTo>
                  <a:close/>
                  <a:moveTo>
                    <a:pt x="1200282" y="3680336"/>
                  </a:moveTo>
                  <a:cubicBezTo>
                    <a:pt x="1188847" y="3683188"/>
                    <a:pt x="1158356" y="3690160"/>
                    <a:pt x="1144381" y="3693329"/>
                  </a:cubicBezTo>
                  <a:cubicBezTo>
                    <a:pt x="1144381" y="3693329"/>
                    <a:pt x="1144381" y="3693329"/>
                    <a:pt x="1199011" y="3721532"/>
                  </a:cubicBezTo>
                  <a:cubicBezTo>
                    <a:pt x="1199011" y="3721532"/>
                    <a:pt x="1199011" y="3721532"/>
                    <a:pt x="1200282" y="3722482"/>
                  </a:cubicBezTo>
                  <a:cubicBezTo>
                    <a:pt x="1200282" y="3722482"/>
                    <a:pt x="1200282" y="3722482"/>
                    <a:pt x="1239031" y="3706955"/>
                  </a:cubicBezTo>
                  <a:cubicBezTo>
                    <a:pt x="1239031" y="3706955"/>
                    <a:pt x="1239031" y="3706955"/>
                    <a:pt x="1201870" y="3681604"/>
                  </a:cubicBezTo>
                  <a:cubicBezTo>
                    <a:pt x="1201870" y="3681604"/>
                    <a:pt x="1201870" y="3681604"/>
                    <a:pt x="1200282" y="3680653"/>
                  </a:cubicBezTo>
                  <a:close/>
                  <a:moveTo>
                    <a:pt x="567267" y="3676850"/>
                  </a:moveTo>
                  <a:lnTo>
                    <a:pt x="410999" y="3697765"/>
                  </a:lnTo>
                  <a:cubicBezTo>
                    <a:pt x="418304" y="3709807"/>
                    <a:pt x="424021" y="3722165"/>
                    <a:pt x="427198" y="3732623"/>
                  </a:cubicBezTo>
                  <a:cubicBezTo>
                    <a:pt x="432597" y="3752904"/>
                    <a:pt x="441173" y="3786177"/>
                    <a:pt x="444349" y="3796951"/>
                  </a:cubicBezTo>
                  <a:cubicBezTo>
                    <a:pt x="447843" y="3808042"/>
                    <a:pt x="450701" y="3826105"/>
                    <a:pt x="484687" y="3848921"/>
                  </a:cubicBezTo>
                  <a:cubicBezTo>
                    <a:pt x="508508" y="3865082"/>
                    <a:pt x="553292" y="3878708"/>
                    <a:pt x="586325" y="3886630"/>
                  </a:cubicBezTo>
                  <a:cubicBezTo>
                    <a:pt x="598712" y="3889482"/>
                    <a:pt x="608558" y="3891067"/>
                    <a:pt x="616816" y="3892968"/>
                  </a:cubicBezTo>
                  <a:cubicBezTo>
                    <a:pt x="616816" y="3892968"/>
                    <a:pt x="617134" y="3892968"/>
                    <a:pt x="617134" y="3892968"/>
                  </a:cubicBezTo>
                  <a:cubicBezTo>
                    <a:pt x="623486" y="3885046"/>
                    <a:pt x="630791" y="3874589"/>
                    <a:pt x="637461" y="3865399"/>
                  </a:cubicBezTo>
                  <a:cubicBezTo>
                    <a:pt x="648896" y="3850505"/>
                    <a:pt x="659377" y="3835611"/>
                    <a:pt x="668588" y="3821668"/>
                  </a:cubicBezTo>
                  <a:cubicBezTo>
                    <a:pt x="668588" y="3821668"/>
                    <a:pt x="668588" y="3821668"/>
                    <a:pt x="687963" y="3733890"/>
                  </a:cubicBezTo>
                  <a:cubicBezTo>
                    <a:pt x="672717" y="3732623"/>
                    <a:pt x="652072" y="3729454"/>
                    <a:pt x="632062" y="3720898"/>
                  </a:cubicBezTo>
                  <a:cubicBezTo>
                    <a:pt x="596171" y="3705370"/>
                    <a:pt x="568538" y="3678118"/>
                    <a:pt x="567267" y="3676850"/>
                  </a:cubicBezTo>
                  <a:close/>
                  <a:moveTo>
                    <a:pt x="263941" y="3676850"/>
                  </a:moveTo>
                  <a:cubicBezTo>
                    <a:pt x="262671" y="3679069"/>
                    <a:pt x="261083" y="3680970"/>
                    <a:pt x="259812" y="3682871"/>
                  </a:cubicBezTo>
                  <a:cubicBezTo>
                    <a:pt x="247425" y="3698716"/>
                    <a:pt x="235673" y="3708539"/>
                    <a:pt x="226780" y="3714560"/>
                  </a:cubicBezTo>
                  <a:cubicBezTo>
                    <a:pt x="222016" y="3717729"/>
                    <a:pt x="218204" y="3719630"/>
                    <a:pt x="215346" y="3720898"/>
                  </a:cubicBezTo>
                  <a:cubicBezTo>
                    <a:pt x="214075" y="3721532"/>
                    <a:pt x="213440" y="3721849"/>
                    <a:pt x="212170" y="3722165"/>
                  </a:cubicBezTo>
                  <a:cubicBezTo>
                    <a:pt x="212170" y="3722165"/>
                    <a:pt x="212170" y="3722165"/>
                    <a:pt x="211852" y="3721849"/>
                  </a:cubicBezTo>
                  <a:cubicBezTo>
                    <a:pt x="219157" y="3731672"/>
                    <a:pt x="225827" y="3741496"/>
                    <a:pt x="232180" y="3750368"/>
                  </a:cubicBezTo>
                  <a:cubicBezTo>
                    <a:pt x="246472" y="3770015"/>
                    <a:pt x="258224" y="3786494"/>
                    <a:pt x="266800" y="3798219"/>
                  </a:cubicBezTo>
                  <a:lnTo>
                    <a:pt x="272912" y="3806756"/>
                  </a:lnTo>
                  <a:lnTo>
                    <a:pt x="272835" y="3806774"/>
                  </a:lnTo>
                  <a:cubicBezTo>
                    <a:pt x="273152" y="3807091"/>
                    <a:pt x="273152" y="3807091"/>
                    <a:pt x="273152" y="3807091"/>
                  </a:cubicBezTo>
                  <a:lnTo>
                    <a:pt x="272912" y="3806756"/>
                  </a:lnTo>
                  <a:lnTo>
                    <a:pt x="274145" y="3806458"/>
                  </a:lnTo>
                  <a:cubicBezTo>
                    <a:pt x="278076" y="3805507"/>
                    <a:pt x="293798" y="3801704"/>
                    <a:pt x="356686" y="3786494"/>
                  </a:cubicBezTo>
                  <a:cubicBezTo>
                    <a:pt x="356686" y="3786494"/>
                    <a:pt x="356686" y="3786494"/>
                    <a:pt x="339217" y="3713609"/>
                  </a:cubicBezTo>
                  <a:cubicBezTo>
                    <a:pt x="339217" y="3713609"/>
                    <a:pt x="339217" y="3713609"/>
                    <a:pt x="300468" y="3678118"/>
                  </a:cubicBezTo>
                  <a:cubicBezTo>
                    <a:pt x="295068" y="3680653"/>
                    <a:pt x="289669" y="3681604"/>
                    <a:pt x="284269" y="3681604"/>
                  </a:cubicBezTo>
                  <a:cubicBezTo>
                    <a:pt x="276964" y="3681604"/>
                    <a:pt x="269976" y="3679702"/>
                    <a:pt x="263941" y="3676850"/>
                  </a:cubicBezTo>
                  <a:close/>
                  <a:moveTo>
                    <a:pt x="1682745" y="3671780"/>
                  </a:moveTo>
                  <a:cubicBezTo>
                    <a:pt x="1682745" y="3671780"/>
                    <a:pt x="1682745" y="3671780"/>
                    <a:pt x="1641454" y="3685723"/>
                  </a:cubicBezTo>
                  <a:cubicBezTo>
                    <a:pt x="1640501" y="3708539"/>
                    <a:pt x="1636055" y="3731038"/>
                    <a:pt x="1631608" y="3750052"/>
                  </a:cubicBezTo>
                  <a:cubicBezTo>
                    <a:pt x="1631608" y="3750052"/>
                    <a:pt x="1631608" y="3750052"/>
                    <a:pt x="1687191" y="3755122"/>
                  </a:cubicBezTo>
                  <a:cubicBezTo>
                    <a:pt x="1686556" y="3746566"/>
                    <a:pt x="1685921" y="3727869"/>
                    <a:pt x="1685286" y="3709807"/>
                  </a:cubicBezTo>
                  <a:cubicBezTo>
                    <a:pt x="1684650" y="3699349"/>
                    <a:pt x="1684333" y="3689209"/>
                    <a:pt x="1683698" y="3681604"/>
                  </a:cubicBezTo>
                  <a:cubicBezTo>
                    <a:pt x="1683380" y="3678118"/>
                    <a:pt x="1683380" y="3674949"/>
                    <a:pt x="1683062" y="3672731"/>
                  </a:cubicBezTo>
                  <a:cubicBezTo>
                    <a:pt x="1683062" y="3672414"/>
                    <a:pt x="1683062" y="3672097"/>
                    <a:pt x="1682745" y="3671780"/>
                  </a:cubicBezTo>
                  <a:close/>
                  <a:moveTo>
                    <a:pt x="1106267" y="3669879"/>
                  </a:moveTo>
                  <a:cubicBezTo>
                    <a:pt x="1106267" y="3669879"/>
                    <a:pt x="1106267" y="3669879"/>
                    <a:pt x="1093244" y="3686040"/>
                  </a:cubicBezTo>
                  <a:cubicBezTo>
                    <a:pt x="1093244" y="3686040"/>
                    <a:pt x="1093244" y="3686040"/>
                    <a:pt x="1124053" y="3711074"/>
                  </a:cubicBezTo>
                  <a:lnTo>
                    <a:pt x="1126277" y="3707905"/>
                  </a:lnTo>
                  <a:cubicBezTo>
                    <a:pt x="1125959" y="3707905"/>
                    <a:pt x="1125641" y="3707589"/>
                    <a:pt x="1125324" y="3707272"/>
                  </a:cubicBezTo>
                  <a:cubicBezTo>
                    <a:pt x="1124371" y="3706955"/>
                    <a:pt x="1124053" y="3706321"/>
                    <a:pt x="1123736" y="3706004"/>
                  </a:cubicBezTo>
                  <a:cubicBezTo>
                    <a:pt x="1122148" y="3704420"/>
                    <a:pt x="1122465" y="3704737"/>
                    <a:pt x="1122148" y="3704103"/>
                  </a:cubicBezTo>
                  <a:cubicBezTo>
                    <a:pt x="1120559" y="3700934"/>
                    <a:pt x="1113572" y="3685723"/>
                    <a:pt x="1106267" y="3669879"/>
                  </a:cubicBezTo>
                  <a:close/>
                  <a:moveTo>
                    <a:pt x="3333727" y="3667661"/>
                  </a:moveTo>
                  <a:cubicBezTo>
                    <a:pt x="3333727" y="3667661"/>
                    <a:pt x="3333727" y="3667661"/>
                    <a:pt x="3294342" y="3680336"/>
                  </a:cubicBezTo>
                  <a:cubicBezTo>
                    <a:pt x="3294342" y="3680336"/>
                    <a:pt x="3294342" y="3680336"/>
                    <a:pt x="3308000" y="3725968"/>
                  </a:cubicBezTo>
                  <a:cubicBezTo>
                    <a:pt x="3308000" y="3725968"/>
                    <a:pt x="3308000" y="3725968"/>
                    <a:pt x="3195563" y="3760826"/>
                  </a:cubicBezTo>
                  <a:cubicBezTo>
                    <a:pt x="3195563" y="3760826"/>
                    <a:pt x="3195563" y="3760826"/>
                    <a:pt x="3202868" y="3783325"/>
                  </a:cubicBezTo>
                  <a:cubicBezTo>
                    <a:pt x="3202868" y="3783325"/>
                    <a:pt x="3202868" y="3783325"/>
                    <a:pt x="3225737" y="3776670"/>
                  </a:cubicBezTo>
                  <a:cubicBezTo>
                    <a:pt x="3225737" y="3776670"/>
                    <a:pt x="3225737" y="3776670"/>
                    <a:pt x="3238759" y="3818816"/>
                  </a:cubicBezTo>
                  <a:cubicBezTo>
                    <a:pt x="3238759" y="3818816"/>
                    <a:pt x="3238759" y="3818816"/>
                    <a:pt x="3214938" y="3826738"/>
                  </a:cubicBezTo>
                  <a:cubicBezTo>
                    <a:pt x="3214938" y="3826738"/>
                    <a:pt x="3214938" y="3826738"/>
                    <a:pt x="3217161" y="3834027"/>
                  </a:cubicBezTo>
                  <a:cubicBezTo>
                    <a:pt x="3217161" y="3834027"/>
                    <a:pt x="3217161" y="3834027"/>
                    <a:pt x="3272427" y="3815647"/>
                  </a:cubicBezTo>
                  <a:cubicBezTo>
                    <a:pt x="3272427" y="3815647"/>
                    <a:pt x="3272427" y="3815647"/>
                    <a:pt x="3263851" y="3787444"/>
                  </a:cubicBezTo>
                  <a:cubicBezTo>
                    <a:pt x="3263851" y="3787444"/>
                    <a:pt x="3263851" y="3787444"/>
                    <a:pt x="3318164" y="3770649"/>
                  </a:cubicBezTo>
                  <a:cubicBezTo>
                    <a:pt x="3318164" y="3770649"/>
                    <a:pt x="3318164" y="3770649"/>
                    <a:pt x="3327375" y="3799169"/>
                  </a:cubicBezTo>
                  <a:cubicBezTo>
                    <a:pt x="3327375" y="3799169"/>
                    <a:pt x="3327375" y="3799169"/>
                    <a:pt x="3386134" y="3780790"/>
                  </a:cubicBezTo>
                  <a:cubicBezTo>
                    <a:pt x="3386134" y="3780790"/>
                    <a:pt x="3386134" y="3780790"/>
                    <a:pt x="3363901" y="3709490"/>
                  </a:cubicBezTo>
                  <a:lnTo>
                    <a:pt x="3348656" y="3713609"/>
                  </a:lnTo>
                  <a:cubicBezTo>
                    <a:pt x="3348656" y="3713609"/>
                    <a:pt x="3348656" y="3713609"/>
                    <a:pt x="3333727" y="3667661"/>
                  </a:cubicBezTo>
                  <a:close/>
                  <a:moveTo>
                    <a:pt x="880440" y="3662591"/>
                  </a:moveTo>
                  <a:cubicBezTo>
                    <a:pt x="878216" y="3662591"/>
                    <a:pt x="870911" y="3667978"/>
                    <a:pt x="864241" y="3673682"/>
                  </a:cubicBezTo>
                  <a:cubicBezTo>
                    <a:pt x="857571" y="3679702"/>
                    <a:pt x="850901" y="3686357"/>
                    <a:pt x="846454" y="3689843"/>
                  </a:cubicBezTo>
                  <a:cubicBezTo>
                    <a:pt x="837243" y="3696814"/>
                    <a:pt x="817551" y="3698399"/>
                    <a:pt x="801670" y="3698716"/>
                  </a:cubicBezTo>
                  <a:cubicBezTo>
                    <a:pt x="798494" y="3698716"/>
                    <a:pt x="795635" y="3698716"/>
                    <a:pt x="792777" y="3698399"/>
                  </a:cubicBezTo>
                  <a:cubicBezTo>
                    <a:pt x="784836" y="3697765"/>
                    <a:pt x="779754" y="3694279"/>
                    <a:pt x="777531" y="3690477"/>
                  </a:cubicBezTo>
                  <a:cubicBezTo>
                    <a:pt x="776578" y="3689209"/>
                    <a:pt x="775943" y="3687942"/>
                    <a:pt x="775625" y="3686674"/>
                  </a:cubicBezTo>
                  <a:cubicBezTo>
                    <a:pt x="769908" y="3689843"/>
                    <a:pt x="761968" y="3692061"/>
                    <a:pt x="753074" y="3693012"/>
                  </a:cubicBezTo>
                  <a:cubicBezTo>
                    <a:pt x="749581" y="3701568"/>
                    <a:pt x="746087" y="3709490"/>
                    <a:pt x="743228" y="3717095"/>
                  </a:cubicBezTo>
                  <a:lnTo>
                    <a:pt x="795318" y="3712976"/>
                  </a:lnTo>
                  <a:cubicBezTo>
                    <a:pt x="795318" y="3712976"/>
                    <a:pt x="795318" y="3712976"/>
                    <a:pt x="848995" y="3697448"/>
                  </a:cubicBezTo>
                  <a:cubicBezTo>
                    <a:pt x="848995" y="3697448"/>
                    <a:pt x="848995" y="3697448"/>
                    <a:pt x="878216" y="3668928"/>
                  </a:cubicBezTo>
                  <a:cubicBezTo>
                    <a:pt x="878216" y="3668928"/>
                    <a:pt x="878216" y="3668928"/>
                    <a:pt x="880757" y="3662591"/>
                  </a:cubicBezTo>
                  <a:cubicBezTo>
                    <a:pt x="880440" y="3662591"/>
                    <a:pt x="880440" y="3662591"/>
                    <a:pt x="880440" y="3662591"/>
                  </a:cubicBezTo>
                  <a:close/>
                  <a:moveTo>
                    <a:pt x="896321" y="3661957"/>
                  </a:moveTo>
                  <a:cubicBezTo>
                    <a:pt x="896321" y="3661957"/>
                    <a:pt x="896321" y="3661957"/>
                    <a:pt x="892192" y="3672097"/>
                  </a:cubicBezTo>
                  <a:cubicBezTo>
                    <a:pt x="892192" y="3672097"/>
                    <a:pt x="892192" y="3672097"/>
                    <a:pt x="921730" y="3705053"/>
                  </a:cubicBezTo>
                  <a:cubicBezTo>
                    <a:pt x="921730" y="3705053"/>
                    <a:pt x="921730" y="3705053"/>
                    <a:pt x="1007805" y="3735158"/>
                  </a:cubicBezTo>
                  <a:cubicBezTo>
                    <a:pt x="1002723" y="3728503"/>
                    <a:pt x="994465" y="3718680"/>
                    <a:pt x="984301" y="3708222"/>
                  </a:cubicBezTo>
                  <a:cubicBezTo>
                    <a:pt x="968420" y="3691744"/>
                    <a:pt x="946504" y="3688892"/>
                    <a:pt x="922365" y="3673365"/>
                  </a:cubicBezTo>
                  <a:cubicBezTo>
                    <a:pt x="911249" y="3666076"/>
                    <a:pt x="902673" y="3663224"/>
                    <a:pt x="896321" y="3661957"/>
                  </a:cubicBezTo>
                  <a:close/>
                  <a:moveTo>
                    <a:pt x="3336586" y="3661640"/>
                  </a:moveTo>
                  <a:cubicBezTo>
                    <a:pt x="3336586" y="3661640"/>
                    <a:pt x="3336586" y="3661640"/>
                    <a:pt x="3351832" y="3707905"/>
                  </a:cubicBezTo>
                  <a:cubicBezTo>
                    <a:pt x="3351832" y="3707905"/>
                    <a:pt x="3351832" y="3707905"/>
                    <a:pt x="3367077" y="3704103"/>
                  </a:cubicBezTo>
                  <a:cubicBezTo>
                    <a:pt x="3367077" y="3704103"/>
                    <a:pt x="3367077" y="3704103"/>
                    <a:pt x="3391534" y="3781740"/>
                  </a:cubicBezTo>
                  <a:cubicBezTo>
                    <a:pt x="3391534" y="3781740"/>
                    <a:pt x="3391534" y="3781740"/>
                    <a:pt x="3392169" y="3783959"/>
                  </a:cubicBezTo>
                  <a:cubicBezTo>
                    <a:pt x="3392169" y="3783959"/>
                    <a:pt x="3392169" y="3783959"/>
                    <a:pt x="3324199" y="3805190"/>
                  </a:cubicBezTo>
                  <a:cubicBezTo>
                    <a:pt x="3324199" y="3805190"/>
                    <a:pt x="3324199" y="3805190"/>
                    <a:pt x="3315306" y="3776670"/>
                  </a:cubicBezTo>
                  <a:cubicBezTo>
                    <a:pt x="3315306" y="3776670"/>
                    <a:pt x="3315306" y="3776670"/>
                    <a:pt x="3269886" y="3790296"/>
                  </a:cubicBezTo>
                  <a:cubicBezTo>
                    <a:pt x="3269886" y="3790296"/>
                    <a:pt x="3269886" y="3790296"/>
                    <a:pt x="3278462" y="3818816"/>
                  </a:cubicBezTo>
                  <a:cubicBezTo>
                    <a:pt x="3278462" y="3818816"/>
                    <a:pt x="3278462" y="3818816"/>
                    <a:pt x="3214302" y="3840048"/>
                  </a:cubicBezTo>
                  <a:cubicBezTo>
                    <a:pt x="3214302" y="3840048"/>
                    <a:pt x="3214302" y="3840048"/>
                    <a:pt x="3208903" y="3823570"/>
                  </a:cubicBezTo>
                  <a:cubicBezTo>
                    <a:pt x="3208903" y="3823570"/>
                    <a:pt x="3208903" y="3823570"/>
                    <a:pt x="3233042" y="3815647"/>
                  </a:cubicBezTo>
                  <a:cubicBezTo>
                    <a:pt x="3233042" y="3815647"/>
                    <a:pt x="3233042" y="3815647"/>
                    <a:pt x="3222561" y="3782691"/>
                  </a:cubicBezTo>
                  <a:cubicBezTo>
                    <a:pt x="3222561" y="3782691"/>
                    <a:pt x="3222561" y="3782691"/>
                    <a:pt x="3199692" y="3789029"/>
                  </a:cubicBezTo>
                  <a:cubicBezTo>
                    <a:pt x="3199692" y="3789029"/>
                    <a:pt x="3199692" y="3789029"/>
                    <a:pt x="3189846" y="3757974"/>
                  </a:cubicBezTo>
                  <a:cubicBezTo>
                    <a:pt x="3189846" y="3757974"/>
                    <a:pt x="3189846" y="3757974"/>
                    <a:pt x="3301966" y="3722799"/>
                  </a:cubicBezTo>
                  <a:cubicBezTo>
                    <a:pt x="3301966" y="3722799"/>
                    <a:pt x="3301966" y="3722799"/>
                    <a:pt x="3288308" y="3677167"/>
                  </a:cubicBezTo>
                  <a:close/>
                  <a:moveTo>
                    <a:pt x="1722765" y="3658471"/>
                  </a:moveTo>
                  <a:lnTo>
                    <a:pt x="1687191" y="3670196"/>
                  </a:lnTo>
                  <a:cubicBezTo>
                    <a:pt x="1688144" y="3676850"/>
                    <a:pt x="1689097" y="3696814"/>
                    <a:pt x="1690050" y="3716778"/>
                  </a:cubicBezTo>
                  <a:cubicBezTo>
                    <a:pt x="1690368" y="3727553"/>
                    <a:pt x="1690685" y="3738327"/>
                    <a:pt x="1691320" y="3746249"/>
                  </a:cubicBezTo>
                  <a:cubicBezTo>
                    <a:pt x="1691320" y="3750052"/>
                    <a:pt x="1691320" y="3753220"/>
                    <a:pt x="1691638" y="3755439"/>
                  </a:cubicBezTo>
                  <a:cubicBezTo>
                    <a:pt x="1691638" y="3755439"/>
                    <a:pt x="1691638" y="3755439"/>
                    <a:pt x="1794547" y="3764628"/>
                  </a:cubicBezTo>
                  <a:cubicBezTo>
                    <a:pt x="1792323" y="3750368"/>
                    <a:pt x="1787559" y="3715194"/>
                    <a:pt x="1786606" y="3709173"/>
                  </a:cubicBezTo>
                  <a:cubicBezTo>
                    <a:pt x="1786606" y="3709173"/>
                    <a:pt x="1786606" y="3709173"/>
                    <a:pt x="1722765" y="3658471"/>
                  </a:cubicBezTo>
                  <a:close/>
                  <a:moveTo>
                    <a:pt x="2003857" y="3657837"/>
                  </a:moveTo>
                  <a:cubicBezTo>
                    <a:pt x="2003857" y="3657837"/>
                    <a:pt x="2003857" y="3657837"/>
                    <a:pt x="1991152" y="3720581"/>
                  </a:cubicBezTo>
                  <a:cubicBezTo>
                    <a:pt x="2035302" y="3723116"/>
                    <a:pt x="2086438" y="3726285"/>
                    <a:pt x="2096920" y="3726919"/>
                  </a:cubicBezTo>
                  <a:cubicBezTo>
                    <a:pt x="2096920" y="3726919"/>
                    <a:pt x="2096920" y="3726919"/>
                    <a:pt x="2103272" y="3667344"/>
                  </a:cubicBezTo>
                  <a:cubicBezTo>
                    <a:pt x="2087391" y="3666076"/>
                    <a:pt x="2042924" y="3661640"/>
                    <a:pt x="2003857" y="3657837"/>
                  </a:cubicBezTo>
                  <a:close/>
                  <a:moveTo>
                    <a:pt x="1956532" y="3653401"/>
                  </a:moveTo>
                  <a:cubicBezTo>
                    <a:pt x="1956532" y="3653401"/>
                    <a:pt x="1956532" y="3653401"/>
                    <a:pt x="1943192" y="3717729"/>
                  </a:cubicBezTo>
                  <a:cubicBezTo>
                    <a:pt x="1954944" y="3718363"/>
                    <a:pt x="1970190" y="3719313"/>
                    <a:pt x="1987024" y="3720264"/>
                  </a:cubicBezTo>
                  <a:cubicBezTo>
                    <a:pt x="1987024" y="3720264"/>
                    <a:pt x="1987024" y="3720264"/>
                    <a:pt x="1999728" y="3657520"/>
                  </a:cubicBezTo>
                  <a:cubicBezTo>
                    <a:pt x="1983212" y="3655936"/>
                    <a:pt x="1967966" y="3654351"/>
                    <a:pt x="1956532" y="3653401"/>
                  </a:cubicBezTo>
                  <a:close/>
                  <a:moveTo>
                    <a:pt x="1940651" y="3651816"/>
                  </a:moveTo>
                  <a:cubicBezTo>
                    <a:pt x="1939063" y="3660689"/>
                    <a:pt x="1937157" y="3668928"/>
                    <a:pt x="1935569" y="3676534"/>
                  </a:cubicBezTo>
                  <a:cubicBezTo>
                    <a:pt x="1932711" y="3688892"/>
                    <a:pt x="1930487" y="3699666"/>
                    <a:pt x="1928264" y="3706955"/>
                  </a:cubicBezTo>
                  <a:cubicBezTo>
                    <a:pt x="1927311" y="3710757"/>
                    <a:pt x="1926358" y="3713609"/>
                    <a:pt x="1925723" y="3715828"/>
                  </a:cubicBezTo>
                  <a:cubicBezTo>
                    <a:pt x="1925723" y="3716145"/>
                    <a:pt x="1925723" y="3716145"/>
                    <a:pt x="1925405" y="3716461"/>
                  </a:cubicBezTo>
                  <a:cubicBezTo>
                    <a:pt x="1928264" y="3716778"/>
                    <a:pt x="1933028" y="3717095"/>
                    <a:pt x="1939063" y="3717412"/>
                  </a:cubicBezTo>
                  <a:cubicBezTo>
                    <a:pt x="1939063" y="3717412"/>
                    <a:pt x="1939063" y="3717412"/>
                    <a:pt x="1952403" y="3652767"/>
                  </a:cubicBezTo>
                  <a:cubicBezTo>
                    <a:pt x="1947639" y="3652450"/>
                    <a:pt x="1943510" y="3652133"/>
                    <a:pt x="1940651" y="3651816"/>
                  </a:cubicBezTo>
                  <a:close/>
                  <a:moveTo>
                    <a:pt x="1008440" y="3649915"/>
                  </a:moveTo>
                  <a:lnTo>
                    <a:pt x="987795" y="3675266"/>
                  </a:lnTo>
                  <a:cubicBezTo>
                    <a:pt x="995418" y="3680019"/>
                    <a:pt x="1002723" y="3685090"/>
                    <a:pt x="1008440" y="3689526"/>
                  </a:cubicBezTo>
                  <a:cubicBezTo>
                    <a:pt x="1010981" y="3691427"/>
                    <a:pt x="1013522" y="3693962"/>
                    <a:pt x="1016380" y="3696814"/>
                  </a:cubicBezTo>
                  <a:cubicBezTo>
                    <a:pt x="1016380" y="3696814"/>
                    <a:pt x="1016380" y="3696814"/>
                    <a:pt x="1036073" y="3672097"/>
                  </a:cubicBezTo>
                  <a:cubicBezTo>
                    <a:pt x="1036073" y="3672097"/>
                    <a:pt x="1036073" y="3672097"/>
                    <a:pt x="1008440" y="3649915"/>
                  </a:cubicBezTo>
                  <a:close/>
                  <a:moveTo>
                    <a:pt x="3930851" y="3649598"/>
                  </a:moveTo>
                  <a:lnTo>
                    <a:pt x="3930851" y="3670196"/>
                  </a:lnTo>
                  <a:cubicBezTo>
                    <a:pt x="3930851" y="3670196"/>
                    <a:pt x="3930851" y="3670196"/>
                    <a:pt x="3946732" y="3670196"/>
                  </a:cubicBezTo>
                  <a:cubicBezTo>
                    <a:pt x="3946732" y="3670196"/>
                    <a:pt x="3946732" y="3670196"/>
                    <a:pt x="3946732" y="3649598"/>
                  </a:cubicBezTo>
                  <a:cubicBezTo>
                    <a:pt x="3946732" y="3649598"/>
                    <a:pt x="3946732" y="3649598"/>
                    <a:pt x="3930851" y="3649598"/>
                  </a:cubicBezTo>
                  <a:close/>
                  <a:moveTo>
                    <a:pt x="1062435" y="3648014"/>
                  </a:moveTo>
                  <a:cubicBezTo>
                    <a:pt x="1062435" y="3648014"/>
                    <a:pt x="1062435" y="3648014"/>
                    <a:pt x="1042743" y="3672414"/>
                  </a:cubicBezTo>
                  <a:cubicBezTo>
                    <a:pt x="1042743" y="3672414"/>
                    <a:pt x="1042743" y="3672414"/>
                    <a:pt x="1040520" y="3675266"/>
                  </a:cubicBezTo>
                  <a:cubicBezTo>
                    <a:pt x="1040520" y="3675266"/>
                    <a:pt x="1040520" y="3675266"/>
                    <a:pt x="1036073" y="3681921"/>
                  </a:cubicBezTo>
                  <a:cubicBezTo>
                    <a:pt x="1036073" y="3681921"/>
                    <a:pt x="1036073" y="3681921"/>
                    <a:pt x="1067517" y="3707272"/>
                  </a:cubicBezTo>
                  <a:cubicBezTo>
                    <a:pt x="1067517" y="3707272"/>
                    <a:pt x="1067517" y="3707272"/>
                    <a:pt x="1085621" y="3685406"/>
                  </a:cubicBezTo>
                  <a:lnTo>
                    <a:pt x="1084669" y="3684456"/>
                  </a:lnTo>
                  <a:cubicBezTo>
                    <a:pt x="1084669" y="3684456"/>
                    <a:pt x="1084669" y="3684456"/>
                    <a:pt x="1086574" y="3681287"/>
                  </a:cubicBezTo>
                  <a:cubicBezTo>
                    <a:pt x="1086574" y="3681287"/>
                    <a:pt x="1086574" y="3681287"/>
                    <a:pt x="1092291" y="3672097"/>
                  </a:cubicBezTo>
                  <a:cubicBezTo>
                    <a:pt x="1092291" y="3672097"/>
                    <a:pt x="1092291" y="3672097"/>
                    <a:pt x="1062435" y="3648014"/>
                  </a:cubicBezTo>
                  <a:close/>
                  <a:moveTo>
                    <a:pt x="3344844" y="3647380"/>
                  </a:moveTo>
                  <a:cubicBezTo>
                    <a:pt x="3340080" y="3649281"/>
                    <a:pt x="3328328" y="3653401"/>
                    <a:pt x="3311812" y="3658788"/>
                  </a:cubicBezTo>
                  <a:cubicBezTo>
                    <a:pt x="3257816" y="3677167"/>
                    <a:pt x="3158719" y="3709173"/>
                    <a:pt x="3143474" y="3713926"/>
                  </a:cubicBezTo>
                  <a:cubicBezTo>
                    <a:pt x="3143474" y="3713926"/>
                    <a:pt x="3143474" y="3713926"/>
                    <a:pt x="3173648" y="3815330"/>
                  </a:cubicBezTo>
                  <a:cubicBezTo>
                    <a:pt x="3173648" y="3815330"/>
                    <a:pt x="3173648" y="3815330"/>
                    <a:pt x="3119970" y="3839097"/>
                  </a:cubicBezTo>
                  <a:cubicBezTo>
                    <a:pt x="3119017" y="3841315"/>
                    <a:pt x="3116794" y="3847336"/>
                    <a:pt x="3114570" y="3854308"/>
                  </a:cubicBezTo>
                  <a:cubicBezTo>
                    <a:pt x="3112347" y="3861596"/>
                    <a:pt x="3110124" y="3869518"/>
                    <a:pt x="3109488" y="3874589"/>
                  </a:cubicBezTo>
                  <a:cubicBezTo>
                    <a:pt x="3115523" y="3875222"/>
                    <a:pt x="3121558" y="3875539"/>
                    <a:pt x="3127593" y="3875539"/>
                  </a:cubicBezTo>
                  <a:cubicBezTo>
                    <a:pt x="3143156" y="3875539"/>
                    <a:pt x="3159354" y="3873321"/>
                    <a:pt x="3175236" y="3868568"/>
                  </a:cubicBezTo>
                  <a:cubicBezTo>
                    <a:pt x="3212714" y="3856843"/>
                    <a:pt x="3327057" y="3820084"/>
                    <a:pt x="3445212" y="3781423"/>
                  </a:cubicBezTo>
                  <a:cubicBezTo>
                    <a:pt x="3445212" y="3781423"/>
                    <a:pt x="3445212" y="3781423"/>
                    <a:pt x="3409956" y="3668294"/>
                  </a:cubicBezTo>
                  <a:cubicBezTo>
                    <a:pt x="3409956" y="3668294"/>
                    <a:pt x="3409956" y="3668294"/>
                    <a:pt x="3359454" y="3678118"/>
                  </a:cubicBezTo>
                  <a:cubicBezTo>
                    <a:pt x="3359454" y="3678118"/>
                    <a:pt x="3359454" y="3678118"/>
                    <a:pt x="3358819" y="3676534"/>
                  </a:cubicBezTo>
                  <a:cubicBezTo>
                    <a:pt x="3358819" y="3676534"/>
                    <a:pt x="3355008" y="3668611"/>
                    <a:pt x="3351196" y="3660689"/>
                  </a:cubicBezTo>
                  <a:cubicBezTo>
                    <a:pt x="3349608" y="3656887"/>
                    <a:pt x="3347702" y="3653084"/>
                    <a:pt x="3346114" y="3649915"/>
                  </a:cubicBezTo>
                  <a:cubicBezTo>
                    <a:pt x="3345797" y="3648964"/>
                    <a:pt x="3345162" y="3648014"/>
                    <a:pt x="3344844" y="3647380"/>
                  </a:cubicBezTo>
                  <a:close/>
                  <a:moveTo>
                    <a:pt x="3846046" y="3645795"/>
                  </a:moveTo>
                  <a:cubicBezTo>
                    <a:pt x="3836200" y="3654985"/>
                    <a:pt x="3828260" y="3661957"/>
                    <a:pt x="3823496" y="3665442"/>
                  </a:cubicBezTo>
                  <a:cubicBezTo>
                    <a:pt x="3805391" y="3679702"/>
                    <a:pt x="3791098" y="3687942"/>
                    <a:pt x="3781888" y="3692378"/>
                  </a:cubicBezTo>
                  <a:cubicBezTo>
                    <a:pt x="3791416" y="3712342"/>
                    <a:pt x="3814602" y="3761143"/>
                    <a:pt x="3838106" y="3810260"/>
                  </a:cubicBezTo>
                  <a:cubicBezTo>
                    <a:pt x="3838106" y="3810260"/>
                    <a:pt x="3838106" y="3810260"/>
                    <a:pt x="3940697" y="3749101"/>
                  </a:cubicBezTo>
                  <a:cubicBezTo>
                    <a:pt x="3940697" y="3749101"/>
                    <a:pt x="3940697" y="3749101"/>
                    <a:pt x="3956896" y="3709490"/>
                  </a:cubicBezTo>
                  <a:cubicBezTo>
                    <a:pt x="3948637" y="3704737"/>
                    <a:pt x="3925134" y="3690794"/>
                    <a:pt x="3900994" y="3676850"/>
                  </a:cubicBezTo>
                  <a:cubicBezTo>
                    <a:pt x="3886066" y="3668294"/>
                    <a:pt x="3870821" y="3659422"/>
                    <a:pt x="3859386" y="3653084"/>
                  </a:cubicBezTo>
                  <a:cubicBezTo>
                    <a:pt x="3853987" y="3649915"/>
                    <a:pt x="3849540" y="3647380"/>
                    <a:pt x="3846046" y="3645795"/>
                  </a:cubicBezTo>
                  <a:close/>
                  <a:moveTo>
                    <a:pt x="3926722" y="3645479"/>
                  </a:moveTo>
                  <a:cubicBezTo>
                    <a:pt x="3926722" y="3645479"/>
                    <a:pt x="3926722" y="3645479"/>
                    <a:pt x="3950861" y="3645479"/>
                  </a:cubicBezTo>
                  <a:cubicBezTo>
                    <a:pt x="3950861" y="3645479"/>
                    <a:pt x="3950861" y="3645479"/>
                    <a:pt x="3950861" y="3674315"/>
                  </a:cubicBezTo>
                  <a:cubicBezTo>
                    <a:pt x="3950861" y="3674315"/>
                    <a:pt x="3950861" y="3674315"/>
                    <a:pt x="3926722" y="3674315"/>
                  </a:cubicBezTo>
                  <a:cubicBezTo>
                    <a:pt x="3926722" y="3674315"/>
                    <a:pt x="3926722" y="3674315"/>
                    <a:pt x="3926722" y="3672414"/>
                  </a:cubicBezTo>
                  <a:close/>
                  <a:moveTo>
                    <a:pt x="585054" y="3640408"/>
                  </a:moveTo>
                  <a:cubicBezTo>
                    <a:pt x="585054" y="3640408"/>
                    <a:pt x="585054" y="3640408"/>
                    <a:pt x="572985" y="3650232"/>
                  </a:cubicBezTo>
                  <a:cubicBezTo>
                    <a:pt x="572985" y="3650232"/>
                    <a:pt x="572985" y="3650232"/>
                    <a:pt x="582831" y="3661640"/>
                  </a:cubicBezTo>
                  <a:cubicBezTo>
                    <a:pt x="583466" y="3661957"/>
                    <a:pt x="584736" y="3663224"/>
                    <a:pt x="586960" y="3665442"/>
                  </a:cubicBezTo>
                  <a:cubicBezTo>
                    <a:pt x="595853" y="3673365"/>
                    <a:pt x="617134" y="3690794"/>
                    <a:pt x="640637" y="3700617"/>
                  </a:cubicBezTo>
                  <a:cubicBezTo>
                    <a:pt x="666047" y="3711708"/>
                    <a:pt x="694950" y="3712976"/>
                    <a:pt x="706385" y="3712976"/>
                  </a:cubicBezTo>
                  <a:cubicBezTo>
                    <a:pt x="708925" y="3712976"/>
                    <a:pt x="714960" y="3712976"/>
                    <a:pt x="721313" y="3713293"/>
                  </a:cubicBezTo>
                  <a:cubicBezTo>
                    <a:pt x="723536" y="3707272"/>
                    <a:pt x="726077" y="3701251"/>
                    <a:pt x="728618" y="3694913"/>
                  </a:cubicBezTo>
                  <a:cubicBezTo>
                    <a:pt x="725124" y="3694913"/>
                    <a:pt x="721948" y="3694913"/>
                    <a:pt x="718454" y="3694913"/>
                  </a:cubicBezTo>
                  <a:cubicBezTo>
                    <a:pt x="704796" y="3694913"/>
                    <a:pt x="691456" y="3694279"/>
                    <a:pt x="681610" y="3693646"/>
                  </a:cubicBezTo>
                  <a:cubicBezTo>
                    <a:pt x="652707" y="3691744"/>
                    <a:pt x="611099" y="3667344"/>
                    <a:pt x="610781" y="3667344"/>
                  </a:cubicBezTo>
                  <a:cubicBezTo>
                    <a:pt x="610781" y="3667344"/>
                    <a:pt x="610781" y="3667344"/>
                    <a:pt x="610464" y="3667027"/>
                  </a:cubicBezTo>
                  <a:close/>
                  <a:moveTo>
                    <a:pt x="2562231" y="3637239"/>
                  </a:moveTo>
                  <a:cubicBezTo>
                    <a:pt x="2562231" y="3637239"/>
                    <a:pt x="2562231" y="3637239"/>
                    <a:pt x="2345933" y="4080566"/>
                  </a:cubicBezTo>
                  <a:cubicBezTo>
                    <a:pt x="2345933" y="4080566"/>
                    <a:pt x="2345933" y="4080566"/>
                    <a:pt x="2331958" y="4254854"/>
                  </a:cubicBezTo>
                  <a:cubicBezTo>
                    <a:pt x="2333546" y="4254854"/>
                    <a:pt x="2334816" y="4254854"/>
                    <a:pt x="2336404" y="4254537"/>
                  </a:cubicBezTo>
                  <a:cubicBezTo>
                    <a:pt x="2409774" y="4251368"/>
                    <a:pt x="2687690" y="4243129"/>
                    <a:pt x="2687690" y="4243129"/>
                  </a:cubicBezTo>
                  <a:cubicBezTo>
                    <a:pt x="2687690" y="4243129"/>
                    <a:pt x="2687690" y="4243129"/>
                    <a:pt x="2689914" y="4243129"/>
                  </a:cubicBezTo>
                  <a:cubicBezTo>
                    <a:pt x="2689914" y="4243129"/>
                    <a:pt x="2689914" y="4243129"/>
                    <a:pt x="2689914" y="4340097"/>
                  </a:cubicBezTo>
                  <a:cubicBezTo>
                    <a:pt x="2689914" y="4340097"/>
                    <a:pt x="2689914" y="4340097"/>
                    <a:pt x="2752167" y="4337562"/>
                  </a:cubicBezTo>
                  <a:cubicBezTo>
                    <a:pt x="2752167" y="4337562"/>
                    <a:pt x="2752167" y="4337562"/>
                    <a:pt x="2761378" y="4336294"/>
                  </a:cubicBezTo>
                  <a:lnTo>
                    <a:pt x="2969101" y="3886947"/>
                  </a:lnTo>
                  <a:cubicBezTo>
                    <a:pt x="2969101" y="3886947"/>
                    <a:pt x="2969101" y="3886947"/>
                    <a:pt x="2985300" y="3852723"/>
                  </a:cubicBezTo>
                  <a:cubicBezTo>
                    <a:pt x="2985300" y="3852723"/>
                    <a:pt x="2985300" y="3852723"/>
                    <a:pt x="2562231" y="3637239"/>
                  </a:cubicBezTo>
                  <a:close/>
                  <a:moveTo>
                    <a:pt x="1118018" y="3633754"/>
                  </a:moveTo>
                  <a:cubicBezTo>
                    <a:pt x="1118018" y="3633754"/>
                    <a:pt x="1118018" y="3633754"/>
                    <a:pt x="1140887" y="3691427"/>
                  </a:cubicBezTo>
                  <a:cubicBezTo>
                    <a:pt x="1152957" y="3688892"/>
                    <a:pt x="1187577" y="3680653"/>
                    <a:pt x="1199647" y="3677801"/>
                  </a:cubicBezTo>
                  <a:lnTo>
                    <a:pt x="1192024" y="3647063"/>
                  </a:lnTo>
                  <a:cubicBezTo>
                    <a:pt x="1192024" y="3647063"/>
                    <a:pt x="1192024" y="3647063"/>
                    <a:pt x="1118018" y="3633754"/>
                  </a:cubicBezTo>
                  <a:close/>
                  <a:moveTo>
                    <a:pt x="957939" y="3632803"/>
                  </a:moveTo>
                  <a:cubicBezTo>
                    <a:pt x="957939" y="3632803"/>
                    <a:pt x="957939" y="3632803"/>
                    <a:pt x="943011" y="3650549"/>
                  </a:cubicBezTo>
                  <a:cubicBezTo>
                    <a:pt x="954445" y="3656253"/>
                    <a:pt x="969373" y="3664175"/>
                    <a:pt x="983348" y="3672731"/>
                  </a:cubicBezTo>
                  <a:cubicBezTo>
                    <a:pt x="983348" y="3672731"/>
                    <a:pt x="983348" y="3672731"/>
                    <a:pt x="1004311" y="3646746"/>
                  </a:cubicBezTo>
                  <a:cubicBezTo>
                    <a:pt x="1004311" y="3646746"/>
                    <a:pt x="1004311" y="3646746"/>
                    <a:pt x="1003993" y="3646429"/>
                  </a:cubicBezTo>
                  <a:cubicBezTo>
                    <a:pt x="1003993" y="3646429"/>
                    <a:pt x="1003993" y="3646429"/>
                    <a:pt x="1003358" y="3647063"/>
                  </a:cubicBezTo>
                  <a:cubicBezTo>
                    <a:pt x="1003358" y="3647063"/>
                    <a:pt x="1003358" y="3647063"/>
                    <a:pt x="1002723" y="3646429"/>
                  </a:cubicBezTo>
                  <a:cubicBezTo>
                    <a:pt x="1002723" y="3646429"/>
                    <a:pt x="1002723" y="3646429"/>
                    <a:pt x="990653" y="3658471"/>
                  </a:cubicBezTo>
                  <a:close/>
                  <a:moveTo>
                    <a:pt x="1529017" y="3631535"/>
                  </a:moveTo>
                  <a:cubicBezTo>
                    <a:pt x="1536958" y="3641676"/>
                    <a:pt x="1544898" y="3652450"/>
                    <a:pt x="1552839" y="3662591"/>
                  </a:cubicBezTo>
                  <a:cubicBezTo>
                    <a:pt x="1576660" y="3693012"/>
                    <a:pt x="1598893" y="3721849"/>
                    <a:pt x="1612551" y="3739277"/>
                  </a:cubicBezTo>
                  <a:cubicBezTo>
                    <a:pt x="1616998" y="3719947"/>
                    <a:pt x="1620809" y="3698399"/>
                    <a:pt x="1620809" y="3678118"/>
                  </a:cubicBezTo>
                  <a:cubicBezTo>
                    <a:pt x="1620809" y="3670196"/>
                    <a:pt x="1620174" y="3662274"/>
                    <a:pt x="1618903" y="3654985"/>
                  </a:cubicBezTo>
                  <a:cubicBezTo>
                    <a:pt x="1617951" y="3651183"/>
                    <a:pt x="1616998" y="3642943"/>
                    <a:pt x="1615410" y="3631852"/>
                  </a:cubicBezTo>
                  <a:cubicBezTo>
                    <a:pt x="1606199" y="3631852"/>
                    <a:pt x="1589682" y="3631535"/>
                    <a:pt x="1573484" y="3631535"/>
                  </a:cubicBezTo>
                  <a:cubicBezTo>
                    <a:pt x="1555697" y="3631535"/>
                    <a:pt x="1537911" y="3631535"/>
                    <a:pt x="1529017" y="3631535"/>
                  </a:cubicBezTo>
                  <a:close/>
                  <a:moveTo>
                    <a:pt x="1076410" y="3630268"/>
                  </a:moveTo>
                  <a:cubicBezTo>
                    <a:pt x="1076410" y="3630268"/>
                    <a:pt x="1076410" y="3630268"/>
                    <a:pt x="1064976" y="3644528"/>
                  </a:cubicBezTo>
                  <a:cubicBezTo>
                    <a:pt x="1064976" y="3644528"/>
                    <a:pt x="1064976" y="3644528"/>
                    <a:pt x="1098009" y="3671146"/>
                  </a:cubicBezTo>
                  <a:cubicBezTo>
                    <a:pt x="1098009" y="3671146"/>
                    <a:pt x="1098009" y="3671146"/>
                    <a:pt x="1096738" y="3673048"/>
                  </a:cubicBezTo>
                  <a:lnTo>
                    <a:pt x="1103726" y="3664492"/>
                  </a:lnTo>
                  <a:cubicBezTo>
                    <a:pt x="1098644" y="3653401"/>
                    <a:pt x="1094197" y="3642943"/>
                    <a:pt x="1092291" y="3638507"/>
                  </a:cubicBezTo>
                  <a:cubicBezTo>
                    <a:pt x="1092291" y="3638507"/>
                    <a:pt x="1092291" y="3638507"/>
                    <a:pt x="1076410" y="3630268"/>
                  </a:cubicBezTo>
                  <a:close/>
                  <a:moveTo>
                    <a:pt x="328100" y="3629634"/>
                  </a:moveTo>
                  <a:cubicBezTo>
                    <a:pt x="328418" y="3630902"/>
                    <a:pt x="328736" y="3632486"/>
                    <a:pt x="328736" y="3634071"/>
                  </a:cubicBezTo>
                  <a:cubicBezTo>
                    <a:pt x="328736" y="3641993"/>
                    <a:pt x="327148" y="3649598"/>
                    <a:pt x="323019" y="3656253"/>
                  </a:cubicBezTo>
                  <a:cubicBezTo>
                    <a:pt x="318254" y="3664175"/>
                    <a:pt x="312855" y="3669879"/>
                    <a:pt x="307455" y="3673998"/>
                  </a:cubicBezTo>
                  <a:cubicBezTo>
                    <a:pt x="307455" y="3673998"/>
                    <a:pt x="307455" y="3673998"/>
                    <a:pt x="346522" y="3709490"/>
                  </a:cubicBezTo>
                  <a:cubicBezTo>
                    <a:pt x="346522" y="3709490"/>
                    <a:pt x="346522" y="3709490"/>
                    <a:pt x="363991" y="3784592"/>
                  </a:cubicBezTo>
                  <a:cubicBezTo>
                    <a:pt x="363991" y="3784592"/>
                    <a:pt x="363991" y="3784592"/>
                    <a:pt x="422433" y="3770649"/>
                  </a:cubicBezTo>
                  <a:cubicBezTo>
                    <a:pt x="419257" y="3758608"/>
                    <a:pt x="416081" y="3745932"/>
                    <a:pt x="413222" y="3736425"/>
                  </a:cubicBezTo>
                  <a:cubicBezTo>
                    <a:pt x="408458" y="3718046"/>
                    <a:pt x="388766" y="3686357"/>
                    <a:pt x="373202" y="3669562"/>
                  </a:cubicBezTo>
                  <a:cubicBezTo>
                    <a:pt x="363039" y="3658788"/>
                    <a:pt x="344299" y="3642310"/>
                    <a:pt x="328100" y="3629634"/>
                  </a:cubicBezTo>
                  <a:close/>
                  <a:moveTo>
                    <a:pt x="1111031" y="3627733"/>
                  </a:moveTo>
                  <a:cubicBezTo>
                    <a:pt x="1111031" y="3627733"/>
                    <a:pt x="1111031" y="3627733"/>
                    <a:pt x="1195517" y="3643260"/>
                  </a:cubicBezTo>
                  <a:cubicBezTo>
                    <a:pt x="1195517" y="3643260"/>
                    <a:pt x="1195517" y="3643260"/>
                    <a:pt x="1204093" y="3676850"/>
                  </a:cubicBezTo>
                  <a:cubicBezTo>
                    <a:pt x="1204093" y="3676850"/>
                    <a:pt x="1204093" y="3676850"/>
                    <a:pt x="1204411" y="3678118"/>
                  </a:cubicBezTo>
                  <a:cubicBezTo>
                    <a:pt x="1204411" y="3678118"/>
                    <a:pt x="1204411" y="3678118"/>
                    <a:pt x="1246019" y="3706321"/>
                  </a:cubicBezTo>
                  <a:cubicBezTo>
                    <a:pt x="1246019" y="3706321"/>
                    <a:pt x="1246019" y="3706321"/>
                    <a:pt x="1282545" y="3757340"/>
                  </a:cubicBezTo>
                  <a:cubicBezTo>
                    <a:pt x="1282545" y="3757340"/>
                    <a:pt x="1282545" y="3757340"/>
                    <a:pt x="1217751" y="3777938"/>
                  </a:cubicBezTo>
                  <a:cubicBezTo>
                    <a:pt x="1217751" y="3777938"/>
                    <a:pt x="1217751" y="3777938"/>
                    <a:pt x="1197106" y="3725651"/>
                  </a:cubicBezTo>
                  <a:cubicBezTo>
                    <a:pt x="1197106" y="3725651"/>
                    <a:pt x="1197106" y="3725651"/>
                    <a:pt x="1137711" y="3694913"/>
                  </a:cubicBezTo>
                  <a:cubicBezTo>
                    <a:pt x="1137393" y="3694913"/>
                    <a:pt x="1137076" y="3694913"/>
                    <a:pt x="1137076" y="3694913"/>
                  </a:cubicBezTo>
                  <a:cubicBezTo>
                    <a:pt x="1137076" y="3694913"/>
                    <a:pt x="1137076" y="3694913"/>
                    <a:pt x="1136758" y="3693329"/>
                  </a:cubicBezTo>
                  <a:close/>
                  <a:moveTo>
                    <a:pt x="107991" y="3625515"/>
                  </a:moveTo>
                  <a:cubicBezTo>
                    <a:pt x="176279" y="3718363"/>
                    <a:pt x="176279" y="3718363"/>
                    <a:pt x="176279" y="3718363"/>
                  </a:cubicBezTo>
                  <a:cubicBezTo>
                    <a:pt x="173103" y="3719313"/>
                    <a:pt x="173103" y="3719313"/>
                    <a:pt x="173103" y="3719313"/>
                  </a:cubicBezTo>
                  <a:cubicBezTo>
                    <a:pt x="146423" y="3727236"/>
                    <a:pt x="146423" y="3727236"/>
                    <a:pt x="146423" y="3727236"/>
                  </a:cubicBezTo>
                  <a:cubicBezTo>
                    <a:pt x="137212" y="3713609"/>
                    <a:pt x="137212" y="3713609"/>
                    <a:pt x="137212" y="3713609"/>
                  </a:cubicBezTo>
                  <a:cubicBezTo>
                    <a:pt x="100050" y="3730405"/>
                    <a:pt x="100050" y="3730405"/>
                    <a:pt x="100050" y="3730405"/>
                  </a:cubicBezTo>
                  <a:cubicBezTo>
                    <a:pt x="76864" y="3704103"/>
                    <a:pt x="76864" y="3704103"/>
                    <a:pt x="76864" y="3704103"/>
                  </a:cubicBezTo>
                  <a:cubicBezTo>
                    <a:pt x="92745" y="3690160"/>
                    <a:pt x="92745" y="3690160"/>
                    <a:pt x="92745" y="3690160"/>
                  </a:cubicBezTo>
                  <a:cubicBezTo>
                    <a:pt x="84804" y="3679702"/>
                    <a:pt x="84804" y="3679702"/>
                    <a:pt x="84804" y="3679702"/>
                  </a:cubicBezTo>
                  <a:cubicBezTo>
                    <a:pt x="40020" y="3710441"/>
                    <a:pt x="40020" y="3710441"/>
                    <a:pt x="40020" y="3710441"/>
                  </a:cubicBezTo>
                  <a:cubicBezTo>
                    <a:pt x="47961" y="3721532"/>
                    <a:pt x="47961" y="3721532"/>
                    <a:pt x="47961" y="3721532"/>
                  </a:cubicBezTo>
                  <a:cubicBezTo>
                    <a:pt x="3494" y="3751002"/>
                    <a:pt x="3494" y="3751002"/>
                    <a:pt x="3494" y="3751002"/>
                  </a:cubicBezTo>
                  <a:cubicBezTo>
                    <a:pt x="1271" y="3750052"/>
                    <a:pt x="1271" y="3750052"/>
                    <a:pt x="1271" y="3750052"/>
                  </a:cubicBezTo>
                  <a:cubicBezTo>
                    <a:pt x="1271" y="3744664"/>
                    <a:pt x="1271" y="3744664"/>
                    <a:pt x="1271" y="3744664"/>
                  </a:cubicBezTo>
                  <a:lnTo>
                    <a:pt x="3176" y="3745615"/>
                  </a:lnTo>
                  <a:cubicBezTo>
                    <a:pt x="41291" y="3720581"/>
                    <a:pt x="41291" y="3720581"/>
                    <a:pt x="41291" y="3720581"/>
                  </a:cubicBezTo>
                  <a:cubicBezTo>
                    <a:pt x="33350" y="3709173"/>
                    <a:pt x="33350" y="3709173"/>
                    <a:pt x="33350" y="3709173"/>
                  </a:cubicBezTo>
                  <a:cubicBezTo>
                    <a:pt x="85757" y="3673365"/>
                    <a:pt x="85757" y="3673365"/>
                    <a:pt x="85757" y="3673365"/>
                  </a:cubicBezTo>
                  <a:cubicBezTo>
                    <a:pt x="99097" y="3690794"/>
                    <a:pt x="99097" y="3690794"/>
                    <a:pt x="99097" y="3690794"/>
                  </a:cubicBezTo>
                  <a:cubicBezTo>
                    <a:pt x="83534" y="3704420"/>
                    <a:pt x="83534" y="3704420"/>
                    <a:pt x="83534" y="3704420"/>
                  </a:cubicBezTo>
                  <a:cubicBezTo>
                    <a:pt x="101321" y="3724701"/>
                    <a:pt x="101321" y="3724701"/>
                    <a:pt x="101321" y="3724701"/>
                  </a:cubicBezTo>
                  <a:cubicBezTo>
                    <a:pt x="138800" y="3707589"/>
                    <a:pt x="138800" y="3707589"/>
                    <a:pt x="138800" y="3707589"/>
                  </a:cubicBezTo>
                  <a:cubicBezTo>
                    <a:pt x="148328" y="3721849"/>
                    <a:pt x="148328" y="3721849"/>
                    <a:pt x="148328" y="3721849"/>
                  </a:cubicBezTo>
                  <a:cubicBezTo>
                    <a:pt x="168656" y="3715828"/>
                    <a:pt x="168656" y="3715828"/>
                    <a:pt x="168656" y="3715828"/>
                  </a:cubicBezTo>
                  <a:cubicBezTo>
                    <a:pt x="106720" y="3631852"/>
                    <a:pt x="106720" y="3631852"/>
                    <a:pt x="106720" y="3631852"/>
                  </a:cubicBezTo>
                  <a:cubicBezTo>
                    <a:pt x="1271" y="3702201"/>
                    <a:pt x="1271" y="3702201"/>
                    <a:pt x="1271" y="3702201"/>
                  </a:cubicBezTo>
                  <a:cubicBezTo>
                    <a:pt x="1271" y="3696498"/>
                    <a:pt x="1271" y="3696498"/>
                    <a:pt x="1271" y="3696498"/>
                  </a:cubicBezTo>
                  <a:cubicBezTo>
                    <a:pt x="107991" y="3625515"/>
                    <a:pt x="107991" y="3625515"/>
                    <a:pt x="107991" y="3625515"/>
                  </a:cubicBezTo>
                  <a:close/>
                  <a:moveTo>
                    <a:pt x="1857118" y="3623296"/>
                  </a:moveTo>
                  <a:cubicBezTo>
                    <a:pt x="1845366" y="3623930"/>
                    <a:pt x="1822815" y="3625515"/>
                    <a:pt x="1819638" y="3625515"/>
                  </a:cubicBezTo>
                  <a:cubicBezTo>
                    <a:pt x="1819638" y="3625515"/>
                    <a:pt x="1819638" y="3625515"/>
                    <a:pt x="1727529" y="3656570"/>
                  </a:cubicBezTo>
                  <a:cubicBezTo>
                    <a:pt x="1727529" y="3656570"/>
                    <a:pt x="1727529" y="3656570"/>
                    <a:pt x="1790735" y="3706638"/>
                  </a:cubicBezTo>
                  <a:cubicBezTo>
                    <a:pt x="1790735" y="3706638"/>
                    <a:pt x="1790735" y="3706638"/>
                    <a:pt x="1791053" y="3707589"/>
                  </a:cubicBezTo>
                  <a:cubicBezTo>
                    <a:pt x="1791053" y="3707589"/>
                    <a:pt x="1792959" y="3722799"/>
                    <a:pt x="1795182" y="3738327"/>
                  </a:cubicBezTo>
                  <a:cubicBezTo>
                    <a:pt x="1796452" y="3745932"/>
                    <a:pt x="1797405" y="3753854"/>
                    <a:pt x="1798358" y="3759558"/>
                  </a:cubicBezTo>
                  <a:cubicBezTo>
                    <a:pt x="1798676" y="3761776"/>
                    <a:pt x="1798993" y="3763361"/>
                    <a:pt x="1798993" y="3764945"/>
                  </a:cubicBezTo>
                  <a:lnTo>
                    <a:pt x="1860611" y="3770332"/>
                  </a:lnTo>
                  <a:cubicBezTo>
                    <a:pt x="1860611" y="3770332"/>
                    <a:pt x="1860611" y="3770332"/>
                    <a:pt x="1870140" y="3687625"/>
                  </a:cubicBezTo>
                  <a:cubicBezTo>
                    <a:pt x="1870140" y="3687625"/>
                    <a:pt x="1870140" y="3687625"/>
                    <a:pt x="1854894" y="3653718"/>
                  </a:cubicBezTo>
                  <a:cubicBezTo>
                    <a:pt x="1854894" y="3653718"/>
                    <a:pt x="1854894" y="3653718"/>
                    <a:pt x="1857118" y="3623296"/>
                  </a:cubicBezTo>
                  <a:close/>
                  <a:moveTo>
                    <a:pt x="1022098" y="3623296"/>
                  </a:moveTo>
                  <a:cubicBezTo>
                    <a:pt x="1022098" y="3623296"/>
                    <a:pt x="1022098" y="3623296"/>
                    <a:pt x="1006534" y="3642943"/>
                  </a:cubicBezTo>
                  <a:cubicBezTo>
                    <a:pt x="1006534" y="3642943"/>
                    <a:pt x="1006534" y="3642943"/>
                    <a:pt x="1007170" y="3643260"/>
                  </a:cubicBezTo>
                  <a:lnTo>
                    <a:pt x="1023050" y="3623613"/>
                  </a:lnTo>
                  <a:cubicBezTo>
                    <a:pt x="1023050" y="3623613"/>
                    <a:pt x="1023050" y="3623613"/>
                    <a:pt x="1022098" y="3623296"/>
                  </a:cubicBezTo>
                  <a:close/>
                  <a:moveTo>
                    <a:pt x="2321158" y="3621078"/>
                  </a:moveTo>
                  <a:cubicBezTo>
                    <a:pt x="2295431" y="3695230"/>
                    <a:pt x="2263987" y="3785543"/>
                    <a:pt x="2261446" y="3791881"/>
                  </a:cubicBezTo>
                  <a:cubicBezTo>
                    <a:pt x="2261446" y="3791881"/>
                    <a:pt x="2261446" y="3791881"/>
                    <a:pt x="2262399" y="3895503"/>
                  </a:cubicBezTo>
                  <a:cubicBezTo>
                    <a:pt x="2262399" y="3895503"/>
                    <a:pt x="2262399" y="3895503"/>
                    <a:pt x="2236036" y="3939867"/>
                  </a:cubicBezTo>
                  <a:cubicBezTo>
                    <a:pt x="2236036" y="3939867"/>
                    <a:pt x="2236036" y="3939867"/>
                    <a:pt x="2370389" y="3982647"/>
                  </a:cubicBezTo>
                  <a:cubicBezTo>
                    <a:pt x="2370389" y="3982647"/>
                    <a:pt x="2370389" y="3982647"/>
                    <a:pt x="2409774" y="3902475"/>
                  </a:cubicBezTo>
                  <a:cubicBezTo>
                    <a:pt x="2409774" y="3902158"/>
                    <a:pt x="2409774" y="3902158"/>
                    <a:pt x="2409774" y="3902158"/>
                  </a:cubicBezTo>
                  <a:cubicBezTo>
                    <a:pt x="2394846" y="3892017"/>
                    <a:pt x="2346250" y="3853040"/>
                    <a:pt x="2341486" y="3849237"/>
                  </a:cubicBezTo>
                  <a:cubicBezTo>
                    <a:pt x="2338628" y="3848604"/>
                    <a:pt x="2320841" y="3843850"/>
                    <a:pt x="2303054" y="3839097"/>
                  </a:cubicBezTo>
                  <a:cubicBezTo>
                    <a:pt x="2293208" y="3836562"/>
                    <a:pt x="2283362" y="3834027"/>
                    <a:pt x="2276056" y="3832126"/>
                  </a:cubicBezTo>
                  <a:cubicBezTo>
                    <a:pt x="2272245" y="3831175"/>
                    <a:pt x="2269069" y="3830224"/>
                    <a:pt x="2266846" y="3829907"/>
                  </a:cubicBezTo>
                  <a:cubicBezTo>
                    <a:pt x="2265575" y="3829590"/>
                    <a:pt x="2264622" y="3829274"/>
                    <a:pt x="2263987" y="3829274"/>
                  </a:cubicBezTo>
                  <a:cubicBezTo>
                    <a:pt x="2263670" y="3828957"/>
                    <a:pt x="2263352" y="3828957"/>
                    <a:pt x="2263352" y="3828957"/>
                  </a:cubicBezTo>
                  <a:cubicBezTo>
                    <a:pt x="2263352" y="3828957"/>
                    <a:pt x="2263352" y="3828957"/>
                    <a:pt x="2263352" y="3824520"/>
                  </a:cubicBezTo>
                  <a:cubicBezTo>
                    <a:pt x="2264622" y="3824520"/>
                    <a:pt x="2269386" y="3825788"/>
                    <a:pt x="2277010" y="3827689"/>
                  </a:cubicBezTo>
                  <a:cubicBezTo>
                    <a:pt x="2299560" y="3833710"/>
                    <a:pt x="2343074" y="3845118"/>
                    <a:pt x="2343074" y="3845118"/>
                  </a:cubicBezTo>
                  <a:cubicBezTo>
                    <a:pt x="2343074" y="3845118"/>
                    <a:pt x="2343074" y="3845118"/>
                    <a:pt x="2343392" y="3845118"/>
                  </a:cubicBezTo>
                  <a:cubicBezTo>
                    <a:pt x="2343392" y="3845118"/>
                    <a:pt x="2343392" y="3845118"/>
                    <a:pt x="2343710" y="3845435"/>
                  </a:cubicBezTo>
                  <a:cubicBezTo>
                    <a:pt x="2344027" y="3845435"/>
                    <a:pt x="2361178" y="3859378"/>
                    <a:pt x="2378965" y="3873321"/>
                  </a:cubicBezTo>
                  <a:cubicBezTo>
                    <a:pt x="2387858" y="3880292"/>
                    <a:pt x="2396752" y="3887264"/>
                    <a:pt x="2403739" y="3892334"/>
                  </a:cubicBezTo>
                  <a:cubicBezTo>
                    <a:pt x="2406916" y="3894869"/>
                    <a:pt x="2409456" y="3896771"/>
                    <a:pt x="2411680" y="3898355"/>
                  </a:cubicBezTo>
                  <a:cubicBezTo>
                    <a:pt x="2411680" y="3898355"/>
                    <a:pt x="2411680" y="3898355"/>
                    <a:pt x="2465675" y="3788078"/>
                  </a:cubicBezTo>
                  <a:cubicBezTo>
                    <a:pt x="2465675" y="3788078"/>
                    <a:pt x="2465675" y="3788078"/>
                    <a:pt x="2360226" y="3734207"/>
                  </a:cubicBezTo>
                  <a:lnTo>
                    <a:pt x="2289079" y="3714560"/>
                  </a:lnTo>
                  <a:cubicBezTo>
                    <a:pt x="2289079" y="3714560"/>
                    <a:pt x="2289079" y="3714560"/>
                    <a:pt x="2290350" y="3710441"/>
                  </a:cubicBezTo>
                  <a:cubicBezTo>
                    <a:pt x="2290350" y="3710441"/>
                    <a:pt x="2290350" y="3710441"/>
                    <a:pt x="2361814" y="3730088"/>
                  </a:cubicBezTo>
                  <a:cubicBezTo>
                    <a:pt x="2361814" y="3730088"/>
                    <a:pt x="2361814" y="3730088"/>
                    <a:pt x="2467581" y="3783959"/>
                  </a:cubicBezTo>
                  <a:cubicBezTo>
                    <a:pt x="2467581" y="3783959"/>
                    <a:pt x="2467581" y="3783959"/>
                    <a:pt x="2504742" y="3707589"/>
                  </a:cubicBezTo>
                  <a:cubicBezTo>
                    <a:pt x="2504742" y="3707589"/>
                    <a:pt x="2504742" y="3707589"/>
                    <a:pt x="2469804" y="3676534"/>
                  </a:cubicBezTo>
                  <a:cubicBezTo>
                    <a:pt x="2469804" y="3676534"/>
                    <a:pt x="2469804" y="3676534"/>
                    <a:pt x="2372930" y="3670830"/>
                  </a:cubicBezTo>
                  <a:cubicBezTo>
                    <a:pt x="2372930" y="3670830"/>
                    <a:pt x="2372930" y="3670830"/>
                    <a:pt x="2321158" y="3621078"/>
                  </a:cubicBezTo>
                  <a:close/>
                  <a:moveTo>
                    <a:pt x="912519" y="3619811"/>
                  </a:moveTo>
                  <a:cubicBezTo>
                    <a:pt x="912519" y="3619811"/>
                    <a:pt x="912519" y="3619811"/>
                    <a:pt x="898862" y="3654668"/>
                  </a:cubicBezTo>
                  <a:cubicBezTo>
                    <a:pt x="906484" y="3656253"/>
                    <a:pt x="915695" y="3659739"/>
                    <a:pt x="926494" y="3666710"/>
                  </a:cubicBezTo>
                  <a:cubicBezTo>
                    <a:pt x="949045" y="3681287"/>
                    <a:pt x="971279" y="3684139"/>
                    <a:pt x="990018" y="3702835"/>
                  </a:cubicBezTo>
                  <a:cubicBezTo>
                    <a:pt x="1007170" y="3720581"/>
                    <a:pt x="1019874" y="3738010"/>
                    <a:pt x="1019874" y="3738010"/>
                  </a:cubicBezTo>
                  <a:cubicBezTo>
                    <a:pt x="1019874" y="3738010"/>
                    <a:pt x="1019874" y="3738010"/>
                    <a:pt x="1018921" y="3738960"/>
                  </a:cubicBezTo>
                  <a:cubicBezTo>
                    <a:pt x="1018921" y="3738960"/>
                    <a:pt x="1018921" y="3738960"/>
                    <a:pt x="1030038" y="3742763"/>
                  </a:cubicBezTo>
                  <a:cubicBezTo>
                    <a:pt x="1030038" y="3742763"/>
                    <a:pt x="1030038" y="3742763"/>
                    <a:pt x="1057353" y="3756706"/>
                  </a:cubicBezTo>
                  <a:cubicBezTo>
                    <a:pt x="1053542" y="3751002"/>
                    <a:pt x="1048460" y="3743714"/>
                    <a:pt x="1042425" y="3736108"/>
                  </a:cubicBezTo>
                  <a:cubicBezTo>
                    <a:pt x="1030356" y="3719630"/>
                    <a:pt x="1015428" y="3701568"/>
                    <a:pt x="1005264" y="3693646"/>
                  </a:cubicBezTo>
                  <a:cubicBezTo>
                    <a:pt x="984301" y="3677484"/>
                    <a:pt x="944916" y="3656253"/>
                    <a:pt x="929035" y="3649915"/>
                  </a:cubicBezTo>
                  <a:cubicBezTo>
                    <a:pt x="928082" y="3649598"/>
                    <a:pt x="928400" y="3649281"/>
                    <a:pt x="928082" y="3648964"/>
                  </a:cubicBezTo>
                  <a:cubicBezTo>
                    <a:pt x="926494" y="3647063"/>
                    <a:pt x="922365" y="3638824"/>
                    <a:pt x="917919" y="3630268"/>
                  </a:cubicBezTo>
                  <a:cubicBezTo>
                    <a:pt x="916013" y="3626465"/>
                    <a:pt x="914107" y="3622663"/>
                    <a:pt x="912519" y="3619811"/>
                  </a:cubicBezTo>
                  <a:close/>
                  <a:moveTo>
                    <a:pt x="562186" y="3616642"/>
                  </a:moveTo>
                  <a:cubicBezTo>
                    <a:pt x="559645" y="3618226"/>
                    <a:pt x="555516" y="3620761"/>
                    <a:pt x="550116" y="3624247"/>
                  </a:cubicBezTo>
                  <a:cubicBezTo>
                    <a:pt x="550116" y="3624247"/>
                    <a:pt x="550116" y="3624247"/>
                    <a:pt x="563456" y="3639458"/>
                  </a:cubicBezTo>
                  <a:cubicBezTo>
                    <a:pt x="563456" y="3639458"/>
                    <a:pt x="563456" y="3639458"/>
                    <a:pt x="575208" y="3629951"/>
                  </a:cubicBezTo>
                  <a:cubicBezTo>
                    <a:pt x="575208" y="3629951"/>
                    <a:pt x="575208" y="3629951"/>
                    <a:pt x="562186" y="3616642"/>
                  </a:cubicBezTo>
                  <a:close/>
                  <a:moveTo>
                    <a:pt x="1046554" y="3614424"/>
                  </a:moveTo>
                  <a:cubicBezTo>
                    <a:pt x="1046554" y="3614424"/>
                    <a:pt x="1046554" y="3614424"/>
                    <a:pt x="1068470" y="3631852"/>
                  </a:cubicBezTo>
                  <a:lnTo>
                    <a:pt x="1071646" y="3627733"/>
                  </a:lnTo>
                  <a:cubicBezTo>
                    <a:pt x="1071646" y="3627733"/>
                    <a:pt x="1071646" y="3627733"/>
                    <a:pt x="1046554" y="3614424"/>
                  </a:cubicBezTo>
                  <a:close/>
                  <a:moveTo>
                    <a:pt x="1037979" y="3613156"/>
                  </a:moveTo>
                  <a:cubicBezTo>
                    <a:pt x="1037979" y="3613156"/>
                    <a:pt x="1037979" y="3613156"/>
                    <a:pt x="1010981" y="3646746"/>
                  </a:cubicBezTo>
                  <a:cubicBezTo>
                    <a:pt x="1010981" y="3646746"/>
                    <a:pt x="1010981" y="3646746"/>
                    <a:pt x="1038931" y="3668611"/>
                  </a:cubicBezTo>
                  <a:cubicBezTo>
                    <a:pt x="1038931" y="3668611"/>
                    <a:pt x="1038931" y="3668611"/>
                    <a:pt x="1058306" y="3644528"/>
                  </a:cubicBezTo>
                  <a:cubicBezTo>
                    <a:pt x="1058306" y="3644528"/>
                    <a:pt x="1058306" y="3644528"/>
                    <a:pt x="1056718" y="3643260"/>
                  </a:cubicBezTo>
                  <a:cubicBezTo>
                    <a:pt x="1056718" y="3643260"/>
                    <a:pt x="1056718" y="3643260"/>
                    <a:pt x="1058941" y="3640091"/>
                  </a:cubicBezTo>
                  <a:cubicBezTo>
                    <a:pt x="1058941" y="3640091"/>
                    <a:pt x="1058941" y="3640091"/>
                    <a:pt x="1063388" y="3633437"/>
                  </a:cubicBezTo>
                  <a:close/>
                  <a:moveTo>
                    <a:pt x="3176" y="3612205"/>
                  </a:moveTo>
                  <a:cubicBezTo>
                    <a:pt x="4129" y="3614424"/>
                    <a:pt x="4129" y="3614424"/>
                    <a:pt x="4129" y="3614424"/>
                  </a:cubicBezTo>
                  <a:cubicBezTo>
                    <a:pt x="12705" y="3636289"/>
                    <a:pt x="12705" y="3636289"/>
                    <a:pt x="12705" y="3636289"/>
                  </a:cubicBezTo>
                  <a:cubicBezTo>
                    <a:pt x="1271" y="3643577"/>
                    <a:pt x="1271" y="3643577"/>
                    <a:pt x="1271" y="3643577"/>
                  </a:cubicBezTo>
                  <a:lnTo>
                    <a:pt x="1271" y="3638190"/>
                  </a:lnTo>
                  <a:cubicBezTo>
                    <a:pt x="6988" y="3634387"/>
                    <a:pt x="6988" y="3634387"/>
                    <a:pt x="6988" y="3634387"/>
                  </a:cubicBezTo>
                  <a:cubicBezTo>
                    <a:pt x="1271" y="3620444"/>
                    <a:pt x="1271" y="3620444"/>
                    <a:pt x="1271" y="3620444"/>
                  </a:cubicBezTo>
                  <a:cubicBezTo>
                    <a:pt x="1271" y="3613156"/>
                    <a:pt x="1271" y="3613156"/>
                    <a:pt x="1271" y="3613156"/>
                  </a:cubicBezTo>
                  <a:cubicBezTo>
                    <a:pt x="3176" y="3612205"/>
                    <a:pt x="3176" y="3612205"/>
                    <a:pt x="3176" y="3612205"/>
                  </a:cubicBezTo>
                  <a:close/>
                  <a:moveTo>
                    <a:pt x="2148056" y="3605234"/>
                  </a:moveTo>
                  <a:cubicBezTo>
                    <a:pt x="2148056" y="3605234"/>
                    <a:pt x="2148056" y="3605234"/>
                    <a:pt x="2145833" y="3627416"/>
                  </a:cubicBezTo>
                  <a:cubicBezTo>
                    <a:pt x="2145833" y="3627416"/>
                    <a:pt x="2145833" y="3627416"/>
                    <a:pt x="2149644" y="3627733"/>
                  </a:cubicBezTo>
                  <a:cubicBezTo>
                    <a:pt x="2149644" y="3627733"/>
                    <a:pt x="2149644" y="3627733"/>
                    <a:pt x="2151550" y="3628050"/>
                  </a:cubicBezTo>
                  <a:cubicBezTo>
                    <a:pt x="2151550" y="3628050"/>
                    <a:pt x="2151550" y="3628050"/>
                    <a:pt x="2150280" y="3643577"/>
                  </a:cubicBezTo>
                  <a:cubicBezTo>
                    <a:pt x="2150280" y="3643577"/>
                    <a:pt x="2150280" y="3643577"/>
                    <a:pt x="2204592" y="3649598"/>
                  </a:cubicBezTo>
                  <a:cubicBezTo>
                    <a:pt x="2204592" y="3649598"/>
                    <a:pt x="2204592" y="3649598"/>
                    <a:pt x="2206180" y="3633754"/>
                  </a:cubicBezTo>
                  <a:lnTo>
                    <a:pt x="2182042" y="3631535"/>
                  </a:lnTo>
                  <a:cubicBezTo>
                    <a:pt x="2182042" y="3631535"/>
                    <a:pt x="2182042" y="3631535"/>
                    <a:pt x="2184265" y="3608720"/>
                  </a:cubicBezTo>
                  <a:cubicBezTo>
                    <a:pt x="2184265" y="3608720"/>
                    <a:pt x="2184265" y="3608720"/>
                    <a:pt x="2148056" y="3605234"/>
                  </a:cubicBezTo>
                  <a:close/>
                  <a:moveTo>
                    <a:pt x="739099" y="3604283"/>
                  </a:moveTo>
                  <a:cubicBezTo>
                    <a:pt x="739099" y="3604283"/>
                    <a:pt x="739099" y="3604283"/>
                    <a:pt x="725124" y="3666710"/>
                  </a:cubicBezTo>
                  <a:cubicBezTo>
                    <a:pt x="725124" y="3666710"/>
                    <a:pt x="725124" y="3666710"/>
                    <a:pt x="625392" y="3644528"/>
                  </a:cubicBezTo>
                  <a:cubicBezTo>
                    <a:pt x="625392" y="3644528"/>
                    <a:pt x="625392" y="3644528"/>
                    <a:pt x="606017" y="3623296"/>
                  </a:cubicBezTo>
                  <a:lnTo>
                    <a:pt x="591089" y="3635338"/>
                  </a:lnTo>
                  <a:cubicBezTo>
                    <a:pt x="591089" y="3635338"/>
                    <a:pt x="591089" y="3635338"/>
                    <a:pt x="615228" y="3660689"/>
                  </a:cubicBezTo>
                  <a:cubicBezTo>
                    <a:pt x="617451" y="3661957"/>
                    <a:pt x="626662" y="3667344"/>
                    <a:pt x="638732" y="3672731"/>
                  </a:cubicBezTo>
                  <a:cubicBezTo>
                    <a:pt x="652389" y="3679069"/>
                    <a:pt x="669223" y="3685406"/>
                    <a:pt x="681928" y="3686040"/>
                  </a:cubicBezTo>
                  <a:cubicBezTo>
                    <a:pt x="691774" y="3686674"/>
                    <a:pt x="705114" y="3687308"/>
                    <a:pt x="718454" y="3687308"/>
                  </a:cubicBezTo>
                  <a:cubicBezTo>
                    <a:pt x="722901" y="3687308"/>
                    <a:pt x="727347" y="3687308"/>
                    <a:pt x="731794" y="3686991"/>
                  </a:cubicBezTo>
                  <a:cubicBezTo>
                    <a:pt x="741005" y="3665126"/>
                    <a:pt x="752439" y="3640725"/>
                    <a:pt x="764509" y="3616325"/>
                  </a:cubicBezTo>
                  <a:cubicBezTo>
                    <a:pt x="764509" y="3616325"/>
                    <a:pt x="764509" y="3616325"/>
                    <a:pt x="739099" y="3604283"/>
                  </a:cubicBezTo>
                  <a:close/>
                  <a:moveTo>
                    <a:pt x="289986" y="3603966"/>
                  </a:moveTo>
                  <a:cubicBezTo>
                    <a:pt x="287445" y="3618543"/>
                    <a:pt x="281093" y="3647063"/>
                    <a:pt x="268071" y="3670196"/>
                  </a:cubicBezTo>
                  <a:cubicBezTo>
                    <a:pt x="273152" y="3672414"/>
                    <a:pt x="278552" y="3673998"/>
                    <a:pt x="284269" y="3673998"/>
                  </a:cubicBezTo>
                  <a:cubicBezTo>
                    <a:pt x="294751" y="3673682"/>
                    <a:pt x="305867" y="3669245"/>
                    <a:pt x="316349" y="3652133"/>
                  </a:cubicBezTo>
                  <a:cubicBezTo>
                    <a:pt x="319525" y="3647063"/>
                    <a:pt x="320795" y="3640725"/>
                    <a:pt x="320795" y="3634071"/>
                  </a:cubicBezTo>
                  <a:cubicBezTo>
                    <a:pt x="320795" y="3630585"/>
                    <a:pt x="320478" y="3626782"/>
                    <a:pt x="319842" y="3622980"/>
                  </a:cubicBezTo>
                  <a:cubicBezTo>
                    <a:pt x="314125" y="3618543"/>
                    <a:pt x="309043" y="3615057"/>
                    <a:pt x="305550" y="3612839"/>
                  </a:cubicBezTo>
                  <a:cubicBezTo>
                    <a:pt x="301421" y="3610621"/>
                    <a:pt x="296339" y="3607452"/>
                    <a:pt x="289986" y="3603966"/>
                  </a:cubicBezTo>
                  <a:close/>
                  <a:moveTo>
                    <a:pt x="211852" y="3603649"/>
                  </a:moveTo>
                  <a:cubicBezTo>
                    <a:pt x="211852" y="3603649"/>
                    <a:pt x="211852" y="3603649"/>
                    <a:pt x="178184" y="3629317"/>
                  </a:cubicBezTo>
                  <a:cubicBezTo>
                    <a:pt x="178184" y="3629317"/>
                    <a:pt x="178184" y="3629317"/>
                    <a:pt x="187713" y="3641042"/>
                  </a:cubicBezTo>
                  <a:lnTo>
                    <a:pt x="206452" y="3642310"/>
                  </a:lnTo>
                  <a:cubicBezTo>
                    <a:pt x="206452" y="3642310"/>
                    <a:pt x="206452" y="3642310"/>
                    <a:pt x="200100" y="3665759"/>
                  </a:cubicBezTo>
                  <a:cubicBezTo>
                    <a:pt x="200100" y="3665759"/>
                    <a:pt x="200100" y="3665759"/>
                    <a:pt x="208358" y="3685406"/>
                  </a:cubicBezTo>
                  <a:cubicBezTo>
                    <a:pt x="208358" y="3685406"/>
                    <a:pt x="208358" y="3685406"/>
                    <a:pt x="231862" y="3668611"/>
                  </a:cubicBezTo>
                  <a:cubicBezTo>
                    <a:pt x="231862" y="3668611"/>
                    <a:pt x="231862" y="3668611"/>
                    <a:pt x="211852" y="3603649"/>
                  </a:cubicBezTo>
                  <a:close/>
                  <a:moveTo>
                    <a:pt x="2144245" y="3600797"/>
                  </a:moveTo>
                  <a:cubicBezTo>
                    <a:pt x="2144245" y="3600797"/>
                    <a:pt x="2144245" y="3600797"/>
                    <a:pt x="2188712" y="3604917"/>
                  </a:cubicBezTo>
                  <a:lnTo>
                    <a:pt x="2186488" y="3628050"/>
                  </a:lnTo>
                  <a:cubicBezTo>
                    <a:pt x="2186488" y="3628050"/>
                    <a:pt x="2186488" y="3628050"/>
                    <a:pt x="2210627" y="3630268"/>
                  </a:cubicBezTo>
                  <a:cubicBezTo>
                    <a:pt x="2210627" y="3630268"/>
                    <a:pt x="2210627" y="3630268"/>
                    <a:pt x="2208404" y="3654035"/>
                  </a:cubicBezTo>
                  <a:cubicBezTo>
                    <a:pt x="2208404" y="3654035"/>
                    <a:pt x="2208404" y="3654035"/>
                    <a:pt x="2206180" y="3653718"/>
                  </a:cubicBezTo>
                  <a:cubicBezTo>
                    <a:pt x="2206180" y="3653718"/>
                    <a:pt x="2206180" y="3653718"/>
                    <a:pt x="2145833" y="3647380"/>
                  </a:cubicBezTo>
                  <a:cubicBezTo>
                    <a:pt x="2145833" y="3647380"/>
                    <a:pt x="2145833" y="3647380"/>
                    <a:pt x="2147103" y="3631852"/>
                  </a:cubicBezTo>
                  <a:cubicBezTo>
                    <a:pt x="2147103" y="3631852"/>
                    <a:pt x="2147103" y="3631852"/>
                    <a:pt x="2143292" y="3631535"/>
                  </a:cubicBezTo>
                  <a:cubicBezTo>
                    <a:pt x="2143292" y="3631535"/>
                    <a:pt x="2143292" y="3631535"/>
                    <a:pt x="2141386" y="3631219"/>
                  </a:cubicBezTo>
                  <a:cubicBezTo>
                    <a:pt x="2141386" y="3631219"/>
                    <a:pt x="2141386" y="3631219"/>
                    <a:pt x="2144245" y="3600797"/>
                  </a:cubicBezTo>
                  <a:close/>
                  <a:moveTo>
                    <a:pt x="990653" y="3598579"/>
                  </a:moveTo>
                  <a:cubicBezTo>
                    <a:pt x="990653" y="3598579"/>
                    <a:pt x="990653" y="3598579"/>
                    <a:pt x="963656" y="3631852"/>
                  </a:cubicBezTo>
                  <a:cubicBezTo>
                    <a:pt x="963656" y="3631852"/>
                    <a:pt x="963656" y="3631852"/>
                    <a:pt x="990336" y="3652450"/>
                  </a:cubicBezTo>
                  <a:cubicBezTo>
                    <a:pt x="990336" y="3652450"/>
                    <a:pt x="990336" y="3652450"/>
                    <a:pt x="999864" y="3642943"/>
                  </a:cubicBezTo>
                  <a:cubicBezTo>
                    <a:pt x="999864" y="3642943"/>
                    <a:pt x="999864" y="3642943"/>
                    <a:pt x="1002723" y="3640091"/>
                  </a:cubicBezTo>
                  <a:cubicBezTo>
                    <a:pt x="1002723" y="3640091"/>
                    <a:pt x="1002723" y="3640091"/>
                    <a:pt x="1004629" y="3641359"/>
                  </a:cubicBezTo>
                  <a:cubicBezTo>
                    <a:pt x="1004629" y="3641359"/>
                    <a:pt x="1004629" y="3641359"/>
                    <a:pt x="1020192" y="3621712"/>
                  </a:cubicBezTo>
                  <a:close/>
                  <a:moveTo>
                    <a:pt x="1578883" y="3596995"/>
                  </a:moveTo>
                  <a:cubicBezTo>
                    <a:pt x="1578883" y="3596995"/>
                    <a:pt x="1578883" y="3596995"/>
                    <a:pt x="1574119" y="3609353"/>
                  </a:cubicBezTo>
                  <a:cubicBezTo>
                    <a:pt x="1574119" y="3609353"/>
                    <a:pt x="1574119" y="3609353"/>
                    <a:pt x="1591906" y="3616325"/>
                  </a:cubicBezTo>
                  <a:cubicBezTo>
                    <a:pt x="1591906" y="3616325"/>
                    <a:pt x="1591906" y="3616325"/>
                    <a:pt x="1596670" y="3603966"/>
                  </a:cubicBezTo>
                  <a:close/>
                  <a:moveTo>
                    <a:pt x="214393" y="3595727"/>
                  </a:moveTo>
                  <a:cubicBezTo>
                    <a:pt x="214393" y="3595727"/>
                    <a:pt x="214393" y="3595727"/>
                    <a:pt x="237262" y="3670513"/>
                  </a:cubicBezTo>
                  <a:cubicBezTo>
                    <a:pt x="237262" y="3670513"/>
                    <a:pt x="237262" y="3670513"/>
                    <a:pt x="206135" y="3692378"/>
                  </a:cubicBezTo>
                  <a:cubicBezTo>
                    <a:pt x="206135" y="3692378"/>
                    <a:pt x="206135" y="3692378"/>
                    <a:pt x="205182" y="3689843"/>
                  </a:cubicBezTo>
                  <a:lnTo>
                    <a:pt x="195018" y="3666076"/>
                  </a:lnTo>
                  <a:cubicBezTo>
                    <a:pt x="195018" y="3666076"/>
                    <a:pt x="195018" y="3666076"/>
                    <a:pt x="200418" y="3646746"/>
                  </a:cubicBezTo>
                  <a:cubicBezTo>
                    <a:pt x="200418" y="3646746"/>
                    <a:pt x="200418" y="3646746"/>
                    <a:pt x="185490" y="3645479"/>
                  </a:cubicBezTo>
                  <a:cubicBezTo>
                    <a:pt x="185490" y="3645479"/>
                    <a:pt x="185490" y="3645479"/>
                    <a:pt x="171514" y="3628367"/>
                  </a:cubicBezTo>
                  <a:cubicBezTo>
                    <a:pt x="171514" y="3628367"/>
                    <a:pt x="171514" y="3628367"/>
                    <a:pt x="214393" y="3595727"/>
                  </a:cubicBezTo>
                  <a:close/>
                  <a:moveTo>
                    <a:pt x="2016880" y="3593826"/>
                  </a:moveTo>
                  <a:cubicBezTo>
                    <a:pt x="2016880" y="3593826"/>
                    <a:pt x="2016880" y="3593826"/>
                    <a:pt x="2004810" y="3653401"/>
                  </a:cubicBezTo>
                  <a:cubicBezTo>
                    <a:pt x="2010527" y="3654035"/>
                    <a:pt x="2016244" y="3654668"/>
                    <a:pt x="2022279" y="3655302"/>
                  </a:cubicBezTo>
                  <a:cubicBezTo>
                    <a:pt x="2056264" y="3658471"/>
                    <a:pt x="2090567" y="3661957"/>
                    <a:pt x="2103907" y="3662907"/>
                  </a:cubicBezTo>
                  <a:cubicBezTo>
                    <a:pt x="2103907" y="3662907"/>
                    <a:pt x="2103907" y="3662907"/>
                    <a:pt x="2110577" y="3601114"/>
                  </a:cubicBezTo>
                  <a:cubicBezTo>
                    <a:pt x="2110577" y="3601114"/>
                    <a:pt x="2110577" y="3601114"/>
                    <a:pt x="2016880" y="3593826"/>
                  </a:cubicBezTo>
                  <a:close/>
                  <a:moveTo>
                    <a:pt x="1576660" y="3591291"/>
                  </a:moveTo>
                  <a:cubicBezTo>
                    <a:pt x="1576660" y="3591291"/>
                    <a:pt x="1576660" y="3591291"/>
                    <a:pt x="1602070" y="3601431"/>
                  </a:cubicBezTo>
                  <a:cubicBezTo>
                    <a:pt x="1602070" y="3601431"/>
                    <a:pt x="1602070" y="3601431"/>
                    <a:pt x="1594129" y="3621712"/>
                  </a:cubicBezTo>
                  <a:cubicBezTo>
                    <a:pt x="1594129" y="3621712"/>
                    <a:pt x="1594129" y="3621712"/>
                    <a:pt x="1592223" y="3620761"/>
                  </a:cubicBezTo>
                  <a:cubicBezTo>
                    <a:pt x="1592223" y="3620761"/>
                    <a:pt x="1592223" y="3620761"/>
                    <a:pt x="1568720" y="3611572"/>
                  </a:cubicBezTo>
                  <a:close/>
                  <a:moveTo>
                    <a:pt x="1969872" y="3590340"/>
                  </a:moveTo>
                  <a:cubicBezTo>
                    <a:pt x="1969872" y="3590340"/>
                    <a:pt x="1969872" y="3590340"/>
                    <a:pt x="1957485" y="3648964"/>
                  </a:cubicBezTo>
                  <a:cubicBezTo>
                    <a:pt x="1968919" y="3650232"/>
                    <a:pt x="1984165" y="3651499"/>
                    <a:pt x="2000681" y="3653084"/>
                  </a:cubicBezTo>
                  <a:cubicBezTo>
                    <a:pt x="2000681" y="3653084"/>
                    <a:pt x="2000681" y="3653084"/>
                    <a:pt x="2012751" y="3593509"/>
                  </a:cubicBezTo>
                  <a:cubicBezTo>
                    <a:pt x="2012751" y="3593509"/>
                    <a:pt x="2012751" y="3593509"/>
                    <a:pt x="1969872" y="3590340"/>
                  </a:cubicBezTo>
                  <a:close/>
                  <a:moveTo>
                    <a:pt x="1953356" y="3589073"/>
                  </a:moveTo>
                  <a:cubicBezTo>
                    <a:pt x="1949227" y="3609353"/>
                    <a:pt x="1945415" y="3629317"/>
                    <a:pt x="1941604" y="3647380"/>
                  </a:cubicBezTo>
                  <a:cubicBezTo>
                    <a:pt x="1944462" y="3647697"/>
                    <a:pt x="1948274" y="3648014"/>
                    <a:pt x="1953356" y="3648647"/>
                  </a:cubicBezTo>
                  <a:cubicBezTo>
                    <a:pt x="1953356" y="3648647"/>
                    <a:pt x="1953356" y="3648647"/>
                    <a:pt x="1965425" y="3590023"/>
                  </a:cubicBezTo>
                  <a:cubicBezTo>
                    <a:pt x="1965425" y="3590023"/>
                    <a:pt x="1965425" y="3590023"/>
                    <a:pt x="1953356" y="3589073"/>
                  </a:cubicBezTo>
                  <a:close/>
                  <a:moveTo>
                    <a:pt x="997641" y="3585904"/>
                  </a:moveTo>
                  <a:cubicBezTo>
                    <a:pt x="997641" y="3585904"/>
                    <a:pt x="997641" y="3585904"/>
                    <a:pt x="991606" y="3593509"/>
                  </a:cubicBezTo>
                  <a:cubicBezTo>
                    <a:pt x="991606" y="3593509"/>
                    <a:pt x="991606" y="3593509"/>
                    <a:pt x="1023050" y="3618226"/>
                  </a:cubicBezTo>
                  <a:cubicBezTo>
                    <a:pt x="1023050" y="3618226"/>
                    <a:pt x="1023050" y="3618226"/>
                    <a:pt x="1023050" y="3617909"/>
                  </a:cubicBezTo>
                  <a:cubicBezTo>
                    <a:pt x="1023050" y="3617909"/>
                    <a:pt x="1023050" y="3617909"/>
                    <a:pt x="1023368" y="3618226"/>
                  </a:cubicBezTo>
                  <a:cubicBezTo>
                    <a:pt x="1023368" y="3618226"/>
                    <a:pt x="1023368" y="3618226"/>
                    <a:pt x="1033850" y="3607452"/>
                  </a:cubicBezTo>
                  <a:lnTo>
                    <a:pt x="996688" y="3587805"/>
                  </a:lnTo>
                  <a:cubicBezTo>
                    <a:pt x="996688" y="3587805"/>
                    <a:pt x="996688" y="3587805"/>
                    <a:pt x="997641" y="3585904"/>
                  </a:cubicBezTo>
                  <a:close/>
                  <a:moveTo>
                    <a:pt x="1609057" y="3583052"/>
                  </a:moveTo>
                  <a:cubicBezTo>
                    <a:pt x="1609057" y="3583052"/>
                    <a:pt x="1609057" y="3583052"/>
                    <a:pt x="1504243" y="3599213"/>
                  </a:cubicBezTo>
                  <a:cubicBezTo>
                    <a:pt x="1510913" y="3608086"/>
                    <a:pt x="1518218" y="3617592"/>
                    <a:pt x="1525523" y="3627099"/>
                  </a:cubicBezTo>
                  <a:cubicBezTo>
                    <a:pt x="1532193" y="3627099"/>
                    <a:pt x="1552839" y="3627099"/>
                    <a:pt x="1573484" y="3627099"/>
                  </a:cubicBezTo>
                  <a:cubicBezTo>
                    <a:pt x="1589682" y="3627099"/>
                    <a:pt x="1605246" y="3627416"/>
                    <a:pt x="1614774" y="3627416"/>
                  </a:cubicBezTo>
                  <a:cubicBezTo>
                    <a:pt x="1613186" y="3615374"/>
                    <a:pt x="1611281" y="3600480"/>
                    <a:pt x="1609057" y="3583052"/>
                  </a:cubicBezTo>
                  <a:close/>
                  <a:moveTo>
                    <a:pt x="2392305" y="3582101"/>
                  </a:moveTo>
                  <a:cubicBezTo>
                    <a:pt x="2392305" y="3582101"/>
                    <a:pt x="2392305" y="3582101"/>
                    <a:pt x="2388176" y="3597945"/>
                  </a:cubicBezTo>
                  <a:cubicBezTo>
                    <a:pt x="2388176" y="3597945"/>
                    <a:pt x="2388176" y="3597945"/>
                    <a:pt x="2414856" y="3604917"/>
                  </a:cubicBezTo>
                  <a:cubicBezTo>
                    <a:pt x="2414856" y="3604917"/>
                    <a:pt x="2414856" y="3604917"/>
                    <a:pt x="2411362" y="3617592"/>
                  </a:cubicBezTo>
                  <a:cubicBezTo>
                    <a:pt x="2411362" y="3617592"/>
                    <a:pt x="2411362" y="3617592"/>
                    <a:pt x="2353238" y="3602699"/>
                  </a:cubicBezTo>
                  <a:cubicBezTo>
                    <a:pt x="2353238" y="3602699"/>
                    <a:pt x="2353238" y="3602699"/>
                    <a:pt x="2349109" y="3617592"/>
                  </a:cubicBezTo>
                  <a:cubicBezTo>
                    <a:pt x="2349109" y="3617592"/>
                    <a:pt x="2349109" y="3617592"/>
                    <a:pt x="2371024" y="3623296"/>
                  </a:cubicBezTo>
                  <a:cubicBezTo>
                    <a:pt x="2371024" y="3623296"/>
                    <a:pt x="2371024" y="3623296"/>
                    <a:pt x="2364990" y="3646429"/>
                  </a:cubicBezTo>
                  <a:cubicBezTo>
                    <a:pt x="2364990" y="3646429"/>
                    <a:pt x="2364990" y="3646429"/>
                    <a:pt x="2402469" y="3656253"/>
                  </a:cubicBezTo>
                  <a:cubicBezTo>
                    <a:pt x="2402469" y="3656253"/>
                    <a:pt x="2402469" y="3656253"/>
                    <a:pt x="2409774" y="3628367"/>
                  </a:cubicBezTo>
                  <a:cubicBezTo>
                    <a:pt x="2409774" y="3628367"/>
                    <a:pt x="2409774" y="3628367"/>
                    <a:pt x="2443124" y="3636923"/>
                  </a:cubicBezTo>
                  <a:cubicBezTo>
                    <a:pt x="2443124" y="3636923"/>
                    <a:pt x="2443124" y="3636923"/>
                    <a:pt x="2448841" y="3614740"/>
                  </a:cubicBezTo>
                  <a:cubicBezTo>
                    <a:pt x="2448841" y="3614740"/>
                    <a:pt x="2448841" y="3614740"/>
                    <a:pt x="2446618" y="3614107"/>
                  </a:cubicBezTo>
                  <a:lnTo>
                    <a:pt x="2444712" y="3613473"/>
                  </a:lnTo>
                  <a:cubicBezTo>
                    <a:pt x="2444712" y="3613473"/>
                    <a:pt x="2444712" y="3613473"/>
                    <a:pt x="2449159" y="3596678"/>
                  </a:cubicBezTo>
                  <a:cubicBezTo>
                    <a:pt x="2449159" y="3596678"/>
                    <a:pt x="2449159" y="3596678"/>
                    <a:pt x="2392305" y="3582101"/>
                  </a:cubicBezTo>
                  <a:close/>
                  <a:moveTo>
                    <a:pt x="1702120" y="3580517"/>
                  </a:moveTo>
                  <a:cubicBezTo>
                    <a:pt x="1702120" y="3580517"/>
                    <a:pt x="1702120" y="3580517"/>
                    <a:pt x="1652253" y="3588756"/>
                  </a:cubicBezTo>
                  <a:cubicBezTo>
                    <a:pt x="1652253" y="3588756"/>
                    <a:pt x="1652253" y="3588756"/>
                    <a:pt x="1656700" y="3614740"/>
                  </a:cubicBezTo>
                  <a:cubicBezTo>
                    <a:pt x="1656700" y="3614740"/>
                    <a:pt x="1656700" y="3614740"/>
                    <a:pt x="1679569" y="3610938"/>
                  </a:cubicBezTo>
                  <a:cubicBezTo>
                    <a:pt x="1679569" y="3610938"/>
                    <a:pt x="1679569" y="3610938"/>
                    <a:pt x="1682427" y="3629000"/>
                  </a:cubicBezTo>
                  <a:lnTo>
                    <a:pt x="1712919" y="3624564"/>
                  </a:lnTo>
                  <a:cubicBezTo>
                    <a:pt x="1712919" y="3624564"/>
                    <a:pt x="1712919" y="3624564"/>
                    <a:pt x="1708154" y="3596361"/>
                  </a:cubicBezTo>
                  <a:cubicBezTo>
                    <a:pt x="1708154" y="3596361"/>
                    <a:pt x="1708154" y="3596361"/>
                    <a:pt x="1706884" y="3596361"/>
                  </a:cubicBezTo>
                  <a:cubicBezTo>
                    <a:pt x="1706884" y="3596361"/>
                    <a:pt x="1706884" y="3596361"/>
                    <a:pt x="1704978" y="3596678"/>
                  </a:cubicBezTo>
                  <a:cubicBezTo>
                    <a:pt x="1704978" y="3596678"/>
                    <a:pt x="1704978" y="3596678"/>
                    <a:pt x="1702120" y="3580517"/>
                  </a:cubicBezTo>
                  <a:close/>
                  <a:moveTo>
                    <a:pt x="653342" y="3578615"/>
                  </a:moveTo>
                  <a:cubicBezTo>
                    <a:pt x="653342" y="3578615"/>
                    <a:pt x="653342" y="3578615"/>
                    <a:pt x="640955" y="3622980"/>
                  </a:cubicBezTo>
                  <a:cubicBezTo>
                    <a:pt x="640955" y="3622980"/>
                    <a:pt x="640955" y="3622980"/>
                    <a:pt x="707337" y="3638507"/>
                  </a:cubicBezTo>
                  <a:cubicBezTo>
                    <a:pt x="707337" y="3638507"/>
                    <a:pt x="707337" y="3638507"/>
                    <a:pt x="708925" y="3620444"/>
                  </a:cubicBezTo>
                  <a:lnTo>
                    <a:pt x="690186" y="3614424"/>
                  </a:lnTo>
                  <a:cubicBezTo>
                    <a:pt x="690186" y="3614424"/>
                    <a:pt x="690186" y="3614424"/>
                    <a:pt x="686692" y="3613156"/>
                  </a:cubicBezTo>
                  <a:cubicBezTo>
                    <a:pt x="686692" y="3613156"/>
                    <a:pt x="686692" y="3613156"/>
                    <a:pt x="687010" y="3609670"/>
                  </a:cubicBezTo>
                  <a:cubicBezTo>
                    <a:pt x="687010" y="3609670"/>
                    <a:pt x="687010" y="3609670"/>
                    <a:pt x="689233" y="3589706"/>
                  </a:cubicBezTo>
                  <a:cubicBezTo>
                    <a:pt x="689233" y="3589706"/>
                    <a:pt x="689233" y="3589706"/>
                    <a:pt x="653342" y="3578615"/>
                  </a:cubicBezTo>
                  <a:close/>
                  <a:moveTo>
                    <a:pt x="1147875" y="3577348"/>
                  </a:moveTo>
                  <a:cubicBezTo>
                    <a:pt x="1147875" y="3577348"/>
                    <a:pt x="1147875" y="3577348"/>
                    <a:pt x="1103726" y="3629317"/>
                  </a:cubicBezTo>
                  <a:cubicBezTo>
                    <a:pt x="1103726" y="3629317"/>
                    <a:pt x="1103726" y="3629317"/>
                    <a:pt x="1104361" y="3630585"/>
                  </a:cubicBezTo>
                  <a:cubicBezTo>
                    <a:pt x="1104361" y="3630585"/>
                    <a:pt x="1111666" y="3647380"/>
                    <a:pt x="1119607" y="3664175"/>
                  </a:cubicBezTo>
                  <a:cubicBezTo>
                    <a:pt x="1123418" y="3672731"/>
                    <a:pt x="1127229" y="3680970"/>
                    <a:pt x="1130088" y="3687308"/>
                  </a:cubicBezTo>
                  <a:cubicBezTo>
                    <a:pt x="1131676" y="3690477"/>
                    <a:pt x="1132629" y="3693012"/>
                    <a:pt x="1133582" y="3694913"/>
                  </a:cubicBezTo>
                  <a:cubicBezTo>
                    <a:pt x="1133899" y="3695230"/>
                    <a:pt x="1133899" y="3695547"/>
                    <a:pt x="1134217" y="3695864"/>
                  </a:cubicBezTo>
                  <a:cubicBezTo>
                    <a:pt x="1143428" y="3702518"/>
                    <a:pt x="1193294" y="3738644"/>
                    <a:pt x="1193294" y="3738644"/>
                  </a:cubicBezTo>
                  <a:cubicBezTo>
                    <a:pt x="1193294" y="3738644"/>
                    <a:pt x="1193294" y="3738644"/>
                    <a:pt x="1194565" y="3739911"/>
                  </a:cubicBezTo>
                  <a:cubicBezTo>
                    <a:pt x="1194565" y="3739911"/>
                    <a:pt x="1194565" y="3739911"/>
                    <a:pt x="1220292" y="3793782"/>
                  </a:cubicBezTo>
                  <a:cubicBezTo>
                    <a:pt x="1220292" y="3793782"/>
                    <a:pt x="1220292" y="3793782"/>
                    <a:pt x="1295567" y="3770649"/>
                  </a:cubicBezTo>
                  <a:close/>
                  <a:moveTo>
                    <a:pt x="2389446" y="3576714"/>
                  </a:moveTo>
                  <a:lnTo>
                    <a:pt x="2454241" y="3593826"/>
                  </a:lnTo>
                  <a:cubicBezTo>
                    <a:pt x="2454241" y="3593826"/>
                    <a:pt x="2454241" y="3593826"/>
                    <a:pt x="2449794" y="3610621"/>
                  </a:cubicBezTo>
                  <a:cubicBezTo>
                    <a:pt x="2449794" y="3610621"/>
                    <a:pt x="2449794" y="3610621"/>
                    <a:pt x="2452018" y="3610938"/>
                  </a:cubicBezTo>
                  <a:cubicBezTo>
                    <a:pt x="2452018" y="3610938"/>
                    <a:pt x="2452018" y="3610938"/>
                    <a:pt x="2453923" y="3611572"/>
                  </a:cubicBezTo>
                  <a:cubicBezTo>
                    <a:pt x="2453923" y="3611572"/>
                    <a:pt x="2453923" y="3611572"/>
                    <a:pt x="2445983" y="3641993"/>
                  </a:cubicBezTo>
                  <a:cubicBezTo>
                    <a:pt x="2445983" y="3641993"/>
                    <a:pt x="2445983" y="3641993"/>
                    <a:pt x="2444077" y="3641676"/>
                  </a:cubicBezTo>
                  <a:cubicBezTo>
                    <a:pt x="2444077" y="3641676"/>
                    <a:pt x="2444077" y="3641676"/>
                    <a:pt x="2412633" y="3633437"/>
                  </a:cubicBezTo>
                  <a:cubicBezTo>
                    <a:pt x="2412633" y="3633437"/>
                    <a:pt x="2412633" y="3633437"/>
                    <a:pt x="2405328" y="3661640"/>
                  </a:cubicBezTo>
                  <a:cubicBezTo>
                    <a:pt x="2405328" y="3661640"/>
                    <a:pt x="2405328" y="3661640"/>
                    <a:pt x="2359590" y="3649598"/>
                  </a:cubicBezTo>
                  <a:cubicBezTo>
                    <a:pt x="2359590" y="3649598"/>
                    <a:pt x="2359590" y="3649598"/>
                    <a:pt x="2365625" y="3626465"/>
                  </a:cubicBezTo>
                  <a:cubicBezTo>
                    <a:pt x="2365625" y="3626465"/>
                    <a:pt x="2365625" y="3626465"/>
                    <a:pt x="2344027" y="3620761"/>
                  </a:cubicBezTo>
                  <a:cubicBezTo>
                    <a:pt x="2344027" y="3620761"/>
                    <a:pt x="2344027" y="3620761"/>
                    <a:pt x="2350062" y="3597312"/>
                  </a:cubicBezTo>
                  <a:cubicBezTo>
                    <a:pt x="2350062" y="3597312"/>
                    <a:pt x="2350062" y="3597312"/>
                    <a:pt x="2408504" y="3612522"/>
                  </a:cubicBezTo>
                  <a:cubicBezTo>
                    <a:pt x="2408504" y="3612522"/>
                    <a:pt x="2408504" y="3612522"/>
                    <a:pt x="2409774" y="3607769"/>
                  </a:cubicBezTo>
                  <a:cubicBezTo>
                    <a:pt x="2409774" y="3607769"/>
                    <a:pt x="2409774" y="3607769"/>
                    <a:pt x="2383094" y="3600797"/>
                  </a:cubicBezTo>
                  <a:cubicBezTo>
                    <a:pt x="2383094" y="3600797"/>
                    <a:pt x="2383094" y="3600797"/>
                    <a:pt x="2389446" y="3576714"/>
                  </a:cubicBezTo>
                  <a:close/>
                  <a:moveTo>
                    <a:pt x="1417215" y="3576714"/>
                  </a:moveTo>
                  <a:cubicBezTo>
                    <a:pt x="1417215" y="3576714"/>
                    <a:pt x="1417215" y="3576714"/>
                    <a:pt x="1441354" y="3634704"/>
                  </a:cubicBezTo>
                  <a:cubicBezTo>
                    <a:pt x="1441354" y="3634704"/>
                    <a:pt x="1441354" y="3634704"/>
                    <a:pt x="1544581" y="3713926"/>
                  </a:cubicBezTo>
                  <a:cubicBezTo>
                    <a:pt x="1544581" y="3713926"/>
                    <a:pt x="1544581" y="3713926"/>
                    <a:pt x="1545851" y="3713609"/>
                  </a:cubicBezTo>
                  <a:lnTo>
                    <a:pt x="1443895" y="3581467"/>
                  </a:lnTo>
                  <a:cubicBezTo>
                    <a:pt x="1443895" y="3581467"/>
                    <a:pt x="1443895" y="3581467"/>
                    <a:pt x="1417215" y="3576714"/>
                  </a:cubicBezTo>
                  <a:close/>
                  <a:moveTo>
                    <a:pt x="3919416" y="3575763"/>
                  </a:moveTo>
                  <a:cubicBezTo>
                    <a:pt x="3893372" y="3600797"/>
                    <a:pt x="3868280" y="3625198"/>
                    <a:pt x="3849540" y="3642627"/>
                  </a:cubicBezTo>
                  <a:cubicBezTo>
                    <a:pt x="3873679" y="3655619"/>
                    <a:pt x="3941332" y="3695547"/>
                    <a:pt x="3958484" y="3705370"/>
                  </a:cubicBezTo>
                  <a:cubicBezTo>
                    <a:pt x="3958484" y="3705370"/>
                    <a:pt x="3958484" y="3705370"/>
                    <a:pt x="3976270" y="3661006"/>
                  </a:cubicBezTo>
                  <a:cubicBezTo>
                    <a:pt x="3973412" y="3656570"/>
                    <a:pt x="3960072" y="3635972"/>
                    <a:pt x="3946732" y="3615691"/>
                  </a:cubicBezTo>
                  <a:cubicBezTo>
                    <a:pt x="3938791" y="3603966"/>
                    <a:pt x="3931168" y="3592241"/>
                    <a:pt x="3925134" y="3583369"/>
                  </a:cubicBezTo>
                  <a:cubicBezTo>
                    <a:pt x="3922910" y="3580517"/>
                    <a:pt x="3921004" y="3577981"/>
                    <a:pt x="3919416" y="3575763"/>
                  </a:cubicBezTo>
                  <a:close/>
                  <a:moveTo>
                    <a:pt x="1705613" y="3575763"/>
                  </a:moveTo>
                  <a:cubicBezTo>
                    <a:pt x="1705613" y="3575763"/>
                    <a:pt x="1705613" y="3575763"/>
                    <a:pt x="1708154" y="3591924"/>
                  </a:cubicBezTo>
                  <a:cubicBezTo>
                    <a:pt x="1708154" y="3591924"/>
                    <a:pt x="1708154" y="3591924"/>
                    <a:pt x="1709425" y="3591924"/>
                  </a:cubicBezTo>
                  <a:lnTo>
                    <a:pt x="1711648" y="3591291"/>
                  </a:lnTo>
                  <a:cubicBezTo>
                    <a:pt x="1711648" y="3591291"/>
                    <a:pt x="1711648" y="3591291"/>
                    <a:pt x="1717683" y="3628367"/>
                  </a:cubicBezTo>
                  <a:cubicBezTo>
                    <a:pt x="1717683" y="3628367"/>
                    <a:pt x="1717683" y="3628367"/>
                    <a:pt x="1678933" y="3633754"/>
                  </a:cubicBezTo>
                  <a:cubicBezTo>
                    <a:pt x="1678933" y="3633754"/>
                    <a:pt x="1678933" y="3633754"/>
                    <a:pt x="1678616" y="3631535"/>
                  </a:cubicBezTo>
                  <a:cubicBezTo>
                    <a:pt x="1678616" y="3631535"/>
                    <a:pt x="1678616" y="3631535"/>
                    <a:pt x="1676075" y="3615691"/>
                  </a:cubicBezTo>
                  <a:cubicBezTo>
                    <a:pt x="1676075" y="3615691"/>
                    <a:pt x="1676075" y="3615691"/>
                    <a:pt x="1653206" y="3619494"/>
                  </a:cubicBezTo>
                  <a:cubicBezTo>
                    <a:pt x="1653206" y="3619494"/>
                    <a:pt x="1653206" y="3619494"/>
                    <a:pt x="1647489" y="3585270"/>
                  </a:cubicBezTo>
                  <a:cubicBezTo>
                    <a:pt x="1647489" y="3585270"/>
                    <a:pt x="1647489" y="3585270"/>
                    <a:pt x="1705613" y="3575763"/>
                  </a:cubicBezTo>
                  <a:close/>
                  <a:moveTo>
                    <a:pt x="650484" y="3572911"/>
                  </a:moveTo>
                  <a:cubicBezTo>
                    <a:pt x="650484" y="3572911"/>
                    <a:pt x="650484" y="3572911"/>
                    <a:pt x="693997" y="3586537"/>
                  </a:cubicBezTo>
                  <a:lnTo>
                    <a:pt x="691456" y="3609987"/>
                  </a:lnTo>
                  <a:cubicBezTo>
                    <a:pt x="691456" y="3609987"/>
                    <a:pt x="691456" y="3609987"/>
                    <a:pt x="713690" y="3617276"/>
                  </a:cubicBezTo>
                  <a:cubicBezTo>
                    <a:pt x="713690" y="3617276"/>
                    <a:pt x="713690" y="3617276"/>
                    <a:pt x="711149" y="3644211"/>
                  </a:cubicBezTo>
                  <a:cubicBezTo>
                    <a:pt x="711149" y="3644211"/>
                    <a:pt x="711149" y="3644211"/>
                    <a:pt x="635556" y="3626148"/>
                  </a:cubicBezTo>
                  <a:cubicBezTo>
                    <a:pt x="635556" y="3626148"/>
                    <a:pt x="635556" y="3626148"/>
                    <a:pt x="650484" y="3572911"/>
                  </a:cubicBezTo>
                  <a:close/>
                  <a:moveTo>
                    <a:pt x="1409275" y="3570376"/>
                  </a:moveTo>
                  <a:cubicBezTo>
                    <a:pt x="1409275" y="3570376"/>
                    <a:pt x="1409275" y="3570376"/>
                    <a:pt x="1446436" y="3577348"/>
                  </a:cubicBezTo>
                  <a:cubicBezTo>
                    <a:pt x="1446436" y="3577348"/>
                    <a:pt x="1446436" y="3577348"/>
                    <a:pt x="1447072" y="3577981"/>
                  </a:cubicBezTo>
                  <a:cubicBezTo>
                    <a:pt x="1447072" y="3577981"/>
                    <a:pt x="1447072" y="3577981"/>
                    <a:pt x="1553156" y="3715511"/>
                  </a:cubicBezTo>
                  <a:cubicBezTo>
                    <a:pt x="1553156" y="3715511"/>
                    <a:pt x="1553156" y="3715511"/>
                    <a:pt x="1543945" y="3719313"/>
                  </a:cubicBezTo>
                  <a:cubicBezTo>
                    <a:pt x="1543945" y="3719313"/>
                    <a:pt x="1543945" y="3719313"/>
                    <a:pt x="1437543" y="3637556"/>
                  </a:cubicBezTo>
                  <a:close/>
                  <a:moveTo>
                    <a:pt x="645719" y="3569742"/>
                  </a:moveTo>
                  <a:cubicBezTo>
                    <a:pt x="645719" y="3569742"/>
                    <a:pt x="645719" y="3569742"/>
                    <a:pt x="634603" y="3600164"/>
                  </a:cubicBezTo>
                  <a:cubicBezTo>
                    <a:pt x="634603" y="3600164"/>
                    <a:pt x="634603" y="3600164"/>
                    <a:pt x="610146" y="3620128"/>
                  </a:cubicBezTo>
                  <a:cubicBezTo>
                    <a:pt x="610146" y="3620128"/>
                    <a:pt x="610146" y="3620128"/>
                    <a:pt x="627933" y="3639775"/>
                  </a:cubicBezTo>
                  <a:cubicBezTo>
                    <a:pt x="627933" y="3639775"/>
                    <a:pt x="627933" y="3639775"/>
                    <a:pt x="720995" y="3660372"/>
                  </a:cubicBezTo>
                  <a:cubicBezTo>
                    <a:pt x="720995" y="3660372"/>
                    <a:pt x="720995" y="3660372"/>
                    <a:pt x="734335" y="3602065"/>
                  </a:cubicBezTo>
                  <a:lnTo>
                    <a:pt x="714643" y="3592558"/>
                  </a:lnTo>
                  <a:cubicBezTo>
                    <a:pt x="711466" y="3591608"/>
                    <a:pt x="694633" y="3585904"/>
                    <a:pt x="677481" y="3580200"/>
                  </a:cubicBezTo>
                  <a:cubicBezTo>
                    <a:pt x="667953" y="3577031"/>
                    <a:pt x="658742" y="3574179"/>
                    <a:pt x="651754" y="3571644"/>
                  </a:cubicBezTo>
                  <a:cubicBezTo>
                    <a:pt x="649213" y="3571010"/>
                    <a:pt x="647307" y="3570376"/>
                    <a:pt x="645719" y="3569742"/>
                  </a:cubicBezTo>
                  <a:close/>
                  <a:moveTo>
                    <a:pt x="229321" y="3566890"/>
                  </a:moveTo>
                  <a:cubicBezTo>
                    <a:pt x="229321" y="3566890"/>
                    <a:pt x="229321" y="3566890"/>
                    <a:pt x="148328" y="3632169"/>
                  </a:cubicBezTo>
                  <a:cubicBezTo>
                    <a:pt x="167385" y="3659105"/>
                    <a:pt x="186125" y="3685723"/>
                    <a:pt x="203594" y="3710124"/>
                  </a:cubicBezTo>
                  <a:cubicBezTo>
                    <a:pt x="203594" y="3710124"/>
                    <a:pt x="203594" y="3710124"/>
                    <a:pt x="206452" y="3709173"/>
                  </a:cubicBezTo>
                  <a:cubicBezTo>
                    <a:pt x="208041" y="3708856"/>
                    <a:pt x="227415" y="3701251"/>
                    <a:pt x="248378" y="3674315"/>
                  </a:cubicBezTo>
                  <a:cubicBezTo>
                    <a:pt x="259177" y="3660689"/>
                    <a:pt x="266800" y="3639775"/>
                    <a:pt x="271247" y="3622663"/>
                  </a:cubicBezTo>
                  <a:cubicBezTo>
                    <a:pt x="274423" y="3611255"/>
                    <a:pt x="276011" y="3601431"/>
                    <a:pt x="276964" y="3596044"/>
                  </a:cubicBezTo>
                  <a:cubicBezTo>
                    <a:pt x="262353" y="3587805"/>
                    <a:pt x="245837" y="3577981"/>
                    <a:pt x="232180" y="3569109"/>
                  </a:cubicBezTo>
                  <a:cubicBezTo>
                    <a:pt x="231227" y="3568475"/>
                    <a:pt x="230274" y="3567524"/>
                    <a:pt x="229321" y="3566890"/>
                  </a:cubicBezTo>
                  <a:close/>
                  <a:moveTo>
                    <a:pt x="2691502" y="3565306"/>
                  </a:moveTo>
                  <a:cubicBezTo>
                    <a:pt x="2691502" y="3565306"/>
                    <a:pt x="2691502" y="3565306"/>
                    <a:pt x="2691502" y="3593192"/>
                  </a:cubicBezTo>
                  <a:lnTo>
                    <a:pt x="2765825" y="3593192"/>
                  </a:lnTo>
                  <a:cubicBezTo>
                    <a:pt x="2765825" y="3593192"/>
                    <a:pt x="2765825" y="3593192"/>
                    <a:pt x="2764872" y="3565306"/>
                  </a:cubicBezTo>
                  <a:cubicBezTo>
                    <a:pt x="2764872" y="3565306"/>
                    <a:pt x="2764872" y="3565306"/>
                    <a:pt x="2691502" y="3565306"/>
                  </a:cubicBezTo>
                  <a:close/>
                  <a:moveTo>
                    <a:pt x="2687055" y="3560869"/>
                  </a:moveTo>
                  <a:cubicBezTo>
                    <a:pt x="2687055" y="3560869"/>
                    <a:pt x="2687055" y="3560869"/>
                    <a:pt x="2769319" y="3560869"/>
                  </a:cubicBezTo>
                  <a:lnTo>
                    <a:pt x="2769319" y="3563088"/>
                  </a:lnTo>
                  <a:cubicBezTo>
                    <a:pt x="2769319" y="3563088"/>
                    <a:pt x="2769319" y="3563088"/>
                    <a:pt x="2770907" y="3597945"/>
                  </a:cubicBezTo>
                  <a:cubicBezTo>
                    <a:pt x="2770907" y="3597945"/>
                    <a:pt x="2770907" y="3597945"/>
                    <a:pt x="2687055" y="3597945"/>
                  </a:cubicBezTo>
                  <a:cubicBezTo>
                    <a:pt x="2687055" y="3597945"/>
                    <a:pt x="2687055" y="3597945"/>
                    <a:pt x="2687055" y="3560869"/>
                  </a:cubicBezTo>
                  <a:close/>
                  <a:moveTo>
                    <a:pt x="1571261" y="3550729"/>
                  </a:moveTo>
                  <a:cubicBezTo>
                    <a:pt x="1571261" y="3550729"/>
                    <a:pt x="1571261" y="3550729"/>
                    <a:pt x="1566179" y="3563088"/>
                  </a:cubicBezTo>
                  <a:cubicBezTo>
                    <a:pt x="1566179" y="3563088"/>
                    <a:pt x="1566179" y="3563088"/>
                    <a:pt x="1583965" y="3570059"/>
                  </a:cubicBezTo>
                  <a:cubicBezTo>
                    <a:pt x="1583965" y="3570059"/>
                    <a:pt x="1583965" y="3570059"/>
                    <a:pt x="1589047" y="3557701"/>
                  </a:cubicBezTo>
                  <a:close/>
                  <a:moveTo>
                    <a:pt x="2136940" y="3550412"/>
                  </a:moveTo>
                  <a:cubicBezTo>
                    <a:pt x="2136940" y="3550412"/>
                    <a:pt x="2136940" y="3550412"/>
                    <a:pt x="2123282" y="3677167"/>
                  </a:cubicBezTo>
                  <a:cubicBezTo>
                    <a:pt x="2123282" y="3677167"/>
                    <a:pt x="2123282" y="3677167"/>
                    <a:pt x="2216026" y="3687942"/>
                  </a:cubicBezTo>
                  <a:cubicBezTo>
                    <a:pt x="2216026" y="3687942"/>
                    <a:pt x="2216026" y="3687942"/>
                    <a:pt x="2216662" y="3688258"/>
                  </a:cubicBezTo>
                  <a:cubicBezTo>
                    <a:pt x="2216662" y="3688258"/>
                    <a:pt x="2232225" y="3698082"/>
                    <a:pt x="2248106" y="3707905"/>
                  </a:cubicBezTo>
                  <a:cubicBezTo>
                    <a:pt x="2256046" y="3712659"/>
                    <a:pt x="2264305" y="3717412"/>
                    <a:pt x="2270340" y="3721215"/>
                  </a:cubicBezTo>
                  <a:cubicBezTo>
                    <a:pt x="2273516" y="3723116"/>
                    <a:pt x="2276374" y="3724384"/>
                    <a:pt x="2278280" y="3725651"/>
                  </a:cubicBezTo>
                  <a:cubicBezTo>
                    <a:pt x="2278915" y="3725968"/>
                    <a:pt x="2279233" y="3725968"/>
                    <a:pt x="2279868" y="3726285"/>
                  </a:cubicBezTo>
                  <a:cubicBezTo>
                    <a:pt x="2287173" y="3705370"/>
                    <a:pt x="2295431" y="3681604"/>
                    <a:pt x="2303690" y="3657520"/>
                  </a:cubicBezTo>
                  <a:cubicBezTo>
                    <a:pt x="2310042" y="3639458"/>
                    <a:pt x="2316394" y="3621395"/>
                    <a:pt x="2322111" y="3604283"/>
                  </a:cubicBezTo>
                  <a:cubicBezTo>
                    <a:pt x="2322111" y="3604283"/>
                    <a:pt x="2322111" y="3604283"/>
                    <a:pt x="2243024" y="3602699"/>
                  </a:cubicBezTo>
                  <a:cubicBezTo>
                    <a:pt x="2243024" y="3602699"/>
                    <a:pt x="2243024" y="3602699"/>
                    <a:pt x="2136940" y="3550412"/>
                  </a:cubicBezTo>
                  <a:close/>
                  <a:moveTo>
                    <a:pt x="1568720" y="3545342"/>
                  </a:moveTo>
                  <a:cubicBezTo>
                    <a:pt x="1568720" y="3545342"/>
                    <a:pt x="1568720" y="3545342"/>
                    <a:pt x="1594447" y="3555482"/>
                  </a:cubicBezTo>
                  <a:cubicBezTo>
                    <a:pt x="1594447" y="3555482"/>
                    <a:pt x="1594447" y="3555482"/>
                    <a:pt x="1586189" y="3575446"/>
                  </a:cubicBezTo>
                  <a:cubicBezTo>
                    <a:pt x="1586189" y="3575446"/>
                    <a:pt x="1586189" y="3575446"/>
                    <a:pt x="1584283" y="3574813"/>
                  </a:cubicBezTo>
                  <a:cubicBezTo>
                    <a:pt x="1584283" y="3574813"/>
                    <a:pt x="1584283" y="3574813"/>
                    <a:pt x="1560779" y="3565306"/>
                  </a:cubicBezTo>
                  <a:close/>
                  <a:moveTo>
                    <a:pt x="889651" y="3538054"/>
                  </a:moveTo>
                  <a:cubicBezTo>
                    <a:pt x="877899" y="3538054"/>
                    <a:pt x="855983" y="3547560"/>
                    <a:pt x="834703" y="3583685"/>
                  </a:cubicBezTo>
                  <a:cubicBezTo>
                    <a:pt x="833432" y="3587171"/>
                    <a:pt x="832797" y="3590974"/>
                    <a:pt x="832797" y="3594776"/>
                  </a:cubicBezTo>
                  <a:cubicBezTo>
                    <a:pt x="832797" y="3602382"/>
                    <a:pt x="835020" y="3609036"/>
                    <a:pt x="835020" y="3613473"/>
                  </a:cubicBezTo>
                  <a:cubicBezTo>
                    <a:pt x="835020" y="3614424"/>
                    <a:pt x="835020" y="3615057"/>
                    <a:pt x="834703" y="3615691"/>
                  </a:cubicBezTo>
                  <a:cubicBezTo>
                    <a:pt x="833432" y="3619811"/>
                    <a:pt x="836926" y="3649598"/>
                    <a:pt x="818504" y="3666393"/>
                  </a:cubicBezTo>
                  <a:cubicBezTo>
                    <a:pt x="814057" y="3670513"/>
                    <a:pt x="811834" y="3673048"/>
                    <a:pt x="810246" y="3674632"/>
                  </a:cubicBezTo>
                  <a:cubicBezTo>
                    <a:pt x="815645" y="3673998"/>
                    <a:pt x="828033" y="3672097"/>
                    <a:pt x="841690" y="3666393"/>
                  </a:cubicBezTo>
                  <a:cubicBezTo>
                    <a:pt x="860112" y="3658471"/>
                    <a:pt x="880122" y="3651816"/>
                    <a:pt x="883616" y="3630585"/>
                  </a:cubicBezTo>
                  <a:cubicBezTo>
                    <a:pt x="883616" y="3630585"/>
                    <a:pt x="883298" y="3623930"/>
                    <a:pt x="883298" y="3616008"/>
                  </a:cubicBezTo>
                  <a:cubicBezTo>
                    <a:pt x="883298" y="3608403"/>
                    <a:pt x="883616" y="3599530"/>
                    <a:pt x="885204" y="3592875"/>
                  </a:cubicBezTo>
                  <a:cubicBezTo>
                    <a:pt x="889015" y="3579883"/>
                    <a:pt x="902673" y="3568158"/>
                    <a:pt x="902355" y="3556750"/>
                  </a:cubicBezTo>
                  <a:cubicBezTo>
                    <a:pt x="902355" y="3556433"/>
                    <a:pt x="902355" y="3556433"/>
                    <a:pt x="902355" y="3556433"/>
                  </a:cubicBezTo>
                  <a:cubicBezTo>
                    <a:pt x="901720" y="3543758"/>
                    <a:pt x="900132" y="3542173"/>
                    <a:pt x="896321" y="3539638"/>
                  </a:cubicBezTo>
                  <a:cubicBezTo>
                    <a:pt x="895050" y="3538687"/>
                    <a:pt x="892509" y="3538054"/>
                    <a:pt x="889651" y="3538054"/>
                  </a:cubicBezTo>
                  <a:close/>
                  <a:moveTo>
                    <a:pt x="2028632" y="3536469"/>
                  </a:moveTo>
                  <a:cubicBezTo>
                    <a:pt x="2028632" y="3536469"/>
                    <a:pt x="2028632" y="3536469"/>
                    <a:pt x="2017832" y="3589706"/>
                  </a:cubicBezTo>
                  <a:lnTo>
                    <a:pt x="2110895" y="3596678"/>
                  </a:lnTo>
                  <a:cubicBezTo>
                    <a:pt x="2110895" y="3596678"/>
                    <a:pt x="2110895" y="3596678"/>
                    <a:pt x="2116612" y="3543124"/>
                  </a:cubicBezTo>
                  <a:cubicBezTo>
                    <a:pt x="2107401" y="3542490"/>
                    <a:pt x="2066110" y="3539321"/>
                    <a:pt x="2028632" y="3536469"/>
                  </a:cubicBezTo>
                  <a:close/>
                  <a:moveTo>
                    <a:pt x="1039567" y="3535518"/>
                  </a:moveTo>
                  <a:cubicBezTo>
                    <a:pt x="1039567" y="3535518"/>
                    <a:pt x="1039567" y="3535518"/>
                    <a:pt x="1021462" y="3570693"/>
                  </a:cubicBezTo>
                  <a:cubicBezTo>
                    <a:pt x="1021462" y="3570693"/>
                    <a:pt x="1021462" y="3570693"/>
                    <a:pt x="1091656" y="3607135"/>
                  </a:cubicBezTo>
                  <a:cubicBezTo>
                    <a:pt x="1091656" y="3607135"/>
                    <a:pt x="1091656" y="3607135"/>
                    <a:pt x="1101502" y="3588122"/>
                  </a:cubicBezTo>
                  <a:cubicBezTo>
                    <a:pt x="1101502" y="3588122"/>
                    <a:pt x="1101502" y="3588122"/>
                    <a:pt x="1103726" y="3584319"/>
                  </a:cubicBezTo>
                  <a:cubicBezTo>
                    <a:pt x="1103726" y="3584319"/>
                    <a:pt x="1103726" y="3584319"/>
                    <a:pt x="1107537" y="3586537"/>
                  </a:cubicBezTo>
                  <a:cubicBezTo>
                    <a:pt x="1107537" y="3586537"/>
                    <a:pt x="1107537" y="3586537"/>
                    <a:pt x="1111984" y="3588756"/>
                  </a:cubicBezTo>
                  <a:cubicBezTo>
                    <a:pt x="1118018" y="3577348"/>
                    <a:pt x="1123736" y="3565623"/>
                    <a:pt x="1126594" y="3559919"/>
                  </a:cubicBezTo>
                  <a:cubicBezTo>
                    <a:pt x="1121512" y="3557701"/>
                    <a:pt x="1111666" y="3552630"/>
                    <a:pt x="1091021" y="3542173"/>
                  </a:cubicBezTo>
                  <a:cubicBezTo>
                    <a:pt x="1091021" y="3542173"/>
                    <a:pt x="1091021" y="3542173"/>
                    <a:pt x="1084351" y="3553581"/>
                  </a:cubicBezTo>
                  <a:lnTo>
                    <a:pt x="1082445" y="3557384"/>
                  </a:lnTo>
                  <a:cubicBezTo>
                    <a:pt x="1082445" y="3557384"/>
                    <a:pt x="1082445" y="3557384"/>
                    <a:pt x="1078634" y="3555482"/>
                  </a:cubicBezTo>
                  <a:cubicBezTo>
                    <a:pt x="1078634" y="3555482"/>
                    <a:pt x="1078634" y="3555482"/>
                    <a:pt x="1039567" y="3535518"/>
                  </a:cubicBezTo>
                  <a:close/>
                  <a:moveTo>
                    <a:pt x="889651" y="3535518"/>
                  </a:moveTo>
                  <a:cubicBezTo>
                    <a:pt x="893144" y="3535518"/>
                    <a:pt x="895685" y="3536152"/>
                    <a:pt x="897909" y="3537420"/>
                  </a:cubicBezTo>
                  <a:cubicBezTo>
                    <a:pt x="902038" y="3540272"/>
                    <a:pt x="904579" y="3543441"/>
                    <a:pt x="904896" y="3556116"/>
                  </a:cubicBezTo>
                  <a:cubicBezTo>
                    <a:pt x="904896" y="3556433"/>
                    <a:pt x="904896" y="3556433"/>
                    <a:pt x="904896" y="3556750"/>
                  </a:cubicBezTo>
                  <a:cubicBezTo>
                    <a:pt x="904896" y="3570059"/>
                    <a:pt x="891239" y="3581467"/>
                    <a:pt x="887745" y="3593826"/>
                  </a:cubicBezTo>
                  <a:cubicBezTo>
                    <a:pt x="886157" y="3599530"/>
                    <a:pt x="885839" y="3608403"/>
                    <a:pt x="885839" y="3616008"/>
                  </a:cubicBezTo>
                  <a:cubicBezTo>
                    <a:pt x="885839" y="3624247"/>
                    <a:pt x="886157" y="3630585"/>
                    <a:pt x="886157" y="3630585"/>
                  </a:cubicBezTo>
                  <a:cubicBezTo>
                    <a:pt x="882345" y="3654035"/>
                    <a:pt x="860747" y="3661006"/>
                    <a:pt x="842643" y="3668611"/>
                  </a:cubicBezTo>
                  <a:cubicBezTo>
                    <a:pt x="824221" y="3676534"/>
                    <a:pt x="807705" y="3677484"/>
                    <a:pt x="807705" y="3677484"/>
                  </a:cubicBezTo>
                  <a:cubicBezTo>
                    <a:pt x="807705" y="3677484"/>
                    <a:pt x="807705" y="3677484"/>
                    <a:pt x="805482" y="3677484"/>
                  </a:cubicBezTo>
                  <a:cubicBezTo>
                    <a:pt x="805482" y="3677484"/>
                    <a:pt x="805482" y="3677484"/>
                    <a:pt x="806434" y="3675583"/>
                  </a:cubicBezTo>
                  <a:cubicBezTo>
                    <a:pt x="806434" y="3675266"/>
                    <a:pt x="807705" y="3673048"/>
                    <a:pt x="816916" y="3664492"/>
                  </a:cubicBezTo>
                  <a:cubicBezTo>
                    <a:pt x="833750" y="3648647"/>
                    <a:pt x="830573" y="3620761"/>
                    <a:pt x="832162" y="3615057"/>
                  </a:cubicBezTo>
                  <a:cubicBezTo>
                    <a:pt x="832162" y="3614740"/>
                    <a:pt x="832479" y="3614107"/>
                    <a:pt x="832479" y="3613473"/>
                  </a:cubicBezTo>
                  <a:cubicBezTo>
                    <a:pt x="832479" y="3609987"/>
                    <a:pt x="830256" y="3602699"/>
                    <a:pt x="830256" y="3594776"/>
                  </a:cubicBezTo>
                  <a:cubicBezTo>
                    <a:pt x="830256" y="3590974"/>
                    <a:pt x="830891" y="3586537"/>
                    <a:pt x="832479" y="3582735"/>
                  </a:cubicBezTo>
                  <a:cubicBezTo>
                    <a:pt x="854077" y="3545659"/>
                    <a:pt x="876628" y="3535518"/>
                    <a:pt x="889651" y="3535518"/>
                  </a:cubicBezTo>
                  <a:close/>
                  <a:moveTo>
                    <a:pt x="1603022" y="3533934"/>
                  </a:moveTo>
                  <a:cubicBezTo>
                    <a:pt x="1575390" y="3537737"/>
                    <a:pt x="1488362" y="3549778"/>
                    <a:pt x="1468352" y="3551997"/>
                  </a:cubicBezTo>
                  <a:cubicBezTo>
                    <a:pt x="1475975" y="3562137"/>
                    <a:pt x="1487727" y="3577665"/>
                    <a:pt x="1501067" y="3595410"/>
                  </a:cubicBezTo>
                  <a:lnTo>
                    <a:pt x="1608422" y="3578615"/>
                  </a:lnTo>
                  <a:cubicBezTo>
                    <a:pt x="1606834" y="3564989"/>
                    <a:pt x="1604928" y="3549778"/>
                    <a:pt x="1603022" y="3533934"/>
                  </a:cubicBezTo>
                  <a:close/>
                  <a:moveTo>
                    <a:pt x="2351014" y="3532983"/>
                  </a:moveTo>
                  <a:cubicBezTo>
                    <a:pt x="2350697" y="3533617"/>
                    <a:pt x="2350697" y="3534251"/>
                    <a:pt x="2350380" y="3534885"/>
                  </a:cubicBezTo>
                  <a:cubicBezTo>
                    <a:pt x="2345615" y="3549462"/>
                    <a:pt x="2337040" y="3574813"/>
                    <a:pt x="2326876" y="3604283"/>
                  </a:cubicBezTo>
                  <a:cubicBezTo>
                    <a:pt x="2326876" y="3604283"/>
                    <a:pt x="2326876" y="3604283"/>
                    <a:pt x="2326876" y="3604600"/>
                  </a:cubicBezTo>
                  <a:cubicBezTo>
                    <a:pt x="2326876" y="3604600"/>
                    <a:pt x="2326876" y="3604600"/>
                    <a:pt x="2326558" y="3604600"/>
                  </a:cubicBezTo>
                  <a:cubicBezTo>
                    <a:pt x="2325288" y="3608403"/>
                    <a:pt x="2324017" y="3612522"/>
                    <a:pt x="2322746" y="3616325"/>
                  </a:cubicBezTo>
                  <a:cubicBezTo>
                    <a:pt x="2322746" y="3616325"/>
                    <a:pt x="2322746" y="3616325"/>
                    <a:pt x="2374836" y="3666393"/>
                  </a:cubicBezTo>
                  <a:cubicBezTo>
                    <a:pt x="2374836" y="3666393"/>
                    <a:pt x="2374836" y="3666393"/>
                    <a:pt x="2471392" y="3672414"/>
                  </a:cubicBezTo>
                  <a:lnTo>
                    <a:pt x="2506966" y="3703469"/>
                  </a:lnTo>
                  <a:cubicBezTo>
                    <a:pt x="2506966" y="3703469"/>
                    <a:pt x="2506966" y="3703469"/>
                    <a:pt x="2543809" y="3627733"/>
                  </a:cubicBezTo>
                  <a:cubicBezTo>
                    <a:pt x="2536822" y="3624247"/>
                    <a:pt x="2525070" y="3617909"/>
                    <a:pt x="2507283" y="3609036"/>
                  </a:cubicBezTo>
                  <a:cubicBezTo>
                    <a:pt x="2477109" y="3593826"/>
                    <a:pt x="2431054" y="3571010"/>
                    <a:pt x="2366260" y="3539955"/>
                  </a:cubicBezTo>
                  <a:cubicBezTo>
                    <a:pt x="2361178" y="3537420"/>
                    <a:pt x="2356096" y="3535202"/>
                    <a:pt x="2351014" y="3532983"/>
                  </a:cubicBezTo>
                  <a:close/>
                  <a:moveTo>
                    <a:pt x="1981624" y="3532983"/>
                  </a:moveTo>
                  <a:cubicBezTo>
                    <a:pt x="1981624" y="3532983"/>
                    <a:pt x="1981624" y="3532983"/>
                    <a:pt x="1970507" y="3585904"/>
                  </a:cubicBezTo>
                  <a:cubicBezTo>
                    <a:pt x="1970507" y="3585904"/>
                    <a:pt x="1970507" y="3585904"/>
                    <a:pt x="2013703" y="3589389"/>
                  </a:cubicBezTo>
                  <a:cubicBezTo>
                    <a:pt x="2013703" y="3589389"/>
                    <a:pt x="2013703" y="3589389"/>
                    <a:pt x="2024502" y="3536152"/>
                  </a:cubicBezTo>
                  <a:cubicBezTo>
                    <a:pt x="2008304" y="3534885"/>
                    <a:pt x="1993058" y="3533617"/>
                    <a:pt x="1981624" y="3532983"/>
                  </a:cubicBezTo>
                  <a:close/>
                  <a:moveTo>
                    <a:pt x="1964155" y="3531399"/>
                  </a:moveTo>
                  <a:cubicBezTo>
                    <a:pt x="1960979" y="3548194"/>
                    <a:pt x="1957485" y="3566573"/>
                    <a:pt x="1953991" y="3584636"/>
                  </a:cubicBezTo>
                  <a:cubicBezTo>
                    <a:pt x="1953991" y="3584636"/>
                    <a:pt x="1953991" y="3584636"/>
                    <a:pt x="1966378" y="3585587"/>
                  </a:cubicBezTo>
                  <a:lnTo>
                    <a:pt x="1977495" y="3532350"/>
                  </a:lnTo>
                  <a:cubicBezTo>
                    <a:pt x="1971142" y="3532033"/>
                    <a:pt x="1966378" y="3531716"/>
                    <a:pt x="1964155" y="3531399"/>
                  </a:cubicBezTo>
                  <a:close/>
                  <a:moveTo>
                    <a:pt x="1775172" y="3531399"/>
                  </a:moveTo>
                  <a:cubicBezTo>
                    <a:pt x="1775172" y="3531399"/>
                    <a:pt x="1775172" y="3531399"/>
                    <a:pt x="1625891" y="3550095"/>
                  </a:cubicBezTo>
                  <a:cubicBezTo>
                    <a:pt x="1632243" y="3601748"/>
                    <a:pt x="1637325" y="3641676"/>
                    <a:pt x="1639231" y="3651183"/>
                  </a:cubicBezTo>
                  <a:cubicBezTo>
                    <a:pt x="1641137" y="3660055"/>
                    <a:pt x="1641772" y="3668928"/>
                    <a:pt x="1641772" y="3678118"/>
                  </a:cubicBezTo>
                  <a:cubicBezTo>
                    <a:pt x="1641772" y="3679069"/>
                    <a:pt x="1641772" y="3680019"/>
                    <a:pt x="1641772" y="3680970"/>
                  </a:cubicBezTo>
                  <a:lnTo>
                    <a:pt x="1819003" y="3621395"/>
                  </a:lnTo>
                  <a:cubicBezTo>
                    <a:pt x="1819003" y="3621395"/>
                    <a:pt x="1819003" y="3621395"/>
                    <a:pt x="1819321" y="3621078"/>
                  </a:cubicBezTo>
                  <a:cubicBezTo>
                    <a:pt x="1819321" y="3621078"/>
                    <a:pt x="1845048" y="3619811"/>
                    <a:pt x="1857435" y="3618860"/>
                  </a:cubicBezTo>
                  <a:cubicBezTo>
                    <a:pt x="1857435" y="3618860"/>
                    <a:pt x="1857435" y="3618860"/>
                    <a:pt x="1863788" y="3538370"/>
                  </a:cubicBezTo>
                  <a:cubicBezTo>
                    <a:pt x="1863788" y="3538370"/>
                    <a:pt x="1863788" y="3538370"/>
                    <a:pt x="1775172" y="3531399"/>
                  </a:cubicBezTo>
                  <a:close/>
                  <a:moveTo>
                    <a:pt x="1037661" y="3529498"/>
                  </a:moveTo>
                  <a:lnTo>
                    <a:pt x="1080539" y="3551363"/>
                  </a:lnTo>
                  <a:cubicBezTo>
                    <a:pt x="1080539" y="3551363"/>
                    <a:pt x="1080539" y="3551363"/>
                    <a:pt x="1089115" y="3536152"/>
                  </a:cubicBezTo>
                  <a:cubicBezTo>
                    <a:pt x="1089115" y="3536152"/>
                    <a:pt x="1131676" y="3558017"/>
                    <a:pt x="1132311" y="3557701"/>
                  </a:cubicBezTo>
                  <a:cubicBezTo>
                    <a:pt x="1132947" y="3557701"/>
                    <a:pt x="1113889" y="3594776"/>
                    <a:pt x="1113889" y="3594776"/>
                  </a:cubicBezTo>
                  <a:cubicBezTo>
                    <a:pt x="1113889" y="3594776"/>
                    <a:pt x="1113889" y="3594776"/>
                    <a:pt x="1105631" y="3590340"/>
                  </a:cubicBezTo>
                  <a:cubicBezTo>
                    <a:pt x="1105631" y="3590340"/>
                    <a:pt x="1105631" y="3590340"/>
                    <a:pt x="1093562" y="3613156"/>
                  </a:cubicBezTo>
                  <a:cubicBezTo>
                    <a:pt x="1093562" y="3613156"/>
                    <a:pt x="1093562" y="3613156"/>
                    <a:pt x="1015428" y="3572594"/>
                  </a:cubicBezTo>
                  <a:cubicBezTo>
                    <a:pt x="1015428" y="3572594"/>
                    <a:pt x="1015428" y="3572594"/>
                    <a:pt x="1037661" y="3529498"/>
                  </a:cubicBezTo>
                  <a:close/>
                  <a:moveTo>
                    <a:pt x="2646082" y="3528547"/>
                  </a:moveTo>
                  <a:cubicBezTo>
                    <a:pt x="2646082" y="3528547"/>
                    <a:pt x="2646082" y="3528547"/>
                    <a:pt x="2646082" y="3560869"/>
                  </a:cubicBezTo>
                  <a:cubicBezTo>
                    <a:pt x="2646082" y="3560869"/>
                    <a:pt x="2646082" y="3560869"/>
                    <a:pt x="2666728" y="3560869"/>
                  </a:cubicBezTo>
                  <a:cubicBezTo>
                    <a:pt x="2666728" y="3560869"/>
                    <a:pt x="2666728" y="3560869"/>
                    <a:pt x="2666728" y="3598896"/>
                  </a:cubicBezTo>
                  <a:cubicBezTo>
                    <a:pt x="2666728" y="3598896"/>
                    <a:pt x="2666728" y="3598896"/>
                    <a:pt x="2646400" y="3598896"/>
                  </a:cubicBezTo>
                  <a:cubicBezTo>
                    <a:pt x="2646400" y="3598896"/>
                    <a:pt x="2646400" y="3598896"/>
                    <a:pt x="2646400" y="3630902"/>
                  </a:cubicBezTo>
                  <a:cubicBezTo>
                    <a:pt x="2646400" y="3630902"/>
                    <a:pt x="2646400" y="3630902"/>
                    <a:pt x="2809974" y="3630902"/>
                  </a:cubicBezTo>
                  <a:cubicBezTo>
                    <a:pt x="2809974" y="3630902"/>
                    <a:pt x="2809974" y="3630902"/>
                    <a:pt x="2809974" y="3598579"/>
                  </a:cubicBezTo>
                  <a:lnTo>
                    <a:pt x="2789328" y="3598579"/>
                  </a:lnTo>
                  <a:cubicBezTo>
                    <a:pt x="2789328" y="3598579"/>
                    <a:pt x="2789328" y="3598579"/>
                    <a:pt x="2789328" y="3559919"/>
                  </a:cubicBezTo>
                  <a:cubicBezTo>
                    <a:pt x="2789328" y="3559919"/>
                    <a:pt x="2789328" y="3559919"/>
                    <a:pt x="2809974" y="3559919"/>
                  </a:cubicBezTo>
                  <a:cubicBezTo>
                    <a:pt x="2809974" y="3559919"/>
                    <a:pt x="2809974" y="3559919"/>
                    <a:pt x="2809656" y="3528547"/>
                  </a:cubicBezTo>
                  <a:cubicBezTo>
                    <a:pt x="2809656" y="3528547"/>
                    <a:pt x="2809656" y="3528547"/>
                    <a:pt x="2646082" y="3528547"/>
                  </a:cubicBezTo>
                  <a:close/>
                  <a:moveTo>
                    <a:pt x="399565" y="3526012"/>
                  </a:moveTo>
                  <a:cubicBezTo>
                    <a:pt x="396706" y="3528230"/>
                    <a:pt x="393848" y="3530448"/>
                    <a:pt x="390989" y="3532983"/>
                  </a:cubicBezTo>
                  <a:cubicBezTo>
                    <a:pt x="383684" y="3539321"/>
                    <a:pt x="376696" y="3547243"/>
                    <a:pt x="370661" y="3554215"/>
                  </a:cubicBezTo>
                  <a:cubicBezTo>
                    <a:pt x="362721" y="3563721"/>
                    <a:pt x="353510" y="3576714"/>
                    <a:pt x="346840" y="3589073"/>
                  </a:cubicBezTo>
                  <a:cubicBezTo>
                    <a:pt x="342393" y="3597312"/>
                    <a:pt x="339217" y="3605551"/>
                    <a:pt x="336994" y="3611572"/>
                  </a:cubicBezTo>
                  <a:cubicBezTo>
                    <a:pt x="336041" y="3613790"/>
                    <a:pt x="335723" y="3615374"/>
                    <a:pt x="335088" y="3616642"/>
                  </a:cubicBezTo>
                  <a:cubicBezTo>
                    <a:pt x="352240" y="3629951"/>
                    <a:pt x="372250" y="3647380"/>
                    <a:pt x="383684" y="3659739"/>
                  </a:cubicBezTo>
                  <a:cubicBezTo>
                    <a:pt x="391942" y="3668611"/>
                    <a:pt x="400518" y="3680653"/>
                    <a:pt x="408140" y="3692695"/>
                  </a:cubicBezTo>
                  <a:cubicBezTo>
                    <a:pt x="408140" y="3692695"/>
                    <a:pt x="408140" y="3692695"/>
                    <a:pt x="563138" y="3672097"/>
                  </a:cubicBezTo>
                  <a:cubicBezTo>
                    <a:pt x="563138" y="3672097"/>
                    <a:pt x="563138" y="3672097"/>
                    <a:pt x="531377" y="3635972"/>
                  </a:cubicBezTo>
                  <a:cubicBezTo>
                    <a:pt x="511367" y="3648647"/>
                    <a:pt x="488816" y="3662591"/>
                    <a:pt x="483416" y="3665759"/>
                  </a:cubicBezTo>
                  <a:cubicBezTo>
                    <a:pt x="479287" y="3667978"/>
                    <a:pt x="472935" y="3668611"/>
                    <a:pt x="464994" y="3668611"/>
                  </a:cubicBezTo>
                  <a:cubicBezTo>
                    <a:pt x="447843" y="3668611"/>
                    <a:pt x="424339" y="3664492"/>
                    <a:pt x="412587" y="3653718"/>
                  </a:cubicBezTo>
                  <a:cubicBezTo>
                    <a:pt x="408458" y="3649281"/>
                    <a:pt x="406235" y="3644528"/>
                    <a:pt x="406552" y="3639775"/>
                  </a:cubicBezTo>
                  <a:cubicBezTo>
                    <a:pt x="406870" y="3626782"/>
                    <a:pt x="418622" y="3616642"/>
                    <a:pt x="422116" y="3608720"/>
                  </a:cubicBezTo>
                  <a:cubicBezTo>
                    <a:pt x="424974" y="3603332"/>
                    <a:pt x="426880" y="3597945"/>
                    <a:pt x="426880" y="3592558"/>
                  </a:cubicBezTo>
                  <a:cubicBezTo>
                    <a:pt x="426880" y="3586854"/>
                    <a:pt x="424657" y="3580833"/>
                    <a:pt x="417669" y="3573228"/>
                  </a:cubicBezTo>
                  <a:cubicBezTo>
                    <a:pt x="406235" y="3561503"/>
                    <a:pt x="404329" y="3548511"/>
                    <a:pt x="404647" y="3541856"/>
                  </a:cubicBezTo>
                  <a:cubicBezTo>
                    <a:pt x="404647" y="3540272"/>
                    <a:pt x="404647" y="3539004"/>
                    <a:pt x="404647" y="3538370"/>
                  </a:cubicBezTo>
                  <a:cubicBezTo>
                    <a:pt x="404011" y="3536469"/>
                    <a:pt x="402423" y="3531716"/>
                    <a:pt x="399565" y="3526012"/>
                  </a:cubicBezTo>
                  <a:close/>
                  <a:moveTo>
                    <a:pt x="2641318" y="3524110"/>
                  </a:moveTo>
                  <a:cubicBezTo>
                    <a:pt x="2641318" y="3524110"/>
                    <a:pt x="2641318" y="3524110"/>
                    <a:pt x="2814103" y="3524110"/>
                  </a:cubicBezTo>
                  <a:cubicBezTo>
                    <a:pt x="2814103" y="3524110"/>
                    <a:pt x="2814103" y="3524110"/>
                    <a:pt x="2814103" y="3526329"/>
                  </a:cubicBezTo>
                  <a:cubicBezTo>
                    <a:pt x="2814103" y="3526329"/>
                    <a:pt x="2814103" y="3526329"/>
                    <a:pt x="2814738" y="3564672"/>
                  </a:cubicBezTo>
                  <a:lnTo>
                    <a:pt x="2793775" y="3564672"/>
                  </a:lnTo>
                  <a:cubicBezTo>
                    <a:pt x="2793775" y="3564672"/>
                    <a:pt x="2793775" y="3564672"/>
                    <a:pt x="2793775" y="3593826"/>
                  </a:cubicBezTo>
                  <a:cubicBezTo>
                    <a:pt x="2793775" y="3593826"/>
                    <a:pt x="2793775" y="3593826"/>
                    <a:pt x="2814420" y="3593826"/>
                  </a:cubicBezTo>
                  <a:cubicBezTo>
                    <a:pt x="2814420" y="3593826"/>
                    <a:pt x="2814420" y="3593826"/>
                    <a:pt x="2814420" y="3635655"/>
                  </a:cubicBezTo>
                  <a:cubicBezTo>
                    <a:pt x="2814420" y="3635655"/>
                    <a:pt x="2814420" y="3635655"/>
                    <a:pt x="2641954" y="3635655"/>
                  </a:cubicBezTo>
                  <a:cubicBezTo>
                    <a:pt x="2641954" y="3635655"/>
                    <a:pt x="2641954" y="3635655"/>
                    <a:pt x="2641954" y="3594143"/>
                  </a:cubicBezTo>
                  <a:cubicBezTo>
                    <a:pt x="2641954" y="3594143"/>
                    <a:pt x="2641954" y="3594143"/>
                    <a:pt x="2661964" y="3594143"/>
                  </a:cubicBezTo>
                  <a:cubicBezTo>
                    <a:pt x="2661964" y="3594143"/>
                    <a:pt x="2661964" y="3594143"/>
                    <a:pt x="2661964" y="3565306"/>
                  </a:cubicBezTo>
                  <a:cubicBezTo>
                    <a:pt x="2661964" y="3565306"/>
                    <a:pt x="2661964" y="3565306"/>
                    <a:pt x="2641318" y="3565306"/>
                  </a:cubicBezTo>
                  <a:cubicBezTo>
                    <a:pt x="2641318" y="3565306"/>
                    <a:pt x="2641318" y="3565306"/>
                    <a:pt x="2641318" y="3524110"/>
                  </a:cubicBezTo>
                  <a:close/>
                  <a:moveTo>
                    <a:pt x="577114" y="3520308"/>
                  </a:moveTo>
                  <a:cubicBezTo>
                    <a:pt x="577114" y="3520308"/>
                    <a:pt x="577114" y="3520308"/>
                    <a:pt x="549481" y="3530131"/>
                  </a:cubicBezTo>
                  <a:cubicBezTo>
                    <a:pt x="549481" y="3530131"/>
                    <a:pt x="549481" y="3530131"/>
                    <a:pt x="591724" y="3575129"/>
                  </a:cubicBezTo>
                  <a:lnTo>
                    <a:pt x="612052" y="3556433"/>
                  </a:lnTo>
                  <a:cubicBezTo>
                    <a:pt x="612052" y="3556433"/>
                    <a:pt x="612052" y="3556433"/>
                    <a:pt x="577114" y="3520308"/>
                  </a:cubicBezTo>
                  <a:close/>
                  <a:moveTo>
                    <a:pt x="1338128" y="3517139"/>
                  </a:moveTo>
                  <a:cubicBezTo>
                    <a:pt x="1338128" y="3517139"/>
                    <a:pt x="1338128" y="3517139"/>
                    <a:pt x="1413404" y="3692378"/>
                  </a:cubicBezTo>
                  <a:cubicBezTo>
                    <a:pt x="1413404" y="3692378"/>
                    <a:pt x="1413404" y="3692378"/>
                    <a:pt x="1564908" y="3803606"/>
                  </a:cubicBezTo>
                  <a:cubicBezTo>
                    <a:pt x="1564908" y="3803606"/>
                    <a:pt x="1564908" y="3803606"/>
                    <a:pt x="1582060" y="3773818"/>
                  </a:cubicBezTo>
                  <a:cubicBezTo>
                    <a:pt x="1582060" y="3773818"/>
                    <a:pt x="1582060" y="3773818"/>
                    <a:pt x="1421662" y="3640091"/>
                  </a:cubicBezTo>
                  <a:cubicBezTo>
                    <a:pt x="1421662" y="3640091"/>
                    <a:pt x="1421662" y="3640091"/>
                    <a:pt x="1387995" y="3553581"/>
                  </a:cubicBezTo>
                  <a:cubicBezTo>
                    <a:pt x="1387995" y="3553581"/>
                    <a:pt x="1387995" y="3553581"/>
                    <a:pt x="1429603" y="3558334"/>
                  </a:cubicBezTo>
                  <a:cubicBezTo>
                    <a:pt x="1429603" y="3558334"/>
                    <a:pt x="1429603" y="3558334"/>
                    <a:pt x="1420392" y="3534568"/>
                  </a:cubicBezTo>
                  <a:close/>
                  <a:moveTo>
                    <a:pt x="1254912" y="3515238"/>
                  </a:moveTo>
                  <a:cubicBezTo>
                    <a:pt x="1254912" y="3515238"/>
                    <a:pt x="1254912" y="3515238"/>
                    <a:pt x="1153592" y="3550095"/>
                  </a:cubicBezTo>
                  <a:cubicBezTo>
                    <a:pt x="1153592" y="3550095"/>
                    <a:pt x="1153592" y="3550095"/>
                    <a:pt x="1344481" y="3799169"/>
                  </a:cubicBezTo>
                  <a:cubicBezTo>
                    <a:pt x="1344481" y="3799169"/>
                    <a:pt x="1344481" y="3799169"/>
                    <a:pt x="1364491" y="3771283"/>
                  </a:cubicBezTo>
                  <a:cubicBezTo>
                    <a:pt x="1364491" y="3771283"/>
                    <a:pt x="1364491" y="3771283"/>
                    <a:pt x="1367985" y="3686991"/>
                  </a:cubicBezTo>
                  <a:lnTo>
                    <a:pt x="1254277" y="3515871"/>
                  </a:lnTo>
                  <a:cubicBezTo>
                    <a:pt x="1254277" y="3515871"/>
                    <a:pt x="1254277" y="3515871"/>
                    <a:pt x="1254912" y="3515238"/>
                  </a:cubicBezTo>
                  <a:close/>
                  <a:moveTo>
                    <a:pt x="578384" y="3515238"/>
                  </a:moveTo>
                  <a:cubicBezTo>
                    <a:pt x="578384" y="3515238"/>
                    <a:pt x="578384" y="3515238"/>
                    <a:pt x="618404" y="3556750"/>
                  </a:cubicBezTo>
                  <a:cubicBezTo>
                    <a:pt x="618404" y="3556750"/>
                    <a:pt x="618404" y="3556750"/>
                    <a:pt x="591724" y="3581150"/>
                  </a:cubicBezTo>
                  <a:cubicBezTo>
                    <a:pt x="591724" y="3581150"/>
                    <a:pt x="591724" y="3581150"/>
                    <a:pt x="541540" y="3528230"/>
                  </a:cubicBezTo>
                  <a:close/>
                  <a:moveTo>
                    <a:pt x="855348" y="3512386"/>
                  </a:moveTo>
                  <a:cubicBezTo>
                    <a:pt x="842325" y="3529181"/>
                    <a:pt x="831844" y="3544391"/>
                    <a:pt x="821680" y="3560236"/>
                  </a:cubicBezTo>
                  <a:cubicBezTo>
                    <a:pt x="812152" y="3575446"/>
                    <a:pt x="802623" y="3590657"/>
                    <a:pt x="791824" y="3611255"/>
                  </a:cubicBezTo>
                  <a:cubicBezTo>
                    <a:pt x="778802" y="3635655"/>
                    <a:pt x="766732" y="3661323"/>
                    <a:pt x="756886" y="3684456"/>
                  </a:cubicBezTo>
                  <a:cubicBezTo>
                    <a:pt x="765144" y="3682871"/>
                    <a:pt x="771814" y="3680970"/>
                    <a:pt x="774673" y="3678118"/>
                  </a:cubicBezTo>
                  <a:cubicBezTo>
                    <a:pt x="787377" y="3665759"/>
                    <a:pt x="797223" y="3648964"/>
                    <a:pt x="800082" y="3628367"/>
                  </a:cubicBezTo>
                  <a:cubicBezTo>
                    <a:pt x="803258" y="3605868"/>
                    <a:pt x="817233" y="3583369"/>
                    <a:pt x="817233" y="3583369"/>
                  </a:cubicBezTo>
                  <a:cubicBezTo>
                    <a:pt x="817233" y="3583369"/>
                    <a:pt x="817233" y="3583369"/>
                    <a:pt x="823903" y="3587171"/>
                  </a:cubicBezTo>
                  <a:cubicBezTo>
                    <a:pt x="823903" y="3587171"/>
                    <a:pt x="820727" y="3592558"/>
                    <a:pt x="816916" y="3600797"/>
                  </a:cubicBezTo>
                  <a:cubicBezTo>
                    <a:pt x="813422" y="3608720"/>
                    <a:pt x="809293" y="3619494"/>
                    <a:pt x="808023" y="3629634"/>
                  </a:cubicBezTo>
                  <a:cubicBezTo>
                    <a:pt x="804846" y="3650549"/>
                    <a:pt x="795000" y="3667978"/>
                    <a:pt x="782295" y="3681287"/>
                  </a:cubicBezTo>
                  <a:cubicBezTo>
                    <a:pt x="782295" y="3681287"/>
                    <a:pt x="782295" y="3681287"/>
                    <a:pt x="782613" y="3681287"/>
                  </a:cubicBezTo>
                  <a:cubicBezTo>
                    <a:pt x="782613" y="3681287"/>
                    <a:pt x="782613" y="3681287"/>
                    <a:pt x="782613" y="3681604"/>
                  </a:cubicBezTo>
                  <a:cubicBezTo>
                    <a:pt x="782613" y="3681921"/>
                    <a:pt x="782613" y="3684139"/>
                    <a:pt x="783884" y="3686040"/>
                  </a:cubicBezTo>
                  <a:cubicBezTo>
                    <a:pt x="785154" y="3687942"/>
                    <a:pt x="787377" y="3690160"/>
                    <a:pt x="793412" y="3690794"/>
                  </a:cubicBezTo>
                  <a:cubicBezTo>
                    <a:pt x="795953" y="3690794"/>
                    <a:pt x="798812" y="3691110"/>
                    <a:pt x="801670" y="3691110"/>
                  </a:cubicBezTo>
                  <a:cubicBezTo>
                    <a:pt x="816598" y="3691110"/>
                    <a:pt x="836926" y="3687942"/>
                    <a:pt x="841373" y="3683822"/>
                  </a:cubicBezTo>
                  <a:cubicBezTo>
                    <a:pt x="845502" y="3680653"/>
                    <a:pt x="852172" y="3673998"/>
                    <a:pt x="859159" y="3667978"/>
                  </a:cubicBezTo>
                  <a:cubicBezTo>
                    <a:pt x="866464" y="3661957"/>
                    <a:pt x="872817" y="3656253"/>
                    <a:pt x="878852" y="3654985"/>
                  </a:cubicBezTo>
                  <a:cubicBezTo>
                    <a:pt x="880440" y="3654668"/>
                    <a:pt x="882028" y="3654351"/>
                    <a:pt x="883933" y="3654035"/>
                  </a:cubicBezTo>
                  <a:cubicBezTo>
                    <a:pt x="883933" y="3654035"/>
                    <a:pt x="883933" y="3654035"/>
                    <a:pt x="900132" y="3611572"/>
                  </a:cubicBezTo>
                  <a:cubicBezTo>
                    <a:pt x="900132" y="3611572"/>
                    <a:pt x="900132" y="3611572"/>
                    <a:pt x="909661" y="3567841"/>
                  </a:cubicBezTo>
                  <a:cubicBezTo>
                    <a:pt x="909661" y="3563721"/>
                    <a:pt x="910296" y="3542173"/>
                    <a:pt x="910296" y="3532033"/>
                  </a:cubicBezTo>
                  <a:cubicBezTo>
                    <a:pt x="910296" y="3531082"/>
                    <a:pt x="910296" y="3530448"/>
                    <a:pt x="910296" y="3529814"/>
                  </a:cubicBezTo>
                  <a:cubicBezTo>
                    <a:pt x="909025" y="3529181"/>
                    <a:pt x="906802" y="3527913"/>
                    <a:pt x="902355" y="3526646"/>
                  </a:cubicBezTo>
                  <a:cubicBezTo>
                    <a:pt x="896321" y="3524744"/>
                    <a:pt x="882345" y="3520625"/>
                    <a:pt x="869958" y="3516822"/>
                  </a:cubicBezTo>
                  <a:cubicBezTo>
                    <a:pt x="864559" y="3515238"/>
                    <a:pt x="859477" y="3513653"/>
                    <a:pt x="855348" y="3512386"/>
                  </a:cubicBezTo>
                  <a:close/>
                  <a:moveTo>
                    <a:pt x="1330188" y="3510484"/>
                  </a:moveTo>
                  <a:cubicBezTo>
                    <a:pt x="1330188" y="3510484"/>
                    <a:pt x="1330188" y="3510484"/>
                    <a:pt x="1423885" y="3530448"/>
                  </a:cubicBezTo>
                  <a:cubicBezTo>
                    <a:pt x="1423885" y="3530448"/>
                    <a:pt x="1423885" y="3530448"/>
                    <a:pt x="1424203" y="3531716"/>
                  </a:cubicBezTo>
                  <a:cubicBezTo>
                    <a:pt x="1424203" y="3531716"/>
                    <a:pt x="1424203" y="3531716"/>
                    <a:pt x="1436908" y="3564038"/>
                  </a:cubicBezTo>
                  <a:cubicBezTo>
                    <a:pt x="1436908" y="3564038"/>
                    <a:pt x="1436908" y="3564038"/>
                    <a:pt x="1395300" y="3558968"/>
                  </a:cubicBezTo>
                  <a:cubicBezTo>
                    <a:pt x="1395300" y="3558968"/>
                    <a:pt x="1395300" y="3558968"/>
                    <a:pt x="1425791" y="3637239"/>
                  </a:cubicBezTo>
                  <a:cubicBezTo>
                    <a:pt x="1425791" y="3637239"/>
                    <a:pt x="1425791" y="3637239"/>
                    <a:pt x="1588094" y="3772867"/>
                  </a:cubicBezTo>
                  <a:cubicBezTo>
                    <a:pt x="1588094" y="3772867"/>
                    <a:pt x="1588094" y="3772867"/>
                    <a:pt x="1566179" y="3810577"/>
                  </a:cubicBezTo>
                  <a:lnTo>
                    <a:pt x="1409593" y="3695230"/>
                  </a:lnTo>
                  <a:cubicBezTo>
                    <a:pt x="1409593" y="3695230"/>
                    <a:pt x="1409593" y="3695230"/>
                    <a:pt x="1330188" y="3510484"/>
                  </a:cubicBezTo>
                  <a:close/>
                  <a:moveTo>
                    <a:pt x="675893" y="3510167"/>
                  </a:moveTo>
                  <a:lnTo>
                    <a:pt x="664776" y="3543124"/>
                  </a:lnTo>
                  <a:cubicBezTo>
                    <a:pt x="664776" y="3543124"/>
                    <a:pt x="664776" y="3543124"/>
                    <a:pt x="701303" y="3552947"/>
                  </a:cubicBezTo>
                  <a:cubicBezTo>
                    <a:pt x="701303" y="3552947"/>
                    <a:pt x="701303" y="3552947"/>
                    <a:pt x="707337" y="3530131"/>
                  </a:cubicBezTo>
                  <a:cubicBezTo>
                    <a:pt x="707337" y="3530131"/>
                    <a:pt x="707337" y="3530131"/>
                    <a:pt x="708290" y="3526646"/>
                  </a:cubicBezTo>
                  <a:cubicBezTo>
                    <a:pt x="708290" y="3526646"/>
                    <a:pt x="708290" y="3526646"/>
                    <a:pt x="711784" y="3526962"/>
                  </a:cubicBezTo>
                  <a:cubicBezTo>
                    <a:pt x="711784" y="3526962"/>
                    <a:pt x="711784" y="3526962"/>
                    <a:pt x="747357" y="3527596"/>
                  </a:cubicBezTo>
                  <a:cubicBezTo>
                    <a:pt x="747357" y="3527596"/>
                    <a:pt x="747357" y="3527596"/>
                    <a:pt x="754663" y="3511118"/>
                  </a:cubicBezTo>
                  <a:cubicBezTo>
                    <a:pt x="754663" y="3511118"/>
                    <a:pt x="754663" y="3511118"/>
                    <a:pt x="675893" y="3510167"/>
                  </a:cubicBezTo>
                  <a:close/>
                  <a:moveTo>
                    <a:pt x="421163" y="3509534"/>
                  </a:moveTo>
                  <a:cubicBezTo>
                    <a:pt x="419575" y="3510484"/>
                    <a:pt x="416716" y="3512703"/>
                    <a:pt x="412905" y="3515555"/>
                  </a:cubicBezTo>
                  <a:cubicBezTo>
                    <a:pt x="410681" y="3517139"/>
                    <a:pt x="408140" y="3519040"/>
                    <a:pt x="405599" y="3520942"/>
                  </a:cubicBezTo>
                  <a:cubicBezTo>
                    <a:pt x="410046" y="3529498"/>
                    <a:pt x="412269" y="3536786"/>
                    <a:pt x="412269" y="3536786"/>
                  </a:cubicBezTo>
                  <a:cubicBezTo>
                    <a:pt x="412269" y="3536786"/>
                    <a:pt x="412269" y="3536786"/>
                    <a:pt x="412587" y="3537737"/>
                  </a:cubicBezTo>
                  <a:cubicBezTo>
                    <a:pt x="412587" y="3537737"/>
                    <a:pt x="412587" y="3537737"/>
                    <a:pt x="412587" y="3538687"/>
                  </a:cubicBezTo>
                  <a:cubicBezTo>
                    <a:pt x="412587" y="3538687"/>
                    <a:pt x="412269" y="3539638"/>
                    <a:pt x="412269" y="3541856"/>
                  </a:cubicBezTo>
                  <a:cubicBezTo>
                    <a:pt x="412269" y="3547243"/>
                    <a:pt x="413540" y="3558017"/>
                    <a:pt x="423386" y="3567841"/>
                  </a:cubicBezTo>
                  <a:cubicBezTo>
                    <a:pt x="431327" y="3576397"/>
                    <a:pt x="434820" y="3584636"/>
                    <a:pt x="434820" y="3592558"/>
                  </a:cubicBezTo>
                  <a:cubicBezTo>
                    <a:pt x="434820" y="3599847"/>
                    <a:pt x="431962" y="3606184"/>
                    <a:pt x="429103" y="3612205"/>
                  </a:cubicBezTo>
                  <a:cubicBezTo>
                    <a:pt x="424021" y="3622029"/>
                    <a:pt x="413858" y="3632169"/>
                    <a:pt x="414175" y="3639775"/>
                  </a:cubicBezTo>
                  <a:cubicBezTo>
                    <a:pt x="414175" y="3642310"/>
                    <a:pt x="415128" y="3644845"/>
                    <a:pt x="418304" y="3648014"/>
                  </a:cubicBezTo>
                  <a:cubicBezTo>
                    <a:pt x="426245" y="3656253"/>
                    <a:pt x="449113" y="3661006"/>
                    <a:pt x="464994" y="3661006"/>
                  </a:cubicBezTo>
                  <a:cubicBezTo>
                    <a:pt x="471982" y="3661006"/>
                    <a:pt x="478017" y="3659739"/>
                    <a:pt x="479605" y="3658788"/>
                  </a:cubicBezTo>
                  <a:cubicBezTo>
                    <a:pt x="484369" y="3656253"/>
                    <a:pt x="506285" y="3642310"/>
                    <a:pt x="526295" y="3629951"/>
                  </a:cubicBezTo>
                  <a:cubicBezTo>
                    <a:pt x="526295" y="3629951"/>
                    <a:pt x="526295" y="3629951"/>
                    <a:pt x="421163" y="3509534"/>
                  </a:cubicBezTo>
                  <a:close/>
                  <a:moveTo>
                    <a:pt x="785472" y="3506365"/>
                  </a:moveTo>
                  <a:cubicBezTo>
                    <a:pt x="785472" y="3506365"/>
                    <a:pt x="785472" y="3506365"/>
                    <a:pt x="747675" y="3566257"/>
                  </a:cubicBezTo>
                  <a:cubicBezTo>
                    <a:pt x="747675" y="3566257"/>
                    <a:pt x="747675" y="3566257"/>
                    <a:pt x="742275" y="3590023"/>
                  </a:cubicBezTo>
                  <a:cubicBezTo>
                    <a:pt x="742275" y="3590023"/>
                    <a:pt x="742275" y="3590023"/>
                    <a:pt x="771179" y="3603649"/>
                  </a:cubicBezTo>
                  <a:cubicBezTo>
                    <a:pt x="771496" y="3602699"/>
                    <a:pt x="772132" y="3602065"/>
                    <a:pt x="772449" y="3601114"/>
                  </a:cubicBezTo>
                  <a:cubicBezTo>
                    <a:pt x="783566" y="3579883"/>
                    <a:pt x="793412" y="3564038"/>
                    <a:pt x="803258" y="3548511"/>
                  </a:cubicBezTo>
                  <a:cubicBezTo>
                    <a:pt x="811199" y="3535835"/>
                    <a:pt x="819774" y="3523477"/>
                    <a:pt x="829621" y="3510167"/>
                  </a:cubicBezTo>
                  <a:cubicBezTo>
                    <a:pt x="825492" y="3510167"/>
                    <a:pt x="821363" y="3510167"/>
                    <a:pt x="816916" y="3510167"/>
                  </a:cubicBezTo>
                  <a:cubicBezTo>
                    <a:pt x="801670" y="3510167"/>
                    <a:pt x="786742" y="3510167"/>
                    <a:pt x="785472" y="3510167"/>
                  </a:cubicBezTo>
                  <a:cubicBezTo>
                    <a:pt x="785472" y="3510167"/>
                    <a:pt x="785472" y="3510167"/>
                    <a:pt x="785472" y="3506365"/>
                  </a:cubicBezTo>
                  <a:close/>
                  <a:moveTo>
                    <a:pt x="2223967" y="3506048"/>
                  </a:moveTo>
                  <a:cubicBezTo>
                    <a:pt x="2223967" y="3506048"/>
                    <a:pt x="2223967" y="3506048"/>
                    <a:pt x="2219838" y="3519040"/>
                  </a:cubicBezTo>
                  <a:cubicBezTo>
                    <a:pt x="2219838" y="3519040"/>
                    <a:pt x="2219838" y="3519040"/>
                    <a:pt x="2205863" y="3514604"/>
                  </a:cubicBezTo>
                  <a:cubicBezTo>
                    <a:pt x="2205863" y="3514604"/>
                    <a:pt x="2205863" y="3514604"/>
                    <a:pt x="2199828" y="3532666"/>
                  </a:cubicBezTo>
                  <a:cubicBezTo>
                    <a:pt x="2199828" y="3532666"/>
                    <a:pt x="2199828" y="3532666"/>
                    <a:pt x="2255729" y="3550412"/>
                  </a:cubicBezTo>
                  <a:cubicBezTo>
                    <a:pt x="2255729" y="3550412"/>
                    <a:pt x="2255729" y="3550412"/>
                    <a:pt x="2261446" y="3532033"/>
                  </a:cubicBezTo>
                  <a:lnTo>
                    <a:pt x="2247471" y="3527596"/>
                  </a:lnTo>
                  <a:cubicBezTo>
                    <a:pt x="2247471" y="3527596"/>
                    <a:pt x="2247471" y="3527596"/>
                    <a:pt x="2251282" y="3514604"/>
                  </a:cubicBezTo>
                  <a:cubicBezTo>
                    <a:pt x="2251282" y="3514604"/>
                    <a:pt x="2251282" y="3514604"/>
                    <a:pt x="2223967" y="3506048"/>
                  </a:cubicBezTo>
                  <a:close/>
                  <a:moveTo>
                    <a:pt x="672717" y="3505731"/>
                  </a:moveTo>
                  <a:cubicBezTo>
                    <a:pt x="672717" y="3505731"/>
                    <a:pt x="672717" y="3505731"/>
                    <a:pt x="761333" y="3506682"/>
                  </a:cubicBezTo>
                  <a:cubicBezTo>
                    <a:pt x="761333" y="3506682"/>
                    <a:pt x="761333" y="3506682"/>
                    <a:pt x="750216" y="3532350"/>
                  </a:cubicBezTo>
                  <a:cubicBezTo>
                    <a:pt x="750216" y="3532350"/>
                    <a:pt x="750216" y="3532350"/>
                    <a:pt x="711466" y="3531399"/>
                  </a:cubicBezTo>
                  <a:cubicBezTo>
                    <a:pt x="711466" y="3531399"/>
                    <a:pt x="711466" y="3531399"/>
                    <a:pt x="704479" y="3558334"/>
                  </a:cubicBezTo>
                  <a:lnTo>
                    <a:pt x="659059" y="3546293"/>
                  </a:lnTo>
                  <a:cubicBezTo>
                    <a:pt x="659059" y="3546293"/>
                    <a:pt x="659059" y="3546293"/>
                    <a:pt x="672717" y="3505731"/>
                  </a:cubicBezTo>
                  <a:close/>
                  <a:moveTo>
                    <a:pt x="1566496" y="3503830"/>
                  </a:moveTo>
                  <a:cubicBezTo>
                    <a:pt x="1566496" y="3503830"/>
                    <a:pt x="1566496" y="3503830"/>
                    <a:pt x="1561414" y="3516188"/>
                  </a:cubicBezTo>
                  <a:lnTo>
                    <a:pt x="1579201" y="3523477"/>
                  </a:lnTo>
                  <a:cubicBezTo>
                    <a:pt x="1579201" y="3523477"/>
                    <a:pt x="1579201" y="3523477"/>
                    <a:pt x="1584283" y="3511118"/>
                  </a:cubicBezTo>
                  <a:cubicBezTo>
                    <a:pt x="1584283" y="3511118"/>
                    <a:pt x="1584283" y="3511118"/>
                    <a:pt x="1566496" y="3503830"/>
                  </a:cubicBezTo>
                  <a:close/>
                  <a:moveTo>
                    <a:pt x="2221426" y="3500978"/>
                  </a:moveTo>
                  <a:cubicBezTo>
                    <a:pt x="2221426" y="3500978"/>
                    <a:pt x="2221426" y="3500978"/>
                    <a:pt x="2256682" y="3512069"/>
                  </a:cubicBezTo>
                  <a:lnTo>
                    <a:pt x="2252553" y="3525061"/>
                  </a:lnTo>
                  <a:cubicBezTo>
                    <a:pt x="2252553" y="3525061"/>
                    <a:pt x="2252553" y="3525061"/>
                    <a:pt x="2266846" y="3529498"/>
                  </a:cubicBezTo>
                  <a:cubicBezTo>
                    <a:pt x="2266846" y="3529498"/>
                    <a:pt x="2266846" y="3529498"/>
                    <a:pt x="2258588" y="3555482"/>
                  </a:cubicBezTo>
                  <a:cubicBezTo>
                    <a:pt x="2258588" y="3555482"/>
                    <a:pt x="2258588" y="3555482"/>
                    <a:pt x="2194746" y="3535518"/>
                  </a:cubicBezTo>
                  <a:cubicBezTo>
                    <a:pt x="2194746" y="3535518"/>
                    <a:pt x="2194746" y="3535518"/>
                    <a:pt x="2195382" y="3533300"/>
                  </a:cubicBezTo>
                  <a:cubicBezTo>
                    <a:pt x="2195382" y="3533300"/>
                    <a:pt x="2195382" y="3533300"/>
                    <a:pt x="2203004" y="3509217"/>
                  </a:cubicBezTo>
                  <a:cubicBezTo>
                    <a:pt x="2203004" y="3509217"/>
                    <a:pt x="2203004" y="3509217"/>
                    <a:pt x="2217297" y="3513970"/>
                  </a:cubicBezTo>
                  <a:cubicBezTo>
                    <a:pt x="2217297" y="3513970"/>
                    <a:pt x="2217297" y="3513970"/>
                    <a:pt x="2221426" y="3500978"/>
                  </a:cubicBezTo>
                  <a:close/>
                  <a:moveTo>
                    <a:pt x="633015" y="3500661"/>
                  </a:moveTo>
                  <a:cubicBezTo>
                    <a:pt x="633015" y="3500661"/>
                    <a:pt x="633015" y="3500661"/>
                    <a:pt x="611734" y="3508583"/>
                  </a:cubicBezTo>
                  <a:cubicBezTo>
                    <a:pt x="611734" y="3508583"/>
                    <a:pt x="611734" y="3508583"/>
                    <a:pt x="627615" y="3525378"/>
                  </a:cubicBezTo>
                  <a:lnTo>
                    <a:pt x="635238" y="3506999"/>
                  </a:lnTo>
                  <a:cubicBezTo>
                    <a:pt x="635238" y="3506999"/>
                    <a:pt x="635238" y="3506999"/>
                    <a:pt x="633015" y="3500661"/>
                  </a:cubicBezTo>
                  <a:close/>
                  <a:moveTo>
                    <a:pt x="366850" y="3498759"/>
                  </a:moveTo>
                  <a:cubicBezTo>
                    <a:pt x="362721" y="3498759"/>
                    <a:pt x="358274" y="3499710"/>
                    <a:pt x="353192" y="3501928"/>
                  </a:cubicBezTo>
                  <a:cubicBezTo>
                    <a:pt x="313808" y="3520308"/>
                    <a:pt x="301738" y="3536786"/>
                    <a:pt x="301738" y="3550729"/>
                  </a:cubicBezTo>
                  <a:cubicBezTo>
                    <a:pt x="301738" y="3550729"/>
                    <a:pt x="301738" y="3550729"/>
                    <a:pt x="301738" y="3551046"/>
                  </a:cubicBezTo>
                  <a:cubicBezTo>
                    <a:pt x="301738" y="3555482"/>
                    <a:pt x="308091" y="3569109"/>
                    <a:pt x="315078" y="3584319"/>
                  </a:cubicBezTo>
                  <a:cubicBezTo>
                    <a:pt x="317937" y="3591291"/>
                    <a:pt x="321113" y="3598896"/>
                    <a:pt x="323654" y="3606501"/>
                  </a:cubicBezTo>
                  <a:cubicBezTo>
                    <a:pt x="325877" y="3599847"/>
                    <a:pt x="329371" y="3591291"/>
                    <a:pt x="334135" y="3582418"/>
                  </a:cubicBezTo>
                  <a:cubicBezTo>
                    <a:pt x="341440" y="3568792"/>
                    <a:pt x="351287" y="3555166"/>
                    <a:pt x="359862" y="3545025"/>
                  </a:cubicBezTo>
                  <a:cubicBezTo>
                    <a:pt x="365897" y="3537737"/>
                    <a:pt x="373520" y="3529498"/>
                    <a:pt x="381778" y="3522209"/>
                  </a:cubicBezTo>
                  <a:cubicBezTo>
                    <a:pt x="384954" y="3519040"/>
                    <a:pt x="388448" y="3516188"/>
                    <a:pt x="391942" y="3513653"/>
                  </a:cubicBezTo>
                  <a:cubicBezTo>
                    <a:pt x="385590" y="3505414"/>
                    <a:pt x="377014" y="3498759"/>
                    <a:pt x="366850" y="3498759"/>
                  </a:cubicBezTo>
                  <a:close/>
                  <a:moveTo>
                    <a:pt x="1563955" y="3498443"/>
                  </a:moveTo>
                  <a:cubicBezTo>
                    <a:pt x="1563955" y="3498443"/>
                    <a:pt x="1563955" y="3498443"/>
                    <a:pt x="1589682" y="3508583"/>
                  </a:cubicBezTo>
                  <a:cubicBezTo>
                    <a:pt x="1589682" y="3508583"/>
                    <a:pt x="1589682" y="3508583"/>
                    <a:pt x="1581742" y="3528864"/>
                  </a:cubicBezTo>
                  <a:lnTo>
                    <a:pt x="1579836" y="3527913"/>
                  </a:lnTo>
                  <a:cubicBezTo>
                    <a:pt x="1579836" y="3527913"/>
                    <a:pt x="1579836" y="3527913"/>
                    <a:pt x="1556015" y="3518723"/>
                  </a:cubicBezTo>
                  <a:cubicBezTo>
                    <a:pt x="1556015" y="3518723"/>
                    <a:pt x="1556015" y="3518723"/>
                    <a:pt x="1563955" y="3498443"/>
                  </a:cubicBezTo>
                  <a:close/>
                  <a:moveTo>
                    <a:pt x="1312401" y="3498126"/>
                  </a:moveTo>
                  <a:cubicBezTo>
                    <a:pt x="1312401" y="3498126"/>
                    <a:pt x="1312401" y="3498126"/>
                    <a:pt x="1259041" y="3513970"/>
                  </a:cubicBezTo>
                  <a:cubicBezTo>
                    <a:pt x="1259041" y="3513970"/>
                    <a:pt x="1259041" y="3513970"/>
                    <a:pt x="1372749" y="3684773"/>
                  </a:cubicBezTo>
                  <a:cubicBezTo>
                    <a:pt x="1373384" y="3685090"/>
                    <a:pt x="1373702" y="3685406"/>
                    <a:pt x="1375290" y="3686357"/>
                  </a:cubicBezTo>
                  <a:cubicBezTo>
                    <a:pt x="1387042" y="3694913"/>
                    <a:pt x="1436908" y="3731672"/>
                    <a:pt x="1483915" y="3766213"/>
                  </a:cubicBezTo>
                  <a:cubicBezTo>
                    <a:pt x="1507737" y="3783642"/>
                    <a:pt x="1530605" y="3800437"/>
                    <a:pt x="1547439" y="3812795"/>
                  </a:cubicBezTo>
                  <a:cubicBezTo>
                    <a:pt x="1556015" y="3819133"/>
                    <a:pt x="1563320" y="3824203"/>
                    <a:pt x="1568402" y="3827689"/>
                  </a:cubicBezTo>
                  <a:cubicBezTo>
                    <a:pt x="1569037" y="3828323"/>
                    <a:pt x="1569672" y="3828640"/>
                    <a:pt x="1570308" y="3829274"/>
                  </a:cubicBezTo>
                  <a:cubicBezTo>
                    <a:pt x="1585871" y="3806774"/>
                    <a:pt x="1600799" y="3784275"/>
                    <a:pt x="1606516" y="3764945"/>
                  </a:cubicBezTo>
                  <a:cubicBezTo>
                    <a:pt x="1585236" y="3738010"/>
                    <a:pt x="1467082" y="3587171"/>
                    <a:pt x="1445166" y="3554849"/>
                  </a:cubicBezTo>
                  <a:cubicBezTo>
                    <a:pt x="1437861" y="3544074"/>
                    <a:pt x="1434367" y="3533934"/>
                    <a:pt x="1434367" y="3524427"/>
                  </a:cubicBezTo>
                  <a:cubicBezTo>
                    <a:pt x="1434367" y="3523160"/>
                    <a:pt x="1434684" y="3522209"/>
                    <a:pt x="1434684" y="3520942"/>
                  </a:cubicBezTo>
                  <a:close/>
                  <a:moveTo>
                    <a:pt x="635556" y="3494957"/>
                  </a:moveTo>
                  <a:cubicBezTo>
                    <a:pt x="635556" y="3494957"/>
                    <a:pt x="635556" y="3494957"/>
                    <a:pt x="640002" y="3506999"/>
                  </a:cubicBezTo>
                  <a:cubicBezTo>
                    <a:pt x="640002" y="3506999"/>
                    <a:pt x="640002" y="3506999"/>
                    <a:pt x="628886" y="3533300"/>
                  </a:cubicBezTo>
                  <a:cubicBezTo>
                    <a:pt x="628886" y="3533300"/>
                    <a:pt x="628886" y="3533300"/>
                    <a:pt x="603794" y="3506682"/>
                  </a:cubicBezTo>
                  <a:close/>
                  <a:moveTo>
                    <a:pt x="452607" y="3494957"/>
                  </a:moveTo>
                  <a:cubicBezTo>
                    <a:pt x="448796" y="3497175"/>
                    <a:pt x="445302" y="3498759"/>
                    <a:pt x="442126" y="3500344"/>
                  </a:cubicBezTo>
                  <a:cubicBezTo>
                    <a:pt x="442126" y="3500344"/>
                    <a:pt x="442126" y="3500344"/>
                    <a:pt x="545034" y="3618226"/>
                  </a:cubicBezTo>
                  <a:cubicBezTo>
                    <a:pt x="549798" y="3615374"/>
                    <a:pt x="553610" y="3612839"/>
                    <a:pt x="556468" y="3610938"/>
                  </a:cubicBezTo>
                  <a:close/>
                  <a:moveTo>
                    <a:pt x="1082763" y="3492422"/>
                  </a:moveTo>
                  <a:cubicBezTo>
                    <a:pt x="1082763" y="3492422"/>
                    <a:pt x="1082763" y="3492422"/>
                    <a:pt x="1025274" y="3528547"/>
                  </a:cubicBezTo>
                  <a:cubicBezTo>
                    <a:pt x="1025274" y="3528547"/>
                    <a:pt x="1025274" y="3528547"/>
                    <a:pt x="1001452" y="3578932"/>
                  </a:cubicBezTo>
                  <a:cubicBezTo>
                    <a:pt x="1001452" y="3578932"/>
                    <a:pt x="1001452" y="3578932"/>
                    <a:pt x="1003676" y="3575129"/>
                  </a:cubicBezTo>
                  <a:cubicBezTo>
                    <a:pt x="1003676" y="3575129"/>
                    <a:pt x="1003676" y="3575129"/>
                    <a:pt x="1099279" y="3626148"/>
                  </a:cubicBezTo>
                  <a:lnTo>
                    <a:pt x="1144698" y="3573228"/>
                  </a:lnTo>
                  <a:cubicBezTo>
                    <a:pt x="1144698" y="3573228"/>
                    <a:pt x="1144698" y="3573228"/>
                    <a:pt x="1082763" y="3492422"/>
                  </a:cubicBezTo>
                  <a:close/>
                  <a:moveTo>
                    <a:pt x="1990835" y="3488936"/>
                  </a:moveTo>
                  <a:cubicBezTo>
                    <a:pt x="1990835" y="3488936"/>
                    <a:pt x="1990835" y="3488936"/>
                    <a:pt x="1982577" y="3528547"/>
                  </a:cubicBezTo>
                  <a:cubicBezTo>
                    <a:pt x="1994011" y="3529498"/>
                    <a:pt x="2009257" y="3530448"/>
                    <a:pt x="2025138" y="3531716"/>
                  </a:cubicBezTo>
                  <a:cubicBezTo>
                    <a:pt x="2025138" y="3531716"/>
                    <a:pt x="2025138" y="3531716"/>
                    <a:pt x="2032125" y="3497492"/>
                  </a:cubicBezTo>
                  <a:cubicBezTo>
                    <a:pt x="2032125" y="3497492"/>
                    <a:pt x="2032125" y="3497492"/>
                    <a:pt x="1990835" y="3488936"/>
                  </a:cubicBezTo>
                  <a:close/>
                  <a:moveTo>
                    <a:pt x="17152" y="3488302"/>
                  </a:moveTo>
                  <a:cubicBezTo>
                    <a:pt x="18422" y="3490520"/>
                    <a:pt x="18422" y="3490520"/>
                    <a:pt x="18422" y="3490520"/>
                  </a:cubicBezTo>
                  <a:cubicBezTo>
                    <a:pt x="57807" y="3558017"/>
                    <a:pt x="57807" y="3558017"/>
                    <a:pt x="57807" y="3558017"/>
                  </a:cubicBezTo>
                  <a:cubicBezTo>
                    <a:pt x="1271" y="3588122"/>
                    <a:pt x="1271" y="3588122"/>
                    <a:pt x="1271" y="3588122"/>
                  </a:cubicBezTo>
                  <a:lnTo>
                    <a:pt x="1271" y="3582735"/>
                  </a:lnTo>
                  <a:cubicBezTo>
                    <a:pt x="51454" y="3556116"/>
                    <a:pt x="51454" y="3556116"/>
                    <a:pt x="51454" y="3556116"/>
                  </a:cubicBezTo>
                  <a:cubicBezTo>
                    <a:pt x="15881" y="3495274"/>
                    <a:pt x="15881" y="3495274"/>
                    <a:pt x="15881" y="3495274"/>
                  </a:cubicBezTo>
                  <a:cubicBezTo>
                    <a:pt x="1271" y="3508266"/>
                    <a:pt x="1271" y="3508266"/>
                    <a:pt x="1271" y="3508266"/>
                  </a:cubicBezTo>
                  <a:cubicBezTo>
                    <a:pt x="1271" y="3501928"/>
                    <a:pt x="1271" y="3501928"/>
                    <a:pt x="1271" y="3501928"/>
                  </a:cubicBezTo>
                  <a:cubicBezTo>
                    <a:pt x="17152" y="3488302"/>
                    <a:pt x="17152" y="3488302"/>
                    <a:pt x="17152" y="3488302"/>
                  </a:cubicBezTo>
                  <a:close/>
                  <a:moveTo>
                    <a:pt x="1596670" y="3482598"/>
                  </a:moveTo>
                  <a:cubicBezTo>
                    <a:pt x="1585871" y="3484183"/>
                    <a:pt x="1564591" y="3487351"/>
                    <a:pt x="1542357" y="3491154"/>
                  </a:cubicBezTo>
                  <a:cubicBezTo>
                    <a:pt x="1526476" y="3493689"/>
                    <a:pt x="1510278" y="3496224"/>
                    <a:pt x="1497573" y="3498443"/>
                  </a:cubicBezTo>
                  <a:cubicBezTo>
                    <a:pt x="1491221" y="3499710"/>
                    <a:pt x="1485503" y="3500661"/>
                    <a:pt x="1481374" y="3501611"/>
                  </a:cubicBezTo>
                  <a:cubicBezTo>
                    <a:pt x="1477245" y="3502245"/>
                    <a:pt x="1474069" y="3503196"/>
                    <a:pt x="1474069" y="3503196"/>
                  </a:cubicBezTo>
                  <a:cubicBezTo>
                    <a:pt x="1470893" y="3504147"/>
                    <a:pt x="1465493" y="3506999"/>
                    <a:pt x="1461682" y="3510801"/>
                  </a:cubicBezTo>
                  <a:cubicBezTo>
                    <a:pt x="1457553" y="3514604"/>
                    <a:pt x="1455012" y="3518723"/>
                    <a:pt x="1455012" y="3524427"/>
                  </a:cubicBezTo>
                  <a:cubicBezTo>
                    <a:pt x="1455012" y="3528864"/>
                    <a:pt x="1456600" y="3534885"/>
                    <a:pt x="1462317" y="3543124"/>
                  </a:cubicBezTo>
                  <a:cubicBezTo>
                    <a:pt x="1463270" y="3544391"/>
                    <a:pt x="1464223" y="3545976"/>
                    <a:pt x="1465493" y="3547877"/>
                  </a:cubicBezTo>
                  <a:cubicBezTo>
                    <a:pt x="1471528" y="3547243"/>
                    <a:pt x="1506149" y="3542807"/>
                    <a:pt x="1539499" y="3538054"/>
                  </a:cubicBezTo>
                  <a:cubicBezTo>
                    <a:pt x="1564908" y="3534568"/>
                    <a:pt x="1590000" y="3531082"/>
                    <a:pt x="1602387" y="3529498"/>
                  </a:cubicBezTo>
                  <a:cubicBezTo>
                    <a:pt x="1600482" y="3514287"/>
                    <a:pt x="1598576" y="3498759"/>
                    <a:pt x="1596670" y="3482598"/>
                  </a:cubicBezTo>
                  <a:close/>
                  <a:moveTo>
                    <a:pt x="478334" y="3482598"/>
                  </a:moveTo>
                  <a:cubicBezTo>
                    <a:pt x="471982" y="3485450"/>
                    <a:pt x="465947" y="3488619"/>
                    <a:pt x="459912" y="3491471"/>
                  </a:cubicBezTo>
                  <a:cubicBezTo>
                    <a:pt x="459912" y="3491471"/>
                    <a:pt x="459912" y="3491471"/>
                    <a:pt x="563138" y="3606818"/>
                  </a:cubicBezTo>
                  <a:cubicBezTo>
                    <a:pt x="563138" y="3606818"/>
                    <a:pt x="563138" y="3606818"/>
                    <a:pt x="563456" y="3606501"/>
                  </a:cubicBezTo>
                  <a:cubicBezTo>
                    <a:pt x="563456" y="3606501"/>
                    <a:pt x="563456" y="3606501"/>
                    <a:pt x="581243" y="3624881"/>
                  </a:cubicBezTo>
                  <a:cubicBezTo>
                    <a:pt x="581243" y="3624881"/>
                    <a:pt x="581243" y="3624881"/>
                    <a:pt x="596488" y="3612522"/>
                  </a:cubicBezTo>
                  <a:cubicBezTo>
                    <a:pt x="596488" y="3612522"/>
                    <a:pt x="596488" y="3612522"/>
                    <a:pt x="478334" y="3482598"/>
                  </a:cubicBezTo>
                  <a:close/>
                  <a:moveTo>
                    <a:pt x="1684015" y="3479746"/>
                  </a:moveTo>
                  <a:cubicBezTo>
                    <a:pt x="1684015" y="3479746"/>
                    <a:pt x="1684015" y="3479746"/>
                    <a:pt x="1656065" y="3485450"/>
                  </a:cubicBezTo>
                  <a:cubicBezTo>
                    <a:pt x="1656065" y="3485450"/>
                    <a:pt x="1656065" y="3485450"/>
                    <a:pt x="1658606" y="3498759"/>
                  </a:cubicBezTo>
                  <a:cubicBezTo>
                    <a:pt x="1658606" y="3498759"/>
                    <a:pt x="1658606" y="3498759"/>
                    <a:pt x="1643995" y="3501611"/>
                  </a:cubicBezTo>
                  <a:cubicBezTo>
                    <a:pt x="1643995" y="3501611"/>
                    <a:pt x="1643995" y="3501611"/>
                    <a:pt x="1647807" y="3520308"/>
                  </a:cubicBezTo>
                  <a:lnTo>
                    <a:pt x="1705296" y="3508900"/>
                  </a:lnTo>
                  <a:cubicBezTo>
                    <a:pt x="1705296" y="3508900"/>
                    <a:pt x="1705296" y="3508900"/>
                    <a:pt x="1701484" y="3490203"/>
                  </a:cubicBezTo>
                  <a:cubicBezTo>
                    <a:pt x="1701484" y="3490203"/>
                    <a:pt x="1701484" y="3490203"/>
                    <a:pt x="1686874" y="3493372"/>
                  </a:cubicBezTo>
                  <a:cubicBezTo>
                    <a:pt x="1686874" y="3493372"/>
                    <a:pt x="1686874" y="3493372"/>
                    <a:pt x="1684015" y="3479746"/>
                  </a:cubicBezTo>
                  <a:close/>
                  <a:moveTo>
                    <a:pt x="83216" y="3478479"/>
                  </a:moveTo>
                  <a:cubicBezTo>
                    <a:pt x="83216" y="3478479"/>
                    <a:pt x="83216" y="3478479"/>
                    <a:pt x="62254" y="3484499"/>
                  </a:cubicBezTo>
                  <a:cubicBezTo>
                    <a:pt x="62254" y="3484499"/>
                    <a:pt x="62254" y="3484499"/>
                    <a:pt x="146423" y="3601431"/>
                  </a:cubicBezTo>
                  <a:lnTo>
                    <a:pt x="197877" y="3564989"/>
                  </a:lnTo>
                  <a:cubicBezTo>
                    <a:pt x="197877" y="3564989"/>
                    <a:pt x="197877" y="3564989"/>
                    <a:pt x="184854" y="3555166"/>
                  </a:cubicBezTo>
                  <a:cubicBezTo>
                    <a:pt x="184854" y="3555166"/>
                    <a:pt x="184854" y="3555166"/>
                    <a:pt x="149281" y="3574496"/>
                  </a:cubicBezTo>
                  <a:cubicBezTo>
                    <a:pt x="149281" y="3574496"/>
                    <a:pt x="149281" y="3574496"/>
                    <a:pt x="133400" y="3558968"/>
                  </a:cubicBezTo>
                  <a:cubicBezTo>
                    <a:pt x="133400" y="3558968"/>
                    <a:pt x="133400" y="3558968"/>
                    <a:pt x="168656" y="3537420"/>
                  </a:cubicBezTo>
                  <a:cubicBezTo>
                    <a:pt x="168656" y="3537420"/>
                    <a:pt x="168656" y="3537420"/>
                    <a:pt x="160398" y="3527279"/>
                  </a:cubicBezTo>
                  <a:cubicBezTo>
                    <a:pt x="160398" y="3527279"/>
                    <a:pt x="160398" y="3527279"/>
                    <a:pt x="140070" y="3535518"/>
                  </a:cubicBezTo>
                  <a:cubicBezTo>
                    <a:pt x="140070" y="3535518"/>
                    <a:pt x="140070" y="3535518"/>
                    <a:pt x="121013" y="3505731"/>
                  </a:cubicBezTo>
                  <a:cubicBezTo>
                    <a:pt x="121013" y="3505731"/>
                    <a:pt x="121013" y="3505731"/>
                    <a:pt x="105132" y="3513019"/>
                  </a:cubicBezTo>
                  <a:cubicBezTo>
                    <a:pt x="105132" y="3513019"/>
                    <a:pt x="105132" y="3513019"/>
                    <a:pt x="83216" y="3478479"/>
                  </a:cubicBezTo>
                  <a:close/>
                  <a:moveTo>
                    <a:pt x="1687509" y="3474993"/>
                  </a:moveTo>
                  <a:cubicBezTo>
                    <a:pt x="1687509" y="3474993"/>
                    <a:pt x="1687509" y="3474993"/>
                    <a:pt x="1690050" y="3488302"/>
                  </a:cubicBezTo>
                  <a:lnTo>
                    <a:pt x="1704660" y="3485450"/>
                  </a:lnTo>
                  <a:cubicBezTo>
                    <a:pt x="1704660" y="3485450"/>
                    <a:pt x="1704660" y="3485450"/>
                    <a:pt x="1710060" y="3512069"/>
                  </a:cubicBezTo>
                  <a:cubicBezTo>
                    <a:pt x="1710060" y="3512069"/>
                    <a:pt x="1710060" y="3512069"/>
                    <a:pt x="1644313" y="3525378"/>
                  </a:cubicBezTo>
                  <a:cubicBezTo>
                    <a:pt x="1644313" y="3525378"/>
                    <a:pt x="1644313" y="3525378"/>
                    <a:pt x="1643995" y="3523160"/>
                  </a:cubicBezTo>
                  <a:cubicBezTo>
                    <a:pt x="1643995" y="3523160"/>
                    <a:pt x="1643995" y="3523160"/>
                    <a:pt x="1639231" y="3498443"/>
                  </a:cubicBezTo>
                  <a:cubicBezTo>
                    <a:pt x="1639231" y="3498443"/>
                    <a:pt x="1639231" y="3498443"/>
                    <a:pt x="1653841" y="3495591"/>
                  </a:cubicBezTo>
                  <a:cubicBezTo>
                    <a:pt x="1653841" y="3495591"/>
                    <a:pt x="1653841" y="3495591"/>
                    <a:pt x="1650983" y="3482281"/>
                  </a:cubicBezTo>
                  <a:cubicBezTo>
                    <a:pt x="1650983" y="3482281"/>
                    <a:pt x="1650983" y="3482281"/>
                    <a:pt x="1687509" y="3474993"/>
                  </a:cubicBezTo>
                  <a:close/>
                  <a:moveTo>
                    <a:pt x="85122" y="3472775"/>
                  </a:moveTo>
                  <a:cubicBezTo>
                    <a:pt x="85122" y="3472775"/>
                    <a:pt x="85122" y="3472775"/>
                    <a:pt x="107038" y="3506999"/>
                  </a:cubicBezTo>
                  <a:cubicBezTo>
                    <a:pt x="107038" y="3506999"/>
                    <a:pt x="107038" y="3506999"/>
                    <a:pt x="122601" y="3499710"/>
                  </a:cubicBezTo>
                  <a:cubicBezTo>
                    <a:pt x="122601" y="3499710"/>
                    <a:pt x="122601" y="3499710"/>
                    <a:pt x="141976" y="3529814"/>
                  </a:cubicBezTo>
                  <a:cubicBezTo>
                    <a:pt x="141976" y="3529814"/>
                    <a:pt x="141976" y="3529814"/>
                    <a:pt x="161986" y="3521575"/>
                  </a:cubicBezTo>
                  <a:cubicBezTo>
                    <a:pt x="161986" y="3521575"/>
                    <a:pt x="161986" y="3521575"/>
                    <a:pt x="175326" y="3538687"/>
                  </a:cubicBezTo>
                  <a:cubicBezTo>
                    <a:pt x="175326" y="3538687"/>
                    <a:pt x="175326" y="3538687"/>
                    <a:pt x="141023" y="3559602"/>
                  </a:cubicBezTo>
                  <a:cubicBezTo>
                    <a:pt x="141023" y="3559602"/>
                    <a:pt x="141023" y="3559602"/>
                    <a:pt x="149916" y="3568792"/>
                  </a:cubicBezTo>
                  <a:lnTo>
                    <a:pt x="185172" y="3549778"/>
                  </a:lnTo>
                  <a:cubicBezTo>
                    <a:pt x="185172" y="3549778"/>
                    <a:pt x="185172" y="3549778"/>
                    <a:pt x="205817" y="3565306"/>
                  </a:cubicBezTo>
                  <a:cubicBezTo>
                    <a:pt x="205817" y="3565306"/>
                    <a:pt x="205817" y="3565306"/>
                    <a:pt x="203276" y="3567207"/>
                  </a:cubicBezTo>
                  <a:cubicBezTo>
                    <a:pt x="203276" y="3567207"/>
                    <a:pt x="203276" y="3567207"/>
                    <a:pt x="145470" y="3607769"/>
                  </a:cubicBezTo>
                  <a:cubicBezTo>
                    <a:pt x="145470" y="3607769"/>
                    <a:pt x="145470" y="3607769"/>
                    <a:pt x="54631" y="3481964"/>
                  </a:cubicBezTo>
                  <a:cubicBezTo>
                    <a:pt x="54631" y="3481964"/>
                    <a:pt x="54631" y="3481964"/>
                    <a:pt x="85122" y="3472775"/>
                  </a:cubicBezTo>
                  <a:close/>
                  <a:moveTo>
                    <a:pt x="2145833" y="3466437"/>
                  </a:moveTo>
                  <a:cubicBezTo>
                    <a:pt x="2145833" y="3466437"/>
                    <a:pt x="2145833" y="3466437"/>
                    <a:pt x="2137257" y="3545659"/>
                  </a:cubicBezTo>
                  <a:cubicBezTo>
                    <a:pt x="2137257" y="3545659"/>
                    <a:pt x="2137257" y="3545659"/>
                    <a:pt x="2244295" y="3598262"/>
                  </a:cubicBezTo>
                  <a:lnTo>
                    <a:pt x="2323700" y="3600164"/>
                  </a:lnTo>
                  <a:cubicBezTo>
                    <a:pt x="2327828" y="3587171"/>
                    <a:pt x="2331958" y="3575446"/>
                    <a:pt x="2335769" y="3564672"/>
                  </a:cubicBezTo>
                  <a:cubicBezTo>
                    <a:pt x="2339898" y="3551997"/>
                    <a:pt x="2343710" y="3541222"/>
                    <a:pt x="2346250" y="3533617"/>
                  </a:cubicBezTo>
                  <a:cubicBezTo>
                    <a:pt x="2346568" y="3532666"/>
                    <a:pt x="2346568" y="3532033"/>
                    <a:pt x="2346886" y="3531082"/>
                  </a:cubicBezTo>
                  <a:cubicBezTo>
                    <a:pt x="2290667" y="3505731"/>
                    <a:pt x="2240166" y="3489253"/>
                    <a:pt x="2202687" y="3479429"/>
                  </a:cubicBezTo>
                  <a:cubicBezTo>
                    <a:pt x="2182042" y="3473725"/>
                    <a:pt x="2165208" y="3469923"/>
                    <a:pt x="2153773" y="3467704"/>
                  </a:cubicBezTo>
                  <a:cubicBezTo>
                    <a:pt x="2150597" y="3467071"/>
                    <a:pt x="2148056" y="3466754"/>
                    <a:pt x="2145833" y="3466437"/>
                  </a:cubicBezTo>
                  <a:close/>
                  <a:moveTo>
                    <a:pt x="917283" y="3464219"/>
                  </a:moveTo>
                  <a:lnTo>
                    <a:pt x="895685" y="3492422"/>
                  </a:lnTo>
                  <a:cubicBezTo>
                    <a:pt x="895685" y="3492422"/>
                    <a:pt x="895685" y="3492422"/>
                    <a:pt x="945551" y="3510801"/>
                  </a:cubicBezTo>
                  <a:cubicBezTo>
                    <a:pt x="945551" y="3510801"/>
                    <a:pt x="945551" y="3510801"/>
                    <a:pt x="948410" y="3511752"/>
                  </a:cubicBezTo>
                  <a:cubicBezTo>
                    <a:pt x="948410" y="3511752"/>
                    <a:pt x="948410" y="3511752"/>
                    <a:pt x="948410" y="3514604"/>
                  </a:cubicBezTo>
                  <a:cubicBezTo>
                    <a:pt x="948410" y="3514604"/>
                    <a:pt x="948410" y="3514604"/>
                    <a:pt x="949681" y="3531082"/>
                  </a:cubicBezTo>
                  <a:cubicBezTo>
                    <a:pt x="949681" y="3531082"/>
                    <a:pt x="949681" y="3531082"/>
                    <a:pt x="957939" y="3534568"/>
                  </a:cubicBezTo>
                  <a:cubicBezTo>
                    <a:pt x="957939" y="3534568"/>
                    <a:pt x="957939" y="3534568"/>
                    <a:pt x="961432" y="3536152"/>
                  </a:cubicBezTo>
                  <a:cubicBezTo>
                    <a:pt x="961432" y="3536152"/>
                    <a:pt x="961432" y="3536152"/>
                    <a:pt x="960480" y="3539955"/>
                  </a:cubicBezTo>
                  <a:cubicBezTo>
                    <a:pt x="960480" y="3539955"/>
                    <a:pt x="960480" y="3539955"/>
                    <a:pt x="951269" y="3571961"/>
                  </a:cubicBezTo>
                  <a:cubicBezTo>
                    <a:pt x="951269" y="3571961"/>
                    <a:pt x="951269" y="3571961"/>
                    <a:pt x="963338" y="3585587"/>
                  </a:cubicBezTo>
                  <a:cubicBezTo>
                    <a:pt x="963338" y="3585587"/>
                    <a:pt x="963338" y="3585587"/>
                    <a:pt x="993194" y="3545976"/>
                  </a:cubicBezTo>
                  <a:cubicBezTo>
                    <a:pt x="993194" y="3545976"/>
                    <a:pt x="993194" y="3545976"/>
                    <a:pt x="998911" y="3530448"/>
                  </a:cubicBezTo>
                  <a:cubicBezTo>
                    <a:pt x="998911" y="3530448"/>
                    <a:pt x="998911" y="3530448"/>
                    <a:pt x="979219" y="3488619"/>
                  </a:cubicBezTo>
                  <a:cubicBezTo>
                    <a:pt x="979219" y="3488619"/>
                    <a:pt x="979219" y="3488619"/>
                    <a:pt x="917283" y="3464219"/>
                  </a:cubicBezTo>
                  <a:close/>
                  <a:moveTo>
                    <a:pt x="1976860" y="3462634"/>
                  </a:moveTo>
                  <a:cubicBezTo>
                    <a:pt x="1974636" y="3475310"/>
                    <a:pt x="1970190" y="3499076"/>
                    <a:pt x="1965108" y="3526962"/>
                  </a:cubicBezTo>
                  <a:cubicBezTo>
                    <a:pt x="1967331" y="3527279"/>
                    <a:pt x="1972095" y="3527596"/>
                    <a:pt x="1978448" y="3528230"/>
                  </a:cubicBezTo>
                  <a:cubicBezTo>
                    <a:pt x="1978448" y="3528230"/>
                    <a:pt x="1978448" y="3528230"/>
                    <a:pt x="1987659" y="3484183"/>
                  </a:cubicBezTo>
                  <a:cubicBezTo>
                    <a:pt x="1987659" y="3484183"/>
                    <a:pt x="1987659" y="3484183"/>
                    <a:pt x="2037207" y="3494006"/>
                  </a:cubicBezTo>
                  <a:cubicBezTo>
                    <a:pt x="2037207" y="3494006"/>
                    <a:pt x="2037207" y="3494006"/>
                    <a:pt x="2036890" y="3496224"/>
                  </a:cubicBezTo>
                  <a:cubicBezTo>
                    <a:pt x="2036890" y="3496224"/>
                    <a:pt x="2036890" y="3496224"/>
                    <a:pt x="2029584" y="3532033"/>
                  </a:cubicBezTo>
                  <a:cubicBezTo>
                    <a:pt x="2067381" y="3535202"/>
                    <a:pt x="2108989" y="3538370"/>
                    <a:pt x="2117247" y="3538687"/>
                  </a:cubicBezTo>
                  <a:cubicBezTo>
                    <a:pt x="2117247" y="3538687"/>
                    <a:pt x="2117247" y="3538687"/>
                    <a:pt x="2125188" y="3464536"/>
                  </a:cubicBezTo>
                  <a:cubicBezTo>
                    <a:pt x="2125188" y="3464536"/>
                    <a:pt x="2125188" y="3464536"/>
                    <a:pt x="1976860" y="3462634"/>
                  </a:cubicBezTo>
                  <a:close/>
                  <a:moveTo>
                    <a:pt x="1946368" y="3462317"/>
                  </a:moveTo>
                  <a:cubicBezTo>
                    <a:pt x="1946368" y="3462317"/>
                    <a:pt x="1946368" y="3462317"/>
                    <a:pt x="1915559" y="3616008"/>
                  </a:cubicBezTo>
                  <a:cubicBezTo>
                    <a:pt x="1915559" y="3616008"/>
                    <a:pt x="1915559" y="3616008"/>
                    <a:pt x="1891103" y="3688258"/>
                  </a:cubicBezTo>
                  <a:cubicBezTo>
                    <a:pt x="1891103" y="3688258"/>
                    <a:pt x="1891103" y="3688258"/>
                    <a:pt x="1809475" y="4406643"/>
                  </a:cubicBezTo>
                  <a:lnTo>
                    <a:pt x="1807887" y="4412981"/>
                  </a:lnTo>
                  <a:cubicBezTo>
                    <a:pt x="1807887" y="4412981"/>
                    <a:pt x="1807887" y="4412981"/>
                    <a:pt x="1832026" y="4395552"/>
                  </a:cubicBezTo>
                  <a:cubicBezTo>
                    <a:pt x="1832026" y="4395552"/>
                    <a:pt x="1832026" y="4395552"/>
                    <a:pt x="1832661" y="4395552"/>
                  </a:cubicBezTo>
                  <a:cubicBezTo>
                    <a:pt x="1834884" y="4380659"/>
                    <a:pt x="1839331" y="4346118"/>
                    <a:pt x="1845366" y="4300169"/>
                  </a:cubicBezTo>
                  <a:cubicBezTo>
                    <a:pt x="1858706" y="4200033"/>
                    <a:pt x="1878716" y="4046025"/>
                    <a:pt x="1894914" y="3921805"/>
                  </a:cubicBezTo>
                  <a:cubicBezTo>
                    <a:pt x="1894914" y="3921805"/>
                    <a:pt x="1894914" y="3921805"/>
                    <a:pt x="1894279" y="3921805"/>
                  </a:cubicBezTo>
                  <a:cubicBezTo>
                    <a:pt x="1894279" y="3921805"/>
                    <a:pt x="1894279" y="3921805"/>
                    <a:pt x="1894597" y="3917368"/>
                  </a:cubicBezTo>
                  <a:cubicBezTo>
                    <a:pt x="1894597" y="3917368"/>
                    <a:pt x="1894597" y="3917368"/>
                    <a:pt x="1895549" y="3917368"/>
                  </a:cubicBezTo>
                  <a:cubicBezTo>
                    <a:pt x="1901902" y="3866983"/>
                    <a:pt x="1907619" y="3821668"/>
                    <a:pt x="1912066" y="3787127"/>
                  </a:cubicBezTo>
                  <a:cubicBezTo>
                    <a:pt x="1912066" y="3787127"/>
                    <a:pt x="1912066" y="3787127"/>
                    <a:pt x="1911113" y="3787127"/>
                  </a:cubicBezTo>
                  <a:cubicBezTo>
                    <a:pt x="1911113" y="3787127"/>
                    <a:pt x="1911113" y="3787127"/>
                    <a:pt x="1911430" y="3782691"/>
                  </a:cubicBezTo>
                  <a:cubicBezTo>
                    <a:pt x="1911430" y="3782691"/>
                    <a:pt x="1911430" y="3782691"/>
                    <a:pt x="1912383" y="3782691"/>
                  </a:cubicBezTo>
                  <a:cubicBezTo>
                    <a:pt x="1916830" y="3746883"/>
                    <a:pt x="1919688" y="3723116"/>
                    <a:pt x="1919688" y="3718997"/>
                  </a:cubicBezTo>
                  <a:cubicBezTo>
                    <a:pt x="1919688" y="3718997"/>
                    <a:pt x="1919688" y="3718680"/>
                    <a:pt x="1919688" y="3718363"/>
                  </a:cubicBezTo>
                  <a:cubicBezTo>
                    <a:pt x="1919688" y="3717729"/>
                    <a:pt x="1920006" y="3717412"/>
                    <a:pt x="1920324" y="3716778"/>
                  </a:cubicBezTo>
                  <a:cubicBezTo>
                    <a:pt x="1920324" y="3716778"/>
                    <a:pt x="1920324" y="3716778"/>
                    <a:pt x="1920641" y="3716778"/>
                  </a:cubicBezTo>
                  <a:cubicBezTo>
                    <a:pt x="1920959" y="3715828"/>
                    <a:pt x="1922864" y="3710757"/>
                    <a:pt x="1924770" y="3703469"/>
                  </a:cubicBezTo>
                  <a:cubicBezTo>
                    <a:pt x="1927946" y="3691427"/>
                    <a:pt x="1931758" y="3672731"/>
                    <a:pt x="1936522" y="3650866"/>
                  </a:cubicBezTo>
                  <a:cubicBezTo>
                    <a:pt x="1936522" y="3650866"/>
                    <a:pt x="1936522" y="3650866"/>
                    <a:pt x="1936840" y="3647063"/>
                  </a:cubicBezTo>
                  <a:cubicBezTo>
                    <a:pt x="1936840" y="3647063"/>
                    <a:pt x="1936840" y="3647063"/>
                    <a:pt x="1937157" y="3647063"/>
                  </a:cubicBezTo>
                  <a:cubicBezTo>
                    <a:pt x="1942874" y="3619177"/>
                    <a:pt x="1949227" y="3586854"/>
                    <a:pt x="1954944" y="3556750"/>
                  </a:cubicBezTo>
                  <a:cubicBezTo>
                    <a:pt x="1962567" y="3516505"/>
                    <a:pt x="1969237" y="3480063"/>
                    <a:pt x="1972413" y="3462634"/>
                  </a:cubicBezTo>
                  <a:cubicBezTo>
                    <a:pt x="1972413" y="3462634"/>
                    <a:pt x="1972413" y="3462634"/>
                    <a:pt x="1946368" y="3462317"/>
                  </a:cubicBezTo>
                  <a:close/>
                  <a:moveTo>
                    <a:pt x="378920" y="3460733"/>
                  </a:moveTo>
                  <a:cubicBezTo>
                    <a:pt x="373838" y="3463585"/>
                    <a:pt x="370026" y="3465803"/>
                    <a:pt x="368756" y="3467388"/>
                  </a:cubicBezTo>
                  <a:cubicBezTo>
                    <a:pt x="365580" y="3470556"/>
                    <a:pt x="364627" y="3475310"/>
                    <a:pt x="364627" y="3480380"/>
                  </a:cubicBezTo>
                  <a:cubicBezTo>
                    <a:pt x="364627" y="3484499"/>
                    <a:pt x="365262" y="3488619"/>
                    <a:pt x="366215" y="3491154"/>
                  </a:cubicBezTo>
                  <a:cubicBezTo>
                    <a:pt x="366215" y="3491154"/>
                    <a:pt x="366532" y="3490837"/>
                    <a:pt x="366850" y="3490837"/>
                  </a:cubicBezTo>
                  <a:cubicBezTo>
                    <a:pt x="380825" y="3491154"/>
                    <a:pt x="390989" y="3499393"/>
                    <a:pt x="397977" y="3508900"/>
                  </a:cubicBezTo>
                  <a:cubicBezTo>
                    <a:pt x="403694" y="3504147"/>
                    <a:pt x="408776" y="3500661"/>
                    <a:pt x="411952" y="3498759"/>
                  </a:cubicBezTo>
                  <a:cubicBezTo>
                    <a:pt x="405282" y="3491154"/>
                    <a:pt x="393530" y="3477528"/>
                    <a:pt x="378920" y="3460733"/>
                  </a:cubicBezTo>
                  <a:close/>
                  <a:moveTo>
                    <a:pt x="915695" y="3459148"/>
                  </a:moveTo>
                  <a:cubicBezTo>
                    <a:pt x="915695" y="3459148"/>
                    <a:pt x="915695" y="3459148"/>
                    <a:pt x="982713" y="3485133"/>
                  </a:cubicBezTo>
                  <a:cubicBezTo>
                    <a:pt x="982713" y="3485133"/>
                    <a:pt x="982713" y="3485133"/>
                    <a:pt x="1003993" y="3530131"/>
                  </a:cubicBezTo>
                  <a:cubicBezTo>
                    <a:pt x="1003993" y="3530131"/>
                    <a:pt x="1003993" y="3530131"/>
                    <a:pt x="997006" y="3548194"/>
                  </a:cubicBezTo>
                  <a:cubicBezTo>
                    <a:pt x="997006" y="3548194"/>
                    <a:pt x="997006" y="3548194"/>
                    <a:pt x="963656" y="3592558"/>
                  </a:cubicBezTo>
                  <a:cubicBezTo>
                    <a:pt x="963656" y="3592558"/>
                    <a:pt x="963656" y="3592558"/>
                    <a:pt x="946187" y="3573228"/>
                  </a:cubicBezTo>
                  <a:cubicBezTo>
                    <a:pt x="946187" y="3573228"/>
                    <a:pt x="946187" y="3573228"/>
                    <a:pt x="956033" y="3538687"/>
                  </a:cubicBezTo>
                  <a:cubicBezTo>
                    <a:pt x="956033" y="3538687"/>
                    <a:pt x="956033" y="3538687"/>
                    <a:pt x="945551" y="3534251"/>
                  </a:cubicBezTo>
                  <a:cubicBezTo>
                    <a:pt x="945551" y="3534251"/>
                    <a:pt x="945551" y="3534251"/>
                    <a:pt x="943963" y="3514921"/>
                  </a:cubicBezTo>
                  <a:lnTo>
                    <a:pt x="888698" y="3494640"/>
                  </a:lnTo>
                  <a:cubicBezTo>
                    <a:pt x="888698" y="3494640"/>
                    <a:pt x="888698" y="3494640"/>
                    <a:pt x="915695" y="3459148"/>
                  </a:cubicBezTo>
                  <a:close/>
                  <a:moveTo>
                    <a:pt x="913790" y="3449008"/>
                  </a:moveTo>
                  <a:cubicBezTo>
                    <a:pt x="901720" y="3460099"/>
                    <a:pt x="882663" y="3478479"/>
                    <a:pt x="864876" y="3500344"/>
                  </a:cubicBezTo>
                  <a:cubicBezTo>
                    <a:pt x="879169" y="3504463"/>
                    <a:pt x="898862" y="3510484"/>
                    <a:pt x="906802" y="3513019"/>
                  </a:cubicBezTo>
                  <a:cubicBezTo>
                    <a:pt x="913472" y="3515238"/>
                    <a:pt x="916966" y="3516822"/>
                    <a:pt x="919507" y="3518723"/>
                  </a:cubicBezTo>
                  <a:cubicBezTo>
                    <a:pt x="920460" y="3519357"/>
                    <a:pt x="921412" y="3520308"/>
                    <a:pt x="921730" y="3520942"/>
                  </a:cubicBezTo>
                  <a:cubicBezTo>
                    <a:pt x="922048" y="3520942"/>
                    <a:pt x="922048" y="3520942"/>
                    <a:pt x="922048" y="3520942"/>
                  </a:cubicBezTo>
                  <a:cubicBezTo>
                    <a:pt x="924906" y="3524110"/>
                    <a:pt x="923953" y="3524427"/>
                    <a:pt x="924271" y="3525061"/>
                  </a:cubicBezTo>
                  <a:cubicBezTo>
                    <a:pt x="924589" y="3527279"/>
                    <a:pt x="924589" y="3528864"/>
                    <a:pt x="924589" y="3532033"/>
                  </a:cubicBezTo>
                  <a:cubicBezTo>
                    <a:pt x="924589" y="3543758"/>
                    <a:pt x="923953" y="3568792"/>
                    <a:pt x="923953" y="3568792"/>
                  </a:cubicBezTo>
                  <a:cubicBezTo>
                    <a:pt x="923953" y="3568792"/>
                    <a:pt x="923953" y="3568792"/>
                    <a:pt x="923953" y="3569425"/>
                  </a:cubicBezTo>
                  <a:cubicBezTo>
                    <a:pt x="923953" y="3569425"/>
                    <a:pt x="923953" y="3569425"/>
                    <a:pt x="914742" y="3612839"/>
                  </a:cubicBezTo>
                  <a:cubicBezTo>
                    <a:pt x="915060" y="3613790"/>
                    <a:pt x="916013" y="3615057"/>
                    <a:pt x="916966" y="3616959"/>
                  </a:cubicBezTo>
                  <a:cubicBezTo>
                    <a:pt x="919507" y="3622029"/>
                    <a:pt x="923318" y="3629317"/>
                    <a:pt x="926494" y="3635338"/>
                  </a:cubicBezTo>
                  <a:cubicBezTo>
                    <a:pt x="928082" y="3638507"/>
                    <a:pt x="929353" y="3641042"/>
                    <a:pt x="930306" y="3642943"/>
                  </a:cubicBezTo>
                  <a:cubicBezTo>
                    <a:pt x="930941" y="3643894"/>
                    <a:pt x="931259" y="3644845"/>
                    <a:pt x="931576" y="3645162"/>
                  </a:cubicBezTo>
                  <a:cubicBezTo>
                    <a:pt x="931576" y="3645162"/>
                    <a:pt x="931576" y="3645162"/>
                    <a:pt x="931576" y="3645479"/>
                  </a:cubicBezTo>
                  <a:cubicBezTo>
                    <a:pt x="933482" y="3646112"/>
                    <a:pt x="935705" y="3647063"/>
                    <a:pt x="938246" y="3648331"/>
                  </a:cubicBezTo>
                  <a:cubicBezTo>
                    <a:pt x="938246" y="3648331"/>
                    <a:pt x="938246" y="3648331"/>
                    <a:pt x="994465" y="3581784"/>
                  </a:cubicBezTo>
                  <a:cubicBezTo>
                    <a:pt x="994465" y="3581784"/>
                    <a:pt x="994465" y="3581784"/>
                    <a:pt x="1020510" y="3526962"/>
                  </a:cubicBezTo>
                  <a:cubicBezTo>
                    <a:pt x="1020510" y="3526962"/>
                    <a:pt x="1020510" y="3526962"/>
                    <a:pt x="984936" y="3475627"/>
                  </a:cubicBezTo>
                  <a:close/>
                  <a:moveTo>
                    <a:pt x="408776" y="3445839"/>
                  </a:moveTo>
                  <a:cubicBezTo>
                    <a:pt x="405282" y="3447424"/>
                    <a:pt x="402106" y="3449008"/>
                    <a:pt x="398929" y="3450592"/>
                  </a:cubicBezTo>
                  <a:cubicBezTo>
                    <a:pt x="411317" y="3464852"/>
                    <a:pt x="421163" y="3476260"/>
                    <a:pt x="427515" y="3483232"/>
                  </a:cubicBezTo>
                  <a:cubicBezTo>
                    <a:pt x="429739" y="3481964"/>
                    <a:pt x="433232" y="3480380"/>
                    <a:pt x="437679" y="3478162"/>
                  </a:cubicBezTo>
                  <a:close/>
                  <a:moveTo>
                    <a:pt x="611099" y="3439818"/>
                  </a:moveTo>
                  <a:cubicBezTo>
                    <a:pt x="611099" y="3439818"/>
                    <a:pt x="611099" y="3439818"/>
                    <a:pt x="557421" y="3457564"/>
                  </a:cubicBezTo>
                  <a:cubicBezTo>
                    <a:pt x="557421" y="3457564"/>
                    <a:pt x="557421" y="3457564"/>
                    <a:pt x="508508" y="3478162"/>
                  </a:cubicBezTo>
                  <a:cubicBezTo>
                    <a:pt x="508508" y="3478162"/>
                    <a:pt x="508508" y="3478162"/>
                    <a:pt x="532012" y="3501611"/>
                  </a:cubicBezTo>
                  <a:lnTo>
                    <a:pt x="554563" y="3494006"/>
                  </a:lnTo>
                  <a:cubicBezTo>
                    <a:pt x="554563" y="3494006"/>
                    <a:pt x="554563" y="3494006"/>
                    <a:pt x="552022" y="3490837"/>
                  </a:cubicBezTo>
                  <a:cubicBezTo>
                    <a:pt x="552022" y="3490837"/>
                    <a:pt x="552022" y="3490837"/>
                    <a:pt x="547893" y="3485767"/>
                  </a:cubicBezTo>
                  <a:cubicBezTo>
                    <a:pt x="547893" y="3485767"/>
                    <a:pt x="547893" y="3485767"/>
                    <a:pt x="553927" y="3483866"/>
                  </a:cubicBezTo>
                  <a:cubicBezTo>
                    <a:pt x="553927" y="3483866"/>
                    <a:pt x="553927" y="3483866"/>
                    <a:pt x="585689" y="3472775"/>
                  </a:cubicBezTo>
                  <a:cubicBezTo>
                    <a:pt x="585689" y="3472775"/>
                    <a:pt x="585689" y="3472775"/>
                    <a:pt x="588230" y="3472141"/>
                  </a:cubicBezTo>
                  <a:cubicBezTo>
                    <a:pt x="588230" y="3472141"/>
                    <a:pt x="588230" y="3472141"/>
                    <a:pt x="590136" y="3473725"/>
                  </a:cubicBezTo>
                  <a:cubicBezTo>
                    <a:pt x="590136" y="3473725"/>
                    <a:pt x="590136" y="3473725"/>
                    <a:pt x="594900" y="3478162"/>
                  </a:cubicBezTo>
                  <a:cubicBezTo>
                    <a:pt x="594900" y="3478162"/>
                    <a:pt x="594900" y="3478162"/>
                    <a:pt x="622216" y="3469289"/>
                  </a:cubicBezTo>
                  <a:cubicBezTo>
                    <a:pt x="622216" y="3469289"/>
                    <a:pt x="622216" y="3469289"/>
                    <a:pt x="611099" y="3439818"/>
                  </a:cubicBezTo>
                  <a:close/>
                  <a:moveTo>
                    <a:pt x="424974" y="3438551"/>
                  </a:moveTo>
                  <a:cubicBezTo>
                    <a:pt x="421798" y="3439818"/>
                    <a:pt x="418939" y="3441086"/>
                    <a:pt x="416081" y="3442353"/>
                  </a:cubicBezTo>
                  <a:cubicBezTo>
                    <a:pt x="416081" y="3442353"/>
                    <a:pt x="416081" y="3442353"/>
                    <a:pt x="444667" y="3474676"/>
                  </a:cubicBezTo>
                  <a:cubicBezTo>
                    <a:pt x="447525" y="3473092"/>
                    <a:pt x="450701" y="3471824"/>
                    <a:pt x="453878" y="3470240"/>
                  </a:cubicBezTo>
                  <a:cubicBezTo>
                    <a:pt x="446572" y="3462317"/>
                    <a:pt x="435773" y="3450276"/>
                    <a:pt x="424974" y="3438551"/>
                  </a:cubicBezTo>
                  <a:close/>
                  <a:moveTo>
                    <a:pt x="823268" y="3436333"/>
                  </a:moveTo>
                  <a:cubicBezTo>
                    <a:pt x="823268" y="3436333"/>
                    <a:pt x="823268" y="3436333"/>
                    <a:pt x="823586" y="3461367"/>
                  </a:cubicBezTo>
                  <a:cubicBezTo>
                    <a:pt x="823586" y="3461367"/>
                    <a:pt x="823586" y="3461367"/>
                    <a:pt x="848043" y="3464852"/>
                  </a:cubicBezTo>
                  <a:cubicBezTo>
                    <a:pt x="848043" y="3464852"/>
                    <a:pt x="848043" y="3464852"/>
                    <a:pt x="868052" y="3442987"/>
                  </a:cubicBezTo>
                  <a:close/>
                  <a:moveTo>
                    <a:pt x="613957" y="3434431"/>
                  </a:moveTo>
                  <a:cubicBezTo>
                    <a:pt x="613957" y="3434431"/>
                    <a:pt x="613957" y="3434431"/>
                    <a:pt x="627933" y="3472141"/>
                  </a:cubicBezTo>
                  <a:cubicBezTo>
                    <a:pt x="627933" y="3472141"/>
                    <a:pt x="627933" y="3472141"/>
                    <a:pt x="593630" y="3483232"/>
                  </a:cubicBezTo>
                  <a:cubicBezTo>
                    <a:pt x="593630" y="3483232"/>
                    <a:pt x="593630" y="3483232"/>
                    <a:pt x="586960" y="3477211"/>
                  </a:cubicBezTo>
                  <a:cubicBezTo>
                    <a:pt x="586960" y="3477211"/>
                    <a:pt x="586960" y="3477211"/>
                    <a:pt x="555516" y="3487985"/>
                  </a:cubicBezTo>
                  <a:lnTo>
                    <a:pt x="562186" y="3496224"/>
                  </a:lnTo>
                  <a:cubicBezTo>
                    <a:pt x="562186" y="3496224"/>
                    <a:pt x="562186" y="3496224"/>
                    <a:pt x="531059" y="3506682"/>
                  </a:cubicBezTo>
                  <a:cubicBezTo>
                    <a:pt x="531059" y="3506682"/>
                    <a:pt x="531059" y="3506682"/>
                    <a:pt x="500885" y="3476577"/>
                  </a:cubicBezTo>
                  <a:cubicBezTo>
                    <a:pt x="500885" y="3476577"/>
                    <a:pt x="500885" y="3476577"/>
                    <a:pt x="556151" y="3453444"/>
                  </a:cubicBezTo>
                  <a:cubicBezTo>
                    <a:pt x="556151" y="3453444"/>
                    <a:pt x="556151" y="3453444"/>
                    <a:pt x="613957" y="3434431"/>
                  </a:cubicBezTo>
                  <a:close/>
                  <a:moveTo>
                    <a:pt x="139435" y="3433481"/>
                  </a:moveTo>
                  <a:cubicBezTo>
                    <a:pt x="139435" y="3433481"/>
                    <a:pt x="139435" y="3433481"/>
                    <a:pt x="40020" y="3477528"/>
                  </a:cubicBezTo>
                  <a:cubicBezTo>
                    <a:pt x="62571" y="3509534"/>
                    <a:pt x="96239" y="3558017"/>
                    <a:pt x="131494" y="3608403"/>
                  </a:cubicBezTo>
                  <a:cubicBezTo>
                    <a:pt x="136259" y="3615057"/>
                    <a:pt x="141023" y="3621712"/>
                    <a:pt x="145787" y="3628683"/>
                  </a:cubicBezTo>
                  <a:cubicBezTo>
                    <a:pt x="145787" y="3628683"/>
                    <a:pt x="145787" y="3628683"/>
                    <a:pt x="225510" y="3564355"/>
                  </a:cubicBezTo>
                  <a:cubicBezTo>
                    <a:pt x="203276" y="3547243"/>
                    <a:pt x="188666" y="3525061"/>
                    <a:pt x="188348" y="3524744"/>
                  </a:cubicBezTo>
                  <a:cubicBezTo>
                    <a:pt x="188348" y="3524744"/>
                    <a:pt x="188348" y="3524744"/>
                    <a:pt x="188348" y="3524427"/>
                  </a:cubicBezTo>
                  <a:cubicBezTo>
                    <a:pt x="179137" y="3510801"/>
                    <a:pt x="160715" y="3479429"/>
                    <a:pt x="146740" y="3449642"/>
                  </a:cubicBezTo>
                  <a:cubicBezTo>
                    <a:pt x="144517" y="3444889"/>
                    <a:pt x="141976" y="3439185"/>
                    <a:pt x="139435" y="3433481"/>
                  </a:cubicBezTo>
                  <a:close/>
                  <a:moveTo>
                    <a:pt x="696221" y="3431262"/>
                  </a:moveTo>
                  <a:cubicBezTo>
                    <a:pt x="696221" y="3431262"/>
                    <a:pt x="696221" y="3431262"/>
                    <a:pt x="654930" y="3434748"/>
                  </a:cubicBezTo>
                  <a:cubicBezTo>
                    <a:pt x="654930" y="3434748"/>
                    <a:pt x="654930" y="3434748"/>
                    <a:pt x="668588" y="3477845"/>
                  </a:cubicBezTo>
                  <a:lnTo>
                    <a:pt x="699079" y="3477845"/>
                  </a:lnTo>
                  <a:cubicBezTo>
                    <a:pt x="698762" y="3472775"/>
                    <a:pt x="698444" y="3463902"/>
                    <a:pt x="697809" y="3455029"/>
                  </a:cubicBezTo>
                  <a:cubicBezTo>
                    <a:pt x="697491" y="3448057"/>
                    <a:pt x="696856" y="3441403"/>
                    <a:pt x="696538" y="3436016"/>
                  </a:cubicBezTo>
                  <a:cubicBezTo>
                    <a:pt x="696221" y="3434748"/>
                    <a:pt x="696221" y="3433481"/>
                    <a:pt x="696221" y="3431262"/>
                  </a:cubicBezTo>
                  <a:close/>
                  <a:moveTo>
                    <a:pt x="818822" y="3430945"/>
                  </a:moveTo>
                  <a:cubicBezTo>
                    <a:pt x="818822" y="3430945"/>
                    <a:pt x="818822" y="3430945"/>
                    <a:pt x="876628" y="3439818"/>
                  </a:cubicBezTo>
                  <a:cubicBezTo>
                    <a:pt x="876628" y="3439818"/>
                    <a:pt x="876628" y="3439818"/>
                    <a:pt x="849948" y="3469606"/>
                  </a:cubicBezTo>
                  <a:lnTo>
                    <a:pt x="819139" y="3465169"/>
                  </a:lnTo>
                  <a:cubicBezTo>
                    <a:pt x="819139" y="3465169"/>
                    <a:pt x="819139" y="3465169"/>
                    <a:pt x="818822" y="3430945"/>
                  </a:cubicBezTo>
                  <a:close/>
                  <a:moveTo>
                    <a:pt x="735923" y="3429995"/>
                  </a:moveTo>
                  <a:lnTo>
                    <a:pt x="733064" y="3477845"/>
                  </a:lnTo>
                  <a:cubicBezTo>
                    <a:pt x="733064" y="3477845"/>
                    <a:pt x="733064" y="3477845"/>
                    <a:pt x="756886" y="3477845"/>
                  </a:cubicBezTo>
                  <a:cubicBezTo>
                    <a:pt x="756886" y="3477845"/>
                    <a:pt x="756886" y="3477845"/>
                    <a:pt x="780072" y="3431896"/>
                  </a:cubicBezTo>
                  <a:cubicBezTo>
                    <a:pt x="780072" y="3431896"/>
                    <a:pt x="780072" y="3431896"/>
                    <a:pt x="735923" y="3429995"/>
                  </a:cubicBezTo>
                  <a:close/>
                  <a:moveTo>
                    <a:pt x="733064" y="3429995"/>
                  </a:moveTo>
                  <a:lnTo>
                    <a:pt x="698762" y="3431262"/>
                  </a:lnTo>
                  <a:cubicBezTo>
                    <a:pt x="700032" y="3445205"/>
                    <a:pt x="701303" y="3468338"/>
                    <a:pt x="701620" y="3477845"/>
                  </a:cubicBezTo>
                  <a:cubicBezTo>
                    <a:pt x="701620" y="3477845"/>
                    <a:pt x="701620" y="3477845"/>
                    <a:pt x="730524" y="3477845"/>
                  </a:cubicBezTo>
                  <a:cubicBezTo>
                    <a:pt x="730524" y="3477845"/>
                    <a:pt x="730524" y="3477845"/>
                    <a:pt x="733382" y="3429995"/>
                  </a:cubicBezTo>
                  <a:cubicBezTo>
                    <a:pt x="733382" y="3429995"/>
                    <a:pt x="733382" y="3429995"/>
                    <a:pt x="733064" y="3429995"/>
                  </a:cubicBezTo>
                  <a:close/>
                  <a:moveTo>
                    <a:pt x="1763420" y="3427460"/>
                  </a:moveTo>
                  <a:cubicBezTo>
                    <a:pt x="1763102" y="3427460"/>
                    <a:pt x="1722765" y="3435699"/>
                    <a:pt x="1684015" y="3443938"/>
                  </a:cubicBezTo>
                  <a:cubicBezTo>
                    <a:pt x="1656065" y="3449959"/>
                    <a:pt x="1628432" y="3455980"/>
                    <a:pt x="1614774" y="3458832"/>
                  </a:cubicBezTo>
                  <a:cubicBezTo>
                    <a:pt x="1618586" y="3489253"/>
                    <a:pt x="1622080" y="3519040"/>
                    <a:pt x="1625256" y="3545659"/>
                  </a:cubicBezTo>
                  <a:cubicBezTo>
                    <a:pt x="1625256" y="3545659"/>
                    <a:pt x="1625256" y="3545659"/>
                    <a:pt x="1774854" y="3526962"/>
                  </a:cubicBezTo>
                  <a:cubicBezTo>
                    <a:pt x="1774854" y="3526962"/>
                    <a:pt x="1774854" y="3526962"/>
                    <a:pt x="1864105" y="3533934"/>
                  </a:cubicBezTo>
                  <a:lnTo>
                    <a:pt x="1871410" y="3435382"/>
                  </a:lnTo>
                  <a:cubicBezTo>
                    <a:pt x="1847907" y="3433797"/>
                    <a:pt x="1765326" y="3427460"/>
                    <a:pt x="1763420" y="3427460"/>
                  </a:cubicBezTo>
                  <a:close/>
                  <a:moveTo>
                    <a:pt x="628886" y="3426192"/>
                  </a:moveTo>
                  <a:cubicBezTo>
                    <a:pt x="628250" y="3426192"/>
                    <a:pt x="627615" y="3426192"/>
                    <a:pt x="627297" y="3426509"/>
                  </a:cubicBezTo>
                  <a:cubicBezTo>
                    <a:pt x="596488" y="3433164"/>
                    <a:pt x="521213" y="3463268"/>
                    <a:pt x="495803" y="3474359"/>
                  </a:cubicBezTo>
                  <a:cubicBezTo>
                    <a:pt x="491992" y="3476260"/>
                    <a:pt x="487545" y="3478162"/>
                    <a:pt x="483416" y="3480380"/>
                  </a:cubicBezTo>
                  <a:cubicBezTo>
                    <a:pt x="483416" y="3480380"/>
                    <a:pt x="483416" y="3480380"/>
                    <a:pt x="600617" y="3609353"/>
                  </a:cubicBezTo>
                  <a:cubicBezTo>
                    <a:pt x="600617" y="3609353"/>
                    <a:pt x="600617" y="3609353"/>
                    <a:pt x="622533" y="3591608"/>
                  </a:cubicBezTo>
                  <a:cubicBezTo>
                    <a:pt x="622533" y="3591608"/>
                    <a:pt x="622533" y="3591608"/>
                    <a:pt x="655248" y="3502879"/>
                  </a:cubicBezTo>
                  <a:cubicBezTo>
                    <a:pt x="655248" y="3502879"/>
                    <a:pt x="655248" y="3502879"/>
                    <a:pt x="668588" y="3507949"/>
                  </a:cubicBezTo>
                  <a:cubicBezTo>
                    <a:pt x="668588" y="3507949"/>
                    <a:pt x="668588" y="3507949"/>
                    <a:pt x="667953" y="3508900"/>
                  </a:cubicBezTo>
                  <a:cubicBezTo>
                    <a:pt x="667953" y="3508900"/>
                    <a:pt x="667953" y="3508900"/>
                    <a:pt x="650484" y="3556433"/>
                  </a:cubicBezTo>
                  <a:cubicBezTo>
                    <a:pt x="658106" y="3558651"/>
                    <a:pt x="670176" y="3562771"/>
                    <a:pt x="682881" y="3566890"/>
                  </a:cubicBezTo>
                  <a:cubicBezTo>
                    <a:pt x="701303" y="3572911"/>
                    <a:pt x="719407" y="3578932"/>
                    <a:pt x="719407" y="3578932"/>
                  </a:cubicBezTo>
                  <a:cubicBezTo>
                    <a:pt x="719407" y="3578932"/>
                    <a:pt x="719407" y="3578932"/>
                    <a:pt x="719725" y="3579249"/>
                  </a:cubicBezTo>
                  <a:cubicBezTo>
                    <a:pt x="719725" y="3579249"/>
                    <a:pt x="719725" y="3579249"/>
                    <a:pt x="737511" y="3587488"/>
                  </a:cubicBezTo>
                  <a:cubicBezTo>
                    <a:pt x="737511" y="3587488"/>
                    <a:pt x="737511" y="3587488"/>
                    <a:pt x="742911" y="3564038"/>
                  </a:cubicBezTo>
                  <a:lnTo>
                    <a:pt x="780390" y="3504463"/>
                  </a:lnTo>
                  <a:cubicBezTo>
                    <a:pt x="780390" y="3504463"/>
                    <a:pt x="780390" y="3504463"/>
                    <a:pt x="658742" y="3504147"/>
                  </a:cubicBezTo>
                  <a:cubicBezTo>
                    <a:pt x="658742" y="3504147"/>
                    <a:pt x="658742" y="3504147"/>
                    <a:pt x="628886" y="3426192"/>
                  </a:cubicBezTo>
                  <a:close/>
                  <a:moveTo>
                    <a:pt x="733382" y="3425558"/>
                  </a:moveTo>
                  <a:cubicBezTo>
                    <a:pt x="733382" y="3425558"/>
                    <a:pt x="733382" y="3425558"/>
                    <a:pt x="734017" y="3425558"/>
                  </a:cubicBezTo>
                  <a:cubicBezTo>
                    <a:pt x="734017" y="3425558"/>
                    <a:pt x="734017" y="3425558"/>
                    <a:pt x="787060" y="3427777"/>
                  </a:cubicBezTo>
                  <a:cubicBezTo>
                    <a:pt x="787060" y="3427777"/>
                    <a:pt x="787060" y="3427777"/>
                    <a:pt x="759427" y="3481964"/>
                  </a:cubicBezTo>
                  <a:cubicBezTo>
                    <a:pt x="759427" y="3481964"/>
                    <a:pt x="759427" y="3481964"/>
                    <a:pt x="701938" y="3482281"/>
                  </a:cubicBezTo>
                  <a:cubicBezTo>
                    <a:pt x="701938" y="3482281"/>
                    <a:pt x="701938" y="3482281"/>
                    <a:pt x="699397" y="3482281"/>
                  </a:cubicBezTo>
                  <a:cubicBezTo>
                    <a:pt x="699397" y="3482281"/>
                    <a:pt x="699397" y="3482281"/>
                    <a:pt x="665412" y="3482281"/>
                  </a:cubicBezTo>
                  <a:cubicBezTo>
                    <a:pt x="665412" y="3482281"/>
                    <a:pt x="665412" y="3482281"/>
                    <a:pt x="649213" y="3430629"/>
                  </a:cubicBezTo>
                  <a:cubicBezTo>
                    <a:pt x="649213" y="3430629"/>
                    <a:pt x="649213" y="3430629"/>
                    <a:pt x="696538" y="3426826"/>
                  </a:cubicBezTo>
                  <a:cubicBezTo>
                    <a:pt x="696538" y="3426826"/>
                    <a:pt x="696538" y="3426826"/>
                    <a:pt x="697491" y="3426826"/>
                  </a:cubicBezTo>
                  <a:cubicBezTo>
                    <a:pt x="697491" y="3426826"/>
                    <a:pt x="697491" y="3426826"/>
                    <a:pt x="698444" y="3426509"/>
                  </a:cubicBezTo>
                  <a:cubicBezTo>
                    <a:pt x="698444" y="3426509"/>
                    <a:pt x="698444" y="3426826"/>
                    <a:pt x="698444" y="3426826"/>
                  </a:cubicBezTo>
                  <a:cubicBezTo>
                    <a:pt x="698444" y="3426826"/>
                    <a:pt x="698444" y="3426826"/>
                    <a:pt x="733382" y="3425558"/>
                  </a:cubicBezTo>
                  <a:close/>
                  <a:moveTo>
                    <a:pt x="1519171" y="3423974"/>
                  </a:moveTo>
                  <a:lnTo>
                    <a:pt x="1494714" y="3427460"/>
                  </a:lnTo>
                  <a:cubicBezTo>
                    <a:pt x="1494714" y="3427460"/>
                    <a:pt x="1494714" y="3427460"/>
                    <a:pt x="1500114" y="3465803"/>
                  </a:cubicBezTo>
                  <a:cubicBezTo>
                    <a:pt x="1500114" y="3465803"/>
                    <a:pt x="1500114" y="3465803"/>
                    <a:pt x="1524571" y="3462317"/>
                  </a:cubicBezTo>
                  <a:cubicBezTo>
                    <a:pt x="1524571" y="3462317"/>
                    <a:pt x="1524571" y="3462317"/>
                    <a:pt x="1519171" y="3423974"/>
                  </a:cubicBezTo>
                  <a:close/>
                  <a:moveTo>
                    <a:pt x="2544444" y="3423657"/>
                  </a:moveTo>
                  <a:cubicBezTo>
                    <a:pt x="2544444" y="3423657"/>
                    <a:pt x="2544444" y="3423657"/>
                    <a:pt x="2511094" y="3488619"/>
                  </a:cubicBezTo>
                  <a:cubicBezTo>
                    <a:pt x="2511094" y="3488619"/>
                    <a:pt x="2511094" y="3488619"/>
                    <a:pt x="2535869" y="3501295"/>
                  </a:cubicBezTo>
                  <a:cubicBezTo>
                    <a:pt x="2535869" y="3501295"/>
                    <a:pt x="2535869" y="3501295"/>
                    <a:pt x="2569854" y="3435382"/>
                  </a:cubicBezTo>
                  <a:close/>
                  <a:moveTo>
                    <a:pt x="701303" y="3420488"/>
                  </a:moveTo>
                  <a:cubicBezTo>
                    <a:pt x="673035" y="3420488"/>
                    <a:pt x="651119" y="3422073"/>
                    <a:pt x="633967" y="3424925"/>
                  </a:cubicBezTo>
                  <a:cubicBezTo>
                    <a:pt x="633967" y="3424925"/>
                    <a:pt x="633967" y="3424925"/>
                    <a:pt x="662553" y="3498759"/>
                  </a:cubicBezTo>
                  <a:cubicBezTo>
                    <a:pt x="662553" y="3498759"/>
                    <a:pt x="662553" y="3498759"/>
                    <a:pt x="785472" y="3499393"/>
                  </a:cubicBezTo>
                  <a:cubicBezTo>
                    <a:pt x="785472" y="3499393"/>
                    <a:pt x="785472" y="3499393"/>
                    <a:pt x="785472" y="3495907"/>
                  </a:cubicBezTo>
                  <a:cubicBezTo>
                    <a:pt x="785472" y="3495907"/>
                    <a:pt x="785472" y="3495907"/>
                    <a:pt x="786742" y="3495907"/>
                  </a:cubicBezTo>
                  <a:cubicBezTo>
                    <a:pt x="786742" y="3495907"/>
                    <a:pt x="801670" y="3495907"/>
                    <a:pt x="816916" y="3495907"/>
                  </a:cubicBezTo>
                  <a:cubicBezTo>
                    <a:pt x="824539" y="3495907"/>
                    <a:pt x="831844" y="3495907"/>
                    <a:pt x="837561" y="3495907"/>
                  </a:cubicBezTo>
                  <a:cubicBezTo>
                    <a:pt x="838514" y="3495907"/>
                    <a:pt x="839467" y="3495907"/>
                    <a:pt x="840420" y="3495907"/>
                  </a:cubicBezTo>
                  <a:cubicBezTo>
                    <a:pt x="842008" y="3494006"/>
                    <a:pt x="843278" y="3492105"/>
                    <a:pt x="844866" y="3490203"/>
                  </a:cubicBezTo>
                  <a:cubicBezTo>
                    <a:pt x="861700" y="3469289"/>
                    <a:pt x="880122" y="3450592"/>
                    <a:pt x="893780" y="3437917"/>
                  </a:cubicBezTo>
                  <a:cubicBezTo>
                    <a:pt x="872499" y="3433481"/>
                    <a:pt x="831209" y="3425875"/>
                    <a:pt x="780072" y="3423023"/>
                  </a:cubicBezTo>
                  <a:cubicBezTo>
                    <a:pt x="749581" y="3421439"/>
                    <a:pt x="723536" y="3420488"/>
                    <a:pt x="701303" y="3420488"/>
                  </a:cubicBezTo>
                  <a:close/>
                  <a:moveTo>
                    <a:pt x="1522665" y="3419221"/>
                  </a:moveTo>
                  <a:cubicBezTo>
                    <a:pt x="1522665" y="3419221"/>
                    <a:pt x="1522665" y="3419221"/>
                    <a:pt x="1529335" y="3465803"/>
                  </a:cubicBezTo>
                  <a:cubicBezTo>
                    <a:pt x="1529335" y="3465803"/>
                    <a:pt x="1529335" y="3465803"/>
                    <a:pt x="1527429" y="3465803"/>
                  </a:cubicBezTo>
                  <a:lnTo>
                    <a:pt x="1496620" y="3470240"/>
                  </a:lnTo>
                  <a:cubicBezTo>
                    <a:pt x="1496620" y="3470240"/>
                    <a:pt x="1496620" y="3470240"/>
                    <a:pt x="1489950" y="3423974"/>
                  </a:cubicBezTo>
                  <a:cubicBezTo>
                    <a:pt x="1489950" y="3423974"/>
                    <a:pt x="1489950" y="3423974"/>
                    <a:pt x="1522665" y="3419221"/>
                  </a:cubicBezTo>
                  <a:close/>
                  <a:moveTo>
                    <a:pt x="268706" y="3419221"/>
                  </a:moveTo>
                  <a:cubicBezTo>
                    <a:pt x="268706" y="3419221"/>
                    <a:pt x="268706" y="3419221"/>
                    <a:pt x="256954" y="3425875"/>
                  </a:cubicBezTo>
                  <a:cubicBezTo>
                    <a:pt x="256954" y="3425875"/>
                    <a:pt x="256954" y="3425875"/>
                    <a:pt x="264577" y="3440452"/>
                  </a:cubicBezTo>
                  <a:cubicBezTo>
                    <a:pt x="264577" y="3440452"/>
                    <a:pt x="264577" y="3440452"/>
                    <a:pt x="266482" y="3444255"/>
                  </a:cubicBezTo>
                  <a:cubicBezTo>
                    <a:pt x="266482" y="3444255"/>
                    <a:pt x="266482" y="3444255"/>
                    <a:pt x="262671" y="3446473"/>
                  </a:cubicBezTo>
                  <a:cubicBezTo>
                    <a:pt x="262671" y="3446473"/>
                    <a:pt x="262671" y="3446473"/>
                    <a:pt x="245520" y="3456296"/>
                  </a:cubicBezTo>
                  <a:cubicBezTo>
                    <a:pt x="245520" y="3456296"/>
                    <a:pt x="245520" y="3456296"/>
                    <a:pt x="254413" y="3470556"/>
                  </a:cubicBezTo>
                  <a:cubicBezTo>
                    <a:pt x="254413" y="3470556"/>
                    <a:pt x="254413" y="3470556"/>
                    <a:pt x="256001" y="3473408"/>
                  </a:cubicBezTo>
                  <a:cubicBezTo>
                    <a:pt x="256001" y="3473408"/>
                    <a:pt x="256001" y="3473408"/>
                    <a:pt x="254095" y="3475627"/>
                  </a:cubicBezTo>
                  <a:cubicBezTo>
                    <a:pt x="254095" y="3475627"/>
                    <a:pt x="254095" y="3475627"/>
                    <a:pt x="222333" y="3515555"/>
                  </a:cubicBezTo>
                  <a:cubicBezTo>
                    <a:pt x="222333" y="3515555"/>
                    <a:pt x="222333" y="3515555"/>
                    <a:pt x="235356" y="3530131"/>
                  </a:cubicBezTo>
                  <a:cubicBezTo>
                    <a:pt x="235356" y="3530131"/>
                    <a:pt x="235356" y="3530131"/>
                    <a:pt x="277281" y="3471824"/>
                  </a:cubicBezTo>
                  <a:cubicBezTo>
                    <a:pt x="277281" y="3471824"/>
                    <a:pt x="277281" y="3471824"/>
                    <a:pt x="277599" y="3471190"/>
                  </a:cubicBezTo>
                  <a:cubicBezTo>
                    <a:pt x="277599" y="3471190"/>
                    <a:pt x="277599" y="3471190"/>
                    <a:pt x="278234" y="3470556"/>
                  </a:cubicBezTo>
                  <a:lnTo>
                    <a:pt x="294751" y="3460416"/>
                  </a:lnTo>
                  <a:cubicBezTo>
                    <a:pt x="294751" y="3460416"/>
                    <a:pt x="294751" y="3460416"/>
                    <a:pt x="268706" y="3419221"/>
                  </a:cubicBezTo>
                  <a:close/>
                  <a:moveTo>
                    <a:pt x="2542539" y="3417636"/>
                  </a:moveTo>
                  <a:lnTo>
                    <a:pt x="2544444" y="3418270"/>
                  </a:lnTo>
                  <a:cubicBezTo>
                    <a:pt x="2544444" y="3418270"/>
                    <a:pt x="2544444" y="3418270"/>
                    <a:pt x="2576206" y="3433164"/>
                  </a:cubicBezTo>
                  <a:cubicBezTo>
                    <a:pt x="2576206" y="3433164"/>
                    <a:pt x="2576206" y="3433164"/>
                    <a:pt x="2537774" y="3507632"/>
                  </a:cubicBezTo>
                  <a:cubicBezTo>
                    <a:pt x="2537774" y="3507632"/>
                    <a:pt x="2537774" y="3507632"/>
                    <a:pt x="2504742" y="3490520"/>
                  </a:cubicBezTo>
                  <a:cubicBezTo>
                    <a:pt x="2504742" y="3490520"/>
                    <a:pt x="2504742" y="3490520"/>
                    <a:pt x="2542539" y="3417636"/>
                  </a:cubicBezTo>
                  <a:close/>
                  <a:moveTo>
                    <a:pt x="1573166" y="3417002"/>
                  </a:moveTo>
                  <a:cubicBezTo>
                    <a:pt x="1573166" y="3417002"/>
                    <a:pt x="1573166" y="3417002"/>
                    <a:pt x="1548392" y="3420488"/>
                  </a:cubicBezTo>
                  <a:cubicBezTo>
                    <a:pt x="1548392" y="3420488"/>
                    <a:pt x="1548392" y="3420488"/>
                    <a:pt x="1553792" y="3458832"/>
                  </a:cubicBezTo>
                  <a:lnTo>
                    <a:pt x="1578566" y="3455346"/>
                  </a:lnTo>
                  <a:cubicBezTo>
                    <a:pt x="1578566" y="3455346"/>
                    <a:pt x="1578566" y="3455346"/>
                    <a:pt x="1573166" y="3417002"/>
                  </a:cubicBezTo>
                  <a:close/>
                  <a:moveTo>
                    <a:pt x="1398794" y="3413833"/>
                  </a:moveTo>
                  <a:cubicBezTo>
                    <a:pt x="1398794" y="3413833"/>
                    <a:pt x="1398794" y="3413833"/>
                    <a:pt x="1368937" y="3434748"/>
                  </a:cubicBezTo>
                  <a:cubicBezTo>
                    <a:pt x="1368937" y="3434748"/>
                    <a:pt x="1368937" y="3434748"/>
                    <a:pt x="1420392" y="3466120"/>
                  </a:cubicBezTo>
                  <a:cubicBezTo>
                    <a:pt x="1421344" y="3465486"/>
                    <a:pt x="1422615" y="3464852"/>
                    <a:pt x="1423885" y="3464219"/>
                  </a:cubicBezTo>
                  <a:cubicBezTo>
                    <a:pt x="1424521" y="3463902"/>
                    <a:pt x="1425474" y="3463268"/>
                    <a:pt x="1426109" y="3462951"/>
                  </a:cubicBezTo>
                  <a:cubicBezTo>
                    <a:pt x="1426109" y="3462951"/>
                    <a:pt x="1426109" y="3462951"/>
                    <a:pt x="1398794" y="3413833"/>
                  </a:cubicBezTo>
                  <a:close/>
                  <a:moveTo>
                    <a:pt x="270294" y="3413200"/>
                  </a:moveTo>
                  <a:lnTo>
                    <a:pt x="300785" y="3461684"/>
                  </a:lnTo>
                  <a:cubicBezTo>
                    <a:pt x="300785" y="3461684"/>
                    <a:pt x="300785" y="3461684"/>
                    <a:pt x="280775" y="3474359"/>
                  </a:cubicBezTo>
                  <a:cubicBezTo>
                    <a:pt x="280775" y="3474359"/>
                    <a:pt x="280775" y="3474359"/>
                    <a:pt x="235991" y="3537420"/>
                  </a:cubicBezTo>
                  <a:cubicBezTo>
                    <a:pt x="235991" y="3537420"/>
                    <a:pt x="235991" y="3537420"/>
                    <a:pt x="216616" y="3515871"/>
                  </a:cubicBezTo>
                  <a:cubicBezTo>
                    <a:pt x="216616" y="3515871"/>
                    <a:pt x="216616" y="3515871"/>
                    <a:pt x="250602" y="3473092"/>
                  </a:cubicBezTo>
                  <a:cubicBezTo>
                    <a:pt x="250602" y="3473092"/>
                    <a:pt x="250602" y="3473092"/>
                    <a:pt x="239485" y="3454712"/>
                  </a:cubicBezTo>
                  <a:cubicBezTo>
                    <a:pt x="239485" y="3454712"/>
                    <a:pt x="239485" y="3454712"/>
                    <a:pt x="260448" y="3442670"/>
                  </a:cubicBezTo>
                  <a:cubicBezTo>
                    <a:pt x="260448" y="3442670"/>
                    <a:pt x="260448" y="3442670"/>
                    <a:pt x="251237" y="3424291"/>
                  </a:cubicBezTo>
                  <a:cubicBezTo>
                    <a:pt x="251237" y="3424291"/>
                    <a:pt x="251237" y="3424291"/>
                    <a:pt x="270294" y="3413200"/>
                  </a:cubicBezTo>
                  <a:close/>
                  <a:moveTo>
                    <a:pt x="1576660" y="3412249"/>
                  </a:moveTo>
                  <a:cubicBezTo>
                    <a:pt x="1576660" y="3412249"/>
                    <a:pt x="1576660" y="3412249"/>
                    <a:pt x="1583012" y="3458832"/>
                  </a:cubicBezTo>
                  <a:cubicBezTo>
                    <a:pt x="1583012" y="3458832"/>
                    <a:pt x="1583012" y="3458832"/>
                    <a:pt x="1581107" y="3459148"/>
                  </a:cubicBezTo>
                  <a:cubicBezTo>
                    <a:pt x="1581107" y="3459148"/>
                    <a:pt x="1581107" y="3459148"/>
                    <a:pt x="1550298" y="3463268"/>
                  </a:cubicBezTo>
                  <a:cubicBezTo>
                    <a:pt x="1550298" y="3463268"/>
                    <a:pt x="1550298" y="3463268"/>
                    <a:pt x="1543945" y="3417002"/>
                  </a:cubicBezTo>
                  <a:close/>
                  <a:moveTo>
                    <a:pt x="4593404" y="3411298"/>
                  </a:moveTo>
                  <a:cubicBezTo>
                    <a:pt x="4593404" y="3411298"/>
                    <a:pt x="4593404" y="3411298"/>
                    <a:pt x="4523528" y="3472458"/>
                  </a:cubicBezTo>
                  <a:cubicBezTo>
                    <a:pt x="4523528" y="3472458"/>
                    <a:pt x="4523528" y="3472458"/>
                    <a:pt x="4473979" y="3416369"/>
                  </a:cubicBezTo>
                  <a:lnTo>
                    <a:pt x="4259268" y="3606818"/>
                  </a:lnTo>
                  <a:cubicBezTo>
                    <a:pt x="4259268" y="3606818"/>
                    <a:pt x="4259268" y="3606818"/>
                    <a:pt x="4315170" y="3668928"/>
                  </a:cubicBezTo>
                  <a:cubicBezTo>
                    <a:pt x="4315170" y="3668928"/>
                    <a:pt x="4315170" y="3668928"/>
                    <a:pt x="4333274" y="3652450"/>
                  </a:cubicBezTo>
                  <a:cubicBezTo>
                    <a:pt x="4333274" y="3652450"/>
                    <a:pt x="4333274" y="3652450"/>
                    <a:pt x="4358366" y="3681604"/>
                  </a:cubicBezTo>
                  <a:cubicBezTo>
                    <a:pt x="4358366" y="3681604"/>
                    <a:pt x="4358366" y="3681604"/>
                    <a:pt x="4401880" y="3641993"/>
                  </a:cubicBezTo>
                  <a:cubicBezTo>
                    <a:pt x="4401880" y="3641993"/>
                    <a:pt x="4401880" y="3641993"/>
                    <a:pt x="4377740" y="3614107"/>
                  </a:cubicBezTo>
                  <a:cubicBezTo>
                    <a:pt x="4377740" y="3614107"/>
                    <a:pt x="4377740" y="3614107"/>
                    <a:pt x="4460639" y="3539638"/>
                  </a:cubicBezTo>
                  <a:cubicBezTo>
                    <a:pt x="4460639" y="3539638"/>
                    <a:pt x="4460639" y="3539638"/>
                    <a:pt x="4493036" y="3577665"/>
                  </a:cubicBezTo>
                  <a:cubicBezTo>
                    <a:pt x="4493036" y="3577665"/>
                    <a:pt x="4493036" y="3577665"/>
                    <a:pt x="4476520" y="3594143"/>
                  </a:cubicBezTo>
                  <a:cubicBezTo>
                    <a:pt x="4476520" y="3594143"/>
                    <a:pt x="4476520" y="3594143"/>
                    <a:pt x="4509552" y="3631535"/>
                  </a:cubicBezTo>
                  <a:cubicBezTo>
                    <a:pt x="4509552" y="3631535"/>
                    <a:pt x="4509552" y="3631535"/>
                    <a:pt x="4430465" y="3703152"/>
                  </a:cubicBezTo>
                  <a:cubicBezTo>
                    <a:pt x="4430465" y="3703152"/>
                    <a:pt x="4430465" y="3703152"/>
                    <a:pt x="4444123" y="3718363"/>
                  </a:cubicBezTo>
                  <a:cubicBezTo>
                    <a:pt x="4444123" y="3718363"/>
                    <a:pt x="4444123" y="3718363"/>
                    <a:pt x="4524162" y="3648014"/>
                  </a:cubicBezTo>
                  <a:cubicBezTo>
                    <a:pt x="4524162" y="3648014"/>
                    <a:pt x="4524162" y="3648014"/>
                    <a:pt x="4554654" y="3683188"/>
                  </a:cubicBezTo>
                  <a:cubicBezTo>
                    <a:pt x="4554654" y="3683188"/>
                    <a:pt x="4554654" y="3683188"/>
                    <a:pt x="4603885" y="3639458"/>
                  </a:cubicBezTo>
                  <a:cubicBezTo>
                    <a:pt x="4603885" y="3639458"/>
                    <a:pt x="4603885" y="3639458"/>
                    <a:pt x="4537185" y="3564355"/>
                  </a:cubicBezTo>
                  <a:cubicBezTo>
                    <a:pt x="4537185" y="3564355"/>
                    <a:pt x="4537185" y="3564355"/>
                    <a:pt x="4645176" y="3468655"/>
                  </a:cubicBezTo>
                  <a:cubicBezTo>
                    <a:pt x="4645176" y="3468655"/>
                    <a:pt x="4645176" y="3468655"/>
                    <a:pt x="4593404" y="3411298"/>
                  </a:cubicBezTo>
                  <a:close/>
                  <a:moveTo>
                    <a:pt x="1400382" y="3406862"/>
                  </a:moveTo>
                  <a:lnTo>
                    <a:pt x="1430873" y="3461684"/>
                  </a:lnTo>
                  <a:cubicBezTo>
                    <a:pt x="1431191" y="3462000"/>
                    <a:pt x="1431826" y="3462951"/>
                    <a:pt x="1431826" y="3463585"/>
                  </a:cubicBezTo>
                  <a:cubicBezTo>
                    <a:pt x="1431191" y="3465803"/>
                    <a:pt x="1430873" y="3465169"/>
                    <a:pt x="1430555" y="3465803"/>
                  </a:cubicBezTo>
                  <a:cubicBezTo>
                    <a:pt x="1428332" y="3467388"/>
                    <a:pt x="1421662" y="3470873"/>
                    <a:pt x="1421344" y="3470873"/>
                  </a:cubicBezTo>
                  <a:cubicBezTo>
                    <a:pt x="1421344" y="3470873"/>
                    <a:pt x="1421344" y="3470873"/>
                    <a:pt x="1420392" y="3471507"/>
                  </a:cubicBezTo>
                  <a:cubicBezTo>
                    <a:pt x="1420392" y="3471507"/>
                    <a:pt x="1420392" y="3471507"/>
                    <a:pt x="1360679" y="3435065"/>
                  </a:cubicBezTo>
                  <a:cubicBezTo>
                    <a:pt x="1360679" y="3435065"/>
                    <a:pt x="1360679" y="3435065"/>
                    <a:pt x="1400382" y="3406862"/>
                  </a:cubicBezTo>
                  <a:close/>
                  <a:moveTo>
                    <a:pt x="1002405" y="3405594"/>
                  </a:moveTo>
                  <a:cubicBezTo>
                    <a:pt x="995418" y="3408763"/>
                    <a:pt x="967150" y="3421756"/>
                    <a:pt x="955715" y="3429678"/>
                  </a:cubicBezTo>
                  <a:cubicBezTo>
                    <a:pt x="949045" y="3434114"/>
                    <a:pt x="945234" y="3437600"/>
                    <a:pt x="943328" y="3440135"/>
                  </a:cubicBezTo>
                  <a:cubicBezTo>
                    <a:pt x="943011" y="3440452"/>
                    <a:pt x="942693" y="3440769"/>
                    <a:pt x="942375" y="3441086"/>
                  </a:cubicBezTo>
                  <a:cubicBezTo>
                    <a:pt x="942375" y="3441086"/>
                    <a:pt x="942375" y="3441086"/>
                    <a:pt x="993194" y="3461684"/>
                  </a:cubicBezTo>
                  <a:cubicBezTo>
                    <a:pt x="993194" y="3461684"/>
                    <a:pt x="993194" y="3461684"/>
                    <a:pt x="1026544" y="3507632"/>
                  </a:cubicBezTo>
                  <a:cubicBezTo>
                    <a:pt x="1026544" y="3507632"/>
                    <a:pt x="1026544" y="3507632"/>
                    <a:pt x="1054812" y="3491788"/>
                  </a:cubicBezTo>
                  <a:lnTo>
                    <a:pt x="1055130" y="3471824"/>
                  </a:lnTo>
                  <a:cubicBezTo>
                    <a:pt x="1055130" y="3471824"/>
                    <a:pt x="1055130" y="3471824"/>
                    <a:pt x="1002405" y="3405594"/>
                  </a:cubicBezTo>
                  <a:close/>
                  <a:moveTo>
                    <a:pt x="4593721" y="3404644"/>
                  </a:moveTo>
                  <a:cubicBezTo>
                    <a:pt x="4593721" y="3404644"/>
                    <a:pt x="4593721" y="3404644"/>
                    <a:pt x="4651846" y="3468972"/>
                  </a:cubicBezTo>
                  <a:cubicBezTo>
                    <a:pt x="4651846" y="3468972"/>
                    <a:pt x="4651846" y="3468972"/>
                    <a:pt x="4543855" y="3564672"/>
                  </a:cubicBezTo>
                  <a:cubicBezTo>
                    <a:pt x="4543855" y="3564672"/>
                    <a:pt x="4543855" y="3564672"/>
                    <a:pt x="4610555" y="3640091"/>
                  </a:cubicBezTo>
                  <a:cubicBezTo>
                    <a:pt x="4610555" y="3640091"/>
                    <a:pt x="4610555" y="3640091"/>
                    <a:pt x="4554336" y="3689843"/>
                  </a:cubicBezTo>
                  <a:cubicBezTo>
                    <a:pt x="4554336" y="3689843"/>
                    <a:pt x="4554336" y="3689843"/>
                    <a:pt x="4523845" y="3654668"/>
                  </a:cubicBezTo>
                  <a:cubicBezTo>
                    <a:pt x="4523845" y="3654668"/>
                    <a:pt x="4523845" y="3654668"/>
                    <a:pt x="4443488" y="3725017"/>
                  </a:cubicBezTo>
                  <a:cubicBezTo>
                    <a:pt x="4443488" y="3725017"/>
                    <a:pt x="4443488" y="3725017"/>
                    <a:pt x="4424113" y="3702835"/>
                  </a:cubicBezTo>
                  <a:cubicBezTo>
                    <a:pt x="4424113" y="3702835"/>
                    <a:pt x="4424113" y="3702835"/>
                    <a:pt x="4503200" y="3631219"/>
                  </a:cubicBezTo>
                  <a:cubicBezTo>
                    <a:pt x="4503200" y="3631219"/>
                    <a:pt x="4503200" y="3631219"/>
                    <a:pt x="4469850" y="3593826"/>
                  </a:cubicBezTo>
                  <a:cubicBezTo>
                    <a:pt x="4469850" y="3593826"/>
                    <a:pt x="4469850" y="3593826"/>
                    <a:pt x="4486684" y="3577348"/>
                  </a:cubicBezTo>
                  <a:cubicBezTo>
                    <a:pt x="4486684" y="3577348"/>
                    <a:pt x="4486684" y="3577348"/>
                    <a:pt x="4460004" y="3546293"/>
                  </a:cubicBezTo>
                  <a:cubicBezTo>
                    <a:pt x="4460004" y="3546293"/>
                    <a:pt x="4460004" y="3546293"/>
                    <a:pt x="4384410" y="3614424"/>
                  </a:cubicBezTo>
                  <a:cubicBezTo>
                    <a:pt x="4384410" y="3614424"/>
                    <a:pt x="4384410" y="3614424"/>
                    <a:pt x="4408550" y="3642310"/>
                  </a:cubicBezTo>
                  <a:cubicBezTo>
                    <a:pt x="4408550" y="3642310"/>
                    <a:pt x="4408550" y="3642310"/>
                    <a:pt x="4358048" y="3688258"/>
                  </a:cubicBezTo>
                  <a:cubicBezTo>
                    <a:pt x="4358048" y="3688258"/>
                    <a:pt x="4358048" y="3688258"/>
                    <a:pt x="4332956" y="3659422"/>
                  </a:cubicBezTo>
                  <a:lnTo>
                    <a:pt x="4314852" y="3675583"/>
                  </a:lnTo>
                  <a:cubicBezTo>
                    <a:pt x="4314852" y="3675583"/>
                    <a:pt x="4314852" y="3675583"/>
                    <a:pt x="4252598" y="3606501"/>
                  </a:cubicBezTo>
                  <a:cubicBezTo>
                    <a:pt x="4252598" y="3606501"/>
                    <a:pt x="4252598" y="3606501"/>
                    <a:pt x="4472708" y="3411298"/>
                  </a:cubicBezTo>
                  <a:cubicBezTo>
                    <a:pt x="4472708" y="3411298"/>
                    <a:pt x="4472708" y="3411298"/>
                    <a:pt x="4474614" y="3409714"/>
                  </a:cubicBezTo>
                  <a:cubicBezTo>
                    <a:pt x="4474614" y="3409714"/>
                    <a:pt x="4474614" y="3409714"/>
                    <a:pt x="4523845" y="3466120"/>
                  </a:cubicBezTo>
                  <a:cubicBezTo>
                    <a:pt x="4523845" y="3466120"/>
                    <a:pt x="4523845" y="3466120"/>
                    <a:pt x="4593721" y="3404644"/>
                  </a:cubicBezTo>
                  <a:close/>
                  <a:moveTo>
                    <a:pt x="1003993" y="3399890"/>
                  </a:moveTo>
                  <a:lnTo>
                    <a:pt x="1004946" y="3401158"/>
                  </a:lnTo>
                  <a:cubicBezTo>
                    <a:pt x="1004946" y="3401158"/>
                    <a:pt x="1004946" y="3401158"/>
                    <a:pt x="1059894" y="3470240"/>
                  </a:cubicBezTo>
                  <a:cubicBezTo>
                    <a:pt x="1059894" y="3470240"/>
                    <a:pt x="1059894" y="3470240"/>
                    <a:pt x="1059259" y="3494640"/>
                  </a:cubicBezTo>
                  <a:cubicBezTo>
                    <a:pt x="1059259" y="3494640"/>
                    <a:pt x="1059259" y="3494640"/>
                    <a:pt x="1025274" y="3513653"/>
                  </a:cubicBezTo>
                  <a:cubicBezTo>
                    <a:pt x="1025274" y="3513653"/>
                    <a:pt x="1025274" y="3513653"/>
                    <a:pt x="990018" y="3465486"/>
                  </a:cubicBezTo>
                  <a:cubicBezTo>
                    <a:pt x="990018" y="3465486"/>
                    <a:pt x="990018" y="3465486"/>
                    <a:pt x="936023" y="3443621"/>
                  </a:cubicBezTo>
                  <a:cubicBezTo>
                    <a:pt x="936023" y="3443621"/>
                    <a:pt x="936023" y="3443621"/>
                    <a:pt x="936658" y="3441403"/>
                  </a:cubicBezTo>
                  <a:cubicBezTo>
                    <a:pt x="936976" y="3440769"/>
                    <a:pt x="939199" y="3435382"/>
                    <a:pt x="953174" y="3425875"/>
                  </a:cubicBezTo>
                  <a:cubicBezTo>
                    <a:pt x="967150" y="3416052"/>
                    <a:pt x="1002088" y="3400524"/>
                    <a:pt x="1002088" y="3400524"/>
                  </a:cubicBezTo>
                  <a:cubicBezTo>
                    <a:pt x="1002088" y="3400524"/>
                    <a:pt x="1002088" y="3400524"/>
                    <a:pt x="1003993" y="3399890"/>
                  </a:cubicBezTo>
                  <a:close/>
                  <a:moveTo>
                    <a:pt x="1434684" y="3395454"/>
                  </a:moveTo>
                  <a:cubicBezTo>
                    <a:pt x="1434684" y="3395454"/>
                    <a:pt x="1434684" y="3395454"/>
                    <a:pt x="1385771" y="3400207"/>
                  </a:cubicBezTo>
                  <a:cubicBezTo>
                    <a:pt x="1385771" y="3400207"/>
                    <a:pt x="1385771" y="3400207"/>
                    <a:pt x="1360997" y="3417636"/>
                  </a:cubicBezTo>
                  <a:cubicBezTo>
                    <a:pt x="1360997" y="3417636"/>
                    <a:pt x="1360997" y="3417636"/>
                    <a:pt x="1339716" y="3469289"/>
                  </a:cubicBezTo>
                  <a:cubicBezTo>
                    <a:pt x="1339716" y="3469289"/>
                    <a:pt x="1339716" y="3469289"/>
                    <a:pt x="1423568" y="3492739"/>
                  </a:cubicBezTo>
                  <a:lnTo>
                    <a:pt x="1461047" y="3470873"/>
                  </a:lnTo>
                  <a:cubicBezTo>
                    <a:pt x="1461047" y="3470873"/>
                    <a:pt x="1461047" y="3470873"/>
                    <a:pt x="1434684" y="3395454"/>
                  </a:cubicBezTo>
                  <a:close/>
                  <a:moveTo>
                    <a:pt x="1006534" y="3391651"/>
                  </a:moveTo>
                  <a:cubicBezTo>
                    <a:pt x="998911" y="3394503"/>
                    <a:pt x="987477" y="3398623"/>
                    <a:pt x="973820" y="3404961"/>
                  </a:cubicBezTo>
                  <a:cubicBezTo>
                    <a:pt x="956351" y="3413200"/>
                    <a:pt x="940470" y="3424291"/>
                    <a:pt x="924906" y="3438234"/>
                  </a:cubicBezTo>
                  <a:cubicBezTo>
                    <a:pt x="923001" y="3440452"/>
                    <a:pt x="919824" y="3443304"/>
                    <a:pt x="919824" y="3443304"/>
                  </a:cubicBezTo>
                  <a:cubicBezTo>
                    <a:pt x="919507" y="3443938"/>
                    <a:pt x="918872" y="3444572"/>
                    <a:pt x="918236" y="3444889"/>
                  </a:cubicBezTo>
                  <a:cubicBezTo>
                    <a:pt x="918236" y="3444889"/>
                    <a:pt x="918236" y="3444889"/>
                    <a:pt x="988430" y="3471190"/>
                  </a:cubicBezTo>
                  <a:cubicBezTo>
                    <a:pt x="988430" y="3471190"/>
                    <a:pt x="988430" y="3471190"/>
                    <a:pt x="1024003" y="3523160"/>
                  </a:cubicBezTo>
                  <a:cubicBezTo>
                    <a:pt x="1024003" y="3523160"/>
                    <a:pt x="1024003" y="3523160"/>
                    <a:pt x="1079587" y="3488302"/>
                  </a:cubicBezTo>
                  <a:cubicBezTo>
                    <a:pt x="1079587" y="3488302"/>
                    <a:pt x="1079587" y="3488302"/>
                    <a:pt x="1079587" y="3487985"/>
                  </a:cubicBezTo>
                  <a:close/>
                  <a:moveTo>
                    <a:pt x="2259858" y="3391334"/>
                  </a:moveTo>
                  <a:lnTo>
                    <a:pt x="2246200" y="3439818"/>
                  </a:lnTo>
                  <a:cubicBezTo>
                    <a:pt x="2246200" y="3439818"/>
                    <a:pt x="2246200" y="3439818"/>
                    <a:pt x="2262399" y="3444255"/>
                  </a:cubicBezTo>
                  <a:cubicBezTo>
                    <a:pt x="2262399" y="3444255"/>
                    <a:pt x="2262399" y="3444255"/>
                    <a:pt x="2260811" y="3448691"/>
                  </a:cubicBezTo>
                  <a:cubicBezTo>
                    <a:pt x="2260811" y="3448691"/>
                    <a:pt x="2260811" y="3448691"/>
                    <a:pt x="2287808" y="3456613"/>
                  </a:cubicBezTo>
                  <a:cubicBezTo>
                    <a:pt x="2287808" y="3456613"/>
                    <a:pt x="2287808" y="3456613"/>
                    <a:pt x="2296066" y="3427143"/>
                  </a:cubicBezTo>
                  <a:cubicBezTo>
                    <a:pt x="2296066" y="3427143"/>
                    <a:pt x="2296066" y="3427143"/>
                    <a:pt x="2278280" y="3421756"/>
                  </a:cubicBezTo>
                  <a:cubicBezTo>
                    <a:pt x="2278280" y="3421756"/>
                    <a:pt x="2278280" y="3421756"/>
                    <a:pt x="2285268" y="3398306"/>
                  </a:cubicBezTo>
                  <a:cubicBezTo>
                    <a:pt x="2285268" y="3398306"/>
                    <a:pt x="2285268" y="3398306"/>
                    <a:pt x="2259858" y="3391334"/>
                  </a:cubicBezTo>
                  <a:close/>
                  <a:moveTo>
                    <a:pt x="1437861" y="3390384"/>
                  </a:moveTo>
                  <a:cubicBezTo>
                    <a:pt x="1437861" y="3390384"/>
                    <a:pt x="1437861" y="3390384"/>
                    <a:pt x="1466764" y="3472775"/>
                  </a:cubicBezTo>
                  <a:cubicBezTo>
                    <a:pt x="1466764" y="3472775"/>
                    <a:pt x="1466764" y="3472775"/>
                    <a:pt x="1465176" y="3474042"/>
                  </a:cubicBezTo>
                  <a:cubicBezTo>
                    <a:pt x="1465176" y="3474042"/>
                    <a:pt x="1465176" y="3474042"/>
                    <a:pt x="1424203" y="3497492"/>
                  </a:cubicBezTo>
                  <a:cubicBezTo>
                    <a:pt x="1424203" y="3497492"/>
                    <a:pt x="1424203" y="3497492"/>
                    <a:pt x="1333364" y="3472458"/>
                  </a:cubicBezTo>
                  <a:cubicBezTo>
                    <a:pt x="1333364" y="3472458"/>
                    <a:pt x="1333364" y="3472458"/>
                    <a:pt x="1357185" y="3414467"/>
                  </a:cubicBezTo>
                  <a:cubicBezTo>
                    <a:pt x="1357185" y="3414467"/>
                    <a:pt x="1357185" y="3414467"/>
                    <a:pt x="1384183" y="3395771"/>
                  </a:cubicBezTo>
                  <a:close/>
                  <a:moveTo>
                    <a:pt x="1694814" y="3390067"/>
                  </a:moveTo>
                  <a:cubicBezTo>
                    <a:pt x="1694814" y="3390067"/>
                    <a:pt x="1694814" y="3390067"/>
                    <a:pt x="1637643" y="3401475"/>
                  </a:cubicBezTo>
                  <a:cubicBezTo>
                    <a:pt x="1637643" y="3401475"/>
                    <a:pt x="1637643" y="3401475"/>
                    <a:pt x="1641137" y="3420171"/>
                  </a:cubicBezTo>
                  <a:cubicBezTo>
                    <a:pt x="1641137" y="3420171"/>
                    <a:pt x="1641137" y="3420171"/>
                    <a:pt x="1655747" y="3417319"/>
                  </a:cubicBezTo>
                  <a:cubicBezTo>
                    <a:pt x="1655747" y="3417319"/>
                    <a:pt x="1655747" y="3417319"/>
                    <a:pt x="1658606" y="3430629"/>
                  </a:cubicBezTo>
                  <a:cubicBezTo>
                    <a:pt x="1658606" y="3430629"/>
                    <a:pt x="1658606" y="3430629"/>
                    <a:pt x="1686874" y="3424925"/>
                  </a:cubicBezTo>
                  <a:lnTo>
                    <a:pt x="1684015" y="3411615"/>
                  </a:lnTo>
                  <a:cubicBezTo>
                    <a:pt x="1684015" y="3411615"/>
                    <a:pt x="1684015" y="3411615"/>
                    <a:pt x="1698626" y="3408763"/>
                  </a:cubicBezTo>
                  <a:cubicBezTo>
                    <a:pt x="1698626" y="3408763"/>
                    <a:pt x="1698626" y="3408763"/>
                    <a:pt x="1694814" y="3390067"/>
                  </a:cubicBezTo>
                  <a:close/>
                  <a:moveTo>
                    <a:pt x="2257000" y="3385947"/>
                  </a:moveTo>
                  <a:cubicBezTo>
                    <a:pt x="2257000" y="3385947"/>
                    <a:pt x="2257000" y="3385947"/>
                    <a:pt x="2290350" y="3395454"/>
                  </a:cubicBezTo>
                  <a:cubicBezTo>
                    <a:pt x="2290350" y="3395454"/>
                    <a:pt x="2290350" y="3395454"/>
                    <a:pt x="2283680" y="3418904"/>
                  </a:cubicBezTo>
                  <a:cubicBezTo>
                    <a:pt x="2283680" y="3418904"/>
                    <a:pt x="2283680" y="3418904"/>
                    <a:pt x="2301148" y="3424608"/>
                  </a:cubicBezTo>
                  <a:cubicBezTo>
                    <a:pt x="2301148" y="3424608"/>
                    <a:pt x="2301148" y="3424608"/>
                    <a:pt x="2300513" y="3426509"/>
                  </a:cubicBezTo>
                  <a:cubicBezTo>
                    <a:pt x="2300513" y="3426509"/>
                    <a:pt x="2300513" y="3426509"/>
                    <a:pt x="2290667" y="3462000"/>
                  </a:cubicBezTo>
                  <a:cubicBezTo>
                    <a:pt x="2290667" y="3462000"/>
                    <a:pt x="2290667" y="3462000"/>
                    <a:pt x="2255729" y="3451543"/>
                  </a:cubicBezTo>
                  <a:cubicBezTo>
                    <a:pt x="2255729" y="3451543"/>
                    <a:pt x="2255729" y="3451543"/>
                    <a:pt x="2257000" y="3447107"/>
                  </a:cubicBezTo>
                  <a:lnTo>
                    <a:pt x="2241118" y="3442670"/>
                  </a:lnTo>
                  <a:cubicBezTo>
                    <a:pt x="2241118" y="3442670"/>
                    <a:pt x="2241118" y="3442670"/>
                    <a:pt x="2257000" y="3385947"/>
                  </a:cubicBezTo>
                  <a:close/>
                  <a:moveTo>
                    <a:pt x="1309225" y="3385314"/>
                  </a:moveTo>
                  <a:cubicBezTo>
                    <a:pt x="1309225" y="3385314"/>
                    <a:pt x="1309225" y="3385314"/>
                    <a:pt x="1281275" y="3395454"/>
                  </a:cubicBezTo>
                  <a:cubicBezTo>
                    <a:pt x="1281275" y="3395454"/>
                    <a:pt x="1281275" y="3395454"/>
                    <a:pt x="1284133" y="3413833"/>
                  </a:cubicBezTo>
                  <a:cubicBezTo>
                    <a:pt x="1284133" y="3413833"/>
                    <a:pt x="1284133" y="3413833"/>
                    <a:pt x="1206952" y="3430629"/>
                  </a:cubicBezTo>
                  <a:cubicBezTo>
                    <a:pt x="1206952" y="3430629"/>
                    <a:pt x="1206952" y="3430629"/>
                    <a:pt x="1188212" y="3419221"/>
                  </a:cubicBezTo>
                  <a:cubicBezTo>
                    <a:pt x="1188212" y="3419221"/>
                    <a:pt x="1188212" y="3419221"/>
                    <a:pt x="1165661" y="3430312"/>
                  </a:cubicBezTo>
                  <a:cubicBezTo>
                    <a:pt x="1165661" y="3430312"/>
                    <a:pt x="1165661" y="3430312"/>
                    <a:pt x="1174872" y="3442353"/>
                  </a:cubicBezTo>
                  <a:cubicBezTo>
                    <a:pt x="1174872" y="3442353"/>
                    <a:pt x="1174872" y="3442353"/>
                    <a:pt x="1123100" y="3466754"/>
                  </a:cubicBezTo>
                  <a:cubicBezTo>
                    <a:pt x="1123100" y="3466754"/>
                    <a:pt x="1123100" y="3466754"/>
                    <a:pt x="1159944" y="3510801"/>
                  </a:cubicBezTo>
                  <a:cubicBezTo>
                    <a:pt x="1159944" y="3510801"/>
                    <a:pt x="1159944" y="3510801"/>
                    <a:pt x="1208540" y="3496541"/>
                  </a:cubicBezTo>
                  <a:cubicBezTo>
                    <a:pt x="1208540" y="3496541"/>
                    <a:pt x="1208540" y="3496541"/>
                    <a:pt x="1206317" y="3472141"/>
                  </a:cubicBezTo>
                  <a:cubicBezTo>
                    <a:pt x="1206317" y="3472141"/>
                    <a:pt x="1206317" y="3472141"/>
                    <a:pt x="1277781" y="3456930"/>
                  </a:cubicBezTo>
                  <a:cubicBezTo>
                    <a:pt x="1277781" y="3456930"/>
                    <a:pt x="1277781" y="3456930"/>
                    <a:pt x="1281275" y="3474042"/>
                  </a:cubicBezTo>
                  <a:cubicBezTo>
                    <a:pt x="1281275" y="3474042"/>
                    <a:pt x="1281275" y="3474042"/>
                    <a:pt x="1295567" y="3470556"/>
                  </a:cubicBezTo>
                  <a:lnTo>
                    <a:pt x="1324153" y="3399574"/>
                  </a:lnTo>
                  <a:cubicBezTo>
                    <a:pt x="1324153" y="3399574"/>
                    <a:pt x="1324153" y="3399574"/>
                    <a:pt x="1309225" y="3385314"/>
                  </a:cubicBezTo>
                  <a:close/>
                  <a:moveTo>
                    <a:pt x="1698308" y="3384997"/>
                  </a:moveTo>
                  <a:cubicBezTo>
                    <a:pt x="1698308" y="3384997"/>
                    <a:pt x="1698308" y="3384997"/>
                    <a:pt x="1698626" y="3387215"/>
                  </a:cubicBezTo>
                  <a:lnTo>
                    <a:pt x="1703708" y="3411932"/>
                  </a:lnTo>
                  <a:cubicBezTo>
                    <a:pt x="1703708" y="3411932"/>
                    <a:pt x="1703708" y="3411932"/>
                    <a:pt x="1689097" y="3414784"/>
                  </a:cubicBezTo>
                  <a:cubicBezTo>
                    <a:pt x="1689097" y="3414784"/>
                    <a:pt x="1689097" y="3414784"/>
                    <a:pt x="1691638" y="3428093"/>
                  </a:cubicBezTo>
                  <a:cubicBezTo>
                    <a:pt x="1691638" y="3428093"/>
                    <a:pt x="1691638" y="3428093"/>
                    <a:pt x="1655430" y="3435382"/>
                  </a:cubicBezTo>
                  <a:cubicBezTo>
                    <a:pt x="1655430" y="3435382"/>
                    <a:pt x="1655430" y="3435382"/>
                    <a:pt x="1652571" y="3422073"/>
                  </a:cubicBezTo>
                  <a:cubicBezTo>
                    <a:pt x="1652571" y="3422073"/>
                    <a:pt x="1652571" y="3422073"/>
                    <a:pt x="1637961" y="3424925"/>
                  </a:cubicBezTo>
                  <a:cubicBezTo>
                    <a:pt x="1637961" y="3424925"/>
                    <a:pt x="1637961" y="3424925"/>
                    <a:pt x="1632561" y="3398306"/>
                  </a:cubicBezTo>
                  <a:cubicBezTo>
                    <a:pt x="1632561" y="3398306"/>
                    <a:pt x="1632561" y="3398306"/>
                    <a:pt x="1698308" y="3384997"/>
                  </a:cubicBezTo>
                  <a:close/>
                  <a:moveTo>
                    <a:pt x="95921" y="3380877"/>
                  </a:moveTo>
                  <a:lnTo>
                    <a:pt x="59077" y="3424925"/>
                  </a:lnTo>
                  <a:cubicBezTo>
                    <a:pt x="59077" y="3424925"/>
                    <a:pt x="59077" y="3424925"/>
                    <a:pt x="63206" y="3439501"/>
                  </a:cubicBezTo>
                  <a:cubicBezTo>
                    <a:pt x="63206" y="3439501"/>
                    <a:pt x="63206" y="3439501"/>
                    <a:pt x="114343" y="3418587"/>
                  </a:cubicBezTo>
                  <a:cubicBezTo>
                    <a:pt x="114343" y="3418587"/>
                    <a:pt x="114343" y="3418587"/>
                    <a:pt x="95921" y="3380877"/>
                  </a:cubicBezTo>
                  <a:close/>
                  <a:moveTo>
                    <a:pt x="1310496" y="3379926"/>
                  </a:moveTo>
                  <a:cubicBezTo>
                    <a:pt x="1310496" y="3379926"/>
                    <a:pt x="1310496" y="3379926"/>
                    <a:pt x="1329553" y="3398306"/>
                  </a:cubicBezTo>
                  <a:cubicBezTo>
                    <a:pt x="1329553" y="3398306"/>
                    <a:pt x="1329553" y="3398306"/>
                    <a:pt x="1329235" y="3399890"/>
                  </a:cubicBezTo>
                  <a:cubicBezTo>
                    <a:pt x="1329235" y="3399890"/>
                    <a:pt x="1329235" y="3399890"/>
                    <a:pt x="1299061" y="3474676"/>
                  </a:cubicBezTo>
                  <a:cubicBezTo>
                    <a:pt x="1299061" y="3474676"/>
                    <a:pt x="1299061" y="3474676"/>
                    <a:pt x="1277463" y="3479746"/>
                  </a:cubicBezTo>
                  <a:cubicBezTo>
                    <a:pt x="1277463" y="3479746"/>
                    <a:pt x="1277463" y="3479746"/>
                    <a:pt x="1274287" y="3462317"/>
                  </a:cubicBezTo>
                  <a:cubicBezTo>
                    <a:pt x="1274287" y="3462317"/>
                    <a:pt x="1274287" y="3462317"/>
                    <a:pt x="1211398" y="3475627"/>
                  </a:cubicBezTo>
                  <a:cubicBezTo>
                    <a:pt x="1211398" y="3475627"/>
                    <a:pt x="1211398" y="3475627"/>
                    <a:pt x="1213622" y="3500027"/>
                  </a:cubicBezTo>
                  <a:cubicBezTo>
                    <a:pt x="1213622" y="3500027"/>
                    <a:pt x="1213622" y="3500027"/>
                    <a:pt x="1158038" y="3516188"/>
                  </a:cubicBezTo>
                  <a:cubicBezTo>
                    <a:pt x="1158038" y="3516188"/>
                    <a:pt x="1158038" y="3516188"/>
                    <a:pt x="1115795" y="3465169"/>
                  </a:cubicBezTo>
                  <a:cubicBezTo>
                    <a:pt x="1115795" y="3465169"/>
                    <a:pt x="1115795" y="3465169"/>
                    <a:pt x="1167567" y="3440769"/>
                  </a:cubicBezTo>
                  <a:cubicBezTo>
                    <a:pt x="1167567" y="3440769"/>
                    <a:pt x="1167567" y="3440769"/>
                    <a:pt x="1158356" y="3428727"/>
                  </a:cubicBezTo>
                  <a:cubicBezTo>
                    <a:pt x="1158356" y="3428727"/>
                    <a:pt x="1158356" y="3428727"/>
                    <a:pt x="1188530" y="3413833"/>
                  </a:cubicBezTo>
                  <a:cubicBezTo>
                    <a:pt x="1188530" y="3413833"/>
                    <a:pt x="1188530" y="3413833"/>
                    <a:pt x="1207587" y="3425558"/>
                  </a:cubicBezTo>
                  <a:cubicBezTo>
                    <a:pt x="1207587" y="3425558"/>
                    <a:pt x="1207587" y="3425558"/>
                    <a:pt x="1278734" y="3410348"/>
                  </a:cubicBezTo>
                  <a:cubicBezTo>
                    <a:pt x="1278734" y="3410348"/>
                    <a:pt x="1278734" y="3410348"/>
                    <a:pt x="1276193" y="3392285"/>
                  </a:cubicBezTo>
                  <a:close/>
                  <a:moveTo>
                    <a:pt x="1450565" y="3372004"/>
                  </a:moveTo>
                  <a:cubicBezTo>
                    <a:pt x="1434049" y="3373589"/>
                    <a:pt x="1418486" y="3374856"/>
                    <a:pt x="1405781" y="3376124"/>
                  </a:cubicBezTo>
                  <a:cubicBezTo>
                    <a:pt x="1395617" y="3377075"/>
                    <a:pt x="1387042" y="3377708"/>
                    <a:pt x="1381007" y="3378342"/>
                  </a:cubicBezTo>
                  <a:cubicBezTo>
                    <a:pt x="1377831" y="3378659"/>
                    <a:pt x="1375290" y="3378976"/>
                    <a:pt x="1373702" y="3378976"/>
                  </a:cubicBezTo>
                  <a:cubicBezTo>
                    <a:pt x="1372749" y="3379293"/>
                    <a:pt x="1372114" y="3379293"/>
                    <a:pt x="1371796" y="3379293"/>
                  </a:cubicBezTo>
                  <a:cubicBezTo>
                    <a:pt x="1371478" y="3379293"/>
                    <a:pt x="1371478" y="3379293"/>
                    <a:pt x="1371161" y="3379293"/>
                  </a:cubicBezTo>
                  <a:cubicBezTo>
                    <a:pt x="1368937" y="3380243"/>
                    <a:pt x="1351468" y="3387532"/>
                    <a:pt x="1347022" y="3389433"/>
                  </a:cubicBezTo>
                  <a:cubicBezTo>
                    <a:pt x="1347022" y="3389433"/>
                    <a:pt x="1347022" y="3389433"/>
                    <a:pt x="1313672" y="3483866"/>
                  </a:cubicBezTo>
                  <a:cubicBezTo>
                    <a:pt x="1313672" y="3483866"/>
                    <a:pt x="1313672" y="3483866"/>
                    <a:pt x="1438496" y="3506999"/>
                  </a:cubicBezTo>
                  <a:cubicBezTo>
                    <a:pt x="1441037" y="3502562"/>
                    <a:pt x="1444213" y="3498759"/>
                    <a:pt x="1447389" y="3495591"/>
                  </a:cubicBezTo>
                  <a:cubicBezTo>
                    <a:pt x="1454377" y="3489253"/>
                    <a:pt x="1461682" y="3485767"/>
                    <a:pt x="1466764" y="3483549"/>
                  </a:cubicBezTo>
                  <a:cubicBezTo>
                    <a:pt x="1469623" y="3482598"/>
                    <a:pt x="1472481" y="3481964"/>
                    <a:pt x="1477245" y="3481014"/>
                  </a:cubicBezTo>
                  <a:cubicBezTo>
                    <a:pt x="1479786" y="3480697"/>
                    <a:pt x="1483280" y="3480063"/>
                    <a:pt x="1486774" y="3479429"/>
                  </a:cubicBezTo>
                  <a:close/>
                  <a:moveTo>
                    <a:pt x="2354191" y="3369152"/>
                  </a:moveTo>
                  <a:cubicBezTo>
                    <a:pt x="2354191" y="3369152"/>
                    <a:pt x="2354191" y="3369152"/>
                    <a:pt x="2340851" y="3417953"/>
                  </a:cubicBezTo>
                  <a:lnTo>
                    <a:pt x="2356732" y="3422389"/>
                  </a:lnTo>
                  <a:cubicBezTo>
                    <a:pt x="2356732" y="3422389"/>
                    <a:pt x="2356732" y="3422389"/>
                    <a:pt x="2355461" y="3426826"/>
                  </a:cubicBezTo>
                  <a:cubicBezTo>
                    <a:pt x="2355461" y="3426826"/>
                    <a:pt x="2355461" y="3426826"/>
                    <a:pt x="2382459" y="3434748"/>
                  </a:cubicBezTo>
                  <a:cubicBezTo>
                    <a:pt x="2382459" y="3434748"/>
                    <a:pt x="2382459" y="3434748"/>
                    <a:pt x="2390399" y="3405278"/>
                  </a:cubicBezTo>
                  <a:cubicBezTo>
                    <a:pt x="2390399" y="3405278"/>
                    <a:pt x="2390399" y="3405278"/>
                    <a:pt x="2372930" y="3399574"/>
                  </a:cubicBezTo>
                  <a:cubicBezTo>
                    <a:pt x="2372930" y="3399574"/>
                    <a:pt x="2372930" y="3399574"/>
                    <a:pt x="2379918" y="3376441"/>
                  </a:cubicBezTo>
                  <a:cubicBezTo>
                    <a:pt x="2379918" y="3376441"/>
                    <a:pt x="2379918" y="3376441"/>
                    <a:pt x="2354191" y="3369152"/>
                  </a:cubicBezTo>
                  <a:close/>
                  <a:moveTo>
                    <a:pt x="2532057" y="3367251"/>
                  </a:moveTo>
                  <a:cubicBezTo>
                    <a:pt x="2532057" y="3367251"/>
                    <a:pt x="2532057" y="3367251"/>
                    <a:pt x="2457417" y="3512069"/>
                  </a:cubicBezTo>
                  <a:cubicBezTo>
                    <a:pt x="2457417" y="3512069"/>
                    <a:pt x="2457417" y="3512069"/>
                    <a:pt x="2486003" y="3526962"/>
                  </a:cubicBezTo>
                  <a:cubicBezTo>
                    <a:pt x="2486003" y="3526962"/>
                    <a:pt x="2486003" y="3526962"/>
                    <a:pt x="2495531" y="3508583"/>
                  </a:cubicBezTo>
                  <a:cubicBezTo>
                    <a:pt x="2495531" y="3508583"/>
                    <a:pt x="2495531" y="3508583"/>
                    <a:pt x="2529516" y="3526012"/>
                  </a:cubicBezTo>
                  <a:cubicBezTo>
                    <a:pt x="2529516" y="3526012"/>
                    <a:pt x="2529516" y="3526012"/>
                    <a:pt x="2519988" y="3544074"/>
                  </a:cubicBezTo>
                  <a:cubicBezTo>
                    <a:pt x="2519988" y="3544074"/>
                    <a:pt x="2519988" y="3544074"/>
                    <a:pt x="2548574" y="3558651"/>
                  </a:cubicBezTo>
                  <a:lnTo>
                    <a:pt x="2623532" y="3413517"/>
                  </a:lnTo>
                  <a:cubicBezTo>
                    <a:pt x="2623532" y="3413517"/>
                    <a:pt x="2623532" y="3413517"/>
                    <a:pt x="2594628" y="3398940"/>
                  </a:cubicBezTo>
                  <a:cubicBezTo>
                    <a:pt x="2594628" y="3398940"/>
                    <a:pt x="2594628" y="3398940"/>
                    <a:pt x="2585100" y="3417002"/>
                  </a:cubicBezTo>
                  <a:cubicBezTo>
                    <a:pt x="2585100" y="3417002"/>
                    <a:pt x="2585100" y="3417002"/>
                    <a:pt x="2550797" y="3399574"/>
                  </a:cubicBezTo>
                  <a:cubicBezTo>
                    <a:pt x="2550797" y="3399574"/>
                    <a:pt x="2550797" y="3399574"/>
                    <a:pt x="2560326" y="3381194"/>
                  </a:cubicBezTo>
                  <a:cubicBezTo>
                    <a:pt x="2560326" y="3381194"/>
                    <a:pt x="2560326" y="3381194"/>
                    <a:pt x="2532057" y="3367251"/>
                  </a:cubicBezTo>
                  <a:close/>
                  <a:moveTo>
                    <a:pt x="715278" y="3366934"/>
                  </a:moveTo>
                  <a:cubicBezTo>
                    <a:pt x="715278" y="3366934"/>
                    <a:pt x="715278" y="3366934"/>
                    <a:pt x="708925" y="3398623"/>
                  </a:cubicBezTo>
                  <a:cubicBezTo>
                    <a:pt x="729888" y="3398940"/>
                    <a:pt x="753710" y="3399574"/>
                    <a:pt x="781343" y="3401158"/>
                  </a:cubicBezTo>
                  <a:cubicBezTo>
                    <a:pt x="793412" y="3401792"/>
                    <a:pt x="804846" y="3402742"/>
                    <a:pt x="815645" y="3404010"/>
                  </a:cubicBezTo>
                  <a:cubicBezTo>
                    <a:pt x="815010" y="3399257"/>
                    <a:pt x="812787" y="3390384"/>
                    <a:pt x="803893" y="3385630"/>
                  </a:cubicBezTo>
                  <a:cubicBezTo>
                    <a:pt x="790236" y="3378342"/>
                    <a:pt x="752439" y="3375490"/>
                    <a:pt x="742275" y="3374539"/>
                  </a:cubicBezTo>
                  <a:cubicBezTo>
                    <a:pt x="737194" y="3374223"/>
                    <a:pt x="725759" y="3373272"/>
                    <a:pt x="715278" y="3366934"/>
                  </a:cubicBezTo>
                  <a:close/>
                  <a:moveTo>
                    <a:pt x="1525841" y="3365350"/>
                  </a:moveTo>
                  <a:cubicBezTo>
                    <a:pt x="1511548" y="3366617"/>
                    <a:pt x="1495985" y="3368202"/>
                    <a:pt x="1480422" y="3369469"/>
                  </a:cubicBezTo>
                  <a:cubicBezTo>
                    <a:pt x="1471846" y="3370103"/>
                    <a:pt x="1463270" y="3371054"/>
                    <a:pt x="1455012" y="3371687"/>
                  </a:cubicBezTo>
                  <a:cubicBezTo>
                    <a:pt x="1455012" y="3371687"/>
                    <a:pt x="1455012" y="3371687"/>
                    <a:pt x="1491221" y="3478479"/>
                  </a:cubicBezTo>
                  <a:cubicBezTo>
                    <a:pt x="1505831" y="3475944"/>
                    <a:pt x="1525523" y="3472775"/>
                    <a:pt x="1543945" y="3469606"/>
                  </a:cubicBezTo>
                  <a:close/>
                  <a:moveTo>
                    <a:pt x="110214" y="3364716"/>
                  </a:moveTo>
                  <a:cubicBezTo>
                    <a:pt x="110214" y="3364716"/>
                    <a:pt x="110214" y="3364716"/>
                    <a:pt x="109579" y="3365033"/>
                  </a:cubicBezTo>
                  <a:cubicBezTo>
                    <a:pt x="109579" y="3365033"/>
                    <a:pt x="104814" y="3368519"/>
                    <a:pt x="97509" y="3373589"/>
                  </a:cubicBezTo>
                  <a:cubicBezTo>
                    <a:pt x="97509" y="3373589"/>
                    <a:pt x="97509" y="3373589"/>
                    <a:pt x="120695" y="3421122"/>
                  </a:cubicBezTo>
                  <a:cubicBezTo>
                    <a:pt x="120695" y="3421122"/>
                    <a:pt x="120695" y="3421122"/>
                    <a:pt x="118472" y="3422073"/>
                  </a:cubicBezTo>
                  <a:cubicBezTo>
                    <a:pt x="118472" y="3422073"/>
                    <a:pt x="118472" y="3422073"/>
                    <a:pt x="60030" y="3445839"/>
                  </a:cubicBezTo>
                  <a:cubicBezTo>
                    <a:pt x="60030" y="3445839"/>
                    <a:pt x="60030" y="3445839"/>
                    <a:pt x="53995" y="3423974"/>
                  </a:cubicBezTo>
                  <a:cubicBezTo>
                    <a:pt x="53995" y="3423974"/>
                    <a:pt x="53995" y="3423974"/>
                    <a:pt x="93698" y="3376124"/>
                  </a:cubicBezTo>
                  <a:cubicBezTo>
                    <a:pt x="84487" y="3382462"/>
                    <a:pt x="72735" y="3391018"/>
                    <a:pt x="60665" y="3399257"/>
                  </a:cubicBezTo>
                  <a:cubicBezTo>
                    <a:pt x="48278" y="3407813"/>
                    <a:pt x="35891" y="3416685"/>
                    <a:pt x="26998" y="3423023"/>
                  </a:cubicBezTo>
                  <a:cubicBezTo>
                    <a:pt x="23186" y="3425558"/>
                    <a:pt x="20010" y="3428093"/>
                    <a:pt x="10799" y="3434748"/>
                  </a:cubicBezTo>
                  <a:cubicBezTo>
                    <a:pt x="10799" y="3434748"/>
                    <a:pt x="10799" y="3434748"/>
                    <a:pt x="10799" y="3435065"/>
                  </a:cubicBezTo>
                  <a:cubicBezTo>
                    <a:pt x="10799" y="3435065"/>
                    <a:pt x="10799" y="3435065"/>
                    <a:pt x="14611" y="3440135"/>
                  </a:cubicBezTo>
                  <a:cubicBezTo>
                    <a:pt x="16516" y="3443304"/>
                    <a:pt x="25092" y="3455663"/>
                    <a:pt x="37479" y="3473725"/>
                  </a:cubicBezTo>
                  <a:cubicBezTo>
                    <a:pt x="37479" y="3473725"/>
                    <a:pt x="37479" y="3473725"/>
                    <a:pt x="137529" y="3429361"/>
                  </a:cubicBezTo>
                  <a:cubicBezTo>
                    <a:pt x="128001" y="3407813"/>
                    <a:pt x="117837" y="3382778"/>
                    <a:pt x="110214" y="3364716"/>
                  </a:cubicBezTo>
                  <a:close/>
                  <a:moveTo>
                    <a:pt x="2351332" y="3364082"/>
                  </a:moveTo>
                  <a:cubicBezTo>
                    <a:pt x="2351332" y="3364082"/>
                    <a:pt x="2351332" y="3364082"/>
                    <a:pt x="2385000" y="3373589"/>
                  </a:cubicBezTo>
                  <a:cubicBezTo>
                    <a:pt x="2385000" y="3373589"/>
                    <a:pt x="2385000" y="3373589"/>
                    <a:pt x="2378012" y="3397038"/>
                  </a:cubicBezTo>
                  <a:cubicBezTo>
                    <a:pt x="2378012" y="3397038"/>
                    <a:pt x="2378012" y="3397038"/>
                    <a:pt x="2395481" y="3402426"/>
                  </a:cubicBezTo>
                  <a:cubicBezTo>
                    <a:pt x="2395481" y="3402426"/>
                    <a:pt x="2395481" y="3402426"/>
                    <a:pt x="2394846" y="3404327"/>
                  </a:cubicBezTo>
                  <a:cubicBezTo>
                    <a:pt x="2394846" y="3404327"/>
                    <a:pt x="2394846" y="3404327"/>
                    <a:pt x="2385318" y="3439818"/>
                  </a:cubicBezTo>
                  <a:lnTo>
                    <a:pt x="2350062" y="3429678"/>
                  </a:lnTo>
                  <a:cubicBezTo>
                    <a:pt x="2350062" y="3429678"/>
                    <a:pt x="2350062" y="3429678"/>
                    <a:pt x="2351650" y="3425241"/>
                  </a:cubicBezTo>
                  <a:cubicBezTo>
                    <a:pt x="2351650" y="3425241"/>
                    <a:pt x="2351650" y="3425241"/>
                    <a:pt x="2335769" y="3420805"/>
                  </a:cubicBezTo>
                  <a:cubicBezTo>
                    <a:pt x="2335769" y="3420805"/>
                    <a:pt x="2335769" y="3420805"/>
                    <a:pt x="2351332" y="3364082"/>
                  </a:cubicBezTo>
                  <a:close/>
                  <a:moveTo>
                    <a:pt x="2530152" y="3360913"/>
                  </a:moveTo>
                  <a:cubicBezTo>
                    <a:pt x="2530152" y="3360913"/>
                    <a:pt x="2530152" y="3360913"/>
                    <a:pt x="2532057" y="3361864"/>
                  </a:cubicBezTo>
                  <a:cubicBezTo>
                    <a:pt x="2532057" y="3361864"/>
                    <a:pt x="2532057" y="3361864"/>
                    <a:pt x="2566360" y="3378976"/>
                  </a:cubicBezTo>
                  <a:cubicBezTo>
                    <a:pt x="2566360" y="3378976"/>
                    <a:pt x="2566360" y="3378976"/>
                    <a:pt x="2557149" y="3397355"/>
                  </a:cubicBezTo>
                  <a:cubicBezTo>
                    <a:pt x="2557149" y="3397355"/>
                    <a:pt x="2557149" y="3397355"/>
                    <a:pt x="2583194" y="3410982"/>
                  </a:cubicBezTo>
                  <a:cubicBezTo>
                    <a:pt x="2583194" y="3410982"/>
                    <a:pt x="2583194" y="3410982"/>
                    <a:pt x="2592405" y="3392602"/>
                  </a:cubicBezTo>
                  <a:lnTo>
                    <a:pt x="2629884" y="3411615"/>
                  </a:lnTo>
                  <a:cubicBezTo>
                    <a:pt x="2629884" y="3411615"/>
                    <a:pt x="2629884" y="3411615"/>
                    <a:pt x="2550797" y="3564989"/>
                  </a:cubicBezTo>
                  <a:cubicBezTo>
                    <a:pt x="2550797" y="3564989"/>
                    <a:pt x="2550797" y="3564989"/>
                    <a:pt x="2513953" y="3545976"/>
                  </a:cubicBezTo>
                  <a:cubicBezTo>
                    <a:pt x="2513953" y="3545976"/>
                    <a:pt x="2513953" y="3545976"/>
                    <a:pt x="2523164" y="3527913"/>
                  </a:cubicBezTo>
                  <a:cubicBezTo>
                    <a:pt x="2523164" y="3527913"/>
                    <a:pt x="2523164" y="3527913"/>
                    <a:pt x="2497437" y="3514921"/>
                  </a:cubicBezTo>
                  <a:cubicBezTo>
                    <a:pt x="2497437" y="3514921"/>
                    <a:pt x="2497437" y="3514921"/>
                    <a:pt x="2487908" y="3532983"/>
                  </a:cubicBezTo>
                  <a:cubicBezTo>
                    <a:pt x="2487908" y="3532983"/>
                    <a:pt x="2487908" y="3532983"/>
                    <a:pt x="2451064" y="3514287"/>
                  </a:cubicBezTo>
                  <a:cubicBezTo>
                    <a:pt x="2451064" y="3514287"/>
                    <a:pt x="2451064" y="3514287"/>
                    <a:pt x="2530152" y="3360913"/>
                  </a:cubicBezTo>
                  <a:close/>
                  <a:moveTo>
                    <a:pt x="1582377" y="3360596"/>
                  </a:moveTo>
                  <a:cubicBezTo>
                    <a:pt x="1572849" y="3361230"/>
                    <a:pt x="1553474" y="3363131"/>
                    <a:pt x="1530288" y="3365033"/>
                  </a:cubicBezTo>
                  <a:cubicBezTo>
                    <a:pt x="1530288" y="3365033"/>
                    <a:pt x="1530288" y="3365033"/>
                    <a:pt x="1548392" y="3468972"/>
                  </a:cubicBezTo>
                  <a:cubicBezTo>
                    <a:pt x="1567767" y="3466120"/>
                    <a:pt x="1585236" y="3463268"/>
                    <a:pt x="1594129" y="3462000"/>
                  </a:cubicBezTo>
                  <a:cubicBezTo>
                    <a:pt x="1592859" y="3449325"/>
                    <a:pt x="1591271" y="3436333"/>
                    <a:pt x="1589682" y="3423340"/>
                  </a:cubicBezTo>
                  <a:cubicBezTo>
                    <a:pt x="1587142" y="3402109"/>
                    <a:pt x="1584601" y="3380877"/>
                    <a:pt x="1582377" y="3360596"/>
                  </a:cubicBezTo>
                  <a:close/>
                  <a:moveTo>
                    <a:pt x="2066746" y="3358695"/>
                  </a:moveTo>
                  <a:cubicBezTo>
                    <a:pt x="2066746" y="3358695"/>
                    <a:pt x="2066746" y="3358695"/>
                    <a:pt x="2048642" y="3372638"/>
                  </a:cubicBezTo>
                  <a:lnTo>
                    <a:pt x="2044195" y="3401792"/>
                  </a:lnTo>
                  <a:cubicBezTo>
                    <a:pt x="2044195" y="3401792"/>
                    <a:pt x="2044195" y="3401792"/>
                    <a:pt x="2062934" y="3423340"/>
                  </a:cubicBezTo>
                  <a:cubicBezTo>
                    <a:pt x="2062934" y="3423340"/>
                    <a:pt x="2062934" y="3423340"/>
                    <a:pt x="2098190" y="3394820"/>
                  </a:cubicBezTo>
                  <a:cubicBezTo>
                    <a:pt x="2098190" y="3394820"/>
                    <a:pt x="2098190" y="3394820"/>
                    <a:pt x="2066746" y="3358695"/>
                  </a:cubicBezTo>
                  <a:close/>
                  <a:moveTo>
                    <a:pt x="2021962" y="3356160"/>
                  </a:moveTo>
                  <a:cubicBezTo>
                    <a:pt x="2021962" y="3356160"/>
                    <a:pt x="2021962" y="3356160"/>
                    <a:pt x="1988294" y="3385630"/>
                  </a:cubicBezTo>
                  <a:cubicBezTo>
                    <a:pt x="1988294" y="3385630"/>
                    <a:pt x="1988294" y="3385630"/>
                    <a:pt x="2017832" y="3419221"/>
                  </a:cubicBezTo>
                  <a:cubicBezTo>
                    <a:pt x="2017832" y="3419221"/>
                    <a:pt x="2017832" y="3419221"/>
                    <a:pt x="2040383" y="3399257"/>
                  </a:cubicBezTo>
                  <a:cubicBezTo>
                    <a:pt x="2040383" y="3399257"/>
                    <a:pt x="2040383" y="3399257"/>
                    <a:pt x="2043560" y="3376758"/>
                  </a:cubicBezTo>
                  <a:lnTo>
                    <a:pt x="2041336" y="3378342"/>
                  </a:lnTo>
                  <a:cubicBezTo>
                    <a:pt x="2041336" y="3378342"/>
                    <a:pt x="2041336" y="3378342"/>
                    <a:pt x="2021962" y="3356160"/>
                  </a:cubicBezTo>
                  <a:close/>
                  <a:moveTo>
                    <a:pt x="1865693" y="3355843"/>
                  </a:moveTo>
                  <a:cubicBezTo>
                    <a:pt x="1822815" y="3355843"/>
                    <a:pt x="1719271" y="3356794"/>
                    <a:pt x="1714189" y="3356794"/>
                  </a:cubicBezTo>
                  <a:cubicBezTo>
                    <a:pt x="1714189" y="3356794"/>
                    <a:pt x="1714189" y="3356794"/>
                    <a:pt x="1605246" y="3378342"/>
                  </a:cubicBezTo>
                  <a:cubicBezTo>
                    <a:pt x="1606834" y="3392285"/>
                    <a:pt x="1608740" y="3406545"/>
                    <a:pt x="1610328" y="3421122"/>
                  </a:cubicBezTo>
                  <a:cubicBezTo>
                    <a:pt x="1611598" y="3432213"/>
                    <a:pt x="1612869" y="3443304"/>
                    <a:pt x="1614457" y="3454395"/>
                  </a:cubicBezTo>
                  <a:cubicBezTo>
                    <a:pt x="1647489" y="3447424"/>
                    <a:pt x="1760244" y="3423340"/>
                    <a:pt x="1763420" y="3423023"/>
                  </a:cubicBezTo>
                  <a:cubicBezTo>
                    <a:pt x="1765961" y="3423023"/>
                    <a:pt x="1848542" y="3429361"/>
                    <a:pt x="1871728" y="3430945"/>
                  </a:cubicBezTo>
                  <a:cubicBezTo>
                    <a:pt x="1871728" y="3430945"/>
                    <a:pt x="1871728" y="3430945"/>
                    <a:pt x="1877445" y="3355843"/>
                  </a:cubicBezTo>
                  <a:cubicBezTo>
                    <a:pt x="1874587" y="3355843"/>
                    <a:pt x="1870458" y="3355843"/>
                    <a:pt x="1865693" y="3355843"/>
                  </a:cubicBezTo>
                  <a:close/>
                  <a:moveTo>
                    <a:pt x="880440" y="3350773"/>
                  </a:moveTo>
                  <a:cubicBezTo>
                    <a:pt x="880440" y="3350773"/>
                    <a:pt x="880440" y="3350773"/>
                    <a:pt x="821998" y="3351090"/>
                  </a:cubicBezTo>
                  <a:lnTo>
                    <a:pt x="866464" y="3377708"/>
                  </a:lnTo>
                  <a:cubicBezTo>
                    <a:pt x="866464" y="3377708"/>
                    <a:pt x="866464" y="3377708"/>
                    <a:pt x="876311" y="3396722"/>
                  </a:cubicBezTo>
                  <a:cubicBezTo>
                    <a:pt x="876311" y="3396722"/>
                    <a:pt x="876311" y="3396722"/>
                    <a:pt x="892192" y="3399257"/>
                  </a:cubicBezTo>
                  <a:cubicBezTo>
                    <a:pt x="892192" y="3399257"/>
                    <a:pt x="892192" y="3399257"/>
                    <a:pt x="880440" y="3350773"/>
                  </a:cubicBezTo>
                  <a:close/>
                  <a:moveTo>
                    <a:pt x="150552" y="3337147"/>
                  </a:moveTo>
                  <a:lnTo>
                    <a:pt x="135623" y="3341900"/>
                  </a:lnTo>
                  <a:cubicBezTo>
                    <a:pt x="135623" y="3341900"/>
                    <a:pt x="135623" y="3341900"/>
                    <a:pt x="161668" y="3415735"/>
                  </a:cubicBezTo>
                  <a:cubicBezTo>
                    <a:pt x="161668" y="3415735"/>
                    <a:pt x="161668" y="3415735"/>
                    <a:pt x="184537" y="3406862"/>
                  </a:cubicBezTo>
                  <a:cubicBezTo>
                    <a:pt x="184537" y="3406862"/>
                    <a:pt x="184537" y="3406862"/>
                    <a:pt x="150552" y="3337147"/>
                  </a:cubicBezTo>
                  <a:close/>
                  <a:moveTo>
                    <a:pt x="2054676" y="3333661"/>
                  </a:moveTo>
                  <a:cubicBezTo>
                    <a:pt x="2054676" y="3333661"/>
                    <a:pt x="2054676" y="3333661"/>
                    <a:pt x="2049594" y="3366617"/>
                  </a:cubicBezTo>
                  <a:cubicBezTo>
                    <a:pt x="2049594" y="3366617"/>
                    <a:pt x="2049594" y="3366617"/>
                    <a:pt x="2067063" y="3352991"/>
                  </a:cubicBezTo>
                  <a:cubicBezTo>
                    <a:pt x="2067063" y="3352991"/>
                    <a:pt x="2067063" y="3352991"/>
                    <a:pt x="2104225" y="3395454"/>
                  </a:cubicBezTo>
                  <a:cubicBezTo>
                    <a:pt x="2104225" y="3395454"/>
                    <a:pt x="2104225" y="3395454"/>
                    <a:pt x="2062617" y="3429361"/>
                  </a:cubicBezTo>
                  <a:cubicBezTo>
                    <a:pt x="2062617" y="3429361"/>
                    <a:pt x="2062617" y="3429361"/>
                    <a:pt x="2043560" y="3407179"/>
                  </a:cubicBezTo>
                  <a:cubicBezTo>
                    <a:pt x="2043560" y="3407179"/>
                    <a:pt x="2043560" y="3407179"/>
                    <a:pt x="2038160" y="3442670"/>
                  </a:cubicBezTo>
                  <a:lnTo>
                    <a:pt x="2127093" y="3443938"/>
                  </a:lnTo>
                  <a:cubicBezTo>
                    <a:pt x="2127093" y="3443938"/>
                    <a:pt x="2127093" y="3443938"/>
                    <a:pt x="2138210" y="3339682"/>
                  </a:cubicBezTo>
                  <a:cubicBezTo>
                    <a:pt x="2122964" y="3338731"/>
                    <a:pt x="2088662" y="3336196"/>
                    <a:pt x="2054676" y="3333661"/>
                  </a:cubicBezTo>
                  <a:close/>
                  <a:moveTo>
                    <a:pt x="218522" y="3332393"/>
                  </a:moveTo>
                  <a:lnTo>
                    <a:pt x="207723" y="3338414"/>
                  </a:lnTo>
                  <a:cubicBezTo>
                    <a:pt x="207723" y="3338414"/>
                    <a:pt x="207723" y="3338414"/>
                    <a:pt x="242343" y="3401158"/>
                  </a:cubicBezTo>
                  <a:cubicBezTo>
                    <a:pt x="242343" y="3401158"/>
                    <a:pt x="242343" y="3401158"/>
                    <a:pt x="253460" y="3395137"/>
                  </a:cubicBezTo>
                  <a:cubicBezTo>
                    <a:pt x="253460" y="3395137"/>
                    <a:pt x="253460" y="3395137"/>
                    <a:pt x="218522" y="3332393"/>
                  </a:cubicBezTo>
                  <a:close/>
                  <a:moveTo>
                    <a:pt x="153093" y="3331443"/>
                  </a:moveTo>
                  <a:cubicBezTo>
                    <a:pt x="153093" y="3331443"/>
                    <a:pt x="153093" y="3331443"/>
                    <a:pt x="191207" y="3409080"/>
                  </a:cubicBezTo>
                  <a:cubicBezTo>
                    <a:pt x="191207" y="3409080"/>
                    <a:pt x="191207" y="3409080"/>
                    <a:pt x="188666" y="3410031"/>
                  </a:cubicBezTo>
                  <a:lnTo>
                    <a:pt x="159127" y="3422073"/>
                  </a:lnTo>
                  <a:cubicBezTo>
                    <a:pt x="159127" y="3422073"/>
                    <a:pt x="159127" y="3422073"/>
                    <a:pt x="129589" y="3338731"/>
                  </a:cubicBezTo>
                  <a:cubicBezTo>
                    <a:pt x="129589" y="3338731"/>
                    <a:pt x="129589" y="3338731"/>
                    <a:pt x="153093" y="3331443"/>
                  </a:cubicBezTo>
                  <a:close/>
                  <a:moveTo>
                    <a:pt x="893144" y="3330492"/>
                  </a:moveTo>
                  <a:cubicBezTo>
                    <a:pt x="893144" y="3330492"/>
                    <a:pt x="893144" y="3330492"/>
                    <a:pt x="832797" y="3346336"/>
                  </a:cubicBezTo>
                  <a:cubicBezTo>
                    <a:pt x="832797" y="3346336"/>
                    <a:pt x="832797" y="3346336"/>
                    <a:pt x="883933" y="3346019"/>
                  </a:cubicBezTo>
                  <a:cubicBezTo>
                    <a:pt x="883933" y="3346019"/>
                    <a:pt x="883933" y="3346019"/>
                    <a:pt x="884569" y="3347921"/>
                  </a:cubicBezTo>
                  <a:cubicBezTo>
                    <a:pt x="884569" y="3347921"/>
                    <a:pt x="884569" y="3347921"/>
                    <a:pt x="898226" y="3404961"/>
                  </a:cubicBezTo>
                  <a:cubicBezTo>
                    <a:pt x="898226" y="3404961"/>
                    <a:pt x="898226" y="3404961"/>
                    <a:pt x="873452" y="3400841"/>
                  </a:cubicBezTo>
                  <a:cubicBezTo>
                    <a:pt x="873452" y="3400841"/>
                    <a:pt x="873452" y="3400841"/>
                    <a:pt x="862971" y="3381194"/>
                  </a:cubicBezTo>
                  <a:lnTo>
                    <a:pt x="813422" y="3351407"/>
                  </a:lnTo>
                  <a:cubicBezTo>
                    <a:pt x="813422" y="3351407"/>
                    <a:pt x="813422" y="3351407"/>
                    <a:pt x="792459" y="3356794"/>
                  </a:cubicBezTo>
                  <a:cubicBezTo>
                    <a:pt x="792459" y="3356794"/>
                    <a:pt x="792459" y="3356794"/>
                    <a:pt x="719725" y="3343801"/>
                  </a:cubicBezTo>
                  <a:cubicBezTo>
                    <a:pt x="719725" y="3343801"/>
                    <a:pt x="719725" y="3343801"/>
                    <a:pt x="716866" y="3359012"/>
                  </a:cubicBezTo>
                  <a:cubicBezTo>
                    <a:pt x="726077" y="3365667"/>
                    <a:pt x="737194" y="3365983"/>
                    <a:pt x="742911" y="3366617"/>
                  </a:cubicBezTo>
                  <a:cubicBezTo>
                    <a:pt x="753074" y="3367885"/>
                    <a:pt x="790554" y="3370103"/>
                    <a:pt x="807387" y="3378976"/>
                  </a:cubicBezTo>
                  <a:cubicBezTo>
                    <a:pt x="820727" y="3386264"/>
                    <a:pt x="822951" y="3398940"/>
                    <a:pt x="823586" y="3404644"/>
                  </a:cubicBezTo>
                  <a:cubicBezTo>
                    <a:pt x="869005" y="3409714"/>
                    <a:pt x="902038" y="3417319"/>
                    <a:pt x="911884" y="3419537"/>
                  </a:cubicBezTo>
                  <a:cubicBezTo>
                    <a:pt x="911884" y="3419537"/>
                    <a:pt x="911884" y="3419537"/>
                    <a:pt x="893144" y="3330492"/>
                  </a:cubicBezTo>
                  <a:close/>
                  <a:moveTo>
                    <a:pt x="2334181" y="3330175"/>
                  </a:moveTo>
                  <a:cubicBezTo>
                    <a:pt x="2334181" y="3330175"/>
                    <a:pt x="2334181" y="3330175"/>
                    <a:pt x="2308454" y="3492422"/>
                  </a:cubicBezTo>
                  <a:cubicBezTo>
                    <a:pt x="2329734" y="3500661"/>
                    <a:pt x="2351968" y="3510167"/>
                    <a:pt x="2375154" y="3521258"/>
                  </a:cubicBezTo>
                  <a:cubicBezTo>
                    <a:pt x="2375471" y="3521575"/>
                    <a:pt x="2375789" y="3521575"/>
                    <a:pt x="2376424" y="3521892"/>
                  </a:cubicBezTo>
                  <a:cubicBezTo>
                    <a:pt x="2382141" y="3501295"/>
                    <a:pt x="2399928" y="3437600"/>
                    <a:pt x="2419938" y="3367251"/>
                  </a:cubicBezTo>
                  <a:cubicBezTo>
                    <a:pt x="2418032" y="3366300"/>
                    <a:pt x="2415491" y="3365350"/>
                    <a:pt x="2412633" y="3364082"/>
                  </a:cubicBezTo>
                  <a:cubicBezTo>
                    <a:pt x="2396434" y="3357427"/>
                    <a:pt x="2367213" y="3344752"/>
                    <a:pt x="2334181" y="3330175"/>
                  </a:cubicBezTo>
                  <a:close/>
                  <a:moveTo>
                    <a:pt x="669541" y="3327640"/>
                  </a:moveTo>
                  <a:cubicBezTo>
                    <a:pt x="660330" y="3327640"/>
                    <a:pt x="644131" y="3335245"/>
                    <a:pt x="628250" y="3353308"/>
                  </a:cubicBezTo>
                  <a:cubicBezTo>
                    <a:pt x="608876" y="3374856"/>
                    <a:pt x="589818" y="3388166"/>
                    <a:pt x="573620" y="3394820"/>
                  </a:cubicBezTo>
                  <a:cubicBezTo>
                    <a:pt x="565679" y="3397989"/>
                    <a:pt x="554245" y="3404010"/>
                    <a:pt x="544717" y="3409714"/>
                  </a:cubicBezTo>
                  <a:cubicBezTo>
                    <a:pt x="539952" y="3412566"/>
                    <a:pt x="535823" y="3415101"/>
                    <a:pt x="532647" y="3417319"/>
                  </a:cubicBezTo>
                  <a:cubicBezTo>
                    <a:pt x="531059" y="3418587"/>
                    <a:pt x="530106" y="3419537"/>
                    <a:pt x="529153" y="3420171"/>
                  </a:cubicBezTo>
                  <a:cubicBezTo>
                    <a:pt x="528836" y="3420488"/>
                    <a:pt x="528836" y="3420805"/>
                    <a:pt x="528518" y="3420805"/>
                  </a:cubicBezTo>
                  <a:cubicBezTo>
                    <a:pt x="529153" y="3421122"/>
                    <a:pt x="529788" y="3421122"/>
                    <a:pt x="531059" y="3421122"/>
                  </a:cubicBezTo>
                  <a:cubicBezTo>
                    <a:pt x="536776" y="3421122"/>
                    <a:pt x="548210" y="3418587"/>
                    <a:pt x="557104" y="3412883"/>
                  </a:cubicBezTo>
                  <a:cubicBezTo>
                    <a:pt x="570444" y="3404327"/>
                    <a:pt x="588866" y="3397038"/>
                    <a:pt x="600617" y="3392602"/>
                  </a:cubicBezTo>
                  <a:cubicBezTo>
                    <a:pt x="612687" y="3388166"/>
                    <a:pt x="622216" y="3387849"/>
                    <a:pt x="629203" y="3375490"/>
                  </a:cubicBezTo>
                  <a:cubicBezTo>
                    <a:pt x="636508" y="3362815"/>
                    <a:pt x="641590" y="3349505"/>
                    <a:pt x="658106" y="3349188"/>
                  </a:cubicBezTo>
                  <a:cubicBezTo>
                    <a:pt x="667953" y="3349188"/>
                    <a:pt x="676528" y="3351407"/>
                    <a:pt x="681928" y="3351407"/>
                  </a:cubicBezTo>
                  <a:cubicBezTo>
                    <a:pt x="685422" y="3351407"/>
                    <a:pt x="687010" y="3350773"/>
                    <a:pt x="687645" y="3348871"/>
                  </a:cubicBezTo>
                  <a:cubicBezTo>
                    <a:pt x="687963" y="3347921"/>
                    <a:pt x="688280" y="3346970"/>
                    <a:pt x="688280" y="3345703"/>
                  </a:cubicBezTo>
                  <a:cubicBezTo>
                    <a:pt x="688280" y="3339999"/>
                    <a:pt x="683198" y="3332393"/>
                    <a:pt x="673987" y="3328591"/>
                  </a:cubicBezTo>
                  <a:cubicBezTo>
                    <a:pt x="672717" y="3327957"/>
                    <a:pt x="671446" y="3327640"/>
                    <a:pt x="669541" y="3327640"/>
                  </a:cubicBezTo>
                  <a:close/>
                  <a:moveTo>
                    <a:pt x="1972731" y="3327006"/>
                  </a:moveTo>
                  <a:cubicBezTo>
                    <a:pt x="1972731" y="3327006"/>
                    <a:pt x="1972731" y="3327006"/>
                    <a:pt x="1950497" y="3441720"/>
                  </a:cubicBezTo>
                  <a:cubicBezTo>
                    <a:pt x="1950497" y="3441720"/>
                    <a:pt x="1950497" y="3441720"/>
                    <a:pt x="2033713" y="3442670"/>
                  </a:cubicBezTo>
                  <a:cubicBezTo>
                    <a:pt x="2033713" y="3442670"/>
                    <a:pt x="2033713" y="3442670"/>
                    <a:pt x="2039113" y="3405594"/>
                  </a:cubicBezTo>
                  <a:cubicBezTo>
                    <a:pt x="2039113" y="3405594"/>
                    <a:pt x="2039113" y="3405594"/>
                    <a:pt x="2017197" y="3424925"/>
                  </a:cubicBezTo>
                  <a:cubicBezTo>
                    <a:pt x="2017197" y="3424925"/>
                    <a:pt x="2017197" y="3424925"/>
                    <a:pt x="1982259" y="3384997"/>
                  </a:cubicBezTo>
                  <a:cubicBezTo>
                    <a:pt x="1982259" y="3384997"/>
                    <a:pt x="1982259" y="3384997"/>
                    <a:pt x="2022279" y="3350139"/>
                  </a:cubicBezTo>
                  <a:cubicBezTo>
                    <a:pt x="2022279" y="3350139"/>
                    <a:pt x="2022279" y="3350139"/>
                    <a:pt x="2041972" y="3372638"/>
                  </a:cubicBezTo>
                  <a:cubicBezTo>
                    <a:pt x="2041972" y="3372638"/>
                    <a:pt x="2041972" y="3372638"/>
                    <a:pt x="2044512" y="3370737"/>
                  </a:cubicBezTo>
                  <a:lnTo>
                    <a:pt x="2050230" y="3333344"/>
                  </a:lnTo>
                  <a:cubicBezTo>
                    <a:pt x="2018468" y="3330809"/>
                    <a:pt x="1987341" y="3328274"/>
                    <a:pt x="1972731" y="3327006"/>
                  </a:cubicBezTo>
                  <a:close/>
                  <a:moveTo>
                    <a:pt x="220428" y="3326372"/>
                  </a:moveTo>
                  <a:cubicBezTo>
                    <a:pt x="220428" y="3326372"/>
                    <a:pt x="220428" y="3326372"/>
                    <a:pt x="259495" y="3397038"/>
                  </a:cubicBezTo>
                  <a:lnTo>
                    <a:pt x="240755" y="3406862"/>
                  </a:lnTo>
                  <a:cubicBezTo>
                    <a:pt x="240755" y="3406862"/>
                    <a:pt x="240755" y="3406862"/>
                    <a:pt x="202006" y="3336513"/>
                  </a:cubicBezTo>
                  <a:cubicBezTo>
                    <a:pt x="202006" y="3336513"/>
                    <a:pt x="202006" y="3336513"/>
                    <a:pt x="220428" y="3326372"/>
                  </a:cubicBezTo>
                  <a:close/>
                  <a:moveTo>
                    <a:pt x="673987" y="3325739"/>
                  </a:moveTo>
                  <a:lnTo>
                    <a:pt x="674953" y="3326065"/>
                  </a:lnTo>
                  <a:lnTo>
                    <a:pt x="686573" y="3334691"/>
                  </a:lnTo>
                  <a:cubicBezTo>
                    <a:pt x="689313" y="3338177"/>
                    <a:pt x="690821" y="3342058"/>
                    <a:pt x="690821" y="3345703"/>
                  </a:cubicBezTo>
                  <a:cubicBezTo>
                    <a:pt x="690821" y="3347287"/>
                    <a:pt x="690504" y="3348555"/>
                    <a:pt x="690186" y="3349822"/>
                  </a:cubicBezTo>
                  <a:cubicBezTo>
                    <a:pt x="688915" y="3352991"/>
                    <a:pt x="685422" y="3354259"/>
                    <a:pt x="681928" y="3353942"/>
                  </a:cubicBezTo>
                  <a:cubicBezTo>
                    <a:pt x="675893" y="3353942"/>
                    <a:pt x="667635" y="3352040"/>
                    <a:pt x="658106" y="3352040"/>
                  </a:cubicBezTo>
                  <a:cubicBezTo>
                    <a:pt x="643496" y="3352040"/>
                    <a:pt x="639049" y="3363448"/>
                    <a:pt x="631426" y="3376758"/>
                  </a:cubicBezTo>
                  <a:cubicBezTo>
                    <a:pt x="623804" y="3390384"/>
                    <a:pt x="613005" y="3391018"/>
                    <a:pt x="601570" y="3395137"/>
                  </a:cubicBezTo>
                  <a:cubicBezTo>
                    <a:pt x="590136" y="3399574"/>
                    <a:pt x="571397" y="3406862"/>
                    <a:pt x="558374" y="3415101"/>
                  </a:cubicBezTo>
                  <a:cubicBezTo>
                    <a:pt x="548846" y="3421122"/>
                    <a:pt x="537411" y="3423657"/>
                    <a:pt x="531059" y="3423657"/>
                  </a:cubicBezTo>
                  <a:cubicBezTo>
                    <a:pt x="528518" y="3423657"/>
                    <a:pt x="526612" y="3423657"/>
                    <a:pt x="525659" y="3421439"/>
                  </a:cubicBezTo>
                  <a:cubicBezTo>
                    <a:pt x="525659" y="3421439"/>
                    <a:pt x="525659" y="3421439"/>
                    <a:pt x="525659" y="3421122"/>
                  </a:cubicBezTo>
                  <a:cubicBezTo>
                    <a:pt x="526295" y="3418904"/>
                    <a:pt x="528200" y="3417636"/>
                    <a:pt x="531059" y="3415418"/>
                  </a:cubicBezTo>
                  <a:cubicBezTo>
                    <a:pt x="540587" y="3408446"/>
                    <a:pt x="560280" y="3397355"/>
                    <a:pt x="572349" y="3392285"/>
                  </a:cubicBezTo>
                  <a:cubicBezTo>
                    <a:pt x="588230" y="3385947"/>
                    <a:pt x="607287" y="3372955"/>
                    <a:pt x="626345" y="3351407"/>
                  </a:cubicBezTo>
                  <a:cubicBezTo>
                    <a:pt x="637779" y="3338414"/>
                    <a:pt x="649848" y="3330492"/>
                    <a:pt x="659377" y="3327006"/>
                  </a:cubicBezTo>
                  <a:cubicBezTo>
                    <a:pt x="640320" y="3331760"/>
                    <a:pt x="623486" y="3347287"/>
                    <a:pt x="615228" y="3355843"/>
                  </a:cubicBezTo>
                  <a:cubicBezTo>
                    <a:pt x="601253" y="3370103"/>
                    <a:pt x="575526" y="3389750"/>
                    <a:pt x="559327" y="3397355"/>
                  </a:cubicBezTo>
                  <a:cubicBezTo>
                    <a:pt x="550434" y="3401158"/>
                    <a:pt x="532647" y="3403376"/>
                    <a:pt x="514543" y="3406545"/>
                  </a:cubicBezTo>
                  <a:cubicBezTo>
                    <a:pt x="496121" y="3409080"/>
                    <a:pt x="477699" y="3412566"/>
                    <a:pt x="470076" y="3417002"/>
                  </a:cubicBezTo>
                  <a:cubicBezTo>
                    <a:pt x="464994" y="3419854"/>
                    <a:pt x="456101" y="3424291"/>
                    <a:pt x="445619" y="3429044"/>
                  </a:cubicBezTo>
                  <a:cubicBezTo>
                    <a:pt x="457689" y="3442037"/>
                    <a:pt x="468806" y="3454395"/>
                    <a:pt x="474523" y="3460416"/>
                  </a:cubicBezTo>
                  <a:cubicBezTo>
                    <a:pt x="478652" y="3458198"/>
                    <a:pt x="483098" y="3456296"/>
                    <a:pt x="486910" y="3454395"/>
                  </a:cubicBezTo>
                  <a:cubicBezTo>
                    <a:pt x="513590" y="3442987"/>
                    <a:pt x="587913" y="3412883"/>
                    <a:pt x="622533" y="3404961"/>
                  </a:cubicBezTo>
                  <a:cubicBezTo>
                    <a:pt x="641590" y="3400841"/>
                    <a:pt x="665094" y="3398940"/>
                    <a:pt x="694633" y="3398623"/>
                  </a:cubicBezTo>
                  <a:cubicBezTo>
                    <a:pt x="694633" y="3398623"/>
                    <a:pt x="694633" y="3398623"/>
                    <a:pt x="694315" y="3398623"/>
                  </a:cubicBezTo>
                  <a:cubicBezTo>
                    <a:pt x="694315" y="3398623"/>
                    <a:pt x="694315" y="3398623"/>
                    <a:pt x="702891" y="3355843"/>
                  </a:cubicBezTo>
                  <a:cubicBezTo>
                    <a:pt x="698444" y="3350139"/>
                    <a:pt x="695268" y="3342217"/>
                    <a:pt x="693680" y="3332393"/>
                  </a:cubicBezTo>
                  <a:lnTo>
                    <a:pt x="674953" y="3326065"/>
                  </a:lnTo>
                  <a:lnTo>
                    <a:pt x="674940" y="3326056"/>
                  </a:lnTo>
                  <a:cubicBezTo>
                    <a:pt x="674940" y="3326056"/>
                    <a:pt x="674305" y="3326056"/>
                    <a:pt x="673987" y="3325739"/>
                  </a:cubicBezTo>
                  <a:close/>
                  <a:moveTo>
                    <a:pt x="1296838" y="3314964"/>
                  </a:moveTo>
                  <a:cubicBezTo>
                    <a:pt x="1296838" y="3314964"/>
                    <a:pt x="1296838" y="3314964"/>
                    <a:pt x="1056718" y="3387215"/>
                  </a:cubicBezTo>
                  <a:lnTo>
                    <a:pt x="1098961" y="3444889"/>
                  </a:lnTo>
                  <a:cubicBezTo>
                    <a:pt x="1098961" y="3444889"/>
                    <a:pt x="1098961" y="3444889"/>
                    <a:pt x="1135805" y="3431579"/>
                  </a:cubicBezTo>
                  <a:cubicBezTo>
                    <a:pt x="1135805" y="3431579"/>
                    <a:pt x="1135805" y="3431579"/>
                    <a:pt x="1129135" y="3418270"/>
                  </a:cubicBezTo>
                  <a:cubicBezTo>
                    <a:pt x="1129135" y="3418270"/>
                    <a:pt x="1129135" y="3418270"/>
                    <a:pt x="1181542" y="3376441"/>
                  </a:cubicBezTo>
                  <a:cubicBezTo>
                    <a:pt x="1181542" y="3376441"/>
                    <a:pt x="1181542" y="3376441"/>
                    <a:pt x="1199647" y="3394186"/>
                  </a:cubicBezTo>
                  <a:cubicBezTo>
                    <a:pt x="1199647" y="3394186"/>
                    <a:pt x="1199647" y="3394186"/>
                    <a:pt x="1260629" y="3380877"/>
                  </a:cubicBezTo>
                  <a:cubicBezTo>
                    <a:pt x="1260629" y="3380877"/>
                    <a:pt x="1260629" y="3380877"/>
                    <a:pt x="1254595" y="3350456"/>
                  </a:cubicBezTo>
                  <a:cubicBezTo>
                    <a:pt x="1254595" y="3350456"/>
                    <a:pt x="1254595" y="3350456"/>
                    <a:pt x="1296520" y="3338414"/>
                  </a:cubicBezTo>
                  <a:cubicBezTo>
                    <a:pt x="1296520" y="3338414"/>
                    <a:pt x="1296520" y="3338414"/>
                    <a:pt x="1296838" y="3314964"/>
                  </a:cubicBezTo>
                  <a:close/>
                  <a:moveTo>
                    <a:pt x="222969" y="3313380"/>
                  </a:moveTo>
                  <a:cubicBezTo>
                    <a:pt x="222969" y="3313380"/>
                    <a:pt x="222969" y="3313380"/>
                    <a:pt x="189301" y="3332393"/>
                  </a:cubicBezTo>
                  <a:cubicBezTo>
                    <a:pt x="189301" y="3332393"/>
                    <a:pt x="189301" y="3332393"/>
                    <a:pt x="235356" y="3414784"/>
                  </a:cubicBezTo>
                  <a:cubicBezTo>
                    <a:pt x="235356" y="3414784"/>
                    <a:pt x="235356" y="3414784"/>
                    <a:pt x="200100" y="3432213"/>
                  </a:cubicBezTo>
                  <a:cubicBezTo>
                    <a:pt x="200100" y="3432213"/>
                    <a:pt x="200100" y="3432213"/>
                    <a:pt x="229956" y="3482598"/>
                  </a:cubicBezTo>
                  <a:cubicBezTo>
                    <a:pt x="229956" y="3482598"/>
                    <a:pt x="229956" y="3482598"/>
                    <a:pt x="200735" y="3517773"/>
                  </a:cubicBezTo>
                  <a:cubicBezTo>
                    <a:pt x="206452" y="3525378"/>
                    <a:pt x="221381" y="3543758"/>
                    <a:pt x="236944" y="3554849"/>
                  </a:cubicBezTo>
                  <a:lnTo>
                    <a:pt x="289351" y="3482281"/>
                  </a:lnTo>
                  <a:cubicBezTo>
                    <a:pt x="289351" y="3482281"/>
                    <a:pt x="289351" y="3482281"/>
                    <a:pt x="289669" y="3481964"/>
                  </a:cubicBezTo>
                  <a:cubicBezTo>
                    <a:pt x="289669" y="3481964"/>
                    <a:pt x="296656" y="3476894"/>
                    <a:pt x="303961" y="3472141"/>
                  </a:cubicBezTo>
                  <a:cubicBezTo>
                    <a:pt x="307455" y="3469606"/>
                    <a:pt x="311267" y="3467071"/>
                    <a:pt x="314125" y="3465486"/>
                  </a:cubicBezTo>
                  <a:cubicBezTo>
                    <a:pt x="315713" y="3464536"/>
                    <a:pt x="316666" y="3463902"/>
                    <a:pt x="317619" y="3463268"/>
                  </a:cubicBezTo>
                  <a:cubicBezTo>
                    <a:pt x="312220" y="3454395"/>
                    <a:pt x="290939" y="3420171"/>
                    <a:pt x="269976" y="3387215"/>
                  </a:cubicBezTo>
                  <a:cubicBezTo>
                    <a:pt x="249013" y="3354259"/>
                    <a:pt x="228368" y="3321936"/>
                    <a:pt x="222969" y="3313380"/>
                  </a:cubicBezTo>
                  <a:close/>
                  <a:moveTo>
                    <a:pt x="1301602" y="3308627"/>
                  </a:moveTo>
                  <a:cubicBezTo>
                    <a:pt x="1301602" y="3308627"/>
                    <a:pt x="1301602" y="3308627"/>
                    <a:pt x="1301602" y="3311796"/>
                  </a:cubicBezTo>
                  <a:cubicBezTo>
                    <a:pt x="1301602" y="3311796"/>
                    <a:pt x="1301602" y="3311796"/>
                    <a:pt x="1301285" y="3341900"/>
                  </a:cubicBezTo>
                  <a:cubicBezTo>
                    <a:pt x="1301285" y="3341900"/>
                    <a:pt x="1301285" y="3341900"/>
                    <a:pt x="1259994" y="3353942"/>
                  </a:cubicBezTo>
                  <a:cubicBezTo>
                    <a:pt x="1259994" y="3353942"/>
                    <a:pt x="1259994" y="3353942"/>
                    <a:pt x="1266029" y="3384363"/>
                  </a:cubicBezTo>
                  <a:cubicBezTo>
                    <a:pt x="1266029" y="3384363"/>
                    <a:pt x="1266029" y="3384363"/>
                    <a:pt x="1198058" y="3399257"/>
                  </a:cubicBezTo>
                  <a:cubicBezTo>
                    <a:pt x="1198058" y="3399257"/>
                    <a:pt x="1198058" y="3399257"/>
                    <a:pt x="1181225" y="3382778"/>
                  </a:cubicBezTo>
                  <a:cubicBezTo>
                    <a:pt x="1181225" y="3382778"/>
                    <a:pt x="1181225" y="3382778"/>
                    <a:pt x="1134852" y="3419537"/>
                  </a:cubicBezTo>
                  <a:lnTo>
                    <a:pt x="1142158" y="3434114"/>
                  </a:lnTo>
                  <a:cubicBezTo>
                    <a:pt x="1142158" y="3434114"/>
                    <a:pt x="1142158" y="3434114"/>
                    <a:pt x="1097373" y="3450276"/>
                  </a:cubicBezTo>
                  <a:cubicBezTo>
                    <a:pt x="1097373" y="3450276"/>
                    <a:pt x="1097373" y="3450276"/>
                    <a:pt x="1048778" y="3384680"/>
                  </a:cubicBezTo>
                  <a:cubicBezTo>
                    <a:pt x="1048778" y="3384680"/>
                    <a:pt x="1048778" y="3384680"/>
                    <a:pt x="1301602" y="3308627"/>
                  </a:cubicBezTo>
                  <a:close/>
                  <a:moveTo>
                    <a:pt x="1680521" y="3297219"/>
                  </a:moveTo>
                  <a:cubicBezTo>
                    <a:pt x="1680521" y="3297219"/>
                    <a:pt x="1680521" y="3297219"/>
                    <a:pt x="1631291" y="3308944"/>
                  </a:cubicBezTo>
                  <a:cubicBezTo>
                    <a:pt x="1631291" y="3308944"/>
                    <a:pt x="1631291" y="3308944"/>
                    <a:pt x="1635420" y="3325105"/>
                  </a:cubicBezTo>
                  <a:cubicBezTo>
                    <a:pt x="1635420" y="3325105"/>
                    <a:pt x="1635420" y="3325105"/>
                    <a:pt x="1632243" y="3325739"/>
                  </a:cubicBezTo>
                  <a:cubicBezTo>
                    <a:pt x="1632243" y="3325739"/>
                    <a:pt x="1632243" y="3325739"/>
                    <a:pt x="1638913" y="3353942"/>
                  </a:cubicBezTo>
                  <a:cubicBezTo>
                    <a:pt x="1638913" y="3353942"/>
                    <a:pt x="1638913" y="3353942"/>
                    <a:pt x="1668452" y="3346019"/>
                  </a:cubicBezTo>
                  <a:lnTo>
                    <a:pt x="1664323" y="3328274"/>
                  </a:lnTo>
                  <a:cubicBezTo>
                    <a:pt x="1664323" y="3328274"/>
                    <a:pt x="1664323" y="3328274"/>
                    <a:pt x="1686874" y="3322887"/>
                  </a:cubicBezTo>
                  <a:cubicBezTo>
                    <a:pt x="1686874" y="3322887"/>
                    <a:pt x="1686874" y="3322887"/>
                    <a:pt x="1680521" y="3297219"/>
                  </a:cubicBezTo>
                  <a:close/>
                  <a:moveTo>
                    <a:pt x="2181088" y="3295001"/>
                  </a:moveTo>
                  <a:cubicBezTo>
                    <a:pt x="2181088" y="3295001"/>
                    <a:pt x="2181088" y="3295001"/>
                    <a:pt x="2177277" y="3325105"/>
                  </a:cubicBezTo>
                  <a:lnTo>
                    <a:pt x="2195382" y="3328274"/>
                  </a:lnTo>
                  <a:cubicBezTo>
                    <a:pt x="2195382" y="3328274"/>
                    <a:pt x="2195382" y="3328274"/>
                    <a:pt x="2191570" y="3352357"/>
                  </a:cubicBezTo>
                  <a:cubicBezTo>
                    <a:pt x="2191570" y="3352357"/>
                    <a:pt x="2191570" y="3352357"/>
                    <a:pt x="2217932" y="3356160"/>
                  </a:cubicBezTo>
                  <a:cubicBezTo>
                    <a:pt x="2217932" y="3356160"/>
                    <a:pt x="2217932" y="3356160"/>
                    <a:pt x="2224602" y="3306092"/>
                  </a:cubicBezTo>
                  <a:cubicBezTo>
                    <a:pt x="2224602" y="3306092"/>
                    <a:pt x="2224602" y="3306092"/>
                    <a:pt x="2208086" y="3303873"/>
                  </a:cubicBezTo>
                  <a:cubicBezTo>
                    <a:pt x="2208086" y="3303873"/>
                    <a:pt x="2208086" y="3303873"/>
                    <a:pt x="2209039" y="3299120"/>
                  </a:cubicBezTo>
                  <a:cubicBezTo>
                    <a:pt x="2209039" y="3299120"/>
                    <a:pt x="2209039" y="3299120"/>
                    <a:pt x="2181088" y="3295001"/>
                  </a:cubicBezTo>
                  <a:close/>
                  <a:moveTo>
                    <a:pt x="1314307" y="3293099"/>
                  </a:moveTo>
                  <a:cubicBezTo>
                    <a:pt x="1274605" y="3304824"/>
                    <a:pt x="1235220" y="3316549"/>
                    <a:pt x="1199329" y="3327640"/>
                  </a:cubicBezTo>
                  <a:cubicBezTo>
                    <a:pt x="1146604" y="3343801"/>
                    <a:pt x="1100232" y="3358695"/>
                    <a:pt x="1067199" y="3369469"/>
                  </a:cubicBezTo>
                  <a:cubicBezTo>
                    <a:pt x="1050683" y="3374856"/>
                    <a:pt x="1037661" y="3379293"/>
                    <a:pt x="1028450" y="3382462"/>
                  </a:cubicBezTo>
                  <a:cubicBezTo>
                    <a:pt x="1027815" y="3382778"/>
                    <a:pt x="1027180" y="3383095"/>
                    <a:pt x="1026544" y="3383412"/>
                  </a:cubicBezTo>
                  <a:cubicBezTo>
                    <a:pt x="1026544" y="3383412"/>
                    <a:pt x="1026544" y="3383412"/>
                    <a:pt x="1096738" y="3475944"/>
                  </a:cubicBezTo>
                  <a:cubicBezTo>
                    <a:pt x="1096738" y="3475944"/>
                    <a:pt x="1096738" y="3475944"/>
                    <a:pt x="1143746" y="3537103"/>
                  </a:cubicBezTo>
                  <a:cubicBezTo>
                    <a:pt x="1143746" y="3537103"/>
                    <a:pt x="1143746" y="3537103"/>
                    <a:pt x="1251101" y="3501295"/>
                  </a:cubicBezTo>
                  <a:cubicBezTo>
                    <a:pt x="1251101" y="3501295"/>
                    <a:pt x="1251101" y="3501295"/>
                    <a:pt x="1251101" y="3501611"/>
                  </a:cubicBezTo>
                  <a:cubicBezTo>
                    <a:pt x="1251101" y="3501611"/>
                    <a:pt x="1251101" y="3501611"/>
                    <a:pt x="1308907" y="3484499"/>
                  </a:cubicBezTo>
                  <a:cubicBezTo>
                    <a:pt x="1308907" y="3484499"/>
                    <a:pt x="1308907" y="3484499"/>
                    <a:pt x="1343528" y="3385947"/>
                  </a:cubicBezTo>
                  <a:cubicBezTo>
                    <a:pt x="1343528" y="3385947"/>
                    <a:pt x="1343528" y="3385947"/>
                    <a:pt x="1344481" y="3385630"/>
                  </a:cubicBezTo>
                  <a:cubicBezTo>
                    <a:pt x="1344481" y="3385630"/>
                    <a:pt x="1346386" y="3384680"/>
                    <a:pt x="1348927" y="3383729"/>
                  </a:cubicBezTo>
                  <a:cubicBezTo>
                    <a:pt x="1348610" y="3382778"/>
                    <a:pt x="1339716" y="3359963"/>
                    <a:pt x="1330823" y="3336830"/>
                  </a:cubicBezTo>
                  <a:cubicBezTo>
                    <a:pt x="1326376" y="3325105"/>
                    <a:pt x="1321612" y="3313063"/>
                    <a:pt x="1318436" y="3303873"/>
                  </a:cubicBezTo>
                  <a:cubicBezTo>
                    <a:pt x="1316848" y="3299437"/>
                    <a:pt x="1315260" y="3295951"/>
                    <a:pt x="1314307" y="3293099"/>
                  </a:cubicBezTo>
                  <a:close/>
                  <a:moveTo>
                    <a:pt x="1683698" y="3292149"/>
                  </a:moveTo>
                  <a:lnTo>
                    <a:pt x="1691956" y="3326056"/>
                  </a:lnTo>
                  <a:cubicBezTo>
                    <a:pt x="1691956" y="3326056"/>
                    <a:pt x="1691956" y="3326056"/>
                    <a:pt x="1669405" y="3331443"/>
                  </a:cubicBezTo>
                  <a:cubicBezTo>
                    <a:pt x="1669405" y="3331443"/>
                    <a:pt x="1669405" y="3331443"/>
                    <a:pt x="1673534" y="3349188"/>
                  </a:cubicBezTo>
                  <a:cubicBezTo>
                    <a:pt x="1673534" y="3349188"/>
                    <a:pt x="1673534" y="3349188"/>
                    <a:pt x="1671628" y="3349505"/>
                  </a:cubicBezTo>
                  <a:cubicBezTo>
                    <a:pt x="1671628" y="3349505"/>
                    <a:pt x="1671628" y="3349505"/>
                    <a:pt x="1635737" y="3359012"/>
                  </a:cubicBezTo>
                  <a:cubicBezTo>
                    <a:pt x="1635737" y="3359012"/>
                    <a:pt x="1635737" y="3359012"/>
                    <a:pt x="1627161" y="3322887"/>
                  </a:cubicBezTo>
                  <a:cubicBezTo>
                    <a:pt x="1627161" y="3322887"/>
                    <a:pt x="1627161" y="3322887"/>
                    <a:pt x="1630338" y="3321936"/>
                  </a:cubicBezTo>
                  <a:cubicBezTo>
                    <a:pt x="1630338" y="3321936"/>
                    <a:pt x="1630338" y="3321936"/>
                    <a:pt x="1626526" y="3306092"/>
                  </a:cubicBezTo>
                  <a:cubicBezTo>
                    <a:pt x="1626526" y="3306092"/>
                    <a:pt x="1626526" y="3306092"/>
                    <a:pt x="1683698" y="3292149"/>
                  </a:cubicBezTo>
                  <a:close/>
                  <a:moveTo>
                    <a:pt x="1372749" y="3291515"/>
                  </a:moveTo>
                  <a:cubicBezTo>
                    <a:pt x="1372749" y="3291515"/>
                    <a:pt x="1372749" y="3291515"/>
                    <a:pt x="1335270" y="3300705"/>
                  </a:cubicBezTo>
                  <a:cubicBezTo>
                    <a:pt x="1335270" y="3300705"/>
                    <a:pt x="1335270" y="3300705"/>
                    <a:pt x="1340987" y="3324788"/>
                  </a:cubicBezTo>
                  <a:lnTo>
                    <a:pt x="1378784" y="3315598"/>
                  </a:lnTo>
                  <a:cubicBezTo>
                    <a:pt x="1378784" y="3315598"/>
                    <a:pt x="1378784" y="3315598"/>
                    <a:pt x="1372749" y="3291515"/>
                  </a:cubicBezTo>
                  <a:close/>
                  <a:moveTo>
                    <a:pt x="2246836" y="3291198"/>
                  </a:moveTo>
                  <a:lnTo>
                    <a:pt x="2215074" y="3461050"/>
                  </a:lnTo>
                  <a:cubicBezTo>
                    <a:pt x="2240166" y="3468021"/>
                    <a:pt x="2270340" y="3477528"/>
                    <a:pt x="2304325" y="3490520"/>
                  </a:cubicBezTo>
                  <a:cubicBezTo>
                    <a:pt x="2304325" y="3490520"/>
                    <a:pt x="2304325" y="3490520"/>
                    <a:pt x="2330052" y="3328274"/>
                  </a:cubicBezTo>
                  <a:cubicBezTo>
                    <a:pt x="2302736" y="3316232"/>
                    <a:pt x="2273516" y="3302923"/>
                    <a:pt x="2246836" y="3291198"/>
                  </a:cubicBezTo>
                  <a:close/>
                  <a:moveTo>
                    <a:pt x="2177595" y="3290247"/>
                  </a:moveTo>
                  <a:cubicBezTo>
                    <a:pt x="2177595" y="3290247"/>
                    <a:pt x="2177595" y="3290247"/>
                    <a:pt x="2213803" y="3295634"/>
                  </a:cubicBezTo>
                  <a:cubicBezTo>
                    <a:pt x="2213803" y="3295634"/>
                    <a:pt x="2213803" y="3295634"/>
                    <a:pt x="2213168" y="3300388"/>
                  </a:cubicBezTo>
                  <a:cubicBezTo>
                    <a:pt x="2213168" y="3300388"/>
                    <a:pt x="2213168" y="3300388"/>
                    <a:pt x="2229366" y="3302606"/>
                  </a:cubicBezTo>
                  <a:cubicBezTo>
                    <a:pt x="2229366" y="3302606"/>
                    <a:pt x="2229366" y="3302606"/>
                    <a:pt x="2221426" y="3360596"/>
                  </a:cubicBezTo>
                  <a:cubicBezTo>
                    <a:pt x="2221426" y="3360596"/>
                    <a:pt x="2221426" y="3360596"/>
                    <a:pt x="2186806" y="3356160"/>
                  </a:cubicBezTo>
                  <a:lnTo>
                    <a:pt x="2190617" y="3331760"/>
                  </a:lnTo>
                  <a:cubicBezTo>
                    <a:pt x="2190617" y="3331760"/>
                    <a:pt x="2190617" y="3331760"/>
                    <a:pt x="2172513" y="3328591"/>
                  </a:cubicBezTo>
                  <a:cubicBezTo>
                    <a:pt x="2172513" y="3328591"/>
                    <a:pt x="2172513" y="3328591"/>
                    <a:pt x="2172830" y="3326689"/>
                  </a:cubicBezTo>
                  <a:cubicBezTo>
                    <a:pt x="2172830" y="3326689"/>
                    <a:pt x="2172830" y="3326689"/>
                    <a:pt x="2177595" y="3290247"/>
                  </a:cubicBezTo>
                  <a:close/>
                  <a:moveTo>
                    <a:pt x="1375925" y="3286761"/>
                  </a:moveTo>
                  <a:cubicBezTo>
                    <a:pt x="1375925" y="3286761"/>
                    <a:pt x="1375925" y="3286761"/>
                    <a:pt x="1383548" y="3318767"/>
                  </a:cubicBezTo>
                  <a:cubicBezTo>
                    <a:pt x="1383548" y="3318767"/>
                    <a:pt x="1383548" y="3318767"/>
                    <a:pt x="1338128" y="3329858"/>
                  </a:cubicBezTo>
                  <a:cubicBezTo>
                    <a:pt x="1338128" y="3329858"/>
                    <a:pt x="1338128" y="3329858"/>
                    <a:pt x="1337493" y="3327640"/>
                  </a:cubicBezTo>
                  <a:cubicBezTo>
                    <a:pt x="1337493" y="3327640"/>
                    <a:pt x="1337493" y="3327640"/>
                    <a:pt x="1330188" y="3297536"/>
                  </a:cubicBezTo>
                  <a:close/>
                  <a:moveTo>
                    <a:pt x="156586" y="3284543"/>
                  </a:moveTo>
                  <a:cubicBezTo>
                    <a:pt x="156586" y="3284543"/>
                    <a:pt x="156586" y="3284543"/>
                    <a:pt x="103226" y="3312429"/>
                  </a:cubicBezTo>
                  <a:lnTo>
                    <a:pt x="111802" y="3331126"/>
                  </a:lnTo>
                  <a:cubicBezTo>
                    <a:pt x="111802" y="3331126"/>
                    <a:pt x="111802" y="3331126"/>
                    <a:pt x="113708" y="3334928"/>
                  </a:cubicBezTo>
                  <a:cubicBezTo>
                    <a:pt x="113708" y="3334928"/>
                    <a:pt x="141658" y="3404961"/>
                    <a:pt x="159763" y="3443621"/>
                  </a:cubicBezTo>
                  <a:cubicBezTo>
                    <a:pt x="168656" y="3462951"/>
                    <a:pt x="178502" y="3481964"/>
                    <a:pt x="187713" y="3497175"/>
                  </a:cubicBezTo>
                  <a:cubicBezTo>
                    <a:pt x="187713" y="3497175"/>
                    <a:pt x="187713" y="3497175"/>
                    <a:pt x="197242" y="3513019"/>
                  </a:cubicBezTo>
                  <a:cubicBezTo>
                    <a:pt x="197242" y="3513019"/>
                    <a:pt x="197559" y="3513336"/>
                    <a:pt x="197559" y="3513336"/>
                  </a:cubicBezTo>
                  <a:cubicBezTo>
                    <a:pt x="197559" y="3513336"/>
                    <a:pt x="197559" y="3513336"/>
                    <a:pt x="223604" y="3481964"/>
                  </a:cubicBezTo>
                  <a:cubicBezTo>
                    <a:pt x="223604" y="3481964"/>
                    <a:pt x="223604" y="3481964"/>
                    <a:pt x="192795" y="3429995"/>
                  </a:cubicBezTo>
                  <a:cubicBezTo>
                    <a:pt x="192795" y="3429995"/>
                    <a:pt x="192795" y="3429995"/>
                    <a:pt x="228051" y="3412566"/>
                  </a:cubicBezTo>
                  <a:cubicBezTo>
                    <a:pt x="228051" y="3412566"/>
                    <a:pt x="228051" y="3412566"/>
                    <a:pt x="156586" y="3284543"/>
                  </a:cubicBezTo>
                  <a:close/>
                  <a:moveTo>
                    <a:pt x="156586" y="3278839"/>
                  </a:moveTo>
                  <a:cubicBezTo>
                    <a:pt x="141976" y="3286445"/>
                    <a:pt x="141976" y="3286445"/>
                    <a:pt x="141976" y="3286445"/>
                  </a:cubicBezTo>
                  <a:cubicBezTo>
                    <a:pt x="142293" y="3286445"/>
                    <a:pt x="142293" y="3286128"/>
                    <a:pt x="142611" y="3286128"/>
                  </a:cubicBezTo>
                  <a:cubicBezTo>
                    <a:pt x="146423" y="3283909"/>
                    <a:pt x="151187" y="3281691"/>
                    <a:pt x="156586" y="3278839"/>
                  </a:cubicBezTo>
                  <a:close/>
                  <a:moveTo>
                    <a:pt x="1376243" y="3275353"/>
                  </a:moveTo>
                  <a:cubicBezTo>
                    <a:pt x="1357185" y="3280741"/>
                    <a:pt x="1337811" y="3286128"/>
                    <a:pt x="1318754" y="3291832"/>
                  </a:cubicBezTo>
                  <a:cubicBezTo>
                    <a:pt x="1325741" y="3312112"/>
                    <a:pt x="1352104" y="3379293"/>
                    <a:pt x="1353056" y="3382145"/>
                  </a:cubicBezTo>
                  <a:cubicBezTo>
                    <a:pt x="1360044" y="3379293"/>
                    <a:pt x="1368620" y="3375490"/>
                    <a:pt x="1369890" y="3375173"/>
                  </a:cubicBezTo>
                  <a:cubicBezTo>
                    <a:pt x="1371161" y="3374856"/>
                    <a:pt x="1374019" y="3374539"/>
                    <a:pt x="1380372" y="3373906"/>
                  </a:cubicBezTo>
                  <a:cubicBezTo>
                    <a:pt x="1386089" y="3373589"/>
                    <a:pt x="1394029" y="3372638"/>
                    <a:pt x="1403240" y="3372004"/>
                  </a:cubicBezTo>
                  <a:close/>
                  <a:moveTo>
                    <a:pt x="1432144" y="3274403"/>
                  </a:moveTo>
                  <a:cubicBezTo>
                    <a:pt x="1432144" y="3274403"/>
                    <a:pt x="1432144" y="3274403"/>
                    <a:pt x="1394347" y="3283276"/>
                  </a:cubicBezTo>
                  <a:cubicBezTo>
                    <a:pt x="1394347" y="3283276"/>
                    <a:pt x="1394347" y="3283276"/>
                    <a:pt x="1400382" y="3307676"/>
                  </a:cubicBezTo>
                  <a:lnTo>
                    <a:pt x="1437861" y="3298486"/>
                  </a:lnTo>
                  <a:cubicBezTo>
                    <a:pt x="1437861" y="3298486"/>
                    <a:pt x="1437861" y="3298486"/>
                    <a:pt x="1432144" y="3274403"/>
                  </a:cubicBezTo>
                  <a:close/>
                  <a:moveTo>
                    <a:pt x="3783476" y="3273135"/>
                  </a:moveTo>
                  <a:cubicBezTo>
                    <a:pt x="3774900" y="3273135"/>
                    <a:pt x="3765054" y="3275353"/>
                    <a:pt x="3753937" y="3285177"/>
                  </a:cubicBezTo>
                  <a:cubicBezTo>
                    <a:pt x="3739962" y="3297219"/>
                    <a:pt x="3731386" y="3303873"/>
                    <a:pt x="3725351" y="3307993"/>
                  </a:cubicBezTo>
                  <a:cubicBezTo>
                    <a:pt x="3725351" y="3307993"/>
                    <a:pt x="3725351" y="3307993"/>
                    <a:pt x="3917511" y="3548828"/>
                  </a:cubicBezTo>
                  <a:cubicBezTo>
                    <a:pt x="3920052" y="3546293"/>
                    <a:pt x="3922593" y="3543441"/>
                    <a:pt x="3925451" y="3540906"/>
                  </a:cubicBezTo>
                  <a:cubicBezTo>
                    <a:pt x="3964201" y="3503196"/>
                    <a:pt x="4000409" y="3467388"/>
                    <a:pt x="4013432" y="3454712"/>
                  </a:cubicBezTo>
                  <a:cubicBezTo>
                    <a:pt x="4013432" y="3454712"/>
                    <a:pt x="4013432" y="3454712"/>
                    <a:pt x="3803486" y="3277889"/>
                  </a:cubicBezTo>
                  <a:cubicBezTo>
                    <a:pt x="3801262" y="3276938"/>
                    <a:pt x="3793322" y="3273135"/>
                    <a:pt x="3783476" y="3273135"/>
                  </a:cubicBezTo>
                  <a:close/>
                  <a:moveTo>
                    <a:pt x="1039567" y="3272501"/>
                  </a:moveTo>
                  <a:lnTo>
                    <a:pt x="995735" y="3292782"/>
                  </a:lnTo>
                  <a:cubicBezTo>
                    <a:pt x="995735" y="3292782"/>
                    <a:pt x="995735" y="3292782"/>
                    <a:pt x="985254" y="3325739"/>
                  </a:cubicBezTo>
                  <a:cubicBezTo>
                    <a:pt x="985254" y="3325739"/>
                    <a:pt x="985254" y="3325739"/>
                    <a:pt x="924589" y="3333344"/>
                  </a:cubicBezTo>
                  <a:cubicBezTo>
                    <a:pt x="926177" y="3341900"/>
                    <a:pt x="931259" y="3371054"/>
                    <a:pt x="932212" y="3381511"/>
                  </a:cubicBezTo>
                  <a:cubicBezTo>
                    <a:pt x="934117" y="3380877"/>
                    <a:pt x="936658" y="3379610"/>
                    <a:pt x="939834" y="3378342"/>
                  </a:cubicBezTo>
                  <a:cubicBezTo>
                    <a:pt x="948728" y="3374223"/>
                    <a:pt x="962068" y="3368835"/>
                    <a:pt x="973184" y="3364082"/>
                  </a:cubicBezTo>
                  <a:cubicBezTo>
                    <a:pt x="978584" y="3361547"/>
                    <a:pt x="983666" y="3359646"/>
                    <a:pt x="987160" y="3358061"/>
                  </a:cubicBezTo>
                  <a:cubicBezTo>
                    <a:pt x="988748" y="3357427"/>
                    <a:pt x="990018" y="3356794"/>
                    <a:pt x="990971" y="3356477"/>
                  </a:cubicBezTo>
                  <a:cubicBezTo>
                    <a:pt x="991924" y="3351407"/>
                    <a:pt x="997959" y="3340949"/>
                    <a:pt x="997959" y="3340632"/>
                  </a:cubicBezTo>
                  <a:cubicBezTo>
                    <a:pt x="997959" y="3340632"/>
                    <a:pt x="997959" y="3340632"/>
                    <a:pt x="998594" y="3339365"/>
                  </a:cubicBezTo>
                  <a:cubicBezTo>
                    <a:pt x="998594" y="3339365"/>
                    <a:pt x="998594" y="3339365"/>
                    <a:pt x="1064341" y="3333978"/>
                  </a:cubicBezTo>
                  <a:cubicBezTo>
                    <a:pt x="1062118" y="3331760"/>
                    <a:pt x="1059259" y="3329224"/>
                    <a:pt x="1056400" y="3326372"/>
                  </a:cubicBezTo>
                  <a:cubicBezTo>
                    <a:pt x="1053542" y="3323520"/>
                    <a:pt x="1050366" y="3320668"/>
                    <a:pt x="1047825" y="3318450"/>
                  </a:cubicBezTo>
                  <a:cubicBezTo>
                    <a:pt x="1046872" y="3317500"/>
                    <a:pt x="1045601" y="3316549"/>
                    <a:pt x="1044966" y="3316232"/>
                  </a:cubicBezTo>
                  <a:cubicBezTo>
                    <a:pt x="1044649" y="3315915"/>
                    <a:pt x="1044331" y="3315598"/>
                    <a:pt x="1044013" y="3315598"/>
                  </a:cubicBezTo>
                  <a:cubicBezTo>
                    <a:pt x="1043378" y="3315598"/>
                    <a:pt x="1042425" y="3314964"/>
                    <a:pt x="1042108" y="3314331"/>
                  </a:cubicBezTo>
                  <a:cubicBezTo>
                    <a:pt x="1041790" y="3313697"/>
                    <a:pt x="1041790" y="3313380"/>
                    <a:pt x="1041790" y="3313063"/>
                  </a:cubicBezTo>
                  <a:cubicBezTo>
                    <a:pt x="1042108" y="3311162"/>
                    <a:pt x="1042743" y="3309894"/>
                    <a:pt x="1044013" y="3307042"/>
                  </a:cubicBezTo>
                  <a:cubicBezTo>
                    <a:pt x="1046872" y="3301338"/>
                    <a:pt x="1051954" y="3292465"/>
                    <a:pt x="1054177" y="3288663"/>
                  </a:cubicBezTo>
                  <a:cubicBezTo>
                    <a:pt x="1050366" y="3285177"/>
                    <a:pt x="1042425" y="3275987"/>
                    <a:pt x="1039567" y="3272501"/>
                  </a:cubicBezTo>
                  <a:close/>
                  <a:moveTo>
                    <a:pt x="1435320" y="3269333"/>
                  </a:moveTo>
                  <a:cubicBezTo>
                    <a:pt x="1435320" y="3269333"/>
                    <a:pt x="1435320" y="3269333"/>
                    <a:pt x="1442943" y="3301655"/>
                  </a:cubicBezTo>
                  <a:cubicBezTo>
                    <a:pt x="1442943" y="3301655"/>
                    <a:pt x="1442943" y="3301655"/>
                    <a:pt x="1397205" y="3312429"/>
                  </a:cubicBezTo>
                  <a:cubicBezTo>
                    <a:pt x="1397205" y="3312429"/>
                    <a:pt x="1397205" y="3312429"/>
                    <a:pt x="1396888" y="3310528"/>
                  </a:cubicBezTo>
                  <a:cubicBezTo>
                    <a:pt x="1396888" y="3310528"/>
                    <a:pt x="1396888" y="3310528"/>
                    <a:pt x="1389583" y="3280424"/>
                  </a:cubicBezTo>
                  <a:close/>
                  <a:moveTo>
                    <a:pt x="720677" y="3268065"/>
                  </a:moveTo>
                  <a:cubicBezTo>
                    <a:pt x="720677" y="3268065"/>
                    <a:pt x="720677" y="3268065"/>
                    <a:pt x="617769" y="3303557"/>
                  </a:cubicBezTo>
                  <a:cubicBezTo>
                    <a:pt x="617769" y="3303557"/>
                    <a:pt x="617769" y="3303557"/>
                    <a:pt x="561233" y="3354259"/>
                  </a:cubicBezTo>
                  <a:lnTo>
                    <a:pt x="505332" y="3317816"/>
                  </a:lnTo>
                  <a:cubicBezTo>
                    <a:pt x="505332" y="3317816"/>
                    <a:pt x="505332" y="3317816"/>
                    <a:pt x="400200" y="3375173"/>
                  </a:cubicBezTo>
                  <a:cubicBezTo>
                    <a:pt x="404329" y="3381194"/>
                    <a:pt x="409411" y="3387532"/>
                    <a:pt x="416081" y="3395454"/>
                  </a:cubicBezTo>
                  <a:cubicBezTo>
                    <a:pt x="421798" y="3402426"/>
                    <a:pt x="431009" y="3412566"/>
                    <a:pt x="440220" y="3423023"/>
                  </a:cubicBezTo>
                  <a:cubicBezTo>
                    <a:pt x="451654" y="3417636"/>
                    <a:pt x="461183" y="3413200"/>
                    <a:pt x="465947" y="3410348"/>
                  </a:cubicBezTo>
                  <a:cubicBezTo>
                    <a:pt x="476428" y="3404644"/>
                    <a:pt x="494850" y="3401475"/>
                    <a:pt x="513272" y="3398623"/>
                  </a:cubicBezTo>
                  <a:cubicBezTo>
                    <a:pt x="531377" y="3395771"/>
                    <a:pt x="549481" y="3393236"/>
                    <a:pt x="556151" y="3390384"/>
                  </a:cubicBezTo>
                  <a:cubicBezTo>
                    <a:pt x="570444" y="3383729"/>
                    <a:pt x="596488" y="3363765"/>
                    <a:pt x="609511" y="3350456"/>
                  </a:cubicBezTo>
                  <a:cubicBezTo>
                    <a:pt x="619992" y="3339999"/>
                    <a:pt x="642226" y="3318133"/>
                    <a:pt x="670494" y="3317816"/>
                  </a:cubicBezTo>
                  <a:cubicBezTo>
                    <a:pt x="679705" y="3317816"/>
                    <a:pt x="689551" y="3320352"/>
                    <a:pt x="699397" y="3326689"/>
                  </a:cubicBezTo>
                  <a:cubicBezTo>
                    <a:pt x="699397" y="3326689"/>
                    <a:pt x="699397" y="3326689"/>
                    <a:pt x="700985" y="3327640"/>
                  </a:cubicBezTo>
                  <a:cubicBezTo>
                    <a:pt x="700985" y="3327640"/>
                    <a:pt x="700985" y="3327640"/>
                    <a:pt x="701303" y="3329541"/>
                  </a:cubicBezTo>
                  <a:cubicBezTo>
                    <a:pt x="701938" y="3335245"/>
                    <a:pt x="703526" y="3339999"/>
                    <a:pt x="705114" y="3344118"/>
                  </a:cubicBezTo>
                  <a:cubicBezTo>
                    <a:pt x="705114" y="3344118"/>
                    <a:pt x="705114" y="3344118"/>
                    <a:pt x="720677" y="3268065"/>
                  </a:cubicBezTo>
                  <a:close/>
                  <a:moveTo>
                    <a:pt x="1040837" y="3266481"/>
                  </a:moveTo>
                  <a:cubicBezTo>
                    <a:pt x="1040837" y="3266481"/>
                    <a:pt x="1040837" y="3266481"/>
                    <a:pt x="1042108" y="3268065"/>
                  </a:cubicBezTo>
                  <a:cubicBezTo>
                    <a:pt x="1042108" y="3268065"/>
                    <a:pt x="1045919" y="3272501"/>
                    <a:pt x="1049730" y="3277255"/>
                  </a:cubicBezTo>
                  <a:cubicBezTo>
                    <a:pt x="1051636" y="3279473"/>
                    <a:pt x="1053859" y="3281691"/>
                    <a:pt x="1055448" y="3283593"/>
                  </a:cubicBezTo>
                  <a:cubicBezTo>
                    <a:pt x="1056400" y="3284226"/>
                    <a:pt x="1057036" y="3284860"/>
                    <a:pt x="1057353" y="3285494"/>
                  </a:cubicBezTo>
                  <a:cubicBezTo>
                    <a:pt x="1057671" y="3285494"/>
                    <a:pt x="1057671" y="3285494"/>
                    <a:pt x="1057671" y="3285811"/>
                  </a:cubicBezTo>
                  <a:cubicBezTo>
                    <a:pt x="1057671" y="3285811"/>
                    <a:pt x="1057671" y="3285811"/>
                    <a:pt x="1061482" y="3285811"/>
                  </a:cubicBezTo>
                  <a:cubicBezTo>
                    <a:pt x="1061482" y="3285811"/>
                    <a:pt x="1061482" y="3285811"/>
                    <a:pt x="1059259" y="3289297"/>
                  </a:cubicBezTo>
                  <a:cubicBezTo>
                    <a:pt x="1059259" y="3289297"/>
                    <a:pt x="1056083" y="3294684"/>
                    <a:pt x="1052907" y="3300705"/>
                  </a:cubicBezTo>
                  <a:cubicBezTo>
                    <a:pt x="1051319" y="3303557"/>
                    <a:pt x="1049413" y="3306725"/>
                    <a:pt x="1048460" y="3309260"/>
                  </a:cubicBezTo>
                  <a:cubicBezTo>
                    <a:pt x="1047825" y="3310211"/>
                    <a:pt x="1047190" y="3311162"/>
                    <a:pt x="1046872" y="3311796"/>
                  </a:cubicBezTo>
                  <a:cubicBezTo>
                    <a:pt x="1047190" y="3312112"/>
                    <a:pt x="1047507" y="3312112"/>
                    <a:pt x="1047507" y="3312429"/>
                  </a:cubicBezTo>
                  <a:cubicBezTo>
                    <a:pt x="1054177" y="3316866"/>
                    <a:pt x="1071329" y="3334295"/>
                    <a:pt x="1071329" y="3334295"/>
                  </a:cubicBezTo>
                  <a:cubicBezTo>
                    <a:pt x="1071329" y="3334295"/>
                    <a:pt x="1071329" y="3334295"/>
                    <a:pt x="1074822" y="3337780"/>
                  </a:cubicBezTo>
                  <a:cubicBezTo>
                    <a:pt x="1074822" y="3337780"/>
                    <a:pt x="1074822" y="3337780"/>
                    <a:pt x="1001452" y="3343801"/>
                  </a:cubicBezTo>
                  <a:cubicBezTo>
                    <a:pt x="1000817" y="3345069"/>
                    <a:pt x="999864" y="3346970"/>
                    <a:pt x="998911" y="3349188"/>
                  </a:cubicBezTo>
                  <a:cubicBezTo>
                    <a:pt x="997641" y="3351723"/>
                    <a:pt x="996371" y="3354892"/>
                    <a:pt x="995735" y="3356160"/>
                  </a:cubicBezTo>
                  <a:cubicBezTo>
                    <a:pt x="996053" y="3356477"/>
                    <a:pt x="996053" y="3357111"/>
                    <a:pt x="996371" y="3357427"/>
                  </a:cubicBezTo>
                  <a:cubicBezTo>
                    <a:pt x="995735" y="3359963"/>
                    <a:pt x="995100" y="3359012"/>
                    <a:pt x="995100" y="3359646"/>
                  </a:cubicBezTo>
                  <a:cubicBezTo>
                    <a:pt x="993512" y="3360596"/>
                    <a:pt x="977949" y="3367251"/>
                    <a:pt x="962068" y="3373906"/>
                  </a:cubicBezTo>
                  <a:cubicBezTo>
                    <a:pt x="954127" y="3377391"/>
                    <a:pt x="946187" y="3380560"/>
                    <a:pt x="940470" y="3383095"/>
                  </a:cubicBezTo>
                  <a:cubicBezTo>
                    <a:pt x="937611" y="3384363"/>
                    <a:pt x="935070" y="3385314"/>
                    <a:pt x="933482" y="3386264"/>
                  </a:cubicBezTo>
                  <a:cubicBezTo>
                    <a:pt x="932529" y="3386581"/>
                    <a:pt x="931894" y="3386898"/>
                    <a:pt x="931576" y="3387215"/>
                  </a:cubicBezTo>
                  <a:cubicBezTo>
                    <a:pt x="931259" y="3387215"/>
                    <a:pt x="931259" y="3387215"/>
                    <a:pt x="931259" y="3387215"/>
                  </a:cubicBezTo>
                  <a:cubicBezTo>
                    <a:pt x="930941" y="3387532"/>
                    <a:pt x="930306" y="3387532"/>
                    <a:pt x="929671" y="3387849"/>
                  </a:cubicBezTo>
                  <a:cubicBezTo>
                    <a:pt x="929671" y="3387849"/>
                    <a:pt x="929035" y="3387849"/>
                    <a:pt x="928400" y="3387215"/>
                  </a:cubicBezTo>
                  <a:cubicBezTo>
                    <a:pt x="927765" y="3386898"/>
                    <a:pt x="927447" y="3385947"/>
                    <a:pt x="927447" y="3385314"/>
                  </a:cubicBezTo>
                  <a:cubicBezTo>
                    <a:pt x="927447" y="3384997"/>
                    <a:pt x="927447" y="3384680"/>
                    <a:pt x="927765" y="3384680"/>
                  </a:cubicBezTo>
                  <a:cubicBezTo>
                    <a:pt x="927765" y="3384680"/>
                    <a:pt x="927765" y="3384680"/>
                    <a:pt x="927765" y="3384363"/>
                  </a:cubicBezTo>
                  <a:cubicBezTo>
                    <a:pt x="927765" y="3378025"/>
                    <a:pt x="919824" y="3331760"/>
                    <a:pt x="919824" y="3331760"/>
                  </a:cubicBezTo>
                  <a:cubicBezTo>
                    <a:pt x="919824" y="3331760"/>
                    <a:pt x="919824" y="3331760"/>
                    <a:pt x="919189" y="3329224"/>
                  </a:cubicBezTo>
                  <a:cubicBezTo>
                    <a:pt x="919189" y="3329224"/>
                    <a:pt x="919189" y="3329224"/>
                    <a:pt x="981760" y="3321302"/>
                  </a:cubicBezTo>
                  <a:lnTo>
                    <a:pt x="991924" y="3289297"/>
                  </a:lnTo>
                  <a:cubicBezTo>
                    <a:pt x="991924" y="3289297"/>
                    <a:pt x="991924" y="3289297"/>
                    <a:pt x="1040837" y="3266481"/>
                  </a:cubicBezTo>
                  <a:close/>
                  <a:moveTo>
                    <a:pt x="1994964" y="3260460"/>
                  </a:moveTo>
                  <a:cubicBezTo>
                    <a:pt x="1994964" y="3260460"/>
                    <a:pt x="1994964" y="3260460"/>
                    <a:pt x="1986071" y="3307042"/>
                  </a:cubicBezTo>
                  <a:cubicBezTo>
                    <a:pt x="1986071" y="3307042"/>
                    <a:pt x="1986071" y="3307042"/>
                    <a:pt x="2025455" y="3317183"/>
                  </a:cubicBezTo>
                  <a:cubicBezTo>
                    <a:pt x="2025455" y="3317183"/>
                    <a:pt x="2025455" y="3317183"/>
                    <a:pt x="2036572" y="3263946"/>
                  </a:cubicBezTo>
                  <a:close/>
                  <a:moveTo>
                    <a:pt x="1884750" y="3260143"/>
                  </a:moveTo>
                  <a:cubicBezTo>
                    <a:pt x="1870775" y="3260460"/>
                    <a:pt x="1837425" y="3261094"/>
                    <a:pt x="1804075" y="3261727"/>
                  </a:cubicBezTo>
                  <a:cubicBezTo>
                    <a:pt x="1782159" y="3262044"/>
                    <a:pt x="1759926" y="3262678"/>
                    <a:pt x="1743410" y="3262995"/>
                  </a:cubicBezTo>
                  <a:cubicBezTo>
                    <a:pt x="1734834" y="3263312"/>
                    <a:pt x="1727847" y="3263312"/>
                    <a:pt x="1722765" y="3263629"/>
                  </a:cubicBezTo>
                  <a:cubicBezTo>
                    <a:pt x="1720541" y="3263629"/>
                    <a:pt x="1718318" y="3263629"/>
                    <a:pt x="1717048" y="3263629"/>
                  </a:cubicBezTo>
                  <a:cubicBezTo>
                    <a:pt x="1716412" y="3263629"/>
                    <a:pt x="1715777" y="3263629"/>
                    <a:pt x="1715460" y="3263629"/>
                  </a:cubicBezTo>
                  <a:cubicBezTo>
                    <a:pt x="1715142" y="3263629"/>
                    <a:pt x="1715142" y="3263946"/>
                    <a:pt x="1714824" y="3263946"/>
                  </a:cubicBezTo>
                  <a:cubicBezTo>
                    <a:pt x="1711013" y="3264579"/>
                    <a:pt x="1621444" y="3283276"/>
                    <a:pt x="1594764" y="3288980"/>
                  </a:cubicBezTo>
                  <a:cubicBezTo>
                    <a:pt x="1597623" y="3313697"/>
                    <a:pt x="1601117" y="3342851"/>
                    <a:pt x="1604928" y="3373906"/>
                  </a:cubicBezTo>
                  <a:cubicBezTo>
                    <a:pt x="1604928" y="3373906"/>
                    <a:pt x="1604928" y="3373906"/>
                    <a:pt x="1713554" y="3352357"/>
                  </a:cubicBezTo>
                  <a:cubicBezTo>
                    <a:pt x="1713554" y="3352357"/>
                    <a:pt x="1713554" y="3352357"/>
                    <a:pt x="1713871" y="3352357"/>
                  </a:cubicBezTo>
                  <a:cubicBezTo>
                    <a:pt x="1713871" y="3352357"/>
                    <a:pt x="1821862" y="3351407"/>
                    <a:pt x="1865693" y="3351407"/>
                  </a:cubicBezTo>
                  <a:cubicBezTo>
                    <a:pt x="1870775" y="3351407"/>
                    <a:pt x="1874587" y="3351407"/>
                    <a:pt x="1877763" y="3351407"/>
                  </a:cubicBezTo>
                  <a:cubicBezTo>
                    <a:pt x="1877763" y="3351407"/>
                    <a:pt x="1877763" y="3351407"/>
                    <a:pt x="1884750" y="3260143"/>
                  </a:cubicBezTo>
                  <a:close/>
                  <a:moveTo>
                    <a:pt x="1985753" y="3259826"/>
                  </a:moveTo>
                  <a:cubicBezTo>
                    <a:pt x="1985753" y="3259826"/>
                    <a:pt x="1985753" y="3259826"/>
                    <a:pt x="1973684" y="3322887"/>
                  </a:cubicBezTo>
                  <a:cubicBezTo>
                    <a:pt x="2005445" y="3325422"/>
                    <a:pt x="2108989" y="3333661"/>
                    <a:pt x="2138845" y="3335245"/>
                  </a:cubicBezTo>
                  <a:cubicBezTo>
                    <a:pt x="2138845" y="3335245"/>
                    <a:pt x="2138845" y="3335245"/>
                    <a:pt x="2145515" y="3272818"/>
                  </a:cubicBezTo>
                  <a:cubicBezTo>
                    <a:pt x="2145515" y="3272818"/>
                    <a:pt x="2145515" y="3272818"/>
                    <a:pt x="2041019" y="3264262"/>
                  </a:cubicBezTo>
                  <a:cubicBezTo>
                    <a:pt x="2041019" y="3264262"/>
                    <a:pt x="2041019" y="3264262"/>
                    <a:pt x="2028632" y="3322570"/>
                  </a:cubicBezTo>
                  <a:cubicBezTo>
                    <a:pt x="2028632" y="3322570"/>
                    <a:pt x="2028632" y="3322570"/>
                    <a:pt x="1981306" y="3310211"/>
                  </a:cubicBezTo>
                  <a:cubicBezTo>
                    <a:pt x="1981306" y="3310211"/>
                    <a:pt x="1981306" y="3310211"/>
                    <a:pt x="1981624" y="3308310"/>
                  </a:cubicBezTo>
                  <a:cubicBezTo>
                    <a:pt x="1981624" y="3308310"/>
                    <a:pt x="1981624" y="3308310"/>
                    <a:pt x="1990517" y="3260143"/>
                  </a:cubicBezTo>
                  <a:cubicBezTo>
                    <a:pt x="1990517" y="3260143"/>
                    <a:pt x="1990517" y="3260143"/>
                    <a:pt x="1985753" y="3259826"/>
                  </a:cubicBezTo>
                  <a:close/>
                  <a:moveTo>
                    <a:pt x="1490903" y="3259192"/>
                  </a:moveTo>
                  <a:cubicBezTo>
                    <a:pt x="1490903" y="3259192"/>
                    <a:pt x="1490903" y="3259192"/>
                    <a:pt x="1453106" y="3268382"/>
                  </a:cubicBezTo>
                  <a:cubicBezTo>
                    <a:pt x="1453106" y="3268382"/>
                    <a:pt x="1453106" y="3268382"/>
                    <a:pt x="1459141" y="3292465"/>
                  </a:cubicBezTo>
                  <a:cubicBezTo>
                    <a:pt x="1459141" y="3292465"/>
                    <a:pt x="1459141" y="3292465"/>
                    <a:pt x="1496938" y="3283276"/>
                  </a:cubicBezTo>
                  <a:close/>
                  <a:moveTo>
                    <a:pt x="1436273" y="3258875"/>
                  </a:moveTo>
                  <a:cubicBezTo>
                    <a:pt x="1417851" y="3263629"/>
                    <a:pt x="1399429" y="3268699"/>
                    <a:pt x="1380689" y="3274086"/>
                  </a:cubicBezTo>
                  <a:cubicBezTo>
                    <a:pt x="1380689" y="3274086"/>
                    <a:pt x="1380689" y="3274086"/>
                    <a:pt x="1408004" y="3371371"/>
                  </a:cubicBezTo>
                  <a:cubicBezTo>
                    <a:pt x="1423885" y="3370103"/>
                    <a:pt x="1443578" y="3368202"/>
                    <a:pt x="1464223" y="3366617"/>
                  </a:cubicBezTo>
                  <a:close/>
                  <a:moveTo>
                    <a:pt x="202641" y="3257291"/>
                  </a:moveTo>
                  <a:cubicBezTo>
                    <a:pt x="187395" y="3263946"/>
                    <a:pt x="171832" y="3271234"/>
                    <a:pt x="158492" y="3277889"/>
                  </a:cubicBezTo>
                  <a:cubicBezTo>
                    <a:pt x="158492" y="3277889"/>
                    <a:pt x="158492" y="3277889"/>
                    <a:pt x="186760" y="3327957"/>
                  </a:cubicBezTo>
                  <a:cubicBezTo>
                    <a:pt x="186760" y="3327957"/>
                    <a:pt x="186760" y="3327957"/>
                    <a:pt x="224557" y="3306408"/>
                  </a:cubicBezTo>
                  <a:cubicBezTo>
                    <a:pt x="224557" y="3306408"/>
                    <a:pt x="224557" y="3306408"/>
                    <a:pt x="225827" y="3308627"/>
                  </a:cubicBezTo>
                  <a:cubicBezTo>
                    <a:pt x="225827" y="3308627"/>
                    <a:pt x="250284" y="3346970"/>
                    <a:pt x="274741" y="3385314"/>
                  </a:cubicBezTo>
                  <a:cubicBezTo>
                    <a:pt x="287128" y="3404644"/>
                    <a:pt x="299197" y="3423974"/>
                    <a:pt x="308408" y="3438551"/>
                  </a:cubicBezTo>
                  <a:cubicBezTo>
                    <a:pt x="313172" y="3445839"/>
                    <a:pt x="316984" y="3451860"/>
                    <a:pt x="319525" y="3456296"/>
                  </a:cubicBezTo>
                  <a:cubicBezTo>
                    <a:pt x="320795" y="3458198"/>
                    <a:pt x="321748" y="3460099"/>
                    <a:pt x="322701" y="3461367"/>
                  </a:cubicBezTo>
                  <a:cubicBezTo>
                    <a:pt x="323019" y="3461684"/>
                    <a:pt x="323336" y="3462317"/>
                    <a:pt x="323336" y="3462634"/>
                  </a:cubicBezTo>
                  <a:cubicBezTo>
                    <a:pt x="323654" y="3462951"/>
                    <a:pt x="323654" y="3462951"/>
                    <a:pt x="323654" y="3463268"/>
                  </a:cubicBezTo>
                  <a:cubicBezTo>
                    <a:pt x="323971" y="3463585"/>
                    <a:pt x="323971" y="3462951"/>
                    <a:pt x="323971" y="3464536"/>
                  </a:cubicBezTo>
                  <a:cubicBezTo>
                    <a:pt x="323971" y="3466437"/>
                    <a:pt x="323019" y="3466437"/>
                    <a:pt x="322701" y="3466754"/>
                  </a:cubicBezTo>
                  <a:cubicBezTo>
                    <a:pt x="322383" y="3467071"/>
                    <a:pt x="322383" y="3467071"/>
                    <a:pt x="321430" y="3467071"/>
                  </a:cubicBezTo>
                  <a:cubicBezTo>
                    <a:pt x="319842" y="3467704"/>
                    <a:pt x="312537" y="3472458"/>
                    <a:pt x="306185" y="3476894"/>
                  </a:cubicBezTo>
                  <a:cubicBezTo>
                    <a:pt x="300150" y="3481014"/>
                    <a:pt x="294433" y="3484816"/>
                    <a:pt x="292845" y="3486084"/>
                  </a:cubicBezTo>
                  <a:cubicBezTo>
                    <a:pt x="292845" y="3486084"/>
                    <a:pt x="292845" y="3486084"/>
                    <a:pt x="241073" y="3557701"/>
                  </a:cubicBezTo>
                  <a:cubicBezTo>
                    <a:pt x="265212" y="3573228"/>
                    <a:pt x="297609" y="3591291"/>
                    <a:pt x="313172" y="3600797"/>
                  </a:cubicBezTo>
                  <a:cubicBezTo>
                    <a:pt x="311584" y="3596361"/>
                    <a:pt x="309679" y="3591924"/>
                    <a:pt x="307773" y="3587488"/>
                  </a:cubicBezTo>
                  <a:cubicBezTo>
                    <a:pt x="301103" y="3572277"/>
                    <a:pt x="294115" y="3559602"/>
                    <a:pt x="294115" y="3551046"/>
                  </a:cubicBezTo>
                  <a:cubicBezTo>
                    <a:pt x="294115" y="3551046"/>
                    <a:pt x="294115" y="3551046"/>
                    <a:pt x="294115" y="3550729"/>
                  </a:cubicBezTo>
                  <a:cubicBezTo>
                    <a:pt x="294433" y="3531716"/>
                    <a:pt x="309679" y="3513653"/>
                    <a:pt x="350016" y="3494957"/>
                  </a:cubicBezTo>
                  <a:cubicBezTo>
                    <a:pt x="352875" y="3493689"/>
                    <a:pt x="355416" y="3492739"/>
                    <a:pt x="358274" y="3492105"/>
                  </a:cubicBezTo>
                  <a:cubicBezTo>
                    <a:pt x="357639" y="3488936"/>
                    <a:pt x="356686" y="3484816"/>
                    <a:pt x="356686" y="3480380"/>
                  </a:cubicBezTo>
                  <a:cubicBezTo>
                    <a:pt x="356686" y="3474359"/>
                    <a:pt x="357957" y="3467388"/>
                    <a:pt x="363039" y="3462000"/>
                  </a:cubicBezTo>
                  <a:cubicBezTo>
                    <a:pt x="365262" y="3459782"/>
                    <a:pt x="369073" y="3457247"/>
                    <a:pt x="373520" y="3454712"/>
                  </a:cubicBezTo>
                  <a:cubicBezTo>
                    <a:pt x="348746" y="3425875"/>
                    <a:pt x="316349" y="3388482"/>
                    <a:pt x="283634" y="3351090"/>
                  </a:cubicBezTo>
                  <a:cubicBezTo>
                    <a:pt x="254731" y="3317816"/>
                    <a:pt x="226145" y="3284543"/>
                    <a:pt x="202641" y="3257291"/>
                  </a:cubicBezTo>
                  <a:close/>
                  <a:moveTo>
                    <a:pt x="2168384" y="3256023"/>
                  </a:moveTo>
                  <a:cubicBezTo>
                    <a:pt x="2168384" y="3256023"/>
                    <a:pt x="2168384" y="3256023"/>
                    <a:pt x="2148056" y="3445522"/>
                  </a:cubicBezTo>
                  <a:cubicBezTo>
                    <a:pt x="2159490" y="3447741"/>
                    <a:pt x="2181406" y="3451860"/>
                    <a:pt x="2210627" y="3459782"/>
                  </a:cubicBezTo>
                  <a:cubicBezTo>
                    <a:pt x="2210627" y="3459782"/>
                    <a:pt x="2210627" y="3459782"/>
                    <a:pt x="2242389" y="3289613"/>
                  </a:cubicBezTo>
                  <a:lnTo>
                    <a:pt x="2243977" y="3289930"/>
                  </a:lnTo>
                  <a:cubicBezTo>
                    <a:pt x="2210627" y="3275037"/>
                    <a:pt x="2182042" y="3262044"/>
                    <a:pt x="2168384" y="3256023"/>
                  </a:cubicBezTo>
                  <a:close/>
                  <a:moveTo>
                    <a:pt x="1494079" y="3254439"/>
                  </a:moveTo>
                  <a:cubicBezTo>
                    <a:pt x="1494079" y="3254439"/>
                    <a:pt x="1494079" y="3254439"/>
                    <a:pt x="1501702" y="3286445"/>
                  </a:cubicBezTo>
                  <a:cubicBezTo>
                    <a:pt x="1501702" y="3286445"/>
                    <a:pt x="1501702" y="3286445"/>
                    <a:pt x="1455965" y="3297536"/>
                  </a:cubicBezTo>
                  <a:cubicBezTo>
                    <a:pt x="1455965" y="3297536"/>
                    <a:pt x="1455965" y="3297536"/>
                    <a:pt x="1455647" y="3295317"/>
                  </a:cubicBezTo>
                  <a:lnTo>
                    <a:pt x="1448342" y="3265213"/>
                  </a:lnTo>
                  <a:cubicBezTo>
                    <a:pt x="1448342" y="3265213"/>
                    <a:pt x="1448342" y="3265213"/>
                    <a:pt x="1494079" y="3254439"/>
                  </a:cubicBezTo>
                  <a:close/>
                  <a:moveTo>
                    <a:pt x="766097" y="3249369"/>
                  </a:moveTo>
                  <a:cubicBezTo>
                    <a:pt x="766097" y="3249369"/>
                    <a:pt x="766097" y="3249369"/>
                    <a:pt x="748310" y="3250002"/>
                  </a:cubicBezTo>
                  <a:cubicBezTo>
                    <a:pt x="748310" y="3250002"/>
                    <a:pt x="748310" y="3250002"/>
                    <a:pt x="737194" y="3325739"/>
                  </a:cubicBezTo>
                  <a:cubicBezTo>
                    <a:pt x="737194" y="3325739"/>
                    <a:pt x="737194" y="3325739"/>
                    <a:pt x="805482" y="3327957"/>
                  </a:cubicBezTo>
                  <a:cubicBezTo>
                    <a:pt x="805482" y="3327957"/>
                    <a:pt x="805482" y="3327957"/>
                    <a:pt x="790871" y="3301021"/>
                  </a:cubicBezTo>
                  <a:lnTo>
                    <a:pt x="763556" y="3282642"/>
                  </a:lnTo>
                  <a:cubicBezTo>
                    <a:pt x="763556" y="3282642"/>
                    <a:pt x="763556" y="3282642"/>
                    <a:pt x="766097" y="3249369"/>
                  </a:cubicBezTo>
                  <a:close/>
                  <a:moveTo>
                    <a:pt x="807705" y="3248418"/>
                  </a:moveTo>
                  <a:cubicBezTo>
                    <a:pt x="807705" y="3248418"/>
                    <a:pt x="807705" y="3248418"/>
                    <a:pt x="792459" y="3249052"/>
                  </a:cubicBezTo>
                  <a:cubicBezTo>
                    <a:pt x="792459" y="3249052"/>
                    <a:pt x="792459" y="3249052"/>
                    <a:pt x="845184" y="3327323"/>
                  </a:cubicBezTo>
                  <a:cubicBezTo>
                    <a:pt x="845184" y="3327323"/>
                    <a:pt x="845184" y="3327323"/>
                    <a:pt x="863923" y="3326689"/>
                  </a:cubicBezTo>
                  <a:close/>
                  <a:moveTo>
                    <a:pt x="1555062" y="3245883"/>
                  </a:moveTo>
                  <a:cubicBezTo>
                    <a:pt x="1555062" y="3245883"/>
                    <a:pt x="1555062" y="3245883"/>
                    <a:pt x="1517265" y="3254756"/>
                  </a:cubicBezTo>
                  <a:cubicBezTo>
                    <a:pt x="1517265" y="3254756"/>
                    <a:pt x="1517265" y="3254756"/>
                    <a:pt x="1522983" y="3278839"/>
                  </a:cubicBezTo>
                  <a:cubicBezTo>
                    <a:pt x="1522983" y="3278839"/>
                    <a:pt x="1522983" y="3278839"/>
                    <a:pt x="1560779" y="3269966"/>
                  </a:cubicBezTo>
                  <a:close/>
                  <a:moveTo>
                    <a:pt x="771179" y="3244615"/>
                  </a:moveTo>
                  <a:cubicBezTo>
                    <a:pt x="771179" y="3244615"/>
                    <a:pt x="771179" y="3244615"/>
                    <a:pt x="771179" y="3247467"/>
                  </a:cubicBezTo>
                  <a:lnTo>
                    <a:pt x="768638" y="3280107"/>
                  </a:lnTo>
                  <a:cubicBezTo>
                    <a:pt x="768638" y="3280107"/>
                    <a:pt x="768638" y="3280107"/>
                    <a:pt x="794365" y="3297853"/>
                  </a:cubicBezTo>
                  <a:cubicBezTo>
                    <a:pt x="794365" y="3297853"/>
                    <a:pt x="794365" y="3297853"/>
                    <a:pt x="813422" y="3332710"/>
                  </a:cubicBezTo>
                  <a:cubicBezTo>
                    <a:pt x="813422" y="3332710"/>
                    <a:pt x="813422" y="3332710"/>
                    <a:pt x="731794" y="3330492"/>
                  </a:cubicBezTo>
                  <a:cubicBezTo>
                    <a:pt x="731794" y="3330492"/>
                    <a:pt x="731794" y="3330492"/>
                    <a:pt x="744181" y="3245249"/>
                  </a:cubicBezTo>
                  <a:cubicBezTo>
                    <a:pt x="744181" y="3245249"/>
                    <a:pt x="744181" y="3245249"/>
                    <a:pt x="771179" y="3244615"/>
                  </a:cubicBezTo>
                  <a:close/>
                  <a:moveTo>
                    <a:pt x="1495667" y="3243348"/>
                  </a:moveTo>
                  <a:cubicBezTo>
                    <a:pt x="1477563" y="3247784"/>
                    <a:pt x="1459141" y="3252854"/>
                    <a:pt x="1440402" y="3257608"/>
                  </a:cubicBezTo>
                  <a:cubicBezTo>
                    <a:pt x="1440402" y="3257608"/>
                    <a:pt x="1440402" y="3257608"/>
                    <a:pt x="1468670" y="3365983"/>
                  </a:cubicBezTo>
                  <a:cubicBezTo>
                    <a:pt x="1487727" y="3364399"/>
                    <a:pt x="1507419" y="3362498"/>
                    <a:pt x="1524888" y="3361230"/>
                  </a:cubicBezTo>
                  <a:cubicBezTo>
                    <a:pt x="1524888" y="3361230"/>
                    <a:pt x="1524888" y="3361230"/>
                    <a:pt x="1495667" y="3243348"/>
                  </a:cubicBezTo>
                  <a:close/>
                  <a:moveTo>
                    <a:pt x="1557921" y="3240813"/>
                  </a:moveTo>
                  <a:cubicBezTo>
                    <a:pt x="1557921" y="3240813"/>
                    <a:pt x="1557921" y="3240813"/>
                    <a:pt x="1565861" y="3272818"/>
                  </a:cubicBezTo>
                  <a:cubicBezTo>
                    <a:pt x="1565861" y="3272818"/>
                    <a:pt x="1565861" y="3272818"/>
                    <a:pt x="1520124" y="3283909"/>
                  </a:cubicBezTo>
                  <a:cubicBezTo>
                    <a:pt x="1520124" y="3283909"/>
                    <a:pt x="1520124" y="3283909"/>
                    <a:pt x="1519489" y="3282008"/>
                  </a:cubicBezTo>
                  <a:lnTo>
                    <a:pt x="1512183" y="3251904"/>
                  </a:lnTo>
                  <a:cubicBezTo>
                    <a:pt x="1512183" y="3251904"/>
                    <a:pt x="1512183" y="3251904"/>
                    <a:pt x="1557921" y="3240813"/>
                  </a:cubicBezTo>
                  <a:close/>
                  <a:moveTo>
                    <a:pt x="256001" y="3239228"/>
                  </a:moveTo>
                  <a:cubicBezTo>
                    <a:pt x="250602" y="3239545"/>
                    <a:pt x="238532" y="3243031"/>
                    <a:pt x="223922" y="3248735"/>
                  </a:cubicBezTo>
                  <a:cubicBezTo>
                    <a:pt x="247425" y="3275987"/>
                    <a:pt x="275693" y="3308627"/>
                    <a:pt x="303644" y="3340632"/>
                  </a:cubicBezTo>
                  <a:cubicBezTo>
                    <a:pt x="336676" y="3378659"/>
                    <a:pt x="369073" y="3416369"/>
                    <a:pt x="393530" y="3444255"/>
                  </a:cubicBezTo>
                  <a:cubicBezTo>
                    <a:pt x="396706" y="3442987"/>
                    <a:pt x="399882" y="3441403"/>
                    <a:pt x="403059" y="3439818"/>
                  </a:cubicBezTo>
                  <a:cubicBezTo>
                    <a:pt x="389401" y="3424925"/>
                    <a:pt x="334453" y="3365350"/>
                    <a:pt x="323019" y="3340632"/>
                  </a:cubicBezTo>
                  <a:cubicBezTo>
                    <a:pt x="317301" y="3327323"/>
                    <a:pt x="304279" y="3301655"/>
                    <a:pt x="290621" y="3279156"/>
                  </a:cubicBezTo>
                  <a:cubicBezTo>
                    <a:pt x="283634" y="3268065"/>
                    <a:pt x="276646" y="3257925"/>
                    <a:pt x="270294" y="3250319"/>
                  </a:cubicBezTo>
                  <a:cubicBezTo>
                    <a:pt x="264259" y="3243031"/>
                    <a:pt x="258224" y="3238911"/>
                    <a:pt x="256636" y="3239228"/>
                  </a:cubicBezTo>
                  <a:cubicBezTo>
                    <a:pt x="256636" y="3239228"/>
                    <a:pt x="256636" y="3239228"/>
                    <a:pt x="256319" y="3239228"/>
                  </a:cubicBezTo>
                  <a:cubicBezTo>
                    <a:pt x="256319" y="3239228"/>
                    <a:pt x="256319" y="3239228"/>
                    <a:pt x="256001" y="3239228"/>
                  </a:cubicBezTo>
                  <a:close/>
                  <a:moveTo>
                    <a:pt x="742275" y="3232257"/>
                  </a:moveTo>
                  <a:cubicBezTo>
                    <a:pt x="742275" y="3232257"/>
                    <a:pt x="742275" y="3232257"/>
                    <a:pt x="720995" y="3338731"/>
                  </a:cubicBezTo>
                  <a:cubicBezTo>
                    <a:pt x="720995" y="3338731"/>
                    <a:pt x="720995" y="3338731"/>
                    <a:pt x="792142" y="3351407"/>
                  </a:cubicBezTo>
                  <a:cubicBezTo>
                    <a:pt x="792142" y="3351407"/>
                    <a:pt x="792142" y="3351407"/>
                    <a:pt x="807070" y="3347604"/>
                  </a:cubicBezTo>
                  <a:cubicBezTo>
                    <a:pt x="807070" y="3347604"/>
                    <a:pt x="807070" y="3347604"/>
                    <a:pt x="805164" y="3346336"/>
                  </a:cubicBezTo>
                  <a:cubicBezTo>
                    <a:pt x="805164" y="3346336"/>
                    <a:pt x="805164" y="3346336"/>
                    <a:pt x="811834" y="3346336"/>
                  </a:cubicBezTo>
                  <a:cubicBezTo>
                    <a:pt x="811834" y="3346336"/>
                    <a:pt x="811834" y="3346336"/>
                    <a:pt x="871546" y="3330809"/>
                  </a:cubicBezTo>
                  <a:cubicBezTo>
                    <a:pt x="871546" y="3330809"/>
                    <a:pt x="871546" y="3330809"/>
                    <a:pt x="868370" y="3331126"/>
                  </a:cubicBezTo>
                  <a:cubicBezTo>
                    <a:pt x="868370" y="3331126"/>
                    <a:pt x="868370" y="3331126"/>
                    <a:pt x="842643" y="3332393"/>
                  </a:cubicBezTo>
                  <a:cubicBezTo>
                    <a:pt x="842643" y="3332393"/>
                    <a:pt x="842643" y="3332393"/>
                    <a:pt x="783884" y="3244932"/>
                  </a:cubicBezTo>
                  <a:cubicBezTo>
                    <a:pt x="783884" y="3244932"/>
                    <a:pt x="783884" y="3244932"/>
                    <a:pt x="809928" y="3243665"/>
                  </a:cubicBezTo>
                  <a:cubicBezTo>
                    <a:pt x="809928" y="3243665"/>
                    <a:pt x="809928" y="3243665"/>
                    <a:pt x="872499" y="3330492"/>
                  </a:cubicBezTo>
                  <a:cubicBezTo>
                    <a:pt x="872499" y="3330492"/>
                    <a:pt x="872499" y="3330492"/>
                    <a:pt x="889968" y="3326056"/>
                  </a:cubicBezTo>
                  <a:lnTo>
                    <a:pt x="819774" y="3232891"/>
                  </a:lnTo>
                  <a:cubicBezTo>
                    <a:pt x="805799" y="3234475"/>
                    <a:pt x="793094" y="3235109"/>
                    <a:pt x="781978" y="3235109"/>
                  </a:cubicBezTo>
                  <a:cubicBezTo>
                    <a:pt x="763556" y="3235109"/>
                    <a:pt x="750216" y="3233207"/>
                    <a:pt x="742275" y="3232257"/>
                  </a:cubicBezTo>
                  <a:close/>
                  <a:moveTo>
                    <a:pt x="1645583" y="3231306"/>
                  </a:moveTo>
                  <a:cubicBezTo>
                    <a:pt x="1645583" y="3231306"/>
                    <a:pt x="1645583" y="3231306"/>
                    <a:pt x="1607469" y="3237644"/>
                  </a:cubicBezTo>
                  <a:cubicBezTo>
                    <a:pt x="1607469" y="3237644"/>
                    <a:pt x="1607469" y="3237644"/>
                    <a:pt x="1611281" y="3262044"/>
                  </a:cubicBezTo>
                  <a:lnTo>
                    <a:pt x="1649712" y="3256023"/>
                  </a:lnTo>
                  <a:cubicBezTo>
                    <a:pt x="1649712" y="3256023"/>
                    <a:pt x="1649712" y="3256023"/>
                    <a:pt x="1645583" y="3231306"/>
                  </a:cubicBezTo>
                  <a:close/>
                  <a:moveTo>
                    <a:pt x="1649077" y="3226870"/>
                  </a:moveTo>
                  <a:cubicBezTo>
                    <a:pt x="1649077" y="3226870"/>
                    <a:pt x="1649077" y="3226870"/>
                    <a:pt x="1654477" y="3259509"/>
                  </a:cubicBezTo>
                  <a:cubicBezTo>
                    <a:pt x="1654477" y="3259509"/>
                    <a:pt x="1654477" y="3259509"/>
                    <a:pt x="1608104" y="3266798"/>
                  </a:cubicBezTo>
                  <a:cubicBezTo>
                    <a:pt x="1608104" y="3266798"/>
                    <a:pt x="1608104" y="3266798"/>
                    <a:pt x="1607469" y="3264896"/>
                  </a:cubicBezTo>
                  <a:cubicBezTo>
                    <a:pt x="1607469" y="3264896"/>
                    <a:pt x="1607469" y="3264896"/>
                    <a:pt x="1602705" y="3234158"/>
                  </a:cubicBezTo>
                  <a:close/>
                  <a:moveTo>
                    <a:pt x="1566814" y="3226870"/>
                  </a:moveTo>
                  <a:cubicBezTo>
                    <a:pt x="1557603" y="3228771"/>
                    <a:pt x="1548392" y="3230672"/>
                    <a:pt x="1539499" y="3232891"/>
                  </a:cubicBezTo>
                  <a:cubicBezTo>
                    <a:pt x="1526794" y="3235742"/>
                    <a:pt x="1513454" y="3238911"/>
                    <a:pt x="1499796" y="3242397"/>
                  </a:cubicBezTo>
                  <a:cubicBezTo>
                    <a:pt x="1499796" y="3242397"/>
                    <a:pt x="1499796" y="3242397"/>
                    <a:pt x="1529335" y="3360596"/>
                  </a:cubicBezTo>
                  <a:cubicBezTo>
                    <a:pt x="1552839" y="3358695"/>
                    <a:pt x="1572213" y="3356794"/>
                    <a:pt x="1581742" y="3356160"/>
                  </a:cubicBezTo>
                  <a:cubicBezTo>
                    <a:pt x="1574754" y="3295317"/>
                    <a:pt x="1568720" y="3244615"/>
                    <a:pt x="1566814" y="3226870"/>
                  </a:cubicBezTo>
                  <a:close/>
                  <a:moveTo>
                    <a:pt x="1184401" y="3225285"/>
                  </a:moveTo>
                  <a:cubicBezTo>
                    <a:pt x="1184401" y="3225285"/>
                    <a:pt x="1184401" y="3225285"/>
                    <a:pt x="1163120" y="3232257"/>
                  </a:cubicBezTo>
                  <a:cubicBezTo>
                    <a:pt x="1163120" y="3232257"/>
                    <a:pt x="1163120" y="3232257"/>
                    <a:pt x="1164391" y="3235742"/>
                  </a:cubicBezTo>
                  <a:lnTo>
                    <a:pt x="1165026" y="3237644"/>
                  </a:lnTo>
                  <a:cubicBezTo>
                    <a:pt x="1165026" y="3237644"/>
                    <a:pt x="1165026" y="3237644"/>
                    <a:pt x="1150098" y="3242714"/>
                  </a:cubicBezTo>
                  <a:cubicBezTo>
                    <a:pt x="1150098" y="3242714"/>
                    <a:pt x="1150098" y="3242714"/>
                    <a:pt x="1166297" y="3294684"/>
                  </a:cubicBezTo>
                  <a:cubicBezTo>
                    <a:pt x="1166297" y="3294684"/>
                    <a:pt x="1166297" y="3294684"/>
                    <a:pt x="1181225" y="3289930"/>
                  </a:cubicBezTo>
                  <a:cubicBezTo>
                    <a:pt x="1181225" y="3289930"/>
                    <a:pt x="1181225" y="3289930"/>
                    <a:pt x="1173919" y="3267114"/>
                  </a:cubicBezTo>
                  <a:cubicBezTo>
                    <a:pt x="1173919" y="3267114"/>
                    <a:pt x="1173919" y="3267114"/>
                    <a:pt x="1195835" y="3259826"/>
                  </a:cubicBezTo>
                  <a:cubicBezTo>
                    <a:pt x="1195835" y="3259826"/>
                    <a:pt x="1195835" y="3259826"/>
                    <a:pt x="1184401" y="3225285"/>
                  </a:cubicBezTo>
                  <a:close/>
                  <a:moveTo>
                    <a:pt x="570126" y="3221799"/>
                  </a:moveTo>
                  <a:cubicBezTo>
                    <a:pt x="570126" y="3221799"/>
                    <a:pt x="570126" y="3221799"/>
                    <a:pt x="534235" y="3236059"/>
                  </a:cubicBezTo>
                  <a:cubicBezTo>
                    <a:pt x="534235" y="3236059"/>
                    <a:pt x="534235" y="3236059"/>
                    <a:pt x="530106" y="3303557"/>
                  </a:cubicBezTo>
                  <a:cubicBezTo>
                    <a:pt x="530106" y="3303557"/>
                    <a:pt x="530106" y="3303557"/>
                    <a:pt x="564409" y="3323837"/>
                  </a:cubicBezTo>
                  <a:cubicBezTo>
                    <a:pt x="564409" y="3323837"/>
                    <a:pt x="564409" y="3323837"/>
                    <a:pt x="605064" y="3282642"/>
                  </a:cubicBezTo>
                  <a:cubicBezTo>
                    <a:pt x="605064" y="3282642"/>
                    <a:pt x="605064" y="3282642"/>
                    <a:pt x="605699" y="3282008"/>
                  </a:cubicBezTo>
                  <a:cubicBezTo>
                    <a:pt x="605699" y="3282008"/>
                    <a:pt x="605699" y="3282008"/>
                    <a:pt x="606652" y="3281691"/>
                  </a:cubicBezTo>
                  <a:cubicBezTo>
                    <a:pt x="606652" y="3281691"/>
                    <a:pt x="606652" y="3281691"/>
                    <a:pt x="644449" y="3268065"/>
                  </a:cubicBezTo>
                  <a:cubicBezTo>
                    <a:pt x="644449" y="3268065"/>
                    <a:pt x="644449" y="3268065"/>
                    <a:pt x="653025" y="3224651"/>
                  </a:cubicBezTo>
                  <a:lnTo>
                    <a:pt x="609511" y="3238278"/>
                  </a:lnTo>
                  <a:cubicBezTo>
                    <a:pt x="609511" y="3238278"/>
                    <a:pt x="609511" y="3238278"/>
                    <a:pt x="573937" y="3263629"/>
                  </a:cubicBezTo>
                  <a:cubicBezTo>
                    <a:pt x="573937" y="3263629"/>
                    <a:pt x="573937" y="3263629"/>
                    <a:pt x="565997" y="3269333"/>
                  </a:cubicBezTo>
                  <a:cubicBezTo>
                    <a:pt x="565997" y="3269333"/>
                    <a:pt x="565997" y="3269333"/>
                    <a:pt x="566950" y="3259826"/>
                  </a:cubicBezTo>
                  <a:cubicBezTo>
                    <a:pt x="566950" y="3259826"/>
                    <a:pt x="566950" y="3259826"/>
                    <a:pt x="570126" y="3221799"/>
                  </a:cubicBezTo>
                  <a:close/>
                  <a:moveTo>
                    <a:pt x="1186942" y="3219898"/>
                  </a:moveTo>
                  <a:cubicBezTo>
                    <a:pt x="1186942" y="3219898"/>
                    <a:pt x="1186942" y="3219898"/>
                    <a:pt x="1201235" y="3262361"/>
                  </a:cubicBezTo>
                  <a:cubicBezTo>
                    <a:pt x="1201235" y="3262361"/>
                    <a:pt x="1201235" y="3262361"/>
                    <a:pt x="1179001" y="3269650"/>
                  </a:cubicBezTo>
                  <a:cubicBezTo>
                    <a:pt x="1179001" y="3269650"/>
                    <a:pt x="1179001" y="3269650"/>
                    <a:pt x="1186624" y="3292465"/>
                  </a:cubicBezTo>
                  <a:cubicBezTo>
                    <a:pt x="1186624" y="3292465"/>
                    <a:pt x="1186624" y="3292465"/>
                    <a:pt x="1163756" y="3300071"/>
                  </a:cubicBezTo>
                  <a:cubicBezTo>
                    <a:pt x="1163756" y="3300071"/>
                    <a:pt x="1163756" y="3300071"/>
                    <a:pt x="1163120" y="3297853"/>
                  </a:cubicBezTo>
                  <a:lnTo>
                    <a:pt x="1144698" y="3239862"/>
                  </a:lnTo>
                  <a:cubicBezTo>
                    <a:pt x="1144698" y="3239862"/>
                    <a:pt x="1144698" y="3239862"/>
                    <a:pt x="1159627" y="3235109"/>
                  </a:cubicBezTo>
                  <a:cubicBezTo>
                    <a:pt x="1159627" y="3235109"/>
                    <a:pt x="1159627" y="3235109"/>
                    <a:pt x="1158674" y="3231623"/>
                  </a:cubicBezTo>
                  <a:cubicBezTo>
                    <a:pt x="1158674" y="3231623"/>
                    <a:pt x="1158674" y="3231623"/>
                    <a:pt x="1157721" y="3229722"/>
                  </a:cubicBezTo>
                  <a:cubicBezTo>
                    <a:pt x="1157721" y="3229722"/>
                    <a:pt x="1157721" y="3229722"/>
                    <a:pt x="1186942" y="3219898"/>
                  </a:cubicBezTo>
                  <a:close/>
                  <a:moveTo>
                    <a:pt x="575208" y="3215145"/>
                  </a:moveTo>
                  <a:cubicBezTo>
                    <a:pt x="575208" y="3215145"/>
                    <a:pt x="575208" y="3215145"/>
                    <a:pt x="571397" y="3260143"/>
                  </a:cubicBezTo>
                  <a:lnTo>
                    <a:pt x="607605" y="3234158"/>
                  </a:lnTo>
                  <a:cubicBezTo>
                    <a:pt x="607605" y="3234158"/>
                    <a:pt x="607605" y="3234158"/>
                    <a:pt x="658742" y="3218314"/>
                  </a:cubicBezTo>
                  <a:cubicBezTo>
                    <a:pt x="658742" y="3218314"/>
                    <a:pt x="658742" y="3218314"/>
                    <a:pt x="648578" y="3271234"/>
                  </a:cubicBezTo>
                  <a:cubicBezTo>
                    <a:pt x="648578" y="3271234"/>
                    <a:pt x="648578" y="3271234"/>
                    <a:pt x="608240" y="3285811"/>
                  </a:cubicBezTo>
                  <a:cubicBezTo>
                    <a:pt x="608240" y="3285811"/>
                    <a:pt x="608240" y="3285811"/>
                    <a:pt x="565044" y="3329224"/>
                  </a:cubicBezTo>
                  <a:cubicBezTo>
                    <a:pt x="565044" y="3329224"/>
                    <a:pt x="565044" y="3329224"/>
                    <a:pt x="525342" y="3306092"/>
                  </a:cubicBezTo>
                  <a:cubicBezTo>
                    <a:pt x="525342" y="3306092"/>
                    <a:pt x="525342" y="3306092"/>
                    <a:pt x="530106" y="3233207"/>
                  </a:cubicBezTo>
                  <a:cubicBezTo>
                    <a:pt x="530106" y="3233207"/>
                    <a:pt x="530106" y="3233207"/>
                    <a:pt x="575208" y="3215145"/>
                  </a:cubicBezTo>
                  <a:close/>
                  <a:moveTo>
                    <a:pt x="358910" y="3212927"/>
                  </a:moveTo>
                  <a:cubicBezTo>
                    <a:pt x="358910" y="3212927"/>
                    <a:pt x="358910" y="3212927"/>
                    <a:pt x="330006" y="3227820"/>
                  </a:cubicBezTo>
                  <a:cubicBezTo>
                    <a:pt x="330006" y="3227820"/>
                    <a:pt x="330006" y="3227820"/>
                    <a:pt x="390354" y="3333344"/>
                  </a:cubicBezTo>
                  <a:cubicBezTo>
                    <a:pt x="390354" y="3333344"/>
                    <a:pt x="390354" y="3333344"/>
                    <a:pt x="402741" y="3326372"/>
                  </a:cubicBezTo>
                  <a:cubicBezTo>
                    <a:pt x="402741" y="3326372"/>
                    <a:pt x="402741" y="3326372"/>
                    <a:pt x="406235" y="3324471"/>
                  </a:cubicBezTo>
                  <a:cubicBezTo>
                    <a:pt x="406235" y="3324471"/>
                    <a:pt x="406235" y="3324471"/>
                    <a:pt x="408458" y="3327957"/>
                  </a:cubicBezTo>
                  <a:cubicBezTo>
                    <a:pt x="408458" y="3327957"/>
                    <a:pt x="408458" y="3327957"/>
                    <a:pt x="416399" y="3339999"/>
                  </a:cubicBezTo>
                  <a:cubicBezTo>
                    <a:pt x="416399" y="3339999"/>
                    <a:pt x="416399" y="3339999"/>
                    <a:pt x="486910" y="3304824"/>
                  </a:cubicBezTo>
                  <a:lnTo>
                    <a:pt x="487863" y="3286445"/>
                  </a:lnTo>
                  <a:cubicBezTo>
                    <a:pt x="487863" y="3286445"/>
                    <a:pt x="487863" y="3286445"/>
                    <a:pt x="448478" y="3283276"/>
                  </a:cubicBezTo>
                  <a:cubicBezTo>
                    <a:pt x="448478" y="3283276"/>
                    <a:pt x="448478" y="3283276"/>
                    <a:pt x="446890" y="3282959"/>
                  </a:cubicBezTo>
                  <a:cubicBezTo>
                    <a:pt x="446890" y="3282959"/>
                    <a:pt x="446890" y="3282959"/>
                    <a:pt x="445619" y="3282008"/>
                  </a:cubicBezTo>
                  <a:cubicBezTo>
                    <a:pt x="445619" y="3282008"/>
                    <a:pt x="445619" y="3282008"/>
                    <a:pt x="405282" y="3242397"/>
                  </a:cubicBezTo>
                  <a:cubicBezTo>
                    <a:pt x="405282" y="3242397"/>
                    <a:pt x="405282" y="3242397"/>
                    <a:pt x="395436" y="3246517"/>
                  </a:cubicBezTo>
                  <a:cubicBezTo>
                    <a:pt x="395436" y="3246517"/>
                    <a:pt x="395436" y="3246517"/>
                    <a:pt x="392577" y="3247784"/>
                  </a:cubicBezTo>
                  <a:cubicBezTo>
                    <a:pt x="392577" y="3247784"/>
                    <a:pt x="392577" y="3247784"/>
                    <a:pt x="390671" y="3245566"/>
                  </a:cubicBezTo>
                  <a:cubicBezTo>
                    <a:pt x="390671" y="3245566"/>
                    <a:pt x="390671" y="3245566"/>
                    <a:pt x="358910" y="3212927"/>
                  </a:cubicBezTo>
                  <a:close/>
                  <a:moveTo>
                    <a:pt x="1832661" y="3209441"/>
                  </a:moveTo>
                  <a:lnTo>
                    <a:pt x="1831073" y="3234158"/>
                  </a:lnTo>
                  <a:cubicBezTo>
                    <a:pt x="1831073" y="3234158"/>
                    <a:pt x="1831073" y="3234158"/>
                    <a:pt x="1869822" y="3236376"/>
                  </a:cubicBezTo>
                  <a:cubicBezTo>
                    <a:pt x="1869822" y="3236376"/>
                    <a:pt x="1869822" y="3236376"/>
                    <a:pt x="1871410" y="3211659"/>
                  </a:cubicBezTo>
                  <a:cubicBezTo>
                    <a:pt x="1871410" y="3211659"/>
                    <a:pt x="1871410" y="3211659"/>
                    <a:pt x="1832661" y="3209441"/>
                  </a:cubicBezTo>
                  <a:close/>
                  <a:moveTo>
                    <a:pt x="1130406" y="3209124"/>
                  </a:moveTo>
                  <a:cubicBezTo>
                    <a:pt x="1129770" y="3209758"/>
                    <a:pt x="1129770" y="3209758"/>
                    <a:pt x="1129770" y="3209758"/>
                  </a:cubicBezTo>
                  <a:lnTo>
                    <a:pt x="1129771" y="3209757"/>
                  </a:lnTo>
                  <a:lnTo>
                    <a:pt x="1129135" y="3210391"/>
                  </a:lnTo>
                  <a:cubicBezTo>
                    <a:pt x="1129135" y="3210391"/>
                    <a:pt x="1129135" y="3210391"/>
                    <a:pt x="1129135" y="3211025"/>
                  </a:cubicBezTo>
                  <a:cubicBezTo>
                    <a:pt x="1129135" y="3211025"/>
                    <a:pt x="1129135" y="3211025"/>
                    <a:pt x="1130406" y="3209441"/>
                  </a:cubicBezTo>
                  <a:lnTo>
                    <a:pt x="1129771" y="3209757"/>
                  </a:lnTo>
                  <a:close/>
                  <a:moveTo>
                    <a:pt x="359862" y="3207539"/>
                  </a:moveTo>
                  <a:cubicBezTo>
                    <a:pt x="359862" y="3207539"/>
                    <a:pt x="359862" y="3207539"/>
                    <a:pt x="393848" y="3242714"/>
                  </a:cubicBezTo>
                  <a:cubicBezTo>
                    <a:pt x="393848" y="3242714"/>
                    <a:pt x="393848" y="3242714"/>
                    <a:pt x="406235" y="3237327"/>
                  </a:cubicBezTo>
                  <a:lnTo>
                    <a:pt x="448796" y="3278839"/>
                  </a:lnTo>
                  <a:cubicBezTo>
                    <a:pt x="448796" y="3278839"/>
                    <a:pt x="448796" y="3278839"/>
                    <a:pt x="492627" y="3282325"/>
                  </a:cubicBezTo>
                  <a:cubicBezTo>
                    <a:pt x="492627" y="3282325"/>
                    <a:pt x="492627" y="3282325"/>
                    <a:pt x="491039" y="3307676"/>
                  </a:cubicBezTo>
                  <a:cubicBezTo>
                    <a:pt x="491039" y="3307676"/>
                    <a:pt x="491039" y="3307676"/>
                    <a:pt x="414810" y="3346019"/>
                  </a:cubicBezTo>
                  <a:cubicBezTo>
                    <a:pt x="414810" y="3346019"/>
                    <a:pt x="414810" y="3346019"/>
                    <a:pt x="404964" y="3330175"/>
                  </a:cubicBezTo>
                  <a:cubicBezTo>
                    <a:pt x="404964" y="3330175"/>
                    <a:pt x="404964" y="3330175"/>
                    <a:pt x="388448" y="3339048"/>
                  </a:cubicBezTo>
                  <a:cubicBezTo>
                    <a:pt x="388448" y="3339048"/>
                    <a:pt x="388448" y="3339048"/>
                    <a:pt x="323971" y="3225919"/>
                  </a:cubicBezTo>
                  <a:cubicBezTo>
                    <a:pt x="323971" y="3225919"/>
                    <a:pt x="323971" y="3225919"/>
                    <a:pt x="359862" y="3207539"/>
                  </a:cubicBezTo>
                  <a:close/>
                  <a:moveTo>
                    <a:pt x="1828849" y="3205004"/>
                  </a:moveTo>
                  <a:cubicBezTo>
                    <a:pt x="1828849" y="3205004"/>
                    <a:pt x="1828849" y="3205004"/>
                    <a:pt x="1875857" y="3207856"/>
                  </a:cubicBezTo>
                  <a:cubicBezTo>
                    <a:pt x="1875857" y="3207856"/>
                    <a:pt x="1875857" y="3207856"/>
                    <a:pt x="1873634" y="3240813"/>
                  </a:cubicBezTo>
                  <a:cubicBezTo>
                    <a:pt x="1873634" y="3240813"/>
                    <a:pt x="1873634" y="3240813"/>
                    <a:pt x="1826944" y="3237961"/>
                  </a:cubicBezTo>
                  <a:cubicBezTo>
                    <a:pt x="1826944" y="3237961"/>
                    <a:pt x="1826944" y="3237961"/>
                    <a:pt x="1826944" y="3236059"/>
                  </a:cubicBezTo>
                  <a:close/>
                  <a:moveTo>
                    <a:pt x="139753" y="3199617"/>
                  </a:moveTo>
                  <a:cubicBezTo>
                    <a:pt x="139117" y="3200251"/>
                    <a:pt x="138482" y="3200885"/>
                    <a:pt x="138164" y="3201202"/>
                  </a:cubicBezTo>
                  <a:cubicBezTo>
                    <a:pt x="135306" y="3204054"/>
                    <a:pt x="108944" y="3232574"/>
                    <a:pt x="75911" y="3268065"/>
                  </a:cubicBezTo>
                  <a:cubicBezTo>
                    <a:pt x="82899" y="3267114"/>
                    <a:pt x="89569" y="3266164"/>
                    <a:pt x="95604" y="3265213"/>
                  </a:cubicBezTo>
                  <a:cubicBezTo>
                    <a:pt x="95604" y="3265213"/>
                    <a:pt x="95604" y="3265213"/>
                    <a:pt x="122919" y="3260460"/>
                  </a:cubicBezTo>
                  <a:cubicBezTo>
                    <a:pt x="122919" y="3260460"/>
                    <a:pt x="122919" y="3260460"/>
                    <a:pt x="123236" y="3260460"/>
                  </a:cubicBezTo>
                  <a:cubicBezTo>
                    <a:pt x="124189" y="3260460"/>
                    <a:pt x="131494" y="3258558"/>
                    <a:pt x="137529" y="3256657"/>
                  </a:cubicBezTo>
                  <a:cubicBezTo>
                    <a:pt x="142929" y="3255073"/>
                    <a:pt x="147693" y="3253488"/>
                    <a:pt x="149281" y="3253171"/>
                  </a:cubicBezTo>
                  <a:cubicBezTo>
                    <a:pt x="160715" y="3245566"/>
                    <a:pt x="169926" y="3239545"/>
                    <a:pt x="181361" y="3232891"/>
                  </a:cubicBezTo>
                  <a:cubicBezTo>
                    <a:pt x="173103" y="3223384"/>
                    <a:pt x="166115" y="3215145"/>
                    <a:pt x="160715" y="3209124"/>
                  </a:cubicBezTo>
                  <a:cubicBezTo>
                    <a:pt x="158492" y="3206272"/>
                    <a:pt x="156586" y="3204054"/>
                    <a:pt x="154998" y="3202152"/>
                  </a:cubicBezTo>
                  <a:cubicBezTo>
                    <a:pt x="154681" y="3202469"/>
                    <a:pt x="154363" y="3202469"/>
                    <a:pt x="153728" y="3202786"/>
                  </a:cubicBezTo>
                  <a:cubicBezTo>
                    <a:pt x="153728" y="3202786"/>
                    <a:pt x="153728" y="3202786"/>
                    <a:pt x="152775" y="3203103"/>
                  </a:cubicBezTo>
                  <a:cubicBezTo>
                    <a:pt x="152775" y="3203103"/>
                    <a:pt x="152775" y="3203103"/>
                    <a:pt x="151822" y="3203103"/>
                  </a:cubicBezTo>
                  <a:cubicBezTo>
                    <a:pt x="150552" y="3202786"/>
                    <a:pt x="146105" y="3201519"/>
                    <a:pt x="139753" y="3199617"/>
                  </a:cubicBezTo>
                  <a:close/>
                  <a:moveTo>
                    <a:pt x="148011" y="3193596"/>
                  </a:moveTo>
                  <a:cubicBezTo>
                    <a:pt x="146740" y="3194230"/>
                    <a:pt x="145787" y="3194864"/>
                    <a:pt x="144834" y="3195815"/>
                  </a:cubicBezTo>
                  <a:cubicBezTo>
                    <a:pt x="147375" y="3196448"/>
                    <a:pt x="149281" y="3196765"/>
                    <a:pt x="150869" y="3197399"/>
                  </a:cubicBezTo>
                  <a:cubicBezTo>
                    <a:pt x="150552" y="3197082"/>
                    <a:pt x="150234" y="3196448"/>
                    <a:pt x="149916" y="3196132"/>
                  </a:cubicBezTo>
                  <a:cubicBezTo>
                    <a:pt x="149599" y="3195815"/>
                    <a:pt x="149599" y="3195498"/>
                    <a:pt x="149281" y="3195498"/>
                  </a:cubicBezTo>
                  <a:cubicBezTo>
                    <a:pt x="148963" y="3195181"/>
                    <a:pt x="148963" y="3195181"/>
                    <a:pt x="148646" y="3194864"/>
                  </a:cubicBezTo>
                  <a:cubicBezTo>
                    <a:pt x="148646" y="3194547"/>
                    <a:pt x="148646" y="3194547"/>
                    <a:pt x="148328" y="3194230"/>
                  </a:cubicBezTo>
                  <a:cubicBezTo>
                    <a:pt x="148328" y="3193913"/>
                    <a:pt x="148011" y="3193596"/>
                    <a:pt x="148011" y="3193596"/>
                  </a:cubicBezTo>
                  <a:close/>
                  <a:moveTo>
                    <a:pt x="975408" y="3190428"/>
                  </a:moveTo>
                  <a:cubicBezTo>
                    <a:pt x="975408" y="3190428"/>
                    <a:pt x="975408" y="3190428"/>
                    <a:pt x="929035" y="3215779"/>
                  </a:cubicBezTo>
                  <a:cubicBezTo>
                    <a:pt x="929035" y="3215779"/>
                    <a:pt x="929035" y="3215779"/>
                    <a:pt x="924906" y="3252538"/>
                  </a:cubicBezTo>
                  <a:cubicBezTo>
                    <a:pt x="924906" y="3252538"/>
                    <a:pt x="924906" y="3252538"/>
                    <a:pt x="887427" y="3234792"/>
                  </a:cubicBezTo>
                  <a:cubicBezTo>
                    <a:pt x="887427" y="3234792"/>
                    <a:pt x="887427" y="3234792"/>
                    <a:pt x="850901" y="3240496"/>
                  </a:cubicBezTo>
                  <a:cubicBezTo>
                    <a:pt x="850901" y="3240496"/>
                    <a:pt x="850901" y="3240496"/>
                    <a:pt x="900767" y="3299120"/>
                  </a:cubicBezTo>
                  <a:cubicBezTo>
                    <a:pt x="900767" y="3299120"/>
                    <a:pt x="900767" y="3299120"/>
                    <a:pt x="954127" y="3270600"/>
                  </a:cubicBezTo>
                  <a:cubicBezTo>
                    <a:pt x="954127" y="3270600"/>
                    <a:pt x="954127" y="3270600"/>
                    <a:pt x="957621" y="3237644"/>
                  </a:cubicBezTo>
                  <a:cubicBezTo>
                    <a:pt x="957621" y="3237644"/>
                    <a:pt x="957621" y="3237644"/>
                    <a:pt x="980172" y="3257608"/>
                  </a:cubicBezTo>
                  <a:lnTo>
                    <a:pt x="985889" y="3255706"/>
                  </a:lnTo>
                  <a:cubicBezTo>
                    <a:pt x="985889" y="3255706"/>
                    <a:pt x="985889" y="3255706"/>
                    <a:pt x="975408" y="3190428"/>
                  </a:cubicBezTo>
                  <a:close/>
                  <a:moveTo>
                    <a:pt x="2056900" y="3189477"/>
                  </a:moveTo>
                  <a:cubicBezTo>
                    <a:pt x="2056900" y="3189477"/>
                    <a:pt x="2056900" y="3189477"/>
                    <a:pt x="2056582" y="3189794"/>
                  </a:cubicBezTo>
                  <a:cubicBezTo>
                    <a:pt x="2056582" y="3189794"/>
                    <a:pt x="2056582" y="3189794"/>
                    <a:pt x="2041972" y="3259826"/>
                  </a:cubicBezTo>
                  <a:lnTo>
                    <a:pt x="2145833" y="3268699"/>
                  </a:lnTo>
                  <a:cubicBezTo>
                    <a:pt x="2145833" y="3268699"/>
                    <a:pt x="2145833" y="3268699"/>
                    <a:pt x="2153138" y="3202469"/>
                  </a:cubicBezTo>
                  <a:cubicBezTo>
                    <a:pt x="2153138" y="3202469"/>
                    <a:pt x="2153138" y="3202469"/>
                    <a:pt x="2056900" y="3189477"/>
                  </a:cubicBezTo>
                  <a:close/>
                  <a:moveTo>
                    <a:pt x="2230320" y="3185674"/>
                  </a:moveTo>
                  <a:cubicBezTo>
                    <a:pt x="2230320" y="3185674"/>
                    <a:pt x="2230320" y="3185674"/>
                    <a:pt x="2214438" y="3201202"/>
                  </a:cubicBezTo>
                  <a:cubicBezTo>
                    <a:pt x="2214438" y="3201202"/>
                    <a:pt x="2214438" y="3201202"/>
                    <a:pt x="2216980" y="3203737"/>
                  </a:cubicBezTo>
                  <a:cubicBezTo>
                    <a:pt x="2216980" y="3203737"/>
                    <a:pt x="2216980" y="3203737"/>
                    <a:pt x="2218568" y="3205321"/>
                  </a:cubicBezTo>
                  <a:cubicBezTo>
                    <a:pt x="2218568" y="3205321"/>
                    <a:pt x="2218568" y="3205321"/>
                    <a:pt x="2207133" y="3216095"/>
                  </a:cubicBezTo>
                  <a:cubicBezTo>
                    <a:pt x="2207133" y="3216095"/>
                    <a:pt x="2207133" y="3216095"/>
                    <a:pt x="2244612" y="3256023"/>
                  </a:cubicBezTo>
                  <a:cubicBezTo>
                    <a:pt x="2244612" y="3256023"/>
                    <a:pt x="2244612" y="3256023"/>
                    <a:pt x="2256046" y="3244932"/>
                  </a:cubicBezTo>
                  <a:lnTo>
                    <a:pt x="2239213" y="3227820"/>
                  </a:lnTo>
                  <a:cubicBezTo>
                    <a:pt x="2239213" y="3227820"/>
                    <a:pt x="2239213" y="3227820"/>
                    <a:pt x="2255729" y="3211659"/>
                  </a:cubicBezTo>
                  <a:cubicBezTo>
                    <a:pt x="2255729" y="3211659"/>
                    <a:pt x="2255729" y="3211659"/>
                    <a:pt x="2230320" y="3185674"/>
                  </a:cubicBezTo>
                  <a:close/>
                  <a:moveTo>
                    <a:pt x="1890467" y="3185674"/>
                  </a:moveTo>
                  <a:cubicBezTo>
                    <a:pt x="1812651" y="3190428"/>
                    <a:pt x="1698308" y="3200568"/>
                    <a:pt x="1587142" y="3222750"/>
                  </a:cubicBezTo>
                  <a:cubicBezTo>
                    <a:pt x="1588412" y="3232257"/>
                    <a:pt x="1590953" y="3254756"/>
                    <a:pt x="1594447" y="3284543"/>
                  </a:cubicBezTo>
                  <a:cubicBezTo>
                    <a:pt x="1621762" y="3278839"/>
                    <a:pt x="1711966" y="3260143"/>
                    <a:pt x="1713871" y="3259509"/>
                  </a:cubicBezTo>
                  <a:cubicBezTo>
                    <a:pt x="1715460" y="3259192"/>
                    <a:pt x="1726259" y="3258875"/>
                    <a:pt x="1743092" y="3258558"/>
                  </a:cubicBezTo>
                  <a:cubicBezTo>
                    <a:pt x="1785653" y="3257608"/>
                    <a:pt x="1862835" y="3256023"/>
                    <a:pt x="1885068" y="3255706"/>
                  </a:cubicBezTo>
                  <a:cubicBezTo>
                    <a:pt x="1885068" y="3255706"/>
                    <a:pt x="1885068" y="3255706"/>
                    <a:pt x="1890467" y="3185674"/>
                  </a:cubicBezTo>
                  <a:close/>
                  <a:moveTo>
                    <a:pt x="978901" y="3183139"/>
                  </a:moveTo>
                  <a:lnTo>
                    <a:pt x="979537" y="3186308"/>
                  </a:lnTo>
                  <a:cubicBezTo>
                    <a:pt x="979537" y="3186308"/>
                    <a:pt x="979537" y="3186308"/>
                    <a:pt x="990971" y="3258558"/>
                  </a:cubicBezTo>
                  <a:cubicBezTo>
                    <a:pt x="990971" y="3258558"/>
                    <a:pt x="990971" y="3258558"/>
                    <a:pt x="979219" y="3262995"/>
                  </a:cubicBezTo>
                  <a:cubicBezTo>
                    <a:pt x="979219" y="3262995"/>
                    <a:pt x="979219" y="3262995"/>
                    <a:pt x="961432" y="3247150"/>
                  </a:cubicBezTo>
                  <a:cubicBezTo>
                    <a:pt x="961432" y="3247150"/>
                    <a:pt x="961432" y="3247150"/>
                    <a:pt x="958574" y="3273452"/>
                  </a:cubicBezTo>
                  <a:cubicBezTo>
                    <a:pt x="958574" y="3273452"/>
                    <a:pt x="958574" y="3273452"/>
                    <a:pt x="899814" y="3305141"/>
                  </a:cubicBezTo>
                  <a:cubicBezTo>
                    <a:pt x="899814" y="3305141"/>
                    <a:pt x="899814" y="3305141"/>
                    <a:pt x="842008" y="3237010"/>
                  </a:cubicBezTo>
                  <a:cubicBezTo>
                    <a:pt x="842008" y="3237010"/>
                    <a:pt x="842008" y="3237010"/>
                    <a:pt x="888062" y="3230039"/>
                  </a:cubicBezTo>
                  <a:cubicBezTo>
                    <a:pt x="888062" y="3230039"/>
                    <a:pt x="888062" y="3230039"/>
                    <a:pt x="920777" y="3245249"/>
                  </a:cubicBezTo>
                  <a:cubicBezTo>
                    <a:pt x="920777" y="3245249"/>
                    <a:pt x="920777" y="3245249"/>
                    <a:pt x="924589" y="3212610"/>
                  </a:cubicBezTo>
                  <a:cubicBezTo>
                    <a:pt x="924589" y="3212610"/>
                    <a:pt x="924589" y="3212610"/>
                    <a:pt x="978901" y="3183139"/>
                  </a:cubicBezTo>
                  <a:close/>
                  <a:moveTo>
                    <a:pt x="2009574" y="3182822"/>
                  </a:moveTo>
                  <a:cubicBezTo>
                    <a:pt x="2009574" y="3182822"/>
                    <a:pt x="2009574" y="3182822"/>
                    <a:pt x="1995599" y="3256023"/>
                  </a:cubicBezTo>
                  <a:lnTo>
                    <a:pt x="2037525" y="3259509"/>
                  </a:lnTo>
                  <a:cubicBezTo>
                    <a:pt x="2037525" y="3259509"/>
                    <a:pt x="2037525" y="3259509"/>
                    <a:pt x="2052770" y="3188843"/>
                  </a:cubicBezTo>
                  <a:cubicBezTo>
                    <a:pt x="2052770" y="3188843"/>
                    <a:pt x="2052770" y="3188843"/>
                    <a:pt x="2009574" y="3182822"/>
                  </a:cubicBezTo>
                  <a:close/>
                  <a:moveTo>
                    <a:pt x="2000999" y="3181872"/>
                  </a:moveTo>
                  <a:cubicBezTo>
                    <a:pt x="2000999" y="3181872"/>
                    <a:pt x="2000999" y="3181872"/>
                    <a:pt x="1986706" y="3255390"/>
                  </a:cubicBezTo>
                  <a:cubicBezTo>
                    <a:pt x="1986706" y="3255390"/>
                    <a:pt x="1986706" y="3255390"/>
                    <a:pt x="1991470" y="3255706"/>
                  </a:cubicBezTo>
                  <a:cubicBezTo>
                    <a:pt x="1991470" y="3255706"/>
                    <a:pt x="1991470" y="3255706"/>
                    <a:pt x="2005445" y="3182505"/>
                  </a:cubicBezTo>
                  <a:close/>
                  <a:moveTo>
                    <a:pt x="1979718" y="3181872"/>
                  </a:moveTo>
                  <a:cubicBezTo>
                    <a:pt x="1973048" y="3181872"/>
                    <a:pt x="1961614" y="3182188"/>
                    <a:pt x="1946368" y="3182822"/>
                  </a:cubicBezTo>
                  <a:cubicBezTo>
                    <a:pt x="1936204" y="3183139"/>
                    <a:pt x="1924452" y="3183773"/>
                    <a:pt x="1911430" y="3184407"/>
                  </a:cubicBezTo>
                  <a:cubicBezTo>
                    <a:pt x="1911430" y="3184407"/>
                    <a:pt x="1911430" y="3184407"/>
                    <a:pt x="1876175" y="3650232"/>
                  </a:cubicBezTo>
                  <a:cubicBezTo>
                    <a:pt x="1876175" y="3650232"/>
                    <a:pt x="1876175" y="3650232"/>
                    <a:pt x="1879351" y="3657520"/>
                  </a:cubicBezTo>
                  <a:cubicBezTo>
                    <a:pt x="1879351" y="3657520"/>
                    <a:pt x="1879351" y="3657520"/>
                    <a:pt x="1895232" y="3610621"/>
                  </a:cubicBezTo>
                  <a:cubicBezTo>
                    <a:pt x="1895232" y="3610621"/>
                    <a:pt x="1895232" y="3610621"/>
                    <a:pt x="1926358" y="3456296"/>
                  </a:cubicBezTo>
                  <a:close/>
                  <a:moveTo>
                    <a:pt x="633332" y="3181872"/>
                  </a:moveTo>
                  <a:cubicBezTo>
                    <a:pt x="633332" y="3181872"/>
                    <a:pt x="633332" y="3181872"/>
                    <a:pt x="521213" y="3229088"/>
                  </a:cubicBezTo>
                  <a:cubicBezTo>
                    <a:pt x="520578" y="3235426"/>
                    <a:pt x="519625" y="3247467"/>
                    <a:pt x="518672" y="3259509"/>
                  </a:cubicBezTo>
                  <a:cubicBezTo>
                    <a:pt x="517084" y="3275353"/>
                    <a:pt x="515496" y="3290564"/>
                    <a:pt x="515496" y="3291832"/>
                  </a:cubicBezTo>
                  <a:cubicBezTo>
                    <a:pt x="515496" y="3291832"/>
                    <a:pt x="515496" y="3291832"/>
                    <a:pt x="509778" y="3291198"/>
                  </a:cubicBezTo>
                  <a:cubicBezTo>
                    <a:pt x="509778" y="3291198"/>
                    <a:pt x="509778" y="3291198"/>
                    <a:pt x="507873" y="3313697"/>
                  </a:cubicBezTo>
                  <a:cubicBezTo>
                    <a:pt x="507873" y="3313697"/>
                    <a:pt x="507873" y="3313697"/>
                    <a:pt x="560915" y="3347604"/>
                  </a:cubicBezTo>
                  <a:cubicBezTo>
                    <a:pt x="560915" y="3347604"/>
                    <a:pt x="560915" y="3347604"/>
                    <a:pt x="614910" y="3298803"/>
                  </a:cubicBezTo>
                  <a:cubicBezTo>
                    <a:pt x="614910" y="3298803"/>
                    <a:pt x="614910" y="3298803"/>
                    <a:pt x="721630" y="3262361"/>
                  </a:cubicBezTo>
                  <a:lnTo>
                    <a:pt x="728300" y="3229405"/>
                  </a:lnTo>
                  <a:cubicBezTo>
                    <a:pt x="714960" y="3226553"/>
                    <a:pt x="694315" y="3221799"/>
                    <a:pt x="679387" y="3215462"/>
                  </a:cubicBezTo>
                  <a:cubicBezTo>
                    <a:pt x="658424" y="3206906"/>
                    <a:pt x="640637" y="3189477"/>
                    <a:pt x="633332" y="3181872"/>
                  </a:cubicBezTo>
                  <a:close/>
                  <a:moveTo>
                    <a:pt x="2230637" y="3179653"/>
                  </a:moveTo>
                  <a:cubicBezTo>
                    <a:pt x="2230637" y="3179653"/>
                    <a:pt x="2230637" y="3179653"/>
                    <a:pt x="2261764" y="3211659"/>
                  </a:cubicBezTo>
                  <a:lnTo>
                    <a:pt x="2245248" y="3227820"/>
                  </a:lnTo>
                  <a:cubicBezTo>
                    <a:pt x="2245248" y="3227820"/>
                    <a:pt x="2245248" y="3227820"/>
                    <a:pt x="2261764" y="3244932"/>
                  </a:cubicBezTo>
                  <a:cubicBezTo>
                    <a:pt x="2261764" y="3244932"/>
                    <a:pt x="2261764" y="3244932"/>
                    <a:pt x="2244612" y="3261727"/>
                  </a:cubicBezTo>
                  <a:cubicBezTo>
                    <a:pt x="2244612" y="3261727"/>
                    <a:pt x="2244612" y="3261727"/>
                    <a:pt x="2243024" y="3260460"/>
                  </a:cubicBezTo>
                  <a:cubicBezTo>
                    <a:pt x="2243024" y="3260460"/>
                    <a:pt x="2243024" y="3260460"/>
                    <a:pt x="2201416" y="3216095"/>
                  </a:cubicBezTo>
                  <a:cubicBezTo>
                    <a:pt x="2201416" y="3216095"/>
                    <a:pt x="2201416" y="3216095"/>
                    <a:pt x="2212533" y="3205321"/>
                  </a:cubicBezTo>
                  <a:cubicBezTo>
                    <a:pt x="2212533" y="3205321"/>
                    <a:pt x="2212533" y="3205321"/>
                    <a:pt x="2209992" y="3202469"/>
                  </a:cubicBezTo>
                  <a:cubicBezTo>
                    <a:pt x="2209992" y="3202469"/>
                    <a:pt x="2209992" y="3202469"/>
                    <a:pt x="2208404" y="3200885"/>
                  </a:cubicBezTo>
                  <a:cubicBezTo>
                    <a:pt x="2208404" y="3200885"/>
                    <a:pt x="2208404" y="3200885"/>
                    <a:pt x="2230637" y="3179653"/>
                  </a:cubicBezTo>
                  <a:close/>
                  <a:moveTo>
                    <a:pt x="984301" y="3169830"/>
                  </a:moveTo>
                  <a:cubicBezTo>
                    <a:pt x="970643" y="3176801"/>
                    <a:pt x="952539" y="3185991"/>
                    <a:pt x="927447" y="3199617"/>
                  </a:cubicBezTo>
                  <a:cubicBezTo>
                    <a:pt x="892509" y="3219264"/>
                    <a:pt x="856301" y="3228137"/>
                    <a:pt x="824539" y="3232257"/>
                  </a:cubicBezTo>
                  <a:cubicBezTo>
                    <a:pt x="824539" y="3232257"/>
                    <a:pt x="824539" y="3232257"/>
                    <a:pt x="894097" y="3324471"/>
                  </a:cubicBezTo>
                  <a:cubicBezTo>
                    <a:pt x="900450" y="3320668"/>
                    <a:pt x="923001" y="3307676"/>
                    <a:pt x="945869" y="3294367"/>
                  </a:cubicBezTo>
                  <a:cubicBezTo>
                    <a:pt x="959209" y="3286761"/>
                    <a:pt x="972549" y="3279156"/>
                    <a:pt x="982713" y="3273135"/>
                  </a:cubicBezTo>
                  <a:cubicBezTo>
                    <a:pt x="987795" y="3270283"/>
                    <a:pt x="992241" y="3268065"/>
                    <a:pt x="995418" y="3266164"/>
                  </a:cubicBezTo>
                  <a:cubicBezTo>
                    <a:pt x="997006" y="3265530"/>
                    <a:pt x="998276" y="3264579"/>
                    <a:pt x="998911" y="3264262"/>
                  </a:cubicBezTo>
                  <a:cubicBezTo>
                    <a:pt x="1000182" y="3263946"/>
                    <a:pt x="999864" y="3263629"/>
                    <a:pt x="1001135" y="3263312"/>
                  </a:cubicBezTo>
                  <a:cubicBezTo>
                    <a:pt x="1001770" y="3263312"/>
                    <a:pt x="1003676" y="3262361"/>
                    <a:pt x="1006534" y="3261410"/>
                  </a:cubicBezTo>
                  <a:close/>
                  <a:moveTo>
                    <a:pt x="4396798" y="3167295"/>
                  </a:moveTo>
                  <a:lnTo>
                    <a:pt x="4032806" y="3464536"/>
                  </a:lnTo>
                  <a:cubicBezTo>
                    <a:pt x="4028677" y="3468655"/>
                    <a:pt x="3986116" y="3511118"/>
                    <a:pt x="3940062" y="3555799"/>
                  </a:cubicBezTo>
                  <a:cubicBezTo>
                    <a:pt x="3934027" y="3561503"/>
                    <a:pt x="3928310" y="3566890"/>
                    <a:pt x="3922593" y="3572594"/>
                  </a:cubicBezTo>
                  <a:cubicBezTo>
                    <a:pt x="3938474" y="3594143"/>
                    <a:pt x="3980717" y="3659422"/>
                    <a:pt x="3980717" y="3659739"/>
                  </a:cubicBezTo>
                  <a:cubicBezTo>
                    <a:pt x="3980717" y="3659739"/>
                    <a:pt x="3980717" y="3659739"/>
                    <a:pt x="3981352" y="3660689"/>
                  </a:cubicBezTo>
                  <a:cubicBezTo>
                    <a:pt x="3981352" y="3660689"/>
                    <a:pt x="3981352" y="3660689"/>
                    <a:pt x="3962295" y="3707589"/>
                  </a:cubicBezTo>
                  <a:cubicBezTo>
                    <a:pt x="3962295" y="3707589"/>
                    <a:pt x="3962295" y="3707905"/>
                    <a:pt x="3962295" y="3707905"/>
                  </a:cubicBezTo>
                  <a:cubicBezTo>
                    <a:pt x="3962295" y="3707905"/>
                    <a:pt x="3962295" y="3707905"/>
                    <a:pt x="3944508" y="3752270"/>
                  </a:cubicBezTo>
                  <a:cubicBezTo>
                    <a:pt x="3944508" y="3752270"/>
                    <a:pt x="3944508" y="3752270"/>
                    <a:pt x="3840012" y="3814380"/>
                  </a:cubicBezTo>
                  <a:cubicBezTo>
                    <a:pt x="3854940" y="3845752"/>
                    <a:pt x="3869868" y="3876807"/>
                    <a:pt x="3880984" y="3900256"/>
                  </a:cubicBezTo>
                  <a:cubicBezTo>
                    <a:pt x="3887019" y="3912298"/>
                    <a:pt x="3892101" y="3922439"/>
                    <a:pt x="3895595" y="3929727"/>
                  </a:cubicBezTo>
                  <a:cubicBezTo>
                    <a:pt x="3896866" y="3932262"/>
                    <a:pt x="3904171" y="3948423"/>
                    <a:pt x="3905124" y="3950325"/>
                  </a:cubicBezTo>
                  <a:cubicBezTo>
                    <a:pt x="3905124" y="3950325"/>
                    <a:pt x="3905124" y="3950325"/>
                    <a:pt x="3885749" y="3957930"/>
                  </a:cubicBezTo>
                  <a:cubicBezTo>
                    <a:pt x="3876220" y="3939551"/>
                    <a:pt x="3846046" y="3875856"/>
                    <a:pt x="3820637" y="3822619"/>
                  </a:cubicBezTo>
                  <a:cubicBezTo>
                    <a:pt x="3820637" y="3822619"/>
                    <a:pt x="3820637" y="3822619"/>
                    <a:pt x="3506194" y="3922439"/>
                  </a:cubicBezTo>
                  <a:cubicBezTo>
                    <a:pt x="3506194" y="3922439"/>
                    <a:pt x="3506194" y="3922439"/>
                    <a:pt x="3549708" y="4046976"/>
                  </a:cubicBezTo>
                  <a:cubicBezTo>
                    <a:pt x="3549708" y="4046976"/>
                    <a:pt x="3549708" y="4046976"/>
                    <a:pt x="3551614" y="4051729"/>
                  </a:cubicBezTo>
                  <a:cubicBezTo>
                    <a:pt x="3551614" y="4051729"/>
                    <a:pt x="3551614" y="4051729"/>
                    <a:pt x="3533510" y="4058067"/>
                  </a:cubicBezTo>
                  <a:cubicBezTo>
                    <a:pt x="3533510" y="4058067"/>
                    <a:pt x="3491266" y="4071693"/>
                    <a:pt x="3427742" y="4091974"/>
                  </a:cubicBezTo>
                  <a:cubicBezTo>
                    <a:pt x="3410274" y="4097678"/>
                    <a:pt x="3390581" y="4104015"/>
                    <a:pt x="3370254" y="4110670"/>
                  </a:cubicBezTo>
                  <a:cubicBezTo>
                    <a:pt x="3370254" y="4111304"/>
                    <a:pt x="3370571" y="4111938"/>
                    <a:pt x="3370571" y="4111938"/>
                  </a:cubicBezTo>
                  <a:cubicBezTo>
                    <a:pt x="3370571" y="4111938"/>
                    <a:pt x="3370571" y="4111938"/>
                    <a:pt x="3366442" y="4113522"/>
                  </a:cubicBezTo>
                  <a:cubicBezTo>
                    <a:pt x="3366442" y="4113522"/>
                    <a:pt x="3366124" y="4112888"/>
                    <a:pt x="3365807" y="4111938"/>
                  </a:cubicBezTo>
                  <a:cubicBezTo>
                    <a:pt x="3276874" y="4140457"/>
                    <a:pt x="3166660" y="4175949"/>
                    <a:pt x="3071374" y="4206687"/>
                  </a:cubicBezTo>
                  <a:cubicBezTo>
                    <a:pt x="3011980" y="4226017"/>
                    <a:pt x="2958620" y="4243129"/>
                    <a:pt x="2919870" y="4255805"/>
                  </a:cubicBezTo>
                  <a:cubicBezTo>
                    <a:pt x="2900813" y="4262143"/>
                    <a:pt x="2885250" y="4267213"/>
                    <a:pt x="2874450" y="4271015"/>
                  </a:cubicBezTo>
                  <a:cubicBezTo>
                    <a:pt x="2869051" y="4272600"/>
                    <a:pt x="2864922" y="4274184"/>
                    <a:pt x="2862063" y="4275135"/>
                  </a:cubicBezTo>
                  <a:cubicBezTo>
                    <a:pt x="2860475" y="4275452"/>
                    <a:pt x="2859522" y="4276086"/>
                    <a:pt x="2858887" y="4276086"/>
                  </a:cubicBezTo>
                  <a:cubicBezTo>
                    <a:pt x="2858570" y="4276402"/>
                    <a:pt x="2858570" y="4276719"/>
                    <a:pt x="2857299" y="4277036"/>
                  </a:cubicBezTo>
                  <a:cubicBezTo>
                    <a:pt x="2856664" y="4277036"/>
                    <a:pt x="2856664" y="4276719"/>
                    <a:pt x="2856346" y="4276719"/>
                  </a:cubicBezTo>
                  <a:cubicBezTo>
                    <a:pt x="2856346" y="4276719"/>
                    <a:pt x="2856346" y="4276719"/>
                    <a:pt x="2854758" y="4276402"/>
                  </a:cubicBezTo>
                  <a:cubicBezTo>
                    <a:pt x="2854758" y="4276402"/>
                    <a:pt x="2854758" y="4276402"/>
                    <a:pt x="2854758" y="4276086"/>
                  </a:cubicBezTo>
                  <a:cubicBezTo>
                    <a:pt x="2849994" y="4273867"/>
                    <a:pt x="2835701" y="4267847"/>
                    <a:pt x="2835701" y="4267847"/>
                  </a:cubicBezTo>
                  <a:cubicBezTo>
                    <a:pt x="2835701" y="4267847"/>
                    <a:pt x="2835701" y="4267847"/>
                    <a:pt x="2833478" y="4266896"/>
                  </a:cubicBezTo>
                  <a:cubicBezTo>
                    <a:pt x="2833478" y="4266896"/>
                    <a:pt x="2833478" y="4266896"/>
                    <a:pt x="2834430" y="4264995"/>
                  </a:cubicBezTo>
                  <a:cubicBezTo>
                    <a:pt x="2834430" y="4264995"/>
                    <a:pt x="2858887" y="4212708"/>
                    <a:pt x="2883979" y="4160421"/>
                  </a:cubicBezTo>
                  <a:cubicBezTo>
                    <a:pt x="2896366" y="4134437"/>
                    <a:pt x="2908753" y="4108135"/>
                    <a:pt x="2918600" y="4088805"/>
                  </a:cubicBezTo>
                  <a:cubicBezTo>
                    <a:pt x="2923364" y="4078981"/>
                    <a:pt x="2927493" y="4070742"/>
                    <a:pt x="2930669" y="4065038"/>
                  </a:cubicBezTo>
                  <a:cubicBezTo>
                    <a:pt x="2932257" y="4062186"/>
                    <a:pt x="2933528" y="4059968"/>
                    <a:pt x="2934480" y="4058383"/>
                  </a:cubicBezTo>
                  <a:cubicBezTo>
                    <a:pt x="2934798" y="4057433"/>
                    <a:pt x="2935433" y="4056799"/>
                    <a:pt x="2935751" y="4056165"/>
                  </a:cubicBezTo>
                  <a:cubicBezTo>
                    <a:pt x="2936068" y="4055848"/>
                    <a:pt x="2936068" y="4055531"/>
                    <a:pt x="2937022" y="4055215"/>
                  </a:cubicBezTo>
                  <a:cubicBezTo>
                    <a:pt x="2937656" y="4054264"/>
                    <a:pt x="2939562" y="4050778"/>
                    <a:pt x="2941786" y="4046025"/>
                  </a:cubicBezTo>
                  <a:cubicBezTo>
                    <a:pt x="2951632" y="4026061"/>
                    <a:pt x="2971960" y="3980429"/>
                    <a:pt x="2989746" y="3939551"/>
                  </a:cubicBezTo>
                  <a:cubicBezTo>
                    <a:pt x="2998004" y="3920537"/>
                    <a:pt x="3005945" y="3902792"/>
                    <a:pt x="3011662" y="3889165"/>
                  </a:cubicBezTo>
                  <a:cubicBezTo>
                    <a:pt x="3011662" y="3889165"/>
                    <a:pt x="3011662" y="3889165"/>
                    <a:pt x="3011344" y="3887898"/>
                  </a:cubicBezTo>
                  <a:cubicBezTo>
                    <a:pt x="3011344" y="3887898"/>
                    <a:pt x="3011344" y="3887898"/>
                    <a:pt x="3012615" y="3887581"/>
                  </a:cubicBezTo>
                  <a:cubicBezTo>
                    <a:pt x="3015473" y="3880609"/>
                    <a:pt x="3018014" y="3874905"/>
                    <a:pt x="3019920" y="3870469"/>
                  </a:cubicBezTo>
                  <a:cubicBezTo>
                    <a:pt x="3013250" y="3867617"/>
                    <a:pt x="3007850" y="3864765"/>
                    <a:pt x="3003721" y="3862547"/>
                  </a:cubicBezTo>
                  <a:cubicBezTo>
                    <a:pt x="3003721" y="3862547"/>
                    <a:pt x="3003721" y="3862547"/>
                    <a:pt x="2987840" y="3895820"/>
                  </a:cubicBezTo>
                  <a:cubicBezTo>
                    <a:pt x="2987840" y="3895820"/>
                    <a:pt x="2987840" y="3895820"/>
                    <a:pt x="2785517" y="4333759"/>
                  </a:cubicBezTo>
                  <a:cubicBezTo>
                    <a:pt x="2787105" y="4333759"/>
                    <a:pt x="2789011" y="4333759"/>
                    <a:pt x="2791552" y="4334076"/>
                  </a:cubicBezTo>
                  <a:cubicBezTo>
                    <a:pt x="2791552" y="4334076"/>
                    <a:pt x="2791552" y="4334076"/>
                    <a:pt x="2791234" y="4332809"/>
                  </a:cubicBezTo>
                  <a:cubicBezTo>
                    <a:pt x="2791234" y="4332809"/>
                    <a:pt x="2791234" y="4332809"/>
                    <a:pt x="3073598" y="4237108"/>
                  </a:cubicBezTo>
                  <a:cubicBezTo>
                    <a:pt x="3073598" y="4237108"/>
                    <a:pt x="3073598" y="4237108"/>
                    <a:pt x="3488725" y="4101163"/>
                  </a:cubicBezTo>
                  <a:cubicBezTo>
                    <a:pt x="3488725" y="4101163"/>
                    <a:pt x="3488725" y="4101163"/>
                    <a:pt x="4507964" y="3816915"/>
                  </a:cubicBezTo>
                  <a:cubicBezTo>
                    <a:pt x="4507964" y="3816915"/>
                    <a:pt x="4507964" y="3816915"/>
                    <a:pt x="4508600" y="3812795"/>
                  </a:cubicBezTo>
                  <a:cubicBezTo>
                    <a:pt x="4508600" y="3812795"/>
                    <a:pt x="4508600" y="3812795"/>
                    <a:pt x="4517175" y="3806774"/>
                  </a:cubicBezTo>
                  <a:cubicBezTo>
                    <a:pt x="4517175" y="3806774"/>
                    <a:pt x="4517810" y="3806458"/>
                    <a:pt x="4519398" y="3805190"/>
                  </a:cubicBezTo>
                  <a:cubicBezTo>
                    <a:pt x="4530515" y="3797902"/>
                    <a:pt x="4578793" y="3762093"/>
                    <a:pt x="4609920" y="3719313"/>
                  </a:cubicBezTo>
                  <a:cubicBezTo>
                    <a:pt x="4628024" y="3694279"/>
                    <a:pt x="4642634" y="3666076"/>
                    <a:pt x="4652798" y="3644528"/>
                  </a:cubicBezTo>
                  <a:cubicBezTo>
                    <a:pt x="4657880" y="3633437"/>
                    <a:pt x="4661692" y="3624247"/>
                    <a:pt x="4664232" y="3617592"/>
                  </a:cubicBezTo>
                  <a:cubicBezTo>
                    <a:pt x="4665503" y="3614424"/>
                    <a:pt x="4666456" y="3611888"/>
                    <a:pt x="4667091" y="3610304"/>
                  </a:cubicBezTo>
                  <a:cubicBezTo>
                    <a:pt x="4667726" y="3608403"/>
                    <a:pt x="4668044" y="3607769"/>
                    <a:pt x="4668044" y="3607769"/>
                  </a:cubicBezTo>
                  <a:cubicBezTo>
                    <a:pt x="4668044" y="3607769"/>
                    <a:pt x="4668044" y="3607769"/>
                    <a:pt x="4668997" y="3604283"/>
                  </a:cubicBezTo>
                  <a:cubicBezTo>
                    <a:pt x="4668997" y="3604283"/>
                    <a:pt x="4668997" y="3604283"/>
                    <a:pt x="4758883" y="3481331"/>
                  </a:cubicBezTo>
                  <a:cubicBezTo>
                    <a:pt x="4752848" y="3476894"/>
                    <a:pt x="4743955" y="3470240"/>
                    <a:pt x="4733156" y="3460416"/>
                  </a:cubicBezTo>
                  <a:cubicBezTo>
                    <a:pt x="4729027" y="3456613"/>
                    <a:pt x="4724580" y="3451860"/>
                    <a:pt x="4718863" y="3445522"/>
                  </a:cubicBezTo>
                  <a:cubicBezTo>
                    <a:pt x="4678526" y="3401475"/>
                    <a:pt x="4579746" y="3281691"/>
                    <a:pt x="4579428" y="3281691"/>
                  </a:cubicBezTo>
                  <a:cubicBezTo>
                    <a:pt x="4579428" y="3281691"/>
                    <a:pt x="4579428" y="3281691"/>
                    <a:pt x="4577522" y="3279473"/>
                  </a:cubicBezTo>
                  <a:cubicBezTo>
                    <a:pt x="4577522" y="3279473"/>
                    <a:pt x="4577522" y="3279473"/>
                    <a:pt x="4576252" y="3276938"/>
                  </a:cubicBezTo>
                  <a:cubicBezTo>
                    <a:pt x="4576252" y="3276938"/>
                    <a:pt x="4576252" y="3276938"/>
                    <a:pt x="4576252" y="3276621"/>
                  </a:cubicBezTo>
                  <a:cubicBezTo>
                    <a:pt x="4574346" y="3272501"/>
                    <a:pt x="4550208" y="3228454"/>
                    <a:pt x="4512093" y="3205004"/>
                  </a:cubicBezTo>
                  <a:cubicBezTo>
                    <a:pt x="4491766" y="3192012"/>
                    <a:pt x="4466674" y="3183773"/>
                    <a:pt x="4441582" y="3177435"/>
                  </a:cubicBezTo>
                  <a:cubicBezTo>
                    <a:pt x="4426018" y="3173632"/>
                    <a:pt x="4411090" y="3170780"/>
                    <a:pt x="4396798" y="3167295"/>
                  </a:cubicBezTo>
                  <a:close/>
                  <a:moveTo>
                    <a:pt x="2202369" y="3153035"/>
                  </a:moveTo>
                  <a:cubicBezTo>
                    <a:pt x="2202369" y="3153035"/>
                    <a:pt x="2202369" y="3153035"/>
                    <a:pt x="2177277" y="3170464"/>
                  </a:cubicBezTo>
                  <a:cubicBezTo>
                    <a:pt x="2177277" y="3170464"/>
                    <a:pt x="2177277" y="3170464"/>
                    <a:pt x="2168702" y="3251270"/>
                  </a:cubicBezTo>
                  <a:cubicBezTo>
                    <a:pt x="2187441" y="3259826"/>
                    <a:pt x="2239530" y="3282959"/>
                    <a:pt x="2292255" y="3306725"/>
                  </a:cubicBezTo>
                  <a:cubicBezTo>
                    <a:pt x="2324970" y="3321302"/>
                    <a:pt x="2358002" y="3335879"/>
                    <a:pt x="2383412" y="3346970"/>
                  </a:cubicBezTo>
                  <a:cubicBezTo>
                    <a:pt x="2395799" y="3352357"/>
                    <a:pt x="2406598" y="3356794"/>
                    <a:pt x="2414221" y="3359963"/>
                  </a:cubicBezTo>
                  <a:cubicBezTo>
                    <a:pt x="2417079" y="3361230"/>
                    <a:pt x="2419303" y="3362181"/>
                    <a:pt x="2421208" y="3362815"/>
                  </a:cubicBezTo>
                  <a:cubicBezTo>
                    <a:pt x="2424702" y="3350773"/>
                    <a:pt x="2428196" y="3338414"/>
                    <a:pt x="2431690" y="3325739"/>
                  </a:cubicBezTo>
                  <a:cubicBezTo>
                    <a:pt x="2434866" y="3314648"/>
                    <a:pt x="2438042" y="3303557"/>
                    <a:pt x="2441218" y="3292465"/>
                  </a:cubicBezTo>
                  <a:cubicBezTo>
                    <a:pt x="2441218" y="3292465"/>
                    <a:pt x="2441218" y="3292465"/>
                    <a:pt x="2202369" y="3153035"/>
                  </a:cubicBezTo>
                  <a:close/>
                  <a:moveTo>
                    <a:pt x="1177731" y="3141310"/>
                  </a:moveTo>
                  <a:cubicBezTo>
                    <a:pt x="1177413" y="3141627"/>
                    <a:pt x="1177096" y="3141627"/>
                    <a:pt x="1177096" y="3141627"/>
                  </a:cubicBezTo>
                  <a:cubicBezTo>
                    <a:pt x="1177096" y="3141627"/>
                    <a:pt x="1177096" y="3141627"/>
                    <a:pt x="1131358" y="3216095"/>
                  </a:cubicBezTo>
                  <a:cubicBezTo>
                    <a:pt x="1131358" y="3216095"/>
                    <a:pt x="1131358" y="3216095"/>
                    <a:pt x="1130723" y="3216412"/>
                  </a:cubicBezTo>
                  <a:cubicBezTo>
                    <a:pt x="1130723" y="3216412"/>
                    <a:pt x="1098961" y="3229088"/>
                    <a:pt x="1067199" y="3242080"/>
                  </a:cubicBezTo>
                  <a:cubicBezTo>
                    <a:pt x="1051319" y="3248418"/>
                    <a:pt x="1035438" y="3254756"/>
                    <a:pt x="1023368" y="3259509"/>
                  </a:cubicBezTo>
                  <a:cubicBezTo>
                    <a:pt x="1017333" y="3262044"/>
                    <a:pt x="1012251" y="3263946"/>
                    <a:pt x="1008440" y="3265530"/>
                  </a:cubicBezTo>
                  <a:cubicBezTo>
                    <a:pt x="1006534" y="3266164"/>
                    <a:pt x="1005264" y="3266798"/>
                    <a:pt x="1003993" y="3267114"/>
                  </a:cubicBezTo>
                  <a:cubicBezTo>
                    <a:pt x="1003041" y="3267431"/>
                    <a:pt x="1003041" y="3267431"/>
                    <a:pt x="1002088" y="3267748"/>
                  </a:cubicBezTo>
                  <a:cubicBezTo>
                    <a:pt x="1000182" y="3268382"/>
                    <a:pt x="972867" y="3283909"/>
                    <a:pt x="946822" y="3299120"/>
                  </a:cubicBezTo>
                  <a:cubicBezTo>
                    <a:pt x="925859" y="3311162"/>
                    <a:pt x="905532" y="3322887"/>
                    <a:pt x="897909" y="3327323"/>
                  </a:cubicBezTo>
                  <a:cubicBezTo>
                    <a:pt x="897909" y="3327323"/>
                    <a:pt x="897909" y="3327323"/>
                    <a:pt x="916966" y="3417953"/>
                  </a:cubicBezTo>
                  <a:cubicBezTo>
                    <a:pt x="934752" y="3402742"/>
                    <a:pt x="952857" y="3391334"/>
                    <a:pt x="970961" y="3383412"/>
                  </a:cubicBezTo>
                  <a:cubicBezTo>
                    <a:pt x="981442" y="3378976"/>
                    <a:pt x="990653" y="3375173"/>
                    <a:pt x="997006" y="3372955"/>
                  </a:cubicBezTo>
                  <a:cubicBezTo>
                    <a:pt x="1000182" y="3371687"/>
                    <a:pt x="1003041" y="3370737"/>
                    <a:pt x="1004311" y="3370103"/>
                  </a:cubicBezTo>
                  <a:cubicBezTo>
                    <a:pt x="1005899" y="3368835"/>
                    <a:pt x="1006217" y="3369152"/>
                    <a:pt x="1006534" y="3368519"/>
                  </a:cubicBezTo>
                  <a:cubicBezTo>
                    <a:pt x="1008440" y="3367568"/>
                    <a:pt x="1010346" y="3367251"/>
                    <a:pt x="1013522" y="3365983"/>
                  </a:cubicBezTo>
                  <a:cubicBezTo>
                    <a:pt x="1026544" y="3361230"/>
                    <a:pt x="1058941" y="3350139"/>
                    <a:pt x="1103090" y="3336196"/>
                  </a:cubicBezTo>
                  <a:cubicBezTo>
                    <a:pt x="1103090" y="3336196"/>
                    <a:pt x="1103090" y="3336196"/>
                    <a:pt x="1040837" y="3253805"/>
                  </a:cubicBezTo>
                  <a:cubicBezTo>
                    <a:pt x="1040837" y="3253805"/>
                    <a:pt x="1040837" y="3253805"/>
                    <a:pt x="1044331" y="3251270"/>
                  </a:cubicBezTo>
                  <a:cubicBezTo>
                    <a:pt x="1044331" y="3251270"/>
                    <a:pt x="1044331" y="3251270"/>
                    <a:pt x="1107537" y="3334612"/>
                  </a:cubicBezTo>
                  <a:cubicBezTo>
                    <a:pt x="1156450" y="3318767"/>
                    <a:pt x="1219021" y="3299437"/>
                    <a:pt x="1285404" y="3279790"/>
                  </a:cubicBezTo>
                  <a:cubicBezTo>
                    <a:pt x="1285404" y="3279790"/>
                    <a:pt x="1285404" y="3279790"/>
                    <a:pt x="1209493" y="3230672"/>
                  </a:cubicBezTo>
                  <a:cubicBezTo>
                    <a:pt x="1209493" y="3230672"/>
                    <a:pt x="1209493" y="3230672"/>
                    <a:pt x="1177731" y="3141310"/>
                  </a:cubicBezTo>
                  <a:close/>
                  <a:moveTo>
                    <a:pt x="385907" y="3137824"/>
                  </a:moveTo>
                  <a:cubicBezTo>
                    <a:pt x="385907" y="3137824"/>
                    <a:pt x="385907" y="3137824"/>
                    <a:pt x="303644" y="3181555"/>
                  </a:cubicBezTo>
                  <a:cubicBezTo>
                    <a:pt x="303644" y="3181555"/>
                    <a:pt x="303644" y="3181555"/>
                    <a:pt x="319842" y="3207539"/>
                  </a:cubicBezTo>
                  <a:cubicBezTo>
                    <a:pt x="319842" y="3207539"/>
                    <a:pt x="319842" y="3207539"/>
                    <a:pt x="352240" y="3192012"/>
                  </a:cubicBezTo>
                  <a:cubicBezTo>
                    <a:pt x="352240" y="3192012"/>
                    <a:pt x="352240" y="3192012"/>
                    <a:pt x="348110" y="3185040"/>
                  </a:cubicBezTo>
                  <a:cubicBezTo>
                    <a:pt x="348110" y="3185040"/>
                    <a:pt x="348110" y="3185040"/>
                    <a:pt x="345887" y="3181238"/>
                  </a:cubicBezTo>
                  <a:cubicBezTo>
                    <a:pt x="345887" y="3181238"/>
                    <a:pt x="345887" y="3181238"/>
                    <a:pt x="350016" y="3179020"/>
                  </a:cubicBezTo>
                  <a:cubicBezTo>
                    <a:pt x="350016" y="3179020"/>
                    <a:pt x="350016" y="3179020"/>
                    <a:pt x="365262" y="3170464"/>
                  </a:cubicBezTo>
                  <a:cubicBezTo>
                    <a:pt x="365262" y="3170464"/>
                    <a:pt x="365262" y="3170464"/>
                    <a:pt x="368120" y="3168879"/>
                  </a:cubicBezTo>
                  <a:cubicBezTo>
                    <a:pt x="368120" y="3168879"/>
                    <a:pt x="368120" y="3168879"/>
                    <a:pt x="370661" y="3171097"/>
                  </a:cubicBezTo>
                  <a:cubicBezTo>
                    <a:pt x="370661" y="3171097"/>
                    <a:pt x="370661" y="3171097"/>
                    <a:pt x="424974" y="3223384"/>
                  </a:cubicBezTo>
                  <a:cubicBezTo>
                    <a:pt x="424974" y="3223384"/>
                    <a:pt x="424974" y="3223384"/>
                    <a:pt x="428786" y="3226870"/>
                  </a:cubicBezTo>
                  <a:cubicBezTo>
                    <a:pt x="428786" y="3226870"/>
                    <a:pt x="428786" y="3226870"/>
                    <a:pt x="424657" y="3230039"/>
                  </a:cubicBezTo>
                  <a:cubicBezTo>
                    <a:pt x="424657" y="3230039"/>
                    <a:pt x="424657" y="3230039"/>
                    <a:pt x="422116" y="3232257"/>
                  </a:cubicBezTo>
                  <a:cubicBezTo>
                    <a:pt x="422116" y="3232257"/>
                    <a:pt x="422116" y="3232257"/>
                    <a:pt x="451337" y="3260777"/>
                  </a:cubicBezTo>
                  <a:cubicBezTo>
                    <a:pt x="451337" y="3260777"/>
                    <a:pt x="451337" y="3260777"/>
                    <a:pt x="491992" y="3264262"/>
                  </a:cubicBezTo>
                  <a:lnTo>
                    <a:pt x="494533" y="3231940"/>
                  </a:lnTo>
                  <a:cubicBezTo>
                    <a:pt x="494533" y="3231940"/>
                    <a:pt x="494533" y="3231940"/>
                    <a:pt x="385907" y="3137824"/>
                  </a:cubicBezTo>
                  <a:close/>
                  <a:moveTo>
                    <a:pt x="2502836" y="3135606"/>
                  </a:moveTo>
                  <a:cubicBezTo>
                    <a:pt x="2501566" y="3139092"/>
                    <a:pt x="2499978" y="3144162"/>
                    <a:pt x="2498072" y="3150183"/>
                  </a:cubicBezTo>
                  <a:cubicBezTo>
                    <a:pt x="2484732" y="3192963"/>
                    <a:pt x="2457099" y="3288663"/>
                    <a:pt x="2432960" y="3373906"/>
                  </a:cubicBezTo>
                  <a:cubicBezTo>
                    <a:pt x="2412315" y="3446156"/>
                    <a:pt x="2394211" y="3510801"/>
                    <a:pt x="2389446" y="3528230"/>
                  </a:cubicBezTo>
                  <a:cubicBezTo>
                    <a:pt x="2482509" y="3572911"/>
                    <a:pt x="2534281" y="3599530"/>
                    <a:pt x="2553020" y="3609036"/>
                  </a:cubicBezTo>
                  <a:cubicBezTo>
                    <a:pt x="2553020" y="3609036"/>
                    <a:pt x="2553020" y="3609036"/>
                    <a:pt x="2715324" y="3276304"/>
                  </a:cubicBezTo>
                  <a:cubicBezTo>
                    <a:pt x="2715006" y="3276304"/>
                    <a:pt x="2715006" y="3275987"/>
                    <a:pt x="2714688" y="3275987"/>
                  </a:cubicBezTo>
                  <a:cubicBezTo>
                    <a:pt x="2671492" y="3248101"/>
                    <a:pt x="2535869" y="3157471"/>
                    <a:pt x="2502836" y="3135606"/>
                  </a:cubicBezTo>
                  <a:close/>
                  <a:moveTo>
                    <a:pt x="1769455" y="3133388"/>
                  </a:moveTo>
                  <a:cubicBezTo>
                    <a:pt x="1769455" y="3133388"/>
                    <a:pt x="1769455" y="3133388"/>
                    <a:pt x="1731023" y="3138141"/>
                  </a:cubicBezTo>
                  <a:cubicBezTo>
                    <a:pt x="1731023" y="3138141"/>
                    <a:pt x="1731023" y="3138141"/>
                    <a:pt x="1734199" y="3162858"/>
                  </a:cubicBezTo>
                  <a:lnTo>
                    <a:pt x="1772631" y="3158105"/>
                  </a:lnTo>
                  <a:cubicBezTo>
                    <a:pt x="1772631" y="3158105"/>
                    <a:pt x="1772631" y="3158105"/>
                    <a:pt x="1769455" y="3133388"/>
                  </a:cubicBezTo>
                  <a:close/>
                  <a:moveTo>
                    <a:pt x="386225" y="3132754"/>
                  </a:moveTo>
                  <a:cubicBezTo>
                    <a:pt x="386225" y="3132754"/>
                    <a:pt x="386225" y="3132754"/>
                    <a:pt x="499297" y="3230039"/>
                  </a:cubicBezTo>
                  <a:cubicBezTo>
                    <a:pt x="499297" y="3230039"/>
                    <a:pt x="499297" y="3230039"/>
                    <a:pt x="496121" y="3269016"/>
                  </a:cubicBezTo>
                  <a:cubicBezTo>
                    <a:pt x="496121" y="3269016"/>
                    <a:pt x="496121" y="3269016"/>
                    <a:pt x="449431" y="3264896"/>
                  </a:cubicBezTo>
                  <a:cubicBezTo>
                    <a:pt x="449431" y="3264896"/>
                    <a:pt x="449431" y="3264896"/>
                    <a:pt x="415446" y="3231623"/>
                  </a:cubicBezTo>
                  <a:cubicBezTo>
                    <a:pt x="415446" y="3231623"/>
                    <a:pt x="415446" y="3231623"/>
                    <a:pt x="421798" y="3226553"/>
                  </a:cubicBezTo>
                  <a:cubicBezTo>
                    <a:pt x="421798" y="3226553"/>
                    <a:pt x="421798" y="3226553"/>
                    <a:pt x="367485" y="3174266"/>
                  </a:cubicBezTo>
                  <a:cubicBezTo>
                    <a:pt x="367485" y="3174266"/>
                    <a:pt x="367485" y="3174266"/>
                    <a:pt x="351922" y="3182822"/>
                  </a:cubicBezTo>
                  <a:cubicBezTo>
                    <a:pt x="351922" y="3182822"/>
                    <a:pt x="351922" y="3182822"/>
                    <a:pt x="358274" y="3194230"/>
                  </a:cubicBezTo>
                  <a:cubicBezTo>
                    <a:pt x="358274" y="3194230"/>
                    <a:pt x="358274" y="3194230"/>
                    <a:pt x="318254" y="3213243"/>
                  </a:cubicBezTo>
                  <a:cubicBezTo>
                    <a:pt x="318254" y="3213243"/>
                    <a:pt x="318254" y="3213243"/>
                    <a:pt x="297291" y="3179970"/>
                  </a:cubicBezTo>
                  <a:close/>
                  <a:moveTo>
                    <a:pt x="1772949" y="3128634"/>
                  </a:moveTo>
                  <a:cubicBezTo>
                    <a:pt x="1772949" y="3128634"/>
                    <a:pt x="1772949" y="3128634"/>
                    <a:pt x="1777395" y="3161591"/>
                  </a:cubicBezTo>
                  <a:cubicBezTo>
                    <a:pt x="1777395" y="3161591"/>
                    <a:pt x="1777395" y="3161591"/>
                    <a:pt x="1730705" y="3167612"/>
                  </a:cubicBezTo>
                  <a:cubicBezTo>
                    <a:pt x="1730705" y="3167612"/>
                    <a:pt x="1730705" y="3167612"/>
                    <a:pt x="1730388" y="3165393"/>
                  </a:cubicBezTo>
                  <a:cubicBezTo>
                    <a:pt x="1730388" y="3165393"/>
                    <a:pt x="1730388" y="3165393"/>
                    <a:pt x="1726576" y="3134655"/>
                  </a:cubicBezTo>
                  <a:close/>
                  <a:moveTo>
                    <a:pt x="1530923" y="3125466"/>
                  </a:moveTo>
                  <a:cubicBezTo>
                    <a:pt x="1530923" y="3125466"/>
                    <a:pt x="1530923" y="3125466"/>
                    <a:pt x="1512501" y="3126099"/>
                  </a:cubicBezTo>
                  <a:cubicBezTo>
                    <a:pt x="1512501" y="3126099"/>
                    <a:pt x="1512501" y="3126099"/>
                    <a:pt x="1515995" y="3200251"/>
                  </a:cubicBezTo>
                  <a:lnTo>
                    <a:pt x="1534099" y="3199300"/>
                  </a:lnTo>
                  <a:cubicBezTo>
                    <a:pt x="1534099" y="3199300"/>
                    <a:pt x="1534099" y="3199300"/>
                    <a:pt x="1530923" y="3125466"/>
                  </a:cubicBezTo>
                  <a:close/>
                  <a:moveTo>
                    <a:pt x="391624" y="3123247"/>
                  </a:moveTo>
                  <a:cubicBezTo>
                    <a:pt x="378920" y="3130219"/>
                    <a:pt x="366215" y="3136873"/>
                    <a:pt x="354145" y="3143528"/>
                  </a:cubicBezTo>
                  <a:cubicBezTo>
                    <a:pt x="273152" y="3187259"/>
                    <a:pt x="219475" y="3216412"/>
                    <a:pt x="215028" y="3218631"/>
                  </a:cubicBezTo>
                  <a:cubicBezTo>
                    <a:pt x="214075" y="3219264"/>
                    <a:pt x="209946" y="3221799"/>
                    <a:pt x="203912" y="3225285"/>
                  </a:cubicBezTo>
                  <a:cubicBezTo>
                    <a:pt x="208358" y="3230672"/>
                    <a:pt x="213440" y="3236376"/>
                    <a:pt x="218522" y="3242397"/>
                  </a:cubicBezTo>
                  <a:cubicBezTo>
                    <a:pt x="234721" y="3236059"/>
                    <a:pt x="248378" y="3231623"/>
                    <a:pt x="256319" y="3231623"/>
                  </a:cubicBezTo>
                  <a:cubicBezTo>
                    <a:pt x="256319" y="3231623"/>
                    <a:pt x="256319" y="3231623"/>
                    <a:pt x="256636" y="3231623"/>
                  </a:cubicBezTo>
                  <a:cubicBezTo>
                    <a:pt x="256636" y="3231623"/>
                    <a:pt x="256636" y="3231623"/>
                    <a:pt x="257271" y="3231623"/>
                  </a:cubicBezTo>
                  <a:cubicBezTo>
                    <a:pt x="264259" y="3232257"/>
                    <a:pt x="269659" y="3237961"/>
                    <a:pt x="276329" y="3245249"/>
                  </a:cubicBezTo>
                  <a:cubicBezTo>
                    <a:pt x="296339" y="3269016"/>
                    <a:pt x="321113" y="3317183"/>
                    <a:pt x="330324" y="3337464"/>
                  </a:cubicBezTo>
                  <a:cubicBezTo>
                    <a:pt x="335723" y="3349822"/>
                    <a:pt x="356369" y="3375490"/>
                    <a:pt x="375426" y="3397355"/>
                  </a:cubicBezTo>
                  <a:cubicBezTo>
                    <a:pt x="391307" y="3415735"/>
                    <a:pt x="406235" y="3431579"/>
                    <a:pt x="410681" y="3436333"/>
                  </a:cubicBezTo>
                  <a:cubicBezTo>
                    <a:pt x="411317" y="3436016"/>
                    <a:pt x="411952" y="3435699"/>
                    <a:pt x="412587" y="3435382"/>
                  </a:cubicBezTo>
                  <a:cubicBezTo>
                    <a:pt x="414810" y="3434431"/>
                    <a:pt x="417034" y="3433481"/>
                    <a:pt x="419257" y="3432213"/>
                  </a:cubicBezTo>
                  <a:cubicBezTo>
                    <a:pt x="411634" y="3423657"/>
                    <a:pt x="404329" y="3415418"/>
                    <a:pt x="399247" y="3409714"/>
                  </a:cubicBezTo>
                  <a:cubicBezTo>
                    <a:pt x="381143" y="3388482"/>
                    <a:pt x="373838" y="3374856"/>
                    <a:pt x="364944" y="3359963"/>
                  </a:cubicBezTo>
                  <a:cubicBezTo>
                    <a:pt x="355733" y="3344118"/>
                    <a:pt x="271882" y="3195815"/>
                    <a:pt x="270611" y="3194547"/>
                  </a:cubicBezTo>
                  <a:cubicBezTo>
                    <a:pt x="270611" y="3194547"/>
                    <a:pt x="270611" y="3194547"/>
                    <a:pt x="289669" y="3183773"/>
                  </a:cubicBezTo>
                  <a:cubicBezTo>
                    <a:pt x="289669" y="3183773"/>
                    <a:pt x="289669" y="3183773"/>
                    <a:pt x="290621" y="3185040"/>
                  </a:cubicBezTo>
                  <a:cubicBezTo>
                    <a:pt x="290939" y="3185040"/>
                    <a:pt x="311902" y="3222116"/>
                    <a:pt x="333818" y="3261094"/>
                  </a:cubicBezTo>
                  <a:cubicBezTo>
                    <a:pt x="356051" y="3300388"/>
                    <a:pt x="379555" y="3341266"/>
                    <a:pt x="384001" y="3348871"/>
                  </a:cubicBezTo>
                  <a:cubicBezTo>
                    <a:pt x="388448" y="3356794"/>
                    <a:pt x="392259" y="3363448"/>
                    <a:pt x="397341" y="3371054"/>
                  </a:cubicBezTo>
                  <a:cubicBezTo>
                    <a:pt x="397341" y="3371054"/>
                    <a:pt x="397341" y="3371054"/>
                    <a:pt x="502791" y="3313380"/>
                  </a:cubicBezTo>
                  <a:cubicBezTo>
                    <a:pt x="502791" y="3313380"/>
                    <a:pt x="502791" y="3313380"/>
                    <a:pt x="504697" y="3290564"/>
                  </a:cubicBezTo>
                  <a:cubicBezTo>
                    <a:pt x="504697" y="3290564"/>
                    <a:pt x="504697" y="3290564"/>
                    <a:pt x="501203" y="3290247"/>
                  </a:cubicBezTo>
                  <a:cubicBezTo>
                    <a:pt x="501203" y="3290247"/>
                    <a:pt x="501203" y="3290247"/>
                    <a:pt x="501203" y="3289297"/>
                  </a:cubicBezTo>
                  <a:cubicBezTo>
                    <a:pt x="501203" y="3289297"/>
                    <a:pt x="502791" y="3274086"/>
                    <a:pt x="504379" y="3258242"/>
                  </a:cubicBezTo>
                  <a:cubicBezTo>
                    <a:pt x="505332" y="3245883"/>
                    <a:pt x="506602" y="3232891"/>
                    <a:pt x="506920" y="3227503"/>
                  </a:cubicBezTo>
                  <a:cubicBezTo>
                    <a:pt x="506920" y="3227503"/>
                    <a:pt x="506920" y="3227503"/>
                    <a:pt x="424657" y="3157788"/>
                  </a:cubicBezTo>
                  <a:cubicBezTo>
                    <a:pt x="424657" y="3157788"/>
                    <a:pt x="424657" y="3157788"/>
                    <a:pt x="427833" y="3153985"/>
                  </a:cubicBezTo>
                  <a:cubicBezTo>
                    <a:pt x="424974" y="3151450"/>
                    <a:pt x="416399" y="3144479"/>
                    <a:pt x="408140" y="3137191"/>
                  </a:cubicBezTo>
                  <a:cubicBezTo>
                    <a:pt x="402741" y="3132754"/>
                    <a:pt x="397659" y="3128318"/>
                    <a:pt x="393530" y="3124832"/>
                  </a:cubicBezTo>
                  <a:cubicBezTo>
                    <a:pt x="392895" y="3124198"/>
                    <a:pt x="392577" y="3123881"/>
                    <a:pt x="391624" y="3123247"/>
                  </a:cubicBezTo>
                  <a:close/>
                  <a:moveTo>
                    <a:pt x="1534734" y="3121029"/>
                  </a:moveTo>
                  <a:cubicBezTo>
                    <a:pt x="1534734" y="3121029"/>
                    <a:pt x="1534734" y="3121029"/>
                    <a:pt x="1538546" y="3203420"/>
                  </a:cubicBezTo>
                  <a:cubicBezTo>
                    <a:pt x="1538546" y="3203420"/>
                    <a:pt x="1538546" y="3203420"/>
                    <a:pt x="1511866" y="3204687"/>
                  </a:cubicBezTo>
                  <a:cubicBezTo>
                    <a:pt x="1511866" y="3204687"/>
                    <a:pt x="1511866" y="3204687"/>
                    <a:pt x="1511866" y="3202469"/>
                  </a:cubicBezTo>
                  <a:cubicBezTo>
                    <a:pt x="1511866" y="3202469"/>
                    <a:pt x="1511866" y="3202469"/>
                    <a:pt x="1508054" y="3122297"/>
                  </a:cubicBezTo>
                  <a:close/>
                  <a:moveTo>
                    <a:pt x="1355915" y="3117544"/>
                  </a:moveTo>
                  <a:cubicBezTo>
                    <a:pt x="1355915" y="3117544"/>
                    <a:pt x="1355915" y="3117544"/>
                    <a:pt x="1311448" y="3136240"/>
                  </a:cubicBezTo>
                  <a:lnTo>
                    <a:pt x="1322565" y="3166027"/>
                  </a:lnTo>
                  <a:cubicBezTo>
                    <a:pt x="1322565" y="3166027"/>
                    <a:pt x="1322565" y="3166027"/>
                    <a:pt x="1295250" y="3177752"/>
                  </a:cubicBezTo>
                  <a:cubicBezTo>
                    <a:pt x="1295250" y="3177752"/>
                    <a:pt x="1295250" y="3177752"/>
                    <a:pt x="1312719" y="3218947"/>
                  </a:cubicBezTo>
                  <a:cubicBezTo>
                    <a:pt x="1312719" y="3218947"/>
                    <a:pt x="1312719" y="3218947"/>
                    <a:pt x="1354009" y="3201202"/>
                  </a:cubicBezTo>
                  <a:cubicBezTo>
                    <a:pt x="1354009" y="3201202"/>
                    <a:pt x="1354009" y="3201202"/>
                    <a:pt x="1341622" y="3172365"/>
                  </a:cubicBezTo>
                  <a:cubicBezTo>
                    <a:pt x="1341622" y="3172365"/>
                    <a:pt x="1341622" y="3172365"/>
                    <a:pt x="1343528" y="3171731"/>
                  </a:cubicBezTo>
                  <a:cubicBezTo>
                    <a:pt x="1343528" y="3171731"/>
                    <a:pt x="1343528" y="3171731"/>
                    <a:pt x="1372114" y="3159689"/>
                  </a:cubicBezTo>
                  <a:cubicBezTo>
                    <a:pt x="1372114" y="3159689"/>
                    <a:pt x="1372114" y="3159689"/>
                    <a:pt x="1355915" y="3117544"/>
                  </a:cubicBezTo>
                  <a:close/>
                  <a:moveTo>
                    <a:pt x="1596988" y="3116910"/>
                  </a:moveTo>
                  <a:lnTo>
                    <a:pt x="1578566" y="3117860"/>
                  </a:lnTo>
                  <a:cubicBezTo>
                    <a:pt x="1578566" y="3117860"/>
                    <a:pt x="1578566" y="3117860"/>
                    <a:pt x="1582060" y="3192012"/>
                  </a:cubicBezTo>
                  <a:cubicBezTo>
                    <a:pt x="1582060" y="3192012"/>
                    <a:pt x="1582060" y="3192012"/>
                    <a:pt x="1600482" y="3191061"/>
                  </a:cubicBezTo>
                  <a:cubicBezTo>
                    <a:pt x="1600482" y="3191061"/>
                    <a:pt x="1600482" y="3191061"/>
                    <a:pt x="1596988" y="3116910"/>
                  </a:cubicBezTo>
                  <a:close/>
                  <a:moveTo>
                    <a:pt x="2296384" y="3116276"/>
                  </a:moveTo>
                  <a:cubicBezTo>
                    <a:pt x="2296384" y="3116276"/>
                    <a:pt x="2296384" y="3116276"/>
                    <a:pt x="2280186" y="3131804"/>
                  </a:cubicBezTo>
                  <a:cubicBezTo>
                    <a:pt x="2280186" y="3131804"/>
                    <a:pt x="2280186" y="3131804"/>
                    <a:pt x="2282726" y="3134338"/>
                  </a:cubicBezTo>
                  <a:cubicBezTo>
                    <a:pt x="2282726" y="3134338"/>
                    <a:pt x="2282726" y="3134338"/>
                    <a:pt x="2284315" y="3135923"/>
                  </a:cubicBezTo>
                  <a:cubicBezTo>
                    <a:pt x="2284315" y="3135923"/>
                    <a:pt x="2284315" y="3135923"/>
                    <a:pt x="2272880" y="3147014"/>
                  </a:cubicBezTo>
                  <a:cubicBezTo>
                    <a:pt x="2272880" y="3147014"/>
                    <a:pt x="2272880" y="3147014"/>
                    <a:pt x="2310677" y="3186625"/>
                  </a:cubicBezTo>
                  <a:cubicBezTo>
                    <a:pt x="2310677" y="3186625"/>
                    <a:pt x="2310677" y="3186625"/>
                    <a:pt x="2321794" y="3175534"/>
                  </a:cubicBezTo>
                  <a:lnTo>
                    <a:pt x="2304960" y="3158422"/>
                  </a:lnTo>
                  <a:cubicBezTo>
                    <a:pt x="2304960" y="3158422"/>
                    <a:pt x="2304960" y="3158422"/>
                    <a:pt x="2321794" y="3142261"/>
                  </a:cubicBezTo>
                  <a:cubicBezTo>
                    <a:pt x="2321794" y="3142261"/>
                    <a:pt x="2321794" y="3142261"/>
                    <a:pt x="2296384" y="3116276"/>
                  </a:cubicBezTo>
                  <a:close/>
                  <a:moveTo>
                    <a:pt x="2082309" y="3114374"/>
                  </a:moveTo>
                  <a:lnTo>
                    <a:pt x="2058170" y="3185040"/>
                  </a:lnTo>
                  <a:cubicBezTo>
                    <a:pt x="2058170" y="3185040"/>
                    <a:pt x="2058170" y="3185040"/>
                    <a:pt x="2153456" y="3198033"/>
                  </a:cubicBezTo>
                  <a:cubicBezTo>
                    <a:pt x="2153456" y="3198033"/>
                    <a:pt x="2153456" y="3198033"/>
                    <a:pt x="2156950" y="3165076"/>
                  </a:cubicBezTo>
                  <a:cubicBezTo>
                    <a:pt x="2156950" y="3165076"/>
                    <a:pt x="2156950" y="3165076"/>
                    <a:pt x="2166796" y="3134655"/>
                  </a:cubicBezTo>
                  <a:cubicBezTo>
                    <a:pt x="2166796" y="3134655"/>
                    <a:pt x="2166796" y="3134655"/>
                    <a:pt x="2082309" y="3114374"/>
                  </a:cubicBezTo>
                  <a:close/>
                  <a:moveTo>
                    <a:pt x="1601117" y="3112790"/>
                  </a:moveTo>
                  <a:cubicBezTo>
                    <a:pt x="1601117" y="3112790"/>
                    <a:pt x="1601117" y="3112790"/>
                    <a:pt x="1604611" y="3194864"/>
                  </a:cubicBezTo>
                  <a:cubicBezTo>
                    <a:pt x="1604611" y="3194864"/>
                    <a:pt x="1604611" y="3194864"/>
                    <a:pt x="1577931" y="3196132"/>
                  </a:cubicBezTo>
                  <a:lnTo>
                    <a:pt x="1577931" y="3194230"/>
                  </a:lnTo>
                  <a:cubicBezTo>
                    <a:pt x="1577931" y="3194230"/>
                    <a:pt x="1577931" y="3194230"/>
                    <a:pt x="1574437" y="3114058"/>
                  </a:cubicBezTo>
                  <a:cubicBezTo>
                    <a:pt x="1574437" y="3114058"/>
                    <a:pt x="1574437" y="3114058"/>
                    <a:pt x="1601117" y="3112790"/>
                  </a:cubicBezTo>
                  <a:close/>
                  <a:moveTo>
                    <a:pt x="1358138" y="3112156"/>
                  </a:moveTo>
                  <a:cubicBezTo>
                    <a:pt x="1358138" y="3112156"/>
                    <a:pt x="1358138" y="3112156"/>
                    <a:pt x="1377513" y="3161908"/>
                  </a:cubicBezTo>
                  <a:cubicBezTo>
                    <a:pt x="1377513" y="3161908"/>
                    <a:pt x="1377513" y="3161908"/>
                    <a:pt x="1347022" y="3174583"/>
                  </a:cubicBezTo>
                  <a:cubicBezTo>
                    <a:pt x="1347022" y="3174583"/>
                    <a:pt x="1347022" y="3174583"/>
                    <a:pt x="1359409" y="3203420"/>
                  </a:cubicBezTo>
                  <a:cubicBezTo>
                    <a:pt x="1359409" y="3203420"/>
                    <a:pt x="1359409" y="3203420"/>
                    <a:pt x="1310496" y="3224335"/>
                  </a:cubicBezTo>
                  <a:lnTo>
                    <a:pt x="1289850" y="3175534"/>
                  </a:lnTo>
                  <a:cubicBezTo>
                    <a:pt x="1289850" y="3175534"/>
                    <a:pt x="1289850" y="3175534"/>
                    <a:pt x="1317166" y="3163809"/>
                  </a:cubicBezTo>
                  <a:cubicBezTo>
                    <a:pt x="1317166" y="3163809"/>
                    <a:pt x="1317166" y="3163809"/>
                    <a:pt x="1306366" y="3133705"/>
                  </a:cubicBezTo>
                  <a:cubicBezTo>
                    <a:pt x="1306366" y="3133705"/>
                    <a:pt x="1306366" y="3133705"/>
                    <a:pt x="1358138" y="3112156"/>
                  </a:cubicBezTo>
                  <a:close/>
                  <a:moveTo>
                    <a:pt x="1802487" y="3110572"/>
                  </a:moveTo>
                  <a:cubicBezTo>
                    <a:pt x="1802487" y="3110572"/>
                    <a:pt x="1802487" y="3110572"/>
                    <a:pt x="1719589" y="3123564"/>
                  </a:cubicBezTo>
                  <a:cubicBezTo>
                    <a:pt x="1717683" y="3147648"/>
                    <a:pt x="1715777" y="3169196"/>
                    <a:pt x="1714507" y="3181238"/>
                  </a:cubicBezTo>
                  <a:cubicBezTo>
                    <a:pt x="1745633" y="3177118"/>
                    <a:pt x="1775489" y="3173949"/>
                    <a:pt x="1803440" y="3171414"/>
                  </a:cubicBezTo>
                  <a:cubicBezTo>
                    <a:pt x="1803440" y="3171414"/>
                    <a:pt x="1803440" y="3171414"/>
                    <a:pt x="1802487" y="3110572"/>
                  </a:cubicBezTo>
                  <a:close/>
                  <a:moveTo>
                    <a:pt x="2296384" y="3110255"/>
                  </a:moveTo>
                  <a:cubicBezTo>
                    <a:pt x="2296384" y="3110255"/>
                    <a:pt x="2296384" y="3110255"/>
                    <a:pt x="2327511" y="3142261"/>
                  </a:cubicBezTo>
                  <a:lnTo>
                    <a:pt x="2310995" y="3158422"/>
                  </a:lnTo>
                  <a:cubicBezTo>
                    <a:pt x="2310995" y="3158422"/>
                    <a:pt x="2310995" y="3158422"/>
                    <a:pt x="2327828" y="3175851"/>
                  </a:cubicBezTo>
                  <a:cubicBezTo>
                    <a:pt x="2327828" y="3175851"/>
                    <a:pt x="2327828" y="3175851"/>
                    <a:pt x="2310360" y="3192329"/>
                  </a:cubicBezTo>
                  <a:cubicBezTo>
                    <a:pt x="2310360" y="3192329"/>
                    <a:pt x="2310360" y="3192329"/>
                    <a:pt x="2309089" y="3191061"/>
                  </a:cubicBezTo>
                  <a:cubicBezTo>
                    <a:pt x="2309089" y="3191061"/>
                    <a:pt x="2309089" y="3191061"/>
                    <a:pt x="2267163" y="3146697"/>
                  </a:cubicBezTo>
                  <a:cubicBezTo>
                    <a:pt x="2267163" y="3146697"/>
                    <a:pt x="2267163" y="3146697"/>
                    <a:pt x="2278280" y="3135923"/>
                  </a:cubicBezTo>
                  <a:cubicBezTo>
                    <a:pt x="2278280" y="3135923"/>
                    <a:pt x="2278280" y="3135923"/>
                    <a:pt x="2275739" y="3133071"/>
                  </a:cubicBezTo>
                  <a:cubicBezTo>
                    <a:pt x="2275739" y="3133071"/>
                    <a:pt x="2275739" y="3133071"/>
                    <a:pt x="2274468" y="3131804"/>
                  </a:cubicBezTo>
                  <a:cubicBezTo>
                    <a:pt x="2274468" y="3131804"/>
                    <a:pt x="2274468" y="3131804"/>
                    <a:pt x="2296384" y="3110255"/>
                  </a:cubicBezTo>
                  <a:close/>
                  <a:moveTo>
                    <a:pt x="1059577" y="3106135"/>
                  </a:moveTo>
                  <a:cubicBezTo>
                    <a:pt x="1057036" y="3110889"/>
                    <a:pt x="1054495" y="3115325"/>
                    <a:pt x="1051319" y="3119762"/>
                  </a:cubicBezTo>
                  <a:cubicBezTo>
                    <a:pt x="1037661" y="3138775"/>
                    <a:pt x="1029403" y="3147014"/>
                    <a:pt x="1013522" y="3155253"/>
                  </a:cubicBezTo>
                  <a:cubicBezTo>
                    <a:pt x="1007170" y="3159056"/>
                    <a:pt x="998911" y="3162858"/>
                    <a:pt x="988430" y="3167928"/>
                  </a:cubicBezTo>
                  <a:cubicBezTo>
                    <a:pt x="988430" y="3167928"/>
                    <a:pt x="988430" y="3167928"/>
                    <a:pt x="1010663" y="3259826"/>
                  </a:cubicBezTo>
                  <a:cubicBezTo>
                    <a:pt x="1023050" y="3255073"/>
                    <a:pt x="1045284" y="3246200"/>
                    <a:pt x="1067199" y="3237327"/>
                  </a:cubicBezTo>
                  <a:cubicBezTo>
                    <a:pt x="1095785" y="3225602"/>
                    <a:pt x="1123736" y="3214194"/>
                    <a:pt x="1128500" y="3212293"/>
                  </a:cubicBezTo>
                  <a:cubicBezTo>
                    <a:pt x="1127547" y="3211976"/>
                    <a:pt x="1127865" y="3211976"/>
                    <a:pt x="1127547" y="3211976"/>
                  </a:cubicBezTo>
                  <a:cubicBezTo>
                    <a:pt x="1126912" y="3211025"/>
                    <a:pt x="1125959" y="3209441"/>
                    <a:pt x="1123736" y="3206272"/>
                  </a:cubicBezTo>
                  <a:cubicBezTo>
                    <a:pt x="1117066" y="3195498"/>
                    <a:pt x="1100549" y="3169830"/>
                    <a:pt x="1085939" y="3146697"/>
                  </a:cubicBezTo>
                  <a:cubicBezTo>
                    <a:pt x="1078634" y="3134972"/>
                    <a:pt x="1071646" y="3124198"/>
                    <a:pt x="1066247" y="3116276"/>
                  </a:cubicBezTo>
                  <a:cubicBezTo>
                    <a:pt x="1063706" y="3112156"/>
                    <a:pt x="1061482" y="3108987"/>
                    <a:pt x="1059894" y="3106769"/>
                  </a:cubicBezTo>
                  <a:cubicBezTo>
                    <a:pt x="1059577" y="3106452"/>
                    <a:pt x="1059577" y="3106452"/>
                    <a:pt x="1059577" y="3106135"/>
                  </a:cubicBezTo>
                  <a:close/>
                  <a:moveTo>
                    <a:pt x="2036572" y="3103284"/>
                  </a:moveTo>
                  <a:cubicBezTo>
                    <a:pt x="2036572" y="3103284"/>
                    <a:pt x="2036572" y="3103284"/>
                    <a:pt x="2010845" y="3178703"/>
                  </a:cubicBezTo>
                  <a:lnTo>
                    <a:pt x="2054041" y="3184407"/>
                  </a:lnTo>
                  <a:cubicBezTo>
                    <a:pt x="2054041" y="3184407"/>
                    <a:pt x="2054041" y="3184407"/>
                    <a:pt x="2078180" y="3113424"/>
                  </a:cubicBezTo>
                  <a:cubicBezTo>
                    <a:pt x="2078180" y="3113424"/>
                    <a:pt x="2078180" y="3113424"/>
                    <a:pt x="2036572" y="3103284"/>
                  </a:cubicBezTo>
                  <a:close/>
                  <a:moveTo>
                    <a:pt x="2028314" y="3101382"/>
                  </a:moveTo>
                  <a:cubicBezTo>
                    <a:pt x="2015292" y="3139725"/>
                    <a:pt x="2006081" y="3166978"/>
                    <a:pt x="2002587" y="3177435"/>
                  </a:cubicBezTo>
                  <a:cubicBezTo>
                    <a:pt x="2002587" y="3177435"/>
                    <a:pt x="2002587" y="3177435"/>
                    <a:pt x="2006398" y="3178069"/>
                  </a:cubicBezTo>
                  <a:cubicBezTo>
                    <a:pt x="2006398" y="3178069"/>
                    <a:pt x="2006398" y="3178069"/>
                    <a:pt x="2032443" y="3102333"/>
                  </a:cubicBezTo>
                  <a:close/>
                  <a:moveTo>
                    <a:pt x="1682427" y="3100431"/>
                  </a:moveTo>
                  <a:cubicBezTo>
                    <a:pt x="1682427" y="3100431"/>
                    <a:pt x="1682427" y="3100431"/>
                    <a:pt x="1664005" y="3101382"/>
                  </a:cubicBezTo>
                  <a:cubicBezTo>
                    <a:pt x="1664005" y="3101382"/>
                    <a:pt x="1664005" y="3101382"/>
                    <a:pt x="1667499" y="3175217"/>
                  </a:cubicBezTo>
                  <a:lnTo>
                    <a:pt x="1685921" y="3174583"/>
                  </a:lnTo>
                  <a:cubicBezTo>
                    <a:pt x="1685921" y="3174583"/>
                    <a:pt x="1685921" y="3174583"/>
                    <a:pt x="1682427" y="3100431"/>
                  </a:cubicBezTo>
                  <a:close/>
                  <a:moveTo>
                    <a:pt x="1686556" y="3095995"/>
                  </a:moveTo>
                  <a:cubicBezTo>
                    <a:pt x="1686556" y="3095995"/>
                    <a:pt x="1686556" y="3095995"/>
                    <a:pt x="1690050" y="3178386"/>
                  </a:cubicBezTo>
                  <a:cubicBezTo>
                    <a:pt x="1690050" y="3178386"/>
                    <a:pt x="1690050" y="3178386"/>
                    <a:pt x="1663370" y="3179653"/>
                  </a:cubicBezTo>
                  <a:cubicBezTo>
                    <a:pt x="1663370" y="3179653"/>
                    <a:pt x="1663370" y="3179653"/>
                    <a:pt x="1663370" y="3177435"/>
                  </a:cubicBezTo>
                  <a:cubicBezTo>
                    <a:pt x="1663370" y="3177435"/>
                    <a:pt x="1663370" y="3177435"/>
                    <a:pt x="1659876" y="3097262"/>
                  </a:cubicBezTo>
                  <a:close/>
                  <a:moveTo>
                    <a:pt x="2289714" y="3093143"/>
                  </a:moveTo>
                  <a:cubicBezTo>
                    <a:pt x="2289714" y="3093143"/>
                    <a:pt x="2289714" y="3093143"/>
                    <a:pt x="2206498" y="3150500"/>
                  </a:cubicBezTo>
                  <a:lnTo>
                    <a:pt x="2442489" y="3288029"/>
                  </a:lnTo>
                  <a:cubicBezTo>
                    <a:pt x="2450429" y="3260460"/>
                    <a:pt x="2458052" y="3233841"/>
                    <a:pt x="2465040" y="3210075"/>
                  </a:cubicBezTo>
                  <a:cubicBezTo>
                    <a:pt x="2463769" y="3209441"/>
                    <a:pt x="2462499" y="3208490"/>
                    <a:pt x="2460593" y="3207223"/>
                  </a:cubicBezTo>
                  <a:cubicBezTo>
                    <a:pt x="2428196" y="3185991"/>
                    <a:pt x="2317030" y="3111522"/>
                    <a:pt x="2289714" y="3093143"/>
                  </a:cubicBezTo>
                  <a:close/>
                  <a:moveTo>
                    <a:pt x="1848542" y="3092509"/>
                  </a:moveTo>
                  <a:cubicBezTo>
                    <a:pt x="1848542" y="3092509"/>
                    <a:pt x="1848542" y="3092509"/>
                    <a:pt x="1834567" y="3131169"/>
                  </a:cubicBezTo>
                  <a:cubicBezTo>
                    <a:pt x="1834567" y="3131169"/>
                    <a:pt x="1834567" y="3131169"/>
                    <a:pt x="1872046" y="3145429"/>
                  </a:cubicBezTo>
                  <a:cubicBezTo>
                    <a:pt x="1872046" y="3145429"/>
                    <a:pt x="1872046" y="3145429"/>
                    <a:pt x="1890785" y="3094094"/>
                  </a:cubicBezTo>
                  <a:cubicBezTo>
                    <a:pt x="1877763" y="3093777"/>
                    <a:pt x="1862517" y="3093143"/>
                    <a:pt x="1848542" y="3092509"/>
                  </a:cubicBezTo>
                  <a:close/>
                  <a:moveTo>
                    <a:pt x="480558" y="3088707"/>
                  </a:moveTo>
                  <a:cubicBezTo>
                    <a:pt x="480558" y="3088707"/>
                    <a:pt x="480558" y="3088707"/>
                    <a:pt x="421798" y="3120395"/>
                  </a:cubicBezTo>
                  <a:cubicBezTo>
                    <a:pt x="421798" y="3120395"/>
                    <a:pt x="421798" y="3120395"/>
                    <a:pt x="521848" y="3195815"/>
                  </a:cubicBezTo>
                  <a:cubicBezTo>
                    <a:pt x="521848" y="3195815"/>
                    <a:pt x="521848" y="3195815"/>
                    <a:pt x="605382" y="3160957"/>
                  </a:cubicBezTo>
                  <a:lnTo>
                    <a:pt x="545987" y="3148281"/>
                  </a:lnTo>
                  <a:cubicBezTo>
                    <a:pt x="545987" y="3148281"/>
                    <a:pt x="545987" y="3148281"/>
                    <a:pt x="532647" y="3153035"/>
                  </a:cubicBezTo>
                  <a:cubicBezTo>
                    <a:pt x="532647" y="3153035"/>
                    <a:pt x="532647" y="3153035"/>
                    <a:pt x="530424" y="3153985"/>
                  </a:cubicBezTo>
                  <a:cubicBezTo>
                    <a:pt x="530424" y="3153985"/>
                    <a:pt x="530424" y="3153985"/>
                    <a:pt x="528518" y="3152401"/>
                  </a:cubicBezTo>
                  <a:cubicBezTo>
                    <a:pt x="528518" y="3152401"/>
                    <a:pt x="528518" y="3152401"/>
                    <a:pt x="472935" y="3108671"/>
                  </a:cubicBezTo>
                  <a:cubicBezTo>
                    <a:pt x="472935" y="3108671"/>
                    <a:pt x="472935" y="3108671"/>
                    <a:pt x="467853" y="3104551"/>
                  </a:cubicBezTo>
                  <a:cubicBezTo>
                    <a:pt x="467853" y="3104551"/>
                    <a:pt x="467853" y="3104551"/>
                    <a:pt x="473252" y="3101382"/>
                  </a:cubicBezTo>
                  <a:cubicBezTo>
                    <a:pt x="473252" y="3101382"/>
                    <a:pt x="473252" y="3101382"/>
                    <a:pt x="483416" y="3095361"/>
                  </a:cubicBezTo>
                  <a:cubicBezTo>
                    <a:pt x="483416" y="3095361"/>
                    <a:pt x="483416" y="3095361"/>
                    <a:pt x="480558" y="3088707"/>
                  </a:cubicBezTo>
                  <a:close/>
                  <a:moveTo>
                    <a:pt x="1458824" y="3084904"/>
                  </a:moveTo>
                  <a:cubicBezTo>
                    <a:pt x="1458824" y="3084904"/>
                    <a:pt x="1458824" y="3084904"/>
                    <a:pt x="1437543" y="3091875"/>
                  </a:cubicBezTo>
                  <a:cubicBezTo>
                    <a:pt x="1437543" y="3091875"/>
                    <a:pt x="1437543" y="3091875"/>
                    <a:pt x="1438496" y="3095361"/>
                  </a:cubicBezTo>
                  <a:lnTo>
                    <a:pt x="1439131" y="3097262"/>
                  </a:lnTo>
                  <a:cubicBezTo>
                    <a:pt x="1439131" y="3097262"/>
                    <a:pt x="1439131" y="3097262"/>
                    <a:pt x="1424203" y="3102333"/>
                  </a:cubicBezTo>
                  <a:cubicBezTo>
                    <a:pt x="1424203" y="3102333"/>
                    <a:pt x="1424203" y="3102333"/>
                    <a:pt x="1440719" y="3154302"/>
                  </a:cubicBezTo>
                  <a:cubicBezTo>
                    <a:pt x="1440719" y="3154302"/>
                    <a:pt x="1440719" y="3154302"/>
                    <a:pt x="1455647" y="3149549"/>
                  </a:cubicBezTo>
                  <a:cubicBezTo>
                    <a:pt x="1455647" y="3149549"/>
                    <a:pt x="1455647" y="3149549"/>
                    <a:pt x="1448024" y="3126733"/>
                  </a:cubicBezTo>
                  <a:cubicBezTo>
                    <a:pt x="1448024" y="3126733"/>
                    <a:pt x="1448024" y="3126733"/>
                    <a:pt x="1470258" y="3119445"/>
                  </a:cubicBezTo>
                  <a:cubicBezTo>
                    <a:pt x="1470258" y="3119445"/>
                    <a:pt x="1470258" y="3119445"/>
                    <a:pt x="1458824" y="3084904"/>
                  </a:cubicBezTo>
                  <a:close/>
                  <a:moveTo>
                    <a:pt x="482463" y="3082686"/>
                  </a:moveTo>
                  <a:cubicBezTo>
                    <a:pt x="482463" y="3082686"/>
                    <a:pt x="482463" y="3082686"/>
                    <a:pt x="489451" y="3096946"/>
                  </a:cubicBezTo>
                  <a:cubicBezTo>
                    <a:pt x="489451" y="3096946"/>
                    <a:pt x="489451" y="3096946"/>
                    <a:pt x="475476" y="3105185"/>
                  </a:cubicBezTo>
                  <a:cubicBezTo>
                    <a:pt x="475476" y="3105185"/>
                    <a:pt x="475476" y="3105185"/>
                    <a:pt x="531059" y="3148915"/>
                  </a:cubicBezTo>
                  <a:lnTo>
                    <a:pt x="545352" y="3143528"/>
                  </a:lnTo>
                  <a:cubicBezTo>
                    <a:pt x="545352" y="3143528"/>
                    <a:pt x="545352" y="3143528"/>
                    <a:pt x="619992" y="3159689"/>
                  </a:cubicBezTo>
                  <a:cubicBezTo>
                    <a:pt x="619992" y="3159689"/>
                    <a:pt x="619992" y="3159689"/>
                    <a:pt x="521213" y="3200885"/>
                  </a:cubicBezTo>
                  <a:cubicBezTo>
                    <a:pt x="521213" y="3200885"/>
                    <a:pt x="521213" y="3200885"/>
                    <a:pt x="413540" y="3119762"/>
                  </a:cubicBezTo>
                  <a:cubicBezTo>
                    <a:pt x="413540" y="3119762"/>
                    <a:pt x="413540" y="3119762"/>
                    <a:pt x="482463" y="3082686"/>
                  </a:cubicBezTo>
                  <a:close/>
                  <a:moveTo>
                    <a:pt x="1474387" y="3073179"/>
                  </a:moveTo>
                  <a:cubicBezTo>
                    <a:pt x="1443895" y="3073813"/>
                    <a:pt x="1416898" y="3074447"/>
                    <a:pt x="1399429" y="3074764"/>
                  </a:cubicBezTo>
                  <a:cubicBezTo>
                    <a:pt x="1399429" y="3074764"/>
                    <a:pt x="1399429" y="3074764"/>
                    <a:pt x="1437225" y="3157788"/>
                  </a:cubicBezTo>
                  <a:cubicBezTo>
                    <a:pt x="1437225" y="3157788"/>
                    <a:pt x="1437225" y="3157788"/>
                    <a:pt x="1419121" y="3099798"/>
                  </a:cubicBezTo>
                  <a:cubicBezTo>
                    <a:pt x="1419121" y="3099798"/>
                    <a:pt x="1419121" y="3099798"/>
                    <a:pt x="1434049" y="3094727"/>
                  </a:cubicBezTo>
                  <a:cubicBezTo>
                    <a:pt x="1434049" y="3094727"/>
                    <a:pt x="1434049" y="3094727"/>
                    <a:pt x="1432779" y="3091242"/>
                  </a:cubicBezTo>
                  <a:cubicBezTo>
                    <a:pt x="1432779" y="3091242"/>
                    <a:pt x="1432779" y="3091242"/>
                    <a:pt x="1432144" y="3089340"/>
                  </a:cubicBezTo>
                  <a:cubicBezTo>
                    <a:pt x="1432144" y="3089340"/>
                    <a:pt x="1432144" y="3089340"/>
                    <a:pt x="1461364" y="3079517"/>
                  </a:cubicBezTo>
                  <a:cubicBezTo>
                    <a:pt x="1461364" y="3079517"/>
                    <a:pt x="1461364" y="3079517"/>
                    <a:pt x="1475340" y="3121980"/>
                  </a:cubicBezTo>
                  <a:cubicBezTo>
                    <a:pt x="1475340" y="3121980"/>
                    <a:pt x="1475340" y="3121980"/>
                    <a:pt x="1453424" y="3129268"/>
                  </a:cubicBezTo>
                  <a:cubicBezTo>
                    <a:pt x="1453424" y="3129268"/>
                    <a:pt x="1453424" y="3129268"/>
                    <a:pt x="1460729" y="3152084"/>
                  </a:cubicBezTo>
                  <a:lnTo>
                    <a:pt x="1438178" y="3159689"/>
                  </a:lnTo>
                  <a:cubicBezTo>
                    <a:pt x="1438178" y="3159689"/>
                    <a:pt x="1438178" y="3159689"/>
                    <a:pt x="1469940" y="3228454"/>
                  </a:cubicBezTo>
                  <a:cubicBezTo>
                    <a:pt x="1480739" y="3225602"/>
                    <a:pt x="1491221" y="3223067"/>
                    <a:pt x="1501702" y="3220532"/>
                  </a:cubicBezTo>
                  <a:cubicBezTo>
                    <a:pt x="1501702" y="3220532"/>
                    <a:pt x="1501702" y="3220532"/>
                    <a:pt x="1474387" y="3073179"/>
                  </a:cubicBezTo>
                  <a:close/>
                  <a:moveTo>
                    <a:pt x="1729752" y="3071595"/>
                  </a:moveTo>
                  <a:lnTo>
                    <a:pt x="1729435" y="3086171"/>
                  </a:lnTo>
                  <a:cubicBezTo>
                    <a:pt x="1729435" y="3086171"/>
                    <a:pt x="1729435" y="3086171"/>
                    <a:pt x="1769137" y="3087122"/>
                  </a:cubicBezTo>
                  <a:cubicBezTo>
                    <a:pt x="1769137" y="3087122"/>
                    <a:pt x="1769137" y="3087122"/>
                    <a:pt x="1769455" y="3072545"/>
                  </a:cubicBezTo>
                  <a:cubicBezTo>
                    <a:pt x="1769455" y="3072545"/>
                    <a:pt x="1769455" y="3072545"/>
                    <a:pt x="1729752" y="3071595"/>
                  </a:cubicBezTo>
                  <a:close/>
                  <a:moveTo>
                    <a:pt x="1556650" y="3071595"/>
                  </a:moveTo>
                  <a:cubicBezTo>
                    <a:pt x="1552203" y="3071595"/>
                    <a:pt x="1548074" y="3071595"/>
                    <a:pt x="1543628" y="3071911"/>
                  </a:cubicBezTo>
                  <a:cubicBezTo>
                    <a:pt x="1521394" y="3072228"/>
                    <a:pt x="1499479" y="3072545"/>
                    <a:pt x="1478833" y="3073179"/>
                  </a:cubicBezTo>
                  <a:cubicBezTo>
                    <a:pt x="1478833" y="3073179"/>
                    <a:pt x="1478833" y="3073179"/>
                    <a:pt x="1505831" y="3219581"/>
                  </a:cubicBezTo>
                  <a:cubicBezTo>
                    <a:pt x="1515677" y="3217046"/>
                    <a:pt x="1525523" y="3214828"/>
                    <a:pt x="1534734" y="3212610"/>
                  </a:cubicBezTo>
                  <a:cubicBezTo>
                    <a:pt x="1544263" y="3210391"/>
                    <a:pt x="1553474" y="3208173"/>
                    <a:pt x="1562685" y="3206272"/>
                  </a:cubicBezTo>
                  <a:close/>
                  <a:moveTo>
                    <a:pt x="2209039" y="3071278"/>
                  </a:moveTo>
                  <a:lnTo>
                    <a:pt x="2187441" y="3138141"/>
                  </a:lnTo>
                  <a:cubicBezTo>
                    <a:pt x="2187441" y="3138141"/>
                    <a:pt x="2187441" y="3138141"/>
                    <a:pt x="2253823" y="3092509"/>
                  </a:cubicBezTo>
                  <a:cubicBezTo>
                    <a:pt x="2253823" y="3092509"/>
                    <a:pt x="2253823" y="3092509"/>
                    <a:pt x="2209039" y="3071278"/>
                  </a:cubicBezTo>
                  <a:close/>
                  <a:moveTo>
                    <a:pt x="1642407" y="3069693"/>
                  </a:moveTo>
                  <a:cubicBezTo>
                    <a:pt x="1618268" y="3070327"/>
                    <a:pt x="1590000" y="3070644"/>
                    <a:pt x="1561097" y="3071278"/>
                  </a:cubicBezTo>
                  <a:cubicBezTo>
                    <a:pt x="1561097" y="3071278"/>
                    <a:pt x="1561097" y="3071278"/>
                    <a:pt x="1567132" y="3205321"/>
                  </a:cubicBezTo>
                  <a:cubicBezTo>
                    <a:pt x="1590953" y="3200568"/>
                    <a:pt x="1614457" y="3196132"/>
                    <a:pt x="1638278" y="3192329"/>
                  </a:cubicBezTo>
                  <a:cubicBezTo>
                    <a:pt x="1638278" y="3192329"/>
                    <a:pt x="1638278" y="3192329"/>
                    <a:pt x="1642407" y="3069693"/>
                  </a:cubicBezTo>
                  <a:close/>
                  <a:moveTo>
                    <a:pt x="1708790" y="3068426"/>
                  </a:moveTo>
                  <a:cubicBezTo>
                    <a:pt x="1700531" y="3068426"/>
                    <a:pt x="1677345" y="3069059"/>
                    <a:pt x="1646854" y="3069693"/>
                  </a:cubicBezTo>
                  <a:cubicBezTo>
                    <a:pt x="1646854" y="3069693"/>
                    <a:pt x="1646854" y="3069693"/>
                    <a:pt x="1642725" y="3191378"/>
                  </a:cubicBezTo>
                  <a:cubicBezTo>
                    <a:pt x="1662100" y="3188209"/>
                    <a:pt x="1681157" y="3185674"/>
                    <a:pt x="1699896" y="3183139"/>
                  </a:cubicBezTo>
                  <a:cubicBezTo>
                    <a:pt x="1700849" y="3172365"/>
                    <a:pt x="1703072" y="3150817"/>
                    <a:pt x="1704978" y="3125782"/>
                  </a:cubicBezTo>
                  <a:cubicBezTo>
                    <a:pt x="1706249" y="3107403"/>
                    <a:pt x="1707837" y="3087122"/>
                    <a:pt x="1708790" y="3068426"/>
                  </a:cubicBezTo>
                  <a:close/>
                  <a:moveTo>
                    <a:pt x="1725623" y="3067792"/>
                  </a:moveTo>
                  <a:cubicBezTo>
                    <a:pt x="1725623" y="3067792"/>
                    <a:pt x="1725623" y="3067792"/>
                    <a:pt x="1773584" y="3068426"/>
                  </a:cubicBezTo>
                  <a:cubicBezTo>
                    <a:pt x="1773584" y="3068426"/>
                    <a:pt x="1773584" y="3068426"/>
                    <a:pt x="1773266" y="3091242"/>
                  </a:cubicBezTo>
                  <a:cubicBezTo>
                    <a:pt x="1773266" y="3091242"/>
                    <a:pt x="1773266" y="3091242"/>
                    <a:pt x="1771360" y="3090925"/>
                  </a:cubicBezTo>
                  <a:cubicBezTo>
                    <a:pt x="1771360" y="3090925"/>
                    <a:pt x="1771360" y="3090925"/>
                    <a:pt x="1725306" y="3090291"/>
                  </a:cubicBezTo>
                  <a:close/>
                  <a:moveTo>
                    <a:pt x="1909525" y="3054166"/>
                  </a:moveTo>
                  <a:cubicBezTo>
                    <a:pt x="1909525" y="3054166"/>
                    <a:pt x="1909525" y="3054166"/>
                    <a:pt x="1896502" y="3089974"/>
                  </a:cubicBezTo>
                  <a:cubicBezTo>
                    <a:pt x="1910160" y="3090608"/>
                    <a:pt x="1919688" y="3090925"/>
                    <a:pt x="1920641" y="3090925"/>
                  </a:cubicBezTo>
                  <a:cubicBezTo>
                    <a:pt x="1920641" y="3090925"/>
                    <a:pt x="1920641" y="3090925"/>
                    <a:pt x="1932393" y="3057968"/>
                  </a:cubicBezTo>
                  <a:cubicBezTo>
                    <a:pt x="1932393" y="3057968"/>
                    <a:pt x="1932393" y="3057968"/>
                    <a:pt x="1909525" y="3054166"/>
                  </a:cubicBezTo>
                  <a:close/>
                  <a:moveTo>
                    <a:pt x="1724035" y="3052581"/>
                  </a:moveTo>
                  <a:cubicBezTo>
                    <a:pt x="1723082" y="3073179"/>
                    <a:pt x="1721494" y="3096946"/>
                    <a:pt x="1719906" y="3119128"/>
                  </a:cubicBezTo>
                  <a:cubicBezTo>
                    <a:pt x="1719906" y="3119128"/>
                    <a:pt x="1719906" y="3119128"/>
                    <a:pt x="1802487" y="3106135"/>
                  </a:cubicBezTo>
                  <a:cubicBezTo>
                    <a:pt x="1802487" y="3106135"/>
                    <a:pt x="1802487" y="3106135"/>
                    <a:pt x="1801534" y="3059236"/>
                  </a:cubicBezTo>
                  <a:cubicBezTo>
                    <a:pt x="1801534" y="3059236"/>
                    <a:pt x="1801534" y="3059236"/>
                    <a:pt x="1724035" y="3052581"/>
                  </a:cubicBezTo>
                  <a:close/>
                  <a:moveTo>
                    <a:pt x="1865058" y="3047194"/>
                  </a:moveTo>
                  <a:cubicBezTo>
                    <a:pt x="1865058" y="3047194"/>
                    <a:pt x="1865058" y="3047194"/>
                    <a:pt x="1850130" y="3088073"/>
                  </a:cubicBezTo>
                  <a:cubicBezTo>
                    <a:pt x="1864423" y="3088707"/>
                    <a:pt x="1879351" y="3089340"/>
                    <a:pt x="1892373" y="3089974"/>
                  </a:cubicBezTo>
                  <a:cubicBezTo>
                    <a:pt x="1892373" y="3089974"/>
                    <a:pt x="1892373" y="3089974"/>
                    <a:pt x="1905396" y="3053532"/>
                  </a:cubicBezTo>
                  <a:cubicBezTo>
                    <a:pt x="1905396" y="3053532"/>
                    <a:pt x="1905396" y="3053532"/>
                    <a:pt x="1865058" y="3047194"/>
                  </a:cubicBezTo>
                  <a:close/>
                  <a:moveTo>
                    <a:pt x="2105495" y="3046244"/>
                  </a:moveTo>
                  <a:cubicBezTo>
                    <a:pt x="2105495" y="3046244"/>
                    <a:pt x="2105495" y="3046244"/>
                    <a:pt x="2083897" y="3110255"/>
                  </a:cubicBezTo>
                  <a:cubicBezTo>
                    <a:pt x="2083897" y="3110255"/>
                    <a:pt x="2083897" y="3110255"/>
                    <a:pt x="2168066" y="3130536"/>
                  </a:cubicBezTo>
                  <a:lnTo>
                    <a:pt x="2189347" y="3064623"/>
                  </a:lnTo>
                  <a:cubicBezTo>
                    <a:pt x="2189347" y="3064623"/>
                    <a:pt x="2189347" y="3064623"/>
                    <a:pt x="2105495" y="3046244"/>
                  </a:cubicBezTo>
                  <a:close/>
                  <a:moveTo>
                    <a:pt x="2352603" y="3045927"/>
                  </a:moveTo>
                  <a:cubicBezTo>
                    <a:pt x="2352603" y="3045927"/>
                    <a:pt x="2352603" y="3045927"/>
                    <a:pt x="2336722" y="3061454"/>
                  </a:cubicBezTo>
                  <a:cubicBezTo>
                    <a:pt x="2336722" y="3061454"/>
                    <a:pt x="2336722" y="3061454"/>
                    <a:pt x="2339263" y="3064306"/>
                  </a:cubicBezTo>
                  <a:cubicBezTo>
                    <a:pt x="2339263" y="3064306"/>
                    <a:pt x="2339263" y="3064306"/>
                    <a:pt x="2340533" y="3065891"/>
                  </a:cubicBezTo>
                  <a:cubicBezTo>
                    <a:pt x="2340533" y="3065891"/>
                    <a:pt x="2340533" y="3065891"/>
                    <a:pt x="2329416" y="3076665"/>
                  </a:cubicBezTo>
                  <a:cubicBezTo>
                    <a:pt x="2329416" y="3076665"/>
                    <a:pt x="2329416" y="3076665"/>
                    <a:pt x="2366896" y="3116276"/>
                  </a:cubicBezTo>
                  <a:cubicBezTo>
                    <a:pt x="2366896" y="3116276"/>
                    <a:pt x="2366896" y="3116276"/>
                    <a:pt x="2378330" y="3105502"/>
                  </a:cubicBezTo>
                  <a:lnTo>
                    <a:pt x="2361496" y="3088390"/>
                  </a:lnTo>
                  <a:cubicBezTo>
                    <a:pt x="2361496" y="3088390"/>
                    <a:pt x="2361496" y="3088390"/>
                    <a:pt x="2378012" y="3072228"/>
                  </a:cubicBezTo>
                  <a:cubicBezTo>
                    <a:pt x="2378012" y="3072228"/>
                    <a:pt x="2378012" y="3072228"/>
                    <a:pt x="2352603" y="3045927"/>
                  </a:cubicBezTo>
                  <a:close/>
                  <a:moveTo>
                    <a:pt x="3390581" y="3044659"/>
                  </a:moveTo>
                  <a:cubicBezTo>
                    <a:pt x="3390581" y="3044659"/>
                    <a:pt x="3390581" y="3044659"/>
                    <a:pt x="3012615" y="3843850"/>
                  </a:cubicBezTo>
                  <a:cubicBezTo>
                    <a:pt x="3026590" y="3851456"/>
                    <a:pt x="3062798" y="3869201"/>
                    <a:pt x="3105042" y="3873955"/>
                  </a:cubicBezTo>
                  <a:cubicBezTo>
                    <a:pt x="3106630" y="3861596"/>
                    <a:pt x="3116158" y="3836879"/>
                    <a:pt x="3116158" y="3836562"/>
                  </a:cubicBezTo>
                  <a:cubicBezTo>
                    <a:pt x="3116158" y="3836562"/>
                    <a:pt x="3116158" y="3836562"/>
                    <a:pt x="3116476" y="3835928"/>
                  </a:cubicBezTo>
                  <a:cubicBezTo>
                    <a:pt x="3116476" y="3835928"/>
                    <a:pt x="3116476" y="3835928"/>
                    <a:pt x="3168248" y="3812795"/>
                  </a:cubicBezTo>
                  <a:cubicBezTo>
                    <a:pt x="3168248" y="3812795"/>
                    <a:pt x="3168248" y="3812795"/>
                    <a:pt x="3137756" y="3711074"/>
                  </a:cubicBezTo>
                  <a:cubicBezTo>
                    <a:pt x="3137756" y="3711074"/>
                    <a:pt x="3137756" y="3711074"/>
                    <a:pt x="3139980" y="3710441"/>
                  </a:cubicBezTo>
                  <a:cubicBezTo>
                    <a:pt x="3139980" y="3710441"/>
                    <a:pt x="3191116" y="3693962"/>
                    <a:pt x="3242571" y="3677167"/>
                  </a:cubicBezTo>
                  <a:cubicBezTo>
                    <a:pt x="3268298" y="3668928"/>
                    <a:pt x="3294025" y="3660372"/>
                    <a:pt x="3313082" y="3653718"/>
                  </a:cubicBezTo>
                  <a:cubicBezTo>
                    <a:pt x="3322928" y="3650549"/>
                    <a:pt x="3330869" y="3647697"/>
                    <a:pt x="3336268" y="3645795"/>
                  </a:cubicBezTo>
                  <a:cubicBezTo>
                    <a:pt x="3339127" y="3644845"/>
                    <a:pt x="3341350" y="3643894"/>
                    <a:pt x="3342938" y="3643260"/>
                  </a:cubicBezTo>
                  <a:cubicBezTo>
                    <a:pt x="3343574" y="3643260"/>
                    <a:pt x="3343891" y="3642943"/>
                    <a:pt x="3344209" y="3642943"/>
                  </a:cubicBezTo>
                  <a:cubicBezTo>
                    <a:pt x="3344209" y="3642627"/>
                    <a:pt x="3344526" y="3642627"/>
                    <a:pt x="3344526" y="3642310"/>
                  </a:cubicBezTo>
                  <a:cubicBezTo>
                    <a:pt x="3344844" y="3642310"/>
                    <a:pt x="3344844" y="3642310"/>
                    <a:pt x="3345162" y="3641993"/>
                  </a:cubicBezTo>
                  <a:cubicBezTo>
                    <a:pt x="3345479" y="3641993"/>
                    <a:pt x="3345797" y="3641993"/>
                    <a:pt x="3346114" y="3641993"/>
                  </a:cubicBezTo>
                  <a:cubicBezTo>
                    <a:pt x="3346432" y="3641993"/>
                    <a:pt x="3347067" y="3642310"/>
                    <a:pt x="3347385" y="3642627"/>
                  </a:cubicBezTo>
                  <a:cubicBezTo>
                    <a:pt x="3347702" y="3642943"/>
                    <a:pt x="3348020" y="3643260"/>
                    <a:pt x="3348020" y="3643577"/>
                  </a:cubicBezTo>
                  <a:cubicBezTo>
                    <a:pt x="3349291" y="3646112"/>
                    <a:pt x="3359137" y="3667027"/>
                    <a:pt x="3361996" y="3673048"/>
                  </a:cubicBezTo>
                  <a:cubicBezTo>
                    <a:pt x="3361996" y="3673048"/>
                    <a:pt x="3361996" y="3673048"/>
                    <a:pt x="3413132" y="3663224"/>
                  </a:cubicBezTo>
                  <a:cubicBezTo>
                    <a:pt x="3413132" y="3663224"/>
                    <a:pt x="3413132" y="3663224"/>
                    <a:pt x="3449340" y="3780156"/>
                  </a:cubicBezTo>
                  <a:cubicBezTo>
                    <a:pt x="3467127" y="3774452"/>
                    <a:pt x="3485232" y="3768431"/>
                    <a:pt x="3502700" y="3762727"/>
                  </a:cubicBezTo>
                  <a:cubicBezTo>
                    <a:pt x="3570988" y="3740545"/>
                    <a:pt x="3636418" y="3718997"/>
                    <a:pt x="3685014" y="3703469"/>
                  </a:cubicBezTo>
                  <a:cubicBezTo>
                    <a:pt x="3733292" y="3687625"/>
                    <a:pt x="3764418" y="3677167"/>
                    <a:pt x="3764736" y="3677167"/>
                  </a:cubicBezTo>
                  <a:cubicBezTo>
                    <a:pt x="3764418" y="3677167"/>
                    <a:pt x="3764736" y="3677167"/>
                    <a:pt x="3765054" y="3677167"/>
                  </a:cubicBezTo>
                  <a:cubicBezTo>
                    <a:pt x="3768230" y="3675900"/>
                    <a:pt x="3785381" y="3668928"/>
                    <a:pt x="3810791" y="3649281"/>
                  </a:cubicBezTo>
                  <a:cubicBezTo>
                    <a:pt x="3822225" y="3640091"/>
                    <a:pt x="3861610" y="3603016"/>
                    <a:pt x="3902265" y="3563405"/>
                  </a:cubicBezTo>
                  <a:lnTo>
                    <a:pt x="3610056" y="3196448"/>
                  </a:lnTo>
                  <a:cubicBezTo>
                    <a:pt x="3607515" y="3194230"/>
                    <a:pt x="3598304" y="3186942"/>
                    <a:pt x="3583693" y="3175534"/>
                  </a:cubicBezTo>
                  <a:cubicBezTo>
                    <a:pt x="3566224" y="3162225"/>
                    <a:pt x="3540815" y="3143528"/>
                    <a:pt x="3509370" y="3122931"/>
                  </a:cubicBezTo>
                  <a:cubicBezTo>
                    <a:pt x="3461410" y="3091559"/>
                    <a:pt x="3411862" y="3058919"/>
                    <a:pt x="3390581" y="3044659"/>
                  </a:cubicBezTo>
                  <a:close/>
                  <a:moveTo>
                    <a:pt x="572349" y="3040540"/>
                  </a:moveTo>
                  <a:cubicBezTo>
                    <a:pt x="572349" y="3040540"/>
                    <a:pt x="572349" y="3040540"/>
                    <a:pt x="507555" y="3075397"/>
                  </a:cubicBezTo>
                  <a:lnTo>
                    <a:pt x="506920" y="3089974"/>
                  </a:lnTo>
                  <a:cubicBezTo>
                    <a:pt x="506920" y="3089974"/>
                    <a:pt x="506920" y="3089974"/>
                    <a:pt x="513590" y="3098530"/>
                  </a:cubicBezTo>
                  <a:cubicBezTo>
                    <a:pt x="513590" y="3098530"/>
                    <a:pt x="513590" y="3098530"/>
                    <a:pt x="575208" y="3065891"/>
                  </a:cubicBezTo>
                  <a:cubicBezTo>
                    <a:pt x="575208" y="3065891"/>
                    <a:pt x="575208" y="3065891"/>
                    <a:pt x="577114" y="3049096"/>
                  </a:cubicBezTo>
                  <a:cubicBezTo>
                    <a:pt x="577114" y="3049096"/>
                    <a:pt x="577114" y="3049096"/>
                    <a:pt x="572349" y="3040540"/>
                  </a:cubicBezTo>
                  <a:close/>
                  <a:moveTo>
                    <a:pt x="2352603" y="3040223"/>
                  </a:moveTo>
                  <a:cubicBezTo>
                    <a:pt x="2352603" y="3040223"/>
                    <a:pt x="2352603" y="3040223"/>
                    <a:pt x="2384047" y="3072228"/>
                  </a:cubicBezTo>
                  <a:lnTo>
                    <a:pt x="2367213" y="3088390"/>
                  </a:lnTo>
                  <a:cubicBezTo>
                    <a:pt x="2367213" y="3088390"/>
                    <a:pt x="2367213" y="3088390"/>
                    <a:pt x="2384047" y="3105502"/>
                  </a:cubicBezTo>
                  <a:cubicBezTo>
                    <a:pt x="2384047" y="3105502"/>
                    <a:pt x="2384047" y="3105502"/>
                    <a:pt x="2366896" y="3122297"/>
                  </a:cubicBezTo>
                  <a:cubicBezTo>
                    <a:pt x="2366896" y="3122297"/>
                    <a:pt x="2366896" y="3122297"/>
                    <a:pt x="2365308" y="3120712"/>
                  </a:cubicBezTo>
                  <a:cubicBezTo>
                    <a:pt x="2365308" y="3120712"/>
                    <a:pt x="2365308" y="3120712"/>
                    <a:pt x="2323382" y="3076665"/>
                  </a:cubicBezTo>
                  <a:cubicBezTo>
                    <a:pt x="2323382" y="3076665"/>
                    <a:pt x="2323382" y="3076665"/>
                    <a:pt x="2334816" y="3065574"/>
                  </a:cubicBezTo>
                  <a:cubicBezTo>
                    <a:pt x="2334816" y="3065574"/>
                    <a:pt x="2334816" y="3065574"/>
                    <a:pt x="2332275" y="3063039"/>
                  </a:cubicBezTo>
                  <a:cubicBezTo>
                    <a:pt x="2332275" y="3063039"/>
                    <a:pt x="2332275" y="3063039"/>
                    <a:pt x="2330687" y="3061454"/>
                  </a:cubicBezTo>
                  <a:cubicBezTo>
                    <a:pt x="2330687" y="3061454"/>
                    <a:pt x="2330687" y="3061454"/>
                    <a:pt x="2352603" y="3040223"/>
                  </a:cubicBezTo>
                  <a:close/>
                  <a:moveTo>
                    <a:pt x="1811380" y="3038638"/>
                  </a:moveTo>
                  <a:cubicBezTo>
                    <a:pt x="1811380" y="3038638"/>
                    <a:pt x="1811380" y="3038638"/>
                    <a:pt x="1805981" y="3057651"/>
                  </a:cubicBezTo>
                  <a:cubicBezTo>
                    <a:pt x="1805981" y="3057651"/>
                    <a:pt x="1805981" y="3057651"/>
                    <a:pt x="1807887" y="3171097"/>
                  </a:cubicBezTo>
                  <a:cubicBezTo>
                    <a:pt x="1839966" y="3168245"/>
                    <a:pt x="1869505" y="3166027"/>
                    <a:pt x="1894597" y="3164443"/>
                  </a:cubicBezTo>
                  <a:lnTo>
                    <a:pt x="1919371" y="3095361"/>
                  </a:lnTo>
                  <a:cubicBezTo>
                    <a:pt x="1915559" y="3095044"/>
                    <a:pt x="1906666" y="3094727"/>
                    <a:pt x="1894914" y="3094411"/>
                  </a:cubicBezTo>
                  <a:cubicBezTo>
                    <a:pt x="1894914" y="3094411"/>
                    <a:pt x="1894914" y="3094411"/>
                    <a:pt x="1874587" y="3150817"/>
                  </a:cubicBezTo>
                  <a:cubicBezTo>
                    <a:pt x="1874587" y="3150817"/>
                    <a:pt x="1874587" y="3150817"/>
                    <a:pt x="1829485" y="3133705"/>
                  </a:cubicBezTo>
                  <a:cubicBezTo>
                    <a:pt x="1829485" y="3133705"/>
                    <a:pt x="1829485" y="3133705"/>
                    <a:pt x="1830120" y="3131804"/>
                  </a:cubicBezTo>
                  <a:cubicBezTo>
                    <a:pt x="1830120" y="3131804"/>
                    <a:pt x="1830120" y="3131804"/>
                    <a:pt x="1844413" y="3092509"/>
                  </a:cubicBezTo>
                  <a:cubicBezTo>
                    <a:pt x="1824085" y="3091559"/>
                    <a:pt x="1807569" y="3090925"/>
                    <a:pt x="1806934" y="3090925"/>
                  </a:cubicBezTo>
                  <a:cubicBezTo>
                    <a:pt x="1806934" y="3090925"/>
                    <a:pt x="1806934" y="3090925"/>
                    <a:pt x="1806934" y="3086488"/>
                  </a:cubicBezTo>
                  <a:cubicBezTo>
                    <a:pt x="1807887" y="3086488"/>
                    <a:pt x="1825038" y="3087122"/>
                    <a:pt x="1845683" y="3088073"/>
                  </a:cubicBezTo>
                  <a:cubicBezTo>
                    <a:pt x="1845683" y="3088073"/>
                    <a:pt x="1845683" y="3088073"/>
                    <a:pt x="1860929" y="3046560"/>
                  </a:cubicBezTo>
                  <a:cubicBezTo>
                    <a:pt x="1860929" y="3046560"/>
                    <a:pt x="1860929" y="3046560"/>
                    <a:pt x="1811380" y="3038638"/>
                  </a:cubicBezTo>
                  <a:close/>
                  <a:moveTo>
                    <a:pt x="2059440" y="3036103"/>
                  </a:moveTo>
                  <a:cubicBezTo>
                    <a:pt x="2059440" y="3036103"/>
                    <a:pt x="2059440" y="3036103"/>
                    <a:pt x="2037842" y="3099164"/>
                  </a:cubicBezTo>
                  <a:cubicBezTo>
                    <a:pt x="2037842" y="3099164"/>
                    <a:pt x="2037842" y="3099164"/>
                    <a:pt x="2079768" y="3109304"/>
                  </a:cubicBezTo>
                  <a:lnTo>
                    <a:pt x="2101366" y="3045293"/>
                  </a:lnTo>
                  <a:cubicBezTo>
                    <a:pt x="2101366" y="3045293"/>
                    <a:pt x="2101366" y="3045293"/>
                    <a:pt x="2059440" y="3036103"/>
                  </a:cubicBezTo>
                  <a:close/>
                  <a:moveTo>
                    <a:pt x="573937" y="3034519"/>
                  </a:moveTo>
                  <a:cubicBezTo>
                    <a:pt x="573937" y="3034519"/>
                    <a:pt x="573937" y="3034519"/>
                    <a:pt x="581560" y="3048145"/>
                  </a:cubicBezTo>
                  <a:cubicBezTo>
                    <a:pt x="581560" y="3048145"/>
                    <a:pt x="581560" y="3048145"/>
                    <a:pt x="579337" y="3068743"/>
                  </a:cubicBezTo>
                  <a:lnTo>
                    <a:pt x="512319" y="3104234"/>
                  </a:lnTo>
                  <a:cubicBezTo>
                    <a:pt x="512319" y="3104234"/>
                    <a:pt x="512319" y="3104234"/>
                    <a:pt x="502473" y="3091242"/>
                  </a:cubicBezTo>
                  <a:cubicBezTo>
                    <a:pt x="502473" y="3091242"/>
                    <a:pt x="502473" y="3091242"/>
                    <a:pt x="503426" y="3072545"/>
                  </a:cubicBezTo>
                  <a:cubicBezTo>
                    <a:pt x="503426" y="3072545"/>
                    <a:pt x="503426" y="3072545"/>
                    <a:pt x="573937" y="3034519"/>
                  </a:cubicBezTo>
                  <a:close/>
                  <a:moveTo>
                    <a:pt x="2051182" y="3034202"/>
                  </a:moveTo>
                  <a:cubicBezTo>
                    <a:pt x="2043242" y="3057335"/>
                    <a:pt x="2036254" y="3078566"/>
                    <a:pt x="2029902" y="3097262"/>
                  </a:cubicBezTo>
                  <a:cubicBezTo>
                    <a:pt x="2029902" y="3097262"/>
                    <a:pt x="2029902" y="3097262"/>
                    <a:pt x="2033713" y="3098213"/>
                  </a:cubicBezTo>
                  <a:cubicBezTo>
                    <a:pt x="2033713" y="3098213"/>
                    <a:pt x="2033713" y="3098213"/>
                    <a:pt x="2055312" y="3035152"/>
                  </a:cubicBezTo>
                  <a:close/>
                  <a:moveTo>
                    <a:pt x="40020" y="3030082"/>
                  </a:moveTo>
                  <a:cubicBezTo>
                    <a:pt x="40020" y="3030082"/>
                    <a:pt x="40020" y="3030082"/>
                    <a:pt x="24139" y="3038321"/>
                  </a:cubicBezTo>
                  <a:cubicBezTo>
                    <a:pt x="24139" y="3038321"/>
                    <a:pt x="24139" y="3038321"/>
                    <a:pt x="46373" y="3080784"/>
                  </a:cubicBezTo>
                  <a:lnTo>
                    <a:pt x="62254" y="3072545"/>
                  </a:lnTo>
                  <a:cubicBezTo>
                    <a:pt x="62254" y="3072545"/>
                    <a:pt x="62254" y="3072545"/>
                    <a:pt x="40020" y="3030082"/>
                  </a:cubicBezTo>
                  <a:close/>
                  <a:moveTo>
                    <a:pt x="1354327" y="3026913"/>
                  </a:moveTo>
                  <a:cubicBezTo>
                    <a:pt x="1341305" y="3035469"/>
                    <a:pt x="1303826" y="3059553"/>
                    <a:pt x="1266982" y="3083319"/>
                  </a:cubicBezTo>
                  <a:cubicBezTo>
                    <a:pt x="1230456" y="3107086"/>
                    <a:pt x="1194247" y="3130536"/>
                    <a:pt x="1181542" y="3138775"/>
                  </a:cubicBezTo>
                  <a:cubicBezTo>
                    <a:pt x="1181542" y="3138775"/>
                    <a:pt x="1181542" y="3138775"/>
                    <a:pt x="1212987" y="3227820"/>
                  </a:cubicBezTo>
                  <a:cubicBezTo>
                    <a:pt x="1212987" y="3227820"/>
                    <a:pt x="1212987" y="3227820"/>
                    <a:pt x="1290486" y="3277889"/>
                  </a:cubicBezTo>
                  <a:cubicBezTo>
                    <a:pt x="1290486" y="3277889"/>
                    <a:pt x="1290486" y="3277889"/>
                    <a:pt x="1290168" y="3278522"/>
                  </a:cubicBezTo>
                  <a:cubicBezTo>
                    <a:pt x="1342893" y="3262995"/>
                    <a:pt x="1397523" y="3247467"/>
                    <a:pt x="1449613" y="3233841"/>
                  </a:cubicBezTo>
                  <a:close/>
                  <a:moveTo>
                    <a:pt x="41608" y="3024061"/>
                  </a:moveTo>
                  <a:cubicBezTo>
                    <a:pt x="41608" y="3024061"/>
                    <a:pt x="41608" y="3024061"/>
                    <a:pt x="68288" y="3074447"/>
                  </a:cubicBezTo>
                  <a:cubicBezTo>
                    <a:pt x="68288" y="3074447"/>
                    <a:pt x="68288" y="3074447"/>
                    <a:pt x="44467" y="3086805"/>
                  </a:cubicBezTo>
                  <a:cubicBezTo>
                    <a:pt x="44467" y="3086805"/>
                    <a:pt x="44467" y="3086805"/>
                    <a:pt x="18105" y="3036737"/>
                  </a:cubicBezTo>
                  <a:close/>
                  <a:moveTo>
                    <a:pt x="1135805" y="3022160"/>
                  </a:moveTo>
                  <a:cubicBezTo>
                    <a:pt x="1135805" y="3022160"/>
                    <a:pt x="1135805" y="3022160"/>
                    <a:pt x="1130088" y="3102650"/>
                  </a:cubicBezTo>
                  <a:lnTo>
                    <a:pt x="1158674" y="3089974"/>
                  </a:lnTo>
                  <a:cubicBezTo>
                    <a:pt x="1158674" y="3089974"/>
                    <a:pt x="1158674" y="3089974"/>
                    <a:pt x="1135805" y="3022160"/>
                  </a:cubicBezTo>
                  <a:close/>
                  <a:moveTo>
                    <a:pt x="723854" y="3021843"/>
                  </a:moveTo>
                  <a:cubicBezTo>
                    <a:pt x="723854" y="3021843"/>
                    <a:pt x="723854" y="3021843"/>
                    <a:pt x="709878" y="3189477"/>
                  </a:cubicBezTo>
                  <a:cubicBezTo>
                    <a:pt x="717184" y="3191378"/>
                    <a:pt x="744816" y="3198033"/>
                    <a:pt x="777849" y="3198983"/>
                  </a:cubicBezTo>
                  <a:cubicBezTo>
                    <a:pt x="779437" y="3199300"/>
                    <a:pt x="781343" y="3199300"/>
                    <a:pt x="783248" y="3199300"/>
                  </a:cubicBezTo>
                  <a:cubicBezTo>
                    <a:pt x="801035" y="3199300"/>
                    <a:pt x="818186" y="3196448"/>
                    <a:pt x="830891" y="3193596"/>
                  </a:cubicBezTo>
                  <a:cubicBezTo>
                    <a:pt x="837879" y="3192012"/>
                    <a:pt x="843596" y="3190428"/>
                    <a:pt x="847090" y="3189477"/>
                  </a:cubicBezTo>
                  <a:cubicBezTo>
                    <a:pt x="844866" y="3187892"/>
                    <a:pt x="842325" y="3186308"/>
                    <a:pt x="839467" y="3184407"/>
                  </a:cubicBezTo>
                  <a:cubicBezTo>
                    <a:pt x="836608" y="3182505"/>
                    <a:pt x="833750" y="3180604"/>
                    <a:pt x="831526" y="3179020"/>
                  </a:cubicBezTo>
                  <a:cubicBezTo>
                    <a:pt x="830256" y="3178386"/>
                    <a:pt x="829303" y="3177752"/>
                    <a:pt x="828668" y="3177435"/>
                  </a:cubicBezTo>
                  <a:cubicBezTo>
                    <a:pt x="828668" y="3177435"/>
                    <a:pt x="828350" y="3177118"/>
                    <a:pt x="828350" y="3177118"/>
                  </a:cubicBezTo>
                  <a:cubicBezTo>
                    <a:pt x="798812" y="3173949"/>
                    <a:pt x="774673" y="3153352"/>
                    <a:pt x="774673" y="3153352"/>
                  </a:cubicBezTo>
                  <a:cubicBezTo>
                    <a:pt x="774673" y="3153352"/>
                    <a:pt x="774673" y="3153352"/>
                    <a:pt x="774037" y="3152718"/>
                  </a:cubicBezTo>
                  <a:cubicBezTo>
                    <a:pt x="774037" y="3152718"/>
                    <a:pt x="774037" y="3152718"/>
                    <a:pt x="731476" y="3023428"/>
                  </a:cubicBezTo>
                  <a:cubicBezTo>
                    <a:pt x="731476" y="3023428"/>
                    <a:pt x="731476" y="3023428"/>
                    <a:pt x="723854" y="3021843"/>
                  </a:cubicBezTo>
                  <a:close/>
                  <a:moveTo>
                    <a:pt x="1733564" y="3020259"/>
                  </a:moveTo>
                  <a:lnTo>
                    <a:pt x="1731023" y="3034836"/>
                  </a:lnTo>
                  <a:cubicBezTo>
                    <a:pt x="1731023" y="3034836"/>
                    <a:pt x="1731023" y="3034836"/>
                    <a:pt x="1770408" y="3041490"/>
                  </a:cubicBezTo>
                  <a:cubicBezTo>
                    <a:pt x="1770408" y="3041490"/>
                    <a:pt x="1770408" y="3041490"/>
                    <a:pt x="1772631" y="3027230"/>
                  </a:cubicBezTo>
                  <a:cubicBezTo>
                    <a:pt x="1772631" y="3027230"/>
                    <a:pt x="1772631" y="3027230"/>
                    <a:pt x="1733564" y="3020259"/>
                  </a:cubicBezTo>
                  <a:close/>
                  <a:moveTo>
                    <a:pt x="44149" y="3017724"/>
                  </a:moveTo>
                  <a:cubicBezTo>
                    <a:pt x="44149" y="3017724"/>
                    <a:pt x="44149" y="3017724"/>
                    <a:pt x="15246" y="3025329"/>
                  </a:cubicBezTo>
                  <a:cubicBezTo>
                    <a:pt x="14611" y="3029448"/>
                    <a:pt x="12705" y="3040223"/>
                    <a:pt x="10482" y="3051314"/>
                  </a:cubicBezTo>
                  <a:cubicBezTo>
                    <a:pt x="8258" y="3063989"/>
                    <a:pt x="5717" y="3077932"/>
                    <a:pt x="5400" y="3082052"/>
                  </a:cubicBezTo>
                  <a:cubicBezTo>
                    <a:pt x="8894" y="3084587"/>
                    <a:pt x="18422" y="3093777"/>
                    <a:pt x="27951" y="3102650"/>
                  </a:cubicBezTo>
                  <a:cubicBezTo>
                    <a:pt x="32715" y="3107403"/>
                    <a:pt x="37479" y="3111839"/>
                    <a:pt x="41291" y="3115008"/>
                  </a:cubicBezTo>
                  <a:cubicBezTo>
                    <a:pt x="42879" y="3116593"/>
                    <a:pt x="44467" y="3118177"/>
                    <a:pt x="45420" y="3119128"/>
                  </a:cubicBezTo>
                  <a:cubicBezTo>
                    <a:pt x="45737" y="3119128"/>
                    <a:pt x="46055" y="3119445"/>
                    <a:pt x="46055" y="3119762"/>
                  </a:cubicBezTo>
                  <a:cubicBezTo>
                    <a:pt x="49549" y="3118177"/>
                    <a:pt x="59395" y="3112790"/>
                    <a:pt x="68606" y="3107403"/>
                  </a:cubicBezTo>
                  <a:cubicBezTo>
                    <a:pt x="75911" y="3103284"/>
                    <a:pt x="83216" y="3099164"/>
                    <a:pt x="86710" y="3097262"/>
                  </a:cubicBezTo>
                  <a:cubicBezTo>
                    <a:pt x="86710" y="3097262"/>
                    <a:pt x="86710" y="3097262"/>
                    <a:pt x="44149" y="3017724"/>
                  </a:cubicBezTo>
                  <a:close/>
                  <a:moveTo>
                    <a:pt x="2338945" y="3015822"/>
                  </a:moveTo>
                  <a:cubicBezTo>
                    <a:pt x="2338945" y="3015822"/>
                    <a:pt x="2338945" y="3015822"/>
                    <a:pt x="2304960" y="3082686"/>
                  </a:cubicBezTo>
                  <a:cubicBezTo>
                    <a:pt x="2304960" y="3082686"/>
                    <a:pt x="2304960" y="3082686"/>
                    <a:pt x="2293526" y="3090291"/>
                  </a:cubicBezTo>
                  <a:cubicBezTo>
                    <a:pt x="2308454" y="3100431"/>
                    <a:pt x="2343074" y="3123564"/>
                    <a:pt x="2377694" y="3146697"/>
                  </a:cubicBezTo>
                  <a:cubicBezTo>
                    <a:pt x="2400881" y="3162225"/>
                    <a:pt x="2424067" y="3177752"/>
                    <a:pt x="2441536" y="3189477"/>
                  </a:cubicBezTo>
                  <a:cubicBezTo>
                    <a:pt x="2450429" y="3195181"/>
                    <a:pt x="2457734" y="3200251"/>
                    <a:pt x="2463134" y="3203420"/>
                  </a:cubicBezTo>
                  <a:cubicBezTo>
                    <a:pt x="2464404" y="3204371"/>
                    <a:pt x="2465358" y="3205004"/>
                    <a:pt x="2466310" y="3205638"/>
                  </a:cubicBezTo>
                  <a:cubicBezTo>
                    <a:pt x="2468534" y="3198983"/>
                    <a:pt x="2470439" y="3192329"/>
                    <a:pt x="2472345" y="3185991"/>
                  </a:cubicBezTo>
                  <a:cubicBezTo>
                    <a:pt x="2477744" y="3166978"/>
                    <a:pt x="2482826" y="3151133"/>
                    <a:pt x="2486320" y="3140042"/>
                  </a:cubicBezTo>
                  <a:cubicBezTo>
                    <a:pt x="2487908" y="3134338"/>
                    <a:pt x="2489496" y="3129902"/>
                    <a:pt x="2490767" y="3126733"/>
                  </a:cubicBezTo>
                  <a:cubicBezTo>
                    <a:pt x="2491402" y="3125149"/>
                    <a:pt x="2491720" y="3123881"/>
                    <a:pt x="2492355" y="3122931"/>
                  </a:cubicBezTo>
                  <a:cubicBezTo>
                    <a:pt x="2492355" y="3122297"/>
                    <a:pt x="2492673" y="3121663"/>
                    <a:pt x="2493308" y="3121029"/>
                  </a:cubicBezTo>
                  <a:cubicBezTo>
                    <a:pt x="2493308" y="3120712"/>
                    <a:pt x="2493626" y="3120395"/>
                    <a:pt x="2494261" y="3119762"/>
                  </a:cubicBezTo>
                  <a:cubicBezTo>
                    <a:pt x="2494578" y="3119445"/>
                    <a:pt x="2494896" y="3119128"/>
                    <a:pt x="2495214" y="3119128"/>
                  </a:cubicBezTo>
                  <a:cubicBezTo>
                    <a:pt x="2495214" y="3118811"/>
                    <a:pt x="2495849" y="3117860"/>
                    <a:pt x="2496166" y="3117544"/>
                  </a:cubicBezTo>
                  <a:cubicBezTo>
                    <a:pt x="2496166" y="3117544"/>
                    <a:pt x="2496166" y="3117544"/>
                    <a:pt x="2338945" y="3015822"/>
                  </a:cubicBezTo>
                  <a:close/>
                  <a:moveTo>
                    <a:pt x="1730070" y="3015822"/>
                  </a:moveTo>
                  <a:cubicBezTo>
                    <a:pt x="1730070" y="3015822"/>
                    <a:pt x="1730070" y="3015822"/>
                    <a:pt x="1777395" y="3024061"/>
                  </a:cubicBezTo>
                  <a:cubicBezTo>
                    <a:pt x="1777395" y="3024061"/>
                    <a:pt x="1777395" y="3024061"/>
                    <a:pt x="1773584" y="3046244"/>
                  </a:cubicBezTo>
                  <a:cubicBezTo>
                    <a:pt x="1773584" y="3046244"/>
                    <a:pt x="1773584" y="3046244"/>
                    <a:pt x="1771678" y="3045927"/>
                  </a:cubicBezTo>
                  <a:cubicBezTo>
                    <a:pt x="1771678" y="3045927"/>
                    <a:pt x="1771678" y="3045927"/>
                    <a:pt x="1726259" y="3038004"/>
                  </a:cubicBezTo>
                  <a:close/>
                  <a:moveTo>
                    <a:pt x="719725" y="3015822"/>
                  </a:moveTo>
                  <a:cubicBezTo>
                    <a:pt x="719725" y="3015822"/>
                    <a:pt x="719725" y="3015822"/>
                    <a:pt x="734970" y="3019625"/>
                  </a:cubicBezTo>
                  <a:cubicBezTo>
                    <a:pt x="734970" y="3019625"/>
                    <a:pt x="734970" y="3019625"/>
                    <a:pt x="778166" y="3150183"/>
                  </a:cubicBezTo>
                  <a:cubicBezTo>
                    <a:pt x="779754" y="3151450"/>
                    <a:pt x="785154" y="3155570"/>
                    <a:pt x="793094" y="3160006"/>
                  </a:cubicBezTo>
                  <a:cubicBezTo>
                    <a:pt x="802305" y="3165393"/>
                    <a:pt x="815328" y="3171097"/>
                    <a:pt x="828985" y="3172365"/>
                  </a:cubicBezTo>
                  <a:cubicBezTo>
                    <a:pt x="829938" y="3172682"/>
                    <a:pt x="829938" y="3172682"/>
                    <a:pt x="829938" y="3172682"/>
                  </a:cubicBezTo>
                  <a:cubicBezTo>
                    <a:pt x="830891" y="3172999"/>
                    <a:pt x="853760" y="3188209"/>
                    <a:pt x="853760" y="3188209"/>
                  </a:cubicBezTo>
                  <a:cubicBezTo>
                    <a:pt x="853760" y="3188209"/>
                    <a:pt x="853760" y="3188209"/>
                    <a:pt x="857571" y="3190744"/>
                  </a:cubicBezTo>
                  <a:cubicBezTo>
                    <a:pt x="857571" y="3190744"/>
                    <a:pt x="857571" y="3190744"/>
                    <a:pt x="853124" y="3192329"/>
                  </a:cubicBezTo>
                  <a:cubicBezTo>
                    <a:pt x="853124" y="3192329"/>
                    <a:pt x="820092" y="3203737"/>
                    <a:pt x="783248" y="3203737"/>
                  </a:cubicBezTo>
                  <a:cubicBezTo>
                    <a:pt x="781343" y="3203737"/>
                    <a:pt x="779437" y="3203737"/>
                    <a:pt x="777531" y="3203737"/>
                  </a:cubicBezTo>
                  <a:cubicBezTo>
                    <a:pt x="738464" y="3202469"/>
                    <a:pt x="706702" y="3193596"/>
                    <a:pt x="706702" y="3193596"/>
                  </a:cubicBezTo>
                  <a:cubicBezTo>
                    <a:pt x="706702" y="3193596"/>
                    <a:pt x="706702" y="3193596"/>
                    <a:pt x="704796" y="3192963"/>
                  </a:cubicBezTo>
                  <a:cubicBezTo>
                    <a:pt x="704796" y="3192963"/>
                    <a:pt x="704796" y="3192963"/>
                    <a:pt x="719725" y="3015822"/>
                  </a:cubicBezTo>
                  <a:close/>
                  <a:moveTo>
                    <a:pt x="2228096" y="3011703"/>
                  </a:moveTo>
                  <a:cubicBezTo>
                    <a:pt x="2228096" y="3011703"/>
                    <a:pt x="2228096" y="3011703"/>
                    <a:pt x="2210310" y="3067158"/>
                  </a:cubicBezTo>
                  <a:lnTo>
                    <a:pt x="2258270" y="3089657"/>
                  </a:lnTo>
                  <a:cubicBezTo>
                    <a:pt x="2258270" y="3089657"/>
                    <a:pt x="2258270" y="3089657"/>
                    <a:pt x="2288761" y="3068426"/>
                  </a:cubicBezTo>
                  <a:cubicBezTo>
                    <a:pt x="2288761" y="3068426"/>
                    <a:pt x="2288761" y="3068426"/>
                    <a:pt x="2301148" y="3044342"/>
                  </a:cubicBezTo>
                  <a:cubicBezTo>
                    <a:pt x="2301148" y="3044342"/>
                    <a:pt x="2301148" y="3044342"/>
                    <a:pt x="2228096" y="3011703"/>
                  </a:cubicBezTo>
                  <a:close/>
                  <a:moveTo>
                    <a:pt x="1925405" y="3010119"/>
                  </a:moveTo>
                  <a:cubicBezTo>
                    <a:pt x="1925405" y="3010119"/>
                    <a:pt x="1925405" y="3010119"/>
                    <a:pt x="1911113" y="3050046"/>
                  </a:cubicBezTo>
                  <a:lnTo>
                    <a:pt x="1933981" y="3053849"/>
                  </a:lnTo>
                  <a:cubicBezTo>
                    <a:pt x="1933981" y="3053849"/>
                    <a:pt x="1933981" y="3053849"/>
                    <a:pt x="1948274" y="3013604"/>
                  </a:cubicBezTo>
                  <a:cubicBezTo>
                    <a:pt x="1948274" y="3013604"/>
                    <a:pt x="1948274" y="3013604"/>
                    <a:pt x="1925405" y="3010119"/>
                  </a:cubicBezTo>
                  <a:close/>
                  <a:moveTo>
                    <a:pt x="1136440" y="3009801"/>
                  </a:moveTo>
                  <a:cubicBezTo>
                    <a:pt x="1136440" y="3009801"/>
                    <a:pt x="1136440" y="3009801"/>
                    <a:pt x="1164391" y="3092509"/>
                  </a:cubicBezTo>
                  <a:lnTo>
                    <a:pt x="1162485" y="3093460"/>
                  </a:lnTo>
                  <a:cubicBezTo>
                    <a:pt x="1162485" y="3093460"/>
                    <a:pt x="1162485" y="3093460"/>
                    <a:pt x="1125006" y="3109938"/>
                  </a:cubicBezTo>
                  <a:cubicBezTo>
                    <a:pt x="1125006" y="3109938"/>
                    <a:pt x="1125006" y="3109938"/>
                    <a:pt x="1131994" y="3010119"/>
                  </a:cubicBezTo>
                  <a:cubicBezTo>
                    <a:pt x="1131994" y="3010119"/>
                    <a:pt x="1131994" y="3010119"/>
                    <a:pt x="1136440" y="3009801"/>
                  </a:cubicBezTo>
                  <a:close/>
                  <a:moveTo>
                    <a:pt x="1880939" y="3003147"/>
                  </a:moveTo>
                  <a:cubicBezTo>
                    <a:pt x="1880939" y="3003147"/>
                    <a:pt x="1880939" y="3003147"/>
                    <a:pt x="1866646" y="3042758"/>
                  </a:cubicBezTo>
                  <a:lnTo>
                    <a:pt x="1906666" y="3049412"/>
                  </a:lnTo>
                  <a:cubicBezTo>
                    <a:pt x="1906666" y="3049412"/>
                    <a:pt x="1906666" y="3049412"/>
                    <a:pt x="1921276" y="3009485"/>
                  </a:cubicBezTo>
                  <a:cubicBezTo>
                    <a:pt x="1921276" y="3009485"/>
                    <a:pt x="1921276" y="3009485"/>
                    <a:pt x="1880939" y="3003147"/>
                  </a:cubicBezTo>
                  <a:close/>
                  <a:moveTo>
                    <a:pt x="1723718" y="3001879"/>
                  </a:moveTo>
                  <a:cubicBezTo>
                    <a:pt x="1723718" y="3003781"/>
                    <a:pt x="1724353" y="3005682"/>
                    <a:pt x="1724353" y="3007583"/>
                  </a:cubicBezTo>
                  <a:cubicBezTo>
                    <a:pt x="1724670" y="3011703"/>
                    <a:pt x="1724988" y="3017090"/>
                    <a:pt x="1724988" y="3022794"/>
                  </a:cubicBezTo>
                  <a:cubicBezTo>
                    <a:pt x="1724988" y="3030082"/>
                    <a:pt x="1724670" y="3038955"/>
                    <a:pt x="1724353" y="3048145"/>
                  </a:cubicBezTo>
                  <a:cubicBezTo>
                    <a:pt x="1724353" y="3048145"/>
                    <a:pt x="1724353" y="3048145"/>
                    <a:pt x="1802169" y="3055117"/>
                  </a:cubicBezTo>
                  <a:lnTo>
                    <a:pt x="1813286" y="3016456"/>
                  </a:lnTo>
                  <a:cubicBezTo>
                    <a:pt x="1798676" y="3014555"/>
                    <a:pt x="1742140" y="3005048"/>
                    <a:pt x="1723718" y="3001879"/>
                  </a:cubicBezTo>
                  <a:close/>
                  <a:moveTo>
                    <a:pt x="2619085" y="2993006"/>
                  </a:moveTo>
                  <a:cubicBezTo>
                    <a:pt x="2619085" y="2993006"/>
                    <a:pt x="2619085" y="2993006"/>
                    <a:pt x="2605745" y="3013604"/>
                  </a:cubicBezTo>
                  <a:cubicBezTo>
                    <a:pt x="2605745" y="3013604"/>
                    <a:pt x="2605745" y="3013604"/>
                    <a:pt x="2623849" y="3023428"/>
                  </a:cubicBezTo>
                  <a:cubicBezTo>
                    <a:pt x="2623849" y="3023428"/>
                    <a:pt x="2623849" y="3023428"/>
                    <a:pt x="2598757" y="3069059"/>
                  </a:cubicBezTo>
                  <a:cubicBezTo>
                    <a:pt x="2598757" y="3069059"/>
                    <a:pt x="2598757" y="3069059"/>
                    <a:pt x="2611780" y="3076348"/>
                  </a:cubicBezTo>
                  <a:cubicBezTo>
                    <a:pt x="2611780" y="3076348"/>
                    <a:pt x="2611780" y="3076348"/>
                    <a:pt x="2637507" y="3032934"/>
                  </a:cubicBezTo>
                  <a:cubicBezTo>
                    <a:pt x="2637507" y="3032934"/>
                    <a:pt x="2637507" y="3032934"/>
                    <a:pt x="2665140" y="3048462"/>
                  </a:cubicBezTo>
                  <a:cubicBezTo>
                    <a:pt x="2665140" y="3048462"/>
                    <a:pt x="2665140" y="3048462"/>
                    <a:pt x="2614003" y="3135606"/>
                  </a:cubicBezTo>
                  <a:cubicBezTo>
                    <a:pt x="2614003" y="3135606"/>
                    <a:pt x="2614003" y="3135606"/>
                    <a:pt x="2630519" y="3145746"/>
                  </a:cubicBezTo>
                  <a:cubicBezTo>
                    <a:pt x="2630519" y="3145746"/>
                    <a:pt x="2630519" y="3145746"/>
                    <a:pt x="2673398" y="3071911"/>
                  </a:cubicBezTo>
                  <a:cubicBezTo>
                    <a:pt x="2673398" y="3071911"/>
                    <a:pt x="2673398" y="3071911"/>
                    <a:pt x="2720405" y="3099164"/>
                  </a:cubicBezTo>
                  <a:cubicBezTo>
                    <a:pt x="2720405" y="3099164"/>
                    <a:pt x="2720405" y="3099164"/>
                    <a:pt x="2677844" y="3173316"/>
                  </a:cubicBezTo>
                  <a:cubicBezTo>
                    <a:pt x="2677844" y="3173316"/>
                    <a:pt x="2677844" y="3173316"/>
                    <a:pt x="2707700" y="3189794"/>
                  </a:cubicBezTo>
                  <a:lnTo>
                    <a:pt x="2735651" y="3140359"/>
                  </a:lnTo>
                  <a:cubicBezTo>
                    <a:pt x="2735651" y="3140359"/>
                    <a:pt x="2735651" y="3140359"/>
                    <a:pt x="2718500" y="3129268"/>
                  </a:cubicBezTo>
                  <a:cubicBezTo>
                    <a:pt x="2718500" y="3129268"/>
                    <a:pt x="2718500" y="3129268"/>
                    <a:pt x="2755026" y="3060820"/>
                  </a:cubicBezTo>
                  <a:cubicBezTo>
                    <a:pt x="2755026" y="3060820"/>
                    <a:pt x="2755026" y="3060820"/>
                    <a:pt x="2774718" y="3072228"/>
                  </a:cubicBezTo>
                  <a:cubicBezTo>
                    <a:pt x="2774718" y="3072228"/>
                    <a:pt x="2774718" y="3072228"/>
                    <a:pt x="2787740" y="3050363"/>
                  </a:cubicBezTo>
                  <a:cubicBezTo>
                    <a:pt x="2787740" y="3050363"/>
                    <a:pt x="2787740" y="3050363"/>
                    <a:pt x="2695314" y="2996492"/>
                  </a:cubicBezTo>
                  <a:cubicBezTo>
                    <a:pt x="2695314" y="2996492"/>
                    <a:pt x="2695314" y="2996492"/>
                    <a:pt x="2676892" y="3024379"/>
                  </a:cubicBezTo>
                  <a:cubicBezTo>
                    <a:pt x="2676892" y="3024379"/>
                    <a:pt x="2676892" y="3024379"/>
                    <a:pt x="2619085" y="2993006"/>
                  </a:cubicBezTo>
                  <a:close/>
                  <a:moveTo>
                    <a:pt x="399565" y="2992689"/>
                  </a:moveTo>
                  <a:lnTo>
                    <a:pt x="370661" y="3007583"/>
                  </a:lnTo>
                  <a:cubicBezTo>
                    <a:pt x="372250" y="3010752"/>
                    <a:pt x="373520" y="3013604"/>
                    <a:pt x="374473" y="3015506"/>
                  </a:cubicBezTo>
                  <a:cubicBezTo>
                    <a:pt x="374790" y="3015822"/>
                    <a:pt x="374790" y="3016139"/>
                    <a:pt x="375108" y="3016773"/>
                  </a:cubicBezTo>
                  <a:cubicBezTo>
                    <a:pt x="375108" y="3016773"/>
                    <a:pt x="375108" y="3016773"/>
                    <a:pt x="403694" y="3001245"/>
                  </a:cubicBezTo>
                  <a:cubicBezTo>
                    <a:pt x="403694" y="3001245"/>
                    <a:pt x="403694" y="3001245"/>
                    <a:pt x="399565" y="2992689"/>
                  </a:cubicBezTo>
                  <a:close/>
                  <a:moveTo>
                    <a:pt x="1661147" y="2991105"/>
                  </a:moveTo>
                  <a:lnTo>
                    <a:pt x="1661147" y="3005365"/>
                  </a:lnTo>
                  <a:cubicBezTo>
                    <a:pt x="1661147" y="3005365"/>
                    <a:pt x="1661147" y="3005365"/>
                    <a:pt x="1641454" y="3005365"/>
                  </a:cubicBezTo>
                  <a:cubicBezTo>
                    <a:pt x="1641454" y="3005365"/>
                    <a:pt x="1641454" y="3005365"/>
                    <a:pt x="1641454" y="3025963"/>
                  </a:cubicBezTo>
                  <a:cubicBezTo>
                    <a:pt x="1641454" y="3025963"/>
                    <a:pt x="1641454" y="3025963"/>
                    <a:pt x="1661147" y="3025963"/>
                  </a:cubicBezTo>
                  <a:cubicBezTo>
                    <a:pt x="1661147" y="3025963"/>
                    <a:pt x="1661147" y="3025963"/>
                    <a:pt x="1660829" y="3040223"/>
                  </a:cubicBezTo>
                  <a:cubicBezTo>
                    <a:pt x="1660829" y="3040223"/>
                    <a:pt x="1660829" y="3040223"/>
                    <a:pt x="1682427" y="3040540"/>
                  </a:cubicBezTo>
                  <a:cubicBezTo>
                    <a:pt x="1682427" y="3040540"/>
                    <a:pt x="1682427" y="3040540"/>
                    <a:pt x="1682745" y="2991422"/>
                  </a:cubicBezTo>
                  <a:cubicBezTo>
                    <a:pt x="1682745" y="2991422"/>
                    <a:pt x="1682745" y="2991422"/>
                    <a:pt x="1661147" y="2991105"/>
                  </a:cubicBezTo>
                  <a:close/>
                  <a:moveTo>
                    <a:pt x="670176" y="2988570"/>
                  </a:moveTo>
                  <a:cubicBezTo>
                    <a:pt x="670176" y="2988570"/>
                    <a:pt x="670176" y="2988570"/>
                    <a:pt x="592995" y="3029448"/>
                  </a:cubicBezTo>
                  <a:cubicBezTo>
                    <a:pt x="592995" y="3029448"/>
                    <a:pt x="592995" y="3029448"/>
                    <a:pt x="596488" y="3035786"/>
                  </a:cubicBezTo>
                  <a:cubicBezTo>
                    <a:pt x="596488" y="3035786"/>
                    <a:pt x="596488" y="3035786"/>
                    <a:pt x="612687" y="3027864"/>
                  </a:cubicBezTo>
                  <a:cubicBezTo>
                    <a:pt x="612687" y="3027864"/>
                    <a:pt x="612687" y="3027864"/>
                    <a:pt x="619992" y="3024379"/>
                  </a:cubicBezTo>
                  <a:cubicBezTo>
                    <a:pt x="619992" y="3024379"/>
                    <a:pt x="619992" y="3024379"/>
                    <a:pt x="619039" y="3032300"/>
                  </a:cubicBezTo>
                  <a:cubicBezTo>
                    <a:pt x="619039" y="3032300"/>
                    <a:pt x="619039" y="3032300"/>
                    <a:pt x="608876" y="3119445"/>
                  </a:cubicBezTo>
                  <a:cubicBezTo>
                    <a:pt x="608876" y="3119445"/>
                    <a:pt x="608876" y="3119445"/>
                    <a:pt x="608558" y="3121980"/>
                  </a:cubicBezTo>
                  <a:cubicBezTo>
                    <a:pt x="608558" y="3121980"/>
                    <a:pt x="608558" y="3121980"/>
                    <a:pt x="606017" y="3122931"/>
                  </a:cubicBezTo>
                  <a:cubicBezTo>
                    <a:pt x="606017" y="3122931"/>
                    <a:pt x="606017" y="3122931"/>
                    <a:pt x="591724" y="3129268"/>
                  </a:cubicBezTo>
                  <a:cubicBezTo>
                    <a:pt x="591724" y="3129268"/>
                    <a:pt x="591724" y="3129268"/>
                    <a:pt x="637461" y="3147648"/>
                  </a:cubicBezTo>
                  <a:cubicBezTo>
                    <a:pt x="637461" y="3147648"/>
                    <a:pt x="637461" y="3147648"/>
                    <a:pt x="652072" y="3141310"/>
                  </a:cubicBezTo>
                  <a:close/>
                  <a:moveTo>
                    <a:pt x="1657018" y="2986985"/>
                  </a:moveTo>
                  <a:cubicBezTo>
                    <a:pt x="1657018" y="2986985"/>
                    <a:pt x="1657018" y="2986985"/>
                    <a:pt x="1686874" y="2987302"/>
                  </a:cubicBezTo>
                  <a:cubicBezTo>
                    <a:pt x="1686874" y="2987302"/>
                    <a:pt x="1686874" y="2987302"/>
                    <a:pt x="1686556" y="3044659"/>
                  </a:cubicBezTo>
                  <a:cubicBezTo>
                    <a:pt x="1686556" y="3044659"/>
                    <a:pt x="1686556" y="3044659"/>
                    <a:pt x="1684333" y="3044659"/>
                  </a:cubicBezTo>
                  <a:cubicBezTo>
                    <a:pt x="1684333" y="3044659"/>
                    <a:pt x="1684333" y="3044659"/>
                    <a:pt x="1656700" y="3044342"/>
                  </a:cubicBezTo>
                  <a:cubicBezTo>
                    <a:pt x="1656700" y="3044342"/>
                    <a:pt x="1656700" y="3044342"/>
                    <a:pt x="1656700" y="3030082"/>
                  </a:cubicBezTo>
                  <a:cubicBezTo>
                    <a:pt x="1656700" y="3030082"/>
                    <a:pt x="1656700" y="3030082"/>
                    <a:pt x="1637008" y="3030082"/>
                  </a:cubicBezTo>
                  <a:cubicBezTo>
                    <a:pt x="1637008" y="3030082"/>
                    <a:pt x="1637008" y="3030082"/>
                    <a:pt x="1637325" y="3000929"/>
                  </a:cubicBezTo>
                  <a:cubicBezTo>
                    <a:pt x="1637325" y="3000929"/>
                    <a:pt x="1637325" y="3000929"/>
                    <a:pt x="1657018" y="3001245"/>
                  </a:cubicBezTo>
                  <a:close/>
                  <a:moveTo>
                    <a:pt x="2617497" y="2986669"/>
                  </a:moveTo>
                  <a:cubicBezTo>
                    <a:pt x="2617497" y="2986669"/>
                    <a:pt x="2617497" y="2986669"/>
                    <a:pt x="2619402" y="2987936"/>
                  </a:cubicBezTo>
                  <a:cubicBezTo>
                    <a:pt x="2619402" y="2987936"/>
                    <a:pt x="2619402" y="2987936"/>
                    <a:pt x="2675304" y="3018357"/>
                  </a:cubicBezTo>
                  <a:cubicBezTo>
                    <a:pt x="2675304" y="3018357"/>
                    <a:pt x="2675304" y="3018357"/>
                    <a:pt x="2693725" y="2990472"/>
                  </a:cubicBezTo>
                  <a:cubicBezTo>
                    <a:pt x="2693725" y="2990472"/>
                    <a:pt x="2693725" y="2990472"/>
                    <a:pt x="2794093" y="3048462"/>
                  </a:cubicBezTo>
                  <a:cubicBezTo>
                    <a:pt x="2794093" y="3048462"/>
                    <a:pt x="2794093" y="3048462"/>
                    <a:pt x="2776306" y="3078566"/>
                  </a:cubicBezTo>
                  <a:cubicBezTo>
                    <a:pt x="2776306" y="3078566"/>
                    <a:pt x="2776306" y="3078566"/>
                    <a:pt x="2756932" y="3067158"/>
                  </a:cubicBezTo>
                  <a:cubicBezTo>
                    <a:pt x="2756932" y="3067158"/>
                    <a:pt x="2756932" y="3067158"/>
                    <a:pt x="2724852" y="3127684"/>
                  </a:cubicBezTo>
                  <a:lnTo>
                    <a:pt x="2742004" y="3138775"/>
                  </a:lnTo>
                  <a:cubicBezTo>
                    <a:pt x="2742004" y="3138775"/>
                    <a:pt x="2742004" y="3138775"/>
                    <a:pt x="2709606" y="3196132"/>
                  </a:cubicBezTo>
                  <a:cubicBezTo>
                    <a:pt x="2709606" y="3196132"/>
                    <a:pt x="2709606" y="3196132"/>
                    <a:pt x="2671492" y="3174900"/>
                  </a:cubicBezTo>
                  <a:cubicBezTo>
                    <a:pt x="2671492" y="3174900"/>
                    <a:pt x="2671492" y="3174900"/>
                    <a:pt x="2714053" y="3101065"/>
                  </a:cubicBezTo>
                  <a:cubicBezTo>
                    <a:pt x="2714053" y="3101065"/>
                    <a:pt x="2714053" y="3101065"/>
                    <a:pt x="2674986" y="3078249"/>
                  </a:cubicBezTo>
                  <a:cubicBezTo>
                    <a:pt x="2674986" y="3078249"/>
                    <a:pt x="2674986" y="3078249"/>
                    <a:pt x="2632425" y="3152084"/>
                  </a:cubicBezTo>
                  <a:cubicBezTo>
                    <a:pt x="2632425" y="3152084"/>
                    <a:pt x="2632425" y="3152084"/>
                    <a:pt x="2607651" y="3137191"/>
                  </a:cubicBezTo>
                  <a:cubicBezTo>
                    <a:pt x="2607651" y="3137191"/>
                    <a:pt x="2607651" y="3137191"/>
                    <a:pt x="2658787" y="3050363"/>
                  </a:cubicBezTo>
                  <a:cubicBezTo>
                    <a:pt x="2658787" y="3050363"/>
                    <a:pt x="2658787" y="3050363"/>
                    <a:pt x="2639095" y="3039272"/>
                  </a:cubicBezTo>
                  <a:cubicBezTo>
                    <a:pt x="2639095" y="3039272"/>
                    <a:pt x="2639095" y="3039272"/>
                    <a:pt x="2613686" y="3082686"/>
                  </a:cubicBezTo>
                  <a:cubicBezTo>
                    <a:pt x="2613686" y="3082686"/>
                    <a:pt x="2613686" y="3082686"/>
                    <a:pt x="2592405" y="3070644"/>
                  </a:cubicBezTo>
                  <a:cubicBezTo>
                    <a:pt x="2592405" y="3070644"/>
                    <a:pt x="2592405" y="3070644"/>
                    <a:pt x="2617497" y="3025329"/>
                  </a:cubicBezTo>
                  <a:cubicBezTo>
                    <a:pt x="2617497" y="3025329"/>
                    <a:pt x="2617497" y="3025329"/>
                    <a:pt x="2599075" y="3015189"/>
                  </a:cubicBezTo>
                  <a:cubicBezTo>
                    <a:pt x="2599075" y="3015189"/>
                    <a:pt x="2599075" y="3015189"/>
                    <a:pt x="2617497" y="2986669"/>
                  </a:cubicBezTo>
                  <a:close/>
                  <a:moveTo>
                    <a:pt x="2126140" y="2985084"/>
                  </a:moveTo>
                  <a:lnTo>
                    <a:pt x="2106766" y="3042124"/>
                  </a:lnTo>
                  <a:cubicBezTo>
                    <a:pt x="2106766" y="3042124"/>
                    <a:pt x="2106766" y="3042124"/>
                    <a:pt x="2190617" y="3060504"/>
                  </a:cubicBezTo>
                  <a:cubicBezTo>
                    <a:pt x="2190617" y="3060504"/>
                    <a:pt x="2190617" y="3060504"/>
                    <a:pt x="2208404" y="3005048"/>
                  </a:cubicBezTo>
                  <a:cubicBezTo>
                    <a:pt x="2208404" y="3005048"/>
                    <a:pt x="2208404" y="3005048"/>
                    <a:pt x="2126140" y="2985084"/>
                  </a:cubicBezTo>
                  <a:close/>
                  <a:moveTo>
                    <a:pt x="675575" y="2980648"/>
                  </a:moveTo>
                  <a:cubicBezTo>
                    <a:pt x="675575" y="2980648"/>
                    <a:pt x="675575" y="2980648"/>
                    <a:pt x="656201" y="3144479"/>
                  </a:cubicBezTo>
                  <a:cubicBezTo>
                    <a:pt x="656201" y="3144479"/>
                    <a:pt x="656201" y="3144479"/>
                    <a:pt x="637779" y="3152401"/>
                  </a:cubicBezTo>
                  <a:cubicBezTo>
                    <a:pt x="637779" y="3152401"/>
                    <a:pt x="637779" y="3152401"/>
                    <a:pt x="580290" y="3129268"/>
                  </a:cubicBezTo>
                  <a:cubicBezTo>
                    <a:pt x="580290" y="3129268"/>
                    <a:pt x="580290" y="3129268"/>
                    <a:pt x="604429" y="3118811"/>
                  </a:cubicBezTo>
                  <a:cubicBezTo>
                    <a:pt x="604429" y="3118811"/>
                    <a:pt x="604429" y="3118811"/>
                    <a:pt x="614593" y="3031984"/>
                  </a:cubicBezTo>
                  <a:cubicBezTo>
                    <a:pt x="614593" y="3031984"/>
                    <a:pt x="614593" y="3031984"/>
                    <a:pt x="594583" y="3041490"/>
                  </a:cubicBezTo>
                  <a:lnTo>
                    <a:pt x="586960" y="3027547"/>
                  </a:lnTo>
                  <a:cubicBezTo>
                    <a:pt x="586960" y="3027547"/>
                    <a:pt x="586960" y="3027547"/>
                    <a:pt x="675575" y="2980648"/>
                  </a:cubicBezTo>
                  <a:close/>
                  <a:moveTo>
                    <a:pt x="173738" y="2978113"/>
                  </a:moveTo>
                  <a:cubicBezTo>
                    <a:pt x="172785" y="2979697"/>
                    <a:pt x="171832" y="2982232"/>
                    <a:pt x="171832" y="2985084"/>
                  </a:cubicBezTo>
                  <a:cubicBezTo>
                    <a:pt x="171832" y="2987936"/>
                    <a:pt x="172785" y="2990472"/>
                    <a:pt x="176279" y="2993323"/>
                  </a:cubicBezTo>
                  <a:cubicBezTo>
                    <a:pt x="186442" y="3000929"/>
                    <a:pt x="203276" y="3009485"/>
                    <a:pt x="207088" y="3025963"/>
                  </a:cubicBezTo>
                  <a:cubicBezTo>
                    <a:pt x="207405" y="3027864"/>
                    <a:pt x="207723" y="3029766"/>
                    <a:pt x="207723" y="3031667"/>
                  </a:cubicBezTo>
                  <a:cubicBezTo>
                    <a:pt x="207723" y="3043075"/>
                    <a:pt x="201053" y="3052898"/>
                    <a:pt x="198194" y="3056384"/>
                  </a:cubicBezTo>
                  <a:cubicBezTo>
                    <a:pt x="202959" y="3058602"/>
                    <a:pt x="216934" y="3064940"/>
                    <a:pt x="222333" y="3067158"/>
                  </a:cubicBezTo>
                  <a:cubicBezTo>
                    <a:pt x="224557" y="3068109"/>
                    <a:pt x="228368" y="3068743"/>
                    <a:pt x="233132" y="3068743"/>
                  </a:cubicBezTo>
                  <a:cubicBezTo>
                    <a:pt x="241073" y="3068743"/>
                    <a:pt x="251237" y="3066841"/>
                    <a:pt x="259812" y="3061137"/>
                  </a:cubicBezTo>
                  <a:cubicBezTo>
                    <a:pt x="273470" y="3052264"/>
                    <a:pt x="283316" y="3042758"/>
                    <a:pt x="287445" y="3035152"/>
                  </a:cubicBezTo>
                  <a:cubicBezTo>
                    <a:pt x="291574" y="3028181"/>
                    <a:pt x="294751" y="3021209"/>
                    <a:pt x="297927" y="3018674"/>
                  </a:cubicBezTo>
                  <a:cubicBezTo>
                    <a:pt x="297291" y="3017407"/>
                    <a:pt x="295703" y="3015822"/>
                    <a:pt x="291892" y="3015822"/>
                  </a:cubicBezTo>
                  <a:cubicBezTo>
                    <a:pt x="289669" y="3015822"/>
                    <a:pt x="286492" y="3016456"/>
                    <a:pt x="282046" y="3018674"/>
                  </a:cubicBezTo>
                  <a:cubicBezTo>
                    <a:pt x="269976" y="3024695"/>
                    <a:pt x="259495" y="3030716"/>
                    <a:pt x="251237" y="3030716"/>
                  </a:cubicBezTo>
                  <a:cubicBezTo>
                    <a:pt x="249013" y="3030716"/>
                    <a:pt x="246790" y="3030399"/>
                    <a:pt x="244884" y="3029132"/>
                  </a:cubicBezTo>
                  <a:cubicBezTo>
                    <a:pt x="237897" y="3024379"/>
                    <a:pt x="233450" y="3022160"/>
                    <a:pt x="231862" y="3012337"/>
                  </a:cubicBezTo>
                  <a:cubicBezTo>
                    <a:pt x="229956" y="3002830"/>
                    <a:pt x="227415" y="2994591"/>
                    <a:pt x="216616" y="2991739"/>
                  </a:cubicBezTo>
                  <a:cubicBezTo>
                    <a:pt x="205500" y="2988570"/>
                    <a:pt x="193430" y="2987936"/>
                    <a:pt x="189301" y="2986035"/>
                  </a:cubicBezTo>
                  <a:cubicBezTo>
                    <a:pt x="187395" y="2985084"/>
                    <a:pt x="183266" y="2982866"/>
                    <a:pt x="179455" y="2980965"/>
                  </a:cubicBezTo>
                  <a:cubicBezTo>
                    <a:pt x="177549" y="2980014"/>
                    <a:pt x="175643" y="2979063"/>
                    <a:pt x="174373" y="2978430"/>
                  </a:cubicBezTo>
                  <a:cubicBezTo>
                    <a:pt x="174055" y="2978113"/>
                    <a:pt x="173738" y="2978113"/>
                    <a:pt x="173738" y="2978113"/>
                  </a:cubicBezTo>
                  <a:close/>
                  <a:moveTo>
                    <a:pt x="172785" y="2974310"/>
                  </a:moveTo>
                  <a:cubicBezTo>
                    <a:pt x="173103" y="2974310"/>
                    <a:pt x="173738" y="2974310"/>
                    <a:pt x="174055" y="2974944"/>
                  </a:cubicBezTo>
                  <a:cubicBezTo>
                    <a:pt x="174055" y="2974944"/>
                    <a:pt x="174055" y="2975261"/>
                    <a:pt x="174373" y="2975261"/>
                  </a:cubicBezTo>
                  <a:cubicBezTo>
                    <a:pt x="176914" y="2976845"/>
                    <a:pt x="187713" y="2982232"/>
                    <a:pt x="190254" y="2983500"/>
                  </a:cubicBezTo>
                  <a:cubicBezTo>
                    <a:pt x="193112" y="2985084"/>
                    <a:pt x="206135" y="2986035"/>
                    <a:pt x="217569" y="2989204"/>
                  </a:cubicBezTo>
                  <a:cubicBezTo>
                    <a:pt x="229321" y="2992373"/>
                    <a:pt x="232815" y="3002196"/>
                    <a:pt x="234403" y="3011703"/>
                  </a:cubicBezTo>
                  <a:cubicBezTo>
                    <a:pt x="236309" y="3020892"/>
                    <a:pt x="238850" y="3022160"/>
                    <a:pt x="246472" y="3026913"/>
                  </a:cubicBezTo>
                  <a:cubicBezTo>
                    <a:pt x="247743" y="3027864"/>
                    <a:pt x="249331" y="3028181"/>
                    <a:pt x="251237" y="3028181"/>
                  </a:cubicBezTo>
                  <a:cubicBezTo>
                    <a:pt x="258224" y="3028181"/>
                    <a:pt x="269023" y="3022477"/>
                    <a:pt x="280775" y="3016456"/>
                  </a:cubicBezTo>
                  <a:cubicBezTo>
                    <a:pt x="285540" y="3013921"/>
                    <a:pt x="289033" y="3013287"/>
                    <a:pt x="291892" y="3013287"/>
                  </a:cubicBezTo>
                  <a:cubicBezTo>
                    <a:pt x="298880" y="3013287"/>
                    <a:pt x="300785" y="3018357"/>
                    <a:pt x="300785" y="3018674"/>
                  </a:cubicBezTo>
                  <a:cubicBezTo>
                    <a:pt x="300785" y="3018674"/>
                    <a:pt x="300785" y="3018674"/>
                    <a:pt x="301103" y="3019625"/>
                  </a:cubicBezTo>
                  <a:cubicBezTo>
                    <a:pt x="301103" y="3019625"/>
                    <a:pt x="301103" y="3019625"/>
                    <a:pt x="300150" y="3019942"/>
                  </a:cubicBezTo>
                  <a:cubicBezTo>
                    <a:pt x="298562" y="3020576"/>
                    <a:pt x="294115" y="3028815"/>
                    <a:pt x="289986" y="3036420"/>
                  </a:cubicBezTo>
                  <a:cubicBezTo>
                    <a:pt x="285222" y="3044659"/>
                    <a:pt x="275058" y="3054166"/>
                    <a:pt x="261083" y="3063355"/>
                  </a:cubicBezTo>
                  <a:cubicBezTo>
                    <a:pt x="252190" y="3069377"/>
                    <a:pt x="241391" y="3071278"/>
                    <a:pt x="233132" y="3071278"/>
                  </a:cubicBezTo>
                  <a:cubicBezTo>
                    <a:pt x="228051" y="3071278"/>
                    <a:pt x="223922" y="3070644"/>
                    <a:pt x="221381" y="3069377"/>
                  </a:cubicBezTo>
                  <a:cubicBezTo>
                    <a:pt x="214711" y="3066841"/>
                    <a:pt x="195653" y="3058286"/>
                    <a:pt x="195653" y="3058286"/>
                  </a:cubicBezTo>
                  <a:cubicBezTo>
                    <a:pt x="195653" y="3058286"/>
                    <a:pt x="195653" y="3058286"/>
                    <a:pt x="194065" y="3057651"/>
                  </a:cubicBezTo>
                  <a:cubicBezTo>
                    <a:pt x="194065" y="3057651"/>
                    <a:pt x="194065" y="3057651"/>
                    <a:pt x="195336" y="3056067"/>
                  </a:cubicBezTo>
                  <a:cubicBezTo>
                    <a:pt x="195336" y="3056067"/>
                    <a:pt x="205182" y="3044659"/>
                    <a:pt x="205182" y="3031667"/>
                  </a:cubicBezTo>
                  <a:cubicBezTo>
                    <a:pt x="205182" y="3030082"/>
                    <a:pt x="204864" y="3028181"/>
                    <a:pt x="204547" y="3026597"/>
                  </a:cubicBezTo>
                  <a:cubicBezTo>
                    <a:pt x="201371" y="3011703"/>
                    <a:pt x="185172" y="3003147"/>
                    <a:pt x="174691" y="2995225"/>
                  </a:cubicBezTo>
                  <a:cubicBezTo>
                    <a:pt x="170562" y="2992373"/>
                    <a:pt x="169291" y="2988570"/>
                    <a:pt x="169291" y="2985084"/>
                  </a:cubicBezTo>
                  <a:cubicBezTo>
                    <a:pt x="169291" y="2981282"/>
                    <a:pt x="171197" y="2977479"/>
                    <a:pt x="171514" y="2976212"/>
                  </a:cubicBezTo>
                  <a:cubicBezTo>
                    <a:pt x="171514" y="2976212"/>
                    <a:pt x="171514" y="2975894"/>
                    <a:pt x="171514" y="2975578"/>
                  </a:cubicBezTo>
                  <a:cubicBezTo>
                    <a:pt x="171514" y="2974310"/>
                    <a:pt x="172785" y="2974310"/>
                    <a:pt x="172785" y="2974310"/>
                  </a:cubicBezTo>
                  <a:close/>
                  <a:moveTo>
                    <a:pt x="2080721" y="2973993"/>
                  </a:moveTo>
                  <a:cubicBezTo>
                    <a:pt x="2080721" y="2973993"/>
                    <a:pt x="2080721" y="2973993"/>
                    <a:pt x="2060711" y="3031984"/>
                  </a:cubicBezTo>
                  <a:lnTo>
                    <a:pt x="2102954" y="3041173"/>
                  </a:lnTo>
                  <a:cubicBezTo>
                    <a:pt x="2102954" y="3041173"/>
                    <a:pt x="2102954" y="3041173"/>
                    <a:pt x="2122329" y="2984134"/>
                  </a:cubicBezTo>
                  <a:cubicBezTo>
                    <a:pt x="2122329" y="2984134"/>
                    <a:pt x="2122329" y="2984134"/>
                    <a:pt x="2080721" y="2973993"/>
                  </a:cubicBezTo>
                  <a:close/>
                  <a:moveTo>
                    <a:pt x="2072463" y="2971775"/>
                  </a:moveTo>
                  <a:cubicBezTo>
                    <a:pt x="2065475" y="2992056"/>
                    <a:pt x="2058805" y="3011703"/>
                    <a:pt x="2052453" y="3030082"/>
                  </a:cubicBezTo>
                  <a:cubicBezTo>
                    <a:pt x="2052453" y="3030082"/>
                    <a:pt x="2052453" y="3030082"/>
                    <a:pt x="2056900" y="3031033"/>
                  </a:cubicBezTo>
                  <a:cubicBezTo>
                    <a:pt x="2056900" y="3031033"/>
                    <a:pt x="2056900" y="3031033"/>
                    <a:pt x="2076592" y="2972726"/>
                  </a:cubicBezTo>
                  <a:close/>
                  <a:moveTo>
                    <a:pt x="2282091" y="2970507"/>
                  </a:moveTo>
                  <a:lnTo>
                    <a:pt x="2262399" y="3008851"/>
                  </a:lnTo>
                  <a:cubicBezTo>
                    <a:pt x="2262399" y="3008851"/>
                    <a:pt x="2262399" y="3008851"/>
                    <a:pt x="2297655" y="3027864"/>
                  </a:cubicBezTo>
                  <a:cubicBezTo>
                    <a:pt x="2297655" y="3027864"/>
                    <a:pt x="2297655" y="3027864"/>
                    <a:pt x="2318300" y="2987619"/>
                  </a:cubicBezTo>
                  <a:cubicBezTo>
                    <a:pt x="2318300" y="2987619"/>
                    <a:pt x="2318300" y="2987619"/>
                    <a:pt x="2282091" y="2970507"/>
                  </a:cubicBezTo>
                  <a:close/>
                  <a:moveTo>
                    <a:pt x="433232" y="2970507"/>
                  </a:moveTo>
                  <a:cubicBezTo>
                    <a:pt x="433232" y="2970507"/>
                    <a:pt x="433232" y="2970507"/>
                    <a:pt x="402106" y="2986352"/>
                  </a:cubicBezTo>
                  <a:lnTo>
                    <a:pt x="408458" y="2999027"/>
                  </a:lnTo>
                  <a:cubicBezTo>
                    <a:pt x="408458" y="2999027"/>
                    <a:pt x="408458" y="2999027"/>
                    <a:pt x="438632" y="2982549"/>
                  </a:cubicBezTo>
                  <a:cubicBezTo>
                    <a:pt x="438632" y="2982549"/>
                    <a:pt x="438632" y="2982549"/>
                    <a:pt x="433232" y="2970507"/>
                  </a:cubicBezTo>
                  <a:close/>
                  <a:moveTo>
                    <a:pt x="1732293" y="2968289"/>
                  </a:moveTo>
                  <a:cubicBezTo>
                    <a:pt x="1732293" y="2968289"/>
                    <a:pt x="1732293" y="2968289"/>
                    <a:pt x="1729752" y="2982866"/>
                  </a:cubicBezTo>
                  <a:lnTo>
                    <a:pt x="1769137" y="2989521"/>
                  </a:lnTo>
                  <a:cubicBezTo>
                    <a:pt x="1769137" y="2989521"/>
                    <a:pt x="1769137" y="2989521"/>
                    <a:pt x="1771678" y="2975261"/>
                  </a:cubicBezTo>
                  <a:cubicBezTo>
                    <a:pt x="1771678" y="2975261"/>
                    <a:pt x="1771678" y="2975261"/>
                    <a:pt x="1732293" y="2968289"/>
                  </a:cubicBezTo>
                  <a:close/>
                  <a:moveTo>
                    <a:pt x="2401198" y="2966388"/>
                  </a:moveTo>
                  <a:cubicBezTo>
                    <a:pt x="2401198" y="2966388"/>
                    <a:pt x="2401198" y="2966388"/>
                    <a:pt x="2385318" y="2981915"/>
                  </a:cubicBezTo>
                  <a:cubicBezTo>
                    <a:pt x="2385318" y="2981915"/>
                    <a:pt x="2385318" y="2981915"/>
                    <a:pt x="2387858" y="2984450"/>
                  </a:cubicBezTo>
                  <a:cubicBezTo>
                    <a:pt x="2387858" y="2984450"/>
                    <a:pt x="2387858" y="2984450"/>
                    <a:pt x="2389446" y="2986035"/>
                  </a:cubicBezTo>
                  <a:cubicBezTo>
                    <a:pt x="2389446" y="2986035"/>
                    <a:pt x="2389446" y="2986035"/>
                    <a:pt x="2378012" y="2997126"/>
                  </a:cubicBezTo>
                  <a:cubicBezTo>
                    <a:pt x="2378012" y="2997126"/>
                    <a:pt x="2378012" y="2997126"/>
                    <a:pt x="2415491" y="3036737"/>
                  </a:cubicBezTo>
                  <a:cubicBezTo>
                    <a:pt x="2415491" y="3036737"/>
                    <a:pt x="2415491" y="3036737"/>
                    <a:pt x="2426926" y="3025646"/>
                  </a:cubicBezTo>
                  <a:lnTo>
                    <a:pt x="2410092" y="3008534"/>
                  </a:lnTo>
                  <a:cubicBezTo>
                    <a:pt x="2410092" y="3008534"/>
                    <a:pt x="2410092" y="3008534"/>
                    <a:pt x="2426608" y="2992373"/>
                  </a:cubicBezTo>
                  <a:cubicBezTo>
                    <a:pt x="2426608" y="2992373"/>
                    <a:pt x="2426608" y="2992373"/>
                    <a:pt x="2401198" y="2966388"/>
                  </a:cubicBezTo>
                  <a:close/>
                  <a:moveTo>
                    <a:pt x="1728800" y="2963853"/>
                  </a:moveTo>
                  <a:cubicBezTo>
                    <a:pt x="1728800" y="2963853"/>
                    <a:pt x="1728800" y="2963853"/>
                    <a:pt x="1776125" y="2972092"/>
                  </a:cubicBezTo>
                  <a:cubicBezTo>
                    <a:pt x="1776125" y="2972092"/>
                    <a:pt x="1776125" y="2972092"/>
                    <a:pt x="1772313" y="2994274"/>
                  </a:cubicBezTo>
                  <a:lnTo>
                    <a:pt x="1770408" y="2993957"/>
                  </a:lnTo>
                  <a:cubicBezTo>
                    <a:pt x="1770408" y="2993957"/>
                    <a:pt x="1770408" y="2993957"/>
                    <a:pt x="1724988" y="2986035"/>
                  </a:cubicBezTo>
                  <a:cubicBezTo>
                    <a:pt x="1724988" y="2986035"/>
                    <a:pt x="1724988" y="2986035"/>
                    <a:pt x="1728800" y="2963853"/>
                  </a:cubicBezTo>
                  <a:close/>
                  <a:moveTo>
                    <a:pt x="2401516" y="2960367"/>
                  </a:moveTo>
                  <a:cubicBezTo>
                    <a:pt x="2401516" y="2960367"/>
                    <a:pt x="2401516" y="2960367"/>
                    <a:pt x="2432643" y="2992373"/>
                  </a:cubicBezTo>
                  <a:lnTo>
                    <a:pt x="2415809" y="3008534"/>
                  </a:lnTo>
                  <a:cubicBezTo>
                    <a:pt x="2415809" y="3008534"/>
                    <a:pt x="2415809" y="3008534"/>
                    <a:pt x="2432643" y="3025963"/>
                  </a:cubicBezTo>
                  <a:cubicBezTo>
                    <a:pt x="2432643" y="3025963"/>
                    <a:pt x="2432643" y="3025963"/>
                    <a:pt x="2415491" y="3042758"/>
                  </a:cubicBezTo>
                  <a:cubicBezTo>
                    <a:pt x="2415491" y="3042758"/>
                    <a:pt x="2415491" y="3042758"/>
                    <a:pt x="2413903" y="3041173"/>
                  </a:cubicBezTo>
                  <a:cubicBezTo>
                    <a:pt x="2413903" y="3041173"/>
                    <a:pt x="2413903" y="3041173"/>
                    <a:pt x="2371978" y="2996809"/>
                  </a:cubicBezTo>
                  <a:cubicBezTo>
                    <a:pt x="2371978" y="2996809"/>
                    <a:pt x="2371978" y="2996809"/>
                    <a:pt x="2383412" y="2986035"/>
                  </a:cubicBezTo>
                  <a:cubicBezTo>
                    <a:pt x="2383412" y="2986035"/>
                    <a:pt x="2383412" y="2986035"/>
                    <a:pt x="2380871" y="2983183"/>
                  </a:cubicBezTo>
                  <a:cubicBezTo>
                    <a:pt x="2380871" y="2983183"/>
                    <a:pt x="2380871" y="2983183"/>
                    <a:pt x="2379283" y="2981915"/>
                  </a:cubicBezTo>
                  <a:cubicBezTo>
                    <a:pt x="2379283" y="2981915"/>
                    <a:pt x="2379283" y="2981915"/>
                    <a:pt x="2401516" y="2960367"/>
                  </a:cubicBezTo>
                  <a:close/>
                  <a:moveTo>
                    <a:pt x="163892" y="2959416"/>
                  </a:moveTo>
                  <a:cubicBezTo>
                    <a:pt x="158810" y="2974944"/>
                    <a:pt x="147375" y="3008851"/>
                    <a:pt x="145787" y="3014238"/>
                  </a:cubicBezTo>
                  <a:cubicBezTo>
                    <a:pt x="146740" y="3018357"/>
                    <a:pt x="156586" y="3045927"/>
                    <a:pt x="165797" y="3071911"/>
                  </a:cubicBezTo>
                  <a:cubicBezTo>
                    <a:pt x="172785" y="3091242"/>
                    <a:pt x="179455" y="3109938"/>
                    <a:pt x="182631" y="3119445"/>
                  </a:cubicBezTo>
                  <a:cubicBezTo>
                    <a:pt x="182631" y="3119445"/>
                    <a:pt x="182631" y="3119445"/>
                    <a:pt x="324924" y="3043392"/>
                  </a:cubicBezTo>
                  <a:cubicBezTo>
                    <a:pt x="324924" y="3042758"/>
                    <a:pt x="323971" y="3039272"/>
                    <a:pt x="322066" y="3033885"/>
                  </a:cubicBezTo>
                  <a:cubicBezTo>
                    <a:pt x="318890" y="3024379"/>
                    <a:pt x="313808" y="3010119"/>
                    <a:pt x="307455" y="2997126"/>
                  </a:cubicBezTo>
                  <a:cubicBezTo>
                    <a:pt x="301103" y="2984134"/>
                    <a:pt x="292527" y="2972409"/>
                    <a:pt x="286492" y="2968923"/>
                  </a:cubicBezTo>
                  <a:cubicBezTo>
                    <a:pt x="277281" y="2963536"/>
                    <a:pt x="269023" y="2962268"/>
                    <a:pt x="261083" y="2961634"/>
                  </a:cubicBezTo>
                  <a:cubicBezTo>
                    <a:pt x="259177" y="2961318"/>
                    <a:pt x="257271" y="2961318"/>
                    <a:pt x="255366" y="2961318"/>
                  </a:cubicBezTo>
                  <a:cubicBezTo>
                    <a:pt x="248061" y="2961318"/>
                    <a:pt x="242343" y="2962268"/>
                    <a:pt x="236309" y="2963219"/>
                  </a:cubicBezTo>
                  <a:cubicBezTo>
                    <a:pt x="226145" y="2964170"/>
                    <a:pt x="217887" y="2969240"/>
                    <a:pt x="203594" y="2969557"/>
                  </a:cubicBezTo>
                  <a:cubicBezTo>
                    <a:pt x="189619" y="2969240"/>
                    <a:pt x="175961" y="2963219"/>
                    <a:pt x="163892" y="2959416"/>
                  </a:cubicBezTo>
                  <a:close/>
                  <a:moveTo>
                    <a:pt x="1897137" y="2958466"/>
                  </a:moveTo>
                  <a:cubicBezTo>
                    <a:pt x="1897137" y="2958466"/>
                    <a:pt x="1897137" y="2958466"/>
                    <a:pt x="1882527" y="2998710"/>
                  </a:cubicBezTo>
                  <a:lnTo>
                    <a:pt x="1922864" y="3005048"/>
                  </a:lnTo>
                  <a:cubicBezTo>
                    <a:pt x="1922864" y="3005048"/>
                    <a:pt x="1922864" y="3005048"/>
                    <a:pt x="1937157" y="2965120"/>
                  </a:cubicBezTo>
                  <a:cubicBezTo>
                    <a:pt x="1937157" y="2965120"/>
                    <a:pt x="1937157" y="2965120"/>
                    <a:pt x="1897137" y="2958466"/>
                  </a:cubicBezTo>
                  <a:close/>
                  <a:moveTo>
                    <a:pt x="111802" y="2957515"/>
                  </a:moveTo>
                  <a:cubicBezTo>
                    <a:pt x="111802" y="2957515"/>
                    <a:pt x="111802" y="2957515"/>
                    <a:pt x="75594" y="2970824"/>
                  </a:cubicBezTo>
                  <a:cubicBezTo>
                    <a:pt x="75594" y="2970824"/>
                    <a:pt x="75594" y="2970824"/>
                    <a:pt x="72100" y="2993957"/>
                  </a:cubicBezTo>
                  <a:cubicBezTo>
                    <a:pt x="72100" y="2993957"/>
                    <a:pt x="72100" y="2993957"/>
                    <a:pt x="85440" y="3017724"/>
                  </a:cubicBezTo>
                  <a:lnTo>
                    <a:pt x="96239" y="3018041"/>
                  </a:lnTo>
                  <a:cubicBezTo>
                    <a:pt x="96239" y="3018041"/>
                    <a:pt x="96239" y="3018041"/>
                    <a:pt x="100685" y="3018357"/>
                  </a:cubicBezTo>
                  <a:cubicBezTo>
                    <a:pt x="100685" y="3018357"/>
                    <a:pt x="100685" y="3018357"/>
                    <a:pt x="100368" y="3022794"/>
                  </a:cubicBezTo>
                  <a:cubicBezTo>
                    <a:pt x="100368" y="3022794"/>
                    <a:pt x="100368" y="3022794"/>
                    <a:pt x="99415" y="3038638"/>
                  </a:cubicBezTo>
                  <a:cubicBezTo>
                    <a:pt x="99415" y="3038638"/>
                    <a:pt x="99415" y="3038638"/>
                    <a:pt x="143246" y="3121663"/>
                  </a:cubicBezTo>
                  <a:cubicBezTo>
                    <a:pt x="143246" y="3121663"/>
                    <a:pt x="143246" y="3121663"/>
                    <a:pt x="156904" y="3115642"/>
                  </a:cubicBezTo>
                  <a:cubicBezTo>
                    <a:pt x="156904" y="3115642"/>
                    <a:pt x="156904" y="3115642"/>
                    <a:pt x="117519" y="3033251"/>
                  </a:cubicBezTo>
                  <a:cubicBezTo>
                    <a:pt x="117519" y="3033251"/>
                    <a:pt x="117519" y="3033251"/>
                    <a:pt x="116884" y="3032300"/>
                  </a:cubicBezTo>
                  <a:cubicBezTo>
                    <a:pt x="116884" y="3032300"/>
                    <a:pt x="116884" y="3032300"/>
                    <a:pt x="117202" y="3031033"/>
                  </a:cubicBezTo>
                  <a:cubicBezTo>
                    <a:pt x="117202" y="3031033"/>
                    <a:pt x="117202" y="3031033"/>
                    <a:pt x="120695" y="3000929"/>
                  </a:cubicBezTo>
                  <a:cubicBezTo>
                    <a:pt x="120695" y="3000929"/>
                    <a:pt x="120695" y="3000929"/>
                    <a:pt x="92745" y="3000929"/>
                  </a:cubicBezTo>
                  <a:cubicBezTo>
                    <a:pt x="92745" y="3000929"/>
                    <a:pt x="92745" y="3000929"/>
                    <a:pt x="87663" y="3000929"/>
                  </a:cubicBezTo>
                  <a:cubicBezTo>
                    <a:pt x="87663" y="3000929"/>
                    <a:pt x="87663" y="3000929"/>
                    <a:pt x="88298" y="2996175"/>
                  </a:cubicBezTo>
                  <a:cubicBezTo>
                    <a:pt x="88298" y="2996175"/>
                    <a:pt x="88298" y="2996175"/>
                    <a:pt x="90522" y="2974627"/>
                  </a:cubicBezTo>
                  <a:cubicBezTo>
                    <a:pt x="90522" y="2974627"/>
                    <a:pt x="90522" y="2974627"/>
                    <a:pt x="90839" y="2970824"/>
                  </a:cubicBezTo>
                  <a:cubicBezTo>
                    <a:pt x="90839" y="2970824"/>
                    <a:pt x="90839" y="2970824"/>
                    <a:pt x="94968" y="2970507"/>
                  </a:cubicBezTo>
                  <a:cubicBezTo>
                    <a:pt x="94968" y="2970507"/>
                    <a:pt x="94968" y="2970507"/>
                    <a:pt x="119107" y="2970507"/>
                  </a:cubicBezTo>
                  <a:cubicBezTo>
                    <a:pt x="119107" y="2970507"/>
                    <a:pt x="119107" y="2970507"/>
                    <a:pt x="111802" y="2957515"/>
                  </a:cubicBezTo>
                  <a:close/>
                  <a:moveTo>
                    <a:pt x="1271" y="2955614"/>
                  </a:moveTo>
                  <a:cubicBezTo>
                    <a:pt x="17152" y="2980648"/>
                    <a:pt x="17152" y="2980648"/>
                    <a:pt x="17152" y="2980648"/>
                  </a:cubicBezTo>
                  <a:lnTo>
                    <a:pt x="7305" y="3012337"/>
                  </a:lnTo>
                  <a:cubicBezTo>
                    <a:pt x="1271" y="3013287"/>
                    <a:pt x="1271" y="3013287"/>
                    <a:pt x="1271" y="3013287"/>
                  </a:cubicBezTo>
                  <a:cubicBezTo>
                    <a:pt x="1271" y="3008534"/>
                    <a:pt x="1271" y="3008534"/>
                    <a:pt x="1271" y="3008534"/>
                  </a:cubicBezTo>
                  <a:cubicBezTo>
                    <a:pt x="3494" y="3008217"/>
                    <a:pt x="3494" y="3008217"/>
                    <a:pt x="3494" y="3008217"/>
                  </a:cubicBezTo>
                  <a:cubicBezTo>
                    <a:pt x="12070" y="2981282"/>
                    <a:pt x="12070" y="2981282"/>
                    <a:pt x="12070" y="2981282"/>
                  </a:cubicBezTo>
                  <a:cubicBezTo>
                    <a:pt x="1271" y="2964486"/>
                    <a:pt x="1271" y="2964486"/>
                    <a:pt x="1271" y="2964486"/>
                  </a:cubicBezTo>
                  <a:cubicBezTo>
                    <a:pt x="1271" y="2955614"/>
                    <a:pt x="1271" y="2955614"/>
                    <a:pt x="1271" y="2955614"/>
                  </a:cubicBezTo>
                  <a:close/>
                  <a:moveTo>
                    <a:pt x="1711013" y="2954663"/>
                  </a:moveTo>
                  <a:cubicBezTo>
                    <a:pt x="1716095" y="2967972"/>
                    <a:pt x="1720541" y="2982866"/>
                    <a:pt x="1722765" y="2997443"/>
                  </a:cubicBezTo>
                  <a:cubicBezTo>
                    <a:pt x="1731023" y="2998710"/>
                    <a:pt x="1748174" y="3001562"/>
                    <a:pt x="1765961" y="3004414"/>
                  </a:cubicBezTo>
                  <a:cubicBezTo>
                    <a:pt x="1786289" y="3007900"/>
                    <a:pt x="1807569" y="3011386"/>
                    <a:pt x="1814557" y="3012020"/>
                  </a:cubicBezTo>
                  <a:cubicBezTo>
                    <a:pt x="1814557" y="3012020"/>
                    <a:pt x="1814557" y="3012020"/>
                    <a:pt x="1826626" y="2969240"/>
                  </a:cubicBezTo>
                  <a:cubicBezTo>
                    <a:pt x="1826626" y="2969240"/>
                    <a:pt x="1826626" y="2969240"/>
                    <a:pt x="1711013" y="2954663"/>
                  </a:cubicBezTo>
                  <a:close/>
                  <a:moveTo>
                    <a:pt x="1120877" y="2954346"/>
                  </a:moveTo>
                  <a:cubicBezTo>
                    <a:pt x="1120877" y="2954346"/>
                    <a:pt x="1120877" y="2954346"/>
                    <a:pt x="1086574" y="3099798"/>
                  </a:cubicBezTo>
                  <a:cubicBezTo>
                    <a:pt x="1089115" y="3103600"/>
                    <a:pt x="1099914" y="3122614"/>
                    <a:pt x="1111031" y="3141627"/>
                  </a:cubicBezTo>
                  <a:cubicBezTo>
                    <a:pt x="1117066" y="3152401"/>
                    <a:pt x="1123418" y="3163175"/>
                    <a:pt x="1128182" y="3171731"/>
                  </a:cubicBezTo>
                  <a:cubicBezTo>
                    <a:pt x="1130406" y="3175851"/>
                    <a:pt x="1132311" y="3179336"/>
                    <a:pt x="1133582" y="3181872"/>
                  </a:cubicBezTo>
                  <a:cubicBezTo>
                    <a:pt x="1133582" y="3181872"/>
                    <a:pt x="1133582" y="3182188"/>
                    <a:pt x="1133899" y="3182188"/>
                  </a:cubicBezTo>
                  <a:cubicBezTo>
                    <a:pt x="1137393" y="3175534"/>
                    <a:pt x="1145334" y="3162858"/>
                    <a:pt x="1152321" y="3151450"/>
                  </a:cubicBezTo>
                  <a:cubicBezTo>
                    <a:pt x="1155815" y="3145429"/>
                    <a:pt x="1159627" y="3139409"/>
                    <a:pt x="1162168" y="3134972"/>
                  </a:cubicBezTo>
                  <a:cubicBezTo>
                    <a:pt x="1163438" y="3133071"/>
                    <a:pt x="1164391" y="3131169"/>
                    <a:pt x="1165026" y="3129902"/>
                  </a:cubicBezTo>
                  <a:cubicBezTo>
                    <a:pt x="1165344" y="3128951"/>
                    <a:pt x="1165661" y="3128634"/>
                    <a:pt x="1165979" y="3128318"/>
                  </a:cubicBezTo>
                  <a:cubicBezTo>
                    <a:pt x="1166297" y="3126733"/>
                    <a:pt x="1166614" y="3127050"/>
                    <a:pt x="1166614" y="3126733"/>
                  </a:cubicBezTo>
                  <a:cubicBezTo>
                    <a:pt x="1167885" y="3125466"/>
                    <a:pt x="1171378" y="3123247"/>
                    <a:pt x="1177413" y="3119445"/>
                  </a:cubicBezTo>
                  <a:cubicBezTo>
                    <a:pt x="1192341" y="3110255"/>
                    <a:pt x="1218386" y="3094411"/>
                    <a:pt x="1226327" y="3089657"/>
                  </a:cubicBezTo>
                  <a:cubicBezTo>
                    <a:pt x="1226327" y="3089657"/>
                    <a:pt x="1226327" y="3089657"/>
                    <a:pt x="1120877" y="2954346"/>
                  </a:cubicBezTo>
                  <a:close/>
                  <a:moveTo>
                    <a:pt x="700667" y="2954029"/>
                  </a:moveTo>
                  <a:cubicBezTo>
                    <a:pt x="691139" y="2959099"/>
                    <a:pt x="681610" y="2964486"/>
                    <a:pt x="672082" y="2969557"/>
                  </a:cubicBezTo>
                  <a:cubicBezTo>
                    <a:pt x="672082" y="2969557"/>
                    <a:pt x="672082" y="2969557"/>
                    <a:pt x="665094" y="2975894"/>
                  </a:cubicBezTo>
                  <a:cubicBezTo>
                    <a:pt x="665094" y="2975894"/>
                    <a:pt x="665094" y="2975894"/>
                    <a:pt x="664776" y="2976212"/>
                  </a:cubicBezTo>
                  <a:cubicBezTo>
                    <a:pt x="565679" y="3029448"/>
                    <a:pt x="473570" y="3078883"/>
                    <a:pt x="396706" y="3120712"/>
                  </a:cubicBezTo>
                  <a:cubicBezTo>
                    <a:pt x="400835" y="3124198"/>
                    <a:pt x="406870" y="3129268"/>
                    <a:pt x="412587" y="3134021"/>
                  </a:cubicBezTo>
                  <a:cubicBezTo>
                    <a:pt x="420528" y="3140993"/>
                    <a:pt x="428468" y="3147648"/>
                    <a:pt x="431327" y="3149866"/>
                  </a:cubicBezTo>
                  <a:cubicBezTo>
                    <a:pt x="431327" y="3149866"/>
                    <a:pt x="431327" y="3149866"/>
                    <a:pt x="433868" y="3146697"/>
                  </a:cubicBezTo>
                  <a:cubicBezTo>
                    <a:pt x="433868" y="3146697"/>
                    <a:pt x="433868" y="3146697"/>
                    <a:pt x="515496" y="3215779"/>
                  </a:cubicBezTo>
                  <a:cubicBezTo>
                    <a:pt x="515496" y="3215779"/>
                    <a:pt x="515496" y="3215779"/>
                    <a:pt x="637144" y="3164760"/>
                  </a:cubicBezTo>
                  <a:cubicBezTo>
                    <a:pt x="637144" y="3164760"/>
                    <a:pt x="637144" y="3164760"/>
                    <a:pt x="640637" y="3168562"/>
                  </a:cubicBezTo>
                  <a:cubicBezTo>
                    <a:pt x="640637" y="3168562"/>
                    <a:pt x="641908" y="3170147"/>
                    <a:pt x="644131" y="3172365"/>
                  </a:cubicBezTo>
                  <a:cubicBezTo>
                    <a:pt x="649531" y="3178069"/>
                    <a:pt x="661283" y="3189160"/>
                    <a:pt x="674305" y="3197082"/>
                  </a:cubicBezTo>
                  <a:cubicBezTo>
                    <a:pt x="676528" y="3182505"/>
                    <a:pt x="682881" y="3125149"/>
                    <a:pt x="688598" y="3069693"/>
                  </a:cubicBezTo>
                  <a:cubicBezTo>
                    <a:pt x="693680" y="3020259"/>
                    <a:pt x="698762" y="2971775"/>
                    <a:pt x="700667" y="2954029"/>
                  </a:cubicBezTo>
                  <a:close/>
                  <a:moveTo>
                    <a:pt x="2246518" y="2953712"/>
                  </a:moveTo>
                  <a:cubicBezTo>
                    <a:pt x="2246518" y="2953712"/>
                    <a:pt x="2246518" y="2953712"/>
                    <a:pt x="2229366" y="3007583"/>
                  </a:cubicBezTo>
                  <a:lnTo>
                    <a:pt x="2303054" y="3040223"/>
                  </a:lnTo>
                  <a:cubicBezTo>
                    <a:pt x="2303054" y="3040223"/>
                    <a:pt x="2303054" y="3040223"/>
                    <a:pt x="2327511" y="2992056"/>
                  </a:cubicBezTo>
                  <a:cubicBezTo>
                    <a:pt x="2327511" y="2992056"/>
                    <a:pt x="2327511" y="2992056"/>
                    <a:pt x="2322111" y="2989521"/>
                  </a:cubicBezTo>
                  <a:cubicBezTo>
                    <a:pt x="2322111" y="2989521"/>
                    <a:pt x="2322111" y="2989521"/>
                    <a:pt x="2299560" y="3033568"/>
                  </a:cubicBezTo>
                  <a:cubicBezTo>
                    <a:pt x="2299560" y="3033568"/>
                    <a:pt x="2299560" y="3033568"/>
                    <a:pt x="2256682" y="3010752"/>
                  </a:cubicBezTo>
                  <a:cubicBezTo>
                    <a:pt x="2256682" y="3010752"/>
                    <a:pt x="2256682" y="3010752"/>
                    <a:pt x="2257635" y="3008851"/>
                  </a:cubicBezTo>
                  <a:cubicBezTo>
                    <a:pt x="2257635" y="3008851"/>
                    <a:pt x="2257635" y="3008851"/>
                    <a:pt x="2278280" y="2968606"/>
                  </a:cubicBezTo>
                  <a:cubicBezTo>
                    <a:pt x="2278280" y="2968606"/>
                    <a:pt x="2278280" y="2968606"/>
                    <a:pt x="2246518" y="2953712"/>
                  </a:cubicBezTo>
                  <a:close/>
                  <a:moveTo>
                    <a:pt x="380190" y="2953079"/>
                  </a:moveTo>
                  <a:cubicBezTo>
                    <a:pt x="380190" y="2953079"/>
                    <a:pt x="380190" y="2953079"/>
                    <a:pt x="351922" y="2966388"/>
                  </a:cubicBezTo>
                  <a:cubicBezTo>
                    <a:pt x="353510" y="2969874"/>
                    <a:pt x="355098" y="2973359"/>
                    <a:pt x="356686" y="2976528"/>
                  </a:cubicBezTo>
                  <a:cubicBezTo>
                    <a:pt x="360815" y="2986352"/>
                    <a:pt x="365262" y="2995859"/>
                    <a:pt x="368756" y="3003464"/>
                  </a:cubicBezTo>
                  <a:lnTo>
                    <a:pt x="396706" y="2988887"/>
                  </a:lnTo>
                  <a:cubicBezTo>
                    <a:pt x="396706" y="2988887"/>
                    <a:pt x="396706" y="2988887"/>
                    <a:pt x="396389" y="2987936"/>
                  </a:cubicBezTo>
                  <a:cubicBezTo>
                    <a:pt x="396389" y="2987936"/>
                    <a:pt x="396389" y="2987936"/>
                    <a:pt x="395436" y="2984767"/>
                  </a:cubicBezTo>
                  <a:cubicBezTo>
                    <a:pt x="395436" y="2984767"/>
                    <a:pt x="395436" y="2984767"/>
                    <a:pt x="380190" y="2953079"/>
                  </a:cubicBezTo>
                  <a:close/>
                  <a:moveTo>
                    <a:pt x="113708" y="2952128"/>
                  </a:moveTo>
                  <a:cubicBezTo>
                    <a:pt x="113708" y="2952128"/>
                    <a:pt x="113708" y="2952128"/>
                    <a:pt x="126413" y="2974627"/>
                  </a:cubicBezTo>
                  <a:cubicBezTo>
                    <a:pt x="126413" y="2974627"/>
                    <a:pt x="126413" y="2974627"/>
                    <a:pt x="94968" y="2974944"/>
                  </a:cubicBezTo>
                  <a:cubicBezTo>
                    <a:pt x="94968" y="2974944"/>
                    <a:pt x="94968" y="2974944"/>
                    <a:pt x="92745" y="2996492"/>
                  </a:cubicBezTo>
                  <a:cubicBezTo>
                    <a:pt x="92745" y="2996492"/>
                    <a:pt x="92745" y="2996492"/>
                    <a:pt x="125777" y="2996809"/>
                  </a:cubicBezTo>
                  <a:cubicBezTo>
                    <a:pt x="125777" y="2996809"/>
                    <a:pt x="125777" y="2996809"/>
                    <a:pt x="121648" y="3031350"/>
                  </a:cubicBezTo>
                  <a:cubicBezTo>
                    <a:pt x="121648" y="3031350"/>
                    <a:pt x="121648" y="3031350"/>
                    <a:pt x="162939" y="3117860"/>
                  </a:cubicBezTo>
                  <a:cubicBezTo>
                    <a:pt x="162939" y="3117860"/>
                    <a:pt x="162939" y="3117860"/>
                    <a:pt x="141341" y="3127367"/>
                  </a:cubicBezTo>
                  <a:lnTo>
                    <a:pt x="94968" y="3039589"/>
                  </a:lnTo>
                  <a:cubicBezTo>
                    <a:pt x="94968" y="3039589"/>
                    <a:pt x="94968" y="3039589"/>
                    <a:pt x="95921" y="3022477"/>
                  </a:cubicBezTo>
                  <a:cubicBezTo>
                    <a:pt x="95921" y="3022477"/>
                    <a:pt x="95921" y="3022477"/>
                    <a:pt x="82581" y="3022160"/>
                  </a:cubicBezTo>
                  <a:cubicBezTo>
                    <a:pt x="82581" y="3022160"/>
                    <a:pt x="82581" y="3022160"/>
                    <a:pt x="67653" y="2994591"/>
                  </a:cubicBezTo>
                  <a:cubicBezTo>
                    <a:pt x="67653" y="2994591"/>
                    <a:pt x="67653" y="2994591"/>
                    <a:pt x="71464" y="2967339"/>
                  </a:cubicBezTo>
                  <a:cubicBezTo>
                    <a:pt x="71464" y="2967339"/>
                    <a:pt x="71464" y="2967339"/>
                    <a:pt x="113708" y="2952128"/>
                  </a:cubicBezTo>
                  <a:close/>
                  <a:moveTo>
                    <a:pt x="1520442" y="2949276"/>
                  </a:moveTo>
                  <a:lnTo>
                    <a:pt x="1502020" y="2949910"/>
                  </a:lnTo>
                  <a:cubicBezTo>
                    <a:pt x="1502020" y="2949910"/>
                    <a:pt x="1502020" y="2949910"/>
                    <a:pt x="1505513" y="3024061"/>
                  </a:cubicBezTo>
                  <a:cubicBezTo>
                    <a:pt x="1505513" y="3024061"/>
                    <a:pt x="1505513" y="3024061"/>
                    <a:pt x="1523935" y="3023111"/>
                  </a:cubicBezTo>
                  <a:cubicBezTo>
                    <a:pt x="1523935" y="3023111"/>
                    <a:pt x="1523935" y="3023111"/>
                    <a:pt x="1520442" y="2949276"/>
                  </a:cubicBezTo>
                  <a:close/>
                  <a:moveTo>
                    <a:pt x="1399746" y="2949276"/>
                  </a:moveTo>
                  <a:cubicBezTo>
                    <a:pt x="1399746" y="2949276"/>
                    <a:pt x="1399746" y="2949276"/>
                    <a:pt x="1378466" y="2956247"/>
                  </a:cubicBezTo>
                  <a:cubicBezTo>
                    <a:pt x="1378466" y="2956247"/>
                    <a:pt x="1378466" y="2956247"/>
                    <a:pt x="1379736" y="2959733"/>
                  </a:cubicBezTo>
                  <a:cubicBezTo>
                    <a:pt x="1379736" y="2959733"/>
                    <a:pt x="1379736" y="2959733"/>
                    <a:pt x="1380372" y="2961634"/>
                  </a:cubicBezTo>
                  <a:cubicBezTo>
                    <a:pt x="1380372" y="2961634"/>
                    <a:pt x="1380372" y="2961634"/>
                    <a:pt x="1365444" y="2966705"/>
                  </a:cubicBezTo>
                  <a:lnTo>
                    <a:pt x="1381642" y="3018674"/>
                  </a:lnTo>
                  <a:cubicBezTo>
                    <a:pt x="1381642" y="3018674"/>
                    <a:pt x="1381642" y="3018674"/>
                    <a:pt x="1396570" y="3013921"/>
                  </a:cubicBezTo>
                  <a:cubicBezTo>
                    <a:pt x="1396570" y="3013921"/>
                    <a:pt x="1396570" y="3013921"/>
                    <a:pt x="1389265" y="2991105"/>
                  </a:cubicBezTo>
                  <a:cubicBezTo>
                    <a:pt x="1389265" y="2991105"/>
                    <a:pt x="1389265" y="2991105"/>
                    <a:pt x="1411181" y="2983817"/>
                  </a:cubicBezTo>
                  <a:cubicBezTo>
                    <a:pt x="1411181" y="2983817"/>
                    <a:pt x="1411181" y="2983817"/>
                    <a:pt x="1399746" y="2949276"/>
                  </a:cubicBezTo>
                  <a:close/>
                  <a:moveTo>
                    <a:pt x="1837425" y="2948325"/>
                  </a:moveTo>
                  <a:lnTo>
                    <a:pt x="1812651" y="3034202"/>
                  </a:lnTo>
                  <a:cubicBezTo>
                    <a:pt x="1812651" y="3034202"/>
                    <a:pt x="1812651" y="3034202"/>
                    <a:pt x="1862199" y="3042124"/>
                  </a:cubicBezTo>
                  <a:cubicBezTo>
                    <a:pt x="1862199" y="3042124"/>
                    <a:pt x="1862199" y="3042124"/>
                    <a:pt x="1876810" y="3002513"/>
                  </a:cubicBezTo>
                  <a:cubicBezTo>
                    <a:pt x="1876810" y="3002513"/>
                    <a:pt x="1876810" y="3002513"/>
                    <a:pt x="1825673" y="2994591"/>
                  </a:cubicBezTo>
                  <a:cubicBezTo>
                    <a:pt x="1825673" y="2994591"/>
                    <a:pt x="1825673" y="2994591"/>
                    <a:pt x="1826308" y="2990154"/>
                  </a:cubicBezTo>
                  <a:cubicBezTo>
                    <a:pt x="1826308" y="2990154"/>
                    <a:pt x="1826308" y="2990154"/>
                    <a:pt x="1878080" y="2998077"/>
                  </a:cubicBezTo>
                  <a:cubicBezTo>
                    <a:pt x="1878080" y="2998077"/>
                    <a:pt x="1878080" y="2998077"/>
                    <a:pt x="1892691" y="2957515"/>
                  </a:cubicBezTo>
                  <a:cubicBezTo>
                    <a:pt x="1892691" y="2957515"/>
                    <a:pt x="1892691" y="2957515"/>
                    <a:pt x="1837425" y="2948325"/>
                  </a:cubicBezTo>
                  <a:close/>
                  <a:moveTo>
                    <a:pt x="471029" y="2947058"/>
                  </a:moveTo>
                  <a:cubicBezTo>
                    <a:pt x="471029" y="2947058"/>
                    <a:pt x="471029" y="2947058"/>
                    <a:pt x="436091" y="2963853"/>
                  </a:cubicBezTo>
                  <a:lnTo>
                    <a:pt x="443396" y="2980014"/>
                  </a:lnTo>
                  <a:cubicBezTo>
                    <a:pt x="443396" y="2980014"/>
                    <a:pt x="443396" y="2980014"/>
                    <a:pt x="477699" y="2961634"/>
                  </a:cubicBezTo>
                  <a:cubicBezTo>
                    <a:pt x="477699" y="2961634"/>
                    <a:pt x="477699" y="2961634"/>
                    <a:pt x="471029" y="2947058"/>
                  </a:cubicBezTo>
                  <a:close/>
                  <a:moveTo>
                    <a:pt x="760062" y="2945156"/>
                  </a:moveTo>
                  <a:cubicBezTo>
                    <a:pt x="760062" y="2945156"/>
                    <a:pt x="760062" y="2945156"/>
                    <a:pt x="718454" y="2963853"/>
                  </a:cubicBezTo>
                  <a:cubicBezTo>
                    <a:pt x="718454" y="2963853"/>
                    <a:pt x="718454" y="2963853"/>
                    <a:pt x="725124" y="2988253"/>
                  </a:cubicBezTo>
                  <a:cubicBezTo>
                    <a:pt x="725124" y="2988253"/>
                    <a:pt x="725124" y="2988253"/>
                    <a:pt x="750534" y="2994908"/>
                  </a:cubicBezTo>
                  <a:cubicBezTo>
                    <a:pt x="750534" y="2994908"/>
                    <a:pt x="750534" y="2994908"/>
                    <a:pt x="751169" y="2996175"/>
                  </a:cubicBezTo>
                  <a:cubicBezTo>
                    <a:pt x="751169" y="2996492"/>
                    <a:pt x="788648" y="3109938"/>
                    <a:pt x="790871" y="3116593"/>
                  </a:cubicBezTo>
                  <a:cubicBezTo>
                    <a:pt x="796271" y="3123881"/>
                    <a:pt x="807387" y="3129268"/>
                    <a:pt x="817233" y="3132437"/>
                  </a:cubicBezTo>
                  <a:cubicBezTo>
                    <a:pt x="822951" y="3134655"/>
                    <a:pt x="828033" y="3135923"/>
                    <a:pt x="831526" y="3136557"/>
                  </a:cubicBezTo>
                  <a:cubicBezTo>
                    <a:pt x="831526" y="3136557"/>
                    <a:pt x="831526" y="3136557"/>
                    <a:pt x="760062" y="2945156"/>
                  </a:cubicBezTo>
                  <a:close/>
                  <a:moveTo>
                    <a:pt x="1524571" y="2944839"/>
                  </a:moveTo>
                  <a:cubicBezTo>
                    <a:pt x="1524571" y="2944839"/>
                    <a:pt x="1524571" y="2944839"/>
                    <a:pt x="1528064" y="3027230"/>
                  </a:cubicBezTo>
                  <a:cubicBezTo>
                    <a:pt x="1528064" y="3027230"/>
                    <a:pt x="1528064" y="3027230"/>
                    <a:pt x="1501384" y="3028498"/>
                  </a:cubicBezTo>
                  <a:lnTo>
                    <a:pt x="1501384" y="3026280"/>
                  </a:lnTo>
                  <a:cubicBezTo>
                    <a:pt x="1501384" y="3026280"/>
                    <a:pt x="1501384" y="3026280"/>
                    <a:pt x="1497891" y="2946107"/>
                  </a:cubicBezTo>
                  <a:cubicBezTo>
                    <a:pt x="1497891" y="2946107"/>
                    <a:pt x="1497891" y="2946107"/>
                    <a:pt x="1524571" y="2944839"/>
                  </a:cubicBezTo>
                  <a:close/>
                  <a:moveTo>
                    <a:pt x="1402287" y="2943889"/>
                  </a:moveTo>
                  <a:cubicBezTo>
                    <a:pt x="1402287" y="2943889"/>
                    <a:pt x="1402287" y="2943889"/>
                    <a:pt x="1416580" y="2986352"/>
                  </a:cubicBezTo>
                  <a:cubicBezTo>
                    <a:pt x="1416580" y="2986352"/>
                    <a:pt x="1416580" y="2986352"/>
                    <a:pt x="1394347" y="2993640"/>
                  </a:cubicBezTo>
                  <a:lnTo>
                    <a:pt x="1401970" y="3016456"/>
                  </a:lnTo>
                  <a:cubicBezTo>
                    <a:pt x="1401970" y="3016456"/>
                    <a:pt x="1401970" y="3016456"/>
                    <a:pt x="1379101" y="3024061"/>
                  </a:cubicBezTo>
                  <a:cubicBezTo>
                    <a:pt x="1379101" y="3024061"/>
                    <a:pt x="1379101" y="3024061"/>
                    <a:pt x="1378466" y="3022160"/>
                  </a:cubicBezTo>
                  <a:cubicBezTo>
                    <a:pt x="1378466" y="3022160"/>
                    <a:pt x="1378466" y="3022160"/>
                    <a:pt x="1360044" y="2964170"/>
                  </a:cubicBezTo>
                  <a:cubicBezTo>
                    <a:pt x="1360044" y="2964170"/>
                    <a:pt x="1360044" y="2964170"/>
                    <a:pt x="1374972" y="2959099"/>
                  </a:cubicBezTo>
                  <a:cubicBezTo>
                    <a:pt x="1374972" y="2959099"/>
                    <a:pt x="1374972" y="2959099"/>
                    <a:pt x="1374019" y="2955614"/>
                  </a:cubicBezTo>
                  <a:cubicBezTo>
                    <a:pt x="1374019" y="2955614"/>
                    <a:pt x="1374019" y="2955614"/>
                    <a:pt x="1373066" y="2953712"/>
                  </a:cubicBezTo>
                  <a:cubicBezTo>
                    <a:pt x="1373066" y="2953712"/>
                    <a:pt x="1373066" y="2953712"/>
                    <a:pt x="1402287" y="2943889"/>
                  </a:cubicBezTo>
                  <a:close/>
                  <a:moveTo>
                    <a:pt x="1118654" y="2943889"/>
                  </a:moveTo>
                  <a:cubicBezTo>
                    <a:pt x="1118654" y="2943889"/>
                    <a:pt x="1118654" y="2943889"/>
                    <a:pt x="1231091" y="3088073"/>
                  </a:cubicBezTo>
                  <a:lnTo>
                    <a:pt x="1231726" y="3088707"/>
                  </a:lnTo>
                  <a:cubicBezTo>
                    <a:pt x="1231726" y="3088707"/>
                    <a:pt x="1231726" y="3088707"/>
                    <a:pt x="1233314" y="3090925"/>
                  </a:cubicBezTo>
                  <a:cubicBezTo>
                    <a:pt x="1233314" y="3090925"/>
                    <a:pt x="1233314" y="3090925"/>
                    <a:pt x="1231091" y="3092192"/>
                  </a:cubicBezTo>
                  <a:cubicBezTo>
                    <a:pt x="1230773" y="3092192"/>
                    <a:pt x="1215527" y="3101382"/>
                    <a:pt x="1200282" y="3110889"/>
                  </a:cubicBezTo>
                  <a:cubicBezTo>
                    <a:pt x="1192659" y="3115642"/>
                    <a:pt x="1184718" y="3120395"/>
                    <a:pt x="1179001" y="3123881"/>
                  </a:cubicBezTo>
                  <a:cubicBezTo>
                    <a:pt x="1176143" y="3125782"/>
                    <a:pt x="1173919" y="3127367"/>
                    <a:pt x="1172331" y="3128318"/>
                  </a:cubicBezTo>
                  <a:cubicBezTo>
                    <a:pt x="1171378" y="3128951"/>
                    <a:pt x="1170743" y="3129268"/>
                    <a:pt x="1170426" y="3129585"/>
                  </a:cubicBezTo>
                  <a:cubicBezTo>
                    <a:pt x="1170108" y="3130536"/>
                    <a:pt x="1169790" y="3131169"/>
                    <a:pt x="1168838" y="3132754"/>
                  </a:cubicBezTo>
                  <a:cubicBezTo>
                    <a:pt x="1165661" y="3138775"/>
                    <a:pt x="1157086" y="3152084"/>
                    <a:pt x="1149780" y="3164443"/>
                  </a:cubicBezTo>
                  <a:cubicBezTo>
                    <a:pt x="1145969" y="3170464"/>
                    <a:pt x="1142475" y="3176484"/>
                    <a:pt x="1139934" y="3180921"/>
                  </a:cubicBezTo>
                  <a:cubicBezTo>
                    <a:pt x="1138664" y="3183139"/>
                    <a:pt x="1137711" y="3184724"/>
                    <a:pt x="1136758" y="3185991"/>
                  </a:cubicBezTo>
                  <a:cubicBezTo>
                    <a:pt x="1136440" y="3186942"/>
                    <a:pt x="1136123" y="3187259"/>
                    <a:pt x="1136123" y="3187576"/>
                  </a:cubicBezTo>
                  <a:cubicBezTo>
                    <a:pt x="1136123" y="3187892"/>
                    <a:pt x="1136123" y="3188209"/>
                    <a:pt x="1135805" y="3188843"/>
                  </a:cubicBezTo>
                  <a:cubicBezTo>
                    <a:pt x="1135488" y="3189477"/>
                    <a:pt x="1134217" y="3190111"/>
                    <a:pt x="1133582" y="3189794"/>
                  </a:cubicBezTo>
                  <a:cubicBezTo>
                    <a:pt x="1132947" y="3189794"/>
                    <a:pt x="1131994" y="3189477"/>
                    <a:pt x="1131676" y="3188843"/>
                  </a:cubicBezTo>
                  <a:cubicBezTo>
                    <a:pt x="1131358" y="3188209"/>
                    <a:pt x="1131358" y="3187892"/>
                    <a:pt x="1131358" y="3187576"/>
                  </a:cubicBezTo>
                  <a:cubicBezTo>
                    <a:pt x="1129770" y="3184090"/>
                    <a:pt x="1117701" y="3162858"/>
                    <a:pt x="1106267" y="3142894"/>
                  </a:cubicBezTo>
                  <a:cubicBezTo>
                    <a:pt x="1094197" y="3121663"/>
                    <a:pt x="1082128" y="3101382"/>
                    <a:pt x="1082128" y="3101065"/>
                  </a:cubicBezTo>
                  <a:cubicBezTo>
                    <a:pt x="1082128" y="3101065"/>
                    <a:pt x="1082128" y="3101065"/>
                    <a:pt x="1081492" y="3100431"/>
                  </a:cubicBezTo>
                  <a:cubicBezTo>
                    <a:pt x="1081492" y="3100431"/>
                    <a:pt x="1081492" y="3100431"/>
                    <a:pt x="1118654" y="2943889"/>
                  </a:cubicBezTo>
                  <a:close/>
                  <a:moveTo>
                    <a:pt x="109579" y="2943889"/>
                  </a:moveTo>
                  <a:cubicBezTo>
                    <a:pt x="94968" y="2944839"/>
                    <a:pt x="89569" y="2948959"/>
                    <a:pt x="79405" y="2952445"/>
                  </a:cubicBezTo>
                  <a:cubicBezTo>
                    <a:pt x="76546" y="2953395"/>
                    <a:pt x="64159" y="2958782"/>
                    <a:pt x="53678" y="2963853"/>
                  </a:cubicBezTo>
                  <a:cubicBezTo>
                    <a:pt x="49231" y="2965754"/>
                    <a:pt x="45102" y="2967655"/>
                    <a:pt x="41608" y="2969240"/>
                  </a:cubicBezTo>
                  <a:lnTo>
                    <a:pt x="136576" y="3143845"/>
                  </a:lnTo>
                  <a:cubicBezTo>
                    <a:pt x="138164" y="3143211"/>
                    <a:pt x="139435" y="3142894"/>
                    <a:pt x="140070" y="3142577"/>
                  </a:cubicBezTo>
                  <a:cubicBezTo>
                    <a:pt x="140070" y="3142577"/>
                    <a:pt x="140070" y="3142577"/>
                    <a:pt x="178184" y="3121980"/>
                  </a:cubicBezTo>
                  <a:cubicBezTo>
                    <a:pt x="174691" y="3112473"/>
                    <a:pt x="167703" y="3092509"/>
                    <a:pt x="160398" y="3072228"/>
                  </a:cubicBezTo>
                  <a:cubicBezTo>
                    <a:pt x="155316" y="3058286"/>
                    <a:pt x="150552" y="3044342"/>
                    <a:pt x="146740" y="3033568"/>
                  </a:cubicBezTo>
                  <a:cubicBezTo>
                    <a:pt x="144834" y="3028181"/>
                    <a:pt x="143246" y="3023744"/>
                    <a:pt x="142293" y="3020259"/>
                  </a:cubicBezTo>
                  <a:cubicBezTo>
                    <a:pt x="141023" y="3016773"/>
                    <a:pt x="140388" y="3015822"/>
                    <a:pt x="140388" y="3013921"/>
                  </a:cubicBezTo>
                  <a:cubicBezTo>
                    <a:pt x="140388" y="3013921"/>
                    <a:pt x="140388" y="3013921"/>
                    <a:pt x="140388" y="3013604"/>
                  </a:cubicBezTo>
                  <a:cubicBezTo>
                    <a:pt x="140388" y="3013604"/>
                    <a:pt x="140388" y="3013604"/>
                    <a:pt x="140388" y="3013287"/>
                  </a:cubicBezTo>
                  <a:cubicBezTo>
                    <a:pt x="140705" y="3012020"/>
                    <a:pt x="153410" y="2973993"/>
                    <a:pt x="158810" y="2957515"/>
                  </a:cubicBezTo>
                  <a:cubicBezTo>
                    <a:pt x="145152" y="2952762"/>
                    <a:pt x="122601" y="2943572"/>
                    <a:pt x="110532" y="2943889"/>
                  </a:cubicBezTo>
                  <a:cubicBezTo>
                    <a:pt x="110214" y="2943889"/>
                    <a:pt x="109896" y="2943889"/>
                    <a:pt x="109579" y="2943889"/>
                  </a:cubicBezTo>
                  <a:close/>
                  <a:moveTo>
                    <a:pt x="762603" y="2938819"/>
                  </a:moveTo>
                  <a:cubicBezTo>
                    <a:pt x="762603" y="2938819"/>
                    <a:pt x="762603" y="2938819"/>
                    <a:pt x="838832" y="3142577"/>
                  </a:cubicBezTo>
                  <a:cubicBezTo>
                    <a:pt x="838832" y="3142577"/>
                    <a:pt x="838832" y="3142577"/>
                    <a:pt x="834703" y="3141944"/>
                  </a:cubicBezTo>
                  <a:cubicBezTo>
                    <a:pt x="834703" y="3141944"/>
                    <a:pt x="799764" y="3136557"/>
                    <a:pt x="786742" y="3119128"/>
                  </a:cubicBezTo>
                  <a:cubicBezTo>
                    <a:pt x="786742" y="3119128"/>
                    <a:pt x="786742" y="3119128"/>
                    <a:pt x="786742" y="3118811"/>
                  </a:cubicBezTo>
                  <a:cubicBezTo>
                    <a:pt x="786742" y="3118811"/>
                    <a:pt x="786742" y="3118811"/>
                    <a:pt x="786424" y="3118494"/>
                  </a:cubicBezTo>
                  <a:cubicBezTo>
                    <a:pt x="786424" y="3117860"/>
                    <a:pt x="751169" y="3011386"/>
                    <a:pt x="747040" y="2999027"/>
                  </a:cubicBezTo>
                  <a:cubicBezTo>
                    <a:pt x="747040" y="2999027"/>
                    <a:pt x="747040" y="2999027"/>
                    <a:pt x="721313" y="2992056"/>
                  </a:cubicBezTo>
                  <a:cubicBezTo>
                    <a:pt x="721313" y="2992056"/>
                    <a:pt x="721313" y="2992056"/>
                    <a:pt x="712737" y="2961318"/>
                  </a:cubicBezTo>
                  <a:close/>
                  <a:moveTo>
                    <a:pt x="2348156" y="2938185"/>
                  </a:moveTo>
                  <a:cubicBezTo>
                    <a:pt x="2348156" y="2938185"/>
                    <a:pt x="2348156" y="2938185"/>
                    <a:pt x="2324017" y="2985401"/>
                  </a:cubicBezTo>
                  <a:lnTo>
                    <a:pt x="2329734" y="2988253"/>
                  </a:lnTo>
                  <a:cubicBezTo>
                    <a:pt x="2329734" y="2988253"/>
                    <a:pt x="2329734" y="2988253"/>
                    <a:pt x="2353556" y="2941037"/>
                  </a:cubicBezTo>
                  <a:cubicBezTo>
                    <a:pt x="2353556" y="2941037"/>
                    <a:pt x="2353556" y="2941037"/>
                    <a:pt x="2348156" y="2938185"/>
                  </a:cubicBezTo>
                  <a:close/>
                  <a:moveTo>
                    <a:pt x="1466764" y="2933432"/>
                  </a:moveTo>
                  <a:cubicBezTo>
                    <a:pt x="1415310" y="2937868"/>
                    <a:pt x="1364491" y="2941037"/>
                    <a:pt x="1338446" y="2942305"/>
                  </a:cubicBezTo>
                  <a:cubicBezTo>
                    <a:pt x="1338446" y="2942305"/>
                    <a:pt x="1338446" y="2942305"/>
                    <a:pt x="1397205" y="3070327"/>
                  </a:cubicBezTo>
                  <a:cubicBezTo>
                    <a:pt x="1414992" y="3070010"/>
                    <a:pt x="1442307" y="3069377"/>
                    <a:pt x="1473752" y="3068743"/>
                  </a:cubicBezTo>
                  <a:cubicBezTo>
                    <a:pt x="1473752" y="3068743"/>
                    <a:pt x="1473752" y="3068743"/>
                    <a:pt x="1466764" y="2933432"/>
                  </a:cubicBezTo>
                  <a:close/>
                  <a:moveTo>
                    <a:pt x="413222" y="2931530"/>
                  </a:moveTo>
                  <a:lnTo>
                    <a:pt x="383049" y="2946741"/>
                  </a:lnTo>
                  <a:cubicBezTo>
                    <a:pt x="383049" y="2946741"/>
                    <a:pt x="383049" y="2946741"/>
                    <a:pt x="400200" y="2982232"/>
                  </a:cubicBezTo>
                  <a:cubicBezTo>
                    <a:pt x="400200" y="2982232"/>
                    <a:pt x="400200" y="2982232"/>
                    <a:pt x="430056" y="2967339"/>
                  </a:cubicBezTo>
                  <a:cubicBezTo>
                    <a:pt x="430056" y="2967339"/>
                    <a:pt x="430056" y="2967339"/>
                    <a:pt x="429739" y="2967022"/>
                  </a:cubicBezTo>
                  <a:cubicBezTo>
                    <a:pt x="429739" y="2967022"/>
                    <a:pt x="429739" y="2967022"/>
                    <a:pt x="427833" y="2962902"/>
                  </a:cubicBezTo>
                  <a:cubicBezTo>
                    <a:pt x="427833" y="2962902"/>
                    <a:pt x="427833" y="2962902"/>
                    <a:pt x="429421" y="2962268"/>
                  </a:cubicBezTo>
                  <a:cubicBezTo>
                    <a:pt x="429421" y="2962268"/>
                    <a:pt x="429421" y="2962268"/>
                    <a:pt x="425927" y="2954346"/>
                  </a:cubicBezTo>
                  <a:cubicBezTo>
                    <a:pt x="425927" y="2954346"/>
                    <a:pt x="425927" y="2954346"/>
                    <a:pt x="413222" y="2931530"/>
                  </a:cubicBezTo>
                  <a:close/>
                  <a:moveTo>
                    <a:pt x="2145833" y="2927727"/>
                  </a:moveTo>
                  <a:cubicBezTo>
                    <a:pt x="2145833" y="2927727"/>
                    <a:pt x="2145833" y="2927727"/>
                    <a:pt x="2127728" y="2980648"/>
                  </a:cubicBezTo>
                  <a:lnTo>
                    <a:pt x="2209674" y="3000612"/>
                  </a:lnTo>
                  <a:cubicBezTo>
                    <a:pt x="2209674" y="3000612"/>
                    <a:pt x="2209674" y="3000612"/>
                    <a:pt x="2226826" y="2947058"/>
                  </a:cubicBezTo>
                  <a:cubicBezTo>
                    <a:pt x="2226826" y="2947058"/>
                    <a:pt x="2226826" y="2947058"/>
                    <a:pt x="2145833" y="2927727"/>
                  </a:cubicBezTo>
                  <a:close/>
                  <a:moveTo>
                    <a:pt x="2383729" y="2927411"/>
                  </a:moveTo>
                  <a:cubicBezTo>
                    <a:pt x="2383729" y="2927411"/>
                    <a:pt x="2383729" y="2927411"/>
                    <a:pt x="2340851" y="3011703"/>
                  </a:cubicBezTo>
                  <a:lnTo>
                    <a:pt x="2498708" y="3114058"/>
                  </a:lnTo>
                  <a:cubicBezTo>
                    <a:pt x="2506648" y="3103284"/>
                    <a:pt x="2523482" y="3077615"/>
                    <a:pt x="2545080" y="3044976"/>
                  </a:cubicBezTo>
                  <a:cubicBezTo>
                    <a:pt x="2546350" y="3042758"/>
                    <a:pt x="2547938" y="3040540"/>
                    <a:pt x="2549209" y="3038638"/>
                  </a:cubicBezTo>
                  <a:cubicBezTo>
                    <a:pt x="2549209" y="3038638"/>
                    <a:pt x="2549209" y="3038638"/>
                    <a:pt x="2383729" y="2927411"/>
                  </a:cubicBezTo>
                  <a:close/>
                  <a:moveTo>
                    <a:pt x="509461" y="2922657"/>
                  </a:moveTo>
                  <a:cubicBezTo>
                    <a:pt x="509461" y="2922657"/>
                    <a:pt x="509461" y="2922657"/>
                    <a:pt x="473888" y="2939769"/>
                  </a:cubicBezTo>
                  <a:cubicBezTo>
                    <a:pt x="473888" y="2939769"/>
                    <a:pt x="473888" y="2939769"/>
                    <a:pt x="474205" y="2941671"/>
                  </a:cubicBezTo>
                  <a:lnTo>
                    <a:pt x="482463" y="2959099"/>
                  </a:lnTo>
                  <a:cubicBezTo>
                    <a:pt x="482463" y="2959099"/>
                    <a:pt x="482463" y="2959099"/>
                    <a:pt x="517401" y="2940086"/>
                  </a:cubicBezTo>
                  <a:cubicBezTo>
                    <a:pt x="517401" y="2940086"/>
                    <a:pt x="517401" y="2940086"/>
                    <a:pt x="509461" y="2922657"/>
                  </a:cubicBezTo>
                  <a:close/>
                  <a:moveTo>
                    <a:pt x="1721177" y="2922340"/>
                  </a:moveTo>
                  <a:cubicBezTo>
                    <a:pt x="1721177" y="2922340"/>
                    <a:pt x="1721177" y="2922340"/>
                    <a:pt x="1718636" y="2936600"/>
                  </a:cubicBezTo>
                  <a:lnTo>
                    <a:pt x="1758020" y="2943572"/>
                  </a:lnTo>
                  <a:cubicBezTo>
                    <a:pt x="1758020" y="2943572"/>
                    <a:pt x="1758020" y="2943572"/>
                    <a:pt x="1760244" y="2928995"/>
                  </a:cubicBezTo>
                  <a:cubicBezTo>
                    <a:pt x="1760244" y="2928995"/>
                    <a:pt x="1760244" y="2928995"/>
                    <a:pt x="1721177" y="2922340"/>
                  </a:cubicBezTo>
                  <a:close/>
                  <a:moveTo>
                    <a:pt x="1573484" y="2922023"/>
                  </a:moveTo>
                  <a:cubicBezTo>
                    <a:pt x="1546486" y="2926143"/>
                    <a:pt x="1509007" y="2929946"/>
                    <a:pt x="1470893" y="2933115"/>
                  </a:cubicBezTo>
                  <a:cubicBezTo>
                    <a:pt x="1470893" y="2933115"/>
                    <a:pt x="1470893" y="2933115"/>
                    <a:pt x="1478198" y="3068743"/>
                  </a:cubicBezTo>
                  <a:cubicBezTo>
                    <a:pt x="1524253" y="3067792"/>
                    <a:pt x="1578248" y="3066524"/>
                    <a:pt x="1623032" y="3065574"/>
                  </a:cubicBezTo>
                  <a:cubicBezTo>
                    <a:pt x="1623032" y="3065574"/>
                    <a:pt x="1623032" y="3065574"/>
                    <a:pt x="1573484" y="2922023"/>
                  </a:cubicBezTo>
                  <a:close/>
                  <a:moveTo>
                    <a:pt x="364309" y="2920122"/>
                  </a:moveTo>
                  <a:cubicBezTo>
                    <a:pt x="364309" y="2920122"/>
                    <a:pt x="364309" y="2920122"/>
                    <a:pt x="338582" y="2936283"/>
                  </a:cubicBezTo>
                  <a:cubicBezTo>
                    <a:pt x="340488" y="2940403"/>
                    <a:pt x="344934" y="2950543"/>
                    <a:pt x="350334" y="2962585"/>
                  </a:cubicBezTo>
                  <a:cubicBezTo>
                    <a:pt x="350334" y="2962585"/>
                    <a:pt x="350334" y="2962585"/>
                    <a:pt x="377967" y="2948959"/>
                  </a:cubicBezTo>
                  <a:cubicBezTo>
                    <a:pt x="377967" y="2948959"/>
                    <a:pt x="377967" y="2948959"/>
                    <a:pt x="378284" y="2948959"/>
                  </a:cubicBezTo>
                  <a:cubicBezTo>
                    <a:pt x="378284" y="2948959"/>
                    <a:pt x="378284" y="2948959"/>
                    <a:pt x="364309" y="2920122"/>
                  </a:cubicBezTo>
                  <a:close/>
                  <a:moveTo>
                    <a:pt x="2308454" y="2918538"/>
                  </a:moveTo>
                  <a:cubicBezTo>
                    <a:pt x="2308454" y="2918538"/>
                    <a:pt x="2308454" y="2918538"/>
                    <a:pt x="2283997" y="2966388"/>
                  </a:cubicBezTo>
                  <a:lnTo>
                    <a:pt x="2320206" y="2983817"/>
                  </a:lnTo>
                  <a:cubicBezTo>
                    <a:pt x="2320206" y="2983817"/>
                    <a:pt x="2320206" y="2983817"/>
                    <a:pt x="2344345" y="2936283"/>
                  </a:cubicBezTo>
                  <a:cubicBezTo>
                    <a:pt x="2344345" y="2936283"/>
                    <a:pt x="2344345" y="2936283"/>
                    <a:pt x="2308454" y="2918538"/>
                  </a:cubicBezTo>
                  <a:close/>
                  <a:moveTo>
                    <a:pt x="767367" y="2918221"/>
                  </a:moveTo>
                  <a:cubicBezTo>
                    <a:pt x="747040" y="2929312"/>
                    <a:pt x="726394" y="2940086"/>
                    <a:pt x="706067" y="2951177"/>
                  </a:cubicBezTo>
                  <a:cubicBezTo>
                    <a:pt x="704796" y="2965120"/>
                    <a:pt x="699079" y="3019942"/>
                    <a:pt x="693362" y="3074447"/>
                  </a:cubicBezTo>
                  <a:cubicBezTo>
                    <a:pt x="689868" y="3106452"/>
                    <a:pt x="686692" y="3138141"/>
                    <a:pt x="683834" y="3161908"/>
                  </a:cubicBezTo>
                  <a:cubicBezTo>
                    <a:pt x="682563" y="3173949"/>
                    <a:pt x="681293" y="3183773"/>
                    <a:pt x="680657" y="3190744"/>
                  </a:cubicBezTo>
                  <a:cubicBezTo>
                    <a:pt x="680022" y="3194230"/>
                    <a:pt x="679705" y="3197082"/>
                    <a:pt x="679387" y="3198983"/>
                  </a:cubicBezTo>
                  <a:cubicBezTo>
                    <a:pt x="679387" y="3199300"/>
                    <a:pt x="679387" y="3199300"/>
                    <a:pt x="679387" y="3199617"/>
                  </a:cubicBezTo>
                  <a:cubicBezTo>
                    <a:pt x="680975" y="3200568"/>
                    <a:pt x="682881" y="3201519"/>
                    <a:pt x="684786" y="3202469"/>
                  </a:cubicBezTo>
                  <a:cubicBezTo>
                    <a:pt x="695268" y="3206589"/>
                    <a:pt x="710196" y="3210708"/>
                    <a:pt x="722265" y="3213243"/>
                  </a:cubicBezTo>
                  <a:cubicBezTo>
                    <a:pt x="734335" y="3216095"/>
                    <a:pt x="743546" y="3217680"/>
                    <a:pt x="743864" y="3217680"/>
                  </a:cubicBezTo>
                  <a:cubicBezTo>
                    <a:pt x="745452" y="3217997"/>
                    <a:pt x="747675" y="3218314"/>
                    <a:pt x="750216" y="3218631"/>
                  </a:cubicBezTo>
                  <a:cubicBezTo>
                    <a:pt x="758156" y="3219264"/>
                    <a:pt x="768003" y="3220849"/>
                    <a:pt x="781978" y="3220849"/>
                  </a:cubicBezTo>
                  <a:cubicBezTo>
                    <a:pt x="808340" y="3220849"/>
                    <a:pt x="843913" y="3217363"/>
                    <a:pt x="880440" y="3205004"/>
                  </a:cubicBezTo>
                  <a:close/>
                  <a:moveTo>
                    <a:pt x="1717683" y="2917587"/>
                  </a:moveTo>
                  <a:cubicBezTo>
                    <a:pt x="1717683" y="2917587"/>
                    <a:pt x="1717683" y="2917587"/>
                    <a:pt x="1765008" y="2925826"/>
                  </a:cubicBezTo>
                  <a:cubicBezTo>
                    <a:pt x="1765008" y="2925826"/>
                    <a:pt x="1765008" y="2925826"/>
                    <a:pt x="1761197" y="2948008"/>
                  </a:cubicBezTo>
                  <a:lnTo>
                    <a:pt x="1759291" y="2947692"/>
                  </a:lnTo>
                  <a:cubicBezTo>
                    <a:pt x="1759291" y="2947692"/>
                    <a:pt x="1759291" y="2947692"/>
                    <a:pt x="1713871" y="2939769"/>
                  </a:cubicBezTo>
                  <a:cubicBezTo>
                    <a:pt x="1713871" y="2939769"/>
                    <a:pt x="1713871" y="2939769"/>
                    <a:pt x="1717683" y="2917587"/>
                  </a:cubicBezTo>
                  <a:close/>
                  <a:moveTo>
                    <a:pt x="2100096" y="2917270"/>
                  </a:moveTo>
                  <a:cubicBezTo>
                    <a:pt x="2100096" y="2917270"/>
                    <a:pt x="2100096" y="2917270"/>
                    <a:pt x="2081992" y="2969557"/>
                  </a:cubicBezTo>
                  <a:cubicBezTo>
                    <a:pt x="2081992" y="2969557"/>
                    <a:pt x="2081992" y="2969557"/>
                    <a:pt x="2123600" y="2979697"/>
                  </a:cubicBezTo>
                  <a:cubicBezTo>
                    <a:pt x="2123600" y="2979697"/>
                    <a:pt x="2123600" y="2979697"/>
                    <a:pt x="2141704" y="2926777"/>
                  </a:cubicBezTo>
                  <a:close/>
                  <a:moveTo>
                    <a:pt x="1912066" y="2916953"/>
                  </a:moveTo>
                  <a:cubicBezTo>
                    <a:pt x="1912066" y="2916953"/>
                    <a:pt x="1912066" y="2916953"/>
                    <a:pt x="1898408" y="2954029"/>
                  </a:cubicBezTo>
                  <a:lnTo>
                    <a:pt x="1938745" y="2961001"/>
                  </a:lnTo>
                  <a:cubicBezTo>
                    <a:pt x="1938745" y="2961001"/>
                    <a:pt x="1938745" y="2961001"/>
                    <a:pt x="1951768" y="2924242"/>
                  </a:cubicBezTo>
                  <a:cubicBezTo>
                    <a:pt x="1951768" y="2924242"/>
                    <a:pt x="1951768" y="2924242"/>
                    <a:pt x="1912066" y="2916953"/>
                  </a:cubicBezTo>
                  <a:close/>
                  <a:moveTo>
                    <a:pt x="2091838" y="2915052"/>
                  </a:moveTo>
                  <a:cubicBezTo>
                    <a:pt x="2085485" y="2933115"/>
                    <a:pt x="2079768" y="2950543"/>
                    <a:pt x="2073733" y="2967655"/>
                  </a:cubicBezTo>
                  <a:cubicBezTo>
                    <a:pt x="2073733" y="2967655"/>
                    <a:pt x="2073733" y="2967655"/>
                    <a:pt x="2078180" y="2968606"/>
                  </a:cubicBezTo>
                  <a:cubicBezTo>
                    <a:pt x="2078180" y="2968606"/>
                    <a:pt x="2078180" y="2968606"/>
                    <a:pt x="2095967" y="2916003"/>
                  </a:cubicBezTo>
                  <a:close/>
                  <a:moveTo>
                    <a:pt x="452607" y="2907130"/>
                  </a:moveTo>
                  <a:cubicBezTo>
                    <a:pt x="452607" y="2907130"/>
                    <a:pt x="452607" y="2907130"/>
                    <a:pt x="417987" y="2923925"/>
                  </a:cubicBezTo>
                  <a:lnTo>
                    <a:pt x="434185" y="2960050"/>
                  </a:lnTo>
                  <a:cubicBezTo>
                    <a:pt x="434185" y="2960050"/>
                    <a:pt x="434185" y="2960050"/>
                    <a:pt x="469123" y="2942938"/>
                  </a:cubicBezTo>
                  <a:cubicBezTo>
                    <a:pt x="469123" y="2942938"/>
                    <a:pt x="469123" y="2942938"/>
                    <a:pt x="452607" y="2907130"/>
                  </a:cubicBezTo>
                  <a:close/>
                  <a:moveTo>
                    <a:pt x="1849812" y="2905545"/>
                  </a:moveTo>
                  <a:lnTo>
                    <a:pt x="1838696" y="2943889"/>
                  </a:lnTo>
                  <a:cubicBezTo>
                    <a:pt x="1838696" y="2943889"/>
                    <a:pt x="1838696" y="2943889"/>
                    <a:pt x="1894279" y="2953395"/>
                  </a:cubicBezTo>
                  <a:cubicBezTo>
                    <a:pt x="1894279" y="2953395"/>
                    <a:pt x="1894279" y="2953395"/>
                    <a:pt x="1907937" y="2916003"/>
                  </a:cubicBezTo>
                  <a:cubicBezTo>
                    <a:pt x="1907937" y="2916003"/>
                    <a:pt x="1907937" y="2916003"/>
                    <a:pt x="1849812" y="2905545"/>
                  </a:cubicBezTo>
                  <a:close/>
                  <a:moveTo>
                    <a:pt x="542176" y="2900475"/>
                  </a:moveTo>
                  <a:cubicBezTo>
                    <a:pt x="542176" y="2900475"/>
                    <a:pt x="542176" y="2900475"/>
                    <a:pt x="511684" y="2915686"/>
                  </a:cubicBezTo>
                  <a:lnTo>
                    <a:pt x="522166" y="2937551"/>
                  </a:lnTo>
                  <a:cubicBezTo>
                    <a:pt x="522166" y="2937551"/>
                    <a:pt x="522166" y="2937551"/>
                    <a:pt x="552022" y="2921390"/>
                  </a:cubicBezTo>
                  <a:cubicBezTo>
                    <a:pt x="550434" y="2918221"/>
                    <a:pt x="546940" y="2910932"/>
                    <a:pt x="542176" y="2900475"/>
                  </a:cubicBezTo>
                  <a:close/>
                  <a:moveTo>
                    <a:pt x="1688144" y="2899208"/>
                  </a:moveTo>
                  <a:cubicBezTo>
                    <a:pt x="1689097" y="2901109"/>
                    <a:pt x="1690050" y="2903327"/>
                    <a:pt x="1690368" y="2905228"/>
                  </a:cubicBezTo>
                  <a:cubicBezTo>
                    <a:pt x="1691320" y="2909348"/>
                    <a:pt x="1699261" y="2925509"/>
                    <a:pt x="1706884" y="2944523"/>
                  </a:cubicBezTo>
                  <a:cubicBezTo>
                    <a:pt x="1707837" y="2946107"/>
                    <a:pt x="1708472" y="2948008"/>
                    <a:pt x="1709107" y="2949910"/>
                  </a:cubicBezTo>
                  <a:cubicBezTo>
                    <a:pt x="1709107" y="2949910"/>
                    <a:pt x="1709107" y="2949910"/>
                    <a:pt x="1827897" y="2965120"/>
                  </a:cubicBezTo>
                  <a:lnTo>
                    <a:pt x="1839013" y="2927094"/>
                  </a:lnTo>
                  <a:cubicBezTo>
                    <a:pt x="1826944" y="2925509"/>
                    <a:pt x="1725941" y="2906496"/>
                    <a:pt x="1688144" y="2899208"/>
                  </a:cubicBezTo>
                  <a:close/>
                  <a:moveTo>
                    <a:pt x="400200" y="2897940"/>
                  </a:moveTo>
                  <a:cubicBezTo>
                    <a:pt x="400200" y="2897940"/>
                    <a:pt x="400200" y="2897940"/>
                    <a:pt x="368756" y="2917587"/>
                  </a:cubicBezTo>
                  <a:lnTo>
                    <a:pt x="380825" y="2942938"/>
                  </a:lnTo>
                  <a:cubicBezTo>
                    <a:pt x="380825" y="2942938"/>
                    <a:pt x="380825" y="2942938"/>
                    <a:pt x="410999" y="2927727"/>
                  </a:cubicBezTo>
                  <a:cubicBezTo>
                    <a:pt x="410999" y="2927727"/>
                    <a:pt x="410999" y="2927727"/>
                    <a:pt x="410999" y="2927411"/>
                  </a:cubicBezTo>
                  <a:cubicBezTo>
                    <a:pt x="410999" y="2927411"/>
                    <a:pt x="410999" y="2927411"/>
                    <a:pt x="412587" y="2926777"/>
                  </a:cubicBezTo>
                  <a:cubicBezTo>
                    <a:pt x="412587" y="2926777"/>
                    <a:pt x="412587" y="2926777"/>
                    <a:pt x="410681" y="2922657"/>
                  </a:cubicBezTo>
                  <a:cubicBezTo>
                    <a:pt x="410681" y="2922657"/>
                    <a:pt x="410681" y="2922657"/>
                    <a:pt x="411317" y="2922340"/>
                  </a:cubicBezTo>
                  <a:cubicBezTo>
                    <a:pt x="411317" y="2922340"/>
                    <a:pt x="411317" y="2922340"/>
                    <a:pt x="400200" y="2897940"/>
                  </a:cubicBezTo>
                  <a:close/>
                  <a:moveTo>
                    <a:pt x="2264940" y="2896989"/>
                  </a:moveTo>
                  <a:lnTo>
                    <a:pt x="2248106" y="2949593"/>
                  </a:lnTo>
                  <a:cubicBezTo>
                    <a:pt x="2248106" y="2949593"/>
                    <a:pt x="2248106" y="2949593"/>
                    <a:pt x="2280186" y="2964803"/>
                  </a:cubicBezTo>
                  <a:cubicBezTo>
                    <a:pt x="2280186" y="2964803"/>
                    <a:pt x="2280186" y="2964803"/>
                    <a:pt x="2304642" y="2916953"/>
                  </a:cubicBezTo>
                  <a:cubicBezTo>
                    <a:pt x="2304642" y="2916953"/>
                    <a:pt x="2304642" y="2916953"/>
                    <a:pt x="2264940" y="2896989"/>
                  </a:cubicBezTo>
                  <a:close/>
                  <a:moveTo>
                    <a:pt x="837561" y="2895405"/>
                  </a:moveTo>
                  <a:cubicBezTo>
                    <a:pt x="837561" y="2895405"/>
                    <a:pt x="837561" y="2895405"/>
                    <a:pt x="789918" y="2922974"/>
                  </a:cubicBezTo>
                  <a:cubicBezTo>
                    <a:pt x="789918" y="2922974"/>
                    <a:pt x="789918" y="2922974"/>
                    <a:pt x="891874" y="3185040"/>
                  </a:cubicBezTo>
                  <a:cubicBezTo>
                    <a:pt x="891874" y="3185040"/>
                    <a:pt x="891874" y="3185040"/>
                    <a:pt x="928718" y="3167928"/>
                  </a:cubicBezTo>
                  <a:cubicBezTo>
                    <a:pt x="928718" y="3167928"/>
                    <a:pt x="928718" y="3167928"/>
                    <a:pt x="917601" y="3130219"/>
                  </a:cubicBezTo>
                  <a:cubicBezTo>
                    <a:pt x="917601" y="3130219"/>
                    <a:pt x="917601" y="3130219"/>
                    <a:pt x="899179" y="3147965"/>
                  </a:cubicBezTo>
                  <a:cubicBezTo>
                    <a:pt x="899179" y="3147965"/>
                    <a:pt x="899179" y="3147965"/>
                    <a:pt x="833750" y="2961318"/>
                  </a:cubicBezTo>
                  <a:cubicBezTo>
                    <a:pt x="833750" y="2961318"/>
                    <a:pt x="833750" y="2961318"/>
                    <a:pt x="841373" y="2955930"/>
                  </a:cubicBezTo>
                  <a:cubicBezTo>
                    <a:pt x="841373" y="2955930"/>
                    <a:pt x="841373" y="2955930"/>
                    <a:pt x="939517" y="3095044"/>
                  </a:cubicBezTo>
                  <a:cubicBezTo>
                    <a:pt x="939517" y="3095044"/>
                    <a:pt x="939517" y="3095044"/>
                    <a:pt x="921412" y="3096629"/>
                  </a:cubicBezTo>
                  <a:cubicBezTo>
                    <a:pt x="921412" y="3096629"/>
                    <a:pt x="921412" y="3096629"/>
                    <a:pt x="961115" y="3149866"/>
                  </a:cubicBezTo>
                  <a:lnTo>
                    <a:pt x="998594" y="3124198"/>
                  </a:lnTo>
                  <a:cubicBezTo>
                    <a:pt x="998594" y="3124198"/>
                    <a:pt x="998594" y="3124198"/>
                    <a:pt x="837561" y="2895405"/>
                  </a:cubicBezTo>
                  <a:close/>
                  <a:moveTo>
                    <a:pt x="4015972" y="2893504"/>
                  </a:moveTo>
                  <a:cubicBezTo>
                    <a:pt x="4015972" y="2893504"/>
                    <a:pt x="4015972" y="2893504"/>
                    <a:pt x="3992151" y="2894137"/>
                  </a:cubicBezTo>
                  <a:cubicBezTo>
                    <a:pt x="3992151" y="2894137"/>
                    <a:pt x="3992151" y="2894137"/>
                    <a:pt x="3992469" y="2899841"/>
                  </a:cubicBezTo>
                  <a:cubicBezTo>
                    <a:pt x="3992469" y="2899841"/>
                    <a:pt x="3992469" y="2899841"/>
                    <a:pt x="3992469" y="2902060"/>
                  </a:cubicBezTo>
                  <a:cubicBezTo>
                    <a:pt x="3992469" y="2902060"/>
                    <a:pt x="3992469" y="2902060"/>
                    <a:pt x="3968647" y="2902060"/>
                  </a:cubicBezTo>
                  <a:cubicBezTo>
                    <a:pt x="3968647" y="2902060"/>
                    <a:pt x="3968647" y="2902060"/>
                    <a:pt x="3969282" y="2922657"/>
                  </a:cubicBezTo>
                  <a:cubicBezTo>
                    <a:pt x="3969282" y="2922657"/>
                    <a:pt x="3969282" y="2922657"/>
                    <a:pt x="3958801" y="2923291"/>
                  </a:cubicBezTo>
                  <a:cubicBezTo>
                    <a:pt x="3958801" y="2923291"/>
                    <a:pt x="3958801" y="2923291"/>
                    <a:pt x="3958801" y="2936917"/>
                  </a:cubicBezTo>
                  <a:cubicBezTo>
                    <a:pt x="3958801" y="2936917"/>
                    <a:pt x="3958801" y="2936917"/>
                    <a:pt x="3965154" y="2937234"/>
                  </a:cubicBezTo>
                  <a:cubicBezTo>
                    <a:pt x="3965154" y="2937234"/>
                    <a:pt x="3965154" y="2937234"/>
                    <a:pt x="3967059" y="2937234"/>
                  </a:cubicBezTo>
                  <a:cubicBezTo>
                    <a:pt x="3967059" y="2937234"/>
                    <a:pt x="3967059" y="2937234"/>
                    <a:pt x="3967694" y="2954980"/>
                  </a:cubicBezTo>
                  <a:cubicBezTo>
                    <a:pt x="3967694" y="2954980"/>
                    <a:pt x="3967694" y="2954980"/>
                    <a:pt x="4009938" y="2955297"/>
                  </a:cubicBezTo>
                  <a:cubicBezTo>
                    <a:pt x="4009938" y="2955297"/>
                    <a:pt x="4009938" y="2955297"/>
                    <a:pt x="4011526" y="2968923"/>
                  </a:cubicBezTo>
                  <a:cubicBezTo>
                    <a:pt x="4011526" y="2968923"/>
                    <a:pt x="4011526" y="2968923"/>
                    <a:pt x="4029948" y="2969240"/>
                  </a:cubicBezTo>
                  <a:cubicBezTo>
                    <a:pt x="4029948" y="2969240"/>
                    <a:pt x="4029948" y="2969240"/>
                    <a:pt x="4030266" y="2955930"/>
                  </a:cubicBezTo>
                  <a:cubicBezTo>
                    <a:pt x="4030266" y="2955930"/>
                    <a:pt x="4030266" y="2955930"/>
                    <a:pt x="4058851" y="2955614"/>
                  </a:cubicBezTo>
                  <a:lnTo>
                    <a:pt x="4059169" y="2903010"/>
                  </a:lnTo>
                  <a:cubicBezTo>
                    <a:pt x="4059169" y="2903010"/>
                    <a:pt x="4059169" y="2903010"/>
                    <a:pt x="4016608" y="2902376"/>
                  </a:cubicBezTo>
                  <a:cubicBezTo>
                    <a:pt x="4016608" y="2902376"/>
                    <a:pt x="4016608" y="2902376"/>
                    <a:pt x="4015972" y="2893504"/>
                  </a:cubicBezTo>
                  <a:close/>
                  <a:moveTo>
                    <a:pt x="4020102" y="2889067"/>
                  </a:moveTo>
                  <a:lnTo>
                    <a:pt x="4020419" y="2898257"/>
                  </a:lnTo>
                  <a:cubicBezTo>
                    <a:pt x="4020419" y="2898257"/>
                    <a:pt x="4020419" y="2898257"/>
                    <a:pt x="4063298" y="2898891"/>
                  </a:cubicBezTo>
                  <a:cubicBezTo>
                    <a:pt x="4063298" y="2898891"/>
                    <a:pt x="4063298" y="2898891"/>
                    <a:pt x="4062980" y="2959733"/>
                  </a:cubicBezTo>
                  <a:cubicBezTo>
                    <a:pt x="4062980" y="2959733"/>
                    <a:pt x="4062980" y="2959733"/>
                    <a:pt x="4060757" y="2959733"/>
                  </a:cubicBezTo>
                  <a:cubicBezTo>
                    <a:pt x="4060757" y="2959733"/>
                    <a:pt x="4060757" y="2959733"/>
                    <a:pt x="4034394" y="2960050"/>
                  </a:cubicBezTo>
                  <a:cubicBezTo>
                    <a:pt x="4034394" y="2960050"/>
                    <a:pt x="4034394" y="2960050"/>
                    <a:pt x="4034077" y="2973676"/>
                  </a:cubicBezTo>
                  <a:cubicBezTo>
                    <a:pt x="4034077" y="2973676"/>
                    <a:pt x="4034077" y="2973676"/>
                    <a:pt x="4007714" y="2973042"/>
                  </a:cubicBezTo>
                  <a:cubicBezTo>
                    <a:pt x="4007714" y="2973042"/>
                    <a:pt x="4007714" y="2973042"/>
                    <a:pt x="4006444" y="2959416"/>
                  </a:cubicBezTo>
                  <a:cubicBezTo>
                    <a:pt x="4006444" y="2959416"/>
                    <a:pt x="4006444" y="2959416"/>
                    <a:pt x="3963566" y="2959099"/>
                  </a:cubicBezTo>
                  <a:cubicBezTo>
                    <a:pt x="3963566" y="2959099"/>
                    <a:pt x="3963566" y="2959099"/>
                    <a:pt x="3962930" y="2941354"/>
                  </a:cubicBezTo>
                  <a:cubicBezTo>
                    <a:pt x="3962930" y="2941354"/>
                    <a:pt x="3962930" y="2941354"/>
                    <a:pt x="3956896" y="2941037"/>
                  </a:cubicBezTo>
                  <a:cubicBezTo>
                    <a:pt x="3956896" y="2941037"/>
                    <a:pt x="3956896" y="2941037"/>
                    <a:pt x="3954990" y="2940720"/>
                  </a:cubicBezTo>
                  <a:cubicBezTo>
                    <a:pt x="3954990" y="2940720"/>
                    <a:pt x="3954990" y="2940720"/>
                    <a:pt x="3954672" y="2919488"/>
                  </a:cubicBezTo>
                  <a:cubicBezTo>
                    <a:pt x="3954672" y="2919488"/>
                    <a:pt x="3954672" y="2919488"/>
                    <a:pt x="3964836" y="2918855"/>
                  </a:cubicBezTo>
                  <a:cubicBezTo>
                    <a:pt x="3964836" y="2918855"/>
                    <a:pt x="3964836" y="2918855"/>
                    <a:pt x="3964201" y="2897940"/>
                  </a:cubicBezTo>
                  <a:cubicBezTo>
                    <a:pt x="3964201" y="2897940"/>
                    <a:pt x="3964201" y="2897940"/>
                    <a:pt x="3988340" y="2897940"/>
                  </a:cubicBezTo>
                  <a:cubicBezTo>
                    <a:pt x="3988340" y="2897940"/>
                    <a:pt x="3988340" y="2897940"/>
                    <a:pt x="3988022" y="2892236"/>
                  </a:cubicBezTo>
                  <a:cubicBezTo>
                    <a:pt x="3988022" y="2892236"/>
                    <a:pt x="3988022" y="2892236"/>
                    <a:pt x="3987704" y="2890018"/>
                  </a:cubicBezTo>
                  <a:cubicBezTo>
                    <a:pt x="3987704" y="2890018"/>
                    <a:pt x="3987704" y="2890018"/>
                    <a:pt x="4020102" y="2889067"/>
                  </a:cubicBezTo>
                  <a:close/>
                  <a:moveTo>
                    <a:pt x="838832" y="2889067"/>
                  </a:moveTo>
                  <a:cubicBezTo>
                    <a:pt x="838832" y="2889067"/>
                    <a:pt x="838832" y="2889067"/>
                    <a:pt x="1004946" y="3125466"/>
                  </a:cubicBezTo>
                  <a:cubicBezTo>
                    <a:pt x="1004946" y="3125466"/>
                    <a:pt x="1004946" y="3125466"/>
                    <a:pt x="1003041" y="3126733"/>
                  </a:cubicBezTo>
                  <a:cubicBezTo>
                    <a:pt x="1003041" y="3126733"/>
                    <a:pt x="1003041" y="3126733"/>
                    <a:pt x="960162" y="3156521"/>
                  </a:cubicBezTo>
                  <a:cubicBezTo>
                    <a:pt x="960162" y="3156521"/>
                    <a:pt x="960162" y="3156521"/>
                    <a:pt x="912837" y="3092826"/>
                  </a:cubicBezTo>
                  <a:cubicBezTo>
                    <a:pt x="912837" y="3092826"/>
                    <a:pt x="912837" y="3092826"/>
                    <a:pt x="931259" y="3090925"/>
                  </a:cubicBezTo>
                  <a:cubicBezTo>
                    <a:pt x="931259" y="3090925"/>
                    <a:pt x="931259" y="3090925"/>
                    <a:pt x="840102" y="2962585"/>
                  </a:cubicBezTo>
                  <a:cubicBezTo>
                    <a:pt x="840102" y="2962585"/>
                    <a:pt x="840102" y="2962585"/>
                    <a:pt x="839149" y="2963219"/>
                  </a:cubicBezTo>
                  <a:cubicBezTo>
                    <a:pt x="839149" y="2963219"/>
                    <a:pt x="839149" y="2963219"/>
                    <a:pt x="901402" y="3139409"/>
                  </a:cubicBezTo>
                  <a:cubicBezTo>
                    <a:pt x="901402" y="3139409"/>
                    <a:pt x="901402" y="3139409"/>
                    <a:pt x="920142" y="3121663"/>
                  </a:cubicBezTo>
                  <a:cubicBezTo>
                    <a:pt x="920142" y="3121663"/>
                    <a:pt x="920142" y="3121663"/>
                    <a:pt x="934435" y="3170464"/>
                  </a:cubicBezTo>
                  <a:cubicBezTo>
                    <a:pt x="934435" y="3170464"/>
                    <a:pt x="934435" y="3170464"/>
                    <a:pt x="889333" y="3191378"/>
                  </a:cubicBezTo>
                  <a:cubicBezTo>
                    <a:pt x="889333" y="3191378"/>
                    <a:pt x="889333" y="3191378"/>
                    <a:pt x="784201" y="2920756"/>
                  </a:cubicBezTo>
                  <a:close/>
                  <a:moveTo>
                    <a:pt x="2374201" y="2887800"/>
                  </a:moveTo>
                  <a:cubicBezTo>
                    <a:pt x="2374201" y="2887800"/>
                    <a:pt x="2374201" y="2887800"/>
                    <a:pt x="2350062" y="2934382"/>
                  </a:cubicBezTo>
                  <a:lnTo>
                    <a:pt x="2355461" y="2936917"/>
                  </a:lnTo>
                  <a:cubicBezTo>
                    <a:pt x="2355461" y="2936917"/>
                    <a:pt x="2355461" y="2936917"/>
                    <a:pt x="2379283" y="2890335"/>
                  </a:cubicBezTo>
                  <a:cubicBezTo>
                    <a:pt x="2378012" y="2889701"/>
                    <a:pt x="2376106" y="2888750"/>
                    <a:pt x="2374201" y="2887800"/>
                  </a:cubicBezTo>
                  <a:close/>
                  <a:moveTo>
                    <a:pt x="1969872" y="2886532"/>
                  </a:moveTo>
                  <a:cubicBezTo>
                    <a:pt x="1969872" y="2886532"/>
                    <a:pt x="1969872" y="2886532"/>
                    <a:pt x="1957485" y="2920756"/>
                  </a:cubicBezTo>
                  <a:cubicBezTo>
                    <a:pt x="1957485" y="2920756"/>
                    <a:pt x="1957485" y="2920756"/>
                    <a:pt x="1978448" y="2924559"/>
                  </a:cubicBezTo>
                  <a:cubicBezTo>
                    <a:pt x="1978448" y="2924559"/>
                    <a:pt x="1978448" y="2924559"/>
                    <a:pt x="1977495" y="2928995"/>
                  </a:cubicBezTo>
                  <a:cubicBezTo>
                    <a:pt x="1977495" y="2928995"/>
                    <a:pt x="1977495" y="2928995"/>
                    <a:pt x="1956214" y="2924875"/>
                  </a:cubicBezTo>
                  <a:cubicBezTo>
                    <a:pt x="1956214" y="2924875"/>
                    <a:pt x="1956214" y="2924875"/>
                    <a:pt x="1942874" y="2961634"/>
                  </a:cubicBezTo>
                  <a:cubicBezTo>
                    <a:pt x="1942874" y="2961634"/>
                    <a:pt x="1942874" y="2961634"/>
                    <a:pt x="1963837" y="2965120"/>
                  </a:cubicBezTo>
                  <a:cubicBezTo>
                    <a:pt x="1963837" y="2965120"/>
                    <a:pt x="1963837" y="2965120"/>
                    <a:pt x="1962884" y="2969557"/>
                  </a:cubicBezTo>
                  <a:cubicBezTo>
                    <a:pt x="1962884" y="2969557"/>
                    <a:pt x="1962884" y="2969557"/>
                    <a:pt x="1941286" y="2965754"/>
                  </a:cubicBezTo>
                  <a:cubicBezTo>
                    <a:pt x="1941286" y="2965754"/>
                    <a:pt x="1941286" y="2965754"/>
                    <a:pt x="1926994" y="3005682"/>
                  </a:cubicBezTo>
                  <a:lnTo>
                    <a:pt x="1949862" y="3009485"/>
                  </a:lnTo>
                  <a:cubicBezTo>
                    <a:pt x="1949862" y="3009485"/>
                    <a:pt x="1949862" y="3009485"/>
                    <a:pt x="1991470" y="2891285"/>
                  </a:cubicBezTo>
                  <a:cubicBezTo>
                    <a:pt x="1991470" y="2891285"/>
                    <a:pt x="1991470" y="2891285"/>
                    <a:pt x="1969872" y="2886532"/>
                  </a:cubicBezTo>
                  <a:close/>
                  <a:moveTo>
                    <a:pt x="2446300" y="2885898"/>
                  </a:moveTo>
                  <a:cubicBezTo>
                    <a:pt x="2446300" y="2885898"/>
                    <a:pt x="2446300" y="2885898"/>
                    <a:pt x="2430419" y="2901426"/>
                  </a:cubicBezTo>
                  <a:cubicBezTo>
                    <a:pt x="2430419" y="2901426"/>
                    <a:pt x="2430419" y="2901426"/>
                    <a:pt x="2432960" y="2903961"/>
                  </a:cubicBezTo>
                  <a:cubicBezTo>
                    <a:pt x="2432960" y="2903961"/>
                    <a:pt x="2432960" y="2903961"/>
                    <a:pt x="2434548" y="2905545"/>
                  </a:cubicBezTo>
                  <a:cubicBezTo>
                    <a:pt x="2434548" y="2905545"/>
                    <a:pt x="2434548" y="2905545"/>
                    <a:pt x="2423114" y="2916636"/>
                  </a:cubicBezTo>
                  <a:cubicBezTo>
                    <a:pt x="2423114" y="2916636"/>
                    <a:pt x="2423114" y="2916636"/>
                    <a:pt x="2460593" y="2956247"/>
                  </a:cubicBezTo>
                  <a:cubicBezTo>
                    <a:pt x="2460593" y="2956247"/>
                    <a:pt x="2460593" y="2956247"/>
                    <a:pt x="2472028" y="2945156"/>
                  </a:cubicBezTo>
                  <a:lnTo>
                    <a:pt x="2455194" y="2928045"/>
                  </a:lnTo>
                  <a:cubicBezTo>
                    <a:pt x="2455194" y="2928045"/>
                    <a:pt x="2455194" y="2928045"/>
                    <a:pt x="2471710" y="2911883"/>
                  </a:cubicBezTo>
                  <a:cubicBezTo>
                    <a:pt x="2471710" y="2911883"/>
                    <a:pt x="2471710" y="2911883"/>
                    <a:pt x="2446300" y="2885898"/>
                  </a:cubicBezTo>
                  <a:close/>
                  <a:moveTo>
                    <a:pt x="1662100" y="2885581"/>
                  </a:moveTo>
                  <a:cubicBezTo>
                    <a:pt x="1639866" y="2901109"/>
                    <a:pt x="1612233" y="2915369"/>
                    <a:pt x="1577931" y="2921073"/>
                  </a:cubicBezTo>
                  <a:cubicBezTo>
                    <a:pt x="1577931" y="2921073"/>
                    <a:pt x="1577931" y="2921073"/>
                    <a:pt x="1627479" y="3065574"/>
                  </a:cubicBezTo>
                  <a:cubicBezTo>
                    <a:pt x="1667817" y="3064623"/>
                    <a:pt x="1699261" y="3063989"/>
                    <a:pt x="1709107" y="3063989"/>
                  </a:cubicBezTo>
                  <a:cubicBezTo>
                    <a:pt x="1710060" y="3048462"/>
                    <a:pt x="1710378" y="3034202"/>
                    <a:pt x="1710378" y="3022794"/>
                  </a:cubicBezTo>
                  <a:cubicBezTo>
                    <a:pt x="1710378" y="3017090"/>
                    <a:pt x="1710378" y="3012337"/>
                    <a:pt x="1710060" y="3008534"/>
                  </a:cubicBezTo>
                  <a:cubicBezTo>
                    <a:pt x="1708790" y="2990154"/>
                    <a:pt x="1701167" y="2968289"/>
                    <a:pt x="1693861" y="2949910"/>
                  </a:cubicBezTo>
                  <a:cubicBezTo>
                    <a:pt x="1686239" y="2931213"/>
                    <a:pt x="1678616" y="2916636"/>
                    <a:pt x="1676710" y="2908714"/>
                  </a:cubicBezTo>
                  <a:cubicBezTo>
                    <a:pt x="1675757" y="2904595"/>
                    <a:pt x="1670993" y="2896989"/>
                    <a:pt x="1666546" y="2891285"/>
                  </a:cubicBezTo>
                  <a:cubicBezTo>
                    <a:pt x="1664958" y="2889067"/>
                    <a:pt x="1663370" y="2887166"/>
                    <a:pt x="1662100" y="2885581"/>
                  </a:cubicBezTo>
                  <a:close/>
                  <a:moveTo>
                    <a:pt x="489133" y="2883680"/>
                  </a:moveTo>
                  <a:cubicBezTo>
                    <a:pt x="489133" y="2883680"/>
                    <a:pt x="489133" y="2883680"/>
                    <a:pt x="456101" y="2899841"/>
                  </a:cubicBezTo>
                  <a:cubicBezTo>
                    <a:pt x="456101" y="2899841"/>
                    <a:pt x="456101" y="2899841"/>
                    <a:pt x="456419" y="2901109"/>
                  </a:cubicBezTo>
                  <a:cubicBezTo>
                    <a:pt x="456419" y="2901109"/>
                    <a:pt x="456419" y="2901109"/>
                    <a:pt x="457371" y="2904595"/>
                  </a:cubicBezTo>
                  <a:cubicBezTo>
                    <a:pt x="457371" y="2904595"/>
                    <a:pt x="457371" y="2904595"/>
                    <a:pt x="457054" y="2904912"/>
                  </a:cubicBezTo>
                  <a:lnTo>
                    <a:pt x="471347" y="2935016"/>
                  </a:lnTo>
                  <a:cubicBezTo>
                    <a:pt x="471347" y="2935016"/>
                    <a:pt x="471347" y="2935016"/>
                    <a:pt x="471664" y="2935967"/>
                  </a:cubicBezTo>
                  <a:cubicBezTo>
                    <a:pt x="471664" y="2935967"/>
                    <a:pt x="471664" y="2935967"/>
                    <a:pt x="471982" y="2935967"/>
                  </a:cubicBezTo>
                  <a:cubicBezTo>
                    <a:pt x="471982" y="2935967"/>
                    <a:pt x="471982" y="2935967"/>
                    <a:pt x="505649" y="2919488"/>
                  </a:cubicBezTo>
                  <a:cubicBezTo>
                    <a:pt x="505649" y="2919488"/>
                    <a:pt x="505649" y="2919488"/>
                    <a:pt x="505014" y="2918221"/>
                  </a:cubicBezTo>
                  <a:cubicBezTo>
                    <a:pt x="505014" y="2918221"/>
                    <a:pt x="505014" y="2918221"/>
                    <a:pt x="504061" y="2914735"/>
                  </a:cubicBezTo>
                  <a:cubicBezTo>
                    <a:pt x="504061" y="2914735"/>
                    <a:pt x="504061" y="2914735"/>
                    <a:pt x="505332" y="2914101"/>
                  </a:cubicBezTo>
                  <a:cubicBezTo>
                    <a:pt x="505332" y="2914101"/>
                    <a:pt x="505332" y="2914101"/>
                    <a:pt x="500885" y="2904595"/>
                  </a:cubicBezTo>
                  <a:cubicBezTo>
                    <a:pt x="500885" y="2904595"/>
                    <a:pt x="500885" y="2904595"/>
                    <a:pt x="489133" y="2883680"/>
                  </a:cubicBezTo>
                  <a:close/>
                  <a:moveTo>
                    <a:pt x="206770" y="2883363"/>
                  </a:moveTo>
                  <a:lnTo>
                    <a:pt x="195653" y="2925509"/>
                  </a:lnTo>
                  <a:cubicBezTo>
                    <a:pt x="195653" y="2925509"/>
                    <a:pt x="195653" y="2925509"/>
                    <a:pt x="245202" y="2922340"/>
                  </a:cubicBezTo>
                  <a:cubicBezTo>
                    <a:pt x="245202" y="2922340"/>
                    <a:pt x="245202" y="2922340"/>
                    <a:pt x="206770" y="2883363"/>
                  </a:cubicBezTo>
                  <a:close/>
                  <a:moveTo>
                    <a:pt x="2446618" y="2879877"/>
                  </a:moveTo>
                  <a:cubicBezTo>
                    <a:pt x="2446618" y="2879877"/>
                    <a:pt x="2446618" y="2879877"/>
                    <a:pt x="2477744" y="2911883"/>
                  </a:cubicBezTo>
                  <a:lnTo>
                    <a:pt x="2461228" y="2928045"/>
                  </a:lnTo>
                  <a:cubicBezTo>
                    <a:pt x="2461228" y="2928045"/>
                    <a:pt x="2461228" y="2928045"/>
                    <a:pt x="2477744" y="2945473"/>
                  </a:cubicBezTo>
                  <a:cubicBezTo>
                    <a:pt x="2477744" y="2945473"/>
                    <a:pt x="2477744" y="2945473"/>
                    <a:pt x="2460593" y="2961952"/>
                  </a:cubicBezTo>
                  <a:cubicBezTo>
                    <a:pt x="2460593" y="2961952"/>
                    <a:pt x="2460593" y="2961952"/>
                    <a:pt x="2459005" y="2960684"/>
                  </a:cubicBezTo>
                  <a:cubicBezTo>
                    <a:pt x="2459005" y="2960684"/>
                    <a:pt x="2459005" y="2960684"/>
                    <a:pt x="2417397" y="2916319"/>
                  </a:cubicBezTo>
                  <a:cubicBezTo>
                    <a:pt x="2417397" y="2916319"/>
                    <a:pt x="2417397" y="2916319"/>
                    <a:pt x="2428514" y="2905545"/>
                  </a:cubicBezTo>
                  <a:cubicBezTo>
                    <a:pt x="2428514" y="2905545"/>
                    <a:pt x="2428514" y="2905545"/>
                    <a:pt x="2425973" y="2902693"/>
                  </a:cubicBezTo>
                  <a:cubicBezTo>
                    <a:pt x="2425973" y="2902693"/>
                    <a:pt x="2425973" y="2902693"/>
                    <a:pt x="2424384" y="2901426"/>
                  </a:cubicBezTo>
                  <a:cubicBezTo>
                    <a:pt x="2424384" y="2901426"/>
                    <a:pt x="2424384" y="2901426"/>
                    <a:pt x="2446618" y="2879877"/>
                  </a:cubicBezTo>
                  <a:close/>
                  <a:moveTo>
                    <a:pt x="839467" y="2879877"/>
                  </a:moveTo>
                  <a:cubicBezTo>
                    <a:pt x="816916" y="2891602"/>
                    <a:pt x="794047" y="2903961"/>
                    <a:pt x="771179" y="2916319"/>
                  </a:cubicBezTo>
                  <a:cubicBezTo>
                    <a:pt x="771179" y="2916319"/>
                    <a:pt x="771179" y="2916319"/>
                    <a:pt x="884569" y="3203420"/>
                  </a:cubicBezTo>
                  <a:cubicBezTo>
                    <a:pt x="896638" y="3198983"/>
                    <a:pt x="908708" y="3193913"/>
                    <a:pt x="920777" y="3187259"/>
                  </a:cubicBezTo>
                  <a:cubicBezTo>
                    <a:pt x="968420" y="3160640"/>
                    <a:pt x="992241" y="3150500"/>
                    <a:pt x="1006852" y="3142894"/>
                  </a:cubicBezTo>
                  <a:cubicBezTo>
                    <a:pt x="1012569" y="3139725"/>
                    <a:pt x="1017016" y="3136873"/>
                    <a:pt x="1020827" y="3133388"/>
                  </a:cubicBezTo>
                  <a:close/>
                  <a:moveTo>
                    <a:pt x="578702" y="2877342"/>
                  </a:moveTo>
                  <a:cubicBezTo>
                    <a:pt x="578702" y="2877342"/>
                    <a:pt x="578702" y="2877342"/>
                    <a:pt x="544717" y="2893504"/>
                  </a:cubicBezTo>
                  <a:cubicBezTo>
                    <a:pt x="550434" y="2905862"/>
                    <a:pt x="554880" y="2915052"/>
                    <a:pt x="556786" y="2919172"/>
                  </a:cubicBezTo>
                  <a:cubicBezTo>
                    <a:pt x="556786" y="2919172"/>
                    <a:pt x="556786" y="2919172"/>
                    <a:pt x="589818" y="2901109"/>
                  </a:cubicBezTo>
                  <a:cubicBezTo>
                    <a:pt x="589818" y="2901109"/>
                    <a:pt x="589818" y="2901109"/>
                    <a:pt x="578702" y="2877342"/>
                  </a:cubicBezTo>
                  <a:close/>
                  <a:moveTo>
                    <a:pt x="1926358" y="2876709"/>
                  </a:moveTo>
                  <a:cubicBezTo>
                    <a:pt x="1926358" y="2876709"/>
                    <a:pt x="1926358" y="2876709"/>
                    <a:pt x="1913336" y="2912517"/>
                  </a:cubicBezTo>
                  <a:lnTo>
                    <a:pt x="1953356" y="2920122"/>
                  </a:lnTo>
                  <a:cubicBezTo>
                    <a:pt x="1953356" y="2920122"/>
                    <a:pt x="1953356" y="2920122"/>
                    <a:pt x="1965743" y="2885581"/>
                  </a:cubicBezTo>
                  <a:cubicBezTo>
                    <a:pt x="1965743" y="2885581"/>
                    <a:pt x="1965743" y="2885581"/>
                    <a:pt x="1926358" y="2876709"/>
                  </a:cubicBezTo>
                  <a:close/>
                  <a:moveTo>
                    <a:pt x="437361" y="2874807"/>
                  </a:moveTo>
                  <a:cubicBezTo>
                    <a:pt x="437361" y="2874807"/>
                    <a:pt x="437361" y="2874807"/>
                    <a:pt x="404647" y="2895088"/>
                  </a:cubicBezTo>
                  <a:cubicBezTo>
                    <a:pt x="404647" y="2895088"/>
                    <a:pt x="404647" y="2895088"/>
                    <a:pt x="416081" y="2920122"/>
                  </a:cubicBezTo>
                  <a:cubicBezTo>
                    <a:pt x="416081" y="2920122"/>
                    <a:pt x="416081" y="2920122"/>
                    <a:pt x="450701" y="2903010"/>
                  </a:cubicBezTo>
                  <a:close/>
                  <a:moveTo>
                    <a:pt x="204229" y="2874807"/>
                  </a:moveTo>
                  <a:cubicBezTo>
                    <a:pt x="204229" y="2874807"/>
                    <a:pt x="204229" y="2874807"/>
                    <a:pt x="255366" y="2926143"/>
                  </a:cubicBezTo>
                  <a:lnTo>
                    <a:pt x="189619" y="2930263"/>
                  </a:lnTo>
                  <a:cubicBezTo>
                    <a:pt x="189619" y="2930263"/>
                    <a:pt x="189619" y="2930263"/>
                    <a:pt x="204229" y="2874807"/>
                  </a:cubicBezTo>
                  <a:close/>
                  <a:moveTo>
                    <a:pt x="1271746" y="2872272"/>
                  </a:moveTo>
                  <a:cubicBezTo>
                    <a:pt x="1271746" y="2872272"/>
                    <a:pt x="1271746" y="2872272"/>
                    <a:pt x="1192977" y="2893504"/>
                  </a:cubicBezTo>
                  <a:cubicBezTo>
                    <a:pt x="1192977" y="2893504"/>
                    <a:pt x="1192977" y="2893504"/>
                    <a:pt x="1199964" y="2909982"/>
                  </a:cubicBezTo>
                  <a:cubicBezTo>
                    <a:pt x="1199964" y="2909982"/>
                    <a:pt x="1199964" y="2909982"/>
                    <a:pt x="1157086" y="2926777"/>
                  </a:cubicBezTo>
                  <a:cubicBezTo>
                    <a:pt x="1157086" y="2926777"/>
                    <a:pt x="1157086" y="2926777"/>
                    <a:pt x="1172014" y="2948325"/>
                  </a:cubicBezTo>
                  <a:cubicBezTo>
                    <a:pt x="1172014" y="2948325"/>
                    <a:pt x="1172014" y="2948325"/>
                    <a:pt x="1186624" y="2938819"/>
                  </a:cubicBezTo>
                  <a:cubicBezTo>
                    <a:pt x="1186624" y="2938819"/>
                    <a:pt x="1186624" y="2938819"/>
                    <a:pt x="1202823" y="2961952"/>
                  </a:cubicBezTo>
                  <a:cubicBezTo>
                    <a:pt x="1202823" y="2961952"/>
                    <a:pt x="1202823" y="2961952"/>
                    <a:pt x="1189483" y="2970824"/>
                  </a:cubicBezTo>
                  <a:cubicBezTo>
                    <a:pt x="1189483" y="2970824"/>
                    <a:pt x="1189483" y="2970824"/>
                    <a:pt x="1212034" y="3000929"/>
                  </a:cubicBezTo>
                  <a:cubicBezTo>
                    <a:pt x="1212034" y="3000929"/>
                    <a:pt x="1212034" y="3000929"/>
                    <a:pt x="1226962" y="2988887"/>
                  </a:cubicBezTo>
                  <a:cubicBezTo>
                    <a:pt x="1226962" y="2988887"/>
                    <a:pt x="1226962" y="2988887"/>
                    <a:pt x="1243796" y="3011386"/>
                  </a:cubicBezTo>
                  <a:cubicBezTo>
                    <a:pt x="1243796" y="3011386"/>
                    <a:pt x="1243796" y="3011386"/>
                    <a:pt x="1229185" y="3023111"/>
                  </a:cubicBezTo>
                  <a:lnTo>
                    <a:pt x="1250783" y="3051314"/>
                  </a:lnTo>
                  <a:cubicBezTo>
                    <a:pt x="1250783" y="3051314"/>
                    <a:pt x="1250783" y="3051314"/>
                    <a:pt x="1264441" y="3038955"/>
                  </a:cubicBezTo>
                  <a:cubicBezTo>
                    <a:pt x="1264441" y="3038955"/>
                    <a:pt x="1264441" y="3038955"/>
                    <a:pt x="1271111" y="3047511"/>
                  </a:cubicBezTo>
                  <a:cubicBezTo>
                    <a:pt x="1271111" y="3047511"/>
                    <a:pt x="1271111" y="3047511"/>
                    <a:pt x="1314942" y="3015506"/>
                  </a:cubicBezTo>
                  <a:cubicBezTo>
                    <a:pt x="1314942" y="3015506"/>
                    <a:pt x="1314942" y="3015506"/>
                    <a:pt x="1308590" y="3006949"/>
                  </a:cubicBezTo>
                  <a:cubicBezTo>
                    <a:pt x="1308590" y="3006949"/>
                    <a:pt x="1308590" y="3006949"/>
                    <a:pt x="1314307" y="2999661"/>
                  </a:cubicBezTo>
                  <a:cubicBezTo>
                    <a:pt x="1314307" y="2999661"/>
                    <a:pt x="1314307" y="2999661"/>
                    <a:pt x="1286356" y="2939452"/>
                  </a:cubicBezTo>
                  <a:cubicBezTo>
                    <a:pt x="1286356" y="2939452"/>
                    <a:pt x="1286356" y="2939452"/>
                    <a:pt x="1299061" y="2933748"/>
                  </a:cubicBezTo>
                  <a:cubicBezTo>
                    <a:pt x="1299061" y="2933748"/>
                    <a:pt x="1299061" y="2933748"/>
                    <a:pt x="1271746" y="2872272"/>
                  </a:cubicBezTo>
                  <a:close/>
                  <a:moveTo>
                    <a:pt x="2164572" y="2871955"/>
                  </a:moveTo>
                  <a:cubicBezTo>
                    <a:pt x="2164572" y="2871955"/>
                    <a:pt x="2164572" y="2871955"/>
                    <a:pt x="2147103" y="2923608"/>
                  </a:cubicBezTo>
                  <a:lnTo>
                    <a:pt x="2228414" y="2942938"/>
                  </a:lnTo>
                  <a:cubicBezTo>
                    <a:pt x="2228414" y="2942938"/>
                    <a:pt x="2228414" y="2942938"/>
                    <a:pt x="2245248" y="2890335"/>
                  </a:cubicBezTo>
                  <a:cubicBezTo>
                    <a:pt x="2245248" y="2890335"/>
                    <a:pt x="2245248" y="2890335"/>
                    <a:pt x="2164572" y="2871955"/>
                  </a:cubicBezTo>
                  <a:close/>
                  <a:moveTo>
                    <a:pt x="622851" y="2870371"/>
                  </a:moveTo>
                  <a:cubicBezTo>
                    <a:pt x="622851" y="2870371"/>
                    <a:pt x="622851" y="2870371"/>
                    <a:pt x="588866" y="2886849"/>
                  </a:cubicBezTo>
                  <a:lnTo>
                    <a:pt x="594583" y="2898891"/>
                  </a:lnTo>
                  <a:cubicBezTo>
                    <a:pt x="594583" y="2898891"/>
                    <a:pt x="594583" y="2898891"/>
                    <a:pt x="627615" y="2880828"/>
                  </a:cubicBezTo>
                  <a:cubicBezTo>
                    <a:pt x="626980" y="2878927"/>
                    <a:pt x="625074" y="2875441"/>
                    <a:pt x="622851" y="2870371"/>
                  </a:cubicBezTo>
                  <a:close/>
                  <a:moveTo>
                    <a:pt x="1697990" y="2870054"/>
                  </a:moveTo>
                  <a:cubicBezTo>
                    <a:pt x="1697990" y="2870054"/>
                    <a:pt x="1697990" y="2870054"/>
                    <a:pt x="1695450" y="2884314"/>
                  </a:cubicBezTo>
                  <a:lnTo>
                    <a:pt x="1734834" y="2890968"/>
                  </a:lnTo>
                  <a:cubicBezTo>
                    <a:pt x="1734834" y="2890968"/>
                    <a:pt x="1734834" y="2890968"/>
                    <a:pt x="1737375" y="2876709"/>
                  </a:cubicBezTo>
                  <a:cubicBezTo>
                    <a:pt x="1737375" y="2876709"/>
                    <a:pt x="1737375" y="2876709"/>
                    <a:pt x="1697990" y="2870054"/>
                  </a:cubicBezTo>
                  <a:close/>
                  <a:moveTo>
                    <a:pt x="2334498" y="2867836"/>
                  </a:moveTo>
                  <a:cubicBezTo>
                    <a:pt x="2334498" y="2867836"/>
                    <a:pt x="2334498" y="2867836"/>
                    <a:pt x="2310677" y="2914735"/>
                  </a:cubicBezTo>
                  <a:lnTo>
                    <a:pt x="2346568" y="2932481"/>
                  </a:lnTo>
                  <a:cubicBezTo>
                    <a:pt x="2346568" y="2932481"/>
                    <a:pt x="2346568" y="2932481"/>
                    <a:pt x="2370389" y="2885898"/>
                  </a:cubicBezTo>
                  <a:cubicBezTo>
                    <a:pt x="2360861" y="2881145"/>
                    <a:pt x="2348156" y="2874807"/>
                    <a:pt x="2334498" y="2867836"/>
                  </a:cubicBezTo>
                  <a:close/>
                  <a:moveTo>
                    <a:pt x="1274287" y="2866568"/>
                  </a:moveTo>
                  <a:cubicBezTo>
                    <a:pt x="1274287" y="2866568"/>
                    <a:pt x="1274287" y="2866568"/>
                    <a:pt x="1305096" y="2936283"/>
                  </a:cubicBezTo>
                  <a:cubicBezTo>
                    <a:pt x="1305096" y="2936283"/>
                    <a:pt x="1305096" y="2936283"/>
                    <a:pt x="1292709" y="2941987"/>
                  </a:cubicBezTo>
                  <a:cubicBezTo>
                    <a:pt x="1292709" y="2941987"/>
                    <a:pt x="1292709" y="2941987"/>
                    <a:pt x="1320024" y="3000295"/>
                  </a:cubicBezTo>
                  <a:cubicBezTo>
                    <a:pt x="1320024" y="3000295"/>
                    <a:pt x="1320024" y="3000295"/>
                    <a:pt x="1319071" y="3001245"/>
                  </a:cubicBezTo>
                  <a:cubicBezTo>
                    <a:pt x="1319071" y="3001245"/>
                    <a:pt x="1319071" y="3001245"/>
                    <a:pt x="1314625" y="3006949"/>
                  </a:cubicBezTo>
                  <a:cubicBezTo>
                    <a:pt x="1314625" y="3006949"/>
                    <a:pt x="1314625" y="3006949"/>
                    <a:pt x="1321612" y="3016456"/>
                  </a:cubicBezTo>
                  <a:cubicBezTo>
                    <a:pt x="1321612" y="3016456"/>
                    <a:pt x="1321612" y="3016456"/>
                    <a:pt x="1270158" y="3053849"/>
                  </a:cubicBezTo>
                  <a:lnTo>
                    <a:pt x="1263806" y="3045927"/>
                  </a:lnTo>
                  <a:cubicBezTo>
                    <a:pt x="1263806" y="3045927"/>
                    <a:pt x="1263806" y="3045927"/>
                    <a:pt x="1250148" y="3058286"/>
                  </a:cubicBezTo>
                  <a:cubicBezTo>
                    <a:pt x="1250148" y="3058286"/>
                    <a:pt x="1250148" y="3058286"/>
                    <a:pt x="1222515" y="3022160"/>
                  </a:cubicBezTo>
                  <a:cubicBezTo>
                    <a:pt x="1222515" y="3022160"/>
                    <a:pt x="1222515" y="3022160"/>
                    <a:pt x="1237443" y="3010752"/>
                  </a:cubicBezTo>
                  <a:cubicBezTo>
                    <a:pt x="1237443" y="3010752"/>
                    <a:pt x="1237443" y="3010752"/>
                    <a:pt x="1226009" y="2995541"/>
                  </a:cubicBezTo>
                  <a:cubicBezTo>
                    <a:pt x="1226009" y="2995541"/>
                    <a:pt x="1226009" y="2995541"/>
                    <a:pt x="1211081" y="3007266"/>
                  </a:cubicBezTo>
                  <a:cubicBezTo>
                    <a:pt x="1211081" y="3007266"/>
                    <a:pt x="1211081" y="3007266"/>
                    <a:pt x="1182495" y="2969874"/>
                  </a:cubicBezTo>
                  <a:cubicBezTo>
                    <a:pt x="1182495" y="2969874"/>
                    <a:pt x="1182495" y="2969874"/>
                    <a:pt x="1196470" y="2960684"/>
                  </a:cubicBezTo>
                  <a:cubicBezTo>
                    <a:pt x="1196470" y="2960684"/>
                    <a:pt x="1196470" y="2960684"/>
                    <a:pt x="1185354" y="2945156"/>
                  </a:cubicBezTo>
                  <a:cubicBezTo>
                    <a:pt x="1185354" y="2945156"/>
                    <a:pt x="1185354" y="2945156"/>
                    <a:pt x="1170743" y="2954663"/>
                  </a:cubicBezTo>
                  <a:cubicBezTo>
                    <a:pt x="1170743" y="2954663"/>
                    <a:pt x="1170743" y="2954663"/>
                    <a:pt x="1149780" y="2924559"/>
                  </a:cubicBezTo>
                  <a:cubicBezTo>
                    <a:pt x="1149780" y="2924559"/>
                    <a:pt x="1149780" y="2924559"/>
                    <a:pt x="1193612" y="2907447"/>
                  </a:cubicBezTo>
                  <a:cubicBezTo>
                    <a:pt x="1193612" y="2907447"/>
                    <a:pt x="1193612" y="2907447"/>
                    <a:pt x="1186624" y="2890652"/>
                  </a:cubicBezTo>
                  <a:cubicBezTo>
                    <a:pt x="1186624" y="2890652"/>
                    <a:pt x="1186624" y="2890652"/>
                    <a:pt x="1274287" y="2866568"/>
                  </a:cubicBezTo>
                  <a:close/>
                  <a:moveTo>
                    <a:pt x="1694497" y="2865301"/>
                  </a:moveTo>
                  <a:cubicBezTo>
                    <a:pt x="1694497" y="2865301"/>
                    <a:pt x="1694497" y="2865301"/>
                    <a:pt x="1741822" y="2873540"/>
                  </a:cubicBezTo>
                  <a:cubicBezTo>
                    <a:pt x="1741822" y="2873540"/>
                    <a:pt x="1741822" y="2873540"/>
                    <a:pt x="1738010" y="2895722"/>
                  </a:cubicBezTo>
                  <a:lnTo>
                    <a:pt x="1736105" y="2895405"/>
                  </a:lnTo>
                  <a:cubicBezTo>
                    <a:pt x="1736105" y="2895405"/>
                    <a:pt x="1736105" y="2895405"/>
                    <a:pt x="1690685" y="2887483"/>
                  </a:cubicBezTo>
                  <a:cubicBezTo>
                    <a:pt x="1690685" y="2887483"/>
                    <a:pt x="1690685" y="2887483"/>
                    <a:pt x="1694497" y="2865301"/>
                  </a:cubicBezTo>
                  <a:close/>
                  <a:moveTo>
                    <a:pt x="2119153" y="2861181"/>
                  </a:moveTo>
                  <a:cubicBezTo>
                    <a:pt x="2119153" y="2861181"/>
                    <a:pt x="2119153" y="2861181"/>
                    <a:pt x="2101366" y="2912834"/>
                  </a:cubicBezTo>
                  <a:cubicBezTo>
                    <a:pt x="2101366" y="2912834"/>
                    <a:pt x="2101366" y="2912834"/>
                    <a:pt x="2142974" y="2922657"/>
                  </a:cubicBezTo>
                  <a:cubicBezTo>
                    <a:pt x="2142974" y="2922657"/>
                    <a:pt x="2142974" y="2922657"/>
                    <a:pt x="2160761" y="2871005"/>
                  </a:cubicBezTo>
                  <a:close/>
                  <a:moveTo>
                    <a:pt x="523436" y="2860864"/>
                  </a:moveTo>
                  <a:cubicBezTo>
                    <a:pt x="523436" y="2860864"/>
                    <a:pt x="523436" y="2860864"/>
                    <a:pt x="493262" y="2875758"/>
                  </a:cubicBezTo>
                  <a:lnTo>
                    <a:pt x="509778" y="2911566"/>
                  </a:lnTo>
                  <a:cubicBezTo>
                    <a:pt x="509778" y="2911566"/>
                    <a:pt x="509778" y="2911566"/>
                    <a:pt x="539635" y="2896672"/>
                  </a:cubicBezTo>
                  <a:cubicBezTo>
                    <a:pt x="539635" y="2896672"/>
                    <a:pt x="539635" y="2896672"/>
                    <a:pt x="539317" y="2896039"/>
                  </a:cubicBezTo>
                  <a:cubicBezTo>
                    <a:pt x="539317" y="2896039"/>
                    <a:pt x="539317" y="2896039"/>
                    <a:pt x="537094" y="2891919"/>
                  </a:cubicBezTo>
                  <a:cubicBezTo>
                    <a:pt x="537094" y="2891919"/>
                    <a:pt x="537094" y="2891919"/>
                    <a:pt x="538047" y="2891602"/>
                  </a:cubicBezTo>
                  <a:cubicBezTo>
                    <a:pt x="533600" y="2882412"/>
                    <a:pt x="528836" y="2871955"/>
                    <a:pt x="523436" y="2860864"/>
                  </a:cubicBezTo>
                  <a:close/>
                  <a:moveTo>
                    <a:pt x="2110577" y="2859280"/>
                  </a:moveTo>
                  <a:cubicBezTo>
                    <a:pt x="2104860" y="2876709"/>
                    <a:pt x="2098825" y="2893820"/>
                    <a:pt x="2093108" y="2910932"/>
                  </a:cubicBezTo>
                  <a:cubicBezTo>
                    <a:pt x="2093108" y="2910932"/>
                    <a:pt x="2093108" y="2910932"/>
                    <a:pt x="2097555" y="2911883"/>
                  </a:cubicBezTo>
                  <a:cubicBezTo>
                    <a:pt x="2097555" y="2911883"/>
                    <a:pt x="2097555" y="2911883"/>
                    <a:pt x="2115024" y="2860230"/>
                  </a:cubicBezTo>
                  <a:close/>
                  <a:moveTo>
                    <a:pt x="1479786" y="2859280"/>
                  </a:moveTo>
                  <a:cubicBezTo>
                    <a:pt x="1479786" y="2859280"/>
                    <a:pt x="1479786" y="2859280"/>
                    <a:pt x="1442307" y="2868153"/>
                  </a:cubicBezTo>
                  <a:cubicBezTo>
                    <a:pt x="1442307" y="2868153"/>
                    <a:pt x="1442307" y="2868153"/>
                    <a:pt x="1448024" y="2892553"/>
                  </a:cubicBezTo>
                  <a:cubicBezTo>
                    <a:pt x="1448024" y="2892553"/>
                    <a:pt x="1448024" y="2892553"/>
                    <a:pt x="1485821" y="2883680"/>
                  </a:cubicBezTo>
                  <a:close/>
                  <a:moveTo>
                    <a:pt x="1835202" y="2856428"/>
                  </a:moveTo>
                  <a:cubicBezTo>
                    <a:pt x="1836472" y="2861498"/>
                    <a:pt x="1839331" y="2870688"/>
                    <a:pt x="1842507" y="2879244"/>
                  </a:cubicBezTo>
                  <a:cubicBezTo>
                    <a:pt x="1845683" y="2888750"/>
                    <a:pt x="1848859" y="2897940"/>
                    <a:pt x="1849812" y="2901109"/>
                  </a:cubicBezTo>
                  <a:cubicBezTo>
                    <a:pt x="1849812" y="2901109"/>
                    <a:pt x="1849812" y="2901109"/>
                    <a:pt x="1909207" y="2911883"/>
                  </a:cubicBezTo>
                  <a:cubicBezTo>
                    <a:pt x="1909207" y="2911883"/>
                    <a:pt x="1909207" y="2911883"/>
                    <a:pt x="1922229" y="2875758"/>
                  </a:cubicBezTo>
                  <a:close/>
                  <a:moveTo>
                    <a:pt x="1482963" y="2854527"/>
                  </a:moveTo>
                  <a:cubicBezTo>
                    <a:pt x="1482963" y="2854527"/>
                    <a:pt x="1482963" y="2854527"/>
                    <a:pt x="1490585" y="2886532"/>
                  </a:cubicBezTo>
                  <a:cubicBezTo>
                    <a:pt x="1490585" y="2886532"/>
                    <a:pt x="1490585" y="2886532"/>
                    <a:pt x="1444848" y="2897306"/>
                  </a:cubicBezTo>
                  <a:cubicBezTo>
                    <a:pt x="1444848" y="2897306"/>
                    <a:pt x="1444848" y="2897306"/>
                    <a:pt x="1444531" y="2895405"/>
                  </a:cubicBezTo>
                  <a:lnTo>
                    <a:pt x="1437225" y="2865301"/>
                  </a:lnTo>
                  <a:cubicBezTo>
                    <a:pt x="1437225" y="2865301"/>
                    <a:pt x="1437225" y="2865301"/>
                    <a:pt x="1482963" y="2854527"/>
                  </a:cubicBezTo>
                  <a:close/>
                  <a:moveTo>
                    <a:pt x="1278734" y="2854209"/>
                  </a:moveTo>
                  <a:cubicBezTo>
                    <a:pt x="1263488" y="2858329"/>
                    <a:pt x="1226327" y="2868153"/>
                    <a:pt x="1190753" y="2879244"/>
                  </a:cubicBezTo>
                  <a:cubicBezTo>
                    <a:pt x="1155498" y="2890335"/>
                    <a:pt x="1134535" y="2902693"/>
                    <a:pt x="1121195" y="2915052"/>
                  </a:cubicBezTo>
                  <a:cubicBezTo>
                    <a:pt x="1146922" y="2947058"/>
                    <a:pt x="1253324" y="3085538"/>
                    <a:pt x="1253324" y="3085538"/>
                  </a:cubicBezTo>
                  <a:cubicBezTo>
                    <a:pt x="1253324" y="3085538"/>
                    <a:pt x="1253324" y="3085538"/>
                    <a:pt x="1249830" y="3088390"/>
                  </a:cubicBezTo>
                  <a:cubicBezTo>
                    <a:pt x="1249513" y="3087756"/>
                    <a:pt x="1215845" y="3043708"/>
                    <a:pt x="1181860" y="2999978"/>
                  </a:cubicBezTo>
                  <a:cubicBezTo>
                    <a:pt x="1164708" y="2977796"/>
                    <a:pt x="1147557" y="2955614"/>
                    <a:pt x="1134535" y="2939135"/>
                  </a:cubicBezTo>
                  <a:cubicBezTo>
                    <a:pt x="1128182" y="2930896"/>
                    <a:pt x="1122783" y="2923925"/>
                    <a:pt x="1118971" y="2919172"/>
                  </a:cubicBezTo>
                  <a:cubicBezTo>
                    <a:pt x="1118654" y="2918855"/>
                    <a:pt x="1118336" y="2918538"/>
                    <a:pt x="1118018" y="2918221"/>
                  </a:cubicBezTo>
                  <a:cubicBezTo>
                    <a:pt x="1115795" y="2920439"/>
                    <a:pt x="1113889" y="2922657"/>
                    <a:pt x="1112301" y="2924875"/>
                  </a:cubicBezTo>
                  <a:cubicBezTo>
                    <a:pt x="1100232" y="2940720"/>
                    <a:pt x="1097056" y="2957515"/>
                    <a:pt x="1092291" y="2974627"/>
                  </a:cubicBezTo>
                  <a:cubicBezTo>
                    <a:pt x="1084669" y="3002830"/>
                    <a:pt x="1081492" y="3060187"/>
                    <a:pt x="1061800" y="3101699"/>
                  </a:cubicBezTo>
                  <a:cubicBezTo>
                    <a:pt x="1066247" y="3107720"/>
                    <a:pt x="1082128" y="3132754"/>
                    <a:pt x="1098009" y="3157471"/>
                  </a:cubicBezTo>
                  <a:cubicBezTo>
                    <a:pt x="1106267" y="3170464"/>
                    <a:pt x="1114525" y="3183456"/>
                    <a:pt x="1120559" y="3193280"/>
                  </a:cubicBezTo>
                  <a:cubicBezTo>
                    <a:pt x="1123736" y="3198033"/>
                    <a:pt x="1126277" y="3201835"/>
                    <a:pt x="1128182" y="3204687"/>
                  </a:cubicBezTo>
                  <a:cubicBezTo>
                    <a:pt x="1129135" y="3206272"/>
                    <a:pt x="1129770" y="3207223"/>
                    <a:pt x="1130088" y="3207856"/>
                  </a:cubicBezTo>
                  <a:cubicBezTo>
                    <a:pt x="1130406" y="3208173"/>
                    <a:pt x="1130723" y="3208490"/>
                    <a:pt x="1130723" y="3208490"/>
                  </a:cubicBezTo>
                  <a:cubicBezTo>
                    <a:pt x="1130723" y="3208490"/>
                    <a:pt x="1130723" y="3208490"/>
                    <a:pt x="1173919" y="3138458"/>
                  </a:cubicBezTo>
                  <a:cubicBezTo>
                    <a:pt x="1173919" y="3138458"/>
                    <a:pt x="1173919" y="3138458"/>
                    <a:pt x="1174237" y="3138458"/>
                  </a:cubicBezTo>
                  <a:cubicBezTo>
                    <a:pt x="1174237" y="3138141"/>
                    <a:pt x="1323518" y="3041490"/>
                    <a:pt x="1352421" y="3023111"/>
                  </a:cubicBezTo>
                  <a:cubicBezTo>
                    <a:pt x="1352421" y="3023111"/>
                    <a:pt x="1352421" y="3023111"/>
                    <a:pt x="1314625" y="2940720"/>
                  </a:cubicBezTo>
                  <a:cubicBezTo>
                    <a:pt x="1314625" y="2940720"/>
                    <a:pt x="1314625" y="2940720"/>
                    <a:pt x="1278734" y="2854209"/>
                  </a:cubicBezTo>
                  <a:close/>
                  <a:moveTo>
                    <a:pt x="979854" y="2853893"/>
                  </a:moveTo>
                  <a:cubicBezTo>
                    <a:pt x="979854" y="2853893"/>
                    <a:pt x="979854" y="2853893"/>
                    <a:pt x="926494" y="2882096"/>
                  </a:cubicBezTo>
                  <a:cubicBezTo>
                    <a:pt x="926494" y="2882096"/>
                    <a:pt x="926494" y="2882096"/>
                    <a:pt x="916966" y="2861498"/>
                  </a:cubicBezTo>
                  <a:cubicBezTo>
                    <a:pt x="916966" y="2861498"/>
                    <a:pt x="916966" y="2861498"/>
                    <a:pt x="875993" y="2883680"/>
                  </a:cubicBezTo>
                  <a:cubicBezTo>
                    <a:pt x="875993" y="2883680"/>
                    <a:pt x="875993" y="2883680"/>
                    <a:pt x="1020510" y="3103600"/>
                  </a:cubicBezTo>
                  <a:cubicBezTo>
                    <a:pt x="1020510" y="3103600"/>
                    <a:pt x="1020510" y="3103600"/>
                    <a:pt x="1028450" y="3092826"/>
                  </a:cubicBezTo>
                  <a:cubicBezTo>
                    <a:pt x="1028450" y="3092826"/>
                    <a:pt x="1028450" y="3092826"/>
                    <a:pt x="970008" y="3008217"/>
                  </a:cubicBezTo>
                  <a:cubicBezTo>
                    <a:pt x="970008" y="3008217"/>
                    <a:pt x="970008" y="3008217"/>
                    <a:pt x="979537" y="2993323"/>
                  </a:cubicBezTo>
                  <a:cubicBezTo>
                    <a:pt x="979537" y="2993323"/>
                    <a:pt x="979537" y="2993323"/>
                    <a:pt x="942693" y="2916953"/>
                  </a:cubicBezTo>
                  <a:cubicBezTo>
                    <a:pt x="942693" y="2916953"/>
                    <a:pt x="942693" y="2916953"/>
                    <a:pt x="969373" y="2902693"/>
                  </a:cubicBezTo>
                  <a:cubicBezTo>
                    <a:pt x="969373" y="2902693"/>
                    <a:pt x="969373" y="2902693"/>
                    <a:pt x="970326" y="2904912"/>
                  </a:cubicBezTo>
                  <a:cubicBezTo>
                    <a:pt x="970326" y="2904912"/>
                    <a:pt x="981760" y="2925192"/>
                    <a:pt x="992877" y="2945473"/>
                  </a:cubicBezTo>
                  <a:cubicBezTo>
                    <a:pt x="998594" y="2955930"/>
                    <a:pt x="1004311" y="2966071"/>
                    <a:pt x="1008440" y="2973676"/>
                  </a:cubicBezTo>
                  <a:cubicBezTo>
                    <a:pt x="1010663" y="2977796"/>
                    <a:pt x="1012569" y="2980965"/>
                    <a:pt x="1013522" y="2983183"/>
                  </a:cubicBezTo>
                  <a:cubicBezTo>
                    <a:pt x="1014157" y="2984450"/>
                    <a:pt x="1014792" y="2985401"/>
                    <a:pt x="1015110" y="2986035"/>
                  </a:cubicBezTo>
                  <a:cubicBezTo>
                    <a:pt x="1015428" y="2986352"/>
                    <a:pt x="1015428" y="2986669"/>
                    <a:pt x="1015428" y="2986985"/>
                  </a:cubicBezTo>
                  <a:cubicBezTo>
                    <a:pt x="1015745" y="2987302"/>
                    <a:pt x="1015745" y="2986669"/>
                    <a:pt x="1015745" y="2988253"/>
                  </a:cubicBezTo>
                  <a:cubicBezTo>
                    <a:pt x="1015110" y="2996492"/>
                    <a:pt x="1009075" y="3011703"/>
                    <a:pt x="1007487" y="3016139"/>
                  </a:cubicBezTo>
                  <a:cubicBezTo>
                    <a:pt x="1009710" y="3019625"/>
                    <a:pt x="1017016" y="3031350"/>
                    <a:pt x="1024321" y="3043075"/>
                  </a:cubicBezTo>
                  <a:cubicBezTo>
                    <a:pt x="1028768" y="3050046"/>
                    <a:pt x="1033532" y="3057018"/>
                    <a:pt x="1036708" y="3062088"/>
                  </a:cubicBezTo>
                  <a:cubicBezTo>
                    <a:pt x="1038296" y="3064306"/>
                    <a:pt x="1039567" y="3066207"/>
                    <a:pt x="1040837" y="3067792"/>
                  </a:cubicBezTo>
                  <a:cubicBezTo>
                    <a:pt x="1048778" y="3047511"/>
                    <a:pt x="1056400" y="3007900"/>
                    <a:pt x="1057353" y="3001879"/>
                  </a:cubicBezTo>
                  <a:close/>
                  <a:moveTo>
                    <a:pt x="1699579" y="2853576"/>
                  </a:moveTo>
                  <a:cubicBezTo>
                    <a:pt x="1692273" y="2860864"/>
                    <a:pt x="1683698" y="2868787"/>
                    <a:pt x="1673534" y="2877025"/>
                  </a:cubicBezTo>
                  <a:cubicBezTo>
                    <a:pt x="1677028" y="2881145"/>
                    <a:pt x="1681792" y="2887483"/>
                    <a:pt x="1685603" y="2894137"/>
                  </a:cubicBezTo>
                  <a:cubicBezTo>
                    <a:pt x="1700531" y="2896989"/>
                    <a:pt x="1728164" y="2902376"/>
                    <a:pt x="1756115" y="2907447"/>
                  </a:cubicBezTo>
                  <a:cubicBezTo>
                    <a:pt x="1796135" y="2915052"/>
                    <a:pt x="1837743" y="2922974"/>
                    <a:pt x="1839966" y="2922974"/>
                  </a:cubicBezTo>
                  <a:cubicBezTo>
                    <a:pt x="1839966" y="2922974"/>
                    <a:pt x="1839966" y="2922974"/>
                    <a:pt x="1839966" y="2923291"/>
                  </a:cubicBezTo>
                  <a:cubicBezTo>
                    <a:pt x="1839966" y="2923291"/>
                    <a:pt x="1839966" y="2923291"/>
                    <a:pt x="1846001" y="2903010"/>
                  </a:cubicBezTo>
                  <a:cubicBezTo>
                    <a:pt x="1845048" y="2900475"/>
                    <a:pt x="1841554" y="2890652"/>
                    <a:pt x="1838060" y="2880511"/>
                  </a:cubicBezTo>
                  <a:cubicBezTo>
                    <a:pt x="1837743" y="2879244"/>
                    <a:pt x="1837425" y="2877976"/>
                    <a:pt x="1836790" y="2876709"/>
                  </a:cubicBezTo>
                  <a:cubicBezTo>
                    <a:pt x="1830755" y="2876075"/>
                    <a:pt x="1797723" y="2870371"/>
                    <a:pt x="1763738" y="2864350"/>
                  </a:cubicBezTo>
                  <a:cubicBezTo>
                    <a:pt x="1738646" y="2860230"/>
                    <a:pt x="1712601" y="2855794"/>
                    <a:pt x="1699579" y="2853576"/>
                  </a:cubicBezTo>
                  <a:close/>
                  <a:moveTo>
                    <a:pt x="2421844" y="2852942"/>
                  </a:moveTo>
                  <a:cubicBezTo>
                    <a:pt x="2421844" y="2852942"/>
                    <a:pt x="2421844" y="2852942"/>
                    <a:pt x="2385953" y="2923291"/>
                  </a:cubicBezTo>
                  <a:lnTo>
                    <a:pt x="2551750" y="3034836"/>
                  </a:lnTo>
                  <a:cubicBezTo>
                    <a:pt x="2565407" y="3013921"/>
                    <a:pt x="2580653" y="2990472"/>
                    <a:pt x="2596852" y="2965754"/>
                  </a:cubicBezTo>
                  <a:cubicBezTo>
                    <a:pt x="2596852" y="2965754"/>
                    <a:pt x="2596852" y="2965754"/>
                    <a:pt x="2421844" y="2852942"/>
                  </a:cubicBezTo>
                  <a:close/>
                  <a:moveTo>
                    <a:pt x="475793" y="2850724"/>
                  </a:moveTo>
                  <a:cubicBezTo>
                    <a:pt x="475793" y="2850724"/>
                    <a:pt x="475793" y="2850724"/>
                    <a:pt x="441808" y="2871955"/>
                  </a:cubicBezTo>
                  <a:cubicBezTo>
                    <a:pt x="441808" y="2871955"/>
                    <a:pt x="441808" y="2871955"/>
                    <a:pt x="453242" y="2896039"/>
                  </a:cubicBezTo>
                  <a:cubicBezTo>
                    <a:pt x="453242" y="2896039"/>
                    <a:pt x="453242" y="2896039"/>
                    <a:pt x="486910" y="2879877"/>
                  </a:cubicBezTo>
                  <a:cubicBezTo>
                    <a:pt x="486910" y="2879877"/>
                    <a:pt x="486910" y="2879877"/>
                    <a:pt x="487863" y="2879244"/>
                  </a:cubicBezTo>
                  <a:cubicBezTo>
                    <a:pt x="487863" y="2879244"/>
                    <a:pt x="487863" y="2879244"/>
                    <a:pt x="486275" y="2874490"/>
                  </a:cubicBezTo>
                  <a:cubicBezTo>
                    <a:pt x="486275" y="2874490"/>
                    <a:pt x="486275" y="2874490"/>
                    <a:pt x="486592" y="2874173"/>
                  </a:cubicBezTo>
                  <a:close/>
                  <a:moveTo>
                    <a:pt x="194065" y="2850724"/>
                  </a:moveTo>
                  <a:cubicBezTo>
                    <a:pt x="193748" y="2851357"/>
                    <a:pt x="193748" y="2851991"/>
                    <a:pt x="193430" y="2852942"/>
                  </a:cubicBezTo>
                  <a:cubicBezTo>
                    <a:pt x="189301" y="2868153"/>
                    <a:pt x="176596" y="2915052"/>
                    <a:pt x="169926" y="2938185"/>
                  </a:cubicBezTo>
                  <a:cubicBezTo>
                    <a:pt x="182949" y="2942621"/>
                    <a:pt x="197242" y="2948008"/>
                    <a:pt x="203594" y="2947692"/>
                  </a:cubicBezTo>
                  <a:cubicBezTo>
                    <a:pt x="210899" y="2948008"/>
                    <a:pt x="218840" y="2943889"/>
                    <a:pt x="233450" y="2941671"/>
                  </a:cubicBezTo>
                  <a:cubicBezTo>
                    <a:pt x="238850" y="2940720"/>
                    <a:pt x="246155" y="2939452"/>
                    <a:pt x="255366" y="2939452"/>
                  </a:cubicBezTo>
                  <a:cubicBezTo>
                    <a:pt x="257589" y="2939452"/>
                    <a:pt x="260130" y="2939769"/>
                    <a:pt x="262671" y="2939769"/>
                  </a:cubicBezTo>
                  <a:cubicBezTo>
                    <a:pt x="262671" y="2939769"/>
                    <a:pt x="262989" y="2939769"/>
                    <a:pt x="262989" y="2939769"/>
                  </a:cubicBezTo>
                  <a:cubicBezTo>
                    <a:pt x="264577" y="2938502"/>
                    <a:pt x="269023" y="2934065"/>
                    <a:pt x="275376" y="2928045"/>
                  </a:cubicBezTo>
                  <a:cubicBezTo>
                    <a:pt x="262671" y="2915686"/>
                    <a:pt x="220428" y="2875758"/>
                    <a:pt x="194065" y="2850724"/>
                  </a:cubicBezTo>
                  <a:close/>
                  <a:moveTo>
                    <a:pt x="165162" y="2850407"/>
                  </a:moveTo>
                  <a:cubicBezTo>
                    <a:pt x="165162" y="2850407"/>
                    <a:pt x="165162" y="2850407"/>
                    <a:pt x="120695" y="2870688"/>
                  </a:cubicBezTo>
                  <a:cubicBezTo>
                    <a:pt x="120695" y="2870688"/>
                    <a:pt x="120695" y="2870688"/>
                    <a:pt x="107038" y="2906813"/>
                  </a:cubicBezTo>
                  <a:lnTo>
                    <a:pt x="139435" y="2914418"/>
                  </a:lnTo>
                  <a:cubicBezTo>
                    <a:pt x="139435" y="2914418"/>
                    <a:pt x="139435" y="2914418"/>
                    <a:pt x="150234" y="2880828"/>
                  </a:cubicBezTo>
                  <a:cubicBezTo>
                    <a:pt x="150234" y="2880828"/>
                    <a:pt x="150234" y="2880828"/>
                    <a:pt x="151187" y="2877025"/>
                  </a:cubicBezTo>
                  <a:cubicBezTo>
                    <a:pt x="151187" y="2877025"/>
                    <a:pt x="151187" y="2877025"/>
                    <a:pt x="155316" y="2877659"/>
                  </a:cubicBezTo>
                  <a:cubicBezTo>
                    <a:pt x="155316" y="2877659"/>
                    <a:pt x="155316" y="2877659"/>
                    <a:pt x="168973" y="2880828"/>
                  </a:cubicBezTo>
                  <a:cubicBezTo>
                    <a:pt x="168973" y="2880828"/>
                    <a:pt x="168973" y="2880828"/>
                    <a:pt x="175008" y="2859280"/>
                  </a:cubicBezTo>
                  <a:cubicBezTo>
                    <a:pt x="175008" y="2859280"/>
                    <a:pt x="175008" y="2859280"/>
                    <a:pt x="165162" y="2850407"/>
                  </a:cubicBezTo>
                  <a:close/>
                  <a:moveTo>
                    <a:pt x="982078" y="2847555"/>
                  </a:moveTo>
                  <a:cubicBezTo>
                    <a:pt x="982078" y="2847555"/>
                    <a:pt x="982078" y="2847555"/>
                    <a:pt x="1062435" y="3001245"/>
                  </a:cubicBezTo>
                  <a:cubicBezTo>
                    <a:pt x="1062435" y="3001245"/>
                    <a:pt x="1062435" y="3001245"/>
                    <a:pt x="1062118" y="3001879"/>
                  </a:cubicBezTo>
                  <a:cubicBezTo>
                    <a:pt x="1062118" y="3002196"/>
                    <a:pt x="1053542" y="3051631"/>
                    <a:pt x="1043378" y="3073179"/>
                  </a:cubicBezTo>
                  <a:cubicBezTo>
                    <a:pt x="1043060" y="3074130"/>
                    <a:pt x="1042108" y="3074447"/>
                    <a:pt x="1041155" y="3074447"/>
                  </a:cubicBezTo>
                  <a:cubicBezTo>
                    <a:pt x="1039567" y="3074447"/>
                    <a:pt x="1039884" y="3073813"/>
                    <a:pt x="1039567" y="3073813"/>
                  </a:cubicBezTo>
                  <a:cubicBezTo>
                    <a:pt x="1037026" y="3071278"/>
                    <a:pt x="1028450" y="3057968"/>
                    <a:pt x="1019557" y="3044342"/>
                  </a:cubicBezTo>
                  <a:cubicBezTo>
                    <a:pt x="1010981" y="3030716"/>
                    <a:pt x="1002723" y="3017724"/>
                    <a:pt x="1002723" y="3017724"/>
                  </a:cubicBezTo>
                  <a:cubicBezTo>
                    <a:pt x="1002723" y="3017724"/>
                    <a:pt x="1002723" y="3017724"/>
                    <a:pt x="1002088" y="3016456"/>
                  </a:cubicBezTo>
                  <a:cubicBezTo>
                    <a:pt x="1002088" y="3016456"/>
                    <a:pt x="1002088" y="3016456"/>
                    <a:pt x="1002723" y="3015506"/>
                  </a:cubicBezTo>
                  <a:cubicBezTo>
                    <a:pt x="1002723" y="3015506"/>
                    <a:pt x="1010346" y="2996809"/>
                    <a:pt x="1011299" y="2988570"/>
                  </a:cubicBezTo>
                  <a:cubicBezTo>
                    <a:pt x="1009710" y="2985401"/>
                    <a:pt x="998911" y="2965754"/>
                    <a:pt x="988430" y="2946741"/>
                  </a:cubicBezTo>
                  <a:cubicBezTo>
                    <a:pt x="979537" y="2930579"/>
                    <a:pt x="970643" y="2914418"/>
                    <a:pt x="967467" y="2909031"/>
                  </a:cubicBezTo>
                  <a:cubicBezTo>
                    <a:pt x="967467" y="2909031"/>
                    <a:pt x="967467" y="2909031"/>
                    <a:pt x="949045" y="2919172"/>
                  </a:cubicBezTo>
                  <a:cubicBezTo>
                    <a:pt x="949045" y="2919172"/>
                    <a:pt x="949045" y="2919172"/>
                    <a:pt x="984936" y="2993640"/>
                  </a:cubicBezTo>
                  <a:cubicBezTo>
                    <a:pt x="984936" y="2993640"/>
                    <a:pt x="984936" y="2993640"/>
                    <a:pt x="975408" y="3008217"/>
                  </a:cubicBezTo>
                  <a:cubicBezTo>
                    <a:pt x="975408" y="3008217"/>
                    <a:pt x="975408" y="3008217"/>
                    <a:pt x="1034167" y="3093143"/>
                  </a:cubicBezTo>
                  <a:cubicBezTo>
                    <a:pt x="1034167" y="3093143"/>
                    <a:pt x="1034167" y="3093143"/>
                    <a:pt x="1020510" y="3111839"/>
                  </a:cubicBezTo>
                  <a:cubicBezTo>
                    <a:pt x="1020510" y="3111839"/>
                    <a:pt x="1020510" y="3111839"/>
                    <a:pt x="869005" y="2881779"/>
                  </a:cubicBezTo>
                  <a:cubicBezTo>
                    <a:pt x="869005" y="2881779"/>
                    <a:pt x="869005" y="2881779"/>
                    <a:pt x="918872" y="2855160"/>
                  </a:cubicBezTo>
                  <a:lnTo>
                    <a:pt x="928718" y="2875758"/>
                  </a:lnTo>
                  <a:cubicBezTo>
                    <a:pt x="928718" y="2875758"/>
                    <a:pt x="928718" y="2875758"/>
                    <a:pt x="982078" y="2847555"/>
                  </a:cubicBezTo>
                  <a:close/>
                  <a:moveTo>
                    <a:pt x="656201" y="2847238"/>
                  </a:moveTo>
                  <a:cubicBezTo>
                    <a:pt x="656201" y="2847238"/>
                    <a:pt x="656201" y="2847238"/>
                    <a:pt x="625709" y="2863082"/>
                  </a:cubicBezTo>
                  <a:cubicBezTo>
                    <a:pt x="625709" y="2863082"/>
                    <a:pt x="625709" y="2863082"/>
                    <a:pt x="625392" y="2863399"/>
                  </a:cubicBezTo>
                  <a:cubicBezTo>
                    <a:pt x="627615" y="2868153"/>
                    <a:pt x="629521" y="2872272"/>
                    <a:pt x="630791" y="2875441"/>
                  </a:cubicBezTo>
                  <a:cubicBezTo>
                    <a:pt x="631426" y="2876709"/>
                    <a:pt x="631744" y="2877659"/>
                    <a:pt x="632379" y="2878293"/>
                  </a:cubicBezTo>
                  <a:cubicBezTo>
                    <a:pt x="632379" y="2878293"/>
                    <a:pt x="632379" y="2878293"/>
                    <a:pt x="663188" y="2861815"/>
                  </a:cubicBezTo>
                  <a:cubicBezTo>
                    <a:pt x="663188" y="2861815"/>
                    <a:pt x="663188" y="2861815"/>
                    <a:pt x="656201" y="2847238"/>
                  </a:cubicBezTo>
                  <a:close/>
                  <a:moveTo>
                    <a:pt x="258860" y="2847238"/>
                  </a:moveTo>
                  <a:cubicBezTo>
                    <a:pt x="258860" y="2847238"/>
                    <a:pt x="258860" y="2847238"/>
                    <a:pt x="234403" y="2864350"/>
                  </a:cubicBezTo>
                  <a:cubicBezTo>
                    <a:pt x="234403" y="2864350"/>
                    <a:pt x="234403" y="2864350"/>
                    <a:pt x="278870" y="2907447"/>
                  </a:cubicBezTo>
                  <a:cubicBezTo>
                    <a:pt x="278870" y="2907447"/>
                    <a:pt x="278870" y="2907447"/>
                    <a:pt x="320795" y="2867836"/>
                  </a:cubicBezTo>
                  <a:cubicBezTo>
                    <a:pt x="320795" y="2867836"/>
                    <a:pt x="320795" y="2867836"/>
                    <a:pt x="306185" y="2848822"/>
                  </a:cubicBezTo>
                  <a:cubicBezTo>
                    <a:pt x="306185" y="2848822"/>
                    <a:pt x="306185" y="2848822"/>
                    <a:pt x="285540" y="2866568"/>
                  </a:cubicBezTo>
                  <a:cubicBezTo>
                    <a:pt x="285540" y="2866568"/>
                    <a:pt x="285540" y="2866568"/>
                    <a:pt x="282681" y="2869103"/>
                  </a:cubicBezTo>
                  <a:cubicBezTo>
                    <a:pt x="282681" y="2869103"/>
                    <a:pt x="282681" y="2869103"/>
                    <a:pt x="279822" y="2866251"/>
                  </a:cubicBezTo>
                  <a:close/>
                  <a:moveTo>
                    <a:pt x="165797" y="2845337"/>
                  </a:moveTo>
                  <a:cubicBezTo>
                    <a:pt x="165797" y="2845337"/>
                    <a:pt x="165797" y="2845337"/>
                    <a:pt x="179773" y="2858012"/>
                  </a:cubicBezTo>
                  <a:cubicBezTo>
                    <a:pt x="179773" y="2858012"/>
                    <a:pt x="179773" y="2858012"/>
                    <a:pt x="171832" y="2885898"/>
                  </a:cubicBezTo>
                  <a:cubicBezTo>
                    <a:pt x="171832" y="2885898"/>
                    <a:pt x="171832" y="2885898"/>
                    <a:pt x="154363" y="2882096"/>
                  </a:cubicBezTo>
                  <a:lnTo>
                    <a:pt x="142611" y="2919488"/>
                  </a:lnTo>
                  <a:cubicBezTo>
                    <a:pt x="142611" y="2919488"/>
                    <a:pt x="142611" y="2919488"/>
                    <a:pt x="101321" y="2909982"/>
                  </a:cubicBezTo>
                  <a:cubicBezTo>
                    <a:pt x="101321" y="2909982"/>
                    <a:pt x="101321" y="2909982"/>
                    <a:pt x="117202" y="2867202"/>
                  </a:cubicBezTo>
                  <a:cubicBezTo>
                    <a:pt x="117202" y="2867202"/>
                    <a:pt x="117202" y="2867202"/>
                    <a:pt x="165797" y="2845337"/>
                  </a:cubicBezTo>
                  <a:close/>
                  <a:moveTo>
                    <a:pt x="2282091" y="2843118"/>
                  </a:moveTo>
                  <a:lnTo>
                    <a:pt x="2266210" y="2892870"/>
                  </a:lnTo>
                  <a:cubicBezTo>
                    <a:pt x="2266210" y="2892870"/>
                    <a:pt x="2266210" y="2892870"/>
                    <a:pt x="2306866" y="2912834"/>
                  </a:cubicBezTo>
                  <a:cubicBezTo>
                    <a:pt x="2306866" y="2912834"/>
                    <a:pt x="2306866" y="2912834"/>
                    <a:pt x="2330687" y="2866251"/>
                  </a:cubicBezTo>
                  <a:cubicBezTo>
                    <a:pt x="2330370" y="2865934"/>
                    <a:pt x="2330052" y="2865617"/>
                    <a:pt x="2329416" y="2865617"/>
                  </a:cubicBezTo>
                  <a:cubicBezTo>
                    <a:pt x="2315759" y="2858646"/>
                    <a:pt x="2301466" y="2851991"/>
                    <a:pt x="2290667" y="2846921"/>
                  </a:cubicBezTo>
                  <a:cubicBezTo>
                    <a:pt x="2287491" y="2845337"/>
                    <a:pt x="2284632" y="2844069"/>
                    <a:pt x="2282091" y="2843118"/>
                  </a:cubicBezTo>
                  <a:close/>
                  <a:moveTo>
                    <a:pt x="1985435" y="2843118"/>
                  </a:moveTo>
                  <a:cubicBezTo>
                    <a:pt x="1985435" y="2843118"/>
                    <a:pt x="1985435" y="2843118"/>
                    <a:pt x="1971460" y="2882412"/>
                  </a:cubicBezTo>
                  <a:lnTo>
                    <a:pt x="1993058" y="2887166"/>
                  </a:lnTo>
                  <a:cubicBezTo>
                    <a:pt x="1993058" y="2887166"/>
                    <a:pt x="1993058" y="2887166"/>
                    <a:pt x="2007351" y="2846921"/>
                  </a:cubicBezTo>
                  <a:cubicBezTo>
                    <a:pt x="2007351" y="2846921"/>
                    <a:pt x="2007351" y="2846921"/>
                    <a:pt x="1985435" y="2843118"/>
                  </a:cubicBezTo>
                  <a:close/>
                  <a:moveTo>
                    <a:pt x="259495" y="2841534"/>
                  </a:moveTo>
                  <a:cubicBezTo>
                    <a:pt x="259495" y="2841534"/>
                    <a:pt x="259495" y="2841534"/>
                    <a:pt x="282681" y="2863082"/>
                  </a:cubicBezTo>
                  <a:cubicBezTo>
                    <a:pt x="282681" y="2863082"/>
                    <a:pt x="282681" y="2863082"/>
                    <a:pt x="306820" y="2842485"/>
                  </a:cubicBezTo>
                  <a:cubicBezTo>
                    <a:pt x="306820" y="2842485"/>
                    <a:pt x="306820" y="2842485"/>
                    <a:pt x="326830" y="2868153"/>
                  </a:cubicBezTo>
                  <a:cubicBezTo>
                    <a:pt x="326830" y="2868153"/>
                    <a:pt x="326830" y="2868153"/>
                    <a:pt x="278870" y="2913467"/>
                  </a:cubicBezTo>
                  <a:lnTo>
                    <a:pt x="227415" y="2863716"/>
                  </a:lnTo>
                  <a:cubicBezTo>
                    <a:pt x="227415" y="2863716"/>
                    <a:pt x="227415" y="2863716"/>
                    <a:pt x="259495" y="2841534"/>
                  </a:cubicBezTo>
                  <a:close/>
                  <a:moveTo>
                    <a:pt x="555833" y="2839633"/>
                  </a:moveTo>
                  <a:cubicBezTo>
                    <a:pt x="555833" y="2839633"/>
                    <a:pt x="555833" y="2839633"/>
                    <a:pt x="526295" y="2853576"/>
                  </a:cubicBezTo>
                  <a:cubicBezTo>
                    <a:pt x="526295" y="2853576"/>
                    <a:pt x="526295" y="2853576"/>
                    <a:pt x="526612" y="2853893"/>
                  </a:cubicBezTo>
                  <a:cubicBezTo>
                    <a:pt x="526612" y="2853893"/>
                    <a:pt x="526612" y="2853893"/>
                    <a:pt x="528836" y="2858012"/>
                  </a:cubicBezTo>
                  <a:cubicBezTo>
                    <a:pt x="528836" y="2858012"/>
                    <a:pt x="528836" y="2858012"/>
                    <a:pt x="528200" y="2858329"/>
                  </a:cubicBezTo>
                  <a:cubicBezTo>
                    <a:pt x="533600" y="2869737"/>
                    <a:pt x="538364" y="2880194"/>
                    <a:pt x="542811" y="2889384"/>
                  </a:cubicBezTo>
                  <a:cubicBezTo>
                    <a:pt x="542811" y="2889384"/>
                    <a:pt x="542811" y="2889384"/>
                    <a:pt x="576796" y="2873540"/>
                  </a:cubicBezTo>
                  <a:cubicBezTo>
                    <a:pt x="576796" y="2873540"/>
                    <a:pt x="576796" y="2873540"/>
                    <a:pt x="572349" y="2864350"/>
                  </a:cubicBezTo>
                  <a:cubicBezTo>
                    <a:pt x="572349" y="2864350"/>
                    <a:pt x="572349" y="2864350"/>
                    <a:pt x="564727" y="2849773"/>
                  </a:cubicBezTo>
                  <a:cubicBezTo>
                    <a:pt x="564727" y="2849773"/>
                    <a:pt x="564727" y="2849773"/>
                    <a:pt x="562503" y="2850724"/>
                  </a:cubicBezTo>
                  <a:cubicBezTo>
                    <a:pt x="562503" y="2850724"/>
                    <a:pt x="562503" y="2850724"/>
                    <a:pt x="560597" y="2847238"/>
                  </a:cubicBezTo>
                  <a:cubicBezTo>
                    <a:pt x="560597" y="2847238"/>
                    <a:pt x="560597" y="2847238"/>
                    <a:pt x="555833" y="2839633"/>
                  </a:cubicBezTo>
                  <a:close/>
                  <a:moveTo>
                    <a:pt x="1358456" y="2836464"/>
                  </a:moveTo>
                  <a:lnTo>
                    <a:pt x="1358138" y="2875124"/>
                  </a:lnTo>
                  <a:cubicBezTo>
                    <a:pt x="1358138" y="2875124"/>
                    <a:pt x="1358138" y="2875124"/>
                    <a:pt x="1382913" y="2875441"/>
                  </a:cubicBezTo>
                  <a:cubicBezTo>
                    <a:pt x="1382913" y="2875441"/>
                    <a:pt x="1382913" y="2875441"/>
                    <a:pt x="1383230" y="2836464"/>
                  </a:cubicBezTo>
                  <a:cubicBezTo>
                    <a:pt x="1383230" y="2836464"/>
                    <a:pt x="1383230" y="2836464"/>
                    <a:pt x="1358456" y="2836464"/>
                  </a:cubicBezTo>
                  <a:close/>
                  <a:moveTo>
                    <a:pt x="2400881" y="2835196"/>
                  </a:moveTo>
                  <a:cubicBezTo>
                    <a:pt x="2400881" y="2835196"/>
                    <a:pt x="2400881" y="2835196"/>
                    <a:pt x="2376106" y="2883680"/>
                  </a:cubicBezTo>
                  <a:cubicBezTo>
                    <a:pt x="2378012" y="2884631"/>
                    <a:pt x="2379918" y="2885581"/>
                    <a:pt x="2381506" y="2886215"/>
                  </a:cubicBezTo>
                  <a:cubicBezTo>
                    <a:pt x="2381506" y="2886215"/>
                    <a:pt x="2381506" y="2886215"/>
                    <a:pt x="2405963" y="2837731"/>
                  </a:cubicBezTo>
                  <a:cubicBezTo>
                    <a:pt x="2405963" y="2837731"/>
                    <a:pt x="2405963" y="2837731"/>
                    <a:pt x="2400881" y="2835196"/>
                  </a:cubicBezTo>
                  <a:close/>
                  <a:moveTo>
                    <a:pt x="1941286" y="2835196"/>
                  </a:moveTo>
                  <a:cubicBezTo>
                    <a:pt x="1941286" y="2835196"/>
                    <a:pt x="1941286" y="2835196"/>
                    <a:pt x="1927946" y="2872589"/>
                  </a:cubicBezTo>
                  <a:lnTo>
                    <a:pt x="1967331" y="2881462"/>
                  </a:lnTo>
                  <a:cubicBezTo>
                    <a:pt x="1967331" y="2881462"/>
                    <a:pt x="1967331" y="2881462"/>
                    <a:pt x="1981306" y="2842168"/>
                  </a:cubicBezTo>
                  <a:cubicBezTo>
                    <a:pt x="1981306" y="2842168"/>
                    <a:pt x="1981306" y="2842168"/>
                    <a:pt x="1941286" y="2835196"/>
                  </a:cubicBezTo>
                  <a:close/>
                  <a:moveTo>
                    <a:pt x="1354327" y="2832344"/>
                  </a:moveTo>
                  <a:cubicBezTo>
                    <a:pt x="1354327" y="2832344"/>
                    <a:pt x="1354327" y="2832344"/>
                    <a:pt x="1387359" y="2832661"/>
                  </a:cubicBezTo>
                  <a:cubicBezTo>
                    <a:pt x="1387359" y="2832661"/>
                    <a:pt x="1387359" y="2832661"/>
                    <a:pt x="1387042" y="2879560"/>
                  </a:cubicBezTo>
                  <a:cubicBezTo>
                    <a:pt x="1387042" y="2879560"/>
                    <a:pt x="1387042" y="2879560"/>
                    <a:pt x="1385136" y="2879244"/>
                  </a:cubicBezTo>
                  <a:cubicBezTo>
                    <a:pt x="1385136" y="2879244"/>
                    <a:pt x="1385136" y="2879244"/>
                    <a:pt x="1354009" y="2879244"/>
                  </a:cubicBezTo>
                  <a:close/>
                  <a:moveTo>
                    <a:pt x="1730705" y="2832027"/>
                  </a:moveTo>
                  <a:cubicBezTo>
                    <a:pt x="1730705" y="2832027"/>
                    <a:pt x="1730705" y="2832027"/>
                    <a:pt x="1728164" y="2846287"/>
                  </a:cubicBezTo>
                  <a:lnTo>
                    <a:pt x="1767231" y="2853259"/>
                  </a:lnTo>
                  <a:cubicBezTo>
                    <a:pt x="1767231" y="2853259"/>
                    <a:pt x="1767231" y="2853259"/>
                    <a:pt x="1769772" y="2838999"/>
                  </a:cubicBezTo>
                  <a:cubicBezTo>
                    <a:pt x="1769772" y="2838999"/>
                    <a:pt x="1769772" y="2838999"/>
                    <a:pt x="1730705" y="2832027"/>
                  </a:cubicBezTo>
                  <a:close/>
                  <a:moveTo>
                    <a:pt x="2956078" y="2831077"/>
                  </a:moveTo>
                  <a:cubicBezTo>
                    <a:pt x="2956078" y="2831077"/>
                    <a:pt x="2956078" y="2831077"/>
                    <a:pt x="2571442" y="3618543"/>
                  </a:cubicBezTo>
                  <a:lnTo>
                    <a:pt x="2994193" y="3833710"/>
                  </a:lnTo>
                  <a:cubicBezTo>
                    <a:pt x="2994193" y="3833710"/>
                    <a:pt x="2994193" y="3833710"/>
                    <a:pt x="3372477" y="3034202"/>
                  </a:cubicBezTo>
                  <a:cubicBezTo>
                    <a:pt x="3359454" y="3028181"/>
                    <a:pt x="3332139" y="3015506"/>
                    <a:pt x="3301330" y="3001245"/>
                  </a:cubicBezTo>
                  <a:cubicBezTo>
                    <a:pt x="3258452" y="2981599"/>
                    <a:pt x="3208903" y="2958782"/>
                    <a:pt x="3183176" y="2948008"/>
                  </a:cubicBezTo>
                  <a:cubicBezTo>
                    <a:pt x="3133310" y="2926777"/>
                    <a:pt x="3011980" y="2861498"/>
                    <a:pt x="2956078" y="2831077"/>
                  </a:cubicBezTo>
                  <a:close/>
                  <a:moveTo>
                    <a:pt x="604111" y="2830760"/>
                  </a:moveTo>
                  <a:cubicBezTo>
                    <a:pt x="604111" y="2830760"/>
                    <a:pt x="604111" y="2830760"/>
                    <a:pt x="570126" y="2847238"/>
                  </a:cubicBezTo>
                  <a:lnTo>
                    <a:pt x="581560" y="2871321"/>
                  </a:lnTo>
                  <a:cubicBezTo>
                    <a:pt x="581560" y="2871321"/>
                    <a:pt x="581560" y="2871321"/>
                    <a:pt x="582513" y="2870688"/>
                  </a:cubicBezTo>
                  <a:cubicBezTo>
                    <a:pt x="582513" y="2870688"/>
                    <a:pt x="582513" y="2870688"/>
                    <a:pt x="584736" y="2874173"/>
                  </a:cubicBezTo>
                  <a:cubicBezTo>
                    <a:pt x="584736" y="2874173"/>
                    <a:pt x="584736" y="2874173"/>
                    <a:pt x="589183" y="2881779"/>
                  </a:cubicBezTo>
                  <a:cubicBezTo>
                    <a:pt x="589183" y="2881779"/>
                    <a:pt x="589183" y="2881779"/>
                    <a:pt x="620945" y="2866568"/>
                  </a:cubicBezTo>
                  <a:cubicBezTo>
                    <a:pt x="620627" y="2865301"/>
                    <a:pt x="619992" y="2864350"/>
                    <a:pt x="619357" y="2863082"/>
                  </a:cubicBezTo>
                  <a:cubicBezTo>
                    <a:pt x="619357" y="2863082"/>
                    <a:pt x="619357" y="2863082"/>
                    <a:pt x="618722" y="2861498"/>
                  </a:cubicBezTo>
                  <a:cubicBezTo>
                    <a:pt x="614593" y="2852625"/>
                    <a:pt x="609193" y="2841851"/>
                    <a:pt x="604111" y="2830760"/>
                  </a:cubicBezTo>
                  <a:close/>
                  <a:moveTo>
                    <a:pt x="172785" y="2830443"/>
                  </a:moveTo>
                  <a:cubicBezTo>
                    <a:pt x="172785" y="2830443"/>
                    <a:pt x="172785" y="2830443"/>
                    <a:pt x="109896" y="2860864"/>
                  </a:cubicBezTo>
                  <a:lnTo>
                    <a:pt x="81946" y="2928045"/>
                  </a:lnTo>
                  <a:cubicBezTo>
                    <a:pt x="88298" y="2925509"/>
                    <a:pt x="96556" y="2922657"/>
                    <a:pt x="108308" y="2922023"/>
                  </a:cubicBezTo>
                  <a:cubicBezTo>
                    <a:pt x="108944" y="2922023"/>
                    <a:pt x="109896" y="2922023"/>
                    <a:pt x="110532" y="2922023"/>
                  </a:cubicBezTo>
                  <a:cubicBezTo>
                    <a:pt x="129906" y="2922340"/>
                    <a:pt x="152457" y="2932481"/>
                    <a:pt x="165162" y="2936600"/>
                  </a:cubicBezTo>
                  <a:cubicBezTo>
                    <a:pt x="167703" y="2926777"/>
                    <a:pt x="171514" y="2913151"/>
                    <a:pt x="175643" y="2898891"/>
                  </a:cubicBezTo>
                  <a:cubicBezTo>
                    <a:pt x="179137" y="2886215"/>
                    <a:pt x="182631" y="2873223"/>
                    <a:pt x="185172" y="2863399"/>
                  </a:cubicBezTo>
                  <a:cubicBezTo>
                    <a:pt x="186442" y="2858646"/>
                    <a:pt x="187713" y="2854527"/>
                    <a:pt x="188348" y="2851674"/>
                  </a:cubicBezTo>
                  <a:cubicBezTo>
                    <a:pt x="188666" y="2850090"/>
                    <a:pt x="188983" y="2849140"/>
                    <a:pt x="189301" y="2848189"/>
                  </a:cubicBezTo>
                  <a:cubicBezTo>
                    <a:pt x="189301" y="2847872"/>
                    <a:pt x="189301" y="2847555"/>
                    <a:pt x="189301" y="2847238"/>
                  </a:cubicBezTo>
                  <a:cubicBezTo>
                    <a:pt x="189619" y="2847238"/>
                    <a:pt x="189619" y="2847238"/>
                    <a:pt x="189619" y="2847238"/>
                  </a:cubicBezTo>
                  <a:cubicBezTo>
                    <a:pt x="189619" y="2847238"/>
                    <a:pt x="189619" y="2847238"/>
                    <a:pt x="190572" y="2847238"/>
                  </a:cubicBezTo>
                  <a:cubicBezTo>
                    <a:pt x="181996" y="2839316"/>
                    <a:pt x="175326" y="2832978"/>
                    <a:pt x="172785" y="2830443"/>
                  </a:cubicBezTo>
                  <a:close/>
                  <a:moveTo>
                    <a:pt x="509143" y="2830126"/>
                  </a:moveTo>
                  <a:cubicBezTo>
                    <a:pt x="509143" y="2830126"/>
                    <a:pt x="509143" y="2830126"/>
                    <a:pt x="480240" y="2848189"/>
                  </a:cubicBezTo>
                  <a:cubicBezTo>
                    <a:pt x="480240" y="2848189"/>
                    <a:pt x="480240" y="2848189"/>
                    <a:pt x="491357" y="2871955"/>
                  </a:cubicBezTo>
                  <a:cubicBezTo>
                    <a:pt x="491357" y="2871955"/>
                    <a:pt x="491357" y="2871955"/>
                    <a:pt x="521530" y="2856745"/>
                  </a:cubicBezTo>
                  <a:cubicBezTo>
                    <a:pt x="517719" y="2848505"/>
                    <a:pt x="513908" y="2839950"/>
                    <a:pt x="509778" y="2831394"/>
                  </a:cubicBezTo>
                  <a:cubicBezTo>
                    <a:pt x="509778" y="2831077"/>
                    <a:pt x="509461" y="2830443"/>
                    <a:pt x="509143" y="2830126"/>
                  </a:cubicBezTo>
                  <a:close/>
                  <a:moveTo>
                    <a:pt x="684469" y="2828542"/>
                  </a:moveTo>
                  <a:cubicBezTo>
                    <a:pt x="684469" y="2828542"/>
                    <a:pt x="684469" y="2828542"/>
                    <a:pt x="659059" y="2841217"/>
                  </a:cubicBezTo>
                  <a:cubicBezTo>
                    <a:pt x="659059" y="2841217"/>
                    <a:pt x="659059" y="2841217"/>
                    <a:pt x="667635" y="2859280"/>
                  </a:cubicBezTo>
                  <a:cubicBezTo>
                    <a:pt x="667635" y="2859280"/>
                    <a:pt x="667635" y="2859280"/>
                    <a:pt x="687010" y="2849140"/>
                  </a:cubicBezTo>
                  <a:lnTo>
                    <a:pt x="686692" y="2848822"/>
                  </a:lnTo>
                  <a:cubicBezTo>
                    <a:pt x="686692" y="2848822"/>
                    <a:pt x="688915" y="2847872"/>
                    <a:pt x="692409" y="2846287"/>
                  </a:cubicBezTo>
                  <a:cubicBezTo>
                    <a:pt x="692409" y="2846287"/>
                    <a:pt x="692409" y="2846287"/>
                    <a:pt x="684469" y="2828542"/>
                  </a:cubicBezTo>
                  <a:close/>
                  <a:moveTo>
                    <a:pt x="1727211" y="2827274"/>
                  </a:moveTo>
                  <a:cubicBezTo>
                    <a:pt x="1727211" y="2827274"/>
                    <a:pt x="1727211" y="2827274"/>
                    <a:pt x="1774537" y="2835513"/>
                  </a:cubicBezTo>
                  <a:cubicBezTo>
                    <a:pt x="1774537" y="2835513"/>
                    <a:pt x="1774537" y="2835513"/>
                    <a:pt x="1770725" y="2857695"/>
                  </a:cubicBezTo>
                  <a:lnTo>
                    <a:pt x="1768502" y="2857378"/>
                  </a:lnTo>
                  <a:cubicBezTo>
                    <a:pt x="1768502" y="2857378"/>
                    <a:pt x="1768502" y="2857378"/>
                    <a:pt x="1723400" y="2849456"/>
                  </a:cubicBezTo>
                  <a:cubicBezTo>
                    <a:pt x="1723400" y="2849456"/>
                    <a:pt x="1723400" y="2849456"/>
                    <a:pt x="1727211" y="2827274"/>
                  </a:cubicBezTo>
                  <a:close/>
                  <a:moveTo>
                    <a:pt x="2181724" y="2822204"/>
                  </a:moveTo>
                  <a:cubicBezTo>
                    <a:pt x="2181724" y="2822204"/>
                    <a:pt x="2181724" y="2822204"/>
                    <a:pt x="2166160" y="2867519"/>
                  </a:cubicBezTo>
                  <a:lnTo>
                    <a:pt x="2246518" y="2886215"/>
                  </a:lnTo>
                  <a:cubicBezTo>
                    <a:pt x="2246518" y="2886215"/>
                    <a:pt x="2246518" y="2886215"/>
                    <a:pt x="2262081" y="2837414"/>
                  </a:cubicBezTo>
                  <a:cubicBezTo>
                    <a:pt x="2246518" y="2834562"/>
                    <a:pt x="2212533" y="2828225"/>
                    <a:pt x="2181724" y="2822204"/>
                  </a:cubicBezTo>
                  <a:close/>
                  <a:moveTo>
                    <a:pt x="1728482" y="2818401"/>
                  </a:moveTo>
                  <a:cubicBezTo>
                    <a:pt x="1726259" y="2823471"/>
                    <a:pt x="1723082" y="2827908"/>
                    <a:pt x="1719589" y="2832027"/>
                  </a:cubicBezTo>
                  <a:cubicBezTo>
                    <a:pt x="1715460" y="2836464"/>
                    <a:pt x="1710060" y="2842485"/>
                    <a:pt x="1703072" y="2849773"/>
                  </a:cubicBezTo>
                  <a:cubicBezTo>
                    <a:pt x="1717365" y="2851991"/>
                    <a:pt x="1740869" y="2856111"/>
                    <a:pt x="1764690" y="2860230"/>
                  </a:cubicBezTo>
                  <a:cubicBezTo>
                    <a:pt x="1795499" y="2865301"/>
                    <a:pt x="1826626" y="2870688"/>
                    <a:pt x="1835519" y="2872272"/>
                  </a:cubicBezTo>
                  <a:cubicBezTo>
                    <a:pt x="1832661" y="2863399"/>
                    <a:pt x="1830120" y="2855794"/>
                    <a:pt x="1830120" y="2852942"/>
                  </a:cubicBezTo>
                  <a:cubicBezTo>
                    <a:pt x="1830120" y="2852625"/>
                    <a:pt x="1830120" y="2852308"/>
                    <a:pt x="1830120" y="2851991"/>
                  </a:cubicBezTo>
                  <a:cubicBezTo>
                    <a:pt x="1830438" y="2851674"/>
                    <a:pt x="1830438" y="2851357"/>
                    <a:pt x="1830755" y="2851041"/>
                  </a:cubicBezTo>
                  <a:cubicBezTo>
                    <a:pt x="1831390" y="2849773"/>
                    <a:pt x="1832978" y="2844386"/>
                    <a:pt x="1835202" y="2836147"/>
                  </a:cubicBezTo>
                  <a:cubicBezTo>
                    <a:pt x="1833614" y="2835830"/>
                    <a:pt x="1807251" y="2831394"/>
                    <a:pt x="1780254" y="2826957"/>
                  </a:cubicBezTo>
                  <a:cubicBezTo>
                    <a:pt x="1758973" y="2823471"/>
                    <a:pt x="1737375" y="2819986"/>
                    <a:pt x="1728482" y="2818401"/>
                  </a:cubicBezTo>
                  <a:close/>
                  <a:moveTo>
                    <a:pt x="48278" y="2816183"/>
                  </a:moveTo>
                  <a:cubicBezTo>
                    <a:pt x="94968" y="2858646"/>
                    <a:pt x="94968" y="2858646"/>
                    <a:pt x="94968" y="2858646"/>
                  </a:cubicBezTo>
                  <a:cubicBezTo>
                    <a:pt x="93063" y="2860230"/>
                    <a:pt x="93063" y="2860230"/>
                    <a:pt x="93063" y="2860230"/>
                  </a:cubicBezTo>
                  <a:cubicBezTo>
                    <a:pt x="58124" y="2891919"/>
                    <a:pt x="58124" y="2891919"/>
                    <a:pt x="58124" y="2891919"/>
                  </a:cubicBezTo>
                  <a:lnTo>
                    <a:pt x="8894" y="2889384"/>
                  </a:lnTo>
                  <a:cubicBezTo>
                    <a:pt x="1271" y="2877025"/>
                    <a:pt x="1271" y="2877025"/>
                    <a:pt x="1271" y="2877025"/>
                  </a:cubicBezTo>
                  <a:cubicBezTo>
                    <a:pt x="1271" y="2867836"/>
                    <a:pt x="1271" y="2867836"/>
                    <a:pt x="1271" y="2867836"/>
                  </a:cubicBezTo>
                  <a:cubicBezTo>
                    <a:pt x="11752" y="2884948"/>
                    <a:pt x="11752" y="2884948"/>
                    <a:pt x="11752" y="2884948"/>
                  </a:cubicBezTo>
                  <a:cubicBezTo>
                    <a:pt x="56219" y="2887166"/>
                    <a:pt x="56219" y="2887166"/>
                    <a:pt x="56219" y="2887166"/>
                  </a:cubicBezTo>
                  <a:cubicBezTo>
                    <a:pt x="87981" y="2858646"/>
                    <a:pt x="87981" y="2858646"/>
                    <a:pt x="87981" y="2858646"/>
                  </a:cubicBezTo>
                  <a:cubicBezTo>
                    <a:pt x="47961" y="2822204"/>
                    <a:pt x="47961" y="2822204"/>
                    <a:pt x="47961" y="2822204"/>
                  </a:cubicBezTo>
                  <a:cubicBezTo>
                    <a:pt x="1271" y="2858012"/>
                    <a:pt x="1271" y="2858012"/>
                    <a:pt x="1271" y="2858012"/>
                  </a:cubicBezTo>
                  <a:cubicBezTo>
                    <a:pt x="1271" y="2851991"/>
                    <a:pt x="1271" y="2851991"/>
                    <a:pt x="1271" y="2851991"/>
                  </a:cubicBezTo>
                  <a:cubicBezTo>
                    <a:pt x="48278" y="2816183"/>
                    <a:pt x="48278" y="2816183"/>
                    <a:pt x="48278" y="2816183"/>
                  </a:cubicBezTo>
                  <a:close/>
                  <a:moveTo>
                    <a:pt x="2361496" y="2814915"/>
                  </a:moveTo>
                  <a:cubicBezTo>
                    <a:pt x="2361496" y="2814915"/>
                    <a:pt x="2361496" y="2814915"/>
                    <a:pt x="2336404" y="2864033"/>
                  </a:cubicBezTo>
                  <a:cubicBezTo>
                    <a:pt x="2350062" y="2870688"/>
                    <a:pt x="2363084" y="2877025"/>
                    <a:pt x="2372295" y="2881779"/>
                  </a:cubicBezTo>
                  <a:cubicBezTo>
                    <a:pt x="2372295" y="2881779"/>
                    <a:pt x="2372295" y="2881779"/>
                    <a:pt x="2397069" y="2833295"/>
                  </a:cubicBezTo>
                  <a:cubicBezTo>
                    <a:pt x="2397069" y="2833295"/>
                    <a:pt x="2397069" y="2833295"/>
                    <a:pt x="2361496" y="2814915"/>
                  </a:cubicBezTo>
                  <a:close/>
                  <a:moveTo>
                    <a:pt x="2135669" y="2813014"/>
                  </a:moveTo>
                  <a:cubicBezTo>
                    <a:pt x="2135669" y="2813014"/>
                    <a:pt x="2135669" y="2813014"/>
                    <a:pt x="2120423" y="2857061"/>
                  </a:cubicBezTo>
                  <a:cubicBezTo>
                    <a:pt x="2120423" y="2857061"/>
                    <a:pt x="2120423" y="2857061"/>
                    <a:pt x="2162032" y="2866568"/>
                  </a:cubicBezTo>
                  <a:cubicBezTo>
                    <a:pt x="2162032" y="2866568"/>
                    <a:pt x="2162032" y="2866568"/>
                    <a:pt x="2177595" y="2821253"/>
                  </a:cubicBezTo>
                  <a:cubicBezTo>
                    <a:pt x="2161714" y="2818084"/>
                    <a:pt x="2146786" y="2815232"/>
                    <a:pt x="2135669" y="2813014"/>
                  </a:cubicBezTo>
                  <a:close/>
                  <a:moveTo>
                    <a:pt x="1650665" y="2812697"/>
                  </a:moveTo>
                  <a:cubicBezTo>
                    <a:pt x="1650665" y="2812697"/>
                    <a:pt x="1650665" y="2812697"/>
                    <a:pt x="1613186" y="2821570"/>
                  </a:cubicBezTo>
                  <a:cubicBezTo>
                    <a:pt x="1613186" y="2821570"/>
                    <a:pt x="1613186" y="2821570"/>
                    <a:pt x="1618903" y="2845653"/>
                  </a:cubicBezTo>
                  <a:lnTo>
                    <a:pt x="1656700" y="2836781"/>
                  </a:lnTo>
                  <a:cubicBezTo>
                    <a:pt x="1656700" y="2836781"/>
                    <a:pt x="1656700" y="2836781"/>
                    <a:pt x="1650665" y="2812697"/>
                  </a:cubicBezTo>
                  <a:close/>
                  <a:moveTo>
                    <a:pt x="2127093" y="2811113"/>
                  </a:moveTo>
                  <a:cubicBezTo>
                    <a:pt x="2122012" y="2825690"/>
                    <a:pt x="2116930" y="2840583"/>
                    <a:pt x="2112165" y="2855160"/>
                  </a:cubicBezTo>
                  <a:cubicBezTo>
                    <a:pt x="2112165" y="2855160"/>
                    <a:pt x="2112165" y="2855160"/>
                    <a:pt x="2116612" y="2856111"/>
                  </a:cubicBezTo>
                  <a:cubicBezTo>
                    <a:pt x="2116612" y="2856111"/>
                    <a:pt x="2116612" y="2856111"/>
                    <a:pt x="2131540" y="2812063"/>
                  </a:cubicBezTo>
                  <a:cubicBezTo>
                    <a:pt x="2129952" y="2811747"/>
                    <a:pt x="2128364" y="2811430"/>
                    <a:pt x="2127093" y="2811113"/>
                  </a:cubicBezTo>
                  <a:close/>
                  <a:moveTo>
                    <a:pt x="220428" y="2810479"/>
                  </a:moveTo>
                  <a:lnTo>
                    <a:pt x="195018" y="2826323"/>
                  </a:lnTo>
                  <a:cubicBezTo>
                    <a:pt x="195018" y="2826323"/>
                    <a:pt x="195018" y="2826323"/>
                    <a:pt x="209629" y="2839950"/>
                  </a:cubicBezTo>
                  <a:cubicBezTo>
                    <a:pt x="209629" y="2839950"/>
                    <a:pt x="209629" y="2839950"/>
                    <a:pt x="235991" y="2824739"/>
                  </a:cubicBezTo>
                  <a:cubicBezTo>
                    <a:pt x="235991" y="2824739"/>
                    <a:pt x="235991" y="2824739"/>
                    <a:pt x="220428" y="2810479"/>
                  </a:cubicBezTo>
                  <a:close/>
                  <a:moveTo>
                    <a:pt x="636191" y="2807944"/>
                  </a:moveTo>
                  <a:cubicBezTo>
                    <a:pt x="636191" y="2807944"/>
                    <a:pt x="636191" y="2807944"/>
                    <a:pt x="607605" y="2822838"/>
                  </a:cubicBezTo>
                  <a:cubicBezTo>
                    <a:pt x="607605" y="2822838"/>
                    <a:pt x="607605" y="2822838"/>
                    <a:pt x="607923" y="2823788"/>
                  </a:cubicBezTo>
                  <a:cubicBezTo>
                    <a:pt x="607923" y="2823788"/>
                    <a:pt x="607923" y="2823788"/>
                    <a:pt x="610146" y="2827908"/>
                  </a:cubicBezTo>
                  <a:cubicBezTo>
                    <a:pt x="610146" y="2827908"/>
                    <a:pt x="610146" y="2827908"/>
                    <a:pt x="608558" y="2828542"/>
                  </a:cubicBezTo>
                  <a:cubicBezTo>
                    <a:pt x="612687" y="2837098"/>
                    <a:pt x="616816" y="2845653"/>
                    <a:pt x="620310" y="2853259"/>
                  </a:cubicBezTo>
                  <a:lnTo>
                    <a:pt x="623486" y="2858963"/>
                  </a:lnTo>
                  <a:cubicBezTo>
                    <a:pt x="623486" y="2858963"/>
                    <a:pt x="623486" y="2858963"/>
                    <a:pt x="653025" y="2843752"/>
                  </a:cubicBezTo>
                  <a:cubicBezTo>
                    <a:pt x="653025" y="2843752"/>
                    <a:pt x="653025" y="2843752"/>
                    <a:pt x="651754" y="2839950"/>
                  </a:cubicBezTo>
                  <a:cubicBezTo>
                    <a:pt x="651754" y="2839950"/>
                    <a:pt x="651754" y="2839950"/>
                    <a:pt x="652389" y="2839633"/>
                  </a:cubicBezTo>
                  <a:cubicBezTo>
                    <a:pt x="652389" y="2839633"/>
                    <a:pt x="652389" y="2839633"/>
                    <a:pt x="642226" y="2818718"/>
                  </a:cubicBezTo>
                  <a:cubicBezTo>
                    <a:pt x="642226" y="2818718"/>
                    <a:pt x="642226" y="2818718"/>
                    <a:pt x="636191" y="2807944"/>
                  </a:cubicBezTo>
                  <a:close/>
                  <a:moveTo>
                    <a:pt x="1653841" y="2807627"/>
                  </a:moveTo>
                  <a:cubicBezTo>
                    <a:pt x="1653841" y="2807627"/>
                    <a:pt x="1653841" y="2807627"/>
                    <a:pt x="1661464" y="2839950"/>
                  </a:cubicBezTo>
                  <a:cubicBezTo>
                    <a:pt x="1661464" y="2839950"/>
                    <a:pt x="1661464" y="2839950"/>
                    <a:pt x="1615727" y="2850724"/>
                  </a:cubicBezTo>
                  <a:cubicBezTo>
                    <a:pt x="1615727" y="2850724"/>
                    <a:pt x="1615727" y="2850724"/>
                    <a:pt x="1615410" y="2848505"/>
                  </a:cubicBezTo>
                  <a:cubicBezTo>
                    <a:pt x="1615410" y="2848505"/>
                    <a:pt x="1615410" y="2848505"/>
                    <a:pt x="1608104" y="2818401"/>
                  </a:cubicBezTo>
                  <a:close/>
                  <a:moveTo>
                    <a:pt x="978266" y="2806043"/>
                  </a:moveTo>
                  <a:cubicBezTo>
                    <a:pt x="935705" y="2828542"/>
                    <a:pt x="890286" y="2852625"/>
                    <a:pt x="843278" y="2877659"/>
                  </a:cubicBezTo>
                  <a:cubicBezTo>
                    <a:pt x="843278" y="2877659"/>
                    <a:pt x="843278" y="2877659"/>
                    <a:pt x="1024003" y="3130536"/>
                  </a:cubicBezTo>
                  <a:cubicBezTo>
                    <a:pt x="1028768" y="3126099"/>
                    <a:pt x="1033214" y="3120395"/>
                    <a:pt x="1039884" y="3111206"/>
                  </a:cubicBezTo>
                  <a:cubicBezTo>
                    <a:pt x="1052589" y="3093777"/>
                    <a:pt x="1060212" y="3067158"/>
                    <a:pt x="1065611" y="3041173"/>
                  </a:cubicBezTo>
                  <a:cubicBezTo>
                    <a:pt x="1068470" y="3025963"/>
                    <a:pt x="1070693" y="3011386"/>
                    <a:pt x="1072917" y="2998077"/>
                  </a:cubicBezTo>
                  <a:close/>
                  <a:moveTo>
                    <a:pt x="1999093" y="2805409"/>
                  </a:moveTo>
                  <a:cubicBezTo>
                    <a:pt x="1999093" y="2805409"/>
                    <a:pt x="1999093" y="2805409"/>
                    <a:pt x="1987024" y="2838682"/>
                  </a:cubicBezTo>
                  <a:lnTo>
                    <a:pt x="2008939" y="2842801"/>
                  </a:lnTo>
                  <a:cubicBezTo>
                    <a:pt x="2008939" y="2842801"/>
                    <a:pt x="2008939" y="2842801"/>
                    <a:pt x="2021009" y="2808578"/>
                  </a:cubicBezTo>
                  <a:cubicBezTo>
                    <a:pt x="2021009" y="2808578"/>
                    <a:pt x="2021009" y="2808578"/>
                    <a:pt x="1999093" y="2805409"/>
                  </a:cubicBezTo>
                  <a:close/>
                  <a:moveTo>
                    <a:pt x="221063" y="2805092"/>
                  </a:moveTo>
                  <a:cubicBezTo>
                    <a:pt x="221063" y="2805092"/>
                    <a:pt x="221063" y="2805092"/>
                    <a:pt x="243296" y="2825690"/>
                  </a:cubicBezTo>
                  <a:lnTo>
                    <a:pt x="209311" y="2845653"/>
                  </a:lnTo>
                  <a:cubicBezTo>
                    <a:pt x="209311" y="2845653"/>
                    <a:pt x="209311" y="2845653"/>
                    <a:pt x="187713" y="2825690"/>
                  </a:cubicBezTo>
                  <a:cubicBezTo>
                    <a:pt x="187713" y="2825690"/>
                    <a:pt x="187713" y="2825690"/>
                    <a:pt x="221063" y="2805092"/>
                  </a:cubicBezTo>
                  <a:close/>
                  <a:moveTo>
                    <a:pt x="1954626" y="2798754"/>
                  </a:moveTo>
                  <a:cubicBezTo>
                    <a:pt x="1954626" y="2798754"/>
                    <a:pt x="1954626" y="2798754"/>
                    <a:pt x="1942874" y="2830760"/>
                  </a:cubicBezTo>
                  <a:lnTo>
                    <a:pt x="1982894" y="2838048"/>
                  </a:lnTo>
                  <a:cubicBezTo>
                    <a:pt x="1982894" y="2838048"/>
                    <a:pt x="1982894" y="2838048"/>
                    <a:pt x="1994964" y="2804775"/>
                  </a:cubicBezTo>
                  <a:cubicBezTo>
                    <a:pt x="1994964" y="2804775"/>
                    <a:pt x="1994964" y="2804775"/>
                    <a:pt x="1954626" y="2798754"/>
                  </a:cubicBezTo>
                  <a:close/>
                  <a:moveTo>
                    <a:pt x="1748809" y="2796219"/>
                  </a:moveTo>
                  <a:lnTo>
                    <a:pt x="1746269" y="2810479"/>
                  </a:lnTo>
                  <a:cubicBezTo>
                    <a:pt x="1746269" y="2810479"/>
                    <a:pt x="1746269" y="2810479"/>
                    <a:pt x="1785653" y="2817450"/>
                  </a:cubicBezTo>
                  <a:cubicBezTo>
                    <a:pt x="1785653" y="2817450"/>
                    <a:pt x="1785653" y="2817450"/>
                    <a:pt x="1788194" y="2802874"/>
                  </a:cubicBezTo>
                  <a:cubicBezTo>
                    <a:pt x="1788194" y="2802874"/>
                    <a:pt x="1788194" y="2802874"/>
                    <a:pt x="1748809" y="2796219"/>
                  </a:cubicBezTo>
                  <a:close/>
                  <a:moveTo>
                    <a:pt x="539635" y="2794318"/>
                  </a:moveTo>
                  <a:cubicBezTo>
                    <a:pt x="539635" y="2794318"/>
                    <a:pt x="539635" y="2794318"/>
                    <a:pt x="513272" y="2826323"/>
                  </a:cubicBezTo>
                  <a:cubicBezTo>
                    <a:pt x="513908" y="2828225"/>
                    <a:pt x="514860" y="2829809"/>
                    <a:pt x="515496" y="2831394"/>
                  </a:cubicBezTo>
                  <a:cubicBezTo>
                    <a:pt x="518354" y="2837731"/>
                    <a:pt x="521213" y="2843752"/>
                    <a:pt x="524071" y="2849773"/>
                  </a:cubicBezTo>
                  <a:cubicBezTo>
                    <a:pt x="524071" y="2849773"/>
                    <a:pt x="524071" y="2849773"/>
                    <a:pt x="557739" y="2833929"/>
                  </a:cubicBezTo>
                  <a:cubicBezTo>
                    <a:pt x="557739" y="2833929"/>
                    <a:pt x="557739" y="2833929"/>
                    <a:pt x="559645" y="2836781"/>
                  </a:cubicBezTo>
                  <a:close/>
                  <a:moveTo>
                    <a:pt x="1745316" y="2791466"/>
                  </a:moveTo>
                  <a:cubicBezTo>
                    <a:pt x="1745316" y="2791466"/>
                    <a:pt x="1745316" y="2791466"/>
                    <a:pt x="1792641" y="2799705"/>
                  </a:cubicBezTo>
                  <a:cubicBezTo>
                    <a:pt x="1792641" y="2799705"/>
                    <a:pt x="1792641" y="2799705"/>
                    <a:pt x="1788829" y="2821887"/>
                  </a:cubicBezTo>
                  <a:cubicBezTo>
                    <a:pt x="1788829" y="2821887"/>
                    <a:pt x="1788829" y="2821887"/>
                    <a:pt x="1786924" y="2821570"/>
                  </a:cubicBezTo>
                  <a:cubicBezTo>
                    <a:pt x="1786924" y="2821570"/>
                    <a:pt x="1786924" y="2821570"/>
                    <a:pt x="1741504" y="2813648"/>
                  </a:cubicBezTo>
                  <a:close/>
                  <a:moveTo>
                    <a:pt x="3571624" y="2789881"/>
                  </a:moveTo>
                  <a:cubicBezTo>
                    <a:pt x="3569718" y="2818084"/>
                    <a:pt x="3561778" y="2877976"/>
                    <a:pt x="3523981" y="2918538"/>
                  </a:cubicBezTo>
                  <a:cubicBezTo>
                    <a:pt x="3489360" y="2954980"/>
                    <a:pt x="3433460" y="3005682"/>
                    <a:pt x="3406144" y="3030082"/>
                  </a:cubicBezTo>
                  <a:cubicBezTo>
                    <a:pt x="3429013" y="3045293"/>
                    <a:pt x="3475385" y="3076031"/>
                    <a:pt x="3520805" y="3105502"/>
                  </a:cubicBezTo>
                  <a:cubicBezTo>
                    <a:pt x="3584964" y="3147331"/>
                    <a:pt x="3624031" y="3181238"/>
                    <a:pt x="3624348" y="3181555"/>
                  </a:cubicBezTo>
                  <a:cubicBezTo>
                    <a:pt x="3624348" y="3181555"/>
                    <a:pt x="3624348" y="3181555"/>
                    <a:pt x="3624984" y="3182188"/>
                  </a:cubicBezTo>
                  <a:cubicBezTo>
                    <a:pt x="3624984" y="3182188"/>
                    <a:pt x="3624984" y="3182188"/>
                    <a:pt x="3712329" y="3291832"/>
                  </a:cubicBezTo>
                  <a:cubicBezTo>
                    <a:pt x="3717093" y="3288663"/>
                    <a:pt x="3725986" y="3282008"/>
                    <a:pt x="3740280" y="3269333"/>
                  </a:cubicBezTo>
                  <a:cubicBezTo>
                    <a:pt x="3754890" y="3256657"/>
                    <a:pt x="3770771" y="3252221"/>
                    <a:pt x="3783476" y="3252221"/>
                  </a:cubicBezTo>
                  <a:cubicBezTo>
                    <a:pt x="3801580" y="3252538"/>
                    <a:pt x="3813967" y="3260143"/>
                    <a:pt x="3814920" y="3260777"/>
                  </a:cubicBezTo>
                  <a:cubicBezTo>
                    <a:pt x="3814920" y="3260777"/>
                    <a:pt x="3814920" y="3260777"/>
                    <a:pt x="3815555" y="3261094"/>
                  </a:cubicBezTo>
                  <a:cubicBezTo>
                    <a:pt x="3815555" y="3261094"/>
                    <a:pt x="3815555" y="3261094"/>
                    <a:pt x="4028995" y="3440769"/>
                  </a:cubicBezTo>
                  <a:cubicBezTo>
                    <a:pt x="4028995" y="3440769"/>
                    <a:pt x="4028995" y="3440769"/>
                    <a:pt x="4372341" y="3160640"/>
                  </a:cubicBezTo>
                  <a:cubicBezTo>
                    <a:pt x="4371388" y="3160323"/>
                    <a:pt x="4370435" y="3160006"/>
                    <a:pt x="4369800" y="3159689"/>
                  </a:cubicBezTo>
                  <a:cubicBezTo>
                    <a:pt x="4346932" y="3151767"/>
                    <a:pt x="4319616" y="3135289"/>
                    <a:pt x="4293572" y="3115008"/>
                  </a:cubicBezTo>
                  <a:cubicBezTo>
                    <a:pt x="4267844" y="3094727"/>
                    <a:pt x="4243706" y="3071911"/>
                    <a:pt x="4230366" y="3046877"/>
                  </a:cubicBezTo>
                  <a:cubicBezTo>
                    <a:pt x="4230366" y="3046877"/>
                    <a:pt x="4230366" y="3046877"/>
                    <a:pt x="4229095" y="3035786"/>
                  </a:cubicBezTo>
                  <a:cubicBezTo>
                    <a:pt x="4229095" y="3035786"/>
                    <a:pt x="4229095" y="3035786"/>
                    <a:pt x="4230048" y="3025646"/>
                  </a:cubicBezTo>
                  <a:cubicBezTo>
                    <a:pt x="4230048" y="3025646"/>
                    <a:pt x="4230048" y="3025646"/>
                    <a:pt x="4230048" y="3025963"/>
                  </a:cubicBezTo>
                  <a:cubicBezTo>
                    <a:pt x="4230366" y="3024379"/>
                    <a:pt x="4232271" y="3015822"/>
                    <a:pt x="4233859" y="3005365"/>
                  </a:cubicBezTo>
                  <a:cubicBezTo>
                    <a:pt x="4235130" y="2994908"/>
                    <a:pt x="4236400" y="2981599"/>
                    <a:pt x="4236400" y="2967972"/>
                  </a:cubicBezTo>
                  <a:cubicBezTo>
                    <a:pt x="4236400" y="2952128"/>
                    <a:pt x="4234812" y="2935967"/>
                    <a:pt x="4230683" y="2924242"/>
                  </a:cubicBezTo>
                  <a:cubicBezTo>
                    <a:pt x="4224648" y="2905862"/>
                    <a:pt x="4212896" y="2890018"/>
                    <a:pt x="4190663" y="2874490"/>
                  </a:cubicBezTo>
                  <a:cubicBezTo>
                    <a:pt x="4168747" y="2859597"/>
                    <a:pt x="4136032" y="2845970"/>
                    <a:pt x="4090930" y="2835196"/>
                  </a:cubicBezTo>
                  <a:cubicBezTo>
                    <a:pt x="4000092" y="2813331"/>
                    <a:pt x="3918146" y="2810479"/>
                    <a:pt x="3851764" y="2807627"/>
                  </a:cubicBezTo>
                  <a:cubicBezTo>
                    <a:pt x="3818096" y="2806043"/>
                    <a:pt x="3745679" y="2801606"/>
                    <a:pt x="3680885" y="2797170"/>
                  </a:cubicBezTo>
                  <a:cubicBezTo>
                    <a:pt x="3648805" y="2795268"/>
                    <a:pt x="3618632" y="2793050"/>
                    <a:pt x="3596398" y="2791466"/>
                  </a:cubicBezTo>
                  <a:cubicBezTo>
                    <a:pt x="3586234" y="2790832"/>
                    <a:pt x="3577658" y="2790198"/>
                    <a:pt x="3571624" y="2789881"/>
                  </a:cubicBezTo>
                  <a:close/>
                  <a:moveTo>
                    <a:pt x="665412" y="2788931"/>
                  </a:moveTo>
                  <a:cubicBezTo>
                    <a:pt x="665412" y="2788931"/>
                    <a:pt x="665412" y="2788931"/>
                    <a:pt x="640002" y="2801606"/>
                  </a:cubicBezTo>
                  <a:lnTo>
                    <a:pt x="657154" y="2837414"/>
                  </a:lnTo>
                  <a:cubicBezTo>
                    <a:pt x="657154" y="2837414"/>
                    <a:pt x="657154" y="2837414"/>
                    <a:pt x="682563" y="2824739"/>
                  </a:cubicBezTo>
                  <a:cubicBezTo>
                    <a:pt x="682563" y="2824739"/>
                    <a:pt x="682563" y="2824739"/>
                    <a:pt x="670176" y="2798120"/>
                  </a:cubicBezTo>
                  <a:cubicBezTo>
                    <a:pt x="670176" y="2798120"/>
                    <a:pt x="670176" y="2798120"/>
                    <a:pt x="665412" y="2788931"/>
                  </a:cubicBezTo>
                  <a:close/>
                  <a:moveTo>
                    <a:pt x="2301148" y="2784177"/>
                  </a:moveTo>
                  <a:cubicBezTo>
                    <a:pt x="2301148" y="2784177"/>
                    <a:pt x="2301148" y="2784177"/>
                    <a:pt x="2283680" y="2838682"/>
                  </a:cubicBezTo>
                  <a:cubicBezTo>
                    <a:pt x="2286220" y="2839950"/>
                    <a:pt x="2289079" y="2841217"/>
                    <a:pt x="2292255" y="2842801"/>
                  </a:cubicBezTo>
                  <a:cubicBezTo>
                    <a:pt x="2303690" y="2848189"/>
                    <a:pt x="2318300" y="2855160"/>
                    <a:pt x="2332593" y="2862132"/>
                  </a:cubicBezTo>
                  <a:cubicBezTo>
                    <a:pt x="2332593" y="2862132"/>
                    <a:pt x="2332593" y="2862132"/>
                    <a:pt x="2357684" y="2813014"/>
                  </a:cubicBezTo>
                  <a:cubicBezTo>
                    <a:pt x="2357684" y="2813014"/>
                    <a:pt x="2357684" y="2813014"/>
                    <a:pt x="2301148" y="2784177"/>
                  </a:cubicBezTo>
                  <a:close/>
                  <a:moveTo>
                    <a:pt x="1852988" y="2784177"/>
                  </a:moveTo>
                  <a:cubicBezTo>
                    <a:pt x="1852671" y="2785128"/>
                    <a:pt x="1852671" y="2786395"/>
                    <a:pt x="1852353" y="2787346"/>
                  </a:cubicBezTo>
                  <a:cubicBezTo>
                    <a:pt x="1847589" y="2805726"/>
                    <a:pt x="1843460" y="2822204"/>
                    <a:pt x="1840284" y="2833929"/>
                  </a:cubicBezTo>
                  <a:cubicBezTo>
                    <a:pt x="1838696" y="2839950"/>
                    <a:pt x="1837425" y="2844703"/>
                    <a:pt x="1836472" y="2847872"/>
                  </a:cubicBezTo>
                  <a:cubicBezTo>
                    <a:pt x="1835837" y="2849773"/>
                    <a:pt x="1835519" y="2851041"/>
                    <a:pt x="1835202" y="2851991"/>
                  </a:cubicBezTo>
                  <a:cubicBezTo>
                    <a:pt x="1834884" y="2852308"/>
                    <a:pt x="1834884" y="2852625"/>
                    <a:pt x="1834567" y="2853259"/>
                  </a:cubicBezTo>
                  <a:cubicBezTo>
                    <a:pt x="1834567" y="2853259"/>
                    <a:pt x="1834567" y="2853259"/>
                    <a:pt x="1834567" y="2853576"/>
                  </a:cubicBezTo>
                  <a:cubicBezTo>
                    <a:pt x="1834567" y="2853893"/>
                    <a:pt x="1834884" y="2854527"/>
                    <a:pt x="1834884" y="2855160"/>
                  </a:cubicBezTo>
                  <a:cubicBezTo>
                    <a:pt x="1834884" y="2855160"/>
                    <a:pt x="1834884" y="2855160"/>
                    <a:pt x="1835519" y="2851991"/>
                  </a:cubicBezTo>
                  <a:cubicBezTo>
                    <a:pt x="1835519" y="2851991"/>
                    <a:pt x="1835519" y="2851991"/>
                    <a:pt x="1923817" y="2871638"/>
                  </a:cubicBezTo>
                  <a:cubicBezTo>
                    <a:pt x="1923817" y="2871638"/>
                    <a:pt x="1923817" y="2871638"/>
                    <a:pt x="1937157" y="2834246"/>
                  </a:cubicBezTo>
                  <a:cubicBezTo>
                    <a:pt x="1937157" y="2834246"/>
                    <a:pt x="1937157" y="2834246"/>
                    <a:pt x="1845048" y="2817767"/>
                  </a:cubicBezTo>
                  <a:cubicBezTo>
                    <a:pt x="1845048" y="2817767"/>
                    <a:pt x="1845048" y="2817767"/>
                    <a:pt x="1846001" y="2813648"/>
                  </a:cubicBezTo>
                  <a:cubicBezTo>
                    <a:pt x="1846001" y="2813648"/>
                    <a:pt x="1846001" y="2813648"/>
                    <a:pt x="1938745" y="2830126"/>
                  </a:cubicBezTo>
                  <a:cubicBezTo>
                    <a:pt x="1938745" y="2830126"/>
                    <a:pt x="1938745" y="2830126"/>
                    <a:pt x="1950180" y="2798120"/>
                  </a:cubicBezTo>
                  <a:cubicBezTo>
                    <a:pt x="1950180" y="2798120"/>
                    <a:pt x="1950180" y="2798120"/>
                    <a:pt x="1852988" y="2784177"/>
                  </a:cubicBezTo>
                  <a:close/>
                  <a:moveTo>
                    <a:pt x="468488" y="2781959"/>
                  </a:moveTo>
                  <a:cubicBezTo>
                    <a:pt x="468488" y="2781959"/>
                    <a:pt x="468488" y="2781959"/>
                    <a:pt x="341758" y="2902376"/>
                  </a:cubicBezTo>
                  <a:lnTo>
                    <a:pt x="340170" y="2910932"/>
                  </a:lnTo>
                  <a:cubicBezTo>
                    <a:pt x="340170" y="2910932"/>
                    <a:pt x="340170" y="2910932"/>
                    <a:pt x="484051" y="2815232"/>
                  </a:cubicBezTo>
                  <a:cubicBezTo>
                    <a:pt x="484051" y="2815232"/>
                    <a:pt x="484051" y="2815232"/>
                    <a:pt x="468488" y="2781959"/>
                  </a:cubicBezTo>
                  <a:close/>
                  <a:moveTo>
                    <a:pt x="2429149" y="2780058"/>
                  </a:moveTo>
                  <a:cubicBezTo>
                    <a:pt x="2429149" y="2780058"/>
                    <a:pt x="2429149" y="2780058"/>
                    <a:pt x="2402786" y="2831077"/>
                  </a:cubicBezTo>
                  <a:cubicBezTo>
                    <a:pt x="2402786" y="2831077"/>
                    <a:pt x="2402786" y="2831077"/>
                    <a:pt x="2408186" y="2833929"/>
                  </a:cubicBezTo>
                  <a:lnTo>
                    <a:pt x="2434231" y="2782593"/>
                  </a:lnTo>
                  <a:cubicBezTo>
                    <a:pt x="2434231" y="2782593"/>
                    <a:pt x="2434231" y="2782593"/>
                    <a:pt x="2429149" y="2780058"/>
                  </a:cubicBezTo>
                  <a:close/>
                  <a:moveTo>
                    <a:pt x="1736422" y="2779107"/>
                  </a:moveTo>
                  <a:cubicBezTo>
                    <a:pt x="1736422" y="2791783"/>
                    <a:pt x="1734834" y="2803824"/>
                    <a:pt x="1730388" y="2814282"/>
                  </a:cubicBezTo>
                  <a:cubicBezTo>
                    <a:pt x="1753574" y="2818084"/>
                    <a:pt x="1835837" y="2832027"/>
                    <a:pt x="1836155" y="2832027"/>
                  </a:cubicBezTo>
                  <a:cubicBezTo>
                    <a:pt x="1836155" y="2832027"/>
                    <a:pt x="1836155" y="2832027"/>
                    <a:pt x="1835837" y="2833295"/>
                  </a:cubicBezTo>
                  <a:cubicBezTo>
                    <a:pt x="1837108" y="2828225"/>
                    <a:pt x="1838696" y="2822521"/>
                    <a:pt x="1840284" y="2816183"/>
                  </a:cubicBezTo>
                  <a:cubicBezTo>
                    <a:pt x="1841554" y="2811113"/>
                    <a:pt x="1843142" y="2805092"/>
                    <a:pt x="1844730" y="2799388"/>
                  </a:cubicBezTo>
                  <a:cubicBezTo>
                    <a:pt x="1839966" y="2798437"/>
                    <a:pt x="1815192" y="2794001"/>
                    <a:pt x="1790100" y="2789247"/>
                  </a:cubicBezTo>
                  <a:cubicBezTo>
                    <a:pt x="1776442" y="2786713"/>
                    <a:pt x="1762467" y="2784177"/>
                    <a:pt x="1752303" y="2782276"/>
                  </a:cubicBezTo>
                  <a:cubicBezTo>
                    <a:pt x="1746904" y="2781325"/>
                    <a:pt x="1742775" y="2780375"/>
                    <a:pt x="1739599" y="2779741"/>
                  </a:cubicBezTo>
                  <a:cubicBezTo>
                    <a:pt x="1738328" y="2779741"/>
                    <a:pt x="1737375" y="2779424"/>
                    <a:pt x="1736422" y="2779107"/>
                  </a:cubicBezTo>
                  <a:close/>
                  <a:moveTo>
                    <a:pt x="1525206" y="2779107"/>
                  </a:moveTo>
                  <a:lnTo>
                    <a:pt x="1524888" y="2817767"/>
                  </a:lnTo>
                  <a:cubicBezTo>
                    <a:pt x="1524888" y="2817767"/>
                    <a:pt x="1524888" y="2817767"/>
                    <a:pt x="1549662" y="2817767"/>
                  </a:cubicBezTo>
                  <a:cubicBezTo>
                    <a:pt x="1549662" y="2817767"/>
                    <a:pt x="1549662" y="2817767"/>
                    <a:pt x="1549980" y="2779107"/>
                  </a:cubicBezTo>
                  <a:cubicBezTo>
                    <a:pt x="1549980" y="2779107"/>
                    <a:pt x="1549980" y="2779107"/>
                    <a:pt x="1525206" y="2779107"/>
                  </a:cubicBezTo>
                  <a:close/>
                  <a:moveTo>
                    <a:pt x="577749" y="2776572"/>
                  </a:moveTo>
                  <a:cubicBezTo>
                    <a:pt x="577749" y="2776572"/>
                    <a:pt x="577749" y="2776572"/>
                    <a:pt x="543764" y="2790832"/>
                  </a:cubicBezTo>
                  <a:lnTo>
                    <a:pt x="568220" y="2843118"/>
                  </a:lnTo>
                  <a:cubicBezTo>
                    <a:pt x="568220" y="2843118"/>
                    <a:pt x="568220" y="2843118"/>
                    <a:pt x="602206" y="2826957"/>
                  </a:cubicBezTo>
                  <a:cubicBezTo>
                    <a:pt x="590454" y="2802557"/>
                    <a:pt x="579019" y="2779424"/>
                    <a:pt x="577749" y="2776572"/>
                  </a:cubicBezTo>
                  <a:close/>
                  <a:moveTo>
                    <a:pt x="1167885" y="2775304"/>
                  </a:moveTo>
                  <a:lnTo>
                    <a:pt x="1055130" y="2830126"/>
                  </a:lnTo>
                  <a:cubicBezTo>
                    <a:pt x="1055130" y="2830126"/>
                    <a:pt x="1055130" y="2830126"/>
                    <a:pt x="1064023" y="2846921"/>
                  </a:cubicBezTo>
                  <a:cubicBezTo>
                    <a:pt x="1067835" y="2844386"/>
                    <a:pt x="1076410" y="2838365"/>
                    <a:pt x="1088480" y="2830760"/>
                  </a:cubicBezTo>
                  <a:cubicBezTo>
                    <a:pt x="1090068" y="2829809"/>
                    <a:pt x="1091974" y="2829492"/>
                    <a:pt x="1093562" y="2829492"/>
                  </a:cubicBezTo>
                  <a:cubicBezTo>
                    <a:pt x="1102773" y="2829809"/>
                    <a:pt x="1112937" y="2839316"/>
                    <a:pt x="1116430" y="2842485"/>
                  </a:cubicBezTo>
                  <a:cubicBezTo>
                    <a:pt x="1116430" y="2842485"/>
                    <a:pt x="1116430" y="2842485"/>
                    <a:pt x="1148192" y="2828225"/>
                  </a:cubicBezTo>
                  <a:cubicBezTo>
                    <a:pt x="1145334" y="2823471"/>
                    <a:pt x="1138981" y="2812380"/>
                    <a:pt x="1138664" y="2804775"/>
                  </a:cubicBezTo>
                  <a:cubicBezTo>
                    <a:pt x="1138664" y="2802240"/>
                    <a:pt x="1139617" y="2799705"/>
                    <a:pt x="1141840" y="2798120"/>
                  </a:cubicBezTo>
                  <a:cubicBezTo>
                    <a:pt x="1155498" y="2789881"/>
                    <a:pt x="1166297" y="2783227"/>
                    <a:pt x="1170426" y="2780691"/>
                  </a:cubicBezTo>
                  <a:cubicBezTo>
                    <a:pt x="1170426" y="2780691"/>
                    <a:pt x="1170426" y="2780691"/>
                    <a:pt x="1167885" y="2775304"/>
                  </a:cubicBezTo>
                  <a:close/>
                  <a:moveTo>
                    <a:pt x="1521077" y="2774987"/>
                  </a:moveTo>
                  <a:cubicBezTo>
                    <a:pt x="1521077" y="2774987"/>
                    <a:pt x="1521077" y="2774987"/>
                    <a:pt x="1554109" y="2775304"/>
                  </a:cubicBezTo>
                  <a:cubicBezTo>
                    <a:pt x="1554109" y="2775304"/>
                    <a:pt x="1554109" y="2775304"/>
                    <a:pt x="1553792" y="2821887"/>
                  </a:cubicBezTo>
                  <a:cubicBezTo>
                    <a:pt x="1553792" y="2821887"/>
                    <a:pt x="1553792" y="2821887"/>
                    <a:pt x="1551886" y="2821887"/>
                  </a:cubicBezTo>
                  <a:cubicBezTo>
                    <a:pt x="1551886" y="2821887"/>
                    <a:pt x="1551886" y="2821887"/>
                    <a:pt x="1520759" y="2821887"/>
                  </a:cubicBezTo>
                  <a:close/>
                  <a:moveTo>
                    <a:pt x="469758" y="2774671"/>
                  </a:moveTo>
                  <a:cubicBezTo>
                    <a:pt x="469758" y="2774671"/>
                    <a:pt x="469758" y="2774671"/>
                    <a:pt x="489768" y="2816817"/>
                  </a:cubicBezTo>
                  <a:cubicBezTo>
                    <a:pt x="489768" y="2816817"/>
                    <a:pt x="489768" y="2816817"/>
                    <a:pt x="334135" y="2920122"/>
                  </a:cubicBezTo>
                  <a:lnTo>
                    <a:pt x="337629" y="2900158"/>
                  </a:lnTo>
                  <a:cubicBezTo>
                    <a:pt x="337629" y="2900158"/>
                    <a:pt x="337629" y="2900158"/>
                    <a:pt x="469758" y="2774671"/>
                  </a:cubicBezTo>
                  <a:close/>
                  <a:moveTo>
                    <a:pt x="1170108" y="2768967"/>
                  </a:moveTo>
                  <a:cubicBezTo>
                    <a:pt x="1170108" y="2768967"/>
                    <a:pt x="1170108" y="2768967"/>
                    <a:pt x="1176460" y="2782276"/>
                  </a:cubicBezTo>
                  <a:cubicBezTo>
                    <a:pt x="1176460" y="2782276"/>
                    <a:pt x="1176460" y="2782276"/>
                    <a:pt x="1174872" y="2783543"/>
                  </a:cubicBezTo>
                  <a:cubicBezTo>
                    <a:pt x="1174872" y="2783543"/>
                    <a:pt x="1161850" y="2791466"/>
                    <a:pt x="1144381" y="2802240"/>
                  </a:cubicBezTo>
                  <a:cubicBezTo>
                    <a:pt x="1143746" y="2802557"/>
                    <a:pt x="1143428" y="2802874"/>
                    <a:pt x="1143428" y="2804775"/>
                  </a:cubicBezTo>
                  <a:cubicBezTo>
                    <a:pt x="1143428" y="2807944"/>
                    <a:pt x="1145969" y="2814282"/>
                    <a:pt x="1148510" y="2819035"/>
                  </a:cubicBezTo>
                  <a:cubicBezTo>
                    <a:pt x="1151051" y="2823788"/>
                    <a:pt x="1153592" y="2827908"/>
                    <a:pt x="1153592" y="2827908"/>
                  </a:cubicBezTo>
                  <a:cubicBezTo>
                    <a:pt x="1153592" y="2827908"/>
                    <a:pt x="1153592" y="2827908"/>
                    <a:pt x="1155180" y="2830126"/>
                  </a:cubicBezTo>
                  <a:cubicBezTo>
                    <a:pt x="1155180" y="2830126"/>
                    <a:pt x="1155180" y="2830126"/>
                    <a:pt x="1115160" y="2848189"/>
                  </a:cubicBezTo>
                  <a:cubicBezTo>
                    <a:pt x="1115160" y="2848189"/>
                    <a:pt x="1115160" y="2848189"/>
                    <a:pt x="1114207" y="2846921"/>
                  </a:cubicBezTo>
                  <a:cubicBezTo>
                    <a:pt x="1114207" y="2846921"/>
                    <a:pt x="1111031" y="2843752"/>
                    <a:pt x="1106902" y="2840583"/>
                  </a:cubicBezTo>
                  <a:cubicBezTo>
                    <a:pt x="1102455" y="2837098"/>
                    <a:pt x="1097056" y="2834246"/>
                    <a:pt x="1093562" y="2834246"/>
                  </a:cubicBezTo>
                  <a:cubicBezTo>
                    <a:pt x="1092609" y="2834246"/>
                    <a:pt x="1091656" y="2834246"/>
                    <a:pt x="1091021" y="2834880"/>
                  </a:cubicBezTo>
                  <a:cubicBezTo>
                    <a:pt x="1074187" y="2845020"/>
                    <a:pt x="1064659" y="2852308"/>
                    <a:pt x="1064659" y="2852308"/>
                  </a:cubicBezTo>
                  <a:lnTo>
                    <a:pt x="1062435" y="2853893"/>
                  </a:lnTo>
                  <a:cubicBezTo>
                    <a:pt x="1062435" y="2853893"/>
                    <a:pt x="1062435" y="2853893"/>
                    <a:pt x="1048778" y="2827908"/>
                  </a:cubicBezTo>
                  <a:cubicBezTo>
                    <a:pt x="1048778" y="2827908"/>
                    <a:pt x="1048778" y="2827908"/>
                    <a:pt x="1170108" y="2768967"/>
                  </a:cubicBezTo>
                  <a:close/>
                  <a:moveTo>
                    <a:pt x="2201734" y="2762946"/>
                  </a:moveTo>
                  <a:cubicBezTo>
                    <a:pt x="2201734" y="2762946"/>
                    <a:pt x="2201734" y="2762946"/>
                    <a:pt x="2182994" y="2817767"/>
                  </a:cubicBezTo>
                  <a:cubicBezTo>
                    <a:pt x="2185853" y="2818401"/>
                    <a:pt x="2188712" y="2819035"/>
                    <a:pt x="2191570" y="2819352"/>
                  </a:cubicBezTo>
                  <a:cubicBezTo>
                    <a:pt x="2220156" y="2825056"/>
                    <a:pt x="2250012" y="2830760"/>
                    <a:pt x="2263352" y="2832978"/>
                  </a:cubicBezTo>
                  <a:cubicBezTo>
                    <a:pt x="2263352" y="2832978"/>
                    <a:pt x="2263352" y="2832978"/>
                    <a:pt x="2281138" y="2778156"/>
                  </a:cubicBezTo>
                  <a:cubicBezTo>
                    <a:pt x="2266210" y="2775304"/>
                    <a:pt x="2241118" y="2770551"/>
                    <a:pt x="2216026" y="2765798"/>
                  </a:cubicBezTo>
                  <a:cubicBezTo>
                    <a:pt x="2211262" y="2764847"/>
                    <a:pt x="2206498" y="2763896"/>
                    <a:pt x="2201734" y="2762946"/>
                  </a:cubicBezTo>
                  <a:close/>
                  <a:moveTo>
                    <a:pt x="614593" y="2761044"/>
                  </a:moveTo>
                  <a:cubicBezTo>
                    <a:pt x="614593" y="2761044"/>
                    <a:pt x="614593" y="2761044"/>
                    <a:pt x="582513" y="2774671"/>
                  </a:cubicBezTo>
                  <a:cubicBezTo>
                    <a:pt x="584419" y="2778156"/>
                    <a:pt x="593947" y="2797803"/>
                    <a:pt x="604429" y="2819669"/>
                  </a:cubicBezTo>
                  <a:cubicBezTo>
                    <a:pt x="604429" y="2819669"/>
                    <a:pt x="604429" y="2819669"/>
                    <a:pt x="633967" y="2804141"/>
                  </a:cubicBezTo>
                  <a:cubicBezTo>
                    <a:pt x="633967" y="2804141"/>
                    <a:pt x="633967" y="2804141"/>
                    <a:pt x="634920" y="2803507"/>
                  </a:cubicBezTo>
                  <a:cubicBezTo>
                    <a:pt x="634920" y="2803507"/>
                    <a:pt x="634920" y="2803507"/>
                    <a:pt x="614593" y="2761044"/>
                  </a:cubicBezTo>
                  <a:close/>
                  <a:moveTo>
                    <a:pt x="2389129" y="2760728"/>
                  </a:moveTo>
                  <a:cubicBezTo>
                    <a:pt x="2389129" y="2760728"/>
                    <a:pt x="2389129" y="2760728"/>
                    <a:pt x="2363402" y="2811113"/>
                  </a:cubicBezTo>
                  <a:cubicBezTo>
                    <a:pt x="2363402" y="2811113"/>
                    <a:pt x="2363402" y="2811113"/>
                    <a:pt x="2399293" y="2829175"/>
                  </a:cubicBezTo>
                  <a:lnTo>
                    <a:pt x="2425338" y="2778156"/>
                  </a:lnTo>
                  <a:cubicBezTo>
                    <a:pt x="2425338" y="2778156"/>
                    <a:pt x="2425338" y="2778156"/>
                    <a:pt x="2389129" y="2760728"/>
                  </a:cubicBezTo>
                  <a:close/>
                  <a:moveTo>
                    <a:pt x="124507" y="2758826"/>
                  </a:moveTo>
                  <a:cubicBezTo>
                    <a:pt x="124507" y="2758826"/>
                    <a:pt x="124507" y="2758826"/>
                    <a:pt x="100685" y="2776572"/>
                  </a:cubicBezTo>
                  <a:cubicBezTo>
                    <a:pt x="100685" y="2776572"/>
                    <a:pt x="100685" y="2776572"/>
                    <a:pt x="108308" y="2789564"/>
                  </a:cubicBezTo>
                  <a:cubicBezTo>
                    <a:pt x="108308" y="2789564"/>
                    <a:pt x="108308" y="2789564"/>
                    <a:pt x="93698" y="2798120"/>
                  </a:cubicBezTo>
                  <a:cubicBezTo>
                    <a:pt x="93698" y="2798120"/>
                    <a:pt x="93698" y="2798120"/>
                    <a:pt x="82899" y="2791466"/>
                  </a:cubicBezTo>
                  <a:cubicBezTo>
                    <a:pt x="82899" y="2791466"/>
                    <a:pt x="82899" y="2791466"/>
                    <a:pt x="67653" y="2803824"/>
                  </a:cubicBezTo>
                  <a:cubicBezTo>
                    <a:pt x="67653" y="2803824"/>
                    <a:pt x="67653" y="2803824"/>
                    <a:pt x="106720" y="2841851"/>
                  </a:cubicBezTo>
                  <a:lnTo>
                    <a:pt x="153093" y="2815549"/>
                  </a:lnTo>
                  <a:cubicBezTo>
                    <a:pt x="153093" y="2815549"/>
                    <a:pt x="153093" y="2815549"/>
                    <a:pt x="157222" y="2787346"/>
                  </a:cubicBezTo>
                  <a:cubicBezTo>
                    <a:pt x="157222" y="2787346"/>
                    <a:pt x="157222" y="2787346"/>
                    <a:pt x="124507" y="2758826"/>
                  </a:cubicBezTo>
                  <a:close/>
                  <a:moveTo>
                    <a:pt x="1749445" y="2758193"/>
                  </a:moveTo>
                  <a:cubicBezTo>
                    <a:pt x="1749445" y="2758193"/>
                    <a:pt x="1749445" y="2758193"/>
                    <a:pt x="1746904" y="2772453"/>
                  </a:cubicBezTo>
                  <a:lnTo>
                    <a:pt x="1786289" y="2779424"/>
                  </a:lnTo>
                  <a:cubicBezTo>
                    <a:pt x="1786289" y="2779424"/>
                    <a:pt x="1786289" y="2779424"/>
                    <a:pt x="1788829" y="2765164"/>
                  </a:cubicBezTo>
                  <a:cubicBezTo>
                    <a:pt x="1788829" y="2765164"/>
                    <a:pt x="1788829" y="2765164"/>
                    <a:pt x="1749445" y="2758193"/>
                  </a:cubicBezTo>
                  <a:close/>
                  <a:moveTo>
                    <a:pt x="1423250" y="2757559"/>
                  </a:moveTo>
                  <a:cubicBezTo>
                    <a:pt x="1423250" y="2757559"/>
                    <a:pt x="1423250" y="2757559"/>
                    <a:pt x="1296838" y="2843435"/>
                  </a:cubicBezTo>
                  <a:cubicBezTo>
                    <a:pt x="1296838" y="2843435"/>
                    <a:pt x="1296838" y="2843435"/>
                    <a:pt x="1332094" y="2928361"/>
                  </a:cubicBezTo>
                  <a:cubicBezTo>
                    <a:pt x="1348927" y="2927411"/>
                    <a:pt x="1382277" y="2925509"/>
                    <a:pt x="1420392" y="2922657"/>
                  </a:cubicBezTo>
                  <a:cubicBezTo>
                    <a:pt x="1420392" y="2922657"/>
                    <a:pt x="1420392" y="2922657"/>
                    <a:pt x="1423250" y="2757559"/>
                  </a:cubicBezTo>
                  <a:close/>
                  <a:moveTo>
                    <a:pt x="367485" y="2757559"/>
                  </a:moveTo>
                  <a:lnTo>
                    <a:pt x="356686" y="2772135"/>
                  </a:lnTo>
                  <a:cubicBezTo>
                    <a:pt x="356686" y="2772135"/>
                    <a:pt x="356686" y="2772135"/>
                    <a:pt x="393212" y="2801606"/>
                  </a:cubicBezTo>
                  <a:cubicBezTo>
                    <a:pt x="393212" y="2801606"/>
                    <a:pt x="393212" y="2801606"/>
                    <a:pt x="404964" y="2787029"/>
                  </a:cubicBezTo>
                  <a:cubicBezTo>
                    <a:pt x="404964" y="2787029"/>
                    <a:pt x="404964" y="2787029"/>
                    <a:pt x="367485" y="2757559"/>
                  </a:cubicBezTo>
                  <a:close/>
                  <a:moveTo>
                    <a:pt x="2155679" y="2754390"/>
                  </a:moveTo>
                  <a:cubicBezTo>
                    <a:pt x="2155679" y="2754390"/>
                    <a:pt x="2155679" y="2754390"/>
                    <a:pt x="2136940" y="2808578"/>
                  </a:cubicBezTo>
                  <a:cubicBezTo>
                    <a:pt x="2148056" y="2810796"/>
                    <a:pt x="2162984" y="2813965"/>
                    <a:pt x="2178865" y="2817134"/>
                  </a:cubicBezTo>
                  <a:cubicBezTo>
                    <a:pt x="2178865" y="2817134"/>
                    <a:pt x="2178865" y="2817134"/>
                    <a:pt x="2197605" y="2762312"/>
                  </a:cubicBezTo>
                  <a:cubicBezTo>
                    <a:pt x="2181724" y="2759143"/>
                    <a:pt x="2166796" y="2756291"/>
                    <a:pt x="2155679" y="2754390"/>
                  </a:cubicBezTo>
                  <a:close/>
                  <a:moveTo>
                    <a:pt x="1970825" y="2753439"/>
                  </a:moveTo>
                  <a:cubicBezTo>
                    <a:pt x="1970825" y="2753439"/>
                    <a:pt x="1970825" y="2753439"/>
                    <a:pt x="1955897" y="2794635"/>
                  </a:cubicBezTo>
                  <a:lnTo>
                    <a:pt x="1996552" y="2800339"/>
                  </a:lnTo>
                  <a:cubicBezTo>
                    <a:pt x="1996552" y="2800339"/>
                    <a:pt x="1996552" y="2800339"/>
                    <a:pt x="2011798" y="2757876"/>
                  </a:cubicBezTo>
                  <a:cubicBezTo>
                    <a:pt x="2011798" y="2757876"/>
                    <a:pt x="2011798" y="2757876"/>
                    <a:pt x="1970825" y="2753439"/>
                  </a:cubicBezTo>
                  <a:close/>
                  <a:moveTo>
                    <a:pt x="1746269" y="2753439"/>
                  </a:moveTo>
                  <a:cubicBezTo>
                    <a:pt x="1746269" y="2753439"/>
                    <a:pt x="1746269" y="2753439"/>
                    <a:pt x="1793594" y="2761678"/>
                  </a:cubicBezTo>
                  <a:cubicBezTo>
                    <a:pt x="1793594" y="2761678"/>
                    <a:pt x="1793594" y="2761678"/>
                    <a:pt x="1789782" y="2784177"/>
                  </a:cubicBezTo>
                  <a:lnTo>
                    <a:pt x="1787559" y="2783860"/>
                  </a:lnTo>
                  <a:cubicBezTo>
                    <a:pt x="1787559" y="2783860"/>
                    <a:pt x="1787559" y="2783860"/>
                    <a:pt x="1742457" y="2775938"/>
                  </a:cubicBezTo>
                  <a:cubicBezTo>
                    <a:pt x="1742457" y="2775938"/>
                    <a:pt x="1742457" y="2775938"/>
                    <a:pt x="1746269" y="2753439"/>
                  </a:cubicBezTo>
                  <a:close/>
                  <a:moveTo>
                    <a:pt x="124824" y="2752805"/>
                  </a:moveTo>
                  <a:cubicBezTo>
                    <a:pt x="124824" y="2752805"/>
                    <a:pt x="124824" y="2752805"/>
                    <a:pt x="162303" y="2785445"/>
                  </a:cubicBezTo>
                  <a:cubicBezTo>
                    <a:pt x="162303" y="2785445"/>
                    <a:pt x="162303" y="2785445"/>
                    <a:pt x="157539" y="2818401"/>
                  </a:cubicBezTo>
                  <a:lnTo>
                    <a:pt x="156586" y="2819035"/>
                  </a:lnTo>
                  <a:cubicBezTo>
                    <a:pt x="156586" y="2819035"/>
                    <a:pt x="156586" y="2819035"/>
                    <a:pt x="105767" y="2847555"/>
                  </a:cubicBezTo>
                  <a:cubicBezTo>
                    <a:pt x="105767" y="2847555"/>
                    <a:pt x="105767" y="2847555"/>
                    <a:pt x="60665" y="2803507"/>
                  </a:cubicBezTo>
                  <a:cubicBezTo>
                    <a:pt x="60665" y="2803507"/>
                    <a:pt x="60665" y="2803507"/>
                    <a:pt x="82581" y="2785762"/>
                  </a:cubicBezTo>
                  <a:cubicBezTo>
                    <a:pt x="82581" y="2785762"/>
                    <a:pt x="82581" y="2785762"/>
                    <a:pt x="93698" y="2792416"/>
                  </a:cubicBezTo>
                  <a:cubicBezTo>
                    <a:pt x="93698" y="2792416"/>
                    <a:pt x="93698" y="2792416"/>
                    <a:pt x="101956" y="2787980"/>
                  </a:cubicBezTo>
                  <a:cubicBezTo>
                    <a:pt x="101956" y="2787980"/>
                    <a:pt x="101956" y="2787980"/>
                    <a:pt x="94333" y="2775621"/>
                  </a:cubicBezTo>
                  <a:cubicBezTo>
                    <a:pt x="94333" y="2775621"/>
                    <a:pt x="94333" y="2775621"/>
                    <a:pt x="124824" y="2752805"/>
                  </a:cubicBezTo>
                  <a:close/>
                  <a:moveTo>
                    <a:pt x="2146786" y="2752488"/>
                  </a:moveTo>
                  <a:cubicBezTo>
                    <a:pt x="2140751" y="2770551"/>
                    <a:pt x="2134716" y="2788614"/>
                    <a:pt x="2128364" y="2806993"/>
                  </a:cubicBezTo>
                  <a:cubicBezTo>
                    <a:pt x="2129952" y="2807310"/>
                    <a:pt x="2131222" y="2807627"/>
                    <a:pt x="2133128" y="2807944"/>
                  </a:cubicBezTo>
                  <a:cubicBezTo>
                    <a:pt x="2133128" y="2807944"/>
                    <a:pt x="2133128" y="2807944"/>
                    <a:pt x="2151550" y="2753439"/>
                  </a:cubicBezTo>
                  <a:cubicBezTo>
                    <a:pt x="2149962" y="2753122"/>
                    <a:pt x="2148374" y="2752805"/>
                    <a:pt x="2146786" y="2752488"/>
                  </a:cubicBezTo>
                  <a:close/>
                  <a:moveTo>
                    <a:pt x="366850" y="2751538"/>
                  </a:moveTo>
                  <a:cubicBezTo>
                    <a:pt x="366850" y="2751538"/>
                    <a:pt x="366850" y="2751538"/>
                    <a:pt x="411317" y="2786395"/>
                  </a:cubicBezTo>
                  <a:cubicBezTo>
                    <a:pt x="411317" y="2786395"/>
                    <a:pt x="411317" y="2786395"/>
                    <a:pt x="394165" y="2807944"/>
                  </a:cubicBezTo>
                  <a:lnTo>
                    <a:pt x="350334" y="2772769"/>
                  </a:lnTo>
                  <a:cubicBezTo>
                    <a:pt x="350334" y="2772769"/>
                    <a:pt x="350334" y="2772769"/>
                    <a:pt x="366850" y="2751538"/>
                  </a:cubicBezTo>
                  <a:close/>
                  <a:moveTo>
                    <a:pt x="798812" y="2750587"/>
                  </a:moveTo>
                  <a:cubicBezTo>
                    <a:pt x="794683" y="2752805"/>
                    <a:pt x="768638" y="2767699"/>
                    <a:pt x="742275" y="2782910"/>
                  </a:cubicBezTo>
                  <a:cubicBezTo>
                    <a:pt x="727665" y="2791466"/>
                    <a:pt x="713372" y="2799705"/>
                    <a:pt x="702573" y="2806043"/>
                  </a:cubicBezTo>
                  <a:cubicBezTo>
                    <a:pt x="697174" y="2809211"/>
                    <a:pt x="692727" y="2812063"/>
                    <a:pt x="689551" y="2813965"/>
                  </a:cubicBezTo>
                  <a:cubicBezTo>
                    <a:pt x="687963" y="2814915"/>
                    <a:pt x="687010" y="2815549"/>
                    <a:pt x="686057" y="2816183"/>
                  </a:cubicBezTo>
                  <a:cubicBezTo>
                    <a:pt x="685739" y="2816500"/>
                    <a:pt x="685422" y="2816500"/>
                    <a:pt x="685422" y="2816500"/>
                  </a:cubicBezTo>
                  <a:cubicBezTo>
                    <a:pt x="685422" y="2816500"/>
                    <a:pt x="685422" y="2816500"/>
                    <a:pt x="690186" y="2825690"/>
                  </a:cubicBezTo>
                  <a:cubicBezTo>
                    <a:pt x="690186" y="2825690"/>
                    <a:pt x="690186" y="2825690"/>
                    <a:pt x="688915" y="2826323"/>
                  </a:cubicBezTo>
                  <a:lnTo>
                    <a:pt x="697174" y="2843752"/>
                  </a:lnTo>
                  <a:cubicBezTo>
                    <a:pt x="709243" y="2838048"/>
                    <a:pt x="731159" y="2826957"/>
                    <a:pt x="758474" y="2812697"/>
                  </a:cubicBezTo>
                  <a:cubicBezTo>
                    <a:pt x="775308" y="2803824"/>
                    <a:pt x="794047" y="2793684"/>
                    <a:pt x="814375" y="2783227"/>
                  </a:cubicBezTo>
                  <a:cubicBezTo>
                    <a:pt x="814375" y="2783227"/>
                    <a:pt x="814375" y="2783227"/>
                    <a:pt x="798812" y="2750587"/>
                  </a:cubicBezTo>
                  <a:close/>
                  <a:moveTo>
                    <a:pt x="1734834" y="2748686"/>
                  </a:moveTo>
                  <a:cubicBezTo>
                    <a:pt x="1735787" y="2757559"/>
                    <a:pt x="1736422" y="2766432"/>
                    <a:pt x="1736422" y="2774671"/>
                  </a:cubicBezTo>
                  <a:cubicBezTo>
                    <a:pt x="1744998" y="2776889"/>
                    <a:pt x="1838696" y="2793684"/>
                    <a:pt x="1845683" y="2794951"/>
                  </a:cubicBezTo>
                  <a:cubicBezTo>
                    <a:pt x="1847907" y="2786079"/>
                    <a:pt x="1850448" y="2776572"/>
                    <a:pt x="1852988" y="2766748"/>
                  </a:cubicBezTo>
                  <a:close/>
                  <a:moveTo>
                    <a:pt x="646990" y="2747418"/>
                  </a:moveTo>
                  <a:cubicBezTo>
                    <a:pt x="646990" y="2747418"/>
                    <a:pt x="646990" y="2747418"/>
                    <a:pt x="619357" y="2759143"/>
                  </a:cubicBezTo>
                  <a:lnTo>
                    <a:pt x="638096" y="2797803"/>
                  </a:lnTo>
                  <a:cubicBezTo>
                    <a:pt x="638096" y="2797803"/>
                    <a:pt x="638096" y="2797803"/>
                    <a:pt x="664141" y="2784811"/>
                  </a:cubicBezTo>
                  <a:cubicBezTo>
                    <a:pt x="664141" y="2784811"/>
                    <a:pt x="664141" y="2784811"/>
                    <a:pt x="646990" y="2747418"/>
                  </a:cubicBezTo>
                  <a:close/>
                  <a:moveTo>
                    <a:pt x="1487409" y="2743299"/>
                  </a:moveTo>
                  <a:cubicBezTo>
                    <a:pt x="1487409" y="2743299"/>
                    <a:pt x="1487409" y="2743299"/>
                    <a:pt x="1519171" y="2914418"/>
                  </a:cubicBezTo>
                  <a:cubicBezTo>
                    <a:pt x="1538863" y="2912200"/>
                    <a:pt x="1557285" y="2909982"/>
                    <a:pt x="1571896" y="2907764"/>
                  </a:cubicBezTo>
                  <a:cubicBezTo>
                    <a:pt x="1571896" y="2907764"/>
                    <a:pt x="1571896" y="2907764"/>
                    <a:pt x="1575072" y="2760094"/>
                  </a:cubicBezTo>
                  <a:cubicBezTo>
                    <a:pt x="1550298" y="2755340"/>
                    <a:pt x="1513772" y="2748369"/>
                    <a:pt x="1487409" y="2743299"/>
                  </a:cubicBezTo>
                  <a:close/>
                  <a:moveTo>
                    <a:pt x="468806" y="2742982"/>
                  </a:moveTo>
                  <a:cubicBezTo>
                    <a:pt x="464041" y="2751538"/>
                    <a:pt x="459277" y="2759460"/>
                    <a:pt x="455148" y="2766432"/>
                  </a:cubicBezTo>
                  <a:cubicBezTo>
                    <a:pt x="451019" y="2773720"/>
                    <a:pt x="447525" y="2779741"/>
                    <a:pt x="444984" y="2783860"/>
                  </a:cubicBezTo>
                  <a:cubicBezTo>
                    <a:pt x="443714" y="2786079"/>
                    <a:pt x="442761" y="2787663"/>
                    <a:pt x="442126" y="2788931"/>
                  </a:cubicBezTo>
                  <a:cubicBezTo>
                    <a:pt x="441808" y="2789564"/>
                    <a:pt x="441490" y="2789881"/>
                    <a:pt x="441173" y="2790198"/>
                  </a:cubicBezTo>
                  <a:cubicBezTo>
                    <a:pt x="441173" y="2790198"/>
                    <a:pt x="441173" y="2790515"/>
                    <a:pt x="441173" y="2790515"/>
                  </a:cubicBezTo>
                  <a:cubicBezTo>
                    <a:pt x="441173" y="2790515"/>
                    <a:pt x="441173" y="2790515"/>
                    <a:pt x="441173" y="2790832"/>
                  </a:cubicBezTo>
                  <a:cubicBezTo>
                    <a:pt x="440855" y="2790832"/>
                    <a:pt x="440855" y="2790832"/>
                    <a:pt x="440855" y="2790832"/>
                  </a:cubicBezTo>
                  <a:cubicBezTo>
                    <a:pt x="440855" y="2790832"/>
                    <a:pt x="440855" y="2790832"/>
                    <a:pt x="440855" y="2791149"/>
                  </a:cubicBezTo>
                  <a:cubicBezTo>
                    <a:pt x="440538" y="2791149"/>
                    <a:pt x="440538" y="2791466"/>
                    <a:pt x="440538" y="2791466"/>
                  </a:cubicBezTo>
                  <a:cubicBezTo>
                    <a:pt x="440220" y="2791783"/>
                    <a:pt x="440220" y="2791783"/>
                    <a:pt x="439902" y="2792100"/>
                  </a:cubicBezTo>
                  <a:cubicBezTo>
                    <a:pt x="439585" y="2792416"/>
                    <a:pt x="439267" y="2792733"/>
                    <a:pt x="438949" y="2792733"/>
                  </a:cubicBezTo>
                  <a:cubicBezTo>
                    <a:pt x="438949" y="2792733"/>
                    <a:pt x="438949" y="2792733"/>
                    <a:pt x="438949" y="2793050"/>
                  </a:cubicBezTo>
                  <a:cubicBezTo>
                    <a:pt x="433550" y="2797803"/>
                    <a:pt x="392895" y="2836147"/>
                    <a:pt x="353828" y="2873540"/>
                  </a:cubicBezTo>
                  <a:cubicBezTo>
                    <a:pt x="323019" y="2902376"/>
                    <a:pt x="293162" y="2930896"/>
                    <a:pt x="280458" y="2942938"/>
                  </a:cubicBezTo>
                  <a:cubicBezTo>
                    <a:pt x="286175" y="2944523"/>
                    <a:pt x="291892" y="2946741"/>
                    <a:pt x="297927" y="2950226"/>
                  </a:cubicBezTo>
                  <a:cubicBezTo>
                    <a:pt x="315078" y="2961318"/>
                    <a:pt x="325242" y="2982866"/>
                    <a:pt x="333500" y="3001879"/>
                  </a:cubicBezTo>
                  <a:cubicBezTo>
                    <a:pt x="338900" y="3014872"/>
                    <a:pt x="342711" y="3026597"/>
                    <a:pt x="344617" y="3032934"/>
                  </a:cubicBezTo>
                  <a:cubicBezTo>
                    <a:pt x="344617" y="3032934"/>
                    <a:pt x="344617" y="3032934"/>
                    <a:pt x="370344" y="3019308"/>
                  </a:cubicBezTo>
                  <a:cubicBezTo>
                    <a:pt x="370026" y="3018357"/>
                    <a:pt x="369709" y="3017724"/>
                    <a:pt x="369391" y="3016773"/>
                  </a:cubicBezTo>
                  <a:cubicBezTo>
                    <a:pt x="368438" y="3015189"/>
                    <a:pt x="367168" y="3012653"/>
                    <a:pt x="365897" y="3010119"/>
                  </a:cubicBezTo>
                  <a:cubicBezTo>
                    <a:pt x="365897" y="3010119"/>
                    <a:pt x="365897" y="3010119"/>
                    <a:pt x="365262" y="3010435"/>
                  </a:cubicBezTo>
                  <a:cubicBezTo>
                    <a:pt x="365262" y="3010435"/>
                    <a:pt x="365262" y="3010435"/>
                    <a:pt x="342711" y="2966071"/>
                  </a:cubicBezTo>
                  <a:cubicBezTo>
                    <a:pt x="342711" y="2966071"/>
                    <a:pt x="342711" y="2966071"/>
                    <a:pt x="345570" y="2964803"/>
                  </a:cubicBezTo>
                  <a:cubicBezTo>
                    <a:pt x="338582" y="2948959"/>
                    <a:pt x="332865" y="2936283"/>
                    <a:pt x="332865" y="2936283"/>
                  </a:cubicBezTo>
                  <a:cubicBezTo>
                    <a:pt x="332865" y="2936283"/>
                    <a:pt x="332865" y="2936283"/>
                    <a:pt x="331912" y="2934065"/>
                  </a:cubicBezTo>
                  <a:cubicBezTo>
                    <a:pt x="331912" y="2934065"/>
                    <a:pt x="331912" y="2934065"/>
                    <a:pt x="506920" y="2825373"/>
                  </a:cubicBezTo>
                  <a:cubicBezTo>
                    <a:pt x="497074" y="2804141"/>
                    <a:pt x="487545" y="2783543"/>
                    <a:pt x="480240" y="2767699"/>
                  </a:cubicBezTo>
                  <a:cubicBezTo>
                    <a:pt x="476111" y="2758826"/>
                    <a:pt x="472935" y="2751538"/>
                    <a:pt x="470394" y="2746468"/>
                  </a:cubicBezTo>
                  <a:cubicBezTo>
                    <a:pt x="469758" y="2745200"/>
                    <a:pt x="469441" y="2743933"/>
                    <a:pt x="468806" y="2742982"/>
                  </a:cubicBezTo>
                  <a:close/>
                  <a:moveTo>
                    <a:pt x="126730" y="2742348"/>
                  </a:moveTo>
                  <a:cubicBezTo>
                    <a:pt x="126730" y="2742348"/>
                    <a:pt x="126730" y="2742348"/>
                    <a:pt x="49549" y="2806676"/>
                  </a:cubicBezTo>
                  <a:lnTo>
                    <a:pt x="108626" y="2855794"/>
                  </a:lnTo>
                  <a:cubicBezTo>
                    <a:pt x="108626" y="2855794"/>
                    <a:pt x="108626" y="2855794"/>
                    <a:pt x="170562" y="2825690"/>
                  </a:cubicBezTo>
                  <a:cubicBezTo>
                    <a:pt x="170562" y="2819352"/>
                    <a:pt x="169609" y="2795902"/>
                    <a:pt x="169609" y="2787663"/>
                  </a:cubicBezTo>
                  <a:cubicBezTo>
                    <a:pt x="169609" y="2787029"/>
                    <a:pt x="169609" y="2786395"/>
                    <a:pt x="169609" y="2785762"/>
                  </a:cubicBezTo>
                  <a:cubicBezTo>
                    <a:pt x="169926" y="2785128"/>
                    <a:pt x="169609" y="2785128"/>
                    <a:pt x="169926" y="2784494"/>
                  </a:cubicBezTo>
                  <a:cubicBezTo>
                    <a:pt x="160715" y="2775938"/>
                    <a:pt x="138482" y="2754073"/>
                    <a:pt x="126730" y="2742348"/>
                  </a:cubicBezTo>
                  <a:close/>
                  <a:moveTo>
                    <a:pt x="1863470" y="2742031"/>
                  </a:moveTo>
                  <a:cubicBezTo>
                    <a:pt x="1860294" y="2754707"/>
                    <a:pt x="1857118" y="2767699"/>
                    <a:pt x="1854259" y="2779741"/>
                  </a:cubicBezTo>
                  <a:cubicBezTo>
                    <a:pt x="1854259" y="2779741"/>
                    <a:pt x="1854259" y="2779741"/>
                    <a:pt x="1951768" y="2794001"/>
                  </a:cubicBezTo>
                  <a:lnTo>
                    <a:pt x="1966696" y="2753122"/>
                  </a:lnTo>
                  <a:cubicBezTo>
                    <a:pt x="1966696" y="2753122"/>
                    <a:pt x="1966696" y="2753122"/>
                    <a:pt x="1863470" y="2742031"/>
                  </a:cubicBezTo>
                  <a:close/>
                  <a:moveTo>
                    <a:pt x="21916" y="2741080"/>
                  </a:moveTo>
                  <a:lnTo>
                    <a:pt x="40655" y="2773403"/>
                  </a:lnTo>
                  <a:cubicBezTo>
                    <a:pt x="1271" y="2806676"/>
                    <a:pt x="1271" y="2806676"/>
                    <a:pt x="1271" y="2806676"/>
                  </a:cubicBezTo>
                  <a:cubicBezTo>
                    <a:pt x="1271" y="2800655"/>
                    <a:pt x="1271" y="2800655"/>
                    <a:pt x="1271" y="2800655"/>
                  </a:cubicBezTo>
                  <a:cubicBezTo>
                    <a:pt x="34621" y="2772453"/>
                    <a:pt x="34621" y="2772453"/>
                    <a:pt x="34621" y="2772453"/>
                  </a:cubicBezTo>
                  <a:cubicBezTo>
                    <a:pt x="19693" y="2746468"/>
                    <a:pt x="19693" y="2746468"/>
                    <a:pt x="19693" y="2746468"/>
                  </a:cubicBezTo>
                  <a:cubicBezTo>
                    <a:pt x="1271" y="2751855"/>
                    <a:pt x="1271" y="2751855"/>
                    <a:pt x="1271" y="2751855"/>
                  </a:cubicBezTo>
                  <a:cubicBezTo>
                    <a:pt x="1271" y="2746784"/>
                    <a:pt x="1271" y="2746784"/>
                    <a:pt x="1271" y="2746784"/>
                  </a:cubicBezTo>
                  <a:cubicBezTo>
                    <a:pt x="21916" y="2741080"/>
                    <a:pt x="21916" y="2741080"/>
                    <a:pt x="21916" y="2741080"/>
                  </a:cubicBezTo>
                  <a:close/>
                  <a:moveTo>
                    <a:pt x="1650665" y="2739496"/>
                  </a:moveTo>
                  <a:cubicBezTo>
                    <a:pt x="1640819" y="2745200"/>
                    <a:pt x="1631608" y="2750270"/>
                    <a:pt x="1623668" y="2754390"/>
                  </a:cubicBezTo>
                  <a:cubicBezTo>
                    <a:pt x="1618268" y="2757559"/>
                    <a:pt x="1613504" y="2760094"/>
                    <a:pt x="1610010" y="2761678"/>
                  </a:cubicBezTo>
                  <a:cubicBezTo>
                    <a:pt x="1606199" y="2763580"/>
                    <a:pt x="1604611" y="2764530"/>
                    <a:pt x="1602705" y="2764847"/>
                  </a:cubicBezTo>
                  <a:cubicBezTo>
                    <a:pt x="1601434" y="2764847"/>
                    <a:pt x="1592223" y="2763263"/>
                    <a:pt x="1579519" y="2760728"/>
                  </a:cubicBezTo>
                  <a:cubicBezTo>
                    <a:pt x="1579519" y="2760728"/>
                    <a:pt x="1579519" y="2760728"/>
                    <a:pt x="1576342" y="2906813"/>
                  </a:cubicBezTo>
                  <a:cubicBezTo>
                    <a:pt x="1630973" y="2897306"/>
                    <a:pt x="1668452" y="2864984"/>
                    <a:pt x="1691320" y="2841217"/>
                  </a:cubicBezTo>
                  <a:cubicBezTo>
                    <a:pt x="1688462" y="2835830"/>
                    <a:pt x="1678933" y="2811747"/>
                    <a:pt x="1669405" y="2787663"/>
                  </a:cubicBezTo>
                  <a:cubicBezTo>
                    <a:pt x="1660829" y="2765798"/>
                    <a:pt x="1652571" y="2744566"/>
                    <a:pt x="1650665" y="2739496"/>
                  </a:cubicBezTo>
                  <a:close/>
                  <a:moveTo>
                    <a:pt x="292527" y="2739496"/>
                  </a:moveTo>
                  <a:lnTo>
                    <a:pt x="258860" y="2742982"/>
                  </a:lnTo>
                  <a:cubicBezTo>
                    <a:pt x="258860" y="2742982"/>
                    <a:pt x="258860" y="2742982"/>
                    <a:pt x="342711" y="2849456"/>
                  </a:cubicBezTo>
                  <a:cubicBezTo>
                    <a:pt x="342711" y="2849456"/>
                    <a:pt x="342711" y="2849456"/>
                    <a:pt x="363991" y="2829175"/>
                  </a:cubicBezTo>
                  <a:cubicBezTo>
                    <a:pt x="363991" y="2829175"/>
                    <a:pt x="363991" y="2829175"/>
                    <a:pt x="292527" y="2739496"/>
                  </a:cubicBezTo>
                  <a:close/>
                  <a:moveTo>
                    <a:pt x="1696085" y="2737595"/>
                  </a:moveTo>
                  <a:cubicBezTo>
                    <a:pt x="1696085" y="2737595"/>
                    <a:pt x="1696085" y="2737595"/>
                    <a:pt x="1682110" y="2742031"/>
                  </a:cubicBezTo>
                  <a:cubicBezTo>
                    <a:pt x="1682110" y="2742031"/>
                    <a:pt x="1682110" y="2742031"/>
                    <a:pt x="1693544" y="2780058"/>
                  </a:cubicBezTo>
                  <a:lnTo>
                    <a:pt x="1707519" y="2775938"/>
                  </a:lnTo>
                  <a:cubicBezTo>
                    <a:pt x="1707519" y="2775938"/>
                    <a:pt x="1707519" y="2775938"/>
                    <a:pt x="1696085" y="2737595"/>
                  </a:cubicBezTo>
                  <a:close/>
                  <a:moveTo>
                    <a:pt x="1453742" y="2736644"/>
                  </a:moveTo>
                  <a:cubicBezTo>
                    <a:pt x="1453742" y="2736644"/>
                    <a:pt x="1453742" y="2736644"/>
                    <a:pt x="1428014" y="2754390"/>
                  </a:cubicBezTo>
                  <a:cubicBezTo>
                    <a:pt x="1428014" y="2754390"/>
                    <a:pt x="1428014" y="2754390"/>
                    <a:pt x="1424838" y="2922340"/>
                  </a:cubicBezTo>
                  <a:cubicBezTo>
                    <a:pt x="1454059" y="2920439"/>
                    <a:pt x="1485821" y="2917587"/>
                    <a:pt x="1514724" y="2914735"/>
                  </a:cubicBezTo>
                  <a:cubicBezTo>
                    <a:pt x="1514724" y="2914735"/>
                    <a:pt x="1514724" y="2914735"/>
                    <a:pt x="1482645" y="2742348"/>
                  </a:cubicBezTo>
                  <a:cubicBezTo>
                    <a:pt x="1468034" y="2739496"/>
                    <a:pt x="1456918" y="2737278"/>
                    <a:pt x="1453742" y="2736644"/>
                  </a:cubicBezTo>
                  <a:close/>
                  <a:moveTo>
                    <a:pt x="1698626" y="2732841"/>
                  </a:moveTo>
                  <a:cubicBezTo>
                    <a:pt x="1698626" y="2732841"/>
                    <a:pt x="1698626" y="2732841"/>
                    <a:pt x="1712601" y="2778473"/>
                  </a:cubicBezTo>
                  <a:cubicBezTo>
                    <a:pt x="1712601" y="2778473"/>
                    <a:pt x="1712601" y="2778473"/>
                    <a:pt x="1691003" y="2785128"/>
                  </a:cubicBezTo>
                  <a:cubicBezTo>
                    <a:pt x="1691003" y="2785128"/>
                    <a:pt x="1691003" y="2785128"/>
                    <a:pt x="1690368" y="2783227"/>
                  </a:cubicBezTo>
                  <a:cubicBezTo>
                    <a:pt x="1690368" y="2783227"/>
                    <a:pt x="1690368" y="2783227"/>
                    <a:pt x="1677028" y="2739179"/>
                  </a:cubicBezTo>
                  <a:close/>
                  <a:moveTo>
                    <a:pt x="1203140" y="2729356"/>
                  </a:moveTo>
                  <a:cubicBezTo>
                    <a:pt x="1203140" y="2729356"/>
                    <a:pt x="1203140" y="2729356"/>
                    <a:pt x="1124371" y="2765798"/>
                  </a:cubicBezTo>
                  <a:cubicBezTo>
                    <a:pt x="1124371" y="2765798"/>
                    <a:pt x="1124371" y="2765798"/>
                    <a:pt x="1117066" y="2748686"/>
                  </a:cubicBezTo>
                  <a:lnTo>
                    <a:pt x="1036390" y="2789247"/>
                  </a:lnTo>
                  <a:cubicBezTo>
                    <a:pt x="1036390" y="2789247"/>
                    <a:pt x="1036390" y="2789247"/>
                    <a:pt x="1041155" y="2799388"/>
                  </a:cubicBezTo>
                  <a:cubicBezTo>
                    <a:pt x="1041155" y="2799388"/>
                    <a:pt x="1041155" y="2799388"/>
                    <a:pt x="1010346" y="2814915"/>
                  </a:cubicBezTo>
                  <a:cubicBezTo>
                    <a:pt x="1010346" y="2814915"/>
                    <a:pt x="1010346" y="2814915"/>
                    <a:pt x="1065929" y="2935650"/>
                  </a:cubicBezTo>
                  <a:cubicBezTo>
                    <a:pt x="1067199" y="2920756"/>
                    <a:pt x="1071329" y="2893820"/>
                    <a:pt x="1088480" y="2881462"/>
                  </a:cubicBezTo>
                  <a:cubicBezTo>
                    <a:pt x="1111031" y="2865617"/>
                    <a:pt x="1115795" y="2861815"/>
                    <a:pt x="1116113" y="2861815"/>
                  </a:cubicBezTo>
                  <a:cubicBezTo>
                    <a:pt x="1116113" y="2861815"/>
                    <a:pt x="1116113" y="2861815"/>
                    <a:pt x="1118018" y="2860230"/>
                  </a:cubicBezTo>
                  <a:cubicBezTo>
                    <a:pt x="1118018" y="2860230"/>
                    <a:pt x="1118018" y="2860230"/>
                    <a:pt x="1127547" y="2874807"/>
                  </a:cubicBezTo>
                  <a:cubicBezTo>
                    <a:pt x="1133264" y="2871321"/>
                    <a:pt x="1149780" y="2860864"/>
                    <a:pt x="1165026" y="2853893"/>
                  </a:cubicBezTo>
                  <a:cubicBezTo>
                    <a:pt x="1180272" y="2846921"/>
                    <a:pt x="1200917" y="2841217"/>
                    <a:pt x="1208222" y="2839316"/>
                  </a:cubicBezTo>
                  <a:cubicBezTo>
                    <a:pt x="1208222" y="2839316"/>
                    <a:pt x="1208222" y="2839316"/>
                    <a:pt x="1201552" y="2824422"/>
                  </a:cubicBezTo>
                  <a:cubicBezTo>
                    <a:pt x="1201552" y="2824422"/>
                    <a:pt x="1201552" y="2824422"/>
                    <a:pt x="1238078" y="2810479"/>
                  </a:cubicBezTo>
                  <a:cubicBezTo>
                    <a:pt x="1238078" y="2810479"/>
                    <a:pt x="1238078" y="2810479"/>
                    <a:pt x="1203140" y="2729356"/>
                  </a:cubicBezTo>
                  <a:close/>
                  <a:moveTo>
                    <a:pt x="2456146" y="2726821"/>
                  </a:moveTo>
                  <a:cubicBezTo>
                    <a:pt x="2456146" y="2726821"/>
                    <a:pt x="2456146" y="2726821"/>
                    <a:pt x="2431054" y="2776255"/>
                  </a:cubicBezTo>
                  <a:lnTo>
                    <a:pt x="2436136" y="2778790"/>
                  </a:lnTo>
                  <a:cubicBezTo>
                    <a:pt x="2436136" y="2778790"/>
                    <a:pt x="2436136" y="2778790"/>
                    <a:pt x="2461228" y="2729356"/>
                  </a:cubicBezTo>
                  <a:cubicBezTo>
                    <a:pt x="2461228" y="2729356"/>
                    <a:pt x="2461228" y="2729356"/>
                    <a:pt x="2456146" y="2726821"/>
                  </a:cubicBezTo>
                  <a:close/>
                  <a:moveTo>
                    <a:pt x="2319570" y="2726821"/>
                  </a:moveTo>
                  <a:cubicBezTo>
                    <a:pt x="2319570" y="2726821"/>
                    <a:pt x="2319570" y="2726821"/>
                    <a:pt x="2302419" y="2779741"/>
                  </a:cubicBezTo>
                  <a:cubicBezTo>
                    <a:pt x="2302419" y="2779741"/>
                    <a:pt x="2302419" y="2779741"/>
                    <a:pt x="2359908" y="2809211"/>
                  </a:cubicBezTo>
                  <a:lnTo>
                    <a:pt x="2385635" y="2758826"/>
                  </a:lnTo>
                  <a:cubicBezTo>
                    <a:pt x="2385635" y="2758826"/>
                    <a:pt x="2385635" y="2758826"/>
                    <a:pt x="2319570" y="2726821"/>
                  </a:cubicBezTo>
                  <a:close/>
                  <a:moveTo>
                    <a:pt x="1205681" y="2723018"/>
                  </a:moveTo>
                  <a:cubicBezTo>
                    <a:pt x="1205681" y="2723018"/>
                    <a:pt x="1205681" y="2723018"/>
                    <a:pt x="1206634" y="2725236"/>
                  </a:cubicBezTo>
                  <a:cubicBezTo>
                    <a:pt x="1206634" y="2725236"/>
                    <a:pt x="1206634" y="2725236"/>
                    <a:pt x="1244431" y="2813331"/>
                  </a:cubicBezTo>
                  <a:cubicBezTo>
                    <a:pt x="1244431" y="2813331"/>
                    <a:pt x="1244431" y="2813331"/>
                    <a:pt x="1207905" y="2826957"/>
                  </a:cubicBezTo>
                  <a:cubicBezTo>
                    <a:pt x="1207905" y="2826957"/>
                    <a:pt x="1207905" y="2826957"/>
                    <a:pt x="1214892" y="2842485"/>
                  </a:cubicBezTo>
                  <a:cubicBezTo>
                    <a:pt x="1214892" y="2842485"/>
                    <a:pt x="1214892" y="2842485"/>
                    <a:pt x="1212034" y="2843118"/>
                  </a:cubicBezTo>
                  <a:cubicBezTo>
                    <a:pt x="1212034" y="2843118"/>
                    <a:pt x="1185354" y="2850090"/>
                    <a:pt x="1167249" y="2858329"/>
                  </a:cubicBezTo>
                  <a:cubicBezTo>
                    <a:pt x="1148828" y="2866568"/>
                    <a:pt x="1128182" y="2880194"/>
                    <a:pt x="1128182" y="2880194"/>
                  </a:cubicBezTo>
                  <a:cubicBezTo>
                    <a:pt x="1128182" y="2880194"/>
                    <a:pt x="1128182" y="2880194"/>
                    <a:pt x="1126277" y="2881462"/>
                  </a:cubicBezTo>
                  <a:cubicBezTo>
                    <a:pt x="1126277" y="2881462"/>
                    <a:pt x="1126277" y="2881462"/>
                    <a:pt x="1116748" y="2866885"/>
                  </a:cubicBezTo>
                  <a:cubicBezTo>
                    <a:pt x="1113889" y="2869420"/>
                    <a:pt x="1106584" y="2874490"/>
                    <a:pt x="1091339" y="2885265"/>
                  </a:cubicBezTo>
                  <a:cubicBezTo>
                    <a:pt x="1071329" y="2898891"/>
                    <a:pt x="1070058" y="2940720"/>
                    <a:pt x="1070376" y="2944839"/>
                  </a:cubicBezTo>
                  <a:cubicBezTo>
                    <a:pt x="1070376" y="2944839"/>
                    <a:pt x="1070376" y="2944839"/>
                    <a:pt x="1070376" y="2945156"/>
                  </a:cubicBezTo>
                  <a:cubicBezTo>
                    <a:pt x="1070376" y="2945156"/>
                    <a:pt x="1070376" y="2945156"/>
                    <a:pt x="1065929" y="2946107"/>
                  </a:cubicBezTo>
                  <a:cubicBezTo>
                    <a:pt x="1065929" y="2946107"/>
                    <a:pt x="1065929" y="2946107"/>
                    <a:pt x="1004311" y="2812697"/>
                  </a:cubicBezTo>
                  <a:lnTo>
                    <a:pt x="1035120" y="2797170"/>
                  </a:lnTo>
                  <a:cubicBezTo>
                    <a:pt x="1035120" y="2797170"/>
                    <a:pt x="1035120" y="2797170"/>
                    <a:pt x="1030356" y="2787029"/>
                  </a:cubicBezTo>
                  <a:cubicBezTo>
                    <a:pt x="1030356" y="2787029"/>
                    <a:pt x="1030356" y="2787029"/>
                    <a:pt x="1119289" y="2742348"/>
                  </a:cubicBezTo>
                  <a:cubicBezTo>
                    <a:pt x="1119289" y="2742348"/>
                    <a:pt x="1119289" y="2742348"/>
                    <a:pt x="1126912" y="2759460"/>
                  </a:cubicBezTo>
                  <a:cubicBezTo>
                    <a:pt x="1126912" y="2759460"/>
                    <a:pt x="1126912" y="2759460"/>
                    <a:pt x="1205681" y="2723018"/>
                  </a:cubicBezTo>
                  <a:close/>
                  <a:moveTo>
                    <a:pt x="2771542" y="2721433"/>
                  </a:moveTo>
                  <a:cubicBezTo>
                    <a:pt x="2755979" y="2745517"/>
                    <a:pt x="2699442" y="2833612"/>
                    <a:pt x="2642589" y="2921390"/>
                  </a:cubicBezTo>
                  <a:cubicBezTo>
                    <a:pt x="2608921" y="2973359"/>
                    <a:pt x="2575254" y="3025012"/>
                    <a:pt x="2549844" y="3063989"/>
                  </a:cubicBezTo>
                  <a:cubicBezTo>
                    <a:pt x="2536822" y="3083319"/>
                    <a:pt x="2526022" y="3099481"/>
                    <a:pt x="2518400" y="3110889"/>
                  </a:cubicBezTo>
                  <a:cubicBezTo>
                    <a:pt x="2514906" y="3115959"/>
                    <a:pt x="2512047" y="3120078"/>
                    <a:pt x="2509824" y="3122931"/>
                  </a:cubicBezTo>
                  <a:cubicBezTo>
                    <a:pt x="2526340" y="3134021"/>
                    <a:pt x="2572077" y="3164760"/>
                    <a:pt x="2618450" y="3195498"/>
                  </a:cubicBezTo>
                  <a:cubicBezTo>
                    <a:pt x="2647036" y="3214511"/>
                    <a:pt x="2675939" y="3233841"/>
                    <a:pt x="2697854" y="3248101"/>
                  </a:cubicBezTo>
                  <a:cubicBezTo>
                    <a:pt x="2707383" y="3254122"/>
                    <a:pt x="2715324" y="3259509"/>
                    <a:pt x="2721676" y="3263629"/>
                  </a:cubicBezTo>
                  <a:cubicBezTo>
                    <a:pt x="2721676" y="3263629"/>
                    <a:pt x="2721676" y="3263629"/>
                    <a:pt x="2937656" y="2821253"/>
                  </a:cubicBezTo>
                  <a:cubicBezTo>
                    <a:pt x="2891602" y="2795585"/>
                    <a:pt x="2812832" y="2746468"/>
                    <a:pt x="2771542" y="2721433"/>
                  </a:cubicBezTo>
                  <a:close/>
                  <a:moveTo>
                    <a:pt x="1745951" y="2721117"/>
                  </a:moveTo>
                  <a:lnTo>
                    <a:pt x="1743410" y="2735376"/>
                  </a:lnTo>
                  <a:cubicBezTo>
                    <a:pt x="1743410" y="2735376"/>
                    <a:pt x="1743410" y="2735376"/>
                    <a:pt x="1782795" y="2742348"/>
                  </a:cubicBezTo>
                  <a:cubicBezTo>
                    <a:pt x="1782795" y="2742348"/>
                    <a:pt x="1782795" y="2742348"/>
                    <a:pt x="1785018" y="2728088"/>
                  </a:cubicBezTo>
                  <a:cubicBezTo>
                    <a:pt x="1785018" y="2728088"/>
                    <a:pt x="1785018" y="2728088"/>
                    <a:pt x="1745951" y="2721117"/>
                  </a:cubicBezTo>
                  <a:close/>
                  <a:moveTo>
                    <a:pt x="293162" y="2720800"/>
                  </a:moveTo>
                  <a:cubicBezTo>
                    <a:pt x="288716" y="2723335"/>
                    <a:pt x="276329" y="2729989"/>
                    <a:pt x="261401" y="2738228"/>
                  </a:cubicBezTo>
                  <a:cubicBezTo>
                    <a:pt x="261401" y="2738228"/>
                    <a:pt x="261401" y="2738228"/>
                    <a:pt x="294433" y="2735060"/>
                  </a:cubicBezTo>
                  <a:cubicBezTo>
                    <a:pt x="294433" y="2735060"/>
                    <a:pt x="294433" y="2735060"/>
                    <a:pt x="370026" y="2829492"/>
                  </a:cubicBezTo>
                  <a:cubicBezTo>
                    <a:pt x="370026" y="2829492"/>
                    <a:pt x="370026" y="2829492"/>
                    <a:pt x="342393" y="2855794"/>
                  </a:cubicBezTo>
                  <a:cubicBezTo>
                    <a:pt x="342393" y="2855794"/>
                    <a:pt x="342393" y="2855794"/>
                    <a:pt x="253142" y="2742982"/>
                  </a:cubicBezTo>
                  <a:cubicBezTo>
                    <a:pt x="247108" y="2746151"/>
                    <a:pt x="240755" y="2749636"/>
                    <a:pt x="234403" y="2753122"/>
                  </a:cubicBezTo>
                  <a:cubicBezTo>
                    <a:pt x="219475" y="2761678"/>
                    <a:pt x="204229" y="2770234"/>
                    <a:pt x="192795" y="2776572"/>
                  </a:cubicBezTo>
                  <a:cubicBezTo>
                    <a:pt x="187078" y="2779741"/>
                    <a:pt x="182313" y="2782276"/>
                    <a:pt x="179137" y="2784177"/>
                  </a:cubicBezTo>
                  <a:cubicBezTo>
                    <a:pt x="177549" y="2785128"/>
                    <a:pt x="176279" y="2785762"/>
                    <a:pt x="175326" y="2786395"/>
                  </a:cubicBezTo>
                  <a:lnTo>
                    <a:pt x="175008" y="2787980"/>
                  </a:lnTo>
                  <a:cubicBezTo>
                    <a:pt x="175008" y="2796219"/>
                    <a:pt x="175643" y="2821253"/>
                    <a:pt x="175961" y="2826323"/>
                  </a:cubicBezTo>
                  <a:cubicBezTo>
                    <a:pt x="179773" y="2829809"/>
                    <a:pt x="204229" y="2853259"/>
                    <a:pt x="229003" y="2876709"/>
                  </a:cubicBezTo>
                  <a:cubicBezTo>
                    <a:pt x="242661" y="2889701"/>
                    <a:pt x="256001" y="2902376"/>
                    <a:pt x="266165" y="2912200"/>
                  </a:cubicBezTo>
                  <a:cubicBezTo>
                    <a:pt x="271247" y="2916953"/>
                    <a:pt x="275693" y="2921073"/>
                    <a:pt x="278552" y="2923925"/>
                  </a:cubicBezTo>
                  <a:cubicBezTo>
                    <a:pt x="278870" y="2924242"/>
                    <a:pt x="278870" y="2924242"/>
                    <a:pt x="279187" y="2924559"/>
                  </a:cubicBezTo>
                  <a:cubicBezTo>
                    <a:pt x="295386" y="2909031"/>
                    <a:pt x="321748" y="2884314"/>
                    <a:pt x="346840" y="2860230"/>
                  </a:cubicBezTo>
                  <a:cubicBezTo>
                    <a:pt x="358592" y="2849140"/>
                    <a:pt x="370026" y="2838365"/>
                    <a:pt x="380825" y="2828225"/>
                  </a:cubicBezTo>
                  <a:cubicBezTo>
                    <a:pt x="375743" y="2822204"/>
                    <a:pt x="356369" y="2798437"/>
                    <a:pt x="336994" y="2774671"/>
                  </a:cubicBezTo>
                  <a:cubicBezTo>
                    <a:pt x="325560" y="2760728"/>
                    <a:pt x="314443" y="2747101"/>
                    <a:pt x="305867" y="2736644"/>
                  </a:cubicBezTo>
                  <a:cubicBezTo>
                    <a:pt x="301738" y="2731574"/>
                    <a:pt x="298244" y="2727137"/>
                    <a:pt x="295703" y="2723969"/>
                  </a:cubicBezTo>
                  <a:cubicBezTo>
                    <a:pt x="294433" y="2722701"/>
                    <a:pt x="293798" y="2721750"/>
                    <a:pt x="293162" y="2720800"/>
                  </a:cubicBezTo>
                  <a:close/>
                  <a:moveTo>
                    <a:pt x="1742457" y="2716363"/>
                  </a:moveTo>
                  <a:cubicBezTo>
                    <a:pt x="1742457" y="2716363"/>
                    <a:pt x="1742457" y="2716363"/>
                    <a:pt x="1789782" y="2724602"/>
                  </a:cubicBezTo>
                  <a:cubicBezTo>
                    <a:pt x="1789782" y="2724602"/>
                    <a:pt x="1789782" y="2724602"/>
                    <a:pt x="1785971" y="2747101"/>
                  </a:cubicBezTo>
                  <a:cubicBezTo>
                    <a:pt x="1785971" y="2747101"/>
                    <a:pt x="1785971" y="2747101"/>
                    <a:pt x="1784065" y="2746468"/>
                  </a:cubicBezTo>
                  <a:cubicBezTo>
                    <a:pt x="1784065" y="2746468"/>
                    <a:pt x="1784065" y="2746468"/>
                    <a:pt x="1738646" y="2738862"/>
                  </a:cubicBezTo>
                  <a:close/>
                  <a:moveTo>
                    <a:pt x="2416444" y="2707173"/>
                  </a:moveTo>
                  <a:cubicBezTo>
                    <a:pt x="2416444" y="2707173"/>
                    <a:pt x="2416444" y="2707173"/>
                    <a:pt x="2391352" y="2756608"/>
                  </a:cubicBezTo>
                  <a:lnTo>
                    <a:pt x="2427243" y="2774354"/>
                  </a:lnTo>
                  <a:cubicBezTo>
                    <a:pt x="2427243" y="2774354"/>
                    <a:pt x="2427243" y="2774354"/>
                    <a:pt x="2452335" y="2724919"/>
                  </a:cubicBezTo>
                  <a:cubicBezTo>
                    <a:pt x="2452335" y="2724919"/>
                    <a:pt x="2452335" y="2724919"/>
                    <a:pt x="2416444" y="2707173"/>
                  </a:cubicBezTo>
                  <a:close/>
                  <a:moveTo>
                    <a:pt x="2034666" y="2706857"/>
                  </a:moveTo>
                  <a:cubicBezTo>
                    <a:pt x="2034666" y="2706857"/>
                    <a:pt x="2034666" y="2706857"/>
                    <a:pt x="2017515" y="2754073"/>
                  </a:cubicBezTo>
                  <a:cubicBezTo>
                    <a:pt x="2017515" y="2754073"/>
                    <a:pt x="2017515" y="2754073"/>
                    <a:pt x="2036890" y="2755974"/>
                  </a:cubicBezTo>
                  <a:cubicBezTo>
                    <a:pt x="2036890" y="2755974"/>
                    <a:pt x="2036890" y="2755974"/>
                    <a:pt x="2036572" y="2760411"/>
                  </a:cubicBezTo>
                  <a:cubicBezTo>
                    <a:pt x="2036572" y="2760411"/>
                    <a:pt x="2036572" y="2760411"/>
                    <a:pt x="2016244" y="2758193"/>
                  </a:cubicBezTo>
                  <a:cubicBezTo>
                    <a:pt x="2016244" y="2758193"/>
                    <a:pt x="2016244" y="2758193"/>
                    <a:pt x="2000681" y="2800973"/>
                  </a:cubicBezTo>
                  <a:lnTo>
                    <a:pt x="2022597" y="2804141"/>
                  </a:lnTo>
                  <a:cubicBezTo>
                    <a:pt x="2022597" y="2804141"/>
                    <a:pt x="2022597" y="2804141"/>
                    <a:pt x="2056900" y="2707173"/>
                  </a:cubicBezTo>
                  <a:cubicBezTo>
                    <a:pt x="2056900" y="2707173"/>
                    <a:pt x="2056900" y="2707173"/>
                    <a:pt x="2034666" y="2706857"/>
                  </a:cubicBezTo>
                  <a:close/>
                  <a:moveTo>
                    <a:pt x="1987659" y="2706223"/>
                  </a:moveTo>
                  <a:cubicBezTo>
                    <a:pt x="1987659" y="2706223"/>
                    <a:pt x="1987659" y="2706223"/>
                    <a:pt x="1972413" y="2749320"/>
                  </a:cubicBezTo>
                  <a:cubicBezTo>
                    <a:pt x="1972413" y="2749320"/>
                    <a:pt x="1972413" y="2749320"/>
                    <a:pt x="2013386" y="2753439"/>
                  </a:cubicBezTo>
                  <a:cubicBezTo>
                    <a:pt x="2013386" y="2753439"/>
                    <a:pt x="2013386" y="2753439"/>
                    <a:pt x="2030220" y="2706857"/>
                  </a:cubicBezTo>
                  <a:close/>
                  <a:moveTo>
                    <a:pt x="2221108" y="2705589"/>
                  </a:moveTo>
                  <a:cubicBezTo>
                    <a:pt x="2221108" y="2705589"/>
                    <a:pt x="2221108" y="2705589"/>
                    <a:pt x="2203004" y="2758826"/>
                  </a:cubicBezTo>
                  <a:cubicBezTo>
                    <a:pt x="2232860" y="2764530"/>
                    <a:pt x="2264940" y="2770551"/>
                    <a:pt x="2282409" y="2774037"/>
                  </a:cubicBezTo>
                  <a:cubicBezTo>
                    <a:pt x="2282409" y="2774037"/>
                    <a:pt x="2282409" y="2774037"/>
                    <a:pt x="2299560" y="2720166"/>
                  </a:cubicBezTo>
                  <a:cubicBezTo>
                    <a:pt x="2285903" y="2717631"/>
                    <a:pt x="2261128" y="2712877"/>
                    <a:pt x="2235719" y="2708124"/>
                  </a:cubicBezTo>
                  <a:cubicBezTo>
                    <a:pt x="2230955" y="2707173"/>
                    <a:pt x="2226190" y="2706223"/>
                    <a:pt x="2221108" y="2705589"/>
                  </a:cubicBezTo>
                  <a:close/>
                  <a:moveTo>
                    <a:pt x="1872998" y="2704638"/>
                  </a:moveTo>
                  <a:cubicBezTo>
                    <a:pt x="1870458" y="2715096"/>
                    <a:pt x="1867599" y="2726504"/>
                    <a:pt x="1864740" y="2737912"/>
                  </a:cubicBezTo>
                  <a:cubicBezTo>
                    <a:pt x="1864740" y="2737912"/>
                    <a:pt x="1864740" y="2737912"/>
                    <a:pt x="1967966" y="2748686"/>
                  </a:cubicBezTo>
                  <a:lnTo>
                    <a:pt x="1983530" y="2706223"/>
                  </a:lnTo>
                  <a:cubicBezTo>
                    <a:pt x="1983530" y="2706223"/>
                    <a:pt x="1983530" y="2706223"/>
                    <a:pt x="1872998" y="2704638"/>
                  </a:cubicBezTo>
                  <a:close/>
                  <a:moveTo>
                    <a:pt x="320478" y="2704321"/>
                  </a:moveTo>
                  <a:lnTo>
                    <a:pt x="309679" y="2718898"/>
                  </a:lnTo>
                  <a:cubicBezTo>
                    <a:pt x="309679" y="2718898"/>
                    <a:pt x="309679" y="2718898"/>
                    <a:pt x="346205" y="2748686"/>
                  </a:cubicBezTo>
                  <a:cubicBezTo>
                    <a:pt x="346205" y="2748686"/>
                    <a:pt x="346205" y="2748686"/>
                    <a:pt x="357957" y="2733792"/>
                  </a:cubicBezTo>
                  <a:cubicBezTo>
                    <a:pt x="357957" y="2733792"/>
                    <a:pt x="357957" y="2733792"/>
                    <a:pt x="320478" y="2704321"/>
                  </a:cubicBezTo>
                  <a:close/>
                  <a:moveTo>
                    <a:pt x="1713871" y="2703371"/>
                  </a:moveTo>
                  <a:cubicBezTo>
                    <a:pt x="1704978" y="2708441"/>
                    <a:pt x="1684015" y="2720483"/>
                    <a:pt x="1663052" y="2732525"/>
                  </a:cubicBezTo>
                  <a:cubicBezTo>
                    <a:pt x="1660194" y="2734109"/>
                    <a:pt x="1657335" y="2735693"/>
                    <a:pt x="1654477" y="2737278"/>
                  </a:cubicBezTo>
                  <a:cubicBezTo>
                    <a:pt x="1655430" y="2740130"/>
                    <a:pt x="1664641" y="2764213"/>
                    <a:pt x="1674487" y="2788614"/>
                  </a:cubicBezTo>
                  <a:cubicBezTo>
                    <a:pt x="1679569" y="2801606"/>
                    <a:pt x="1684650" y="2814598"/>
                    <a:pt x="1688780" y="2824105"/>
                  </a:cubicBezTo>
                  <a:cubicBezTo>
                    <a:pt x="1690685" y="2828858"/>
                    <a:pt x="1692273" y="2832978"/>
                    <a:pt x="1693544" y="2835830"/>
                  </a:cubicBezTo>
                  <a:cubicBezTo>
                    <a:pt x="1694179" y="2836781"/>
                    <a:pt x="1694179" y="2837414"/>
                    <a:pt x="1694497" y="2838048"/>
                  </a:cubicBezTo>
                  <a:cubicBezTo>
                    <a:pt x="1700531" y="2831710"/>
                    <a:pt x="1705296" y="2826323"/>
                    <a:pt x="1708790" y="2822204"/>
                  </a:cubicBezTo>
                  <a:cubicBezTo>
                    <a:pt x="1718636" y="2811747"/>
                    <a:pt x="1722447" y="2796536"/>
                    <a:pt x="1722447" y="2776889"/>
                  </a:cubicBezTo>
                  <a:cubicBezTo>
                    <a:pt x="1722447" y="2765481"/>
                    <a:pt x="1721177" y="2752805"/>
                    <a:pt x="1719271" y="2739179"/>
                  </a:cubicBezTo>
                  <a:cubicBezTo>
                    <a:pt x="1718318" y="2729673"/>
                    <a:pt x="1716095" y="2716997"/>
                    <a:pt x="1713871" y="2703371"/>
                  </a:cubicBezTo>
                  <a:close/>
                  <a:moveTo>
                    <a:pt x="1728164" y="2701786"/>
                  </a:moveTo>
                  <a:cubicBezTo>
                    <a:pt x="1730388" y="2715096"/>
                    <a:pt x="1732293" y="2727771"/>
                    <a:pt x="1733564" y="2737278"/>
                  </a:cubicBezTo>
                  <a:cubicBezTo>
                    <a:pt x="1733881" y="2739496"/>
                    <a:pt x="1733881" y="2741715"/>
                    <a:pt x="1734199" y="2744249"/>
                  </a:cubicBezTo>
                  <a:cubicBezTo>
                    <a:pt x="1734199" y="2744249"/>
                    <a:pt x="1734199" y="2744249"/>
                    <a:pt x="1853941" y="2762312"/>
                  </a:cubicBezTo>
                  <a:cubicBezTo>
                    <a:pt x="1857118" y="2749953"/>
                    <a:pt x="1860294" y="2737278"/>
                    <a:pt x="1863470" y="2724919"/>
                  </a:cubicBezTo>
                  <a:cubicBezTo>
                    <a:pt x="1857118" y="2723652"/>
                    <a:pt x="1827579" y="2718581"/>
                    <a:pt x="1797405" y="2713195"/>
                  </a:cubicBezTo>
                  <a:cubicBezTo>
                    <a:pt x="1768819" y="2708124"/>
                    <a:pt x="1738646" y="2703054"/>
                    <a:pt x="1728164" y="2701786"/>
                  </a:cubicBezTo>
                  <a:close/>
                  <a:moveTo>
                    <a:pt x="319842" y="2698301"/>
                  </a:moveTo>
                  <a:cubicBezTo>
                    <a:pt x="319842" y="2698301"/>
                    <a:pt x="319842" y="2698301"/>
                    <a:pt x="364309" y="2733158"/>
                  </a:cubicBezTo>
                  <a:cubicBezTo>
                    <a:pt x="364309" y="2733158"/>
                    <a:pt x="364309" y="2733158"/>
                    <a:pt x="346840" y="2754707"/>
                  </a:cubicBezTo>
                  <a:lnTo>
                    <a:pt x="303326" y="2719532"/>
                  </a:lnTo>
                  <a:cubicBezTo>
                    <a:pt x="303326" y="2719532"/>
                    <a:pt x="303326" y="2719532"/>
                    <a:pt x="319842" y="2698301"/>
                  </a:cubicBezTo>
                  <a:close/>
                  <a:moveTo>
                    <a:pt x="2175372" y="2697033"/>
                  </a:moveTo>
                  <a:cubicBezTo>
                    <a:pt x="2175372" y="2697033"/>
                    <a:pt x="2175372" y="2697033"/>
                    <a:pt x="2157267" y="2749953"/>
                  </a:cubicBezTo>
                  <a:cubicBezTo>
                    <a:pt x="2168384" y="2752172"/>
                    <a:pt x="2183312" y="2755024"/>
                    <a:pt x="2198875" y="2757876"/>
                  </a:cubicBezTo>
                  <a:cubicBezTo>
                    <a:pt x="2198875" y="2757876"/>
                    <a:pt x="2198875" y="2757876"/>
                    <a:pt x="2216980" y="2704638"/>
                  </a:cubicBezTo>
                  <a:cubicBezTo>
                    <a:pt x="2201098" y="2701786"/>
                    <a:pt x="2186170" y="2698935"/>
                    <a:pt x="2175372" y="2697033"/>
                  </a:cubicBezTo>
                  <a:close/>
                  <a:moveTo>
                    <a:pt x="2166478" y="2695449"/>
                  </a:moveTo>
                  <a:cubicBezTo>
                    <a:pt x="2160443" y="2712561"/>
                    <a:pt x="2154408" y="2730306"/>
                    <a:pt x="2148374" y="2748369"/>
                  </a:cubicBezTo>
                  <a:cubicBezTo>
                    <a:pt x="2149644" y="2748686"/>
                    <a:pt x="2151232" y="2749003"/>
                    <a:pt x="2153138" y="2749320"/>
                  </a:cubicBezTo>
                  <a:cubicBezTo>
                    <a:pt x="2153138" y="2749320"/>
                    <a:pt x="2153138" y="2749320"/>
                    <a:pt x="2171242" y="2696399"/>
                  </a:cubicBezTo>
                  <a:cubicBezTo>
                    <a:pt x="2169337" y="2696082"/>
                    <a:pt x="2167748" y="2695766"/>
                    <a:pt x="2166478" y="2695449"/>
                  </a:cubicBezTo>
                  <a:close/>
                  <a:moveTo>
                    <a:pt x="16199" y="2691012"/>
                  </a:moveTo>
                  <a:lnTo>
                    <a:pt x="9846" y="2698301"/>
                  </a:lnTo>
                  <a:cubicBezTo>
                    <a:pt x="1271" y="2708124"/>
                    <a:pt x="1271" y="2708124"/>
                    <a:pt x="1271" y="2708124"/>
                  </a:cubicBezTo>
                  <a:cubicBezTo>
                    <a:pt x="1271" y="2697033"/>
                    <a:pt x="1271" y="2697033"/>
                    <a:pt x="1271" y="2697033"/>
                  </a:cubicBezTo>
                  <a:cubicBezTo>
                    <a:pt x="5082" y="2695449"/>
                    <a:pt x="7305" y="2694815"/>
                    <a:pt x="7305" y="2694815"/>
                  </a:cubicBezTo>
                  <a:cubicBezTo>
                    <a:pt x="16199" y="2691012"/>
                    <a:pt x="16199" y="2691012"/>
                    <a:pt x="16199" y="2691012"/>
                  </a:cubicBezTo>
                  <a:close/>
                  <a:moveTo>
                    <a:pt x="314761" y="2690062"/>
                  </a:moveTo>
                  <a:cubicBezTo>
                    <a:pt x="306502" y="2702737"/>
                    <a:pt x="299515" y="2713511"/>
                    <a:pt x="296974" y="2717314"/>
                  </a:cubicBezTo>
                  <a:cubicBezTo>
                    <a:pt x="301421" y="2723018"/>
                    <a:pt x="322066" y="2748369"/>
                    <a:pt x="342393" y="2773086"/>
                  </a:cubicBezTo>
                  <a:cubicBezTo>
                    <a:pt x="361133" y="2796219"/>
                    <a:pt x="379555" y="2818401"/>
                    <a:pt x="384637" y="2824422"/>
                  </a:cubicBezTo>
                  <a:cubicBezTo>
                    <a:pt x="391624" y="2818084"/>
                    <a:pt x="397977" y="2811747"/>
                    <a:pt x="404011" y="2806360"/>
                  </a:cubicBezTo>
                  <a:cubicBezTo>
                    <a:pt x="411634" y="2799071"/>
                    <a:pt x="417987" y="2792733"/>
                    <a:pt x="422751" y="2788614"/>
                  </a:cubicBezTo>
                  <a:cubicBezTo>
                    <a:pt x="424657" y="2786713"/>
                    <a:pt x="426562" y="2785128"/>
                    <a:pt x="427833" y="2783860"/>
                  </a:cubicBezTo>
                  <a:cubicBezTo>
                    <a:pt x="427833" y="2783860"/>
                    <a:pt x="427833" y="2783860"/>
                    <a:pt x="429739" y="2781642"/>
                  </a:cubicBezTo>
                  <a:cubicBezTo>
                    <a:pt x="430056" y="2781008"/>
                    <a:pt x="430691" y="2779741"/>
                    <a:pt x="431327" y="2778790"/>
                  </a:cubicBezTo>
                  <a:cubicBezTo>
                    <a:pt x="414810" y="2766115"/>
                    <a:pt x="392259" y="2749003"/>
                    <a:pt x="370661" y="2732525"/>
                  </a:cubicBezTo>
                  <a:cubicBezTo>
                    <a:pt x="345570" y="2713511"/>
                    <a:pt x="321113" y="2694815"/>
                    <a:pt x="314761" y="2690062"/>
                  </a:cubicBezTo>
                  <a:close/>
                  <a:moveTo>
                    <a:pt x="1323835" y="2689428"/>
                  </a:moveTo>
                  <a:lnTo>
                    <a:pt x="1310496" y="2695766"/>
                  </a:lnTo>
                  <a:cubicBezTo>
                    <a:pt x="1310496" y="2695766"/>
                    <a:pt x="1310496" y="2695766"/>
                    <a:pt x="1333364" y="2751855"/>
                  </a:cubicBezTo>
                  <a:cubicBezTo>
                    <a:pt x="1333364" y="2751855"/>
                    <a:pt x="1333364" y="2751855"/>
                    <a:pt x="1335587" y="2750904"/>
                  </a:cubicBezTo>
                  <a:cubicBezTo>
                    <a:pt x="1335587" y="2750904"/>
                    <a:pt x="1335587" y="2750904"/>
                    <a:pt x="1323835" y="2689428"/>
                  </a:cubicBezTo>
                  <a:close/>
                  <a:moveTo>
                    <a:pt x="209946" y="2685942"/>
                  </a:moveTo>
                  <a:cubicBezTo>
                    <a:pt x="209946" y="2685942"/>
                    <a:pt x="209946" y="2685942"/>
                    <a:pt x="145152" y="2737912"/>
                  </a:cubicBezTo>
                  <a:cubicBezTo>
                    <a:pt x="145152" y="2737912"/>
                    <a:pt x="145152" y="2737912"/>
                    <a:pt x="171514" y="2765164"/>
                  </a:cubicBezTo>
                  <a:cubicBezTo>
                    <a:pt x="171514" y="2765164"/>
                    <a:pt x="171514" y="2765164"/>
                    <a:pt x="208676" y="2739179"/>
                  </a:cubicBezTo>
                  <a:close/>
                  <a:moveTo>
                    <a:pt x="1208222" y="2685625"/>
                  </a:moveTo>
                  <a:cubicBezTo>
                    <a:pt x="1167885" y="2706223"/>
                    <a:pt x="1084351" y="2749953"/>
                    <a:pt x="982078" y="2804141"/>
                  </a:cubicBezTo>
                  <a:cubicBezTo>
                    <a:pt x="982078" y="2804141"/>
                    <a:pt x="982078" y="2804141"/>
                    <a:pt x="1074505" y="2990472"/>
                  </a:cubicBezTo>
                  <a:cubicBezTo>
                    <a:pt x="1075775" y="2983500"/>
                    <a:pt x="1077046" y="2976845"/>
                    <a:pt x="1078634" y="2971141"/>
                  </a:cubicBezTo>
                  <a:cubicBezTo>
                    <a:pt x="1083080" y="2954663"/>
                    <a:pt x="1086257" y="2935333"/>
                    <a:pt x="1100867" y="2916319"/>
                  </a:cubicBezTo>
                  <a:cubicBezTo>
                    <a:pt x="1115160" y="2897306"/>
                    <a:pt x="1140252" y="2879877"/>
                    <a:pt x="1186307" y="2865617"/>
                  </a:cubicBezTo>
                  <a:cubicBezTo>
                    <a:pt x="1220927" y="2854843"/>
                    <a:pt x="1256818" y="2845337"/>
                    <a:pt x="1273016" y="2840900"/>
                  </a:cubicBezTo>
                  <a:cubicBezTo>
                    <a:pt x="1273016" y="2840900"/>
                    <a:pt x="1273016" y="2840900"/>
                    <a:pt x="1208222" y="2685625"/>
                  </a:cubicBezTo>
                  <a:close/>
                  <a:moveTo>
                    <a:pt x="1327329" y="2682773"/>
                  </a:moveTo>
                  <a:cubicBezTo>
                    <a:pt x="1327329" y="2682773"/>
                    <a:pt x="1327329" y="2682773"/>
                    <a:pt x="1327965" y="2685625"/>
                  </a:cubicBezTo>
                  <a:cubicBezTo>
                    <a:pt x="1327965" y="2685625"/>
                    <a:pt x="1327965" y="2685625"/>
                    <a:pt x="1340987" y="2753439"/>
                  </a:cubicBezTo>
                  <a:lnTo>
                    <a:pt x="1330823" y="2757876"/>
                  </a:lnTo>
                  <a:cubicBezTo>
                    <a:pt x="1330823" y="2757876"/>
                    <a:pt x="1330823" y="2757876"/>
                    <a:pt x="1304461" y="2693548"/>
                  </a:cubicBezTo>
                  <a:cubicBezTo>
                    <a:pt x="1304461" y="2693548"/>
                    <a:pt x="1304461" y="2693548"/>
                    <a:pt x="1327329" y="2682773"/>
                  </a:cubicBezTo>
                  <a:close/>
                  <a:moveTo>
                    <a:pt x="1739281" y="2677703"/>
                  </a:moveTo>
                  <a:cubicBezTo>
                    <a:pt x="1739281" y="2677703"/>
                    <a:pt x="1739281" y="2677703"/>
                    <a:pt x="1736740" y="2692280"/>
                  </a:cubicBezTo>
                  <a:lnTo>
                    <a:pt x="1776125" y="2698935"/>
                  </a:lnTo>
                  <a:cubicBezTo>
                    <a:pt x="1776125" y="2698935"/>
                    <a:pt x="1776125" y="2698935"/>
                    <a:pt x="1778666" y="2684675"/>
                  </a:cubicBezTo>
                  <a:cubicBezTo>
                    <a:pt x="1778666" y="2684675"/>
                    <a:pt x="1778666" y="2684675"/>
                    <a:pt x="1739281" y="2677703"/>
                  </a:cubicBezTo>
                  <a:close/>
                  <a:moveTo>
                    <a:pt x="214711" y="2675802"/>
                  </a:moveTo>
                  <a:cubicBezTo>
                    <a:pt x="214711" y="2675802"/>
                    <a:pt x="214711" y="2675802"/>
                    <a:pt x="214711" y="2680872"/>
                  </a:cubicBezTo>
                  <a:cubicBezTo>
                    <a:pt x="214711" y="2680872"/>
                    <a:pt x="214711" y="2680872"/>
                    <a:pt x="213440" y="2741715"/>
                  </a:cubicBezTo>
                  <a:cubicBezTo>
                    <a:pt x="213440" y="2741715"/>
                    <a:pt x="213440" y="2741715"/>
                    <a:pt x="170879" y="2771185"/>
                  </a:cubicBezTo>
                  <a:lnTo>
                    <a:pt x="138164" y="2737278"/>
                  </a:lnTo>
                  <a:cubicBezTo>
                    <a:pt x="138164" y="2737278"/>
                    <a:pt x="138164" y="2737278"/>
                    <a:pt x="214711" y="2675802"/>
                  </a:cubicBezTo>
                  <a:close/>
                  <a:moveTo>
                    <a:pt x="746087" y="2675485"/>
                  </a:moveTo>
                  <a:cubicBezTo>
                    <a:pt x="746087" y="2675485"/>
                    <a:pt x="746087" y="2675485"/>
                    <a:pt x="666682" y="2714145"/>
                  </a:cubicBezTo>
                  <a:cubicBezTo>
                    <a:pt x="666682" y="2714145"/>
                    <a:pt x="666682" y="2714145"/>
                    <a:pt x="679705" y="2740447"/>
                  </a:cubicBezTo>
                  <a:cubicBezTo>
                    <a:pt x="679705" y="2740447"/>
                    <a:pt x="679705" y="2740447"/>
                    <a:pt x="683516" y="2738862"/>
                  </a:cubicBezTo>
                  <a:cubicBezTo>
                    <a:pt x="683516" y="2738862"/>
                    <a:pt x="683516" y="2738862"/>
                    <a:pt x="687327" y="2737278"/>
                  </a:cubicBezTo>
                  <a:cubicBezTo>
                    <a:pt x="687327" y="2737278"/>
                    <a:pt x="687327" y="2737278"/>
                    <a:pt x="689233" y="2741080"/>
                  </a:cubicBezTo>
                  <a:cubicBezTo>
                    <a:pt x="689233" y="2741080"/>
                    <a:pt x="689233" y="2741080"/>
                    <a:pt x="694315" y="2751221"/>
                  </a:cubicBezTo>
                  <a:cubicBezTo>
                    <a:pt x="694315" y="2751221"/>
                    <a:pt x="694315" y="2751221"/>
                    <a:pt x="717184" y="2740764"/>
                  </a:cubicBezTo>
                  <a:cubicBezTo>
                    <a:pt x="717184" y="2740764"/>
                    <a:pt x="717184" y="2740764"/>
                    <a:pt x="721313" y="2738862"/>
                  </a:cubicBezTo>
                  <a:cubicBezTo>
                    <a:pt x="721313" y="2738862"/>
                    <a:pt x="721313" y="2738862"/>
                    <a:pt x="722901" y="2742665"/>
                  </a:cubicBezTo>
                  <a:cubicBezTo>
                    <a:pt x="722901" y="2742665"/>
                    <a:pt x="722901" y="2742665"/>
                    <a:pt x="726077" y="2749320"/>
                  </a:cubicBezTo>
                  <a:cubicBezTo>
                    <a:pt x="726077" y="2749320"/>
                    <a:pt x="726077" y="2749320"/>
                    <a:pt x="727983" y="2748369"/>
                  </a:cubicBezTo>
                  <a:cubicBezTo>
                    <a:pt x="727983" y="2748369"/>
                    <a:pt x="727983" y="2748369"/>
                    <a:pt x="721630" y="2736644"/>
                  </a:cubicBezTo>
                  <a:cubicBezTo>
                    <a:pt x="721630" y="2736644"/>
                    <a:pt x="721630" y="2736644"/>
                    <a:pt x="719725" y="2733158"/>
                  </a:cubicBezTo>
                  <a:cubicBezTo>
                    <a:pt x="719725" y="2733158"/>
                    <a:pt x="719725" y="2733158"/>
                    <a:pt x="722901" y="2730940"/>
                  </a:cubicBezTo>
                  <a:cubicBezTo>
                    <a:pt x="722901" y="2730940"/>
                    <a:pt x="722901" y="2730940"/>
                    <a:pt x="725124" y="2729356"/>
                  </a:cubicBezTo>
                  <a:cubicBezTo>
                    <a:pt x="725124" y="2729356"/>
                    <a:pt x="725124" y="2729356"/>
                    <a:pt x="723536" y="2723335"/>
                  </a:cubicBezTo>
                  <a:lnTo>
                    <a:pt x="722583" y="2719849"/>
                  </a:lnTo>
                  <a:cubicBezTo>
                    <a:pt x="722583" y="2719849"/>
                    <a:pt x="722583" y="2719849"/>
                    <a:pt x="726077" y="2718265"/>
                  </a:cubicBezTo>
                  <a:cubicBezTo>
                    <a:pt x="726077" y="2718265"/>
                    <a:pt x="726077" y="2718265"/>
                    <a:pt x="759109" y="2702737"/>
                  </a:cubicBezTo>
                  <a:cubicBezTo>
                    <a:pt x="759109" y="2702737"/>
                    <a:pt x="759109" y="2702737"/>
                    <a:pt x="746087" y="2675485"/>
                  </a:cubicBezTo>
                  <a:close/>
                  <a:moveTo>
                    <a:pt x="1735787" y="2673266"/>
                  </a:moveTo>
                  <a:cubicBezTo>
                    <a:pt x="1735787" y="2673266"/>
                    <a:pt x="1735787" y="2673266"/>
                    <a:pt x="1783112" y="2681506"/>
                  </a:cubicBezTo>
                  <a:cubicBezTo>
                    <a:pt x="1783112" y="2681506"/>
                    <a:pt x="1783112" y="2681506"/>
                    <a:pt x="1779301" y="2703688"/>
                  </a:cubicBezTo>
                  <a:lnTo>
                    <a:pt x="1777395" y="2703371"/>
                  </a:lnTo>
                  <a:cubicBezTo>
                    <a:pt x="1777395" y="2703371"/>
                    <a:pt x="1777395" y="2703371"/>
                    <a:pt x="1731976" y="2695449"/>
                  </a:cubicBezTo>
                  <a:cubicBezTo>
                    <a:pt x="1731976" y="2695449"/>
                    <a:pt x="1731976" y="2695449"/>
                    <a:pt x="1735787" y="2673266"/>
                  </a:cubicBezTo>
                  <a:close/>
                  <a:moveTo>
                    <a:pt x="2483779" y="2672950"/>
                  </a:moveTo>
                  <a:cubicBezTo>
                    <a:pt x="2483779" y="2672950"/>
                    <a:pt x="2483779" y="2672950"/>
                    <a:pt x="2458370" y="2722701"/>
                  </a:cubicBezTo>
                  <a:lnTo>
                    <a:pt x="2463452" y="2725236"/>
                  </a:lnTo>
                  <a:cubicBezTo>
                    <a:pt x="2463452" y="2725236"/>
                    <a:pt x="2463452" y="2725236"/>
                    <a:pt x="2488861" y="2675168"/>
                  </a:cubicBezTo>
                  <a:cubicBezTo>
                    <a:pt x="2488861" y="2675168"/>
                    <a:pt x="2488861" y="2675168"/>
                    <a:pt x="2483779" y="2672950"/>
                  </a:cubicBezTo>
                  <a:close/>
                  <a:moveTo>
                    <a:pt x="212487" y="2671365"/>
                  </a:moveTo>
                  <a:cubicBezTo>
                    <a:pt x="212487" y="2671365"/>
                    <a:pt x="212487" y="2671365"/>
                    <a:pt x="130224" y="2739496"/>
                  </a:cubicBezTo>
                  <a:cubicBezTo>
                    <a:pt x="135306" y="2744566"/>
                    <a:pt x="141976" y="2751221"/>
                    <a:pt x="148963" y="2757876"/>
                  </a:cubicBezTo>
                  <a:cubicBezTo>
                    <a:pt x="155316" y="2764530"/>
                    <a:pt x="162303" y="2770868"/>
                    <a:pt x="167385" y="2775938"/>
                  </a:cubicBezTo>
                  <a:cubicBezTo>
                    <a:pt x="169609" y="2778156"/>
                    <a:pt x="171832" y="2780058"/>
                    <a:pt x="173420" y="2781642"/>
                  </a:cubicBezTo>
                  <a:cubicBezTo>
                    <a:pt x="183902" y="2775304"/>
                    <a:pt x="227733" y="2751221"/>
                    <a:pt x="259177" y="2733792"/>
                  </a:cubicBezTo>
                  <a:close/>
                  <a:moveTo>
                    <a:pt x="2337992" y="2668513"/>
                  </a:moveTo>
                  <a:cubicBezTo>
                    <a:pt x="2337992" y="2668513"/>
                    <a:pt x="2337992" y="2668513"/>
                    <a:pt x="2320841" y="2722384"/>
                  </a:cubicBezTo>
                  <a:lnTo>
                    <a:pt x="2387541" y="2755024"/>
                  </a:lnTo>
                  <a:cubicBezTo>
                    <a:pt x="2387541" y="2755024"/>
                    <a:pt x="2387541" y="2755024"/>
                    <a:pt x="2412950" y="2705272"/>
                  </a:cubicBezTo>
                  <a:cubicBezTo>
                    <a:pt x="2412950" y="2705272"/>
                    <a:pt x="2412950" y="2705272"/>
                    <a:pt x="2337992" y="2668513"/>
                  </a:cubicBezTo>
                  <a:close/>
                  <a:moveTo>
                    <a:pt x="758474" y="2668513"/>
                  </a:moveTo>
                  <a:cubicBezTo>
                    <a:pt x="756886" y="2669464"/>
                    <a:pt x="753710" y="2671048"/>
                    <a:pt x="749581" y="2672950"/>
                  </a:cubicBezTo>
                  <a:cubicBezTo>
                    <a:pt x="749581" y="2672950"/>
                    <a:pt x="749581" y="2672950"/>
                    <a:pt x="764826" y="2704955"/>
                  </a:cubicBezTo>
                  <a:cubicBezTo>
                    <a:pt x="764826" y="2704955"/>
                    <a:pt x="764826" y="2704955"/>
                    <a:pt x="727983" y="2722067"/>
                  </a:cubicBezTo>
                  <a:cubicBezTo>
                    <a:pt x="727983" y="2722067"/>
                    <a:pt x="727983" y="2722067"/>
                    <a:pt x="730206" y="2731257"/>
                  </a:cubicBezTo>
                  <a:cubicBezTo>
                    <a:pt x="730206" y="2731257"/>
                    <a:pt x="730206" y="2731257"/>
                    <a:pt x="725442" y="2734426"/>
                  </a:cubicBezTo>
                  <a:cubicBezTo>
                    <a:pt x="725442" y="2734426"/>
                    <a:pt x="725442" y="2734426"/>
                    <a:pt x="733700" y="2749953"/>
                  </a:cubicBezTo>
                  <a:cubicBezTo>
                    <a:pt x="733700" y="2749953"/>
                    <a:pt x="733700" y="2749953"/>
                    <a:pt x="724171" y="2755657"/>
                  </a:cubicBezTo>
                  <a:cubicBezTo>
                    <a:pt x="724171" y="2755657"/>
                    <a:pt x="724171" y="2755657"/>
                    <a:pt x="719089" y="2744566"/>
                  </a:cubicBezTo>
                  <a:cubicBezTo>
                    <a:pt x="719089" y="2744566"/>
                    <a:pt x="719089" y="2744566"/>
                    <a:pt x="692409" y="2756925"/>
                  </a:cubicBezTo>
                  <a:cubicBezTo>
                    <a:pt x="692409" y="2756925"/>
                    <a:pt x="692409" y="2756925"/>
                    <a:pt x="685104" y="2742982"/>
                  </a:cubicBezTo>
                  <a:cubicBezTo>
                    <a:pt x="685104" y="2742982"/>
                    <a:pt x="685104" y="2742982"/>
                    <a:pt x="677799" y="2745834"/>
                  </a:cubicBezTo>
                  <a:cubicBezTo>
                    <a:pt x="677799" y="2745834"/>
                    <a:pt x="677799" y="2745834"/>
                    <a:pt x="662235" y="2715096"/>
                  </a:cubicBezTo>
                  <a:cubicBezTo>
                    <a:pt x="657471" y="2717314"/>
                    <a:pt x="653025" y="2719532"/>
                    <a:pt x="649213" y="2721433"/>
                  </a:cubicBezTo>
                  <a:cubicBezTo>
                    <a:pt x="646355" y="2722701"/>
                    <a:pt x="644131" y="2723969"/>
                    <a:pt x="642226" y="2724919"/>
                  </a:cubicBezTo>
                  <a:cubicBezTo>
                    <a:pt x="642226" y="2724919"/>
                    <a:pt x="642226" y="2724919"/>
                    <a:pt x="680022" y="2806676"/>
                  </a:cubicBezTo>
                  <a:lnTo>
                    <a:pt x="682881" y="2812063"/>
                  </a:lnTo>
                  <a:cubicBezTo>
                    <a:pt x="685739" y="2810162"/>
                    <a:pt x="692092" y="2806360"/>
                    <a:pt x="701620" y="2800655"/>
                  </a:cubicBezTo>
                  <a:cubicBezTo>
                    <a:pt x="732112" y="2782593"/>
                    <a:pt x="788330" y="2750587"/>
                    <a:pt x="796271" y="2746151"/>
                  </a:cubicBezTo>
                  <a:cubicBezTo>
                    <a:pt x="796271" y="2746151"/>
                    <a:pt x="796271" y="2746151"/>
                    <a:pt x="758792" y="2668830"/>
                  </a:cubicBezTo>
                  <a:cubicBezTo>
                    <a:pt x="758792" y="2668830"/>
                    <a:pt x="758474" y="2668513"/>
                    <a:pt x="758474" y="2668513"/>
                  </a:cubicBezTo>
                  <a:close/>
                  <a:moveTo>
                    <a:pt x="343981" y="2666929"/>
                  </a:moveTo>
                  <a:cubicBezTo>
                    <a:pt x="343981" y="2666929"/>
                    <a:pt x="343981" y="2666929"/>
                    <a:pt x="336676" y="2678970"/>
                  </a:cubicBezTo>
                  <a:cubicBezTo>
                    <a:pt x="336676" y="2678970"/>
                    <a:pt x="336676" y="2678970"/>
                    <a:pt x="431644" y="2749953"/>
                  </a:cubicBezTo>
                  <a:cubicBezTo>
                    <a:pt x="431644" y="2749953"/>
                    <a:pt x="431644" y="2749953"/>
                    <a:pt x="447525" y="2724286"/>
                  </a:cubicBezTo>
                  <a:cubicBezTo>
                    <a:pt x="447525" y="2724286"/>
                    <a:pt x="447525" y="2724286"/>
                    <a:pt x="427198" y="2710342"/>
                  </a:cubicBezTo>
                  <a:cubicBezTo>
                    <a:pt x="427198" y="2710342"/>
                    <a:pt x="427198" y="2710342"/>
                    <a:pt x="421798" y="2718898"/>
                  </a:cubicBezTo>
                  <a:cubicBezTo>
                    <a:pt x="421798" y="2718898"/>
                    <a:pt x="421798" y="2718898"/>
                    <a:pt x="419257" y="2723018"/>
                  </a:cubicBezTo>
                  <a:cubicBezTo>
                    <a:pt x="419257" y="2723018"/>
                    <a:pt x="419257" y="2723018"/>
                    <a:pt x="415446" y="2720166"/>
                  </a:cubicBezTo>
                  <a:close/>
                  <a:moveTo>
                    <a:pt x="1721494" y="2664710"/>
                  </a:moveTo>
                  <a:cubicBezTo>
                    <a:pt x="1723400" y="2675485"/>
                    <a:pt x="1725623" y="2686576"/>
                    <a:pt x="1727211" y="2697350"/>
                  </a:cubicBezTo>
                  <a:cubicBezTo>
                    <a:pt x="1748174" y="2699568"/>
                    <a:pt x="1853306" y="2718581"/>
                    <a:pt x="1864423" y="2720800"/>
                  </a:cubicBezTo>
                  <a:cubicBezTo>
                    <a:pt x="1865693" y="2715729"/>
                    <a:pt x="1866964" y="2710976"/>
                    <a:pt x="1867917" y="2706540"/>
                  </a:cubicBezTo>
                  <a:cubicBezTo>
                    <a:pt x="1868234" y="2705906"/>
                    <a:pt x="1868234" y="2705272"/>
                    <a:pt x="1868552" y="2704638"/>
                  </a:cubicBezTo>
                  <a:cubicBezTo>
                    <a:pt x="1868552" y="2704638"/>
                    <a:pt x="1868552" y="2704638"/>
                    <a:pt x="1867599" y="2704638"/>
                  </a:cubicBezTo>
                  <a:cubicBezTo>
                    <a:pt x="1867599" y="2704638"/>
                    <a:pt x="1867599" y="2704638"/>
                    <a:pt x="1867917" y="2700202"/>
                  </a:cubicBezTo>
                  <a:cubicBezTo>
                    <a:pt x="1867917" y="2700202"/>
                    <a:pt x="1867917" y="2700202"/>
                    <a:pt x="1869505" y="2700202"/>
                  </a:cubicBezTo>
                  <a:cubicBezTo>
                    <a:pt x="1870458" y="2696399"/>
                    <a:pt x="1871410" y="2692914"/>
                    <a:pt x="1872363" y="2689428"/>
                  </a:cubicBezTo>
                  <a:cubicBezTo>
                    <a:pt x="1864740" y="2688477"/>
                    <a:pt x="1747539" y="2669147"/>
                    <a:pt x="1721494" y="2664710"/>
                  </a:cubicBezTo>
                  <a:close/>
                  <a:moveTo>
                    <a:pt x="2553020" y="2661542"/>
                  </a:moveTo>
                  <a:cubicBezTo>
                    <a:pt x="2553020" y="2661542"/>
                    <a:pt x="2553020" y="2661542"/>
                    <a:pt x="2539680" y="2681822"/>
                  </a:cubicBezTo>
                  <a:cubicBezTo>
                    <a:pt x="2539680" y="2681822"/>
                    <a:pt x="2539680" y="2681822"/>
                    <a:pt x="2558102" y="2691646"/>
                  </a:cubicBezTo>
                  <a:cubicBezTo>
                    <a:pt x="2558102" y="2691646"/>
                    <a:pt x="2558102" y="2691646"/>
                    <a:pt x="2533010" y="2737278"/>
                  </a:cubicBezTo>
                  <a:cubicBezTo>
                    <a:pt x="2533010" y="2737278"/>
                    <a:pt x="2533010" y="2737278"/>
                    <a:pt x="2546032" y="2744883"/>
                  </a:cubicBezTo>
                  <a:cubicBezTo>
                    <a:pt x="2546032" y="2744883"/>
                    <a:pt x="2546032" y="2744883"/>
                    <a:pt x="2571442" y="2701469"/>
                  </a:cubicBezTo>
                  <a:cubicBezTo>
                    <a:pt x="2571442" y="2701469"/>
                    <a:pt x="2571442" y="2701469"/>
                    <a:pt x="2599392" y="2716997"/>
                  </a:cubicBezTo>
                  <a:cubicBezTo>
                    <a:pt x="2599392" y="2716997"/>
                    <a:pt x="2599392" y="2716997"/>
                    <a:pt x="2547938" y="2804141"/>
                  </a:cubicBezTo>
                  <a:cubicBezTo>
                    <a:pt x="2547938" y="2804141"/>
                    <a:pt x="2547938" y="2804141"/>
                    <a:pt x="2564772" y="2814282"/>
                  </a:cubicBezTo>
                  <a:cubicBezTo>
                    <a:pt x="2564772" y="2814282"/>
                    <a:pt x="2564772" y="2814282"/>
                    <a:pt x="2607333" y="2740130"/>
                  </a:cubicBezTo>
                  <a:cubicBezTo>
                    <a:pt x="2607333" y="2740130"/>
                    <a:pt x="2607333" y="2740130"/>
                    <a:pt x="2654340" y="2767699"/>
                  </a:cubicBezTo>
                  <a:cubicBezTo>
                    <a:pt x="2654340" y="2767699"/>
                    <a:pt x="2654340" y="2767699"/>
                    <a:pt x="2611780" y="2841534"/>
                  </a:cubicBezTo>
                  <a:cubicBezTo>
                    <a:pt x="2611780" y="2841534"/>
                    <a:pt x="2611780" y="2841534"/>
                    <a:pt x="2641636" y="2858012"/>
                  </a:cubicBezTo>
                  <a:cubicBezTo>
                    <a:pt x="2641636" y="2858012"/>
                    <a:pt x="2641636" y="2858012"/>
                    <a:pt x="2669586" y="2808578"/>
                  </a:cubicBezTo>
                  <a:cubicBezTo>
                    <a:pt x="2669586" y="2808578"/>
                    <a:pt x="2669586" y="2808578"/>
                    <a:pt x="2652435" y="2797487"/>
                  </a:cubicBezTo>
                  <a:cubicBezTo>
                    <a:pt x="2652435" y="2797487"/>
                    <a:pt x="2652435" y="2797487"/>
                    <a:pt x="2689279" y="2729039"/>
                  </a:cubicBezTo>
                  <a:cubicBezTo>
                    <a:pt x="2689279" y="2729039"/>
                    <a:pt x="2689279" y="2729039"/>
                    <a:pt x="2708654" y="2740764"/>
                  </a:cubicBezTo>
                  <a:cubicBezTo>
                    <a:pt x="2708654" y="2740764"/>
                    <a:pt x="2708654" y="2740764"/>
                    <a:pt x="2721676" y="2718581"/>
                  </a:cubicBezTo>
                  <a:lnTo>
                    <a:pt x="2629249" y="2665028"/>
                  </a:lnTo>
                  <a:cubicBezTo>
                    <a:pt x="2629249" y="2665028"/>
                    <a:pt x="2629249" y="2665028"/>
                    <a:pt x="2610827" y="2692914"/>
                  </a:cubicBezTo>
                  <a:cubicBezTo>
                    <a:pt x="2610827" y="2692914"/>
                    <a:pt x="2610827" y="2692914"/>
                    <a:pt x="2553020" y="2661542"/>
                  </a:cubicBezTo>
                  <a:close/>
                  <a:moveTo>
                    <a:pt x="342711" y="2660274"/>
                  </a:moveTo>
                  <a:cubicBezTo>
                    <a:pt x="342711" y="2660274"/>
                    <a:pt x="342711" y="2660274"/>
                    <a:pt x="417987" y="2716680"/>
                  </a:cubicBezTo>
                  <a:cubicBezTo>
                    <a:pt x="417987" y="2716680"/>
                    <a:pt x="417987" y="2716680"/>
                    <a:pt x="425927" y="2704005"/>
                  </a:cubicBezTo>
                  <a:cubicBezTo>
                    <a:pt x="425927" y="2704005"/>
                    <a:pt x="425927" y="2704005"/>
                    <a:pt x="453560" y="2723018"/>
                  </a:cubicBezTo>
                  <a:cubicBezTo>
                    <a:pt x="453560" y="2723018"/>
                    <a:pt x="453560" y="2723018"/>
                    <a:pt x="432915" y="2756608"/>
                  </a:cubicBezTo>
                  <a:cubicBezTo>
                    <a:pt x="432915" y="2756608"/>
                    <a:pt x="432915" y="2756608"/>
                    <a:pt x="330641" y="2679921"/>
                  </a:cubicBezTo>
                  <a:close/>
                  <a:moveTo>
                    <a:pt x="2004810" y="2659323"/>
                  </a:moveTo>
                  <a:cubicBezTo>
                    <a:pt x="2004810" y="2659323"/>
                    <a:pt x="2004810" y="2659323"/>
                    <a:pt x="1989247" y="2701786"/>
                  </a:cubicBezTo>
                  <a:cubicBezTo>
                    <a:pt x="1989247" y="2701786"/>
                    <a:pt x="1989247" y="2701786"/>
                    <a:pt x="2031808" y="2702420"/>
                  </a:cubicBezTo>
                  <a:lnTo>
                    <a:pt x="2042289" y="2673583"/>
                  </a:lnTo>
                  <a:cubicBezTo>
                    <a:pt x="2042289" y="2673583"/>
                    <a:pt x="2042289" y="2673583"/>
                    <a:pt x="2004810" y="2659323"/>
                  </a:cubicBezTo>
                  <a:close/>
                  <a:moveTo>
                    <a:pt x="818186" y="2659323"/>
                  </a:moveTo>
                  <a:cubicBezTo>
                    <a:pt x="818186" y="2659323"/>
                    <a:pt x="818186" y="2659323"/>
                    <a:pt x="790236" y="2670415"/>
                  </a:cubicBezTo>
                  <a:cubicBezTo>
                    <a:pt x="790236" y="2670415"/>
                    <a:pt x="790236" y="2670415"/>
                    <a:pt x="817551" y="2732525"/>
                  </a:cubicBezTo>
                  <a:cubicBezTo>
                    <a:pt x="817551" y="2732525"/>
                    <a:pt x="817551" y="2732525"/>
                    <a:pt x="835338" y="2727771"/>
                  </a:cubicBezTo>
                  <a:cubicBezTo>
                    <a:pt x="835338" y="2727771"/>
                    <a:pt x="835338" y="2727771"/>
                    <a:pt x="839149" y="2693548"/>
                  </a:cubicBezTo>
                  <a:cubicBezTo>
                    <a:pt x="839149" y="2693548"/>
                    <a:pt x="839149" y="2693548"/>
                    <a:pt x="840102" y="2684358"/>
                  </a:cubicBezTo>
                  <a:cubicBezTo>
                    <a:pt x="840102" y="2684358"/>
                    <a:pt x="840102" y="2684358"/>
                    <a:pt x="846454" y="2690695"/>
                  </a:cubicBezTo>
                  <a:cubicBezTo>
                    <a:pt x="846454" y="2690695"/>
                    <a:pt x="846454" y="2690695"/>
                    <a:pt x="875040" y="2718581"/>
                  </a:cubicBezTo>
                  <a:cubicBezTo>
                    <a:pt x="875040" y="2718581"/>
                    <a:pt x="875040" y="2718581"/>
                    <a:pt x="878852" y="2717948"/>
                  </a:cubicBezTo>
                  <a:close/>
                  <a:moveTo>
                    <a:pt x="571397" y="2658056"/>
                  </a:moveTo>
                  <a:cubicBezTo>
                    <a:pt x="559327" y="2659323"/>
                    <a:pt x="558374" y="2669147"/>
                    <a:pt x="556468" y="2675168"/>
                  </a:cubicBezTo>
                  <a:cubicBezTo>
                    <a:pt x="553927" y="2681822"/>
                    <a:pt x="541858" y="2685942"/>
                    <a:pt x="538364" y="2690062"/>
                  </a:cubicBezTo>
                  <a:cubicBezTo>
                    <a:pt x="535506" y="2693548"/>
                    <a:pt x="532965" y="2696716"/>
                    <a:pt x="533282" y="2698935"/>
                  </a:cubicBezTo>
                  <a:cubicBezTo>
                    <a:pt x="533282" y="2699885"/>
                    <a:pt x="533600" y="2700836"/>
                    <a:pt x="534553" y="2702103"/>
                  </a:cubicBezTo>
                  <a:cubicBezTo>
                    <a:pt x="537411" y="2705272"/>
                    <a:pt x="540587" y="2710659"/>
                    <a:pt x="540587" y="2716363"/>
                  </a:cubicBezTo>
                  <a:cubicBezTo>
                    <a:pt x="540587" y="2717948"/>
                    <a:pt x="540270" y="2719849"/>
                    <a:pt x="539317" y="2721433"/>
                  </a:cubicBezTo>
                  <a:cubicBezTo>
                    <a:pt x="535823" y="2728405"/>
                    <a:pt x="528518" y="2730306"/>
                    <a:pt x="524389" y="2741080"/>
                  </a:cubicBezTo>
                  <a:cubicBezTo>
                    <a:pt x="522166" y="2746468"/>
                    <a:pt x="520578" y="2753439"/>
                    <a:pt x="520578" y="2759143"/>
                  </a:cubicBezTo>
                  <a:cubicBezTo>
                    <a:pt x="520578" y="2764847"/>
                    <a:pt x="522166" y="2768650"/>
                    <a:pt x="525024" y="2769917"/>
                  </a:cubicBezTo>
                  <a:cubicBezTo>
                    <a:pt x="526930" y="2768650"/>
                    <a:pt x="533282" y="2763580"/>
                    <a:pt x="536141" y="2756608"/>
                  </a:cubicBezTo>
                  <a:cubicBezTo>
                    <a:pt x="539635" y="2747735"/>
                    <a:pt x="544081" y="2743933"/>
                    <a:pt x="551704" y="2741397"/>
                  </a:cubicBezTo>
                  <a:cubicBezTo>
                    <a:pt x="559327" y="2738862"/>
                    <a:pt x="574255" y="2737912"/>
                    <a:pt x="587913" y="2730623"/>
                  </a:cubicBezTo>
                  <a:cubicBezTo>
                    <a:pt x="596806" y="2726187"/>
                    <a:pt x="600617" y="2721750"/>
                    <a:pt x="600617" y="2719215"/>
                  </a:cubicBezTo>
                  <a:cubicBezTo>
                    <a:pt x="600617" y="2717948"/>
                    <a:pt x="599665" y="2716363"/>
                    <a:pt x="596806" y="2714779"/>
                  </a:cubicBezTo>
                  <a:cubicBezTo>
                    <a:pt x="589183" y="2710659"/>
                    <a:pt x="571397" y="2711927"/>
                    <a:pt x="565044" y="2709709"/>
                  </a:cubicBezTo>
                  <a:cubicBezTo>
                    <a:pt x="560597" y="2707808"/>
                    <a:pt x="556468" y="2702737"/>
                    <a:pt x="556468" y="2697350"/>
                  </a:cubicBezTo>
                  <a:cubicBezTo>
                    <a:pt x="556468" y="2694815"/>
                    <a:pt x="557421" y="2692280"/>
                    <a:pt x="559962" y="2690378"/>
                  </a:cubicBezTo>
                  <a:cubicBezTo>
                    <a:pt x="567585" y="2685625"/>
                    <a:pt x="582513" y="2684991"/>
                    <a:pt x="582513" y="2680872"/>
                  </a:cubicBezTo>
                  <a:cubicBezTo>
                    <a:pt x="582831" y="2679921"/>
                    <a:pt x="583148" y="2678337"/>
                    <a:pt x="583148" y="2676118"/>
                  </a:cubicBezTo>
                  <a:cubicBezTo>
                    <a:pt x="583148" y="2672633"/>
                    <a:pt x="582513" y="2667879"/>
                    <a:pt x="580607" y="2664077"/>
                  </a:cubicBezTo>
                  <a:cubicBezTo>
                    <a:pt x="579019" y="2660591"/>
                    <a:pt x="576478" y="2658056"/>
                    <a:pt x="572349" y="2658056"/>
                  </a:cubicBezTo>
                  <a:cubicBezTo>
                    <a:pt x="572032" y="2658056"/>
                    <a:pt x="571714" y="2658056"/>
                    <a:pt x="571397" y="2658056"/>
                  </a:cubicBezTo>
                  <a:close/>
                  <a:moveTo>
                    <a:pt x="424021" y="2657422"/>
                  </a:moveTo>
                  <a:lnTo>
                    <a:pt x="390989" y="2678020"/>
                  </a:lnTo>
                  <a:cubicBezTo>
                    <a:pt x="390989" y="2678020"/>
                    <a:pt x="390989" y="2678020"/>
                    <a:pt x="410364" y="2691963"/>
                  </a:cubicBezTo>
                  <a:cubicBezTo>
                    <a:pt x="410364" y="2691963"/>
                    <a:pt x="410364" y="2691963"/>
                    <a:pt x="424974" y="2682773"/>
                  </a:cubicBezTo>
                  <a:cubicBezTo>
                    <a:pt x="424974" y="2682773"/>
                    <a:pt x="424974" y="2682773"/>
                    <a:pt x="427515" y="2681189"/>
                  </a:cubicBezTo>
                  <a:cubicBezTo>
                    <a:pt x="427515" y="2681189"/>
                    <a:pt x="427515" y="2681189"/>
                    <a:pt x="430056" y="2683090"/>
                  </a:cubicBezTo>
                  <a:cubicBezTo>
                    <a:pt x="430056" y="2683090"/>
                    <a:pt x="430056" y="2683090"/>
                    <a:pt x="458324" y="2703371"/>
                  </a:cubicBezTo>
                  <a:cubicBezTo>
                    <a:pt x="458324" y="2703371"/>
                    <a:pt x="458324" y="2703371"/>
                    <a:pt x="466900" y="2689428"/>
                  </a:cubicBezTo>
                  <a:cubicBezTo>
                    <a:pt x="466900" y="2689428"/>
                    <a:pt x="466900" y="2689428"/>
                    <a:pt x="424021" y="2657422"/>
                  </a:cubicBezTo>
                  <a:close/>
                  <a:moveTo>
                    <a:pt x="571079" y="2655521"/>
                  </a:moveTo>
                  <a:cubicBezTo>
                    <a:pt x="571714" y="2655521"/>
                    <a:pt x="572032" y="2655521"/>
                    <a:pt x="572349" y="2655521"/>
                  </a:cubicBezTo>
                  <a:cubicBezTo>
                    <a:pt x="583148" y="2655838"/>
                    <a:pt x="585689" y="2668513"/>
                    <a:pt x="585689" y="2676118"/>
                  </a:cubicBezTo>
                  <a:cubicBezTo>
                    <a:pt x="585689" y="2678337"/>
                    <a:pt x="585372" y="2680238"/>
                    <a:pt x="585054" y="2681506"/>
                  </a:cubicBezTo>
                  <a:cubicBezTo>
                    <a:pt x="582831" y="2688794"/>
                    <a:pt x="567903" y="2687843"/>
                    <a:pt x="561550" y="2692597"/>
                  </a:cubicBezTo>
                  <a:cubicBezTo>
                    <a:pt x="559645" y="2693864"/>
                    <a:pt x="559009" y="2695449"/>
                    <a:pt x="559009" y="2697350"/>
                  </a:cubicBezTo>
                  <a:cubicBezTo>
                    <a:pt x="559009" y="2701153"/>
                    <a:pt x="562821" y="2705906"/>
                    <a:pt x="565997" y="2707173"/>
                  </a:cubicBezTo>
                  <a:cubicBezTo>
                    <a:pt x="571079" y="2709392"/>
                    <a:pt x="589183" y="2707808"/>
                    <a:pt x="597759" y="2712561"/>
                  </a:cubicBezTo>
                  <a:cubicBezTo>
                    <a:pt x="601253" y="2714145"/>
                    <a:pt x="603158" y="2716363"/>
                    <a:pt x="603158" y="2719215"/>
                  </a:cubicBezTo>
                  <a:cubicBezTo>
                    <a:pt x="602841" y="2723969"/>
                    <a:pt x="598076" y="2728088"/>
                    <a:pt x="589183" y="2732841"/>
                  </a:cubicBezTo>
                  <a:cubicBezTo>
                    <a:pt x="575208" y="2740447"/>
                    <a:pt x="559645" y="2741397"/>
                    <a:pt x="552657" y="2743933"/>
                  </a:cubicBezTo>
                  <a:cubicBezTo>
                    <a:pt x="545352" y="2746468"/>
                    <a:pt x="542176" y="2749003"/>
                    <a:pt x="538682" y="2757559"/>
                  </a:cubicBezTo>
                  <a:cubicBezTo>
                    <a:pt x="534870" y="2766432"/>
                    <a:pt x="525977" y="2772135"/>
                    <a:pt x="525977" y="2772453"/>
                  </a:cubicBezTo>
                  <a:cubicBezTo>
                    <a:pt x="525977" y="2772453"/>
                    <a:pt x="525977" y="2772453"/>
                    <a:pt x="525342" y="2772769"/>
                  </a:cubicBezTo>
                  <a:cubicBezTo>
                    <a:pt x="525342" y="2772769"/>
                    <a:pt x="525342" y="2772769"/>
                    <a:pt x="525024" y="2772453"/>
                  </a:cubicBezTo>
                  <a:cubicBezTo>
                    <a:pt x="519625" y="2771185"/>
                    <a:pt x="518037" y="2765481"/>
                    <a:pt x="518037" y="2759143"/>
                  </a:cubicBezTo>
                  <a:cubicBezTo>
                    <a:pt x="518037" y="2753122"/>
                    <a:pt x="519625" y="2745834"/>
                    <a:pt x="521848" y="2740130"/>
                  </a:cubicBezTo>
                  <a:cubicBezTo>
                    <a:pt x="526295" y="2728405"/>
                    <a:pt x="534553" y="2725870"/>
                    <a:pt x="537094" y="2720483"/>
                  </a:cubicBezTo>
                  <a:cubicBezTo>
                    <a:pt x="537729" y="2719215"/>
                    <a:pt x="538047" y="2717631"/>
                    <a:pt x="538047" y="2716363"/>
                  </a:cubicBezTo>
                  <a:cubicBezTo>
                    <a:pt x="538047" y="2711927"/>
                    <a:pt x="535188" y="2706857"/>
                    <a:pt x="532647" y="2703688"/>
                  </a:cubicBezTo>
                  <a:cubicBezTo>
                    <a:pt x="531377" y="2702103"/>
                    <a:pt x="530424" y="2700519"/>
                    <a:pt x="530741" y="2698935"/>
                  </a:cubicBezTo>
                  <a:cubicBezTo>
                    <a:pt x="530741" y="2695132"/>
                    <a:pt x="533600" y="2691963"/>
                    <a:pt x="536458" y="2688477"/>
                  </a:cubicBezTo>
                  <a:cubicBezTo>
                    <a:pt x="540905" y="2683407"/>
                    <a:pt x="552975" y="2678970"/>
                    <a:pt x="553927" y="2674217"/>
                  </a:cubicBezTo>
                  <a:cubicBezTo>
                    <a:pt x="555516" y="2669147"/>
                    <a:pt x="557104" y="2657105"/>
                    <a:pt x="571079" y="2655521"/>
                  </a:cubicBezTo>
                  <a:close/>
                  <a:moveTo>
                    <a:pt x="2551432" y="2655204"/>
                  </a:moveTo>
                  <a:cubicBezTo>
                    <a:pt x="2551432" y="2655204"/>
                    <a:pt x="2551432" y="2655204"/>
                    <a:pt x="2553338" y="2656155"/>
                  </a:cubicBezTo>
                  <a:cubicBezTo>
                    <a:pt x="2553338" y="2656155"/>
                    <a:pt x="2553338" y="2656155"/>
                    <a:pt x="2609239" y="2686576"/>
                  </a:cubicBezTo>
                  <a:lnTo>
                    <a:pt x="2627978" y="2658690"/>
                  </a:lnTo>
                  <a:cubicBezTo>
                    <a:pt x="2627978" y="2658690"/>
                    <a:pt x="2627978" y="2658690"/>
                    <a:pt x="2728028" y="2716997"/>
                  </a:cubicBezTo>
                  <a:cubicBezTo>
                    <a:pt x="2728028" y="2716997"/>
                    <a:pt x="2728028" y="2716997"/>
                    <a:pt x="2710242" y="2747101"/>
                  </a:cubicBezTo>
                  <a:cubicBezTo>
                    <a:pt x="2710242" y="2747101"/>
                    <a:pt x="2710242" y="2747101"/>
                    <a:pt x="2690867" y="2735693"/>
                  </a:cubicBezTo>
                  <a:cubicBezTo>
                    <a:pt x="2690867" y="2735693"/>
                    <a:pt x="2690867" y="2735693"/>
                    <a:pt x="2658787" y="2795902"/>
                  </a:cubicBezTo>
                  <a:cubicBezTo>
                    <a:pt x="2658787" y="2795902"/>
                    <a:pt x="2658787" y="2795902"/>
                    <a:pt x="2675939" y="2806993"/>
                  </a:cubicBezTo>
                  <a:cubicBezTo>
                    <a:pt x="2675939" y="2806993"/>
                    <a:pt x="2675939" y="2806993"/>
                    <a:pt x="2643542" y="2864350"/>
                  </a:cubicBezTo>
                  <a:cubicBezTo>
                    <a:pt x="2643542" y="2864350"/>
                    <a:pt x="2643542" y="2864350"/>
                    <a:pt x="2605427" y="2843435"/>
                  </a:cubicBezTo>
                  <a:cubicBezTo>
                    <a:pt x="2605427" y="2843435"/>
                    <a:pt x="2605427" y="2843435"/>
                    <a:pt x="2647988" y="2769284"/>
                  </a:cubicBezTo>
                  <a:cubicBezTo>
                    <a:pt x="2647988" y="2769284"/>
                    <a:pt x="2647988" y="2769284"/>
                    <a:pt x="2609239" y="2746784"/>
                  </a:cubicBezTo>
                  <a:cubicBezTo>
                    <a:pt x="2609239" y="2746784"/>
                    <a:pt x="2609239" y="2746784"/>
                    <a:pt x="2566360" y="2820620"/>
                  </a:cubicBezTo>
                  <a:cubicBezTo>
                    <a:pt x="2566360" y="2820620"/>
                    <a:pt x="2566360" y="2820620"/>
                    <a:pt x="2541586" y="2805726"/>
                  </a:cubicBezTo>
                  <a:cubicBezTo>
                    <a:pt x="2541586" y="2805726"/>
                    <a:pt x="2541586" y="2805726"/>
                    <a:pt x="2592722" y="2718898"/>
                  </a:cubicBezTo>
                  <a:cubicBezTo>
                    <a:pt x="2592722" y="2718898"/>
                    <a:pt x="2592722" y="2718898"/>
                    <a:pt x="2573348" y="2707808"/>
                  </a:cubicBezTo>
                  <a:cubicBezTo>
                    <a:pt x="2573348" y="2707808"/>
                    <a:pt x="2573348" y="2707808"/>
                    <a:pt x="2547621" y="2751221"/>
                  </a:cubicBezTo>
                  <a:cubicBezTo>
                    <a:pt x="2547621" y="2751221"/>
                    <a:pt x="2547621" y="2751221"/>
                    <a:pt x="2526658" y="2739179"/>
                  </a:cubicBezTo>
                  <a:cubicBezTo>
                    <a:pt x="2526658" y="2739179"/>
                    <a:pt x="2526658" y="2739179"/>
                    <a:pt x="2551432" y="2693548"/>
                  </a:cubicBezTo>
                  <a:cubicBezTo>
                    <a:pt x="2551432" y="2693548"/>
                    <a:pt x="2551432" y="2693548"/>
                    <a:pt x="2533010" y="2683724"/>
                  </a:cubicBezTo>
                  <a:cubicBezTo>
                    <a:pt x="2533010" y="2683724"/>
                    <a:pt x="2533010" y="2683724"/>
                    <a:pt x="2551432" y="2655204"/>
                  </a:cubicBezTo>
                  <a:close/>
                  <a:moveTo>
                    <a:pt x="2443442" y="2654253"/>
                  </a:moveTo>
                  <a:cubicBezTo>
                    <a:pt x="2443442" y="2654253"/>
                    <a:pt x="2443442" y="2654253"/>
                    <a:pt x="2418668" y="2703371"/>
                  </a:cubicBezTo>
                  <a:lnTo>
                    <a:pt x="2454558" y="2721117"/>
                  </a:lnTo>
                  <a:cubicBezTo>
                    <a:pt x="2454558" y="2721117"/>
                    <a:pt x="2454558" y="2721117"/>
                    <a:pt x="2479968" y="2671048"/>
                  </a:cubicBezTo>
                  <a:cubicBezTo>
                    <a:pt x="2479968" y="2671048"/>
                    <a:pt x="2479968" y="2671048"/>
                    <a:pt x="2443442" y="2654253"/>
                  </a:cubicBezTo>
                  <a:close/>
                  <a:moveTo>
                    <a:pt x="254731" y="2652986"/>
                  </a:moveTo>
                  <a:cubicBezTo>
                    <a:pt x="254731" y="2652986"/>
                    <a:pt x="254731" y="2652986"/>
                    <a:pt x="237579" y="2663126"/>
                  </a:cubicBezTo>
                  <a:cubicBezTo>
                    <a:pt x="237579" y="2663126"/>
                    <a:pt x="237579" y="2663126"/>
                    <a:pt x="270611" y="2703054"/>
                  </a:cubicBezTo>
                  <a:cubicBezTo>
                    <a:pt x="270611" y="2703054"/>
                    <a:pt x="270611" y="2703054"/>
                    <a:pt x="283951" y="2702103"/>
                  </a:cubicBezTo>
                  <a:cubicBezTo>
                    <a:pt x="283951" y="2702103"/>
                    <a:pt x="283951" y="2702103"/>
                    <a:pt x="291257" y="2688477"/>
                  </a:cubicBezTo>
                  <a:close/>
                  <a:moveTo>
                    <a:pt x="424339" y="2652352"/>
                  </a:moveTo>
                  <a:cubicBezTo>
                    <a:pt x="424339" y="2652352"/>
                    <a:pt x="424339" y="2652352"/>
                    <a:pt x="472617" y="2688160"/>
                  </a:cubicBezTo>
                  <a:cubicBezTo>
                    <a:pt x="472617" y="2688160"/>
                    <a:pt x="472617" y="2688160"/>
                    <a:pt x="459912" y="2709709"/>
                  </a:cubicBezTo>
                  <a:cubicBezTo>
                    <a:pt x="459912" y="2709709"/>
                    <a:pt x="459912" y="2709709"/>
                    <a:pt x="427515" y="2686576"/>
                  </a:cubicBezTo>
                  <a:lnTo>
                    <a:pt x="410364" y="2697350"/>
                  </a:lnTo>
                  <a:cubicBezTo>
                    <a:pt x="410364" y="2697350"/>
                    <a:pt x="410364" y="2697350"/>
                    <a:pt x="383049" y="2678020"/>
                  </a:cubicBezTo>
                  <a:cubicBezTo>
                    <a:pt x="383049" y="2678020"/>
                    <a:pt x="383049" y="2678020"/>
                    <a:pt x="424339" y="2652352"/>
                  </a:cubicBezTo>
                  <a:close/>
                  <a:moveTo>
                    <a:pt x="825809" y="2652035"/>
                  </a:moveTo>
                  <a:cubicBezTo>
                    <a:pt x="824539" y="2652352"/>
                    <a:pt x="821998" y="2653303"/>
                    <a:pt x="819457" y="2654253"/>
                  </a:cubicBezTo>
                  <a:cubicBezTo>
                    <a:pt x="819457" y="2654253"/>
                    <a:pt x="819457" y="2654253"/>
                    <a:pt x="888062" y="2720483"/>
                  </a:cubicBezTo>
                  <a:cubicBezTo>
                    <a:pt x="888062" y="2720483"/>
                    <a:pt x="888062" y="2720483"/>
                    <a:pt x="873770" y="2723652"/>
                  </a:cubicBezTo>
                  <a:cubicBezTo>
                    <a:pt x="873770" y="2723652"/>
                    <a:pt x="873770" y="2723652"/>
                    <a:pt x="843278" y="2693864"/>
                  </a:cubicBezTo>
                  <a:cubicBezTo>
                    <a:pt x="843278" y="2693864"/>
                    <a:pt x="843278" y="2693864"/>
                    <a:pt x="839467" y="2731257"/>
                  </a:cubicBezTo>
                  <a:cubicBezTo>
                    <a:pt x="839467" y="2731257"/>
                    <a:pt x="839467" y="2731257"/>
                    <a:pt x="815010" y="2737912"/>
                  </a:cubicBezTo>
                  <a:cubicBezTo>
                    <a:pt x="815010" y="2737912"/>
                    <a:pt x="815010" y="2737912"/>
                    <a:pt x="784519" y="2667879"/>
                  </a:cubicBezTo>
                  <a:cubicBezTo>
                    <a:pt x="784519" y="2667879"/>
                    <a:pt x="784519" y="2667879"/>
                    <a:pt x="818504" y="2654570"/>
                  </a:cubicBezTo>
                  <a:cubicBezTo>
                    <a:pt x="813422" y="2656471"/>
                    <a:pt x="807070" y="2658690"/>
                    <a:pt x="800717" y="2661225"/>
                  </a:cubicBezTo>
                  <a:cubicBezTo>
                    <a:pt x="794047" y="2663760"/>
                    <a:pt x="787377" y="2666295"/>
                    <a:pt x="782295" y="2668196"/>
                  </a:cubicBezTo>
                  <a:cubicBezTo>
                    <a:pt x="779754" y="2669147"/>
                    <a:pt x="777849" y="2670098"/>
                    <a:pt x="776261" y="2670731"/>
                  </a:cubicBezTo>
                  <a:cubicBezTo>
                    <a:pt x="776261" y="2670731"/>
                    <a:pt x="775943" y="2670731"/>
                    <a:pt x="775943" y="2670731"/>
                  </a:cubicBezTo>
                  <a:cubicBezTo>
                    <a:pt x="775943" y="2670731"/>
                    <a:pt x="775943" y="2670731"/>
                    <a:pt x="808340" y="2738545"/>
                  </a:cubicBezTo>
                  <a:cubicBezTo>
                    <a:pt x="808340" y="2738545"/>
                    <a:pt x="808340" y="2738545"/>
                    <a:pt x="808975" y="2738228"/>
                  </a:cubicBezTo>
                  <a:lnTo>
                    <a:pt x="827080" y="2776255"/>
                  </a:lnTo>
                  <a:cubicBezTo>
                    <a:pt x="852807" y="2762946"/>
                    <a:pt x="880122" y="2748369"/>
                    <a:pt x="907755" y="2733475"/>
                  </a:cubicBezTo>
                  <a:cubicBezTo>
                    <a:pt x="907755" y="2733475"/>
                    <a:pt x="907755" y="2733475"/>
                    <a:pt x="825809" y="2652035"/>
                  </a:cubicBezTo>
                  <a:close/>
                  <a:moveTo>
                    <a:pt x="2241118" y="2647282"/>
                  </a:moveTo>
                  <a:cubicBezTo>
                    <a:pt x="2241118" y="2647282"/>
                    <a:pt x="2241118" y="2647282"/>
                    <a:pt x="2222696" y="2701153"/>
                  </a:cubicBezTo>
                  <a:cubicBezTo>
                    <a:pt x="2252553" y="2706857"/>
                    <a:pt x="2284950" y="2712877"/>
                    <a:pt x="2301148" y="2716046"/>
                  </a:cubicBezTo>
                  <a:cubicBezTo>
                    <a:pt x="2301148" y="2716046"/>
                    <a:pt x="2301148" y="2716046"/>
                    <a:pt x="2318300" y="2662492"/>
                  </a:cubicBezTo>
                  <a:close/>
                  <a:moveTo>
                    <a:pt x="255366" y="2647282"/>
                  </a:moveTo>
                  <a:cubicBezTo>
                    <a:pt x="255366" y="2647282"/>
                    <a:pt x="255366" y="2647282"/>
                    <a:pt x="296974" y="2687526"/>
                  </a:cubicBezTo>
                  <a:cubicBezTo>
                    <a:pt x="296974" y="2687526"/>
                    <a:pt x="296974" y="2687526"/>
                    <a:pt x="296021" y="2689111"/>
                  </a:cubicBezTo>
                  <a:cubicBezTo>
                    <a:pt x="296021" y="2689111"/>
                    <a:pt x="296021" y="2689111"/>
                    <a:pt x="286810" y="2706540"/>
                  </a:cubicBezTo>
                  <a:cubicBezTo>
                    <a:pt x="286810" y="2706540"/>
                    <a:pt x="286810" y="2706540"/>
                    <a:pt x="268706" y="2707808"/>
                  </a:cubicBezTo>
                  <a:lnTo>
                    <a:pt x="230274" y="2661859"/>
                  </a:lnTo>
                  <a:cubicBezTo>
                    <a:pt x="230274" y="2661859"/>
                    <a:pt x="230274" y="2661859"/>
                    <a:pt x="255366" y="2647282"/>
                  </a:cubicBezTo>
                  <a:close/>
                  <a:moveTo>
                    <a:pt x="1366079" y="2645381"/>
                  </a:moveTo>
                  <a:cubicBezTo>
                    <a:pt x="1366079" y="2645381"/>
                    <a:pt x="1366079" y="2645381"/>
                    <a:pt x="1320024" y="2655521"/>
                  </a:cubicBezTo>
                  <a:cubicBezTo>
                    <a:pt x="1320024" y="2655521"/>
                    <a:pt x="1320024" y="2655521"/>
                    <a:pt x="1325106" y="2672633"/>
                  </a:cubicBezTo>
                  <a:cubicBezTo>
                    <a:pt x="1325106" y="2672633"/>
                    <a:pt x="1325106" y="2672633"/>
                    <a:pt x="1309543" y="2676752"/>
                  </a:cubicBezTo>
                  <a:cubicBezTo>
                    <a:pt x="1309543" y="2676752"/>
                    <a:pt x="1309543" y="2676752"/>
                    <a:pt x="1276193" y="2667879"/>
                  </a:cubicBezTo>
                  <a:cubicBezTo>
                    <a:pt x="1276193" y="2667879"/>
                    <a:pt x="1276193" y="2667879"/>
                    <a:pt x="1241255" y="2681189"/>
                  </a:cubicBezTo>
                  <a:cubicBezTo>
                    <a:pt x="1241255" y="2681189"/>
                    <a:pt x="1241255" y="2681189"/>
                    <a:pt x="1267617" y="2745517"/>
                  </a:cubicBezTo>
                  <a:cubicBezTo>
                    <a:pt x="1267617" y="2745517"/>
                    <a:pt x="1267617" y="2745517"/>
                    <a:pt x="1293979" y="2751538"/>
                  </a:cubicBezTo>
                  <a:lnTo>
                    <a:pt x="1299379" y="2764213"/>
                  </a:lnTo>
                  <a:cubicBezTo>
                    <a:pt x="1299379" y="2764213"/>
                    <a:pt x="1299379" y="2764213"/>
                    <a:pt x="1281592" y="2774354"/>
                  </a:cubicBezTo>
                  <a:cubicBezTo>
                    <a:pt x="1281592" y="2774354"/>
                    <a:pt x="1281592" y="2774354"/>
                    <a:pt x="1301920" y="2817134"/>
                  </a:cubicBezTo>
                  <a:cubicBezTo>
                    <a:pt x="1301920" y="2817134"/>
                    <a:pt x="1301920" y="2817134"/>
                    <a:pt x="1397523" y="2756925"/>
                  </a:cubicBezTo>
                  <a:cubicBezTo>
                    <a:pt x="1397523" y="2756925"/>
                    <a:pt x="1397523" y="2756925"/>
                    <a:pt x="1394029" y="2744883"/>
                  </a:cubicBezTo>
                  <a:cubicBezTo>
                    <a:pt x="1394029" y="2744883"/>
                    <a:pt x="1394029" y="2744883"/>
                    <a:pt x="1379736" y="2745200"/>
                  </a:cubicBezTo>
                  <a:cubicBezTo>
                    <a:pt x="1379736" y="2745200"/>
                    <a:pt x="1379736" y="2745200"/>
                    <a:pt x="1372431" y="2678337"/>
                  </a:cubicBezTo>
                  <a:cubicBezTo>
                    <a:pt x="1372431" y="2678337"/>
                    <a:pt x="1372431" y="2678337"/>
                    <a:pt x="1366079" y="2645381"/>
                  </a:cubicBezTo>
                  <a:close/>
                  <a:moveTo>
                    <a:pt x="1191388" y="2644747"/>
                  </a:moveTo>
                  <a:cubicBezTo>
                    <a:pt x="1124371" y="2679288"/>
                    <a:pt x="923318" y="2790198"/>
                    <a:pt x="722901" y="2898257"/>
                  </a:cubicBezTo>
                  <a:cubicBezTo>
                    <a:pt x="459595" y="3039906"/>
                    <a:pt x="193748" y="3179970"/>
                    <a:pt x="193430" y="3179970"/>
                  </a:cubicBezTo>
                  <a:cubicBezTo>
                    <a:pt x="193430" y="3179970"/>
                    <a:pt x="193430" y="3179970"/>
                    <a:pt x="193430" y="3180287"/>
                  </a:cubicBezTo>
                  <a:cubicBezTo>
                    <a:pt x="193430" y="3180287"/>
                    <a:pt x="193430" y="3180287"/>
                    <a:pt x="193112" y="3180287"/>
                  </a:cubicBezTo>
                  <a:cubicBezTo>
                    <a:pt x="190889" y="3181872"/>
                    <a:pt x="190572" y="3181872"/>
                    <a:pt x="174373" y="3191061"/>
                  </a:cubicBezTo>
                  <a:cubicBezTo>
                    <a:pt x="180090" y="3198033"/>
                    <a:pt x="189301" y="3208490"/>
                    <a:pt x="200418" y="3221483"/>
                  </a:cubicBezTo>
                  <a:cubicBezTo>
                    <a:pt x="206770" y="3217363"/>
                    <a:pt x="211217" y="3214828"/>
                    <a:pt x="212487" y="3214194"/>
                  </a:cubicBezTo>
                  <a:cubicBezTo>
                    <a:pt x="216934" y="3211659"/>
                    <a:pt x="270929" y="3182505"/>
                    <a:pt x="351604" y="3139092"/>
                  </a:cubicBezTo>
                  <a:cubicBezTo>
                    <a:pt x="363039" y="3132754"/>
                    <a:pt x="375426" y="3126099"/>
                    <a:pt x="387813" y="3119445"/>
                  </a:cubicBezTo>
                  <a:cubicBezTo>
                    <a:pt x="387495" y="3119445"/>
                    <a:pt x="387495" y="3119445"/>
                    <a:pt x="387495" y="3119128"/>
                  </a:cubicBezTo>
                  <a:cubicBezTo>
                    <a:pt x="387178" y="3119128"/>
                    <a:pt x="387178" y="3118811"/>
                    <a:pt x="386860" y="3118811"/>
                  </a:cubicBezTo>
                  <a:cubicBezTo>
                    <a:pt x="386860" y="3118177"/>
                    <a:pt x="386542" y="3118811"/>
                    <a:pt x="386225" y="3116910"/>
                  </a:cubicBezTo>
                  <a:cubicBezTo>
                    <a:pt x="386225" y="3115959"/>
                    <a:pt x="386860" y="3114691"/>
                    <a:pt x="387495" y="3114691"/>
                  </a:cubicBezTo>
                  <a:cubicBezTo>
                    <a:pt x="387813" y="3114374"/>
                    <a:pt x="388130" y="3114374"/>
                    <a:pt x="388448" y="3114374"/>
                  </a:cubicBezTo>
                  <a:cubicBezTo>
                    <a:pt x="388766" y="3114058"/>
                    <a:pt x="388766" y="3114058"/>
                    <a:pt x="388766" y="3114058"/>
                  </a:cubicBezTo>
                  <a:cubicBezTo>
                    <a:pt x="389083" y="3114058"/>
                    <a:pt x="389401" y="3114374"/>
                    <a:pt x="389719" y="3114374"/>
                  </a:cubicBezTo>
                  <a:cubicBezTo>
                    <a:pt x="390036" y="3114374"/>
                    <a:pt x="390354" y="3114691"/>
                    <a:pt x="390354" y="3114691"/>
                  </a:cubicBezTo>
                  <a:cubicBezTo>
                    <a:pt x="390671" y="3114691"/>
                    <a:pt x="390671" y="3115008"/>
                    <a:pt x="390671" y="3115008"/>
                  </a:cubicBezTo>
                  <a:cubicBezTo>
                    <a:pt x="390671" y="3115008"/>
                    <a:pt x="390989" y="3115325"/>
                    <a:pt x="390989" y="3115325"/>
                  </a:cubicBezTo>
                  <a:cubicBezTo>
                    <a:pt x="390989" y="3115325"/>
                    <a:pt x="390989" y="3115642"/>
                    <a:pt x="390989" y="3115642"/>
                  </a:cubicBezTo>
                  <a:cubicBezTo>
                    <a:pt x="391307" y="3115959"/>
                    <a:pt x="391942" y="3116276"/>
                    <a:pt x="392577" y="3116910"/>
                  </a:cubicBezTo>
                  <a:cubicBezTo>
                    <a:pt x="469758" y="3075080"/>
                    <a:pt x="562503" y="3025329"/>
                    <a:pt x="661918" y="2971775"/>
                  </a:cubicBezTo>
                  <a:cubicBezTo>
                    <a:pt x="661918" y="2971775"/>
                    <a:pt x="661918" y="2971775"/>
                    <a:pt x="668905" y="2965120"/>
                  </a:cubicBezTo>
                  <a:cubicBezTo>
                    <a:pt x="668905" y="2965120"/>
                    <a:pt x="668905" y="2965120"/>
                    <a:pt x="669223" y="2965120"/>
                  </a:cubicBezTo>
                  <a:cubicBezTo>
                    <a:pt x="679705" y="2959416"/>
                    <a:pt x="690504" y="2953712"/>
                    <a:pt x="701303" y="2947692"/>
                  </a:cubicBezTo>
                  <a:cubicBezTo>
                    <a:pt x="701303" y="2947375"/>
                    <a:pt x="701303" y="2947058"/>
                    <a:pt x="701303" y="2947058"/>
                  </a:cubicBezTo>
                  <a:cubicBezTo>
                    <a:pt x="701303" y="2947058"/>
                    <a:pt x="701303" y="2947058"/>
                    <a:pt x="702573" y="2947058"/>
                  </a:cubicBezTo>
                  <a:cubicBezTo>
                    <a:pt x="723536" y="2935967"/>
                    <a:pt x="744499" y="2924559"/>
                    <a:pt x="765462" y="2913467"/>
                  </a:cubicBezTo>
                  <a:cubicBezTo>
                    <a:pt x="765462" y="2913467"/>
                    <a:pt x="765462" y="2913467"/>
                    <a:pt x="763874" y="2909665"/>
                  </a:cubicBezTo>
                  <a:cubicBezTo>
                    <a:pt x="763874" y="2909665"/>
                    <a:pt x="763874" y="2909665"/>
                    <a:pt x="768003" y="2908080"/>
                  </a:cubicBezTo>
                  <a:cubicBezTo>
                    <a:pt x="768003" y="2908080"/>
                    <a:pt x="768003" y="2908080"/>
                    <a:pt x="769273" y="2911249"/>
                  </a:cubicBezTo>
                  <a:cubicBezTo>
                    <a:pt x="791824" y="2899208"/>
                    <a:pt x="814375" y="2887166"/>
                    <a:pt x="836291" y="2875441"/>
                  </a:cubicBezTo>
                  <a:cubicBezTo>
                    <a:pt x="836291" y="2875441"/>
                    <a:pt x="836291" y="2875441"/>
                    <a:pt x="833750" y="2871955"/>
                  </a:cubicBezTo>
                  <a:cubicBezTo>
                    <a:pt x="833750" y="2871955"/>
                    <a:pt x="833750" y="2871955"/>
                    <a:pt x="837243" y="2869420"/>
                  </a:cubicBezTo>
                  <a:cubicBezTo>
                    <a:pt x="837243" y="2869420"/>
                    <a:pt x="837243" y="2869420"/>
                    <a:pt x="840420" y="2873223"/>
                  </a:cubicBezTo>
                  <a:cubicBezTo>
                    <a:pt x="887427" y="2848189"/>
                    <a:pt x="933164" y="2823788"/>
                    <a:pt x="975725" y="2801289"/>
                  </a:cubicBezTo>
                  <a:cubicBezTo>
                    <a:pt x="975725" y="2801289"/>
                    <a:pt x="975725" y="2801289"/>
                    <a:pt x="975408" y="2800655"/>
                  </a:cubicBezTo>
                  <a:cubicBezTo>
                    <a:pt x="975408" y="2800655"/>
                    <a:pt x="975408" y="2800655"/>
                    <a:pt x="979537" y="2798754"/>
                  </a:cubicBezTo>
                  <a:cubicBezTo>
                    <a:pt x="979537" y="2798754"/>
                    <a:pt x="979537" y="2798754"/>
                    <a:pt x="979854" y="2799388"/>
                  </a:cubicBezTo>
                  <a:cubicBezTo>
                    <a:pt x="1082445" y="2745200"/>
                    <a:pt x="1165979" y="2701469"/>
                    <a:pt x="1206317" y="2680872"/>
                  </a:cubicBezTo>
                  <a:cubicBezTo>
                    <a:pt x="1206317" y="2680872"/>
                    <a:pt x="1206317" y="2680872"/>
                    <a:pt x="1191388" y="2644747"/>
                  </a:cubicBezTo>
                  <a:close/>
                  <a:moveTo>
                    <a:pt x="1731658" y="2641261"/>
                  </a:moveTo>
                  <a:cubicBezTo>
                    <a:pt x="1731658" y="2641261"/>
                    <a:pt x="1731658" y="2641261"/>
                    <a:pt x="1729435" y="2655521"/>
                  </a:cubicBezTo>
                  <a:lnTo>
                    <a:pt x="1768502" y="2662492"/>
                  </a:lnTo>
                  <a:cubicBezTo>
                    <a:pt x="1768502" y="2662492"/>
                    <a:pt x="1768502" y="2662492"/>
                    <a:pt x="1771043" y="2647915"/>
                  </a:cubicBezTo>
                  <a:cubicBezTo>
                    <a:pt x="1771043" y="2647915"/>
                    <a:pt x="1771043" y="2647915"/>
                    <a:pt x="1731658" y="2641261"/>
                  </a:cubicBezTo>
                  <a:close/>
                  <a:moveTo>
                    <a:pt x="1369890" y="2639676"/>
                  </a:moveTo>
                  <a:cubicBezTo>
                    <a:pt x="1369890" y="2639676"/>
                    <a:pt x="1369890" y="2639676"/>
                    <a:pt x="1370208" y="2642211"/>
                  </a:cubicBezTo>
                  <a:cubicBezTo>
                    <a:pt x="1370208" y="2642211"/>
                    <a:pt x="1370208" y="2642211"/>
                    <a:pt x="1377195" y="2677703"/>
                  </a:cubicBezTo>
                  <a:cubicBezTo>
                    <a:pt x="1377195" y="2677703"/>
                    <a:pt x="1377195" y="2677703"/>
                    <a:pt x="1383865" y="2740447"/>
                  </a:cubicBezTo>
                  <a:cubicBezTo>
                    <a:pt x="1383865" y="2740447"/>
                    <a:pt x="1383865" y="2740447"/>
                    <a:pt x="1397523" y="2740130"/>
                  </a:cubicBezTo>
                  <a:cubicBezTo>
                    <a:pt x="1397523" y="2740130"/>
                    <a:pt x="1397523" y="2740130"/>
                    <a:pt x="1402923" y="2759143"/>
                  </a:cubicBezTo>
                  <a:cubicBezTo>
                    <a:pt x="1402923" y="2759143"/>
                    <a:pt x="1402923" y="2759143"/>
                    <a:pt x="1300014" y="2823788"/>
                  </a:cubicBezTo>
                  <a:lnTo>
                    <a:pt x="1275240" y="2772453"/>
                  </a:lnTo>
                  <a:cubicBezTo>
                    <a:pt x="1275240" y="2772453"/>
                    <a:pt x="1275240" y="2772453"/>
                    <a:pt x="1293344" y="2761995"/>
                  </a:cubicBezTo>
                  <a:cubicBezTo>
                    <a:pt x="1293344" y="2761995"/>
                    <a:pt x="1293344" y="2761995"/>
                    <a:pt x="1290486" y="2755657"/>
                  </a:cubicBezTo>
                  <a:cubicBezTo>
                    <a:pt x="1290486" y="2755657"/>
                    <a:pt x="1290486" y="2755657"/>
                    <a:pt x="1264441" y="2749320"/>
                  </a:cubicBezTo>
                  <a:cubicBezTo>
                    <a:pt x="1264441" y="2749320"/>
                    <a:pt x="1264441" y="2749320"/>
                    <a:pt x="1235220" y="2678654"/>
                  </a:cubicBezTo>
                  <a:cubicBezTo>
                    <a:pt x="1235220" y="2678654"/>
                    <a:pt x="1235220" y="2678654"/>
                    <a:pt x="1276193" y="2662809"/>
                  </a:cubicBezTo>
                  <a:cubicBezTo>
                    <a:pt x="1276193" y="2662809"/>
                    <a:pt x="1276193" y="2662809"/>
                    <a:pt x="1309543" y="2671682"/>
                  </a:cubicBezTo>
                  <a:cubicBezTo>
                    <a:pt x="1309543" y="2671682"/>
                    <a:pt x="1309543" y="2671682"/>
                    <a:pt x="1319389" y="2669147"/>
                  </a:cubicBezTo>
                  <a:cubicBezTo>
                    <a:pt x="1319389" y="2669147"/>
                    <a:pt x="1319389" y="2669147"/>
                    <a:pt x="1313989" y="2652035"/>
                  </a:cubicBezTo>
                  <a:cubicBezTo>
                    <a:pt x="1313989" y="2652035"/>
                    <a:pt x="1313989" y="2652035"/>
                    <a:pt x="1369890" y="2639676"/>
                  </a:cubicBezTo>
                  <a:close/>
                  <a:moveTo>
                    <a:pt x="2195382" y="2638409"/>
                  </a:moveTo>
                  <a:cubicBezTo>
                    <a:pt x="2195382" y="2638409"/>
                    <a:pt x="2195382" y="2638409"/>
                    <a:pt x="2176642" y="2692914"/>
                  </a:cubicBezTo>
                  <a:cubicBezTo>
                    <a:pt x="2187758" y="2694815"/>
                    <a:pt x="2202687" y="2697667"/>
                    <a:pt x="2218568" y="2700519"/>
                  </a:cubicBezTo>
                  <a:lnTo>
                    <a:pt x="2236990" y="2646331"/>
                  </a:lnTo>
                  <a:cubicBezTo>
                    <a:pt x="2236990" y="2646331"/>
                    <a:pt x="2236990" y="2646331"/>
                    <a:pt x="2195382" y="2638409"/>
                  </a:cubicBezTo>
                  <a:close/>
                  <a:moveTo>
                    <a:pt x="1664641" y="2638409"/>
                  </a:moveTo>
                  <a:lnTo>
                    <a:pt x="1664323" y="2677069"/>
                  </a:lnTo>
                  <a:cubicBezTo>
                    <a:pt x="1664323" y="2677069"/>
                    <a:pt x="1664323" y="2677069"/>
                    <a:pt x="1689415" y="2677386"/>
                  </a:cubicBezTo>
                  <a:cubicBezTo>
                    <a:pt x="1689415" y="2677386"/>
                    <a:pt x="1689415" y="2677386"/>
                    <a:pt x="1689732" y="2638726"/>
                  </a:cubicBezTo>
                  <a:cubicBezTo>
                    <a:pt x="1689732" y="2638726"/>
                    <a:pt x="1689732" y="2638726"/>
                    <a:pt x="1664641" y="2638409"/>
                  </a:cubicBezTo>
                  <a:close/>
                  <a:moveTo>
                    <a:pt x="2186488" y="2636508"/>
                  </a:moveTo>
                  <a:cubicBezTo>
                    <a:pt x="2180453" y="2653936"/>
                    <a:pt x="2174101" y="2672316"/>
                    <a:pt x="2167748" y="2691329"/>
                  </a:cubicBezTo>
                  <a:cubicBezTo>
                    <a:pt x="2169337" y="2691646"/>
                    <a:pt x="2170925" y="2691646"/>
                    <a:pt x="2172513" y="2691963"/>
                  </a:cubicBezTo>
                  <a:cubicBezTo>
                    <a:pt x="2172513" y="2691963"/>
                    <a:pt x="2172513" y="2691963"/>
                    <a:pt x="2191252" y="2637458"/>
                  </a:cubicBezTo>
                  <a:close/>
                  <a:moveTo>
                    <a:pt x="1728482" y="2636508"/>
                  </a:moveTo>
                  <a:cubicBezTo>
                    <a:pt x="1728482" y="2636508"/>
                    <a:pt x="1728482" y="2636508"/>
                    <a:pt x="1775807" y="2644747"/>
                  </a:cubicBezTo>
                  <a:cubicBezTo>
                    <a:pt x="1775807" y="2644747"/>
                    <a:pt x="1775807" y="2644747"/>
                    <a:pt x="1771996" y="2666929"/>
                  </a:cubicBezTo>
                  <a:lnTo>
                    <a:pt x="1769772" y="2666612"/>
                  </a:lnTo>
                  <a:cubicBezTo>
                    <a:pt x="1769772" y="2666612"/>
                    <a:pt x="1769772" y="2666612"/>
                    <a:pt x="1724670" y="2658690"/>
                  </a:cubicBezTo>
                  <a:cubicBezTo>
                    <a:pt x="1724670" y="2658690"/>
                    <a:pt x="1724670" y="2658690"/>
                    <a:pt x="1728482" y="2636508"/>
                  </a:cubicBezTo>
                  <a:close/>
                  <a:moveTo>
                    <a:pt x="1426109" y="2635874"/>
                  </a:moveTo>
                  <a:cubicBezTo>
                    <a:pt x="1426109" y="2635874"/>
                    <a:pt x="1426109" y="2635874"/>
                    <a:pt x="1401334" y="2638092"/>
                  </a:cubicBezTo>
                  <a:cubicBezTo>
                    <a:pt x="1401334" y="2638092"/>
                    <a:pt x="1401334" y="2638092"/>
                    <a:pt x="1404828" y="2676752"/>
                  </a:cubicBezTo>
                  <a:lnTo>
                    <a:pt x="1429920" y="2674217"/>
                  </a:lnTo>
                  <a:cubicBezTo>
                    <a:pt x="1429920" y="2674217"/>
                    <a:pt x="1429920" y="2674217"/>
                    <a:pt x="1426109" y="2635874"/>
                  </a:cubicBezTo>
                  <a:close/>
                  <a:moveTo>
                    <a:pt x="417987" y="2635874"/>
                  </a:moveTo>
                  <a:cubicBezTo>
                    <a:pt x="417987" y="2635874"/>
                    <a:pt x="417987" y="2635874"/>
                    <a:pt x="346522" y="2639993"/>
                  </a:cubicBezTo>
                  <a:cubicBezTo>
                    <a:pt x="346205" y="2641578"/>
                    <a:pt x="346205" y="2641261"/>
                    <a:pt x="345887" y="2641578"/>
                  </a:cubicBezTo>
                  <a:cubicBezTo>
                    <a:pt x="344299" y="2644747"/>
                    <a:pt x="330324" y="2666295"/>
                    <a:pt x="317619" y="2685625"/>
                  </a:cubicBezTo>
                  <a:cubicBezTo>
                    <a:pt x="323654" y="2690378"/>
                    <a:pt x="349699" y="2710026"/>
                    <a:pt x="375743" y="2729989"/>
                  </a:cubicBezTo>
                  <a:cubicBezTo>
                    <a:pt x="390671" y="2741397"/>
                    <a:pt x="405599" y="2752805"/>
                    <a:pt x="416716" y="2761361"/>
                  </a:cubicBezTo>
                  <a:cubicBezTo>
                    <a:pt x="421480" y="2764847"/>
                    <a:pt x="425609" y="2768016"/>
                    <a:pt x="433868" y="2774354"/>
                  </a:cubicBezTo>
                  <a:cubicBezTo>
                    <a:pt x="442126" y="2760411"/>
                    <a:pt x="458324" y="2732525"/>
                    <a:pt x="474840" y="2704321"/>
                  </a:cubicBezTo>
                  <a:cubicBezTo>
                    <a:pt x="478334" y="2697984"/>
                    <a:pt x="482146" y="2691963"/>
                    <a:pt x="485639" y="2685942"/>
                  </a:cubicBezTo>
                  <a:cubicBezTo>
                    <a:pt x="485639" y="2685942"/>
                    <a:pt x="485639" y="2685942"/>
                    <a:pt x="417987" y="2635874"/>
                  </a:cubicBezTo>
                  <a:close/>
                  <a:moveTo>
                    <a:pt x="1187259" y="2635557"/>
                  </a:moveTo>
                  <a:cubicBezTo>
                    <a:pt x="1182813" y="2639043"/>
                    <a:pt x="1178684" y="2642528"/>
                    <a:pt x="1175507" y="2644747"/>
                  </a:cubicBezTo>
                  <a:cubicBezTo>
                    <a:pt x="1173284" y="2646331"/>
                    <a:pt x="1172649" y="2646648"/>
                    <a:pt x="1171061" y="2647599"/>
                  </a:cubicBezTo>
                  <a:cubicBezTo>
                    <a:pt x="1160262" y="2653936"/>
                    <a:pt x="1127229" y="2671682"/>
                    <a:pt x="1082445" y="2695766"/>
                  </a:cubicBezTo>
                  <a:cubicBezTo>
                    <a:pt x="947775" y="2767699"/>
                    <a:pt x="709561" y="2891602"/>
                    <a:pt x="709561" y="2891602"/>
                  </a:cubicBezTo>
                  <a:cubicBezTo>
                    <a:pt x="709561" y="2891602"/>
                    <a:pt x="709561" y="2891602"/>
                    <a:pt x="709243" y="2891602"/>
                  </a:cubicBezTo>
                  <a:cubicBezTo>
                    <a:pt x="709243" y="2891602"/>
                    <a:pt x="709243" y="2891602"/>
                    <a:pt x="708290" y="2892236"/>
                  </a:cubicBezTo>
                  <a:cubicBezTo>
                    <a:pt x="708290" y="2892236"/>
                    <a:pt x="708290" y="2892236"/>
                    <a:pt x="427198" y="3043708"/>
                  </a:cubicBezTo>
                  <a:lnTo>
                    <a:pt x="167068" y="3182822"/>
                  </a:lnTo>
                  <a:cubicBezTo>
                    <a:pt x="168021" y="3183773"/>
                    <a:pt x="168973" y="3185040"/>
                    <a:pt x="170879" y="3186942"/>
                  </a:cubicBezTo>
                  <a:cubicBezTo>
                    <a:pt x="188031" y="3177435"/>
                    <a:pt x="188348" y="3177118"/>
                    <a:pt x="190254" y="3175851"/>
                  </a:cubicBezTo>
                  <a:cubicBezTo>
                    <a:pt x="190254" y="3175851"/>
                    <a:pt x="190254" y="3175851"/>
                    <a:pt x="190889" y="3175851"/>
                  </a:cubicBezTo>
                  <a:cubicBezTo>
                    <a:pt x="190889" y="3175851"/>
                    <a:pt x="190889" y="3175851"/>
                    <a:pt x="191207" y="3175534"/>
                  </a:cubicBezTo>
                  <a:cubicBezTo>
                    <a:pt x="191207" y="3175534"/>
                    <a:pt x="195336" y="3173316"/>
                    <a:pt x="203276" y="3169196"/>
                  </a:cubicBezTo>
                  <a:cubicBezTo>
                    <a:pt x="257589" y="3140359"/>
                    <a:pt x="490086" y="3017407"/>
                    <a:pt x="720360" y="2893504"/>
                  </a:cubicBezTo>
                  <a:cubicBezTo>
                    <a:pt x="921095" y="2785445"/>
                    <a:pt x="1122465" y="2674217"/>
                    <a:pt x="1189165" y="2639993"/>
                  </a:cubicBezTo>
                  <a:cubicBezTo>
                    <a:pt x="1189165" y="2639993"/>
                    <a:pt x="1189165" y="2639993"/>
                    <a:pt x="1187259" y="2635557"/>
                  </a:cubicBezTo>
                  <a:close/>
                  <a:moveTo>
                    <a:pt x="1573802" y="2635240"/>
                  </a:moveTo>
                  <a:cubicBezTo>
                    <a:pt x="1573802" y="2635240"/>
                    <a:pt x="1573802" y="2635240"/>
                    <a:pt x="1573484" y="2673900"/>
                  </a:cubicBezTo>
                  <a:cubicBezTo>
                    <a:pt x="1573484" y="2673900"/>
                    <a:pt x="1573484" y="2673900"/>
                    <a:pt x="1598576" y="2674217"/>
                  </a:cubicBezTo>
                  <a:lnTo>
                    <a:pt x="1598893" y="2635240"/>
                  </a:lnTo>
                  <a:cubicBezTo>
                    <a:pt x="1598893" y="2635240"/>
                    <a:pt x="1598893" y="2635240"/>
                    <a:pt x="1573802" y="2635240"/>
                  </a:cubicBezTo>
                  <a:close/>
                  <a:moveTo>
                    <a:pt x="1660829" y="2634289"/>
                  </a:moveTo>
                  <a:cubicBezTo>
                    <a:pt x="1660829" y="2634289"/>
                    <a:pt x="1660829" y="2634289"/>
                    <a:pt x="1693861" y="2634606"/>
                  </a:cubicBezTo>
                  <a:cubicBezTo>
                    <a:pt x="1693861" y="2634606"/>
                    <a:pt x="1693861" y="2634606"/>
                    <a:pt x="1693544" y="2681506"/>
                  </a:cubicBezTo>
                  <a:cubicBezTo>
                    <a:pt x="1693544" y="2681506"/>
                    <a:pt x="1693544" y="2681506"/>
                    <a:pt x="1691320" y="2681506"/>
                  </a:cubicBezTo>
                  <a:cubicBezTo>
                    <a:pt x="1691320" y="2681506"/>
                    <a:pt x="1691320" y="2681506"/>
                    <a:pt x="1660194" y="2681189"/>
                  </a:cubicBezTo>
                  <a:close/>
                  <a:moveTo>
                    <a:pt x="1715460" y="2633022"/>
                  </a:moveTo>
                  <a:cubicBezTo>
                    <a:pt x="1717048" y="2640627"/>
                    <a:pt x="1718953" y="2649817"/>
                    <a:pt x="1720859" y="2660274"/>
                  </a:cubicBezTo>
                  <a:cubicBezTo>
                    <a:pt x="1731023" y="2661859"/>
                    <a:pt x="1762467" y="2667246"/>
                    <a:pt x="1794229" y="2672316"/>
                  </a:cubicBezTo>
                  <a:cubicBezTo>
                    <a:pt x="1832661" y="2678654"/>
                    <a:pt x="1872363" y="2684991"/>
                    <a:pt x="1872681" y="2684991"/>
                  </a:cubicBezTo>
                  <a:cubicBezTo>
                    <a:pt x="1872681" y="2684991"/>
                    <a:pt x="1872681" y="2684991"/>
                    <a:pt x="1872681" y="2687843"/>
                  </a:cubicBezTo>
                  <a:cubicBezTo>
                    <a:pt x="1875222" y="2677386"/>
                    <a:pt x="1877763" y="2667879"/>
                    <a:pt x="1879668" y="2660274"/>
                  </a:cubicBezTo>
                  <a:cubicBezTo>
                    <a:pt x="1880939" y="2654253"/>
                    <a:pt x="1882209" y="2649500"/>
                    <a:pt x="1883162" y="2646331"/>
                  </a:cubicBezTo>
                  <a:cubicBezTo>
                    <a:pt x="1883162" y="2646014"/>
                    <a:pt x="1883162" y="2646014"/>
                    <a:pt x="1883162" y="2645697"/>
                  </a:cubicBezTo>
                  <a:cubicBezTo>
                    <a:pt x="1828849" y="2642528"/>
                    <a:pt x="1767867" y="2637141"/>
                    <a:pt x="1715460" y="2633022"/>
                  </a:cubicBezTo>
                  <a:close/>
                  <a:moveTo>
                    <a:pt x="1483280" y="2633022"/>
                  </a:moveTo>
                  <a:cubicBezTo>
                    <a:pt x="1483280" y="2633022"/>
                    <a:pt x="1483280" y="2633022"/>
                    <a:pt x="1482963" y="2671682"/>
                  </a:cubicBezTo>
                  <a:cubicBezTo>
                    <a:pt x="1482963" y="2671682"/>
                    <a:pt x="1482963" y="2671682"/>
                    <a:pt x="1508054" y="2671999"/>
                  </a:cubicBezTo>
                  <a:cubicBezTo>
                    <a:pt x="1508054" y="2671999"/>
                    <a:pt x="1508054" y="2671999"/>
                    <a:pt x="1508372" y="2633339"/>
                  </a:cubicBezTo>
                  <a:close/>
                  <a:moveTo>
                    <a:pt x="594265" y="2633022"/>
                  </a:moveTo>
                  <a:cubicBezTo>
                    <a:pt x="594265" y="2633022"/>
                    <a:pt x="594265" y="2633022"/>
                    <a:pt x="530106" y="2638092"/>
                  </a:cubicBezTo>
                  <a:cubicBezTo>
                    <a:pt x="524071" y="2648232"/>
                    <a:pt x="505332" y="2680555"/>
                    <a:pt x="486592" y="2712877"/>
                  </a:cubicBezTo>
                  <a:cubicBezTo>
                    <a:pt x="481510" y="2721117"/>
                    <a:pt x="476746" y="2729356"/>
                    <a:pt x="472299" y="2737278"/>
                  </a:cubicBezTo>
                  <a:cubicBezTo>
                    <a:pt x="475476" y="2744883"/>
                    <a:pt x="492627" y="2782276"/>
                    <a:pt x="510731" y="2821253"/>
                  </a:cubicBezTo>
                  <a:cubicBezTo>
                    <a:pt x="510731" y="2821253"/>
                    <a:pt x="510731" y="2821253"/>
                    <a:pt x="538364" y="2787346"/>
                  </a:cubicBezTo>
                  <a:cubicBezTo>
                    <a:pt x="538364" y="2787346"/>
                    <a:pt x="538364" y="2787346"/>
                    <a:pt x="644766" y="2742665"/>
                  </a:cubicBezTo>
                  <a:cubicBezTo>
                    <a:pt x="644766" y="2742665"/>
                    <a:pt x="644766" y="2742665"/>
                    <a:pt x="594265" y="2633022"/>
                  </a:cubicBezTo>
                  <a:close/>
                  <a:moveTo>
                    <a:pt x="1429920" y="2631437"/>
                  </a:moveTo>
                  <a:cubicBezTo>
                    <a:pt x="1429920" y="2631437"/>
                    <a:pt x="1429920" y="2631437"/>
                    <a:pt x="1434367" y="2678020"/>
                  </a:cubicBezTo>
                  <a:lnTo>
                    <a:pt x="1432144" y="2678337"/>
                  </a:lnTo>
                  <a:cubicBezTo>
                    <a:pt x="1432144" y="2678337"/>
                    <a:pt x="1432144" y="2678337"/>
                    <a:pt x="1401334" y="2681189"/>
                  </a:cubicBezTo>
                  <a:cubicBezTo>
                    <a:pt x="1401334" y="2681189"/>
                    <a:pt x="1401334" y="2681189"/>
                    <a:pt x="1396888" y="2634606"/>
                  </a:cubicBezTo>
                  <a:cubicBezTo>
                    <a:pt x="1396888" y="2634606"/>
                    <a:pt x="1396888" y="2634606"/>
                    <a:pt x="1429920" y="2631437"/>
                  </a:cubicBezTo>
                  <a:close/>
                  <a:moveTo>
                    <a:pt x="1569672" y="2631121"/>
                  </a:moveTo>
                  <a:cubicBezTo>
                    <a:pt x="1569672" y="2631121"/>
                    <a:pt x="1569672" y="2631121"/>
                    <a:pt x="1603022" y="2631437"/>
                  </a:cubicBezTo>
                  <a:cubicBezTo>
                    <a:pt x="1603022" y="2631437"/>
                    <a:pt x="1603022" y="2631437"/>
                    <a:pt x="1602705" y="2678337"/>
                  </a:cubicBezTo>
                  <a:lnTo>
                    <a:pt x="1600482" y="2678337"/>
                  </a:lnTo>
                  <a:cubicBezTo>
                    <a:pt x="1600482" y="2678337"/>
                    <a:pt x="1600482" y="2678337"/>
                    <a:pt x="1569355" y="2678020"/>
                  </a:cubicBezTo>
                  <a:cubicBezTo>
                    <a:pt x="1569355" y="2678020"/>
                    <a:pt x="1569355" y="2678020"/>
                    <a:pt x="1569672" y="2631121"/>
                  </a:cubicBezTo>
                  <a:close/>
                  <a:moveTo>
                    <a:pt x="1452789" y="2627951"/>
                  </a:moveTo>
                  <a:cubicBezTo>
                    <a:pt x="1427697" y="2629853"/>
                    <a:pt x="1402605" y="2632071"/>
                    <a:pt x="1377831" y="2635557"/>
                  </a:cubicBezTo>
                  <a:cubicBezTo>
                    <a:pt x="1377831" y="2635557"/>
                    <a:pt x="1377831" y="2635557"/>
                    <a:pt x="1410863" y="2760411"/>
                  </a:cubicBezTo>
                  <a:cubicBezTo>
                    <a:pt x="1410863" y="2760411"/>
                    <a:pt x="1410863" y="2760411"/>
                    <a:pt x="1406734" y="2761678"/>
                  </a:cubicBezTo>
                  <a:cubicBezTo>
                    <a:pt x="1406734" y="2761678"/>
                    <a:pt x="1406734" y="2761678"/>
                    <a:pt x="1373384" y="2636191"/>
                  </a:cubicBezTo>
                  <a:cubicBezTo>
                    <a:pt x="1320024" y="2644113"/>
                    <a:pt x="1268887" y="2656788"/>
                    <a:pt x="1226962" y="2676435"/>
                  </a:cubicBezTo>
                  <a:cubicBezTo>
                    <a:pt x="1226962" y="2676435"/>
                    <a:pt x="1226962" y="2676435"/>
                    <a:pt x="1294932" y="2839316"/>
                  </a:cubicBezTo>
                  <a:cubicBezTo>
                    <a:pt x="1294932" y="2839316"/>
                    <a:pt x="1294932" y="2839316"/>
                    <a:pt x="1451201" y="2733158"/>
                  </a:cubicBezTo>
                  <a:cubicBezTo>
                    <a:pt x="1451201" y="2723652"/>
                    <a:pt x="1452471" y="2650134"/>
                    <a:pt x="1452789" y="2627951"/>
                  </a:cubicBezTo>
                  <a:close/>
                  <a:moveTo>
                    <a:pt x="1615410" y="2626684"/>
                  </a:moveTo>
                  <a:cubicBezTo>
                    <a:pt x="1615410" y="2626684"/>
                    <a:pt x="1615410" y="2626684"/>
                    <a:pt x="1607151" y="2758193"/>
                  </a:cubicBezTo>
                  <a:cubicBezTo>
                    <a:pt x="1617315" y="2753122"/>
                    <a:pt x="1640819" y="2740130"/>
                    <a:pt x="1663370" y="2727137"/>
                  </a:cubicBezTo>
                  <a:cubicBezTo>
                    <a:pt x="1684968" y="2714779"/>
                    <a:pt x="1705613" y="2703054"/>
                    <a:pt x="1712919" y="2698618"/>
                  </a:cubicBezTo>
                  <a:cubicBezTo>
                    <a:pt x="1708790" y="2674217"/>
                    <a:pt x="1703708" y="2647599"/>
                    <a:pt x="1700849" y="2631754"/>
                  </a:cubicBezTo>
                  <a:cubicBezTo>
                    <a:pt x="1675757" y="2629853"/>
                    <a:pt x="1653206" y="2628268"/>
                    <a:pt x="1635420" y="2627318"/>
                  </a:cubicBezTo>
                  <a:cubicBezTo>
                    <a:pt x="1629067" y="2627001"/>
                    <a:pt x="1622397" y="2626684"/>
                    <a:pt x="1615410" y="2626684"/>
                  </a:cubicBezTo>
                  <a:close/>
                  <a:moveTo>
                    <a:pt x="2507918" y="2625734"/>
                  </a:moveTo>
                  <a:cubicBezTo>
                    <a:pt x="2507918" y="2625734"/>
                    <a:pt x="2507918" y="2625734"/>
                    <a:pt x="2485685" y="2669147"/>
                  </a:cubicBezTo>
                  <a:lnTo>
                    <a:pt x="2490767" y="2671365"/>
                  </a:lnTo>
                  <a:cubicBezTo>
                    <a:pt x="2490767" y="2671365"/>
                    <a:pt x="2490767" y="2671365"/>
                    <a:pt x="2512682" y="2627951"/>
                  </a:cubicBezTo>
                  <a:cubicBezTo>
                    <a:pt x="2512682" y="2627951"/>
                    <a:pt x="2512682" y="2627951"/>
                    <a:pt x="2507918" y="2625734"/>
                  </a:cubicBezTo>
                  <a:close/>
                  <a:moveTo>
                    <a:pt x="1509960" y="2625416"/>
                  </a:moveTo>
                  <a:cubicBezTo>
                    <a:pt x="1492809" y="2626050"/>
                    <a:pt x="1475022" y="2626684"/>
                    <a:pt x="1457235" y="2627635"/>
                  </a:cubicBezTo>
                  <a:cubicBezTo>
                    <a:pt x="1456918" y="2649183"/>
                    <a:pt x="1455647" y="2720483"/>
                    <a:pt x="1455647" y="2732525"/>
                  </a:cubicBezTo>
                  <a:cubicBezTo>
                    <a:pt x="1463270" y="2734109"/>
                    <a:pt x="1494714" y="2740130"/>
                    <a:pt x="1526794" y="2746468"/>
                  </a:cubicBezTo>
                  <a:cubicBezTo>
                    <a:pt x="1528382" y="2746784"/>
                    <a:pt x="1529970" y="2746784"/>
                    <a:pt x="1531558" y="2747101"/>
                  </a:cubicBezTo>
                  <a:cubicBezTo>
                    <a:pt x="1531558" y="2747101"/>
                    <a:pt x="1531558" y="2747101"/>
                    <a:pt x="1512501" y="2639043"/>
                  </a:cubicBezTo>
                  <a:cubicBezTo>
                    <a:pt x="1512501" y="2639043"/>
                    <a:pt x="1512501" y="2639043"/>
                    <a:pt x="1512183" y="2676118"/>
                  </a:cubicBezTo>
                  <a:cubicBezTo>
                    <a:pt x="1512183" y="2676118"/>
                    <a:pt x="1512183" y="2676118"/>
                    <a:pt x="1509960" y="2676118"/>
                  </a:cubicBezTo>
                  <a:cubicBezTo>
                    <a:pt x="1509960" y="2676118"/>
                    <a:pt x="1509960" y="2676118"/>
                    <a:pt x="1478833" y="2675802"/>
                  </a:cubicBezTo>
                  <a:cubicBezTo>
                    <a:pt x="1478833" y="2675802"/>
                    <a:pt x="1478833" y="2675802"/>
                    <a:pt x="1479469" y="2628902"/>
                  </a:cubicBezTo>
                  <a:lnTo>
                    <a:pt x="1510595" y="2629219"/>
                  </a:lnTo>
                  <a:cubicBezTo>
                    <a:pt x="1510595" y="2629219"/>
                    <a:pt x="1510595" y="2629219"/>
                    <a:pt x="1509960" y="2625416"/>
                  </a:cubicBezTo>
                  <a:close/>
                  <a:moveTo>
                    <a:pt x="1542040" y="2625100"/>
                  </a:moveTo>
                  <a:cubicBezTo>
                    <a:pt x="1533146" y="2625100"/>
                    <a:pt x="1523935" y="2625416"/>
                    <a:pt x="1514407" y="2625416"/>
                  </a:cubicBezTo>
                  <a:cubicBezTo>
                    <a:pt x="1514407" y="2625416"/>
                    <a:pt x="1514407" y="2625416"/>
                    <a:pt x="1536322" y="2748052"/>
                  </a:cubicBezTo>
                  <a:cubicBezTo>
                    <a:pt x="1569355" y="2754390"/>
                    <a:pt x="1601117" y="2760411"/>
                    <a:pt x="1602705" y="2760411"/>
                  </a:cubicBezTo>
                  <a:lnTo>
                    <a:pt x="1610963" y="2626367"/>
                  </a:lnTo>
                  <a:cubicBezTo>
                    <a:pt x="1591271" y="2625734"/>
                    <a:pt x="1569037" y="2625100"/>
                    <a:pt x="1545216" y="2625100"/>
                  </a:cubicBezTo>
                  <a:cubicBezTo>
                    <a:pt x="1544263" y="2625100"/>
                    <a:pt x="1542992" y="2625100"/>
                    <a:pt x="1542040" y="2625100"/>
                  </a:cubicBezTo>
                  <a:close/>
                  <a:moveTo>
                    <a:pt x="711784" y="2624149"/>
                  </a:moveTo>
                  <a:cubicBezTo>
                    <a:pt x="711784" y="2624149"/>
                    <a:pt x="711784" y="2624149"/>
                    <a:pt x="688915" y="2634606"/>
                  </a:cubicBezTo>
                  <a:cubicBezTo>
                    <a:pt x="688915" y="2634606"/>
                    <a:pt x="688915" y="2634606"/>
                    <a:pt x="685104" y="2636508"/>
                  </a:cubicBezTo>
                  <a:cubicBezTo>
                    <a:pt x="685104" y="2636508"/>
                    <a:pt x="685104" y="2636508"/>
                    <a:pt x="683198" y="2632388"/>
                  </a:cubicBezTo>
                  <a:cubicBezTo>
                    <a:pt x="683198" y="2632388"/>
                    <a:pt x="683198" y="2632388"/>
                    <a:pt x="680022" y="2626050"/>
                  </a:cubicBezTo>
                  <a:cubicBezTo>
                    <a:pt x="680022" y="2626050"/>
                    <a:pt x="680022" y="2626050"/>
                    <a:pt x="678434" y="2627001"/>
                  </a:cubicBezTo>
                  <a:cubicBezTo>
                    <a:pt x="678434" y="2627001"/>
                    <a:pt x="678434" y="2627001"/>
                    <a:pt x="684469" y="2638726"/>
                  </a:cubicBezTo>
                  <a:cubicBezTo>
                    <a:pt x="684469" y="2638726"/>
                    <a:pt x="684469" y="2638726"/>
                    <a:pt x="686375" y="2641895"/>
                  </a:cubicBezTo>
                  <a:cubicBezTo>
                    <a:pt x="686375" y="2641895"/>
                    <a:pt x="686375" y="2641895"/>
                    <a:pt x="683198" y="2644430"/>
                  </a:cubicBezTo>
                  <a:cubicBezTo>
                    <a:pt x="683198" y="2644430"/>
                    <a:pt x="683198" y="2644430"/>
                    <a:pt x="680975" y="2645697"/>
                  </a:cubicBezTo>
                  <a:cubicBezTo>
                    <a:pt x="680975" y="2645697"/>
                    <a:pt x="680975" y="2645697"/>
                    <a:pt x="682563" y="2652035"/>
                  </a:cubicBezTo>
                  <a:cubicBezTo>
                    <a:pt x="682563" y="2652035"/>
                    <a:pt x="682563" y="2652035"/>
                    <a:pt x="683516" y="2655521"/>
                  </a:cubicBezTo>
                  <a:cubicBezTo>
                    <a:pt x="683516" y="2655521"/>
                    <a:pt x="683516" y="2655521"/>
                    <a:pt x="680340" y="2657105"/>
                  </a:cubicBezTo>
                  <a:cubicBezTo>
                    <a:pt x="680340" y="2657105"/>
                    <a:pt x="680340" y="2657105"/>
                    <a:pt x="647307" y="2672316"/>
                  </a:cubicBezTo>
                  <a:cubicBezTo>
                    <a:pt x="647307" y="2672316"/>
                    <a:pt x="647307" y="2672316"/>
                    <a:pt x="660330" y="2699568"/>
                  </a:cubicBezTo>
                  <a:cubicBezTo>
                    <a:pt x="660330" y="2699568"/>
                    <a:pt x="660330" y="2699568"/>
                    <a:pt x="739417" y="2660908"/>
                  </a:cubicBezTo>
                  <a:cubicBezTo>
                    <a:pt x="739417" y="2660908"/>
                    <a:pt x="739417" y="2660908"/>
                    <a:pt x="726394" y="2634923"/>
                  </a:cubicBezTo>
                  <a:cubicBezTo>
                    <a:pt x="726394" y="2634923"/>
                    <a:pt x="726394" y="2634923"/>
                    <a:pt x="722583" y="2636508"/>
                  </a:cubicBezTo>
                  <a:cubicBezTo>
                    <a:pt x="722583" y="2636508"/>
                    <a:pt x="722583" y="2636508"/>
                    <a:pt x="718772" y="2637775"/>
                  </a:cubicBezTo>
                  <a:lnTo>
                    <a:pt x="717184" y="2634289"/>
                  </a:lnTo>
                  <a:cubicBezTo>
                    <a:pt x="717184" y="2634289"/>
                    <a:pt x="717184" y="2634289"/>
                    <a:pt x="711784" y="2624149"/>
                  </a:cubicBezTo>
                  <a:close/>
                  <a:moveTo>
                    <a:pt x="713690" y="2618128"/>
                  </a:moveTo>
                  <a:cubicBezTo>
                    <a:pt x="713690" y="2618128"/>
                    <a:pt x="713690" y="2618128"/>
                    <a:pt x="720995" y="2632388"/>
                  </a:cubicBezTo>
                  <a:cubicBezTo>
                    <a:pt x="720995" y="2632388"/>
                    <a:pt x="720995" y="2632388"/>
                    <a:pt x="728618" y="2629219"/>
                  </a:cubicBezTo>
                  <a:cubicBezTo>
                    <a:pt x="728618" y="2629219"/>
                    <a:pt x="728618" y="2629219"/>
                    <a:pt x="745452" y="2663126"/>
                  </a:cubicBezTo>
                  <a:cubicBezTo>
                    <a:pt x="745452" y="2663126"/>
                    <a:pt x="745452" y="2663126"/>
                    <a:pt x="658106" y="2705589"/>
                  </a:cubicBezTo>
                  <a:cubicBezTo>
                    <a:pt x="658106" y="2705589"/>
                    <a:pt x="658106" y="2705589"/>
                    <a:pt x="641273" y="2670098"/>
                  </a:cubicBezTo>
                  <a:cubicBezTo>
                    <a:pt x="641273" y="2670098"/>
                    <a:pt x="641273" y="2670098"/>
                    <a:pt x="678434" y="2652986"/>
                  </a:cubicBezTo>
                  <a:cubicBezTo>
                    <a:pt x="678434" y="2652986"/>
                    <a:pt x="678434" y="2652986"/>
                    <a:pt x="676211" y="2643796"/>
                  </a:cubicBezTo>
                  <a:cubicBezTo>
                    <a:pt x="676211" y="2643796"/>
                    <a:pt x="676211" y="2643796"/>
                    <a:pt x="680657" y="2640627"/>
                  </a:cubicBezTo>
                  <a:cubicBezTo>
                    <a:pt x="680657" y="2640627"/>
                    <a:pt x="680657" y="2640627"/>
                    <a:pt x="672399" y="2625416"/>
                  </a:cubicBezTo>
                  <a:cubicBezTo>
                    <a:pt x="672399" y="2625416"/>
                    <a:pt x="672399" y="2625416"/>
                    <a:pt x="681928" y="2619712"/>
                  </a:cubicBezTo>
                  <a:cubicBezTo>
                    <a:pt x="681928" y="2619712"/>
                    <a:pt x="681928" y="2619712"/>
                    <a:pt x="687010" y="2630487"/>
                  </a:cubicBezTo>
                  <a:close/>
                  <a:moveTo>
                    <a:pt x="298562" y="2615593"/>
                  </a:moveTo>
                  <a:cubicBezTo>
                    <a:pt x="298562" y="2615593"/>
                    <a:pt x="298562" y="2615593"/>
                    <a:pt x="273152" y="2636191"/>
                  </a:cubicBezTo>
                  <a:lnTo>
                    <a:pt x="306185" y="2668196"/>
                  </a:lnTo>
                  <a:cubicBezTo>
                    <a:pt x="306185" y="2668196"/>
                    <a:pt x="306185" y="2668196"/>
                    <a:pt x="318572" y="2641895"/>
                  </a:cubicBezTo>
                  <a:cubicBezTo>
                    <a:pt x="318572" y="2641895"/>
                    <a:pt x="318572" y="2641895"/>
                    <a:pt x="298562" y="2615593"/>
                  </a:cubicBezTo>
                  <a:close/>
                  <a:moveTo>
                    <a:pt x="2355779" y="2613375"/>
                  </a:moveTo>
                  <a:cubicBezTo>
                    <a:pt x="2355779" y="2613375"/>
                    <a:pt x="2355779" y="2613375"/>
                    <a:pt x="2339580" y="2664394"/>
                  </a:cubicBezTo>
                  <a:lnTo>
                    <a:pt x="2414856" y="2701469"/>
                  </a:lnTo>
                  <a:cubicBezTo>
                    <a:pt x="2414856" y="2701469"/>
                    <a:pt x="2414856" y="2701469"/>
                    <a:pt x="2439948" y="2652352"/>
                  </a:cubicBezTo>
                  <a:cubicBezTo>
                    <a:pt x="2439948" y="2652352"/>
                    <a:pt x="2439948" y="2652352"/>
                    <a:pt x="2355779" y="2613375"/>
                  </a:cubicBezTo>
                  <a:close/>
                  <a:moveTo>
                    <a:pt x="299515" y="2608621"/>
                  </a:moveTo>
                  <a:cubicBezTo>
                    <a:pt x="299515" y="2608621"/>
                    <a:pt x="299515" y="2608621"/>
                    <a:pt x="323971" y="2641261"/>
                  </a:cubicBezTo>
                  <a:cubicBezTo>
                    <a:pt x="323971" y="2641261"/>
                    <a:pt x="323971" y="2641261"/>
                    <a:pt x="323336" y="2642528"/>
                  </a:cubicBezTo>
                  <a:lnTo>
                    <a:pt x="307773" y="2676118"/>
                  </a:lnTo>
                  <a:cubicBezTo>
                    <a:pt x="307773" y="2676118"/>
                    <a:pt x="307773" y="2676118"/>
                    <a:pt x="266165" y="2635874"/>
                  </a:cubicBezTo>
                  <a:cubicBezTo>
                    <a:pt x="266165" y="2635874"/>
                    <a:pt x="266165" y="2635874"/>
                    <a:pt x="299515" y="2608621"/>
                  </a:cubicBezTo>
                  <a:close/>
                  <a:moveTo>
                    <a:pt x="1271" y="2607988"/>
                  </a:moveTo>
                  <a:cubicBezTo>
                    <a:pt x="24457" y="2641261"/>
                    <a:pt x="24457" y="2641261"/>
                    <a:pt x="24457" y="2641261"/>
                  </a:cubicBezTo>
                  <a:lnTo>
                    <a:pt x="4765" y="2654887"/>
                  </a:lnTo>
                  <a:cubicBezTo>
                    <a:pt x="1271" y="2650134"/>
                    <a:pt x="1271" y="2650134"/>
                    <a:pt x="1271" y="2650134"/>
                  </a:cubicBezTo>
                  <a:cubicBezTo>
                    <a:pt x="1271" y="2642845"/>
                    <a:pt x="1271" y="2642845"/>
                    <a:pt x="1271" y="2642845"/>
                  </a:cubicBezTo>
                  <a:cubicBezTo>
                    <a:pt x="5717" y="2649183"/>
                    <a:pt x="5717" y="2649183"/>
                    <a:pt x="5717" y="2649183"/>
                  </a:cubicBezTo>
                  <a:cubicBezTo>
                    <a:pt x="18740" y="2640310"/>
                    <a:pt x="18740" y="2640310"/>
                    <a:pt x="18740" y="2640310"/>
                  </a:cubicBezTo>
                  <a:cubicBezTo>
                    <a:pt x="1271" y="2615276"/>
                    <a:pt x="1271" y="2615276"/>
                    <a:pt x="1271" y="2615276"/>
                  </a:cubicBezTo>
                  <a:cubicBezTo>
                    <a:pt x="1271" y="2607988"/>
                    <a:pt x="1271" y="2607988"/>
                    <a:pt x="1271" y="2607988"/>
                  </a:cubicBezTo>
                  <a:close/>
                  <a:moveTo>
                    <a:pt x="2468216" y="2606086"/>
                  </a:moveTo>
                  <a:cubicBezTo>
                    <a:pt x="2468216" y="2606086"/>
                    <a:pt x="2468216" y="2606086"/>
                    <a:pt x="2445665" y="2650451"/>
                  </a:cubicBezTo>
                  <a:cubicBezTo>
                    <a:pt x="2445665" y="2650451"/>
                    <a:pt x="2445665" y="2650451"/>
                    <a:pt x="2481874" y="2667246"/>
                  </a:cubicBezTo>
                  <a:cubicBezTo>
                    <a:pt x="2481874" y="2667246"/>
                    <a:pt x="2481874" y="2667246"/>
                    <a:pt x="2504107" y="2623832"/>
                  </a:cubicBezTo>
                  <a:close/>
                  <a:moveTo>
                    <a:pt x="2260176" y="2590876"/>
                  </a:moveTo>
                  <a:cubicBezTo>
                    <a:pt x="2260176" y="2590876"/>
                    <a:pt x="2260176" y="2590876"/>
                    <a:pt x="2242389" y="2643162"/>
                  </a:cubicBezTo>
                  <a:lnTo>
                    <a:pt x="2319570" y="2658056"/>
                  </a:lnTo>
                  <a:cubicBezTo>
                    <a:pt x="2319570" y="2658056"/>
                    <a:pt x="2319570" y="2658056"/>
                    <a:pt x="2336086" y="2606720"/>
                  </a:cubicBezTo>
                  <a:cubicBezTo>
                    <a:pt x="2323064" y="2603868"/>
                    <a:pt x="2299560" y="2599115"/>
                    <a:pt x="2275421" y="2594044"/>
                  </a:cubicBezTo>
                  <a:cubicBezTo>
                    <a:pt x="2270340" y="2592777"/>
                    <a:pt x="2265258" y="2591826"/>
                    <a:pt x="2260176" y="2590876"/>
                  </a:cubicBezTo>
                  <a:close/>
                  <a:moveTo>
                    <a:pt x="1291438" y="2589608"/>
                  </a:moveTo>
                  <a:cubicBezTo>
                    <a:pt x="1280322" y="2589608"/>
                    <a:pt x="1270793" y="2590559"/>
                    <a:pt x="1261582" y="2593094"/>
                  </a:cubicBezTo>
                  <a:cubicBezTo>
                    <a:pt x="1244113" y="2597530"/>
                    <a:pt x="1226009" y="2607671"/>
                    <a:pt x="1210763" y="2618128"/>
                  </a:cubicBezTo>
                  <a:cubicBezTo>
                    <a:pt x="1208540" y="2619712"/>
                    <a:pt x="1206634" y="2621297"/>
                    <a:pt x="1204411" y="2622564"/>
                  </a:cubicBezTo>
                  <a:cubicBezTo>
                    <a:pt x="1204411" y="2622564"/>
                    <a:pt x="1204411" y="2622564"/>
                    <a:pt x="1207905" y="2630803"/>
                  </a:cubicBezTo>
                  <a:cubicBezTo>
                    <a:pt x="1247289" y="2613058"/>
                    <a:pt x="1291121" y="2600699"/>
                    <a:pt x="1336540" y="2592143"/>
                  </a:cubicBezTo>
                  <a:cubicBezTo>
                    <a:pt x="1319389" y="2590876"/>
                    <a:pt x="1304461" y="2589608"/>
                    <a:pt x="1291438" y="2589608"/>
                  </a:cubicBezTo>
                  <a:close/>
                  <a:moveTo>
                    <a:pt x="2067381" y="2588024"/>
                  </a:moveTo>
                  <a:cubicBezTo>
                    <a:pt x="2065475" y="2593411"/>
                    <a:pt x="2063570" y="2598798"/>
                    <a:pt x="2060711" y="2604185"/>
                  </a:cubicBezTo>
                  <a:cubicBezTo>
                    <a:pt x="2053723" y="2618445"/>
                    <a:pt x="2043242" y="2633022"/>
                    <a:pt x="2025773" y="2640944"/>
                  </a:cubicBezTo>
                  <a:cubicBezTo>
                    <a:pt x="2016244" y="2644747"/>
                    <a:pt x="2007351" y="2646014"/>
                    <a:pt x="1996552" y="2647282"/>
                  </a:cubicBezTo>
                  <a:cubicBezTo>
                    <a:pt x="1986071" y="2648232"/>
                    <a:pt x="1973684" y="2648549"/>
                    <a:pt x="1960026" y="2648549"/>
                  </a:cubicBezTo>
                  <a:cubicBezTo>
                    <a:pt x="1939063" y="2648549"/>
                    <a:pt x="1914289" y="2647599"/>
                    <a:pt x="1887927" y="2646014"/>
                  </a:cubicBezTo>
                  <a:cubicBezTo>
                    <a:pt x="1886338" y="2651401"/>
                    <a:pt x="1883480" y="2662492"/>
                    <a:pt x="1879986" y="2676752"/>
                  </a:cubicBezTo>
                  <a:cubicBezTo>
                    <a:pt x="1878080" y="2684041"/>
                    <a:pt x="1876175" y="2691963"/>
                    <a:pt x="1873951" y="2700202"/>
                  </a:cubicBezTo>
                  <a:cubicBezTo>
                    <a:pt x="1873951" y="2700202"/>
                    <a:pt x="1873951" y="2700202"/>
                    <a:pt x="1985118" y="2701786"/>
                  </a:cubicBezTo>
                  <a:cubicBezTo>
                    <a:pt x="1985118" y="2701786"/>
                    <a:pt x="1985118" y="2701786"/>
                    <a:pt x="2002269" y="2653936"/>
                  </a:cubicBezTo>
                  <a:cubicBezTo>
                    <a:pt x="2002269" y="2653936"/>
                    <a:pt x="2002269" y="2653936"/>
                    <a:pt x="2047371" y="2671365"/>
                  </a:cubicBezTo>
                  <a:cubicBezTo>
                    <a:pt x="2047371" y="2671365"/>
                    <a:pt x="2047371" y="2671365"/>
                    <a:pt x="2036254" y="2702420"/>
                  </a:cubicBezTo>
                  <a:cubicBezTo>
                    <a:pt x="2036254" y="2702420"/>
                    <a:pt x="2036254" y="2702420"/>
                    <a:pt x="2058488" y="2702737"/>
                  </a:cubicBezTo>
                  <a:cubicBezTo>
                    <a:pt x="2058488" y="2702737"/>
                    <a:pt x="2058488" y="2702737"/>
                    <a:pt x="2098508" y="2589925"/>
                  </a:cubicBezTo>
                  <a:cubicBezTo>
                    <a:pt x="2095967" y="2589608"/>
                    <a:pt x="2093108" y="2589608"/>
                    <a:pt x="2090567" y="2589608"/>
                  </a:cubicBezTo>
                  <a:cubicBezTo>
                    <a:pt x="2088662" y="2589608"/>
                    <a:pt x="2080403" y="2588974"/>
                    <a:pt x="2067381" y="2588024"/>
                  </a:cubicBezTo>
                  <a:close/>
                  <a:moveTo>
                    <a:pt x="2214756" y="2581686"/>
                  </a:moveTo>
                  <a:cubicBezTo>
                    <a:pt x="2214756" y="2581686"/>
                    <a:pt x="2214756" y="2581686"/>
                    <a:pt x="2196652" y="2633972"/>
                  </a:cubicBezTo>
                  <a:cubicBezTo>
                    <a:pt x="2196652" y="2633972"/>
                    <a:pt x="2196652" y="2633972"/>
                    <a:pt x="2238260" y="2642211"/>
                  </a:cubicBezTo>
                  <a:cubicBezTo>
                    <a:pt x="2238260" y="2642211"/>
                    <a:pt x="2238260" y="2642211"/>
                    <a:pt x="2256046" y="2589925"/>
                  </a:cubicBezTo>
                  <a:cubicBezTo>
                    <a:pt x="2240166" y="2586756"/>
                    <a:pt x="2225238" y="2583587"/>
                    <a:pt x="2214756" y="2581686"/>
                  </a:cubicBezTo>
                  <a:close/>
                  <a:moveTo>
                    <a:pt x="1545216" y="2581052"/>
                  </a:moveTo>
                  <a:cubicBezTo>
                    <a:pt x="1528382" y="2581052"/>
                    <a:pt x="1510278" y="2581369"/>
                    <a:pt x="1491856" y="2582003"/>
                  </a:cubicBezTo>
                  <a:cubicBezTo>
                    <a:pt x="1461364" y="2587073"/>
                    <a:pt x="1431508" y="2591509"/>
                    <a:pt x="1409275" y="2593094"/>
                  </a:cubicBezTo>
                  <a:cubicBezTo>
                    <a:pt x="1399111" y="2593728"/>
                    <a:pt x="1389265" y="2594044"/>
                    <a:pt x="1380054" y="2594044"/>
                  </a:cubicBezTo>
                  <a:cubicBezTo>
                    <a:pt x="1372749" y="2594044"/>
                    <a:pt x="1366079" y="2594044"/>
                    <a:pt x="1359409" y="2593728"/>
                  </a:cubicBezTo>
                  <a:cubicBezTo>
                    <a:pt x="1306684" y="2601967"/>
                    <a:pt x="1254912" y="2614959"/>
                    <a:pt x="1210128" y="2635874"/>
                  </a:cubicBezTo>
                  <a:cubicBezTo>
                    <a:pt x="1210128" y="2635874"/>
                    <a:pt x="1210128" y="2635874"/>
                    <a:pt x="1225056" y="2671682"/>
                  </a:cubicBezTo>
                  <a:cubicBezTo>
                    <a:pt x="1267299" y="2651718"/>
                    <a:pt x="1318754" y="2639043"/>
                    <a:pt x="1371796" y="2631121"/>
                  </a:cubicBezTo>
                  <a:cubicBezTo>
                    <a:pt x="1371796" y="2631121"/>
                    <a:pt x="1371796" y="2631121"/>
                    <a:pt x="1371478" y="2629219"/>
                  </a:cubicBezTo>
                  <a:cubicBezTo>
                    <a:pt x="1371478" y="2629219"/>
                    <a:pt x="1371478" y="2629219"/>
                    <a:pt x="1375607" y="2628268"/>
                  </a:cubicBezTo>
                  <a:cubicBezTo>
                    <a:pt x="1375607" y="2628268"/>
                    <a:pt x="1375607" y="2628268"/>
                    <a:pt x="1376243" y="2630487"/>
                  </a:cubicBezTo>
                  <a:cubicBezTo>
                    <a:pt x="1401652" y="2627001"/>
                    <a:pt x="1427379" y="2624466"/>
                    <a:pt x="1452789" y="2622881"/>
                  </a:cubicBezTo>
                  <a:cubicBezTo>
                    <a:pt x="1452789" y="2622248"/>
                    <a:pt x="1452789" y="2621614"/>
                    <a:pt x="1452789" y="2621614"/>
                  </a:cubicBezTo>
                  <a:cubicBezTo>
                    <a:pt x="1452789" y="2621614"/>
                    <a:pt x="1452789" y="2621614"/>
                    <a:pt x="1457235" y="2621614"/>
                  </a:cubicBezTo>
                  <a:cubicBezTo>
                    <a:pt x="1457235" y="2621614"/>
                    <a:pt x="1457235" y="2622248"/>
                    <a:pt x="1457235" y="2622564"/>
                  </a:cubicBezTo>
                  <a:cubicBezTo>
                    <a:pt x="1474704" y="2621614"/>
                    <a:pt x="1492173" y="2620663"/>
                    <a:pt x="1509007" y="2620346"/>
                  </a:cubicBezTo>
                  <a:cubicBezTo>
                    <a:pt x="1509007" y="2620346"/>
                    <a:pt x="1509007" y="2620346"/>
                    <a:pt x="1508690" y="2618762"/>
                  </a:cubicBezTo>
                  <a:cubicBezTo>
                    <a:pt x="1508690" y="2618762"/>
                    <a:pt x="1508690" y="2618762"/>
                    <a:pt x="1513136" y="2618128"/>
                  </a:cubicBezTo>
                  <a:cubicBezTo>
                    <a:pt x="1513136" y="2618128"/>
                    <a:pt x="1513136" y="2618128"/>
                    <a:pt x="1513454" y="2620346"/>
                  </a:cubicBezTo>
                  <a:cubicBezTo>
                    <a:pt x="1523300" y="2620029"/>
                    <a:pt x="1532829" y="2620029"/>
                    <a:pt x="1542040" y="2620029"/>
                  </a:cubicBezTo>
                  <a:cubicBezTo>
                    <a:pt x="1542992" y="2620029"/>
                    <a:pt x="1544263" y="2620029"/>
                    <a:pt x="1545216" y="2620029"/>
                  </a:cubicBezTo>
                  <a:cubicBezTo>
                    <a:pt x="1569355" y="2620029"/>
                    <a:pt x="1591588" y="2620663"/>
                    <a:pt x="1611281" y="2621297"/>
                  </a:cubicBezTo>
                  <a:cubicBezTo>
                    <a:pt x="1611281" y="2621297"/>
                    <a:pt x="1611281" y="2621297"/>
                    <a:pt x="1611281" y="2618762"/>
                  </a:cubicBezTo>
                  <a:cubicBezTo>
                    <a:pt x="1611281" y="2618762"/>
                    <a:pt x="1611281" y="2618762"/>
                    <a:pt x="1615727" y="2619079"/>
                  </a:cubicBezTo>
                  <a:cubicBezTo>
                    <a:pt x="1615727" y="2619079"/>
                    <a:pt x="1615727" y="2619079"/>
                    <a:pt x="1615727" y="2621297"/>
                  </a:cubicBezTo>
                  <a:cubicBezTo>
                    <a:pt x="1622715" y="2621614"/>
                    <a:pt x="1629385" y="2621931"/>
                    <a:pt x="1635737" y="2622248"/>
                  </a:cubicBezTo>
                  <a:cubicBezTo>
                    <a:pt x="1693226" y="2624783"/>
                    <a:pt x="1798358" y="2635557"/>
                    <a:pt x="1884750" y="2640627"/>
                  </a:cubicBezTo>
                  <a:cubicBezTo>
                    <a:pt x="1884750" y="2640627"/>
                    <a:pt x="1885068" y="2640310"/>
                    <a:pt x="1885703" y="2639676"/>
                  </a:cubicBezTo>
                  <a:cubicBezTo>
                    <a:pt x="1885703" y="2639676"/>
                    <a:pt x="1885703" y="2639676"/>
                    <a:pt x="1886338" y="2640627"/>
                  </a:cubicBezTo>
                  <a:cubicBezTo>
                    <a:pt x="1913336" y="2642528"/>
                    <a:pt x="1938745" y="2643479"/>
                    <a:pt x="1960026" y="2643479"/>
                  </a:cubicBezTo>
                  <a:cubicBezTo>
                    <a:pt x="1973684" y="2643479"/>
                    <a:pt x="1985753" y="2643162"/>
                    <a:pt x="1996234" y="2641895"/>
                  </a:cubicBezTo>
                  <a:cubicBezTo>
                    <a:pt x="2006716" y="2640944"/>
                    <a:pt x="2014974" y="2639676"/>
                    <a:pt x="2023550" y="2636191"/>
                  </a:cubicBezTo>
                  <a:cubicBezTo>
                    <a:pt x="2039430" y="2628902"/>
                    <a:pt x="2049594" y="2615593"/>
                    <a:pt x="2056264" y="2601967"/>
                  </a:cubicBezTo>
                  <a:cubicBezTo>
                    <a:pt x="2058488" y="2597214"/>
                    <a:pt x="2060393" y="2592460"/>
                    <a:pt x="2062299" y="2587707"/>
                  </a:cubicBezTo>
                  <a:cubicBezTo>
                    <a:pt x="2050865" y="2586756"/>
                    <a:pt x="2037207" y="2585805"/>
                    <a:pt x="2021009" y="2584855"/>
                  </a:cubicBezTo>
                  <a:cubicBezTo>
                    <a:pt x="2016244" y="2594361"/>
                    <a:pt x="2011798" y="2598481"/>
                    <a:pt x="2007669" y="2600383"/>
                  </a:cubicBezTo>
                  <a:cubicBezTo>
                    <a:pt x="2007033" y="2600699"/>
                    <a:pt x="2006716" y="2600699"/>
                    <a:pt x="2006081" y="2601016"/>
                  </a:cubicBezTo>
                  <a:cubicBezTo>
                    <a:pt x="2003540" y="2601650"/>
                    <a:pt x="1998775" y="2602601"/>
                    <a:pt x="1992423" y="2603234"/>
                  </a:cubicBezTo>
                  <a:cubicBezTo>
                    <a:pt x="1983847" y="2604185"/>
                    <a:pt x="1972731" y="2604502"/>
                    <a:pt x="1960026" y="2604502"/>
                  </a:cubicBezTo>
                  <a:cubicBezTo>
                    <a:pt x="1960026" y="2604502"/>
                    <a:pt x="1959708" y="2604502"/>
                    <a:pt x="1959708" y="2604502"/>
                  </a:cubicBezTo>
                  <a:cubicBezTo>
                    <a:pt x="1873951" y="2604502"/>
                    <a:pt x="1715777" y="2586756"/>
                    <a:pt x="1637325" y="2583270"/>
                  </a:cubicBezTo>
                  <a:cubicBezTo>
                    <a:pt x="1612233" y="2582003"/>
                    <a:pt x="1580472" y="2581052"/>
                    <a:pt x="1545216" y="2581052"/>
                  </a:cubicBezTo>
                  <a:close/>
                  <a:moveTo>
                    <a:pt x="2205545" y="2579785"/>
                  </a:moveTo>
                  <a:cubicBezTo>
                    <a:pt x="2200146" y="2595946"/>
                    <a:pt x="2194111" y="2613692"/>
                    <a:pt x="2187758" y="2632388"/>
                  </a:cubicBezTo>
                  <a:cubicBezTo>
                    <a:pt x="2187758" y="2632388"/>
                    <a:pt x="2187758" y="2632388"/>
                    <a:pt x="2192523" y="2633339"/>
                  </a:cubicBezTo>
                  <a:lnTo>
                    <a:pt x="2210627" y="2580735"/>
                  </a:lnTo>
                  <a:cubicBezTo>
                    <a:pt x="2208722" y="2580418"/>
                    <a:pt x="2207133" y="2580101"/>
                    <a:pt x="2205545" y="2579785"/>
                  </a:cubicBezTo>
                  <a:close/>
                  <a:moveTo>
                    <a:pt x="2568901" y="2577249"/>
                  </a:moveTo>
                  <a:cubicBezTo>
                    <a:pt x="2565090" y="2577566"/>
                    <a:pt x="2562866" y="2577883"/>
                    <a:pt x="2561596" y="2577883"/>
                  </a:cubicBezTo>
                  <a:cubicBezTo>
                    <a:pt x="2561596" y="2577883"/>
                    <a:pt x="2561596" y="2577883"/>
                    <a:pt x="2423749" y="2848822"/>
                  </a:cubicBezTo>
                  <a:cubicBezTo>
                    <a:pt x="2423749" y="2848822"/>
                    <a:pt x="2423749" y="2848822"/>
                    <a:pt x="2599075" y="2961952"/>
                  </a:cubicBezTo>
                  <a:cubicBezTo>
                    <a:pt x="2627343" y="2918538"/>
                    <a:pt x="2657199" y="2872272"/>
                    <a:pt x="2683879" y="2831077"/>
                  </a:cubicBezTo>
                  <a:cubicBezTo>
                    <a:pt x="2719452" y="2776255"/>
                    <a:pt x="2748674" y="2730623"/>
                    <a:pt x="2759472" y="2713828"/>
                  </a:cubicBezTo>
                  <a:cubicBezTo>
                    <a:pt x="2757567" y="2712877"/>
                    <a:pt x="2755661" y="2711610"/>
                    <a:pt x="2754073" y="2710659"/>
                  </a:cubicBezTo>
                  <a:cubicBezTo>
                    <a:pt x="2736922" y="2700202"/>
                    <a:pt x="2689279" y="2665978"/>
                    <a:pt x="2645447" y="2633655"/>
                  </a:cubicBezTo>
                  <a:cubicBezTo>
                    <a:pt x="2612732" y="2609889"/>
                    <a:pt x="2582241" y="2587390"/>
                    <a:pt x="2568901" y="2577249"/>
                  </a:cubicBezTo>
                  <a:close/>
                  <a:moveTo>
                    <a:pt x="714643" y="2576933"/>
                  </a:moveTo>
                  <a:cubicBezTo>
                    <a:pt x="714643" y="2576933"/>
                    <a:pt x="714643" y="2576933"/>
                    <a:pt x="636508" y="2629853"/>
                  </a:cubicBezTo>
                  <a:cubicBezTo>
                    <a:pt x="636508" y="2629853"/>
                    <a:pt x="636508" y="2629853"/>
                    <a:pt x="599665" y="2632705"/>
                  </a:cubicBezTo>
                  <a:cubicBezTo>
                    <a:pt x="599665" y="2632705"/>
                    <a:pt x="599665" y="2632705"/>
                    <a:pt x="640002" y="2720166"/>
                  </a:cubicBezTo>
                  <a:cubicBezTo>
                    <a:pt x="643814" y="2718265"/>
                    <a:pt x="649213" y="2715729"/>
                    <a:pt x="656836" y="2711927"/>
                  </a:cubicBezTo>
                  <a:cubicBezTo>
                    <a:pt x="673987" y="2703688"/>
                    <a:pt x="698762" y="2691963"/>
                    <a:pt x="719725" y="2681822"/>
                  </a:cubicBezTo>
                  <a:cubicBezTo>
                    <a:pt x="729888" y="2677069"/>
                    <a:pt x="739417" y="2672316"/>
                    <a:pt x="746087" y="2669147"/>
                  </a:cubicBezTo>
                  <a:cubicBezTo>
                    <a:pt x="749263" y="2667562"/>
                    <a:pt x="752122" y="2666295"/>
                    <a:pt x="753710" y="2665344"/>
                  </a:cubicBezTo>
                  <a:cubicBezTo>
                    <a:pt x="754663" y="2664710"/>
                    <a:pt x="755298" y="2664394"/>
                    <a:pt x="755933" y="2664077"/>
                  </a:cubicBezTo>
                  <a:cubicBezTo>
                    <a:pt x="755933" y="2663760"/>
                    <a:pt x="756251" y="2663760"/>
                    <a:pt x="756568" y="2663760"/>
                  </a:cubicBezTo>
                  <a:cubicBezTo>
                    <a:pt x="756568" y="2663760"/>
                    <a:pt x="756568" y="2663760"/>
                    <a:pt x="714643" y="2576933"/>
                  </a:cubicBezTo>
                  <a:close/>
                  <a:moveTo>
                    <a:pt x="155316" y="2569644"/>
                  </a:moveTo>
                  <a:lnTo>
                    <a:pt x="122283" y="2605452"/>
                  </a:lnTo>
                  <a:cubicBezTo>
                    <a:pt x="122283" y="2605452"/>
                    <a:pt x="122283" y="2605452"/>
                    <a:pt x="132447" y="2621297"/>
                  </a:cubicBezTo>
                  <a:cubicBezTo>
                    <a:pt x="132447" y="2621297"/>
                    <a:pt x="132447" y="2621297"/>
                    <a:pt x="148328" y="2608938"/>
                  </a:cubicBezTo>
                  <a:cubicBezTo>
                    <a:pt x="148328" y="2608938"/>
                    <a:pt x="148328" y="2608938"/>
                    <a:pt x="158174" y="2631121"/>
                  </a:cubicBezTo>
                  <a:cubicBezTo>
                    <a:pt x="158174" y="2631121"/>
                    <a:pt x="158174" y="2631121"/>
                    <a:pt x="128318" y="2659957"/>
                  </a:cubicBezTo>
                  <a:cubicBezTo>
                    <a:pt x="128318" y="2659957"/>
                    <a:pt x="128318" y="2659957"/>
                    <a:pt x="141976" y="2681189"/>
                  </a:cubicBezTo>
                  <a:cubicBezTo>
                    <a:pt x="141976" y="2681189"/>
                    <a:pt x="141976" y="2681189"/>
                    <a:pt x="202959" y="2631437"/>
                  </a:cubicBezTo>
                  <a:cubicBezTo>
                    <a:pt x="202959" y="2631437"/>
                    <a:pt x="202959" y="2631437"/>
                    <a:pt x="155316" y="2569644"/>
                  </a:cubicBezTo>
                  <a:close/>
                  <a:moveTo>
                    <a:pt x="343346" y="2563940"/>
                  </a:moveTo>
                  <a:cubicBezTo>
                    <a:pt x="343346" y="2563940"/>
                    <a:pt x="343346" y="2563940"/>
                    <a:pt x="302373" y="2596580"/>
                  </a:cubicBezTo>
                  <a:lnTo>
                    <a:pt x="215981" y="2668513"/>
                  </a:lnTo>
                  <a:cubicBezTo>
                    <a:pt x="215981" y="2668513"/>
                    <a:pt x="215981" y="2668513"/>
                    <a:pt x="262989" y="2731574"/>
                  </a:cubicBezTo>
                  <a:cubicBezTo>
                    <a:pt x="277917" y="2723335"/>
                    <a:pt x="289351" y="2716997"/>
                    <a:pt x="291892" y="2715413"/>
                  </a:cubicBezTo>
                  <a:cubicBezTo>
                    <a:pt x="294115" y="2712244"/>
                    <a:pt x="305232" y="2695132"/>
                    <a:pt x="316666" y="2677703"/>
                  </a:cubicBezTo>
                  <a:cubicBezTo>
                    <a:pt x="322701" y="2668196"/>
                    <a:pt x="329053" y="2658373"/>
                    <a:pt x="333818" y="2651084"/>
                  </a:cubicBezTo>
                  <a:cubicBezTo>
                    <a:pt x="336041" y="2647599"/>
                    <a:pt x="337947" y="2644430"/>
                    <a:pt x="339535" y="2642211"/>
                  </a:cubicBezTo>
                  <a:cubicBezTo>
                    <a:pt x="340170" y="2641261"/>
                    <a:pt x="340488" y="2640310"/>
                    <a:pt x="341123" y="2639676"/>
                  </a:cubicBezTo>
                  <a:cubicBezTo>
                    <a:pt x="341123" y="2639676"/>
                    <a:pt x="341123" y="2639676"/>
                    <a:pt x="341123" y="2639359"/>
                  </a:cubicBezTo>
                  <a:cubicBezTo>
                    <a:pt x="341123" y="2639359"/>
                    <a:pt x="341123" y="2639043"/>
                    <a:pt x="341123" y="2638409"/>
                  </a:cubicBezTo>
                  <a:cubicBezTo>
                    <a:pt x="341123" y="2629536"/>
                    <a:pt x="342711" y="2581052"/>
                    <a:pt x="343346" y="2563940"/>
                  </a:cubicBezTo>
                  <a:close/>
                  <a:moveTo>
                    <a:pt x="2490449" y="2562356"/>
                  </a:moveTo>
                  <a:cubicBezTo>
                    <a:pt x="2490449" y="2562356"/>
                    <a:pt x="2490449" y="2562356"/>
                    <a:pt x="2470122" y="2602284"/>
                  </a:cubicBezTo>
                  <a:lnTo>
                    <a:pt x="2506012" y="2619712"/>
                  </a:lnTo>
                  <a:cubicBezTo>
                    <a:pt x="2506012" y="2619712"/>
                    <a:pt x="2506012" y="2619712"/>
                    <a:pt x="2526022" y="2581052"/>
                  </a:cubicBezTo>
                  <a:cubicBezTo>
                    <a:pt x="2526022" y="2581052"/>
                    <a:pt x="2526022" y="2581052"/>
                    <a:pt x="2490449" y="2562356"/>
                  </a:cubicBezTo>
                  <a:close/>
                  <a:moveTo>
                    <a:pt x="155633" y="2562356"/>
                  </a:moveTo>
                  <a:cubicBezTo>
                    <a:pt x="155633" y="2562356"/>
                    <a:pt x="155633" y="2562356"/>
                    <a:pt x="209629" y="2632388"/>
                  </a:cubicBezTo>
                  <a:cubicBezTo>
                    <a:pt x="209629" y="2632388"/>
                    <a:pt x="209629" y="2632388"/>
                    <a:pt x="207723" y="2633655"/>
                  </a:cubicBezTo>
                  <a:cubicBezTo>
                    <a:pt x="207723" y="2633655"/>
                    <a:pt x="207723" y="2633655"/>
                    <a:pt x="141023" y="2688160"/>
                  </a:cubicBezTo>
                  <a:cubicBezTo>
                    <a:pt x="141023" y="2688160"/>
                    <a:pt x="141023" y="2688160"/>
                    <a:pt x="122283" y="2659323"/>
                  </a:cubicBezTo>
                  <a:cubicBezTo>
                    <a:pt x="122283" y="2659323"/>
                    <a:pt x="122283" y="2659323"/>
                    <a:pt x="152775" y="2630170"/>
                  </a:cubicBezTo>
                  <a:cubicBezTo>
                    <a:pt x="152775" y="2630170"/>
                    <a:pt x="152775" y="2630170"/>
                    <a:pt x="146423" y="2616227"/>
                  </a:cubicBezTo>
                  <a:lnTo>
                    <a:pt x="131494" y="2627951"/>
                  </a:lnTo>
                  <a:cubicBezTo>
                    <a:pt x="131494" y="2627951"/>
                    <a:pt x="131494" y="2627951"/>
                    <a:pt x="116249" y="2605136"/>
                  </a:cubicBezTo>
                  <a:cubicBezTo>
                    <a:pt x="116249" y="2605136"/>
                    <a:pt x="116249" y="2605136"/>
                    <a:pt x="155633" y="2562356"/>
                  </a:cubicBezTo>
                  <a:close/>
                  <a:moveTo>
                    <a:pt x="751804" y="2560454"/>
                  </a:moveTo>
                  <a:cubicBezTo>
                    <a:pt x="751804" y="2560454"/>
                    <a:pt x="751804" y="2560454"/>
                    <a:pt x="739417" y="2569327"/>
                  </a:cubicBezTo>
                  <a:cubicBezTo>
                    <a:pt x="739417" y="2569327"/>
                    <a:pt x="739417" y="2569327"/>
                    <a:pt x="778166" y="2645063"/>
                  </a:cubicBezTo>
                  <a:lnTo>
                    <a:pt x="826762" y="2626050"/>
                  </a:lnTo>
                  <a:cubicBezTo>
                    <a:pt x="826762" y="2626050"/>
                    <a:pt x="826762" y="2626050"/>
                    <a:pt x="821363" y="2608621"/>
                  </a:cubicBezTo>
                  <a:cubicBezTo>
                    <a:pt x="821363" y="2608621"/>
                    <a:pt x="821363" y="2608621"/>
                    <a:pt x="798812" y="2614959"/>
                  </a:cubicBezTo>
                  <a:cubicBezTo>
                    <a:pt x="798812" y="2614959"/>
                    <a:pt x="798812" y="2614959"/>
                    <a:pt x="795953" y="2615910"/>
                  </a:cubicBezTo>
                  <a:cubicBezTo>
                    <a:pt x="795953" y="2615910"/>
                    <a:pt x="795953" y="2615910"/>
                    <a:pt x="794047" y="2613692"/>
                  </a:cubicBezTo>
                  <a:cubicBezTo>
                    <a:pt x="794047" y="2613692"/>
                    <a:pt x="794047" y="2613692"/>
                    <a:pt x="751804" y="2560454"/>
                  </a:cubicBezTo>
                  <a:close/>
                  <a:moveTo>
                    <a:pt x="2373248" y="2559187"/>
                  </a:moveTo>
                  <a:cubicBezTo>
                    <a:pt x="2373248" y="2559187"/>
                    <a:pt x="2373248" y="2559187"/>
                    <a:pt x="2357367" y="2609255"/>
                  </a:cubicBezTo>
                  <a:cubicBezTo>
                    <a:pt x="2357367" y="2609255"/>
                    <a:pt x="2357367" y="2609255"/>
                    <a:pt x="2441854" y="2648549"/>
                  </a:cubicBezTo>
                  <a:lnTo>
                    <a:pt x="2464404" y="2604185"/>
                  </a:lnTo>
                  <a:cubicBezTo>
                    <a:pt x="2464404" y="2604185"/>
                    <a:pt x="2464404" y="2604185"/>
                    <a:pt x="2373248" y="2559187"/>
                  </a:cubicBezTo>
                  <a:close/>
                  <a:moveTo>
                    <a:pt x="843596" y="2557919"/>
                  </a:moveTo>
                  <a:cubicBezTo>
                    <a:pt x="843596" y="2557919"/>
                    <a:pt x="843596" y="2557919"/>
                    <a:pt x="794047" y="2571229"/>
                  </a:cubicBezTo>
                  <a:cubicBezTo>
                    <a:pt x="794047" y="2571229"/>
                    <a:pt x="794047" y="2571229"/>
                    <a:pt x="808975" y="2589608"/>
                  </a:cubicBezTo>
                  <a:cubicBezTo>
                    <a:pt x="808975" y="2589608"/>
                    <a:pt x="808975" y="2589608"/>
                    <a:pt x="834067" y="2583587"/>
                  </a:cubicBezTo>
                  <a:cubicBezTo>
                    <a:pt x="834067" y="2583587"/>
                    <a:pt x="834067" y="2583587"/>
                    <a:pt x="838196" y="2582637"/>
                  </a:cubicBezTo>
                  <a:cubicBezTo>
                    <a:pt x="838196" y="2582637"/>
                    <a:pt x="838196" y="2582637"/>
                    <a:pt x="839467" y="2586122"/>
                  </a:cubicBezTo>
                  <a:lnTo>
                    <a:pt x="864241" y="2654253"/>
                  </a:lnTo>
                  <a:cubicBezTo>
                    <a:pt x="894097" y="2659957"/>
                    <a:pt x="910613" y="2663443"/>
                    <a:pt x="919507" y="2665028"/>
                  </a:cubicBezTo>
                  <a:cubicBezTo>
                    <a:pt x="919507" y="2665028"/>
                    <a:pt x="919507" y="2665028"/>
                    <a:pt x="843596" y="2557919"/>
                  </a:cubicBezTo>
                  <a:close/>
                  <a:moveTo>
                    <a:pt x="1625891" y="2556652"/>
                  </a:moveTo>
                  <a:cubicBezTo>
                    <a:pt x="1613821" y="2559187"/>
                    <a:pt x="1572531" y="2567743"/>
                    <a:pt x="1526476" y="2575982"/>
                  </a:cubicBezTo>
                  <a:cubicBezTo>
                    <a:pt x="1532829" y="2575982"/>
                    <a:pt x="1539181" y="2575665"/>
                    <a:pt x="1545216" y="2575665"/>
                  </a:cubicBezTo>
                  <a:cubicBezTo>
                    <a:pt x="1580472" y="2575665"/>
                    <a:pt x="1612233" y="2576933"/>
                    <a:pt x="1637643" y="2578200"/>
                  </a:cubicBezTo>
                  <a:cubicBezTo>
                    <a:pt x="1716412" y="2581686"/>
                    <a:pt x="1874587" y="2599115"/>
                    <a:pt x="1959708" y="2599115"/>
                  </a:cubicBezTo>
                  <a:cubicBezTo>
                    <a:pt x="1959708" y="2599115"/>
                    <a:pt x="1959708" y="2599115"/>
                    <a:pt x="1960026" y="2599115"/>
                  </a:cubicBezTo>
                  <a:cubicBezTo>
                    <a:pt x="1972731" y="2599115"/>
                    <a:pt x="1983530" y="2598798"/>
                    <a:pt x="1991788" y="2598164"/>
                  </a:cubicBezTo>
                  <a:cubicBezTo>
                    <a:pt x="1995917" y="2597847"/>
                    <a:pt x="1999411" y="2597214"/>
                    <a:pt x="2001952" y="2596580"/>
                  </a:cubicBezTo>
                  <a:cubicBezTo>
                    <a:pt x="2002904" y="2596263"/>
                    <a:pt x="2004175" y="2596263"/>
                    <a:pt x="2004810" y="2595946"/>
                  </a:cubicBezTo>
                  <a:cubicBezTo>
                    <a:pt x="2005128" y="2595946"/>
                    <a:pt x="2005128" y="2595946"/>
                    <a:pt x="2005445" y="2595629"/>
                  </a:cubicBezTo>
                  <a:cubicBezTo>
                    <a:pt x="2005445" y="2595629"/>
                    <a:pt x="2005445" y="2595629"/>
                    <a:pt x="2005763" y="2595629"/>
                  </a:cubicBezTo>
                  <a:cubicBezTo>
                    <a:pt x="2007986" y="2594678"/>
                    <a:pt x="2011480" y="2591826"/>
                    <a:pt x="2015292" y="2584221"/>
                  </a:cubicBezTo>
                  <a:cubicBezTo>
                    <a:pt x="1891738" y="2575665"/>
                    <a:pt x="1656700" y="2558870"/>
                    <a:pt x="1625891" y="2556652"/>
                  </a:cubicBezTo>
                  <a:close/>
                  <a:moveTo>
                    <a:pt x="752439" y="2554434"/>
                  </a:moveTo>
                  <a:cubicBezTo>
                    <a:pt x="752439" y="2554434"/>
                    <a:pt x="752439" y="2554434"/>
                    <a:pt x="797541" y="2610840"/>
                  </a:cubicBezTo>
                  <a:lnTo>
                    <a:pt x="824221" y="2602917"/>
                  </a:lnTo>
                  <a:cubicBezTo>
                    <a:pt x="824221" y="2602917"/>
                    <a:pt x="824221" y="2602917"/>
                    <a:pt x="832479" y="2628585"/>
                  </a:cubicBezTo>
                  <a:cubicBezTo>
                    <a:pt x="832479" y="2628585"/>
                    <a:pt x="832479" y="2628585"/>
                    <a:pt x="775943" y="2650768"/>
                  </a:cubicBezTo>
                  <a:cubicBezTo>
                    <a:pt x="775943" y="2650768"/>
                    <a:pt x="775943" y="2650768"/>
                    <a:pt x="733700" y="2568060"/>
                  </a:cubicBezTo>
                  <a:cubicBezTo>
                    <a:pt x="733700" y="2568060"/>
                    <a:pt x="733700" y="2568060"/>
                    <a:pt x="752439" y="2554434"/>
                  </a:cubicBezTo>
                  <a:close/>
                  <a:moveTo>
                    <a:pt x="152457" y="2553483"/>
                  </a:moveTo>
                  <a:cubicBezTo>
                    <a:pt x="152457" y="2553483"/>
                    <a:pt x="152457" y="2553483"/>
                    <a:pt x="95286" y="2614325"/>
                  </a:cubicBezTo>
                  <a:cubicBezTo>
                    <a:pt x="85440" y="2624149"/>
                    <a:pt x="72417" y="2639676"/>
                    <a:pt x="52407" y="2654887"/>
                  </a:cubicBezTo>
                  <a:cubicBezTo>
                    <a:pt x="52407" y="2654887"/>
                    <a:pt x="52407" y="2654887"/>
                    <a:pt x="77182" y="2681189"/>
                  </a:cubicBezTo>
                  <a:cubicBezTo>
                    <a:pt x="77182" y="2681189"/>
                    <a:pt x="77182" y="2681189"/>
                    <a:pt x="63524" y="2695766"/>
                  </a:cubicBezTo>
                  <a:cubicBezTo>
                    <a:pt x="63524" y="2695766"/>
                    <a:pt x="63524" y="2695766"/>
                    <a:pt x="65430" y="2693864"/>
                  </a:cubicBezTo>
                  <a:lnTo>
                    <a:pt x="104814" y="2733792"/>
                  </a:lnTo>
                  <a:cubicBezTo>
                    <a:pt x="104814" y="2733792"/>
                    <a:pt x="104814" y="2733792"/>
                    <a:pt x="222333" y="2636191"/>
                  </a:cubicBezTo>
                  <a:cubicBezTo>
                    <a:pt x="222333" y="2636191"/>
                    <a:pt x="222333" y="2636191"/>
                    <a:pt x="152457" y="2553483"/>
                  </a:cubicBezTo>
                  <a:close/>
                  <a:moveTo>
                    <a:pt x="845502" y="2552532"/>
                  </a:moveTo>
                  <a:lnTo>
                    <a:pt x="929671" y="2671682"/>
                  </a:lnTo>
                  <a:cubicBezTo>
                    <a:pt x="929988" y="2671682"/>
                    <a:pt x="861065" y="2658373"/>
                    <a:pt x="861065" y="2658373"/>
                  </a:cubicBezTo>
                  <a:cubicBezTo>
                    <a:pt x="861065" y="2658373"/>
                    <a:pt x="861065" y="2658373"/>
                    <a:pt x="835338" y="2587707"/>
                  </a:cubicBezTo>
                  <a:cubicBezTo>
                    <a:pt x="835338" y="2587707"/>
                    <a:pt x="835338" y="2587707"/>
                    <a:pt x="807387" y="2594678"/>
                  </a:cubicBezTo>
                  <a:cubicBezTo>
                    <a:pt x="807387" y="2594678"/>
                    <a:pt x="807387" y="2594678"/>
                    <a:pt x="786424" y="2569010"/>
                  </a:cubicBezTo>
                  <a:cubicBezTo>
                    <a:pt x="786424" y="2569010"/>
                    <a:pt x="786424" y="2569010"/>
                    <a:pt x="845502" y="2552532"/>
                  </a:cubicBezTo>
                  <a:close/>
                  <a:moveTo>
                    <a:pt x="379555" y="2549680"/>
                  </a:moveTo>
                  <a:cubicBezTo>
                    <a:pt x="379555" y="2549680"/>
                    <a:pt x="379555" y="2549680"/>
                    <a:pt x="362721" y="2563623"/>
                  </a:cubicBezTo>
                  <a:cubicBezTo>
                    <a:pt x="362721" y="2563623"/>
                    <a:pt x="362721" y="2563623"/>
                    <a:pt x="360180" y="2618445"/>
                  </a:cubicBezTo>
                  <a:cubicBezTo>
                    <a:pt x="360180" y="2618445"/>
                    <a:pt x="360180" y="2618445"/>
                    <a:pt x="401153" y="2618128"/>
                  </a:cubicBezTo>
                  <a:lnTo>
                    <a:pt x="405917" y="2588024"/>
                  </a:lnTo>
                  <a:cubicBezTo>
                    <a:pt x="405917" y="2588024"/>
                    <a:pt x="405917" y="2588024"/>
                    <a:pt x="379555" y="2549680"/>
                  </a:cubicBezTo>
                  <a:close/>
                  <a:moveTo>
                    <a:pt x="380190" y="2543026"/>
                  </a:moveTo>
                  <a:cubicBezTo>
                    <a:pt x="380190" y="2543026"/>
                    <a:pt x="380190" y="2543026"/>
                    <a:pt x="410364" y="2587073"/>
                  </a:cubicBezTo>
                  <a:cubicBezTo>
                    <a:pt x="410364" y="2587073"/>
                    <a:pt x="410364" y="2587073"/>
                    <a:pt x="404964" y="2622564"/>
                  </a:cubicBezTo>
                  <a:cubicBezTo>
                    <a:pt x="404964" y="2622564"/>
                    <a:pt x="404964" y="2622564"/>
                    <a:pt x="355733" y="2622881"/>
                  </a:cubicBezTo>
                  <a:cubicBezTo>
                    <a:pt x="355733" y="2622881"/>
                    <a:pt x="355733" y="2622881"/>
                    <a:pt x="358274" y="2561405"/>
                  </a:cubicBezTo>
                  <a:close/>
                  <a:moveTo>
                    <a:pt x="1248877" y="2541441"/>
                  </a:moveTo>
                  <a:cubicBezTo>
                    <a:pt x="1248877" y="2541441"/>
                    <a:pt x="1248877" y="2541441"/>
                    <a:pt x="1254912" y="2544927"/>
                  </a:cubicBezTo>
                  <a:close/>
                  <a:moveTo>
                    <a:pt x="2277327" y="2539857"/>
                  </a:moveTo>
                  <a:cubicBezTo>
                    <a:pt x="2277327" y="2539857"/>
                    <a:pt x="2277327" y="2539857"/>
                    <a:pt x="2261446" y="2586439"/>
                  </a:cubicBezTo>
                  <a:cubicBezTo>
                    <a:pt x="2290350" y="2592460"/>
                    <a:pt x="2321794" y="2599115"/>
                    <a:pt x="2337357" y="2602601"/>
                  </a:cubicBezTo>
                  <a:lnTo>
                    <a:pt x="2352920" y="2554117"/>
                  </a:lnTo>
                  <a:cubicBezTo>
                    <a:pt x="2352920" y="2554117"/>
                    <a:pt x="2352920" y="2554117"/>
                    <a:pt x="2277327" y="2539857"/>
                  </a:cubicBezTo>
                  <a:close/>
                  <a:moveTo>
                    <a:pt x="554563" y="2534786"/>
                  </a:moveTo>
                  <a:cubicBezTo>
                    <a:pt x="554563" y="2534786"/>
                    <a:pt x="554563" y="2534786"/>
                    <a:pt x="514225" y="2569644"/>
                  </a:cubicBezTo>
                  <a:cubicBezTo>
                    <a:pt x="523436" y="2582003"/>
                    <a:pt x="536458" y="2598481"/>
                    <a:pt x="540270" y="2603551"/>
                  </a:cubicBezTo>
                  <a:cubicBezTo>
                    <a:pt x="545034" y="2603234"/>
                    <a:pt x="558057" y="2602917"/>
                    <a:pt x="572032" y="2602284"/>
                  </a:cubicBezTo>
                  <a:cubicBezTo>
                    <a:pt x="599982" y="2601333"/>
                    <a:pt x="613005" y="2601016"/>
                    <a:pt x="616816" y="2601016"/>
                  </a:cubicBezTo>
                  <a:cubicBezTo>
                    <a:pt x="618722" y="2599748"/>
                    <a:pt x="624756" y="2595629"/>
                    <a:pt x="631109" y="2591193"/>
                  </a:cubicBezTo>
                  <a:cubicBezTo>
                    <a:pt x="625392" y="2588341"/>
                    <a:pt x="616816" y="2584221"/>
                    <a:pt x="608240" y="2580101"/>
                  </a:cubicBezTo>
                  <a:cubicBezTo>
                    <a:pt x="575843" y="2564257"/>
                    <a:pt x="575843" y="2564257"/>
                    <a:pt x="576796" y="2560454"/>
                  </a:cubicBezTo>
                  <a:cubicBezTo>
                    <a:pt x="576796" y="2560454"/>
                    <a:pt x="576796" y="2560454"/>
                    <a:pt x="577431" y="2556969"/>
                  </a:cubicBezTo>
                  <a:cubicBezTo>
                    <a:pt x="577431" y="2556969"/>
                    <a:pt x="577431" y="2556969"/>
                    <a:pt x="578384" y="2556969"/>
                  </a:cubicBezTo>
                  <a:cubicBezTo>
                    <a:pt x="579019" y="2554750"/>
                    <a:pt x="579972" y="2551265"/>
                    <a:pt x="580925" y="2547779"/>
                  </a:cubicBezTo>
                  <a:close/>
                  <a:moveTo>
                    <a:pt x="2231908" y="2531301"/>
                  </a:moveTo>
                  <a:cubicBezTo>
                    <a:pt x="2231908" y="2531301"/>
                    <a:pt x="2231908" y="2531301"/>
                    <a:pt x="2216026" y="2577249"/>
                  </a:cubicBezTo>
                  <a:cubicBezTo>
                    <a:pt x="2226826" y="2579468"/>
                    <a:pt x="2241754" y="2582637"/>
                    <a:pt x="2257317" y="2585805"/>
                  </a:cubicBezTo>
                  <a:cubicBezTo>
                    <a:pt x="2257317" y="2585805"/>
                    <a:pt x="2257317" y="2585805"/>
                    <a:pt x="2273198" y="2538906"/>
                  </a:cubicBezTo>
                  <a:close/>
                  <a:moveTo>
                    <a:pt x="384001" y="2530984"/>
                  </a:moveTo>
                  <a:cubicBezTo>
                    <a:pt x="384001" y="2530984"/>
                    <a:pt x="384001" y="2530984"/>
                    <a:pt x="348428" y="2559504"/>
                  </a:cubicBezTo>
                  <a:cubicBezTo>
                    <a:pt x="348428" y="2568377"/>
                    <a:pt x="346522" y="2618445"/>
                    <a:pt x="346522" y="2634606"/>
                  </a:cubicBezTo>
                  <a:cubicBezTo>
                    <a:pt x="346522" y="2634606"/>
                    <a:pt x="346522" y="2634606"/>
                    <a:pt x="416399" y="2630803"/>
                  </a:cubicBezTo>
                  <a:cubicBezTo>
                    <a:pt x="416399" y="2630803"/>
                    <a:pt x="416399" y="2630803"/>
                    <a:pt x="421798" y="2587707"/>
                  </a:cubicBezTo>
                  <a:close/>
                  <a:moveTo>
                    <a:pt x="553927" y="2529716"/>
                  </a:moveTo>
                  <a:cubicBezTo>
                    <a:pt x="553927" y="2529716"/>
                    <a:pt x="553927" y="2529716"/>
                    <a:pt x="586325" y="2545561"/>
                  </a:cubicBezTo>
                  <a:cubicBezTo>
                    <a:pt x="586325" y="2545561"/>
                    <a:pt x="581878" y="2561405"/>
                    <a:pt x="580925" y="2561405"/>
                  </a:cubicBezTo>
                  <a:cubicBezTo>
                    <a:pt x="579972" y="2561405"/>
                    <a:pt x="639685" y="2590242"/>
                    <a:pt x="639685" y="2590242"/>
                  </a:cubicBezTo>
                  <a:cubicBezTo>
                    <a:pt x="639685" y="2590242"/>
                    <a:pt x="618722" y="2605136"/>
                    <a:pt x="617769" y="2605136"/>
                  </a:cubicBezTo>
                  <a:cubicBezTo>
                    <a:pt x="616816" y="2605136"/>
                    <a:pt x="538999" y="2607988"/>
                    <a:pt x="538364" y="2607988"/>
                  </a:cubicBezTo>
                  <a:cubicBezTo>
                    <a:pt x="537729" y="2607988"/>
                    <a:pt x="508190" y="2569010"/>
                    <a:pt x="508190" y="2569010"/>
                  </a:cubicBezTo>
                  <a:close/>
                  <a:moveTo>
                    <a:pt x="2222696" y="2529399"/>
                  </a:moveTo>
                  <a:cubicBezTo>
                    <a:pt x="2218250" y="2542709"/>
                    <a:pt x="2212850" y="2558236"/>
                    <a:pt x="2207133" y="2575665"/>
                  </a:cubicBezTo>
                  <a:cubicBezTo>
                    <a:pt x="2208404" y="2575982"/>
                    <a:pt x="2210310" y="2576299"/>
                    <a:pt x="2211898" y="2576616"/>
                  </a:cubicBezTo>
                  <a:cubicBezTo>
                    <a:pt x="2211898" y="2576616"/>
                    <a:pt x="2211898" y="2576616"/>
                    <a:pt x="2227778" y="2530350"/>
                  </a:cubicBezTo>
                  <a:close/>
                  <a:moveTo>
                    <a:pt x="791824" y="2524646"/>
                  </a:moveTo>
                  <a:cubicBezTo>
                    <a:pt x="791824" y="2524646"/>
                    <a:pt x="791824" y="2524646"/>
                    <a:pt x="726712" y="2568694"/>
                  </a:cubicBezTo>
                  <a:cubicBezTo>
                    <a:pt x="726712" y="2568694"/>
                    <a:pt x="726712" y="2568694"/>
                    <a:pt x="773720" y="2665978"/>
                  </a:cubicBezTo>
                  <a:cubicBezTo>
                    <a:pt x="778166" y="2664077"/>
                    <a:pt x="788965" y="2659957"/>
                    <a:pt x="800082" y="2655838"/>
                  </a:cubicBezTo>
                  <a:cubicBezTo>
                    <a:pt x="813104" y="2651084"/>
                    <a:pt x="825809" y="2646331"/>
                    <a:pt x="825809" y="2646331"/>
                  </a:cubicBezTo>
                  <a:cubicBezTo>
                    <a:pt x="825809" y="2646331"/>
                    <a:pt x="825809" y="2646331"/>
                    <a:pt x="827397" y="2646014"/>
                  </a:cubicBezTo>
                  <a:lnTo>
                    <a:pt x="912519" y="2730940"/>
                  </a:lnTo>
                  <a:cubicBezTo>
                    <a:pt x="912519" y="2730940"/>
                    <a:pt x="912519" y="2730940"/>
                    <a:pt x="911884" y="2731574"/>
                  </a:cubicBezTo>
                  <a:cubicBezTo>
                    <a:pt x="929035" y="2722384"/>
                    <a:pt x="946187" y="2713195"/>
                    <a:pt x="963021" y="2704321"/>
                  </a:cubicBezTo>
                  <a:cubicBezTo>
                    <a:pt x="963021" y="2704321"/>
                    <a:pt x="963021" y="2704321"/>
                    <a:pt x="845184" y="2538589"/>
                  </a:cubicBezTo>
                  <a:cubicBezTo>
                    <a:pt x="839149" y="2537005"/>
                    <a:pt x="798812" y="2526547"/>
                    <a:pt x="793730" y="2525280"/>
                  </a:cubicBezTo>
                  <a:cubicBezTo>
                    <a:pt x="793094" y="2524963"/>
                    <a:pt x="792459" y="2524963"/>
                    <a:pt x="791824" y="2524646"/>
                  </a:cubicBezTo>
                  <a:close/>
                  <a:moveTo>
                    <a:pt x="1373066" y="2522745"/>
                  </a:moveTo>
                  <a:lnTo>
                    <a:pt x="1340669" y="2527181"/>
                  </a:lnTo>
                  <a:cubicBezTo>
                    <a:pt x="1340669" y="2527181"/>
                    <a:pt x="1340669" y="2527181"/>
                    <a:pt x="1344481" y="2544293"/>
                  </a:cubicBezTo>
                  <a:cubicBezTo>
                    <a:pt x="1355280" y="2545244"/>
                    <a:pt x="1366396" y="2545878"/>
                    <a:pt x="1377831" y="2545878"/>
                  </a:cubicBezTo>
                  <a:cubicBezTo>
                    <a:pt x="1377831" y="2545878"/>
                    <a:pt x="1377831" y="2545878"/>
                    <a:pt x="1373066" y="2522745"/>
                  </a:cubicBezTo>
                  <a:close/>
                  <a:moveTo>
                    <a:pt x="1409275" y="2517675"/>
                  </a:moveTo>
                  <a:lnTo>
                    <a:pt x="1378466" y="2522111"/>
                  </a:lnTo>
                  <a:cubicBezTo>
                    <a:pt x="1378466" y="2522111"/>
                    <a:pt x="1378466" y="2522111"/>
                    <a:pt x="1383230" y="2545878"/>
                  </a:cubicBezTo>
                  <a:cubicBezTo>
                    <a:pt x="1390535" y="2545561"/>
                    <a:pt x="1397841" y="2545561"/>
                    <a:pt x="1405781" y="2544927"/>
                  </a:cubicBezTo>
                  <a:cubicBezTo>
                    <a:pt x="1408640" y="2544610"/>
                    <a:pt x="1411816" y="2544293"/>
                    <a:pt x="1414992" y="2543976"/>
                  </a:cubicBezTo>
                  <a:cubicBezTo>
                    <a:pt x="1414992" y="2543976"/>
                    <a:pt x="1414992" y="2543976"/>
                    <a:pt x="1409275" y="2517675"/>
                  </a:cubicBezTo>
                  <a:close/>
                  <a:moveTo>
                    <a:pt x="1895549" y="2514823"/>
                  </a:moveTo>
                  <a:cubicBezTo>
                    <a:pt x="1896820" y="2520210"/>
                    <a:pt x="1897455" y="2524646"/>
                    <a:pt x="1897773" y="2527498"/>
                  </a:cubicBezTo>
                  <a:cubicBezTo>
                    <a:pt x="1917465" y="2529082"/>
                    <a:pt x="1936522" y="2530350"/>
                    <a:pt x="1954944" y="2531618"/>
                  </a:cubicBezTo>
                  <a:cubicBezTo>
                    <a:pt x="1954944" y="2531618"/>
                    <a:pt x="1954944" y="2531618"/>
                    <a:pt x="1955897" y="2519893"/>
                  </a:cubicBezTo>
                  <a:close/>
                  <a:moveTo>
                    <a:pt x="1233949" y="2511654"/>
                  </a:moveTo>
                  <a:cubicBezTo>
                    <a:pt x="1233949" y="2511654"/>
                    <a:pt x="1233949" y="2511654"/>
                    <a:pt x="1184083" y="2534153"/>
                  </a:cubicBezTo>
                  <a:cubicBezTo>
                    <a:pt x="1184083" y="2534153"/>
                    <a:pt x="1184083" y="2534153"/>
                    <a:pt x="1163438" y="2526864"/>
                  </a:cubicBezTo>
                  <a:cubicBezTo>
                    <a:pt x="1163438" y="2526864"/>
                    <a:pt x="1163438" y="2526864"/>
                    <a:pt x="1104996" y="2596580"/>
                  </a:cubicBezTo>
                  <a:cubicBezTo>
                    <a:pt x="1104996" y="2596580"/>
                    <a:pt x="1104996" y="2596580"/>
                    <a:pt x="1103408" y="2596263"/>
                  </a:cubicBezTo>
                  <a:cubicBezTo>
                    <a:pt x="1103408" y="2596263"/>
                    <a:pt x="1093879" y="2593411"/>
                    <a:pt x="1084351" y="2590242"/>
                  </a:cubicBezTo>
                  <a:cubicBezTo>
                    <a:pt x="1079587" y="2588974"/>
                    <a:pt x="1074822" y="2587390"/>
                    <a:pt x="1071011" y="2586439"/>
                  </a:cubicBezTo>
                  <a:cubicBezTo>
                    <a:pt x="1069105" y="2585805"/>
                    <a:pt x="1067517" y="2585489"/>
                    <a:pt x="1066564" y="2585172"/>
                  </a:cubicBezTo>
                  <a:cubicBezTo>
                    <a:pt x="1066564" y="2585172"/>
                    <a:pt x="1066564" y="2585172"/>
                    <a:pt x="1032261" y="2667562"/>
                  </a:cubicBezTo>
                  <a:cubicBezTo>
                    <a:pt x="1058941" y="2653303"/>
                    <a:pt x="1083080" y="2640627"/>
                    <a:pt x="1102138" y="2630170"/>
                  </a:cubicBezTo>
                  <a:cubicBezTo>
                    <a:pt x="1115795" y="2622881"/>
                    <a:pt x="1126912" y="2616861"/>
                    <a:pt x="1135170" y="2612424"/>
                  </a:cubicBezTo>
                  <a:cubicBezTo>
                    <a:pt x="1138981" y="2610206"/>
                    <a:pt x="1142475" y="2608304"/>
                    <a:pt x="1144698" y="2607037"/>
                  </a:cubicBezTo>
                  <a:cubicBezTo>
                    <a:pt x="1145651" y="2606403"/>
                    <a:pt x="1146604" y="2605769"/>
                    <a:pt x="1147239" y="2605452"/>
                  </a:cubicBezTo>
                  <a:cubicBezTo>
                    <a:pt x="1147239" y="2605452"/>
                    <a:pt x="1147239" y="2605452"/>
                    <a:pt x="1147557" y="2605452"/>
                  </a:cubicBezTo>
                  <a:cubicBezTo>
                    <a:pt x="1152639" y="2601650"/>
                    <a:pt x="1166297" y="2589925"/>
                    <a:pt x="1183448" y="2578200"/>
                  </a:cubicBezTo>
                  <a:cubicBezTo>
                    <a:pt x="1200599" y="2566475"/>
                    <a:pt x="1222197" y="2554117"/>
                    <a:pt x="1246654" y="2547145"/>
                  </a:cubicBezTo>
                  <a:cubicBezTo>
                    <a:pt x="1245384" y="2544293"/>
                    <a:pt x="1243478" y="2539857"/>
                    <a:pt x="1241255" y="2534470"/>
                  </a:cubicBezTo>
                  <a:cubicBezTo>
                    <a:pt x="1238714" y="2527815"/>
                    <a:pt x="1235855" y="2520210"/>
                    <a:pt x="1233949" y="2511654"/>
                  </a:cubicBezTo>
                  <a:close/>
                  <a:moveTo>
                    <a:pt x="1850448" y="2510703"/>
                  </a:moveTo>
                  <a:cubicBezTo>
                    <a:pt x="1850448" y="2510703"/>
                    <a:pt x="1850448" y="2510703"/>
                    <a:pt x="1852036" y="2524329"/>
                  </a:cubicBezTo>
                  <a:cubicBezTo>
                    <a:pt x="1852671" y="2524329"/>
                    <a:pt x="1853624" y="2524329"/>
                    <a:pt x="1854259" y="2524329"/>
                  </a:cubicBezTo>
                  <a:cubicBezTo>
                    <a:pt x="1867281" y="2525280"/>
                    <a:pt x="1880304" y="2526230"/>
                    <a:pt x="1893326" y="2527181"/>
                  </a:cubicBezTo>
                  <a:cubicBezTo>
                    <a:pt x="1893008" y="2524329"/>
                    <a:pt x="1892056" y="2519893"/>
                    <a:pt x="1891103" y="2514189"/>
                  </a:cubicBezTo>
                  <a:close/>
                  <a:moveTo>
                    <a:pt x="2778847" y="2506583"/>
                  </a:moveTo>
                  <a:cubicBezTo>
                    <a:pt x="2771224" y="2512921"/>
                    <a:pt x="2761060" y="2520527"/>
                    <a:pt x="2749309" y="2528449"/>
                  </a:cubicBezTo>
                  <a:cubicBezTo>
                    <a:pt x="2729616" y="2541441"/>
                    <a:pt x="2706430" y="2554750"/>
                    <a:pt x="2680703" y="2560771"/>
                  </a:cubicBezTo>
                  <a:cubicBezTo>
                    <a:pt x="2654658" y="2566792"/>
                    <a:pt x="2623532" y="2571229"/>
                    <a:pt x="2599392" y="2574081"/>
                  </a:cubicBezTo>
                  <a:cubicBezTo>
                    <a:pt x="2614956" y="2585489"/>
                    <a:pt x="2635601" y="2601016"/>
                    <a:pt x="2657517" y="2616861"/>
                  </a:cubicBezTo>
                  <a:cubicBezTo>
                    <a:pt x="2701348" y="2648866"/>
                    <a:pt x="2749626" y="2683724"/>
                    <a:pt x="2764872" y="2692914"/>
                  </a:cubicBezTo>
                  <a:cubicBezTo>
                    <a:pt x="2797587" y="2712244"/>
                    <a:pt x="2906530" y="2781008"/>
                    <a:pt x="2956396" y="2807627"/>
                  </a:cubicBezTo>
                  <a:cubicBezTo>
                    <a:pt x="3006580" y="2834880"/>
                    <a:pt x="3140615" y="2907447"/>
                    <a:pt x="3191434" y="2928995"/>
                  </a:cubicBezTo>
                  <a:cubicBezTo>
                    <a:pt x="3240030" y="2949593"/>
                    <a:pt x="3369618" y="3010119"/>
                    <a:pt x="3387722" y="3018357"/>
                  </a:cubicBezTo>
                  <a:cubicBezTo>
                    <a:pt x="3396616" y="3010435"/>
                    <a:pt x="3409956" y="2998710"/>
                    <a:pt x="3425202" y="2984767"/>
                  </a:cubicBezTo>
                  <a:cubicBezTo>
                    <a:pt x="3452517" y="2959733"/>
                    <a:pt x="3485867" y="2928361"/>
                    <a:pt x="3508735" y="2904278"/>
                  </a:cubicBezTo>
                  <a:cubicBezTo>
                    <a:pt x="3541132" y="2870688"/>
                    <a:pt x="3549073" y="2813331"/>
                    <a:pt x="3550978" y="2787663"/>
                  </a:cubicBezTo>
                  <a:cubicBezTo>
                    <a:pt x="3520487" y="2781959"/>
                    <a:pt x="3395028" y="2758193"/>
                    <a:pt x="3254005" y="2711927"/>
                  </a:cubicBezTo>
                  <a:cubicBezTo>
                    <a:pt x="3092019" y="2658690"/>
                    <a:pt x="2899542" y="2571862"/>
                    <a:pt x="2848088" y="2549680"/>
                  </a:cubicBezTo>
                  <a:cubicBezTo>
                    <a:pt x="2822996" y="2538589"/>
                    <a:pt x="2799492" y="2523696"/>
                    <a:pt x="2778847" y="2506583"/>
                  </a:cubicBezTo>
                  <a:close/>
                  <a:moveTo>
                    <a:pt x="1489315" y="2506583"/>
                  </a:moveTo>
                  <a:cubicBezTo>
                    <a:pt x="1489315" y="2506583"/>
                    <a:pt x="1489315" y="2506583"/>
                    <a:pt x="1414357" y="2517041"/>
                  </a:cubicBezTo>
                  <a:lnTo>
                    <a:pt x="1420074" y="2543026"/>
                  </a:lnTo>
                  <a:cubicBezTo>
                    <a:pt x="1420074" y="2543026"/>
                    <a:pt x="1420074" y="2543026"/>
                    <a:pt x="1415627" y="2543976"/>
                  </a:cubicBezTo>
                  <a:cubicBezTo>
                    <a:pt x="1436908" y="2541758"/>
                    <a:pt x="1464858" y="2537638"/>
                    <a:pt x="1493762" y="2532568"/>
                  </a:cubicBezTo>
                  <a:cubicBezTo>
                    <a:pt x="1493762" y="2532568"/>
                    <a:pt x="1493762" y="2532568"/>
                    <a:pt x="1489315" y="2506583"/>
                  </a:cubicBezTo>
                  <a:close/>
                  <a:moveTo>
                    <a:pt x="415128" y="2505950"/>
                  </a:moveTo>
                  <a:cubicBezTo>
                    <a:pt x="415128" y="2505950"/>
                    <a:pt x="415128" y="2505950"/>
                    <a:pt x="388130" y="2527815"/>
                  </a:cubicBezTo>
                  <a:cubicBezTo>
                    <a:pt x="388130" y="2527815"/>
                    <a:pt x="388130" y="2527815"/>
                    <a:pt x="427198" y="2586439"/>
                  </a:cubicBezTo>
                  <a:cubicBezTo>
                    <a:pt x="427198" y="2586439"/>
                    <a:pt x="427198" y="2586439"/>
                    <a:pt x="421480" y="2632071"/>
                  </a:cubicBezTo>
                  <a:cubicBezTo>
                    <a:pt x="421480" y="2632071"/>
                    <a:pt x="421480" y="2632071"/>
                    <a:pt x="488180" y="2681189"/>
                  </a:cubicBezTo>
                  <a:cubicBezTo>
                    <a:pt x="501203" y="2659323"/>
                    <a:pt x="512319" y="2640310"/>
                    <a:pt x="517084" y="2632071"/>
                  </a:cubicBezTo>
                  <a:close/>
                  <a:moveTo>
                    <a:pt x="1780254" y="2504999"/>
                  </a:moveTo>
                  <a:cubicBezTo>
                    <a:pt x="1780254" y="2504999"/>
                    <a:pt x="1780254" y="2504999"/>
                    <a:pt x="1780254" y="2519259"/>
                  </a:cubicBezTo>
                  <a:cubicBezTo>
                    <a:pt x="1801852" y="2520843"/>
                    <a:pt x="1824720" y="2522428"/>
                    <a:pt x="1847589" y="2524012"/>
                  </a:cubicBezTo>
                  <a:cubicBezTo>
                    <a:pt x="1847589" y="2524012"/>
                    <a:pt x="1847589" y="2524012"/>
                    <a:pt x="1846001" y="2510386"/>
                  </a:cubicBezTo>
                  <a:close/>
                  <a:moveTo>
                    <a:pt x="1527112" y="2501196"/>
                  </a:moveTo>
                  <a:lnTo>
                    <a:pt x="1493762" y="2505950"/>
                  </a:lnTo>
                  <a:cubicBezTo>
                    <a:pt x="1493762" y="2505950"/>
                    <a:pt x="1493762" y="2505950"/>
                    <a:pt x="1498208" y="2531934"/>
                  </a:cubicBezTo>
                  <a:cubicBezTo>
                    <a:pt x="1509325" y="2530033"/>
                    <a:pt x="1520124" y="2528132"/>
                    <a:pt x="1530923" y="2525914"/>
                  </a:cubicBezTo>
                  <a:cubicBezTo>
                    <a:pt x="1530288" y="2521477"/>
                    <a:pt x="1529017" y="2512604"/>
                    <a:pt x="1527112" y="2501196"/>
                  </a:cubicBezTo>
                  <a:close/>
                  <a:moveTo>
                    <a:pt x="47643" y="2500563"/>
                  </a:moveTo>
                  <a:cubicBezTo>
                    <a:pt x="47643" y="2500563"/>
                    <a:pt x="47643" y="2500563"/>
                    <a:pt x="24139" y="2546511"/>
                  </a:cubicBezTo>
                  <a:cubicBezTo>
                    <a:pt x="24139" y="2546511"/>
                    <a:pt x="24139" y="2546511"/>
                    <a:pt x="72417" y="2580418"/>
                  </a:cubicBezTo>
                  <a:lnTo>
                    <a:pt x="76864" y="2566475"/>
                  </a:lnTo>
                  <a:cubicBezTo>
                    <a:pt x="76864" y="2566475"/>
                    <a:pt x="76864" y="2566475"/>
                    <a:pt x="62254" y="2560771"/>
                  </a:cubicBezTo>
                  <a:cubicBezTo>
                    <a:pt x="62254" y="2560771"/>
                    <a:pt x="62254" y="2560771"/>
                    <a:pt x="68924" y="2539540"/>
                  </a:cubicBezTo>
                  <a:cubicBezTo>
                    <a:pt x="68924" y="2539540"/>
                    <a:pt x="68924" y="2539540"/>
                    <a:pt x="47643" y="2500563"/>
                  </a:cubicBezTo>
                  <a:close/>
                  <a:moveTo>
                    <a:pt x="1715142" y="2499295"/>
                  </a:moveTo>
                  <a:lnTo>
                    <a:pt x="1714824" y="2514506"/>
                  </a:lnTo>
                  <a:cubicBezTo>
                    <a:pt x="1733564" y="2515773"/>
                    <a:pt x="1754209" y="2517358"/>
                    <a:pt x="1775807" y="2518942"/>
                  </a:cubicBezTo>
                  <a:cubicBezTo>
                    <a:pt x="1775807" y="2518942"/>
                    <a:pt x="1775807" y="2518942"/>
                    <a:pt x="1775807" y="2504365"/>
                  </a:cubicBezTo>
                  <a:cubicBezTo>
                    <a:pt x="1775807" y="2504365"/>
                    <a:pt x="1775807" y="2504365"/>
                    <a:pt x="1715142" y="2499295"/>
                  </a:cubicBezTo>
                  <a:close/>
                  <a:moveTo>
                    <a:pt x="580925" y="2499295"/>
                  </a:moveTo>
                  <a:cubicBezTo>
                    <a:pt x="575526" y="2503731"/>
                    <a:pt x="554245" y="2520527"/>
                    <a:pt x="532965" y="2537638"/>
                  </a:cubicBezTo>
                  <a:cubicBezTo>
                    <a:pt x="520578" y="2547462"/>
                    <a:pt x="508508" y="2557602"/>
                    <a:pt x="498979" y="2565208"/>
                  </a:cubicBezTo>
                  <a:cubicBezTo>
                    <a:pt x="494850" y="2568694"/>
                    <a:pt x="491357" y="2571862"/>
                    <a:pt x="488498" y="2574081"/>
                  </a:cubicBezTo>
                  <a:cubicBezTo>
                    <a:pt x="488498" y="2574081"/>
                    <a:pt x="488498" y="2574081"/>
                    <a:pt x="528836" y="2623832"/>
                  </a:cubicBezTo>
                  <a:cubicBezTo>
                    <a:pt x="528836" y="2623832"/>
                    <a:pt x="528836" y="2623832"/>
                    <a:pt x="632062" y="2615910"/>
                  </a:cubicBezTo>
                  <a:cubicBezTo>
                    <a:pt x="632062" y="2615910"/>
                    <a:pt x="632062" y="2615910"/>
                    <a:pt x="667953" y="2591826"/>
                  </a:cubicBezTo>
                  <a:cubicBezTo>
                    <a:pt x="667953" y="2591826"/>
                    <a:pt x="667953" y="2591826"/>
                    <a:pt x="592359" y="2556335"/>
                  </a:cubicBezTo>
                  <a:cubicBezTo>
                    <a:pt x="592359" y="2556335"/>
                    <a:pt x="592359" y="2556335"/>
                    <a:pt x="605699" y="2511971"/>
                  </a:cubicBezTo>
                  <a:cubicBezTo>
                    <a:pt x="605382" y="2511971"/>
                    <a:pt x="605382" y="2511971"/>
                    <a:pt x="605382" y="2511971"/>
                  </a:cubicBezTo>
                  <a:cubicBezTo>
                    <a:pt x="605382" y="2511971"/>
                    <a:pt x="605382" y="2511971"/>
                    <a:pt x="605382" y="2509752"/>
                  </a:cubicBezTo>
                  <a:cubicBezTo>
                    <a:pt x="602523" y="2508802"/>
                    <a:pt x="598394" y="2506900"/>
                    <a:pt x="593947" y="2504999"/>
                  </a:cubicBezTo>
                  <a:cubicBezTo>
                    <a:pt x="590454" y="2503415"/>
                    <a:pt x="586642" y="2501830"/>
                    <a:pt x="584101" y="2500879"/>
                  </a:cubicBezTo>
                  <a:cubicBezTo>
                    <a:pt x="582831" y="2500246"/>
                    <a:pt x="581878" y="2499612"/>
                    <a:pt x="580925" y="2499295"/>
                  </a:cubicBezTo>
                  <a:close/>
                  <a:moveTo>
                    <a:pt x="219157" y="2498661"/>
                  </a:moveTo>
                  <a:lnTo>
                    <a:pt x="176596" y="2546828"/>
                  </a:lnTo>
                  <a:cubicBezTo>
                    <a:pt x="176596" y="2546828"/>
                    <a:pt x="176596" y="2546828"/>
                    <a:pt x="195336" y="2566792"/>
                  </a:cubicBezTo>
                  <a:cubicBezTo>
                    <a:pt x="195336" y="2566792"/>
                    <a:pt x="195336" y="2566792"/>
                    <a:pt x="220745" y="2530667"/>
                  </a:cubicBezTo>
                  <a:cubicBezTo>
                    <a:pt x="220745" y="2530667"/>
                    <a:pt x="220745" y="2530667"/>
                    <a:pt x="227733" y="2572813"/>
                  </a:cubicBezTo>
                  <a:cubicBezTo>
                    <a:pt x="227733" y="2572813"/>
                    <a:pt x="227733" y="2572813"/>
                    <a:pt x="238850" y="2536371"/>
                  </a:cubicBezTo>
                  <a:cubicBezTo>
                    <a:pt x="238850" y="2536371"/>
                    <a:pt x="238850" y="2536371"/>
                    <a:pt x="258542" y="2556335"/>
                  </a:cubicBezTo>
                  <a:cubicBezTo>
                    <a:pt x="258542" y="2556335"/>
                    <a:pt x="258542" y="2556335"/>
                    <a:pt x="269023" y="2545244"/>
                  </a:cubicBezTo>
                  <a:cubicBezTo>
                    <a:pt x="269023" y="2545244"/>
                    <a:pt x="269023" y="2545244"/>
                    <a:pt x="219157" y="2498661"/>
                  </a:cubicBezTo>
                  <a:close/>
                  <a:moveTo>
                    <a:pt x="2392940" y="2498027"/>
                  </a:moveTo>
                  <a:cubicBezTo>
                    <a:pt x="2392940" y="2498027"/>
                    <a:pt x="2392940" y="2498027"/>
                    <a:pt x="2374518" y="2555067"/>
                  </a:cubicBezTo>
                  <a:cubicBezTo>
                    <a:pt x="2374518" y="2555067"/>
                    <a:pt x="2374518" y="2555067"/>
                    <a:pt x="2466310" y="2600383"/>
                  </a:cubicBezTo>
                  <a:cubicBezTo>
                    <a:pt x="2466310" y="2600383"/>
                    <a:pt x="2466310" y="2600383"/>
                    <a:pt x="2488861" y="2556652"/>
                  </a:cubicBezTo>
                  <a:cubicBezTo>
                    <a:pt x="2488861" y="2556652"/>
                    <a:pt x="2488861" y="2556652"/>
                    <a:pt x="2531422" y="2579468"/>
                  </a:cubicBezTo>
                  <a:cubicBezTo>
                    <a:pt x="2531422" y="2579468"/>
                    <a:pt x="2531422" y="2579468"/>
                    <a:pt x="2509824" y="2621614"/>
                  </a:cubicBezTo>
                  <a:lnTo>
                    <a:pt x="2514906" y="2624149"/>
                  </a:lnTo>
                  <a:cubicBezTo>
                    <a:pt x="2514906" y="2624149"/>
                    <a:pt x="2514906" y="2624149"/>
                    <a:pt x="2541586" y="2571229"/>
                  </a:cubicBezTo>
                  <a:cubicBezTo>
                    <a:pt x="2524434" y="2559821"/>
                    <a:pt x="2447571" y="2511971"/>
                    <a:pt x="2392940" y="2498027"/>
                  </a:cubicBezTo>
                  <a:close/>
                  <a:moveTo>
                    <a:pt x="1568402" y="2495492"/>
                  </a:moveTo>
                  <a:lnTo>
                    <a:pt x="1531558" y="2500563"/>
                  </a:lnTo>
                  <a:cubicBezTo>
                    <a:pt x="1533464" y="2511971"/>
                    <a:pt x="1534734" y="2520843"/>
                    <a:pt x="1535370" y="2525280"/>
                  </a:cubicBezTo>
                  <a:cubicBezTo>
                    <a:pt x="1535687" y="2525280"/>
                    <a:pt x="1536005" y="2524963"/>
                    <a:pt x="1536322" y="2524963"/>
                  </a:cubicBezTo>
                  <a:cubicBezTo>
                    <a:pt x="1549027" y="2522745"/>
                    <a:pt x="1561097" y="2520210"/>
                    <a:pt x="1571896" y="2518309"/>
                  </a:cubicBezTo>
                  <a:cubicBezTo>
                    <a:pt x="1571896" y="2518309"/>
                    <a:pt x="1571896" y="2518309"/>
                    <a:pt x="1568402" y="2495492"/>
                  </a:cubicBezTo>
                  <a:close/>
                  <a:moveTo>
                    <a:pt x="2244295" y="2494542"/>
                  </a:moveTo>
                  <a:cubicBezTo>
                    <a:pt x="2244295" y="2494542"/>
                    <a:pt x="2244295" y="2494542"/>
                    <a:pt x="2233496" y="2526864"/>
                  </a:cubicBezTo>
                  <a:cubicBezTo>
                    <a:pt x="2233496" y="2526864"/>
                    <a:pt x="2233496" y="2526864"/>
                    <a:pt x="2274786" y="2534786"/>
                  </a:cubicBezTo>
                  <a:lnTo>
                    <a:pt x="2283997" y="2507851"/>
                  </a:lnTo>
                  <a:cubicBezTo>
                    <a:pt x="2283997" y="2507851"/>
                    <a:pt x="2283997" y="2507851"/>
                    <a:pt x="2244295" y="2494542"/>
                  </a:cubicBezTo>
                  <a:close/>
                  <a:moveTo>
                    <a:pt x="2212850" y="2493908"/>
                  </a:moveTo>
                  <a:cubicBezTo>
                    <a:pt x="2199510" y="2498027"/>
                    <a:pt x="2189664" y="2504049"/>
                    <a:pt x="2183312" y="2509752"/>
                  </a:cubicBezTo>
                  <a:cubicBezTo>
                    <a:pt x="2179183" y="2513238"/>
                    <a:pt x="2176007" y="2516724"/>
                    <a:pt x="2174418" y="2518942"/>
                  </a:cubicBezTo>
                  <a:cubicBezTo>
                    <a:pt x="2173466" y="2519893"/>
                    <a:pt x="2172830" y="2520843"/>
                    <a:pt x="2172513" y="2521160"/>
                  </a:cubicBezTo>
                  <a:cubicBezTo>
                    <a:pt x="2172513" y="2521477"/>
                    <a:pt x="2172513" y="2521477"/>
                    <a:pt x="2172513" y="2521477"/>
                  </a:cubicBezTo>
                  <a:cubicBezTo>
                    <a:pt x="2166478" y="2532568"/>
                    <a:pt x="2160443" y="2544610"/>
                    <a:pt x="2155997" y="2554117"/>
                  </a:cubicBezTo>
                  <a:cubicBezTo>
                    <a:pt x="2151232" y="2563623"/>
                    <a:pt x="2148374" y="2570278"/>
                    <a:pt x="2148374" y="2570278"/>
                  </a:cubicBezTo>
                  <a:cubicBezTo>
                    <a:pt x="2148374" y="2570278"/>
                    <a:pt x="2148374" y="2570278"/>
                    <a:pt x="2146150" y="2575665"/>
                  </a:cubicBezTo>
                  <a:cubicBezTo>
                    <a:pt x="2146150" y="2575665"/>
                    <a:pt x="2146150" y="2575665"/>
                    <a:pt x="2141386" y="2579151"/>
                  </a:cubicBezTo>
                  <a:cubicBezTo>
                    <a:pt x="2134716" y="2584538"/>
                    <a:pt x="2127728" y="2587073"/>
                    <a:pt x="2121376" y="2588341"/>
                  </a:cubicBezTo>
                  <a:cubicBezTo>
                    <a:pt x="2121376" y="2588341"/>
                    <a:pt x="2121376" y="2588341"/>
                    <a:pt x="1917147" y="3163175"/>
                  </a:cubicBezTo>
                  <a:cubicBezTo>
                    <a:pt x="1956850" y="3161274"/>
                    <a:pt x="1982259" y="3160957"/>
                    <a:pt x="1986071" y="3160957"/>
                  </a:cubicBezTo>
                  <a:cubicBezTo>
                    <a:pt x="1987659" y="3156521"/>
                    <a:pt x="1989247" y="3151450"/>
                    <a:pt x="1991470" y="3145429"/>
                  </a:cubicBezTo>
                  <a:cubicBezTo>
                    <a:pt x="2014021" y="3078249"/>
                    <a:pt x="2071192" y="2910616"/>
                    <a:pt x="2122647" y="2759460"/>
                  </a:cubicBezTo>
                  <a:cubicBezTo>
                    <a:pt x="2148374" y="2684041"/>
                    <a:pt x="2172513" y="2612741"/>
                    <a:pt x="2190300" y="2560137"/>
                  </a:cubicBezTo>
                  <a:cubicBezTo>
                    <a:pt x="2199193" y="2533836"/>
                    <a:pt x="2206498" y="2512287"/>
                    <a:pt x="2211580" y="2497077"/>
                  </a:cubicBezTo>
                  <a:cubicBezTo>
                    <a:pt x="2211898" y="2495809"/>
                    <a:pt x="2212215" y="2494859"/>
                    <a:pt x="2212850" y="2493908"/>
                  </a:cubicBezTo>
                  <a:close/>
                  <a:moveTo>
                    <a:pt x="218840" y="2492007"/>
                  </a:moveTo>
                  <a:cubicBezTo>
                    <a:pt x="218840" y="2492007"/>
                    <a:pt x="218840" y="2492007"/>
                    <a:pt x="275693" y="2545244"/>
                  </a:cubicBezTo>
                  <a:cubicBezTo>
                    <a:pt x="275693" y="2545244"/>
                    <a:pt x="275693" y="2545244"/>
                    <a:pt x="274105" y="2546828"/>
                  </a:cubicBezTo>
                  <a:cubicBezTo>
                    <a:pt x="274105" y="2546828"/>
                    <a:pt x="274105" y="2546828"/>
                    <a:pt x="258860" y="2562989"/>
                  </a:cubicBezTo>
                  <a:cubicBezTo>
                    <a:pt x="258860" y="2562989"/>
                    <a:pt x="258860" y="2562989"/>
                    <a:pt x="241073" y="2545244"/>
                  </a:cubicBezTo>
                  <a:cubicBezTo>
                    <a:pt x="241073" y="2545244"/>
                    <a:pt x="241073" y="2545244"/>
                    <a:pt x="229321" y="2583587"/>
                  </a:cubicBezTo>
                  <a:cubicBezTo>
                    <a:pt x="229321" y="2583587"/>
                    <a:pt x="229321" y="2583587"/>
                    <a:pt x="224557" y="2583587"/>
                  </a:cubicBezTo>
                  <a:cubicBezTo>
                    <a:pt x="224557" y="2583587"/>
                    <a:pt x="224557" y="2583587"/>
                    <a:pt x="217887" y="2542709"/>
                  </a:cubicBezTo>
                  <a:cubicBezTo>
                    <a:pt x="217887" y="2542709"/>
                    <a:pt x="217887" y="2542709"/>
                    <a:pt x="195971" y="2574397"/>
                  </a:cubicBezTo>
                  <a:lnTo>
                    <a:pt x="170244" y="2546828"/>
                  </a:lnTo>
                  <a:cubicBezTo>
                    <a:pt x="170244" y="2546828"/>
                    <a:pt x="170244" y="2546828"/>
                    <a:pt x="218840" y="2492007"/>
                  </a:cubicBezTo>
                  <a:close/>
                  <a:moveTo>
                    <a:pt x="47643" y="2490422"/>
                  </a:moveTo>
                  <a:cubicBezTo>
                    <a:pt x="47643" y="2490422"/>
                    <a:pt x="47643" y="2490422"/>
                    <a:pt x="74005" y="2538906"/>
                  </a:cubicBezTo>
                  <a:cubicBezTo>
                    <a:pt x="74005" y="2538906"/>
                    <a:pt x="74005" y="2538906"/>
                    <a:pt x="67971" y="2557919"/>
                  </a:cubicBezTo>
                  <a:lnTo>
                    <a:pt x="82581" y="2563940"/>
                  </a:lnTo>
                  <a:cubicBezTo>
                    <a:pt x="82581" y="2563940"/>
                    <a:pt x="82581" y="2563940"/>
                    <a:pt x="74958" y="2588024"/>
                  </a:cubicBezTo>
                  <a:cubicBezTo>
                    <a:pt x="74958" y="2588024"/>
                    <a:pt x="74958" y="2588024"/>
                    <a:pt x="72417" y="2586122"/>
                  </a:cubicBezTo>
                  <a:cubicBezTo>
                    <a:pt x="72417" y="2586122"/>
                    <a:pt x="72417" y="2586122"/>
                    <a:pt x="18105" y="2547779"/>
                  </a:cubicBezTo>
                  <a:cubicBezTo>
                    <a:pt x="18105" y="2547779"/>
                    <a:pt x="18105" y="2547779"/>
                    <a:pt x="47643" y="2490422"/>
                  </a:cubicBezTo>
                  <a:close/>
                  <a:moveTo>
                    <a:pt x="2291620" y="2485035"/>
                  </a:moveTo>
                  <a:cubicBezTo>
                    <a:pt x="2271928" y="2485035"/>
                    <a:pt x="2253506" y="2486619"/>
                    <a:pt x="2236354" y="2489155"/>
                  </a:cubicBezTo>
                  <a:cubicBezTo>
                    <a:pt x="2233813" y="2496760"/>
                    <a:pt x="2229684" y="2509119"/>
                    <a:pt x="2224285" y="2525280"/>
                  </a:cubicBezTo>
                  <a:cubicBezTo>
                    <a:pt x="2224285" y="2525280"/>
                    <a:pt x="2224285" y="2525280"/>
                    <a:pt x="2229366" y="2526230"/>
                  </a:cubicBezTo>
                  <a:cubicBezTo>
                    <a:pt x="2229366" y="2526230"/>
                    <a:pt x="2229366" y="2526230"/>
                    <a:pt x="2241754" y="2489155"/>
                  </a:cubicBezTo>
                  <a:cubicBezTo>
                    <a:pt x="2241754" y="2489155"/>
                    <a:pt x="2241754" y="2489155"/>
                    <a:pt x="2289079" y="2505316"/>
                  </a:cubicBezTo>
                  <a:cubicBezTo>
                    <a:pt x="2289079" y="2505316"/>
                    <a:pt x="2289079" y="2505316"/>
                    <a:pt x="2278915" y="2535737"/>
                  </a:cubicBezTo>
                  <a:cubicBezTo>
                    <a:pt x="2278915" y="2535737"/>
                    <a:pt x="2278915" y="2535737"/>
                    <a:pt x="2354191" y="2549997"/>
                  </a:cubicBezTo>
                  <a:cubicBezTo>
                    <a:pt x="2354191" y="2549997"/>
                    <a:pt x="2354191" y="2549997"/>
                    <a:pt x="2372613" y="2493591"/>
                  </a:cubicBezTo>
                  <a:cubicBezTo>
                    <a:pt x="2343392" y="2487570"/>
                    <a:pt x="2316394" y="2485035"/>
                    <a:pt x="2291620" y="2485035"/>
                  </a:cubicBezTo>
                  <a:close/>
                  <a:moveTo>
                    <a:pt x="1325424" y="2483451"/>
                  </a:moveTo>
                  <a:cubicBezTo>
                    <a:pt x="1325424" y="2483451"/>
                    <a:pt x="1325424" y="2483451"/>
                    <a:pt x="1305096" y="2486619"/>
                  </a:cubicBezTo>
                  <a:cubicBezTo>
                    <a:pt x="1305096" y="2486619"/>
                    <a:pt x="1305096" y="2486619"/>
                    <a:pt x="1311448" y="2527181"/>
                  </a:cubicBezTo>
                  <a:cubicBezTo>
                    <a:pt x="1311448" y="2527181"/>
                    <a:pt x="1311448" y="2527181"/>
                    <a:pt x="1334635" y="2524012"/>
                  </a:cubicBezTo>
                  <a:close/>
                  <a:moveTo>
                    <a:pt x="941105" y="2482817"/>
                  </a:moveTo>
                  <a:cubicBezTo>
                    <a:pt x="941105" y="2482817"/>
                    <a:pt x="941105" y="2482817"/>
                    <a:pt x="865194" y="2536371"/>
                  </a:cubicBezTo>
                  <a:cubicBezTo>
                    <a:pt x="936658" y="2629219"/>
                    <a:pt x="958574" y="2658056"/>
                    <a:pt x="965561" y="2666929"/>
                  </a:cubicBezTo>
                  <a:cubicBezTo>
                    <a:pt x="970008" y="2664077"/>
                    <a:pt x="978901" y="2657739"/>
                    <a:pt x="997641" y="2645063"/>
                  </a:cubicBezTo>
                  <a:cubicBezTo>
                    <a:pt x="997641" y="2645063"/>
                    <a:pt x="997641" y="2645063"/>
                    <a:pt x="980807" y="2613692"/>
                  </a:cubicBezTo>
                  <a:cubicBezTo>
                    <a:pt x="980807" y="2613692"/>
                    <a:pt x="980807" y="2613692"/>
                    <a:pt x="972549" y="2627951"/>
                  </a:cubicBezTo>
                  <a:cubicBezTo>
                    <a:pt x="972549" y="2627951"/>
                    <a:pt x="972549" y="2627951"/>
                    <a:pt x="969373" y="2633655"/>
                  </a:cubicBezTo>
                  <a:cubicBezTo>
                    <a:pt x="969373" y="2633655"/>
                    <a:pt x="969373" y="2633655"/>
                    <a:pt x="965244" y="2628585"/>
                  </a:cubicBezTo>
                  <a:cubicBezTo>
                    <a:pt x="965244" y="2628585"/>
                    <a:pt x="965244" y="2628585"/>
                    <a:pt x="899179" y="2546511"/>
                  </a:cubicBezTo>
                  <a:cubicBezTo>
                    <a:pt x="899179" y="2546511"/>
                    <a:pt x="899179" y="2546511"/>
                    <a:pt x="896321" y="2543026"/>
                  </a:cubicBezTo>
                  <a:cubicBezTo>
                    <a:pt x="896321" y="2543026"/>
                    <a:pt x="896321" y="2543026"/>
                    <a:pt x="900132" y="2540490"/>
                  </a:cubicBezTo>
                  <a:cubicBezTo>
                    <a:pt x="900132" y="2540490"/>
                    <a:pt x="900132" y="2540490"/>
                    <a:pt x="941422" y="2509752"/>
                  </a:cubicBezTo>
                  <a:cubicBezTo>
                    <a:pt x="941422" y="2509752"/>
                    <a:pt x="941422" y="2509752"/>
                    <a:pt x="944281" y="2507534"/>
                  </a:cubicBezTo>
                  <a:cubicBezTo>
                    <a:pt x="944281" y="2507534"/>
                    <a:pt x="944281" y="2507534"/>
                    <a:pt x="947140" y="2510386"/>
                  </a:cubicBezTo>
                  <a:cubicBezTo>
                    <a:pt x="947140" y="2510386"/>
                    <a:pt x="947140" y="2510386"/>
                    <a:pt x="1020192" y="2582954"/>
                  </a:cubicBezTo>
                  <a:cubicBezTo>
                    <a:pt x="1020192" y="2582954"/>
                    <a:pt x="1020192" y="2582954"/>
                    <a:pt x="1024639" y="2587390"/>
                  </a:cubicBezTo>
                  <a:cubicBezTo>
                    <a:pt x="1024639" y="2587390"/>
                    <a:pt x="1024639" y="2587390"/>
                    <a:pt x="1019239" y="2590242"/>
                  </a:cubicBezTo>
                  <a:cubicBezTo>
                    <a:pt x="1019239" y="2590242"/>
                    <a:pt x="1019239" y="2590242"/>
                    <a:pt x="1006534" y="2596263"/>
                  </a:cubicBezTo>
                  <a:lnTo>
                    <a:pt x="1021145" y="2623515"/>
                  </a:lnTo>
                  <a:cubicBezTo>
                    <a:pt x="1021145" y="2623515"/>
                    <a:pt x="1021145" y="2623515"/>
                    <a:pt x="1048460" y="2583904"/>
                  </a:cubicBezTo>
                  <a:cubicBezTo>
                    <a:pt x="1040837" y="2576933"/>
                    <a:pt x="1017333" y="2554750"/>
                    <a:pt x="941105" y="2482817"/>
                  </a:cubicBezTo>
                  <a:close/>
                  <a:moveTo>
                    <a:pt x="2587641" y="2481549"/>
                  </a:moveTo>
                  <a:cubicBezTo>
                    <a:pt x="2587641" y="2481549"/>
                    <a:pt x="2587641" y="2481549"/>
                    <a:pt x="2576206" y="2492007"/>
                  </a:cubicBezTo>
                  <a:cubicBezTo>
                    <a:pt x="2576206" y="2492007"/>
                    <a:pt x="2576206" y="2492007"/>
                    <a:pt x="2603204" y="2521160"/>
                  </a:cubicBezTo>
                  <a:lnTo>
                    <a:pt x="2614638" y="2510386"/>
                  </a:lnTo>
                  <a:cubicBezTo>
                    <a:pt x="2614638" y="2510386"/>
                    <a:pt x="2614638" y="2510386"/>
                    <a:pt x="2587641" y="2481549"/>
                  </a:cubicBezTo>
                  <a:close/>
                  <a:moveTo>
                    <a:pt x="2011798" y="2478064"/>
                  </a:moveTo>
                  <a:cubicBezTo>
                    <a:pt x="2011480" y="2483134"/>
                    <a:pt x="2010527" y="2493908"/>
                    <a:pt x="2009257" y="2504682"/>
                  </a:cubicBezTo>
                  <a:cubicBezTo>
                    <a:pt x="2008304" y="2512287"/>
                    <a:pt x="2007351" y="2519893"/>
                    <a:pt x="2006398" y="2525597"/>
                  </a:cubicBezTo>
                  <a:cubicBezTo>
                    <a:pt x="2005763" y="2528449"/>
                    <a:pt x="2005445" y="2530984"/>
                    <a:pt x="2004810" y="2532885"/>
                  </a:cubicBezTo>
                  <a:cubicBezTo>
                    <a:pt x="2004492" y="2533836"/>
                    <a:pt x="2004175" y="2534470"/>
                    <a:pt x="2003857" y="2535103"/>
                  </a:cubicBezTo>
                  <a:cubicBezTo>
                    <a:pt x="2013386" y="2535737"/>
                    <a:pt x="2022597" y="2536371"/>
                    <a:pt x="2031172" y="2537005"/>
                  </a:cubicBezTo>
                  <a:cubicBezTo>
                    <a:pt x="2032443" y="2531934"/>
                    <a:pt x="2033713" y="2526864"/>
                    <a:pt x="2035302" y="2521794"/>
                  </a:cubicBezTo>
                  <a:cubicBezTo>
                    <a:pt x="2037525" y="2512921"/>
                    <a:pt x="2040383" y="2504049"/>
                    <a:pt x="2043242" y="2495176"/>
                  </a:cubicBezTo>
                  <a:cubicBezTo>
                    <a:pt x="2043242" y="2495176"/>
                    <a:pt x="2043242" y="2495176"/>
                    <a:pt x="2011798" y="2478064"/>
                  </a:cubicBezTo>
                  <a:close/>
                  <a:moveTo>
                    <a:pt x="1363855" y="2478064"/>
                  </a:moveTo>
                  <a:cubicBezTo>
                    <a:pt x="1363855" y="2478064"/>
                    <a:pt x="1363855" y="2478064"/>
                    <a:pt x="1330823" y="2482817"/>
                  </a:cubicBezTo>
                  <a:lnTo>
                    <a:pt x="1339716" y="2523378"/>
                  </a:lnTo>
                  <a:cubicBezTo>
                    <a:pt x="1339716" y="2523378"/>
                    <a:pt x="1339716" y="2523378"/>
                    <a:pt x="1372431" y="2518625"/>
                  </a:cubicBezTo>
                  <a:cubicBezTo>
                    <a:pt x="1372431" y="2518625"/>
                    <a:pt x="1372431" y="2518625"/>
                    <a:pt x="1363855" y="2478064"/>
                  </a:cubicBezTo>
                  <a:close/>
                  <a:moveTo>
                    <a:pt x="941422" y="2477113"/>
                  </a:moveTo>
                  <a:cubicBezTo>
                    <a:pt x="941422" y="2477113"/>
                    <a:pt x="1053542" y="2582954"/>
                    <a:pt x="1054177" y="2583270"/>
                  </a:cubicBezTo>
                  <a:cubicBezTo>
                    <a:pt x="1054177" y="2583270"/>
                    <a:pt x="1054177" y="2583270"/>
                    <a:pt x="1020827" y="2632071"/>
                  </a:cubicBezTo>
                  <a:cubicBezTo>
                    <a:pt x="1020827" y="2632071"/>
                    <a:pt x="1020827" y="2632071"/>
                    <a:pt x="1000182" y="2594361"/>
                  </a:cubicBezTo>
                  <a:cubicBezTo>
                    <a:pt x="1000182" y="2594361"/>
                    <a:pt x="1000182" y="2594361"/>
                    <a:pt x="1017333" y="2586122"/>
                  </a:cubicBezTo>
                  <a:cubicBezTo>
                    <a:pt x="1017333" y="2586122"/>
                    <a:pt x="1017333" y="2586122"/>
                    <a:pt x="943963" y="2513238"/>
                  </a:cubicBezTo>
                  <a:cubicBezTo>
                    <a:pt x="943963" y="2513238"/>
                    <a:pt x="943963" y="2513238"/>
                    <a:pt x="902673" y="2543976"/>
                  </a:cubicBezTo>
                  <a:cubicBezTo>
                    <a:pt x="902673" y="2543976"/>
                    <a:pt x="902673" y="2543976"/>
                    <a:pt x="968738" y="2625734"/>
                  </a:cubicBezTo>
                  <a:cubicBezTo>
                    <a:pt x="968738" y="2625734"/>
                    <a:pt x="968738" y="2625734"/>
                    <a:pt x="981125" y="2604502"/>
                  </a:cubicBezTo>
                  <a:cubicBezTo>
                    <a:pt x="981125" y="2604502"/>
                    <a:pt x="981125" y="2604502"/>
                    <a:pt x="1003676" y="2646648"/>
                  </a:cubicBezTo>
                  <a:cubicBezTo>
                    <a:pt x="1003676" y="2646648"/>
                    <a:pt x="964291" y="2673266"/>
                    <a:pt x="964609" y="2673266"/>
                  </a:cubicBezTo>
                  <a:cubicBezTo>
                    <a:pt x="964926" y="2673266"/>
                    <a:pt x="859159" y="2535420"/>
                    <a:pt x="859159" y="2535420"/>
                  </a:cubicBezTo>
                  <a:cubicBezTo>
                    <a:pt x="859159" y="2535420"/>
                    <a:pt x="859159" y="2535420"/>
                    <a:pt x="941422" y="2477113"/>
                  </a:cubicBezTo>
                  <a:close/>
                  <a:moveTo>
                    <a:pt x="1964790" y="2474578"/>
                  </a:moveTo>
                  <a:lnTo>
                    <a:pt x="1960661" y="2516090"/>
                  </a:lnTo>
                  <a:cubicBezTo>
                    <a:pt x="1960661" y="2516090"/>
                    <a:pt x="1960661" y="2516090"/>
                    <a:pt x="1980354" y="2517675"/>
                  </a:cubicBezTo>
                  <a:cubicBezTo>
                    <a:pt x="1980354" y="2517675"/>
                    <a:pt x="1980354" y="2517675"/>
                    <a:pt x="1983212" y="2476162"/>
                  </a:cubicBezTo>
                  <a:cubicBezTo>
                    <a:pt x="1983212" y="2476162"/>
                    <a:pt x="1983212" y="2476162"/>
                    <a:pt x="1964790" y="2474578"/>
                  </a:cubicBezTo>
                  <a:close/>
                  <a:moveTo>
                    <a:pt x="1065929" y="2473627"/>
                  </a:moveTo>
                  <a:cubicBezTo>
                    <a:pt x="1052271" y="2473627"/>
                    <a:pt x="1043060" y="2478697"/>
                    <a:pt x="1039884" y="2486619"/>
                  </a:cubicBezTo>
                  <a:cubicBezTo>
                    <a:pt x="1039249" y="2488204"/>
                    <a:pt x="1038931" y="2489789"/>
                    <a:pt x="1038931" y="2491690"/>
                  </a:cubicBezTo>
                  <a:cubicBezTo>
                    <a:pt x="1038931" y="2503098"/>
                    <a:pt x="1052589" y="2518942"/>
                    <a:pt x="1069740" y="2523696"/>
                  </a:cubicBezTo>
                  <a:cubicBezTo>
                    <a:pt x="1075458" y="2525597"/>
                    <a:pt x="1081492" y="2526230"/>
                    <a:pt x="1087209" y="2526230"/>
                  </a:cubicBezTo>
                  <a:cubicBezTo>
                    <a:pt x="1101820" y="2526230"/>
                    <a:pt x="1114525" y="2521160"/>
                    <a:pt x="1116748" y="2512287"/>
                  </a:cubicBezTo>
                  <a:cubicBezTo>
                    <a:pt x="1117383" y="2510703"/>
                    <a:pt x="1117701" y="2509119"/>
                    <a:pt x="1117701" y="2507534"/>
                  </a:cubicBezTo>
                  <a:cubicBezTo>
                    <a:pt x="1117701" y="2496126"/>
                    <a:pt x="1106267" y="2483134"/>
                    <a:pt x="1089115" y="2477747"/>
                  </a:cubicBezTo>
                  <a:cubicBezTo>
                    <a:pt x="1080539" y="2474895"/>
                    <a:pt x="1072599" y="2473627"/>
                    <a:pt x="1065929" y="2473627"/>
                  </a:cubicBezTo>
                  <a:close/>
                  <a:moveTo>
                    <a:pt x="1399429" y="2472993"/>
                  </a:moveTo>
                  <a:cubicBezTo>
                    <a:pt x="1399429" y="2472993"/>
                    <a:pt x="1399429" y="2472993"/>
                    <a:pt x="1369255" y="2477430"/>
                  </a:cubicBezTo>
                  <a:cubicBezTo>
                    <a:pt x="1369255" y="2477430"/>
                    <a:pt x="1369255" y="2477430"/>
                    <a:pt x="1377513" y="2517991"/>
                  </a:cubicBezTo>
                  <a:lnTo>
                    <a:pt x="1408322" y="2513555"/>
                  </a:lnTo>
                  <a:cubicBezTo>
                    <a:pt x="1408322" y="2513555"/>
                    <a:pt x="1408322" y="2513555"/>
                    <a:pt x="1399429" y="2472993"/>
                  </a:cubicBezTo>
                  <a:close/>
                  <a:moveTo>
                    <a:pt x="1065929" y="2471092"/>
                  </a:moveTo>
                  <a:cubicBezTo>
                    <a:pt x="1072917" y="2471092"/>
                    <a:pt x="1081175" y="2472360"/>
                    <a:pt x="1089750" y="2475212"/>
                  </a:cubicBezTo>
                  <a:cubicBezTo>
                    <a:pt x="1107855" y="2480916"/>
                    <a:pt x="1120242" y="2494225"/>
                    <a:pt x="1120242" y="2507534"/>
                  </a:cubicBezTo>
                  <a:cubicBezTo>
                    <a:pt x="1120242" y="2509436"/>
                    <a:pt x="1119924" y="2511337"/>
                    <a:pt x="1119289" y="2512921"/>
                  </a:cubicBezTo>
                  <a:cubicBezTo>
                    <a:pt x="1116113" y="2523696"/>
                    <a:pt x="1102138" y="2528766"/>
                    <a:pt x="1087209" y="2528766"/>
                  </a:cubicBezTo>
                  <a:cubicBezTo>
                    <a:pt x="1081175" y="2528766"/>
                    <a:pt x="1074822" y="2528132"/>
                    <a:pt x="1069105" y="2526230"/>
                  </a:cubicBezTo>
                  <a:cubicBezTo>
                    <a:pt x="1051001" y="2521160"/>
                    <a:pt x="1036390" y="2504999"/>
                    <a:pt x="1036390" y="2491690"/>
                  </a:cubicBezTo>
                  <a:cubicBezTo>
                    <a:pt x="1036390" y="2489471"/>
                    <a:pt x="1036708" y="2487570"/>
                    <a:pt x="1037661" y="2485669"/>
                  </a:cubicBezTo>
                  <a:cubicBezTo>
                    <a:pt x="1041155" y="2476162"/>
                    <a:pt x="1051636" y="2471092"/>
                    <a:pt x="1065929" y="2471092"/>
                  </a:cubicBezTo>
                  <a:close/>
                  <a:moveTo>
                    <a:pt x="1884750" y="2467923"/>
                  </a:moveTo>
                  <a:cubicBezTo>
                    <a:pt x="1887927" y="2481232"/>
                    <a:pt x="1892056" y="2497711"/>
                    <a:pt x="1894914" y="2510386"/>
                  </a:cubicBezTo>
                  <a:lnTo>
                    <a:pt x="1956214" y="2515773"/>
                  </a:lnTo>
                  <a:cubicBezTo>
                    <a:pt x="1956214" y="2515773"/>
                    <a:pt x="1956214" y="2515773"/>
                    <a:pt x="1960344" y="2474261"/>
                  </a:cubicBezTo>
                  <a:cubicBezTo>
                    <a:pt x="1960344" y="2474261"/>
                    <a:pt x="1960344" y="2474261"/>
                    <a:pt x="1884750" y="2467923"/>
                  </a:cubicBezTo>
                  <a:close/>
                  <a:moveTo>
                    <a:pt x="944281" y="2467289"/>
                  </a:moveTo>
                  <a:cubicBezTo>
                    <a:pt x="944281" y="2467289"/>
                    <a:pt x="944281" y="2467289"/>
                    <a:pt x="850266" y="2537005"/>
                  </a:cubicBezTo>
                  <a:cubicBezTo>
                    <a:pt x="850266" y="2537005"/>
                    <a:pt x="850266" y="2537005"/>
                    <a:pt x="967785" y="2701786"/>
                  </a:cubicBezTo>
                  <a:cubicBezTo>
                    <a:pt x="977949" y="2696399"/>
                    <a:pt x="988112" y="2691012"/>
                    <a:pt x="997959" y="2685942"/>
                  </a:cubicBezTo>
                  <a:cubicBezTo>
                    <a:pt x="1008440" y="2680238"/>
                    <a:pt x="1018921" y="2674851"/>
                    <a:pt x="1028768" y="2669464"/>
                  </a:cubicBezTo>
                  <a:lnTo>
                    <a:pt x="1026227" y="2668513"/>
                  </a:lnTo>
                  <a:cubicBezTo>
                    <a:pt x="1026227" y="2668513"/>
                    <a:pt x="1026227" y="2668513"/>
                    <a:pt x="1061800" y="2582637"/>
                  </a:cubicBezTo>
                  <a:cubicBezTo>
                    <a:pt x="1050683" y="2571862"/>
                    <a:pt x="957621" y="2480282"/>
                    <a:pt x="944281" y="2467289"/>
                  </a:cubicBezTo>
                  <a:close/>
                  <a:moveTo>
                    <a:pt x="1845048" y="2464754"/>
                  </a:moveTo>
                  <a:lnTo>
                    <a:pt x="1850130" y="2506583"/>
                  </a:lnTo>
                  <a:cubicBezTo>
                    <a:pt x="1850130" y="2506583"/>
                    <a:pt x="1850130" y="2506583"/>
                    <a:pt x="1890150" y="2510069"/>
                  </a:cubicBezTo>
                  <a:cubicBezTo>
                    <a:pt x="1888562" y="2502147"/>
                    <a:pt x="1886338" y="2492957"/>
                    <a:pt x="1884115" y="2484084"/>
                  </a:cubicBezTo>
                  <a:cubicBezTo>
                    <a:pt x="1882845" y="2478380"/>
                    <a:pt x="1881257" y="2472676"/>
                    <a:pt x="1879986" y="2467606"/>
                  </a:cubicBezTo>
                  <a:cubicBezTo>
                    <a:pt x="1879986" y="2467606"/>
                    <a:pt x="1879986" y="2467606"/>
                    <a:pt x="1845048" y="2464754"/>
                  </a:cubicBezTo>
                  <a:close/>
                  <a:moveTo>
                    <a:pt x="1482327" y="2461585"/>
                  </a:moveTo>
                  <a:lnTo>
                    <a:pt x="1404828" y="2472360"/>
                  </a:lnTo>
                  <a:cubicBezTo>
                    <a:pt x="1404828" y="2472360"/>
                    <a:pt x="1404828" y="2472360"/>
                    <a:pt x="1413722" y="2512921"/>
                  </a:cubicBezTo>
                  <a:cubicBezTo>
                    <a:pt x="1413722" y="2512921"/>
                    <a:pt x="1413722" y="2512921"/>
                    <a:pt x="1488680" y="2502464"/>
                  </a:cubicBezTo>
                  <a:cubicBezTo>
                    <a:pt x="1488680" y="2502464"/>
                    <a:pt x="1488680" y="2502464"/>
                    <a:pt x="1482327" y="2461585"/>
                  </a:cubicBezTo>
                  <a:close/>
                  <a:moveTo>
                    <a:pt x="2661646" y="2461269"/>
                  </a:moveTo>
                  <a:lnTo>
                    <a:pt x="2649894" y="2471726"/>
                  </a:lnTo>
                  <a:cubicBezTo>
                    <a:pt x="2649894" y="2471726"/>
                    <a:pt x="2649894" y="2471726"/>
                    <a:pt x="2676892" y="2500879"/>
                  </a:cubicBezTo>
                  <a:cubicBezTo>
                    <a:pt x="2676892" y="2500879"/>
                    <a:pt x="2676892" y="2500879"/>
                    <a:pt x="2688644" y="2490422"/>
                  </a:cubicBezTo>
                  <a:cubicBezTo>
                    <a:pt x="2688644" y="2490422"/>
                    <a:pt x="2688644" y="2490422"/>
                    <a:pt x="2661646" y="2461269"/>
                  </a:cubicBezTo>
                  <a:close/>
                  <a:moveTo>
                    <a:pt x="1779619" y="2459050"/>
                  </a:moveTo>
                  <a:cubicBezTo>
                    <a:pt x="1779619" y="2459050"/>
                    <a:pt x="1779619" y="2459050"/>
                    <a:pt x="1779936" y="2500563"/>
                  </a:cubicBezTo>
                  <a:cubicBezTo>
                    <a:pt x="1779936" y="2500563"/>
                    <a:pt x="1779936" y="2500563"/>
                    <a:pt x="1845366" y="2506267"/>
                  </a:cubicBezTo>
                  <a:cubicBezTo>
                    <a:pt x="1845366" y="2506267"/>
                    <a:pt x="1845366" y="2506267"/>
                    <a:pt x="1840601" y="2464120"/>
                  </a:cubicBezTo>
                  <a:close/>
                  <a:moveTo>
                    <a:pt x="1520442" y="2456198"/>
                  </a:moveTo>
                  <a:cubicBezTo>
                    <a:pt x="1520442" y="2456198"/>
                    <a:pt x="1520442" y="2456198"/>
                    <a:pt x="1486456" y="2460952"/>
                  </a:cubicBezTo>
                  <a:cubicBezTo>
                    <a:pt x="1486456" y="2460952"/>
                    <a:pt x="1486456" y="2460952"/>
                    <a:pt x="1493126" y="2501830"/>
                  </a:cubicBezTo>
                  <a:lnTo>
                    <a:pt x="1526794" y="2497077"/>
                  </a:lnTo>
                  <a:cubicBezTo>
                    <a:pt x="1524888" y="2485352"/>
                    <a:pt x="1522665" y="2471092"/>
                    <a:pt x="1520442" y="2457149"/>
                  </a:cubicBezTo>
                  <a:cubicBezTo>
                    <a:pt x="1520442" y="2456832"/>
                    <a:pt x="1520442" y="2456515"/>
                    <a:pt x="1520442" y="2456198"/>
                  </a:cubicBezTo>
                  <a:close/>
                  <a:moveTo>
                    <a:pt x="2661646" y="2455248"/>
                  </a:moveTo>
                  <a:cubicBezTo>
                    <a:pt x="2661646" y="2455248"/>
                    <a:pt x="2661646" y="2455248"/>
                    <a:pt x="2663234" y="2456832"/>
                  </a:cubicBezTo>
                  <a:cubicBezTo>
                    <a:pt x="2663234" y="2456832"/>
                    <a:pt x="2663234" y="2456832"/>
                    <a:pt x="2694360" y="2490422"/>
                  </a:cubicBezTo>
                  <a:lnTo>
                    <a:pt x="2676892" y="2506900"/>
                  </a:lnTo>
                  <a:cubicBezTo>
                    <a:pt x="2676892" y="2506900"/>
                    <a:pt x="2676892" y="2506900"/>
                    <a:pt x="2644177" y="2471726"/>
                  </a:cubicBezTo>
                  <a:cubicBezTo>
                    <a:pt x="2644177" y="2471726"/>
                    <a:pt x="2644177" y="2471726"/>
                    <a:pt x="2661646" y="2455248"/>
                  </a:cubicBezTo>
                  <a:close/>
                  <a:moveTo>
                    <a:pt x="1715460" y="2453663"/>
                  </a:moveTo>
                  <a:cubicBezTo>
                    <a:pt x="1715460" y="2453663"/>
                    <a:pt x="1715460" y="2453663"/>
                    <a:pt x="1715142" y="2495176"/>
                  </a:cubicBezTo>
                  <a:cubicBezTo>
                    <a:pt x="1715142" y="2495176"/>
                    <a:pt x="1715142" y="2495176"/>
                    <a:pt x="1775489" y="2500246"/>
                  </a:cubicBezTo>
                  <a:cubicBezTo>
                    <a:pt x="1775489" y="2500246"/>
                    <a:pt x="1775489" y="2500246"/>
                    <a:pt x="1775172" y="2458733"/>
                  </a:cubicBezTo>
                  <a:close/>
                  <a:moveTo>
                    <a:pt x="1966696" y="2453346"/>
                  </a:moveTo>
                  <a:cubicBezTo>
                    <a:pt x="1966696" y="2453346"/>
                    <a:pt x="1966696" y="2453346"/>
                    <a:pt x="1965108" y="2470458"/>
                  </a:cubicBezTo>
                  <a:cubicBezTo>
                    <a:pt x="1965108" y="2470458"/>
                    <a:pt x="1965108" y="2470458"/>
                    <a:pt x="1987341" y="2472360"/>
                  </a:cubicBezTo>
                  <a:cubicBezTo>
                    <a:pt x="1987341" y="2472360"/>
                    <a:pt x="1987341" y="2472360"/>
                    <a:pt x="1984165" y="2522111"/>
                  </a:cubicBezTo>
                  <a:cubicBezTo>
                    <a:pt x="1984165" y="2522111"/>
                    <a:pt x="1984165" y="2522111"/>
                    <a:pt x="1981942" y="2522111"/>
                  </a:cubicBezTo>
                  <a:cubicBezTo>
                    <a:pt x="1981942" y="2522111"/>
                    <a:pt x="1981942" y="2522111"/>
                    <a:pt x="1960344" y="2520210"/>
                  </a:cubicBezTo>
                  <a:cubicBezTo>
                    <a:pt x="1960344" y="2520210"/>
                    <a:pt x="1960344" y="2520210"/>
                    <a:pt x="1959391" y="2531934"/>
                  </a:cubicBezTo>
                  <a:cubicBezTo>
                    <a:pt x="1974001" y="2532885"/>
                    <a:pt x="1987976" y="2533836"/>
                    <a:pt x="2000999" y="2534786"/>
                  </a:cubicBezTo>
                  <a:lnTo>
                    <a:pt x="2001211" y="2534047"/>
                  </a:lnTo>
                  <a:lnTo>
                    <a:pt x="2001316" y="2534153"/>
                  </a:lnTo>
                  <a:cubicBezTo>
                    <a:pt x="2001316" y="2534470"/>
                    <a:pt x="2001316" y="2534470"/>
                    <a:pt x="2001316" y="2534470"/>
                  </a:cubicBezTo>
                  <a:cubicBezTo>
                    <a:pt x="2001634" y="2532568"/>
                    <a:pt x="2001634" y="2532568"/>
                    <a:pt x="2001634" y="2532568"/>
                  </a:cubicBezTo>
                  <a:lnTo>
                    <a:pt x="2001211" y="2534047"/>
                  </a:lnTo>
                  <a:lnTo>
                    <a:pt x="2000046" y="2532885"/>
                  </a:lnTo>
                  <a:cubicBezTo>
                    <a:pt x="2001316" y="2530984"/>
                    <a:pt x="2003857" y="2515456"/>
                    <a:pt x="2005128" y="2501513"/>
                  </a:cubicBezTo>
                  <a:cubicBezTo>
                    <a:pt x="2006398" y="2490105"/>
                    <a:pt x="2007351" y="2479331"/>
                    <a:pt x="2007669" y="2475529"/>
                  </a:cubicBezTo>
                  <a:cubicBezTo>
                    <a:pt x="2007669" y="2475529"/>
                    <a:pt x="2007669" y="2475529"/>
                    <a:pt x="1966696" y="2453346"/>
                  </a:cubicBezTo>
                  <a:close/>
                  <a:moveTo>
                    <a:pt x="1687191" y="2451445"/>
                  </a:moveTo>
                  <a:cubicBezTo>
                    <a:pt x="1687191" y="2451445"/>
                    <a:pt x="1687191" y="2451445"/>
                    <a:pt x="1684333" y="2492640"/>
                  </a:cubicBezTo>
                  <a:cubicBezTo>
                    <a:pt x="1684333" y="2492640"/>
                    <a:pt x="1684333" y="2492640"/>
                    <a:pt x="1710695" y="2494859"/>
                  </a:cubicBezTo>
                  <a:cubicBezTo>
                    <a:pt x="1710695" y="2494859"/>
                    <a:pt x="1710695" y="2494859"/>
                    <a:pt x="1711013" y="2453346"/>
                  </a:cubicBezTo>
                  <a:close/>
                  <a:moveTo>
                    <a:pt x="473888" y="2450811"/>
                  </a:moveTo>
                  <a:lnTo>
                    <a:pt x="442761" y="2496126"/>
                  </a:lnTo>
                  <a:cubicBezTo>
                    <a:pt x="442761" y="2496126"/>
                    <a:pt x="442761" y="2496126"/>
                    <a:pt x="487863" y="2549363"/>
                  </a:cubicBezTo>
                  <a:cubicBezTo>
                    <a:pt x="487863" y="2549363"/>
                    <a:pt x="487863" y="2549363"/>
                    <a:pt x="512002" y="2528132"/>
                  </a:cubicBezTo>
                  <a:cubicBezTo>
                    <a:pt x="512002" y="2528132"/>
                    <a:pt x="512002" y="2528132"/>
                    <a:pt x="499932" y="2513555"/>
                  </a:cubicBezTo>
                  <a:cubicBezTo>
                    <a:pt x="499932" y="2513555"/>
                    <a:pt x="499932" y="2513555"/>
                    <a:pt x="496756" y="2510069"/>
                  </a:cubicBezTo>
                  <a:cubicBezTo>
                    <a:pt x="496756" y="2510069"/>
                    <a:pt x="496756" y="2510069"/>
                    <a:pt x="500568" y="2507217"/>
                  </a:cubicBezTo>
                  <a:cubicBezTo>
                    <a:pt x="500568" y="2507217"/>
                    <a:pt x="500568" y="2507217"/>
                    <a:pt x="510731" y="2499929"/>
                  </a:cubicBezTo>
                  <a:cubicBezTo>
                    <a:pt x="510731" y="2499929"/>
                    <a:pt x="510731" y="2499929"/>
                    <a:pt x="512002" y="2499295"/>
                  </a:cubicBezTo>
                  <a:cubicBezTo>
                    <a:pt x="512002" y="2499295"/>
                    <a:pt x="512002" y="2499295"/>
                    <a:pt x="513590" y="2499295"/>
                  </a:cubicBezTo>
                  <a:cubicBezTo>
                    <a:pt x="513590" y="2499295"/>
                    <a:pt x="537729" y="2499929"/>
                    <a:pt x="545034" y="2500246"/>
                  </a:cubicBezTo>
                  <a:cubicBezTo>
                    <a:pt x="547257" y="2498027"/>
                    <a:pt x="550751" y="2495176"/>
                    <a:pt x="557104" y="2490105"/>
                  </a:cubicBezTo>
                  <a:cubicBezTo>
                    <a:pt x="557104" y="2490105"/>
                    <a:pt x="557104" y="2490105"/>
                    <a:pt x="558057" y="2479965"/>
                  </a:cubicBezTo>
                  <a:cubicBezTo>
                    <a:pt x="545669" y="2479014"/>
                    <a:pt x="512955" y="2476796"/>
                    <a:pt x="497391" y="2475845"/>
                  </a:cubicBezTo>
                  <a:cubicBezTo>
                    <a:pt x="497391" y="2475845"/>
                    <a:pt x="497391" y="2475845"/>
                    <a:pt x="495486" y="2475845"/>
                  </a:cubicBezTo>
                  <a:cubicBezTo>
                    <a:pt x="495486" y="2475845"/>
                    <a:pt x="495486" y="2475845"/>
                    <a:pt x="494215" y="2474261"/>
                  </a:cubicBezTo>
                  <a:cubicBezTo>
                    <a:pt x="494215" y="2474261"/>
                    <a:pt x="494215" y="2474261"/>
                    <a:pt x="473888" y="2450811"/>
                  </a:cubicBezTo>
                  <a:close/>
                  <a:moveTo>
                    <a:pt x="1560779" y="2450494"/>
                  </a:moveTo>
                  <a:lnTo>
                    <a:pt x="1524888" y="2455564"/>
                  </a:lnTo>
                  <a:cubicBezTo>
                    <a:pt x="1527112" y="2469824"/>
                    <a:pt x="1529335" y="2484402"/>
                    <a:pt x="1530923" y="2496443"/>
                  </a:cubicBezTo>
                  <a:cubicBezTo>
                    <a:pt x="1530923" y="2496443"/>
                    <a:pt x="1530923" y="2496443"/>
                    <a:pt x="1567767" y="2491373"/>
                  </a:cubicBezTo>
                  <a:cubicBezTo>
                    <a:pt x="1567767" y="2491373"/>
                    <a:pt x="1567767" y="2491373"/>
                    <a:pt x="1560779" y="2450494"/>
                  </a:cubicBezTo>
                  <a:close/>
                  <a:moveTo>
                    <a:pt x="1598893" y="2445107"/>
                  </a:moveTo>
                  <a:cubicBezTo>
                    <a:pt x="1598893" y="2445107"/>
                    <a:pt x="1598893" y="2445107"/>
                    <a:pt x="1565226" y="2449860"/>
                  </a:cubicBezTo>
                  <a:lnTo>
                    <a:pt x="1571896" y="2490739"/>
                  </a:lnTo>
                  <a:cubicBezTo>
                    <a:pt x="1571896" y="2490739"/>
                    <a:pt x="1571896" y="2490739"/>
                    <a:pt x="1605563" y="2485986"/>
                  </a:cubicBezTo>
                  <a:cubicBezTo>
                    <a:pt x="1605563" y="2485986"/>
                    <a:pt x="1605563" y="2485986"/>
                    <a:pt x="1598893" y="2445107"/>
                  </a:cubicBezTo>
                  <a:close/>
                  <a:moveTo>
                    <a:pt x="473570" y="2443523"/>
                  </a:moveTo>
                  <a:cubicBezTo>
                    <a:pt x="473570" y="2443523"/>
                    <a:pt x="473570" y="2443523"/>
                    <a:pt x="497709" y="2471409"/>
                  </a:cubicBezTo>
                  <a:cubicBezTo>
                    <a:pt x="497709" y="2471409"/>
                    <a:pt x="561868" y="2475845"/>
                    <a:pt x="563138" y="2475845"/>
                  </a:cubicBezTo>
                  <a:cubicBezTo>
                    <a:pt x="563138" y="2475845"/>
                    <a:pt x="563138" y="2475845"/>
                    <a:pt x="561233" y="2492323"/>
                  </a:cubicBezTo>
                  <a:cubicBezTo>
                    <a:pt x="561233" y="2492323"/>
                    <a:pt x="546305" y="2504682"/>
                    <a:pt x="547257" y="2504682"/>
                  </a:cubicBezTo>
                  <a:cubicBezTo>
                    <a:pt x="548210" y="2504682"/>
                    <a:pt x="513272" y="2503731"/>
                    <a:pt x="513272" y="2503731"/>
                  </a:cubicBezTo>
                  <a:cubicBezTo>
                    <a:pt x="513272" y="2503731"/>
                    <a:pt x="513272" y="2503731"/>
                    <a:pt x="503108" y="2510703"/>
                  </a:cubicBezTo>
                  <a:cubicBezTo>
                    <a:pt x="503108" y="2510703"/>
                    <a:pt x="503108" y="2510703"/>
                    <a:pt x="518354" y="2528766"/>
                  </a:cubicBezTo>
                  <a:cubicBezTo>
                    <a:pt x="518354" y="2528766"/>
                    <a:pt x="518354" y="2528766"/>
                    <a:pt x="487228" y="2555701"/>
                  </a:cubicBezTo>
                  <a:lnTo>
                    <a:pt x="437044" y="2496443"/>
                  </a:lnTo>
                  <a:cubicBezTo>
                    <a:pt x="437044" y="2496443"/>
                    <a:pt x="437044" y="2496443"/>
                    <a:pt x="473570" y="2443523"/>
                  </a:cubicBezTo>
                  <a:close/>
                  <a:moveTo>
                    <a:pt x="1214575" y="2441305"/>
                  </a:moveTo>
                  <a:cubicBezTo>
                    <a:pt x="1214575" y="2441305"/>
                    <a:pt x="1214575" y="2441305"/>
                    <a:pt x="1166614" y="2451128"/>
                  </a:cubicBezTo>
                  <a:cubicBezTo>
                    <a:pt x="1168202" y="2458733"/>
                    <a:pt x="1169155" y="2463804"/>
                    <a:pt x="1169790" y="2466972"/>
                  </a:cubicBezTo>
                  <a:cubicBezTo>
                    <a:pt x="1170426" y="2466972"/>
                    <a:pt x="1170743" y="2466972"/>
                    <a:pt x="1171378" y="2466656"/>
                  </a:cubicBezTo>
                  <a:cubicBezTo>
                    <a:pt x="1171378" y="2466656"/>
                    <a:pt x="1171378" y="2466656"/>
                    <a:pt x="1175507" y="2466022"/>
                  </a:cubicBezTo>
                  <a:cubicBezTo>
                    <a:pt x="1175507" y="2466022"/>
                    <a:pt x="1175507" y="2466022"/>
                    <a:pt x="1176460" y="2470142"/>
                  </a:cubicBezTo>
                  <a:cubicBezTo>
                    <a:pt x="1176460" y="2470142"/>
                    <a:pt x="1176460" y="2470142"/>
                    <a:pt x="1180907" y="2491056"/>
                  </a:cubicBezTo>
                  <a:cubicBezTo>
                    <a:pt x="1180907" y="2491056"/>
                    <a:pt x="1180907" y="2491056"/>
                    <a:pt x="1198376" y="2488838"/>
                  </a:cubicBezTo>
                  <a:cubicBezTo>
                    <a:pt x="1198376" y="2488838"/>
                    <a:pt x="1198376" y="2488838"/>
                    <a:pt x="1194565" y="2467606"/>
                  </a:cubicBezTo>
                  <a:cubicBezTo>
                    <a:pt x="1194565" y="2467606"/>
                    <a:pt x="1194565" y="2467606"/>
                    <a:pt x="1193929" y="2463170"/>
                  </a:cubicBezTo>
                  <a:cubicBezTo>
                    <a:pt x="1193929" y="2463170"/>
                    <a:pt x="1193929" y="2463170"/>
                    <a:pt x="1198376" y="2462219"/>
                  </a:cubicBezTo>
                  <a:cubicBezTo>
                    <a:pt x="1198376" y="2462219"/>
                    <a:pt x="1198376" y="2462219"/>
                    <a:pt x="1217751" y="2459367"/>
                  </a:cubicBezTo>
                  <a:cubicBezTo>
                    <a:pt x="1217751" y="2459367"/>
                    <a:pt x="1217751" y="2459367"/>
                    <a:pt x="1214575" y="2441305"/>
                  </a:cubicBezTo>
                  <a:close/>
                  <a:moveTo>
                    <a:pt x="336359" y="2439403"/>
                  </a:moveTo>
                  <a:cubicBezTo>
                    <a:pt x="336359" y="2439403"/>
                    <a:pt x="336359" y="2439403"/>
                    <a:pt x="315713" y="2447642"/>
                  </a:cubicBezTo>
                  <a:cubicBezTo>
                    <a:pt x="315713" y="2447642"/>
                    <a:pt x="315713" y="2447642"/>
                    <a:pt x="319207" y="2457466"/>
                  </a:cubicBezTo>
                  <a:lnTo>
                    <a:pt x="320478" y="2461269"/>
                  </a:lnTo>
                  <a:cubicBezTo>
                    <a:pt x="320478" y="2461269"/>
                    <a:pt x="320478" y="2461269"/>
                    <a:pt x="316984" y="2462853"/>
                  </a:cubicBezTo>
                  <a:cubicBezTo>
                    <a:pt x="316984" y="2462853"/>
                    <a:pt x="316984" y="2462853"/>
                    <a:pt x="303009" y="2469191"/>
                  </a:cubicBezTo>
                  <a:cubicBezTo>
                    <a:pt x="303009" y="2469191"/>
                    <a:pt x="303009" y="2469191"/>
                    <a:pt x="310314" y="2491690"/>
                  </a:cubicBezTo>
                  <a:cubicBezTo>
                    <a:pt x="310314" y="2491690"/>
                    <a:pt x="310314" y="2491690"/>
                    <a:pt x="316349" y="2490105"/>
                  </a:cubicBezTo>
                  <a:cubicBezTo>
                    <a:pt x="316349" y="2490105"/>
                    <a:pt x="316349" y="2490105"/>
                    <a:pt x="320478" y="2488838"/>
                  </a:cubicBezTo>
                  <a:cubicBezTo>
                    <a:pt x="320478" y="2488838"/>
                    <a:pt x="320478" y="2488838"/>
                    <a:pt x="321748" y="2492957"/>
                  </a:cubicBezTo>
                  <a:cubicBezTo>
                    <a:pt x="321748" y="2492957"/>
                    <a:pt x="321748" y="2492957"/>
                    <a:pt x="323971" y="2498661"/>
                  </a:cubicBezTo>
                  <a:cubicBezTo>
                    <a:pt x="323971" y="2498661"/>
                    <a:pt x="323971" y="2498661"/>
                    <a:pt x="325242" y="2502464"/>
                  </a:cubicBezTo>
                  <a:cubicBezTo>
                    <a:pt x="325242" y="2502464"/>
                    <a:pt x="325242" y="2502464"/>
                    <a:pt x="321430" y="2504049"/>
                  </a:cubicBezTo>
                  <a:cubicBezTo>
                    <a:pt x="321430" y="2504049"/>
                    <a:pt x="321430" y="2504049"/>
                    <a:pt x="307455" y="2510386"/>
                  </a:cubicBezTo>
                  <a:cubicBezTo>
                    <a:pt x="307455" y="2510386"/>
                    <a:pt x="307455" y="2510386"/>
                    <a:pt x="315396" y="2532251"/>
                  </a:cubicBezTo>
                  <a:cubicBezTo>
                    <a:pt x="315396" y="2532251"/>
                    <a:pt x="315396" y="2532251"/>
                    <a:pt x="335406" y="2524329"/>
                  </a:cubicBezTo>
                  <a:cubicBezTo>
                    <a:pt x="335406" y="2524329"/>
                    <a:pt x="335406" y="2524329"/>
                    <a:pt x="332230" y="2515139"/>
                  </a:cubicBezTo>
                  <a:cubicBezTo>
                    <a:pt x="332230" y="2515139"/>
                    <a:pt x="332230" y="2515139"/>
                    <a:pt x="331277" y="2511337"/>
                  </a:cubicBezTo>
                  <a:cubicBezTo>
                    <a:pt x="331277" y="2511337"/>
                    <a:pt x="331277" y="2511337"/>
                    <a:pt x="334770" y="2509752"/>
                  </a:cubicBezTo>
                  <a:cubicBezTo>
                    <a:pt x="334770" y="2509752"/>
                    <a:pt x="334770" y="2509752"/>
                    <a:pt x="349381" y="2503415"/>
                  </a:cubicBezTo>
                  <a:cubicBezTo>
                    <a:pt x="349381" y="2503415"/>
                    <a:pt x="349381" y="2503415"/>
                    <a:pt x="341440" y="2480282"/>
                  </a:cubicBezTo>
                  <a:cubicBezTo>
                    <a:pt x="341440" y="2480282"/>
                    <a:pt x="341440" y="2480282"/>
                    <a:pt x="336041" y="2482183"/>
                  </a:cubicBezTo>
                  <a:cubicBezTo>
                    <a:pt x="336041" y="2482183"/>
                    <a:pt x="336041" y="2482183"/>
                    <a:pt x="331912" y="2483451"/>
                  </a:cubicBezTo>
                  <a:cubicBezTo>
                    <a:pt x="331912" y="2483451"/>
                    <a:pt x="331912" y="2483451"/>
                    <a:pt x="330324" y="2479648"/>
                  </a:cubicBezTo>
                  <a:cubicBezTo>
                    <a:pt x="330324" y="2479648"/>
                    <a:pt x="330324" y="2479648"/>
                    <a:pt x="328100" y="2473310"/>
                  </a:cubicBezTo>
                  <a:cubicBezTo>
                    <a:pt x="328100" y="2473310"/>
                    <a:pt x="328100" y="2473310"/>
                    <a:pt x="326830" y="2469191"/>
                  </a:cubicBezTo>
                  <a:cubicBezTo>
                    <a:pt x="326830" y="2469191"/>
                    <a:pt x="326830" y="2469191"/>
                    <a:pt x="330641" y="2467606"/>
                  </a:cubicBezTo>
                  <a:cubicBezTo>
                    <a:pt x="330641" y="2467606"/>
                    <a:pt x="330641" y="2467606"/>
                    <a:pt x="344299" y="2462219"/>
                  </a:cubicBezTo>
                  <a:cubicBezTo>
                    <a:pt x="344299" y="2462219"/>
                    <a:pt x="344299" y="2462219"/>
                    <a:pt x="336359" y="2439403"/>
                  </a:cubicBezTo>
                  <a:close/>
                  <a:moveTo>
                    <a:pt x="1218386" y="2436234"/>
                  </a:moveTo>
                  <a:cubicBezTo>
                    <a:pt x="1218386" y="2436234"/>
                    <a:pt x="1218386" y="2436234"/>
                    <a:pt x="1222833" y="2463170"/>
                  </a:cubicBezTo>
                  <a:cubicBezTo>
                    <a:pt x="1222833" y="2463170"/>
                    <a:pt x="1222833" y="2463170"/>
                    <a:pt x="1199011" y="2466656"/>
                  </a:cubicBezTo>
                  <a:cubicBezTo>
                    <a:pt x="1199011" y="2466656"/>
                    <a:pt x="1199011" y="2466656"/>
                    <a:pt x="1203776" y="2492640"/>
                  </a:cubicBezTo>
                  <a:cubicBezTo>
                    <a:pt x="1203776" y="2492640"/>
                    <a:pt x="1203776" y="2492640"/>
                    <a:pt x="1177731" y="2495809"/>
                  </a:cubicBezTo>
                  <a:lnTo>
                    <a:pt x="1172014" y="2471092"/>
                  </a:lnTo>
                  <a:cubicBezTo>
                    <a:pt x="1172014" y="2471092"/>
                    <a:pt x="1165344" y="2472360"/>
                    <a:pt x="1165979" y="2471726"/>
                  </a:cubicBezTo>
                  <a:cubicBezTo>
                    <a:pt x="1166297" y="2471092"/>
                    <a:pt x="1161215" y="2447642"/>
                    <a:pt x="1161215" y="2447642"/>
                  </a:cubicBezTo>
                  <a:cubicBezTo>
                    <a:pt x="1161215" y="2447642"/>
                    <a:pt x="1161215" y="2447642"/>
                    <a:pt x="1218386" y="2436234"/>
                  </a:cubicBezTo>
                  <a:close/>
                  <a:moveTo>
                    <a:pt x="1224738" y="2433382"/>
                  </a:moveTo>
                  <a:cubicBezTo>
                    <a:pt x="1224738" y="2433382"/>
                    <a:pt x="1224738" y="2433382"/>
                    <a:pt x="1140252" y="2450494"/>
                  </a:cubicBezTo>
                  <a:lnTo>
                    <a:pt x="1167249" y="2522745"/>
                  </a:lnTo>
                  <a:cubicBezTo>
                    <a:pt x="1167249" y="2522745"/>
                    <a:pt x="1167249" y="2522745"/>
                    <a:pt x="1183766" y="2528449"/>
                  </a:cubicBezTo>
                  <a:cubicBezTo>
                    <a:pt x="1183766" y="2528449"/>
                    <a:pt x="1183766" y="2528449"/>
                    <a:pt x="1232997" y="2506267"/>
                  </a:cubicBezTo>
                  <a:cubicBezTo>
                    <a:pt x="1232997" y="2505950"/>
                    <a:pt x="1232997" y="2505633"/>
                    <a:pt x="1232997" y="2505633"/>
                  </a:cubicBezTo>
                  <a:cubicBezTo>
                    <a:pt x="1232997" y="2504999"/>
                    <a:pt x="1232679" y="2504682"/>
                    <a:pt x="1232679" y="2504365"/>
                  </a:cubicBezTo>
                  <a:cubicBezTo>
                    <a:pt x="1230773" y="2492323"/>
                    <a:pt x="1225374" y="2459367"/>
                    <a:pt x="1225374" y="2440037"/>
                  </a:cubicBezTo>
                  <a:cubicBezTo>
                    <a:pt x="1225374" y="2439086"/>
                    <a:pt x="1225374" y="2438453"/>
                    <a:pt x="1225374" y="2437819"/>
                  </a:cubicBezTo>
                  <a:cubicBezTo>
                    <a:pt x="1225374" y="2437185"/>
                    <a:pt x="1225056" y="2436868"/>
                    <a:pt x="1225056" y="2435917"/>
                  </a:cubicBezTo>
                  <a:cubicBezTo>
                    <a:pt x="1225056" y="2435284"/>
                    <a:pt x="1225056" y="2434333"/>
                    <a:pt x="1224738" y="2433382"/>
                  </a:cubicBezTo>
                  <a:close/>
                  <a:moveTo>
                    <a:pt x="339217" y="2433382"/>
                  </a:moveTo>
                  <a:cubicBezTo>
                    <a:pt x="339217" y="2433382"/>
                    <a:pt x="339217" y="2433382"/>
                    <a:pt x="350016" y="2464754"/>
                  </a:cubicBezTo>
                  <a:cubicBezTo>
                    <a:pt x="350016" y="2464754"/>
                    <a:pt x="350016" y="2464754"/>
                    <a:pt x="332230" y="2471726"/>
                  </a:cubicBezTo>
                  <a:cubicBezTo>
                    <a:pt x="332230" y="2471726"/>
                    <a:pt x="332230" y="2471726"/>
                    <a:pt x="334453" y="2478064"/>
                  </a:cubicBezTo>
                  <a:cubicBezTo>
                    <a:pt x="334453" y="2478064"/>
                    <a:pt x="334453" y="2478064"/>
                    <a:pt x="344299" y="2474578"/>
                  </a:cubicBezTo>
                  <a:cubicBezTo>
                    <a:pt x="344299" y="2474578"/>
                    <a:pt x="344299" y="2474578"/>
                    <a:pt x="354780" y="2505950"/>
                  </a:cubicBezTo>
                  <a:cubicBezTo>
                    <a:pt x="354780" y="2505950"/>
                    <a:pt x="354780" y="2505950"/>
                    <a:pt x="336676" y="2513555"/>
                  </a:cubicBezTo>
                  <a:cubicBezTo>
                    <a:pt x="336676" y="2513555"/>
                    <a:pt x="336676" y="2513555"/>
                    <a:pt x="340805" y="2526864"/>
                  </a:cubicBezTo>
                  <a:cubicBezTo>
                    <a:pt x="340805" y="2526864"/>
                    <a:pt x="340805" y="2526864"/>
                    <a:pt x="312855" y="2537956"/>
                  </a:cubicBezTo>
                  <a:cubicBezTo>
                    <a:pt x="312855" y="2537956"/>
                    <a:pt x="312855" y="2537956"/>
                    <a:pt x="301738" y="2508168"/>
                  </a:cubicBezTo>
                  <a:cubicBezTo>
                    <a:pt x="301738" y="2508168"/>
                    <a:pt x="301738" y="2508168"/>
                    <a:pt x="319525" y="2499929"/>
                  </a:cubicBezTo>
                  <a:cubicBezTo>
                    <a:pt x="319525" y="2499929"/>
                    <a:pt x="319525" y="2499929"/>
                    <a:pt x="317619" y="2494225"/>
                  </a:cubicBezTo>
                  <a:cubicBezTo>
                    <a:pt x="317619" y="2494225"/>
                    <a:pt x="317619" y="2494225"/>
                    <a:pt x="307455" y="2497077"/>
                  </a:cubicBezTo>
                  <a:lnTo>
                    <a:pt x="297609" y="2466972"/>
                  </a:lnTo>
                  <a:cubicBezTo>
                    <a:pt x="297609" y="2466972"/>
                    <a:pt x="297609" y="2466972"/>
                    <a:pt x="315078" y="2458733"/>
                  </a:cubicBezTo>
                  <a:cubicBezTo>
                    <a:pt x="315078" y="2458733"/>
                    <a:pt x="315078" y="2458733"/>
                    <a:pt x="310314" y="2445107"/>
                  </a:cubicBezTo>
                  <a:cubicBezTo>
                    <a:pt x="310314" y="2445107"/>
                    <a:pt x="310314" y="2445107"/>
                    <a:pt x="339217" y="2433382"/>
                  </a:cubicBezTo>
                  <a:close/>
                  <a:moveTo>
                    <a:pt x="1271428" y="2433065"/>
                  </a:moveTo>
                  <a:cubicBezTo>
                    <a:pt x="1271428" y="2433065"/>
                    <a:pt x="1271428" y="2433065"/>
                    <a:pt x="1247289" y="2443523"/>
                  </a:cubicBezTo>
                  <a:cubicBezTo>
                    <a:pt x="1247607" y="2453346"/>
                    <a:pt x="1249195" y="2467923"/>
                    <a:pt x="1251101" y="2480282"/>
                  </a:cubicBezTo>
                  <a:cubicBezTo>
                    <a:pt x="1252689" y="2490422"/>
                    <a:pt x="1253959" y="2498978"/>
                    <a:pt x="1254595" y="2502781"/>
                  </a:cubicBezTo>
                  <a:cubicBezTo>
                    <a:pt x="1254595" y="2502781"/>
                    <a:pt x="1254595" y="2502781"/>
                    <a:pt x="1254912" y="2503098"/>
                  </a:cubicBezTo>
                  <a:cubicBezTo>
                    <a:pt x="1255865" y="2511971"/>
                    <a:pt x="1258088" y="2520527"/>
                    <a:pt x="1261265" y="2528132"/>
                  </a:cubicBezTo>
                  <a:cubicBezTo>
                    <a:pt x="1262853" y="2531934"/>
                    <a:pt x="1264123" y="2535420"/>
                    <a:pt x="1265394" y="2537956"/>
                  </a:cubicBezTo>
                  <a:cubicBezTo>
                    <a:pt x="1266029" y="2539223"/>
                    <a:pt x="1266346" y="2540174"/>
                    <a:pt x="1266982" y="2541124"/>
                  </a:cubicBezTo>
                  <a:cubicBezTo>
                    <a:pt x="1266982" y="2541441"/>
                    <a:pt x="1267299" y="2541758"/>
                    <a:pt x="1267299" y="2542392"/>
                  </a:cubicBezTo>
                  <a:cubicBezTo>
                    <a:pt x="1267617" y="2542392"/>
                    <a:pt x="1267617" y="2542709"/>
                    <a:pt x="1267617" y="2542709"/>
                  </a:cubicBezTo>
                  <a:cubicBezTo>
                    <a:pt x="1275557" y="2541758"/>
                    <a:pt x="1283498" y="2541124"/>
                    <a:pt x="1291438" y="2541124"/>
                  </a:cubicBezTo>
                  <a:cubicBezTo>
                    <a:pt x="1293662" y="2541124"/>
                    <a:pt x="1295885" y="2541441"/>
                    <a:pt x="1298108" y="2541441"/>
                  </a:cubicBezTo>
                  <a:cubicBezTo>
                    <a:pt x="1298108" y="2541441"/>
                    <a:pt x="1298108" y="2541441"/>
                    <a:pt x="1271428" y="2433065"/>
                  </a:cubicBezTo>
                  <a:close/>
                  <a:moveTo>
                    <a:pt x="2567631" y="2431164"/>
                  </a:moveTo>
                  <a:cubicBezTo>
                    <a:pt x="2543174" y="2440354"/>
                    <a:pt x="2519988" y="2448910"/>
                    <a:pt x="2512365" y="2451762"/>
                  </a:cubicBezTo>
                  <a:cubicBezTo>
                    <a:pt x="2512365" y="2451762"/>
                    <a:pt x="2512365" y="2451762"/>
                    <a:pt x="2583512" y="2527181"/>
                  </a:cubicBezTo>
                  <a:cubicBezTo>
                    <a:pt x="2587641" y="2526864"/>
                    <a:pt x="2592087" y="2526230"/>
                    <a:pt x="2596534" y="2525597"/>
                  </a:cubicBezTo>
                  <a:cubicBezTo>
                    <a:pt x="2598122" y="2525597"/>
                    <a:pt x="2599710" y="2525280"/>
                    <a:pt x="2600981" y="2524963"/>
                  </a:cubicBezTo>
                  <a:cubicBezTo>
                    <a:pt x="2600981" y="2524963"/>
                    <a:pt x="2600981" y="2524963"/>
                    <a:pt x="2570172" y="2491690"/>
                  </a:cubicBezTo>
                  <a:cubicBezTo>
                    <a:pt x="2570172" y="2491690"/>
                    <a:pt x="2570172" y="2491690"/>
                    <a:pt x="2587958" y="2475529"/>
                  </a:cubicBezTo>
                  <a:cubicBezTo>
                    <a:pt x="2587958" y="2475529"/>
                    <a:pt x="2587958" y="2475529"/>
                    <a:pt x="2589229" y="2477113"/>
                  </a:cubicBezTo>
                  <a:cubicBezTo>
                    <a:pt x="2589229" y="2477113"/>
                    <a:pt x="2589229" y="2477113"/>
                    <a:pt x="2620673" y="2510703"/>
                  </a:cubicBezTo>
                  <a:lnTo>
                    <a:pt x="2605745" y="2524646"/>
                  </a:lnTo>
                  <a:cubicBezTo>
                    <a:pt x="2621308" y="2522428"/>
                    <a:pt x="2638460" y="2519893"/>
                    <a:pt x="2654340" y="2517041"/>
                  </a:cubicBezTo>
                  <a:cubicBezTo>
                    <a:pt x="2642271" y="2506267"/>
                    <a:pt x="2603839" y="2467923"/>
                    <a:pt x="2567631" y="2431164"/>
                  </a:cubicBezTo>
                  <a:close/>
                  <a:moveTo>
                    <a:pt x="472617" y="2428312"/>
                  </a:moveTo>
                  <a:cubicBezTo>
                    <a:pt x="472617" y="2428312"/>
                    <a:pt x="472617" y="2428312"/>
                    <a:pt x="424974" y="2495492"/>
                  </a:cubicBezTo>
                  <a:cubicBezTo>
                    <a:pt x="424974" y="2495492"/>
                    <a:pt x="424974" y="2495492"/>
                    <a:pt x="485322" y="2569961"/>
                  </a:cubicBezTo>
                  <a:cubicBezTo>
                    <a:pt x="494215" y="2562039"/>
                    <a:pt x="513272" y="2546828"/>
                    <a:pt x="532012" y="2531618"/>
                  </a:cubicBezTo>
                  <a:cubicBezTo>
                    <a:pt x="554245" y="2513872"/>
                    <a:pt x="575526" y="2497077"/>
                    <a:pt x="578384" y="2494542"/>
                  </a:cubicBezTo>
                  <a:cubicBezTo>
                    <a:pt x="579337" y="2491690"/>
                    <a:pt x="580925" y="2479965"/>
                    <a:pt x="582513" y="2465705"/>
                  </a:cubicBezTo>
                  <a:cubicBezTo>
                    <a:pt x="573620" y="2465388"/>
                    <a:pt x="510096" y="2462853"/>
                    <a:pt x="503108" y="2462853"/>
                  </a:cubicBezTo>
                  <a:cubicBezTo>
                    <a:pt x="503108" y="2462853"/>
                    <a:pt x="502791" y="2462853"/>
                    <a:pt x="502791" y="2462853"/>
                  </a:cubicBezTo>
                  <a:cubicBezTo>
                    <a:pt x="502791" y="2462853"/>
                    <a:pt x="502473" y="2462853"/>
                    <a:pt x="501838" y="2462853"/>
                  </a:cubicBezTo>
                  <a:cubicBezTo>
                    <a:pt x="501838" y="2462853"/>
                    <a:pt x="501838" y="2462853"/>
                    <a:pt x="499932" y="2462219"/>
                  </a:cubicBezTo>
                  <a:cubicBezTo>
                    <a:pt x="499932" y="2462219"/>
                    <a:pt x="499932" y="2462219"/>
                    <a:pt x="499932" y="2460635"/>
                  </a:cubicBezTo>
                  <a:cubicBezTo>
                    <a:pt x="498344" y="2458416"/>
                    <a:pt x="491039" y="2449860"/>
                    <a:pt x="484051" y="2441622"/>
                  </a:cubicBezTo>
                  <a:cubicBezTo>
                    <a:pt x="479605" y="2436551"/>
                    <a:pt x="475476" y="2431481"/>
                    <a:pt x="472617" y="2428312"/>
                  </a:cubicBezTo>
                  <a:close/>
                  <a:moveTo>
                    <a:pt x="1988929" y="2425460"/>
                  </a:moveTo>
                  <a:cubicBezTo>
                    <a:pt x="1988929" y="2425460"/>
                    <a:pt x="1988929" y="2425460"/>
                    <a:pt x="1986071" y="2440988"/>
                  </a:cubicBezTo>
                  <a:cubicBezTo>
                    <a:pt x="1986071" y="2440988"/>
                    <a:pt x="1986071" y="2440988"/>
                    <a:pt x="2025138" y="2448593"/>
                  </a:cubicBezTo>
                  <a:cubicBezTo>
                    <a:pt x="2025138" y="2448593"/>
                    <a:pt x="2025138" y="2448593"/>
                    <a:pt x="2027996" y="2433065"/>
                  </a:cubicBezTo>
                  <a:close/>
                  <a:moveTo>
                    <a:pt x="275376" y="2421974"/>
                  </a:moveTo>
                  <a:lnTo>
                    <a:pt x="155316" y="2549997"/>
                  </a:lnTo>
                  <a:cubicBezTo>
                    <a:pt x="155316" y="2549997"/>
                    <a:pt x="155316" y="2549997"/>
                    <a:pt x="225827" y="2633339"/>
                  </a:cubicBezTo>
                  <a:cubicBezTo>
                    <a:pt x="225827" y="2633339"/>
                    <a:pt x="225827" y="2633339"/>
                    <a:pt x="293798" y="2576933"/>
                  </a:cubicBezTo>
                  <a:cubicBezTo>
                    <a:pt x="293798" y="2576933"/>
                    <a:pt x="293798" y="2576933"/>
                    <a:pt x="293798" y="2576616"/>
                  </a:cubicBezTo>
                  <a:cubicBezTo>
                    <a:pt x="293798" y="2576616"/>
                    <a:pt x="293798" y="2576616"/>
                    <a:pt x="286492" y="2543976"/>
                  </a:cubicBezTo>
                  <a:cubicBezTo>
                    <a:pt x="286492" y="2543976"/>
                    <a:pt x="286492" y="2543976"/>
                    <a:pt x="265530" y="2525914"/>
                  </a:cubicBezTo>
                  <a:cubicBezTo>
                    <a:pt x="265530" y="2525914"/>
                    <a:pt x="265530" y="2525914"/>
                    <a:pt x="272200" y="2473310"/>
                  </a:cubicBezTo>
                  <a:cubicBezTo>
                    <a:pt x="272200" y="2473310"/>
                    <a:pt x="272200" y="2473310"/>
                    <a:pt x="284587" y="2466339"/>
                  </a:cubicBezTo>
                  <a:cubicBezTo>
                    <a:pt x="284587" y="2466339"/>
                    <a:pt x="284587" y="2466339"/>
                    <a:pt x="275376" y="2421974"/>
                  </a:cubicBezTo>
                  <a:close/>
                  <a:moveTo>
                    <a:pt x="2344027" y="2419122"/>
                  </a:moveTo>
                  <a:cubicBezTo>
                    <a:pt x="2344027" y="2419122"/>
                    <a:pt x="2344027" y="2419122"/>
                    <a:pt x="2342121" y="2434650"/>
                  </a:cubicBezTo>
                  <a:lnTo>
                    <a:pt x="2381824" y="2439403"/>
                  </a:lnTo>
                  <a:cubicBezTo>
                    <a:pt x="2381824" y="2439403"/>
                    <a:pt x="2381824" y="2439403"/>
                    <a:pt x="2383729" y="2423876"/>
                  </a:cubicBezTo>
                  <a:cubicBezTo>
                    <a:pt x="2383729" y="2423876"/>
                    <a:pt x="2383729" y="2423876"/>
                    <a:pt x="2344027" y="2419122"/>
                  </a:cubicBezTo>
                  <a:close/>
                  <a:moveTo>
                    <a:pt x="118154" y="2417221"/>
                  </a:moveTo>
                  <a:lnTo>
                    <a:pt x="88298" y="2476479"/>
                  </a:lnTo>
                  <a:cubicBezTo>
                    <a:pt x="88298" y="2476479"/>
                    <a:pt x="88298" y="2476479"/>
                    <a:pt x="109579" y="2487570"/>
                  </a:cubicBezTo>
                  <a:cubicBezTo>
                    <a:pt x="109579" y="2487570"/>
                    <a:pt x="109579" y="2487570"/>
                    <a:pt x="134671" y="2475212"/>
                  </a:cubicBezTo>
                  <a:cubicBezTo>
                    <a:pt x="134671" y="2475212"/>
                    <a:pt x="134671" y="2475212"/>
                    <a:pt x="155633" y="2488838"/>
                  </a:cubicBezTo>
                  <a:cubicBezTo>
                    <a:pt x="155633" y="2488838"/>
                    <a:pt x="155633" y="2488838"/>
                    <a:pt x="165162" y="2479965"/>
                  </a:cubicBezTo>
                  <a:cubicBezTo>
                    <a:pt x="165162" y="2479965"/>
                    <a:pt x="165162" y="2479965"/>
                    <a:pt x="118154" y="2417221"/>
                  </a:cubicBezTo>
                  <a:close/>
                  <a:moveTo>
                    <a:pt x="2340533" y="2414686"/>
                  </a:moveTo>
                  <a:cubicBezTo>
                    <a:pt x="2340533" y="2414686"/>
                    <a:pt x="2340533" y="2414686"/>
                    <a:pt x="2388176" y="2420390"/>
                  </a:cubicBezTo>
                  <a:cubicBezTo>
                    <a:pt x="2388176" y="2420390"/>
                    <a:pt x="2388176" y="2420390"/>
                    <a:pt x="2385318" y="2444157"/>
                  </a:cubicBezTo>
                  <a:lnTo>
                    <a:pt x="2383412" y="2443840"/>
                  </a:lnTo>
                  <a:cubicBezTo>
                    <a:pt x="2383412" y="2443840"/>
                    <a:pt x="2383412" y="2443840"/>
                    <a:pt x="2337675" y="2438453"/>
                  </a:cubicBezTo>
                  <a:cubicBezTo>
                    <a:pt x="2337675" y="2438453"/>
                    <a:pt x="2337675" y="2438453"/>
                    <a:pt x="2340533" y="2414686"/>
                  </a:cubicBezTo>
                  <a:close/>
                  <a:moveTo>
                    <a:pt x="1310178" y="2414686"/>
                  </a:moveTo>
                  <a:cubicBezTo>
                    <a:pt x="1310178" y="2414686"/>
                    <a:pt x="1310178" y="2414686"/>
                    <a:pt x="1290486" y="2424509"/>
                  </a:cubicBezTo>
                  <a:cubicBezTo>
                    <a:pt x="1290486" y="2424509"/>
                    <a:pt x="1290486" y="2424509"/>
                    <a:pt x="1276193" y="2430847"/>
                  </a:cubicBezTo>
                  <a:lnTo>
                    <a:pt x="1303508" y="2541758"/>
                  </a:lnTo>
                  <a:cubicBezTo>
                    <a:pt x="1315260" y="2542075"/>
                    <a:pt x="1327012" y="2543026"/>
                    <a:pt x="1339081" y="2543976"/>
                  </a:cubicBezTo>
                  <a:cubicBezTo>
                    <a:pt x="1339081" y="2543976"/>
                    <a:pt x="1339081" y="2543976"/>
                    <a:pt x="1335587" y="2528132"/>
                  </a:cubicBezTo>
                  <a:cubicBezTo>
                    <a:pt x="1335587" y="2528132"/>
                    <a:pt x="1335587" y="2528132"/>
                    <a:pt x="1307955" y="2531934"/>
                  </a:cubicBezTo>
                  <a:cubicBezTo>
                    <a:pt x="1307955" y="2531934"/>
                    <a:pt x="1307955" y="2531934"/>
                    <a:pt x="1300332" y="2482817"/>
                  </a:cubicBezTo>
                  <a:cubicBezTo>
                    <a:pt x="1300332" y="2482817"/>
                    <a:pt x="1300332" y="2482817"/>
                    <a:pt x="1324788" y="2479331"/>
                  </a:cubicBezTo>
                  <a:cubicBezTo>
                    <a:pt x="1324788" y="2479331"/>
                    <a:pt x="1324788" y="2479331"/>
                    <a:pt x="1310178" y="2414686"/>
                  </a:cubicBezTo>
                  <a:close/>
                  <a:moveTo>
                    <a:pt x="1473752" y="2409933"/>
                  </a:moveTo>
                  <a:lnTo>
                    <a:pt x="1401017" y="2455882"/>
                  </a:lnTo>
                  <a:cubicBezTo>
                    <a:pt x="1401017" y="2455882"/>
                    <a:pt x="1401017" y="2455882"/>
                    <a:pt x="1403875" y="2468240"/>
                  </a:cubicBezTo>
                  <a:cubicBezTo>
                    <a:pt x="1403875" y="2468240"/>
                    <a:pt x="1403875" y="2468240"/>
                    <a:pt x="1481374" y="2457466"/>
                  </a:cubicBezTo>
                  <a:cubicBezTo>
                    <a:pt x="1481374" y="2457466"/>
                    <a:pt x="1481374" y="2457466"/>
                    <a:pt x="1473752" y="2409933"/>
                  </a:cubicBezTo>
                  <a:close/>
                  <a:moveTo>
                    <a:pt x="117202" y="2408348"/>
                  </a:moveTo>
                  <a:cubicBezTo>
                    <a:pt x="117202" y="2408348"/>
                    <a:pt x="117202" y="2408348"/>
                    <a:pt x="171514" y="2480599"/>
                  </a:cubicBezTo>
                  <a:cubicBezTo>
                    <a:pt x="171514" y="2480599"/>
                    <a:pt x="171514" y="2480599"/>
                    <a:pt x="169926" y="2481866"/>
                  </a:cubicBezTo>
                  <a:cubicBezTo>
                    <a:pt x="169926" y="2481866"/>
                    <a:pt x="169926" y="2481866"/>
                    <a:pt x="156269" y="2494859"/>
                  </a:cubicBezTo>
                  <a:cubicBezTo>
                    <a:pt x="156269" y="2494859"/>
                    <a:pt x="156269" y="2494859"/>
                    <a:pt x="134353" y="2480599"/>
                  </a:cubicBezTo>
                  <a:lnTo>
                    <a:pt x="109579" y="2492640"/>
                  </a:lnTo>
                  <a:cubicBezTo>
                    <a:pt x="109579" y="2492640"/>
                    <a:pt x="109579" y="2492640"/>
                    <a:pt x="81946" y="2478697"/>
                  </a:cubicBezTo>
                  <a:cubicBezTo>
                    <a:pt x="81946" y="2478697"/>
                    <a:pt x="81946" y="2478697"/>
                    <a:pt x="117202" y="2408348"/>
                  </a:cubicBezTo>
                  <a:close/>
                  <a:moveTo>
                    <a:pt x="2631472" y="2408031"/>
                  </a:moveTo>
                  <a:cubicBezTo>
                    <a:pt x="2622896" y="2410884"/>
                    <a:pt x="2597487" y="2420073"/>
                    <a:pt x="2572395" y="2429580"/>
                  </a:cubicBezTo>
                  <a:cubicBezTo>
                    <a:pt x="2573983" y="2431481"/>
                    <a:pt x="2575889" y="2433382"/>
                    <a:pt x="2577794" y="2435284"/>
                  </a:cubicBezTo>
                  <a:cubicBezTo>
                    <a:pt x="2598122" y="2455564"/>
                    <a:pt x="2618132" y="2475845"/>
                    <a:pt x="2633696" y="2491056"/>
                  </a:cubicBezTo>
                  <a:cubicBezTo>
                    <a:pt x="2641636" y="2498661"/>
                    <a:pt x="2647988" y="2504999"/>
                    <a:pt x="2652752" y="2509436"/>
                  </a:cubicBezTo>
                  <a:cubicBezTo>
                    <a:pt x="2654976" y="2511654"/>
                    <a:pt x="2656882" y="2513555"/>
                    <a:pt x="2658470" y="2514506"/>
                  </a:cubicBezTo>
                  <a:cubicBezTo>
                    <a:pt x="2659105" y="2515139"/>
                    <a:pt x="2659422" y="2515456"/>
                    <a:pt x="2659740" y="2515773"/>
                  </a:cubicBezTo>
                  <a:cubicBezTo>
                    <a:pt x="2663234" y="2515139"/>
                    <a:pt x="2666728" y="2514506"/>
                    <a:pt x="2669904" y="2513872"/>
                  </a:cubicBezTo>
                  <a:cubicBezTo>
                    <a:pt x="2686102" y="2510069"/>
                    <a:pt x="2707065" y="2498661"/>
                    <a:pt x="2724217" y="2486936"/>
                  </a:cubicBezTo>
                  <a:cubicBezTo>
                    <a:pt x="2724217" y="2486936"/>
                    <a:pt x="2724217" y="2486936"/>
                    <a:pt x="2631472" y="2408031"/>
                  </a:cubicBezTo>
                  <a:close/>
                  <a:moveTo>
                    <a:pt x="296974" y="2402961"/>
                  </a:moveTo>
                  <a:cubicBezTo>
                    <a:pt x="296974" y="2402961"/>
                    <a:pt x="296974" y="2402961"/>
                    <a:pt x="279822" y="2417855"/>
                  </a:cubicBezTo>
                  <a:cubicBezTo>
                    <a:pt x="279822" y="2417855"/>
                    <a:pt x="279822" y="2417855"/>
                    <a:pt x="290621" y="2469191"/>
                  </a:cubicBezTo>
                  <a:cubicBezTo>
                    <a:pt x="290621" y="2469191"/>
                    <a:pt x="290621" y="2469191"/>
                    <a:pt x="276964" y="2476479"/>
                  </a:cubicBezTo>
                  <a:cubicBezTo>
                    <a:pt x="276964" y="2476479"/>
                    <a:pt x="276964" y="2476479"/>
                    <a:pt x="271247" y="2523696"/>
                  </a:cubicBezTo>
                  <a:cubicBezTo>
                    <a:pt x="271247" y="2523696"/>
                    <a:pt x="271247" y="2523696"/>
                    <a:pt x="291257" y="2541124"/>
                  </a:cubicBezTo>
                  <a:cubicBezTo>
                    <a:pt x="291257" y="2541124"/>
                    <a:pt x="291257" y="2541124"/>
                    <a:pt x="298562" y="2573130"/>
                  </a:cubicBezTo>
                  <a:cubicBezTo>
                    <a:pt x="298562" y="2573130"/>
                    <a:pt x="298562" y="2573130"/>
                    <a:pt x="371297" y="2514189"/>
                  </a:cubicBezTo>
                  <a:cubicBezTo>
                    <a:pt x="371297" y="2514189"/>
                    <a:pt x="371297" y="2514189"/>
                    <a:pt x="342076" y="2431164"/>
                  </a:cubicBezTo>
                  <a:close/>
                  <a:moveTo>
                    <a:pt x="1987341" y="2397891"/>
                  </a:moveTo>
                  <a:cubicBezTo>
                    <a:pt x="1987341" y="2397891"/>
                    <a:pt x="1987341" y="2397891"/>
                    <a:pt x="1969872" y="2417538"/>
                  </a:cubicBezTo>
                  <a:cubicBezTo>
                    <a:pt x="1969872" y="2417538"/>
                    <a:pt x="1969872" y="2417538"/>
                    <a:pt x="1967014" y="2448593"/>
                  </a:cubicBezTo>
                  <a:lnTo>
                    <a:pt x="2044830" y="2490739"/>
                  </a:lnTo>
                  <a:cubicBezTo>
                    <a:pt x="2049277" y="2478064"/>
                    <a:pt x="2055312" y="2465388"/>
                    <a:pt x="2062934" y="2453346"/>
                  </a:cubicBezTo>
                  <a:cubicBezTo>
                    <a:pt x="2062934" y="2453346"/>
                    <a:pt x="2062934" y="2453346"/>
                    <a:pt x="2032760" y="2431164"/>
                  </a:cubicBezTo>
                  <a:cubicBezTo>
                    <a:pt x="2032760" y="2431164"/>
                    <a:pt x="2032760" y="2431164"/>
                    <a:pt x="2028314" y="2453346"/>
                  </a:cubicBezTo>
                  <a:cubicBezTo>
                    <a:pt x="2028314" y="2453346"/>
                    <a:pt x="2028314" y="2453346"/>
                    <a:pt x="2026408" y="2453029"/>
                  </a:cubicBezTo>
                  <a:cubicBezTo>
                    <a:pt x="2026408" y="2453029"/>
                    <a:pt x="2026408" y="2453029"/>
                    <a:pt x="1981306" y="2444157"/>
                  </a:cubicBezTo>
                  <a:cubicBezTo>
                    <a:pt x="1981306" y="2444157"/>
                    <a:pt x="1981306" y="2444157"/>
                    <a:pt x="1985753" y="2420707"/>
                  </a:cubicBezTo>
                  <a:cubicBezTo>
                    <a:pt x="1985753" y="2420707"/>
                    <a:pt x="1985753" y="2420707"/>
                    <a:pt x="2029902" y="2429263"/>
                  </a:cubicBezTo>
                  <a:cubicBezTo>
                    <a:pt x="2029902" y="2429263"/>
                    <a:pt x="2029902" y="2429263"/>
                    <a:pt x="1987341" y="2397891"/>
                  </a:cubicBezTo>
                  <a:close/>
                  <a:moveTo>
                    <a:pt x="1347022" y="2395990"/>
                  </a:moveTo>
                  <a:cubicBezTo>
                    <a:pt x="1341940" y="2398525"/>
                    <a:pt x="1337811" y="2400743"/>
                    <a:pt x="1333999" y="2402327"/>
                  </a:cubicBezTo>
                  <a:lnTo>
                    <a:pt x="1314942" y="2412151"/>
                  </a:lnTo>
                  <a:cubicBezTo>
                    <a:pt x="1314942" y="2412151"/>
                    <a:pt x="1314942" y="2412151"/>
                    <a:pt x="1329870" y="2478697"/>
                  </a:cubicBezTo>
                  <a:cubicBezTo>
                    <a:pt x="1329870" y="2478697"/>
                    <a:pt x="1329870" y="2478697"/>
                    <a:pt x="1363220" y="2473944"/>
                  </a:cubicBezTo>
                  <a:cubicBezTo>
                    <a:pt x="1363220" y="2473944"/>
                    <a:pt x="1363220" y="2473944"/>
                    <a:pt x="1347022" y="2395990"/>
                  </a:cubicBezTo>
                  <a:close/>
                  <a:moveTo>
                    <a:pt x="2046736" y="2394405"/>
                  </a:moveTo>
                  <a:cubicBezTo>
                    <a:pt x="2046736" y="2394405"/>
                    <a:pt x="2046736" y="2394405"/>
                    <a:pt x="2043560" y="2409933"/>
                  </a:cubicBezTo>
                  <a:lnTo>
                    <a:pt x="2082627" y="2417538"/>
                  </a:lnTo>
                  <a:cubicBezTo>
                    <a:pt x="2082627" y="2417538"/>
                    <a:pt x="2082627" y="2417538"/>
                    <a:pt x="2085803" y="2402010"/>
                  </a:cubicBezTo>
                  <a:cubicBezTo>
                    <a:pt x="2085803" y="2402010"/>
                    <a:pt x="2085803" y="2402010"/>
                    <a:pt x="2046736" y="2394405"/>
                  </a:cubicBezTo>
                  <a:close/>
                  <a:moveTo>
                    <a:pt x="2384047" y="2394088"/>
                  </a:moveTo>
                  <a:cubicBezTo>
                    <a:pt x="2371342" y="2397891"/>
                    <a:pt x="2358955" y="2401377"/>
                    <a:pt x="2347838" y="2404229"/>
                  </a:cubicBezTo>
                  <a:cubicBezTo>
                    <a:pt x="2324017" y="2410250"/>
                    <a:pt x="2304325" y="2414686"/>
                    <a:pt x="2290350" y="2417221"/>
                  </a:cubicBezTo>
                  <a:cubicBezTo>
                    <a:pt x="2283362" y="2418805"/>
                    <a:pt x="2277645" y="2419756"/>
                    <a:pt x="2273833" y="2420390"/>
                  </a:cubicBezTo>
                  <a:cubicBezTo>
                    <a:pt x="2271928" y="2421024"/>
                    <a:pt x="2270340" y="2421024"/>
                    <a:pt x="2269386" y="2421341"/>
                  </a:cubicBezTo>
                  <a:cubicBezTo>
                    <a:pt x="2269069" y="2421341"/>
                    <a:pt x="2269069" y="2421341"/>
                    <a:pt x="2269069" y="2421341"/>
                  </a:cubicBezTo>
                  <a:cubicBezTo>
                    <a:pt x="2269069" y="2421657"/>
                    <a:pt x="2269069" y="2421974"/>
                    <a:pt x="2269069" y="2421974"/>
                  </a:cubicBezTo>
                  <a:cubicBezTo>
                    <a:pt x="2269069" y="2425460"/>
                    <a:pt x="2269704" y="2431481"/>
                    <a:pt x="2270657" y="2437185"/>
                  </a:cubicBezTo>
                  <a:cubicBezTo>
                    <a:pt x="2277327" y="2436868"/>
                    <a:pt x="2284632" y="2436551"/>
                    <a:pt x="2291620" y="2436551"/>
                  </a:cubicBezTo>
                  <a:cubicBezTo>
                    <a:pt x="2325288" y="2436551"/>
                    <a:pt x="2362449" y="2440671"/>
                    <a:pt x="2402151" y="2450494"/>
                  </a:cubicBezTo>
                  <a:cubicBezTo>
                    <a:pt x="2405963" y="2451445"/>
                    <a:pt x="2409774" y="2452396"/>
                    <a:pt x="2413268" y="2453663"/>
                  </a:cubicBezTo>
                  <a:cubicBezTo>
                    <a:pt x="2413268" y="2453663"/>
                    <a:pt x="2413268" y="2453663"/>
                    <a:pt x="2384047" y="2394088"/>
                  </a:cubicBezTo>
                  <a:close/>
                  <a:moveTo>
                    <a:pt x="868688" y="2394088"/>
                  </a:moveTo>
                  <a:cubicBezTo>
                    <a:pt x="868688" y="2394088"/>
                    <a:pt x="868688" y="2394088"/>
                    <a:pt x="814693" y="2511654"/>
                  </a:cubicBezTo>
                  <a:lnTo>
                    <a:pt x="825174" y="2509752"/>
                  </a:lnTo>
                  <a:cubicBezTo>
                    <a:pt x="825174" y="2509752"/>
                    <a:pt x="825174" y="2509752"/>
                    <a:pt x="903308" y="2424193"/>
                  </a:cubicBezTo>
                  <a:cubicBezTo>
                    <a:pt x="903308" y="2424193"/>
                    <a:pt x="903308" y="2424193"/>
                    <a:pt x="895368" y="2399792"/>
                  </a:cubicBezTo>
                  <a:cubicBezTo>
                    <a:pt x="895368" y="2399792"/>
                    <a:pt x="895368" y="2399792"/>
                    <a:pt x="868688" y="2394088"/>
                  </a:cubicBezTo>
                  <a:close/>
                  <a:moveTo>
                    <a:pt x="1091021" y="2393138"/>
                  </a:moveTo>
                  <a:cubicBezTo>
                    <a:pt x="1091021" y="2393138"/>
                    <a:pt x="1091021" y="2393138"/>
                    <a:pt x="970961" y="2486303"/>
                  </a:cubicBezTo>
                  <a:cubicBezTo>
                    <a:pt x="981442" y="2496443"/>
                    <a:pt x="993830" y="2508802"/>
                    <a:pt x="1006534" y="2521160"/>
                  </a:cubicBezTo>
                  <a:cubicBezTo>
                    <a:pt x="1021462" y="2535737"/>
                    <a:pt x="1036708" y="2550631"/>
                    <a:pt x="1047825" y="2561722"/>
                  </a:cubicBezTo>
                  <a:cubicBezTo>
                    <a:pt x="1053542" y="2567426"/>
                    <a:pt x="1058306" y="2571862"/>
                    <a:pt x="1061482" y="2575348"/>
                  </a:cubicBezTo>
                  <a:cubicBezTo>
                    <a:pt x="1063070" y="2576933"/>
                    <a:pt x="1064341" y="2578200"/>
                    <a:pt x="1065294" y="2578834"/>
                  </a:cubicBezTo>
                  <a:cubicBezTo>
                    <a:pt x="1065611" y="2579151"/>
                    <a:pt x="1065929" y="2579468"/>
                    <a:pt x="1065929" y="2579785"/>
                  </a:cubicBezTo>
                  <a:cubicBezTo>
                    <a:pt x="1067517" y="2580101"/>
                    <a:pt x="1069423" y="2580418"/>
                    <a:pt x="1072599" y="2581369"/>
                  </a:cubicBezTo>
                  <a:cubicBezTo>
                    <a:pt x="1081810" y="2584221"/>
                    <a:pt x="1098009" y="2588974"/>
                    <a:pt x="1103090" y="2590876"/>
                  </a:cubicBezTo>
                  <a:cubicBezTo>
                    <a:pt x="1103090" y="2590876"/>
                    <a:pt x="1103090" y="2590876"/>
                    <a:pt x="1161215" y="2521477"/>
                  </a:cubicBezTo>
                  <a:cubicBezTo>
                    <a:pt x="1161215" y="2521477"/>
                    <a:pt x="1161215" y="2521477"/>
                    <a:pt x="1115478" y="2398842"/>
                  </a:cubicBezTo>
                  <a:cubicBezTo>
                    <a:pt x="1115478" y="2398842"/>
                    <a:pt x="1115478" y="2398842"/>
                    <a:pt x="1091021" y="2393138"/>
                  </a:cubicBezTo>
                  <a:close/>
                  <a:moveTo>
                    <a:pt x="2420891" y="2391870"/>
                  </a:moveTo>
                  <a:cubicBezTo>
                    <a:pt x="2420891" y="2391870"/>
                    <a:pt x="2420891" y="2391870"/>
                    <a:pt x="2408186" y="2401060"/>
                  </a:cubicBezTo>
                  <a:cubicBezTo>
                    <a:pt x="2408186" y="2401060"/>
                    <a:pt x="2408186" y="2401060"/>
                    <a:pt x="2431054" y="2433382"/>
                  </a:cubicBezTo>
                  <a:lnTo>
                    <a:pt x="2443759" y="2424509"/>
                  </a:lnTo>
                  <a:cubicBezTo>
                    <a:pt x="2443759" y="2424509"/>
                    <a:pt x="2443759" y="2424509"/>
                    <a:pt x="2420891" y="2391870"/>
                  </a:cubicBezTo>
                  <a:close/>
                  <a:moveTo>
                    <a:pt x="2043242" y="2389652"/>
                  </a:moveTo>
                  <a:cubicBezTo>
                    <a:pt x="2043242" y="2389652"/>
                    <a:pt x="2043242" y="2389652"/>
                    <a:pt x="2090567" y="2398842"/>
                  </a:cubicBezTo>
                  <a:cubicBezTo>
                    <a:pt x="2090567" y="2398842"/>
                    <a:pt x="2090567" y="2398842"/>
                    <a:pt x="2086120" y="2422291"/>
                  </a:cubicBezTo>
                  <a:lnTo>
                    <a:pt x="2083897" y="2421974"/>
                  </a:lnTo>
                  <a:cubicBezTo>
                    <a:pt x="2083897" y="2421974"/>
                    <a:pt x="2083897" y="2421974"/>
                    <a:pt x="2038795" y="2413418"/>
                  </a:cubicBezTo>
                  <a:cubicBezTo>
                    <a:pt x="2038795" y="2413418"/>
                    <a:pt x="2038795" y="2413418"/>
                    <a:pt x="2043242" y="2389652"/>
                  </a:cubicBezTo>
                  <a:close/>
                  <a:moveTo>
                    <a:pt x="866147" y="2388701"/>
                  </a:moveTo>
                  <a:cubicBezTo>
                    <a:pt x="866147" y="2388701"/>
                    <a:pt x="866147" y="2388701"/>
                    <a:pt x="899179" y="2395673"/>
                  </a:cubicBezTo>
                  <a:cubicBezTo>
                    <a:pt x="899179" y="2395673"/>
                    <a:pt x="899179" y="2395673"/>
                    <a:pt x="899497" y="2396940"/>
                  </a:cubicBezTo>
                  <a:cubicBezTo>
                    <a:pt x="899497" y="2396940"/>
                    <a:pt x="899497" y="2396940"/>
                    <a:pt x="908390" y="2425460"/>
                  </a:cubicBezTo>
                  <a:lnTo>
                    <a:pt x="827715" y="2514189"/>
                  </a:lnTo>
                  <a:cubicBezTo>
                    <a:pt x="827715" y="2514189"/>
                    <a:pt x="827715" y="2514189"/>
                    <a:pt x="806752" y="2517991"/>
                  </a:cubicBezTo>
                  <a:cubicBezTo>
                    <a:pt x="806752" y="2517991"/>
                    <a:pt x="806752" y="2517991"/>
                    <a:pt x="866147" y="2388701"/>
                  </a:cubicBezTo>
                  <a:close/>
                  <a:moveTo>
                    <a:pt x="1513454" y="2388067"/>
                  </a:moveTo>
                  <a:cubicBezTo>
                    <a:pt x="1513772" y="2389018"/>
                    <a:pt x="1514089" y="2390286"/>
                    <a:pt x="1514407" y="2391553"/>
                  </a:cubicBezTo>
                  <a:cubicBezTo>
                    <a:pt x="1516630" y="2403278"/>
                    <a:pt x="1520442" y="2427045"/>
                    <a:pt x="1524253" y="2451445"/>
                  </a:cubicBezTo>
                  <a:cubicBezTo>
                    <a:pt x="1524253" y="2451445"/>
                    <a:pt x="1524253" y="2451445"/>
                    <a:pt x="1560144" y="2446375"/>
                  </a:cubicBezTo>
                  <a:cubicBezTo>
                    <a:pt x="1560144" y="2446375"/>
                    <a:pt x="1560144" y="2446375"/>
                    <a:pt x="1553156" y="2402644"/>
                  </a:cubicBezTo>
                  <a:cubicBezTo>
                    <a:pt x="1553156" y="2402644"/>
                    <a:pt x="1553156" y="2402644"/>
                    <a:pt x="1513454" y="2388067"/>
                  </a:cubicBezTo>
                  <a:close/>
                  <a:moveTo>
                    <a:pt x="1509007" y="2387750"/>
                  </a:moveTo>
                  <a:cubicBezTo>
                    <a:pt x="1509007" y="2387750"/>
                    <a:pt x="1509007" y="2387750"/>
                    <a:pt x="1475340" y="2408982"/>
                  </a:cubicBezTo>
                  <a:cubicBezTo>
                    <a:pt x="1475340" y="2408982"/>
                    <a:pt x="1475340" y="2408982"/>
                    <a:pt x="1478198" y="2408665"/>
                  </a:cubicBezTo>
                  <a:lnTo>
                    <a:pt x="1485821" y="2456832"/>
                  </a:lnTo>
                  <a:cubicBezTo>
                    <a:pt x="1485821" y="2456832"/>
                    <a:pt x="1485821" y="2456832"/>
                    <a:pt x="1519806" y="2452079"/>
                  </a:cubicBezTo>
                  <a:cubicBezTo>
                    <a:pt x="1517265" y="2435601"/>
                    <a:pt x="1514724" y="2419756"/>
                    <a:pt x="1512501" y="2407398"/>
                  </a:cubicBezTo>
                  <a:cubicBezTo>
                    <a:pt x="1511548" y="2400743"/>
                    <a:pt x="1510278" y="2395039"/>
                    <a:pt x="1509643" y="2391236"/>
                  </a:cubicBezTo>
                  <a:cubicBezTo>
                    <a:pt x="1509325" y="2389652"/>
                    <a:pt x="1509007" y="2388701"/>
                    <a:pt x="1509007" y="2387750"/>
                  </a:cubicBezTo>
                  <a:close/>
                  <a:moveTo>
                    <a:pt x="2422161" y="2386166"/>
                  </a:moveTo>
                  <a:lnTo>
                    <a:pt x="2423114" y="2387750"/>
                  </a:lnTo>
                  <a:cubicBezTo>
                    <a:pt x="2423114" y="2387750"/>
                    <a:pt x="2423114" y="2387750"/>
                    <a:pt x="2449794" y="2425460"/>
                  </a:cubicBezTo>
                  <a:cubicBezTo>
                    <a:pt x="2449794" y="2425460"/>
                    <a:pt x="2449794" y="2425460"/>
                    <a:pt x="2430102" y="2439403"/>
                  </a:cubicBezTo>
                  <a:cubicBezTo>
                    <a:pt x="2430102" y="2439403"/>
                    <a:pt x="2430102" y="2439403"/>
                    <a:pt x="2402469" y="2400109"/>
                  </a:cubicBezTo>
                  <a:cubicBezTo>
                    <a:pt x="2402469" y="2400109"/>
                    <a:pt x="2402469" y="2400109"/>
                    <a:pt x="2422161" y="2386166"/>
                  </a:cubicBezTo>
                  <a:close/>
                  <a:moveTo>
                    <a:pt x="2675621" y="2385532"/>
                  </a:moveTo>
                  <a:cubicBezTo>
                    <a:pt x="2675621" y="2385532"/>
                    <a:pt x="2675621" y="2385532"/>
                    <a:pt x="2663869" y="2396306"/>
                  </a:cubicBezTo>
                  <a:cubicBezTo>
                    <a:pt x="2663869" y="2396306"/>
                    <a:pt x="2663869" y="2396306"/>
                    <a:pt x="2690867" y="2425460"/>
                  </a:cubicBezTo>
                  <a:lnTo>
                    <a:pt x="2702619" y="2414686"/>
                  </a:lnTo>
                  <a:cubicBezTo>
                    <a:pt x="2702619" y="2414686"/>
                    <a:pt x="2702619" y="2414686"/>
                    <a:pt x="2675621" y="2385532"/>
                  </a:cubicBezTo>
                  <a:close/>
                  <a:moveTo>
                    <a:pt x="561868" y="2384898"/>
                  </a:moveTo>
                  <a:cubicBezTo>
                    <a:pt x="559009" y="2393454"/>
                    <a:pt x="556151" y="2401694"/>
                    <a:pt x="555198" y="2405496"/>
                  </a:cubicBezTo>
                  <a:cubicBezTo>
                    <a:pt x="556151" y="2406447"/>
                    <a:pt x="557104" y="2407714"/>
                    <a:pt x="558374" y="2409299"/>
                  </a:cubicBezTo>
                  <a:cubicBezTo>
                    <a:pt x="559327" y="2410250"/>
                    <a:pt x="560280" y="2411517"/>
                    <a:pt x="561233" y="2412468"/>
                  </a:cubicBezTo>
                  <a:cubicBezTo>
                    <a:pt x="561233" y="2412468"/>
                    <a:pt x="561233" y="2412468"/>
                    <a:pt x="562186" y="2412468"/>
                  </a:cubicBezTo>
                  <a:cubicBezTo>
                    <a:pt x="562186" y="2412468"/>
                    <a:pt x="562186" y="2412468"/>
                    <a:pt x="563456" y="2414686"/>
                  </a:cubicBezTo>
                  <a:cubicBezTo>
                    <a:pt x="564727" y="2416904"/>
                    <a:pt x="565044" y="2417855"/>
                    <a:pt x="557421" y="2431164"/>
                  </a:cubicBezTo>
                  <a:cubicBezTo>
                    <a:pt x="557421" y="2431164"/>
                    <a:pt x="557421" y="2431164"/>
                    <a:pt x="555516" y="2445424"/>
                  </a:cubicBezTo>
                  <a:cubicBezTo>
                    <a:pt x="555516" y="2445424"/>
                    <a:pt x="555516" y="2445424"/>
                    <a:pt x="571714" y="2446692"/>
                  </a:cubicBezTo>
                  <a:cubicBezTo>
                    <a:pt x="571714" y="2446692"/>
                    <a:pt x="571714" y="2446692"/>
                    <a:pt x="575208" y="2400109"/>
                  </a:cubicBezTo>
                  <a:cubicBezTo>
                    <a:pt x="575208" y="2400109"/>
                    <a:pt x="575208" y="2400109"/>
                    <a:pt x="561868" y="2384898"/>
                  </a:cubicBezTo>
                  <a:close/>
                  <a:moveTo>
                    <a:pt x="108626" y="2382364"/>
                  </a:moveTo>
                  <a:cubicBezTo>
                    <a:pt x="105132" y="2392187"/>
                    <a:pt x="98780" y="2408348"/>
                    <a:pt x="92427" y="2424826"/>
                  </a:cubicBezTo>
                  <a:cubicBezTo>
                    <a:pt x="87345" y="2437819"/>
                    <a:pt x="82264" y="2450811"/>
                    <a:pt x="78452" y="2460318"/>
                  </a:cubicBezTo>
                  <a:cubicBezTo>
                    <a:pt x="76229" y="2465071"/>
                    <a:pt x="74641" y="2469191"/>
                    <a:pt x="73370" y="2472043"/>
                  </a:cubicBezTo>
                  <a:cubicBezTo>
                    <a:pt x="72417" y="2473627"/>
                    <a:pt x="72100" y="2474578"/>
                    <a:pt x="71464" y="2475529"/>
                  </a:cubicBezTo>
                  <a:cubicBezTo>
                    <a:pt x="71147" y="2475845"/>
                    <a:pt x="71147" y="2476479"/>
                    <a:pt x="70829" y="2476796"/>
                  </a:cubicBezTo>
                  <a:cubicBezTo>
                    <a:pt x="70512" y="2477113"/>
                    <a:pt x="70512" y="2477430"/>
                    <a:pt x="68606" y="2477747"/>
                  </a:cubicBezTo>
                  <a:cubicBezTo>
                    <a:pt x="65747" y="2477747"/>
                    <a:pt x="46055" y="2475529"/>
                    <a:pt x="41291" y="2475212"/>
                  </a:cubicBezTo>
                  <a:cubicBezTo>
                    <a:pt x="40338" y="2476479"/>
                    <a:pt x="37479" y="2481866"/>
                    <a:pt x="33985" y="2488204"/>
                  </a:cubicBezTo>
                  <a:cubicBezTo>
                    <a:pt x="25092" y="2505950"/>
                    <a:pt x="11435" y="2534786"/>
                    <a:pt x="5717" y="2546828"/>
                  </a:cubicBezTo>
                  <a:cubicBezTo>
                    <a:pt x="10799" y="2549997"/>
                    <a:pt x="15881" y="2553166"/>
                    <a:pt x="20963" y="2556335"/>
                  </a:cubicBezTo>
                  <a:cubicBezTo>
                    <a:pt x="48596" y="2574081"/>
                    <a:pt x="70194" y="2592143"/>
                    <a:pt x="79723" y="2600383"/>
                  </a:cubicBezTo>
                  <a:cubicBezTo>
                    <a:pt x="80040" y="2600383"/>
                    <a:pt x="80040" y="2600065"/>
                    <a:pt x="80040" y="2600065"/>
                  </a:cubicBezTo>
                  <a:cubicBezTo>
                    <a:pt x="80040" y="2600065"/>
                    <a:pt x="80040" y="2600065"/>
                    <a:pt x="185172" y="2488521"/>
                  </a:cubicBezTo>
                  <a:cubicBezTo>
                    <a:pt x="185172" y="2488521"/>
                    <a:pt x="185172" y="2488521"/>
                    <a:pt x="108626" y="2382364"/>
                  </a:cubicBezTo>
                  <a:close/>
                  <a:moveTo>
                    <a:pt x="1158991" y="2380779"/>
                  </a:moveTo>
                  <a:cubicBezTo>
                    <a:pt x="1158991" y="2380779"/>
                    <a:pt x="1158991" y="2380779"/>
                    <a:pt x="1141840" y="2383948"/>
                  </a:cubicBezTo>
                  <a:cubicBezTo>
                    <a:pt x="1141840" y="2383948"/>
                    <a:pt x="1141840" y="2383948"/>
                    <a:pt x="1145334" y="2404229"/>
                  </a:cubicBezTo>
                  <a:cubicBezTo>
                    <a:pt x="1145334" y="2404229"/>
                    <a:pt x="1145334" y="2404229"/>
                    <a:pt x="1145969" y="2408665"/>
                  </a:cubicBezTo>
                  <a:cubicBezTo>
                    <a:pt x="1145969" y="2408665"/>
                    <a:pt x="1145969" y="2408665"/>
                    <a:pt x="1141522" y="2409299"/>
                  </a:cubicBezTo>
                  <a:cubicBezTo>
                    <a:pt x="1141205" y="2409299"/>
                    <a:pt x="1140569" y="2409299"/>
                    <a:pt x="1140252" y="2409616"/>
                  </a:cubicBezTo>
                  <a:cubicBezTo>
                    <a:pt x="1140887" y="2412785"/>
                    <a:pt x="1141840" y="2418172"/>
                    <a:pt x="1143428" y="2426728"/>
                  </a:cubicBezTo>
                  <a:cubicBezTo>
                    <a:pt x="1143428" y="2426728"/>
                    <a:pt x="1143428" y="2426728"/>
                    <a:pt x="1190753" y="2419756"/>
                  </a:cubicBezTo>
                  <a:cubicBezTo>
                    <a:pt x="1190753" y="2419756"/>
                    <a:pt x="1190753" y="2419756"/>
                    <a:pt x="1187895" y="2401694"/>
                  </a:cubicBezTo>
                  <a:cubicBezTo>
                    <a:pt x="1187895" y="2401694"/>
                    <a:pt x="1187895" y="2401694"/>
                    <a:pt x="1168520" y="2404862"/>
                  </a:cubicBezTo>
                  <a:cubicBezTo>
                    <a:pt x="1168520" y="2404862"/>
                    <a:pt x="1168520" y="2404862"/>
                    <a:pt x="1164391" y="2405496"/>
                  </a:cubicBezTo>
                  <a:cubicBezTo>
                    <a:pt x="1164391" y="2405496"/>
                    <a:pt x="1164391" y="2405496"/>
                    <a:pt x="1163438" y="2401377"/>
                  </a:cubicBezTo>
                  <a:cubicBezTo>
                    <a:pt x="1163438" y="2401377"/>
                    <a:pt x="1163438" y="2401377"/>
                    <a:pt x="1158991" y="2380779"/>
                  </a:cubicBezTo>
                  <a:close/>
                  <a:moveTo>
                    <a:pt x="2675621" y="2379828"/>
                  </a:moveTo>
                  <a:lnTo>
                    <a:pt x="2677209" y="2381413"/>
                  </a:lnTo>
                  <a:cubicBezTo>
                    <a:pt x="2677209" y="2381413"/>
                    <a:pt x="2677209" y="2381413"/>
                    <a:pt x="2708336" y="2415003"/>
                  </a:cubicBezTo>
                  <a:cubicBezTo>
                    <a:pt x="2708336" y="2415003"/>
                    <a:pt x="2708336" y="2415003"/>
                    <a:pt x="2690867" y="2431481"/>
                  </a:cubicBezTo>
                  <a:cubicBezTo>
                    <a:pt x="2690867" y="2431481"/>
                    <a:pt x="2690867" y="2431481"/>
                    <a:pt x="2658152" y="2395990"/>
                  </a:cubicBezTo>
                  <a:cubicBezTo>
                    <a:pt x="2658152" y="2395990"/>
                    <a:pt x="2658152" y="2395990"/>
                    <a:pt x="2675621" y="2379828"/>
                  </a:cubicBezTo>
                  <a:close/>
                  <a:moveTo>
                    <a:pt x="1596988" y="2377610"/>
                  </a:moveTo>
                  <a:cubicBezTo>
                    <a:pt x="1596988" y="2377610"/>
                    <a:pt x="1596988" y="2377610"/>
                    <a:pt x="1557603" y="2402010"/>
                  </a:cubicBezTo>
                  <a:cubicBezTo>
                    <a:pt x="1557603" y="2402010"/>
                    <a:pt x="1557603" y="2402010"/>
                    <a:pt x="1564591" y="2445741"/>
                  </a:cubicBezTo>
                  <a:cubicBezTo>
                    <a:pt x="1564591" y="2445741"/>
                    <a:pt x="1564591" y="2445741"/>
                    <a:pt x="1602387" y="2440354"/>
                  </a:cubicBezTo>
                  <a:cubicBezTo>
                    <a:pt x="1602387" y="2440354"/>
                    <a:pt x="1602387" y="2440354"/>
                    <a:pt x="1610328" y="2489789"/>
                  </a:cubicBezTo>
                  <a:cubicBezTo>
                    <a:pt x="1610328" y="2489789"/>
                    <a:pt x="1610328" y="2489789"/>
                    <a:pt x="1608104" y="2490105"/>
                  </a:cubicBezTo>
                  <a:lnTo>
                    <a:pt x="1572531" y="2494859"/>
                  </a:lnTo>
                  <a:cubicBezTo>
                    <a:pt x="1572531" y="2494859"/>
                    <a:pt x="1572531" y="2494859"/>
                    <a:pt x="1576342" y="2517358"/>
                  </a:cubicBezTo>
                  <a:cubicBezTo>
                    <a:pt x="1596670" y="2513238"/>
                    <a:pt x="1611916" y="2510069"/>
                    <a:pt x="1616998" y="2509119"/>
                  </a:cubicBezTo>
                  <a:cubicBezTo>
                    <a:pt x="1616998" y="2509119"/>
                    <a:pt x="1616998" y="2509119"/>
                    <a:pt x="1596988" y="2377610"/>
                  </a:cubicBezTo>
                  <a:close/>
                  <a:moveTo>
                    <a:pt x="1378784" y="2377293"/>
                  </a:moveTo>
                  <a:cubicBezTo>
                    <a:pt x="1369890" y="2383631"/>
                    <a:pt x="1360362" y="2389018"/>
                    <a:pt x="1351786" y="2393771"/>
                  </a:cubicBezTo>
                  <a:cubicBezTo>
                    <a:pt x="1351786" y="2393771"/>
                    <a:pt x="1351786" y="2393771"/>
                    <a:pt x="1368302" y="2473310"/>
                  </a:cubicBezTo>
                  <a:cubicBezTo>
                    <a:pt x="1368302" y="2473310"/>
                    <a:pt x="1368302" y="2473310"/>
                    <a:pt x="1398794" y="2469191"/>
                  </a:cubicBezTo>
                  <a:close/>
                  <a:moveTo>
                    <a:pt x="560280" y="2376026"/>
                  </a:moveTo>
                  <a:cubicBezTo>
                    <a:pt x="560280" y="2376026"/>
                    <a:pt x="560280" y="2376026"/>
                    <a:pt x="579655" y="2398842"/>
                  </a:cubicBezTo>
                  <a:cubicBezTo>
                    <a:pt x="579655" y="2398842"/>
                    <a:pt x="579655" y="2398842"/>
                    <a:pt x="575843" y="2451445"/>
                  </a:cubicBezTo>
                  <a:cubicBezTo>
                    <a:pt x="575843" y="2451445"/>
                    <a:pt x="575843" y="2451445"/>
                    <a:pt x="550434" y="2449544"/>
                  </a:cubicBezTo>
                  <a:cubicBezTo>
                    <a:pt x="550434" y="2449544"/>
                    <a:pt x="550434" y="2449544"/>
                    <a:pt x="552975" y="2429580"/>
                  </a:cubicBezTo>
                  <a:cubicBezTo>
                    <a:pt x="552975" y="2429580"/>
                    <a:pt x="560597" y="2416904"/>
                    <a:pt x="559645" y="2416904"/>
                  </a:cubicBezTo>
                  <a:cubicBezTo>
                    <a:pt x="558692" y="2416904"/>
                    <a:pt x="551387" y="2407081"/>
                    <a:pt x="550434" y="2407081"/>
                  </a:cubicBezTo>
                  <a:cubicBezTo>
                    <a:pt x="549481" y="2407081"/>
                    <a:pt x="560280" y="2376026"/>
                    <a:pt x="560280" y="2376026"/>
                  </a:cubicBezTo>
                  <a:close/>
                  <a:moveTo>
                    <a:pt x="1162485" y="2375392"/>
                  </a:moveTo>
                  <a:cubicBezTo>
                    <a:pt x="1162485" y="2375392"/>
                    <a:pt x="1162485" y="2375392"/>
                    <a:pt x="1167885" y="2400426"/>
                  </a:cubicBezTo>
                  <a:cubicBezTo>
                    <a:pt x="1167885" y="2400426"/>
                    <a:pt x="1167885" y="2400426"/>
                    <a:pt x="1191388" y="2396624"/>
                  </a:cubicBezTo>
                  <a:cubicBezTo>
                    <a:pt x="1191388" y="2396624"/>
                    <a:pt x="1191388" y="2396624"/>
                    <a:pt x="1195835" y="2423242"/>
                  </a:cubicBezTo>
                  <a:cubicBezTo>
                    <a:pt x="1195835" y="2423242"/>
                    <a:pt x="1195835" y="2423242"/>
                    <a:pt x="1139934" y="2431798"/>
                  </a:cubicBezTo>
                  <a:cubicBezTo>
                    <a:pt x="1139934" y="2431798"/>
                    <a:pt x="1135488" y="2406764"/>
                    <a:pt x="1134852" y="2406447"/>
                  </a:cubicBezTo>
                  <a:cubicBezTo>
                    <a:pt x="1133899" y="2405813"/>
                    <a:pt x="1140887" y="2404862"/>
                    <a:pt x="1140887" y="2404862"/>
                  </a:cubicBezTo>
                  <a:cubicBezTo>
                    <a:pt x="1140887" y="2404862"/>
                    <a:pt x="1140887" y="2404862"/>
                    <a:pt x="1136440" y="2380462"/>
                  </a:cubicBezTo>
                  <a:cubicBezTo>
                    <a:pt x="1136440" y="2380462"/>
                    <a:pt x="1136440" y="2380462"/>
                    <a:pt x="1162485" y="2375392"/>
                  </a:cubicBezTo>
                  <a:close/>
                  <a:moveTo>
                    <a:pt x="862018" y="2375075"/>
                  </a:moveTo>
                  <a:cubicBezTo>
                    <a:pt x="862018" y="2375075"/>
                    <a:pt x="862018" y="2375075"/>
                    <a:pt x="797541" y="2520527"/>
                  </a:cubicBezTo>
                  <a:lnTo>
                    <a:pt x="798176" y="2520527"/>
                  </a:lnTo>
                  <a:cubicBezTo>
                    <a:pt x="798176" y="2520527"/>
                    <a:pt x="798176" y="2520527"/>
                    <a:pt x="797859" y="2520843"/>
                  </a:cubicBezTo>
                  <a:cubicBezTo>
                    <a:pt x="813740" y="2524963"/>
                    <a:pt x="840420" y="2531618"/>
                    <a:pt x="846137" y="2533519"/>
                  </a:cubicBezTo>
                  <a:cubicBezTo>
                    <a:pt x="846137" y="2533519"/>
                    <a:pt x="846137" y="2533519"/>
                    <a:pt x="940787" y="2463170"/>
                  </a:cubicBezTo>
                  <a:cubicBezTo>
                    <a:pt x="940787" y="2463170"/>
                    <a:pt x="940787" y="2463170"/>
                    <a:pt x="913472" y="2382046"/>
                  </a:cubicBezTo>
                  <a:cubicBezTo>
                    <a:pt x="910613" y="2382364"/>
                    <a:pt x="907755" y="2382364"/>
                    <a:pt x="904896" y="2382364"/>
                  </a:cubicBezTo>
                  <a:cubicBezTo>
                    <a:pt x="900450" y="2382364"/>
                    <a:pt x="896003" y="2382046"/>
                    <a:pt x="891556" y="2381730"/>
                  </a:cubicBezTo>
                  <a:cubicBezTo>
                    <a:pt x="880757" y="2380145"/>
                    <a:pt x="871229" y="2377927"/>
                    <a:pt x="862018" y="2375075"/>
                  </a:cubicBezTo>
                  <a:close/>
                  <a:moveTo>
                    <a:pt x="2480921" y="2373174"/>
                  </a:moveTo>
                  <a:cubicBezTo>
                    <a:pt x="2480921" y="2373174"/>
                    <a:pt x="2480921" y="2373174"/>
                    <a:pt x="2469486" y="2383631"/>
                  </a:cubicBezTo>
                  <a:cubicBezTo>
                    <a:pt x="2469486" y="2383631"/>
                    <a:pt x="2469486" y="2383631"/>
                    <a:pt x="2496484" y="2412785"/>
                  </a:cubicBezTo>
                  <a:lnTo>
                    <a:pt x="2507918" y="2402327"/>
                  </a:lnTo>
                  <a:cubicBezTo>
                    <a:pt x="2507918" y="2402327"/>
                    <a:pt x="2507918" y="2402327"/>
                    <a:pt x="2480921" y="2373174"/>
                  </a:cubicBezTo>
                  <a:close/>
                  <a:moveTo>
                    <a:pt x="2481238" y="2367153"/>
                  </a:moveTo>
                  <a:lnTo>
                    <a:pt x="2482509" y="2368737"/>
                  </a:lnTo>
                  <a:cubicBezTo>
                    <a:pt x="2482509" y="2368737"/>
                    <a:pt x="2482509" y="2368737"/>
                    <a:pt x="2513953" y="2402327"/>
                  </a:cubicBezTo>
                  <a:cubicBezTo>
                    <a:pt x="2513953" y="2402327"/>
                    <a:pt x="2513953" y="2402327"/>
                    <a:pt x="2496166" y="2418805"/>
                  </a:cubicBezTo>
                  <a:cubicBezTo>
                    <a:pt x="2496166" y="2418805"/>
                    <a:pt x="2496166" y="2418805"/>
                    <a:pt x="2463452" y="2383631"/>
                  </a:cubicBezTo>
                  <a:cubicBezTo>
                    <a:pt x="2463452" y="2383631"/>
                    <a:pt x="2463452" y="2383631"/>
                    <a:pt x="2481238" y="2367153"/>
                  </a:cubicBezTo>
                  <a:close/>
                  <a:moveTo>
                    <a:pt x="1906348" y="2363984"/>
                  </a:moveTo>
                  <a:cubicBezTo>
                    <a:pt x="1906348" y="2363984"/>
                    <a:pt x="1906348" y="2363984"/>
                    <a:pt x="1893644" y="2376659"/>
                  </a:cubicBezTo>
                  <a:cubicBezTo>
                    <a:pt x="1893644" y="2376659"/>
                    <a:pt x="1893644" y="2376659"/>
                    <a:pt x="1879033" y="2445741"/>
                  </a:cubicBezTo>
                  <a:cubicBezTo>
                    <a:pt x="1879668" y="2447642"/>
                    <a:pt x="1881574" y="2454614"/>
                    <a:pt x="1883798" y="2463804"/>
                  </a:cubicBezTo>
                  <a:cubicBezTo>
                    <a:pt x="1883798" y="2463804"/>
                    <a:pt x="1883798" y="2463804"/>
                    <a:pt x="1960661" y="2470142"/>
                  </a:cubicBezTo>
                  <a:lnTo>
                    <a:pt x="1965743" y="2415637"/>
                  </a:lnTo>
                  <a:cubicBezTo>
                    <a:pt x="1965743" y="2415637"/>
                    <a:pt x="1965743" y="2415637"/>
                    <a:pt x="1967649" y="2413735"/>
                  </a:cubicBezTo>
                  <a:cubicBezTo>
                    <a:pt x="1967649" y="2413735"/>
                    <a:pt x="1967649" y="2413735"/>
                    <a:pt x="1967966" y="2412785"/>
                  </a:cubicBezTo>
                  <a:cubicBezTo>
                    <a:pt x="1967966" y="2412785"/>
                    <a:pt x="1967966" y="2412785"/>
                    <a:pt x="1966378" y="2414052"/>
                  </a:cubicBezTo>
                  <a:cubicBezTo>
                    <a:pt x="1966061" y="2414052"/>
                    <a:pt x="1966061" y="2414052"/>
                    <a:pt x="1966061" y="2414052"/>
                  </a:cubicBezTo>
                  <a:cubicBezTo>
                    <a:pt x="1964472" y="2412468"/>
                    <a:pt x="1949227" y="2399792"/>
                    <a:pt x="1934934" y="2387750"/>
                  </a:cubicBezTo>
                  <a:cubicBezTo>
                    <a:pt x="1922547" y="2377610"/>
                    <a:pt x="1910477" y="2367470"/>
                    <a:pt x="1906348" y="2363984"/>
                  </a:cubicBezTo>
                  <a:close/>
                  <a:moveTo>
                    <a:pt x="340170" y="2362399"/>
                  </a:moveTo>
                  <a:lnTo>
                    <a:pt x="335088" y="2378244"/>
                  </a:lnTo>
                  <a:cubicBezTo>
                    <a:pt x="335088" y="2378244"/>
                    <a:pt x="335088" y="2378244"/>
                    <a:pt x="373520" y="2412468"/>
                  </a:cubicBezTo>
                  <a:cubicBezTo>
                    <a:pt x="373520" y="2412468"/>
                    <a:pt x="373520" y="2412468"/>
                    <a:pt x="379555" y="2396624"/>
                  </a:cubicBezTo>
                  <a:cubicBezTo>
                    <a:pt x="379555" y="2396624"/>
                    <a:pt x="379555" y="2396624"/>
                    <a:pt x="340170" y="2362399"/>
                  </a:cubicBezTo>
                  <a:close/>
                  <a:moveTo>
                    <a:pt x="537729" y="2362083"/>
                  </a:moveTo>
                  <a:lnTo>
                    <a:pt x="496756" y="2422925"/>
                  </a:lnTo>
                  <a:cubicBezTo>
                    <a:pt x="496756" y="2422925"/>
                    <a:pt x="496756" y="2422925"/>
                    <a:pt x="512319" y="2443523"/>
                  </a:cubicBezTo>
                  <a:cubicBezTo>
                    <a:pt x="512319" y="2443523"/>
                    <a:pt x="512319" y="2443523"/>
                    <a:pt x="536458" y="2444790"/>
                  </a:cubicBezTo>
                  <a:cubicBezTo>
                    <a:pt x="536458" y="2444790"/>
                    <a:pt x="536458" y="2444790"/>
                    <a:pt x="538682" y="2431164"/>
                  </a:cubicBezTo>
                  <a:cubicBezTo>
                    <a:pt x="538682" y="2431164"/>
                    <a:pt x="538682" y="2431164"/>
                    <a:pt x="528836" y="2421657"/>
                  </a:cubicBezTo>
                  <a:cubicBezTo>
                    <a:pt x="528836" y="2421657"/>
                    <a:pt x="528836" y="2421657"/>
                    <a:pt x="526612" y="2419756"/>
                  </a:cubicBezTo>
                  <a:cubicBezTo>
                    <a:pt x="526612" y="2419756"/>
                    <a:pt x="526612" y="2419756"/>
                    <a:pt x="527565" y="2417221"/>
                  </a:cubicBezTo>
                  <a:cubicBezTo>
                    <a:pt x="527565" y="2417221"/>
                    <a:pt x="527565" y="2417221"/>
                    <a:pt x="544399" y="2369371"/>
                  </a:cubicBezTo>
                  <a:cubicBezTo>
                    <a:pt x="544399" y="2369371"/>
                    <a:pt x="544399" y="2369371"/>
                    <a:pt x="537729" y="2362083"/>
                  </a:cubicBezTo>
                  <a:close/>
                  <a:moveTo>
                    <a:pt x="1851400" y="2355111"/>
                  </a:moveTo>
                  <a:cubicBezTo>
                    <a:pt x="1851400" y="2355111"/>
                    <a:pt x="1851400" y="2355111"/>
                    <a:pt x="1839966" y="2422608"/>
                  </a:cubicBezTo>
                  <a:cubicBezTo>
                    <a:pt x="1839966" y="2422608"/>
                    <a:pt x="1839966" y="2422608"/>
                    <a:pt x="1844413" y="2460318"/>
                  </a:cubicBezTo>
                  <a:cubicBezTo>
                    <a:pt x="1844413" y="2460318"/>
                    <a:pt x="1844413" y="2460318"/>
                    <a:pt x="1879033" y="2463170"/>
                  </a:cubicBezTo>
                  <a:cubicBezTo>
                    <a:pt x="1876492" y="2453346"/>
                    <a:pt x="1874904" y="2446375"/>
                    <a:pt x="1874904" y="2446375"/>
                  </a:cubicBezTo>
                  <a:lnTo>
                    <a:pt x="1874587" y="2446058"/>
                  </a:lnTo>
                  <a:cubicBezTo>
                    <a:pt x="1874587" y="2446058"/>
                    <a:pt x="1874587" y="2446058"/>
                    <a:pt x="1889197" y="2376659"/>
                  </a:cubicBezTo>
                  <a:cubicBezTo>
                    <a:pt x="1889197" y="2376659"/>
                    <a:pt x="1889197" y="2376659"/>
                    <a:pt x="1851400" y="2355111"/>
                  </a:cubicBezTo>
                  <a:close/>
                  <a:moveTo>
                    <a:pt x="537094" y="2354794"/>
                  </a:moveTo>
                  <a:cubicBezTo>
                    <a:pt x="537094" y="2354794"/>
                    <a:pt x="537094" y="2354794"/>
                    <a:pt x="549481" y="2368104"/>
                  </a:cubicBezTo>
                  <a:cubicBezTo>
                    <a:pt x="549481" y="2368104"/>
                    <a:pt x="549481" y="2368104"/>
                    <a:pt x="532012" y="2418489"/>
                  </a:cubicBezTo>
                  <a:cubicBezTo>
                    <a:pt x="532012" y="2418489"/>
                    <a:pt x="532012" y="2418489"/>
                    <a:pt x="543128" y="2429580"/>
                  </a:cubicBezTo>
                  <a:cubicBezTo>
                    <a:pt x="543128" y="2429580"/>
                    <a:pt x="543128" y="2429580"/>
                    <a:pt x="540270" y="2449544"/>
                  </a:cubicBezTo>
                  <a:lnTo>
                    <a:pt x="510096" y="2447642"/>
                  </a:lnTo>
                  <a:cubicBezTo>
                    <a:pt x="510096" y="2447642"/>
                    <a:pt x="510096" y="2447642"/>
                    <a:pt x="491039" y="2423242"/>
                  </a:cubicBezTo>
                  <a:cubicBezTo>
                    <a:pt x="491039" y="2423242"/>
                    <a:pt x="491039" y="2423242"/>
                    <a:pt x="537094" y="2354794"/>
                  </a:cubicBezTo>
                  <a:close/>
                  <a:moveTo>
                    <a:pt x="337947" y="2354477"/>
                  </a:moveTo>
                  <a:cubicBezTo>
                    <a:pt x="337947" y="2354477"/>
                    <a:pt x="337947" y="2354477"/>
                    <a:pt x="343029" y="2358914"/>
                  </a:cubicBezTo>
                  <a:cubicBezTo>
                    <a:pt x="343029" y="2358914"/>
                    <a:pt x="343029" y="2358914"/>
                    <a:pt x="382413" y="2393454"/>
                  </a:cubicBezTo>
                  <a:cubicBezTo>
                    <a:pt x="382413" y="2393454"/>
                    <a:pt x="382413" y="2393454"/>
                    <a:pt x="384954" y="2395356"/>
                  </a:cubicBezTo>
                  <a:cubicBezTo>
                    <a:pt x="384954" y="2395356"/>
                    <a:pt x="384954" y="2395356"/>
                    <a:pt x="383684" y="2398525"/>
                  </a:cubicBezTo>
                  <a:cubicBezTo>
                    <a:pt x="383684" y="2398525"/>
                    <a:pt x="383684" y="2398525"/>
                    <a:pt x="377649" y="2414052"/>
                  </a:cubicBezTo>
                  <a:cubicBezTo>
                    <a:pt x="377649" y="2414052"/>
                    <a:pt x="377649" y="2414052"/>
                    <a:pt x="375426" y="2419756"/>
                  </a:cubicBezTo>
                  <a:cubicBezTo>
                    <a:pt x="375426" y="2419756"/>
                    <a:pt x="375426" y="2419756"/>
                    <a:pt x="370661" y="2415637"/>
                  </a:cubicBezTo>
                  <a:cubicBezTo>
                    <a:pt x="370661" y="2415637"/>
                    <a:pt x="370661" y="2415637"/>
                    <a:pt x="332230" y="2381413"/>
                  </a:cubicBezTo>
                  <a:lnTo>
                    <a:pt x="330006" y="2379511"/>
                  </a:lnTo>
                  <a:cubicBezTo>
                    <a:pt x="330006" y="2379511"/>
                    <a:pt x="330006" y="2379511"/>
                    <a:pt x="330959" y="2376659"/>
                  </a:cubicBezTo>
                  <a:cubicBezTo>
                    <a:pt x="330959" y="2376659"/>
                    <a:pt x="330959" y="2376659"/>
                    <a:pt x="336041" y="2361132"/>
                  </a:cubicBezTo>
                  <a:cubicBezTo>
                    <a:pt x="336041" y="2361132"/>
                    <a:pt x="336041" y="2361132"/>
                    <a:pt x="337947" y="2354477"/>
                  </a:cubicBezTo>
                  <a:close/>
                  <a:moveTo>
                    <a:pt x="774037" y="2350358"/>
                  </a:moveTo>
                  <a:cubicBezTo>
                    <a:pt x="774037" y="2350358"/>
                    <a:pt x="774037" y="2350358"/>
                    <a:pt x="753710" y="2411200"/>
                  </a:cubicBezTo>
                  <a:cubicBezTo>
                    <a:pt x="753710" y="2411200"/>
                    <a:pt x="753710" y="2411200"/>
                    <a:pt x="762603" y="2420707"/>
                  </a:cubicBezTo>
                  <a:cubicBezTo>
                    <a:pt x="762603" y="2420707"/>
                    <a:pt x="762603" y="2420707"/>
                    <a:pt x="740687" y="2459050"/>
                  </a:cubicBezTo>
                  <a:cubicBezTo>
                    <a:pt x="740687" y="2459050"/>
                    <a:pt x="740687" y="2459050"/>
                    <a:pt x="729888" y="2460001"/>
                  </a:cubicBezTo>
                  <a:cubicBezTo>
                    <a:pt x="729888" y="2460001"/>
                    <a:pt x="729888" y="2460001"/>
                    <a:pt x="721948" y="2490422"/>
                  </a:cubicBezTo>
                  <a:cubicBezTo>
                    <a:pt x="721948" y="2490422"/>
                    <a:pt x="721948" y="2490422"/>
                    <a:pt x="636508" y="2518625"/>
                  </a:cubicBezTo>
                  <a:cubicBezTo>
                    <a:pt x="636508" y="2518625"/>
                    <a:pt x="636508" y="2518625"/>
                    <a:pt x="627615" y="2537322"/>
                  </a:cubicBezTo>
                  <a:cubicBezTo>
                    <a:pt x="627615" y="2537322"/>
                    <a:pt x="627615" y="2537322"/>
                    <a:pt x="666047" y="2552532"/>
                  </a:cubicBezTo>
                  <a:cubicBezTo>
                    <a:pt x="666047" y="2552532"/>
                    <a:pt x="666047" y="2552532"/>
                    <a:pt x="683516" y="2524329"/>
                  </a:cubicBezTo>
                  <a:cubicBezTo>
                    <a:pt x="683516" y="2524329"/>
                    <a:pt x="683516" y="2524329"/>
                    <a:pt x="694315" y="2529399"/>
                  </a:cubicBezTo>
                  <a:cubicBezTo>
                    <a:pt x="694315" y="2529399"/>
                    <a:pt x="694315" y="2529399"/>
                    <a:pt x="744816" y="2505633"/>
                  </a:cubicBezTo>
                  <a:cubicBezTo>
                    <a:pt x="744816" y="2505633"/>
                    <a:pt x="744816" y="2505633"/>
                    <a:pt x="752439" y="2467289"/>
                  </a:cubicBezTo>
                  <a:cubicBezTo>
                    <a:pt x="752439" y="2467289"/>
                    <a:pt x="752439" y="2467289"/>
                    <a:pt x="768003" y="2466339"/>
                  </a:cubicBezTo>
                  <a:lnTo>
                    <a:pt x="819139" y="2379194"/>
                  </a:lnTo>
                  <a:cubicBezTo>
                    <a:pt x="819139" y="2379194"/>
                    <a:pt x="819139" y="2379194"/>
                    <a:pt x="774037" y="2350358"/>
                  </a:cubicBezTo>
                  <a:close/>
                  <a:moveTo>
                    <a:pt x="1279686" y="2350041"/>
                  </a:moveTo>
                  <a:cubicBezTo>
                    <a:pt x="1279686" y="2350041"/>
                    <a:pt x="1279686" y="2350041"/>
                    <a:pt x="1268252" y="2359864"/>
                  </a:cubicBezTo>
                  <a:cubicBezTo>
                    <a:pt x="1268252" y="2359864"/>
                    <a:pt x="1268252" y="2359864"/>
                    <a:pt x="1265394" y="2362399"/>
                  </a:cubicBezTo>
                  <a:cubicBezTo>
                    <a:pt x="1265394" y="2362399"/>
                    <a:pt x="1265394" y="2362399"/>
                    <a:pt x="1262535" y="2359864"/>
                  </a:cubicBezTo>
                  <a:cubicBezTo>
                    <a:pt x="1262535" y="2359864"/>
                    <a:pt x="1262535" y="2359864"/>
                    <a:pt x="1259676" y="2357329"/>
                  </a:cubicBezTo>
                  <a:cubicBezTo>
                    <a:pt x="1259676" y="2357329"/>
                    <a:pt x="1259676" y="2357329"/>
                    <a:pt x="1250148" y="2366202"/>
                  </a:cubicBezTo>
                  <a:cubicBezTo>
                    <a:pt x="1250148" y="2366202"/>
                    <a:pt x="1250148" y="2366202"/>
                    <a:pt x="1253642" y="2370955"/>
                  </a:cubicBezTo>
                  <a:lnTo>
                    <a:pt x="1256183" y="2373807"/>
                  </a:lnTo>
                  <a:cubicBezTo>
                    <a:pt x="1256183" y="2373807"/>
                    <a:pt x="1256183" y="2373807"/>
                    <a:pt x="1253324" y="2376659"/>
                  </a:cubicBezTo>
                  <a:cubicBezTo>
                    <a:pt x="1253324" y="2376659"/>
                    <a:pt x="1253324" y="2376659"/>
                    <a:pt x="1242525" y="2387750"/>
                  </a:cubicBezTo>
                  <a:cubicBezTo>
                    <a:pt x="1242525" y="2387750"/>
                    <a:pt x="1242525" y="2387750"/>
                    <a:pt x="1255865" y="2401694"/>
                  </a:cubicBezTo>
                  <a:cubicBezTo>
                    <a:pt x="1255865" y="2401694"/>
                    <a:pt x="1255865" y="2401694"/>
                    <a:pt x="1264758" y="2392504"/>
                  </a:cubicBezTo>
                  <a:cubicBezTo>
                    <a:pt x="1264758" y="2392504"/>
                    <a:pt x="1264758" y="2392504"/>
                    <a:pt x="1261582" y="2388701"/>
                  </a:cubicBezTo>
                  <a:cubicBezTo>
                    <a:pt x="1261582" y="2388701"/>
                    <a:pt x="1261582" y="2388701"/>
                    <a:pt x="1259359" y="2385849"/>
                  </a:cubicBezTo>
                  <a:cubicBezTo>
                    <a:pt x="1259359" y="2385849"/>
                    <a:pt x="1259359" y="2385849"/>
                    <a:pt x="1261900" y="2382997"/>
                  </a:cubicBezTo>
                  <a:cubicBezTo>
                    <a:pt x="1261900" y="2382997"/>
                    <a:pt x="1261900" y="2382997"/>
                    <a:pt x="1273652" y="2369688"/>
                  </a:cubicBezTo>
                  <a:cubicBezTo>
                    <a:pt x="1273652" y="2369688"/>
                    <a:pt x="1273652" y="2369688"/>
                    <a:pt x="1276510" y="2366519"/>
                  </a:cubicBezTo>
                  <a:cubicBezTo>
                    <a:pt x="1276510" y="2366519"/>
                    <a:pt x="1276510" y="2366519"/>
                    <a:pt x="1280004" y="2369054"/>
                  </a:cubicBezTo>
                  <a:cubicBezTo>
                    <a:pt x="1280004" y="2369054"/>
                    <a:pt x="1280004" y="2369054"/>
                    <a:pt x="1284768" y="2373174"/>
                  </a:cubicBezTo>
                  <a:cubicBezTo>
                    <a:pt x="1284768" y="2373174"/>
                    <a:pt x="1284768" y="2373174"/>
                    <a:pt x="1293662" y="2363984"/>
                  </a:cubicBezTo>
                  <a:cubicBezTo>
                    <a:pt x="1293662" y="2363984"/>
                    <a:pt x="1293662" y="2363984"/>
                    <a:pt x="1279686" y="2350041"/>
                  </a:cubicBezTo>
                  <a:close/>
                  <a:moveTo>
                    <a:pt x="1641772" y="2349724"/>
                  </a:moveTo>
                  <a:cubicBezTo>
                    <a:pt x="1641772" y="2349724"/>
                    <a:pt x="1641772" y="2349724"/>
                    <a:pt x="1598258" y="2376659"/>
                  </a:cubicBezTo>
                  <a:cubicBezTo>
                    <a:pt x="1598258" y="2376659"/>
                    <a:pt x="1598258" y="2376659"/>
                    <a:pt x="1601434" y="2376343"/>
                  </a:cubicBezTo>
                  <a:lnTo>
                    <a:pt x="1621444" y="2508168"/>
                  </a:lnTo>
                  <a:cubicBezTo>
                    <a:pt x="1621444" y="2508168"/>
                    <a:pt x="1621444" y="2508168"/>
                    <a:pt x="1622715" y="2507851"/>
                  </a:cubicBezTo>
                  <a:cubicBezTo>
                    <a:pt x="1622715" y="2507851"/>
                    <a:pt x="1622715" y="2507851"/>
                    <a:pt x="1625891" y="2508168"/>
                  </a:cubicBezTo>
                  <a:cubicBezTo>
                    <a:pt x="1626209" y="2508168"/>
                    <a:pt x="1639231" y="2509119"/>
                    <a:pt x="1660829" y="2510703"/>
                  </a:cubicBezTo>
                  <a:cubicBezTo>
                    <a:pt x="1660829" y="2510703"/>
                    <a:pt x="1660829" y="2510703"/>
                    <a:pt x="1642090" y="2350041"/>
                  </a:cubicBezTo>
                  <a:cubicBezTo>
                    <a:pt x="1642090" y="2350041"/>
                    <a:pt x="1642090" y="2350041"/>
                    <a:pt x="1641772" y="2349724"/>
                  </a:cubicBezTo>
                  <a:close/>
                  <a:moveTo>
                    <a:pt x="2536186" y="2346872"/>
                  </a:moveTo>
                  <a:lnTo>
                    <a:pt x="2524752" y="2357646"/>
                  </a:lnTo>
                  <a:cubicBezTo>
                    <a:pt x="2524752" y="2357646"/>
                    <a:pt x="2524752" y="2357646"/>
                    <a:pt x="2551750" y="2386800"/>
                  </a:cubicBezTo>
                  <a:cubicBezTo>
                    <a:pt x="2551750" y="2386800"/>
                    <a:pt x="2551750" y="2386800"/>
                    <a:pt x="2563502" y="2376026"/>
                  </a:cubicBezTo>
                  <a:cubicBezTo>
                    <a:pt x="2563502" y="2376026"/>
                    <a:pt x="2563502" y="2376026"/>
                    <a:pt x="2536186" y="2346872"/>
                  </a:cubicBezTo>
                  <a:close/>
                  <a:moveTo>
                    <a:pt x="40973" y="2346238"/>
                  </a:moveTo>
                  <a:cubicBezTo>
                    <a:pt x="40973" y="2346238"/>
                    <a:pt x="40973" y="2346238"/>
                    <a:pt x="24775" y="2355745"/>
                  </a:cubicBezTo>
                  <a:cubicBezTo>
                    <a:pt x="24775" y="2355745"/>
                    <a:pt x="24775" y="2355745"/>
                    <a:pt x="51137" y="2400743"/>
                  </a:cubicBezTo>
                  <a:cubicBezTo>
                    <a:pt x="51137" y="2400743"/>
                    <a:pt x="51137" y="2400743"/>
                    <a:pt x="67335" y="2391236"/>
                  </a:cubicBezTo>
                  <a:lnTo>
                    <a:pt x="60030" y="2378244"/>
                  </a:lnTo>
                  <a:cubicBezTo>
                    <a:pt x="60030" y="2378244"/>
                    <a:pt x="60030" y="2378244"/>
                    <a:pt x="75594" y="2369054"/>
                  </a:cubicBezTo>
                  <a:cubicBezTo>
                    <a:pt x="75594" y="2369054"/>
                    <a:pt x="75594" y="2369054"/>
                    <a:pt x="64477" y="2349724"/>
                  </a:cubicBezTo>
                  <a:cubicBezTo>
                    <a:pt x="64477" y="2349724"/>
                    <a:pt x="64477" y="2349724"/>
                    <a:pt x="48596" y="2358914"/>
                  </a:cubicBezTo>
                  <a:cubicBezTo>
                    <a:pt x="48596" y="2358914"/>
                    <a:pt x="48596" y="2358914"/>
                    <a:pt x="40973" y="2346238"/>
                  </a:cubicBezTo>
                  <a:close/>
                  <a:moveTo>
                    <a:pt x="2658152" y="2345604"/>
                  </a:moveTo>
                  <a:cubicBezTo>
                    <a:pt x="2656564" y="2350041"/>
                    <a:pt x="2651800" y="2363667"/>
                    <a:pt x="2647670" y="2376343"/>
                  </a:cubicBezTo>
                  <a:cubicBezTo>
                    <a:pt x="2645130" y="2383631"/>
                    <a:pt x="2642589" y="2391236"/>
                    <a:pt x="2640366" y="2396624"/>
                  </a:cubicBezTo>
                  <a:cubicBezTo>
                    <a:pt x="2639412" y="2399475"/>
                    <a:pt x="2638460" y="2401694"/>
                    <a:pt x="2637507" y="2403278"/>
                  </a:cubicBezTo>
                  <a:cubicBezTo>
                    <a:pt x="2637189" y="2404229"/>
                    <a:pt x="2636872" y="2404862"/>
                    <a:pt x="2636554" y="2405496"/>
                  </a:cubicBezTo>
                  <a:cubicBezTo>
                    <a:pt x="2636236" y="2405813"/>
                    <a:pt x="2636236" y="2405813"/>
                    <a:pt x="2635919" y="2406130"/>
                  </a:cubicBezTo>
                  <a:lnTo>
                    <a:pt x="2728028" y="2484402"/>
                  </a:lnTo>
                  <a:cubicBezTo>
                    <a:pt x="2728346" y="2484084"/>
                    <a:pt x="2728981" y="2483768"/>
                    <a:pt x="2729299" y="2483451"/>
                  </a:cubicBezTo>
                  <a:cubicBezTo>
                    <a:pt x="2735016" y="2479648"/>
                    <a:pt x="2739780" y="2475529"/>
                    <a:pt x="2744227" y="2472043"/>
                  </a:cubicBezTo>
                  <a:cubicBezTo>
                    <a:pt x="2733428" y="2458733"/>
                    <a:pt x="2723899" y="2444790"/>
                    <a:pt x="2717229" y="2430213"/>
                  </a:cubicBezTo>
                  <a:cubicBezTo>
                    <a:pt x="2709606" y="2412785"/>
                    <a:pt x="2705795" y="2394722"/>
                    <a:pt x="2703572" y="2376977"/>
                  </a:cubicBezTo>
                  <a:cubicBezTo>
                    <a:pt x="2702936" y="2376659"/>
                    <a:pt x="2702619" y="2376343"/>
                    <a:pt x="2701666" y="2376026"/>
                  </a:cubicBezTo>
                  <a:cubicBezTo>
                    <a:pt x="2693090" y="2370322"/>
                    <a:pt x="2676256" y="2358280"/>
                    <a:pt x="2658152" y="2345604"/>
                  </a:cubicBezTo>
                  <a:close/>
                  <a:moveTo>
                    <a:pt x="1280004" y="2343703"/>
                  </a:moveTo>
                  <a:cubicBezTo>
                    <a:pt x="1280004" y="2343703"/>
                    <a:pt x="1280004" y="2343703"/>
                    <a:pt x="1300014" y="2364301"/>
                  </a:cubicBezTo>
                  <a:cubicBezTo>
                    <a:pt x="1300014" y="2364301"/>
                    <a:pt x="1300014" y="2364301"/>
                    <a:pt x="1285086" y="2378878"/>
                  </a:cubicBezTo>
                  <a:cubicBezTo>
                    <a:pt x="1285086" y="2378878"/>
                    <a:pt x="1285086" y="2378878"/>
                    <a:pt x="1277146" y="2372540"/>
                  </a:cubicBezTo>
                  <a:cubicBezTo>
                    <a:pt x="1277146" y="2372540"/>
                    <a:pt x="1277146" y="2372540"/>
                    <a:pt x="1265076" y="2385849"/>
                  </a:cubicBezTo>
                  <a:cubicBezTo>
                    <a:pt x="1265076" y="2385849"/>
                    <a:pt x="1265076" y="2385849"/>
                    <a:pt x="1270793" y="2392821"/>
                  </a:cubicBezTo>
                  <a:cubicBezTo>
                    <a:pt x="1270793" y="2392821"/>
                    <a:pt x="1270793" y="2392821"/>
                    <a:pt x="1255547" y="2408031"/>
                  </a:cubicBezTo>
                  <a:lnTo>
                    <a:pt x="1236490" y="2387750"/>
                  </a:lnTo>
                  <a:cubicBezTo>
                    <a:pt x="1236490" y="2387750"/>
                    <a:pt x="1236490" y="2387750"/>
                    <a:pt x="1250148" y="2373491"/>
                  </a:cubicBezTo>
                  <a:cubicBezTo>
                    <a:pt x="1250148" y="2373491"/>
                    <a:pt x="1250148" y="2373491"/>
                    <a:pt x="1244113" y="2365568"/>
                  </a:cubicBezTo>
                  <a:cubicBezTo>
                    <a:pt x="1244113" y="2365568"/>
                    <a:pt x="1244113" y="2365568"/>
                    <a:pt x="1259676" y="2351308"/>
                  </a:cubicBezTo>
                  <a:cubicBezTo>
                    <a:pt x="1259676" y="2351308"/>
                    <a:pt x="1259676" y="2351308"/>
                    <a:pt x="1265394" y="2356379"/>
                  </a:cubicBezTo>
                  <a:cubicBezTo>
                    <a:pt x="1265394" y="2356379"/>
                    <a:pt x="1265394" y="2356379"/>
                    <a:pt x="1280004" y="2343703"/>
                  </a:cubicBezTo>
                  <a:close/>
                  <a:moveTo>
                    <a:pt x="1158674" y="2343703"/>
                  </a:moveTo>
                  <a:cubicBezTo>
                    <a:pt x="1158674" y="2343703"/>
                    <a:pt x="1158674" y="2343703"/>
                    <a:pt x="1130088" y="2357329"/>
                  </a:cubicBezTo>
                  <a:lnTo>
                    <a:pt x="1120242" y="2396306"/>
                  </a:lnTo>
                  <a:cubicBezTo>
                    <a:pt x="1120242" y="2396306"/>
                    <a:pt x="1120242" y="2396306"/>
                    <a:pt x="1138664" y="2445424"/>
                  </a:cubicBezTo>
                  <a:cubicBezTo>
                    <a:pt x="1138664" y="2445424"/>
                    <a:pt x="1138664" y="2445424"/>
                    <a:pt x="1224421" y="2427995"/>
                  </a:cubicBezTo>
                  <a:cubicBezTo>
                    <a:pt x="1224103" y="2425460"/>
                    <a:pt x="1223786" y="2422608"/>
                    <a:pt x="1223150" y="2420390"/>
                  </a:cubicBezTo>
                  <a:cubicBezTo>
                    <a:pt x="1222833" y="2418805"/>
                    <a:pt x="1222515" y="2417538"/>
                    <a:pt x="1222197" y="2416904"/>
                  </a:cubicBezTo>
                  <a:cubicBezTo>
                    <a:pt x="1222197" y="2416904"/>
                    <a:pt x="1222197" y="2416904"/>
                    <a:pt x="1158674" y="2343703"/>
                  </a:cubicBezTo>
                  <a:close/>
                  <a:moveTo>
                    <a:pt x="1030038" y="2343703"/>
                  </a:moveTo>
                  <a:cubicBezTo>
                    <a:pt x="1030038" y="2343703"/>
                    <a:pt x="1030038" y="2343703"/>
                    <a:pt x="987795" y="2378878"/>
                  </a:cubicBezTo>
                  <a:cubicBezTo>
                    <a:pt x="987795" y="2378878"/>
                    <a:pt x="987795" y="2378878"/>
                    <a:pt x="987795" y="2379194"/>
                  </a:cubicBezTo>
                  <a:cubicBezTo>
                    <a:pt x="974455" y="2385532"/>
                    <a:pt x="961432" y="2386800"/>
                    <a:pt x="956033" y="2387117"/>
                  </a:cubicBezTo>
                  <a:cubicBezTo>
                    <a:pt x="956033" y="2387117"/>
                    <a:pt x="956033" y="2387117"/>
                    <a:pt x="960480" y="2415003"/>
                  </a:cubicBezTo>
                  <a:cubicBezTo>
                    <a:pt x="967785" y="2414686"/>
                    <a:pt x="994465" y="2414052"/>
                    <a:pt x="1007170" y="2409616"/>
                  </a:cubicBezTo>
                  <a:cubicBezTo>
                    <a:pt x="1014475" y="2407398"/>
                    <a:pt x="1021462" y="2399792"/>
                    <a:pt x="1026227" y="2392821"/>
                  </a:cubicBezTo>
                  <a:cubicBezTo>
                    <a:pt x="1031309" y="2385532"/>
                    <a:pt x="1034485" y="2379194"/>
                    <a:pt x="1034485" y="2379194"/>
                  </a:cubicBezTo>
                  <a:cubicBezTo>
                    <a:pt x="1034485" y="2379194"/>
                    <a:pt x="1034485" y="2379194"/>
                    <a:pt x="1036708" y="2374441"/>
                  </a:cubicBezTo>
                  <a:cubicBezTo>
                    <a:pt x="1036708" y="2374441"/>
                    <a:pt x="1036708" y="2374441"/>
                    <a:pt x="1044966" y="2395990"/>
                  </a:cubicBezTo>
                  <a:cubicBezTo>
                    <a:pt x="1044966" y="2395990"/>
                    <a:pt x="1044966" y="2395990"/>
                    <a:pt x="1061800" y="2384898"/>
                  </a:cubicBezTo>
                  <a:cubicBezTo>
                    <a:pt x="1061800" y="2384898"/>
                    <a:pt x="1061800" y="2384898"/>
                    <a:pt x="1030038" y="2343703"/>
                  </a:cubicBezTo>
                  <a:close/>
                  <a:moveTo>
                    <a:pt x="771496" y="2343070"/>
                  </a:moveTo>
                  <a:cubicBezTo>
                    <a:pt x="771496" y="2343070"/>
                    <a:pt x="771496" y="2343070"/>
                    <a:pt x="825492" y="2377610"/>
                  </a:cubicBezTo>
                  <a:lnTo>
                    <a:pt x="824221" y="2379511"/>
                  </a:lnTo>
                  <a:cubicBezTo>
                    <a:pt x="824221" y="2379511"/>
                    <a:pt x="824221" y="2379511"/>
                    <a:pt x="770861" y="2470775"/>
                  </a:cubicBezTo>
                  <a:cubicBezTo>
                    <a:pt x="770861" y="2470775"/>
                    <a:pt x="770861" y="2470775"/>
                    <a:pt x="756568" y="2471726"/>
                  </a:cubicBezTo>
                  <a:cubicBezTo>
                    <a:pt x="756568" y="2471726"/>
                    <a:pt x="756568" y="2471726"/>
                    <a:pt x="748945" y="2508802"/>
                  </a:cubicBezTo>
                  <a:cubicBezTo>
                    <a:pt x="748945" y="2508802"/>
                    <a:pt x="748945" y="2508802"/>
                    <a:pt x="694633" y="2534470"/>
                  </a:cubicBezTo>
                  <a:cubicBezTo>
                    <a:pt x="694633" y="2534470"/>
                    <a:pt x="694633" y="2534470"/>
                    <a:pt x="685422" y="2530350"/>
                  </a:cubicBezTo>
                  <a:cubicBezTo>
                    <a:pt x="685422" y="2530350"/>
                    <a:pt x="685422" y="2530350"/>
                    <a:pt x="667953" y="2558236"/>
                  </a:cubicBezTo>
                  <a:cubicBezTo>
                    <a:pt x="667953" y="2558236"/>
                    <a:pt x="667953" y="2558236"/>
                    <a:pt x="621263" y="2539857"/>
                  </a:cubicBezTo>
                  <a:cubicBezTo>
                    <a:pt x="621263" y="2539857"/>
                    <a:pt x="621263" y="2539857"/>
                    <a:pt x="633015" y="2514823"/>
                  </a:cubicBezTo>
                  <a:cubicBezTo>
                    <a:pt x="633015" y="2514823"/>
                    <a:pt x="633015" y="2514823"/>
                    <a:pt x="718136" y="2486619"/>
                  </a:cubicBezTo>
                  <a:cubicBezTo>
                    <a:pt x="718136" y="2486619"/>
                    <a:pt x="718136" y="2486619"/>
                    <a:pt x="726394" y="2455564"/>
                  </a:cubicBezTo>
                  <a:cubicBezTo>
                    <a:pt x="726394" y="2455564"/>
                    <a:pt x="726394" y="2455564"/>
                    <a:pt x="737829" y="2454614"/>
                  </a:cubicBezTo>
                  <a:cubicBezTo>
                    <a:pt x="737829" y="2454614"/>
                    <a:pt x="737829" y="2454614"/>
                    <a:pt x="756886" y="2421657"/>
                  </a:cubicBezTo>
                  <a:cubicBezTo>
                    <a:pt x="756886" y="2421657"/>
                    <a:pt x="756886" y="2421657"/>
                    <a:pt x="748310" y="2412468"/>
                  </a:cubicBezTo>
                  <a:cubicBezTo>
                    <a:pt x="748310" y="2412468"/>
                    <a:pt x="748310" y="2412468"/>
                    <a:pt x="771496" y="2343070"/>
                  </a:cubicBezTo>
                  <a:close/>
                  <a:moveTo>
                    <a:pt x="2536504" y="2341168"/>
                  </a:moveTo>
                  <a:cubicBezTo>
                    <a:pt x="2536504" y="2341168"/>
                    <a:pt x="2536504" y="2341168"/>
                    <a:pt x="2537774" y="2342752"/>
                  </a:cubicBezTo>
                  <a:cubicBezTo>
                    <a:pt x="2537774" y="2342752"/>
                    <a:pt x="2537774" y="2342752"/>
                    <a:pt x="2569219" y="2376343"/>
                  </a:cubicBezTo>
                  <a:lnTo>
                    <a:pt x="2551432" y="2392821"/>
                  </a:lnTo>
                  <a:cubicBezTo>
                    <a:pt x="2551432" y="2392821"/>
                    <a:pt x="2551432" y="2392821"/>
                    <a:pt x="2518717" y="2357329"/>
                  </a:cubicBezTo>
                  <a:cubicBezTo>
                    <a:pt x="2518717" y="2357329"/>
                    <a:pt x="2518717" y="2357329"/>
                    <a:pt x="2536504" y="2341168"/>
                  </a:cubicBezTo>
                  <a:close/>
                  <a:moveTo>
                    <a:pt x="42561" y="2340534"/>
                  </a:moveTo>
                  <a:cubicBezTo>
                    <a:pt x="42561" y="2340534"/>
                    <a:pt x="42561" y="2340534"/>
                    <a:pt x="50184" y="2353210"/>
                  </a:cubicBezTo>
                  <a:cubicBezTo>
                    <a:pt x="50184" y="2353210"/>
                    <a:pt x="50184" y="2353210"/>
                    <a:pt x="65747" y="2344020"/>
                  </a:cubicBezTo>
                  <a:lnTo>
                    <a:pt x="81311" y="2370639"/>
                  </a:lnTo>
                  <a:cubicBezTo>
                    <a:pt x="81311" y="2370639"/>
                    <a:pt x="81311" y="2370639"/>
                    <a:pt x="65747" y="2379828"/>
                  </a:cubicBezTo>
                  <a:cubicBezTo>
                    <a:pt x="65747" y="2379828"/>
                    <a:pt x="65747" y="2379828"/>
                    <a:pt x="73053" y="2392821"/>
                  </a:cubicBezTo>
                  <a:cubicBezTo>
                    <a:pt x="73053" y="2392821"/>
                    <a:pt x="73053" y="2392821"/>
                    <a:pt x="49549" y="2406447"/>
                  </a:cubicBezTo>
                  <a:cubicBezTo>
                    <a:pt x="49549" y="2406447"/>
                    <a:pt x="49549" y="2406447"/>
                    <a:pt x="19057" y="2354160"/>
                  </a:cubicBezTo>
                  <a:cubicBezTo>
                    <a:pt x="19057" y="2354160"/>
                    <a:pt x="19057" y="2354160"/>
                    <a:pt x="20645" y="2353210"/>
                  </a:cubicBezTo>
                  <a:cubicBezTo>
                    <a:pt x="20645" y="2353210"/>
                    <a:pt x="20645" y="2353210"/>
                    <a:pt x="42561" y="2340534"/>
                  </a:cubicBezTo>
                  <a:close/>
                  <a:moveTo>
                    <a:pt x="1030673" y="2337048"/>
                  </a:moveTo>
                  <a:cubicBezTo>
                    <a:pt x="1030673" y="2337048"/>
                    <a:pt x="1030673" y="2337048"/>
                    <a:pt x="1068470" y="2385849"/>
                  </a:cubicBezTo>
                  <a:cubicBezTo>
                    <a:pt x="1068470" y="2385849"/>
                    <a:pt x="1068470" y="2385849"/>
                    <a:pt x="1066564" y="2387434"/>
                  </a:cubicBezTo>
                  <a:cubicBezTo>
                    <a:pt x="1066564" y="2387434"/>
                    <a:pt x="1066564" y="2387434"/>
                    <a:pt x="1042743" y="2403278"/>
                  </a:cubicBezTo>
                  <a:cubicBezTo>
                    <a:pt x="1042743" y="2403278"/>
                    <a:pt x="1042743" y="2403278"/>
                    <a:pt x="1036390" y="2385849"/>
                  </a:cubicBezTo>
                  <a:cubicBezTo>
                    <a:pt x="1031944" y="2393771"/>
                    <a:pt x="1021780" y="2409616"/>
                    <a:pt x="1008758" y="2414052"/>
                  </a:cubicBezTo>
                  <a:cubicBezTo>
                    <a:pt x="992241" y="2419439"/>
                    <a:pt x="958574" y="2419756"/>
                    <a:pt x="958574" y="2419756"/>
                  </a:cubicBezTo>
                  <a:lnTo>
                    <a:pt x="956351" y="2419756"/>
                  </a:lnTo>
                  <a:cubicBezTo>
                    <a:pt x="956351" y="2419756"/>
                    <a:pt x="956351" y="2419756"/>
                    <a:pt x="950633" y="2382680"/>
                  </a:cubicBezTo>
                  <a:cubicBezTo>
                    <a:pt x="950633" y="2382680"/>
                    <a:pt x="950633" y="2382680"/>
                    <a:pt x="952857" y="2382680"/>
                  </a:cubicBezTo>
                  <a:cubicBezTo>
                    <a:pt x="953174" y="2382364"/>
                    <a:pt x="953174" y="2382364"/>
                    <a:pt x="953174" y="2382364"/>
                  </a:cubicBezTo>
                  <a:cubicBezTo>
                    <a:pt x="954127" y="2382364"/>
                    <a:pt x="969691" y="2382364"/>
                    <a:pt x="985254" y="2375075"/>
                  </a:cubicBezTo>
                  <a:cubicBezTo>
                    <a:pt x="985254" y="2375075"/>
                    <a:pt x="985254" y="2375075"/>
                    <a:pt x="1030673" y="2337048"/>
                  </a:cubicBezTo>
                  <a:close/>
                  <a:moveTo>
                    <a:pt x="332865" y="2336732"/>
                  </a:moveTo>
                  <a:lnTo>
                    <a:pt x="315078" y="2385215"/>
                  </a:lnTo>
                  <a:cubicBezTo>
                    <a:pt x="315078" y="2385215"/>
                    <a:pt x="315078" y="2385215"/>
                    <a:pt x="359862" y="2424509"/>
                  </a:cubicBezTo>
                  <a:cubicBezTo>
                    <a:pt x="359862" y="2424509"/>
                    <a:pt x="359862" y="2424509"/>
                    <a:pt x="360815" y="2425143"/>
                  </a:cubicBezTo>
                  <a:cubicBezTo>
                    <a:pt x="360815" y="2425143"/>
                    <a:pt x="360815" y="2425143"/>
                    <a:pt x="361133" y="2426411"/>
                  </a:cubicBezTo>
                  <a:cubicBezTo>
                    <a:pt x="361133" y="2426411"/>
                    <a:pt x="361133" y="2426411"/>
                    <a:pt x="382731" y="2485352"/>
                  </a:cubicBezTo>
                  <a:cubicBezTo>
                    <a:pt x="382731" y="2485352"/>
                    <a:pt x="382731" y="2485352"/>
                    <a:pt x="397977" y="2474578"/>
                  </a:cubicBezTo>
                  <a:cubicBezTo>
                    <a:pt x="397977" y="2474578"/>
                    <a:pt x="397977" y="2474578"/>
                    <a:pt x="416399" y="2446692"/>
                  </a:cubicBezTo>
                  <a:cubicBezTo>
                    <a:pt x="416399" y="2446692"/>
                    <a:pt x="416399" y="2446692"/>
                    <a:pt x="412587" y="2424509"/>
                  </a:cubicBezTo>
                  <a:cubicBezTo>
                    <a:pt x="412587" y="2424509"/>
                    <a:pt x="412587" y="2424509"/>
                    <a:pt x="412269" y="2422608"/>
                  </a:cubicBezTo>
                  <a:cubicBezTo>
                    <a:pt x="412269" y="2422608"/>
                    <a:pt x="412269" y="2422608"/>
                    <a:pt x="413222" y="2421341"/>
                  </a:cubicBezTo>
                  <a:cubicBezTo>
                    <a:pt x="413222" y="2421341"/>
                    <a:pt x="413222" y="2421341"/>
                    <a:pt x="423386" y="2407081"/>
                  </a:cubicBezTo>
                  <a:cubicBezTo>
                    <a:pt x="423386" y="2407081"/>
                    <a:pt x="423386" y="2407081"/>
                    <a:pt x="424657" y="2405179"/>
                  </a:cubicBezTo>
                  <a:cubicBezTo>
                    <a:pt x="424657" y="2405179"/>
                    <a:pt x="424657" y="2405179"/>
                    <a:pt x="427198" y="2405179"/>
                  </a:cubicBezTo>
                  <a:cubicBezTo>
                    <a:pt x="427198" y="2405179"/>
                    <a:pt x="427198" y="2405179"/>
                    <a:pt x="448478" y="2405179"/>
                  </a:cubicBezTo>
                  <a:cubicBezTo>
                    <a:pt x="448478" y="2405179"/>
                    <a:pt x="448478" y="2405179"/>
                    <a:pt x="472299" y="2370955"/>
                  </a:cubicBezTo>
                  <a:cubicBezTo>
                    <a:pt x="472299" y="2370955"/>
                    <a:pt x="472299" y="2370955"/>
                    <a:pt x="433868" y="2345921"/>
                  </a:cubicBezTo>
                  <a:cubicBezTo>
                    <a:pt x="433868" y="2345921"/>
                    <a:pt x="433868" y="2345921"/>
                    <a:pt x="398929" y="2387117"/>
                  </a:cubicBezTo>
                  <a:cubicBezTo>
                    <a:pt x="398929" y="2387117"/>
                    <a:pt x="398929" y="2387117"/>
                    <a:pt x="396071" y="2390286"/>
                  </a:cubicBezTo>
                  <a:cubicBezTo>
                    <a:pt x="396071" y="2390286"/>
                    <a:pt x="396071" y="2390286"/>
                    <a:pt x="392577" y="2387434"/>
                  </a:cubicBezTo>
                  <a:cubicBezTo>
                    <a:pt x="392577" y="2387434"/>
                    <a:pt x="392577" y="2387434"/>
                    <a:pt x="332865" y="2336732"/>
                  </a:cubicBezTo>
                  <a:close/>
                  <a:moveTo>
                    <a:pt x="538047" y="2335464"/>
                  </a:moveTo>
                  <a:lnTo>
                    <a:pt x="475793" y="2423876"/>
                  </a:lnTo>
                  <a:cubicBezTo>
                    <a:pt x="478652" y="2427362"/>
                    <a:pt x="483734" y="2433065"/>
                    <a:pt x="488816" y="2439086"/>
                  </a:cubicBezTo>
                  <a:cubicBezTo>
                    <a:pt x="492627" y="2443840"/>
                    <a:pt x="496756" y="2448593"/>
                    <a:pt x="499615" y="2452079"/>
                  </a:cubicBezTo>
                  <a:cubicBezTo>
                    <a:pt x="501203" y="2453980"/>
                    <a:pt x="502473" y="2455564"/>
                    <a:pt x="503426" y="2456515"/>
                  </a:cubicBezTo>
                  <a:cubicBezTo>
                    <a:pt x="503744" y="2456832"/>
                    <a:pt x="503744" y="2457149"/>
                    <a:pt x="504061" y="2457466"/>
                  </a:cubicBezTo>
                  <a:cubicBezTo>
                    <a:pt x="514543" y="2457783"/>
                    <a:pt x="576161" y="2460318"/>
                    <a:pt x="583148" y="2460635"/>
                  </a:cubicBezTo>
                  <a:cubicBezTo>
                    <a:pt x="583784" y="2455248"/>
                    <a:pt x="584736" y="2449544"/>
                    <a:pt x="585372" y="2444157"/>
                  </a:cubicBezTo>
                  <a:cubicBezTo>
                    <a:pt x="587595" y="2423876"/>
                    <a:pt x="589818" y="2404546"/>
                    <a:pt x="590454" y="2400109"/>
                  </a:cubicBezTo>
                  <a:cubicBezTo>
                    <a:pt x="587595" y="2396306"/>
                    <a:pt x="575843" y="2382364"/>
                    <a:pt x="564409" y="2368104"/>
                  </a:cubicBezTo>
                  <a:cubicBezTo>
                    <a:pt x="557739" y="2359864"/>
                    <a:pt x="551069" y="2351625"/>
                    <a:pt x="545987" y="2345287"/>
                  </a:cubicBezTo>
                  <a:cubicBezTo>
                    <a:pt x="543446" y="2342119"/>
                    <a:pt x="541223" y="2339584"/>
                    <a:pt x="539952" y="2337682"/>
                  </a:cubicBezTo>
                  <a:cubicBezTo>
                    <a:pt x="538999" y="2336732"/>
                    <a:pt x="538682" y="2335781"/>
                    <a:pt x="538047" y="2335464"/>
                  </a:cubicBezTo>
                  <a:close/>
                  <a:moveTo>
                    <a:pt x="1778348" y="2333563"/>
                  </a:moveTo>
                  <a:cubicBezTo>
                    <a:pt x="1778348" y="2333563"/>
                    <a:pt x="1778348" y="2333563"/>
                    <a:pt x="1779619" y="2454931"/>
                  </a:cubicBezTo>
                  <a:cubicBezTo>
                    <a:pt x="1779619" y="2454931"/>
                    <a:pt x="1779619" y="2454931"/>
                    <a:pt x="1839966" y="2460001"/>
                  </a:cubicBezTo>
                  <a:cubicBezTo>
                    <a:pt x="1839966" y="2460001"/>
                    <a:pt x="1839966" y="2460001"/>
                    <a:pt x="1835519" y="2422608"/>
                  </a:cubicBezTo>
                  <a:cubicBezTo>
                    <a:pt x="1835519" y="2422608"/>
                    <a:pt x="1835519" y="2422608"/>
                    <a:pt x="1847271" y="2352576"/>
                  </a:cubicBezTo>
                  <a:cubicBezTo>
                    <a:pt x="1847271" y="2352576"/>
                    <a:pt x="1847271" y="2352576"/>
                    <a:pt x="1823450" y="2338950"/>
                  </a:cubicBezTo>
                  <a:cubicBezTo>
                    <a:pt x="1823450" y="2338950"/>
                    <a:pt x="1823450" y="2338950"/>
                    <a:pt x="1823132" y="2339584"/>
                  </a:cubicBezTo>
                  <a:cubicBezTo>
                    <a:pt x="1823132" y="2339584"/>
                    <a:pt x="1823132" y="2339584"/>
                    <a:pt x="1802805" y="2336098"/>
                  </a:cubicBezTo>
                  <a:cubicBezTo>
                    <a:pt x="1802805" y="2336098"/>
                    <a:pt x="1802805" y="2336098"/>
                    <a:pt x="1803122" y="2333880"/>
                  </a:cubicBezTo>
                  <a:close/>
                  <a:moveTo>
                    <a:pt x="1670040" y="2331978"/>
                  </a:moveTo>
                  <a:cubicBezTo>
                    <a:pt x="1670040" y="2331978"/>
                    <a:pt x="1670040" y="2331978"/>
                    <a:pt x="1645583" y="2347189"/>
                  </a:cubicBezTo>
                  <a:cubicBezTo>
                    <a:pt x="1645583" y="2347189"/>
                    <a:pt x="1645583" y="2347189"/>
                    <a:pt x="1646219" y="2348773"/>
                  </a:cubicBezTo>
                  <a:cubicBezTo>
                    <a:pt x="1646219" y="2348773"/>
                    <a:pt x="1646219" y="2348773"/>
                    <a:pt x="1665276" y="2511020"/>
                  </a:cubicBezTo>
                  <a:cubicBezTo>
                    <a:pt x="1677980" y="2511971"/>
                    <a:pt x="1693226" y="2512921"/>
                    <a:pt x="1710378" y="2514189"/>
                  </a:cubicBezTo>
                  <a:cubicBezTo>
                    <a:pt x="1710378" y="2514189"/>
                    <a:pt x="1710378" y="2514189"/>
                    <a:pt x="1710695" y="2498978"/>
                  </a:cubicBezTo>
                  <a:cubicBezTo>
                    <a:pt x="1710695" y="2498978"/>
                    <a:pt x="1710695" y="2498978"/>
                    <a:pt x="1679886" y="2496443"/>
                  </a:cubicBezTo>
                  <a:cubicBezTo>
                    <a:pt x="1679886" y="2496443"/>
                    <a:pt x="1679886" y="2496443"/>
                    <a:pt x="1683380" y="2447009"/>
                  </a:cubicBezTo>
                  <a:lnTo>
                    <a:pt x="1711013" y="2449227"/>
                  </a:lnTo>
                  <a:cubicBezTo>
                    <a:pt x="1711013" y="2449227"/>
                    <a:pt x="1711013" y="2449227"/>
                    <a:pt x="1712283" y="2334830"/>
                  </a:cubicBezTo>
                  <a:cubicBezTo>
                    <a:pt x="1712283" y="2334830"/>
                    <a:pt x="1712283" y="2334830"/>
                    <a:pt x="1716730" y="2334830"/>
                  </a:cubicBezTo>
                  <a:cubicBezTo>
                    <a:pt x="1716730" y="2334830"/>
                    <a:pt x="1716730" y="2334830"/>
                    <a:pt x="1715460" y="2449544"/>
                  </a:cubicBezTo>
                  <a:cubicBezTo>
                    <a:pt x="1715460" y="2449544"/>
                    <a:pt x="1715460" y="2449544"/>
                    <a:pt x="1775172" y="2454614"/>
                  </a:cubicBezTo>
                  <a:cubicBezTo>
                    <a:pt x="1775172" y="2454614"/>
                    <a:pt x="1775172" y="2454614"/>
                    <a:pt x="1773901" y="2333563"/>
                  </a:cubicBezTo>
                  <a:cubicBezTo>
                    <a:pt x="1773901" y="2333563"/>
                    <a:pt x="1773901" y="2333563"/>
                    <a:pt x="1670040" y="2331978"/>
                  </a:cubicBezTo>
                  <a:close/>
                  <a:moveTo>
                    <a:pt x="2544127" y="2330394"/>
                  </a:moveTo>
                  <a:cubicBezTo>
                    <a:pt x="2536822" y="2334830"/>
                    <a:pt x="2529516" y="2338950"/>
                    <a:pt x="2521576" y="2342435"/>
                  </a:cubicBezTo>
                  <a:cubicBezTo>
                    <a:pt x="2474886" y="2364618"/>
                    <a:pt x="2428514" y="2380779"/>
                    <a:pt x="2388176" y="2392821"/>
                  </a:cubicBezTo>
                  <a:cubicBezTo>
                    <a:pt x="2388176" y="2392821"/>
                    <a:pt x="2388176" y="2392821"/>
                    <a:pt x="2418985" y="2455248"/>
                  </a:cubicBezTo>
                  <a:cubicBezTo>
                    <a:pt x="2452970" y="2466022"/>
                    <a:pt x="2487591" y="2483451"/>
                    <a:pt x="2515859" y="2499295"/>
                  </a:cubicBezTo>
                  <a:cubicBezTo>
                    <a:pt x="2537774" y="2511654"/>
                    <a:pt x="2555879" y="2522745"/>
                    <a:pt x="2565407" y="2529082"/>
                  </a:cubicBezTo>
                  <a:cubicBezTo>
                    <a:pt x="2568584" y="2528766"/>
                    <a:pt x="2573030" y="2528449"/>
                    <a:pt x="2578112" y="2527815"/>
                  </a:cubicBezTo>
                  <a:cubicBezTo>
                    <a:pt x="2578112" y="2527815"/>
                    <a:pt x="2578112" y="2527815"/>
                    <a:pt x="2437724" y="2379194"/>
                  </a:cubicBezTo>
                  <a:cubicBezTo>
                    <a:pt x="2437724" y="2379194"/>
                    <a:pt x="2437724" y="2379194"/>
                    <a:pt x="2440901" y="2376026"/>
                  </a:cubicBezTo>
                  <a:cubicBezTo>
                    <a:pt x="2440901" y="2376026"/>
                    <a:pt x="2440901" y="2376026"/>
                    <a:pt x="2509189" y="2448276"/>
                  </a:cubicBezTo>
                  <a:cubicBezTo>
                    <a:pt x="2514271" y="2446375"/>
                    <a:pt x="2538410" y="2437185"/>
                    <a:pt x="2564454" y="2427678"/>
                  </a:cubicBezTo>
                  <a:cubicBezTo>
                    <a:pt x="2527928" y="2390919"/>
                    <a:pt x="2494578" y="2356695"/>
                    <a:pt x="2494578" y="2356695"/>
                  </a:cubicBezTo>
                  <a:cubicBezTo>
                    <a:pt x="2494578" y="2356695"/>
                    <a:pt x="2494578" y="2356695"/>
                    <a:pt x="2497754" y="2353527"/>
                  </a:cubicBezTo>
                  <a:cubicBezTo>
                    <a:pt x="2497754" y="2353844"/>
                    <a:pt x="2531740" y="2388701"/>
                    <a:pt x="2568901" y="2426094"/>
                  </a:cubicBezTo>
                  <a:cubicBezTo>
                    <a:pt x="2569219" y="2426094"/>
                    <a:pt x="2569219" y="2425777"/>
                    <a:pt x="2569536" y="2425777"/>
                  </a:cubicBezTo>
                  <a:cubicBezTo>
                    <a:pt x="2585100" y="2420073"/>
                    <a:pt x="2600663" y="2414369"/>
                    <a:pt x="2612415" y="2409933"/>
                  </a:cubicBezTo>
                  <a:cubicBezTo>
                    <a:pt x="2618450" y="2408031"/>
                    <a:pt x="2623214" y="2406130"/>
                    <a:pt x="2627026" y="2404862"/>
                  </a:cubicBezTo>
                  <a:cubicBezTo>
                    <a:pt x="2627026" y="2404862"/>
                    <a:pt x="2627343" y="2404862"/>
                    <a:pt x="2627343" y="2404546"/>
                  </a:cubicBezTo>
                  <a:cubicBezTo>
                    <a:pt x="2627343" y="2404546"/>
                    <a:pt x="2627343" y="2404546"/>
                    <a:pt x="2542539" y="2332612"/>
                  </a:cubicBezTo>
                  <a:cubicBezTo>
                    <a:pt x="2542539" y="2332612"/>
                    <a:pt x="2542539" y="2332612"/>
                    <a:pt x="2544127" y="2330394"/>
                  </a:cubicBezTo>
                  <a:close/>
                  <a:moveTo>
                    <a:pt x="330959" y="2329126"/>
                  </a:moveTo>
                  <a:cubicBezTo>
                    <a:pt x="330959" y="2329126"/>
                    <a:pt x="330959" y="2329126"/>
                    <a:pt x="395436" y="2384265"/>
                  </a:cubicBezTo>
                  <a:cubicBezTo>
                    <a:pt x="395436" y="2384265"/>
                    <a:pt x="395436" y="2384265"/>
                    <a:pt x="432915" y="2340217"/>
                  </a:cubicBezTo>
                  <a:cubicBezTo>
                    <a:pt x="432915" y="2340217"/>
                    <a:pt x="432915" y="2340217"/>
                    <a:pt x="478334" y="2369688"/>
                  </a:cubicBezTo>
                  <a:cubicBezTo>
                    <a:pt x="478334" y="2369688"/>
                    <a:pt x="478334" y="2369688"/>
                    <a:pt x="450701" y="2409616"/>
                  </a:cubicBezTo>
                  <a:cubicBezTo>
                    <a:pt x="450701" y="2409616"/>
                    <a:pt x="450701" y="2409616"/>
                    <a:pt x="427198" y="2409616"/>
                  </a:cubicBezTo>
                  <a:cubicBezTo>
                    <a:pt x="427198" y="2409616"/>
                    <a:pt x="427198" y="2409616"/>
                    <a:pt x="417034" y="2423876"/>
                  </a:cubicBezTo>
                  <a:cubicBezTo>
                    <a:pt x="417034" y="2423876"/>
                    <a:pt x="417034" y="2423876"/>
                    <a:pt x="421163" y="2447642"/>
                  </a:cubicBezTo>
                  <a:cubicBezTo>
                    <a:pt x="421163" y="2447642"/>
                    <a:pt x="421163" y="2447642"/>
                    <a:pt x="401153" y="2477747"/>
                  </a:cubicBezTo>
                  <a:cubicBezTo>
                    <a:pt x="401153" y="2477747"/>
                    <a:pt x="401153" y="2477747"/>
                    <a:pt x="380508" y="2492323"/>
                  </a:cubicBezTo>
                  <a:cubicBezTo>
                    <a:pt x="380508" y="2492323"/>
                    <a:pt x="380508" y="2492323"/>
                    <a:pt x="357004" y="2427678"/>
                  </a:cubicBezTo>
                  <a:lnTo>
                    <a:pt x="309996" y="2386483"/>
                  </a:lnTo>
                  <a:cubicBezTo>
                    <a:pt x="309996" y="2386483"/>
                    <a:pt x="309996" y="2386483"/>
                    <a:pt x="330959" y="2329126"/>
                  </a:cubicBezTo>
                  <a:close/>
                  <a:moveTo>
                    <a:pt x="2143610" y="2326908"/>
                  </a:moveTo>
                  <a:lnTo>
                    <a:pt x="2140433" y="2343703"/>
                  </a:lnTo>
                  <a:cubicBezTo>
                    <a:pt x="2140433" y="2343703"/>
                    <a:pt x="2140433" y="2343703"/>
                    <a:pt x="2181406" y="2350358"/>
                  </a:cubicBezTo>
                  <a:cubicBezTo>
                    <a:pt x="2181406" y="2350358"/>
                    <a:pt x="2181406" y="2350358"/>
                    <a:pt x="2183947" y="2335147"/>
                  </a:cubicBezTo>
                  <a:cubicBezTo>
                    <a:pt x="2183947" y="2335147"/>
                    <a:pt x="2183947" y="2335147"/>
                    <a:pt x="2143610" y="2326908"/>
                  </a:cubicBezTo>
                  <a:close/>
                  <a:moveTo>
                    <a:pt x="1031626" y="2326591"/>
                  </a:moveTo>
                  <a:cubicBezTo>
                    <a:pt x="1031309" y="2326591"/>
                    <a:pt x="1030991" y="2326908"/>
                    <a:pt x="1030673" y="2327225"/>
                  </a:cubicBezTo>
                  <a:cubicBezTo>
                    <a:pt x="1008758" y="2341802"/>
                    <a:pt x="967150" y="2376026"/>
                    <a:pt x="917919" y="2381730"/>
                  </a:cubicBezTo>
                  <a:lnTo>
                    <a:pt x="944599" y="2460318"/>
                  </a:lnTo>
                  <a:cubicBezTo>
                    <a:pt x="944599" y="2460318"/>
                    <a:pt x="944599" y="2460318"/>
                    <a:pt x="946187" y="2461902"/>
                  </a:cubicBezTo>
                  <a:cubicBezTo>
                    <a:pt x="946187" y="2461902"/>
                    <a:pt x="954762" y="2470458"/>
                    <a:pt x="967150" y="2482500"/>
                  </a:cubicBezTo>
                  <a:cubicBezTo>
                    <a:pt x="967150" y="2482500"/>
                    <a:pt x="967150" y="2482500"/>
                    <a:pt x="1085939" y="2390286"/>
                  </a:cubicBezTo>
                  <a:cubicBezTo>
                    <a:pt x="1085939" y="2390286"/>
                    <a:pt x="1085939" y="2390286"/>
                    <a:pt x="1031626" y="2326591"/>
                  </a:cubicBezTo>
                  <a:close/>
                  <a:moveTo>
                    <a:pt x="330641" y="2321521"/>
                  </a:moveTo>
                  <a:cubicBezTo>
                    <a:pt x="330641" y="2321521"/>
                    <a:pt x="330641" y="2321521"/>
                    <a:pt x="300468" y="2398842"/>
                  </a:cubicBezTo>
                  <a:cubicBezTo>
                    <a:pt x="300468" y="2398842"/>
                    <a:pt x="300468" y="2398842"/>
                    <a:pt x="346522" y="2427678"/>
                  </a:cubicBezTo>
                  <a:cubicBezTo>
                    <a:pt x="346522" y="2427678"/>
                    <a:pt x="346522" y="2427678"/>
                    <a:pt x="375426" y="2510703"/>
                  </a:cubicBezTo>
                  <a:cubicBezTo>
                    <a:pt x="375426" y="2510703"/>
                    <a:pt x="375426" y="2510703"/>
                    <a:pt x="409411" y="2483451"/>
                  </a:cubicBezTo>
                  <a:cubicBezTo>
                    <a:pt x="409411" y="2483451"/>
                    <a:pt x="409411" y="2483451"/>
                    <a:pt x="488498" y="2370639"/>
                  </a:cubicBezTo>
                  <a:cubicBezTo>
                    <a:pt x="481828" y="2367153"/>
                    <a:pt x="469758" y="2359547"/>
                    <a:pt x="458007" y="2352259"/>
                  </a:cubicBezTo>
                  <a:cubicBezTo>
                    <a:pt x="444349" y="2343703"/>
                    <a:pt x="431962" y="2335464"/>
                    <a:pt x="431962" y="2335464"/>
                  </a:cubicBezTo>
                  <a:cubicBezTo>
                    <a:pt x="431962" y="2335464"/>
                    <a:pt x="431962" y="2335464"/>
                    <a:pt x="395436" y="2379194"/>
                  </a:cubicBezTo>
                  <a:close/>
                  <a:moveTo>
                    <a:pt x="2582559" y="2321204"/>
                  </a:moveTo>
                  <a:cubicBezTo>
                    <a:pt x="2582559" y="2321204"/>
                    <a:pt x="2582559" y="2321204"/>
                    <a:pt x="2573983" y="2334197"/>
                  </a:cubicBezTo>
                  <a:cubicBezTo>
                    <a:pt x="2573983" y="2334197"/>
                    <a:pt x="2573983" y="2334197"/>
                    <a:pt x="2607333" y="2356062"/>
                  </a:cubicBezTo>
                  <a:lnTo>
                    <a:pt x="2615909" y="2342752"/>
                  </a:lnTo>
                  <a:cubicBezTo>
                    <a:pt x="2615909" y="2342752"/>
                    <a:pt x="2615909" y="2342752"/>
                    <a:pt x="2582559" y="2321204"/>
                  </a:cubicBezTo>
                  <a:close/>
                  <a:moveTo>
                    <a:pt x="1108172" y="2319937"/>
                  </a:moveTo>
                  <a:cubicBezTo>
                    <a:pt x="1108172" y="2319937"/>
                    <a:pt x="1108172" y="2319937"/>
                    <a:pt x="1062753" y="2325957"/>
                  </a:cubicBezTo>
                  <a:cubicBezTo>
                    <a:pt x="1062753" y="2325957"/>
                    <a:pt x="1062753" y="2325957"/>
                    <a:pt x="1088480" y="2356062"/>
                  </a:cubicBezTo>
                  <a:lnTo>
                    <a:pt x="1109760" y="2338950"/>
                  </a:lnTo>
                  <a:cubicBezTo>
                    <a:pt x="1109760" y="2338950"/>
                    <a:pt x="1109760" y="2338950"/>
                    <a:pt x="1108172" y="2319937"/>
                  </a:cubicBezTo>
                  <a:close/>
                  <a:moveTo>
                    <a:pt x="763238" y="2319303"/>
                  </a:moveTo>
                  <a:cubicBezTo>
                    <a:pt x="761333" y="2323422"/>
                    <a:pt x="758792" y="2330077"/>
                    <a:pt x="755933" y="2337682"/>
                  </a:cubicBezTo>
                  <a:cubicBezTo>
                    <a:pt x="740052" y="2378878"/>
                    <a:pt x="712102" y="2456515"/>
                    <a:pt x="712102" y="2456832"/>
                  </a:cubicBezTo>
                  <a:cubicBezTo>
                    <a:pt x="712102" y="2456832"/>
                    <a:pt x="712102" y="2456832"/>
                    <a:pt x="711784" y="2457466"/>
                  </a:cubicBezTo>
                  <a:cubicBezTo>
                    <a:pt x="711784" y="2457466"/>
                    <a:pt x="711784" y="2457466"/>
                    <a:pt x="710831" y="2457783"/>
                  </a:cubicBezTo>
                  <a:cubicBezTo>
                    <a:pt x="710831" y="2457783"/>
                    <a:pt x="685422" y="2471092"/>
                    <a:pt x="660012" y="2484718"/>
                  </a:cubicBezTo>
                  <a:cubicBezTo>
                    <a:pt x="646990" y="2491373"/>
                    <a:pt x="633650" y="2498344"/>
                    <a:pt x="623804" y="2503415"/>
                  </a:cubicBezTo>
                  <a:cubicBezTo>
                    <a:pt x="619039" y="2505950"/>
                    <a:pt x="614910" y="2507851"/>
                    <a:pt x="611734" y="2509436"/>
                  </a:cubicBezTo>
                  <a:cubicBezTo>
                    <a:pt x="611734" y="2509436"/>
                    <a:pt x="611734" y="2509436"/>
                    <a:pt x="598712" y="2553483"/>
                  </a:cubicBezTo>
                  <a:cubicBezTo>
                    <a:pt x="598712" y="2553483"/>
                    <a:pt x="598712" y="2553483"/>
                    <a:pt x="673035" y="2588341"/>
                  </a:cubicBezTo>
                  <a:lnTo>
                    <a:pt x="781025" y="2516090"/>
                  </a:lnTo>
                  <a:cubicBezTo>
                    <a:pt x="781025" y="2516090"/>
                    <a:pt x="781025" y="2516090"/>
                    <a:pt x="846137" y="2369688"/>
                  </a:cubicBezTo>
                  <a:cubicBezTo>
                    <a:pt x="812787" y="2356379"/>
                    <a:pt x="787695" y="2336415"/>
                    <a:pt x="768320" y="2322788"/>
                  </a:cubicBezTo>
                  <a:cubicBezTo>
                    <a:pt x="766732" y="2321838"/>
                    <a:pt x="765144" y="2320570"/>
                    <a:pt x="763238" y="2319303"/>
                  </a:cubicBezTo>
                  <a:close/>
                  <a:moveTo>
                    <a:pt x="2581288" y="2315500"/>
                  </a:moveTo>
                  <a:lnTo>
                    <a:pt x="2583194" y="2316451"/>
                  </a:lnTo>
                  <a:cubicBezTo>
                    <a:pt x="2583194" y="2316451"/>
                    <a:pt x="2583194" y="2316451"/>
                    <a:pt x="2621626" y="2341802"/>
                  </a:cubicBezTo>
                  <a:cubicBezTo>
                    <a:pt x="2621626" y="2341802"/>
                    <a:pt x="2621626" y="2341802"/>
                    <a:pt x="2608604" y="2361766"/>
                  </a:cubicBezTo>
                  <a:cubicBezTo>
                    <a:pt x="2608604" y="2361766"/>
                    <a:pt x="2608604" y="2361766"/>
                    <a:pt x="2568266" y="2335464"/>
                  </a:cubicBezTo>
                  <a:cubicBezTo>
                    <a:pt x="2568266" y="2335464"/>
                    <a:pt x="2568266" y="2335464"/>
                    <a:pt x="2581288" y="2315500"/>
                  </a:cubicBezTo>
                  <a:close/>
                  <a:moveTo>
                    <a:pt x="1112619" y="2314866"/>
                  </a:moveTo>
                  <a:cubicBezTo>
                    <a:pt x="1112619" y="2314866"/>
                    <a:pt x="1112619" y="2314866"/>
                    <a:pt x="1112619" y="2317084"/>
                  </a:cubicBezTo>
                  <a:lnTo>
                    <a:pt x="1114842" y="2341168"/>
                  </a:lnTo>
                  <a:cubicBezTo>
                    <a:pt x="1114842" y="2341168"/>
                    <a:pt x="1114842" y="2341168"/>
                    <a:pt x="1087845" y="2362717"/>
                  </a:cubicBezTo>
                  <a:cubicBezTo>
                    <a:pt x="1087845" y="2362717"/>
                    <a:pt x="1087845" y="2362717"/>
                    <a:pt x="1053542" y="2322472"/>
                  </a:cubicBezTo>
                  <a:cubicBezTo>
                    <a:pt x="1053542" y="2322472"/>
                    <a:pt x="1053542" y="2322472"/>
                    <a:pt x="1112619" y="2314866"/>
                  </a:cubicBezTo>
                  <a:close/>
                  <a:moveTo>
                    <a:pt x="370661" y="2309479"/>
                  </a:moveTo>
                  <a:cubicBezTo>
                    <a:pt x="370661" y="2309479"/>
                    <a:pt x="370661" y="2309479"/>
                    <a:pt x="358592" y="2324056"/>
                  </a:cubicBezTo>
                  <a:cubicBezTo>
                    <a:pt x="370661" y="2334830"/>
                    <a:pt x="387178" y="2349090"/>
                    <a:pt x="393848" y="2355111"/>
                  </a:cubicBezTo>
                  <a:cubicBezTo>
                    <a:pt x="393848" y="2355111"/>
                    <a:pt x="393848" y="2355111"/>
                    <a:pt x="406235" y="2341168"/>
                  </a:cubicBezTo>
                  <a:cubicBezTo>
                    <a:pt x="406235" y="2341168"/>
                    <a:pt x="406235" y="2341168"/>
                    <a:pt x="370661" y="2309479"/>
                  </a:cubicBezTo>
                  <a:close/>
                  <a:moveTo>
                    <a:pt x="1236808" y="2303775"/>
                  </a:moveTo>
                  <a:cubicBezTo>
                    <a:pt x="1236808" y="2303775"/>
                    <a:pt x="1236808" y="2303775"/>
                    <a:pt x="1226962" y="2312648"/>
                  </a:cubicBezTo>
                  <a:cubicBezTo>
                    <a:pt x="1226962" y="2312648"/>
                    <a:pt x="1226962" y="2312648"/>
                    <a:pt x="1231408" y="2317084"/>
                  </a:cubicBezTo>
                  <a:cubicBezTo>
                    <a:pt x="1231408" y="2317084"/>
                    <a:pt x="1231408" y="2317084"/>
                    <a:pt x="1234585" y="2319937"/>
                  </a:cubicBezTo>
                  <a:cubicBezTo>
                    <a:pt x="1234585" y="2319937"/>
                    <a:pt x="1234585" y="2319937"/>
                    <a:pt x="1231726" y="2323105"/>
                  </a:cubicBezTo>
                  <a:cubicBezTo>
                    <a:pt x="1231726" y="2323105"/>
                    <a:pt x="1231726" y="2323105"/>
                    <a:pt x="1219339" y="2336415"/>
                  </a:cubicBezTo>
                  <a:cubicBezTo>
                    <a:pt x="1219339" y="2336415"/>
                    <a:pt x="1219339" y="2336415"/>
                    <a:pt x="1216480" y="2339584"/>
                  </a:cubicBezTo>
                  <a:cubicBezTo>
                    <a:pt x="1216480" y="2339584"/>
                    <a:pt x="1216480" y="2339584"/>
                    <a:pt x="1213304" y="2336732"/>
                  </a:cubicBezTo>
                  <a:cubicBezTo>
                    <a:pt x="1213304" y="2336732"/>
                    <a:pt x="1213304" y="2336732"/>
                    <a:pt x="1208540" y="2332612"/>
                  </a:cubicBezTo>
                  <a:cubicBezTo>
                    <a:pt x="1208540" y="2332612"/>
                    <a:pt x="1208540" y="2332612"/>
                    <a:pt x="1199329" y="2341485"/>
                  </a:cubicBezTo>
                  <a:cubicBezTo>
                    <a:pt x="1199329" y="2341485"/>
                    <a:pt x="1199329" y="2341485"/>
                    <a:pt x="1212987" y="2355745"/>
                  </a:cubicBezTo>
                  <a:cubicBezTo>
                    <a:pt x="1212987" y="2355745"/>
                    <a:pt x="1212987" y="2355745"/>
                    <a:pt x="1224738" y="2346238"/>
                  </a:cubicBezTo>
                  <a:cubicBezTo>
                    <a:pt x="1224738" y="2346238"/>
                    <a:pt x="1224738" y="2346238"/>
                    <a:pt x="1227597" y="2343703"/>
                  </a:cubicBezTo>
                  <a:cubicBezTo>
                    <a:pt x="1227597" y="2343703"/>
                    <a:pt x="1227597" y="2343703"/>
                    <a:pt x="1230456" y="2346238"/>
                  </a:cubicBezTo>
                  <a:lnTo>
                    <a:pt x="1233314" y="2348773"/>
                  </a:lnTo>
                  <a:cubicBezTo>
                    <a:pt x="1233314" y="2348773"/>
                    <a:pt x="1233314" y="2348773"/>
                    <a:pt x="1243160" y="2340217"/>
                  </a:cubicBezTo>
                  <a:cubicBezTo>
                    <a:pt x="1243160" y="2340217"/>
                    <a:pt x="1243160" y="2340217"/>
                    <a:pt x="1239667" y="2335464"/>
                  </a:cubicBezTo>
                  <a:cubicBezTo>
                    <a:pt x="1239667" y="2335464"/>
                    <a:pt x="1239667" y="2335464"/>
                    <a:pt x="1237126" y="2332295"/>
                  </a:cubicBezTo>
                  <a:cubicBezTo>
                    <a:pt x="1237126" y="2332295"/>
                    <a:pt x="1237126" y="2332295"/>
                    <a:pt x="1239984" y="2329443"/>
                  </a:cubicBezTo>
                  <a:cubicBezTo>
                    <a:pt x="1239984" y="2329443"/>
                    <a:pt x="1239984" y="2329443"/>
                    <a:pt x="1250783" y="2318669"/>
                  </a:cubicBezTo>
                  <a:cubicBezTo>
                    <a:pt x="1250783" y="2318669"/>
                    <a:pt x="1250783" y="2318669"/>
                    <a:pt x="1236808" y="2303775"/>
                  </a:cubicBezTo>
                  <a:close/>
                  <a:moveTo>
                    <a:pt x="708925" y="2303775"/>
                  </a:moveTo>
                  <a:cubicBezTo>
                    <a:pt x="708925" y="2303775"/>
                    <a:pt x="708925" y="2303775"/>
                    <a:pt x="658424" y="2362717"/>
                  </a:cubicBezTo>
                  <a:cubicBezTo>
                    <a:pt x="658424" y="2362717"/>
                    <a:pt x="658424" y="2362717"/>
                    <a:pt x="667635" y="2376026"/>
                  </a:cubicBezTo>
                  <a:cubicBezTo>
                    <a:pt x="667635" y="2376026"/>
                    <a:pt x="667635" y="2376026"/>
                    <a:pt x="636508" y="2403912"/>
                  </a:cubicBezTo>
                  <a:cubicBezTo>
                    <a:pt x="636508" y="2403912"/>
                    <a:pt x="636508" y="2403912"/>
                    <a:pt x="624121" y="2394405"/>
                  </a:cubicBezTo>
                  <a:cubicBezTo>
                    <a:pt x="624121" y="2394405"/>
                    <a:pt x="624121" y="2394405"/>
                    <a:pt x="611416" y="2403595"/>
                  </a:cubicBezTo>
                  <a:cubicBezTo>
                    <a:pt x="611416" y="2403595"/>
                    <a:pt x="611416" y="2403595"/>
                    <a:pt x="605699" y="2450811"/>
                  </a:cubicBezTo>
                  <a:lnTo>
                    <a:pt x="621580" y="2457466"/>
                  </a:lnTo>
                  <a:cubicBezTo>
                    <a:pt x="621580" y="2457466"/>
                    <a:pt x="621580" y="2457466"/>
                    <a:pt x="666365" y="2423242"/>
                  </a:cubicBezTo>
                  <a:cubicBezTo>
                    <a:pt x="666365" y="2423242"/>
                    <a:pt x="666365" y="2423242"/>
                    <a:pt x="657789" y="2408031"/>
                  </a:cubicBezTo>
                  <a:cubicBezTo>
                    <a:pt x="657789" y="2408031"/>
                    <a:pt x="657789" y="2408031"/>
                    <a:pt x="679387" y="2382997"/>
                  </a:cubicBezTo>
                  <a:cubicBezTo>
                    <a:pt x="679387" y="2382997"/>
                    <a:pt x="679387" y="2382997"/>
                    <a:pt x="694633" y="2389969"/>
                  </a:cubicBezTo>
                  <a:cubicBezTo>
                    <a:pt x="694633" y="2389969"/>
                    <a:pt x="694633" y="2389969"/>
                    <a:pt x="737829" y="2321838"/>
                  </a:cubicBezTo>
                  <a:cubicBezTo>
                    <a:pt x="737829" y="2321838"/>
                    <a:pt x="737829" y="2321838"/>
                    <a:pt x="708925" y="2303775"/>
                  </a:cubicBezTo>
                  <a:close/>
                  <a:moveTo>
                    <a:pt x="204229" y="2303458"/>
                  </a:moveTo>
                  <a:cubicBezTo>
                    <a:pt x="204229" y="2303458"/>
                    <a:pt x="204229" y="2303458"/>
                    <a:pt x="159127" y="2344337"/>
                  </a:cubicBezTo>
                  <a:cubicBezTo>
                    <a:pt x="159127" y="2344337"/>
                    <a:pt x="159127" y="2344337"/>
                    <a:pt x="173103" y="2357646"/>
                  </a:cubicBezTo>
                  <a:cubicBezTo>
                    <a:pt x="173103" y="2357646"/>
                    <a:pt x="173103" y="2357646"/>
                    <a:pt x="166750" y="2367470"/>
                  </a:cubicBezTo>
                  <a:cubicBezTo>
                    <a:pt x="166750" y="2367470"/>
                    <a:pt x="166750" y="2367470"/>
                    <a:pt x="168656" y="2369688"/>
                  </a:cubicBezTo>
                  <a:cubicBezTo>
                    <a:pt x="168656" y="2369688"/>
                    <a:pt x="168656" y="2369688"/>
                    <a:pt x="202959" y="2344654"/>
                  </a:cubicBezTo>
                  <a:cubicBezTo>
                    <a:pt x="202959" y="2344654"/>
                    <a:pt x="202959" y="2344654"/>
                    <a:pt x="213440" y="2363350"/>
                  </a:cubicBezTo>
                  <a:cubicBezTo>
                    <a:pt x="213440" y="2363350"/>
                    <a:pt x="213440" y="2363350"/>
                    <a:pt x="201371" y="2375075"/>
                  </a:cubicBezTo>
                  <a:cubicBezTo>
                    <a:pt x="201371" y="2375075"/>
                    <a:pt x="201371" y="2375075"/>
                    <a:pt x="215028" y="2383314"/>
                  </a:cubicBezTo>
                  <a:cubicBezTo>
                    <a:pt x="215028" y="2383314"/>
                    <a:pt x="215028" y="2383314"/>
                    <a:pt x="239485" y="2362717"/>
                  </a:cubicBezTo>
                  <a:cubicBezTo>
                    <a:pt x="239485" y="2362717"/>
                    <a:pt x="239485" y="2362717"/>
                    <a:pt x="253460" y="2376026"/>
                  </a:cubicBezTo>
                  <a:cubicBezTo>
                    <a:pt x="253460" y="2376026"/>
                    <a:pt x="253460" y="2376026"/>
                    <a:pt x="267118" y="2361766"/>
                  </a:cubicBezTo>
                  <a:close/>
                  <a:moveTo>
                    <a:pt x="370026" y="2303141"/>
                  </a:moveTo>
                  <a:cubicBezTo>
                    <a:pt x="370026" y="2303141"/>
                    <a:pt x="370026" y="2303141"/>
                    <a:pt x="412269" y="2340851"/>
                  </a:cubicBezTo>
                  <a:lnTo>
                    <a:pt x="394165" y="2361132"/>
                  </a:lnTo>
                  <a:cubicBezTo>
                    <a:pt x="393530" y="2361132"/>
                    <a:pt x="352557" y="2324373"/>
                    <a:pt x="352557" y="2324373"/>
                  </a:cubicBezTo>
                  <a:cubicBezTo>
                    <a:pt x="352557" y="2324373"/>
                    <a:pt x="352557" y="2324373"/>
                    <a:pt x="370026" y="2303141"/>
                  </a:cubicBezTo>
                  <a:close/>
                  <a:moveTo>
                    <a:pt x="1122465" y="2302825"/>
                  </a:moveTo>
                  <a:cubicBezTo>
                    <a:pt x="1116113" y="2303775"/>
                    <a:pt x="1102455" y="2305677"/>
                    <a:pt x="1086892" y="2308845"/>
                  </a:cubicBezTo>
                  <a:cubicBezTo>
                    <a:pt x="1068788" y="2312331"/>
                    <a:pt x="1047507" y="2318035"/>
                    <a:pt x="1035755" y="2324373"/>
                  </a:cubicBezTo>
                  <a:lnTo>
                    <a:pt x="1089433" y="2387117"/>
                  </a:lnTo>
                  <a:cubicBezTo>
                    <a:pt x="1089433" y="2387117"/>
                    <a:pt x="1089433" y="2387117"/>
                    <a:pt x="1089433" y="2387434"/>
                  </a:cubicBezTo>
                  <a:cubicBezTo>
                    <a:pt x="1089433" y="2387434"/>
                    <a:pt x="1089433" y="2387434"/>
                    <a:pt x="1089750" y="2387434"/>
                  </a:cubicBezTo>
                  <a:cubicBezTo>
                    <a:pt x="1089750" y="2387434"/>
                    <a:pt x="1089750" y="2387434"/>
                    <a:pt x="1115478" y="2393454"/>
                  </a:cubicBezTo>
                  <a:cubicBezTo>
                    <a:pt x="1115478" y="2393454"/>
                    <a:pt x="1115478" y="2393454"/>
                    <a:pt x="1125641" y="2353844"/>
                  </a:cubicBezTo>
                  <a:cubicBezTo>
                    <a:pt x="1125641" y="2353844"/>
                    <a:pt x="1125641" y="2353844"/>
                    <a:pt x="1154862" y="2339584"/>
                  </a:cubicBezTo>
                  <a:cubicBezTo>
                    <a:pt x="1154862" y="2339584"/>
                    <a:pt x="1154862" y="2339584"/>
                    <a:pt x="1155180" y="2339267"/>
                  </a:cubicBezTo>
                  <a:cubicBezTo>
                    <a:pt x="1153592" y="2337365"/>
                    <a:pt x="1148192" y="2329760"/>
                    <a:pt x="1133899" y="2314550"/>
                  </a:cubicBezTo>
                  <a:cubicBezTo>
                    <a:pt x="1130088" y="2310747"/>
                    <a:pt x="1126277" y="2306944"/>
                    <a:pt x="1122465" y="2302825"/>
                  </a:cubicBezTo>
                  <a:close/>
                  <a:moveTo>
                    <a:pt x="1237126" y="2297754"/>
                  </a:moveTo>
                  <a:cubicBezTo>
                    <a:pt x="1237126" y="2297754"/>
                    <a:pt x="1237126" y="2297754"/>
                    <a:pt x="1257136" y="2318669"/>
                  </a:cubicBezTo>
                  <a:cubicBezTo>
                    <a:pt x="1257136" y="2318669"/>
                    <a:pt x="1257136" y="2318669"/>
                    <a:pt x="1243160" y="2332612"/>
                  </a:cubicBezTo>
                  <a:lnTo>
                    <a:pt x="1249195" y="2340851"/>
                  </a:lnTo>
                  <a:cubicBezTo>
                    <a:pt x="1249195" y="2340851"/>
                    <a:pt x="1249195" y="2340851"/>
                    <a:pt x="1233314" y="2354794"/>
                  </a:cubicBezTo>
                  <a:cubicBezTo>
                    <a:pt x="1233314" y="2354794"/>
                    <a:pt x="1233314" y="2354794"/>
                    <a:pt x="1227597" y="2349407"/>
                  </a:cubicBezTo>
                  <a:cubicBezTo>
                    <a:pt x="1227597" y="2349407"/>
                    <a:pt x="1227597" y="2349407"/>
                    <a:pt x="1212669" y="2362083"/>
                  </a:cubicBezTo>
                  <a:cubicBezTo>
                    <a:pt x="1212669" y="2362083"/>
                    <a:pt x="1212669" y="2362083"/>
                    <a:pt x="1192977" y="2341168"/>
                  </a:cubicBezTo>
                  <a:cubicBezTo>
                    <a:pt x="1192977" y="2341168"/>
                    <a:pt x="1192977" y="2341168"/>
                    <a:pt x="1208222" y="2326591"/>
                  </a:cubicBezTo>
                  <a:cubicBezTo>
                    <a:pt x="1208222" y="2326591"/>
                    <a:pt x="1208222" y="2326591"/>
                    <a:pt x="1216163" y="2333246"/>
                  </a:cubicBezTo>
                  <a:cubicBezTo>
                    <a:pt x="1216163" y="2333246"/>
                    <a:pt x="1216163" y="2333246"/>
                    <a:pt x="1228232" y="2320253"/>
                  </a:cubicBezTo>
                  <a:cubicBezTo>
                    <a:pt x="1228232" y="2320253"/>
                    <a:pt x="1228232" y="2320253"/>
                    <a:pt x="1220609" y="2312331"/>
                  </a:cubicBezTo>
                  <a:cubicBezTo>
                    <a:pt x="1220609" y="2312331"/>
                    <a:pt x="1220609" y="2312331"/>
                    <a:pt x="1237126" y="2297754"/>
                  </a:cubicBezTo>
                  <a:close/>
                  <a:moveTo>
                    <a:pt x="707973" y="2297437"/>
                  </a:moveTo>
                  <a:cubicBezTo>
                    <a:pt x="707973" y="2297437"/>
                    <a:pt x="707973" y="2297437"/>
                    <a:pt x="744499" y="2320570"/>
                  </a:cubicBezTo>
                  <a:cubicBezTo>
                    <a:pt x="744499" y="2320570"/>
                    <a:pt x="744499" y="2320570"/>
                    <a:pt x="743228" y="2322472"/>
                  </a:cubicBezTo>
                  <a:cubicBezTo>
                    <a:pt x="743228" y="2322472"/>
                    <a:pt x="743228" y="2322472"/>
                    <a:pt x="696221" y="2395990"/>
                  </a:cubicBezTo>
                  <a:cubicBezTo>
                    <a:pt x="696221" y="2395990"/>
                    <a:pt x="696221" y="2395990"/>
                    <a:pt x="680657" y="2388701"/>
                  </a:cubicBezTo>
                  <a:cubicBezTo>
                    <a:pt x="680657" y="2388701"/>
                    <a:pt x="680657" y="2388701"/>
                    <a:pt x="663506" y="2408665"/>
                  </a:cubicBezTo>
                  <a:cubicBezTo>
                    <a:pt x="663506" y="2408665"/>
                    <a:pt x="663506" y="2408665"/>
                    <a:pt x="672399" y="2424509"/>
                  </a:cubicBezTo>
                  <a:lnTo>
                    <a:pt x="622216" y="2462853"/>
                  </a:lnTo>
                  <a:cubicBezTo>
                    <a:pt x="622216" y="2462853"/>
                    <a:pt x="622216" y="2462853"/>
                    <a:pt x="600617" y="2453663"/>
                  </a:cubicBezTo>
                  <a:cubicBezTo>
                    <a:pt x="600617" y="2453663"/>
                    <a:pt x="600617" y="2453663"/>
                    <a:pt x="606970" y="2401060"/>
                  </a:cubicBezTo>
                  <a:cubicBezTo>
                    <a:pt x="606970" y="2401060"/>
                    <a:pt x="606970" y="2401060"/>
                    <a:pt x="624121" y="2388701"/>
                  </a:cubicBezTo>
                  <a:cubicBezTo>
                    <a:pt x="624121" y="2388701"/>
                    <a:pt x="624121" y="2388701"/>
                    <a:pt x="636508" y="2397891"/>
                  </a:cubicBezTo>
                  <a:cubicBezTo>
                    <a:pt x="636508" y="2397891"/>
                    <a:pt x="636508" y="2397891"/>
                    <a:pt x="661600" y="2375392"/>
                  </a:cubicBezTo>
                  <a:cubicBezTo>
                    <a:pt x="661600" y="2375392"/>
                    <a:pt x="661600" y="2375392"/>
                    <a:pt x="652707" y="2362399"/>
                  </a:cubicBezTo>
                  <a:cubicBezTo>
                    <a:pt x="652707" y="2362399"/>
                    <a:pt x="652707" y="2362399"/>
                    <a:pt x="707973" y="2297437"/>
                  </a:cubicBezTo>
                  <a:close/>
                  <a:moveTo>
                    <a:pt x="204229" y="2297121"/>
                  </a:moveTo>
                  <a:cubicBezTo>
                    <a:pt x="204229" y="2297121"/>
                    <a:pt x="204229" y="2297121"/>
                    <a:pt x="273788" y="2361449"/>
                  </a:cubicBezTo>
                  <a:cubicBezTo>
                    <a:pt x="273788" y="2361449"/>
                    <a:pt x="273788" y="2361449"/>
                    <a:pt x="272200" y="2363350"/>
                  </a:cubicBezTo>
                  <a:cubicBezTo>
                    <a:pt x="272200" y="2363350"/>
                    <a:pt x="272200" y="2363350"/>
                    <a:pt x="253460" y="2382680"/>
                  </a:cubicBezTo>
                  <a:cubicBezTo>
                    <a:pt x="253460" y="2382680"/>
                    <a:pt x="253460" y="2382680"/>
                    <a:pt x="239167" y="2369054"/>
                  </a:cubicBezTo>
                  <a:cubicBezTo>
                    <a:pt x="239167" y="2369054"/>
                    <a:pt x="239167" y="2369054"/>
                    <a:pt x="215663" y="2389018"/>
                  </a:cubicBezTo>
                  <a:cubicBezTo>
                    <a:pt x="215663" y="2389018"/>
                    <a:pt x="215663" y="2389018"/>
                    <a:pt x="193748" y="2376026"/>
                  </a:cubicBezTo>
                  <a:cubicBezTo>
                    <a:pt x="193748" y="2376026"/>
                    <a:pt x="193748" y="2376026"/>
                    <a:pt x="207723" y="2362717"/>
                  </a:cubicBezTo>
                  <a:cubicBezTo>
                    <a:pt x="207723" y="2362717"/>
                    <a:pt x="207723" y="2362717"/>
                    <a:pt x="201371" y="2351308"/>
                  </a:cubicBezTo>
                  <a:cubicBezTo>
                    <a:pt x="201371" y="2351308"/>
                    <a:pt x="201371" y="2351308"/>
                    <a:pt x="167703" y="2376026"/>
                  </a:cubicBezTo>
                  <a:cubicBezTo>
                    <a:pt x="167703" y="2376026"/>
                    <a:pt x="167703" y="2376026"/>
                    <a:pt x="161033" y="2367787"/>
                  </a:cubicBezTo>
                  <a:cubicBezTo>
                    <a:pt x="161033" y="2367787"/>
                    <a:pt x="161033" y="2367787"/>
                    <a:pt x="167068" y="2358597"/>
                  </a:cubicBezTo>
                  <a:lnTo>
                    <a:pt x="152140" y="2344337"/>
                  </a:lnTo>
                  <a:cubicBezTo>
                    <a:pt x="152140" y="2344337"/>
                    <a:pt x="152140" y="2344337"/>
                    <a:pt x="204229" y="2297121"/>
                  </a:cubicBezTo>
                  <a:close/>
                  <a:moveTo>
                    <a:pt x="2591134" y="2296804"/>
                  </a:moveTo>
                  <a:cubicBezTo>
                    <a:pt x="2577477" y="2308528"/>
                    <a:pt x="2562549" y="2319620"/>
                    <a:pt x="2545715" y="2329443"/>
                  </a:cubicBezTo>
                  <a:lnTo>
                    <a:pt x="2632425" y="2402961"/>
                  </a:lnTo>
                  <a:cubicBezTo>
                    <a:pt x="2632425" y="2402961"/>
                    <a:pt x="2632742" y="2402961"/>
                    <a:pt x="2633060" y="2402961"/>
                  </a:cubicBezTo>
                  <a:cubicBezTo>
                    <a:pt x="2633696" y="2401694"/>
                    <a:pt x="2635284" y="2397891"/>
                    <a:pt x="2637189" y="2392821"/>
                  </a:cubicBezTo>
                  <a:cubicBezTo>
                    <a:pt x="2640366" y="2383948"/>
                    <a:pt x="2644494" y="2371589"/>
                    <a:pt x="2648306" y="2361132"/>
                  </a:cubicBezTo>
                  <a:cubicBezTo>
                    <a:pt x="2649894" y="2355745"/>
                    <a:pt x="2651482" y="2350991"/>
                    <a:pt x="2652752" y="2347506"/>
                  </a:cubicBezTo>
                  <a:cubicBezTo>
                    <a:pt x="2653388" y="2345921"/>
                    <a:pt x="2654023" y="2344337"/>
                    <a:pt x="2654340" y="2343386"/>
                  </a:cubicBezTo>
                  <a:cubicBezTo>
                    <a:pt x="2654658" y="2343070"/>
                    <a:pt x="2654658" y="2343070"/>
                    <a:pt x="2654658" y="2343070"/>
                  </a:cubicBezTo>
                  <a:cubicBezTo>
                    <a:pt x="2625120" y="2321838"/>
                    <a:pt x="2594311" y="2299022"/>
                    <a:pt x="2591134" y="2296804"/>
                  </a:cubicBezTo>
                  <a:close/>
                  <a:moveTo>
                    <a:pt x="1225691" y="2294585"/>
                  </a:moveTo>
                  <a:cubicBezTo>
                    <a:pt x="1225691" y="2294585"/>
                    <a:pt x="1225691" y="2294585"/>
                    <a:pt x="1178684" y="2332612"/>
                  </a:cubicBezTo>
                  <a:lnTo>
                    <a:pt x="1240302" y="2404546"/>
                  </a:lnTo>
                  <a:cubicBezTo>
                    <a:pt x="1240302" y="2404546"/>
                    <a:pt x="1240302" y="2404546"/>
                    <a:pt x="1240937" y="2405179"/>
                  </a:cubicBezTo>
                  <a:cubicBezTo>
                    <a:pt x="1241572" y="2406130"/>
                    <a:pt x="1243796" y="2409933"/>
                    <a:pt x="1244748" y="2416587"/>
                  </a:cubicBezTo>
                  <a:cubicBezTo>
                    <a:pt x="1245066" y="2417855"/>
                    <a:pt x="1245066" y="2419439"/>
                    <a:pt x="1245384" y="2420707"/>
                  </a:cubicBezTo>
                  <a:cubicBezTo>
                    <a:pt x="1245384" y="2420707"/>
                    <a:pt x="1245384" y="2420707"/>
                    <a:pt x="1281275" y="2404862"/>
                  </a:cubicBezTo>
                  <a:cubicBezTo>
                    <a:pt x="1281275" y="2404862"/>
                    <a:pt x="1281275" y="2404862"/>
                    <a:pt x="1316530" y="2387434"/>
                  </a:cubicBezTo>
                  <a:cubicBezTo>
                    <a:pt x="1316530" y="2387434"/>
                    <a:pt x="1316530" y="2387434"/>
                    <a:pt x="1316213" y="2386800"/>
                  </a:cubicBezTo>
                  <a:cubicBezTo>
                    <a:pt x="1316213" y="2386800"/>
                    <a:pt x="1320977" y="2384582"/>
                    <a:pt x="1328282" y="2381413"/>
                  </a:cubicBezTo>
                  <a:cubicBezTo>
                    <a:pt x="1323518" y="2376659"/>
                    <a:pt x="1303190" y="2357963"/>
                    <a:pt x="1283180" y="2339267"/>
                  </a:cubicBezTo>
                  <a:cubicBezTo>
                    <a:pt x="1271428" y="2328176"/>
                    <a:pt x="1259676" y="2317401"/>
                    <a:pt x="1251101" y="2309162"/>
                  </a:cubicBezTo>
                  <a:cubicBezTo>
                    <a:pt x="1246654" y="2305043"/>
                    <a:pt x="1243160" y="2301874"/>
                    <a:pt x="1240619" y="2299339"/>
                  </a:cubicBezTo>
                  <a:cubicBezTo>
                    <a:pt x="1239349" y="2298071"/>
                    <a:pt x="1238396" y="2297121"/>
                    <a:pt x="1237761" y="2296487"/>
                  </a:cubicBezTo>
                  <a:cubicBezTo>
                    <a:pt x="1237443" y="2296487"/>
                    <a:pt x="1237443" y="2296487"/>
                    <a:pt x="1237443" y="2296170"/>
                  </a:cubicBezTo>
                  <a:cubicBezTo>
                    <a:pt x="1234585" y="2295853"/>
                    <a:pt x="1228232" y="2294903"/>
                    <a:pt x="1225691" y="2294585"/>
                  </a:cubicBezTo>
                  <a:close/>
                  <a:moveTo>
                    <a:pt x="1841872" y="2290466"/>
                  </a:moveTo>
                  <a:lnTo>
                    <a:pt x="1839966" y="2306310"/>
                  </a:lnTo>
                  <a:cubicBezTo>
                    <a:pt x="1839966" y="2306310"/>
                    <a:pt x="1839966" y="2306310"/>
                    <a:pt x="1879351" y="2311064"/>
                  </a:cubicBezTo>
                  <a:cubicBezTo>
                    <a:pt x="1879351" y="2311064"/>
                    <a:pt x="1879351" y="2311064"/>
                    <a:pt x="1881257" y="2295536"/>
                  </a:cubicBezTo>
                  <a:cubicBezTo>
                    <a:pt x="1881257" y="2295536"/>
                    <a:pt x="1881257" y="2295536"/>
                    <a:pt x="1841872" y="2290466"/>
                  </a:cubicBezTo>
                  <a:close/>
                  <a:moveTo>
                    <a:pt x="2315441" y="2287614"/>
                  </a:moveTo>
                  <a:cubicBezTo>
                    <a:pt x="2315441" y="2287614"/>
                    <a:pt x="2315441" y="2287614"/>
                    <a:pt x="2309089" y="2301874"/>
                  </a:cubicBezTo>
                  <a:lnTo>
                    <a:pt x="2328146" y="2310113"/>
                  </a:lnTo>
                  <a:cubicBezTo>
                    <a:pt x="2328146" y="2310113"/>
                    <a:pt x="2328146" y="2310113"/>
                    <a:pt x="2334181" y="2295853"/>
                  </a:cubicBezTo>
                  <a:cubicBezTo>
                    <a:pt x="2334181" y="2295853"/>
                    <a:pt x="2334181" y="2295853"/>
                    <a:pt x="2315441" y="2287614"/>
                  </a:cubicBezTo>
                  <a:close/>
                  <a:moveTo>
                    <a:pt x="1838378" y="2286030"/>
                  </a:moveTo>
                  <a:cubicBezTo>
                    <a:pt x="1838378" y="2286030"/>
                    <a:pt x="1838378" y="2286030"/>
                    <a:pt x="1886021" y="2291733"/>
                  </a:cubicBezTo>
                  <a:cubicBezTo>
                    <a:pt x="1886021" y="2291733"/>
                    <a:pt x="1886021" y="2291733"/>
                    <a:pt x="1883162" y="2315817"/>
                  </a:cubicBezTo>
                  <a:cubicBezTo>
                    <a:pt x="1883162" y="2315817"/>
                    <a:pt x="1883162" y="2315817"/>
                    <a:pt x="1880939" y="2315500"/>
                  </a:cubicBezTo>
                  <a:cubicBezTo>
                    <a:pt x="1880939" y="2315500"/>
                    <a:pt x="1880939" y="2315500"/>
                    <a:pt x="1835202" y="2309796"/>
                  </a:cubicBezTo>
                  <a:close/>
                  <a:moveTo>
                    <a:pt x="2261446" y="2282227"/>
                  </a:moveTo>
                  <a:cubicBezTo>
                    <a:pt x="2261446" y="2282227"/>
                    <a:pt x="2261446" y="2282227"/>
                    <a:pt x="2255411" y="2296804"/>
                  </a:cubicBezTo>
                  <a:cubicBezTo>
                    <a:pt x="2255411" y="2296804"/>
                    <a:pt x="2255411" y="2296804"/>
                    <a:pt x="2274151" y="2305043"/>
                  </a:cubicBezTo>
                  <a:cubicBezTo>
                    <a:pt x="2274151" y="2305043"/>
                    <a:pt x="2274151" y="2305043"/>
                    <a:pt x="2280503" y="2290466"/>
                  </a:cubicBezTo>
                  <a:close/>
                  <a:moveTo>
                    <a:pt x="2313218" y="2281910"/>
                  </a:moveTo>
                  <a:cubicBezTo>
                    <a:pt x="2313218" y="2281910"/>
                    <a:pt x="2313218" y="2281910"/>
                    <a:pt x="2339898" y="2293635"/>
                  </a:cubicBezTo>
                  <a:cubicBezTo>
                    <a:pt x="2339898" y="2293635"/>
                    <a:pt x="2339898" y="2293635"/>
                    <a:pt x="2330052" y="2315500"/>
                  </a:cubicBezTo>
                  <a:lnTo>
                    <a:pt x="2328146" y="2314866"/>
                  </a:lnTo>
                  <a:cubicBezTo>
                    <a:pt x="2328146" y="2314866"/>
                    <a:pt x="2328146" y="2314866"/>
                    <a:pt x="2303690" y="2304092"/>
                  </a:cubicBezTo>
                  <a:cubicBezTo>
                    <a:pt x="2303690" y="2304092"/>
                    <a:pt x="2303690" y="2304092"/>
                    <a:pt x="2313218" y="2281910"/>
                  </a:cubicBezTo>
                  <a:close/>
                  <a:moveTo>
                    <a:pt x="2198240" y="2281910"/>
                  </a:moveTo>
                  <a:lnTo>
                    <a:pt x="2189029" y="2331661"/>
                  </a:lnTo>
                  <a:cubicBezTo>
                    <a:pt x="2189029" y="2331661"/>
                    <a:pt x="2189029" y="2331661"/>
                    <a:pt x="2215709" y="2337048"/>
                  </a:cubicBezTo>
                  <a:cubicBezTo>
                    <a:pt x="2215709" y="2337048"/>
                    <a:pt x="2215709" y="2337048"/>
                    <a:pt x="2223332" y="2285079"/>
                  </a:cubicBezTo>
                  <a:cubicBezTo>
                    <a:pt x="2223332" y="2285079"/>
                    <a:pt x="2223332" y="2285079"/>
                    <a:pt x="2198240" y="2281910"/>
                  </a:cubicBezTo>
                  <a:close/>
                  <a:moveTo>
                    <a:pt x="202006" y="2281276"/>
                  </a:moveTo>
                  <a:lnTo>
                    <a:pt x="202641" y="2282227"/>
                  </a:lnTo>
                  <a:cubicBezTo>
                    <a:pt x="202006" y="2282227"/>
                    <a:pt x="195336" y="2288565"/>
                    <a:pt x="186442" y="2297437"/>
                  </a:cubicBezTo>
                  <a:cubicBezTo>
                    <a:pt x="165162" y="2318669"/>
                    <a:pt x="129589" y="2355428"/>
                    <a:pt x="116566" y="2369054"/>
                  </a:cubicBezTo>
                  <a:cubicBezTo>
                    <a:pt x="116566" y="2369054"/>
                    <a:pt x="116566" y="2369054"/>
                    <a:pt x="195018" y="2477747"/>
                  </a:cubicBezTo>
                  <a:cubicBezTo>
                    <a:pt x="195018" y="2477747"/>
                    <a:pt x="195018" y="2477747"/>
                    <a:pt x="270611" y="2397574"/>
                  </a:cubicBezTo>
                  <a:cubicBezTo>
                    <a:pt x="270611" y="2397574"/>
                    <a:pt x="270611" y="2397574"/>
                    <a:pt x="270611" y="2397257"/>
                  </a:cubicBezTo>
                  <a:cubicBezTo>
                    <a:pt x="270611" y="2397257"/>
                    <a:pt x="270611" y="2397257"/>
                    <a:pt x="271564" y="2396624"/>
                  </a:cubicBezTo>
                  <a:cubicBezTo>
                    <a:pt x="271564" y="2396624"/>
                    <a:pt x="271564" y="2396624"/>
                    <a:pt x="272200" y="2395673"/>
                  </a:cubicBezTo>
                  <a:cubicBezTo>
                    <a:pt x="272200" y="2395673"/>
                    <a:pt x="272200" y="2395673"/>
                    <a:pt x="272200" y="2395990"/>
                  </a:cubicBezTo>
                  <a:cubicBezTo>
                    <a:pt x="272200" y="2395990"/>
                    <a:pt x="272200" y="2395990"/>
                    <a:pt x="281093" y="2387750"/>
                  </a:cubicBezTo>
                  <a:cubicBezTo>
                    <a:pt x="281093" y="2387750"/>
                    <a:pt x="281093" y="2387750"/>
                    <a:pt x="292527" y="2360181"/>
                  </a:cubicBezTo>
                  <a:cubicBezTo>
                    <a:pt x="279822" y="2349090"/>
                    <a:pt x="241391" y="2315500"/>
                    <a:pt x="202641" y="2281910"/>
                  </a:cubicBezTo>
                  <a:cubicBezTo>
                    <a:pt x="202641" y="2281593"/>
                    <a:pt x="202323" y="2281276"/>
                    <a:pt x="202006" y="2281276"/>
                  </a:cubicBezTo>
                  <a:close/>
                  <a:moveTo>
                    <a:pt x="2641636" y="2279692"/>
                  </a:moveTo>
                  <a:lnTo>
                    <a:pt x="2633060" y="2293001"/>
                  </a:lnTo>
                  <a:cubicBezTo>
                    <a:pt x="2633060" y="2293001"/>
                    <a:pt x="2633060" y="2293001"/>
                    <a:pt x="2666410" y="2314550"/>
                  </a:cubicBezTo>
                  <a:cubicBezTo>
                    <a:pt x="2666410" y="2314550"/>
                    <a:pt x="2666410" y="2314550"/>
                    <a:pt x="2674986" y="2301557"/>
                  </a:cubicBezTo>
                  <a:cubicBezTo>
                    <a:pt x="2674986" y="2301557"/>
                    <a:pt x="2674986" y="2301557"/>
                    <a:pt x="2641636" y="2279692"/>
                  </a:cubicBezTo>
                  <a:close/>
                  <a:moveTo>
                    <a:pt x="1753891" y="2279058"/>
                  </a:moveTo>
                  <a:lnTo>
                    <a:pt x="1751986" y="2294585"/>
                  </a:lnTo>
                  <a:cubicBezTo>
                    <a:pt x="1751986" y="2294585"/>
                    <a:pt x="1751986" y="2294585"/>
                    <a:pt x="1791688" y="2299339"/>
                  </a:cubicBezTo>
                  <a:cubicBezTo>
                    <a:pt x="1791688" y="2299339"/>
                    <a:pt x="1791688" y="2299339"/>
                    <a:pt x="1793594" y="2283811"/>
                  </a:cubicBezTo>
                  <a:cubicBezTo>
                    <a:pt x="1793594" y="2283811"/>
                    <a:pt x="1793594" y="2283811"/>
                    <a:pt x="1753891" y="2279058"/>
                  </a:cubicBezTo>
                  <a:close/>
                  <a:moveTo>
                    <a:pt x="706067" y="2278107"/>
                  </a:moveTo>
                  <a:cubicBezTo>
                    <a:pt x="706067" y="2278107"/>
                    <a:pt x="706067" y="2278107"/>
                    <a:pt x="595853" y="2398208"/>
                  </a:cubicBezTo>
                  <a:cubicBezTo>
                    <a:pt x="595853" y="2398208"/>
                    <a:pt x="595853" y="2398208"/>
                    <a:pt x="595853" y="2398525"/>
                  </a:cubicBezTo>
                  <a:cubicBezTo>
                    <a:pt x="595853" y="2398525"/>
                    <a:pt x="595853" y="2398525"/>
                    <a:pt x="595853" y="2399475"/>
                  </a:cubicBezTo>
                  <a:cubicBezTo>
                    <a:pt x="595853" y="2399475"/>
                    <a:pt x="592995" y="2423876"/>
                    <a:pt x="590136" y="2447959"/>
                  </a:cubicBezTo>
                  <a:cubicBezTo>
                    <a:pt x="588548" y="2460001"/>
                    <a:pt x="586960" y="2472360"/>
                    <a:pt x="585689" y="2481549"/>
                  </a:cubicBezTo>
                  <a:cubicBezTo>
                    <a:pt x="585054" y="2485986"/>
                    <a:pt x="584736" y="2489789"/>
                    <a:pt x="584101" y="2492323"/>
                  </a:cubicBezTo>
                  <a:cubicBezTo>
                    <a:pt x="584101" y="2493591"/>
                    <a:pt x="583784" y="2494225"/>
                    <a:pt x="583784" y="2494859"/>
                  </a:cubicBezTo>
                  <a:cubicBezTo>
                    <a:pt x="586325" y="2496126"/>
                    <a:pt x="591724" y="2498344"/>
                    <a:pt x="596806" y="2500563"/>
                  </a:cubicBezTo>
                  <a:cubicBezTo>
                    <a:pt x="601888" y="2502781"/>
                    <a:pt x="606970" y="2504999"/>
                    <a:pt x="609193" y="2505950"/>
                  </a:cubicBezTo>
                  <a:cubicBezTo>
                    <a:pt x="617769" y="2501513"/>
                    <a:pt x="638732" y="2490422"/>
                    <a:pt x="659059" y="2479965"/>
                  </a:cubicBezTo>
                  <a:cubicBezTo>
                    <a:pt x="681610" y="2468240"/>
                    <a:pt x="703844" y="2456832"/>
                    <a:pt x="707973" y="2454297"/>
                  </a:cubicBezTo>
                  <a:cubicBezTo>
                    <a:pt x="710196" y="2448910"/>
                    <a:pt x="721948" y="2416270"/>
                    <a:pt x="734017" y="2383631"/>
                  </a:cubicBezTo>
                  <a:cubicBezTo>
                    <a:pt x="740370" y="2365568"/>
                    <a:pt x="747357" y="2347506"/>
                    <a:pt x="752439" y="2334197"/>
                  </a:cubicBezTo>
                  <a:cubicBezTo>
                    <a:pt x="754980" y="2327225"/>
                    <a:pt x="757204" y="2321521"/>
                    <a:pt x="759109" y="2317401"/>
                  </a:cubicBezTo>
                  <a:cubicBezTo>
                    <a:pt x="759109" y="2317084"/>
                    <a:pt x="759427" y="2316768"/>
                    <a:pt x="759427" y="2316451"/>
                  </a:cubicBezTo>
                  <a:cubicBezTo>
                    <a:pt x="745452" y="2306627"/>
                    <a:pt x="726077" y="2292367"/>
                    <a:pt x="706067" y="2278107"/>
                  </a:cubicBezTo>
                  <a:close/>
                  <a:moveTo>
                    <a:pt x="2259540" y="2276840"/>
                  </a:moveTo>
                  <a:cubicBezTo>
                    <a:pt x="2259540" y="2276840"/>
                    <a:pt x="2259540" y="2276840"/>
                    <a:pt x="2285903" y="2288565"/>
                  </a:cubicBezTo>
                  <a:cubicBezTo>
                    <a:pt x="2285903" y="2288565"/>
                    <a:pt x="2285903" y="2288565"/>
                    <a:pt x="2276374" y="2310430"/>
                  </a:cubicBezTo>
                  <a:cubicBezTo>
                    <a:pt x="2276374" y="2310430"/>
                    <a:pt x="2276374" y="2310430"/>
                    <a:pt x="2274468" y="2309479"/>
                  </a:cubicBezTo>
                  <a:cubicBezTo>
                    <a:pt x="2274468" y="2309479"/>
                    <a:pt x="2274468" y="2309479"/>
                    <a:pt x="2249694" y="2298705"/>
                  </a:cubicBezTo>
                  <a:close/>
                  <a:moveTo>
                    <a:pt x="2152820" y="2275889"/>
                  </a:moveTo>
                  <a:cubicBezTo>
                    <a:pt x="2152820" y="2275889"/>
                    <a:pt x="2152820" y="2275889"/>
                    <a:pt x="2144245" y="2322472"/>
                  </a:cubicBezTo>
                  <a:lnTo>
                    <a:pt x="2184900" y="2330711"/>
                  </a:lnTo>
                  <a:cubicBezTo>
                    <a:pt x="2184900" y="2330711"/>
                    <a:pt x="2184900" y="2330711"/>
                    <a:pt x="2193793" y="2281276"/>
                  </a:cubicBezTo>
                  <a:cubicBezTo>
                    <a:pt x="2193793" y="2281276"/>
                    <a:pt x="2193793" y="2281276"/>
                    <a:pt x="2152820" y="2275889"/>
                  </a:cubicBezTo>
                  <a:close/>
                  <a:moveTo>
                    <a:pt x="1750398" y="2274305"/>
                  </a:moveTo>
                  <a:cubicBezTo>
                    <a:pt x="1750398" y="2274305"/>
                    <a:pt x="1750398" y="2274305"/>
                    <a:pt x="1798040" y="2280009"/>
                  </a:cubicBezTo>
                  <a:cubicBezTo>
                    <a:pt x="1798040" y="2280009"/>
                    <a:pt x="1798040" y="2280009"/>
                    <a:pt x="1795182" y="2304092"/>
                  </a:cubicBezTo>
                  <a:cubicBezTo>
                    <a:pt x="1795182" y="2304092"/>
                    <a:pt x="1795182" y="2304092"/>
                    <a:pt x="1793276" y="2303775"/>
                  </a:cubicBezTo>
                  <a:cubicBezTo>
                    <a:pt x="1793276" y="2303775"/>
                    <a:pt x="1793276" y="2303775"/>
                    <a:pt x="1747539" y="2298071"/>
                  </a:cubicBezTo>
                  <a:close/>
                  <a:moveTo>
                    <a:pt x="2640366" y="2273988"/>
                  </a:moveTo>
                  <a:cubicBezTo>
                    <a:pt x="2640366" y="2273988"/>
                    <a:pt x="2640366" y="2273988"/>
                    <a:pt x="2642271" y="2275255"/>
                  </a:cubicBezTo>
                  <a:cubicBezTo>
                    <a:pt x="2642271" y="2275255"/>
                    <a:pt x="2642271" y="2275255"/>
                    <a:pt x="2680703" y="2300290"/>
                  </a:cubicBezTo>
                  <a:cubicBezTo>
                    <a:pt x="2680703" y="2300290"/>
                    <a:pt x="2680703" y="2300290"/>
                    <a:pt x="2667363" y="2320570"/>
                  </a:cubicBezTo>
                  <a:lnTo>
                    <a:pt x="2627343" y="2294269"/>
                  </a:lnTo>
                  <a:cubicBezTo>
                    <a:pt x="2627343" y="2294269"/>
                    <a:pt x="2627343" y="2294269"/>
                    <a:pt x="2640366" y="2273988"/>
                  </a:cubicBezTo>
                  <a:close/>
                  <a:moveTo>
                    <a:pt x="3173330" y="2273354"/>
                  </a:moveTo>
                  <a:lnTo>
                    <a:pt x="3070421" y="2301557"/>
                  </a:lnTo>
                  <a:cubicBezTo>
                    <a:pt x="3070421" y="2301557"/>
                    <a:pt x="3070421" y="2301557"/>
                    <a:pt x="3074233" y="2314550"/>
                  </a:cubicBezTo>
                  <a:cubicBezTo>
                    <a:pt x="3074233" y="2314550"/>
                    <a:pt x="3074233" y="2314550"/>
                    <a:pt x="2978947" y="2340534"/>
                  </a:cubicBezTo>
                  <a:cubicBezTo>
                    <a:pt x="2978947" y="2340534"/>
                    <a:pt x="2978947" y="2340534"/>
                    <a:pt x="2997369" y="2407081"/>
                  </a:cubicBezTo>
                  <a:cubicBezTo>
                    <a:pt x="2997369" y="2407081"/>
                    <a:pt x="2997369" y="2407081"/>
                    <a:pt x="3021190" y="2402010"/>
                  </a:cubicBezTo>
                  <a:cubicBezTo>
                    <a:pt x="3021190" y="2402010"/>
                    <a:pt x="3021190" y="2402010"/>
                    <a:pt x="3043106" y="2475212"/>
                  </a:cubicBezTo>
                  <a:cubicBezTo>
                    <a:pt x="3043106" y="2475212"/>
                    <a:pt x="3043106" y="2475212"/>
                    <a:pt x="3020873" y="2482500"/>
                  </a:cubicBezTo>
                  <a:cubicBezTo>
                    <a:pt x="3020873" y="2482500"/>
                    <a:pt x="3020873" y="2482500"/>
                    <a:pt x="3034530" y="2531301"/>
                  </a:cubicBezTo>
                  <a:cubicBezTo>
                    <a:pt x="3034530" y="2531301"/>
                    <a:pt x="3034530" y="2531301"/>
                    <a:pt x="3248288" y="2476162"/>
                  </a:cubicBezTo>
                  <a:cubicBezTo>
                    <a:pt x="3248288" y="2476162"/>
                    <a:pt x="3248288" y="2476162"/>
                    <a:pt x="3221290" y="2379828"/>
                  </a:cubicBezTo>
                  <a:cubicBezTo>
                    <a:pt x="3221290" y="2379828"/>
                    <a:pt x="3221290" y="2379828"/>
                    <a:pt x="3267027" y="2366836"/>
                  </a:cubicBezTo>
                  <a:cubicBezTo>
                    <a:pt x="3267027" y="2366836"/>
                    <a:pt x="3267027" y="2366836"/>
                    <a:pt x="3240347" y="2273671"/>
                  </a:cubicBezTo>
                  <a:cubicBezTo>
                    <a:pt x="3240347" y="2273671"/>
                    <a:pt x="3240347" y="2273671"/>
                    <a:pt x="3178412" y="2290466"/>
                  </a:cubicBezTo>
                  <a:cubicBezTo>
                    <a:pt x="3178412" y="2290466"/>
                    <a:pt x="3178412" y="2290466"/>
                    <a:pt x="3173330" y="2273354"/>
                  </a:cubicBezTo>
                  <a:close/>
                  <a:moveTo>
                    <a:pt x="112120" y="2272720"/>
                  </a:moveTo>
                  <a:cubicBezTo>
                    <a:pt x="112120" y="2272720"/>
                    <a:pt x="112120" y="2272720"/>
                    <a:pt x="96239" y="2283177"/>
                  </a:cubicBezTo>
                  <a:cubicBezTo>
                    <a:pt x="96239" y="2283177"/>
                    <a:pt x="96239" y="2283177"/>
                    <a:pt x="104179" y="2295536"/>
                  </a:cubicBezTo>
                  <a:cubicBezTo>
                    <a:pt x="104179" y="2295536"/>
                    <a:pt x="104179" y="2295536"/>
                    <a:pt x="89251" y="2305677"/>
                  </a:cubicBezTo>
                  <a:lnTo>
                    <a:pt x="101321" y="2324373"/>
                  </a:lnTo>
                  <a:cubicBezTo>
                    <a:pt x="101321" y="2324373"/>
                    <a:pt x="101321" y="2324373"/>
                    <a:pt x="116566" y="2314232"/>
                  </a:cubicBezTo>
                  <a:cubicBezTo>
                    <a:pt x="116566" y="2314232"/>
                    <a:pt x="116566" y="2314232"/>
                    <a:pt x="124824" y="2326591"/>
                  </a:cubicBezTo>
                  <a:cubicBezTo>
                    <a:pt x="124824" y="2326591"/>
                    <a:pt x="124824" y="2326591"/>
                    <a:pt x="140705" y="2316134"/>
                  </a:cubicBezTo>
                  <a:cubicBezTo>
                    <a:pt x="140705" y="2316134"/>
                    <a:pt x="140705" y="2316134"/>
                    <a:pt x="112120" y="2272720"/>
                  </a:cubicBezTo>
                  <a:close/>
                  <a:moveTo>
                    <a:pt x="1187577" y="2271136"/>
                  </a:moveTo>
                  <a:cubicBezTo>
                    <a:pt x="1187577" y="2271136"/>
                    <a:pt x="1187577" y="2271136"/>
                    <a:pt x="1181225" y="2291417"/>
                  </a:cubicBezTo>
                  <a:cubicBezTo>
                    <a:pt x="1181225" y="2291417"/>
                    <a:pt x="1181225" y="2291417"/>
                    <a:pt x="1187577" y="2294269"/>
                  </a:cubicBezTo>
                  <a:cubicBezTo>
                    <a:pt x="1187577" y="2294269"/>
                    <a:pt x="1187577" y="2294269"/>
                    <a:pt x="1207905" y="2275572"/>
                  </a:cubicBezTo>
                  <a:close/>
                  <a:moveTo>
                    <a:pt x="918554" y="2270819"/>
                  </a:moveTo>
                  <a:lnTo>
                    <a:pt x="909978" y="2273354"/>
                  </a:lnTo>
                  <a:cubicBezTo>
                    <a:pt x="909978" y="2273354"/>
                    <a:pt x="909978" y="2273354"/>
                    <a:pt x="912837" y="2340851"/>
                  </a:cubicBezTo>
                  <a:cubicBezTo>
                    <a:pt x="912837" y="2340851"/>
                    <a:pt x="912837" y="2340851"/>
                    <a:pt x="945234" y="2332929"/>
                  </a:cubicBezTo>
                  <a:cubicBezTo>
                    <a:pt x="945234" y="2332929"/>
                    <a:pt x="945234" y="2332929"/>
                    <a:pt x="918554" y="2270819"/>
                  </a:cubicBezTo>
                  <a:close/>
                  <a:moveTo>
                    <a:pt x="431962" y="2270819"/>
                  </a:moveTo>
                  <a:cubicBezTo>
                    <a:pt x="429421" y="2271453"/>
                    <a:pt x="407505" y="2276523"/>
                    <a:pt x="385590" y="2281276"/>
                  </a:cubicBezTo>
                  <a:cubicBezTo>
                    <a:pt x="373838" y="2284128"/>
                    <a:pt x="362403" y="2286663"/>
                    <a:pt x="353510" y="2288881"/>
                  </a:cubicBezTo>
                  <a:cubicBezTo>
                    <a:pt x="349063" y="2289832"/>
                    <a:pt x="345570" y="2290466"/>
                    <a:pt x="343029" y="2291100"/>
                  </a:cubicBezTo>
                  <a:cubicBezTo>
                    <a:pt x="343029" y="2291100"/>
                    <a:pt x="343029" y="2291100"/>
                    <a:pt x="338582" y="2302825"/>
                  </a:cubicBezTo>
                  <a:cubicBezTo>
                    <a:pt x="338582" y="2302825"/>
                    <a:pt x="338582" y="2302825"/>
                    <a:pt x="338264" y="2302508"/>
                  </a:cubicBezTo>
                  <a:cubicBezTo>
                    <a:pt x="338264" y="2302508"/>
                    <a:pt x="338264" y="2302508"/>
                    <a:pt x="332865" y="2316451"/>
                  </a:cubicBezTo>
                  <a:cubicBezTo>
                    <a:pt x="332865" y="2316451"/>
                    <a:pt x="332865" y="2316451"/>
                    <a:pt x="394800" y="2371906"/>
                  </a:cubicBezTo>
                  <a:cubicBezTo>
                    <a:pt x="394800" y="2371906"/>
                    <a:pt x="394800" y="2371906"/>
                    <a:pt x="428150" y="2331661"/>
                  </a:cubicBezTo>
                  <a:cubicBezTo>
                    <a:pt x="428150" y="2331661"/>
                    <a:pt x="428150" y="2331661"/>
                    <a:pt x="438949" y="2280643"/>
                  </a:cubicBezTo>
                  <a:cubicBezTo>
                    <a:pt x="438949" y="2280643"/>
                    <a:pt x="438949" y="2280643"/>
                    <a:pt x="432597" y="2270819"/>
                  </a:cubicBezTo>
                  <a:cubicBezTo>
                    <a:pt x="432597" y="2270819"/>
                    <a:pt x="432597" y="2270819"/>
                    <a:pt x="431962" y="2270819"/>
                  </a:cubicBezTo>
                  <a:close/>
                  <a:moveTo>
                    <a:pt x="1835202" y="2270502"/>
                  </a:moveTo>
                  <a:cubicBezTo>
                    <a:pt x="1835202" y="2270502"/>
                    <a:pt x="1835202" y="2270502"/>
                    <a:pt x="1824085" y="2334197"/>
                  </a:cubicBezTo>
                  <a:cubicBezTo>
                    <a:pt x="1824085" y="2334197"/>
                    <a:pt x="1824085" y="2334197"/>
                    <a:pt x="1891103" y="2372857"/>
                  </a:cubicBezTo>
                  <a:cubicBezTo>
                    <a:pt x="1891103" y="2372857"/>
                    <a:pt x="1891103" y="2372857"/>
                    <a:pt x="1906031" y="2357963"/>
                  </a:cubicBezTo>
                  <a:cubicBezTo>
                    <a:pt x="1906031" y="2357963"/>
                    <a:pt x="1906031" y="2357963"/>
                    <a:pt x="1907619" y="2359231"/>
                  </a:cubicBezTo>
                  <a:cubicBezTo>
                    <a:pt x="1907619" y="2359231"/>
                    <a:pt x="1923182" y="2372223"/>
                    <a:pt x="1938428" y="2384898"/>
                  </a:cubicBezTo>
                  <a:cubicBezTo>
                    <a:pt x="1946368" y="2391553"/>
                    <a:pt x="1953991" y="2397891"/>
                    <a:pt x="1959708" y="2402644"/>
                  </a:cubicBezTo>
                  <a:cubicBezTo>
                    <a:pt x="1962567" y="2405179"/>
                    <a:pt x="1965108" y="2407081"/>
                    <a:pt x="1966696" y="2408665"/>
                  </a:cubicBezTo>
                  <a:cubicBezTo>
                    <a:pt x="1967649" y="2409299"/>
                    <a:pt x="1968284" y="2409933"/>
                    <a:pt x="1968602" y="2410566"/>
                  </a:cubicBezTo>
                  <a:cubicBezTo>
                    <a:pt x="1968919" y="2410566"/>
                    <a:pt x="1969237" y="2410884"/>
                    <a:pt x="1969237" y="2410884"/>
                  </a:cubicBezTo>
                  <a:cubicBezTo>
                    <a:pt x="1969237" y="2411200"/>
                    <a:pt x="1969554" y="2411200"/>
                    <a:pt x="1969554" y="2411200"/>
                  </a:cubicBezTo>
                  <a:cubicBezTo>
                    <a:pt x="1969554" y="2411200"/>
                    <a:pt x="1969554" y="2411200"/>
                    <a:pt x="1983530" y="2395356"/>
                  </a:cubicBezTo>
                  <a:lnTo>
                    <a:pt x="1982259" y="2394405"/>
                  </a:lnTo>
                  <a:cubicBezTo>
                    <a:pt x="1982259" y="2394405"/>
                    <a:pt x="1982259" y="2394405"/>
                    <a:pt x="1982259" y="2393138"/>
                  </a:cubicBezTo>
                  <a:cubicBezTo>
                    <a:pt x="1982259" y="2393138"/>
                    <a:pt x="1984482" y="2374758"/>
                    <a:pt x="1986706" y="2356062"/>
                  </a:cubicBezTo>
                  <a:cubicBezTo>
                    <a:pt x="1987976" y="2346872"/>
                    <a:pt x="1989247" y="2337682"/>
                    <a:pt x="1990200" y="2330394"/>
                  </a:cubicBezTo>
                  <a:cubicBezTo>
                    <a:pt x="1990517" y="2326908"/>
                    <a:pt x="1991152" y="2323739"/>
                    <a:pt x="1991470" y="2321521"/>
                  </a:cubicBezTo>
                  <a:cubicBezTo>
                    <a:pt x="1991470" y="2320570"/>
                    <a:pt x="1991470" y="2320253"/>
                    <a:pt x="1991788" y="2319620"/>
                  </a:cubicBezTo>
                  <a:cubicBezTo>
                    <a:pt x="1983212" y="2317084"/>
                    <a:pt x="1947956" y="2306310"/>
                    <a:pt x="1913018" y="2295219"/>
                  </a:cubicBezTo>
                  <a:cubicBezTo>
                    <a:pt x="1892691" y="2288881"/>
                    <a:pt x="1872681" y="2282544"/>
                    <a:pt x="1857435" y="2277790"/>
                  </a:cubicBezTo>
                  <a:cubicBezTo>
                    <a:pt x="1849812" y="2275255"/>
                    <a:pt x="1843460" y="2273354"/>
                    <a:pt x="1839013" y="2271770"/>
                  </a:cubicBezTo>
                  <a:cubicBezTo>
                    <a:pt x="1837743" y="2271453"/>
                    <a:pt x="1836472" y="2271136"/>
                    <a:pt x="1835202" y="2270502"/>
                  </a:cubicBezTo>
                  <a:close/>
                  <a:moveTo>
                    <a:pt x="487545" y="2269552"/>
                  </a:moveTo>
                  <a:cubicBezTo>
                    <a:pt x="487545" y="2269552"/>
                    <a:pt x="487545" y="2269552"/>
                    <a:pt x="449113" y="2270502"/>
                  </a:cubicBezTo>
                  <a:cubicBezTo>
                    <a:pt x="449113" y="2270502"/>
                    <a:pt x="449113" y="2270502"/>
                    <a:pt x="452289" y="2275255"/>
                  </a:cubicBezTo>
                  <a:cubicBezTo>
                    <a:pt x="452289" y="2275255"/>
                    <a:pt x="452289" y="2275255"/>
                    <a:pt x="451972" y="2275255"/>
                  </a:cubicBezTo>
                  <a:cubicBezTo>
                    <a:pt x="451972" y="2275255"/>
                    <a:pt x="451972" y="2275255"/>
                    <a:pt x="453878" y="2278107"/>
                  </a:cubicBezTo>
                  <a:lnTo>
                    <a:pt x="444031" y="2326274"/>
                  </a:lnTo>
                  <a:cubicBezTo>
                    <a:pt x="449113" y="2329443"/>
                    <a:pt x="458642" y="2335781"/>
                    <a:pt x="468170" y="2341802"/>
                  </a:cubicBezTo>
                  <a:cubicBezTo>
                    <a:pt x="475476" y="2346238"/>
                    <a:pt x="482781" y="2350991"/>
                    <a:pt x="488498" y="2354160"/>
                  </a:cubicBezTo>
                  <a:cubicBezTo>
                    <a:pt x="491039" y="2356062"/>
                    <a:pt x="493580" y="2357329"/>
                    <a:pt x="495168" y="2358280"/>
                  </a:cubicBezTo>
                  <a:cubicBezTo>
                    <a:pt x="495803" y="2358597"/>
                    <a:pt x="496121" y="2358914"/>
                    <a:pt x="496756" y="2358914"/>
                  </a:cubicBezTo>
                  <a:cubicBezTo>
                    <a:pt x="496756" y="2358914"/>
                    <a:pt x="496756" y="2358914"/>
                    <a:pt x="519625" y="2326274"/>
                  </a:cubicBezTo>
                  <a:cubicBezTo>
                    <a:pt x="519625" y="2326274"/>
                    <a:pt x="519625" y="2326274"/>
                    <a:pt x="519625" y="2325957"/>
                  </a:cubicBezTo>
                  <a:cubicBezTo>
                    <a:pt x="519625" y="2325957"/>
                    <a:pt x="519625" y="2325957"/>
                    <a:pt x="518989" y="2325640"/>
                  </a:cubicBezTo>
                  <a:cubicBezTo>
                    <a:pt x="520578" y="2324056"/>
                    <a:pt x="527565" y="2314550"/>
                    <a:pt x="535823" y="2302825"/>
                  </a:cubicBezTo>
                  <a:cubicBezTo>
                    <a:pt x="535823" y="2302825"/>
                    <a:pt x="535823" y="2302825"/>
                    <a:pt x="535823" y="2303141"/>
                  </a:cubicBezTo>
                  <a:cubicBezTo>
                    <a:pt x="535823" y="2303141"/>
                    <a:pt x="535823" y="2303141"/>
                    <a:pt x="540905" y="2295853"/>
                  </a:cubicBezTo>
                  <a:cubicBezTo>
                    <a:pt x="542176" y="2294269"/>
                    <a:pt x="543128" y="2292684"/>
                    <a:pt x="544081" y="2291100"/>
                  </a:cubicBezTo>
                  <a:cubicBezTo>
                    <a:pt x="522801" y="2282861"/>
                    <a:pt x="491674" y="2271136"/>
                    <a:pt x="487545" y="2269552"/>
                  </a:cubicBezTo>
                  <a:close/>
                  <a:moveTo>
                    <a:pt x="3176506" y="2267650"/>
                  </a:moveTo>
                  <a:cubicBezTo>
                    <a:pt x="3176506" y="2267650"/>
                    <a:pt x="3176506" y="2267650"/>
                    <a:pt x="3181588" y="2284762"/>
                  </a:cubicBezTo>
                  <a:cubicBezTo>
                    <a:pt x="3181588" y="2284762"/>
                    <a:pt x="3181588" y="2284762"/>
                    <a:pt x="3243524" y="2267967"/>
                  </a:cubicBezTo>
                  <a:cubicBezTo>
                    <a:pt x="3243524" y="2267967"/>
                    <a:pt x="3243524" y="2267967"/>
                    <a:pt x="3273062" y="2370005"/>
                  </a:cubicBezTo>
                  <a:cubicBezTo>
                    <a:pt x="3273062" y="2370005"/>
                    <a:pt x="3273062" y="2370005"/>
                    <a:pt x="3227325" y="2382997"/>
                  </a:cubicBezTo>
                  <a:cubicBezTo>
                    <a:pt x="3227325" y="2382997"/>
                    <a:pt x="3227325" y="2382997"/>
                    <a:pt x="3254005" y="2479331"/>
                  </a:cubicBezTo>
                  <a:cubicBezTo>
                    <a:pt x="3254005" y="2479331"/>
                    <a:pt x="3254005" y="2479331"/>
                    <a:pt x="3031354" y="2537005"/>
                  </a:cubicBezTo>
                  <a:cubicBezTo>
                    <a:pt x="3031354" y="2537005"/>
                    <a:pt x="3031354" y="2537005"/>
                    <a:pt x="3015156" y="2479331"/>
                  </a:cubicBezTo>
                  <a:cubicBezTo>
                    <a:pt x="3015156" y="2479331"/>
                    <a:pt x="3015156" y="2479331"/>
                    <a:pt x="3037389" y="2472360"/>
                  </a:cubicBezTo>
                  <a:cubicBezTo>
                    <a:pt x="3037389" y="2472360"/>
                    <a:pt x="3037389" y="2472360"/>
                    <a:pt x="3018014" y="2407398"/>
                  </a:cubicBezTo>
                  <a:cubicBezTo>
                    <a:pt x="3018014" y="2407398"/>
                    <a:pt x="3018014" y="2407398"/>
                    <a:pt x="2993875" y="2412785"/>
                  </a:cubicBezTo>
                  <a:cubicBezTo>
                    <a:pt x="2993875" y="2412785"/>
                    <a:pt x="2993875" y="2412785"/>
                    <a:pt x="2973230" y="2337365"/>
                  </a:cubicBezTo>
                  <a:cubicBezTo>
                    <a:pt x="2973230" y="2337365"/>
                    <a:pt x="2973230" y="2337365"/>
                    <a:pt x="2975453" y="2336732"/>
                  </a:cubicBezTo>
                  <a:cubicBezTo>
                    <a:pt x="2975453" y="2336732"/>
                    <a:pt x="2975453" y="2336732"/>
                    <a:pt x="3068516" y="2311380"/>
                  </a:cubicBezTo>
                  <a:lnTo>
                    <a:pt x="3064704" y="2298071"/>
                  </a:lnTo>
                  <a:cubicBezTo>
                    <a:pt x="3064704" y="2298071"/>
                    <a:pt x="3064704" y="2298071"/>
                    <a:pt x="3176506" y="2267650"/>
                  </a:cubicBezTo>
                  <a:close/>
                  <a:moveTo>
                    <a:pt x="2246836" y="2267016"/>
                  </a:moveTo>
                  <a:lnTo>
                    <a:pt x="2236354" y="2338950"/>
                  </a:lnTo>
                  <a:cubicBezTo>
                    <a:pt x="2236354" y="2338950"/>
                    <a:pt x="2236354" y="2338950"/>
                    <a:pt x="2297655" y="2325007"/>
                  </a:cubicBezTo>
                  <a:cubicBezTo>
                    <a:pt x="2295431" y="2318035"/>
                    <a:pt x="2292573" y="2292050"/>
                    <a:pt x="2290350" y="2273354"/>
                  </a:cubicBezTo>
                  <a:cubicBezTo>
                    <a:pt x="2290350" y="2273354"/>
                    <a:pt x="2290350" y="2273354"/>
                    <a:pt x="2246836" y="2267016"/>
                  </a:cubicBezTo>
                  <a:close/>
                  <a:moveTo>
                    <a:pt x="113073" y="2267016"/>
                  </a:moveTo>
                  <a:cubicBezTo>
                    <a:pt x="113073" y="2267016"/>
                    <a:pt x="113073" y="2267016"/>
                    <a:pt x="146740" y="2317401"/>
                  </a:cubicBezTo>
                  <a:cubicBezTo>
                    <a:pt x="146740" y="2317401"/>
                    <a:pt x="146740" y="2317401"/>
                    <a:pt x="144834" y="2318352"/>
                  </a:cubicBezTo>
                  <a:cubicBezTo>
                    <a:pt x="144834" y="2318352"/>
                    <a:pt x="144834" y="2318352"/>
                    <a:pt x="123872" y="2332295"/>
                  </a:cubicBezTo>
                  <a:lnTo>
                    <a:pt x="115614" y="2319937"/>
                  </a:lnTo>
                  <a:cubicBezTo>
                    <a:pt x="115614" y="2319937"/>
                    <a:pt x="115614" y="2319937"/>
                    <a:pt x="100368" y="2330077"/>
                  </a:cubicBezTo>
                  <a:cubicBezTo>
                    <a:pt x="100368" y="2330077"/>
                    <a:pt x="100368" y="2330077"/>
                    <a:pt x="83216" y="2304409"/>
                  </a:cubicBezTo>
                  <a:cubicBezTo>
                    <a:pt x="83216" y="2304409"/>
                    <a:pt x="83216" y="2304409"/>
                    <a:pt x="98462" y="2294585"/>
                  </a:cubicBezTo>
                  <a:cubicBezTo>
                    <a:pt x="98462" y="2294585"/>
                    <a:pt x="98462" y="2294585"/>
                    <a:pt x="90204" y="2281910"/>
                  </a:cubicBezTo>
                  <a:cubicBezTo>
                    <a:pt x="90204" y="2281910"/>
                    <a:pt x="90204" y="2281910"/>
                    <a:pt x="113073" y="2267016"/>
                  </a:cubicBezTo>
                  <a:close/>
                  <a:moveTo>
                    <a:pt x="1184401" y="2265749"/>
                  </a:moveTo>
                  <a:cubicBezTo>
                    <a:pt x="1184401" y="2265749"/>
                    <a:pt x="1184401" y="2265749"/>
                    <a:pt x="1217751" y="2272720"/>
                  </a:cubicBezTo>
                  <a:cubicBezTo>
                    <a:pt x="1217751" y="2272720"/>
                    <a:pt x="1217751" y="2272720"/>
                    <a:pt x="1214257" y="2275889"/>
                  </a:cubicBezTo>
                  <a:cubicBezTo>
                    <a:pt x="1214257" y="2275889"/>
                    <a:pt x="1214257" y="2275889"/>
                    <a:pt x="1188847" y="2299656"/>
                  </a:cubicBezTo>
                  <a:cubicBezTo>
                    <a:pt x="1188847" y="2299656"/>
                    <a:pt x="1188847" y="2299656"/>
                    <a:pt x="1175507" y="2294269"/>
                  </a:cubicBezTo>
                  <a:close/>
                  <a:moveTo>
                    <a:pt x="921095" y="2265432"/>
                  </a:moveTo>
                  <a:cubicBezTo>
                    <a:pt x="921095" y="2265432"/>
                    <a:pt x="921095" y="2265432"/>
                    <a:pt x="922048" y="2267333"/>
                  </a:cubicBezTo>
                  <a:cubicBezTo>
                    <a:pt x="922048" y="2267333"/>
                    <a:pt x="922048" y="2267333"/>
                    <a:pt x="951586" y="2336098"/>
                  </a:cubicBezTo>
                  <a:lnTo>
                    <a:pt x="908390" y="2346872"/>
                  </a:lnTo>
                  <a:cubicBezTo>
                    <a:pt x="908390" y="2346872"/>
                    <a:pt x="908390" y="2346872"/>
                    <a:pt x="904896" y="2269868"/>
                  </a:cubicBezTo>
                  <a:cubicBezTo>
                    <a:pt x="904896" y="2269868"/>
                    <a:pt x="904896" y="2269868"/>
                    <a:pt x="921095" y="2265432"/>
                  </a:cubicBezTo>
                  <a:close/>
                  <a:moveTo>
                    <a:pt x="1454377" y="2262263"/>
                  </a:moveTo>
                  <a:lnTo>
                    <a:pt x="1448977" y="2290783"/>
                  </a:lnTo>
                  <a:cubicBezTo>
                    <a:pt x="1448977" y="2290783"/>
                    <a:pt x="1448977" y="2290783"/>
                    <a:pt x="1489950" y="2297437"/>
                  </a:cubicBezTo>
                  <a:cubicBezTo>
                    <a:pt x="1489950" y="2297437"/>
                    <a:pt x="1489950" y="2297437"/>
                    <a:pt x="1495032" y="2270502"/>
                  </a:cubicBezTo>
                  <a:cubicBezTo>
                    <a:pt x="1495032" y="2270502"/>
                    <a:pt x="1495032" y="2270502"/>
                    <a:pt x="1454377" y="2262263"/>
                  </a:cubicBezTo>
                  <a:close/>
                  <a:moveTo>
                    <a:pt x="1439449" y="2259411"/>
                  </a:moveTo>
                  <a:cubicBezTo>
                    <a:pt x="1435320" y="2276523"/>
                    <a:pt x="1430873" y="2292050"/>
                    <a:pt x="1425791" y="2306310"/>
                  </a:cubicBezTo>
                  <a:cubicBezTo>
                    <a:pt x="1416263" y="2333563"/>
                    <a:pt x="1405464" y="2354160"/>
                    <a:pt x="1392441" y="2366519"/>
                  </a:cubicBezTo>
                  <a:cubicBezTo>
                    <a:pt x="1389900" y="2369054"/>
                    <a:pt x="1386724" y="2371589"/>
                    <a:pt x="1383230" y="2374124"/>
                  </a:cubicBezTo>
                  <a:lnTo>
                    <a:pt x="1400064" y="2451128"/>
                  </a:lnTo>
                  <a:cubicBezTo>
                    <a:pt x="1400064" y="2451128"/>
                    <a:pt x="1400064" y="2451128"/>
                    <a:pt x="1509960" y="2382046"/>
                  </a:cubicBezTo>
                  <a:cubicBezTo>
                    <a:pt x="1509960" y="2382046"/>
                    <a:pt x="1509960" y="2382046"/>
                    <a:pt x="1554744" y="2398525"/>
                  </a:cubicBezTo>
                  <a:cubicBezTo>
                    <a:pt x="1554744" y="2398525"/>
                    <a:pt x="1554744" y="2398525"/>
                    <a:pt x="1639866" y="2345604"/>
                  </a:cubicBezTo>
                  <a:cubicBezTo>
                    <a:pt x="1639866" y="2345604"/>
                    <a:pt x="1639866" y="2345604"/>
                    <a:pt x="1617633" y="2299022"/>
                  </a:cubicBezTo>
                  <a:cubicBezTo>
                    <a:pt x="1617633" y="2299022"/>
                    <a:pt x="1617633" y="2299022"/>
                    <a:pt x="1617315" y="2298705"/>
                  </a:cubicBezTo>
                  <a:lnTo>
                    <a:pt x="1617315" y="2294903"/>
                  </a:lnTo>
                  <a:cubicBezTo>
                    <a:pt x="1617315" y="2294903"/>
                    <a:pt x="1617315" y="2294903"/>
                    <a:pt x="1498843" y="2271453"/>
                  </a:cubicBezTo>
                  <a:cubicBezTo>
                    <a:pt x="1498843" y="2271453"/>
                    <a:pt x="1498843" y="2271453"/>
                    <a:pt x="1493126" y="2302508"/>
                  </a:cubicBezTo>
                  <a:cubicBezTo>
                    <a:pt x="1493126" y="2302508"/>
                    <a:pt x="1493126" y="2302508"/>
                    <a:pt x="1444213" y="2294269"/>
                  </a:cubicBezTo>
                  <a:cubicBezTo>
                    <a:pt x="1444213" y="2294269"/>
                    <a:pt x="1444213" y="2294269"/>
                    <a:pt x="1450248" y="2261629"/>
                  </a:cubicBezTo>
                  <a:cubicBezTo>
                    <a:pt x="1450248" y="2261629"/>
                    <a:pt x="1450248" y="2261629"/>
                    <a:pt x="1439449" y="2259411"/>
                  </a:cubicBezTo>
                  <a:close/>
                  <a:moveTo>
                    <a:pt x="652389" y="2254658"/>
                  </a:moveTo>
                  <a:cubicBezTo>
                    <a:pt x="652389" y="2254658"/>
                    <a:pt x="652389" y="2254658"/>
                    <a:pt x="592359" y="2326908"/>
                  </a:cubicBezTo>
                  <a:cubicBezTo>
                    <a:pt x="592359" y="2326908"/>
                    <a:pt x="592359" y="2326908"/>
                    <a:pt x="582831" y="2321838"/>
                  </a:cubicBezTo>
                  <a:cubicBezTo>
                    <a:pt x="582831" y="2321838"/>
                    <a:pt x="582831" y="2321838"/>
                    <a:pt x="579972" y="2350358"/>
                  </a:cubicBezTo>
                  <a:lnTo>
                    <a:pt x="594583" y="2367153"/>
                  </a:lnTo>
                  <a:cubicBezTo>
                    <a:pt x="594583" y="2367153"/>
                    <a:pt x="594583" y="2367153"/>
                    <a:pt x="606970" y="2350041"/>
                  </a:cubicBezTo>
                  <a:cubicBezTo>
                    <a:pt x="606970" y="2350041"/>
                    <a:pt x="606970" y="2350041"/>
                    <a:pt x="605064" y="2337999"/>
                  </a:cubicBezTo>
                  <a:cubicBezTo>
                    <a:pt x="605064" y="2337999"/>
                    <a:pt x="605064" y="2337999"/>
                    <a:pt x="623486" y="2311064"/>
                  </a:cubicBezTo>
                  <a:cubicBezTo>
                    <a:pt x="623486" y="2311064"/>
                    <a:pt x="623486" y="2311064"/>
                    <a:pt x="636826" y="2319620"/>
                  </a:cubicBezTo>
                  <a:cubicBezTo>
                    <a:pt x="636826" y="2319620"/>
                    <a:pt x="636826" y="2319620"/>
                    <a:pt x="683198" y="2278424"/>
                  </a:cubicBezTo>
                  <a:cubicBezTo>
                    <a:pt x="683198" y="2278424"/>
                    <a:pt x="683198" y="2278424"/>
                    <a:pt x="652389" y="2254658"/>
                  </a:cubicBezTo>
                  <a:close/>
                  <a:moveTo>
                    <a:pt x="1355597" y="2252439"/>
                  </a:moveTo>
                  <a:cubicBezTo>
                    <a:pt x="1355597" y="2252439"/>
                    <a:pt x="1355597" y="2252439"/>
                    <a:pt x="1328917" y="2331344"/>
                  </a:cubicBezTo>
                  <a:cubicBezTo>
                    <a:pt x="1328917" y="2331344"/>
                    <a:pt x="1328917" y="2331344"/>
                    <a:pt x="1328282" y="2331978"/>
                  </a:cubicBezTo>
                  <a:cubicBezTo>
                    <a:pt x="1328282" y="2331978"/>
                    <a:pt x="1321295" y="2336732"/>
                    <a:pt x="1313989" y="2341485"/>
                  </a:cubicBezTo>
                  <a:cubicBezTo>
                    <a:pt x="1310496" y="2344020"/>
                    <a:pt x="1306684" y="2346238"/>
                    <a:pt x="1303826" y="2348139"/>
                  </a:cubicBezTo>
                  <a:cubicBezTo>
                    <a:pt x="1303190" y="2348773"/>
                    <a:pt x="1302555" y="2349090"/>
                    <a:pt x="1301920" y="2349407"/>
                  </a:cubicBezTo>
                  <a:cubicBezTo>
                    <a:pt x="1318118" y="2364618"/>
                    <a:pt x="1331458" y="2376977"/>
                    <a:pt x="1333682" y="2378878"/>
                  </a:cubicBezTo>
                  <a:cubicBezTo>
                    <a:pt x="1335587" y="2377927"/>
                    <a:pt x="1337811" y="2376659"/>
                    <a:pt x="1340352" y="2375392"/>
                  </a:cubicBezTo>
                  <a:cubicBezTo>
                    <a:pt x="1353692" y="2368737"/>
                    <a:pt x="1369573" y="2359547"/>
                    <a:pt x="1378466" y="2351308"/>
                  </a:cubicBezTo>
                  <a:cubicBezTo>
                    <a:pt x="1386406" y="2343703"/>
                    <a:pt x="1397205" y="2325007"/>
                    <a:pt x="1406416" y="2299339"/>
                  </a:cubicBezTo>
                  <a:cubicBezTo>
                    <a:pt x="1410863" y="2286663"/>
                    <a:pt x="1414992" y="2272403"/>
                    <a:pt x="1418486" y="2256876"/>
                  </a:cubicBezTo>
                  <a:cubicBezTo>
                    <a:pt x="1418486" y="2256876"/>
                    <a:pt x="1418486" y="2256876"/>
                    <a:pt x="1355597" y="2252439"/>
                  </a:cubicBezTo>
                  <a:close/>
                  <a:moveTo>
                    <a:pt x="651436" y="2248320"/>
                  </a:moveTo>
                  <a:cubicBezTo>
                    <a:pt x="651436" y="2248320"/>
                    <a:pt x="651436" y="2248320"/>
                    <a:pt x="690504" y="2278107"/>
                  </a:cubicBezTo>
                  <a:cubicBezTo>
                    <a:pt x="690504" y="2278107"/>
                    <a:pt x="690504" y="2278107"/>
                    <a:pt x="688598" y="2280009"/>
                  </a:cubicBezTo>
                  <a:cubicBezTo>
                    <a:pt x="688598" y="2280009"/>
                    <a:pt x="688598" y="2280009"/>
                    <a:pt x="637461" y="2325640"/>
                  </a:cubicBezTo>
                  <a:cubicBezTo>
                    <a:pt x="637461" y="2325640"/>
                    <a:pt x="637461" y="2325640"/>
                    <a:pt x="624756" y="2317401"/>
                  </a:cubicBezTo>
                  <a:cubicBezTo>
                    <a:pt x="624756" y="2317401"/>
                    <a:pt x="624756" y="2317401"/>
                    <a:pt x="609828" y="2339267"/>
                  </a:cubicBezTo>
                  <a:cubicBezTo>
                    <a:pt x="609828" y="2339267"/>
                    <a:pt x="609828" y="2339267"/>
                    <a:pt x="612052" y="2351308"/>
                  </a:cubicBezTo>
                  <a:lnTo>
                    <a:pt x="594900" y="2374441"/>
                  </a:lnTo>
                  <a:cubicBezTo>
                    <a:pt x="594900" y="2374441"/>
                    <a:pt x="594900" y="2374441"/>
                    <a:pt x="574890" y="2351942"/>
                  </a:cubicBezTo>
                  <a:cubicBezTo>
                    <a:pt x="574890" y="2351942"/>
                    <a:pt x="574890" y="2351942"/>
                    <a:pt x="579019" y="2314550"/>
                  </a:cubicBezTo>
                  <a:cubicBezTo>
                    <a:pt x="579019" y="2314550"/>
                    <a:pt x="579019" y="2314550"/>
                    <a:pt x="591089" y="2321204"/>
                  </a:cubicBezTo>
                  <a:cubicBezTo>
                    <a:pt x="591089" y="2321204"/>
                    <a:pt x="591089" y="2321204"/>
                    <a:pt x="651436" y="2248320"/>
                  </a:cubicBezTo>
                  <a:close/>
                  <a:moveTo>
                    <a:pt x="2337992" y="2247369"/>
                  </a:moveTo>
                  <a:cubicBezTo>
                    <a:pt x="2337992" y="2247369"/>
                    <a:pt x="2337992" y="2247369"/>
                    <a:pt x="2336722" y="2248954"/>
                  </a:cubicBezTo>
                  <a:cubicBezTo>
                    <a:pt x="2336722" y="2248954"/>
                    <a:pt x="2336722" y="2248954"/>
                    <a:pt x="2292890" y="2254658"/>
                  </a:cubicBezTo>
                  <a:cubicBezTo>
                    <a:pt x="2293526" y="2260045"/>
                    <a:pt x="2295114" y="2274621"/>
                    <a:pt x="2296702" y="2289198"/>
                  </a:cubicBezTo>
                  <a:cubicBezTo>
                    <a:pt x="2297655" y="2298071"/>
                    <a:pt x="2298925" y="2307261"/>
                    <a:pt x="2299878" y="2314232"/>
                  </a:cubicBezTo>
                  <a:cubicBezTo>
                    <a:pt x="2300513" y="2317401"/>
                    <a:pt x="2300831" y="2320253"/>
                    <a:pt x="2301466" y="2322155"/>
                  </a:cubicBezTo>
                  <a:cubicBezTo>
                    <a:pt x="2301466" y="2323105"/>
                    <a:pt x="2301784" y="2323739"/>
                    <a:pt x="2301784" y="2324056"/>
                  </a:cubicBezTo>
                  <a:cubicBezTo>
                    <a:pt x="2301784" y="2324056"/>
                    <a:pt x="2301784" y="2324056"/>
                    <a:pt x="2393893" y="2302825"/>
                  </a:cubicBezTo>
                  <a:cubicBezTo>
                    <a:pt x="2390082" y="2297754"/>
                    <a:pt x="2376742" y="2284445"/>
                    <a:pt x="2364037" y="2272086"/>
                  </a:cubicBezTo>
                  <a:cubicBezTo>
                    <a:pt x="2353238" y="2261629"/>
                    <a:pt x="2343074" y="2251806"/>
                    <a:pt x="2337992" y="2247369"/>
                  </a:cubicBezTo>
                  <a:close/>
                  <a:moveTo>
                    <a:pt x="3779982" y="2247052"/>
                  </a:moveTo>
                  <a:cubicBezTo>
                    <a:pt x="3777123" y="2251172"/>
                    <a:pt x="3774265" y="2255292"/>
                    <a:pt x="3771406" y="2259094"/>
                  </a:cubicBezTo>
                  <a:cubicBezTo>
                    <a:pt x="3758066" y="2275889"/>
                    <a:pt x="3740597" y="2289515"/>
                    <a:pt x="3718999" y="2293952"/>
                  </a:cubicBezTo>
                  <a:cubicBezTo>
                    <a:pt x="3715823" y="2294903"/>
                    <a:pt x="3713917" y="2294585"/>
                    <a:pt x="3710741" y="2294903"/>
                  </a:cubicBezTo>
                  <a:cubicBezTo>
                    <a:pt x="3707247" y="2295219"/>
                    <a:pt x="3702800" y="2295219"/>
                    <a:pt x="3698036" y="2295219"/>
                  </a:cubicBezTo>
                  <a:cubicBezTo>
                    <a:pt x="3666274" y="2295219"/>
                    <a:pt x="3606880" y="2292050"/>
                    <a:pt x="3606880" y="2292050"/>
                  </a:cubicBezTo>
                  <a:cubicBezTo>
                    <a:pt x="3606562" y="2292050"/>
                    <a:pt x="3558602" y="2288565"/>
                    <a:pt x="3510641" y="2285079"/>
                  </a:cubicBezTo>
                  <a:cubicBezTo>
                    <a:pt x="3486820" y="2283177"/>
                    <a:pt x="3462680" y="2281593"/>
                    <a:pt x="3444576" y="2280009"/>
                  </a:cubicBezTo>
                  <a:cubicBezTo>
                    <a:pt x="3435683" y="2279375"/>
                    <a:pt x="3428060" y="2279058"/>
                    <a:pt x="3422978" y="2278424"/>
                  </a:cubicBezTo>
                  <a:cubicBezTo>
                    <a:pt x="3420437" y="2278424"/>
                    <a:pt x="3418214" y="2278107"/>
                    <a:pt x="3416626" y="2278107"/>
                  </a:cubicBezTo>
                  <a:cubicBezTo>
                    <a:pt x="3415990" y="2278107"/>
                    <a:pt x="3415355" y="2277790"/>
                    <a:pt x="3415038" y="2277790"/>
                  </a:cubicBezTo>
                  <a:cubicBezTo>
                    <a:pt x="3414720" y="2277790"/>
                    <a:pt x="3414720" y="2277790"/>
                    <a:pt x="3414402" y="2277790"/>
                  </a:cubicBezTo>
                  <a:cubicBezTo>
                    <a:pt x="3414402" y="2277790"/>
                    <a:pt x="3414085" y="2277790"/>
                    <a:pt x="3414085" y="2277790"/>
                  </a:cubicBezTo>
                  <a:cubicBezTo>
                    <a:pt x="3413767" y="2277790"/>
                    <a:pt x="3413767" y="2277790"/>
                    <a:pt x="3413132" y="2277473"/>
                  </a:cubicBezTo>
                  <a:cubicBezTo>
                    <a:pt x="3412814" y="2277473"/>
                    <a:pt x="3412497" y="2277473"/>
                    <a:pt x="3411862" y="2277157"/>
                  </a:cubicBezTo>
                  <a:cubicBezTo>
                    <a:pt x="3411226" y="2276840"/>
                    <a:pt x="3410591" y="2276840"/>
                    <a:pt x="3409638" y="2275889"/>
                  </a:cubicBezTo>
                  <a:cubicBezTo>
                    <a:pt x="3409320" y="2275889"/>
                    <a:pt x="3408685" y="2275572"/>
                    <a:pt x="3408050" y="2274938"/>
                  </a:cubicBezTo>
                  <a:cubicBezTo>
                    <a:pt x="3407415" y="2274305"/>
                    <a:pt x="3405827" y="2273354"/>
                    <a:pt x="3403604" y="2272086"/>
                  </a:cubicBezTo>
                  <a:cubicBezTo>
                    <a:pt x="3403604" y="2272086"/>
                    <a:pt x="3403604" y="2272086"/>
                    <a:pt x="3264804" y="2664710"/>
                  </a:cubicBezTo>
                  <a:cubicBezTo>
                    <a:pt x="3266074" y="2665028"/>
                    <a:pt x="3267662" y="2665661"/>
                    <a:pt x="3268933" y="2665978"/>
                  </a:cubicBezTo>
                  <a:cubicBezTo>
                    <a:pt x="3348020" y="2691963"/>
                    <a:pt x="3422660" y="2710659"/>
                    <a:pt x="3476974" y="2723018"/>
                  </a:cubicBezTo>
                  <a:cubicBezTo>
                    <a:pt x="3504288" y="2729356"/>
                    <a:pt x="3526522" y="2733792"/>
                    <a:pt x="3542085" y="2736644"/>
                  </a:cubicBezTo>
                  <a:cubicBezTo>
                    <a:pt x="3554790" y="2739179"/>
                    <a:pt x="3562730" y="2740447"/>
                    <a:pt x="3565272" y="2741080"/>
                  </a:cubicBezTo>
                  <a:cubicBezTo>
                    <a:pt x="3581788" y="2742348"/>
                    <a:pt x="3791734" y="2756608"/>
                    <a:pt x="3853669" y="2759143"/>
                  </a:cubicBezTo>
                  <a:cubicBezTo>
                    <a:pt x="3885749" y="2760728"/>
                    <a:pt x="3922275" y="2761995"/>
                    <a:pt x="3962612" y="2765798"/>
                  </a:cubicBezTo>
                  <a:cubicBezTo>
                    <a:pt x="3962612" y="2765798"/>
                    <a:pt x="3962612" y="2765798"/>
                    <a:pt x="3816190" y="2291100"/>
                  </a:cubicBezTo>
                  <a:cubicBezTo>
                    <a:pt x="3816190" y="2291100"/>
                    <a:pt x="3816190" y="2290783"/>
                    <a:pt x="3815873" y="2289832"/>
                  </a:cubicBezTo>
                  <a:cubicBezTo>
                    <a:pt x="3813967" y="2283494"/>
                    <a:pt x="3803486" y="2257826"/>
                    <a:pt x="3779982" y="2247052"/>
                  </a:cubicBezTo>
                  <a:close/>
                  <a:moveTo>
                    <a:pt x="1620809" y="2244834"/>
                  </a:moveTo>
                  <a:lnTo>
                    <a:pt x="1620816" y="2245172"/>
                  </a:lnTo>
                  <a:lnTo>
                    <a:pt x="1620809" y="2245151"/>
                  </a:lnTo>
                  <a:lnTo>
                    <a:pt x="1620809" y="2245785"/>
                  </a:lnTo>
                  <a:lnTo>
                    <a:pt x="1620809" y="2247052"/>
                  </a:lnTo>
                  <a:lnTo>
                    <a:pt x="1620855" y="2247056"/>
                  </a:lnTo>
                  <a:lnTo>
                    <a:pt x="1621524" y="2279296"/>
                  </a:lnTo>
                  <a:cubicBezTo>
                    <a:pt x="1621683" y="2289040"/>
                    <a:pt x="1621762" y="2296170"/>
                    <a:pt x="1621762" y="2298071"/>
                  </a:cubicBezTo>
                  <a:cubicBezTo>
                    <a:pt x="1621762" y="2298071"/>
                    <a:pt x="1621762" y="2298071"/>
                    <a:pt x="1643678" y="2343386"/>
                  </a:cubicBezTo>
                  <a:cubicBezTo>
                    <a:pt x="1643678" y="2343386"/>
                    <a:pt x="1643678" y="2343386"/>
                    <a:pt x="1669087" y="2327542"/>
                  </a:cubicBezTo>
                  <a:lnTo>
                    <a:pt x="1804075" y="2329443"/>
                  </a:lnTo>
                  <a:cubicBezTo>
                    <a:pt x="1804075" y="2329443"/>
                    <a:pt x="1804075" y="2329443"/>
                    <a:pt x="1814874" y="2267650"/>
                  </a:cubicBezTo>
                  <a:cubicBezTo>
                    <a:pt x="1770963" y="2262659"/>
                    <a:pt x="1658720" y="2250632"/>
                    <a:pt x="1628366" y="2247703"/>
                  </a:cubicBezTo>
                  <a:lnTo>
                    <a:pt x="1620855" y="2247056"/>
                  </a:lnTo>
                  <a:lnTo>
                    <a:pt x="1620816" y="2245172"/>
                  </a:lnTo>
                  <a:lnTo>
                    <a:pt x="1621444" y="2247052"/>
                  </a:lnTo>
                  <a:cubicBezTo>
                    <a:pt x="1621444" y="2247052"/>
                    <a:pt x="1621444" y="2247052"/>
                    <a:pt x="1620809" y="2244834"/>
                  </a:cubicBezTo>
                  <a:close/>
                  <a:moveTo>
                    <a:pt x="1332094" y="2244200"/>
                  </a:moveTo>
                  <a:cubicBezTo>
                    <a:pt x="1332094" y="2244200"/>
                    <a:pt x="1332094" y="2244200"/>
                    <a:pt x="1286992" y="2318352"/>
                  </a:cubicBezTo>
                  <a:cubicBezTo>
                    <a:pt x="1286992" y="2318352"/>
                    <a:pt x="1286992" y="2318352"/>
                    <a:pt x="1293344" y="2322788"/>
                  </a:cubicBezTo>
                  <a:cubicBezTo>
                    <a:pt x="1293344" y="2322788"/>
                    <a:pt x="1293344" y="2322788"/>
                    <a:pt x="1294932" y="2320253"/>
                  </a:cubicBezTo>
                  <a:lnTo>
                    <a:pt x="1296520" y="2317718"/>
                  </a:lnTo>
                  <a:cubicBezTo>
                    <a:pt x="1296520" y="2317718"/>
                    <a:pt x="1296520" y="2317718"/>
                    <a:pt x="1299061" y="2318035"/>
                  </a:cubicBezTo>
                  <a:cubicBezTo>
                    <a:pt x="1299061" y="2318035"/>
                    <a:pt x="1299061" y="2318035"/>
                    <a:pt x="1312719" y="2319620"/>
                  </a:cubicBezTo>
                  <a:cubicBezTo>
                    <a:pt x="1312719" y="2319620"/>
                    <a:pt x="1312719" y="2319620"/>
                    <a:pt x="1326376" y="2268918"/>
                  </a:cubicBezTo>
                  <a:cubicBezTo>
                    <a:pt x="1326376" y="2268918"/>
                    <a:pt x="1326376" y="2268918"/>
                    <a:pt x="1326694" y="2268284"/>
                  </a:cubicBezTo>
                  <a:cubicBezTo>
                    <a:pt x="1326694" y="2268284"/>
                    <a:pt x="1326694" y="2268284"/>
                    <a:pt x="1327012" y="2267650"/>
                  </a:cubicBezTo>
                  <a:cubicBezTo>
                    <a:pt x="1327012" y="2267650"/>
                    <a:pt x="1327012" y="2267650"/>
                    <a:pt x="1338764" y="2248003"/>
                  </a:cubicBezTo>
                  <a:cubicBezTo>
                    <a:pt x="1338764" y="2248003"/>
                    <a:pt x="1338764" y="2248003"/>
                    <a:pt x="1332094" y="2244200"/>
                  </a:cubicBezTo>
                  <a:close/>
                  <a:moveTo>
                    <a:pt x="1277781" y="2243883"/>
                  </a:moveTo>
                  <a:cubicBezTo>
                    <a:pt x="1277781" y="2243883"/>
                    <a:pt x="1277781" y="2243883"/>
                    <a:pt x="1256500" y="2246418"/>
                  </a:cubicBezTo>
                  <a:cubicBezTo>
                    <a:pt x="1256500" y="2246418"/>
                    <a:pt x="1256500" y="2246418"/>
                    <a:pt x="1257771" y="2259094"/>
                  </a:cubicBezTo>
                  <a:cubicBezTo>
                    <a:pt x="1257771" y="2259094"/>
                    <a:pt x="1257771" y="2259094"/>
                    <a:pt x="1257771" y="2260995"/>
                  </a:cubicBezTo>
                  <a:cubicBezTo>
                    <a:pt x="1257771" y="2260995"/>
                    <a:pt x="1257771" y="2260995"/>
                    <a:pt x="1256500" y="2262580"/>
                  </a:cubicBezTo>
                  <a:cubicBezTo>
                    <a:pt x="1256500" y="2262580"/>
                    <a:pt x="1256500" y="2262580"/>
                    <a:pt x="1246972" y="2272403"/>
                  </a:cubicBezTo>
                  <a:cubicBezTo>
                    <a:pt x="1246972" y="2272403"/>
                    <a:pt x="1246972" y="2272403"/>
                    <a:pt x="1250466" y="2289198"/>
                  </a:cubicBezTo>
                  <a:lnTo>
                    <a:pt x="1273016" y="2285713"/>
                  </a:lnTo>
                  <a:cubicBezTo>
                    <a:pt x="1273016" y="2285713"/>
                    <a:pt x="1273016" y="2285713"/>
                    <a:pt x="1270793" y="2270502"/>
                  </a:cubicBezTo>
                  <a:cubicBezTo>
                    <a:pt x="1270793" y="2270502"/>
                    <a:pt x="1270793" y="2270502"/>
                    <a:pt x="1270476" y="2267967"/>
                  </a:cubicBezTo>
                  <a:cubicBezTo>
                    <a:pt x="1270476" y="2267967"/>
                    <a:pt x="1270476" y="2267967"/>
                    <a:pt x="1272381" y="2266383"/>
                  </a:cubicBezTo>
                  <a:cubicBezTo>
                    <a:pt x="1272381" y="2266383"/>
                    <a:pt x="1272381" y="2266383"/>
                    <a:pt x="1280639" y="2259728"/>
                  </a:cubicBezTo>
                  <a:cubicBezTo>
                    <a:pt x="1280639" y="2259728"/>
                    <a:pt x="1280639" y="2259728"/>
                    <a:pt x="1277781" y="2243883"/>
                  </a:cubicBezTo>
                  <a:close/>
                  <a:moveTo>
                    <a:pt x="1281275" y="2239130"/>
                  </a:moveTo>
                  <a:cubicBezTo>
                    <a:pt x="1281275" y="2239130"/>
                    <a:pt x="1281275" y="2239130"/>
                    <a:pt x="1285721" y="2261629"/>
                  </a:cubicBezTo>
                  <a:lnTo>
                    <a:pt x="1275240" y="2269868"/>
                  </a:lnTo>
                  <a:cubicBezTo>
                    <a:pt x="1275240" y="2269868"/>
                    <a:pt x="1275240" y="2269868"/>
                    <a:pt x="1278098" y="2289515"/>
                  </a:cubicBezTo>
                  <a:cubicBezTo>
                    <a:pt x="1278098" y="2289515"/>
                    <a:pt x="1278098" y="2289515"/>
                    <a:pt x="1246972" y="2294269"/>
                  </a:cubicBezTo>
                  <a:cubicBezTo>
                    <a:pt x="1246972" y="2294269"/>
                    <a:pt x="1246972" y="2294269"/>
                    <a:pt x="1242207" y="2271136"/>
                  </a:cubicBezTo>
                  <a:cubicBezTo>
                    <a:pt x="1242207" y="2271136"/>
                    <a:pt x="1242207" y="2271136"/>
                    <a:pt x="1253324" y="2259411"/>
                  </a:cubicBezTo>
                  <a:cubicBezTo>
                    <a:pt x="1253324" y="2259411"/>
                    <a:pt x="1253324" y="2259411"/>
                    <a:pt x="1251736" y="2242299"/>
                  </a:cubicBezTo>
                  <a:cubicBezTo>
                    <a:pt x="1251736" y="2242299"/>
                    <a:pt x="1251736" y="2242299"/>
                    <a:pt x="1281275" y="2239130"/>
                  </a:cubicBezTo>
                  <a:close/>
                  <a:moveTo>
                    <a:pt x="1330823" y="2238179"/>
                  </a:moveTo>
                  <a:cubicBezTo>
                    <a:pt x="1330823" y="2238179"/>
                    <a:pt x="1330823" y="2238179"/>
                    <a:pt x="1344798" y="2246418"/>
                  </a:cubicBezTo>
                  <a:cubicBezTo>
                    <a:pt x="1344798" y="2246418"/>
                    <a:pt x="1344798" y="2246418"/>
                    <a:pt x="1330823" y="2269868"/>
                  </a:cubicBezTo>
                  <a:cubicBezTo>
                    <a:pt x="1330823" y="2269868"/>
                    <a:pt x="1330823" y="2269868"/>
                    <a:pt x="1316213" y="2324373"/>
                  </a:cubicBezTo>
                  <a:lnTo>
                    <a:pt x="1298744" y="2322472"/>
                  </a:lnTo>
                  <a:cubicBezTo>
                    <a:pt x="1298744" y="2322472"/>
                    <a:pt x="1298744" y="2322472"/>
                    <a:pt x="1294615" y="2329126"/>
                  </a:cubicBezTo>
                  <a:cubicBezTo>
                    <a:pt x="1294615" y="2329126"/>
                    <a:pt x="1294615" y="2329126"/>
                    <a:pt x="1280957" y="2319620"/>
                  </a:cubicBezTo>
                  <a:cubicBezTo>
                    <a:pt x="1280957" y="2319620"/>
                    <a:pt x="1280957" y="2319620"/>
                    <a:pt x="1330823" y="2238179"/>
                  </a:cubicBezTo>
                  <a:close/>
                  <a:moveTo>
                    <a:pt x="1854577" y="2232792"/>
                  </a:moveTo>
                  <a:lnTo>
                    <a:pt x="1852671" y="2248320"/>
                  </a:lnTo>
                  <a:cubicBezTo>
                    <a:pt x="1852671" y="2248320"/>
                    <a:pt x="1852671" y="2248320"/>
                    <a:pt x="1892056" y="2253073"/>
                  </a:cubicBezTo>
                  <a:cubicBezTo>
                    <a:pt x="1892056" y="2253073"/>
                    <a:pt x="1892056" y="2253073"/>
                    <a:pt x="1893961" y="2237546"/>
                  </a:cubicBezTo>
                  <a:cubicBezTo>
                    <a:pt x="1893961" y="2237546"/>
                    <a:pt x="1893961" y="2237546"/>
                    <a:pt x="1854577" y="2232792"/>
                  </a:cubicBezTo>
                  <a:close/>
                  <a:moveTo>
                    <a:pt x="1850765" y="2228039"/>
                  </a:moveTo>
                  <a:cubicBezTo>
                    <a:pt x="1850765" y="2228039"/>
                    <a:pt x="1850765" y="2228039"/>
                    <a:pt x="1898726" y="2233743"/>
                  </a:cubicBezTo>
                  <a:cubicBezTo>
                    <a:pt x="1898726" y="2233743"/>
                    <a:pt x="1898726" y="2233743"/>
                    <a:pt x="1895549" y="2257826"/>
                  </a:cubicBezTo>
                  <a:cubicBezTo>
                    <a:pt x="1895549" y="2257826"/>
                    <a:pt x="1895549" y="2257826"/>
                    <a:pt x="1893644" y="2257510"/>
                  </a:cubicBezTo>
                  <a:cubicBezTo>
                    <a:pt x="1893644" y="2257510"/>
                    <a:pt x="1893644" y="2257510"/>
                    <a:pt x="1847907" y="2251806"/>
                  </a:cubicBezTo>
                  <a:close/>
                  <a:moveTo>
                    <a:pt x="401788" y="2224236"/>
                  </a:moveTo>
                  <a:cubicBezTo>
                    <a:pt x="401788" y="2224236"/>
                    <a:pt x="401470" y="2224236"/>
                    <a:pt x="401470" y="2224553"/>
                  </a:cubicBezTo>
                  <a:cubicBezTo>
                    <a:pt x="386225" y="2234060"/>
                    <a:pt x="371932" y="2238496"/>
                    <a:pt x="361768" y="2240714"/>
                  </a:cubicBezTo>
                  <a:cubicBezTo>
                    <a:pt x="361768" y="2240714"/>
                    <a:pt x="361768" y="2240714"/>
                    <a:pt x="345252" y="2285396"/>
                  </a:cubicBezTo>
                  <a:cubicBezTo>
                    <a:pt x="365262" y="2280643"/>
                    <a:pt x="419575" y="2268284"/>
                    <a:pt x="429421" y="2266066"/>
                  </a:cubicBezTo>
                  <a:close/>
                  <a:moveTo>
                    <a:pt x="1843778" y="2221385"/>
                  </a:moveTo>
                  <a:cubicBezTo>
                    <a:pt x="1843778" y="2221385"/>
                    <a:pt x="1843778" y="2221385"/>
                    <a:pt x="1836155" y="2266383"/>
                  </a:cubicBezTo>
                  <a:cubicBezTo>
                    <a:pt x="1845366" y="2269552"/>
                    <a:pt x="1881574" y="2280959"/>
                    <a:pt x="1917147" y="2291733"/>
                  </a:cubicBezTo>
                  <a:cubicBezTo>
                    <a:pt x="1953356" y="2303141"/>
                    <a:pt x="1989247" y="2314232"/>
                    <a:pt x="1994329" y="2315817"/>
                  </a:cubicBezTo>
                  <a:cubicBezTo>
                    <a:pt x="1994329" y="2315817"/>
                    <a:pt x="1994329" y="2315817"/>
                    <a:pt x="2020691" y="2307895"/>
                  </a:cubicBezTo>
                  <a:cubicBezTo>
                    <a:pt x="2020691" y="2307895"/>
                    <a:pt x="2020691" y="2307895"/>
                    <a:pt x="2021326" y="2308212"/>
                  </a:cubicBezTo>
                  <a:cubicBezTo>
                    <a:pt x="2021326" y="2308212"/>
                    <a:pt x="2037207" y="2312331"/>
                    <a:pt x="2053406" y="2316451"/>
                  </a:cubicBezTo>
                  <a:cubicBezTo>
                    <a:pt x="2061346" y="2318669"/>
                    <a:pt x="2069604" y="2320570"/>
                    <a:pt x="2075957" y="2322155"/>
                  </a:cubicBezTo>
                  <a:cubicBezTo>
                    <a:pt x="2078815" y="2323105"/>
                    <a:pt x="2081674" y="2323739"/>
                    <a:pt x="2083580" y="2324056"/>
                  </a:cubicBezTo>
                  <a:cubicBezTo>
                    <a:pt x="2083897" y="2324056"/>
                    <a:pt x="2084215" y="2324373"/>
                    <a:pt x="2084532" y="2324373"/>
                  </a:cubicBezTo>
                  <a:cubicBezTo>
                    <a:pt x="2085168" y="2323739"/>
                    <a:pt x="2085803" y="2323105"/>
                    <a:pt x="2086438" y="2322472"/>
                  </a:cubicBezTo>
                  <a:cubicBezTo>
                    <a:pt x="2089932" y="2318669"/>
                    <a:pt x="2096602" y="2313599"/>
                    <a:pt x="2096602" y="2313599"/>
                  </a:cubicBezTo>
                  <a:cubicBezTo>
                    <a:pt x="2096602" y="2313599"/>
                    <a:pt x="2096602" y="2313599"/>
                    <a:pt x="2097555" y="2312965"/>
                  </a:cubicBezTo>
                  <a:cubicBezTo>
                    <a:pt x="2097555" y="2312965"/>
                    <a:pt x="2097555" y="2312965"/>
                    <a:pt x="2140116" y="2321521"/>
                  </a:cubicBezTo>
                  <a:cubicBezTo>
                    <a:pt x="2140116" y="2321521"/>
                    <a:pt x="2140116" y="2321521"/>
                    <a:pt x="2148692" y="2275255"/>
                  </a:cubicBezTo>
                  <a:cubicBezTo>
                    <a:pt x="2148692" y="2275255"/>
                    <a:pt x="2148692" y="2275255"/>
                    <a:pt x="2041654" y="2261629"/>
                  </a:cubicBezTo>
                  <a:cubicBezTo>
                    <a:pt x="2041654" y="2261629"/>
                    <a:pt x="2041654" y="2261629"/>
                    <a:pt x="2029584" y="2308845"/>
                  </a:cubicBezTo>
                  <a:cubicBezTo>
                    <a:pt x="2029584" y="2308845"/>
                    <a:pt x="2029584" y="2308845"/>
                    <a:pt x="2025455" y="2307895"/>
                  </a:cubicBezTo>
                  <a:cubicBezTo>
                    <a:pt x="2025455" y="2307895"/>
                    <a:pt x="2025455" y="2307895"/>
                    <a:pt x="2037207" y="2260995"/>
                  </a:cubicBezTo>
                  <a:cubicBezTo>
                    <a:pt x="2037207" y="2260995"/>
                    <a:pt x="2037207" y="2260995"/>
                    <a:pt x="2035937" y="2260678"/>
                  </a:cubicBezTo>
                  <a:cubicBezTo>
                    <a:pt x="2035937" y="2260678"/>
                    <a:pt x="2035937" y="2260678"/>
                    <a:pt x="1936204" y="2229623"/>
                  </a:cubicBezTo>
                  <a:cubicBezTo>
                    <a:pt x="1936204" y="2229623"/>
                    <a:pt x="1936204" y="2229623"/>
                    <a:pt x="1843778" y="2221385"/>
                  </a:cubicBezTo>
                  <a:close/>
                  <a:moveTo>
                    <a:pt x="1766596" y="2221067"/>
                  </a:moveTo>
                  <a:cubicBezTo>
                    <a:pt x="1766596" y="2221067"/>
                    <a:pt x="1766596" y="2221067"/>
                    <a:pt x="1764690" y="2236595"/>
                  </a:cubicBezTo>
                  <a:lnTo>
                    <a:pt x="1804075" y="2241348"/>
                  </a:lnTo>
                  <a:cubicBezTo>
                    <a:pt x="1804075" y="2241348"/>
                    <a:pt x="1804075" y="2241348"/>
                    <a:pt x="1805981" y="2225821"/>
                  </a:cubicBezTo>
                  <a:cubicBezTo>
                    <a:pt x="1805981" y="2225821"/>
                    <a:pt x="1805981" y="2225821"/>
                    <a:pt x="1766596" y="2221067"/>
                  </a:cubicBezTo>
                  <a:close/>
                  <a:moveTo>
                    <a:pt x="14611" y="2221067"/>
                  </a:moveTo>
                  <a:cubicBezTo>
                    <a:pt x="14611" y="2221067"/>
                    <a:pt x="14611" y="2221067"/>
                    <a:pt x="44785" y="2234060"/>
                  </a:cubicBezTo>
                  <a:lnTo>
                    <a:pt x="26045" y="2277157"/>
                  </a:lnTo>
                  <a:cubicBezTo>
                    <a:pt x="26045" y="2277157"/>
                    <a:pt x="26045" y="2277157"/>
                    <a:pt x="1271" y="2266383"/>
                  </a:cubicBezTo>
                  <a:cubicBezTo>
                    <a:pt x="1271" y="2266383"/>
                    <a:pt x="1271" y="2266383"/>
                    <a:pt x="1271" y="2264560"/>
                  </a:cubicBezTo>
                  <a:lnTo>
                    <a:pt x="1271" y="2261946"/>
                  </a:lnTo>
                  <a:lnTo>
                    <a:pt x="23822" y="2271770"/>
                  </a:lnTo>
                  <a:cubicBezTo>
                    <a:pt x="23822" y="2271770"/>
                    <a:pt x="23822" y="2271770"/>
                    <a:pt x="39385" y="2236278"/>
                  </a:cubicBezTo>
                  <a:cubicBezTo>
                    <a:pt x="39385" y="2236278"/>
                    <a:pt x="39385" y="2236278"/>
                    <a:pt x="16834" y="2226455"/>
                  </a:cubicBezTo>
                  <a:cubicBezTo>
                    <a:pt x="16834" y="2226455"/>
                    <a:pt x="16834" y="2226455"/>
                    <a:pt x="1271" y="2261946"/>
                  </a:cubicBezTo>
                  <a:lnTo>
                    <a:pt x="1271" y="2251806"/>
                  </a:lnTo>
                  <a:cubicBezTo>
                    <a:pt x="1271" y="2251806"/>
                    <a:pt x="1271" y="2251806"/>
                    <a:pt x="14611" y="2221067"/>
                  </a:cubicBezTo>
                  <a:close/>
                  <a:moveTo>
                    <a:pt x="2209356" y="2220751"/>
                  </a:moveTo>
                  <a:cubicBezTo>
                    <a:pt x="2209356" y="2220751"/>
                    <a:pt x="2209356" y="2220751"/>
                    <a:pt x="2198875" y="2277473"/>
                  </a:cubicBezTo>
                  <a:lnTo>
                    <a:pt x="2223967" y="2280643"/>
                  </a:lnTo>
                  <a:cubicBezTo>
                    <a:pt x="2223967" y="2280643"/>
                    <a:pt x="2223967" y="2280643"/>
                    <a:pt x="2232225" y="2224236"/>
                  </a:cubicBezTo>
                  <a:cubicBezTo>
                    <a:pt x="2226508" y="2223286"/>
                    <a:pt x="2218568" y="2222018"/>
                    <a:pt x="2209356" y="2220751"/>
                  </a:cubicBezTo>
                  <a:close/>
                  <a:moveTo>
                    <a:pt x="617451" y="2220434"/>
                  </a:moveTo>
                  <a:cubicBezTo>
                    <a:pt x="614593" y="2224553"/>
                    <a:pt x="609511" y="2231525"/>
                    <a:pt x="603794" y="2239764"/>
                  </a:cubicBezTo>
                  <a:cubicBezTo>
                    <a:pt x="591406" y="2257510"/>
                    <a:pt x="574890" y="2282544"/>
                    <a:pt x="560915" y="2302825"/>
                  </a:cubicBezTo>
                  <a:cubicBezTo>
                    <a:pt x="553927" y="2312965"/>
                    <a:pt x="547575" y="2322155"/>
                    <a:pt x="542811" y="2328810"/>
                  </a:cubicBezTo>
                  <a:cubicBezTo>
                    <a:pt x="542176" y="2329760"/>
                    <a:pt x="541858" y="2330394"/>
                    <a:pt x="541223" y="2331028"/>
                  </a:cubicBezTo>
                  <a:cubicBezTo>
                    <a:pt x="541223" y="2331028"/>
                    <a:pt x="541540" y="2331028"/>
                    <a:pt x="541540" y="2331028"/>
                  </a:cubicBezTo>
                  <a:cubicBezTo>
                    <a:pt x="541858" y="2331344"/>
                    <a:pt x="541858" y="2331661"/>
                    <a:pt x="542176" y="2331978"/>
                  </a:cubicBezTo>
                  <a:cubicBezTo>
                    <a:pt x="543446" y="2334197"/>
                    <a:pt x="556468" y="2350358"/>
                    <a:pt x="569173" y="2365568"/>
                  </a:cubicBezTo>
                  <a:cubicBezTo>
                    <a:pt x="579019" y="2377927"/>
                    <a:pt x="588866" y="2389652"/>
                    <a:pt x="592995" y="2395039"/>
                  </a:cubicBezTo>
                  <a:cubicBezTo>
                    <a:pt x="592995" y="2395039"/>
                    <a:pt x="592995" y="2395039"/>
                    <a:pt x="702573" y="2275255"/>
                  </a:cubicBezTo>
                  <a:cubicBezTo>
                    <a:pt x="702255" y="2275255"/>
                    <a:pt x="702255" y="2275255"/>
                    <a:pt x="701938" y="2274938"/>
                  </a:cubicBezTo>
                  <a:cubicBezTo>
                    <a:pt x="676211" y="2256559"/>
                    <a:pt x="650484" y="2238813"/>
                    <a:pt x="640002" y="2233109"/>
                  </a:cubicBezTo>
                  <a:cubicBezTo>
                    <a:pt x="635873" y="2231208"/>
                    <a:pt x="627933" y="2226455"/>
                    <a:pt x="617451" y="2220434"/>
                  </a:cubicBezTo>
                  <a:close/>
                  <a:moveTo>
                    <a:pt x="2393893" y="2216314"/>
                  </a:moveTo>
                  <a:cubicBezTo>
                    <a:pt x="2393893" y="2216314"/>
                    <a:pt x="2393893" y="2216314"/>
                    <a:pt x="2378330" y="2232475"/>
                  </a:cubicBezTo>
                  <a:cubicBezTo>
                    <a:pt x="2378330" y="2232475"/>
                    <a:pt x="2378330" y="2232475"/>
                    <a:pt x="2381188" y="2235011"/>
                  </a:cubicBezTo>
                  <a:cubicBezTo>
                    <a:pt x="2381188" y="2235011"/>
                    <a:pt x="2381188" y="2235011"/>
                    <a:pt x="2382459" y="2236595"/>
                  </a:cubicBezTo>
                  <a:lnTo>
                    <a:pt x="2371660" y="2248003"/>
                  </a:lnTo>
                  <a:cubicBezTo>
                    <a:pt x="2371660" y="2248003"/>
                    <a:pt x="2371660" y="2248003"/>
                    <a:pt x="2410409" y="2286346"/>
                  </a:cubicBezTo>
                  <a:cubicBezTo>
                    <a:pt x="2410409" y="2286346"/>
                    <a:pt x="2410409" y="2286346"/>
                    <a:pt x="2421208" y="2275255"/>
                  </a:cubicBezTo>
                  <a:cubicBezTo>
                    <a:pt x="2421208" y="2275255"/>
                    <a:pt x="2421208" y="2275255"/>
                    <a:pt x="2404057" y="2258460"/>
                  </a:cubicBezTo>
                  <a:cubicBezTo>
                    <a:pt x="2404057" y="2258460"/>
                    <a:pt x="2404057" y="2258460"/>
                    <a:pt x="2420256" y="2241665"/>
                  </a:cubicBezTo>
                  <a:cubicBezTo>
                    <a:pt x="2420256" y="2241665"/>
                    <a:pt x="2420256" y="2241665"/>
                    <a:pt x="2393893" y="2216314"/>
                  </a:cubicBezTo>
                  <a:close/>
                  <a:moveTo>
                    <a:pt x="1763102" y="2216314"/>
                  </a:moveTo>
                  <a:cubicBezTo>
                    <a:pt x="1763102" y="2216314"/>
                    <a:pt x="1763102" y="2216314"/>
                    <a:pt x="1810745" y="2222335"/>
                  </a:cubicBezTo>
                  <a:cubicBezTo>
                    <a:pt x="1810745" y="2222335"/>
                    <a:pt x="1810745" y="2222335"/>
                    <a:pt x="1807887" y="2246102"/>
                  </a:cubicBezTo>
                  <a:lnTo>
                    <a:pt x="1805663" y="2245785"/>
                  </a:lnTo>
                  <a:cubicBezTo>
                    <a:pt x="1805663" y="2245785"/>
                    <a:pt x="1805663" y="2245785"/>
                    <a:pt x="1759926" y="2240081"/>
                  </a:cubicBezTo>
                  <a:cubicBezTo>
                    <a:pt x="1759926" y="2240081"/>
                    <a:pt x="1759926" y="2240081"/>
                    <a:pt x="1763102" y="2216314"/>
                  </a:cubicBezTo>
                  <a:close/>
                  <a:moveTo>
                    <a:pt x="2264305" y="2215047"/>
                  </a:moveTo>
                  <a:lnTo>
                    <a:pt x="2262399" y="2230891"/>
                  </a:lnTo>
                  <a:cubicBezTo>
                    <a:pt x="2262399" y="2230891"/>
                    <a:pt x="2262399" y="2230891"/>
                    <a:pt x="2302101" y="2235327"/>
                  </a:cubicBezTo>
                  <a:cubicBezTo>
                    <a:pt x="2302101" y="2235327"/>
                    <a:pt x="2302101" y="2235327"/>
                    <a:pt x="2304007" y="2219800"/>
                  </a:cubicBezTo>
                  <a:cubicBezTo>
                    <a:pt x="2304007" y="2219800"/>
                    <a:pt x="2304007" y="2219800"/>
                    <a:pt x="2264305" y="2215047"/>
                  </a:cubicBezTo>
                  <a:close/>
                  <a:moveTo>
                    <a:pt x="2163937" y="2214096"/>
                  </a:moveTo>
                  <a:cubicBezTo>
                    <a:pt x="2163937" y="2214096"/>
                    <a:pt x="2163937" y="2214096"/>
                    <a:pt x="2153456" y="2271453"/>
                  </a:cubicBezTo>
                  <a:cubicBezTo>
                    <a:pt x="2153456" y="2271453"/>
                    <a:pt x="2153456" y="2271453"/>
                    <a:pt x="2194746" y="2276840"/>
                  </a:cubicBezTo>
                  <a:cubicBezTo>
                    <a:pt x="2194746" y="2276840"/>
                    <a:pt x="2194746" y="2276840"/>
                    <a:pt x="2205228" y="2220117"/>
                  </a:cubicBezTo>
                  <a:cubicBezTo>
                    <a:pt x="2193158" y="2218215"/>
                    <a:pt x="2179183" y="2216314"/>
                    <a:pt x="2163937" y="2214096"/>
                  </a:cubicBezTo>
                  <a:close/>
                  <a:moveTo>
                    <a:pt x="2393893" y="2210610"/>
                  </a:moveTo>
                  <a:cubicBezTo>
                    <a:pt x="2393893" y="2210610"/>
                    <a:pt x="2393893" y="2210610"/>
                    <a:pt x="2425973" y="2241665"/>
                  </a:cubicBezTo>
                  <a:cubicBezTo>
                    <a:pt x="2425973" y="2241665"/>
                    <a:pt x="2425973" y="2241665"/>
                    <a:pt x="2409774" y="2258460"/>
                  </a:cubicBezTo>
                  <a:cubicBezTo>
                    <a:pt x="2409774" y="2258460"/>
                    <a:pt x="2409774" y="2258460"/>
                    <a:pt x="2427243" y="2274938"/>
                  </a:cubicBezTo>
                  <a:cubicBezTo>
                    <a:pt x="2427243" y="2274938"/>
                    <a:pt x="2427243" y="2274938"/>
                    <a:pt x="2410409" y="2292367"/>
                  </a:cubicBezTo>
                  <a:lnTo>
                    <a:pt x="2408821" y="2290783"/>
                  </a:lnTo>
                  <a:cubicBezTo>
                    <a:pt x="2408821" y="2290783"/>
                    <a:pt x="2408821" y="2290783"/>
                    <a:pt x="2365625" y="2248003"/>
                  </a:cubicBezTo>
                  <a:cubicBezTo>
                    <a:pt x="2365625" y="2248003"/>
                    <a:pt x="2365625" y="2248003"/>
                    <a:pt x="2376742" y="2236595"/>
                  </a:cubicBezTo>
                  <a:cubicBezTo>
                    <a:pt x="2376742" y="2236595"/>
                    <a:pt x="2376742" y="2236595"/>
                    <a:pt x="2373883" y="2234060"/>
                  </a:cubicBezTo>
                  <a:cubicBezTo>
                    <a:pt x="2373883" y="2234060"/>
                    <a:pt x="2373883" y="2234060"/>
                    <a:pt x="2372613" y="2232475"/>
                  </a:cubicBezTo>
                  <a:cubicBezTo>
                    <a:pt x="2372613" y="2232475"/>
                    <a:pt x="2372613" y="2232475"/>
                    <a:pt x="2393893" y="2210610"/>
                  </a:cubicBezTo>
                  <a:close/>
                  <a:moveTo>
                    <a:pt x="2260811" y="2210610"/>
                  </a:moveTo>
                  <a:cubicBezTo>
                    <a:pt x="2260811" y="2210610"/>
                    <a:pt x="2260811" y="2210610"/>
                    <a:pt x="2308454" y="2216314"/>
                  </a:cubicBezTo>
                  <a:cubicBezTo>
                    <a:pt x="2308454" y="2216314"/>
                    <a:pt x="2308454" y="2216314"/>
                    <a:pt x="2305595" y="2240081"/>
                  </a:cubicBezTo>
                  <a:cubicBezTo>
                    <a:pt x="2305595" y="2240081"/>
                    <a:pt x="2305595" y="2240081"/>
                    <a:pt x="2303690" y="2239764"/>
                  </a:cubicBezTo>
                  <a:cubicBezTo>
                    <a:pt x="2303690" y="2239764"/>
                    <a:pt x="2303690" y="2239764"/>
                    <a:pt x="2257952" y="2234377"/>
                  </a:cubicBezTo>
                  <a:close/>
                  <a:moveTo>
                    <a:pt x="2682926" y="2208392"/>
                  </a:moveTo>
                  <a:cubicBezTo>
                    <a:pt x="2682926" y="2208392"/>
                    <a:pt x="2682926" y="2208392"/>
                    <a:pt x="2666728" y="2244517"/>
                  </a:cubicBezTo>
                  <a:lnTo>
                    <a:pt x="2681020" y="2251172"/>
                  </a:lnTo>
                  <a:cubicBezTo>
                    <a:pt x="2681020" y="2251172"/>
                    <a:pt x="2681020" y="2251172"/>
                    <a:pt x="2697219" y="2214730"/>
                  </a:cubicBezTo>
                  <a:cubicBezTo>
                    <a:pt x="2697219" y="2214730"/>
                    <a:pt x="2697219" y="2214730"/>
                    <a:pt x="2682926" y="2208392"/>
                  </a:cubicBezTo>
                  <a:close/>
                  <a:moveTo>
                    <a:pt x="2680703" y="2203005"/>
                  </a:moveTo>
                  <a:cubicBezTo>
                    <a:pt x="2680703" y="2203005"/>
                    <a:pt x="2680703" y="2203005"/>
                    <a:pt x="2702619" y="2212511"/>
                  </a:cubicBezTo>
                  <a:cubicBezTo>
                    <a:pt x="2702619" y="2212511"/>
                    <a:pt x="2702619" y="2212511"/>
                    <a:pt x="2701984" y="2214413"/>
                  </a:cubicBezTo>
                  <a:lnTo>
                    <a:pt x="2683244" y="2256559"/>
                  </a:lnTo>
                  <a:cubicBezTo>
                    <a:pt x="2683244" y="2256559"/>
                    <a:pt x="2683244" y="2256559"/>
                    <a:pt x="2661328" y="2246735"/>
                  </a:cubicBezTo>
                  <a:cubicBezTo>
                    <a:pt x="2661328" y="2246735"/>
                    <a:pt x="2661328" y="2246735"/>
                    <a:pt x="2680703" y="2203005"/>
                  </a:cubicBezTo>
                  <a:close/>
                  <a:moveTo>
                    <a:pt x="2479968" y="2202371"/>
                  </a:moveTo>
                  <a:cubicBezTo>
                    <a:pt x="2479968" y="2202371"/>
                    <a:pt x="2479968" y="2202371"/>
                    <a:pt x="2471074" y="2215363"/>
                  </a:cubicBezTo>
                  <a:cubicBezTo>
                    <a:pt x="2471074" y="2215363"/>
                    <a:pt x="2471074" y="2215363"/>
                    <a:pt x="2503472" y="2238179"/>
                  </a:cubicBezTo>
                  <a:lnTo>
                    <a:pt x="2512682" y="2225504"/>
                  </a:lnTo>
                  <a:cubicBezTo>
                    <a:pt x="2512682" y="2225504"/>
                    <a:pt x="2512682" y="2225504"/>
                    <a:pt x="2479968" y="2202371"/>
                  </a:cubicBezTo>
                  <a:close/>
                  <a:moveTo>
                    <a:pt x="109261" y="2201420"/>
                  </a:moveTo>
                  <a:cubicBezTo>
                    <a:pt x="108626" y="2202054"/>
                    <a:pt x="107991" y="2202371"/>
                    <a:pt x="107355" y="2202688"/>
                  </a:cubicBezTo>
                  <a:cubicBezTo>
                    <a:pt x="107038" y="2203005"/>
                    <a:pt x="107038" y="2203322"/>
                    <a:pt x="106085" y="2203639"/>
                  </a:cubicBezTo>
                  <a:cubicBezTo>
                    <a:pt x="104814" y="2204906"/>
                    <a:pt x="101321" y="2211878"/>
                    <a:pt x="97509" y="2220751"/>
                  </a:cubicBezTo>
                  <a:cubicBezTo>
                    <a:pt x="91157" y="2235327"/>
                    <a:pt x="82581" y="2255608"/>
                    <a:pt x="75276" y="2272403"/>
                  </a:cubicBezTo>
                  <a:cubicBezTo>
                    <a:pt x="71782" y="2280959"/>
                    <a:pt x="68606" y="2288565"/>
                    <a:pt x="66065" y="2293952"/>
                  </a:cubicBezTo>
                  <a:cubicBezTo>
                    <a:pt x="65430" y="2294903"/>
                    <a:pt x="65112" y="2295853"/>
                    <a:pt x="64477" y="2296804"/>
                  </a:cubicBezTo>
                  <a:lnTo>
                    <a:pt x="114025" y="2365251"/>
                  </a:lnTo>
                  <a:cubicBezTo>
                    <a:pt x="121966" y="2357012"/>
                    <a:pt x="137529" y="2341168"/>
                    <a:pt x="153093" y="2325007"/>
                  </a:cubicBezTo>
                  <a:cubicBezTo>
                    <a:pt x="164527" y="2313282"/>
                    <a:pt x="175961" y="2301874"/>
                    <a:pt x="184537" y="2293001"/>
                  </a:cubicBezTo>
                  <a:cubicBezTo>
                    <a:pt x="188983" y="2288565"/>
                    <a:pt x="192795" y="2285079"/>
                    <a:pt x="195653" y="2282544"/>
                  </a:cubicBezTo>
                  <a:cubicBezTo>
                    <a:pt x="196924" y="2281276"/>
                    <a:pt x="197877" y="2280325"/>
                    <a:pt x="198830" y="2279375"/>
                  </a:cubicBezTo>
                  <a:cubicBezTo>
                    <a:pt x="199147" y="2279375"/>
                    <a:pt x="199465" y="2279058"/>
                    <a:pt x="199465" y="2279058"/>
                  </a:cubicBezTo>
                  <a:cubicBezTo>
                    <a:pt x="176914" y="2259411"/>
                    <a:pt x="154681" y="2240081"/>
                    <a:pt x="137529" y="2225187"/>
                  </a:cubicBezTo>
                  <a:cubicBezTo>
                    <a:pt x="128636" y="2217582"/>
                    <a:pt x="121013" y="2211244"/>
                    <a:pt x="115614" y="2206491"/>
                  </a:cubicBezTo>
                  <a:cubicBezTo>
                    <a:pt x="113073" y="2204272"/>
                    <a:pt x="110849" y="2202688"/>
                    <a:pt x="109261" y="2201420"/>
                  </a:cubicBezTo>
                  <a:close/>
                  <a:moveTo>
                    <a:pt x="2257000" y="2199202"/>
                  </a:moveTo>
                  <a:cubicBezTo>
                    <a:pt x="2257000" y="2199202"/>
                    <a:pt x="2257000" y="2199202"/>
                    <a:pt x="2247471" y="2262897"/>
                  </a:cubicBezTo>
                  <a:cubicBezTo>
                    <a:pt x="2247471" y="2262897"/>
                    <a:pt x="2247471" y="2262897"/>
                    <a:pt x="2290032" y="2268918"/>
                  </a:cubicBezTo>
                  <a:cubicBezTo>
                    <a:pt x="2289079" y="2259728"/>
                    <a:pt x="2288444" y="2253073"/>
                    <a:pt x="2288444" y="2253073"/>
                  </a:cubicBezTo>
                  <a:lnTo>
                    <a:pt x="2288126" y="2250855"/>
                  </a:lnTo>
                  <a:cubicBezTo>
                    <a:pt x="2288126" y="2250855"/>
                    <a:pt x="2288126" y="2250855"/>
                    <a:pt x="2334498" y="2244834"/>
                  </a:cubicBezTo>
                  <a:cubicBezTo>
                    <a:pt x="2334498" y="2244834"/>
                    <a:pt x="2334498" y="2244834"/>
                    <a:pt x="2354191" y="2217265"/>
                  </a:cubicBezTo>
                  <a:cubicBezTo>
                    <a:pt x="2339898" y="2214413"/>
                    <a:pt x="2280503" y="2203639"/>
                    <a:pt x="2257000" y="2199202"/>
                  </a:cubicBezTo>
                  <a:close/>
                  <a:moveTo>
                    <a:pt x="1177096" y="2197301"/>
                  </a:moveTo>
                  <a:cubicBezTo>
                    <a:pt x="1177096" y="2197301"/>
                    <a:pt x="1177096" y="2197301"/>
                    <a:pt x="1170743" y="2207441"/>
                  </a:cubicBezTo>
                  <a:cubicBezTo>
                    <a:pt x="1170743" y="2207441"/>
                    <a:pt x="1170743" y="2207441"/>
                    <a:pt x="1131676" y="2198252"/>
                  </a:cubicBezTo>
                  <a:cubicBezTo>
                    <a:pt x="1131676" y="2198252"/>
                    <a:pt x="1131676" y="2198252"/>
                    <a:pt x="1117383" y="2239764"/>
                  </a:cubicBezTo>
                  <a:cubicBezTo>
                    <a:pt x="1117383" y="2239764"/>
                    <a:pt x="1117383" y="2239764"/>
                    <a:pt x="1157403" y="2259728"/>
                  </a:cubicBezTo>
                  <a:cubicBezTo>
                    <a:pt x="1157403" y="2259728"/>
                    <a:pt x="1157403" y="2259728"/>
                    <a:pt x="1171061" y="2224870"/>
                  </a:cubicBezTo>
                  <a:cubicBezTo>
                    <a:pt x="1171061" y="2224870"/>
                    <a:pt x="1171061" y="2224870"/>
                    <a:pt x="1218068" y="2233109"/>
                  </a:cubicBezTo>
                  <a:cubicBezTo>
                    <a:pt x="1219657" y="2227088"/>
                    <a:pt x="1224103" y="2210610"/>
                    <a:pt x="1224421" y="2205223"/>
                  </a:cubicBezTo>
                  <a:cubicBezTo>
                    <a:pt x="1216163" y="2203955"/>
                    <a:pt x="1184401" y="2198568"/>
                    <a:pt x="1177096" y="2197301"/>
                  </a:cubicBezTo>
                  <a:close/>
                  <a:moveTo>
                    <a:pt x="2023232" y="2193498"/>
                  </a:moveTo>
                  <a:cubicBezTo>
                    <a:pt x="2023232" y="2193498"/>
                    <a:pt x="2023232" y="2193498"/>
                    <a:pt x="2022914" y="2194132"/>
                  </a:cubicBezTo>
                  <a:cubicBezTo>
                    <a:pt x="2022914" y="2194132"/>
                    <a:pt x="2022914" y="2194132"/>
                    <a:pt x="2043560" y="2254658"/>
                  </a:cubicBezTo>
                  <a:cubicBezTo>
                    <a:pt x="2043560" y="2254658"/>
                    <a:pt x="2043560" y="2254658"/>
                    <a:pt x="2042924" y="2257193"/>
                  </a:cubicBezTo>
                  <a:cubicBezTo>
                    <a:pt x="2042924" y="2257193"/>
                    <a:pt x="2042924" y="2257193"/>
                    <a:pt x="2149327" y="2271136"/>
                  </a:cubicBezTo>
                  <a:cubicBezTo>
                    <a:pt x="2149327" y="2271136"/>
                    <a:pt x="2149327" y="2271136"/>
                    <a:pt x="2159808" y="2213462"/>
                  </a:cubicBezTo>
                  <a:cubicBezTo>
                    <a:pt x="2150280" y="2211878"/>
                    <a:pt x="2140433" y="2210610"/>
                    <a:pt x="2130270" y="2209026"/>
                  </a:cubicBezTo>
                  <a:cubicBezTo>
                    <a:pt x="2086438" y="2202688"/>
                    <a:pt x="2041972" y="2196033"/>
                    <a:pt x="2023232" y="2193498"/>
                  </a:cubicBezTo>
                  <a:close/>
                  <a:moveTo>
                    <a:pt x="1174872" y="2191914"/>
                  </a:moveTo>
                  <a:cubicBezTo>
                    <a:pt x="1174872" y="2191914"/>
                    <a:pt x="1174872" y="2191914"/>
                    <a:pt x="1176460" y="2192231"/>
                  </a:cubicBezTo>
                  <a:cubicBezTo>
                    <a:pt x="1176460" y="2192231"/>
                    <a:pt x="1224103" y="2200787"/>
                    <a:pt x="1226327" y="2200787"/>
                  </a:cubicBezTo>
                  <a:cubicBezTo>
                    <a:pt x="1227915" y="2201103"/>
                    <a:pt x="1228550" y="2202371"/>
                    <a:pt x="1228867" y="2203005"/>
                  </a:cubicBezTo>
                  <a:cubicBezTo>
                    <a:pt x="1228867" y="2203639"/>
                    <a:pt x="1228867" y="2203955"/>
                    <a:pt x="1228867" y="2204589"/>
                  </a:cubicBezTo>
                  <a:cubicBezTo>
                    <a:pt x="1228867" y="2212195"/>
                    <a:pt x="1221880" y="2236278"/>
                    <a:pt x="1221880" y="2236278"/>
                  </a:cubicBezTo>
                  <a:cubicBezTo>
                    <a:pt x="1221880" y="2236278"/>
                    <a:pt x="1221880" y="2236278"/>
                    <a:pt x="1221562" y="2238496"/>
                  </a:cubicBezTo>
                  <a:cubicBezTo>
                    <a:pt x="1221562" y="2238496"/>
                    <a:pt x="1221562" y="2238496"/>
                    <a:pt x="1173919" y="2229940"/>
                  </a:cubicBezTo>
                  <a:cubicBezTo>
                    <a:pt x="1173919" y="2229940"/>
                    <a:pt x="1173919" y="2229940"/>
                    <a:pt x="1159944" y="2266383"/>
                  </a:cubicBezTo>
                  <a:cubicBezTo>
                    <a:pt x="1159944" y="2266383"/>
                    <a:pt x="1159944" y="2266383"/>
                    <a:pt x="1111666" y="2241982"/>
                  </a:cubicBezTo>
                  <a:cubicBezTo>
                    <a:pt x="1111666" y="2241982"/>
                    <a:pt x="1111666" y="2241982"/>
                    <a:pt x="1128500" y="2192548"/>
                  </a:cubicBezTo>
                  <a:cubicBezTo>
                    <a:pt x="1128500" y="2192548"/>
                    <a:pt x="1128500" y="2192548"/>
                    <a:pt x="1168520" y="2202054"/>
                  </a:cubicBezTo>
                  <a:cubicBezTo>
                    <a:pt x="1168520" y="2202054"/>
                    <a:pt x="1168520" y="2202054"/>
                    <a:pt x="1174872" y="2191914"/>
                  </a:cubicBezTo>
                  <a:close/>
                  <a:moveTo>
                    <a:pt x="950316" y="2178921"/>
                  </a:moveTo>
                  <a:cubicBezTo>
                    <a:pt x="950316" y="2178921"/>
                    <a:pt x="950316" y="2178921"/>
                    <a:pt x="938881" y="2182090"/>
                  </a:cubicBezTo>
                  <a:cubicBezTo>
                    <a:pt x="938881" y="2182090"/>
                    <a:pt x="938881" y="2182090"/>
                    <a:pt x="954445" y="2218849"/>
                  </a:cubicBezTo>
                  <a:cubicBezTo>
                    <a:pt x="954445" y="2218849"/>
                    <a:pt x="954445" y="2218849"/>
                    <a:pt x="942693" y="2222652"/>
                  </a:cubicBezTo>
                  <a:lnTo>
                    <a:pt x="972231" y="2294269"/>
                  </a:lnTo>
                  <a:cubicBezTo>
                    <a:pt x="972231" y="2294269"/>
                    <a:pt x="972231" y="2294269"/>
                    <a:pt x="983666" y="2288565"/>
                  </a:cubicBezTo>
                  <a:cubicBezTo>
                    <a:pt x="983666" y="2288565"/>
                    <a:pt x="983666" y="2288565"/>
                    <a:pt x="990336" y="2296804"/>
                  </a:cubicBezTo>
                  <a:cubicBezTo>
                    <a:pt x="990336" y="2296804"/>
                    <a:pt x="990336" y="2296804"/>
                    <a:pt x="1010981" y="2286980"/>
                  </a:cubicBezTo>
                  <a:cubicBezTo>
                    <a:pt x="1010981" y="2286980"/>
                    <a:pt x="1010981" y="2286980"/>
                    <a:pt x="1010981" y="2286663"/>
                  </a:cubicBezTo>
                  <a:cubicBezTo>
                    <a:pt x="1010981" y="2284128"/>
                    <a:pt x="1011934" y="2278741"/>
                    <a:pt x="1017333" y="2274621"/>
                  </a:cubicBezTo>
                  <a:cubicBezTo>
                    <a:pt x="1022733" y="2270502"/>
                    <a:pt x="1032261" y="2267333"/>
                    <a:pt x="1048460" y="2267333"/>
                  </a:cubicBezTo>
                  <a:cubicBezTo>
                    <a:pt x="1049095" y="2267333"/>
                    <a:pt x="1050048" y="2267333"/>
                    <a:pt x="1050683" y="2267333"/>
                  </a:cubicBezTo>
                  <a:cubicBezTo>
                    <a:pt x="1040202" y="2259411"/>
                    <a:pt x="1017333" y="2242299"/>
                    <a:pt x="1000500" y="2232159"/>
                  </a:cubicBezTo>
                  <a:cubicBezTo>
                    <a:pt x="979854" y="2219483"/>
                    <a:pt x="955398" y="2185893"/>
                    <a:pt x="950316" y="2178921"/>
                  </a:cubicBezTo>
                  <a:close/>
                  <a:moveTo>
                    <a:pt x="1863788" y="2178288"/>
                  </a:moveTo>
                  <a:lnTo>
                    <a:pt x="1861882" y="2193815"/>
                  </a:lnTo>
                  <a:cubicBezTo>
                    <a:pt x="1861882" y="2193815"/>
                    <a:pt x="1861882" y="2193815"/>
                    <a:pt x="1901584" y="2198568"/>
                  </a:cubicBezTo>
                  <a:cubicBezTo>
                    <a:pt x="1901584" y="2198568"/>
                    <a:pt x="1901584" y="2198568"/>
                    <a:pt x="1903490" y="2183041"/>
                  </a:cubicBezTo>
                  <a:cubicBezTo>
                    <a:pt x="1903490" y="2183041"/>
                    <a:pt x="1903490" y="2183041"/>
                    <a:pt x="1863788" y="2178288"/>
                  </a:cubicBezTo>
                  <a:close/>
                  <a:moveTo>
                    <a:pt x="2367848" y="2177971"/>
                  </a:moveTo>
                  <a:cubicBezTo>
                    <a:pt x="2367848" y="2177971"/>
                    <a:pt x="2367848" y="2177971"/>
                    <a:pt x="2360226" y="2216631"/>
                  </a:cubicBezTo>
                  <a:cubicBezTo>
                    <a:pt x="2360226" y="2216631"/>
                    <a:pt x="2360226" y="2216631"/>
                    <a:pt x="2340533" y="2243566"/>
                  </a:cubicBezTo>
                  <a:cubicBezTo>
                    <a:pt x="2345615" y="2248320"/>
                    <a:pt x="2357050" y="2259094"/>
                    <a:pt x="2368484" y="2270502"/>
                  </a:cubicBezTo>
                  <a:cubicBezTo>
                    <a:pt x="2376106" y="2277790"/>
                    <a:pt x="2383729" y="2285396"/>
                    <a:pt x="2389446" y="2291417"/>
                  </a:cubicBezTo>
                  <a:cubicBezTo>
                    <a:pt x="2392305" y="2294269"/>
                    <a:pt x="2394846" y="2296804"/>
                    <a:pt x="2396434" y="2299022"/>
                  </a:cubicBezTo>
                  <a:cubicBezTo>
                    <a:pt x="2397387" y="2299973"/>
                    <a:pt x="2398022" y="2300606"/>
                    <a:pt x="2398340" y="2301240"/>
                  </a:cubicBezTo>
                  <a:cubicBezTo>
                    <a:pt x="2398340" y="2301240"/>
                    <a:pt x="2398340" y="2301240"/>
                    <a:pt x="2479333" y="2260678"/>
                  </a:cubicBezTo>
                  <a:cubicBezTo>
                    <a:pt x="2479333" y="2260678"/>
                    <a:pt x="2479333" y="2260678"/>
                    <a:pt x="2479968" y="2260045"/>
                  </a:cubicBezTo>
                  <a:cubicBezTo>
                    <a:pt x="2472028" y="2254341"/>
                    <a:pt x="2448206" y="2236278"/>
                    <a:pt x="2423749" y="2218532"/>
                  </a:cubicBezTo>
                  <a:cubicBezTo>
                    <a:pt x="2408821" y="2207441"/>
                    <a:pt x="2393893" y="2196350"/>
                    <a:pt x="2382459" y="2188111"/>
                  </a:cubicBezTo>
                  <a:cubicBezTo>
                    <a:pt x="2376742" y="2183992"/>
                    <a:pt x="2371978" y="2180823"/>
                    <a:pt x="2368484" y="2178288"/>
                  </a:cubicBezTo>
                  <a:cubicBezTo>
                    <a:pt x="2368166" y="2177971"/>
                    <a:pt x="2368166" y="2177971"/>
                    <a:pt x="2367848" y="2177971"/>
                  </a:cubicBezTo>
                  <a:close/>
                  <a:moveTo>
                    <a:pt x="1266346" y="2176069"/>
                  </a:moveTo>
                  <a:cubicBezTo>
                    <a:pt x="1266346" y="2176069"/>
                    <a:pt x="1266346" y="2176069"/>
                    <a:pt x="1259994" y="2190329"/>
                  </a:cubicBezTo>
                  <a:lnTo>
                    <a:pt x="1267935" y="2200153"/>
                  </a:lnTo>
                  <a:cubicBezTo>
                    <a:pt x="1267935" y="2200153"/>
                    <a:pt x="1267935" y="2200153"/>
                    <a:pt x="1269523" y="2202054"/>
                  </a:cubicBezTo>
                  <a:cubicBezTo>
                    <a:pt x="1269523" y="2202054"/>
                    <a:pt x="1269523" y="2202054"/>
                    <a:pt x="1268252" y="2204589"/>
                  </a:cubicBezTo>
                  <a:cubicBezTo>
                    <a:pt x="1268252" y="2204589"/>
                    <a:pt x="1268252" y="2204589"/>
                    <a:pt x="1263170" y="2217265"/>
                  </a:cubicBezTo>
                  <a:cubicBezTo>
                    <a:pt x="1263170" y="2217265"/>
                    <a:pt x="1263170" y="2217265"/>
                    <a:pt x="1282863" y="2224870"/>
                  </a:cubicBezTo>
                  <a:cubicBezTo>
                    <a:pt x="1282863" y="2224870"/>
                    <a:pt x="1282863" y="2224870"/>
                    <a:pt x="1287627" y="2211561"/>
                  </a:cubicBezTo>
                  <a:cubicBezTo>
                    <a:pt x="1287627" y="2211561"/>
                    <a:pt x="1287627" y="2211561"/>
                    <a:pt x="1282545" y="2200470"/>
                  </a:cubicBezTo>
                  <a:cubicBezTo>
                    <a:pt x="1282545" y="2200470"/>
                    <a:pt x="1282545" y="2200470"/>
                    <a:pt x="1281910" y="2198568"/>
                  </a:cubicBezTo>
                  <a:cubicBezTo>
                    <a:pt x="1281910" y="2198568"/>
                    <a:pt x="1281910" y="2198568"/>
                    <a:pt x="1282545" y="2196984"/>
                  </a:cubicBezTo>
                  <a:cubicBezTo>
                    <a:pt x="1282545" y="2196984"/>
                    <a:pt x="1282545" y="2196984"/>
                    <a:pt x="1286674" y="2185259"/>
                  </a:cubicBezTo>
                  <a:cubicBezTo>
                    <a:pt x="1286674" y="2185259"/>
                    <a:pt x="1286674" y="2185259"/>
                    <a:pt x="1266346" y="2176069"/>
                  </a:cubicBezTo>
                  <a:close/>
                  <a:moveTo>
                    <a:pt x="2217615" y="2175119"/>
                  </a:moveTo>
                  <a:cubicBezTo>
                    <a:pt x="2217615" y="2175119"/>
                    <a:pt x="2217615" y="2175119"/>
                    <a:pt x="2209992" y="2216314"/>
                  </a:cubicBezTo>
                  <a:cubicBezTo>
                    <a:pt x="2219203" y="2217899"/>
                    <a:pt x="2227143" y="2218849"/>
                    <a:pt x="2232860" y="2219800"/>
                  </a:cubicBezTo>
                  <a:cubicBezTo>
                    <a:pt x="2232860" y="2219800"/>
                    <a:pt x="2232860" y="2219800"/>
                    <a:pt x="2238895" y="2178605"/>
                  </a:cubicBezTo>
                  <a:cubicBezTo>
                    <a:pt x="2238895" y="2178605"/>
                    <a:pt x="2238895" y="2178605"/>
                    <a:pt x="2217615" y="2175119"/>
                  </a:cubicBezTo>
                  <a:close/>
                  <a:moveTo>
                    <a:pt x="1860294" y="2173534"/>
                  </a:moveTo>
                  <a:cubicBezTo>
                    <a:pt x="1860294" y="2173534"/>
                    <a:pt x="1860294" y="2173534"/>
                    <a:pt x="1907937" y="2179555"/>
                  </a:cubicBezTo>
                  <a:cubicBezTo>
                    <a:pt x="1907937" y="2179555"/>
                    <a:pt x="1907937" y="2179555"/>
                    <a:pt x="1905078" y="2203322"/>
                  </a:cubicBezTo>
                  <a:cubicBezTo>
                    <a:pt x="1905078" y="2203322"/>
                    <a:pt x="1905078" y="2203322"/>
                    <a:pt x="1903172" y="2203005"/>
                  </a:cubicBezTo>
                  <a:cubicBezTo>
                    <a:pt x="1903172" y="2203005"/>
                    <a:pt x="1903172" y="2203005"/>
                    <a:pt x="1857435" y="2197301"/>
                  </a:cubicBezTo>
                  <a:close/>
                  <a:moveTo>
                    <a:pt x="952221" y="2173534"/>
                  </a:moveTo>
                  <a:cubicBezTo>
                    <a:pt x="952221" y="2173534"/>
                    <a:pt x="952221" y="2173534"/>
                    <a:pt x="953174" y="2174802"/>
                  </a:cubicBezTo>
                  <a:cubicBezTo>
                    <a:pt x="953174" y="2175119"/>
                    <a:pt x="960162" y="2184942"/>
                    <a:pt x="970008" y="2196667"/>
                  </a:cubicBezTo>
                  <a:cubicBezTo>
                    <a:pt x="979537" y="2208075"/>
                    <a:pt x="992241" y="2221701"/>
                    <a:pt x="1003041" y="2228356"/>
                  </a:cubicBezTo>
                  <a:cubicBezTo>
                    <a:pt x="1025909" y="2242299"/>
                    <a:pt x="1059577" y="2268284"/>
                    <a:pt x="1059577" y="2268284"/>
                  </a:cubicBezTo>
                  <a:cubicBezTo>
                    <a:pt x="1059577" y="2268284"/>
                    <a:pt x="1059577" y="2268284"/>
                    <a:pt x="1065611" y="2273037"/>
                  </a:cubicBezTo>
                  <a:cubicBezTo>
                    <a:pt x="1065611" y="2273037"/>
                    <a:pt x="1065611" y="2273037"/>
                    <a:pt x="1057989" y="2272403"/>
                  </a:cubicBezTo>
                  <a:cubicBezTo>
                    <a:pt x="1054495" y="2272086"/>
                    <a:pt x="1051319" y="2272086"/>
                    <a:pt x="1048460" y="2272086"/>
                  </a:cubicBezTo>
                  <a:cubicBezTo>
                    <a:pt x="1016698" y="2272403"/>
                    <a:pt x="1016063" y="2283494"/>
                    <a:pt x="1015745" y="2286663"/>
                  </a:cubicBezTo>
                  <a:cubicBezTo>
                    <a:pt x="1015745" y="2287614"/>
                    <a:pt x="1015745" y="2287931"/>
                    <a:pt x="1015745" y="2287931"/>
                  </a:cubicBezTo>
                  <a:cubicBezTo>
                    <a:pt x="1015745" y="2287931"/>
                    <a:pt x="1015745" y="2287931"/>
                    <a:pt x="1016063" y="2289832"/>
                  </a:cubicBezTo>
                  <a:cubicBezTo>
                    <a:pt x="1016063" y="2289832"/>
                    <a:pt x="1016063" y="2289832"/>
                    <a:pt x="989065" y="2302508"/>
                  </a:cubicBezTo>
                  <a:lnTo>
                    <a:pt x="982395" y="2294269"/>
                  </a:lnTo>
                  <a:cubicBezTo>
                    <a:pt x="982395" y="2294269"/>
                    <a:pt x="982395" y="2294269"/>
                    <a:pt x="970008" y="2300606"/>
                  </a:cubicBezTo>
                  <a:cubicBezTo>
                    <a:pt x="970008" y="2300606"/>
                    <a:pt x="970008" y="2300606"/>
                    <a:pt x="936341" y="2219800"/>
                  </a:cubicBezTo>
                  <a:cubicBezTo>
                    <a:pt x="936341" y="2219800"/>
                    <a:pt x="936341" y="2219800"/>
                    <a:pt x="948092" y="2215997"/>
                  </a:cubicBezTo>
                  <a:cubicBezTo>
                    <a:pt x="948092" y="2215997"/>
                    <a:pt x="948092" y="2215997"/>
                    <a:pt x="932529" y="2178921"/>
                  </a:cubicBezTo>
                  <a:cubicBezTo>
                    <a:pt x="932529" y="2178921"/>
                    <a:pt x="932529" y="2178921"/>
                    <a:pt x="952221" y="2173534"/>
                  </a:cubicBezTo>
                  <a:close/>
                  <a:moveTo>
                    <a:pt x="1264123" y="2170365"/>
                  </a:moveTo>
                  <a:cubicBezTo>
                    <a:pt x="1264123" y="2170365"/>
                    <a:pt x="1264123" y="2170365"/>
                    <a:pt x="1292074" y="2183041"/>
                  </a:cubicBezTo>
                  <a:cubicBezTo>
                    <a:pt x="1292074" y="2183041"/>
                    <a:pt x="1292074" y="2183041"/>
                    <a:pt x="1286674" y="2198568"/>
                  </a:cubicBezTo>
                  <a:cubicBezTo>
                    <a:pt x="1286674" y="2198568"/>
                    <a:pt x="1286674" y="2198568"/>
                    <a:pt x="1292391" y="2211244"/>
                  </a:cubicBezTo>
                  <a:cubicBezTo>
                    <a:pt x="1292391" y="2211244"/>
                    <a:pt x="1292391" y="2211244"/>
                    <a:pt x="1285404" y="2230891"/>
                  </a:cubicBezTo>
                  <a:cubicBezTo>
                    <a:pt x="1285404" y="2230891"/>
                    <a:pt x="1285404" y="2230891"/>
                    <a:pt x="1257136" y="2219483"/>
                  </a:cubicBezTo>
                  <a:lnTo>
                    <a:pt x="1264441" y="2202688"/>
                  </a:lnTo>
                  <a:cubicBezTo>
                    <a:pt x="1264441" y="2202688"/>
                    <a:pt x="1264441" y="2202688"/>
                    <a:pt x="1254912" y="2190963"/>
                  </a:cubicBezTo>
                  <a:cubicBezTo>
                    <a:pt x="1254912" y="2190963"/>
                    <a:pt x="1254912" y="2190963"/>
                    <a:pt x="1264123" y="2170365"/>
                  </a:cubicBezTo>
                  <a:close/>
                  <a:moveTo>
                    <a:pt x="2172513" y="2167831"/>
                  </a:moveTo>
                  <a:cubicBezTo>
                    <a:pt x="2172513" y="2167831"/>
                    <a:pt x="2172513" y="2167831"/>
                    <a:pt x="2164890" y="2209659"/>
                  </a:cubicBezTo>
                  <a:cubicBezTo>
                    <a:pt x="2179818" y="2211878"/>
                    <a:pt x="2194111" y="2214096"/>
                    <a:pt x="2205863" y="2215680"/>
                  </a:cubicBezTo>
                  <a:cubicBezTo>
                    <a:pt x="2205863" y="2215680"/>
                    <a:pt x="2205863" y="2215680"/>
                    <a:pt x="2213486" y="2174485"/>
                  </a:cubicBezTo>
                  <a:cubicBezTo>
                    <a:pt x="2213486" y="2174485"/>
                    <a:pt x="2213486" y="2174485"/>
                    <a:pt x="2172513" y="2167831"/>
                  </a:cubicBezTo>
                  <a:close/>
                  <a:moveTo>
                    <a:pt x="1776125" y="2166563"/>
                  </a:moveTo>
                  <a:cubicBezTo>
                    <a:pt x="1776125" y="2166563"/>
                    <a:pt x="1776125" y="2166563"/>
                    <a:pt x="1774219" y="2182090"/>
                  </a:cubicBezTo>
                  <a:lnTo>
                    <a:pt x="1813604" y="2187160"/>
                  </a:lnTo>
                  <a:cubicBezTo>
                    <a:pt x="1813604" y="2187160"/>
                    <a:pt x="1813604" y="2187160"/>
                    <a:pt x="1815509" y="2171316"/>
                  </a:cubicBezTo>
                  <a:cubicBezTo>
                    <a:pt x="1815509" y="2171316"/>
                    <a:pt x="1815509" y="2171316"/>
                    <a:pt x="1776125" y="2166563"/>
                  </a:cubicBezTo>
                  <a:close/>
                  <a:moveTo>
                    <a:pt x="1853624" y="2164978"/>
                  </a:moveTo>
                  <a:cubicBezTo>
                    <a:pt x="1853624" y="2164978"/>
                    <a:pt x="1853624" y="2164978"/>
                    <a:pt x="1844730" y="2216948"/>
                  </a:cubicBezTo>
                  <a:cubicBezTo>
                    <a:pt x="1844730" y="2216948"/>
                    <a:pt x="1844730" y="2216948"/>
                    <a:pt x="1936840" y="2225187"/>
                  </a:cubicBezTo>
                  <a:cubicBezTo>
                    <a:pt x="1936840" y="2225187"/>
                    <a:pt x="1936840" y="2225187"/>
                    <a:pt x="2036890" y="2256559"/>
                  </a:cubicBezTo>
                  <a:cubicBezTo>
                    <a:pt x="2036890" y="2256559"/>
                    <a:pt x="2036890" y="2256559"/>
                    <a:pt x="2038478" y="2256559"/>
                  </a:cubicBezTo>
                  <a:cubicBezTo>
                    <a:pt x="2038478" y="2256559"/>
                    <a:pt x="2038478" y="2256559"/>
                    <a:pt x="2038795" y="2254658"/>
                  </a:cubicBezTo>
                  <a:lnTo>
                    <a:pt x="2018468" y="2194132"/>
                  </a:lnTo>
                  <a:cubicBezTo>
                    <a:pt x="2018468" y="2194132"/>
                    <a:pt x="2018468" y="2194132"/>
                    <a:pt x="2018785" y="2192865"/>
                  </a:cubicBezTo>
                  <a:cubicBezTo>
                    <a:pt x="2016244" y="2192548"/>
                    <a:pt x="2014656" y="2192548"/>
                    <a:pt x="2014021" y="2192548"/>
                  </a:cubicBezTo>
                  <a:cubicBezTo>
                    <a:pt x="2014021" y="2192548"/>
                    <a:pt x="2013703" y="2192548"/>
                    <a:pt x="2013703" y="2192548"/>
                  </a:cubicBezTo>
                  <a:cubicBezTo>
                    <a:pt x="2008304" y="2192548"/>
                    <a:pt x="1879668" y="2169732"/>
                    <a:pt x="1853624" y="2164978"/>
                  </a:cubicBezTo>
                  <a:close/>
                  <a:moveTo>
                    <a:pt x="834385" y="2164978"/>
                  </a:moveTo>
                  <a:lnTo>
                    <a:pt x="803893" y="2299022"/>
                  </a:lnTo>
                  <a:cubicBezTo>
                    <a:pt x="803893" y="2299022"/>
                    <a:pt x="803893" y="2299022"/>
                    <a:pt x="830891" y="2316134"/>
                  </a:cubicBezTo>
                  <a:cubicBezTo>
                    <a:pt x="830891" y="2316134"/>
                    <a:pt x="830891" y="2316134"/>
                    <a:pt x="836608" y="2286346"/>
                  </a:cubicBezTo>
                  <a:cubicBezTo>
                    <a:pt x="836608" y="2286346"/>
                    <a:pt x="836608" y="2286346"/>
                    <a:pt x="875358" y="2299022"/>
                  </a:cubicBezTo>
                  <a:cubicBezTo>
                    <a:pt x="875358" y="2299022"/>
                    <a:pt x="875358" y="2299022"/>
                    <a:pt x="877581" y="2266383"/>
                  </a:cubicBezTo>
                  <a:cubicBezTo>
                    <a:pt x="877581" y="2266383"/>
                    <a:pt x="877581" y="2266383"/>
                    <a:pt x="841373" y="2250221"/>
                  </a:cubicBezTo>
                  <a:cubicBezTo>
                    <a:pt x="841373" y="2250221"/>
                    <a:pt x="841373" y="2250221"/>
                    <a:pt x="849631" y="2224553"/>
                  </a:cubicBezTo>
                  <a:cubicBezTo>
                    <a:pt x="849631" y="2224553"/>
                    <a:pt x="849631" y="2224553"/>
                    <a:pt x="882981" y="2220434"/>
                  </a:cubicBezTo>
                  <a:cubicBezTo>
                    <a:pt x="882981" y="2220434"/>
                    <a:pt x="882981" y="2220434"/>
                    <a:pt x="876311" y="2181773"/>
                  </a:cubicBezTo>
                  <a:cubicBezTo>
                    <a:pt x="876311" y="2181773"/>
                    <a:pt x="876311" y="2181773"/>
                    <a:pt x="834385" y="2164978"/>
                  </a:cubicBezTo>
                  <a:close/>
                  <a:moveTo>
                    <a:pt x="2520623" y="2163394"/>
                  </a:moveTo>
                  <a:cubicBezTo>
                    <a:pt x="2520623" y="2163394"/>
                    <a:pt x="2520623" y="2163394"/>
                    <a:pt x="2511730" y="2176069"/>
                  </a:cubicBezTo>
                  <a:cubicBezTo>
                    <a:pt x="2511730" y="2176069"/>
                    <a:pt x="2511730" y="2176069"/>
                    <a:pt x="2543809" y="2199202"/>
                  </a:cubicBezTo>
                  <a:lnTo>
                    <a:pt x="2553020" y="2186527"/>
                  </a:lnTo>
                  <a:cubicBezTo>
                    <a:pt x="2553020" y="2186527"/>
                    <a:pt x="2553020" y="2186527"/>
                    <a:pt x="2520623" y="2163394"/>
                  </a:cubicBezTo>
                  <a:close/>
                  <a:moveTo>
                    <a:pt x="1772313" y="2161809"/>
                  </a:moveTo>
                  <a:cubicBezTo>
                    <a:pt x="1772313" y="2161809"/>
                    <a:pt x="1772313" y="2161809"/>
                    <a:pt x="1820274" y="2167831"/>
                  </a:cubicBezTo>
                  <a:cubicBezTo>
                    <a:pt x="1820274" y="2167831"/>
                    <a:pt x="1820274" y="2167831"/>
                    <a:pt x="1817415" y="2191597"/>
                  </a:cubicBezTo>
                  <a:lnTo>
                    <a:pt x="1815192" y="2191280"/>
                  </a:lnTo>
                  <a:cubicBezTo>
                    <a:pt x="1815192" y="2191280"/>
                    <a:pt x="1815192" y="2191280"/>
                    <a:pt x="1769455" y="2185893"/>
                  </a:cubicBezTo>
                  <a:cubicBezTo>
                    <a:pt x="1769455" y="2185893"/>
                    <a:pt x="1769455" y="2185893"/>
                    <a:pt x="1772313" y="2161809"/>
                  </a:cubicBezTo>
                  <a:close/>
                  <a:moveTo>
                    <a:pt x="831209" y="2158641"/>
                  </a:moveTo>
                  <a:cubicBezTo>
                    <a:pt x="831209" y="2158641"/>
                    <a:pt x="831209" y="2158641"/>
                    <a:pt x="880440" y="2178605"/>
                  </a:cubicBezTo>
                  <a:cubicBezTo>
                    <a:pt x="880440" y="2178605"/>
                    <a:pt x="880440" y="2178605"/>
                    <a:pt x="880757" y="2179872"/>
                  </a:cubicBezTo>
                  <a:cubicBezTo>
                    <a:pt x="880757" y="2179872"/>
                    <a:pt x="880757" y="2179872"/>
                    <a:pt x="888698" y="2224553"/>
                  </a:cubicBezTo>
                  <a:cubicBezTo>
                    <a:pt x="888698" y="2224553"/>
                    <a:pt x="888698" y="2224553"/>
                    <a:pt x="853442" y="2228673"/>
                  </a:cubicBezTo>
                  <a:cubicBezTo>
                    <a:pt x="853442" y="2228673"/>
                    <a:pt x="853442" y="2228673"/>
                    <a:pt x="847090" y="2247686"/>
                  </a:cubicBezTo>
                  <a:cubicBezTo>
                    <a:pt x="847090" y="2247686"/>
                    <a:pt x="847090" y="2247686"/>
                    <a:pt x="882663" y="2263530"/>
                  </a:cubicBezTo>
                  <a:cubicBezTo>
                    <a:pt x="882663" y="2263530"/>
                    <a:pt x="882663" y="2263530"/>
                    <a:pt x="879804" y="2305360"/>
                  </a:cubicBezTo>
                  <a:cubicBezTo>
                    <a:pt x="879804" y="2305360"/>
                    <a:pt x="879804" y="2305360"/>
                    <a:pt x="840102" y="2292367"/>
                  </a:cubicBezTo>
                  <a:cubicBezTo>
                    <a:pt x="840102" y="2292367"/>
                    <a:pt x="840102" y="2292367"/>
                    <a:pt x="834067" y="2323739"/>
                  </a:cubicBezTo>
                  <a:lnTo>
                    <a:pt x="798494" y="2301240"/>
                  </a:lnTo>
                  <a:cubicBezTo>
                    <a:pt x="798494" y="2301240"/>
                    <a:pt x="798494" y="2301240"/>
                    <a:pt x="831209" y="2158641"/>
                  </a:cubicBezTo>
                  <a:close/>
                  <a:moveTo>
                    <a:pt x="1123100" y="2158007"/>
                  </a:moveTo>
                  <a:cubicBezTo>
                    <a:pt x="1123100" y="2158007"/>
                    <a:pt x="1123100" y="2158007"/>
                    <a:pt x="1093244" y="2248637"/>
                  </a:cubicBezTo>
                  <a:cubicBezTo>
                    <a:pt x="1130723" y="2276840"/>
                    <a:pt x="1172649" y="2325957"/>
                    <a:pt x="1175190" y="2328810"/>
                  </a:cubicBezTo>
                  <a:cubicBezTo>
                    <a:pt x="1175190" y="2328810"/>
                    <a:pt x="1175190" y="2328810"/>
                    <a:pt x="1224421" y="2289198"/>
                  </a:cubicBezTo>
                  <a:cubicBezTo>
                    <a:pt x="1224421" y="2289198"/>
                    <a:pt x="1224421" y="2289198"/>
                    <a:pt x="1225374" y="2289198"/>
                  </a:cubicBezTo>
                  <a:cubicBezTo>
                    <a:pt x="1225374" y="2289198"/>
                    <a:pt x="1230456" y="2290149"/>
                    <a:pt x="1234267" y="2290783"/>
                  </a:cubicBezTo>
                  <a:lnTo>
                    <a:pt x="1230456" y="2242299"/>
                  </a:lnTo>
                  <a:cubicBezTo>
                    <a:pt x="1230456" y="2242299"/>
                    <a:pt x="1230456" y="2242299"/>
                    <a:pt x="1238396" y="2193181"/>
                  </a:cubicBezTo>
                  <a:cubicBezTo>
                    <a:pt x="1238396" y="2193181"/>
                    <a:pt x="1238396" y="2193181"/>
                    <a:pt x="1175825" y="2181456"/>
                  </a:cubicBezTo>
                  <a:cubicBezTo>
                    <a:pt x="1175825" y="2181456"/>
                    <a:pt x="1175825" y="2181456"/>
                    <a:pt x="1175507" y="2179555"/>
                  </a:cubicBezTo>
                  <a:cubicBezTo>
                    <a:pt x="1175507" y="2179555"/>
                    <a:pt x="1175190" y="2176069"/>
                    <a:pt x="1174872" y="2172584"/>
                  </a:cubicBezTo>
                  <a:cubicBezTo>
                    <a:pt x="1174555" y="2170999"/>
                    <a:pt x="1174237" y="2169098"/>
                    <a:pt x="1173919" y="2168147"/>
                  </a:cubicBezTo>
                  <a:cubicBezTo>
                    <a:pt x="1173919" y="2167831"/>
                    <a:pt x="1173919" y="2167831"/>
                    <a:pt x="1173919" y="2167831"/>
                  </a:cubicBezTo>
                  <a:cubicBezTo>
                    <a:pt x="1169473" y="2167196"/>
                    <a:pt x="1158674" y="2164978"/>
                    <a:pt x="1147557" y="2162760"/>
                  </a:cubicBezTo>
                  <a:cubicBezTo>
                    <a:pt x="1140887" y="2161493"/>
                    <a:pt x="1134217" y="2160225"/>
                    <a:pt x="1129135" y="2159274"/>
                  </a:cubicBezTo>
                  <a:cubicBezTo>
                    <a:pt x="1126912" y="2158958"/>
                    <a:pt x="1124688" y="2158324"/>
                    <a:pt x="1123418" y="2158007"/>
                  </a:cubicBezTo>
                  <a:cubicBezTo>
                    <a:pt x="1123100" y="2158007"/>
                    <a:pt x="1123100" y="2158007"/>
                    <a:pt x="1123100" y="2158007"/>
                  </a:cubicBezTo>
                  <a:close/>
                  <a:moveTo>
                    <a:pt x="2519670" y="2157690"/>
                  </a:moveTo>
                  <a:lnTo>
                    <a:pt x="2559055" y="2185576"/>
                  </a:lnTo>
                  <a:cubicBezTo>
                    <a:pt x="2559055" y="2185576"/>
                    <a:pt x="2559055" y="2185576"/>
                    <a:pt x="2544762" y="2204906"/>
                  </a:cubicBezTo>
                  <a:cubicBezTo>
                    <a:pt x="2544762" y="2204906"/>
                    <a:pt x="2544762" y="2204906"/>
                    <a:pt x="2543174" y="2203955"/>
                  </a:cubicBezTo>
                  <a:cubicBezTo>
                    <a:pt x="2543174" y="2203955"/>
                    <a:pt x="2543174" y="2203955"/>
                    <a:pt x="2505695" y="2177020"/>
                  </a:cubicBezTo>
                  <a:cubicBezTo>
                    <a:pt x="2505695" y="2177020"/>
                    <a:pt x="2505695" y="2177020"/>
                    <a:pt x="2519670" y="2157690"/>
                  </a:cubicBezTo>
                  <a:close/>
                  <a:moveTo>
                    <a:pt x="2690232" y="2154521"/>
                  </a:moveTo>
                  <a:cubicBezTo>
                    <a:pt x="2686102" y="2165929"/>
                    <a:pt x="2659422" y="2236278"/>
                    <a:pt x="2594628" y="2293952"/>
                  </a:cubicBezTo>
                  <a:cubicBezTo>
                    <a:pt x="2600346" y="2298071"/>
                    <a:pt x="2625120" y="2316134"/>
                    <a:pt x="2650212" y="2334513"/>
                  </a:cubicBezTo>
                  <a:cubicBezTo>
                    <a:pt x="2664822" y="2344654"/>
                    <a:pt x="2679115" y="2355111"/>
                    <a:pt x="2690232" y="2363033"/>
                  </a:cubicBezTo>
                  <a:cubicBezTo>
                    <a:pt x="2695314" y="2366519"/>
                    <a:pt x="2699760" y="2369371"/>
                    <a:pt x="2702936" y="2371272"/>
                  </a:cubicBezTo>
                  <a:cubicBezTo>
                    <a:pt x="2701984" y="2360815"/>
                    <a:pt x="2701666" y="2350041"/>
                    <a:pt x="2701666" y="2339900"/>
                  </a:cubicBezTo>
                  <a:cubicBezTo>
                    <a:pt x="2701666" y="2320253"/>
                    <a:pt x="2702936" y="2301557"/>
                    <a:pt x="2703572" y="2285713"/>
                  </a:cubicBezTo>
                  <a:cubicBezTo>
                    <a:pt x="2703572" y="2285713"/>
                    <a:pt x="2703572" y="2285396"/>
                    <a:pt x="2703572" y="2285079"/>
                  </a:cubicBezTo>
                  <a:lnTo>
                    <a:pt x="2630202" y="2259728"/>
                  </a:lnTo>
                  <a:cubicBezTo>
                    <a:pt x="2630202" y="2259728"/>
                    <a:pt x="2630202" y="2259728"/>
                    <a:pt x="2631790" y="2255608"/>
                  </a:cubicBezTo>
                  <a:cubicBezTo>
                    <a:pt x="2631790" y="2255608"/>
                    <a:pt x="2631790" y="2255608"/>
                    <a:pt x="2703889" y="2280643"/>
                  </a:cubicBezTo>
                  <a:cubicBezTo>
                    <a:pt x="2704842" y="2259094"/>
                    <a:pt x="2706112" y="2210927"/>
                    <a:pt x="2707065" y="2155472"/>
                  </a:cubicBezTo>
                  <a:cubicBezTo>
                    <a:pt x="2700713" y="2155155"/>
                    <a:pt x="2693408" y="2154838"/>
                    <a:pt x="2690232" y="2154521"/>
                  </a:cubicBezTo>
                  <a:close/>
                  <a:moveTo>
                    <a:pt x="191842" y="2150718"/>
                  </a:moveTo>
                  <a:cubicBezTo>
                    <a:pt x="191842" y="2150718"/>
                    <a:pt x="191842" y="2150718"/>
                    <a:pt x="174691" y="2175119"/>
                  </a:cubicBezTo>
                  <a:cubicBezTo>
                    <a:pt x="174691" y="2175119"/>
                    <a:pt x="174691" y="2175119"/>
                    <a:pt x="243296" y="2224870"/>
                  </a:cubicBezTo>
                  <a:cubicBezTo>
                    <a:pt x="243296" y="2224870"/>
                    <a:pt x="243296" y="2224870"/>
                    <a:pt x="231862" y="2242616"/>
                  </a:cubicBezTo>
                  <a:cubicBezTo>
                    <a:pt x="231862" y="2242616"/>
                    <a:pt x="231862" y="2242616"/>
                    <a:pt x="251872" y="2259728"/>
                  </a:cubicBezTo>
                  <a:cubicBezTo>
                    <a:pt x="251872" y="2259728"/>
                    <a:pt x="251872" y="2259728"/>
                    <a:pt x="243296" y="2288565"/>
                  </a:cubicBezTo>
                  <a:cubicBezTo>
                    <a:pt x="243296" y="2288565"/>
                    <a:pt x="243296" y="2288565"/>
                    <a:pt x="288398" y="2320887"/>
                  </a:cubicBezTo>
                  <a:lnTo>
                    <a:pt x="318890" y="2236278"/>
                  </a:lnTo>
                  <a:cubicBezTo>
                    <a:pt x="318890" y="2236278"/>
                    <a:pt x="318890" y="2236278"/>
                    <a:pt x="281411" y="2174485"/>
                  </a:cubicBezTo>
                  <a:cubicBezTo>
                    <a:pt x="281411" y="2174485"/>
                    <a:pt x="281411" y="2174485"/>
                    <a:pt x="273152" y="2180189"/>
                  </a:cubicBezTo>
                  <a:cubicBezTo>
                    <a:pt x="273152" y="2180189"/>
                    <a:pt x="273152" y="2180189"/>
                    <a:pt x="240755" y="2157690"/>
                  </a:cubicBezTo>
                  <a:cubicBezTo>
                    <a:pt x="240755" y="2157690"/>
                    <a:pt x="240755" y="2157690"/>
                    <a:pt x="227415" y="2179872"/>
                  </a:cubicBezTo>
                  <a:cubicBezTo>
                    <a:pt x="227415" y="2179872"/>
                    <a:pt x="227415" y="2179872"/>
                    <a:pt x="191842" y="2150718"/>
                  </a:cubicBezTo>
                  <a:close/>
                  <a:moveTo>
                    <a:pt x="464041" y="2149768"/>
                  </a:moveTo>
                  <a:lnTo>
                    <a:pt x="441173" y="2199202"/>
                  </a:lnTo>
                  <a:cubicBezTo>
                    <a:pt x="441173" y="2199202"/>
                    <a:pt x="441173" y="2199202"/>
                    <a:pt x="454195" y="2225821"/>
                  </a:cubicBezTo>
                  <a:cubicBezTo>
                    <a:pt x="454195" y="2225821"/>
                    <a:pt x="454195" y="2225821"/>
                    <a:pt x="464359" y="2218532"/>
                  </a:cubicBezTo>
                  <a:cubicBezTo>
                    <a:pt x="464359" y="2218532"/>
                    <a:pt x="464359" y="2218532"/>
                    <a:pt x="482146" y="2187160"/>
                  </a:cubicBezTo>
                  <a:cubicBezTo>
                    <a:pt x="482146" y="2187160"/>
                    <a:pt x="482146" y="2187160"/>
                    <a:pt x="510731" y="2218532"/>
                  </a:cubicBezTo>
                  <a:cubicBezTo>
                    <a:pt x="510731" y="2218532"/>
                    <a:pt x="510731" y="2218532"/>
                    <a:pt x="539635" y="2233426"/>
                  </a:cubicBezTo>
                  <a:cubicBezTo>
                    <a:pt x="539635" y="2233426"/>
                    <a:pt x="539635" y="2233426"/>
                    <a:pt x="568856" y="2211878"/>
                  </a:cubicBezTo>
                  <a:cubicBezTo>
                    <a:pt x="568856" y="2211878"/>
                    <a:pt x="568856" y="2211878"/>
                    <a:pt x="464041" y="2149768"/>
                  </a:cubicBezTo>
                  <a:close/>
                  <a:moveTo>
                    <a:pt x="2054994" y="2148500"/>
                  </a:moveTo>
                  <a:cubicBezTo>
                    <a:pt x="2054994" y="2148500"/>
                    <a:pt x="2054994" y="2148500"/>
                    <a:pt x="2034349" y="2151352"/>
                  </a:cubicBezTo>
                  <a:cubicBezTo>
                    <a:pt x="2034349" y="2151352"/>
                    <a:pt x="2034349" y="2151352"/>
                    <a:pt x="2024185" y="2189379"/>
                  </a:cubicBezTo>
                  <a:cubicBezTo>
                    <a:pt x="2048324" y="2192548"/>
                    <a:pt x="2108989" y="2201420"/>
                    <a:pt x="2160761" y="2209026"/>
                  </a:cubicBezTo>
                  <a:cubicBezTo>
                    <a:pt x="2160761" y="2209026"/>
                    <a:pt x="2160761" y="2209026"/>
                    <a:pt x="2168384" y="2167196"/>
                  </a:cubicBezTo>
                  <a:close/>
                  <a:moveTo>
                    <a:pt x="190889" y="2143747"/>
                  </a:moveTo>
                  <a:cubicBezTo>
                    <a:pt x="190889" y="2143747"/>
                    <a:pt x="190889" y="2143747"/>
                    <a:pt x="226145" y="2172900"/>
                  </a:cubicBezTo>
                  <a:cubicBezTo>
                    <a:pt x="226145" y="2172900"/>
                    <a:pt x="226145" y="2172900"/>
                    <a:pt x="239485" y="2151035"/>
                  </a:cubicBezTo>
                  <a:cubicBezTo>
                    <a:pt x="239485" y="2151035"/>
                    <a:pt x="239485" y="2151035"/>
                    <a:pt x="273152" y="2174485"/>
                  </a:cubicBezTo>
                  <a:cubicBezTo>
                    <a:pt x="273152" y="2174485"/>
                    <a:pt x="273152" y="2174485"/>
                    <a:pt x="282999" y="2167831"/>
                  </a:cubicBezTo>
                  <a:lnTo>
                    <a:pt x="323971" y="2235645"/>
                  </a:lnTo>
                  <a:cubicBezTo>
                    <a:pt x="323971" y="2235645"/>
                    <a:pt x="323971" y="2235645"/>
                    <a:pt x="290621" y="2328176"/>
                  </a:cubicBezTo>
                  <a:cubicBezTo>
                    <a:pt x="290621" y="2328176"/>
                    <a:pt x="290621" y="2328176"/>
                    <a:pt x="288081" y="2326274"/>
                  </a:cubicBezTo>
                  <a:cubicBezTo>
                    <a:pt x="288081" y="2326274"/>
                    <a:pt x="288081" y="2326274"/>
                    <a:pt x="237897" y="2290149"/>
                  </a:cubicBezTo>
                  <a:cubicBezTo>
                    <a:pt x="237897" y="2290149"/>
                    <a:pt x="237897" y="2290149"/>
                    <a:pt x="246472" y="2261312"/>
                  </a:cubicBezTo>
                  <a:cubicBezTo>
                    <a:pt x="246472" y="2261312"/>
                    <a:pt x="246472" y="2261312"/>
                    <a:pt x="225510" y="2243250"/>
                  </a:cubicBezTo>
                  <a:cubicBezTo>
                    <a:pt x="225510" y="2243250"/>
                    <a:pt x="225510" y="2243250"/>
                    <a:pt x="236944" y="2226138"/>
                  </a:cubicBezTo>
                  <a:cubicBezTo>
                    <a:pt x="236944" y="2226138"/>
                    <a:pt x="236944" y="2226138"/>
                    <a:pt x="168338" y="2176386"/>
                  </a:cubicBezTo>
                  <a:cubicBezTo>
                    <a:pt x="168338" y="2176386"/>
                    <a:pt x="168338" y="2176386"/>
                    <a:pt x="190889" y="2143747"/>
                  </a:cubicBezTo>
                  <a:close/>
                  <a:moveTo>
                    <a:pt x="462136" y="2143113"/>
                  </a:moveTo>
                  <a:cubicBezTo>
                    <a:pt x="462136" y="2143113"/>
                    <a:pt x="462136" y="2143113"/>
                    <a:pt x="577431" y="2211244"/>
                  </a:cubicBezTo>
                  <a:cubicBezTo>
                    <a:pt x="577431" y="2211244"/>
                    <a:pt x="577431" y="2211244"/>
                    <a:pt x="574573" y="2213462"/>
                  </a:cubicBezTo>
                  <a:cubicBezTo>
                    <a:pt x="574573" y="2213462"/>
                    <a:pt x="574573" y="2213462"/>
                    <a:pt x="539952" y="2238813"/>
                  </a:cubicBezTo>
                  <a:cubicBezTo>
                    <a:pt x="539952" y="2238813"/>
                    <a:pt x="539952" y="2238813"/>
                    <a:pt x="507873" y="2222335"/>
                  </a:cubicBezTo>
                  <a:cubicBezTo>
                    <a:pt x="507873" y="2222335"/>
                    <a:pt x="507873" y="2222335"/>
                    <a:pt x="483098" y="2195083"/>
                  </a:cubicBezTo>
                  <a:cubicBezTo>
                    <a:pt x="483098" y="2195083"/>
                    <a:pt x="483098" y="2195083"/>
                    <a:pt x="468170" y="2222018"/>
                  </a:cubicBezTo>
                  <a:lnTo>
                    <a:pt x="452289" y="2232792"/>
                  </a:lnTo>
                  <a:cubicBezTo>
                    <a:pt x="452289" y="2232792"/>
                    <a:pt x="452289" y="2232792"/>
                    <a:pt x="436091" y="2199202"/>
                  </a:cubicBezTo>
                  <a:cubicBezTo>
                    <a:pt x="436091" y="2199202"/>
                    <a:pt x="436091" y="2199202"/>
                    <a:pt x="462136" y="2143113"/>
                  </a:cubicBezTo>
                  <a:close/>
                  <a:moveTo>
                    <a:pt x="2473616" y="2140895"/>
                  </a:moveTo>
                  <a:cubicBezTo>
                    <a:pt x="2473616" y="2140895"/>
                    <a:pt x="2473616" y="2140895"/>
                    <a:pt x="2453288" y="2171633"/>
                  </a:cubicBezTo>
                  <a:lnTo>
                    <a:pt x="2548891" y="2213779"/>
                  </a:lnTo>
                  <a:cubicBezTo>
                    <a:pt x="2548891" y="2213779"/>
                    <a:pt x="2548891" y="2213779"/>
                    <a:pt x="2548574" y="2214413"/>
                  </a:cubicBezTo>
                  <a:cubicBezTo>
                    <a:pt x="2548574" y="2214413"/>
                    <a:pt x="2548574" y="2214413"/>
                    <a:pt x="2559055" y="2207125"/>
                  </a:cubicBezTo>
                  <a:cubicBezTo>
                    <a:pt x="2559055" y="2207125"/>
                    <a:pt x="2559055" y="2207125"/>
                    <a:pt x="2582876" y="2165929"/>
                  </a:cubicBezTo>
                  <a:cubicBezTo>
                    <a:pt x="2582876" y="2165929"/>
                    <a:pt x="2582876" y="2165929"/>
                    <a:pt x="2583194" y="2164978"/>
                  </a:cubicBezTo>
                  <a:cubicBezTo>
                    <a:pt x="2583194" y="2164978"/>
                    <a:pt x="2583194" y="2164978"/>
                    <a:pt x="2473616" y="2140895"/>
                  </a:cubicBezTo>
                  <a:close/>
                  <a:moveTo>
                    <a:pt x="945551" y="2138677"/>
                  </a:moveTo>
                  <a:cubicBezTo>
                    <a:pt x="945551" y="2138677"/>
                    <a:pt x="945551" y="2138677"/>
                    <a:pt x="894732" y="2156105"/>
                  </a:cubicBezTo>
                  <a:cubicBezTo>
                    <a:pt x="899497" y="2166563"/>
                    <a:pt x="918554" y="2210610"/>
                    <a:pt x="937293" y="2253707"/>
                  </a:cubicBezTo>
                  <a:cubicBezTo>
                    <a:pt x="947140" y="2276523"/>
                    <a:pt x="956986" y="2299022"/>
                    <a:pt x="964609" y="2315817"/>
                  </a:cubicBezTo>
                  <a:cubicBezTo>
                    <a:pt x="968420" y="2324373"/>
                    <a:pt x="971596" y="2331344"/>
                    <a:pt x="973820" y="2336098"/>
                  </a:cubicBezTo>
                  <a:cubicBezTo>
                    <a:pt x="974455" y="2337048"/>
                    <a:pt x="974772" y="2337999"/>
                    <a:pt x="975408" y="2338950"/>
                  </a:cubicBezTo>
                  <a:cubicBezTo>
                    <a:pt x="992559" y="2329126"/>
                    <a:pt x="1007805" y="2317718"/>
                    <a:pt x="1018921" y="2309796"/>
                  </a:cubicBezTo>
                  <a:cubicBezTo>
                    <a:pt x="1035120" y="2299022"/>
                    <a:pt x="1060529" y="2293001"/>
                    <a:pt x="1083080" y="2288248"/>
                  </a:cubicBezTo>
                  <a:cubicBezTo>
                    <a:pt x="1090386" y="2286980"/>
                    <a:pt x="1097373" y="2285713"/>
                    <a:pt x="1103726" y="2284762"/>
                  </a:cubicBezTo>
                  <a:cubicBezTo>
                    <a:pt x="1093879" y="2275889"/>
                    <a:pt x="1084351" y="2267650"/>
                    <a:pt x="1076093" y="2261629"/>
                  </a:cubicBezTo>
                  <a:cubicBezTo>
                    <a:pt x="1038931" y="2235645"/>
                    <a:pt x="1004946" y="2215997"/>
                    <a:pt x="977313" y="2188428"/>
                  </a:cubicBezTo>
                  <a:cubicBezTo>
                    <a:pt x="962385" y="2173534"/>
                    <a:pt x="951904" y="2155789"/>
                    <a:pt x="945551" y="2138677"/>
                  </a:cubicBezTo>
                  <a:close/>
                  <a:moveTo>
                    <a:pt x="1403875" y="2134240"/>
                  </a:moveTo>
                  <a:cubicBezTo>
                    <a:pt x="1403875" y="2134240"/>
                    <a:pt x="1403875" y="2134240"/>
                    <a:pt x="1383865" y="2178605"/>
                  </a:cubicBezTo>
                  <a:cubicBezTo>
                    <a:pt x="1383865" y="2178605"/>
                    <a:pt x="1383865" y="2178605"/>
                    <a:pt x="1382277" y="2234694"/>
                  </a:cubicBezTo>
                  <a:lnTo>
                    <a:pt x="1409275" y="2237546"/>
                  </a:lnTo>
                  <a:cubicBezTo>
                    <a:pt x="1409275" y="2237546"/>
                    <a:pt x="1409275" y="2237546"/>
                    <a:pt x="1427062" y="2147866"/>
                  </a:cubicBezTo>
                  <a:cubicBezTo>
                    <a:pt x="1427062" y="2147866"/>
                    <a:pt x="1427062" y="2147866"/>
                    <a:pt x="1403875" y="2134240"/>
                  </a:cubicBezTo>
                  <a:close/>
                  <a:moveTo>
                    <a:pt x="2281774" y="2133606"/>
                  </a:moveTo>
                  <a:cubicBezTo>
                    <a:pt x="2281774" y="2133606"/>
                    <a:pt x="2281774" y="2133606"/>
                    <a:pt x="2278915" y="2148183"/>
                  </a:cubicBezTo>
                  <a:cubicBezTo>
                    <a:pt x="2278915" y="2148183"/>
                    <a:pt x="2278915" y="2148183"/>
                    <a:pt x="2292255" y="2150718"/>
                  </a:cubicBezTo>
                  <a:cubicBezTo>
                    <a:pt x="2292255" y="2150718"/>
                    <a:pt x="2292255" y="2150718"/>
                    <a:pt x="2289396" y="2165295"/>
                  </a:cubicBezTo>
                  <a:cubicBezTo>
                    <a:pt x="2289396" y="2165295"/>
                    <a:pt x="2289396" y="2165295"/>
                    <a:pt x="2308136" y="2169098"/>
                  </a:cubicBezTo>
                  <a:cubicBezTo>
                    <a:pt x="2308136" y="2169098"/>
                    <a:pt x="2308136" y="2169098"/>
                    <a:pt x="2312900" y="2143747"/>
                  </a:cubicBezTo>
                  <a:close/>
                  <a:moveTo>
                    <a:pt x="1314307" y="2133606"/>
                  </a:moveTo>
                  <a:cubicBezTo>
                    <a:pt x="1314307" y="2133606"/>
                    <a:pt x="1314307" y="2133606"/>
                    <a:pt x="1308907" y="2144064"/>
                  </a:cubicBezTo>
                  <a:cubicBezTo>
                    <a:pt x="1308907" y="2144064"/>
                    <a:pt x="1308907" y="2144064"/>
                    <a:pt x="1307955" y="2145648"/>
                  </a:cubicBezTo>
                  <a:cubicBezTo>
                    <a:pt x="1307955" y="2145648"/>
                    <a:pt x="1307955" y="2145648"/>
                    <a:pt x="1306049" y="2146282"/>
                  </a:cubicBezTo>
                  <a:cubicBezTo>
                    <a:pt x="1306049" y="2146282"/>
                    <a:pt x="1306049" y="2146282"/>
                    <a:pt x="1293979" y="2149768"/>
                  </a:cubicBezTo>
                  <a:cubicBezTo>
                    <a:pt x="1293979" y="2149768"/>
                    <a:pt x="1293979" y="2149768"/>
                    <a:pt x="1286992" y="2164661"/>
                  </a:cubicBezTo>
                  <a:lnTo>
                    <a:pt x="1306684" y="2173851"/>
                  </a:lnTo>
                  <a:cubicBezTo>
                    <a:pt x="1306684" y="2173851"/>
                    <a:pt x="1306684" y="2173851"/>
                    <a:pt x="1312084" y="2161176"/>
                  </a:cubicBezTo>
                  <a:cubicBezTo>
                    <a:pt x="1312084" y="2161176"/>
                    <a:pt x="1312084" y="2161176"/>
                    <a:pt x="1313036" y="2158958"/>
                  </a:cubicBezTo>
                  <a:cubicBezTo>
                    <a:pt x="1313036" y="2158958"/>
                    <a:pt x="1313036" y="2158958"/>
                    <a:pt x="1315577" y="2158641"/>
                  </a:cubicBezTo>
                  <a:cubicBezTo>
                    <a:pt x="1315577" y="2158641"/>
                    <a:pt x="1315577" y="2158641"/>
                    <a:pt x="1328282" y="2157373"/>
                  </a:cubicBezTo>
                  <a:cubicBezTo>
                    <a:pt x="1328282" y="2157373"/>
                    <a:pt x="1328282" y="2157373"/>
                    <a:pt x="1333999" y="2142796"/>
                  </a:cubicBezTo>
                  <a:cubicBezTo>
                    <a:pt x="1333999" y="2142796"/>
                    <a:pt x="1333999" y="2142796"/>
                    <a:pt x="1314307" y="2133606"/>
                  </a:cubicBezTo>
                  <a:close/>
                  <a:moveTo>
                    <a:pt x="2267163" y="2129170"/>
                  </a:moveTo>
                  <a:cubicBezTo>
                    <a:pt x="2267163" y="2129170"/>
                    <a:pt x="2267163" y="2129170"/>
                    <a:pt x="2257635" y="2194766"/>
                  </a:cubicBezTo>
                  <a:cubicBezTo>
                    <a:pt x="2281456" y="2199519"/>
                    <a:pt x="2344345" y="2210927"/>
                    <a:pt x="2356414" y="2213145"/>
                  </a:cubicBezTo>
                  <a:cubicBezTo>
                    <a:pt x="2356414" y="2213145"/>
                    <a:pt x="2356414" y="2213145"/>
                    <a:pt x="2364037" y="2175119"/>
                  </a:cubicBezTo>
                  <a:cubicBezTo>
                    <a:pt x="2363720" y="2175119"/>
                    <a:pt x="2363720" y="2174802"/>
                    <a:pt x="2363402" y="2174802"/>
                  </a:cubicBezTo>
                  <a:cubicBezTo>
                    <a:pt x="2362131" y="2174485"/>
                    <a:pt x="2361814" y="2174168"/>
                    <a:pt x="2360226" y="2173534"/>
                  </a:cubicBezTo>
                  <a:cubicBezTo>
                    <a:pt x="2350697" y="2167831"/>
                    <a:pt x="2321158" y="2147549"/>
                    <a:pt x="2317982" y="2145331"/>
                  </a:cubicBezTo>
                  <a:cubicBezTo>
                    <a:pt x="2317982" y="2145331"/>
                    <a:pt x="2317982" y="2145331"/>
                    <a:pt x="2317030" y="2145014"/>
                  </a:cubicBezTo>
                  <a:cubicBezTo>
                    <a:pt x="2317030" y="2145014"/>
                    <a:pt x="2317030" y="2145014"/>
                    <a:pt x="2311312" y="2173851"/>
                  </a:cubicBezTo>
                  <a:cubicBezTo>
                    <a:pt x="2311312" y="2173851"/>
                    <a:pt x="2311312" y="2173851"/>
                    <a:pt x="2309406" y="2173534"/>
                  </a:cubicBezTo>
                  <a:cubicBezTo>
                    <a:pt x="2309406" y="2173534"/>
                    <a:pt x="2309406" y="2173534"/>
                    <a:pt x="2284315" y="2168464"/>
                  </a:cubicBezTo>
                  <a:cubicBezTo>
                    <a:pt x="2284315" y="2168464"/>
                    <a:pt x="2284315" y="2168464"/>
                    <a:pt x="2287491" y="2153887"/>
                  </a:cubicBezTo>
                  <a:lnTo>
                    <a:pt x="2273833" y="2151352"/>
                  </a:lnTo>
                  <a:cubicBezTo>
                    <a:pt x="2273833" y="2151352"/>
                    <a:pt x="2273833" y="2151352"/>
                    <a:pt x="2277645" y="2132339"/>
                  </a:cubicBezTo>
                  <a:cubicBezTo>
                    <a:pt x="2277645" y="2132339"/>
                    <a:pt x="2277645" y="2132339"/>
                    <a:pt x="2267163" y="2129170"/>
                  </a:cubicBezTo>
                  <a:close/>
                  <a:moveTo>
                    <a:pt x="461818" y="2129170"/>
                  </a:moveTo>
                  <a:cubicBezTo>
                    <a:pt x="457689" y="2137726"/>
                    <a:pt x="451654" y="2150718"/>
                    <a:pt x="444349" y="2164028"/>
                  </a:cubicBezTo>
                  <a:cubicBezTo>
                    <a:pt x="438314" y="2176069"/>
                    <a:pt x="431009" y="2188428"/>
                    <a:pt x="424021" y="2199202"/>
                  </a:cubicBezTo>
                  <a:cubicBezTo>
                    <a:pt x="420210" y="2204906"/>
                    <a:pt x="416399" y="2209976"/>
                    <a:pt x="412269" y="2214413"/>
                  </a:cubicBezTo>
                  <a:lnTo>
                    <a:pt x="445619" y="2265432"/>
                  </a:lnTo>
                  <a:cubicBezTo>
                    <a:pt x="445619" y="2265432"/>
                    <a:pt x="445619" y="2265432"/>
                    <a:pt x="488498" y="2264481"/>
                  </a:cubicBezTo>
                  <a:cubicBezTo>
                    <a:pt x="488498" y="2264481"/>
                    <a:pt x="488498" y="2264481"/>
                    <a:pt x="488816" y="2264481"/>
                  </a:cubicBezTo>
                  <a:cubicBezTo>
                    <a:pt x="488816" y="2264481"/>
                    <a:pt x="502791" y="2269868"/>
                    <a:pt x="516766" y="2274938"/>
                  </a:cubicBezTo>
                  <a:cubicBezTo>
                    <a:pt x="523754" y="2277473"/>
                    <a:pt x="530741" y="2280325"/>
                    <a:pt x="535823" y="2282227"/>
                  </a:cubicBezTo>
                  <a:cubicBezTo>
                    <a:pt x="536776" y="2282544"/>
                    <a:pt x="537729" y="2282861"/>
                    <a:pt x="546940" y="2286663"/>
                  </a:cubicBezTo>
                  <a:cubicBezTo>
                    <a:pt x="546940" y="2286663"/>
                    <a:pt x="546940" y="2286663"/>
                    <a:pt x="546940" y="2287297"/>
                  </a:cubicBezTo>
                  <a:cubicBezTo>
                    <a:pt x="557104" y="2271770"/>
                    <a:pt x="568538" y="2254658"/>
                    <a:pt x="578702" y="2239764"/>
                  </a:cubicBezTo>
                  <a:cubicBezTo>
                    <a:pt x="585689" y="2229623"/>
                    <a:pt x="591724" y="2220434"/>
                    <a:pt x="596806" y="2213779"/>
                  </a:cubicBezTo>
                  <a:cubicBezTo>
                    <a:pt x="597759" y="2212195"/>
                    <a:pt x="598712" y="2211244"/>
                    <a:pt x="599347" y="2209976"/>
                  </a:cubicBezTo>
                  <a:cubicBezTo>
                    <a:pt x="554245" y="2183992"/>
                    <a:pt x="486910" y="2144064"/>
                    <a:pt x="461818" y="2129170"/>
                  </a:cubicBezTo>
                  <a:close/>
                  <a:moveTo>
                    <a:pt x="2226190" y="2128536"/>
                  </a:moveTo>
                  <a:lnTo>
                    <a:pt x="2218568" y="2170999"/>
                  </a:lnTo>
                  <a:cubicBezTo>
                    <a:pt x="2218568" y="2170999"/>
                    <a:pt x="2218568" y="2170999"/>
                    <a:pt x="2239530" y="2174485"/>
                  </a:cubicBezTo>
                  <a:cubicBezTo>
                    <a:pt x="2239530" y="2174485"/>
                    <a:pt x="2239530" y="2174485"/>
                    <a:pt x="2245565" y="2131705"/>
                  </a:cubicBezTo>
                  <a:cubicBezTo>
                    <a:pt x="2245565" y="2131705"/>
                    <a:pt x="2245565" y="2131705"/>
                    <a:pt x="2226190" y="2128536"/>
                  </a:cubicBezTo>
                  <a:close/>
                  <a:moveTo>
                    <a:pt x="1312401" y="2127902"/>
                  </a:moveTo>
                  <a:cubicBezTo>
                    <a:pt x="1312401" y="2127902"/>
                    <a:pt x="1312401" y="2127902"/>
                    <a:pt x="1339716" y="2140578"/>
                  </a:cubicBezTo>
                  <a:cubicBezTo>
                    <a:pt x="1339716" y="2140578"/>
                    <a:pt x="1339716" y="2140578"/>
                    <a:pt x="1331458" y="2161493"/>
                  </a:cubicBezTo>
                  <a:cubicBezTo>
                    <a:pt x="1331458" y="2161493"/>
                    <a:pt x="1331458" y="2161493"/>
                    <a:pt x="1316213" y="2163077"/>
                  </a:cubicBezTo>
                  <a:lnTo>
                    <a:pt x="1308907" y="2179555"/>
                  </a:lnTo>
                  <a:cubicBezTo>
                    <a:pt x="1308907" y="2179555"/>
                    <a:pt x="1308907" y="2179555"/>
                    <a:pt x="1281275" y="2166880"/>
                  </a:cubicBezTo>
                  <a:cubicBezTo>
                    <a:pt x="1281275" y="2166880"/>
                    <a:pt x="1281275" y="2166880"/>
                    <a:pt x="1290803" y="2146282"/>
                  </a:cubicBezTo>
                  <a:cubicBezTo>
                    <a:pt x="1290803" y="2146282"/>
                    <a:pt x="1290803" y="2146282"/>
                    <a:pt x="1304778" y="2141845"/>
                  </a:cubicBezTo>
                  <a:cubicBezTo>
                    <a:pt x="1304778" y="2141845"/>
                    <a:pt x="1304778" y="2141845"/>
                    <a:pt x="1312401" y="2127902"/>
                  </a:cubicBezTo>
                  <a:close/>
                  <a:moveTo>
                    <a:pt x="1401970" y="2127586"/>
                  </a:moveTo>
                  <a:cubicBezTo>
                    <a:pt x="1401970" y="2127586"/>
                    <a:pt x="1401970" y="2127586"/>
                    <a:pt x="1432461" y="2145648"/>
                  </a:cubicBezTo>
                  <a:cubicBezTo>
                    <a:pt x="1432461" y="2145648"/>
                    <a:pt x="1432461" y="2145648"/>
                    <a:pt x="1413086" y="2242933"/>
                  </a:cubicBezTo>
                  <a:lnTo>
                    <a:pt x="1410863" y="2242616"/>
                  </a:lnTo>
                  <a:cubicBezTo>
                    <a:pt x="1410863" y="2242616"/>
                    <a:pt x="1410863" y="2242616"/>
                    <a:pt x="1377513" y="2238813"/>
                  </a:cubicBezTo>
                  <a:cubicBezTo>
                    <a:pt x="1377513" y="2238813"/>
                    <a:pt x="1377513" y="2238813"/>
                    <a:pt x="1379419" y="2177654"/>
                  </a:cubicBezTo>
                  <a:cubicBezTo>
                    <a:pt x="1379419" y="2177654"/>
                    <a:pt x="1379419" y="2177654"/>
                    <a:pt x="1401970" y="2127586"/>
                  </a:cubicBezTo>
                  <a:close/>
                  <a:moveTo>
                    <a:pt x="1655430" y="2124417"/>
                  </a:moveTo>
                  <a:cubicBezTo>
                    <a:pt x="1655430" y="2124417"/>
                    <a:pt x="1655430" y="2124417"/>
                    <a:pt x="1640819" y="2126952"/>
                  </a:cubicBezTo>
                  <a:cubicBezTo>
                    <a:pt x="1639231" y="2130438"/>
                    <a:pt x="1634467" y="2142796"/>
                    <a:pt x="1629385" y="2155472"/>
                  </a:cubicBezTo>
                  <a:cubicBezTo>
                    <a:pt x="1623668" y="2170365"/>
                    <a:pt x="1617951" y="2186844"/>
                    <a:pt x="1617951" y="2189696"/>
                  </a:cubicBezTo>
                  <a:cubicBezTo>
                    <a:pt x="1618268" y="2190329"/>
                    <a:pt x="1618268" y="2190646"/>
                    <a:pt x="1618268" y="2191597"/>
                  </a:cubicBezTo>
                  <a:cubicBezTo>
                    <a:pt x="1619221" y="2198252"/>
                    <a:pt x="1619856" y="2220117"/>
                    <a:pt x="1620491" y="2242616"/>
                  </a:cubicBezTo>
                  <a:cubicBezTo>
                    <a:pt x="1620491" y="2242616"/>
                    <a:pt x="1620809" y="2242616"/>
                    <a:pt x="1620809" y="2242616"/>
                  </a:cubicBezTo>
                  <a:cubicBezTo>
                    <a:pt x="1623985" y="2242616"/>
                    <a:pt x="1676710" y="2248320"/>
                    <a:pt x="1729117" y="2253707"/>
                  </a:cubicBezTo>
                  <a:cubicBezTo>
                    <a:pt x="1755479" y="2256559"/>
                    <a:pt x="1781524" y="2259411"/>
                    <a:pt x="1800899" y="2261629"/>
                  </a:cubicBezTo>
                  <a:cubicBezTo>
                    <a:pt x="1806299" y="2262263"/>
                    <a:pt x="1811380" y="2262580"/>
                    <a:pt x="1815827" y="2263214"/>
                  </a:cubicBezTo>
                  <a:cubicBezTo>
                    <a:pt x="1815827" y="2263214"/>
                    <a:pt x="1815827" y="2263214"/>
                    <a:pt x="1823450" y="2218532"/>
                  </a:cubicBezTo>
                  <a:lnTo>
                    <a:pt x="1625891" y="2166880"/>
                  </a:lnTo>
                  <a:cubicBezTo>
                    <a:pt x="1625891" y="2166880"/>
                    <a:pt x="1625891" y="2166880"/>
                    <a:pt x="1627161" y="2162760"/>
                  </a:cubicBezTo>
                  <a:cubicBezTo>
                    <a:pt x="1627161" y="2162760"/>
                    <a:pt x="1627161" y="2162760"/>
                    <a:pt x="1824085" y="2214413"/>
                  </a:cubicBezTo>
                  <a:cubicBezTo>
                    <a:pt x="1824085" y="2214413"/>
                    <a:pt x="1824085" y="2214413"/>
                    <a:pt x="1833614" y="2160542"/>
                  </a:cubicBezTo>
                  <a:cubicBezTo>
                    <a:pt x="1833614" y="2160542"/>
                    <a:pt x="1833614" y="2160542"/>
                    <a:pt x="1655430" y="2124417"/>
                  </a:cubicBezTo>
                  <a:close/>
                  <a:moveTo>
                    <a:pt x="2543809" y="2122832"/>
                  </a:moveTo>
                  <a:cubicBezTo>
                    <a:pt x="2543809" y="2122832"/>
                    <a:pt x="2543809" y="2122832"/>
                    <a:pt x="2540633" y="2138043"/>
                  </a:cubicBezTo>
                  <a:cubicBezTo>
                    <a:pt x="2540633" y="2138043"/>
                    <a:pt x="2540633" y="2138043"/>
                    <a:pt x="2579382" y="2146282"/>
                  </a:cubicBezTo>
                  <a:cubicBezTo>
                    <a:pt x="2579382" y="2146282"/>
                    <a:pt x="2579382" y="2146282"/>
                    <a:pt x="2582559" y="2131071"/>
                  </a:cubicBezTo>
                  <a:close/>
                  <a:moveTo>
                    <a:pt x="2181088" y="2120931"/>
                  </a:moveTo>
                  <a:cubicBezTo>
                    <a:pt x="2181088" y="2120931"/>
                    <a:pt x="2181088" y="2120931"/>
                    <a:pt x="2173148" y="2163394"/>
                  </a:cubicBezTo>
                  <a:lnTo>
                    <a:pt x="2214438" y="2170365"/>
                  </a:lnTo>
                  <a:cubicBezTo>
                    <a:pt x="2214438" y="2170365"/>
                    <a:pt x="2214438" y="2170365"/>
                    <a:pt x="2222062" y="2127902"/>
                  </a:cubicBezTo>
                  <a:cubicBezTo>
                    <a:pt x="2222062" y="2127902"/>
                    <a:pt x="2222062" y="2127902"/>
                    <a:pt x="2181088" y="2120931"/>
                  </a:cubicBezTo>
                  <a:close/>
                  <a:moveTo>
                    <a:pt x="1874587" y="2120297"/>
                  </a:moveTo>
                  <a:lnTo>
                    <a:pt x="1872681" y="2135825"/>
                  </a:lnTo>
                  <a:cubicBezTo>
                    <a:pt x="1872681" y="2135825"/>
                    <a:pt x="1872681" y="2135825"/>
                    <a:pt x="1912383" y="2140578"/>
                  </a:cubicBezTo>
                  <a:cubicBezTo>
                    <a:pt x="1912383" y="2140578"/>
                    <a:pt x="1912383" y="2140578"/>
                    <a:pt x="1914289" y="2125051"/>
                  </a:cubicBezTo>
                  <a:cubicBezTo>
                    <a:pt x="1914289" y="2125051"/>
                    <a:pt x="1914289" y="2125051"/>
                    <a:pt x="1874587" y="2120297"/>
                  </a:cubicBezTo>
                  <a:close/>
                  <a:moveTo>
                    <a:pt x="2540633" y="2117762"/>
                  </a:moveTo>
                  <a:cubicBezTo>
                    <a:pt x="2540633" y="2117762"/>
                    <a:pt x="2540633" y="2117762"/>
                    <a:pt x="2587641" y="2127902"/>
                  </a:cubicBezTo>
                  <a:cubicBezTo>
                    <a:pt x="2587641" y="2127902"/>
                    <a:pt x="2587641" y="2127902"/>
                    <a:pt x="2582559" y="2151352"/>
                  </a:cubicBezTo>
                  <a:cubicBezTo>
                    <a:pt x="2582559" y="2151352"/>
                    <a:pt x="2582559" y="2151352"/>
                    <a:pt x="2580653" y="2150718"/>
                  </a:cubicBezTo>
                  <a:cubicBezTo>
                    <a:pt x="2580653" y="2150718"/>
                    <a:pt x="2580653" y="2150718"/>
                    <a:pt x="2535551" y="2141212"/>
                  </a:cubicBezTo>
                  <a:close/>
                  <a:moveTo>
                    <a:pt x="1871093" y="2115544"/>
                  </a:moveTo>
                  <a:cubicBezTo>
                    <a:pt x="1871093" y="2115544"/>
                    <a:pt x="1871093" y="2115544"/>
                    <a:pt x="1918735" y="2121565"/>
                  </a:cubicBezTo>
                  <a:cubicBezTo>
                    <a:pt x="1918735" y="2121565"/>
                    <a:pt x="1918735" y="2121565"/>
                    <a:pt x="1915877" y="2145331"/>
                  </a:cubicBezTo>
                  <a:cubicBezTo>
                    <a:pt x="1915877" y="2145331"/>
                    <a:pt x="1915877" y="2145331"/>
                    <a:pt x="1913971" y="2145014"/>
                  </a:cubicBezTo>
                  <a:cubicBezTo>
                    <a:pt x="1913971" y="2145014"/>
                    <a:pt x="1913971" y="2145014"/>
                    <a:pt x="1868234" y="2139627"/>
                  </a:cubicBezTo>
                  <a:close/>
                  <a:moveTo>
                    <a:pt x="1017333" y="2112375"/>
                  </a:moveTo>
                  <a:cubicBezTo>
                    <a:pt x="1017333" y="2112375"/>
                    <a:pt x="1017333" y="2112375"/>
                    <a:pt x="1009393" y="2137726"/>
                  </a:cubicBezTo>
                  <a:cubicBezTo>
                    <a:pt x="1010346" y="2139944"/>
                    <a:pt x="1012251" y="2145965"/>
                    <a:pt x="1016063" y="2153571"/>
                  </a:cubicBezTo>
                  <a:cubicBezTo>
                    <a:pt x="1020827" y="2162760"/>
                    <a:pt x="1027815" y="2173534"/>
                    <a:pt x="1037026" y="2180506"/>
                  </a:cubicBezTo>
                  <a:cubicBezTo>
                    <a:pt x="1050366" y="2190329"/>
                    <a:pt x="1058941" y="2197301"/>
                    <a:pt x="1063070" y="2200470"/>
                  </a:cubicBezTo>
                  <a:cubicBezTo>
                    <a:pt x="1063070" y="2200470"/>
                    <a:pt x="1063070" y="2200470"/>
                    <a:pt x="1071964" y="2172900"/>
                  </a:cubicBezTo>
                  <a:cubicBezTo>
                    <a:pt x="1071964" y="2172900"/>
                    <a:pt x="1071964" y="2172900"/>
                    <a:pt x="1084033" y="2176703"/>
                  </a:cubicBezTo>
                  <a:lnTo>
                    <a:pt x="1090068" y="2148817"/>
                  </a:lnTo>
                  <a:cubicBezTo>
                    <a:pt x="1090068" y="2148817"/>
                    <a:pt x="1090068" y="2148817"/>
                    <a:pt x="1017333" y="2112375"/>
                  </a:cubicBezTo>
                  <a:close/>
                  <a:moveTo>
                    <a:pt x="1786924" y="2108572"/>
                  </a:moveTo>
                  <a:cubicBezTo>
                    <a:pt x="1786924" y="2108572"/>
                    <a:pt x="1786924" y="2108572"/>
                    <a:pt x="1785018" y="2124100"/>
                  </a:cubicBezTo>
                  <a:lnTo>
                    <a:pt x="1824403" y="2129170"/>
                  </a:lnTo>
                  <a:cubicBezTo>
                    <a:pt x="1824403" y="2129170"/>
                    <a:pt x="1824403" y="2129170"/>
                    <a:pt x="1826308" y="2113326"/>
                  </a:cubicBezTo>
                  <a:cubicBezTo>
                    <a:pt x="1826308" y="2113326"/>
                    <a:pt x="1826308" y="2113326"/>
                    <a:pt x="1786924" y="2108572"/>
                  </a:cubicBezTo>
                  <a:close/>
                  <a:moveTo>
                    <a:pt x="1482645" y="2108572"/>
                  </a:moveTo>
                  <a:cubicBezTo>
                    <a:pt x="1482645" y="2108572"/>
                    <a:pt x="1482645" y="2108572"/>
                    <a:pt x="1455012" y="2258143"/>
                  </a:cubicBezTo>
                  <a:lnTo>
                    <a:pt x="1495667" y="2266066"/>
                  </a:lnTo>
                  <a:cubicBezTo>
                    <a:pt x="1495667" y="2266066"/>
                    <a:pt x="1495667" y="2266066"/>
                    <a:pt x="1523300" y="2117445"/>
                  </a:cubicBezTo>
                  <a:cubicBezTo>
                    <a:pt x="1523300" y="2117445"/>
                    <a:pt x="1523300" y="2117445"/>
                    <a:pt x="1482645" y="2108572"/>
                  </a:cubicBezTo>
                  <a:close/>
                  <a:moveTo>
                    <a:pt x="2300831" y="2107938"/>
                  </a:moveTo>
                  <a:cubicBezTo>
                    <a:pt x="2300831" y="2107938"/>
                    <a:pt x="2300831" y="2107938"/>
                    <a:pt x="2297972" y="2122515"/>
                  </a:cubicBezTo>
                  <a:cubicBezTo>
                    <a:pt x="2297972" y="2122515"/>
                    <a:pt x="2297972" y="2122515"/>
                    <a:pt x="2284315" y="2119980"/>
                  </a:cubicBezTo>
                  <a:cubicBezTo>
                    <a:pt x="2284315" y="2119980"/>
                    <a:pt x="2284315" y="2119980"/>
                    <a:pt x="2282409" y="2129487"/>
                  </a:cubicBezTo>
                  <a:lnTo>
                    <a:pt x="2313853" y="2139627"/>
                  </a:lnTo>
                  <a:cubicBezTo>
                    <a:pt x="2313853" y="2139627"/>
                    <a:pt x="2313853" y="2139627"/>
                    <a:pt x="2319570" y="2111741"/>
                  </a:cubicBezTo>
                  <a:cubicBezTo>
                    <a:pt x="2319570" y="2111741"/>
                    <a:pt x="2319570" y="2111741"/>
                    <a:pt x="2300831" y="2107938"/>
                  </a:cubicBezTo>
                  <a:close/>
                  <a:moveTo>
                    <a:pt x="1014475" y="2105720"/>
                  </a:moveTo>
                  <a:lnTo>
                    <a:pt x="1095150" y="2146282"/>
                  </a:lnTo>
                  <a:cubicBezTo>
                    <a:pt x="1095150" y="2146282"/>
                    <a:pt x="1095150" y="2146282"/>
                    <a:pt x="1094832" y="2148183"/>
                  </a:cubicBezTo>
                  <a:cubicBezTo>
                    <a:pt x="1094832" y="2148183"/>
                    <a:pt x="1094832" y="2148183"/>
                    <a:pt x="1087527" y="2182407"/>
                  </a:cubicBezTo>
                  <a:cubicBezTo>
                    <a:pt x="1087527" y="2182407"/>
                    <a:pt x="1087527" y="2182407"/>
                    <a:pt x="1075140" y="2178921"/>
                  </a:cubicBezTo>
                  <a:cubicBezTo>
                    <a:pt x="1075140" y="2178921"/>
                    <a:pt x="1075140" y="2178921"/>
                    <a:pt x="1065611" y="2208392"/>
                  </a:cubicBezTo>
                  <a:cubicBezTo>
                    <a:pt x="1065611" y="2208392"/>
                    <a:pt x="1065611" y="2208392"/>
                    <a:pt x="1062753" y="2206174"/>
                  </a:cubicBezTo>
                  <a:cubicBezTo>
                    <a:pt x="1062753" y="2206174"/>
                    <a:pt x="1053224" y="2198568"/>
                    <a:pt x="1034167" y="2184308"/>
                  </a:cubicBezTo>
                  <a:cubicBezTo>
                    <a:pt x="1014157" y="2169098"/>
                    <a:pt x="1004946" y="2138677"/>
                    <a:pt x="1004946" y="2138360"/>
                  </a:cubicBezTo>
                  <a:cubicBezTo>
                    <a:pt x="1004946" y="2138360"/>
                    <a:pt x="1004946" y="2138360"/>
                    <a:pt x="1004629" y="2137726"/>
                  </a:cubicBezTo>
                  <a:cubicBezTo>
                    <a:pt x="1004629" y="2137726"/>
                    <a:pt x="1004629" y="2137726"/>
                    <a:pt x="1014475" y="2105720"/>
                  </a:cubicBezTo>
                  <a:close/>
                  <a:moveTo>
                    <a:pt x="1466764" y="2105086"/>
                  </a:moveTo>
                  <a:cubicBezTo>
                    <a:pt x="1457871" y="2151669"/>
                    <a:pt x="1451201" y="2189379"/>
                    <a:pt x="1448660" y="2207441"/>
                  </a:cubicBezTo>
                  <a:cubicBezTo>
                    <a:pt x="1446436" y="2224236"/>
                    <a:pt x="1443578" y="2240081"/>
                    <a:pt x="1440084" y="2254974"/>
                  </a:cubicBezTo>
                  <a:cubicBezTo>
                    <a:pt x="1440084" y="2254974"/>
                    <a:pt x="1440084" y="2254974"/>
                    <a:pt x="1450883" y="2257193"/>
                  </a:cubicBezTo>
                  <a:cubicBezTo>
                    <a:pt x="1450883" y="2257193"/>
                    <a:pt x="1450883" y="2257193"/>
                    <a:pt x="1478516" y="2107622"/>
                  </a:cubicBezTo>
                  <a:cubicBezTo>
                    <a:pt x="1478516" y="2107622"/>
                    <a:pt x="1478516" y="2107622"/>
                    <a:pt x="1466764" y="2105086"/>
                  </a:cubicBezTo>
                  <a:close/>
                  <a:moveTo>
                    <a:pt x="1387995" y="2104770"/>
                  </a:moveTo>
                  <a:cubicBezTo>
                    <a:pt x="1387995" y="2104770"/>
                    <a:pt x="1387995" y="2104770"/>
                    <a:pt x="1334317" y="2217265"/>
                  </a:cubicBezTo>
                  <a:cubicBezTo>
                    <a:pt x="1334317" y="2217265"/>
                    <a:pt x="1334317" y="2217265"/>
                    <a:pt x="1354009" y="2248003"/>
                  </a:cubicBezTo>
                  <a:cubicBezTo>
                    <a:pt x="1354009" y="2248003"/>
                    <a:pt x="1354009" y="2248003"/>
                    <a:pt x="1419439" y="2252439"/>
                  </a:cubicBezTo>
                  <a:cubicBezTo>
                    <a:pt x="1422933" y="2237546"/>
                    <a:pt x="1425791" y="2221385"/>
                    <a:pt x="1428014" y="2204589"/>
                  </a:cubicBezTo>
                  <a:cubicBezTo>
                    <a:pt x="1429920" y="2190012"/>
                    <a:pt x="1434684" y="2163711"/>
                    <a:pt x="1440719" y="2130754"/>
                  </a:cubicBezTo>
                  <a:close/>
                  <a:moveTo>
                    <a:pt x="1783430" y="2103819"/>
                  </a:moveTo>
                  <a:cubicBezTo>
                    <a:pt x="1783430" y="2103819"/>
                    <a:pt x="1783430" y="2103819"/>
                    <a:pt x="1831073" y="2109840"/>
                  </a:cubicBezTo>
                  <a:cubicBezTo>
                    <a:pt x="1831073" y="2109840"/>
                    <a:pt x="1831073" y="2109840"/>
                    <a:pt x="1828214" y="2133606"/>
                  </a:cubicBezTo>
                  <a:lnTo>
                    <a:pt x="1825991" y="2133289"/>
                  </a:lnTo>
                  <a:cubicBezTo>
                    <a:pt x="1825991" y="2133289"/>
                    <a:pt x="1825991" y="2133289"/>
                    <a:pt x="1780254" y="2127902"/>
                  </a:cubicBezTo>
                  <a:cubicBezTo>
                    <a:pt x="1780254" y="2127902"/>
                    <a:pt x="1780254" y="2127902"/>
                    <a:pt x="1783430" y="2103819"/>
                  </a:cubicBezTo>
                  <a:close/>
                  <a:moveTo>
                    <a:pt x="2184265" y="2102868"/>
                  </a:moveTo>
                  <a:cubicBezTo>
                    <a:pt x="2184265" y="2102868"/>
                    <a:pt x="2184265" y="2102868"/>
                    <a:pt x="2181724" y="2116494"/>
                  </a:cubicBezTo>
                  <a:lnTo>
                    <a:pt x="2223014" y="2123466"/>
                  </a:lnTo>
                  <a:cubicBezTo>
                    <a:pt x="2223014" y="2123466"/>
                    <a:pt x="2223014" y="2123466"/>
                    <a:pt x="2225238" y="2109840"/>
                  </a:cubicBezTo>
                  <a:cubicBezTo>
                    <a:pt x="2225238" y="2109840"/>
                    <a:pt x="2225238" y="2109840"/>
                    <a:pt x="2184265" y="2102868"/>
                  </a:cubicBezTo>
                  <a:close/>
                  <a:moveTo>
                    <a:pt x="2065158" y="2101601"/>
                  </a:moveTo>
                  <a:lnTo>
                    <a:pt x="2060393" y="2145014"/>
                  </a:lnTo>
                  <a:cubicBezTo>
                    <a:pt x="2060393" y="2145014"/>
                    <a:pt x="2060393" y="2145014"/>
                    <a:pt x="2169019" y="2162760"/>
                  </a:cubicBezTo>
                  <a:cubicBezTo>
                    <a:pt x="2169019" y="2162760"/>
                    <a:pt x="2169019" y="2162760"/>
                    <a:pt x="2176960" y="2120297"/>
                  </a:cubicBezTo>
                  <a:cubicBezTo>
                    <a:pt x="2176960" y="2120297"/>
                    <a:pt x="2176960" y="2120297"/>
                    <a:pt x="2065158" y="2101601"/>
                  </a:cubicBezTo>
                  <a:close/>
                  <a:moveTo>
                    <a:pt x="1351468" y="2098115"/>
                  </a:moveTo>
                  <a:lnTo>
                    <a:pt x="1332411" y="2106037"/>
                  </a:lnTo>
                  <a:cubicBezTo>
                    <a:pt x="1332411" y="2106037"/>
                    <a:pt x="1332411" y="2106037"/>
                    <a:pt x="1338128" y="2116494"/>
                  </a:cubicBezTo>
                  <a:cubicBezTo>
                    <a:pt x="1338128" y="2116494"/>
                    <a:pt x="1338128" y="2116494"/>
                    <a:pt x="1356550" y="2109206"/>
                  </a:cubicBezTo>
                  <a:cubicBezTo>
                    <a:pt x="1356550" y="2109206"/>
                    <a:pt x="1356550" y="2109206"/>
                    <a:pt x="1351468" y="2098115"/>
                  </a:cubicBezTo>
                  <a:close/>
                  <a:moveTo>
                    <a:pt x="727665" y="2093678"/>
                  </a:moveTo>
                  <a:cubicBezTo>
                    <a:pt x="727665" y="2093678"/>
                    <a:pt x="727665" y="2093678"/>
                    <a:pt x="656518" y="2203322"/>
                  </a:cubicBezTo>
                  <a:cubicBezTo>
                    <a:pt x="656518" y="2203322"/>
                    <a:pt x="656518" y="2203322"/>
                    <a:pt x="700667" y="2225504"/>
                  </a:cubicBezTo>
                  <a:cubicBezTo>
                    <a:pt x="700667" y="2225504"/>
                    <a:pt x="700667" y="2225504"/>
                    <a:pt x="712102" y="2199836"/>
                  </a:cubicBezTo>
                  <a:cubicBezTo>
                    <a:pt x="712102" y="2199836"/>
                    <a:pt x="712102" y="2199836"/>
                    <a:pt x="698126" y="2191914"/>
                  </a:cubicBezTo>
                  <a:cubicBezTo>
                    <a:pt x="698126" y="2191914"/>
                    <a:pt x="698126" y="2191914"/>
                    <a:pt x="734970" y="2139944"/>
                  </a:cubicBezTo>
                  <a:cubicBezTo>
                    <a:pt x="734970" y="2139944"/>
                    <a:pt x="734970" y="2139944"/>
                    <a:pt x="774990" y="2162760"/>
                  </a:cubicBezTo>
                  <a:cubicBezTo>
                    <a:pt x="774990" y="2162760"/>
                    <a:pt x="774990" y="2162760"/>
                    <a:pt x="757204" y="2225187"/>
                  </a:cubicBezTo>
                  <a:cubicBezTo>
                    <a:pt x="757204" y="2225187"/>
                    <a:pt x="757204" y="2225187"/>
                    <a:pt x="734653" y="2211878"/>
                  </a:cubicBezTo>
                  <a:cubicBezTo>
                    <a:pt x="734653" y="2211878"/>
                    <a:pt x="734653" y="2211878"/>
                    <a:pt x="721948" y="2238496"/>
                  </a:cubicBezTo>
                  <a:cubicBezTo>
                    <a:pt x="721948" y="2238496"/>
                    <a:pt x="721948" y="2238496"/>
                    <a:pt x="771496" y="2273354"/>
                  </a:cubicBezTo>
                  <a:cubicBezTo>
                    <a:pt x="771496" y="2273354"/>
                    <a:pt x="771496" y="2273354"/>
                    <a:pt x="807705" y="2141529"/>
                  </a:cubicBezTo>
                  <a:close/>
                  <a:moveTo>
                    <a:pt x="1353692" y="2092728"/>
                  </a:moveTo>
                  <a:cubicBezTo>
                    <a:pt x="1353692" y="2092728"/>
                    <a:pt x="1353692" y="2092728"/>
                    <a:pt x="1362267" y="2111424"/>
                  </a:cubicBezTo>
                  <a:cubicBezTo>
                    <a:pt x="1362267" y="2111424"/>
                    <a:pt x="1362267" y="2111424"/>
                    <a:pt x="1360044" y="2112058"/>
                  </a:cubicBezTo>
                  <a:lnTo>
                    <a:pt x="1336223" y="2121882"/>
                  </a:lnTo>
                  <a:cubicBezTo>
                    <a:pt x="1336223" y="2121882"/>
                    <a:pt x="1336223" y="2121882"/>
                    <a:pt x="1326376" y="2104136"/>
                  </a:cubicBezTo>
                  <a:cubicBezTo>
                    <a:pt x="1326376" y="2104136"/>
                    <a:pt x="1326376" y="2104136"/>
                    <a:pt x="1353692" y="2092728"/>
                  </a:cubicBezTo>
                  <a:close/>
                  <a:moveTo>
                    <a:pt x="1213939" y="2088608"/>
                  </a:moveTo>
                  <a:cubicBezTo>
                    <a:pt x="1213939" y="2088608"/>
                    <a:pt x="1213939" y="2088608"/>
                    <a:pt x="1179637" y="2114276"/>
                  </a:cubicBezTo>
                  <a:lnTo>
                    <a:pt x="1216480" y="2127269"/>
                  </a:lnTo>
                  <a:cubicBezTo>
                    <a:pt x="1216480" y="2127269"/>
                    <a:pt x="1216480" y="2127269"/>
                    <a:pt x="1198376" y="2160542"/>
                  </a:cubicBezTo>
                  <a:cubicBezTo>
                    <a:pt x="1198376" y="2160542"/>
                    <a:pt x="1198376" y="2160542"/>
                    <a:pt x="1198694" y="2164661"/>
                  </a:cubicBezTo>
                  <a:cubicBezTo>
                    <a:pt x="1198694" y="2164661"/>
                    <a:pt x="1198694" y="2164661"/>
                    <a:pt x="1232679" y="2170048"/>
                  </a:cubicBezTo>
                  <a:cubicBezTo>
                    <a:pt x="1232679" y="2170048"/>
                    <a:pt x="1232679" y="2170048"/>
                    <a:pt x="1263488" y="2123783"/>
                  </a:cubicBezTo>
                  <a:cubicBezTo>
                    <a:pt x="1263488" y="2123783"/>
                    <a:pt x="1263488" y="2123783"/>
                    <a:pt x="1213939" y="2088608"/>
                  </a:cubicBezTo>
                  <a:close/>
                  <a:moveTo>
                    <a:pt x="212805" y="2088608"/>
                  </a:moveTo>
                  <a:cubicBezTo>
                    <a:pt x="205500" y="2096847"/>
                    <a:pt x="197877" y="2105086"/>
                    <a:pt x="190254" y="2113642"/>
                  </a:cubicBezTo>
                  <a:cubicBezTo>
                    <a:pt x="169926" y="2136141"/>
                    <a:pt x="149916" y="2158324"/>
                    <a:pt x="134353" y="2175119"/>
                  </a:cubicBezTo>
                  <a:cubicBezTo>
                    <a:pt x="126413" y="2183675"/>
                    <a:pt x="120060" y="2190646"/>
                    <a:pt x="115296" y="2195400"/>
                  </a:cubicBezTo>
                  <a:cubicBezTo>
                    <a:pt x="114025" y="2196350"/>
                    <a:pt x="113390" y="2197301"/>
                    <a:pt x="112437" y="2198252"/>
                  </a:cubicBezTo>
                  <a:cubicBezTo>
                    <a:pt x="134353" y="2215680"/>
                    <a:pt x="265847" y="2331028"/>
                    <a:pt x="294115" y="2356062"/>
                  </a:cubicBezTo>
                  <a:cubicBezTo>
                    <a:pt x="294115" y="2356062"/>
                    <a:pt x="294115" y="2356062"/>
                    <a:pt x="320795" y="2291417"/>
                  </a:cubicBezTo>
                  <a:cubicBezTo>
                    <a:pt x="320795" y="2291417"/>
                    <a:pt x="320795" y="2291417"/>
                    <a:pt x="339852" y="2240081"/>
                  </a:cubicBezTo>
                  <a:cubicBezTo>
                    <a:pt x="338582" y="2238179"/>
                    <a:pt x="337311" y="2235327"/>
                    <a:pt x="335406" y="2232159"/>
                  </a:cubicBezTo>
                  <a:cubicBezTo>
                    <a:pt x="321748" y="2209026"/>
                    <a:pt x="288081" y="2156422"/>
                    <a:pt x="236944" y="2109523"/>
                  </a:cubicBezTo>
                  <a:cubicBezTo>
                    <a:pt x="229321" y="2102234"/>
                    <a:pt x="221063" y="2095263"/>
                    <a:pt x="212805" y="2088608"/>
                  </a:cubicBezTo>
                  <a:close/>
                  <a:moveTo>
                    <a:pt x="726077" y="2087341"/>
                  </a:moveTo>
                  <a:cubicBezTo>
                    <a:pt x="726077" y="2087341"/>
                    <a:pt x="726077" y="2087341"/>
                    <a:pt x="813104" y="2139311"/>
                  </a:cubicBezTo>
                  <a:cubicBezTo>
                    <a:pt x="813104" y="2139311"/>
                    <a:pt x="813104" y="2139311"/>
                    <a:pt x="812469" y="2140895"/>
                  </a:cubicBezTo>
                  <a:cubicBezTo>
                    <a:pt x="812469" y="2140895"/>
                    <a:pt x="812469" y="2140895"/>
                    <a:pt x="774355" y="2280959"/>
                  </a:cubicBezTo>
                  <a:cubicBezTo>
                    <a:pt x="774355" y="2280959"/>
                    <a:pt x="774355" y="2280959"/>
                    <a:pt x="716231" y="2240081"/>
                  </a:cubicBezTo>
                  <a:cubicBezTo>
                    <a:pt x="716231" y="2240081"/>
                    <a:pt x="716231" y="2240081"/>
                    <a:pt x="732747" y="2205223"/>
                  </a:cubicBezTo>
                  <a:cubicBezTo>
                    <a:pt x="732747" y="2205223"/>
                    <a:pt x="732747" y="2205223"/>
                    <a:pt x="754345" y="2218215"/>
                  </a:cubicBezTo>
                  <a:cubicBezTo>
                    <a:pt x="754345" y="2218215"/>
                    <a:pt x="754345" y="2218215"/>
                    <a:pt x="769273" y="2164978"/>
                  </a:cubicBezTo>
                  <a:cubicBezTo>
                    <a:pt x="769273" y="2164978"/>
                    <a:pt x="769273" y="2164978"/>
                    <a:pt x="736241" y="2145965"/>
                  </a:cubicBezTo>
                  <a:cubicBezTo>
                    <a:pt x="736241" y="2145965"/>
                    <a:pt x="736241" y="2145965"/>
                    <a:pt x="704796" y="2190329"/>
                  </a:cubicBezTo>
                  <a:cubicBezTo>
                    <a:pt x="704796" y="2190329"/>
                    <a:pt x="704796" y="2190329"/>
                    <a:pt x="718136" y="2197935"/>
                  </a:cubicBezTo>
                  <a:cubicBezTo>
                    <a:pt x="718136" y="2197935"/>
                    <a:pt x="718136" y="2197935"/>
                    <a:pt x="702891" y="2232159"/>
                  </a:cubicBezTo>
                  <a:cubicBezTo>
                    <a:pt x="702891" y="2232159"/>
                    <a:pt x="702891" y="2232159"/>
                    <a:pt x="649848" y="2205223"/>
                  </a:cubicBezTo>
                  <a:close/>
                  <a:moveTo>
                    <a:pt x="1213939" y="2082904"/>
                  </a:moveTo>
                  <a:cubicBezTo>
                    <a:pt x="1213939" y="2082904"/>
                    <a:pt x="1213939" y="2082904"/>
                    <a:pt x="1269840" y="2122515"/>
                  </a:cubicBezTo>
                  <a:cubicBezTo>
                    <a:pt x="1269840" y="2122515"/>
                    <a:pt x="1269840" y="2122515"/>
                    <a:pt x="1268570" y="2124417"/>
                  </a:cubicBezTo>
                  <a:cubicBezTo>
                    <a:pt x="1268570" y="2124417"/>
                    <a:pt x="1268570" y="2124417"/>
                    <a:pt x="1234902" y="2175119"/>
                  </a:cubicBezTo>
                  <a:cubicBezTo>
                    <a:pt x="1234902" y="2175119"/>
                    <a:pt x="1234902" y="2175119"/>
                    <a:pt x="1194247" y="2168781"/>
                  </a:cubicBezTo>
                  <a:cubicBezTo>
                    <a:pt x="1194247" y="2168781"/>
                    <a:pt x="1194247" y="2168781"/>
                    <a:pt x="1193612" y="2159274"/>
                  </a:cubicBezTo>
                  <a:lnTo>
                    <a:pt x="1209810" y="2129804"/>
                  </a:lnTo>
                  <a:cubicBezTo>
                    <a:pt x="1209810" y="2129804"/>
                    <a:pt x="1209810" y="2129804"/>
                    <a:pt x="1169790" y="2115861"/>
                  </a:cubicBezTo>
                  <a:cubicBezTo>
                    <a:pt x="1169790" y="2115861"/>
                    <a:pt x="1169790" y="2115861"/>
                    <a:pt x="1213939" y="2082904"/>
                  </a:cubicBezTo>
                  <a:close/>
                  <a:moveTo>
                    <a:pt x="723536" y="2077200"/>
                  </a:moveTo>
                  <a:cubicBezTo>
                    <a:pt x="716231" y="2088608"/>
                    <a:pt x="708290" y="2100650"/>
                    <a:pt x="700667" y="2112692"/>
                  </a:cubicBezTo>
                  <a:cubicBezTo>
                    <a:pt x="683516" y="2138677"/>
                    <a:pt x="666682" y="2164978"/>
                    <a:pt x="653660" y="2184625"/>
                  </a:cubicBezTo>
                  <a:cubicBezTo>
                    <a:pt x="647307" y="2194449"/>
                    <a:pt x="641908" y="2202371"/>
                    <a:pt x="637779" y="2208392"/>
                  </a:cubicBezTo>
                  <a:cubicBezTo>
                    <a:pt x="643178" y="2211244"/>
                    <a:pt x="647307" y="2213462"/>
                    <a:pt x="649848" y="2214730"/>
                  </a:cubicBezTo>
                  <a:cubicBezTo>
                    <a:pt x="662871" y="2222018"/>
                    <a:pt x="687963" y="2239447"/>
                    <a:pt x="714007" y="2258143"/>
                  </a:cubicBezTo>
                  <a:cubicBezTo>
                    <a:pt x="740052" y="2276840"/>
                    <a:pt x="766414" y="2296170"/>
                    <a:pt x="780390" y="2305677"/>
                  </a:cubicBezTo>
                  <a:cubicBezTo>
                    <a:pt x="780390" y="2305677"/>
                    <a:pt x="780390" y="2305677"/>
                    <a:pt x="819139" y="2132022"/>
                  </a:cubicBezTo>
                  <a:lnTo>
                    <a:pt x="823586" y="2132973"/>
                  </a:lnTo>
                  <a:cubicBezTo>
                    <a:pt x="823586" y="2132973"/>
                    <a:pt x="823586" y="2132973"/>
                    <a:pt x="784201" y="2308528"/>
                  </a:cubicBezTo>
                  <a:cubicBezTo>
                    <a:pt x="811834" y="2328176"/>
                    <a:pt x="845184" y="2354794"/>
                    <a:pt x="894097" y="2360815"/>
                  </a:cubicBezTo>
                  <a:cubicBezTo>
                    <a:pt x="897591" y="2361449"/>
                    <a:pt x="901402" y="2361766"/>
                    <a:pt x="904896" y="2361766"/>
                  </a:cubicBezTo>
                  <a:cubicBezTo>
                    <a:pt x="928082" y="2361766"/>
                    <a:pt x="951269" y="2352576"/>
                    <a:pt x="971596" y="2341168"/>
                  </a:cubicBezTo>
                  <a:cubicBezTo>
                    <a:pt x="968738" y="2335781"/>
                    <a:pt x="964291" y="2326274"/>
                    <a:pt x="958574" y="2313599"/>
                  </a:cubicBezTo>
                  <a:cubicBezTo>
                    <a:pt x="946504" y="2286663"/>
                    <a:pt x="929353" y="2247369"/>
                    <a:pt x="915378" y="2214730"/>
                  </a:cubicBezTo>
                  <a:cubicBezTo>
                    <a:pt x="908390" y="2198252"/>
                    <a:pt x="902038" y="2183675"/>
                    <a:pt x="897273" y="2173218"/>
                  </a:cubicBezTo>
                  <a:cubicBezTo>
                    <a:pt x="895050" y="2167831"/>
                    <a:pt x="893144" y="2163394"/>
                    <a:pt x="891874" y="2160542"/>
                  </a:cubicBezTo>
                  <a:cubicBezTo>
                    <a:pt x="891239" y="2158958"/>
                    <a:pt x="890603" y="2157690"/>
                    <a:pt x="890286" y="2157056"/>
                  </a:cubicBezTo>
                  <a:cubicBezTo>
                    <a:pt x="890286" y="2156739"/>
                    <a:pt x="890286" y="2156739"/>
                    <a:pt x="889968" y="2156739"/>
                  </a:cubicBezTo>
                  <a:cubicBezTo>
                    <a:pt x="889968" y="2156739"/>
                    <a:pt x="889968" y="2156739"/>
                    <a:pt x="815963" y="2129804"/>
                  </a:cubicBezTo>
                  <a:cubicBezTo>
                    <a:pt x="815963" y="2129804"/>
                    <a:pt x="815963" y="2129804"/>
                    <a:pt x="723536" y="2077200"/>
                  </a:cubicBezTo>
                  <a:close/>
                  <a:moveTo>
                    <a:pt x="897591" y="2074031"/>
                  </a:moveTo>
                  <a:cubicBezTo>
                    <a:pt x="897591" y="2074031"/>
                    <a:pt x="897591" y="2074031"/>
                    <a:pt x="885522" y="2098115"/>
                  </a:cubicBezTo>
                  <a:cubicBezTo>
                    <a:pt x="885522" y="2098115"/>
                    <a:pt x="885522" y="2098115"/>
                    <a:pt x="915378" y="2112692"/>
                  </a:cubicBezTo>
                  <a:cubicBezTo>
                    <a:pt x="915378" y="2112692"/>
                    <a:pt x="915378" y="2112692"/>
                    <a:pt x="927447" y="2088608"/>
                  </a:cubicBezTo>
                  <a:close/>
                  <a:moveTo>
                    <a:pt x="1206317" y="2073081"/>
                  </a:moveTo>
                  <a:cubicBezTo>
                    <a:pt x="1206317" y="2073081"/>
                    <a:pt x="1206317" y="2073081"/>
                    <a:pt x="1128500" y="2140895"/>
                  </a:cubicBezTo>
                  <a:cubicBezTo>
                    <a:pt x="1128500" y="2140895"/>
                    <a:pt x="1128500" y="2140895"/>
                    <a:pt x="1124688" y="2153253"/>
                  </a:cubicBezTo>
                  <a:cubicBezTo>
                    <a:pt x="1125959" y="2153253"/>
                    <a:pt x="1127865" y="2153887"/>
                    <a:pt x="1130406" y="2154204"/>
                  </a:cubicBezTo>
                  <a:cubicBezTo>
                    <a:pt x="1144698" y="2157056"/>
                    <a:pt x="1173919" y="2162760"/>
                    <a:pt x="1175825" y="2162760"/>
                  </a:cubicBezTo>
                  <a:cubicBezTo>
                    <a:pt x="1175825" y="2162760"/>
                    <a:pt x="1176143" y="2162760"/>
                    <a:pt x="1176143" y="2162760"/>
                  </a:cubicBezTo>
                  <a:cubicBezTo>
                    <a:pt x="1178048" y="2163077"/>
                    <a:pt x="1178048" y="2164028"/>
                    <a:pt x="1178366" y="2164345"/>
                  </a:cubicBezTo>
                  <a:cubicBezTo>
                    <a:pt x="1179319" y="2166246"/>
                    <a:pt x="1179319" y="2169098"/>
                    <a:pt x="1179954" y="2172584"/>
                  </a:cubicBezTo>
                  <a:cubicBezTo>
                    <a:pt x="1180272" y="2174168"/>
                    <a:pt x="1180272" y="2175752"/>
                    <a:pt x="1180589" y="2177020"/>
                  </a:cubicBezTo>
                  <a:cubicBezTo>
                    <a:pt x="1180589" y="2177020"/>
                    <a:pt x="1180589" y="2177020"/>
                    <a:pt x="1239349" y="2187794"/>
                  </a:cubicBezTo>
                  <a:cubicBezTo>
                    <a:pt x="1239349" y="2187794"/>
                    <a:pt x="1239349" y="2187794"/>
                    <a:pt x="1290486" y="2121565"/>
                  </a:cubicBezTo>
                  <a:cubicBezTo>
                    <a:pt x="1290486" y="2121565"/>
                    <a:pt x="1290486" y="2121565"/>
                    <a:pt x="1206317" y="2073081"/>
                  </a:cubicBezTo>
                  <a:close/>
                  <a:moveTo>
                    <a:pt x="1667499" y="2071496"/>
                  </a:moveTo>
                  <a:cubicBezTo>
                    <a:pt x="1666864" y="2078468"/>
                    <a:pt x="1666229" y="2085123"/>
                    <a:pt x="1665593" y="2091143"/>
                  </a:cubicBezTo>
                  <a:cubicBezTo>
                    <a:pt x="1664641" y="2100650"/>
                    <a:pt x="1664005" y="2108572"/>
                    <a:pt x="1663370" y="2113959"/>
                  </a:cubicBezTo>
                  <a:cubicBezTo>
                    <a:pt x="1663052" y="2116811"/>
                    <a:pt x="1662735" y="2119030"/>
                    <a:pt x="1662417" y="2120614"/>
                  </a:cubicBezTo>
                  <a:cubicBezTo>
                    <a:pt x="1662417" y="2120931"/>
                    <a:pt x="1662417" y="2120931"/>
                    <a:pt x="1662417" y="2121248"/>
                  </a:cubicBezTo>
                  <a:cubicBezTo>
                    <a:pt x="1662417" y="2121248"/>
                    <a:pt x="1662417" y="2121248"/>
                    <a:pt x="1834249" y="2156105"/>
                  </a:cubicBezTo>
                  <a:cubicBezTo>
                    <a:pt x="1834249" y="2156105"/>
                    <a:pt x="1834249" y="2156105"/>
                    <a:pt x="1844413" y="2097798"/>
                  </a:cubicBezTo>
                  <a:close/>
                  <a:moveTo>
                    <a:pt x="973502" y="2068011"/>
                  </a:moveTo>
                  <a:cubicBezTo>
                    <a:pt x="971596" y="2072130"/>
                    <a:pt x="969691" y="2076250"/>
                    <a:pt x="968102" y="2079735"/>
                  </a:cubicBezTo>
                  <a:cubicBezTo>
                    <a:pt x="965561" y="2085439"/>
                    <a:pt x="963338" y="2089876"/>
                    <a:pt x="962068" y="2093045"/>
                  </a:cubicBezTo>
                  <a:cubicBezTo>
                    <a:pt x="961432" y="2094946"/>
                    <a:pt x="960797" y="2096214"/>
                    <a:pt x="960480" y="2097164"/>
                  </a:cubicBezTo>
                  <a:cubicBezTo>
                    <a:pt x="960162" y="2097798"/>
                    <a:pt x="960162" y="2098115"/>
                    <a:pt x="960162" y="2098432"/>
                  </a:cubicBezTo>
                  <a:cubicBezTo>
                    <a:pt x="959844" y="2098432"/>
                    <a:pt x="959844" y="2098432"/>
                    <a:pt x="959844" y="2098432"/>
                  </a:cubicBezTo>
                  <a:cubicBezTo>
                    <a:pt x="959527" y="2100016"/>
                    <a:pt x="959527" y="2102234"/>
                    <a:pt x="959527" y="2104453"/>
                  </a:cubicBezTo>
                  <a:cubicBezTo>
                    <a:pt x="959209" y="2121565"/>
                    <a:pt x="970961" y="2152937"/>
                    <a:pt x="991924" y="2173534"/>
                  </a:cubicBezTo>
                  <a:cubicBezTo>
                    <a:pt x="1017016" y="2198885"/>
                    <a:pt x="1050048" y="2218215"/>
                    <a:pt x="1088162" y="2244834"/>
                  </a:cubicBezTo>
                  <a:cubicBezTo>
                    <a:pt x="1088480" y="2245151"/>
                    <a:pt x="1089115" y="2245468"/>
                    <a:pt x="1089433" y="2245785"/>
                  </a:cubicBezTo>
                  <a:cubicBezTo>
                    <a:pt x="1089433" y="2245785"/>
                    <a:pt x="1089433" y="2245785"/>
                    <a:pt x="1124053" y="2140578"/>
                  </a:cubicBezTo>
                  <a:cubicBezTo>
                    <a:pt x="1124053" y="2140578"/>
                    <a:pt x="1124053" y="2140578"/>
                    <a:pt x="973502" y="2068011"/>
                  </a:cubicBezTo>
                  <a:close/>
                  <a:moveTo>
                    <a:pt x="1886338" y="2064842"/>
                  </a:moveTo>
                  <a:cubicBezTo>
                    <a:pt x="1886338" y="2064842"/>
                    <a:pt x="1886338" y="2064842"/>
                    <a:pt x="1884433" y="2080686"/>
                  </a:cubicBezTo>
                  <a:lnTo>
                    <a:pt x="1924135" y="2085439"/>
                  </a:lnTo>
                  <a:cubicBezTo>
                    <a:pt x="1924135" y="2085439"/>
                    <a:pt x="1924135" y="2085439"/>
                    <a:pt x="1926041" y="2069912"/>
                  </a:cubicBezTo>
                  <a:cubicBezTo>
                    <a:pt x="1926041" y="2069912"/>
                    <a:pt x="1926041" y="2069912"/>
                    <a:pt x="1886338" y="2064842"/>
                  </a:cubicBezTo>
                  <a:close/>
                  <a:moveTo>
                    <a:pt x="314761" y="2064208"/>
                  </a:moveTo>
                  <a:lnTo>
                    <a:pt x="308726" y="2073398"/>
                  </a:lnTo>
                  <a:cubicBezTo>
                    <a:pt x="315078" y="2078785"/>
                    <a:pt x="340170" y="2100650"/>
                    <a:pt x="352557" y="2124417"/>
                  </a:cubicBezTo>
                  <a:cubicBezTo>
                    <a:pt x="355416" y="2130121"/>
                    <a:pt x="357004" y="2134557"/>
                    <a:pt x="357004" y="2138360"/>
                  </a:cubicBezTo>
                  <a:cubicBezTo>
                    <a:pt x="357004" y="2141845"/>
                    <a:pt x="355416" y="2145014"/>
                    <a:pt x="352875" y="2146282"/>
                  </a:cubicBezTo>
                  <a:cubicBezTo>
                    <a:pt x="350651" y="2147866"/>
                    <a:pt x="347793" y="2148183"/>
                    <a:pt x="345570" y="2148183"/>
                  </a:cubicBezTo>
                  <a:cubicBezTo>
                    <a:pt x="344617" y="2148183"/>
                    <a:pt x="343664" y="2148183"/>
                    <a:pt x="343029" y="2147866"/>
                  </a:cubicBezTo>
                  <a:cubicBezTo>
                    <a:pt x="343029" y="2147866"/>
                    <a:pt x="343029" y="2147866"/>
                    <a:pt x="349381" y="2161176"/>
                  </a:cubicBezTo>
                  <a:cubicBezTo>
                    <a:pt x="352240" y="2162443"/>
                    <a:pt x="363674" y="2166563"/>
                    <a:pt x="372567" y="2166563"/>
                  </a:cubicBezTo>
                  <a:cubicBezTo>
                    <a:pt x="376379" y="2166563"/>
                    <a:pt x="379555" y="2165929"/>
                    <a:pt x="381778" y="2164345"/>
                  </a:cubicBezTo>
                  <a:cubicBezTo>
                    <a:pt x="384319" y="2162443"/>
                    <a:pt x="385907" y="2157373"/>
                    <a:pt x="385907" y="2151352"/>
                  </a:cubicBezTo>
                  <a:cubicBezTo>
                    <a:pt x="385907" y="2140261"/>
                    <a:pt x="382096" y="2127902"/>
                    <a:pt x="382096" y="2127902"/>
                  </a:cubicBezTo>
                  <a:cubicBezTo>
                    <a:pt x="382096" y="2127902"/>
                    <a:pt x="382096" y="2127902"/>
                    <a:pt x="380190" y="2121565"/>
                  </a:cubicBezTo>
                  <a:cubicBezTo>
                    <a:pt x="380190" y="2121565"/>
                    <a:pt x="380190" y="2121565"/>
                    <a:pt x="402741" y="2136775"/>
                  </a:cubicBezTo>
                  <a:cubicBezTo>
                    <a:pt x="402741" y="2136775"/>
                    <a:pt x="402741" y="2136775"/>
                    <a:pt x="418939" y="2124100"/>
                  </a:cubicBezTo>
                  <a:cubicBezTo>
                    <a:pt x="418939" y="2124100"/>
                    <a:pt x="418939" y="2124100"/>
                    <a:pt x="314761" y="2064208"/>
                  </a:cubicBezTo>
                  <a:close/>
                  <a:moveTo>
                    <a:pt x="1341305" y="2063891"/>
                  </a:moveTo>
                  <a:cubicBezTo>
                    <a:pt x="1341305" y="2063891"/>
                    <a:pt x="1341305" y="2063891"/>
                    <a:pt x="1244113" y="2190646"/>
                  </a:cubicBezTo>
                  <a:cubicBezTo>
                    <a:pt x="1244113" y="2190646"/>
                    <a:pt x="1244113" y="2190646"/>
                    <a:pt x="1235537" y="2242616"/>
                  </a:cubicBezTo>
                  <a:cubicBezTo>
                    <a:pt x="1235537" y="2242616"/>
                    <a:pt x="1235537" y="2242616"/>
                    <a:pt x="1239667" y="2291417"/>
                  </a:cubicBezTo>
                  <a:cubicBezTo>
                    <a:pt x="1239667" y="2291733"/>
                    <a:pt x="1239984" y="2291733"/>
                    <a:pt x="1240302" y="2291733"/>
                  </a:cubicBezTo>
                  <a:cubicBezTo>
                    <a:pt x="1240302" y="2291733"/>
                    <a:pt x="1240619" y="2292050"/>
                    <a:pt x="1240619" y="2292050"/>
                  </a:cubicBezTo>
                  <a:cubicBezTo>
                    <a:pt x="1244113" y="2295536"/>
                    <a:pt x="1273334" y="2322788"/>
                    <a:pt x="1298108" y="2345921"/>
                  </a:cubicBezTo>
                  <a:cubicBezTo>
                    <a:pt x="1303826" y="2342119"/>
                    <a:pt x="1320977" y="2330711"/>
                    <a:pt x="1324471" y="2328176"/>
                  </a:cubicBezTo>
                  <a:cubicBezTo>
                    <a:pt x="1324471" y="2328176"/>
                    <a:pt x="1324471" y="2328176"/>
                    <a:pt x="1350198" y="2252123"/>
                  </a:cubicBezTo>
                  <a:cubicBezTo>
                    <a:pt x="1350198" y="2252123"/>
                    <a:pt x="1350198" y="2252123"/>
                    <a:pt x="1348610" y="2252123"/>
                  </a:cubicBezTo>
                  <a:cubicBezTo>
                    <a:pt x="1348610" y="2252123"/>
                    <a:pt x="1348610" y="2252123"/>
                    <a:pt x="1348927" y="2249587"/>
                  </a:cubicBezTo>
                  <a:cubicBezTo>
                    <a:pt x="1348927" y="2249587"/>
                    <a:pt x="1348927" y="2249587"/>
                    <a:pt x="1328282" y="2217582"/>
                  </a:cubicBezTo>
                  <a:cubicBezTo>
                    <a:pt x="1328282" y="2217582"/>
                    <a:pt x="1328282" y="2217582"/>
                    <a:pt x="1384183" y="2100967"/>
                  </a:cubicBezTo>
                  <a:cubicBezTo>
                    <a:pt x="1384183" y="2100967"/>
                    <a:pt x="1384183" y="2100967"/>
                    <a:pt x="1372114" y="2077517"/>
                  </a:cubicBezTo>
                  <a:cubicBezTo>
                    <a:pt x="1372114" y="2077517"/>
                    <a:pt x="1372114" y="2077517"/>
                    <a:pt x="1341305" y="2063891"/>
                  </a:cubicBezTo>
                  <a:close/>
                  <a:moveTo>
                    <a:pt x="1882845" y="2060405"/>
                  </a:moveTo>
                  <a:cubicBezTo>
                    <a:pt x="1882845" y="2060405"/>
                    <a:pt x="1882845" y="2060405"/>
                    <a:pt x="1930487" y="2066109"/>
                  </a:cubicBezTo>
                  <a:cubicBezTo>
                    <a:pt x="1930487" y="2066109"/>
                    <a:pt x="1930487" y="2066109"/>
                    <a:pt x="1927629" y="2090193"/>
                  </a:cubicBezTo>
                  <a:lnTo>
                    <a:pt x="1925723" y="2089876"/>
                  </a:lnTo>
                  <a:cubicBezTo>
                    <a:pt x="1925723" y="2089876"/>
                    <a:pt x="1925723" y="2089876"/>
                    <a:pt x="1879986" y="2084172"/>
                  </a:cubicBezTo>
                  <a:cubicBezTo>
                    <a:pt x="1879986" y="2084172"/>
                    <a:pt x="1879986" y="2084172"/>
                    <a:pt x="1882845" y="2060405"/>
                  </a:cubicBezTo>
                  <a:close/>
                  <a:moveTo>
                    <a:pt x="2670222" y="2058187"/>
                  </a:moveTo>
                  <a:cubicBezTo>
                    <a:pt x="2670539" y="2062624"/>
                    <a:pt x="2670539" y="2067060"/>
                    <a:pt x="2670539" y="2071180"/>
                  </a:cubicBezTo>
                  <a:cubicBezTo>
                    <a:pt x="2670222" y="2122515"/>
                    <a:pt x="2665457" y="2163077"/>
                    <a:pt x="2649259" y="2192231"/>
                  </a:cubicBezTo>
                  <a:cubicBezTo>
                    <a:pt x="2604792" y="2268918"/>
                    <a:pt x="2500613" y="2359547"/>
                    <a:pt x="2314806" y="2395356"/>
                  </a:cubicBezTo>
                  <a:cubicBezTo>
                    <a:pt x="2225238" y="2412468"/>
                    <a:pt x="2179183" y="2422291"/>
                    <a:pt x="2155044" y="2432749"/>
                  </a:cubicBezTo>
                  <a:cubicBezTo>
                    <a:pt x="2142974" y="2437819"/>
                    <a:pt x="2136304" y="2442255"/>
                    <a:pt x="2129952" y="2448276"/>
                  </a:cubicBezTo>
                  <a:cubicBezTo>
                    <a:pt x="2123282" y="2454297"/>
                    <a:pt x="2116930" y="2462853"/>
                    <a:pt x="2107401" y="2475529"/>
                  </a:cubicBezTo>
                  <a:cubicBezTo>
                    <a:pt x="2095967" y="2490739"/>
                    <a:pt x="2088344" y="2515139"/>
                    <a:pt x="2081356" y="2540490"/>
                  </a:cubicBezTo>
                  <a:cubicBezTo>
                    <a:pt x="2087709" y="2540807"/>
                    <a:pt x="2091838" y="2541124"/>
                    <a:pt x="2092790" y="2541124"/>
                  </a:cubicBezTo>
                  <a:cubicBezTo>
                    <a:pt x="2096284" y="2541441"/>
                    <a:pt x="2099778" y="2541441"/>
                    <a:pt x="2102637" y="2541441"/>
                  </a:cubicBezTo>
                  <a:cubicBezTo>
                    <a:pt x="2104860" y="2541441"/>
                    <a:pt x="2106766" y="2541441"/>
                    <a:pt x="2108354" y="2541441"/>
                  </a:cubicBezTo>
                  <a:cubicBezTo>
                    <a:pt x="2113118" y="2530984"/>
                    <a:pt x="2121376" y="2513872"/>
                    <a:pt x="2130270" y="2497711"/>
                  </a:cubicBezTo>
                  <a:cubicBezTo>
                    <a:pt x="2130270" y="2497711"/>
                    <a:pt x="2130270" y="2497711"/>
                    <a:pt x="2130587" y="2497394"/>
                  </a:cubicBezTo>
                  <a:cubicBezTo>
                    <a:pt x="2130587" y="2497394"/>
                    <a:pt x="2130587" y="2497394"/>
                    <a:pt x="2130587" y="2497077"/>
                  </a:cubicBezTo>
                  <a:cubicBezTo>
                    <a:pt x="2131540" y="2495176"/>
                    <a:pt x="2137892" y="2485035"/>
                    <a:pt x="2151550" y="2473310"/>
                  </a:cubicBezTo>
                  <a:cubicBezTo>
                    <a:pt x="2164890" y="2461585"/>
                    <a:pt x="2185853" y="2448910"/>
                    <a:pt x="2214438" y="2443523"/>
                  </a:cubicBezTo>
                  <a:cubicBezTo>
                    <a:pt x="2230320" y="2440671"/>
                    <a:pt x="2247788" y="2438453"/>
                    <a:pt x="2266210" y="2437502"/>
                  </a:cubicBezTo>
                  <a:cubicBezTo>
                    <a:pt x="2265258" y="2431798"/>
                    <a:pt x="2264622" y="2425777"/>
                    <a:pt x="2264622" y="2421974"/>
                  </a:cubicBezTo>
                  <a:cubicBezTo>
                    <a:pt x="2264940" y="2420390"/>
                    <a:pt x="2263670" y="2419756"/>
                    <a:pt x="2266210" y="2417538"/>
                  </a:cubicBezTo>
                  <a:cubicBezTo>
                    <a:pt x="2267481" y="2417221"/>
                    <a:pt x="2269069" y="2416904"/>
                    <a:pt x="2272880" y="2416270"/>
                  </a:cubicBezTo>
                  <a:cubicBezTo>
                    <a:pt x="2299878" y="2411200"/>
                    <a:pt x="2409456" y="2390602"/>
                    <a:pt x="2519670" y="2338633"/>
                  </a:cubicBezTo>
                  <a:cubicBezTo>
                    <a:pt x="2582241" y="2309162"/>
                    <a:pt x="2623849" y="2262263"/>
                    <a:pt x="2650212" y="2222969"/>
                  </a:cubicBezTo>
                  <a:cubicBezTo>
                    <a:pt x="2676256" y="2183358"/>
                    <a:pt x="2686420" y="2151669"/>
                    <a:pt x="2686738" y="2151669"/>
                  </a:cubicBezTo>
                  <a:cubicBezTo>
                    <a:pt x="2686738" y="2151669"/>
                    <a:pt x="2686738" y="2151669"/>
                    <a:pt x="2687055" y="2149768"/>
                  </a:cubicBezTo>
                  <a:cubicBezTo>
                    <a:pt x="2687055" y="2149768"/>
                    <a:pt x="2687055" y="2149768"/>
                    <a:pt x="2688961" y="2150085"/>
                  </a:cubicBezTo>
                  <a:cubicBezTo>
                    <a:pt x="2688961" y="2150085"/>
                    <a:pt x="2698807" y="2150718"/>
                    <a:pt x="2707065" y="2151035"/>
                  </a:cubicBezTo>
                  <a:cubicBezTo>
                    <a:pt x="2707700" y="2124417"/>
                    <a:pt x="2708018" y="2096214"/>
                    <a:pt x="2708018" y="2068644"/>
                  </a:cubicBezTo>
                  <a:cubicBezTo>
                    <a:pt x="2708018" y="2066743"/>
                    <a:pt x="2708018" y="2064842"/>
                    <a:pt x="2708018" y="2062624"/>
                  </a:cubicBezTo>
                  <a:cubicBezTo>
                    <a:pt x="2704842" y="2062307"/>
                    <a:pt x="2701348" y="2061990"/>
                    <a:pt x="2697219" y="2061356"/>
                  </a:cubicBezTo>
                  <a:cubicBezTo>
                    <a:pt x="2689596" y="2060405"/>
                    <a:pt x="2680385" y="2059455"/>
                    <a:pt x="2670222" y="2058187"/>
                  </a:cubicBezTo>
                  <a:close/>
                  <a:moveTo>
                    <a:pt x="313172" y="2057870"/>
                  </a:moveTo>
                  <a:cubicBezTo>
                    <a:pt x="313172" y="2057870"/>
                    <a:pt x="313172" y="2057870"/>
                    <a:pt x="427515" y="2123466"/>
                  </a:cubicBezTo>
                  <a:cubicBezTo>
                    <a:pt x="427515" y="2123466"/>
                    <a:pt x="427515" y="2123466"/>
                    <a:pt x="424657" y="2125684"/>
                  </a:cubicBezTo>
                  <a:cubicBezTo>
                    <a:pt x="424657" y="2125684"/>
                    <a:pt x="424657" y="2125684"/>
                    <a:pt x="402741" y="2142479"/>
                  </a:cubicBezTo>
                  <a:cubicBezTo>
                    <a:pt x="402741" y="2142479"/>
                    <a:pt x="402741" y="2142479"/>
                    <a:pt x="388130" y="2132656"/>
                  </a:cubicBezTo>
                  <a:cubicBezTo>
                    <a:pt x="389083" y="2137409"/>
                    <a:pt x="390354" y="2144381"/>
                    <a:pt x="390354" y="2151352"/>
                  </a:cubicBezTo>
                  <a:cubicBezTo>
                    <a:pt x="390354" y="2157690"/>
                    <a:pt x="389401" y="2164345"/>
                    <a:pt x="384637" y="2168147"/>
                  </a:cubicBezTo>
                  <a:cubicBezTo>
                    <a:pt x="381143" y="2170682"/>
                    <a:pt x="377014" y="2171316"/>
                    <a:pt x="372567" y="2171316"/>
                  </a:cubicBezTo>
                  <a:cubicBezTo>
                    <a:pt x="360498" y="2171316"/>
                    <a:pt x="346840" y="2165295"/>
                    <a:pt x="346522" y="2165295"/>
                  </a:cubicBezTo>
                  <a:cubicBezTo>
                    <a:pt x="346522" y="2165295"/>
                    <a:pt x="346522" y="2165295"/>
                    <a:pt x="345887" y="2164978"/>
                  </a:cubicBezTo>
                  <a:cubicBezTo>
                    <a:pt x="345887" y="2164978"/>
                    <a:pt x="345887" y="2164978"/>
                    <a:pt x="334770" y="2141212"/>
                  </a:cubicBezTo>
                  <a:cubicBezTo>
                    <a:pt x="334770" y="2141212"/>
                    <a:pt x="334770" y="2141212"/>
                    <a:pt x="339535" y="2142796"/>
                  </a:cubicBezTo>
                  <a:cubicBezTo>
                    <a:pt x="339535" y="2142796"/>
                    <a:pt x="342393" y="2143430"/>
                    <a:pt x="345570" y="2143430"/>
                  </a:cubicBezTo>
                  <a:cubicBezTo>
                    <a:pt x="349699" y="2143113"/>
                    <a:pt x="352240" y="2142796"/>
                    <a:pt x="352240" y="2138360"/>
                  </a:cubicBezTo>
                  <a:cubicBezTo>
                    <a:pt x="352240" y="2135825"/>
                    <a:pt x="351287" y="2132022"/>
                    <a:pt x="348428" y="2126635"/>
                  </a:cubicBezTo>
                  <a:cubicBezTo>
                    <a:pt x="334770" y="2100650"/>
                    <a:pt x="303961" y="2075616"/>
                    <a:pt x="303961" y="2075616"/>
                  </a:cubicBezTo>
                  <a:cubicBezTo>
                    <a:pt x="303961" y="2075616"/>
                    <a:pt x="303961" y="2075616"/>
                    <a:pt x="302373" y="2074348"/>
                  </a:cubicBezTo>
                  <a:cubicBezTo>
                    <a:pt x="302373" y="2074348"/>
                    <a:pt x="302373" y="2074348"/>
                    <a:pt x="313172" y="2057870"/>
                  </a:cubicBezTo>
                  <a:close/>
                  <a:moveTo>
                    <a:pt x="660330" y="2057236"/>
                  </a:moveTo>
                  <a:lnTo>
                    <a:pt x="591724" y="2159908"/>
                  </a:lnTo>
                  <a:cubicBezTo>
                    <a:pt x="591724" y="2159908"/>
                    <a:pt x="591724" y="2159908"/>
                    <a:pt x="631426" y="2186527"/>
                  </a:cubicBezTo>
                  <a:cubicBezTo>
                    <a:pt x="631426" y="2186527"/>
                    <a:pt x="631426" y="2186527"/>
                    <a:pt x="698444" y="2079102"/>
                  </a:cubicBezTo>
                  <a:cubicBezTo>
                    <a:pt x="698444" y="2079102"/>
                    <a:pt x="698444" y="2079102"/>
                    <a:pt x="660330" y="2057236"/>
                  </a:cubicBezTo>
                  <a:close/>
                  <a:moveTo>
                    <a:pt x="1798676" y="2053434"/>
                  </a:moveTo>
                  <a:cubicBezTo>
                    <a:pt x="1798676" y="2053434"/>
                    <a:pt x="1798676" y="2053434"/>
                    <a:pt x="1796770" y="2068961"/>
                  </a:cubicBezTo>
                  <a:lnTo>
                    <a:pt x="1836155" y="2073715"/>
                  </a:lnTo>
                  <a:cubicBezTo>
                    <a:pt x="1836155" y="2073715"/>
                    <a:pt x="1836155" y="2073715"/>
                    <a:pt x="1838060" y="2058187"/>
                  </a:cubicBezTo>
                  <a:cubicBezTo>
                    <a:pt x="1838060" y="2058187"/>
                    <a:pt x="1838060" y="2058187"/>
                    <a:pt x="1798676" y="2053434"/>
                  </a:cubicBezTo>
                  <a:close/>
                  <a:moveTo>
                    <a:pt x="2626072" y="2052800"/>
                  </a:moveTo>
                  <a:cubicBezTo>
                    <a:pt x="2626072" y="2058821"/>
                    <a:pt x="2626390" y="2064842"/>
                    <a:pt x="2626390" y="2070546"/>
                  </a:cubicBezTo>
                  <a:cubicBezTo>
                    <a:pt x="2626390" y="2070546"/>
                    <a:pt x="2626390" y="2070546"/>
                    <a:pt x="2626390" y="2071496"/>
                  </a:cubicBezTo>
                  <a:cubicBezTo>
                    <a:pt x="2626390" y="2072447"/>
                    <a:pt x="2626390" y="2073398"/>
                    <a:pt x="2626390" y="2074665"/>
                  </a:cubicBezTo>
                  <a:cubicBezTo>
                    <a:pt x="2626072" y="2120297"/>
                    <a:pt x="2619720" y="2155789"/>
                    <a:pt x="2610827" y="2170048"/>
                  </a:cubicBezTo>
                  <a:cubicBezTo>
                    <a:pt x="2573666" y="2234060"/>
                    <a:pt x="2481556" y="2318352"/>
                    <a:pt x="2306548" y="2351942"/>
                  </a:cubicBezTo>
                  <a:cubicBezTo>
                    <a:pt x="2239213" y="2364935"/>
                    <a:pt x="2196017" y="2373491"/>
                    <a:pt x="2165208" y="2382364"/>
                  </a:cubicBezTo>
                  <a:cubicBezTo>
                    <a:pt x="2134716" y="2391236"/>
                    <a:pt x="2115024" y="2401377"/>
                    <a:pt x="2099460" y="2415953"/>
                  </a:cubicBezTo>
                  <a:cubicBezTo>
                    <a:pt x="2089297" y="2425777"/>
                    <a:pt x="2081356" y="2436551"/>
                    <a:pt x="2071828" y="2449227"/>
                  </a:cubicBezTo>
                  <a:cubicBezTo>
                    <a:pt x="2071192" y="2450494"/>
                    <a:pt x="2070240" y="2451445"/>
                    <a:pt x="2069604" y="2452712"/>
                  </a:cubicBezTo>
                  <a:cubicBezTo>
                    <a:pt x="2069604" y="2452712"/>
                    <a:pt x="2069604" y="2452712"/>
                    <a:pt x="2069922" y="2453029"/>
                  </a:cubicBezTo>
                  <a:cubicBezTo>
                    <a:pt x="2069922" y="2453029"/>
                    <a:pt x="2069922" y="2453029"/>
                    <a:pt x="2067381" y="2456515"/>
                  </a:cubicBezTo>
                  <a:cubicBezTo>
                    <a:pt x="2067381" y="2456515"/>
                    <a:pt x="2067381" y="2456515"/>
                    <a:pt x="2067063" y="2456198"/>
                  </a:cubicBezTo>
                  <a:cubicBezTo>
                    <a:pt x="2059440" y="2468240"/>
                    <a:pt x="2054041" y="2480599"/>
                    <a:pt x="2049277" y="2493274"/>
                  </a:cubicBezTo>
                  <a:cubicBezTo>
                    <a:pt x="2049277" y="2493274"/>
                    <a:pt x="2049277" y="2493274"/>
                    <a:pt x="2050230" y="2493908"/>
                  </a:cubicBezTo>
                  <a:cubicBezTo>
                    <a:pt x="2050230" y="2493908"/>
                    <a:pt x="2050230" y="2493908"/>
                    <a:pt x="2048006" y="2497711"/>
                  </a:cubicBezTo>
                  <a:cubicBezTo>
                    <a:pt x="2045148" y="2506267"/>
                    <a:pt x="2042607" y="2514823"/>
                    <a:pt x="2040383" y="2523062"/>
                  </a:cubicBezTo>
                  <a:cubicBezTo>
                    <a:pt x="2038795" y="2527815"/>
                    <a:pt x="2037525" y="2532568"/>
                    <a:pt x="2036254" y="2537322"/>
                  </a:cubicBezTo>
                  <a:cubicBezTo>
                    <a:pt x="2052770" y="2538589"/>
                    <a:pt x="2066428" y="2539540"/>
                    <a:pt x="2075957" y="2540174"/>
                  </a:cubicBezTo>
                  <a:cubicBezTo>
                    <a:pt x="2082944" y="2514189"/>
                    <a:pt x="2090567" y="2489155"/>
                    <a:pt x="2103272" y="2472360"/>
                  </a:cubicBezTo>
                  <a:cubicBezTo>
                    <a:pt x="2112800" y="2459684"/>
                    <a:pt x="2119470" y="2450811"/>
                    <a:pt x="2126458" y="2444473"/>
                  </a:cubicBezTo>
                  <a:cubicBezTo>
                    <a:pt x="2133128" y="2438136"/>
                    <a:pt x="2140433" y="2433065"/>
                    <a:pt x="2153138" y="2427678"/>
                  </a:cubicBezTo>
                  <a:cubicBezTo>
                    <a:pt x="2178230" y="2417221"/>
                    <a:pt x="2224285" y="2407398"/>
                    <a:pt x="2313853" y="2390286"/>
                  </a:cubicBezTo>
                  <a:cubicBezTo>
                    <a:pt x="2498390" y="2354794"/>
                    <a:pt x="2600981" y="2264798"/>
                    <a:pt x="2644494" y="2189379"/>
                  </a:cubicBezTo>
                  <a:cubicBezTo>
                    <a:pt x="2660058" y="2162126"/>
                    <a:pt x="2665140" y="2122198"/>
                    <a:pt x="2665457" y="2071180"/>
                  </a:cubicBezTo>
                  <a:cubicBezTo>
                    <a:pt x="2665457" y="2066743"/>
                    <a:pt x="2665140" y="2061990"/>
                    <a:pt x="2665140" y="2057553"/>
                  </a:cubicBezTo>
                  <a:cubicBezTo>
                    <a:pt x="2653388" y="2055969"/>
                    <a:pt x="2640048" y="2054701"/>
                    <a:pt x="2626072" y="2052800"/>
                  </a:cubicBezTo>
                  <a:close/>
                  <a:moveTo>
                    <a:pt x="403694" y="2052800"/>
                  </a:moveTo>
                  <a:lnTo>
                    <a:pt x="393530" y="2070546"/>
                  </a:lnTo>
                  <a:cubicBezTo>
                    <a:pt x="393530" y="2070546"/>
                    <a:pt x="393530" y="2070546"/>
                    <a:pt x="429739" y="2091143"/>
                  </a:cubicBezTo>
                  <a:cubicBezTo>
                    <a:pt x="429739" y="2091143"/>
                    <a:pt x="429739" y="2091143"/>
                    <a:pt x="439902" y="2073398"/>
                  </a:cubicBezTo>
                  <a:cubicBezTo>
                    <a:pt x="439902" y="2073398"/>
                    <a:pt x="439902" y="2073398"/>
                    <a:pt x="403694" y="2052800"/>
                  </a:cubicBezTo>
                  <a:close/>
                  <a:moveTo>
                    <a:pt x="2070875" y="2052483"/>
                  </a:moveTo>
                  <a:cubicBezTo>
                    <a:pt x="2070875" y="2052483"/>
                    <a:pt x="2070875" y="2052483"/>
                    <a:pt x="2065793" y="2097164"/>
                  </a:cubicBezTo>
                  <a:cubicBezTo>
                    <a:pt x="2065793" y="2097164"/>
                    <a:pt x="2065793" y="2097164"/>
                    <a:pt x="2177595" y="2115861"/>
                  </a:cubicBezTo>
                  <a:cubicBezTo>
                    <a:pt x="2177595" y="2115861"/>
                    <a:pt x="2177595" y="2115861"/>
                    <a:pt x="2180771" y="2098115"/>
                  </a:cubicBezTo>
                  <a:cubicBezTo>
                    <a:pt x="2180771" y="2098115"/>
                    <a:pt x="2180771" y="2098115"/>
                    <a:pt x="2230320" y="2106354"/>
                  </a:cubicBezTo>
                  <a:cubicBezTo>
                    <a:pt x="2230320" y="2106354"/>
                    <a:pt x="2230320" y="2106354"/>
                    <a:pt x="2230002" y="2108572"/>
                  </a:cubicBezTo>
                  <a:cubicBezTo>
                    <a:pt x="2230002" y="2108572"/>
                    <a:pt x="2230002" y="2108572"/>
                    <a:pt x="2227143" y="2124100"/>
                  </a:cubicBezTo>
                  <a:cubicBezTo>
                    <a:pt x="2227143" y="2124100"/>
                    <a:pt x="2227143" y="2124100"/>
                    <a:pt x="2246200" y="2127269"/>
                  </a:cubicBezTo>
                  <a:lnTo>
                    <a:pt x="2253188" y="2081320"/>
                  </a:lnTo>
                  <a:cubicBezTo>
                    <a:pt x="2225873" y="2076567"/>
                    <a:pt x="2094379" y="2056286"/>
                    <a:pt x="2070875" y="2052483"/>
                  </a:cubicBezTo>
                  <a:close/>
                  <a:moveTo>
                    <a:pt x="2554608" y="2052166"/>
                  </a:moveTo>
                  <a:cubicBezTo>
                    <a:pt x="2554608" y="2052166"/>
                    <a:pt x="2554608" y="2052166"/>
                    <a:pt x="2547621" y="2084489"/>
                  </a:cubicBezTo>
                  <a:cubicBezTo>
                    <a:pt x="2547621" y="2084489"/>
                    <a:pt x="2547621" y="2084489"/>
                    <a:pt x="2575889" y="2086390"/>
                  </a:cubicBezTo>
                  <a:cubicBezTo>
                    <a:pt x="2575889" y="2086390"/>
                    <a:pt x="2575889" y="2086390"/>
                    <a:pt x="2577159" y="2067377"/>
                  </a:cubicBezTo>
                  <a:lnTo>
                    <a:pt x="2562231" y="2066426"/>
                  </a:lnTo>
                  <a:cubicBezTo>
                    <a:pt x="2562231" y="2066426"/>
                    <a:pt x="2562231" y="2066426"/>
                    <a:pt x="2563184" y="2052800"/>
                  </a:cubicBezTo>
                  <a:cubicBezTo>
                    <a:pt x="2563184" y="2052800"/>
                    <a:pt x="2563184" y="2052800"/>
                    <a:pt x="2554608" y="2052166"/>
                  </a:cubicBezTo>
                  <a:close/>
                  <a:moveTo>
                    <a:pt x="658742" y="2051216"/>
                  </a:moveTo>
                  <a:cubicBezTo>
                    <a:pt x="658742" y="2051216"/>
                    <a:pt x="658742" y="2051216"/>
                    <a:pt x="704796" y="2077517"/>
                  </a:cubicBezTo>
                  <a:cubicBezTo>
                    <a:pt x="704796" y="2077517"/>
                    <a:pt x="704796" y="2077517"/>
                    <a:pt x="703526" y="2079418"/>
                  </a:cubicBezTo>
                  <a:cubicBezTo>
                    <a:pt x="703526" y="2079418"/>
                    <a:pt x="703526" y="2079418"/>
                    <a:pt x="632697" y="2193181"/>
                  </a:cubicBezTo>
                  <a:lnTo>
                    <a:pt x="585054" y="2161176"/>
                  </a:lnTo>
                  <a:cubicBezTo>
                    <a:pt x="585054" y="2161176"/>
                    <a:pt x="585054" y="2161176"/>
                    <a:pt x="658742" y="2051216"/>
                  </a:cubicBezTo>
                  <a:close/>
                  <a:moveTo>
                    <a:pt x="2605110" y="2050582"/>
                  </a:moveTo>
                  <a:cubicBezTo>
                    <a:pt x="2605110" y="2050582"/>
                    <a:pt x="2605110" y="2050582"/>
                    <a:pt x="2600028" y="2110474"/>
                  </a:cubicBezTo>
                  <a:cubicBezTo>
                    <a:pt x="2600028" y="2110474"/>
                    <a:pt x="2600028" y="2110474"/>
                    <a:pt x="2587006" y="2167513"/>
                  </a:cubicBezTo>
                  <a:cubicBezTo>
                    <a:pt x="2587006" y="2167513"/>
                    <a:pt x="2587006" y="2167513"/>
                    <a:pt x="2562231" y="2210293"/>
                  </a:cubicBezTo>
                  <a:cubicBezTo>
                    <a:pt x="2562231" y="2210293"/>
                    <a:pt x="2562231" y="2210293"/>
                    <a:pt x="2481556" y="2264164"/>
                  </a:cubicBezTo>
                  <a:cubicBezTo>
                    <a:pt x="2481556" y="2264164"/>
                    <a:pt x="2481556" y="2264164"/>
                    <a:pt x="2398022" y="2306627"/>
                  </a:cubicBezTo>
                  <a:cubicBezTo>
                    <a:pt x="2398022" y="2306627"/>
                    <a:pt x="2398022" y="2306627"/>
                    <a:pt x="2235719" y="2343703"/>
                  </a:cubicBezTo>
                  <a:cubicBezTo>
                    <a:pt x="2235719" y="2343703"/>
                    <a:pt x="2235719" y="2343703"/>
                    <a:pt x="2233178" y="2360815"/>
                  </a:cubicBezTo>
                  <a:cubicBezTo>
                    <a:pt x="2233178" y="2360815"/>
                    <a:pt x="2233178" y="2360815"/>
                    <a:pt x="2212533" y="2357646"/>
                  </a:cubicBezTo>
                  <a:cubicBezTo>
                    <a:pt x="2212533" y="2357646"/>
                    <a:pt x="2212533" y="2357646"/>
                    <a:pt x="2215074" y="2341485"/>
                  </a:cubicBezTo>
                  <a:cubicBezTo>
                    <a:pt x="2215074" y="2341485"/>
                    <a:pt x="2215074" y="2341485"/>
                    <a:pt x="2188076" y="2336098"/>
                  </a:cubicBezTo>
                  <a:cubicBezTo>
                    <a:pt x="2188076" y="2336098"/>
                    <a:pt x="2188076" y="2336098"/>
                    <a:pt x="2184582" y="2355111"/>
                  </a:cubicBezTo>
                  <a:cubicBezTo>
                    <a:pt x="2184582" y="2355111"/>
                    <a:pt x="2184582" y="2355111"/>
                    <a:pt x="2135669" y="2347189"/>
                  </a:cubicBezTo>
                  <a:cubicBezTo>
                    <a:pt x="2135669" y="2347189"/>
                    <a:pt x="2135669" y="2347189"/>
                    <a:pt x="2139480" y="2325957"/>
                  </a:cubicBezTo>
                  <a:cubicBezTo>
                    <a:pt x="2139480" y="2325957"/>
                    <a:pt x="2139480" y="2325957"/>
                    <a:pt x="2098508" y="2317718"/>
                  </a:cubicBezTo>
                  <a:cubicBezTo>
                    <a:pt x="2097555" y="2318352"/>
                    <a:pt x="2095332" y="2319937"/>
                    <a:pt x="2093426" y="2321838"/>
                  </a:cubicBezTo>
                  <a:cubicBezTo>
                    <a:pt x="2091838" y="2323105"/>
                    <a:pt x="2090567" y="2324373"/>
                    <a:pt x="2089614" y="2325324"/>
                  </a:cubicBezTo>
                  <a:cubicBezTo>
                    <a:pt x="2088979" y="2325957"/>
                    <a:pt x="2088662" y="2326274"/>
                    <a:pt x="2088344" y="2326591"/>
                  </a:cubicBezTo>
                  <a:cubicBezTo>
                    <a:pt x="2088344" y="2326591"/>
                    <a:pt x="2088344" y="2326908"/>
                    <a:pt x="2088344" y="2326908"/>
                  </a:cubicBezTo>
                  <a:cubicBezTo>
                    <a:pt x="2088662" y="2327542"/>
                    <a:pt x="2088026" y="2328492"/>
                    <a:pt x="2087709" y="2328810"/>
                  </a:cubicBezTo>
                  <a:cubicBezTo>
                    <a:pt x="2086438" y="2329126"/>
                    <a:pt x="2086438" y="2329126"/>
                    <a:pt x="2086438" y="2329126"/>
                  </a:cubicBezTo>
                  <a:cubicBezTo>
                    <a:pt x="2086120" y="2329126"/>
                    <a:pt x="2086120" y="2329126"/>
                    <a:pt x="2086120" y="2329126"/>
                  </a:cubicBezTo>
                  <a:cubicBezTo>
                    <a:pt x="2084215" y="2329126"/>
                    <a:pt x="2068652" y="2325007"/>
                    <a:pt x="2052453" y="2320887"/>
                  </a:cubicBezTo>
                  <a:cubicBezTo>
                    <a:pt x="2037842" y="2317084"/>
                    <a:pt x="2023867" y="2313282"/>
                    <a:pt x="2020691" y="2312648"/>
                  </a:cubicBezTo>
                  <a:cubicBezTo>
                    <a:pt x="2020691" y="2312648"/>
                    <a:pt x="2020691" y="2312648"/>
                    <a:pt x="1996234" y="2319937"/>
                  </a:cubicBezTo>
                  <a:cubicBezTo>
                    <a:pt x="1995282" y="2324056"/>
                    <a:pt x="1993058" y="2341168"/>
                    <a:pt x="1991152" y="2357646"/>
                  </a:cubicBezTo>
                  <a:cubicBezTo>
                    <a:pt x="1989247" y="2372540"/>
                    <a:pt x="1987341" y="2387117"/>
                    <a:pt x="1987024" y="2391870"/>
                  </a:cubicBezTo>
                  <a:cubicBezTo>
                    <a:pt x="1987024" y="2391870"/>
                    <a:pt x="1987024" y="2391870"/>
                    <a:pt x="1989247" y="2394088"/>
                  </a:cubicBezTo>
                  <a:cubicBezTo>
                    <a:pt x="1989247" y="2394088"/>
                    <a:pt x="1989247" y="2394088"/>
                    <a:pt x="2065475" y="2449544"/>
                  </a:cubicBezTo>
                  <a:cubicBezTo>
                    <a:pt x="2066110" y="2448593"/>
                    <a:pt x="2066746" y="2447325"/>
                    <a:pt x="2067699" y="2446058"/>
                  </a:cubicBezTo>
                  <a:cubicBezTo>
                    <a:pt x="2076910" y="2433382"/>
                    <a:pt x="2085168" y="2422608"/>
                    <a:pt x="2095967" y="2412151"/>
                  </a:cubicBezTo>
                  <a:cubicBezTo>
                    <a:pt x="2100413" y="2408031"/>
                    <a:pt x="2105178" y="2404229"/>
                    <a:pt x="2110577" y="2400426"/>
                  </a:cubicBezTo>
                  <a:cubicBezTo>
                    <a:pt x="2110577" y="2400426"/>
                    <a:pt x="2110577" y="2400426"/>
                    <a:pt x="2110577" y="2400109"/>
                  </a:cubicBezTo>
                  <a:cubicBezTo>
                    <a:pt x="2110577" y="2400109"/>
                    <a:pt x="2110577" y="2400109"/>
                    <a:pt x="2108989" y="2401377"/>
                  </a:cubicBezTo>
                  <a:cubicBezTo>
                    <a:pt x="2106766" y="2399792"/>
                    <a:pt x="2092473" y="2390602"/>
                    <a:pt x="2078498" y="2381730"/>
                  </a:cubicBezTo>
                  <a:cubicBezTo>
                    <a:pt x="2071828" y="2377610"/>
                    <a:pt x="2064840" y="2373174"/>
                    <a:pt x="2060076" y="2370005"/>
                  </a:cubicBezTo>
                  <a:cubicBezTo>
                    <a:pt x="2057535" y="2368104"/>
                    <a:pt x="2055312" y="2366836"/>
                    <a:pt x="2053723" y="2365885"/>
                  </a:cubicBezTo>
                  <a:cubicBezTo>
                    <a:pt x="2053088" y="2365251"/>
                    <a:pt x="2052453" y="2364935"/>
                    <a:pt x="2052135" y="2364301"/>
                  </a:cubicBezTo>
                  <a:cubicBezTo>
                    <a:pt x="2051818" y="2363984"/>
                    <a:pt x="2051500" y="2363984"/>
                    <a:pt x="2051182" y="2363667"/>
                  </a:cubicBezTo>
                  <a:cubicBezTo>
                    <a:pt x="2043242" y="2361449"/>
                    <a:pt x="1992741" y="2350675"/>
                    <a:pt x="1992741" y="2350675"/>
                  </a:cubicBezTo>
                  <a:cubicBezTo>
                    <a:pt x="1992741" y="2350675"/>
                    <a:pt x="1992741" y="2350675"/>
                    <a:pt x="1993693" y="2346238"/>
                  </a:cubicBezTo>
                  <a:cubicBezTo>
                    <a:pt x="1993693" y="2346238"/>
                    <a:pt x="2008622" y="2349407"/>
                    <a:pt x="2023550" y="2352893"/>
                  </a:cubicBezTo>
                  <a:cubicBezTo>
                    <a:pt x="2031172" y="2354477"/>
                    <a:pt x="2038478" y="2356062"/>
                    <a:pt x="2044195" y="2357329"/>
                  </a:cubicBezTo>
                  <a:cubicBezTo>
                    <a:pt x="2047053" y="2358280"/>
                    <a:pt x="2049277" y="2358597"/>
                    <a:pt x="2051182" y="2359231"/>
                  </a:cubicBezTo>
                  <a:cubicBezTo>
                    <a:pt x="2051818" y="2359231"/>
                    <a:pt x="2052453" y="2359547"/>
                    <a:pt x="2053088" y="2359547"/>
                  </a:cubicBezTo>
                  <a:cubicBezTo>
                    <a:pt x="2053406" y="2359547"/>
                    <a:pt x="2053406" y="2359864"/>
                    <a:pt x="2053723" y="2359864"/>
                  </a:cubicBezTo>
                  <a:cubicBezTo>
                    <a:pt x="2053723" y="2359864"/>
                    <a:pt x="2054041" y="2359864"/>
                    <a:pt x="2054041" y="2359864"/>
                  </a:cubicBezTo>
                  <a:cubicBezTo>
                    <a:pt x="2054041" y="2360181"/>
                    <a:pt x="2054676" y="2359864"/>
                    <a:pt x="2054994" y="2361132"/>
                  </a:cubicBezTo>
                  <a:cubicBezTo>
                    <a:pt x="2057852" y="2363350"/>
                    <a:pt x="2071510" y="2372223"/>
                    <a:pt x="2084215" y="2380145"/>
                  </a:cubicBezTo>
                  <a:cubicBezTo>
                    <a:pt x="2091202" y="2384582"/>
                    <a:pt x="2098190" y="2389018"/>
                    <a:pt x="2103272" y="2392504"/>
                  </a:cubicBezTo>
                  <a:cubicBezTo>
                    <a:pt x="2105813" y="2394088"/>
                    <a:pt x="2108036" y="2395356"/>
                    <a:pt x="2109624" y="2396306"/>
                  </a:cubicBezTo>
                  <a:cubicBezTo>
                    <a:pt x="2110260" y="2396940"/>
                    <a:pt x="2110895" y="2397257"/>
                    <a:pt x="2111530" y="2397891"/>
                  </a:cubicBezTo>
                  <a:cubicBezTo>
                    <a:pt x="2111530" y="2397891"/>
                    <a:pt x="2111848" y="2398208"/>
                    <a:pt x="2112165" y="2398208"/>
                  </a:cubicBezTo>
                  <a:cubicBezTo>
                    <a:pt x="2112165" y="2398525"/>
                    <a:pt x="2112483" y="2398208"/>
                    <a:pt x="2112800" y="2399158"/>
                  </a:cubicBezTo>
                  <a:cubicBezTo>
                    <a:pt x="2126140" y="2390602"/>
                    <a:pt x="2142657" y="2383631"/>
                    <a:pt x="2163620" y="2377610"/>
                  </a:cubicBezTo>
                  <a:cubicBezTo>
                    <a:pt x="2194746" y="2368420"/>
                    <a:pt x="2237942" y="2359864"/>
                    <a:pt x="2305595" y="2346872"/>
                  </a:cubicBezTo>
                  <a:cubicBezTo>
                    <a:pt x="2479333" y="2313282"/>
                    <a:pt x="2569854" y="2229940"/>
                    <a:pt x="2606380" y="2167513"/>
                  </a:cubicBezTo>
                  <a:cubicBezTo>
                    <a:pt x="2614003" y="2154838"/>
                    <a:pt x="2621308" y="2119663"/>
                    <a:pt x="2620991" y="2074665"/>
                  </a:cubicBezTo>
                  <a:cubicBezTo>
                    <a:pt x="2620991" y="2073398"/>
                    <a:pt x="2620991" y="2072447"/>
                    <a:pt x="2620991" y="2071496"/>
                  </a:cubicBezTo>
                  <a:cubicBezTo>
                    <a:pt x="2620991" y="2071496"/>
                    <a:pt x="2620991" y="2071496"/>
                    <a:pt x="2620991" y="2070546"/>
                  </a:cubicBezTo>
                  <a:cubicBezTo>
                    <a:pt x="2620991" y="2064525"/>
                    <a:pt x="2620991" y="2058504"/>
                    <a:pt x="2620673" y="2052483"/>
                  </a:cubicBezTo>
                  <a:cubicBezTo>
                    <a:pt x="2615591" y="2051849"/>
                    <a:pt x="2610509" y="2051216"/>
                    <a:pt x="2605110" y="2050582"/>
                  </a:cubicBezTo>
                  <a:close/>
                  <a:moveTo>
                    <a:pt x="2534598" y="2050582"/>
                  </a:moveTo>
                  <a:cubicBezTo>
                    <a:pt x="2534598" y="2050582"/>
                    <a:pt x="2534598" y="2050582"/>
                    <a:pt x="2533646" y="2064208"/>
                  </a:cubicBezTo>
                  <a:cubicBezTo>
                    <a:pt x="2533646" y="2064208"/>
                    <a:pt x="2533646" y="2064208"/>
                    <a:pt x="2518717" y="2063257"/>
                  </a:cubicBezTo>
                  <a:cubicBezTo>
                    <a:pt x="2518717" y="2063257"/>
                    <a:pt x="2518717" y="2063257"/>
                    <a:pt x="2517447" y="2082271"/>
                  </a:cubicBezTo>
                  <a:cubicBezTo>
                    <a:pt x="2517447" y="2082271"/>
                    <a:pt x="2517447" y="2082271"/>
                    <a:pt x="2543174" y="2084172"/>
                  </a:cubicBezTo>
                  <a:lnTo>
                    <a:pt x="2550162" y="2051849"/>
                  </a:lnTo>
                  <a:cubicBezTo>
                    <a:pt x="2550162" y="2051849"/>
                    <a:pt x="2550162" y="2051849"/>
                    <a:pt x="2534598" y="2050582"/>
                  </a:cubicBezTo>
                  <a:close/>
                  <a:moveTo>
                    <a:pt x="1794864" y="2048680"/>
                  </a:moveTo>
                  <a:cubicBezTo>
                    <a:pt x="1794864" y="2048680"/>
                    <a:pt x="1794864" y="2048680"/>
                    <a:pt x="1842825" y="2054384"/>
                  </a:cubicBezTo>
                  <a:cubicBezTo>
                    <a:pt x="1842825" y="2054384"/>
                    <a:pt x="1842825" y="2054384"/>
                    <a:pt x="1839966" y="2078468"/>
                  </a:cubicBezTo>
                  <a:lnTo>
                    <a:pt x="1837743" y="2078151"/>
                  </a:lnTo>
                  <a:cubicBezTo>
                    <a:pt x="1837743" y="2078151"/>
                    <a:pt x="1837743" y="2078151"/>
                    <a:pt x="1792006" y="2072447"/>
                  </a:cubicBezTo>
                  <a:cubicBezTo>
                    <a:pt x="1792006" y="2072447"/>
                    <a:pt x="1792006" y="2072447"/>
                    <a:pt x="1794864" y="2048680"/>
                  </a:cubicBezTo>
                  <a:close/>
                  <a:moveTo>
                    <a:pt x="1874587" y="2045828"/>
                  </a:moveTo>
                  <a:cubicBezTo>
                    <a:pt x="1874587" y="2045828"/>
                    <a:pt x="1874587" y="2045828"/>
                    <a:pt x="1865693" y="2096214"/>
                  </a:cubicBezTo>
                  <a:cubicBezTo>
                    <a:pt x="1865693" y="2096214"/>
                    <a:pt x="1865693" y="2096214"/>
                    <a:pt x="2054359" y="2121882"/>
                  </a:cubicBezTo>
                  <a:cubicBezTo>
                    <a:pt x="2054359" y="2121882"/>
                    <a:pt x="2054359" y="2121882"/>
                    <a:pt x="2053723" y="2126001"/>
                  </a:cubicBezTo>
                  <a:cubicBezTo>
                    <a:pt x="2053723" y="2126001"/>
                    <a:pt x="2053723" y="2126001"/>
                    <a:pt x="1865058" y="2100650"/>
                  </a:cubicBezTo>
                  <a:cubicBezTo>
                    <a:pt x="1865058" y="2100650"/>
                    <a:pt x="1865058" y="2100650"/>
                    <a:pt x="1854577" y="2160225"/>
                  </a:cubicBezTo>
                  <a:cubicBezTo>
                    <a:pt x="1854577" y="2160225"/>
                    <a:pt x="1854577" y="2160225"/>
                    <a:pt x="1856800" y="2160859"/>
                  </a:cubicBezTo>
                  <a:cubicBezTo>
                    <a:pt x="1856800" y="2160859"/>
                    <a:pt x="1856800" y="2160859"/>
                    <a:pt x="1856800" y="2161176"/>
                  </a:cubicBezTo>
                  <a:cubicBezTo>
                    <a:pt x="1869822" y="2163394"/>
                    <a:pt x="1899678" y="2168781"/>
                    <a:pt x="1930170" y="2173851"/>
                  </a:cubicBezTo>
                  <a:cubicBezTo>
                    <a:pt x="1969237" y="2180823"/>
                    <a:pt x="2009574" y="2187794"/>
                    <a:pt x="2013386" y="2188111"/>
                  </a:cubicBezTo>
                  <a:cubicBezTo>
                    <a:pt x="2013703" y="2188111"/>
                    <a:pt x="2013703" y="2188111"/>
                    <a:pt x="2013703" y="2188111"/>
                  </a:cubicBezTo>
                  <a:cubicBezTo>
                    <a:pt x="2014021" y="2188111"/>
                    <a:pt x="2014021" y="2188111"/>
                    <a:pt x="2014021" y="2188111"/>
                  </a:cubicBezTo>
                  <a:cubicBezTo>
                    <a:pt x="2014656" y="2188111"/>
                    <a:pt x="2016562" y="2188428"/>
                    <a:pt x="2019738" y="2188745"/>
                  </a:cubicBezTo>
                  <a:cubicBezTo>
                    <a:pt x="2019738" y="2188745"/>
                    <a:pt x="2019738" y="2188745"/>
                    <a:pt x="2030537" y="2147233"/>
                  </a:cubicBezTo>
                  <a:cubicBezTo>
                    <a:pt x="2030537" y="2147233"/>
                    <a:pt x="2030537" y="2147233"/>
                    <a:pt x="2054994" y="2144064"/>
                  </a:cubicBezTo>
                  <a:cubicBezTo>
                    <a:pt x="2054994" y="2144064"/>
                    <a:pt x="2054994" y="2144064"/>
                    <a:pt x="2055947" y="2144381"/>
                  </a:cubicBezTo>
                  <a:cubicBezTo>
                    <a:pt x="2055947" y="2144381"/>
                    <a:pt x="2055947" y="2144381"/>
                    <a:pt x="2061029" y="2100967"/>
                  </a:cubicBezTo>
                  <a:cubicBezTo>
                    <a:pt x="2061029" y="2100967"/>
                    <a:pt x="2061029" y="2100967"/>
                    <a:pt x="2060393" y="2100650"/>
                  </a:cubicBezTo>
                  <a:cubicBezTo>
                    <a:pt x="2060393" y="2100650"/>
                    <a:pt x="2060393" y="2100650"/>
                    <a:pt x="2061029" y="2096531"/>
                  </a:cubicBezTo>
                  <a:cubicBezTo>
                    <a:pt x="2061029" y="2096531"/>
                    <a:pt x="2061029" y="2096531"/>
                    <a:pt x="2061346" y="2096531"/>
                  </a:cubicBezTo>
                  <a:cubicBezTo>
                    <a:pt x="2061346" y="2096531"/>
                    <a:pt x="2061346" y="2096531"/>
                    <a:pt x="2063570" y="2078151"/>
                  </a:cubicBezTo>
                  <a:cubicBezTo>
                    <a:pt x="2063570" y="2078151"/>
                    <a:pt x="2063570" y="2078151"/>
                    <a:pt x="1950180" y="2066426"/>
                  </a:cubicBezTo>
                  <a:cubicBezTo>
                    <a:pt x="1950180" y="2066426"/>
                    <a:pt x="1950180" y="2066426"/>
                    <a:pt x="1948274" y="2054701"/>
                  </a:cubicBezTo>
                  <a:close/>
                  <a:moveTo>
                    <a:pt x="463088" y="2041392"/>
                  </a:moveTo>
                  <a:lnTo>
                    <a:pt x="445937" y="2071496"/>
                  </a:lnTo>
                  <a:cubicBezTo>
                    <a:pt x="445937" y="2071496"/>
                    <a:pt x="445937" y="2071496"/>
                    <a:pt x="463406" y="2081637"/>
                  </a:cubicBezTo>
                  <a:cubicBezTo>
                    <a:pt x="463406" y="2081637"/>
                    <a:pt x="463406" y="2081637"/>
                    <a:pt x="480558" y="2051216"/>
                  </a:cubicBezTo>
                  <a:cubicBezTo>
                    <a:pt x="480558" y="2051216"/>
                    <a:pt x="480558" y="2051216"/>
                    <a:pt x="463088" y="2041392"/>
                  </a:cubicBezTo>
                  <a:close/>
                  <a:moveTo>
                    <a:pt x="2403104" y="2036005"/>
                  </a:moveTo>
                  <a:cubicBezTo>
                    <a:pt x="2405328" y="2044561"/>
                    <a:pt x="2407868" y="2056603"/>
                    <a:pt x="2410727" y="2069278"/>
                  </a:cubicBezTo>
                  <a:cubicBezTo>
                    <a:pt x="2410727" y="2069278"/>
                    <a:pt x="2410727" y="2069278"/>
                    <a:pt x="2431054" y="2070546"/>
                  </a:cubicBezTo>
                  <a:cubicBezTo>
                    <a:pt x="2431054" y="2070546"/>
                    <a:pt x="2431054" y="2070546"/>
                    <a:pt x="2432643" y="2051532"/>
                  </a:cubicBezTo>
                  <a:lnTo>
                    <a:pt x="2417714" y="2050582"/>
                  </a:lnTo>
                  <a:cubicBezTo>
                    <a:pt x="2417714" y="2050582"/>
                    <a:pt x="2417714" y="2050582"/>
                    <a:pt x="2418668" y="2036956"/>
                  </a:cubicBezTo>
                  <a:cubicBezTo>
                    <a:pt x="2418668" y="2036956"/>
                    <a:pt x="2418668" y="2036956"/>
                    <a:pt x="2403104" y="2036005"/>
                  </a:cubicBezTo>
                  <a:close/>
                  <a:moveTo>
                    <a:pt x="2390082" y="2035054"/>
                  </a:moveTo>
                  <a:cubicBezTo>
                    <a:pt x="2390082" y="2035054"/>
                    <a:pt x="2390082" y="2035054"/>
                    <a:pt x="2389129" y="2048680"/>
                  </a:cubicBezTo>
                  <a:cubicBezTo>
                    <a:pt x="2389129" y="2048680"/>
                    <a:pt x="2389129" y="2048680"/>
                    <a:pt x="2374201" y="2047413"/>
                  </a:cubicBezTo>
                  <a:cubicBezTo>
                    <a:pt x="2374201" y="2047413"/>
                    <a:pt x="2374201" y="2047413"/>
                    <a:pt x="2372613" y="2066426"/>
                  </a:cubicBezTo>
                  <a:cubicBezTo>
                    <a:pt x="2372613" y="2066426"/>
                    <a:pt x="2372613" y="2066426"/>
                    <a:pt x="2406280" y="2068961"/>
                  </a:cubicBezTo>
                  <a:cubicBezTo>
                    <a:pt x="2403422" y="2055969"/>
                    <a:pt x="2400563" y="2043927"/>
                    <a:pt x="2398658" y="2035688"/>
                  </a:cubicBezTo>
                  <a:cubicBezTo>
                    <a:pt x="2398658" y="2035688"/>
                    <a:pt x="2398658" y="2035688"/>
                    <a:pt x="2390082" y="2035054"/>
                  </a:cubicBezTo>
                  <a:close/>
                  <a:moveTo>
                    <a:pt x="1543945" y="2029350"/>
                  </a:moveTo>
                  <a:cubicBezTo>
                    <a:pt x="1543945" y="2029350"/>
                    <a:pt x="1543945" y="2029350"/>
                    <a:pt x="1528064" y="2113959"/>
                  </a:cubicBezTo>
                  <a:cubicBezTo>
                    <a:pt x="1528064" y="2113959"/>
                    <a:pt x="1528064" y="2113959"/>
                    <a:pt x="1630973" y="2136458"/>
                  </a:cubicBezTo>
                  <a:cubicBezTo>
                    <a:pt x="1630973" y="2136458"/>
                    <a:pt x="1630973" y="2136458"/>
                    <a:pt x="1630020" y="2140578"/>
                  </a:cubicBezTo>
                  <a:cubicBezTo>
                    <a:pt x="1630020" y="2140578"/>
                    <a:pt x="1630020" y="2140578"/>
                    <a:pt x="1527429" y="2118396"/>
                  </a:cubicBezTo>
                  <a:cubicBezTo>
                    <a:pt x="1527429" y="2118396"/>
                    <a:pt x="1527429" y="2118396"/>
                    <a:pt x="1499796" y="2267016"/>
                  </a:cubicBezTo>
                  <a:cubicBezTo>
                    <a:pt x="1499796" y="2267016"/>
                    <a:pt x="1499796" y="2267016"/>
                    <a:pt x="1617315" y="2290466"/>
                  </a:cubicBezTo>
                  <a:cubicBezTo>
                    <a:pt x="1616998" y="2280643"/>
                    <a:pt x="1616680" y="2263214"/>
                    <a:pt x="1616362" y="2245468"/>
                  </a:cubicBezTo>
                  <a:cubicBezTo>
                    <a:pt x="1615727" y="2232159"/>
                    <a:pt x="1615410" y="2218849"/>
                    <a:pt x="1615092" y="2208392"/>
                  </a:cubicBezTo>
                  <a:cubicBezTo>
                    <a:pt x="1614774" y="2203322"/>
                    <a:pt x="1614457" y="2199202"/>
                    <a:pt x="1614139" y="2196033"/>
                  </a:cubicBezTo>
                  <a:cubicBezTo>
                    <a:pt x="1614139" y="2194449"/>
                    <a:pt x="1614139" y="2193181"/>
                    <a:pt x="1613821" y="2192231"/>
                  </a:cubicBezTo>
                  <a:cubicBezTo>
                    <a:pt x="1613821" y="2191914"/>
                    <a:pt x="1613821" y="2191597"/>
                    <a:pt x="1613821" y="2191280"/>
                  </a:cubicBezTo>
                  <a:cubicBezTo>
                    <a:pt x="1613504" y="2190646"/>
                    <a:pt x="1613504" y="2190012"/>
                    <a:pt x="1613504" y="2189696"/>
                  </a:cubicBezTo>
                  <a:cubicBezTo>
                    <a:pt x="1613504" y="2184942"/>
                    <a:pt x="1619539" y="2169415"/>
                    <a:pt x="1625256" y="2153887"/>
                  </a:cubicBezTo>
                  <a:cubicBezTo>
                    <a:pt x="1631291" y="2138677"/>
                    <a:pt x="1637325" y="2124100"/>
                    <a:pt x="1637325" y="2124100"/>
                  </a:cubicBezTo>
                  <a:cubicBezTo>
                    <a:pt x="1637325" y="2124100"/>
                    <a:pt x="1637325" y="2124100"/>
                    <a:pt x="1637643" y="2122832"/>
                  </a:cubicBezTo>
                  <a:cubicBezTo>
                    <a:pt x="1637643" y="2122832"/>
                    <a:pt x="1637643" y="2122832"/>
                    <a:pt x="1658288" y="2119346"/>
                  </a:cubicBezTo>
                  <a:cubicBezTo>
                    <a:pt x="1659559" y="2110157"/>
                    <a:pt x="1662417" y="2079735"/>
                    <a:pt x="1665593" y="2045828"/>
                  </a:cubicBezTo>
                  <a:cubicBezTo>
                    <a:pt x="1665593" y="2045828"/>
                    <a:pt x="1665593" y="2045828"/>
                    <a:pt x="1543945" y="2029350"/>
                  </a:cubicBezTo>
                  <a:close/>
                  <a:moveTo>
                    <a:pt x="2401198" y="2027766"/>
                  </a:moveTo>
                  <a:cubicBezTo>
                    <a:pt x="2401516" y="2028717"/>
                    <a:pt x="2401834" y="2029984"/>
                    <a:pt x="2402151" y="2031569"/>
                  </a:cubicBezTo>
                  <a:cubicBezTo>
                    <a:pt x="2402151" y="2031569"/>
                    <a:pt x="2402151" y="2031569"/>
                    <a:pt x="2423114" y="2033153"/>
                  </a:cubicBezTo>
                  <a:cubicBezTo>
                    <a:pt x="2423114" y="2033153"/>
                    <a:pt x="2423114" y="2033153"/>
                    <a:pt x="2422161" y="2046779"/>
                  </a:cubicBezTo>
                  <a:cubicBezTo>
                    <a:pt x="2422161" y="2046779"/>
                    <a:pt x="2422161" y="2046779"/>
                    <a:pt x="2437089" y="2047730"/>
                  </a:cubicBezTo>
                  <a:cubicBezTo>
                    <a:pt x="2437089" y="2047730"/>
                    <a:pt x="2437089" y="2047730"/>
                    <a:pt x="2435184" y="2074982"/>
                  </a:cubicBezTo>
                  <a:cubicBezTo>
                    <a:pt x="2435184" y="2074982"/>
                    <a:pt x="2435184" y="2074982"/>
                    <a:pt x="2411680" y="2073398"/>
                  </a:cubicBezTo>
                  <a:cubicBezTo>
                    <a:pt x="2412633" y="2077517"/>
                    <a:pt x="2413586" y="2081637"/>
                    <a:pt x="2414538" y="2085756"/>
                  </a:cubicBezTo>
                  <a:cubicBezTo>
                    <a:pt x="2415174" y="2085439"/>
                    <a:pt x="2415809" y="2085439"/>
                    <a:pt x="2416444" y="2085439"/>
                  </a:cubicBezTo>
                  <a:cubicBezTo>
                    <a:pt x="2426608" y="2085439"/>
                    <a:pt x="2474568" y="2090510"/>
                    <a:pt x="2474886" y="2090510"/>
                  </a:cubicBezTo>
                  <a:cubicBezTo>
                    <a:pt x="2474886" y="2090510"/>
                    <a:pt x="2474886" y="2090510"/>
                    <a:pt x="2538410" y="2106671"/>
                  </a:cubicBezTo>
                  <a:cubicBezTo>
                    <a:pt x="2538410" y="2106671"/>
                    <a:pt x="2538410" y="2106671"/>
                    <a:pt x="2542221" y="2087975"/>
                  </a:cubicBezTo>
                  <a:cubicBezTo>
                    <a:pt x="2542221" y="2087975"/>
                    <a:pt x="2542221" y="2087975"/>
                    <a:pt x="2513000" y="2086073"/>
                  </a:cubicBezTo>
                  <a:cubicBezTo>
                    <a:pt x="2513000" y="2086073"/>
                    <a:pt x="2513000" y="2086073"/>
                    <a:pt x="2513000" y="2083855"/>
                  </a:cubicBezTo>
                  <a:cubicBezTo>
                    <a:pt x="2513000" y="2083855"/>
                    <a:pt x="2513000" y="2083855"/>
                    <a:pt x="2514906" y="2058821"/>
                  </a:cubicBezTo>
                  <a:cubicBezTo>
                    <a:pt x="2514906" y="2058821"/>
                    <a:pt x="2514906" y="2058821"/>
                    <a:pt x="2529834" y="2059771"/>
                  </a:cubicBezTo>
                  <a:cubicBezTo>
                    <a:pt x="2529834" y="2059771"/>
                    <a:pt x="2529834" y="2059771"/>
                    <a:pt x="2530787" y="2046145"/>
                  </a:cubicBezTo>
                  <a:cubicBezTo>
                    <a:pt x="2530787" y="2046145"/>
                    <a:pt x="2530787" y="2046145"/>
                    <a:pt x="2551114" y="2047730"/>
                  </a:cubicBezTo>
                  <a:cubicBezTo>
                    <a:pt x="2551114" y="2047730"/>
                    <a:pt x="2551114" y="2047730"/>
                    <a:pt x="2551432" y="2045511"/>
                  </a:cubicBezTo>
                  <a:cubicBezTo>
                    <a:pt x="2551432" y="2045511"/>
                    <a:pt x="2551432" y="2045511"/>
                    <a:pt x="2555879" y="2046462"/>
                  </a:cubicBezTo>
                  <a:cubicBezTo>
                    <a:pt x="2555879" y="2046462"/>
                    <a:pt x="2555879" y="2046462"/>
                    <a:pt x="2555561" y="2048047"/>
                  </a:cubicBezTo>
                  <a:cubicBezTo>
                    <a:pt x="2555561" y="2048047"/>
                    <a:pt x="2555561" y="2048047"/>
                    <a:pt x="2567631" y="2048997"/>
                  </a:cubicBezTo>
                  <a:cubicBezTo>
                    <a:pt x="2567631" y="2048997"/>
                    <a:pt x="2567631" y="2048997"/>
                    <a:pt x="2566678" y="2062307"/>
                  </a:cubicBezTo>
                  <a:cubicBezTo>
                    <a:pt x="2566678" y="2062307"/>
                    <a:pt x="2566678" y="2062307"/>
                    <a:pt x="2581606" y="2063574"/>
                  </a:cubicBezTo>
                  <a:cubicBezTo>
                    <a:pt x="2581606" y="2063574"/>
                    <a:pt x="2581606" y="2063574"/>
                    <a:pt x="2579700" y="2090827"/>
                  </a:cubicBezTo>
                  <a:cubicBezTo>
                    <a:pt x="2579700" y="2090827"/>
                    <a:pt x="2579700" y="2090827"/>
                    <a:pt x="2546668" y="2088291"/>
                  </a:cubicBezTo>
                  <a:cubicBezTo>
                    <a:pt x="2546668" y="2088291"/>
                    <a:pt x="2546668" y="2088291"/>
                    <a:pt x="2542856" y="2107305"/>
                  </a:cubicBezTo>
                  <a:cubicBezTo>
                    <a:pt x="2542856" y="2107305"/>
                    <a:pt x="2542856" y="2107305"/>
                    <a:pt x="2593040" y="2108889"/>
                  </a:cubicBezTo>
                  <a:cubicBezTo>
                    <a:pt x="2593040" y="2108889"/>
                    <a:pt x="2593040" y="2108889"/>
                    <a:pt x="2592722" y="2113326"/>
                  </a:cubicBezTo>
                  <a:cubicBezTo>
                    <a:pt x="2592722" y="2113326"/>
                    <a:pt x="2592722" y="2113326"/>
                    <a:pt x="2539680" y="2111424"/>
                  </a:cubicBezTo>
                  <a:cubicBezTo>
                    <a:pt x="2539680" y="2111424"/>
                    <a:pt x="2539680" y="2111424"/>
                    <a:pt x="2474251" y="2094946"/>
                  </a:cubicBezTo>
                  <a:cubicBezTo>
                    <a:pt x="2471392" y="2094629"/>
                    <a:pt x="2425655" y="2089876"/>
                    <a:pt x="2416444" y="2089876"/>
                  </a:cubicBezTo>
                  <a:cubicBezTo>
                    <a:pt x="2416126" y="2089876"/>
                    <a:pt x="2415809" y="2089876"/>
                    <a:pt x="2415491" y="2089876"/>
                  </a:cubicBezTo>
                  <a:cubicBezTo>
                    <a:pt x="2415491" y="2089876"/>
                    <a:pt x="2415491" y="2089876"/>
                    <a:pt x="2415174" y="2088608"/>
                  </a:cubicBezTo>
                  <a:cubicBezTo>
                    <a:pt x="2418350" y="2102868"/>
                    <a:pt x="2420573" y="2114593"/>
                    <a:pt x="2420891" y="2118713"/>
                  </a:cubicBezTo>
                  <a:cubicBezTo>
                    <a:pt x="2420891" y="2118713"/>
                    <a:pt x="2420891" y="2118713"/>
                    <a:pt x="2462181" y="2148500"/>
                  </a:cubicBezTo>
                  <a:cubicBezTo>
                    <a:pt x="2462181" y="2148500"/>
                    <a:pt x="2462181" y="2148500"/>
                    <a:pt x="2459640" y="2151986"/>
                  </a:cubicBezTo>
                  <a:cubicBezTo>
                    <a:pt x="2459640" y="2151986"/>
                    <a:pt x="2459640" y="2151986"/>
                    <a:pt x="2418668" y="2122198"/>
                  </a:cubicBezTo>
                  <a:cubicBezTo>
                    <a:pt x="2415809" y="2122198"/>
                    <a:pt x="2385953" y="2124417"/>
                    <a:pt x="2378648" y="2125051"/>
                  </a:cubicBezTo>
                  <a:cubicBezTo>
                    <a:pt x="2378648" y="2125051"/>
                    <a:pt x="2378648" y="2125051"/>
                    <a:pt x="2368801" y="2173218"/>
                  </a:cubicBezTo>
                  <a:cubicBezTo>
                    <a:pt x="2387223" y="2185576"/>
                    <a:pt x="2471392" y="2248003"/>
                    <a:pt x="2483779" y="2257510"/>
                  </a:cubicBezTo>
                  <a:cubicBezTo>
                    <a:pt x="2483779" y="2257510"/>
                    <a:pt x="2483779" y="2257510"/>
                    <a:pt x="2504424" y="2243883"/>
                  </a:cubicBezTo>
                  <a:cubicBezTo>
                    <a:pt x="2504424" y="2243883"/>
                    <a:pt x="2504424" y="2243883"/>
                    <a:pt x="2502836" y="2242933"/>
                  </a:cubicBezTo>
                  <a:cubicBezTo>
                    <a:pt x="2502836" y="2242933"/>
                    <a:pt x="2502836" y="2242933"/>
                    <a:pt x="2465040" y="2216314"/>
                  </a:cubicBezTo>
                  <a:cubicBezTo>
                    <a:pt x="2465040" y="2216314"/>
                    <a:pt x="2465040" y="2216314"/>
                    <a:pt x="2479015" y="2196667"/>
                  </a:cubicBezTo>
                  <a:cubicBezTo>
                    <a:pt x="2479015" y="2196667"/>
                    <a:pt x="2479015" y="2196667"/>
                    <a:pt x="2518400" y="2224236"/>
                  </a:cubicBezTo>
                  <a:cubicBezTo>
                    <a:pt x="2518400" y="2224236"/>
                    <a:pt x="2518400" y="2224236"/>
                    <a:pt x="2505060" y="2243250"/>
                  </a:cubicBezTo>
                  <a:cubicBezTo>
                    <a:pt x="2505060" y="2243250"/>
                    <a:pt x="2505060" y="2243250"/>
                    <a:pt x="2544762" y="2216631"/>
                  </a:cubicBezTo>
                  <a:cubicBezTo>
                    <a:pt x="2544762" y="2216631"/>
                    <a:pt x="2544762" y="2216631"/>
                    <a:pt x="2446618" y="2173534"/>
                  </a:cubicBezTo>
                  <a:cubicBezTo>
                    <a:pt x="2446618" y="2173534"/>
                    <a:pt x="2446618" y="2173534"/>
                    <a:pt x="2471392" y="2136141"/>
                  </a:cubicBezTo>
                  <a:cubicBezTo>
                    <a:pt x="2471392" y="2136141"/>
                    <a:pt x="2471392" y="2136141"/>
                    <a:pt x="2584147" y="2160542"/>
                  </a:cubicBezTo>
                  <a:cubicBezTo>
                    <a:pt x="2584147" y="2160542"/>
                    <a:pt x="2584147" y="2160542"/>
                    <a:pt x="2595581" y="2109840"/>
                  </a:cubicBezTo>
                  <a:cubicBezTo>
                    <a:pt x="2595581" y="2109840"/>
                    <a:pt x="2595581" y="2109840"/>
                    <a:pt x="2600663" y="2049948"/>
                  </a:cubicBezTo>
                  <a:cubicBezTo>
                    <a:pt x="2571124" y="2046779"/>
                    <a:pt x="2538727" y="2042976"/>
                    <a:pt x="2505695" y="2039174"/>
                  </a:cubicBezTo>
                  <a:cubicBezTo>
                    <a:pt x="2499660" y="2052166"/>
                    <a:pt x="2481556" y="2091777"/>
                    <a:pt x="2481556" y="2091777"/>
                  </a:cubicBezTo>
                  <a:lnTo>
                    <a:pt x="2477427" y="2089876"/>
                  </a:lnTo>
                  <a:cubicBezTo>
                    <a:pt x="2477427" y="2089876"/>
                    <a:pt x="2494578" y="2053117"/>
                    <a:pt x="2501248" y="2038857"/>
                  </a:cubicBezTo>
                  <a:cubicBezTo>
                    <a:pt x="2484097" y="2036956"/>
                    <a:pt x="2466946" y="2035054"/>
                    <a:pt x="2450429" y="2033153"/>
                  </a:cubicBezTo>
                  <a:cubicBezTo>
                    <a:pt x="2433596" y="2031252"/>
                    <a:pt x="2417079" y="2029350"/>
                    <a:pt x="2401198" y="2027766"/>
                  </a:cubicBezTo>
                  <a:close/>
                  <a:moveTo>
                    <a:pt x="1240937" y="2026815"/>
                  </a:moveTo>
                  <a:cubicBezTo>
                    <a:pt x="1240937" y="2026815"/>
                    <a:pt x="1240937" y="2026815"/>
                    <a:pt x="1226327" y="2061356"/>
                  </a:cubicBezTo>
                  <a:cubicBezTo>
                    <a:pt x="1226327" y="2061356"/>
                    <a:pt x="1226327" y="2061356"/>
                    <a:pt x="1250783" y="2075299"/>
                  </a:cubicBezTo>
                  <a:cubicBezTo>
                    <a:pt x="1250783" y="2075299"/>
                    <a:pt x="1250783" y="2075299"/>
                    <a:pt x="1256183" y="2059138"/>
                  </a:cubicBezTo>
                  <a:lnTo>
                    <a:pt x="1285404" y="2051216"/>
                  </a:lnTo>
                  <a:cubicBezTo>
                    <a:pt x="1285404" y="2051216"/>
                    <a:pt x="1285404" y="2051216"/>
                    <a:pt x="1240937" y="2026815"/>
                  </a:cubicBezTo>
                  <a:close/>
                  <a:moveTo>
                    <a:pt x="1047825" y="2023963"/>
                  </a:moveTo>
                  <a:lnTo>
                    <a:pt x="1037979" y="2039491"/>
                  </a:lnTo>
                  <a:cubicBezTo>
                    <a:pt x="1037979" y="2039491"/>
                    <a:pt x="1037979" y="2039491"/>
                    <a:pt x="1081175" y="2051216"/>
                  </a:cubicBezTo>
                  <a:cubicBezTo>
                    <a:pt x="1081175" y="2051216"/>
                    <a:pt x="1081175" y="2051216"/>
                    <a:pt x="1047825" y="2023963"/>
                  </a:cubicBezTo>
                  <a:close/>
                  <a:moveTo>
                    <a:pt x="1498526" y="2023329"/>
                  </a:moveTo>
                  <a:lnTo>
                    <a:pt x="1483598" y="2104136"/>
                  </a:lnTo>
                  <a:cubicBezTo>
                    <a:pt x="1483598" y="2104136"/>
                    <a:pt x="1483598" y="2104136"/>
                    <a:pt x="1524253" y="2113009"/>
                  </a:cubicBezTo>
                  <a:cubicBezTo>
                    <a:pt x="1524253" y="2113009"/>
                    <a:pt x="1524253" y="2113009"/>
                    <a:pt x="1539816" y="2028717"/>
                  </a:cubicBezTo>
                  <a:cubicBezTo>
                    <a:pt x="1539816" y="2028717"/>
                    <a:pt x="1539816" y="2028717"/>
                    <a:pt x="1498526" y="2023329"/>
                  </a:cubicBezTo>
                  <a:close/>
                  <a:moveTo>
                    <a:pt x="271564" y="2021428"/>
                  </a:moveTo>
                  <a:cubicBezTo>
                    <a:pt x="271564" y="2021428"/>
                    <a:pt x="271564" y="2021428"/>
                    <a:pt x="270294" y="2024280"/>
                  </a:cubicBezTo>
                  <a:cubicBezTo>
                    <a:pt x="270294" y="2024280"/>
                    <a:pt x="270294" y="2024280"/>
                    <a:pt x="269976" y="2024280"/>
                  </a:cubicBezTo>
                  <a:cubicBezTo>
                    <a:pt x="269976" y="2024280"/>
                    <a:pt x="251237" y="2045511"/>
                    <a:pt x="226780" y="2073081"/>
                  </a:cubicBezTo>
                  <a:cubicBezTo>
                    <a:pt x="235038" y="2080052"/>
                    <a:pt x="243296" y="2087024"/>
                    <a:pt x="250919" y="2094312"/>
                  </a:cubicBezTo>
                  <a:cubicBezTo>
                    <a:pt x="304279" y="2143113"/>
                    <a:pt x="338900" y="2196984"/>
                    <a:pt x="353192" y="2221385"/>
                  </a:cubicBezTo>
                  <a:cubicBezTo>
                    <a:pt x="360815" y="2220117"/>
                    <a:pt x="375426" y="2216314"/>
                    <a:pt x="390036" y="2207125"/>
                  </a:cubicBezTo>
                  <a:cubicBezTo>
                    <a:pt x="393530" y="2204906"/>
                    <a:pt x="400200" y="2197301"/>
                    <a:pt x="406552" y="2187794"/>
                  </a:cubicBezTo>
                  <a:cubicBezTo>
                    <a:pt x="416399" y="2172900"/>
                    <a:pt x="426880" y="2153571"/>
                    <a:pt x="434503" y="2137726"/>
                  </a:cubicBezTo>
                  <a:cubicBezTo>
                    <a:pt x="437997" y="2130438"/>
                    <a:pt x="441173" y="2124100"/>
                    <a:pt x="443396" y="2119346"/>
                  </a:cubicBezTo>
                  <a:close/>
                  <a:moveTo>
                    <a:pt x="1483280" y="2021111"/>
                  </a:moveTo>
                  <a:cubicBezTo>
                    <a:pt x="1477881" y="2048997"/>
                    <a:pt x="1472481" y="2075933"/>
                    <a:pt x="1467717" y="2100650"/>
                  </a:cubicBezTo>
                  <a:cubicBezTo>
                    <a:pt x="1467717" y="2100650"/>
                    <a:pt x="1467717" y="2100650"/>
                    <a:pt x="1479469" y="2103185"/>
                  </a:cubicBezTo>
                  <a:lnTo>
                    <a:pt x="1494397" y="2022696"/>
                  </a:lnTo>
                  <a:cubicBezTo>
                    <a:pt x="1494397" y="2022696"/>
                    <a:pt x="1494397" y="2022696"/>
                    <a:pt x="1483280" y="2021111"/>
                  </a:cubicBezTo>
                  <a:close/>
                  <a:moveTo>
                    <a:pt x="1238396" y="2020161"/>
                  </a:moveTo>
                  <a:lnTo>
                    <a:pt x="1297791" y="2052483"/>
                  </a:lnTo>
                  <a:cubicBezTo>
                    <a:pt x="1297791" y="2052483"/>
                    <a:pt x="1297791" y="2052483"/>
                    <a:pt x="1292074" y="2054068"/>
                  </a:cubicBezTo>
                  <a:cubicBezTo>
                    <a:pt x="1292074" y="2054068"/>
                    <a:pt x="1292074" y="2054068"/>
                    <a:pt x="1259994" y="2062940"/>
                  </a:cubicBezTo>
                  <a:cubicBezTo>
                    <a:pt x="1259994" y="2062940"/>
                    <a:pt x="1259994" y="2062940"/>
                    <a:pt x="1253324" y="2082271"/>
                  </a:cubicBezTo>
                  <a:cubicBezTo>
                    <a:pt x="1253324" y="2082271"/>
                    <a:pt x="1253324" y="2082271"/>
                    <a:pt x="1220609" y="2063257"/>
                  </a:cubicBezTo>
                  <a:cubicBezTo>
                    <a:pt x="1220609" y="2063257"/>
                    <a:pt x="1220609" y="2063257"/>
                    <a:pt x="1238396" y="2020161"/>
                  </a:cubicBezTo>
                  <a:close/>
                  <a:moveTo>
                    <a:pt x="423069" y="2018576"/>
                  </a:moveTo>
                  <a:cubicBezTo>
                    <a:pt x="423069" y="2018576"/>
                    <a:pt x="423069" y="2018576"/>
                    <a:pt x="405917" y="2048680"/>
                  </a:cubicBezTo>
                  <a:lnTo>
                    <a:pt x="442126" y="2069278"/>
                  </a:lnTo>
                  <a:cubicBezTo>
                    <a:pt x="442126" y="2069278"/>
                    <a:pt x="442126" y="2069278"/>
                    <a:pt x="459277" y="2039174"/>
                  </a:cubicBezTo>
                  <a:cubicBezTo>
                    <a:pt x="459277" y="2039174"/>
                    <a:pt x="459277" y="2039174"/>
                    <a:pt x="423069" y="2018576"/>
                  </a:cubicBezTo>
                  <a:close/>
                  <a:moveTo>
                    <a:pt x="1046554" y="2016992"/>
                  </a:moveTo>
                  <a:cubicBezTo>
                    <a:pt x="1046554" y="2016992"/>
                    <a:pt x="1046554" y="2016992"/>
                    <a:pt x="1101185" y="2061039"/>
                  </a:cubicBezTo>
                  <a:cubicBezTo>
                    <a:pt x="1101185" y="2061039"/>
                    <a:pt x="1101185" y="2061039"/>
                    <a:pt x="1090386" y="2058504"/>
                  </a:cubicBezTo>
                  <a:lnTo>
                    <a:pt x="1030673" y="2042660"/>
                  </a:lnTo>
                  <a:cubicBezTo>
                    <a:pt x="1030673" y="2042660"/>
                    <a:pt x="1030673" y="2042660"/>
                    <a:pt x="1046554" y="2016992"/>
                  </a:cubicBezTo>
                  <a:close/>
                  <a:moveTo>
                    <a:pt x="2283680" y="2015724"/>
                  </a:moveTo>
                  <a:cubicBezTo>
                    <a:pt x="2283680" y="2015724"/>
                    <a:pt x="2283680" y="2015724"/>
                    <a:pt x="2267798" y="2124734"/>
                  </a:cubicBezTo>
                  <a:cubicBezTo>
                    <a:pt x="2267798" y="2124734"/>
                    <a:pt x="2267798" y="2124734"/>
                    <a:pt x="2278598" y="2128219"/>
                  </a:cubicBezTo>
                  <a:cubicBezTo>
                    <a:pt x="2278598" y="2128219"/>
                    <a:pt x="2278598" y="2128219"/>
                    <a:pt x="2281138" y="2114910"/>
                  </a:cubicBezTo>
                  <a:cubicBezTo>
                    <a:pt x="2281138" y="2114910"/>
                    <a:pt x="2281138" y="2114910"/>
                    <a:pt x="2294478" y="2117762"/>
                  </a:cubicBezTo>
                  <a:cubicBezTo>
                    <a:pt x="2294478" y="2117762"/>
                    <a:pt x="2294478" y="2117762"/>
                    <a:pt x="2297337" y="2103185"/>
                  </a:cubicBezTo>
                  <a:cubicBezTo>
                    <a:pt x="2297337" y="2103185"/>
                    <a:pt x="2297337" y="2103185"/>
                    <a:pt x="2324335" y="2108572"/>
                  </a:cubicBezTo>
                  <a:cubicBezTo>
                    <a:pt x="2324335" y="2108572"/>
                    <a:pt x="2324335" y="2108572"/>
                    <a:pt x="2317982" y="2140895"/>
                  </a:cubicBezTo>
                  <a:cubicBezTo>
                    <a:pt x="2317982" y="2140895"/>
                    <a:pt x="2317982" y="2140895"/>
                    <a:pt x="2319888" y="2141529"/>
                  </a:cubicBezTo>
                  <a:cubicBezTo>
                    <a:pt x="2319888" y="2141529"/>
                    <a:pt x="2319888" y="2141529"/>
                    <a:pt x="2320206" y="2141529"/>
                  </a:cubicBezTo>
                  <a:cubicBezTo>
                    <a:pt x="2320206" y="2141529"/>
                    <a:pt x="2331005" y="2148817"/>
                    <a:pt x="2341804" y="2156105"/>
                  </a:cubicBezTo>
                  <a:cubicBezTo>
                    <a:pt x="2347203" y="2159908"/>
                    <a:pt x="2352920" y="2163711"/>
                    <a:pt x="2357050" y="2166246"/>
                  </a:cubicBezTo>
                  <a:cubicBezTo>
                    <a:pt x="2359273" y="2167513"/>
                    <a:pt x="2361178" y="2168781"/>
                    <a:pt x="2362449" y="2169415"/>
                  </a:cubicBezTo>
                  <a:cubicBezTo>
                    <a:pt x="2363084" y="2170048"/>
                    <a:pt x="2363720" y="2170365"/>
                    <a:pt x="2364037" y="2170365"/>
                  </a:cubicBezTo>
                  <a:cubicBezTo>
                    <a:pt x="2364037" y="2170365"/>
                    <a:pt x="2364354" y="2170365"/>
                    <a:pt x="2364354" y="2170682"/>
                  </a:cubicBezTo>
                  <a:cubicBezTo>
                    <a:pt x="2364672" y="2170682"/>
                    <a:pt x="2364672" y="2170682"/>
                    <a:pt x="2364990" y="2170682"/>
                  </a:cubicBezTo>
                  <a:cubicBezTo>
                    <a:pt x="2364990" y="2170682"/>
                    <a:pt x="2364990" y="2170682"/>
                    <a:pt x="2374201" y="2123466"/>
                  </a:cubicBezTo>
                  <a:close/>
                  <a:moveTo>
                    <a:pt x="2289079" y="2015407"/>
                  </a:moveTo>
                  <a:cubicBezTo>
                    <a:pt x="2289079" y="2015407"/>
                    <a:pt x="2289079" y="2015407"/>
                    <a:pt x="2377694" y="2120614"/>
                  </a:cubicBezTo>
                  <a:cubicBezTo>
                    <a:pt x="2382776" y="2120297"/>
                    <a:pt x="2402786" y="2118713"/>
                    <a:pt x="2412950" y="2118079"/>
                  </a:cubicBezTo>
                  <a:cubicBezTo>
                    <a:pt x="2412950" y="2118079"/>
                    <a:pt x="2412950" y="2118079"/>
                    <a:pt x="2412633" y="2117762"/>
                  </a:cubicBezTo>
                  <a:cubicBezTo>
                    <a:pt x="2412633" y="2117762"/>
                    <a:pt x="2412633" y="2117762"/>
                    <a:pt x="2415174" y="2114276"/>
                  </a:cubicBezTo>
                  <a:cubicBezTo>
                    <a:pt x="2415174" y="2114276"/>
                    <a:pt x="2415174" y="2114276"/>
                    <a:pt x="2416126" y="2114910"/>
                  </a:cubicBezTo>
                  <a:cubicBezTo>
                    <a:pt x="2414538" y="2106988"/>
                    <a:pt x="2411044" y="2089876"/>
                    <a:pt x="2407233" y="2073081"/>
                  </a:cubicBezTo>
                  <a:cubicBezTo>
                    <a:pt x="2407233" y="2073081"/>
                    <a:pt x="2407233" y="2073081"/>
                    <a:pt x="2368166" y="2070229"/>
                  </a:cubicBezTo>
                  <a:cubicBezTo>
                    <a:pt x="2368166" y="2070229"/>
                    <a:pt x="2368166" y="2070229"/>
                    <a:pt x="2368484" y="2068328"/>
                  </a:cubicBezTo>
                  <a:cubicBezTo>
                    <a:pt x="2368484" y="2068328"/>
                    <a:pt x="2368484" y="2068328"/>
                    <a:pt x="2370389" y="2042976"/>
                  </a:cubicBezTo>
                  <a:cubicBezTo>
                    <a:pt x="2370389" y="2042976"/>
                    <a:pt x="2370389" y="2042976"/>
                    <a:pt x="2385000" y="2044244"/>
                  </a:cubicBezTo>
                  <a:cubicBezTo>
                    <a:pt x="2385000" y="2044244"/>
                    <a:pt x="2385000" y="2044244"/>
                    <a:pt x="2386270" y="2030618"/>
                  </a:cubicBezTo>
                  <a:lnTo>
                    <a:pt x="2397704" y="2031252"/>
                  </a:lnTo>
                  <a:cubicBezTo>
                    <a:pt x="2397069" y="2029667"/>
                    <a:pt x="2396752" y="2028083"/>
                    <a:pt x="2396752" y="2027132"/>
                  </a:cubicBezTo>
                  <a:cubicBezTo>
                    <a:pt x="2349426" y="2021745"/>
                    <a:pt x="2309724" y="2017625"/>
                    <a:pt x="2289079" y="2015407"/>
                  </a:cubicBezTo>
                  <a:close/>
                  <a:moveTo>
                    <a:pt x="2228096" y="2014140"/>
                  </a:moveTo>
                  <a:cubicBezTo>
                    <a:pt x="2228096" y="2014140"/>
                    <a:pt x="2228096" y="2014140"/>
                    <a:pt x="2222696" y="2046462"/>
                  </a:cubicBezTo>
                  <a:cubicBezTo>
                    <a:pt x="2222696" y="2046462"/>
                    <a:pt x="2222696" y="2046462"/>
                    <a:pt x="2249694" y="2048364"/>
                  </a:cubicBezTo>
                  <a:cubicBezTo>
                    <a:pt x="2249694" y="2048364"/>
                    <a:pt x="2249694" y="2048364"/>
                    <a:pt x="2251282" y="2029667"/>
                  </a:cubicBezTo>
                  <a:lnTo>
                    <a:pt x="2236354" y="2028400"/>
                  </a:lnTo>
                  <a:cubicBezTo>
                    <a:pt x="2236354" y="2028400"/>
                    <a:pt x="2236354" y="2028400"/>
                    <a:pt x="2237625" y="2014773"/>
                  </a:cubicBezTo>
                  <a:cubicBezTo>
                    <a:pt x="2237625" y="2014773"/>
                    <a:pt x="2237625" y="2014773"/>
                    <a:pt x="2228096" y="2014140"/>
                  </a:cubicBezTo>
                  <a:close/>
                  <a:moveTo>
                    <a:pt x="1231408" y="2013506"/>
                  </a:moveTo>
                  <a:cubicBezTo>
                    <a:pt x="1231408" y="2013506"/>
                    <a:pt x="1231408" y="2013506"/>
                    <a:pt x="1208857" y="2069278"/>
                  </a:cubicBezTo>
                  <a:lnTo>
                    <a:pt x="1293344" y="2118079"/>
                  </a:lnTo>
                  <a:cubicBezTo>
                    <a:pt x="1293344" y="2118079"/>
                    <a:pt x="1293344" y="2118079"/>
                    <a:pt x="1336540" y="2061673"/>
                  </a:cubicBezTo>
                  <a:cubicBezTo>
                    <a:pt x="1329870" y="2058821"/>
                    <a:pt x="1306366" y="2048364"/>
                    <a:pt x="1282863" y="2037906"/>
                  </a:cubicBezTo>
                  <a:cubicBezTo>
                    <a:pt x="1268887" y="2031569"/>
                    <a:pt x="1254912" y="2025231"/>
                    <a:pt x="1244431" y="2020161"/>
                  </a:cubicBezTo>
                  <a:cubicBezTo>
                    <a:pt x="1239349" y="2017625"/>
                    <a:pt x="1234902" y="2015407"/>
                    <a:pt x="1231726" y="2013823"/>
                  </a:cubicBezTo>
                  <a:cubicBezTo>
                    <a:pt x="1231726" y="2013823"/>
                    <a:pt x="1231408" y="2013823"/>
                    <a:pt x="1231408" y="2013506"/>
                  </a:cubicBezTo>
                  <a:close/>
                  <a:moveTo>
                    <a:pt x="2208722" y="2012555"/>
                  </a:moveTo>
                  <a:cubicBezTo>
                    <a:pt x="2208722" y="2012555"/>
                    <a:pt x="2208722" y="2012555"/>
                    <a:pt x="2207768" y="2026181"/>
                  </a:cubicBezTo>
                  <a:cubicBezTo>
                    <a:pt x="2207768" y="2026181"/>
                    <a:pt x="2207768" y="2026181"/>
                    <a:pt x="2192840" y="2024914"/>
                  </a:cubicBezTo>
                  <a:cubicBezTo>
                    <a:pt x="2192840" y="2024914"/>
                    <a:pt x="2192840" y="2024914"/>
                    <a:pt x="2191570" y="2043927"/>
                  </a:cubicBezTo>
                  <a:cubicBezTo>
                    <a:pt x="2191570" y="2043927"/>
                    <a:pt x="2191570" y="2043927"/>
                    <a:pt x="2218250" y="2046145"/>
                  </a:cubicBezTo>
                  <a:lnTo>
                    <a:pt x="2223650" y="2013823"/>
                  </a:lnTo>
                  <a:cubicBezTo>
                    <a:pt x="2223650" y="2013823"/>
                    <a:pt x="2223650" y="2013823"/>
                    <a:pt x="2208722" y="2012555"/>
                  </a:cubicBezTo>
                  <a:close/>
                  <a:moveTo>
                    <a:pt x="65430" y="2011604"/>
                  </a:moveTo>
                  <a:cubicBezTo>
                    <a:pt x="62889" y="2018259"/>
                    <a:pt x="54313" y="2036639"/>
                    <a:pt x="40338" y="2048047"/>
                  </a:cubicBezTo>
                  <a:cubicBezTo>
                    <a:pt x="26045" y="2059771"/>
                    <a:pt x="7941" y="2069595"/>
                    <a:pt x="2541" y="2072447"/>
                  </a:cubicBezTo>
                  <a:cubicBezTo>
                    <a:pt x="2541" y="2072447"/>
                    <a:pt x="2541" y="2072447"/>
                    <a:pt x="10482" y="2118079"/>
                  </a:cubicBezTo>
                  <a:cubicBezTo>
                    <a:pt x="10482" y="2118079"/>
                    <a:pt x="10482" y="2118079"/>
                    <a:pt x="39703" y="2115861"/>
                  </a:cubicBezTo>
                  <a:cubicBezTo>
                    <a:pt x="39703" y="2115861"/>
                    <a:pt x="39703" y="2115861"/>
                    <a:pt x="39703" y="2075299"/>
                  </a:cubicBezTo>
                  <a:cubicBezTo>
                    <a:pt x="39703" y="2075299"/>
                    <a:pt x="39703" y="2075299"/>
                    <a:pt x="44149" y="2073715"/>
                  </a:cubicBezTo>
                  <a:cubicBezTo>
                    <a:pt x="44149" y="2073715"/>
                    <a:pt x="44149" y="2073715"/>
                    <a:pt x="73688" y="2109206"/>
                  </a:cubicBezTo>
                  <a:cubicBezTo>
                    <a:pt x="73688" y="2109206"/>
                    <a:pt x="73688" y="2109206"/>
                    <a:pt x="94333" y="2093678"/>
                  </a:cubicBezTo>
                  <a:cubicBezTo>
                    <a:pt x="94333" y="2093678"/>
                    <a:pt x="94333" y="2093678"/>
                    <a:pt x="85440" y="2060088"/>
                  </a:cubicBezTo>
                  <a:cubicBezTo>
                    <a:pt x="85440" y="2060088"/>
                    <a:pt x="85440" y="2060088"/>
                    <a:pt x="88934" y="2057553"/>
                  </a:cubicBezTo>
                  <a:cubicBezTo>
                    <a:pt x="88934" y="2057553"/>
                    <a:pt x="88934" y="2057553"/>
                    <a:pt x="131177" y="2084172"/>
                  </a:cubicBezTo>
                  <a:cubicBezTo>
                    <a:pt x="131177" y="2084172"/>
                    <a:pt x="131177" y="2084172"/>
                    <a:pt x="163892" y="2069912"/>
                  </a:cubicBezTo>
                  <a:cubicBezTo>
                    <a:pt x="153410" y="2062307"/>
                    <a:pt x="119743" y="2038857"/>
                    <a:pt x="99097" y="2028717"/>
                  </a:cubicBezTo>
                  <a:cubicBezTo>
                    <a:pt x="80358" y="2019527"/>
                    <a:pt x="69876" y="2013823"/>
                    <a:pt x="65430" y="2011604"/>
                  </a:cubicBezTo>
                  <a:close/>
                  <a:moveTo>
                    <a:pt x="767050" y="2010020"/>
                  </a:moveTo>
                  <a:cubicBezTo>
                    <a:pt x="762921" y="2016358"/>
                    <a:pt x="746087" y="2042026"/>
                    <a:pt x="725759" y="2073715"/>
                  </a:cubicBezTo>
                  <a:cubicBezTo>
                    <a:pt x="725759" y="2073715"/>
                    <a:pt x="725759" y="2073715"/>
                    <a:pt x="817551" y="2125684"/>
                  </a:cubicBezTo>
                  <a:cubicBezTo>
                    <a:pt x="817551" y="2125684"/>
                    <a:pt x="817551" y="2125684"/>
                    <a:pt x="891874" y="2152620"/>
                  </a:cubicBezTo>
                  <a:cubicBezTo>
                    <a:pt x="891874" y="2152620"/>
                    <a:pt x="891874" y="2152620"/>
                    <a:pt x="943963" y="2134557"/>
                  </a:cubicBezTo>
                  <a:cubicBezTo>
                    <a:pt x="940470" y="2123783"/>
                    <a:pt x="938564" y="2113642"/>
                    <a:pt x="938564" y="2104453"/>
                  </a:cubicBezTo>
                  <a:cubicBezTo>
                    <a:pt x="938564" y="2100967"/>
                    <a:pt x="938881" y="2097798"/>
                    <a:pt x="939517" y="2094629"/>
                  </a:cubicBezTo>
                  <a:cubicBezTo>
                    <a:pt x="939517" y="2094629"/>
                    <a:pt x="939517" y="2094629"/>
                    <a:pt x="931259" y="2090510"/>
                  </a:cubicBezTo>
                  <a:cubicBezTo>
                    <a:pt x="931259" y="2090510"/>
                    <a:pt x="931259" y="2090510"/>
                    <a:pt x="917283" y="2118079"/>
                  </a:cubicBezTo>
                  <a:cubicBezTo>
                    <a:pt x="917283" y="2118079"/>
                    <a:pt x="917283" y="2118079"/>
                    <a:pt x="879804" y="2100016"/>
                  </a:cubicBezTo>
                  <a:lnTo>
                    <a:pt x="893780" y="2072130"/>
                  </a:lnTo>
                  <a:cubicBezTo>
                    <a:pt x="893780" y="2072130"/>
                    <a:pt x="893780" y="2072130"/>
                    <a:pt x="767050" y="2010020"/>
                  </a:cubicBezTo>
                  <a:close/>
                  <a:moveTo>
                    <a:pt x="1790100" y="2009703"/>
                  </a:moveTo>
                  <a:cubicBezTo>
                    <a:pt x="1789465" y="2012555"/>
                    <a:pt x="1789147" y="2015407"/>
                    <a:pt x="1788512" y="2017942"/>
                  </a:cubicBezTo>
                  <a:cubicBezTo>
                    <a:pt x="1787877" y="2021745"/>
                    <a:pt x="1787241" y="2024914"/>
                    <a:pt x="1786606" y="2027132"/>
                  </a:cubicBezTo>
                  <a:cubicBezTo>
                    <a:pt x="1786606" y="2027449"/>
                    <a:pt x="1786606" y="2027449"/>
                    <a:pt x="1786606" y="2027449"/>
                  </a:cubicBezTo>
                  <a:cubicBezTo>
                    <a:pt x="1786606" y="2027449"/>
                    <a:pt x="1786606" y="2027449"/>
                    <a:pt x="1820274" y="2033153"/>
                  </a:cubicBezTo>
                  <a:lnTo>
                    <a:pt x="1819638" y="2032519"/>
                  </a:lnTo>
                  <a:cubicBezTo>
                    <a:pt x="1819956" y="2031885"/>
                    <a:pt x="1821544" y="2026181"/>
                    <a:pt x="1822815" y="2018576"/>
                  </a:cubicBezTo>
                  <a:cubicBezTo>
                    <a:pt x="1823132" y="2017625"/>
                    <a:pt x="1823132" y="2016675"/>
                    <a:pt x="1823450" y="2015407"/>
                  </a:cubicBezTo>
                  <a:cubicBezTo>
                    <a:pt x="1823450" y="2015407"/>
                    <a:pt x="1823450" y="2015407"/>
                    <a:pt x="1790100" y="2009703"/>
                  </a:cubicBezTo>
                  <a:close/>
                  <a:moveTo>
                    <a:pt x="1402287" y="2009386"/>
                  </a:moveTo>
                  <a:lnTo>
                    <a:pt x="1398158" y="2031885"/>
                  </a:lnTo>
                  <a:cubicBezTo>
                    <a:pt x="1398158" y="2031885"/>
                    <a:pt x="1398158" y="2031885"/>
                    <a:pt x="1438814" y="2038540"/>
                  </a:cubicBezTo>
                  <a:cubicBezTo>
                    <a:pt x="1438814" y="2038540"/>
                    <a:pt x="1438814" y="2038540"/>
                    <a:pt x="1443260" y="2015407"/>
                  </a:cubicBezTo>
                  <a:cubicBezTo>
                    <a:pt x="1443260" y="2015407"/>
                    <a:pt x="1443260" y="2015407"/>
                    <a:pt x="1402287" y="2009386"/>
                  </a:cubicBezTo>
                  <a:close/>
                  <a:moveTo>
                    <a:pt x="930306" y="2008119"/>
                  </a:moveTo>
                  <a:cubicBezTo>
                    <a:pt x="930306" y="2008119"/>
                    <a:pt x="930306" y="2008119"/>
                    <a:pt x="899497" y="2070229"/>
                  </a:cubicBezTo>
                  <a:lnTo>
                    <a:pt x="929353" y="2084806"/>
                  </a:lnTo>
                  <a:cubicBezTo>
                    <a:pt x="929353" y="2084806"/>
                    <a:pt x="929353" y="2084806"/>
                    <a:pt x="961115" y="2023013"/>
                  </a:cubicBezTo>
                  <a:cubicBezTo>
                    <a:pt x="961115" y="2023013"/>
                    <a:pt x="961115" y="2023013"/>
                    <a:pt x="930306" y="2008119"/>
                  </a:cubicBezTo>
                  <a:close/>
                  <a:moveTo>
                    <a:pt x="483734" y="2004950"/>
                  </a:moveTo>
                  <a:lnTo>
                    <a:pt x="465312" y="2037589"/>
                  </a:lnTo>
                  <a:cubicBezTo>
                    <a:pt x="465312" y="2037589"/>
                    <a:pt x="465312" y="2037589"/>
                    <a:pt x="482463" y="2047413"/>
                  </a:cubicBezTo>
                  <a:cubicBezTo>
                    <a:pt x="482463" y="2047413"/>
                    <a:pt x="482463" y="2047413"/>
                    <a:pt x="500885" y="2014773"/>
                  </a:cubicBezTo>
                  <a:cubicBezTo>
                    <a:pt x="500885" y="2014773"/>
                    <a:pt x="500885" y="2014773"/>
                    <a:pt x="483734" y="2004950"/>
                  </a:cubicBezTo>
                  <a:close/>
                  <a:moveTo>
                    <a:pt x="62889" y="2004950"/>
                  </a:moveTo>
                  <a:cubicBezTo>
                    <a:pt x="62889" y="2004950"/>
                    <a:pt x="62889" y="2004950"/>
                    <a:pt x="65430" y="2006217"/>
                  </a:cubicBezTo>
                  <a:cubicBezTo>
                    <a:pt x="65430" y="2006217"/>
                    <a:pt x="75911" y="2011921"/>
                    <a:pt x="101003" y="2024597"/>
                  </a:cubicBezTo>
                  <a:cubicBezTo>
                    <a:pt x="126730" y="2037273"/>
                    <a:pt x="170244" y="2068644"/>
                    <a:pt x="170244" y="2068644"/>
                  </a:cubicBezTo>
                  <a:cubicBezTo>
                    <a:pt x="170244" y="2068644"/>
                    <a:pt x="170244" y="2068644"/>
                    <a:pt x="169609" y="2072764"/>
                  </a:cubicBezTo>
                  <a:cubicBezTo>
                    <a:pt x="169609" y="2072764"/>
                    <a:pt x="169609" y="2072764"/>
                    <a:pt x="130859" y="2089242"/>
                  </a:cubicBezTo>
                  <a:cubicBezTo>
                    <a:pt x="130859" y="2089242"/>
                    <a:pt x="130859" y="2089242"/>
                    <a:pt x="91474" y="2064525"/>
                  </a:cubicBezTo>
                  <a:cubicBezTo>
                    <a:pt x="91474" y="2064525"/>
                    <a:pt x="91474" y="2064525"/>
                    <a:pt x="99733" y="2095580"/>
                  </a:cubicBezTo>
                  <a:cubicBezTo>
                    <a:pt x="99733" y="2095580"/>
                    <a:pt x="99733" y="2095580"/>
                    <a:pt x="72735" y="2115861"/>
                  </a:cubicBezTo>
                  <a:cubicBezTo>
                    <a:pt x="72735" y="2115861"/>
                    <a:pt x="72735" y="2115861"/>
                    <a:pt x="44467" y="2081637"/>
                  </a:cubicBezTo>
                  <a:cubicBezTo>
                    <a:pt x="44467" y="2081637"/>
                    <a:pt x="44467" y="2081637"/>
                    <a:pt x="44467" y="2120297"/>
                  </a:cubicBezTo>
                  <a:lnTo>
                    <a:pt x="6670" y="2122832"/>
                  </a:lnTo>
                  <a:cubicBezTo>
                    <a:pt x="6670" y="2122832"/>
                    <a:pt x="6670" y="2122832"/>
                    <a:pt x="1271" y="2092728"/>
                  </a:cubicBezTo>
                  <a:cubicBezTo>
                    <a:pt x="1271" y="2092728"/>
                    <a:pt x="1271" y="2092728"/>
                    <a:pt x="1271" y="2067694"/>
                  </a:cubicBezTo>
                  <a:cubicBezTo>
                    <a:pt x="7305" y="2064525"/>
                    <a:pt x="24139" y="2055335"/>
                    <a:pt x="37479" y="2044561"/>
                  </a:cubicBezTo>
                  <a:cubicBezTo>
                    <a:pt x="45420" y="2038223"/>
                    <a:pt x="51454" y="2028717"/>
                    <a:pt x="55584" y="2021111"/>
                  </a:cubicBezTo>
                  <a:cubicBezTo>
                    <a:pt x="60030" y="2013506"/>
                    <a:pt x="61936" y="2007485"/>
                    <a:pt x="62254" y="2007485"/>
                  </a:cubicBezTo>
                  <a:cubicBezTo>
                    <a:pt x="62254" y="2007485"/>
                    <a:pt x="62254" y="2007485"/>
                    <a:pt x="62889" y="2004950"/>
                  </a:cubicBezTo>
                  <a:close/>
                  <a:moveTo>
                    <a:pt x="2131222" y="2004316"/>
                  </a:moveTo>
                  <a:cubicBezTo>
                    <a:pt x="2131222" y="2004316"/>
                    <a:pt x="2131222" y="2004316"/>
                    <a:pt x="2127093" y="2036639"/>
                  </a:cubicBezTo>
                  <a:cubicBezTo>
                    <a:pt x="2127093" y="2036639"/>
                    <a:pt x="2127093" y="2036639"/>
                    <a:pt x="2155997" y="2039174"/>
                  </a:cubicBezTo>
                  <a:cubicBezTo>
                    <a:pt x="2155997" y="2039174"/>
                    <a:pt x="2155997" y="2039174"/>
                    <a:pt x="2157585" y="2020161"/>
                  </a:cubicBezTo>
                  <a:lnTo>
                    <a:pt x="2142657" y="2018893"/>
                  </a:lnTo>
                  <a:cubicBezTo>
                    <a:pt x="2142657" y="2018893"/>
                    <a:pt x="2142657" y="2018893"/>
                    <a:pt x="2143927" y="2005267"/>
                  </a:cubicBezTo>
                  <a:cubicBezTo>
                    <a:pt x="2143927" y="2005267"/>
                    <a:pt x="2143927" y="2005267"/>
                    <a:pt x="2131222" y="2004316"/>
                  </a:cubicBezTo>
                  <a:close/>
                  <a:moveTo>
                    <a:pt x="2115024" y="2003049"/>
                  </a:moveTo>
                  <a:cubicBezTo>
                    <a:pt x="2115024" y="2003049"/>
                    <a:pt x="2115024" y="2003049"/>
                    <a:pt x="2114071" y="2016675"/>
                  </a:cubicBezTo>
                  <a:cubicBezTo>
                    <a:pt x="2114071" y="2016675"/>
                    <a:pt x="2114071" y="2016675"/>
                    <a:pt x="2099143" y="2015407"/>
                  </a:cubicBezTo>
                  <a:cubicBezTo>
                    <a:pt x="2099143" y="2015407"/>
                    <a:pt x="2099143" y="2015407"/>
                    <a:pt x="2097872" y="2034421"/>
                  </a:cubicBezTo>
                  <a:cubicBezTo>
                    <a:pt x="2097872" y="2034421"/>
                    <a:pt x="2097872" y="2034421"/>
                    <a:pt x="2122647" y="2036322"/>
                  </a:cubicBezTo>
                  <a:cubicBezTo>
                    <a:pt x="2122647" y="2036322"/>
                    <a:pt x="2122647" y="2036322"/>
                    <a:pt x="2126776" y="2003999"/>
                  </a:cubicBezTo>
                  <a:close/>
                  <a:moveTo>
                    <a:pt x="1752939" y="2003049"/>
                  </a:moveTo>
                  <a:cubicBezTo>
                    <a:pt x="1752621" y="2006217"/>
                    <a:pt x="1751986" y="2009386"/>
                    <a:pt x="1751350" y="2011921"/>
                  </a:cubicBezTo>
                  <a:cubicBezTo>
                    <a:pt x="1750715" y="2015724"/>
                    <a:pt x="1750080" y="2018893"/>
                    <a:pt x="1749445" y="2021111"/>
                  </a:cubicBezTo>
                  <a:lnTo>
                    <a:pt x="1782159" y="2026815"/>
                  </a:lnTo>
                  <a:cubicBezTo>
                    <a:pt x="1782795" y="2024280"/>
                    <a:pt x="1783748" y="2019844"/>
                    <a:pt x="1784700" y="2014773"/>
                  </a:cubicBezTo>
                  <a:cubicBezTo>
                    <a:pt x="1785018" y="2012872"/>
                    <a:pt x="1785336" y="2010971"/>
                    <a:pt x="1785653" y="2008753"/>
                  </a:cubicBezTo>
                  <a:cubicBezTo>
                    <a:pt x="1785653" y="2008753"/>
                    <a:pt x="1785653" y="2008753"/>
                    <a:pt x="1752939" y="2003049"/>
                  </a:cubicBezTo>
                  <a:close/>
                  <a:moveTo>
                    <a:pt x="2182042" y="2002732"/>
                  </a:moveTo>
                  <a:cubicBezTo>
                    <a:pt x="2181088" y="2008753"/>
                    <a:pt x="2179183" y="2018893"/>
                    <a:pt x="2177277" y="2029350"/>
                  </a:cubicBezTo>
                  <a:cubicBezTo>
                    <a:pt x="2175689" y="2037273"/>
                    <a:pt x="2173783" y="2045511"/>
                    <a:pt x="2172195" y="2051849"/>
                  </a:cubicBezTo>
                  <a:cubicBezTo>
                    <a:pt x="2171560" y="2055018"/>
                    <a:pt x="2170925" y="2057553"/>
                    <a:pt x="2170290" y="2059455"/>
                  </a:cubicBezTo>
                  <a:cubicBezTo>
                    <a:pt x="2169972" y="2060405"/>
                    <a:pt x="2169654" y="2061039"/>
                    <a:pt x="2169337" y="2061673"/>
                  </a:cubicBezTo>
                  <a:cubicBezTo>
                    <a:pt x="2169019" y="2062307"/>
                    <a:pt x="2168702" y="2062624"/>
                    <a:pt x="2168066" y="2063257"/>
                  </a:cubicBezTo>
                  <a:cubicBezTo>
                    <a:pt x="2190300" y="2066743"/>
                    <a:pt x="2212215" y="2070229"/>
                    <a:pt x="2229049" y="2072764"/>
                  </a:cubicBezTo>
                  <a:cubicBezTo>
                    <a:pt x="2237942" y="2074348"/>
                    <a:pt x="2245248" y="2075616"/>
                    <a:pt x="2250647" y="2076250"/>
                  </a:cubicBezTo>
                  <a:cubicBezTo>
                    <a:pt x="2251600" y="2076567"/>
                    <a:pt x="2252870" y="2076567"/>
                    <a:pt x="2253823" y="2076883"/>
                  </a:cubicBezTo>
                  <a:cubicBezTo>
                    <a:pt x="2253823" y="2076883"/>
                    <a:pt x="2253823" y="2076883"/>
                    <a:pt x="2263034" y="2012238"/>
                  </a:cubicBezTo>
                  <a:cubicBezTo>
                    <a:pt x="2263034" y="2012238"/>
                    <a:pt x="2263034" y="2012238"/>
                    <a:pt x="2229049" y="2008119"/>
                  </a:cubicBezTo>
                  <a:cubicBezTo>
                    <a:pt x="2229049" y="2008119"/>
                    <a:pt x="2229049" y="2008119"/>
                    <a:pt x="2229049" y="2010020"/>
                  </a:cubicBezTo>
                  <a:cubicBezTo>
                    <a:pt x="2229049" y="2010020"/>
                    <a:pt x="2229049" y="2010020"/>
                    <a:pt x="2242071" y="2010971"/>
                  </a:cubicBezTo>
                  <a:cubicBezTo>
                    <a:pt x="2242071" y="2010971"/>
                    <a:pt x="2242071" y="2010971"/>
                    <a:pt x="2240801" y="2024597"/>
                  </a:cubicBezTo>
                  <a:cubicBezTo>
                    <a:pt x="2240801" y="2024597"/>
                    <a:pt x="2240801" y="2024597"/>
                    <a:pt x="2255729" y="2025864"/>
                  </a:cubicBezTo>
                  <a:cubicBezTo>
                    <a:pt x="2255729" y="2025864"/>
                    <a:pt x="2255729" y="2025864"/>
                    <a:pt x="2253506" y="2053117"/>
                  </a:cubicBezTo>
                  <a:cubicBezTo>
                    <a:pt x="2253506" y="2053117"/>
                    <a:pt x="2253506" y="2053117"/>
                    <a:pt x="2221744" y="2050582"/>
                  </a:cubicBezTo>
                  <a:cubicBezTo>
                    <a:pt x="2221744" y="2050582"/>
                    <a:pt x="2221744" y="2050582"/>
                    <a:pt x="2218568" y="2069595"/>
                  </a:cubicBezTo>
                  <a:cubicBezTo>
                    <a:pt x="2218568" y="2069595"/>
                    <a:pt x="2218568" y="2069595"/>
                    <a:pt x="2214121" y="2068961"/>
                  </a:cubicBezTo>
                  <a:cubicBezTo>
                    <a:pt x="2214121" y="2068961"/>
                    <a:pt x="2214121" y="2068961"/>
                    <a:pt x="2217297" y="2050265"/>
                  </a:cubicBezTo>
                  <a:cubicBezTo>
                    <a:pt x="2217297" y="2050265"/>
                    <a:pt x="2217297" y="2050265"/>
                    <a:pt x="2186806" y="2047730"/>
                  </a:cubicBezTo>
                  <a:cubicBezTo>
                    <a:pt x="2186806" y="2047730"/>
                    <a:pt x="2186806" y="2047730"/>
                    <a:pt x="2187123" y="2045828"/>
                  </a:cubicBezTo>
                  <a:cubicBezTo>
                    <a:pt x="2187123" y="2045828"/>
                    <a:pt x="2187123" y="2045828"/>
                    <a:pt x="2189029" y="2020477"/>
                  </a:cubicBezTo>
                  <a:cubicBezTo>
                    <a:pt x="2189029" y="2020477"/>
                    <a:pt x="2189029" y="2020477"/>
                    <a:pt x="2203957" y="2021745"/>
                  </a:cubicBezTo>
                  <a:cubicBezTo>
                    <a:pt x="2203957" y="2021745"/>
                    <a:pt x="2203957" y="2021745"/>
                    <a:pt x="2204910" y="2008119"/>
                  </a:cubicBezTo>
                  <a:cubicBezTo>
                    <a:pt x="2204910" y="2008119"/>
                    <a:pt x="2204910" y="2008119"/>
                    <a:pt x="2224602" y="2009703"/>
                  </a:cubicBezTo>
                  <a:lnTo>
                    <a:pt x="2224920" y="2007802"/>
                  </a:lnTo>
                  <a:cubicBezTo>
                    <a:pt x="2224920" y="2007802"/>
                    <a:pt x="2224920" y="2007802"/>
                    <a:pt x="2182042" y="2002732"/>
                  </a:cubicBezTo>
                  <a:close/>
                  <a:moveTo>
                    <a:pt x="1502655" y="1999563"/>
                  </a:moveTo>
                  <a:cubicBezTo>
                    <a:pt x="1502655" y="1999563"/>
                    <a:pt x="1502655" y="1999563"/>
                    <a:pt x="1499161" y="2018893"/>
                  </a:cubicBezTo>
                  <a:lnTo>
                    <a:pt x="1540452" y="2024597"/>
                  </a:lnTo>
                  <a:cubicBezTo>
                    <a:pt x="1540452" y="2024597"/>
                    <a:pt x="1540452" y="2024597"/>
                    <a:pt x="1543945" y="2006217"/>
                  </a:cubicBezTo>
                  <a:cubicBezTo>
                    <a:pt x="1543945" y="2006217"/>
                    <a:pt x="1543945" y="2006217"/>
                    <a:pt x="1502655" y="1999563"/>
                  </a:cubicBezTo>
                  <a:close/>
                  <a:moveTo>
                    <a:pt x="1714824" y="1996394"/>
                  </a:moveTo>
                  <a:cubicBezTo>
                    <a:pt x="1714507" y="1999563"/>
                    <a:pt x="1713871" y="2002415"/>
                    <a:pt x="1713236" y="2005267"/>
                  </a:cubicBezTo>
                  <a:cubicBezTo>
                    <a:pt x="1712601" y="2009069"/>
                    <a:pt x="1711966" y="2012238"/>
                    <a:pt x="1711330" y="2014457"/>
                  </a:cubicBezTo>
                  <a:cubicBezTo>
                    <a:pt x="1711330" y="2014773"/>
                    <a:pt x="1711330" y="2014773"/>
                    <a:pt x="1711330" y="2014773"/>
                  </a:cubicBezTo>
                  <a:lnTo>
                    <a:pt x="1744998" y="2020477"/>
                  </a:lnTo>
                  <a:cubicBezTo>
                    <a:pt x="1745951" y="2017942"/>
                    <a:pt x="1746586" y="2013823"/>
                    <a:pt x="1747539" y="2009069"/>
                  </a:cubicBezTo>
                  <a:cubicBezTo>
                    <a:pt x="1747857" y="2006851"/>
                    <a:pt x="1748174" y="2004633"/>
                    <a:pt x="1748809" y="2002415"/>
                  </a:cubicBezTo>
                  <a:cubicBezTo>
                    <a:pt x="1748809" y="2002415"/>
                    <a:pt x="1748809" y="2002415"/>
                    <a:pt x="1714824" y="1996394"/>
                  </a:cubicBezTo>
                  <a:close/>
                  <a:moveTo>
                    <a:pt x="548846" y="1994176"/>
                  </a:moveTo>
                  <a:lnTo>
                    <a:pt x="485957" y="2105086"/>
                  </a:lnTo>
                  <a:cubicBezTo>
                    <a:pt x="485957" y="2105086"/>
                    <a:pt x="485957" y="2105086"/>
                    <a:pt x="529788" y="2129804"/>
                  </a:cubicBezTo>
                  <a:cubicBezTo>
                    <a:pt x="529788" y="2129804"/>
                    <a:pt x="529788" y="2129804"/>
                    <a:pt x="541540" y="2109523"/>
                  </a:cubicBezTo>
                  <a:cubicBezTo>
                    <a:pt x="541540" y="2109523"/>
                    <a:pt x="541540" y="2109523"/>
                    <a:pt x="570444" y="2118079"/>
                  </a:cubicBezTo>
                  <a:cubicBezTo>
                    <a:pt x="570444" y="2118079"/>
                    <a:pt x="570444" y="2118079"/>
                    <a:pt x="614275" y="2071813"/>
                  </a:cubicBezTo>
                  <a:cubicBezTo>
                    <a:pt x="614275" y="2071813"/>
                    <a:pt x="614275" y="2071813"/>
                    <a:pt x="590454" y="2053751"/>
                  </a:cubicBezTo>
                  <a:cubicBezTo>
                    <a:pt x="590454" y="2053751"/>
                    <a:pt x="590454" y="2053751"/>
                    <a:pt x="588548" y="2019527"/>
                  </a:cubicBezTo>
                  <a:cubicBezTo>
                    <a:pt x="588548" y="2019527"/>
                    <a:pt x="588548" y="2019527"/>
                    <a:pt x="548846" y="1994176"/>
                  </a:cubicBezTo>
                  <a:close/>
                  <a:moveTo>
                    <a:pt x="2024820" y="1992908"/>
                  </a:moveTo>
                  <a:cubicBezTo>
                    <a:pt x="2024820" y="1992908"/>
                    <a:pt x="2024820" y="1992908"/>
                    <a:pt x="2023232" y="2025548"/>
                  </a:cubicBezTo>
                  <a:cubicBezTo>
                    <a:pt x="2023232" y="2025548"/>
                    <a:pt x="2023232" y="2025548"/>
                    <a:pt x="2053723" y="2027766"/>
                  </a:cubicBezTo>
                  <a:cubicBezTo>
                    <a:pt x="2053723" y="2027766"/>
                    <a:pt x="2053723" y="2027766"/>
                    <a:pt x="2055312" y="2008753"/>
                  </a:cubicBezTo>
                  <a:lnTo>
                    <a:pt x="2040383" y="2007802"/>
                  </a:lnTo>
                  <a:cubicBezTo>
                    <a:pt x="2040383" y="2007802"/>
                    <a:pt x="2040383" y="2007802"/>
                    <a:pt x="2041654" y="1994176"/>
                  </a:cubicBezTo>
                  <a:cubicBezTo>
                    <a:pt x="2041654" y="1994176"/>
                    <a:pt x="2041654" y="1994176"/>
                    <a:pt x="2024820" y="1992908"/>
                  </a:cubicBezTo>
                  <a:close/>
                  <a:moveTo>
                    <a:pt x="2012751" y="1991958"/>
                  </a:moveTo>
                  <a:cubicBezTo>
                    <a:pt x="2012751" y="1991958"/>
                    <a:pt x="2012751" y="1991958"/>
                    <a:pt x="2011798" y="2005584"/>
                  </a:cubicBezTo>
                  <a:cubicBezTo>
                    <a:pt x="2011798" y="2005584"/>
                    <a:pt x="2011798" y="2005584"/>
                    <a:pt x="1996870" y="2004316"/>
                  </a:cubicBezTo>
                  <a:cubicBezTo>
                    <a:pt x="1996870" y="2004316"/>
                    <a:pt x="1996870" y="2004316"/>
                    <a:pt x="1995599" y="2023329"/>
                  </a:cubicBezTo>
                  <a:cubicBezTo>
                    <a:pt x="1995599" y="2023329"/>
                    <a:pt x="1995599" y="2023329"/>
                    <a:pt x="2018785" y="2024914"/>
                  </a:cubicBezTo>
                  <a:cubicBezTo>
                    <a:pt x="2018785" y="2024914"/>
                    <a:pt x="2018785" y="2024914"/>
                    <a:pt x="2020373" y="1992591"/>
                  </a:cubicBezTo>
                  <a:close/>
                  <a:moveTo>
                    <a:pt x="2078180" y="1990056"/>
                  </a:moveTo>
                  <a:cubicBezTo>
                    <a:pt x="2078180" y="1990056"/>
                    <a:pt x="2078180" y="1990056"/>
                    <a:pt x="2071510" y="2048047"/>
                  </a:cubicBezTo>
                  <a:cubicBezTo>
                    <a:pt x="2083262" y="2049948"/>
                    <a:pt x="2123282" y="2056286"/>
                    <a:pt x="2163302" y="2062624"/>
                  </a:cubicBezTo>
                  <a:cubicBezTo>
                    <a:pt x="2164255" y="2062624"/>
                    <a:pt x="2164890" y="2062624"/>
                    <a:pt x="2165525" y="2062940"/>
                  </a:cubicBezTo>
                  <a:cubicBezTo>
                    <a:pt x="2165525" y="2062940"/>
                    <a:pt x="2165525" y="2062940"/>
                    <a:pt x="2166478" y="2061356"/>
                  </a:cubicBezTo>
                  <a:lnTo>
                    <a:pt x="2166478" y="2061039"/>
                  </a:lnTo>
                  <a:cubicBezTo>
                    <a:pt x="2166478" y="2061039"/>
                    <a:pt x="2166478" y="2061039"/>
                    <a:pt x="2165208" y="2059771"/>
                  </a:cubicBezTo>
                  <a:cubicBezTo>
                    <a:pt x="2166796" y="2056920"/>
                    <a:pt x="2170607" y="2040441"/>
                    <a:pt x="2173466" y="2025231"/>
                  </a:cubicBezTo>
                  <a:cubicBezTo>
                    <a:pt x="2175054" y="2016358"/>
                    <a:pt x="2176642" y="2007802"/>
                    <a:pt x="2177912" y="2002098"/>
                  </a:cubicBezTo>
                  <a:cubicBezTo>
                    <a:pt x="2177912" y="2002098"/>
                    <a:pt x="2177912" y="2002098"/>
                    <a:pt x="2132493" y="1996711"/>
                  </a:cubicBezTo>
                  <a:cubicBezTo>
                    <a:pt x="2132493" y="1996711"/>
                    <a:pt x="2132493" y="1996711"/>
                    <a:pt x="2131858" y="2000197"/>
                  </a:cubicBezTo>
                  <a:cubicBezTo>
                    <a:pt x="2131858" y="2000197"/>
                    <a:pt x="2131858" y="2000197"/>
                    <a:pt x="2148374" y="2001464"/>
                  </a:cubicBezTo>
                  <a:cubicBezTo>
                    <a:pt x="2148374" y="2001464"/>
                    <a:pt x="2148374" y="2001464"/>
                    <a:pt x="2147103" y="2015090"/>
                  </a:cubicBezTo>
                  <a:cubicBezTo>
                    <a:pt x="2147103" y="2015090"/>
                    <a:pt x="2147103" y="2015090"/>
                    <a:pt x="2162032" y="2016358"/>
                  </a:cubicBezTo>
                  <a:cubicBezTo>
                    <a:pt x="2162032" y="2016358"/>
                    <a:pt x="2162032" y="2016358"/>
                    <a:pt x="2159808" y="2043610"/>
                  </a:cubicBezTo>
                  <a:cubicBezTo>
                    <a:pt x="2159808" y="2043610"/>
                    <a:pt x="2159808" y="2043610"/>
                    <a:pt x="2126458" y="2040758"/>
                  </a:cubicBezTo>
                  <a:cubicBezTo>
                    <a:pt x="2126458" y="2040758"/>
                    <a:pt x="2126458" y="2040758"/>
                    <a:pt x="2124552" y="2055018"/>
                  </a:cubicBezTo>
                  <a:cubicBezTo>
                    <a:pt x="2124552" y="2055018"/>
                    <a:pt x="2124552" y="2055018"/>
                    <a:pt x="2120106" y="2054384"/>
                  </a:cubicBezTo>
                  <a:cubicBezTo>
                    <a:pt x="2120106" y="2054384"/>
                    <a:pt x="2120106" y="2054384"/>
                    <a:pt x="2122012" y="2040441"/>
                  </a:cubicBezTo>
                  <a:cubicBezTo>
                    <a:pt x="2122012" y="2040441"/>
                    <a:pt x="2122012" y="2040441"/>
                    <a:pt x="2093108" y="2038223"/>
                  </a:cubicBezTo>
                  <a:cubicBezTo>
                    <a:pt x="2093108" y="2038223"/>
                    <a:pt x="2093108" y="2038223"/>
                    <a:pt x="2093426" y="2036322"/>
                  </a:cubicBezTo>
                  <a:cubicBezTo>
                    <a:pt x="2093426" y="2036322"/>
                    <a:pt x="2093426" y="2036322"/>
                    <a:pt x="2095332" y="2010971"/>
                  </a:cubicBezTo>
                  <a:cubicBezTo>
                    <a:pt x="2095332" y="2010971"/>
                    <a:pt x="2095332" y="2010971"/>
                    <a:pt x="2110260" y="2012238"/>
                  </a:cubicBezTo>
                  <a:cubicBezTo>
                    <a:pt x="2110260" y="2012238"/>
                    <a:pt x="2110260" y="2012238"/>
                    <a:pt x="2111212" y="1998612"/>
                  </a:cubicBezTo>
                  <a:cubicBezTo>
                    <a:pt x="2111212" y="1998612"/>
                    <a:pt x="2111212" y="1998612"/>
                    <a:pt x="2127411" y="1999880"/>
                  </a:cubicBezTo>
                  <a:lnTo>
                    <a:pt x="2128046" y="1996077"/>
                  </a:lnTo>
                  <a:cubicBezTo>
                    <a:pt x="2128046" y="1996077"/>
                    <a:pt x="2128046" y="1996077"/>
                    <a:pt x="2078180" y="1990056"/>
                  </a:cubicBezTo>
                  <a:close/>
                  <a:moveTo>
                    <a:pt x="1044649" y="1989739"/>
                  </a:moveTo>
                  <a:cubicBezTo>
                    <a:pt x="1044649" y="1989739"/>
                    <a:pt x="1044649" y="1989739"/>
                    <a:pt x="1009710" y="2055652"/>
                  </a:cubicBezTo>
                  <a:cubicBezTo>
                    <a:pt x="1009710" y="2055652"/>
                    <a:pt x="1009710" y="2055652"/>
                    <a:pt x="1107537" y="2090827"/>
                  </a:cubicBezTo>
                  <a:lnTo>
                    <a:pt x="1151368" y="2067377"/>
                  </a:lnTo>
                  <a:cubicBezTo>
                    <a:pt x="1151368" y="2067377"/>
                    <a:pt x="1151368" y="2067377"/>
                    <a:pt x="1044649" y="1989739"/>
                  </a:cubicBezTo>
                  <a:close/>
                  <a:moveTo>
                    <a:pt x="1674804" y="1989422"/>
                  </a:moveTo>
                  <a:cubicBezTo>
                    <a:pt x="1673851" y="1999880"/>
                    <a:pt x="1672899" y="2011288"/>
                    <a:pt x="1671946" y="2022379"/>
                  </a:cubicBezTo>
                  <a:cubicBezTo>
                    <a:pt x="1670675" y="2037906"/>
                    <a:pt x="1669405" y="2053117"/>
                    <a:pt x="1667817" y="2067377"/>
                  </a:cubicBezTo>
                  <a:cubicBezTo>
                    <a:pt x="1667817" y="2067377"/>
                    <a:pt x="1667817" y="2067377"/>
                    <a:pt x="1845366" y="2093362"/>
                  </a:cubicBezTo>
                  <a:cubicBezTo>
                    <a:pt x="1845366" y="2093362"/>
                    <a:pt x="1845366" y="2093362"/>
                    <a:pt x="1853941" y="2042976"/>
                  </a:cubicBezTo>
                  <a:cubicBezTo>
                    <a:pt x="1853941" y="2042976"/>
                    <a:pt x="1853941" y="2042976"/>
                    <a:pt x="1785018" y="2031569"/>
                  </a:cubicBezTo>
                  <a:cubicBezTo>
                    <a:pt x="1784700" y="2031885"/>
                    <a:pt x="1784065" y="2032202"/>
                    <a:pt x="1783112" y="2032519"/>
                  </a:cubicBezTo>
                  <a:cubicBezTo>
                    <a:pt x="1782795" y="2032519"/>
                    <a:pt x="1782795" y="2032519"/>
                    <a:pt x="1782477" y="2032519"/>
                  </a:cubicBezTo>
                  <a:cubicBezTo>
                    <a:pt x="1782477" y="2032519"/>
                    <a:pt x="1782477" y="2032519"/>
                    <a:pt x="1782795" y="2031252"/>
                  </a:cubicBezTo>
                  <a:cubicBezTo>
                    <a:pt x="1782795" y="2031252"/>
                    <a:pt x="1782795" y="2031252"/>
                    <a:pt x="1748174" y="2025548"/>
                  </a:cubicBezTo>
                  <a:cubicBezTo>
                    <a:pt x="1747857" y="2025864"/>
                    <a:pt x="1747221" y="2026181"/>
                    <a:pt x="1745951" y="2026498"/>
                  </a:cubicBezTo>
                  <a:cubicBezTo>
                    <a:pt x="1745951" y="2026498"/>
                    <a:pt x="1745633" y="2026498"/>
                    <a:pt x="1745316" y="2026498"/>
                  </a:cubicBezTo>
                  <a:cubicBezTo>
                    <a:pt x="1745316" y="2026498"/>
                    <a:pt x="1745316" y="2026498"/>
                    <a:pt x="1745633" y="2024914"/>
                  </a:cubicBezTo>
                  <a:cubicBezTo>
                    <a:pt x="1745633" y="2024914"/>
                    <a:pt x="1745633" y="2024914"/>
                    <a:pt x="1709425" y="2018893"/>
                  </a:cubicBezTo>
                  <a:cubicBezTo>
                    <a:pt x="1709107" y="2019210"/>
                    <a:pt x="1708790" y="2019527"/>
                    <a:pt x="1707837" y="2019844"/>
                  </a:cubicBezTo>
                  <a:cubicBezTo>
                    <a:pt x="1707519" y="2019844"/>
                    <a:pt x="1707519" y="2019844"/>
                    <a:pt x="1707201" y="2019527"/>
                  </a:cubicBezTo>
                  <a:cubicBezTo>
                    <a:pt x="1707201" y="2019527"/>
                    <a:pt x="1707201" y="2019527"/>
                    <a:pt x="1707519" y="2018576"/>
                  </a:cubicBezTo>
                  <a:cubicBezTo>
                    <a:pt x="1707519" y="2018576"/>
                    <a:pt x="1707519" y="2018576"/>
                    <a:pt x="1673216" y="2012872"/>
                  </a:cubicBezTo>
                  <a:cubicBezTo>
                    <a:pt x="1673216" y="2012872"/>
                    <a:pt x="1673216" y="2012872"/>
                    <a:pt x="1673851" y="2008436"/>
                  </a:cubicBezTo>
                  <a:cubicBezTo>
                    <a:pt x="1673851" y="2008436"/>
                    <a:pt x="1673851" y="2008436"/>
                    <a:pt x="1706884" y="2014140"/>
                  </a:cubicBezTo>
                  <a:cubicBezTo>
                    <a:pt x="1707519" y="2011604"/>
                    <a:pt x="1708472" y="2007168"/>
                    <a:pt x="1709425" y="2002098"/>
                  </a:cubicBezTo>
                  <a:cubicBezTo>
                    <a:pt x="1709742" y="2000197"/>
                    <a:pt x="1710060" y="1997978"/>
                    <a:pt x="1710378" y="1995443"/>
                  </a:cubicBezTo>
                  <a:cubicBezTo>
                    <a:pt x="1710378" y="1995443"/>
                    <a:pt x="1710378" y="1995443"/>
                    <a:pt x="1674804" y="1989422"/>
                  </a:cubicBezTo>
                  <a:close/>
                  <a:moveTo>
                    <a:pt x="547257" y="1987521"/>
                  </a:moveTo>
                  <a:cubicBezTo>
                    <a:pt x="547257" y="1987521"/>
                    <a:pt x="547257" y="1987521"/>
                    <a:pt x="592995" y="2016675"/>
                  </a:cubicBezTo>
                  <a:cubicBezTo>
                    <a:pt x="592995" y="2016675"/>
                    <a:pt x="592995" y="2016675"/>
                    <a:pt x="592995" y="2017942"/>
                  </a:cubicBezTo>
                  <a:cubicBezTo>
                    <a:pt x="592995" y="2017942"/>
                    <a:pt x="592995" y="2017942"/>
                    <a:pt x="594900" y="2051216"/>
                  </a:cubicBezTo>
                  <a:cubicBezTo>
                    <a:pt x="594900" y="2051216"/>
                    <a:pt x="594900" y="2051216"/>
                    <a:pt x="621263" y="2071180"/>
                  </a:cubicBezTo>
                  <a:cubicBezTo>
                    <a:pt x="621263" y="2071180"/>
                    <a:pt x="621263" y="2071180"/>
                    <a:pt x="571714" y="2123466"/>
                  </a:cubicBezTo>
                  <a:cubicBezTo>
                    <a:pt x="571714" y="2123466"/>
                    <a:pt x="571714" y="2123466"/>
                    <a:pt x="543764" y="2115227"/>
                  </a:cubicBezTo>
                  <a:cubicBezTo>
                    <a:pt x="543764" y="2115227"/>
                    <a:pt x="543764" y="2115227"/>
                    <a:pt x="531694" y="2136141"/>
                  </a:cubicBezTo>
                  <a:lnTo>
                    <a:pt x="479605" y="2106671"/>
                  </a:lnTo>
                  <a:cubicBezTo>
                    <a:pt x="479605" y="2106671"/>
                    <a:pt x="479605" y="2106671"/>
                    <a:pt x="547257" y="1987521"/>
                  </a:cubicBezTo>
                  <a:close/>
                  <a:moveTo>
                    <a:pt x="286492" y="1985620"/>
                  </a:moveTo>
                  <a:lnTo>
                    <a:pt x="273152" y="2017309"/>
                  </a:lnTo>
                  <a:cubicBezTo>
                    <a:pt x="273152" y="2017309"/>
                    <a:pt x="273152" y="2017309"/>
                    <a:pt x="445302" y="2115227"/>
                  </a:cubicBezTo>
                  <a:cubicBezTo>
                    <a:pt x="446572" y="2112058"/>
                    <a:pt x="447525" y="2110157"/>
                    <a:pt x="447525" y="2110157"/>
                  </a:cubicBezTo>
                  <a:cubicBezTo>
                    <a:pt x="447525" y="2110157"/>
                    <a:pt x="447525" y="2110157"/>
                    <a:pt x="447525" y="2109840"/>
                  </a:cubicBezTo>
                  <a:cubicBezTo>
                    <a:pt x="447525" y="2109840"/>
                    <a:pt x="447525" y="2109840"/>
                    <a:pt x="461183" y="2085439"/>
                  </a:cubicBezTo>
                  <a:cubicBezTo>
                    <a:pt x="461183" y="2085439"/>
                    <a:pt x="461183" y="2085439"/>
                    <a:pt x="443714" y="2075299"/>
                  </a:cubicBezTo>
                  <a:cubicBezTo>
                    <a:pt x="443714" y="2075299"/>
                    <a:pt x="443714" y="2075299"/>
                    <a:pt x="431327" y="2096847"/>
                  </a:cubicBezTo>
                  <a:cubicBezTo>
                    <a:pt x="431327" y="2096847"/>
                    <a:pt x="431327" y="2096847"/>
                    <a:pt x="387813" y="2072130"/>
                  </a:cubicBezTo>
                  <a:cubicBezTo>
                    <a:pt x="387813" y="2072130"/>
                    <a:pt x="387813" y="2072130"/>
                    <a:pt x="400200" y="2050582"/>
                  </a:cubicBezTo>
                  <a:cubicBezTo>
                    <a:pt x="400200" y="2050582"/>
                    <a:pt x="400200" y="2050582"/>
                    <a:pt x="286492" y="1985620"/>
                  </a:cubicBezTo>
                  <a:close/>
                  <a:moveTo>
                    <a:pt x="2025138" y="1984035"/>
                  </a:moveTo>
                  <a:cubicBezTo>
                    <a:pt x="2025138" y="1984035"/>
                    <a:pt x="2025138" y="1984035"/>
                    <a:pt x="2025138" y="1988789"/>
                  </a:cubicBezTo>
                  <a:cubicBezTo>
                    <a:pt x="2025138" y="1988789"/>
                    <a:pt x="2025138" y="1988789"/>
                    <a:pt x="2046100" y="1990373"/>
                  </a:cubicBezTo>
                  <a:cubicBezTo>
                    <a:pt x="2046100" y="1990373"/>
                    <a:pt x="2046100" y="1990373"/>
                    <a:pt x="2044830" y="2003999"/>
                  </a:cubicBezTo>
                  <a:cubicBezTo>
                    <a:pt x="2044830" y="2003999"/>
                    <a:pt x="2044830" y="2003999"/>
                    <a:pt x="2059758" y="2004950"/>
                  </a:cubicBezTo>
                  <a:cubicBezTo>
                    <a:pt x="2059758" y="2004950"/>
                    <a:pt x="2059758" y="2004950"/>
                    <a:pt x="2057535" y="2032202"/>
                  </a:cubicBezTo>
                  <a:lnTo>
                    <a:pt x="2022914" y="2029667"/>
                  </a:lnTo>
                  <a:cubicBezTo>
                    <a:pt x="2022914" y="2029667"/>
                    <a:pt x="2022914" y="2029667"/>
                    <a:pt x="2021009" y="2069278"/>
                  </a:cubicBezTo>
                  <a:cubicBezTo>
                    <a:pt x="2021009" y="2069278"/>
                    <a:pt x="2021009" y="2069278"/>
                    <a:pt x="2064205" y="2073715"/>
                  </a:cubicBezTo>
                  <a:cubicBezTo>
                    <a:pt x="2064205" y="2073715"/>
                    <a:pt x="2064205" y="2073715"/>
                    <a:pt x="2073733" y="1989739"/>
                  </a:cubicBezTo>
                  <a:cubicBezTo>
                    <a:pt x="2073733" y="1989739"/>
                    <a:pt x="2073733" y="1989739"/>
                    <a:pt x="2025138" y="1984035"/>
                  </a:cubicBezTo>
                  <a:close/>
                  <a:moveTo>
                    <a:pt x="1043060" y="1982768"/>
                  </a:moveTo>
                  <a:cubicBezTo>
                    <a:pt x="1043060" y="1982768"/>
                    <a:pt x="1043060" y="1982768"/>
                    <a:pt x="1160262" y="2068011"/>
                  </a:cubicBezTo>
                  <a:lnTo>
                    <a:pt x="1157086" y="2069595"/>
                  </a:lnTo>
                  <a:cubicBezTo>
                    <a:pt x="1157086" y="2069595"/>
                    <a:pt x="1157086" y="2069595"/>
                    <a:pt x="1107855" y="2095897"/>
                  </a:cubicBezTo>
                  <a:cubicBezTo>
                    <a:pt x="1107855" y="2095897"/>
                    <a:pt x="1107855" y="2095897"/>
                    <a:pt x="1003041" y="2058504"/>
                  </a:cubicBezTo>
                  <a:cubicBezTo>
                    <a:pt x="1003041" y="2058504"/>
                    <a:pt x="1003041" y="2058504"/>
                    <a:pt x="1043060" y="1982768"/>
                  </a:cubicBezTo>
                  <a:close/>
                  <a:moveTo>
                    <a:pt x="444031" y="1982134"/>
                  </a:moveTo>
                  <a:lnTo>
                    <a:pt x="425292" y="2014773"/>
                  </a:lnTo>
                  <a:cubicBezTo>
                    <a:pt x="425292" y="2014773"/>
                    <a:pt x="425292" y="2014773"/>
                    <a:pt x="461500" y="2035371"/>
                  </a:cubicBezTo>
                  <a:cubicBezTo>
                    <a:pt x="461500" y="2035371"/>
                    <a:pt x="461500" y="2035371"/>
                    <a:pt x="480240" y="2002732"/>
                  </a:cubicBezTo>
                  <a:cubicBezTo>
                    <a:pt x="480240" y="2002732"/>
                    <a:pt x="480240" y="2002732"/>
                    <a:pt x="444031" y="1982134"/>
                  </a:cubicBezTo>
                  <a:close/>
                  <a:moveTo>
                    <a:pt x="1926676" y="1981500"/>
                  </a:moveTo>
                  <a:cubicBezTo>
                    <a:pt x="1926676" y="1981500"/>
                    <a:pt x="1926676" y="1981500"/>
                    <a:pt x="1920006" y="2013823"/>
                  </a:cubicBezTo>
                  <a:cubicBezTo>
                    <a:pt x="1920006" y="2013823"/>
                    <a:pt x="1920006" y="2013823"/>
                    <a:pt x="1955262" y="2016675"/>
                  </a:cubicBezTo>
                  <a:cubicBezTo>
                    <a:pt x="1955262" y="2016675"/>
                    <a:pt x="1955262" y="2016675"/>
                    <a:pt x="1956532" y="1997662"/>
                  </a:cubicBezTo>
                  <a:lnTo>
                    <a:pt x="1941922" y="1996394"/>
                  </a:lnTo>
                  <a:cubicBezTo>
                    <a:pt x="1941922" y="1996394"/>
                    <a:pt x="1941922" y="1996394"/>
                    <a:pt x="1942874" y="1982768"/>
                  </a:cubicBezTo>
                  <a:cubicBezTo>
                    <a:pt x="1942874" y="1982768"/>
                    <a:pt x="1942874" y="1982768"/>
                    <a:pt x="1926676" y="1981500"/>
                  </a:cubicBezTo>
                  <a:close/>
                  <a:moveTo>
                    <a:pt x="1914289" y="1980550"/>
                  </a:moveTo>
                  <a:cubicBezTo>
                    <a:pt x="1914289" y="1980550"/>
                    <a:pt x="1914289" y="1980550"/>
                    <a:pt x="1913018" y="1994176"/>
                  </a:cubicBezTo>
                  <a:cubicBezTo>
                    <a:pt x="1913018" y="1994176"/>
                    <a:pt x="1913018" y="1994176"/>
                    <a:pt x="1898408" y="1992908"/>
                  </a:cubicBezTo>
                  <a:cubicBezTo>
                    <a:pt x="1898408" y="1992908"/>
                    <a:pt x="1898408" y="1992908"/>
                    <a:pt x="1896820" y="2011921"/>
                  </a:cubicBezTo>
                  <a:cubicBezTo>
                    <a:pt x="1896820" y="2011921"/>
                    <a:pt x="1896820" y="2011921"/>
                    <a:pt x="1915559" y="2013506"/>
                  </a:cubicBezTo>
                  <a:lnTo>
                    <a:pt x="1922229" y="1981183"/>
                  </a:lnTo>
                  <a:cubicBezTo>
                    <a:pt x="1922229" y="1981183"/>
                    <a:pt x="1922229" y="1981183"/>
                    <a:pt x="1914289" y="1980550"/>
                  </a:cubicBezTo>
                  <a:close/>
                  <a:moveTo>
                    <a:pt x="1975907" y="1978014"/>
                  </a:moveTo>
                  <a:cubicBezTo>
                    <a:pt x="1975589" y="1986570"/>
                    <a:pt x="1975589" y="2002098"/>
                    <a:pt x="1975272" y="2017625"/>
                  </a:cubicBezTo>
                  <a:cubicBezTo>
                    <a:pt x="1974954" y="2029350"/>
                    <a:pt x="1974319" y="2041075"/>
                    <a:pt x="1974001" y="2049948"/>
                  </a:cubicBezTo>
                  <a:cubicBezTo>
                    <a:pt x="1973684" y="2054384"/>
                    <a:pt x="1973366" y="2057870"/>
                    <a:pt x="1973048" y="2060722"/>
                  </a:cubicBezTo>
                  <a:cubicBezTo>
                    <a:pt x="1973048" y="2061990"/>
                    <a:pt x="1972731" y="2062940"/>
                    <a:pt x="1972413" y="2063891"/>
                  </a:cubicBezTo>
                  <a:cubicBezTo>
                    <a:pt x="1972413" y="2063891"/>
                    <a:pt x="1972413" y="2064208"/>
                    <a:pt x="1972413" y="2064208"/>
                  </a:cubicBezTo>
                  <a:cubicBezTo>
                    <a:pt x="1972413" y="2064208"/>
                    <a:pt x="1972413" y="2064208"/>
                    <a:pt x="2016562" y="2068644"/>
                  </a:cubicBezTo>
                  <a:cubicBezTo>
                    <a:pt x="2016562" y="2068644"/>
                    <a:pt x="2016562" y="2068644"/>
                    <a:pt x="2018468" y="2029350"/>
                  </a:cubicBezTo>
                  <a:cubicBezTo>
                    <a:pt x="2018468" y="2029350"/>
                    <a:pt x="2018468" y="2029350"/>
                    <a:pt x="1990835" y="2027132"/>
                  </a:cubicBezTo>
                  <a:cubicBezTo>
                    <a:pt x="1990835" y="2027132"/>
                    <a:pt x="1990835" y="2027132"/>
                    <a:pt x="1991152" y="2024914"/>
                  </a:cubicBezTo>
                  <a:cubicBezTo>
                    <a:pt x="1991152" y="2024914"/>
                    <a:pt x="1991152" y="2024914"/>
                    <a:pt x="1993058" y="1999880"/>
                  </a:cubicBezTo>
                  <a:cubicBezTo>
                    <a:pt x="1993058" y="1999880"/>
                    <a:pt x="1993058" y="1999880"/>
                    <a:pt x="2007986" y="2000830"/>
                  </a:cubicBezTo>
                  <a:cubicBezTo>
                    <a:pt x="2007986" y="2000830"/>
                    <a:pt x="2007986" y="2000830"/>
                    <a:pt x="2008939" y="1987521"/>
                  </a:cubicBezTo>
                  <a:lnTo>
                    <a:pt x="2020691" y="1988155"/>
                  </a:lnTo>
                  <a:cubicBezTo>
                    <a:pt x="2020691" y="1988155"/>
                    <a:pt x="2020691" y="1988155"/>
                    <a:pt x="2021009" y="1983402"/>
                  </a:cubicBezTo>
                  <a:cubicBezTo>
                    <a:pt x="2021009" y="1983402"/>
                    <a:pt x="2021009" y="1983402"/>
                    <a:pt x="1975907" y="1978014"/>
                  </a:cubicBezTo>
                  <a:close/>
                  <a:moveTo>
                    <a:pt x="545987" y="1976747"/>
                  </a:moveTo>
                  <a:lnTo>
                    <a:pt x="471029" y="2110474"/>
                  </a:lnTo>
                  <a:cubicBezTo>
                    <a:pt x="485322" y="2119030"/>
                    <a:pt x="515496" y="2136775"/>
                    <a:pt x="547257" y="2155472"/>
                  </a:cubicBezTo>
                  <a:cubicBezTo>
                    <a:pt x="579655" y="2174485"/>
                    <a:pt x="613957" y="2194449"/>
                    <a:pt x="633967" y="2206174"/>
                  </a:cubicBezTo>
                  <a:cubicBezTo>
                    <a:pt x="646037" y="2188428"/>
                    <a:pt x="672399" y="2147866"/>
                    <a:pt x="698444" y="2107938"/>
                  </a:cubicBezTo>
                  <a:cubicBezTo>
                    <a:pt x="705749" y="2096847"/>
                    <a:pt x="712737" y="2085756"/>
                    <a:pt x="719407" y="2075299"/>
                  </a:cubicBezTo>
                  <a:cubicBezTo>
                    <a:pt x="719407" y="2075299"/>
                    <a:pt x="719407" y="2075299"/>
                    <a:pt x="638096" y="2029033"/>
                  </a:cubicBezTo>
                  <a:cubicBezTo>
                    <a:pt x="637779" y="2029667"/>
                    <a:pt x="637461" y="2029984"/>
                    <a:pt x="637461" y="2029984"/>
                  </a:cubicBezTo>
                  <a:cubicBezTo>
                    <a:pt x="637461" y="2029984"/>
                    <a:pt x="637461" y="2029984"/>
                    <a:pt x="633967" y="2027132"/>
                  </a:cubicBezTo>
                  <a:cubicBezTo>
                    <a:pt x="633967" y="2027132"/>
                    <a:pt x="634285" y="2027132"/>
                    <a:pt x="634285" y="2026815"/>
                  </a:cubicBezTo>
                  <a:cubicBezTo>
                    <a:pt x="634285" y="2026815"/>
                    <a:pt x="634285" y="2026815"/>
                    <a:pt x="545987" y="1976747"/>
                  </a:cubicBezTo>
                  <a:close/>
                  <a:moveTo>
                    <a:pt x="1492809" y="1974529"/>
                  </a:moveTo>
                  <a:cubicBezTo>
                    <a:pt x="1489950" y="1988789"/>
                    <a:pt x="1487092" y="2002732"/>
                    <a:pt x="1484233" y="2016992"/>
                  </a:cubicBezTo>
                  <a:cubicBezTo>
                    <a:pt x="1484233" y="2016992"/>
                    <a:pt x="1484233" y="2016992"/>
                    <a:pt x="1495032" y="2018259"/>
                  </a:cubicBezTo>
                  <a:cubicBezTo>
                    <a:pt x="1495032" y="2018259"/>
                    <a:pt x="1495032" y="2018259"/>
                    <a:pt x="1499479" y="1994810"/>
                  </a:cubicBezTo>
                  <a:cubicBezTo>
                    <a:pt x="1499479" y="1994810"/>
                    <a:pt x="1499479" y="1994810"/>
                    <a:pt x="1548710" y="2002732"/>
                  </a:cubicBezTo>
                  <a:cubicBezTo>
                    <a:pt x="1548710" y="2002732"/>
                    <a:pt x="1548710" y="2002732"/>
                    <a:pt x="1548392" y="2004950"/>
                  </a:cubicBezTo>
                  <a:cubicBezTo>
                    <a:pt x="1548392" y="2004950"/>
                    <a:pt x="1548392" y="2004950"/>
                    <a:pt x="1544581" y="2024914"/>
                  </a:cubicBezTo>
                  <a:cubicBezTo>
                    <a:pt x="1544581" y="2024914"/>
                    <a:pt x="1544581" y="2024914"/>
                    <a:pt x="1665911" y="2041392"/>
                  </a:cubicBezTo>
                  <a:cubicBezTo>
                    <a:pt x="1666546" y="2034104"/>
                    <a:pt x="1667181" y="2026815"/>
                    <a:pt x="1667817" y="2019527"/>
                  </a:cubicBezTo>
                  <a:cubicBezTo>
                    <a:pt x="1668452" y="2014140"/>
                    <a:pt x="1668770" y="2008436"/>
                    <a:pt x="1669405" y="2002732"/>
                  </a:cubicBezTo>
                  <a:cubicBezTo>
                    <a:pt x="1669405" y="2002732"/>
                    <a:pt x="1669405" y="2002732"/>
                    <a:pt x="1492809" y="1974529"/>
                  </a:cubicBezTo>
                  <a:close/>
                  <a:moveTo>
                    <a:pt x="2181724" y="1973895"/>
                  </a:moveTo>
                  <a:cubicBezTo>
                    <a:pt x="2181724" y="1973895"/>
                    <a:pt x="2181724" y="1973895"/>
                    <a:pt x="2181088" y="1981500"/>
                  </a:cubicBezTo>
                  <a:cubicBezTo>
                    <a:pt x="2181088" y="1981500"/>
                    <a:pt x="2181088" y="1981500"/>
                    <a:pt x="2222696" y="1986570"/>
                  </a:cubicBezTo>
                  <a:cubicBezTo>
                    <a:pt x="2222696" y="1986570"/>
                    <a:pt x="2222696" y="1986570"/>
                    <a:pt x="2223332" y="1978648"/>
                  </a:cubicBezTo>
                  <a:close/>
                  <a:moveTo>
                    <a:pt x="1928582" y="1972310"/>
                  </a:moveTo>
                  <a:cubicBezTo>
                    <a:pt x="1928582" y="1972310"/>
                    <a:pt x="1928582" y="1972310"/>
                    <a:pt x="1927311" y="1977381"/>
                  </a:cubicBezTo>
                  <a:cubicBezTo>
                    <a:pt x="1927311" y="1977381"/>
                    <a:pt x="1927311" y="1977381"/>
                    <a:pt x="1947321" y="1978965"/>
                  </a:cubicBezTo>
                  <a:cubicBezTo>
                    <a:pt x="1947321" y="1978965"/>
                    <a:pt x="1947321" y="1978965"/>
                    <a:pt x="1946368" y="1992591"/>
                  </a:cubicBezTo>
                  <a:cubicBezTo>
                    <a:pt x="1946368" y="1992591"/>
                    <a:pt x="1946368" y="1992591"/>
                    <a:pt x="1961296" y="1993859"/>
                  </a:cubicBezTo>
                  <a:cubicBezTo>
                    <a:pt x="1961296" y="1993859"/>
                    <a:pt x="1961296" y="1993859"/>
                    <a:pt x="1959073" y="2021111"/>
                  </a:cubicBezTo>
                  <a:cubicBezTo>
                    <a:pt x="1959073" y="2021111"/>
                    <a:pt x="1959073" y="2021111"/>
                    <a:pt x="1919371" y="2017942"/>
                  </a:cubicBezTo>
                  <a:lnTo>
                    <a:pt x="1913654" y="2046145"/>
                  </a:lnTo>
                  <a:cubicBezTo>
                    <a:pt x="1913654" y="2046145"/>
                    <a:pt x="1913654" y="2046145"/>
                    <a:pt x="1952085" y="2050582"/>
                  </a:cubicBezTo>
                  <a:cubicBezTo>
                    <a:pt x="1952085" y="2050582"/>
                    <a:pt x="1952085" y="2050582"/>
                    <a:pt x="1953991" y="2062307"/>
                  </a:cubicBezTo>
                  <a:cubicBezTo>
                    <a:pt x="1953991" y="2062307"/>
                    <a:pt x="1953991" y="2062307"/>
                    <a:pt x="1969872" y="2063891"/>
                  </a:cubicBezTo>
                  <a:cubicBezTo>
                    <a:pt x="1969872" y="2063891"/>
                    <a:pt x="1969872" y="2063891"/>
                    <a:pt x="1968284" y="2063257"/>
                  </a:cubicBezTo>
                  <a:cubicBezTo>
                    <a:pt x="1968284" y="2062940"/>
                    <a:pt x="1969237" y="2055969"/>
                    <a:pt x="1969554" y="2047096"/>
                  </a:cubicBezTo>
                  <a:cubicBezTo>
                    <a:pt x="1970825" y="2026181"/>
                    <a:pt x="1971142" y="1991958"/>
                    <a:pt x="1971460" y="1977381"/>
                  </a:cubicBezTo>
                  <a:cubicBezTo>
                    <a:pt x="1971460" y="1977381"/>
                    <a:pt x="1971460" y="1977381"/>
                    <a:pt x="1928582" y="1972310"/>
                  </a:cubicBezTo>
                  <a:close/>
                  <a:moveTo>
                    <a:pt x="1834567" y="1971360"/>
                  </a:moveTo>
                  <a:cubicBezTo>
                    <a:pt x="1833614" y="1978014"/>
                    <a:pt x="1832661" y="1985620"/>
                    <a:pt x="1831390" y="1993542"/>
                  </a:cubicBezTo>
                  <a:cubicBezTo>
                    <a:pt x="1830438" y="1999880"/>
                    <a:pt x="1829485" y="2006217"/>
                    <a:pt x="1828532" y="2012238"/>
                  </a:cubicBezTo>
                  <a:cubicBezTo>
                    <a:pt x="1828532" y="2012238"/>
                    <a:pt x="1828532" y="2012238"/>
                    <a:pt x="1841872" y="2014457"/>
                  </a:cubicBezTo>
                  <a:cubicBezTo>
                    <a:pt x="1841872" y="2014457"/>
                    <a:pt x="1841872" y="2014457"/>
                    <a:pt x="1848542" y="1973895"/>
                  </a:cubicBezTo>
                  <a:close/>
                  <a:moveTo>
                    <a:pt x="150552" y="1969775"/>
                  </a:moveTo>
                  <a:cubicBezTo>
                    <a:pt x="150552" y="1969775"/>
                    <a:pt x="150552" y="1969775"/>
                    <a:pt x="147693" y="1973578"/>
                  </a:cubicBezTo>
                  <a:cubicBezTo>
                    <a:pt x="154363" y="1978014"/>
                    <a:pt x="168973" y="1987521"/>
                    <a:pt x="183266" y="1998295"/>
                  </a:cubicBezTo>
                  <a:cubicBezTo>
                    <a:pt x="198830" y="2010020"/>
                    <a:pt x="214075" y="2022696"/>
                    <a:pt x="218204" y="2032836"/>
                  </a:cubicBezTo>
                  <a:cubicBezTo>
                    <a:pt x="218840" y="2034104"/>
                    <a:pt x="218840" y="2033787"/>
                    <a:pt x="219792" y="2034104"/>
                  </a:cubicBezTo>
                  <a:cubicBezTo>
                    <a:pt x="221698" y="2034421"/>
                    <a:pt x="227733" y="2030301"/>
                    <a:pt x="231862" y="2025864"/>
                  </a:cubicBezTo>
                  <a:cubicBezTo>
                    <a:pt x="234403" y="2023329"/>
                    <a:pt x="236626" y="2020794"/>
                    <a:pt x="237897" y="2018893"/>
                  </a:cubicBezTo>
                  <a:cubicBezTo>
                    <a:pt x="237897" y="2018893"/>
                    <a:pt x="237897" y="2018893"/>
                    <a:pt x="150552" y="1969775"/>
                  </a:cubicBezTo>
                  <a:close/>
                  <a:moveTo>
                    <a:pt x="2131858" y="1968825"/>
                  </a:moveTo>
                  <a:cubicBezTo>
                    <a:pt x="2131858" y="1968825"/>
                    <a:pt x="2131858" y="1968825"/>
                    <a:pt x="2131222" y="1975479"/>
                  </a:cubicBezTo>
                  <a:cubicBezTo>
                    <a:pt x="2131222" y="1975479"/>
                    <a:pt x="2131222" y="1975479"/>
                    <a:pt x="2176642" y="1980866"/>
                  </a:cubicBezTo>
                  <a:cubicBezTo>
                    <a:pt x="2176642" y="1980866"/>
                    <a:pt x="2176642" y="1980866"/>
                    <a:pt x="2177277" y="1973578"/>
                  </a:cubicBezTo>
                  <a:close/>
                  <a:moveTo>
                    <a:pt x="1888244" y="1967557"/>
                  </a:moveTo>
                  <a:cubicBezTo>
                    <a:pt x="1888244" y="1967557"/>
                    <a:pt x="1888244" y="1967557"/>
                    <a:pt x="1875222" y="2041392"/>
                  </a:cubicBezTo>
                  <a:cubicBezTo>
                    <a:pt x="1875222" y="2041392"/>
                    <a:pt x="1875222" y="2041392"/>
                    <a:pt x="1909207" y="2045511"/>
                  </a:cubicBezTo>
                  <a:cubicBezTo>
                    <a:pt x="1909207" y="2045511"/>
                    <a:pt x="1909207" y="2045511"/>
                    <a:pt x="1914924" y="2017625"/>
                  </a:cubicBezTo>
                  <a:cubicBezTo>
                    <a:pt x="1914924" y="2017625"/>
                    <a:pt x="1914924" y="2017625"/>
                    <a:pt x="1892373" y="2015724"/>
                  </a:cubicBezTo>
                  <a:cubicBezTo>
                    <a:pt x="1892373" y="2015724"/>
                    <a:pt x="1892373" y="2015724"/>
                    <a:pt x="1892373" y="2013823"/>
                  </a:cubicBezTo>
                  <a:cubicBezTo>
                    <a:pt x="1892373" y="2013823"/>
                    <a:pt x="1892373" y="2013823"/>
                    <a:pt x="1894597" y="1988472"/>
                  </a:cubicBezTo>
                  <a:cubicBezTo>
                    <a:pt x="1894597" y="1988472"/>
                    <a:pt x="1894597" y="1988472"/>
                    <a:pt x="1909207" y="1989739"/>
                  </a:cubicBezTo>
                  <a:cubicBezTo>
                    <a:pt x="1909207" y="1989739"/>
                    <a:pt x="1909207" y="1989739"/>
                    <a:pt x="1910477" y="1976113"/>
                  </a:cubicBezTo>
                  <a:cubicBezTo>
                    <a:pt x="1910477" y="1976113"/>
                    <a:pt x="1910477" y="1976113"/>
                    <a:pt x="1922864" y="1977064"/>
                  </a:cubicBezTo>
                  <a:cubicBezTo>
                    <a:pt x="1922864" y="1977064"/>
                    <a:pt x="1922864" y="1977064"/>
                    <a:pt x="1924135" y="1971677"/>
                  </a:cubicBezTo>
                  <a:close/>
                  <a:moveTo>
                    <a:pt x="505014" y="1967240"/>
                  </a:moveTo>
                  <a:lnTo>
                    <a:pt x="485957" y="2000830"/>
                  </a:lnTo>
                  <a:cubicBezTo>
                    <a:pt x="485957" y="2000830"/>
                    <a:pt x="485957" y="2000830"/>
                    <a:pt x="503108" y="2010654"/>
                  </a:cubicBezTo>
                  <a:cubicBezTo>
                    <a:pt x="503108" y="2010654"/>
                    <a:pt x="503108" y="2010654"/>
                    <a:pt x="522166" y="1977064"/>
                  </a:cubicBezTo>
                  <a:cubicBezTo>
                    <a:pt x="522166" y="1977064"/>
                    <a:pt x="522166" y="1977064"/>
                    <a:pt x="505014" y="1967240"/>
                  </a:cubicBezTo>
                  <a:close/>
                  <a:moveTo>
                    <a:pt x="1234902" y="1965339"/>
                  </a:moveTo>
                  <a:cubicBezTo>
                    <a:pt x="1234902" y="1965656"/>
                    <a:pt x="1234902" y="1965656"/>
                    <a:pt x="1234902" y="1965656"/>
                  </a:cubicBezTo>
                  <a:cubicBezTo>
                    <a:pt x="1235220" y="1968191"/>
                    <a:pt x="1235220" y="1971360"/>
                    <a:pt x="1235220" y="1974846"/>
                  </a:cubicBezTo>
                  <a:cubicBezTo>
                    <a:pt x="1235220" y="1988472"/>
                    <a:pt x="1233632" y="2008119"/>
                    <a:pt x="1233632" y="2008119"/>
                  </a:cubicBezTo>
                  <a:cubicBezTo>
                    <a:pt x="1233632" y="2008119"/>
                    <a:pt x="1233632" y="2008119"/>
                    <a:pt x="1233632" y="2008436"/>
                  </a:cubicBezTo>
                  <a:cubicBezTo>
                    <a:pt x="1233632" y="2008436"/>
                    <a:pt x="1233632" y="2008436"/>
                    <a:pt x="1232997" y="2009703"/>
                  </a:cubicBezTo>
                  <a:cubicBezTo>
                    <a:pt x="1241572" y="2014140"/>
                    <a:pt x="1264758" y="2024914"/>
                    <a:pt x="1287309" y="2035054"/>
                  </a:cubicBezTo>
                  <a:cubicBezTo>
                    <a:pt x="1311131" y="2045828"/>
                    <a:pt x="1334317" y="2055969"/>
                    <a:pt x="1339399" y="2058187"/>
                  </a:cubicBezTo>
                  <a:cubicBezTo>
                    <a:pt x="1339399" y="2058187"/>
                    <a:pt x="1339399" y="2058187"/>
                    <a:pt x="1339716" y="2057553"/>
                  </a:cubicBezTo>
                  <a:cubicBezTo>
                    <a:pt x="1339716" y="2057553"/>
                    <a:pt x="1339716" y="2057553"/>
                    <a:pt x="1375925" y="2073398"/>
                  </a:cubicBezTo>
                  <a:cubicBezTo>
                    <a:pt x="1375925" y="2073398"/>
                    <a:pt x="1375925" y="2073398"/>
                    <a:pt x="1389900" y="2100967"/>
                  </a:cubicBezTo>
                  <a:cubicBezTo>
                    <a:pt x="1389900" y="2100967"/>
                    <a:pt x="1389900" y="2100967"/>
                    <a:pt x="1441672" y="2126318"/>
                  </a:cubicBezTo>
                  <a:cubicBezTo>
                    <a:pt x="1447707" y="2094629"/>
                    <a:pt x="1455012" y="2057236"/>
                    <a:pt x="1462635" y="2018259"/>
                  </a:cubicBezTo>
                  <a:cubicBezTo>
                    <a:pt x="1462635" y="2018259"/>
                    <a:pt x="1462635" y="2018259"/>
                    <a:pt x="1447389" y="2016041"/>
                  </a:cubicBezTo>
                  <a:cubicBezTo>
                    <a:pt x="1447389" y="2016041"/>
                    <a:pt x="1447389" y="2016041"/>
                    <a:pt x="1442307" y="2043293"/>
                  </a:cubicBezTo>
                  <a:cubicBezTo>
                    <a:pt x="1442307" y="2043293"/>
                    <a:pt x="1442307" y="2043293"/>
                    <a:pt x="1393394" y="2035371"/>
                  </a:cubicBezTo>
                  <a:cubicBezTo>
                    <a:pt x="1393394" y="2035371"/>
                    <a:pt x="1393394" y="2035371"/>
                    <a:pt x="1398158" y="2008753"/>
                  </a:cubicBezTo>
                  <a:cubicBezTo>
                    <a:pt x="1398158" y="2008753"/>
                    <a:pt x="1398158" y="2008753"/>
                    <a:pt x="1347339" y="2001147"/>
                  </a:cubicBezTo>
                  <a:cubicBezTo>
                    <a:pt x="1347339" y="2001147"/>
                    <a:pt x="1347339" y="2001147"/>
                    <a:pt x="1234902" y="1965339"/>
                  </a:cubicBezTo>
                  <a:close/>
                  <a:moveTo>
                    <a:pt x="1796770" y="1964705"/>
                  </a:moveTo>
                  <a:cubicBezTo>
                    <a:pt x="1795817" y="1971677"/>
                    <a:pt x="1794547" y="1980550"/>
                    <a:pt x="1793276" y="1989739"/>
                  </a:cubicBezTo>
                  <a:cubicBezTo>
                    <a:pt x="1792323" y="1995126"/>
                    <a:pt x="1791688" y="2000514"/>
                    <a:pt x="1790735" y="2005584"/>
                  </a:cubicBezTo>
                  <a:cubicBezTo>
                    <a:pt x="1790735" y="2005584"/>
                    <a:pt x="1790735" y="2005584"/>
                    <a:pt x="1824085" y="2011288"/>
                  </a:cubicBezTo>
                  <a:cubicBezTo>
                    <a:pt x="1826308" y="1998612"/>
                    <a:pt x="1828532" y="1982768"/>
                    <a:pt x="1830120" y="1970409"/>
                  </a:cubicBezTo>
                  <a:close/>
                  <a:moveTo>
                    <a:pt x="149281" y="1963755"/>
                  </a:moveTo>
                  <a:cubicBezTo>
                    <a:pt x="149281" y="1963755"/>
                    <a:pt x="149281" y="1963755"/>
                    <a:pt x="245202" y="2017625"/>
                  </a:cubicBezTo>
                  <a:cubicBezTo>
                    <a:pt x="245202" y="2017625"/>
                    <a:pt x="245202" y="2017625"/>
                    <a:pt x="243296" y="2019844"/>
                  </a:cubicBezTo>
                  <a:cubicBezTo>
                    <a:pt x="243296" y="2019844"/>
                    <a:pt x="239802" y="2024280"/>
                    <a:pt x="235038" y="2029033"/>
                  </a:cubicBezTo>
                  <a:cubicBezTo>
                    <a:pt x="230274" y="2033470"/>
                    <a:pt x="225192" y="2038540"/>
                    <a:pt x="219792" y="2038857"/>
                  </a:cubicBezTo>
                  <a:cubicBezTo>
                    <a:pt x="219792" y="2038857"/>
                    <a:pt x="219475" y="2038857"/>
                    <a:pt x="219475" y="2038857"/>
                  </a:cubicBezTo>
                  <a:cubicBezTo>
                    <a:pt x="217252" y="2038857"/>
                    <a:pt x="214711" y="2036956"/>
                    <a:pt x="213758" y="2034421"/>
                  </a:cubicBezTo>
                  <a:cubicBezTo>
                    <a:pt x="210899" y="2026498"/>
                    <a:pt x="195971" y="2013506"/>
                    <a:pt x="180408" y="2001781"/>
                  </a:cubicBezTo>
                  <a:cubicBezTo>
                    <a:pt x="164844" y="1990373"/>
                    <a:pt x="148646" y="1979916"/>
                    <a:pt x="142929" y="1976113"/>
                  </a:cubicBezTo>
                  <a:cubicBezTo>
                    <a:pt x="142929" y="1976113"/>
                    <a:pt x="142929" y="1976113"/>
                    <a:pt x="141023" y="1974529"/>
                  </a:cubicBezTo>
                  <a:cubicBezTo>
                    <a:pt x="141023" y="1974529"/>
                    <a:pt x="141023" y="1974529"/>
                    <a:pt x="149281" y="1963755"/>
                  </a:cubicBezTo>
                  <a:close/>
                  <a:moveTo>
                    <a:pt x="2083262" y="1963438"/>
                  </a:moveTo>
                  <a:cubicBezTo>
                    <a:pt x="2083262" y="1963438"/>
                    <a:pt x="2083262" y="1963438"/>
                    <a:pt x="2082627" y="1969775"/>
                  </a:cubicBezTo>
                  <a:cubicBezTo>
                    <a:pt x="2082627" y="1969775"/>
                    <a:pt x="2082627" y="1969775"/>
                    <a:pt x="2126776" y="1975162"/>
                  </a:cubicBezTo>
                  <a:cubicBezTo>
                    <a:pt x="2126776" y="1975162"/>
                    <a:pt x="2126776" y="1975162"/>
                    <a:pt x="2127411" y="1968191"/>
                  </a:cubicBezTo>
                  <a:close/>
                  <a:moveTo>
                    <a:pt x="750534" y="1959952"/>
                  </a:moveTo>
                  <a:cubicBezTo>
                    <a:pt x="745452" y="1960586"/>
                    <a:pt x="730524" y="1962804"/>
                    <a:pt x="715278" y="1965022"/>
                  </a:cubicBezTo>
                  <a:cubicBezTo>
                    <a:pt x="706067" y="1966290"/>
                    <a:pt x="696856" y="1967557"/>
                    <a:pt x="689868" y="1968825"/>
                  </a:cubicBezTo>
                  <a:cubicBezTo>
                    <a:pt x="686375" y="1969142"/>
                    <a:pt x="683516" y="1969775"/>
                    <a:pt x="681610" y="1970092"/>
                  </a:cubicBezTo>
                  <a:cubicBezTo>
                    <a:pt x="680975" y="1970092"/>
                    <a:pt x="680340" y="1970409"/>
                    <a:pt x="679705" y="1970409"/>
                  </a:cubicBezTo>
                  <a:cubicBezTo>
                    <a:pt x="679387" y="1971360"/>
                    <a:pt x="678752" y="1971677"/>
                    <a:pt x="678116" y="1973261"/>
                  </a:cubicBezTo>
                  <a:cubicBezTo>
                    <a:pt x="671446" y="1983402"/>
                    <a:pt x="649213" y="2014140"/>
                    <a:pt x="640955" y="2025548"/>
                  </a:cubicBezTo>
                  <a:cubicBezTo>
                    <a:pt x="640955" y="2025548"/>
                    <a:pt x="640955" y="2025548"/>
                    <a:pt x="721948" y="2071496"/>
                  </a:cubicBezTo>
                  <a:cubicBezTo>
                    <a:pt x="743228" y="2038540"/>
                    <a:pt x="760380" y="2011604"/>
                    <a:pt x="763556" y="2006851"/>
                  </a:cubicBezTo>
                  <a:cubicBezTo>
                    <a:pt x="763556" y="2006851"/>
                    <a:pt x="763556" y="2006851"/>
                    <a:pt x="750534" y="1959952"/>
                  </a:cubicBezTo>
                  <a:close/>
                  <a:moveTo>
                    <a:pt x="2037207" y="1958684"/>
                  </a:moveTo>
                  <a:cubicBezTo>
                    <a:pt x="2037207" y="1958684"/>
                    <a:pt x="2037207" y="1958684"/>
                    <a:pt x="2036572" y="1964388"/>
                  </a:cubicBezTo>
                  <a:cubicBezTo>
                    <a:pt x="2036572" y="1964388"/>
                    <a:pt x="2036572" y="1964388"/>
                    <a:pt x="2078180" y="1969142"/>
                  </a:cubicBezTo>
                  <a:cubicBezTo>
                    <a:pt x="2078180" y="1969142"/>
                    <a:pt x="2078180" y="1969142"/>
                    <a:pt x="2078815" y="1963121"/>
                  </a:cubicBezTo>
                  <a:close/>
                  <a:moveTo>
                    <a:pt x="1836155" y="1958367"/>
                  </a:moveTo>
                  <a:cubicBezTo>
                    <a:pt x="1835837" y="1960903"/>
                    <a:pt x="1835519" y="1963755"/>
                    <a:pt x="1835202" y="1967240"/>
                  </a:cubicBezTo>
                  <a:cubicBezTo>
                    <a:pt x="1835202" y="1967240"/>
                    <a:pt x="1835202" y="1967240"/>
                    <a:pt x="1853306" y="1970409"/>
                  </a:cubicBezTo>
                  <a:cubicBezTo>
                    <a:pt x="1853306" y="1970409"/>
                    <a:pt x="1853306" y="1970409"/>
                    <a:pt x="1845366" y="2019210"/>
                  </a:cubicBezTo>
                  <a:cubicBezTo>
                    <a:pt x="1845366" y="2019210"/>
                    <a:pt x="1845366" y="2019210"/>
                    <a:pt x="1827897" y="2016358"/>
                  </a:cubicBezTo>
                  <a:cubicBezTo>
                    <a:pt x="1827579" y="2018259"/>
                    <a:pt x="1827261" y="2020161"/>
                    <a:pt x="1826944" y="2021745"/>
                  </a:cubicBezTo>
                  <a:cubicBezTo>
                    <a:pt x="1825991" y="2025548"/>
                    <a:pt x="1825356" y="2028717"/>
                    <a:pt x="1824720" y="2031252"/>
                  </a:cubicBezTo>
                  <a:cubicBezTo>
                    <a:pt x="1824403" y="2032202"/>
                    <a:pt x="1824403" y="2032836"/>
                    <a:pt x="1824085" y="2033787"/>
                  </a:cubicBezTo>
                  <a:cubicBezTo>
                    <a:pt x="1824085" y="2033787"/>
                    <a:pt x="1824085" y="2033787"/>
                    <a:pt x="1854577" y="2038857"/>
                  </a:cubicBezTo>
                  <a:lnTo>
                    <a:pt x="1867599" y="1964388"/>
                  </a:lnTo>
                  <a:cubicBezTo>
                    <a:pt x="1867599" y="1964388"/>
                    <a:pt x="1867599" y="1964388"/>
                    <a:pt x="1836155" y="1958367"/>
                  </a:cubicBezTo>
                  <a:close/>
                  <a:moveTo>
                    <a:pt x="1759609" y="1958051"/>
                  </a:moveTo>
                  <a:cubicBezTo>
                    <a:pt x="1758656" y="1965339"/>
                    <a:pt x="1757385" y="1974529"/>
                    <a:pt x="1756115" y="1983718"/>
                  </a:cubicBezTo>
                  <a:cubicBezTo>
                    <a:pt x="1755162" y="1988789"/>
                    <a:pt x="1754527" y="1994176"/>
                    <a:pt x="1753574" y="1998929"/>
                  </a:cubicBezTo>
                  <a:cubicBezTo>
                    <a:pt x="1753574" y="1998929"/>
                    <a:pt x="1753574" y="1998929"/>
                    <a:pt x="1786289" y="2004633"/>
                  </a:cubicBezTo>
                  <a:cubicBezTo>
                    <a:pt x="1788512" y="1991324"/>
                    <a:pt x="1790735" y="1975479"/>
                    <a:pt x="1792323" y="1963755"/>
                  </a:cubicBezTo>
                  <a:close/>
                  <a:moveTo>
                    <a:pt x="1991152" y="1953614"/>
                  </a:moveTo>
                  <a:cubicBezTo>
                    <a:pt x="1991152" y="1953614"/>
                    <a:pt x="1991152" y="1953614"/>
                    <a:pt x="1990835" y="1958684"/>
                  </a:cubicBezTo>
                  <a:cubicBezTo>
                    <a:pt x="1990835" y="1958684"/>
                    <a:pt x="1990835" y="1958684"/>
                    <a:pt x="2032125" y="1963755"/>
                  </a:cubicBezTo>
                  <a:cubicBezTo>
                    <a:pt x="2032125" y="1963755"/>
                    <a:pt x="2032125" y="1963755"/>
                    <a:pt x="2032760" y="1958051"/>
                  </a:cubicBezTo>
                  <a:close/>
                  <a:moveTo>
                    <a:pt x="1798676" y="1951396"/>
                  </a:moveTo>
                  <a:cubicBezTo>
                    <a:pt x="1798358" y="1953614"/>
                    <a:pt x="1797723" y="1956783"/>
                    <a:pt x="1797405" y="1960586"/>
                  </a:cubicBezTo>
                  <a:cubicBezTo>
                    <a:pt x="1797405" y="1960586"/>
                    <a:pt x="1797405" y="1960586"/>
                    <a:pt x="1830755" y="1966290"/>
                  </a:cubicBezTo>
                  <a:cubicBezTo>
                    <a:pt x="1831073" y="1963121"/>
                    <a:pt x="1831708" y="1959952"/>
                    <a:pt x="1832026" y="1957734"/>
                  </a:cubicBezTo>
                  <a:cubicBezTo>
                    <a:pt x="1832026" y="1957734"/>
                    <a:pt x="1832026" y="1957734"/>
                    <a:pt x="1798676" y="1951396"/>
                  </a:cubicBezTo>
                  <a:close/>
                  <a:moveTo>
                    <a:pt x="1721494" y="1951079"/>
                  </a:moveTo>
                  <a:cubicBezTo>
                    <a:pt x="1720541" y="1958684"/>
                    <a:pt x="1719271" y="1967557"/>
                    <a:pt x="1718000" y="1976747"/>
                  </a:cubicBezTo>
                  <a:cubicBezTo>
                    <a:pt x="1717048" y="1982134"/>
                    <a:pt x="1716412" y="1987204"/>
                    <a:pt x="1715460" y="1992274"/>
                  </a:cubicBezTo>
                  <a:cubicBezTo>
                    <a:pt x="1715460" y="1992274"/>
                    <a:pt x="1715460" y="1992274"/>
                    <a:pt x="1749445" y="1998295"/>
                  </a:cubicBezTo>
                  <a:cubicBezTo>
                    <a:pt x="1751350" y="1984669"/>
                    <a:pt x="1753891" y="1968825"/>
                    <a:pt x="1755479" y="1957100"/>
                  </a:cubicBezTo>
                  <a:close/>
                  <a:moveTo>
                    <a:pt x="301738" y="1949495"/>
                  </a:moveTo>
                  <a:lnTo>
                    <a:pt x="288081" y="1981500"/>
                  </a:lnTo>
                  <a:cubicBezTo>
                    <a:pt x="288081" y="1981500"/>
                    <a:pt x="288081" y="1981500"/>
                    <a:pt x="402423" y="2046779"/>
                  </a:cubicBezTo>
                  <a:cubicBezTo>
                    <a:pt x="402423" y="2046779"/>
                    <a:pt x="402423" y="2046779"/>
                    <a:pt x="419575" y="2016675"/>
                  </a:cubicBezTo>
                  <a:cubicBezTo>
                    <a:pt x="419575" y="2016675"/>
                    <a:pt x="419575" y="2016675"/>
                    <a:pt x="301738" y="1949495"/>
                  </a:cubicBezTo>
                  <a:close/>
                  <a:moveTo>
                    <a:pt x="1943510" y="1948544"/>
                  </a:moveTo>
                  <a:cubicBezTo>
                    <a:pt x="1943510" y="1948544"/>
                    <a:pt x="1943510" y="1948544"/>
                    <a:pt x="1942874" y="1952980"/>
                  </a:cubicBezTo>
                  <a:cubicBezTo>
                    <a:pt x="1942874" y="1952980"/>
                    <a:pt x="1942874" y="1952980"/>
                    <a:pt x="1986388" y="1958367"/>
                  </a:cubicBezTo>
                  <a:cubicBezTo>
                    <a:pt x="1986388" y="1958367"/>
                    <a:pt x="1986388" y="1958367"/>
                    <a:pt x="1986706" y="1953297"/>
                  </a:cubicBezTo>
                  <a:close/>
                  <a:moveTo>
                    <a:pt x="1761514" y="1944741"/>
                  </a:moveTo>
                  <a:cubicBezTo>
                    <a:pt x="1761197" y="1946326"/>
                    <a:pt x="1760879" y="1949811"/>
                    <a:pt x="1760244" y="1953931"/>
                  </a:cubicBezTo>
                  <a:cubicBezTo>
                    <a:pt x="1760244" y="1953931"/>
                    <a:pt x="1760244" y="1953931"/>
                    <a:pt x="1792959" y="1959635"/>
                  </a:cubicBezTo>
                  <a:cubicBezTo>
                    <a:pt x="1793594" y="1955832"/>
                    <a:pt x="1793911" y="1952663"/>
                    <a:pt x="1794229" y="1950762"/>
                  </a:cubicBezTo>
                  <a:cubicBezTo>
                    <a:pt x="1794229" y="1950762"/>
                    <a:pt x="1794229" y="1950762"/>
                    <a:pt x="1761514" y="1944741"/>
                  </a:cubicBezTo>
                  <a:close/>
                  <a:moveTo>
                    <a:pt x="465312" y="1944741"/>
                  </a:moveTo>
                  <a:cubicBezTo>
                    <a:pt x="465312" y="1944741"/>
                    <a:pt x="465312" y="1944741"/>
                    <a:pt x="446255" y="1978331"/>
                  </a:cubicBezTo>
                  <a:cubicBezTo>
                    <a:pt x="446255" y="1978331"/>
                    <a:pt x="446255" y="1978331"/>
                    <a:pt x="482463" y="1998929"/>
                  </a:cubicBezTo>
                  <a:cubicBezTo>
                    <a:pt x="482463" y="1998929"/>
                    <a:pt x="482463" y="1998929"/>
                    <a:pt x="501520" y="1965339"/>
                  </a:cubicBezTo>
                  <a:close/>
                  <a:moveTo>
                    <a:pt x="1678933" y="1943791"/>
                  </a:moveTo>
                  <a:cubicBezTo>
                    <a:pt x="1677980" y="1954565"/>
                    <a:pt x="1676710" y="1969142"/>
                    <a:pt x="1675122" y="1985303"/>
                  </a:cubicBezTo>
                  <a:cubicBezTo>
                    <a:pt x="1675122" y="1985303"/>
                    <a:pt x="1675122" y="1985303"/>
                    <a:pt x="1711330" y="1991324"/>
                  </a:cubicBezTo>
                  <a:cubicBezTo>
                    <a:pt x="1713236" y="1978014"/>
                    <a:pt x="1715460" y="1961853"/>
                    <a:pt x="1717048" y="1950445"/>
                  </a:cubicBezTo>
                  <a:close/>
                  <a:moveTo>
                    <a:pt x="1723400" y="1937453"/>
                  </a:moveTo>
                  <a:cubicBezTo>
                    <a:pt x="1723082" y="1939354"/>
                    <a:pt x="1722765" y="1942840"/>
                    <a:pt x="1722130" y="1946959"/>
                  </a:cubicBezTo>
                  <a:cubicBezTo>
                    <a:pt x="1722130" y="1946959"/>
                    <a:pt x="1722130" y="1946959"/>
                    <a:pt x="1755797" y="1952980"/>
                  </a:cubicBezTo>
                  <a:cubicBezTo>
                    <a:pt x="1756432" y="1948861"/>
                    <a:pt x="1756750" y="1945692"/>
                    <a:pt x="1757068" y="1943791"/>
                  </a:cubicBezTo>
                  <a:cubicBezTo>
                    <a:pt x="1757068" y="1943791"/>
                    <a:pt x="1757068" y="1943791"/>
                    <a:pt x="1723400" y="1937453"/>
                  </a:cubicBezTo>
                  <a:close/>
                  <a:moveTo>
                    <a:pt x="2232225" y="1934918"/>
                  </a:moveTo>
                  <a:cubicBezTo>
                    <a:pt x="2232225" y="1934918"/>
                    <a:pt x="2232225" y="1934918"/>
                    <a:pt x="2228096" y="1974846"/>
                  </a:cubicBezTo>
                  <a:lnTo>
                    <a:pt x="2266210" y="1978965"/>
                  </a:lnTo>
                  <a:cubicBezTo>
                    <a:pt x="2266210" y="1978965"/>
                    <a:pt x="2266210" y="1978965"/>
                    <a:pt x="2270657" y="1939037"/>
                  </a:cubicBezTo>
                  <a:cubicBezTo>
                    <a:pt x="2270657" y="1939037"/>
                    <a:pt x="2270657" y="1939037"/>
                    <a:pt x="2232225" y="1934918"/>
                  </a:cubicBezTo>
                  <a:close/>
                  <a:moveTo>
                    <a:pt x="523754" y="1934284"/>
                  </a:moveTo>
                  <a:cubicBezTo>
                    <a:pt x="523754" y="1934284"/>
                    <a:pt x="523754" y="1934284"/>
                    <a:pt x="507238" y="1963438"/>
                  </a:cubicBezTo>
                  <a:lnTo>
                    <a:pt x="524389" y="1973261"/>
                  </a:lnTo>
                  <a:cubicBezTo>
                    <a:pt x="524389" y="1973261"/>
                    <a:pt x="524389" y="1973261"/>
                    <a:pt x="540587" y="1943791"/>
                  </a:cubicBezTo>
                  <a:cubicBezTo>
                    <a:pt x="540587" y="1943791"/>
                    <a:pt x="540587" y="1943791"/>
                    <a:pt x="523754" y="1934284"/>
                  </a:cubicBezTo>
                  <a:close/>
                  <a:moveTo>
                    <a:pt x="2186170" y="1929848"/>
                  </a:moveTo>
                  <a:cubicBezTo>
                    <a:pt x="2186170" y="1929848"/>
                    <a:pt x="2186170" y="1929848"/>
                    <a:pt x="2182042" y="1969775"/>
                  </a:cubicBezTo>
                  <a:cubicBezTo>
                    <a:pt x="2182042" y="1969775"/>
                    <a:pt x="2182042" y="1969775"/>
                    <a:pt x="2223650" y="1974212"/>
                  </a:cubicBezTo>
                  <a:lnTo>
                    <a:pt x="2227778" y="1934284"/>
                  </a:lnTo>
                  <a:cubicBezTo>
                    <a:pt x="2227778" y="1934284"/>
                    <a:pt x="2227778" y="1934284"/>
                    <a:pt x="2186170" y="1929848"/>
                  </a:cubicBezTo>
                  <a:close/>
                  <a:moveTo>
                    <a:pt x="1679886" y="1929531"/>
                  </a:moveTo>
                  <a:cubicBezTo>
                    <a:pt x="1679886" y="1932066"/>
                    <a:pt x="1679569" y="1935551"/>
                    <a:pt x="1679251" y="1939354"/>
                  </a:cubicBezTo>
                  <a:cubicBezTo>
                    <a:pt x="1679251" y="1939354"/>
                    <a:pt x="1679251" y="1939354"/>
                    <a:pt x="1717683" y="1946326"/>
                  </a:cubicBezTo>
                  <a:cubicBezTo>
                    <a:pt x="1718318" y="1941889"/>
                    <a:pt x="1718636" y="1938403"/>
                    <a:pt x="1718953" y="1936819"/>
                  </a:cubicBezTo>
                  <a:cubicBezTo>
                    <a:pt x="1718953" y="1936819"/>
                    <a:pt x="1718953" y="1936819"/>
                    <a:pt x="1679886" y="1929531"/>
                  </a:cubicBezTo>
                  <a:close/>
                  <a:moveTo>
                    <a:pt x="968738" y="1929531"/>
                  </a:moveTo>
                  <a:cubicBezTo>
                    <a:pt x="968738" y="1929531"/>
                    <a:pt x="968738" y="1929531"/>
                    <a:pt x="959844" y="1947593"/>
                  </a:cubicBezTo>
                  <a:cubicBezTo>
                    <a:pt x="959844" y="1947593"/>
                    <a:pt x="959844" y="1947593"/>
                    <a:pt x="989383" y="1961853"/>
                  </a:cubicBezTo>
                  <a:cubicBezTo>
                    <a:pt x="989383" y="1961853"/>
                    <a:pt x="989383" y="1961853"/>
                    <a:pt x="999229" y="1942840"/>
                  </a:cubicBezTo>
                  <a:close/>
                  <a:moveTo>
                    <a:pt x="584736" y="1925728"/>
                  </a:moveTo>
                  <a:cubicBezTo>
                    <a:pt x="584736" y="1925728"/>
                    <a:pt x="584736" y="1925728"/>
                    <a:pt x="564409" y="1966606"/>
                  </a:cubicBezTo>
                  <a:cubicBezTo>
                    <a:pt x="564409" y="1966606"/>
                    <a:pt x="564409" y="1966606"/>
                    <a:pt x="594265" y="1981183"/>
                  </a:cubicBezTo>
                  <a:cubicBezTo>
                    <a:pt x="594265" y="1981183"/>
                    <a:pt x="594265" y="1981183"/>
                    <a:pt x="612052" y="1945692"/>
                  </a:cubicBezTo>
                  <a:close/>
                  <a:moveTo>
                    <a:pt x="2136304" y="1924777"/>
                  </a:moveTo>
                  <a:cubicBezTo>
                    <a:pt x="2136304" y="1924777"/>
                    <a:pt x="2136304" y="1924777"/>
                    <a:pt x="2132493" y="1964705"/>
                  </a:cubicBezTo>
                  <a:cubicBezTo>
                    <a:pt x="2132493" y="1964705"/>
                    <a:pt x="2132493" y="1964705"/>
                    <a:pt x="2177595" y="1969459"/>
                  </a:cubicBezTo>
                  <a:lnTo>
                    <a:pt x="2181724" y="1929531"/>
                  </a:lnTo>
                  <a:cubicBezTo>
                    <a:pt x="2181724" y="1929531"/>
                    <a:pt x="2181724" y="1929531"/>
                    <a:pt x="2136304" y="1924777"/>
                  </a:cubicBezTo>
                  <a:close/>
                  <a:moveTo>
                    <a:pt x="339217" y="1922559"/>
                  </a:moveTo>
                  <a:cubicBezTo>
                    <a:pt x="339217" y="1922559"/>
                    <a:pt x="339217" y="1922559"/>
                    <a:pt x="303961" y="1944107"/>
                  </a:cubicBezTo>
                  <a:cubicBezTo>
                    <a:pt x="303961" y="1944107"/>
                    <a:pt x="303961" y="1944107"/>
                    <a:pt x="303326" y="1945375"/>
                  </a:cubicBezTo>
                  <a:cubicBezTo>
                    <a:pt x="303326" y="1945375"/>
                    <a:pt x="303326" y="1945375"/>
                    <a:pt x="421798" y="2012872"/>
                  </a:cubicBezTo>
                  <a:cubicBezTo>
                    <a:pt x="421798" y="2012872"/>
                    <a:pt x="421798" y="2012872"/>
                    <a:pt x="440220" y="1980233"/>
                  </a:cubicBezTo>
                  <a:close/>
                  <a:moveTo>
                    <a:pt x="97509" y="1922242"/>
                  </a:moveTo>
                  <a:cubicBezTo>
                    <a:pt x="97509" y="1922242"/>
                    <a:pt x="97509" y="1922242"/>
                    <a:pt x="70194" y="1971677"/>
                  </a:cubicBezTo>
                  <a:cubicBezTo>
                    <a:pt x="113708" y="1991958"/>
                    <a:pt x="171832" y="2028083"/>
                    <a:pt x="223286" y="2070229"/>
                  </a:cubicBezTo>
                  <a:cubicBezTo>
                    <a:pt x="246472" y="2044244"/>
                    <a:pt x="264259" y="2024280"/>
                    <a:pt x="266482" y="2021745"/>
                  </a:cubicBezTo>
                  <a:cubicBezTo>
                    <a:pt x="266482" y="2021745"/>
                    <a:pt x="266482" y="2021745"/>
                    <a:pt x="267435" y="2019210"/>
                  </a:cubicBezTo>
                  <a:cubicBezTo>
                    <a:pt x="267435" y="2019210"/>
                    <a:pt x="267435" y="2019210"/>
                    <a:pt x="97509" y="1922242"/>
                  </a:cubicBezTo>
                  <a:close/>
                  <a:moveTo>
                    <a:pt x="1556332" y="1921925"/>
                  </a:moveTo>
                  <a:cubicBezTo>
                    <a:pt x="1556332" y="1921925"/>
                    <a:pt x="1556332" y="1921925"/>
                    <a:pt x="1549345" y="1963121"/>
                  </a:cubicBezTo>
                  <a:cubicBezTo>
                    <a:pt x="1549345" y="1963121"/>
                    <a:pt x="1549345" y="1963121"/>
                    <a:pt x="1670993" y="1984352"/>
                  </a:cubicBezTo>
                  <a:cubicBezTo>
                    <a:pt x="1672263" y="1968191"/>
                    <a:pt x="1673534" y="1953931"/>
                    <a:pt x="1674487" y="1942840"/>
                  </a:cubicBezTo>
                  <a:cubicBezTo>
                    <a:pt x="1674487" y="1942840"/>
                    <a:pt x="1674487" y="1942840"/>
                    <a:pt x="1556332" y="1921925"/>
                  </a:cubicBezTo>
                  <a:close/>
                  <a:moveTo>
                    <a:pt x="2087709" y="1919390"/>
                  </a:moveTo>
                  <a:cubicBezTo>
                    <a:pt x="2087709" y="1919390"/>
                    <a:pt x="2087709" y="1919390"/>
                    <a:pt x="2083580" y="1959318"/>
                  </a:cubicBezTo>
                  <a:cubicBezTo>
                    <a:pt x="2083580" y="1959318"/>
                    <a:pt x="2083580" y="1959318"/>
                    <a:pt x="2128046" y="1964071"/>
                  </a:cubicBezTo>
                  <a:lnTo>
                    <a:pt x="2131858" y="1924144"/>
                  </a:lnTo>
                  <a:cubicBezTo>
                    <a:pt x="2131858" y="1924144"/>
                    <a:pt x="2131858" y="1924144"/>
                    <a:pt x="2087709" y="1919390"/>
                  </a:cubicBezTo>
                  <a:close/>
                  <a:moveTo>
                    <a:pt x="781660" y="1917489"/>
                  </a:moveTo>
                  <a:cubicBezTo>
                    <a:pt x="769591" y="1934918"/>
                    <a:pt x="757204" y="1953614"/>
                    <a:pt x="754345" y="1957734"/>
                  </a:cubicBezTo>
                  <a:cubicBezTo>
                    <a:pt x="754345" y="1957734"/>
                    <a:pt x="754345" y="1957734"/>
                    <a:pt x="768003" y="2005584"/>
                  </a:cubicBezTo>
                  <a:cubicBezTo>
                    <a:pt x="768003" y="2005584"/>
                    <a:pt x="768003" y="2005584"/>
                    <a:pt x="895685" y="2068328"/>
                  </a:cubicBezTo>
                  <a:cubicBezTo>
                    <a:pt x="895685" y="2068328"/>
                    <a:pt x="895685" y="2068328"/>
                    <a:pt x="928718" y="2002732"/>
                  </a:cubicBezTo>
                  <a:cubicBezTo>
                    <a:pt x="928718" y="2002732"/>
                    <a:pt x="928718" y="2002732"/>
                    <a:pt x="966514" y="2021111"/>
                  </a:cubicBezTo>
                  <a:cubicBezTo>
                    <a:pt x="966514" y="2021111"/>
                    <a:pt x="966514" y="2021111"/>
                    <a:pt x="965561" y="2023013"/>
                  </a:cubicBezTo>
                  <a:cubicBezTo>
                    <a:pt x="965561" y="2023013"/>
                    <a:pt x="965561" y="2023013"/>
                    <a:pt x="933164" y="2086707"/>
                  </a:cubicBezTo>
                  <a:cubicBezTo>
                    <a:pt x="933164" y="2086707"/>
                    <a:pt x="933164" y="2086707"/>
                    <a:pt x="940787" y="2090510"/>
                  </a:cubicBezTo>
                  <a:cubicBezTo>
                    <a:pt x="941422" y="2088925"/>
                    <a:pt x="942058" y="2087024"/>
                    <a:pt x="943011" y="2085123"/>
                  </a:cubicBezTo>
                  <a:cubicBezTo>
                    <a:pt x="948410" y="2071813"/>
                    <a:pt x="962068" y="2043610"/>
                    <a:pt x="979219" y="2009069"/>
                  </a:cubicBezTo>
                  <a:cubicBezTo>
                    <a:pt x="966197" y="2002732"/>
                    <a:pt x="924906" y="1983402"/>
                    <a:pt x="882663" y="1964071"/>
                  </a:cubicBezTo>
                  <a:cubicBezTo>
                    <a:pt x="837561" y="1943157"/>
                    <a:pt x="791506" y="1921608"/>
                    <a:pt x="781660" y="1917489"/>
                  </a:cubicBezTo>
                  <a:close/>
                  <a:moveTo>
                    <a:pt x="2041654" y="1914637"/>
                  </a:moveTo>
                  <a:cubicBezTo>
                    <a:pt x="2041654" y="1914637"/>
                    <a:pt x="2041654" y="1914637"/>
                    <a:pt x="2037525" y="1954565"/>
                  </a:cubicBezTo>
                  <a:cubicBezTo>
                    <a:pt x="2037525" y="1954565"/>
                    <a:pt x="2037525" y="1954565"/>
                    <a:pt x="2079133" y="1959001"/>
                  </a:cubicBezTo>
                  <a:lnTo>
                    <a:pt x="2083262" y="1919073"/>
                  </a:lnTo>
                  <a:cubicBezTo>
                    <a:pt x="2083262" y="1919073"/>
                    <a:pt x="2083262" y="1919073"/>
                    <a:pt x="2041654" y="1914637"/>
                  </a:cubicBezTo>
                  <a:close/>
                  <a:moveTo>
                    <a:pt x="484051" y="1911468"/>
                  </a:moveTo>
                  <a:cubicBezTo>
                    <a:pt x="484051" y="1911468"/>
                    <a:pt x="484051" y="1911468"/>
                    <a:pt x="467535" y="1940622"/>
                  </a:cubicBezTo>
                  <a:cubicBezTo>
                    <a:pt x="467535" y="1940622"/>
                    <a:pt x="467535" y="1940622"/>
                    <a:pt x="503744" y="1961536"/>
                  </a:cubicBezTo>
                  <a:cubicBezTo>
                    <a:pt x="503744" y="1961536"/>
                    <a:pt x="503744" y="1961536"/>
                    <a:pt x="520260" y="1932383"/>
                  </a:cubicBezTo>
                  <a:close/>
                  <a:moveTo>
                    <a:pt x="1995599" y="1909567"/>
                  </a:moveTo>
                  <a:cubicBezTo>
                    <a:pt x="1995599" y="1909567"/>
                    <a:pt x="1995599" y="1909567"/>
                    <a:pt x="1991788" y="1949495"/>
                  </a:cubicBezTo>
                  <a:cubicBezTo>
                    <a:pt x="1991788" y="1949495"/>
                    <a:pt x="1991788" y="1949495"/>
                    <a:pt x="2033078" y="1953931"/>
                  </a:cubicBezTo>
                  <a:lnTo>
                    <a:pt x="2037207" y="1914003"/>
                  </a:lnTo>
                  <a:cubicBezTo>
                    <a:pt x="2037207" y="1914003"/>
                    <a:pt x="2037207" y="1914003"/>
                    <a:pt x="1995599" y="1909567"/>
                  </a:cubicBezTo>
                  <a:close/>
                  <a:moveTo>
                    <a:pt x="1111348" y="1907665"/>
                  </a:moveTo>
                  <a:cubicBezTo>
                    <a:pt x="1111348" y="1907665"/>
                    <a:pt x="1111348" y="1907665"/>
                    <a:pt x="1093562" y="1944424"/>
                  </a:cubicBezTo>
                  <a:cubicBezTo>
                    <a:pt x="1093562" y="1944424"/>
                    <a:pt x="1093562" y="1944424"/>
                    <a:pt x="1133264" y="1957100"/>
                  </a:cubicBezTo>
                  <a:cubicBezTo>
                    <a:pt x="1133264" y="1957100"/>
                    <a:pt x="1133264" y="1957100"/>
                    <a:pt x="1148192" y="1918756"/>
                  </a:cubicBezTo>
                  <a:close/>
                  <a:moveTo>
                    <a:pt x="1947956" y="1904496"/>
                  </a:moveTo>
                  <a:cubicBezTo>
                    <a:pt x="1947956" y="1904496"/>
                    <a:pt x="1947956" y="1904496"/>
                    <a:pt x="1943827" y="1944424"/>
                  </a:cubicBezTo>
                  <a:cubicBezTo>
                    <a:pt x="1943827" y="1944424"/>
                    <a:pt x="1943827" y="1944424"/>
                    <a:pt x="1987341" y="1949178"/>
                  </a:cubicBezTo>
                  <a:lnTo>
                    <a:pt x="1991152" y="1909250"/>
                  </a:lnTo>
                  <a:cubicBezTo>
                    <a:pt x="1991152" y="1909250"/>
                    <a:pt x="1991152" y="1909250"/>
                    <a:pt x="1947956" y="1904496"/>
                  </a:cubicBezTo>
                  <a:close/>
                  <a:moveTo>
                    <a:pt x="1109125" y="1902278"/>
                  </a:moveTo>
                  <a:cubicBezTo>
                    <a:pt x="1109125" y="1902278"/>
                    <a:pt x="1109125" y="1902278"/>
                    <a:pt x="1154545" y="1915588"/>
                  </a:cubicBezTo>
                  <a:cubicBezTo>
                    <a:pt x="1154545" y="1915588"/>
                    <a:pt x="1154545" y="1915588"/>
                    <a:pt x="1153592" y="1918123"/>
                  </a:cubicBezTo>
                  <a:cubicBezTo>
                    <a:pt x="1153592" y="1918123"/>
                    <a:pt x="1153592" y="1918123"/>
                    <a:pt x="1135805" y="1962804"/>
                  </a:cubicBezTo>
                  <a:cubicBezTo>
                    <a:pt x="1135805" y="1962804"/>
                    <a:pt x="1135805" y="1962804"/>
                    <a:pt x="1086892" y="1947276"/>
                  </a:cubicBezTo>
                  <a:close/>
                  <a:moveTo>
                    <a:pt x="1468670" y="1901328"/>
                  </a:moveTo>
                  <a:lnTo>
                    <a:pt x="1448024" y="2011604"/>
                  </a:lnTo>
                  <a:cubicBezTo>
                    <a:pt x="1448024" y="2011604"/>
                    <a:pt x="1448024" y="2011604"/>
                    <a:pt x="1463588" y="2013823"/>
                  </a:cubicBezTo>
                  <a:cubicBezTo>
                    <a:pt x="1470893" y="1977381"/>
                    <a:pt x="1478516" y="1939671"/>
                    <a:pt x="1485821" y="1904496"/>
                  </a:cubicBezTo>
                  <a:cubicBezTo>
                    <a:pt x="1485821" y="1904496"/>
                    <a:pt x="1485821" y="1904496"/>
                    <a:pt x="1468670" y="1901328"/>
                  </a:cubicBezTo>
                  <a:close/>
                  <a:moveTo>
                    <a:pt x="1907619" y="1900060"/>
                  </a:moveTo>
                  <a:cubicBezTo>
                    <a:pt x="1907619" y="1900060"/>
                    <a:pt x="1907619" y="1900060"/>
                    <a:pt x="1902855" y="1939988"/>
                  </a:cubicBezTo>
                  <a:cubicBezTo>
                    <a:pt x="1902855" y="1939988"/>
                    <a:pt x="1902855" y="1939988"/>
                    <a:pt x="1939381" y="1944107"/>
                  </a:cubicBezTo>
                  <a:lnTo>
                    <a:pt x="1943510" y="1903863"/>
                  </a:lnTo>
                  <a:cubicBezTo>
                    <a:pt x="1943510" y="1903863"/>
                    <a:pt x="1943510" y="1903863"/>
                    <a:pt x="1907619" y="1900060"/>
                  </a:cubicBezTo>
                  <a:close/>
                  <a:moveTo>
                    <a:pt x="132447" y="1898159"/>
                  </a:moveTo>
                  <a:cubicBezTo>
                    <a:pt x="132447" y="1898159"/>
                    <a:pt x="132447" y="1898159"/>
                    <a:pt x="121013" y="1919073"/>
                  </a:cubicBezTo>
                  <a:cubicBezTo>
                    <a:pt x="121013" y="1919073"/>
                    <a:pt x="121013" y="1919073"/>
                    <a:pt x="157539" y="1939037"/>
                  </a:cubicBezTo>
                  <a:cubicBezTo>
                    <a:pt x="157539" y="1939037"/>
                    <a:pt x="157539" y="1939037"/>
                    <a:pt x="168656" y="1918756"/>
                  </a:cubicBezTo>
                  <a:close/>
                  <a:moveTo>
                    <a:pt x="1508372" y="1897525"/>
                  </a:moveTo>
                  <a:cubicBezTo>
                    <a:pt x="1504878" y="1914954"/>
                    <a:pt x="1501067" y="1933016"/>
                    <a:pt x="1497573" y="1951396"/>
                  </a:cubicBezTo>
                  <a:cubicBezTo>
                    <a:pt x="1496303" y="1957734"/>
                    <a:pt x="1495032" y="1963755"/>
                    <a:pt x="1493762" y="1970092"/>
                  </a:cubicBezTo>
                  <a:cubicBezTo>
                    <a:pt x="1493762" y="1970092"/>
                    <a:pt x="1493762" y="1970092"/>
                    <a:pt x="1669722" y="1998295"/>
                  </a:cubicBezTo>
                  <a:cubicBezTo>
                    <a:pt x="1670040" y="1995126"/>
                    <a:pt x="1670358" y="1991641"/>
                    <a:pt x="1670675" y="1988472"/>
                  </a:cubicBezTo>
                  <a:cubicBezTo>
                    <a:pt x="1670675" y="1988472"/>
                    <a:pt x="1670675" y="1988472"/>
                    <a:pt x="1544581" y="1966290"/>
                  </a:cubicBezTo>
                  <a:cubicBezTo>
                    <a:pt x="1544581" y="1966290"/>
                    <a:pt x="1544581" y="1966290"/>
                    <a:pt x="1552839" y="1917172"/>
                  </a:cubicBezTo>
                  <a:cubicBezTo>
                    <a:pt x="1552839" y="1917172"/>
                    <a:pt x="1552839" y="1917172"/>
                    <a:pt x="1554744" y="1917489"/>
                  </a:cubicBezTo>
                  <a:cubicBezTo>
                    <a:pt x="1554744" y="1917489"/>
                    <a:pt x="1554744" y="1917489"/>
                    <a:pt x="1674804" y="1938720"/>
                  </a:cubicBezTo>
                  <a:cubicBezTo>
                    <a:pt x="1675122" y="1934601"/>
                    <a:pt x="1675440" y="1931115"/>
                    <a:pt x="1675757" y="1928580"/>
                  </a:cubicBezTo>
                  <a:cubicBezTo>
                    <a:pt x="1675757" y="1928580"/>
                    <a:pt x="1675757" y="1928580"/>
                    <a:pt x="1508372" y="1897525"/>
                  </a:cubicBezTo>
                  <a:close/>
                  <a:moveTo>
                    <a:pt x="545034" y="1897208"/>
                  </a:moveTo>
                  <a:cubicBezTo>
                    <a:pt x="545034" y="1897208"/>
                    <a:pt x="545034" y="1897208"/>
                    <a:pt x="525977" y="1930481"/>
                  </a:cubicBezTo>
                  <a:lnTo>
                    <a:pt x="542811" y="1939988"/>
                  </a:lnTo>
                  <a:cubicBezTo>
                    <a:pt x="542811" y="1939988"/>
                    <a:pt x="542811" y="1939988"/>
                    <a:pt x="561550" y="1906398"/>
                  </a:cubicBezTo>
                  <a:cubicBezTo>
                    <a:pt x="561550" y="1906398"/>
                    <a:pt x="561550" y="1906398"/>
                    <a:pt x="545034" y="1897208"/>
                  </a:cubicBezTo>
                  <a:close/>
                  <a:moveTo>
                    <a:pt x="1423885" y="1893089"/>
                  </a:moveTo>
                  <a:cubicBezTo>
                    <a:pt x="1423885" y="1893089"/>
                    <a:pt x="1423885" y="1893089"/>
                    <a:pt x="1403240" y="2004950"/>
                  </a:cubicBezTo>
                  <a:lnTo>
                    <a:pt x="1443895" y="2010971"/>
                  </a:lnTo>
                  <a:cubicBezTo>
                    <a:pt x="1443895" y="2010971"/>
                    <a:pt x="1443895" y="2010971"/>
                    <a:pt x="1464541" y="1900694"/>
                  </a:cubicBezTo>
                  <a:cubicBezTo>
                    <a:pt x="1464541" y="1900694"/>
                    <a:pt x="1464541" y="1900694"/>
                    <a:pt x="1423885" y="1893089"/>
                  </a:cubicBezTo>
                  <a:close/>
                  <a:moveTo>
                    <a:pt x="115931" y="1888652"/>
                  </a:moveTo>
                  <a:lnTo>
                    <a:pt x="99415" y="1918439"/>
                  </a:lnTo>
                  <a:cubicBezTo>
                    <a:pt x="99415" y="1918439"/>
                    <a:pt x="99415" y="1918439"/>
                    <a:pt x="269341" y="2015090"/>
                  </a:cubicBezTo>
                  <a:cubicBezTo>
                    <a:pt x="269341" y="2015090"/>
                    <a:pt x="269341" y="2015090"/>
                    <a:pt x="282363" y="1983402"/>
                  </a:cubicBezTo>
                  <a:cubicBezTo>
                    <a:pt x="282363" y="1983402"/>
                    <a:pt x="282363" y="1983402"/>
                    <a:pt x="172150" y="1920658"/>
                  </a:cubicBezTo>
                  <a:cubicBezTo>
                    <a:pt x="172150" y="1920658"/>
                    <a:pt x="172150" y="1920658"/>
                    <a:pt x="159127" y="1944741"/>
                  </a:cubicBezTo>
                  <a:cubicBezTo>
                    <a:pt x="159127" y="1944741"/>
                    <a:pt x="159127" y="1944741"/>
                    <a:pt x="115296" y="1920975"/>
                  </a:cubicBezTo>
                  <a:cubicBezTo>
                    <a:pt x="115296" y="1920975"/>
                    <a:pt x="115296" y="1920975"/>
                    <a:pt x="128953" y="1895941"/>
                  </a:cubicBezTo>
                  <a:cubicBezTo>
                    <a:pt x="128953" y="1895941"/>
                    <a:pt x="128953" y="1895941"/>
                    <a:pt x="115931" y="1888652"/>
                  </a:cubicBezTo>
                  <a:close/>
                  <a:moveTo>
                    <a:pt x="1032261" y="1887385"/>
                  </a:moveTo>
                  <a:lnTo>
                    <a:pt x="1004946" y="1940622"/>
                  </a:lnTo>
                  <a:cubicBezTo>
                    <a:pt x="1004946" y="1940622"/>
                    <a:pt x="1004946" y="1940622"/>
                    <a:pt x="1011934" y="1943791"/>
                  </a:cubicBezTo>
                  <a:cubicBezTo>
                    <a:pt x="1020827" y="1926362"/>
                    <a:pt x="1030038" y="1908299"/>
                    <a:pt x="1038931" y="1890870"/>
                  </a:cubicBezTo>
                  <a:cubicBezTo>
                    <a:pt x="1038931" y="1890870"/>
                    <a:pt x="1038931" y="1890870"/>
                    <a:pt x="1032261" y="1887385"/>
                  </a:cubicBezTo>
                  <a:close/>
                  <a:moveTo>
                    <a:pt x="190889" y="1886434"/>
                  </a:moveTo>
                  <a:lnTo>
                    <a:pt x="174373" y="1916855"/>
                  </a:lnTo>
                  <a:cubicBezTo>
                    <a:pt x="174373" y="1916855"/>
                    <a:pt x="174373" y="1916855"/>
                    <a:pt x="284269" y="1979599"/>
                  </a:cubicBezTo>
                  <a:cubicBezTo>
                    <a:pt x="284269" y="1979599"/>
                    <a:pt x="284269" y="1979599"/>
                    <a:pt x="297609" y="1947276"/>
                  </a:cubicBezTo>
                  <a:cubicBezTo>
                    <a:pt x="297609" y="1947276"/>
                    <a:pt x="297609" y="1947276"/>
                    <a:pt x="190889" y="1886434"/>
                  </a:cubicBezTo>
                  <a:close/>
                  <a:moveTo>
                    <a:pt x="806434" y="1885166"/>
                  </a:moveTo>
                  <a:cubicBezTo>
                    <a:pt x="805164" y="1886117"/>
                    <a:pt x="800717" y="1890870"/>
                    <a:pt x="795635" y="1897842"/>
                  </a:cubicBezTo>
                  <a:cubicBezTo>
                    <a:pt x="792142" y="1902278"/>
                    <a:pt x="788330" y="1907982"/>
                    <a:pt x="784201" y="1913686"/>
                  </a:cubicBezTo>
                  <a:cubicBezTo>
                    <a:pt x="796906" y="1919390"/>
                    <a:pt x="840420" y="1939671"/>
                    <a:pt x="884569" y="1959952"/>
                  </a:cubicBezTo>
                  <a:cubicBezTo>
                    <a:pt x="926812" y="1979599"/>
                    <a:pt x="968420" y="1998929"/>
                    <a:pt x="981442" y="2004950"/>
                  </a:cubicBezTo>
                  <a:cubicBezTo>
                    <a:pt x="990018" y="1987204"/>
                    <a:pt x="999864" y="1967557"/>
                    <a:pt x="1010028" y="1947593"/>
                  </a:cubicBezTo>
                  <a:cubicBezTo>
                    <a:pt x="1010028" y="1947593"/>
                    <a:pt x="1010028" y="1947593"/>
                    <a:pt x="1003041" y="1944741"/>
                  </a:cubicBezTo>
                  <a:cubicBezTo>
                    <a:pt x="1003041" y="1944741"/>
                    <a:pt x="1003041" y="1944741"/>
                    <a:pt x="991289" y="1967557"/>
                  </a:cubicBezTo>
                  <a:cubicBezTo>
                    <a:pt x="991289" y="1967557"/>
                    <a:pt x="991289" y="1967557"/>
                    <a:pt x="954127" y="1949495"/>
                  </a:cubicBezTo>
                  <a:cubicBezTo>
                    <a:pt x="954127" y="1949495"/>
                    <a:pt x="954127" y="1949495"/>
                    <a:pt x="964926" y="1927629"/>
                  </a:cubicBezTo>
                  <a:cubicBezTo>
                    <a:pt x="964926" y="1927629"/>
                    <a:pt x="964926" y="1927629"/>
                    <a:pt x="948728" y="1920658"/>
                  </a:cubicBezTo>
                  <a:cubicBezTo>
                    <a:pt x="948728" y="1920658"/>
                    <a:pt x="948728" y="1920658"/>
                    <a:pt x="916966" y="1929848"/>
                  </a:cubicBezTo>
                  <a:close/>
                  <a:moveTo>
                    <a:pt x="356686" y="1882948"/>
                  </a:moveTo>
                  <a:cubicBezTo>
                    <a:pt x="356686" y="1882948"/>
                    <a:pt x="356686" y="1882948"/>
                    <a:pt x="345252" y="1918756"/>
                  </a:cubicBezTo>
                  <a:cubicBezTo>
                    <a:pt x="345252" y="1918756"/>
                    <a:pt x="345252" y="1918756"/>
                    <a:pt x="343346" y="1919707"/>
                  </a:cubicBezTo>
                  <a:cubicBezTo>
                    <a:pt x="343346" y="1919707"/>
                    <a:pt x="343346" y="1919707"/>
                    <a:pt x="442443" y="1976113"/>
                  </a:cubicBezTo>
                  <a:cubicBezTo>
                    <a:pt x="442443" y="1976113"/>
                    <a:pt x="442443" y="1976113"/>
                    <a:pt x="461500" y="1942523"/>
                  </a:cubicBezTo>
                  <a:close/>
                  <a:moveTo>
                    <a:pt x="1095150" y="1876610"/>
                  </a:moveTo>
                  <a:cubicBezTo>
                    <a:pt x="1095150" y="1876610"/>
                    <a:pt x="1095150" y="1876610"/>
                    <a:pt x="1082128" y="1907982"/>
                  </a:cubicBezTo>
                  <a:cubicBezTo>
                    <a:pt x="1082128" y="1907982"/>
                    <a:pt x="1082128" y="1907982"/>
                    <a:pt x="1073869" y="1909884"/>
                  </a:cubicBezTo>
                  <a:cubicBezTo>
                    <a:pt x="1073869" y="1909884"/>
                    <a:pt x="1073869" y="1909884"/>
                    <a:pt x="1056400" y="1939671"/>
                  </a:cubicBezTo>
                  <a:cubicBezTo>
                    <a:pt x="1056400" y="1939671"/>
                    <a:pt x="1056400" y="1939671"/>
                    <a:pt x="1068470" y="1943791"/>
                  </a:cubicBezTo>
                  <a:cubicBezTo>
                    <a:pt x="1068470" y="1943791"/>
                    <a:pt x="1068470" y="1943791"/>
                    <a:pt x="1066882" y="1952663"/>
                  </a:cubicBezTo>
                  <a:cubicBezTo>
                    <a:pt x="1066882" y="1952663"/>
                    <a:pt x="1066882" y="1952663"/>
                    <a:pt x="1194247" y="2009703"/>
                  </a:cubicBezTo>
                  <a:cubicBezTo>
                    <a:pt x="1194247" y="2009703"/>
                    <a:pt x="1194247" y="2009703"/>
                    <a:pt x="1203458" y="1985620"/>
                  </a:cubicBezTo>
                  <a:cubicBezTo>
                    <a:pt x="1203458" y="1985620"/>
                    <a:pt x="1203458" y="1985620"/>
                    <a:pt x="1176778" y="1951396"/>
                  </a:cubicBezTo>
                  <a:lnTo>
                    <a:pt x="1204728" y="1937453"/>
                  </a:lnTo>
                  <a:cubicBezTo>
                    <a:pt x="1204728" y="1937453"/>
                    <a:pt x="1204728" y="1937453"/>
                    <a:pt x="1217433" y="1910517"/>
                  </a:cubicBezTo>
                  <a:cubicBezTo>
                    <a:pt x="1217433" y="1910517"/>
                    <a:pt x="1217433" y="1910517"/>
                    <a:pt x="1095150" y="1876610"/>
                  </a:cubicBezTo>
                  <a:close/>
                  <a:moveTo>
                    <a:pt x="609193" y="1876610"/>
                  </a:moveTo>
                  <a:cubicBezTo>
                    <a:pt x="609193" y="1876610"/>
                    <a:pt x="609193" y="1876610"/>
                    <a:pt x="586642" y="1921608"/>
                  </a:cubicBezTo>
                  <a:lnTo>
                    <a:pt x="613957" y="1941889"/>
                  </a:lnTo>
                  <a:cubicBezTo>
                    <a:pt x="613957" y="1941889"/>
                    <a:pt x="613957" y="1941889"/>
                    <a:pt x="639685" y="1891187"/>
                  </a:cubicBezTo>
                  <a:cubicBezTo>
                    <a:pt x="639685" y="1891187"/>
                    <a:pt x="639685" y="1891187"/>
                    <a:pt x="609193" y="1876610"/>
                  </a:cubicBezTo>
                  <a:close/>
                  <a:moveTo>
                    <a:pt x="505332" y="1874392"/>
                  </a:moveTo>
                  <a:cubicBezTo>
                    <a:pt x="505332" y="1874392"/>
                    <a:pt x="505332" y="1874392"/>
                    <a:pt x="486275" y="1907665"/>
                  </a:cubicBezTo>
                  <a:cubicBezTo>
                    <a:pt x="486275" y="1907665"/>
                    <a:pt x="486275" y="1907665"/>
                    <a:pt x="522483" y="1928263"/>
                  </a:cubicBezTo>
                  <a:cubicBezTo>
                    <a:pt x="522483" y="1928263"/>
                    <a:pt x="522483" y="1928263"/>
                    <a:pt x="541540" y="1894990"/>
                  </a:cubicBezTo>
                  <a:close/>
                  <a:moveTo>
                    <a:pt x="1092291" y="1870906"/>
                  </a:moveTo>
                  <a:cubicBezTo>
                    <a:pt x="1092291" y="1870906"/>
                    <a:pt x="1092291" y="1870906"/>
                    <a:pt x="1224103" y="1907348"/>
                  </a:cubicBezTo>
                  <a:cubicBezTo>
                    <a:pt x="1224103" y="1907348"/>
                    <a:pt x="1224103" y="1907348"/>
                    <a:pt x="1222833" y="1909884"/>
                  </a:cubicBezTo>
                  <a:lnTo>
                    <a:pt x="1208222" y="1940939"/>
                  </a:lnTo>
                  <a:cubicBezTo>
                    <a:pt x="1208222" y="1940939"/>
                    <a:pt x="1208222" y="1940939"/>
                    <a:pt x="1184083" y="1952980"/>
                  </a:cubicBezTo>
                  <a:cubicBezTo>
                    <a:pt x="1184083" y="1952980"/>
                    <a:pt x="1184083" y="1952980"/>
                    <a:pt x="1208857" y="1984669"/>
                  </a:cubicBezTo>
                  <a:cubicBezTo>
                    <a:pt x="1208857" y="1984669"/>
                    <a:pt x="1208857" y="1984669"/>
                    <a:pt x="1196788" y="2016041"/>
                  </a:cubicBezTo>
                  <a:cubicBezTo>
                    <a:pt x="1196788" y="2016041"/>
                    <a:pt x="1196788" y="2016041"/>
                    <a:pt x="1061800" y="1955515"/>
                  </a:cubicBezTo>
                  <a:cubicBezTo>
                    <a:pt x="1061800" y="1955515"/>
                    <a:pt x="1061800" y="1955515"/>
                    <a:pt x="1063070" y="1946959"/>
                  </a:cubicBezTo>
                  <a:cubicBezTo>
                    <a:pt x="1063070" y="1946959"/>
                    <a:pt x="1063070" y="1946959"/>
                    <a:pt x="1049413" y="1942206"/>
                  </a:cubicBezTo>
                  <a:cubicBezTo>
                    <a:pt x="1049413" y="1942206"/>
                    <a:pt x="1049413" y="1942206"/>
                    <a:pt x="1070693" y="1905764"/>
                  </a:cubicBezTo>
                  <a:cubicBezTo>
                    <a:pt x="1070693" y="1905764"/>
                    <a:pt x="1070693" y="1905764"/>
                    <a:pt x="1078951" y="1903863"/>
                  </a:cubicBezTo>
                  <a:cubicBezTo>
                    <a:pt x="1078951" y="1903863"/>
                    <a:pt x="1078951" y="1903863"/>
                    <a:pt x="1092291" y="1870906"/>
                  </a:cubicBezTo>
                  <a:close/>
                  <a:moveTo>
                    <a:pt x="998276" y="1870589"/>
                  </a:moveTo>
                  <a:cubicBezTo>
                    <a:pt x="998276" y="1870589"/>
                    <a:pt x="998276" y="1870589"/>
                    <a:pt x="970643" y="1925411"/>
                  </a:cubicBezTo>
                  <a:lnTo>
                    <a:pt x="1001135" y="1939037"/>
                  </a:lnTo>
                  <a:cubicBezTo>
                    <a:pt x="1001135" y="1939037"/>
                    <a:pt x="1001135" y="1939037"/>
                    <a:pt x="1028450" y="1885483"/>
                  </a:cubicBezTo>
                  <a:cubicBezTo>
                    <a:pt x="1028450" y="1885483"/>
                    <a:pt x="1028450" y="1885483"/>
                    <a:pt x="998276" y="1870589"/>
                  </a:cubicBezTo>
                  <a:close/>
                  <a:moveTo>
                    <a:pt x="151187" y="1863935"/>
                  </a:moveTo>
                  <a:cubicBezTo>
                    <a:pt x="151187" y="1863935"/>
                    <a:pt x="151187" y="1863935"/>
                    <a:pt x="134671" y="1894356"/>
                  </a:cubicBezTo>
                  <a:lnTo>
                    <a:pt x="170879" y="1914954"/>
                  </a:lnTo>
                  <a:cubicBezTo>
                    <a:pt x="170879" y="1914954"/>
                    <a:pt x="170879" y="1914954"/>
                    <a:pt x="187395" y="1884532"/>
                  </a:cubicBezTo>
                  <a:cubicBezTo>
                    <a:pt x="187395" y="1884532"/>
                    <a:pt x="187395" y="1884532"/>
                    <a:pt x="151187" y="1863935"/>
                  </a:cubicBezTo>
                  <a:close/>
                  <a:moveTo>
                    <a:pt x="564409" y="1863301"/>
                  </a:moveTo>
                  <a:cubicBezTo>
                    <a:pt x="564409" y="1863301"/>
                    <a:pt x="564409" y="1863301"/>
                    <a:pt x="547257" y="1893089"/>
                  </a:cubicBezTo>
                  <a:cubicBezTo>
                    <a:pt x="547257" y="1893089"/>
                    <a:pt x="547257" y="1893089"/>
                    <a:pt x="563774" y="1902595"/>
                  </a:cubicBezTo>
                  <a:cubicBezTo>
                    <a:pt x="563774" y="1902595"/>
                    <a:pt x="563774" y="1902595"/>
                    <a:pt x="580607" y="1872491"/>
                  </a:cubicBezTo>
                  <a:close/>
                  <a:moveTo>
                    <a:pt x="610781" y="1861717"/>
                  </a:moveTo>
                  <a:cubicBezTo>
                    <a:pt x="610781" y="1861717"/>
                    <a:pt x="610781" y="1861717"/>
                    <a:pt x="579972" y="1916538"/>
                  </a:cubicBezTo>
                  <a:cubicBezTo>
                    <a:pt x="579972" y="1916538"/>
                    <a:pt x="579972" y="1916538"/>
                    <a:pt x="583466" y="1919073"/>
                  </a:cubicBezTo>
                  <a:cubicBezTo>
                    <a:pt x="583466" y="1919073"/>
                    <a:pt x="583466" y="1919073"/>
                    <a:pt x="607287" y="1870906"/>
                  </a:cubicBezTo>
                  <a:cubicBezTo>
                    <a:pt x="607287" y="1870906"/>
                    <a:pt x="607287" y="1870906"/>
                    <a:pt x="645402" y="1889286"/>
                  </a:cubicBezTo>
                  <a:cubicBezTo>
                    <a:pt x="645402" y="1889286"/>
                    <a:pt x="645402" y="1889286"/>
                    <a:pt x="644449" y="1891187"/>
                  </a:cubicBezTo>
                  <a:cubicBezTo>
                    <a:pt x="644449" y="1891187"/>
                    <a:pt x="644449" y="1891187"/>
                    <a:pt x="617451" y="1944424"/>
                  </a:cubicBezTo>
                  <a:cubicBezTo>
                    <a:pt x="617451" y="1944424"/>
                    <a:pt x="617451" y="1944424"/>
                    <a:pt x="667000" y="1980866"/>
                  </a:cubicBezTo>
                  <a:cubicBezTo>
                    <a:pt x="667000" y="1980866"/>
                    <a:pt x="667000" y="1980866"/>
                    <a:pt x="664459" y="1984669"/>
                  </a:cubicBezTo>
                  <a:cubicBezTo>
                    <a:pt x="664459" y="1984669"/>
                    <a:pt x="664459" y="1984669"/>
                    <a:pt x="615546" y="1948227"/>
                  </a:cubicBezTo>
                  <a:cubicBezTo>
                    <a:pt x="615546" y="1948227"/>
                    <a:pt x="615546" y="1948227"/>
                    <a:pt x="595853" y="1986570"/>
                  </a:cubicBezTo>
                  <a:cubicBezTo>
                    <a:pt x="595853" y="1986570"/>
                    <a:pt x="595853" y="1986570"/>
                    <a:pt x="558692" y="1968508"/>
                  </a:cubicBezTo>
                  <a:cubicBezTo>
                    <a:pt x="558692" y="1968508"/>
                    <a:pt x="558692" y="1968508"/>
                    <a:pt x="581243" y="1923193"/>
                  </a:cubicBezTo>
                  <a:cubicBezTo>
                    <a:pt x="581243" y="1923193"/>
                    <a:pt x="581243" y="1923193"/>
                    <a:pt x="577749" y="1920341"/>
                  </a:cubicBezTo>
                  <a:lnTo>
                    <a:pt x="548210" y="1972944"/>
                  </a:lnTo>
                  <a:cubicBezTo>
                    <a:pt x="548210" y="1972944"/>
                    <a:pt x="548210" y="1972944"/>
                    <a:pt x="636826" y="2023329"/>
                  </a:cubicBezTo>
                  <a:cubicBezTo>
                    <a:pt x="640637" y="2017942"/>
                    <a:pt x="647943" y="2008119"/>
                    <a:pt x="655248" y="1998295"/>
                  </a:cubicBezTo>
                  <a:cubicBezTo>
                    <a:pt x="660330" y="1990690"/>
                    <a:pt x="665729" y="1983402"/>
                    <a:pt x="669541" y="1977697"/>
                  </a:cubicBezTo>
                  <a:cubicBezTo>
                    <a:pt x="671446" y="1974846"/>
                    <a:pt x="673352" y="1972627"/>
                    <a:pt x="674305" y="1970726"/>
                  </a:cubicBezTo>
                  <a:cubicBezTo>
                    <a:pt x="674623" y="1970092"/>
                    <a:pt x="674940" y="1969775"/>
                    <a:pt x="675258" y="1969459"/>
                  </a:cubicBezTo>
                  <a:cubicBezTo>
                    <a:pt x="675258" y="1969459"/>
                    <a:pt x="675258" y="1969459"/>
                    <a:pt x="675893" y="1967874"/>
                  </a:cubicBezTo>
                  <a:cubicBezTo>
                    <a:pt x="676211" y="1966923"/>
                    <a:pt x="676846" y="1966923"/>
                    <a:pt x="676846" y="1966606"/>
                  </a:cubicBezTo>
                  <a:cubicBezTo>
                    <a:pt x="678116" y="1965973"/>
                    <a:pt x="679069" y="1965973"/>
                    <a:pt x="681610" y="1965656"/>
                  </a:cubicBezTo>
                  <a:cubicBezTo>
                    <a:pt x="695585" y="1963121"/>
                    <a:pt x="743546" y="1956466"/>
                    <a:pt x="750851" y="1955515"/>
                  </a:cubicBezTo>
                  <a:cubicBezTo>
                    <a:pt x="753392" y="1951713"/>
                    <a:pt x="763874" y="1935235"/>
                    <a:pt x="775308" y="1918756"/>
                  </a:cubicBezTo>
                  <a:cubicBezTo>
                    <a:pt x="775943" y="1917806"/>
                    <a:pt x="776578" y="1917172"/>
                    <a:pt x="777214" y="1916221"/>
                  </a:cubicBezTo>
                  <a:cubicBezTo>
                    <a:pt x="761650" y="1914320"/>
                    <a:pt x="678116" y="1905447"/>
                    <a:pt x="676211" y="1905447"/>
                  </a:cubicBezTo>
                  <a:cubicBezTo>
                    <a:pt x="673987" y="1905130"/>
                    <a:pt x="673670" y="1904496"/>
                    <a:pt x="671129" y="1902912"/>
                  </a:cubicBezTo>
                  <a:cubicBezTo>
                    <a:pt x="659377" y="1895941"/>
                    <a:pt x="624756" y="1871540"/>
                    <a:pt x="610781" y="1861717"/>
                  </a:cubicBezTo>
                  <a:close/>
                  <a:moveTo>
                    <a:pt x="1004629" y="1857597"/>
                  </a:moveTo>
                  <a:cubicBezTo>
                    <a:pt x="1004629" y="1857597"/>
                    <a:pt x="1004629" y="1857597"/>
                    <a:pt x="1000182" y="1866470"/>
                  </a:cubicBezTo>
                  <a:lnTo>
                    <a:pt x="1030356" y="1881681"/>
                  </a:lnTo>
                  <a:cubicBezTo>
                    <a:pt x="1030356" y="1881681"/>
                    <a:pt x="1030356" y="1881681"/>
                    <a:pt x="1035120" y="1872174"/>
                  </a:cubicBezTo>
                  <a:cubicBezTo>
                    <a:pt x="1035120" y="1872174"/>
                    <a:pt x="1035120" y="1872174"/>
                    <a:pt x="1004629" y="1857597"/>
                  </a:cubicBezTo>
                  <a:close/>
                  <a:moveTo>
                    <a:pt x="134671" y="1854428"/>
                  </a:moveTo>
                  <a:lnTo>
                    <a:pt x="117837" y="1884849"/>
                  </a:lnTo>
                  <a:cubicBezTo>
                    <a:pt x="117837" y="1884849"/>
                    <a:pt x="117837" y="1884849"/>
                    <a:pt x="130859" y="1892138"/>
                  </a:cubicBezTo>
                  <a:cubicBezTo>
                    <a:pt x="130859" y="1892138"/>
                    <a:pt x="130859" y="1892138"/>
                    <a:pt x="147375" y="1861717"/>
                  </a:cubicBezTo>
                  <a:cubicBezTo>
                    <a:pt x="147375" y="1861717"/>
                    <a:pt x="147375" y="1861717"/>
                    <a:pt x="134671" y="1854428"/>
                  </a:cubicBezTo>
                  <a:close/>
                  <a:moveTo>
                    <a:pt x="211217" y="1849675"/>
                  </a:moveTo>
                  <a:cubicBezTo>
                    <a:pt x="211217" y="1849675"/>
                    <a:pt x="211217" y="1849675"/>
                    <a:pt x="193112" y="1882631"/>
                  </a:cubicBezTo>
                  <a:cubicBezTo>
                    <a:pt x="193112" y="1882631"/>
                    <a:pt x="193112" y="1882631"/>
                    <a:pt x="299515" y="1943157"/>
                  </a:cubicBezTo>
                  <a:cubicBezTo>
                    <a:pt x="299515" y="1943157"/>
                    <a:pt x="299515" y="1943157"/>
                    <a:pt x="300468" y="1940939"/>
                  </a:cubicBezTo>
                  <a:cubicBezTo>
                    <a:pt x="300468" y="1940939"/>
                    <a:pt x="300468" y="1940939"/>
                    <a:pt x="334770" y="1920024"/>
                  </a:cubicBezTo>
                  <a:close/>
                  <a:moveTo>
                    <a:pt x="368756" y="1845872"/>
                  </a:moveTo>
                  <a:cubicBezTo>
                    <a:pt x="368756" y="1845872"/>
                    <a:pt x="368756" y="1845872"/>
                    <a:pt x="358274" y="1878512"/>
                  </a:cubicBezTo>
                  <a:cubicBezTo>
                    <a:pt x="358274" y="1878512"/>
                    <a:pt x="358274" y="1878512"/>
                    <a:pt x="463724" y="1938720"/>
                  </a:cubicBezTo>
                  <a:cubicBezTo>
                    <a:pt x="463724" y="1938720"/>
                    <a:pt x="463724" y="1938720"/>
                    <a:pt x="480558" y="1909567"/>
                  </a:cubicBezTo>
                  <a:close/>
                  <a:moveTo>
                    <a:pt x="524389" y="1840485"/>
                  </a:moveTo>
                  <a:cubicBezTo>
                    <a:pt x="524389" y="1840485"/>
                    <a:pt x="524389" y="1840485"/>
                    <a:pt x="507238" y="1870589"/>
                  </a:cubicBezTo>
                  <a:cubicBezTo>
                    <a:pt x="507238" y="1870589"/>
                    <a:pt x="507238" y="1870589"/>
                    <a:pt x="543446" y="1891187"/>
                  </a:cubicBezTo>
                  <a:cubicBezTo>
                    <a:pt x="543446" y="1891187"/>
                    <a:pt x="543446" y="1891187"/>
                    <a:pt x="560597" y="1861083"/>
                  </a:cubicBezTo>
                  <a:close/>
                  <a:moveTo>
                    <a:pt x="2432643" y="1828443"/>
                  </a:moveTo>
                  <a:cubicBezTo>
                    <a:pt x="2432643" y="1828443"/>
                    <a:pt x="2432643" y="1828443"/>
                    <a:pt x="2430102" y="1850942"/>
                  </a:cubicBezTo>
                  <a:cubicBezTo>
                    <a:pt x="2430102" y="1850942"/>
                    <a:pt x="2430102" y="1850942"/>
                    <a:pt x="2372613" y="1844605"/>
                  </a:cubicBezTo>
                  <a:cubicBezTo>
                    <a:pt x="2372613" y="1844605"/>
                    <a:pt x="2372613" y="1844605"/>
                    <a:pt x="2365943" y="1904813"/>
                  </a:cubicBezTo>
                  <a:lnTo>
                    <a:pt x="2392940" y="1907665"/>
                  </a:lnTo>
                  <a:cubicBezTo>
                    <a:pt x="2392940" y="1907665"/>
                    <a:pt x="2392940" y="1907665"/>
                    <a:pt x="2389446" y="1940305"/>
                  </a:cubicBezTo>
                  <a:cubicBezTo>
                    <a:pt x="2389446" y="1940305"/>
                    <a:pt x="2389446" y="1940305"/>
                    <a:pt x="2427878" y="1944741"/>
                  </a:cubicBezTo>
                  <a:cubicBezTo>
                    <a:pt x="2427878" y="1944741"/>
                    <a:pt x="2427878" y="1944741"/>
                    <a:pt x="2431690" y="1912736"/>
                  </a:cubicBezTo>
                  <a:cubicBezTo>
                    <a:pt x="2431690" y="1912736"/>
                    <a:pt x="2431690" y="1912736"/>
                    <a:pt x="2527928" y="1923510"/>
                  </a:cubicBezTo>
                  <a:cubicBezTo>
                    <a:pt x="2527928" y="1923510"/>
                    <a:pt x="2527928" y="1923510"/>
                    <a:pt x="2518400" y="2005267"/>
                  </a:cubicBezTo>
                  <a:cubicBezTo>
                    <a:pt x="2518400" y="2005267"/>
                    <a:pt x="2518400" y="2005267"/>
                    <a:pt x="2544762" y="2008436"/>
                  </a:cubicBezTo>
                  <a:cubicBezTo>
                    <a:pt x="2544762" y="2008436"/>
                    <a:pt x="2544762" y="2008436"/>
                    <a:pt x="2553973" y="1926045"/>
                  </a:cubicBezTo>
                  <a:cubicBezTo>
                    <a:pt x="2553973" y="1926045"/>
                    <a:pt x="2553973" y="1926045"/>
                    <a:pt x="2573666" y="1928263"/>
                  </a:cubicBezTo>
                  <a:cubicBezTo>
                    <a:pt x="2573666" y="1928263"/>
                    <a:pt x="2573666" y="1928263"/>
                    <a:pt x="2580336" y="1867737"/>
                  </a:cubicBezTo>
                  <a:cubicBezTo>
                    <a:pt x="2580336" y="1867737"/>
                    <a:pt x="2580336" y="1867737"/>
                    <a:pt x="2537774" y="1862984"/>
                  </a:cubicBezTo>
                  <a:cubicBezTo>
                    <a:pt x="2537774" y="1862984"/>
                    <a:pt x="2537774" y="1862984"/>
                    <a:pt x="2540316" y="1840485"/>
                  </a:cubicBezTo>
                  <a:cubicBezTo>
                    <a:pt x="2540316" y="1840485"/>
                    <a:pt x="2540316" y="1840485"/>
                    <a:pt x="2432643" y="1828443"/>
                  </a:cubicBezTo>
                  <a:close/>
                  <a:moveTo>
                    <a:pt x="171197" y="1826859"/>
                  </a:moveTo>
                  <a:cubicBezTo>
                    <a:pt x="171197" y="1826859"/>
                    <a:pt x="171197" y="1826859"/>
                    <a:pt x="153410" y="1859815"/>
                  </a:cubicBezTo>
                  <a:cubicBezTo>
                    <a:pt x="153410" y="1859815"/>
                    <a:pt x="153410" y="1859815"/>
                    <a:pt x="189619" y="1880413"/>
                  </a:cubicBezTo>
                  <a:cubicBezTo>
                    <a:pt x="189619" y="1880413"/>
                    <a:pt x="189619" y="1880413"/>
                    <a:pt x="207405" y="1847457"/>
                  </a:cubicBezTo>
                  <a:close/>
                  <a:moveTo>
                    <a:pt x="2428514" y="1823373"/>
                  </a:moveTo>
                  <a:cubicBezTo>
                    <a:pt x="2428514" y="1823373"/>
                    <a:pt x="2428514" y="1823373"/>
                    <a:pt x="2545715" y="1836365"/>
                  </a:cubicBezTo>
                  <a:cubicBezTo>
                    <a:pt x="2545715" y="1836365"/>
                    <a:pt x="2545715" y="1836365"/>
                    <a:pt x="2543174" y="1858865"/>
                  </a:cubicBezTo>
                  <a:cubicBezTo>
                    <a:pt x="2543174" y="1858865"/>
                    <a:pt x="2543174" y="1858865"/>
                    <a:pt x="2585735" y="1863618"/>
                  </a:cubicBezTo>
                  <a:cubicBezTo>
                    <a:pt x="2585735" y="1863618"/>
                    <a:pt x="2585735" y="1863618"/>
                    <a:pt x="2577794" y="1933333"/>
                  </a:cubicBezTo>
                  <a:cubicBezTo>
                    <a:pt x="2577794" y="1933333"/>
                    <a:pt x="2577794" y="1933333"/>
                    <a:pt x="2558102" y="1931115"/>
                  </a:cubicBezTo>
                  <a:cubicBezTo>
                    <a:pt x="2558102" y="1931115"/>
                    <a:pt x="2558102" y="1931115"/>
                    <a:pt x="2548891" y="2013506"/>
                  </a:cubicBezTo>
                  <a:cubicBezTo>
                    <a:pt x="2548891" y="2013506"/>
                    <a:pt x="2548891" y="2013506"/>
                    <a:pt x="2513318" y="2009386"/>
                  </a:cubicBezTo>
                  <a:cubicBezTo>
                    <a:pt x="2513318" y="2009386"/>
                    <a:pt x="2513318" y="2009386"/>
                    <a:pt x="2522529" y="1927629"/>
                  </a:cubicBezTo>
                  <a:cubicBezTo>
                    <a:pt x="2522529" y="1927629"/>
                    <a:pt x="2522529" y="1927629"/>
                    <a:pt x="2435819" y="1917806"/>
                  </a:cubicBezTo>
                  <a:cubicBezTo>
                    <a:pt x="2435819" y="1917806"/>
                    <a:pt x="2435819" y="1917806"/>
                    <a:pt x="2432008" y="1949811"/>
                  </a:cubicBezTo>
                  <a:cubicBezTo>
                    <a:pt x="2432008" y="1949811"/>
                    <a:pt x="2432008" y="1949811"/>
                    <a:pt x="2384047" y="1944424"/>
                  </a:cubicBezTo>
                  <a:lnTo>
                    <a:pt x="2387858" y="1911785"/>
                  </a:lnTo>
                  <a:cubicBezTo>
                    <a:pt x="2387858" y="1911785"/>
                    <a:pt x="2387858" y="1911785"/>
                    <a:pt x="2360861" y="1908933"/>
                  </a:cubicBezTo>
                  <a:cubicBezTo>
                    <a:pt x="2360861" y="1908933"/>
                    <a:pt x="2360861" y="1908933"/>
                    <a:pt x="2368484" y="1839218"/>
                  </a:cubicBezTo>
                  <a:cubicBezTo>
                    <a:pt x="2368484" y="1839218"/>
                    <a:pt x="2368484" y="1839218"/>
                    <a:pt x="2370707" y="1839534"/>
                  </a:cubicBezTo>
                  <a:cubicBezTo>
                    <a:pt x="2370707" y="1839534"/>
                    <a:pt x="2370707" y="1839534"/>
                    <a:pt x="2425973" y="1845872"/>
                  </a:cubicBezTo>
                  <a:cubicBezTo>
                    <a:pt x="2425973" y="1845872"/>
                    <a:pt x="2425973" y="1845872"/>
                    <a:pt x="2428514" y="1823373"/>
                  </a:cubicBezTo>
                  <a:close/>
                  <a:moveTo>
                    <a:pt x="587595" y="1822423"/>
                  </a:moveTo>
                  <a:cubicBezTo>
                    <a:pt x="587595" y="1822423"/>
                    <a:pt x="587595" y="1822423"/>
                    <a:pt x="566315" y="1859498"/>
                  </a:cubicBezTo>
                  <a:lnTo>
                    <a:pt x="582831" y="1868688"/>
                  </a:lnTo>
                  <a:cubicBezTo>
                    <a:pt x="582831" y="1868688"/>
                    <a:pt x="582831" y="1868688"/>
                    <a:pt x="603794" y="1831612"/>
                  </a:cubicBezTo>
                  <a:cubicBezTo>
                    <a:pt x="603794" y="1831612"/>
                    <a:pt x="603794" y="1831612"/>
                    <a:pt x="587595" y="1822423"/>
                  </a:cubicBezTo>
                  <a:close/>
                  <a:moveTo>
                    <a:pt x="1630973" y="1821472"/>
                  </a:moveTo>
                  <a:cubicBezTo>
                    <a:pt x="1630973" y="1821472"/>
                    <a:pt x="1630973" y="1821472"/>
                    <a:pt x="1625891" y="1851576"/>
                  </a:cubicBezTo>
                  <a:lnTo>
                    <a:pt x="1643678" y="1855379"/>
                  </a:lnTo>
                  <a:cubicBezTo>
                    <a:pt x="1643678" y="1855379"/>
                    <a:pt x="1643678" y="1855379"/>
                    <a:pt x="1639231" y="1877878"/>
                  </a:cubicBezTo>
                  <a:cubicBezTo>
                    <a:pt x="1639231" y="1877878"/>
                    <a:pt x="1639231" y="1877878"/>
                    <a:pt x="1665276" y="1882948"/>
                  </a:cubicBezTo>
                  <a:cubicBezTo>
                    <a:pt x="1665276" y="1882948"/>
                    <a:pt x="1665276" y="1882948"/>
                    <a:pt x="1675122" y="1833514"/>
                  </a:cubicBezTo>
                  <a:cubicBezTo>
                    <a:pt x="1675122" y="1833514"/>
                    <a:pt x="1675122" y="1833514"/>
                    <a:pt x="1658606" y="1830345"/>
                  </a:cubicBezTo>
                  <a:cubicBezTo>
                    <a:pt x="1658606" y="1830345"/>
                    <a:pt x="1658606" y="1830345"/>
                    <a:pt x="1659241" y="1827176"/>
                  </a:cubicBezTo>
                  <a:cubicBezTo>
                    <a:pt x="1659241" y="1827176"/>
                    <a:pt x="1659241" y="1827176"/>
                    <a:pt x="1630973" y="1821472"/>
                  </a:cubicBezTo>
                  <a:close/>
                  <a:moveTo>
                    <a:pt x="1024956" y="1819887"/>
                  </a:moveTo>
                  <a:cubicBezTo>
                    <a:pt x="1024956" y="1819887"/>
                    <a:pt x="1024956" y="1819887"/>
                    <a:pt x="1021780" y="1826225"/>
                  </a:cubicBezTo>
                  <a:cubicBezTo>
                    <a:pt x="1021780" y="1826225"/>
                    <a:pt x="1021780" y="1826225"/>
                    <a:pt x="1051636" y="1840802"/>
                  </a:cubicBezTo>
                  <a:cubicBezTo>
                    <a:pt x="1051636" y="1840802"/>
                    <a:pt x="1051636" y="1840802"/>
                    <a:pt x="1054812" y="1834781"/>
                  </a:cubicBezTo>
                  <a:cubicBezTo>
                    <a:pt x="1046554" y="1830662"/>
                    <a:pt x="1036390" y="1825591"/>
                    <a:pt x="1024956" y="1819887"/>
                  </a:cubicBezTo>
                  <a:close/>
                  <a:moveTo>
                    <a:pt x="154681" y="1817352"/>
                  </a:moveTo>
                  <a:lnTo>
                    <a:pt x="136576" y="1850625"/>
                  </a:lnTo>
                  <a:cubicBezTo>
                    <a:pt x="136576" y="1850625"/>
                    <a:pt x="136576" y="1850625"/>
                    <a:pt x="149599" y="1857914"/>
                  </a:cubicBezTo>
                  <a:cubicBezTo>
                    <a:pt x="149599" y="1857914"/>
                    <a:pt x="149599" y="1857914"/>
                    <a:pt x="167703" y="1824958"/>
                  </a:cubicBezTo>
                  <a:cubicBezTo>
                    <a:pt x="167703" y="1824958"/>
                    <a:pt x="167703" y="1824958"/>
                    <a:pt x="154681" y="1817352"/>
                  </a:cubicBezTo>
                  <a:close/>
                  <a:moveTo>
                    <a:pt x="1125006" y="1817035"/>
                  </a:moveTo>
                  <a:cubicBezTo>
                    <a:pt x="1125006" y="1817035"/>
                    <a:pt x="1125006" y="1817035"/>
                    <a:pt x="1114842" y="1838267"/>
                  </a:cubicBezTo>
                  <a:cubicBezTo>
                    <a:pt x="1114842" y="1838267"/>
                    <a:pt x="1114842" y="1838267"/>
                    <a:pt x="1181860" y="1855696"/>
                  </a:cubicBezTo>
                  <a:cubicBezTo>
                    <a:pt x="1181860" y="1855696"/>
                    <a:pt x="1181860" y="1855696"/>
                    <a:pt x="1184401" y="1846506"/>
                  </a:cubicBezTo>
                  <a:lnTo>
                    <a:pt x="1227279" y="1856330"/>
                  </a:lnTo>
                  <a:cubicBezTo>
                    <a:pt x="1227279" y="1856330"/>
                    <a:pt x="1227279" y="1856330"/>
                    <a:pt x="1225056" y="1839851"/>
                  </a:cubicBezTo>
                  <a:cubicBezTo>
                    <a:pt x="1225056" y="1839851"/>
                    <a:pt x="1225056" y="1839851"/>
                    <a:pt x="1125006" y="1817035"/>
                  </a:cubicBezTo>
                  <a:close/>
                  <a:moveTo>
                    <a:pt x="1627479" y="1816719"/>
                  </a:moveTo>
                  <a:cubicBezTo>
                    <a:pt x="1627479" y="1816719"/>
                    <a:pt x="1627479" y="1816719"/>
                    <a:pt x="1664323" y="1824007"/>
                  </a:cubicBezTo>
                  <a:cubicBezTo>
                    <a:pt x="1664323" y="1824007"/>
                    <a:pt x="1664323" y="1824007"/>
                    <a:pt x="1663688" y="1827176"/>
                  </a:cubicBezTo>
                  <a:cubicBezTo>
                    <a:pt x="1663688" y="1827176"/>
                    <a:pt x="1663688" y="1827176"/>
                    <a:pt x="1679886" y="1830345"/>
                  </a:cubicBezTo>
                  <a:cubicBezTo>
                    <a:pt x="1679886" y="1830345"/>
                    <a:pt x="1679886" y="1830345"/>
                    <a:pt x="1668452" y="1888018"/>
                  </a:cubicBezTo>
                  <a:cubicBezTo>
                    <a:pt x="1668452" y="1888018"/>
                    <a:pt x="1668452" y="1888018"/>
                    <a:pt x="1634149" y="1881364"/>
                  </a:cubicBezTo>
                  <a:lnTo>
                    <a:pt x="1638913" y="1858548"/>
                  </a:lnTo>
                  <a:cubicBezTo>
                    <a:pt x="1638913" y="1858548"/>
                    <a:pt x="1638913" y="1858548"/>
                    <a:pt x="1620809" y="1855062"/>
                  </a:cubicBezTo>
                  <a:cubicBezTo>
                    <a:pt x="1620809" y="1855062"/>
                    <a:pt x="1620809" y="1855062"/>
                    <a:pt x="1621444" y="1852844"/>
                  </a:cubicBezTo>
                  <a:cubicBezTo>
                    <a:pt x="1621444" y="1852844"/>
                    <a:pt x="1621444" y="1852844"/>
                    <a:pt x="1627479" y="1816719"/>
                  </a:cubicBezTo>
                  <a:close/>
                  <a:moveTo>
                    <a:pt x="1822815" y="1812599"/>
                  </a:moveTo>
                  <a:cubicBezTo>
                    <a:pt x="1822815" y="1812599"/>
                    <a:pt x="1822815" y="1812599"/>
                    <a:pt x="1800581" y="1832563"/>
                  </a:cubicBezTo>
                  <a:cubicBezTo>
                    <a:pt x="1800581" y="1832563"/>
                    <a:pt x="1800581" y="1832563"/>
                    <a:pt x="1830438" y="1865836"/>
                  </a:cubicBezTo>
                  <a:cubicBezTo>
                    <a:pt x="1830438" y="1865836"/>
                    <a:pt x="1830438" y="1865836"/>
                    <a:pt x="1863788" y="1836049"/>
                  </a:cubicBezTo>
                  <a:cubicBezTo>
                    <a:pt x="1863788" y="1836049"/>
                    <a:pt x="1863788" y="1836049"/>
                    <a:pt x="1845366" y="1815451"/>
                  </a:cubicBezTo>
                  <a:cubicBezTo>
                    <a:pt x="1845366" y="1815451"/>
                    <a:pt x="1845366" y="1815451"/>
                    <a:pt x="1822815" y="1812599"/>
                  </a:cubicBezTo>
                  <a:close/>
                  <a:moveTo>
                    <a:pt x="1122465" y="1811648"/>
                  </a:moveTo>
                  <a:cubicBezTo>
                    <a:pt x="1122465" y="1811648"/>
                    <a:pt x="1122465" y="1811648"/>
                    <a:pt x="1229185" y="1836049"/>
                  </a:cubicBezTo>
                  <a:lnTo>
                    <a:pt x="1229503" y="1837633"/>
                  </a:lnTo>
                  <a:cubicBezTo>
                    <a:pt x="1229503" y="1837633"/>
                    <a:pt x="1229503" y="1837633"/>
                    <a:pt x="1232997" y="1862350"/>
                  </a:cubicBezTo>
                  <a:cubicBezTo>
                    <a:pt x="1232997" y="1862350"/>
                    <a:pt x="1232997" y="1862350"/>
                    <a:pt x="1187577" y="1852210"/>
                  </a:cubicBezTo>
                  <a:cubicBezTo>
                    <a:pt x="1187577" y="1852210"/>
                    <a:pt x="1187577" y="1852210"/>
                    <a:pt x="1185354" y="1861400"/>
                  </a:cubicBezTo>
                  <a:cubicBezTo>
                    <a:pt x="1185354" y="1861400"/>
                    <a:pt x="1185354" y="1861400"/>
                    <a:pt x="1108172" y="1841119"/>
                  </a:cubicBezTo>
                  <a:cubicBezTo>
                    <a:pt x="1108172" y="1841119"/>
                    <a:pt x="1108172" y="1841119"/>
                    <a:pt x="1122465" y="1811648"/>
                  </a:cubicBezTo>
                  <a:close/>
                  <a:moveTo>
                    <a:pt x="231862" y="1811648"/>
                  </a:moveTo>
                  <a:cubicBezTo>
                    <a:pt x="231862" y="1811648"/>
                    <a:pt x="231862" y="1811648"/>
                    <a:pt x="213122" y="1845555"/>
                  </a:cubicBezTo>
                  <a:cubicBezTo>
                    <a:pt x="213122" y="1845555"/>
                    <a:pt x="213122" y="1845555"/>
                    <a:pt x="338900" y="1917172"/>
                  </a:cubicBezTo>
                  <a:cubicBezTo>
                    <a:pt x="338900" y="1917172"/>
                    <a:pt x="338900" y="1917172"/>
                    <a:pt x="341440" y="1915904"/>
                  </a:cubicBezTo>
                  <a:cubicBezTo>
                    <a:pt x="341440" y="1915904"/>
                    <a:pt x="341440" y="1915904"/>
                    <a:pt x="352875" y="1880730"/>
                  </a:cubicBezTo>
                  <a:close/>
                  <a:moveTo>
                    <a:pt x="2244930" y="1807529"/>
                  </a:moveTo>
                  <a:cubicBezTo>
                    <a:pt x="2244930" y="1807529"/>
                    <a:pt x="2244930" y="1807529"/>
                    <a:pt x="2232543" y="1930798"/>
                  </a:cubicBezTo>
                  <a:cubicBezTo>
                    <a:pt x="2232543" y="1930798"/>
                    <a:pt x="2232543" y="1930798"/>
                    <a:pt x="2275421" y="1935235"/>
                  </a:cubicBezTo>
                  <a:cubicBezTo>
                    <a:pt x="2275421" y="1935235"/>
                    <a:pt x="2275421" y="1935235"/>
                    <a:pt x="2269704" y="1983402"/>
                  </a:cubicBezTo>
                  <a:cubicBezTo>
                    <a:pt x="2269704" y="1983402"/>
                    <a:pt x="2269704" y="1983402"/>
                    <a:pt x="2267798" y="1983402"/>
                  </a:cubicBezTo>
                  <a:cubicBezTo>
                    <a:pt x="2267798" y="1983402"/>
                    <a:pt x="2267798" y="1983402"/>
                    <a:pt x="2227778" y="1978965"/>
                  </a:cubicBezTo>
                  <a:cubicBezTo>
                    <a:pt x="2227778" y="1978965"/>
                    <a:pt x="2227778" y="1978965"/>
                    <a:pt x="2226826" y="1986887"/>
                  </a:cubicBezTo>
                  <a:cubicBezTo>
                    <a:pt x="2226826" y="1986887"/>
                    <a:pt x="2226826" y="1986887"/>
                    <a:pt x="2276374" y="1992908"/>
                  </a:cubicBezTo>
                  <a:cubicBezTo>
                    <a:pt x="2277010" y="1989422"/>
                    <a:pt x="2278280" y="1978014"/>
                    <a:pt x="2279550" y="1963755"/>
                  </a:cubicBezTo>
                  <a:cubicBezTo>
                    <a:pt x="2284315" y="1915588"/>
                    <a:pt x="2291938" y="1827493"/>
                    <a:pt x="2293208" y="1812599"/>
                  </a:cubicBezTo>
                  <a:cubicBezTo>
                    <a:pt x="2293208" y="1812599"/>
                    <a:pt x="2293208" y="1812599"/>
                    <a:pt x="2244930" y="1807529"/>
                  </a:cubicBezTo>
                  <a:close/>
                  <a:moveTo>
                    <a:pt x="1486456" y="1806261"/>
                  </a:moveTo>
                  <a:cubicBezTo>
                    <a:pt x="1486456" y="1806261"/>
                    <a:pt x="1486456" y="1806261"/>
                    <a:pt x="1469623" y="1896891"/>
                  </a:cubicBezTo>
                  <a:cubicBezTo>
                    <a:pt x="1469623" y="1896891"/>
                    <a:pt x="1469623" y="1896891"/>
                    <a:pt x="1486774" y="1900377"/>
                  </a:cubicBezTo>
                  <a:cubicBezTo>
                    <a:pt x="1493762" y="1865519"/>
                    <a:pt x="1500432" y="1833514"/>
                    <a:pt x="1505831" y="1807846"/>
                  </a:cubicBezTo>
                  <a:cubicBezTo>
                    <a:pt x="1505831" y="1807846"/>
                    <a:pt x="1505831" y="1807846"/>
                    <a:pt x="1486456" y="1806261"/>
                  </a:cubicBezTo>
                  <a:close/>
                  <a:moveTo>
                    <a:pt x="384954" y="1805944"/>
                  </a:moveTo>
                  <a:cubicBezTo>
                    <a:pt x="384954" y="1805944"/>
                    <a:pt x="384954" y="1805944"/>
                    <a:pt x="380825" y="1808479"/>
                  </a:cubicBezTo>
                  <a:cubicBezTo>
                    <a:pt x="380825" y="1808479"/>
                    <a:pt x="380825" y="1808479"/>
                    <a:pt x="370026" y="1841753"/>
                  </a:cubicBezTo>
                  <a:cubicBezTo>
                    <a:pt x="370026" y="1841753"/>
                    <a:pt x="370026" y="1841753"/>
                    <a:pt x="482463" y="1905764"/>
                  </a:cubicBezTo>
                  <a:cubicBezTo>
                    <a:pt x="482463" y="1905764"/>
                    <a:pt x="482463" y="1905764"/>
                    <a:pt x="501520" y="1872174"/>
                  </a:cubicBezTo>
                  <a:close/>
                  <a:moveTo>
                    <a:pt x="1075140" y="1804043"/>
                  </a:moveTo>
                  <a:lnTo>
                    <a:pt x="1060529" y="1832563"/>
                  </a:lnTo>
                  <a:cubicBezTo>
                    <a:pt x="1062753" y="1833830"/>
                    <a:pt x="1064976" y="1834781"/>
                    <a:pt x="1066882" y="1835732"/>
                  </a:cubicBezTo>
                  <a:cubicBezTo>
                    <a:pt x="1071964" y="1825908"/>
                    <a:pt x="1076728" y="1816402"/>
                    <a:pt x="1081492" y="1807212"/>
                  </a:cubicBezTo>
                  <a:cubicBezTo>
                    <a:pt x="1079904" y="1806578"/>
                    <a:pt x="1077681" y="1805627"/>
                    <a:pt x="1075140" y="1804043"/>
                  </a:cubicBezTo>
                  <a:close/>
                  <a:moveTo>
                    <a:pt x="2198558" y="1802775"/>
                  </a:moveTo>
                  <a:cubicBezTo>
                    <a:pt x="2198558" y="1802775"/>
                    <a:pt x="2198558" y="1802775"/>
                    <a:pt x="2186488" y="1925728"/>
                  </a:cubicBezTo>
                  <a:cubicBezTo>
                    <a:pt x="2186488" y="1925728"/>
                    <a:pt x="2186488" y="1925728"/>
                    <a:pt x="2228096" y="1930164"/>
                  </a:cubicBezTo>
                  <a:lnTo>
                    <a:pt x="2240483" y="1807212"/>
                  </a:lnTo>
                  <a:cubicBezTo>
                    <a:pt x="2240483" y="1807212"/>
                    <a:pt x="2240483" y="1807212"/>
                    <a:pt x="2198558" y="1802775"/>
                  </a:cubicBezTo>
                  <a:close/>
                  <a:moveTo>
                    <a:pt x="1440402" y="1802142"/>
                  </a:moveTo>
                  <a:cubicBezTo>
                    <a:pt x="1440402" y="1802142"/>
                    <a:pt x="1440402" y="1802142"/>
                    <a:pt x="1424521" y="1888652"/>
                  </a:cubicBezTo>
                  <a:cubicBezTo>
                    <a:pt x="1424521" y="1888652"/>
                    <a:pt x="1424521" y="1888652"/>
                    <a:pt x="1465493" y="1896257"/>
                  </a:cubicBezTo>
                  <a:cubicBezTo>
                    <a:pt x="1465493" y="1896257"/>
                    <a:pt x="1465493" y="1896257"/>
                    <a:pt x="1482327" y="1805944"/>
                  </a:cubicBezTo>
                  <a:close/>
                  <a:moveTo>
                    <a:pt x="547575" y="1799607"/>
                  </a:moveTo>
                  <a:cubicBezTo>
                    <a:pt x="547575" y="1799607"/>
                    <a:pt x="547575" y="1799607"/>
                    <a:pt x="526612" y="1836682"/>
                  </a:cubicBezTo>
                  <a:cubicBezTo>
                    <a:pt x="526612" y="1836682"/>
                    <a:pt x="526612" y="1836682"/>
                    <a:pt x="562821" y="1857280"/>
                  </a:cubicBezTo>
                  <a:cubicBezTo>
                    <a:pt x="562821" y="1857280"/>
                    <a:pt x="562821" y="1857280"/>
                    <a:pt x="583784" y="1820204"/>
                  </a:cubicBezTo>
                  <a:close/>
                  <a:moveTo>
                    <a:pt x="1710695" y="1798656"/>
                  </a:moveTo>
                  <a:cubicBezTo>
                    <a:pt x="1710695" y="1798656"/>
                    <a:pt x="1710695" y="1798656"/>
                    <a:pt x="1697355" y="1911468"/>
                  </a:cubicBezTo>
                  <a:cubicBezTo>
                    <a:pt x="1697355" y="1911468"/>
                    <a:pt x="1697355" y="1911468"/>
                    <a:pt x="1871093" y="1943791"/>
                  </a:cubicBezTo>
                  <a:cubicBezTo>
                    <a:pt x="1871093" y="1943791"/>
                    <a:pt x="1871093" y="1943791"/>
                    <a:pt x="1891738" y="1821155"/>
                  </a:cubicBezTo>
                  <a:cubicBezTo>
                    <a:pt x="1891738" y="1821155"/>
                    <a:pt x="1891738" y="1821155"/>
                    <a:pt x="1851718" y="1816085"/>
                  </a:cubicBezTo>
                  <a:cubicBezTo>
                    <a:pt x="1851718" y="1816085"/>
                    <a:pt x="1851718" y="1816085"/>
                    <a:pt x="1869822" y="1836365"/>
                  </a:cubicBezTo>
                  <a:cubicBezTo>
                    <a:pt x="1869822" y="1836365"/>
                    <a:pt x="1869822" y="1836365"/>
                    <a:pt x="1830120" y="1871540"/>
                  </a:cubicBezTo>
                  <a:cubicBezTo>
                    <a:pt x="1830120" y="1871540"/>
                    <a:pt x="1830120" y="1871540"/>
                    <a:pt x="1794864" y="1832246"/>
                  </a:cubicBezTo>
                  <a:cubicBezTo>
                    <a:pt x="1794864" y="1832246"/>
                    <a:pt x="1794864" y="1832246"/>
                    <a:pt x="1817098" y="1812282"/>
                  </a:cubicBezTo>
                  <a:lnTo>
                    <a:pt x="1816780" y="1811648"/>
                  </a:lnTo>
                  <a:cubicBezTo>
                    <a:pt x="1816780" y="1811648"/>
                    <a:pt x="1816780" y="1811648"/>
                    <a:pt x="1710695" y="1798656"/>
                  </a:cubicBezTo>
                  <a:close/>
                  <a:moveTo>
                    <a:pt x="2149009" y="1797388"/>
                  </a:moveTo>
                  <a:cubicBezTo>
                    <a:pt x="2149009" y="1797388"/>
                    <a:pt x="2149009" y="1797388"/>
                    <a:pt x="2136622" y="1920658"/>
                  </a:cubicBezTo>
                  <a:cubicBezTo>
                    <a:pt x="2136622" y="1920658"/>
                    <a:pt x="2136622" y="1920658"/>
                    <a:pt x="2182042" y="1925411"/>
                  </a:cubicBezTo>
                  <a:lnTo>
                    <a:pt x="2194428" y="1802142"/>
                  </a:lnTo>
                  <a:cubicBezTo>
                    <a:pt x="2194428" y="1802142"/>
                    <a:pt x="2194428" y="1802142"/>
                    <a:pt x="2149009" y="1797388"/>
                  </a:cubicBezTo>
                  <a:close/>
                  <a:moveTo>
                    <a:pt x="1530288" y="1792635"/>
                  </a:moveTo>
                  <a:cubicBezTo>
                    <a:pt x="1525523" y="1814817"/>
                    <a:pt x="1519489" y="1843971"/>
                    <a:pt x="1512501" y="1877244"/>
                  </a:cubicBezTo>
                  <a:cubicBezTo>
                    <a:pt x="1512501" y="1877244"/>
                    <a:pt x="1512501" y="1877244"/>
                    <a:pt x="1692909" y="1910834"/>
                  </a:cubicBezTo>
                  <a:cubicBezTo>
                    <a:pt x="1692909" y="1910834"/>
                    <a:pt x="1692909" y="1910834"/>
                    <a:pt x="1706249" y="1798339"/>
                  </a:cubicBezTo>
                  <a:close/>
                  <a:moveTo>
                    <a:pt x="663506" y="1792635"/>
                  </a:moveTo>
                  <a:cubicBezTo>
                    <a:pt x="663506" y="1792635"/>
                    <a:pt x="663506" y="1792635"/>
                    <a:pt x="638414" y="1842703"/>
                  </a:cubicBezTo>
                  <a:cubicBezTo>
                    <a:pt x="638414" y="1842703"/>
                    <a:pt x="638414" y="1842703"/>
                    <a:pt x="668270" y="1857280"/>
                  </a:cubicBezTo>
                  <a:cubicBezTo>
                    <a:pt x="668270" y="1857280"/>
                    <a:pt x="668270" y="1857280"/>
                    <a:pt x="693680" y="1807529"/>
                  </a:cubicBezTo>
                  <a:cubicBezTo>
                    <a:pt x="693362" y="1807529"/>
                    <a:pt x="693362" y="1807212"/>
                    <a:pt x="693362" y="1807212"/>
                  </a:cubicBezTo>
                  <a:cubicBezTo>
                    <a:pt x="691139" y="1806578"/>
                    <a:pt x="688915" y="1805311"/>
                    <a:pt x="684469" y="1803409"/>
                  </a:cubicBezTo>
                  <a:cubicBezTo>
                    <a:pt x="678752" y="1800557"/>
                    <a:pt x="670811" y="1796438"/>
                    <a:pt x="663506" y="1792635"/>
                  </a:cubicBezTo>
                  <a:close/>
                  <a:moveTo>
                    <a:pt x="191842" y="1789149"/>
                  </a:moveTo>
                  <a:cubicBezTo>
                    <a:pt x="191842" y="1789149"/>
                    <a:pt x="191842" y="1789149"/>
                    <a:pt x="173420" y="1823056"/>
                  </a:cubicBezTo>
                  <a:cubicBezTo>
                    <a:pt x="173420" y="1823056"/>
                    <a:pt x="173420" y="1823056"/>
                    <a:pt x="209629" y="1843654"/>
                  </a:cubicBezTo>
                  <a:cubicBezTo>
                    <a:pt x="209629" y="1843654"/>
                    <a:pt x="209629" y="1843654"/>
                    <a:pt x="228051" y="1809747"/>
                  </a:cubicBezTo>
                  <a:close/>
                  <a:moveTo>
                    <a:pt x="606970" y="1788516"/>
                  </a:moveTo>
                  <a:cubicBezTo>
                    <a:pt x="606970" y="1788516"/>
                    <a:pt x="606970" y="1788516"/>
                    <a:pt x="589818" y="1818620"/>
                  </a:cubicBezTo>
                  <a:lnTo>
                    <a:pt x="606017" y="1827810"/>
                  </a:lnTo>
                  <a:cubicBezTo>
                    <a:pt x="606017" y="1827810"/>
                    <a:pt x="606017" y="1827810"/>
                    <a:pt x="622851" y="1797388"/>
                  </a:cubicBezTo>
                  <a:cubicBezTo>
                    <a:pt x="622851" y="1797388"/>
                    <a:pt x="622851" y="1797388"/>
                    <a:pt x="606970" y="1788516"/>
                  </a:cubicBezTo>
                  <a:close/>
                  <a:moveTo>
                    <a:pt x="1276828" y="1787565"/>
                  </a:moveTo>
                  <a:cubicBezTo>
                    <a:pt x="1276828" y="1787565"/>
                    <a:pt x="1276828" y="1787565"/>
                    <a:pt x="1267935" y="1901011"/>
                  </a:cubicBezTo>
                  <a:cubicBezTo>
                    <a:pt x="1267935" y="1901011"/>
                    <a:pt x="1267935" y="1901011"/>
                    <a:pt x="1234585" y="1960586"/>
                  </a:cubicBezTo>
                  <a:cubicBezTo>
                    <a:pt x="1234585" y="1960586"/>
                    <a:pt x="1234585" y="1960586"/>
                    <a:pt x="1348292" y="1996711"/>
                  </a:cubicBezTo>
                  <a:cubicBezTo>
                    <a:pt x="1348292" y="1996711"/>
                    <a:pt x="1348292" y="1996711"/>
                    <a:pt x="1399111" y="2004316"/>
                  </a:cubicBezTo>
                  <a:cubicBezTo>
                    <a:pt x="1399111" y="2004316"/>
                    <a:pt x="1399111" y="2004316"/>
                    <a:pt x="1419756" y="1892138"/>
                  </a:cubicBezTo>
                  <a:cubicBezTo>
                    <a:pt x="1419756" y="1892138"/>
                    <a:pt x="1419756" y="1892138"/>
                    <a:pt x="1271111" y="1864569"/>
                  </a:cubicBezTo>
                  <a:cubicBezTo>
                    <a:pt x="1271111" y="1864569"/>
                    <a:pt x="1271111" y="1864569"/>
                    <a:pt x="1271746" y="1860132"/>
                  </a:cubicBezTo>
                  <a:cubicBezTo>
                    <a:pt x="1271746" y="1860132"/>
                    <a:pt x="1271746" y="1860132"/>
                    <a:pt x="1420392" y="1888018"/>
                  </a:cubicBezTo>
                  <a:lnTo>
                    <a:pt x="1436273" y="1801825"/>
                  </a:lnTo>
                  <a:cubicBezTo>
                    <a:pt x="1436273" y="1801825"/>
                    <a:pt x="1436273" y="1801825"/>
                    <a:pt x="1276828" y="1787565"/>
                  </a:cubicBezTo>
                  <a:close/>
                  <a:moveTo>
                    <a:pt x="2054041" y="1787248"/>
                  </a:moveTo>
                  <a:cubicBezTo>
                    <a:pt x="2054041" y="1787248"/>
                    <a:pt x="2054041" y="1787248"/>
                    <a:pt x="2041972" y="1910517"/>
                  </a:cubicBezTo>
                  <a:cubicBezTo>
                    <a:pt x="2041972" y="1910517"/>
                    <a:pt x="2041972" y="1910517"/>
                    <a:pt x="2083580" y="1914954"/>
                  </a:cubicBezTo>
                  <a:cubicBezTo>
                    <a:pt x="2083580" y="1914954"/>
                    <a:pt x="2083580" y="1914954"/>
                    <a:pt x="2095649" y="1792952"/>
                  </a:cubicBezTo>
                  <a:cubicBezTo>
                    <a:pt x="2095649" y="1792952"/>
                    <a:pt x="2095649" y="1792952"/>
                    <a:pt x="2100096" y="1793269"/>
                  </a:cubicBezTo>
                  <a:cubicBezTo>
                    <a:pt x="2100096" y="1793269"/>
                    <a:pt x="2100096" y="1793269"/>
                    <a:pt x="2088026" y="1915271"/>
                  </a:cubicBezTo>
                  <a:cubicBezTo>
                    <a:pt x="2088026" y="1915271"/>
                    <a:pt x="2088026" y="1915271"/>
                    <a:pt x="2132493" y="1920024"/>
                  </a:cubicBezTo>
                  <a:lnTo>
                    <a:pt x="2144562" y="1796755"/>
                  </a:lnTo>
                  <a:cubicBezTo>
                    <a:pt x="2144562" y="1796755"/>
                    <a:pt x="2144562" y="1796755"/>
                    <a:pt x="2054041" y="1787248"/>
                  </a:cubicBezTo>
                  <a:close/>
                  <a:moveTo>
                    <a:pt x="1041790" y="1786614"/>
                  </a:moveTo>
                  <a:cubicBezTo>
                    <a:pt x="1041790" y="1786614"/>
                    <a:pt x="1041790" y="1786614"/>
                    <a:pt x="1027180" y="1816085"/>
                  </a:cubicBezTo>
                  <a:cubicBezTo>
                    <a:pt x="1038296" y="1821472"/>
                    <a:pt x="1048778" y="1826859"/>
                    <a:pt x="1056718" y="1830662"/>
                  </a:cubicBezTo>
                  <a:cubicBezTo>
                    <a:pt x="1056718" y="1830662"/>
                    <a:pt x="1056718" y="1830662"/>
                    <a:pt x="1071329" y="1802142"/>
                  </a:cubicBezTo>
                  <a:cubicBezTo>
                    <a:pt x="1063706" y="1798339"/>
                    <a:pt x="1053224" y="1792635"/>
                    <a:pt x="1041790" y="1786614"/>
                  </a:cubicBezTo>
                  <a:close/>
                  <a:moveTo>
                    <a:pt x="652707" y="1786614"/>
                  </a:moveTo>
                  <a:cubicBezTo>
                    <a:pt x="652707" y="1786614"/>
                    <a:pt x="652707" y="1786614"/>
                    <a:pt x="613005" y="1857914"/>
                  </a:cubicBezTo>
                  <a:cubicBezTo>
                    <a:pt x="619357" y="1862350"/>
                    <a:pt x="630156" y="1869956"/>
                    <a:pt x="641273" y="1877561"/>
                  </a:cubicBezTo>
                  <a:cubicBezTo>
                    <a:pt x="649848" y="1883582"/>
                    <a:pt x="658424" y="1889603"/>
                    <a:pt x="665094" y="1894039"/>
                  </a:cubicBezTo>
                  <a:cubicBezTo>
                    <a:pt x="668588" y="1896257"/>
                    <a:pt x="671446" y="1898159"/>
                    <a:pt x="673352" y="1899426"/>
                  </a:cubicBezTo>
                  <a:cubicBezTo>
                    <a:pt x="674623" y="1900060"/>
                    <a:pt x="675258" y="1900377"/>
                    <a:pt x="675893" y="1900694"/>
                  </a:cubicBezTo>
                  <a:cubicBezTo>
                    <a:pt x="676211" y="1901011"/>
                    <a:pt x="676211" y="1901011"/>
                    <a:pt x="676528" y="1901011"/>
                  </a:cubicBezTo>
                  <a:cubicBezTo>
                    <a:pt x="683516" y="1901644"/>
                    <a:pt x="770861" y="1910834"/>
                    <a:pt x="779754" y="1912102"/>
                  </a:cubicBezTo>
                  <a:cubicBezTo>
                    <a:pt x="784836" y="1905130"/>
                    <a:pt x="789601" y="1898476"/>
                    <a:pt x="793730" y="1893089"/>
                  </a:cubicBezTo>
                  <a:cubicBezTo>
                    <a:pt x="796588" y="1889603"/>
                    <a:pt x="798812" y="1886434"/>
                    <a:pt x="800717" y="1884532"/>
                  </a:cubicBezTo>
                  <a:cubicBezTo>
                    <a:pt x="801988" y="1883265"/>
                    <a:pt x="802623" y="1882631"/>
                    <a:pt x="803258" y="1881681"/>
                  </a:cubicBezTo>
                  <a:cubicBezTo>
                    <a:pt x="803258" y="1881681"/>
                    <a:pt x="803258" y="1881681"/>
                    <a:pt x="787060" y="1853478"/>
                  </a:cubicBezTo>
                  <a:cubicBezTo>
                    <a:pt x="783884" y="1852527"/>
                    <a:pt x="766414" y="1849358"/>
                    <a:pt x="750216" y="1846823"/>
                  </a:cubicBezTo>
                  <a:cubicBezTo>
                    <a:pt x="732747" y="1844288"/>
                    <a:pt x="716231" y="1841753"/>
                    <a:pt x="716231" y="1841753"/>
                  </a:cubicBezTo>
                  <a:cubicBezTo>
                    <a:pt x="716231" y="1841753"/>
                    <a:pt x="716231" y="1841753"/>
                    <a:pt x="714960" y="1841753"/>
                  </a:cubicBezTo>
                  <a:cubicBezTo>
                    <a:pt x="714960" y="1841753"/>
                    <a:pt x="714960" y="1841753"/>
                    <a:pt x="714643" y="1840802"/>
                  </a:cubicBezTo>
                  <a:cubicBezTo>
                    <a:pt x="714325" y="1840802"/>
                    <a:pt x="709561" y="1832246"/>
                    <a:pt x="704479" y="1823373"/>
                  </a:cubicBezTo>
                  <a:cubicBezTo>
                    <a:pt x="701620" y="1819254"/>
                    <a:pt x="699079" y="1814817"/>
                    <a:pt x="696856" y="1811648"/>
                  </a:cubicBezTo>
                  <a:cubicBezTo>
                    <a:pt x="696538" y="1811331"/>
                    <a:pt x="696538" y="1811331"/>
                    <a:pt x="696538" y="1811331"/>
                  </a:cubicBezTo>
                  <a:cubicBezTo>
                    <a:pt x="696538" y="1811331"/>
                    <a:pt x="696538" y="1811331"/>
                    <a:pt x="670176" y="1862667"/>
                  </a:cubicBezTo>
                  <a:cubicBezTo>
                    <a:pt x="670176" y="1862667"/>
                    <a:pt x="670176" y="1862667"/>
                    <a:pt x="633015" y="1844605"/>
                  </a:cubicBezTo>
                  <a:lnTo>
                    <a:pt x="660012" y="1790417"/>
                  </a:lnTo>
                  <a:cubicBezTo>
                    <a:pt x="657154" y="1789149"/>
                    <a:pt x="654930" y="1787882"/>
                    <a:pt x="652707" y="1786614"/>
                  </a:cubicBezTo>
                  <a:close/>
                  <a:moveTo>
                    <a:pt x="424339" y="1783445"/>
                  </a:moveTo>
                  <a:cubicBezTo>
                    <a:pt x="424339" y="1783445"/>
                    <a:pt x="424339" y="1783445"/>
                    <a:pt x="389401" y="1803409"/>
                  </a:cubicBezTo>
                  <a:cubicBezTo>
                    <a:pt x="389401" y="1803409"/>
                    <a:pt x="389401" y="1803409"/>
                    <a:pt x="503744" y="1868371"/>
                  </a:cubicBezTo>
                  <a:cubicBezTo>
                    <a:pt x="503744" y="1868371"/>
                    <a:pt x="503744" y="1868371"/>
                    <a:pt x="520895" y="1838584"/>
                  </a:cubicBezTo>
                  <a:close/>
                  <a:moveTo>
                    <a:pt x="175326" y="1779643"/>
                  </a:moveTo>
                  <a:lnTo>
                    <a:pt x="156904" y="1813550"/>
                  </a:lnTo>
                  <a:cubicBezTo>
                    <a:pt x="156904" y="1813550"/>
                    <a:pt x="156904" y="1813550"/>
                    <a:pt x="169926" y="1820838"/>
                  </a:cubicBezTo>
                  <a:cubicBezTo>
                    <a:pt x="169926" y="1820838"/>
                    <a:pt x="169926" y="1820838"/>
                    <a:pt x="188348" y="1786931"/>
                  </a:cubicBezTo>
                  <a:cubicBezTo>
                    <a:pt x="188348" y="1786931"/>
                    <a:pt x="188348" y="1786931"/>
                    <a:pt x="175326" y="1779643"/>
                  </a:cubicBezTo>
                  <a:close/>
                  <a:moveTo>
                    <a:pt x="249966" y="1778375"/>
                  </a:moveTo>
                  <a:cubicBezTo>
                    <a:pt x="249966" y="1778375"/>
                    <a:pt x="249966" y="1778375"/>
                    <a:pt x="233768" y="1807846"/>
                  </a:cubicBezTo>
                  <a:cubicBezTo>
                    <a:pt x="233768" y="1807846"/>
                    <a:pt x="233768" y="1807846"/>
                    <a:pt x="354145" y="1876293"/>
                  </a:cubicBezTo>
                  <a:cubicBezTo>
                    <a:pt x="354145" y="1876293"/>
                    <a:pt x="354145" y="1876293"/>
                    <a:pt x="364627" y="1843654"/>
                  </a:cubicBezTo>
                  <a:close/>
                  <a:moveTo>
                    <a:pt x="1920641" y="1773305"/>
                  </a:moveTo>
                  <a:cubicBezTo>
                    <a:pt x="1920641" y="1773305"/>
                    <a:pt x="1920641" y="1773305"/>
                    <a:pt x="1891738" y="1946959"/>
                  </a:cubicBezTo>
                  <a:cubicBezTo>
                    <a:pt x="1891738" y="1946959"/>
                    <a:pt x="1891738" y="1946959"/>
                    <a:pt x="1938745" y="1952663"/>
                  </a:cubicBezTo>
                  <a:cubicBezTo>
                    <a:pt x="1938745" y="1952663"/>
                    <a:pt x="1938745" y="1952663"/>
                    <a:pt x="1939063" y="1948227"/>
                  </a:cubicBezTo>
                  <a:cubicBezTo>
                    <a:pt x="1939063" y="1948227"/>
                    <a:pt x="1939063" y="1948227"/>
                    <a:pt x="1898408" y="1943791"/>
                  </a:cubicBezTo>
                  <a:cubicBezTo>
                    <a:pt x="1898408" y="1943791"/>
                    <a:pt x="1898408" y="1943791"/>
                    <a:pt x="1903807" y="1895624"/>
                  </a:cubicBezTo>
                  <a:cubicBezTo>
                    <a:pt x="1903807" y="1895624"/>
                    <a:pt x="1903807" y="1895624"/>
                    <a:pt x="1943827" y="1899743"/>
                  </a:cubicBezTo>
                  <a:cubicBezTo>
                    <a:pt x="1943827" y="1899743"/>
                    <a:pt x="1943827" y="1899743"/>
                    <a:pt x="1955897" y="1778375"/>
                  </a:cubicBezTo>
                  <a:cubicBezTo>
                    <a:pt x="1955897" y="1778375"/>
                    <a:pt x="1955897" y="1778375"/>
                    <a:pt x="1960344" y="1778692"/>
                  </a:cubicBezTo>
                  <a:cubicBezTo>
                    <a:pt x="1960344" y="1778692"/>
                    <a:pt x="1960344" y="1778692"/>
                    <a:pt x="1948274" y="1900377"/>
                  </a:cubicBezTo>
                  <a:cubicBezTo>
                    <a:pt x="1948274" y="1900377"/>
                    <a:pt x="1948274" y="1900377"/>
                    <a:pt x="1991788" y="1905130"/>
                  </a:cubicBezTo>
                  <a:cubicBezTo>
                    <a:pt x="1991788" y="1905130"/>
                    <a:pt x="1991788" y="1905130"/>
                    <a:pt x="2003857" y="1782178"/>
                  </a:cubicBezTo>
                  <a:lnTo>
                    <a:pt x="2006173" y="1782343"/>
                  </a:lnTo>
                  <a:lnTo>
                    <a:pt x="2008297" y="1782567"/>
                  </a:lnTo>
                  <a:lnTo>
                    <a:pt x="2008111" y="1784416"/>
                  </a:lnTo>
                  <a:cubicBezTo>
                    <a:pt x="2007530" y="1790179"/>
                    <a:pt x="2005207" y="1813233"/>
                    <a:pt x="1995917" y="1905447"/>
                  </a:cubicBezTo>
                  <a:cubicBezTo>
                    <a:pt x="1995917" y="1905447"/>
                    <a:pt x="1995917" y="1905447"/>
                    <a:pt x="2037525" y="1909884"/>
                  </a:cubicBezTo>
                  <a:lnTo>
                    <a:pt x="2049594" y="1786931"/>
                  </a:lnTo>
                  <a:cubicBezTo>
                    <a:pt x="2049594" y="1786931"/>
                    <a:pt x="2049594" y="1786931"/>
                    <a:pt x="2018111" y="1783604"/>
                  </a:cubicBezTo>
                  <a:lnTo>
                    <a:pt x="2008297" y="1782567"/>
                  </a:lnTo>
                  <a:lnTo>
                    <a:pt x="2008304" y="1782495"/>
                  </a:lnTo>
                  <a:lnTo>
                    <a:pt x="2006173" y="1782343"/>
                  </a:lnTo>
                  <a:lnTo>
                    <a:pt x="1995192" y="1781183"/>
                  </a:lnTo>
                  <a:cubicBezTo>
                    <a:pt x="1977058" y="1779266"/>
                    <a:pt x="1952879" y="1776711"/>
                    <a:pt x="1920641" y="1773305"/>
                  </a:cubicBezTo>
                  <a:close/>
                  <a:moveTo>
                    <a:pt x="566950" y="1765700"/>
                  </a:moveTo>
                  <a:cubicBezTo>
                    <a:pt x="566950" y="1765700"/>
                    <a:pt x="566950" y="1765700"/>
                    <a:pt x="549798" y="1795804"/>
                  </a:cubicBezTo>
                  <a:cubicBezTo>
                    <a:pt x="549798" y="1795804"/>
                    <a:pt x="549798" y="1795804"/>
                    <a:pt x="586007" y="1816402"/>
                  </a:cubicBezTo>
                  <a:cubicBezTo>
                    <a:pt x="586007" y="1816402"/>
                    <a:pt x="586007" y="1816402"/>
                    <a:pt x="603158" y="1786297"/>
                  </a:cubicBezTo>
                  <a:close/>
                  <a:moveTo>
                    <a:pt x="914107" y="1764432"/>
                  </a:moveTo>
                  <a:cubicBezTo>
                    <a:pt x="914107" y="1764432"/>
                    <a:pt x="914107" y="1764432"/>
                    <a:pt x="844549" y="1895624"/>
                  </a:cubicBezTo>
                  <a:cubicBezTo>
                    <a:pt x="844549" y="1895624"/>
                    <a:pt x="844549" y="1895624"/>
                    <a:pt x="917283" y="1925094"/>
                  </a:cubicBezTo>
                  <a:cubicBezTo>
                    <a:pt x="917283" y="1925094"/>
                    <a:pt x="917283" y="1925094"/>
                    <a:pt x="949045" y="1915904"/>
                  </a:cubicBezTo>
                  <a:cubicBezTo>
                    <a:pt x="949045" y="1915904"/>
                    <a:pt x="949045" y="1915904"/>
                    <a:pt x="966832" y="1923827"/>
                  </a:cubicBezTo>
                  <a:cubicBezTo>
                    <a:pt x="966832" y="1923827"/>
                    <a:pt x="966832" y="1923827"/>
                    <a:pt x="994465" y="1868688"/>
                  </a:cubicBezTo>
                  <a:cubicBezTo>
                    <a:pt x="994465" y="1868688"/>
                    <a:pt x="994465" y="1868688"/>
                    <a:pt x="973184" y="1857914"/>
                  </a:cubicBezTo>
                  <a:cubicBezTo>
                    <a:pt x="973184" y="1857914"/>
                    <a:pt x="973184" y="1857914"/>
                    <a:pt x="959209" y="1865519"/>
                  </a:cubicBezTo>
                  <a:cubicBezTo>
                    <a:pt x="959209" y="1865519"/>
                    <a:pt x="959209" y="1865519"/>
                    <a:pt x="881392" y="1826542"/>
                  </a:cubicBezTo>
                  <a:cubicBezTo>
                    <a:pt x="881392" y="1826542"/>
                    <a:pt x="881392" y="1826542"/>
                    <a:pt x="883298" y="1822739"/>
                  </a:cubicBezTo>
                  <a:cubicBezTo>
                    <a:pt x="883298" y="1822739"/>
                    <a:pt x="883298" y="1822739"/>
                    <a:pt x="959209" y="1860449"/>
                  </a:cubicBezTo>
                  <a:cubicBezTo>
                    <a:pt x="959209" y="1860449"/>
                    <a:pt x="959209" y="1860449"/>
                    <a:pt x="973184" y="1853161"/>
                  </a:cubicBezTo>
                  <a:cubicBezTo>
                    <a:pt x="973184" y="1853161"/>
                    <a:pt x="973184" y="1853161"/>
                    <a:pt x="996371" y="1864569"/>
                  </a:cubicBezTo>
                  <a:cubicBezTo>
                    <a:pt x="996371" y="1864569"/>
                    <a:pt x="996371" y="1864569"/>
                    <a:pt x="1002723" y="1851893"/>
                  </a:cubicBezTo>
                  <a:cubicBezTo>
                    <a:pt x="1002723" y="1851893"/>
                    <a:pt x="1002723" y="1851893"/>
                    <a:pt x="1040837" y="1870272"/>
                  </a:cubicBezTo>
                  <a:cubicBezTo>
                    <a:pt x="1040837" y="1870272"/>
                    <a:pt x="1040837" y="1870272"/>
                    <a:pt x="1039884" y="1872174"/>
                  </a:cubicBezTo>
                  <a:cubicBezTo>
                    <a:pt x="1039884" y="1872174"/>
                    <a:pt x="1039884" y="1872174"/>
                    <a:pt x="1034167" y="1883582"/>
                  </a:cubicBezTo>
                  <a:cubicBezTo>
                    <a:pt x="1034167" y="1883582"/>
                    <a:pt x="1034167" y="1883582"/>
                    <a:pt x="1040837" y="1886751"/>
                  </a:cubicBezTo>
                  <a:cubicBezTo>
                    <a:pt x="1049095" y="1870589"/>
                    <a:pt x="1057036" y="1854745"/>
                    <a:pt x="1064976" y="1839534"/>
                  </a:cubicBezTo>
                  <a:cubicBezTo>
                    <a:pt x="1063070" y="1838901"/>
                    <a:pt x="1060847" y="1837633"/>
                    <a:pt x="1058624" y="1836365"/>
                  </a:cubicBezTo>
                  <a:cubicBezTo>
                    <a:pt x="1058624" y="1836365"/>
                    <a:pt x="1058624" y="1836365"/>
                    <a:pt x="1053542" y="1846189"/>
                  </a:cubicBezTo>
                  <a:cubicBezTo>
                    <a:pt x="1053542" y="1846189"/>
                    <a:pt x="1053542" y="1846189"/>
                    <a:pt x="1016380" y="1828126"/>
                  </a:cubicBezTo>
                  <a:cubicBezTo>
                    <a:pt x="1016380" y="1828126"/>
                    <a:pt x="1016380" y="1828126"/>
                    <a:pt x="1021462" y="1817986"/>
                  </a:cubicBezTo>
                  <a:cubicBezTo>
                    <a:pt x="977949" y="1796438"/>
                    <a:pt x="922048" y="1768552"/>
                    <a:pt x="914107" y="1764432"/>
                  </a:cubicBezTo>
                  <a:close/>
                  <a:moveTo>
                    <a:pt x="1274605" y="1760629"/>
                  </a:moveTo>
                  <a:cubicBezTo>
                    <a:pt x="1269205" y="1761263"/>
                    <a:pt x="1255865" y="1763164"/>
                    <a:pt x="1242207" y="1764749"/>
                  </a:cubicBezTo>
                  <a:cubicBezTo>
                    <a:pt x="1227915" y="1766333"/>
                    <a:pt x="1213622" y="1768235"/>
                    <a:pt x="1209175" y="1768868"/>
                  </a:cubicBezTo>
                  <a:cubicBezTo>
                    <a:pt x="1209175" y="1768868"/>
                    <a:pt x="1209175" y="1768868"/>
                    <a:pt x="1199647" y="1794536"/>
                  </a:cubicBezTo>
                  <a:cubicBezTo>
                    <a:pt x="1199647" y="1794536"/>
                    <a:pt x="1199647" y="1794536"/>
                    <a:pt x="1197741" y="1794219"/>
                  </a:cubicBezTo>
                  <a:cubicBezTo>
                    <a:pt x="1197741" y="1794219"/>
                    <a:pt x="1177731" y="1789149"/>
                    <a:pt x="1157403" y="1784396"/>
                  </a:cubicBezTo>
                  <a:cubicBezTo>
                    <a:pt x="1143428" y="1780910"/>
                    <a:pt x="1128818" y="1777424"/>
                    <a:pt x="1120877" y="1775840"/>
                  </a:cubicBezTo>
                  <a:cubicBezTo>
                    <a:pt x="1111666" y="1794219"/>
                    <a:pt x="1098326" y="1819887"/>
                    <a:pt x="1083716" y="1848724"/>
                  </a:cubicBezTo>
                  <a:cubicBezTo>
                    <a:pt x="1083716" y="1848724"/>
                    <a:pt x="1083716" y="1848724"/>
                    <a:pt x="1262535" y="1898159"/>
                  </a:cubicBezTo>
                  <a:cubicBezTo>
                    <a:pt x="1262535" y="1898159"/>
                    <a:pt x="1262535" y="1898159"/>
                    <a:pt x="1261265" y="1902595"/>
                  </a:cubicBezTo>
                  <a:cubicBezTo>
                    <a:pt x="1261265" y="1902595"/>
                    <a:pt x="1261265" y="1902595"/>
                    <a:pt x="1081492" y="1852844"/>
                  </a:cubicBezTo>
                  <a:cubicBezTo>
                    <a:pt x="1071329" y="1873125"/>
                    <a:pt x="1060212" y="1894673"/>
                    <a:pt x="1049095" y="1916538"/>
                  </a:cubicBezTo>
                  <a:cubicBezTo>
                    <a:pt x="1041155" y="1932066"/>
                    <a:pt x="1033214" y="1947910"/>
                    <a:pt x="1025591" y="1963121"/>
                  </a:cubicBezTo>
                  <a:cubicBezTo>
                    <a:pt x="1025591" y="1963121"/>
                    <a:pt x="1025591" y="1963121"/>
                    <a:pt x="1215845" y="2038540"/>
                  </a:cubicBezTo>
                  <a:cubicBezTo>
                    <a:pt x="1215845" y="2038540"/>
                    <a:pt x="1215845" y="2038540"/>
                    <a:pt x="1214257" y="2042660"/>
                  </a:cubicBezTo>
                  <a:cubicBezTo>
                    <a:pt x="1214257" y="2042660"/>
                    <a:pt x="1214257" y="2042660"/>
                    <a:pt x="1023686" y="1966923"/>
                  </a:cubicBezTo>
                  <a:cubicBezTo>
                    <a:pt x="1010663" y="1992591"/>
                    <a:pt x="998594" y="2016675"/>
                    <a:pt x="988430" y="2037273"/>
                  </a:cubicBezTo>
                  <a:cubicBezTo>
                    <a:pt x="983666" y="2047096"/>
                    <a:pt x="979219" y="2055969"/>
                    <a:pt x="975408" y="2063891"/>
                  </a:cubicBezTo>
                  <a:lnTo>
                    <a:pt x="1126277" y="2136775"/>
                  </a:lnTo>
                  <a:cubicBezTo>
                    <a:pt x="1126277" y="2136775"/>
                    <a:pt x="1126277" y="2136775"/>
                    <a:pt x="1204093" y="2068961"/>
                  </a:cubicBezTo>
                  <a:cubicBezTo>
                    <a:pt x="1204093" y="2068961"/>
                    <a:pt x="1204093" y="2068961"/>
                    <a:pt x="1227597" y="2011604"/>
                  </a:cubicBezTo>
                  <a:cubicBezTo>
                    <a:pt x="1227279" y="2011288"/>
                    <a:pt x="1227279" y="2011288"/>
                    <a:pt x="1226962" y="2010971"/>
                  </a:cubicBezTo>
                  <a:cubicBezTo>
                    <a:pt x="1226644" y="2010654"/>
                    <a:pt x="1226009" y="2010971"/>
                    <a:pt x="1225691" y="2009069"/>
                  </a:cubicBezTo>
                  <a:cubicBezTo>
                    <a:pt x="1225691" y="2007802"/>
                    <a:pt x="1227279" y="2006851"/>
                    <a:pt x="1227597" y="2006851"/>
                  </a:cubicBezTo>
                  <a:cubicBezTo>
                    <a:pt x="1227597" y="2006851"/>
                    <a:pt x="1227597" y="2006851"/>
                    <a:pt x="1228232" y="2009069"/>
                  </a:cubicBezTo>
                  <a:cubicBezTo>
                    <a:pt x="1228232" y="2009069"/>
                    <a:pt x="1228232" y="2009069"/>
                    <a:pt x="1228550" y="2008753"/>
                  </a:cubicBezTo>
                  <a:cubicBezTo>
                    <a:pt x="1228550" y="2008753"/>
                    <a:pt x="1228550" y="2008753"/>
                    <a:pt x="1229185" y="2007168"/>
                  </a:cubicBezTo>
                  <a:cubicBezTo>
                    <a:pt x="1229503" y="2004633"/>
                    <a:pt x="1230773" y="1987204"/>
                    <a:pt x="1230773" y="1974846"/>
                  </a:cubicBezTo>
                  <a:cubicBezTo>
                    <a:pt x="1230773" y="1971360"/>
                    <a:pt x="1230773" y="1968508"/>
                    <a:pt x="1230456" y="1966290"/>
                  </a:cubicBezTo>
                  <a:cubicBezTo>
                    <a:pt x="1230456" y="1965339"/>
                    <a:pt x="1230138" y="1964388"/>
                    <a:pt x="1230138" y="1964071"/>
                  </a:cubicBezTo>
                  <a:cubicBezTo>
                    <a:pt x="1230138" y="1963755"/>
                    <a:pt x="1230138" y="1963755"/>
                    <a:pt x="1230138" y="1963755"/>
                  </a:cubicBezTo>
                  <a:cubicBezTo>
                    <a:pt x="1230138" y="1963755"/>
                    <a:pt x="1230138" y="1963755"/>
                    <a:pt x="1228232" y="1963121"/>
                  </a:cubicBezTo>
                  <a:cubicBezTo>
                    <a:pt x="1228232" y="1963121"/>
                    <a:pt x="1228232" y="1963121"/>
                    <a:pt x="1263488" y="1899743"/>
                  </a:cubicBezTo>
                  <a:cubicBezTo>
                    <a:pt x="1263488" y="1899743"/>
                    <a:pt x="1263488" y="1899743"/>
                    <a:pt x="1274605" y="1760629"/>
                  </a:cubicBezTo>
                  <a:close/>
                  <a:moveTo>
                    <a:pt x="1839013" y="1755876"/>
                  </a:moveTo>
                  <a:cubicBezTo>
                    <a:pt x="1839013" y="1755876"/>
                    <a:pt x="1839013" y="1755876"/>
                    <a:pt x="1802805" y="1787565"/>
                  </a:cubicBezTo>
                  <a:cubicBezTo>
                    <a:pt x="1802805" y="1787565"/>
                    <a:pt x="1802805" y="1787565"/>
                    <a:pt x="1818686" y="1807529"/>
                  </a:cubicBezTo>
                  <a:cubicBezTo>
                    <a:pt x="1818686" y="1807529"/>
                    <a:pt x="1818686" y="1807529"/>
                    <a:pt x="1844730" y="1810698"/>
                  </a:cubicBezTo>
                  <a:lnTo>
                    <a:pt x="1867917" y="1790734"/>
                  </a:lnTo>
                  <a:cubicBezTo>
                    <a:pt x="1867917" y="1790734"/>
                    <a:pt x="1867917" y="1790734"/>
                    <a:pt x="1839013" y="1755876"/>
                  </a:cubicBezTo>
                  <a:close/>
                  <a:moveTo>
                    <a:pt x="210264" y="1755559"/>
                  </a:moveTo>
                  <a:cubicBezTo>
                    <a:pt x="210264" y="1755559"/>
                    <a:pt x="210264" y="1755559"/>
                    <a:pt x="194065" y="1785030"/>
                  </a:cubicBezTo>
                  <a:cubicBezTo>
                    <a:pt x="194065" y="1785030"/>
                    <a:pt x="194065" y="1785030"/>
                    <a:pt x="230274" y="1805627"/>
                  </a:cubicBezTo>
                  <a:cubicBezTo>
                    <a:pt x="230274" y="1805627"/>
                    <a:pt x="230274" y="1805627"/>
                    <a:pt x="246472" y="1776157"/>
                  </a:cubicBezTo>
                  <a:close/>
                  <a:moveTo>
                    <a:pt x="683516" y="1752707"/>
                  </a:moveTo>
                  <a:cubicBezTo>
                    <a:pt x="683516" y="1752707"/>
                    <a:pt x="683516" y="1752707"/>
                    <a:pt x="665729" y="1788516"/>
                  </a:cubicBezTo>
                  <a:cubicBezTo>
                    <a:pt x="667317" y="1789466"/>
                    <a:pt x="669223" y="1790417"/>
                    <a:pt x="670811" y="1791367"/>
                  </a:cubicBezTo>
                  <a:cubicBezTo>
                    <a:pt x="676528" y="1794219"/>
                    <a:pt x="682245" y="1797071"/>
                    <a:pt x="686692" y="1799290"/>
                  </a:cubicBezTo>
                  <a:cubicBezTo>
                    <a:pt x="688598" y="1800557"/>
                    <a:pt x="690504" y="1801508"/>
                    <a:pt x="692092" y="1802142"/>
                  </a:cubicBezTo>
                  <a:cubicBezTo>
                    <a:pt x="692727" y="1802459"/>
                    <a:pt x="693362" y="1802459"/>
                    <a:pt x="693680" y="1802775"/>
                  </a:cubicBezTo>
                  <a:cubicBezTo>
                    <a:pt x="693997" y="1802775"/>
                    <a:pt x="693997" y="1802775"/>
                    <a:pt x="693997" y="1802775"/>
                  </a:cubicBezTo>
                  <a:cubicBezTo>
                    <a:pt x="694950" y="1803092"/>
                    <a:pt x="695268" y="1803092"/>
                    <a:pt x="695585" y="1803409"/>
                  </a:cubicBezTo>
                  <a:cubicBezTo>
                    <a:pt x="695585" y="1803409"/>
                    <a:pt x="695585" y="1803409"/>
                    <a:pt x="714007" y="1767601"/>
                  </a:cubicBezTo>
                  <a:cubicBezTo>
                    <a:pt x="714007" y="1767601"/>
                    <a:pt x="714007" y="1767601"/>
                    <a:pt x="683516" y="1752707"/>
                  </a:cubicBezTo>
                  <a:close/>
                  <a:moveTo>
                    <a:pt x="1060212" y="1749538"/>
                  </a:moveTo>
                  <a:cubicBezTo>
                    <a:pt x="1060212" y="1749538"/>
                    <a:pt x="1060212" y="1749538"/>
                    <a:pt x="1043696" y="1782495"/>
                  </a:cubicBezTo>
                  <a:cubicBezTo>
                    <a:pt x="1050683" y="1786297"/>
                    <a:pt x="1057353" y="1789783"/>
                    <a:pt x="1063070" y="1792952"/>
                  </a:cubicBezTo>
                  <a:cubicBezTo>
                    <a:pt x="1066882" y="1794853"/>
                    <a:pt x="1070376" y="1796755"/>
                    <a:pt x="1073234" y="1798339"/>
                  </a:cubicBezTo>
                  <a:cubicBezTo>
                    <a:pt x="1073234" y="1798339"/>
                    <a:pt x="1073234" y="1798339"/>
                    <a:pt x="1088798" y="1767918"/>
                  </a:cubicBezTo>
                  <a:close/>
                  <a:moveTo>
                    <a:pt x="1181225" y="1746369"/>
                  </a:moveTo>
                  <a:cubicBezTo>
                    <a:pt x="1181225" y="1746369"/>
                    <a:pt x="1181225" y="1746369"/>
                    <a:pt x="1141522" y="1748588"/>
                  </a:cubicBezTo>
                  <a:cubicBezTo>
                    <a:pt x="1141522" y="1748588"/>
                    <a:pt x="1141522" y="1748588"/>
                    <a:pt x="1142475" y="1764432"/>
                  </a:cubicBezTo>
                  <a:lnTo>
                    <a:pt x="1182177" y="1761897"/>
                  </a:lnTo>
                  <a:cubicBezTo>
                    <a:pt x="1182177" y="1761897"/>
                    <a:pt x="1182177" y="1761897"/>
                    <a:pt x="1181225" y="1746369"/>
                  </a:cubicBezTo>
                  <a:close/>
                  <a:moveTo>
                    <a:pt x="193748" y="1746369"/>
                  </a:moveTo>
                  <a:lnTo>
                    <a:pt x="177549" y="1775840"/>
                  </a:lnTo>
                  <a:cubicBezTo>
                    <a:pt x="177549" y="1775840"/>
                    <a:pt x="177549" y="1775840"/>
                    <a:pt x="190572" y="1783128"/>
                  </a:cubicBezTo>
                  <a:cubicBezTo>
                    <a:pt x="190572" y="1783128"/>
                    <a:pt x="190572" y="1783128"/>
                    <a:pt x="206452" y="1753658"/>
                  </a:cubicBezTo>
                  <a:cubicBezTo>
                    <a:pt x="206452" y="1753658"/>
                    <a:pt x="206452" y="1753658"/>
                    <a:pt x="193748" y="1746369"/>
                  </a:cubicBezTo>
                  <a:close/>
                  <a:moveTo>
                    <a:pt x="1185354" y="1741933"/>
                  </a:moveTo>
                  <a:cubicBezTo>
                    <a:pt x="1185354" y="1741933"/>
                    <a:pt x="1185354" y="1741933"/>
                    <a:pt x="1186624" y="1766016"/>
                  </a:cubicBezTo>
                  <a:cubicBezTo>
                    <a:pt x="1186624" y="1766016"/>
                    <a:pt x="1186624" y="1766016"/>
                    <a:pt x="1138664" y="1768868"/>
                  </a:cubicBezTo>
                  <a:cubicBezTo>
                    <a:pt x="1138664" y="1768868"/>
                    <a:pt x="1138664" y="1768868"/>
                    <a:pt x="1137393" y="1744785"/>
                  </a:cubicBezTo>
                  <a:cubicBezTo>
                    <a:pt x="1137393" y="1744785"/>
                    <a:pt x="1137393" y="1744785"/>
                    <a:pt x="1139299" y="1744785"/>
                  </a:cubicBezTo>
                  <a:close/>
                  <a:moveTo>
                    <a:pt x="1451836" y="1740665"/>
                  </a:moveTo>
                  <a:cubicBezTo>
                    <a:pt x="1451836" y="1740665"/>
                    <a:pt x="1451836" y="1740665"/>
                    <a:pt x="1441354" y="1797705"/>
                  </a:cubicBezTo>
                  <a:cubicBezTo>
                    <a:pt x="1441354" y="1797705"/>
                    <a:pt x="1441354" y="1797705"/>
                    <a:pt x="1482963" y="1801508"/>
                  </a:cubicBezTo>
                  <a:lnTo>
                    <a:pt x="1493126" y="1747320"/>
                  </a:lnTo>
                  <a:cubicBezTo>
                    <a:pt x="1493126" y="1747320"/>
                    <a:pt x="1493126" y="1747320"/>
                    <a:pt x="1451836" y="1740665"/>
                  </a:cubicBezTo>
                  <a:close/>
                  <a:moveTo>
                    <a:pt x="270611" y="1740665"/>
                  </a:moveTo>
                  <a:cubicBezTo>
                    <a:pt x="270611" y="1740665"/>
                    <a:pt x="270611" y="1740665"/>
                    <a:pt x="252190" y="1774572"/>
                  </a:cubicBezTo>
                  <a:cubicBezTo>
                    <a:pt x="252190" y="1774572"/>
                    <a:pt x="252190" y="1774572"/>
                    <a:pt x="366215" y="1839534"/>
                  </a:cubicBezTo>
                  <a:cubicBezTo>
                    <a:pt x="366215" y="1839534"/>
                    <a:pt x="366215" y="1839534"/>
                    <a:pt x="377014" y="1805311"/>
                  </a:cubicBezTo>
                  <a:cubicBezTo>
                    <a:pt x="377014" y="1805311"/>
                    <a:pt x="377014" y="1805311"/>
                    <a:pt x="380508" y="1803409"/>
                  </a:cubicBezTo>
                  <a:close/>
                  <a:moveTo>
                    <a:pt x="1585236" y="1739081"/>
                  </a:moveTo>
                  <a:cubicBezTo>
                    <a:pt x="1585236" y="1739081"/>
                    <a:pt x="1585236" y="1739081"/>
                    <a:pt x="1584283" y="1752707"/>
                  </a:cubicBezTo>
                  <a:cubicBezTo>
                    <a:pt x="1584283" y="1752707"/>
                    <a:pt x="1584283" y="1752707"/>
                    <a:pt x="1569355" y="1751757"/>
                  </a:cubicBezTo>
                  <a:cubicBezTo>
                    <a:pt x="1569355" y="1751757"/>
                    <a:pt x="1569355" y="1751757"/>
                    <a:pt x="1568084" y="1770770"/>
                  </a:cubicBezTo>
                  <a:cubicBezTo>
                    <a:pt x="1568084" y="1770770"/>
                    <a:pt x="1568084" y="1770770"/>
                    <a:pt x="1626526" y="1774889"/>
                  </a:cubicBezTo>
                  <a:lnTo>
                    <a:pt x="1627797" y="1756193"/>
                  </a:lnTo>
                  <a:cubicBezTo>
                    <a:pt x="1627797" y="1756193"/>
                    <a:pt x="1627797" y="1756193"/>
                    <a:pt x="1612869" y="1754925"/>
                  </a:cubicBezTo>
                  <a:cubicBezTo>
                    <a:pt x="1612869" y="1754925"/>
                    <a:pt x="1612869" y="1754925"/>
                    <a:pt x="1614139" y="1741299"/>
                  </a:cubicBezTo>
                  <a:cubicBezTo>
                    <a:pt x="1614139" y="1741299"/>
                    <a:pt x="1614139" y="1741299"/>
                    <a:pt x="1585236" y="1739081"/>
                  </a:cubicBezTo>
                  <a:close/>
                  <a:moveTo>
                    <a:pt x="439267" y="1737813"/>
                  </a:moveTo>
                  <a:cubicBezTo>
                    <a:pt x="439267" y="1737813"/>
                    <a:pt x="439267" y="1737813"/>
                    <a:pt x="427198" y="1780276"/>
                  </a:cubicBezTo>
                  <a:cubicBezTo>
                    <a:pt x="427198" y="1780276"/>
                    <a:pt x="427198" y="1780276"/>
                    <a:pt x="523118" y="1834781"/>
                  </a:cubicBezTo>
                  <a:cubicBezTo>
                    <a:pt x="523118" y="1834781"/>
                    <a:pt x="523118" y="1834781"/>
                    <a:pt x="544081" y="1797705"/>
                  </a:cubicBezTo>
                  <a:close/>
                  <a:moveTo>
                    <a:pt x="1066882" y="1736229"/>
                  </a:moveTo>
                  <a:cubicBezTo>
                    <a:pt x="1066882" y="1736229"/>
                    <a:pt x="1066882" y="1736229"/>
                    <a:pt x="1062118" y="1745736"/>
                  </a:cubicBezTo>
                  <a:lnTo>
                    <a:pt x="1090703" y="1764115"/>
                  </a:lnTo>
                  <a:cubicBezTo>
                    <a:pt x="1090703" y="1764115"/>
                    <a:pt x="1090703" y="1764115"/>
                    <a:pt x="1097373" y="1751123"/>
                  </a:cubicBezTo>
                  <a:cubicBezTo>
                    <a:pt x="1097373" y="1751123"/>
                    <a:pt x="1097373" y="1751123"/>
                    <a:pt x="1066882" y="1736229"/>
                  </a:cubicBezTo>
                  <a:close/>
                  <a:moveTo>
                    <a:pt x="1581424" y="1734645"/>
                  </a:moveTo>
                  <a:cubicBezTo>
                    <a:pt x="1581424" y="1734645"/>
                    <a:pt x="1581424" y="1734645"/>
                    <a:pt x="1618586" y="1737497"/>
                  </a:cubicBezTo>
                  <a:cubicBezTo>
                    <a:pt x="1618586" y="1737497"/>
                    <a:pt x="1618586" y="1737497"/>
                    <a:pt x="1617315" y="1751123"/>
                  </a:cubicBezTo>
                  <a:cubicBezTo>
                    <a:pt x="1617315" y="1751123"/>
                    <a:pt x="1617315" y="1751123"/>
                    <a:pt x="1632243" y="1752390"/>
                  </a:cubicBezTo>
                  <a:lnTo>
                    <a:pt x="1630338" y="1779326"/>
                  </a:lnTo>
                  <a:cubicBezTo>
                    <a:pt x="1630338" y="1779326"/>
                    <a:pt x="1630338" y="1779326"/>
                    <a:pt x="1563638" y="1774572"/>
                  </a:cubicBezTo>
                  <a:cubicBezTo>
                    <a:pt x="1563638" y="1774572"/>
                    <a:pt x="1563638" y="1774572"/>
                    <a:pt x="1563638" y="1772354"/>
                  </a:cubicBezTo>
                  <a:cubicBezTo>
                    <a:pt x="1563638" y="1772354"/>
                    <a:pt x="1563638" y="1772354"/>
                    <a:pt x="1565543" y="1747320"/>
                  </a:cubicBezTo>
                  <a:cubicBezTo>
                    <a:pt x="1565543" y="1747320"/>
                    <a:pt x="1565543" y="1747320"/>
                    <a:pt x="1580472" y="1748271"/>
                  </a:cubicBezTo>
                  <a:cubicBezTo>
                    <a:pt x="1580472" y="1748271"/>
                    <a:pt x="1580472" y="1748271"/>
                    <a:pt x="1581424" y="1734645"/>
                  </a:cubicBezTo>
                  <a:close/>
                  <a:moveTo>
                    <a:pt x="587913" y="1729257"/>
                  </a:moveTo>
                  <a:cubicBezTo>
                    <a:pt x="587913" y="1729257"/>
                    <a:pt x="587913" y="1729257"/>
                    <a:pt x="569173" y="1761897"/>
                  </a:cubicBezTo>
                  <a:cubicBezTo>
                    <a:pt x="569173" y="1761897"/>
                    <a:pt x="569173" y="1761897"/>
                    <a:pt x="605382" y="1782495"/>
                  </a:cubicBezTo>
                  <a:cubicBezTo>
                    <a:pt x="605382" y="1782495"/>
                    <a:pt x="605382" y="1782495"/>
                    <a:pt x="624121" y="1749855"/>
                  </a:cubicBezTo>
                  <a:close/>
                  <a:moveTo>
                    <a:pt x="932847" y="1728307"/>
                  </a:moveTo>
                  <a:cubicBezTo>
                    <a:pt x="932847" y="1728307"/>
                    <a:pt x="932847" y="1728307"/>
                    <a:pt x="916013" y="1760629"/>
                  </a:cubicBezTo>
                  <a:cubicBezTo>
                    <a:pt x="921095" y="1763164"/>
                    <a:pt x="958891" y="1782178"/>
                    <a:pt x="996053" y="1800557"/>
                  </a:cubicBezTo>
                  <a:cubicBezTo>
                    <a:pt x="1005264" y="1804994"/>
                    <a:pt x="1014475" y="1809747"/>
                    <a:pt x="1023368" y="1814183"/>
                  </a:cubicBezTo>
                  <a:cubicBezTo>
                    <a:pt x="1023368" y="1814183"/>
                    <a:pt x="1023368" y="1814183"/>
                    <a:pt x="1037979" y="1784713"/>
                  </a:cubicBezTo>
                  <a:cubicBezTo>
                    <a:pt x="1026227" y="1778375"/>
                    <a:pt x="1013204" y="1771087"/>
                    <a:pt x="1000500" y="1764432"/>
                  </a:cubicBezTo>
                  <a:cubicBezTo>
                    <a:pt x="982713" y="1754925"/>
                    <a:pt x="965561" y="1745736"/>
                    <a:pt x="952857" y="1738764"/>
                  </a:cubicBezTo>
                  <a:cubicBezTo>
                    <a:pt x="946187" y="1735278"/>
                    <a:pt x="941105" y="1732426"/>
                    <a:pt x="937293" y="1730525"/>
                  </a:cubicBezTo>
                  <a:cubicBezTo>
                    <a:pt x="935388" y="1729574"/>
                    <a:pt x="934117" y="1728940"/>
                    <a:pt x="932847" y="1728307"/>
                  </a:cubicBezTo>
                  <a:close/>
                  <a:moveTo>
                    <a:pt x="230592" y="1718166"/>
                  </a:moveTo>
                  <a:cubicBezTo>
                    <a:pt x="230592" y="1718166"/>
                    <a:pt x="230592" y="1718166"/>
                    <a:pt x="212170" y="1751757"/>
                  </a:cubicBezTo>
                  <a:cubicBezTo>
                    <a:pt x="212170" y="1751757"/>
                    <a:pt x="212170" y="1751757"/>
                    <a:pt x="248378" y="1772354"/>
                  </a:cubicBezTo>
                  <a:cubicBezTo>
                    <a:pt x="248378" y="1772354"/>
                    <a:pt x="248378" y="1772354"/>
                    <a:pt x="266800" y="1738764"/>
                  </a:cubicBezTo>
                  <a:close/>
                  <a:moveTo>
                    <a:pt x="1282227" y="1717216"/>
                  </a:moveTo>
                  <a:cubicBezTo>
                    <a:pt x="1282227" y="1717216"/>
                    <a:pt x="1282227" y="1717216"/>
                    <a:pt x="1277146" y="1783128"/>
                  </a:cubicBezTo>
                  <a:cubicBezTo>
                    <a:pt x="1277146" y="1783128"/>
                    <a:pt x="1277146" y="1783128"/>
                    <a:pt x="1437225" y="1797388"/>
                  </a:cubicBezTo>
                  <a:cubicBezTo>
                    <a:pt x="1437225" y="1797388"/>
                    <a:pt x="1437225" y="1797388"/>
                    <a:pt x="1448660" y="1735912"/>
                  </a:cubicBezTo>
                  <a:cubicBezTo>
                    <a:pt x="1448660" y="1735912"/>
                    <a:pt x="1448660" y="1735912"/>
                    <a:pt x="1497891" y="1743834"/>
                  </a:cubicBezTo>
                  <a:cubicBezTo>
                    <a:pt x="1497891" y="1743834"/>
                    <a:pt x="1497891" y="1743834"/>
                    <a:pt x="1497573" y="1746053"/>
                  </a:cubicBezTo>
                  <a:cubicBezTo>
                    <a:pt x="1497573" y="1746053"/>
                    <a:pt x="1497573" y="1746053"/>
                    <a:pt x="1487092" y="1801825"/>
                  </a:cubicBezTo>
                  <a:cubicBezTo>
                    <a:pt x="1487092" y="1801825"/>
                    <a:pt x="1487092" y="1801825"/>
                    <a:pt x="1506466" y="1803409"/>
                  </a:cubicBezTo>
                  <a:cubicBezTo>
                    <a:pt x="1513454" y="1771087"/>
                    <a:pt x="1517901" y="1749221"/>
                    <a:pt x="1518536" y="1746053"/>
                  </a:cubicBezTo>
                  <a:cubicBezTo>
                    <a:pt x="1518536" y="1745102"/>
                    <a:pt x="1518853" y="1742884"/>
                    <a:pt x="1519171" y="1739715"/>
                  </a:cubicBezTo>
                  <a:cubicBezTo>
                    <a:pt x="1519489" y="1736863"/>
                    <a:pt x="1519489" y="1733060"/>
                    <a:pt x="1519806" y="1728624"/>
                  </a:cubicBezTo>
                  <a:cubicBezTo>
                    <a:pt x="1519806" y="1728624"/>
                    <a:pt x="1519806" y="1728624"/>
                    <a:pt x="1282227" y="1717216"/>
                  </a:cubicBezTo>
                  <a:close/>
                  <a:moveTo>
                    <a:pt x="648896" y="1714364"/>
                  </a:moveTo>
                  <a:cubicBezTo>
                    <a:pt x="648896" y="1714364"/>
                    <a:pt x="648896" y="1714364"/>
                    <a:pt x="629838" y="1747954"/>
                  </a:cubicBezTo>
                  <a:cubicBezTo>
                    <a:pt x="629838" y="1747954"/>
                    <a:pt x="629838" y="1747954"/>
                    <a:pt x="644449" y="1756510"/>
                  </a:cubicBezTo>
                  <a:cubicBezTo>
                    <a:pt x="644449" y="1756510"/>
                    <a:pt x="644449" y="1756510"/>
                    <a:pt x="642226" y="1760312"/>
                  </a:cubicBezTo>
                  <a:cubicBezTo>
                    <a:pt x="642226" y="1760312"/>
                    <a:pt x="642226" y="1760312"/>
                    <a:pt x="627615" y="1751757"/>
                  </a:cubicBezTo>
                  <a:cubicBezTo>
                    <a:pt x="627615" y="1751757"/>
                    <a:pt x="627615" y="1751757"/>
                    <a:pt x="608876" y="1784713"/>
                  </a:cubicBezTo>
                  <a:cubicBezTo>
                    <a:pt x="608876" y="1784713"/>
                    <a:pt x="608876" y="1784713"/>
                    <a:pt x="625074" y="1793586"/>
                  </a:cubicBezTo>
                  <a:lnTo>
                    <a:pt x="664459" y="1723237"/>
                  </a:lnTo>
                  <a:cubicBezTo>
                    <a:pt x="664459" y="1723237"/>
                    <a:pt x="664459" y="1723237"/>
                    <a:pt x="648896" y="1714364"/>
                  </a:cubicBezTo>
                  <a:close/>
                  <a:moveTo>
                    <a:pt x="214393" y="1708660"/>
                  </a:moveTo>
                  <a:lnTo>
                    <a:pt x="195971" y="1742567"/>
                  </a:lnTo>
                  <a:cubicBezTo>
                    <a:pt x="195971" y="1742567"/>
                    <a:pt x="195971" y="1742567"/>
                    <a:pt x="208676" y="1749855"/>
                  </a:cubicBezTo>
                  <a:cubicBezTo>
                    <a:pt x="208676" y="1749855"/>
                    <a:pt x="208676" y="1749855"/>
                    <a:pt x="227098" y="1715948"/>
                  </a:cubicBezTo>
                  <a:cubicBezTo>
                    <a:pt x="227098" y="1715948"/>
                    <a:pt x="227098" y="1715948"/>
                    <a:pt x="214393" y="1708660"/>
                  </a:cubicBezTo>
                  <a:close/>
                  <a:moveTo>
                    <a:pt x="289033" y="1706758"/>
                  </a:moveTo>
                  <a:cubicBezTo>
                    <a:pt x="289033" y="1706758"/>
                    <a:pt x="289033" y="1706758"/>
                    <a:pt x="272517" y="1736863"/>
                  </a:cubicBezTo>
                  <a:cubicBezTo>
                    <a:pt x="272517" y="1736863"/>
                    <a:pt x="272517" y="1736863"/>
                    <a:pt x="384954" y="1800874"/>
                  </a:cubicBezTo>
                  <a:cubicBezTo>
                    <a:pt x="384954" y="1800874"/>
                    <a:pt x="384954" y="1800874"/>
                    <a:pt x="419892" y="1780910"/>
                  </a:cubicBezTo>
                  <a:close/>
                  <a:moveTo>
                    <a:pt x="709561" y="1704540"/>
                  </a:moveTo>
                  <a:cubicBezTo>
                    <a:pt x="709561" y="1704540"/>
                    <a:pt x="709561" y="1704540"/>
                    <a:pt x="702891" y="1718166"/>
                  </a:cubicBezTo>
                  <a:cubicBezTo>
                    <a:pt x="702891" y="1718166"/>
                    <a:pt x="702891" y="1718166"/>
                    <a:pt x="732747" y="1732743"/>
                  </a:cubicBezTo>
                  <a:cubicBezTo>
                    <a:pt x="732747" y="1732743"/>
                    <a:pt x="732747" y="1732743"/>
                    <a:pt x="736558" y="1725138"/>
                  </a:cubicBezTo>
                  <a:close/>
                  <a:moveTo>
                    <a:pt x="450066" y="1699153"/>
                  </a:moveTo>
                  <a:cubicBezTo>
                    <a:pt x="450066" y="1699153"/>
                    <a:pt x="450066" y="1699153"/>
                    <a:pt x="440538" y="1733694"/>
                  </a:cubicBezTo>
                  <a:cubicBezTo>
                    <a:pt x="440538" y="1733694"/>
                    <a:pt x="440538" y="1733694"/>
                    <a:pt x="546305" y="1793903"/>
                  </a:cubicBezTo>
                  <a:cubicBezTo>
                    <a:pt x="546305" y="1793903"/>
                    <a:pt x="546305" y="1793903"/>
                    <a:pt x="563456" y="1763798"/>
                  </a:cubicBezTo>
                  <a:close/>
                  <a:moveTo>
                    <a:pt x="701938" y="1698836"/>
                  </a:moveTo>
                  <a:cubicBezTo>
                    <a:pt x="701938" y="1698836"/>
                    <a:pt x="701938" y="1698836"/>
                    <a:pt x="654930" y="1782812"/>
                  </a:cubicBezTo>
                  <a:cubicBezTo>
                    <a:pt x="656836" y="1784079"/>
                    <a:pt x="659377" y="1785347"/>
                    <a:pt x="661918" y="1786614"/>
                  </a:cubicBezTo>
                  <a:cubicBezTo>
                    <a:pt x="661918" y="1786614"/>
                    <a:pt x="661918" y="1786614"/>
                    <a:pt x="681610" y="1747320"/>
                  </a:cubicBezTo>
                  <a:cubicBezTo>
                    <a:pt x="681610" y="1747320"/>
                    <a:pt x="681610" y="1747320"/>
                    <a:pt x="719725" y="1765700"/>
                  </a:cubicBezTo>
                  <a:cubicBezTo>
                    <a:pt x="719725" y="1765700"/>
                    <a:pt x="719725" y="1765700"/>
                    <a:pt x="718772" y="1767601"/>
                  </a:cubicBezTo>
                  <a:cubicBezTo>
                    <a:pt x="718772" y="1767601"/>
                    <a:pt x="718772" y="1767601"/>
                    <a:pt x="698762" y="1806895"/>
                  </a:cubicBezTo>
                  <a:cubicBezTo>
                    <a:pt x="704479" y="1814500"/>
                    <a:pt x="715278" y="1833197"/>
                    <a:pt x="717819" y="1837633"/>
                  </a:cubicBezTo>
                  <a:cubicBezTo>
                    <a:pt x="721630" y="1838267"/>
                    <a:pt x="735923" y="1840168"/>
                    <a:pt x="750851" y="1842386"/>
                  </a:cubicBezTo>
                  <a:cubicBezTo>
                    <a:pt x="766097" y="1844922"/>
                    <a:pt x="781025" y="1847457"/>
                    <a:pt x="787377" y="1849041"/>
                  </a:cubicBezTo>
                  <a:cubicBezTo>
                    <a:pt x="789918" y="1843020"/>
                    <a:pt x="799447" y="1821472"/>
                    <a:pt x="811834" y="1792952"/>
                  </a:cubicBezTo>
                  <a:cubicBezTo>
                    <a:pt x="811834" y="1792952"/>
                    <a:pt x="811834" y="1792952"/>
                    <a:pt x="741005" y="1756827"/>
                  </a:cubicBezTo>
                  <a:cubicBezTo>
                    <a:pt x="741005" y="1756827"/>
                    <a:pt x="741005" y="1756827"/>
                    <a:pt x="745769" y="1732109"/>
                  </a:cubicBezTo>
                  <a:cubicBezTo>
                    <a:pt x="745769" y="1732109"/>
                    <a:pt x="745769" y="1732109"/>
                    <a:pt x="740052" y="1727673"/>
                  </a:cubicBezTo>
                  <a:cubicBezTo>
                    <a:pt x="740052" y="1727673"/>
                    <a:pt x="740052" y="1727673"/>
                    <a:pt x="734653" y="1738130"/>
                  </a:cubicBezTo>
                  <a:cubicBezTo>
                    <a:pt x="734653" y="1738130"/>
                    <a:pt x="734653" y="1738130"/>
                    <a:pt x="697174" y="1720068"/>
                  </a:cubicBezTo>
                  <a:lnTo>
                    <a:pt x="706385" y="1702005"/>
                  </a:lnTo>
                  <a:cubicBezTo>
                    <a:pt x="706385" y="1702005"/>
                    <a:pt x="706385" y="1702005"/>
                    <a:pt x="701938" y="1698836"/>
                  </a:cubicBezTo>
                  <a:close/>
                  <a:moveTo>
                    <a:pt x="609193" y="1691548"/>
                  </a:moveTo>
                  <a:cubicBezTo>
                    <a:pt x="609193" y="1691548"/>
                    <a:pt x="609193" y="1691548"/>
                    <a:pt x="589818" y="1725455"/>
                  </a:cubicBezTo>
                  <a:cubicBezTo>
                    <a:pt x="589818" y="1725455"/>
                    <a:pt x="589818" y="1725455"/>
                    <a:pt x="626027" y="1746053"/>
                  </a:cubicBezTo>
                  <a:lnTo>
                    <a:pt x="645402" y="1712146"/>
                  </a:lnTo>
                  <a:cubicBezTo>
                    <a:pt x="645402" y="1712146"/>
                    <a:pt x="645402" y="1712146"/>
                    <a:pt x="609193" y="1691548"/>
                  </a:cubicBezTo>
                  <a:close/>
                  <a:moveTo>
                    <a:pt x="759744" y="1689013"/>
                  </a:moveTo>
                  <a:cubicBezTo>
                    <a:pt x="759744" y="1689013"/>
                    <a:pt x="759744" y="1689013"/>
                    <a:pt x="741958" y="1723553"/>
                  </a:cubicBezTo>
                  <a:cubicBezTo>
                    <a:pt x="741958" y="1723553"/>
                    <a:pt x="741958" y="1723553"/>
                    <a:pt x="750851" y="1730208"/>
                  </a:cubicBezTo>
                  <a:cubicBezTo>
                    <a:pt x="750851" y="1730208"/>
                    <a:pt x="750851" y="1730208"/>
                    <a:pt x="746087" y="1754292"/>
                  </a:cubicBezTo>
                  <a:cubicBezTo>
                    <a:pt x="746087" y="1754292"/>
                    <a:pt x="746087" y="1754292"/>
                    <a:pt x="813740" y="1788832"/>
                  </a:cubicBezTo>
                  <a:cubicBezTo>
                    <a:pt x="821363" y="1771404"/>
                    <a:pt x="829621" y="1752073"/>
                    <a:pt x="838514" y="1732109"/>
                  </a:cubicBezTo>
                  <a:cubicBezTo>
                    <a:pt x="828668" y="1727039"/>
                    <a:pt x="791506" y="1706442"/>
                    <a:pt x="759744" y="1689013"/>
                  </a:cubicBezTo>
                  <a:close/>
                  <a:moveTo>
                    <a:pt x="1152639" y="1686794"/>
                  </a:moveTo>
                  <a:cubicBezTo>
                    <a:pt x="1152639" y="1686794"/>
                    <a:pt x="1152639" y="1686794"/>
                    <a:pt x="1133899" y="1721969"/>
                  </a:cubicBezTo>
                  <a:cubicBezTo>
                    <a:pt x="1133899" y="1721969"/>
                    <a:pt x="1133899" y="1721969"/>
                    <a:pt x="1147875" y="1729257"/>
                  </a:cubicBezTo>
                  <a:lnTo>
                    <a:pt x="1166614" y="1694400"/>
                  </a:lnTo>
                  <a:cubicBezTo>
                    <a:pt x="1166614" y="1694400"/>
                    <a:pt x="1166614" y="1694400"/>
                    <a:pt x="1152639" y="1686794"/>
                  </a:cubicBezTo>
                  <a:close/>
                  <a:moveTo>
                    <a:pt x="249331" y="1683943"/>
                  </a:moveTo>
                  <a:cubicBezTo>
                    <a:pt x="249331" y="1683943"/>
                    <a:pt x="249331" y="1683943"/>
                    <a:pt x="232815" y="1714047"/>
                  </a:cubicBezTo>
                  <a:cubicBezTo>
                    <a:pt x="232815" y="1714047"/>
                    <a:pt x="232815" y="1714047"/>
                    <a:pt x="269023" y="1734961"/>
                  </a:cubicBezTo>
                  <a:cubicBezTo>
                    <a:pt x="269023" y="1734961"/>
                    <a:pt x="269023" y="1734961"/>
                    <a:pt x="285540" y="1704540"/>
                  </a:cubicBezTo>
                  <a:close/>
                  <a:moveTo>
                    <a:pt x="956986" y="1682675"/>
                  </a:moveTo>
                  <a:cubicBezTo>
                    <a:pt x="956986" y="1682675"/>
                    <a:pt x="956986" y="1682675"/>
                    <a:pt x="935070" y="1724504"/>
                  </a:cubicBezTo>
                  <a:cubicBezTo>
                    <a:pt x="943963" y="1728940"/>
                    <a:pt x="978901" y="1747637"/>
                    <a:pt x="1013204" y="1766333"/>
                  </a:cubicBezTo>
                  <a:cubicBezTo>
                    <a:pt x="1022415" y="1771087"/>
                    <a:pt x="1031309" y="1776157"/>
                    <a:pt x="1039884" y="1780593"/>
                  </a:cubicBezTo>
                  <a:cubicBezTo>
                    <a:pt x="1039884" y="1780593"/>
                    <a:pt x="1039884" y="1780593"/>
                    <a:pt x="1056718" y="1747320"/>
                  </a:cubicBezTo>
                  <a:close/>
                  <a:moveTo>
                    <a:pt x="667635" y="1681407"/>
                  </a:moveTo>
                  <a:cubicBezTo>
                    <a:pt x="667635" y="1681407"/>
                    <a:pt x="667635" y="1681407"/>
                    <a:pt x="651119" y="1710561"/>
                  </a:cubicBezTo>
                  <a:cubicBezTo>
                    <a:pt x="651119" y="1710561"/>
                    <a:pt x="651119" y="1710561"/>
                    <a:pt x="666682" y="1719434"/>
                  </a:cubicBezTo>
                  <a:cubicBezTo>
                    <a:pt x="666682" y="1719434"/>
                    <a:pt x="666682" y="1719434"/>
                    <a:pt x="683198" y="1690280"/>
                  </a:cubicBezTo>
                  <a:close/>
                  <a:moveTo>
                    <a:pt x="233132" y="1674753"/>
                  </a:moveTo>
                  <a:lnTo>
                    <a:pt x="216299" y="1704857"/>
                  </a:lnTo>
                  <a:cubicBezTo>
                    <a:pt x="216299" y="1704857"/>
                    <a:pt x="216299" y="1704857"/>
                    <a:pt x="229003" y="1712146"/>
                  </a:cubicBezTo>
                  <a:cubicBezTo>
                    <a:pt x="229003" y="1712146"/>
                    <a:pt x="229003" y="1712146"/>
                    <a:pt x="245520" y="1681724"/>
                  </a:cubicBezTo>
                  <a:cubicBezTo>
                    <a:pt x="245520" y="1681724"/>
                    <a:pt x="245520" y="1681724"/>
                    <a:pt x="233132" y="1674753"/>
                  </a:cubicBezTo>
                  <a:close/>
                  <a:moveTo>
                    <a:pt x="726712" y="1670633"/>
                  </a:moveTo>
                  <a:cubicBezTo>
                    <a:pt x="726712" y="1670633"/>
                    <a:pt x="726712" y="1670633"/>
                    <a:pt x="711784" y="1700738"/>
                  </a:cubicBezTo>
                  <a:cubicBezTo>
                    <a:pt x="711784" y="1700738"/>
                    <a:pt x="711784" y="1700738"/>
                    <a:pt x="738464" y="1721018"/>
                  </a:cubicBezTo>
                  <a:lnTo>
                    <a:pt x="755933" y="1686794"/>
                  </a:lnTo>
                  <a:cubicBezTo>
                    <a:pt x="744816" y="1680457"/>
                    <a:pt x="734653" y="1674753"/>
                    <a:pt x="726712" y="1670633"/>
                  </a:cubicBezTo>
                  <a:close/>
                  <a:moveTo>
                    <a:pt x="720042" y="1666831"/>
                  </a:moveTo>
                  <a:cubicBezTo>
                    <a:pt x="720042" y="1666831"/>
                    <a:pt x="720042" y="1666831"/>
                    <a:pt x="704161" y="1695033"/>
                  </a:cubicBezTo>
                  <a:cubicBezTo>
                    <a:pt x="704161" y="1695033"/>
                    <a:pt x="704161" y="1695033"/>
                    <a:pt x="708290" y="1698202"/>
                  </a:cubicBezTo>
                  <a:cubicBezTo>
                    <a:pt x="708290" y="1698202"/>
                    <a:pt x="708290" y="1698202"/>
                    <a:pt x="723218" y="1668415"/>
                  </a:cubicBezTo>
                  <a:cubicBezTo>
                    <a:pt x="721948" y="1667781"/>
                    <a:pt x="720995" y="1667464"/>
                    <a:pt x="720042" y="1666831"/>
                  </a:cubicBezTo>
                  <a:close/>
                  <a:moveTo>
                    <a:pt x="476428" y="1665880"/>
                  </a:moveTo>
                  <a:cubicBezTo>
                    <a:pt x="476428" y="1665880"/>
                    <a:pt x="476428" y="1665880"/>
                    <a:pt x="451337" y="1694717"/>
                  </a:cubicBezTo>
                  <a:cubicBezTo>
                    <a:pt x="451337" y="1694717"/>
                    <a:pt x="451337" y="1694717"/>
                    <a:pt x="565679" y="1759996"/>
                  </a:cubicBezTo>
                  <a:cubicBezTo>
                    <a:pt x="565679" y="1759996"/>
                    <a:pt x="565679" y="1759996"/>
                    <a:pt x="584101" y="1727039"/>
                  </a:cubicBezTo>
                  <a:close/>
                  <a:moveTo>
                    <a:pt x="311584" y="1665246"/>
                  </a:moveTo>
                  <a:cubicBezTo>
                    <a:pt x="311584" y="1665246"/>
                    <a:pt x="311584" y="1665246"/>
                    <a:pt x="291257" y="1702639"/>
                  </a:cubicBezTo>
                  <a:cubicBezTo>
                    <a:pt x="291257" y="1702639"/>
                    <a:pt x="291257" y="1702639"/>
                    <a:pt x="423386" y="1778058"/>
                  </a:cubicBezTo>
                  <a:cubicBezTo>
                    <a:pt x="423386" y="1778058"/>
                    <a:pt x="423386" y="1778058"/>
                    <a:pt x="435138" y="1735595"/>
                  </a:cubicBezTo>
                  <a:close/>
                  <a:moveTo>
                    <a:pt x="627933" y="1658591"/>
                  </a:moveTo>
                  <a:cubicBezTo>
                    <a:pt x="627933" y="1658591"/>
                    <a:pt x="627933" y="1658591"/>
                    <a:pt x="611416" y="1687745"/>
                  </a:cubicBezTo>
                  <a:cubicBezTo>
                    <a:pt x="611416" y="1687745"/>
                    <a:pt x="611416" y="1687745"/>
                    <a:pt x="647625" y="1708343"/>
                  </a:cubicBezTo>
                  <a:lnTo>
                    <a:pt x="664141" y="1679189"/>
                  </a:lnTo>
                  <a:cubicBezTo>
                    <a:pt x="664141" y="1679189"/>
                    <a:pt x="664141" y="1679189"/>
                    <a:pt x="627933" y="1658591"/>
                  </a:cubicBezTo>
                  <a:close/>
                  <a:moveTo>
                    <a:pt x="1722765" y="1657324"/>
                  </a:moveTo>
                  <a:cubicBezTo>
                    <a:pt x="1722765" y="1657324"/>
                    <a:pt x="1722765" y="1657324"/>
                    <a:pt x="1538863" y="1689013"/>
                  </a:cubicBezTo>
                  <a:cubicBezTo>
                    <a:pt x="1540134" y="1700738"/>
                    <a:pt x="1540769" y="1711829"/>
                    <a:pt x="1540769" y="1721018"/>
                  </a:cubicBezTo>
                  <a:cubicBezTo>
                    <a:pt x="1540769" y="1737813"/>
                    <a:pt x="1539181" y="1748588"/>
                    <a:pt x="1539181" y="1748905"/>
                  </a:cubicBezTo>
                  <a:cubicBezTo>
                    <a:pt x="1539181" y="1748905"/>
                    <a:pt x="1539181" y="1748905"/>
                    <a:pt x="1539181" y="1749538"/>
                  </a:cubicBezTo>
                  <a:cubicBezTo>
                    <a:pt x="1539181" y="1749538"/>
                    <a:pt x="1539181" y="1749538"/>
                    <a:pt x="1539181" y="1749855"/>
                  </a:cubicBezTo>
                  <a:cubicBezTo>
                    <a:pt x="1539181" y="1749855"/>
                    <a:pt x="1536005" y="1764432"/>
                    <a:pt x="1530923" y="1788199"/>
                  </a:cubicBezTo>
                  <a:cubicBezTo>
                    <a:pt x="1530923" y="1788199"/>
                    <a:pt x="1530923" y="1788199"/>
                    <a:pt x="1706566" y="1793903"/>
                  </a:cubicBezTo>
                  <a:cubicBezTo>
                    <a:pt x="1706566" y="1793903"/>
                    <a:pt x="1706566" y="1793903"/>
                    <a:pt x="1722765" y="1657324"/>
                  </a:cubicBezTo>
                  <a:close/>
                  <a:moveTo>
                    <a:pt x="776578" y="1655423"/>
                  </a:moveTo>
                  <a:lnTo>
                    <a:pt x="761650" y="1684893"/>
                  </a:lnTo>
                  <a:cubicBezTo>
                    <a:pt x="766732" y="1687745"/>
                    <a:pt x="772132" y="1690597"/>
                    <a:pt x="777531" y="1693766"/>
                  </a:cubicBezTo>
                  <a:cubicBezTo>
                    <a:pt x="793412" y="1702639"/>
                    <a:pt x="809293" y="1711512"/>
                    <a:pt x="821680" y="1718166"/>
                  </a:cubicBezTo>
                  <a:cubicBezTo>
                    <a:pt x="827715" y="1721335"/>
                    <a:pt x="833114" y="1724187"/>
                    <a:pt x="836608" y="1726089"/>
                  </a:cubicBezTo>
                  <a:cubicBezTo>
                    <a:pt x="838196" y="1727039"/>
                    <a:pt x="839467" y="1727356"/>
                    <a:pt x="840420" y="1727990"/>
                  </a:cubicBezTo>
                  <a:cubicBezTo>
                    <a:pt x="841373" y="1725455"/>
                    <a:pt x="842643" y="1722920"/>
                    <a:pt x="843596" y="1720385"/>
                  </a:cubicBezTo>
                  <a:cubicBezTo>
                    <a:pt x="847725" y="1711195"/>
                    <a:pt x="851854" y="1702005"/>
                    <a:pt x="855665" y="1692815"/>
                  </a:cubicBezTo>
                  <a:cubicBezTo>
                    <a:pt x="855665" y="1692815"/>
                    <a:pt x="855665" y="1692815"/>
                    <a:pt x="776578" y="1655423"/>
                  </a:cubicBezTo>
                  <a:close/>
                  <a:moveTo>
                    <a:pt x="1241255" y="1651303"/>
                  </a:moveTo>
                  <a:cubicBezTo>
                    <a:pt x="1241255" y="1651303"/>
                    <a:pt x="1241255" y="1651303"/>
                    <a:pt x="1189165" y="1729257"/>
                  </a:cubicBezTo>
                  <a:cubicBezTo>
                    <a:pt x="1189165" y="1729257"/>
                    <a:pt x="1189165" y="1729257"/>
                    <a:pt x="1139299" y="1738764"/>
                  </a:cubicBezTo>
                  <a:cubicBezTo>
                    <a:pt x="1139299" y="1738764"/>
                    <a:pt x="1139299" y="1738764"/>
                    <a:pt x="1139934" y="1739081"/>
                  </a:cubicBezTo>
                  <a:cubicBezTo>
                    <a:pt x="1139934" y="1739081"/>
                    <a:pt x="1139934" y="1739081"/>
                    <a:pt x="1135805" y="1747003"/>
                  </a:cubicBezTo>
                  <a:cubicBezTo>
                    <a:pt x="1135805" y="1747003"/>
                    <a:pt x="1131041" y="1756193"/>
                    <a:pt x="1123100" y="1771720"/>
                  </a:cubicBezTo>
                  <a:cubicBezTo>
                    <a:pt x="1142158" y="1775840"/>
                    <a:pt x="1186942" y="1786931"/>
                    <a:pt x="1196788" y="1789466"/>
                  </a:cubicBezTo>
                  <a:cubicBezTo>
                    <a:pt x="1196788" y="1789466"/>
                    <a:pt x="1196788" y="1789466"/>
                    <a:pt x="1205999" y="1764749"/>
                  </a:cubicBezTo>
                  <a:cubicBezTo>
                    <a:pt x="1205999" y="1764749"/>
                    <a:pt x="1205999" y="1764749"/>
                    <a:pt x="1207269" y="1764432"/>
                  </a:cubicBezTo>
                  <a:cubicBezTo>
                    <a:pt x="1207587" y="1764432"/>
                    <a:pt x="1263488" y="1757460"/>
                    <a:pt x="1274922" y="1756193"/>
                  </a:cubicBezTo>
                  <a:cubicBezTo>
                    <a:pt x="1274922" y="1756193"/>
                    <a:pt x="1274922" y="1756193"/>
                    <a:pt x="1278416" y="1712779"/>
                  </a:cubicBezTo>
                  <a:lnTo>
                    <a:pt x="1300649" y="1713730"/>
                  </a:lnTo>
                  <a:cubicBezTo>
                    <a:pt x="1300649" y="1713730"/>
                    <a:pt x="1300649" y="1713730"/>
                    <a:pt x="1319706" y="1683626"/>
                  </a:cubicBezTo>
                  <a:cubicBezTo>
                    <a:pt x="1319389" y="1683626"/>
                    <a:pt x="1319389" y="1683626"/>
                    <a:pt x="1319071" y="1683626"/>
                  </a:cubicBezTo>
                  <a:cubicBezTo>
                    <a:pt x="1309543" y="1679823"/>
                    <a:pt x="1277781" y="1666514"/>
                    <a:pt x="1241255" y="1651303"/>
                  </a:cubicBezTo>
                  <a:close/>
                  <a:moveTo>
                    <a:pt x="685422" y="1650035"/>
                  </a:moveTo>
                  <a:cubicBezTo>
                    <a:pt x="685422" y="1650035"/>
                    <a:pt x="685422" y="1650035"/>
                    <a:pt x="669858" y="1677605"/>
                  </a:cubicBezTo>
                  <a:cubicBezTo>
                    <a:pt x="669858" y="1677605"/>
                    <a:pt x="669858" y="1677605"/>
                    <a:pt x="685422" y="1686161"/>
                  </a:cubicBezTo>
                  <a:lnTo>
                    <a:pt x="700667" y="1658908"/>
                  </a:lnTo>
                  <a:cubicBezTo>
                    <a:pt x="700667" y="1658908"/>
                    <a:pt x="700667" y="1658908"/>
                    <a:pt x="685422" y="1650035"/>
                  </a:cubicBezTo>
                  <a:close/>
                  <a:moveTo>
                    <a:pt x="271882" y="1642747"/>
                  </a:moveTo>
                  <a:cubicBezTo>
                    <a:pt x="271882" y="1642747"/>
                    <a:pt x="271882" y="1642747"/>
                    <a:pt x="251237" y="1680140"/>
                  </a:cubicBezTo>
                  <a:cubicBezTo>
                    <a:pt x="251237" y="1680140"/>
                    <a:pt x="251237" y="1680140"/>
                    <a:pt x="287763" y="1700738"/>
                  </a:cubicBezTo>
                  <a:cubicBezTo>
                    <a:pt x="287763" y="1700738"/>
                    <a:pt x="287763" y="1700738"/>
                    <a:pt x="308091" y="1663345"/>
                  </a:cubicBezTo>
                  <a:close/>
                  <a:moveTo>
                    <a:pt x="978901" y="1641796"/>
                  </a:moveTo>
                  <a:cubicBezTo>
                    <a:pt x="978901" y="1641796"/>
                    <a:pt x="978901" y="1641796"/>
                    <a:pt x="959209" y="1678872"/>
                  </a:cubicBezTo>
                  <a:cubicBezTo>
                    <a:pt x="959209" y="1678872"/>
                    <a:pt x="959209" y="1678872"/>
                    <a:pt x="1058624" y="1743200"/>
                  </a:cubicBezTo>
                  <a:cubicBezTo>
                    <a:pt x="1058624" y="1743200"/>
                    <a:pt x="1058624" y="1743200"/>
                    <a:pt x="1064976" y="1730842"/>
                  </a:cubicBezTo>
                  <a:cubicBezTo>
                    <a:pt x="1064976" y="1730842"/>
                    <a:pt x="1064976" y="1730842"/>
                    <a:pt x="1103090" y="1749221"/>
                  </a:cubicBezTo>
                  <a:cubicBezTo>
                    <a:pt x="1103090" y="1749221"/>
                    <a:pt x="1103090" y="1749221"/>
                    <a:pt x="1102138" y="1751123"/>
                  </a:cubicBezTo>
                  <a:cubicBezTo>
                    <a:pt x="1102138" y="1751123"/>
                    <a:pt x="1102138" y="1751123"/>
                    <a:pt x="1094197" y="1766333"/>
                  </a:cubicBezTo>
                  <a:cubicBezTo>
                    <a:pt x="1094197" y="1766333"/>
                    <a:pt x="1094197" y="1766333"/>
                    <a:pt x="1099279" y="1769502"/>
                  </a:cubicBezTo>
                  <a:cubicBezTo>
                    <a:pt x="1099279" y="1769502"/>
                    <a:pt x="1099279" y="1769502"/>
                    <a:pt x="1096738" y="1773305"/>
                  </a:cubicBezTo>
                  <a:cubicBezTo>
                    <a:pt x="1096738" y="1773305"/>
                    <a:pt x="1096738" y="1773305"/>
                    <a:pt x="1092291" y="1770453"/>
                  </a:cubicBezTo>
                  <a:cubicBezTo>
                    <a:pt x="1092291" y="1770453"/>
                    <a:pt x="1092291" y="1770453"/>
                    <a:pt x="1077046" y="1800240"/>
                  </a:cubicBezTo>
                  <a:cubicBezTo>
                    <a:pt x="1077999" y="1800557"/>
                    <a:pt x="1078951" y="1801191"/>
                    <a:pt x="1079904" y="1801508"/>
                  </a:cubicBezTo>
                  <a:cubicBezTo>
                    <a:pt x="1081175" y="1802459"/>
                    <a:pt x="1082445" y="1803092"/>
                    <a:pt x="1083398" y="1803409"/>
                  </a:cubicBezTo>
                  <a:cubicBezTo>
                    <a:pt x="1097056" y="1776791"/>
                    <a:pt x="1107855" y="1755876"/>
                    <a:pt x="1113254" y="1745102"/>
                  </a:cubicBezTo>
                  <a:close/>
                  <a:moveTo>
                    <a:pt x="742275" y="1638944"/>
                  </a:moveTo>
                  <a:lnTo>
                    <a:pt x="728618" y="1666514"/>
                  </a:lnTo>
                  <a:cubicBezTo>
                    <a:pt x="736558" y="1670950"/>
                    <a:pt x="746722" y="1676654"/>
                    <a:pt x="758156" y="1682992"/>
                  </a:cubicBezTo>
                  <a:cubicBezTo>
                    <a:pt x="758156" y="1682992"/>
                    <a:pt x="758156" y="1682992"/>
                    <a:pt x="773084" y="1653521"/>
                  </a:cubicBezTo>
                  <a:cubicBezTo>
                    <a:pt x="773084" y="1653521"/>
                    <a:pt x="773084" y="1653521"/>
                    <a:pt x="742275" y="1638944"/>
                  </a:cubicBezTo>
                  <a:close/>
                  <a:moveTo>
                    <a:pt x="737194" y="1636409"/>
                  </a:moveTo>
                  <a:cubicBezTo>
                    <a:pt x="737194" y="1636409"/>
                    <a:pt x="737194" y="1636409"/>
                    <a:pt x="722265" y="1663028"/>
                  </a:cubicBezTo>
                  <a:cubicBezTo>
                    <a:pt x="723218" y="1663345"/>
                    <a:pt x="724171" y="1663979"/>
                    <a:pt x="725124" y="1664612"/>
                  </a:cubicBezTo>
                  <a:lnTo>
                    <a:pt x="738782" y="1637360"/>
                  </a:lnTo>
                  <a:cubicBezTo>
                    <a:pt x="738782" y="1637360"/>
                    <a:pt x="738782" y="1637360"/>
                    <a:pt x="737194" y="1636409"/>
                  </a:cubicBezTo>
                  <a:close/>
                  <a:moveTo>
                    <a:pt x="255683" y="1633557"/>
                  </a:moveTo>
                  <a:lnTo>
                    <a:pt x="235038" y="1670633"/>
                  </a:lnTo>
                  <a:cubicBezTo>
                    <a:pt x="235038" y="1670633"/>
                    <a:pt x="235038" y="1670633"/>
                    <a:pt x="247743" y="1677922"/>
                  </a:cubicBezTo>
                  <a:cubicBezTo>
                    <a:pt x="247743" y="1677922"/>
                    <a:pt x="247743" y="1677922"/>
                    <a:pt x="268071" y="1640529"/>
                  </a:cubicBezTo>
                  <a:cubicBezTo>
                    <a:pt x="268071" y="1640529"/>
                    <a:pt x="268071" y="1640529"/>
                    <a:pt x="255683" y="1633557"/>
                  </a:cubicBezTo>
                  <a:close/>
                  <a:moveTo>
                    <a:pt x="1477881" y="1631656"/>
                  </a:moveTo>
                  <a:cubicBezTo>
                    <a:pt x="1477881" y="1631656"/>
                    <a:pt x="1477881" y="1631656"/>
                    <a:pt x="1451836" y="1660176"/>
                  </a:cubicBezTo>
                  <a:cubicBezTo>
                    <a:pt x="1451836" y="1660176"/>
                    <a:pt x="1451836" y="1660176"/>
                    <a:pt x="1469940" y="1676654"/>
                  </a:cubicBezTo>
                  <a:cubicBezTo>
                    <a:pt x="1469940" y="1676654"/>
                    <a:pt x="1469940" y="1676654"/>
                    <a:pt x="1495985" y="1647817"/>
                  </a:cubicBezTo>
                  <a:close/>
                  <a:moveTo>
                    <a:pt x="330324" y="1631022"/>
                  </a:moveTo>
                  <a:cubicBezTo>
                    <a:pt x="330324" y="1631022"/>
                    <a:pt x="330324" y="1631022"/>
                    <a:pt x="313808" y="1661443"/>
                  </a:cubicBezTo>
                  <a:cubicBezTo>
                    <a:pt x="313808" y="1661443"/>
                    <a:pt x="313808" y="1661443"/>
                    <a:pt x="436409" y="1731159"/>
                  </a:cubicBezTo>
                  <a:cubicBezTo>
                    <a:pt x="436409" y="1731159"/>
                    <a:pt x="436409" y="1731159"/>
                    <a:pt x="445937" y="1696935"/>
                  </a:cubicBezTo>
                  <a:close/>
                  <a:moveTo>
                    <a:pt x="747993" y="1628170"/>
                  </a:moveTo>
                  <a:cubicBezTo>
                    <a:pt x="747993" y="1628170"/>
                    <a:pt x="747993" y="1628170"/>
                    <a:pt x="744499" y="1635142"/>
                  </a:cubicBezTo>
                  <a:cubicBezTo>
                    <a:pt x="744499" y="1635142"/>
                    <a:pt x="744499" y="1635142"/>
                    <a:pt x="774990" y="1649719"/>
                  </a:cubicBezTo>
                  <a:lnTo>
                    <a:pt x="778484" y="1643064"/>
                  </a:lnTo>
                  <a:cubicBezTo>
                    <a:pt x="778484" y="1643064"/>
                    <a:pt x="778484" y="1643064"/>
                    <a:pt x="747993" y="1628170"/>
                  </a:cubicBezTo>
                  <a:close/>
                  <a:moveTo>
                    <a:pt x="645719" y="1627536"/>
                  </a:moveTo>
                  <a:cubicBezTo>
                    <a:pt x="645719" y="1627536"/>
                    <a:pt x="645719" y="1627536"/>
                    <a:pt x="630156" y="1654789"/>
                  </a:cubicBezTo>
                  <a:cubicBezTo>
                    <a:pt x="630156" y="1654789"/>
                    <a:pt x="630156" y="1654789"/>
                    <a:pt x="666365" y="1675387"/>
                  </a:cubicBezTo>
                  <a:cubicBezTo>
                    <a:pt x="666365" y="1675387"/>
                    <a:pt x="666365" y="1675387"/>
                    <a:pt x="681928" y="1648134"/>
                  </a:cubicBezTo>
                  <a:close/>
                  <a:moveTo>
                    <a:pt x="1477563" y="1625635"/>
                  </a:moveTo>
                  <a:cubicBezTo>
                    <a:pt x="1477563" y="1625635"/>
                    <a:pt x="1477563" y="1625635"/>
                    <a:pt x="1501702" y="1647500"/>
                  </a:cubicBezTo>
                  <a:cubicBezTo>
                    <a:pt x="1501702" y="1647500"/>
                    <a:pt x="1501702" y="1647500"/>
                    <a:pt x="1470258" y="1682675"/>
                  </a:cubicBezTo>
                  <a:cubicBezTo>
                    <a:pt x="1470258" y="1682675"/>
                    <a:pt x="1470258" y="1682675"/>
                    <a:pt x="1445801" y="1660493"/>
                  </a:cubicBezTo>
                  <a:cubicBezTo>
                    <a:pt x="1445801" y="1660493"/>
                    <a:pt x="1445801" y="1660493"/>
                    <a:pt x="1447389" y="1659225"/>
                  </a:cubicBezTo>
                  <a:close/>
                  <a:moveTo>
                    <a:pt x="491039" y="1624368"/>
                  </a:moveTo>
                  <a:cubicBezTo>
                    <a:pt x="491039" y="1624368"/>
                    <a:pt x="491039" y="1624368"/>
                    <a:pt x="478017" y="1661760"/>
                  </a:cubicBezTo>
                  <a:cubicBezTo>
                    <a:pt x="478017" y="1661760"/>
                    <a:pt x="478017" y="1661760"/>
                    <a:pt x="586325" y="1723237"/>
                  </a:cubicBezTo>
                  <a:cubicBezTo>
                    <a:pt x="586325" y="1723237"/>
                    <a:pt x="586325" y="1723237"/>
                    <a:pt x="605382" y="1689646"/>
                  </a:cubicBezTo>
                  <a:close/>
                  <a:moveTo>
                    <a:pt x="1924452" y="1623734"/>
                  </a:moveTo>
                  <a:cubicBezTo>
                    <a:pt x="1924452" y="1623734"/>
                    <a:pt x="1924452" y="1623734"/>
                    <a:pt x="1727211" y="1656373"/>
                  </a:cubicBezTo>
                  <a:cubicBezTo>
                    <a:pt x="1727211" y="1656373"/>
                    <a:pt x="1727211" y="1656373"/>
                    <a:pt x="1711013" y="1794219"/>
                  </a:cubicBezTo>
                  <a:cubicBezTo>
                    <a:pt x="1711013" y="1794219"/>
                    <a:pt x="1711013" y="1794219"/>
                    <a:pt x="1812651" y="1806895"/>
                  </a:cubicBezTo>
                  <a:cubicBezTo>
                    <a:pt x="1812651" y="1806895"/>
                    <a:pt x="1812651" y="1806895"/>
                    <a:pt x="1797088" y="1787248"/>
                  </a:cubicBezTo>
                  <a:cubicBezTo>
                    <a:pt x="1797088" y="1787248"/>
                    <a:pt x="1797088" y="1787248"/>
                    <a:pt x="1839331" y="1750172"/>
                  </a:cubicBezTo>
                  <a:cubicBezTo>
                    <a:pt x="1839331" y="1750172"/>
                    <a:pt x="1839331" y="1750172"/>
                    <a:pt x="1873634" y="1791051"/>
                  </a:cubicBezTo>
                  <a:cubicBezTo>
                    <a:pt x="1873634" y="1791051"/>
                    <a:pt x="1873634" y="1791051"/>
                    <a:pt x="1850448" y="1811648"/>
                  </a:cubicBezTo>
                  <a:cubicBezTo>
                    <a:pt x="1850448" y="1811648"/>
                    <a:pt x="1850448" y="1811648"/>
                    <a:pt x="1892373" y="1816719"/>
                  </a:cubicBezTo>
                  <a:close/>
                  <a:moveTo>
                    <a:pt x="1097373" y="1620565"/>
                  </a:moveTo>
                  <a:cubicBezTo>
                    <a:pt x="1097373" y="1620565"/>
                    <a:pt x="1097373" y="1620565"/>
                    <a:pt x="1079269" y="1645282"/>
                  </a:cubicBezTo>
                  <a:cubicBezTo>
                    <a:pt x="1079269" y="1645282"/>
                    <a:pt x="1079269" y="1645282"/>
                    <a:pt x="1093562" y="1656373"/>
                  </a:cubicBezTo>
                  <a:cubicBezTo>
                    <a:pt x="1093562" y="1656373"/>
                    <a:pt x="1093562" y="1656373"/>
                    <a:pt x="1079587" y="1674753"/>
                  </a:cubicBezTo>
                  <a:cubicBezTo>
                    <a:pt x="1079587" y="1674753"/>
                    <a:pt x="1079587" y="1674753"/>
                    <a:pt x="1100549" y="1690914"/>
                  </a:cubicBezTo>
                  <a:cubicBezTo>
                    <a:pt x="1100549" y="1690914"/>
                    <a:pt x="1100549" y="1690914"/>
                    <a:pt x="1131358" y="1650986"/>
                  </a:cubicBezTo>
                  <a:lnTo>
                    <a:pt x="1118336" y="1640846"/>
                  </a:lnTo>
                  <a:cubicBezTo>
                    <a:pt x="1118336" y="1640846"/>
                    <a:pt x="1118336" y="1640846"/>
                    <a:pt x="1120242" y="1638311"/>
                  </a:cubicBezTo>
                  <a:cubicBezTo>
                    <a:pt x="1120242" y="1638311"/>
                    <a:pt x="1120242" y="1638311"/>
                    <a:pt x="1097373" y="1620565"/>
                  </a:cubicBezTo>
                  <a:close/>
                  <a:moveTo>
                    <a:pt x="1163120" y="1618030"/>
                  </a:moveTo>
                  <a:cubicBezTo>
                    <a:pt x="1163120" y="1618030"/>
                    <a:pt x="1163120" y="1618030"/>
                    <a:pt x="1113254" y="1718800"/>
                  </a:cubicBezTo>
                  <a:cubicBezTo>
                    <a:pt x="1113254" y="1718800"/>
                    <a:pt x="1113254" y="1718800"/>
                    <a:pt x="1134535" y="1735278"/>
                  </a:cubicBezTo>
                  <a:cubicBezTo>
                    <a:pt x="1134535" y="1735278"/>
                    <a:pt x="1134535" y="1735278"/>
                    <a:pt x="1145969" y="1733060"/>
                  </a:cubicBezTo>
                  <a:cubicBezTo>
                    <a:pt x="1145969" y="1733060"/>
                    <a:pt x="1145969" y="1733060"/>
                    <a:pt x="1128500" y="1723870"/>
                  </a:cubicBezTo>
                  <a:cubicBezTo>
                    <a:pt x="1128500" y="1723870"/>
                    <a:pt x="1128500" y="1723870"/>
                    <a:pt x="1129453" y="1721969"/>
                  </a:cubicBezTo>
                  <a:cubicBezTo>
                    <a:pt x="1129453" y="1721969"/>
                    <a:pt x="1129453" y="1721969"/>
                    <a:pt x="1150733" y="1681407"/>
                  </a:cubicBezTo>
                  <a:cubicBezTo>
                    <a:pt x="1150733" y="1681407"/>
                    <a:pt x="1150733" y="1681407"/>
                    <a:pt x="1172014" y="1692498"/>
                  </a:cubicBezTo>
                  <a:cubicBezTo>
                    <a:pt x="1172014" y="1692498"/>
                    <a:pt x="1172014" y="1692498"/>
                    <a:pt x="1151051" y="1732109"/>
                  </a:cubicBezTo>
                  <a:cubicBezTo>
                    <a:pt x="1151051" y="1732109"/>
                    <a:pt x="1151051" y="1732109"/>
                    <a:pt x="1186624" y="1725455"/>
                  </a:cubicBezTo>
                  <a:lnTo>
                    <a:pt x="1237126" y="1649402"/>
                  </a:lnTo>
                  <a:cubicBezTo>
                    <a:pt x="1225056" y="1644332"/>
                    <a:pt x="1212351" y="1639261"/>
                    <a:pt x="1199964" y="1633874"/>
                  </a:cubicBezTo>
                  <a:cubicBezTo>
                    <a:pt x="1187259" y="1628487"/>
                    <a:pt x="1174872" y="1623100"/>
                    <a:pt x="1163120" y="1618030"/>
                  </a:cubicBezTo>
                  <a:close/>
                  <a:moveTo>
                    <a:pt x="704796" y="1616445"/>
                  </a:moveTo>
                  <a:cubicBezTo>
                    <a:pt x="704796" y="1616445"/>
                    <a:pt x="704796" y="1616445"/>
                    <a:pt x="687645" y="1646233"/>
                  </a:cubicBezTo>
                  <a:cubicBezTo>
                    <a:pt x="687645" y="1646233"/>
                    <a:pt x="687645" y="1646233"/>
                    <a:pt x="702891" y="1654789"/>
                  </a:cubicBezTo>
                  <a:lnTo>
                    <a:pt x="719725" y="1625001"/>
                  </a:lnTo>
                  <a:cubicBezTo>
                    <a:pt x="719725" y="1625001"/>
                    <a:pt x="719725" y="1625001"/>
                    <a:pt x="704796" y="1616445"/>
                  </a:cubicBezTo>
                  <a:close/>
                  <a:moveTo>
                    <a:pt x="1096738" y="1614861"/>
                  </a:moveTo>
                  <a:cubicBezTo>
                    <a:pt x="1096738" y="1614861"/>
                    <a:pt x="1096738" y="1614861"/>
                    <a:pt x="1126277" y="1637677"/>
                  </a:cubicBezTo>
                  <a:lnTo>
                    <a:pt x="1124053" y="1640212"/>
                  </a:lnTo>
                  <a:cubicBezTo>
                    <a:pt x="1124053" y="1640212"/>
                    <a:pt x="1124053" y="1640212"/>
                    <a:pt x="1137393" y="1650352"/>
                  </a:cubicBezTo>
                  <a:cubicBezTo>
                    <a:pt x="1137393" y="1650352"/>
                    <a:pt x="1137393" y="1650352"/>
                    <a:pt x="1101185" y="1696935"/>
                  </a:cubicBezTo>
                  <a:cubicBezTo>
                    <a:pt x="1101185" y="1696935"/>
                    <a:pt x="1101185" y="1696935"/>
                    <a:pt x="1073552" y="1675387"/>
                  </a:cubicBezTo>
                  <a:cubicBezTo>
                    <a:pt x="1073552" y="1675387"/>
                    <a:pt x="1073552" y="1675387"/>
                    <a:pt x="1087845" y="1657324"/>
                  </a:cubicBezTo>
                  <a:cubicBezTo>
                    <a:pt x="1087845" y="1657324"/>
                    <a:pt x="1087845" y="1657324"/>
                    <a:pt x="1073552" y="1645916"/>
                  </a:cubicBezTo>
                  <a:cubicBezTo>
                    <a:pt x="1073552" y="1645916"/>
                    <a:pt x="1073552" y="1645916"/>
                    <a:pt x="1074822" y="1644332"/>
                  </a:cubicBezTo>
                  <a:cubicBezTo>
                    <a:pt x="1074822" y="1644332"/>
                    <a:pt x="1074822" y="1644332"/>
                    <a:pt x="1096738" y="1614861"/>
                  </a:cubicBezTo>
                  <a:close/>
                  <a:moveTo>
                    <a:pt x="290621" y="1608206"/>
                  </a:moveTo>
                  <a:cubicBezTo>
                    <a:pt x="290621" y="1608206"/>
                    <a:pt x="290621" y="1608206"/>
                    <a:pt x="273788" y="1638628"/>
                  </a:cubicBezTo>
                  <a:cubicBezTo>
                    <a:pt x="273788" y="1638628"/>
                    <a:pt x="273788" y="1638628"/>
                    <a:pt x="309996" y="1659225"/>
                  </a:cubicBezTo>
                  <a:cubicBezTo>
                    <a:pt x="309996" y="1659225"/>
                    <a:pt x="309996" y="1659225"/>
                    <a:pt x="326830" y="1628804"/>
                  </a:cubicBezTo>
                  <a:close/>
                  <a:moveTo>
                    <a:pt x="274423" y="1599017"/>
                  </a:moveTo>
                  <a:lnTo>
                    <a:pt x="257589" y="1629438"/>
                  </a:lnTo>
                  <a:cubicBezTo>
                    <a:pt x="257589" y="1629438"/>
                    <a:pt x="257589" y="1629438"/>
                    <a:pt x="270294" y="1636726"/>
                  </a:cubicBezTo>
                  <a:cubicBezTo>
                    <a:pt x="270294" y="1636726"/>
                    <a:pt x="270294" y="1636726"/>
                    <a:pt x="286810" y="1606305"/>
                  </a:cubicBezTo>
                  <a:cubicBezTo>
                    <a:pt x="286810" y="1606305"/>
                    <a:pt x="286810" y="1606305"/>
                    <a:pt x="274423" y="1599017"/>
                  </a:cubicBezTo>
                  <a:close/>
                  <a:moveTo>
                    <a:pt x="1468670" y="1597432"/>
                  </a:moveTo>
                  <a:cubicBezTo>
                    <a:pt x="1468670" y="1597432"/>
                    <a:pt x="1468670" y="1597432"/>
                    <a:pt x="1406416" y="1682675"/>
                  </a:cubicBezTo>
                  <a:cubicBezTo>
                    <a:pt x="1406416" y="1682675"/>
                    <a:pt x="1406416" y="1682675"/>
                    <a:pt x="1405464" y="1682992"/>
                  </a:cubicBezTo>
                  <a:cubicBezTo>
                    <a:pt x="1405464" y="1682992"/>
                    <a:pt x="1334635" y="1684576"/>
                    <a:pt x="1324153" y="1684576"/>
                  </a:cubicBezTo>
                  <a:cubicBezTo>
                    <a:pt x="1324153" y="1684576"/>
                    <a:pt x="1324153" y="1684576"/>
                    <a:pt x="1305731" y="1714047"/>
                  </a:cubicBezTo>
                  <a:cubicBezTo>
                    <a:pt x="1305731" y="1714047"/>
                    <a:pt x="1305731" y="1714047"/>
                    <a:pt x="1519806" y="1724187"/>
                  </a:cubicBezTo>
                  <a:cubicBezTo>
                    <a:pt x="1519806" y="1723237"/>
                    <a:pt x="1519806" y="1721969"/>
                    <a:pt x="1519806" y="1721018"/>
                  </a:cubicBezTo>
                  <a:cubicBezTo>
                    <a:pt x="1519806" y="1700738"/>
                    <a:pt x="1517583" y="1671901"/>
                    <a:pt x="1507419" y="1645916"/>
                  </a:cubicBezTo>
                  <a:cubicBezTo>
                    <a:pt x="1499479" y="1626269"/>
                    <a:pt x="1487409" y="1608840"/>
                    <a:pt x="1468670" y="1597432"/>
                  </a:cubicBezTo>
                  <a:close/>
                  <a:moveTo>
                    <a:pt x="903626" y="1597432"/>
                  </a:moveTo>
                  <a:cubicBezTo>
                    <a:pt x="900132" y="1604721"/>
                    <a:pt x="893780" y="1618664"/>
                    <a:pt x="885839" y="1636092"/>
                  </a:cubicBezTo>
                  <a:cubicBezTo>
                    <a:pt x="869323" y="1673168"/>
                    <a:pt x="845502" y="1727356"/>
                    <a:pt x="825809" y="1772354"/>
                  </a:cubicBezTo>
                  <a:cubicBezTo>
                    <a:pt x="808023" y="1812599"/>
                    <a:pt x="793730" y="1845555"/>
                    <a:pt x="791189" y="1851576"/>
                  </a:cubicBezTo>
                  <a:cubicBezTo>
                    <a:pt x="791189" y="1851576"/>
                    <a:pt x="791189" y="1851576"/>
                    <a:pt x="808023" y="1881047"/>
                  </a:cubicBezTo>
                  <a:cubicBezTo>
                    <a:pt x="808023" y="1881047"/>
                    <a:pt x="808023" y="1881047"/>
                    <a:pt x="840420" y="1894039"/>
                  </a:cubicBezTo>
                  <a:cubicBezTo>
                    <a:pt x="840420" y="1894039"/>
                    <a:pt x="840420" y="1894039"/>
                    <a:pt x="975090" y="1638944"/>
                  </a:cubicBezTo>
                  <a:cubicBezTo>
                    <a:pt x="975090" y="1638944"/>
                    <a:pt x="975090" y="1638944"/>
                    <a:pt x="933800" y="1606939"/>
                  </a:cubicBezTo>
                  <a:cubicBezTo>
                    <a:pt x="933800" y="1606939"/>
                    <a:pt x="933800" y="1606939"/>
                    <a:pt x="903626" y="1597432"/>
                  </a:cubicBezTo>
                  <a:close/>
                  <a:moveTo>
                    <a:pt x="774037" y="1596165"/>
                  </a:moveTo>
                  <a:cubicBezTo>
                    <a:pt x="774037" y="1596165"/>
                    <a:pt x="774037" y="1596165"/>
                    <a:pt x="767050" y="1609157"/>
                  </a:cubicBezTo>
                  <a:cubicBezTo>
                    <a:pt x="767050" y="1609157"/>
                    <a:pt x="767050" y="1609157"/>
                    <a:pt x="796906" y="1623734"/>
                  </a:cubicBezTo>
                  <a:cubicBezTo>
                    <a:pt x="796906" y="1623734"/>
                    <a:pt x="796906" y="1623734"/>
                    <a:pt x="804846" y="1609474"/>
                  </a:cubicBezTo>
                  <a:close/>
                  <a:moveTo>
                    <a:pt x="350334" y="1593946"/>
                  </a:moveTo>
                  <a:cubicBezTo>
                    <a:pt x="350334" y="1593946"/>
                    <a:pt x="350334" y="1593946"/>
                    <a:pt x="332547" y="1627220"/>
                  </a:cubicBezTo>
                  <a:cubicBezTo>
                    <a:pt x="332547" y="1627220"/>
                    <a:pt x="332547" y="1627220"/>
                    <a:pt x="447525" y="1692498"/>
                  </a:cubicBezTo>
                  <a:cubicBezTo>
                    <a:pt x="447525" y="1692498"/>
                    <a:pt x="447525" y="1692498"/>
                    <a:pt x="472617" y="1663662"/>
                  </a:cubicBezTo>
                  <a:close/>
                  <a:moveTo>
                    <a:pt x="664776" y="1593629"/>
                  </a:moveTo>
                  <a:cubicBezTo>
                    <a:pt x="664776" y="1593629"/>
                    <a:pt x="664776" y="1593629"/>
                    <a:pt x="647943" y="1623417"/>
                  </a:cubicBezTo>
                  <a:cubicBezTo>
                    <a:pt x="647943" y="1623417"/>
                    <a:pt x="647943" y="1623417"/>
                    <a:pt x="684151" y="1644332"/>
                  </a:cubicBezTo>
                  <a:cubicBezTo>
                    <a:pt x="684151" y="1644332"/>
                    <a:pt x="684151" y="1644332"/>
                    <a:pt x="700985" y="1614227"/>
                  </a:cubicBezTo>
                  <a:close/>
                  <a:moveTo>
                    <a:pt x="1420709" y="1592996"/>
                  </a:moveTo>
                  <a:cubicBezTo>
                    <a:pt x="1420709" y="1592996"/>
                    <a:pt x="1420709" y="1592996"/>
                    <a:pt x="1394664" y="1621832"/>
                  </a:cubicBezTo>
                  <a:cubicBezTo>
                    <a:pt x="1394664" y="1621832"/>
                    <a:pt x="1394664" y="1621832"/>
                    <a:pt x="1412769" y="1637994"/>
                  </a:cubicBezTo>
                  <a:cubicBezTo>
                    <a:pt x="1412769" y="1637994"/>
                    <a:pt x="1412769" y="1637994"/>
                    <a:pt x="1438814" y="1609157"/>
                  </a:cubicBezTo>
                  <a:close/>
                  <a:moveTo>
                    <a:pt x="1549980" y="1592045"/>
                  </a:moveTo>
                  <a:cubicBezTo>
                    <a:pt x="1549980" y="1592045"/>
                    <a:pt x="1549980" y="1592045"/>
                    <a:pt x="1531876" y="1597749"/>
                  </a:cubicBezTo>
                  <a:cubicBezTo>
                    <a:pt x="1531876" y="1597749"/>
                    <a:pt x="1531876" y="1597749"/>
                    <a:pt x="1549980" y="1653521"/>
                  </a:cubicBezTo>
                  <a:cubicBezTo>
                    <a:pt x="1549980" y="1653521"/>
                    <a:pt x="1549980" y="1653521"/>
                    <a:pt x="1568084" y="1647500"/>
                  </a:cubicBezTo>
                  <a:lnTo>
                    <a:pt x="1563638" y="1633240"/>
                  </a:lnTo>
                  <a:cubicBezTo>
                    <a:pt x="1563638" y="1633240"/>
                    <a:pt x="1563638" y="1633240"/>
                    <a:pt x="1576660" y="1629121"/>
                  </a:cubicBezTo>
                  <a:cubicBezTo>
                    <a:pt x="1576660" y="1629121"/>
                    <a:pt x="1576660" y="1629121"/>
                    <a:pt x="1567767" y="1601868"/>
                  </a:cubicBezTo>
                  <a:cubicBezTo>
                    <a:pt x="1567767" y="1601868"/>
                    <a:pt x="1567767" y="1601868"/>
                    <a:pt x="1554744" y="1605988"/>
                  </a:cubicBezTo>
                  <a:cubicBezTo>
                    <a:pt x="1554744" y="1605988"/>
                    <a:pt x="1554744" y="1605988"/>
                    <a:pt x="1549980" y="1592045"/>
                  </a:cubicBezTo>
                  <a:close/>
                  <a:moveTo>
                    <a:pt x="1102138" y="1591728"/>
                  </a:moveTo>
                  <a:cubicBezTo>
                    <a:pt x="1102138" y="1591728"/>
                    <a:pt x="1102138" y="1591728"/>
                    <a:pt x="1039884" y="1662394"/>
                  </a:cubicBezTo>
                  <a:cubicBezTo>
                    <a:pt x="1039884" y="1662394"/>
                    <a:pt x="1039884" y="1662394"/>
                    <a:pt x="1109443" y="1715948"/>
                  </a:cubicBezTo>
                  <a:lnTo>
                    <a:pt x="1158991" y="1616445"/>
                  </a:lnTo>
                  <a:cubicBezTo>
                    <a:pt x="1148828" y="1612009"/>
                    <a:pt x="1139299" y="1607889"/>
                    <a:pt x="1131041" y="1604404"/>
                  </a:cubicBezTo>
                  <a:cubicBezTo>
                    <a:pt x="1122148" y="1600601"/>
                    <a:pt x="1114525" y="1597115"/>
                    <a:pt x="1109125" y="1594897"/>
                  </a:cubicBezTo>
                  <a:cubicBezTo>
                    <a:pt x="1106267" y="1593629"/>
                    <a:pt x="1104361" y="1592679"/>
                    <a:pt x="1102773" y="1592045"/>
                  </a:cubicBezTo>
                  <a:cubicBezTo>
                    <a:pt x="1102455" y="1592045"/>
                    <a:pt x="1102455" y="1592045"/>
                    <a:pt x="1102138" y="1591728"/>
                  </a:cubicBezTo>
                  <a:close/>
                  <a:moveTo>
                    <a:pt x="762603" y="1591094"/>
                  </a:moveTo>
                  <a:lnTo>
                    <a:pt x="739099" y="1632607"/>
                  </a:lnTo>
                  <a:cubicBezTo>
                    <a:pt x="739099" y="1632607"/>
                    <a:pt x="739099" y="1632607"/>
                    <a:pt x="740687" y="1633240"/>
                  </a:cubicBezTo>
                  <a:cubicBezTo>
                    <a:pt x="740687" y="1633240"/>
                    <a:pt x="740687" y="1633240"/>
                    <a:pt x="746087" y="1622783"/>
                  </a:cubicBezTo>
                  <a:cubicBezTo>
                    <a:pt x="746087" y="1622783"/>
                    <a:pt x="746087" y="1622783"/>
                    <a:pt x="783884" y="1641163"/>
                  </a:cubicBezTo>
                  <a:cubicBezTo>
                    <a:pt x="783884" y="1641163"/>
                    <a:pt x="783884" y="1641163"/>
                    <a:pt x="782931" y="1643064"/>
                  </a:cubicBezTo>
                  <a:cubicBezTo>
                    <a:pt x="782931" y="1643064"/>
                    <a:pt x="782931" y="1643064"/>
                    <a:pt x="778802" y="1651303"/>
                  </a:cubicBezTo>
                  <a:cubicBezTo>
                    <a:pt x="778802" y="1651303"/>
                    <a:pt x="778802" y="1651303"/>
                    <a:pt x="857571" y="1688696"/>
                  </a:cubicBezTo>
                  <a:cubicBezTo>
                    <a:pt x="865194" y="1671584"/>
                    <a:pt x="872499" y="1655423"/>
                    <a:pt x="878852" y="1641163"/>
                  </a:cubicBezTo>
                  <a:cubicBezTo>
                    <a:pt x="878852" y="1641163"/>
                    <a:pt x="878852" y="1641163"/>
                    <a:pt x="808658" y="1611058"/>
                  </a:cubicBezTo>
                  <a:cubicBezTo>
                    <a:pt x="808658" y="1611058"/>
                    <a:pt x="808658" y="1611058"/>
                    <a:pt x="798812" y="1629121"/>
                  </a:cubicBezTo>
                  <a:cubicBezTo>
                    <a:pt x="798812" y="1629121"/>
                    <a:pt x="798812" y="1629121"/>
                    <a:pt x="761333" y="1611058"/>
                  </a:cubicBezTo>
                  <a:cubicBezTo>
                    <a:pt x="761333" y="1611058"/>
                    <a:pt x="761333" y="1611058"/>
                    <a:pt x="770226" y="1594263"/>
                  </a:cubicBezTo>
                  <a:cubicBezTo>
                    <a:pt x="770226" y="1594263"/>
                    <a:pt x="770226" y="1594263"/>
                    <a:pt x="762603" y="1591094"/>
                  </a:cubicBezTo>
                  <a:close/>
                  <a:moveTo>
                    <a:pt x="503744" y="1587925"/>
                  </a:moveTo>
                  <a:cubicBezTo>
                    <a:pt x="503744" y="1587925"/>
                    <a:pt x="503744" y="1587925"/>
                    <a:pt x="492627" y="1620248"/>
                  </a:cubicBezTo>
                  <a:cubicBezTo>
                    <a:pt x="492627" y="1620248"/>
                    <a:pt x="492627" y="1620248"/>
                    <a:pt x="607605" y="1685844"/>
                  </a:cubicBezTo>
                  <a:lnTo>
                    <a:pt x="624121" y="1656690"/>
                  </a:lnTo>
                  <a:cubicBezTo>
                    <a:pt x="624121" y="1656690"/>
                    <a:pt x="624121" y="1656690"/>
                    <a:pt x="503744" y="1587925"/>
                  </a:cubicBezTo>
                  <a:close/>
                  <a:moveTo>
                    <a:pt x="1420392" y="1586975"/>
                  </a:moveTo>
                  <a:cubicBezTo>
                    <a:pt x="1420392" y="1586975"/>
                    <a:pt x="1420392" y="1586975"/>
                    <a:pt x="1444531" y="1608840"/>
                  </a:cubicBezTo>
                  <a:cubicBezTo>
                    <a:pt x="1444531" y="1608840"/>
                    <a:pt x="1444531" y="1608840"/>
                    <a:pt x="1413086" y="1644015"/>
                  </a:cubicBezTo>
                  <a:cubicBezTo>
                    <a:pt x="1413086" y="1644015"/>
                    <a:pt x="1413086" y="1644015"/>
                    <a:pt x="1388947" y="1622149"/>
                  </a:cubicBezTo>
                  <a:cubicBezTo>
                    <a:pt x="1388947" y="1622149"/>
                    <a:pt x="1388947" y="1622149"/>
                    <a:pt x="1390218" y="1620565"/>
                  </a:cubicBezTo>
                  <a:close/>
                  <a:moveTo>
                    <a:pt x="1552839" y="1586658"/>
                  </a:moveTo>
                  <a:cubicBezTo>
                    <a:pt x="1552839" y="1586658"/>
                    <a:pt x="1552839" y="1586658"/>
                    <a:pt x="1557285" y="1600918"/>
                  </a:cubicBezTo>
                  <a:cubicBezTo>
                    <a:pt x="1557285" y="1600918"/>
                    <a:pt x="1557285" y="1600918"/>
                    <a:pt x="1570308" y="1596798"/>
                  </a:cubicBezTo>
                  <a:lnTo>
                    <a:pt x="1581742" y="1631973"/>
                  </a:lnTo>
                  <a:cubicBezTo>
                    <a:pt x="1581742" y="1631973"/>
                    <a:pt x="1581742" y="1631973"/>
                    <a:pt x="1568720" y="1636092"/>
                  </a:cubicBezTo>
                  <a:cubicBezTo>
                    <a:pt x="1568720" y="1636092"/>
                    <a:pt x="1568720" y="1636092"/>
                    <a:pt x="1573484" y="1650035"/>
                  </a:cubicBezTo>
                  <a:cubicBezTo>
                    <a:pt x="1573484" y="1650035"/>
                    <a:pt x="1573484" y="1650035"/>
                    <a:pt x="1547439" y="1658591"/>
                  </a:cubicBezTo>
                  <a:cubicBezTo>
                    <a:pt x="1547439" y="1658591"/>
                    <a:pt x="1547439" y="1658591"/>
                    <a:pt x="1526794" y="1595214"/>
                  </a:cubicBezTo>
                  <a:cubicBezTo>
                    <a:pt x="1526794" y="1595214"/>
                    <a:pt x="1526794" y="1595214"/>
                    <a:pt x="1528700" y="1594580"/>
                  </a:cubicBezTo>
                  <a:cubicBezTo>
                    <a:pt x="1528700" y="1594580"/>
                    <a:pt x="1528700" y="1594580"/>
                    <a:pt x="1552839" y="1586658"/>
                  </a:cubicBezTo>
                  <a:close/>
                  <a:moveTo>
                    <a:pt x="783884" y="1577468"/>
                  </a:moveTo>
                  <a:cubicBezTo>
                    <a:pt x="783884" y="1577468"/>
                    <a:pt x="783884" y="1577468"/>
                    <a:pt x="775943" y="1592045"/>
                  </a:cubicBezTo>
                  <a:lnTo>
                    <a:pt x="807070" y="1605354"/>
                  </a:lnTo>
                  <a:cubicBezTo>
                    <a:pt x="807070" y="1605354"/>
                    <a:pt x="807070" y="1605354"/>
                    <a:pt x="814375" y="1592362"/>
                  </a:cubicBezTo>
                  <a:cubicBezTo>
                    <a:pt x="814375" y="1592362"/>
                    <a:pt x="814375" y="1592362"/>
                    <a:pt x="783884" y="1577468"/>
                  </a:cubicBezTo>
                  <a:close/>
                  <a:moveTo>
                    <a:pt x="2540316" y="1575884"/>
                  </a:moveTo>
                  <a:cubicBezTo>
                    <a:pt x="2553656" y="1596798"/>
                    <a:pt x="2565725" y="1618664"/>
                    <a:pt x="2575571" y="1641480"/>
                  </a:cubicBezTo>
                  <a:cubicBezTo>
                    <a:pt x="2632425" y="1769185"/>
                    <a:pt x="2664187" y="1921925"/>
                    <a:pt x="2669586" y="2036956"/>
                  </a:cubicBezTo>
                  <a:cubicBezTo>
                    <a:pt x="2683244" y="2038857"/>
                    <a:pt x="2694996" y="2040124"/>
                    <a:pt x="2704207" y="2041392"/>
                  </a:cubicBezTo>
                  <a:cubicBezTo>
                    <a:pt x="2705477" y="2041392"/>
                    <a:pt x="2706430" y="2041709"/>
                    <a:pt x="2707700" y="2041709"/>
                  </a:cubicBezTo>
                  <a:cubicBezTo>
                    <a:pt x="2707700" y="2007168"/>
                    <a:pt x="2706748" y="1974529"/>
                    <a:pt x="2705160" y="1948544"/>
                  </a:cubicBezTo>
                  <a:cubicBezTo>
                    <a:pt x="2700395" y="1853478"/>
                    <a:pt x="2645130" y="1708977"/>
                    <a:pt x="2609556" y="1641796"/>
                  </a:cubicBezTo>
                  <a:cubicBezTo>
                    <a:pt x="2609556" y="1641796"/>
                    <a:pt x="2609556" y="1641796"/>
                    <a:pt x="2571760" y="1577151"/>
                  </a:cubicBezTo>
                  <a:cubicBezTo>
                    <a:pt x="2571760" y="1577151"/>
                    <a:pt x="2571760" y="1577151"/>
                    <a:pt x="2540316" y="1575884"/>
                  </a:cubicBezTo>
                  <a:close/>
                  <a:moveTo>
                    <a:pt x="2486003" y="1573348"/>
                  </a:moveTo>
                  <a:cubicBezTo>
                    <a:pt x="2505060" y="1601235"/>
                    <a:pt x="2522211" y="1629755"/>
                    <a:pt x="2535234" y="1659225"/>
                  </a:cubicBezTo>
                  <a:cubicBezTo>
                    <a:pt x="2587958" y="1778058"/>
                    <a:pt x="2618767" y="1923510"/>
                    <a:pt x="2625120" y="2031885"/>
                  </a:cubicBezTo>
                  <a:cubicBezTo>
                    <a:pt x="2634648" y="2033153"/>
                    <a:pt x="2643859" y="2034104"/>
                    <a:pt x="2652752" y="2035054"/>
                  </a:cubicBezTo>
                  <a:cubicBezTo>
                    <a:pt x="2656564" y="2035688"/>
                    <a:pt x="2660375" y="2036005"/>
                    <a:pt x="2664187" y="2036322"/>
                  </a:cubicBezTo>
                  <a:cubicBezTo>
                    <a:pt x="2658787" y="1922242"/>
                    <a:pt x="2627026" y="1770453"/>
                    <a:pt x="2570807" y="1643381"/>
                  </a:cubicBezTo>
                  <a:cubicBezTo>
                    <a:pt x="2560643" y="1619931"/>
                    <a:pt x="2547938" y="1597432"/>
                    <a:pt x="2533963" y="1575567"/>
                  </a:cubicBezTo>
                  <a:cubicBezTo>
                    <a:pt x="2533963" y="1575567"/>
                    <a:pt x="2533963" y="1575567"/>
                    <a:pt x="2486003" y="1573348"/>
                  </a:cubicBezTo>
                  <a:close/>
                  <a:moveTo>
                    <a:pt x="310631" y="1571447"/>
                  </a:moveTo>
                  <a:cubicBezTo>
                    <a:pt x="310631" y="1571447"/>
                    <a:pt x="310631" y="1571447"/>
                    <a:pt x="292527" y="1604404"/>
                  </a:cubicBezTo>
                  <a:cubicBezTo>
                    <a:pt x="292527" y="1604404"/>
                    <a:pt x="292527" y="1604404"/>
                    <a:pt x="328736" y="1625001"/>
                  </a:cubicBezTo>
                  <a:cubicBezTo>
                    <a:pt x="328736" y="1625001"/>
                    <a:pt x="328736" y="1625001"/>
                    <a:pt x="346840" y="1592045"/>
                  </a:cubicBezTo>
                  <a:close/>
                  <a:moveTo>
                    <a:pt x="294433" y="1562258"/>
                  </a:moveTo>
                  <a:lnTo>
                    <a:pt x="276329" y="1595214"/>
                  </a:lnTo>
                  <a:cubicBezTo>
                    <a:pt x="276329" y="1595214"/>
                    <a:pt x="276329" y="1595214"/>
                    <a:pt x="289033" y="1602502"/>
                  </a:cubicBezTo>
                  <a:cubicBezTo>
                    <a:pt x="289033" y="1602502"/>
                    <a:pt x="289033" y="1602502"/>
                    <a:pt x="307138" y="1569229"/>
                  </a:cubicBezTo>
                  <a:cubicBezTo>
                    <a:pt x="307138" y="1569229"/>
                    <a:pt x="307138" y="1569229"/>
                    <a:pt x="294433" y="1562258"/>
                  </a:cubicBezTo>
                  <a:close/>
                  <a:moveTo>
                    <a:pt x="529153" y="1560990"/>
                  </a:moveTo>
                  <a:cubicBezTo>
                    <a:pt x="529153" y="1560990"/>
                    <a:pt x="529153" y="1560990"/>
                    <a:pt x="505967" y="1584123"/>
                  </a:cubicBezTo>
                  <a:cubicBezTo>
                    <a:pt x="505967" y="1584123"/>
                    <a:pt x="505967" y="1584123"/>
                    <a:pt x="626345" y="1652887"/>
                  </a:cubicBezTo>
                  <a:lnTo>
                    <a:pt x="642226" y="1625318"/>
                  </a:lnTo>
                  <a:cubicBezTo>
                    <a:pt x="642226" y="1625318"/>
                    <a:pt x="642226" y="1625318"/>
                    <a:pt x="529153" y="1560990"/>
                  </a:cubicBezTo>
                  <a:close/>
                  <a:moveTo>
                    <a:pt x="683516" y="1560673"/>
                  </a:moveTo>
                  <a:cubicBezTo>
                    <a:pt x="683516" y="1560673"/>
                    <a:pt x="683516" y="1560673"/>
                    <a:pt x="667000" y="1589827"/>
                  </a:cubicBezTo>
                  <a:cubicBezTo>
                    <a:pt x="667000" y="1589827"/>
                    <a:pt x="667000" y="1589827"/>
                    <a:pt x="703208" y="1610425"/>
                  </a:cubicBezTo>
                  <a:lnTo>
                    <a:pt x="720042" y="1581271"/>
                  </a:lnTo>
                  <a:cubicBezTo>
                    <a:pt x="720042" y="1581271"/>
                    <a:pt x="720042" y="1581271"/>
                    <a:pt x="683516" y="1560673"/>
                  </a:cubicBezTo>
                  <a:close/>
                  <a:moveTo>
                    <a:pt x="780707" y="1558772"/>
                  </a:moveTo>
                  <a:cubicBezTo>
                    <a:pt x="780707" y="1558772"/>
                    <a:pt x="780707" y="1558772"/>
                    <a:pt x="764826" y="1587292"/>
                  </a:cubicBezTo>
                  <a:cubicBezTo>
                    <a:pt x="764826" y="1587292"/>
                    <a:pt x="764826" y="1587292"/>
                    <a:pt x="772132" y="1590461"/>
                  </a:cubicBezTo>
                  <a:cubicBezTo>
                    <a:pt x="772132" y="1590461"/>
                    <a:pt x="772132" y="1590461"/>
                    <a:pt x="781978" y="1572081"/>
                  </a:cubicBezTo>
                  <a:cubicBezTo>
                    <a:pt x="781978" y="1572081"/>
                    <a:pt x="781978" y="1572081"/>
                    <a:pt x="820092" y="1590461"/>
                  </a:cubicBezTo>
                  <a:cubicBezTo>
                    <a:pt x="820092" y="1590461"/>
                    <a:pt x="820092" y="1590461"/>
                    <a:pt x="819139" y="1592362"/>
                  </a:cubicBezTo>
                  <a:lnTo>
                    <a:pt x="810881" y="1607256"/>
                  </a:lnTo>
                  <a:cubicBezTo>
                    <a:pt x="810881" y="1607256"/>
                    <a:pt x="810881" y="1607256"/>
                    <a:pt x="880440" y="1637043"/>
                  </a:cubicBezTo>
                  <a:cubicBezTo>
                    <a:pt x="881710" y="1634825"/>
                    <a:pt x="882663" y="1632924"/>
                    <a:pt x="883616" y="1630705"/>
                  </a:cubicBezTo>
                  <a:cubicBezTo>
                    <a:pt x="889015" y="1618347"/>
                    <a:pt x="893780" y="1608206"/>
                    <a:pt x="896956" y="1601235"/>
                  </a:cubicBezTo>
                  <a:cubicBezTo>
                    <a:pt x="897909" y="1599333"/>
                    <a:pt x="898544" y="1597749"/>
                    <a:pt x="899497" y="1596165"/>
                  </a:cubicBezTo>
                  <a:cubicBezTo>
                    <a:pt x="899497" y="1596165"/>
                    <a:pt x="899497" y="1596165"/>
                    <a:pt x="780707" y="1558772"/>
                  </a:cubicBezTo>
                  <a:close/>
                  <a:moveTo>
                    <a:pt x="371297" y="1556237"/>
                  </a:moveTo>
                  <a:cubicBezTo>
                    <a:pt x="371297" y="1556237"/>
                    <a:pt x="371297" y="1556237"/>
                    <a:pt x="352557" y="1590144"/>
                  </a:cubicBezTo>
                  <a:cubicBezTo>
                    <a:pt x="352557" y="1590144"/>
                    <a:pt x="352557" y="1590144"/>
                    <a:pt x="474205" y="1659542"/>
                  </a:cubicBezTo>
                  <a:cubicBezTo>
                    <a:pt x="474205" y="1659542"/>
                    <a:pt x="474205" y="1659542"/>
                    <a:pt x="487228" y="1622149"/>
                  </a:cubicBezTo>
                  <a:close/>
                  <a:moveTo>
                    <a:pt x="1958120" y="1550216"/>
                  </a:moveTo>
                  <a:cubicBezTo>
                    <a:pt x="1958120" y="1550216"/>
                    <a:pt x="1958120" y="1550216"/>
                    <a:pt x="1921594" y="1768868"/>
                  </a:cubicBezTo>
                  <a:cubicBezTo>
                    <a:pt x="1921594" y="1768868"/>
                    <a:pt x="1921594" y="1768868"/>
                    <a:pt x="2297972" y="1808796"/>
                  </a:cubicBezTo>
                  <a:cubicBezTo>
                    <a:pt x="2297972" y="1808796"/>
                    <a:pt x="2297972" y="1808796"/>
                    <a:pt x="2297655" y="1811015"/>
                  </a:cubicBezTo>
                  <a:cubicBezTo>
                    <a:pt x="2297655" y="1811015"/>
                    <a:pt x="2293843" y="1856963"/>
                    <a:pt x="2289714" y="1903229"/>
                  </a:cubicBezTo>
                  <a:cubicBezTo>
                    <a:pt x="2287808" y="1926045"/>
                    <a:pt x="2285585" y="1949178"/>
                    <a:pt x="2283680" y="1966606"/>
                  </a:cubicBezTo>
                  <a:cubicBezTo>
                    <a:pt x="2283044" y="1975162"/>
                    <a:pt x="2282091" y="1982451"/>
                    <a:pt x="2281456" y="1987521"/>
                  </a:cubicBezTo>
                  <a:cubicBezTo>
                    <a:pt x="2281138" y="1990056"/>
                    <a:pt x="2280821" y="1991958"/>
                    <a:pt x="2280821" y="1993542"/>
                  </a:cubicBezTo>
                  <a:cubicBezTo>
                    <a:pt x="2302101" y="1995760"/>
                    <a:pt x="2400246" y="2006534"/>
                    <a:pt x="2498708" y="2017625"/>
                  </a:cubicBezTo>
                  <a:cubicBezTo>
                    <a:pt x="2540951" y="2022379"/>
                    <a:pt x="2583512" y="2027132"/>
                    <a:pt x="2619720" y="2031252"/>
                  </a:cubicBezTo>
                  <a:cubicBezTo>
                    <a:pt x="2613686" y="1923827"/>
                    <a:pt x="2582876" y="1779009"/>
                    <a:pt x="2530469" y="1661443"/>
                  </a:cubicBezTo>
                  <a:cubicBezTo>
                    <a:pt x="2517129" y="1631022"/>
                    <a:pt x="2499342" y="1601552"/>
                    <a:pt x="2479333" y="1573032"/>
                  </a:cubicBezTo>
                  <a:close/>
                  <a:moveTo>
                    <a:pt x="1216163" y="1542294"/>
                  </a:moveTo>
                  <a:cubicBezTo>
                    <a:pt x="1216163" y="1542294"/>
                    <a:pt x="1216163" y="1542294"/>
                    <a:pt x="1208857" y="1577468"/>
                  </a:cubicBezTo>
                  <a:cubicBezTo>
                    <a:pt x="1208857" y="1577468"/>
                    <a:pt x="1208857" y="1577468"/>
                    <a:pt x="1242207" y="1584440"/>
                  </a:cubicBezTo>
                  <a:cubicBezTo>
                    <a:pt x="1242207" y="1584440"/>
                    <a:pt x="1242207" y="1584440"/>
                    <a:pt x="1249513" y="1549265"/>
                  </a:cubicBezTo>
                  <a:close/>
                  <a:moveTo>
                    <a:pt x="1212987" y="1537223"/>
                  </a:moveTo>
                  <a:cubicBezTo>
                    <a:pt x="1212987" y="1537223"/>
                    <a:pt x="1212987" y="1537223"/>
                    <a:pt x="1254595" y="1546096"/>
                  </a:cubicBezTo>
                  <a:cubicBezTo>
                    <a:pt x="1254595" y="1546096"/>
                    <a:pt x="1254595" y="1546096"/>
                    <a:pt x="1245384" y="1589193"/>
                  </a:cubicBezTo>
                  <a:cubicBezTo>
                    <a:pt x="1245384" y="1589193"/>
                    <a:pt x="1245384" y="1589193"/>
                    <a:pt x="1203776" y="1580637"/>
                  </a:cubicBezTo>
                  <a:cubicBezTo>
                    <a:pt x="1203776" y="1580637"/>
                    <a:pt x="1203776" y="1580637"/>
                    <a:pt x="1204093" y="1578419"/>
                  </a:cubicBezTo>
                  <a:close/>
                  <a:moveTo>
                    <a:pt x="331277" y="1533421"/>
                  </a:moveTo>
                  <a:cubicBezTo>
                    <a:pt x="331277" y="1533421"/>
                    <a:pt x="331277" y="1533421"/>
                    <a:pt x="312855" y="1567645"/>
                  </a:cubicBezTo>
                  <a:cubicBezTo>
                    <a:pt x="312855" y="1567645"/>
                    <a:pt x="312855" y="1567645"/>
                    <a:pt x="349063" y="1588242"/>
                  </a:cubicBezTo>
                  <a:cubicBezTo>
                    <a:pt x="349063" y="1588242"/>
                    <a:pt x="349063" y="1588242"/>
                    <a:pt x="367485" y="1554018"/>
                  </a:cubicBezTo>
                  <a:close/>
                  <a:moveTo>
                    <a:pt x="557739" y="1532470"/>
                  </a:moveTo>
                  <a:cubicBezTo>
                    <a:pt x="557739" y="1532470"/>
                    <a:pt x="557739" y="1532470"/>
                    <a:pt x="532329" y="1557821"/>
                  </a:cubicBezTo>
                  <a:cubicBezTo>
                    <a:pt x="532329" y="1557821"/>
                    <a:pt x="532329" y="1557821"/>
                    <a:pt x="644131" y="1621515"/>
                  </a:cubicBezTo>
                  <a:cubicBezTo>
                    <a:pt x="644131" y="1621515"/>
                    <a:pt x="644131" y="1621515"/>
                    <a:pt x="661283" y="1591411"/>
                  </a:cubicBezTo>
                  <a:close/>
                  <a:moveTo>
                    <a:pt x="64477" y="1525182"/>
                  </a:moveTo>
                  <a:cubicBezTo>
                    <a:pt x="115614" y="1584440"/>
                    <a:pt x="115614" y="1584440"/>
                    <a:pt x="115614" y="1584440"/>
                  </a:cubicBezTo>
                  <a:cubicBezTo>
                    <a:pt x="97827" y="1601235"/>
                    <a:pt x="97827" y="1601235"/>
                    <a:pt x="97827" y="1601235"/>
                  </a:cubicBezTo>
                  <a:cubicBezTo>
                    <a:pt x="141023" y="1653521"/>
                    <a:pt x="141023" y="1653521"/>
                    <a:pt x="141023" y="1653521"/>
                  </a:cubicBezTo>
                  <a:cubicBezTo>
                    <a:pt x="159127" y="1639261"/>
                    <a:pt x="159127" y="1639261"/>
                    <a:pt x="159127" y="1639261"/>
                  </a:cubicBezTo>
                  <a:cubicBezTo>
                    <a:pt x="198194" y="1684576"/>
                    <a:pt x="198194" y="1684576"/>
                    <a:pt x="198194" y="1684576"/>
                  </a:cubicBezTo>
                  <a:lnTo>
                    <a:pt x="26045" y="1836682"/>
                  </a:lnTo>
                  <a:cubicBezTo>
                    <a:pt x="1271" y="1808163"/>
                    <a:pt x="1271" y="1808163"/>
                    <a:pt x="1271" y="1808163"/>
                  </a:cubicBezTo>
                  <a:cubicBezTo>
                    <a:pt x="1271" y="1800874"/>
                    <a:pt x="1271" y="1800874"/>
                    <a:pt x="1271" y="1800874"/>
                  </a:cubicBezTo>
                  <a:cubicBezTo>
                    <a:pt x="26363" y="1830028"/>
                    <a:pt x="26363" y="1830028"/>
                    <a:pt x="26363" y="1830028"/>
                  </a:cubicBezTo>
                  <a:cubicBezTo>
                    <a:pt x="191524" y="1683943"/>
                    <a:pt x="191524" y="1683943"/>
                    <a:pt x="191524" y="1683943"/>
                  </a:cubicBezTo>
                  <a:cubicBezTo>
                    <a:pt x="158492" y="1645599"/>
                    <a:pt x="158492" y="1645599"/>
                    <a:pt x="158492" y="1645599"/>
                  </a:cubicBezTo>
                  <a:cubicBezTo>
                    <a:pt x="140070" y="1659859"/>
                    <a:pt x="140070" y="1659859"/>
                    <a:pt x="140070" y="1659859"/>
                  </a:cubicBezTo>
                  <a:cubicBezTo>
                    <a:pt x="91474" y="1600918"/>
                    <a:pt x="91474" y="1600918"/>
                    <a:pt x="91474" y="1600918"/>
                  </a:cubicBezTo>
                  <a:cubicBezTo>
                    <a:pt x="109261" y="1584123"/>
                    <a:pt x="109261" y="1584123"/>
                    <a:pt x="109261" y="1584123"/>
                  </a:cubicBezTo>
                  <a:cubicBezTo>
                    <a:pt x="63842" y="1531519"/>
                    <a:pt x="63842" y="1531519"/>
                    <a:pt x="63842" y="1531519"/>
                  </a:cubicBezTo>
                  <a:cubicBezTo>
                    <a:pt x="1271" y="1585707"/>
                    <a:pt x="1271" y="1585707"/>
                    <a:pt x="1271" y="1585707"/>
                  </a:cubicBezTo>
                  <a:cubicBezTo>
                    <a:pt x="1271" y="1579369"/>
                    <a:pt x="1271" y="1579369"/>
                    <a:pt x="1271" y="1579369"/>
                  </a:cubicBezTo>
                  <a:cubicBezTo>
                    <a:pt x="62571" y="1526449"/>
                    <a:pt x="62571" y="1526449"/>
                    <a:pt x="62571" y="1526449"/>
                  </a:cubicBezTo>
                  <a:cubicBezTo>
                    <a:pt x="64477" y="1525182"/>
                    <a:pt x="64477" y="1525182"/>
                    <a:pt x="64477" y="1525182"/>
                  </a:cubicBezTo>
                  <a:close/>
                  <a:moveTo>
                    <a:pt x="315396" y="1524231"/>
                  </a:moveTo>
                  <a:lnTo>
                    <a:pt x="296656" y="1558455"/>
                  </a:lnTo>
                  <a:cubicBezTo>
                    <a:pt x="296656" y="1558455"/>
                    <a:pt x="296656" y="1558455"/>
                    <a:pt x="309043" y="1565426"/>
                  </a:cubicBezTo>
                  <a:cubicBezTo>
                    <a:pt x="309043" y="1565426"/>
                    <a:pt x="309043" y="1565426"/>
                    <a:pt x="327783" y="1531519"/>
                  </a:cubicBezTo>
                  <a:cubicBezTo>
                    <a:pt x="327783" y="1531519"/>
                    <a:pt x="327783" y="1531519"/>
                    <a:pt x="315396" y="1524231"/>
                  </a:cubicBezTo>
                  <a:close/>
                  <a:moveTo>
                    <a:pt x="389401" y="1522963"/>
                  </a:moveTo>
                  <a:cubicBezTo>
                    <a:pt x="389401" y="1522963"/>
                    <a:pt x="389401" y="1522963"/>
                    <a:pt x="373202" y="1552434"/>
                  </a:cubicBezTo>
                  <a:cubicBezTo>
                    <a:pt x="373202" y="1552434"/>
                    <a:pt x="373202" y="1552434"/>
                    <a:pt x="488498" y="1618030"/>
                  </a:cubicBezTo>
                  <a:cubicBezTo>
                    <a:pt x="488498" y="1618030"/>
                    <a:pt x="488498" y="1618030"/>
                    <a:pt x="499932" y="1585707"/>
                  </a:cubicBezTo>
                  <a:close/>
                  <a:moveTo>
                    <a:pt x="1028450" y="1520745"/>
                  </a:moveTo>
                  <a:cubicBezTo>
                    <a:pt x="1028450" y="1520745"/>
                    <a:pt x="1028450" y="1520745"/>
                    <a:pt x="1017969" y="1559089"/>
                  </a:cubicBezTo>
                  <a:cubicBezTo>
                    <a:pt x="1017969" y="1559089"/>
                    <a:pt x="1017969" y="1559089"/>
                    <a:pt x="1033214" y="1563208"/>
                  </a:cubicBezTo>
                  <a:cubicBezTo>
                    <a:pt x="1033214" y="1563208"/>
                    <a:pt x="1033214" y="1563208"/>
                    <a:pt x="1043696" y="1524865"/>
                  </a:cubicBezTo>
                  <a:close/>
                  <a:moveTo>
                    <a:pt x="1195835" y="1520111"/>
                  </a:moveTo>
                  <a:cubicBezTo>
                    <a:pt x="1195835" y="1520111"/>
                    <a:pt x="1195835" y="1520111"/>
                    <a:pt x="1165026" y="1614227"/>
                  </a:cubicBezTo>
                  <a:cubicBezTo>
                    <a:pt x="1180907" y="1620882"/>
                    <a:pt x="1198376" y="1628487"/>
                    <a:pt x="1215845" y="1635775"/>
                  </a:cubicBezTo>
                  <a:cubicBezTo>
                    <a:pt x="1242843" y="1647184"/>
                    <a:pt x="1269523" y="1658275"/>
                    <a:pt x="1289533" y="1666514"/>
                  </a:cubicBezTo>
                  <a:cubicBezTo>
                    <a:pt x="1299379" y="1670950"/>
                    <a:pt x="1307955" y="1674119"/>
                    <a:pt x="1313989" y="1676654"/>
                  </a:cubicBezTo>
                  <a:cubicBezTo>
                    <a:pt x="1316848" y="1677922"/>
                    <a:pt x="1319389" y="1678872"/>
                    <a:pt x="1320977" y="1679506"/>
                  </a:cubicBezTo>
                  <a:cubicBezTo>
                    <a:pt x="1321612" y="1679823"/>
                    <a:pt x="1322247" y="1680140"/>
                    <a:pt x="1322883" y="1680140"/>
                  </a:cubicBezTo>
                  <a:cubicBezTo>
                    <a:pt x="1322883" y="1680140"/>
                    <a:pt x="1323200" y="1680140"/>
                    <a:pt x="1323200" y="1680457"/>
                  </a:cubicBezTo>
                  <a:cubicBezTo>
                    <a:pt x="1328282" y="1680140"/>
                    <a:pt x="1394982" y="1678555"/>
                    <a:pt x="1404193" y="1678555"/>
                  </a:cubicBezTo>
                  <a:lnTo>
                    <a:pt x="1464858" y="1595214"/>
                  </a:lnTo>
                  <a:cubicBezTo>
                    <a:pt x="1460094" y="1592362"/>
                    <a:pt x="1455012" y="1590144"/>
                    <a:pt x="1448977" y="1588242"/>
                  </a:cubicBezTo>
                  <a:cubicBezTo>
                    <a:pt x="1369573" y="1562574"/>
                    <a:pt x="1271746" y="1536590"/>
                    <a:pt x="1195835" y="1520111"/>
                  </a:cubicBezTo>
                  <a:close/>
                  <a:moveTo>
                    <a:pt x="1140569" y="1516626"/>
                  </a:moveTo>
                  <a:cubicBezTo>
                    <a:pt x="1140569" y="1516626"/>
                    <a:pt x="1140569" y="1516626"/>
                    <a:pt x="1130088" y="1554969"/>
                  </a:cubicBezTo>
                  <a:cubicBezTo>
                    <a:pt x="1130088" y="1554969"/>
                    <a:pt x="1130088" y="1554969"/>
                    <a:pt x="1145334" y="1559089"/>
                  </a:cubicBezTo>
                  <a:cubicBezTo>
                    <a:pt x="1145334" y="1559089"/>
                    <a:pt x="1145334" y="1559089"/>
                    <a:pt x="1155815" y="1520745"/>
                  </a:cubicBezTo>
                  <a:close/>
                  <a:moveTo>
                    <a:pt x="1025591" y="1515675"/>
                  </a:moveTo>
                  <a:cubicBezTo>
                    <a:pt x="1025591" y="1515675"/>
                    <a:pt x="1025591" y="1515675"/>
                    <a:pt x="1048778" y="1521696"/>
                  </a:cubicBezTo>
                  <a:cubicBezTo>
                    <a:pt x="1048778" y="1521696"/>
                    <a:pt x="1048778" y="1521696"/>
                    <a:pt x="1036390" y="1568278"/>
                  </a:cubicBezTo>
                  <a:cubicBezTo>
                    <a:pt x="1036390" y="1568278"/>
                    <a:pt x="1036390" y="1568278"/>
                    <a:pt x="1012887" y="1561941"/>
                  </a:cubicBezTo>
                  <a:cubicBezTo>
                    <a:pt x="1012887" y="1561941"/>
                    <a:pt x="1012887" y="1561941"/>
                    <a:pt x="1013522" y="1560039"/>
                  </a:cubicBezTo>
                  <a:close/>
                  <a:moveTo>
                    <a:pt x="1137393" y="1511555"/>
                  </a:moveTo>
                  <a:cubicBezTo>
                    <a:pt x="1137393" y="1511555"/>
                    <a:pt x="1137393" y="1511555"/>
                    <a:pt x="1160897" y="1517893"/>
                  </a:cubicBezTo>
                  <a:cubicBezTo>
                    <a:pt x="1160897" y="1517893"/>
                    <a:pt x="1160897" y="1517893"/>
                    <a:pt x="1148192" y="1564159"/>
                  </a:cubicBezTo>
                  <a:cubicBezTo>
                    <a:pt x="1148192" y="1564159"/>
                    <a:pt x="1148192" y="1564159"/>
                    <a:pt x="1125006" y="1558138"/>
                  </a:cubicBezTo>
                  <a:cubicBezTo>
                    <a:pt x="1125006" y="1558138"/>
                    <a:pt x="1125006" y="1558138"/>
                    <a:pt x="1125641" y="1555920"/>
                  </a:cubicBezTo>
                  <a:close/>
                  <a:moveTo>
                    <a:pt x="1134852" y="1507753"/>
                  </a:moveTo>
                  <a:cubicBezTo>
                    <a:pt x="1134852" y="1507753"/>
                    <a:pt x="1134852" y="1507753"/>
                    <a:pt x="1104361" y="1587925"/>
                  </a:cubicBezTo>
                  <a:cubicBezTo>
                    <a:pt x="1110713" y="1590777"/>
                    <a:pt x="1132947" y="1600601"/>
                    <a:pt x="1160897" y="1612326"/>
                  </a:cubicBezTo>
                  <a:lnTo>
                    <a:pt x="1191388" y="1519161"/>
                  </a:lnTo>
                  <a:cubicBezTo>
                    <a:pt x="1179319" y="1516626"/>
                    <a:pt x="1167567" y="1514091"/>
                    <a:pt x="1156450" y="1512189"/>
                  </a:cubicBezTo>
                  <a:cubicBezTo>
                    <a:pt x="1148828" y="1510605"/>
                    <a:pt x="1141522" y="1509020"/>
                    <a:pt x="1134852" y="1507753"/>
                  </a:cubicBezTo>
                  <a:close/>
                  <a:moveTo>
                    <a:pt x="1104996" y="1505851"/>
                  </a:moveTo>
                  <a:lnTo>
                    <a:pt x="1094515" y="1544195"/>
                  </a:lnTo>
                  <a:cubicBezTo>
                    <a:pt x="1094515" y="1544195"/>
                    <a:pt x="1094515" y="1544195"/>
                    <a:pt x="1109760" y="1548314"/>
                  </a:cubicBezTo>
                  <a:cubicBezTo>
                    <a:pt x="1109760" y="1548314"/>
                    <a:pt x="1109760" y="1548314"/>
                    <a:pt x="1119924" y="1509971"/>
                  </a:cubicBezTo>
                  <a:cubicBezTo>
                    <a:pt x="1119924" y="1509971"/>
                    <a:pt x="1119924" y="1509971"/>
                    <a:pt x="1104996" y="1505851"/>
                  </a:cubicBezTo>
                  <a:close/>
                  <a:moveTo>
                    <a:pt x="698444" y="1503000"/>
                  </a:moveTo>
                  <a:lnTo>
                    <a:pt x="663188" y="1534054"/>
                  </a:lnTo>
                  <a:cubicBezTo>
                    <a:pt x="663188" y="1534054"/>
                    <a:pt x="663188" y="1534054"/>
                    <a:pt x="744816" y="1580320"/>
                  </a:cubicBezTo>
                  <a:cubicBezTo>
                    <a:pt x="744816" y="1580320"/>
                    <a:pt x="744816" y="1580320"/>
                    <a:pt x="762285" y="1549265"/>
                  </a:cubicBezTo>
                  <a:cubicBezTo>
                    <a:pt x="762285" y="1549265"/>
                    <a:pt x="762285" y="1549265"/>
                    <a:pt x="698444" y="1503000"/>
                  </a:cubicBezTo>
                  <a:close/>
                  <a:moveTo>
                    <a:pt x="5077454" y="1500464"/>
                  </a:moveTo>
                  <a:cubicBezTo>
                    <a:pt x="5077454" y="1500464"/>
                    <a:pt x="5077454" y="1500464"/>
                    <a:pt x="4464132" y="1628170"/>
                  </a:cubicBezTo>
                  <a:cubicBezTo>
                    <a:pt x="4464132" y="1628170"/>
                    <a:pt x="4464132" y="1628170"/>
                    <a:pt x="4309134" y="1591094"/>
                  </a:cubicBezTo>
                  <a:cubicBezTo>
                    <a:pt x="4309134" y="1591094"/>
                    <a:pt x="4309134" y="1591094"/>
                    <a:pt x="4090613" y="1527717"/>
                  </a:cubicBezTo>
                  <a:cubicBezTo>
                    <a:pt x="4060122" y="1519478"/>
                    <a:pt x="4011526" y="1513140"/>
                    <a:pt x="3970871" y="1509020"/>
                  </a:cubicBezTo>
                  <a:cubicBezTo>
                    <a:pt x="3945779" y="1506802"/>
                    <a:pt x="3923546" y="1504901"/>
                    <a:pt x="3910523" y="1504267"/>
                  </a:cubicBezTo>
                  <a:cubicBezTo>
                    <a:pt x="3910523" y="1504267"/>
                    <a:pt x="3910523" y="1504267"/>
                    <a:pt x="3910841" y="1505534"/>
                  </a:cubicBezTo>
                  <a:cubicBezTo>
                    <a:pt x="3910841" y="1505534"/>
                    <a:pt x="3910841" y="1505534"/>
                    <a:pt x="3908935" y="1505534"/>
                  </a:cubicBezTo>
                  <a:cubicBezTo>
                    <a:pt x="3909253" y="1515041"/>
                    <a:pt x="3909888" y="1528351"/>
                    <a:pt x="3909888" y="1528351"/>
                  </a:cubicBezTo>
                  <a:cubicBezTo>
                    <a:pt x="3909888" y="1528351"/>
                    <a:pt x="3909888" y="1528351"/>
                    <a:pt x="3910206" y="1529301"/>
                  </a:cubicBezTo>
                  <a:cubicBezTo>
                    <a:pt x="3910206" y="1529301"/>
                    <a:pt x="3910206" y="1529301"/>
                    <a:pt x="3822543" y="2126635"/>
                  </a:cubicBezTo>
                  <a:cubicBezTo>
                    <a:pt x="3822543" y="2126952"/>
                    <a:pt x="3817461" y="2163394"/>
                    <a:pt x="3802215" y="2202371"/>
                  </a:cubicBezTo>
                  <a:cubicBezTo>
                    <a:pt x="3799039" y="2211244"/>
                    <a:pt x="3794910" y="2220117"/>
                    <a:pt x="3790463" y="2228990"/>
                  </a:cubicBezTo>
                  <a:cubicBezTo>
                    <a:pt x="3824766" y="2246102"/>
                    <a:pt x="3834930" y="2280959"/>
                    <a:pt x="3836200" y="2285396"/>
                  </a:cubicBezTo>
                  <a:cubicBezTo>
                    <a:pt x="3836200" y="2285396"/>
                    <a:pt x="3836200" y="2285396"/>
                    <a:pt x="3984846" y="2768016"/>
                  </a:cubicBezTo>
                  <a:cubicBezTo>
                    <a:pt x="4021690" y="2772135"/>
                    <a:pt x="4061074" y="2778156"/>
                    <a:pt x="4102365" y="2787980"/>
                  </a:cubicBezTo>
                  <a:cubicBezTo>
                    <a:pt x="4150960" y="2799705"/>
                    <a:pt x="4189075" y="2814915"/>
                    <a:pt x="4218296" y="2834880"/>
                  </a:cubicBezTo>
                  <a:cubicBezTo>
                    <a:pt x="4241164" y="2850407"/>
                    <a:pt x="4258316" y="2869420"/>
                    <a:pt x="4269115" y="2890968"/>
                  </a:cubicBezTo>
                  <a:cubicBezTo>
                    <a:pt x="4290713" y="2885898"/>
                    <a:pt x="4329462" y="2876392"/>
                    <a:pt x="4368530" y="2866885"/>
                  </a:cubicBezTo>
                  <a:cubicBezTo>
                    <a:pt x="4398068" y="2859913"/>
                    <a:pt x="4427606" y="2852942"/>
                    <a:pt x="4450158" y="2847555"/>
                  </a:cubicBezTo>
                  <a:cubicBezTo>
                    <a:pt x="4461274" y="2845020"/>
                    <a:pt x="4470802" y="2842801"/>
                    <a:pt x="4477790" y="2841217"/>
                  </a:cubicBezTo>
                  <a:cubicBezTo>
                    <a:pt x="4481284" y="2840267"/>
                    <a:pt x="4484142" y="2839633"/>
                    <a:pt x="4486366" y="2839316"/>
                  </a:cubicBezTo>
                  <a:cubicBezTo>
                    <a:pt x="4487319" y="2838999"/>
                    <a:pt x="4488272" y="2838682"/>
                    <a:pt x="4489224" y="2838682"/>
                  </a:cubicBezTo>
                  <a:cubicBezTo>
                    <a:pt x="4489860" y="2838682"/>
                    <a:pt x="4490178" y="2838365"/>
                    <a:pt x="4490812" y="2838365"/>
                  </a:cubicBezTo>
                  <a:cubicBezTo>
                    <a:pt x="4491130" y="2838365"/>
                    <a:pt x="4491448" y="2838365"/>
                    <a:pt x="4492083" y="2838365"/>
                  </a:cubicBezTo>
                  <a:cubicBezTo>
                    <a:pt x="4493989" y="2837731"/>
                    <a:pt x="4500024" y="2836147"/>
                    <a:pt x="4507646" y="2833929"/>
                  </a:cubicBezTo>
                  <a:cubicBezTo>
                    <a:pt x="4533692" y="2826007"/>
                    <a:pt x="4584192" y="2809528"/>
                    <a:pt x="4638823" y="2789881"/>
                  </a:cubicBezTo>
                  <a:cubicBezTo>
                    <a:pt x="4674396" y="2776889"/>
                    <a:pt x="4746496" y="2739813"/>
                    <a:pt x="4809067" y="2705906"/>
                  </a:cubicBezTo>
                  <a:cubicBezTo>
                    <a:pt x="4840511" y="2688794"/>
                    <a:pt x="4869732" y="2672633"/>
                    <a:pt x="4891648" y="2660274"/>
                  </a:cubicBezTo>
                  <a:cubicBezTo>
                    <a:pt x="4902764" y="2654253"/>
                    <a:pt x="4911976" y="2648866"/>
                    <a:pt x="4918646" y="2645063"/>
                  </a:cubicBezTo>
                  <a:cubicBezTo>
                    <a:pt x="4922139" y="2643479"/>
                    <a:pt x="4924998" y="2641895"/>
                    <a:pt x="4926904" y="2640627"/>
                  </a:cubicBezTo>
                  <a:cubicBezTo>
                    <a:pt x="4929444" y="2639359"/>
                    <a:pt x="4930397" y="2638726"/>
                    <a:pt x="4932620" y="2637775"/>
                  </a:cubicBezTo>
                  <a:cubicBezTo>
                    <a:pt x="4937067" y="2635874"/>
                    <a:pt x="4947548" y="2631121"/>
                    <a:pt x="4958030" y="2626684"/>
                  </a:cubicBezTo>
                  <a:cubicBezTo>
                    <a:pt x="4954536" y="2598481"/>
                    <a:pt x="4946914" y="2537956"/>
                    <a:pt x="4938338" y="2468240"/>
                  </a:cubicBezTo>
                  <a:cubicBezTo>
                    <a:pt x="4926268" y="2371589"/>
                    <a:pt x="4911976" y="2258143"/>
                    <a:pt x="4903082" y="2189062"/>
                  </a:cubicBezTo>
                  <a:cubicBezTo>
                    <a:pt x="4898953" y="2156422"/>
                    <a:pt x="4897047" y="2128853"/>
                    <a:pt x="4897047" y="2104453"/>
                  </a:cubicBezTo>
                  <a:cubicBezTo>
                    <a:pt x="4897047" y="2025864"/>
                    <a:pt x="4917692" y="1984035"/>
                    <a:pt x="4941196" y="1926996"/>
                  </a:cubicBezTo>
                  <a:cubicBezTo>
                    <a:pt x="4974546" y="1847774"/>
                    <a:pt x="5057127" y="1780593"/>
                    <a:pt x="5081902" y="1674753"/>
                  </a:cubicBezTo>
                  <a:cubicBezTo>
                    <a:pt x="5088572" y="1645916"/>
                    <a:pt x="5091112" y="1619297"/>
                    <a:pt x="5091112" y="1595531"/>
                  </a:cubicBezTo>
                  <a:cubicBezTo>
                    <a:pt x="5091112" y="1563208"/>
                    <a:pt x="5086666" y="1536273"/>
                    <a:pt x="5081902" y="1517259"/>
                  </a:cubicBezTo>
                  <a:cubicBezTo>
                    <a:pt x="5080314" y="1510605"/>
                    <a:pt x="5078725" y="1505218"/>
                    <a:pt x="5077454" y="1500464"/>
                  </a:cubicBezTo>
                  <a:close/>
                  <a:moveTo>
                    <a:pt x="349381" y="1500148"/>
                  </a:moveTo>
                  <a:cubicBezTo>
                    <a:pt x="349381" y="1500148"/>
                    <a:pt x="349381" y="1500148"/>
                    <a:pt x="333500" y="1529618"/>
                  </a:cubicBezTo>
                  <a:cubicBezTo>
                    <a:pt x="333500" y="1529618"/>
                    <a:pt x="333500" y="1529618"/>
                    <a:pt x="369709" y="1550216"/>
                  </a:cubicBezTo>
                  <a:cubicBezTo>
                    <a:pt x="369709" y="1550216"/>
                    <a:pt x="369709" y="1550216"/>
                    <a:pt x="385590" y="1520745"/>
                  </a:cubicBezTo>
                  <a:close/>
                  <a:moveTo>
                    <a:pt x="1043696" y="1492542"/>
                  </a:moveTo>
                  <a:cubicBezTo>
                    <a:pt x="1030673" y="1492542"/>
                    <a:pt x="1019874" y="1494760"/>
                    <a:pt x="1008440" y="1500148"/>
                  </a:cubicBezTo>
                  <a:cubicBezTo>
                    <a:pt x="978266" y="1514724"/>
                    <a:pt x="966514" y="1533104"/>
                    <a:pt x="959527" y="1547998"/>
                  </a:cubicBezTo>
                  <a:cubicBezTo>
                    <a:pt x="959527" y="1547998"/>
                    <a:pt x="959527" y="1547998"/>
                    <a:pt x="1037026" y="1573982"/>
                  </a:cubicBezTo>
                  <a:cubicBezTo>
                    <a:pt x="1037026" y="1573982"/>
                    <a:pt x="1037026" y="1573982"/>
                    <a:pt x="1085939" y="1601235"/>
                  </a:cubicBezTo>
                  <a:cubicBezTo>
                    <a:pt x="1085939" y="1601235"/>
                    <a:pt x="1085939" y="1601235"/>
                    <a:pt x="1083716" y="1605037"/>
                  </a:cubicBezTo>
                  <a:cubicBezTo>
                    <a:pt x="1083716" y="1605037"/>
                    <a:pt x="1083716" y="1605037"/>
                    <a:pt x="1035120" y="1577785"/>
                  </a:cubicBezTo>
                  <a:cubicBezTo>
                    <a:pt x="1035120" y="1577785"/>
                    <a:pt x="1035120" y="1577785"/>
                    <a:pt x="957621" y="1551800"/>
                  </a:cubicBezTo>
                  <a:cubicBezTo>
                    <a:pt x="957303" y="1552751"/>
                    <a:pt x="956986" y="1553701"/>
                    <a:pt x="956668" y="1554335"/>
                  </a:cubicBezTo>
                  <a:cubicBezTo>
                    <a:pt x="951904" y="1565743"/>
                    <a:pt x="946187" y="1580003"/>
                    <a:pt x="942693" y="1587925"/>
                  </a:cubicBezTo>
                  <a:cubicBezTo>
                    <a:pt x="942693" y="1587925"/>
                    <a:pt x="942693" y="1587925"/>
                    <a:pt x="943646" y="1588242"/>
                  </a:cubicBezTo>
                  <a:cubicBezTo>
                    <a:pt x="943646" y="1588242"/>
                    <a:pt x="943646" y="1588242"/>
                    <a:pt x="1036390" y="1659542"/>
                  </a:cubicBezTo>
                  <a:cubicBezTo>
                    <a:pt x="1036390" y="1659542"/>
                    <a:pt x="1036390" y="1659542"/>
                    <a:pt x="1099914" y="1587925"/>
                  </a:cubicBezTo>
                  <a:cubicBezTo>
                    <a:pt x="1099914" y="1587925"/>
                    <a:pt x="1099914" y="1587925"/>
                    <a:pt x="1130406" y="1506802"/>
                  </a:cubicBezTo>
                  <a:cubicBezTo>
                    <a:pt x="1120242" y="1504584"/>
                    <a:pt x="1111031" y="1502683"/>
                    <a:pt x="1102455" y="1501098"/>
                  </a:cubicBezTo>
                  <a:cubicBezTo>
                    <a:pt x="1102455" y="1501098"/>
                    <a:pt x="1102455" y="1501098"/>
                    <a:pt x="1125324" y="1507119"/>
                  </a:cubicBezTo>
                  <a:cubicBezTo>
                    <a:pt x="1125324" y="1507119"/>
                    <a:pt x="1125324" y="1507119"/>
                    <a:pt x="1112619" y="1553385"/>
                  </a:cubicBezTo>
                  <a:cubicBezTo>
                    <a:pt x="1112619" y="1553385"/>
                    <a:pt x="1112619" y="1553385"/>
                    <a:pt x="1089433" y="1547047"/>
                  </a:cubicBezTo>
                  <a:cubicBezTo>
                    <a:pt x="1089433" y="1547047"/>
                    <a:pt x="1089433" y="1547047"/>
                    <a:pt x="1090068" y="1545146"/>
                  </a:cubicBezTo>
                  <a:lnTo>
                    <a:pt x="1101820" y="1500781"/>
                  </a:lnTo>
                  <a:cubicBezTo>
                    <a:pt x="1077999" y="1496028"/>
                    <a:pt x="1059259" y="1492542"/>
                    <a:pt x="1043696" y="1492542"/>
                  </a:cubicBezTo>
                  <a:close/>
                  <a:moveTo>
                    <a:pt x="406552" y="1491275"/>
                  </a:moveTo>
                  <a:cubicBezTo>
                    <a:pt x="406552" y="1491275"/>
                    <a:pt x="406552" y="1491275"/>
                    <a:pt x="391307" y="1518844"/>
                  </a:cubicBezTo>
                  <a:cubicBezTo>
                    <a:pt x="391307" y="1518844"/>
                    <a:pt x="391307" y="1518844"/>
                    <a:pt x="501838" y="1581905"/>
                  </a:cubicBezTo>
                  <a:lnTo>
                    <a:pt x="525024" y="1558772"/>
                  </a:lnTo>
                  <a:cubicBezTo>
                    <a:pt x="525024" y="1558772"/>
                    <a:pt x="525024" y="1558772"/>
                    <a:pt x="406552" y="1491275"/>
                  </a:cubicBezTo>
                  <a:close/>
                  <a:moveTo>
                    <a:pt x="333500" y="1490958"/>
                  </a:moveTo>
                  <a:lnTo>
                    <a:pt x="317301" y="1520428"/>
                  </a:lnTo>
                  <a:cubicBezTo>
                    <a:pt x="317301" y="1520428"/>
                    <a:pt x="317301" y="1520428"/>
                    <a:pt x="329689" y="1527717"/>
                  </a:cubicBezTo>
                  <a:cubicBezTo>
                    <a:pt x="329689" y="1527717"/>
                    <a:pt x="329689" y="1527717"/>
                    <a:pt x="345887" y="1498246"/>
                  </a:cubicBezTo>
                  <a:cubicBezTo>
                    <a:pt x="345887" y="1498246"/>
                    <a:pt x="345887" y="1498246"/>
                    <a:pt x="333500" y="1490958"/>
                  </a:cubicBezTo>
                  <a:close/>
                  <a:moveTo>
                    <a:pt x="569491" y="1485571"/>
                  </a:moveTo>
                  <a:lnTo>
                    <a:pt x="560280" y="1528984"/>
                  </a:lnTo>
                  <a:cubicBezTo>
                    <a:pt x="560280" y="1528984"/>
                    <a:pt x="560280" y="1528984"/>
                    <a:pt x="663506" y="1587608"/>
                  </a:cubicBezTo>
                  <a:cubicBezTo>
                    <a:pt x="663506" y="1587608"/>
                    <a:pt x="663506" y="1587608"/>
                    <a:pt x="681928" y="1554969"/>
                  </a:cubicBezTo>
                  <a:cubicBezTo>
                    <a:pt x="681928" y="1554969"/>
                    <a:pt x="681928" y="1554969"/>
                    <a:pt x="725442" y="1579686"/>
                  </a:cubicBezTo>
                  <a:cubicBezTo>
                    <a:pt x="725442" y="1579686"/>
                    <a:pt x="725442" y="1579686"/>
                    <a:pt x="724489" y="1581588"/>
                  </a:cubicBezTo>
                  <a:cubicBezTo>
                    <a:pt x="724489" y="1581588"/>
                    <a:pt x="724489" y="1581588"/>
                    <a:pt x="707020" y="1612326"/>
                  </a:cubicBezTo>
                  <a:cubicBezTo>
                    <a:pt x="707020" y="1612326"/>
                    <a:pt x="707020" y="1612326"/>
                    <a:pt x="721948" y="1620882"/>
                  </a:cubicBezTo>
                  <a:cubicBezTo>
                    <a:pt x="721948" y="1620882"/>
                    <a:pt x="721948" y="1620882"/>
                    <a:pt x="742593" y="1584123"/>
                  </a:cubicBezTo>
                  <a:cubicBezTo>
                    <a:pt x="742593" y="1584123"/>
                    <a:pt x="742593" y="1584123"/>
                    <a:pt x="569491" y="1485571"/>
                  </a:cubicBezTo>
                  <a:close/>
                  <a:moveTo>
                    <a:pt x="1428014" y="1484620"/>
                  </a:moveTo>
                  <a:cubicBezTo>
                    <a:pt x="1428014" y="1484620"/>
                    <a:pt x="1428014" y="1484620"/>
                    <a:pt x="1400064" y="1535956"/>
                  </a:cubicBezTo>
                  <a:cubicBezTo>
                    <a:pt x="1400064" y="1535956"/>
                    <a:pt x="1400064" y="1535956"/>
                    <a:pt x="1416898" y="1545146"/>
                  </a:cubicBezTo>
                  <a:cubicBezTo>
                    <a:pt x="1416898" y="1545146"/>
                    <a:pt x="1416898" y="1545146"/>
                    <a:pt x="1423885" y="1531836"/>
                  </a:cubicBezTo>
                  <a:cubicBezTo>
                    <a:pt x="1423885" y="1531836"/>
                    <a:pt x="1423885" y="1531836"/>
                    <a:pt x="1435955" y="1538491"/>
                  </a:cubicBezTo>
                  <a:cubicBezTo>
                    <a:pt x="1435955" y="1538491"/>
                    <a:pt x="1435955" y="1538491"/>
                    <a:pt x="1449613" y="1513140"/>
                  </a:cubicBezTo>
                  <a:lnTo>
                    <a:pt x="1437543" y="1506802"/>
                  </a:lnTo>
                  <a:cubicBezTo>
                    <a:pt x="1437543" y="1506802"/>
                    <a:pt x="1437543" y="1506802"/>
                    <a:pt x="1444848" y="1493810"/>
                  </a:cubicBezTo>
                  <a:cubicBezTo>
                    <a:pt x="1444848" y="1493810"/>
                    <a:pt x="1444848" y="1493810"/>
                    <a:pt x="1428014" y="1484620"/>
                  </a:cubicBezTo>
                  <a:close/>
                  <a:moveTo>
                    <a:pt x="1426426" y="1478916"/>
                  </a:moveTo>
                  <a:cubicBezTo>
                    <a:pt x="1426426" y="1478916"/>
                    <a:pt x="1426426" y="1478916"/>
                    <a:pt x="1428332" y="1479867"/>
                  </a:cubicBezTo>
                  <a:cubicBezTo>
                    <a:pt x="1428332" y="1479867"/>
                    <a:pt x="1428332" y="1479867"/>
                    <a:pt x="1450565" y="1491908"/>
                  </a:cubicBezTo>
                  <a:lnTo>
                    <a:pt x="1443260" y="1505218"/>
                  </a:lnTo>
                  <a:cubicBezTo>
                    <a:pt x="1443260" y="1505218"/>
                    <a:pt x="1443260" y="1505218"/>
                    <a:pt x="1455330" y="1511555"/>
                  </a:cubicBezTo>
                  <a:cubicBezTo>
                    <a:pt x="1455330" y="1511555"/>
                    <a:pt x="1455330" y="1511555"/>
                    <a:pt x="1437543" y="1544195"/>
                  </a:cubicBezTo>
                  <a:cubicBezTo>
                    <a:pt x="1437543" y="1544195"/>
                    <a:pt x="1437543" y="1544195"/>
                    <a:pt x="1425791" y="1537540"/>
                  </a:cubicBezTo>
                  <a:cubicBezTo>
                    <a:pt x="1425791" y="1537540"/>
                    <a:pt x="1425791" y="1537540"/>
                    <a:pt x="1418486" y="1550533"/>
                  </a:cubicBezTo>
                  <a:cubicBezTo>
                    <a:pt x="1418486" y="1550533"/>
                    <a:pt x="1418486" y="1550533"/>
                    <a:pt x="1394347" y="1537540"/>
                  </a:cubicBezTo>
                  <a:cubicBezTo>
                    <a:pt x="1394347" y="1537540"/>
                    <a:pt x="1394347" y="1537540"/>
                    <a:pt x="1426426" y="1478916"/>
                  </a:cubicBezTo>
                  <a:close/>
                  <a:moveTo>
                    <a:pt x="1372114" y="1469409"/>
                  </a:moveTo>
                  <a:cubicBezTo>
                    <a:pt x="1372114" y="1469409"/>
                    <a:pt x="1372114" y="1469409"/>
                    <a:pt x="1365126" y="1482402"/>
                  </a:cubicBezTo>
                  <a:cubicBezTo>
                    <a:pt x="1365126" y="1482402"/>
                    <a:pt x="1365126" y="1482402"/>
                    <a:pt x="1353056" y="1476064"/>
                  </a:cubicBezTo>
                  <a:cubicBezTo>
                    <a:pt x="1353056" y="1476064"/>
                    <a:pt x="1353056" y="1476064"/>
                    <a:pt x="1339399" y="1501098"/>
                  </a:cubicBezTo>
                  <a:lnTo>
                    <a:pt x="1351468" y="1507753"/>
                  </a:lnTo>
                  <a:cubicBezTo>
                    <a:pt x="1351468" y="1507753"/>
                    <a:pt x="1351468" y="1507753"/>
                    <a:pt x="1344163" y="1520745"/>
                  </a:cubicBezTo>
                  <a:cubicBezTo>
                    <a:pt x="1344163" y="1520745"/>
                    <a:pt x="1344163" y="1520745"/>
                    <a:pt x="1360997" y="1529935"/>
                  </a:cubicBezTo>
                  <a:cubicBezTo>
                    <a:pt x="1360997" y="1529935"/>
                    <a:pt x="1360997" y="1529935"/>
                    <a:pt x="1388947" y="1478599"/>
                  </a:cubicBezTo>
                  <a:cubicBezTo>
                    <a:pt x="1388947" y="1478599"/>
                    <a:pt x="1388947" y="1478599"/>
                    <a:pt x="1372114" y="1469409"/>
                  </a:cubicBezTo>
                  <a:close/>
                  <a:moveTo>
                    <a:pt x="366850" y="1468459"/>
                  </a:moveTo>
                  <a:cubicBezTo>
                    <a:pt x="366850" y="1468459"/>
                    <a:pt x="366850" y="1468459"/>
                    <a:pt x="351604" y="1496345"/>
                  </a:cubicBezTo>
                  <a:cubicBezTo>
                    <a:pt x="351604" y="1496345"/>
                    <a:pt x="351604" y="1496345"/>
                    <a:pt x="387813" y="1516943"/>
                  </a:cubicBezTo>
                  <a:cubicBezTo>
                    <a:pt x="387813" y="1516943"/>
                    <a:pt x="387813" y="1516943"/>
                    <a:pt x="403059" y="1489056"/>
                  </a:cubicBezTo>
                  <a:close/>
                  <a:moveTo>
                    <a:pt x="945551" y="1464973"/>
                  </a:moveTo>
                  <a:cubicBezTo>
                    <a:pt x="945551" y="1464973"/>
                    <a:pt x="945551" y="1464973"/>
                    <a:pt x="934117" y="1472895"/>
                  </a:cubicBezTo>
                  <a:cubicBezTo>
                    <a:pt x="934117" y="1472895"/>
                    <a:pt x="934117" y="1472895"/>
                    <a:pt x="941740" y="1483986"/>
                  </a:cubicBezTo>
                  <a:cubicBezTo>
                    <a:pt x="941740" y="1483986"/>
                    <a:pt x="941740" y="1483986"/>
                    <a:pt x="929671" y="1492542"/>
                  </a:cubicBezTo>
                  <a:cubicBezTo>
                    <a:pt x="929671" y="1492542"/>
                    <a:pt x="929671" y="1492542"/>
                    <a:pt x="940470" y="1508070"/>
                  </a:cubicBezTo>
                  <a:cubicBezTo>
                    <a:pt x="940470" y="1508070"/>
                    <a:pt x="940470" y="1508070"/>
                    <a:pt x="965561" y="1490641"/>
                  </a:cubicBezTo>
                  <a:close/>
                  <a:moveTo>
                    <a:pt x="1370525" y="1463705"/>
                  </a:moveTo>
                  <a:cubicBezTo>
                    <a:pt x="1370525" y="1463705"/>
                    <a:pt x="1370525" y="1463705"/>
                    <a:pt x="1394664" y="1476698"/>
                  </a:cubicBezTo>
                  <a:cubicBezTo>
                    <a:pt x="1394664" y="1476698"/>
                    <a:pt x="1394664" y="1476698"/>
                    <a:pt x="1362585" y="1535639"/>
                  </a:cubicBezTo>
                  <a:cubicBezTo>
                    <a:pt x="1362585" y="1535639"/>
                    <a:pt x="1362585" y="1535639"/>
                    <a:pt x="1360997" y="1534688"/>
                  </a:cubicBezTo>
                  <a:cubicBezTo>
                    <a:pt x="1360997" y="1534688"/>
                    <a:pt x="1360997" y="1534688"/>
                    <a:pt x="1338764" y="1522647"/>
                  </a:cubicBezTo>
                  <a:lnTo>
                    <a:pt x="1345751" y="1509337"/>
                  </a:lnTo>
                  <a:cubicBezTo>
                    <a:pt x="1345751" y="1509337"/>
                    <a:pt x="1345751" y="1509337"/>
                    <a:pt x="1333682" y="1503000"/>
                  </a:cubicBezTo>
                  <a:cubicBezTo>
                    <a:pt x="1333682" y="1503000"/>
                    <a:pt x="1333682" y="1503000"/>
                    <a:pt x="1351468" y="1470360"/>
                  </a:cubicBezTo>
                  <a:cubicBezTo>
                    <a:pt x="1351468" y="1470360"/>
                    <a:pt x="1351468" y="1470360"/>
                    <a:pt x="1363538" y="1477015"/>
                  </a:cubicBezTo>
                  <a:cubicBezTo>
                    <a:pt x="1363538" y="1477015"/>
                    <a:pt x="1363538" y="1477015"/>
                    <a:pt x="1370525" y="1463705"/>
                  </a:cubicBezTo>
                  <a:close/>
                  <a:moveTo>
                    <a:pt x="350651" y="1459586"/>
                  </a:moveTo>
                  <a:lnTo>
                    <a:pt x="335723" y="1487155"/>
                  </a:lnTo>
                  <a:cubicBezTo>
                    <a:pt x="335723" y="1487155"/>
                    <a:pt x="335723" y="1487155"/>
                    <a:pt x="348110" y="1494127"/>
                  </a:cubicBezTo>
                  <a:cubicBezTo>
                    <a:pt x="348110" y="1494127"/>
                    <a:pt x="348110" y="1494127"/>
                    <a:pt x="363039" y="1466557"/>
                  </a:cubicBezTo>
                  <a:cubicBezTo>
                    <a:pt x="363039" y="1466557"/>
                    <a:pt x="363039" y="1466557"/>
                    <a:pt x="350651" y="1459586"/>
                  </a:cubicBezTo>
                  <a:close/>
                  <a:moveTo>
                    <a:pt x="425292" y="1457051"/>
                  </a:moveTo>
                  <a:cubicBezTo>
                    <a:pt x="425292" y="1457051"/>
                    <a:pt x="425292" y="1457051"/>
                    <a:pt x="408776" y="1487472"/>
                  </a:cubicBezTo>
                  <a:cubicBezTo>
                    <a:pt x="408776" y="1487472"/>
                    <a:pt x="408776" y="1487472"/>
                    <a:pt x="528518" y="1555603"/>
                  </a:cubicBezTo>
                  <a:lnTo>
                    <a:pt x="553610" y="1530252"/>
                  </a:lnTo>
                  <a:cubicBezTo>
                    <a:pt x="553610" y="1530252"/>
                    <a:pt x="553610" y="1530252"/>
                    <a:pt x="425292" y="1457051"/>
                  </a:cubicBezTo>
                  <a:close/>
                  <a:moveTo>
                    <a:pt x="957621" y="1456417"/>
                  </a:moveTo>
                  <a:cubicBezTo>
                    <a:pt x="957621" y="1456417"/>
                    <a:pt x="957621" y="1456417"/>
                    <a:pt x="949045" y="1462438"/>
                  </a:cubicBezTo>
                  <a:lnTo>
                    <a:pt x="969373" y="1488423"/>
                  </a:lnTo>
                  <a:cubicBezTo>
                    <a:pt x="969373" y="1488423"/>
                    <a:pt x="969373" y="1488423"/>
                    <a:pt x="988748" y="1475113"/>
                  </a:cubicBezTo>
                  <a:cubicBezTo>
                    <a:pt x="988748" y="1475113"/>
                    <a:pt x="988748" y="1475113"/>
                    <a:pt x="977631" y="1459269"/>
                  </a:cubicBezTo>
                  <a:cubicBezTo>
                    <a:pt x="977631" y="1459269"/>
                    <a:pt x="977631" y="1459269"/>
                    <a:pt x="965561" y="1467825"/>
                  </a:cubicBezTo>
                  <a:cubicBezTo>
                    <a:pt x="965561" y="1467825"/>
                    <a:pt x="965561" y="1467825"/>
                    <a:pt x="957621" y="1456417"/>
                  </a:cubicBezTo>
                  <a:close/>
                  <a:moveTo>
                    <a:pt x="1601434" y="1443741"/>
                  </a:moveTo>
                  <a:cubicBezTo>
                    <a:pt x="1601434" y="1443741"/>
                    <a:pt x="1601434" y="1443741"/>
                    <a:pt x="1556332" y="1527717"/>
                  </a:cubicBezTo>
                  <a:cubicBezTo>
                    <a:pt x="1556332" y="1527717"/>
                    <a:pt x="1556332" y="1527717"/>
                    <a:pt x="1483915" y="1582538"/>
                  </a:cubicBezTo>
                  <a:cubicBezTo>
                    <a:pt x="1504878" y="1596798"/>
                    <a:pt x="1518536" y="1617396"/>
                    <a:pt x="1526794" y="1638311"/>
                  </a:cubicBezTo>
                  <a:cubicBezTo>
                    <a:pt x="1532829" y="1653838"/>
                    <a:pt x="1536322" y="1669999"/>
                    <a:pt x="1538228" y="1684576"/>
                  </a:cubicBezTo>
                  <a:lnTo>
                    <a:pt x="1723082" y="1652571"/>
                  </a:lnTo>
                  <a:cubicBezTo>
                    <a:pt x="1723082" y="1652571"/>
                    <a:pt x="1723082" y="1652571"/>
                    <a:pt x="1717365" y="1480183"/>
                  </a:cubicBezTo>
                  <a:cubicBezTo>
                    <a:pt x="1704660" y="1476381"/>
                    <a:pt x="1615410" y="1448178"/>
                    <a:pt x="1601434" y="1443741"/>
                  </a:cubicBezTo>
                  <a:close/>
                  <a:moveTo>
                    <a:pt x="1246019" y="1441206"/>
                  </a:moveTo>
                  <a:cubicBezTo>
                    <a:pt x="1246019" y="1441206"/>
                    <a:pt x="1246019" y="1441206"/>
                    <a:pt x="1218386" y="1492542"/>
                  </a:cubicBezTo>
                  <a:lnTo>
                    <a:pt x="1234902" y="1501732"/>
                  </a:lnTo>
                  <a:cubicBezTo>
                    <a:pt x="1234902" y="1501732"/>
                    <a:pt x="1234902" y="1501732"/>
                    <a:pt x="1242207" y="1488740"/>
                  </a:cubicBezTo>
                  <a:cubicBezTo>
                    <a:pt x="1242207" y="1488740"/>
                    <a:pt x="1242207" y="1488740"/>
                    <a:pt x="1254277" y="1495077"/>
                  </a:cubicBezTo>
                  <a:cubicBezTo>
                    <a:pt x="1254277" y="1495077"/>
                    <a:pt x="1254277" y="1495077"/>
                    <a:pt x="1267935" y="1470043"/>
                  </a:cubicBezTo>
                  <a:cubicBezTo>
                    <a:pt x="1267935" y="1470043"/>
                    <a:pt x="1267935" y="1470043"/>
                    <a:pt x="1255865" y="1463389"/>
                  </a:cubicBezTo>
                  <a:cubicBezTo>
                    <a:pt x="1255865" y="1463389"/>
                    <a:pt x="1255865" y="1463389"/>
                    <a:pt x="1262853" y="1450396"/>
                  </a:cubicBezTo>
                  <a:cubicBezTo>
                    <a:pt x="1262853" y="1450396"/>
                    <a:pt x="1262853" y="1450396"/>
                    <a:pt x="1246019" y="1441206"/>
                  </a:cubicBezTo>
                  <a:close/>
                  <a:moveTo>
                    <a:pt x="610464" y="1439305"/>
                  </a:moveTo>
                  <a:cubicBezTo>
                    <a:pt x="610464" y="1439305"/>
                    <a:pt x="610464" y="1439305"/>
                    <a:pt x="570761" y="1481134"/>
                  </a:cubicBezTo>
                  <a:cubicBezTo>
                    <a:pt x="570761" y="1481134"/>
                    <a:pt x="570761" y="1481134"/>
                    <a:pt x="659377" y="1531836"/>
                  </a:cubicBezTo>
                  <a:lnTo>
                    <a:pt x="694633" y="1500464"/>
                  </a:lnTo>
                  <a:cubicBezTo>
                    <a:pt x="694633" y="1500464"/>
                    <a:pt x="694633" y="1500464"/>
                    <a:pt x="610464" y="1439305"/>
                  </a:cubicBezTo>
                  <a:close/>
                  <a:moveTo>
                    <a:pt x="1119289" y="1436136"/>
                  </a:moveTo>
                  <a:cubicBezTo>
                    <a:pt x="1119289" y="1436136"/>
                    <a:pt x="1119289" y="1436136"/>
                    <a:pt x="1122465" y="1470043"/>
                  </a:cubicBezTo>
                  <a:cubicBezTo>
                    <a:pt x="1122465" y="1470043"/>
                    <a:pt x="1122465" y="1470043"/>
                    <a:pt x="1147239" y="1474796"/>
                  </a:cubicBezTo>
                  <a:cubicBezTo>
                    <a:pt x="1147239" y="1474796"/>
                    <a:pt x="1147239" y="1474796"/>
                    <a:pt x="1151051" y="1456100"/>
                  </a:cubicBezTo>
                  <a:lnTo>
                    <a:pt x="1136123" y="1453248"/>
                  </a:lnTo>
                  <a:cubicBezTo>
                    <a:pt x="1136123" y="1453248"/>
                    <a:pt x="1136123" y="1453248"/>
                    <a:pt x="1138981" y="1439939"/>
                  </a:cubicBezTo>
                  <a:cubicBezTo>
                    <a:pt x="1138981" y="1439939"/>
                    <a:pt x="1138981" y="1439939"/>
                    <a:pt x="1119289" y="1436136"/>
                  </a:cubicBezTo>
                  <a:close/>
                  <a:moveTo>
                    <a:pt x="1244431" y="1435502"/>
                  </a:moveTo>
                  <a:cubicBezTo>
                    <a:pt x="1244431" y="1435502"/>
                    <a:pt x="1244431" y="1435502"/>
                    <a:pt x="1246337" y="1436770"/>
                  </a:cubicBezTo>
                  <a:cubicBezTo>
                    <a:pt x="1246337" y="1436770"/>
                    <a:pt x="1246337" y="1436770"/>
                    <a:pt x="1268570" y="1448812"/>
                  </a:cubicBezTo>
                  <a:cubicBezTo>
                    <a:pt x="1268570" y="1448812"/>
                    <a:pt x="1268570" y="1448812"/>
                    <a:pt x="1261582" y="1461804"/>
                  </a:cubicBezTo>
                  <a:cubicBezTo>
                    <a:pt x="1261582" y="1461804"/>
                    <a:pt x="1261582" y="1461804"/>
                    <a:pt x="1273334" y="1468142"/>
                  </a:cubicBezTo>
                  <a:cubicBezTo>
                    <a:pt x="1273334" y="1468142"/>
                    <a:pt x="1273334" y="1468142"/>
                    <a:pt x="1255865" y="1500781"/>
                  </a:cubicBezTo>
                  <a:cubicBezTo>
                    <a:pt x="1255865" y="1500781"/>
                    <a:pt x="1255865" y="1500781"/>
                    <a:pt x="1243796" y="1494127"/>
                  </a:cubicBezTo>
                  <a:lnTo>
                    <a:pt x="1236808" y="1507436"/>
                  </a:lnTo>
                  <a:cubicBezTo>
                    <a:pt x="1236808" y="1507436"/>
                    <a:pt x="1236808" y="1507436"/>
                    <a:pt x="1212669" y="1494443"/>
                  </a:cubicBezTo>
                  <a:cubicBezTo>
                    <a:pt x="1212669" y="1494443"/>
                    <a:pt x="1212669" y="1494443"/>
                    <a:pt x="1244431" y="1435502"/>
                  </a:cubicBezTo>
                  <a:close/>
                  <a:moveTo>
                    <a:pt x="1110713" y="1434552"/>
                  </a:moveTo>
                  <a:cubicBezTo>
                    <a:pt x="1110713" y="1434552"/>
                    <a:pt x="1110713" y="1434552"/>
                    <a:pt x="1108172" y="1447861"/>
                  </a:cubicBezTo>
                  <a:cubicBezTo>
                    <a:pt x="1108172" y="1447861"/>
                    <a:pt x="1108172" y="1447861"/>
                    <a:pt x="1093562" y="1445009"/>
                  </a:cubicBezTo>
                  <a:cubicBezTo>
                    <a:pt x="1093562" y="1445009"/>
                    <a:pt x="1093562" y="1445009"/>
                    <a:pt x="1089750" y="1463705"/>
                  </a:cubicBezTo>
                  <a:cubicBezTo>
                    <a:pt x="1089750" y="1463705"/>
                    <a:pt x="1089750" y="1463705"/>
                    <a:pt x="1118018" y="1469409"/>
                  </a:cubicBezTo>
                  <a:lnTo>
                    <a:pt x="1114842" y="1435502"/>
                  </a:lnTo>
                  <a:cubicBezTo>
                    <a:pt x="1114842" y="1435502"/>
                    <a:pt x="1114842" y="1435502"/>
                    <a:pt x="1110713" y="1434552"/>
                  </a:cubicBezTo>
                  <a:close/>
                  <a:moveTo>
                    <a:pt x="385272" y="1434552"/>
                  </a:moveTo>
                  <a:cubicBezTo>
                    <a:pt x="385272" y="1434552"/>
                    <a:pt x="385272" y="1434552"/>
                    <a:pt x="368756" y="1464656"/>
                  </a:cubicBezTo>
                  <a:cubicBezTo>
                    <a:pt x="368756" y="1464656"/>
                    <a:pt x="368756" y="1464656"/>
                    <a:pt x="404964" y="1485254"/>
                  </a:cubicBezTo>
                  <a:cubicBezTo>
                    <a:pt x="404964" y="1485254"/>
                    <a:pt x="404964" y="1485254"/>
                    <a:pt x="421480" y="1455149"/>
                  </a:cubicBezTo>
                  <a:close/>
                  <a:moveTo>
                    <a:pt x="369391" y="1425362"/>
                  </a:moveTo>
                  <a:lnTo>
                    <a:pt x="352875" y="1455783"/>
                  </a:lnTo>
                  <a:cubicBezTo>
                    <a:pt x="352875" y="1455783"/>
                    <a:pt x="352875" y="1455783"/>
                    <a:pt x="365262" y="1462755"/>
                  </a:cubicBezTo>
                  <a:cubicBezTo>
                    <a:pt x="365262" y="1462755"/>
                    <a:pt x="365262" y="1462755"/>
                    <a:pt x="381778" y="1432334"/>
                  </a:cubicBezTo>
                  <a:cubicBezTo>
                    <a:pt x="381778" y="1432334"/>
                    <a:pt x="381778" y="1432334"/>
                    <a:pt x="369391" y="1425362"/>
                  </a:cubicBezTo>
                  <a:close/>
                  <a:moveTo>
                    <a:pt x="1313036" y="1422193"/>
                  </a:moveTo>
                  <a:cubicBezTo>
                    <a:pt x="1304461" y="1461487"/>
                    <a:pt x="1289533" y="1502049"/>
                    <a:pt x="1282863" y="1519478"/>
                  </a:cubicBezTo>
                  <a:cubicBezTo>
                    <a:pt x="1313036" y="1527083"/>
                    <a:pt x="1344163" y="1535322"/>
                    <a:pt x="1374655" y="1543878"/>
                  </a:cubicBezTo>
                  <a:cubicBezTo>
                    <a:pt x="1374655" y="1543878"/>
                    <a:pt x="1374655" y="1543878"/>
                    <a:pt x="1424521" y="1442474"/>
                  </a:cubicBezTo>
                  <a:cubicBezTo>
                    <a:pt x="1418804" y="1442157"/>
                    <a:pt x="1366079" y="1432334"/>
                    <a:pt x="1313036" y="1422193"/>
                  </a:cubicBezTo>
                  <a:close/>
                  <a:moveTo>
                    <a:pt x="908072" y="1417123"/>
                  </a:moveTo>
                  <a:cubicBezTo>
                    <a:pt x="902355" y="1423461"/>
                    <a:pt x="877899" y="1452614"/>
                    <a:pt x="852807" y="1481451"/>
                  </a:cubicBezTo>
                  <a:cubicBezTo>
                    <a:pt x="838514" y="1497929"/>
                    <a:pt x="824221" y="1514407"/>
                    <a:pt x="813104" y="1526766"/>
                  </a:cubicBezTo>
                  <a:cubicBezTo>
                    <a:pt x="807705" y="1533104"/>
                    <a:pt x="803258" y="1538174"/>
                    <a:pt x="799764" y="1541660"/>
                  </a:cubicBezTo>
                  <a:cubicBezTo>
                    <a:pt x="799447" y="1542294"/>
                    <a:pt x="799129" y="1542294"/>
                    <a:pt x="798812" y="1542610"/>
                  </a:cubicBezTo>
                  <a:cubicBezTo>
                    <a:pt x="798812" y="1542610"/>
                    <a:pt x="798812" y="1542610"/>
                    <a:pt x="922683" y="1581905"/>
                  </a:cubicBezTo>
                  <a:cubicBezTo>
                    <a:pt x="925859" y="1573982"/>
                    <a:pt x="932212" y="1558455"/>
                    <a:pt x="937293" y="1546413"/>
                  </a:cubicBezTo>
                  <a:cubicBezTo>
                    <a:pt x="942693" y="1533738"/>
                    <a:pt x="951904" y="1515358"/>
                    <a:pt x="971914" y="1498880"/>
                  </a:cubicBezTo>
                  <a:cubicBezTo>
                    <a:pt x="971914" y="1498880"/>
                    <a:pt x="971914" y="1498880"/>
                    <a:pt x="968102" y="1494127"/>
                  </a:cubicBezTo>
                  <a:cubicBezTo>
                    <a:pt x="968102" y="1494127"/>
                    <a:pt x="968102" y="1494127"/>
                    <a:pt x="939517" y="1514091"/>
                  </a:cubicBezTo>
                  <a:cubicBezTo>
                    <a:pt x="939517" y="1514091"/>
                    <a:pt x="939517" y="1514091"/>
                    <a:pt x="938246" y="1512189"/>
                  </a:cubicBezTo>
                  <a:cubicBezTo>
                    <a:pt x="938246" y="1512189"/>
                    <a:pt x="938246" y="1512189"/>
                    <a:pt x="923953" y="1491592"/>
                  </a:cubicBezTo>
                  <a:cubicBezTo>
                    <a:pt x="923953" y="1491592"/>
                    <a:pt x="923953" y="1491592"/>
                    <a:pt x="936023" y="1483036"/>
                  </a:cubicBezTo>
                  <a:cubicBezTo>
                    <a:pt x="936023" y="1483036"/>
                    <a:pt x="936023" y="1483036"/>
                    <a:pt x="928400" y="1471944"/>
                  </a:cubicBezTo>
                  <a:lnTo>
                    <a:pt x="943011" y="1461804"/>
                  </a:lnTo>
                  <a:cubicBezTo>
                    <a:pt x="943011" y="1461804"/>
                    <a:pt x="943011" y="1461804"/>
                    <a:pt x="908072" y="1417123"/>
                  </a:cubicBezTo>
                  <a:close/>
                  <a:moveTo>
                    <a:pt x="401788" y="1404130"/>
                  </a:moveTo>
                  <a:cubicBezTo>
                    <a:pt x="401788" y="1404130"/>
                    <a:pt x="401788" y="1404130"/>
                    <a:pt x="387495" y="1430432"/>
                  </a:cubicBezTo>
                  <a:cubicBezTo>
                    <a:pt x="387495" y="1430432"/>
                    <a:pt x="387495" y="1430432"/>
                    <a:pt x="423704" y="1451347"/>
                  </a:cubicBezTo>
                  <a:lnTo>
                    <a:pt x="438632" y="1424094"/>
                  </a:lnTo>
                  <a:cubicBezTo>
                    <a:pt x="438632" y="1424094"/>
                    <a:pt x="438632" y="1424094"/>
                    <a:pt x="401788" y="1404130"/>
                  </a:cubicBezTo>
                  <a:close/>
                  <a:moveTo>
                    <a:pt x="1201870" y="1400645"/>
                  </a:moveTo>
                  <a:cubicBezTo>
                    <a:pt x="1201870" y="1400645"/>
                    <a:pt x="1201870" y="1400645"/>
                    <a:pt x="1199647" y="1499831"/>
                  </a:cubicBezTo>
                  <a:cubicBezTo>
                    <a:pt x="1219339" y="1503950"/>
                    <a:pt x="1240619" y="1509020"/>
                    <a:pt x="1262535" y="1514407"/>
                  </a:cubicBezTo>
                  <a:cubicBezTo>
                    <a:pt x="1265076" y="1508070"/>
                    <a:pt x="1269205" y="1496979"/>
                    <a:pt x="1273969" y="1483669"/>
                  </a:cubicBezTo>
                  <a:cubicBezTo>
                    <a:pt x="1280322" y="1464656"/>
                    <a:pt x="1287627" y="1440889"/>
                    <a:pt x="1292391" y="1418074"/>
                  </a:cubicBezTo>
                  <a:cubicBezTo>
                    <a:pt x="1248242" y="1409518"/>
                    <a:pt x="1208857" y="1401912"/>
                    <a:pt x="1201870" y="1400645"/>
                  </a:cubicBezTo>
                  <a:close/>
                  <a:moveTo>
                    <a:pt x="391942" y="1384483"/>
                  </a:moveTo>
                  <a:lnTo>
                    <a:pt x="371614" y="1421559"/>
                  </a:lnTo>
                  <a:cubicBezTo>
                    <a:pt x="371614" y="1421559"/>
                    <a:pt x="371614" y="1421559"/>
                    <a:pt x="384001" y="1428531"/>
                  </a:cubicBezTo>
                  <a:cubicBezTo>
                    <a:pt x="384001" y="1428531"/>
                    <a:pt x="384001" y="1428531"/>
                    <a:pt x="400200" y="1398427"/>
                  </a:cubicBezTo>
                  <a:cubicBezTo>
                    <a:pt x="400200" y="1398427"/>
                    <a:pt x="400200" y="1398427"/>
                    <a:pt x="444031" y="1422193"/>
                  </a:cubicBezTo>
                  <a:cubicBezTo>
                    <a:pt x="444031" y="1422193"/>
                    <a:pt x="444031" y="1422193"/>
                    <a:pt x="443079" y="1424094"/>
                  </a:cubicBezTo>
                  <a:cubicBezTo>
                    <a:pt x="443079" y="1424094"/>
                    <a:pt x="443079" y="1424094"/>
                    <a:pt x="427198" y="1453248"/>
                  </a:cubicBezTo>
                  <a:cubicBezTo>
                    <a:pt x="427198" y="1453248"/>
                    <a:pt x="427198" y="1453248"/>
                    <a:pt x="556151" y="1526766"/>
                  </a:cubicBezTo>
                  <a:cubicBezTo>
                    <a:pt x="556151" y="1526766"/>
                    <a:pt x="556151" y="1526766"/>
                    <a:pt x="565362" y="1483352"/>
                  </a:cubicBezTo>
                  <a:cubicBezTo>
                    <a:pt x="565362" y="1483352"/>
                    <a:pt x="565362" y="1483352"/>
                    <a:pt x="478017" y="1433601"/>
                  </a:cubicBezTo>
                  <a:cubicBezTo>
                    <a:pt x="477699" y="1434235"/>
                    <a:pt x="477699" y="1434552"/>
                    <a:pt x="477699" y="1434552"/>
                  </a:cubicBezTo>
                  <a:cubicBezTo>
                    <a:pt x="477699" y="1434552"/>
                    <a:pt x="477699" y="1434552"/>
                    <a:pt x="473570" y="1432967"/>
                  </a:cubicBezTo>
                  <a:cubicBezTo>
                    <a:pt x="473570" y="1432967"/>
                    <a:pt x="473570" y="1432334"/>
                    <a:pt x="474205" y="1431383"/>
                  </a:cubicBezTo>
                  <a:cubicBezTo>
                    <a:pt x="474205" y="1431383"/>
                    <a:pt x="474205" y="1431383"/>
                    <a:pt x="391942" y="1384483"/>
                  </a:cubicBezTo>
                  <a:close/>
                  <a:moveTo>
                    <a:pt x="505967" y="1363886"/>
                  </a:moveTo>
                  <a:cubicBezTo>
                    <a:pt x="505014" y="1366104"/>
                    <a:pt x="503744" y="1368956"/>
                    <a:pt x="502473" y="1372125"/>
                  </a:cubicBezTo>
                  <a:cubicBezTo>
                    <a:pt x="495486" y="1389237"/>
                    <a:pt x="484051" y="1417757"/>
                    <a:pt x="479605" y="1429482"/>
                  </a:cubicBezTo>
                  <a:cubicBezTo>
                    <a:pt x="479605" y="1429482"/>
                    <a:pt x="479605" y="1429482"/>
                    <a:pt x="566632" y="1478916"/>
                  </a:cubicBezTo>
                  <a:cubicBezTo>
                    <a:pt x="566632" y="1478916"/>
                    <a:pt x="566632" y="1478916"/>
                    <a:pt x="606652" y="1436770"/>
                  </a:cubicBezTo>
                  <a:lnTo>
                    <a:pt x="506285" y="1363886"/>
                  </a:lnTo>
                  <a:cubicBezTo>
                    <a:pt x="506285" y="1363886"/>
                    <a:pt x="505967" y="1363886"/>
                    <a:pt x="505967" y="1363886"/>
                  </a:cubicBezTo>
                  <a:close/>
                  <a:moveTo>
                    <a:pt x="824221" y="1357548"/>
                  </a:moveTo>
                  <a:cubicBezTo>
                    <a:pt x="824221" y="1357548"/>
                    <a:pt x="824221" y="1357548"/>
                    <a:pt x="806117" y="1382265"/>
                  </a:cubicBezTo>
                  <a:cubicBezTo>
                    <a:pt x="806117" y="1382265"/>
                    <a:pt x="806117" y="1382265"/>
                    <a:pt x="820727" y="1393356"/>
                  </a:cubicBezTo>
                  <a:cubicBezTo>
                    <a:pt x="820727" y="1393356"/>
                    <a:pt x="820727" y="1393356"/>
                    <a:pt x="806434" y="1411736"/>
                  </a:cubicBezTo>
                  <a:cubicBezTo>
                    <a:pt x="806434" y="1411736"/>
                    <a:pt x="806434" y="1411736"/>
                    <a:pt x="827715" y="1427897"/>
                  </a:cubicBezTo>
                  <a:cubicBezTo>
                    <a:pt x="827715" y="1427897"/>
                    <a:pt x="827715" y="1427897"/>
                    <a:pt x="858524" y="1387652"/>
                  </a:cubicBezTo>
                  <a:lnTo>
                    <a:pt x="845184" y="1377829"/>
                  </a:lnTo>
                  <a:cubicBezTo>
                    <a:pt x="845184" y="1377829"/>
                    <a:pt x="845184" y="1377829"/>
                    <a:pt x="847090" y="1374977"/>
                  </a:cubicBezTo>
                  <a:cubicBezTo>
                    <a:pt x="847090" y="1374977"/>
                    <a:pt x="847090" y="1374977"/>
                    <a:pt x="824221" y="1357548"/>
                  </a:cubicBezTo>
                  <a:close/>
                  <a:moveTo>
                    <a:pt x="823268" y="1351527"/>
                  </a:moveTo>
                  <a:lnTo>
                    <a:pt x="853124" y="1374343"/>
                  </a:lnTo>
                  <a:cubicBezTo>
                    <a:pt x="853124" y="1374343"/>
                    <a:pt x="853124" y="1374343"/>
                    <a:pt x="851219" y="1376878"/>
                  </a:cubicBezTo>
                  <a:cubicBezTo>
                    <a:pt x="851219" y="1376878"/>
                    <a:pt x="851219" y="1376878"/>
                    <a:pt x="864241" y="1387019"/>
                  </a:cubicBezTo>
                  <a:cubicBezTo>
                    <a:pt x="864241" y="1387019"/>
                    <a:pt x="864241" y="1387019"/>
                    <a:pt x="828350" y="1433601"/>
                  </a:cubicBezTo>
                  <a:cubicBezTo>
                    <a:pt x="828350" y="1433601"/>
                    <a:pt x="828350" y="1433601"/>
                    <a:pt x="800717" y="1412686"/>
                  </a:cubicBezTo>
                  <a:cubicBezTo>
                    <a:pt x="800717" y="1412686"/>
                    <a:pt x="800717" y="1412686"/>
                    <a:pt x="815010" y="1394307"/>
                  </a:cubicBezTo>
                  <a:cubicBezTo>
                    <a:pt x="815010" y="1394307"/>
                    <a:pt x="815010" y="1394307"/>
                    <a:pt x="800400" y="1383216"/>
                  </a:cubicBezTo>
                  <a:cubicBezTo>
                    <a:pt x="800400" y="1383216"/>
                    <a:pt x="800400" y="1383216"/>
                    <a:pt x="801670" y="1381631"/>
                  </a:cubicBezTo>
                  <a:cubicBezTo>
                    <a:pt x="801670" y="1381631"/>
                    <a:pt x="801670" y="1381631"/>
                    <a:pt x="823268" y="1351527"/>
                  </a:cubicBezTo>
                  <a:close/>
                  <a:moveTo>
                    <a:pt x="1480104" y="1339168"/>
                  </a:moveTo>
                  <a:cubicBezTo>
                    <a:pt x="1480104" y="1339168"/>
                    <a:pt x="1480104" y="1339168"/>
                    <a:pt x="1379101" y="1545146"/>
                  </a:cubicBezTo>
                  <a:cubicBezTo>
                    <a:pt x="1405464" y="1552751"/>
                    <a:pt x="1431191" y="1560673"/>
                    <a:pt x="1455647" y="1568278"/>
                  </a:cubicBezTo>
                  <a:cubicBezTo>
                    <a:pt x="1464541" y="1571447"/>
                    <a:pt x="1472799" y="1575250"/>
                    <a:pt x="1480104" y="1579686"/>
                  </a:cubicBezTo>
                  <a:cubicBezTo>
                    <a:pt x="1480104" y="1579686"/>
                    <a:pt x="1480104" y="1579686"/>
                    <a:pt x="1552839" y="1524865"/>
                  </a:cubicBezTo>
                  <a:lnTo>
                    <a:pt x="1597623" y="1441840"/>
                  </a:lnTo>
                  <a:cubicBezTo>
                    <a:pt x="1597305" y="1441840"/>
                    <a:pt x="1597305" y="1441840"/>
                    <a:pt x="1597305" y="1441523"/>
                  </a:cubicBezTo>
                  <a:cubicBezTo>
                    <a:pt x="1583012" y="1430115"/>
                    <a:pt x="1494714" y="1351844"/>
                    <a:pt x="1480104" y="1339168"/>
                  </a:cubicBezTo>
                  <a:close/>
                  <a:moveTo>
                    <a:pt x="1324788" y="1334415"/>
                  </a:moveTo>
                  <a:cubicBezTo>
                    <a:pt x="1324788" y="1334415"/>
                    <a:pt x="1324788" y="1334415"/>
                    <a:pt x="1324153" y="1370223"/>
                  </a:cubicBezTo>
                  <a:cubicBezTo>
                    <a:pt x="1324153" y="1370223"/>
                    <a:pt x="1324153" y="1370223"/>
                    <a:pt x="1347657" y="1370857"/>
                  </a:cubicBezTo>
                  <a:lnTo>
                    <a:pt x="1348610" y="1335049"/>
                  </a:lnTo>
                  <a:cubicBezTo>
                    <a:pt x="1348610" y="1335049"/>
                    <a:pt x="1348610" y="1335049"/>
                    <a:pt x="1324788" y="1334415"/>
                  </a:cubicBezTo>
                  <a:close/>
                  <a:moveTo>
                    <a:pt x="419575" y="1333781"/>
                  </a:moveTo>
                  <a:lnTo>
                    <a:pt x="393848" y="1380681"/>
                  </a:lnTo>
                  <a:cubicBezTo>
                    <a:pt x="393848" y="1380681"/>
                    <a:pt x="393848" y="1380681"/>
                    <a:pt x="475793" y="1427263"/>
                  </a:cubicBezTo>
                  <a:cubicBezTo>
                    <a:pt x="478334" y="1420292"/>
                    <a:pt x="483098" y="1407933"/>
                    <a:pt x="488180" y="1395258"/>
                  </a:cubicBezTo>
                  <a:cubicBezTo>
                    <a:pt x="491992" y="1386068"/>
                    <a:pt x="495803" y="1376561"/>
                    <a:pt x="498662" y="1369273"/>
                  </a:cubicBezTo>
                  <a:cubicBezTo>
                    <a:pt x="499932" y="1366421"/>
                    <a:pt x="500885" y="1364202"/>
                    <a:pt x="501838" y="1362301"/>
                  </a:cubicBezTo>
                  <a:cubicBezTo>
                    <a:pt x="493262" y="1359132"/>
                    <a:pt x="476746" y="1353112"/>
                    <a:pt x="459277" y="1347091"/>
                  </a:cubicBezTo>
                  <a:cubicBezTo>
                    <a:pt x="446890" y="1342654"/>
                    <a:pt x="434503" y="1338535"/>
                    <a:pt x="424657" y="1335049"/>
                  </a:cubicBezTo>
                  <a:cubicBezTo>
                    <a:pt x="422751" y="1334732"/>
                    <a:pt x="421163" y="1334098"/>
                    <a:pt x="419575" y="1333781"/>
                  </a:cubicBezTo>
                  <a:close/>
                  <a:moveTo>
                    <a:pt x="1268252" y="1333148"/>
                  </a:moveTo>
                  <a:lnTo>
                    <a:pt x="1267299" y="1368956"/>
                  </a:lnTo>
                  <a:cubicBezTo>
                    <a:pt x="1267299" y="1368956"/>
                    <a:pt x="1267299" y="1368956"/>
                    <a:pt x="1291121" y="1369590"/>
                  </a:cubicBezTo>
                  <a:cubicBezTo>
                    <a:pt x="1291121" y="1369590"/>
                    <a:pt x="1291121" y="1369590"/>
                    <a:pt x="1291756" y="1333781"/>
                  </a:cubicBezTo>
                  <a:cubicBezTo>
                    <a:pt x="1291756" y="1333781"/>
                    <a:pt x="1291756" y="1333781"/>
                    <a:pt x="1268252" y="1333148"/>
                  </a:cubicBezTo>
                  <a:close/>
                  <a:moveTo>
                    <a:pt x="1320977" y="1329979"/>
                  </a:moveTo>
                  <a:cubicBezTo>
                    <a:pt x="1320977" y="1329979"/>
                    <a:pt x="1320977" y="1329979"/>
                    <a:pt x="1352739" y="1330929"/>
                  </a:cubicBezTo>
                  <a:lnTo>
                    <a:pt x="1351786" y="1374977"/>
                  </a:lnTo>
                  <a:cubicBezTo>
                    <a:pt x="1351786" y="1374977"/>
                    <a:pt x="1351786" y="1374977"/>
                    <a:pt x="1319706" y="1374343"/>
                  </a:cubicBezTo>
                  <a:cubicBezTo>
                    <a:pt x="1319706" y="1374343"/>
                    <a:pt x="1319706" y="1374343"/>
                    <a:pt x="1319706" y="1372125"/>
                  </a:cubicBezTo>
                  <a:cubicBezTo>
                    <a:pt x="1319706" y="1372125"/>
                    <a:pt x="1319706" y="1372125"/>
                    <a:pt x="1320977" y="1329979"/>
                  </a:cubicBezTo>
                  <a:close/>
                  <a:moveTo>
                    <a:pt x="840102" y="1329662"/>
                  </a:moveTo>
                  <a:cubicBezTo>
                    <a:pt x="840102" y="1329662"/>
                    <a:pt x="840102" y="1329662"/>
                    <a:pt x="705114" y="1482402"/>
                  </a:cubicBezTo>
                  <a:cubicBezTo>
                    <a:pt x="705114" y="1482402"/>
                    <a:pt x="705114" y="1482402"/>
                    <a:pt x="780390" y="1536907"/>
                  </a:cubicBezTo>
                  <a:cubicBezTo>
                    <a:pt x="780390" y="1536907"/>
                    <a:pt x="780390" y="1536907"/>
                    <a:pt x="794047" y="1541343"/>
                  </a:cubicBezTo>
                  <a:cubicBezTo>
                    <a:pt x="797541" y="1537540"/>
                    <a:pt x="803893" y="1530569"/>
                    <a:pt x="811516" y="1522013"/>
                  </a:cubicBezTo>
                  <a:cubicBezTo>
                    <a:pt x="842961" y="1486521"/>
                    <a:pt x="899179" y="1420609"/>
                    <a:pt x="905214" y="1413320"/>
                  </a:cubicBezTo>
                  <a:close/>
                  <a:moveTo>
                    <a:pt x="1264123" y="1329028"/>
                  </a:moveTo>
                  <a:cubicBezTo>
                    <a:pt x="1264123" y="1329028"/>
                    <a:pt x="1264123" y="1329028"/>
                    <a:pt x="1296203" y="1329662"/>
                  </a:cubicBezTo>
                  <a:cubicBezTo>
                    <a:pt x="1296203" y="1329662"/>
                    <a:pt x="1296203" y="1329662"/>
                    <a:pt x="1295250" y="1373709"/>
                  </a:cubicBezTo>
                  <a:cubicBezTo>
                    <a:pt x="1295250" y="1373709"/>
                    <a:pt x="1295250" y="1373709"/>
                    <a:pt x="1263170" y="1373075"/>
                  </a:cubicBezTo>
                  <a:cubicBezTo>
                    <a:pt x="1263170" y="1373075"/>
                    <a:pt x="1263170" y="1373075"/>
                    <a:pt x="1263170" y="1370857"/>
                  </a:cubicBezTo>
                  <a:close/>
                  <a:moveTo>
                    <a:pt x="984619" y="1310965"/>
                  </a:moveTo>
                  <a:cubicBezTo>
                    <a:pt x="984619" y="1310965"/>
                    <a:pt x="984619" y="1310965"/>
                    <a:pt x="844231" y="1327760"/>
                  </a:cubicBezTo>
                  <a:cubicBezTo>
                    <a:pt x="844231" y="1327760"/>
                    <a:pt x="844231" y="1327760"/>
                    <a:pt x="946504" y="1459269"/>
                  </a:cubicBezTo>
                  <a:cubicBezTo>
                    <a:pt x="946504" y="1459269"/>
                    <a:pt x="946504" y="1459269"/>
                    <a:pt x="958891" y="1450713"/>
                  </a:cubicBezTo>
                  <a:cubicBezTo>
                    <a:pt x="958891" y="1450713"/>
                    <a:pt x="958891" y="1450713"/>
                    <a:pt x="966514" y="1462121"/>
                  </a:cubicBezTo>
                  <a:cubicBezTo>
                    <a:pt x="966514" y="1462121"/>
                    <a:pt x="966514" y="1462121"/>
                    <a:pt x="978901" y="1453565"/>
                  </a:cubicBezTo>
                  <a:cubicBezTo>
                    <a:pt x="978901" y="1453565"/>
                    <a:pt x="978901" y="1453565"/>
                    <a:pt x="994465" y="1476064"/>
                  </a:cubicBezTo>
                  <a:cubicBezTo>
                    <a:pt x="994465" y="1476064"/>
                    <a:pt x="994465" y="1476064"/>
                    <a:pt x="971914" y="1491592"/>
                  </a:cubicBezTo>
                  <a:cubicBezTo>
                    <a:pt x="971914" y="1491592"/>
                    <a:pt x="971914" y="1491592"/>
                    <a:pt x="975408" y="1496028"/>
                  </a:cubicBezTo>
                  <a:cubicBezTo>
                    <a:pt x="982395" y="1490958"/>
                    <a:pt x="990018" y="1485888"/>
                    <a:pt x="999547" y="1481451"/>
                  </a:cubicBezTo>
                  <a:cubicBezTo>
                    <a:pt x="1010663" y="1476064"/>
                    <a:pt x="1022415" y="1473212"/>
                    <a:pt x="1034167" y="1472261"/>
                  </a:cubicBezTo>
                  <a:close/>
                  <a:moveTo>
                    <a:pt x="3054223" y="1305895"/>
                  </a:moveTo>
                  <a:cubicBezTo>
                    <a:pt x="3054223" y="1305895"/>
                    <a:pt x="3054223" y="1305895"/>
                    <a:pt x="2553656" y="1450079"/>
                  </a:cubicBezTo>
                  <a:cubicBezTo>
                    <a:pt x="2553656" y="1450079"/>
                    <a:pt x="2553656" y="1450079"/>
                    <a:pt x="2651800" y="1618030"/>
                  </a:cubicBezTo>
                  <a:cubicBezTo>
                    <a:pt x="2651800" y="1618030"/>
                    <a:pt x="2651800" y="1618030"/>
                    <a:pt x="2651800" y="1618664"/>
                  </a:cubicBezTo>
                  <a:cubicBezTo>
                    <a:pt x="2690232" y="1691865"/>
                    <a:pt x="2747085" y="1836682"/>
                    <a:pt x="2753755" y="1946009"/>
                  </a:cubicBezTo>
                  <a:cubicBezTo>
                    <a:pt x="2755661" y="1979916"/>
                    <a:pt x="2756296" y="2023646"/>
                    <a:pt x="2756296" y="2068644"/>
                  </a:cubicBezTo>
                  <a:cubicBezTo>
                    <a:pt x="2756296" y="2162126"/>
                    <a:pt x="2753438" y="2260362"/>
                    <a:pt x="2751850" y="2288248"/>
                  </a:cubicBezTo>
                  <a:cubicBezTo>
                    <a:pt x="2751214" y="2304726"/>
                    <a:pt x="2749944" y="2322155"/>
                    <a:pt x="2749944" y="2339900"/>
                  </a:cubicBezTo>
                  <a:cubicBezTo>
                    <a:pt x="2749944" y="2365568"/>
                    <a:pt x="2752802" y="2390602"/>
                    <a:pt x="2761696" y="2410566"/>
                  </a:cubicBezTo>
                  <a:cubicBezTo>
                    <a:pt x="2775989" y="2444473"/>
                    <a:pt x="2820773" y="2485669"/>
                    <a:pt x="2867145" y="2505316"/>
                  </a:cubicBezTo>
                  <a:cubicBezTo>
                    <a:pt x="2916694" y="2526547"/>
                    <a:pt x="3092019" y="2605452"/>
                    <a:pt x="3244794" y="2658056"/>
                  </a:cubicBezTo>
                  <a:cubicBezTo>
                    <a:pt x="3244794" y="2658056"/>
                    <a:pt x="3244794" y="2658056"/>
                    <a:pt x="3385499" y="2260995"/>
                  </a:cubicBezTo>
                  <a:cubicBezTo>
                    <a:pt x="3359137" y="2244834"/>
                    <a:pt x="3314988" y="2218532"/>
                    <a:pt x="3274650" y="2194766"/>
                  </a:cubicBezTo>
                  <a:cubicBezTo>
                    <a:pt x="3251464" y="2181140"/>
                    <a:pt x="3229231" y="2168147"/>
                    <a:pt x="3212714" y="2158641"/>
                  </a:cubicBezTo>
                  <a:cubicBezTo>
                    <a:pt x="3204456" y="2153887"/>
                    <a:pt x="3197786" y="2150085"/>
                    <a:pt x="3193022" y="2147233"/>
                  </a:cubicBezTo>
                  <a:cubicBezTo>
                    <a:pt x="3190481" y="2145965"/>
                    <a:pt x="3188576" y="2144698"/>
                    <a:pt x="3187305" y="2144064"/>
                  </a:cubicBezTo>
                  <a:cubicBezTo>
                    <a:pt x="3186670" y="2143747"/>
                    <a:pt x="3186352" y="2143430"/>
                    <a:pt x="3186034" y="2143430"/>
                  </a:cubicBezTo>
                  <a:cubicBezTo>
                    <a:pt x="3185717" y="2143430"/>
                    <a:pt x="3185717" y="2143430"/>
                    <a:pt x="3185717" y="2143430"/>
                  </a:cubicBezTo>
                  <a:cubicBezTo>
                    <a:pt x="3185717" y="2143430"/>
                    <a:pt x="3185717" y="2143430"/>
                    <a:pt x="3185717" y="2143113"/>
                  </a:cubicBezTo>
                  <a:cubicBezTo>
                    <a:pt x="3180953" y="2141212"/>
                    <a:pt x="3179364" y="2138677"/>
                    <a:pt x="3176506" y="2135508"/>
                  </a:cubicBezTo>
                  <a:cubicBezTo>
                    <a:pt x="3168566" y="2124417"/>
                    <a:pt x="3159672" y="2101918"/>
                    <a:pt x="3159672" y="2061039"/>
                  </a:cubicBezTo>
                  <a:cubicBezTo>
                    <a:pt x="3159672" y="2057870"/>
                    <a:pt x="3159672" y="2054384"/>
                    <a:pt x="3159672" y="2050582"/>
                  </a:cubicBezTo>
                  <a:cubicBezTo>
                    <a:pt x="3161260" y="2007802"/>
                    <a:pt x="3168883" y="1908299"/>
                    <a:pt x="3168883" y="1827176"/>
                  </a:cubicBezTo>
                  <a:cubicBezTo>
                    <a:pt x="3168883" y="1793903"/>
                    <a:pt x="3167613" y="1763798"/>
                    <a:pt x="3164119" y="1742567"/>
                  </a:cubicBezTo>
                  <a:cubicBezTo>
                    <a:pt x="3158402" y="1705808"/>
                    <a:pt x="3130769" y="1594897"/>
                    <a:pt x="3104406" y="1494127"/>
                  </a:cubicBezTo>
                  <a:cubicBezTo>
                    <a:pt x="3081220" y="1405715"/>
                    <a:pt x="3059305" y="1324592"/>
                    <a:pt x="3054223" y="1305895"/>
                  </a:cubicBezTo>
                  <a:close/>
                  <a:moveTo>
                    <a:pt x="1318754" y="1302726"/>
                  </a:moveTo>
                  <a:cubicBezTo>
                    <a:pt x="1319071" y="1315402"/>
                    <a:pt x="1319389" y="1328711"/>
                    <a:pt x="1319389" y="1342020"/>
                  </a:cubicBezTo>
                  <a:cubicBezTo>
                    <a:pt x="1319389" y="1368005"/>
                    <a:pt x="1318436" y="1393356"/>
                    <a:pt x="1314942" y="1412053"/>
                  </a:cubicBezTo>
                  <a:cubicBezTo>
                    <a:pt x="1314625" y="1413954"/>
                    <a:pt x="1314307" y="1415855"/>
                    <a:pt x="1313989" y="1417757"/>
                  </a:cubicBezTo>
                  <a:cubicBezTo>
                    <a:pt x="1367032" y="1427897"/>
                    <a:pt x="1420709" y="1438037"/>
                    <a:pt x="1424838" y="1438037"/>
                  </a:cubicBezTo>
                  <a:lnTo>
                    <a:pt x="1424838" y="1439462"/>
                  </a:lnTo>
                  <a:lnTo>
                    <a:pt x="1424521" y="1438037"/>
                  </a:lnTo>
                  <a:cubicBezTo>
                    <a:pt x="1424838" y="1439622"/>
                    <a:pt x="1424838" y="1439622"/>
                    <a:pt x="1424838" y="1439622"/>
                  </a:cubicBezTo>
                  <a:lnTo>
                    <a:pt x="1424838" y="1439462"/>
                  </a:lnTo>
                  <a:lnTo>
                    <a:pt x="1425156" y="1440889"/>
                  </a:lnTo>
                  <a:cubicBezTo>
                    <a:pt x="1425156" y="1440889"/>
                    <a:pt x="1425156" y="1440889"/>
                    <a:pt x="1476293" y="1336950"/>
                  </a:cubicBezTo>
                  <a:cubicBezTo>
                    <a:pt x="1476293" y="1336950"/>
                    <a:pt x="1476293" y="1336950"/>
                    <a:pt x="1318754" y="1302726"/>
                  </a:cubicBezTo>
                  <a:close/>
                  <a:moveTo>
                    <a:pt x="1204093" y="1289734"/>
                  </a:moveTo>
                  <a:cubicBezTo>
                    <a:pt x="1204093" y="1289734"/>
                    <a:pt x="1204093" y="1289734"/>
                    <a:pt x="1201870" y="1396208"/>
                  </a:cubicBezTo>
                  <a:cubicBezTo>
                    <a:pt x="1205681" y="1396842"/>
                    <a:pt x="1246972" y="1404764"/>
                    <a:pt x="1293344" y="1413637"/>
                  </a:cubicBezTo>
                  <a:cubicBezTo>
                    <a:pt x="1293662" y="1412053"/>
                    <a:pt x="1294297" y="1410151"/>
                    <a:pt x="1294615" y="1408250"/>
                  </a:cubicBezTo>
                  <a:cubicBezTo>
                    <a:pt x="1297473" y="1392089"/>
                    <a:pt x="1298744" y="1367371"/>
                    <a:pt x="1298744" y="1342020"/>
                  </a:cubicBezTo>
                  <a:cubicBezTo>
                    <a:pt x="1298744" y="1327444"/>
                    <a:pt x="1298426" y="1312867"/>
                    <a:pt x="1297791" y="1299241"/>
                  </a:cubicBezTo>
                  <a:cubicBezTo>
                    <a:pt x="1297791" y="1299241"/>
                    <a:pt x="1297791" y="1299241"/>
                    <a:pt x="1204093" y="1289734"/>
                  </a:cubicBezTo>
                  <a:close/>
                  <a:moveTo>
                    <a:pt x="1178684" y="1287199"/>
                  </a:moveTo>
                  <a:cubicBezTo>
                    <a:pt x="1178684" y="1287199"/>
                    <a:pt x="1178684" y="1287199"/>
                    <a:pt x="989065" y="1310332"/>
                  </a:cubicBezTo>
                  <a:cubicBezTo>
                    <a:pt x="989065" y="1310332"/>
                    <a:pt x="989065" y="1310332"/>
                    <a:pt x="1038931" y="1471944"/>
                  </a:cubicBezTo>
                  <a:cubicBezTo>
                    <a:pt x="1040520" y="1471944"/>
                    <a:pt x="1042108" y="1471944"/>
                    <a:pt x="1043696" y="1471944"/>
                  </a:cubicBezTo>
                  <a:cubicBezTo>
                    <a:pt x="1065294" y="1471944"/>
                    <a:pt x="1088798" y="1477015"/>
                    <a:pt x="1119289" y="1483352"/>
                  </a:cubicBezTo>
                  <a:cubicBezTo>
                    <a:pt x="1119289" y="1483352"/>
                    <a:pt x="1119289" y="1483352"/>
                    <a:pt x="1118336" y="1473529"/>
                  </a:cubicBezTo>
                  <a:cubicBezTo>
                    <a:pt x="1118336" y="1473529"/>
                    <a:pt x="1118336" y="1473529"/>
                    <a:pt x="1084986" y="1467191"/>
                  </a:cubicBezTo>
                  <a:cubicBezTo>
                    <a:pt x="1084986" y="1467191"/>
                    <a:pt x="1084986" y="1467191"/>
                    <a:pt x="1085304" y="1464973"/>
                  </a:cubicBezTo>
                  <a:cubicBezTo>
                    <a:pt x="1085304" y="1464973"/>
                    <a:pt x="1085304" y="1464973"/>
                    <a:pt x="1090068" y="1440256"/>
                  </a:cubicBezTo>
                  <a:cubicBezTo>
                    <a:pt x="1090068" y="1440256"/>
                    <a:pt x="1090068" y="1440256"/>
                    <a:pt x="1104678" y="1443108"/>
                  </a:cubicBezTo>
                  <a:cubicBezTo>
                    <a:pt x="1104678" y="1443108"/>
                    <a:pt x="1104678" y="1443108"/>
                    <a:pt x="1107219" y="1429798"/>
                  </a:cubicBezTo>
                  <a:cubicBezTo>
                    <a:pt x="1107219" y="1429798"/>
                    <a:pt x="1107219" y="1429798"/>
                    <a:pt x="1114207" y="1431066"/>
                  </a:cubicBezTo>
                  <a:cubicBezTo>
                    <a:pt x="1114207" y="1431066"/>
                    <a:pt x="1114207" y="1431066"/>
                    <a:pt x="1101502" y="1297339"/>
                  </a:cubicBezTo>
                  <a:cubicBezTo>
                    <a:pt x="1101502" y="1297339"/>
                    <a:pt x="1101502" y="1297339"/>
                    <a:pt x="1105631" y="1297022"/>
                  </a:cubicBezTo>
                  <a:cubicBezTo>
                    <a:pt x="1105631" y="1297022"/>
                    <a:pt x="1105631" y="1297022"/>
                    <a:pt x="1118971" y="1432016"/>
                  </a:cubicBezTo>
                  <a:cubicBezTo>
                    <a:pt x="1118971" y="1432016"/>
                    <a:pt x="1118971" y="1432016"/>
                    <a:pt x="1143746" y="1436770"/>
                  </a:cubicBezTo>
                  <a:cubicBezTo>
                    <a:pt x="1143746" y="1436770"/>
                    <a:pt x="1143746" y="1436770"/>
                    <a:pt x="1141205" y="1450079"/>
                  </a:cubicBezTo>
                  <a:cubicBezTo>
                    <a:pt x="1141205" y="1450079"/>
                    <a:pt x="1141205" y="1450079"/>
                    <a:pt x="1155815" y="1452931"/>
                  </a:cubicBezTo>
                  <a:cubicBezTo>
                    <a:pt x="1155815" y="1452931"/>
                    <a:pt x="1155815" y="1452931"/>
                    <a:pt x="1150733" y="1479867"/>
                  </a:cubicBezTo>
                  <a:cubicBezTo>
                    <a:pt x="1150733" y="1479867"/>
                    <a:pt x="1150733" y="1479867"/>
                    <a:pt x="1123100" y="1474480"/>
                  </a:cubicBezTo>
                  <a:cubicBezTo>
                    <a:pt x="1123100" y="1474480"/>
                    <a:pt x="1123100" y="1474480"/>
                    <a:pt x="1124053" y="1484303"/>
                  </a:cubicBezTo>
                  <a:cubicBezTo>
                    <a:pt x="1135170" y="1486521"/>
                    <a:pt x="1147239" y="1489056"/>
                    <a:pt x="1160579" y="1491592"/>
                  </a:cubicBezTo>
                  <a:cubicBezTo>
                    <a:pt x="1171378" y="1493810"/>
                    <a:pt x="1183130" y="1496028"/>
                    <a:pt x="1195200" y="1498880"/>
                  </a:cubicBezTo>
                  <a:lnTo>
                    <a:pt x="1199647" y="1289417"/>
                  </a:lnTo>
                  <a:cubicBezTo>
                    <a:pt x="1199647" y="1289417"/>
                    <a:pt x="1199647" y="1289417"/>
                    <a:pt x="1178684" y="1287199"/>
                  </a:cubicBezTo>
                  <a:close/>
                  <a:moveTo>
                    <a:pt x="3442988" y="1194351"/>
                  </a:moveTo>
                  <a:cubicBezTo>
                    <a:pt x="3442988" y="1194351"/>
                    <a:pt x="3442988" y="1194351"/>
                    <a:pt x="3074233" y="1300191"/>
                  </a:cubicBezTo>
                  <a:cubicBezTo>
                    <a:pt x="3079314" y="1317937"/>
                    <a:pt x="3101230" y="1399694"/>
                    <a:pt x="3124416" y="1489056"/>
                  </a:cubicBezTo>
                  <a:cubicBezTo>
                    <a:pt x="3150779" y="1590144"/>
                    <a:pt x="3178729" y="1700104"/>
                    <a:pt x="3184764" y="1739398"/>
                  </a:cubicBezTo>
                  <a:cubicBezTo>
                    <a:pt x="3188576" y="1762531"/>
                    <a:pt x="3189846" y="1793269"/>
                    <a:pt x="3189846" y="1827176"/>
                  </a:cubicBezTo>
                  <a:cubicBezTo>
                    <a:pt x="3189846" y="1909250"/>
                    <a:pt x="3182223" y="2009386"/>
                    <a:pt x="3180635" y="2051532"/>
                  </a:cubicBezTo>
                  <a:cubicBezTo>
                    <a:pt x="3180635" y="2054701"/>
                    <a:pt x="3180318" y="2057870"/>
                    <a:pt x="3180318" y="2061039"/>
                  </a:cubicBezTo>
                  <a:cubicBezTo>
                    <a:pt x="3180318" y="2086073"/>
                    <a:pt x="3184129" y="2102868"/>
                    <a:pt x="3187940" y="2113009"/>
                  </a:cubicBezTo>
                  <a:cubicBezTo>
                    <a:pt x="3190164" y="2117762"/>
                    <a:pt x="3192069" y="2121248"/>
                    <a:pt x="3193340" y="2123149"/>
                  </a:cubicBezTo>
                  <a:cubicBezTo>
                    <a:pt x="3193658" y="2123783"/>
                    <a:pt x="3193975" y="2124100"/>
                    <a:pt x="3194293" y="2124417"/>
                  </a:cubicBezTo>
                  <a:cubicBezTo>
                    <a:pt x="3194928" y="2124417"/>
                    <a:pt x="3194928" y="2124734"/>
                    <a:pt x="3195563" y="2125051"/>
                  </a:cubicBezTo>
                  <a:cubicBezTo>
                    <a:pt x="3205092" y="2129804"/>
                    <a:pt x="3260675" y="2162443"/>
                    <a:pt x="3314988" y="2194449"/>
                  </a:cubicBezTo>
                  <a:cubicBezTo>
                    <a:pt x="3341986" y="2210610"/>
                    <a:pt x="3368348" y="2226138"/>
                    <a:pt x="3388358" y="2238179"/>
                  </a:cubicBezTo>
                  <a:cubicBezTo>
                    <a:pt x="3398204" y="2244200"/>
                    <a:pt x="3406462" y="2249270"/>
                    <a:pt x="3412179" y="2252756"/>
                  </a:cubicBezTo>
                  <a:cubicBezTo>
                    <a:pt x="3415038" y="2254658"/>
                    <a:pt x="3417261" y="2255925"/>
                    <a:pt x="3418849" y="2257193"/>
                  </a:cubicBezTo>
                  <a:cubicBezTo>
                    <a:pt x="3419167" y="2257193"/>
                    <a:pt x="3419167" y="2257193"/>
                    <a:pt x="3419484" y="2257510"/>
                  </a:cubicBezTo>
                  <a:cubicBezTo>
                    <a:pt x="3430919" y="2258460"/>
                    <a:pt x="3474115" y="2261629"/>
                    <a:pt x="3516040" y="2264481"/>
                  </a:cubicBezTo>
                  <a:cubicBezTo>
                    <a:pt x="3562730" y="2267967"/>
                    <a:pt x="3608150" y="2271136"/>
                    <a:pt x="3608150" y="2271136"/>
                  </a:cubicBezTo>
                  <a:cubicBezTo>
                    <a:pt x="3608150" y="2271136"/>
                    <a:pt x="3622760" y="2272086"/>
                    <a:pt x="3641500" y="2272720"/>
                  </a:cubicBezTo>
                  <a:cubicBezTo>
                    <a:pt x="3660240" y="2273671"/>
                    <a:pt x="3682790" y="2274305"/>
                    <a:pt x="3698036" y="2274305"/>
                  </a:cubicBezTo>
                  <a:cubicBezTo>
                    <a:pt x="3702800" y="2274305"/>
                    <a:pt x="3706612" y="2274305"/>
                    <a:pt x="3709470" y="2274305"/>
                  </a:cubicBezTo>
                  <a:cubicBezTo>
                    <a:pt x="3711058" y="2274305"/>
                    <a:pt x="3712011" y="2273988"/>
                    <a:pt x="3712646" y="2273988"/>
                  </a:cubicBezTo>
                  <a:cubicBezTo>
                    <a:pt x="3712646" y="2273988"/>
                    <a:pt x="3712646" y="2273988"/>
                    <a:pt x="3713600" y="2273671"/>
                  </a:cubicBezTo>
                  <a:cubicBezTo>
                    <a:pt x="3713600" y="2273671"/>
                    <a:pt x="3713600" y="2273671"/>
                    <a:pt x="3714235" y="2273671"/>
                  </a:cubicBezTo>
                  <a:cubicBezTo>
                    <a:pt x="3730116" y="2270502"/>
                    <a:pt x="3743456" y="2260362"/>
                    <a:pt x="3754890" y="2246102"/>
                  </a:cubicBezTo>
                  <a:cubicBezTo>
                    <a:pt x="3772359" y="2224553"/>
                    <a:pt x="3784428" y="2193498"/>
                    <a:pt x="3791734" y="2168464"/>
                  </a:cubicBezTo>
                  <a:cubicBezTo>
                    <a:pt x="3795545" y="2155789"/>
                    <a:pt x="3798086" y="2144381"/>
                    <a:pt x="3799674" y="2136141"/>
                  </a:cubicBezTo>
                  <a:cubicBezTo>
                    <a:pt x="3801262" y="2128219"/>
                    <a:pt x="3802215" y="2123466"/>
                    <a:pt x="3802215" y="2123466"/>
                  </a:cubicBezTo>
                  <a:cubicBezTo>
                    <a:pt x="3802215" y="2123466"/>
                    <a:pt x="3802215" y="2123466"/>
                    <a:pt x="3889243" y="1528351"/>
                  </a:cubicBezTo>
                  <a:cubicBezTo>
                    <a:pt x="3888925" y="1523914"/>
                    <a:pt x="3887654" y="1506802"/>
                    <a:pt x="3887654" y="1498563"/>
                  </a:cubicBezTo>
                  <a:cubicBezTo>
                    <a:pt x="3887654" y="1497296"/>
                    <a:pt x="3887654" y="1496345"/>
                    <a:pt x="3887972" y="1495394"/>
                  </a:cubicBezTo>
                  <a:cubicBezTo>
                    <a:pt x="3887972" y="1495077"/>
                    <a:pt x="3887972" y="1495077"/>
                    <a:pt x="3887972" y="1495077"/>
                  </a:cubicBezTo>
                  <a:cubicBezTo>
                    <a:pt x="3881938" y="1463072"/>
                    <a:pt x="3867327" y="1449129"/>
                    <a:pt x="3851446" y="1441206"/>
                  </a:cubicBezTo>
                  <a:cubicBezTo>
                    <a:pt x="3834930" y="1432967"/>
                    <a:pt x="3815873" y="1432650"/>
                    <a:pt x="3803803" y="1432650"/>
                  </a:cubicBezTo>
                  <a:cubicBezTo>
                    <a:pt x="3791734" y="1432650"/>
                    <a:pt x="3757748" y="1436770"/>
                    <a:pt x="3715823" y="1436770"/>
                  </a:cubicBezTo>
                  <a:cubicBezTo>
                    <a:pt x="3679932" y="1436770"/>
                    <a:pt x="3637688" y="1433918"/>
                    <a:pt x="3594810" y="1422510"/>
                  </a:cubicBezTo>
                  <a:cubicBezTo>
                    <a:pt x="3543991" y="1408567"/>
                    <a:pt x="3509688" y="1356914"/>
                    <a:pt x="3485232" y="1307163"/>
                  </a:cubicBezTo>
                  <a:cubicBezTo>
                    <a:pt x="3461092" y="1257728"/>
                    <a:pt x="3447435" y="1207977"/>
                    <a:pt x="3443941" y="1197203"/>
                  </a:cubicBezTo>
                  <a:cubicBezTo>
                    <a:pt x="3443624" y="1196252"/>
                    <a:pt x="3443306" y="1195301"/>
                    <a:pt x="3442988" y="1194351"/>
                  </a:cubicBezTo>
                  <a:close/>
                  <a:moveTo>
                    <a:pt x="154045" y="1168366"/>
                  </a:moveTo>
                  <a:cubicBezTo>
                    <a:pt x="205182" y="1227941"/>
                    <a:pt x="205182" y="1227941"/>
                    <a:pt x="205182" y="1227941"/>
                  </a:cubicBezTo>
                  <a:cubicBezTo>
                    <a:pt x="187395" y="1244736"/>
                    <a:pt x="187395" y="1244736"/>
                    <a:pt x="187395" y="1244736"/>
                  </a:cubicBezTo>
                  <a:cubicBezTo>
                    <a:pt x="230592" y="1297022"/>
                    <a:pt x="230592" y="1297022"/>
                    <a:pt x="230592" y="1297022"/>
                  </a:cubicBezTo>
                  <a:cubicBezTo>
                    <a:pt x="248696" y="1282446"/>
                    <a:pt x="248696" y="1282446"/>
                    <a:pt x="248696" y="1282446"/>
                  </a:cubicBezTo>
                  <a:cubicBezTo>
                    <a:pt x="287763" y="1328077"/>
                    <a:pt x="287763" y="1328077"/>
                    <a:pt x="287763" y="1328077"/>
                  </a:cubicBezTo>
                  <a:cubicBezTo>
                    <a:pt x="115614" y="1480183"/>
                    <a:pt x="115614" y="1480183"/>
                    <a:pt x="115614" y="1480183"/>
                  </a:cubicBezTo>
                  <a:cubicBezTo>
                    <a:pt x="50502" y="1404447"/>
                    <a:pt x="50502" y="1404447"/>
                    <a:pt x="50502" y="1404447"/>
                  </a:cubicBezTo>
                  <a:lnTo>
                    <a:pt x="14293" y="1435185"/>
                  </a:lnTo>
                  <a:cubicBezTo>
                    <a:pt x="1271" y="1419975"/>
                    <a:pt x="1271" y="1419975"/>
                    <a:pt x="1271" y="1419975"/>
                  </a:cubicBezTo>
                  <a:cubicBezTo>
                    <a:pt x="1271" y="1412686"/>
                    <a:pt x="1271" y="1412686"/>
                    <a:pt x="1271" y="1412686"/>
                  </a:cubicBezTo>
                  <a:cubicBezTo>
                    <a:pt x="14611" y="1428531"/>
                    <a:pt x="14611" y="1428531"/>
                    <a:pt x="14611" y="1428531"/>
                  </a:cubicBezTo>
                  <a:cubicBezTo>
                    <a:pt x="50819" y="1397793"/>
                    <a:pt x="50819" y="1397793"/>
                    <a:pt x="50819" y="1397793"/>
                  </a:cubicBezTo>
                  <a:cubicBezTo>
                    <a:pt x="116249" y="1473529"/>
                    <a:pt x="116249" y="1473529"/>
                    <a:pt x="116249" y="1473529"/>
                  </a:cubicBezTo>
                  <a:cubicBezTo>
                    <a:pt x="281093" y="1327444"/>
                    <a:pt x="281093" y="1327444"/>
                    <a:pt x="281093" y="1327444"/>
                  </a:cubicBezTo>
                  <a:cubicBezTo>
                    <a:pt x="248061" y="1289100"/>
                    <a:pt x="248061" y="1289100"/>
                    <a:pt x="248061" y="1289100"/>
                  </a:cubicBezTo>
                  <a:cubicBezTo>
                    <a:pt x="229639" y="1303360"/>
                    <a:pt x="229639" y="1303360"/>
                    <a:pt x="229639" y="1303360"/>
                  </a:cubicBezTo>
                  <a:cubicBezTo>
                    <a:pt x="181043" y="1244419"/>
                    <a:pt x="181043" y="1244419"/>
                    <a:pt x="181043" y="1244419"/>
                  </a:cubicBezTo>
                  <a:cubicBezTo>
                    <a:pt x="198830" y="1227624"/>
                    <a:pt x="198830" y="1227624"/>
                    <a:pt x="198830" y="1227624"/>
                  </a:cubicBezTo>
                  <a:cubicBezTo>
                    <a:pt x="153728" y="1175021"/>
                    <a:pt x="153728" y="1175021"/>
                    <a:pt x="153728" y="1175021"/>
                  </a:cubicBezTo>
                  <a:cubicBezTo>
                    <a:pt x="78770" y="1239666"/>
                    <a:pt x="78770" y="1239666"/>
                    <a:pt x="78770" y="1239666"/>
                  </a:cubicBezTo>
                  <a:cubicBezTo>
                    <a:pt x="69876" y="1229208"/>
                    <a:pt x="69876" y="1229208"/>
                    <a:pt x="69876" y="1229208"/>
                  </a:cubicBezTo>
                  <a:cubicBezTo>
                    <a:pt x="1271" y="1287833"/>
                    <a:pt x="1271" y="1287833"/>
                    <a:pt x="1271" y="1287833"/>
                  </a:cubicBezTo>
                  <a:cubicBezTo>
                    <a:pt x="1271" y="1281812"/>
                    <a:pt x="1271" y="1281812"/>
                    <a:pt x="1271" y="1281812"/>
                  </a:cubicBezTo>
                  <a:cubicBezTo>
                    <a:pt x="70512" y="1222554"/>
                    <a:pt x="70512" y="1222554"/>
                    <a:pt x="70512" y="1222554"/>
                  </a:cubicBezTo>
                  <a:cubicBezTo>
                    <a:pt x="79405" y="1233011"/>
                    <a:pt x="79405" y="1233011"/>
                    <a:pt x="79405" y="1233011"/>
                  </a:cubicBezTo>
                  <a:cubicBezTo>
                    <a:pt x="152140" y="1169950"/>
                    <a:pt x="152140" y="1169950"/>
                    <a:pt x="152140" y="1169950"/>
                  </a:cubicBezTo>
                  <a:cubicBezTo>
                    <a:pt x="154045" y="1168366"/>
                    <a:pt x="154045" y="1168366"/>
                    <a:pt x="154045" y="1168366"/>
                  </a:cubicBezTo>
                  <a:close/>
                  <a:moveTo>
                    <a:pt x="1361950" y="1132241"/>
                  </a:moveTo>
                  <a:cubicBezTo>
                    <a:pt x="1357185" y="1142698"/>
                    <a:pt x="1346386" y="1167098"/>
                    <a:pt x="1336858" y="1189597"/>
                  </a:cubicBezTo>
                  <a:cubicBezTo>
                    <a:pt x="1327012" y="1211780"/>
                    <a:pt x="1318118" y="1233011"/>
                    <a:pt x="1315260" y="1239666"/>
                  </a:cubicBezTo>
                  <a:cubicBezTo>
                    <a:pt x="1315895" y="1247271"/>
                    <a:pt x="1317483" y="1270404"/>
                    <a:pt x="1318754" y="1298290"/>
                  </a:cubicBezTo>
                  <a:cubicBezTo>
                    <a:pt x="1318754" y="1298290"/>
                    <a:pt x="1318754" y="1298290"/>
                    <a:pt x="1480422" y="1333464"/>
                  </a:cubicBezTo>
                  <a:cubicBezTo>
                    <a:pt x="1480422" y="1333464"/>
                    <a:pt x="1480422" y="1333464"/>
                    <a:pt x="1481057" y="1333781"/>
                  </a:cubicBezTo>
                  <a:cubicBezTo>
                    <a:pt x="1481057" y="1334098"/>
                    <a:pt x="1510595" y="1360083"/>
                    <a:pt x="1540452" y="1386385"/>
                  </a:cubicBezTo>
                  <a:cubicBezTo>
                    <a:pt x="1555380" y="1399377"/>
                    <a:pt x="1570308" y="1412686"/>
                    <a:pt x="1581742" y="1422510"/>
                  </a:cubicBezTo>
                  <a:cubicBezTo>
                    <a:pt x="1587459" y="1427580"/>
                    <a:pt x="1592223" y="1431700"/>
                    <a:pt x="1595717" y="1434869"/>
                  </a:cubicBezTo>
                  <a:cubicBezTo>
                    <a:pt x="1597623" y="1436136"/>
                    <a:pt x="1598893" y="1437404"/>
                    <a:pt x="1599846" y="1438037"/>
                  </a:cubicBezTo>
                  <a:cubicBezTo>
                    <a:pt x="1600482" y="1438671"/>
                    <a:pt x="1600799" y="1438988"/>
                    <a:pt x="1601117" y="1438988"/>
                  </a:cubicBezTo>
                  <a:cubicBezTo>
                    <a:pt x="1603975" y="1439939"/>
                    <a:pt x="1719906" y="1476381"/>
                    <a:pt x="1720224" y="1476381"/>
                  </a:cubicBezTo>
                  <a:cubicBezTo>
                    <a:pt x="1720224" y="1476381"/>
                    <a:pt x="1720224" y="1476381"/>
                    <a:pt x="1721494" y="1477015"/>
                  </a:cubicBezTo>
                  <a:cubicBezTo>
                    <a:pt x="1721494" y="1477015"/>
                    <a:pt x="1721494" y="1477015"/>
                    <a:pt x="1727529" y="1651937"/>
                  </a:cubicBezTo>
                  <a:cubicBezTo>
                    <a:pt x="1727529" y="1651937"/>
                    <a:pt x="1727529" y="1651937"/>
                    <a:pt x="1925405" y="1619297"/>
                  </a:cubicBezTo>
                  <a:cubicBezTo>
                    <a:pt x="1925405" y="1619297"/>
                    <a:pt x="1925405" y="1619297"/>
                    <a:pt x="1939063" y="1537540"/>
                  </a:cubicBezTo>
                  <a:cubicBezTo>
                    <a:pt x="1939063" y="1537857"/>
                    <a:pt x="1939698" y="1533421"/>
                    <a:pt x="1940334" y="1525499"/>
                  </a:cubicBezTo>
                  <a:cubicBezTo>
                    <a:pt x="1941286" y="1517576"/>
                    <a:pt x="1941922" y="1506485"/>
                    <a:pt x="1941922" y="1493810"/>
                  </a:cubicBezTo>
                  <a:cubicBezTo>
                    <a:pt x="1941922" y="1470677"/>
                    <a:pt x="1939381" y="1441523"/>
                    <a:pt x="1930805" y="1415222"/>
                  </a:cubicBezTo>
                  <a:cubicBezTo>
                    <a:pt x="1921912" y="1389237"/>
                    <a:pt x="1907301" y="1366104"/>
                    <a:pt x="1882845" y="1352478"/>
                  </a:cubicBezTo>
                  <a:cubicBezTo>
                    <a:pt x="1796770" y="1304628"/>
                    <a:pt x="1761514" y="1264383"/>
                    <a:pt x="1705613" y="1240616"/>
                  </a:cubicBezTo>
                  <a:cubicBezTo>
                    <a:pt x="1648442" y="1215899"/>
                    <a:pt x="1571896" y="1195301"/>
                    <a:pt x="1508054" y="1178506"/>
                  </a:cubicBezTo>
                  <a:cubicBezTo>
                    <a:pt x="1468670" y="1168366"/>
                    <a:pt x="1418486" y="1151888"/>
                    <a:pt x="1361950" y="1132241"/>
                  </a:cubicBezTo>
                  <a:close/>
                  <a:moveTo>
                    <a:pt x="2348156" y="1093897"/>
                  </a:moveTo>
                  <a:cubicBezTo>
                    <a:pt x="2344980" y="1095482"/>
                    <a:pt x="2341804" y="1097066"/>
                    <a:pt x="2338945" y="1098651"/>
                  </a:cubicBezTo>
                  <a:cubicBezTo>
                    <a:pt x="2303054" y="1119882"/>
                    <a:pt x="2275421" y="1148085"/>
                    <a:pt x="2268751" y="1191816"/>
                  </a:cubicBezTo>
                  <a:cubicBezTo>
                    <a:pt x="2268116" y="1194984"/>
                    <a:pt x="2268116" y="1198153"/>
                    <a:pt x="2268116" y="1201639"/>
                  </a:cubicBezTo>
                  <a:cubicBezTo>
                    <a:pt x="2268116" y="1201639"/>
                    <a:pt x="2268116" y="1201956"/>
                    <a:pt x="2268116" y="1201956"/>
                  </a:cubicBezTo>
                  <a:cubicBezTo>
                    <a:pt x="2267798" y="1223504"/>
                    <a:pt x="2279233" y="1250757"/>
                    <a:pt x="2300196" y="1281495"/>
                  </a:cubicBezTo>
                  <a:cubicBezTo>
                    <a:pt x="2331958" y="1328077"/>
                    <a:pt x="2384364" y="1381631"/>
                    <a:pt x="2436772" y="1441206"/>
                  </a:cubicBezTo>
                  <a:cubicBezTo>
                    <a:pt x="2467898" y="1476381"/>
                    <a:pt x="2499342" y="1514091"/>
                    <a:pt x="2526658" y="1554335"/>
                  </a:cubicBezTo>
                  <a:lnTo>
                    <a:pt x="2559055" y="1555920"/>
                  </a:lnTo>
                  <a:cubicBezTo>
                    <a:pt x="2559055" y="1555920"/>
                    <a:pt x="2559055" y="1555920"/>
                    <a:pt x="2476792" y="1414588"/>
                  </a:cubicBezTo>
                  <a:cubicBezTo>
                    <a:pt x="2476792" y="1414588"/>
                    <a:pt x="2476792" y="1414588"/>
                    <a:pt x="2348156" y="1093897"/>
                  </a:cubicBezTo>
                  <a:close/>
                  <a:moveTo>
                    <a:pt x="2027996" y="1069497"/>
                  </a:moveTo>
                  <a:cubicBezTo>
                    <a:pt x="2027996" y="1069497"/>
                    <a:pt x="2027996" y="1069497"/>
                    <a:pt x="2012115" y="1136043"/>
                  </a:cubicBezTo>
                  <a:cubicBezTo>
                    <a:pt x="2012115" y="1136043"/>
                    <a:pt x="2012115" y="1136043"/>
                    <a:pt x="2049594" y="1144916"/>
                  </a:cubicBezTo>
                  <a:lnTo>
                    <a:pt x="2065475" y="1078370"/>
                  </a:lnTo>
                  <a:cubicBezTo>
                    <a:pt x="2065475" y="1078370"/>
                    <a:pt x="2065475" y="1078370"/>
                    <a:pt x="2027996" y="1069497"/>
                  </a:cubicBezTo>
                  <a:close/>
                  <a:moveTo>
                    <a:pt x="2024502" y="1064110"/>
                  </a:moveTo>
                  <a:lnTo>
                    <a:pt x="2071192" y="1074884"/>
                  </a:lnTo>
                  <a:cubicBezTo>
                    <a:pt x="2071192" y="1074884"/>
                    <a:pt x="2071192" y="1074884"/>
                    <a:pt x="2053088" y="1150620"/>
                  </a:cubicBezTo>
                  <a:cubicBezTo>
                    <a:pt x="2053088" y="1150620"/>
                    <a:pt x="2053088" y="1150620"/>
                    <a:pt x="2006398" y="1139529"/>
                  </a:cubicBezTo>
                  <a:cubicBezTo>
                    <a:pt x="2006398" y="1139529"/>
                    <a:pt x="2006398" y="1139529"/>
                    <a:pt x="2007033" y="1137311"/>
                  </a:cubicBezTo>
                  <a:cubicBezTo>
                    <a:pt x="2007033" y="1137311"/>
                    <a:pt x="2007033" y="1137311"/>
                    <a:pt x="2024502" y="1064110"/>
                  </a:cubicBezTo>
                  <a:close/>
                  <a:moveTo>
                    <a:pt x="2330370" y="1053019"/>
                  </a:moveTo>
                  <a:cubicBezTo>
                    <a:pt x="2307501" y="1064744"/>
                    <a:pt x="2284632" y="1079954"/>
                    <a:pt x="2265575" y="1100869"/>
                  </a:cubicBezTo>
                  <a:cubicBezTo>
                    <a:pt x="2245565" y="1122417"/>
                    <a:pt x="2230002" y="1150937"/>
                    <a:pt x="2224920" y="1185161"/>
                  </a:cubicBezTo>
                  <a:cubicBezTo>
                    <a:pt x="2223967" y="1190548"/>
                    <a:pt x="2223650" y="1196252"/>
                    <a:pt x="2223650" y="1201639"/>
                  </a:cubicBezTo>
                  <a:cubicBezTo>
                    <a:pt x="2223967" y="1237764"/>
                    <a:pt x="2240166" y="1271988"/>
                    <a:pt x="2263670" y="1306529"/>
                  </a:cubicBezTo>
                  <a:cubicBezTo>
                    <a:pt x="2287173" y="1341070"/>
                    <a:pt x="2318618" y="1376244"/>
                    <a:pt x="2352285" y="1413320"/>
                  </a:cubicBezTo>
                  <a:cubicBezTo>
                    <a:pt x="2391670" y="1456734"/>
                    <a:pt x="2434231" y="1503000"/>
                    <a:pt x="2470439" y="1551800"/>
                  </a:cubicBezTo>
                  <a:cubicBezTo>
                    <a:pt x="2470439" y="1551800"/>
                    <a:pt x="2470439" y="1551800"/>
                    <a:pt x="2519988" y="1554018"/>
                  </a:cubicBezTo>
                  <a:cubicBezTo>
                    <a:pt x="2493308" y="1515358"/>
                    <a:pt x="2463134" y="1478916"/>
                    <a:pt x="2432960" y="1444692"/>
                  </a:cubicBezTo>
                  <a:cubicBezTo>
                    <a:pt x="2380553" y="1385117"/>
                    <a:pt x="2328146" y="1331880"/>
                    <a:pt x="2296066" y="1284347"/>
                  </a:cubicBezTo>
                  <a:cubicBezTo>
                    <a:pt x="2274468" y="1253292"/>
                    <a:pt x="2262716" y="1225406"/>
                    <a:pt x="2262716" y="1201956"/>
                  </a:cubicBezTo>
                  <a:cubicBezTo>
                    <a:pt x="2262716" y="1201956"/>
                    <a:pt x="2262716" y="1201956"/>
                    <a:pt x="2262716" y="1201639"/>
                  </a:cubicBezTo>
                  <a:cubicBezTo>
                    <a:pt x="2262716" y="1197836"/>
                    <a:pt x="2263034" y="1194351"/>
                    <a:pt x="2263670" y="1191182"/>
                  </a:cubicBezTo>
                  <a:cubicBezTo>
                    <a:pt x="2270340" y="1145233"/>
                    <a:pt x="2299878" y="1115762"/>
                    <a:pt x="2336404" y="1094214"/>
                  </a:cubicBezTo>
                  <a:cubicBezTo>
                    <a:pt x="2339580" y="1092313"/>
                    <a:pt x="2342756" y="1090728"/>
                    <a:pt x="2346250" y="1088827"/>
                  </a:cubicBezTo>
                  <a:cubicBezTo>
                    <a:pt x="2346250" y="1088827"/>
                    <a:pt x="2346250" y="1088827"/>
                    <a:pt x="2341486" y="1077102"/>
                  </a:cubicBezTo>
                  <a:cubicBezTo>
                    <a:pt x="2341486" y="1077419"/>
                    <a:pt x="2341168" y="1076151"/>
                    <a:pt x="2340216" y="1074250"/>
                  </a:cubicBezTo>
                  <a:cubicBezTo>
                    <a:pt x="2338310" y="1070131"/>
                    <a:pt x="2335134" y="1062525"/>
                    <a:pt x="2330370" y="1053019"/>
                  </a:cubicBezTo>
                  <a:close/>
                  <a:moveTo>
                    <a:pt x="1962249" y="996296"/>
                  </a:moveTo>
                  <a:cubicBezTo>
                    <a:pt x="1962249" y="996296"/>
                    <a:pt x="1962249" y="996296"/>
                    <a:pt x="1958755" y="1010239"/>
                  </a:cubicBezTo>
                  <a:cubicBezTo>
                    <a:pt x="1958755" y="1010239"/>
                    <a:pt x="1958755" y="1010239"/>
                    <a:pt x="1971142" y="1013408"/>
                  </a:cubicBezTo>
                  <a:cubicBezTo>
                    <a:pt x="1971142" y="1013408"/>
                    <a:pt x="1971142" y="1013408"/>
                    <a:pt x="1953674" y="1085024"/>
                  </a:cubicBezTo>
                  <a:cubicBezTo>
                    <a:pt x="1953674" y="1085024"/>
                    <a:pt x="1953674" y="1085024"/>
                    <a:pt x="1878398" y="1067596"/>
                  </a:cubicBezTo>
                  <a:cubicBezTo>
                    <a:pt x="1878398" y="1067596"/>
                    <a:pt x="1878398" y="1067596"/>
                    <a:pt x="1870775" y="1097383"/>
                  </a:cubicBezTo>
                  <a:lnTo>
                    <a:pt x="1946368" y="1115129"/>
                  </a:lnTo>
                  <a:cubicBezTo>
                    <a:pt x="1946368" y="1115129"/>
                    <a:pt x="1946368" y="1115129"/>
                    <a:pt x="1943827" y="1126537"/>
                  </a:cubicBezTo>
                  <a:cubicBezTo>
                    <a:pt x="1943827" y="1126537"/>
                    <a:pt x="1943827" y="1126537"/>
                    <a:pt x="1977177" y="1134142"/>
                  </a:cubicBezTo>
                  <a:cubicBezTo>
                    <a:pt x="1977177" y="1134142"/>
                    <a:pt x="1977177" y="1134142"/>
                    <a:pt x="2004175" y="1021330"/>
                  </a:cubicBezTo>
                  <a:cubicBezTo>
                    <a:pt x="2004175" y="1021330"/>
                    <a:pt x="2004175" y="1021330"/>
                    <a:pt x="2111530" y="1045730"/>
                  </a:cubicBezTo>
                  <a:cubicBezTo>
                    <a:pt x="2111530" y="1045730"/>
                    <a:pt x="2111530" y="1045730"/>
                    <a:pt x="2077545" y="1191182"/>
                  </a:cubicBezTo>
                  <a:cubicBezTo>
                    <a:pt x="2077545" y="1191182"/>
                    <a:pt x="2077545" y="1191182"/>
                    <a:pt x="1991152" y="1171535"/>
                  </a:cubicBezTo>
                  <a:cubicBezTo>
                    <a:pt x="1991152" y="1171535"/>
                    <a:pt x="1991152" y="1171535"/>
                    <a:pt x="1982577" y="1210195"/>
                  </a:cubicBezTo>
                  <a:cubicBezTo>
                    <a:pt x="1982577" y="1210195"/>
                    <a:pt x="1982577" y="1210195"/>
                    <a:pt x="2067063" y="1230476"/>
                  </a:cubicBezTo>
                  <a:cubicBezTo>
                    <a:pt x="2067063" y="1230476"/>
                    <a:pt x="2067063" y="1230476"/>
                    <a:pt x="2061982" y="1256461"/>
                  </a:cubicBezTo>
                  <a:cubicBezTo>
                    <a:pt x="2061982" y="1256461"/>
                    <a:pt x="2061982" y="1256461"/>
                    <a:pt x="2153138" y="1278009"/>
                  </a:cubicBezTo>
                  <a:cubicBezTo>
                    <a:pt x="2153138" y="1278009"/>
                    <a:pt x="2153138" y="1278009"/>
                    <a:pt x="2156950" y="1257411"/>
                  </a:cubicBezTo>
                  <a:cubicBezTo>
                    <a:pt x="2156950" y="1257411"/>
                    <a:pt x="2156950" y="1257411"/>
                    <a:pt x="2132810" y="1251390"/>
                  </a:cubicBezTo>
                  <a:cubicBezTo>
                    <a:pt x="2132810" y="1251390"/>
                    <a:pt x="2132810" y="1251390"/>
                    <a:pt x="2154726" y="1153789"/>
                  </a:cubicBezTo>
                  <a:cubicBezTo>
                    <a:pt x="2154726" y="1153789"/>
                    <a:pt x="2154726" y="1153789"/>
                    <a:pt x="2180136" y="1160127"/>
                  </a:cubicBezTo>
                  <a:cubicBezTo>
                    <a:pt x="2180136" y="1160127"/>
                    <a:pt x="2180136" y="1160127"/>
                    <a:pt x="2209356" y="1037174"/>
                  </a:cubicBezTo>
                  <a:cubicBezTo>
                    <a:pt x="2209356" y="1037174"/>
                    <a:pt x="2209356" y="1037174"/>
                    <a:pt x="2119153" y="1015943"/>
                  </a:cubicBezTo>
                  <a:cubicBezTo>
                    <a:pt x="2119153" y="1015943"/>
                    <a:pt x="2119153" y="1015943"/>
                    <a:pt x="2115659" y="1032738"/>
                  </a:cubicBezTo>
                  <a:cubicBezTo>
                    <a:pt x="2115659" y="1032738"/>
                    <a:pt x="2115659" y="1032738"/>
                    <a:pt x="1962249" y="996296"/>
                  </a:cubicBezTo>
                  <a:close/>
                  <a:moveTo>
                    <a:pt x="1958755" y="990592"/>
                  </a:moveTo>
                  <a:cubicBezTo>
                    <a:pt x="1958755" y="990592"/>
                    <a:pt x="1958755" y="990592"/>
                    <a:pt x="1960979" y="991226"/>
                  </a:cubicBezTo>
                  <a:cubicBezTo>
                    <a:pt x="1960979" y="991226"/>
                    <a:pt x="1960979" y="991226"/>
                    <a:pt x="2112165" y="1027034"/>
                  </a:cubicBezTo>
                  <a:cubicBezTo>
                    <a:pt x="2112165" y="1027034"/>
                    <a:pt x="2112165" y="1027034"/>
                    <a:pt x="2115659" y="1010239"/>
                  </a:cubicBezTo>
                  <a:cubicBezTo>
                    <a:pt x="2115659" y="1010239"/>
                    <a:pt x="2115659" y="1010239"/>
                    <a:pt x="2215074" y="1033688"/>
                  </a:cubicBezTo>
                  <a:cubicBezTo>
                    <a:pt x="2215074" y="1033688"/>
                    <a:pt x="2215074" y="1033688"/>
                    <a:pt x="2183630" y="1165831"/>
                  </a:cubicBezTo>
                  <a:cubicBezTo>
                    <a:pt x="2183630" y="1165831"/>
                    <a:pt x="2183630" y="1165831"/>
                    <a:pt x="2158220" y="1159493"/>
                  </a:cubicBezTo>
                  <a:cubicBezTo>
                    <a:pt x="2158220" y="1159493"/>
                    <a:pt x="2158220" y="1159493"/>
                    <a:pt x="2138528" y="1247905"/>
                  </a:cubicBezTo>
                  <a:cubicBezTo>
                    <a:pt x="2138528" y="1247905"/>
                    <a:pt x="2138528" y="1247905"/>
                    <a:pt x="2162349" y="1253926"/>
                  </a:cubicBezTo>
                  <a:cubicBezTo>
                    <a:pt x="2162349" y="1253926"/>
                    <a:pt x="2162349" y="1253926"/>
                    <a:pt x="2156632" y="1283713"/>
                  </a:cubicBezTo>
                  <a:cubicBezTo>
                    <a:pt x="2156632" y="1283713"/>
                    <a:pt x="2156632" y="1283713"/>
                    <a:pt x="2056582" y="1259946"/>
                  </a:cubicBezTo>
                  <a:cubicBezTo>
                    <a:pt x="2056582" y="1259946"/>
                    <a:pt x="2056582" y="1259946"/>
                    <a:pt x="2061664" y="1233962"/>
                  </a:cubicBezTo>
                  <a:cubicBezTo>
                    <a:pt x="2061664" y="1233962"/>
                    <a:pt x="2061664" y="1233962"/>
                    <a:pt x="1976860" y="1213681"/>
                  </a:cubicBezTo>
                  <a:cubicBezTo>
                    <a:pt x="1976860" y="1213681"/>
                    <a:pt x="1976860" y="1213681"/>
                    <a:pt x="1987659" y="1166148"/>
                  </a:cubicBezTo>
                  <a:cubicBezTo>
                    <a:pt x="1987659" y="1166148"/>
                    <a:pt x="1987659" y="1166148"/>
                    <a:pt x="2074051" y="1185795"/>
                  </a:cubicBezTo>
                  <a:cubicBezTo>
                    <a:pt x="2074051" y="1185795"/>
                    <a:pt x="2074051" y="1185795"/>
                    <a:pt x="2105813" y="1049216"/>
                  </a:cubicBezTo>
                  <a:cubicBezTo>
                    <a:pt x="2105813" y="1049216"/>
                    <a:pt x="2105813" y="1049216"/>
                    <a:pt x="2007669" y="1026717"/>
                  </a:cubicBezTo>
                  <a:cubicBezTo>
                    <a:pt x="2007669" y="1026717"/>
                    <a:pt x="2007669" y="1026717"/>
                    <a:pt x="1980671" y="1139846"/>
                  </a:cubicBezTo>
                  <a:cubicBezTo>
                    <a:pt x="1980671" y="1139846"/>
                    <a:pt x="1980671" y="1139846"/>
                    <a:pt x="1938110" y="1130022"/>
                  </a:cubicBezTo>
                  <a:lnTo>
                    <a:pt x="1940651" y="1118614"/>
                  </a:lnTo>
                  <a:cubicBezTo>
                    <a:pt x="1940651" y="1118614"/>
                    <a:pt x="1940651" y="1118614"/>
                    <a:pt x="1865058" y="1100869"/>
                  </a:cubicBezTo>
                  <a:cubicBezTo>
                    <a:pt x="1865058" y="1100869"/>
                    <a:pt x="1865058" y="1100869"/>
                    <a:pt x="1874904" y="1061891"/>
                  </a:cubicBezTo>
                  <a:cubicBezTo>
                    <a:pt x="1874904" y="1061891"/>
                    <a:pt x="1874904" y="1061891"/>
                    <a:pt x="1950180" y="1079320"/>
                  </a:cubicBezTo>
                  <a:cubicBezTo>
                    <a:pt x="1950180" y="1079320"/>
                    <a:pt x="1950180" y="1079320"/>
                    <a:pt x="1965743" y="1016576"/>
                  </a:cubicBezTo>
                  <a:cubicBezTo>
                    <a:pt x="1965743" y="1016576"/>
                    <a:pt x="1965743" y="1016576"/>
                    <a:pt x="1953038" y="1013408"/>
                  </a:cubicBezTo>
                  <a:cubicBezTo>
                    <a:pt x="1953038" y="1013408"/>
                    <a:pt x="1953038" y="1013408"/>
                    <a:pt x="1958755" y="990592"/>
                  </a:cubicBezTo>
                  <a:close/>
                  <a:moveTo>
                    <a:pt x="935070" y="977599"/>
                  </a:moveTo>
                  <a:cubicBezTo>
                    <a:pt x="903626" y="977916"/>
                    <a:pt x="865512" y="986155"/>
                    <a:pt x="827080" y="1018161"/>
                  </a:cubicBezTo>
                  <a:cubicBezTo>
                    <a:pt x="804211" y="1037174"/>
                    <a:pt x="767685" y="1079003"/>
                    <a:pt x="718136" y="1132558"/>
                  </a:cubicBezTo>
                  <a:cubicBezTo>
                    <a:pt x="670811" y="1183577"/>
                    <a:pt x="619039" y="1239666"/>
                    <a:pt x="578702" y="1283396"/>
                  </a:cubicBezTo>
                  <a:cubicBezTo>
                    <a:pt x="558374" y="1304944"/>
                    <a:pt x="541223" y="1323641"/>
                    <a:pt x="528836" y="1336633"/>
                  </a:cubicBezTo>
                  <a:cubicBezTo>
                    <a:pt x="525024" y="1341070"/>
                    <a:pt x="521848" y="1344239"/>
                    <a:pt x="518989" y="1347408"/>
                  </a:cubicBezTo>
                  <a:cubicBezTo>
                    <a:pt x="518989" y="1347408"/>
                    <a:pt x="518989" y="1347408"/>
                    <a:pt x="701620" y="1479550"/>
                  </a:cubicBezTo>
                  <a:cubicBezTo>
                    <a:pt x="701620" y="1479550"/>
                    <a:pt x="701620" y="1479550"/>
                    <a:pt x="839149" y="1323958"/>
                  </a:cubicBezTo>
                  <a:cubicBezTo>
                    <a:pt x="839149" y="1323958"/>
                    <a:pt x="839149" y="1323958"/>
                    <a:pt x="1178366" y="1282762"/>
                  </a:cubicBezTo>
                  <a:cubicBezTo>
                    <a:pt x="1178366" y="1282762"/>
                    <a:pt x="1178366" y="1282762"/>
                    <a:pt x="1297473" y="1294804"/>
                  </a:cubicBezTo>
                  <a:cubicBezTo>
                    <a:pt x="1296203" y="1263432"/>
                    <a:pt x="1294297" y="1239032"/>
                    <a:pt x="1294297" y="1238715"/>
                  </a:cubicBezTo>
                  <a:cubicBezTo>
                    <a:pt x="1294297" y="1238715"/>
                    <a:pt x="1294297" y="1238715"/>
                    <a:pt x="1294297" y="1236180"/>
                  </a:cubicBezTo>
                  <a:cubicBezTo>
                    <a:pt x="1294297" y="1236180"/>
                    <a:pt x="1294297" y="1236180"/>
                    <a:pt x="1295250" y="1233962"/>
                  </a:cubicBezTo>
                  <a:cubicBezTo>
                    <a:pt x="1295250" y="1233962"/>
                    <a:pt x="1307319" y="1205125"/>
                    <a:pt x="1320024" y="1175971"/>
                  </a:cubicBezTo>
                  <a:cubicBezTo>
                    <a:pt x="1326059" y="1161394"/>
                    <a:pt x="1332411" y="1147134"/>
                    <a:pt x="1337493" y="1136043"/>
                  </a:cubicBezTo>
                  <a:cubicBezTo>
                    <a:pt x="1339399" y="1131924"/>
                    <a:pt x="1340987" y="1128438"/>
                    <a:pt x="1342257" y="1125269"/>
                  </a:cubicBezTo>
                  <a:cubicBezTo>
                    <a:pt x="1311766" y="1114495"/>
                    <a:pt x="1279686" y="1103087"/>
                    <a:pt x="1246972" y="1090728"/>
                  </a:cubicBezTo>
                  <a:cubicBezTo>
                    <a:pt x="1195517" y="1072032"/>
                    <a:pt x="1138981" y="1047631"/>
                    <a:pt x="1091339" y="1026717"/>
                  </a:cubicBezTo>
                  <a:cubicBezTo>
                    <a:pt x="1044013" y="1006119"/>
                    <a:pt x="1004311" y="989007"/>
                    <a:pt x="990336" y="985522"/>
                  </a:cubicBezTo>
                  <a:cubicBezTo>
                    <a:pt x="977313" y="982036"/>
                    <a:pt x="957939" y="977599"/>
                    <a:pt x="935070" y="977599"/>
                  </a:cubicBezTo>
                  <a:close/>
                  <a:moveTo>
                    <a:pt x="3903218" y="942108"/>
                  </a:moveTo>
                  <a:cubicBezTo>
                    <a:pt x="3903218" y="942108"/>
                    <a:pt x="3464586" y="951615"/>
                    <a:pt x="3404874" y="952882"/>
                  </a:cubicBezTo>
                  <a:cubicBezTo>
                    <a:pt x="3418849" y="1007387"/>
                    <a:pt x="3431872" y="1061575"/>
                    <a:pt x="3442353" y="1104671"/>
                  </a:cubicBezTo>
                  <a:cubicBezTo>
                    <a:pt x="3448070" y="1128121"/>
                    <a:pt x="3452834" y="1148402"/>
                    <a:pt x="3456646" y="1163296"/>
                  </a:cubicBezTo>
                  <a:cubicBezTo>
                    <a:pt x="3460140" y="1178189"/>
                    <a:pt x="3462998" y="1188647"/>
                    <a:pt x="3463634" y="1190548"/>
                  </a:cubicBezTo>
                  <a:cubicBezTo>
                    <a:pt x="3467445" y="1202590"/>
                    <a:pt x="3480785" y="1250440"/>
                    <a:pt x="3503971" y="1298290"/>
                  </a:cubicBezTo>
                  <a:cubicBezTo>
                    <a:pt x="3526840" y="1346140"/>
                    <a:pt x="3560825" y="1392406"/>
                    <a:pt x="3600210" y="1402546"/>
                  </a:cubicBezTo>
                  <a:cubicBezTo>
                    <a:pt x="3640547" y="1413003"/>
                    <a:pt x="3681202" y="1416172"/>
                    <a:pt x="3715823" y="1416172"/>
                  </a:cubicBezTo>
                  <a:cubicBezTo>
                    <a:pt x="3756796" y="1416172"/>
                    <a:pt x="3788558" y="1412053"/>
                    <a:pt x="3803803" y="1411736"/>
                  </a:cubicBezTo>
                  <a:cubicBezTo>
                    <a:pt x="3816508" y="1412053"/>
                    <a:pt x="3838741" y="1412053"/>
                    <a:pt x="3860657" y="1422510"/>
                  </a:cubicBezTo>
                  <a:cubicBezTo>
                    <a:pt x="3880349" y="1431700"/>
                    <a:pt x="3898771" y="1451030"/>
                    <a:pt x="3906394" y="1483036"/>
                  </a:cubicBezTo>
                  <a:cubicBezTo>
                    <a:pt x="3934980" y="1484937"/>
                    <a:pt x="4039159" y="1492225"/>
                    <a:pt x="4096330" y="1507753"/>
                  </a:cubicBezTo>
                  <a:cubicBezTo>
                    <a:pt x="4096330" y="1507753"/>
                    <a:pt x="4096330" y="1507753"/>
                    <a:pt x="4146832" y="1522330"/>
                  </a:cubicBezTo>
                  <a:cubicBezTo>
                    <a:pt x="4146832" y="1522330"/>
                    <a:pt x="4147149" y="1522013"/>
                    <a:pt x="4147149" y="1522013"/>
                  </a:cubicBezTo>
                  <a:cubicBezTo>
                    <a:pt x="4155407" y="1509020"/>
                    <a:pt x="4175417" y="1476064"/>
                    <a:pt x="4199874" y="1424411"/>
                  </a:cubicBezTo>
                  <a:cubicBezTo>
                    <a:pt x="4210673" y="1401595"/>
                    <a:pt x="4213849" y="1381631"/>
                    <a:pt x="4213849" y="1365470"/>
                  </a:cubicBezTo>
                  <a:cubicBezTo>
                    <a:pt x="4213849" y="1350576"/>
                    <a:pt x="4210990" y="1338852"/>
                    <a:pt x="4208132" y="1330929"/>
                  </a:cubicBezTo>
                  <a:cubicBezTo>
                    <a:pt x="4206544" y="1326810"/>
                    <a:pt x="4205274" y="1323958"/>
                    <a:pt x="4204320" y="1321740"/>
                  </a:cubicBezTo>
                  <a:cubicBezTo>
                    <a:pt x="4203686" y="1320789"/>
                    <a:pt x="4203368" y="1320155"/>
                    <a:pt x="4203050" y="1319838"/>
                  </a:cubicBezTo>
                  <a:cubicBezTo>
                    <a:pt x="4202732" y="1319204"/>
                    <a:pt x="4202732" y="1319204"/>
                    <a:pt x="4202732" y="1319204"/>
                  </a:cubicBezTo>
                  <a:cubicBezTo>
                    <a:pt x="4202732" y="1319204"/>
                    <a:pt x="4202732" y="1319204"/>
                    <a:pt x="3968330" y="963339"/>
                  </a:cubicBezTo>
                  <a:cubicBezTo>
                    <a:pt x="3946732" y="944009"/>
                    <a:pt x="3913699" y="941791"/>
                    <a:pt x="3905124" y="942108"/>
                  </a:cubicBezTo>
                  <a:cubicBezTo>
                    <a:pt x="3903853" y="942108"/>
                    <a:pt x="3903536" y="942108"/>
                    <a:pt x="3903536" y="942108"/>
                  </a:cubicBezTo>
                  <a:cubicBezTo>
                    <a:pt x="3903536" y="942108"/>
                    <a:pt x="3903536" y="942108"/>
                    <a:pt x="3903218" y="942108"/>
                  </a:cubicBezTo>
                  <a:close/>
                  <a:moveTo>
                    <a:pt x="3403921" y="933869"/>
                  </a:moveTo>
                  <a:cubicBezTo>
                    <a:pt x="3403921" y="933869"/>
                    <a:pt x="3403921" y="933869"/>
                    <a:pt x="3401380" y="937671"/>
                  </a:cubicBezTo>
                  <a:cubicBezTo>
                    <a:pt x="3401380" y="937671"/>
                    <a:pt x="3401380" y="937671"/>
                    <a:pt x="3401380" y="937988"/>
                  </a:cubicBezTo>
                  <a:cubicBezTo>
                    <a:pt x="3401380" y="937988"/>
                    <a:pt x="3401380" y="937988"/>
                    <a:pt x="3403921" y="933869"/>
                  </a:cubicBezTo>
                  <a:close/>
                  <a:moveTo>
                    <a:pt x="1941922" y="910736"/>
                  </a:moveTo>
                  <a:cubicBezTo>
                    <a:pt x="1941922" y="910736"/>
                    <a:pt x="1941922" y="910736"/>
                    <a:pt x="1930805" y="957002"/>
                  </a:cubicBezTo>
                  <a:lnTo>
                    <a:pt x="2073416" y="990909"/>
                  </a:lnTo>
                  <a:cubicBezTo>
                    <a:pt x="2073416" y="990909"/>
                    <a:pt x="2073416" y="990909"/>
                    <a:pt x="2084532" y="944326"/>
                  </a:cubicBezTo>
                  <a:cubicBezTo>
                    <a:pt x="2084532" y="944326"/>
                    <a:pt x="2084532" y="944326"/>
                    <a:pt x="1941922" y="910736"/>
                  </a:cubicBezTo>
                  <a:close/>
                  <a:moveTo>
                    <a:pt x="1938428" y="905032"/>
                  </a:moveTo>
                  <a:cubicBezTo>
                    <a:pt x="1938428" y="905032"/>
                    <a:pt x="1938428" y="905032"/>
                    <a:pt x="2089932" y="940840"/>
                  </a:cubicBezTo>
                  <a:cubicBezTo>
                    <a:pt x="2089932" y="940840"/>
                    <a:pt x="2089932" y="940840"/>
                    <a:pt x="2076910" y="996296"/>
                  </a:cubicBezTo>
                  <a:lnTo>
                    <a:pt x="2074686" y="995979"/>
                  </a:lnTo>
                  <a:cubicBezTo>
                    <a:pt x="2074686" y="995979"/>
                    <a:pt x="2074686" y="995979"/>
                    <a:pt x="1925088" y="960487"/>
                  </a:cubicBezTo>
                  <a:cubicBezTo>
                    <a:pt x="1925088" y="960487"/>
                    <a:pt x="1925088" y="960487"/>
                    <a:pt x="1938428" y="905032"/>
                  </a:cubicBezTo>
                  <a:close/>
                  <a:moveTo>
                    <a:pt x="2703254" y="855914"/>
                  </a:moveTo>
                  <a:cubicBezTo>
                    <a:pt x="2703254" y="855914"/>
                    <a:pt x="2702936" y="856231"/>
                    <a:pt x="2702936" y="856548"/>
                  </a:cubicBezTo>
                  <a:cubicBezTo>
                    <a:pt x="2701984" y="858133"/>
                    <a:pt x="2701348" y="859717"/>
                    <a:pt x="2701030" y="860985"/>
                  </a:cubicBezTo>
                  <a:cubicBezTo>
                    <a:pt x="2701666" y="859400"/>
                    <a:pt x="2702301" y="857499"/>
                    <a:pt x="2703254" y="855914"/>
                  </a:cubicBezTo>
                  <a:close/>
                  <a:moveTo>
                    <a:pt x="3345797" y="809015"/>
                  </a:moveTo>
                  <a:cubicBezTo>
                    <a:pt x="3308953" y="820106"/>
                    <a:pt x="3263534" y="833415"/>
                    <a:pt x="3212714" y="847675"/>
                  </a:cubicBezTo>
                  <a:cubicBezTo>
                    <a:pt x="3069468" y="888237"/>
                    <a:pt x="2884932" y="938305"/>
                    <a:pt x="2733745" y="979184"/>
                  </a:cubicBezTo>
                  <a:cubicBezTo>
                    <a:pt x="2658152" y="999465"/>
                    <a:pt x="2590817" y="1017527"/>
                    <a:pt x="2541268" y="1031153"/>
                  </a:cubicBezTo>
                  <a:cubicBezTo>
                    <a:pt x="2516494" y="1037808"/>
                    <a:pt x="2496166" y="1043512"/>
                    <a:pt x="2481556" y="1047631"/>
                  </a:cubicBezTo>
                  <a:cubicBezTo>
                    <a:pt x="2474251" y="1049533"/>
                    <a:pt x="2468534" y="1051117"/>
                    <a:pt x="2464404" y="1052385"/>
                  </a:cubicBezTo>
                  <a:cubicBezTo>
                    <a:pt x="2462181" y="1053019"/>
                    <a:pt x="2460593" y="1053652"/>
                    <a:pt x="2459323" y="1053969"/>
                  </a:cubicBezTo>
                  <a:cubicBezTo>
                    <a:pt x="2458688" y="1054286"/>
                    <a:pt x="2458370" y="1054286"/>
                    <a:pt x="2458052" y="1054286"/>
                  </a:cubicBezTo>
                  <a:cubicBezTo>
                    <a:pt x="2452653" y="1056821"/>
                    <a:pt x="2446936" y="1058406"/>
                    <a:pt x="2439630" y="1060307"/>
                  </a:cubicBezTo>
                  <a:cubicBezTo>
                    <a:pt x="2427243" y="1063793"/>
                    <a:pt x="2410727" y="1068229"/>
                    <a:pt x="2392623" y="1074567"/>
                  </a:cubicBezTo>
                  <a:cubicBezTo>
                    <a:pt x="2392623" y="1074567"/>
                    <a:pt x="2392623" y="1074567"/>
                    <a:pt x="2520306" y="1393356"/>
                  </a:cubicBezTo>
                  <a:cubicBezTo>
                    <a:pt x="2520306" y="1393356"/>
                    <a:pt x="2520306" y="1393356"/>
                    <a:pt x="2542539" y="1431700"/>
                  </a:cubicBezTo>
                  <a:cubicBezTo>
                    <a:pt x="2542539" y="1431700"/>
                    <a:pt x="2542539" y="1431700"/>
                    <a:pt x="3437589" y="1174070"/>
                  </a:cubicBezTo>
                  <a:cubicBezTo>
                    <a:pt x="3437271" y="1172169"/>
                    <a:pt x="3436954" y="1170584"/>
                    <a:pt x="3436318" y="1168366"/>
                  </a:cubicBezTo>
                  <a:cubicBezTo>
                    <a:pt x="3425202" y="1123051"/>
                    <a:pt x="3403604" y="1031787"/>
                    <a:pt x="3381052" y="943058"/>
                  </a:cubicBezTo>
                  <a:cubicBezTo>
                    <a:pt x="3368666" y="894892"/>
                    <a:pt x="3356278" y="847041"/>
                    <a:pt x="3345797" y="809015"/>
                  </a:cubicBezTo>
                  <a:close/>
                  <a:moveTo>
                    <a:pt x="1695767" y="807747"/>
                  </a:moveTo>
                  <a:cubicBezTo>
                    <a:pt x="1684650" y="847992"/>
                    <a:pt x="1656382" y="934503"/>
                    <a:pt x="1651936" y="947812"/>
                  </a:cubicBezTo>
                  <a:lnTo>
                    <a:pt x="1654794" y="1067912"/>
                  </a:lnTo>
                  <a:cubicBezTo>
                    <a:pt x="1654794" y="1067912"/>
                    <a:pt x="1654794" y="1067912"/>
                    <a:pt x="1604611" y="1183577"/>
                  </a:cubicBezTo>
                  <a:cubicBezTo>
                    <a:pt x="1643042" y="1194984"/>
                    <a:pt x="1681157" y="1207343"/>
                    <a:pt x="1713871" y="1221603"/>
                  </a:cubicBezTo>
                  <a:cubicBezTo>
                    <a:pt x="1775172" y="1247905"/>
                    <a:pt x="1809475" y="1288150"/>
                    <a:pt x="1893008" y="1334415"/>
                  </a:cubicBezTo>
                  <a:cubicBezTo>
                    <a:pt x="1923182" y="1351210"/>
                    <a:pt x="1940651" y="1379413"/>
                    <a:pt x="1950497" y="1408884"/>
                  </a:cubicBezTo>
                  <a:cubicBezTo>
                    <a:pt x="1960344" y="1438354"/>
                    <a:pt x="1962567" y="1469093"/>
                    <a:pt x="1962567" y="1493810"/>
                  </a:cubicBezTo>
                  <a:cubicBezTo>
                    <a:pt x="1962567" y="1508703"/>
                    <a:pt x="1961932" y="1521062"/>
                    <a:pt x="1960979" y="1529618"/>
                  </a:cubicBezTo>
                  <a:cubicBezTo>
                    <a:pt x="1960979" y="1529618"/>
                    <a:pt x="1960979" y="1529618"/>
                    <a:pt x="2463769" y="1551483"/>
                  </a:cubicBezTo>
                  <a:cubicBezTo>
                    <a:pt x="2428196" y="1504267"/>
                    <a:pt x="2386906" y="1459269"/>
                    <a:pt x="2348474" y="1416806"/>
                  </a:cubicBezTo>
                  <a:cubicBezTo>
                    <a:pt x="2314806" y="1379730"/>
                    <a:pt x="2283362" y="1344239"/>
                    <a:pt x="2259540" y="1309381"/>
                  </a:cubicBezTo>
                  <a:cubicBezTo>
                    <a:pt x="2235719" y="1274523"/>
                    <a:pt x="2218568" y="1239349"/>
                    <a:pt x="2218568" y="1201639"/>
                  </a:cubicBezTo>
                  <a:cubicBezTo>
                    <a:pt x="2218568" y="1195935"/>
                    <a:pt x="2218885" y="1190231"/>
                    <a:pt x="2219838" y="1184527"/>
                  </a:cubicBezTo>
                  <a:cubicBezTo>
                    <a:pt x="2224920" y="1149036"/>
                    <a:pt x="2241118" y="1119565"/>
                    <a:pt x="2261764" y="1097066"/>
                  </a:cubicBezTo>
                  <a:cubicBezTo>
                    <a:pt x="2281456" y="1075835"/>
                    <a:pt x="2304960" y="1060307"/>
                    <a:pt x="2328146" y="1048265"/>
                  </a:cubicBezTo>
                  <a:cubicBezTo>
                    <a:pt x="2324970" y="1041611"/>
                    <a:pt x="2321158" y="1034322"/>
                    <a:pt x="2316712" y="1026717"/>
                  </a:cubicBezTo>
                  <a:cubicBezTo>
                    <a:pt x="2305913" y="1006436"/>
                    <a:pt x="2290985" y="985838"/>
                    <a:pt x="2280821" y="978233"/>
                  </a:cubicBezTo>
                  <a:cubicBezTo>
                    <a:pt x="2251918" y="955734"/>
                    <a:pt x="2213486" y="948762"/>
                    <a:pt x="2177912" y="940840"/>
                  </a:cubicBezTo>
                  <a:cubicBezTo>
                    <a:pt x="2142657" y="932918"/>
                    <a:pt x="1964155" y="887286"/>
                    <a:pt x="1907301" y="870491"/>
                  </a:cubicBezTo>
                  <a:cubicBezTo>
                    <a:pt x="1879351" y="862252"/>
                    <a:pt x="1822815" y="845457"/>
                    <a:pt x="1773266" y="830563"/>
                  </a:cubicBezTo>
                  <a:cubicBezTo>
                    <a:pt x="1741504" y="821374"/>
                    <a:pt x="1712601" y="812818"/>
                    <a:pt x="1695767" y="807747"/>
                  </a:cubicBezTo>
                  <a:close/>
                  <a:moveTo>
                    <a:pt x="3334362" y="766235"/>
                  </a:moveTo>
                  <a:cubicBezTo>
                    <a:pt x="3331186" y="767186"/>
                    <a:pt x="3328010" y="768136"/>
                    <a:pt x="3324834" y="769404"/>
                  </a:cubicBezTo>
                  <a:cubicBezTo>
                    <a:pt x="3269568" y="785882"/>
                    <a:pt x="3196198" y="806797"/>
                    <a:pt x="3115841" y="828979"/>
                  </a:cubicBezTo>
                  <a:cubicBezTo>
                    <a:pt x="2954808" y="873977"/>
                    <a:pt x="2764237" y="924996"/>
                    <a:pt x="2627026" y="962072"/>
                  </a:cubicBezTo>
                  <a:cubicBezTo>
                    <a:pt x="2535551" y="986789"/>
                    <a:pt x="2468216" y="1005169"/>
                    <a:pt x="2447888" y="1011189"/>
                  </a:cubicBezTo>
                  <a:cubicBezTo>
                    <a:pt x="2445030" y="1012140"/>
                    <a:pt x="2443759" y="1012774"/>
                    <a:pt x="2441218" y="1013725"/>
                  </a:cubicBezTo>
                  <a:cubicBezTo>
                    <a:pt x="2438678" y="1014675"/>
                    <a:pt x="2428831" y="1017527"/>
                    <a:pt x="2416126" y="1021013"/>
                  </a:cubicBezTo>
                  <a:cubicBezTo>
                    <a:pt x="2404692" y="1024182"/>
                    <a:pt x="2390399" y="1028301"/>
                    <a:pt x="2375154" y="1034005"/>
                  </a:cubicBezTo>
                  <a:cubicBezTo>
                    <a:pt x="2382141" y="1048582"/>
                    <a:pt x="2386270" y="1058723"/>
                    <a:pt x="2386270" y="1059040"/>
                  </a:cubicBezTo>
                  <a:cubicBezTo>
                    <a:pt x="2386270" y="1059040"/>
                    <a:pt x="2386270" y="1059040"/>
                    <a:pt x="2390717" y="1069814"/>
                  </a:cubicBezTo>
                  <a:cubicBezTo>
                    <a:pt x="2408821" y="1063476"/>
                    <a:pt x="2425973" y="1058723"/>
                    <a:pt x="2438360" y="1055237"/>
                  </a:cubicBezTo>
                  <a:cubicBezTo>
                    <a:pt x="2445665" y="1053336"/>
                    <a:pt x="2451064" y="1051751"/>
                    <a:pt x="2456146" y="1049533"/>
                  </a:cubicBezTo>
                  <a:cubicBezTo>
                    <a:pt x="2456146" y="1049533"/>
                    <a:pt x="2456146" y="1049533"/>
                    <a:pt x="2459005" y="1048582"/>
                  </a:cubicBezTo>
                  <a:cubicBezTo>
                    <a:pt x="2459958" y="1048265"/>
                    <a:pt x="2461228" y="1047948"/>
                    <a:pt x="2462816" y="1047631"/>
                  </a:cubicBezTo>
                  <a:cubicBezTo>
                    <a:pt x="2466946" y="1046364"/>
                    <a:pt x="2472980" y="1044463"/>
                    <a:pt x="2480286" y="1042561"/>
                  </a:cubicBezTo>
                  <a:cubicBezTo>
                    <a:pt x="2494896" y="1038442"/>
                    <a:pt x="2515224" y="1032738"/>
                    <a:pt x="2539998" y="1026083"/>
                  </a:cubicBezTo>
                  <a:cubicBezTo>
                    <a:pt x="2589546" y="1012457"/>
                    <a:pt x="2656564" y="994394"/>
                    <a:pt x="2732157" y="974114"/>
                  </a:cubicBezTo>
                  <a:cubicBezTo>
                    <a:pt x="2883662" y="933235"/>
                    <a:pt x="3068198" y="883484"/>
                    <a:pt x="3211444" y="842922"/>
                  </a:cubicBezTo>
                  <a:cubicBezTo>
                    <a:pt x="3262263" y="828345"/>
                    <a:pt x="3307682" y="815353"/>
                    <a:pt x="3344526" y="803945"/>
                  </a:cubicBezTo>
                  <a:cubicBezTo>
                    <a:pt x="3343574" y="800776"/>
                    <a:pt x="3342938" y="797607"/>
                    <a:pt x="3341986" y="794438"/>
                  </a:cubicBezTo>
                  <a:cubicBezTo>
                    <a:pt x="3339127" y="783981"/>
                    <a:pt x="3336586" y="774791"/>
                    <a:pt x="3334362" y="766235"/>
                  </a:cubicBezTo>
                  <a:close/>
                  <a:moveTo>
                    <a:pt x="2154091" y="765918"/>
                  </a:moveTo>
                  <a:cubicBezTo>
                    <a:pt x="2138210" y="765918"/>
                    <a:pt x="2125505" y="767186"/>
                    <a:pt x="2115659" y="770672"/>
                  </a:cubicBezTo>
                  <a:cubicBezTo>
                    <a:pt x="2106130" y="774157"/>
                    <a:pt x="2099460" y="778911"/>
                    <a:pt x="2093743" y="786516"/>
                  </a:cubicBezTo>
                  <a:cubicBezTo>
                    <a:pt x="2093743" y="786516"/>
                    <a:pt x="2093743" y="786516"/>
                    <a:pt x="2071510" y="864470"/>
                  </a:cubicBezTo>
                  <a:cubicBezTo>
                    <a:pt x="2124235" y="878097"/>
                    <a:pt x="2173148" y="890138"/>
                    <a:pt x="2188712" y="893941"/>
                  </a:cubicBezTo>
                  <a:cubicBezTo>
                    <a:pt x="2221744" y="901546"/>
                    <a:pt x="2269069" y="908201"/>
                    <a:pt x="2310360" y="940206"/>
                  </a:cubicBezTo>
                  <a:cubicBezTo>
                    <a:pt x="2318618" y="946544"/>
                    <a:pt x="2325923" y="954466"/>
                    <a:pt x="2332910" y="963022"/>
                  </a:cubicBezTo>
                  <a:cubicBezTo>
                    <a:pt x="2362766" y="953833"/>
                    <a:pt x="2440583" y="929749"/>
                    <a:pt x="2518082" y="905983"/>
                  </a:cubicBezTo>
                  <a:cubicBezTo>
                    <a:pt x="2567948" y="890772"/>
                    <a:pt x="2617497" y="875561"/>
                    <a:pt x="2654976" y="864153"/>
                  </a:cubicBezTo>
                  <a:cubicBezTo>
                    <a:pt x="2673398" y="858449"/>
                    <a:pt x="2688961" y="853379"/>
                    <a:pt x="2700078" y="850210"/>
                  </a:cubicBezTo>
                  <a:cubicBezTo>
                    <a:pt x="2703254" y="849260"/>
                    <a:pt x="2706112" y="848309"/>
                    <a:pt x="2708336" y="847675"/>
                  </a:cubicBezTo>
                  <a:cubicBezTo>
                    <a:pt x="2707700" y="832148"/>
                    <a:pt x="2706112" y="803628"/>
                    <a:pt x="2705160" y="778911"/>
                  </a:cubicBezTo>
                  <a:cubicBezTo>
                    <a:pt x="2705160" y="778911"/>
                    <a:pt x="2705160" y="778911"/>
                    <a:pt x="2311312" y="786516"/>
                  </a:cubicBezTo>
                  <a:cubicBezTo>
                    <a:pt x="2311312" y="786516"/>
                    <a:pt x="2311312" y="786516"/>
                    <a:pt x="2310360" y="786516"/>
                  </a:cubicBezTo>
                  <a:cubicBezTo>
                    <a:pt x="2310360" y="786516"/>
                    <a:pt x="2279233" y="781129"/>
                    <a:pt x="2243977" y="776059"/>
                  </a:cubicBezTo>
                  <a:cubicBezTo>
                    <a:pt x="2208722" y="770988"/>
                    <a:pt x="2168702" y="765918"/>
                    <a:pt x="2154091" y="765918"/>
                  </a:cubicBezTo>
                  <a:close/>
                  <a:moveTo>
                    <a:pt x="3327375" y="740884"/>
                  </a:moveTo>
                  <a:cubicBezTo>
                    <a:pt x="3310859" y="745320"/>
                    <a:pt x="3283544" y="751975"/>
                    <a:pt x="3248606" y="760848"/>
                  </a:cubicBezTo>
                  <a:cubicBezTo>
                    <a:pt x="3162213" y="782713"/>
                    <a:pt x="3032942" y="815353"/>
                    <a:pt x="2924952" y="842605"/>
                  </a:cubicBezTo>
                  <a:cubicBezTo>
                    <a:pt x="2870957" y="856231"/>
                    <a:pt x="2822361" y="868273"/>
                    <a:pt x="2787105" y="877146"/>
                  </a:cubicBezTo>
                  <a:cubicBezTo>
                    <a:pt x="2769636" y="881582"/>
                    <a:pt x="2755344" y="885068"/>
                    <a:pt x="2745497" y="887603"/>
                  </a:cubicBezTo>
                  <a:cubicBezTo>
                    <a:pt x="2740415" y="888871"/>
                    <a:pt x="2736604" y="889821"/>
                    <a:pt x="2734063" y="890455"/>
                  </a:cubicBezTo>
                  <a:cubicBezTo>
                    <a:pt x="2732792" y="890772"/>
                    <a:pt x="2731840" y="891089"/>
                    <a:pt x="2731204" y="891089"/>
                  </a:cubicBezTo>
                  <a:cubicBezTo>
                    <a:pt x="2730887" y="891406"/>
                    <a:pt x="2730887" y="891406"/>
                    <a:pt x="2730887" y="891406"/>
                  </a:cubicBezTo>
                  <a:cubicBezTo>
                    <a:pt x="2730887" y="891406"/>
                    <a:pt x="2730887" y="891406"/>
                    <a:pt x="2728028" y="892040"/>
                  </a:cubicBezTo>
                  <a:cubicBezTo>
                    <a:pt x="2728028" y="892040"/>
                    <a:pt x="2728028" y="892040"/>
                    <a:pt x="2727710" y="892040"/>
                  </a:cubicBezTo>
                  <a:cubicBezTo>
                    <a:pt x="2709289" y="897744"/>
                    <a:pt x="2618767" y="925630"/>
                    <a:pt x="2529516" y="953199"/>
                  </a:cubicBezTo>
                  <a:cubicBezTo>
                    <a:pt x="2462181" y="973797"/>
                    <a:pt x="2395799" y="994078"/>
                    <a:pt x="2360226" y="1005169"/>
                  </a:cubicBezTo>
                  <a:cubicBezTo>
                    <a:pt x="2361496" y="1007704"/>
                    <a:pt x="2363084" y="1010239"/>
                    <a:pt x="2364354" y="1012457"/>
                  </a:cubicBezTo>
                  <a:cubicBezTo>
                    <a:pt x="2367531" y="1018478"/>
                    <a:pt x="2370072" y="1024182"/>
                    <a:pt x="2372613" y="1029252"/>
                  </a:cubicBezTo>
                  <a:cubicBezTo>
                    <a:pt x="2388494" y="1023548"/>
                    <a:pt x="2403104" y="1019112"/>
                    <a:pt x="2414856" y="1015943"/>
                  </a:cubicBezTo>
                  <a:cubicBezTo>
                    <a:pt x="2427243" y="1012457"/>
                    <a:pt x="2437724" y="1009605"/>
                    <a:pt x="2439313" y="1008971"/>
                  </a:cubicBezTo>
                  <a:cubicBezTo>
                    <a:pt x="2441854" y="1007704"/>
                    <a:pt x="2443759" y="1007070"/>
                    <a:pt x="2446300" y="1006436"/>
                  </a:cubicBezTo>
                  <a:cubicBezTo>
                    <a:pt x="2466946" y="1000098"/>
                    <a:pt x="2533963" y="981719"/>
                    <a:pt x="2625755" y="957002"/>
                  </a:cubicBezTo>
                  <a:cubicBezTo>
                    <a:pt x="2762966" y="920243"/>
                    <a:pt x="2953220" y="868907"/>
                    <a:pt x="3114253" y="824226"/>
                  </a:cubicBezTo>
                  <a:cubicBezTo>
                    <a:pt x="3194928" y="801727"/>
                    <a:pt x="3267980" y="780812"/>
                    <a:pt x="3323246" y="764334"/>
                  </a:cubicBezTo>
                  <a:cubicBezTo>
                    <a:pt x="3326740" y="763383"/>
                    <a:pt x="3329598" y="762432"/>
                    <a:pt x="3333092" y="761482"/>
                  </a:cubicBezTo>
                  <a:cubicBezTo>
                    <a:pt x="3330869" y="753243"/>
                    <a:pt x="3328963" y="746271"/>
                    <a:pt x="3327375" y="740884"/>
                  </a:cubicBezTo>
                  <a:close/>
                  <a:moveTo>
                    <a:pt x="1157721" y="567230"/>
                  </a:moveTo>
                  <a:cubicBezTo>
                    <a:pt x="1157721" y="567230"/>
                    <a:pt x="1157721" y="567230"/>
                    <a:pt x="1024956" y="976015"/>
                  </a:cubicBezTo>
                  <a:cubicBezTo>
                    <a:pt x="1044649" y="983937"/>
                    <a:pt x="1070376" y="995028"/>
                    <a:pt x="1099597" y="1007704"/>
                  </a:cubicBezTo>
                  <a:cubicBezTo>
                    <a:pt x="1147239" y="1028618"/>
                    <a:pt x="1203776" y="1052702"/>
                    <a:pt x="1253959" y="1071398"/>
                  </a:cubicBezTo>
                  <a:cubicBezTo>
                    <a:pt x="1355597" y="1108791"/>
                    <a:pt x="1450248" y="1142064"/>
                    <a:pt x="1513454" y="1158542"/>
                  </a:cubicBezTo>
                  <a:cubicBezTo>
                    <a:pt x="1536005" y="1164246"/>
                    <a:pt x="1560144" y="1170901"/>
                    <a:pt x="1584601" y="1177872"/>
                  </a:cubicBezTo>
                  <a:cubicBezTo>
                    <a:pt x="1584601" y="1177872"/>
                    <a:pt x="1584601" y="1177872"/>
                    <a:pt x="1633831" y="1063793"/>
                  </a:cubicBezTo>
                  <a:cubicBezTo>
                    <a:pt x="1633831" y="1063793"/>
                    <a:pt x="1633831" y="1063793"/>
                    <a:pt x="1631291" y="944960"/>
                  </a:cubicBezTo>
                  <a:cubicBezTo>
                    <a:pt x="1631291" y="944960"/>
                    <a:pt x="1631291" y="944960"/>
                    <a:pt x="1631608" y="943058"/>
                  </a:cubicBezTo>
                  <a:cubicBezTo>
                    <a:pt x="1631608" y="943058"/>
                    <a:pt x="1643995" y="905666"/>
                    <a:pt x="1656065" y="866689"/>
                  </a:cubicBezTo>
                  <a:cubicBezTo>
                    <a:pt x="1662417" y="847358"/>
                    <a:pt x="1668452" y="827711"/>
                    <a:pt x="1672899" y="812184"/>
                  </a:cubicBezTo>
                  <a:cubicBezTo>
                    <a:pt x="1674169" y="808381"/>
                    <a:pt x="1675122" y="804579"/>
                    <a:pt x="1676075" y="801410"/>
                  </a:cubicBezTo>
                  <a:cubicBezTo>
                    <a:pt x="1676075" y="801410"/>
                    <a:pt x="1676075" y="801410"/>
                    <a:pt x="1404511" y="689231"/>
                  </a:cubicBezTo>
                  <a:cubicBezTo>
                    <a:pt x="1404511" y="689231"/>
                    <a:pt x="1404511" y="689231"/>
                    <a:pt x="1401970" y="687330"/>
                  </a:cubicBezTo>
                  <a:cubicBezTo>
                    <a:pt x="1401970" y="687330"/>
                    <a:pt x="1400699" y="686379"/>
                    <a:pt x="1397841" y="684478"/>
                  </a:cubicBezTo>
                  <a:cubicBezTo>
                    <a:pt x="1379419" y="670852"/>
                    <a:pt x="1297156" y="613495"/>
                    <a:pt x="1224421" y="589728"/>
                  </a:cubicBezTo>
                  <a:cubicBezTo>
                    <a:pt x="1207269" y="584024"/>
                    <a:pt x="1183766" y="576102"/>
                    <a:pt x="1157721" y="567230"/>
                  </a:cubicBezTo>
                  <a:close/>
                  <a:moveTo>
                    <a:pt x="5087936" y="565962"/>
                  </a:moveTo>
                  <a:cubicBezTo>
                    <a:pt x="4943737" y="597334"/>
                    <a:pt x="4796044" y="609376"/>
                    <a:pt x="4748402" y="617615"/>
                  </a:cubicBezTo>
                  <a:cubicBezTo>
                    <a:pt x="4727756" y="621417"/>
                    <a:pt x="4666774" y="622368"/>
                    <a:pt x="4592451" y="622368"/>
                  </a:cubicBezTo>
                  <a:cubicBezTo>
                    <a:pt x="4447299" y="622368"/>
                    <a:pt x="4255457" y="618248"/>
                    <a:pt x="4246246" y="617932"/>
                  </a:cubicBezTo>
                  <a:cubicBezTo>
                    <a:pt x="4221790" y="618882"/>
                    <a:pt x="4192886" y="619516"/>
                    <a:pt x="4170018" y="644867"/>
                  </a:cubicBezTo>
                  <a:cubicBezTo>
                    <a:pt x="4157630" y="659127"/>
                    <a:pt x="4142385" y="679408"/>
                    <a:pt x="4130633" y="695886"/>
                  </a:cubicBezTo>
                  <a:cubicBezTo>
                    <a:pt x="4118564" y="712364"/>
                    <a:pt x="4109988" y="725357"/>
                    <a:pt x="4109988" y="725357"/>
                  </a:cubicBezTo>
                  <a:cubicBezTo>
                    <a:pt x="4109988" y="725357"/>
                    <a:pt x="4109988" y="725357"/>
                    <a:pt x="4109670" y="725673"/>
                  </a:cubicBezTo>
                  <a:cubicBezTo>
                    <a:pt x="4109670" y="725673"/>
                    <a:pt x="4109670" y="725673"/>
                    <a:pt x="4109352" y="726307"/>
                  </a:cubicBezTo>
                  <a:cubicBezTo>
                    <a:pt x="4109352" y="726307"/>
                    <a:pt x="4078861" y="763383"/>
                    <a:pt x="4047417" y="802360"/>
                  </a:cubicBezTo>
                  <a:cubicBezTo>
                    <a:pt x="4031854" y="821690"/>
                    <a:pt x="4015972" y="841654"/>
                    <a:pt x="4003586" y="857499"/>
                  </a:cubicBezTo>
                  <a:cubicBezTo>
                    <a:pt x="3997551" y="865421"/>
                    <a:pt x="3992469" y="872393"/>
                    <a:pt x="3988340" y="877780"/>
                  </a:cubicBezTo>
                  <a:cubicBezTo>
                    <a:pt x="3986434" y="880315"/>
                    <a:pt x="3984846" y="882533"/>
                    <a:pt x="3983893" y="884434"/>
                  </a:cubicBezTo>
                  <a:cubicBezTo>
                    <a:pt x="3983258" y="885068"/>
                    <a:pt x="3982940" y="886019"/>
                    <a:pt x="3982622" y="886336"/>
                  </a:cubicBezTo>
                  <a:cubicBezTo>
                    <a:pt x="3982305" y="886969"/>
                    <a:pt x="3981987" y="886969"/>
                    <a:pt x="3981987" y="886969"/>
                  </a:cubicBezTo>
                  <a:cubicBezTo>
                    <a:pt x="3977223" y="897427"/>
                    <a:pt x="3966742" y="921827"/>
                    <a:pt x="3961342" y="934186"/>
                  </a:cubicBezTo>
                  <a:cubicBezTo>
                    <a:pt x="3968965" y="937988"/>
                    <a:pt x="3976270" y="942742"/>
                    <a:pt x="3983258" y="949079"/>
                  </a:cubicBezTo>
                  <a:cubicBezTo>
                    <a:pt x="3983258" y="949079"/>
                    <a:pt x="3983258" y="949079"/>
                    <a:pt x="3984211" y="950030"/>
                  </a:cubicBezTo>
                  <a:cubicBezTo>
                    <a:pt x="3984211" y="950030"/>
                    <a:pt x="3984211" y="950030"/>
                    <a:pt x="4220202" y="1307797"/>
                  </a:cubicBezTo>
                  <a:cubicBezTo>
                    <a:pt x="4220836" y="1308747"/>
                    <a:pt x="4234812" y="1329979"/>
                    <a:pt x="4234812" y="1365470"/>
                  </a:cubicBezTo>
                  <a:cubicBezTo>
                    <a:pt x="4234812" y="1384483"/>
                    <a:pt x="4230683" y="1407616"/>
                    <a:pt x="4218614" y="1433284"/>
                  </a:cubicBezTo>
                  <a:cubicBezTo>
                    <a:pt x="4196380" y="1480500"/>
                    <a:pt x="4177640" y="1512506"/>
                    <a:pt x="4167794" y="1528351"/>
                  </a:cubicBezTo>
                  <a:cubicBezTo>
                    <a:pt x="4167794" y="1528351"/>
                    <a:pt x="4167794" y="1528351"/>
                    <a:pt x="4314534" y="1571130"/>
                  </a:cubicBezTo>
                  <a:cubicBezTo>
                    <a:pt x="4314534" y="1571130"/>
                    <a:pt x="4314534" y="1571130"/>
                    <a:pt x="4464450" y="1606622"/>
                  </a:cubicBezTo>
                  <a:cubicBezTo>
                    <a:pt x="4464450" y="1606622"/>
                    <a:pt x="4464450" y="1606622"/>
                    <a:pt x="5069196" y="1481134"/>
                  </a:cubicBezTo>
                  <a:cubicBezTo>
                    <a:pt x="5068562" y="1479233"/>
                    <a:pt x="5067926" y="1476698"/>
                    <a:pt x="5067291" y="1473846"/>
                  </a:cubicBezTo>
                  <a:cubicBezTo>
                    <a:pt x="5053316" y="1425045"/>
                    <a:pt x="5000908" y="1254243"/>
                    <a:pt x="4972640" y="1120833"/>
                  </a:cubicBezTo>
                  <a:cubicBezTo>
                    <a:pt x="4958666" y="1054603"/>
                    <a:pt x="4953266" y="988373"/>
                    <a:pt x="4953266" y="929115"/>
                  </a:cubicBezTo>
                  <a:cubicBezTo>
                    <a:pt x="4953584" y="846408"/>
                    <a:pt x="4963430" y="777326"/>
                    <a:pt x="4973911" y="738032"/>
                  </a:cubicBezTo>
                  <a:cubicBezTo>
                    <a:pt x="4984075" y="701907"/>
                    <a:pt x="5016472" y="655007"/>
                    <a:pt x="5046964" y="615396"/>
                  </a:cubicBezTo>
                  <a:cubicBezTo>
                    <a:pt x="5062209" y="596066"/>
                    <a:pt x="5076820" y="578637"/>
                    <a:pt x="5087936" y="565962"/>
                  </a:cubicBezTo>
                  <a:close/>
                  <a:moveTo>
                    <a:pt x="4034712" y="503852"/>
                  </a:moveTo>
                  <a:lnTo>
                    <a:pt x="3890513" y="653106"/>
                  </a:lnTo>
                  <a:cubicBezTo>
                    <a:pt x="3890513" y="653106"/>
                    <a:pt x="3890513" y="653106"/>
                    <a:pt x="3867962" y="632508"/>
                  </a:cubicBezTo>
                  <a:cubicBezTo>
                    <a:pt x="3867962" y="632508"/>
                    <a:pt x="3867962" y="632508"/>
                    <a:pt x="3920369" y="577687"/>
                  </a:cubicBezTo>
                  <a:cubicBezTo>
                    <a:pt x="3920369" y="577687"/>
                    <a:pt x="3920369" y="577687"/>
                    <a:pt x="3857798" y="515260"/>
                  </a:cubicBezTo>
                  <a:cubicBezTo>
                    <a:pt x="3857798" y="515260"/>
                    <a:pt x="3857798" y="515260"/>
                    <a:pt x="3661192" y="718068"/>
                  </a:cubicBezTo>
                  <a:cubicBezTo>
                    <a:pt x="3661192" y="718068"/>
                    <a:pt x="3661192" y="718068"/>
                    <a:pt x="3724398" y="779861"/>
                  </a:cubicBezTo>
                  <a:cubicBezTo>
                    <a:pt x="3724398" y="779861"/>
                    <a:pt x="3724398" y="779861"/>
                    <a:pt x="3766006" y="736765"/>
                  </a:cubicBezTo>
                  <a:cubicBezTo>
                    <a:pt x="3766006" y="736765"/>
                    <a:pt x="3766006" y="736765"/>
                    <a:pt x="3792051" y="762116"/>
                  </a:cubicBezTo>
                  <a:cubicBezTo>
                    <a:pt x="3792051" y="762116"/>
                    <a:pt x="3792051" y="762116"/>
                    <a:pt x="3842870" y="710780"/>
                  </a:cubicBezTo>
                  <a:cubicBezTo>
                    <a:pt x="3842870" y="710780"/>
                    <a:pt x="3842870" y="710780"/>
                    <a:pt x="3902265" y="768770"/>
                  </a:cubicBezTo>
                  <a:cubicBezTo>
                    <a:pt x="3902265" y="768770"/>
                    <a:pt x="3902265" y="768770"/>
                    <a:pt x="4099824" y="565645"/>
                  </a:cubicBezTo>
                  <a:cubicBezTo>
                    <a:pt x="4099824" y="565645"/>
                    <a:pt x="4099824" y="565645"/>
                    <a:pt x="4034712" y="503852"/>
                  </a:cubicBezTo>
                  <a:close/>
                  <a:moveTo>
                    <a:pt x="4034712" y="497197"/>
                  </a:moveTo>
                  <a:cubicBezTo>
                    <a:pt x="4034712" y="497197"/>
                    <a:pt x="4034712" y="497197"/>
                    <a:pt x="4106494" y="565645"/>
                  </a:cubicBezTo>
                  <a:cubicBezTo>
                    <a:pt x="4106494" y="565645"/>
                    <a:pt x="4106494" y="565645"/>
                    <a:pt x="3902583" y="775425"/>
                  </a:cubicBezTo>
                  <a:cubicBezTo>
                    <a:pt x="3902583" y="775425"/>
                    <a:pt x="3902583" y="775425"/>
                    <a:pt x="3842870" y="717434"/>
                  </a:cubicBezTo>
                  <a:cubicBezTo>
                    <a:pt x="3842870" y="717434"/>
                    <a:pt x="3842870" y="717434"/>
                    <a:pt x="3792369" y="768770"/>
                  </a:cubicBezTo>
                  <a:cubicBezTo>
                    <a:pt x="3792369" y="768770"/>
                    <a:pt x="3792369" y="768770"/>
                    <a:pt x="3766006" y="743419"/>
                  </a:cubicBezTo>
                  <a:cubicBezTo>
                    <a:pt x="3766006" y="743419"/>
                    <a:pt x="3766006" y="743419"/>
                    <a:pt x="3724398" y="786516"/>
                  </a:cubicBezTo>
                  <a:cubicBezTo>
                    <a:pt x="3724398" y="786516"/>
                    <a:pt x="3724398" y="786516"/>
                    <a:pt x="3656428" y="719653"/>
                  </a:cubicBezTo>
                  <a:cubicBezTo>
                    <a:pt x="3656428" y="719653"/>
                    <a:pt x="3656428" y="719653"/>
                    <a:pt x="3654840" y="718068"/>
                  </a:cubicBezTo>
                  <a:cubicBezTo>
                    <a:pt x="3654840" y="718068"/>
                    <a:pt x="3654840" y="718068"/>
                    <a:pt x="3857798" y="508605"/>
                  </a:cubicBezTo>
                  <a:cubicBezTo>
                    <a:pt x="3857798" y="508605"/>
                    <a:pt x="3857798" y="508605"/>
                    <a:pt x="3927039" y="577687"/>
                  </a:cubicBezTo>
                  <a:cubicBezTo>
                    <a:pt x="3927039" y="577687"/>
                    <a:pt x="3927039" y="577687"/>
                    <a:pt x="3874632" y="632191"/>
                  </a:cubicBezTo>
                  <a:lnTo>
                    <a:pt x="3890513" y="646768"/>
                  </a:lnTo>
                  <a:cubicBezTo>
                    <a:pt x="3890513" y="646768"/>
                    <a:pt x="3890513" y="646768"/>
                    <a:pt x="4034712" y="497197"/>
                  </a:cubicBezTo>
                  <a:close/>
                  <a:moveTo>
                    <a:pt x="812787" y="431285"/>
                  </a:moveTo>
                  <a:cubicBezTo>
                    <a:pt x="811834" y="431918"/>
                    <a:pt x="810881" y="432869"/>
                    <a:pt x="809293" y="433820"/>
                  </a:cubicBezTo>
                  <a:cubicBezTo>
                    <a:pt x="781343" y="456952"/>
                    <a:pt x="680975" y="543146"/>
                    <a:pt x="587595" y="623635"/>
                  </a:cubicBezTo>
                  <a:cubicBezTo>
                    <a:pt x="541223" y="664197"/>
                    <a:pt x="496121" y="702858"/>
                    <a:pt x="463088" y="731694"/>
                  </a:cubicBezTo>
                  <a:cubicBezTo>
                    <a:pt x="432279" y="757996"/>
                    <a:pt x="411952" y="776059"/>
                    <a:pt x="408458" y="778911"/>
                  </a:cubicBezTo>
                  <a:cubicBezTo>
                    <a:pt x="408458" y="778911"/>
                    <a:pt x="408458" y="778911"/>
                    <a:pt x="184854" y="1017527"/>
                  </a:cubicBezTo>
                  <a:cubicBezTo>
                    <a:pt x="201371" y="1039076"/>
                    <a:pt x="248061" y="1100235"/>
                    <a:pt x="295386" y="1161394"/>
                  </a:cubicBezTo>
                  <a:cubicBezTo>
                    <a:pt x="324924" y="1199421"/>
                    <a:pt x="354463" y="1237447"/>
                    <a:pt x="377014" y="1265967"/>
                  </a:cubicBezTo>
                  <a:cubicBezTo>
                    <a:pt x="388448" y="1280227"/>
                    <a:pt x="397659" y="1291952"/>
                    <a:pt x="404647" y="1300191"/>
                  </a:cubicBezTo>
                  <a:cubicBezTo>
                    <a:pt x="407823" y="1304311"/>
                    <a:pt x="410681" y="1307480"/>
                    <a:pt x="412587" y="1309698"/>
                  </a:cubicBezTo>
                  <a:cubicBezTo>
                    <a:pt x="412587" y="1309698"/>
                    <a:pt x="412905" y="1310015"/>
                    <a:pt x="412905" y="1310015"/>
                  </a:cubicBezTo>
                  <a:cubicBezTo>
                    <a:pt x="414493" y="1310332"/>
                    <a:pt x="415763" y="1310965"/>
                    <a:pt x="417987" y="1311282"/>
                  </a:cubicBezTo>
                  <a:cubicBezTo>
                    <a:pt x="435138" y="1316353"/>
                    <a:pt x="475476" y="1330612"/>
                    <a:pt x="498344" y="1338852"/>
                  </a:cubicBezTo>
                  <a:cubicBezTo>
                    <a:pt x="519625" y="1316669"/>
                    <a:pt x="619039" y="1208928"/>
                    <a:pt x="702573" y="1118614"/>
                  </a:cubicBezTo>
                  <a:cubicBezTo>
                    <a:pt x="752439" y="1064744"/>
                    <a:pt x="788330" y="1023548"/>
                    <a:pt x="813740" y="1002317"/>
                  </a:cubicBezTo>
                  <a:cubicBezTo>
                    <a:pt x="855983" y="966825"/>
                    <a:pt x="899814" y="956685"/>
                    <a:pt x="935070" y="957002"/>
                  </a:cubicBezTo>
                  <a:cubicBezTo>
                    <a:pt x="960480" y="957002"/>
                    <a:pt x="981760" y="961755"/>
                    <a:pt x="995418" y="965558"/>
                  </a:cubicBezTo>
                  <a:cubicBezTo>
                    <a:pt x="998276" y="966191"/>
                    <a:pt x="1001770" y="967459"/>
                    <a:pt x="1005581" y="968726"/>
                  </a:cubicBezTo>
                  <a:cubicBezTo>
                    <a:pt x="1005581" y="968726"/>
                    <a:pt x="1005581" y="968726"/>
                    <a:pt x="1138028" y="560258"/>
                  </a:cubicBezTo>
                  <a:cubicBezTo>
                    <a:pt x="1030356" y="522865"/>
                    <a:pt x="886792" y="471212"/>
                    <a:pt x="872499" y="465825"/>
                  </a:cubicBezTo>
                  <a:cubicBezTo>
                    <a:pt x="862971" y="462340"/>
                    <a:pt x="849313" y="457269"/>
                    <a:pt x="835655" y="449030"/>
                  </a:cubicBezTo>
                  <a:cubicBezTo>
                    <a:pt x="828033" y="444594"/>
                    <a:pt x="820092" y="438573"/>
                    <a:pt x="812787" y="431285"/>
                  </a:cubicBezTo>
                  <a:close/>
                  <a:moveTo>
                    <a:pt x="3683743" y="405617"/>
                  </a:moveTo>
                  <a:cubicBezTo>
                    <a:pt x="3685331" y="406567"/>
                    <a:pt x="3686920" y="407201"/>
                    <a:pt x="3688190" y="407835"/>
                  </a:cubicBezTo>
                  <a:cubicBezTo>
                    <a:pt x="3688190" y="407518"/>
                    <a:pt x="3688190" y="407518"/>
                    <a:pt x="3688190" y="407518"/>
                  </a:cubicBezTo>
                  <a:cubicBezTo>
                    <a:pt x="3686920" y="407201"/>
                    <a:pt x="3685331" y="406567"/>
                    <a:pt x="3683743" y="405617"/>
                  </a:cubicBezTo>
                  <a:close/>
                  <a:moveTo>
                    <a:pt x="2472980" y="371076"/>
                  </a:moveTo>
                  <a:cubicBezTo>
                    <a:pt x="2450112" y="371710"/>
                    <a:pt x="2380871" y="386286"/>
                    <a:pt x="2365308" y="392941"/>
                  </a:cubicBezTo>
                  <a:cubicBezTo>
                    <a:pt x="2354191" y="397378"/>
                    <a:pt x="2334498" y="401814"/>
                    <a:pt x="2314806" y="405934"/>
                  </a:cubicBezTo>
                  <a:cubicBezTo>
                    <a:pt x="2295431" y="410053"/>
                    <a:pt x="2277010" y="413222"/>
                    <a:pt x="2270340" y="414489"/>
                  </a:cubicBezTo>
                  <a:cubicBezTo>
                    <a:pt x="2269386" y="414489"/>
                    <a:pt x="2268434" y="415123"/>
                    <a:pt x="2266846" y="417658"/>
                  </a:cubicBezTo>
                  <a:cubicBezTo>
                    <a:pt x="2266210" y="418926"/>
                    <a:pt x="2265575" y="420827"/>
                    <a:pt x="2265258" y="422412"/>
                  </a:cubicBezTo>
                  <a:cubicBezTo>
                    <a:pt x="2265893" y="423679"/>
                    <a:pt x="2265893" y="424313"/>
                    <a:pt x="2265893" y="424947"/>
                  </a:cubicBezTo>
                  <a:cubicBezTo>
                    <a:pt x="2266210" y="425897"/>
                    <a:pt x="2266210" y="426214"/>
                    <a:pt x="2266210" y="426848"/>
                  </a:cubicBezTo>
                  <a:cubicBezTo>
                    <a:pt x="2266210" y="430334"/>
                    <a:pt x="2265575" y="434137"/>
                    <a:pt x="2264622" y="439841"/>
                  </a:cubicBezTo>
                  <a:cubicBezTo>
                    <a:pt x="2262399" y="453467"/>
                    <a:pt x="2258270" y="473748"/>
                    <a:pt x="2257000" y="479452"/>
                  </a:cubicBezTo>
                  <a:cubicBezTo>
                    <a:pt x="2258270" y="489592"/>
                    <a:pt x="2265258" y="550434"/>
                    <a:pt x="2272245" y="613812"/>
                  </a:cubicBezTo>
                  <a:cubicBezTo>
                    <a:pt x="2276056" y="648353"/>
                    <a:pt x="2280186" y="683844"/>
                    <a:pt x="2283044" y="712047"/>
                  </a:cubicBezTo>
                  <a:cubicBezTo>
                    <a:pt x="2285268" y="734546"/>
                    <a:pt x="2286856" y="751975"/>
                    <a:pt x="2287491" y="761799"/>
                  </a:cubicBezTo>
                  <a:cubicBezTo>
                    <a:pt x="2300513" y="763700"/>
                    <a:pt x="2310042" y="765284"/>
                    <a:pt x="2312900" y="765601"/>
                  </a:cubicBezTo>
                  <a:cubicBezTo>
                    <a:pt x="2312900" y="765601"/>
                    <a:pt x="2312900" y="765601"/>
                    <a:pt x="2703889" y="758313"/>
                  </a:cubicBezTo>
                  <a:cubicBezTo>
                    <a:pt x="2703572" y="749440"/>
                    <a:pt x="2703254" y="741835"/>
                    <a:pt x="2702936" y="737398"/>
                  </a:cubicBezTo>
                  <a:cubicBezTo>
                    <a:pt x="2702619" y="728842"/>
                    <a:pt x="2702301" y="717751"/>
                    <a:pt x="2702301" y="705709"/>
                  </a:cubicBezTo>
                  <a:cubicBezTo>
                    <a:pt x="2702301" y="686379"/>
                    <a:pt x="2703254" y="665148"/>
                    <a:pt x="2707700" y="648353"/>
                  </a:cubicBezTo>
                  <a:cubicBezTo>
                    <a:pt x="2714053" y="624903"/>
                    <a:pt x="2740415" y="526034"/>
                    <a:pt x="2743274" y="507021"/>
                  </a:cubicBezTo>
                  <a:cubicBezTo>
                    <a:pt x="2743592" y="505436"/>
                    <a:pt x="2743909" y="501317"/>
                    <a:pt x="2743909" y="495930"/>
                  </a:cubicBezTo>
                  <a:cubicBezTo>
                    <a:pt x="2743909" y="478184"/>
                    <a:pt x="2742004" y="446812"/>
                    <a:pt x="2739780" y="420193"/>
                  </a:cubicBezTo>
                  <a:cubicBezTo>
                    <a:pt x="2738510" y="403715"/>
                    <a:pt x="2737239" y="388822"/>
                    <a:pt x="2736604" y="379949"/>
                  </a:cubicBezTo>
                  <a:cubicBezTo>
                    <a:pt x="2729934" y="379949"/>
                    <a:pt x="2723582" y="379949"/>
                    <a:pt x="2717547" y="379949"/>
                  </a:cubicBezTo>
                  <a:cubicBezTo>
                    <a:pt x="2705477" y="379949"/>
                    <a:pt x="2694996" y="379949"/>
                    <a:pt x="2686738" y="379632"/>
                  </a:cubicBezTo>
                  <a:cubicBezTo>
                    <a:pt x="2628614" y="377730"/>
                    <a:pt x="2513318" y="370759"/>
                    <a:pt x="2478698" y="371076"/>
                  </a:cubicBezTo>
                  <a:cubicBezTo>
                    <a:pt x="2476156" y="371076"/>
                    <a:pt x="2474251" y="371076"/>
                    <a:pt x="2472980" y="371076"/>
                  </a:cubicBezTo>
                  <a:close/>
                  <a:moveTo>
                    <a:pt x="4094107" y="346676"/>
                  </a:moveTo>
                  <a:cubicBezTo>
                    <a:pt x="4058851" y="353647"/>
                    <a:pt x="4019149" y="359034"/>
                    <a:pt x="3987387" y="367907"/>
                  </a:cubicBezTo>
                  <a:cubicBezTo>
                    <a:pt x="3932439" y="382801"/>
                    <a:pt x="3896866" y="399913"/>
                    <a:pt x="3888290" y="404983"/>
                  </a:cubicBezTo>
                  <a:cubicBezTo>
                    <a:pt x="3866692" y="417025"/>
                    <a:pt x="3750126" y="510823"/>
                    <a:pt x="3692954" y="550751"/>
                  </a:cubicBezTo>
                  <a:cubicBezTo>
                    <a:pt x="3678344" y="564377"/>
                    <a:pt x="3663416" y="578004"/>
                    <a:pt x="3648805" y="591630"/>
                  </a:cubicBezTo>
                  <a:cubicBezTo>
                    <a:pt x="3602750" y="634727"/>
                    <a:pt x="3558919" y="676239"/>
                    <a:pt x="3523663" y="708562"/>
                  </a:cubicBezTo>
                  <a:cubicBezTo>
                    <a:pt x="3506194" y="724723"/>
                    <a:pt x="3490631" y="738666"/>
                    <a:pt x="3477609" y="749757"/>
                  </a:cubicBezTo>
                  <a:cubicBezTo>
                    <a:pt x="3464904" y="760848"/>
                    <a:pt x="3455058" y="768770"/>
                    <a:pt x="3446482" y="773840"/>
                  </a:cubicBezTo>
                  <a:cubicBezTo>
                    <a:pt x="3439812" y="777643"/>
                    <a:pt x="3432824" y="780495"/>
                    <a:pt x="3422660" y="784298"/>
                  </a:cubicBezTo>
                  <a:cubicBezTo>
                    <a:pt x="3408685" y="789368"/>
                    <a:pt x="3389310" y="795706"/>
                    <a:pt x="3365807" y="802994"/>
                  </a:cubicBezTo>
                  <a:cubicBezTo>
                    <a:pt x="3375653" y="839753"/>
                    <a:pt x="3388040" y="885385"/>
                    <a:pt x="3399792" y="932284"/>
                  </a:cubicBezTo>
                  <a:cubicBezTo>
                    <a:pt x="3415990" y="931651"/>
                    <a:pt x="3532874" y="929115"/>
                    <a:pt x="3650393" y="926580"/>
                  </a:cubicBezTo>
                  <a:cubicBezTo>
                    <a:pt x="3776488" y="924045"/>
                    <a:pt x="3902583" y="921193"/>
                    <a:pt x="3902583" y="921193"/>
                  </a:cubicBezTo>
                  <a:cubicBezTo>
                    <a:pt x="3903218" y="921193"/>
                    <a:pt x="3903853" y="921193"/>
                    <a:pt x="3905124" y="921193"/>
                  </a:cubicBezTo>
                  <a:cubicBezTo>
                    <a:pt x="3911158" y="921193"/>
                    <a:pt x="3925451" y="921827"/>
                    <a:pt x="3941967" y="926580"/>
                  </a:cubicBezTo>
                  <a:cubicBezTo>
                    <a:pt x="3947049" y="914855"/>
                    <a:pt x="3958166" y="889188"/>
                    <a:pt x="3963248" y="878413"/>
                  </a:cubicBezTo>
                  <a:cubicBezTo>
                    <a:pt x="3964836" y="874611"/>
                    <a:pt x="3967377" y="871442"/>
                    <a:pt x="3971506" y="865421"/>
                  </a:cubicBezTo>
                  <a:cubicBezTo>
                    <a:pt x="3998821" y="828345"/>
                    <a:pt x="4087119" y="720603"/>
                    <a:pt x="4092836" y="713315"/>
                  </a:cubicBezTo>
                  <a:cubicBezTo>
                    <a:pt x="4096330" y="708245"/>
                    <a:pt x="4129045" y="659761"/>
                    <a:pt x="4154454" y="631241"/>
                  </a:cubicBezTo>
                  <a:cubicBezTo>
                    <a:pt x="4160489" y="624269"/>
                    <a:pt x="4167159" y="618882"/>
                    <a:pt x="4173829" y="614763"/>
                  </a:cubicBezTo>
                  <a:cubicBezTo>
                    <a:pt x="4172876" y="609692"/>
                    <a:pt x="4171288" y="599235"/>
                    <a:pt x="4169065" y="586560"/>
                  </a:cubicBezTo>
                  <a:cubicBezTo>
                    <a:pt x="4165889" y="568814"/>
                    <a:pt x="4161442" y="546315"/>
                    <a:pt x="4156678" y="528886"/>
                  </a:cubicBezTo>
                  <a:cubicBezTo>
                    <a:pt x="4148420" y="496247"/>
                    <a:pt x="4113799" y="398328"/>
                    <a:pt x="4094107" y="346676"/>
                  </a:cubicBezTo>
                  <a:close/>
                  <a:moveTo>
                    <a:pt x="3086620" y="301361"/>
                  </a:moveTo>
                  <a:cubicBezTo>
                    <a:pt x="3086620" y="301361"/>
                    <a:pt x="3086620" y="301361"/>
                    <a:pt x="3086302" y="301677"/>
                  </a:cubicBezTo>
                  <a:cubicBezTo>
                    <a:pt x="3078044" y="306748"/>
                    <a:pt x="3052635" y="324810"/>
                    <a:pt x="3028813" y="341605"/>
                  </a:cubicBezTo>
                  <a:cubicBezTo>
                    <a:pt x="3017061" y="349844"/>
                    <a:pt x="3005627" y="357767"/>
                    <a:pt x="2996734" y="363787"/>
                  </a:cubicBezTo>
                  <a:cubicBezTo>
                    <a:pt x="2992287" y="366956"/>
                    <a:pt x="2988476" y="369174"/>
                    <a:pt x="2985617" y="371076"/>
                  </a:cubicBezTo>
                  <a:cubicBezTo>
                    <a:pt x="2984029" y="372027"/>
                    <a:pt x="2982758" y="372977"/>
                    <a:pt x="2981806" y="373611"/>
                  </a:cubicBezTo>
                  <a:cubicBezTo>
                    <a:pt x="2981170" y="373928"/>
                    <a:pt x="2980535" y="374245"/>
                    <a:pt x="2979582" y="374562"/>
                  </a:cubicBezTo>
                  <a:cubicBezTo>
                    <a:pt x="2978947" y="374562"/>
                    <a:pt x="2978312" y="375195"/>
                    <a:pt x="2975136" y="375512"/>
                  </a:cubicBezTo>
                  <a:cubicBezTo>
                    <a:pt x="2974818" y="375512"/>
                    <a:pt x="2974183" y="375512"/>
                    <a:pt x="2973548" y="375195"/>
                  </a:cubicBezTo>
                  <a:cubicBezTo>
                    <a:pt x="2973230" y="375195"/>
                    <a:pt x="2972595" y="375195"/>
                    <a:pt x="2971642" y="375195"/>
                  </a:cubicBezTo>
                  <a:cubicBezTo>
                    <a:pt x="2950679" y="375195"/>
                    <a:pt x="2838560" y="378681"/>
                    <a:pt x="2757249" y="379949"/>
                  </a:cubicBezTo>
                  <a:cubicBezTo>
                    <a:pt x="2759472" y="404032"/>
                    <a:pt x="2764872" y="465825"/>
                    <a:pt x="2764872" y="495930"/>
                  </a:cubicBezTo>
                  <a:cubicBezTo>
                    <a:pt x="2764872" y="501634"/>
                    <a:pt x="2764554" y="506387"/>
                    <a:pt x="2763919" y="510190"/>
                  </a:cubicBezTo>
                  <a:cubicBezTo>
                    <a:pt x="2760425" y="532372"/>
                    <a:pt x="2734380" y="629340"/>
                    <a:pt x="2727710" y="653740"/>
                  </a:cubicBezTo>
                  <a:cubicBezTo>
                    <a:pt x="2724217" y="666732"/>
                    <a:pt x="2722946" y="687013"/>
                    <a:pt x="2722946" y="705709"/>
                  </a:cubicBezTo>
                  <a:cubicBezTo>
                    <a:pt x="2722946" y="717117"/>
                    <a:pt x="2723264" y="727892"/>
                    <a:pt x="2723899" y="736448"/>
                  </a:cubicBezTo>
                  <a:cubicBezTo>
                    <a:pt x="2724534" y="753560"/>
                    <a:pt x="2727710" y="812818"/>
                    <a:pt x="2728981" y="841971"/>
                  </a:cubicBezTo>
                  <a:cubicBezTo>
                    <a:pt x="2766778" y="832465"/>
                    <a:pt x="2900178" y="798874"/>
                    <a:pt x="3031672" y="765601"/>
                  </a:cubicBezTo>
                  <a:cubicBezTo>
                    <a:pt x="3178729" y="728525"/>
                    <a:pt x="3324199" y="692083"/>
                    <a:pt x="3332457" y="689865"/>
                  </a:cubicBezTo>
                  <a:cubicBezTo>
                    <a:pt x="3332457" y="689865"/>
                    <a:pt x="3332457" y="689865"/>
                    <a:pt x="3332774" y="689865"/>
                  </a:cubicBezTo>
                  <a:cubicBezTo>
                    <a:pt x="3334362" y="689231"/>
                    <a:pt x="3338809" y="687964"/>
                    <a:pt x="3343256" y="686379"/>
                  </a:cubicBezTo>
                  <a:cubicBezTo>
                    <a:pt x="3347385" y="684795"/>
                    <a:pt x="3351832" y="682260"/>
                    <a:pt x="3352467" y="681626"/>
                  </a:cubicBezTo>
                  <a:cubicBezTo>
                    <a:pt x="3353420" y="680675"/>
                    <a:pt x="3360407" y="674338"/>
                    <a:pt x="3370254" y="665148"/>
                  </a:cubicBezTo>
                  <a:cubicBezTo>
                    <a:pt x="3404874" y="631875"/>
                    <a:pt x="3482373" y="558040"/>
                    <a:pt x="3550978" y="492127"/>
                  </a:cubicBezTo>
                  <a:cubicBezTo>
                    <a:pt x="3562730" y="480719"/>
                    <a:pt x="3574165" y="469945"/>
                    <a:pt x="3584964" y="459488"/>
                  </a:cubicBezTo>
                  <a:cubicBezTo>
                    <a:pt x="3559237" y="437622"/>
                    <a:pt x="3467127" y="359668"/>
                    <a:pt x="3437589" y="331148"/>
                  </a:cubicBezTo>
                  <a:cubicBezTo>
                    <a:pt x="3422343" y="316254"/>
                    <a:pt x="3404556" y="308966"/>
                    <a:pt x="3390264" y="305163"/>
                  </a:cubicBezTo>
                  <a:cubicBezTo>
                    <a:pt x="3383276" y="303262"/>
                    <a:pt x="3377241" y="302311"/>
                    <a:pt x="3372794" y="301994"/>
                  </a:cubicBezTo>
                  <a:cubicBezTo>
                    <a:pt x="3370571" y="301677"/>
                    <a:pt x="3368983" y="301361"/>
                    <a:pt x="3368030" y="301361"/>
                  </a:cubicBezTo>
                  <a:cubicBezTo>
                    <a:pt x="3367395" y="301361"/>
                    <a:pt x="3367077" y="301361"/>
                    <a:pt x="3366760" y="301361"/>
                  </a:cubicBezTo>
                  <a:cubicBezTo>
                    <a:pt x="3366760" y="301361"/>
                    <a:pt x="3366760" y="301361"/>
                    <a:pt x="3366442" y="301361"/>
                  </a:cubicBezTo>
                  <a:cubicBezTo>
                    <a:pt x="3366442" y="301361"/>
                    <a:pt x="3199374" y="301361"/>
                    <a:pt x="3122193" y="301361"/>
                  </a:cubicBezTo>
                  <a:cubicBezTo>
                    <a:pt x="3104724" y="301361"/>
                    <a:pt x="3092019" y="301361"/>
                    <a:pt x="3086620" y="301361"/>
                  </a:cubicBezTo>
                  <a:close/>
                  <a:moveTo>
                    <a:pt x="4073144" y="282347"/>
                  </a:moveTo>
                  <a:cubicBezTo>
                    <a:pt x="4062980" y="282664"/>
                    <a:pt x="4052816" y="283298"/>
                    <a:pt x="4043288" y="283932"/>
                  </a:cubicBezTo>
                  <a:cubicBezTo>
                    <a:pt x="3997868" y="287101"/>
                    <a:pt x="3959754" y="292488"/>
                    <a:pt x="3930216" y="302628"/>
                  </a:cubicBezTo>
                  <a:cubicBezTo>
                    <a:pt x="3917193" y="307064"/>
                    <a:pt x="3903536" y="315304"/>
                    <a:pt x="3887337" y="326395"/>
                  </a:cubicBezTo>
                  <a:cubicBezTo>
                    <a:pt x="3871138" y="337486"/>
                    <a:pt x="3852716" y="351429"/>
                    <a:pt x="3833024" y="367590"/>
                  </a:cubicBezTo>
                  <a:cubicBezTo>
                    <a:pt x="3793004" y="399913"/>
                    <a:pt x="3746632" y="441425"/>
                    <a:pt x="3699306" y="484522"/>
                  </a:cubicBezTo>
                  <a:cubicBezTo>
                    <a:pt x="3604656" y="571032"/>
                    <a:pt x="3506512" y="665782"/>
                    <a:pt x="3454422" y="711413"/>
                  </a:cubicBezTo>
                  <a:cubicBezTo>
                    <a:pt x="3439494" y="724406"/>
                    <a:pt x="3428060" y="733596"/>
                    <a:pt x="3423614" y="736131"/>
                  </a:cubicBezTo>
                  <a:cubicBezTo>
                    <a:pt x="3422978" y="736448"/>
                    <a:pt x="3422343" y="736765"/>
                    <a:pt x="3420755" y="737398"/>
                  </a:cubicBezTo>
                  <a:cubicBezTo>
                    <a:pt x="3419167" y="738349"/>
                    <a:pt x="3416626" y="739300"/>
                    <a:pt x="3414085" y="740250"/>
                  </a:cubicBezTo>
                  <a:cubicBezTo>
                    <a:pt x="3408685" y="742469"/>
                    <a:pt x="3401698" y="745004"/>
                    <a:pt x="3392804" y="747856"/>
                  </a:cubicBezTo>
                  <a:cubicBezTo>
                    <a:pt x="3382323" y="751341"/>
                    <a:pt x="3368983" y="755778"/>
                    <a:pt x="3354372" y="760214"/>
                  </a:cubicBezTo>
                  <a:cubicBezTo>
                    <a:pt x="3357231" y="770988"/>
                    <a:pt x="3360725" y="783664"/>
                    <a:pt x="3364536" y="797924"/>
                  </a:cubicBezTo>
                  <a:cubicBezTo>
                    <a:pt x="3387722" y="790635"/>
                    <a:pt x="3407097" y="784298"/>
                    <a:pt x="3420755" y="779544"/>
                  </a:cubicBezTo>
                  <a:cubicBezTo>
                    <a:pt x="3430919" y="775742"/>
                    <a:pt x="3437589" y="772890"/>
                    <a:pt x="3443624" y="769404"/>
                  </a:cubicBezTo>
                  <a:cubicBezTo>
                    <a:pt x="3451882" y="764651"/>
                    <a:pt x="3461410" y="756728"/>
                    <a:pt x="3474432" y="745637"/>
                  </a:cubicBezTo>
                  <a:cubicBezTo>
                    <a:pt x="3487137" y="734863"/>
                    <a:pt x="3502700" y="720920"/>
                    <a:pt x="3520170" y="704759"/>
                  </a:cubicBezTo>
                  <a:cubicBezTo>
                    <a:pt x="3555425" y="672436"/>
                    <a:pt x="3598939" y="631241"/>
                    <a:pt x="3645312" y="587827"/>
                  </a:cubicBezTo>
                  <a:cubicBezTo>
                    <a:pt x="3659922" y="574201"/>
                    <a:pt x="3674532" y="560575"/>
                    <a:pt x="3689460" y="546632"/>
                  </a:cubicBezTo>
                  <a:cubicBezTo>
                    <a:pt x="3747267" y="506704"/>
                    <a:pt x="3862880" y="413222"/>
                    <a:pt x="3885749" y="400230"/>
                  </a:cubicBezTo>
                  <a:cubicBezTo>
                    <a:pt x="3894960" y="395159"/>
                    <a:pt x="3930851" y="378047"/>
                    <a:pt x="3985799" y="362837"/>
                  </a:cubicBezTo>
                  <a:cubicBezTo>
                    <a:pt x="4018196" y="353964"/>
                    <a:pt x="4057263" y="348577"/>
                    <a:pt x="4092201" y="341605"/>
                  </a:cubicBezTo>
                  <a:cubicBezTo>
                    <a:pt x="4091248" y="339387"/>
                    <a:pt x="4090613" y="337169"/>
                    <a:pt x="4089660" y="335268"/>
                  </a:cubicBezTo>
                  <a:cubicBezTo>
                    <a:pt x="4082037" y="315937"/>
                    <a:pt x="4076956" y="297558"/>
                    <a:pt x="4073144" y="282347"/>
                  </a:cubicBezTo>
                  <a:close/>
                  <a:moveTo>
                    <a:pt x="4066474" y="250025"/>
                  </a:moveTo>
                  <a:cubicBezTo>
                    <a:pt x="4002950" y="250342"/>
                    <a:pt x="3955942" y="250658"/>
                    <a:pt x="3946096" y="251292"/>
                  </a:cubicBezTo>
                  <a:cubicBezTo>
                    <a:pt x="3906712" y="252560"/>
                    <a:pt x="3874950" y="254144"/>
                    <a:pt x="3849858" y="265552"/>
                  </a:cubicBezTo>
                  <a:cubicBezTo>
                    <a:pt x="3838741" y="270305"/>
                    <a:pt x="3823178" y="282347"/>
                    <a:pt x="3810156" y="295023"/>
                  </a:cubicBezTo>
                  <a:cubicBezTo>
                    <a:pt x="3796816" y="307698"/>
                    <a:pt x="3785699" y="321324"/>
                    <a:pt x="3781252" y="327662"/>
                  </a:cubicBezTo>
                  <a:cubicBezTo>
                    <a:pt x="3776806" y="334000"/>
                    <a:pt x="3771088" y="340655"/>
                    <a:pt x="3764101" y="348260"/>
                  </a:cubicBezTo>
                  <a:cubicBezTo>
                    <a:pt x="3753937" y="359668"/>
                    <a:pt x="3741232" y="372660"/>
                    <a:pt x="3731386" y="383118"/>
                  </a:cubicBezTo>
                  <a:cubicBezTo>
                    <a:pt x="3726304" y="388188"/>
                    <a:pt x="3721858" y="392941"/>
                    <a:pt x="3718999" y="395793"/>
                  </a:cubicBezTo>
                  <a:cubicBezTo>
                    <a:pt x="3718046" y="397061"/>
                    <a:pt x="3717093" y="398011"/>
                    <a:pt x="3716458" y="398645"/>
                  </a:cubicBezTo>
                  <a:cubicBezTo>
                    <a:pt x="3716140" y="398962"/>
                    <a:pt x="3716140" y="399279"/>
                    <a:pt x="3715823" y="399279"/>
                  </a:cubicBezTo>
                  <a:cubicBezTo>
                    <a:pt x="3714235" y="401497"/>
                    <a:pt x="3714235" y="401497"/>
                    <a:pt x="3713600" y="402131"/>
                  </a:cubicBezTo>
                  <a:cubicBezTo>
                    <a:pt x="3711058" y="404666"/>
                    <a:pt x="3705341" y="410370"/>
                    <a:pt x="3695495" y="419877"/>
                  </a:cubicBezTo>
                  <a:cubicBezTo>
                    <a:pt x="3661828" y="452833"/>
                    <a:pt x="3586234" y="525083"/>
                    <a:pt x="3518264" y="590679"/>
                  </a:cubicBezTo>
                  <a:cubicBezTo>
                    <a:pt x="3484279" y="623319"/>
                    <a:pt x="3451882" y="654057"/>
                    <a:pt x="3427742" y="677190"/>
                  </a:cubicBezTo>
                  <a:cubicBezTo>
                    <a:pt x="3415673" y="688598"/>
                    <a:pt x="3405509" y="698421"/>
                    <a:pt x="3397886" y="705393"/>
                  </a:cubicBezTo>
                  <a:cubicBezTo>
                    <a:pt x="3394392" y="708878"/>
                    <a:pt x="3391216" y="711730"/>
                    <a:pt x="3388993" y="713949"/>
                  </a:cubicBezTo>
                  <a:cubicBezTo>
                    <a:pt x="3386452" y="716167"/>
                    <a:pt x="3385499" y="717117"/>
                    <a:pt x="3383911" y="718385"/>
                  </a:cubicBezTo>
                  <a:cubicBezTo>
                    <a:pt x="3374700" y="725990"/>
                    <a:pt x="3365807" y="729476"/>
                    <a:pt x="3358184" y="732328"/>
                  </a:cubicBezTo>
                  <a:cubicBezTo>
                    <a:pt x="3355008" y="733596"/>
                    <a:pt x="3352149" y="734229"/>
                    <a:pt x="3349926" y="735180"/>
                  </a:cubicBezTo>
                  <a:cubicBezTo>
                    <a:pt x="3349926" y="735180"/>
                    <a:pt x="3349926" y="735180"/>
                    <a:pt x="3349608" y="735497"/>
                  </a:cubicBezTo>
                  <a:cubicBezTo>
                    <a:pt x="3349608" y="735497"/>
                    <a:pt x="3349608" y="735497"/>
                    <a:pt x="3347702" y="735814"/>
                  </a:cubicBezTo>
                  <a:cubicBezTo>
                    <a:pt x="3348973" y="741201"/>
                    <a:pt x="3350879" y="747539"/>
                    <a:pt x="3352784" y="755144"/>
                  </a:cubicBezTo>
                  <a:cubicBezTo>
                    <a:pt x="3367712" y="750708"/>
                    <a:pt x="3380735" y="746588"/>
                    <a:pt x="3391216" y="742785"/>
                  </a:cubicBezTo>
                  <a:cubicBezTo>
                    <a:pt x="3399792" y="739933"/>
                    <a:pt x="3407097" y="737398"/>
                    <a:pt x="3412179" y="735497"/>
                  </a:cubicBezTo>
                  <a:cubicBezTo>
                    <a:pt x="3414720" y="734546"/>
                    <a:pt x="3416944" y="733596"/>
                    <a:pt x="3418532" y="732645"/>
                  </a:cubicBezTo>
                  <a:cubicBezTo>
                    <a:pt x="3419167" y="732328"/>
                    <a:pt x="3419802" y="732011"/>
                    <a:pt x="3420437" y="732011"/>
                  </a:cubicBezTo>
                  <a:cubicBezTo>
                    <a:pt x="3420437" y="731694"/>
                    <a:pt x="3420755" y="731694"/>
                    <a:pt x="3420755" y="731694"/>
                  </a:cubicBezTo>
                  <a:cubicBezTo>
                    <a:pt x="3420755" y="731694"/>
                    <a:pt x="3420755" y="731694"/>
                    <a:pt x="3421072" y="731694"/>
                  </a:cubicBezTo>
                  <a:cubicBezTo>
                    <a:pt x="3424566" y="729793"/>
                    <a:pt x="3436318" y="720286"/>
                    <a:pt x="3450929" y="707611"/>
                  </a:cubicBezTo>
                  <a:cubicBezTo>
                    <a:pt x="3503018" y="662296"/>
                    <a:pt x="3601162" y="567546"/>
                    <a:pt x="3695813" y="480719"/>
                  </a:cubicBezTo>
                  <a:cubicBezTo>
                    <a:pt x="3743138" y="437305"/>
                    <a:pt x="3789510" y="396110"/>
                    <a:pt x="3829530" y="363471"/>
                  </a:cubicBezTo>
                  <a:cubicBezTo>
                    <a:pt x="3849540" y="347309"/>
                    <a:pt x="3867962" y="333049"/>
                    <a:pt x="3884478" y="321958"/>
                  </a:cubicBezTo>
                  <a:cubicBezTo>
                    <a:pt x="3900677" y="310867"/>
                    <a:pt x="3914652" y="302628"/>
                    <a:pt x="3928310" y="297875"/>
                  </a:cubicBezTo>
                  <a:cubicBezTo>
                    <a:pt x="3958801" y="287417"/>
                    <a:pt x="3997233" y="282030"/>
                    <a:pt x="4042970" y="278545"/>
                  </a:cubicBezTo>
                  <a:cubicBezTo>
                    <a:pt x="4052181" y="277911"/>
                    <a:pt x="4062027" y="277594"/>
                    <a:pt x="4071874" y="276960"/>
                  </a:cubicBezTo>
                  <a:cubicBezTo>
                    <a:pt x="4069332" y="265552"/>
                    <a:pt x="4067427" y="256362"/>
                    <a:pt x="4066474" y="250025"/>
                  </a:cubicBezTo>
                  <a:close/>
                  <a:moveTo>
                    <a:pt x="1418168" y="209146"/>
                  </a:moveTo>
                  <a:cubicBezTo>
                    <a:pt x="1418168" y="209146"/>
                    <a:pt x="1418168" y="209146"/>
                    <a:pt x="1346069" y="349211"/>
                  </a:cubicBezTo>
                  <a:cubicBezTo>
                    <a:pt x="1344163" y="356499"/>
                    <a:pt x="1334317" y="393892"/>
                    <a:pt x="1321295" y="416074"/>
                  </a:cubicBezTo>
                  <a:cubicBezTo>
                    <a:pt x="1310496" y="433820"/>
                    <a:pt x="1302873" y="448080"/>
                    <a:pt x="1300332" y="452199"/>
                  </a:cubicBezTo>
                  <a:lnTo>
                    <a:pt x="1279051" y="559307"/>
                  </a:lnTo>
                  <a:cubicBezTo>
                    <a:pt x="1350515" y="590679"/>
                    <a:pt x="1414674" y="636945"/>
                    <a:pt x="1428332" y="647085"/>
                  </a:cubicBezTo>
                  <a:cubicBezTo>
                    <a:pt x="1428332" y="647085"/>
                    <a:pt x="1428332" y="647085"/>
                    <a:pt x="1696085" y="757362"/>
                  </a:cubicBezTo>
                  <a:cubicBezTo>
                    <a:pt x="1711966" y="762116"/>
                    <a:pt x="1868234" y="808381"/>
                    <a:pt x="1920959" y="824226"/>
                  </a:cubicBezTo>
                  <a:cubicBezTo>
                    <a:pt x="1946368" y="831514"/>
                    <a:pt x="1998775" y="845774"/>
                    <a:pt x="2051182" y="859083"/>
                  </a:cubicBezTo>
                  <a:cubicBezTo>
                    <a:pt x="2051182" y="859083"/>
                    <a:pt x="2051182" y="859083"/>
                    <a:pt x="2074686" y="777643"/>
                  </a:cubicBezTo>
                  <a:cubicBezTo>
                    <a:pt x="2074686" y="777643"/>
                    <a:pt x="2074686" y="777643"/>
                    <a:pt x="2075639" y="776059"/>
                  </a:cubicBezTo>
                  <a:cubicBezTo>
                    <a:pt x="2083897" y="764017"/>
                    <a:pt x="2095332" y="755778"/>
                    <a:pt x="2108672" y="751024"/>
                  </a:cubicBezTo>
                  <a:cubicBezTo>
                    <a:pt x="2122012" y="746588"/>
                    <a:pt x="2136940" y="745004"/>
                    <a:pt x="2154091" y="745004"/>
                  </a:cubicBezTo>
                  <a:cubicBezTo>
                    <a:pt x="2172195" y="745004"/>
                    <a:pt x="2211262" y="750391"/>
                    <a:pt x="2246836" y="755461"/>
                  </a:cubicBezTo>
                  <a:cubicBezTo>
                    <a:pt x="2253506" y="756412"/>
                    <a:pt x="2260176" y="757362"/>
                    <a:pt x="2266528" y="758313"/>
                  </a:cubicBezTo>
                  <a:cubicBezTo>
                    <a:pt x="2265893" y="748806"/>
                    <a:pt x="2264305" y="732962"/>
                    <a:pt x="2262399" y="713949"/>
                  </a:cubicBezTo>
                  <a:cubicBezTo>
                    <a:pt x="2254458" y="637895"/>
                    <a:pt x="2239530" y="508922"/>
                    <a:pt x="2236672" y="484522"/>
                  </a:cubicBezTo>
                  <a:cubicBezTo>
                    <a:pt x="2227778" y="477550"/>
                    <a:pt x="2215074" y="470896"/>
                    <a:pt x="2204275" y="460438"/>
                  </a:cubicBezTo>
                  <a:cubicBezTo>
                    <a:pt x="2186488" y="442059"/>
                    <a:pt x="2175689" y="422729"/>
                    <a:pt x="2175372" y="422095"/>
                  </a:cubicBezTo>
                  <a:cubicBezTo>
                    <a:pt x="2175372" y="422095"/>
                    <a:pt x="2175372" y="422095"/>
                    <a:pt x="2087073" y="263017"/>
                  </a:cubicBezTo>
                  <a:cubicBezTo>
                    <a:pt x="2069287" y="233546"/>
                    <a:pt x="2048324" y="227842"/>
                    <a:pt x="2030220" y="227526"/>
                  </a:cubicBezTo>
                  <a:cubicBezTo>
                    <a:pt x="2021644" y="227526"/>
                    <a:pt x="2013703" y="229110"/>
                    <a:pt x="2007986" y="230695"/>
                  </a:cubicBezTo>
                  <a:cubicBezTo>
                    <a:pt x="2005128" y="231645"/>
                    <a:pt x="2002904" y="232596"/>
                    <a:pt x="2001634" y="232913"/>
                  </a:cubicBezTo>
                  <a:cubicBezTo>
                    <a:pt x="2000681" y="233230"/>
                    <a:pt x="2000363" y="233546"/>
                    <a:pt x="2000046" y="233863"/>
                  </a:cubicBezTo>
                  <a:cubicBezTo>
                    <a:pt x="1999728" y="233863"/>
                    <a:pt x="1999728" y="233863"/>
                    <a:pt x="1999728" y="233863"/>
                  </a:cubicBezTo>
                  <a:cubicBezTo>
                    <a:pt x="1994011" y="237032"/>
                    <a:pt x="1925723" y="276960"/>
                    <a:pt x="1890785" y="295656"/>
                  </a:cubicBezTo>
                  <a:cubicBezTo>
                    <a:pt x="1858388" y="313402"/>
                    <a:pt x="1835519" y="323543"/>
                    <a:pt x="1801217" y="323543"/>
                  </a:cubicBezTo>
                  <a:cubicBezTo>
                    <a:pt x="1797405" y="323543"/>
                    <a:pt x="1793594" y="323226"/>
                    <a:pt x="1789465" y="323226"/>
                  </a:cubicBezTo>
                  <a:cubicBezTo>
                    <a:pt x="1747221" y="320691"/>
                    <a:pt x="1654159" y="292171"/>
                    <a:pt x="1562367" y="264918"/>
                  </a:cubicBezTo>
                  <a:cubicBezTo>
                    <a:pt x="1488680" y="243053"/>
                    <a:pt x="1436590" y="218653"/>
                    <a:pt x="1418168" y="209146"/>
                  </a:cubicBezTo>
                  <a:close/>
                  <a:moveTo>
                    <a:pt x="3414085" y="53871"/>
                  </a:moveTo>
                  <a:cubicBezTo>
                    <a:pt x="3408685" y="55772"/>
                    <a:pt x="3365489" y="71300"/>
                    <a:pt x="3365172" y="71617"/>
                  </a:cubicBezTo>
                  <a:cubicBezTo>
                    <a:pt x="3365172" y="71617"/>
                    <a:pt x="3365172" y="71617"/>
                    <a:pt x="3364854" y="71617"/>
                  </a:cubicBezTo>
                  <a:lnTo>
                    <a:pt x="3125052" y="76687"/>
                  </a:lnTo>
                  <a:cubicBezTo>
                    <a:pt x="3128546" y="161613"/>
                    <a:pt x="3132357" y="250658"/>
                    <a:pt x="3132674" y="280446"/>
                  </a:cubicBezTo>
                  <a:cubicBezTo>
                    <a:pt x="3132674" y="280446"/>
                    <a:pt x="3132674" y="280446"/>
                    <a:pt x="3366442" y="280446"/>
                  </a:cubicBezTo>
                  <a:cubicBezTo>
                    <a:pt x="3367712" y="280763"/>
                    <a:pt x="3414720" y="280446"/>
                    <a:pt x="3452199" y="316254"/>
                  </a:cubicBezTo>
                  <a:cubicBezTo>
                    <a:pt x="3468715" y="332099"/>
                    <a:pt x="3507147" y="365689"/>
                    <a:pt x="3541132" y="394842"/>
                  </a:cubicBezTo>
                  <a:cubicBezTo>
                    <a:pt x="3566860" y="416708"/>
                    <a:pt x="3590046" y="436355"/>
                    <a:pt x="3599892" y="444911"/>
                  </a:cubicBezTo>
                  <a:cubicBezTo>
                    <a:pt x="3615455" y="430334"/>
                    <a:pt x="3629430" y="416708"/>
                    <a:pt x="3641182" y="405300"/>
                  </a:cubicBezTo>
                  <a:cubicBezTo>
                    <a:pt x="3652934" y="393892"/>
                    <a:pt x="3662463" y="384702"/>
                    <a:pt x="3669133" y="378047"/>
                  </a:cubicBezTo>
                  <a:cubicBezTo>
                    <a:pt x="3672309" y="374878"/>
                    <a:pt x="3674850" y="372343"/>
                    <a:pt x="3676756" y="370759"/>
                  </a:cubicBezTo>
                  <a:cubicBezTo>
                    <a:pt x="3676756" y="370442"/>
                    <a:pt x="3677073" y="370442"/>
                    <a:pt x="3677391" y="370125"/>
                  </a:cubicBezTo>
                  <a:cubicBezTo>
                    <a:pt x="3679296" y="367273"/>
                    <a:pt x="3680250" y="366323"/>
                    <a:pt x="3682473" y="364104"/>
                  </a:cubicBezTo>
                  <a:cubicBezTo>
                    <a:pt x="3688825" y="357450"/>
                    <a:pt x="3701530" y="344457"/>
                    <a:pt x="3713917" y="331148"/>
                  </a:cubicBezTo>
                  <a:cubicBezTo>
                    <a:pt x="3719634" y="325127"/>
                    <a:pt x="3725351" y="319106"/>
                    <a:pt x="3730116" y="313719"/>
                  </a:cubicBezTo>
                  <a:cubicBezTo>
                    <a:pt x="3716776" y="292488"/>
                    <a:pt x="3674215" y="213583"/>
                    <a:pt x="3673262" y="80173"/>
                  </a:cubicBezTo>
                  <a:cubicBezTo>
                    <a:pt x="3673262" y="72251"/>
                    <a:pt x="3673262" y="64962"/>
                    <a:pt x="3672944" y="57357"/>
                  </a:cubicBezTo>
                  <a:cubicBezTo>
                    <a:pt x="3672944" y="57357"/>
                    <a:pt x="3672944" y="57357"/>
                    <a:pt x="3461728" y="54505"/>
                  </a:cubicBezTo>
                  <a:cubicBezTo>
                    <a:pt x="3461728" y="54505"/>
                    <a:pt x="3461728" y="54505"/>
                    <a:pt x="3458234" y="54822"/>
                  </a:cubicBezTo>
                  <a:cubicBezTo>
                    <a:pt x="3458234" y="54822"/>
                    <a:pt x="3458234" y="54822"/>
                    <a:pt x="3458234" y="54505"/>
                  </a:cubicBezTo>
                  <a:cubicBezTo>
                    <a:pt x="3458234" y="54505"/>
                    <a:pt x="3458234" y="54505"/>
                    <a:pt x="3414085" y="53871"/>
                  </a:cubicBezTo>
                  <a:close/>
                  <a:moveTo>
                    <a:pt x="3341032" y="0"/>
                  </a:moveTo>
                  <a:cubicBezTo>
                    <a:pt x="3345479" y="0"/>
                    <a:pt x="3345479" y="0"/>
                    <a:pt x="3345479" y="0"/>
                  </a:cubicBezTo>
                  <a:cubicBezTo>
                    <a:pt x="3351832" y="66863"/>
                    <a:pt x="3351832" y="66863"/>
                    <a:pt x="3351832" y="66863"/>
                  </a:cubicBezTo>
                  <a:lnTo>
                    <a:pt x="3347385" y="67497"/>
                  </a:lnTo>
                  <a:cubicBezTo>
                    <a:pt x="3341032" y="0"/>
                    <a:pt x="3341032" y="0"/>
                    <a:pt x="3341032" y="0"/>
                  </a:cubicBezTo>
                  <a:close/>
                  <a:moveTo>
                    <a:pt x="3287355" y="0"/>
                  </a:moveTo>
                  <a:cubicBezTo>
                    <a:pt x="3291802" y="0"/>
                    <a:pt x="3291802" y="0"/>
                    <a:pt x="3291802" y="0"/>
                  </a:cubicBezTo>
                  <a:cubicBezTo>
                    <a:pt x="3294342" y="68448"/>
                    <a:pt x="3294342" y="68448"/>
                    <a:pt x="3294342" y="68448"/>
                  </a:cubicBezTo>
                  <a:lnTo>
                    <a:pt x="3290825" y="68718"/>
                  </a:lnTo>
                  <a:lnTo>
                    <a:pt x="3290213" y="68731"/>
                  </a:lnTo>
                  <a:lnTo>
                    <a:pt x="3288561" y="29010"/>
                  </a:lnTo>
                  <a:cubicBezTo>
                    <a:pt x="3287355" y="0"/>
                    <a:pt x="3287355" y="0"/>
                    <a:pt x="3287355" y="0"/>
                  </a:cubicBezTo>
                  <a:close/>
                  <a:moveTo>
                    <a:pt x="708608" y="0"/>
                  </a:moveTo>
                  <a:cubicBezTo>
                    <a:pt x="708608" y="0"/>
                    <a:pt x="708608" y="0"/>
                    <a:pt x="758156" y="0"/>
                  </a:cubicBezTo>
                  <a:cubicBezTo>
                    <a:pt x="758156" y="0"/>
                    <a:pt x="758156" y="0"/>
                    <a:pt x="822633" y="314036"/>
                  </a:cubicBezTo>
                  <a:cubicBezTo>
                    <a:pt x="822633" y="314036"/>
                    <a:pt x="822633" y="314036"/>
                    <a:pt x="822951" y="314670"/>
                  </a:cubicBezTo>
                  <a:cubicBezTo>
                    <a:pt x="822951" y="314670"/>
                    <a:pt x="823268" y="317839"/>
                    <a:pt x="824539" y="323543"/>
                  </a:cubicBezTo>
                  <a:cubicBezTo>
                    <a:pt x="826127" y="331782"/>
                    <a:pt x="828668" y="345091"/>
                    <a:pt x="831844" y="358083"/>
                  </a:cubicBezTo>
                  <a:cubicBezTo>
                    <a:pt x="835020" y="370759"/>
                    <a:pt x="839149" y="384068"/>
                    <a:pt x="842325" y="390089"/>
                  </a:cubicBezTo>
                  <a:cubicBezTo>
                    <a:pt x="845184" y="396110"/>
                    <a:pt x="851536" y="402448"/>
                    <a:pt x="860430" y="407835"/>
                  </a:cubicBezTo>
                  <a:cubicBezTo>
                    <a:pt x="869641" y="413222"/>
                    <a:pt x="880122" y="417341"/>
                    <a:pt x="889333" y="420510"/>
                  </a:cubicBezTo>
                  <a:cubicBezTo>
                    <a:pt x="907437" y="427165"/>
                    <a:pt x="1151686" y="514943"/>
                    <a:pt x="1239667" y="544097"/>
                  </a:cubicBezTo>
                  <a:cubicBezTo>
                    <a:pt x="1246337" y="546315"/>
                    <a:pt x="1252689" y="548533"/>
                    <a:pt x="1259359" y="551068"/>
                  </a:cubicBezTo>
                  <a:cubicBezTo>
                    <a:pt x="1259359" y="551068"/>
                    <a:pt x="1259359" y="551068"/>
                    <a:pt x="1280639" y="445228"/>
                  </a:cubicBezTo>
                  <a:cubicBezTo>
                    <a:pt x="1280639" y="445228"/>
                    <a:pt x="1280639" y="445228"/>
                    <a:pt x="1281275" y="443960"/>
                  </a:cubicBezTo>
                  <a:cubicBezTo>
                    <a:pt x="1281275" y="443643"/>
                    <a:pt x="1290168" y="427165"/>
                    <a:pt x="1303508" y="405300"/>
                  </a:cubicBezTo>
                  <a:cubicBezTo>
                    <a:pt x="1309225" y="395793"/>
                    <a:pt x="1315260" y="379949"/>
                    <a:pt x="1319389" y="366639"/>
                  </a:cubicBezTo>
                  <a:cubicBezTo>
                    <a:pt x="1323518" y="353330"/>
                    <a:pt x="1326376" y="342873"/>
                    <a:pt x="1326376" y="342873"/>
                  </a:cubicBezTo>
                  <a:cubicBezTo>
                    <a:pt x="1326376" y="342873"/>
                    <a:pt x="1326376" y="342873"/>
                    <a:pt x="1326376" y="341605"/>
                  </a:cubicBezTo>
                  <a:cubicBezTo>
                    <a:pt x="1326376" y="341605"/>
                    <a:pt x="1326376" y="341605"/>
                    <a:pt x="1402287" y="195203"/>
                  </a:cubicBezTo>
                  <a:cubicBezTo>
                    <a:pt x="1402287" y="195203"/>
                    <a:pt x="1402287" y="195203"/>
                    <a:pt x="1394664" y="18696"/>
                  </a:cubicBezTo>
                  <a:cubicBezTo>
                    <a:pt x="1394664" y="18696"/>
                    <a:pt x="1394664" y="18696"/>
                    <a:pt x="1378148" y="0"/>
                  </a:cubicBezTo>
                  <a:cubicBezTo>
                    <a:pt x="1378148" y="0"/>
                    <a:pt x="1378148" y="0"/>
                    <a:pt x="1406099" y="0"/>
                  </a:cubicBezTo>
                  <a:cubicBezTo>
                    <a:pt x="1406099" y="0"/>
                    <a:pt x="1406099" y="0"/>
                    <a:pt x="1409593" y="4120"/>
                  </a:cubicBezTo>
                  <a:cubicBezTo>
                    <a:pt x="1431191" y="3169"/>
                    <a:pt x="1450565" y="1585"/>
                    <a:pt x="1468670" y="0"/>
                  </a:cubicBezTo>
                  <a:cubicBezTo>
                    <a:pt x="1468670" y="0"/>
                    <a:pt x="1468670" y="0"/>
                    <a:pt x="1595717" y="0"/>
                  </a:cubicBezTo>
                  <a:cubicBezTo>
                    <a:pt x="1569355" y="7288"/>
                    <a:pt x="1510278" y="20281"/>
                    <a:pt x="1415945" y="24717"/>
                  </a:cubicBezTo>
                  <a:cubicBezTo>
                    <a:pt x="1415945" y="24717"/>
                    <a:pt x="1415945" y="24717"/>
                    <a:pt x="1422615" y="188231"/>
                  </a:cubicBezTo>
                  <a:cubicBezTo>
                    <a:pt x="1424203" y="188865"/>
                    <a:pt x="1427062" y="190450"/>
                    <a:pt x="1430873" y="192351"/>
                  </a:cubicBezTo>
                  <a:cubicBezTo>
                    <a:pt x="1451201" y="202491"/>
                    <a:pt x="1500432" y="224991"/>
                    <a:pt x="1568402" y="245271"/>
                  </a:cubicBezTo>
                  <a:cubicBezTo>
                    <a:pt x="1618268" y="260165"/>
                    <a:pt x="1669405" y="275376"/>
                    <a:pt x="1711330" y="286150"/>
                  </a:cubicBezTo>
                  <a:cubicBezTo>
                    <a:pt x="1713554" y="278861"/>
                    <a:pt x="1716730" y="267453"/>
                    <a:pt x="1719906" y="255095"/>
                  </a:cubicBezTo>
                  <a:cubicBezTo>
                    <a:pt x="1725623" y="234497"/>
                    <a:pt x="1731340" y="209780"/>
                    <a:pt x="1731658" y="201224"/>
                  </a:cubicBezTo>
                  <a:cubicBezTo>
                    <a:pt x="1732611" y="178091"/>
                    <a:pt x="1738010" y="168584"/>
                    <a:pt x="1744045" y="152423"/>
                  </a:cubicBezTo>
                  <a:cubicBezTo>
                    <a:pt x="1746586" y="146719"/>
                    <a:pt x="1750080" y="143867"/>
                    <a:pt x="1754844" y="139431"/>
                  </a:cubicBezTo>
                  <a:cubicBezTo>
                    <a:pt x="1770725" y="124854"/>
                    <a:pt x="1803440" y="103306"/>
                    <a:pt x="1832978" y="84926"/>
                  </a:cubicBezTo>
                  <a:cubicBezTo>
                    <a:pt x="1847907" y="75736"/>
                    <a:pt x="1861564" y="67180"/>
                    <a:pt x="1871728" y="61159"/>
                  </a:cubicBezTo>
                  <a:cubicBezTo>
                    <a:pt x="1875857" y="58941"/>
                    <a:pt x="1879351" y="56723"/>
                    <a:pt x="1891420" y="49435"/>
                  </a:cubicBezTo>
                  <a:cubicBezTo>
                    <a:pt x="1891420" y="49435"/>
                    <a:pt x="1891420" y="49435"/>
                    <a:pt x="1902537" y="67180"/>
                  </a:cubicBezTo>
                  <a:cubicBezTo>
                    <a:pt x="1881574" y="79539"/>
                    <a:pt x="1853624" y="96334"/>
                    <a:pt x="1826626" y="113446"/>
                  </a:cubicBezTo>
                  <a:cubicBezTo>
                    <a:pt x="1810745" y="123903"/>
                    <a:pt x="1794864" y="134677"/>
                    <a:pt x="1782795" y="143550"/>
                  </a:cubicBezTo>
                  <a:cubicBezTo>
                    <a:pt x="1776760" y="147987"/>
                    <a:pt x="1771678" y="152106"/>
                    <a:pt x="1768184" y="155275"/>
                  </a:cubicBezTo>
                  <a:cubicBezTo>
                    <a:pt x="1766596" y="156860"/>
                    <a:pt x="1765008" y="158127"/>
                    <a:pt x="1764373" y="159078"/>
                  </a:cubicBezTo>
                  <a:cubicBezTo>
                    <a:pt x="1764055" y="159712"/>
                    <a:pt x="1763738" y="160028"/>
                    <a:pt x="1763420" y="160028"/>
                  </a:cubicBezTo>
                  <a:cubicBezTo>
                    <a:pt x="1756750" y="178408"/>
                    <a:pt x="1753574" y="182211"/>
                    <a:pt x="1752303" y="202175"/>
                  </a:cubicBezTo>
                  <a:cubicBezTo>
                    <a:pt x="1751668" y="215484"/>
                    <a:pt x="1745633" y="238934"/>
                    <a:pt x="1740234" y="260482"/>
                  </a:cubicBezTo>
                  <a:cubicBezTo>
                    <a:pt x="1737058" y="272841"/>
                    <a:pt x="1733881" y="283932"/>
                    <a:pt x="1731658" y="291537"/>
                  </a:cubicBezTo>
                  <a:cubicBezTo>
                    <a:pt x="1756750" y="297558"/>
                    <a:pt x="1777395" y="301677"/>
                    <a:pt x="1790418" y="302311"/>
                  </a:cubicBezTo>
                  <a:cubicBezTo>
                    <a:pt x="1794229" y="302628"/>
                    <a:pt x="1797723" y="302628"/>
                    <a:pt x="1801217" y="302628"/>
                  </a:cubicBezTo>
                  <a:cubicBezTo>
                    <a:pt x="1831390" y="302628"/>
                    <a:pt x="1848542" y="295023"/>
                    <a:pt x="1880939" y="277594"/>
                  </a:cubicBezTo>
                  <a:cubicBezTo>
                    <a:pt x="1916512" y="257947"/>
                    <a:pt x="1989564" y="215801"/>
                    <a:pt x="1989564" y="215801"/>
                  </a:cubicBezTo>
                  <a:cubicBezTo>
                    <a:pt x="1989564" y="215801"/>
                    <a:pt x="1989564" y="215801"/>
                    <a:pt x="1989882" y="215484"/>
                  </a:cubicBezTo>
                  <a:cubicBezTo>
                    <a:pt x="1989882" y="215484"/>
                    <a:pt x="1989882" y="215484"/>
                    <a:pt x="1990200" y="215484"/>
                  </a:cubicBezTo>
                  <a:cubicBezTo>
                    <a:pt x="1991152" y="214850"/>
                    <a:pt x="2007669" y="206611"/>
                    <a:pt x="2030220" y="206611"/>
                  </a:cubicBezTo>
                  <a:cubicBezTo>
                    <a:pt x="2053723" y="206294"/>
                    <a:pt x="2084532" y="216751"/>
                    <a:pt x="2105178" y="252877"/>
                  </a:cubicBezTo>
                  <a:cubicBezTo>
                    <a:pt x="2105178" y="252877"/>
                    <a:pt x="2105178" y="252877"/>
                    <a:pt x="2193793" y="412271"/>
                  </a:cubicBezTo>
                  <a:cubicBezTo>
                    <a:pt x="2193793" y="412271"/>
                    <a:pt x="2194111" y="413222"/>
                    <a:pt x="2195382" y="415123"/>
                  </a:cubicBezTo>
                  <a:cubicBezTo>
                    <a:pt x="2198875" y="420510"/>
                    <a:pt x="2207451" y="433820"/>
                    <a:pt x="2219203" y="445861"/>
                  </a:cubicBezTo>
                  <a:cubicBezTo>
                    <a:pt x="2224285" y="450932"/>
                    <a:pt x="2231590" y="455685"/>
                    <a:pt x="2239530" y="461072"/>
                  </a:cubicBezTo>
                  <a:cubicBezTo>
                    <a:pt x="2239848" y="458537"/>
                    <a:pt x="2240483" y="456319"/>
                    <a:pt x="2240801" y="453784"/>
                  </a:cubicBezTo>
                  <a:cubicBezTo>
                    <a:pt x="2242071" y="447763"/>
                    <a:pt x="2243024" y="441425"/>
                    <a:pt x="2243977" y="436355"/>
                  </a:cubicBezTo>
                  <a:cubicBezTo>
                    <a:pt x="2244612" y="433503"/>
                    <a:pt x="2244930" y="430651"/>
                    <a:pt x="2245248" y="429066"/>
                  </a:cubicBezTo>
                  <a:cubicBezTo>
                    <a:pt x="2244930" y="428116"/>
                    <a:pt x="2244612" y="427482"/>
                    <a:pt x="2244612" y="426848"/>
                  </a:cubicBezTo>
                  <a:cubicBezTo>
                    <a:pt x="2244295" y="425897"/>
                    <a:pt x="2244295" y="424947"/>
                    <a:pt x="2244295" y="423996"/>
                  </a:cubicBezTo>
                  <a:cubicBezTo>
                    <a:pt x="2244295" y="419243"/>
                    <a:pt x="2245565" y="413856"/>
                    <a:pt x="2248424" y="407835"/>
                  </a:cubicBezTo>
                  <a:cubicBezTo>
                    <a:pt x="2251600" y="402131"/>
                    <a:pt x="2257317" y="395476"/>
                    <a:pt x="2266846" y="393892"/>
                  </a:cubicBezTo>
                  <a:cubicBezTo>
                    <a:pt x="2273198" y="392941"/>
                    <a:pt x="2291620" y="389455"/>
                    <a:pt x="2310677" y="385653"/>
                  </a:cubicBezTo>
                  <a:cubicBezTo>
                    <a:pt x="2329734" y="381850"/>
                    <a:pt x="2349744" y="377097"/>
                    <a:pt x="2357367" y="373928"/>
                  </a:cubicBezTo>
                  <a:cubicBezTo>
                    <a:pt x="2375789" y="366639"/>
                    <a:pt x="2427243" y="355231"/>
                    <a:pt x="2458688" y="351429"/>
                  </a:cubicBezTo>
                  <a:cubicBezTo>
                    <a:pt x="2458688" y="351429"/>
                    <a:pt x="2458688" y="351429"/>
                    <a:pt x="2461864" y="187915"/>
                  </a:cubicBezTo>
                  <a:cubicBezTo>
                    <a:pt x="2461864" y="187915"/>
                    <a:pt x="2461864" y="187915"/>
                    <a:pt x="2410409" y="87144"/>
                  </a:cubicBezTo>
                  <a:cubicBezTo>
                    <a:pt x="2408186" y="83342"/>
                    <a:pt x="2385953" y="46266"/>
                    <a:pt x="2363720" y="8873"/>
                  </a:cubicBezTo>
                  <a:cubicBezTo>
                    <a:pt x="2362131" y="6021"/>
                    <a:pt x="2360226" y="3169"/>
                    <a:pt x="2358638" y="0"/>
                  </a:cubicBezTo>
                  <a:cubicBezTo>
                    <a:pt x="2358638" y="0"/>
                    <a:pt x="2358638" y="0"/>
                    <a:pt x="2382776" y="0"/>
                  </a:cubicBezTo>
                  <a:cubicBezTo>
                    <a:pt x="2405963" y="38660"/>
                    <a:pt x="2428514" y="76687"/>
                    <a:pt x="2428514" y="76687"/>
                  </a:cubicBezTo>
                  <a:cubicBezTo>
                    <a:pt x="2428514" y="76687"/>
                    <a:pt x="2428514" y="76687"/>
                    <a:pt x="2428831" y="77004"/>
                  </a:cubicBezTo>
                  <a:cubicBezTo>
                    <a:pt x="2428831" y="77004"/>
                    <a:pt x="2428831" y="77004"/>
                    <a:pt x="2482826" y="183161"/>
                  </a:cubicBezTo>
                  <a:cubicBezTo>
                    <a:pt x="2482826" y="183161"/>
                    <a:pt x="2482826" y="183161"/>
                    <a:pt x="2479650" y="350161"/>
                  </a:cubicBezTo>
                  <a:cubicBezTo>
                    <a:pt x="2516812" y="350161"/>
                    <a:pt x="2630202" y="356816"/>
                    <a:pt x="2687690" y="359034"/>
                  </a:cubicBezTo>
                  <a:cubicBezTo>
                    <a:pt x="2695314" y="359351"/>
                    <a:pt x="2705477" y="359351"/>
                    <a:pt x="2717547" y="359351"/>
                  </a:cubicBezTo>
                  <a:cubicBezTo>
                    <a:pt x="2795364" y="359351"/>
                    <a:pt x="2945915" y="354598"/>
                    <a:pt x="2971642" y="354598"/>
                  </a:cubicBezTo>
                  <a:cubicBezTo>
                    <a:pt x="2971960" y="354598"/>
                    <a:pt x="2972595" y="354598"/>
                    <a:pt x="2973230" y="354598"/>
                  </a:cubicBezTo>
                  <a:cubicBezTo>
                    <a:pt x="2980535" y="350161"/>
                    <a:pt x="3005945" y="332416"/>
                    <a:pt x="3028813" y="315937"/>
                  </a:cubicBezTo>
                  <a:cubicBezTo>
                    <a:pt x="3041200" y="307381"/>
                    <a:pt x="3053270" y="299142"/>
                    <a:pt x="3062163" y="292805"/>
                  </a:cubicBezTo>
                  <a:cubicBezTo>
                    <a:pt x="3066928" y="289636"/>
                    <a:pt x="3070739" y="287101"/>
                    <a:pt x="3073598" y="285199"/>
                  </a:cubicBezTo>
                  <a:cubicBezTo>
                    <a:pt x="3074868" y="284249"/>
                    <a:pt x="3076138" y="283298"/>
                    <a:pt x="3077409" y="282664"/>
                  </a:cubicBezTo>
                  <a:cubicBezTo>
                    <a:pt x="3077726" y="282347"/>
                    <a:pt x="3078362" y="282030"/>
                    <a:pt x="3078997" y="281713"/>
                  </a:cubicBezTo>
                  <a:cubicBezTo>
                    <a:pt x="3079950" y="281713"/>
                    <a:pt x="3079950" y="280763"/>
                    <a:pt x="3084079" y="280446"/>
                  </a:cubicBezTo>
                  <a:cubicBezTo>
                    <a:pt x="3084079" y="280446"/>
                    <a:pt x="3084079" y="280446"/>
                    <a:pt x="3112029" y="280446"/>
                  </a:cubicBezTo>
                  <a:cubicBezTo>
                    <a:pt x="3111394" y="251292"/>
                    <a:pt x="3107900" y="161613"/>
                    <a:pt x="3104406" y="76687"/>
                  </a:cubicBezTo>
                  <a:cubicBezTo>
                    <a:pt x="3103136" y="50068"/>
                    <a:pt x="3102183" y="23767"/>
                    <a:pt x="3100913" y="0"/>
                  </a:cubicBezTo>
                  <a:cubicBezTo>
                    <a:pt x="3100913" y="0"/>
                    <a:pt x="3100913" y="0"/>
                    <a:pt x="3121876" y="0"/>
                  </a:cubicBezTo>
                  <a:cubicBezTo>
                    <a:pt x="3122828" y="22499"/>
                    <a:pt x="3123781" y="47216"/>
                    <a:pt x="3125052" y="72251"/>
                  </a:cubicBezTo>
                  <a:cubicBezTo>
                    <a:pt x="3125052" y="72251"/>
                    <a:pt x="3125052" y="72251"/>
                    <a:pt x="3174283" y="71300"/>
                  </a:cubicBezTo>
                  <a:cubicBezTo>
                    <a:pt x="3174283" y="71300"/>
                    <a:pt x="3174283" y="71300"/>
                    <a:pt x="3170154" y="0"/>
                  </a:cubicBezTo>
                  <a:cubicBezTo>
                    <a:pt x="3170154" y="0"/>
                    <a:pt x="3170154" y="0"/>
                    <a:pt x="3174600" y="0"/>
                  </a:cubicBezTo>
                  <a:cubicBezTo>
                    <a:pt x="3174600" y="0"/>
                    <a:pt x="3174600" y="0"/>
                    <a:pt x="3178729" y="71300"/>
                  </a:cubicBezTo>
                  <a:cubicBezTo>
                    <a:pt x="3178729" y="71300"/>
                    <a:pt x="3178729" y="71300"/>
                    <a:pt x="3238759" y="69715"/>
                  </a:cubicBezTo>
                  <a:cubicBezTo>
                    <a:pt x="3238759" y="69715"/>
                    <a:pt x="3238759" y="69715"/>
                    <a:pt x="3233995" y="0"/>
                  </a:cubicBezTo>
                  <a:cubicBezTo>
                    <a:pt x="3233995" y="0"/>
                    <a:pt x="3233995" y="0"/>
                    <a:pt x="3238442" y="0"/>
                  </a:cubicBezTo>
                  <a:cubicBezTo>
                    <a:pt x="3238442" y="0"/>
                    <a:pt x="3238442" y="0"/>
                    <a:pt x="3243206" y="69715"/>
                  </a:cubicBezTo>
                  <a:cubicBezTo>
                    <a:pt x="3243206" y="69715"/>
                    <a:pt x="3243206" y="69715"/>
                    <a:pt x="3272750" y="69097"/>
                  </a:cubicBezTo>
                  <a:lnTo>
                    <a:pt x="3290213" y="68731"/>
                  </a:lnTo>
                  <a:lnTo>
                    <a:pt x="3290214" y="68765"/>
                  </a:lnTo>
                  <a:lnTo>
                    <a:pt x="3290825" y="68718"/>
                  </a:lnTo>
                  <a:lnTo>
                    <a:pt x="3294258" y="68646"/>
                  </a:lnTo>
                  <a:cubicBezTo>
                    <a:pt x="3311276" y="68289"/>
                    <a:pt x="3333966" y="67814"/>
                    <a:pt x="3364219" y="67180"/>
                  </a:cubicBezTo>
                  <a:cubicBezTo>
                    <a:pt x="3367712" y="65913"/>
                    <a:pt x="3403604" y="52920"/>
                    <a:pt x="3411226" y="50068"/>
                  </a:cubicBezTo>
                  <a:cubicBezTo>
                    <a:pt x="3411226" y="50068"/>
                    <a:pt x="3411226" y="50068"/>
                    <a:pt x="3403286" y="0"/>
                  </a:cubicBezTo>
                  <a:cubicBezTo>
                    <a:pt x="3403286" y="0"/>
                    <a:pt x="3403286" y="0"/>
                    <a:pt x="3407732" y="0"/>
                  </a:cubicBezTo>
                  <a:cubicBezTo>
                    <a:pt x="3407732" y="0"/>
                    <a:pt x="3407732" y="0"/>
                    <a:pt x="3415673" y="49435"/>
                  </a:cubicBezTo>
                  <a:cubicBezTo>
                    <a:pt x="3415673" y="49435"/>
                    <a:pt x="3415673" y="49435"/>
                    <a:pt x="3457916" y="50068"/>
                  </a:cubicBezTo>
                  <a:cubicBezTo>
                    <a:pt x="3457916" y="50068"/>
                    <a:pt x="3457916" y="50068"/>
                    <a:pt x="3455058" y="0"/>
                  </a:cubicBezTo>
                  <a:cubicBezTo>
                    <a:pt x="3455058" y="0"/>
                    <a:pt x="3455058" y="0"/>
                    <a:pt x="3459504" y="0"/>
                  </a:cubicBezTo>
                  <a:cubicBezTo>
                    <a:pt x="3459504" y="0"/>
                    <a:pt x="3459504" y="0"/>
                    <a:pt x="3462363" y="50068"/>
                  </a:cubicBezTo>
                  <a:cubicBezTo>
                    <a:pt x="3462363" y="50068"/>
                    <a:pt x="3462363" y="50068"/>
                    <a:pt x="3517946" y="50702"/>
                  </a:cubicBezTo>
                  <a:cubicBezTo>
                    <a:pt x="3517946" y="50702"/>
                    <a:pt x="3517946" y="50702"/>
                    <a:pt x="3514135" y="0"/>
                  </a:cubicBezTo>
                  <a:cubicBezTo>
                    <a:pt x="3514135" y="0"/>
                    <a:pt x="3514135" y="0"/>
                    <a:pt x="3518582" y="0"/>
                  </a:cubicBezTo>
                  <a:cubicBezTo>
                    <a:pt x="3518582" y="0"/>
                    <a:pt x="3518582" y="0"/>
                    <a:pt x="3522393" y="51019"/>
                  </a:cubicBezTo>
                  <a:cubicBezTo>
                    <a:pt x="3522393" y="51019"/>
                    <a:pt x="3522393" y="51019"/>
                    <a:pt x="3563048" y="51336"/>
                  </a:cubicBezTo>
                  <a:cubicBezTo>
                    <a:pt x="3563048" y="51336"/>
                    <a:pt x="3563048" y="51336"/>
                    <a:pt x="3559554" y="0"/>
                  </a:cubicBezTo>
                  <a:cubicBezTo>
                    <a:pt x="3559554" y="0"/>
                    <a:pt x="3559554" y="0"/>
                    <a:pt x="3564001" y="0"/>
                  </a:cubicBezTo>
                  <a:cubicBezTo>
                    <a:pt x="3564001" y="0"/>
                    <a:pt x="3564001" y="0"/>
                    <a:pt x="3567495" y="51653"/>
                  </a:cubicBezTo>
                  <a:cubicBezTo>
                    <a:pt x="3567495" y="51653"/>
                    <a:pt x="3567495" y="51653"/>
                    <a:pt x="3618949" y="52287"/>
                  </a:cubicBezTo>
                  <a:cubicBezTo>
                    <a:pt x="3618949" y="52287"/>
                    <a:pt x="3618949" y="52287"/>
                    <a:pt x="3616090" y="0"/>
                  </a:cubicBezTo>
                  <a:cubicBezTo>
                    <a:pt x="3616090" y="0"/>
                    <a:pt x="3616090" y="0"/>
                    <a:pt x="3620537" y="0"/>
                  </a:cubicBezTo>
                  <a:cubicBezTo>
                    <a:pt x="3620537" y="0"/>
                    <a:pt x="3620537" y="0"/>
                    <a:pt x="3623396" y="52287"/>
                  </a:cubicBezTo>
                  <a:cubicBezTo>
                    <a:pt x="3623396" y="52287"/>
                    <a:pt x="3623396" y="52287"/>
                    <a:pt x="3672944" y="52920"/>
                  </a:cubicBezTo>
                  <a:cubicBezTo>
                    <a:pt x="3672944" y="34224"/>
                    <a:pt x="3672626" y="16795"/>
                    <a:pt x="3672309" y="0"/>
                  </a:cubicBezTo>
                  <a:cubicBezTo>
                    <a:pt x="3672309" y="0"/>
                    <a:pt x="3672309" y="0"/>
                    <a:pt x="3704388" y="0"/>
                  </a:cubicBezTo>
                  <a:cubicBezTo>
                    <a:pt x="3704388" y="0"/>
                    <a:pt x="3704388" y="0"/>
                    <a:pt x="3692954" y="1268"/>
                  </a:cubicBezTo>
                  <a:cubicBezTo>
                    <a:pt x="3693590" y="25351"/>
                    <a:pt x="3693907" y="51653"/>
                    <a:pt x="3694225" y="79856"/>
                  </a:cubicBezTo>
                  <a:cubicBezTo>
                    <a:pt x="3694542" y="155909"/>
                    <a:pt x="3709153" y="212949"/>
                    <a:pt x="3723446" y="251292"/>
                  </a:cubicBezTo>
                  <a:cubicBezTo>
                    <a:pt x="3730433" y="270305"/>
                    <a:pt x="3737421" y="284565"/>
                    <a:pt x="3742820" y="294072"/>
                  </a:cubicBezTo>
                  <a:cubicBezTo>
                    <a:pt x="3743138" y="295023"/>
                    <a:pt x="3743773" y="295656"/>
                    <a:pt x="3744091" y="296607"/>
                  </a:cubicBezTo>
                  <a:cubicBezTo>
                    <a:pt x="3751714" y="286467"/>
                    <a:pt x="3762830" y="273474"/>
                    <a:pt x="3776488" y="260165"/>
                  </a:cubicBezTo>
                  <a:cubicBezTo>
                    <a:pt x="3792051" y="245271"/>
                    <a:pt x="3809838" y="230378"/>
                    <a:pt x="3829848" y="221505"/>
                  </a:cubicBezTo>
                  <a:cubicBezTo>
                    <a:pt x="3867327" y="204710"/>
                    <a:pt x="3905759" y="204710"/>
                    <a:pt x="3944191" y="202808"/>
                  </a:cubicBezTo>
                  <a:cubicBezTo>
                    <a:pt x="3965154" y="202175"/>
                    <a:pt x="4104588" y="201541"/>
                    <a:pt x="4245294" y="200907"/>
                  </a:cubicBezTo>
                  <a:cubicBezTo>
                    <a:pt x="4315804" y="200273"/>
                    <a:pt x="4385998" y="199956"/>
                    <a:pt x="4441264" y="199323"/>
                  </a:cubicBezTo>
                  <a:cubicBezTo>
                    <a:pt x="4442852" y="199323"/>
                    <a:pt x="4444440" y="199323"/>
                    <a:pt x="4446346" y="199323"/>
                  </a:cubicBezTo>
                  <a:cubicBezTo>
                    <a:pt x="4448252" y="194569"/>
                    <a:pt x="4451746" y="184746"/>
                    <a:pt x="4455874" y="173021"/>
                  </a:cubicBezTo>
                  <a:cubicBezTo>
                    <a:pt x="4469214" y="134361"/>
                    <a:pt x="4489860" y="71617"/>
                    <a:pt x="4496212" y="52287"/>
                  </a:cubicBezTo>
                  <a:cubicBezTo>
                    <a:pt x="4496212" y="52287"/>
                    <a:pt x="4496212" y="52287"/>
                    <a:pt x="4445393" y="0"/>
                  </a:cubicBezTo>
                  <a:cubicBezTo>
                    <a:pt x="4445393" y="0"/>
                    <a:pt x="4445393" y="0"/>
                    <a:pt x="4474614" y="0"/>
                  </a:cubicBezTo>
                  <a:cubicBezTo>
                    <a:pt x="4474614" y="0"/>
                    <a:pt x="4474614" y="0"/>
                    <a:pt x="4478108" y="3803"/>
                  </a:cubicBezTo>
                  <a:cubicBezTo>
                    <a:pt x="4478108" y="3803"/>
                    <a:pt x="4478108" y="3803"/>
                    <a:pt x="4519398" y="45315"/>
                  </a:cubicBezTo>
                  <a:cubicBezTo>
                    <a:pt x="4519398" y="45315"/>
                    <a:pt x="4519398" y="45315"/>
                    <a:pt x="4519081" y="45949"/>
                  </a:cubicBezTo>
                  <a:cubicBezTo>
                    <a:pt x="4519081" y="45949"/>
                    <a:pt x="4519081" y="45949"/>
                    <a:pt x="4519716" y="46899"/>
                  </a:cubicBezTo>
                  <a:cubicBezTo>
                    <a:pt x="4519716" y="46899"/>
                    <a:pt x="4519716" y="46899"/>
                    <a:pt x="4517810" y="52603"/>
                  </a:cubicBezTo>
                  <a:cubicBezTo>
                    <a:pt x="4517810" y="52603"/>
                    <a:pt x="4508600" y="81440"/>
                    <a:pt x="4497800" y="114397"/>
                  </a:cubicBezTo>
                  <a:cubicBezTo>
                    <a:pt x="4495894" y="119784"/>
                    <a:pt x="4494306" y="125171"/>
                    <a:pt x="4492401" y="130558"/>
                  </a:cubicBezTo>
                  <a:cubicBezTo>
                    <a:pt x="4485731" y="151156"/>
                    <a:pt x="4479061" y="171436"/>
                    <a:pt x="4473662" y="186647"/>
                  </a:cubicBezTo>
                  <a:cubicBezTo>
                    <a:pt x="4471756" y="191400"/>
                    <a:pt x="4470485" y="195520"/>
                    <a:pt x="4468897" y="199006"/>
                  </a:cubicBezTo>
                  <a:cubicBezTo>
                    <a:pt x="4509552" y="198689"/>
                    <a:pt x="4538773" y="198055"/>
                    <a:pt x="4545126" y="197421"/>
                  </a:cubicBezTo>
                  <a:cubicBezTo>
                    <a:pt x="4565453" y="196154"/>
                    <a:pt x="4591180" y="193935"/>
                    <a:pt x="4614049" y="189499"/>
                  </a:cubicBezTo>
                  <a:cubicBezTo>
                    <a:pt x="4637235" y="185380"/>
                    <a:pt x="4657562" y="177457"/>
                    <a:pt x="4664232" y="170803"/>
                  </a:cubicBezTo>
                  <a:cubicBezTo>
                    <a:pt x="4686784" y="151473"/>
                    <a:pt x="4705523" y="115664"/>
                    <a:pt x="4709017" y="107108"/>
                  </a:cubicBezTo>
                  <a:cubicBezTo>
                    <a:pt x="4710605" y="103939"/>
                    <a:pt x="4731568" y="58624"/>
                    <a:pt x="4758883" y="0"/>
                  </a:cubicBezTo>
                  <a:cubicBezTo>
                    <a:pt x="4758883" y="0"/>
                    <a:pt x="4758883" y="0"/>
                    <a:pt x="4811926" y="0"/>
                  </a:cubicBezTo>
                  <a:cubicBezTo>
                    <a:pt x="4780481" y="68448"/>
                    <a:pt x="4754754" y="123903"/>
                    <a:pt x="4753166" y="127389"/>
                  </a:cubicBezTo>
                  <a:cubicBezTo>
                    <a:pt x="4747448" y="139114"/>
                    <a:pt x="4728709" y="178408"/>
                    <a:pt x="4696312" y="206928"/>
                  </a:cubicBezTo>
                  <a:cubicBezTo>
                    <a:pt x="4675984" y="224357"/>
                    <a:pt x="4649940" y="231645"/>
                    <a:pt x="4623260" y="237032"/>
                  </a:cubicBezTo>
                  <a:cubicBezTo>
                    <a:pt x="4596580" y="242102"/>
                    <a:pt x="4569264" y="244004"/>
                    <a:pt x="4548937" y="245588"/>
                  </a:cubicBezTo>
                  <a:cubicBezTo>
                    <a:pt x="4536550" y="246539"/>
                    <a:pt x="4497482" y="247173"/>
                    <a:pt x="4441582" y="247806"/>
                  </a:cubicBezTo>
                  <a:cubicBezTo>
                    <a:pt x="4358684" y="248440"/>
                    <a:pt x="4241800" y="249074"/>
                    <a:pt x="4142067" y="249708"/>
                  </a:cubicBezTo>
                  <a:cubicBezTo>
                    <a:pt x="4123328" y="249708"/>
                    <a:pt x="4104906" y="249708"/>
                    <a:pt x="4087437" y="250025"/>
                  </a:cubicBezTo>
                  <a:cubicBezTo>
                    <a:pt x="4088707" y="256362"/>
                    <a:pt x="4090613" y="265552"/>
                    <a:pt x="4093154" y="276326"/>
                  </a:cubicBezTo>
                  <a:cubicBezTo>
                    <a:pt x="4125869" y="275059"/>
                    <a:pt x="4161124" y="274742"/>
                    <a:pt x="4198286" y="274742"/>
                  </a:cubicBezTo>
                  <a:cubicBezTo>
                    <a:pt x="4269115" y="274742"/>
                    <a:pt x="4346614" y="276009"/>
                    <a:pt x="4424748" y="276009"/>
                  </a:cubicBezTo>
                  <a:cubicBezTo>
                    <a:pt x="4431736" y="276009"/>
                    <a:pt x="4439041" y="276009"/>
                    <a:pt x="4446346" y="276009"/>
                  </a:cubicBezTo>
                  <a:cubicBezTo>
                    <a:pt x="4550842" y="275693"/>
                    <a:pt x="4616590" y="268721"/>
                    <a:pt x="4661692" y="258264"/>
                  </a:cubicBezTo>
                  <a:cubicBezTo>
                    <a:pt x="4706476" y="247806"/>
                    <a:pt x="4730615" y="234497"/>
                    <a:pt x="4756660" y="217702"/>
                  </a:cubicBezTo>
                  <a:cubicBezTo>
                    <a:pt x="4756660" y="217702"/>
                    <a:pt x="4756660" y="217385"/>
                    <a:pt x="4756660" y="217385"/>
                  </a:cubicBezTo>
                  <a:cubicBezTo>
                    <a:pt x="4756978" y="217385"/>
                    <a:pt x="4757612" y="216751"/>
                    <a:pt x="4758248" y="216118"/>
                  </a:cubicBezTo>
                  <a:cubicBezTo>
                    <a:pt x="4763330" y="211047"/>
                    <a:pt x="4773811" y="197421"/>
                    <a:pt x="4785246" y="179042"/>
                  </a:cubicBezTo>
                  <a:cubicBezTo>
                    <a:pt x="4811608" y="137529"/>
                    <a:pt x="4847181" y="70983"/>
                    <a:pt x="4883390" y="0"/>
                  </a:cubicBezTo>
                  <a:cubicBezTo>
                    <a:pt x="4883390" y="0"/>
                    <a:pt x="4883390" y="0"/>
                    <a:pt x="4889106" y="0"/>
                  </a:cubicBezTo>
                  <a:cubicBezTo>
                    <a:pt x="4852580" y="71934"/>
                    <a:pt x="4816372" y="139431"/>
                    <a:pt x="4789692" y="181577"/>
                  </a:cubicBezTo>
                  <a:cubicBezTo>
                    <a:pt x="4777940" y="200273"/>
                    <a:pt x="4767776" y="214216"/>
                    <a:pt x="4762059" y="219603"/>
                  </a:cubicBezTo>
                  <a:cubicBezTo>
                    <a:pt x="4761424" y="220237"/>
                    <a:pt x="4760788" y="220871"/>
                    <a:pt x="4760154" y="221188"/>
                  </a:cubicBezTo>
                  <a:cubicBezTo>
                    <a:pt x="4760154" y="221188"/>
                    <a:pt x="4760154" y="221188"/>
                    <a:pt x="4760154" y="221505"/>
                  </a:cubicBezTo>
                  <a:cubicBezTo>
                    <a:pt x="4760154" y="221505"/>
                    <a:pt x="4760154" y="221505"/>
                    <a:pt x="4759518" y="221822"/>
                  </a:cubicBezTo>
                  <a:cubicBezTo>
                    <a:pt x="4759518" y="221822"/>
                    <a:pt x="4759200" y="221822"/>
                    <a:pt x="4759200" y="222138"/>
                  </a:cubicBezTo>
                  <a:cubicBezTo>
                    <a:pt x="4733156" y="238934"/>
                    <a:pt x="4708064" y="252560"/>
                    <a:pt x="4662644" y="263334"/>
                  </a:cubicBezTo>
                  <a:cubicBezTo>
                    <a:pt x="4617225" y="274108"/>
                    <a:pt x="4551160" y="280763"/>
                    <a:pt x="4446346" y="281080"/>
                  </a:cubicBezTo>
                  <a:cubicBezTo>
                    <a:pt x="4439041" y="281080"/>
                    <a:pt x="4431736" y="281080"/>
                    <a:pt x="4424748" y="281080"/>
                  </a:cubicBezTo>
                  <a:cubicBezTo>
                    <a:pt x="4346614" y="281080"/>
                    <a:pt x="4269115" y="279812"/>
                    <a:pt x="4198286" y="279812"/>
                  </a:cubicBezTo>
                  <a:cubicBezTo>
                    <a:pt x="4161442" y="279812"/>
                    <a:pt x="4126822" y="280129"/>
                    <a:pt x="4094424" y="281397"/>
                  </a:cubicBezTo>
                  <a:cubicBezTo>
                    <a:pt x="4097918" y="295340"/>
                    <a:pt x="4102682" y="311184"/>
                    <a:pt x="4109035" y="327662"/>
                  </a:cubicBezTo>
                  <a:cubicBezTo>
                    <a:pt x="4110305" y="330831"/>
                    <a:pt x="4111576" y="334000"/>
                    <a:pt x="4112846" y="337486"/>
                  </a:cubicBezTo>
                  <a:cubicBezTo>
                    <a:pt x="4147467" y="330197"/>
                    <a:pt x="4177640" y="323543"/>
                    <a:pt x="4198286" y="320691"/>
                  </a:cubicBezTo>
                  <a:cubicBezTo>
                    <a:pt x="4198286" y="320691"/>
                    <a:pt x="4198286" y="320691"/>
                    <a:pt x="4198286" y="318789"/>
                  </a:cubicBezTo>
                  <a:cubicBezTo>
                    <a:pt x="4268797" y="318789"/>
                    <a:pt x="4346296" y="320057"/>
                    <a:pt x="4424748" y="320057"/>
                  </a:cubicBezTo>
                  <a:cubicBezTo>
                    <a:pt x="4432053" y="320057"/>
                    <a:pt x="4439041" y="320057"/>
                    <a:pt x="4446346" y="320057"/>
                  </a:cubicBezTo>
                  <a:cubicBezTo>
                    <a:pt x="4552748" y="319740"/>
                    <a:pt x="4621672" y="312769"/>
                    <a:pt x="4671538" y="301361"/>
                  </a:cubicBezTo>
                  <a:cubicBezTo>
                    <a:pt x="4721722" y="289636"/>
                    <a:pt x="4753166" y="272524"/>
                    <a:pt x="4780798" y="254461"/>
                  </a:cubicBezTo>
                  <a:cubicBezTo>
                    <a:pt x="4787151" y="250025"/>
                    <a:pt x="4791916" y="245271"/>
                    <a:pt x="4797315" y="238617"/>
                  </a:cubicBezTo>
                  <a:cubicBezTo>
                    <a:pt x="4802714" y="231962"/>
                    <a:pt x="4808432" y="224357"/>
                    <a:pt x="4814466" y="215167"/>
                  </a:cubicBezTo>
                  <a:cubicBezTo>
                    <a:pt x="4826536" y="197104"/>
                    <a:pt x="4840511" y="173655"/>
                    <a:pt x="4855757" y="146719"/>
                  </a:cubicBezTo>
                  <a:cubicBezTo>
                    <a:pt x="4879578" y="103939"/>
                    <a:pt x="4906258" y="52603"/>
                    <a:pt x="4932938" y="0"/>
                  </a:cubicBezTo>
                  <a:cubicBezTo>
                    <a:pt x="4932938" y="0"/>
                    <a:pt x="4932938" y="0"/>
                    <a:pt x="4938656" y="0"/>
                  </a:cubicBezTo>
                  <a:cubicBezTo>
                    <a:pt x="4911658" y="53554"/>
                    <a:pt x="4884342" y="105841"/>
                    <a:pt x="4860204" y="149254"/>
                  </a:cubicBezTo>
                  <a:cubicBezTo>
                    <a:pt x="4844958" y="176190"/>
                    <a:pt x="4830982" y="199639"/>
                    <a:pt x="4818913" y="218019"/>
                  </a:cubicBezTo>
                  <a:cubicBezTo>
                    <a:pt x="4812560" y="227209"/>
                    <a:pt x="4806844" y="235131"/>
                    <a:pt x="4801444" y="241786"/>
                  </a:cubicBezTo>
                  <a:cubicBezTo>
                    <a:pt x="4795727" y="248440"/>
                    <a:pt x="4790645" y="254144"/>
                    <a:pt x="4783658" y="258898"/>
                  </a:cubicBezTo>
                  <a:cubicBezTo>
                    <a:pt x="4755707" y="277277"/>
                    <a:pt x="4723310" y="294706"/>
                    <a:pt x="4672808" y="306431"/>
                  </a:cubicBezTo>
                  <a:cubicBezTo>
                    <a:pt x="4621990" y="318156"/>
                    <a:pt x="4553066" y="324810"/>
                    <a:pt x="4446346" y="325444"/>
                  </a:cubicBezTo>
                  <a:cubicBezTo>
                    <a:pt x="4439041" y="325444"/>
                    <a:pt x="4432053" y="325444"/>
                    <a:pt x="4424748" y="325444"/>
                  </a:cubicBezTo>
                  <a:cubicBezTo>
                    <a:pt x="4352014" y="325444"/>
                    <a:pt x="4280232" y="324176"/>
                    <a:pt x="4214166" y="323860"/>
                  </a:cubicBezTo>
                  <a:cubicBezTo>
                    <a:pt x="4214166" y="323860"/>
                    <a:pt x="4214166" y="323860"/>
                    <a:pt x="4214166" y="324493"/>
                  </a:cubicBezTo>
                  <a:cubicBezTo>
                    <a:pt x="4197016" y="324493"/>
                    <a:pt x="4159536" y="333049"/>
                    <a:pt x="4114752" y="342239"/>
                  </a:cubicBezTo>
                  <a:cubicBezTo>
                    <a:pt x="4135080" y="395476"/>
                    <a:pt x="4168112" y="489592"/>
                    <a:pt x="4177005" y="523499"/>
                  </a:cubicBezTo>
                  <a:cubicBezTo>
                    <a:pt x="4183993" y="551068"/>
                    <a:pt x="4190345" y="587827"/>
                    <a:pt x="4193204" y="604939"/>
                  </a:cubicBezTo>
                  <a:cubicBezTo>
                    <a:pt x="4212896" y="597968"/>
                    <a:pt x="4231954" y="597651"/>
                    <a:pt x="4245928" y="597017"/>
                  </a:cubicBezTo>
                  <a:cubicBezTo>
                    <a:pt x="4245928" y="597017"/>
                    <a:pt x="4245928" y="597017"/>
                    <a:pt x="4246246" y="597017"/>
                  </a:cubicBezTo>
                  <a:cubicBezTo>
                    <a:pt x="4246246" y="597017"/>
                    <a:pt x="4246246" y="597017"/>
                    <a:pt x="4246564" y="597017"/>
                  </a:cubicBezTo>
                  <a:cubicBezTo>
                    <a:pt x="4246564" y="597017"/>
                    <a:pt x="4295795" y="598284"/>
                    <a:pt x="4363765" y="599235"/>
                  </a:cubicBezTo>
                  <a:cubicBezTo>
                    <a:pt x="4431736" y="600503"/>
                    <a:pt x="4518128" y="601453"/>
                    <a:pt x="4592451" y="601453"/>
                  </a:cubicBezTo>
                  <a:cubicBezTo>
                    <a:pt x="4666138" y="601453"/>
                    <a:pt x="4728709" y="600186"/>
                    <a:pt x="4744908" y="597334"/>
                  </a:cubicBezTo>
                  <a:cubicBezTo>
                    <a:pt x="4801762" y="587193"/>
                    <a:pt x="4985028" y="573250"/>
                    <a:pt x="5144154" y="531104"/>
                  </a:cubicBezTo>
                  <a:cubicBezTo>
                    <a:pt x="5298835" y="490543"/>
                    <a:pt x="5522756" y="324493"/>
                    <a:pt x="5665050" y="230695"/>
                  </a:cubicBezTo>
                  <a:cubicBezTo>
                    <a:pt x="5663779" y="229110"/>
                    <a:pt x="5662508" y="227209"/>
                    <a:pt x="5660920" y="225624"/>
                  </a:cubicBezTo>
                  <a:cubicBezTo>
                    <a:pt x="5619312" y="174605"/>
                    <a:pt x="5549436" y="96968"/>
                    <a:pt x="5397614" y="0"/>
                  </a:cubicBezTo>
                  <a:cubicBezTo>
                    <a:pt x="5397614" y="0"/>
                    <a:pt x="5397614" y="0"/>
                    <a:pt x="5435729" y="0"/>
                  </a:cubicBezTo>
                  <a:cubicBezTo>
                    <a:pt x="5571034" y="89996"/>
                    <a:pt x="5637416" y="163514"/>
                    <a:pt x="5677119" y="212632"/>
                  </a:cubicBezTo>
                  <a:cubicBezTo>
                    <a:pt x="5679025" y="214850"/>
                    <a:pt x="5680613" y="217068"/>
                    <a:pt x="5682201" y="219287"/>
                  </a:cubicBezTo>
                  <a:cubicBezTo>
                    <a:pt x="5694270" y="211364"/>
                    <a:pt x="5706975" y="202491"/>
                    <a:pt x="5719680" y="193302"/>
                  </a:cubicBezTo>
                  <a:lnTo>
                    <a:pt x="5719680" y="218970"/>
                  </a:lnTo>
                  <a:cubicBezTo>
                    <a:pt x="5711104" y="224674"/>
                    <a:pt x="5702846" y="230695"/>
                    <a:pt x="5694906" y="236082"/>
                  </a:cubicBezTo>
                  <a:cubicBezTo>
                    <a:pt x="5703164" y="248123"/>
                    <a:pt x="5711422" y="261433"/>
                    <a:pt x="5719680" y="276009"/>
                  </a:cubicBezTo>
                  <a:cubicBezTo>
                    <a:pt x="5719680" y="276009"/>
                    <a:pt x="5719680" y="276009"/>
                    <a:pt x="5719680" y="321958"/>
                  </a:cubicBezTo>
                  <a:cubicBezTo>
                    <a:pt x="5706340" y="292805"/>
                    <a:pt x="5692047" y="268087"/>
                    <a:pt x="5677436" y="247490"/>
                  </a:cubicBezTo>
                  <a:cubicBezTo>
                    <a:pt x="5535461" y="340338"/>
                    <a:pt x="5311540" y="507971"/>
                    <a:pt x="5149554" y="551068"/>
                  </a:cubicBezTo>
                  <a:cubicBezTo>
                    <a:pt x="5139708" y="553920"/>
                    <a:pt x="5129862" y="556455"/>
                    <a:pt x="5119698" y="558673"/>
                  </a:cubicBezTo>
                  <a:cubicBezTo>
                    <a:pt x="5119698" y="558673"/>
                    <a:pt x="5119698" y="558673"/>
                    <a:pt x="5120016" y="558990"/>
                  </a:cubicBezTo>
                  <a:cubicBezTo>
                    <a:pt x="5120016" y="558990"/>
                    <a:pt x="5120016" y="558990"/>
                    <a:pt x="5121286" y="560258"/>
                  </a:cubicBezTo>
                  <a:cubicBezTo>
                    <a:pt x="5119698" y="561526"/>
                    <a:pt x="5111122" y="570715"/>
                    <a:pt x="5100006" y="583708"/>
                  </a:cubicBezTo>
                  <a:cubicBezTo>
                    <a:pt x="5066338" y="622368"/>
                    <a:pt x="5005355" y="700639"/>
                    <a:pt x="4994238" y="743419"/>
                  </a:cubicBezTo>
                  <a:cubicBezTo>
                    <a:pt x="4984075" y="780178"/>
                    <a:pt x="4974228" y="848309"/>
                    <a:pt x="4974228" y="929115"/>
                  </a:cubicBezTo>
                  <a:cubicBezTo>
                    <a:pt x="4974228" y="987106"/>
                    <a:pt x="4979310" y="1052068"/>
                    <a:pt x="4992968" y="1116396"/>
                  </a:cubicBezTo>
                  <a:cubicBezTo>
                    <a:pt x="5009166" y="1193083"/>
                    <a:pt x="5033624" y="1282762"/>
                    <a:pt x="5053951" y="1354062"/>
                  </a:cubicBezTo>
                  <a:cubicBezTo>
                    <a:pt x="5064114" y="1389554"/>
                    <a:pt x="5073326" y="1420609"/>
                    <a:pt x="5079996" y="1443108"/>
                  </a:cubicBezTo>
                  <a:cubicBezTo>
                    <a:pt x="5083172" y="1454516"/>
                    <a:pt x="5086030" y="1463705"/>
                    <a:pt x="5087936" y="1470360"/>
                  </a:cubicBezTo>
                  <a:cubicBezTo>
                    <a:pt x="5088572" y="1472895"/>
                    <a:pt x="5089206" y="1475113"/>
                    <a:pt x="5089524" y="1476698"/>
                  </a:cubicBezTo>
                  <a:cubicBezTo>
                    <a:pt x="5089524" y="1476698"/>
                    <a:pt x="5089524" y="1476698"/>
                    <a:pt x="5113028" y="1471944"/>
                  </a:cubicBezTo>
                  <a:cubicBezTo>
                    <a:pt x="5113664" y="1471944"/>
                    <a:pt x="5263262" y="1443741"/>
                    <a:pt x="5390310" y="1443741"/>
                  </a:cubicBezTo>
                  <a:cubicBezTo>
                    <a:pt x="5402696" y="1443741"/>
                    <a:pt x="5414766" y="1444058"/>
                    <a:pt x="5426518" y="1444375"/>
                  </a:cubicBezTo>
                  <a:cubicBezTo>
                    <a:pt x="5536096" y="1450079"/>
                    <a:pt x="5656792" y="1465290"/>
                    <a:pt x="5719680" y="1473846"/>
                  </a:cubicBezTo>
                  <a:cubicBezTo>
                    <a:pt x="5719680" y="1473846"/>
                    <a:pt x="5719680" y="1473846"/>
                    <a:pt x="5719680" y="1495077"/>
                  </a:cubicBezTo>
                  <a:cubicBezTo>
                    <a:pt x="5658062" y="1486204"/>
                    <a:pt x="5535461" y="1470677"/>
                    <a:pt x="5425565" y="1465290"/>
                  </a:cubicBezTo>
                  <a:cubicBezTo>
                    <a:pt x="5414130" y="1464656"/>
                    <a:pt x="5402379" y="1464339"/>
                    <a:pt x="5390310" y="1464339"/>
                  </a:cubicBezTo>
                  <a:cubicBezTo>
                    <a:pt x="5328374" y="1464339"/>
                    <a:pt x="5259768" y="1471311"/>
                    <a:pt x="5207043" y="1478282"/>
                  </a:cubicBezTo>
                  <a:cubicBezTo>
                    <a:pt x="5154318" y="1485254"/>
                    <a:pt x="5117157" y="1492225"/>
                    <a:pt x="5117157" y="1492225"/>
                  </a:cubicBezTo>
                  <a:cubicBezTo>
                    <a:pt x="5117157" y="1492225"/>
                    <a:pt x="5117157" y="1492225"/>
                    <a:pt x="5097782" y="1496345"/>
                  </a:cubicBezTo>
                  <a:cubicBezTo>
                    <a:pt x="5103817" y="1515358"/>
                    <a:pt x="5112075" y="1550533"/>
                    <a:pt x="5112075" y="1595531"/>
                  </a:cubicBezTo>
                  <a:cubicBezTo>
                    <a:pt x="5112075" y="1620882"/>
                    <a:pt x="5109534" y="1649085"/>
                    <a:pt x="5102229" y="1679506"/>
                  </a:cubicBezTo>
                  <a:cubicBezTo>
                    <a:pt x="5074914" y="1793269"/>
                    <a:pt x="4989474" y="1862984"/>
                    <a:pt x="4960571" y="1934918"/>
                  </a:cubicBezTo>
                  <a:cubicBezTo>
                    <a:pt x="4936432" y="1993225"/>
                    <a:pt x="4918010" y="2029667"/>
                    <a:pt x="4918010" y="2104453"/>
                  </a:cubicBezTo>
                  <a:cubicBezTo>
                    <a:pt x="4918010" y="2127586"/>
                    <a:pt x="4919598" y="2154521"/>
                    <a:pt x="4923727" y="2186527"/>
                  </a:cubicBezTo>
                  <a:cubicBezTo>
                    <a:pt x="4938656" y="2301874"/>
                    <a:pt x="4968512" y="2542709"/>
                    <a:pt x="4978040" y="2618128"/>
                  </a:cubicBezTo>
                  <a:cubicBezTo>
                    <a:pt x="4980898" y="2616861"/>
                    <a:pt x="4982804" y="2616227"/>
                    <a:pt x="4982804" y="2616227"/>
                  </a:cubicBezTo>
                  <a:cubicBezTo>
                    <a:pt x="4982804" y="2616227"/>
                    <a:pt x="4982804" y="2616227"/>
                    <a:pt x="4985028" y="2615276"/>
                  </a:cubicBezTo>
                  <a:cubicBezTo>
                    <a:pt x="4985028" y="2615276"/>
                    <a:pt x="4985028" y="2615276"/>
                    <a:pt x="5441128" y="2522111"/>
                  </a:cubicBezTo>
                  <a:cubicBezTo>
                    <a:pt x="5441128" y="2522111"/>
                    <a:pt x="5441128" y="2522111"/>
                    <a:pt x="5442081" y="2521794"/>
                  </a:cubicBezTo>
                  <a:cubicBezTo>
                    <a:pt x="5442081" y="2521794"/>
                    <a:pt x="5520850" y="2512604"/>
                    <a:pt x="5599620" y="2503415"/>
                  </a:cubicBezTo>
                  <a:cubicBezTo>
                    <a:pt x="5639005" y="2498661"/>
                    <a:pt x="5678707" y="2494225"/>
                    <a:pt x="5708564" y="2490739"/>
                  </a:cubicBezTo>
                  <a:cubicBezTo>
                    <a:pt x="5712375" y="2490105"/>
                    <a:pt x="5716186" y="2489789"/>
                    <a:pt x="5719680" y="2489471"/>
                  </a:cubicBezTo>
                  <a:cubicBezTo>
                    <a:pt x="5719680" y="2489471"/>
                    <a:pt x="5719680" y="2489471"/>
                    <a:pt x="5719680" y="2537956"/>
                  </a:cubicBezTo>
                  <a:cubicBezTo>
                    <a:pt x="5688554" y="2541758"/>
                    <a:pt x="5644722" y="2546828"/>
                    <a:pt x="5601526" y="2551898"/>
                  </a:cubicBezTo>
                  <a:cubicBezTo>
                    <a:pt x="5529108" y="2560454"/>
                    <a:pt x="5458280" y="2568694"/>
                    <a:pt x="5448751" y="2569644"/>
                  </a:cubicBezTo>
                  <a:cubicBezTo>
                    <a:pt x="5448751" y="2569644"/>
                    <a:pt x="5448751" y="2569644"/>
                    <a:pt x="4999638" y="2661542"/>
                  </a:cubicBezTo>
                  <a:cubicBezTo>
                    <a:pt x="4991062" y="2665344"/>
                    <a:pt x="4959618" y="2678654"/>
                    <a:pt x="4952313" y="2681822"/>
                  </a:cubicBezTo>
                  <a:cubicBezTo>
                    <a:pt x="4948184" y="2684041"/>
                    <a:pt x="4931668" y="2693548"/>
                    <a:pt x="4909116" y="2705906"/>
                  </a:cubicBezTo>
                  <a:cubicBezTo>
                    <a:pt x="4875132" y="2724919"/>
                    <a:pt x="4826536" y="2751855"/>
                    <a:pt x="4779210" y="2776572"/>
                  </a:cubicBezTo>
                  <a:cubicBezTo>
                    <a:pt x="4731568" y="2801606"/>
                    <a:pt x="4686148" y="2824105"/>
                    <a:pt x="4655022" y="2835196"/>
                  </a:cubicBezTo>
                  <a:cubicBezTo>
                    <a:pt x="4615954" y="2849456"/>
                    <a:pt x="4578793" y="2862132"/>
                    <a:pt x="4550842" y="2871005"/>
                  </a:cubicBezTo>
                  <a:cubicBezTo>
                    <a:pt x="4536868" y="2875441"/>
                    <a:pt x="4525116" y="2879244"/>
                    <a:pt x="4516222" y="2881779"/>
                  </a:cubicBezTo>
                  <a:cubicBezTo>
                    <a:pt x="4512093" y="2883047"/>
                    <a:pt x="4508282" y="2883997"/>
                    <a:pt x="4505423" y="2884631"/>
                  </a:cubicBezTo>
                  <a:cubicBezTo>
                    <a:pt x="4503835" y="2884948"/>
                    <a:pt x="4502564" y="2885265"/>
                    <a:pt x="4501294" y="2885581"/>
                  </a:cubicBezTo>
                  <a:cubicBezTo>
                    <a:pt x="4500024" y="2885898"/>
                    <a:pt x="4499388" y="2886215"/>
                    <a:pt x="4497482" y="2886215"/>
                  </a:cubicBezTo>
                  <a:cubicBezTo>
                    <a:pt x="4493672" y="2887166"/>
                    <a:pt x="4476520" y="2890968"/>
                    <a:pt x="4454922" y="2896039"/>
                  </a:cubicBezTo>
                  <a:cubicBezTo>
                    <a:pt x="4402832" y="2908397"/>
                    <a:pt x="4320252" y="2928361"/>
                    <a:pt x="4282772" y="2937551"/>
                  </a:cubicBezTo>
                  <a:cubicBezTo>
                    <a:pt x="4284360" y="2947692"/>
                    <a:pt x="4284678" y="2958149"/>
                    <a:pt x="4284678" y="2967972"/>
                  </a:cubicBezTo>
                  <a:cubicBezTo>
                    <a:pt x="4284678" y="2987302"/>
                    <a:pt x="4282772" y="3005365"/>
                    <a:pt x="4280866" y="3018991"/>
                  </a:cubicBezTo>
                  <a:cubicBezTo>
                    <a:pt x="4279914" y="3024061"/>
                    <a:pt x="4278961" y="3028498"/>
                    <a:pt x="4278326" y="3032300"/>
                  </a:cubicBezTo>
                  <a:cubicBezTo>
                    <a:pt x="4287536" y="3045610"/>
                    <a:pt x="4304688" y="3062722"/>
                    <a:pt x="4323428" y="3076982"/>
                  </a:cubicBezTo>
                  <a:cubicBezTo>
                    <a:pt x="4345978" y="3094727"/>
                    <a:pt x="4371388" y="3109621"/>
                    <a:pt x="4385364" y="3114058"/>
                  </a:cubicBezTo>
                  <a:cubicBezTo>
                    <a:pt x="4400926" y="3119445"/>
                    <a:pt x="4426018" y="3123881"/>
                    <a:pt x="4453016" y="3130853"/>
                  </a:cubicBezTo>
                  <a:cubicBezTo>
                    <a:pt x="4480332" y="3137507"/>
                    <a:pt x="4510505" y="3146697"/>
                    <a:pt x="4537820" y="3164126"/>
                  </a:cubicBezTo>
                  <a:cubicBezTo>
                    <a:pt x="4585781" y="3194864"/>
                    <a:pt x="4611826" y="3240496"/>
                    <a:pt x="4618178" y="3252538"/>
                  </a:cubicBezTo>
                  <a:cubicBezTo>
                    <a:pt x="4624848" y="3260777"/>
                    <a:pt x="4653434" y="3295001"/>
                    <a:pt x="4684242" y="3331443"/>
                  </a:cubicBezTo>
                  <a:cubicBezTo>
                    <a:pt x="4701712" y="3352357"/>
                    <a:pt x="4719816" y="3373589"/>
                    <a:pt x="4735062" y="3390701"/>
                  </a:cubicBezTo>
                  <a:cubicBezTo>
                    <a:pt x="4742367" y="3399574"/>
                    <a:pt x="4749354" y="3407179"/>
                    <a:pt x="4754754" y="3412883"/>
                  </a:cubicBezTo>
                  <a:cubicBezTo>
                    <a:pt x="4759836" y="3418904"/>
                    <a:pt x="4764282" y="3423340"/>
                    <a:pt x="4765553" y="3424608"/>
                  </a:cubicBezTo>
                  <a:cubicBezTo>
                    <a:pt x="4775717" y="3433481"/>
                    <a:pt x="4782704" y="3438868"/>
                    <a:pt x="4787151" y="3442037"/>
                  </a:cubicBezTo>
                  <a:cubicBezTo>
                    <a:pt x="4788422" y="3442670"/>
                    <a:pt x="4789692" y="3443621"/>
                    <a:pt x="4790328" y="3443938"/>
                  </a:cubicBezTo>
                  <a:cubicBezTo>
                    <a:pt x="4802397" y="3446790"/>
                    <a:pt x="4847498" y="3457247"/>
                    <a:pt x="4903400" y="3469923"/>
                  </a:cubicBezTo>
                  <a:cubicBezTo>
                    <a:pt x="4968512" y="3484816"/>
                    <a:pt x="5048234" y="3502562"/>
                    <a:pt x="5105405" y="3514287"/>
                  </a:cubicBezTo>
                  <a:cubicBezTo>
                    <a:pt x="5164164" y="3526012"/>
                    <a:pt x="5335679" y="3569425"/>
                    <a:pt x="5493536" y="3610304"/>
                  </a:cubicBezTo>
                  <a:cubicBezTo>
                    <a:pt x="5580563" y="3632803"/>
                    <a:pt x="5663144" y="3654035"/>
                    <a:pt x="5719680" y="3668928"/>
                  </a:cubicBezTo>
                  <a:cubicBezTo>
                    <a:pt x="5719680" y="3668928"/>
                    <a:pt x="5719680" y="3668928"/>
                    <a:pt x="5719680" y="3718997"/>
                  </a:cubicBezTo>
                  <a:cubicBezTo>
                    <a:pt x="5663144" y="3704103"/>
                    <a:pt x="5574846" y="3680970"/>
                    <a:pt x="5481466" y="3656887"/>
                  </a:cubicBezTo>
                  <a:cubicBezTo>
                    <a:pt x="5324244" y="3616325"/>
                    <a:pt x="5151778" y="3572911"/>
                    <a:pt x="5095876" y="3561503"/>
                  </a:cubicBezTo>
                  <a:cubicBezTo>
                    <a:pt x="5007578" y="3543441"/>
                    <a:pt x="4868462" y="3511752"/>
                    <a:pt x="4807161" y="3497492"/>
                  </a:cubicBezTo>
                  <a:cubicBezTo>
                    <a:pt x="4807161" y="3497492"/>
                    <a:pt x="4807161" y="3497492"/>
                    <a:pt x="4712510" y="3627099"/>
                  </a:cubicBezTo>
                  <a:cubicBezTo>
                    <a:pt x="4707111" y="3641676"/>
                    <a:pt x="4685196" y="3697765"/>
                    <a:pt x="4648987" y="3747516"/>
                  </a:cubicBezTo>
                  <a:cubicBezTo>
                    <a:pt x="4615954" y="3792831"/>
                    <a:pt x="4571488" y="3827372"/>
                    <a:pt x="4553066" y="3840682"/>
                  </a:cubicBezTo>
                  <a:cubicBezTo>
                    <a:pt x="4549890" y="3859378"/>
                    <a:pt x="4542902" y="3902475"/>
                    <a:pt x="4533056" y="3961416"/>
                  </a:cubicBezTo>
                  <a:cubicBezTo>
                    <a:pt x="4526704" y="4000076"/>
                    <a:pt x="4519081" y="4045074"/>
                    <a:pt x="4511140" y="4094192"/>
                  </a:cubicBezTo>
                  <a:cubicBezTo>
                    <a:pt x="4511140" y="4094192"/>
                    <a:pt x="4511140" y="4094192"/>
                    <a:pt x="4890695" y="4168660"/>
                  </a:cubicBezTo>
                  <a:cubicBezTo>
                    <a:pt x="4892600" y="4168977"/>
                    <a:pt x="4895776" y="4169611"/>
                    <a:pt x="4899588" y="4170562"/>
                  </a:cubicBezTo>
                  <a:cubicBezTo>
                    <a:pt x="4916104" y="4079615"/>
                    <a:pt x="4972640" y="3969972"/>
                    <a:pt x="5147331" y="3922439"/>
                  </a:cubicBezTo>
                  <a:cubicBezTo>
                    <a:pt x="5235312" y="3898038"/>
                    <a:pt x="5336314" y="3885996"/>
                    <a:pt x="5418895" y="3879025"/>
                  </a:cubicBezTo>
                  <a:cubicBezTo>
                    <a:pt x="5460186" y="3875539"/>
                    <a:pt x="5496712" y="3873321"/>
                    <a:pt x="5524344" y="3871420"/>
                  </a:cubicBezTo>
                  <a:cubicBezTo>
                    <a:pt x="5551660" y="3869835"/>
                    <a:pt x="5571670" y="3868568"/>
                    <a:pt x="5575481" y="3867300"/>
                  </a:cubicBezTo>
                  <a:cubicBezTo>
                    <a:pt x="5591680" y="3863497"/>
                    <a:pt x="5651074" y="3845118"/>
                    <a:pt x="5719680" y="3806141"/>
                  </a:cubicBezTo>
                  <a:cubicBezTo>
                    <a:pt x="5719680" y="3806141"/>
                    <a:pt x="5719680" y="3806141"/>
                    <a:pt x="5719680" y="3829907"/>
                  </a:cubicBezTo>
                  <a:cubicBezTo>
                    <a:pt x="5653298" y="3866349"/>
                    <a:pt x="5597396" y="3883144"/>
                    <a:pt x="5580563" y="3887581"/>
                  </a:cubicBezTo>
                  <a:cubicBezTo>
                    <a:pt x="5571670" y="3889482"/>
                    <a:pt x="5553566" y="3890433"/>
                    <a:pt x="5525615" y="3892334"/>
                  </a:cubicBezTo>
                  <a:cubicBezTo>
                    <a:pt x="5442716" y="3897404"/>
                    <a:pt x="5281366" y="3906911"/>
                    <a:pt x="5153048" y="3942403"/>
                  </a:cubicBezTo>
                  <a:cubicBezTo>
                    <a:pt x="4984710" y="3988985"/>
                    <a:pt x="4936114" y="4089122"/>
                    <a:pt x="4919916" y="4175315"/>
                  </a:cubicBezTo>
                  <a:cubicBezTo>
                    <a:pt x="4983440" y="4191160"/>
                    <a:pt x="5127321" y="4236158"/>
                    <a:pt x="5243570" y="4350554"/>
                  </a:cubicBezTo>
                  <a:cubicBezTo>
                    <a:pt x="5427788" y="4531814"/>
                    <a:pt x="5475114" y="4763459"/>
                    <a:pt x="5477972" y="4778353"/>
                  </a:cubicBezTo>
                  <a:cubicBezTo>
                    <a:pt x="5494488" y="4830639"/>
                    <a:pt x="5500840" y="4880391"/>
                    <a:pt x="5500840" y="4925389"/>
                  </a:cubicBezTo>
                  <a:cubicBezTo>
                    <a:pt x="5500840" y="5046440"/>
                    <a:pt x="5456056" y="5134852"/>
                    <a:pt x="5441128" y="5161470"/>
                  </a:cubicBezTo>
                  <a:cubicBezTo>
                    <a:pt x="5477972" y="5172878"/>
                    <a:pt x="5518628" y="5190307"/>
                    <a:pt x="5558965" y="5217560"/>
                  </a:cubicBezTo>
                  <a:cubicBezTo>
                    <a:pt x="5622171" y="5260339"/>
                    <a:pt x="5672672" y="5299634"/>
                    <a:pt x="5719680" y="5335759"/>
                  </a:cubicBezTo>
                  <a:cubicBezTo>
                    <a:pt x="5719680" y="5335759"/>
                    <a:pt x="5719680" y="5335759"/>
                    <a:pt x="5719680" y="5362060"/>
                  </a:cubicBezTo>
                  <a:cubicBezTo>
                    <a:pt x="5668544" y="5322766"/>
                    <a:pt x="5615184" y="5280937"/>
                    <a:pt x="5547213" y="5234672"/>
                  </a:cubicBezTo>
                  <a:cubicBezTo>
                    <a:pt x="5442716" y="5164006"/>
                    <a:pt x="5334090" y="5160837"/>
                    <a:pt x="5306776" y="5161154"/>
                  </a:cubicBezTo>
                  <a:cubicBezTo>
                    <a:pt x="5303917" y="5161154"/>
                    <a:pt x="5302011" y="5161154"/>
                    <a:pt x="5300741" y="5161154"/>
                  </a:cubicBezTo>
                  <a:cubicBezTo>
                    <a:pt x="5300423" y="5161154"/>
                    <a:pt x="5300106" y="5161154"/>
                    <a:pt x="5299470" y="5161154"/>
                  </a:cubicBezTo>
                  <a:cubicBezTo>
                    <a:pt x="5299152" y="5161154"/>
                    <a:pt x="5299152" y="5161154"/>
                    <a:pt x="5298200" y="5160837"/>
                  </a:cubicBezTo>
                  <a:cubicBezTo>
                    <a:pt x="5297882" y="5160837"/>
                    <a:pt x="5297247" y="5160837"/>
                    <a:pt x="5296930" y="5160837"/>
                  </a:cubicBezTo>
                  <a:cubicBezTo>
                    <a:pt x="5268662" y="5160837"/>
                    <a:pt x="5038705" y="5164322"/>
                    <a:pt x="4816054" y="5167808"/>
                  </a:cubicBezTo>
                  <a:cubicBezTo>
                    <a:pt x="4750308" y="5168759"/>
                    <a:pt x="4685513" y="5169709"/>
                    <a:pt x="4626436" y="5170660"/>
                  </a:cubicBezTo>
                  <a:cubicBezTo>
                    <a:pt x="4631518" y="5192209"/>
                    <a:pt x="4641364" y="5234038"/>
                    <a:pt x="4654069" y="5286007"/>
                  </a:cubicBezTo>
                  <a:cubicBezTo>
                    <a:pt x="4673126" y="5362694"/>
                    <a:pt x="4697582" y="5461880"/>
                    <a:pt x="4721086" y="5549975"/>
                  </a:cubicBezTo>
                  <a:cubicBezTo>
                    <a:pt x="4732520" y="5593072"/>
                    <a:pt x="4747766" y="5648844"/>
                    <a:pt x="4763012" y="5703982"/>
                  </a:cubicBezTo>
                  <a:cubicBezTo>
                    <a:pt x="4763012" y="5703982"/>
                    <a:pt x="4763012" y="5703982"/>
                    <a:pt x="4741414" y="5703982"/>
                  </a:cubicBezTo>
                  <a:cubicBezTo>
                    <a:pt x="4726804" y="5650745"/>
                    <a:pt x="4712193" y="5597191"/>
                    <a:pt x="4701076" y="5555045"/>
                  </a:cubicBezTo>
                  <a:cubicBezTo>
                    <a:pt x="4660421" y="5402622"/>
                    <a:pt x="4616272" y="5218510"/>
                    <a:pt x="4604838" y="5170977"/>
                  </a:cubicBezTo>
                  <a:cubicBezTo>
                    <a:pt x="4572123" y="5171294"/>
                    <a:pt x="4540996" y="5171928"/>
                    <a:pt x="4513364" y="5172245"/>
                  </a:cubicBezTo>
                  <a:cubicBezTo>
                    <a:pt x="4449840" y="5173195"/>
                    <a:pt x="4403150" y="5174146"/>
                    <a:pt x="4385681" y="5174463"/>
                  </a:cubicBezTo>
                  <a:cubicBezTo>
                    <a:pt x="4392668" y="5253051"/>
                    <a:pt x="4403468" y="5369032"/>
                    <a:pt x="4413949" y="5478992"/>
                  </a:cubicBezTo>
                  <a:cubicBezTo>
                    <a:pt x="4421572" y="5561066"/>
                    <a:pt x="4428877" y="5639971"/>
                    <a:pt x="4434594" y="5698595"/>
                  </a:cubicBezTo>
                  <a:cubicBezTo>
                    <a:pt x="4434594" y="5700497"/>
                    <a:pt x="4434912" y="5702081"/>
                    <a:pt x="4434912" y="5703982"/>
                  </a:cubicBezTo>
                  <a:cubicBezTo>
                    <a:pt x="4434912" y="5703982"/>
                    <a:pt x="4434912" y="5703982"/>
                    <a:pt x="4386316" y="5703982"/>
                  </a:cubicBezTo>
                  <a:cubicBezTo>
                    <a:pt x="4379964" y="5637753"/>
                    <a:pt x="4371388" y="5544588"/>
                    <a:pt x="4362494" y="5450789"/>
                  </a:cubicBezTo>
                  <a:cubicBezTo>
                    <a:pt x="4354236" y="5362694"/>
                    <a:pt x="4345978" y="5273649"/>
                    <a:pt x="4339944" y="5205201"/>
                  </a:cubicBezTo>
                  <a:cubicBezTo>
                    <a:pt x="4336768" y="5170977"/>
                    <a:pt x="4334226" y="5141506"/>
                    <a:pt x="4332321" y="5119958"/>
                  </a:cubicBezTo>
                  <a:cubicBezTo>
                    <a:pt x="4331686" y="5112987"/>
                    <a:pt x="4331368" y="5106966"/>
                    <a:pt x="4330733" y="5101579"/>
                  </a:cubicBezTo>
                  <a:cubicBezTo>
                    <a:pt x="4330733" y="5101579"/>
                    <a:pt x="4330733" y="5101579"/>
                    <a:pt x="4012161" y="5112036"/>
                  </a:cubicBezTo>
                  <a:cubicBezTo>
                    <a:pt x="4012161" y="5112036"/>
                    <a:pt x="4011844" y="5112036"/>
                    <a:pt x="4011844" y="5112353"/>
                  </a:cubicBezTo>
                  <a:cubicBezTo>
                    <a:pt x="4008350" y="5113303"/>
                    <a:pt x="3998821" y="5116472"/>
                    <a:pt x="3991198" y="5122810"/>
                  </a:cubicBezTo>
                  <a:cubicBezTo>
                    <a:pt x="3983258" y="5129465"/>
                    <a:pt x="3976906" y="5138654"/>
                    <a:pt x="3976588" y="5153865"/>
                  </a:cubicBezTo>
                  <a:cubicBezTo>
                    <a:pt x="3976588" y="5154499"/>
                    <a:pt x="3976588" y="5154816"/>
                    <a:pt x="3976588" y="5155766"/>
                  </a:cubicBezTo>
                  <a:cubicBezTo>
                    <a:pt x="3976906" y="5158618"/>
                    <a:pt x="3976906" y="5161470"/>
                    <a:pt x="3976906" y="5164322"/>
                  </a:cubicBezTo>
                  <a:cubicBezTo>
                    <a:pt x="3976906" y="5183019"/>
                    <a:pt x="3974364" y="5196962"/>
                    <a:pt x="3964836" y="5207736"/>
                  </a:cubicBezTo>
                  <a:cubicBezTo>
                    <a:pt x="3955625" y="5218193"/>
                    <a:pt x="3943238" y="5224214"/>
                    <a:pt x="3925134" y="5233087"/>
                  </a:cubicBezTo>
                  <a:cubicBezTo>
                    <a:pt x="3888608" y="5251467"/>
                    <a:pt x="3777758" y="5293613"/>
                    <a:pt x="3756478" y="5301852"/>
                  </a:cubicBezTo>
                  <a:cubicBezTo>
                    <a:pt x="3756478" y="5301852"/>
                    <a:pt x="3756478" y="5301852"/>
                    <a:pt x="3864151" y="5552827"/>
                  </a:cubicBezTo>
                  <a:cubicBezTo>
                    <a:pt x="3864151" y="5552827"/>
                    <a:pt x="3864151" y="5552827"/>
                    <a:pt x="3861292" y="5554095"/>
                  </a:cubicBezTo>
                  <a:cubicBezTo>
                    <a:pt x="3861292" y="5554095"/>
                    <a:pt x="3861292" y="5554095"/>
                    <a:pt x="4129680" y="5703982"/>
                  </a:cubicBezTo>
                  <a:cubicBezTo>
                    <a:pt x="4129680" y="5703982"/>
                    <a:pt x="4129680" y="5703982"/>
                    <a:pt x="4086802" y="5703982"/>
                  </a:cubicBezTo>
                  <a:cubicBezTo>
                    <a:pt x="4086802" y="5703982"/>
                    <a:pt x="4086802" y="5703982"/>
                    <a:pt x="3855258" y="5574375"/>
                  </a:cubicBezTo>
                  <a:cubicBezTo>
                    <a:pt x="3855258" y="5574375"/>
                    <a:pt x="3855258" y="5574375"/>
                    <a:pt x="3764736" y="5703982"/>
                  </a:cubicBezTo>
                  <a:cubicBezTo>
                    <a:pt x="3764736" y="5703982"/>
                    <a:pt x="3764736" y="5703982"/>
                    <a:pt x="3722493" y="5703982"/>
                  </a:cubicBezTo>
                  <a:cubicBezTo>
                    <a:pt x="3713917" y="5692258"/>
                    <a:pt x="3703436" y="5675779"/>
                    <a:pt x="3691366" y="5652330"/>
                  </a:cubicBezTo>
                  <a:cubicBezTo>
                    <a:pt x="3674850" y="5620641"/>
                    <a:pt x="3665004" y="5569305"/>
                    <a:pt x="3658651" y="5520821"/>
                  </a:cubicBezTo>
                  <a:cubicBezTo>
                    <a:pt x="3653570" y="5484062"/>
                    <a:pt x="3651028" y="5449522"/>
                    <a:pt x="3649758" y="5421635"/>
                  </a:cubicBezTo>
                  <a:cubicBezTo>
                    <a:pt x="3649758" y="5421635"/>
                    <a:pt x="3649758" y="5421635"/>
                    <a:pt x="3442988" y="5468535"/>
                  </a:cubicBezTo>
                  <a:cubicBezTo>
                    <a:pt x="3442988" y="5468535"/>
                    <a:pt x="3442988" y="5468535"/>
                    <a:pt x="3319434" y="5359842"/>
                  </a:cubicBezTo>
                  <a:cubicBezTo>
                    <a:pt x="3307682" y="5369032"/>
                    <a:pt x="3296884" y="5377588"/>
                    <a:pt x="3287037" y="5385193"/>
                  </a:cubicBezTo>
                  <a:cubicBezTo>
                    <a:pt x="3260992" y="5405474"/>
                    <a:pt x="3241936" y="5420368"/>
                    <a:pt x="3233677" y="5427022"/>
                  </a:cubicBezTo>
                  <a:cubicBezTo>
                    <a:pt x="3235901" y="5432410"/>
                    <a:pt x="3238124" y="5438747"/>
                    <a:pt x="3240347" y="5446353"/>
                  </a:cubicBezTo>
                  <a:cubicBezTo>
                    <a:pt x="3258134" y="5500857"/>
                    <a:pt x="3281638" y="5599409"/>
                    <a:pt x="3297201" y="5668491"/>
                  </a:cubicBezTo>
                  <a:cubicBezTo>
                    <a:pt x="3300060" y="5681167"/>
                    <a:pt x="3301330" y="5692891"/>
                    <a:pt x="3301648" y="5703982"/>
                  </a:cubicBezTo>
                  <a:cubicBezTo>
                    <a:pt x="3301648" y="5703982"/>
                    <a:pt x="3301648" y="5703982"/>
                    <a:pt x="3280685" y="5703982"/>
                  </a:cubicBezTo>
                  <a:cubicBezTo>
                    <a:pt x="3280367" y="5694476"/>
                    <a:pt x="3279414" y="5684335"/>
                    <a:pt x="3276874" y="5672927"/>
                  </a:cubicBezTo>
                  <a:cubicBezTo>
                    <a:pt x="3266392" y="5627296"/>
                    <a:pt x="3252734" y="5568038"/>
                    <a:pt x="3239394" y="5517969"/>
                  </a:cubicBezTo>
                  <a:cubicBezTo>
                    <a:pt x="3232724" y="5492935"/>
                    <a:pt x="3226372" y="5470119"/>
                    <a:pt x="3220655" y="5452690"/>
                  </a:cubicBezTo>
                  <a:cubicBezTo>
                    <a:pt x="3215256" y="5435262"/>
                    <a:pt x="3209538" y="5421952"/>
                    <a:pt x="3207315" y="5419734"/>
                  </a:cubicBezTo>
                  <a:cubicBezTo>
                    <a:pt x="3201598" y="5411495"/>
                    <a:pt x="3177459" y="5391214"/>
                    <a:pt x="3150144" y="5372201"/>
                  </a:cubicBezTo>
                  <a:cubicBezTo>
                    <a:pt x="3143156" y="5367448"/>
                    <a:pt x="3135851" y="5362377"/>
                    <a:pt x="3128546" y="5357624"/>
                  </a:cubicBezTo>
                  <a:cubicBezTo>
                    <a:pt x="3125369" y="5362377"/>
                    <a:pt x="3120605" y="5370300"/>
                    <a:pt x="3114570" y="5379806"/>
                  </a:cubicBezTo>
                  <a:cubicBezTo>
                    <a:pt x="3086938" y="5424804"/>
                    <a:pt x="3031672" y="5513533"/>
                    <a:pt x="2986888" y="5572157"/>
                  </a:cubicBezTo>
                  <a:cubicBezTo>
                    <a:pt x="2936386" y="5638387"/>
                    <a:pt x="2932892" y="5672927"/>
                    <a:pt x="2932892" y="5680216"/>
                  </a:cubicBezTo>
                  <a:cubicBezTo>
                    <a:pt x="2932892" y="5681167"/>
                    <a:pt x="2933210" y="5681800"/>
                    <a:pt x="2933210" y="5681800"/>
                  </a:cubicBezTo>
                  <a:cubicBezTo>
                    <a:pt x="2933210" y="5681800"/>
                    <a:pt x="2933210" y="5681800"/>
                    <a:pt x="2933210" y="5682434"/>
                  </a:cubicBezTo>
                  <a:cubicBezTo>
                    <a:pt x="2933210" y="5682434"/>
                    <a:pt x="2933210" y="5682434"/>
                    <a:pt x="2934480" y="5703982"/>
                  </a:cubicBezTo>
                  <a:cubicBezTo>
                    <a:pt x="2934480" y="5703982"/>
                    <a:pt x="2934480" y="5703982"/>
                    <a:pt x="2913518" y="5703982"/>
                  </a:cubicBezTo>
                  <a:cubicBezTo>
                    <a:pt x="2913518" y="5703982"/>
                    <a:pt x="2913518" y="5703982"/>
                    <a:pt x="2912565" y="5684652"/>
                  </a:cubicBezTo>
                  <a:cubicBezTo>
                    <a:pt x="2912247" y="5683702"/>
                    <a:pt x="2912247" y="5682434"/>
                    <a:pt x="2912247" y="5680216"/>
                  </a:cubicBezTo>
                  <a:cubicBezTo>
                    <a:pt x="2912247" y="5666907"/>
                    <a:pt x="2917964" y="5628246"/>
                    <a:pt x="2970371" y="5559798"/>
                  </a:cubicBezTo>
                  <a:cubicBezTo>
                    <a:pt x="3000863" y="5519871"/>
                    <a:pt x="3036436" y="5465049"/>
                    <a:pt x="3065022" y="5420368"/>
                  </a:cubicBezTo>
                  <a:cubicBezTo>
                    <a:pt x="3078997" y="5397869"/>
                    <a:pt x="3091384" y="5377905"/>
                    <a:pt x="3100278" y="5363645"/>
                  </a:cubicBezTo>
                  <a:cubicBezTo>
                    <a:pt x="3104724" y="5356356"/>
                    <a:pt x="3108218" y="5350652"/>
                    <a:pt x="3110759" y="5346850"/>
                  </a:cubicBezTo>
                  <a:cubicBezTo>
                    <a:pt x="3110759" y="5346533"/>
                    <a:pt x="3110759" y="5346533"/>
                    <a:pt x="3110759" y="5346533"/>
                  </a:cubicBezTo>
                  <a:cubicBezTo>
                    <a:pt x="3095513" y="5337343"/>
                    <a:pt x="3080903" y="5329738"/>
                    <a:pt x="3069151" y="5324668"/>
                  </a:cubicBezTo>
                  <a:cubicBezTo>
                    <a:pt x="3023731" y="5305971"/>
                    <a:pt x="2964336" y="5292979"/>
                    <a:pt x="2914788" y="5278402"/>
                  </a:cubicBezTo>
                  <a:cubicBezTo>
                    <a:pt x="2887790" y="5270797"/>
                    <a:pt x="2839512" y="5244812"/>
                    <a:pt x="2796952" y="5220412"/>
                  </a:cubicBezTo>
                  <a:cubicBezTo>
                    <a:pt x="2767095" y="5203616"/>
                    <a:pt x="2740733" y="5187772"/>
                    <a:pt x="2727075" y="5179533"/>
                  </a:cubicBezTo>
                  <a:cubicBezTo>
                    <a:pt x="2727075" y="5179533"/>
                    <a:pt x="2727075" y="5179533"/>
                    <a:pt x="2443759" y="5692891"/>
                  </a:cubicBezTo>
                  <a:cubicBezTo>
                    <a:pt x="2443759" y="5692891"/>
                    <a:pt x="2443759" y="5692891"/>
                    <a:pt x="2462499" y="5703982"/>
                  </a:cubicBezTo>
                  <a:cubicBezTo>
                    <a:pt x="2462499" y="5703982"/>
                    <a:pt x="2462499" y="5703982"/>
                    <a:pt x="2413586" y="5703982"/>
                  </a:cubicBezTo>
                  <a:cubicBezTo>
                    <a:pt x="2413586" y="5703982"/>
                    <a:pt x="2413586" y="5703982"/>
                    <a:pt x="2415491" y="5700497"/>
                  </a:cubicBezTo>
                  <a:cubicBezTo>
                    <a:pt x="2415491" y="5700497"/>
                    <a:pt x="2415491" y="5700497"/>
                    <a:pt x="2413586" y="5699229"/>
                  </a:cubicBezTo>
                  <a:cubicBezTo>
                    <a:pt x="2412315" y="5698595"/>
                    <a:pt x="2403104" y="5693842"/>
                    <a:pt x="2388494" y="5686871"/>
                  </a:cubicBezTo>
                  <a:cubicBezTo>
                    <a:pt x="2345933" y="5666907"/>
                    <a:pt x="2254776" y="5627613"/>
                    <a:pt x="2173148" y="5613669"/>
                  </a:cubicBezTo>
                  <a:cubicBezTo>
                    <a:pt x="2171878" y="5621275"/>
                    <a:pt x="2169654" y="5633316"/>
                    <a:pt x="2167113" y="5648210"/>
                  </a:cubicBezTo>
                  <a:cubicBezTo>
                    <a:pt x="2164572" y="5664372"/>
                    <a:pt x="2161078" y="5683702"/>
                    <a:pt x="2157902" y="5703982"/>
                  </a:cubicBezTo>
                  <a:cubicBezTo>
                    <a:pt x="2157902" y="5703982"/>
                    <a:pt x="2157902" y="5703982"/>
                    <a:pt x="2136622" y="5703982"/>
                  </a:cubicBezTo>
                  <a:cubicBezTo>
                    <a:pt x="2140751" y="5680533"/>
                    <a:pt x="2144562" y="5657717"/>
                    <a:pt x="2147421" y="5639971"/>
                  </a:cubicBezTo>
                  <a:cubicBezTo>
                    <a:pt x="2149327" y="5628563"/>
                    <a:pt x="2150915" y="5619057"/>
                    <a:pt x="2152185" y="5612402"/>
                  </a:cubicBezTo>
                  <a:cubicBezTo>
                    <a:pt x="2152503" y="5611768"/>
                    <a:pt x="2152503" y="5611451"/>
                    <a:pt x="2152503" y="5610817"/>
                  </a:cubicBezTo>
                  <a:cubicBezTo>
                    <a:pt x="2150280" y="5610501"/>
                    <a:pt x="2147738" y="5610184"/>
                    <a:pt x="2145515" y="5609867"/>
                  </a:cubicBezTo>
                  <a:cubicBezTo>
                    <a:pt x="2024502" y="5598459"/>
                    <a:pt x="1995599" y="5580713"/>
                    <a:pt x="1962249" y="5572157"/>
                  </a:cubicBezTo>
                  <a:cubicBezTo>
                    <a:pt x="1927629" y="5562967"/>
                    <a:pt x="1861564" y="5546489"/>
                    <a:pt x="1811380" y="5536032"/>
                  </a:cubicBezTo>
                  <a:cubicBezTo>
                    <a:pt x="1786289" y="5530962"/>
                    <a:pt x="1735152" y="5522089"/>
                    <a:pt x="1690368" y="5514800"/>
                  </a:cubicBezTo>
                  <a:cubicBezTo>
                    <a:pt x="1658923" y="5509730"/>
                    <a:pt x="1630655" y="5504977"/>
                    <a:pt x="1616362" y="5502759"/>
                  </a:cubicBezTo>
                  <a:cubicBezTo>
                    <a:pt x="1617315" y="5511315"/>
                    <a:pt x="1617951" y="5521138"/>
                    <a:pt x="1618586" y="5532229"/>
                  </a:cubicBezTo>
                  <a:cubicBezTo>
                    <a:pt x="1619856" y="5556947"/>
                    <a:pt x="1620174" y="5587368"/>
                    <a:pt x="1620174" y="5619057"/>
                  </a:cubicBezTo>
                  <a:cubicBezTo>
                    <a:pt x="1620174" y="5646943"/>
                    <a:pt x="1619856" y="5676096"/>
                    <a:pt x="1619221" y="5703982"/>
                  </a:cubicBezTo>
                  <a:cubicBezTo>
                    <a:pt x="1619221" y="5703982"/>
                    <a:pt x="1619221" y="5703982"/>
                    <a:pt x="1598576" y="5703982"/>
                  </a:cubicBezTo>
                  <a:cubicBezTo>
                    <a:pt x="1598893" y="5676413"/>
                    <a:pt x="1599211" y="5647893"/>
                    <a:pt x="1599211" y="5620324"/>
                  </a:cubicBezTo>
                  <a:cubicBezTo>
                    <a:pt x="1599211" y="5620324"/>
                    <a:pt x="1599211" y="5620324"/>
                    <a:pt x="1500114" y="5631732"/>
                  </a:cubicBezTo>
                  <a:cubicBezTo>
                    <a:pt x="1500114" y="5631732"/>
                    <a:pt x="1500114" y="5631732"/>
                    <a:pt x="1476928" y="5703982"/>
                  </a:cubicBezTo>
                  <a:cubicBezTo>
                    <a:pt x="1476928" y="5703982"/>
                    <a:pt x="1476928" y="5703982"/>
                    <a:pt x="1472481" y="5703982"/>
                  </a:cubicBezTo>
                  <a:cubicBezTo>
                    <a:pt x="1472481" y="5703982"/>
                    <a:pt x="1472481" y="5703982"/>
                    <a:pt x="1495985" y="5630148"/>
                  </a:cubicBezTo>
                  <a:cubicBezTo>
                    <a:pt x="1495985" y="5630148"/>
                    <a:pt x="1495985" y="5630148"/>
                    <a:pt x="1431826" y="5538884"/>
                  </a:cubicBezTo>
                  <a:cubicBezTo>
                    <a:pt x="1426744" y="5540468"/>
                    <a:pt x="1410863" y="5545539"/>
                    <a:pt x="1394982" y="5550926"/>
                  </a:cubicBezTo>
                  <a:cubicBezTo>
                    <a:pt x="1385136" y="5554095"/>
                    <a:pt x="1375607" y="5557263"/>
                    <a:pt x="1368302" y="5559798"/>
                  </a:cubicBezTo>
                  <a:cubicBezTo>
                    <a:pt x="1364808" y="5561066"/>
                    <a:pt x="1361950" y="5562017"/>
                    <a:pt x="1359726" y="5562967"/>
                  </a:cubicBezTo>
                  <a:cubicBezTo>
                    <a:pt x="1359091" y="5563284"/>
                    <a:pt x="1358456" y="5563284"/>
                    <a:pt x="1357821" y="5563601"/>
                  </a:cubicBezTo>
                  <a:cubicBezTo>
                    <a:pt x="1357503" y="5566136"/>
                    <a:pt x="1355597" y="5569939"/>
                    <a:pt x="1353056" y="5575960"/>
                  </a:cubicBezTo>
                  <a:cubicBezTo>
                    <a:pt x="1345751" y="5593389"/>
                    <a:pt x="1332411" y="5622542"/>
                    <a:pt x="1328917" y="5630781"/>
                  </a:cubicBezTo>
                  <a:cubicBezTo>
                    <a:pt x="1328917" y="5630781"/>
                    <a:pt x="1328917" y="5630781"/>
                    <a:pt x="1375925" y="5635852"/>
                  </a:cubicBezTo>
                  <a:cubicBezTo>
                    <a:pt x="1375925" y="5635852"/>
                    <a:pt x="1375925" y="5635852"/>
                    <a:pt x="1369255" y="5703982"/>
                  </a:cubicBezTo>
                  <a:cubicBezTo>
                    <a:pt x="1369255" y="5703982"/>
                    <a:pt x="1369255" y="5703982"/>
                    <a:pt x="1354962" y="5703982"/>
                  </a:cubicBezTo>
                  <a:cubicBezTo>
                    <a:pt x="1354962" y="5703982"/>
                    <a:pt x="1354962" y="5703982"/>
                    <a:pt x="1360362" y="5648527"/>
                  </a:cubicBezTo>
                  <a:cubicBezTo>
                    <a:pt x="1360362" y="5648527"/>
                    <a:pt x="1360362" y="5648527"/>
                    <a:pt x="1330823" y="5645358"/>
                  </a:cubicBezTo>
                  <a:cubicBezTo>
                    <a:pt x="1330823" y="5645358"/>
                    <a:pt x="1330823" y="5645358"/>
                    <a:pt x="1241572" y="5695743"/>
                  </a:cubicBezTo>
                  <a:cubicBezTo>
                    <a:pt x="1241572" y="5695743"/>
                    <a:pt x="1241572" y="5695743"/>
                    <a:pt x="1238078" y="5703982"/>
                  </a:cubicBezTo>
                  <a:cubicBezTo>
                    <a:pt x="1238078" y="5703982"/>
                    <a:pt x="1238078" y="5703982"/>
                    <a:pt x="1232997" y="5703982"/>
                  </a:cubicBezTo>
                  <a:cubicBezTo>
                    <a:pt x="1232997" y="5703982"/>
                    <a:pt x="1232997" y="5703982"/>
                    <a:pt x="1238078" y="5692575"/>
                  </a:cubicBezTo>
                  <a:cubicBezTo>
                    <a:pt x="1238078" y="5692575"/>
                    <a:pt x="1238078" y="5692575"/>
                    <a:pt x="1323200" y="5644408"/>
                  </a:cubicBezTo>
                  <a:cubicBezTo>
                    <a:pt x="1323200" y="5644408"/>
                    <a:pt x="1323200" y="5644408"/>
                    <a:pt x="1209810" y="5631732"/>
                  </a:cubicBezTo>
                  <a:cubicBezTo>
                    <a:pt x="1209810" y="5631732"/>
                    <a:pt x="1209810" y="5631732"/>
                    <a:pt x="1180272" y="5465683"/>
                  </a:cubicBezTo>
                  <a:cubicBezTo>
                    <a:pt x="1170743" y="5470753"/>
                    <a:pt x="1135805" y="5489766"/>
                    <a:pt x="1100549" y="5509096"/>
                  </a:cubicBezTo>
                  <a:cubicBezTo>
                    <a:pt x="1079904" y="5520188"/>
                    <a:pt x="1059577" y="5531595"/>
                    <a:pt x="1044013" y="5540468"/>
                  </a:cubicBezTo>
                  <a:cubicBezTo>
                    <a:pt x="1036390" y="5544588"/>
                    <a:pt x="1030038" y="5548391"/>
                    <a:pt x="1025274" y="5550926"/>
                  </a:cubicBezTo>
                  <a:cubicBezTo>
                    <a:pt x="1023050" y="5552193"/>
                    <a:pt x="1021462" y="5553461"/>
                    <a:pt x="1020192" y="5554095"/>
                  </a:cubicBezTo>
                  <a:cubicBezTo>
                    <a:pt x="1019874" y="5554411"/>
                    <a:pt x="1019557" y="5554728"/>
                    <a:pt x="1019239" y="5554728"/>
                  </a:cubicBezTo>
                  <a:cubicBezTo>
                    <a:pt x="1019239" y="5554728"/>
                    <a:pt x="1019239" y="5554728"/>
                    <a:pt x="1126277" y="5660886"/>
                  </a:cubicBezTo>
                  <a:cubicBezTo>
                    <a:pt x="1126277" y="5660886"/>
                    <a:pt x="1126277" y="5660886"/>
                    <a:pt x="1126277" y="5661520"/>
                  </a:cubicBezTo>
                  <a:cubicBezTo>
                    <a:pt x="1126277" y="5661836"/>
                    <a:pt x="1126277" y="5676413"/>
                    <a:pt x="1125959" y="5691307"/>
                  </a:cubicBezTo>
                  <a:cubicBezTo>
                    <a:pt x="1125959" y="5695743"/>
                    <a:pt x="1125641" y="5699863"/>
                    <a:pt x="1125641" y="5703982"/>
                  </a:cubicBezTo>
                  <a:cubicBezTo>
                    <a:pt x="1125641" y="5703982"/>
                    <a:pt x="1125641" y="5703982"/>
                    <a:pt x="1121195" y="5703982"/>
                  </a:cubicBezTo>
                  <a:cubicBezTo>
                    <a:pt x="1121512" y="5699229"/>
                    <a:pt x="1121512" y="5693842"/>
                    <a:pt x="1121512" y="5688455"/>
                  </a:cubicBezTo>
                  <a:cubicBezTo>
                    <a:pt x="1121830" y="5676730"/>
                    <a:pt x="1121830" y="5665956"/>
                    <a:pt x="1121830" y="5662470"/>
                  </a:cubicBezTo>
                  <a:cubicBezTo>
                    <a:pt x="1121830" y="5662470"/>
                    <a:pt x="1121830" y="5662470"/>
                    <a:pt x="1010346" y="5551876"/>
                  </a:cubicBezTo>
                  <a:cubicBezTo>
                    <a:pt x="1010346" y="5551876"/>
                    <a:pt x="1010346" y="5551876"/>
                    <a:pt x="972231" y="5472021"/>
                  </a:cubicBezTo>
                  <a:cubicBezTo>
                    <a:pt x="972231" y="5472021"/>
                    <a:pt x="972231" y="5472021"/>
                    <a:pt x="954762" y="5403890"/>
                  </a:cubicBezTo>
                  <a:cubicBezTo>
                    <a:pt x="954762" y="5403890"/>
                    <a:pt x="954762" y="5403890"/>
                    <a:pt x="839149" y="5423537"/>
                  </a:cubicBezTo>
                  <a:cubicBezTo>
                    <a:pt x="839784" y="5468218"/>
                    <a:pt x="840737" y="5510047"/>
                    <a:pt x="841690" y="5543954"/>
                  </a:cubicBezTo>
                  <a:cubicBezTo>
                    <a:pt x="842325" y="5576594"/>
                    <a:pt x="843278" y="5601628"/>
                    <a:pt x="843596" y="5614620"/>
                  </a:cubicBezTo>
                  <a:cubicBezTo>
                    <a:pt x="897591" y="5615888"/>
                    <a:pt x="942058" y="5653597"/>
                    <a:pt x="953810" y="5703982"/>
                  </a:cubicBezTo>
                  <a:cubicBezTo>
                    <a:pt x="953810" y="5703982"/>
                    <a:pt x="953810" y="5703982"/>
                    <a:pt x="901402" y="5703982"/>
                  </a:cubicBezTo>
                  <a:cubicBezTo>
                    <a:pt x="891239" y="5680850"/>
                    <a:pt x="868052" y="5664688"/>
                    <a:pt x="841055" y="5664688"/>
                  </a:cubicBezTo>
                  <a:cubicBezTo>
                    <a:pt x="814057" y="5664688"/>
                    <a:pt x="790871" y="5680850"/>
                    <a:pt x="780707" y="5703982"/>
                  </a:cubicBezTo>
                  <a:cubicBezTo>
                    <a:pt x="780707" y="5703982"/>
                    <a:pt x="780707" y="5703982"/>
                    <a:pt x="728300" y="5703982"/>
                  </a:cubicBezTo>
                  <a:cubicBezTo>
                    <a:pt x="728618" y="5702081"/>
                    <a:pt x="728935" y="5700180"/>
                    <a:pt x="729571" y="5698279"/>
                  </a:cubicBezTo>
                  <a:cubicBezTo>
                    <a:pt x="715913" y="5694159"/>
                    <a:pt x="696221" y="5688772"/>
                    <a:pt x="670494" y="5683385"/>
                  </a:cubicBezTo>
                  <a:cubicBezTo>
                    <a:pt x="618404" y="5672611"/>
                    <a:pt x="563774" y="5668808"/>
                    <a:pt x="508508" y="5658034"/>
                  </a:cubicBezTo>
                  <a:cubicBezTo>
                    <a:pt x="459277" y="5648527"/>
                    <a:pt x="398612" y="5629514"/>
                    <a:pt x="327783" y="5603529"/>
                  </a:cubicBezTo>
                  <a:cubicBezTo>
                    <a:pt x="349699" y="5617472"/>
                    <a:pt x="370344" y="5630464"/>
                    <a:pt x="385907" y="5639337"/>
                  </a:cubicBezTo>
                  <a:cubicBezTo>
                    <a:pt x="435456" y="5667857"/>
                    <a:pt x="469441" y="5690990"/>
                    <a:pt x="515496" y="5703982"/>
                  </a:cubicBezTo>
                  <a:cubicBezTo>
                    <a:pt x="515496" y="5703982"/>
                    <a:pt x="515496" y="5703982"/>
                    <a:pt x="400835" y="5703982"/>
                  </a:cubicBezTo>
                  <a:cubicBezTo>
                    <a:pt x="388130" y="5696694"/>
                    <a:pt x="375108" y="5688772"/>
                    <a:pt x="361768" y="5681167"/>
                  </a:cubicBezTo>
                  <a:cubicBezTo>
                    <a:pt x="334453" y="5665639"/>
                    <a:pt x="294751" y="5639971"/>
                    <a:pt x="258224" y="5615888"/>
                  </a:cubicBezTo>
                  <a:cubicBezTo>
                    <a:pt x="221698" y="5591804"/>
                    <a:pt x="189936" y="5569939"/>
                    <a:pt x="177232" y="5560115"/>
                  </a:cubicBezTo>
                  <a:cubicBezTo>
                    <a:pt x="175008" y="5558214"/>
                    <a:pt x="163256" y="5549975"/>
                    <a:pt x="148328" y="5539201"/>
                  </a:cubicBezTo>
                  <a:cubicBezTo>
                    <a:pt x="137212" y="5531279"/>
                    <a:pt x="124507" y="5521772"/>
                    <a:pt x="110849" y="5510364"/>
                  </a:cubicBezTo>
                  <a:cubicBezTo>
                    <a:pt x="117202" y="5543320"/>
                    <a:pt x="125460" y="5591487"/>
                    <a:pt x="128001" y="5630148"/>
                  </a:cubicBezTo>
                  <a:cubicBezTo>
                    <a:pt x="129589" y="5657400"/>
                    <a:pt x="132130" y="5681800"/>
                    <a:pt x="133718" y="5703982"/>
                  </a:cubicBezTo>
                  <a:cubicBezTo>
                    <a:pt x="133718" y="5703982"/>
                    <a:pt x="133718" y="5703982"/>
                    <a:pt x="119425" y="5703982"/>
                  </a:cubicBezTo>
                  <a:cubicBezTo>
                    <a:pt x="117519" y="5682434"/>
                    <a:pt x="115296" y="5658351"/>
                    <a:pt x="113708" y="5630781"/>
                  </a:cubicBezTo>
                  <a:cubicBezTo>
                    <a:pt x="111802" y="5599726"/>
                    <a:pt x="105450" y="5560749"/>
                    <a:pt x="99733" y="5530011"/>
                  </a:cubicBezTo>
                  <a:cubicBezTo>
                    <a:pt x="97509" y="5516385"/>
                    <a:pt x="94968" y="5504660"/>
                    <a:pt x="93063" y="5495470"/>
                  </a:cubicBezTo>
                  <a:cubicBezTo>
                    <a:pt x="60030" y="5466317"/>
                    <a:pt x="28268" y="5430508"/>
                    <a:pt x="8894" y="5411178"/>
                  </a:cubicBezTo>
                  <a:cubicBezTo>
                    <a:pt x="6670" y="5408960"/>
                    <a:pt x="4129" y="5406425"/>
                    <a:pt x="1271" y="5403573"/>
                  </a:cubicBezTo>
                  <a:cubicBezTo>
                    <a:pt x="1271" y="5403573"/>
                    <a:pt x="1271" y="5403573"/>
                    <a:pt x="1271" y="5311358"/>
                  </a:cubicBezTo>
                  <a:cubicBezTo>
                    <a:pt x="25092" y="5333224"/>
                    <a:pt x="52090" y="5357624"/>
                    <a:pt x="80040" y="5382024"/>
                  </a:cubicBezTo>
                  <a:cubicBezTo>
                    <a:pt x="120695" y="5417199"/>
                    <a:pt x="163574" y="5453007"/>
                    <a:pt x="202959" y="5481844"/>
                  </a:cubicBezTo>
                  <a:cubicBezTo>
                    <a:pt x="242343" y="5510998"/>
                    <a:pt x="278870" y="5533814"/>
                    <a:pt x="303009" y="5542687"/>
                  </a:cubicBezTo>
                  <a:cubicBezTo>
                    <a:pt x="390671" y="5576277"/>
                    <a:pt x="464677" y="5600360"/>
                    <a:pt x="517719" y="5610817"/>
                  </a:cubicBezTo>
                  <a:cubicBezTo>
                    <a:pt x="569173" y="5620641"/>
                    <a:pt x="624121" y="5624761"/>
                    <a:pt x="680340" y="5636168"/>
                  </a:cubicBezTo>
                  <a:cubicBezTo>
                    <a:pt x="713690" y="5643140"/>
                    <a:pt x="738464" y="5650112"/>
                    <a:pt x="753074" y="5654865"/>
                  </a:cubicBezTo>
                  <a:cubicBezTo>
                    <a:pt x="770544" y="5634584"/>
                    <a:pt x="795000" y="5620324"/>
                    <a:pt x="822951" y="5616205"/>
                  </a:cubicBezTo>
                  <a:cubicBezTo>
                    <a:pt x="822315" y="5599409"/>
                    <a:pt x="821045" y="5562967"/>
                    <a:pt x="820092" y="5515751"/>
                  </a:cubicBezTo>
                  <a:cubicBezTo>
                    <a:pt x="820092" y="5515751"/>
                    <a:pt x="820092" y="5515751"/>
                    <a:pt x="805164" y="5513216"/>
                  </a:cubicBezTo>
                  <a:cubicBezTo>
                    <a:pt x="805164" y="5513216"/>
                    <a:pt x="805164" y="5513216"/>
                    <a:pt x="804211" y="5596874"/>
                  </a:cubicBezTo>
                  <a:cubicBezTo>
                    <a:pt x="804211" y="5596874"/>
                    <a:pt x="804211" y="5596874"/>
                    <a:pt x="802623" y="5597191"/>
                  </a:cubicBezTo>
                  <a:cubicBezTo>
                    <a:pt x="802623" y="5597191"/>
                    <a:pt x="793412" y="5599409"/>
                    <a:pt x="780707" y="5605430"/>
                  </a:cubicBezTo>
                  <a:cubicBezTo>
                    <a:pt x="768320" y="5611134"/>
                    <a:pt x="752757" y="5620958"/>
                    <a:pt x="740370" y="5636168"/>
                  </a:cubicBezTo>
                  <a:cubicBezTo>
                    <a:pt x="740370" y="5636168"/>
                    <a:pt x="740370" y="5636168"/>
                    <a:pt x="739734" y="5636802"/>
                  </a:cubicBezTo>
                  <a:cubicBezTo>
                    <a:pt x="739734" y="5636802"/>
                    <a:pt x="739734" y="5636802"/>
                    <a:pt x="738782" y="5636802"/>
                  </a:cubicBezTo>
                  <a:cubicBezTo>
                    <a:pt x="738782" y="5636802"/>
                    <a:pt x="738782" y="5636802"/>
                    <a:pt x="738464" y="5636802"/>
                  </a:cubicBezTo>
                  <a:cubicBezTo>
                    <a:pt x="733700" y="5636802"/>
                    <a:pt x="397659" y="5568988"/>
                    <a:pt x="397341" y="5568671"/>
                  </a:cubicBezTo>
                  <a:cubicBezTo>
                    <a:pt x="397341" y="5568671"/>
                    <a:pt x="397341" y="5568671"/>
                    <a:pt x="397024" y="5568671"/>
                  </a:cubicBezTo>
                  <a:cubicBezTo>
                    <a:pt x="397024" y="5568671"/>
                    <a:pt x="397024" y="5568671"/>
                    <a:pt x="295703" y="5524624"/>
                  </a:cubicBezTo>
                  <a:cubicBezTo>
                    <a:pt x="295386" y="5524941"/>
                    <a:pt x="295386" y="5524941"/>
                    <a:pt x="295068" y="5524941"/>
                  </a:cubicBezTo>
                  <a:cubicBezTo>
                    <a:pt x="294751" y="5525258"/>
                    <a:pt x="294433" y="5525258"/>
                    <a:pt x="294115" y="5525258"/>
                  </a:cubicBezTo>
                  <a:cubicBezTo>
                    <a:pt x="294115" y="5525258"/>
                    <a:pt x="293798" y="5525258"/>
                    <a:pt x="293798" y="5525258"/>
                  </a:cubicBezTo>
                  <a:cubicBezTo>
                    <a:pt x="293480" y="5525258"/>
                    <a:pt x="293480" y="5525258"/>
                    <a:pt x="293480" y="5525258"/>
                  </a:cubicBezTo>
                  <a:cubicBezTo>
                    <a:pt x="293480" y="5525258"/>
                    <a:pt x="293480" y="5525258"/>
                    <a:pt x="293798" y="5523990"/>
                  </a:cubicBezTo>
                  <a:cubicBezTo>
                    <a:pt x="293798" y="5523990"/>
                    <a:pt x="293798" y="5523990"/>
                    <a:pt x="219792" y="5491668"/>
                  </a:cubicBezTo>
                  <a:cubicBezTo>
                    <a:pt x="219792" y="5491668"/>
                    <a:pt x="219792" y="5491668"/>
                    <a:pt x="155951" y="5431142"/>
                  </a:cubicBezTo>
                  <a:cubicBezTo>
                    <a:pt x="155951" y="5431142"/>
                    <a:pt x="155951" y="5431142"/>
                    <a:pt x="153410" y="5429241"/>
                  </a:cubicBezTo>
                  <a:cubicBezTo>
                    <a:pt x="153410" y="5429241"/>
                    <a:pt x="153728" y="5428924"/>
                    <a:pt x="153728" y="5428924"/>
                  </a:cubicBezTo>
                  <a:cubicBezTo>
                    <a:pt x="153728" y="5428924"/>
                    <a:pt x="153728" y="5428924"/>
                    <a:pt x="1271" y="5284106"/>
                  </a:cubicBezTo>
                  <a:cubicBezTo>
                    <a:pt x="1271" y="5284106"/>
                    <a:pt x="1271" y="5284106"/>
                    <a:pt x="1271" y="5278085"/>
                  </a:cubicBezTo>
                  <a:cubicBezTo>
                    <a:pt x="1271" y="5278085"/>
                    <a:pt x="1271" y="5278085"/>
                    <a:pt x="105767" y="5377271"/>
                  </a:cubicBezTo>
                  <a:cubicBezTo>
                    <a:pt x="112120" y="5369032"/>
                    <a:pt x="136259" y="5336076"/>
                    <a:pt x="160715" y="5302802"/>
                  </a:cubicBezTo>
                  <a:cubicBezTo>
                    <a:pt x="175008" y="5283472"/>
                    <a:pt x="189301" y="5264459"/>
                    <a:pt x="200418" y="5250199"/>
                  </a:cubicBezTo>
                  <a:cubicBezTo>
                    <a:pt x="205817" y="5242911"/>
                    <a:pt x="210582" y="5236890"/>
                    <a:pt x="214075" y="5232453"/>
                  </a:cubicBezTo>
                  <a:cubicBezTo>
                    <a:pt x="215663" y="5230552"/>
                    <a:pt x="217252" y="5228968"/>
                    <a:pt x="218204" y="5227700"/>
                  </a:cubicBezTo>
                  <a:cubicBezTo>
                    <a:pt x="218522" y="5227383"/>
                    <a:pt x="218522" y="5227383"/>
                    <a:pt x="218522" y="5227383"/>
                  </a:cubicBezTo>
                  <a:cubicBezTo>
                    <a:pt x="206452" y="5215024"/>
                    <a:pt x="136576" y="5136753"/>
                    <a:pt x="121648" y="5119958"/>
                  </a:cubicBezTo>
                  <a:cubicBezTo>
                    <a:pt x="121648" y="5119958"/>
                    <a:pt x="121648" y="5119958"/>
                    <a:pt x="97827" y="5238474"/>
                  </a:cubicBezTo>
                  <a:cubicBezTo>
                    <a:pt x="97827" y="5238474"/>
                    <a:pt x="97827" y="5238474"/>
                    <a:pt x="71464" y="5273015"/>
                  </a:cubicBezTo>
                  <a:cubicBezTo>
                    <a:pt x="71464" y="5273015"/>
                    <a:pt x="71464" y="5273015"/>
                    <a:pt x="84804" y="5283789"/>
                  </a:cubicBezTo>
                  <a:cubicBezTo>
                    <a:pt x="84804" y="5283789"/>
                    <a:pt x="84804" y="5283789"/>
                    <a:pt x="76229" y="5294246"/>
                  </a:cubicBezTo>
                  <a:cubicBezTo>
                    <a:pt x="76229" y="5294246"/>
                    <a:pt x="76229" y="5294246"/>
                    <a:pt x="87981" y="5303753"/>
                  </a:cubicBezTo>
                  <a:cubicBezTo>
                    <a:pt x="87981" y="5303753"/>
                    <a:pt x="87981" y="5303753"/>
                    <a:pt x="70829" y="5324985"/>
                  </a:cubicBezTo>
                  <a:cubicBezTo>
                    <a:pt x="70829" y="5324985"/>
                    <a:pt x="70829" y="5324985"/>
                    <a:pt x="46373" y="5305654"/>
                  </a:cubicBezTo>
                  <a:cubicBezTo>
                    <a:pt x="46373" y="5305654"/>
                    <a:pt x="46373" y="5305654"/>
                    <a:pt x="40655" y="5313260"/>
                  </a:cubicBezTo>
                  <a:cubicBezTo>
                    <a:pt x="40655" y="5313260"/>
                    <a:pt x="40655" y="5313260"/>
                    <a:pt x="37162" y="5310725"/>
                  </a:cubicBezTo>
                  <a:cubicBezTo>
                    <a:pt x="37162" y="5310725"/>
                    <a:pt x="37162" y="5310725"/>
                    <a:pt x="42879" y="5302802"/>
                  </a:cubicBezTo>
                  <a:cubicBezTo>
                    <a:pt x="42879" y="5302802"/>
                    <a:pt x="42879" y="5302802"/>
                    <a:pt x="18422" y="5283472"/>
                  </a:cubicBezTo>
                  <a:cubicBezTo>
                    <a:pt x="18422" y="5283472"/>
                    <a:pt x="18422" y="5283472"/>
                    <a:pt x="19693" y="5281888"/>
                  </a:cubicBezTo>
                  <a:cubicBezTo>
                    <a:pt x="19693" y="5281888"/>
                    <a:pt x="19693" y="5281888"/>
                    <a:pt x="35574" y="5261924"/>
                  </a:cubicBezTo>
                  <a:cubicBezTo>
                    <a:pt x="35574" y="5261924"/>
                    <a:pt x="35574" y="5261924"/>
                    <a:pt x="47325" y="5271431"/>
                  </a:cubicBezTo>
                  <a:cubicBezTo>
                    <a:pt x="47325" y="5271431"/>
                    <a:pt x="47325" y="5271431"/>
                    <a:pt x="55901" y="5260656"/>
                  </a:cubicBezTo>
                  <a:cubicBezTo>
                    <a:pt x="55901" y="5260656"/>
                    <a:pt x="55901" y="5260656"/>
                    <a:pt x="67971" y="5270480"/>
                  </a:cubicBezTo>
                  <a:cubicBezTo>
                    <a:pt x="67971" y="5270480"/>
                    <a:pt x="67971" y="5270480"/>
                    <a:pt x="93698" y="5236890"/>
                  </a:cubicBezTo>
                  <a:cubicBezTo>
                    <a:pt x="93698" y="5236890"/>
                    <a:pt x="93698" y="5236890"/>
                    <a:pt x="117837" y="5116155"/>
                  </a:cubicBezTo>
                  <a:cubicBezTo>
                    <a:pt x="117837" y="5116155"/>
                    <a:pt x="117837" y="5116155"/>
                    <a:pt x="6035" y="5057531"/>
                  </a:cubicBezTo>
                  <a:cubicBezTo>
                    <a:pt x="6035" y="5057531"/>
                    <a:pt x="6035" y="5057531"/>
                    <a:pt x="1271" y="5063869"/>
                  </a:cubicBezTo>
                  <a:cubicBezTo>
                    <a:pt x="1271" y="5063869"/>
                    <a:pt x="1271" y="5063869"/>
                    <a:pt x="1271" y="5056897"/>
                  </a:cubicBezTo>
                  <a:cubicBezTo>
                    <a:pt x="1271" y="5056897"/>
                    <a:pt x="1271" y="5056897"/>
                    <a:pt x="2541" y="5055630"/>
                  </a:cubicBezTo>
                  <a:cubicBezTo>
                    <a:pt x="2541" y="5055630"/>
                    <a:pt x="2541" y="5055630"/>
                    <a:pt x="1271" y="5054996"/>
                  </a:cubicBezTo>
                  <a:cubicBezTo>
                    <a:pt x="1271" y="5054996"/>
                    <a:pt x="1271" y="5054996"/>
                    <a:pt x="1271" y="5049926"/>
                  </a:cubicBezTo>
                  <a:cubicBezTo>
                    <a:pt x="1271" y="5049926"/>
                    <a:pt x="1271" y="5049926"/>
                    <a:pt x="5082" y="5052144"/>
                  </a:cubicBezTo>
                  <a:cubicBezTo>
                    <a:pt x="5082" y="5052144"/>
                    <a:pt x="5082" y="5052144"/>
                    <a:pt x="34621" y="5012850"/>
                  </a:cubicBezTo>
                  <a:cubicBezTo>
                    <a:pt x="34621" y="5012850"/>
                    <a:pt x="34621" y="5012850"/>
                    <a:pt x="3494" y="4996689"/>
                  </a:cubicBezTo>
                  <a:cubicBezTo>
                    <a:pt x="3494" y="4996689"/>
                    <a:pt x="3494" y="4996689"/>
                    <a:pt x="1271" y="4999541"/>
                  </a:cubicBezTo>
                  <a:cubicBezTo>
                    <a:pt x="1271" y="4999541"/>
                    <a:pt x="1271" y="4999541"/>
                    <a:pt x="1271" y="4990668"/>
                  </a:cubicBezTo>
                  <a:cubicBezTo>
                    <a:pt x="1271" y="4990668"/>
                    <a:pt x="1271" y="4990668"/>
                    <a:pt x="2541" y="4991302"/>
                  </a:cubicBezTo>
                  <a:cubicBezTo>
                    <a:pt x="2541" y="4991302"/>
                    <a:pt x="2541" y="4991302"/>
                    <a:pt x="29221" y="4955493"/>
                  </a:cubicBezTo>
                  <a:cubicBezTo>
                    <a:pt x="29221" y="4955493"/>
                    <a:pt x="29221" y="4955493"/>
                    <a:pt x="63842" y="4980844"/>
                  </a:cubicBezTo>
                  <a:cubicBezTo>
                    <a:pt x="63842" y="4980844"/>
                    <a:pt x="63842" y="4980844"/>
                    <a:pt x="62571" y="4982429"/>
                  </a:cubicBezTo>
                  <a:cubicBezTo>
                    <a:pt x="62571" y="4982429"/>
                    <a:pt x="62571" y="4982429"/>
                    <a:pt x="40973" y="5011266"/>
                  </a:cubicBezTo>
                  <a:cubicBezTo>
                    <a:pt x="40973" y="5011266"/>
                    <a:pt x="40973" y="5011266"/>
                    <a:pt x="264259" y="5127563"/>
                  </a:cubicBezTo>
                  <a:cubicBezTo>
                    <a:pt x="264259" y="5127563"/>
                    <a:pt x="264259" y="5127563"/>
                    <a:pt x="285857" y="5026476"/>
                  </a:cubicBezTo>
                  <a:cubicBezTo>
                    <a:pt x="285857" y="5026476"/>
                    <a:pt x="285857" y="5026476"/>
                    <a:pt x="213440" y="5015385"/>
                  </a:cubicBezTo>
                  <a:cubicBezTo>
                    <a:pt x="213440" y="5015385"/>
                    <a:pt x="213440" y="5015385"/>
                    <a:pt x="224557" y="4989717"/>
                  </a:cubicBezTo>
                  <a:cubicBezTo>
                    <a:pt x="224557" y="4989717"/>
                    <a:pt x="224557" y="4989717"/>
                    <a:pt x="34938" y="4937431"/>
                  </a:cubicBezTo>
                  <a:cubicBezTo>
                    <a:pt x="34938" y="4937431"/>
                    <a:pt x="34938" y="4937431"/>
                    <a:pt x="1271" y="4980844"/>
                  </a:cubicBezTo>
                  <a:cubicBezTo>
                    <a:pt x="1271" y="4980844"/>
                    <a:pt x="1271" y="4980844"/>
                    <a:pt x="1271" y="4946937"/>
                  </a:cubicBezTo>
                  <a:cubicBezTo>
                    <a:pt x="1271" y="4946937"/>
                    <a:pt x="1271" y="4946937"/>
                    <a:pt x="17152" y="4926656"/>
                  </a:cubicBezTo>
                  <a:cubicBezTo>
                    <a:pt x="24139" y="4917784"/>
                    <a:pt x="39385" y="4897503"/>
                    <a:pt x="57489" y="4874053"/>
                  </a:cubicBezTo>
                  <a:cubicBezTo>
                    <a:pt x="47961" y="4865814"/>
                    <a:pt x="27633" y="4848385"/>
                    <a:pt x="1271" y="4825886"/>
                  </a:cubicBezTo>
                  <a:cubicBezTo>
                    <a:pt x="1271" y="4825886"/>
                    <a:pt x="1271" y="4825886"/>
                    <a:pt x="1271" y="4798317"/>
                  </a:cubicBezTo>
                  <a:lnTo>
                    <a:pt x="22303" y="4816260"/>
                  </a:lnTo>
                  <a:lnTo>
                    <a:pt x="22234" y="4816379"/>
                  </a:lnTo>
                  <a:cubicBezTo>
                    <a:pt x="23186" y="4817013"/>
                    <a:pt x="23186" y="4817013"/>
                    <a:pt x="23186" y="4817013"/>
                  </a:cubicBezTo>
                  <a:lnTo>
                    <a:pt x="22303" y="4816260"/>
                  </a:lnTo>
                  <a:lnTo>
                    <a:pt x="23251" y="4814626"/>
                  </a:lnTo>
                  <a:cubicBezTo>
                    <a:pt x="26303" y="4809368"/>
                    <a:pt x="38512" y="4788335"/>
                    <a:pt x="87345" y="4704201"/>
                  </a:cubicBezTo>
                  <a:cubicBezTo>
                    <a:pt x="87345" y="4704201"/>
                    <a:pt x="87345" y="4704201"/>
                    <a:pt x="13340" y="4672512"/>
                  </a:cubicBezTo>
                  <a:cubicBezTo>
                    <a:pt x="13340" y="4672512"/>
                    <a:pt x="13340" y="4672512"/>
                    <a:pt x="1271" y="4687723"/>
                  </a:cubicBezTo>
                  <a:cubicBezTo>
                    <a:pt x="1271" y="4687723"/>
                    <a:pt x="1271" y="4687723"/>
                    <a:pt x="1271" y="4680435"/>
                  </a:cubicBezTo>
                  <a:cubicBezTo>
                    <a:pt x="1271" y="4680435"/>
                    <a:pt x="1271" y="4680435"/>
                    <a:pt x="8894" y="4670928"/>
                  </a:cubicBezTo>
                  <a:cubicBezTo>
                    <a:pt x="8894" y="4670928"/>
                    <a:pt x="8894" y="4670928"/>
                    <a:pt x="7623" y="4670294"/>
                  </a:cubicBezTo>
                  <a:cubicBezTo>
                    <a:pt x="7623" y="4670294"/>
                    <a:pt x="7623" y="4670294"/>
                    <a:pt x="1271" y="4664590"/>
                  </a:cubicBezTo>
                  <a:cubicBezTo>
                    <a:pt x="1271" y="4664590"/>
                    <a:pt x="1271" y="4664590"/>
                    <a:pt x="1271" y="4658569"/>
                  </a:cubicBezTo>
                  <a:cubicBezTo>
                    <a:pt x="1271" y="4658569"/>
                    <a:pt x="1271" y="4658569"/>
                    <a:pt x="9846" y="4666491"/>
                  </a:cubicBezTo>
                  <a:cubicBezTo>
                    <a:pt x="9846" y="4666491"/>
                    <a:pt x="9846" y="4666491"/>
                    <a:pt x="43479" y="4680796"/>
                  </a:cubicBezTo>
                  <a:lnTo>
                    <a:pt x="89476" y="4700359"/>
                  </a:lnTo>
                  <a:lnTo>
                    <a:pt x="89251" y="4701032"/>
                  </a:lnTo>
                  <a:cubicBezTo>
                    <a:pt x="89569" y="4700399"/>
                    <a:pt x="89569" y="4700399"/>
                    <a:pt x="89569" y="4700399"/>
                  </a:cubicBezTo>
                  <a:lnTo>
                    <a:pt x="89476" y="4700359"/>
                  </a:lnTo>
                  <a:lnTo>
                    <a:pt x="89569" y="4700082"/>
                  </a:lnTo>
                  <a:cubicBezTo>
                    <a:pt x="89569" y="4700082"/>
                    <a:pt x="89569" y="4700082"/>
                    <a:pt x="122283" y="4713391"/>
                  </a:cubicBezTo>
                  <a:cubicBezTo>
                    <a:pt x="122283" y="4713391"/>
                    <a:pt x="122283" y="4713391"/>
                    <a:pt x="157539" y="4630683"/>
                  </a:cubicBezTo>
                  <a:cubicBezTo>
                    <a:pt x="155633" y="4629416"/>
                    <a:pt x="154045" y="4628148"/>
                    <a:pt x="152775" y="4627197"/>
                  </a:cubicBezTo>
                  <a:cubicBezTo>
                    <a:pt x="152775" y="4627197"/>
                    <a:pt x="152775" y="4627197"/>
                    <a:pt x="149916" y="4624979"/>
                  </a:cubicBezTo>
                  <a:cubicBezTo>
                    <a:pt x="149599" y="4624662"/>
                    <a:pt x="149281" y="4624345"/>
                    <a:pt x="149281" y="4624345"/>
                  </a:cubicBezTo>
                  <a:cubicBezTo>
                    <a:pt x="149281" y="4624345"/>
                    <a:pt x="149281" y="4624345"/>
                    <a:pt x="47008" y="4543856"/>
                  </a:cubicBezTo>
                  <a:cubicBezTo>
                    <a:pt x="43196" y="4549560"/>
                    <a:pt x="37797" y="4557482"/>
                    <a:pt x="32397" y="4566038"/>
                  </a:cubicBezTo>
                  <a:cubicBezTo>
                    <a:pt x="27315" y="4573643"/>
                    <a:pt x="22234" y="4581249"/>
                    <a:pt x="18422" y="4587270"/>
                  </a:cubicBezTo>
                  <a:cubicBezTo>
                    <a:pt x="16516" y="4590122"/>
                    <a:pt x="15246" y="4592657"/>
                    <a:pt x="13975" y="4594558"/>
                  </a:cubicBezTo>
                  <a:cubicBezTo>
                    <a:pt x="13658" y="4595509"/>
                    <a:pt x="13023" y="4596142"/>
                    <a:pt x="12705" y="4596776"/>
                  </a:cubicBezTo>
                  <a:cubicBezTo>
                    <a:pt x="12705" y="4597093"/>
                    <a:pt x="12705" y="4597093"/>
                    <a:pt x="12705" y="4597410"/>
                  </a:cubicBezTo>
                  <a:cubicBezTo>
                    <a:pt x="12705" y="4597410"/>
                    <a:pt x="12705" y="4597410"/>
                    <a:pt x="11752" y="4597093"/>
                  </a:cubicBezTo>
                  <a:cubicBezTo>
                    <a:pt x="11752" y="4597093"/>
                    <a:pt x="11752" y="4597093"/>
                    <a:pt x="10799" y="4597093"/>
                  </a:cubicBezTo>
                  <a:cubicBezTo>
                    <a:pt x="10799" y="4597093"/>
                    <a:pt x="10799" y="4597093"/>
                    <a:pt x="11117" y="4599311"/>
                  </a:cubicBezTo>
                  <a:cubicBezTo>
                    <a:pt x="11117" y="4599311"/>
                    <a:pt x="7305" y="4600579"/>
                    <a:pt x="1271" y="4602480"/>
                  </a:cubicBezTo>
                  <a:cubicBezTo>
                    <a:pt x="1271" y="4602480"/>
                    <a:pt x="1271" y="4602480"/>
                    <a:pt x="1271" y="4598044"/>
                  </a:cubicBezTo>
                  <a:cubicBezTo>
                    <a:pt x="4447" y="4596776"/>
                    <a:pt x="6988" y="4596142"/>
                    <a:pt x="8576" y="4595509"/>
                  </a:cubicBezTo>
                  <a:cubicBezTo>
                    <a:pt x="8894" y="4594558"/>
                    <a:pt x="9529" y="4593924"/>
                    <a:pt x="10164" y="4592340"/>
                  </a:cubicBezTo>
                  <a:cubicBezTo>
                    <a:pt x="15881" y="4582199"/>
                    <a:pt x="34621" y="4554313"/>
                    <a:pt x="43514" y="4541004"/>
                  </a:cubicBezTo>
                  <a:cubicBezTo>
                    <a:pt x="43514" y="4541004"/>
                    <a:pt x="43514" y="4541004"/>
                    <a:pt x="1271" y="4507731"/>
                  </a:cubicBezTo>
                  <a:cubicBezTo>
                    <a:pt x="1271" y="4507731"/>
                    <a:pt x="1271" y="4507731"/>
                    <a:pt x="1271" y="4479528"/>
                  </a:cubicBezTo>
                  <a:cubicBezTo>
                    <a:pt x="1271" y="4479528"/>
                    <a:pt x="1271" y="4479528"/>
                    <a:pt x="13975" y="4447205"/>
                  </a:cubicBezTo>
                  <a:cubicBezTo>
                    <a:pt x="13975" y="4447205"/>
                    <a:pt x="13975" y="4447205"/>
                    <a:pt x="1271" y="4437382"/>
                  </a:cubicBezTo>
                  <a:cubicBezTo>
                    <a:pt x="1271" y="4437382"/>
                    <a:pt x="1271" y="4437382"/>
                    <a:pt x="1271" y="4431994"/>
                  </a:cubicBezTo>
                  <a:cubicBezTo>
                    <a:pt x="1271" y="4431994"/>
                    <a:pt x="1271" y="4431994"/>
                    <a:pt x="15881" y="4443086"/>
                  </a:cubicBezTo>
                  <a:cubicBezTo>
                    <a:pt x="15881" y="4443086"/>
                    <a:pt x="15881" y="4443086"/>
                    <a:pt x="36209" y="4391116"/>
                  </a:cubicBezTo>
                  <a:cubicBezTo>
                    <a:pt x="30492" y="4388581"/>
                    <a:pt x="17469" y="4381926"/>
                    <a:pt x="1271" y="4373370"/>
                  </a:cubicBezTo>
                  <a:cubicBezTo>
                    <a:pt x="1271" y="4373370"/>
                    <a:pt x="1271" y="4373370"/>
                    <a:pt x="1271" y="4368617"/>
                  </a:cubicBezTo>
                  <a:cubicBezTo>
                    <a:pt x="6988" y="4371469"/>
                    <a:pt x="12387" y="4374321"/>
                    <a:pt x="17152" y="4376856"/>
                  </a:cubicBezTo>
                  <a:cubicBezTo>
                    <a:pt x="24139" y="4380342"/>
                    <a:pt x="29856" y="4383194"/>
                    <a:pt x="33985" y="4385095"/>
                  </a:cubicBezTo>
                  <a:cubicBezTo>
                    <a:pt x="35574" y="4386046"/>
                    <a:pt x="36844" y="4386363"/>
                    <a:pt x="37797" y="4386996"/>
                  </a:cubicBezTo>
                  <a:cubicBezTo>
                    <a:pt x="37797" y="4386996"/>
                    <a:pt x="37797" y="4386996"/>
                    <a:pt x="54948" y="4343266"/>
                  </a:cubicBezTo>
                  <a:cubicBezTo>
                    <a:pt x="54948" y="4343266"/>
                    <a:pt x="54948" y="4343266"/>
                    <a:pt x="1271" y="4319816"/>
                  </a:cubicBezTo>
                  <a:cubicBezTo>
                    <a:pt x="1271" y="4319816"/>
                    <a:pt x="1271" y="4319816"/>
                    <a:pt x="1271" y="4315063"/>
                  </a:cubicBezTo>
                  <a:cubicBezTo>
                    <a:pt x="1271" y="4315063"/>
                    <a:pt x="1271" y="4315063"/>
                    <a:pt x="56536" y="4339146"/>
                  </a:cubicBezTo>
                  <a:cubicBezTo>
                    <a:pt x="56536" y="4339146"/>
                    <a:pt x="56536" y="4339146"/>
                    <a:pt x="62571" y="4323619"/>
                  </a:cubicBezTo>
                  <a:cubicBezTo>
                    <a:pt x="62571" y="4323619"/>
                    <a:pt x="62571" y="4323619"/>
                    <a:pt x="34303" y="4272600"/>
                  </a:cubicBezTo>
                  <a:cubicBezTo>
                    <a:pt x="34303" y="4272600"/>
                    <a:pt x="34303" y="4272600"/>
                    <a:pt x="34303" y="4272283"/>
                  </a:cubicBezTo>
                  <a:cubicBezTo>
                    <a:pt x="34303" y="4272283"/>
                    <a:pt x="34303" y="4272283"/>
                    <a:pt x="1271" y="4264995"/>
                  </a:cubicBezTo>
                  <a:cubicBezTo>
                    <a:pt x="1271" y="4264995"/>
                    <a:pt x="1271" y="4264995"/>
                    <a:pt x="1271" y="4260241"/>
                  </a:cubicBezTo>
                  <a:cubicBezTo>
                    <a:pt x="1271" y="4260241"/>
                    <a:pt x="1271" y="4260241"/>
                    <a:pt x="37162" y="4268480"/>
                  </a:cubicBezTo>
                  <a:cubicBezTo>
                    <a:pt x="37162" y="4268480"/>
                    <a:pt x="37162" y="4268480"/>
                    <a:pt x="72735" y="4213659"/>
                  </a:cubicBezTo>
                  <a:cubicBezTo>
                    <a:pt x="72735" y="4203835"/>
                    <a:pt x="73370" y="4163273"/>
                    <a:pt x="80358" y="4124930"/>
                  </a:cubicBezTo>
                  <a:cubicBezTo>
                    <a:pt x="81311" y="4118592"/>
                    <a:pt x="81946" y="4112571"/>
                    <a:pt x="81946" y="4106550"/>
                  </a:cubicBezTo>
                  <a:cubicBezTo>
                    <a:pt x="81946" y="4099896"/>
                    <a:pt x="80993" y="4093558"/>
                    <a:pt x="80040" y="4087220"/>
                  </a:cubicBezTo>
                  <a:cubicBezTo>
                    <a:pt x="69876" y="4091340"/>
                    <a:pt x="51772" y="4098945"/>
                    <a:pt x="34303" y="4106550"/>
                  </a:cubicBezTo>
                  <a:cubicBezTo>
                    <a:pt x="22234" y="4111938"/>
                    <a:pt x="10482" y="4117008"/>
                    <a:pt x="1271" y="4120810"/>
                  </a:cubicBezTo>
                  <a:cubicBezTo>
                    <a:pt x="1271" y="4120810"/>
                    <a:pt x="1271" y="4120810"/>
                    <a:pt x="1271" y="4116057"/>
                  </a:cubicBezTo>
                  <a:cubicBezTo>
                    <a:pt x="10482" y="4111938"/>
                    <a:pt x="21916" y="4107184"/>
                    <a:pt x="33985" y="4102114"/>
                  </a:cubicBezTo>
                  <a:cubicBezTo>
                    <a:pt x="46690" y="4096410"/>
                    <a:pt x="59713" y="4091023"/>
                    <a:pt x="69559" y="4086903"/>
                  </a:cubicBezTo>
                  <a:cubicBezTo>
                    <a:pt x="73370" y="4085319"/>
                    <a:pt x="76546" y="4084051"/>
                    <a:pt x="79087" y="4082784"/>
                  </a:cubicBezTo>
                  <a:cubicBezTo>
                    <a:pt x="74323" y="4061552"/>
                    <a:pt x="64159" y="4044124"/>
                    <a:pt x="56536" y="4034300"/>
                  </a:cubicBezTo>
                  <a:cubicBezTo>
                    <a:pt x="50502" y="4026695"/>
                    <a:pt x="43514" y="4020674"/>
                    <a:pt x="37797" y="4016554"/>
                  </a:cubicBezTo>
                  <a:cubicBezTo>
                    <a:pt x="34938" y="4014653"/>
                    <a:pt x="32080" y="4013069"/>
                    <a:pt x="30174" y="4012118"/>
                  </a:cubicBezTo>
                  <a:cubicBezTo>
                    <a:pt x="29221" y="4011801"/>
                    <a:pt x="28586" y="4011484"/>
                    <a:pt x="27951" y="4011167"/>
                  </a:cubicBezTo>
                  <a:cubicBezTo>
                    <a:pt x="26045" y="4011167"/>
                    <a:pt x="24775" y="4010850"/>
                    <a:pt x="22234" y="4010533"/>
                  </a:cubicBezTo>
                  <a:cubicBezTo>
                    <a:pt x="17469" y="4009900"/>
                    <a:pt x="9846" y="4008632"/>
                    <a:pt x="1271" y="4007048"/>
                  </a:cubicBezTo>
                  <a:cubicBezTo>
                    <a:pt x="1271" y="4007048"/>
                    <a:pt x="1271" y="4007048"/>
                    <a:pt x="1271" y="3992471"/>
                  </a:cubicBezTo>
                  <a:cubicBezTo>
                    <a:pt x="5717" y="3993421"/>
                    <a:pt x="9846" y="3994055"/>
                    <a:pt x="13340" y="3994689"/>
                  </a:cubicBezTo>
                  <a:cubicBezTo>
                    <a:pt x="17787" y="3995323"/>
                    <a:pt x="21598" y="3995957"/>
                    <a:pt x="24139" y="3996273"/>
                  </a:cubicBezTo>
                  <a:cubicBezTo>
                    <a:pt x="25727" y="3996590"/>
                    <a:pt x="26680" y="3996590"/>
                    <a:pt x="27633" y="3996907"/>
                  </a:cubicBezTo>
                  <a:cubicBezTo>
                    <a:pt x="27951" y="3996907"/>
                    <a:pt x="28268" y="3996907"/>
                    <a:pt x="28586" y="3996907"/>
                  </a:cubicBezTo>
                  <a:cubicBezTo>
                    <a:pt x="31762" y="3997224"/>
                    <a:pt x="33668" y="3998175"/>
                    <a:pt x="36526" y="3999442"/>
                  </a:cubicBezTo>
                  <a:cubicBezTo>
                    <a:pt x="36526" y="3999442"/>
                    <a:pt x="36526" y="3999442"/>
                    <a:pt x="96874" y="3926875"/>
                  </a:cubicBezTo>
                  <a:cubicBezTo>
                    <a:pt x="91792" y="3920220"/>
                    <a:pt x="86393" y="3913249"/>
                    <a:pt x="80675" y="3906277"/>
                  </a:cubicBezTo>
                  <a:cubicBezTo>
                    <a:pt x="68288" y="3891067"/>
                    <a:pt x="54313" y="3876490"/>
                    <a:pt x="48278" y="3873004"/>
                  </a:cubicBezTo>
                  <a:cubicBezTo>
                    <a:pt x="39703" y="3867617"/>
                    <a:pt x="18740" y="3863814"/>
                    <a:pt x="1271" y="3862230"/>
                  </a:cubicBezTo>
                  <a:cubicBezTo>
                    <a:pt x="1271" y="3862230"/>
                    <a:pt x="1271" y="3862230"/>
                    <a:pt x="1271" y="3841315"/>
                  </a:cubicBezTo>
                  <a:cubicBezTo>
                    <a:pt x="8258" y="3841949"/>
                    <a:pt x="15246" y="3842583"/>
                    <a:pt x="22551" y="3843850"/>
                  </a:cubicBezTo>
                  <a:cubicBezTo>
                    <a:pt x="22551" y="3843850"/>
                    <a:pt x="22551" y="3843850"/>
                    <a:pt x="33033" y="3799803"/>
                  </a:cubicBezTo>
                  <a:cubicBezTo>
                    <a:pt x="33033" y="3799803"/>
                    <a:pt x="33033" y="3799803"/>
                    <a:pt x="1271" y="3781107"/>
                  </a:cubicBezTo>
                  <a:cubicBezTo>
                    <a:pt x="1271" y="3781107"/>
                    <a:pt x="1271" y="3781107"/>
                    <a:pt x="1271" y="3764628"/>
                  </a:cubicBezTo>
                  <a:cubicBezTo>
                    <a:pt x="1271" y="3764628"/>
                    <a:pt x="1271" y="3764628"/>
                    <a:pt x="41608" y="3788078"/>
                  </a:cubicBezTo>
                  <a:cubicBezTo>
                    <a:pt x="41608" y="3788078"/>
                    <a:pt x="41608" y="3788078"/>
                    <a:pt x="184537" y="3719313"/>
                  </a:cubicBezTo>
                  <a:cubicBezTo>
                    <a:pt x="162621" y="3688258"/>
                    <a:pt x="138164" y="3654035"/>
                    <a:pt x="114343" y="3620128"/>
                  </a:cubicBezTo>
                  <a:cubicBezTo>
                    <a:pt x="113390" y="3618543"/>
                    <a:pt x="112437" y="3617276"/>
                    <a:pt x="111167" y="3615691"/>
                  </a:cubicBezTo>
                  <a:cubicBezTo>
                    <a:pt x="98462" y="3623930"/>
                    <a:pt x="58760" y="3649598"/>
                    <a:pt x="20010" y="3675266"/>
                  </a:cubicBezTo>
                  <a:cubicBezTo>
                    <a:pt x="13658" y="3679386"/>
                    <a:pt x="7623" y="3683505"/>
                    <a:pt x="1271" y="3687625"/>
                  </a:cubicBezTo>
                  <a:cubicBezTo>
                    <a:pt x="1271" y="3687625"/>
                    <a:pt x="1271" y="3687625"/>
                    <a:pt x="1271" y="3682238"/>
                  </a:cubicBezTo>
                  <a:cubicBezTo>
                    <a:pt x="6988" y="3678435"/>
                    <a:pt x="13023" y="3674632"/>
                    <a:pt x="18740" y="3670830"/>
                  </a:cubicBezTo>
                  <a:cubicBezTo>
                    <a:pt x="41926" y="3655619"/>
                    <a:pt x="65430" y="3640091"/>
                    <a:pt x="83216" y="3628683"/>
                  </a:cubicBezTo>
                  <a:cubicBezTo>
                    <a:pt x="91792" y="3622663"/>
                    <a:pt x="99415" y="3617909"/>
                    <a:pt x="104814" y="3614424"/>
                  </a:cubicBezTo>
                  <a:cubicBezTo>
                    <a:pt x="106403" y="3613473"/>
                    <a:pt x="107673" y="3612839"/>
                    <a:pt x="108626" y="3611888"/>
                  </a:cubicBezTo>
                  <a:cubicBezTo>
                    <a:pt x="98144" y="3596995"/>
                    <a:pt x="87663" y="3581784"/>
                    <a:pt x="77817" y="3567524"/>
                  </a:cubicBezTo>
                  <a:cubicBezTo>
                    <a:pt x="68288" y="3572277"/>
                    <a:pt x="36844" y="3588122"/>
                    <a:pt x="1271" y="3605868"/>
                  </a:cubicBezTo>
                  <a:cubicBezTo>
                    <a:pt x="1271" y="3605868"/>
                    <a:pt x="1271" y="3605868"/>
                    <a:pt x="1271" y="3600797"/>
                  </a:cubicBezTo>
                  <a:cubicBezTo>
                    <a:pt x="35256" y="3583685"/>
                    <a:pt x="65430" y="3568792"/>
                    <a:pt x="75276" y="3564038"/>
                  </a:cubicBezTo>
                  <a:cubicBezTo>
                    <a:pt x="59713" y="3540906"/>
                    <a:pt x="45102" y="3519674"/>
                    <a:pt x="33033" y="3501928"/>
                  </a:cubicBezTo>
                  <a:cubicBezTo>
                    <a:pt x="25410" y="3490520"/>
                    <a:pt x="17787" y="3480697"/>
                    <a:pt x="12070" y="3472458"/>
                  </a:cubicBezTo>
                  <a:cubicBezTo>
                    <a:pt x="12070" y="3472458"/>
                    <a:pt x="12070" y="3472458"/>
                    <a:pt x="11752" y="3472141"/>
                  </a:cubicBezTo>
                  <a:cubicBezTo>
                    <a:pt x="11752" y="3472141"/>
                    <a:pt x="11752" y="3472141"/>
                    <a:pt x="11752" y="3472458"/>
                  </a:cubicBezTo>
                  <a:cubicBezTo>
                    <a:pt x="8576" y="3475310"/>
                    <a:pt x="5082" y="3478162"/>
                    <a:pt x="1271" y="3481648"/>
                  </a:cubicBezTo>
                  <a:cubicBezTo>
                    <a:pt x="1271" y="3481648"/>
                    <a:pt x="1271" y="3481648"/>
                    <a:pt x="1271" y="3474993"/>
                  </a:cubicBezTo>
                  <a:cubicBezTo>
                    <a:pt x="1906" y="3474676"/>
                    <a:pt x="2541" y="3474042"/>
                    <a:pt x="2859" y="3473725"/>
                  </a:cubicBezTo>
                  <a:cubicBezTo>
                    <a:pt x="2859" y="3473725"/>
                    <a:pt x="2859" y="3473725"/>
                    <a:pt x="9211" y="3468338"/>
                  </a:cubicBezTo>
                  <a:cubicBezTo>
                    <a:pt x="7941" y="3466754"/>
                    <a:pt x="6670" y="3464852"/>
                    <a:pt x="5717" y="3463268"/>
                  </a:cubicBezTo>
                  <a:cubicBezTo>
                    <a:pt x="5717" y="3463268"/>
                    <a:pt x="5717" y="3463268"/>
                    <a:pt x="4447" y="3462000"/>
                  </a:cubicBezTo>
                  <a:cubicBezTo>
                    <a:pt x="3176" y="3459782"/>
                    <a:pt x="2224" y="3458198"/>
                    <a:pt x="1271" y="3456930"/>
                  </a:cubicBezTo>
                  <a:cubicBezTo>
                    <a:pt x="1271" y="3456930"/>
                    <a:pt x="1271" y="3456930"/>
                    <a:pt x="1271" y="3420488"/>
                  </a:cubicBezTo>
                  <a:cubicBezTo>
                    <a:pt x="1271" y="3420488"/>
                    <a:pt x="1271" y="3420488"/>
                    <a:pt x="7941" y="3430629"/>
                  </a:cubicBezTo>
                  <a:cubicBezTo>
                    <a:pt x="17152" y="3423657"/>
                    <a:pt x="20963" y="3421122"/>
                    <a:pt x="25092" y="3417953"/>
                  </a:cubicBezTo>
                  <a:cubicBezTo>
                    <a:pt x="53043" y="3397989"/>
                    <a:pt x="107038" y="3360913"/>
                    <a:pt x="108308" y="3359646"/>
                  </a:cubicBezTo>
                  <a:cubicBezTo>
                    <a:pt x="103226" y="3347287"/>
                    <a:pt x="99733" y="3339048"/>
                    <a:pt x="99733" y="3339048"/>
                  </a:cubicBezTo>
                  <a:cubicBezTo>
                    <a:pt x="99733" y="3339048"/>
                    <a:pt x="99733" y="3339048"/>
                    <a:pt x="109896" y="3332393"/>
                  </a:cubicBezTo>
                  <a:cubicBezTo>
                    <a:pt x="109896" y="3332393"/>
                    <a:pt x="109896" y="3332393"/>
                    <a:pt x="107355" y="3333978"/>
                  </a:cubicBezTo>
                  <a:cubicBezTo>
                    <a:pt x="107355" y="3333978"/>
                    <a:pt x="107355" y="3333978"/>
                    <a:pt x="96239" y="3310211"/>
                  </a:cubicBezTo>
                  <a:cubicBezTo>
                    <a:pt x="79087" y="3320035"/>
                    <a:pt x="62889" y="3330809"/>
                    <a:pt x="50184" y="3344435"/>
                  </a:cubicBezTo>
                  <a:cubicBezTo>
                    <a:pt x="32715" y="3363765"/>
                    <a:pt x="12070" y="3389433"/>
                    <a:pt x="1271" y="3402742"/>
                  </a:cubicBezTo>
                  <a:cubicBezTo>
                    <a:pt x="1271" y="3402742"/>
                    <a:pt x="1271" y="3402742"/>
                    <a:pt x="1271" y="3390067"/>
                  </a:cubicBezTo>
                  <a:cubicBezTo>
                    <a:pt x="12705" y="3376124"/>
                    <a:pt x="29539" y="3355526"/>
                    <a:pt x="44467" y="3339365"/>
                  </a:cubicBezTo>
                  <a:cubicBezTo>
                    <a:pt x="70194" y="3311162"/>
                    <a:pt x="108626" y="3295634"/>
                    <a:pt x="138800" y="3279473"/>
                  </a:cubicBezTo>
                  <a:cubicBezTo>
                    <a:pt x="153093" y="3271551"/>
                    <a:pt x="175643" y="3260777"/>
                    <a:pt x="197242" y="3251270"/>
                  </a:cubicBezTo>
                  <a:cubicBezTo>
                    <a:pt x="195336" y="3249052"/>
                    <a:pt x="193112" y="3246517"/>
                    <a:pt x="191207" y="3244298"/>
                  </a:cubicBezTo>
                  <a:cubicBezTo>
                    <a:pt x="188983" y="3241763"/>
                    <a:pt x="186760" y="3239228"/>
                    <a:pt x="184854" y="3236693"/>
                  </a:cubicBezTo>
                  <a:cubicBezTo>
                    <a:pt x="173103" y="3243982"/>
                    <a:pt x="163574" y="3250002"/>
                    <a:pt x="151822" y="3257608"/>
                  </a:cubicBezTo>
                  <a:cubicBezTo>
                    <a:pt x="151822" y="3257608"/>
                    <a:pt x="151822" y="3257608"/>
                    <a:pt x="151504" y="3257925"/>
                  </a:cubicBezTo>
                  <a:cubicBezTo>
                    <a:pt x="151504" y="3257925"/>
                    <a:pt x="151504" y="3257925"/>
                    <a:pt x="151187" y="3257925"/>
                  </a:cubicBezTo>
                  <a:cubicBezTo>
                    <a:pt x="150869" y="3257925"/>
                    <a:pt x="128953" y="3265213"/>
                    <a:pt x="123554" y="3265530"/>
                  </a:cubicBezTo>
                  <a:cubicBezTo>
                    <a:pt x="123554" y="3265530"/>
                    <a:pt x="123554" y="3265530"/>
                    <a:pt x="96556" y="3270600"/>
                  </a:cubicBezTo>
                  <a:cubicBezTo>
                    <a:pt x="88616" y="3271551"/>
                    <a:pt x="79723" y="3272818"/>
                    <a:pt x="70512" y="3273769"/>
                  </a:cubicBezTo>
                  <a:cubicBezTo>
                    <a:pt x="58124" y="3287395"/>
                    <a:pt x="44785" y="3301338"/>
                    <a:pt x="31762" y="3315598"/>
                  </a:cubicBezTo>
                  <a:cubicBezTo>
                    <a:pt x="21281" y="3326689"/>
                    <a:pt x="11117" y="3337780"/>
                    <a:pt x="1271" y="3348238"/>
                  </a:cubicBezTo>
                  <a:cubicBezTo>
                    <a:pt x="1271" y="3348238"/>
                    <a:pt x="1271" y="3348238"/>
                    <a:pt x="1271" y="3275353"/>
                  </a:cubicBezTo>
                  <a:cubicBezTo>
                    <a:pt x="1906" y="3275353"/>
                    <a:pt x="2541" y="3275353"/>
                    <a:pt x="3176" y="3275353"/>
                  </a:cubicBezTo>
                  <a:cubicBezTo>
                    <a:pt x="34303" y="3241763"/>
                    <a:pt x="65112" y="3208807"/>
                    <a:pt x="84169" y="3188209"/>
                  </a:cubicBezTo>
                  <a:cubicBezTo>
                    <a:pt x="71464" y="3186308"/>
                    <a:pt x="58760" y="3185040"/>
                    <a:pt x="47325" y="3185040"/>
                  </a:cubicBezTo>
                  <a:cubicBezTo>
                    <a:pt x="43514" y="3185040"/>
                    <a:pt x="40338" y="3185040"/>
                    <a:pt x="37162" y="3185357"/>
                  </a:cubicBezTo>
                  <a:cubicBezTo>
                    <a:pt x="23822" y="3186308"/>
                    <a:pt x="11435" y="3191695"/>
                    <a:pt x="1271" y="3197082"/>
                  </a:cubicBezTo>
                  <a:cubicBezTo>
                    <a:pt x="1271" y="3197082"/>
                    <a:pt x="1271" y="3197082"/>
                    <a:pt x="1271" y="3191378"/>
                  </a:cubicBezTo>
                  <a:cubicBezTo>
                    <a:pt x="11435" y="3185991"/>
                    <a:pt x="23504" y="3181238"/>
                    <a:pt x="36526" y="3180287"/>
                  </a:cubicBezTo>
                  <a:cubicBezTo>
                    <a:pt x="40020" y="3179970"/>
                    <a:pt x="43514" y="3179653"/>
                    <a:pt x="47325" y="3179653"/>
                  </a:cubicBezTo>
                  <a:cubicBezTo>
                    <a:pt x="60030" y="3179653"/>
                    <a:pt x="74323" y="3181238"/>
                    <a:pt x="88298" y="3183456"/>
                  </a:cubicBezTo>
                  <a:cubicBezTo>
                    <a:pt x="96239" y="3174900"/>
                    <a:pt x="101638" y="3169196"/>
                    <a:pt x="103226" y="3167612"/>
                  </a:cubicBezTo>
                  <a:cubicBezTo>
                    <a:pt x="107038" y="3163809"/>
                    <a:pt x="113073" y="3158739"/>
                    <a:pt x="117837" y="3155253"/>
                  </a:cubicBezTo>
                  <a:cubicBezTo>
                    <a:pt x="117837" y="3155253"/>
                    <a:pt x="117837" y="3155253"/>
                    <a:pt x="89251" y="3101699"/>
                  </a:cubicBezTo>
                  <a:cubicBezTo>
                    <a:pt x="85440" y="3103917"/>
                    <a:pt x="77817" y="3108354"/>
                    <a:pt x="70194" y="3112473"/>
                  </a:cubicBezTo>
                  <a:cubicBezTo>
                    <a:pt x="64794" y="3115642"/>
                    <a:pt x="59077" y="3118811"/>
                    <a:pt x="54948" y="3121029"/>
                  </a:cubicBezTo>
                  <a:cubicBezTo>
                    <a:pt x="52725" y="3122297"/>
                    <a:pt x="50819" y="3123247"/>
                    <a:pt x="49549" y="3123881"/>
                  </a:cubicBezTo>
                  <a:cubicBezTo>
                    <a:pt x="47643" y="3124515"/>
                    <a:pt x="47643" y="3124832"/>
                    <a:pt x="45737" y="3125149"/>
                  </a:cubicBezTo>
                  <a:cubicBezTo>
                    <a:pt x="45737" y="3125149"/>
                    <a:pt x="45420" y="3125149"/>
                    <a:pt x="45420" y="3125149"/>
                  </a:cubicBezTo>
                  <a:cubicBezTo>
                    <a:pt x="45420" y="3125149"/>
                    <a:pt x="45420" y="3125149"/>
                    <a:pt x="45102" y="3125149"/>
                  </a:cubicBezTo>
                  <a:cubicBezTo>
                    <a:pt x="45102" y="3125149"/>
                    <a:pt x="45102" y="3125149"/>
                    <a:pt x="44785" y="3125149"/>
                  </a:cubicBezTo>
                  <a:cubicBezTo>
                    <a:pt x="43832" y="3124515"/>
                    <a:pt x="43832" y="3124515"/>
                    <a:pt x="43196" y="3124198"/>
                  </a:cubicBezTo>
                  <a:cubicBezTo>
                    <a:pt x="41608" y="3122614"/>
                    <a:pt x="37479" y="3118811"/>
                    <a:pt x="32397" y="3114058"/>
                  </a:cubicBezTo>
                  <a:cubicBezTo>
                    <a:pt x="27633" y="3121663"/>
                    <a:pt x="14611" y="3141627"/>
                    <a:pt x="1271" y="3162541"/>
                  </a:cubicBezTo>
                  <a:cubicBezTo>
                    <a:pt x="1271" y="3162541"/>
                    <a:pt x="1271" y="3162541"/>
                    <a:pt x="1271" y="3153035"/>
                  </a:cubicBezTo>
                  <a:cubicBezTo>
                    <a:pt x="13658" y="3133705"/>
                    <a:pt x="24775" y="3116593"/>
                    <a:pt x="28586" y="3110255"/>
                  </a:cubicBezTo>
                  <a:cubicBezTo>
                    <a:pt x="26045" y="3108037"/>
                    <a:pt x="23186" y="3105502"/>
                    <a:pt x="20645" y="3102966"/>
                  </a:cubicBezTo>
                  <a:cubicBezTo>
                    <a:pt x="15881" y="3098530"/>
                    <a:pt x="11117" y="3094094"/>
                    <a:pt x="7305" y="3090608"/>
                  </a:cubicBezTo>
                  <a:cubicBezTo>
                    <a:pt x="5717" y="3089024"/>
                    <a:pt x="4129" y="3087756"/>
                    <a:pt x="3176" y="3086805"/>
                  </a:cubicBezTo>
                  <a:cubicBezTo>
                    <a:pt x="2541" y="3086488"/>
                    <a:pt x="2224" y="3086171"/>
                    <a:pt x="1906" y="3085855"/>
                  </a:cubicBezTo>
                  <a:cubicBezTo>
                    <a:pt x="1906" y="3085855"/>
                    <a:pt x="1588" y="3085855"/>
                    <a:pt x="1588" y="3085855"/>
                  </a:cubicBezTo>
                  <a:cubicBezTo>
                    <a:pt x="1588" y="3085855"/>
                    <a:pt x="1588" y="3085855"/>
                    <a:pt x="1588" y="3085538"/>
                  </a:cubicBezTo>
                  <a:cubicBezTo>
                    <a:pt x="1588" y="3085538"/>
                    <a:pt x="1588" y="3085538"/>
                    <a:pt x="1271" y="3085538"/>
                  </a:cubicBezTo>
                  <a:cubicBezTo>
                    <a:pt x="318" y="3084587"/>
                    <a:pt x="318" y="3083953"/>
                    <a:pt x="318" y="3083953"/>
                  </a:cubicBezTo>
                  <a:cubicBezTo>
                    <a:pt x="318" y="3083319"/>
                    <a:pt x="318" y="3083319"/>
                    <a:pt x="318" y="3083003"/>
                  </a:cubicBezTo>
                  <a:cubicBezTo>
                    <a:pt x="318" y="3081418"/>
                    <a:pt x="635" y="3078249"/>
                    <a:pt x="1271" y="3073496"/>
                  </a:cubicBezTo>
                  <a:cubicBezTo>
                    <a:pt x="3494" y="3059553"/>
                    <a:pt x="8258" y="3035152"/>
                    <a:pt x="9846" y="3026280"/>
                  </a:cubicBezTo>
                  <a:cubicBezTo>
                    <a:pt x="9846" y="3026280"/>
                    <a:pt x="9846" y="3026280"/>
                    <a:pt x="1271" y="3028498"/>
                  </a:cubicBezTo>
                  <a:cubicBezTo>
                    <a:pt x="1271" y="3028498"/>
                    <a:pt x="1271" y="3028498"/>
                    <a:pt x="1271" y="3024061"/>
                  </a:cubicBezTo>
                  <a:cubicBezTo>
                    <a:pt x="1271" y="3024061"/>
                    <a:pt x="1271" y="3024061"/>
                    <a:pt x="10799" y="3021526"/>
                  </a:cubicBezTo>
                  <a:cubicBezTo>
                    <a:pt x="10799" y="3021526"/>
                    <a:pt x="10799" y="3021526"/>
                    <a:pt x="10799" y="3021209"/>
                  </a:cubicBezTo>
                  <a:cubicBezTo>
                    <a:pt x="10799" y="3021209"/>
                    <a:pt x="10799" y="3021209"/>
                    <a:pt x="41608" y="3012970"/>
                  </a:cubicBezTo>
                  <a:cubicBezTo>
                    <a:pt x="41608" y="3012970"/>
                    <a:pt x="41608" y="3012970"/>
                    <a:pt x="12387" y="2958782"/>
                  </a:cubicBezTo>
                  <a:cubicBezTo>
                    <a:pt x="12387" y="2958782"/>
                    <a:pt x="12387" y="2958782"/>
                    <a:pt x="1271" y="2936917"/>
                  </a:cubicBezTo>
                  <a:cubicBezTo>
                    <a:pt x="1271" y="2936917"/>
                    <a:pt x="1271" y="2936917"/>
                    <a:pt x="1271" y="2891602"/>
                  </a:cubicBezTo>
                  <a:cubicBezTo>
                    <a:pt x="1271" y="2891602"/>
                    <a:pt x="1271" y="2891602"/>
                    <a:pt x="31127" y="2950226"/>
                  </a:cubicBezTo>
                  <a:cubicBezTo>
                    <a:pt x="34938" y="2948325"/>
                    <a:pt x="39703" y="2946107"/>
                    <a:pt x="44467" y="2943889"/>
                  </a:cubicBezTo>
                  <a:cubicBezTo>
                    <a:pt x="55584" y="2938819"/>
                    <a:pt x="67018" y="2933748"/>
                    <a:pt x="72100" y="2931847"/>
                  </a:cubicBezTo>
                  <a:cubicBezTo>
                    <a:pt x="73053" y="2931530"/>
                    <a:pt x="74005" y="2931213"/>
                    <a:pt x="74958" y="2930579"/>
                  </a:cubicBezTo>
                  <a:cubicBezTo>
                    <a:pt x="74958" y="2930579"/>
                    <a:pt x="74958" y="2930579"/>
                    <a:pt x="105132" y="2858646"/>
                  </a:cubicBezTo>
                  <a:cubicBezTo>
                    <a:pt x="105132" y="2858646"/>
                    <a:pt x="105132" y="2858646"/>
                    <a:pt x="46055" y="2809528"/>
                  </a:cubicBezTo>
                  <a:cubicBezTo>
                    <a:pt x="46055" y="2809528"/>
                    <a:pt x="46055" y="2809528"/>
                    <a:pt x="1271" y="2846604"/>
                  </a:cubicBezTo>
                  <a:cubicBezTo>
                    <a:pt x="1271" y="2846604"/>
                    <a:pt x="1271" y="2846604"/>
                    <a:pt x="1271" y="2819669"/>
                  </a:cubicBezTo>
                  <a:cubicBezTo>
                    <a:pt x="1271" y="2819669"/>
                    <a:pt x="1271" y="2819669"/>
                    <a:pt x="101321" y="2736644"/>
                  </a:cubicBezTo>
                  <a:cubicBezTo>
                    <a:pt x="101321" y="2736644"/>
                    <a:pt x="101321" y="2736644"/>
                    <a:pt x="62571" y="2697033"/>
                  </a:cubicBezTo>
                  <a:cubicBezTo>
                    <a:pt x="62571" y="2697033"/>
                    <a:pt x="62571" y="2697033"/>
                    <a:pt x="59077" y="2694181"/>
                  </a:cubicBezTo>
                  <a:cubicBezTo>
                    <a:pt x="59077" y="2694181"/>
                    <a:pt x="59077" y="2694181"/>
                    <a:pt x="71464" y="2681506"/>
                  </a:cubicBezTo>
                  <a:cubicBezTo>
                    <a:pt x="71464" y="2681506"/>
                    <a:pt x="71464" y="2681506"/>
                    <a:pt x="48914" y="2657422"/>
                  </a:cubicBezTo>
                  <a:cubicBezTo>
                    <a:pt x="36209" y="2666929"/>
                    <a:pt x="20328" y="2676118"/>
                    <a:pt x="1271" y="2684041"/>
                  </a:cubicBezTo>
                  <a:cubicBezTo>
                    <a:pt x="1271" y="2684041"/>
                    <a:pt x="1271" y="2684041"/>
                    <a:pt x="1271" y="2661542"/>
                  </a:cubicBezTo>
                  <a:cubicBezTo>
                    <a:pt x="31762" y="2647599"/>
                    <a:pt x="50819" y="2630170"/>
                    <a:pt x="65430" y="2615276"/>
                  </a:cubicBezTo>
                  <a:cubicBezTo>
                    <a:pt x="62571" y="2612741"/>
                    <a:pt x="58760" y="2609889"/>
                    <a:pt x="54313" y="2606086"/>
                  </a:cubicBezTo>
                  <a:cubicBezTo>
                    <a:pt x="41608" y="2595946"/>
                    <a:pt x="23186" y="2582003"/>
                    <a:pt x="1271" y="2568694"/>
                  </a:cubicBezTo>
                  <a:cubicBezTo>
                    <a:pt x="1271" y="2568694"/>
                    <a:pt x="1271" y="2568694"/>
                    <a:pt x="1271" y="2544293"/>
                  </a:cubicBezTo>
                  <a:cubicBezTo>
                    <a:pt x="1588" y="2544610"/>
                    <a:pt x="1588" y="2544610"/>
                    <a:pt x="1906" y="2544610"/>
                  </a:cubicBezTo>
                  <a:cubicBezTo>
                    <a:pt x="5400" y="2537322"/>
                    <a:pt x="11435" y="2524329"/>
                    <a:pt x="17787" y="2511020"/>
                  </a:cubicBezTo>
                  <a:cubicBezTo>
                    <a:pt x="22551" y="2501196"/>
                    <a:pt x="27315" y="2491373"/>
                    <a:pt x="31127" y="2484084"/>
                  </a:cubicBezTo>
                  <a:cubicBezTo>
                    <a:pt x="33033" y="2480282"/>
                    <a:pt x="34938" y="2477430"/>
                    <a:pt x="36209" y="2475212"/>
                  </a:cubicBezTo>
                  <a:cubicBezTo>
                    <a:pt x="36844" y="2473944"/>
                    <a:pt x="37479" y="2472993"/>
                    <a:pt x="37797" y="2472360"/>
                  </a:cubicBezTo>
                  <a:cubicBezTo>
                    <a:pt x="38750" y="2471726"/>
                    <a:pt x="38115" y="2471092"/>
                    <a:pt x="40655" y="2470458"/>
                  </a:cubicBezTo>
                  <a:cubicBezTo>
                    <a:pt x="43514" y="2470458"/>
                    <a:pt x="62571" y="2472993"/>
                    <a:pt x="67653" y="2473310"/>
                  </a:cubicBezTo>
                  <a:cubicBezTo>
                    <a:pt x="70194" y="2468874"/>
                    <a:pt x="80358" y="2444157"/>
                    <a:pt x="89251" y="2421024"/>
                  </a:cubicBezTo>
                  <a:cubicBezTo>
                    <a:pt x="95921" y="2403595"/>
                    <a:pt x="102274" y="2386800"/>
                    <a:pt x="105450" y="2378244"/>
                  </a:cubicBezTo>
                  <a:cubicBezTo>
                    <a:pt x="105450" y="2378244"/>
                    <a:pt x="105450" y="2378244"/>
                    <a:pt x="54313" y="2307261"/>
                  </a:cubicBezTo>
                  <a:cubicBezTo>
                    <a:pt x="54313" y="2307261"/>
                    <a:pt x="54313" y="2307261"/>
                    <a:pt x="53995" y="2306944"/>
                  </a:cubicBezTo>
                  <a:cubicBezTo>
                    <a:pt x="47008" y="2311697"/>
                    <a:pt x="33985" y="2320253"/>
                    <a:pt x="21598" y="2328492"/>
                  </a:cubicBezTo>
                  <a:cubicBezTo>
                    <a:pt x="14293" y="2333563"/>
                    <a:pt x="7305" y="2338316"/>
                    <a:pt x="1271" y="2342119"/>
                  </a:cubicBezTo>
                  <a:cubicBezTo>
                    <a:pt x="1271" y="2342119"/>
                    <a:pt x="1271" y="2342119"/>
                    <a:pt x="1271" y="2337048"/>
                  </a:cubicBezTo>
                  <a:cubicBezTo>
                    <a:pt x="7305" y="2332929"/>
                    <a:pt x="13975" y="2328492"/>
                    <a:pt x="20963" y="2323739"/>
                  </a:cubicBezTo>
                  <a:cubicBezTo>
                    <a:pt x="29856" y="2317718"/>
                    <a:pt x="38750" y="2311697"/>
                    <a:pt x="45737" y="2307261"/>
                  </a:cubicBezTo>
                  <a:cubicBezTo>
                    <a:pt x="46690" y="2306627"/>
                    <a:pt x="47961" y="2305677"/>
                    <a:pt x="48914" y="2305043"/>
                  </a:cubicBezTo>
                  <a:cubicBezTo>
                    <a:pt x="48914" y="2305043"/>
                    <a:pt x="48914" y="2305043"/>
                    <a:pt x="1271" y="2287297"/>
                  </a:cubicBezTo>
                  <a:cubicBezTo>
                    <a:pt x="1271" y="2287297"/>
                    <a:pt x="1271" y="2287297"/>
                    <a:pt x="1271" y="2272086"/>
                  </a:cubicBezTo>
                  <a:cubicBezTo>
                    <a:pt x="1271" y="2272086"/>
                    <a:pt x="1271" y="2272086"/>
                    <a:pt x="60983" y="2294269"/>
                  </a:cubicBezTo>
                  <a:cubicBezTo>
                    <a:pt x="65112" y="2285079"/>
                    <a:pt x="73053" y="2266383"/>
                    <a:pt x="80675" y="2248320"/>
                  </a:cubicBezTo>
                  <a:cubicBezTo>
                    <a:pt x="85757" y="2236278"/>
                    <a:pt x="90839" y="2224236"/>
                    <a:pt x="94968" y="2215363"/>
                  </a:cubicBezTo>
                  <a:cubicBezTo>
                    <a:pt x="97192" y="2210927"/>
                    <a:pt x="98780" y="2207125"/>
                    <a:pt x="100368" y="2204589"/>
                  </a:cubicBezTo>
                  <a:cubicBezTo>
                    <a:pt x="101003" y="2203322"/>
                    <a:pt x="101638" y="2202054"/>
                    <a:pt x="102274" y="2201420"/>
                  </a:cubicBezTo>
                  <a:cubicBezTo>
                    <a:pt x="102909" y="2200787"/>
                    <a:pt x="102909" y="2199836"/>
                    <a:pt x="104497" y="2199519"/>
                  </a:cubicBezTo>
                  <a:cubicBezTo>
                    <a:pt x="104814" y="2199519"/>
                    <a:pt x="104814" y="2199202"/>
                    <a:pt x="105132" y="2199202"/>
                  </a:cubicBezTo>
                  <a:cubicBezTo>
                    <a:pt x="104179" y="2198885"/>
                    <a:pt x="103226" y="2198252"/>
                    <a:pt x="101956" y="2197935"/>
                  </a:cubicBezTo>
                  <a:cubicBezTo>
                    <a:pt x="90839" y="2193181"/>
                    <a:pt x="65747" y="2181456"/>
                    <a:pt x="42879" y="2170999"/>
                  </a:cubicBezTo>
                  <a:cubicBezTo>
                    <a:pt x="31445" y="2165612"/>
                    <a:pt x="20645" y="2160859"/>
                    <a:pt x="12387" y="2157056"/>
                  </a:cubicBezTo>
                  <a:cubicBezTo>
                    <a:pt x="8576" y="2155472"/>
                    <a:pt x="5082" y="2153887"/>
                    <a:pt x="2859" y="2152937"/>
                  </a:cubicBezTo>
                  <a:cubicBezTo>
                    <a:pt x="2541" y="2152620"/>
                    <a:pt x="2224" y="2152620"/>
                    <a:pt x="1906" y="2152620"/>
                  </a:cubicBezTo>
                  <a:cubicBezTo>
                    <a:pt x="1906" y="2152620"/>
                    <a:pt x="1906" y="2152937"/>
                    <a:pt x="1906" y="2152937"/>
                  </a:cubicBezTo>
                  <a:cubicBezTo>
                    <a:pt x="1906" y="2156105"/>
                    <a:pt x="1588" y="2161176"/>
                    <a:pt x="1271" y="2166880"/>
                  </a:cubicBezTo>
                  <a:cubicBezTo>
                    <a:pt x="1271" y="2166880"/>
                    <a:pt x="1271" y="2166880"/>
                    <a:pt x="1271" y="2147549"/>
                  </a:cubicBezTo>
                  <a:cubicBezTo>
                    <a:pt x="2224" y="2147866"/>
                    <a:pt x="3494" y="2148500"/>
                    <a:pt x="5400" y="2149134"/>
                  </a:cubicBezTo>
                  <a:cubicBezTo>
                    <a:pt x="16516" y="2153887"/>
                    <a:pt x="41608" y="2165612"/>
                    <a:pt x="64477" y="2176069"/>
                  </a:cubicBezTo>
                  <a:cubicBezTo>
                    <a:pt x="75911" y="2181140"/>
                    <a:pt x="86710" y="2186210"/>
                    <a:pt x="94651" y="2190012"/>
                  </a:cubicBezTo>
                  <a:cubicBezTo>
                    <a:pt x="98780" y="2191597"/>
                    <a:pt x="102274" y="2193181"/>
                    <a:pt x="104497" y="2194132"/>
                  </a:cubicBezTo>
                  <a:cubicBezTo>
                    <a:pt x="105767" y="2194766"/>
                    <a:pt x="106720" y="2195083"/>
                    <a:pt x="107355" y="2195400"/>
                  </a:cubicBezTo>
                  <a:cubicBezTo>
                    <a:pt x="107991" y="2195400"/>
                    <a:pt x="107991" y="2195716"/>
                    <a:pt x="108308" y="2195716"/>
                  </a:cubicBezTo>
                  <a:cubicBezTo>
                    <a:pt x="108626" y="2195716"/>
                    <a:pt x="108626" y="2195716"/>
                    <a:pt x="108626" y="2195716"/>
                  </a:cubicBezTo>
                  <a:cubicBezTo>
                    <a:pt x="113708" y="2190963"/>
                    <a:pt x="122601" y="2181456"/>
                    <a:pt x="133083" y="2169732"/>
                  </a:cubicBezTo>
                  <a:cubicBezTo>
                    <a:pt x="154363" y="2146916"/>
                    <a:pt x="183584" y="2114276"/>
                    <a:pt x="209311" y="2085756"/>
                  </a:cubicBezTo>
                  <a:cubicBezTo>
                    <a:pt x="158810" y="2044244"/>
                    <a:pt x="100368" y="2008436"/>
                    <a:pt x="59395" y="1989739"/>
                  </a:cubicBezTo>
                  <a:cubicBezTo>
                    <a:pt x="50502" y="2000197"/>
                    <a:pt x="37162" y="2024280"/>
                    <a:pt x="4447" y="2043927"/>
                  </a:cubicBezTo>
                  <a:cubicBezTo>
                    <a:pt x="3494" y="2044561"/>
                    <a:pt x="2224" y="2045195"/>
                    <a:pt x="1271" y="2045828"/>
                  </a:cubicBezTo>
                  <a:cubicBezTo>
                    <a:pt x="1271" y="2045828"/>
                    <a:pt x="1271" y="2045828"/>
                    <a:pt x="1271" y="2021111"/>
                  </a:cubicBezTo>
                  <a:cubicBezTo>
                    <a:pt x="20963" y="2007485"/>
                    <a:pt x="30492" y="1993225"/>
                    <a:pt x="39385" y="1981500"/>
                  </a:cubicBezTo>
                  <a:cubicBezTo>
                    <a:pt x="36526" y="1980233"/>
                    <a:pt x="33668" y="1979282"/>
                    <a:pt x="30809" y="1978331"/>
                  </a:cubicBezTo>
                  <a:cubicBezTo>
                    <a:pt x="22234" y="1975796"/>
                    <a:pt x="12387" y="1973261"/>
                    <a:pt x="1271" y="1970409"/>
                  </a:cubicBezTo>
                  <a:cubicBezTo>
                    <a:pt x="1271" y="1970409"/>
                    <a:pt x="1271" y="1970409"/>
                    <a:pt x="1271" y="1949178"/>
                  </a:cubicBezTo>
                  <a:cubicBezTo>
                    <a:pt x="14611" y="1952346"/>
                    <a:pt x="26680" y="1955515"/>
                    <a:pt x="36844" y="1958684"/>
                  </a:cubicBezTo>
                  <a:cubicBezTo>
                    <a:pt x="41291" y="1959952"/>
                    <a:pt x="46055" y="1961536"/>
                    <a:pt x="50819" y="1963755"/>
                  </a:cubicBezTo>
                  <a:cubicBezTo>
                    <a:pt x="50819" y="1963755"/>
                    <a:pt x="50819" y="1963755"/>
                    <a:pt x="399882" y="1326493"/>
                  </a:cubicBezTo>
                  <a:cubicBezTo>
                    <a:pt x="399565" y="1326176"/>
                    <a:pt x="399565" y="1326176"/>
                    <a:pt x="399247" y="1325859"/>
                  </a:cubicBezTo>
                  <a:cubicBezTo>
                    <a:pt x="392895" y="1319204"/>
                    <a:pt x="375743" y="1297973"/>
                    <a:pt x="352557" y="1268502"/>
                  </a:cubicBezTo>
                  <a:cubicBezTo>
                    <a:pt x="293798" y="1194034"/>
                    <a:pt x="198830" y="1070448"/>
                    <a:pt x="170244" y="1033055"/>
                  </a:cubicBezTo>
                  <a:cubicBezTo>
                    <a:pt x="170244" y="1033055"/>
                    <a:pt x="170244" y="1033055"/>
                    <a:pt x="1271" y="1213364"/>
                  </a:cubicBezTo>
                  <a:cubicBezTo>
                    <a:pt x="1271" y="1213364"/>
                    <a:pt x="1271" y="1213364"/>
                    <a:pt x="1271" y="1182943"/>
                  </a:cubicBezTo>
                  <a:cubicBezTo>
                    <a:pt x="1271" y="1182943"/>
                    <a:pt x="1271" y="1182943"/>
                    <a:pt x="389719" y="768453"/>
                  </a:cubicBezTo>
                  <a:cubicBezTo>
                    <a:pt x="389719" y="768453"/>
                    <a:pt x="389719" y="768453"/>
                    <a:pt x="253142" y="663247"/>
                  </a:cubicBezTo>
                  <a:cubicBezTo>
                    <a:pt x="253142" y="663247"/>
                    <a:pt x="253142" y="663247"/>
                    <a:pt x="252190" y="661979"/>
                  </a:cubicBezTo>
                  <a:cubicBezTo>
                    <a:pt x="251872" y="661662"/>
                    <a:pt x="231544" y="633459"/>
                    <a:pt x="221063" y="601770"/>
                  </a:cubicBezTo>
                  <a:cubicBezTo>
                    <a:pt x="218204" y="599235"/>
                    <a:pt x="210264" y="592264"/>
                    <a:pt x="199465" y="583391"/>
                  </a:cubicBezTo>
                  <a:cubicBezTo>
                    <a:pt x="160715" y="550751"/>
                    <a:pt x="80993" y="485472"/>
                    <a:pt x="1271" y="420827"/>
                  </a:cubicBezTo>
                  <a:cubicBezTo>
                    <a:pt x="1271" y="420827"/>
                    <a:pt x="1271" y="420827"/>
                    <a:pt x="1271" y="394209"/>
                  </a:cubicBezTo>
                  <a:cubicBezTo>
                    <a:pt x="6035" y="397694"/>
                    <a:pt x="10482" y="401497"/>
                    <a:pt x="14928" y="405300"/>
                  </a:cubicBezTo>
                  <a:cubicBezTo>
                    <a:pt x="69876" y="449981"/>
                    <a:pt x="125142" y="494662"/>
                    <a:pt x="166750" y="528886"/>
                  </a:cubicBezTo>
                  <a:cubicBezTo>
                    <a:pt x="187395" y="545998"/>
                    <a:pt x="204864" y="560575"/>
                    <a:pt x="216934" y="571032"/>
                  </a:cubicBezTo>
                  <a:cubicBezTo>
                    <a:pt x="223286" y="576102"/>
                    <a:pt x="228051" y="580222"/>
                    <a:pt x="231544" y="583391"/>
                  </a:cubicBezTo>
                  <a:cubicBezTo>
                    <a:pt x="233450" y="584975"/>
                    <a:pt x="234721" y="586243"/>
                    <a:pt x="235673" y="587193"/>
                  </a:cubicBezTo>
                  <a:cubicBezTo>
                    <a:pt x="236309" y="587827"/>
                    <a:pt x="236944" y="588144"/>
                    <a:pt x="237262" y="588778"/>
                  </a:cubicBezTo>
                  <a:cubicBezTo>
                    <a:pt x="237897" y="589728"/>
                    <a:pt x="238214" y="589412"/>
                    <a:pt x="239802" y="592580"/>
                  </a:cubicBezTo>
                  <a:cubicBezTo>
                    <a:pt x="239802" y="592580"/>
                    <a:pt x="239802" y="592580"/>
                    <a:pt x="239802" y="592897"/>
                  </a:cubicBezTo>
                  <a:cubicBezTo>
                    <a:pt x="239802" y="592897"/>
                    <a:pt x="239802" y="592897"/>
                    <a:pt x="240120" y="593214"/>
                  </a:cubicBezTo>
                  <a:cubicBezTo>
                    <a:pt x="244567" y="607474"/>
                    <a:pt x="251872" y="621734"/>
                    <a:pt x="258224" y="632508"/>
                  </a:cubicBezTo>
                  <a:cubicBezTo>
                    <a:pt x="261083" y="637895"/>
                    <a:pt x="263941" y="642332"/>
                    <a:pt x="266165" y="645501"/>
                  </a:cubicBezTo>
                  <a:cubicBezTo>
                    <a:pt x="267118" y="646768"/>
                    <a:pt x="267753" y="648036"/>
                    <a:pt x="268388" y="648987"/>
                  </a:cubicBezTo>
                  <a:cubicBezTo>
                    <a:pt x="268388" y="648987"/>
                    <a:pt x="268388" y="648987"/>
                    <a:pt x="405282" y="754193"/>
                  </a:cubicBezTo>
                  <a:cubicBezTo>
                    <a:pt x="433550" y="729476"/>
                    <a:pt x="515496" y="658810"/>
                    <a:pt x="597441" y="587827"/>
                  </a:cubicBezTo>
                  <a:cubicBezTo>
                    <a:pt x="648578" y="543780"/>
                    <a:pt x="699397" y="500049"/>
                    <a:pt x="738146" y="467093"/>
                  </a:cubicBezTo>
                  <a:cubicBezTo>
                    <a:pt x="757521" y="450615"/>
                    <a:pt x="773720" y="436672"/>
                    <a:pt x="785154" y="427165"/>
                  </a:cubicBezTo>
                  <a:cubicBezTo>
                    <a:pt x="790871" y="422412"/>
                    <a:pt x="795318" y="418609"/>
                    <a:pt x="798812" y="415757"/>
                  </a:cubicBezTo>
                  <a:cubicBezTo>
                    <a:pt x="799447" y="415123"/>
                    <a:pt x="800082" y="414806"/>
                    <a:pt x="800717" y="414489"/>
                  </a:cubicBezTo>
                  <a:cubicBezTo>
                    <a:pt x="800082" y="413222"/>
                    <a:pt x="799129" y="412271"/>
                    <a:pt x="798494" y="411004"/>
                  </a:cubicBezTo>
                  <a:cubicBezTo>
                    <a:pt x="790871" y="394842"/>
                    <a:pt x="785789" y="373928"/>
                    <a:pt x="781660" y="355865"/>
                  </a:cubicBezTo>
                  <a:cubicBezTo>
                    <a:pt x="777849" y="339387"/>
                    <a:pt x="775625" y="326078"/>
                    <a:pt x="774990" y="323226"/>
                  </a:cubicBezTo>
                  <a:cubicBezTo>
                    <a:pt x="774990" y="323226"/>
                    <a:pt x="774990" y="323226"/>
                    <a:pt x="708608" y="0"/>
                  </a:cubicBezTo>
                  <a:close/>
                </a:path>
              </a:pathLst>
            </a:custGeom>
            <a:gradFill>
              <a:gsLst>
                <a:gs pos="40000">
                  <a:srgbClr val="827985">
                    <a:alpha val="0"/>
                  </a:srgbClr>
                </a:gs>
                <a:gs pos="100000">
                  <a:srgbClr val="58525A"/>
                </a:gs>
              </a:gsLst>
              <a:lin ang="0" scaled="1"/>
            </a:gradFill>
            <a:ln>
              <a:noFill/>
            </a:ln>
          </p:spPr>
          <p:txBody>
            <a:bodyPr vert="horz" wrap="square" lIns="91440" tIns="45720" rIns="91440" bIns="45720" numCol="1" anchor="t" anchorCtr="0" compatLnSpc="1">
              <a:prstTxWarp prst="textNoShape">
                <a:avLst/>
              </a:prstTxWarp>
              <a:noAutofit/>
            </a:bodyPr>
            <a:lstStyle/>
            <a:p>
              <a:endParaRPr lang="nl-NL" dirty="0"/>
            </a:p>
          </p:txBody>
        </p:sp>
        <p:sp>
          <p:nvSpPr>
            <p:cNvPr id="9" name="Freeform 8">
              <a:extLst>
                <a:ext uri="{FF2B5EF4-FFF2-40B4-BE49-F238E27FC236}">
                  <a16:creationId xmlns:a16="http://schemas.microsoft.com/office/drawing/2014/main" id="{9625E62D-F039-4939-9178-C20FD4DF7C19}"/>
                </a:ext>
              </a:extLst>
            </p:cNvPr>
            <p:cNvSpPr>
              <a:spLocks noSelect="1"/>
            </p:cNvSpPr>
            <p:nvPr userDrawn="1"/>
          </p:nvSpPr>
          <p:spPr bwMode="gray">
            <a:xfrm>
              <a:off x="6475320" y="0"/>
              <a:ext cx="5719680" cy="5710320"/>
            </a:xfrm>
            <a:custGeom>
              <a:avLst/>
              <a:gdLst>
                <a:gd name="T0" fmla="*/ 548 w 18011"/>
                <a:gd name="T1" fmla="*/ 9391 h 18002"/>
                <a:gd name="T2" fmla="*/ 17882 w 18011"/>
                <a:gd name="T3" fmla="*/ 761 h 18002"/>
                <a:gd name="T4" fmla="*/ 14183 w 18011"/>
                <a:gd name="T5" fmla="*/ 9085 h 18002"/>
                <a:gd name="T6" fmla="*/ 17497 w 18011"/>
                <a:gd name="T7" fmla="*/ 16477 h 18002"/>
                <a:gd name="T8" fmla="*/ 10543 w 18011"/>
                <a:gd name="T9" fmla="*/ 16832 h 18002"/>
                <a:gd name="T10" fmla="*/ 5076 w 18011"/>
                <a:gd name="T11" fmla="*/ 17347 h 18002"/>
                <a:gd name="T12" fmla="*/ 396 w 18011"/>
                <a:gd name="T13" fmla="*/ 17767 h 18002"/>
                <a:gd name="T14" fmla="*/ 1241 w 18011"/>
                <a:gd name="T15" fmla="*/ 15804 h 18002"/>
                <a:gd name="T16" fmla="*/ 7 w 18011"/>
                <a:gd name="T17" fmla="*/ 12609 h 18002"/>
                <a:gd name="T18" fmla="*/ 7 w 18011"/>
                <a:gd name="T19" fmla="*/ 12173 h 18002"/>
                <a:gd name="T20" fmla="*/ 1026 w 18011"/>
                <a:gd name="T21" fmla="*/ 11401 h 18002"/>
                <a:gd name="T22" fmla="*/ 2400 w 18011"/>
                <a:gd name="T23" fmla="*/ 8892 h 18002"/>
                <a:gd name="T24" fmla="*/ 1395 w 18011"/>
                <a:gd name="T25" fmla="*/ 8780 h 18002"/>
                <a:gd name="T26" fmla="*/ 858 w 18011"/>
                <a:gd name="T27" fmla="*/ 9296 h 18002"/>
                <a:gd name="T28" fmla="*/ 933 w 18011"/>
                <a:gd name="T29" fmla="*/ 7567 h 18002"/>
                <a:gd name="T30" fmla="*/ 809 w 18011"/>
                <a:gd name="T31" fmla="*/ 2081 h 18002"/>
                <a:gd name="T32" fmla="*/ 4434 w 18011"/>
                <a:gd name="T33" fmla="*/ 28 h 18002"/>
                <a:gd name="T34" fmla="*/ 7805 w 18011"/>
                <a:gd name="T35" fmla="*/ 581 h 18002"/>
                <a:gd name="T36" fmla="*/ 14176 w 18011"/>
                <a:gd name="T37" fmla="*/ 161 h 18002"/>
                <a:gd name="T38" fmla="*/ 13373 w 18011"/>
                <a:gd name="T39" fmla="*/ 1899 h 18002"/>
                <a:gd name="T40" fmla="*/ 10950 w 18011"/>
                <a:gd name="T41" fmla="*/ 2987 h 18002"/>
                <a:gd name="T42" fmla="*/ 11717 w 18011"/>
                <a:gd name="T43" fmla="*/ 10432 h 18002"/>
                <a:gd name="T44" fmla="*/ 11790 w 18011"/>
                <a:gd name="T45" fmla="*/ 14229 h 18002"/>
                <a:gd name="T46" fmla="*/ 7747 w 18011"/>
                <a:gd name="T47" fmla="*/ 14451 h 18002"/>
                <a:gd name="T48" fmla="*/ 3716 w 18011"/>
                <a:gd name="T49" fmla="*/ 14831 h 18002"/>
                <a:gd name="T50" fmla="*/ 4349 w 18011"/>
                <a:gd name="T51" fmla="*/ 14286 h 18002"/>
                <a:gd name="T52" fmla="*/ 4305 w 18011"/>
                <a:gd name="T53" fmla="*/ 14281 h 18002"/>
                <a:gd name="T54" fmla="*/ 2686 w 18011"/>
                <a:gd name="T55" fmla="*/ 11071 h 18002"/>
                <a:gd name="T56" fmla="*/ 4223 w 18011"/>
                <a:gd name="T57" fmla="*/ 12059 h 18002"/>
                <a:gd name="T58" fmla="*/ 7130 w 18011"/>
                <a:gd name="T59" fmla="*/ 3468 h 18002"/>
                <a:gd name="T60" fmla="*/ 8020 w 18011"/>
                <a:gd name="T61" fmla="*/ 4530 h 18002"/>
                <a:gd name="T62" fmla="*/ 8525 w 18011"/>
                <a:gd name="T63" fmla="*/ 2723 h 18002"/>
                <a:gd name="T64" fmla="*/ 5650 w 18011"/>
                <a:gd name="T65" fmla="*/ 13897 h 18002"/>
                <a:gd name="T66" fmla="*/ 4251 w 18011"/>
                <a:gd name="T67" fmla="*/ 12815 h 18002"/>
                <a:gd name="T68" fmla="*/ 5906 w 18011"/>
                <a:gd name="T69" fmla="*/ 11634 h 18002"/>
                <a:gd name="T70" fmla="*/ 6254 w 18011"/>
                <a:gd name="T71" fmla="*/ 10026 h 18002"/>
                <a:gd name="T72" fmla="*/ 8562 w 18011"/>
                <a:gd name="T73" fmla="*/ 10304 h 18002"/>
                <a:gd name="T74" fmla="*/ 6586 w 18011"/>
                <a:gd name="T75" fmla="*/ 8153 h 18002"/>
                <a:gd name="T76" fmla="*/ 8064 w 18011"/>
                <a:gd name="T77" fmla="*/ 11458 h 18002"/>
                <a:gd name="T78" fmla="*/ 12259 w 18011"/>
                <a:gd name="T79" fmla="*/ 4717 h 18002"/>
                <a:gd name="T80" fmla="*/ 10759 w 18011"/>
                <a:gd name="T81" fmla="*/ 7135 h 18002"/>
                <a:gd name="T82" fmla="*/ 8668 w 18011"/>
                <a:gd name="T83" fmla="*/ 1184 h 18002"/>
                <a:gd name="T84" fmla="*/ 7123 w 18011"/>
                <a:gd name="T85" fmla="*/ 1347 h 18002"/>
                <a:gd name="T86" fmla="*/ 4428 w 18011"/>
                <a:gd name="T87" fmla="*/ 2154 h 18002"/>
                <a:gd name="T88" fmla="*/ 2644 w 18011"/>
                <a:gd name="T89" fmla="*/ 1401 h 18002"/>
                <a:gd name="T90" fmla="*/ 1647 w 18011"/>
                <a:gd name="T91" fmla="*/ 7350 h 18002"/>
                <a:gd name="T92" fmla="*/ 4570 w 18011"/>
                <a:gd name="T93" fmla="*/ 4998 h 18002"/>
                <a:gd name="T94" fmla="*/ 5936 w 18011"/>
                <a:gd name="T95" fmla="*/ 6193 h 18002"/>
                <a:gd name="T96" fmla="*/ 3748 w 18011"/>
                <a:gd name="T97" fmla="*/ 8295 h 18002"/>
                <a:gd name="T98" fmla="*/ 3184 w 18011"/>
                <a:gd name="T99" fmla="*/ 10641 h 18002"/>
                <a:gd name="T100" fmla="*/ 653 w 18011"/>
                <a:gd name="T101" fmla="*/ 10211 h 18002"/>
                <a:gd name="T102" fmla="*/ 2272 w 18011"/>
                <a:gd name="T103" fmla="*/ 11889 h 18002"/>
                <a:gd name="T104" fmla="*/ 1124 w 18011"/>
                <a:gd name="T105" fmla="*/ 14031 h 18002"/>
                <a:gd name="T106" fmla="*/ 1166 w 18011"/>
                <a:gd name="T107" fmla="*/ 14040 h 18002"/>
                <a:gd name="T108" fmla="*/ 4061 w 18011"/>
                <a:gd name="T109" fmla="*/ 16408 h 18002"/>
                <a:gd name="T110" fmla="*/ 4462 w 18011"/>
                <a:gd name="T111" fmla="*/ 16167 h 18002"/>
                <a:gd name="T112" fmla="*/ 6194 w 18011"/>
                <a:gd name="T113" fmla="*/ 17535 h 18002"/>
                <a:gd name="T114" fmla="*/ 14986 w 18011"/>
                <a:gd name="T115" fmla="*/ 13922 h 18002"/>
                <a:gd name="T116" fmla="*/ 15295 w 18011"/>
                <a:gd name="T117" fmla="*/ 13425 h 18002"/>
                <a:gd name="T118" fmla="*/ 13846 w 18011"/>
                <a:gd name="T119" fmla="*/ 9976 h 18002"/>
                <a:gd name="T120" fmla="*/ 13341 w 18011"/>
                <a:gd name="T121" fmla="*/ 9222 h 18002"/>
                <a:gd name="T122" fmla="*/ 14132 w 18011"/>
                <a:gd name="T123" fmla="*/ 8978 h 18002"/>
                <a:gd name="T124" fmla="*/ 16034 w 18011"/>
                <a:gd name="T125" fmla="*/ 1794 h 18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11" h="18002">
                  <a:moveTo>
                    <a:pt x="4151" y="12831"/>
                  </a:moveTo>
                  <a:cubicBezTo>
                    <a:pt x="4162" y="12845"/>
                    <a:pt x="4147" y="12881"/>
                    <a:pt x="4141" y="12888"/>
                  </a:cubicBezTo>
                  <a:cubicBezTo>
                    <a:pt x="4136" y="12896"/>
                    <a:pt x="4043" y="12953"/>
                    <a:pt x="4026" y="12972"/>
                  </a:cubicBezTo>
                  <a:cubicBezTo>
                    <a:pt x="4009" y="12990"/>
                    <a:pt x="4012" y="13044"/>
                    <a:pt x="4008" y="13058"/>
                  </a:cubicBezTo>
                  <a:cubicBezTo>
                    <a:pt x="4005" y="13072"/>
                    <a:pt x="3993" y="13070"/>
                    <a:pt x="3974" y="13067"/>
                  </a:cubicBezTo>
                  <a:cubicBezTo>
                    <a:pt x="3956" y="13064"/>
                    <a:pt x="3941" y="13004"/>
                    <a:pt x="3947" y="12977"/>
                  </a:cubicBezTo>
                  <a:cubicBezTo>
                    <a:pt x="3949" y="12967"/>
                    <a:pt x="3907" y="12986"/>
                    <a:pt x="3890" y="12997"/>
                  </a:cubicBezTo>
                  <a:cubicBezTo>
                    <a:pt x="3873" y="13008"/>
                    <a:pt x="3857" y="13014"/>
                    <a:pt x="3836" y="12997"/>
                  </a:cubicBezTo>
                  <a:cubicBezTo>
                    <a:pt x="3816" y="12981"/>
                    <a:pt x="3834" y="12950"/>
                    <a:pt x="3857" y="12938"/>
                  </a:cubicBezTo>
                  <a:cubicBezTo>
                    <a:pt x="3880" y="12927"/>
                    <a:pt x="3915" y="12925"/>
                    <a:pt x="3944" y="12922"/>
                  </a:cubicBezTo>
                  <a:cubicBezTo>
                    <a:pt x="3973" y="12919"/>
                    <a:pt x="4017" y="12911"/>
                    <a:pt x="4027" y="12887"/>
                  </a:cubicBezTo>
                  <a:cubicBezTo>
                    <a:pt x="4037" y="12864"/>
                    <a:pt x="3872" y="12854"/>
                    <a:pt x="3844" y="12849"/>
                  </a:cubicBezTo>
                  <a:cubicBezTo>
                    <a:pt x="3817" y="12844"/>
                    <a:pt x="3806" y="12821"/>
                    <a:pt x="3813" y="12809"/>
                  </a:cubicBezTo>
                  <a:cubicBezTo>
                    <a:pt x="3820" y="12798"/>
                    <a:pt x="3850" y="12816"/>
                    <a:pt x="3850" y="12816"/>
                  </a:cubicBezTo>
                  <a:cubicBezTo>
                    <a:pt x="3850" y="12816"/>
                    <a:pt x="4042" y="12809"/>
                    <a:pt x="4084" y="12811"/>
                  </a:cubicBezTo>
                  <a:cubicBezTo>
                    <a:pt x="4126" y="12812"/>
                    <a:pt x="4151" y="12831"/>
                    <a:pt x="4151" y="12831"/>
                  </a:cubicBezTo>
                  <a:close/>
                  <a:moveTo>
                    <a:pt x="2789" y="11458"/>
                  </a:moveTo>
                  <a:cubicBezTo>
                    <a:pt x="2789" y="11458"/>
                    <a:pt x="2783" y="11380"/>
                    <a:pt x="2794" y="11339"/>
                  </a:cubicBezTo>
                  <a:cubicBezTo>
                    <a:pt x="2806" y="11299"/>
                    <a:pt x="2850" y="11262"/>
                    <a:pt x="2848" y="11222"/>
                  </a:cubicBezTo>
                  <a:cubicBezTo>
                    <a:pt x="2847" y="11183"/>
                    <a:pt x="2840" y="11175"/>
                    <a:pt x="2827" y="11167"/>
                  </a:cubicBezTo>
                  <a:cubicBezTo>
                    <a:pt x="2802" y="11151"/>
                    <a:pt x="2713" y="11162"/>
                    <a:pt x="2628" y="11307"/>
                  </a:cubicBezTo>
                  <a:cubicBezTo>
                    <a:pt x="2611" y="11348"/>
                    <a:pt x="2631" y="11393"/>
                    <a:pt x="2627" y="11409"/>
                  </a:cubicBezTo>
                  <a:cubicBezTo>
                    <a:pt x="2623" y="11425"/>
                    <a:pt x="2633" y="11516"/>
                    <a:pt x="2578" y="11567"/>
                  </a:cubicBezTo>
                  <a:cubicBezTo>
                    <a:pt x="2549" y="11594"/>
                    <a:pt x="2546" y="11601"/>
                    <a:pt x="2546" y="11601"/>
                  </a:cubicBezTo>
                  <a:cubicBezTo>
                    <a:pt x="2546" y="11601"/>
                    <a:pt x="2597" y="11598"/>
                    <a:pt x="2655" y="11573"/>
                  </a:cubicBezTo>
                  <a:cubicBezTo>
                    <a:pt x="2712" y="11549"/>
                    <a:pt x="2777" y="11528"/>
                    <a:pt x="2789" y="11458"/>
                  </a:cubicBezTo>
                  <a:close/>
                  <a:moveTo>
                    <a:pt x="1759" y="10773"/>
                  </a:moveTo>
                  <a:cubicBezTo>
                    <a:pt x="1800" y="10747"/>
                    <a:pt x="1859" y="10724"/>
                    <a:pt x="1896" y="10710"/>
                  </a:cubicBezTo>
                  <a:cubicBezTo>
                    <a:pt x="1933" y="10697"/>
                    <a:pt x="1964" y="10695"/>
                    <a:pt x="1987" y="10654"/>
                  </a:cubicBezTo>
                  <a:cubicBezTo>
                    <a:pt x="2011" y="10613"/>
                    <a:pt x="2026" y="10574"/>
                    <a:pt x="2075" y="10574"/>
                  </a:cubicBezTo>
                  <a:cubicBezTo>
                    <a:pt x="2124" y="10574"/>
                    <a:pt x="2164" y="10591"/>
                    <a:pt x="2172" y="10569"/>
                  </a:cubicBezTo>
                  <a:cubicBezTo>
                    <a:pt x="2180" y="10548"/>
                    <a:pt x="2162" y="10515"/>
                    <a:pt x="2127" y="10500"/>
                  </a:cubicBezTo>
                  <a:cubicBezTo>
                    <a:pt x="2100" y="10488"/>
                    <a:pt x="2038" y="10511"/>
                    <a:pt x="1978" y="10579"/>
                  </a:cubicBezTo>
                  <a:cubicBezTo>
                    <a:pt x="1918" y="10647"/>
                    <a:pt x="1858" y="10688"/>
                    <a:pt x="1807" y="10709"/>
                  </a:cubicBezTo>
                  <a:cubicBezTo>
                    <a:pt x="1756" y="10729"/>
                    <a:pt x="1661" y="10787"/>
                    <a:pt x="1662" y="10796"/>
                  </a:cubicBezTo>
                  <a:cubicBezTo>
                    <a:pt x="1664" y="10806"/>
                    <a:pt x="1718" y="10799"/>
                    <a:pt x="1759" y="10773"/>
                  </a:cubicBezTo>
                  <a:close/>
                  <a:moveTo>
                    <a:pt x="555" y="9449"/>
                  </a:moveTo>
                  <a:cubicBezTo>
                    <a:pt x="588" y="9474"/>
                    <a:pt x="640" y="9501"/>
                    <a:pt x="651" y="9550"/>
                  </a:cubicBezTo>
                  <a:cubicBezTo>
                    <a:pt x="662" y="9599"/>
                    <a:pt x="621" y="9647"/>
                    <a:pt x="621" y="9647"/>
                  </a:cubicBezTo>
                  <a:cubicBezTo>
                    <a:pt x="621" y="9647"/>
                    <a:pt x="681" y="9674"/>
                    <a:pt x="702" y="9683"/>
                  </a:cubicBezTo>
                  <a:cubicBezTo>
                    <a:pt x="722" y="9691"/>
                    <a:pt x="779" y="9692"/>
                    <a:pt x="823" y="9663"/>
                  </a:cubicBezTo>
                  <a:cubicBezTo>
                    <a:pt x="867" y="9635"/>
                    <a:pt x="898" y="9605"/>
                    <a:pt x="912" y="9580"/>
                  </a:cubicBezTo>
                  <a:cubicBezTo>
                    <a:pt x="926" y="9556"/>
                    <a:pt x="938" y="9531"/>
                    <a:pt x="946" y="9527"/>
                  </a:cubicBezTo>
                  <a:cubicBezTo>
                    <a:pt x="946" y="9527"/>
                    <a:pt x="937" y="9498"/>
                    <a:pt x="889" y="9523"/>
                  </a:cubicBezTo>
                  <a:cubicBezTo>
                    <a:pt x="841" y="9547"/>
                    <a:pt x="800" y="9571"/>
                    <a:pt x="777" y="9556"/>
                  </a:cubicBezTo>
                  <a:cubicBezTo>
                    <a:pt x="753" y="9540"/>
                    <a:pt x="743" y="9535"/>
                    <a:pt x="737" y="9505"/>
                  </a:cubicBezTo>
                  <a:cubicBezTo>
                    <a:pt x="732" y="9475"/>
                    <a:pt x="722" y="9446"/>
                    <a:pt x="687" y="9437"/>
                  </a:cubicBezTo>
                  <a:cubicBezTo>
                    <a:pt x="651" y="9427"/>
                    <a:pt x="611" y="9424"/>
                    <a:pt x="600" y="9419"/>
                  </a:cubicBezTo>
                  <a:cubicBezTo>
                    <a:pt x="591" y="9414"/>
                    <a:pt x="553" y="9396"/>
                    <a:pt x="548" y="9391"/>
                  </a:cubicBezTo>
                  <a:cubicBezTo>
                    <a:pt x="547" y="9397"/>
                    <a:pt x="526" y="9427"/>
                    <a:pt x="555" y="9449"/>
                  </a:cubicBezTo>
                  <a:close/>
                  <a:moveTo>
                    <a:pt x="1650" y="8648"/>
                  </a:moveTo>
                  <a:cubicBezTo>
                    <a:pt x="1636" y="8684"/>
                    <a:pt x="1629" y="8738"/>
                    <a:pt x="1657" y="8745"/>
                  </a:cubicBezTo>
                  <a:cubicBezTo>
                    <a:pt x="1657" y="8745"/>
                    <a:pt x="1684" y="8727"/>
                    <a:pt x="1695" y="8700"/>
                  </a:cubicBezTo>
                  <a:cubicBezTo>
                    <a:pt x="1706" y="8673"/>
                    <a:pt x="1718" y="8663"/>
                    <a:pt x="1741" y="8655"/>
                  </a:cubicBezTo>
                  <a:cubicBezTo>
                    <a:pt x="1765" y="8647"/>
                    <a:pt x="1812" y="8644"/>
                    <a:pt x="1856" y="8621"/>
                  </a:cubicBezTo>
                  <a:cubicBezTo>
                    <a:pt x="1900" y="8598"/>
                    <a:pt x="1909" y="8577"/>
                    <a:pt x="1884" y="8563"/>
                  </a:cubicBezTo>
                  <a:cubicBezTo>
                    <a:pt x="1858" y="8550"/>
                    <a:pt x="1802" y="8554"/>
                    <a:pt x="1784" y="8547"/>
                  </a:cubicBezTo>
                  <a:cubicBezTo>
                    <a:pt x="1766" y="8540"/>
                    <a:pt x="1747" y="8509"/>
                    <a:pt x="1769" y="8494"/>
                  </a:cubicBezTo>
                  <a:cubicBezTo>
                    <a:pt x="1791" y="8479"/>
                    <a:pt x="1837" y="8479"/>
                    <a:pt x="1841" y="8461"/>
                  </a:cubicBezTo>
                  <a:cubicBezTo>
                    <a:pt x="1845" y="8443"/>
                    <a:pt x="1843" y="8380"/>
                    <a:pt x="1802" y="8384"/>
                  </a:cubicBezTo>
                  <a:cubicBezTo>
                    <a:pt x="1761" y="8389"/>
                    <a:pt x="1756" y="8423"/>
                    <a:pt x="1751" y="8440"/>
                  </a:cubicBezTo>
                  <a:cubicBezTo>
                    <a:pt x="1746" y="8458"/>
                    <a:pt x="1707" y="8472"/>
                    <a:pt x="1695" y="8487"/>
                  </a:cubicBezTo>
                  <a:cubicBezTo>
                    <a:pt x="1683" y="8502"/>
                    <a:pt x="1670" y="8516"/>
                    <a:pt x="1683" y="8529"/>
                  </a:cubicBezTo>
                  <a:cubicBezTo>
                    <a:pt x="1695" y="8543"/>
                    <a:pt x="1707" y="8568"/>
                    <a:pt x="1698" y="8587"/>
                  </a:cubicBezTo>
                  <a:cubicBezTo>
                    <a:pt x="1688" y="8606"/>
                    <a:pt x="1664" y="8613"/>
                    <a:pt x="1650" y="8648"/>
                  </a:cubicBezTo>
                  <a:close/>
                  <a:moveTo>
                    <a:pt x="3523" y="7929"/>
                  </a:moveTo>
                  <a:cubicBezTo>
                    <a:pt x="3536" y="7886"/>
                    <a:pt x="3497" y="7835"/>
                    <a:pt x="3433" y="7815"/>
                  </a:cubicBezTo>
                  <a:cubicBezTo>
                    <a:pt x="3351" y="7788"/>
                    <a:pt x="3290" y="7804"/>
                    <a:pt x="3273" y="7845"/>
                  </a:cubicBezTo>
                  <a:cubicBezTo>
                    <a:pt x="3257" y="7886"/>
                    <a:pt x="3306" y="7950"/>
                    <a:pt x="3370" y="7968"/>
                  </a:cubicBezTo>
                  <a:cubicBezTo>
                    <a:pt x="3433" y="7987"/>
                    <a:pt x="3511" y="7972"/>
                    <a:pt x="3523" y="7929"/>
                  </a:cubicBezTo>
                  <a:close/>
                  <a:moveTo>
                    <a:pt x="508" y="15179"/>
                  </a:moveTo>
                  <a:cubicBezTo>
                    <a:pt x="473" y="15204"/>
                    <a:pt x="424" y="15276"/>
                    <a:pt x="461" y="15304"/>
                  </a:cubicBezTo>
                  <a:cubicBezTo>
                    <a:pt x="498" y="15333"/>
                    <a:pt x="570" y="15329"/>
                    <a:pt x="621" y="15282"/>
                  </a:cubicBezTo>
                  <a:cubicBezTo>
                    <a:pt x="672" y="15235"/>
                    <a:pt x="670" y="15204"/>
                    <a:pt x="650" y="15177"/>
                  </a:cubicBezTo>
                  <a:cubicBezTo>
                    <a:pt x="620" y="15139"/>
                    <a:pt x="543" y="15155"/>
                    <a:pt x="508" y="15179"/>
                  </a:cubicBezTo>
                  <a:close/>
                  <a:moveTo>
                    <a:pt x="2265" y="11304"/>
                  </a:moveTo>
                  <a:cubicBezTo>
                    <a:pt x="2265" y="11304"/>
                    <a:pt x="2083" y="11244"/>
                    <a:pt x="2038" y="11229"/>
                  </a:cubicBezTo>
                  <a:cubicBezTo>
                    <a:pt x="2094" y="11074"/>
                    <a:pt x="2094" y="11074"/>
                    <a:pt x="2094" y="11074"/>
                  </a:cubicBezTo>
                  <a:cubicBezTo>
                    <a:pt x="2071" y="11065"/>
                    <a:pt x="2071" y="11065"/>
                    <a:pt x="2071" y="11065"/>
                  </a:cubicBezTo>
                  <a:cubicBezTo>
                    <a:pt x="1971" y="11340"/>
                    <a:pt x="1971" y="11340"/>
                    <a:pt x="1971" y="11340"/>
                  </a:cubicBezTo>
                  <a:cubicBezTo>
                    <a:pt x="1783" y="11493"/>
                    <a:pt x="1783" y="11493"/>
                    <a:pt x="1783" y="11493"/>
                  </a:cubicBezTo>
                  <a:cubicBezTo>
                    <a:pt x="1800" y="11511"/>
                    <a:pt x="1800" y="11511"/>
                    <a:pt x="1800" y="11511"/>
                  </a:cubicBezTo>
                  <a:cubicBezTo>
                    <a:pt x="1992" y="11355"/>
                    <a:pt x="1992" y="11355"/>
                    <a:pt x="1992" y="11355"/>
                  </a:cubicBezTo>
                  <a:cubicBezTo>
                    <a:pt x="2029" y="11252"/>
                    <a:pt x="2029" y="11252"/>
                    <a:pt x="2029" y="11252"/>
                  </a:cubicBezTo>
                  <a:cubicBezTo>
                    <a:pt x="2030" y="11252"/>
                    <a:pt x="2030" y="11253"/>
                    <a:pt x="2031" y="11253"/>
                  </a:cubicBezTo>
                  <a:cubicBezTo>
                    <a:pt x="2037" y="11255"/>
                    <a:pt x="2047" y="11258"/>
                    <a:pt x="2058" y="11262"/>
                  </a:cubicBezTo>
                  <a:cubicBezTo>
                    <a:pt x="2080" y="11269"/>
                    <a:pt x="2110" y="11279"/>
                    <a:pt x="2139" y="11288"/>
                  </a:cubicBezTo>
                  <a:cubicBezTo>
                    <a:pt x="2194" y="11307"/>
                    <a:pt x="2249" y="11325"/>
                    <a:pt x="2256" y="11327"/>
                  </a:cubicBezTo>
                  <a:cubicBezTo>
                    <a:pt x="2429" y="11409"/>
                    <a:pt x="2429" y="11409"/>
                    <a:pt x="2429" y="11409"/>
                  </a:cubicBezTo>
                  <a:cubicBezTo>
                    <a:pt x="2429" y="11409"/>
                    <a:pt x="2429" y="11409"/>
                    <a:pt x="2429" y="11409"/>
                  </a:cubicBezTo>
                  <a:cubicBezTo>
                    <a:pt x="2439" y="11387"/>
                    <a:pt x="2439" y="11387"/>
                    <a:pt x="2439" y="11387"/>
                  </a:cubicBezTo>
                  <a:cubicBezTo>
                    <a:pt x="2266" y="11304"/>
                    <a:pt x="2266" y="11304"/>
                    <a:pt x="2266" y="11304"/>
                  </a:cubicBezTo>
                  <a:lnTo>
                    <a:pt x="2265" y="11304"/>
                  </a:lnTo>
                  <a:close/>
                  <a:moveTo>
                    <a:pt x="18011" y="673"/>
                  </a:moveTo>
                  <a:cubicBezTo>
                    <a:pt x="17977" y="697"/>
                    <a:pt x="17944" y="720"/>
                    <a:pt x="17912" y="741"/>
                  </a:cubicBezTo>
                  <a:cubicBezTo>
                    <a:pt x="17945" y="788"/>
                    <a:pt x="17979" y="842"/>
                    <a:pt x="18011" y="902"/>
                  </a:cubicBezTo>
                  <a:cubicBezTo>
                    <a:pt x="18011" y="981"/>
                    <a:pt x="18011" y="981"/>
                    <a:pt x="18011" y="981"/>
                  </a:cubicBezTo>
                  <a:cubicBezTo>
                    <a:pt x="17970" y="896"/>
                    <a:pt x="17926" y="823"/>
                    <a:pt x="17882" y="761"/>
                  </a:cubicBezTo>
                  <a:cubicBezTo>
                    <a:pt x="17435" y="1053"/>
                    <a:pt x="16722" y="1590"/>
                    <a:pt x="16212" y="1725"/>
                  </a:cubicBezTo>
                  <a:cubicBezTo>
                    <a:pt x="16179" y="1734"/>
                    <a:pt x="16146" y="1742"/>
                    <a:pt x="16112" y="1750"/>
                  </a:cubicBezTo>
                  <a:cubicBezTo>
                    <a:pt x="16114" y="1753"/>
                    <a:pt x="16114" y="1753"/>
                    <a:pt x="16114" y="1753"/>
                  </a:cubicBezTo>
                  <a:cubicBezTo>
                    <a:pt x="16117" y="1757"/>
                    <a:pt x="16117" y="1757"/>
                    <a:pt x="16117" y="1757"/>
                  </a:cubicBezTo>
                  <a:cubicBezTo>
                    <a:pt x="16094" y="1775"/>
                    <a:pt x="15762" y="2152"/>
                    <a:pt x="15712" y="2342"/>
                  </a:cubicBezTo>
                  <a:cubicBezTo>
                    <a:pt x="15681" y="2459"/>
                    <a:pt x="15649" y="2676"/>
                    <a:pt x="15649" y="2932"/>
                  </a:cubicBezTo>
                  <a:cubicBezTo>
                    <a:pt x="15649" y="3116"/>
                    <a:pt x="15665" y="3322"/>
                    <a:pt x="15709" y="3526"/>
                  </a:cubicBezTo>
                  <a:cubicBezTo>
                    <a:pt x="15760" y="3769"/>
                    <a:pt x="15837" y="4052"/>
                    <a:pt x="15901" y="4277"/>
                  </a:cubicBezTo>
                  <a:cubicBezTo>
                    <a:pt x="15933" y="4390"/>
                    <a:pt x="15962" y="4488"/>
                    <a:pt x="15983" y="4559"/>
                  </a:cubicBezTo>
                  <a:cubicBezTo>
                    <a:pt x="15993" y="4594"/>
                    <a:pt x="16002" y="4623"/>
                    <a:pt x="16008" y="4644"/>
                  </a:cubicBezTo>
                  <a:cubicBezTo>
                    <a:pt x="16010" y="4654"/>
                    <a:pt x="16013" y="4662"/>
                    <a:pt x="16014" y="4669"/>
                  </a:cubicBezTo>
                  <a:cubicBezTo>
                    <a:pt x="16015" y="4673"/>
                    <a:pt x="16016" y="4675"/>
                    <a:pt x="16016" y="4678"/>
                  </a:cubicBezTo>
                  <a:cubicBezTo>
                    <a:pt x="16104" y="4659"/>
                    <a:pt x="16104" y="4659"/>
                    <a:pt x="16104" y="4659"/>
                  </a:cubicBezTo>
                  <a:cubicBezTo>
                    <a:pt x="16105" y="4659"/>
                    <a:pt x="16576" y="4571"/>
                    <a:pt x="16974" y="4571"/>
                  </a:cubicBezTo>
                  <a:cubicBezTo>
                    <a:pt x="17013" y="4571"/>
                    <a:pt x="17051" y="4571"/>
                    <a:pt x="17087" y="4573"/>
                  </a:cubicBezTo>
                  <a:cubicBezTo>
                    <a:pt x="17432" y="4591"/>
                    <a:pt x="17814" y="4639"/>
                    <a:pt x="18011" y="4666"/>
                  </a:cubicBezTo>
                  <a:cubicBezTo>
                    <a:pt x="18011" y="4703"/>
                    <a:pt x="18011" y="4703"/>
                    <a:pt x="18011" y="4703"/>
                  </a:cubicBezTo>
                  <a:cubicBezTo>
                    <a:pt x="17816" y="4675"/>
                    <a:pt x="17431" y="4627"/>
                    <a:pt x="17085" y="4609"/>
                  </a:cubicBezTo>
                  <a:cubicBezTo>
                    <a:pt x="17049" y="4607"/>
                    <a:pt x="17012" y="4607"/>
                    <a:pt x="16974" y="4607"/>
                  </a:cubicBezTo>
                  <a:cubicBezTo>
                    <a:pt x="16778" y="4607"/>
                    <a:pt x="16562" y="4629"/>
                    <a:pt x="16395" y="4651"/>
                  </a:cubicBezTo>
                  <a:cubicBezTo>
                    <a:pt x="16229" y="4673"/>
                    <a:pt x="16112" y="4695"/>
                    <a:pt x="16111" y="4695"/>
                  </a:cubicBezTo>
                  <a:cubicBezTo>
                    <a:pt x="16034" y="4711"/>
                    <a:pt x="16034" y="4711"/>
                    <a:pt x="16034" y="4711"/>
                  </a:cubicBezTo>
                  <a:cubicBezTo>
                    <a:pt x="16052" y="4765"/>
                    <a:pt x="16083" y="4881"/>
                    <a:pt x="16083" y="5035"/>
                  </a:cubicBezTo>
                  <a:cubicBezTo>
                    <a:pt x="16083" y="5114"/>
                    <a:pt x="16075" y="5202"/>
                    <a:pt x="16053" y="5297"/>
                  </a:cubicBezTo>
                  <a:cubicBezTo>
                    <a:pt x="15969" y="5650"/>
                    <a:pt x="15701" y="5868"/>
                    <a:pt x="15607" y="6100"/>
                  </a:cubicBezTo>
                  <a:cubicBezTo>
                    <a:pt x="15532" y="6284"/>
                    <a:pt x="15472" y="6402"/>
                    <a:pt x="15472" y="6641"/>
                  </a:cubicBezTo>
                  <a:cubicBezTo>
                    <a:pt x="15472" y="6715"/>
                    <a:pt x="15478" y="6800"/>
                    <a:pt x="15491" y="6902"/>
                  </a:cubicBezTo>
                  <a:cubicBezTo>
                    <a:pt x="15537" y="7268"/>
                    <a:pt x="15633" y="8033"/>
                    <a:pt x="15662" y="8267"/>
                  </a:cubicBezTo>
                  <a:cubicBezTo>
                    <a:pt x="15662" y="8267"/>
                    <a:pt x="15662" y="8268"/>
                    <a:pt x="15662" y="8268"/>
                  </a:cubicBezTo>
                  <a:cubicBezTo>
                    <a:pt x="15662" y="8268"/>
                    <a:pt x="15665" y="8279"/>
                    <a:pt x="15667" y="8287"/>
                  </a:cubicBezTo>
                  <a:cubicBezTo>
                    <a:pt x="15685" y="8279"/>
                    <a:pt x="15698" y="8273"/>
                    <a:pt x="15698" y="8273"/>
                  </a:cubicBezTo>
                  <a:cubicBezTo>
                    <a:pt x="15704" y="8271"/>
                    <a:pt x="15704" y="8271"/>
                    <a:pt x="15704" y="8271"/>
                  </a:cubicBezTo>
                  <a:cubicBezTo>
                    <a:pt x="17137" y="7977"/>
                    <a:pt x="17137" y="7977"/>
                    <a:pt x="17137" y="7977"/>
                  </a:cubicBezTo>
                  <a:cubicBezTo>
                    <a:pt x="17140" y="7977"/>
                    <a:pt x="17140" y="7977"/>
                    <a:pt x="17140" y="7977"/>
                  </a:cubicBezTo>
                  <a:cubicBezTo>
                    <a:pt x="17140" y="7977"/>
                    <a:pt x="17387" y="7948"/>
                    <a:pt x="17635" y="7919"/>
                  </a:cubicBezTo>
                  <a:cubicBezTo>
                    <a:pt x="17760" y="7904"/>
                    <a:pt x="17884" y="7889"/>
                    <a:pt x="17978" y="7879"/>
                  </a:cubicBezTo>
                  <a:cubicBezTo>
                    <a:pt x="17990" y="7877"/>
                    <a:pt x="18001" y="7876"/>
                    <a:pt x="18011" y="7875"/>
                  </a:cubicBezTo>
                  <a:cubicBezTo>
                    <a:pt x="18011" y="7990"/>
                    <a:pt x="18011" y="7990"/>
                    <a:pt x="18011" y="7990"/>
                  </a:cubicBezTo>
                  <a:cubicBezTo>
                    <a:pt x="17911" y="8002"/>
                    <a:pt x="17770" y="8018"/>
                    <a:pt x="17631" y="8035"/>
                  </a:cubicBezTo>
                  <a:cubicBezTo>
                    <a:pt x="17403" y="8062"/>
                    <a:pt x="17181" y="8088"/>
                    <a:pt x="17155" y="8091"/>
                  </a:cubicBezTo>
                  <a:cubicBezTo>
                    <a:pt x="15738" y="8381"/>
                    <a:pt x="15738" y="8381"/>
                    <a:pt x="15738" y="8381"/>
                  </a:cubicBezTo>
                  <a:cubicBezTo>
                    <a:pt x="15714" y="8391"/>
                    <a:pt x="15613" y="8435"/>
                    <a:pt x="15588" y="8446"/>
                  </a:cubicBezTo>
                  <a:cubicBezTo>
                    <a:pt x="15588" y="8446"/>
                    <a:pt x="15588" y="8446"/>
                    <a:pt x="15588" y="8446"/>
                  </a:cubicBezTo>
                  <a:cubicBezTo>
                    <a:pt x="15580" y="8449"/>
                    <a:pt x="15530" y="8478"/>
                    <a:pt x="15460" y="8517"/>
                  </a:cubicBezTo>
                  <a:cubicBezTo>
                    <a:pt x="15354" y="8576"/>
                    <a:pt x="15200" y="8662"/>
                    <a:pt x="15048" y="8742"/>
                  </a:cubicBezTo>
                  <a:cubicBezTo>
                    <a:pt x="14897" y="8821"/>
                    <a:pt x="14750" y="8894"/>
                    <a:pt x="14653" y="8930"/>
                  </a:cubicBezTo>
                  <a:cubicBezTo>
                    <a:pt x="14529" y="8974"/>
                    <a:pt x="14413" y="9014"/>
                    <a:pt x="14325" y="9042"/>
                  </a:cubicBezTo>
                  <a:cubicBezTo>
                    <a:pt x="14281" y="9056"/>
                    <a:pt x="14244" y="9068"/>
                    <a:pt x="14217" y="9076"/>
                  </a:cubicBezTo>
                  <a:cubicBezTo>
                    <a:pt x="14204" y="9080"/>
                    <a:pt x="14192" y="9083"/>
                    <a:pt x="14183" y="9085"/>
                  </a:cubicBezTo>
                  <a:cubicBezTo>
                    <a:pt x="14179" y="9086"/>
                    <a:pt x="14175" y="9087"/>
                    <a:pt x="14171" y="9088"/>
                  </a:cubicBezTo>
                  <a:cubicBezTo>
                    <a:pt x="14168" y="9088"/>
                    <a:pt x="14166" y="9089"/>
                    <a:pt x="14161" y="9089"/>
                  </a:cubicBezTo>
                  <a:cubicBezTo>
                    <a:pt x="14149" y="9092"/>
                    <a:pt x="14094" y="9104"/>
                    <a:pt x="14024" y="9121"/>
                  </a:cubicBezTo>
                  <a:cubicBezTo>
                    <a:pt x="13852" y="9162"/>
                    <a:pt x="13573" y="9229"/>
                    <a:pt x="13466" y="9255"/>
                  </a:cubicBezTo>
                  <a:cubicBezTo>
                    <a:pt x="13472" y="9293"/>
                    <a:pt x="13475" y="9330"/>
                    <a:pt x="13475" y="9366"/>
                  </a:cubicBezTo>
                  <a:cubicBezTo>
                    <a:pt x="13475" y="9426"/>
                    <a:pt x="13469" y="9482"/>
                    <a:pt x="13462" y="9524"/>
                  </a:cubicBezTo>
                  <a:cubicBezTo>
                    <a:pt x="13459" y="9543"/>
                    <a:pt x="13456" y="9560"/>
                    <a:pt x="13452" y="9573"/>
                  </a:cubicBezTo>
                  <a:cubicBezTo>
                    <a:pt x="13483" y="9619"/>
                    <a:pt x="13540" y="9677"/>
                    <a:pt x="13603" y="9725"/>
                  </a:cubicBezTo>
                  <a:cubicBezTo>
                    <a:pt x="13675" y="9782"/>
                    <a:pt x="13757" y="9829"/>
                    <a:pt x="13804" y="9845"/>
                  </a:cubicBezTo>
                  <a:cubicBezTo>
                    <a:pt x="13856" y="9863"/>
                    <a:pt x="13934" y="9877"/>
                    <a:pt x="14019" y="9898"/>
                  </a:cubicBezTo>
                  <a:cubicBezTo>
                    <a:pt x="14104" y="9919"/>
                    <a:pt x="14196" y="9948"/>
                    <a:pt x="14280" y="10001"/>
                  </a:cubicBezTo>
                  <a:cubicBezTo>
                    <a:pt x="14429" y="10096"/>
                    <a:pt x="14510" y="10241"/>
                    <a:pt x="14528" y="10275"/>
                  </a:cubicBezTo>
                  <a:cubicBezTo>
                    <a:pt x="14547" y="10298"/>
                    <a:pt x="14638" y="10408"/>
                    <a:pt x="14737" y="10525"/>
                  </a:cubicBezTo>
                  <a:cubicBezTo>
                    <a:pt x="14792" y="10591"/>
                    <a:pt x="14849" y="10658"/>
                    <a:pt x="14896" y="10713"/>
                  </a:cubicBezTo>
                  <a:cubicBezTo>
                    <a:pt x="14943" y="10767"/>
                    <a:pt x="14983" y="10810"/>
                    <a:pt x="14995" y="10821"/>
                  </a:cubicBezTo>
                  <a:cubicBezTo>
                    <a:pt x="15027" y="10850"/>
                    <a:pt x="15050" y="10867"/>
                    <a:pt x="15064" y="10877"/>
                  </a:cubicBezTo>
                  <a:cubicBezTo>
                    <a:pt x="15070" y="10881"/>
                    <a:pt x="15075" y="10884"/>
                    <a:pt x="15078" y="10886"/>
                  </a:cubicBezTo>
                  <a:cubicBezTo>
                    <a:pt x="15111" y="10894"/>
                    <a:pt x="15256" y="10928"/>
                    <a:pt x="15436" y="10968"/>
                  </a:cubicBezTo>
                  <a:cubicBezTo>
                    <a:pt x="15642" y="11015"/>
                    <a:pt x="15893" y="11071"/>
                    <a:pt x="16073" y="11108"/>
                  </a:cubicBezTo>
                  <a:cubicBezTo>
                    <a:pt x="16358" y="11166"/>
                    <a:pt x="17513" y="11467"/>
                    <a:pt x="18011" y="11598"/>
                  </a:cubicBezTo>
                  <a:cubicBezTo>
                    <a:pt x="18011" y="11716"/>
                    <a:pt x="18011" y="11716"/>
                    <a:pt x="18011" y="11716"/>
                  </a:cubicBezTo>
                  <a:cubicBezTo>
                    <a:pt x="17833" y="11670"/>
                    <a:pt x="17558" y="11598"/>
                    <a:pt x="17266" y="11522"/>
                  </a:cubicBezTo>
                  <a:cubicBezTo>
                    <a:pt x="16770" y="11394"/>
                    <a:pt x="16228" y="11256"/>
                    <a:pt x="16050" y="11220"/>
                  </a:cubicBezTo>
                  <a:cubicBezTo>
                    <a:pt x="15767" y="11163"/>
                    <a:pt x="15317" y="11059"/>
                    <a:pt x="15130" y="11016"/>
                  </a:cubicBezTo>
                  <a:cubicBezTo>
                    <a:pt x="14823" y="11437"/>
                    <a:pt x="14823" y="11437"/>
                    <a:pt x="14823" y="11437"/>
                  </a:cubicBezTo>
                  <a:cubicBezTo>
                    <a:pt x="14808" y="11478"/>
                    <a:pt x="14739" y="11658"/>
                    <a:pt x="14625" y="11815"/>
                  </a:cubicBezTo>
                  <a:cubicBezTo>
                    <a:pt x="14519" y="11960"/>
                    <a:pt x="14374" y="12071"/>
                    <a:pt x="14321" y="12110"/>
                  </a:cubicBezTo>
                  <a:cubicBezTo>
                    <a:pt x="14312" y="12163"/>
                    <a:pt x="14289" y="12303"/>
                    <a:pt x="14256" y="12498"/>
                  </a:cubicBezTo>
                  <a:cubicBezTo>
                    <a:pt x="14236" y="12622"/>
                    <a:pt x="14212" y="12767"/>
                    <a:pt x="14186" y="12926"/>
                  </a:cubicBezTo>
                  <a:cubicBezTo>
                    <a:pt x="14192" y="12929"/>
                    <a:pt x="14200" y="12932"/>
                    <a:pt x="14206" y="12935"/>
                  </a:cubicBezTo>
                  <a:cubicBezTo>
                    <a:pt x="15398" y="13170"/>
                    <a:pt x="15398" y="13170"/>
                    <a:pt x="15398" y="13170"/>
                  </a:cubicBezTo>
                  <a:cubicBezTo>
                    <a:pt x="15407" y="13171"/>
                    <a:pt x="15422" y="13174"/>
                    <a:pt x="15441" y="13179"/>
                  </a:cubicBezTo>
                  <a:cubicBezTo>
                    <a:pt x="15441" y="13177"/>
                    <a:pt x="15442" y="13176"/>
                    <a:pt x="15442" y="13174"/>
                  </a:cubicBezTo>
                  <a:cubicBezTo>
                    <a:pt x="15491" y="12889"/>
                    <a:pt x="15661" y="12543"/>
                    <a:pt x="16213" y="12392"/>
                  </a:cubicBezTo>
                  <a:cubicBezTo>
                    <a:pt x="16488" y="12316"/>
                    <a:pt x="16806" y="12278"/>
                    <a:pt x="17065" y="12256"/>
                  </a:cubicBezTo>
                  <a:cubicBezTo>
                    <a:pt x="17195" y="12245"/>
                    <a:pt x="17310" y="12238"/>
                    <a:pt x="17397" y="12232"/>
                  </a:cubicBezTo>
                  <a:cubicBezTo>
                    <a:pt x="17484" y="12227"/>
                    <a:pt x="17545" y="12223"/>
                    <a:pt x="17560" y="12218"/>
                  </a:cubicBezTo>
                  <a:cubicBezTo>
                    <a:pt x="17612" y="12206"/>
                    <a:pt x="17796" y="12150"/>
                    <a:pt x="18011" y="12028"/>
                  </a:cubicBezTo>
                  <a:cubicBezTo>
                    <a:pt x="18011" y="12069"/>
                    <a:pt x="18011" y="12069"/>
                    <a:pt x="18011" y="12069"/>
                  </a:cubicBezTo>
                  <a:cubicBezTo>
                    <a:pt x="17801" y="12186"/>
                    <a:pt x="17622" y="12240"/>
                    <a:pt x="17569" y="12253"/>
                  </a:cubicBezTo>
                  <a:cubicBezTo>
                    <a:pt x="17545" y="12259"/>
                    <a:pt x="17487" y="12263"/>
                    <a:pt x="17399" y="12268"/>
                  </a:cubicBezTo>
                  <a:cubicBezTo>
                    <a:pt x="17137" y="12284"/>
                    <a:pt x="16630" y="12314"/>
                    <a:pt x="16223" y="12427"/>
                  </a:cubicBezTo>
                  <a:cubicBezTo>
                    <a:pt x="15683" y="12576"/>
                    <a:pt x="15527" y="12904"/>
                    <a:pt x="15477" y="13181"/>
                  </a:cubicBezTo>
                  <a:cubicBezTo>
                    <a:pt x="15477" y="13183"/>
                    <a:pt x="15477" y="13185"/>
                    <a:pt x="15476" y="13187"/>
                  </a:cubicBezTo>
                  <a:cubicBezTo>
                    <a:pt x="15667" y="13233"/>
                    <a:pt x="16130" y="13373"/>
                    <a:pt x="16502" y="13740"/>
                  </a:cubicBezTo>
                  <a:cubicBezTo>
                    <a:pt x="17083" y="14312"/>
                    <a:pt x="17229" y="15048"/>
                    <a:pt x="17236" y="15083"/>
                  </a:cubicBezTo>
                  <a:cubicBezTo>
                    <a:pt x="17288" y="15246"/>
                    <a:pt x="17308" y="15402"/>
                    <a:pt x="17308" y="15543"/>
                  </a:cubicBezTo>
                  <a:cubicBezTo>
                    <a:pt x="17308" y="15952"/>
                    <a:pt x="17144" y="16243"/>
                    <a:pt x="17112" y="16296"/>
                  </a:cubicBezTo>
                  <a:cubicBezTo>
                    <a:pt x="17231" y="16332"/>
                    <a:pt x="17365" y="16388"/>
                    <a:pt x="17497" y="16477"/>
                  </a:cubicBezTo>
                  <a:cubicBezTo>
                    <a:pt x="17699" y="16614"/>
                    <a:pt x="17860" y="16740"/>
                    <a:pt x="18011" y="16857"/>
                  </a:cubicBezTo>
                  <a:cubicBezTo>
                    <a:pt x="18011" y="16902"/>
                    <a:pt x="18011" y="16902"/>
                    <a:pt x="18011" y="16902"/>
                  </a:cubicBezTo>
                  <a:cubicBezTo>
                    <a:pt x="17853" y="16781"/>
                    <a:pt x="17687" y="16650"/>
                    <a:pt x="17476" y="16507"/>
                  </a:cubicBezTo>
                  <a:cubicBezTo>
                    <a:pt x="17144" y="16282"/>
                    <a:pt x="16799" y="16272"/>
                    <a:pt x="16711" y="16272"/>
                  </a:cubicBezTo>
                  <a:cubicBezTo>
                    <a:pt x="16702" y="16272"/>
                    <a:pt x="16696" y="16272"/>
                    <a:pt x="16692" y="16272"/>
                  </a:cubicBezTo>
                  <a:cubicBezTo>
                    <a:pt x="16691" y="16272"/>
                    <a:pt x="16690" y="16272"/>
                    <a:pt x="16689" y="16272"/>
                  </a:cubicBezTo>
                  <a:cubicBezTo>
                    <a:pt x="16688" y="16272"/>
                    <a:pt x="16688" y="16272"/>
                    <a:pt x="16686" y="16272"/>
                  </a:cubicBezTo>
                  <a:cubicBezTo>
                    <a:pt x="16686" y="16272"/>
                    <a:pt x="16686" y="16272"/>
                    <a:pt x="16685" y="16271"/>
                  </a:cubicBezTo>
                  <a:cubicBezTo>
                    <a:pt x="16684" y="16271"/>
                    <a:pt x="16682" y="16271"/>
                    <a:pt x="16680" y="16271"/>
                  </a:cubicBezTo>
                  <a:cubicBezTo>
                    <a:pt x="16590" y="16271"/>
                    <a:pt x="15867" y="16282"/>
                    <a:pt x="15166" y="16293"/>
                  </a:cubicBezTo>
                  <a:cubicBezTo>
                    <a:pt x="14952" y="16296"/>
                    <a:pt x="14741" y="16299"/>
                    <a:pt x="14550" y="16302"/>
                  </a:cubicBezTo>
                  <a:cubicBezTo>
                    <a:pt x="14565" y="16363"/>
                    <a:pt x="14598" y="16504"/>
                    <a:pt x="14642" y="16685"/>
                  </a:cubicBezTo>
                  <a:cubicBezTo>
                    <a:pt x="14701" y="16927"/>
                    <a:pt x="14779" y="17239"/>
                    <a:pt x="14853" y="17517"/>
                  </a:cubicBezTo>
                  <a:cubicBezTo>
                    <a:pt x="14889" y="17653"/>
                    <a:pt x="14937" y="17827"/>
                    <a:pt x="14984" y="18000"/>
                  </a:cubicBezTo>
                  <a:cubicBezTo>
                    <a:pt x="14947" y="18000"/>
                    <a:pt x="14947" y="18000"/>
                    <a:pt x="14947" y="18000"/>
                  </a:cubicBezTo>
                  <a:cubicBezTo>
                    <a:pt x="14900" y="17831"/>
                    <a:pt x="14853" y="17660"/>
                    <a:pt x="14818" y="17527"/>
                  </a:cubicBezTo>
                  <a:cubicBezTo>
                    <a:pt x="14687" y="17032"/>
                    <a:pt x="14544" y="16432"/>
                    <a:pt x="14513" y="16303"/>
                  </a:cubicBezTo>
                  <a:cubicBezTo>
                    <a:pt x="14405" y="16304"/>
                    <a:pt x="14303" y="16306"/>
                    <a:pt x="14213" y="16307"/>
                  </a:cubicBezTo>
                  <a:cubicBezTo>
                    <a:pt x="14003" y="16311"/>
                    <a:pt x="13851" y="16313"/>
                    <a:pt x="13803" y="16314"/>
                  </a:cubicBezTo>
                  <a:cubicBezTo>
                    <a:pt x="13791" y="16317"/>
                    <a:pt x="13791" y="16317"/>
                    <a:pt x="13791" y="16317"/>
                  </a:cubicBezTo>
                  <a:cubicBezTo>
                    <a:pt x="13815" y="16590"/>
                    <a:pt x="13854" y="17012"/>
                    <a:pt x="13890" y="17395"/>
                  </a:cubicBezTo>
                  <a:cubicBezTo>
                    <a:pt x="13912" y="17624"/>
                    <a:pt x="13932" y="17838"/>
                    <a:pt x="13948" y="18000"/>
                  </a:cubicBezTo>
                  <a:cubicBezTo>
                    <a:pt x="13832" y="18000"/>
                    <a:pt x="13832" y="18000"/>
                    <a:pt x="13832" y="18000"/>
                  </a:cubicBezTo>
                  <a:cubicBezTo>
                    <a:pt x="13812" y="17791"/>
                    <a:pt x="13785" y="17496"/>
                    <a:pt x="13757" y="17199"/>
                  </a:cubicBezTo>
                  <a:cubicBezTo>
                    <a:pt x="13731" y="16921"/>
                    <a:pt x="13705" y="16641"/>
                    <a:pt x="13685" y="16424"/>
                  </a:cubicBezTo>
                  <a:cubicBezTo>
                    <a:pt x="13676" y="16316"/>
                    <a:pt x="13667" y="16224"/>
                    <a:pt x="13662" y="16156"/>
                  </a:cubicBezTo>
                  <a:cubicBezTo>
                    <a:pt x="13660" y="16128"/>
                    <a:pt x="13658" y="16106"/>
                    <a:pt x="13656" y="16087"/>
                  </a:cubicBezTo>
                  <a:cubicBezTo>
                    <a:pt x="13641" y="16084"/>
                    <a:pt x="13641" y="16084"/>
                    <a:pt x="13641" y="16084"/>
                  </a:cubicBezTo>
                  <a:cubicBezTo>
                    <a:pt x="12633" y="16117"/>
                    <a:pt x="12633" y="16117"/>
                    <a:pt x="12633" y="16117"/>
                  </a:cubicBezTo>
                  <a:cubicBezTo>
                    <a:pt x="12630" y="16118"/>
                    <a:pt x="12624" y="16120"/>
                    <a:pt x="12615" y="16123"/>
                  </a:cubicBezTo>
                  <a:cubicBezTo>
                    <a:pt x="12578" y="16137"/>
                    <a:pt x="12508" y="16174"/>
                    <a:pt x="12509" y="16264"/>
                  </a:cubicBezTo>
                  <a:cubicBezTo>
                    <a:pt x="12509" y="16266"/>
                    <a:pt x="12509" y="16268"/>
                    <a:pt x="12509" y="16270"/>
                  </a:cubicBezTo>
                  <a:cubicBezTo>
                    <a:pt x="12509" y="16279"/>
                    <a:pt x="12509" y="16288"/>
                    <a:pt x="12509" y="16297"/>
                  </a:cubicBezTo>
                  <a:cubicBezTo>
                    <a:pt x="12509" y="16356"/>
                    <a:pt x="12501" y="16394"/>
                    <a:pt x="12475" y="16425"/>
                  </a:cubicBezTo>
                  <a:cubicBezTo>
                    <a:pt x="12449" y="16454"/>
                    <a:pt x="12411" y="16472"/>
                    <a:pt x="12354" y="16501"/>
                  </a:cubicBezTo>
                  <a:cubicBezTo>
                    <a:pt x="12236" y="16560"/>
                    <a:pt x="11860" y="16703"/>
                    <a:pt x="11810" y="16722"/>
                  </a:cubicBezTo>
                  <a:cubicBezTo>
                    <a:pt x="12156" y="17529"/>
                    <a:pt x="12156" y="17529"/>
                    <a:pt x="12156" y="17529"/>
                  </a:cubicBezTo>
                  <a:cubicBezTo>
                    <a:pt x="12143" y="17534"/>
                    <a:pt x="12143" y="17534"/>
                    <a:pt x="12143" y="17534"/>
                  </a:cubicBezTo>
                  <a:cubicBezTo>
                    <a:pt x="12974" y="18000"/>
                    <a:pt x="12974" y="18000"/>
                    <a:pt x="12974" y="18000"/>
                  </a:cubicBezTo>
                  <a:cubicBezTo>
                    <a:pt x="12901" y="18000"/>
                    <a:pt x="12901" y="18000"/>
                    <a:pt x="12901" y="18000"/>
                  </a:cubicBezTo>
                  <a:cubicBezTo>
                    <a:pt x="12137" y="17572"/>
                    <a:pt x="12137" y="17572"/>
                    <a:pt x="12137" y="17572"/>
                  </a:cubicBezTo>
                  <a:cubicBezTo>
                    <a:pt x="11838" y="18000"/>
                    <a:pt x="11838" y="18000"/>
                    <a:pt x="11838" y="18000"/>
                  </a:cubicBezTo>
                  <a:cubicBezTo>
                    <a:pt x="11794" y="18000"/>
                    <a:pt x="11794" y="18000"/>
                    <a:pt x="11794" y="18000"/>
                  </a:cubicBezTo>
                  <a:cubicBezTo>
                    <a:pt x="12119" y="17534"/>
                    <a:pt x="12119" y="17534"/>
                    <a:pt x="12119" y="17534"/>
                  </a:cubicBezTo>
                  <a:cubicBezTo>
                    <a:pt x="11706" y="16572"/>
                    <a:pt x="11706" y="16572"/>
                    <a:pt x="11706" y="16572"/>
                  </a:cubicBezTo>
                  <a:cubicBezTo>
                    <a:pt x="11707" y="16572"/>
                    <a:pt x="11701" y="16559"/>
                    <a:pt x="11688" y="16536"/>
                  </a:cubicBezTo>
                  <a:cubicBezTo>
                    <a:pt x="11651" y="16472"/>
                    <a:pt x="11556" y="16331"/>
                    <a:pt x="11373" y="16187"/>
                  </a:cubicBezTo>
                  <a:cubicBezTo>
                    <a:pt x="11345" y="16208"/>
                    <a:pt x="11275" y="16261"/>
                    <a:pt x="11183" y="16333"/>
                  </a:cubicBezTo>
                  <a:cubicBezTo>
                    <a:pt x="11009" y="16468"/>
                    <a:pt x="10754" y="16667"/>
                    <a:pt x="10543" y="16832"/>
                  </a:cubicBezTo>
                  <a:cubicBezTo>
                    <a:pt x="10349" y="16984"/>
                    <a:pt x="10193" y="17106"/>
                    <a:pt x="10168" y="17126"/>
                  </a:cubicBezTo>
                  <a:cubicBezTo>
                    <a:pt x="10175" y="17144"/>
                    <a:pt x="10183" y="17166"/>
                    <a:pt x="10191" y="17191"/>
                  </a:cubicBezTo>
                  <a:cubicBezTo>
                    <a:pt x="10246" y="17362"/>
                    <a:pt x="10320" y="17673"/>
                    <a:pt x="10370" y="17891"/>
                  </a:cubicBezTo>
                  <a:cubicBezTo>
                    <a:pt x="10378" y="17930"/>
                    <a:pt x="10382" y="17966"/>
                    <a:pt x="10383" y="18000"/>
                  </a:cubicBezTo>
                  <a:cubicBezTo>
                    <a:pt x="10347" y="18000"/>
                    <a:pt x="10347" y="18000"/>
                    <a:pt x="10347" y="18000"/>
                  </a:cubicBezTo>
                  <a:cubicBezTo>
                    <a:pt x="10346" y="17969"/>
                    <a:pt x="10343" y="17936"/>
                    <a:pt x="10334" y="17899"/>
                  </a:cubicBezTo>
                  <a:cubicBezTo>
                    <a:pt x="10302" y="17754"/>
                    <a:pt x="10258" y="17568"/>
                    <a:pt x="10216" y="17409"/>
                  </a:cubicBezTo>
                  <a:cubicBezTo>
                    <a:pt x="10195" y="17330"/>
                    <a:pt x="10175" y="17258"/>
                    <a:pt x="10157" y="17202"/>
                  </a:cubicBezTo>
                  <a:cubicBezTo>
                    <a:pt x="10139" y="17147"/>
                    <a:pt x="10122" y="17105"/>
                    <a:pt x="10113" y="17094"/>
                  </a:cubicBezTo>
                  <a:cubicBezTo>
                    <a:pt x="10092" y="17065"/>
                    <a:pt x="10016" y="17002"/>
                    <a:pt x="9929" y="16941"/>
                  </a:cubicBezTo>
                  <a:cubicBezTo>
                    <a:pt x="9903" y="16923"/>
                    <a:pt x="9876" y="16904"/>
                    <a:pt x="9848" y="16887"/>
                  </a:cubicBezTo>
                  <a:cubicBezTo>
                    <a:pt x="9842" y="16897"/>
                    <a:pt x="9824" y="16925"/>
                    <a:pt x="9801" y="16962"/>
                  </a:cubicBezTo>
                  <a:cubicBezTo>
                    <a:pt x="9715" y="17102"/>
                    <a:pt x="9538" y="17388"/>
                    <a:pt x="9395" y="17575"/>
                  </a:cubicBezTo>
                  <a:cubicBezTo>
                    <a:pt x="9235" y="17786"/>
                    <a:pt x="9223" y="17897"/>
                    <a:pt x="9223" y="17926"/>
                  </a:cubicBezTo>
                  <a:cubicBezTo>
                    <a:pt x="9223" y="17928"/>
                    <a:pt x="9223" y="17931"/>
                    <a:pt x="9223" y="17932"/>
                  </a:cubicBezTo>
                  <a:cubicBezTo>
                    <a:pt x="9223" y="17933"/>
                    <a:pt x="9223" y="17933"/>
                    <a:pt x="9223" y="17933"/>
                  </a:cubicBezTo>
                  <a:cubicBezTo>
                    <a:pt x="9223" y="17934"/>
                    <a:pt x="9223" y="17934"/>
                    <a:pt x="9223" y="17934"/>
                  </a:cubicBezTo>
                  <a:cubicBezTo>
                    <a:pt x="9227" y="18000"/>
                    <a:pt x="9227" y="18000"/>
                    <a:pt x="9227" y="18000"/>
                  </a:cubicBezTo>
                  <a:cubicBezTo>
                    <a:pt x="9191" y="18000"/>
                    <a:pt x="9191" y="18000"/>
                    <a:pt x="9191" y="18000"/>
                  </a:cubicBezTo>
                  <a:cubicBezTo>
                    <a:pt x="9187" y="17938"/>
                    <a:pt x="9187" y="17938"/>
                    <a:pt x="9187" y="17938"/>
                  </a:cubicBezTo>
                  <a:cubicBezTo>
                    <a:pt x="9187" y="17936"/>
                    <a:pt x="9187" y="17932"/>
                    <a:pt x="9187" y="17926"/>
                  </a:cubicBezTo>
                  <a:cubicBezTo>
                    <a:pt x="9187" y="17887"/>
                    <a:pt x="9203" y="17768"/>
                    <a:pt x="9366" y="17554"/>
                  </a:cubicBezTo>
                  <a:cubicBezTo>
                    <a:pt x="9463" y="17427"/>
                    <a:pt x="9576" y="17254"/>
                    <a:pt x="9665" y="17112"/>
                  </a:cubicBezTo>
                  <a:cubicBezTo>
                    <a:pt x="9710" y="17042"/>
                    <a:pt x="9748" y="16979"/>
                    <a:pt x="9776" y="16934"/>
                  </a:cubicBezTo>
                  <a:cubicBezTo>
                    <a:pt x="9790" y="16911"/>
                    <a:pt x="9801" y="16893"/>
                    <a:pt x="9809" y="16880"/>
                  </a:cubicBezTo>
                  <a:cubicBezTo>
                    <a:pt x="9813" y="16875"/>
                    <a:pt x="9815" y="16871"/>
                    <a:pt x="9818" y="16868"/>
                  </a:cubicBezTo>
                  <a:cubicBezTo>
                    <a:pt x="9765" y="16835"/>
                    <a:pt x="9713" y="16807"/>
                    <a:pt x="9672" y="16790"/>
                  </a:cubicBezTo>
                  <a:cubicBezTo>
                    <a:pt x="9527" y="16729"/>
                    <a:pt x="9340" y="16688"/>
                    <a:pt x="9184" y="16643"/>
                  </a:cubicBezTo>
                  <a:cubicBezTo>
                    <a:pt x="9041" y="16601"/>
                    <a:pt x="8665" y="16375"/>
                    <a:pt x="8584" y="16325"/>
                  </a:cubicBezTo>
                  <a:cubicBezTo>
                    <a:pt x="7677" y="17970"/>
                    <a:pt x="7677" y="17970"/>
                    <a:pt x="7677" y="17970"/>
                  </a:cubicBezTo>
                  <a:cubicBezTo>
                    <a:pt x="7727" y="18000"/>
                    <a:pt x="7727" y="18000"/>
                    <a:pt x="7727" y="18000"/>
                  </a:cubicBezTo>
                  <a:cubicBezTo>
                    <a:pt x="7660" y="18000"/>
                    <a:pt x="7660" y="18000"/>
                    <a:pt x="7660" y="18000"/>
                  </a:cubicBezTo>
                  <a:cubicBezTo>
                    <a:pt x="7659" y="18002"/>
                    <a:pt x="7659" y="18002"/>
                    <a:pt x="7659" y="18002"/>
                  </a:cubicBezTo>
                  <a:cubicBezTo>
                    <a:pt x="7657" y="18000"/>
                    <a:pt x="7657" y="18000"/>
                    <a:pt x="7657" y="18000"/>
                  </a:cubicBezTo>
                  <a:cubicBezTo>
                    <a:pt x="7619" y="18000"/>
                    <a:pt x="7619" y="18000"/>
                    <a:pt x="7619" y="18000"/>
                  </a:cubicBezTo>
                  <a:cubicBezTo>
                    <a:pt x="7628" y="17983"/>
                    <a:pt x="7628" y="17983"/>
                    <a:pt x="7628" y="17983"/>
                  </a:cubicBezTo>
                  <a:cubicBezTo>
                    <a:pt x="7609" y="17972"/>
                    <a:pt x="7609" y="17972"/>
                    <a:pt x="7609" y="17972"/>
                  </a:cubicBezTo>
                  <a:cubicBezTo>
                    <a:pt x="7608" y="17972"/>
                    <a:pt x="7579" y="17956"/>
                    <a:pt x="7530" y="17933"/>
                  </a:cubicBezTo>
                  <a:cubicBezTo>
                    <a:pt x="7392" y="17868"/>
                    <a:pt x="7097" y="17740"/>
                    <a:pt x="6833" y="17698"/>
                  </a:cubicBezTo>
                  <a:cubicBezTo>
                    <a:pt x="6826" y="17735"/>
                    <a:pt x="6805" y="17862"/>
                    <a:pt x="6782" y="18000"/>
                  </a:cubicBezTo>
                  <a:cubicBezTo>
                    <a:pt x="6745" y="18000"/>
                    <a:pt x="6745" y="18000"/>
                    <a:pt x="6745" y="18000"/>
                  </a:cubicBezTo>
                  <a:cubicBezTo>
                    <a:pt x="6757" y="17927"/>
                    <a:pt x="6769" y="17856"/>
                    <a:pt x="6779" y="17800"/>
                  </a:cubicBezTo>
                  <a:cubicBezTo>
                    <a:pt x="6785" y="17764"/>
                    <a:pt x="6790" y="17735"/>
                    <a:pt x="6794" y="17713"/>
                  </a:cubicBezTo>
                  <a:cubicBezTo>
                    <a:pt x="6795" y="17705"/>
                    <a:pt x="6796" y="17699"/>
                    <a:pt x="6797" y="17693"/>
                  </a:cubicBezTo>
                  <a:cubicBezTo>
                    <a:pt x="6785" y="17691"/>
                    <a:pt x="6772" y="17690"/>
                    <a:pt x="6759" y="17689"/>
                  </a:cubicBezTo>
                  <a:cubicBezTo>
                    <a:pt x="6379" y="17652"/>
                    <a:pt x="6292" y="17597"/>
                    <a:pt x="6185" y="17570"/>
                  </a:cubicBezTo>
                  <a:cubicBezTo>
                    <a:pt x="6075" y="17541"/>
                    <a:pt x="5867" y="17488"/>
                    <a:pt x="5709" y="17456"/>
                  </a:cubicBezTo>
                  <a:cubicBezTo>
                    <a:pt x="5630" y="17440"/>
                    <a:pt x="5468" y="17412"/>
                    <a:pt x="5327" y="17388"/>
                  </a:cubicBezTo>
                  <a:cubicBezTo>
                    <a:pt x="5211" y="17369"/>
                    <a:pt x="5108" y="17353"/>
                    <a:pt x="5076" y="17347"/>
                  </a:cubicBezTo>
                  <a:cubicBezTo>
                    <a:pt x="5086" y="17435"/>
                    <a:pt x="5089" y="17576"/>
                    <a:pt x="5089" y="17732"/>
                  </a:cubicBezTo>
                  <a:cubicBezTo>
                    <a:pt x="5089" y="17820"/>
                    <a:pt x="5088" y="17912"/>
                    <a:pt x="5086" y="18000"/>
                  </a:cubicBezTo>
                  <a:cubicBezTo>
                    <a:pt x="5050" y="18000"/>
                    <a:pt x="5050" y="18000"/>
                    <a:pt x="5050" y="18000"/>
                  </a:cubicBezTo>
                  <a:cubicBezTo>
                    <a:pt x="5052" y="17912"/>
                    <a:pt x="5053" y="17820"/>
                    <a:pt x="5053" y="17732"/>
                  </a:cubicBezTo>
                  <a:cubicBezTo>
                    <a:pt x="5053" y="17533"/>
                    <a:pt x="5047" y="17351"/>
                    <a:pt x="5030" y="17296"/>
                  </a:cubicBezTo>
                  <a:cubicBezTo>
                    <a:pt x="5013" y="17239"/>
                    <a:pt x="4989" y="17210"/>
                    <a:pt x="4960" y="17193"/>
                  </a:cubicBezTo>
                  <a:cubicBezTo>
                    <a:pt x="4932" y="17176"/>
                    <a:pt x="4896" y="17171"/>
                    <a:pt x="4854" y="17171"/>
                  </a:cubicBezTo>
                  <a:cubicBezTo>
                    <a:pt x="4823" y="17171"/>
                    <a:pt x="4790" y="17173"/>
                    <a:pt x="4754" y="17174"/>
                  </a:cubicBezTo>
                  <a:cubicBezTo>
                    <a:pt x="4684" y="17177"/>
                    <a:pt x="4592" y="17181"/>
                    <a:pt x="4500" y="17181"/>
                  </a:cubicBezTo>
                  <a:cubicBezTo>
                    <a:pt x="4495" y="17181"/>
                    <a:pt x="4489" y="17181"/>
                    <a:pt x="4484" y="17181"/>
                  </a:cubicBezTo>
                  <a:cubicBezTo>
                    <a:pt x="4484" y="17183"/>
                    <a:pt x="4484" y="17183"/>
                    <a:pt x="4484" y="17183"/>
                  </a:cubicBezTo>
                  <a:cubicBezTo>
                    <a:pt x="4481" y="17183"/>
                    <a:pt x="4478" y="17182"/>
                    <a:pt x="4475" y="17181"/>
                  </a:cubicBezTo>
                  <a:cubicBezTo>
                    <a:pt x="4403" y="17180"/>
                    <a:pt x="4332" y="17177"/>
                    <a:pt x="4273" y="17166"/>
                  </a:cubicBezTo>
                  <a:cubicBezTo>
                    <a:pt x="4204" y="17154"/>
                    <a:pt x="4130" y="17138"/>
                    <a:pt x="4073" y="17084"/>
                  </a:cubicBezTo>
                  <a:cubicBezTo>
                    <a:pt x="4028" y="17041"/>
                    <a:pt x="3996" y="16976"/>
                    <a:pt x="3985" y="16878"/>
                  </a:cubicBezTo>
                  <a:cubicBezTo>
                    <a:pt x="3973" y="16877"/>
                    <a:pt x="3973" y="16877"/>
                    <a:pt x="3973" y="16877"/>
                  </a:cubicBezTo>
                  <a:cubicBezTo>
                    <a:pt x="3698" y="16925"/>
                    <a:pt x="3698" y="16925"/>
                    <a:pt x="3698" y="16925"/>
                  </a:cubicBezTo>
                  <a:cubicBezTo>
                    <a:pt x="3842" y="17740"/>
                    <a:pt x="3842" y="17740"/>
                    <a:pt x="3842" y="17740"/>
                  </a:cubicBezTo>
                  <a:cubicBezTo>
                    <a:pt x="4325" y="17793"/>
                    <a:pt x="4325" y="17793"/>
                    <a:pt x="4325" y="17793"/>
                  </a:cubicBezTo>
                  <a:cubicBezTo>
                    <a:pt x="4304" y="18000"/>
                    <a:pt x="4304" y="18000"/>
                    <a:pt x="4304" y="18000"/>
                  </a:cubicBezTo>
                  <a:cubicBezTo>
                    <a:pt x="4278" y="18000"/>
                    <a:pt x="4278" y="18000"/>
                    <a:pt x="4278" y="18000"/>
                  </a:cubicBezTo>
                  <a:cubicBezTo>
                    <a:pt x="4296" y="17817"/>
                    <a:pt x="4296" y="17817"/>
                    <a:pt x="4296" y="17817"/>
                  </a:cubicBezTo>
                  <a:cubicBezTo>
                    <a:pt x="3820" y="17764"/>
                    <a:pt x="3820" y="17764"/>
                    <a:pt x="3820" y="17764"/>
                  </a:cubicBezTo>
                  <a:cubicBezTo>
                    <a:pt x="3672" y="16929"/>
                    <a:pt x="3672" y="16929"/>
                    <a:pt x="3672" y="16929"/>
                  </a:cubicBezTo>
                  <a:cubicBezTo>
                    <a:pt x="2630" y="17108"/>
                    <a:pt x="2630" y="17108"/>
                    <a:pt x="2630" y="17108"/>
                  </a:cubicBezTo>
                  <a:cubicBezTo>
                    <a:pt x="2634" y="17397"/>
                    <a:pt x="2642" y="17646"/>
                    <a:pt x="2645" y="17725"/>
                  </a:cubicBezTo>
                  <a:cubicBezTo>
                    <a:pt x="2647" y="17738"/>
                    <a:pt x="2647" y="17738"/>
                    <a:pt x="2647" y="17738"/>
                  </a:cubicBezTo>
                  <a:cubicBezTo>
                    <a:pt x="2648" y="17738"/>
                    <a:pt x="2650" y="17738"/>
                    <a:pt x="2651" y="17738"/>
                  </a:cubicBezTo>
                  <a:cubicBezTo>
                    <a:pt x="2813" y="17738"/>
                    <a:pt x="2949" y="17850"/>
                    <a:pt x="2986" y="18000"/>
                  </a:cubicBezTo>
                  <a:cubicBezTo>
                    <a:pt x="2860" y="18000"/>
                    <a:pt x="2860" y="18000"/>
                    <a:pt x="2860" y="18000"/>
                  </a:cubicBezTo>
                  <a:cubicBezTo>
                    <a:pt x="2827" y="17917"/>
                    <a:pt x="2746" y="17858"/>
                    <a:pt x="2651" y="17858"/>
                  </a:cubicBezTo>
                  <a:cubicBezTo>
                    <a:pt x="2556" y="17858"/>
                    <a:pt x="2475" y="17917"/>
                    <a:pt x="2442" y="18000"/>
                  </a:cubicBezTo>
                  <a:cubicBezTo>
                    <a:pt x="2316" y="18000"/>
                    <a:pt x="2316" y="18000"/>
                    <a:pt x="2316" y="18000"/>
                  </a:cubicBezTo>
                  <a:cubicBezTo>
                    <a:pt x="2318" y="17990"/>
                    <a:pt x="2321" y="17980"/>
                    <a:pt x="2325" y="17970"/>
                  </a:cubicBezTo>
                  <a:cubicBezTo>
                    <a:pt x="2282" y="17956"/>
                    <a:pt x="2211" y="17936"/>
                    <a:pt x="2115" y="17916"/>
                  </a:cubicBezTo>
                  <a:cubicBezTo>
                    <a:pt x="1949" y="17882"/>
                    <a:pt x="1777" y="17869"/>
                    <a:pt x="1604" y="17836"/>
                  </a:cubicBezTo>
                  <a:cubicBezTo>
                    <a:pt x="1422" y="17800"/>
                    <a:pt x="1186" y="17722"/>
                    <a:pt x="906" y="17615"/>
                  </a:cubicBezTo>
                  <a:cubicBezTo>
                    <a:pt x="897" y="17612"/>
                    <a:pt x="889" y="17608"/>
                    <a:pt x="880" y="17604"/>
                  </a:cubicBezTo>
                  <a:cubicBezTo>
                    <a:pt x="883" y="17606"/>
                    <a:pt x="887" y="17609"/>
                    <a:pt x="890" y="17611"/>
                  </a:cubicBezTo>
                  <a:cubicBezTo>
                    <a:pt x="1003" y="17686"/>
                    <a:pt x="1128" y="17766"/>
                    <a:pt x="1208" y="17812"/>
                  </a:cubicBezTo>
                  <a:cubicBezTo>
                    <a:pt x="1343" y="17890"/>
                    <a:pt x="1444" y="17956"/>
                    <a:pt x="1565" y="18000"/>
                  </a:cubicBezTo>
                  <a:cubicBezTo>
                    <a:pt x="1302" y="18000"/>
                    <a:pt x="1302" y="18000"/>
                    <a:pt x="1302" y="18000"/>
                  </a:cubicBezTo>
                  <a:cubicBezTo>
                    <a:pt x="1253" y="17972"/>
                    <a:pt x="1204" y="17942"/>
                    <a:pt x="1151" y="17912"/>
                  </a:cubicBezTo>
                  <a:cubicBezTo>
                    <a:pt x="1066" y="17863"/>
                    <a:pt x="941" y="17782"/>
                    <a:pt x="827" y="17707"/>
                  </a:cubicBezTo>
                  <a:cubicBezTo>
                    <a:pt x="712" y="17631"/>
                    <a:pt x="612" y="17561"/>
                    <a:pt x="573" y="17531"/>
                  </a:cubicBezTo>
                  <a:cubicBezTo>
                    <a:pt x="565" y="17524"/>
                    <a:pt x="528" y="17499"/>
                    <a:pt x="481" y="17465"/>
                  </a:cubicBezTo>
                  <a:cubicBezTo>
                    <a:pt x="442" y="17437"/>
                    <a:pt x="394" y="17401"/>
                    <a:pt x="345" y="17359"/>
                  </a:cubicBezTo>
                  <a:cubicBezTo>
                    <a:pt x="339" y="17375"/>
                    <a:pt x="339" y="17375"/>
                    <a:pt x="339" y="17375"/>
                  </a:cubicBezTo>
                  <a:cubicBezTo>
                    <a:pt x="360" y="17478"/>
                    <a:pt x="388" y="17640"/>
                    <a:pt x="396" y="17767"/>
                  </a:cubicBezTo>
                  <a:cubicBezTo>
                    <a:pt x="402" y="17854"/>
                    <a:pt x="409" y="17931"/>
                    <a:pt x="415" y="18000"/>
                  </a:cubicBezTo>
                  <a:cubicBezTo>
                    <a:pt x="389" y="18000"/>
                    <a:pt x="389" y="18000"/>
                    <a:pt x="389" y="18000"/>
                  </a:cubicBezTo>
                  <a:cubicBezTo>
                    <a:pt x="383" y="17932"/>
                    <a:pt x="375" y="17855"/>
                    <a:pt x="370" y="17769"/>
                  </a:cubicBezTo>
                  <a:cubicBezTo>
                    <a:pt x="361" y="17616"/>
                    <a:pt x="320" y="17409"/>
                    <a:pt x="302" y="17321"/>
                  </a:cubicBezTo>
                  <a:cubicBezTo>
                    <a:pt x="201" y="17231"/>
                    <a:pt x="105" y="17123"/>
                    <a:pt x="44" y="17063"/>
                  </a:cubicBezTo>
                  <a:cubicBezTo>
                    <a:pt x="34" y="17052"/>
                    <a:pt x="21" y="17039"/>
                    <a:pt x="7" y="17024"/>
                  </a:cubicBezTo>
                  <a:cubicBezTo>
                    <a:pt x="7" y="16944"/>
                    <a:pt x="7" y="16944"/>
                    <a:pt x="7" y="16944"/>
                  </a:cubicBezTo>
                  <a:cubicBezTo>
                    <a:pt x="7" y="16854"/>
                    <a:pt x="7" y="16854"/>
                    <a:pt x="7" y="16854"/>
                  </a:cubicBezTo>
                  <a:cubicBezTo>
                    <a:pt x="7" y="16788"/>
                    <a:pt x="7" y="16788"/>
                    <a:pt x="7" y="16788"/>
                  </a:cubicBezTo>
                  <a:cubicBezTo>
                    <a:pt x="78" y="16854"/>
                    <a:pt x="157" y="16925"/>
                    <a:pt x="240" y="16998"/>
                  </a:cubicBezTo>
                  <a:cubicBezTo>
                    <a:pt x="367" y="17109"/>
                    <a:pt x="503" y="17221"/>
                    <a:pt x="628" y="17314"/>
                  </a:cubicBezTo>
                  <a:cubicBezTo>
                    <a:pt x="752" y="17406"/>
                    <a:pt x="868" y="17478"/>
                    <a:pt x="947" y="17508"/>
                  </a:cubicBezTo>
                  <a:cubicBezTo>
                    <a:pt x="1224" y="17613"/>
                    <a:pt x="1457" y="17690"/>
                    <a:pt x="1626" y="17723"/>
                  </a:cubicBezTo>
                  <a:cubicBezTo>
                    <a:pt x="1790" y="17755"/>
                    <a:pt x="1963" y="17768"/>
                    <a:pt x="2138" y="17803"/>
                  </a:cubicBezTo>
                  <a:cubicBezTo>
                    <a:pt x="2257" y="17828"/>
                    <a:pt x="2339" y="17853"/>
                    <a:pt x="2381" y="17868"/>
                  </a:cubicBezTo>
                  <a:cubicBezTo>
                    <a:pt x="2435" y="17800"/>
                    <a:pt x="2514" y="17753"/>
                    <a:pt x="2604" y="17741"/>
                  </a:cubicBezTo>
                  <a:cubicBezTo>
                    <a:pt x="2605" y="17741"/>
                    <a:pt x="2605" y="17740"/>
                    <a:pt x="2605" y="17740"/>
                  </a:cubicBezTo>
                  <a:cubicBezTo>
                    <a:pt x="2605" y="17740"/>
                    <a:pt x="2606" y="17714"/>
                    <a:pt x="2607" y="17714"/>
                  </a:cubicBezTo>
                  <a:cubicBezTo>
                    <a:pt x="2607" y="17714"/>
                    <a:pt x="2608" y="17714"/>
                    <a:pt x="2608" y="17714"/>
                  </a:cubicBezTo>
                  <a:cubicBezTo>
                    <a:pt x="2605" y="17603"/>
                    <a:pt x="2595" y="17268"/>
                    <a:pt x="2591" y="16920"/>
                  </a:cubicBezTo>
                  <a:cubicBezTo>
                    <a:pt x="2591" y="16855"/>
                    <a:pt x="2590" y="16791"/>
                    <a:pt x="2590" y="16727"/>
                  </a:cubicBezTo>
                  <a:cubicBezTo>
                    <a:pt x="2564" y="16727"/>
                    <a:pt x="2516" y="16726"/>
                    <a:pt x="2461" y="16722"/>
                  </a:cubicBezTo>
                  <a:cubicBezTo>
                    <a:pt x="2380" y="16717"/>
                    <a:pt x="2290" y="16707"/>
                    <a:pt x="2239" y="16685"/>
                  </a:cubicBezTo>
                  <a:cubicBezTo>
                    <a:pt x="2143" y="16642"/>
                    <a:pt x="1990" y="16488"/>
                    <a:pt x="1943" y="16448"/>
                  </a:cubicBezTo>
                  <a:cubicBezTo>
                    <a:pt x="1942" y="16448"/>
                    <a:pt x="1839" y="16351"/>
                    <a:pt x="1735" y="16253"/>
                  </a:cubicBezTo>
                  <a:cubicBezTo>
                    <a:pt x="1358" y="16717"/>
                    <a:pt x="1358" y="16717"/>
                    <a:pt x="1358" y="16717"/>
                  </a:cubicBezTo>
                  <a:cubicBezTo>
                    <a:pt x="1356" y="16718"/>
                    <a:pt x="1356" y="16718"/>
                    <a:pt x="1356" y="16718"/>
                  </a:cubicBezTo>
                  <a:cubicBezTo>
                    <a:pt x="1356" y="16718"/>
                    <a:pt x="1356" y="16719"/>
                    <a:pt x="1354" y="16721"/>
                  </a:cubicBezTo>
                  <a:cubicBezTo>
                    <a:pt x="1347" y="16727"/>
                    <a:pt x="1335" y="16743"/>
                    <a:pt x="1335" y="16762"/>
                  </a:cubicBezTo>
                  <a:cubicBezTo>
                    <a:pt x="1335" y="16777"/>
                    <a:pt x="1342" y="16798"/>
                    <a:pt x="1376" y="16826"/>
                  </a:cubicBezTo>
                  <a:cubicBezTo>
                    <a:pt x="1470" y="16900"/>
                    <a:pt x="1642" y="16982"/>
                    <a:pt x="1707" y="17024"/>
                  </a:cubicBezTo>
                  <a:cubicBezTo>
                    <a:pt x="1770" y="17064"/>
                    <a:pt x="1829" y="17098"/>
                    <a:pt x="1860" y="17159"/>
                  </a:cubicBezTo>
                  <a:cubicBezTo>
                    <a:pt x="1874" y="17189"/>
                    <a:pt x="1884" y="17219"/>
                    <a:pt x="1891" y="17243"/>
                  </a:cubicBezTo>
                  <a:cubicBezTo>
                    <a:pt x="1895" y="17254"/>
                    <a:pt x="1898" y="17264"/>
                    <a:pt x="1901" y="17271"/>
                  </a:cubicBezTo>
                  <a:cubicBezTo>
                    <a:pt x="1902" y="17274"/>
                    <a:pt x="1903" y="17277"/>
                    <a:pt x="1903" y="17278"/>
                  </a:cubicBezTo>
                  <a:cubicBezTo>
                    <a:pt x="1903" y="17278"/>
                    <a:pt x="1903" y="17278"/>
                    <a:pt x="1903" y="17278"/>
                  </a:cubicBezTo>
                  <a:cubicBezTo>
                    <a:pt x="1894" y="17285"/>
                    <a:pt x="1894" y="17285"/>
                    <a:pt x="1894" y="17285"/>
                  </a:cubicBezTo>
                  <a:cubicBezTo>
                    <a:pt x="1883" y="17307"/>
                    <a:pt x="1883" y="17307"/>
                    <a:pt x="1883" y="17307"/>
                  </a:cubicBezTo>
                  <a:cubicBezTo>
                    <a:pt x="1870" y="17298"/>
                    <a:pt x="1871" y="17292"/>
                    <a:pt x="1867" y="17284"/>
                  </a:cubicBezTo>
                  <a:cubicBezTo>
                    <a:pt x="1858" y="17259"/>
                    <a:pt x="1847" y="17215"/>
                    <a:pt x="1828" y="17176"/>
                  </a:cubicBezTo>
                  <a:cubicBezTo>
                    <a:pt x="1803" y="17126"/>
                    <a:pt x="1752" y="17095"/>
                    <a:pt x="1688" y="17054"/>
                  </a:cubicBezTo>
                  <a:cubicBezTo>
                    <a:pt x="1627" y="17015"/>
                    <a:pt x="1452" y="16932"/>
                    <a:pt x="1354" y="16854"/>
                  </a:cubicBezTo>
                  <a:cubicBezTo>
                    <a:pt x="1314" y="16823"/>
                    <a:pt x="1299" y="16790"/>
                    <a:pt x="1299" y="16762"/>
                  </a:cubicBezTo>
                  <a:cubicBezTo>
                    <a:pt x="1299" y="16722"/>
                    <a:pt x="1325" y="16698"/>
                    <a:pt x="1332" y="16692"/>
                  </a:cubicBezTo>
                  <a:cubicBezTo>
                    <a:pt x="1709" y="16228"/>
                    <a:pt x="1709" y="16228"/>
                    <a:pt x="1709" y="16228"/>
                  </a:cubicBezTo>
                  <a:cubicBezTo>
                    <a:pt x="1636" y="16159"/>
                    <a:pt x="1566" y="16094"/>
                    <a:pt x="1537" y="16065"/>
                  </a:cubicBezTo>
                  <a:cubicBezTo>
                    <a:pt x="1500" y="16029"/>
                    <a:pt x="1422" y="15962"/>
                    <a:pt x="1354" y="15903"/>
                  </a:cubicBezTo>
                  <a:cubicBezTo>
                    <a:pt x="1306" y="15862"/>
                    <a:pt x="1262" y="15823"/>
                    <a:pt x="1241" y="15804"/>
                  </a:cubicBezTo>
                  <a:cubicBezTo>
                    <a:pt x="1241" y="15804"/>
                    <a:pt x="1241" y="15804"/>
                    <a:pt x="1241" y="15804"/>
                  </a:cubicBezTo>
                  <a:cubicBezTo>
                    <a:pt x="1236" y="15801"/>
                    <a:pt x="1236" y="15801"/>
                    <a:pt x="1236" y="15801"/>
                  </a:cubicBezTo>
                  <a:cubicBezTo>
                    <a:pt x="1236" y="15800"/>
                    <a:pt x="1199" y="15765"/>
                    <a:pt x="1150" y="15725"/>
                  </a:cubicBezTo>
                  <a:cubicBezTo>
                    <a:pt x="1102" y="15684"/>
                    <a:pt x="1043" y="15638"/>
                    <a:pt x="1005" y="15618"/>
                  </a:cubicBezTo>
                  <a:cubicBezTo>
                    <a:pt x="921" y="15575"/>
                    <a:pt x="858" y="15540"/>
                    <a:pt x="752" y="15510"/>
                  </a:cubicBezTo>
                  <a:cubicBezTo>
                    <a:pt x="645" y="15481"/>
                    <a:pt x="504" y="15447"/>
                    <a:pt x="390" y="15431"/>
                  </a:cubicBezTo>
                  <a:cubicBezTo>
                    <a:pt x="335" y="15423"/>
                    <a:pt x="293" y="15417"/>
                    <a:pt x="265" y="15414"/>
                  </a:cubicBezTo>
                  <a:cubicBezTo>
                    <a:pt x="251" y="15412"/>
                    <a:pt x="241" y="15410"/>
                    <a:pt x="234" y="15409"/>
                  </a:cubicBezTo>
                  <a:cubicBezTo>
                    <a:pt x="233" y="15409"/>
                    <a:pt x="232" y="15409"/>
                    <a:pt x="232" y="15409"/>
                  </a:cubicBezTo>
                  <a:cubicBezTo>
                    <a:pt x="230" y="15410"/>
                    <a:pt x="228" y="15410"/>
                    <a:pt x="227" y="15411"/>
                  </a:cubicBezTo>
                  <a:cubicBezTo>
                    <a:pt x="151" y="15511"/>
                    <a:pt x="98" y="15577"/>
                    <a:pt x="98" y="15577"/>
                  </a:cubicBezTo>
                  <a:cubicBezTo>
                    <a:pt x="98" y="15577"/>
                    <a:pt x="98" y="15577"/>
                    <a:pt x="98" y="15577"/>
                  </a:cubicBezTo>
                  <a:cubicBezTo>
                    <a:pt x="7" y="15694"/>
                    <a:pt x="7" y="15694"/>
                    <a:pt x="7" y="15694"/>
                  </a:cubicBezTo>
                  <a:cubicBezTo>
                    <a:pt x="7" y="15635"/>
                    <a:pt x="7" y="15635"/>
                    <a:pt x="7" y="15635"/>
                  </a:cubicBezTo>
                  <a:cubicBezTo>
                    <a:pt x="61" y="15566"/>
                    <a:pt x="61" y="15566"/>
                    <a:pt x="61" y="15566"/>
                  </a:cubicBezTo>
                  <a:cubicBezTo>
                    <a:pt x="60" y="15566"/>
                    <a:pt x="60" y="15566"/>
                    <a:pt x="60" y="15566"/>
                  </a:cubicBezTo>
                  <a:cubicBezTo>
                    <a:pt x="60" y="15566"/>
                    <a:pt x="125" y="15483"/>
                    <a:pt x="205" y="15379"/>
                  </a:cubicBezTo>
                  <a:cubicBezTo>
                    <a:pt x="182" y="15359"/>
                    <a:pt x="108" y="15295"/>
                    <a:pt x="7" y="15209"/>
                  </a:cubicBezTo>
                  <a:cubicBezTo>
                    <a:pt x="7" y="15162"/>
                    <a:pt x="7" y="15162"/>
                    <a:pt x="7" y="15162"/>
                  </a:cubicBezTo>
                  <a:cubicBezTo>
                    <a:pt x="117" y="15256"/>
                    <a:pt x="200" y="15327"/>
                    <a:pt x="227" y="15350"/>
                  </a:cubicBezTo>
                  <a:cubicBezTo>
                    <a:pt x="247" y="15324"/>
                    <a:pt x="268" y="15297"/>
                    <a:pt x="288" y="15270"/>
                  </a:cubicBezTo>
                  <a:cubicBezTo>
                    <a:pt x="401" y="15122"/>
                    <a:pt x="520" y="14965"/>
                    <a:pt x="542" y="14933"/>
                  </a:cubicBezTo>
                  <a:cubicBezTo>
                    <a:pt x="581" y="14877"/>
                    <a:pt x="620" y="14762"/>
                    <a:pt x="640" y="14703"/>
                  </a:cubicBezTo>
                  <a:cubicBezTo>
                    <a:pt x="634" y="14698"/>
                    <a:pt x="625" y="14691"/>
                    <a:pt x="614" y="14683"/>
                  </a:cubicBezTo>
                  <a:cubicBezTo>
                    <a:pt x="560" y="14641"/>
                    <a:pt x="470" y="14574"/>
                    <a:pt x="470" y="14574"/>
                  </a:cubicBezTo>
                  <a:cubicBezTo>
                    <a:pt x="470" y="14572"/>
                    <a:pt x="470" y="14572"/>
                    <a:pt x="470" y="14572"/>
                  </a:cubicBezTo>
                  <a:cubicBezTo>
                    <a:pt x="7" y="14206"/>
                    <a:pt x="7" y="14206"/>
                    <a:pt x="7" y="14206"/>
                  </a:cubicBezTo>
                  <a:cubicBezTo>
                    <a:pt x="7" y="14169"/>
                    <a:pt x="7" y="14169"/>
                    <a:pt x="7" y="14169"/>
                  </a:cubicBezTo>
                  <a:cubicBezTo>
                    <a:pt x="5" y="14168"/>
                    <a:pt x="5" y="14168"/>
                    <a:pt x="5" y="14168"/>
                  </a:cubicBezTo>
                  <a:cubicBezTo>
                    <a:pt x="5" y="14168"/>
                    <a:pt x="5" y="14168"/>
                    <a:pt x="5" y="14168"/>
                  </a:cubicBezTo>
                  <a:cubicBezTo>
                    <a:pt x="6" y="14166"/>
                    <a:pt x="6" y="14166"/>
                    <a:pt x="6" y="14166"/>
                  </a:cubicBezTo>
                  <a:cubicBezTo>
                    <a:pt x="0" y="14159"/>
                    <a:pt x="0" y="14159"/>
                    <a:pt x="0" y="14159"/>
                  </a:cubicBezTo>
                  <a:cubicBezTo>
                    <a:pt x="2" y="14156"/>
                    <a:pt x="2" y="14156"/>
                    <a:pt x="2" y="14156"/>
                  </a:cubicBezTo>
                  <a:cubicBezTo>
                    <a:pt x="7" y="14150"/>
                    <a:pt x="7" y="14150"/>
                    <a:pt x="7" y="14150"/>
                  </a:cubicBezTo>
                  <a:cubicBezTo>
                    <a:pt x="15" y="14142"/>
                    <a:pt x="15" y="14142"/>
                    <a:pt x="15" y="14142"/>
                  </a:cubicBezTo>
                  <a:cubicBezTo>
                    <a:pt x="211" y="13644"/>
                    <a:pt x="211" y="13644"/>
                    <a:pt x="211" y="13644"/>
                  </a:cubicBezTo>
                  <a:cubicBezTo>
                    <a:pt x="122" y="13484"/>
                    <a:pt x="122" y="13484"/>
                    <a:pt x="122" y="13484"/>
                  </a:cubicBezTo>
                  <a:cubicBezTo>
                    <a:pt x="242" y="13300"/>
                    <a:pt x="242" y="13300"/>
                    <a:pt x="242" y="13300"/>
                  </a:cubicBezTo>
                  <a:cubicBezTo>
                    <a:pt x="242" y="13298"/>
                    <a:pt x="242" y="13298"/>
                    <a:pt x="242" y="13298"/>
                  </a:cubicBezTo>
                  <a:cubicBezTo>
                    <a:pt x="242" y="13269"/>
                    <a:pt x="243" y="13139"/>
                    <a:pt x="265" y="13019"/>
                  </a:cubicBezTo>
                  <a:cubicBezTo>
                    <a:pt x="269" y="12998"/>
                    <a:pt x="270" y="12978"/>
                    <a:pt x="270" y="12959"/>
                  </a:cubicBezTo>
                  <a:cubicBezTo>
                    <a:pt x="270" y="12855"/>
                    <a:pt x="222" y="12769"/>
                    <a:pt x="188" y="12726"/>
                  </a:cubicBezTo>
                  <a:cubicBezTo>
                    <a:pt x="169" y="12700"/>
                    <a:pt x="146" y="12680"/>
                    <a:pt x="127" y="12667"/>
                  </a:cubicBezTo>
                  <a:cubicBezTo>
                    <a:pt x="118" y="12661"/>
                    <a:pt x="109" y="12656"/>
                    <a:pt x="103" y="12653"/>
                  </a:cubicBezTo>
                  <a:cubicBezTo>
                    <a:pt x="99" y="12651"/>
                    <a:pt x="96" y="12650"/>
                    <a:pt x="94" y="12649"/>
                  </a:cubicBezTo>
                  <a:cubicBezTo>
                    <a:pt x="93" y="12649"/>
                    <a:pt x="93" y="12649"/>
                    <a:pt x="92" y="12649"/>
                  </a:cubicBezTo>
                  <a:cubicBezTo>
                    <a:pt x="92" y="12649"/>
                    <a:pt x="92" y="12649"/>
                    <a:pt x="92" y="12649"/>
                  </a:cubicBezTo>
                  <a:cubicBezTo>
                    <a:pt x="86" y="12648"/>
                    <a:pt x="68" y="12646"/>
                    <a:pt x="39" y="12641"/>
                  </a:cubicBezTo>
                  <a:cubicBezTo>
                    <a:pt x="30" y="12639"/>
                    <a:pt x="19" y="12638"/>
                    <a:pt x="7" y="12636"/>
                  </a:cubicBezTo>
                  <a:cubicBezTo>
                    <a:pt x="7" y="12609"/>
                    <a:pt x="7" y="12609"/>
                    <a:pt x="7" y="12609"/>
                  </a:cubicBezTo>
                  <a:cubicBezTo>
                    <a:pt x="20" y="12611"/>
                    <a:pt x="33" y="12613"/>
                    <a:pt x="44" y="12615"/>
                  </a:cubicBezTo>
                  <a:cubicBezTo>
                    <a:pt x="57" y="12617"/>
                    <a:pt x="69" y="12619"/>
                    <a:pt x="78" y="12621"/>
                  </a:cubicBezTo>
                  <a:cubicBezTo>
                    <a:pt x="82" y="12621"/>
                    <a:pt x="86" y="12622"/>
                    <a:pt x="89" y="12622"/>
                  </a:cubicBezTo>
                  <a:cubicBezTo>
                    <a:pt x="90" y="12622"/>
                    <a:pt x="91" y="12622"/>
                    <a:pt x="92" y="12622"/>
                  </a:cubicBezTo>
                  <a:cubicBezTo>
                    <a:pt x="92" y="12622"/>
                    <a:pt x="92" y="12622"/>
                    <a:pt x="92" y="12622"/>
                  </a:cubicBezTo>
                  <a:cubicBezTo>
                    <a:pt x="106" y="12623"/>
                    <a:pt x="120" y="12631"/>
                    <a:pt x="142" y="12646"/>
                  </a:cubicBezTo>
                  <a:cubicBezTo>
                    <a:pt x="163" y="12660"/>
                    <a:pt x="188" y="12682"/>
                    <a:pt x="209" y="12710"/>
                  </a:cubicBezTo>
                  <a:cubicBezTo>
                    <a:pt x="245" y="12756"/>
                    <a:pt x="296" y="12847"/>
                    <a:pt x="297" y="12959"/>
                  </a:cubicBezTo>
                  <a:cubicBezTo>
                    <a:pt x="297" y="12980"/>
                    <a:pt x="295" y="13001"/>
                    <a:pt x="291" y="13023"/>
                  </a:cubicBezTo>
                  <a:cubicBezTo>
                    <a:pt x="269" y="13141"/>
                    <a:pt x="268" y="13270"/>
                    <a:pt x="268" y="13298"/>
                  </a:cubicBezTo>
                  <a:cubicBezTo>
                    <a:pt x="268" y="13302"/>
                    <a:pt x="268" y="13304"/>
                    <a:pt x="268" y="13304"/>
                  </a:cubicBezTo>
                  <a:cubicBezTo>
                    <a:pt x="268" y="13308"/>
                    <a:pt x="268" y="13308"/>
                    <a:pt x="268" y="13308"/>
                  </a:cubicBezTo>
                  <a:cubicBezTo>
                    <a:pt x="153" y="13485"/>
                    <a:pt x="153" y="13485"/>
                    <a:pt x="153" y="13485"/>
                  </a:cubicBezTo>
                  <a:cubicBezTo>
                    <a:pt x="240" y="13642"/>
                    <a:pt x="240" y="13642"/>
                    <a:pt x="240" y="13642"/>
                  </a:cubicBezTo>
                  <a:cubicBezTo>
                    <a:pt x="35" y="14163"/>
                    <a:pt x="35" y="14163"/>
                    <a:pt x="35" y="14163"/>
                  </a:cubicBezTo>
                  <a:cubicBezTo>
                    <a:pt x="32" y="14179"/>
                    <a:pt x="32" y="14179"/>
                    <a:pt x="32" y="14179"/>
                  </a:cubicBezTo>
                  <a:cubicBezTo>
                    <a:pt x="474" y="14530"/>
                    <a:pt x="474" y="14530"/>
                    <a:pt x="474" y="14530"/>
                  </a:cubicBezTo>
                  <a:cubicBezTo>
                    <a:pt x="491" y="14542"/>
                    <a:pt x="540" y="14579"/>
                    <a:pt x="578" y="14608"/>
                  </a:cubicBezTo>
                  <a:cubicBezTo>
                    <a:pt x="601" y="14625"/>
                    <a:pt x="625" y="14643"/>
                    <a:pt x="642" y="14657"/>
                  </a:cubicBezTo>
                  <a:cubicBezTo>
                    <a:pt x="646" y="14660"/>
                    <a:pt x="649" y="14663"/>
                    <a:pt x="652" y="14665"/>
                  </a:cubicBezTo>
                  <a:cubicBezTo>
                    <a:pt x="666" y="14620"/>
                    <a:pt x="679" y="14572"/>
                    <a:pt x="681" y="14562"/>
                  </a:cubicBezTo>
                  <a:cubicBezTo>
                    <a:pt x="683" y="14552"/>
                    <a:pt x="680" y="14534"/>
                    <a:pt x="690" y="14503"/>
                  </a:cubicBezTo>
                  <a:cubicBezTo>
                    <a:pt x="694" y="14491"/>
                    <a:pt x="702" y="14480"/>
                    <a:pt x="713" y="14465"/>
                  </a:cubicBezTo>
                  <a:cubicBezTo>
                    <a:pt x="729" y="14444"/>
                    <a:pt x="751" y="14419"/>
                    <a:pt x="769" y="14399"/>
                  </a:cubicBezTo>
                  <a:cubicBezTo>
                    <a:pt x="778" y="14389"/>
                    <a:pt x="786" y="14380"/>
                    <a:pt x="792" y="14373"/>
                  </a:cubicBezTo>
                  <a:cubicBezTo>
                    <a:pt x="795" y="14370"/>
                    <a:pt x="798" y="14367"/>
                    <a:pt x="799" y="14365"/>
                  </a:cubicBezTo>
                  <a:cubicBezTo>
                    <a:pt x="800" y="14365"/>
                    <a:pt x="801" y="14364"/>
                    <a:pt x="802" y="14363"/>
                  </a:cubicBezTo>
                  <a:cubicBezTo>
                    <a:pt x="803" y="14362"/>
                    <a:pt x="802" y="14362"/>
                    <a:pt x="804" y="14361"/>
                  </a:cubicBezTo>
                  <a:cubicBezTo>
                    <a:pt x="804" y="14361"/>
                    <a:pt x="804" y="14361"/>
                    <a:pt x="804" y="14361"/>
                  </a:cubicBezTo>
                  <a:cubicBezTo>
                    <a:pt x="810" y="14355"/>
                    <a:pt x="892" y="14271"/>
                    <a:pt x="972" y="14188"/>
                  </a:cubicBezTo>
                  <a:cubicBezTo>
                    <a:pt x="1013" y="14146"/>
                    <a:pt x="1054" y="14104"/>
                    <a:pt x="1085" y="14072"/>
                  </a:cubicBezTo>
                  <a:cubicBezTo>
                    <a:pt x="1089" y="14067"/>
                    <a:pt x="1093" y="14063"/>
                    <a:pt x="1097" y="14059"/>
                  </a:cubicBezTo>
                  <a:cubicBezTo>
                    <a:pt x="771" y="13854"/>
                    <a:pt x="771" y="13854"/>
                    <a:pt x="771" y="13854"/>
                  </a:cubicBezTo>
                  <a:cubicBezTo>
                    <a:pt x="772" y="13854"/>
                    <a:pt x="772" y="13854"/>
                    <a:pt x="772" y="13854"/>
                  </a:cubicBezTo>
                  <a:cubicBezTo>
                    <a:pt x="757" y="13845"/>
                    <a:pt x="737" y="13831"/>
                    <a:pt x="702" y="13808"/>
                  </a:cubicBezTo>
                  <a:cubicBezTo>
                    <a:pt x="693" y="13802"/>
                    <a:pt x="693" y="13802"/>
                    <a:pt x="693" y="13802"/>
                  </a:cubicBezTo>
                  <a:cubicBezTo>
                    <a:pt x="655" y="13777"/>
                    <a:pt x="629" y="13759"/>
                    <a:pt x="617" y="13748"/>
                  </a:cubicBezTo>
                  <a:cubicBezTo>
                    <a:pt x="617" y="13747"/>
                    <a:pt x="617" y="13747"/>
                    <a:pt x="617" y="13747"/>
                  </a:cubicBezTo>
                  <a:cubicBezTo>
                    <a:pt x="616" y="13746"/>
                    <a:pt x="616" y="13746"/>
                    <a:pt x="616" y="13746"/>
                  </a:cubicBezTo>
                  <a:cubicBezTo>
                    <a:pt x="588" y="13710"/>
                    <a:pt x="567" y="13656"/>
                    <a:pt x="566" y="13616"/>
                  </a:cubicBezTo>
                  <a:cubicBezTo>
                    <a:pt x="566" y="13612"/>
                    <a:pt x="566" y="13608"/>
                    <a:pt x="567" y="13604"/>
                  </a:cubicBezTo>
                  <a:cubicBezTo>
                    <a:pt x="572" y="13573"/>
                    <a:pt x="595" y="13443"/>
                    <a:pt x="612" y="13366"/>
                  </a:cubicBezTo>
                  <a:cubicBezTo>
                    <a:pt x="627" y="13305"/>
                    <a:pt x="635" y="13072"/>
                    <a:pt x="635" y="12986"/>
                  </a:cubicBezTo>
                  <a:cubicBezTo>
                    <a:pt x="635" y="12973"/>
                    <a:pt x="635" y="12964"/>
                    <a:pt x="635" y="12958"/>
                  </a:cubicBezTo>
                  <a:cubicBezTo>
                    <a:pt x="632" y="12912"/>
                    <a:pt x="623" y="12863"/>
                    <a:pt x="579" y="12777"/>
                  </a:cubicBezTo>
                  <a:cubicBezTo>
                    <a:pt x="535" y="12691"/>
                    <a:pt x="411" y="12509"/>
                    <a:pt x="369" y="12449"/>
                  </a:cubicBezTo>
                  <a:cubicBezTo>
                    <a:pt x="347" y="12419"/>
                    <a:pt x="308" y="12366"/>
                    <a:pt x="268" y="12317"/>
                  </a:cubicBezTo>
                  <a:cubicBezTo>
                    <a:pt x="228" y="12269"/>
                    <a:pt x="185" y="12223"/>
                    <a:pt x="163" y="12210"/>
                  </a:cubicBezTo>
                  <a:cubicBezTo>
                    <a:pt x="131" y="12191"/>
                    <a:pt x="63" y="12178"/>
                    <a:pt x="7" y="12173"/>
                  </a:cubicBezTo>
                  <a:cubicBezTo>
                    <a:pt x="7" y="12137"/>
                    <a:pt x="7" y="12137"/>
                    <a:pt x="7" y="12137"/>
                  </a:cubicBezTo>
                  <a:cubicBezTo>
                    <a:pt x="28" y="12139"/>
                    <a:pt x="51" y="12141"/>
                    <a:pt x="73" y="12145"/>
                  </a:cubicBezTo>
                  <a:cubicBezTo>
                    <a:pt x="86" y="12121"/>
                    <a:pt x="86" y="12121"/>
                    <a:pt x="86" y="12121"/>
                  </a:cubicBezTo>
                  <a:cubicBezTo>
                    <a:pt x="118" y="11986"/>
                    <a:pt x="118" y="11986"/>
                    <a:pt x="118" y="11986"/>
                  </a:cubicBezTo>
                  <a:cubicBezTo>
                    <a:pt x="7" y="11921"/>
                    <a:pt x="7" y="11921"/>
                    <a:pt x="7" y="11921"/>
                  </a:cubicBezTo>
                  <a:cubicBezTo>
                    <a:pt x="7" y="11891"/>
                    <a:pt x="7" y="11891"/>
                    <a:pt x="7" y="11891"/>
                  </a:cubicBezTo>
                  <a:cubicBezTo>
                    <a:pt x="134" y="11965"/>
                    <a:pt x="134" y="11965"/>
                    <a:pt x="134" y="11965"/>
                  </a:cubicBezTo>
                  <a:cubicBezTo>
                    <a:pt x="602" y="11738"/>
                    <a:pt x="602" y="11738"/>
                    <a:pt x="602" y="11738"/>
                  </a:cubicBezTo>
                  <a:cubicBezTo>
                    <a:pt x="603" y="11738"/>
                    <a:pt x="603" y="11738"/>
                    <a:pt x="603" y="11738"/>
                  </a:cubicBezTo>
                  <a:cubicBezTo>
                    <a:pt x="532" y="11638"/>
                    <a:pt x="452" y="11526"/>
                    <a:pt x="375" y="11416"/>
                  </a:cubicBezTo>
                  <a:cubicBezTo>
                    <a:pt x="279" y="11278"/>
                    <a:pt x="187" y="11143"/>
                    <a:pt x="119" y="11043"/>
                  </a:cubicBezTo>
                  <a:cubicBezTo>
                    <a:pt x="89" y="10998"/>
                    <a:pt x="60" y="10964"/>
                    <a:pt x="40" y="10936"/>
                  </a:cubicBezTo>
                  <a:cubicBezTo>
                    <a:pt x="40" y="10936"/>
                    <a:pt x="40" y="10936"/>
                    <a:pt x="40" y="10936"/>
                  </a:cubicBezTo>
                  <a:cubicBezTo>
                    <a:pt x="39" y="10934"/>
                    <a:pt x="39" y="10934"/>
                    <a:pt x="39" y="10934"/>
                  </a:cubicBezTo>
                  <a:cubicBezTo>
                    <a:pt x="37" y="10931"/>
                    <a:pt x="35" y="10928"/>
                    <a:pt x="33" y="10926"/>
                  </a:cubicBezTo>
                  <a:cubicBezTo>
                    <a:pt x="32" y="10923"/>
                    <a:pt x="32" y="10923"/>
                    <a:pt x="32" y="10923"/>
                  </a:cubicBezTo>
                  <a:cubicBezTo>
                    <a:pt x="7" y="10885"/>
                    <a:pt x="7" y="10885"/>
                    <a:pt x="7" y="10885"/>
                  </a:cubicBezTo>
                  <a:cubicBezTo>
                    <a:pt x="7" y="10881"/>
                    <a:pt x="7" y="10881"/>
                    <a:pt x="7" y="10881"/>
                  </a:cubicBezTo>
                  <a:cubicBezTo>
                    <a:pt x="6" y="10880"/>
                    <a:pt x="5" y="10878"/>
                    <a:pt x="4" y="10877"/>
                  </a:cubicBezTo>
                  <a:cubicBezTo>
                    <a:pt x="4" y="10876"/>
                    <a:pt x="3" y="10875"/>
                    <a:pt x="3" y="10874"/>
                  </a:cubicBezTo>
                  <a:cubicBezTo>
                    <a:pt x="2" y="10873"/>
                    <a:pt x="2" y="10873"/>
                    <a:pt x="2" y="10872"/>
                  </a:cubicBezTo>
                  <a:cubicBezTo>
                    <a:pt x="1" y="10870"/>
                    <a:pt x="1" y="10872"/>
                    <a:pt x="0" y="10864"/>
                  </a:cubicBezTo>
                  <a:cubicBezTo>
                    <a:pt x="0" y="10860"/>
                    <a:pt x="1" y="10854"/>
                    <a:pt x="6" y="10850"/>
                  </a:cubicBezTo>
                  <a:cubicBezTo>
                    <a:pt x="6" y="10850"/>
                    <a:pt x="7" y="10850"/>
                    <a:pt x="7" y="10849"/>
                  </a:cubicBezTo>
                  <a:cubicBezTo>
                    <a:pt x="7" y="10819"/>
                    <a:pt x="7" y="10819"/>
                    <a:pt x="7" y="10819"/>
                  </a:cubicBezTo>
                  <a:cubicBezTo>
                    <a:pt x="26" y="10848"/>
                    <a:pt x="26" y="10848"/>
                    <a:pt x="26" y="10848"/>
                  </a:cubicBezTo>
                  <a:cubicBezTo>
                    <a:pt x="30" y="10850"/>
                    <a:pt x="33" y="10853"/>
                    <a:pt x="34" y="10857"/>
                  </a:cubicBezTo>
                  <a:cubicBezTo>
                    <a:pt x="32" y="10857"/>
                    <a:pt x="32" y="10857"/>
                    <a:pt x="32" y="10857"/>
                  </a:cubicBezTo>
                  <a:cubicBezTo>
                    <a:pt x="45" y="10879"/>
                    <a:pt x="222" y="11133"/>
                    <a:pt x="405" y="11395"/>
                  </a:cubicBezTo>
                  <a:cubicBezTo>
                    <a:pt x="483" y="11507"/>
                    <a:pt x="563" y="11620"/>
                    <a:pt x="635" y="11721"/>
                  </a:cubicBezTo>
                  <a:cubicBezTo>
                    <a:pt x="637" y="11720"/>
                    <a:pt x="637" y="11720"/>
                    <a:pt x="637" y="11720"/>
                  </a:cubicBezTo>
                  <a:cubicBezTo>
                    <a:pt x="657" y="11714"/>
                    <a:pt x="657" y="11714"/>
                    <a:pt x="657" y="11714"/>
                  </a:cubicBezTo>
                  <a:cubicBezTo>
                    <a:pt x="664" y="11712"/>
                    <a:pt x="726" y="11687"/>
                    <a:pt x="794" y="11600"/>
                  </a:cubicBezTo>
                  <a:cubicBezTo>
                    <a:pt x="829" y="11555"/>
                    <a:pt x="853" y="11489"/>
                    <a:pt x="868" y="11434"/>
                  </a:cubicBezTo>
                  <a:cubicBezTo>
                    <a:pt x="879" y="11392"/>
                    <a:pt x="885" y="11358"/>
                    <a:pt x="887" y="11343"/>
                  </a:cubicBezTo>
                  <a:cubicBezTo>
                    <a:pt x="839" y="11316"/>
                    <a:pt x="785" y="11284"/>
                    <a:pt x="739" y="11254"/>
                  </a:cubicBezTo>
                  <a:cubicBezTo>
                    <a:pt x="660" y="11202"/>
                    <a:pt x="603" y="11115"/>
                    <a:pt x="602" y="11114"/>
                  </a:cubicBezTo>
                  <a:cubicBezTo>
                    <a:pt x="602" y="11114"/>
                    <a:pt x="602" y="11114"/>
                    <a:pt x="602" y="11114"/>
                  </a:cubicBezTo>
                  <a:cubicBezTo>
                    <a:pt x="573" y="11068"/>
                    <a:pt x="515" y="10971"/>
                    <a:pt x="474" y="10882"/>
                  </a:cubicBezTo>
                  <a:cubicBezTo>
                    <a:pt x="416" y="10759"/>
                    <a:pt x="328" y="10539"/>
                    <a:pt x="328" y="10539"/>
                  </a:cubicBezTo>
                  <a:cubicBezTo>
                    <a:pt x="350" y="10524"/>
                    <a:pt x="350" y="10524"/>
                    <a:pt x="350" y="10524"/>
                  </a:cubicBezTo>
                  <a:cubicBezTo>
                    <a:pt x="350" y="10524"/>
                    <a:pt x="440" y="10749"/>
                    <a:pt x="498" y="10871"/>
                  </a:cubicBezTo>
                  <a:cubicBezTo>
                    <a:pt x="535" y="10952"/>
                    <a:pt x="587" y="11047"/>
                    <a:pt x="618" y="11095"/>
                  </a:cubicBezTo>
                  <a:cubicBezTo>
                    <a:pt x="634" y="11119"/>
                    <a:pt x="644" y="11124"/>
                    <a:pt x="644" y="11124"/>
                  </a:cubicBezTo>
                  <a:cubicBezTo>
                    <a:pt x="641" y="11126"/>
                    <a:pt x="641" y="11126"/>
                    <a:pt x="641" y="11126"/>
                  </a:cubicBezTo>
                  <a:cubicBezTo>
                    <a:pt x="647" y="11134"/>
                    <a:pt x="654" y="11142"/>
                    <a:pt x="661" y="11150"/>
                  </a:cubicBezTo>
                  <a:cubicBezTo>
                    <a:pt x="684" y="11177"/>
                    <a:pt x="716" y="11209"/>
                    <a:pt x="753" y="11234"/>
                  </a:cubicBezTo>
                  <a:cubicBezTo>
                    <a:pt x="829" y="11283"/>
                    <a:pt x="934" y="11342"/>
                    <a:pt x="983" y="11372"/>
                  </a:cubicBezTo>
                  <a:cubicBezTo>
                    <a:pt x="994" y="11379"/>
                    <a:pt x="1009" y="11389"/>
                    <a:pt x="1026" y="11401"/>
                  </a:cubicBezTo>
                  <a:cubicBezTo>
                    <a:pt x="1032" y="11381"/>
                    <a:pt x="1045" y="11346"/>
                    <a:pt x="1064" y="11310"/>
                  </a:cubicBezTo>
                  <a:cubicBezTo>
                    <a:pt x="1087" y="11267"/>
                    <a:pt x="1117" y="11225"/>
                    <a:pt x="1144" y="11194"/>
                  </a:cubicBezTo>
                  <a:cubicBezTo>
                    <a:pt x="1163" y="11171"/>
                    <a:pt x="1186" y="11145"/>
                    <a:pt x="1211" y="11123"/>
                  </a:cubicBezTo>
                  <a:cubicBezTo>
                    <a:pt x="1262" y="11077"/>
                    <a:pt x="1314" y="11043"/>
                    <a:pt x="1314" y="11043"/>
                  </a:cubicBezTo>
                  <a:cubicBezTo>
                    <a:pt x="1328" y="11064"/>
                    <a:pt x="1328" y="11064"/>
                    <a:pt x="1328" y="11064"/>
                  </a:cubicBezTo>
                  <a:cubicBezTo>
                    <a:pt x="1328" y="11064"/>
                    <a:pt x="1328" y="11064"/>
                    <a:pt x="1328" y="11064"/>
                  </a:cubicBezTo>
                  <a:cubicBezTo>
                    <a:pt x="1328" y="11064"/>
                    <a:pt x="1277" y="11097"/>
                    <a:pt x="1228" y="11141"/>
                  </a:cubicBezTo>
                  <a:cubicBezTo>
                    <a:pt x="1204" y="11162"/>
                    <a:pt x="1181" y="11187"/>
                    <a:pt x="1162" y="11210"/>
                  </a:cubicBezTo>
                  <a:cubicBezTo>
                    <a:pt x="1137" y="11240"/>
                    <a:pt x="1107" y="11281"/>
                    <a:pt x="1086" y="11321"/>
                  </a:cubicBezTo>
                  <a:cubicBezTo>
                    <a:pt x="1065" y="11361"/>
                    <a:pt x="1052" y="11400"/>
                    <a:pt x="1046" y="11417"/>
                  </a:cubicBezTo>
                  <a:cubicBezTo>
                    <a:pt x="1101" y="11459"/>
                    <a:pt x="1167" y="11517"/>
                    <a:pt x="1203" y="11556"/>
                  </a:cubicBezTo>
                  <a:cubicBezTo>
                    <a:pt x="1257" y="11614"/>
                    <a:pt x="1319" y="11714"/>
                    <a:pt x="1338" y="11782"/>
                  </a:cubicBezTo>
                  <a:cubicBezTo>
                    <a:pt x="1355" y="11845"/>
                    <a:pt x="1382" y="11951"/>
                    <a:pt x="1392" y="11985"/>
                  </a:cubicBezTo>
                  <a:cubicBezTo>
                    <a:pt x="1403" y="12020"/>
                    <a:pt x="1414" y="12081"/>
                    <a:pt x="1523" y="12155"/>
                  </a:cubicBezTo>
                  <a:cubicBezTo>
                    <a:pt x="1601" y="12207"/>
                    <a:pt x="1742" y="12250"/>
                    <a:pt x="1846" y="12275"/>
                  </a:cubicBezTo>
                  <a:cubicBezTo>
                    <a:pt x="1886" y="12284"/>
                    <a:pt x="1918" y="12289"/>
                    <a:pt x="1944" y="12295"/>
                  </a:cubicBezTo>
                  <a:cubicBezTo>
                    <a:pt x="1947" y="12295"/>
                    <a:pt x="1952" y="12295"/>
                    <a:pt x="1957" y="12296"/>
                  </a:cubicBezTo>
                  <a:cubicBezTo>
                    <a:pt x="1978" y="12270"/>
                    <a:pt x="2001" y="12236"/>
                    <a:pt x="2023" y="12208"/>
                  </a:cubicBezTo>
                  <a:cubicBezTo>
                    <a:pt x="2081" y="12130"/>
                    <a:pt x="2134" y="12052"/>
                    <a:pt x="2171" y="11993"/>
                  </a:cubicBezTo>
                  <a:cubicBezTo>
                    <a:pt x="2203" y="11944"/>
                    <a:pt x="2224" y="11909"/>
                    <a:pt x="2230" y="11899"/>
                  </a:cubicBezTo>
                  <a:cubicBezTo>
                    <a:pt x="2232" y="11889"/>
                    <a:pt x="2239" y="11861"/>
                    <a:pt x="2267" y="11781"/>
                  </a:cubicBezTo>
                  <a:cubicBezTo>
                    <a:pt x="2268" y="11778"/>
                    <a:pt x="2270" y="11774"/>
                    <a:pt x="2271" y="11771"/>
                  </a:cubicBezTo>
                  <a:cubicBezTo>
                    <a:pt x="2256" y="11770"/>
                    <a:pt x="2241" y="11770"/>
                    <a:pt x="2227" y="11770"/>
                  </a:cubicBezTo>
                  <a:cubicBezTo>
                    <a:pt x="2188" y="11770"/>
                    <a:pt x="2091" y="11767"/>
                    <a:pt x="1999" y="11727"/>
                  </a:cubicBezTo>
                  <a:cubicBezTo>
                    <a:pt x="1888" y="11679"/>
                    <a:pt x="1800" y="11592"/>
                    <a:pt x="1800" y="11592"/>
                  </a:cubicBezTo>
                  <a:cubicBezTo>
                    <a:pt x="1799" y="11591"/>
                    <a:pt x="1799" y="11591"/>
                    <a:pt x="1799" y="11591"/>
                  </a:cubicBezTo>
                  <a:cubicBezTo>
                    <a:pt x="1331" y="11053"/>
                    <a:pt x="1331" y="11053"/>
                    <a:pt x="1331" y="11053"/>
                  </a:cubicBezTo>
                  <a:cubicBezTo>
                    <a:pt x="1331" y="11053"/>
                    <a:pt x="1119" y="10809"/>
                    <a:pt x="908" y="10564"/>
                  </a:cubicBezTo>
                  <a:cubicBezTo>
                    <a:pt x="802" y="10442"/>
                    <a:pt x="696" y="10320"/>
                    <a:pt x="617" y="10228"/>
                  </a:cubicBezTo>
                  <a:cubicBezTo>
                    <a:pt x="609" y="10218"/>
                    <a:pt x="601" y="10209"/>
                    <a:pt x="593" y="10200"/>
                  </a:cubicBezTo>
                  <a:cubicBezTo>
                    <a:pt x="550" y="10226"/>
                    <a:pt x="518" y="10246"/>
                    <a:pt x="476" y="10273"/>
                  </a:cubicBezTo>
                  <a:cubicBezTo>
                    <a:pt x="476" y="10273"/>
                    <a:pt x="403" y="10297"/>
                    <a:pt x="391" y="10297"/>
                  </a:cubicBezTo>
                  <a:cubicBezTo>
                    <a:pt x="305" y="10312"/>
                    <a:pt x="305" y="10312"/>
                    <a:pt x="305" y="10312"/>
                  </a:cubicBezTo>
                  <a:cubicBezTo>
                    <a:pt x="277" y="10317"/>
                    <a:pt x="244" y="10321"/>
                    <a:pt x="211" y="10325"/>
                  </a:cubicBezTo>
                  <a:cubicBezTo>
                    <a:pt x="173" y="10366"/>
                    <a:pt x="132" y="10410"/>
                    <a:pt x="92" y="10453"/>
                  </a:cubicBezTo>
                  <a:cubicBezTo>
                    <a:pt x="63" y="10484"/>
                    <a:pt x="35" y="10515"/>
                    <a:pt x="7" y="10544"/>
                  </a:cubicBezTo>
                  <a:cubicBezTo>
                    <a:pt x="7" y="10363"/>
                    <a:pt x="7" y="10363"/>
                    <a:pt x="7" y="10363"/>
                  </a:cubicBezTo>
                  <a:cubicBezTo>
                    <a:pt x="14" y="10357"/>
                    <a:pt x="20" y="10350"/>
                    <a:pt x="26" y="10343"/>
                  </a:cubicBezTo>
                  <a:cubicBezTo>
                    <a:pt x="20" y="10343"/>
                    <a:pt x="14" y="10344"/>
                    <a:pt x="7" y="10345"/>
                  </a:cubicBezTo>
                  <a:cubicBezTo>
                    <a:pt x="7" y="10080"/>
                    <a:pt x="7" y="10080"/>
                    <a:pt x="7" y="10080"/>
                  </a:cubicBezTo>
                  <a:cubicBezTo>
                    <a:pt x="39" y="10063"/>
                    <a:pt x="78" y="10047"/>
                    <a:pt x="119" y="10044"/>
                  </a:cubicBezTo>
                  <a:cubicBezTo>
                    <a:pt x="169" y="10040"/>
                    <a:pt x="232" y="10046"/>
                    <a:pt x="292" y="10056"/>
                  </a:cubicBezTo>
                  <a:cubicBezTo>
                    <a:pt x="317" y="10029"/>
                    <a:pt x="334" y="10011"/>
                    <a:pt x="339" y="10006"/>
                  </a:cubicBezTo>
                  <a:cubicBezTo>
                    <a:pt x="358" y="9986"/>
                    <a:pt x="380" y="9971"/>
                    <a:pt x="399" y="9959"/>
                  </a:cubicBezTo>
                  <a:cubicBezTo>
                    <a:pt x="421" y="9944"/>
                    <a:pt x="445" y="9932"/>
                    <a:pt x="451" y="9930"/>
                  </a:cubicBezTo>
                  <a:cubicBezTo>
                    <a:pt x="1283" y="9484"/>
                    <a:pt x="1283" y="9484"/>
                    <a:pt x="1283" y="9484"/>
                  </a:cubicBezTo>
                  <a:cubicBezTo>
                    <a:pt x="2204" y="8993"/>
                    <a:pt x="2204" y="8993"/>
                    <a:pt x="2204" y="8993"/>
                  </a:cubicBezTo>
                  <a:cubicBezTo>
                    <a:pt x="2208" y="8991"/>
                    <a:pt x="2208" y="8991"/>
                    <a:pt x="2208" y="8991"/>
                  </a:cubicBezTo>
                  <a:cubicBezTo>
                    <a:pt x="2208" y="8991"/>
                    <a:pt x="2267" y="8963"/>
                    <a:pt x="2400" y="8892"/>
                  </a:cubicBezTo>
                  <a:cubicBezTo>
                    <a:pt x="2600" y="8787"/>
                    <a:pt x="2900" y="8628"/>
                    <a:pt x="3154" y="8492"/>
                  </a:cubicBezTo>
                  <a:cubicBezTo>
                    <a:pt x="3281" y="8424"/>
                    <a:pt x="3397" y="8363"/>
                    <a:pt x="3482" y="8316"/>
                  </a:cubicBezTo>
                  <a:cubicBezTo>
                    <a:pt x="3525" y="8293"/>
                    <a:pt x="3561" y="8274"/>
                    <a:pt x="3586" y="8260"/>
                  </a:cubicBezTo>
                  <a:cubicBezTo>
                    <a:pt x="3599" y="8253"/>
                    <a:pt x="3609" y="8247"/>
                    <a:pt x="3616" y="8243"/>
                  </a:cubicBezTo>
                  <a:cubicBezTo>
                    <a:pt x="3620" y="8241"/>
                    <a:pt x="3622" y="8240"/>
                    <a:pt x="3624" y="8238"/>
                  </a:cubicBezTo>
                  <a:cubicBezTo>
                    <a:pt x="3625" y="8238"/>
                    <a:pt x="3626" y="8238"/>
                    <a:pt x="3626" y="8237"/>
                  </a:cubicBezTo>
                  <a:cubicBezTo>
                    <a:pt x="3643" y="8225"/>
                    <a:pt x="3686" y="8189"/>
                    <a:pt x="3740" y="8152"/>
                  </a:cubicBezTo>
                  <a:cubicBezTo>
                    <a:pt x="3795" y="8115"/>
                    <a:pt x="3863" y="8075"/>
                    <a:pt x="3940" y="8054"/>
                  </a:cubicBezTo>
                  <a:cubicBezTo>
                    <a:pt x="3943" y="8053"/>
                    <a:pt x="3946" y="8053"/>
                    <a:pt x="3949" y="8052"/>
                  </a:cubicBezTo>
                  <a:cubicBezTo>
                    <a:pt x="3943" y="8035"/>
                    <a:pt x="3943" y="8035"/>
                    <a:pt x="3943" y="8035"/>
                  </a:cubicBezTo>
                  <a:cubicBezTo>
                    <a:pt x="3935" y="8018"/>
                    <a:pt x="3911" y="7973"/>
                    <a:pt x="3901" y="7923"/>
                  </a:cubicBezTo>
                  <a:cubicBezTo>
                    <a:pt x="3900" y="7923"/>
                    <a:pt x="3900" y="7923"/>
                    <a:pt x="3900" y="7923"/>
                  </a:cubicBezTo>
                  <a:cubicBezTo>
                    <a:pt x="3900" y="7917"/>
                    <a:pt x="3900" y="7917"/>
                    <a:pt x="3900" y="7917"/>
                  </a:cubicBezTo>
                  <a:cubicBezTo>
                    <a:pt x="3900" y="7917"/>
                    <a:pt x="3899" y="7915"/>
                    <a:pt x="3899" y="7913"/>
                  </a:cubicBezTo>
                  <a:cubicBezTo>
                    <a:pt x="3899" y="7911"/>
                    <a:pt x="3898" y="7910"/>
                    <a:pt x="3898" y="7908"/>
                  </a:cubicBezTo>
                  <a:cubicBezTo>
                    <a:pt x="3898" y="7908"/>
                    <a:pt x="3898" y="7908"/>
                    <a:pt x="3898" y="7908"/>
                  </a:cubicBezTo>
                  <a:cubicBezTo>
                    <a:pt x="3893" y="7876"/>
                    <a:pt x="3876" y="7761"/>
                    <a:pt x="3876" y="7700"/>
                  </a:cubicBezTo>
                  <a:cubicBezTo>
                    <a:pt x="3876" y="7697"/>
                    <a:pt x="3876" y="7694"/>
                    <a:pt x="3876" y="7692"/>
                  </a:cubicBezTo>
                  <a:cubicBezTo>
                    <a:pt x="3875" y="7684"/>
                    <a:pt x="3873" y="7656"/>
                    <a:pt x="3870" y="7636"/>
                  </a:cubicBezTo>
                  <a:cubicBezTo>
                    <a:pt x="3868" y="7629"/>
                    <a:pt x="3867" y="7624"/>
                    <a:pt x="3866" y="7621"/>
                  </a:cubicBezTo>
                  <a:cubicBezTo>
                    <a:pt x="3865" y="7620"/>
                    <a:pt x="3865" y="7619"/>
                    <a:pt x="3865" y="7619"/>
                  </a:cubicBezTo>
                  <a:cubicBezTo>
                    <a:pt x="3678" y="7401"/>
                    <a:pt x="3678" y="7401"/>
                    <a:pt x="3678" y="7401"/>
                  </a:cubicBezTo>
                  <a:cubicBezTo>
                    <a:pt x="3676" y="7400"/>
                    <a:pt x="3676" y="7400"/>
                    <a:pt x="3676" y="7400"/>
                  </a:cubicBezTo>
                  <a:cubicBezTo>
                    <a:pt x="3676" y="7400"/>
                    <a:pt x="3639" y="7354"/>
                    <a:pt x="3583" y="7294"/>
                  </a:cubicBezTo>
                  <a:cubicBezTo>
                    <a:pt x="3570" y="7281"/>
                    <a:pt x="3556" y="7266"/>
                    <a:pt x="3542" y="7252"/>
                  </a:cubicBezTo>
                  <a:cubicBezTo>
                    <a:pt x="3527" y="7254"/>
                    <a:pt x="3479" y="7260"/>
                    <a:pt x="3423" y="7271"/>
                  </a:cubicBezTo>
                  <a:cubicBezTo>
                    <a:pt x="3355" y="7284"/>
                    <a:pt x="3277" y="7306"/>
                    <a:pt x="3240" y="7331"/>
                  </a:cubicBezTo>
                  <a:cubicBezTo>
                    <a:pt x="3164" y="7383"/>
                    <a:pt x="3018" y="7503"/>
                    <a:pt x="2852" y="7503"/>
                  </a:cubicBezTo>
                  <a:cubicBezTo>
                    <a:pt x="2839" y="7503"/>
                    <a:pt x="2825" y="7503"/>
                    <a:pt x="2811" y="7501"/>
                  </a:cubicBezTo>
                  <a:cubicBezTo>
                    <a:pt x="2777" y="7496"/>
                    <a:pt x="2745" y="7488"/>
                    <a:pt x="2714" y="7479"/>
                  </a:cubicBezTo>
                  <a:cubicBezTo>
                    <a:pt x="2707" y="7492"/>
                    <a:pt x="2707" y="7492"/>
                    <a:pt x="2707" y="7492"/>
                  </a:cubicBezTo>
                  <a:cubicBezTo>
                    <a:pt x="2504" y="7951"/>
                    <a:pt x="2504" y="7951"/>
                    <a:pt x="2504" y="7951"/>
                  </a:cubicBezTo>
                  <a:cubicBezTo>
                    <a:pt x="2504" y="7951"/>
                    <a:pt x="2504" y="7951"/>
                    <a:pt x="2504" y="7951"/>
                  </a:cubicBezTo>
                  <a:cubicBezTo>
                    <a:pt x="2504" y="7951"/>
                    <a:pt x="2504" y="7951"/>
                    <a:pt x="2504" y="7951"/>
                  </a:cubicBezTo>
                  <a:cubicBezTo>
                    <a:pt x="2502" y="7954"/>
                    <a:pt x="2502" y="7954"/>
                    <a:pt x="2502" y="7954"/>
                  </a:cubicBezTo>
                  <a:cubicBezTo>
                    <a:pt x="2500" y="7953"/>
                    <a:pt x="2500" y="7953"/>
                    <a:pt x="2500" y="7953"/>
                  </a:cubicBezTo>
                  <a:cubicBezTo>
                    <a:pt x="2278" y="8104"/>
                    <a:pt x="2278" y="8104"/>
                    <a:pt x="2278" y="8104"/>
                  </a:cubicBezTo>
                  <a:cubicBezTo>
                    <a:pt x="2539" y="8646"/>
                    <a:pt x="2539" y="8646"/>
                    <a:pt x="2539" y="8646"/>
                  </a:cubicBezTo>
                  <a:cubicBezTo>
                    <a:pt x="2541" y="8645"/>
                    <a:pt x="2541" y="8645"/>
                    <a:pt x="2541" y="8645"/>
                  </a:cubicBezTo>
                  <a:cubicBezTo>
                    <a:pt x="2599" y="8768"/>
                    <a:pt x="2599" y="8768"/>
                    <a:pt x="2599" y="8768"/>
                  </a:cubicBezTo>
                  <a:cubicBezTo>
                    <a:pt x="2576" y="8779"/>
                    <a:pt x="2576" y="8779"/>
                    <a:pt x="2576" y="8779"/>
                  </a:cubicBezTo>
                  <a:cubicBezTo>
                    <a:pt x="2527" y="8676"/>
                    <a:pt x="2527" y="8676"/>
                    <a:pt x="2527" y="8676"/>
                  </a:cubicBezTo>
                  <a:cubicBezTo>
                    <a:pt x="2526" y="8677"/>
                    <a:pt x="2526" y="8677"/>
                    <a:pt x="2526" y="8677"/>
                  </a:cubicBezTo>
                  <a:cubicBezTo>
                    <a:pt x="2258" y="8118"/>
                    <a:pt x="2258" y="8118"/>
                    <a:pt x="2258" y="8118"/>
                  </a:cubicBezTo>
                  <a:cubicBezTo>
                    <a:pt x="2005" y="8289"/>
                    <a:pt x="2005" y="8289"/>
                    <a:pt x="2005" y="8289"/>
                  </a:cubicBezTo>
                  <a:cubicBezTo>
                    <a:pt x="1665" y="8315"/>
                    <a:pt x="1665" y="8315"/>
                    <a:pt x="1665" y="8315"/>
                  </a:cubicBezTo>
                  <a:cubicBezTo>
                    <a:pt x="1651" y="8341"/>
                    <a:pt x="1588" y="8448"/>
                    <a:pt x="1526" y="8555"/>
                  </a:cubicBezTo>
                  <a:cubicBezTo>
                    <a:pt x="1490" y="8617"/>
                    <a:pt x="1454" y="8678"/>
                    <a:pt x="1428" y="8724"/>
                  </a:cubicBezTo>
                  <a:cubicBezTo>
                    <a:pt x="1414" y="8747"/>
                    <a:pt x="1403" y="8767"/>
                    <a:pt x="1395" y="8780"/>
                  </a:cubicBezTo>
                  <a:cubicBezTo>
                    <a:pt x="1391" y="8787"/>
                    <a:pt x="1388" y="8792"/>
                    <a:pt x="1386" y="8796"/>
                  </a:cubicBezTo>
                  <a:cubicBezTo>
                    <a:pt x="1385" y="8797"/>
                    <a:pt x="1384" y="8799"/>
                    <a:pt x="1384" y="8800"/>
                  </a:cubicBezTo>
                  <a:cubicBezTo>
                    <a:pt x="1383" y="8800"/>
                    <a:pt x="1383" y="8801"/>
                    <a:pt x="1383" y="8801"/>
                  </a:cubicBezTo>
                  <a:cubicBezTo>
                    <a:pt x="1383" y="8801"/>
                    <a:pt x="1383" y="8801"/>
                    <a:pt x="1383" y="8801"/>
                  </a:cubicBezTo>
                  <a:cubicBezTo>
                    <a:pt x="1383" y="8801"/>
                    <a:pt x="1383" y="8801"/>
                    <a:pt x="1383" y="8801"/>
                  </a:cubicBezTo>
                  <a:cubicBezTo>
                    <a:pt x="1383" y="8801"/>
                    <a:pt x="1383" y="8802"/>
                    <a:pt x="1383" y="8802"/>
                  </a:cubicBezTo>
                  <a:cubicBezTo>
                    <a:pt x="1383" y="8802"/>
                    <a:pt x="1382" y="8802"/>
                    <a:pt x="1382" y="8802"/>
                  </a:cubicBezTo>
                  <a:cubicBezTo>
                    <a:pt x="1382" y="8802"/>
                    <a:pt x="1382" y="8802"/>
                    <a:pt x="1382" y="8803"/>
                  </a:cubicBezTo>
                  <a:cubicBezTo>
                    <a:pt x="1382" y="8803"/>
                    <a:pt x="1381" y="8803"/>
                    <a:pt x="1381" y="8804"/>
                  </a:cubicBezTo>
                  <a:cubicBezTo>
                    <a:pt x="1380" y="8804"/>
                    <a:pt x="1380" y="8805"/>
                    <a:pt x="1379" y="8805"/>
                  </a:cubicBezTo>
                  <a:cubicBezTo>
                    <a:pt x="1379" y="8805"/>
                    <a:pt x="1379" y="8805"/>
                    <a:pt x="1379" y="8805"/>
                  </a:cubicBezTo>
                  <a:cubicBezTo>
                    <a:pt x="1366" y="8817"/>
                    <a:pt x="1239" y="8937"/>
                    <a:pt x="1115" y="9055"/>
                  </a:cubicBezTo>
                  <a:cubicBezTo>
                    <a:pt x="993" y="9171"/>
                    <a:pt x="874" y="9285"/>
                    <a:pt x="861" y="9297"/>
                  </a:cubicBezTo>
                  <a:cubicBezTo>
                    <a:pt x="883" y="9301"/>
                    <a:pt x="907" y="9308"/>
                    <a:pt x="932" y="9323"/>
                  </a:cubicBezTo>
                  <a:cubicBezTo>
                    <a:pt x="980" y="9354"/>
                    <a:pt x="1014" y="9420"/>
                    <a:pt x="1039" y="9479"/>
                  </a:cubicBezTo>
                  <a:cubicBezTo>
                    <a:pt x="1063" y="9538"/>
                    <a:pt x="1078" y="9591"/>
                    <a:pt x="1078" y="9591"/>
                  </a:cubicBezTo>
                  <a:cubicBezTo>
                    <a:pt x="1041" y="9601"/>
                    <a:pt x="1041" y="9601"/>
                    <a:pt x="1041" y="9601"/>
                  </a:cubicBezTo>
                  <a:cubicBezTo>
                    <a:pt x="1041" y="9600"/>
                    <a:pt x="1028" y="9550"/>
                    <a:pt x="1004" y="9494"/>
                  </a:cubicBezTo>
                  <a:cubicBezTo>
                    <a:pt x="981" y="9437"/>
                    <a:pt x="946" y="9375"/>
                    <a:pt x="913" y="9356"/>
                  </a:cubicBezTo>
                  <a:cubicBezTo>
                    <a:pt x="881" y="9337"/>
                    <a:pt x="852" y="9332"/>
                    <a:pt x="826" y="9330"/>
                  </a:cubicBezTo>
                  <a:cubicBezTo>
                    <a:pt x="819" y="9330"/>
                    <a:pt x="813" y="9330"/>
                    <a:pt x="807" y="9330"/>
                  </a:cubicBezTo>
                  <a:cubicBezTo>
                    <a:pt x="783" y="9330"/>
                    <a:pt x="764" y="9333"/>
                    <a:pt x="745" y="9336"/>
                  </a:cubicBezTo>
                  <a:cubicBezTo>
                    <a:pt x="710" y="9340"/>
                    <a:pt x="684" y="9355"/>
                    <a:pt x="644" y="9356"/>
                  </a:cubicBezTo>
                  <a:cubicBezTo>
                    <a:pt x="603" y="9355"/>
                    <a:pt x="555" y="9333"/>
                    <a:pt x="515" y="9321"/>
                  </a:cubicBezTo>
                  <a:cubicBezTo>
                    <a:pt x="474" y="9307"/>
                    <a:pt x="396" y="9274"/>
                    <a:pt x="351" y="9274"/>
                  </a:cubicBezTo>
                  <a:cubicBezTo>
                    <a:pt x="349" y="9274"/>
                    <a:pt x="348" y="9274"/>
                    <a:pt x="347" y="9275"/>
                  </a:cubicBezTo>
                  <a:cubicBezTo>
                    <a:pt x="298" y="9277"/>
                    <a:pt x="277" y="9292"/>
                    <a:pt x="248" y="9302"/>
                  </a:cubicBezTo>
                  <a:cubicBezTo>
                    <a:pt x="237" y="9306"/>
                    <a:pt x="199" y="9323"/>
                    <a:pt x="166" y="9339"/>
                  </a:cubicBezTo>
                  <a:cubicBezTo>
                    <a:pt x="149" y="9346"/>
                    <a:pt x="133" y="9353"/>
                    <a:pt x="122" y="9359"/>
                  </a:cubicBezTo>
                  <a:cubicBezTo>
                    <a:pt x="118" y="9363"/>
                    <a:pt x="117" y="9366"/>
                    <a:pt x="117" y="9369"/>
                  </a:cubicBezTo>
                  <a:cubicBezTo>
                    <a:pt x="422" y="9935"/>
                    <a:pt x="422" y="9935"/>
                    <a:pt x="422" y="9935"/>
                  </a:cubicBezTo>
                  <a:cubicBezTo>
                    <a:pt x="389" y="9952"/>
                    <a:pt x="389" y="9952"/>
                    <a:pt x="389" y="9952"/>
                  </a:cubicBezTo>
                  <a:cubicBezTo>
                    <a:pt x="55" y="9332"/>
                    <a:pt x="55" y="9332"/>
                    <a:pt x="55" y="9332"/>
                  </a:cubicBezTo>
                  <a:cubicBezTo>
                    <a:pt x="55" y="9331"/>
                    <a:pt x="55" y="9331"/>
                    <a:pt x="55" y="9331"/>
                  </a:cubicBezTo>
                  <a:cubicBezTo>
                    <a:pt x="7" y="9237"/>
                    <a:pt x="7" y="9237"/>
                    <a:pt x="7" y="9237"/>
                  </a:cubicBezTo>
                  <a:cubicBezTo>
                    <a:pt x="7" y="9158"/>
                    <a:pt x="7" y="9158"/>
                    <a:pt x="7" y="9158"/>
                  </a:cubicBezTo>
                  <a:cubicBezTo>
                    <a:pt x="88" y="9316"/>
                    <a:pt x="88" y="9316"/>
                    <a:pt x="88" y="9316"/>
                  </a:cubicBezTo>
                  <a:cubicBezTo>
                    <a:pt x="88" y="9316"/>
                    <a:pt x="88" y="9316"/>
                    <a:pt x="88" y="9316"/>
                  </a:cubicBezTo>
                  <a:cubicBezTo>
                    <a:pt x="90" y="9321"/>
                    <a:pt x="90" y="9321"/>
                    <a:pt x="90" y="9321"/>
                  </a:cubicBezTo>
                  <a:cubicBezTo>
                    <a:pt x="95" y="9324"/>
                    <a:pt x="102" y="9324"/>
                    <a:pt x="107" y="9324"/>
                  </a:cubicBezTo>
                  <a:cubicBezTo>
                    <a:pt x="144" y="9307"/>
                    <a:pt x="215" y="9274"/>
                    <a:pt x="236" y="9267"/>
                  </a:cubicBezTo>
                  <a:cubicBezTo>
                    <a:pt x="257" y="9259"/>
                    <a:pt x="288" y="9240"/>
                    <a:pt x="345" y="9237"/>
                  </a:cubicBezTo>
                  <a:cubicBezTo>
                    <a:pt x="347" y="9237"/>
                    <a:pt x="349" y="9237"/>
                    <a:pt x="351" y="9237"/>
                  </a:cubicBezTo>
                  <a:cubicBezTo>
                    <a:pt x="411" y="9237"/>
                    <a:pt x="489" y="9273"/>
                    <a:pt x="527" y="9285"/>
                  </a:cubicBezTo>
                  <a:cubicBezTo>
                    <a:pt x="569" y="9299"/>
                    <a:pt x="617" y="9319"/>
                    <a:pt x="644" y="9318"/>
                  </a:cubicBezTo>
                  <a:cubicBezTo>
                    <a:pt x="672" y="9319"/>
                    <a:pt x="697" y="9304"/>
                    <a:pt x="740" y="9298"/>
                  </a:cubicBezTo>
                  <a:cubicBezTo>
                    <a:pt x="758" y="9296"/>
                    <a:pt x="779" y="9292"/>
                    <a:pt x="807" y="9292"/>
                  </a:cubicBezTo>
                  <a:cubicBezTo>
                    <a:pt x="814" y="9292"/>
                    <a:pt x="821" y="9292"/>
                    <a:pt x="829" y="9293"/>
                  </a:cubicBezTo>
                  <a:cubicBezTo>
                    <a:pt x="838" y="9293"/>
                    <a:pt x="847" y="9295"/>
                    <a:pt x="858" y="9296"/>
                  </a:cubicBezTo>
                  <a:cubicBezTo>
                    <a:pt x="843" y="9280"/>
                    <a:pt x="843" y="9280"/>
                    <a:pt x="843" y="9280"/>
                  </a:cubicBezTo>
                  <a:cubicBezTo>
                    <a:pt x="843" y="9280"/>
                    <a:pt x="972" y="9157"/>
                    <a:pt x="1102" y="9033"/>
                  </a:cubicBezTo>
                  <a:cubicBezTo>
                    <a:pt x="1168" y="8971"/>
                    <a:pt x="1233" y="8910"/>
                    <a:pt x="1282" y="8863"/>
                  </a:cubicBezTo>
                  <a:cubicBezTo>
                    <a:pt x="1306" y="8840"/>
                    <a:pt x="1327" y="8821"/>
                    <a:pt x="1341" y="8807"/>
                  </a:cubicBezTo>
                  <a:cubicBezTo>
                    <a:pt x="1348" y="8800"/>
                    <a:pt x="1354" y="8795"/>
                    <a:pt x="1358" y="8791"/>
                  </a:cubicBezTo>
                  <a:cubicBezTo>
                    <a:pt x="1359" y="8791"/>
                    <a:pt x="1359" y="8790"/>
                    <a:pt x="1360" y="8789"/>
                  </a:cubicBezTo>
                  <a:cubicBezTo>
                    <a:pt x="1364" y="8786"/>
                    <a:pt x="1364" y="8786"/>
                    <a:pt x="1364" y="8786"/>
                  </a:cubicBezTo>
                  <a:cubicBezTo>
                    <a:pt x="1386" y="8747"/>
                    <a:pt x="1610" y="8362"/>
                    <a:pt x="1643" y="8305"/>
                  </a:cubicBezTo>
                  <a:cubicBezTo>
                    <a:pt x="1314" y="7896"/>
                    <a:pt x="1314" y="7896"/>
                    <a:pt x="1314" y="7896"/>
                  </a:cubicBezTo>
                  <a:cubicBezTo>
                    <a:pt x="1333" y="7881"/>
                    <a:pt x="1333" y="7881"/>
                    <a:pt x="1333" y="7881"/>
                  </a:cubicBezTo>
                  <a:cubicBezTo>
                    <a:pt x="1664" y="8291"/>
                    <a:pt x="1664" y="8291"/>
                    <a:pt x="1664" y="8291"/>
                  </a:cubicBezTo>
                  <a:cubicBezTo>
                    <a:pt x="1997" y="8265"/>
                    <a:pt x="1997" y="8265"/>
                    <a:pt x="1997" y="8265"/>
                  </a:cubicBezTo>
                  <a:cubicBezTo>
                    <a:pt x="2472" y="7943"/>
                    <a:pt x="2472" y="7943"/>
                    <a:pt x="2472" y="7943"/>
                  </a:cubicBezTo>
                  <a:cubicBezTo>
                    <a:pt x="2675" y="7484"/>
                    <a:pt x="2675" y="7484"/>
                    <a:pt x="2675" y="7484"/>
                  </a:cubicBezTo>
                  <a:cubicBezTo>
                    <a:pt x="2675" y="7484"/>
                    <a:pt x="2675" y="7484"/>
                    <a:pt x="2675" y="7484"/>
                  </a:cubicBezTo>
                  <a:cubicBezTo>
                    <a:pt x="2680" y="7467"/>
                    <a:pt x="2680" y="7467"/>
                    <a:pt x="2680" y="7467"/>
                  </a:cubicBezTo>
                  <a:cubicBezTo>
                    <a:pt x="2573" y="7426"/>
                    <a:pt x="2494" y="7362"/>
                    <a:pt x="2431" y="7318"/>
                  </a:cubicBezTo>
                  <a:cubicBezTo>
                    <a:pt x="2343" y="7257"/>
                    <a:pt x="2096" y="7072"/>
                    <a:pt x="2025" y="7034"/>
                  </a:cubicBezTo>
                  <a:cubicBezTo>
                    <a:pt x="2011" y="7027"/>
                    <a:pt x="1982" y="7010"/>
                    <a:pt x="1944" y="6988"/>
                  </a:cubicBezTo>
                  <a:cubicBezTo>
                    <a:pt x="1936" y="6997"/>
                    <a:pt x="1917" y="7023"/>
                    <a:pt x="1896" y="7054"/>
                  </a:cubicBezTo>
                  <a:cubicBezTo>
                    <a:pt x="1857" y="7110"/>
                    <a:pt x="1804" y="7190"/>
                    <a:pt x="1759" y="7256"/>
                  </a:cubicBezTo>
                  <a:cubicBezTo>
                    <a:pt x="1738" y="7286"/>
                    <a:pt x="1719" y="7312"/>
                    <a:pt x="1704" y="7333"/>
                  </a:cubicBezTo>
                  <a:cubicBezTo>
                    <a:pt x="1317" y="7883"/>
                    <a:pt x="1317" y="7883"/>
                    <a:pt x="1317" y="7883"/>
                  </a:cubicBezTo>
                  <a:cubicBezTo>
                    <a:pt x="1319" y="7883"/>
                    <a:pt x="1319" y="7883"/>
                    <a:pt x="1319" y="7883"/>
                  </a:cubicBezTo>
                  <a:cubicBezTo>
                    <a:pt x="949" y="8181"/>
                    <a:pt x="949" y="8181"/>
                    <a:pt x="949" y="8181"/>
                  </a:cubicBezTo>
                  <a:cubicBezTo>
                    <a:pt x="7" y="8964"/>
                    <a:pt x="7" y="8964"/>
                    <a:pt x="7" y="8964"/>
                  </a:cubicBezTo>
                  <a:cubicBezTo>
                    <a:pt x="7" y="8917"/>
                    <a:pt x="7" y="8917"/>
                    <a:pt x="7" y="8917"/>
                  </a:cubicBezTo>
                  <a:cubicBezTo>
                    <a:pt x="931" y="8148"/>
                    <a:pt x="931" y="8148"/>
                    <a:pt x="931" y="8148"/>
                  </a:cubicBezTo>
                  <a:cubicBezTo>
                    <a:pt x="931" y="8148"/>
                    <a:pt x="931" y="8148"/>
                    <a:pt x="931" y="8148"/>
                  </a:cubicBezTo>
                  <a:cubicBezTo>
                    <a:pt x="934" y="8147"/>
                    <a:pt x="934" y="8147"/>
                    <a:pt x="934" y="8147"/>
                  </a:cubicBezTo>
                  <a:cubicBezTo>
                    <a:pt x="940" y="8141"/>
                    <a:pt x="940" y="8141"/>
                    <a:pt x="940" y="8141"/>
                  </a:cubicBezTo>
                  <a:cubicBezTo>
                    <a:pt x="940" y="8141"/>
                    <a:pt x="940" y="8141"/>
                    <a:pt x="940" y="8141"/>
                  </a:cubicBezTo>
                  <a:cubicBezTo>
                    <a:pt x="1289" y="7857"/>
                    <a:pt x="1289" y="7857"/>
                    <a:pt x="1289" y="7857"/>
                  </a:cubicBezTo>
                  <a:cubicBezTo>
                    <a:pt x="1560" y="7479"/>
                    <a:pt x="1560" y="7479"/>
                    <a:pt x="1560" y="7479"/>
                  </a:cubicBezTo>
                  <a:cubicBezTo>
                    <a:pt x="1556" y="7478"/>
                    <a:pt x="1555" y="7477"/>
                    <a:pt x="1553" y="7476"/>
                  </a:cubicBezTo>
                  <a:cubicBezTo>
                    <a:pt x="1524" y="7462"/>
                    <a:pt x="1369" y="7362"/>
                    <a:pt x="1369" y="7362"/>
                  </a:cubicBezTo>
                  <a:cubicBezTo>
                    <a:pt x="1362" y="7357"/>
                    <a:pt x="1362" y="7357"/>
                    <a:pt x="1362" y="7357"/>
                  </a:cubicBezTo>
                  <a:cubicBezTo>
                    <a:pt x="1395" y="7195"/>
                    <a:pt x="1395" y="7195"/>
                    <a:pt x="1395" y="7195"/>
                  </a:cubicBezTo>
                  <a:cubicBezTo>
                    <a:pt x="1371" y="7157"/>
                    <a:pt x="1371" y="7157"/>
                    <a:pt x="1371" y="7157"/>
                  </a:cubicBezTo>
                  <a:cubicBezTo>
                    <a:pt x="1276" y="7013"/>
                    <a:pt x="1276" y="7013"/>
                    <a:pt x="1276" y="7013"/>
                  </a:cubicBezTo>
                  <a:cubicBezTo>
                    <a:pt x="1267" y="7001"/>
                    <a:pt x="1267" y="7001"/>
                    <a:pt x="1267" y="7001"/>
                  </a:cubicBezTo>
                  <a:cubicBezTo>
                    <a:pt x="1264" y="7003"/>
                    <a:pt x="1261" y="7006"/>
                    <a:pt x="1259" y="7007"/>
                  </a:cubicBezTo>
                  <a:cubicBezTo>
                    <a:pt x="1209" y="7039"/>
                    <a:pt x="1161" y="7053"/>
                    <a:pt x="1131" y="7059"/>
                  </a:cubicBezTo>
                  <a:cubicBezTo>
                    <a:pt x="1130" y="7062"/>
                    <a:pt x="1129" y="7065"/>
                    <a:pt x="1129" y="7065"/>
                  </a:cubicBezTo>
                  <a:cubicBezTo>
                    <a:pt x="1129" y="7065"/>
                    <a:pt x="1128" y="7065"/>
                    <a:pt x="1128" y="7065"/>
                  </a:cubicBezTo>
                  <a:cubicBezTo>
                    <a:pt x="1128" y="7066"/>
                    <a:pt x="1128" y="7066"/>
                    <a:pt x="1128" y="7066"/>
                  </a:cubicBezTo>
                  <a:cubicBezTo>
                    <a:pt x="1056" y="7261"/>
                    <a:pt x="1056" y="7261"/>
                    <a:pt x="1056" y="7261"/>
                  </a:cubicBezTo>
                  <a:cubicBezTo>
                    <a:pt x="1054" y="7261"/>
                    <a:pt x="1054" y="7261"/>
                    <a:pt x="1054" y="7261"/>
                  </a:cubicBezTo>
                  <a:cubicBezTo>
                    <a:pt x="933" y="7567"/>
                    <a:pt x="933" y="7567"/>
                    <a:pt x="933" y="7567"/>
                  </a:cubicBezTo>
                  <a:cubicBezTo>
                    <a:pt x="931" y="7570"/>
                    <a:pt x="931" y="7570"/>
                    <a:pt x="931" y="7570"/>
                  </a:cubicBezTo>
                  <a:cubicBezTo>
                    <a:pt x="866" y="7625"/>
                    <a:pt x="866" y="7625"/>
                    <a:pt x="866" y="7625"/>
                  </a:cubicBezTo>
                  <a:cubicBezTo>
                    <a:pt x="292" y="8240"/>
                    <a:pt x="292" y="8240"/>
                    <a:pt x="292" y="8240"/>
                  </a:cubicBezTo>
                  <a:cubicBezTo>
                    <a:pt x="240" y="8292"/>
                    <a:pt x="164" y="8388"/>
                    <a:pt x="7" y="8454"/>
                  </a:cubicBezTo>
                  <a:cubicBezTo>
                    <a:pt x="7" y="8415"/>
                    <a:pt x="7" y="8415"/>
                    <a:pt x="7" y="8415"/>
                  </a:cubicBezTo>
                  <a:cubicBezTo>
                    <a:pt x="117" y="8366"/>
                    <a:pt x="182" y="8302"/>
                    <a:pt x="230" y="8252"/>
                  </a:cubicBezTo>
                  <a:cubicBezTo>
                    <a:pt x="222" y="8245"/>
                    <a:pt x="206" y="8231"/>
                    <a:pt x="183" y="8212"/>
                  </a:cubicBezTo>
                  <a:cubicBezTo>
                    <a:pt x="142" y="8179"/>
                    <a:pt x="80" y="8132"/>
                    <a:pt x="7" y="8088"/>
                  </a:cubicBezTo>
                  <a:cubicBezTo>
                    <a:pt x="7" y="8046"/>
                    <a:pt x="7" y="8046"/>
                    <a:pt x="7" y="8046"/>
                  </a:cubicBezTo>
                  <a:cubicBezTo>
                    <a:pt x="133" y="8120"/>
                    <a:pt x="230" y="8204"/>
                    <a:pt x="255" y="8226"/>
                  </a:cubicBezTo>
                  <a:cubicBezTo>
                    <a:pt x="259" y="8223"/>
                    <a:pt x="262" y="8219"/>
                    <a:pt x="266" y="8215"/>
                  </a:cubicBezTo>
                  <a:cubicBezTo>
                    <a:pt x="603" y="7856"/>
                    <a:pt x="603" y="7856"/>
                    <a:pt x="603" y="7856"/>
                  </a:cubicBezTo>
                  <a:cubicBezTo>
                    <a:pt x="601" y="7853"/>
                    <a:pt x="601" y="7853"/>
                    <a:pt x="601" y="7853"/>
                  </a:cubicBezTo>
                  <a:cubicBezTo>
                    <a:pt x="599" y="7855"/>
                    <a:pt x="599" y="7855"/>
                    <a:pt x="599" y="7855"/>
                  </a:cubicBezTo>
                  <a:cubicBezTo>
                    <a:pt x="180" y="7273"/>
                    <a:pt x="180" y="7273"/>
                    <a:pt x="180" y="7273"/>
                  </a:cubicBezTo>
                  <a:cubicBezTo>
                    <a:pt x="7" y="7208"/>
                    <a:pt x="7" y="7208"/>
                    <a:pt x="7" y="7208"/>
                  </a:cubicBezTo>
                  <a:cubicBezTo>
                    <a:pt x="7" y="7180"/>
                    <a:pt x="7" y="7180"/>
                    <a:pt x="7" y="7180"/>
                  </a:cubicBezTo>
                  <a:cubicBezTo>
                    <a:pt x="197" y="7251"/>
                    <a:pt x="197" y="7251"/>
                    <a:pt x="197" y="7251"/>
                  </a:cubicBezTo>
                  <a:cubicBezTo>
                    <a:pt x="615" y="7833"/>
                    <a:pt x="615" y="7833"/>
                    <a:pt x="615" y="7833"/>
                  </a:cubicBezTo>
                  <a:cubicBezTo>
                    <a:pt x="617" y="7835"/>
                    <a:pt x="619" y="7836"/>
                    <a:pt x="621" y="7837"/>
                  </a:cubicBezTo>
                  <a:cubicBezTo>
                    <a:pt x="871" y="7571"/>
                    <a:pt x="871" y="7571"/>
                    <a:pt x="871" y="7571"/>
                  </a:cubicBezTo>
                  <a:cubicBezTo>
                    <a:pt x="871" y="7572"/>
                    <a:pt x="871" y="7572"/>
                    <a:pt x="871" y="7572"/>
                  </a:cubicBezTo>
                  <a:cubicBezTo>
                    <a:pt x="901" y="7545"/>
                    <a:pt x="901" y="7545"/>
                    <a:pt x="901" y="7545"/>
                  </a:cubicBezTo>
                  <a:cubicBezTo>
                    <a:pt x="1030" y="7226"/>
                    <a:pt x="1030" y="7226"/>
                    <a:pt x="1030" y="7226"/>
                  </a:cubicBezTo>
                  <a:cubicBezTo>
                    <a:pt x="1030" y="7226"/>
                    <a:pt x="1030" y="7226"/>
                    <a:pt x="1030" y="7226"/>
                  </a:cubicBezTo>
                  <a:cubicBezTo>
                    <a:pt x="1089" y="7068"/>
                    <a:pt x="1089" y="7068"/>
                    <a:pt x="1089" y="7068"/>
                  </a:cubicBezTo>
                  <a:cubicBezTo>
                    <a:pt x="1086" y="7062"/>
                    <a:pt x="1080" y="7051"/>
                    <a:pt x="1071" y="7036"/>
                  </a:cubicBezTo>
                  <a:cubicBezTo>
                    <a:pt x="1028" y="6963"/>
                    <a:pt x="921" y="6795"/>
                    <a:pt x="759" y="6646"/>
                  </a:cubicBezTo>
                  <a:cubicBezTo>
                    <a:pt x="578" y="6480"/>
                    <a:pt x="341" y="6330"/>
                    <a:pt x="186" y="6261"/>
                  </a:cubicBezTo>
                  <a:cubicBezTo>
                    <a:pt x="186" y="6262"/>
                    <a:pt x="186" y="6262"/>
                    <a:pt x="186" y="6262"/>
                  </a:cubicBezTo>
                  <a:cubicBezTo>
                    <a:pt x="184" y="6264"/>
                    <a:pt x="184" y="6264"/>
                    <a:pt x="184" y="6264"/>
                  </a:cubicBezTo>
                  <a:cubicBezTo>
                    <a:pt x="153" y="6297"/>
                    <a:pt x="115" y="6374"/>
                    <a:pt x="9" y="6438"/>
                  </a:cubicBezTo>
                  <a:cubicBezTo>
                    <a:pt x="9" y="6438"/>
                    <a:pt x="8" y="6439"/>
                    <a:pt x="7" y="6439"/>
                  </a:cubicBezTo>
                  <a:cubicBezTo>
                    <a:pt x="7" y="6396"/>
                    <a:pt x="7" y="6396"/>
                    <a:pt x="7" y="6396"/>
                  </a:cubicBezTo>
                  <a:cubicBezTo>
                    <a:pt x="87" y="6342"/>
                    <a:pt x="119" y="6285"/>
                    <a:pt x="152" y="6246"/>
                  </a:cubicBezTo>
                  <a:cubicBezTo>
                    <a:pt x="134" y="6239"/>
                    <a:pt x="118" y="6234"/>
                    <a:pt x="104" y="6229"/>
                  </a:cubicBezTo>
                  <a:cubicBezTo>
                    <a:pt x="76" y="6221"/>
                    <a:pt x="44" y="6212"/>
                    <a:pt x="7" y="6203"/>
                  </a:cubicBezTo>
                  <a:cubicBezTo>
                    <a:pt x="7" y="6166"/>
                    <a:pt x="7" y="6166"/>
                    <a:pt x="7" y="6166"/>
                  </a:cubicBezTo>
                  <a:cubicBezTo>
                    <a:pt x="48" y="6176"/>
                    <a:pt x="84" y="6185"/>
                    <a:pt x="115" y="6195"/>
                  </a:cubicBezTo>
                  <a:cubicBezTo>
                    <a:pt x="131" y="6200"/>
                    <a:pt x="150" y="6207"/>
                    <a:pt x="170" y="6215"/>
                  </a:cubicBezTo>
                  <a:cubicBezTo>
                    <a:pt x="1281" y="4182"/>
                    <a:pt x="1281" y="4182"/>
                    <a:pt x="1281" y="4182"/>
                  </a:cubicBezTo>
                  <a:cubicBezTo>
                    <a:pt x="1278" y="4181"/>
                    <a:pt x="1278" y="4180"/>
                    <a:pt x="1276" y="4179"/>
                  </a:cubicBezTo>
                  <a:cubicBezTo>
                    <a:pt x="1271" y="4175"/>
                    <a:pt x="1267" y="4170"/>
                    <a:pt x="1259" y="4161"/>
                  </a:cubicBezTo>
                  <a:cubicBezTo>
                    <a:pt x="1159" y="4045"/>
                    <a:pt x="638" y="3365"/>
                    <a:pt x="541" y="3237"/>
                  </a:cubicBezTo>
                  <a:cubicBezTo>
                    <a:pt x="7" y="3808"/>
                    <a:pt x="7" y="3808"/>
                    <a:pt x="7" y="3808"/>
                  </a:cubicBezTo>
                  <a:cubicBezTo>
                    <a:pt x="7" y="3755"/>
                    <a:pt x="7" y="3755"/>
                    <a:pt x="7" y="3755"/>
                  </a:cubicBezTo>
                  <a:cubicBezTo>
                    <a:pt x="1252" y="2424"/>
                    <a:pt x="1252" y="2424"/>
                    <a:pt x="1252" y="2424"/>
                  </a:cubicBezTo>
                  <a:cubicBezTo>
                    <a:pt x="811" y="2083"/>
                    <a:pt x="811" y="2083"/>
                    <a:pt x="811" y="2083"/>
                  </a:cubicBezTo>
                  <a:cubicBezTo>
                    <a:pt x="809" y="2081"/>
                    <a:pt x="809" y="2081"/>
                    <a:pt x="809" y="2081"/>
                  </a:cubicBezTo>
                  <a:cubicBezTo>
                    <a:pt x="809" y="2080"/>
                    <a:pt x="744" y="1990"/>
                    <a:pt x="711" y="1891"/>
                  </a:cubicBezTo>
                  <a:cubicBezTo>
                    <a:pt x="704" y="1884"/>
                    <a:pt x="678" y="1861"/>
                    <a:pt x="640" y="1829"/>
                  </a:cubicBezTo>
                  <a:cubicBezTo>
                    <a:pt x="517" y="1726"/>
                    <a:pt x="261" y="1516"/>
                    <a:pt x="7" y="1309"/>
                  </a:cubicBezTo>
                  <a:cubicBezTo>
                    <a:pt x="7" y="1263"/>
                    <a:pt x="7" y="1263"/>
                    <a:pt x="7" y="1263"/>
                  </a:cubicBezTo>
                  <a:cubicBezTo>
                    <a:pt x="19" y="1272"/>
                    <a:pt x="30" y="1281"/>
                    <a:pt x="41" y="1290"/>
                  </a:cubicBezTo>
                  <a:cubicBezTo>
                    <a:pt x="214" y="1431"/>
                    <a:pt x="387" y="1573"/>
                    <a:pt x="518" y="1681"/>
                  </a:cubicBezTo>
                  <a:cubicBezTo>
                    <a:pt x="584" y="1735"/>
                    <a:pt x="638" y="1780"/>
                    <a:pt x="677" y="1813"/>
                  </a:cubicBezTo>
                  <a:cubicBezTo>
                    <a:pt x="696" y="1829"/>
                    <a:pt x="712" y="1842"/>
                    <a:pt x="722" y="1852"/>
                  </a:cubicBezTo>
                  <a:cubicBezTo>
                    <a:pt x="728" y="1857"/>
                    <a:pt x="732" y="1861"/>
                    <a:pt x="735" y="1864"/>
                  </a:cubicBezTo>
                  <a:cubicBezTo>
                    <a:pt x="737" y="1865"/>
                    <a:pt x="738" y="1867"/>
                    <a:pt x="739" y="1868"/>
                  </a:cubicBezTo>
                  <a:cubicBezTo>
                    <a:pt x="741" y="1870"/>
                    <a:pt x="742" y="1870"/>
                    <a:pt x="744" y="1875"/>
                  </a:cubicBezTo>
                  <a:cubicBezTo>
                    <a:pt x="745" y="1876"/>
                    <a:pt x="745" y="1876"/>
                    <a:pt x="745" y="1876"/>
                  </a:cubicBezTo>
                  <a:cubicBezTo>
                    <a:pt x="745" y="1876"/>
                    <a:pt x="745" y="1876"/>
                    <a:pt x="745" y="1876"/>
                  </a:cubicBezTo>
                  <a:cubicBezTo>
                    <a:pt x="759" y="1923"/>
                    <a:pt x="783" y="1969"/>
                    <a:pt x="803" y="2003"/>
                  </a:cubicBezTo>
                  <a:cubicBezTo>
                    <a:pt x="819" y="2032"/>
                    <a:pt x="833" y="2052"/>
                    <a:pt x="837" y="2058"/>
                  </a:cubicBezTo>
                  <a:cubicBezTo>
                    <a:pt x="1278" y="2398"/>
                    <a:pt x="1278" y="2398"/>
                    <a:pt x="1278" y="2398"/>
                  </a:cubicBezTo>
                  <a:cubicBezTo>
                    <a:pt x="1271" y="2406"/>
                    <a:pt x="1271" y="2406"/>
                    <a:pt x="1271" y="2406"/>
                  </a:cubicBezTo>
                  <a:cubicBezTo>
                    <a:pt x="1340" y="2346"/>
                    <a:pt x="1616" y="2106"/>
                    <a:pt x="1894" y="1866"/>
                  </a:cubicBezTo>
                  <a:cubicBezTo>
                    <a:pt x="2054" y="1727"/>
                    <a:pt x="2215" y="1589"/>
                    <a:pt x="2336" y="1485"/>
                  </a:cubicBezTo>
                  <a:cubicBezTo>
                    <a:pt x="2397" y="1433"/>
                    <a:pt x="2448" y="1390"/>
                    <a:pt x="2484" y="1359"/>
                  </a:cubicBezTo>
                  <a:cubicBezTo>
                    <a:pt x="2502" y="1344"/>
                    <a:pt x="2517" y="1332"/>
                    <a:pt x="2527" y="1324"/>
                  </a:cubicBezTo>
                  <a:cubicBezTo>
                    <a:pt x="2529" y="1322"/>
                    <a:pt x="2529" y="1322"/>
                    <a:pt x="2531" y="1321"/>
                  </a:cubicBezTo>
                  <a:cubicBezTo>
                    <a:pt x="2542" y="1301"/>
                    <a:pt x="2542" y="1301"/>
                    <a:pt x="2542" y="1301"/>
                  </a:cubicBezTo>
                  <a:cubicBezTo>
                    <a:pt x="2539" y="1297"/>
                    <a:pt x="2536" y="1293"/>
                    <a:pt x="2534" y="1289"/>
                  </a:cubicBezTo>
                  <a:cubicBezTo>
                    <a:pt x="2512" y="1241"/>
                    <a:pt x="2495" y="1175"/>
                    <a:pt x="2482" y="1118"/>
                  </a:cubicBezTo>
                  <a:cubicBezTo>
                    <a:pt x="2471" y="1066"/>
                    <a:pt x="2463" y="1023"/>
                    <a:pt x="2462" y="1016"/>
                  </a:cubicBezTo>
                  <a:cubicBezTo>
                    <a:pt x="2253" y="0"/>
                    <a:pt x="2253" y="0"/>
                    <a:pt x="2253" y="0"/>
                  </a:cubicBezTo>
                  <a:cubicBezTo>
                    <a:pt x="2370" y="0"/>
                    <a:pt x="2370" y="0"/>
                    <a:pt x="2370" y="0"/>
                  </a:cubicBezTo>
                  <a:cubicBezTo>
                    <a:pt x="2575" y="995"/>
                    <a:pt x="2575" y="995"/>
                    <a:pt x="2575" y="995"/>
                  </a:cubicBezTo>
                  <a:cubicBezTo>
                    <a:pt x="2575" y="996"/>
                    <a:pt x="2575" y="996"/>
                    <a:pt x="2575" y="996"/>
                  </a:cubicBezTo>
                  <a:cubicBezTo>
                    <a:pt x="2575" y="996"/>
                    <a:pt x="2582" y="1040"/>
                    <a:pt x="2594" y="1093"/>
                  </a:cubicBezTo>
                  <a:cubicBezTo>
                    <a:pt x="2606" y="1146"/>
                    <a:pt x="2623" y="1210"/>
                    <a:pt x="2638" y="1239"/>
                  </a:cubicBezTo>
                  <a:cubicBezTo>
                    <a:pt x="2649" y="1263"/>
                    <a:pt x="2672" y="1285"/>
                    <a:pt x="2703" y="1303"/>
                  </a:cubicBezTo>
                  <a:cubicBezTo>
                    <a:pt x="2733" y="1321"/>
                    <a:pt x="2768" y="1335"/>
                    <a:pt x="2796" y="1345"/>
                  </a:cubicBezTo>
                  <a:cubicBezTo>
                    <a:pt x="2854" y="1366"/>
                    <a:pt x="3623" y="1643"/>
                    <a:pt x="3900" y="1735"/>
                  </a:cubicBezTo>
                  <a:cubicBezTo>
                    <a:pt x="3924" y="1742"/>
                    <a:pt x="3947" y="1751"/>
                    <a:pt x="3971" y="1761"/>
                  </a:cubicBezTo>
                  <a:cubicBezTo>
                    <a:pt x="3971" y="1761"/>
                    <a:pt x="3971" y="1761"/>
                    <a:pt x="3971" y="1761"/>
                  </a:cubicBezTo>
                  <a:cubicBezTo>
                    <a:pt x="3973" y="1760"/>
                    <a:pt x="3978" y="1752"/>
                    <a:pt x="3982" y="1745"/>
                  </a:cubicBezTo>
                  <a:cubicBezTo>
                    <a:pt x="4049" y="1410"/>
                    <a:pt x="4049" y="1410"/>
                    <a:pt x="4049" y="1410"/>
                  </a:cubicBezTo>
                  <a:cubicBezTo>
                    <a:pt x="4050" y="1408"/>
                    <a:pt x="4050" y="1408"/>
                    <a:pt x="4050" y="1408"/>
                  </a:cubicBezTo>
                  <a:cubicBezTo>
                    <a:pt x="4050" y="1407"/>
                    <a:pt x="4078" y="1356"/>
                    <a:pt x="4119" y="1287"/>
                  </a:cubicBezTo>
                  <a:cubicBezTo>
                    <a:pt x="4139" y="1255"/>
                    <a:pt x="4157" y="1204"/>
                    <a:pt x="4171" y="1162"/>
                  </a:cubicBezTo>
                  <a:cubicBezTo>
                    <a:pt x="4184" y="1119"/>
                    <a:pt x="4193" y="1086"/>
                    <a:pt x="4193" y="1086"/>
                  </a:cubicBezTo>
                  <a:cubicBezTo>
                    <a:pt x="4193" y="1084"/>
                    <a:pt x="4193" y="1084"/>
                    <a:pt x="4193" y="1084"/>
                  </a:cubicBezTo>
                  <a:cubicBezTo>
                    <a:pt x="4432" y="619"/>
                    <a:pt x="4432" y="619"/>
                    <a:pt x="4432" y="619"/>
                  </a:cubicBezTo>
                  <a:cubicBezTo>
                    <a:pt x="4409" y="53"/>
                    <a:pt x="4409" y="53"/>
                    <a:pt x="4409" y="53"/>
                  </a:cubicBezTo>
                  <a:cubicBezTo>
                    <a:pt x="4362" y="0"/>
                    <a:pt x="4362" y="0"/>
                    <a:pt x="4362" y="0"/>
                  </a:cubicBezTo>
                  <a:cubicBezTo>
                    <a:pt x="4410" y="0"/>
                    <a:pt x="4410" y="0"/>
                    <a:pt x="4410" y="0"/>
                  </a:cubicBezTo>
                  <a:cubicBezTo>
                    <a:pt x="4434" y="28"/>
                    <a:pt x="4434" y="28"/>
                    <a:pt x="4434" y="28"/>
                  </a:cubicBezTo>
                  <a:cubicBezTo>
                    <a:pt x="4563" y="23"/>
                    <a:pt x="4671" y="12"/>
                    <a:pt x="4760" y="0"/>
                  </a:cubicBezTo>
                  <a:cubicBezTo>
                    <a:pt x="4966" y="0"/>
                    <a:pt x="4966" y="0"/>
                    <a:pt x="4966" y="0"/>
                  </a:cubicBezTo>
                  <a:cubicBezTo>
                    <a:pt x="4866" y="23"/>
                    <a:pt x="4694" y="53"/>
                    <a:pt x="4445" y="64"/>
                  </a:cubicBezTo>
                  <a:cubicBezTo>
                    <a:pt x="4468" y="607"/>
                    <a:pt x="4468" y="607"/>
                    <a:pt x="4468" y="607"/>
                  </a:cubicBezTo>
                  <a:cubicBezTo>
                    <a:pt x="4470" y="604"/>
                    <a:pt x="4470" y="604"/>
                    <a:pt x="4470" y="604"/>
                  </a:cubicBezTo>
                  <a:cubicBezTo>
                    <a:pt x="4470" y="604"/>
                    <a:pt x="4514" y="628"/>
                    <a:pt x="4595" y="664"/>
                  </a:cubicBezTo>
                  <a:cubicBezTo>
                    <a:pt x="4676" y="699"/>
                    <a:pt x="4793" y="745"/>
                    <a:pt x="4936" y="788"/>
                  </a:cubicBezTo>
                  <a:cubicBezTo>
                    <a:pt x="5100" y="837"/>
                    <a:pt x="5267" y="886"/>
                    <a:pt x="5402" y="921"/>
                  </a:cubicBezTo>
                  <a:cubicBezTo>
                    <a:pt x="5407" y="901"/>
                    <a:pt x="5420" y="857"/>
                    <a:pt x="5433" y="809"/>
                  </a:cubicBezTo>
                  <a:cubicBezTo>
                    <a:pt x="5450" y="743"/>
                    <a:pt x="5468" y="666"/>
                    <a:pt x="5469" y="636"/>
                  </a:cubicBezTo>
                  <a:cubicBezTo>
                    <a:pt x="5473" y="565"/>
                    <a:pt x="5488" y="539"/>
                    <a:pt x="5508" y="486"/>
                  </a:cubicBezTo>
                  <a:cubicBezTo>
                    <a:pt x="5514" y="473"/>
                    <a:pt x="5524" y="464"/>
                    <a:pt x="5538" y="450"/>
                  </a:cubicBezTo>
                  <a:cubicBezTo>
                    <a:pt x="5587" y="407"/>
                    <a:pt x="5689" y="339"/>
                    <a:pt x="5782" y="280"/>
                  </a:cubicBezTo>
                  <a:cubicBezTo>
                    <a:pt x="5828" y="251"/>
                    <a:pt x="5872" y="225"/>
                    <a:pt x="5904" y="206"/>
                  </a:cubicBezTo>
                  <a:cubicBezTo>
                    <a:pt x="5918" y="198"/>
                    <a:pt x="5929" y="191"/>
                    <a:pt x="5950" y="180"/>
                  </a:cubicBezTo>
                  <a:cubicBezTo>
                    <a:pt x="5968" y="211"/>
                    <a:pt x="5968" y="211"/>
                    <a:pt x="5968" y="211"/>
                  </a:cubicBezTo>
                  <a:cubicBezTo>
                    <a:pt x="5919" y="239"/>
                    <a:pt x="5831" y="291"/>
                    <a:pt x="5747" y="346"/>
                  </a:cubicBezTo>
                  <a:cubicBezTo>
                    <a:pt x="5696" y="379"/>
                    <a:pt x="5645" y="412"/>
                    <a:pt x="5607" y="441"/>
                  </a:cubicBezTo>
                  <a:cubicBezTo>
                    <a:pt x="5588" y="455"/>
                    <a:pt x="5572" y="468"/>
                    <a:pt x="5560" y="479"/>
                  </a:cubicBezTo>
                  <a:cubicBezTo>
                    <a:pt x="5549" y="489"/>
                    <a:pt x="5542" y="499"/>
                    <a:pt x="5542" y="499"/>
                  </a:cubicBezTo>
                  <a:cubicBezTo>
                    <a:pt x="5521" y="556"/>
                    <a:pt x="5509" y="572"/>
                    <a:pt x="5505" y="638"/>
                  </a:cubicBezTo>
                  <a:cubicBezTo>
                    <a:pt x="5502" y="702"/>
                    <a:pt x="5451" y="880"/>
                    <a:pt x="5436" y="930"/>
                  </a:cubicBezTo>
                  <a:cubicBezTo>
                    <a:pt x="5523" y="952"/>
                    <a:pt x="5594" y="967"/>
                    <a:pt x="5639" y="969"/>
                  </a:cubicBezTo>
                  <a:cubicBezTo>
                    <a:pt x="5652" y="970"/>
                    <a:pt x="5663" y="970"/>
                    <a:pt x="5674" y="970"/>
                  </a:cubicBezTo>
                  <a:cubicBezTo>
                    <a:pt x="5772" y="970"/>
                    <a:pt x="5830" y="944"/>
                    <a:pt x="5932" y="889"/>
                  </a:cubicBezTo>
                  <a:cubicBezTo>
                    <a:pt x="6045" y="827"/>
                    <a:pt x="6274" y="693"/>
                    <a:pt x="6275" y="693"/>
                  </a:cubicBezTo>
                  <a:cubicBezTo>
                    <a:pt x="6275" y="693"/>
                    <a:pt x="6275" y="693"/>
                    <a:pt x="6275" y="693"/>
                  </a:cubicBezTo>
                  <a:cubicBezTo>
                    <a:pt x="6276" y="693"/>
                    <a:pt x="6276" y="693"/>
                    <a:pt x="6276" y="693"/>
                  </a:cubicBezTo>
                  <a:cubicBezTo>
                    <a:pt x="6277" y="692"/>
                    <a:pt x="6327" y="667"/>
                    <a:pt x="6395" y="667"/>
                  </a:cubicBezTo>
                  <a:cubicBezTo>
                    <a:pt x="6465" y="666"/>
                    <a:pt x="6555" y="696"/>
                    <a:pt x="6619" y="805"/>
                  </a:cubicBezTo>
                  <a:cubicBezTo>
                    <a:pt x="6897" y="1308"/>
                    <a:pt x="6897" y="1308"/>
                    <a:pt x="6897" y="1308"/>
                  </a:cubicBezTo>
                  <a:cubicBezTo>
                    <a:pt x="6897" y="1308"/>
                    <a:pt x="6904" y="1322"/>
                    <a:pt x="6919" y="1343"/>
                  </a:cubicBezTo>
                  <a:cubicBezTo>
                    <a:pt x="6933" y="1364"/>
                    <a:pt x="6954" y="1391"/>
                    <a:pt x="6980" y="1417"/>
                  </a:cubicBezTo>
                  <a:cubicBezTo>
                    <a:pt x="7002" y="1440"/>
                    <a:pt x="7034" y="1458"/>
                    <a:pt x="7064" y="1480"/>
                  </a:cubicBezTo>
                  <a:cubicBezTo>
                    <a:pt x="7066" y="1467"/>
                    <a:pt x="7069" y="1451"/>
                    <a:pt x="7073" y="1435"/>
                  </a:cubicBezTo>
                  <a:cubicBezTo>
                    <a:pt x="7079" y="1402"/>
                    <a:pt x="7085" y="1365"/>
                    <a:pt x="7087" y="1351"/>
                  </a:cubicBezTo>
                  <a:cubicBezTo>
                    <a:pt x="7083" y="1345"/>
                    <a:pt x="7084" y="1342"/>
                    <a:pt x="7084" y="1338"/>
                  </a:cubicBezTo>
                  <a:cubicBezTo>
                    <a:pt x="7084" y="1326"/>
                    <a:pt x="7087" y="1310"/>
                    <a:pt x="7095" y="1294"/>
                  </a:cubicBezTo>
                  <a:cubicBezTo>
                    <a:pt x="7104" y="1279"/>
                    <a:pt x="7119" y="1261"/>
                    <a:pt x="7142" y="1257"/>
                  </a:cubicBezTo>
                  <a:cubicBezTo>
                    <a:pt x="7183" y="1251"/>
                    <a:pt x="7377" y="1216"/>
                    <a:pt x="7430" y="1193"/>
                  </a:cubicBezTo>
                  <a:cubicBezTo>
                    <a:pt x="7487" y="1170"/>
                    <a:pt x="7664" y="1132"/>
                    <a:pt x="7759" y="1122"/>
                  </a:cubicBezTo>
                  <a:cubicBezTo>
                    <a:pt x="7769" y="589"/>
                    <a:pt x="7769" y="589"/>
                    <a:pt x="7769" y="589"/>
                  </a:cubicBezTo>
                  <a:cubicBezTo>
                    <a:pt x="7605" y="268"/>
                    <a:pt x="7605" y="268"/>
                    <a:pt x="7605" y="268"/>
                  </a:cubicBezTo>
                  <a:cubicBezTo>
                    <a:pt x="7599" y="257"/>
                    <a:pt x="7528" y="139"/>
                    <a:pt x="7458" y="21"/>
                  </a:cubicBezTo>
                  <a:cubicBezTo>
                    <a:pt x="7454" y="14"/>
                    <a:pt x="7450" y="7"/>
                    <a:pt x="7446" y="0"/>
                  </a:cubicBezTo>
                  <a:cubicBezTo>
                    <a:pt x="7488" y="0"/>
                    <a:pt x="7488" y="0"/>
                    <a:pt x="7488" y="0"/>
                  </a:cubicBezTo>
                  <a:cubicBezTo>
                    <a:pt x="7562" y="125"/>
                    <a:pt x="7636" y="250"/>
                    <a:pt x="7637" y="250"/>
                  </a:cubicBezTo>
                  <a:cubicBezTo>
                    <a:pt x="7637" y="250"/>
                    <a:pt x="7637" y="250"/>
                    <a:pt x="7637" y="250"/>
                  </a:cubicBezTo>
                  <a:cubicBezTo>
                    <a:pt x="7805" y="581"/>
                    <a:pt x="7805" y="581"/>
                    <a:pt x="7805" y="581"/>
                  </a:cubicBezTo>
                  <a:cubicBezTo>
                    <a:pt x="7795" y="1120"/>
                    <a:pt x="7795" y="1120"/>
                    <a:pt x="7795" y="1120"/>
                  </a:cubicBezTo>
                  <a:cubicBezTo>
                    <a:pt x="7799" y="1120"/>
                    <a:pt x="7802" y="1120"/>
                    <a:pt x="7807" y="1120"/>
                  </a:cubicBezTo>
                  <a:cubicBezTo>
                    <a:pt x="7920" y="1120"/>
                    <a:pt x="8282" y="1141"/>
                    <a:pt x="8464" y="1147"/>
                  </a:cubicBezTo>
                  <a:cubicBezTo>
                    <a:pt x="8488" y="1148"/>
                    <a:pt x="8521" y="1149"/>
                    <a:pt x="8559" y="1149"/>
                  </a:cubicBezTo>
                  <a:cubicBezTo>
                    <a:pt x="8804" y="1149"/>
                    <a:pt x="9279" y="1133"/>
                    <a:pt x="9359" y="1133"/>
                  </a:cubicBezTo>
                  <a:cubicBezTo>
                    <a:pt x="9362" y="1133"/>
                    <a:pt x="9365" y="1133"/>
                    <a:pt x="9367" y="1133"/>
                  </a:cubicBezTo>
                  <a:cubicBezTo>
                    <a:pt x="9367" y="1133"/>
                    <a:pt x="9367" y="1133"/>
                    <a:pt x="9367" y="1133"/>
                  </a:cubicBezTo>
                  <a:cubicBezTo>
                    <a:pt x="9375" y="1129"/>
                    <a:pt x="9399" y="1114"/>
                    <a:pt x="9427" y="1094"/>
                  </a:cubicBezTo>
                  <a:cubicBezTo>
                    <a:pt x="9476" y="1060"/>
                    <a:pt x="9543" y="1013"/>
                    <a:pt x="9599" y="974"/>
                  </a:cubicBezTo>
                  <a:cubicBezTo>
                    <a:pt x="9627" y="954"/>
                    <a:pt x="9652" y="936"/>
                    <a:pt x="9670" y="924"/>
                  </a:cubicBezTo>
                  <a:cubicBezTo>
                    <a:pt x="9680" y="917"/>
                    <a:pt x="9688" y="912"/>
                    <a:pt x="9693" y="908"/>
                  </a:cubicBezTo>
                  <a:cubicBezTo>
                    <a:pt x="9696" y="907"/>
                    <a:pt x="9699" y="905"/>
                    <a:pt x="9701" y="904"/>
                  </a:cubicBezTo>
                  <a:cubicBezTo>
                    <a:pt x="9704" y="903"/>
                    <a:pt x="9703" y="901"/>
                    <a:pt x="9713" y="900"/>
                  </a:cubicBezTo>
                  <a:cubicBezTo>
                    <a:pt x="9816" y="900"/>
                    <a:pt x="9816" y="900"/>
                    <a:pt x="9816" y="900"/>
                  </a:cubicBezTo>
                  <a:cubicBezTo>
                    <a:pt x="9815" y="827"/>
                    <a:pt x="9803" y="526"/>
                    <a:pt x="9791" y="241"/>
                  </a:cubicBezTo>
                  <a:cubicBezTo>
                    <a:pt x="9788" y="157"/>
                    <a:pt x="9784" y="75"/>
                    <a:pt x="9781" y="0"/>
                  </a:cubicBezTo>
                  <a:cubicBezTo>
                    <a:pt x="9817" y="0"/>
                    <a:pt x="9817" y="0"/>
                    <a:pt x="9817" y="0"/>
                  </a:cubicBezTo>
                  <a:cubicBezTo>
                    <a:pt x="9831" y="331"/>
                    <a:pt x="9851" y="803"/>
                    <a:pt x="9852" y="900"/>
                  </a:cubicBezTo>
                  <a:cubicBezTo>
                    <a:pt x="10602" y="900"/>
                    <a:pt x="10602" y="900"/>
                    <a:pt x="10602" y="900"/>
                  </a:cubicBezTo>
                  <a:cubicBezTo>
                    <a:pt x="10604" y="900"/>
                    <a:pt x="10749" y="900"/>
                    <a:pt x="10862" y="1008"/>
                  </a:cubicBezTo>
                  <a:cubicBezTo>
                    <a:pt x="10914" y="1059"/>
                    <a:pt x="11035" y="1165"/>
                    <a:pt x="11143" y="1257"/>
                  </a:cubicBezTo>
                  <a:cubicBezTo>
                    <a:pt x="11217" y="1321"/>
                    <a:pt x="11284" y="1378"/>
                    <a:pt x="11319" y="1408"/>
                  </a:cubicBezTo>
                  <a:cubicBezTo>
                    <a:pt x="11347" y="1421"/>
                    <a:pt x="11347" y="1421"/>
                    <a:pt x="11347" y="1421"/>
                  </a:cubicBezTo>
                  <a:cubicBezTo>
                    <a:pt x="11384" y="1386"/>
                    <a:pt x="11418" y="1352"/>
                    <a:pt x="11449" y="1323"/>
                  </a:cubicBezTo>
                  <a:cubicBezTo>
                    <a:pt x="11495" y="1278"/>
                    <a:pt x="11533" y="1241"/>
                    <a:pt x="11559" y="1216"/>
                  </a:cubicBezTo>
                  <a:cubicBezTo>
                    <a:pt x="11572" y="1203"/>
                    <a:pt x="11583" y="1192"/>
                    <a:pt x="11590" y="1185"/>
                  </a:cubicBezTo>
                  <a:cubicBezTo>
                    <a:pt x="11592" y="1184"/>
                    <a:pt x="11593" y="1182"/>
                    <a:pt x="11595" y="1181"/>
                  </a:cubicBezTo>
                  <a:cubicBezTo>
                    <a:pt x="11598" y="1176"/>
                    <a:pt x="11598" y="1176"/>
                    <a:pt x="11600" y="1173"/>
                  </a:cubicBezTo>
                  <a:cubicBezTo>
                    <a:pt x="11615" y="1157"/>
                    <a:pt x="11655" y="1116"/>
                    <a:pt x="11699" y="1070"/>
                  </a:cubicBezTo>
                  <a:cubicBezTo>
                    <a:pt x="11722" y="1046"/>
                    <a:pt x="11746" y="1020"/>
                    <a:pt x="11765" y="999"/>
                  </a:cubicBezTo>
                  <a:cubicBezTo>
                    <a:pt x="11762" y="987"/>
                    <a:pt x="11762" y="987"/>
                    <a:pt x="11762" y="987"/>
                  </a:cubicBezTo>
                  <a:cubicBezTo>
                    <a:pt x="11725" y="928"/>
                    <a:pt x="11586" y="680"/>
                    <a:pt x="11583" y="252"/>
                  </a:cubicBezTo>
                  <a:cubicBezTo>
                    <a:pt x="11582" y="162"/>
                    <a:pt x="11581" y="78"/>
                    <a:pt x="11579" y="0"/>
                  </a:cubicBezTo>
                  <a:cubicBezTo>
                    <a:pt x="11615" y="0"/>
                    <a:pt x="11615" y="0"/>
                    <a:pt x="11615" y="0"/>
                  </a:cubicBezTo>
                  <a:cubicBezTo>
                    <a:pt x="11617" y="78"/>
                    <a:pt x="11618" y="162"/>
                    <a:pt x="11619" y="252"/>
                  </a:cubicBezTo>
                  <a:cubicBezTo>
                    <a:pt x="11621" y="494"/>
                    <a:pt x="11667" y="676"/>
                    <a:pt x="11712" y="798"/>
                  </a:cubicBezTo>
                  <a:cubicBezTo>
                    <a:pt x="11734" y="859"/>
                    <a:pt x="11757" y="905"/>
                    <a:pt x="11774" y="935"/>
                  </a:cubicBezTo>
                  <a:cubicBezTo>
                    <a:pt x="11776" y="940"/>
                    <a:pt x="11778" y="943"/>
                    <a:pt x="11781" y="947"/>
                  </a:cubicBezTo>
                  <a:cubicBezTo>
                    <a:pt x="11797" y="959"/>
                    <a:pt x="11797" y="959"/>
                    <a:pt x="11797" y="959"/>
                  </a:cubicBezTo>
                  <a:cubicBezTo>
                    <a:pt x="11797" y="959"/>
                    <a:pt x="11797" y="959"/>
                    <a:pt x="11797" y="959"/>
                  </a:cubicBezTo>
                  <a:cubicBezTo>
                    <a:pt x="11819" y="927"/>
                    <a:pt x="11858" y="881"/>
                    <a:pt x="11906" y="835"/>
                  </a:cubicBezTo>
                  <a:cubicBezTo>
                    <a:pt x="11954" y="789"/>
                    <a:pt x="12010" y="743"/>
                    <a:pt x="12069" y="716"/>
                  </a:cubicBezTo>
                  <a:cubicBezTo>
                    <a:pt x="12182" y="665"/>
                    <a:pt x="12300" y="664"/>
                    <a:pt x="12422" y="659"/>
                  </a:cubicBezTo>
                  <a:cubicBezTo>
                    <a:pt x="12487" y="657"/>
                    <a:pt x="12926" y="655"/>
                    <a:pt x="13370" y="652"/>
                  </a:cubicBezTo>
                  <a:cubicBezTo>
                    <a:pt x="13591" y="651"/>
                    <a:pt x="13812" y="650"/>
                    <a:pt x="13986" y="648"/>
                  </a:cubicBezTo>
                  <a:cubicBezTo>
                    <a:pt x="13994" y="648"/>
                    <a:pt x="14002" y="648"/>
                    <a:pt x="14009" y="648"/>
                  </a:cubicBezTo>
                  <a:cubicBezTo>
                    <a:pt x="14012" y="642"/>
                    <a:pt x="14012" y="642"/>
                    <a:pt x="14012" y="642"/>
                  </a:cubicBezTo>
                  <a:cubicBezTo>
                    <a:pt x="14017" y="631"/>
                    <a:pt x="14029" y="598"/>
                    <a:pt x="14043" y="558"/>
                  </a:cubicBezTo>
                  <a:cubicBezTo>
                    <a:pt x="14088" y="430"/>
                    <a:pt x="14159" y="211"/>
                    <a:pt x="14176" y="161"/>
                  </a:cubicBezTo>
                  <a:cubicBezTo>
                    <a:pt x="14020" y="0"/>
                    <a:pt x="14020" y="0"/>
                    <a:pt x="14020" y="0"/>
                  </a:cubicBezTo>
                  <a:cubicBezTo>
                    <a:pt x="14040" y="0"/>
                    <a:pt x="14040" y="0"/>
                    <a:pt x="14040" y="0"/>
                  </a:cubicBezTo>
                  <a:cubicBezTo>
                    <a:pt x="14070" y="0"/>
                    <a:pt x="14070" y="0"/>
                    <a:pt x="14070" y="0"/>
                  </a:cubicBezTo>
                  <a:cubicBezTo>
                    <a:pt x="14077" y="0"/>
                    <a:pt x="14077" y="0"/>
                    <a:pt x="14077" y="0"/>
                  </a:cubicBezTo>
                  <a:cubicBezTo>
                    <a:pt x="14221" y="145"/>
                    <a:pt x="14221" y="145"/>
                    <a:pt x="14221" y="145"/>
                  </a:cubicBezTo>
                  <a:cubicBezTo>
                    <a:pt x="14219" y="153"/>
                    <a:pt x="14219" y="153"/>
                    <a:pt x="14219" y="153"/>
                  </a:cubicBezTo>
                  <a:cubicBezTo>
                    <a:pt x="14219" y="153"/>
                    <a:pt x="14179" y="281"/>
                    <a:pt x="14138" y="410"/>
                  </a:cubicBezTo>
                  <a:cubicBezTo>
                    <a:pt x="14117" y="474"/>
                    <a:pt x="14096" y="538"/>
                    <a:pt x="14079" y="586"/>
                  </a:cubicBezTo>
                  <a:cubicBezTo>
                    <a:pt x="14071" y="607"/>
                    <a:pt x="14065" y="625"/>
                    <a:pt x="14059" y="639"/>
                  </a:cubicBezTo>
                  <a:cubicBezTo>
                    <a:pt x="14060" y="647"/>
                    <a:pt x="14060" y="647"/>
                    <a:pt x="14060" y="647"/>
                  </a:cubicBezTo>
                  <a:cubicBezTo>
                    <a:pt x="14195" y="646"/>
                    <a:pt x="14292" y="644"/>
                    <a:pt x="14315" y="642"/>
                  </a:cubicBezTo>
                  <a:cubicBezTo>
                    <a:pt x="14378" y="637"/>
                    <a:pt x="14460" y="631"/>
                    <a:pt x="14534" y="616"/>
                  </a:cubicBezTo>
                  <a:cubicBezTo>
                    <a:pt x="14608" y="603"/>
                    <a:pt x="14674" y="579"/>
                    <a:pt x="14701" y="553"/>
                  </a:cubicBezTo>
                  <a:cubicBezTo>
                    <a:pt x="14775" y="488"/>
                    <a:pt x="14834" y="375"/>
                    <a:pt x="14846" y="346"/>
                  </a:cubicBezTo>
                  <a:cubicBezTo>
                    <a:pt x="14851" y="336"/>
                    <a:pt x="14919" y="189"/>
                    <a:pt x="15006" y="0"/>
                  </a:cubicBezTo>
                  <a:cubicBezTo>
                    <a:pt x="15133" y="0"/>
                    <a:pt x="15133" y="0"/>
                    <a:pt x="15133" y="0"/>
                  </a:cubicBezTo>
                  <a:cubicBezTo>
                    <a:pt x="15035" y="212"/>
                    <a:pt x="14956" y="383"/>
                    <a:pt x="14951" y="394"/>
                  </a:cubicBezTo>
                  <a:cubicBezTo>
                    <a:pt x="14934" y="430"/>
                    <a:pt x="14874" y="552"/>
                    <a:pt x="14777" y="639"/>
                  </a:cubicBezTo>
                  <a:cubicBezTo>
                    <a:pt x="14718" y="690"/>
                    <a:pt x="14638" y="713"/>
                    <a:pt x="14556" y="729"/>
                  </a:cubicBezTo>
                  <a:cubicBezTo>
                    <a:pt x="14473" y="745"/>
                    <a:pt x="14388" y="752"/>
                    <a:pt x="14324" y="757"/>
                  </a:cubicBezTo>
                  <a:cubicBezTo>
                    <a:pt x="14286" y="759"/>
                    <a:pt x="14162" y="761"/>
                    <a:pt x="13987" y="763"/>
                  </a:cubicBezTo>
                  <a:cubicBezTo>
                    <a:pt x="13672" y="766"/>
                    <a:pt x="13201" y="768"/>
                    <a:pt x="12858" y="770"/>
                  </a:cubicBezTo>
                  <a:cubicBezTo>
                    <a:pt x="12857" y="785"/>
                    <a:pt x="12857" y="785"/>
                    <a:pt x="12857" y="785"/>
                  </a:cubicBezTo>
                  <a:cubicBezTo>
                    <a:pt x="12859" y="799"/>
                    <a:pt x="12863" y="819"/>
                    <a:pt x="12868" y="842"/>
                  </a:cubicBezTo>
                  <a:cubicBezTo>
                    <a:pt x="12870" y="854"/>
                    <a:pt x="12873" y="867"/>
                    <a:pt x="12877" y="880"/>
                  </a:cubicBezTo>
                  <a:cubicBezTo>
                    <a:pt x="12984" y="876"/>
                    <a:pt x="13099" y="875"/>
                    <a:pt x="13221" y="875"/>
                  </a:cubicBezTo>
                  <a:cubicBezTo>
                    <a:pt x="13444" y="875"/>
                    <a:pt x="13688" y="879"/>
                    <a:pt x="13934" y="879"/>
                  </a:cubicBezTo>
                  <a:cubicBezTo>
                    <a:pt x="13956" y="879"/>
                    <a:pt x="13979" y="879"/>
                    <a:pt x="14002" y="879"/>
                  </a:cubicBezTo>
                  <a:cubicBezTo>
                    <a:pt x="14331" y="878"/>
                    <a:pt x="14539" y="856"/>
                    <a:pt x="14681" y="823"/>
                  </a:cubicBezTo>
                  <a:cubicBezTo>
                    <a:pt x="14824" y="789"/>
                    <a:pt x="14901" y="747"/>
                    <a:pt x="14983" y="693"/>
                  </a:cubicBezTo>
                  <a:cubicBezTo>
                    <a:pt x="14983" y="693"/>
                    <a:pt x="14986" y="692"/>
                    <a:pt x="14990" y="687"/>
                  </a:cubicBezTo>
                  <a:cubicBezTo>
                    <a:pt x="15007" y="671"/>
                    <a:pt x="15039" y="628"/>
                    <a:pt x="15076" y="569"/>
                  </a:cubicBezTo>
                  <a:cubicBezTo>
                    <a:pt x="15160" y="437"/>
                    <a:pt x="15272" y="226"/>
                    <a:pt x="15387" y="0"/>
                  </a:cubicBezTo>
                  <a:cubicBezTo>
                    <a:pt x="15543" y="0"/>
                    <a:pt x="15543" y="0"/>
                    <a:pt x="15543" y="0"/>
                  </a:cubicBezTo>
                  <a:cubicBezTo>
                    <a:pt x="15459" y="168"/>
                    <a:pt x="15374" y="331"/>
                    <a:pt x="15298" y="467"/>
                  </a:cubicBezTo>
                  <a:cubicBezTo>
                    <a:pt x="15250" y="552"/>
                    <a:pt x="15206" y="626"/>
                    <a:pt x="15168" y="684"/>
                  </a:cubicBezTo>
                  <a:cubicBezTo>
                    <a:pt x="15149" y="713"/>
                    <a:pt x="15131" y="737"/>
                    <a:pt x="15114" y="758"/>
                  </a:cubicBezTo>
                  <a:cubicBezTo>
                    <a:pt x="15096" y="779"/>
                    <a:pt x="15081" y="796"/>
                    <a:pt x="15059" y="810"/>
                  </a:cubicBezTo>
                  <a:cubicBezTo>
                    <a:pt x="14972" y="868"/>
                    <a:pt x="14871" y="922"/>
                    <a:pt x="14713" y="959"/>
                  </a:cubicBezTo>
                  <a:cubicBezTo>
                    <a:pt x="14555" y="996"/>
                    <a:pt x="14338" y="1017"/>
                    <a:pt x="14002" y="1018"/>
                  </a:cubicBezTo>
                  <a:cubicBezTo>
                    <a:pt x="13979" y="1018"/>
                    <a:pt x="13957" y="1018"/>
                    <a:pt x="13934" y="1018"/>
                  </a:cubicBezTo>
                  <a:cubicBezTo>
                    <a:pt x="13686" y="1018"/>
                    <a:pt x="13442" y="1014"/>
                    <a:pt x="13221" y="1014"/>
                  </a:cubicBezTo>
                  <a:cubicBezTo>
                    <a:pt x="13271" y="1016"/>
                    <a:pt x="13271" y="1016"/>
                    <a:pt x="13271" y="1016"/>
                  </a:cubicBezTo>
                  <a:cubicBezTo>
                    <a:pt x="13213" y="1016"/>
                    <a:pt x="13089" y="1045"/>
                    <a:pt x="12940" y="1076"/>
                  </a:cubicBezTo>
                  <a:cubicBezTo>
                    <a:pt x="13003" y="1240"/>
                    <a:pt x="13112" y="1548"/>
                    <a:pt x="13140" y="1656"/>
                  </a:cubicBezTo>
                  <a:cubicBezTo>
                    <a:pt x="13165" y="1753"/>
                    <a:pt x="13187" y="1889"/>
                    <a:pt x="13194" y="1930"/>
                  </a:cubicBezTo>
                  <a:cubicBezTo>
                    <a:pt x="13258" y="1902"/>
                    <a:pt x="13323" y="1901"/>
                    <a:pt x="13371" y="1899"/>
                  </a:cubicBezTo>
                  <a:cubicBezTo>
                    <a:pt x="13372" y="1899"/>
                    <a:pt x="13372" y="1899"/>
                    <a:pt x="13372" y="1899"/>
                  </a:cubicBezTo>
                  <a:cubicBezTo>
                    <a:pt x="13373" y="1899"/>
                    <a:pt x="13373" y="1899"/>
                    <a:pt x="13373" y="1899"/>
                  </a:cubicBezTo>
                  <a:cubicBezTo>
                    <a:pt x="13373" y="1899"/>
                    <a:pt x="13528" y="1903"/>
                    <a:pt x="13742" y="1906"/>
                  </a:cubicBezTo>
                  <a:cubicBezTo>
                    <a:pt x="13956" y="1909"/>
                    <a:pt x="14228" y="1913"/>
                    <a:pt x="14462" y="1913"/>
                  </a:cubicBezTo>
                  <a:cubicBezTo>
                    <a:pt x="14694" y="1913"/>
                    <a:pt x="14890" y="1909"/>
                    <a:pt x="14945" y="1899"/>
                  </a:cubicBezTo>
                  <a:cubicBezTo>
                    <a:pt x="15122" y="1868"/>
                    <a:pt x="15700" y="1824"/>
                    <a:pt x="16203" y="1690"/>
                  </a:cubicBezTo>
                  <a:cubicBezTo>
                    <a:pt x="16699" y="1559"/>
                    <a:pt x="17413" y="1025"/>
                    <a:pt x="17860" y="732"/>
                  </a:cubicBezTo>
                  <a:cubicBezTo>
                    <a:pt x="17853" y="722"/>
                    <a:pt x="17845" y="712"/>
                    <a:pt x="17838" y="703"/>
                  </a:cubicBezTo>
                  <a:cubicBezTo>
                    <a:pt x="17708" y="543"/>
                    <a:pt x="17490" y="301"/>
                    <a:pt x="17025" y="0"/>
                  </a:cubicBezTo>
                  <a:cubicBezTo>
                    <a:pt x="17091" y="0"/>
                    <a:pt x="17091" y="0"/>
                    <a:pt x="17091" y="0"/>
                  </a:cubicBezTo>
                  <a:cubicBezTo>
                    <a:pt x="17527" y="289"/>
                    <a:pt x="17739" y="524"/>
                    <a:pt x="17866" y="680"/>
                  </a:cubicBezTo>
                  <a:cubicBezTo>
                    <a:pt x="17874" y="690"/>
                    <a:pt x="17882" y="701"/>
                    <a:pt x="17890" y="712"/>
                  </a:cubicBezTo>
                  <a:cubicBezTo>
                    <a:pt x="17929" y="686"/>
                    <a:pt x="17969" y="658"/>
                    <a:pt x="18011" y="628"/>
                  </a:cubicBezTo>
                  <a:lnTo>
                    <a:pt x="18011" y="673"/>
                  </a:lnTo>
                  <a:close/>
                  <a:moveTo>
                    <a:pt x="12905" y="1083"/>
                  </a:moveTo>
                  <a:cubicBezTo>
                    <a:pt x="12903" y="1083"/>
                    <a:pt x="12902" y="1084"/>
                    <a:pt x="12901" y="1084"/>
                  </a:cubicBezTo>
                  <a:cubicBezTo>
                    <a:pt x="12788" y="1107"/>
                    <a:pt x="12659" y="1124"/>
                    <a:pt x="12555" y="1153"/>
                  </a:cubicBezTo>
                  <a:cubicBezTo>
                    <a:pt x="12381" y="1200"/>
                    <a:pt x="12269" y="1255"/>
                    <a:pt x="12241" y="1271"/>
                  </a:cubicBezTo>
                  <a:cubicBezTo>
                    <a:pt x="12171" y="1310"/>
                    <a:pt x="11805" y="1605"/>
                    <a:pt x="11625" y="1731"/>
                  </a:cubicBezTo>
                  <a:cubicBezTo>
                    <a:pt x="11578" y="1774"/>
                    <a:pt x="11531" y="1818"/>
                    <a:pt x="11485" y="1861"/>
                  </a:cubicBezTo>
                  <a:cubicBezTo>
                    <a:pt x="11340" y="1998"/>
                    <a:pt x="11203" y="2128"/>
                    <a:pt x="11092" y="2230"/>
                  </a:cubicBezTo>
                  <a:cubicBezTo>
                    <a:pt x="11036" y="2281"/>
                    <a:pt x="10987" y="2325"/>
                    <a:pt x="10947" y="2360"/>
                  </a:cubicBezTo>
                  <a:cubicBezTo>
                    <a:pt x="10906" y="2395"/>
                    <a:pt x="10876" y="2419"/>
                    <a:pt x="10849" y="2435"/>
                  </a:cubicBezTo>
                  <a:cubicBezTo>
                    <a:pt x="10829" y="2447"/>
                    <a:pt x="10808" y="2455"/>
                    <a:pt x="10776" y="2467"/>
                  </a:cubicBezTo>
                  <a:cubicBezTo>
                    <a:pt x="10729" y="2484"/>
                    <a:pt x="10664" y="2505"/>
                    <a:pt x="10584" y="2530"/>
                  </a:cubicBezTo>
                  <a:cubicBezTo>
                    <a:pt x="10616" y="2651"/>
                    <a:pt x="10657" y="2803"/>
                    <a:pt x="10696" y="2958"/>
                  </a:cubicBezTo>
                  <a:cubicBezTo>
                    <a:pt x="10697" y="2958"/>
                    <a:pt x="10697" y="2957"/>
                    <a:pt x="10698" y="2957"/>
                  </a:cubicBezTo>
                  <a:cubicBezTo>
                    <a:pt x="10700" y="2956"/>
                    <a:pt x="10700" y="2956"/>
                    <a:pt x="10700" y="2956"/>
                  </a:cubicBezTo>
                  <a:cubicBezTo>
                    <a:pt x="10700" y="2956"/>
                    <a:pt x="10700" y="2956"/>
                    <a:pt x="10700" y="2956"/>
                  </a:cubicBezTo>
                  <a:cubicBezTo>
                    <a:pt x="10706" y="2956"/>
                    <a:pt x="12290" y="2922"/>
                    <a:pt x="12291" y="2922"/>
                  </a:cubicBezTo>
                  <a:cubicBezTo>
                    <a:pt x="12290" y="2922"/>
                    <a:pt x="12293" y="2922"/>
                    <a:pt x="12298" y="2922"/>
                  </a:cubicBezTo>
                  <a:cubicBezTo>
                    <a:pt x="12317" y="2922"/>
                    <a:pt x="12367" y="2924"/>
                    <a:pt x="12422" y="2942"/>
                  </a:cubicBezTo>
                  <a:cubicBezTo>
                    <a:pt x="12434" y="2914"/>
                    <a:pt x="12476" y="2816"/>
                    <a:pt x="12494" y="2778"/>
                  </a:cubicBezTo>
                  <a:cubicBezTo>
                    <a:pt x="12502" y="2762"/>
                    <a:pt x="12529" y="2727"/>
                    <a:pt x="12568" y="2675"/>
                  </a:cubicBezTo>
                  <a:cubicBezTo>
                    <a:pt x="12682" y="2529"/>
                    <a:pt x="12889" y="2275"/>
                    <a:pt x="12901" y="2260"/>
                  </a:cubicBezTo>
                  <a:cubicBezTo>
                    <a:pt x="12909" y="2249"/>
                    <a:pt x="13014" y="2092"/>
                    <a:pt x="13094" y="2001"/>
                  </a:cubicBezTo>
                  <a:cubicBezTo>
                    <a:pt x="13115" y="1978"/>
                    <a:pt x="13137" y="1961"/>
                    <a:pt x="13160" y="1947"/>
                  </a:cubicBezTo>
                  <a:cubicBezTo>
                    <a:pt x="13158" y="1938"/>
                    <a:pt x="13133" y="1775"/>
                    <a:pt x="13105" y="1665"/>
                  </a:cubicBezTo>
                  <a:cubicBezTo>
                    <a:pt x="13078" y="1560"/>
                    <a:pt x="12967" y="1245"/>
                    <a:pt x="12905" y="1083"/>
                  </a:cubicBezTo>
                  <a:close/>
                  <a:moveTo>
                    <a:pt x="13066" y="4821"/>
                  </a:moveTo>
                  <a:cubicBezTo>
                    <a:pt x="13074" y="4809"/>
                    <a:pt x="13089" y="4785"/>
                    <a:pt x="13110" y="4749"/>
                  </a:cubicBezTo>
                  <a:cubicBezTo>
                    <a:pt x="13143" y="4693"/>
                    <a:pt x="13188" y="4611"/>
                    <a:pt x="13239" y="4501"/>
                  </a:cubicBezTo>
                  <a:cubicBezTo>
                    <a:pt x="13274" y="4427"/>
                    <a:pt x="13285" y="4362"/>
                    <a:pt x="13285" y="4309"/>
                  </a:cubicBezTo>
                  <a:cubicBezTo>
                    <a:pt x="13285" y="4260"/>
                    <a:pt x="13275" y="4221"/>
                    <a:pt x="13266" y="4195"/>
                  </a:cubicBezTo>
                  <a:cubicBezTo>
                    <a:pt x="13261" y="4181"/>
                    <a:pt x="13256" y="4171"/>
                    <a:pt x="13253" y="4164"/>
                  </a:cubicBezTo>
                  <a:cubicBezTo>
                    <a:pt x="13249" y="4158"/>
                    <a:pt x="13247" y="4155"/>
                    <a:pt x="13247" y="4155"/>
                  </a:cubicBezTo>
                  <a:cubicBezTo>
                    <a:pt x="12508" y="3031"/>
                    <a:pt x="12508" y="3031"/>
                    <a:pt x="12508" y="3031"/>
                  </a:cubicBezTo>
                  <a:cubicBezTo>
                    <a:pt x="12435" y="2964"/>
                    <a:pt x="12326" y="2958"/>
                    <a:pt x="12298" y="2958"/>
                  </a:cubicBezTo>
                  <a:cubicBezTo>
                    <a:pt x="12294" y="2958"/>
                    <a:pt x="12292" y="2958"/>
                    <a:pt x="12292" y="2958"/>
                  </a:cubicBezTo>
                  <a:cubicBezTo>
                    <a:pt x="12290" y="2958"/>
                    <a:pt x="11894" y="2967"/>
                    <a:pt x="11497" y="2975"/>
                  </a:cubicBezTo>
                  <a:cubicBezTo>
                    <a:pt x="11298" y="2980"/>
                    <a:pt x="11099" y="2984"/>
                    <a:pt x="10950" y="2987"/>
                  </a:cubicBezTo>
                  <a:cubicBezTo>
                    <a:pt x="10876" y="2989"/>
                    <a:pt x="10814" y="2990"/>
                    <a:pt x="10770" y="2991"/>
                  </a:cubicBezTo>
                  <a:cubicBezTo>
                    <a:pt x="10749" y="2991"/>
                    <a:pt x="10731" y="2992"/>
                    <a:pt x="10720" y="2992"/>
                  </a:cubicBezTo>
                  <a:cubicBezTo>
                    <a:pt x="10714" y="2992"/>
                    <a:pt x="10710" y="2992"/>
                    <a:pt x="10707" y="2992"/>
                  </a:cubicBezTo>
                  <a:cubicBezTo>
                    <a:pt x="10706" y="2992"/>
                    <a:pt x="10705" y="2992"/>
                    <a:pt x="10705" y="2992"/>
                  </a:cubicBezTo>
                  <a:cubicBezTo>
                    <a:pt x="10796" y="3357"/>
                    <a:pt x="10882" y="3728"/>
                    <a:pt x="10894" y="3762"/>
                  </a:cubicBezTo>
                  <a:cubicBezTo>
                    <a:pt x="10906" y="3799"/>
                    <a:pt x="10948" y="3951"/>
                    <a:pt x="11022" y="4103"/>
                  </a:cubicBezTo>
                  <a:cubicBezTo>
                    <a:pt x="11095" y="4256"/>
                    <a:pt x="11202" y="4406"/>
                    <a:pt x="11334" y="4440"/>
                  </a:cubicBezTo>
                  <a:cubicBezTo>
                    <a:pt x="11463" y="4474"/>
                    <a:pt x="11592" y="4483"/>
                    <a:pt x="11702" y="4483"/>
                  </a:cubicBezTo>
                  <a:cubicBezTo>
                    <a:pt x="11832" y="4483"/>
                    <a:pt x="11933" y="4470"/>
                    <a:pt x="11979" y="4470"/>
                  </a:cubicBezTo>
                  <a:cubicBezTo>
                    <a:pt x="12018" y="4470"/>
                    <a:pt x="12087" y="4471"/>
                    <a:pt x="12151" y="4502"/>
                  </a:cubicBezTo>
                  <a:cubicBezTo>
                    <a:pt x="12212" y="4531"/>
                    <a:pt x="12268" y="4590"/>
                    <a:pt x="12290" y="4694"/>
                  </a:cubicBezTo>
                  <a:cubicBezTo>
                    <a:pt x="12360" y="4698"/>
                    <a:pt x="12711" y="4722"/>
                    <a:pt x="12896" y="4772"/>
                  </a:cubicBezTo>
                  <a:lnTo>
                    <a:pt x="13066" y="4821"/>
                  </a:lnTo>
                  <a:close/>
                  <a:moveTo>
                    <a:pt x="12495" y="8730"/>
                  </a:moveTo>
                  <a:cubicBezTo>
                    <a:pt x="12033" y="7227"/>
                    <a:pt x="12033" y="7227"/>
                    <a:pt x="12033" y="7227"/>
                  </a:cubicBezTo>
                  <a:cubicBezTo>
                    <a:pt x="12033" y="7226"/>
                    <a:pt x="12031" y="7219"/>
                    <a:pt x="12026" y="7208"/>
                  </a:cubicBezTo>
                  <a:cubicBezTo>
                    <a:pt x="12013" y="7173"/>
                    <a:pt x="11975" y="7101"/>
                    <a:pt x="11898" y="7072"/>
                  </a:cubicBezTo>
                  <a:cubicBezTo>
                    <a:pt x="11853" y="7146"/>
                    <a:pt x="11792" y="7207"/>
                    <a:pt x="11708" y="7224"/>
                  </a:cubicBezTo>
                  <a:cubicBezTo>
                    <a:pt x="11701" y="7227"/>
                    <a:pt x="11695" y="7227"/>
                    <a:pt x="11685" y="7228"/>
                  </a:cubicBezTo>
                  <a:cubicBezTo>
                    <a:pt x="11674" y="7228"/>
                    <a:pt x="11661" y="7228"/>
                    <a:pt x="11646" y="7228"/>
                  </a:cubicBezTo>
                  <a:cubicBezTo>
                    <a:pt x="11547" y="7228"/>
                    <a:pt x="11360" y="7218"/>
                    <a:pt x="11360" y="7218"/>
                  </a:cubicBezTo>
                  <a:cubicBezTo>
                    <a:pt x="11359" y="7218"/>
                    <a:pt x="11208" y="7207"/>
                    <a:pt x="11057" y="7196"/>
                  </a:cubicBezTo>
                  <a:cubicBezTo>
                    <a:pt x="10982" y="7191"/>
                    <a:pt x="10906" y="7185"/>
                    <a:pt x="10849" y="7181"/>
                  </a:cubicBezTo>
                  <a:cubicBezTo>
                    <a:pt x="10821" y="7179"/>
                    <a:pt x="10797" y="7177"/>
                    <a:pt x="10781" y="7176"/>
                  </a:cubicBezTo>
                  <a:cubicBezTo>
                    <a:pt x="10773" y="7175"/>
                    <a:pt x="10766" y="7174"/>
                    <a:pt x="10762" y="7174"/>
                  </a:cubicBezTo>
                  <a:cubicBezTo>
                    <a:pt x="10759" y="7174"/>
                    <a:pt x="10758" y="7174"/>
                    <a:pt x="10756" y="7174"/>
                  </a:cubicBezTo>
                  <a:cubicBezTo>
                    <a:pt x="10756" y="7174"/>
                    <a:pt x="10755" y="7174"/>
                    <a:pt x="10755" y="7173"/>
                  </a:cubicBezTo>
                  <a:cubicBezTo>
                    <a:pt x="10755" y="7173"/>
                    <a:pt x="10754" y="7173"/>
                    <a:pt x="10754" y="7173"/>
                  </a:cubicBezTo>
                  <a:cubicBezTo>
                    <a:pt x="10754" y="7173"/>
                    <a:pt x="10753" y="7173"/>
                    <a:pt x="10752" y="7173"/>
                  </a:cubicBezTo>
                  <a:cubicBezTo>
                    <a:pt x="10752" y="7173"/>
                    <a:pt x="10751" y="7173"/>
                    <a:pt x="10750" y="7172"/>
                  </a:cubicBezTo>
                  <a:cubicBezTo>
                    <a:pt x="10749" y="7172"/>
                    <a:pt x="10748" y="7172"/>
                    <a:pt x="10746" y="7170"/>
                  </a:cubicBezTo>
                  <a:cubicBezTo>
                    <a:pt x="10745" y="7170"/>
                    <a:pt x="10744" y="7169"/>
                    <a:pt x="10743" y="7167"/>
                  </a:cubicBezTo>
                  <a:cubicBezTo>
                    <a:pt x="10738" y="7164"/>
                    <a:pt x="10727" y="7157"/>
                    <a:pt x="10712" y="7148"/>
                  </a:cubicBezTo>
                  <a:cubicBezTo>
                    <a:pt x="10269" y="8401"/>
                    <a:pt x="10269" y="8401"/>
                    <a:pt x="10269" y="8401"/>
                  </a:cubicBezTo>
                  <a:cubicBezTo>
                    <a:pt x="10268" y="8424"/>
                    <a:pt x="10268" y="8424"/>
                    <a:pt x="10268" y="8424"/>
                  </a:cubicBezTo>
                  <a:cubicBezTo>
                    <a:pt x="10275" y="8426"/>
                    <a:pt x="10282" y="8429"/>
                    <a:pt x="10290" y="8431"/>
                  </a:cubicBezTo>
                  <a:cubicBezTo>
                    <a:pt x="10539" y="8513"/>
                    <a:pt x="10774" y="8573"/>
                    <a:pt x="10946" y="8612"/>
                  </a:cubicBezTo>
                  <a:cubicBezTo>
                    <a:pt x="11032" y="8631"/>
                    <a:pt x="11103" y="8645"/>
                    <a:pt x="11152" y="8655"/>
                  </a:cubicBezTo>
                  <a:cubicBezTo>
                    <a:pt x="11193" y="8663"/>
                    <a:pt x="11219" y="8667"/>
                    <a:pt x="11225" y="8668"/>
                  </a:cubicBezTo>
                  <a:cubicBezTo>
                    <a:pt x="11272" y="8672"/>
                    <a:pt x="11938" y="8718"/>
                    <a:pt x="12136" y="8726"/>
                  </a:cubicBezTo>
                  <a:cubicBezTo>
                    <a:pt x="12241" y="8731"/>
                    <a:pt x="12361" y="8736"/>
                    <a:pt x="12494" y="8748"/>
                  </a:cubicBezTo>
                  <a:cubicBezTo>
                    <a:pt x="12495" y="8742"/>
                    <a:pt x="12495" y="8733"/>
                    <a:pt x="12495" y="8730"/>
                  </a:cubicBezTo>
                  <a:close/>
                  <a:moveTo>
                    <a:pt x="12372" y="11185"/>
                  </a:moveTo>
                  <a:cubicBezTo>
                    <a:pt x="12509" y="11051"/>
                    <a:pt x="12636" y="10926"/>
                    <a:pt x="12660" y="10901"/>
                  </a:cubicBezTo>
                  <a:cubicBezTo>
                    <a:pt x="11986" y="10332"/>
                    <a:pt x="11986" y="10332"/>
                    <a:pt x="11986" y="10332"/>
                  </a:cubicBezTo>
                  <a:cubicBezTo>
                    <a:pt x="11985" y="10332"/>
                    <a:pt x="11984" y="10331"/>
                    <a:pt x="11982" y="10330"/>
                  </a:cubicBezTo>
                  <a:cubicBezTo>
                    <a:pt x="11972" y="10325"/>
                    <a:pt x="11947" y="10314"/>
                    <a:pt x="11915" y="10314"/>
                  </a:cubicBezTo>
                  <a:cubicBezTo>
                    <a:pt x="11885" y="10314"/>
                    <a:pt x="11850" y="10323"/>
                    <a:pt x="11812" y="10355"/>
                  </a:cubicBezTo>
                  <a:cubicBezTo>
                    <a:pt x="11763" y="10399"/>
                    <a:pt x="11734" y="10420"/>
                    <a:pt x="11717" y="10432"/>
                  </a:cubicBezTo>
                  <a:cubicBezTo>
                    <a:pt x="11714" y="10433"/>
                    <a:pt x="11713" y="10434"/>
                    <a:pt x="11711" y="10436"/>
                  </a:cubicBezTo>
                  <a:cubicBezTo>
                    <a:pt x="12335" y="11221"/>
                    <a:pt x="12335" y="11221"/>
                    <a:pt x="12335" y="11221"/>
                  </a:cubicBezTo>
                  <a:cubicBezTo>
                    <a:pt x="12347" y="11209"/>
                    <a:pt x="12360" y="11197"/>
                    <a:pt x="12372" y="11185"/>
                  </a:cubicBezTo>
                  <a:close/>
                  <a:moveTo>
                    <a:pt x="11379" y="10077"/>
                  </a:moveTo>
                  <a:cubicBezTo>
                    <a:pt x="11373" y="10072"/>
                    <a:pt x="11344" y="10047"/>
                    <a:pt x="11295" y="10009"/>
                  </a:cubicBezTo>
                  <a:cubicBezTo>
                    <a:pt x="11240" y="9967"/>
                    <a:pt x="11160" y="9908"/>
                    <a:pt x="11060" y="9843"/>
                  </a:cubicBezTo>
                  <a:cubicBezTo>
                    <a:pt x="10899" y="9738"/>
                    <a:pt x="10734" y="9628"/>
                    <a:pt x="10675" y="9588"/>
                  </a:cubicBezTo>
                  <a:cubicBezTo>
                    <a:pt x="10672" y="9591"/>
                    <a:pt x="10670" y="9593"/>
                    <a:pt x="10669" y="9594"/>
                  </a:cubicBezTo>
                  <a:cubicBezTo>
                    <a:pt x="9469" y="12136"/>
                    <a:pt x="9469" y="12136"/>
                    <a:pt x="9469" y="12136"/>
                  </a:cubicBezTo>
                  <a:cubicBezTo>
                    <a:pt x="9474" y="12139"/>
                    <a:pt x="9481" y="12143"/>
                    <a:pt x="9491" y="12148"/>
                  </a:cubicBezTo>
                  <a:cubicBezTo>
                    <a:pt x="9551" y="12180"/>
                    <a:pt x="9693" y="12245"/>
                    <a:pt x="9850" y="12244"/>
                  </a:cubicBezTo>
                  <a:cubicBezTo>
                    <a:pt x="9901" y="12244"/>
                    <a:pt x="9952" y="12238"/>
                    <a:pt x="10004" y="12222"/>
                  </a:cubicBezTo>
                  <a:cubicBezTo>
                    <a:pt x="10142" y="12179"/>
                    <a:pt x="10607" y="12028"/>
                    <a:pt x="11036" y="11888"/>
                  </a:cubicBezTo>
                  <a:cubicBezTo>
                    <a:pt x="11251" y="11818"/>
                    <a:pt x="11457" y="11750"/>
                    <a:pt x="11609" y="11701"/>
                  </a:cubicBezTo>
                  <a:cubicBezTo>
                    <a:pt x="11762" y="11651"/>
                    <a:pt x="11860" y="11618"/>
                    <a:pt x="11860" y="11618"/>
                  </a:cubicBezTo>
                  <a:cubicBezTo>
                    <a:pt x="11860" y="11618"/>
                    <a:pt x="11863" y="11617"/>
                    <a:pt x="11870" y="11614"/>
                  </a:cubicBezTo>
                  <a:cubicBezTo>
                    <a:pt x="11890" y="11606"/>
                    <a:pt x="11941" y="11581"/>
                    <a:pt x="12010" y="11527"/>
                  </a:cubicBezTo>
                  <a:cubicBezTo>
                    <a:pt x="12049" y="11497"/>
                    <a:pt x="12177" y="11375"/>
                    <a:pt x="12309" y="11246"/>
                  </a:cubicBezTo>
                  <a:lnTo>
                    <a:pt x="11379" y="10077"/>
                  </a:lnTo>
                  <a:close/>
                  <a:moveTo>
                    <a:pt x="11002" y="12991"/>
                  </a:moveTo>
                  <a:cubicBezTo>
                    <a:pt x="9697" y="13419"/>
                    <a:pt x="9697" y="13419"/>
                    <a:pt x="9697" y="13419"/>
                  </a:cubicBezTo>
                  <a:cubicBezTo>
                    <a:pt x="8886" y="13695"/>
                    <a:pt x="8886" y="13695"/>
                    <a:pt x="8886" y="13695"/>
                  </a:cubicBezTo>
                  <a:cubicBezTo>
                    <a:pt x="8931" y="13696"/>
                    <a:pt x="8986" y="13698"/>
                    <a:pt x="9048" y="13699"/>
                  </a:cubicBezTo>
                  <a:cubicBezTo>
                    <a:pt x="9213" y="13704"/>
                    <a:pt x="9421" y="13708"/>
                    <a:pt x="9596" y="13708"/>
                  </a:cubicBezTo>
                  <a:cubicBezTo>
                    <a:pt x="9654" y="13708"/>
                    <a:pt x="9708" y="13708"/>
                    <a:pt x="9756" y="13707"/>
                  </a:cubicBezTo>
                  <a:cubicBezTo>
                    <a:pt x="9761" y="13706"/>
                    <a:pt x="9766" y="13706"/>
                    <a:pt x="9771" y="13706"/>
                  </a:cubicBezTo>
                  <a:cubicBezTo>
                    <a:pt x="9936" y="13706"/>
                    <a:pt x="10028" y="13773"/>
                    <a:pt x="10076" y="13841"/>
                  </a:cubicBezTo>
                  <a:cubicBezTo>
                    <a:pt x="10124" y="13908"/>
                    <a:pt x="10129" y="13974"/>
                    <a:pt x="10129" y="13976"/>
                  </a:cubicBezTo>
                  <a:cubicBezTo>
                    <a:pt x="10129" y="13977"/>
                    <a:pt x="10129" y="13977"/>
                    <a:pt x="10129" y="13977"/>
                  </a:cubicBezTo>
                  <a:cubicBezTo>
                    <a:pt x="10129" y="13977"/>
                    <a:pt x="10129" y="13977"/>
                    <a:pt x="10129" y="13977"/>
                  </a:cubicBezTo>
                  <a:cubicBezTo>
                    <a:pt x="10129" y="13978"/>
                    <a:pt x="10136" y="14678"/>
                    <a:pt x="10136" y="15026"/>
                  </a:cubicBezTo>
                  <a:cubicBezTo>
                    <a:pt x="10136" y="15084"/>
                    <a:pt x="10136" y="15132"/>
                    <a:pt x="10136" y="15166"/>
                  </a:cubicBezTo>
                  <a:cubicBezTo>
                    <a:pt x="10135" y="15183"/>
                    <a:pt x="10135" y="15196"/>
                    <a:pt x="10135" y="15205"/>
                  </a:cubicBezTo>
                  <a:cubicBezTo>
                    <a:pt x="10134" y="15210"/>
                    <a:pt x="10134" y="15213"/>
                    <a:pt x="10134" y="15216"/>
                  </a:cubicBezTo>
                  <a:cubicBezTo>
                    <a:pt x="10134" y="15218"/>
                    <a:pt x="10134" y="15219"/>
                    <a:pt x="10133" y="15221"/>
                  </a:cubicBezTo>
                  <a:cubicBezTo>
                    <a:pt x="10133" y="15222"/>
                    <a:pt x="10133" y="15223"/>
                    <a:pt x="10132" y="15225"/>
                  </a:cubicBezTo>
                  <a:cubicBezTo>
                    <a:pt x="10132" y="15226"/>
                    <a:pt x="10131" y="15227"/>
                    <a:pt x="10130" y="15228"/>
                  </a:cubicBezTo>
                  <a:cubicBezTo>
                    <a:pt x="10190" y="15274"/>
                    <a:pt x="10410" y="15442"/>
                    <a:pt x="10547" y="15547"/>
                  </a:cubicBezTo>
                  <a:cubicBezTo>
                    <a:pt x="10705" y="15668"/>
                    <a:pt x="11048" y="15905"/>
                    <a:pt x="11342" y="16118"/>
                  </a:cubicBezTo>
                  <a:cubicBezTo>
                    <a:pt x="11357" y="16129"/>
                    <a:pt x="11372" y="16140"/>
                    <a:pt x="11386" y="16151"/>
                  </a:cubicBezTo>
                  <a:cubicBezTo>
                    <a:pt x="11800" y="15359"/>
                    <a:pt x="11800" y="15359"/>
                    <a:pt x="11800" y="15359"/>
                  </a:cubicBezTo>
                  <a:cubicBezTo>
                    <a:pt x="11800" y="15358"/>
                    <a:pt x="11802" y="15355"/>
                    <a:pt x="11806" y="15346"/>
                  </a:cubicBezTo>
                  <a:cubicBezTo>
                    <a:pt x="11818" y="15322"/>
                    <a:pt x="11842" y="15263"/>
                    <a:pt x="11841" y="15195"/>
                  </a:cubicBezTo>
                  <a:cubicBezTo>
                    <a:pt x="11841" y="15101"/>
                    <a:pt x="11801" y="14989"/>
                    <a:pt x="11620" y="14906"/>
                  </a:cubicBezTo>
                  <a:cubicBezTo>
                    <a:pt x="11610" y="14902"/>
                    <a:pt x="11610" y="14902"/>
                    <a:pt x="11610" y="14902"/>
                  </a:cubicBezTo>
                  <a:cubicBezTo>
                    <a:pt x="11587" y="14495"/>
                    <a:pt x="11587" y="14495"/>
                    <a:pt x="11587" y="14495"/>
                  </a:cubicBezTo>
                  <a:cubicBezTo>
                    <a:pt x="11587" y="14495"/>
                    <a:pt x="11587" y="14495"/>
                    <a:pt x="11587" y="14495"/>
                  </a:cubicBezTo>
                  <a:cubicBezTo>
                    <a:pt x="11587" y="14493"/>
                    <a:pt x="11590" y="14430"/>
                    <a:pt x="11616" y="14365"/>
                  </a:cubicBezTo>
                  <a:cubicBezTo>
                    <a:pt x="11641" y="14300"/>
                    <a:pt x="11693" y="14229"/>
                    <a:pt x="11790" y="14229"/>
                  </a:cubicBezTo>
                  <a:cubicBezTo>
                    <a:pt x="11800" y="14229"/>
                    <a:pt x="11811" y="14230"/>
                    <a:pt x="11823" y="14232"/>
                  </a:cubicBezTo>
                  <a:cubicBezTo>
                    <a:pt x="11999" y="14259"/>
                    <a:pt x="12476" y="14346"/>
                    <a:pt x="12594" y="14368"/>
                  </a:cubicBezTo>
                  <a:cubicBezTo>
                    <a:pt x="12550" y="14168"/>
                    <a:pt x="12550" y="14168"/>
                    <a:pt x="12550" y="14168"/>
                  </a:cubicBezTo>
                  <a:cubicBezTo>
                    <a:pt x="12742" y="13874"/>
                    <a:pt x="12742" y="13874"/>
                    <a:pt x="12742" y="13874"/>
                  </a:cubicBezTo>
                  <a:cubicBezTo>
                    <a:pt x="12811" y="13673"/>
                    <a:pt x="12811" y="13673"/>
                    <a:pt x="12811" y="13673"/>
                  </a:cubicBezTo>
                  <a:cubicBezTo>
                    <a:pt x="12812" y="13672"/>
                    <a:pt x="12812" y="13672"/>
                    <a:pt x="12812" y="13672"/>
                  </a:cubicBezTo>
                  <a:cubicBezTo>
                    <a:pt x="12812" y="13672"/>
                    <a:pt x="12812" y="13672"/>
                    <a:pt x="12812" y="13672"/>
                  </a:cubicBezTo>
                  <a:cubicBezTo>
                    <a:pt x="12812" y="13671"/>
                    <a:pt x="12814" y="13667"/>
                    <a:pt x="12814" y="13661"/>
                  </a:cubicBezTo>
                  <a:cubicBezTo>
                    <a:pt x="12813" y="13649"/>
                    <a:pt x="12809" y="13622"/>
                    <a:pt x="12742" y="13592"/>
                  </a:cubicBezTo>
                  <a:cubicBezTo>
                    <a:pt x="12684" y="13566"/>
                    <a:pt x="12506" y="13459"/>
                    <a:pt x="12339" y="13358"/>
                  </a:cubicBezTo>
                  <a:cubicBezTo>
                    <a:pt x="12173" y="13256"/>
                    <a:pt x="12021" y="13161"/>
                    <a:pt x="12021" y="13161"/>
                  </a:cubicBezTo>
                  <a:cubicBezTo>
                    <a:pt x="12019" y="13160"/>
                    <a:pt x="12019" y="13160"/>
                    <a:pt x="12019" y="13160"/>
                  </a:cubicBezTo>
                  <a:cubicBezTo>
                    <a:pt x="12018" y="13159"/>
                    <a:pt x="12018" y="13159"/>
                    <a:pt x="12018" y="13159"/>
                  </a:cubicBezTo>
                  <a:cubicBezTo>
                    <a:pt x="12018" y="13158"/>
                    <a:pt x="11772" y="12925"/>
                    <a:pt x="11668" y="12805"/>
                  </a:cubicBezTo>
                  <a:lnTo>
                    <a:pt x="11002" y="12991"/>
                  </a:lnTo>
                  <a:close/>
                  <a:moveTo>
                    <a:pt x="10109" y="15213"/>
                  </a:moveTo>
                  <a:cubicBezTo>
                    <a:pt x="10102" y="15207"/>
                    <a:pt x="10102" y="15207"/>
                    <a:pt x="10102" y="15207"/>
                  </a:cubicBezTo>
                  <a:cubicBezTo>
                    <a:pt x="10109" y="15213"/>
                    <a:pt x="10109" y="15213"/>
                    <a:pt x="10109" y="15213"/>
                  </a:cubicBezTo>
                  <a:close/>
                  <a:moveTo>
                    <a:pt x="8762" y="13726"/>
                  </a:moveTo>
                  <a:cubicBezTo>
                    <a:pt x="8672" y="13739"/>
                    <a:pt x="8672" y="13739"/>
                    <a:pt x="8672" y="13739"/>
                  </a:cubicBezTo>
                  <a:cubicBezTo>
                    <a:pt x="7816" y="13773"/>
                    <a:pt x="7816" y="13773"/>
                    <a:pt x="7816" y="13773"/>
                  </a:cubicBezTo>
                  <a:cubicBezTo>
                    <a:pt x="7819" y="13774"/>
                    <a:pt x="7819" y="13774"/>
                    <a:pt x="7819" y="13774"/>
                  </a:cubicBezTo>
                  <a:cubicBezTo>
                    <a:pt x="7802" y="13852"/>
                    <a:pt x="7791" y="14016"/>
                    <a:pt x="7783" y="14160"/>
                  </a:cubicBezTo>
                  <a:cubicBezTo>
                    <a:pt x="7780" y="14232"/>
                    <a:pt x="7776" y="14299"/>
                    <a:pt x="7773" y="14348"/>
                  </a:cubicBezTo>
                  <a:cubicBezTo>
                    <a:pt x="7772" y="14373"/>
                    <a:pt x="7770" y="14393"/>
                    <a:pt x="7768" y="14407"/>
                  </a:cubicBezTo>
                  <a:cubicBezTo>
                    <a:pt x="7767" y="14412"/>
                    <a:pt x="7767" y="14417"/>
                    <a:pt x="7766" y="14421"/>
                  </a:cubicBezTo>
                  <a:cubicBezTo>
                    <a:pt x="7775" y="14428"/>
                    <a:pt x="7790" y="14439"/>
                    <a:pt x="7809" y="14452"/>
                  </a:cubicBezTo>
                  <a:cubicBezTo>
                    <a:pt x="7915" y="14528"/>
                    <a:pt x="8161" y="14700"/>
                    <a:pt x="8380" y="14852"/>
                  </a:cubicBezTo>
                  <a:cubicBezTo>
                    <a:pt x="8599" y="15005"/>
                    <a:pt x="8791" y="15138"/>
                    <a:pt x="8791" y="15138"/>
                  </a:cubicBezTo>
                  <a:cubicBezTo>
                    <a:pt x="8784" y="15149"/>
                    <a:pt x="8784" y="15149"/>
                    <a:pt x="8784" y="15149"/>
                  </a:cubicBezTo>
                  <a:cubicBezTo>
                    <a:pt x="8838" y="15132"/>
                    <a:pt x="8883" y="15131"/>
                    <a:pt x="8890" y="15131"/>
                  </a:cubicBezTo>
                  <a:cubicBezTo>
                    <a:pt x="8891" y="15131"/>
                    <a:pt x="8892" y="15131"/>
                    <a:pt x="8892" y="15131"/>
                  </a:cubicBezTo>
                  <a:cubicBezTo>
                    <a:pt x="10098" y="15212"/>
                    <a:pt x="10098" y="15212"/>
                    <a:pt x="10098" y="15212"/>
                  </a:cubicBezTo>
                  <a:cubicBezTo>
                    <a:pt x="10099" y="15199"/>
                    <a:pt x="10100" y="15126"/>
                    <a:pt x="10100" y="15026"/>
                  </a:cubicBezTo>
                  <a:cubicBezTo>
                    <a:pt x="10100" y="14852"/>
                    <a:pt x="10098" y="14590"/>
                    <a:pt x="10097" y="14372"/>
                  </a:cubicBezTo>
                  <a:cubicBezTo>
                    <a:pt x="10095" y="14161"/>
                    <a:pt x="10093" y="13991"/>
                    <a:pt x="10093" y="13979"/>
                  </a:cubicBezTo>
                  <a:cubicBezTo>
                    <a:pt x="10093" y="13977"/>
                    <a:pt x="10093" y="13975"/>
                    <a:pt x="10092" y="13970"/>
                  </a:cubicBezTo>
                  <a:cubicBezTo>
                    <a:pt x="10088" y="13948"/>
                    <a:pt x="10074" y="13890"/>
                    <a:pt x="10029" y="13839"/>
                  </a:cubicBezTo>
                  <a:cubicBezTo>
                    <a:pt x="9984" y="13789"/>
                    <a:pt x="9907" y="13743"/>
                    <a:pt x="9771" y="13743"/>
                  </a:cubicBezTo>
                  <a:cubicBezTo>
                    <a:pt x="9766" y="13743"/>
                    <a:pt x="9762" y="13743"/>
                    <a:pt x="9757" y="13743"/>
                  </a:cubicBezTo>
                  <a:cubicBezTo>
                    <a:pt x="9709" y="13744"/>
                    <a:pt x="9654" y="13744"/>
                    <a:pt x="9596" y="13744"/>
                  </a:cubicBezTo>
                  <a:cubicBezTo>
                    <a:pt x="9258" y="13744"/>
                    <a:pt x="8793" y="13728"/>
                    <a:pt x="8762" y="13726"/>
                  </a:cubicBezTo>
                  <a:close/>
                  <a:moveTo>
                    <a:pt x="7545" y="15959"/>
                  </a:moveTo>
                  <a:cubicBezTo>
                    <a:pt x="7544" y="15990"/>
                    <a:pt x="7544" y="15990"/>
                    <a:pt x="7544" y="15990"/>
                  </a:cubicBezTo>
                  <a:cubicBezTo>
                    <a:pt x="7566" y="15939"/>
                    <a:pt x="7581" y="15907"/>
                    <a:pt x="7584" y="15899"/>
                  </a:cubicBezTo>
                  <a:cubicBezTo>
                    <a:pt x="7812" y="14505"/>
                    <a:pt x="7812" y="14505"/>
                    <a:pt x="7812" y="14505"/>
                  </a:cubicBezTo>
                  <a:cubicBezTo>
                    <a:pt x="7824" y="14507"/>
                    <a:pt x="7824" y="14507"/>
                    <a:pt x="7824" y="14507"/>
                  </a:cubicBezTo>
                  <a:cubicBezTo>
                    <a:pt x="7807" y="14495"/>
                    <a:pt x="7791" y="14484"/>
                    <a:pt x="7778" y="14474"/>
                  </a:cubicBezTo>
                  <a:cubicBezTo>
                    <a:pt x="7765" y="14465"/>
                    <a:pt x="7754" y="14457"/>
                    <a:pt x="7747" y="14451"/>
                  </a:cubicBezTo>
                  <a:cubicBezTo>
                    <a:pt x="7704" y="14498"/>
                    <a:pt x="7547" y="14653"/>
                    <a:pt x="7316" y="14657"/>
                  </a:cubicBezTo>
                  <a:cubicBezTo>
                    <a:pt x="7055" y="14661"/>
                    <a:pt x="6096" y="14661"/>
                    <a:pt x="6096" y="14661"/>
                  </a:cubicBezTo>
                  <a:cubicBezTo>
                    <a:pt x="6096" y="14625"/>
                    <a:pt x="6096" y="14625"/>
                    <a:pt x="6096" y="14625"/>
                  </a:cubicBezTo>
                  <a:cubicBezTo>
                    <a:pt x="6096" y="14625"/>
                    <a:pt x="6336" y="14625"/>
                    <a:pt x="6608" y="14624"/>
                  </a:cubicBezTo>
                  <a:cubicBezTo>
                    <a:pt x="6880" y="14624"/>
                    <a:pt x="7185" y="14623"/>
                    <a:pt x="7316" y="14621"/>
                  </a:cubicBezTo>
                  <a:cubicBezTo>
                    <a:pt x="7441" y="14619"/>
                    <a:pt x="7545" y="14568"/>
                    <a:pt x="7618" y="14516"/>
                  </a:cubicBezTo>
                  <a:cubicBezTo>
                    <a:pt x="7654" y="14491"/>
                    <a:pt x="7682" y="14465"/>
                    <a:pt x="7702" y="14446"/>
                  </a:cubicBezTo>
                  <a:cubicBezTo>
                    <a:pt x="7720" y="14428"/>
                    <a:pt x="7729" y="14416"/>
                    <a:pt x="7730" y="14416"/>
                  </a:cubicBezTo>
                  <a:cubicBezTo>
                    <a:pt x="7730" y="14415"/>
                    <a:pt x="7730" y="14415"/>
                    <a:pt x="7730" y="14415"/>
                  </a:cubicBezTo>
                  <a:cubicBezTo>
                    <a:pt x="7733" y="14403"/>
                    <a:pt x="7736" y="14365"/>
                    <a:pt x="7739" y="14317"/>
                  </a:cubicBezTo>
                  <a:cubicBezTo>
                    <a:pt x="7748" y="14165"/>
                    <a:pt x="7757" y="13897"/>
                    <a:pt x="7782" y="13774"/>
                  </a:cubicBezTo>
                  <a:cubicBezTo>
                    <a:pt x="7345" y="13792"/>
                    <a:pt x="7345" y="13792"/>
                    <a:pt x="7345" y="13792"/>
                  </a:cubicBezTo>
                  <a:cubicBezTo>
                    <a:pt x="7345" y="13792"/>
                    <a:pt x="7262" y="13795"/>
                    <a:pt x="7159" y="13802"/>
                  </a:cubicBezTo>
                  <a:cubicBezTo>
                    <a:pt x="7055" y="13809"/>
                    <a:pt x="6932" y="13820"/>
                    <a:pt x="6854" y="13836"/>
                  </a:cubicBezTo>
                  <a:cubicBezTo>
                    <a:pt x="6694" y="13869"/>
                    <a:pt x="6531" y="13889"/>
                    <a:pt x="6367" y="13906"/>
                  </a:cubicBezTo>
                  <a:cubicBezTo>
                    <a:pt x="6213" y="13921"/>
                    <a:pt x="5839" y="13922"/>
                    <a:pt x="5788" y="13922"/>
                  </a:cubicBezTo>
                  <a:cubicBezTo>
                    <a:pt x="5658" y="14016"/>
                    <a:pt x="5658" y="14016"/>
                    <a:pt x="5658" y="14016"/>
                  </a:cubicBezTo>
                  <a:cubicBezTo>
                    <a:pt x="5656" y="14024"/>
                    <a:pt x="5656" y="14024"/>
                    <a:pt x="5656" y="14024"/>
                  </a:cubicBezTo>
                  <a:cubicBezTo>
                    <a:pt x="5591" y="14193"/>
                    <a:pt x="5591" y="14193"/>
                    <a:pt x="5591" y="14193"/>
                  </a:cubicBezTo>
                  <a:cubicBezTo>
                    <a:pt x="6093" y="14634"/>
                    <a:pt x="6093" y="14634"/>
                    <a:pt x="6093" y="14634"/>
                  </a:cubicBezTo>
                  <a:cubicBezTo>
                    <a:pt x="6194" y="15919"/>
                    <a:pt x="6194" y="15919"/>
                    <a:pt x="6194" y="15919"/>
                  </a:cubicBezTo>
                  <a:lnTo>
                    <a:pt x="7545" y="15959"/>
                  </a:lnTo>
                  <a:close/>
                  <a:moveTo>
                    <a:pt x="6038" y="16676"/>
                  </a:moveTo>
                  <a:cubicBezTo>
                    <a:pt x="6044" y="16677"/>
                    <a:pt x="6052" y="16677"/>
                    <a:pt x="6061" y="16677"/>
                  </a:cubicBezTo>
                  <a:cubicBezTo>
                    <a:pt x="6104" y="16678"/>
                    <a:pt x="6175" y="16667"/>
                    <a:pt x="6219" y="16624"/>
                  </a:cubicBezTo>
                  <a:cubicBezTo>
                    <a:pt x="6247" y="16598"/>
                    <a:pt x="6263" y="16550"/>
                    <a:pt x="6266" y="16487"/>
                  </a:cubicBezTo>
                  <a:cubicBezTo>
                    <a:pt x="6273" y="16291"/>
                    <a:pt x="6274" y="16008"/>
                    <a:pt x="6274" y="15957"/>
                  </a:cubicBezTo>
                  <a:cubicBezTo>
                    <a:pt x="6183" y="15955"/>
                    <a:pt x="6183" y="15955"/>
                    <a:pt x="6183" y="15955"/>
                  </a:cubicBezTo>
                  <a:cubicBezTo>
                    <a:pt x="5949" y="16128"/>
                    <a:pt x="5949" y="16128"/>
                    <a:pt x="5949" y="16128"/>
                  </a:cubicBezTo>
                  <a:cubicBezTo>
                    <a:pt x="5962" y="16191"/>
                    <a:pt x="6026" y="16502"/>
                    <a:pt x="6038" y="16676"/>
                  </a:cubicBezTo>
                  <a:close/>
                  <a:moveTo>
                    <a:pt x="5923" y="16102"/>
                  </a:moveTo>
                  <a:cubicBezTo>
                    <a:pt x="6159" y="15928"/>
                    <a:pt x="6159" y="15928"/>
                    <a:pt x="6159" y="15928"/>
                  </a:cubicBezTo>
                  <a:cubicBezTo>
                    <a:pt x="6058" y="14652"/>
                    <a:pt x="6058" y="14652"/>
                    <a:pt x="6058" y="14652"/>
                  </a:cubicBezTo>
                  <a:cubicBezTo>
                    <a:pt x="5548" y="14203"/>
                    <a:pt x="5548" y="14203"/>
                    <a:pt x="5548" y="14203"/>
                  </a:cubicBezTo>
                  <a:cubicBezTo>
                    <a:pt x="5606" y="14053"/>
                    <a:pt x="5606" y="14053"/>
                    <a:pt x="5606" y="14053"/>
                  </a:cubicBezTo>
                  <a:cubicBezTo>
                    <a:pt x="5167" y="14370"/>
                    <a:pt x="5167" y="14370"/>
                    <a:pt x="5167" y="14370"/>
                  </a:cubicBezTo>
                  <a:cubicBezTo>
                    <a:pt x="4072" y="14994"/>
                    <a:pt x="4072" y="14994"/>
                    <a:pt x="4072" y="14994"/>
                  </a:cubicBezTo>
                  <a:cubicBezTo>
                    <a:pt x="4033" y="15015"/>
                    <a:pt x="4033" y="15015"/>
                    <a:pt x="4033" y="15015"/>
                  </a:cubicBezTo>
                  <a:cubicBezTo>
                    <a:pt x="4037" y="15018"/>
                    <a:pt x="4037" y="15018"/>
                    <a:pt x="4037" y="15018"/>
                  </a:cubicBezTo>
                  <a:cubicBezTo>
                    <a:pt x="4038" y="15021"/>
                    <a:pt x="4038" y="15021"/>
                    <a:pt x="4038" y="15021"/>
                  </a:cubicBezTo>
                  <a:cubicBezTo>
                    <a:pt x="4038" y="15021"/>
                    <a:pt x="4113" y="15144"/>
                    <a:pt x="4192" y="15279"/>
                  </a:cubicBezTo>
                  <a:cubicBezTo>
                    <a:pt x="4271" y="15414"/>
                    <a:pt x="4353" y="15559"/>
                    <a:pt x="4370" y="15612"/>
                  </a:cubicBezTo>
                  <a:cubicBezTo>
                    <a:pt x="4403" y="15709"/>
                    <a:pt x="4461" y="16027"/>
                    <a:pt x="4477" y="16114"/>
                  </a:cubicBezTo>
                  <a:lnTo>
                    <a:pt x="5923" y="16102"/>
                  </a:lnTo>
                  <a:close/>
                  <a:moveTo>
                    <a:pt x="2749" y="15694"/>
                  </a:moveTo>
                  <a:cubicBezTo>
                    <a:pt x="2819" y="15637"/>
                    <a:pt x="2889" y="15610"/>
                    <a:pt x="2901" y="15606"/>
                  </a:cubicBezTo>
                  <a:cubicBezTo>
                    <a:pt x="3979" y="15004"/>
                    <a:pt x="3979" y="15004"/>
                    <a:pt x="3979" y="15004"/>
                  </a:cubicBezTo>
                  <a:cubicBezTo>
                    <a:pt x="3909" y="14836"/>
                    <a:pt x="3909" y="14836"/>
                    <a:pt x="3909" y="14836"/>
                  </a:cubicBezTo>
                  <a:cubicBezTo>
                    <a:pt x="3882" y="14834"/>
                    <a:pt x="3806" y="14831"/>
                    <a:pt x="3716" y="14831"/>
                  </a:cubicBezTo>
                  <a:cubicBezTo>
                    <a:pt x="3607" y="14831"/>
                    <a:pt x="3478" y="14836"/>
                    <a:pt x="3404" y="14856"/>
                  </a:cubicBezTo>
                  <a:cubicBezTo>
                    <a:pt x="3403" y="14856"/>
                    <a:pt x="3403" y="14856"/>
                    <a:pt x="3403" y="14856"/>
                  </a:cubicBezTo>
                  <a:cubicBezTo>
                    <a:pt x="3401" y="14856"/>
                    <a:pt x="3401" y="14856"/>
                    <a:pt x="3401" y="14856"/>
                  </a:cubicBezTo>
                  <a:cubicBezTo>
                    <a:pt x="3401" y="14856"/>
                    <a:pt x="3394" y="14857"/>
                    <a:pt x="3379" y="14859"/>
                  </a:cubicBezTo>
                  <a:cubicBezTo>
                    <a:pt x="3336" y="14868"/>
                    <a:pt x="3236" y="14895"/>
                    <a:pt x="3135" y="14985"/>
                  </a:cubicBezTo>
                  <a:cubicBezTo>
                    <a:pt x="3079" y="15035"/>
                    <a:pt x="2984" y="15102"/>
                    <a:pt x="2893" y="15182"/>
                  </a:cubicBezTo>
                  <a:cubicBezTo>
                    <a:pt x="2751" y="15306"/>
                    <a:pt x="2611" y="15445"/>
                    <a:pt x="2589" y="15466"/>
                  </a:cubicBezTo>
                  <a:cubicBezTo>
                    <a:pt x="2587" y="15467"/>
                    <a:pt x="2587" y="15467"/>
                    <a:pt x="2587" y="15467"/>
                  </a:cubicBezTo>
                  <a:cubicBezTo>
                    <a:pt x="2586" y="15468"/>
                    <a:pt x="2586" y="15468"/>
                    <a:pt x="2586" y="15468"/>
                  </a:cubicBezTo>
                  <a:cubicBezTo>
                    <a:pt x="2585" y="15469"/>
                    <a:pt x="2441" y="15552"/>
                    <a:pt x="2306" y="15581"/>
                  </a:cubicBezTo>
                  <a:cubicBezTo>
                    <a:pt x="2242" y="15595"/>
                    <a:pt x="2202" y="15604"/>
                    <a:pt x="2178" y="15611"/>
                  </a:cubicBezTo>
                  <a:cubicBezTo>
                    <a:pt x="2312" y="15719"/>
                    <a:pt x="2368" y="15832"/>
                    <a:pt x="2383" y="15867"/>
                  </a:cubicBezTo>
                  <a:cubicBezTo>
                    <a:pt x="2608" y="15899"/>
                    <a:pt x="2608" y="15899"/>
                    <a:pt x="2608" y="15899"/>
                  </a:cubicBezTo>
                  <a:cubicBezTo>
                    <a:pt x="2635" y="15808"/>
                    <a:pt x="2692" y="15740"/>
                    <a:pt x="2749" y="15694"/>
                  </a:cubicBezTo>
                  <a:close/>
                  <a:moveTo>
                    <a:pt x="4011" y="14986"/>
                  </a:moveTo>
                  <a:cubicBezTo>
                    <a:pt x="4054" y="14962"/>
                    <a:pt x="4054" y="14962"/>
                    <a:pt x="4054" y="14962"/>
                  </a:cubicBezTo>
                  <a:cubicBezTo>
                    <a:pt x="5120" y="14355"/>
                    <a:pt x="5120" y="14355"/>
                    <a:pt x="5120" y="14355"/>
                  </a:cubicBezTo>
                  <a:cubicBezTo>
                    <a:pt x="5119" y="14353"/>
                    <a:pt x="5119" y="14351"/>
                    <a:pt x="5119" y="14348"/>
                  </a:cubicBezTo>
                  <a:cubicBezTo>
                    <a:pt x="5115" y="14338"/>
                    <a:pt x="5111" y="14326"/>
                    <a:pt x="5104" y="14311"/>
                  </a:cubicBezTo>
                  <a:cubicBezTo>
                    <a:pt x="5089" y="14275"/>
                    <a:pt x="5066" y="14226"/>
                    <a:pt x="5035" y="14173"/>
                  </a:cubicBezTo>
                  <a:cubicBezTo>
                    <a:pt x="5000" y="14114"/>
                    <a:pt x="4979" y="14060"/>
                    <a:pt x="4966" y="14022"/>
                  </a:cubicBezTo>
                  <a:cubicBezTo>
                    <a:pt x="4965" y="14020"/>
                    <a:pt x="4965" y="14020"/>
                    <a:pt x="4965" y="14020"/>
                  </a:cubicBezTo>
                  <a:cubicBezTo>
                    <a:pt x="4965" y="14020"/>
                    <a:pt x="4964" y="14016"/>
                    <a:pt x="4963" y="14011"/>
                  </a:cubicBezTo>
                  <a:cubicBezTo>
                    <a:pt x="4955" y="13987"/>
                    <a:pt x="4952" y="13972"/>
                    <a:pt x="4952" y="13971"/>
                  </a:cubicBezTo>
                  <a:cubicBezTo>
                    <a:pt x="4955" y="13971"/>
                    <a:pt x="4955" y="13971"/>
                    <a:pt x="4955" y="13971"/>
                  </a:cubicBezTo>
                  <a:cubicBezTo>
                    <a:pt x="4954" y="13969"/>
                    <a:pt x="4954" y="13968"/>
                    <a:pt x="4954" y="13966"/>
                  </a:cubicBezTo>
                  <a:cubicBezTo>
                    <a:pt x="4952" y="13944"/>
                    <a:pt x="4953" y="13929"/>
                    <a:pt x="4953" y="13908"/>
                  </a:cubicBezTo>
                  <a:cubicBezTo>
                    <a:pt x="4953" y="13886"/>
                    <a:pt x="4954" y="13867"/>
                    <a:pt x="4955" y="13857"/>
                  </a:cubicBezTo>
                  <a:cubicBezTo>
                    <a:pt x="4963" y="13766"/>
                    <a:pt x="4979" y="13649"/>
                    <a:pt x="4985" y="13614"/>
                  </a:cubicBezTo>
                  <a:cubicBezTo>
                    <a:pt x="4989" y="13582"/>
                    <a:pt x="5000" y="13509"/>
                    <a:pt x="5007" y="13444"/>
                  </a:cubicBezTo>
                  <a:cubicBezTo>
                    <a:pt x="5011" y="13410"/>
                    <a:pt x="5014" y="13377"/>
                    <a:pt x="5015" y="13357"/>
                  </a:cubicBezTo>
                  <a:cubicBezTo>
                    <a:pt x="5013" y="13357"/>
                    <a:pt x="5013" y="13357"/>
                    <a:pt x="5013" y="13357"/>
                  </a:cubicBezTo>
                  <a:cubicBezTo>
                    <a:pt x="5015" y="13357"/>
                    <a:pt x="5015" y="13357"/>
                    <a:pt x="5015" y="13357"/>
                  </a:cubicBezTo>
                  <a:cubicBezTo>
                    <a:pt x="5015" y="13353"/>
                    <a:pt x="5016" y="13350"/>
                    <a:pt x="5016" y="13347"/>
                  </a:cubicBezTo>
                  <a:cubicBezTo>
                    <a:pt x="5016" y="13339"/>
                    <a:pt x="5016" y="13328"/>
                    <a:pt x="5016" y="13312"/>
                  </a:cubicBezTo>
                  <a:cubicBezTo>
                    <a:pt x="5016" y="13219"/>
                    <a:pt x="5001" y="13003"/>
                    <a:pt x="4848" y="12841"/>
                  </a:cubicBezTo>
                  <a:cubicBezTo>
                    <a:pt x="4841" y="12836"/>
                    <a:pt x="4841" y="12836"/>
                    <a:pt x="4841" y="12836"/>
                  </a:cubicBezTo>
                  <a:cubicBezTo>
                    <a:pt x="4814" y="12873"/>
                    <a:pt x="4780" y="12922"/>
                    <a:pt x="4752" y="12966"/>
                  </a:cubicBezTo>
                  <a:cubicBezTo>
                    <a:pt x="4732" y="12996"/>
                    <a:pt x="4715" y="13023"/>
                    <a:pt x="4703" y="13042"/>
                  </a:cubicBezTo>
                  <a:cubicBezTo>
                    <a:pt x="4703" y="13042"/>
                    <a:pt x="4703" y="13042"/>
                    <a:pt x="4703" y="13042"/>
                  </a:cubicBezTo>
                  <a:cubicBezTo>
                    <a:pt x="4703" y="13042"/>
                    <a:pt x="4703" y="13042"/>
                    <a:pt x="4703" y="13042"/>
                  </a:cubicBezTo>
                  <a:cubicBezTo>
                    <a:pt x="4702" y="13043"/>
                    <a:pt x="4702" y="13044"/>
                    <a:pt x="4701" y="13045"/>
                  </a:cubicBezTo>
                  <a:cubicBezTo>
                    <a:pt x="4701" y="13046"/>
                    <a:pt x="4700" y="13048"/>
                    <a:pt x="4699" y="13050"/>
                  </a:cubicBezTo>
                  <a:cubicBezTo>
                    <a:pt x="4690" y="13071"/>
                    <a:pt x="4667" y="13129"/>
                    <a:pt x="4643" y="13190"/>
                  </a:cubicBezTo>
                  <a:cubicBezTo>
                    <a:pt x="4613" y="13267"/>
                    <a:pt x="4581" y="13353"/>
                    <a:pt x="4578" y="13373"/>
                  </a:cubicBezTo>
                  <a:cubicBezTo>
                    <a:pt x="4568" y="13422"/>
                    <a:pt x="4549" y="13534"/>
                    <a:pt x="4544" y="13582"/>
                  </a:cubicBezTo>
                  <a:cubicBezTo>
                    <a:pt x="4538" y="13633"/>
                    <a:pt x="4484" y="14005"/>
                    <a:pt x="4471" y="14058"/>
                  </a:cubicBezTo>
                  <a:cubicBezTo>
                    <a:pt x="4458" y="14110"/>
                    <a:pt x="4444" y="14151"/>
                    <a:pt x="4415" y="14194"/>
                  </a:cubicBezTo>
                  <a:cubicBezTo>
                    <a:pt x="4396" y="14222"/>
                    <a:pt x="4367" y="14262"/>
                    <a:pt x="4349" y="14286"/>
                  </a:cubicBezTo>
                  <a:cubicBezTo>
                    <a:pt x="4349" y="14287"/>
                    <a:pt x="4349" y="14287"/>
                    <a:pt x="4349" y="14287"/>
                  </a:cubicBezTo>
                  <a:cubicBezTo>
                    <a:pt x="3942" y="14821"/>
                    <a:pt x="3942" y="14821"/>
                    <a:pt x="3942" y="14821"/>
                  </a:cubicBezTo>
                  <a:lnTo>
                    <a:pt x="4011" y="14986"/>
                  </a:lnTo>
                  <a:close/>
                  <a:moveTo>
                    <a:pt x="2709" y="13702"/>
                  </a:moveTo>
                  <a:cubicBezTo>
                    <a:pt x="2709" y="13702"/>
                    <a:pt x="2709" y="13702"/>
                    <a:pt x="2709" y="13702"/>
                  </a:cubicBezTo>
                  <a:cubicBezTo>
                    <a:pt x="2710" y="13697"/>
                    <a:pt x="2711" y="13691"/>
                    <a:pt x="2713" y="13684"/>
                  </a:cubicBezTo>
                  <a:cubicBezTo>
                    <a:pt x="2713" y="13681"/>
                    <a:pt x="2713" y="13679"/>
                    <a:pt x="2713" y="13679"/>
                  </a:cubicBezTo>
                  <a:cubicBezTo>
                    <a:pt x="2714" y="13679"/>
                    <a:pt x="2714" y="13679"/>
                    <a:pt x="2714" y="13679"/>
                  </a:cubicBezTo>
                  <a:cubicBezTo>
                    <a:pt x="2728" y="13611"/>
                    <a:pt x="2759" y="13488"/>
                    <a:pt x="2811" y="13405"/>
                  </a:cubicBezTo>
                  <a:cubicBezTo>
                    <a:pt x="2842" y="13357"/>
                    <a:pt x="2894" y="13339"/>
                    <a:pt x="2956" y="13317"/>
                  </a:cubicBezTo>
                  <a:cubicBezTo>
                    <a:pt x="3066" y="13279"/>
                    <a:pt x="3268" y="13263"/>
                    <a:pt x="3357" y="13230"/>
                  </a:cubicBezTo>
                  <a:cubicBezTo>
                    <a:pt x="3363" y="13227"/>
                    <a:pt x="3411" y="13203"/>
                    <a:pt x="3465" y="13165"/>
                  </a:cubicBezTo>
                  <a:cubicBezTo>
                    <a:pt x="3523" y="13124"/>
                    <a:pt x="3585" y="13066"/>
                    <a:pt x="3606" y="13005"/>
                  </a:cubicBezTo>
                  <a:cubicBezTo>
                    <a:pt x="3619" y="12968"/>
                    <a:pt x="3625" y="12936"/>
                    <a:pt x="3625" y="12907"/>
                  </a:cubicBezTo>
                  <a:cubicBezTo>
                    <a:pt x="3625" y="12838"/>
                    <a:pt x="3592" y="12788"/>
                    <a:pt x="3539" y="12737"/>
                  </a:cubicBezTo>
                  <a:cubicBezTo>
                    <a:pt x="3466" y="12665"/>
                    <a:pt x="3290" y="12542"/>
                    <a:pt x="3145" y="12499"/>
                  </a:cubicBezTo>
                  <a:cubicBezTo>
                    <a:pt x="2995" y="12454"/>
                    <a:pt x="2865" y="12410"/>
                    <a:pt x="2625" y="12386"/>
                  </a:cubicBezTo>
                  <a:cubicBezTo>
                    <a:pt x="2438" y="12368"/>
                    <a:pt x="2337" y="12356"/>
                    <a:pt x="2300" y="12352"/>
                  </a:cubicBezTo>
                  <a:cubicBezTo>
                    <a:pt x="2246" y="12347"/>
                    <a:pt x="2071" y="12330"/>
                    <a:pt x="1984" y="12323"/>
                  </a:cubicBezTo>
                  <a:cubicBezTo>
                    <a:pt x="1941" y="12374"/>
                    <a:pt x="1890" y="12441"/>
                    <a:pt x="1833" y="12509"/>
                  </a:cubicBezTo>
                  <a:cubicBezTo>
                    <a:pt x="1721" y="12644"/>
                    <a:pt x="1601" y="12784"/>
                    <a:pt x="1562" y="12830"/>
                  </a:cubicBezTo>
                  <a:cubicBezTo>
                    <a:pt x="1595" y="12847"/>
                    <a:pt x="1595" y="12847"/>
                    <a:pt x="1595" y="12847"/>
                  </a:cubicBezTo>
                  <a:cubicBezTo>
                    <a:pt x="1662" y="13323"/>
                    <a:pt x="1662" y="13323"/>
                    <a:pt x="1662" y="13323"/>
                  </a:cubicBezTo>
                  <a:cubicBezTo>
                    <a:pt x="1908" y="13411"/>
                    <a:pt x="1908" y="13411"/>
                    <a:pt x="1908" y="13411"/>
                  </a:cubicBezTo>
                  <a:cubicBezTo>
                    <a:pt x="1908" y="13411"/>
                    <a:pt x="1908" y="13411"/>
                    <a:pt x="1908" y="13411"/>
                  </a:cubicBezTo>
                  <a:lnTo>
                    <a:pt x="2709" y="13702"/>
                  </a:lnTo>
                  <a:close/>
                  <a:moveTo>
                    <a:pt x="1503" y="13521"/>
                  </a:moveTo>
                  <a:cubicBezTo>
                    <a:pt x="1503" y="13521"/>
                    <a:pt x="1534" y="13473"/>
                    <a:pt x="1565" y="13425"/>
                  </a:cubicBezTo>
                  <a:cubicBezTo>
                    <a:pt x="1581" y="13400"/>
                    <a:pt x="1597" y="13376"/>
                    <a:pt x="1609" y="13358"/>
                  </a:cubicBezTo>
                  <a:cubicBezTo>
                    <a:pt x="1615" y="13348"/>
                    <a:pt x="1620" y="13341"/>
                    <a:pt x="1623" y="13335"/>
                  </a:cubicBezTo>
                  <a:cubicBezTo>
                    <a:pt x="1624" y="13334"/>
                    <a:pt x="1625" y="13333"/>
                    <a:pt x="1625" y="13332"/>
                  </a:cubicBezTo>
                  <a:cubicBezTo>
                    <a:pt x="1561" y="12872"/>
                    <a:pt x="1561" y="12872"/>
                    <a:pt x="1561" y="12872"/>
                  </a:cubicBezTo>
                  <a:cubicBezTo>
                    <a:pt x="1329" y="12758"/>
                    <a:pt x="1329" y="12758"/>
                    <a:pt x="1329" y="12758"/>
                  </a:cubicBezTo>
                  <a:cubicBezTo>
                    <a:pt x="1307" y="12763"/>
                    <a:pt x="1230" y="12780"/>
                    <a:pt x="1153" y="12797"/>
                  </a:cubicBezTo>
                  <a:cubicBezTo>
                    <a:pt x="1107" y="12807"/>
                    <a:pt x="1061" y="12817"/>
                    <a:pt x="1027" y="12825"/>
                  </a:cubicBezTo>
                  <a:cubicBezTo>
                    <a:pt x="1010" y="12829"/>
                    <a:pt x="995" y="12832"/>
                    <a:pt x="985" y="12835"/>
                  </a:cubicBezTo>
                  <a:cubicBezTo>
                    <a:pt x="980" y="12836"/>
                    <a:pt x="969" y="12839"/>
                    <a:pt x="969" y="12839"/>
                  </a:cubicBezTo>
                  <a:cubicBezTo>
                    <a:pt x="969" y="12838"/>
                    <a:pt x="969" y="12838"/>
                    <a:pt x="969" y="12838"/>
                  </a:cubicBezTo>
                  <a:cubicBezTo>
                    <a:pt x="931" y="12846"/>
                    <a:pt x="815" y="12870"/>
                    <a:pt x="815" y="12870"/>
                  </a:cubicBezTo>
                  <a:cubicBezTo>
                    <a:pt x="772" y="12880"/>
                    <a:pt x="733" y="12887"/>
                    <a:pt x="702" y="12894"/>
                  </a:cubicBezTo>
                  <a:cubicBezTo>
                    <a:pt x="686" y="12898"/>
                    <a:pt x="673" y="12901"/>
                    <a:pt x="664" y="12903"/>
                  </a:cubicBezTo>
                  <a:cubicBezTo>
                    <a:pt x="668" y="12922"/>
                    <a:pt x="670" y="12940"/>
                    <a:pt x="671" y="12956"/>
                  </a:cubicBezTo>
                  <a:cubicBezTo>
                    <a:pt x="671" y="12963"/>
                    <a:pt x="671" y="12973"/>
                    <a:pt x="671" y="12986"/>
                  </a:cubicBezTo>
                  <a:cubicBezTo>
                    <a:pt x="671" y="13035"/>
                    <a:pt x="669" y="13125"/>
                    <a:pt x="664" y="13208"/>
                  </a:cubicBezTo>
                  <a:cubicBezTo>
                    <a:pt x="1024" y="13204"/>
                    <a:pt x="1024" y="13204"/>
                    <a:pt x="1024" y="13204"/>
                  </a:cubicBezTo>
                  <a:cubicBezTo>
                    <a:pt x="1126" y="13298"/>
                    <a:pt x="1126" y="13298"/>
                    <a:pt x="1126" y="13298"/>
                  </a:cubicBezTo>
                  <a:cubicBezTo>
                    <a:pt x="1456" y="13587"/>
                    <a:pt x="1456" y="13587"/>
                    <a:pt x="1456" y="13587"/>
                  </a:cubicBezTo>
                  <a:lnTo>
                    <a:pt x="1503" y="13521"/>
                  </a:lnTo>
                  <a:close/>
                  <a:moveTo>
                    <a:pt x="4305" y="14281"/>
                  </a:moveTo>
                  <a:cubicBezTo>
                    <a:pt x="4312" y="14272"/>
                    <a:pt x="4359" y="14210"/>
                    <a:pt x="4384" y="14173"/>
                  </a:cubicBezTo>
                  <a:cubicBezTo>
                    <a:pt x="4409" y="14134"/>
                    <a:pt x="4422" y="14099"/>
                    <a:pt x="4434" y="14050"/>
                  </a:cubicBezTo>
                  <a:cubicBezTo>
                    <a:pt x="4446" y="14002"/>
                    <a:pt x="4501" y="13625"/>
                    <a:pt x="4506" y="13578"/>
                  </a:cubicBezTo>
                  <a:cubicBezTo>
                    <a:pt x="4512" y="13527"/>
                    <a:pt x="4531" y="13416"/>
                    <a:pt x="4541" y="13366"/>
                  </a:cubicBezTo>
                  <a:cubicBezTo>
                    <a:pt x="4546" y="13337"/>
                    <a:pt x="4578" y="13255"/>
                    <a:pt x="4608" y="13177"/>
                  </a:cubicBezTo>
                  <a:cubicBezTo>
                    <a:pt x="4623" y="13137"/>
                    <a:pt x="4653" y="13062"/>
                    <a:pt x="4653" y="13062"/>
                  </a:cubicBezTo>
                  <a:cubicBezTo>
                    <a:pt x="4653" y="13062"/>
                    <a:pt x="4653" y="13062"/>
                    <a:pt x="4653" y="13062"/>
                  </a:cubicBezTo>
                  <a:cubicBezTo>
                    <a:pt x="4653" y="13062"/>
                    <a:pt x="4654" y="13061"/>
                    <a:pt x="4650" y="13059"/>
                  </a:cubicBezTo>
                  <a:cubicBezTo>
                    <a:pt x="4646" y="13057"/>
                    <a:pt x="4637" y="13054"/>
                    <a:pt x="4637" y="13054"/>
                  </a:cubicBezTo>
                  <a:cubicBezTo>
                    <a:pt x="4637" y="13054"/>
                    <a:pt x="4637" y="13054"/>
                    <a:pt x="4637" y="13054"/>
                  </a:cubicBezTo>
                  <a:cubicBezTo>
                    <a:pt x="4291" y="12955"/>
                    <a:pt x="4291" y="12955"/>
                    <a:pt x="4291" y="12955"/>
                  </a:cubicBezTo>
                  <a:cubicBezTo>
                    <a:pt x="4286" y="12953"/>
                    <a:pt x="4286" y="12953"/>
                    <a:pt x="4286" y="12953"/>
                  </a:cubicBezTo>
                  <a:cubicBezTo>
                    <a:pt x="4286" y="12953"/>
                    <a:pt x="4281" y="12953"/>
                    <a:pt x="4281" y="12945"/>
                  </a:cubicBezTo>
                  <a:cubicBezTo>
                    <a:pt x="4281" y="12944"/>
                    <a:pt x="4282" y="12943"/>
                    <a:pt x="4282" y="12942"/>
                  </a:cubicBezTo>
                  <a:cubicBezTo>
                    <a:pt x="4281" y="12942"/>
                    <a:pt x="4281" y="12942"/>
                    <a:pt x="4281" y="12942"/>
                  </a:cubicBezTo>
                  <a:cubicBezTo>
                    <a:pt x="4283" y="12938"/>
                    <a:pt x="4284" y="12933"/>
                    <a:pt x="4284" y="12928"/>
                  </a:cubicBezTo>
                  <a:cubicBezTo>
                    <a:pt x="4284" y="12910"/>
                    <a:pt x="4271" y="12884"/>
                    <a:pt x="4258" y="12864"/>
                  </a:cubicBezTo>
                  <a:cubicBezTo>
                    <a:pt x="4251" y="12854"/>
                    <a:pt x="4244" y="12845"/>
                    <a:pt x="4239" y="12839"/>
                  </a:cubicBezTo>
                  <a:cubicBezTo>
                    <a:pt x="4236" y="12836"/>
                    <a:pt x="4234" y="12833"/>
                    <a:pt x="4232" y="12831"/>
                  </a:cubicBezTo>
                  <a:cubicBezTo>
                    <a:pt x="4232" y="12830"/>
                    <a:pt x="4231" y="12829"/>
                    <a:pt x="4230" y="12829"/>
                  </a:cubicBezTo>
                  <a:cubicBezTo>
                    <a:pt x="4230" y="12828"/>
                    <a:pt x="4230" y="12828"/>
                    <a:pt x="4230" y="12828"/>
                  </a:cubicBezTo>
                  <a:cubicBezTo>
                    <a:pt x="4230" y="12828"/>
                    <a:pt x="4230" y="12828"/>
                    <a:pt x="4230" y="12828"/>
                  </a:cubicBezTo>
                  <a:cubicBezTo>
                    <a:pt x="4222" y="12821"/>
                    <a:pt x="4191" y="12797"/>
                    <a:pt x="4153" y="12762"/>
                  </a:cubicBezTo>
                  <a:cubicBezTo>
                    <a:pt x="4083" y="12700"/>
                    <a:pt x="3988" y="12613"/>
                    <a:pt x="3965" y="12592"/>
                  </a:cubicBezTo>
                  <a:cubicBezTo>
                    <a:pt x="3951" y="12618"/>
                    <a:pt x="3930" y="12647"/>
                    <a:pt x="3892" y="12680"/>
                  </a:cubicBezTo>
                  <a:cubicBezTo>
                    <a:pt x="3823" y="12739"/>
                    <a:pt x="3651" y="12782"/>
                    <a:pt x="3617" y="12790"/>
                  </a:cubicBezTo>
                  <a:cubicBezTo>
                    <a:pt x="3638" y="12824"/>
                    <a:pt x="3651" y="12862"/>
                    <a:pt x="3651" y="12907"/>
                  </a:cubicBezTo>
                  <a:cubicBezTo>
                    <a:pt x="3651" y="12939"/>
                    <a:pt x="3645" y="12975"/>
                    <a:pt x="3631" y="13014"/>
                  </a:cubicBezTo>
                  <a:cubicBezTo>
                    <a:pt x="3580" y="13154"/>
                    <a:pt x="3369" y="13253"/>
                    <a:pt x="3368" y="13254"/>
                  </a:cubicBezTo>
                  <a:cubicBezTo>
                    <a:pt x="3367" y="13254"/>
                    <a:pt x="3367" y="13254"/>
                    <a:pt x="3367" y="13254"/>
                  </a:cubicBezTo>
                  <a:cubicBezTo>
                    <a:pt x="3367" y="13254"/>
                    <a:pt x="3367" y="13254"/>
                    <a:pt x="3367" y="13254"/>
                  </a:cubicBezTo>
                  <a:cubicBezTo>
                    <a:pt x="3271" y="13290"/>
                    <a:pt x="3069" y="13305"/>
                    <a:pt x="2965" y="13342"/>
                  </a:cubicBezTo>
                  <a:cubicBezTo>
                    <a:pt x="2902" y="13364"/>
                    <a:pt x="2857" y="13381"/>
                    <a:pt x="2834" y="13419"/>
                  </a:cubicBezTo>
                  <a:cubicBezTo>
                    <a:pt x="2798" y="13475"/>
                    <a:pt x="2772" y="13553"/>
                    <a:pt x="2755" y="13618"/>
                  </a:cubicBezTo>
                  <a:cubicBezTo>
                    <a:pt x="2747" y="13649"/>
                    <a:pt x="2741" y="13677"/>
                    <a:pt x="2737" y="13698"/>
                  </a:cubicBezTo>
                  <a:cubicBezTo>
                    <a:pt x="2737" y="13702"/>
                    <a:pt x="2738" y="13708"/>
                    <a:pt x="2739" y="13713"/>
                  </a:cubicBezTo>
                  <a:lnTo>
                    <a:pt x="4305" y="14281"/>
                  </a:lnTo>
                  <a:close/>
                  <a:moveTo>
                    <a:pt x="2509" y="11727"/>
                  </a:moveTo>
                  <a:cubicBezTo>
                    <a:pt x="2681" y="11678"/>
                    <a:pt x="2681" y="11678"/>
                    <a:pt x="2681" y="11678"/>
                  </a:cubicBezTo>
                  <a:cubicBezTo>
                    <a:pt x="2777" y="11584"/>
                    <a:pt x="2777" y="11584"/>
                    <a:pt x="2777" y="11584"/>
                  </a:cubicBezTo>
                  <a:cubicBezTo>
                    <a:pt x="2847" y="11400"/>
                    <a:pt x="2847" y="11400"/>
                    <a:pt x="2847" y="11400"/>
                  </a:cubicBezTo>
                  <a:cubicBezTo>
                    <a:pt x="2877" y="11260"/>
                    <a:pt x="2877" y="11260"/>
                    <a:pt x="2877" y="11260"/>
                  </a:cubicBezTo>
                  <a:cubicBezTo>
                    <a:pt x="2877" y="11250"/>
                    <a:pt x="2879" y="11179"/>
                    <a:pt x="2879" y="11146"/>
                  </a:cubicBezTo>
                  <a:cubicBezTo>
                    <a:pt x="2879" y="11141"/>
                    <a:pt x="2879" y="11136"/>
                    <a:pt x="2879" y="11133"/>
                  </a:cubicBezTo>
                  <a:cubicBezTo>
                    <a:pt x="2879" y="11133"/>
                    <a:pt x="2878" y="11133"/>
                    <a:pt x="2876" y="11131"/>
                  </a:cubicBezTo>
                  <a:cubicBezTo>
                    <a:pt x="2872" y="11129"/>
                    <a:pt x="2864" y="11124"/>
                    <a:pt x="2847" y="11119"/>
                  </a:cubicBezTo>
                  <a:cubicBezTo>
                    <a:pt x="2828" y="11113"/>
                    <a:pt x="2784" y="11100"/>
                    <a:pt x="2745" y="11088"/>
                  </a:cubicBezTo>
                  <a:cubicBezTo>
                    <a:pt x="2725" y="11082"/>
                    <a:pt x="2707" y="11076"/>
                    <a:pt x="2693" y="11072"/>
                  </a:cubicBezTo>
                  <a:cubicBezTo>
                    <a:pt x="2690" y="11072"/>
                    <a:pt x="2688" y="11071"/>
                    <a:pt x="2686" y="11071"/>
                  </a:cubicBezTo>
                  <a:cubicBezTo>
                    <a:pt x="2644" y="11126"/>
                    <a:pt x="2609" y="11175"/>
                    <a:pt x="2577" y="11227"/>
                  </a:cubicBezTo>
                  <a:cubicBezTo>
                    <a:pt x="2546" y="11275"/>
                    <a:pt x="2517" y="11323"/>
                    <a:pt x="2482" y="11389"/>
                  </a:cubicBezTo>
                  <a:cubicBezTo>
                    <a:pt x="2418" y="11512"/>
                    <a:pt x="2360" y="11642"/>
                    <a:pt x="2322" y="11740"/>
                  </a:cubicBezTo>
                  <a:cubicBezTo>
                    <a:pt x="2322" y="11740"/>
                    <a:pt x="2330" y="11741"/>
                    <a:pt x="2335" y="11741"/>
                  </a:cubicBezTo>
                  <a:lnTo>
                    <a:pt x="2509" y="11727"/>
                  </a:lnTo>
                  <a:close/>
                  <a:moveTo>
                    <a:pt x="2801" y="11590"/>
                  </a:moveTo>
                  <a:cubicBezTo>
                    <a:pt x="2899" y="11701"/>
                    <a:pt x="2899" y="11701"/>
                    <a:pt x="2899" y="11701"/>
                  </a:cubicBezTo>
                  <a:cubicBezTo>
                    <a:pt x="3242" y="11820"/>
                    <a:pt x="3242" y="11820"/>
                    <a:pt x="3242" y="11820"/>
                  </a:cubicBezTo>
                  <a:cubicBezTo>
                    <a:pt x="3391" y="11896"/>
                    <a:pt x="3391" y="11896"/>
                    <a:pt x="3391" y="11896"/>
                  </a:cubicBezTo>
                  <a:cubicBezTo>
                    <a:pt x="3611" y="12176"/>
                    <a:pt x="3611" y="12176"/>
                    <a:pt x="3611" y="12176"/>
                  </a:cubicBezTo>
                  <a:cubicBezTo>
                    <a:pt x="3811" y="12378"/>
                    <a:pt x="3811" y="12378"/>
                    <a:pt x="3811" y="12378"/>
                  </a:cubicBezTo>
                  <a:cubicBezTo>
                    <a:pt x="3892" y="12646"/>
                    <a:pt x="3892" y="12646"/>
                    <a:pt x="3892" y="12646"/>
                  </a:cubicBezTo>
                  <a:cubicBezTo>
                    <a:pt x="3945" y="12595"/>
                    <a:pt x="3953" y="12558"/>
                    <a:pt x="3966" y="12522"/>
                  </a:cubicBezTo>
                  <a:cubicBezTo>
                    <a:pt x="3980" y="12486"/>
                    <a:pt x="4011" y="12370"/>
                    <a:pt x="4022" y="12338"/>
                  </a:cubicBezTo>
                  <a:cubicBezTo>
                    <a:pt x="4028" y="12320"/>
                    <a:pt x="4035" y="12294"/>
                    <a:pt x="4047" y="12266"/>
                  </a:cubicBezTo>
                  <a:cubicBezTo>
                    <a:pt x="4042" y="12261"/>
                    <a:pt x="4033" y="12254"/>
                    <a:pt x="4021" y="12244"/>
                  </a:cubicBezTo>
                  <a:cubicBezTo>
                    <a:pt x="3971" y="12201"/>
                    <a:pt x="3877" y="12119"/>
                    <a:pt x="3877" y="12119"/>
                  </a:cubicBezTo>
                  <a:cubicBezTo>
                    <a:pt x="3876" y="12117"/>
                    <a:pt x="3876" y="12117"/>
                    <a:pt x="3876" y="12117"/>
                  </a:cubicBezTo>
                  <a:cubicBezTo>
                    <a:pt x="3737" y="11825"/>
                    <a:pt x="3737" y="11825"/>
                    <a:pt x="3737" y="11825"/>
                  </a:cubicBezTo>
                  <a:cubicBezTo>
                    <a:pt x="3726" y="11817"/>
                    <a:pt x="3686" y="11788"/>
                    <a:pt x="3645" y="11758"/>
                  </a:cubicBezTo>
                  <a:cubicBezTo>
                    <a:pt x="3622" y="11741"/>
                    <a:pt x="3598" y="11723"/>
                    <a:pt x="3580" y="11711"/>
                  </a:cubicBezTo>
                  <a:cubicBezTo>
                    <a:pt x="3571" y="11704"/>
                    <a:pt x="3564" y="11699"/>
                    <a:pt x="3558" y="11695"/>
                  </a:cubicBezTo>
                  <a:cubicBezTo>
                    <a:pt x="3556" y="11693"/>
                    <a:pt x="3554" y="11692"/>
                    <a:pt x="3552" y="11691"/>
                  </a:cubicBezTo>
                  <a:cubicBezTo>
                    <a:pt x="3552" y="11691"/>
                    <a:pt x="3552" y="11690"/>
                    <a:pt x="3551" y="11690"/>
                  </a:cubicBezTo>
                  <a:cubicBezTo>
                    <a:pt x="3549" y="11689"/>
                    <a:pt x="3549" y="11688"/>
                    <a:pt x="3548" y="11688"/>
                  </a:cubicBezTo>
                  <a:cubicBezTo>
                    <a:pt x="3546" y="11685"/>
                    <a:pt x="3546" y="11685"/>
                    <a:pt x="3545" y="11684"/>
                  </a:cubicBezTo>
                  <a:cubicBezTo>
                    <a:pt x="3536" y="11668"/>
                    <a:pt x="3462" y="11502"/>
                    <a:pt x="3450" y="11475"/>
                  </a:cubicBezTo>
                  <a:cubicBezTo>
                    <a:pt x="3152" y="11316"/>
                    <a:pt x="3152" y="11316"/>
                    <a:pt x="3152" y="11316"/>
                  </a:cubicBezTo>
                  <a:cubicBezTo>
                    <a:pt x="3164" y="11294"/>
                    <a:pt x="3164" y="11294"/>
                    <a:pt x="3164" y="11294"/>
                  </a:cubicBezTo>
                  <a:cubicBezTo>
                    <a:pt x="3469" y="11457"/>
                    <a:pt x="3469" y="11457"/>
                    <a:pt x="3469" y="11457"/>
                  </a:cubicBezTo>
                  <a:cubicBezTo>
                    <a:pt x="3470" y="11461"/>
                    <a:pt x="3470" y="11461"/>
                    <a:pt x="3470" y="11461"/>
                  </a:cubicBezTo>
                  <a:cubicBezTo>
                    <a:pt x="3470" y="11461"/>
                    <a:pt x="3494" y="11514"/>
                    <a:pt x="3518" y="11568"/>
                  </a:cubicBezTo>
                  <a:cubicBezTo>
                    <a:pt x="3530" y="11594"/>
                    <a:pt x="3543" y="11621"/>
                    <a:pt x="3552" y="11641"/>
                  </a:cubicBezTo>
                  <a:cubicBezTo>
                    <a:pt x="3556" y="11651"/>
                    <a:pt x="3560" y="11659"/>
                    <a:pt x="3563" y="11665"/>
                  </a:cubicBezTo>
                  <a:cubicBezTo>
                    <a:pt x="3564" y="11667"/>
                    <a:pt x="3565" y="11669"/>
                    <a:pt x="3566" y="11670"/>
                  </a:cubicBezTo>
                  <a:cubicBezTo>
                    <a:pt x="3578" y="11679"/>
                    <a:pt x="3619" y="11709"/>
                    <a:pt x="3662" y="11740"/>
                  </a:cubicBezTo>
                  <a:cubicBezTo>
                    <a:pt x="3708" y="11773"/>
                    <a:pt x="3754" y="11807"/>
                    <a:pt x="3754" y="11807"/>
                  </a:cubicBezTo>
                  <a:cubicBezTo>
                    <a:pt x="3756" y="11809"/>
                    <a:pt x="3756" y="11809"/>
                    <a:pt x="3756" y="11809"/>
                  </a:cubicBezTo>
                  <a:cubicBezTo>
                    <a:pt x="3896" y="12102"/>
                    <a:pt x="3896" y="12102"/>
                    <a:pt x="3896" y="12102"/>
                  </a:cubicBezTo>
                  <a:cubicBezTo>
                    <a:pt x="3904" y="12110"/>
                    <a:pt x="3942" y="12143"/>
                    <a:pt x="3980" y="12176"/>
                  </a:cubicBezTo>
                  <a:cubicBezTo>
                    <a:pt x="4002" y="12194"/>
                    <a:pt x="4023" y="12213"/>
                    <a:pt x="4040" y="12227"/>
                  </a:cubicBezTo>
                  <a:cubicBezTo>
                    <a:pt x="4047" y="12234"/>
                    <a:pt x="4053" y="12239"/>
                    <a:pt x="4058" y="12243"/>
                  </a:cubicBezTo>
                  <a:cubicBezTo>
                    <a:pt x="4066" y="12227"/>
                    <a:pt x="4076" y="12212"/>
                    <a:pt x="4089" y="12197"/>
                  </a:cubicBezTo>
                  <a:cubicBezTo>
                    <a:pt x="4106" y="12177"/>
                    <a:pt x="4128" y="12154"/>
                    <a:pt x="4151" y="12133"/>
                  </a:cubicBezTo>
                  <a:cubicBezTo>
                    <a:pt x="4184" y="12102"/>
                    <a:pt x="4216" y="12078"/>
                    <a:pt x="4217" y="12076"/>
                  </a:cubicBezTo>
                  <a:cubicBezTo>
                    <a:pt x="4222" y="12082"/>
                    <a:pt x="4222" y="12082"/>
                    <a:pt x="4222" y="12082"/>
                  </a:cubicBezTo>
                  <a:cubicBezTo>
                    <a:pt x="4217" y="12077"/>
                    <a:pt x="4217" y="12077"/>
                    <a:pt x="4217" y="12077"/>
                  </a:cubicBezTo>
                  <a:cubicBezTo>
                    <a:pt x="4226" y="12063"/>
                    <a:pt x="4226" y="12063"/>
                    <a:pt x="4226" y="12063"/>
                  </a:cubicBezTo>
                  <a:cubicBezTo>
                    <a:pt x="4224" y="12060"/>
                    <a:pt x="4223" y="12059"/>
                    <a:pt x="4223" y="12059"/>
                  </a:cubicBezTo>
                  <a:cubicBezTo>
                    <a:pt x="4223" y="12057"/>
                    <a:pt x="4223" y="12057"/>
                    <a:pt x="4223" y="12057"/>
                  </a:cubicBezTo>
                  <a:cubicBezTo>
                    <a:pt x="3414" y="10998"/>
                    <a:pt x="3414" y="10998"/>
                    <a:pt x="3414" y="10998"/>
                  </a:cubicBezTo>
                  <a:cubicBezTo>
                    <a:pt x="3414" y="10998"/>
                    <a:pt x="3414" y="10998"/>
                    <a:pt x="3414" y="10998"/>
                  </a:cubicBezTo>
                  <a:cubicBezTo>
                    <a:pt x="3173" y="10687"/>
                    <a:pt x="3173" y="10687"/>
                    <a:pt x="3173" y="10687"/>
                  </a:cubicBezTo>
                  <a:cubicBezTo>
                    <a:pt x="3122" y="10706"/>
                    <a:pt x="2993" y="10758"/>
                    <a:pt x="2895" y="10848"/>
                  </a:cubicBezTo>
                  <a:cubicBezTo>
                    <a:pt x="2885" y="10858"/>
                    <a:pt x="2868" y="10874"/>
                    <a:pt x="2844" y="10896"/>
                  </a:cubicBezTo>
                  <a:cubicBezTo>
                    <a:pt x="2804" y="10935"/>
                    <a:pt x="2751" y="10988"/>
                    <a:pt x="2705" y="11047"/>
                  </a:cubicBezTo>
                  <a:cubicBezTo>
                    <a:pt x="2704" y="11048"/>
                    <a:pt x="2703" y="11049"/>
                    <a:pt x="2703" y="11050"/>
                  </a:cubicBezTo>
                  <a:cubicBezTo>
                    <a:pt x="2746" y="11062"/>
                    <a:pt x="2826" y="11087"/>
                    <a:pt x="2854" y="11096"/>
                  </a:cubicBezTo>
                  <a:cubicBezTo>
                    <a:pt x="2875" y="11102"/>
                    <a:pt x="2886" y="11108"/>
                    <a:pt x="2892" y="11112"/>
                  </a:cubicBezTo>
                  <a:cubicBezTo>
                    <a:pt x="2895" y="11114"/>
                    <a:pt x="2897" y="11116"/>
                    <a:pt x="2898" y="11118"/>
                  </a:cubicBezTo>
                  <a:cubicBezTo>
                    <a:pt x="2901" y="11120"/>
                    <a:pt x="2901" y="11122"/>
                    <a:pt x="2902" y="11122"/>
                  </a:cubicBezTo>
                  <a:cubicBezTo>
                    <a:pt x="2904" y="11127"/>
                    <a:pt x="2903" y="11127"/>
                    <a:pt x="2903" y="11129"/>
                  </a:cubicBezTo>
                  <a:cubicBezTo>
                    <a:pt x="2904" y="11132"/>
                    <a:pt x="2904" y="11138"/>
                    <a:pt x="2904" y="11146"/>
                  </a:cubicBezTo>
                  <a:cubicBezTo>
                    <a:pt x="2904" y="11183"/>
                    <a:pt x="2902" y="11262"/>
                    <a:pt x="2902" y="11262"/>
                  </a:cubicBezTo>
                  <a:cubicBezTo>
                    <a:pt x="2902" y="11263"/>
                    <a:pt x="2902" y="11263"/>
                    <a:pt x="2902" y="11263"/>
                  </a:cubicBezTo>
                  <a:cubicBezTo>
                    <a:pt x="2871" y="11407"/>
                    <a:pt x="2871" y="11407"/>
                    <a:pt x="2871" y="11407"/>
                  </a:cubicBezTo>
                  <a:lnTo>
                    <a:pt x="2801" y="11590"/>
                  </a:lnTo>
                  <a:close/>
                  <a:moveTo>
                    <a:pt x="4185" y="9251"/>
                  </a:moveTo>
                  <a:cubicBezTo>
                    <a:pt x="4188" y="9251"/>
                    <a:pt x="4188" y="9251"/>
                    <a:pt x="4188" y="9251"/>
                  </a:cubicBezTo>
                  <a:cubicBezTo>
                    <a:pt x="4301" y="9245"/>
                    <a:pt x="4747" y="9218"/>
                    <a:pt x="4958" y="9185"/>
                  </a:cubicBezTo>
                  <a:cubicBezTo>
                    <a:pt x="5194" y="9147"/>
                    <a:pt x="5332" y="8976"/>
                    <a:pt x="5390" y="8913"/>
                  </a:cubicBezTo>
                  <a:cubicBezTo>
                    <a:pt x="5423" y="8877"/>
                    <a:pt x="5435" y="8826"/>
                    <a:pt x="5435" y="8763"/>
                  </a:cubicBezTo>
                  <a:cubicBezTo>
                    <a:pt x="5435" y="8726"/>
                    <a:pt x="5431" y="8686"/>
                    <a:pt x="5426" y="8643"/>
                  </a:cubicBezTo>
                  <a:cubicBezTo>
                    <a:pt x="5415" y="8555"/>
                    <a:pt x="5381" y="8377"/>
                    <a:pt x="5366" y="8297"/>
                  </a:cubicBezTo>
                  <a:cubicBezTo>
                    <a:pt x="5284" y="8291"/>
                    <a:pt x="5210" y="8285"/>
                    <a:pt x="5152" y="8283"/>
                  </a:cubicBezTo>
                  <a:cubicBezTo>
                    <a:pt x="5074" y="8279"/>
                    <a:pt x="4976" y="8276"/>
                    <a:pt x="4868" y="8276"/>
                  </a:cubicBezTo>
                  <a:cubicBezTo>
                    <a:pt x="4546" y="8275"/>
                    <a:pt x="4128" y="8308"/>
                    <a:pt x="3850" y="8445"/>
                  </a:cubicBezTo>
                  <a:lnTo>
                    <a:pt x="4185" y="9251"/>
                  </a:lnTo>
                  <a:close/>
                  <a:moveTo>
                    <a:pt x="7868" y="6381"/>
                  </a:moveTo>
                  <a:cubicBezTo>
                    <a:pt x="8006" y="6397"/>
                    <a:pt x="8143" y="6412"/>
                    <a:pt x="8260" y="6426"/>
                  </a:cubicBezTo>
                  <a:cubicBezTo>
                    <a:pt x="8243" y="6084"/>
                    <a:pt x="8145" y="5618"/>
                    <a:pt x="7977" y="5240"/>
                  </a:cubicBezTo>
                  <a:cubicBezTo>
                    <a:pt x="7933" y="5140"/>
                    <a:pt x="7875" y="5043"/>
                    <a:pt x="7809" y="4949"/>
                  </a:cubicBezTo>
                  <a:cubicBezTo>
                    <a:pt x="6155" y="4877"/>
                    <a:pt x="6155" y="4877"/>
                    <a:pt x="6155" y="4877"/>
                  </a:cubicBezTo>
                  <a:cubicBezTo>
                    <a:pt x="5942" y="6157"/>
                    <a:pt x="5942" y="6157"/>
                    <a:pt x="5942" y="6157"/>
                  </a:cubicBezTo>
                  <a:cubicBezTo>
                    <a:pt x="7168" y="6304"/>
                    <a:pt x="7168" y="6304"/>
                    <a:pt x="7168" y="6304"/>
                  </a:cubicBezTo>
                  <a:cubicBezTo>
                    <a:pt x="7168" y="6304"/>
                    <a:pt x="7517" y="6342"/>
                    <a:pt x="7868" y="6381"/>
                  </a:cubicBezTo>
                  <a:close/>
                  <a:moveTo>
                    <a:pt x="5198" y="3367"/>
                  </a:moveTo>
                  <a:cubicBezTo>
                    <a:pt x="5035" y="3745"/>
                    <a:pt x="5035" y="3745"/>
                    <a:pt x="5035" y="3745"/>
                  </a:cubicBezTo>
                  <a:cubicBezTo>
                    <a:pt x="5161" y="3781"/>
                    <a:pt x="5286" y="3822"/>
                    <a:pt x="5393" y="3868"/>
                  </a:cubicBezTo>
                  <a:cubicBezTo>
                    <a:pt x="5582" y="3949"/>
                    <a:pt x="5691" y="4077"/>
                    <a:pt x="5956" y="4224"/>
                  </a:cubicBezTo>
                  <a:cubicBezTo>
                    <a:pt x="6138" y="4327"/>
                    <a:pt x="6167" y="4561"/>
                    <a:pt x="6168" y="4714"/>
                  </a:cubicBezTo>
                  <a:cubicBezTo>
                    <a:pt x="6168" y="4771"/>
                    <a:pt x="6163" y="4816"/>
                    <a:pt x="6160" y="4841"/>
                  </a:cubicBezTo>
                  <a:cubicBezTo>
                    <a:pt x="7782" y="4912"/>
                    <a:pt x="7782" y="4912"/>
                    <a:pt x="7782" y="4912"/>
                  </a:cubicBezTo>
                  <a:cubicBezTo>
                    <a:pt x="7666" y="4755"/>
                    <a:pt x="7530" y="4606"/>
                    <a:pt x="7403" y="4466"/>
                  </a:cubicBezTo>
                  <a:cubicBezTo>
                    <a:pt x="7297" y="4348"/>
                    <a:pt x="7198" y="4237"/>
                    <a:pt x="7123" y="4127"/>
                  </a:cubicBezTo>
                  <a:cubicBezTo>
                    <a:pt x="7049" y="4018"/>
                    <a:pt x="6997" y="3908"/>
                    <a:pt x="6996" y="3792"/>
                  </a:cubicBezTo>
                  <a:cubicBezTo>
                    <a:pt x="6996" y="3774"/>
                    <a:pt x="6997" y="3757"/>
                    <a:pt x="7000" y="3739"/>
                  </a:cubicBezTo>
                  <a:cubicBezTo>
                    <a:pt x="7016" y="3629"/>
                    <a:pt x="7066" y="3538"/>
                    <a:pt x="7130" y="3468"/>
                  </a:cubicBezTo>
                  <a:cubicBezTo>
                    <a:pt x="7196" y="3397"/>
                    <a:pt x="7275" y="3346"/>
                    <a:pt x="7354" y="3307"/>
                  </a:cubicBezTo>
                  <a:cubicBezTo>
                    <a:pt x="7338" y="3276"/>
                    <a:pt x="7319" y="3239"/>
                    <a:pt x="7298" y="3203"/>
                  </a:cubicBezTo>
                  <a:cubicBezTo>
                    <a:pt x="7265" y="3148"/>
                    <a:pt x="7226" y="3096"/>
                    <a:pt x="7195" y="3072"/>
                  </a:cubicBezTo>
                  <a:cubicBezTo>
                    <a:pt x="7100" y="2997"/>
                    <a:pt x="6975" y="2976"/>
                    <a:pt x="6864" y="2951"/>
                  </a:cubicBezTo>
                  <a:cubicBezTo>
                    <a:pt x="6754" y="2926"/>
                    <a:pt x="6191" y="2782"/>
                    <a:pt x="6013" y="2729"/>
                  </a:cubicBezTo>
                  <a:cubicBezTo>
                    <a:pt x="5866" y="2685"/>
                    <a:pt x="5463" y="2565"/>
                    <a:pt x="5338" y="2528"/>
                  </a:cubicBezTo>
                  <a:cubicBezTo>
                    <a:pt x="5330" y="2540"/>
                    <a:pt x="5330" y="2540"/>
                    <a:pt x="5330" y="2540"/>
                  </a:cubicBezTo>
                  <a:cubicBezTo>
                    <a:pt x="5294" y="2667"/>
                    <a:pt x="5200" y="2957"/>
                    <a:pt x="5190" y="2989"/>
                  </a:cubicBezTo>
                  <a:lnTo>
                    <a:pt x="5198" y="3367"/>
                  </a:lnTo>
                  <a:close/>
                  <a:moveTo>
                    <a:pt x="7070" y="2434"/>
                  </a:moveTo>
                  <a:cubicBezTo>
                    <a:pt x="6959" y="2418"/>
                    <a:pt x="6834" y="2402"/>
                    <a:pt x="6785" y="2402"/>
                  </a:cubicBezTo>
                  <a:cubicBezTo>
                    <a:pt x="6685" y="2402"/>
                    <a:pt x="6621" y="2420"/>
                    <a:pt x="6581" y="2476"/>
                  </a:cubicBezTo>
                  <a:cubicBezTo>
                    <a:pt x="6509" y="2728"/>
                    <a:pt x="6509" y="2728"/>
                    <a:pt x="6509" y="2728"/>
                  </a:cubicBezTo>
                  <a:cubicBezTo>
                    <a:pt x="6509" y="2733"/>
                    <a:pt x="6509" y="2739"/>
                    <a:pt x="6509" y="2743"/>
                  </a:cubicBezTo>
                  <a:cubicBezTo>
                    <a:pt x="6679" y="2787"/>
                    <a:pt x="6839" y="2827"/>
                    <a:pt x="6890" y="2839"/>
                  </a:cubicBezTo>
                  <a:cubicBezTo>
                    <a:pt x="6994" y="2863"/>
                    <a:pt x="7140" y="2885"/>
                    <a:pt x="7266" y="2982"/>
                  </a:cubicBezTo>
                  <a:cubicBezTo>
                    <a:pt x="7293" y="3003"/>
                    <a:pt x="7318" y="3031"/>
                    <a:pt x="7341" y="3061"/>
                  </a:cubicBezTo>
                  <a:cubicBezTo>
                    <a:pt x="7425" y="3035"/>
                    <a:pt x="7681" y="2956"/>
                    <a:pt x="7937" y="2877"/>
                  </a:cubicBezTo>
                  <a:cubicBezTo>
                    <a:pt x="8093" y="2829"/>
                    <a:pt x="8250" y="2781"/>
                    <a:pt x="8367" y="2745"/>
                  </a:cubicBezTo>
                  <a:cubicBezTo>
                    <a:pt x="8426" y="2727"/>
                    <a:pt x="8475" y="2711"/>
                    <a:pt x="8509" y="2701"/>
                  </a:cubicBezTo>
                  <a:cubicBezTo>
                    <a:pt x="8523" y="2697"/>
                    <a:pt x="8534" y="2693"/>
                    <a:pt x="8543" y="2691"/>
                  </a:cubicBezTo>
                  <a:cubicBezTo>
                    <a:pt x="8545" y="2677"/>
                    <a:pt x="8545" y="2677"/>
                    <a:pt x="8545" y="2677"/>
                  </a:cubicBezTo>
                  <a:cubicBezTo>
                    <a:pt x="8543" y="2625"/>
                    <a:pt x="8538" y="2526"/>
                    <a:pt x="8534" y="2443"/>
                  </a:cubicBezTo>
                  <a:cubicBezTo>
                    <a:pt x="7281" y="2467"/>
                    <a:pt x="7281" y="2467"/>
                    <a:pt x="7281" y="2467"/>
                  </a:cubicBezTo>
                  <a:cubicBezTo>
                    <a:pt x="7280" y="2467"/>
                    <a:pt x="7280" y="2467"/>
                    <a:pt x="7280" y="2467"/>
                  </a:cubicBezTo>
                  <a:cubicBezTo>
                    <a:pt x="7279" y="2467"/>
                    <a:pt x="7181" y="2451"/>
                    <a:pt x="7070" y="2434"/>
                  </a:cubicBezTo>
                  <a:close/>
                  <a:moveTo>
                    <a:pt x="10702" y="2974"/>
                  </a:moveTo>
                  <a:cubicBezTo>
                    <a:pt x="10702" y="2980"/>
                    <a:pt x="10702" y="2980"/>
                    <a:pt x="10702" y="2980"/>
                  </a:cubicBezTo>
                  <a:cubicBezTo>
                    <a:pt x="10702" y="2981"/>
                    <a:pt x="10702" y="2981"/>
                    <a:pt x="10702" y="2982"/>
                  </a:cubicBezTo>
                  <a:cubicBezTo>
                    <a:pt x="10702" y="2980"/>
                    <a:pt x="10702" y="2980"/>
                    <a:pt x="10702" y="2980"/>
                  </a:cubicBezTo>
                  <a:cubicBezTo>
                    <a:pt x="10702" y="2975"/>
                    <a:pt x="10702" y="2975"/>
                    <a:pt x="10702" y="2975"/>
                  </a:cubicBezTo>
                  <a:cubicBezTo>
                    <a:pt x="10702" y="2983"/>
                    <a:pt x="10702" y="2983"/>
                    <a:pt x="10702" y="2983"/>
                  </a:cubicBezTo>
                  <a:cubicBezTo>
                    <a:pt x="10702" y="2984"/>
                    <a:pt x="10703" y="2985"/>
                    <a:pt x="10703" y="2986"/>
                  </a:cubicBezTo>
                  <a:lnTo>
                    <a:pt x="10702" y="2974"/>
                  </a:lnTo>
                  <a:close/>
                  <a:moveTo>
                    <a:pt x="10662" y="2972"/>
                  </a:moveTo>
                  <a:cubicBezTo>
                    <a:pt x="10623" y="2816"/>
                    <a:pt x="10582" y="2663"/>
                    <a:pt x="10549" y="2541"/>
                  </a:cubicBezTo>
                  <a:cubicBezTo>
                    <a:pt x="10430" y="2577"/>
                    <a:pt x="10282" y="2620"/>
                    <a:pt x="10116" y="2668"/>
                  </a:cubicBezTo>
                  <a:cubicBezTo>
                    <a:pt x="9665" y="2796"/>
                    <a:pt x="9084" y="2953"/>
                    <a:pt x="8608" y="3082"/>
                  </a:cubicBezTo>
                  <a:cubicBezTo>
                    <a:pt x="8370" y="3146"/>
                    <a:pt x="8158" y="3203"/>
                    <a:pt x="8002" y="3246"/>
                  </a:cubicBezTo>
                  <a:cubicBezTo>
                    <a:pt x="7924" y="3267"/>
                    <a:pt x="7860" y="3285"/>
                    <a:pt x="7814" y="3298"/>
                  </a:cubicBezTo>
                  <a:cubicBezTo>
                    <a:pt x="7791" y="3304"/>
                    <a:pt x="7773" y="3310"/>
                    <a:pt x="7759" y="3314"/>
                  </a:cubicBezTo>
                  <a:cubicBezTo>
                    <a:pt x="7753" y="3316"/>
                    <a:pt x="7747" y="3317"/>
                    <a:pt x="7744" y="3318"/>
                  </a:cubicBezTo>
                  <a:cubicBezTo>
                    <a:pt x="7742" y="3319"/>
                    <a:pt x="7740" y="3319"/>
                    <a:pt x="7740" y="3320"/>
                  </a:cubicBezTo>
                  <a:cubicBezTo>
                    <a:pt x="7740" y="3320"/>
                    <a:pt x="7740" y="3320"/>
                    <a:pt x="7740" y="3320"/>
                  </a:cubicBezTo>
                  <a:cubicBezTo>
                    <a:pt x="7722" y="3327"/>
                    <a:pt x="7705" y="3332"/>
                    <a:pt x="7682" y="3338"/>
                  </a:cubicBezTo>
                  <a:cubicBezTo>
                    <a:pt x="7639" y="3350"/>
                    <a:pt x="7579" y="3366"/>
                    <a:pt x="7515" y="3390"/>
                  </a:cubicBezTo>
                  <a:cubicBezTo>
                    <a:pt x="7921" y="4406"/>
                    <a:pt x="7921" y="4406"/>
                    <a:pt x="7921" y="4406"/>
                  </a:cubicBezTo>
                  <a:cubicBezTo>
                    <a:pt x="7994" y="4531"/>
                    <a:pt x="7994" y="4531"/>
                    <a:pt x="7994" y="4531"/>
                  </a:cubicBezTo>
                  <a:cubicBezTo>
                    <a:pt x="8020" y="4530"/>
                    <a:pt x="8020" y="4530"/>
                    <a:pt x="8020" y="4530"/>
                  </a:cubicBezTo>
                  <a:cubicBezTo>
                    <a:pt x="10844" y="3715"/>
                    <a:pt x="10844" y="3715"/>
                    <a:pt x="10844" y="3715"/>
                  </a:cubicBezTo>
                  <a:cubicBezTo>
                    <a:pt x="10812" y="3587"/>
                    <a:pt x="10739" y="3276"/>
                    <a:pt x="10662" y="2972"/>
                  </a:cubicBezTo>
                  <a:close/>
                  <a:moveTo>
                    <a:pt x="8547" y="6459"/>
                  </a:moveTo>
                  <a:cubicBezTo>
                    <a:pt x="8547" y="6344"/>
                    <a:pt x="8544" y="6234"/>
                    <a:pt x="8539" y="6148"/>
                  </a:cubicBezTo>
                  <a:cubicBezTo>
                    <a:pt x="8523" y="5843"/>
                    <a:pt x="8348" y="5386"/>
                    <a:pt x="8235" y="5172"/>
                  </a:cubicBezTo>
                  <a:cubicBezTo>
                    <a:pt x="8113" y="4963"/>
                    <a:pt x="8113" y="4963"/>
                    <a:pt x="8113" y="4963"/>
                  </a:cubicBezTo>
                  <a:cubicBezTo>
                    <a:pt x="7982" y="4957"/>
                    <a:pt x="7982" y="4957"/>
                    <a:pt x="7982" y="4957"/>
                  </a:cubicBezTo>
                  <a:cubicBezTo>
                    <a:pt x="8028" y="5030"/>
                    <a:pt x="8070" y="5105"/>
                    <a:pt x="8105" y="5183"/>
                  </a:cubicBezTo>
                  <a:cubicBezTo>
                    <a:pt x="8285" y="5591"/>
                    <a:pt x="8385" y="6078"/>
                    <a:pt x="8400" y="6442"/>
                  </a:cubicBezTo>
                  <a:cubicBezTo>
                    <a:pt x="8446" y="6448"/>
                    <a:pt x="8485" y="6453"/>
                    <a:pt x="8515" y="6456"/>
                  </a:cubicBezTo>
                  <a:cubicBezTo>
                    <a:pt x="8520" y="6457"/>
                    <a:pt x="8525" y="6458"/>
                    <a:pt x="8530" y="6458"/>
                  </a:cubicBezTo>
                  <a:cubicBezTo>
                    <a:pt x="8534" y="6459"/>
                    <a:pt x="8541" y="6459"/>
                    <a:pt x="8547" y="6459"/>
                  </a:cubicBezTo>
                  <a:close/>
                  <a:moveTo>
                    <a:pt x="8089" y="4922"/>
                  </a:moveTo>
                  <a:cubicBezTo>
                    <a:pt x="7818" y="4456"/>
                    <a:pt x="7818" y="4456"/>
                    <a:pt x="7818" y="4456"/>
                  </a:cubicBezTo>
                  <a:cubicBezTo>
                    <a:pt x="7409" y="3435"/>
                    <a:pt x="7409" y="3435"/>
                    <a:pt x="7409" y="3435"/>
                  </a:cubicBezTo>
                  <a:cubicBezTo>
                    <a:pt x="7394" y="3443"/>
                    <a:pt x="7378" y="3451"/>
                    <a:pt x="7363" y="3460"/>
                  </a:cubicBezTo>
                  <a:cubicBezTo>
                    <a:pt x="7249" y="3528"/>
                    <a:pt x="7159" y="3619"/>
                    <a:pt x="7138" y="3760"/>
                  </a:cubicBezTo>
                  <a:cubicBezTo>
                    <a:pt x="7136" y="3770"/>
                    <a:pt x="7135" y="3781"/>
                    <a:pt x="7135" y="3792"/>
                  </a:cubicBezTo>
                  <a:cubicBezTo>
                    <a:pt x="7135" y="3863"/>
                    <a:pt x="7171" y="3950"/>
                    <a:pt x="7239" y="4049"/>
                  </a:cubicBezTo>
                  <a:cubicBezTo>
                    <a:pt x="7339" y="4197"/>
                    <a:pt x="7504" y="4366"/>
                    <a:pt x="7669" y="4553"/>
                  </a:cubicBezTo>
                  <a:cubicBezTo>
                    <a:pt x="7770" y="4668"/>
                    <a:pt x="7871" y="4789"/>
                    <a:pt x="7958" y="4920"/>
                  </a:cubicBezTo>
                  <a:cubicBezTo>
                    <a:pt x="8065" y="4925"/>
                    <a:pt x="8065" y="4925"/>
                    <a:pt x="8065" y="4925"/>
                  </a:cubicBezTo>
                  <a:lnTo>
                    <a:pt x="8089" y="4922"/>
                  </a:lnTo>
                  <a:close/>
                  <a:moveTo>
                    <a:pt x="10227" y="2383"/>
                  </a:moveTo>
                  <a:cubicBezTo>
                    <a:pt x="9955" y="2451"/>
                    <a:pt x="9547" y="2554"/>
                    <a:pt x="9207" y="2640"/>
                  </a:cubicBezTo>
                  <a:cubicBezTo>
                    <a:pt x="9037" y="2683"/>
                    <a:pt x="8884" y="2722"/>
                    <a:pt x="8773" y="2750"/>
                  </a:cubicBezTo>
                  <a:cubicBezTo>
                    <a:pt x="8718" y="2764"/>
                    <a:pt x="8673" y="2775"/>
                    <a:pt x="8642" y="2783"/>
                  </a:cubicBezTo>
                  <a:cubicBezTo>
                    <a:pt x="8627" y="2787"/>
                    <a:pt x="8615" y="2790"/>
                    <a:pt x="8607" y="2792"/>
                  </a:cubicBezTo>
                  <a:cubicBezTo>
                    <a:pt x="8602" y="2793"/>
                    <a:pt x="8599" y="2794"/>
                    <a:pt x="8597" y="2794"/>
                  </a:cubicBezTo>
                  <a:cubicBezTo>
                    <a:pt x="8597" y="2794"/>
                    <a:pt x="8596" y="2794"/>
                    <a:pt x="8596" y="2794"/>
                  </a:cubicBezTo>
                  <a:cubicBezTo>
                    <a:pt x="8589" y="2797"/>
                    <a:pt x="8589" y="2797"/>
                    <a:pt x="8589" y="2797"/>
                  </a:cubicBezTo>
                  <a:cubicBezTo>
                    <a:pt x="8589" y="2797"/>
                    <a:pt x="8589" y="2797"/>
                    <a:pt x="8589" y="2797"/>
                  </a:cubicBezTo>
                  <a:cubicBezTo>
                    <a:pt x="8536" y="2813"/>
                    <a:pt x="8243" y="2903"/>
                    <a:pt x="7954" y="2992"/>
                  </a:cubicBezTo>
                  <a:cubicBezTo>
                    <a:pt x="7730" y="3061"/>
                    <a:pt x="7509" y="3129"/>
                    <a:pt x="7406" y="3161"/>
                  </a:cubicBezTo>
                  <a:cubicBezTo>
                    <a:pt x="7414" y="3175"/>
                    <a:pt x="7422" y="3190"/>
                    <a:pt x="7430" y="3204"/>
                  </a:cubicBezTo>
                  <a:cubicBezTo>
                    <a:pt x="7441" y="3225"/>
                    <a:pt x="7451" y="3244"/>
                    <a:pt x="7459" y="3262"/>
                  </a:cubicBezTo>
                  <a:cubicBezTo>
                    <a:pt x="7461" y="3261"/>
                    <a:pt x="7462" y="3261"/>
                    <a:pt x="7463" y="3260"/>
                  </a:cubicBezTo>
                  <a:cubicBezTo>
                    <a:pt x="7518" y="3240"/>
                    <a:pt x="7568" y="3225"/>
                    <a:pt x="7608" y="3214"/>
                  </a:cubicBezTo>
                  <a:cubicBezTo>
                    <a:pt x="7648" y="3203"/>
                    <a:pt x="7680" y="3194"/>
                    <a:pt x="7686" y="3191"/>
                  </a:cubicBezTo>
                  <a:cubicBezTo>
                    <a:pt x="7694" y="3188"/>
                    <a:pt x="7699" y="3186"/>
                    <a:pt x="7708" y="3184"/>
                  </a:cubicBezTo>
                  <a:cubicBezTo>
                    <a:pt x="7772" y="3164"/>
                    <a:pt x="7984" y="3106"/>
                    <a:pt x="8272" y="3028"/>
                  </a:cubicBezTo>
                  <a:cubicBezTo>
                    <a:pt x="8704" y="2911"/>
                    <a:pt x="9303" y="2750"/>
                    <a:pt x="9811" y="2609"/>
                  </a:cubicBezTo>
                  <a:cubicBezTo>
                    <a:pt x="10064" y="2538"/>
                    <a:pt x="10294" y="2472"/>
                    <a:pt x="10469" y="2420"/>
                  </a:cubicBezTo>
                  <a:cubicBezTo>
                    <a:pt x="10484" y="2415"/>
                    <a:pt x="10498" y="2411"/>
                    <a:pt x="10513" y="2406"/>
                  </a:cubicBezTo>
                  <a:cubicBezTo>
                    <a:pt x="10504" y="2375"/>
                    <a:pt x="10497" y="2349"/>
                    <a:pt x="10492" y="2330"/>
                  </a:cubicBezTo>
                  <a:cubicBezTo>
                    <a:pt x="10483" y="2318"/>
                    <a:pt x="10483" y="2318"/>
                    <a:pt x="10483" y="2318"/>
                  </a:cubicBezTo>
                  <a:cubicBezTo>
                    <a:pt x="10432" y="2331"/>
                    <a:pt x="10341" y="2354"/>
                    <a:pt x="10227" y="2383"/>
                  </a:cubicBezTo>
                  <a:close/>
                  <a:moveTo>
                    <a:pt x="8525" y="2723"/>
                  </a:moveTo>
                  <a:cubicBezTo>
                    <a:pt x="8525" y="2723"/>
                    <a:pt x="8525" y="2723"/>
                    <a:pt x="8525" y="2723"/>
                  </a:cubicBezTo>
                  <a:cubicBezTo>
                    <a:pt x="8526" y="2718"/>
                    <a:pt x="8528" y="2714"/>
                    <a:pt x="8530" y="2710"/>
                  </a:cubicBezTo>
                  <a:cubicBezTo>
                    <a:pt x="8530" y="2711"/>
                    <a:pt x="8530" y="2711"/>
                    <a:pt x="8530" y="2712"/>
                  </a:cubicBezTo>
                  <a:cubicBezTo>
                    <a:pt x="8527" y="2716"/>
                    <a:pt x="8526" y="2720"/>
                    <a:pt x="8525" y="2723"/>
                  </a:cubicBezTo>
                  <a:close/>
                  <a:moveTo>
                    <a:pt x="7290" y="7551"/>
                  </a:moveTo>
                  <a:cubicBezTo>
                    <a:pt x="7008" y="7605"/>
                    <a:pt x="6863" y="7636"/>
                    <a:pt x="6785" y="7669"/>
                  </a:cubicBezTo>
                  <a:cubicBezTo>
                    <a:pt x="6746" y="7685"/>
                    <a:pt x="6724" y="7700"/>
                    <a:pt x="6703" y="7720"/>
                  </a:cubicBezTo>
                  <a:cubicBezTo>
                    <a:pt x="6682" y="7739"/>
                    <a:pt x="6661" y="7767"/>
                    <a:pt x="6632" y="7807"/>
                  </a:cubicBezTo>
                  <a:cubicBezTo>
                    <a:pt x="6591" y="7862"/>
                    <a:pt x="6566" y="7948"/>
                    <a:pt x="6543" y="8035"/>
                  </a:cubicBezTo>
                  <a:cubicBezTo>
                    <a:pt x="6570" y="8037"/>
                    <a:pt x="6587" y="8038"/>
                    <a:pt x="6591" y="8038"/>
                  </a:cubicBezTo>
                  <a:cubicBezTo>
                    <a:pt x="6603" y="8039"/>
                    <a:pt x="6613" y="8039"/>
                    <a:pt x="6623" y="8039"/>
                  </a:cubicBezTo>
                  <a:cubicBezTo>
                    <a:pt x="6636" y="8039"/>
                    <a:pt x="6647" y="8038"/>
                    <a:pt x="6654" y="8037"/>
                  </a:cubicBezTo>
                  <a:cubicBezTo>
                    <a:pt x="6668" y="8007"/>
                    <a:pt x="6696" y="7947"/>
                    <a:pt x="6727" y="7891"/>
                  </a:cubicBezTo>
                  <a:cubicBezTo>
                    <a:pt x="6727" y="7890"/>
                    <a:pt x="6727" y="7890"/>
                    <a:pt x="6727" y="7890"/>
                  </a:cubicBezTo>
                  <a:cubicBezTo>
                    <a:pt x="6728" y="7889"/>
                    <a:pt x="6728" y="7889"/>
                    <a:pt x="6728" y="7889"/>
                  </a:cubicBezTo>
                  <a:cubicBezTo>
                    <a:pt x="6732" y="7882"/>
                    <a:pt x="6804" y="7762"/>
                    <a:pt x="6978" y="7730"/>
                  </a:cubicBezTo>
                  <a:cubicBezTo>
                    <a:pt x="7050" y="7717"/>
                    <a:pt x="7130" y="7708"/>
                    <a:pt x="7218" y="7708"/>
                  </a:cubicBezTo>
                  <a:cubicBezTo>
                    <a:pt x="7323" y="7708"/>
                    <a:pt x="7438" y="7720"/>
                    <a:pt x="7562" y="7751"/>
                  </a:cubicBezTo>
                  <a:cubicBezTo>
                    <a:pt x="7766" y="7803"/>
                    <a:pt x="8008" y="7957"/>
                    <a:pt x="8075" y="8000"/>
                  </a:cubicBezTo>
                  <a:cubicBezTo>
                    <a:pt x="8096" y="7998"/>
                    <a:pt x="8135" y="7994"/>
                    <a:pt x="8181" y="7989"/>
                  </a:cubicBezTo>
                  <a:cubicBezTo>
                    <a:pt x="8253" y="7980"/>
                    <a:pt x="8343" y="7967"/>
                    <a:pt x="8413" y="7951"/>
                  </a:cubicBezTo>
                  <a:cubicBezTo>
                    <a:pt x="8474" y="7938"/>
                    <a:pt x="8549" y="7894"/>
                    <a:pt x="8607" y="7852"/>
                  </a:cubicBezTo>
                  <a:cubicBezTo>
                    <a:pt x="8632" y="7835"/>
                    <a:pt x="8653" y="7818"/>
                    <a:pt x="8670" y="7804"/>
                  </a:cubicBezTo>
                  <a:cubicBezTo>
                    <a:pt x="8631" y="7759"/>
                    <a:pt x="8598" y="7711"/>
                    <a:pt x="8576" y="7661"/>
                  </a:cubicBezTo>
                  <a:cubicBezTo>
                    <a:pt x="8536" y="7571"/>
                    <a:pt x="8528" y="7473"/>
                    <a:pt x="8527" y="7384"/>
                  </a:cubicBezTo>
                  <a:cubicBezTo>
                    <a:pt x="8527" y="7322"/>
                    <a:pt x="8532" y="7264"/>
                    <a:pt x="8534" y="7214"/>
                  </a:cubicBezTo>
                  <a:cubicBezTo>
                    <a:pt x="8538" y="7131"/>
                    <a:pt x="8547" y="6819"/>
                    <a:pt x="8547" y="6528"/>
                  </a:cubicBezTo>
                  <a:cubicBezTo>
                    <a:pt x="8547" y="6518"/>
                    <a:pt x="8547" y="6507"/>
                    <a:pt x="8547" y="6497"/>
                  </a:cubicBezTo>
                  <a:cubicBezTo>
                    <a:pt x="8542" y="6496"/>
                    <a:pt x="8536" y="6496"/>
                    <a:pt x="8529" y="6495"/>
                  </a:cubicBezTo>
                  <a:cubicBezTo>
                    <a:pt x="8519" y="6494"/>
                    <a:pt x="8519" y="6494"/>
                    <a:pt x="8519" y="6494"/>
                  </a:cubicBezTo>
                  <a:cubicBezTo>
                    <a:pt x="8519" y="6494"/>
                    <a:pt x="8519" y="6493"/>
                    <a:pt x="8519" y="6493"/>
                  </a:cubicBezTo>
                  <a:cubicBezTo>
                    <a:pt x="8490" y="6490"/>
                    <a:pt x="8449" y="6485"/>
                    <a:pt x="8402" y="6479"/>
                  </a:cubicBezTo>
                  <a:cubicBezTo>
                    <a:pt x="8402" y="6498"/>
                    <a:pt x="8403" y="6518"/>
                    <a:pt x="8403" y="6536"/>
                  </a:cubicBezTo>
                  <a:cubicBezTo>
                    <a:pt x="8402" y="6697"/>
                    <a:pt x="8386" y="6824"/>
                    <a:pt x="8336" y="6914"/>
                  </a:cubicBezTo>
                  <a:cubicBezTo>
                    <a:pt x="8198" y="7153"/>
                    <a:pt x="7872" y="7438"/>
                    <a:pt x="7290" y="7551"/>
                  </a:cubicBezTo>
                  <a:close/>
                  <a:moveTo>
                    <a:pt x="7294" y="13431"/>
                  </a:moveTo>
                  <a:cubicBezTo>
                    <a:pt x="7294" y="13430"/>
                    <a:pt x="7294" y="13430"/>
                    <a:pt x="7294" y="13430"/>
                  </a:cubicBezTo>
                  <a:cubicBezTo>
                    <a:pt x="7339" y="12863"/>
                    <a:pt x="7339" y="12863"/>
                    <a:pt x="7339" y="12863"/>
                  </a:cubicBezTo>
                  <a:cubicBezTo>
                    <a:pt x="8031" y="11442"/>
                    <a:pt x="8031" y="11442"/>
                    <a:pt x="8031" y="11442"/>
                  </a:cubicBezTo>
                  <a:cubicBezTo>
                    <a:pt x="8013" y="11432"/>
                    <a:pt x="7972" y="11411"/>
                    <a:pt x="7904" y="11376"/>
                  </a:cubicBezTo>
                  <a:cubicBezTo>
                    <a:pt x="7809" y="11328"/>
                    <a:pt x="7663" y="11256"/>
                    <a:pt x="7459" y="11158"/>
                  </a:cubicBezTo>
                  <a:cubicBezTo>
                    <a:pt x="7256" y="11061"/>
                    <a:pt x="7074" y="11001"/>
                    <a:pt x="6942" y="10965"/>
                  </a:cubicBezTo>
                  <a:cubicBezTo>
                    <a:pt x="6876" y="10948"/>
                    <a:pt x="6823" y="10936"/>
                    <a:pt x="6786" y="10929"/>
                  </a:cubicBezTo>
                  <a:cubicBezTo>
                    <a:pt x="6769" y="10925"/>
                    <a:pt x="6755" y="10923"/>
                    <a:pt x="6746" y="10921"/>
                  </a:cubicBezTo>
                  <a:cubicBezTo>
                    <a:pt x="6433" y="13862"/>
                    <a:pt x="6433" y="13862"/>
                    <a:pt x="6433" y="13862"/>
                  </a:cubicBezTo>
                  <a:cubicBezTo>
                    <a:pt x="6572" y="13847"/>
                    <a:pt x="6711" y="13829"/>
                    <a:pt x="6847" y="13801"/>
                  </a:cubicBezTo>
                  <a:cubicBezTo>
                    <a:pt x="6989" y="13772"/>
                    <a:pt x="7261" y="13759"/>
                    <a:pt x="7329" y="13756"/>
                  </a:cubicBezTo>
                  <a:cubicBezTo>
                    <a:pt x="7294" y="13575"/>
                    <a:pt x="7294" y="13432"/>
                    <a:pt x="7294" y="13431"/>
                  </a:cubicBezTo>
                  <a:close/>
                  <a:moveTo>
                    <a:pt x="5626" y="13994"/>
                  </a:moveTo>
                  <a:cubicBezTo>
                    <a:pt x="5650" y="13897"/>
                    <a:pt x="5650" y="13897"/>
                    <a:pt x="5650" y="13897"/>
                  </a:cubicBezTo>
                  <a:cubicBezTo>
                    <a:pt x="5871" y="11940"/>
                    <a:pt x="5871" y="11940"/>
                    <a:pt x="5871" y="11940"/>
                  </a:cubicBezTo>
                  <a:cubicBezTo>
                    <a:pt x="5868" y="11939"/>
                    <a:pt x="5862" y="11937"/>
                    <a:pt x="5856" y="11934"/>
                  </a:cubicBezTo>
                  <a:cubicBezTo>
                    <a:pt x="5126" y="11869"/>
                    <a:pt x="5126" y="11869"/>
                    <a:pt x="5126" y="11869"/>
                  </a:cubicBezTo>
                  <a:cubicBezTo>
                    <a:pt x="5116" y="11873"/>
                    <a:pt x="5116" y="11873"/>
                    <a:pt x="5116" y="11873"/>
                  </a:cubicBezTo>
                  <a:cubicBezTo>
                    <a:pt x="5115" y="11875"/>
                    <a:pt x="5115" y="11877"/>
                    <a:pt x="5115" y="11878"/>
                  </a:cubicBezTo>
                  <a:cubicBezTo>
                    <a:pt x="5091" y="11982"/>
                    <a:pt x="5002" y="12091"/>
                    <a:pt x="4937" y="12187"/>
                  </a:cubicBezTo>
                  <a:cubicBezTo>
                    <a:pt x="4909" y="12227"/>
                    <a:pt x="4900" y="12262"/>
                    <a:pt x="4900" y="12300"/>
                  </a:cubicBezTo>
                  <a:cubicBezTo>
                    <a:pt x="4900" y="12348"/>
                    <a:pt x="4916" y="12401"/>
                    <a:pt x="4935" y="12467"/>
                  </a:cubicBezTo>
                  <a:cubicBezTo>
                    <a:pt x="4947" y="12512"/>
                    <a:pt x="4953" y="12552"/>
                    <a:pt x="4953" y="12588"/>
                  </a:cubicBezTo>
                  <a:cubicBezTo>
                    <a:pt x="4953" y="12690"/>
                    <a:pt x="4907" y="12755"/>
                    <a:pt x="4861" y="12811"/>
                  </a:cubicBezTo>
                  <a:cubicBezTo>
                    <a:pt x="4860" y="12812"/>
                    <a:pt x="4859" y="12813"/>
                    <a:pt x="4859" y="12814"/>
                  </a:cubicBezTo>
                  <a:cubicBezTo>
                    <a:pt x="5027" y="12985"/>
                    <a:pt x="5042" y="13214"/>
                    <a:pt x="5042" y="13312"/>
                  </a:cubicBezTo>
                  <a:cubicBezTo>
                    <a:pt x="5042" y="13340"/>
                    <a:pt x="5041" y="13356"/>
                    <a:pt x="5040" y="13359"/>
                  </a:cubicBezTo>
                  <a:cubicBezTo>
                    <a:pt x="5038" y="13378"/>
                    <a:pt x="5035" y="13411"/>
                    <a:pt x="5031" y="13447"/>
                  </a:cubicBezTo>
                  <a:cubicBezTo>
                    <a:pt x="5024" y="13512"/>
                    <a:pt x="5014" y="13586"/>
                    <a:pt x="5009" y="13617"/>
                  </a:cubicBezTo>
                  <a:cubicBezTo>
                    <a:pt x="5004" y="13653"/>
                    <a:pt x="4987" y="13769"/>
                    <a:pt x="4979" y="13859"/>
                  </a:cubicBezTo>
                  <a:cubicBezTo>
                    <a:pt x="4979" y="13867"/>
                    <a:pt x="4978" y="13887"/>
                    <a:pt x="4978" y="13908"/>
                  </a:cubicBezTo>
                  <a:cubicBezTo>
                    <a:pt x="4978" y="13928"/>
                    <a:pt x="4979" y="13950"/>
                    <a:pt x="4981" y="13963"/>
                  </a:cubicBezTo>
                  <a:cubicBezTo>
                    <a:pt x="4982" y="13976"/>
                    <a:pt x="4989" y="14006"/>
                    <a:pt x="4989" y="14006"/>
                  </a:cubicBezTo>
                  <a:cubicBezTo>
                    <a:pt x="4989" y="14008"/>
                    <a:pt x="4989" y="14008"/>
                    <a:pt x="4989" y="14008"/>
                  </a:cubicBezTo>
                  <a:cubicBezTo>
                    <a:pt x="4991" y="14013"/>
                    <a:pt x="4992" y="14018"/>
                    <a:pt x="4994" y="14023"/>
                  </a:cubicBezTo>
                  <a:cubicBezTo>
                    <a:pt x="5007" y="14059"/>
                    <a:pt x="5027" y="14108"/>
                    <a:pt x="5058" y="14160"/>
                  </a:cubicBezTo>
                  <a:cubicBezTo>
                    <a:pt x="5098" y="14228"/>
                    <a:pt x="5124" y="14290"/>
                    <a:pt x="5139" y="14326"/>
                  </a:cubicBezTo>
                  <a:cubicBezTo>
                    <a:pt x="5142" y="14330"/>
                    <a:pt x="5146" y="14335"/>
                    <a:pt x="5149" y="14339"/>
                  </a:cubicBezTo>
                  <a:lnTo>
                    <a:pt x="5626" y="13994"/>
                  </a:lnTo>
                  <a:close/>
                  <a:moveTo>
                    <a:pt x="4810" y="12817"/>
                  </a:moveTo>
                  <a:cubicBezTo>
                    <a:pt x="4798" y="12801"/>
                    <a:pt x="4763" y="12754"/>
                    <a:pt x="4716" y="12693"/>
                  </a:cubicBezTo>
                  <a:cubicBezTo>
                    <a:pt x="4631" y="12583"/>
                    <a:pt x="4508" y="12425"/>
                    <a:pt x="4406" y="12294"/>
                  </a:cubicBezTo>
                  <a:cubicBezTo>
                    <a:pt x="4333" y="12200"/>
                    <a:pt x="4271" y="12121"/>
                    <a:pt x="4242" y="12083"/>
                  </a:cubicBezTo>
                  <a:cubicBezTo>
                    <a:pt x="4240" y="12103"/>
                    <a:pt x="4240" y="12103"/>
                    <a:pt x="4240" y="12103"/>
                  </a:cubicBezTo>
                  <a:cubicBezTo>
                    <a:pt x="4233" y="12096"/>
                    <a:pt x="4233" y="12096"/>
                    <a:pt x="4233" y="12096"/>
                  </a:cubicBezTo>
                  <a:cubicBezTo>
                    <a:pt x="4230" y="12099"/>
                    <a:pt x="4230" y="12099"/>
                    <a:pt x="4230" y="12099"/>
                  </a:cubicBezTo>
                  <a:cubicBezTo>
                    <a:pt x="4230" y="12099"/>
                    <a:pt x="4200" y="12121"/>
                    <a:pt x="4167" y="12151"/>
                  </a:cubicBezTo>
                  <a:cubicBezTo>
                    <a:pt x="4145" y="12171"/>
                    <a:pt x="4124" y="12194"/>
                    <a:pt x="4108" y="12212"/>
                  </a:cubicBezTo>
                  <a:cubicBezTo>
                    <a:pt x="4069" y="12258"/>
                    <a:pt x="4057" y="12312"/>
                    <a:pt x="4046" y="12345"/>
                  </a:cubicBezTo>
                  <a:cubicBezTo>
                    <a:pt x="4035" y="12376"/>
                    <a:pt x="4004" y="12492"/>
                    <a:pt x="3989" y="12531"/>
                  </a:cubicBezTo>
                  <a:cubicBezTo>
                    <a:pt x="3985" y="12542"/>
                    <a:pt x="3981" y="12555"/>
                    <a:pt x="3975" y="12569"/>
                  </a:cubicBezTo>
                  <a:cubicBezTo>
                    <a:pt x="3976" y="12568"/>
                    <a:pt x="3976" y="12568"/>
                    <a:pt x="3976" y="12568"/>
                  </a:cubicBezTo>
                  <a:cubicBezTo>
                    <a:pt x="3976" y="12568"/>
                    <a:pt x="3976" y="12568"/>
                    <a:pt x="3976" y="12568"/>
                  </a:cubicBezTo>
                  <a:cubicBezTo>
                    <a:pt x="3976" y="12569"/>
                    <a:pt x="4089" y="12672"/>
                    <a:pt x="4169" y="12744"/>
                  </a:cubicBezTo>
                  <a:cubicBezTo>
                    <a:pt x="4191" y="12764"/>
                    <a:pt x="4211" y="12780"/>
                    <a:pt x="4225" y="12792"/>
                  </a:cubicBezTo>
                  <a:cubicBezTo>
                    <a:pt x="4232" y="12798"/>
                    <a:pt x="4237" y="12802"/>
                    <a:pt x="4241" y="12805"/>
                  </a:cubicBezTo>
                  <a:cubicBezTo>
                    <a:pt x="4243" y="12807"/>
                    <a:pt x="4245" y="12808"/>
                    <a:pt x="4246" y="12809"/>
                  </a:cubicBezTo>
                  <a:cubicBezTo>
                    <a:pt x="4246" y="12810"/>
                    <a:pt x="4247" y="12810"/>
                    <a:pt x="4247" y="12811"/>
                  </a:cubicBezTo>
                  <a:cubicBezTo>
                    <a:pt x="4248" y="12811"/>
                    <a:pt x="4248" y="12811"/>
                    <a:pt x="4248" y="12812"/>
                  </a:cubicBezTo>
                  <a:cubicBezTo>
                    <a:pt x="4249" y="12812"/>
                    <a:pt x="4249" y="12812"/>
                    <a:pt x="4249" y="12813"/>
                  </a:cubicBezTo>
                  <a:cubicBezTo>
                    <a:pt x="4249" y="12813"/>
                    <a:pt x="4249" y="12813"/>
                    <a:pt x="4249" y="12813"/>
                  </a:cubicBezTo>
                  <a:cubicBezTo>
                    <a:pt x="4249" y="12813"/>
                    <a:pt x="4250" y="12813"/>
                    <a:pt x="4250" y="12813"/>
                  </a:cubicBezTo>
                  <a:cubicBezTo>
                    <a:pt x="4250" y="12814"/>
                    <a:pt x="4250" y="12814"/>
                    <a:pt x="4251" y="12815"/>
                  </a:cubicBezTo>
                  <a:cubicBezTo>
                    <a:pt x="4259" y="12826"/>
                    <a:pt x="4307" y="12878"/>
                    <a:pt x="4308" y="12928"/>
                  </a:cubicBezTo>
                  <a:cubicBezTo>
                    <a:pt x="4308" y="12930"/>
                    <a:pt x="4308" y="12932"/>
                    <a:pt x="4308" y="12934"/>
                  </a:cubicBezTo>
                  <a:cubicBezTo>
                    <a:pt x="4647" y="13032"/>
                    <a:pt x="4647" y="13032"/>
                    <a:pt x="4647" y="13032"/>
                  </a:cubicBezTo>
                  <a:cubicBezTo>
                    <a:pt x="4643" y="13039"/>
                    <a:pt x="4643" y="13039"/>
                    <a:pt x="4643" y="13039"/>
                  </a:cubicBezTo>
                  <a:cubicBezTo>
                    <a:pt x="4647" y="13032"/>
                    <a:pt x="4647" y="13032"/>
                    <a:pt x="4647" y="13032"/>
                  </a:cubicBezTo>
                  <a:cubicBezTo>
                    <a:pt x="4664" y="13037"/>
                    <a:pt x="4664" y="13037"/>
                    <a:pt x="4664" y="13037"/>
                  </a:cubicBezTo>
                  <a:cubicBezTo>
                    <a:pt x="4664" y="13037"/>
                    <a:pt x="4667" y="13030"/>
                    <a:pt x="4669" y="13029"/>
                  </a:cubicBezTo>
                  <a:cubicBezTo>
                    <a:pt x="4695" y="12986"/>
                    <a:pt x="4760" y="12884"/>
                    <a:pt x="4810" y="12817"/>
                  </a:cubicBezTo>
                  <a:close/>
                  <a:moveTo>
                    <a:pt x="4228" y="12817"/>
                  </a:moveTo>
                  <a:cubicBezTo>
                    <a:pt x="4227" y="12817"/>
                    <a:pt x="4227" y="12818"/>
                    <a:pt x="4227" y="12818"/>
                  </a:cubicBezTo>
                  <a:cubicBezTo>
                    <a:pt x="4227" y="12818"/>
                    <a:pt x="4227" y="12818"/>
                    <a:pt x="4228" y="12817"/>
                  </a:cubicBezTo>
                  <a:close/>
                  <a:moveTo>
                    <a:pt x="4227" y="12820"/>
                  </a:moveTo>
                  <a:cubicBezTo>
                    <a:pt x="4227" y="12820"/>
                    <a:pt x="4227" y="12820"/>
                    <a:pt x="4227" y="12820"/>
                  </a:cubicBezTo>
                  <a:cubicBezTo>
                    <a:pt x="4227" y="12820"/>
                    <a:pt x="4227" y="12820"/>
                    <a:pt x="4227" y="12820"/>
                  </a:cubicBezTo>
                  <a:cubicBezTo>
                    <a:pt x="4227" y="12820"/>
                    <a:pt x="4227" y="12820"/>
                    <a:pt x="4227" y="12820"/>
                  </a:cubicBezTo>
                  <a:close/>
                  <a:moveTo>
                    <a:pt x="3618" y="11204"/>
                  </a:moveTo>
                  <a:cubicBezTo>
                    <a:pt x="4231" y="12005"/>
                    <a:pt x="4231" y="12005"/>
                    <a:pt x="4231" y="12005"/>
                  </a:cubicBezTo>
                  <a:cubicBezTo>
                    <a:pt x="4231" y="12005"/>
                    <a:pt x="4231" y="12005"/>
                    <a:pt x="4231" y="12005"/>
                  </a:cubicBezTo>
                  <a:cubicBezTo>
                    <a:pt x="4231" y="12005"/>
                    <a:pt x="4237" y="12013"/>
                    <a:pt x="4247" y="12025"/>
                  </a:cubicBezTo>
                  <a:cubicBezTo>
                    <a:pt x="4247" y="12026"/>
                    <a:pt x="4247" y="12026"/>
                    <a:pt x="4247" y="12026"/>
                  </a:cubicBezTo>
                  <a:cubicBezTo>
                    <a:pt x="4247" y="12026"/>
                    <a:pt x="4247" y="12026"/>
                    <a:pt x="4247" y="12026"/>
                  </a:cubicBezTo>
                  <a:cubicBezTo>
                    <a:pt x="4292" y="12086"/>
                    <a:pt x="4427" y="12262"/>
                    <a:pt x="4548" y="12418"/>
                  </a:cubicBezTo>
                  <a:cubicBezTo>
                    <a:pt x="4622" y="12513"/>
                    <a:pt x="4696" y="12609"/>
                    <a:pt x="4752" y="12681"/>
                  </a:cubicBezTo>
                  <a:cubicBezTo>
                    <a:pt x="4780" y="12717"/>
                    <a:pt x="4803" y="12748"/>
                    <a:pt x="4819" y="12769"/>
                  </a:cubicBezTo>
                  <a:cubicBezTo>
                    <a:pt x="4825" y="12777"/>
                    <a:pt x="4829" y="12783"/>
                    <a:pt x="4833" y="12788"/>
                  </a:cubicBezTo>
                  <a:cubicBezTo>
                    <a:pt x="4833" y="12788"/>
                    <a:pt x="4833" y="12788"/>
                    <a:pt x="4833" y="12788"/>
                  </a:cubicBezTo>
                  <a:cubicBezTo>
                    <a:pt x="4878" y="12733"/>
                    <a:pt x="4917" y="12678"/>
                    <a:pt x="4917" y="12588"/>
                  </a:cubicBezTo>
                  <a:cubicBezTo>
                    <a:pt x="4917" y="12556"/>
                    <a:pt x="4912" y="12519"/>
                    <a:pt x="4900" y="12476"/>
                  </a:cubicBezTo>
                  <a:cubicBezTo>
                    <a:pt x="4882" y="12412"/>
                    <a:pt x="4864" y="12356"/>
                    <a:pt x="4864" y="12300"/>
                  </a:cubicBezTo>
                  <a:cubicBezTo>
                    <a:pt x="4864" y="12256"/>
                    <a:pt x="4876" y="12212"/>
                    <a:pt x="4907" y="12167"/>
                  </a:cubicBezTo>
                  <a:cubicBezTo>
                    <a:pt x="4971" y="12073"/>
                    <a:pt x="5054" y="11966"/>
                    <a:pt x="5077" y="11878"/>
                  </a:cubicBezTo>
                  <a:cubicBezTo>
                    <a:pt x="5026" y="11812"/>
                    <a:pt x="4636" y="11313"/>
                    <a:pt x="4565" y="11210"/>
                  </a:cubicBezTo>
                  <a:cubicBezTo>
                    <a:pt x="4543" y="11178"/>
                    <a:pt x="4533" y="11148"/>
                    <a:pt x="4533" y="11122"/>
                  </a:cubicBezTo>
                  <a:cubicBezTo>
                    <a:pt x="4533" y="11116"/>
                    <a:pt x="4535" y="11110"/>
                    <a:pt x="4536" y="11104"/>
                  </a:cubicBezTo>
                  <a:cubicBezTo>
                    <a:pt x="4135" y="11030"/>
                    <a:pt x="4135" y="11030"/>
                    <a:pt x="4135" y="11030"/>
                  </a:cubicBezTo>
                  <a:cubicBezTo>
                    <a:pt x="3964" y="11080"/>
                    <a:pt x="3964" y="11080"/>
                    <a:pt x="3964" y="11080"/>
                  </a:cubicBezTo>
                  <a:cubicBezTo>
                    <a:pt x="3965" y="11081"/>
                    <a:pt x="3965" y="11081"/>
                    <a:pt x="3965" y="11081"/>
                  </a:cubicBezTo>
                  <a:cubicBezTo>
                    <a:pt x="3631" y="11196"/>
                    <a:pt x="3631" y="11196"/>
                    <a:pt x="3631" y="11196"/>
                  </a:cubicBezTo>
                  <a:lnTo>
                    <a:pt x="3618" y="11204"/>
                  </a:lnTo>
                  <a:close/>
                  <a:moveTo>
                    <a:pt x="4984" y="10158"/>
                  </a:moveTo>
                  <a:cubicBezTo>
                    <a:pt x="4988" y="10190"/>
                    <a:pt x="5022" y="10487"/>
                    <a:pt x="5059" y="10797"/>
                  </a:cubicBezTo>
                  <a:cubicBezTo>
                    <a:pt x="5097" y="11126"/>
                    <a:pt x="5139" y="11470"/>
                    <a:pt x="5150" y="11525"/>
                  </a:cubicBezTo>
                  <a:cubicBezTo>
                    <a:pt x="5155" y="11551"/>
                    <a:pt x="5157" y="11579"/>
                    <a:pt x="5157" y="11607"/>
                  </a:cubicBezTo>
                  <a:cubicBezTo>
                    <a:pt x="5157" y="11688"/>
                    <a:pt x="5139" y="11772"/>
                    <a:pt x="5123" y="11841"/>
                  </a:cubicBezTo>
                  <a:cubicBezTo>
                    <a:pt x="5130" y="11843"/>
                    <a:pt x="5130" y="11843"/>
                    <a:pt x="5130" y="11843"/>
                  </a:cubicBezTo>
                  <a:cubicBezTo>
                    <a:pt x="5870" y="11909"/>
                    <a:pt x="5870" y="11909"/>
                    <a:pt x="5870" y="11909"/>
                  </a:cubicBezTo>
                  <a:cubicBezTo>
                    <a:pt x="5870" y="11909"/>
                    <a:pt x="5870" y="11909"/>
                    <a:pt x="5870" y="11909"/>
                  </a:cubicBezTo>
                  <a:cubicBezTo>
                    <a:pt x="5875" y="11909"/>
                    <a:pt x="5875" y="11909"/>
                    <a:pt x="5875" y="11909"/>
                  </a:cubicBezTo>
                  <a:cubicBezTo>
                    <a:pt x="5906" y="11634"/>
                    <a:pt x="5906" y="11634"/>
                    <a:pt x="5906" y="11634"/>
                  </a:cubicBezTo>
                  <a:cubicBezTo>
                    <a:pt x="5858" y="11528"/>
                    <a:pt x="5858" y="11528"/>
                    <a:pt x="5858" y="11528"/>
                  </a:cubicBezTo>
                  <a:cubicBezTo>
                    <a:pt x="5971" y="10037"/>
                    <a:pt x="5971" y="10037"/>
                    <a:pt x="5971" y="10037"/>
                  </a:cubicBezTo>
                  <a:cubicBezTo>
                    <a:pt x="5918" y="10040"/>
                    <a:pt x="5861" y="10044"/>
                    <a:pt x="5799" y="10049"/>
                  </a:cubicBezTo>
                  <a:cubicBezTo>
                    <a:pt x="5565" y="10067"/>
                    <a:pt x="5270" y="10100"/>
                    <a:pt x="4984" y="10158"/>
                  </a:cubicBezTo>
                  <a:close/>
                  <a:moveTo>
                    <a:pt x="6018" y="9998"/>
                  </a:moveTo>
                  <a:cubicBezTo>
                    <a:pt x="6166" y="9990"/>
                    <a:pt x="6258" y="9989"/>
                    <a:pt x="6258" y="9989"/>
                  </a:cubicBezTo>
                  <a:cubicBezTo>
                    <a:pt x="6258" y="10013"/>
                    <a:pt x="6258" y="10013"/>
                    <a:pt x="6258" y="10013"/>
                  </a:cubicBezTo>
                  <a:cubicBezTo>
                    <a:pt x="6271" y="9975"/>
                    <a:pt x="6313" y="9852"/>
                    <a:pt x="6372" y="9680"/>
                  </a:cubicBezTo>
                  <a:cubicBezTo>
                    <a:pt x="6477" y="9369"/>
                    <a:pt x="6636" y="8902"/>
                    <a:pt x="6768" y="8513"/>
                  </a:cubicBezTo>
                  <a:cubicBezTo>
                    <a:pt x="6834" y="8318"/>
                    <a:pt x="6893" y="8143"/>
                    <a:pt x="6936" y="8016"/>
                  </a:cubicBezTo>
                  <a:cubicBezTo>
                    <a:pt x="6957" y="7954"/>
                    <a:pt x="6974" y="7904"/>
                    <a:pt x="6986" y="7868"/>
                  </a:cubicBezTo>
                  <a:cubicBezTo>
                    <a:pt x="6985" y="7846"/>
                    <a:pt x="6985" y="7846"/>
                    <a:pt x="6985" y="7846"/>
                  </a:cubicBezTo>
                  <a:cubicBezTo>
                    <a:pt x="6929" y="7859"/>
                    <a:pt x="6890" y="7884"/>
                    <a:pt x="6864" y="7906"/>
                  </a:cubicBezTo>
                  <a:cubicBezTo>
                    <a:pt x="6850" y="7918"/>
                    <a:pt x="6840" y="7929"/>
                    <a:pt x="6834" y="7937"/>
                  </a:cubicBezTo>
                  <a:cubicBezTo>
                    <a:pt x="6831" y="7941"/>
                    <a:pt x="6829" y="7944"/>
                    <a:pt x="6828" y="7946"/>
                  </a:cubicBezTo>
                  <a:cubicBezTo>
                    <a:pt x="6827" y="7946"/>
                    <a:pt x="6827" y="7947"/>
                    <a:pt x="6827" y="7947"/>
                  </a:cubicBezTo>
                  <a:cubicBezTo>
                    <a:pt x="6807" y="7983"/>
                    <a:pt x="6788" y="8022"/>
                    <a:pt x="6774" y="8052"/>
                  </a:cubicBezTo>
                  <a:cubicBezTo>
                    <a:pt x="6759" y="8082"/>
                    <a:pt x="6750" y="8103"/>
                    <a:pt x="6750" y="8103"/>
                  </a:cubicBezTo>
                  <a:cubicBezTo>
                    <a:pt x="6744" y="8116"/>
                    <a:pt x="6744" y="8116"/>
                    <a:pt x="6744" y="8116"/>
                  </a:cubicBezTo>
                  <a:cubicBezTo>
                    <a:pt x="6733" y="8125"/>
                    <a:pt x="6733" y="8125"/>
                    <a:pt x="6733" y="8125"/>
                  </a:cubicBezTo>
                  <a:cubicBezTo>
                    <a:pt x="6713" y="8140"/>
                    <a:pt x="6692" y="8147"/>
                    <a:pt x="6672" y="8150"/>
                  </a:cubicBezTo>
                  <a:lnTo>
                    <a:pt x="6018" y="9998"/>
                  </a:lnTo>
                  <a:close/>
                  <a:moveTo>
                    <a:pt x="8025" y="8105"/>
                  </a:moveTo>
                  <a:cubicBezTo>
                    <a:pt x="8021" y="8102"/>
                    <a:pt x="8005" y="8092"/>
                    <a:pt x="7980" y="8076"/>
                  </a:cubicBezTo>
                  <a:cubicBezTo>
                    <a:pt x="7891" y="8019"/>
                    <a:pt x="7686" y="7899"/>
                    <a:pt x="7534" y="7863"/>
                  </a:cubicBezTo>
                  <a:cubicBezTo>
                    <a:pt x="7534" y="7862"/>
                    <a:pt x="7533" y="7862"/>
                    <a:pt x="7532" y="7862"/>
                  </a:cubicBezTo>
                  <a:cubicBezTo>
                    <a:pt x="7530" y="7866"/>
                    <a:pt x="7527" y="7870"/>
                    <a:pt x="7524" y="7873"/>
                  </a:cubicBezTo>
                  <a:cubicBezTo>
                    <a:pt x="6863" y="9940"/>
                    <a:pt x="6863" y="9940"/>
                    <a:pt x="6863" y="9940"/>
                  </a:cubicBezTo>
                  <a:cubicBezTo>
                    <a:pt x="7220" y="9693"/>
                    <a:pt x="7220" y="9693"/>
                    <a:pt x="7220" y="9693"/>
                  </a:cubicBezTo>
                  <a:cubicBezTo>
                    <a:pt x="8022" y="8113"/>
                    <a:pt x="8022" y="8113"/>
                    <a:pt x="8022" y="8113"/>
                  </a:cubicBezTo>
                  <a:cubicBezTo>
                    <a:pt x="8023" y="8111"/>
                    <a:pt x="8024" y="8108"/>
                    <a:pt x="8025" y="8105"/>
                  </a:cubicBezTo>
                  <a:close/>
                  <a:moveTo>
                    <a:pt x="7489" y="7853"/>
                  </a:moveTo>
                  <a:cubicBezTo>
                    <a:pt x="7392" y="7832"/>
                    <a:pt x="7301" y="7823"/>
                    <a:pt x="7218" y="7823"/>
                  </a:cubicBezTo>
                  <a:cubicBezTo>
                    <a:pt x="7153" y="7823"/>
                    <a:pt x="7093" y="7828"/>
                    <a:pt x="7037" y="7837"/>
                  </a:cubicBezTo>
                  <a:cubicBezTo>
                    <a:pt x="7031" y="7846"/>
                    <a:pt x="7031" y="7846"/>
                    <a:pt x="7031" y="7846"/>
                  </a:cubicBezTo>
                  <a:cubicBezTo>
                    <a:pt x="6951" y="8087"/>
                    <a:pt x="6306" y="9986"/>
                    <a:pt x="6289" y="10036"/>
                  </a:cubicBezTo>
                  <a:cubicBezTo>
                    <a:pt x="6126" y="10875"/>
                    <a:pt x="6126" y="10875"/>
                    <a:pt x="6126" y="10875"/>
                  </a:cubicBezTo>
                  <a:cubicBezTo>
                    <a:pt x="6714" y="10883"/>
                    <a:pt x="6714" y="10883"/>
                    <a:pt x="6714" y="10883"/>
                  </a:cubicBezTo>
                  <a:cubicBezTo>
                    <a:pt x="6809" y="9991"/>
                    <a:pt x="6809" y="9991"/>
                    <a:pt x="6809" y="9991"/>
                  </a:cubicBezTo>
                  <a:cubicBezTo>
                    <a:pt x="7486" y="7874"/>
                    <a:pt x="7486" y="7874"/>
                    <a:pt x="7486" y="7874"/>
                  </a:cubicBezTo>
                  <a:cubicBezTo>
                    <a:pt x="7487" y="7870"/>
                    <a:pt x="7488" y="7860"/>
                    <a:pt x="7489" y="7853"/>
                  </a:cubicBezTo>
                  <a:close/>
                  <a:moveTo>
                    <a:pt x="6007" y="10035"/>
                  </a:moveTo>
                  <a:cubicBezTo>
                    <a:pt x="5895" y="11521"/>
                    <a:pt x="5895" y="11521"/>
                    <a:pt x="5895" y="11521"/>
                  </a:cubicBezTo>
                  <a:cubicBezTo>
                    <a:pt x="5922" y="11582"/>
                    <a:pt x="5922" y="11582"/>
                    <a:pt x="5922" y="11582"/>
                  </a:cubicBezTo>
                  <a:cubicBezTo>
                    <a:pt x="5985" y="11398"/>
                    <a:pt x="5985" y="11398"/>
                    <a:pt x="5985" y="11398"/>
                  </a:cubicBezTo>
                  <a:cubicBezTo>
                    <a:pt x="6082" y="10910"/>
                    <a:pt x="6082" y="10910"/>
                    <a:pt x="6082" y="10910"/>
                  </a:cubicBezTo>
                  <a:cubicBezTo>
                    <a:pt x="6254" y="10027"/>
                    <a:pt x="6254" y="10027"/>
                    <a:pt x="6254" y="10027"/>
                  </a:cubicBezTo>
                  <a:cubicBezTo>
                    <a:pt x="6254" y="10026"/>
                    <a:pt x="6254" y="10026"/>
                    <a:pt x="6254" y="10026"/>
                  </a:cubicBezTo>
                  <a:cubicBezTo>
                    <a:pt x="6254" y="10026"/>
                    <a:pt x="6254" y="10026"/>
                    <a:pt x="6254" y="10026"/>
                  </a:cubicBezTo>
                  <a:cubicBezTo>
                    <a:pt x="6235" y="10026"/>
                    <a:pt x="6144" y="10028"/>
                    <a:pt x="6007" y="10035"/>
                  </a:cubicBezTo>
                  <a:close/>
                  <a:moveTo>
                    <a:pt x="5043" y="10973"/>
                  </a:moveTo>
                  <a:cubicBezTo>
                    <a:pt x="5019" y="10977"/>
                    <a:pt x="4940" y="10989"/>
                    <a:pt x="4857" y="11002"/>
                  </a:cubicBezTo>
                  <a:cubicBezTo>
                    <a:pt x="4807" y="11010"/>
                    <a:pt x="4756" y="11018"/>
                    <a:pt x="4715" y="11025"/>
                  </a:cubicBezTo>
                  <a:cubicBezTo>
                    <a:pt x="4675" y="11032"/>
                    <a:pt x="4644" y="11039"/>
                    <a:pt x="4639" y="11041"/>
                  </a:cubicBezTo>
                  <a:cubicBezTo>
                    <a:pt x="4628" y="11045"/>
                    <a:pt x="4609" y="11054"/>
                    <a:pt x="4595" y="11068"/>
                  </a:cubicBezTo>
                  <a:cubicBezTo>
                    <a:pt x="4580" y="11082"/>
                    <a:pt x="4570" y="11099"/>
                    <a:pt x="4570" y="11122"/>
                  </a:cubicBezTo>
                  <a:cubicBezTo>
                    <a:pt x="4570" y="11139"/>
                    <a:pt x="4576" y="11161"/>
                    <a:pt x="4595" y="11189"/>
                  </a:cubicBezTo>
                  <a:cubicBezTo>
                    <a:pt x="4631" y="11243"/>
                    <a:pt x="4761" y="11412"/>
                    <a:pt x="4881" y="11567"/>
                  </a:cubicBezTo>
                  <a:cubicBezTo>
                    <a:pt x="4968" y="11679"/>
                    <a:pt x="5049" y="11784"/>
                    <a:pt x="5088" y="11834"/>
                  </a:cubicBezTo>
                  <a:cubicBezTo>
                    <a:pt x="5104" y="11765"/>
                    <a:pt x="5121" y="11683"/>
                    <a:pt x="5121" y="11607"/>
                  </a:cubicBezTo>
                  <a:cubicBezTo>
                    <a:pt x="5121" y="11581"/>
                    <a:pt x="5119" y="11556"/>
                    <a:pt x="5114" y="11532"/>
                  </a:cubicBezTo>
                  <a:cubicBezTo>
                    <a:pt x="5105" y="11484"/>
                    <a:pt x="5075" y="11241"/>
                    <a:pt x="5043" y="10973"/>
                  </a:cubicBezTo>
                  <a:close/>
                  <a:moveTo>
                    <a:pt x="5671" y="13962"/>
                  </a:moveTo>
                  <a:cubicBezTo>
                    <a:pt x="5776" y="13886"/>
                    <a:pt x="5776" y="13886"/>
                    <a:pt x="5776" y="13886"/>
                  </a:cubicBezTo>
                  <a:cubicBezTo>
                    <a:pt x="5782" y="13886"/>
                    <a:pt x="5782" y="13886"/>
                    <a:pt x="5782" y="13886"/>
                  </a:cubicBezTo>
                  <a:cubicBezTo>
                    <a:pt x="5782" y="13886"/>
                    <a:pt x="5887" y="13886"/>
                    <a:pt x="6012" y="13884"/>
                  </a:cubicBezTo>
                  <a:cubicBezTo>
                    <a:pt x="6137" y="13882"/>
                    <a:pt x="6283" y="13878"/>
                    <a:pt x="6363" y="13870"/>
                  </a:cubicBezTo>
                  <a:cubicBezTo>
                    <a:pt x="6376" y="13869"/>
                    <a:pt x="6388" y="13867"/>
                    <a:pt x="6400" y="13866"/>
                  </a:cubicBezTo>
                  <a:cubicBezTo>
                    <a:pt x="6396" y="13866"/>
                    <a:pt x="6396" y="13866"/>
                    <a:pt x="6396" y="13866"/>
                  </a:cubicBezTo>
                  <a:cubicBezTo>
                    <a:pt x="6396" y="13866"/>
                    <a:pt x="6396" y="13866"/>
                    <a:pt x="6396" y="13866"/>
                  </a:cubicBezTo>
                  <a:cubicBezTo>
                    <a:pt x="6710" y="10919"/>
                    <a:pt x="6710" y="10919"/>
                    <a:pt x="6710" y="10919"/>
                  </a:cubicBezTo>
                  <a:cubicBezTo>
                    <a:pt x="6119" y="10911"/>
                    <a:pt x="6119" y="10911"/>
                    <a:pt x="6119" y="10911"/>
                  </a:cubicBezTo>
                  <a:cubicBezTo>
                    <a:pt x="6118" y="10917"/>
                    <a:pt x="6118" y="10917"/>
                    <a:pt x="6118" y="10917"/>
                  </a:cubicBezTo>
                  <a:cubicBezTo>
                    <a:pt x="6020" y="11408"/>
                    <a:pt x="6020" y="11408"/>
                    <a:pt x="6020" y="11408"/>
                  </a:cubicBezTo>
                  <a:cubicBezTo>
                    <a:pt x="5942" y="11635"/>
                    <a:pt x="5942" y="11635"/>
                    <a:pt x="5942" y="11635"/>
                  </a:cubicBezTo>
                  <a:cubicBezTo>
                    <a:pt x="5685" y="13903"/>
                    <a:pt x="5685" y="13903"/>
                    <a:pt x="5685" y="13903"/>
                  </a:cubicBezTo>
                  <a:lnTo>
                    <a:pt x="5671" y="13962"/>
                  </a:lnTo>
                  <a:close/>
                  <a:moveTo>
                    <a:pt x="8568" y="10341"/>
                  </a:moveTo>
                  <a:cubicBezTo>
                    <a:pt x="8546" y="10324"/>
                    <a:pt x="8546" y="10324"/>
                    <a:pt x="8546" y="10324"/>
                  </a:cubicBezTo>
                  <a:cubicBezTo>
                    <a:pt x="8525" y="10311"/>
                    <a:pt x="8499" y="10293"/>
                    <a:pt x="8468" y="10273"/>
                  </a:cubicBezTo>
                  <a:cubicBezTo>
                    <a:pt x="8280" y="10150"/>
                    <a:pt x="7947" y="9926"/>
                    <a:pt x="7878" y="9880"/>
                  </a:cubicBezTo>
                  <a:cubicBezTo>
                    <a:pt x="7874" y="9891"/>
                    <a:pt x="7868" y="9909"/>
                    <a:pt x="7861" y="9931"/>
                  </a:cubicBezTo>
                  <a:cubicBezTo>
                    <a:pt x="7820" y="10063"/>
                    <a:pt x="7732" y="10367"/>
                    <a:pt x="7656" y="10638"/>
                  </a:cubicBezTo>
                  <a:cubicBezTo>
                    <a:pt x="7587" y="10881"/>
                    <a:pt x="7526" y="11096"/>
                    <a:pt x="7515" y="11138"/>
                  </a:cubicBezTo>
                  <a:cubicBezTo>
                    <a:pt x="7514" y="11144"/>
                    <a:pt x="7514" y="11144"/>
                    <a:pt x="7514" y="11144"/>
                  </a:cubicBezTo>
                  <a:cubicBezTo>
                    <a:pt x="7837" y="11300"/>
                    <a:pt x="8004" y="11387"/>
                    <a:pt x="8047" y="11409"/>
                  </a:cubicBezTo>
                  <a:lnTo>
                    <a:pt x="8568" y="10341"/>
                  </a:lnTo>
                  <a:close/>
                  <a:moveTo>
                    <a:pt x="9271" y="8897"/>
                  </a:moveTo>
                  <a:cubicBezTo>
                    <a:pt x="9128" y="8818"/>
                    <a:pt x="8866" y="8654"/>
                    <a:pt x="8734" y="8573"/>
                  </a:cubicBezTo>
                  <a:cubicBezTo>
                    <a:pt x="8723" y="8580"/>
                    <a:pt x="8723" y="8580"/>
                    <a:pt x="8723" y="8580"/>
                  </a:cubicBezTo>
                  <a:cubicBezTo>
                    <a:pt x="8677" y="8652"/>
                    <a:pt x="8497" y="8933"/>
                    <a:pt x="8315" y="9214"/>
                  </a:cubicBezTo>
                  <a:cubicBezTo>
                    <a:pt x="8209" y="9378"/>
                    <a:pt x="8103" y="9541"/>
                    <a:pt x="8023" y="9663"/>
                  </a:cubicBezTo>
                  <a:cubicBezTo>
                    <a:pt x="7982" y="9725"/>
                    <a:pt x="7948" y="9776"/>
                    <a:pt x="7924" y="9812"/>
                  </a:cubicBezTo>
                  <a:cubicBezTo>
                    <a:pt x="7912" y="9830"/>
                    <a:pt x="7902" y="9844"/>
                    <a:pt x="7895" y="9853"/>
                  </a:cubicBezTo>
                  <a:cubicBezTo>
                    <a:pt x="7894" y="9855"/>
                    <a:pt x="7893" y="9856"/>
                    <a:pt x="7892" y="9858"/>
                  </a:cubicBezTo>
                  <a:cubicBezTo>
                    <a:pt x="7935" y="9886"/>
                    <a:pt x="8087" y="9989"/>
                    <a:pt x="8241" y="10091"/>
                  </a:cubicBezTo>
                  <a:cubicBezTo>
                    <a:pt x="8332" y="10152"/>
                    <a:pt x="8423" y="10212"/>
                    <a:pt x="8492" y="10258"/>
                  </a:cubicBezTo>
                  <a:cubicBezTo>
                    <a:pt x="8520" y="10276"/>
                    <a:pt x="8543" y="10291"/>
                    <a:pt x="8562" y="10304"/>
                  </a:cubicBezTo>
                  <a:cubicBezTo>
                    <a:pt x="8570" y="10304"/>
                    <a:pt x="8578" y="10305"/>
                    <a:pt x="8585" y="10305"/>
                  </a:cubicBezTo>
                  <a:lnTo>
                    <a:pt x="9271" y="8897"/>
                  </a:lnTo>
                  <a:close/>
                  <a:moveTo>
                    <a:pt x="8682" y="8541"/>
                  </a:moveTo>
                  <a:cubicBezTo>
                    <a:pt x="8588" y="8485"/>
                    <a:pt x="8171" y="8175"/>
                    <a:pt x="8090" y="8114"/>
                  </a:cubicBezTo>
                  <a:cubicBezTo>
                    <a:pt x="8074" y="8116"/>
                    <a:pt x="8065" y="8116"/>
                    <a:pt x="8065" y="8116"/>
                  </a:cubicBezTo>
                  <a:cubicBezTo>
                    <a:pt x="8064" y="8116"/>
                    <a:pt x="8064" y="8116"/>
                    <a:pt x="8064" y="8116"/>
                  </a:cubicBezTo>
                  <a:cubicBezTo>
                    <a:pt x="8054" y="8130"/>
                    <a:pt x="8054" y="8130"/>
                    <a:pt x="8054" y="8130"/>
                  </a:cubicBezTo>
                  <a:cubicBezTo>
                    <a:pt x="7248" y="9717"/>
                    <a:pt x="7248" y="9717"/>
                    <a:pt x="7248" y="9717"/>
                  </a:cubicBezTo>
                  <a:cubicBezTo>
                    <a:pt x="6849" y="9994"/>
                    <a:pt x="6849" y="9994"/>
                    <a:pt x="6849" y="9994"/>
                  </a:cubicBezTo>
                  <a:cubicBezTo>
                    <a:pt x="6847" y="9990"/>
                    <a:pt x="6847" y="9990"/>
                    <a:pt x="6847" y="9990"/>
                  </a:cubicBezTo>
                  <a:cubicBezTo>
                    <a:pt x="6844" y="9999"/>
                    <a:pt x="6844" y="9999"/>
                    <a:pt x="6844" y="9999"/>
                  </a:cubicBezTo>
                  <a:cubicBezTo>
                    <a:pt x="6750" y="10885"/>
                    <a:pt x="6750" y="10885"/>
                    <a:pt x="6750" y="10885"/>
                  </a:cubicBezTo>
                  <a:cubicBezTo>
                    <a:pt x="6818" y="10897"/>
                    <a:pt x="7114" y="10952"/>
                    <a:pt x="7475" y="11125"/>
                  </a:cubicBezTo>
                  <a:cubicBezTo>
                    <a:pt x="7476" y="11126"/>
                    <a:pt x="7478" y="11127"/>
                    <a:pt x="7479" y="11128"/>
                  </a:cubicBezTo>
                  <a:cubicBezTo>
                    <a:pt x="7484" y="11124"/>
                    <a:pt x="7490" y="11120"/>
                    <a:pt x="7493" y="11118"/>
                  </a:cubicBezTo>
                  <a:cubicBezTo>
                    <a:pt x="7514" y="11043"/>
                    <a:pt x="7590" y="10771"/>
                    <a:pt x="7668" y="10498"/>
                  </a:cubicBezTo>
                  <a:cubicBezTo>
                    <a:pt x="7714" y="10338"/>
                    <a:pt x="7760" y="10177"/>
                    <a:pt x="7796" y="10057"/>
                  </a:cubicBezTo>
                  <a:cubicBezTo>
                    <a:pt x="7813" y="9997"/>
                    <a:pt x="7829" y="9947"/>
                    <a:pt x="7840" y="9912"/>
                  </a:cubicBezTo>
                  <a:cubicBezTo>
                    <a:pt x="7845" y="9894"/>
                    <a:pt x="7850" y="9880"/>
                    <a:pt x="7854" y="9870"/>
                  </a:cubicBezTo>
                  <a:cubicBezTo>
                    <a:pt x="7855" y="9865"/>
                    <a:pt x="7857" y="9862"/>
                    <a:pt x="7858" y="9859"/>
                  </a:cubicBezTo>
                  <a:cubicBezTo>
                    <a:pt x="7859" y="9857"/>
                    <a:pt x="7860" y="9856"/>
                    <a:pt x="7860" y="9854"/>
                  </a:cubicBezTo>
                  <a:cubicBezTo>
                    <a:pt x="7862" y="9854"/>
                    <a:pt x="7861" y="9851"/>
                    <a:pt x="7865" y="9850"/>
                  </a:cubicBezTo>
                  <a:cubicBezTo>
                    <a:pt x="7877" y="9836"/>
                    <a:pt x="7937" y="9747"/>
                    <a:pt x="8018" y="9623"/>
                  </a:cubicBezTo>
                  <a:cubicBezTo>
                    <a:pt x="8141" y="9435"/>
                    <a:pt x="8315" y="9166"/>
                    <a:pt x="8458" y="8944"/>
                  </a:cubicBezTo>
                  <a:cubicBezTo>
                    <a:pt x="8576" y="8761"/>
                    <a:pt x="8673" y="8610"/>
                    <a:pt x="8703" y="8563"/>
                  </a:cubicBezTo>
                  <a:cubicBezTo>
                    <a:pt x="8702" y="8554"/>
                    <a:pt x="8702" y="8554"/>
                    <a:pt x="8702" y="8554"/>
                  </a:cubicBezTo>
                  <a:cubicBezTo>
                    <a:pt x="8695" y="8549"/>
                    <a:pt x="8688" y="8545"/>
                    <a:pt x="8682" y="8541"/>
                  </a:cubicBezTo>
                  <a:close/>
                  <a:moveTo>
                    <a:pt x="6511" y="8148"/>
                  </a:moveTo>
                  <a:cubicBezTo>
                    <a:pt x="6503" y="8171"/>
                    <a:pt x="6495" y="8193"/>
                    <a:pt x="6484" y="8214"/>
                  </a:cubicBezTo>
                  <a:cubicBezTo>
                    <a:pt x="6463" y="8258"/>
                    <a:pt x="6430" y="8303"/>
                    <a:pt x="6377" y="8326"/>
                  </a:cubicBezTo>
                  <a:cubicBezTo>
                    <a:pt x="6349" y="8338"/>
                    <a:pt x="6322" y="8342"/>
                    <a:pt x="6288" y="8346"/>
                  </a:cubicBezTo>
                  <a:cubicBezTo>
                    <a:pt x="6255" y="8349"/>
                    <a:pt x="6217" y="8350"/>
                    <a:pt x="6174" y="8350"/>
                  </a:cubicBezTo>
                  <a:cubicBezTo>
                    <a:pt x="5967" y="8350"/>
                    <a:pt x="5645" y="8320"/>
                    <a:pt x="5393" y="8299"/>
                  </a:cubicBezTo>
                  <a:cubicBezTo>
                    <a:pt x="5409" y="8383"/>
                    <a:pt x="5441" y="8553"/>
                    <a:pt x="5452" y="8639"/>
                  </a:cubicBezTo>
                  <a:cubicBezTo>
                    <a:pt x="5457" y="8683"/>
                    <a:pt x="5461" y="8724"/>
                    <a:pt x="5461" y="8763"/>
                  </a:cubicBezTo>
                  <a:cubicBezTo>
                    <a:pt x="5461" y="8829"/>
                    <a:pt x="5449" y="8887"/>
                    <a:pt x="5410" y="8931"/>
                  </a:cubicBezTo>
                  <a:cubicBezTo>
                    <a:pt x="5381" y="8961"/>
                    <a:pt x="5331" y="9021"/>
                    <a:pt x="5259" y="9078"/>
                  </a:cubicBezTo>
                  <a:cubicBezTo>
                    <a:pt x="5274" y="9096"/>
                    <a:pt x="5307" y="9136"/>
                    <a:pt x="5316" y="9170"/>
                  </a:cubicBezTo>
                  <a:cubicBezTo>
                    <a:pt x="5320" y="9186"/>
                    <a:pt x="5344" y="9236"/>
                    <a:pt x="5369" y="9295"/>
                  </a:cubicBezTo>
                  <a:cubicBezTo>
                    <a:pt x="5393" y="9355"/>
                    <a:pt x="5418" y="9426"/>
                    <a:pt x="5423" y="9492"/>
                  </a:cubicBezTo>
                  <a:cubicBezTo>
                    <a:pt x="5424" y="9505"/>
                    <a:pt x="5424" y="9521"/>
                    <a:pt x="5424" y="9539"/>
                  </a:cubicBezTo>
                  <a:cubicBezTo>
                    <a:pt x="5424" y="9675"/>
                    <a:pt x="5401" y="9943"/>
                    <a:pt x="5392" y="10036"/>
                  </a:cubicBezTo>
                  <a:cubicBezTo>
                    <a:pt x="5397" y="10054"/>
                    <a:pt x="5397" y="10054"/>
                    <a:pt x="5397" y="10054"/>
                  </a:cubicBezTo>
                  <a:cubicBezTo>
                    <a:pt x="5619" y="10025"/>
                    <a:pt x="5824" y="10009"/>
                    <a:pt x="5979" y="10001"/>
                  </a:cubicBezTo>
                  <a:cubicBezTo>
                    <a:pt x="6626" y="8174"/>
                    <a:pt x="6626" y="8174"/>
                    <a:pt x="6626" y="8174"/>
                  </a:cubicBezTo>
                  <a:cubicBezTo>
                    <a:pt x="6623" y="8173"/>
                    <a:pt x="6623" y="8173"/>
                    <a:pt x="6623" y="8173"/>
                  </a:cubicBezTo>
                  <a:cubicBezTo>
                    <a:pt x="6628" y="8154"/>
                    <a:pt x="6628" y="8154"/>
                    <a:pt x="6628" y="8154"/>
                  </a:cubicBezTo>
                  <a:cubicBezTo>
                    <a:pt x="6626" y="8154"/>
                    <a:pt x="6625" y="8154"/>
                    <a:pt x="6623" y="8154"/>
                  </a:cubicBezTo>
                  <a:cubicBezTo>
                    <a:pt x="6610" y="8154"/>
                    <a:pt x="6598" y="8154"/>
                    <a:pt x="6586" y="8153"/>
                  </a:cubicBezTo>
                  <a:cubicBezTo>
                    <a:pt x="6580" y="8153"/>
                    <a:pt x="6553" y="8151"/>
                    <a:pt x="6511" y="8148"/>
                  </a:cubicBezTo>
                  <a:close/>
                  <a:moveTo>
                    <a:pt x="6366" y="8138"/>
                  </a:moveTo>
                  <a:cubicBezTo>
                    <a:pt x="5978" y="8110"/>
                    <a:pt x="5207" y="8055"/>
                    <a:pt x="5121" y="8049"/>
                  </a:cubicBezTo>
                  <a:cubicBezTo>
                    <a:pt x="5072" y="8059"/>
                    <a:pt x="4814" y="8112"/>
                    <a:pt x="4606" y="8144"/>
                  </a:cubicBezTo>
                  <a:cubicBezTo>
                    <a:pt x="4697" y="8139"/>
                    <a:pt x="4786" y="8137"/>
                    <a:pt x="4868" y="8137"/>
                  </a:cubicBezTo>
                  <a:cubicBezTo>
                    <a:pt x="4979" y="8137"/>
                    <a:pt x="5079" y="8140"/>
                    <a:pt x="5158" y="8144"/>
                  </a:cubicBezTo>
                  <a:cubicBezTo>
                    <a:pt x="5406" y="8155"/>
                    <a:pt x="5906" y="8211"/>
                    <a:pt x="6174" y="8211"/>
                  </a:cubicBezTo>
                  <a:cubicBezTo>
                    <a:pt x="6214" y="8211"/>
                    <a:pt x="6249" y="8209"/>
                    <a:pt x="6275" y="8207"/>
                  </a:cubicBezTo>
                  <a:cubicBezTo>
                    <a:pt x="6301" y="8205"/>
                    <a:pt x="6320" y="8200"/>
                    <a:pt x="6321" y="8199"/>
                  </a:cubicBezTo>
                  <a:cubicBezTo>
                    <a:pt x="6332" y="8194"/>
                    <a:pt x="6345" y="8182"/>
                    <a:pt x="6359" y="8153"/>
                  </a:cubicBezTo>
                  <a:cubicBezTo>
                    <a:pt x="6361" y="8148"/>
                    <a:pt x="6364" y="8143"/>
                    <a:pt x="6366" y="8138"/>
                  </a:cubicBezTo>
                  <a:close/>
                  <a:moveTo>
                    <a:pt x="4197" y="9277"/>
                  </a:moveTo>
                  <a:cubicBezTo>
                    <a:pt x="4623" y="10205"/>
                    <a:pt x="4623" y="10205"/>
                    <a:pt x="4623" y="10205"/>
                  </a:cubicBezTo>
                  <a:cubicBezTo>
                    <a:pt x="4697" y="10186"/>
                    <a:pt x="4770" y="10168"/>
                    <a:pt x="4839" y="10152"/>
                  </a:cubicBezTo>
                  <a:cubicBezTo>
                    <a:pt x="5008" y="10112"/>
                    <a:pt x="5185" y="10082"/>
                    <a:pt x="5353" y="10060"/>
                  </a:cubicBezTo>
                  <a:cubicBezTo>
                    <a:pt x="5365" y="10042"/>
                    <a:pt x="5365" y="10042"/>
                    <a:pt x="5365" y="10042"/>
                  </a:cubicBezTo>
                  <a:cubicBezTo>
                    <a:pt x="5373" y="9958"/>
                    <a:pt x="5398" y="9677"/>
                    <a:pt x="5398" y="9539"/>
                  </a:cubicBezTo>
                  <a:cubicBezTo>
                    <a:pt x="5398" y="9521"/>
                    <a:pt x="5397" y="9506"/>
                    <a:pt x="5397" y="9494"/>
                  </a:cubicBezTo>
                  <a:cubicBezTo>
                    <a:pt x="5392" y="9433"/>
                    <a:pt x="5368" y="9364"/>
                    <a:pt x="5344" y="9305"/>
                  </a:cubicBezTo>
                  <a:cubicBezTo>
                    <a:pt x="5320" y="9246"/>
                    <a:pt x="5297" y="9199"/>
                    <a:pt x="5291" y="9176"/>
                  </a:cubicBezTo>
                  <a:cubicBezTo>
                    <a:pt x="5287" y="9161"/>
                    <a:pt x="5272" y="9137"/>
                    <a:pt x="5258" y="9118"/>
                  </a:cubicBezTo>
                  <a:cubicBezTo>
                    <a:pt x="5250" y="9108"/>
                    <a:pt x="5243" y="9099"/>
                    <a:pt x="5237" y="9093"/>
                  </a:cubicBezTo>
                  <a:cubicBezTo>
                    <a:pt x="5166" y="9145"/>
                    <a:pt x="5075" y="9192"/>
                    <a:pt x="4962" y="9210"/>
                  </a:cubicBezTo>
                  <a:cubicBezTo>
                    <a:pt x="4752" y="9244"/>
                    <a:pt x="4323" y="9270"/>
                    <a:pt x="4197" y="9277"/>
                  </a:cubicBezTo>
                  <a:close/>
                  <a:moveTo>
                    <a:pt x="3774" y="10487"/>
                  </a:moveTo>
                  <a:cubicBezTo>
                    <a:pt x="3608" y="10538"/>
                    <a:pt x="3463" y="10585"/>
                    <a:pt x="3359" y="10619"/>
                  </a:cubicBezTo>
                  <a:cubicBezTo>
                    <a:pt x="3307" y="10636"/>
                    <a:pt x="3265" y="10651"/>
                    <a:pt x="3236" y="10661"/>
                  </a:cubicBezTo>
                  <a:cubicBezTo>
                    <a:pt x="3226" y="10664"/>
                    <a:pt x="3218" y="10667"/>
                    <a:pt x="3211" y="10670"/>
                  </a:cubicBezTo>
                  <a:cubicBezTo>
                    <a:pt x="3443" y="10977"/>
                    <a:pt x="3443" y="10977"/>
                    <a:pt x="3443" y="10977"/>
                  </a:cubicBezTo>
                  <a:cubicBezTo>
                    <a:pt x="3444" y="10976"/>
                    <a:pt x="3444" y="10976"/>
                    <a:pt x="3444" y="10976"/>
                  </a:cubicBezTo>
                  <a:cubicBezTo>
                    <a:pt x="3594" y="11172"/>
                    <a:pt x="3594" y="11172"/>
                    <a:pt x="3594" y="11172"/>
                  </a:cubicBezTo>
                  <a:cubicBezTo>
                    <a:pt x="3609" y="11169"/>
                    <a:pt x="3609" y="11169"/>
                    <a:pt x="3609" y="11169"/>
                  </a:cubicBezTo>
                  <a:cubicBezTo>
                    <a:pt x="3609" y="11169"/>
                    <a:pt x="3609" y="11169"/>
                    <a:pt x="3609" y="11169"/>
                  </a:cubicBezTo>
                  <a:cubicBezTo>
                    <a:pt x="3938" y="11061"/>
                    <a:pt x="3938" y="11061"/>
                    <a:pt x="3938" y="11061"/>
                  </a:cubicBezTo>
                  <a:cubicBezTo>
                    <a:pt x="3938" y="11061"/>
                    <a:pt x="3938" y="11061"/>
                    <a:pt x="3938" y="11061"/>
                  </a:cubicBezTo>
                  <a:cubicBezTo>
                    <a:pt x="4134" y="11003"/>
                    <a:pt x="4134" y="11003"/>
                    <a:pt x="4134" y="11003"/>
                  </a:cubicBezTo>
                  <a:cubicBezTo>
                    <a:pt x="4535" y="11078"/>
                    <a:pt x="4535" y="11078"/>
                    <a:pt x="4535" y="11078"/>
                  </a:cubicBezTo>
                  <a:cubicBezTo>
                    <a:pt x="4543" y="11079"/>
                    <a:pt x="4543" y="11079"/>
                    <a:pt x="4543" y="11079"/>
                  </a:cubicBezTo>
                  <a:cubicBezTo>
                    <a:pt x="4550" y="11064"/>
                    <a:pt x="4560" y="11052"/>
                    <a:pt x="4570" y="11042"/>
                  </a:cubicBezTo>
                  <a:cubicBezTo>
                    <a:pt x="4590" y="11023"/>
                    <a:pt x="4612" y="11013"/>
                    <a:pt x="4626" y="11007"/>
                  </a:cubicBezTo>
                  <a:cubicBezTo>
                    <a:pt x="4639" y="11003"/>
                    <a:pt x="4668" y="10997"/>
                    <a:pt x="4709" y="10990"/>
                  </a:cubicBezTo>
                  <a:cubicBezTo>
                    <a:pt x="4819" y="10971"/>
                    <a:pt x="5001" y="10943"/>
                    <a:pt x="5039" y="10937"/>
                  </a:cubicBezTo>
                  <a:cubicBezTo>
                    <a:pt x="4997" y="10591"/>
                    <a:pt x="4954" y="10216"/>
                    <a:pt x="4948" y="10165"/>
                  </a:cubicBezTo>
                  <a:cubicBezTo>
                    <a:pt x="4914" y="10172"/>
                    <a:pt x="4880" y="10179"/>
                    <a:pt x="4847" y="10187"/>
                  </a:cubicBezTo>
                  <a:cubicBezTo>
                    <a:pt x="4520" y="10263"/>
                    <a:pt x="4106" y="10384"/>
                    <a:pt x="3774" y="10487"/>
                  </a:cubicBezTo>
                  <a:close/>
                  <a:moveTo>
                    <a:pt x="8707" y="13697"/>
                  </a:moveTo>
                  <a:cubicBezTo>
                    <a:pt x="9364" y="12273"/>
                    <a:pt x="9364" y="12273"/>
                    <a:pt x="9364" y="12273"/>
                  </a:cubicBezTo>
                  <a:cubicBezTo>
                    <a:pt x="9422" y="12151"/>
                    <a:pt x="9422" y="12151"/>
                    <a:pt x="9422" y="12151"/>
                  </a:cubicBezTo>
                  <a:cubicBezTo>
                    <a:pt x="8064" y="11458"/>
                    <a:pt x="8064" y="11458"/>
                    <a:pt x="8064" y="11458"/>
                  </a:cubicBezTo>
                  <a:cubicBezTo>
                    <a:pt x="7375" y="12873"/>
                    <a:pt x="7375" y="12873"/>
                    <a:pt x="7375" y="12873"/>
                  </a:cubicBezTo>
                  <a:cubicBezTo>
                    <a:pt x="7330" y="13431"/>
                    <a:pt x="7330" y="13431"/>
                    <a:pt x="7330" y="13431"/>
                  </a:cubicBezTo>
                  <a:cubicBezTo>
                    <a:pt x="7330" y="13436"/>
                    <a:pt x="7330" y="13470"/>
                    <a:pt x="7334" y="13523"/>
                  </a:cubicBezTo>
                  <a:cubicBezTo>
                    <a:pt x="7338" y="13581"/>
                    <a:pt x="7347" y="13661"/>
                    <a:pt x="7364" y="13750"/>
                  </a:cubicBezTo>
                  <a:cubicBezTo>
                    <a:pt x="7331" y="13756"/>
                    <a:pt x="7331" y="13756"/>
                    <a:pt x="7331" y="13756"/>
                  </a:cubicBezTo>
                  <a:cubicBezTo>
                    <a:pt x="7339" y="13756"/>
                    <a:pt x="7344" y="13756"/>
                    <a:pt x="7344" y="13756"/>
                  </a:cubicBezTo>
                  <a:cubicBezTo>
                    <a:pt x="8669" y="13703"/>
                    <a:pt x="8669" y="13703"/>
                    <a:pt x="8669" y="13703"/>
                  </a:cubicBezTo>
                  <a:lnTo>
                    <a:pt x="8707" y="13697"/>
                  </a:lnTo>
                  <a:close/>
                  <a:moveTo>
                    <a:pt x="9437" y="12119"/>
                  </a:moveTo>
                  <a:cubicBezTo>
                    <a:pt x="10639" y="9572"/>
                    <a:pt x="10639" y="9572"/>
                    <a:pt x="10639" y="9572"/>
                  </a:cubicBezTo>
                  <a:cubicBezTo>
                    <a:pt x="10642" y="9569"/>
                    <a:pt x="10642" y="9569"/>
                    <a:pt x="10642" y="9569"/>
                  </a:cubicBezTo>
                  <a:cubicBezTo>
                    <a:pt x="10642" y="9569"/>
                    <a:pt x="10642" y="9569"/>
                    <a:pt x="10642" y="9569"/>
                  </a:cubicBezTo>
                  <a:cubicBezTo>
                    <a:pt x="10610" y="9554"/>
                    <a:pt x="10513" y="9509"/>
                    <a:pt x="10404" y="9458"/>
                  </a:cubicBezTo>
                  <a:cubicBezTo>
                    <a:pt x="10268" y="9395"/>
                    <a:pt x="10112" y="9324"/>
                    <a:pt x="10031" y="9289"/>
                  </a:cubicBezTo>
                  <a:cubicBezTo>
                    <a:pt x="9871" y="9221"/>
                    <a:pt x="9473" y="9005"/>
                    <a:pt x="9303" y="8914"/>
                  </a:cubicBezTo>
                  <a:cubicBezTo>
                    <a:pt x="8603" y="10351"/>
                    <a:pt x="8603" y="10351"/>
                    <a:pt x="8603" y="10351"/>
                  </a:cubicBezTo>
                  <a:cubicBezTo>
                    <a:pt x="8603" y="10357"/>
                    <a:pt x="8603" y="10357"/>
                    <a:pt x="8603" y="10357"/>
                  </a:cubicBezTo>
                  <a:cubicBezTo>
                    <a:pt x="8602" y="10357"/>
                    <a:pt x="8601" y="10357"/>
                    <a:pt x="8600" y="10357"/>
                  </a:cubicBezTo>
                  <a:cubicBezTo>
                    <a:pt x="8079" y="11426"/>
                    <a:pt x="8079" y="11426"/>
                    <a:pt x="8079" y="11426"/>
                  </a:cubicBezTo>
                  <a:lnTo>
                    <a:pt x="9437" y="12119"/>
                  </a:lnTo>
                  <a:close/>
                  <a:moveTo>
                    <a:pt x="10797" y="9430"/>
                  </a:moveTo>
                  <a:cubicBezTo>
                    <a:pt x="10883" y="9350"/>
                    <a:pt x="10988" y="9252"/>
                    <a:pt x="11061" y="9175"/>
                  </a:cubicBezTo>
                  <a:cubicBezTo>
                    <a:pt x="11161" y="9070"/>
                    <a:pt x="11189" y="8900"/>
                    <a:pt x="11196" y="8812"/>
                  </a:cubicBezTo>
                  <a:cubicBezTo>
                    <a:pt x="11197" y="8812"/>
                    <a:pt x="11196" y="8812"/>
                    <a:pt x="11196" y="8812"/>
                  </a:cubicBezTo>
                  <a:cubicBezTo>
                    <a:pt x="11196" y="8812"/>
                    <a:pt x="11196" y="8812"/>
                    <a:pt x="11196" y="8812"/>
                  </a:cubicBezTo>
                  <a:cubicBezTo>
                    <a:pt x="11197" y="8805"/>
                    <a:pt x="11198" y="8798"/>
                    <a:pt x="11198" y="8792"/>
                  </a:cubicBezTo>
                  <a:cubicBezTo>
                    <a:pt x="11198" y="8788"/>
                    <a:pt x="11198" y="8784"/>
                    <a:pt x="11197" y="8780"/>
                  </a:cubicBezTo>
                  <a:cubicBezTo>
                    <a:pt x="11127" y="8768"/>
                    <a:pt x="10717" y="8693"/>
                    <a:pt x="10254" y="8540"/>
                  </a:cubicBezTo>
                  <a:cubicBezTo>
                    <a:pt x="9746" y="8373"/>
                    <a:pt x="9139" y="8099"/>
                    <a:pt x="8977" y="8028"/>
                  </a:cubicBezTo>
                  <a:cubicBezTo>
                    <a:pt x="8896" y="7993"/>
                    <a:pt x="8818" y="7943"/>
                    <a:pt x="8752" y="7885"/>
                  </a:cubicBezTo>
                  <a:cubicBezTo>
                    <a:pt x="8727" y="7906"/>
                    <a:pt x="8691" y="7934"/>
                    <a:pt x="8648" y="7963"/>
                  </a:cubicBezTo>
                  <a:cubicBezTo>
                    <a:pt x="8588" y="8004"/>
                    <a:pt x="8516" y="8045"/>
                    <a:pt x="8439" y="8063"/>
                  </a:cubicBezTo>
                  <a:cubicBezTo>
                    <a:pt x="8349" y="8084"/>
                    <a:pt x="8237" y="8098"/>
                    <a:pt x="8159" y="8107"/>
                  </a:cubicBezTo>
                  <a:cubicBezTo>
                    <a:pt x="8166" y="8126"/>
                    <a:pt x="8166" y="8126"/>
                    <a:pt x="8166" y="8126"/>
                  </a:cubicBezTo>
                  <a:cubicBezTo>
                    <a:pt x="8215" y="8162"/>
                    <a:pt x="8287" y="8215"/>
                    <a:pt x="8362" y="8270"/>
                  </a:cubicBezTo>
                  <a:cubicBezTo>
                    <a:pt x="8500" y="8371"/>
                    <a:pt x="8651" y="8481"/>
                    <a:pt x="8700" y="8511"/>
                  </a:cubicBezTo>
                  <a:cubicBezTo>
                    <a:pt x="8803" y="8572"/>
                    <a:pt x="9146" y="8788"/>
                    <a:pt x="9304" y="8873"/>
                  </a:cubicBezTo>
                  <a:cubicBezTo>
                    <a:pt x="9463" y="8959"/>
                    <a:pt x="9884" y="9188"/>
                    <a:pt x="10045" y="9256"/>
                  </a:cubicBezTo>
                  <a:cubicBezTo>
                    <a:pt x="10209" y="9326"/>
                    <a:pt x="10670" y="9542"/>
                    <a:pt x="10670" y="9542"/>
                  </a:cubicBezTo>
                  <a:cubicBezTo>
                    <a:pt x="10671" y="9543"/>
                    <a:pt x="10671" y="9543"/>
                    <a:pt x="10671" y="9543"/>
                  </a:cubicBezTo>
                  <a:cubicBezTo>
                    <a:pt x="10672" y="9543"/>
                    <a:pt x="10672" y="9543"/>
                    <a:pt x="10672" y="9543"/>
                  </a:cubicBezTo>
                  <a:cubicBezTo>
                    <a:pt x="10700" y="9518"/>
                    <a:pt x="10745" y="9478"/>
                    <a:pt x="10797" y="9430"/>
                  </a:cubicBezTo>
                  <a:close/>
                  <a:moveTo>
                    <a:pt x="11927" y="6932"/>
                  </a:moveTo>
                  <a:cubicBezTo>
                    <a:pt x="11949" y="6873"/>
                    <a:pt x="11965" y="6816"/>
                    <a:pt x="11975" y="6773"/>
                  </a:cubicBezTo>
                  <a:cubicBezTo>
                    <a:pt x="11984" y="6731"/>
                    <a:pt x="11988" y="6703"/>
                    <a:pt x="11988" y="6703"/>
                  </a:cubicBezTo>
                  <a:cubicBezTo>
                    <a:pt x="12262" y="4824"/>
                    <a:pt x="12262" y="4824"/>
                    <a:pt x="12262" y="4824"/>
                  </a:cubicBezTo>
                  <a:cubicBezTo>
                    <a:pt x="12262" y="4813"/>
                    <a:pt x="12258" y="4755"/>
                    <a:pt x="12258" y="4729"/>
                  </a:cubicBezTo>
                  <a:cubicBezTo>
                    <a:pt x="12258" y="4726"/>
                    <a:pt x="12258" y="4723"/>
                    <a:pt x="12258" y="4720"/>
                  </a:cubicBezTo>
                  <a:cubicBezTo>
                    <a:pt x="12259" y="4719"/>
                    <a:pt x="12259" y="4718"/>
                    <a:pt x="12259" y="4717"/>
                  </a:cubicBezTo>
                  <a:cubicBezTo>
                    <a:pt x="12240" y="4611"/>
                    <a:pt x="12190" y="4562"/>
                    <a:pt x="12135" y="4535"/>
                  </a:cubicBezTo>
                  <a:cubicBezTo>
                    <a:pt x="12080" y="4507"/>
                    <a:pt x="12018" y="4506"/>
                    <a:pt x="11979" y="4506"/>
                  </a:cubicBezTo>
                  <a:cubicBezTo>
                    <a:pt x="11938" y="4506"/>
                    <a:pt x="11833" y="4519"/>
                    <a:pt x="11702" y="4519"/>
                  </a:cubicBezTo>
                  <a:cubicBezTo>
                    <a:pt x="11590" y="4519"/>
                    <a:pt x="11458" y="4510"/>
                    <a:pt x="11325" y="4475"/>
                  </a:cubicBezTo>
                  <a:cubicBezTo>
                    <a:pt x="11173" y="4434"/>
                    <a:pt x="11065" y="4274"/>
                    <a:pt x="10989" y="4119"/>
                  </a:cubicBezTo>
                  <a:cubicBezTo>
                    <a:pt x="10914" y="3963"/>
                    <a:pt x="10871" y="3808"/>
                    <a:pt x="10860" y="3773"/>
                  </a:cubicBezTo>
                  <a:cubicBezTo>
                    <a:pt x="10858" y="3769"/>
                    <a:pt x="10856" y="3761"/>
                    <a:pt x="10853" y="3750"/>
                  </a:cubicBezTo>
                  <a:cubicBezTo>
                    <a:pt x="8042" y="4561"/>
                    <a:pt x="8042" y="4561"/>
                    <a:pt x="8042" y="4561"/>
                  </a:cubicBezTo>
                  <a:cubicBezTo>
                    <a:pt x="8020" y="4576"/>
                    <a:pt x="8020" y="4576"/>
                    <a:pt x="8020" y="4576"/>
                  </a:cubicBezTo>
                  <a:cubicBezTo>
                    <a:pt x="8335" y="5116"/>
                    <a:pt x="8335" y="5116"/>
                    <a:pt x="8335" y="5116"/>
                  </a:cubicBezTo>
                  <a:cubicBezTo>
                    <a:pt x="8336" y="5117"/>
                    <a:pt x="8336" y="5117"/>
                    <a:pt x="8336" y="5117"/>
                  </a:cubicBezTo>
                  <a:cubicBezTo>
                    <a:pt x="8455" y="5345"/>
                    <a:pt x="8634" y="5803"/>
                    <a:pt x="8654" y="6142"/>
                  </a:cubicBezTo>
                  <a:cubicBezTo>
                    <a:pt x="8660" y="6249"/>
                    <a:pt x="8662" y="6386"/>
                    <a:pt x="8662" y="6528"/>
                  </a:cubicBezTo>
                  <a:cubicBezTo>
                    <a:pt x="8662" y="6822"/>
                    <a:pt x="8653" y="7133"/>
                    <a:pt x="8649" y="7220"/>
                  </a:cubicBezTo>
                  <a:cubicBezTo>
                    <a:pt x="8646" y="7272"/>
                    <a:pt x="8642" y="7328"/>
                    <a:pt x="8642" y="7384"/>
                  </a:cubicBezTo>
                  <a:cubicBezTo>
                    <a:pt x="8642" y="7466"/>
                    <a:pt x="8651" y="7548"/>
                    <a:pt x="8681" y="7615"/>
                  </a:cubicBezTo>
                  <a:cubicBezTo>
                    <a:pt x="8729" y="7728"/>
                    <a:pt x="8872" y="7859"/>
                    <a:pt x="9023" y="7923"/>
                  </a:cubicBezTo>
                  <a:cubicBezTo>
                    <a:pt x="9178" y="7991"/>
                    <a:pt x="9735" y="8242"/>
                    <a:pt x="10219" y="8408"/>
                  </a:cubicBezTo>
                  <a:cubicBezTo>
                    <a:pt x="10224" y="8402"/>
                    <a:pt x="10230" y="8394"/>
                    <a:pt x="10235" y="8386"/>
                  </a:cubicBezTo>
                  <a:cubicBezTo>
                    <a:pt x="10680" y="7128"/>
                    <a:pt x="10680" y="7128"/>
                    <a:pt x="10680" y="7128"/>
                  </a:cubicBezTo>
                  <a:cubicBezTo>
                    <a:pt x="10664" y="7118"/>
                    <a:pt x="10645" y="7107"/>
                    <a:pt x="10624" y="7094"/>
                  </a:cubicBezTo>
                  <a:cubicBezTo>
                    <a:pt x="10524" y="7034"/>
                    <a:pt x="10379" y="6948"/>
                    <a:pt x="10259" y="6877"/>
                  </a:cubicBezTo>
                  <a:cubicBezTo>
                    <a:pt x="10199" y="6842"/>
                    <a:pt x="10144" y="6810"/>
                    <a:pt x="10105" y="6787"/>
                  </a:cubicBezTo>
                  <a:cubicBezTo>
                    <a:pt x="10085" y="6775"/>
                    <a:pt x="10068" y="6766"/>
                    <a:pt x="10057" y="6760"/>
                  </a:cubicBezTo>
                  <a:cubicBezTo>
                    <a:pt x="10051" y="6756"/>
                    <a:pt x="10047" y="6754"/>
                    <a:pt x="10043" y="6752"/>
                  </a:cubicBezTo>
                  <a:cubicBezTo>
                    <a:pt x="10042" y="6751"/>
                    <a:pt x="10041" y="6751"/>
                    <a:pt x="10040" y="6750"/>
                  </a:cubicBezTo>
                  <a:cubicBezTo>
                    <a:pt x="10040" y="6750"/>
                    <a:pt x="10039" y="6750"/>
                    <a:pt x="10039" y="6750"/>
                  </a:cubicBezTo>
                  <a:cubicBezTo>
                    <a:pt x="10040" y="6750"/>
                    <a:pt x="10040" y="6750"/>
                    <a:pt x="10040" y="6750"/>
                  </a:cubicBezTo>
                  <a:cubicBezTo>
                    <a:pt x="10029" y="6746"/>
                    <a:pt x="10024" y="6740"/>
                    <a:pt x="10016" y="6730"/>
                  </a:cubicBezTo>
                  <a:cubicBezTo>
                    <a:pt x="9994" y="6699"/>
                    <a:pt x="9966" y="6631"/>
                    <a:pt x="9966" y="6504"/>
                  </a:cubicBezTo>
                  <a:cubicBezTo>
                    <a:pt x="9966" y="6494"/>
                    <a:pt x="9966" y="6483"/>
                    <a:pt x="9966" y="6472"/>
                  </a:cubicBezTo>
                  <a:cubicBezTo>
                    <a:pt x="9971" y="6337"/>
                    <a:pt x="9995" y="6022"/>
                    <a:pt x="9995" y="5766"/>
                  </a:cubicBezTo>
                  <a:cubicBezTo>
                    <a:pt x="9995" y="5660"/>
                    <a:pt x="9991" y="5565"/>
                    <a:pt x="9980" y="5497"/>
                  </a:cubicBezTo>
                  <a:cubicBezTo>
                    <a:pt x="9962" y="5379"/>
                    <a:pt x="9874" y="5030"/>
                    <a:pt x="9791" y="4712"/>
                  </a:cubicBezTo>
                  <a:cubicBezTo>
                    <a:pt x="9708" y="4393"/>
                    <a:pt x="9630" y="4106"/>
                    <a:pt x="9630" y="4105"/>
                  </a:cubicBezTo>
                  <a:cubicBezTo>
                    <a:pt x="9665" y="4096"/>
                    <a:pt x="9665" y="4096"/>
                    <a:pt x="9665" y="4096"/>
                  </a:cubicBezTo>
                  <a:cubicBezTo>
                    <a:pt x="9665" y="4096"/>
                    <a:pt x="9977" y="5248"/>
                    <a:pt x="10016" y="5491"/>
                  </a:cubicBezTo>
                  <a:cubicBezTo>
                    <a:pt x="10027" y="5563"/>
                    <a:pt x="10031" y="5659"/>
                    <a:pt x="10031" y="5766"/>
                  </a:cubicBezTo>
                  <a:cubicBezTo>
                    <a:pt x="10031" y="6024"/>
                    <a:pt x="10007" y="6340"/>
                    <a:pt x="10002" y="6473"/>
                  </a:cubicBezTo>
                  <a:cubicBezTo>
                    <a:pt x="10002" y="6484"/>
                    <a:pt x="10002" y="6494"/>
                    <a:pt x="10002" y="6504"/>
                  </a:cubicBezTo>
                  <a:cubicBezTo>
                    <a:pt x="10002" y="6585"/>
                    <a:pt x="10014" y="6639"/>
                    <a:pt x="10027" y="6673"/>
                  </a:cubicBezTo>
                  <a:cubicBezTo>
                    <a:pt x="10033" y="6690"/>
                    <a:pt x="10040" y="6701"/>
                    <a:pt x="10045" y="6709"/>
                  </a:cubicBezTo>
                  <a:cubicBezTo>
                    <a:pt x="10048" y="6712"/>
                    <a:pt x="10050" y="6715"/>
                    <a:pt x="10052" y="6716"/>
                  </a:cubicBezTo>
                  <a:cubicBezTo>
                    <a:pt x="10052" y="6716"/>
                    <a:pt x="10052" y="6716"/>
                    <a:pt x="10052" y="6716"/>
                  </a:cubicBezTo>
                  <a:cubicBezTo>
                    <a:pt x="10055" y="6717"/>
                    <a:pt x="10055" y="6718"/>
                    <a:pt x="10057" y="6719"/>
                  </a:cubicBezTo>
                  <a:cubicBezTo>
                    <a:pt x="10086" y="6733"/>
                    <a:pt x="10262" y="6836"/>
                    <a:pt x="10432" y="6938"/>
                  </a:cubicBezTo>
                  <a:cubicBezTo>
                    <a:pt x="10517" y="6988"/>
                    <a:pt x="10601" y="7038"/>
                    <a:pt x="10663" y="7076"/>
                  </a:cubicBezTo>
                  <a:cubicBezTo>
                    <a:pt x="10694" y="7094"/>
                    <a:pt x="10720" y="7110"/>
                    <a:pt x="10738" y="7121"/>
                  </a:cubicBezTo>
                  <a:cubicBezTo>
                    <a:pt x="10747" y="7127"/>
                    <a:pt x="10754" y="7132"/>
                    <a:pt x="10759" y="7135"/>
                  </a:cubicBezTo>
                  <a:cubicBezTo>
                    <a:pt x="10761" y="7136"/>
                    <a:pt x="10762" y="7137"/>
                    <a:pt x="10764" y="7138"/>
                  </a:cubicBezTo>
                  <a:cubicBezTo>
                    <a:pt x="10825" y="7143"/>
                    <a:pt x="11361" y="7182"/>
                    <a:pt x="11362" y="7182"/>
                  </a:cubicBezTo>
                  <a:cubicBezTo>
                    <a:pt x="11362" y="7182"/>
                    <a:pt x="11548" y="7192"/>
                    <a:pt x="11646" y="7192"/>
                  </a:cubicBezTo>
                  <a:cubicBezTo>
                    <a:pt x="11661" y="7192"/>
                    <a:pt x="11673" y="7192"/>
                    <a:pt x="11683" y="7191"/>
                  </a:cubicBezTo>
                  <a:cubicBezTo>
                    <a:pt x="11688" y="7191"/>
                    <a:pt x="11691" y="7191"/>
                    <a:pt x="11694" y="7191"/>
                  </a:cubicBezTo>
                  <a:cubicBezTo>
                    <a:pt x="11696" y="7190"/>
                    <a:pt x="11697" y="7190"/>
                    <a:pt x="11697" y="7190"/>
                  </a:cubicBezTo>
                  <a:cubicBezTo>
                    <a:pt x="11698" y="7190"/>
                    <a:pt x="11698" y="7190"/>
                    <a:pt x="11698" y="7190"/>
                  </a:cubicBezTo>
                  <a:cubicBezTo>
                    <a:pt x="11699" y="7190"/>
                    <a:pt x="11699" y="7190"/>
                    <a:pt x="11699" y="7190"/>
                  </a:cubicBezTo>
                  <a:cubicBezTo>
                    <a:pt x="11700" y="7189"/>
                    <a:pt x="11700" y="7189"/>
                    <a:pt x="11700" y="7189"/>
                  </a:cubicBezTo>
                  <a:cubicBezTo>
                    <a:pt x="11807" y="7169"/>
                    <a:pt x="11882" y="7050"/>
                    <a:pt x="11927" y="6932"/>
                  </a:cubicBezTo>
                  <a:close/>
                  <a:moveTo>
                    <a:pt x="11145" y="1775"/>
                  </a:moveTo>
                  <a:cubicBezTo>
                    <a:pt x="11023" y="1892"/>
                    <a:pt x="10902" y="2008"/>
                    <a:pt x="10810" y="2096"/>
                  </a:cubicBezTo>
                  <a:cubicBezTo>
                    <a:pt x="10764" y="2140"/>
                    <a:pt x="10725" y="2177"/>
                    <a:pt x="10697" y="2204"/>
                  </a:cubicBezTo>
                  <a:cubicBezTo>
                    <a:pt x="10683" y="2217"/>
                    <a:pt x="10671" y="2228"/>
                    <a:pt x="10663" y="2236"/>
                  </a:cubicBezTo>
                  <a:cubicBezTo>
                    <a:pt x="10654" y="2245"/>
                    <a:pt x="10649" y="2249"/>
                    <a:pt x="10645" y="2253"/>
                  </a:cubicBezTo>
                  <a:cubicBezTo>
                    <a:pt x="10619" y="2274"/>
                    <a:pt x="10592" y="2285"/>
                    <a:pt x="10569" y="2293"/>
                  </a:cubicBezTo>
                  <a:cubicBezTo>
                    <a:pt x="10558" y="2297"/>
                    <a:pt x="10549" y="2300"/>
                    <a:pt x="10541" y="2303"/>
                  </a:cubicBezTo>
                  <a:cubicBezTo>
                    <a:pt x="10540" y="2303"/>
                    <a:pt x="10540" y="2303"/>
                    <a:pt x="10540" y="2303"/>
                  </a:cubicBezTo>
                  <a:cubicBezTo>
                    <a:pt x="10529" y="2306"/>
                    <a:pt x="10529" y="2306"/>
                    <a:pt x="10529" y="2306"/>
                  </a:cubicBezTo>
                  <a:cubicBezTo>
                    <a:pt x="10529" y="2306"/>
                    <a:pt x="10528" y="2306"/>
                    <a:pt x="10528" y="2307"/>
                  </a:cubicBezTo>
                  <a:cubicBezTo>
                    <a:pt x="10527" y="2307"/>
                    <a:pt x="10527" y="2307"/>
                    <a:pt x="10527" y="2307"/>
                  </a:cubicBezTo>
                  <a:cubicBezTo>
                    <a:pt x="10527" y="2307"/>
                    <a:pt x="10527" y="2307"/>
                    <a:pt x="10526" y="2307"/>
                  </a:cubicBezTo>
                  <a:cubicBezTo>
                    <a:pt x="10526" y="2307"/>
                    <a:pt x="10526" y="2307"/>
                    <a:pt x="10525" y="2307"/>
                  </a:cubicBezTo>
                  <a:cubicBezTo>
                    <a:pt x="10529" y="2328"/>
                    <a:pt x="10529" y="2328"/>
                    <a:pt x="10529" y="2328"/>
                  </a:cubicBezTo>
                  <a:cubicBezTo>
                    <a:pt x="10534" y="2346"/>
                    <a:pt x="10540" y="2369"/>
                    <a:pt x="10547" y="2396"/>
                  </a:cubicBezTo>
                  <a:cubicBezTo>
                    <a:pt x="10600" y="2379"/>
                    <a:pt x="10646" y="2365"/>
                    <a:pt x="10683" y="2352"/>
                  </a:cubicBezTo>
                  <a:cubicBezTo>
                    <a:pt x="10710" y="2343"/>
                    <a:pt x="10732" y="2335"/>
                    <a:pt x="10749" y="2328"/>
                  </a:cubicBezTo>
                  <a:cubicBezTo>
                    <a:pt x="10765" y="2322"/>
                    <a:pt x="10777" y="2316"/>
                    <a:pt x="10778" y="2316"/>
                  </a:cubicBezTo>
                  <a:cubicBezTo>
                    <a:pt x="10790" y="2309"/>
                    <a:pt x="10827" y="2280"/>
                    <a:pt x="10873" y="2239"/>
                  </a:cubicBezTo>
                  <a:cubicBezTo>
                    <a:pt x="11038" y="2096"/>
                    <a:pt x="11347" y="1796"/>
                    <a:pt x="11644" y="1523"/>
                  </a:cubicBezTo>
                  <a:cubicBezTo>
                    <a:pt x="11793" y="1387"/>
                    <a:pt x="11940" y="1256"/>
                    <a:pt x="12065" y="1154"/>
                  </a:cubicBezTo>
                  <a:cubicBezTo>
                    <a:pt x="12128" y="1102"/>
                    <a:pt x="12186" y="1058"/>
                    <a:pt x="12237" y="1023"/>
                  </a:cubicBezTo>
                  <a:cubicBezTo>
                    <a:pt x="12289" y="988"/>
                    <a:pt x="12332" y="962"/>
                    <a:pt x="12374" y="947"/>
                  </a:cubicBezTo>
                  <a:cubicBezTo>
                    <a:pt x="12468" y="915"/>
                    <a:pt x="12589" y="898"/>
                    <a:pt x="12733" y="888"/>
                  </a:cubicBezTo>
                  <a:cubicBezTo>
                    <a:pt x="12767" y="885"/>
                    <a:pt x="12803" y="883"/>
                    <a:pt x="12840" y="882"/>
                  </a:cubicBezTo>
                  <a:cubicBezTo>
                    <a:pt x="12831" y="845"/>
                    <a:pt x="12825" y="814"/>
                    <a:pt x="12821" y="792"/>
                  </a:cubicBezTo>
                  <a:cubicBezTo>
                    <a:pt x="12812" y="770"/>
                    <a:pt x="12812" y="770"/>
                    <a:pt x="12812" y="770"/>
                  </a:cubicBezTo>
                  <a:cubicBezTo>
                    <a:pt x="12610" y="771"/>
                    <a:pt x="12459" y="773"/>
                    <a:pt x="12426" y="774"/>
                  </a:cubicBezTo>
                  <a:cubicBezTo>
                    <a:pt x="12303" y="778"/>
                    <a:pt x="12200" y="782"/>
                    <a:pt x="12116" y="820"/>
                  </a:cubicBezTo>
                  <a:cubicBezTo>
                    <a:pt x="12078" y="837"/>
                    <a:pt x="12028" y="876"/>
                    <a:pt x="11986" y="917"/>
                  </a:cubicBezTo>
                  <a:cubicBezTo>
                    <a:pt x="11943" y="958"/>
                    <a:pt x="11907" y="1002"/>
                    <a:pt x="11892" y="1024"/>
                  </a:cubicBezTo>
                  <a:cubicBezTo>
                    <a:pt x="11880" y="1042"/>
                    <a:pt x="11862" y="1062"/>
                    <a:pt x="11840" y="1086"/>
                  </a:cubicBezTo>
                  <a:cubicBezTo>
                    <a:pt x="11808" y="1122"/>
                    <a:pt x="11769" y="1163"/>
                    <a:pt x="11737" y="1196"/>
                  </a:cubicBezTo>
                  <a:cubicBezTo>
                    <a:pt x="11721" y="1212"/>
                    <a:pt x="11708" y="1226"/>
                    <a:pt x="11698" y="1236"/>
                  </a:cubicBezTo>
                  <a:cubicBezTo>
                    <a:pt x="11694" y="1241"/>
                    <a:pt x="11691" y="1244"/>
                    <a:pt x="11689" y="1246"/>
                  </a:cubicBezTo>
                  <a:cubicBezTo>
                    <a:pt x="11686" y="1251"/>
                    <a:pt x="11686" y="1250"/>
                    <a:pt x="11685" y="1252"/>
                  </a:cubicBezTo>
                  <a:cubicBezTo>
                    <a:pt x="11681" y="1256"/>
                    <a:pt x="11680" y="1257"/>
                    <a:pt x="11677" y="1260"/>
                  </a:cubicBezTo>
                  <a:cubicBezTo>
                    <a:pt x="11638" y="1300"/>
                    <a:pt x="11389" y="1540"/>
                    <a:pt x="11145" y="1775"/>
                  </a:cubicBezTo>
                  <a:close/>
                  <a:moveTo>
                    <a:pt x="8668" y="1184"/>
                  </a:moveTo>
                  <a:cubicBezTo>
                    <a:pt x="8674" y="1245"/>
                    <a:pt x="8693" y="1464"/>
                    <a:pt x="8693" y="1565"/>
                  </a:cubicBezTo>
                  <a:cubicBezTo>
                    <a:pt x="8693" y="1583"/>
                    <a:pt x="8692" y="1597"/>
                    <a:pt x="8691" y="1608"/>
                  </a:cubicBezTo>
                  <a:cubicBezTo>
                    <a:pt x="8680" y="1676"/>
                    <a:pt x="8598" y="1983"/>
                    <a:pt x="8577" y="2059"/>
                  </a:cubicBezTo>
                  <a:cubicBezTo>
                    <a:pt x="8565" y="2103"/>
                    <a:pt x="8561" y="2168"/>
                    <a:pt x="8561" y="2227"/>
                  </a:cubicBezTo>
                  <a:cubicBezTo>
                    <a:pt x="8561" y="2263"/>
                    <a:pt x="8563" y="2298"/>
                    <a:pt x="8564" y="2325"/>
                  </a:cubicBezTo>
                  <a:cubicBezTo>
                    <a:pt x="8566" y="2378"/>
                    <a:pt x="8576" y="2564"/>
                    <a:pt x="8580" y="2657"/>
                  </a:cubicBezTo>
                  <a:cubicBezTo>
                    <a:pt x="8590" y="2678"/>
                    <a:pt x="8590" y="2678"/>
                    <a:pt x="8590" y="2678"/>
                  </a:cubicBezTo>
                  <a:cubicBezTo>
                    <a:pt x="8692" y="2652"/>
                    <a:pt x="9122" y="2543"/>
                    <a:pt x="9548" y="2436"/>
                  </a:cubicBezTo>
                  <a:cubicBezTo>
                    <a:pt x="10027" y="2315"/>
                    <a:pt x="10500" y="2195"/>
                    <a:pt x="10500" y="2195"/>
                  </a:cubicBezTo>
                  <a:cubicBezTo>
                    <a:pt x="10500" y="2195"/>
                    <a:pt x="10500" y="2195"/>
                    <a:pt x="10500" y="2195"/>
                  </a:cubicBezTo>
                  <a:cubicBezTo>
                    <a:pt x="10502" y="2195"/>
                    <a:pt x="10504" y="2194"/>
                    <a:pt x="10507" y="2193"/>
                  </a:cubicBezTo>
                  <a:cubicBezTo>
                    <a:pt x="10524" y="2189"/>
                    <a:pt x="10564" y="2173"/>
                    <a:pt x="10571" y="2165"/>
                  </a:cubicBezTo>
                  <a:cubicBezTo>
                    <a:pt x="10571" y="2165"/>
                    <a:pt x="10571" y="2165"/>
                    <a:pt x="10571" y="2165"/>
                  </a:cubicBezTo>
                  <a:cubicBezTo>
                    <a:pt x="10599" y="2139"/>
                    <a:pt x="10859" y="1891"/>
                    <a:pt x="11108" y="1651"/>
                  </a:cubicBezTo>
                  <a:cubicBezTo>
                    <a:pt x="11179" y="1583"/>
                    <a:pt x="11248" y="1516"/>
                    <a:pt x="11312" y="1454"/>
                  </a:cubicBezTo>
                  <a:cubicBezTo>
                    <a:pt x="11303" y="1442"/>
                    <a:pt x="11303" y="1442"/>
                    <a:pt x="11303" y="1442"/>
                  </a:cubicBezTo>
                  <a:cubicBezTo>
                    <a:pt x="11226" y="1377"/>
                    <a:pt x="10930" y="1125"/>
                    <a:pt x="10837" y="1034"/>
                  </a:cubicBezTo>
                  <a:cubicBezTo>
                    <a:pt x="10786" y="986"/>
                    <a:pt x="10728" y="961"/>
                    <a:pt x="10681" y="949"/>
                  </a:cubicBezTo>
                  <a:cubicBezTo>
                    <a:pt x="10658" y="942"/>
                    <a:pt x="10638" y="939"/>
                    <a:pt x="10624" y="938"/>
                  </a:cubicBezTo>
                  <a:cubicBezTo>
                    <a:pt x="10610" y="936"/>
                    <a:pt x="10602" y="936"/>
                    <a:pt x="10602" y="936"/>
                  </a:cubicBezTo>
                  <a:cubicBezTo>
                    <a:pt x="9717" y="936"/>
                    <a:pt x="9717" y="936"/>
                    <a:pt x="9717" y="936"/>
                  </a:cubicBezTo>
                  <a:cubicBezTo>
                    <a:pt x="9709" y="941"/>
                    <a:pt x="9686" y="956"/>
                    <a:pt x="9658" y="976"/>
                  </a:cubicBezTo>
                  <a:cubicBezTo>
                    <a:pt x="9610" y="1010"/>
                    <a:pt x="9543" y="1057"/>
                    <a:pt x="9487" y="1096"/>
                  </a:cubicBezTo>
                  <a:cubicBezTo>
                    <a:pt x="9459" y="1116"/>
                    <a:pt x="9434" y="1134"/>
                    <a:pt x="9414" y="1146"/>
                  </a:cubicBezTo>
                  <a:cubicBezTo>
                    <a:pt x="9405" y="1153"/>
                    <a:pt x="9397" y="1158"/>
                    <a:pt x="9390" y="1162"/>
                  </a:cubicBezTo>
                  <a:cubicBezTo>
                    <a:pt x="9387" y="1164"/>
                    <a:pt x="9384" y="1165"/>
                    <a:pt x="9382" y="1167"/>
                  </a:cubicBezTo>
                  <a:cubicBezTo>
                    <a:pt x="9379" y="1168"/>
                    <a:pt x="9378" y="1169"/>
                    <a:pt x="9370" y="1170"/>
                  </a:cubicBezTo>
                  <a:cubicBezTo>
                    <a:pt x="9369" y="1170"/>
                    <a:pt x="9368" y="1170"/>
                    <a:pt x="9367" y="1169"/>
                  </a:cubicBezTo>
                  <a:cubicBezTo>
                    <a:pt x="9365" y="1169"/>
                    <a:pt x="9362" y="1169"/>
                    <a:pt x="9359" y="1169"/>
                  </a:cubicBezTo>
                  <a:cubicBezTo>
                    <a:pt x="9291" y="1169"/>
                    <a:pt x="8925" y="1181"/>
                    <a:pt x="8668" y="1184"/>
                  </a:cubicBezTo>
                  <a:close/>
                  <a:moveTo>
                    <a:pt x="7094" y="1513"/>
                  </a:moveTo>
                  <a:cubicBezTo>
                    <a:pt x="7100" y="1564"/>
                    <a:pt x="7187" y="2311"/>
                    <a:pt x="7191" y="2416"/>
                  </a:cubicBezTo>
                  <a:cubicBezTo>
                    <a:pt x="7240" y="2424"/>
                    <a:pt x="7276" y="2430"/>
                    <a:pt x="7284" y="2431"/>
                  </a:cubicBezTo>
                  <a:cubicBezTo>
                    <a:pt x="8532" y="2407"/>
                    <a:pt x="8532" y="2407"/>
                    <a:pt x="8532" y="2407"/>
                  </a:cubicBezTo>
                  <a:cubicBezTo>
                    <a:pt x="8530" y="2372"/>
                    <a:pt x="8529" y="2343"/>
                    <a:pt x="8528" y="2327"/>
                  </a:cubicBezTo>
                  <a:cubicBezTo>
                    <a:pt x="8527" y="2299"/>
                    <a:pt x="8525" y="2264"/>
                    <a:pt x="8525" y="2227"/>
                  </a:cubicBezTo>
                  <a:cubicBezTo>
                    <a:pt x="8525" y="2166"/>
                    <a:pt x="8529" y="2100"/>
                    <a:pt x="8542" y="2050"/>
                  </a:cubicBezTo>
                  <a:cubicBezTo>
                    <a:pt x="8563" y="1975"/>
                    <a:pt x="8645" y="1664"/>
                    <a:pt x="8655" y="1602"/>
                  </a:cubicBezTo>
                  <a:cubicBezTo>
                    <a:pt x="8656" y="1596"/>
                    <a:pt x="8657" y="1582"/>
                    <a:pt x="8657" y="1565"/>
                  </a:cubicBezTo>
                  <a:cubicBezTo>
                    <a:pt x="8657" y="1466"/>
                    <a:pt x="8637" y="1242"/>
                    <a:pt x="8632" y="1184"/>
                  </a:cubicBezTo>
                  <a:cubicBezTo>
                    <a:pt x="8606" y="1185"/>
                    <a:pt x="8582" y="1185"/>
                    <a:pt x="8559" y="1185"/>
                  </a:cubicBezTo>
                  <a:cubicBezTo>
                    <a:pt x="8521" y="1185"/>
                    <a:pt x="8488" y="1184"/>
                    <a:pt x="8463" y="1183"/>
                  </a:cubicBezTo>
                  <a:cubicBezTo>
                    <a:pt x="8280" y="1177"/>
                    <a:pt x="7917" y="1156"/>
                    <a:pt x="7807" y="1156"/>
                  </a:cubicBezTo>
                  <a:cubicBezTo>
                    <a:pt x="7799" y="1156"/>
                    <a:pt x="7793" y="1156"/>
                    <a:pt x="7788" y="1156"/>
                  </a:cubicBezTo>
                  <a:cubicBezTo>
                    <a:pt x="7713" y="1159"/>
                    <a:pt x="7498" y="1204"/>
                    <a:pt x="7444" y="1227"/>
                  </a:cubicBezTo>
                  <a:cubicBezTo>
                    <a:pt x="7381" y="1252"/>
                    <a:pt x="7191" y="1286"/>
                    <a:pt x="7148" y="1293"/>
                  </a:cubicBezTo>
                  <a:cubicBezTo>
                    <a:pt x="7140" y="1294"/>
                    <a:pt x="7133" y="1301"/>
                    <a:pt x="7127" y="1311"/>
                  </a:cubicBezTo>
                  <a:cubicBezTo>
                    <a:pt x="7123" y="1319"/>
                    <a:pt x="7121" y="1329"/>
                    <a:pt x="7120" y="1335"/>
                  </a:cubicBezTo>
                  <a:cubicBezTo>
                    <a:pt x="7124" y="1343"/>
                    <a:pt x="7122" y="1344"/>
                    <a:pt x="7123" y="1347"/>
                  </a:cubicBezTo>
                  <a:cubicBezTo>
                    <a:pt x="7123" y="1363"/>
                    <a:pt x="7115" y="1402"/>
                    <a:pt x="7108" y="1441"/>
                  </a:cubicBezTo>
                  <a:cubicBezTo>
                    <a:pt x="7102" y="1474"/>
                    <a:pt x="7096" y="1504"/>
                    <a:pt x="7094" y="1513"/>
                  </a:cubicBezTo>
                  <a:close/>
                  <a:moveTo>
                    <a:pt x="4016" y="1758"/>
                  </a:moveTo>
                  <a:cubicBezTo>
                    <a:pt x="4017" y="1780"/>
                    <a:pt x="4017" y="1780"/>
                    <a:pt x="4017" y="1780"/>
                  </a:cubicBezTo>
                  <a:cubicBezTo>
                    <a:pt x="4245" y="1879"/>
                    <a:pt x="4453" y="2030"/>
                    <a:pt x="4491" y="2058"/>
                  </a:cubicBezTo>
                  <a:cubicBezTo>
                    <a:pt x="5336" y="2408"/>
                    <a:pt x="5336" y="2408"/>
                    <a:pt x="5336" y="2408"/>
                  </a:cubicBezTo>
                  <a:cubicBezTo>
                    <a:pt x="5378" y="2420"/>
                    <a:pt x="5878" y="2569"/>
                    <a:pt x="6046" y="2619"/>
                  </a:cubicBezTo>
                  <a:cubicBezTo>
                    <a:pt x="6126" y="2643"/>
                    <a:pt x="6294" y="2687"/>
                    <a:pt x="6460" y="2731"/>
                  </a:cubicBezTo>
                  <a:cubicBezTo>
                    <a:pt x="6476" y="2715"/>
                    <a:pt x="6476" y="2715"/>
                    <a:pt x="6476" y="2715"/>
                  </a:cubicBezTo>
                  <a:cubicBezTo>
                    <a:pt x="6548" y="2460"/>
                    <a:pt x="6548" y="2460"/>
                    <a:pt x="6548" y="2460"/>
                  </a:cubicBezTo>
                  <a:cubicBezTo>
                    <a:pt x="6550" y="2458"/>
                    <a:pt x="6550" y="2458"/>
                    <a:pt x="6550" y="2458"/>
                  </a:cubicBezTo>
                  <a:cubicBezTo>
                    <a:pt x="6600" y="2385"/>
                    <a:pt x="6681" y="2366"/>
                    <a:pt x="6785" y="2366"/>
                  </a:cubicBezTo>
                  <a:cubicBezTo>
                    <a:pt x="6852" y="2366"/>
                    <a:pt x="7030" y="2392"/>
                    <a:pt x="7155" y="2411"/>
                  </a:cubicBezTo>
                  <a:cubicBezTo>
                    <a:pt x="7152" y="2351"/>
                    <a:pt x="7129" y="2142"/>
                    <a:pt x="7107" y="1942"/>
                  </a:cubicBezTo>
                  <a:cubicBezTo>
                    <a:pt x="7085" y="1747"/>
                    <a:pt x="7063" y="1559"/>
                    <a:pt x="7059" y="1521"/>
                  </a:cubicBezTo>
                  <a:cubicBezTo>
                    <a:pt x="7029" y="1496"/>
                    <a:pt x="6987" y="1475"/>
                    <a:pt x="6954" y="1442"/>
                  </a:cubicBezTo>
                  <a:cubicBezTo>
                    <a:pt x="6899" y="1386"/>
                    <a:pt x="6866" y="1326"/>
                    <a:pt x="6865" y="1325"/>
                  </a:cubicBezTo>
                  <a:cubicBezTo>
                    <a:pt x="6587" y="823"/>
                    <a:pt x="6587" y="823"/>
                    <a:pt x="6587" y="823"/>
                  </a:cubicBezTo>
                  <a:cubicBezTo>
                    <a:pt x="6529" y="725"/>
                    <a:pt x="6456" y="703"/>
                    <a:pt x="6395" y="703"/>
                  </a:cubicBezTo>
                  <a:cubicBezTo>
                    <a:pt x="6366" y="703"/>
                    <a:pt x="6340" y="708"/>
                    <a:pt x="6321" y="714"/>
                  </a:cubicBezTo>
                  <a:cubicBezTo>
                    <a:pt x="6312" y="717"/>
                    <a:pt x="6304" y="720"/>
                    <a:pt x="6299" y="722"/>
                  </a:cubicBezTo>
                  <a:cubicBezTo>
                    <a:pt x="6295" y="723"/>
                    <a:pt x="6293" y="724"/>
                    <a:pt x="6292" y="725"/>
                  </a:cubicBezTo>
                  <a:cubicBezTo>
                    <a:pt x="6279" y="733"/>
                    <a:pt x="6059" y="860"/>
                    <a:pt x="5949" y="920"/>
                  </a:cubicBezTo>
                  <a:cubicBezTo>
                    <a:pt x="5847" y="976"/>
                    <a:pt x="5779" y="1006"/>
                    <a:pt x="5674" y="1006"/>
                  </a:cubicBezTo>
                  <a:cubicBezTo>
                    <a:pt x="5662" y="1006"/>
                    <a:pt x="5650" y="1006"/>
                    <a:pt x="5637" y="1005"/>
                  </a:cubicBezTo>
                  <a:cubicBezTo>
                    <a:pt x="5509" y="997"/>
                    <a:pt x="5215" y="908"/>
                    <a:pt x="4926" y="822"/>
                  </a:cubicBezTo>
                  <a:cubicBezTo>
                    <a:pt x="4674" y="747"/>
                    <a:pt x="4503" y="662"/>
                    <a:pt x="4462" y="641"/>
                  </a:cubicBezTo>
                  <a:cubicBezTo>
                    <a:pt x="4227" y="1096"/>
                    <a:pt x="4227" y="1096"/>
                    <a:pt x="4227" y="1096"/>
                  </a:cubicBezTo>
                  <a:cubicBezTo>
                    <a:pt x="4223" y="1114"/>
                    <a:pt x="4191" y="1237"/>
                    <a:pt x="4150" y="1305"/>
                  </a:cubicBezTo>
                  <a:cubicBezTo>
                    <a:pt x="4114" y="1365"/>
                    <a:pt x="4089" y="1412"/>
                    <a:pt x="4083" y="1422"/>
                  </a:cubicBezTo>
                  <a:lnTo>
                    <a:pt x="4016" y="1758"/>
                  </a:lnTo>
                  <a:close/>
                  <a:moveTo>
                    <a:pt x="3864" y="1844"/>
                  </a:moveTo>
                  <a:cubicBezTo>
                    <a:pt x="3809" y="1825"/>
                    <a:pt x="3734" y="1800"/>
                    <a:pt x="3650" y="1770"/>
                  </a:cubicBezTo>
                  <a:cubicBezTo>
                    <a:pt x="3634" y="1783"/>
                    <a:pt x="3634" y="1783"/>
                    <a:pt x="3634" y="1783"/>
                  </a:cubicBezTo>
                  <a:cubicBezTo>
                    <a:pt x="3212" y="3088"/>
                    <a:pt x="3212" y="3088"/>
                    <a:pt x="3212" y="3088"/>
                  </a:cubicBezTo>
                  <a:cubicBezTo>
                    <a:pt x="3207" y="3087"/>
                    <a:pt x="3207" y="3087"/>
                    <a:pt x="3207" y="3087"/>
                  </a:cubicBezTo>
                  <a:cubicBezTo>
                    <a:pt x="3364" y="3148"/>
                    <a:pt x="3679" y="3296"/>
                    <a:pt x="3946" y="3395"/>
                  </a:cubicBezTo>
                  <a:cubicBezTo>
                    <a:pt x="4266" y="3513"/>
                    <a:pt x="4564" y="3618"/>
                    <a:pt x="4764" y="3670"/>
                  </a:cubicBezTo>
                  <a:cubicBezTo>
                    <a:pt x="4839" y="3690"/>
                    <a:pt x="4919" y="3711"/>
                    <a:pt x="5000" y="3734"/>
                  </a:cubicBezTo>
                  <a:cubicBezTo>
                    <a:pt x="5162" y="3360"/>
                    <a:pt x="5162" y="3360"/>
                    <a:pt x="5162" y="3360"/>
                  </a:cubicBezTo>
                  <a:cubicBezTo>
                    <a:pt x="5153" y="2984"/>
                    <a:pt x="5153" y="2984"/>
                    <a:pt x="5153" y="2984"/>
                  </a:cubicBezTo>
                  <a:cubicBezTo>
                    <a:pt x="5154" y="2981"/>
                    <a:pt x="5154" y="2981"/>
                    <a:pt x="5154" y="2981"/>
                  </a:cubicBezTo>
                  <a:cubicBezTo>
                    <a:pt x="5154" y="2981"/>
                    <a:pt x="5193" y="2862"/>
                    <a:pt x="5231" y="2740"/>
                  </a:cubicBezTo>
                  <a:cubicBezTo>
                    <a:pt x="5251" y="2678"/>
                    <a:pt x="5270" y="2616"/>
                    <a:pt x="5284" y="2567"/>
                  </a:cubicBezTo>
                  <a:cubicBezTo>
                    <a:pt x="5290" y="2549"/>
                    <a:pt x="5294" y="2533"/>
                    <a:pt x="5298" y="2520"/>
                  </a:cubicBezTo>
                  <a:cubicBezTo>
                    <a:pt x="5298" y="2519"/>
                    <a:pt x="5298" y="2517"/>
                    <a:pt x="5298" y="2516"/>
                  </a:cubicBezTo>
                  <a:cubicBezTo>
                    <a:pt x="5298" y="2516"/>
                    <a:pt x="5298" y="2516"/>
                    <a:pt x="5298" y="2516"/>
                  </a:cubicBezTo>
                  <a:cubicBezTo>
                    <a:pt x="4434" y="2159"/>
                    <a:pt x="4434" y="2159"/>
                    <a:pt x="4434" y="2159"/>
                  </a:cubicBezTo>
                  <a:cubicBezTo>
                    <a:pt x="4428" y="2154"/>
                    <a:pt x="4428" y="2154"/>
                    <a:pt x="4428" y="2154"/>
                  </a:cubicBezTo>
                  <a:cubicBezTo>
                    <a:pt x="4428" y="2154"/>
                    <a:pt x="4410" y="2141"/>
                    <a:pt x="4379" y="2119"/>
                  </a:cubicBezTo>
                  <a:cubicBezTo>
                    <a:pt x="4283" y="2052"/>
                    <a:pt x="4063" y="1909"/>
                    <a:pt x="3864" y="1844"/>
                  </a:cubicBezTo>
                  <a:close/>
                  <a:moveTo>
                    <a:pt x="4281" y="3554"/>
                  </a:moveTo>
                  <a:cubicBezTo>
                    <a:pt x="4281" y="3554"/>
                    <a:pt x="4281" y="3554"/>
                    <a:pt x="4281" y="3554"/>
                  </a:cubicBezTo>
                  <a:cubicBezTo>
                    <a:pt x="4281" y="3555"/>
                    <a:pt x="4281" y="3555"/>
                    <a:pt x="4281" y="3555"/>
                  </a:cubicBezTo>
                  <a:cubicBezTo>
                    <a:pt x="4281" y="3555"/>
                    <a:pt x="4281" y="3555"/>
                    <a:pt x="4281" y="3555"/>
                  </a:cubicBezTo>
                  <a:lnTo>
                    <a:pt x="4281" y="3554"/>
                  </a:lnTo>
                  <a:close/>
                  <a:moveTo>
                    <a:pt x="4093" y="3904"/>
                  </a:moveTo>
                  <a:cubicBezTo>
                    <a:pt x="4094" y="3900"/>
                    <a:pt x="4094" y="3900"/>
                    <a:pt x="4094" y="3900"/>
                  </a:cubicBezTo>
                  <a:cubicBezTo>
                    <a:pt x="4094" y="3900"/>
                    <a:pt x="4133" y="3809"/>
                    <a:pt x="4172" y="3717"/>
                  </a:cubicBezTo>
                  <a:cubicBezTo>
                    <a:pt x="4192" y="3671"/>
                    <a:pt x="4212" y="3625"/>
                    <a:pt x="4228" y="3591"/>
                  </a:cubicBezTo>
                  <a:cubicBezTo>
                    <a:pt x="4235" y="3573"/>
                    <a:pt x="4242" y="3558"/>
                    <a:pt x="4247" y="3548"/>
                  </a:cubicBezTo>
                  <a:cubicBezTo>
                    <a:pt x="4248" y="3546"/>
                    <a:pt x="4249" y="3545"/>
                    <a:pt x="4250" y="3543"/>
                  </a:cubicBezTo>
                  <a:cubicBezTo>
                    <a:pt x="4149" y="3507"/>
                    <a:pt x="4043" y="3469"/>
                    <a:pt x="3934" y="3428"/>
                  </a:cubicBezTo>
                  <a:cubicBezTo>
                    <a:pt x="3613" y="3310"/>
                    <a:pt x="3221" y="3121"/>
                    <a:pt x="3125" y="3096"/>
                  </a:cubicBezTo>
                  <a:cubicBezTo>
                    <a:pt x="3083" y="3085"/>
                    <a:pt x="3021" y="3071"/>
                    <a:pt x="2947" y="3071"/>
                  </a:cubicBezTo>
                  <a:cubicBezTo>
                    <a:pt x="2845" y="3071"/>
                    <a:pt x="2721" y="3098"/>
                    <a:pt x="2597" y="3202"/>
                  </a:cubicBezTo>
                  <a:cubicBezTo>
                    <a:pt x="2524" y="3263"/>
                    <a:pt x="2409" y="3395"/>
                    <a:pt x="2253" y="3564"/>
                  </a:cubicBezTo>
                  <a:cubicBezTo>
                    <a:pt x="2104" y="3725"/>
                    <a:pt x="1941" y="3902"/>
                    <a:pt x="1814" y="4040"/>
                  </a:cubicBezTo>
                  <a:cubicBezTo>
                    <a:pt x="1750" y="4108"/>
                    <a:pt x="1696" y="4167"/>
                    <a:pt x="1657" y="4208"/>
                  </a:cubicBezTo>
                  <a:cubicBezTo>
                    <a:pt x="1639" y="4229"/>
                    <a:pt x="1624" y="4244"/>
                    <a:pt x="1613" y="4256"/>
                  </a:cubicBezTo>
                  <a:cubicBezTo>
                    <a:pt x="1616" y="4257"/>
                    <a:pt x="1619" y="4258"/>
                    <a:pt x="1619" y="4258"/>
                  </a:cubicBezTo>
                  <a:cubicBezTo>
                    <a:pt x="1621" y="4259"/>
                    <a:pt x="1621" y="4259"/>
                    <a:pt x="1621" y="4259"/>
                  </a:cubicBezTo>
                  <a:cubicBezTo>
                    <a:pt x="2454" y="4863"/>
                    <a:pt x="2454" y="4863"/>
                    <a:pt x="2454" y="4863"/>
                  </a:cubicBezTo>
                  <a:cubicBezTo>
                    <a:pt x="2917" y="5010"/>
                    <a:pt x="2917" y="5010"/>
                    <a:pt x="2917" y="5010"/>
                  </a:cubicBezTo>
                  <a:cubicBezTo>
                    <a:pt x="2923" y="4995"/>
                    <a:pt x="2949" y="4932"/>
                    <a:pt x="2968" y="4886"/>
                  </a:cubicBezTo>
                  <a:cubicBezTo>
                    <a:pt x="2990" y="4832"/>
                    <a:pt x="3033" y="4747"/>
                    <a:pt x="3156" y="4688"/>
                  </a:cubicBezTo>
                  <a:cubicBezTo>
                    <a:pt x="3199" y="4668"/>
                    <a:pt x="3242" y="4659"/>
                    <a:pt x="3289" y="4659"/>
                  </a:cubicBezTo>
                  <a:cubicBezTo>
                    <a:pt x="3381" y="4660"/>
                    <a:pt x="3489" y="4690"/>
                    <a:pt x="3654" y="4722"/>
                  </a:cubicBezTo>
                  <a:cubicBezTo>
                    <a:pt x="3750" y="4740"/>
                    <a:pt x="3865" y="4766"/>
                    <a:pt x="3987" y="4796"/>
                  </a:cubicBezTo>
                  <a:cubicBezTo>
                    <a:pt x="3993" y="4781"/>
                    <a:pt x="4009" y="4741"/>
                    <a:pt x="4028" y="4687"/>
                  </a:cubicBezTo>
                  <a:cubicBezTo>
                    <a:pt x="4051" y="4618"/>
                    <a:pt x="4078" y="4529"/>
                    <a:pt x="4093" y="4447"/>
                  </a:cubicBezTo>
                  <a:cubicBezTo>
                    <a:pt x="4103" y="4394"/>
                    <a:pt x="4107" y="4315"/>
                    <a:pt x="4106" y="4235"/>
                  </a:cubicBezTo>
                  <a:cubicBezTo>
                    <a:pt x="4107" y="4075"/>
                    <a:pt x="4093" y="3909"/>
                    <a:pt x="4093" y="3908"/>
                  </a:cubicBezTo>
                  <a:lnTo>
                    <a:pt x="4093" y="3904"/>
                  </a:lnTo>
                  <a:close/>
                  <a:moveTo>
                    <a:pt x="1291" y="4143"/>
                  </a:moveTo>
                  <a:cubicBezTo>
                    <a:pt x="1293" y="4145"/>
                    <a:pt x="1294" y="4146"/>
                    <a:pt x="1295" y="4148"/>
                  </a:cubicBezTo>
                  <a:cubicBezTo>
                    <a:pt x="1301" y="4149"/>
                    <a:pt x="1307" y="4150"/>
                    <a:pt x="1315" y="4153"/>
                  </a:cubicBezTo>
                  <a:cubicBezTo>
                    <a:pt x="1370" y="4168"/>
                    <a:pt x="1506" y="4217"/>
                    <a:pt x="1576" y="4242"/>
                  </a:cubicBezTo>
                  <a:cubicBezTo>
                    <a:pt x="1597" y="4220"/>
                    <a:pt x="1683" y="4128"/>
                    <a:pt x="1796" y="4005"/>
                  </a:cubicBezTo>
                  <a:cubicBezTo>
                    <a:pt x="1922" y="3870"/>
                    <a:pt x="2081" y="3697"/>
                    <a:pt x="2226" y="3540"/>
                  </a:cubicBezTo>
                  <a:cubicBezTo>
                    <a:pt x="2382" y="3370"/>
                    <a:pt x="2496" y="3240"/>
                    <a:pt x="2574" y="3174"/>
                  </a:cubicBezTo>
                  <a:cubicBezTo>
                    <a:pt x="2705" y="3064"/>
                    <a:pt x="2839" y="3034"/>
                    <a:pt x="2947" y="3034"/>
                  </a:cubicBezTo>
                  <a:cubicBezTo>
                    <a:pt x="3025" y="3034"/>
                    <a:pt x="3091" y="3050"/>
                    <a:pt x="3134" y="3061"/>
                  </a:cubicBezTo>
                  <a:cubicBezTo>
                    <a:pt x="3145" y="3064"/>
                    <a:pt x="3161" y="3069"/>
                    <a:pt x="3178" y="3076"/>
                  </a:cubicBezTo>
                  <a:cubicBezTo>
                    <a:pt x="3601" y="1769"/>
                    <a:pt x="3601" y="1769"/>
                    <a:pt x="3601" y="1769"/>
                  </a:cubicBezTo>
                  <a:cubicBezTo>
                    <a:pt x="3602" y="1754"/>
                    <a:pt x="3602" y="1754"/>
                    <a:pt x="3602" y="1754"/>
                  </a:cubicBezTo>
                  <a:cubicBezTo>
                    <a:pt x="3262" y="1635"/>
                    <a:pt x="2802" y="1470"/>
                    <a:pt x="2757" y="1453"/>
                  </a:cubicBezTo>
                  <a:cubicBezTo>
                    <a:pt x="2727" y="1442"/>
                    <a:pt x="2685" y="1426"/>
                    <a:pt x="2644" y="1401"/>
                  </a:cubicBezTo>
                  <a:cubicBezTo>
                    <a:pt x="2617" y="1385"/>
                    <a:pt x="2591" y="1365"/>
                    <a:pt x="2568" y="1339"/>
                  </a:cubicBezTo>
                  <a:cubicBezTo>
                    <a:pt x="2558" y="1345"/>
                    <a:pt x="2558" y="1345"/>
                    <a:pt x="2558" y="1345"/>
                  </a:cubicBezTo>
                  <a:cubicBezTo>
                    <a:pt x="2548" y="1353"/>
                    <a:pt x="2526" y="1371"/>
                    <a:pt x="2495" y="1397"/>
                  </a:cubicBezTo>
                  <a:cubicBezTo>
                    <a:pt x="2360" y="1511"/>
                    <a:pt x="2056" y="1774"/>
                    <a:pt x="1785" y="2008"/>
                  </a:cubicBezTo>
                  <a:cubicBezTo>
                    <a:pt x="1650" y="2125"/>
                    <a:pt x="1523" y="2235"/>
                    <a:pt x="1430" y="2316"/>
                  </a:cubicBezTo>
                  <a:cubicBezTo>
                    <a:pt x="1343" y="2392"/>
                    <a:pt x="1285" y="2442"/>
                    <a:pt x="1279" y="2447"/>
                  </a:cubicBezTo>
                  <a:cubicBezTo>
                    <a:pt x="565" y="3210"/>
                    <a:pt x="565" y="3210"/>
                    <a:pt x="565" y="3210"/>
                  </a:cubicBezTo>
                  <a:cubicBezTo>
                    <a:pt x="609" y="3267"/>
                    <a:pt x="764" y="3470"/>
                    <a:pt x="922" y="3674"/>
                  </a:cubicBezTo>
                  <a:cubicBezTo>
                    <a:pt x="1014" y="3794"/>
                    <a:pt x="1108" y="3914"/>
                    <a:pt x="1179" y="4004"/>
                  </a:cubicBezTo>
                  <a:cubicBezTo>
                    <a:pt x="1214" y="4049"/>
                    <a:pt x="1244" y="4087"/>
                    <a:pt x="1265" y="4113"/>
                  </a:cubicBezTo>
                  <a:cubicBezTo>
                    <a:pt x="1276" y="4126"/>
                    <a:pt x="1285" y="4136"/>
                    <a:pt x="1291" y="4143"/>
                  </a:cubicBezTo>
                  <a:close/>
                  <a:moveTo>
                    <a:pt x="1357" y="6806"/>
                  </a:moveTo>
                  <a:cubicBezTo>
                    <a:pt x="1396" y="6732"/>
                    <a:pt x="1425" y="6665"/>
                    <a:pt x="1425" y="6665"/>
                  </a:cubicBezTo>
                  <a:cubicBezTo>
                    <a:pt x="1426" y="6664"/>
                    <a:pt x="1426" y="6664"/>
                    <a:pt x="1426" y="6664"/>
                  </a:cubicBezTo>
                  <a:cubicBezTo>
                    <a:pt x="2422" y="4885"/>
                    <a:pt x="2422" y="4885"/>
                    <a:pt x="2422" y="4885"/>
                  </a:cubicBezTo>
                  <a:cubicBezTo>
                    <a:pt x="1604" y="4291"/>
                    <a:pt x="1604" y="4291"/>
                    <a:pt x="1604" y="4291"/>
                  </a:cubicBezTo>
                  <a:cubicBezTo>
                    <a:pt x="1591" y="4286"/>
                    <a:pt x="1524" y="4262"/>
                    <a:pt x="1454" y="4237"/>
                  </a:cubicBezTo>
                  <a:cubicBezTo>
                    <a:pt x="1415" y="4223"/>
                    <a:pt x="1376" y="4210"/>
                    <a:pt x="1344" y="4199"/>
                  </a:cubicBezTo>
                  <a:cubicBezTo>
                    <a:pt x="1334" y="4196"/>
                    <a:pt x="1325" y="4193"/>
                    <a:pt x="1317" y="4191"/>
                  </a:cubicBezTo>
                  <a:cubicBezTo>
                    <a:pt x="204" y="6229"/>
                    <a:pt x="204" y="6229"/>
                    <a:pt x="204" y="6229"/>
                  </a:cubicBezTo>
                  <a:cubicBezTo>
                    <a:pt x="364" y="6302"/>
                    <a:pt x="600" y="6451"/>
                    <a:pt x="783" y="6620"/>
                  </a:cubicBezTo>
                  <a:cubicBezTo>
                    <a:pt x="956" y="6778"/>
                    <a:pt x="1066" y="6955"/>
                    <a:pt x="1107" y="7026"/>
                  </a:cubicBezTo>
                  <a:cubicBezTo>
                    <a:pt x="1108" y="7026"/>
                    <a:pt x="1109" y="7026"/>
                    <a:pt x="1110" y="7025"/>
                  </a:cubicBezTo>
                  <a:cubicBezTo>
                    <a:pt x="1133" y="7022"/>
                    <a:pt x="1186" y="7011"/>
                    <a:pt x="1239" y="6977"/>
                  </a:cubicBezTo>
                  <a:cubicBezTo>
                    <a:pt x="1269" y="6959"/>
                    <a:pt x="1320" y="6879"/>
                    <a:pt x="1357" y="6806"/>
                  </a:cubicBezTo>
                  <a:close/>
                  <a:moveTo>
                    <a:pt x="1912" y="6970"/>
                  </a:moveTo>
                  <a:cubicBezTo>
                    <a:pt x="1761" y="6882"/>
                    <a:pt x="1517" y="6737"/>
                    <a:pt x="1450" y="6698"/>
                  </a:cubicBezTo>
                  <a:cubicBezTo>
                    <a:pt x="1439" y="6723"/>
                    <a:pt x="1416" y="6771"/>
                    <a:pt x="1389" y="6822"/>
                  </a:cubicBezTo>
                  <a:cubicBezTo>
                    <a:pt x="1357" y="6882"/>
                    <a:pt x="1322" y="6945"/>
                    <a:pt x="1286" y="6983"/>
                  </a:cubicBezTo>
                  <a:cubicBezTo>
                    <a:pt x="1290" y="6989"/>
                    <a:pt x="1290" y="6989"/>
                    <a:pt x="1290" y="6989"/>
                  </a:cubicBezTo>
                  <a:cubicBezTo>
                    <a:pt x="1290" y="6989"/>
                    <a:pt x="1290" y="6989"/>
                    <a:pt x="1290" y="6989"/>
                  </a:cubicBezTo>
                  <a:cubicBezTo>
                    <a:pt x="1394" y="7148"/>
                    <a:pt x="1394" y="7148"/>
                    <a:pt x="1394" y="7148"/>
                  </a:cubicBezTo>
                  <a:cubicBezTo>
                    <a:pt x="1394" y="7148"/>
                    <a:pt x="1394" y="7148"/>
                    <a:pt x="1394" y="7148"/>
                  </a:cubicBezTo>
                  <a:cubicBezTo>
                    <a:pt x="1402" y="7161"/>
                    <a:pt x="1402" y="7161"/>
                    <a:pt x="1402" y="7161"/>
                  </a:cubicBezTo>
                  <a:cubicBezTo>
                    <a:pt x="1419" y="7185"/>
                    <a:pt x="1419" y="7185"/>
                    <a:pt x="1419" y="7185"/>
                  </a:cubicBezTo>
                  <a:cubicBezTo>
                    <a:pt x="1418" y="7186"/>
                    <a:pt x="1418" y="7186"/>
                    <a:pt x="1418" y="7186"/>
                  </a:cubicBezTo>
                  <a:cubicBezTo>
                    <a:pt x="1422" y="7191"/>
                    <a:pt x="1422" y="7191"/>
                    <a:pt x="1422" y="7191"/>
                  </a:cubicBezTo>
                  <a:cubicBezTo>
                    <a:pt x="1389" y="7346"/>
                    <a:pt x="1389" y="7346"/>
                    <a:pt x="1389" y="7346"/>
                  </a:cubicBezTo>
                  <a:cubicBezTo>
                    <a:pt x="1403" y="7355"/>
                    <a:pt x="1437" y="7377"/>
                    <a:pt x="1472" y="7399"/>
                  </a:cubicBezTo>
                  <a:cubicBezTo>
                    <a:pt x="1495" y="7413"/>
                    <a:pt x="1518" y="7427"/>
                    <a:pt x="1535" y="7438"/>
                  </a:cubicBezTo>
                  <a:cubicBezTo>
                    <a:pt x="1544" y="7443"/>
                    <a:pt x="1552" y="7448"/>
                    <a:pt x="1557" y="7451"/>
                  </a:cubicBezTo>
                  <a:cubicBezTo>
                    <a:pt x="1560" y="7452"/>
                    <a:pt x="1562" y="7454"/>
                    <a:pt x="1563" y="7454"/>
                  </a:cubicBezTo>
                  <a:cubicBezTo>
                    <a:pt x="1564" y="7455"/>
                    <a:pt x="1565" y="7455"/>
                    <a:pt x="1565" y="7455"/>
                  </a:cubicBezTo>
                  <a:cubicBezTo>
                    <a:pt x="1562" y="7463"/>
                    <a:pt x="1562" y="7463"/>
                    <a:pt x="1562" y="7463"/>
                  </a:cubicBezTo>
                  <a:cubicBezTo>
                    <a:pt x="1562" y="7454"/>
                    <a:pt x="1562" y="7454"/>
                    <a:pt x="1562" y="7454"/>
                  </a:cubicBezTo>
                  <a:cubicBezTo>
                    <a:pt x="1562" y="7466"/>
                    <a:pt x="1562" y="7466"/>
                    <a:pt x="1562" y="7466"/>
                  </a:cubicBezTo>
                  <a:cubicBezTo>
                    <a:pt x="1563" y="7473"/>
                    <a:pt x="1563" y="7473"/>
                    <a:pt x="1563" y="7473"/>
                  </a:cubicBezTo>
                  <a:cubicBezTo>
                    <a:pt x="1650" y="7353"/>
                    <a:pt x="1650" y="7353"/>
                    <a:pt x="1650" y="7353"/>
                  </a:cubicBezTo>
                  <a:cubicBezTo>
                    <a:pt x="1647" y="7350"/>
                    <a:pt x="1647" y="7350"/>
                    <a:pt x="1647" y="7350"/>
                  </a:cubicBezTo>
                  <a:cubicBezTo>
                    <a:pt x="1647" y="7350"/>
                    <a:pt x="1647" y="7350"/>
                    <a:pt x="1647" y="7349"/>
                  </a:cubicBezTo>
                  <a:cubicBezTo>
                    <a:pt x="1647" y="7349"/>
                    <a:pt x="1647" y="7349"/>
                    <a:pt x="1647" y="7349"/>
                  </a:cubicBezTo>
                  <a:cubicBezTo>
                    <a:pt x="1652" y="7345"/>
                    <a:pt x="1673" y="7317"/>
                    <a:pt x="1698" y="7281"/>
                  </a:cubicBezTo>
                  <a:cubicBezTo>
                    <a:pt x="1698" y="7284"/>
                    <a:pt x="1698" y="7284"/>
                    <a:pt x="1698" y="7284"/>
                  </a:cubicBezTo>
                  <a:cubicBezTo>
                    <a:pt x="1716" y="7259"/>
                    <a:pt x="1716" y="7259"/>
                    <a:pt x="1716" y="7259"/>
                  </a:cubicBezTo>
                  <a:cubicBezTo>
                    <a:pt x="1753" y="7205"/>
                    <a:pt x="1796" y="7135"/>
                    <a:pt x="1835" y="7079"/>
                  </a:cubicBezTo>
                  <a:cubicBezTo>
                    <a:pt x="1857" y="7046"/>
                    <a:pt x="1877" y="7017"/>
                    <a:pt x="1893" y="6995"/>
                  </a:cubicBezTo>
                  <a:cubicBezTo>
                    <a:pt x="1901" y="6985"/>
                    <a:pt x="1907" y="6977"/>
                    <a:pt x="1912" y="6970"/>
                  </a:cubicBezTo>
                  <a:close/>
                  <a:moveTo>
                    <a:pt x="1941" y="6987"/>
                  </a:moveTo>
                  <a:cubicBezTo>
                    <a:pt x="1941" y="6987"/>
                    <a:pt x="1941" y="6987"/>
                    <a:pt x="1941" y="6987"/>
                  </a:cubicBezTo>
                  <a:cubicBezTo>
                    <a:pt x="1941" y="6988"/>
                    <a:pt x="1941" y="6988"/>
                    <a:pt x="1941" y="6988"/>
                  </a:cubicBezTo>
                  <a:cubicBezTo>
                    <a:pt x="1941" y="6988"/>
                    <a:pt x="1941" y="6988"/>
                    <a:pt x="1941" y="6988"/>
                  </a:cubicBezTo>
                  <a:lnTo>
                    <a:pt x="1941" y="6987"/>
                  </a:lnTo>
                  <a:close/>
                  <a:moveTo>
                    <a:pt x="3510" y="7220"/>
                  </a:moveTo>
                  <a:cubicBezTo>
                    <a:pt x="3472" y="7183"/>
                    <a:pt x="3433" y="7149"/>
                    <a:pt x="3399" y="7125"/>
                  </a:cubicBezTo>
                  <a:cubicBezTo>
                    <a:pt x="3282" y="7042"/>
                    <a:pt x="3176" y="6981"/>
                    <a:pt x="3090" y="6895"/>
                  </a:cubicBezTo>
                  <a:cubicBezTo>
                    <a:pt x="3014" y="6819"/>
                    <a:pt x="2973" y="6714"/>
                    <a:pt x="2973" y="6641"/>
                  </a:cubicBezTo>
                  <a:cubicBezTo>
                    <a:pt x="2973" y="6631"/>
                    <a:pt x="2974" y="6621"/>
                    <a:pt x="2976" y="6611"/>
                  </a:cubicBezTo>
                  <a:cubicBezTo>
                    <a:pt x="2979" y="6599"/>
                    <a:pt x="2988" y="6578"/>
                    <a:pt x="3005" y="6542"/>
                  </a:cubicBezTo>
                  <a:cubicBezTo>
                    <a:pt x="3109" y="6316"/>
                    <a:pt x="3472" y="5609"/>
                    <a:pt x="3527" y="5503"/>
                  </a:cubicBezTo>
                  <a:cubicBezTo>
                    <a:pt x="2950" y="5058"/>
                    <a:pt x="2950" y="5058"/>
                    <a:pt x="2950" y="5058"/>
                  </a:cubicBezTo>
                  <a:cubicBezTo>
                    <a:pt x="2454" y="4901"/>
                    <a:pt x="2454" y="4901"/>
                    <a:pt x="2454" y="4901"/>
                  </a:cubicBezTo>
                  <a:cubicBezTo>
                    <a:pt x="1466" y="6666"/>
                    <a:pt x="1466" y="6666"/>
                    <a:pt x="1466" y="6666"/>
                  </a:cubicBezTo>
                  <a:cubicBezTo>
                    <a:pt x="1504" y="6688"/>
                    <a:pt x="1608" y="6750"/>
                    <a:pt x="1719" y="6815"/>
                  </a:cubicBezTo>
                  <a:cubicBezTo>
                    <a:pt x="1857" y="6897"/>
                    <a:pt x="2006" y="6983"/>
                    <a:pt x="2042" y="7003"/>
                  </a:cubicBezTo>
                  <a:cubicBezTo>
                    <a:pt x="2120" y="7044"/>
                    <a:pt x="2364" y="7227"/>
                    <a:pt x="2451" y="7289"/>
                  </a:cubicBezTo>
                  <a:cubicBezTo>
                    <a:pt x="2540" y="7351"/>
                    <a:pt x="2651" y="7444"/>
                    <a:pt x="2816" y="7465"/>
                  </a:cubicBezTo>
                  <a:cubicBezTo>
                    <a:pt x="2828" y="7467"/>
                    <a:pt x="2840" y="7467"/>
                    <a:pt x="2852" y="7467"/>
                  </a:cubicBezTo>
                  <a:cubicBezTo>
                    <a:pt x="3000" y="7468"/>
                    <a:pt x="3142" y="7355"/>
                    <a:pt x="3220" y="7302"/>
                  </a:cubicBezTo>
                  <a:cubicBezTo>
                    <a:pt x="3266" y="7270"/>
                    <a:pt x="3346" y="7250"/>
                    <a:pt x="3415" y="7236"/>
                  </a:cubicBezTo>
                  <a:cubicBezTo>
                    <a:pt x="3452" y="7228"/>
                    <a:pt x="3486" y="7223"/>
                    <a:pt x="3510" y="7220"/>
                  </a:cubicBezTo>
                  <a:close/>
                  <a:moveTo>
                    <a:pt x="3896" y="7597"/>
                  </a:moveTo>
                  <a:cubicBezTo>
                    <a:pt x="3897" y="7598"/>
                    <a:pt x="3897" y="7598"/>
                    <a:pt x="3897" y="7598"/>
                  </a:cubicBezTo>
                  <a:cubicBezTo>
                    <a:pt x="3898" y="7600"/>
                    <a:pt x="3904" y="7610"/>
                    <a:pt x="3907" y="7629"/>
                  </a:cubicBezTo>
                  <a:cubicBezTo>
                    <a:pt x="3909" y="7639"/>
                    <a:pt x="3910" y="7651"/>
                    <a:pt x="3911" y="7661"/>
                  </a:cubicBezTo>
                  <a:cubicBezTo>
                    <a:pt x="4044" y="7603"/>
                    <a:pt x="4044" y="7603"/>
                    <a:pt x="4044" y="7603"/>
                  </a:cubicBezTo>
                  <a:cubicBezTo>
                    <a:pt x="4154" y="7549"/>
                    <a:pt x="4154" y="7549"/>
                    <a:pt x="4154" y="7549"/>
                  </a:cubicBezTo>
                  <a:cubicBezTo>
                    <a:pt x="4152" y="7545"/>
                    <a:pt x="4152" y="7545"/>
                    <a:pt x="4152" y="7545"/>
                  </a:cubicBezTo>
                  <a:cubicBezTo>
                    <a:pt x="4173" y="7540"/>
                    <a:pt x="4173" y="7540"/>
                    <a:pt x="4173" y="7540"/>
                  </a:cubicBezTo>
                  <a:cubicBezTo>
                    <a:pt x="4206" y="7523"/>
                    <a:pt x="4206" y="7523"/>
                    <a:pt x="4206" y="7523"/>
                  </a:cubicBezTo>
                  <a:cubicBezTo>
                    <a:pt x="4206" y="7523"/>
                    <a:pt x="4206" y="7523"/>
                    <a:pt x="4206" y="7523"/>
                  </a:cubicBezTo>
                  <a:cubicBezTo>
                    <a:pt x="4211" y="7520"/>
                    <a:pt x="4218" y="7517"/>
                    <a:pt x="4227" y="7512"/>
                  </a:cubicBezTo>
                  <a:cubicBezTo>
                    <a:pt x="4235" y="7507"/>
                    <a:pt x="4235" y="7507"/>
                    <a:pt x="4235" y="7507"/>
                  </a:cubicBezTo>
                  <a:cubicBezTo>
                    <a:pt x="4278" y="7486"/>
                    <a:pt x="4322" y="7459"/>
                    <a:pt x="4353" y="7430"/>
                  </a:cubicBezTo>
                  <a:cubicBezTo>
                    <a:pt x="4412" y="7377"/>
                    <a:pt x="4484" y="7189"/>
                    <a:pt x="4514" y="6959"/>
                  </a:cubicBezTo>
                  <a:cubicBezTo>
                    <a:pt x="4544" y="6728"/>
                    <a:pt x="4791" y="5548"/>
                    <a:pt x="4799" y="5512"/>
                  </a:cubicBezTo>
                  <a:cubicBezTo>
                    <a:pt x="4799" y="5508"/>
                    <a:pt x="4803" y="5477"/>
                    <a:pt x="4803" y="5431"/>
                  </a:cubicBezTo>
                  <a:cubicBezTo>
                    <a:pt x="4803" y="5366"/>
                    <a:pt x="4795" y="5273"/>
                    <a:pt x="4762" y="5189"/>
                  </a:cubicBezTo>
                  <a:cubicBezTo>
                    <a:pt x="4729" y="5105"/>
                    <a:pt x="4672" y="5031"/>
                    <a:pt x="4570" y="4998"/>
                  </a:cubicBezTo>
                  <a:cubicBezTo>
                    <a:pt x="4273" y="4902"/>
                    <a:pt x="3896" y="4805"/>
                    <a:pt x="3647" y="4757"/>
                  </a:cubicBezTo>
                  <a:cubicBezTo>
                    <a:pt x="3481" y="4725"/>
                    <a:pt x="3373" y="4695"/>
                    <a:pt x="3289" y="4695"/>
                  </a:cubicBezTo>
                  <a:cubicBezTo>
                    <a:pt x="3246" y="4696"/>
                    <a:pt x="3209" y="4703"/>
                    <a:pt x="3172" y="4721"/>
                  </a:cubicBezTo>
                  <a:cubicBezTo>
                    <a:pt x="3058" y="4776"/>
                    <a:pt x="3023" y="4849"/>
                    <a:pt x="3001" y="4900"/>
                  </a:cubicBezTo>
                  <a:cubicBezTo>
                    <a:pt x="2983" y="4944"/>
                    <a:pt x="2959" y="5003"/>
                    <a:pt x="2951" y="5021"/>
                  </a:cubicBezTo>
                  <a:cubicBezTo>
                    <a:pt x="2967" y="5026"/>
                    <a:pt x="2967" y="5026"/>
                    <a:pt x="2967" y="5026"/>
                  </a:cubicBezTo>
                  <a:cubicBezTo>
                    <a:pt x="3573" y="5493"/>
                    <a:pt x="3573" y="5493"/>
                    <a:pt x="3573" y="5493"/>
                  </a:cubicBezTo>
                  <a:cubicBezTo>
                    <a:pt x="3566" y="5506"/>
                    <a:pt x="3566" y="5506"/>
                    <a:pt x="3566" y="5506"/>
                  </a:cubicBezTo>
                  <a:cubicBezTo>
                    <a:pt x="3566" y="5506"/>
                    <a:pt x="3430" y="5770"/>
                    <a:pt x="3293" y="6042"/>
                  </a:cubicBezTo>
                  <a:cubicBezTo>
                    <a:pt x="3224" y="6177"/>
                    <a:pt x="3155" y="6315"/>
                    <a:pt x="3102" y="6423"/>
                  </a:cubicBezTo>
                  <a:cubicBezTo>
                    <a:pt x="3076" y="6476"/>
                    <a:pt x="3053" y="6523"/>
                    <a:pt x="3037" y="6557"/>
                  </a:cubicBezTo>
                  <a:cubicBezTo>
                    <a:pt x="3021" y="6591"/>
                    <a:pt x="3011" y="6616"/>
                    <a:pt x="3011" y="6619"/>
                  </a:cubicBezTo>
                  <a:cubicBezTo>
                    <a:pt x="3010" y="6625"/>
                    <a:pt x="3009" y="6633"/>
                    <a:pt x="3009" y="6641"/>
                  </a:cubicBezTo>
                  <a:cubicBezTo>
                    <a:pt x="3008" y="6700"/>
                    <a:pt x="3046" y="6801"/>
                    <a:pt x="3116" y="6870"/>
                  </a:cubicBezTo>
                  <a:cubicBezTo>
                    <a:pt x="3197" y="6951"/>
                    <a:pt x="3301" y="7012"/>
                    <a:pt x="3420" y="7096"/>
                  </a:cubicBezTo>
                  <a:cubicBezTo>
                    <a:pt x="3542" y="7182"/>
                    <a:pt x="3708" y="7379"/>
                    <a:pt x="3708" y="7379"/>
                  </a:cubicBezTo>
                  <a:cubicBezTo>
                    <a:pt x="3708" y="7379"/>
                    <a:pt x="3708" y="7379"/>
                    <a:pt x="3708" y="7379"/>
                  </a:cubicBezTo>
                  <a:lnTo>
                    <a:pt x="3896" y="7597"/>
                  </a:lnTo>
                  <a:close/>
                  <a:moveTo>
                    <a:pt x="3937" y="7897"/>
                  </a:moveTo>
                  <a:cubicBezTo>
                    <a:pt x="3939" y="7896"/>
                    <a:pt x="3939" y="7896"/>
                    <a:pt x="3939" y="7896"/>
                  </a:cubicBezTo>
                  <a:cubicBezTo>
                    <a:pt x="3938" y="7900"/>
                    <a:pt x="3938" y="7900"/>
                    <a:pt x="3938" y="7900"/>
                  </a:cubicBezTo>
                  <a:cubicBezTo>
                    <a:pt x="3942" y="7930"/>
                    <a:pt x="3950" y="7959"/>
                    <a:pt x="3960" y="7984"/>
                  </a:cubicBezTo>
                  <a:cubicBezTo>
                    <a:pt x="3965" y="7996"/>
                    <a:pt x="3970" y="8007"/>
                    <a:pt x="3974" y="8015"/>
                  </a:cubicBezTo>
                  <a:cubicBezTo>
                    <a:pt x="3975" y="8019"/>
                    <a:pt x="3977" y="8022"/>
                    <a:pt x="3978" y="8025"/>
                  </a:cubicBezTo>
                  <a:cubicBezTo>
                    <a:pt x="3979" y="8026"/>
                    <a:pt x="3979" y="8027"/>
                    <a:pt x="3980" y="8028"/>
                  </a:cubicBezTo>
                  <a:cubicBezTo>
                    <a:pt x="3987" y="8044"/>
                    <a:pt x="3987" y="8044"/>
                    <a:pt x="3987" y="8044"/>
                  </a:cubicBezTo>
                  <a:cubicBezTo>
                    <a:pt x="4015" y="8040"/>
                    <a:pt x="4042" y="8038"/>
                    <a:pt x="4069" y="8038"/>
                  </a:cubicBezTo>
                  <a:cubicBezTo>
                    <a:pt x="4157" y="8039"/>
                    <a:pt x="4244" y="8053"/>
                    <a:pt x="4348" y="8053"/>
                  </a:cubicBezTo>
                  <a:cubicBezTo>
                    <a:pt x="4374" y="8053"/>
                    <a:pt x="4401" y="8052"/>
                    <a:pt x="4430" y="8050"/>
                  </a:cubicBezTo>
                  <a:cubicBezTo>
                    <a:pt x="4530" y="8042"/>
                    <a:pt x="4700" y="8014"/>
                    <a:pt x="4844" y="7987"/>
                  </a:cubicBezTo>
                  <a:cubicBezTo>
                    <a:pt x="4987" y="7960"/>
                    <a:pt x="5105" y="7935"/>
                    <a:pt x="5105" y="7935"/>
                  </a:cubicBezTo>
                  <a:cubicBezTo>
                    <a:pt x="5113" y="7933"/>
                    <a:pt x="5113" y="7933"/>
                    <a:pt x="5113" y="7933"/>
                  </a:cubicBezTo>
                  <a:cubicBezTo>
                    <a:pt x="5121" y="7934"/>
                    <a:pt x="5121" y="7934"/>
                    <a:pt x="5121" y="7934"/>
                  </a:cubicBezTo>
                  <a:cubicBezTo>
                    <a:pt x="5122" y="7934"/>
                    <a:pt x="5477" y="7959"/>
                    <a:pt x="5840" y="7985"/>
                  </a:cubicBezTo>
                  <a:cubicBezTo>
                    <a:pt x="6047" y="8000"/>
                    <a:pt x="6256" y="8015"/>
                    <a:pt x="6401" y="8025"/>
                  </a:cubicBezTo>
                  <a:cubicBezTo>
                    <a:pt x="6407" y="8004"/>
                    <a:pt x="6413" y="7982"/>
                    <a:pt x="6419" y="7960"/>
                  </a:cubicBezTo>
                  <a:cubicBezTo>
                    <a:pt x="6440" y="7882"/>
                    <a:pt x="6466" y="7797"/>
                    <a:pt x="6520" y="7724"/>
                  </a:cubicBezTo>
                  <a:cubicBezTo>
                    <a:pt x="6549" y="7684"/>
                    <a:pt x="6574" y="7650"/>
                    <a:pt x="6607" y="7618"/>
                  </a:cubicBezTo>
                  <a:cubicBezTo>
                    <a:pt x="6657" y="7571"/>
                    <a:pt x="6721" y="7538"/>
                    <a:pt x="6818" y="7511"/>
                  </a:cubicBezTo>
                  <a:cubicBezTo>
                    <a:pt x="6915" y="7482"/>
                    <a:pt x="7051" y="7455"/>
                    <a:pt x="7263" y="7414"/>
                  </a:cubicBezTo>
                  <a:cubicBezTo>
                    <a:pt x="7812" y="7308"/>
                    <a:pt x="8100" y="7044"/>
                    <a:pt x="8216" y="6844"/>
                  </a:cubicBezTo>
                  <a:cubicBezTo>
                    <a:pt x="8243" y="6801"/>
                    <a:pt x="8264" y="6685"/>
                    <a:pt x="8263" y="6536"/>
                  </a:cubicBezTo>
                  <a:cubicBezTo>
                    <a:pt x="8263" y="6513"/>
                    <a:pt x="8263" y="6488"/>
                    <a:pt x="8262" y="6463"/>
                  </a:cubicBezTo>
                  <a:cubicBezTo>
                    <a:pt x="8066" y="6440"/>
                    <a:pt x="7811" y="6411"/>
                    <a:pt x="7595" y="6387"/>
                  </a:cubicBezTo>
                  <a:cubicBezTo>
                    <a:pt x="7397" y="6365"/>
                    <a:pt x="7233" y="6347"/>
                    <a:pt x="7181" y="6341"/>
                  </a:cubicBezTo>
                  <a:cubicBezTo>
                    <a:pt x="7023" y="7432"/>
                    <a:pt x="7023" y="7432"/>
                    <a:pt x="7023" y="7432"/>
                  </a:cubicBezTo>
                  <a:cubicBezTo>
                    <a:pt x="6987" y="7427"/>
                    <a:pt x="6987" y="7427"/>
                    <a:pt x="6987" y="7427"/>
                  </a:cubicBezTo>
                  <a:cubicBezTo>
                    <a:pt x="7145" y="6337"/>
                    <a:pt x="7145" y="6337"/>
                    <a:pt x="7145" y="6337"/>
                  </a:cubicBezTo>
                  <a:cubicBezTo>
                    <a:pt x="5936" y="6193"/>
                    <a:pt x="5936" y="6193"/>
                    <a:pt x="5936" y="6193"/>
                  </a:cubicBezTo>
                  <a:cubicBezTo>
                    <a:pt x="5733" y="7363"/>
                    <a:pt x="5733" y="7363"/>
                    <a:pt x="5733" y="7363"/>
                  </a:cubicBezTo>
                  <a:cubicBezTo>
                    <a:pt x="5697" y="7357"/>
                    <a:pt x="5697" y="7357"/>
                    <a:pt x="5697" y="7357"/>
                  </a:cubicBezTo>
                  <a:cubicBezTo>
                    <a:pt x="5900" y="6187"/>
                    <a:pt x="5900" y="6187"/>
                    <a:pt x="5900" y="6187"/>
                  </a:cubicBezTo>
                  <a:cubicBezTo>
                    <a:pt x="4743" y="5971"/>
                    <a:pt x="4743" y="5971"/>
                    <a:pt x="4743" y="5971"/>
                  </a:cubicBezTo>
                  <a:cubicBezTo>
                    <a:pt x="4750" y="5936"/>
                    <a:pt x="4750" y="5936"/>
                    <a:pt x="4750" y="5936"/>
                  </a:cubicBezTo>
                  <a:cubicBezTo>
                    <a:pt x="5906" y="6151"/>
                    <a:pt x="5906" y="6151"/>
                    <a:pt x="5906" y="6151"/>
                  </a:cubicBezTo>
                  <a:cubicBezTo>
                    <a:pt x="6122" y="4855"/>
                    <a:pt x="6122" y="4855"/>
                    <a:pt x="6122" y="4855"/>
                  </a:cubicBezTo>
                  <a:cubicBezTo>
                    <a:pt x="6122" y="4855"/>
                    <a:pt x="6132" y="4796"/>
                    <a:pt x="6132" y="4714"/>
                  </a:cubicBezTo>
                  <a:cubicBezTo>
                    <a:pt x="6132" y="4565"/>
                    <a:pt x="6100" y="4344"/>
                    <a:pt x="5938" y="4256"/>
                  </a:cubicBezTo>
                  <a:cubicBezTo>
                    <a:pt x="5669" y="4105"/>
                    <a:pt x="5559" y="3978"/>
                    <a:pt x="5379" y="3901"/>
                  </a:cubicBezTo>
                  <a:cubicBezTo>
                    <a:pt x="5197" y="3823"/>
                    <a:pt x="4956" y="3758"/>
                    <a:pt x="4755" y="3705"/>
                  </a:cubicBezTo>
                  <a:cubicBezTo>
                    <a:pt x="4629" y="3672"/>
                    <a:pt x="4466" y="3619"/>
                    <a:pt x="4284" y="3555"/>
                  </a:cubicBezTo>
                  <a:cubicBezTo>
                    <a:pt x="4279" y="3565"/>
                    <a:pt x="4268" y="3587"/>
                    <a:pt x="4256" y="3615"/>
                  </a:cubicBezTo>
                  <a:cubicBezTo>
                    <a:pt x="4213" y="3713"/>
                    <a:pt x="4141" y="3881"/>
                    <a:pt x="4129" y="3910"/>
                  </a:cubicBezTo>
                  <a:cubicBezTo>
                    <a:pt x="4131" y="3937"/>
                    <a:pt x="4143" y="4089"/>
                    <a:pt x="4143" y="4235"/>
                  </a:cubicBezTo>
                  <a:cubicBezTo>
                    <a:pt x="4143" y="4316"/>
                    <a:pt x="4139" y="4396"/>
                    <a:pt x="4129" y="4453"/>
                  </a:cubicBezTo>
                  <a:cubicBezTo>
                    <a:pt x="4102" y="4599"/>
                    <a:pt x="4040" y="4761"/>
                    <a:pt x="4023" y="4805"/>
                  </a:cubicBezTo>
                  <a:cubicBezTo>
                    <a:pt x="4209" y="4851"/>
                    <a:pt x="4408" y="4907"/>
                    <a:pt x="4581" y="4963"/>
                  </a:cubicBezTo>
                  <a:cubicBezTo>
                    <a:pt x="4695" y="5000"/>
                    <a:pt x="4760" y="5085"/>
                    <a:pt x="4796" y="5176"/>
                  </a:cubicBezTo>
                  <a:cubicBezTo>
                    <a:pt x="4831" y="5267"/>
                    <a:pt x="4839" y="5364"/>
                    <a:pt x="4839" y="5431"/>
                  </a:cubicBezTo>
                  <a:cubicBezTo>
                    <a:pt x="4839" y="5483"/>
                    <a:pt x="4834" y="5517"/>
                    <a:pt x="4834" y="5518"/>
                  </a:cubicBezTo>
                  <a:cubicBezTo>
                    <a:pt x="4834" y="5518"/>
                    <a:pt x="4834" y="5518"/>
                    <a:pt x="4834" y="5518"/>
                  </a:cubicBezTo>
                  <a:cubicBezTo>
                    <a:pt x="4834" y="5519"/>
                    <a:pt x="4834" y="5519"/>
                    <a:pt x="4834" y="5519"/>
                  </a:cubicBezTo>
                  <a:cubicBezTo>
                    <a:pt x="4834" y="5520"/>
                    <a:pt x="4771" y="5822"/>
                    <a:pt x="4703" y="6155"/>
                  </a:cubicBezTo>
                  <a:cubicBezTo>
                    <a:pt x="4636" y="6487"/>
                    <a:pt x="4565" y="6849"/>
                    <a:pt x="4550" y="6964"/>
                  </a:cubicBezTo>
                  <a:cubicBezTo>
                    <a:pt x="4518" y="7199"/>
                    <a:pt x="4450" y="7388"/>
                    <a:pt x="4377" y="7457"/>
                  </a:cubicBezTo>
                  <a:cubicBezTo>
                    <a:pt x="4331" y="7500"/>
                    <a:pt x="4258" y="7539"/>
                    <a:pt x="4213" y="7561"/>
                  </a:cubicBezTo>
                  <a:cubicBezTo>
                    <a:pt x="4213" y="7561"/>
                    <a:pt x="4213" y="7561"/>
                    <a:pt x="4213" y="7561"/>
                  </a:cubicBezTo>
                  <a:cubicBezTo>
                    <a:pt x="4060" y="7637"/>
                    <a:pt x="4060" y="7637"/>
                    <a:pt x="4060" y="7637"/>
                  </a:cubicBezTo>
                  <a:cubicBezTo>
                    <a:pt x="3914" y="7701"/>
                    <a:pt x="3914" y="7701"/>
                    <a:pt x="3914" y="7701"/>
                  </a:cubicBezTo>
                  <a:cubicBezTo>
                    <a:pt x="3914" y="7757"/>
                    <a:pt x="3932" y="7866"/>
                    <a:pt x="3937" y="7897"/>
                  </a:cubicBezTo>
                  <a:close/>
                  <a:moveTo>
                    <a:pt x="3779" y="8265"/>
                  </a:moveTo>
                  <a:cubicBezTo>
                    <a:pt x="3788" y="8296"/>
                    <a:pt x="3788" y="8296"/>
                    <a:pt x="3788" y="8296"/>
                  </a:cubicBezTo>
                  <a:cubicBezTo>
                    <a:pt x="3796" y="8316"/>
                    <a:pt x="3796" y="8316"/>
                    <a:pt x="3796" y="8316"/>
                  </a:cubicBezTo>
                  <a:cubicBezTo>
                    <a:pt x="3960" y="8238"/>
                    <a:pt x="4152" y="8193"/>
                    <a:pt x="4346" y="8168"/>
                  </a:cubicBezTo>
                  <a:cubicBezTo>
                    <a:pt x="4233" y="8167"/>
                    <a:pt x="4143" y="8153"/>
                    <a:pt x="4069" y="8153"/>
                  </a:cubicBezTo>
                  <a:cubicBezTo>
                    <a:pt x="4033" y="8153"/>
                    <a:pt x="4001" y="8156"/>
                    <a:pt x="3970" y="8165"/>
                  </a:cubicBezTo>
                  <a:cubicBezTo>
                    <a:pt x="3912" y="8180"/>
                    <a:pt x="3853" y="8213"/>
                    <a:pt x="3804" y="8247"/>
                  </a:cubicBezTo>
                  <a:cubicBezTo>
                    <a:pt x="3795" y="8253"/>
                    <a:pt x="3787" y="8259"/>
                    <a:pt x="3779" y="8265"/>
                  </a:cubicBezTo>
                  <a:close/>
                  <a:moveTo>
                    <a:pt x="500" y="10043"/>
                  </a:moveTo>
                  <a:cubicBezTo>
                    <a:pt x="505" y="10043"/>
                    <a:pt x="509" y="10045"/>
                    <a:pt x="513" y="10048"/>
                  </a:cubicBezTo>
                  <a:cubicBezTo>
                    <a:pt x="513" y="10049"/>
                    <a:pt x="514" y="10050"/>
                    <a:pt x="515" y="10051"/>
                  </a:cubicBezTo>
                  <a:cubicBezTo>
                    <a:pt x="516" y="10053"/>
                    <a:pt x="523" y="10060"/>
                    <a:pt x="533" y="10072"/>
                  </a:cubicBezTo>
                  <a:cubicBezTo>
                    <a:pt x="599" y="10034"/>
                    <a:pt x="600" y="10034"/>
                    <a:pt x="607" y="10029"/>
                  </a:cubicBezTo>
                  <a:cubicBezTo>
                    <a:pt x="608" y="10029"/>
                    <a:pt x="608" y="10029"/>
                    <a:pt x="608" y="10029"/>
                  </a:cubicBezTo>
                  <a:cubicBezTo>
                    <a:pt x="609" y="10028"/>
                    <a:pt x="609" y="10028"/>
                    <a:pt x="609" y="10028"/>
                  </a:cubicBezTo>
                  <a:cubicBezTo>
                    <a:pt x="609" y="10028"/>
                    <a:pt x="1446" y="9585"/>
                    <a:pt x="2275" y="9138"/>
                  </a:cubicBezTo>
                  <a:cubicBezTo>
                    <a:pt x="2920" y="8790"/>
                    <a:pt x="3567" y="8432"/>
                    <a:pt x="3764" y="8332"/>
                  </a:cubicBezTo>
                  <a:cubicBezTo>
                    <a:pt x="3748" y="8295"/>
                    <a:pt x="3748" y="8295"/>
                    <a:pt x="3748" y="8295"/>
                  </a:cubicBezTo>
                  <a:cubicBezTo>
                    <a:pt x="3747" y="8294"/>
                    <a:pt x="3745" y="8292"/>
                    <a:pt x="3744" y="8291"/>
                  </a:cubicBezTo>
                  <a:cubicBezTo>
                    <a:pt x="3723" y="8307"/>
                    <a:pt x="3706" y="8321"/>
                    <a:pt x="3693" y="8331"/>
                  </a:cubicBezTo>
                  <a:cubicBezTo>
                    <a:pt x="3684" y="8337"/>
                    <a:pt x="3678" y="8340"/>
                    <a:pt x="3664" y="8348"/>
                  </a:cubicBezTo>
                  <a:cubicBezTo>
                    <a:pt x="3491" y="8446"/>
                    <a:pt x="2449" y="8993"/>
                    <a:pt x="2263" y="9094"/>
                  </a:cubicBezTo>
                  <a:cubicBezTo>
                    <a:pt x="2263" y="9094"/>
                    <a:pt x="2263" y="9094"/>
                    <a:pt x="2263" y="9094"/>
                  </a:cubicBezTo>
                  <a:cubicBezTo>
                    <a:pt x="2261" y="9095"/>
                    <a:pt x="2261" y="9095"/>
                    <a:pt x="2261" y="9095"/>
                  </a:cubicBezTo>
                  <a:cubicBezTo>
                    <a:pt x="2244" y="9104"/>
                    <a:pt x="2234" y="9110"/>
                    <a:pt x="2235" y="9110"/>
                  </a:cubicBezTo>
                  <a:cubicBezTo>
                    <a:pt x="2234" y="9109"/>
                    <a:pt x="2234" y="9109"/>
                    <a:pt x="2234" y="9109"/>
                  </a:cubicBezTo>
                  <a:cubicBezTo>
                    <a:pt x="1341" y="9592"/>
                    <a:pt x="1341" y="9592"/>
                    <a:pt x="1341" y="9592"/>
                  </a:cubicBezTo>
                  <a:cubicBezTo>
                    <a:pt x="507" y="10039"/>
                    <a:pt x="507" y="10039"/>
                    <a:pt x="507" y="10039"/>
                  </a:cubicBezTo>
                  <a:cubicBezTo>
                    <a:pt x="506" y="10039"/>
                    <a:pt x="506" y="10039"/>
                    <a:pt x="506" y="10039"/>
                  </a:cubicBezTo>
                  <a:cubicBezTo>
                    <a:pt x="506" y="10039"/>
                    <a:pt x="503" y="10041"/>
                    <a:pt x="500" y="10043"/>
                  </a:cubicBezTo>
                  <a:close/>
                  <a:moveTo>
                    <a:pt x="499" y="10091"/>
                  </a:moveTo>
                  <a:cubicBezTo>
                    <a:pt x="498" y="10089"/>
                    <a:pt x="496" y="10087"/>
                    <a:pt x="494" y="10085"/>
                  </a:cubicBezTo>
                  <a:cubicBezTo>
                    <a:pt x="491" y="10081"/>
                    <a:pt x="489" y="10078"/>
                    <a:pt x="487" y="10076"/>
                  </a:cubicBezTo>
                  <a:cubicBezTo>
                    <a:pt x="486" y="10075"/>
                    <a:pt x="486" y="10075"/>
                    <a:pt x="485" y="10074"/>
                  </a:cubicBezTo>
                  <a:cubicBezTo>
                    <a:pt x="485" y="10073"/>
                    <a:pt x="484" y="10073"/>
                    <a:pt x="484" y="10073"/>
                  </a:cubicBezTo>
                  <a:cubicBezTo>
                    <a:pt x="484" y="10072"/>
                    <a:pt x="484" y="10072"/>
                    <a:pt x="483" y="10071"/>
                  </a:cubicBezTo>
                  <a:cubicBezTo>
                    <a:pt x="483" y="10071"/>
                    <a:pt x="483" y="10071"/>
                    <a:pt x="482" y="10070"/>
                  </a:cubicBezTo>
                  <a:cubicBezTo>
                    <a:pt x="482" y="10068"/>
                    <a:pt x="481" y="10068"/>
                    <a:pt x="480" y="10061"/>
                  </a:cubicBezTo>
                  <a:cubicBezTo>
                    <a:pt x="480" y="10059"/>
                    <a:pt x="481" y="10058"/>
                    <a:pt x="481" y="10056"/>
                  </a:cubicBezTo>
                  <a:cubicBezTo>
                    <a:pt x="482" y="10054"/>
                    <a:pt x="483" y="10053"/>
                    <a:pt x="484" y="10051"/>
                  </a:cubicBezTo>
                  <a:cubicBezTo>
                    <a:pt x="477" y="10055"/>
                    <a:pt x="471" y="10058"/>
                    <a:pt x="466" y="10062"/>
                  </a:cubicBezTo>
                  <a:cubicBezTo>
                    <a:pt x="454" y="10069"/>
                    <a:pt x="441" y="10079"/>
                    <a:pt x="433" y="10086"/>
                  </a:cubicBezTo>
                  <a:cubicBezTo>
                    <a:pt x="460" y="10093"/>
                    <a:pt x="479" y="10098"/>
                    <a:pt x="483" y="10100"/>
                  </a:cubicBezTo>
                  <a:cubicBezTo>
                    <a:pt x="489" y="10096"/>
                    <a:pt x="494" y="10094"/>
                    <a:pt x="499" y="10091"/>
                  </a:cubicBezTo>
                  <a:close/>
                  <a:moveTo>
                    <a:pt x="1345" y="11012"/>
                  </a:moveTo>
                  <a:cubicBezTo>
                    <a:pt x="1354" y="11007"/>
                    <a:pt x="1403" y="10982"/>
                    <a:pt x="1457" y="10956"/>
                  </a:cubicBezTo>
                  <a:cubicBezTo>
                    <a:pt x="1424" y="10919"/>
                    <a:pt x="1318" y="10804"/>
                    <a:pt x="1272" y="10749"/>
                  </a:cubicBezTo>
                  <a:cubicBezTo>
                    <a:pt x="1216" y="10684"/>
                    <a:pt x="1194" y="10643"/>
                    <a:pt x="1166" y="10595"/>
                  </a:cubicBezTo>
                  <a:cubicBezTo>
                    <a:pt x="1139" y="10550"/>
                    <a:pt x="919" y="10161"/>
                    <a:pt x="876" y="10086"/>
                  </a:cubicBezTo>
                  <a:cubicBezTo>
                    <a:pt x="910" y="10068"/>
                    <a:pt x="910" y="10068"/>
                    <a:pt x="910" y="10068"/>
                  </a:cubicBezTo>
                  <a:cubicBezTo>
                    <a:pt x="928" y="10100"/>
                    <a:pt x="991" y="10211"/>
                    <a:pt x="1041" y="10299"/>
                  </a:cubicBezTo>
                  <a:cubicBezTo>
                    <a:pt x="1111" y="10422"/>
                    <a:pt x="1184" y="10552"/>
                    <a:pt x="1198" y="10576"/>
                  </a:cubicBezTo>
                  <a:cubicBezTo>
                    <a:pt x="1227" y="10625"/>
                    <a:pt x="1247" y="10661"/>
                    <a:pt x="1301" y="10725"/>
                  </a:cubicBezTo>
                  <a:cubicBezTo>
                    <a:pt x="1351" y="10784"/>
                    <a:pt x="1473" y="10917"/>
                    <a:pt x="1493" y="10939"/>
                  </a:cubicBezTo>
                  <a:cubicBezTo>
                    <a:pt x="1510" y="10930"/>
                    <a:pt x="1527" y="10923"/>
                    <a:pt x="1543" y="10916"/>
                  </a:cubicBezTo>
                  <a:cubicBezTo>
                    <a:pt x="1626" y="10879"/>
                    <a:pt x="1860" y="10784"/>
                    <a:pt x="1966" y="10761"/>
                  </a:cubicBezTo>
                  <a:cubicBezTo>
                    <a:pt x="2029" y="10747"/>
                    <a:pt x="2108" y="10740"/>
                    <a:pt x="2211" y="10740"/>
                  </a:cubicBezTo>
                  <a:cubicBezTo>
                    <a:pt x="2282" y="10740"/>
                    <a:pt x="2365" y="10743"/>
                    <a:pt x="2462" y="10749"/>
                  </a:cubicBezTo>
                  <a:cubicBezTo>
                    <a:pt x="2677" y="10761"/>
                    <a:pt x="2849" y="10801"/>
                    <a:pt x="2883" y="10809"/>
                  </a:cubicBezTo>
                  <a:cubicBezTo>
                    <a:pt x="2892" y="10801"/>
                    <a:pt x="2898" y="10797"/>
                    <a:pt x="2898" y="10796"/>
                  </a:cubicBezTo>
                  <a:cubicBezTo>
                    <a:pt x="2899" y="10798"/>
                    <a:pt x="2899" y="10798"/>
                    <a:pt x="2899" y="10798"/>
                  </a:cubicBezTo>
                  <a:cubicBezTo>
                    <a:pt x="2954" y="10751"/>
                    <a:pt x="3010" y="10715"/>
                    <a:pt x="3066" y="10691"/>
                  </a:cubicBezTo>
                  <a:cubicBezTo>
                    <a:pt x="3098" y="10676"/>
                    <a:pt x="3127" y="10665"/>
                    <a:pt x="3148" y="10658"/>
                  </a:cubicBezTo>
                  <a:cubicBezTo>
                    <a:pt x="3158" y="10654"/>
                    <a:pt x="3166" y="10651"/>
                    <a:pt x="3171" y="10649"/>
                  </a:cubicBezTo>
                  <a:cubicBezTo>
                    <a:pt x="3172" y="10648"/>
                    <a:pt x="3172" y="10648"/>
                    <a:pt x="3173" y="10648"/>
                  </a:cubicBezTo>
                  <a:cubicBezTo>
                    <a:pt x="3174" y="10647"/>
                    <a:pt x="3175" y="10647"/>
                    <a:pt x="3175" y="10646"/>
                  </a:cubicBezTo>
                  <a:cubicBezTo>
                    <a:pt x="3180" y="10643"/>
                    <a:pt x="3181" y="10643"/>
                    <a:pt x="3184" y="10641"/>
                  </a:cubicBezTo>
                  <a:cubicBezTo>
                    <a:pt x="3250" y="10614"/>
                    <a:pt x="3982" y="10373"/>
                    <a:pt x="4587" y="10215"/>
                  </a:cubicBezTo>
                  <a:cubicBezTo>
                    <a:pt x="4156" y="9274"/>
                    <a:pt x="4156" y="9274"/>
                    <a:pt x="4156" y="9274"/>
                  </a:cubicBezTo>
                  <a:cubicBezTo>
                    <a:pt x="4042" y="9000"/>
                    <a:pt x="4042" y="9000"/>
                    <a:pt x="4042" y="9000"/>
                  </a:cubicBezTo>
                  <a:cubicBezTo>
                    <a:pt x="4037" y="8999"/>
                    <a:pt x="4032" y="8999"/>
                    <a:pt x="4027" y="8998"/>
                  </a:cubicBezTo>
                  <a:cubicBezTo>
                    <a:pt x="3981" y="9010"/>
                    <a:pt x="3863" y="9041"/>
                    <a:pt x="3749" y="9077"/>
                  </a:cubicBezTo>
                  <a:cubicBezTo>
                    <a:pt x="3608" y="9121"/>
                    <a:pt x="3537" y="9173"/>
                    <a:pt x="3497" y="9225"/>
                  </a:cubicBezTo>
                  <a:cubicBezTo>
                    <a:pt x="3457" y="9277"/>
                    <a:pt x="3448" y="9331"/>
                    <a:pt x="3433" y="9385"/>
                  </a:cubicBezTo>
                  <a:cubicBezTo>
                    <a:pt x="3405" y="9489"/>
                    <a:pt x="3396" y="9713"/>
                    <a:pt x="3306" y="9839"/>
                  </a:cubicBezTo>
                  <a:cubicBezTo>
                    <a:pt x="3262" y="9900"/>
                    <a:pt x="3238" y="9923"/>
                    <a:pt x="3190" y="9949"/>
                  </a:cubicBezTo>
                  <a:cubicBezTo>
                    <a:pt x="3141" y="9975"/>
                    <a:pt x="3069" y="10006"/>
                    <a:pt x="2919" y="10089"/>
                  </a:cubicBezTo>
                  <a:cubicBezTo>
                    <a:pt x="2755" y="10180"/>
                    <a:pt x="2583" y="10199"/>
                    <a:pt x="2465" y="10199"/>
                  </a:cubicBezTo>
                  <a:cubicBezTo>
                    <a:pt x="2405" y="10199"/>
                    <a:pt x="2362" y="10193"/>
                    <a:pt x="2339" y="10189"/>
                  </a:cubicBezTo>
                  <a:cubicBezTo>
                    <a:pt x="2339" y="10189"/>
                    <a:pt x="2339" y="10189"/>
                    <a:pt x="2339" y="10189"/>
                  </a:cubicBezTo>
                  <a:cubicBezTo>
                    <a:pt x="2339" y="10189"/>
                    <a:pt x="2336" y="10188"/>
                    <a:pt x="2332" y="10187"/>
                  </a:cubicBezTo>
                  <a:cubicBezTo>
                    <a:pt x="2223" y="10732"/>
                    <a:pt x="2223" y="10732"/>
                    <a:pt x="2223" y="10732"/>
                  </a:cubicBezTo>
                  <a:cubicBezTo>
                    <a:pt x="2199" y="10727"/>
                    <a:pt x="2199" y="10727"/>
                    <a:pt x="2199" y="10727"/>
                  </a:cubicBezTo>
                  <a:cubicBezTo>
                    <a:pt x="2308" y="10183"/>
                    <a:pt x="2308" y="10183"/>
                    <a:pt x="2308" y="10183"/>
                  </a:cubicBezTo>
                  <a:cubicBezTo>
                    <a:pt x="2268" y="10175"/>
                    <a:pt x="2196" y="10158"/>
                    <a:pt x="2146" y="10138"/>
                  </a:cubicBezTo>
                  <a:cubicBezTo>
                    <a:pt x="2077" y="10109"/>
                    <a:pt x="2018" y="10049"/>
                    <a:pt x="1999" y="10029"/>
                  </a:cubicBezTo>
                  <a:cubicBezTo>
                    <a:pt x="1634" y="10183"/>
                    <a:pt x="1634" y="10183"/>
                    <a:pt x="1634" y="10183"/>
                  </a:cubicBezTo>
                  <a:cubicBezTo>
                    <a:pt x="1632" y="10221"/>
                    <a:pt x="1616" y="10383"/>
                    <a:pt x="1616" y="10383"/>
                  </a:cubicBezTo>
                  <a:cubicBezTo>
                    <a:pt x="1592" y="10381"/>
                    <a:pt x="1592" y="10381"/>
                    <a:pt x="1592" y="10381"/>
                  </a:cubicBezTo>
                  <a:cubicBezTo>
                    <a:pt x="1592" y="10381"/>
                    <a:pt x="1592" y="10381"/>
                    <a:pt x="1592" y="10381"/>
                  </a:cubicBezTo>
                  <a:cubicBezTo>
                    <a:pt x="1592" y="10381"/>
                    <a:pt x="1608" y="10212"/>
                    <a:pt x="1610" y="10180"/>
                  </a:cubicBezTo>
                  <a:cubicBezTo>
                    <a:pt x="1351" y="9960"/>
                    <a:pt x="1351" y="9960"/>
                    <a:pt x="1351" y="9960"/>
                  </a:cubicBezTo>
                  <a:cubicBezTo>
                    <a:pt x="1366" y="9941"/>
                    <a:pt x="1366" y="9941"/>
                    <a:pt x="1366" y="9941"/>
                  </a:cubicBezTo>
                  <a:cubicBezTo>
                    <a:pt x="1624" y="10160"/>
                    <a:pt x="1624" y="10160"/>
                    <a:pt x="1624" y="10160"/>
                  </a:cubicBezTo>
                  <a:cubicBezTo>
                    <a:pt x="2006" y="9999"/>
                    <a:pt x="2006" y="9999"/>
                    <a:pt x="2006" y="9999"/>
                  </a:cubicBezTo>
                  <a:cubicBezTo>
                    <a:pt x="2012" y="10006"/>
                    <a:pt x="2012" y="10006"/>
                    <a:pt x="2012" y="10006"/>
                  </a:cubicBezTo>
                  <a:cubicBezTo>
                    <a:pt x="2012" y="10006"/>
                    <a:pt x="2029" y="10025"/>
                    <a:pt x="2055" y="10049"/>
                  </a:cubicBezTo>
                  <a:cubicBezTo>
                    <a:pt x="2082" y="10072"/>
                    <a:pt x="2118" y="10100"/>
                    <a:pt x="2155" y="10115"/>
                  </a:cubicBezTo>
                  <a:cubicBezTo>
                    <a:pt x="2210" y="10138"/>
                    <a:pt x="2298" y="10156"/>
                    <a:pt x="2334" y="10163"/>
                  </a:cubicBezTo>
                  <a:cubicBezTo>
                    <a:pt x="2336" y="10163"/>
                    <a:pt x="2336" y="10163"/>
                    <a:pt x="2336" y="10163"/>
                  </a:cubicBezTo>
                  <a:cubicBezTo>
                    <a:pt x="2335" y="10162"/>
                    <a:pt x="2376" y="10173"/>
                    <a:pt x="2465" y="10173"/>
                  </a:cubicBezTo>
                  <a:cubicBezTo>
                    <a:pt x="2580" y="10173"/>
                    <a:pt x="2748" y="10154"/>
                    <a:pt x="2906" y="10066"/>
                  </a:cubicBezTo>
                  <a:cubicBezTo>
                    <a:pt x="3056" y="9983"/>
                    <a:pt x="3131" y="9951"/>
                    <a:pt x="3177" y="9926"/>
                  </a:cubicBezTo>
                  <a:cubicBezTo>
                    <a:pt x="3223" y="9901"/>
                    <a:pt x="3241" y="9884"/>
                    <a:pt x="3284" y="9824"/>
                  </a:cubicBezTo>
                  <a:cubicBezTo>
                    <a:pt x="3368" y="9708"/>
                    <a:pt x="3379" y="9487"/>
                    <a:pt x="3408" y="9378"/>
                  </a:cubicBezTo>
                  <a:cubicBezTo>
                    <a:pt x="3422" y="9326"/>
                    <a:pt x="3432" y="9266"/>
                    <a:pt x="3476" y="9209"/>
                  </a:cubicBezTo>
                  <a:cubicBezTo>
                    <a:pt x="3520" y="9151"/>
                    <a:pt x="3597" y="9097"/>
                    <a:pt x="3741" y="9052"/>
                  </a:cubicBezTo>
                  <a:cubicBezTo>
                    <a:pt x="3845" y="9019"/>
                    <a:pt x="3952" y="8990"/>
                    <a:pt x="4006" y="8976"/>
                  </a:cubicBezTo>
                  <a:cubicBezTo>
                    <a:pt x="4010" y="8972"/>
                    <a:pt x="4018" y="8967"/>
                    <a:pt x="4025" y="8961"/>
                  </a:cubicBezTo>
                  <a:cubicBezTo>
                    <a:pt x="3817" y="8461"/>
                    <a:pt x="3817" y="8461"/>
                    <a:pt x="3817" y="8461"/>
                  </a:cubicBezTo>
                  <a:cubicBezTo>
                    <a:pt x="3589" y="8577"/>
                    <a:pt x="2829" y="8978"/>
                    <a:pt x="2114" y="9364"/>
                  </a:cubicBezTo>
                  <a:cubicBezTo>
                    <a:pt x="2092" y="9385"/>
                    <a:pt x="2092" y="9385"/>
                    <a:pt x="2092" y="9385"/>
                  </a:cubicBezTo>
                  <a:cubicBezTo>
                    <a:pt x="1721" y="9585"/>
                    <a:pt x="1380" y="9769"/>
                    <a:pt x="1114" y="9913"/>
                  </a:cubicBezTo>
                  <a:cubicBezTo>
                    <a:pt x="859" y="10051"/>
                    <a:pt x="690" y="10142"/>
                    <a:pt x="676" y="10150"/>
                  </a:cubicBezTo>
                  <a:cubicBezTo>
                    <a:pt x="672" y="10153"/>
                    <a:pt x="652" y="10164"/>
                    <a:pt x="626" y="10180"/>
                  </a:cubicBezTo>
                  <a:cubicBezTo>
                    <a:pt x="634" y="10190"/>
                    <a:pt x="643" y="10201"/>
                    <a:pt x="653" y="10211"/>
                  </a:cubicBezTo>
                  <a:cubicBezTo>
                    <a:pt x="773" y="10351"/>
                    <a:pt x="949" y="10555"/>
                    <a:pt x="1096" y="10724"/>
                  </a:cubicBezTo>
                  <a:cubicBezTo>
                    <a:pt x="1212" y="10859"/>
                    <a:pt x="1310" y="10971"/>
                    <a:pt x="1345" y="11012"/>
                  </a:cubicBezTo>
                  <a:close/>
                  <a:moveTo>
                    <a:pt x="2284" y="11733"/>
                  </a:moveTo>
                  <a:cubicBezTo>
                    <a:pt x="2322" y="11633"/>
                    <a:pt x="2382" y="11499"/>
                    <a:pt x="2449" y="11371"/>
                  </a:cubicBezTo>
                  <a:cubicBezTo>
                    <a:pt x="2484" y="11305"/>
                    <a:pt x="2514" y="11255"/>
                    <a:pt x="2545" y="11207"/>
                  </a:cubicBezTo>
                  <a:cubicBezTo>
                    <a:pt x="2574" y="11161"/>
                    <a:pt x="2605" y="11116"/>
                    <a:pt x="2642" y="11067"/>
                  </a:cubicBezTo>
                  <a:cubicBezTo>
                    <a:pt x="2624" y="11067"/>
                    <a:pt x="2600" y="11067"/>
                    <a:pt x="2575" y="11067"/>
                  </a:cubicBezTo>
                  <a:cubicBezTo>
                    <a:pt x="2527" y="11067"/>
                    <a:pt x="2482" y="11067"/>
                    <a:pt x="2482" y="11067"/>
                  </a:cubicBezTo>
                  <a:cubicBezTo>
                    <a:pt x="2482" y="11042"/>
                    <a:pt x="2482" y="11042"/>
                    <a:pt x="2482" y="11042"/>
                  </a:cubicBezTo>
                  <a:cubicBezTo>
                    <a:pt x="2482" y="11042"/>
                    <a:pt x="2527" y="11042"/>
                    <a:pt x="2575" y="11042"/>
                  </a:cubicBezTo>
                  <a:cubicBezTo>
                    <a:pt x="2599" y="11042"/>
                    <a:pt x="2622" y="11042"/>
                    <a:pt x="2640" y="11042"/>
                  </a:cubicBezTo>
                  <a:cubicBezTo>
                    <a:pt x="2649" y="11042"/>
                    <a:pt x="2656" y="11042"/>
                    <a:pt x="2661" y="11042"/>
                  </a:cubicBezTo>
                  <a:cubicBezTo>
                    <a:pt x="2666" y="11036"/>
                    <a:pt x="2670" y="11030"/>
                    <a:pt x="2675" y="11024"/>
                  </a:cubicBezTo>
                  <a:cubicBezTo>
                    <a:pt x="2734" y="10949"/>
                    <a:pt x="2804" y="10882"/>
                    <a:pt x="2849" y="10840"/>
                  </a:cubicBezTo>
                  <a:cubicBezTo>
                    <a:pt x="2830" y="10835"/>
                    <a:pt x="2797" y="10828"/>
                    <a:pt x="2754" y="10821"/>
                  </a:cubicBezTo>
                  <a:cubicBezTo>
                    <a:pt x="2681" y="10808"/>
                    <a:pt x="2578" y="10793"/>
                    <a:pt x="2460" y="10786"/>
                  </a:cubicBezTo>
                  <a:cubicBezTo>
                    <a:pt x="2363" y="10781"/>
                    <a:pt x="2281" y="10778"/>
                    <a:pt x="2211" y="10778"/>
                  </a:cubicBezTo>
                  <a:cubicBezTo>
                    <a:pt x="2109" y="10778"/>
                    <a:pt x="2033" y="10784"/>
                    <a:pt x="1974" y="10797"/>
                  </a:cubicBezTo>
                  <a:cubicBezTo>
                    <a:pt x="1875" y="10819"/>
                    <a:pt x="1638" y="10914"/>
                    <a:pt x="1558" y="10950"/>
                  </a:cubicBezTo>
                  <a:cubicBezTo>
                    <a:pt x="1518" y="10968"/>
                    <a:pt x="1469" y="10992"/>
                    <a:pt x="1430" y="11011"/>
                  </a:cubicBezTo>
                  <a:cubicBezTo>
                    <a:pt x="1410" y="11021"/>
                    <a:pt x="1393" y="11030"/>
                    <a:pt x="1380" y="11036"/>
                  </a:cubicBezTo>
                  <a:cubicBezTo>
                    <a:pt x="1376" y="11038"/>
                    <a:pt x="1373" y="11040"/>
                    <a:pt x="1370" y="11041"/>
                  </a:cubicBezTo>
                  <a:cubicBezTo>
                    <a:pt x="1826" y="11565"/>
                    <a:pt x="1826" y="11565"/>
                    <a:pt x="1826" y="11565"/>
                  </a:cubicBezTo>
                  <a:cubicBezTo>
                    <a:pt x="1829" y="11568"/>
                    <a:pt x="1849" y="11587"/>
                    <a:pt x="1881" y="11612"/>
                  </a:cubicBezTo>
                  <a:cubicBezTo>
                    <a:pt x="1915" y="11639"/>
                    <a:pt x="1963" y="11671"/>
                    <a:pt x="2014" y="11693"/>
                  </a:cubicBezTo>
                  <a:cubicBezTo>
                    <a:pt x="2097" y="11729"/>
                    <a:pt x="2190" y="11732"/>
                    <a:pt x="2227" y="11732"/>
                  </a:cubicBezTo>
                  <a:cubicBezTo>
                    <a:pt x="2245" y="11732"/>
                    <a:pt x="2266" y="11733"/>
                    <a:pt x="2284" y="11733"/>
                  </a:cubicBezTo>
                  <a:close/>
                  <a:moveTo>
                    <a:pt x="2002" y="12300"/>
                  </a:moveTo>
                  <a:cubicBezTo>
                    <a:pt x="2112" y="12309"/>
                    <a:pt x="2319" y="12329"/>
                    <a:pt x="2319" y="12329"/>
                  </a:cubicBezTo>
                  <a:cubicBezTo>
                    <a:pt x="2328" y="12330"/>
                    <a:pt x="2328" y="12330"/>
                    <a:pt x="2328" y="12330"/>
                  </a:cubicBezTo>
                  <a:cubicBezTo>
                    <a:pt x="2378" y="12335"/>
                    <a:pt x="2473" y="12345"/>
                    <a:pt x="2628" y="12360"/>
                  </a:cubicBezTo>
                  <a:cubicBezTo>
                    <a:pt x="2870" y="12384"/>
                    <a:pt x="3004" y="12429"/>
                    <a:pt x="3152" y="12474"/>
                  </a:cubicBezTo>
                  <a:cubicBezTo>
                    <a:pt x="3304" y="12519"/>
                    <a:pt x="3481" y="12643"/>
                    <a:pt x="3558" y="12718"/>
                  </a:cubicBezTo>
                  <a:cubicBezTo>
                    <a:pt x="3575" y="12734"/>
                    <a:pt x="3590" y="12752"/>
                    <a:pt x="3603" y="12769"/>
                  </a:cubicBezTo>
                  <a:cubicBezTo>
                    <a:pt x="3614" y="12767"/>
                    <a:pt x="3666" y="12752"/>
                    <a:pt x="3718" y="12735"/>
                  </a:cubicBezTo>
                  <a:cubicBezTo>
                    <a:pt x="3774" y="12717"/>
                    <a:pt x="3838" y="12692"/>
                    <a:pt x="3872" y="12665"/>
                  </a:cubicBezTo>
                  <a:cubicBezTo>
                    <a:pt x="3789" y="12391"/>
                    <a:pt x="3789" y="12391"/>
                    <a:pt x="3789" y="12391"/>
                  </a:cubicBezTo>
                  <a:cubicBezTo>
                    <a:pt x="3593" y="12192"/>
                    <a:pt x="3593" y="12192"/>
                    <a:pt x="3593" y="12192"/>
                  </a:cubicBezTo>
                  <a:cubicBezTo>
                    <a:pt x="3375" y="11916"/>
                    <a:pt x="3375" y="11916"/>
                    <a:pt x="3375" y="11916"/>
                  </a:cubicBezTo>
                  <a:cubicBezTo>
                    <a:pt x="3232" y="11843"/>
                    <a:pt x="3232" y="11843"/>
                    <a:pt x="3232" y="11843"/>
                  </a:cubicBezTo>
                  <a:cubicBezTo>
                    <a:pt x="2885" y="11722"/>
                    <a:pt x="2885" y="11722"/>
                    <a:pt x="2885" y="11722"/>
                  </a:cubicBezTo>
                  <a:cubicBezTo>
                    <a:pt x="2785" y="11610"/>
                    <a:pt x="2785" y="11610"/>
                    <a:pt x="2785" y="11610"/>
                  </a:cubicBezTo>
                  <a:cubicBezTo>
                    <a:pt x="2694" y="11699"/>
                    <a:pt x="2694" y="11699"/>
                    <a:pt x="2694" y="11699"/>
                  </a:cubicBezTo>
                  <a:cubicBezTo>
                    <a:pt x="2513" y="11752"/>
                    <a:pt x="2513" y="11752"/>
                    <a:pt x="2513" y="11752"/>
                  </a:cubicBezTo>
                  <a:cubicBezTo>
                    <a:pt x="2313" y="11767"/>
                    <a:pt x="2313" y="11767"/>
                    <a:pt x="2313" y="11767"/>
                  </a:cubicBezTo>
                  <a:cubicBezTo>
                    <a:pt x="2313" y="11766"/>
                    <a:pt x="2313" y="11766"/>
                    <a:pt x="2313" y="11766"/>
                  </a:cubicBezTo>
                  <a:cubicBezTo>
                    <a:pt x="2313" y="11766"/>
                    <a:pt x="2313" y="11766"/>
                    <a:pt x="2312" y="11766"/>
                  </a:cubicBezTo>
                  <a:cubicBezTo>
                    <a:pt x="2309" y="11775"/>
                    <a:pt x="2306" y="11785"/>
                    <a:pt x="2303" y="11793"/>
                  </a:cubicBezTo>
                  <a:cubicBezTo>
                    <a:pt x="2285" y="11843"/>
                    <a:pt x="2276" y="11872"/>
                    <a:pt x="2272" y="11889"/>
                  </a:cubicBezTo>
                  <a:cubicBezTo>
                    <a:pt x="2269" y="11897"/>
                    <a:pt x="2268" y="11902"/>
                    <a:pt x="2268" y="11905"/>
                  </a:cubicBezTo>
                  <a:cubicBezTo>
                    <a:pt x="2267" y="11906"/>
                    <a:pt x="2267" y="11907"/>
                    <a:pt x="2267" y="11908"/>
                  </a:cubicBezTo>
                  <a:cubicBezTo>
                    <a:pt x="2267" y="11912"/>
                    <a:pt x="2267" y="11912"/>
                    <a:pt x="2267" y="11912"/>
                  </a:cubicBezTo>
                  <a:cubicBezTo>
                    <a:pt x="2265" y="11915"/>
                    <a:pt x="2265" y="11915"/>
                    <a:pt x="2265" y="11915"/>
                  </a:cubicBezTo>
                  <a:cubicBezTo>
                    <a:pt x="2264" y="11915"/>
                    <a:pt x="2172" y="12072"/>
                    <a:pt x="2053" y="12230"/>
                  </a:cubicBezTo>
                  <a:cubicBezTo>
                    <a:pt x="2037" y="12251"/>
                    <a:pt x="2020" y="12276"/>
                    <a:pt x="2002" y="12300"/>
                  </a:cubicBezTo>
                  <a:close/>
                  <a:moveTo>
                    <a:pt x="650" y="11742"/>
                  </a:moveTo>
                  <a:cubicBezTo>
                    <a:pt x="676" y="11778"/>
                    <a:pt x="700" y="11812"/>
                    <a:pt x="722" y="11843"/>
                  </a:cubicBezTo>
                  <a:cubicBezTo>
                    <a:pt x="767" y="11905"/>
                    <a:pt x="804" y="11958"/>
                    <a:pt x="831" y="11995"/>
                  </a:cubicBezTo>
                  <a:cubicBezTo>
                    <a:pt x="844" y="12013"/>
                    <a:pt x="854" y="12028"/>
                    <a:pt x="861" y="12038"/>
                  </a:cubicBezTo>
                  <a:cubicBezTo>
                    <a:pt x="865" y="12043"/>
                    <a:pt x="868" y="12047"/>
                    <a:pt x="870" y="12049"/>
                  </a:cubicBezTo>
                  <a:cubicBezTo>
                    <a:pt x="871" y="12051"/>
                    <a:pt x="871" y="12052"/>
                    <a:pt x="872" y="12053"/>
                  </a:cubicBezTo>
                  <a:cubicBezTo>
                    <a:pt x="872" y="12053"/>
                    <a:pt x="872" y="12053"/>
                    <a:pt x="873" y="12054"/>
                  </a:cubicBezTo>
                  <a:cubicBezTo>
                    <a:pt x="873" y="12054"/>
                    <a:pt x="873" y="12055"/>
                    <a:pt x="873" y="12055"/>
                  </a:cubicBezTo>
                  <a:cubicBezTo>
                    <a:pt x="874" y="12056"/>
                    <a:pt x="874" y="12056"/>
                    <a:pt x="875" y="12058"/>
                  </a:cubicBezTo>
                  <a:cubicBezTo>
                    <a:pt x="1344" y="12723"/>
                    <a:pt x="1344" y="12723"/>
                    <a:pt x="1344" y="12723"/>
                  </a:cubicBezTo>
                  <a:cubicBezTo>
                    <a:pt x="1527" y="12813"/>
                    <a:pt x="1527" y="12813"/>
                    <a:pt x="1527" y="12813"/>
                  </a:cubicBezTo>
                  <a:cubicBezTo>
                    <a:pt x="1558" y="12776"/>
                    <a:pt x="1685" y="12627"/>
                    <a:pt x="1804" y="12484"/>
                  </a:cubicBezTo>
                  <a:cubicBezTo>
                    <a:pt x="1853" y="12426"/>
                    <a:pt x="1899" y="12367"/>
                    <a:pt x="1938" y="12319"/>
                  </a:cubicBezTo>
                  <a:cubicBezTo>
                    <a:pt x="1914" y="12313"/>
                    <a:pt x="1881" y="12308"/>
                    <a:pt x="1840" y="12299"/>
                  </a:cubicBezTo>
                  <a:cubicBezTo>
                    <a:pt x="1735" y="12273"/>
                    <a:pt x="1593" y="12231"/>
                    <a:pt x="1510" y="12175"/>
                  </a:cubicBezTo>
                  <a:cubicBezTo>
                    <a:pt x="1395" y="12100"/>
                    <a:pt x="1378" y="12026"/>
                    <a:pt x="1368" y="11992"/>
                  </a:cubicBezTo>
                  <a:cubicBezTo>
                    <a:pt x="1358" y="11957"/>
                    <a:pt x="1332" y="11852"/>
                    <a:pt x="1314" y="11788"/>
                  </a:cubicBezTo>
                  <a:cubicBezTo>
                    <a:pt x="1298" y="11728"/>
                    <a:pt x="1236" y="11627"/>
                    <a:pt x="1185" y="11573"/>
                  </a:cubicBezTo>
                  <a:cubicBezTo>
                    <a:pt x="1135" y="11518"/>
                    <a:pt x="1017" y="11421"/>
                    <a:pt x="970" y="11393"/>
                  </a:cubicBezTo>
                  <a:cubicBezTo>
                    <a:pt x="955" y="11383"/>
                    <a:pt x="934" y="11371"/>
                    <a:pt x="909" y="11357"/>
                  </a:cubicBezTo>
                  <a:cubicBezTo>
                    <a:pt x="902" y="11404"/>
                    <a:pt x="876" y="11535"/>
                    <a:pt x="813" y="11616"/>
                  </a:cubicBezTo>
                  <a:cubicBezTo>
                    <a:pt x="775" y="11664"/>
                    <a:pt x="739" y="11694"/>
                    <a:pt x="712" y="11713"/>
                  </a:cubicBezTo>
                  <a:cubicBezTo>
                    <a:pt x="698" y="11722"/>
                    <a:pt x="686" y="11728"/>
                    <a:pt x="678" y="11732"/>
                  </a:cubicBezTo>
                  <a:cubicBezTo>
                    <a:pt x="669" y="11736"/>
                    <a:pt x="665" y="11738"/>
                    <a:pt x="650" y="11742"/>
                  </a:cubicBezTo>
                  <a:close/>
                  <a:moveTo>
                    <a:pt x="611" y="12760"/>
                  </a:moveTo>
                  <a:cubicBezTo>
                    <a:pt x="633" y="12803"/>
                    <a:pt x="647" y="12838"/>
                    <a:pt x="656" y="12868"/>
                  </a:cubicBezTo>
                  <a:cubicBezTo>
                    <a:pt x="685" y="12861"/>
                    <a:pt x="751" y="12846"/>
                    <a:pt x="819" y="12831"/>
                  </a:cubicBezTo>
                  <a:cubicBezTo>
                    <a:pt x="862" y="12822"/>
                    <a:pt x="905" y="12812"/>
                    <a:pt x="937" y="12805"/>
                  </a:cubicBezTo>
                  <a:cubicBezTo>
                    <a:pt x="953" y="12802"/>
                    <a:pt x="967" y="12799"/>
                    <a:pt x="977" y="12797"/>
                  </a:cubicBezTo>
                  <a:cubicBezTo>
                    <a:pt x="982" y="12796"/>
                    <a:pt x="986" y="12795"/>
                    <a:pt x="989" y="12794"/>
                  </a:cubicBezTo>
                  <a:cubicBezTo>
                    <a:pt x="992" y="12794"/>
                    <a:pt x="993" y="12794"/>
                    <a:pt x="995" y="12793"/>
                  </a:cubicBezTo>
                  <a:cubicBezTo>
                    <a:pt x="1060" y="12779"/>
                    <a:pt x="1232" y="12741"/>
                    <a:pt x="1299" y="12726"/>
                  </a:cubicBezTo>
                  <a:cubicBezTo>
                    <a:pt x="830" y="12057"/>
                    <a:pt x="830" y="12057"/>
                    <a:pt x="830" y="12057"/>
                  </a:cubicBezTo>
                  <a:cubicBezTo>
                    <a:pt x="831" y="12057"/>
                    <a:pt x="831" y="12057"/>
                    <a:pt x="831" y="12057"/>
                  </a:cubicBezTo>
                  <a:cubicBezTo>
                    <a:pt x="802" y="12016"/>
                    <a:pt x="721" y="11904"/>
                    <a:pt x="621" y="11763"/>
                  </a:cubicBezTo>
                  <a:cubicBezTo>
                    <a:pt x="608" y="11764"/>
                    <a:pt x="608" y="11764"/>
                    <a:pt x="608" y="11764"/>
                  </a:cubicBezTo>
                  <a:cubicBezTo>
                    <a:pt x="144" y="11989"/>
                    <a:pt x="144" y="11989"/>
                    <a:pt x="144" y="11989"/>
                  </a:cubicBezTo>
                  <a:cubicBezTo>
                    <a:pt x="106" y="12151"/>
                    <a:pt x="106" y="12151"/>
                    <a:pt x="106" y="12151"/>
                  </a:cubicBezTo>
                  <a:cubicBezTo>
                    <a:pt x="134" y="12158"/>
                    <a:pt x="161" y="12167"/>
                    <a:pt x="181" y="12179"/>
                  </a:cubicBezTo>
                  <a:cubicBezTo>
                    <a:pt x="213" y="12198"/>
                    <a:pt x="255" y="12244"/>
                    <a:pt x="296" y="12295"/>
                  </a:cubicBezTo>
                  <a:cubicBezTo>
                    <a:pt x="337" y="12344"/>
                    <a:pt x="376" y="12398"/>
                    <a:pt x="398" y="12428"/>
                  </a:cubicBezTo>
                  <a:cubicBezTo>
                    <a:pt x="441" y="12489"/>
                    <a:pt x="564" y="12670"/>
                    <a:pt x="611" y="12760"/>
                  </a:cubicBezTo>
                  <a:close/>
                  <a:moveTo>
                    <a:pt x="1124" y="14031"/>
                  </a:moveTo>
                  <a:cubicBezTo>
                    <a:pt x="1127" y="14027"/>
                    <a:pt x="1130" y="14024"/>
                    <a:pt x="1132" y="14022"/>
                  </a:cubicBezTo>
                  <a:cubicBezTo>
                    <a:pt x="1133" y="14021"/>
                    <a:pt x="1134" y="14020"/>
                    <a:pt x="1134" y="14020"/>
                  </a:cubicBezTo>
                  <a:cubicBezTo>
                    <a:pt x="1134" y="14019"/>
                    <a:pt x="1134" y="14019"/>
                    <a:pt x="1134" y="14019"/>
                  </a:cubicBezTo>
                  <a:cubicBezTo>
                    <a:pt x="1143" y="14006"/>
                    <a:pt x="1255" y="13863"/>
                    <a:pt x="1255" y="13862"/>
                  </a:cubicBezTo>
                  <a:cubicBezTo>
                    <a:pt x="1441" y="13607"/>
                    <a:pt x="1441" y="13607"/>
                    <a:pt x="1441" y="13607"/>
                  </a:cubicBezTo>
                  <a:cubicBezTo>
                    <a:pt x="1154" y="13358"/>
                    <a:pt x="1154" y="13358"/>
                    <a:pt x="1154" y="13358"/>
                  </a:cubicBezTo>
                  <a:cubicBezTo>
                    <a:pt x="1153" y="13359"/>
                    <a:pt x="1153" y="13359"/>
                    <a:pt x="1153" y="13359"/>
                  </a:cubicBezTo>
                  <a:cubicBezTo>
                    <a:pt x="1153" y="13359"/>
                    <a:pt x="1153" y="13359"/>
                    <a:pt x="1153" y="13359"/>
                  </a:cubicBezTo>
                  <a:cubicBezTo>
                    <a:pt x="1121" y="13329"/>
                    <a:pt x="1121" y="13329"/>
                    <a:pt x="1121" y="13329"/>
                  </a:cubicBezTo>
                  <a:cubicBezTo>
                    <a:pt x="1113" y="13322"/>
                    <a:pt x="1113" y="13322"/>
                    <a:pt x="1113" y="13322"/>
                  </a:cubicBezTo>
                  <a:cubicBezTo>
                    <a:pt x="1113" y="13322"/>
                    <a:pt x="1113" y="13322"/>
                    <a:pt x="1113" y="13322"/>
                  </a:cubicBezTo>
                  <a:cubicBezTo>
                    <a:pt x="1014" y="13231"/>
                    <a:pt x="1014" y="13231"/>
                    <a:pt x="1014" y="13231"/>
                  </a:cubicBezTo>
                  <a:cubicBezTo>
                    <a:pt x="663" y="13235"/>
                    <a:pt x="663" y="13235"/>
                    <a:pt x="663" y="13235"/>
                  </a:cubicBezTo>
                  <a:cubicBezTo>
                    <a:pt x="663" y="13235"/>
                    <a:pt x="663" y="13235"/>
                    <a:pt x="663" y="13235"/>
                  </a:cubicBezTo>
                  <a:cubicBezTo>
                    <a:pt x="659" y="13294"/>
                    <a:pt x="654" y="13346"/>
                    <a:pt x="648" y="13374"/>
                  </a:cubicBezTo>
                  <a:cubicBezTo>
                    <a:pt x="630" y="13449"/>
                    <a:pt x="607" y="13580"/>
                    <a:pt x="602" y="13610"/>
                  </a:cubicBezTo>
                  <a:cubicBezTo>
                    <a:pt x="602" y="13611"/>
                    <a:pt x="602" y="13614"/>
                    <a:pt x="602" y="13616"/>
                  </a:cubicBezTo>
                  <a:cubicBezTo>
                    <a:pt x="601" y="13642"/>
                    <a:pt x="621" y="13695"/>
                    <a:pt x="643" y="13723"/>
                  </a:cubicBezTo>
                  <a:cubicBezTo>
                    <a:pt x="647" y="13726"/>
                    <a:pt x="659" y="13736"/>
                    <a:pt x="675" y="13746"/>
                  </a:cubicBezTo>
                  <a:cubicBezTo>
                    <a:pt x="700" y="13763"/>
                    <a:pt x="760" y="13803"/>
                    <a:pt x="790" y="13821"/>
                  </a:cubicBezTo>
                  <a:cubicBezTo>
                    <a:pt x="796" y="13825"/>
                    <a:pt x="796" y="13825"/>
                    <a:pt x="796" y="13825"/>
                  </a:cubicBezTo>
                  <a:cubicBezTo>
                    <a:pt x="811" y="13834"/>
                    <a:pt x="814" y="13836"/>
                    <a:pt x="824" y="13842"/>
                  </a:cubicBezTo>
                  <a:cubicBezTo>
                    <a:pt x="825" y="13842"/>
                    <a:pt x="825" y="13842"/>
                    <a:pt x="825" y="13842"/>
                  </a:cubicBezTo>
                  <a:lnTo>
                    <a:pt x="1124" y="14031"/>
                  </a:lnTo>
                  <a:close/>
                  <a:moveTo>
                    <a:pt x="725" y="14519"/>
                  </a:moveTo>
                  <a:cubicBezTo>
                    <a:pt x="1088" y="14792"/>
                    <a:pt x="1088" y="14792"/>
                    <a:pt x="1088" y="14792"/>
                  </a:cubicBezTo>
                  <a:cubicBezTo>
                    <a:pt x="1089" y="14791"/>
                    <a:pt x="1089" y="14791"/>
                    <a:pt x="1089" y="14791"/>
                  </a:cubicBezTo>
                  <a:cubicBezTo>
                    <a:pt x="1090" y="14794"/>
                    <a:pt x="1090" y="14794"/>
                    <a:pt x="1090" y="14794"/>
                  </a:cubicBezTo>
                  <a:cubicBezTo>
                    <a:pt x="1091" y="14794"/>
                    <a:pt x="1311" y="14958"/>
                    <a:pt x="1554" y="15141"/>
                  </a:cubicBezTo>
                  <a:cubicBezTo>
                    <a:pt x="1792" y="15319"/>
                    <a:pt x="2049" y="15513"/>
                    <a:pt x="2144" y="15583"/>
                  </a:cubicBezTo>
                  <a:cubicBezTo>
                    <a:pt x="2161" y="15578"/>
                    <a:pt x="2203" y="15566"/>
                    <a:pt x="2298" y="15546"/>
                  </a:cubicBezTo>
                  <a:cubicBezTo>
                    <a:pt x="2362" y="15532"/>
                    <a:pt x="2429" y="15505"/>
                    <a:pt x="2481" y="15481"/>
                  </a:cubicBezTo>
                  <a:cubicBezTo>
                    <a:pt x="2526" y="15460"/>
                    <a:pt x="2558" y="15442"/>
                    <a:pt x="2566" y="15438"/>
                  </a:cubicBezTo>
                  <a:cubicBezTo>
                    <a:pt x="2591" y="15414"/>
                    <a:pt x="2729" y="15277"/>
                    <a:pt x="2869" y="15154"/>
                  </a:cubicBezTo>
                  <a:cubicBezTo>
                    <a:pt x="2962" y="15073"/>
                    <a:pt x="3058" y="15005"/>
                    <a:pt x="3111" y="14958"/>
                  </a:cubicBezTo>
                  <a:cubicBezTo>
                    <a:pt x="3246" y="14838"/>
                    <a:pt x="3381" y="14822"/>
                    <a:pt x="3397" y="14820"/>
                  </a:cubicBezTo>
                  <a:cubicBezTo>
                    <a:pt x="3478" y="14800"/>
                    <a:pt x="3606" y="14795"/>
                    <a:pt x="3716" y="14795"/>
                  </a:cubicBezTo>
                  <a:cubicBezTo>
                    <a:pt x="3809" y="14795"/>
                    <a:pt x="3887" y="14799"/>
                    <a:pt x="3912" y="14800"/>
                  </a:cubicBezTo>
                  <a:cubicBezTo>
                    <a:pt x="4286" y="14313"/>
                    <a:pt x="4286" y="14313"/>
                    <a:pt x="4286" y="14313"/>
                  </a:cubicBezTo>
                  <a:cubicBezTo>
                    <a:pt x="1911" y="13451"/>
                    <a:pt x="1911" y="13451"/>
                    <a:pt x="1911" y="13451"/>
                  </a:cubicBezTo>
                  <a:cubicBezTo>
                    <a:pt x="1911" y="13451"/>
                    <a:pt x="1911" y="13451"/>
                    <a:pt x="1911" y="13451"/>
                  </a:cubicBezTo>
                  <a:cubicBezTo>
                    <a:pt x="1652" y="13359"/>
                    <a:pt x="1652" y="13359"/>
                    <a:pt x="1652" y="13359"/>
                  </a:cubicBezTo>
                  <a:cubicBezTo>
                    <a:pt x="1641" y="13377"/>
                    <a:pt x="1617" y="13414"/>
                    <a:pt x="1594" y="13450"/>
                  </a:cubicBezTo>
                  <a:cubicBezTo>
                    <a:pt x="1564" y="13497"/>
                    <a:pt x="1535" y="13542"/>
                    <a:pt x="1535" y="13543"/>
                  </a:cubicBezTo>
                  <a:cubicBezTo>
                    <a:pt x="1285" y="13885"/>
                    <a:pt x="1285" y="13885"/>
                    <a:pt x="1285" y="13885"/>
                  </a:cubicBezTo>
                  <a:cubicBezTo>
                    <a:pt x="1285" y="13885"/>
                    <a:pt x="1255" y="13924"/>
                    <a:pt x="1225" y="13963"/>
                  </a:cubicBezTo>
                  <a:cubicBezTo>
                    <a:pt x="1210" y="13982"/>
                    <a:pt x="1195" y="14002"/>
                    <a:pt x="1184" y="14017"/>
                  </a:cubicBezTo>
                  <a:cubicBezTo>
                    <a:pt x="1178" y="14024"/>
                    <a:pt x="1173" y="14030"/>
                    <a:pt x="1170" y="14035"/>
                  </a:cubicBezTo>
                  <a:cubicBezTo>
                    <a:pt x="1168" y="14037"/>
                    <a:pt x="1167" y="14039"/>
                    <a:pt x="1166" y="14040"/>
                  </a:cubicBezTo>
                  <a:cubicBezTo>
                    <a:pt x="1166" y="14040"/>
                    <a:pt x="1166" y="14040"/>
                    <a:pt x="1166" y="14040"/>
                  </a:cubicBezTo>
                  <a:cubicBezTo>
                    <a:pt x="1165" y="14042"/>
                    <a:pt x="1165" y="14042"/>
                    <a:pt x="1164" y="14042"/>
                  </a:cubicBezTo>
                  <a:cubicBezTo>
                    <a:pt x="1161" y="14046"/>
                    <a:pt x="1157" y="14050"/>
                    <a:pt x="1147" y="14061"/>
                  </a:cubicBezTo>
                  <a:cubicBezTo>
                    <a:pt x="1114" y="14096"/>
                    <a:pt x="1035" y="14177"/>
                    <a:pt x="964" y="14250"/>
                  </a:cubicBezTo>
                  <a:cubicBezTo>
                    <a:pt x="929" y="14287"/>
                    <a:pt x="896" y="14321"/>
                    <a:pt x="871" y="14347"/>
                  </a:cubicBezTo>
                  <a:cubicBezTo>
                    <a:pt x="858" y="14359"/>
                    <a:pt x="848" y="14370"/>
                    <a:pt x="841" y="14377"/>
                  </a:cubicBezTo>
                  <a:cubicBezTo>
                    <a:pt x="838" y="14381"/>
                    <a:pt x="835" y="14384"/>
                    <a:pt x="833" y="14386"/>
                  </a:cubicBezTo>
                  <a:cubicBezTo>
                    <a:pt x="832" y="14387"/>
                    <a:pt x="831" y="14387"/>
                    <a:pt x="830" y="14388"/>
                  </a:cubicBezTo>
                  <a:cubicBezTo>
                    <a:pt x="830" y="14388"/>
                    <a:pt x="830" y="14389"/>
                    <a:pt x="829" y="14389"/>
                  </a:cubicBezTo>
                  <a:cubicBezTo>
                    <a:pt x="829" y="14389"/>
                    <a:pt x="829" y="14389"/>
                    <a:pt x="828" y="14390"/>
                  </a:cubicBezTo>
                  <a:cubicBezTo>
                    <a:pt x="824" y="14394"/>
                    <a:pt x="800" y="14420"/>
                    <a:pt x="776" y="14448"/>
                  </a:cubicBezTo>
                  <a:cubicBezTo>
                    <a:pt x="764" y="14462"/>
                    <a:pt x="752" y="14477"/>
                    <a:pt x="742" y="14489"/>
                  </a:cubicBezTo>
                  <a:cubicBezTo>
                    <a:pt x="733" y="14502"/>
                    <a:pt x="726" y="14513"/>
                    <a:pt x="726" y="14515"/>
                  </a:cubicBezTo>
                  <a:cubicBezTo>
                    <a:pt x="725" y="14516"/>
                    <a:pt x="725" y="14517"/>
                    <a:pt x="725" y="14519"/>
                  </a:cubicBezTo>
                  <a:close/>
                  <a:moveTo>
                    <a:pt x="2590" y="16691"/>
                  </a:moveTo>
                  <a:cubicBezTo>
                    <a:pt x="2590" y="16670"/>
                    <a:pt x="2590" y="16649"/>
                    <a:pt x="2590" y="16629"/>
                  </a:cubicBezTo>
                  <a:cubicBezTo>
                    <a:pt x="2590" y="16351"/>
                    <a:pt x="2593" y="16105"/>
                    <a:pt x="2593" y="16006"/>
                  </a:cubicBezTo>
                  <a:cubicBezTo>
                    <a:pt x="2593" y="15980"/>
                    <a:pt x="2596" y="15957"/>
                    <a:pt x="2600" y="15934"/>
                  </a:cubicBezTo>
                  <a:cubicBezTo>
                    <a:pt x="2357" y="15899"/>
                    <a:pt x="2357" y="15899"/>
                    <a:pt x="2357" y="15899"/>
                  </a:cubicBezTo>
                  <a:cubicBezTo>
                    <a:pt x="2353" y="15889"/>
                    <a:pt x="2353" y="15889"/>
                    <a:pt x="2353" y="15889"/>
                  </a:cubicBezTo>
                  <a:cubicBezTo>
                    <a:pt x="2353" y="15889"/>
                    <a:pt x="2350" y="15881"/>
                    <a:pt x="2343" y="15866"/>
                  </a:cubicBezTo>
                  <a:cubicBezTo>
                    <a:pt x="2321" y="15820"/>
                    <a:pt x="2259" y="15714"/>
                    <a:pt x="2130" y="15618"/>
                  </a:cubicBezTo>
                  <a:cubicBezTo>
                    <a:pt x="1955" y="15488"/>
                    <a:pt x="1075" y="14830"/>
                    <a:pt x="1061" y="14820"/>
                  </a:cubicBezTo>
                  <a:cubicBezTo>
                    <a:pt x="1061" y="14820"/>
                    <a:pt x="1061" y="14820"/>
                    <a:pt x="1061" y="14820"/>
                  </a:cubicBezTo>
                  <a:cubicBezTo>
                    <a:pt x="718" y="14561"/>
                    <a:pt x="718" y="14561"/>
                    <a:pt x="718" y="14561"/>
                  </a:cubicBezTo>
                  <a:cubicBezTo>
                    <a:pt x="718" y="14564"/>
                    <a:pt x="718" y="14566"/>
                    <a:pt x="718" y="14568"/>
                  </a:cubicBezTo>
                  <a:cubicBezTo>
                    <a:pt x="715" y="14586"/>
                    <a:pt x="698" y="14647"/>
                    <a:pt x="680" y="14700"/>
                  </a:cubicBezTo>
                  <a:cubicBezTo>
                    <a:pt x="663" y="14752"/>
                    <a:pt x="621" y="14884"/>
                    <a:pt x="573" y="14954"/>
                  </a:cubicBezTo>
                  <a:cubicBezTo>
                    <a:pt x="546" y="14994"/>
                    <a:pt x="383" y="15208"/>
                    <a:pt x="256" y="15374"/>
                  </a:cubicBezTo>
                  <a:cubicBezTo>
                    <a:pt x="283" y="15378"/>
                    <a:pt x="330" y="15384"/>
                    <a:pt x="396" y="15393"/>
                  </a:cubicBezTo>
                  <a:cubicBezTo>
                    <a:pt x="512" y="15410"/>
                    <a:pt x="654" y="15444"/>
                    <a:pt x="762" y="15474"/>
                  </a:cubicBezTo>
                  <a:cubicBezTo>
                    <a:pt x="872" y="15504"/>
                    <a:pt x="939" y="15542"/>
                    <a:pt x="1022" y="15585"/>
                  </a:cubicBezTo>
                  <a:cubicBezTo>
                    <a:pt x="1110" y="15630"/>
                    <a:pt x="1261" y="15772"/>
                    <a:pt x="1262" y="15773"/>
                  </a:cubicBezTo>
                  <a:cubicBezTo>
                    <a:pt x="1266" y="15777"/>
                    <a:pt x="1266" y="15777"/>
                    <a:pt x="1266" y="15777"/>
                  </a:cubicBezTo>
                  <a:cubicBezTo>
                    <a:pt x="1266" y="15777"/>
                    <a:pt x="1266" y="15777"/>
                    <a:pt x="1266" y="15777"/>
                  </a:cubicBezTo>
                  <a:cubicBezTo>
                    <a:pt x="1319" y="15822"/>
                    <a:pt x="1497" y="15976"/>
                    <a:pt x="1562" y="16039"/>
                  </a:cubicBezTo>
                  <a:cubicBezTo>
                    <a:pt x="1637" y="16112"/>
                    <a:pt x="1966" y="16421"/>
                    <a:pt x="1967" y="16421"/>
                  </a:cubicBezTo>
                  <a:cubicBezTo>
                    <a:pt x="2015" y="16462"/>
                    <a:pt x="2169" y="16615"/>
                    <a:pt x="2254" y="16652"/>
                  </a:cubicBezTo>
                  <a:cubicBezTo>
                    <a:pt x="2294" y="16670"/>
                    <a:pt x="2385" y="16681"/>
                    <a:pt x="2463" y="16686"/>
                  </a:cubicBezTo>
                  <a:cubicBezTo>
                    <a:pt x="2517" y="16689"/>
                    <a:pt x="2565" y="16691"/>
                    <a:pt x="2590" y="16691"/>
                  </a:cubicBezTo>
                  <a:close/>
                  <a:moveTo>
                    <a:pt x="3982" y="16849"/>
                  </a:moveTo>
                  <a:cubicBezTo>
                    <a:pt x="3981" y="16831"/>
                    <a:pt x="3980" y="16813"/>
                    <a:pt x="3980" y="16794"/>
                  </a:cubicBezTo>
                  <a:cubicBezTo>
                    <a:pt x="3980" y="16789"/>
                    <a:pt x="3980" y="16785"/>
                    <a:pt x="3980" y="16781"/>
                  </a:cubicBezTo>
                  <a:cubicBezTo>
                    <a:pt x="3982" y="16628"/>
                    <a:pt x="4001" y="16538"/>
                    <a:pt x="4020" y="16483"/>
                  </a:cubicBezTo>
                  <a:cubicBezTo>
                    <a:pt x="4030" y="16456"/>
                    <a:pt x="4040" y="16438"/>
                    <a:pt x="4048" y="16426"/>
                  </a:cubicBezTo>
                  <a:cubicBezTo>
                    <a:pt x="4052" y="16420"/>
                    <a:pt x="4055" y="16415"/>
                    <a:pt x="4058" y="16412"/>
                  </a:cubicBezTo>
                  <a:cubicBezTo>
                    <a:pt x="4059" y="16411"/>
                    <a:pt x="4060" y="16409"/>
                    <a:pt x="4060" y="16409"/>
                  </a:cubicBezTo>
                  <a:cubicBezTo>
                    <a:pt x="4060" y="16409"/>
                    <a:pt x="4061" y="16408"/>
                    <a:pt x="4061" y="16408"/>
                  </a:cubicBezTo>
                  <a:cubicBezTo>
                    <a:pt x="4061" y="16408"/>
                    <a:pt x="4061" y="16408"/>
                    <a:pt x="4061" y="16408"/>
                  </a:cubicBezTo>
                  <a:cubicBezTo>
                    <a:pt x="4061" y="16408"/>
                    <a:pt x="4061" y="16408"/>
                    <a:pt x="4061" y="16408"/>
                  </a:cubicBezTo>
                  <a:cubicBezTo>
                    <a:pt x="4064" y="16403"/>
                    <a:pt x="4064" y="16404"/>
                    <a:pt x="4066" y="16403"/>
                  </a:cubicBezTo>
                  <a:cubicBezTo>
                    <a:pt x="4081" y="16389"/>
                    <a:pt x="4180" y="16319"/>
                    <a:pt x="4276" y="16251"/>
                  </a:cubicBezTo>
                  <a:cubicBezTo>
                    <a:pt x="4345" y="16202"/>
                    <a:pt x="4411" y="16156"/>
                    <a:pt x="4444" y="16133"/>
                  </a:cubicBezTo>
                  <a:cubicBezTo>
                    <a:pt x="4438" y="16104"/>
                    <a:pt x="4423" y="16018"/>
                    <a:pt x="4404" y="15924"/>
                  </a:cubicBezTo>
                  <a:cubicBezTo>
                    <a:pt x="4381" y="15807"/>
                    <a:pt x="4354" y="15676"/>
                    <a:pt x="4336" y="15623"/>
                  </a:cubicBezTo>
                  <a:cubicBezTo>
                    <a:pt x="4322" y="15580"/>
                    <a:pt x="4239" y="15431"/>
                    <a:pt x="4160" y="15297"/>
                  </a:cubicBezTo>
                  <a:cubicBezTo>
                    <a:pt x="4089" y="15174"/>
                    <a:pt x="4020" y="15061"/>
                    <a:pt x="4009" y="15042"/>
                  </a:cubicBezTo>
                  <a:cubicBezTo>
                    <a:pt x="3999" y="15034"/>
                    <a:pt x="3999" y="15034"/>
                    <a:pt x="3999" y="15034"/>
                  </a:cubicBezTo>
                  <a:cubicBezTo>
                    <a:pt x="2916" y="15639"/>
                    <a:pt x="2916" y="15639"/>
                    <a:pt x="2916" y="15639"/>
                  </a:cubicBezTo>
                  <a:cubicBezTo>
                    <a:pt x="2915" y="15639"/>
                    <a:pt x="2915" y="15639"/>
                    <a:pt x="2915" y="15639"/>
                  </a:cubicBezTo>
                  <a:cubicBezTo>
                    <a:pt x="2915" y="15639"/>
                    <a:pt x="2897" y="15645"/>
                    <a:pt x="2870" y="15659"/>
                  </a:cubicBezTo>
                  <a:cubicBezTo>
                    <a:pt x="2789" y="15700"/>
                    <a:pt x="2629" y="15805"/>
                    <a:pt x="2629" y="16006"/>
                  </a:cubicBezTo>
                  <a:cubicBezTo>
                    <a:pt x="2629" y="16105"/>
                    <a:pt x="2626" y="16352"/>
                    <a:pt x="2626" y="16629"/>
                  </a:cubicBezTo>
                  <a:cubicBezTo>
                    <a:pt x="2626" y="16647"/>
                    <a:pt x="2626" y="16667"/>
                    <a:pt x="2626" y="16685"/>
                  </a:cubicBezTo>
                  <a:cubicBezTo>
                    <a:pt x="2628" y="16686"/>
                    <a:pt x="2630" y="16686"/>
                    <a:pt x="2632" y="16686"/>
                  </a:cubicBezTo>
                  <a:cubicBezTo>
                    <a:pt x="2692" y="16680"/>
                    <a:pt x="2838" y="16664"/>
                    <a:pt x="2985" y="16647"/>
                  </a:cubicBezTo>
                  <a:cubicBezTo>
                    <a:pt x="3080" y="16636"/>
                    <a:pt x="3175" y="16624"/>
                    <a:pt x="3247" y="16615"/>
                  </a:cubicBezTo>
                  <a:cubicBezTo>
                    <a:pt x="3282" y="16610"/>
                    <a:pt x="3312" y="16606"/>
                    <a:pt x="3333" y="16603"/>
                  </a:cubicBezTo>
                  <a:cubicBezTo>
                    <a:pt x="3343" y="16601"/>
                    <a:pt x="3351" y="16600"/>
                    <a:pt x="3356" y="16598"/>
                  </a:cubicBezTo>
                  <a:cubicBezTo>
                    <a:pt x="3357" y="16598"/>
                    <a:pt x="3358" y="16598"/>
                    <a:pt x="3359" y="16598"/>
                  </a:cubicBezTo>
                  <a:cubicBezTo>
                    <a:pt x="3361" y="16596"/>
                    <a:pt x="3363" y="16595"/>
                    <a:pt x="3367" y="16595"/>
                  </a:cubicBezTo>
                  <a:cubicBezTo>
                    <a:pt x="3376" y="16596"/>
                    <a:pt x="3378" y="16599"/>
                    <a:pt x="3379" y="16601"/>
                  </a:cubicBezTo>
                  <a:cubicBezTo>
                    <a:pt x="3379" y="16601"/>
                    <a:pt x="3379" y="16601"/>
                    <a:pt x="3379" y="16601"/>
                  </a:cubicBezTo>
                  <a:cubicBezTo>
                    <a:pt x="3379" y="16601"/>
                    <a:pt x="3379" y="16602"/>
                    <a:pt x="3380" y="16603"/>
                  </a:cubicBezTo>
                  <a:cubicBezTo>
                    <a:pt x="3380" y="16604"/>
                    <a:pt x="3380" y="16605"/>
                    <a:pt x="3381" y="16606"/>
                  </a:cubicBezTo>
                  <a:cubicBezTo>
                    <a:pt x="3381" y="16606"/>
                    <a:pt x="3381" y="16606"/>
                    <a:pt x="3381" y="16606"/>
                  </a:cubicBezTo>
                  <a:cubicBezTo>
                    <a:pt x="3381" y="16607"/>
                    <a:pt x="3381" y="16607"/>
                    <a:pt x="3381" y="16608"/>
                  </a:cubicBezTo>
                  <a:cubicBezTo>
                    <a:pt x="3381" y="16609"/>
                    <a:pt x="3381" y="16609"/>
                    <a:pt x="3381" y="16609"/>
                  </a:cubicBezTo>
                  <a:cubicBezTo>
                    <a:pt x="3382" y="16622"/>
                    <a:pt x="3394" y="16702"/>
                    <a:pt x="3405" y="16779"/>
                  </a:cubicBezTo>
                  <a:cubicBezTo>
                    <a:pt x="3417" y="16861"/>
                    <a:pt x="3430" y="16942"/>
                    <a:pt x="3430" y="16942"/>
                  </a:cubicBezTo>
                  <a:cubicBezTo>
                    <a:pt x="3404" y="16946"/>
                    <a:pt x="3404" y="16946"/>
                    <a:pt x="3404" y="16946"/>
                  </a:cubicBezTo>
                  <a:cubicBezTo>
                    <a:pt x="3404" y="16946"/>
                    <a:pt x="3404" y="16946"/>
                    <a:pt x="3404" y="16946"/>
                  </a:cubicBezTo>
                  <a:cubicBezTo>
                    <a:pt x="3404" y="16946"/>
                    <a:pt x="3391" y="16865"/>
                    <a:pt x="3379" y="16783"/>
                  </a:cubicBezTo>
                  <a:cubicBezTo>
                    <a:pt x="3370" y="16719"/>
                    <a:pt x="3360" y="16655"/>
                    <a:pt x="3356" y="16625"/>
                  </a:cubicBezTo>
                  <a:cubicBezTo>
                    <a:pt x="3264" y="16644"/>
                    <a:pt x="2766" y="16698"/>
                    <a:pt x="2637" y="16712"/>
                  </a:cubicBezTo>
                  <a:cubicBezTo>
                    <a:pt x="2626" y="16716"/>
                    <a:pt x="2626" y="16716"/>
                    <a:pt x="2626" y="16716"/>
                  </a:cubicBezTo>
                  <a:cubicBezTo>
                    <a:pt x="2626" y="16783"/>
                    <a:pt x="2627" y="16851"/>
                    <a:pt x="2627" y="16920"/>
                  </a:cubicBezTo>
                  <a:cubicBezTo>
                    <a:pt x="2628" y="16973"/>
                    <a:pt x="2629" y="17026"/>
                    <a:pt x="2629" y="17078"/>
                  </a:cubicBezTo>
                  <a:cubicBezTo>
                    <a:pt x="2633" y="17078"/>
                    <a:pt x="2637" y="17079"/>
                    <a:pt x="2641" y="17080"/>
                  </a:cubicBezTo>
                  <a:lnTo>
                    <a:pt x="3982" y="16849"/>
                  </a:lnTo>
                  <a:close/>
                  <a:moveTo>
                    <a:pt x="4455" y="17145"/>
                  </a:moveTo>
                  <a:cubicBezTo>
                    <a:pt x="4452" y="17126"/>
                    <a:pt x="4451" y="17104"/>
                    <a:pt x="4450" y="17078"/>
                  </a:cubicBezTo>
                  <a:cubicBezTo>
                    <a:pt x="4448" y="17039"/>
                    <a:pt x="4448" y="16995"/>
                    <a:pt x="4444" y="16958"/>
                  </a:cubicBezTo>
                  <a:cubicBezTo>
                    <a:pt x="4443" y="16940"/>
                    <a:pt x="4442" y="16922"/>
                    <a:pt x="4442" y="16902"/>
                  </a:cubicBezTo>
                  <a:cubicBezTo>
                    <a:pt x="4442" y="16829"/>
                    <a:pt x="4457" y="16738"/>
                    <a:pt x="4511" y="16532"/>
                  </a:cubicBezTo>
                  <a:cubicBezTo>
                    <a:pt x="4525" y="16480"/>
                    <a:pt x="4531" y="16433"/>
                    <a:pt x="4531" y="16392"/>
                  </a:cubicBezTo>
                  <a:cubicBezTo>
                    <a:pt x="4531" y="16312"/>
                    <a:pt x="4510" y="16252"/>
                    <a:pt x="4490" y="16212"/>
                  </a:cubicBezTo>
                  <a:cubicBezTo>
                    <a:pt x="4480" y="16192"/>
                    <a:pt x="4470" y="16177"/>
                    <a:pt x="4462" y="16167"/>
                  </a:cubicBezTo>
                  <a:cubicBezTo>
                    <a:pt x="4462" y="16166"/>
                    <a:pt x="4461" y="16166"/>
                    <a:pt x="4461" y="16165"/>
                  </a:cubicBezTo>
                  <a:cubicBezTo>
                    <a:pt x="4425" y="16190"/>
                    <a:pt x="4357" y="16238"/>
                    <a:pt x="4288" y="16287"/>
                  </a:cubicBezTo>
                  <a:cubicBezTo>
                    <a:pt x="4238" y="16322"/>
                    <a:pt x="4188" y="16357"/>
                    <a:pt x="4151" y="16384"/>
                  </a:cubicBezTo>
                  <a:cubicBezTo>
                    <a:pt x="4132" y="16398"/>
                    <a:pt x="4116" y="16409"/>
                    <a:pt x="4105" y="16418"/>
                  </a:cubicBezTo>
                  <a:cubicBezTo>
                    <a:pt x="4100" y="16422"/>
                    <a:pt x="4095" y="16425"/>
                    <a:pt x="4092" y="16427"/>
                  </a:cubicBezTo>
                  <a:cubicBezTo>
                    <a:pt x="4091" y="16428"/>
                    <a:pt x="4091" y="16429"/>
                    <a:pt x="4090" y="16429"/>
                  </a:cubicBezTo>
                  <a:cubicBezTo>
                    <a:pt x="4088" y="16432"/>
                    <a:pt x="4087" y="16433"/>
                    <a:pt x="4086" y="16435"/>
                  </a:cubicBezTo>
                  <a:cubicBezTo>
                    <a:pt x="4073" y="16451"/>
                    <a:pt x="4020" y="16519"/>
                    <a:pt x="4016" y="16781"/>
                  </a:cubicBezTo>
                  <a:cubicBezTo>
                    <a:pt x="4016" y="16785"/>
                    <a:pt x="4016" y="16789"/>
                    <a:pt x="4016" y="16794"/>
                  </a:cubicBezTo>
                  <a:cubicBezTo>
                    <a:pt x="4016" y="16936"/>
                    <a:pt x="4051" y="17013"/>
                    <a:pt x="4098" y="17058"/>
                  </a:cubicBezTo>
                  <a:cubicBezTo>
                    <a:pt x="4146" y="17103"/>
                    <a:pt x="4211" y="17119"/>
                    <a:pt x="4279" y="17131"/>
                  </a:cubicBezTo>
                  <a:cubicBezTo>
                    <a:pt x="4330" y="17139"/>
                    <a:pt x="4391" y="17143"/>
                    <a:pt x="4455" y="17145"/>
                  </a:cubicBezTo>
                  <a:close/>
                  <a:moveTo>
                    <a:pt x="5716" y="17420"/>
                  </a:moveTo>
                  <a:cubicBezTo>
                    <a:pt x="5796" y="17437"/>
                    <a:pt x="5888" y="17458"/>
                    <a:pt x="5973" y="17479"/>
                  </a:cubicBezTo>
                  <a:cubicBezTo>
                    <a:pt x="5978" y="17438"/>
                    <a:pt x="5992" y="17309"/>
                    <a:pt x="6000" y="17164"/>
                  </a:cubicBezTo>
                  <a:cubicBezTo>
                    <a:pt x="6005" y="17081"/>
                    <a:pt x="6006" y="16985"/>
                    <a:pt x="6006" y="16900"/>
                  </a:cubicBezTo>
                  <a:cubicBezTo>
                    <a:pt x="6006" y="16823"/>
                    <a:pt x="6005" y="16755"/>
                    <a:pt x="6004" y="16716"/>
                  </a:cubicBezTo>
                  <a:cubicBezTo>
                    <a:pt x="6002" y="16631"/>
                    <a:pt x="5979" y="16482"/>
                    <a:pt x="5956" y="16355"/>
                  </a:cubicBezTo>
                  <a:cubicBezTo>
                    <a:pt x="5938" y="16256"/>
                    <a:pt x="5921" y="16171"/>
                    <a:pt x="5914" y="16138"/>
                  </a:cubicBezTo>
                  <a:cubicBezTo>
                    <a:pt x="4494" y="16150"/>
                    <a:pt x="4494" y="16150"/>
                    <a:pt x="4494" y="16150"/>
                  </a:cubicBezTo>
                  <a:cubicBezTo>
                    <a:pt x="4521" y="16186"/>
                    <a:pt x="4567" y="16267"/>
                    <a:pt x="4567" y="16392"/>
                  </a:cubicBezTo>
                  <a:cubicBezTo>
                    <a:pt x="4567" y="16436"/>
                    <a:pt x="4561" y="16486"/>
                    <a:pt x="4546" y="16541"/>
                  </a:cubicBezTo>
                  <a:cubicBezTo>
                    <a:pt x="4492" y="16747"/>
                    <a:pt x="4478" y="16835"/>
                    <a:pt x="4478" y="16902"/>
                  </a:cubicBezTo>
                  <a:cubicBezTo>
                    <a:pt x="4478" y="16920"/>
                    <a:pt x="4479" y="16937"/>
                    <a:pt x="4480" y="16955"/>
                  </a:cubicBezTo>
                  <a:cubicBezTo>
                    <a:pt x="4484" y="16999"/>
                    <a:pt x="4484" y="17051"/>
                    <a:pt x="4486" y="17092"/>
                  </a:cubicBezTo>
                  <a:cubicBezTo>
                    <a:pt x="4487" y="17112"/>
                    <a:pt x="4489" y="17130"/>
                    <a:pt x="4491" y="17141"/>
                  </a:cubicBezTo>
                  <a:cubicBezTo>
                    <a:pt x="4491" y="17142"/>
                    <a:pt x="4491" y="17144"/>
                    <a:pt x="4492" y="17145"/>
                  </a:cubicBezTo>
                  <a:cubicBezTo>
                    <a:pt x="4495" y="17145"/>
                    <a:pt x="4497" y="17145"/>
                    <a:pt x="4500" y="17145"/>
                  </a:cubicBezTo>
                  <a:cubicBezTo>
                    <a:pt x="4591" y="17145"/>
                    <a:pt x="4683" y="17141"/>
                    <a:pt x="4753" y="17138"/>
                  </a:cubicBezTo>
                  <a:cubicBezTo>
                    <a:pt x="4787" y="17137"/>
                    <a:pt x="4821" y="17135"/>
                    <a:pt x="4854" y="17135"/>
                  </a:cubicBezTo>
                  <a:cubicBezTo>
                    <a:pt x="4899" y="17135"/>
                    <a:pt x="4941" y="17139"/>
                    <a:pt x="4979" y="17162"/>
                  </a:cubicBezTo>
                  <a:cubicBezTo>
                    <a:pt x="5016" y="17184"/>
                    <a:pt x="5046" y="17224"/>
                    <a:pt x="5064" y="17286"/>
                  </a:cubicBezTo>
                  <a:cubicBezTo>
                    <a:pt x="5066" y="17293"/>
                    <a:pt x="5068" y="17302"/>
                    <a:pt x="5070" y="17311"/>
                  </a:cubicBezTo>
                  <a:cubicBezTo>
                    <a:pt x="5070" y="17310"/>
                    <a:pt x="5070" y="17310"/>
                    <a:pt x="5070" y="17310"/>
                  </a:cubicBezTo>
                  <a:cubicBezTo>
                    <a:pt x="5071" y="17310"/>
                    <a:pt x="5556" y="17388"/>
                    <a:pt x="5716" y="17420"/>
                  </a:cubicBezTo>
                  <a:close/>
                  <a:moveTo>
                    <a:pt x="6810" y="17658"/>
                  </a:moveTo>
                  <a:cubicBezTo>
                    <a:pt x="6848" y="17573"/>
                    <a:pt x="7026" y="17168"/>
                    <a:pt x="7202" y="16769"/>
                  </a:cubicBezTo>
                  <a:cubicBezTo>
                    <a:pt x="7298" y="16549"/>
                    <a:pt x="7394" y="16331"/>
                    <a:pt x="7466" y="16168"/>
                  </a:cubicBezTo>
                  <a:cubicBezTo>
                    <a:pt x="7496" y="16099"/>
                    <a:pt x="7522" y="16040"/>
                    <a:pt x="7542" y="15995"/>
                  </a:cubicBezTo>
                  <a:cubicBezTo>
                    <a:pt x="6310" y="15958"/>
                    <a:pt x="6310" y="15958"/>
                    <a:pt x="6310" y="15958"/>
                  </a:cubicBezTo>
                  <a:cubicBezTo>
                    <a:pt x="6310" y="16012"/>
                    <a:pt x="6309" y="16292"/>
                    <a:pt x="6302" y="16488"/>
                  </a:cubicBezTo>
                  <a:cubicBezTo>
                    <a:pt x="6299" y="16556"/>
                    <a:pt x="6282" y="16613"/>
                    <a:pt x="6244" y="16650"/>
                  </a:cubicBezTo>
                  <a:cubicBezTo>
                    <a:pt x="6188" y="16703"/>
                    <a:pt x="6109" y="16713"/>
                    <a:pt x="6061" y="16713"/>
                  </a:cubicBezTo>
                  <a:cubicBezTo>
                    <a:pt x="6053" y="16713"/>
                    <a:pt x="6047" y="16713"/>
                    <a:pt x="6040" y="16713"/>
                  </a:cubicBezTo>
                  <a:cubicBezTo>
                    <a:pt x="6040" y="16713"/>
                    <a:pt x="6040" y="16714"/>
                    <a:pt x="6040" y="16715"/>
                  </a:cubicBezTo>
                  <a:cubicBezTo>
                    <a:pt x="6041" y="16755"/>
                    <a:pt x="6043" y="16822"/>
                    <a:pt x="6043" y="16900"/>
                  </a:cubicBezTo>
                  <a:cubicBezTo>
                    <a:pt x="6043" y="16985"/>
                    <a:pt x="6041" y="17082"/>
                    <a:pt x="6036" y="17166"/>
                  </a:cubicBezTo>
                  <a:cubicBezTo>
                    <a:pt x="6028" y="17318"/>
                    <a:pt x="6013" y="17452"/>
                    <a:pt x="6009" y="17488"/>
                  </a:cubicBezTo>
                  <a:cubicBezTo>
                    <a:pt x="6081" y="17506"/>
                    <a:pt x="6147" y="17523"/>
                    <a:pt x="6194" y="17535"/>
                  </a:cubicBezTo>
                  <a:cubicBezTo>
                    <a:pt x="6308" y="17564"/>
                    <a:pt x="6384" y="17616"/>
                    <a:pt x="6763" y="17653"/>
                  </a:cubicBezTo>
                  <a:cubicBezTo>
                    <a:pt x="6778" y="17654"/>
                    <a:pt x="6794" y="17656"/>
                    <a:pt x="6810" y="17658"/>
                  </a:cubicBezTo>
                  <a:close/>
                  <a:moveTo>
                    <a:pt x="8559" y="16295"/>
                  </a:moveTo>
                  <a:cubicBezTo>
                    <a:pt x="8560" y="16225"/>
                    <a:pt x="8575" y="15450"/>
                    <a:pt x="8579" y="15400"/>
                  </a:cubicBezTo>
                  <a:cubicBezTo>
                    <a:pt x="8594" y="15269"/>
                    <a:pt x="8669" y="15199"/>
                    <a:pt x="8741" y="15166"/>
                  </a:cubicBezTo>
                  <a:cubicBezTo>
                    <a:pt x="8746" y="15163"/>
                    <a:pt x="8752" y="15161"/>
                    <a:pt x="8757" y="15159"/>
                  </a:cubicBezTo>
                  <a:cubicBezTo>
                    <a:pt x="8702" y="15120"/>
                    <a:pt x="8477" y="14964"/>
                    <a:pt x="8252" y="14807"/>
                  </a:cubicBezTo>
                  <a:cubicBezTo>
                    <a:pt x="8123" y="14717"/>
                    <a:pt x="7993" y="14626"/>
                    <a:pt x="7896" y="14558"/>
                  </a:cubicBezTo>
                  <a:cubicBezTo>
                    <a:pt x="7878" y="14545"/>
                    <a:pt x="7862" y="14534"/>
                    <a:pt x="7846" y="14523"/>
                  </a:cubicBezTo>
                  <a:cubicBezTo>
                    <a:pt x="7619" y="15909"/>
                    <a:pt x="7619" y="15909"/>
                    <a:pt x="7619" y="15909"/>
                  </a:cubicBezTo>
                  <a:cubicBezTo>
                    <a:pt x="7618" y="15911"/>
                    <a:pt x="7618" y="15911"/>
                    <a:pt x="7618" y="15911"/>
                  </a:cubicBezTo>
                  <a:cubicBezTo>
                    <a:pt x="7618" y="15911"/>
                    <a:pt x="7423" y="16355"/>
                    <a:pt x="7228" y="16799"/>
                  </a:cubicBezTo>
                  <a:cubicBezTo>
                    <a:pt x="7130" y="17021"/>
                    <a:pt x="7032" y="17243"/>
                    <a:pt x="6959" y="17410"/>
                  </a:cubicBezTo>
                  <a:cubicBezTo>
                    <a:pt x="6922" y="17494"/>
                    <a:pt x="6891" y="17564"/>
                    <a:pt x="6869" y="17613"/>
                  </a:cubicBezTo>
                  <a:cubicBezTo>
                    <a:pt x="6860" y="17634"/>
                    <a:pt x="6852" y="17651"/>
                    <a:pt x="6847" y="17664"/>
                  </a:cubicBezTo>
                  <a:cubicBezTo>
                    <a:pt x="7214" y="17725"/>
                    <a:pt x="7625" y="17940"/>
                    <a:pt x="7626" y="17940"/>
                  </a:cubicBezTo>
                  <a:cubicBezTo>
                    <a:pt x="7646" y="17952"/>
                    <a:pt x="7646" y="17952"/>
                    <a:pt x="7646" y="17952"/>
                  </a:cubicBezTo>
                  <a:lnTo>
                    <a:pt x="8559" y="16295"/>
                  </a:lnTo>
                  <a:close/>
                  <a:moveTo>
                    <a:pt x="11352" y="16170"/>
                  </a:moveTo>
                  <a:cubicBezTo>
                    <a:pt x="11342" y="16162"/>
                    <a:pt x="11331" y="16155"/>
                    <a:pt x="11321" y="16147"/>
                  </a:cubicBezTo>
                  <a:cubicBezTo>
                    <a:pt x="11027" y="15935"/>
                    <a:pt x="10685" y="15698"/>
                    <a:pt x="10525" y="15575"/>
                  </a:cubicBezTo>
                  <a:cubicBezTo>
                    <a:pt x="10377" y="15462"/>
                    <a:pt x="10132" y="15275"/>
                    <a:pt x="10096" y="15248"/>
                  </a:cubicBezTo>
                  <a:cubicBezTo>
                    <a:pt x="8890" y="15167"/>
                    <a:pt x="8890" y="15167"/>
                    <a:pt x="8890" y="15167"/>
                  </a:cubicBezTo>
                  <a:cubicBezTo>
                    <a:pt x="8884" y="15167"/>
                    <a:pt x="8820" y="15168"/>
                    <a:pt x="8756" y="15198"/>
                  </a:cubicBezTo>
                  <a:cubicBezTo>
                    <a:pt x="8692" y="15229"/>
                    <a:pt x="8629" y="15285"/>
                    <a:pt x="8615" y="15404"/>
                  </a:cubicBezTo>
                  <a:cubicBezTo>
                    <a:pt x="8612" y="15447"/>
                    <a:pt x="8597" y="16195"/>
                    <a:pt x="8595" y="16290"/>
                  </a:cubicBezTo>
                  <a:cubicBezTo>
                    <a:pt x="8624" y="16307"/>
                    <a:pt x="8722" y="16367"/>
                    <a:pt x="8834" y="16430"/>
                  </a:cubicBezTo>
                  <a:cubicBezTo>
                    <a:pt x="8967" y="16506"/>
                    <a:pt x="9120" y="16588"/>
                    <a:pt x="9194" y="16609"/>
                  </a:cubicBezTo>
                  <a:cubicBezTo>
                    <a:pt x="9348" y="16653"/>
                    <a:pt x="9536" y="16694"/>
                    <a:pt x="9686" y="16756"/>
                  </a:cubicBezTo>
                  <a:cubicBezTo>
                    <a:pt x="9761" y="16788"/>
                    <a:pt x="9862" y="16849"/>
                    <a:pt x="9950" y="16912"/>
                  </a:cubicBezTo>
                  <a:cubicBezTo>
                    <a:pt x="10039" y="16974"/>
                    <a:pt x="10114" y="17036"/>
                    <a:pt x="10142" y="17072"/>
                  </a:cubicBezTo>
                  <a:cubicBezTo>
                    <a:pt x="10147" y="17079"/>
                    <a:pt x="10152" y="17089"/>
                    <a:pt x="10158" y="17101"/>
                  </a:cubicBezTo>
                  <a:cubicBezTo>
                    <a:pt x="10209" y="17061"/>
                    <a:pt x="10481" y="16848"/>
                    <a:pt x="10755" y="16633"/>
                  </a:cubicBezTo>
                  <a:cubicBezTo>
                    <a:pt x="10907" y="16514"/>
                    <a:pt x="11060" y="16395"/>
                    <a:pt x="11175" y="16306"/>
                  </a:cubicBezTo>
                  <a:cubicBezTo>
                    <a:pt x="11233" y="16261"/>
                    <a:pt x="11281" y="16224"/>
                    <a:pt x="11316" y="16197"/>
                  </a:cubicBezTo>
                  <a:cubicBezTo>
                    <a:pt x="11331" y="16186"/>
                    <a:pt x="11342" y="16177"/>
                    <a:pt x="11352" y="16170"/>
                  </a:cubicBezTo>
                  <a:close/>
                  <a:moveTo>
                    <a:pt x="13767" y="16037"/>
                  </a:moveTo>
                  <a:cubicBezTo>
                    <a:pt x="13766" y="16036"/>
                    <a:pt x="13766" y="16036"/>
                    <a:pt x="13766" y="16036"/>
                  </a:cubicBezTo>
                  <a:cubicBezTo>
                    <a:pt x="13766" y="16036"/>
                    <a:pt x="13766" y="16036"/>
                    <a:pt x="13766" y="16036"/>
                  </a:cubicBezTo>
                  <a:lnTo>
                    <a:pt x="13767" y="16037"/>
                  </a:lnTo>
                  <a:close/>
                  <a:moveTo>
                    <a:pt x="15469" y="13222"/>
                  </a:moveTo>
                  <a:cubicBezTo>
                    <a:pt x="15466" y="13232"/>
                    <a:pt x="15464" y="13239"/>
                    <a:pt x="15461" y="13245"/>
                  </a:cubicBezTo>
                  <a:cubicBezTo>
                    <a:pt x="15459" y="13251"/>
                    <a:pt x="15456" y="13256"/>
                    <a:pt x="15453" y="13260"/>
                  </a:cubicBezTo>
                  <a:cubicBezTo>
                    <a:pt x="15451" y="13262"/>
                    <a:pt x="15448" y="13264"/>
                    <a:pt x="15445" y="13266"/>
                  </a:cubicBezTo>
                  <a:cubicBezTo>
                    <a:pt x="15434" y="13287"/>
                    <a:pt x="15397" y="13351"/>
                    <a:pt x="15324" y="13447"/>
                  </a:cubicBezTo>
                  <a:cubicBezTo>
                    <a:pt x="15216" y="13587"/>
                    <a:pt x="15048" y="13809"/>
                    <a:pt x="14992" y="13915"/>
                  </a:cubicBezTo>
                  <a:cubicBezTo>
                    <a:pt x="14991" y="13917"/>
                    <a:pt x="14991" y="13917"/>
                    <a:pt x="14991" y="13917"/>
                  </a:cubicBezTo>
                  <a:cubicBezTo>
                    <a:pt x="14989" y="13919"/>
                    <a:pt x="14989" y="13919"/>
                    <a:pt x="14989" y="13919"/>
                  </a:cubicBezTo>
                  <a:cubicBezTo>
                    <a:pt x="14989" y="13919"/>
                    <a:pt x="14988" y="13919"/>
                    <a:pt x="14986" y="13922"/>
                  </a:cubicBezTo>
                  <a:cubicBezTo>
                    <a:pt x="14972" y="13941"/>
                    <a:pt x="14903" y="14046"/>
                    <a:pt x="14863" y="14353"/>
                  </a:cubicBezTo>
                  <a:cubicBezTo>
                    <a:pt x="14840" y="14529"/>
                    <a:pt x="14820" y="14738"/>
                    <a:pt x="14807" y="14902"/>
                  </a:cubicBezTo>
                  <a:cubicBezTo>
                    <a:pt x="14793" y="15066"/>
                    <a:pt x="14785" y="15186"/>
                    <a:pt x="14785" y="15186"/>
                  </a:cubicBezTo>
                  <a:cubicBezTo>
                    <a:pt x="14785" y="15186"/>
                    <a:pt x="14785" y="15186"/>
                    <a:pt x="14785" y="15186"/>
                  </a:cubicBezTo>
                  <a:cubicBezTo>
                    <a:pt x="14784" y="15187"/>
                    <a:pt x="14784" y="15187"/>
                    <a:pt x="14784" y="15187"/>
                  </a:cubicBezTo>
                  <a:cubicBezTo>
                    <a:pt x="14784" y="15188"/>
                    <a:pt x="14755" y="15419"/>
                    <a:pt x="14616" y="15671"/>
                  </a:cubicBezTo>
                  <a:cubicBezTo>
                    <a:pt x="14546" y="15796"/>
                    <a:pt x="14529" y="15956"/>
                    <a:pt x="14529" y="16079"/>
                  </a:cubicBezTo>
                  <a:cubicBezTo>
                    <a:pt x="14529" y="16177"/>
                    <a:pt x="14539" y="16250"/>
                    <a:pt x="14542" y="16266"/>
                  </a:cubicBezTo>
                  <a:cubicBezTo>
                    <a:pt x="15359" y="16254"/>
                    <a:pt x="16562" y="16235"/>
                    <a:pt x="16680" y="16235"/>
                  </a:cubicBezTo>
                  <a:cubicBezTo>
                    <a:pt x="16683" y="16235"/>
                    <a:pt x="16685" y="16235"/>
                    <a:pt x="16687" y="16235"/>
                  </a:cubicBezTo>
                  <a:cubicBezTo>
                    <a:pt x="16688" y="16235"/>
                    <a:pt x="16688" y="16235"/>
                    <a:pt x="16689" y="16235"/>
                  </a:cubicBezTo>
                  <a:cubicBezTo>
                    <a:pt x="16689" y="16235"/>
                    <a:pt x="16690" y="16235"/>
                    <a:pt x="16690" y="16236"/>
                  </a:cubicBezTo>
                  <a:cubicBezTo>
                    <a:pt x="16691" y="16236"/>
                    <a:pt x="16691" y="16236"/>
                    <a:pt x="16692" y="16236"/>
                  </a:cubicBezTo>
                  <a:cubicBezTo>
                    <a:pt x="16692" y="16236"/>
                    <a:pt x="16692" y="16236"/>
                    <a:pt x="16692" y="16236"/>
                  </a:cubicBezTo>
                  <a:cubicBezTo>
                    <a:pt x="16695" y="16236"/>
                    <a:pt x="16702" y="16236"/>
                    <a:pt x="16711" y="16236"/>
                  </a:cubicBezTo>
                  <a:cubicBezTo>
                    <a:pt x="16763" y="16236"/>
                    <a:pt x="16902" y="16239"/>
                    <a:pt x="17076" y="16286"/>
                  </a:cubicBezTo>
                  <a:cubicBezTo>
                    <a:pt x="17076" y="16285"/>
                    <a:pt x="17088" y="16267"/>
                    <a:pt x="17106" y="16233"/>
                  </a:cubicBezTo>
                  <a:cubicBezTo>
                    <a:pt x="17161" y="16127"/>
                    <a:pt x="17272" y="15874"/>
                    <a:pt x="17272" y="15543"/>
                  </a:cubicBezTo>
                  <a:cubicBezTo>
                    <a:pt x="17272" y="15405"/>
                    <a:pt x="17252" y="15253"/>
                    <a:pt x="17201" y="15093"/>
                  </a:cubicBezTo>
                  <a:cubicBezTo>
                    <a:pt x="17201" y="15092"/>
                    <a:pt x="17201" y="15092"/>
                    <a:pt x="17201" y="15092"/>
                  </a:cubicBezTo>
                  <a:cubicBezTo>
                    <a:pt x="17201" y="15090"/>
                    <a:pt x="17201" y="15090"/>
                    <a:pt x="17201" y="15090"/>
                  </a:cubicBezTo>
                  <a:cubicBezTo>
                    <a:pt x="17201" y="15090"/>
                    <a:pt x="17192" y="15044"/>
                    <a:pt x="17170" y="14965"/>
                  </a:cubicBezTo>
                  <a:cubicBezTo>
                    <a:pt x="17104" y="14728"/>
                    <a:pt x="16916" y="14198"/>
                    <a:pt x="16477" y="13766"/>
                  </a:cubicBezTo>
                  <a:cubicBezTo>
                    <a:pt x="16112" y="13407"/>
                    <a:pt x="15657" y="13268"/>
                    <a:pt x="15469" y="13222"/>
                  </a:cubicBezTo>
                  <a:close/>
                  <a:moveTo>
                    <a:pt x="15391" y="13205"/>
                  </a:moveTo>
                  <a:cubicBezTo>
                    <a:pt x="14189" y="12969"/>
                    <a:pt x="14189" y="12969"/>
                    <a:pt x="14189" y="12969"/>
                  </a:cubicBezTo>
                  <a:cubicBezTo>
                    <a:pt x="14179" y="12968"/>
                    <a:pt x="14179" y="12968"/>
                    <a:pt x="14179" y="12968"/>
                  </a:cubicBezTo>
                  <a:cubicBezTo>
                    <a:pt x="14046" y="13773"/>
                    <a:pt x="13862" y="14889"/>
                    <a:pt x="13806" y="15246"/>
                  </a:cubicBezTo>
                  <a:cubicBezTo>
                    <a:pt x="13763" y="15512"/>
                    <a:pt x="13752" y="15698"/>
                    <a:pt x="13752" y="15820"/>
                  </a:cubicBezTo>
                  <a:cubicBezTo>
                    <a:pt x="13752" y="15891"/>
                    <a:pt x="13756" y="15941"/>
                    <a:pt x="13760" y="15972"/>
                  </a:cubicBezTo>
                  <a:cubicBezTo>
                    <a:pt x="13761" y="15987"/>
                    <a:pt x="13763" y="15998"/>
                    <a:pt x="13764" y="16005"/>
                  </a:cubicBezTo>
                  <a:cubicBezTo>
                    <a:pt x="13765" y="16008"/>
                    <a:pt x="13765" y="16010"/>
                    <a:pt x="13766" y="16012"/>
                  </a:cubicBezTo>
                  <a:cubicBezTo>
                    <a:pt x="13766" y="16012"/>
                    <a:pt x="13766" y="16012"/>
                    <a:pt x="13766" y="16012"/>
                  </a:cubicBezTo>
                  <a:cubicBezTo>
                    <a:pt x="13766" y="16013"/>
                    <a:pt x="13766" y="16013"/>
                    <a:pt x="13766" y="16013"/>
                  </a:cubicBezTo>
                  <a:cubicBezTo>
                    <a:pt x="13766" y="16013"/>
                    <a:pt x="13766" y="16013"/>
                    <a:pt x="13766" y="16013"/>
                  </a:cubicBezTo>
                  <a:cubicBezTo>
                    <a:pt x="13767" y="16015"/>
                    <a:pt x="13767" y="16018"/>
                    <a:pt x="13767" y="16020"/>
                  </a:cubicBezTo>
                  <a:cubicBezTo>
                    <a:pt x="13768" y="16025"/>
                    <a:pt x="13768" y="16029"/>
                    <a:pt x="13767" y="16032"/>
                  </a:cubicBezTo>
                  <a:cubicBezTo>
                    <a:pt x="13768" y="16043"/>
                    <a:pt x="13771" y="16087"/>
                    <a:pt x="13776" y="16146"/>
                  </a:cubicBezTo>
                  <a:cubicBezTo>
                    <a:pt x="13779" y="16183"/>
                    <a:pt x="13783" y="16227"/>
                    <a:pt x="13787" y="16276"/>
                  </a:cubicBezTo>
                  <a:cubicBezTo>
                    <a:pt x="13805" y="16278"/>
                    <a:pt x="13805" y="16278"/>
                    <a:pt x="13805" y="16278"/>
                  </a:cubicBezTo>
                  <a:cubicBezTo>
                    <a:pt x="13879" y="16277"/>
                    <a:pt x="14153" y="16272"/>
                    <a:pt x="14505" y="16267"/>
                  </a:cubicBezTo>
                  <a:cubicBezTo>
                    <a:pt x="14502" y="16243"/>
                    <a:pt x="14493" y="16172"/>
                    <a:pt x="14493" y="16079"/>
                  </a:cubicBezTo>
                  <a:cubicBezTo>
                    <a:pt x="14493" y="15953"/>
                    <a:pt x="14510" y="15788"/>
                    <a:pt x="14584" y="15653"/>
                  </a:cubicBezTo>
                  <a:cubicBezTo>
                    <a:pt x="14652" y="15531"/>
                    <a:pt x="14693" y="15413"/>
                    <a:pt x="14717" y="15325"/>
                  </a:cubicBezTo>
                  <a:cubicBezTo>
                    <a:pt x="14729" y="15282"/>
                    <a:pt x="14737" y="15246"/>
                    <a:pt x="14742" y="15221"/>
                  </a:cubicBezTo>
                  <a:cubicBezTo>
                    <a:pt x="14747" y="15196"/>
                    <a:pt x="14749" y="15182"/>
                    <a:pt x="14749" y="15182"/>
                  </a:cubicBezTo>
                  <a:cubicBezTo>
                    <a:pt x="14750" y="15157"/>
                    <a:pt x="14783" y="14693"/>
                    <a:pt x="14827" y="14349"/>
                  </a:cubicBezTo>
                  <a:cubicBezTo>
                    <a:pt x="14870" y="14017"/>
                    <a:pt x="14948" y="13912"/>
                    <a:pt x="14961" y="13896"/>
                  </a:cubicBezTo>
                  <a:cubicBezTo>
                    <a:pt x="15021" y="13784"/>
                    <a:pt x="15187" y="13565"/>
                    <a:pt x="15295" y="13425"/>
                  </a:cubicBezTo>
                  <a:cubicBezTo>
                    <a:pt x="15340" y="13366"/>
                    <a:pt x="15371" y="13320"/>
                    <a:pt x="15390" y="13289"/>
                  </a:cubicBezTo>
                  <a:cubicBezTo>
                    <a:pt x="15409" y="13257"/>
                    <a:pt x="15417" y="13241"/>
                    <a:pt x="15417" y="13241"/>
                  </a:cubicBezTo>
                  <a:cubicBezTo>
                    <a:pt x="15429" y="13217"/>
                    <a:pt x="15429" y="13217"/>
                    <a:pt x="15429" y="13217"/>
                  </a:cubicBezTo>
                  <a:cubicBezTo>
                    <a:pt x="15432" y="13220"/>
                    <a:pt x="15432" y="13220"/>
                    <a:pt x="15432" y="13220"/>
                  </a:cubicBezTo>
                  <a:cubicBezTo>
                    <a:pt x="15432" y="13218"/>
                    <a:pt x="15433" y="13216"/>
                    <a:pt x="15433" y="13214"/>
                  </a:cubicBezTo>
                  <a:cubicBezTo>
                    <a:pt x="15414" y="13210"/>
                    <a:pt x="15399" y="13207"/>
                    <a:pt x="15391" y="13205"/>
                  </a:cubicBezTo>
                  <a:close/>
                  <a:moveTo>
                    <a:pt x="14206" y="12098"/>
                  </a:moveTo>
                  <a:cubicBezTo>
                    <a:pt x="14189" y="12100"/>
                    <a:pt x="14189" y="12100"/>
                    <a:pt x="14189" y="12100"/>
                  </a:cubicBezTo>
                  <a:cubicBezTo>
                    <a:pt x="11707" y="12794"/>
                    <a:pt x="11707" y="12794"/>
                    <a:pt x="11707" y="12794"/>
                  </a:cubicBezTo>
                  <a:cubicBezTo>
                    <a:pt x="11758" y="12852"/>
                    <a:pt x="11837" y="12932"/>
                    <a:pt x="11906" y="13000"/>
                  </a:cubicBezTo>
                  <a:cubicBezTo>
                    <a:pt x="11974" y="13067"/>
                    <a:pt x="12032" y="13123"/>
                    <a:pt x="12042" y="13131"/>
                  </a:cubicBezTo>
                  <a:cubicBezTo>
                    <a:pt x="12058" y="13142"/>
                    <a:pt x="12202" y="13231"/>
                    <a:pt x="12358" y="13327"/>
                  </a:cubicBezTo>
                  <a:cubicBezTo>
                    <a:pt x="12524" y="13428"/>
                    <a:pt x="12704" y="13536"/>
                    <a:pt x="12756" y="13559"/>
                  </a:cubicBezTo>
                  <a:cubicBezTo>
                    <a:pt x="12830" y="13590"/>
                    <a:pt x="12851" y="13632"/>
                    <a:pt x="12850" y="13661"/>
                  </a:cubicBezTo>
                  <a:cubicBezTo>
                    <a:pt x="12850" y="13674"/>
                    <a:pt x="12847" y="13683"/>
                    <a:pt x="12845" y="13687"/>
                  </a:cubicBezTo>
                  <a:cubicBezTo>
                    <a:pt x="12774" y="13890"/>
                    <a:pt x="12774" y="13890"/>
                    <a:pt x="12774" y="13890"/>
                  </a:cubicBezTo>
                  <a:cubicBezTo>
                    <a:pt x="12589" y="14175"/>
                    <a:pt x="12589" y="14175"/>
                    <a:pt x="12589" y="14175"/>
                  </a:cubicBezTo>
                  <a:cubicBezTo>
                    <a:pt x="12641" y="14413"/>
                    <a:pt x="12641" y="14413"/>
                    <a:pt x="12641" y="14413"/>
                  </a:cubicBezTo>
                  <a:cubicBezTo>
                    <a:pt x="12614" y="14408"/>
                    <a:pt x="12614" y="14408"/>
                    <a:pt x="12614" y="14408"/>
                  </a:cubicBezTo>
                  <a:cubicBezTo>
                    <a:pt x="12614" y="14408"/>
                    <a:pt x="12465" y="14381"/>
                    <a:pt x="12291" y="14349"/>
                  </a:cubicBezTo>
                  <a:cubicBezTo>
                    <a:pt x="12117" y="14318"/>
                    <a:pt x="11918" y="14283"/>
                    <a:pt x="11817" y="14268"/>
                  </a:cubicBezTo>
                  <a:cubicBezTo>
                    <a:pt x="11808" y="14266"/>
                    <a:pt x="11798" y="14266"/>
                    <a:pt x="11790" y="14266"/>
                  </a:cubicBezTo>
                  <a:cubicBezTo>
                    <a:pt x="11714" y="14266"/>
                    <a:pt x="11674" y="14319"/>
                    <a:pt x="11650" y="14378"/>
                  </a:cubicBezTo>
                  <a:cubicBezTo>
                    <a:pt x="11638" y="14407"/>
                    <a:pt x="11631" y="14437"/>
                    <a:pt x="11628" y="14460"/>
                  </a:cubicBezTo>
                  <a:cubicBezTo>
                    <a:pt x="11624" y="14479"/>
                    <a:pt x="11624" y="14492"/>
                    <a:pt x="11623" y="14495"/>
                  </a:cubicBezTo>
                  <a:cubicBezTo>
                    <a:pt x="11645" y="14878"/>
                    <a:pt x="11645" y="14878"/>
                    <a:pt x="11645" y="14878"/>
                  </a:cubicBezTo>
                  <a:cubicBezTo>
                    <a:pt x="11828" y="14964"/>
                    <a:pt x="11878" y="15091"/>
                    <a:pt x="11878" y="15195"/>
                  </a:cubicBezTo>
                  <a:cubicBezTo>
                    <a:pt x="11877" y="15297"/>
                    <a:pt x="11832" y="15375"/>
                    <a:pt x="11831" y="15377"/>
                  </a:cubicBezTo>
                  <a:cubicBezTo>
                    <a:pt x="11415" y="16174"/>
                    <a:pt x="11415" y="16174"/>
                    <a:pt x="11415" y="16174"/>
                  </a:cubicBezTo>
                  <a:cubicBezTo>
                    <a:pt x="11655" y="16370"/>
                    <a:pt x="11739" y="16556"/>
                    <a:pt x="11740" y="16557"/>
                  </a:cubicBezTo>
                  <a:cubicBezTo>
                    <a:pt x="11796" y="16689"/>
                    <a:pt x="11796" y="16689"/>
                    <a:pt x="11796" y="16689"/>
                  </a:cubicBezTo>
                  <a:cubicBezTo>
                    <a:pt x="11800" y="16687"/>
                    <a:pt x="11800" y="16687"/>
                    <a:pt x="11800" y="16687"/>
                  </a:cubicBezTo>
                  <a:cubicBezTo>
                    <a:pt x="11801" y="16687"/>
                    <a:pt x="11904" y="16648"/>
                    <a:pt x="12024" y="16601"/>
                  </a:cubicBezTo>
                  <a:cubicBezTo>
                    <a:pt x="12143" y="16554"/>
                    <a:pt x="12278" y="16499"/>
                    <a:pt x="12338" y="16469"/>
                  </a:cubicBezTo>
                  <a:cubicBezTo>
                    <a:pt x="12395" y="16440"/>
                    <a:pt x="12430" y="16422"/>
                    <a:pt x="12448" y="16401"/>
                  </a:cubicBezTo>
                  <a:cubicBezTo>
                    <a:pt x="12466" y="16380"/>
                    <a:pt x="12473" y="16354"/>
                    <a:pt x="12473" y="16297"/>
                  </a:cubicBezTo>
                  <a:cubicBezTo>
                    <a:pt x="12473" y="16289"/>
                    <a:pt x="12473" y="16280"/>
                    <a:pt x="12473" y="16271"/>
                  </a:cubicBezTo>
                  <a:cubicBezTo>
                    <a:pt x="12473" y="16269"/>
                    <a:pt x="12472" y="16266"/>
                    <a:pt x="12472" y="16264"/>
                  </a:cubicBezTo>
                  <a:cubicBezTo>
                    <a:pt x="12472" y="16190"/>
                    <a:pt x="12512" y="16142"/>
                    <a:pt x="12550" y="16116"/>
                  </a:cubicBezTo>
                  <a:cubicBezTo>
                    <a:pt x="12589" y="16090"/>
                    <a:pt x="12626" y="16082"/>
                    <a:pt x="12627" y="16082"/>
                  </a:cubicBezTo>
                  <a:cubicBezTo>
                    <a:pt x="12629" y="16081"/>
                    <a:pt x="12629" y="16081"/>
                    <a:pt x="12629" y="16081"/>
                  </a:cubicBezTo>
                  <a:cubicBezTo>
                    <a:pt x="13637" y="16048"/>
                    <a:pt x="13637" y="16048"/>
                    <a:pt x="13637" y="16048"/>
                  </a:cubicBezTo>
                  <a:cubicBezTo>
                    <a:pt x="13642" y="16047"/>
                    <a:pt x="13648" y="16045"/>
                    <a:pt x="13653" y="16044"/>
                  </a:cubicBezTo>
                  <a:cubicBezTo>
                    <a:pt x="13653" y="16040"/>
                    <a:pt x="13653" y="16035"/>
                    <a:pt x="13653" y="16032"/>
                  </a:cubicBezTo>
                  <a:cubicBezTo>
                    <a:pt x="13648" y="16009"/>
                    <a:pt x="13637" y="15943"/>
                    <a:pt x="13637" y="15820"/>
                  </a:cubicBezTo>
                  <a:cubicBezTo>
                    <a:pt x="13637" y="15691"/>
                    <a:pt x="13649" y="15499"/>
                    <a:pt x="13692" y="15228"/>
                  </a:cubicBezTo>
                  <a:cubicBezTo>
                    <a:pt x="13778" y="14685"/>
                    <a:pt x="14158" y="12392"/>
                    <a:pt x="14206" y="12098"/>
                  </a:cubicBezTo>
                  <a:close/>
                  <a:moveTo>
                    <a:pt x="13991" y="10009"/>
                  </a:moveTo>
                  <a:cubicBezTo>
                    <a:pt x="13941" y="9997"/>
                    <a:pt x="13892" y="9987"/>
                    <a:pt x="13846" y="9976"/>
                  </a:cubicBezTo>
                  <a:cubicBezTo>
                    <a:pt x="12690" y="10923"/>
                    <a:pt x="12690" y="10923"/>
                    <a:pt x="12690" y="10923"/>
                  </a:cubicBezTo>
                  <a:cubicBezTo>
                    <a:pt x="12666" y="10946"/>
                    <a:pt x="12127" y="11482"/>
                    <a:pt x="12032" y="11556"/>
                  </a:cubicBezTo>
                  <a:cubicBezTo>
                    <a:pt x="11966" y="11608"/>
                    <a:pt x="11916" y="11633"/>
                    <a:pt x="11890" y="11645"/>
                  </a:cubicBezTo>
                  <a:cubicBezTo>
                    <a:pt x="11915" y="11697"/>
                    <a:pt x="11995" y="11865"/>
                    <a:pt x="12075" y="12034"/>
                  </a:cubicBezTo>
                  <a:cubicBezTo>
                    <a:pt x="12123" y="12136"/>
                    <a:pt x="12172" y="12238"/>
                    <a:pt x="12209" y="12314"/>
                  </a:cubicBezTo>
                  <a:cubicBezTo>
                    <a:pt x="12220" y="12337"/>
                    <a:pt x="12230" y="12357"/>
                    <a:pt x="12274" y="12452"/>
                  </a:cubicBezTo>
                  <a:cubicBezTo>
                    <a:pt x="12241" y="12465"/>
                    <a:pt x="12241" y="12465"/>
                    <a:pt x="12241" y="12465"/>
                  </a:cubicBezTo>
                  <a:cubicBezTo>
                    <a:pt x="12119" y="12212"/>
                    <a:pt x="11898" y="11745"/>
                    <a:pt x="11856" y="11658"/>
                  </a:cubicBezTo>
                  <a:cubicBezTo>
                    <a:pt x="11770" y="11686"/>
                    <a:pt x="11324" y="11832"/>
                    <a:pt x="10887" y="11975"/>
                  </a:cubicBezTo>
                  <a:cubicBezTo>
                    <a:pt x="11165" y="12776"/>
                    <a:pt x="11165" y="12776"/>
                    <a:pt x="11165" y="12776"/>
                  </a:cubicBezTo>
                  <a:cubicBezTo>
                    <a:pt x="11131" y="12788"/>
                    <a:pt x="11131" y="12788"/>
                    <a:pt x="11131" y="12788"/>
                  </a:cubicBezTo>
                  <a:cubicBezTo>
                    <a:pt x="10853" y="11986"/>
                    <a:pt x="10853" y="11986"/>
                    <a:pt x="10853" y="11986"/>
                  </a:cubicBezTo>
                  <a:cubicBezTo>
                    <a:pt x="10486" y="12106"/>
                    <a:pt x="10133" y="12220"/>
                    <a:pt x="10015" y="12257"/>
                  </a:cubicBezTo>
                  <a:cubicBezTo>
                    <a:pt x="9959" y="12274"/>
                    <a:pt x="9904" y="12281"/>
                    <a:pt x="9850" y="12281"/>
                  </a:cubicBezTo>
                  <a:cubicBezTo>
                    <a:pt x="9661" y="12280"/>
                    <a:pt x="9499" y="12195"/>
                    <a:pt x="9453" y="12168"/>
                  </a:cubicBezTo>
                  <a:cubicBezTo>
                    <a:pt x="9397" y="12288"/>
                    <a:pt x="9397" y="12288"/>
                    <a:pt x="9397" y="12288"/>
                  </a:cubicBezTo>
                  <a:cubicBezTo>
                    <a:pt x="8749" y="13692"/>
                    <a:pt x="8749" y="13692"/>
                    <a:pt x="8749" y="13692"/>
                  </a:cubicBezTo>
                  <a:cubicBezTo>
                    <a:pt x="8760" y="13690"/>
                    <a:pt x="8760" y="13690"/>
                    <a:pt x="8760" y="13690"/>
                  </a:cubicBezTo>
                  <a:cubicBezTo>
                    <a:pt x="8761" y="13690"/>
                    <a:pt x="8761" y="13690"/>
                    <a:pt x="8761" y="13690"/>
                  </a:cubicBezTo>
                  <a:cubicBezTo>
                    <a:pt x="8761" y="13690"/>
                    <a:pt x="8774" y="13691"/>
                    <a:pt x="8797" y="13692"/>
                  </a:cubicBezTo>
                  <a:cubicBezTo>
                    <a:pt x="8796" y="13687"/>
                    <a:pt x="8796" y="13687"/>
                    <a:pt x="8796" y="13687"/>
                  </a:cubicBezTo>
                  <a:cubicBezTo>
                    <a:pt x="8796" y="13687"/>
                    <a:pt x="8796" y="13687"/>
                    <a:pt x="8796" y="13687"/>
                  </a:cubicBezTo>
                  <a:cubicBezTo>
                    <a:pt x="9685" y="13385"/>
                    <a:pt x="9685" y="13385"/>
                    <a:pt x="9685" y="13385"/>
                  </a:cubicBezTo>
                  <a:cubicBezTo>
                    <a:pt x="10991" y="12957"/>
                    <a:pt x="10991" y="12957"/>
                    <a:pt x="10991" y="12957"/>
                  </a:cubicBezTo>
                  <a:cubicBezTo>
                    <a:pt x="14213" y="12056"/>
                    <a:pt x="14213" y="12056"/>
                    <a:pt x="14213" y="12056"/>
                  </a:cubicBezTo>
                  <a:cubicBezTo>
                    <a:pt x="14215" y="12043"/>
                    <a:pt x="14215" y="12043"/>
                    <a:pt x="14215" y="12043"/>
                  </a:cubicBezTo>
                  <a:cubicBezTo>
                    <a:pt x="14236" y="12029"/>
                    <a:pt x="14236" y="12029"/>
                    <a:pt x="14236" y="12029"/>
                  </a:cubicBezTo>
                  <a:cubicBezTo>
                    <a:pt x="14236" y="12029"/>
                    <a:pt x="14238" y="12027"/>
                    <a:pt x="14243" y="12024"/>
                  </a:cubicBezTo>
                  <a:cubicBezTo>
                    <a:pt x="14278" y="12000"/>
                    <a:pt x="14432" y="11886"/>
                    <a:pt x="14532" y="11748"/>
                  </a:cubicBezTo>
                  <a:cubicBezTo>
                    <a:pt x="14590" y="11668"/>
                    <a:pt x="14637" y="11578"/>
                    <a:pt x="14669" y="11508"/>
                  </a:cubicBezTo>
                  <a:cubicBezTo>
                    <a:pt x="14685" y="11474"/>
                    <a:pt x="14697" y="11444"/>
                    <a:pt x="14705" y="11423"/>
                  </a:cubicBezTo>
                  <a:cubicBezTo>
                    <a:pt x="14714" y="11402"/>
                    <a:pt x="14718" y="11391"/>
                    <a:pt x="14718" y="11391"/>
                  </a:cubicBezTo>
                  <a:cubicBezTo>
                    <a:pt x="14720" y="11383"/>
                    <a:pt x="14720" y="11383"/>
                    <a:pt x="14720" y="11383"/>
                  </a:cubicBezTo>
                  <a:cubicBezTo>
                    <a:pt x="15013" y="10981"/>
                    <a:pt x="15013" y="10981"/>
                    <a:pt x="15013" y="10981"/>
                  </a:cubicBezTo>
                  <a:cubicBezTo>
                    <a:pt x="14994" y="10969"/>
                    <a:pt x="14962" y="10946"/>
                    <a:pt x="14917" y="10906"/>
                  </a:cubicBezTo>
                  <a:cubicBezTo>
                    <a:pt x="14895" y="10885"/>
                    <a:pt x="14859" y="10844"/>
                    <a:pt x="14810" y="10788"/>
                  </a:cubicBezTo>
                  <a:cubicBezTo>
                    <a:pt x="14666" y="10622"/>
                    <a:pt x="14436" y="10344"/>
                    <a:pt x="14436" y="10344"/>
                  </a:cubicBezTo>
                  <a:cubicBezTo>
                    <a:pt x="14431" y="10339"/>
                    <a:pt x="14431" y="10339"/>
                    <a:pt x="14431" y="10339"/>
                  </a:cubicBezTo>
                  <a:cubicBezTo>
                    <a:pt x="14428" y="10332"/>
                    <a:pt x="14428" y="10332"/>
                    <a:pt x="14428" y="10332"/>
                  </a:cubicBezTo>
                  <a:cubicBezTo>
                    <a:pt x="14428" y="10332"/>
                    <a:pt x="14428" y="10331"/>
                    <a:pt x="14426" y="10327"/>
                  </a:cubicBezTo>
                  <a:cubicBezTo>
                    <a:pt x="14411" y="10299"/>
                    <a:pt x="14336" y="10171"/>
                    <a:pt x="14219" y="10098"/>
                  </a:cubicBezTo>
                  <a:cubicBezTo>
                    <a:pt x="14152" y="10055"/>
                    <a:pt x="14071" y="10029"/>
                    <a:pt x="13991" y="10009"/>
                  </a:cubicBezTo>
                  <a:close/>
                  <a:moveTo>
                    <a:pt x="13339" y="9606"/>
                  </a:moveTo>
                  <a:cubicBezTo>
                    <a:pt x="13337" y="9581"/>
                    <a:pt x="13337" y="9581"/>
                    <a:pt x="13337" y="9581"/>
                  </a:cubicBezTo>
                  <a:cubicBezTo>
                    <a:pt x="13338" y="9555"/>
                    <a:pt x="13338" y="9555"/>
                    <a:pt x="13338" y="9555"/>
                  </a:cubicBezTo>
                  <a:cubicBezTo>
                    <a:pt x="13338" y="9555"/>
                    <a:pt x="13338" y="9555"/>
                    <a:pt x="13339" y="9554"/>
                  </a:cubicBezTo>
                  <a:cubicBezTo>
                    <a:pt x="13340" y="9549"/>
                    <a:pt x="13346" y="9523"/>
                    <a:pt x="13351" y="9492"/>
                  </a:cubicBezTo>
                  <a:cubicBezTo>
                    <a:pt x="13356" y="9457"/>
                    <a:pt x="13360" y="9412"/>
                    <a:pt x="13360" y="9366"/>
                  </a:cubicBezTo>
                  <a:cubicBezTo>
                    <a:pt x="13360" y="9315"/>
                    <a:pt x="13354" y="9263"/>
                    <a:pt x="13341" y="9222"/>
                  </a:cubicBezTo>
                  <a:cubicBezTo>
                    <a:pt x="13320" y="9160"/>
                    <a:pt x="13280" y="9106"/>
                    <a:pt x="13208" y="9056"/>
                  </a:cubicBezTo>
                  <a:cubicBezTo>
                    <a:pt x="13136" y="9006"/>
                    <a:pt x="13031" y="8963"/>
                    <a:pt x="12888" y="8928"/>
                  </a:cubicBezTo>
                  <a:cubicBezTo>
                    <a:pt x="12599" y="8859"/>
                    <a:pt x="12340" y="8850"/>
                    <a:pt x="12131" y="8841"/>
                  </a:cubicBezTo>
                  <a:cubicBezTo>
                    <a:pt x="12026" y="8836"/>
                    <a:pt x="11797" y="8822"/>
                    <a:pt x="11594" y="8808"/>
                  </a:cubicBezTo>
                  <a:cubicBezTo>
                    <a:pt x="11492" y="8802"/>
                    <a:pt x="11397" y="8795"/>
                    <a:pt x="11328" y="8791"/>
                  </a:cubicBezTo>
                  <a:cubicBezTo>
                    <a:pt x="11293" y="8788"/>
                    <a:pt x="11264" y="8786"/>
                    <a:pt x="11244" y="8785"/>
                  </a:cubicBezTo>
                  <a:cubicBezTo>
                    <a:pt x="11244" y="8785"/>
                    <a:pt x="11243" y="8785"/>
                    <a:pt x="11243" y="8785"/>
                  </a:cubicBezTo>
                  <a:cubicBezTo>
                    <a:pt x="11233" y="8806"/>
                    <a:pt x="11233" y="8806"/>
                    <a:pt x="11233" y="8806"/>
                  </a:cubicBezTo>
                  <a:cubicBezTo>
                    <a:pt x="11227" y="8895"/>
                    <a:pt x="11201" y="9079"/>
                    <a:pt x="11087" y="9199"/>
                  </a:cubicBezTo>
                  <a:cubicBezTo>
                    <a:pt x="10972" y="9321"/>
                    <a:pt x="10782" y="9493"/>
                    <a:pt x="10703" y="9564"/>
                  </a:cubicBezTo>
                  <a:cubicBezTo>
                    <a:pt x="10767" y="9607"/>
                    <a:pt x="10926" y="9712"/>
                    <a:pt x="11080" y="9813"/>
                  </a:cubicBezTo>
                  <a:cubicBezTo>
                    <a:pt x="11281" y="9944"/>
                    <a:pt x="11404" y="10050"/>
                    <a:pt x="11404" y="10051"/>
                  </a:cubicBezTo>
                  <a:cubicBezTo>
                    <a:pt x="11406" y="10052"/>
                    <a:pt x="11406" y="10052"/>
                    <a:pt x="11406" y="10052"/>
                  </a:cubicBezTo>
                  <a:cubicBezTo>
                    <a:pt x="11688" y="10407"/>
                    <a:pt x="11688" y="10407"/>
                    <a:pt x="11688" y="10407"/>
                  </a:cubicBezTo>
                  <a:cubicBezTo>
                    <a:pt x="11699" y="10401"/>
                    <a:pt x="11728" y="10381"/>
                    <a:pt x="11789" y="10328"/>
                  </a:cubicBezTo>
                  <a:cubicBezTo>
                    <a:pt x="11832" y="10290"/>
                    <a:pt x="11878" y="10278"/>
                    <a:pt x="11915" y="10278"/>
                  </a:cubicBezTo>
                  <a:cubicBezTo>
                    <a:pt x="11968" y="10278"/>
                    <a:pt x="12004" y="10301"/>
                    <a:pt x="12006" y="10302"/>
                  </a:cubicBezTo>
                  <a:cubicBezTo>
                    <a:pt x="12007" y="10303"/>
                    <a:pt x="12007" y="10303"/>
                    <a:pt x="12007" y="10303"/>
                  </a:cubicBezTo>
                  <a:cubicBezTo>
                    <a:pt x="12685" y="10875"/>
                    <a:pt x="12685" y="10875"/>
                    <a:pt x="12685" y="10875"/>
                  </a:cubicBezTo>
                  <a:cubicBezTo>
                    <a:pt x="12673" y="10890"/>
                    <a:pt x="12673" y="10890"/>
                    <a:pt x="12673" y="10890"/>
                  </a:cubicBezTo>
                  <a:cubicBezTo>
                    <a:pt x="13784" y="9980"/>
                    <a:pt x="13784" y="9980"/>
                    <a:pt x="13784" y="9980"/>
                  </a:cubicBezTo>
                  <a:cubicBezTo>
                    <a:pt x="13785" y="9975"/>
                    <a:pt x="13788" y="9967"/>
                    <a:pt x="13789" y="9960"/>
                  </a:cubicBezTo>
                  <a:cubicBezTo>
                    <a:pt x="13782" y="9958"/>
                    <a:pt x="13774" y="9956"/>
                    <a:pt x="13767" y="9954"/>
                  </a:cubicBezTo>
                  <a:cubicBezTo>
                    <a:pt x="13698" y="9930"/>
                    <a:pt x="13613" y="9878"/>
                    <a:pt x="13533" y="9816"/>
                  </a:cubicBezTo>
                  <a:cubicBezTo>
                    <a:pt x="13452" y="9752"/>
                    <a:pt x="13379" y="9681"/>
                    <a:pt x="13339" y="9606"/>
                  </a:cubicBezTo>
                  <a:close/>
                  <a:moveTo>
                    <a:pt x="15999" y="4718"/>
                  </a:moveTo>
                  <a:cubicBezTo>
                    <a:pt x="14058" y="5123"/>
                    <a:pt x="14058" y="5123"/>
                    <a:pt x="14058" y="5123"/>
                  </a:cubicBezTo>
                  <a:cubicBezTo>
                    <a:pt x="13574" y="5007"/>
                    <a:pt x="13574" y="5007"/>
                    <a:pt x="13574" y="5007"/>
                  </a:cubicBezTo>
                  <a:cubicBezTo>
                    <a:pt x="12887" y="4807"/>
                    <a:pt x="12887" y="4807"/>
                    <a:pt x="12887" y="4807"/>
                  </a:cubicBezTo>
                  <a:cubicBezTo>
                    <a:pt x="12788" y="4780"/>
                    <a:pt x="12634" y="4760"/>
                    <a:pt x="12507" y="4748"/>
                  </a:cubicBezTo>
                  <a:cubicBezTo>
                    <a:pt x="12413" y="4738"/>
                    <a:pt x="12334" y="4733"/>
                    <a:pt x="12298" y="4731"/>
                  </a:cubicBezTo>
                  <a:cubicBezTo>
                    <a:pt x="12298" y="4736"/>
                    <a:pt x="12298" y="4736"/>
                    <a:pt x="12298" y="4736"/>
                  </a:cubicBezTo>
                  <a:cubicBezTo>
                    <a:pt x="12294" y="4736"/>
                    <a:pt x="12294" y="4736"/>
                    <a:pt x="12294" y="4736"/>
                  </a:cubicBezTo>
                  <a:cubicBezTo>
                    <a:pt x="12295" y="4766"/>
                    <a:pt x="12299" y="4823"/>
                    <a:pt x="12299" y="4824"/>
                  </a:cubicBezTo>
                  <a:cubicBezTo>
                    <a:pt x="12299" y="4825"/>
                    <a:pt x="12299" y="4825"/>
                    <a:pt x="12299" y="4825"/>
                  </a:cubicBezTo>
                  <a:cubicBezTo>
                    <a:pt x="12024" y="6708"/>
                    <a:pt x="12024" y="6708"/>
                    <a:pt x="12024" y="6708"/>
                  </a:cubicBezTo>
                  <a:cubicBezTo>
                    <a:pt x="12024" y="6709"/>
                    <a:pt x="12007" y="6823"/>
                    <a:pt x="11961" y="6945"/>
                  </a:cubicBezTo>
                  <a:cubicBezTo>
                    <a:pt x="11948" y="6977"/>
                    <a:pt x="11934" y="7010"/>
                    <a:pt x="11917" y="7041"/>
                  </a:cubicBezTo>
                  <a:cubicBezTo>
                    <a:pt x="12035" y="7090"/>
                    <a:pt x="12067" y="7215"/>
                    <a:pt x="12067" y="7217"/>
                  </a:cubicBezTo>
                  <a:cubicBezTo>
                    <a:pt x="12532" y="8728"/>
                    <a:pt x="12532" y="8728"/>
                    <a:pt x="12532" y="8728"/>
                  </a:cubicBezTo>
                  <a:cubicBezTo>
                    <a:pt x="12532" y="8728"/>
                    <a:pt x="12533" y="8729"/>
                    <a:pt x="12533" y="8729"/>
                  </a:cubicBezTo>
                  <a:cubicBezTo>
                    <a:pt x="12541" y="8753"/>
                    <a:pt x="12541" y="8753"/>
                    <a:pt x="12541" y="8753"/>
                  </a:cubicBezTo>
                  <a:cubicBezTo>
                    <a:pt x="12658" y="8766"/>
                    <a:pt x="12783" y="8785"/>
                    <a:pt x="12914" y="8817"/>
                  </a:cubicBezTo>
                  <a:cubicBezTo>
                    <a:pt x="13066" y="8853"/>
                    <a:pt x="13184" y="8900"/>
                    <a:pt x="13273" y="8961"/>
                  </a:cubicBezTo>
                  <a:cubicBezTo>
                    <a:pt x="13348" y="9012"/>
                    <a:pt x="13401" y="9074"/>
                    <a:pt x="13434" y="9145"/>
                  </a:cubicBezTo>
                  <a:cubicBezTo>
                    <a:pt x="13497" y="9130"/>
                    <a:pt x="13629" y="9098"/>
                    <a:pt x="13762" y="9066"/>
                  </a:cubicBezTo>
                  <a:cubicBezTo>
                    <a:pt x="13854" y="9043"/>
                    <a:pt x="13947" y="9021"/>
                    <a:pt x="14018" y="9004"/>
                  </a:cubicBezTo>
                  <a:cubicBezTo>
                    <a:pt x="14053" y="8996"/>
                    <a:pt x="14083" y="8989"/>
                    <a:pt x="14105" y="8984"/>
                  </a:cubicBezTo>
                  <a:cubicBezTo>
                    <a:pt x="14116" y="8982"/>
                    <a:pt x="14125" y="8980"/>
                    <a:pt x="14132" y="8978"/>
                  </a:cubicBezTo>
                  <a:cubicBezTo>
                    <a:pt x="14135" y="8978"/>
                    <a:pt x="14138" y="8977"/>
                    <a:pt x="14140" y="8976"/>
                  </a:cubicBezTo>
                  <a:cubicBezTo>
                    <a:pt x="14143" y="8976"/>
                    <a:pt x="14143" y="8976"/>
                    <a:pt x="14148" y="8975"/>
                  </a:cubicBezTo>
                  <a:cubicBezTo>
                    <a:pt x="14161" y="8973"/>
                    <a:pt x="14224" y="8954"/>
                    <a:pt x="14306" y="8928"/>
                  </a:cubicBezTo>
                  <a:cubicBezTo>
                    <a:pt x="14391" y="8900"/>
                    <a:pt x="14499" y="8863"/>
                    <a:pt x="14614" y="8822"/>
                  </a:cubicBezTo>
                  <a:cubicBezTo>
                    <a:pt x="14729" y="8780"/>
                    <a:pt x="14956" y="8663"/>
                    <a:pt x="15153" y="8555"/>
                  </a:cubicBezTo>
                  <a:cubicBezTo>
                    <a:pt x="15252" y="8502"/>
                    <a:pt x="15344" y="8450"/>
                    <a:pt x="15414" y="8411"/>
                  </a:cubicBezTo>
                  <a:cubicBezTo>
                    <a:pt x="15448" y="8392"/>
                    <a:pt x="15477" y="8376"/>
                    <a:pt x="15498" y="8364"/>
                  </a:cubicBezTo>
                  <a:cubicBezTo>
                    <a:pt x="15509" y="8358"/>
                    <a:pt x="15518" y="8353"/>
                    <a:pt x="15524" y="8350"/>
                  </a:cubicBezTo>
                  <a:cubicBezTo>
                    <a:pt x="15532" y="8346"/>
                    <a:pt x="15535" y="8344"/>
                    <a:pt x="15541" y="8341"/>
                  </a:cubicBezTo>
                  <a:cubicBezTo>
                    <a:pt x="15555" y="8335"/>
                    <a:pt x="15594" y="8318"/>
                    <a:pt x="15629" y="8303"/>
                  </a:cubicBezTo>
                  <a:cubicBezTo>
                    <a:pt x="15629" y="8301"/>
                    <a:pt x="15628" y="8294"/>
                    <a:pt x="15628" y="8288"/>
                  </a:cubicBezTo>
                  <a:cubicBezTo>
                    <a:pt x="15617" y="8199"/>
                    <a:pt x="15593" y="8008"/>
                    <a:pt x="15566" y="7787"/>
                  </a:cubicBezTo>
                  <a:cubicBezTo>
                    <a:pt x="15528" y="7483"/>
                    <a:pt x="15483" y="7124"/>
                    <a:pt x="15455" y="6906"/>
                  </a:cubicBezTo>
                  <a:cubicBezTo>
                    <a:pt x="15442" y="6803"/>
                    <a:pt x="15436" y="6717"/>
                    <a:pt x="15436" y="6641"/>
                  </a:cubicBezTo>
                  <a:cubicBezTo>
                    <a:pt x="15436" y="6396"/>
                    <a:pt x="15499" y="6268"/>
                    <a:pt x="15574" y="6087"/>
                  </a:cubicBezTo>
                  <a:cubicBezTo>
                    <a:pt x="15676" y="5842"/>
                    <a:pt x="15938" y="5628"/>
                    <a:pt x="16017" y="5288"/>
                  </a:cubicBezTo>
                  <a:cubicBezTo>
                    <a:pt x="16039" y="5197"/>
                    <a:pt x="16047" y="5111"/>
                    <a:pt x="16047" y="5035"/>
                  </a:cubicBezTo>
                  <a:cubicBezTo>
                    <a:pt x="16047" y="4931"/>
                    <a:pt x="16032" y="4845"/>
                    <a:pt x="16018" y="4785"/>
                  </a:cubicBezTo>
                  <a:cubicBezTo>
                    <a:pt x="16011" y="4756"/>
                    <a:pt x="16004" y="4734"/>
                    <a:pt x="15999" y="4718"/>
                  </a:cubicBezTo>
                  <a:close/>
                  <a:moveTo>
                    <a:pt x="16063" y="1762"/>
                  </a:moveTo>
                  <a:cubicBezTo>
                    <a:pt x="15597" y="1868"/>
                    <a:pt x="15107" y="1907"/>
                    <a:pt x="14951" y="1935"/>
                  </a:cubicBezTo>
                  <a:cubicBezTo>
                    <a:pt x="14889" y="1946"/>
                    <a:pt x="14696" y="1949"/>
                    <a:pt x="14462" y="1949"/>
                  </a:cubicBezTo>
                  <a:cubicBezTo>
                    <a:pt x="14004" y="1949"/>
                    <a:pt x="13398" y="1936"/>
                    <a:pt x="13373" y="1935"/>
                  </a:cubicBezTo>
                  <a:cubicBezTo>
                    <a:pt x="13296" y="1939"/>
                    <a:pt x="13198" y="1939"/>
                    <a:pt x="13121" y="2025"/>
                  </a:cubicBezTo>
                  <a:cubicBezTo>
                    <a:pt x="13081" y="2071"/>
                    <a:pt x="13033" y="2135"/>
                    <a:pt x="12996" y="2187"/>
                  </a:cubicBezTo>
                  <a:cubicBezTo>
                    <a:pt x="12958" y="2240"/>
                    <a:pt x="12931" y="2281"/>
                    <a:pt x="12931" y="2281"/>
                  </a:cubicBezTo>
                  <a:cubicBezTo>
                    <a:pt x="12930" y="2282"/>
                    <a:pt x="12930" y="2282"/>
                    <a:pt x="12930" y="2282"/>
                  </a:cubicBezTo>
                  <a:cubicBezTo>
                    <a:pt x="12930" y="2282"/>
                    <a:pt x="12930" y="2282"/>
                    <a:pt x="12930" y="2282"/>
                  </a:cubicBezTo>
                  <a:cubicBezTo>
                    <a:pt x="12929" y="2282"/>
                    <a:pt x="12834" y="2400"/>
                    <a:pt x="12735" y="2523"/>
                  </a:cubicBezTo>
                  <a:cubicBezTo>
                    <a:pt x="12686" y="2584"/>
                    <a:pt x="12636" y="2647"/>
                    <a:pt x="12597" y="2697"/>
                  </a:cubicBezTo>
                  <a:cubicBezTo>
                    <a:pt x="12558" y="2747"/>
                    <a:pt x="12529" y="2787"/>
                    <a:pt x="12527" y="2793"/>
                  </a:cubicBezTo>
                  <a:cubicBezTo>
                    <a:pt x="12510" y="2830"/>
                    <a:pt x="12469" y="2925"/>
                    <a:pt x="12456" y="2955"/>
                  </a:cubicBezTo>
                  <a:cubicBezTo>
                    <a:pt x="12483" y="2967"/>
                    <a:pt x="12510" y="2983"/>
                    <a:pt x="12534" y="3006"/>
                  </a:cubicBezTo>
                  <a:cubicBezTo>
                    <a:pt x="12536" y="3007"/>
                    <a:pt x="12536" y="3007"/>
                    <a:pt x="12536" y="3007"/>
                  </a:cubicBezTo>
                  <a:cubicBezTo>
                    <a:pt x="13277" y="4135"/>
                    <a:pt x="13277" y="4135"/>
                    <a:pt x="13277" y="4135"/>
                  </a:cubicBezTo>
                  <a:cubicBezTo>
                    <a:pt x="13279" y="4137"/>
                    <a:pt x="13321" y="4201"/>
                    <a:pt x="13321" y="4309"/>
                  </a:cubicBezTo>
                  <a:cubicBezTo>
                    <a:pt x="13321" y="4367"/>
                    <a:pt x="13309" y="4438"/>
                    <a:pt x="13272" y="4517"/>
                  </a:cubicBezTo>
                  <a:cubicBezTo>
                    <a:pt x="13193" y="4684"/>
                    <a:pt x="13129" y="4790"/>
                    <a:pt x="13102" y="4832"/>
                  </a:cubicBezTo>
                  <a:cubicBezTo>
                    <a:pt x="13583" y="4972"/>
                    <a:pt x="13583" y="4972"/>
                    <a:pt x="13583" y="4972"/>
                  </a:cubicBezTo>
                  <a:cubicBezTo>
                    <a:pt x="14059" y="5086"/>
                    <a:pt x="14059" y="5086"/>
                    <a:pt x="14059" y="5086"/>
                  </a:cubicBezTo>
                  <a:cubicBezTo>
                    <a:pt x="15987" y="4684"/>
                    <a:pt x="15987" y="4684"/>
                    <a:pt x="15987" y="4684"/>
                  </a:cubicBezTo>
                  <a:cubicBezTo>
                    <a:pt x="15981" y="4684"/>
                    <a:pt x="15981" y="4684"/>
                    <a:pt x="15981" y="4684"/>
                  </a:cubicBezTo>
                  <a:cubicBezTo>
                    <a:pt x="15981" y="4684"/>
                    <a:pt x="15981" y="4684"/>
                    <a:pt x="15981" y="4684"/>
                  </a:cubicBezTo>
                  <a:cubicBezTo>
                    <a:pt x="15981" y="4684"/>
                    <a:pt x="15981" y="4684"/>
                    <a:pt x="15981" y="4684"/>
                  </a:cubicBezTo>
                  <a:cubicBezTo>
                    <a:pt x="15970" y="4630"/>
                    <a:pt x="15773" y="4005"/>
                    <a:pt x="15674" y="3534"/>
                  </a:cubicBezTo>
                  <a:cubicBezTo>
                    <a:pt x="15630" y="3326"/>
                    <a:pt x="15613" y="3118"/>
                    <a:pt x="15613" y="2932"/>
                  </a:cubicBezTo>
                  <a:cubicBezTo>
                    <a:pt x="15613" y="2673"/>
                    <a:pt x="15645" y="2455"/>
                    <a:pt x="15678" y="2333"/>
                  </a:cubicBezTo>
                  <a:cubicBezTo>
                    <a:pt x="15707" y="2224"/>
                    <a:pt x="15809" y="2076"/>
                    <a:pt x="15905" y="1951"/>
                  </a:cubicBezTo>
                  <a:cubicBezTo>
                    <a:pt x="15953" y="1890"/>
                    <a:pt x="15999" y="1834"/>
                    <a:pt x="16034" y="1794"/>
                  </a:cubicBezTo>
                  <a:cubicBezTo>
                    <a:pt x="16045" y="1782"/>
                    <a:pt x="16054" y="1771"/>
                    <a:pt x="16063" y="1762"/>
                  </a:cubicBezTo>
                  <a:close/>
                  <a:moveTo>
                    <a:pt x="11544" y="17077"/>
                  </a:moveTo>
                  <a:cubicBezTo>
                    <a:pt x="11544" y="17056"/>
                    <a:pt x="11544" y="17056"/>
                    <a:pt x="11544" y="17056"/>
                  </a:cubicBezTo>
                  <a:cubicBezTo>
                    <a:pt x="11507" y="17056"/>
                    <a:pt x="11507" y="17056"/>
                    <a:pt x="11507" y="17056"/>
                  </a:cubicBezTo>
                  <a:cubicBezTo>
                    <a:pt x="11508" y="17077"/>
                    <a:pt x="11508" y="17077"/>
                    <a:pt x="11508" y="17077"/>
                  </a:cubicBezTo>
                  <a:cubicBezTo>
                    <a:pt x="11508" y="17178"/>
                    <a:pt x="11540" y="17639"/>
                    <a:pt x="11638" y="17830"/>
                  </a:cubicBezTo>
                  <a:cubicBezTo>
                    <a:pt x="11679" y="17910"/>
                    <a:pt x="11714" y="17964"/>
                    <a:pt x="11741" y="18000"/>
                  </a:cubicBezTo>
                  <a:cubicBezTo>
                    <a:pt x="11787" y="18000"/>
                    <a:pt x="11787" y="18000"/>
                    <a:pt x="11787" y="18000"/>
                  </a:cubicBezTo>
                  <a:cubicBezTo>
                    <a:pt x="11760" y="17967"/>
                    <a:pt x="11720" y="17910"/>
                    <a:pt x="11670" y="17813"/>
                  </a:cubicBezTo>
                  <a:cubicBezTo>
                    <a:pt x="11578" y="17639"/>
                    <a:pt x="11543" y="17172"/>
                    <a:pt x="11544" y="17077"/>
                  </a:cubicBezTo>
                  <a:close/>
                  <a:moveTo>
                    <a:pt x="4350" y="14287"/>
                  </a:moveTo>
                  <a:cubicBezTo>
                    <a:pt x="4349" y="14287"/>
                    <a:pt x="4349" y="14287"/>
                    <a:pt x="4349" y="14287"/>
                  </a:cubicBezTo>
                  <a:cubicBezTo>
                    <a:pt x="4350" y="14287"/>
                    <a:pt x="4350" y="14287"/>
                    <a:pt x="4350" y="14287"/>
                  </a:cubicBezTo>
                  <a:close/>
                  <a:moveTo>
                    <a:pt x="1041" y="9601"/>
                  </a:moveTo>
                  <a:cubicBezTo>
                    <a:pt x="1041" y="9601"/>
                    <a:pt x="1041" y="9601"/>
                    <a:pt x="1041" y="9601"/>
                  </a:cubicBezTo>
                  <a:cubicBezTo>
                    <a:pt x="1041" y="9601"/>
                    <a:pt x="1041" y="9601"/>
                    <a:pt x="1041" y="9601"/>
                  </a:cubicBezTo>
                  <a:close/>
                </a:path>
              </a:pathLst>
            </a:custGeom>
            <a:gradFill>
              <a:gsLst>
                <a:gs pos="0">
                  <a:srgbClr val="78BCDD"/>
                </a:gs>
                <a:gs pos="100000">
                  <a:srgbClr val="78BCDD"/>
                </a:gs>
              </a:gsLst>
              <a:lin ang="0" scaled="1"/>
            </a:gradFill>
            <a:ln>
              <a:noFill/>
            </a:ln>
          </p:spPr>
          <p:txBody>
            <a:bodyPr vert="horz" wrap="square" lIns="91440" tIns="45720" rIns="91440" bIns="45720" numCol="1" anchor="t" anchorCtr="0" compatLnSpc="1">
              <a:prstTxWarp prst="textNoShape">
                <a:avLst/>
              </a:prstTxWarp>
            </a:bodyPr>
            <a:lstStyle/>
            <a:p>
              <a:endParaRPr lang="nl-NL" dirty="0"/>
            </a:p>
          </p:txBody>
        </p:sp>
      </p:grpSp>
      <p:sp>
        <p:nvSpPr>
          <p:cNvPr id="28" name="Freeform 13">
            <a:extLst>
              <a:ext uri="{FF2B5EF4-FFF2-40B4-BE49-F238E27FC236}">
                <a16:creationId xmlns:a16="http://schemas.microsoft.com/office/drawing/2014/main" id="{2F1AEF44-404D-4572-B686-904D6B4F5524}"/>
              </a:ext>
            </a:extLst>
          </p:cNvPr>
          <p:cNvSpPr>
            <a:spLocks noSelect="1"/>
          </p:cNvSpPr>
          <p:nvPr userDrawn="1"/>
        </p:nvSpPr>
        <p:spPr bwMode="gray">
          <a:xfrm>
            <a:off x="0" y="0"/>
            <a:ext cx="1154160" cy="5148000"/>
          </a:xfrm>
          <a:custGeom>
            <a:avLst/>
            <a:gdLst>
              <a:gd name="T0" fmla="*/ 727 w 727"/>
              <a:gd name="T1" fmla="*/ 0 h 3237"/>
              <a:gd name="T2" fmla="*/ 727 w 727"/>
              <a:gd name="T3" fmla="*/ 2874 h 3237"/>
              <a:gd name="T4" fmla="*/ 363 w 727"/>
              <a:gd name="T5" fmla="*/ 3237 h 3237"/>
              <a:gd name="T6" fmla="*/ 0 w 727"/>
              <a:gd name="T7" fmla="*/ 2874 h 3237"/>
              <a:gd name="T8" fmla="*/ 0 w 727"/>
              <a:gd name="T9" fmla="*/ 0 h 3237"/>
              <a:gd name="T10" fmla="*/ 727 w 727"/>
              <a:gd name="T11" fmla="*/ 0 h 3237"/>
            </a:gdLst>
            <a:ahLst/>
            <a:cxnLst>
              <a:cxn ang="0">
                <a:pos x="T0" y="T1"/>
              </a:cxn>
              <a:cxn ang="0">
                <a:pos x="T2" y="T3"/>
              </a:cxn>
              <a:cxn ang="0">
                <a:pos x="T4" y="T5"/>
              </a:cxn>
              <a:cxn ang="0">
                <a:pos x="T6" y="T7"/>
              </a:cxn>
              <a:cxn ang="0">
                <a:pos x="T8" y="T9"/>
              </a:cxn>
              <a:cxn ang="0">
                <a:pos x="T10" y="T11"/>
              </a:cxn>
            </a:cxnLst>
            <a:rect l="0" t="0" r="r" b="b"/>
            <a:pathLst>
              <a:path w="727" h="3237">
                <a:moveTo>
                  <a:pt x="727" y="0"/>
                </a:moveTo>
                <a:lnTo>
                  <a:pt x="727" y="2874"/>
                </a:lnTo>
                <a:lnTo>
                  <a:pt x="363" y="3237"/>
                </a:lnTo>
                <a:lnTo>
                  <a:pt x="0" y="2874"/>
                </a:lnTo>
                <a:lnTo>
                  <a:pt x="0" y="0"/>
                </a:lnTo>
                <a:lnTo>
                  <a:pt x="727" y="0"/>
                </a:lnTo>
                <a:close/>
              </a:path>
            </a:pathLst>
          </a:custGeom>
          <a:solidFill>
            <a:srgbClr val="517E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3" name="***Titel 2"/>
          <p:cNvSpPr>
            <a:spLocks noGrp="1" noSelect="1"/>
          </p:cNvSpPr>
          <p:nvPr userDrawn="1">
            <p:ph type="title" hasCustomPrompt="1"/>
          </p:nvPr>
        </p:nvSpPr>
        <p:spPr bwMode="gray">
          <a:xfrm>
            <a:off x="1489476" y="1358551"/>
            <a:ext cx="10152000" cy="3123009"/>
          </a:xfrm>
        </p:spPr>
        <p:txBody>
          <a:bodyPr anchor="ctr">
            <a:normAutofit/>
          </a:bodyPr>
          <a:lstStyle>
            <a:lvl1pPr algn="ctr">
              <a:lnSpc>
                <a:spcPct val="95000"/>
              </a:lnSpc>
              <a:defRPr sz="4800" b="0" kern="0" spc="-90" baseline="0">
                <a:solidFill>
                  <a:schemeClr val="bg1"/>
                </a:solidFill>
                <a:latin typeface="Univers" panose="020B0603020202030204" pitchFamily="34" charset="0"/>
              </a:defRPr>
            </a:lvl1pPr>
          </a:lstStyle>
          <a:p>
            <a:pPr lvl="0"/>
            <a:r>
              <a:rPr lang="nl-NL" dirty="0"/>
              <a:t>[Hier is ruimte voor tekst</a:t>
            </a:r>
            <a:br>
              <a:rPr lang="nl-NL" dirty="0"/>
            </a:br>
            <a:r>
              <a:rPr lang="nl-NL" dirty="0"/>
              <a:t>over maximaal 4 regels.</a:t>
            </a:r>
            <a:br>
              <a:rPr lang="nl-NL" dirty="0"/>
            </a:br>
            <a:r>
              <a:rPr lang="nl-NL" dirty="0"/>
              <a:t>Kan ook blanco. Horizontaal</a:t>
            </a:r>
            <a:br>
              <a:rPr lang="nl-NL" dirty="0"/>
            </a:br>
            <a:r>
              <a:rPr lang="nl-NL" dirty="0"/>
              <a:t>en verticaal gecentreerd.]</a:t>
            </a:r>
          </a:p>
        </p:txBody>
      </p:sp>
      <p:sp>
        <p:nvSpPr>
          <p:cNvPr id="12" name="Freeform 5">
            <a:extLst>
              <a:ext uri="{FF2B5EF4-FFF2-40B4-BE49-F238E27FC236}">
                <a16:creationId xmlns:a16="http://schemas.microsoft.com/office/drawing/2014/main" id="{BE181FB1-67C3-49A2-A37F-E5A911DBB8EE}"/>
              </a:ext>
            </a:extLst>
          </p:cNvPr>
          <p:cNvSpPr>
            <a:spLocks noSelect="1"/>
          </p:cNvSpPr>
          <p:nvPr userDrawn="1"/>
        </p:nvSpPr>
        <p:spPr bwMode="auto">
          <a:xfrm>
            <a:off x="10277475" y="6437313"/>
            <a:ext cx="1346200" cy="87313"/>
          </a:xfrm>
          <a:custGeom>
            <a:avLst/>
            <a:gdLst>
              <a:gd name="T0" fmla="*/ 4112 w 4236"/>
              <a:gd name="T1" fmla="*/ 184 h 279"/>
              <a:gd name="T2" fmla="*/ 4192 w 4236"/>
              <a:gd name="T3" fmla="*/ 104 h 279"/>
              <a:gd name="T4" fmla="*/ 3883 w 4236"/>
              <a:gd name="T5" fmla="*/ 272 h 279"/>
              <a:gd name="T6" fmla="*/ 4004 w 4236"/>
              <a:gd name="T7" fmla="*/ 272 h 279"/>
              <a:gd name="T8" fmla="*/ 3907 w 4236"/>
              <a:gd name="T9" fmla="*/ 131 h 279"/>
              <a:gd name="T10" fmla="*/ 3748 w 4236"/>
              <a:gd name="T11" fmla="*/ 255 h 279"/>
              <a:gd name="T12" fmla="*/ 3682 w 4236"/>
              <a:gd name="T13" fmla="*/ 227 h 279"/>
              <a:gd name="T14" fmla="*/ 3825 w 4236"/>
              <a:gd name="T15" fmla="*/ 272 h 279"/>
              <a:gd name="T16" fmla="*/ 3704 w 4236"/>
              <a:gd name="T17" fmla="*/ 141 h 279"/>
              <a:gd name="T18" fmla="*/ 3618 w 4236"/>
              <a:gd name="T19" fmla="*/ 188 h 279"/>
              <a:gd name="T20" fmla="*/ 3464 w 4236"/>
              <a:gd name="T21" fmla="*/ 272 h 279"/>
              <a:gd name="T22" fmla="*/ 3644 w 4236"/>
              <a:gd name="T23" fmla="*/ 188 h 279"/>
              <a:gd name="T24" fmla="*/ 3464 w 4236"/>
              <a:gd name="T25" fmla="*/ 0 h 279"/>
              <a:gd name="T26" fmla="*/ 3324 w 4236"/>
              <a:gd name="T27" fmla="*/ 121 h 279"/>
              <a:gd name="T28" fmla="*/ 3324 w 4236"/>
              <a:gd name="T29" fmla="*/ 277 h 279"/>
              <a:gd name="T30" fmla="*/ 3106 w 4236"/>
              <a:gd name="T31" fmla="*/ 121 h 279"/>
              <a:gd name="T32" fmla="*/ 3040 w 4236"/>
              <a:gd name="T33" fmla="*/ 244 h 279"/>
              <a:gd name="T34" fmla="*/ 3040 w 4236"/>
              <a:gd name="T35" fmla="*/ 132 h 279"/>
              <a:gd name="T36" fmla="*/ 2932 w 4236"/>
              <a:gd name="T37" fmla="*/ 201 h 279"/>
              <a:gd name="T38" fmla="*/ 2920 w 4236"/>
              <a:gd name="T39" fmla="*/ 169 h 279"/>
              <a:gd name="T40" fmla="*/ 2935 w 4236"/>
              <a:gd name="T41" fmla="*/ 272 h 279"/>
              <a:gd name="T42" fmla="*/ 2822 w 4236"/>
              <a:gd name="T43" fmla="*/ 124 h 279"/>
              <a:gd name="T44" fmla="*/ 2920 w 4236"/>
              <a:gd name="T45" fmla="*/ 169 h 279"/>
              <a:gd name="T46" fmla="*/ 2641 w 4236"/>
              <a:gd name="T47" fmla="*/ 130 h 279"/>
              <a:gd name="T48" fmla="*/ 2786 w 4236"/>
              <a:gd name="T49" fmla="*/ 272 h 279"/>
              <a:gd name="T50" fmla="*/ 2615 w 4236"/>
              <a:gd name="T51" fmla="*/ 272 h 279"/>
              <a:gd name="T52" fmla="*/ 2292 w 4236"/>
              <a:gd name="T53" fmla="*/ 272 h 279"/>
              <a:gd name="T54" fmla="*/ 2412 w 4236"/>
              <a:gd name="T55" fmla="*/ 272 h 279"/>
              <a:gd name="T56" fmla="*/ 2316 w 4236"/>
              <a:gd name="T57" fmla="*/ 131 h 279"/>
              <a:gd name="T58" fmla="*/ 2156 w 4236"/>
              <a:gd name="T59" fmla="*/ 255 h 279"/>
              <a:gd name="T60" fmla="*/ 2091 w 4236"/>
              <a:gd name="T61" fmla="*/ 227 h 279"/>
              <a:gd name="T62" fmla="*/ 2234 w 4236"/>
              <a:gd name="T63" fmla="*/ 272 h 279"/>
              <a:gd name="T64" fmla="*/ 2113 w 4236"/>
              <a:gd name="T65" fmla="*/ 141 h 279"/>
              <a:gd name="T66" fmla="*/ 2063 w 4236"/>
              <a:gd name="T67" fmla="*/ 104 h 279"/>
              <a:gd name="T68" fmla="*/ 1899 w 4236"/>
              <a:gd name="T69" fmla="*/ 104 h 279"/>
              <a:gd name="T70" fmla="*/ 1725 w 4236"/>
              <a:gd name="T71" fmla="*/ 0 h 279"/>
              <a:gd name="T72" fmla="*/ 1591 w 4236"/>
              <a:gd name="T73" fmla="*/ 121 h 279"/>
              <a:gd name="T74" fmla="*/ 1591 w 4236"/>
              <a:gd name="T75" fmla="*/ 99 h 279"/>
              <a:gd name="T76" fmla="*/ 1593 w 4236"/>
              <a:gd name="T77" fmla="*/ 255 h 279"/>
              <a:gd name="T78" fmla="*/ 1439 w 4236"/>
              <a:gd name="T79" fmla="*/ 175 h 279"/>
              <a:gd name="T80" fmla="*/ 1299 w 4236"/>
              <a:gd name="T81" fmla="*/ 188 h 279"/>
              <a:gd name="T82" fmla="*/ 1324 w 4236"/>
              <a:gd name="T83" fmla="*/ 194 h 279"/>
              <a:gd name="T84" fmla="*/ 1159 w 4236"/>
              <a:gd name="T85" fmla="*/ 255 h 279"/>
              <a:gd name="T86" fmla="*/ 1225 w 4236"/>
              <a:gd name="T87" fmla="*/ 132 h 279"/>
              <a:gd name="T88" fmla="*/ 1225 w 4236"/>
              <a:gd name="T89" fmla="*/ 244 h 279"/>
              <a:gd name="T90" fmla="*/ 982 w 4236"/>
              <a:gd name="T91" fmla="*/ 272 h 279"/>
              <a:gd name="T92" fmla="*/ 1035 w 4236"/>
              <a:gd name="T93" fmla="*/ 99 h 279"/>
              <a:gd name="T94" fmla="*/ 959 w 4236"/>
              <a:gd name="T95" fmla="*/ 156 h 279"/>
              <a:gd name="T96" fmla="*/ 768 w 4236"/>
              <a:gd name="T97" fmla="*/ 175 h 279"/>
              <a:gd name="T98" fmla="*/ 829 w 4236"/>
              <a:gd name="T99" fmla="*/ 277 h 279"/>
              <a:gd name="T100" fmla="*/ 908 w 4236"/>
              <a:gd name="T101" fmla="*/ 194 h 279"/>
              <a:gd name="T102" fmla="*/ 538 w 4236"/>
              <a:gd name="T103" fmla="*/ 188 h 279"/>
              <a:gd name="T104" fmla="*/ 602 w 4236"/>
              <a:gd name="T105" fmla="*/ 99 h 279"/>
              <a:gd name="T106" fmla="*/ 668 w 4236"/>
              <a:gd name="T107" fmla="*/ 272 h 279"/>
              <a:gd name="T108" fmla="*/ 317 w 4236"/>
              <a:gd name="T109" fmla="*/ 272 h 279"/>
              <a:gd name="T110" fmla="*/ 438 w 4236"/>
              <a:gd name="T111" fmla="*/ 272 h 279"/>
              <a:gd name="T112" fmla="*/ 341 w 4236"/>
              <a:gd name="T113" fmla="*/ 131 h 279"/>
              <a:gd name="T114" fmla="*/ 28 w 4236"/>
              <a:gd name="T115" fmla="*/ 145 h 279"/>
              <a:gd name="T116" fmla="*/ 0 w 4236"/>
              <a:gd name="T117" fmla="*/ 145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36" h="279">
                <a:moveTo>
                  <a:pt x="4112" y="0"/>
                </a:moveTo>
                <a:cubicBezTo>
                  <a:pt x="4088" y="0"/>
                  <a:pt x="4088" y="0"/>
                  <a:pt x="4088" y="0"/>
                </a:cubicBezTo>
                <a:cubicBezTo>
                  <a:pt x="4088" y="272"/>
                  <a:pt x="4088" y="272"/>
                  <a:pt x="4088" y="272"/>
                </a:cubicBezTo>
                <a:cubicBezTo>
                  <a:pt x="4112" y="272"/>
                  <a:pt x="4112" y="272"/>
                  <a:pt x="4112" y="272"/>
                </a:cubicBezTo>
                <a:cubicBezTo>
                  <a:pt x="4112" y="184"/>
                  <a:pt x="4112" y="184"/>
                  <a:pt x="4112" y="184"/>
                </a:cubicBezTo>
                <a:cubicBezTo>
                  <a:pt x="4200" y="272"/>
                  <a:pt x="4200" y="272"/>
                  <a:pt x="4200" y="272"/>
                </a:cubicBezTo>
                <a:cubicBezTo>
                  <a:pt x="4236" y="272"/>
                  <a:pt x="4236" y="272"/>
                  <a:pt x="4236" y="272"/>
                </a:cubicBezTo>
                <a:cubicBezTo>
                  <a:pt x="4143" y="181"/>
                  <a:pt x="4143" y="181"/>
                  <a:pt x="4143" y="181"/>
                </a:cubicBezTo>
                <a:cubicBezTo>
                  <a:pt x="4227" y="104"/>
                  <a:pt x="4227" y="104"/>
                  <a:pt x="4227" y="104"/>
                </a:cubicBezTo>
                <a:cubicBezTo>
                  <a:pt x="4192" y="104"/>
                  <a:pt x="4192" y="104"/>
                  <a:pt x="4192" y="104"/>
                </a:cubicBezTo>
                <a:cubicBezTo>
                  <a:pt x="4112" y="180"/>
                  <a:pt x="4112" y="180"/>
                  <a:pt x="4112" y="180"/>
                </a:cubicBezTo>
                <a:lnTo>
                  <a:pt x="4112" y="0"/>
                </a:lnTo>
                <a:close/>
                <a:moveTo>
                  <a:pt x="3881" y="104"/>
                </a:moveTo>
                <a:cubicBezTo>
                  <a:pt x="3882" y="116"/>
                  <a:pt x="3883" y="132"/>
                  <a:pt x="3883" y="141"/>
                </a:cubicBezTo>
                <a:cubicBezTo>
                  <a:pt x="3883" y="272"/>
                  <a:pt x="3883" y="272"/>
                  <a:pt x="3883" y="272"/>
                </a:cubicBezTo>
                <a:cubicBezTo>
                  <a:pt x="3907" y="272"/>
                  <a:pt x="3907" y="272"/>
                  <a:pt x="3907" y="272"/>
                </a:cubicBezTo>
                <a:cubicBezTo>
                  <a:pt x="3907" y="186"/>
                  <a:pt x="3907" y="186"/>
                  <a:pt x="3907" y="186"/>
                </a:cubicBezTo>
                <a:cubicBezTo>
                  <a:pt x="3907" y="124"/>
                  <a:pt x="3953" y="121"/>
                  <a:pt x="3958" y="121"/>
                </a:cubicBezTo>
                <a:cubicBezTo>
                  <a:pt x="3993" y="121"/>
                  <a:pt x="4004" y="141"/>
                  <a:pt x="4004" y="179"/>
                </a:cubicBezTo>
                <a:cubicBezTo>
                  <a:pt x="4004" y="272"/>
                  <a:pt x="4004" y="272"/>
                  <a:pt x="4004" y="272"/>
                </a:cubicBezTo>
                <a:cubicBezTo>
                  <a:pt x="4027" y="272"/>
                  <a:pt x="4027" y="272"/>
                  <a:pt x="4027" y="272"/>
                </a:cubicBezTo>
                <a:cubicBezTo>
                  <a:pt x="4027" y="165"/>
                  <a:pt x="4027" y="165"/>
                  <a:pt x="4027" y="165"/>
                </a:cubicBezTo>
                <a:cubicBezTo>
                  <a:pt x="4027" y="123"/>
                  <a:pt x="4007" y="99"/>
                  <a:pt x="3964" y="99"/>
                </a:cubicBezTo>
                <a:cubicBezTo>
                  <a:pt x="3942" y="99"/>
                  <a:pt x="3918" y="112"/>
                  <a:pt x="3908" y="131"/>
                </a:cubicBezTo>
                <a:cubicBezTo>
                  <a:pt x="3907" y="131"/>
                  <a:pt x="3907" y="131"/>
                  <a:pt x="3907" y="131"/>
                </a:cubicBezTo>
                <a:cubicBezTo>
                  <a:pt x="3907" y="122"/>
                  <a:pt x="3907" y="113"/>
                  <a:pt x="3906" y="104"/>
                </a:cubicBezTo>
                <a:lnTo>
                  <a:pt x="3881" y="104"/>
                </a:lnTo>
                <a:close/>
                <a:moveTo>
                  <a:pt x="3799" y="188"/>
                </a:moveTo>
                <a:cubicBezTo>
                  <a:pt x="3799" y="201"/>
                  <a:pt x="3799" y="201"/>
                  <a:pt x="3799" y="201"/>
                </a:cubicBezTo>
                <a:cubicBezTo>
                  <a:pt x="3799" y="230"/>
                  <a:pt x="3782" y="255"/>
                  <a:pt x="3748" y="255"/>
                </a:cubicBezTo>
                <a:cubicBezTo>
                  <a:pt x="3729" y="255"/>
                  <a:pt x="3708" y="246"/>
                  <a:pt x="3708" y="224"/>
                </a:cubicBezTo>
                <a:cubicBezTo>
                  <a:pt x="3708" y="190"/>
                  <a:pt x="3762" y="188"/>
                  <a:pt x="3787" y="188"/>
                </a:cubicBezTo>
                <a:lnTo>
                  <a:pt x="3799" y="188"/>
                </a:lnTo>
                <a:close/>
                <a:moveTo>
                  <a:pt x="3787" y="169"/>
                </a:moveTo>
                <a:cubicBezTo>
                  <a:pt x="3747" y="169"/>
                  <a:pt x="3682" y="172"/>
                  <a:pt x="3682" y="227"/>
                </a:cubicBezTo>
                <a:cubicBezTo>
                  <a:pt x="3682" y="260"/>
                  <a:pt x="3710" y="277"/>
                  <a:pt x="3740" y="277"/>
                </a:cubicBezTo>
                <a:cubicBezTo>
                  <a:pt x="3767" y="277"/>
                  <a:pt x="3786" y="267"/>
                  <a:pt x="3800" y="245"/>
                </a:cubicBezTo>
                <a:cubicBezTo>
                  <a:pt x="3800" y="245"/>
                  <a:pt x="3800" y="245"/>
                  <a:pt x="3800" y="245"/>
                </a:cubicBezTo>
                <a:cubicBezTo>
                  <a:pt x="3800" y="254"/>
                  <a:pt x="3801" y="264"/>
                  <a:pt x="3802" y="272"/>
                </a:cubicBezTo>
                <a:cubicBezTo>
                  <a:pt x="3825" y="272"/>
                  <a:pt x="3825" y="272"/>
                  <a:pt x="3825" y="272"/>
                </a:cubicBezTo>
                <a:cubicBezTo>
                  <a:pt x="3824" y="263"/>
                  <a:pt x="3823" y="247"/>
                  <a:pt x="3823" y="234"/>
                </a:cubicBezTo>
                <a:cubicBezTo>
                  <a:pt x="3823" y="159"/>
                  <a:pt x="3823" y="159"/>
                  <a:pt x="3823" y="159"/>
                </a:cubicBezTo>
                <a:cubicBezTo>
                  <a:pt x="3823" y="118"/>
                  <a:pt x="3794" y="99"/>
                  <a:pt x="3761" y="99"/>
                </a:cubicBezTo>
                <a:cubicBezTo>
                  <a:pt x="3729" y="99"/>
                  <a:pt x="3705" y="108"/>
                  <a:pt x="3690" y="124"/>
                </a:cubicBezTo>
                <a:cubicBezTo>
                  <a:pt x="3704" y="141"/>
                  <a:pt x="3704" y="141"/>
                  <a:pt x="3704" y="141"/>
                </a:cubicBezTo>
                <a:cubicBezTo>
                  <a:pt x="3719" y="128"/>
                  <a:pt x="3736" y="121"/>
                  <a:pt x="3756" y="121"/>
                </a:cubicBezTo>
                <a:cubicBezTo>
                  <a:pt x="3785" y="121"/>
                  <a:pt x="3799" y="135"/>
                  <a:pt x="3799" y="165"/>
                </a:cubicBezTo>
                <a:cubicBezTo>
                  <a:pt x="3799" y="169"/>
                  <a:pt x="3799" y="169"/>
                  <a:pt x="3799" y="169"/>
                </a:cubicBezTo>
                <a:lnTo>
                  <a:pt x="3787" y="169"/>
                </a:lnTo>
                <a:close/>
                <a:moveTo>
                  <a:pt x="3618" y="188"/>
                </a:moveTo>
                <a:cubicBezTo>
                  <a:pt x="3618" y="226"/>
                  <a:pt x="3594" y="255"/>
                  <a:pt x="3554" y="255"/>
                </a:cubicBezTo>
                <a:cubicBezTo>
                  <a:pt x="3515" y="255"/>
                  <a:pt x="3487" y="226"/>
                  <a:pt x="3487" y="188"/>
                </a:cubicBezTo>
                <a:cubicBezTo>
                  <a:pt x="3487" y="150"/>
                  <a:pt x="3515" y="121"/>
                  <a:pt x="3554" y="121"/>
                </a:cubicBezTo>
                <a:cubicBezTo>
                  <a:pt x="3594" y="121"/>
                  <a:pt x="3618" y="150"/>
                  <a:pt x="3618" y="188"/>
                </a:cubicBezTo>
                <a:moveTo>
                  <a:pt x="3464" y="272"/>
                </a:moveTo>
                <a:cubicBezTo>
                  <a:pt x="3488" y="272"/>
                  <a:pt x="3488" y="272"/>
                  <a:pt x="3488" y="272"/>
                </a:cubicBezTo>
                <a:cubicBezTo>
                  <a:pt x="3488" y="244"/>
                  <a:pt x="3488" y="244"/>
                  <a:pt x="3488" y="244"/>
                </a:cubicBezTo>
                <a:cubicBezTo>
                  <a:pt x="3489" y="244"/>
                  <a:pt x="3489" y="244"/>
                  <a:pt x="3489" y="244"/>
                </a:cubicBezTo>
                <a:cubicBezTo>
                  <a:pt x="3504" y="267"/>
                  <a:pt x="3532" y="277"/>
                  <a:pt x="3554" y="277"/>
                </a:cubicBezTo>
                <a:cubicBezTo>
                  <a:pt x="3607" y="277"/>
                  <a:pt x="3644" y="239"/>
                  <a:pt x="3644" y="188"/>
                </a:cubicBezTo>
                <a:cubicBezTo>
                  <a:pt x="3644" y="137"/>
                  <a:pt x="3607" y="99"/>
                  <a:pt x="3554" y="99"/>
                </a:cubicBezTo>
                <a:cubicBezTo>
                  <a:pt x="3532" y="99"/>
                  <a:pt x="3504" y="109"/>
                  <a:pt x="3489" y="132"/>
                </a:cubicBezTo>
                <a:cubicBezTo>
                  <a:pt x="3488" y="132"/>
                  <a:pt x="3488" y="132"/>
                  <a:pt x="3488" y="132"/>
                </a:cubicBezTo>
                <a:cubicBezTo>
                  <a:pt x="3488" y="0"/>
                  <a:pt x="3488" y="0"/>
                  <a:pt x="3488" y="0"/>
                </a:cubicBezTo>
                <a:cubicBezTo>
                  <a:pt x="3464" y="0"/>
                  <a:pt x="3464" y="0"/>
                  <a:pt x="3464" y="0"/>
                </a:cubicBezTo>
                <a:lnTo>
                  <a:pt x="3464" y="272"/>
                </a:lnTo>
                <a:close/>
                <a:moveTo>
                  <a:pt x="3388" y="188"/>
                </a:moveTo>
                <a:cubicBezTo>
                  <a:pt x="3388" y="226"/>
                  <a:pt x="3364" y="255"/>
                  <a:pt x="3324" y="255"/>
                </a:cubicBezTo>
                <a:cubicBezTo>
                  <a:pt x="3286" y="255"/>
                  <a:pt x="3261" y="226"/>
                  <a:pt x="3261" y="188"/>
                </a:cubicBezTo>
                <a:cubicBezTo>
                  <a:pt x="3261" y="150"/>
                  <a:pt x="3286" y="121"/>
                  <a:pt x="3324" y="121"/>
                </a:cubicBezTo>
                <a:cubicBezTo>
                  <a:pt x="3364" y="121"/>
                  <a:pt x="3388" y="150"/>
                  <a:pt x="3388" y="188"/>
                </a:cubicBezTo>
                <a:moveTo>
                  <a:pt x="3414" y="188"/>
                </a:moveTo>
                <a:cubicBezTo>
                  <a:pt x="3414" y="137"/>
                  <a:pt x="3377" y="99"/>
                  <a:pt x="3324" y="99"/>
                </a:cubicBezTo>
                <a:cubicBezTo>
                  <a:pt x="3272" y="99"/>
                  <a:pt x="3235" y="137"/>
                  <a:pt x="3235" y="188"/>
                </a:cubicBezTo>
                <a:cubicBezTo>
                  <a:pt x="3235" y="239"/>
                  <a:pt x="3272" y="277"/>
                  <a:pt x="3324" y="277"/>
                </a:cubicBezTo>
                <a:cubicBezTo>
                  <a:pt x="3377" y="277"/>
                  <a:pt x="3414" y="239"/>
                  <a:pt x="3414" y="188"/>
                </a:cubicBezTo>
                <a:moveTo>
                  <a:pt x="3169" y="188"/>
                </a:moveTo>
                <a:cubicBezTo>
                  <a:pt x="3169" y="226"/>
                  <a:pt x="3145" y="255"/>
                  <a:pt x="3106" y="255"/>
                </a:cubicBezTo>
                <a:cubicBezTo>
                  <a:pt x="3067" y="255"/>
                  <a:pt x="3038" y="226"/>
                  <a:pt x="3038" y="188"/>
                </a:cubicBezTo>
                <a:cubicBezTo>
                  <a:pt x="3038" y="150"/>
                  <a:pt x="3067" y="121"/>
                  <a:pt x="3106" y="121"/>
                </a:cubicBezTo>
                <a:cubicBezTo>
                  <a:pt x="3145" y="121"/>
                  <a:pt x="3169" y="150"/>
                  <a:pt x="3169" y="188"/>
                </a:cubicBezTo>
                <a:moveTo>
                  <a:pt x="3016" y="272"/>
                </a:moveTo>
                <a:cubicBezTo>
                  <a:pt x="3040" y="272"/>
                  <a:pt x="3040" y="272"/>
                  <a:pt x="3040" y="272"/>
                </a:cubicBezTo>
                <a:cubicBezTo>
                  <a:pt x="3040" y="244"/>
                  <a:pt x="3040" y="244"/>
                  <a:pt x="3040" y="244"/>
                </a:cubicBezTo>
                <a:cubicBezTo>
                  <a:pt x="3040" y="244"/>
                  <a:pt x="3040" y="244"/>
                  <a:pt x="3040" y="244"/>
                </a:cubicBezTo>
                <a:cubicBezTo>
                  <a:pt x="3056" y="267"/>
                  <a:pt x="3083" y="277"/>
                  <a:pt x="3106" y="277"/>
                </a:cubicBezTo>
                <a:cubicBezTo>
                  <a:pt x="3158" y="277"/>
                  <a:pt x="3195" y="239"/>
                  <a:pt x="3195" y="188"/>
                </a:cubicBezTo>
                <a:cubicBezTo>
                  <a:pt x="3195" y="137"/>
                  <a:pt x="3158" y="99"/>
                  <a:pt x="3106" y="99"/>
                </a:cubicBezTo>
                <a:cubicBezTo>
                  <a:pt x="3083" y="99"/>
                  <a:pt x="3056" y="109"/>
                  <a:pt x="3040" y="132"/>
                </a:cubicBezTo>
                <a:cubicBezTo>
                  <a:pt x="3040" y="132"/>
                  <a:pt x="3040" y="132"/>
                  <a:pt x="3040" y="132"/>
                </a:cubicBezTo>
                <a:cubicBezTo>
                  <a:pt x="3040" y="0"/>
                  <a:pt x="3040" y="0"/>
                  <a:pt x="3040" y="0"/>
                </a:cubicBezTo>
                <a:cubicBezTo>
                  <a:pt x="3016" y="0"/>
                  <a:pt x="3016" y="0"/>
                  <a:pt x="3016" y="0"/>
                </a:cubicBezTo>
                <a:lnTo>
                  <a:pt x="3016" y="272"/>
                </a:lnTo>
                <a:close/>
                <a:moveTo>
                  <a:pt x="2932" y="188"/>
                </a:moveTo>
                <a:cubicBezTo>
                  <a:pt x="2932" y="201"/>
                  <a:pt x="2932" y="201"/>
                  <a:pt x="2932" y="201"/>
                </a:cubicBezTo>
                <a:cubicBezTo>
                  <a:pt x="2932" y="230"/>
                  <a:pt x="2915" y="255"/>
                  <a:pt x="2880" y="255"/>
                </a:cubicBezTo>
                <a:cubicBezTo>
                  <a:pt x="2861" y="255"/>
                  <a:pt x="2841" y="246"/>
                  <a:pt x="2841" y="224"/>
                </a:cubicBezTo>
                <a:cubicBezTo>
                  <a:pt x="2841" y="190"/>
                  <a:pt x="2895" y="188"/>
                  <a:pt x="2919" y="188"/>
                </a:cubicBezTo>
                <a:lnTo>
                  <a:pt x="2932" y="188"/>
                </a:lnTo>
                <a:close/>
                <a:moveTo>
                  <a:pt x="2920" y="169"/>
                </a:moveTo>
                <a:cubicBezTo>
                  <a:pt x="2879" y="169"/>
                  <a:pt x="2815" y="172"/>
                  <a:pt x="2815" y="227"/>
                </a:cubicBezTo>
                <a:cubicBezTo>
                  <a:pt x="2815" y="260"/>
                  <a:pt x="2843" y="277"/>
                  <a:pt x="2873" y="277"/>
                </a:cubicBezTo>
                <a:cubicBezTo>
                  <a:pt x="2900" y="277"/>
                  <a:pt x="2919" y="267"/>
                  <a:pt x="2932" y="245"/>
                </a:cubicBezTo>
                <a:cubicBezTo>
                  <a:pt x="2933" y="245"/>
                  <a:pt x="2933" y="245"/>
                  <a:pt x="2933" y="245"/>
                </a:cubicBezTo>
                <a:cubicBezTo>
                  <a:pt x="2933" y="254"/>
                  <a:pt x="2934" y="264"/>
                  <a:pt x="2935" y="272"/>
                </a:cubicBezTo>
                <a:cubicBezTo>
                  <a:pt x="2958" y="272"/>
                  <a:pt x="2958" y="272"/>
                  <a:pt x="2958" y="272"/>
                </a:cubicBezTo>
                <a:cubicBezTo>
                  <a:pt x="2957" y="263"/>
                  <a:pt x="2955" y="247"/>
                  <a:pt x="2955" y="234"/>
                </a:cubicBezTo>
                <a:cubicBezTo>
                  <a:pt x="2955" y="159"/>
                  <a:pt x="2955" y="159"/>
                  <a:pt x="2955" y="159"/>
                </a:cubicBezTo>
                <a:cubicBezTo>
                  <a:pt x="2955" y="118"/>
                  <a:pt x="2927" y="99"/>
                  <a:pt x="2894" y="99"/>
                </a:cubicBezTo>
                <a:cubicBezTo>
                  <a:pt x="2862" y="99"/>
                  <a:pt x="2838" y="108"/>
                  <a:pt x="2822" y="124"/>
                </a:cubicBezTo>
                <a:cubicBezTo>
                  <a:pt x="2837" y="141"/>
                  <a:pt x="2837" y="141"/>
                  <a:pt x="2837" y="141"/>
                </a:cubicBezTo>
                <a:cubicBezTo>
                  <a:pt x="2851" y="128"/>
                  <a:pt x="2869" y="121"/>
                  <a:pt x="2888" y="121"/>
                </a:cubicBezTo>
                <a:cubicBezTo>
                  <a:pt x="2918" y="121"/>
                  <a:pt x="2932" y="135"/>
                  <a:pt x="2932" y="165"/>
                </a:cubicBezTo>
                <a:cubicBezTo>
                  <a:pt x="2932" y="169"/>
                  <a:pt x="2932" y="169"/>
                  <a:pt x="2932" y="169"/>
                </a:cubicBezTo>
                <a:lnTo>
                  <a:pt x="2920" y="169"/>
                </a:lnTo>
                <a:close/>
                <a:moveTo>
                  <a:pt x="2641" y="41"/>
                </a:moveTo>
                <a:cubicBezTo>
                  <a:pt x="2687" y="41"/>
                  <a:pt x="2687" y="41"/>
                  <a:pt x="2687" y="41"/>
                </a:cubicBezTo>
                <a:cubicBezTo>
                  <a:pt x="2734" y="41"/>
                  <a:pt x="2749" y="61"/>
                  <a:pt x="2749" y="85"/>
                </a:cubicBezTo>
                <a:cubicBezTo>
                  <a:pt x="2749" y="110"/>
                  <a:pt x="2734" y="130"/>
                  <a:pt x="2687" y="130"/>
                </a:cubicBezTo>
                <a:cubicBezTo>
                  <a:pt x="2641" y="130"/>
                  <a:pt x="2641" y="130"/>
                  <a:pt x="2641" y="130"/>
                </a:cubicBezTo>
                <a:lnTo>
                  <a:pt x="2641" y="41"/>
                </a:lnTo>
                <a:close/>
                <a:moveTo>
                  <a:pt x="2641" y="154"/>
                </a:moveTo>
                <a:cubicBezTo>
                  <a:pt x="2684" y="154"/>
                  <a:pt x="2684" y="154"/>
                  <a:pt x="2684" y="154"/>
                </a:cubicBezTo>
                <a:cubicBezTo>
                  <a:pt x="2754" y="272"/>
                  <a:pt x="2754" y="272"/>
                  <a:pt x="2754" y="272"/>
                </a:cubicBezTo>
                <a:cubicBezTo>
                  <a:pt x="2786" y="272"/>
                  <a:pt x="2786" y="272"/>
                  <a:pt x="2786" y="272"/>
                </a:cubicBezTo>
                <a:cubicBezTo>
                  <a:pt x="2712" y="151"/>
                  <a:pt x="2712" y="151"/>
                  <a:pt x="2712" y="151"/>
                </a:cubicBezTo>
                <a:cubicBezTo>
                  <a:pt x="2754" y="148"/>
                  <a:pt x="2778" y="121"/>
                  <a:pt x="2778" y="85"/>
                </a:cubicBezTo>
                <a:cubicBezTo>
                  <a:pt x="2778" y="40"/>
                  <a:pt x="2746" y="17"/>
                  <a:pt x="2694" y="17"/>
                </a:cubicBezTo>
                <a:cubicBezTo>
                  <a:pt x="2615" y="17"/>
                  <a:pt x="2615" y="17"/>
                  <a:pt x="2615" y="17"/>
                </a:cubicBezTo>
                <a:cubicBezTo>
                  <a:pt x="2615" y="272"/>
                  <a:pt x="2615" y="272"/>
                  <a:pt x="2615" y="272"/>
                </a:cubicBezTo>
                <a:cubicBezTo>
                  <a:pt x="2641" y="272"/>
                  <a:pt x="2641" y="272"/>
                  <a:pt x="2641" y="272"/>
                </a:cubicBezTo>
                <a:lnTo>
                  <a:pt x="2641" y="154"/>
                </a:lnTo>
                <a:close/>
                <a:moveTo>
                  <a:pt x="2290" y="104"/>
                </a:moveTo>
                <a:cubicBezTo>
                  <a:pt x="2291" y="116"/>
                  <a:pt x="2292" y="132"/>
                  <a:pt x="2292" y="141"/>
                </a:cubicBezTo>
                <a:cubicBezTo>
                  <a:pt x="2292" y="272"/>
                  <a:pt x="2292" y="272"/>
                  <a:pt x="2292" y="272"/>
                </a:cubicBezTo>
                <a:cubicBezTo>
                  <a:pt x="2316" y="272"/>
                  <a:pt x="2316" y="272"/>
                  <a:pt x="2316" y="272"/>
                </a:cubicBezTo>
                <a:cubicBezTo>
                  <a:pt x="2316" y="186"/>
                  <a:pt x="2316" y="186"/>
                  <a:pt x="2316" y="186"/>
                </a:cubicBezTo>
                <a:cubicBezTo>
                  <a:pt x="2316" y="124"/>
                  <a:pt x="2362" y="121"/>
                  <a:pt x="2367" y="121"/>
                </a:cubicBezTo>
                <a:cubicBezTo>
                  <a:pt x="2402" y="121"/>
                  <a:pt x="2412" y="141"/>
                  <a:pt x="2412" y="179"/>
                </a:cubicBezTo>
                <a:cubicBezTo>
                  <a:pt x="2412" y="272"/>
                  <a:pt x="2412" y="272"/>
                  <a:pt x="2412" y="272"/>
                </a:cubicBezTo>
                <a:cubicBezTo>
                  <a:pt x="2436" y="272"/>
                  <a:pt x="2436" y="272"/>
                  <a:pt x="2436" y="272"/>
                </a:cubicBezTo>
                <a:cubicBezTo>
                  <a:pt x="2436" y="165"/>
                  <a:pt x="2436" y="165"/>
                  <a:pt x="2436" y="165"/>
                </a:cubicBezTo>
                <a:cubicBezTo>
                  <a:pt x="2436" y="123"/>
                  <a:pt x="2416" y="99"/>
                  <a:pt x="2373" y="99"/>
                </a:cubicBezTo>
                <a:cubicBezTo>
                  <a:pt x="2351" y="99"/>
                  <a:pt x="2327" y="112"/>
                  <a:pt x="2316" y="131"/>
                </a:cubicBezTo>
                <a:cubicBezTo>
                  <a:pt x="2316" y="131"/>
                  <a:pt x="2316" y="131"/>
                  <a:pt x="2316" y="131"/>
                </a:cubicBezTo>
                <a:cubicBezTo>
                  <a:pt x="2316" y="122"/>
                  <a:pt x="2316" y="113"/>
                  <a:pt x="2315" y="104"/>
                </a:cubicBezTo>
                <a:lnTo>
                  <a:pt x="2290" y="104"/>
                </a:lnTo>
                <a:close/>
                <a:moveTo>
                  <a:pt x="2208" y="188"/>
                </a:moveTo>
                <a:cubicBezTo>
                  <a:pt x="2208" y="201"/>
                  <a:pt x="2208" y="201"/>
                  <a:pt x="2208" y="201"/>
                </a:cubicBezTo>
                <a:cubicBezTo>
                  <a:pt x="2208" y="230"/>
                  <a:pt x="2191" y="255"/>
                  <a:pt x="2156" y="255"/>
                </a:cubicBezTo>
                <a:cubicBezTo>
                  <a:pt x="2137" y="255"/>
                  <a:pt x="2117" y="246"/>
                  <a:pt x="2117" y="224"/>
                </a:cubicBezTo>
                <a:cubicBezTo>
                  <a:pt x="2117" y="190"/>
                  <a:pt x="2171" y="188"/>
                  <a:pt x="2195" y="188"/>
                </a:cubicBezTo>
                <a:lnTo>
                  <a:pt x="2208" y="188"/>
                </a:lnTo>
                <a:close/>
                <a:moveTo>
                  <a:pt x="2196" y="169"/>
                </a:moveTo>
                <a:cubicBezTo>
                  <a:pt x="2155" y="169"/>
                  <a:pt x="2091" y="172"/>
                  <a:pt x="2091" y="227"/>
                </a:cubicBezTo>
                <a:cubicBezTo>
                  <a:pt x="2091" y="260"/>
                  <a:pt x="2119" y="277"/>
                  <a:pt x="2149" y="277"/>
                </a:cubicBezTo>
                <a:cubicBezTo>
                  <a:pt x="2176" y="277"/>
                  <a:pt x="2195" y="267"/>
                  <a:pt x="2208" y="245"/>
                </a:cubicBezTo>
                <a:cubicBezTo>
                  <a:pt x="2209" y="245"/>
                  <a:pt x="2209" y="245"/>
                  <a:pt x="2209" y="245"/>
                </a:cubicBezTo>
                <a:cubicBezTo>
                  <a:pt x="2209" y="254"/>
                  <a:pt x="2210" y="264"/>
                  <a:pt x="2211" y="272"/>
                </a:cubicBezTo>
                <a:cubicBezTo>
                  <a:pt x="2234" y="272"/>
                  <a:pt x="2234" y="272"/>
                  <a:pt x="2234" y="272"/>
                </a:cubicBezTo>
                <a:cubicBezTo>
                  <a:pt x="2233" y="263"/>
                  <a:pt x="2231" y="247"/>
                  <a:pt x="2231" y="234"/>
                </a:cubicBezTo>
                <a:cubicBezTo>
                  <a:pt x="2231" y="159"/>
                  <a:pt x="2231" y="159"/>
                  <a:pt x="2231" y="159"/>
                </a:cubicBezTo>
                <a:cubicBezTo>
                  <a:pt x="2231" y="118"/>
                  <a:pt x="2203" y="99"/>
                  <a:pt x="2170" y="99"/>
                </a:cubicBezTo>
                <a:cubicBezTo>
                  <a:pt x="2138" y="99"/>
                  <a:pt x="2114" y="108"/>
                  <a:pt x="2099" y="124"/>
                </a:cubicBezTo>
                <a:cubicBezTo>
                  <a:pt x="2113" y="141"/>
                  <a:pt x="2113" y="141"/>
                  <a:pt x="2113" y="141"/>
                </a:cubicBezTo>
                <a:cubicBezTo>
                  <a:pt x="2127" y="128"/>
                  <a:pt x="2145" y="121"/>
                  <a:pt x="2164" y="121"/>
                </a:cubicBezTo>
                <a:cubicBezTo>
                  <a:pt x="2194" y="121"/>
                  <a:pt x="2208" y="135"/>
                  <a:pt x="2208" y="165"/>
                </a:cubicBezTo>
                <a:cubicBezTo>
                  <a:pt x="2208" y="169"/>
                  <a:pt x="2208" y="169"/>
                  <a:pt x="2208" y="169"/>
                </a:cubicBezTo>
                <a:lnTo>
                  <a:pt x="2196" y="169"/>
                </a:lnTo>
                <a:close/>
                <a:moveTo>
                  <a:pt x="2063" y="104"/>
                </a:moveTo>
                <a:cubicBezTo>
                  <a:pt x="2036" y="104"/>
                  <a:pt x="2036" y="104"/>
                  <a:pt x="2036" y="104"/>
                </a:cubicBezTo>
                <a:cubicBezTo>
                  <a:pt x="1982" y="246"/>
                  <a:pt x="1982" y="246"/>
                  <a:pt x="1982" y="246"/>
                </a:cubicBezTo>
                <a:cubicBezTo>
                  <a:pt x="1982" y="246"/>
                  <a:pt x="1982" y="246"/>
                  <a:pt x="1982" y="246"/>
                </a:cubicBezTo>
                <a:cubicBezTo>
                  <a:pt x="1928" y="104"/>
                  <a:pt x="1928" y="104"/>
                  <a:pt x="1928" y="104"/>
                </a:cubicBezTo>
                <a:cubicBezTo>
                  <a:pt x="1899" y="104"/>
                  <a:pt x="1899" y="104"/>
                  <a:pt x="1899" y="104"/>
                </a:cubicBezTo>
                <a:cubicBezTo>
                  <a:pt x="1968" y="272"/>
                  <a:pt x="1968" y="272"/>
                  <a:pt x="1968" y="272"/>
                </a:cubicBezTo>
                <a:cubicBezTo>
                  <a:pt x="1994" y="272"/>
                  <a:pt x="1994" y="272"/>
                  <a:pt x="1994" y="272"/>
                </a:cubicBezTo>
                <a:lnTo>
                  <a:pt x="2063" y="104"/>
                </a:lnTo>
                <a:close/>
                <a:moveTo>
                  <a:pt x="1749" y="0"/>
                </a:moveTo>
                <a:cubicBezTo>
                  <a:pt x="1725" y="0"/>
                  <a:pt x="1725" y="0"/>
                  <a:pt x="1725" y="0"/>
                </a:cubicBezTo>
                <a:cubicBezTo>
                  <a:pt x="1725" y="272"/>
                  <a:pt x="1725" y="272"/>
                  <a:pt x="1725" y="272"/>
                </a:cubicBezTo>
                <a:cubicBezTo>
                  <a:pt x="1749" y="272"/>
                  <a:pt x="1749" y="272"/>
                  <a:pt x="1749" y="272"/>
                </a:cubicBezTo>
                <a:lnTo>
                  <a:pt x="1749" y="0"/>
                </a:lnTo>
                <a:close/>
                <a:moveTo>
                  <a:pt x="1532" y="175"/>
                </a:moveTo>
                <a:cubicBezTo>
                  <a:pt x="1532" y="147"/>
                  <a:pt x="1560" y="121"/>
                  <a:pt x="1591" y="121"/>
                </a:cubicBezTo>
                <a:cubicBezTo>
                  <a:pt x="1625" y="121"/>
                  <a:pt x="1646" y="143"/>
                  <a:pt x="1646" y="175"/>
                </a:cubicBezTo>
                <a:lnTo>
                  <a:pt x="1532" y="175"/>
                </a:lnTo>
                <a:close/>
                <a:moveTo>
                  <a:pt x="1672" y="194"/>
                </a:moveTo>
                <a:cubicBezTo>
                  <a:pt x="1672" y="184"/>
                  <a:pt x="1672" y="184"/>
                  <a:pt x="1672" y="184"/>
                </a:cubicBezTo>
                <a:cubicBezTo>
                  <a:pt x="1672" y="138"/>
                  <a:pt x="1642" y="100"/>
                  <a:pt x="1591" y="99"/>
                </a:cubicBezTo>
                <a:cubicBezTo>
                  <a:pt x="1543" y="99"/>
                  <a:pt x="1506" y="137"/>
                  <a:pt x="1506" y="188"/>
                </a:cubicBezTo>
                <a:cubicBezTo>
                  <a:pt x="1506" y="239"/>
                  <a:pt x="1543" y="277"/>
                  <a:pt x="1593" y="277"/>
                </a:cubicBezTo>
                <a:cubicBezTo>
                  <a:pt x="1621" y="277"/>
                  <a:pt x="1646" y="266"/>
                  <a:pt x="1665" y="241"/>
                </a:cubicBezTo>
                <a:cubicBezTo>
                  <a:pt x="1647" y="226"/>
                  <a:pt x="1647" y="226"/>
                  <a:pt x="1647" y="226"/>
                </a:cubicBezTo>
                <a:cubicBezTo>
                  <a:pt x="1638" y="241"/>
                  <a:pt x="1618" y="255"/>
                  <a:pt x="1593" y="255"/>
                </a:cubicBezTo>
                <a:cubicBezTo>
                  <a:pt x="1560" y="255"/>
                  <a:pt x="1534" y="228"/>
                  <a:pt x="1531" y="194"/>
                </a:cubicBezTo>
                <a:lnTo>
                  <a:pt x="1672" y="194"/>
                </a:lnTo>
                <a:close/>
                <a:moveTo>
                  <a:pt x="1325" y="175"/>
                </a:moveTo>
                <a:cubicBezTo>
                  <a:pt x="1325" y="147"/>
                  <a:pt x="1353" y="121"/>
                  <a:pt x="1384" y="121"/>
                </a:cubicBezTo>
                <a:cubicBezTo>
                  <a:pt x="1418" y="121"/>
                  <a:pt x="1439" y="143"/>
                  <a:pt x="1439" y="175"/>
                </a:cubicBezTo>
                <a:lnTo>
                  <a:pt x="1325" y="175"/>
                </a:lnTo>
                <a:close/>
                <a:moveTo>
                  <a:pt x="1465" y="194"/>
                </a:moveTo>
                <a:cubicBezTo>
                  <a:pt x="1465" y="184"/>
                  <a:pt x="1465" y="184"/>
                  <a:pt x="1465" y="184"/>
                </a:cubicBezTo>
                <a:cubicBezTo>
                  <a:pt x="1465" y="138"/>
                  <a:pt x="1435" y="100"/>
                  <a:pt x="1384" y="99"/>
                </a:cubicBezTo>
                <a:cubicBezTo>
                  <a:pt x="1336" y="99"/>
                  <a:pt x="1299" y="137"/>
                  <a:pt x="1299" y="188"/>
                </a:cubicBezTo>
                <a:cubicBezTo>
                  <a:pt x="1299" y="239"/>
                  <a:pt x="1336" y="277"/>
                  <a:pt x="1386" y="277"/>
                </a:cubicBezTo>
                <a:cubicBezTo>
                  <a:pt x="1414" y="277"/>
                  <a:pt x="1439" y="266"/>
                  <a:pt x="1459" y="241"/>
                </a:cubicBezTo>
                <a:cubicBezTo>
                  <a:pt x="1440" y="226"/>
                  <a:pt x="1440" y="226"/>
                  <a:pt x="1440" y="226"/>
                </a:cubicBezTo>
                <a:cubicBezTo>
                  <a:pt x="1431" y="241"/>
                  <a:pt x="1412" y="255"/>
                  <a:pt x="1386" y="255"/>
                </a:cubicBezTo>
                <a:cubicBezTo>
                  <a:pt x="1353" y="255"/>
                  <a:pt x="1327" y="228"/>
                  <a:pt x="1324" y="194"/>
                </a:cubicBezTo>
                <a:lnTo>
                  <a:pt x="1465" y="194"/>
                </a:lnTo>
                <a:close/>
                <a:moveTo>
                  <a:pt x="1095" y="188"/>
                </a:moveTo>
                <a:cubicBezTo>
                  <a:pt x="1095" y="150"/>
                  <a:pt x="1120" y="121"/>
                  <a:pt x="1159" y="121"/>
                </a:cubicBezTo>
                <a:cubicBezTo>
                  <a:pt x="1198" y="121"/>
                  <a:pt x="1226" y="150"/>
                  <a:pt x="1226" y="188"/>
                </a:cubicBezTo>
                <a:cubicBezTo>
                  <a:pt x="1226" y="226"/>
                  <a:pt x="1198" y="255"/>
                  <a:pt x="1159" y="255"/>
                </a:cubicBezTo>
                <a:cubicBezTo>
                  <a:pt x="1120" y="255"/>
                  <a:pt x="1095" y="226"/>
                  <a:pt x="1095" y="188"/>
                </a:cubicBezTo>
                <a:moveTo>
                  <a:pt x="1249" y="0"/>
                </a:moveTo>
                <a:cubicBezTo>
                  <a:pt x="1225" y="0"/>
                  <a:pt x="1225" y="0"/>
                  <a:pt x="1225" y="0"/>
                </a:cubicBezTo>
                <a:cubicBezTo>
                  <a:pt x="1225" y="132"/>
                  <a:pt x="1225" y="132"/>
                  <a:pt x="1225" y="132"/>
                </a:cubicBezTo>
                <a:cubicBezTo>
                  <a:pt x="1225" y="132"/>
                  <a:pt x="1225" y="132"/>
                  <a:pt x="1225" y="132"/>
                </a:cubicBezTo>
                <a:cubicBezTo>
                  <a:pt x="1209" y="109"/>
                  <a:pt x="1181" y="99"/>
                  <a:pt x="1159" y="99"/>
                </a:cubicBezTo>
                <a:cubicBezTo>
                  <a:pt x="1106" y="99"/>
                  <a:pt x="1069" y="137"/>
                  <a:pt x="1069" y="188"/>
                </a:cubicBezTo>
                <a:cubicBezTo>
                  <a:pt x="1069" y="239"/>
                  <a:pt x="1106" y="277"/>
                  <a:pt x="1159" y="277"/>
                </a:cubicBezTo>
                <a:cubicBezTo>
                  <a:pt x="1181" y="277"/>
                  <a:pt x="1209" y="267"/>
                  <a:pt x="1225" y="244"/>
                </a:cubicBezTo>
                <a:cubicBezTo>
                  <a:pt x="1225" y="244"/>
                  <a:pt x="1225" y="244"/>
                  <a:pt x="1225" y="244"/>
                </a:cubicBezTo>
                <a:cubicBezTo>
                  <a:pt x="1225" y="272"/>
                  <a:pt x="1225" y="272"/>
                  <a:pt x="1225" y="272"/>
                </a:cubicBezTo>
                <a:cubicBezTo>
                  <a:pt x="1249" y="272"/>
                  <a:pt x="1249" y="272"/>
                  <a:pt x="1249" y="272"/>
                </a:cubicBezTo>
                <a:lnTo>
                  <a:pt x="1249" y="0"/>
                </a:lnTo>
                <a:close/>
                <a:moveTo>
                  <a:pt x="959" y="272"/>
                </a:moveTo>
                <a:cubicBezTo>
                  <a:pt x="982" y="272"/>
                  <a:pt x="982" y="272"/>
                  <a:pt x="982" y="272"/>
                </a:cubicBezTo>
                <a:cubicBezTo>
                  <a:pt x="982" y="177"/>
                  <a:pt x="982" y="177"/>
                  <a:pt x="982" y="177"/>
                </a:cubicBezTo>
                <a:cubicBezTo>
                  <a:pt x="982" y="154"/>
                  <a:pt x="998" y="123"/>
                  <a:pt x="1034" y="123"/>
                </a:cubicBezTo>
                <a:cubicBezTo>
                  <a:pt x="1041" y="123"/>
                  <a:pt x="1045" y="124"/>
                  <a:pt x="1048" y="125"/>
                </a:cubicBezTo>
                <a:cubicBezTo>
                  <a:pt x="1053" y="102"/>
                  <a:pt x="1053" y="102"/>
                  <a:pt x="1053" y="102"/>
                </a:cubicBezTo>
                <a:cubicBezTo>
                  <a:pt x="1048" y="100"/>
                  <a:pt x="1042" y="99"/>
                  <a:pt x="1035" y="99"/>
                </a:cubicBezTo>
                <a:cubicBezTo>
                  <a:pt x="1006" y="99"/>
                  <a:pt x="988" y="117"/>
                  <a:pt x="981" y="135"/>
                </a:cubicBezTo>
                <a:cubicBezTo>
                  <a:pt x="980" y="135"/>
                  <a:pt x="980" y="135"/>
                  <a:pt x="980" y="135"/>
                </a:cubicBezTo>
                <a:cubicBezTo>
                  <a:pt x="980" y="104"/>
                  <a:pt x="980" y="104"/>
                  <a:pt x="980" y="104"/>
                </a:cubicBezTo>
                <a:cubicBezTo>
                  <a:pt x="957" y="104"/>
                  <a:pt x="957" y="104"/>
                  <a:pt x="957" y="104"/>
                </a:cubicBezTo>
                <a:cubicBezTo>
                  <a:pt x="958" y="128"/>
                  <a:pt x="959" y="141"/>
                  <a:pt x="959" y="156"/>
                </a:cubicBezTo>
                <a:lnTo>
                  <a:pt x="959" y="272"/>
                </a:lnTo>
                <a:close/>
                <a:moveTo>
                  <a:pt x="768" y="175"/>
                </a:moveTo>
                <a:cubicBezTo>
                  <a:pt x="768" y="147"/>
                  <a:pt x="796" y="121"/>
                  <a:pt x="827" y="121"/>
                </a:cubicBezTo>
                <a:cubicBezTo>
                  <a:pt x="861" y="121"/>
                  <a:pt x="882" y="143"/>
                  <a:pt x="882" y="175"/>
                </a:cubicBezTo>
                <a:lnTo>
                  <a:pt x="768" y="175"/>
                </a:lnTo>
                <a:close/>
                <a:moveTo>
                  <a:pt x="908" y="194"/>
                </a:moveTo>
                <a:cubicBezTo>
                  <a:pt x="908" y="184"/>
                  <a:pt x="908" y="184"/>
                  <a:pt x="908" y="184"/>
                </a:cubicBezTo>
                <a:cubicBezTo>
                  <a:pt x="908" y="138"/>
                  <a:pt x="878" y="100"/>
                  <a:pt x="827" y="99"/>
                </a:cubicBezTo>
                <a:cubicBezTo>
                  <a:pt x="779" y="99"/>
                  <a:pt x="742" y="137"/>
                  <a:pt x="742" y="188"/>
                </a:cubicBezTo>
                <a:cubicBezTo>
                  <a:pt x="742" y="239"/>
                  <a:pt x="779" y="277"/>
                  <a:pt x="829" y="277"/>
                </a:cubicBezTo>
                <a:cubicBezTo>
                  <a:pt x="857" y="277"/>
                  <a:pt x="882" y="266"/>
                  <a:pt x="901" y="241"/>
                </a:cubicBezTo>
                <a:cubicBezTo>
                  <a:pt x="883" y="226"/>
                  <a:pt x="883" y="226"/>
                  <a:pt x="883" y="226"/>
                </a:cubicBezTo>
                <a:cubicBezTo>
                  <a:pt x="874" y="241"/>
                  <a:pt x="854" y="255"/>
                  <a:pt x="829" y="255"/>
                </a:cubicBezTo>
                <a:cubicBezTo>
                  <a:pt x="796" y="255"/>
                  <a:pt x="770" y="228"/>
                  <a:pt x="767" y="194"/>
                </a:cubicBezTo>
                <a:lnTo>
                  <a:pt x="908" y="194"/>
                </a:lnTo>
                <a:close/>
                <a:moveTo>
                  <a:pt x="538" y="188"/>
                </a:moveTo>
                <a:cubicBezTo>
                  <a:pt x="538" y="150"/>
                  <a:pt x="562" y="121"/>
                  <a:pt x="602" y="121"/>
                </a:cubicBezTo>
                <a:cubicBezTo>
                  <a:pt x="641" y="121"/>
                  <a:pt x="669" y="150"/>
                  <a:pt x="669" y="188"/>
                </a:cubicBezTo>
                <a:cubicBezTo>
                  <a:pt x="669" y="226"/>
                  <a:pt x="641" y="255"/>
                  <a:pt x="602" y="255"/>
                </a:cubicBezTo>
                <a:cubicBezTo>
                  <a:pt x="562" y="255"/>
                  <a:pt x="538" y="226"/>
                  <a:pt x="538" y="188"/>
                </a:cubicBezTo>
                <a:moveTo>
                  <a:pt x="692" y="0"/>
                </a:moveTo>
                <a:cubicBezTo>
                  <a:pt x="668" y="0"/>
                  <a:pt x="668" y="0"/>
                  <a:pt x="668" y="0"/>
                </a:cubicBezTo>
                <a:cubicBezTo>
                  <a:pt x="668" y="132"/>
                  <a:pt x="668" y="132"/>
                  <a:pt x="668" y="132"/>
                </a:cubicBezTo>
                <a:cubicBezTo>
                  <a:pt x="667" y="132"/>
                  <a:pt x="667" y="132"/>
                  <a:pt x="667" y="132"/>
                </a:cubicBezTo>
                <a:cubicBezTo>
                  <a:pt x="652" y="109"/>
                  <a:pt x="624" y="99"/>
                  <a:pt x="602" y="99"/>
                </a:cubicBezTo>
                <a:cubicBezTo>
                  <a:pt x="549" y="99"/>
                  <a:pt x="512" y="137"/>
                  <a:pt x="512" y="188"/>
                </a:cubicBezTo>
                <a:cubicBezTo>
                  <a:pt x="512" y="239"/>
                  <a:pt x="549" y="277"/>
                  <a:pt x="602" y="277"/>
                </a:cubicBezTo>
                <a:cubicBezTo>
                  <a:pt x="624" y="277"/>
                  <a:pt x="652" y="267"/>
                  <a:pt x="667" y="244"/>
                </a:cubicBezTo>
                <a:cubicBezTo>
                  <a:pt x="668" y="244"/>
                  <a:pt x="668" y="244"/>
                  <a:pt x="668" y="244"/>
                </a:cubicBezTo>
                <a:cubicBezTo>
                  <a:pt x="668" y="272"/>
                  <a:pt x="668" y="272"/>
                  <a:pt x="668" y="272"/>
                </a:cubicBezTo>
                <a:cubicBezTo>
                  <a:pt x="692" y="272"/>
                  <a:pt x="692" y="272"/>
                  <a:pt x="692" y="272"/>
                </a:cubicBezTo>
                <a:lnTo>
                  <a:pt x="692" y="0"/>
                </a:lnTo>
                <a:close/>
                <a:moveTo>
                  <a:pt x="316" y="104"/>
                </a:moveTo>
                <a:cubicBezTo>
                  <a:pt x="316" y="116"/>
                  <a:pt x="317" y="132"/>
                  <a:pt x="317" y="141"/>
                </a:cubicBezTo>
                <a:cubicBezTo>
                  <a:pt x="317" y="272"/>
                  <a:pt x="317" y="272"/>
                  <a:pt x="317" y="272"/>
                </a:cubicBezTo>
                <a:cubicBezTo>
                  <a:pt x="341" y="272"/>
                  <a:pt x="341" y="272"/>
                  <a:pt x="341" y="272"/>
                </a:cubicBezTo>
                <a:cubicBezTo>
                  <a:pt x="341" y="186"/>
                  <a:pt x="341" y="186"/>
                  <a:pt x="341" y="186"/>
                </a:cubicBezTo>
                <a:cubicBezTo>
                  <a:pt x="341" y="124"/>
                  <a:pt x="387" y="121"/>
                  <a:pt x="392" y="121"/>
                </a:cubicBezTo>
                <a:cubicBezTo>
                  <a:pt x="428" y="121"/>
                  <a:pt x="438" y="141"/>
                  <a:pt x="438" y="179"/>
                </a:cubicBezTo>
                <a:cubicBezTo>
                  <a:pt x="438" y="272"/>
                  <a:pt x="438" y="272"/>
                  <a:pt x="438" y="272"/>
                </a:cubicBezTo>
                <a:cubicBezTo>
                  <a:pt x="462" y="272"/>
                  <a:pt x="462" y="272"/>
                  <a:pt x="462" y="272"/>
                </a:cubicBezTo>
                <a:cubicBezTo>
                  <a:pt x="462" y="165"/>
                  <a:pt x="462" y="165"/>
                  <a:pt x="462" y="165"/>
                </a:cubicBezTo>
                <a:cubicBezTo>
                  <a:pt x="462" y="123"/>
                  <a:pt x="441" y="99"/>
                  <a:pt x="398" y="99"/>
                </a:cubicBezTo>
                <a:cubicBezTo>
                  <a:pt x="376" y="99"/>
                  <a:pt x="352" y="112"/>
                  <a:pt x="342" y="131"/>
                </a:cubicBezTo>
                <a:cubicBezTo>
                  <a:pt x="341" y="131"/>
                  <a:pt x="341" y="131"/>
                  <a:pt x="341" y="131"/>
                </a:cubicBezTo>
                <a:cubicBezTo>
                  <a:pt x="341" y="122"/>
                  <a:pt x="341" y="113"/>
                  <a:pt x="340" y="104"/>
                </a:cubicBezTo>
                <a:lnTo>
                  <a:pt x="316" y="104"/>
                </a:lnTo>
                <a:close/>
                <a:moveTo>
                  <a:pt x="238" y="145"/>
                </a:moveTo>
                <a:cubicBezTo>
                  <a:pt x="238" y="203"/>
                  <a:pt x="198" y="255"/>
                  <a:pt x="133" y="255"/>
                </a:cubicBezTo>
                <a:cubicBezTo>
                  <a:pt x="67" y="255"/>
                  <a:pt x="28" y="203"/>
                  <a:pt x="28" y="145"/>
                </a:cubicBezTo>
                <a:cubicBezTo>
                  <a:pt x="28" y="86"/>
                  <a:pt x="67" y="35"/>
                  <a:pt x="133" y="35"/>
                </a:cubicBezTo>
                <a:cubicBezTo>
                  <a:pt x="198" y="35"/>
                  <a:pt x="238" y="86"/>
                  <a:pt x="238" y="145"/>
                </a:cubicBezTo>
                <a:moveTo>
                  <a:pt x="266" y="145"/>
                </a:moveTo>
                <a:cubicBezTo>
                  <a:pt x="266" y="67"/>
                  <a:pt x="209" y="11"/>
                  <a:pt x="133" y="11"/>
                </a:cubicBezTo>
                <a:cubicBezTo>
                  <a:pt x="57" y="11"/>
                  <a:pt x="0" y="67"/>
                  <a:pt x="0" y="145"/>
                </a:cubicBezTo>
                <a:cubicBezTo>
                  <a:pt x="0" y="222"/>
                  <a:pt x="57" y="279"/>
                  <a:pt x="133" y="279"/>
                </a:cubicBezTo>
                <a:cubicBezTo>
                  <a:pt x="209" y="279"/>
                  <a:pt x="266" y="222"/>
                  <a:pt x="266" y="145"/>
                </a:cubicBezTo>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Tree>
    <p:extLst>
      <p:ext uri="{BB962C8B-B14F-4D97-AF65-F5344CB8AC3E}">
        <p14:creationId xmlns:p14="http://schemas.microsoft.com/office/powerpoint/2010/main" val="30920097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5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1+#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500" fill="hold"/>
                                        <p:tgtEl>
                                          <p:spTgt spid="27"/>
                                        </p:tgtEl>
                                        <p:attrNameLst>
                                          <p:attrName>ppt_x</p:attrName>
                                        </p:attrNameLst>
                                      </p:cBhvr>
                                      <p:tavLst>
                                        <p:tav tm="0">
                                          <p:val>
                                            <p:strVal val="0-#ppt_w/2"/>
                                          </p:val>
                                        </p:tav>
                                        <p:tav tm="100000">
                                          <p:val>
                                            <p:strVal val="#ppt_x"/>
                                          </p:val>
                                        </p:tav>
                                      </p:tavLst>
                                    </p:anim>
                                    <p:anim calcmode="lin" valueType="num">
                                      <p:cBhvr additive="base">
                                        <p:cTn id="12" dur="500" fill="hold"/>
                                        <p:tgtEl>
                                          <p:spTgt spid="27"/>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300"/>
                                  </p:stCondLst>
                                  <p:childTnLst>
                                    <p:set>
                                      <p:cBhvr>
                                        <p:cTn id="14" dur="1" fill="hold">
                                          <p:stCondLst>
                                            <p:cond delay="0"/>
                                          </p:stCondLst>
                                        </p:cTn>
                                        <p:tgtEl>
                                          <p:spTgt spid="28"/>
                                        </p:tgtEl>
                                        <p:attrNameLst>
                                          <p:attrName>style.visibility</p:attrName>
                                        </p:attrNameLst>
                                      </p:cBhvr>
                                      <p:to>
                                        <p:strVal val="visible"/>
                                      </p:to>
                                    </p:set>
                                    <p:animEffect transition="in" filter="fade">
                                      <p:cBhvr>
                                        <p:cTn id="15" dur="500"/>
                                        <p:tgtEl>
                                          <p:spTgt spid="28"/>
                                        </p:tgtEl>
                                      </p:cBhvr>
                                    </p:animEffect>
                                  </p:childTnLst>
                                </p:cTn>
                              </p:par>
                            </p:childTnLst>
                          </p:cTn>
                        </p:par>
                        <p:par>
                          <p:cTn id="16" fill="hold">
                            <p:stCondLst>
                              <p:cond delay="800"/>
                            </p:stCondLst>
                            <p:childTnLst>
                              <p:par>
                                <p:cTn id="17" presetID="10" presetClass="entr" presetSubtype="0" fill="hold" grpId="0" nodeType="after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fade">
                                      <p:cBhvr>
                                        <p:cTn id="1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3" grpId="0"/>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Uitleg #1">
    <p:spTree>
      <p:nvGrpSpPr>
        <p:cNvPr id="1" name=""/>
        <p:cNvGrpSpPr/>
        <p:nvPr/>
      </p:nvGrpSpPr>
      <p:grpSpPr>
        <a:xfrm>
          <a:off x="0" y="0"/>
          <a:ext cx="0" cy="0"/>
          <a:chOff x="0" y="0"/>
          <a:chExt cx="0" cy="0"/>
        </a:xfrm>
      </p:grpSpPr>
      <p:pic>
        <p:nvPicPr>
          <p:cNvPr id="7" name="Afbeelding 6">
            <a:extLst>
              <a:ext uri="{FF2B5EF4-FFF2-40B4-BE49-F238E27FC236}">
                <a16:creationId xmlns:a16="http://schemas.microsoft.com/office/drawing/2014/main" id="{05988BD9-FA74-4690-8A9A-6311BDA31017}"/>
              </a:ext>
            </a:extLst>
          </p:cNvPr>
          <p:cNvPicPr>
            <a:picLocks noSelect="1" noChangeAspect="1"/>
          </p:cNvPicPr>
          <p:nvPr userDrawn="1"/>
        </p:nvPicPr>
        <p:blipFill>
          <a:blip r:embed="rId3"/>
          <a:stretch>
            <a:fillRect/>
          </a:stretch>
        </p:blipFill>
        <p:spPr>
          <a:xfrm>
            <a:off x="948960" y="1989000"/>
            <a:ext cx="1947960" cy="4567422"/>
          </a:xfrm>
          <a:prstGeom prst="rect">
            <a:avLst/>
          </a:prstGeom>
        </p:spPr>
      </p:pic>
      <p:sp>
        <p:nvSpPr>
          <p:cNvPr id="27" name="Content Placeholder 3">
            <a:extLst>
              <a:ext uri="{FF2B5EF4-FFF2-40B4-BE49-F238E27FC236}">
                <a16:creationId xmlns:a16="http://schemas.microsoft.com/office/drawing/2014/main" id="{88E35FD8-8E24-4E37-AC49-6682CB79BCCD}"/>
              </a:ext>
            </a:extLst>
          </p:cNvPr>
          <p:cNvSpPr txBox="1">
            <a:spLocks noSelect="1"/>
          </p:cNvSpPr>
          <p:nvPr userDrawn="1"/>
        </p:nvSpPr>
        <p:spPr>
          <a:xfrm>
            <a:off x="959102" y="1611314"/>
            <a:ext cx="5517938" cy="317331"/>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4"/>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nl-NL" sz="900" noProof="0" dirty="0">
                <a:solidFill>
                  <a:schemeClr val="tx1"/>
                </a:solidFill>
                <a:latin typeface="+mn-lt"/>
              </a:rPr>
              <a:t>Wanneer je een </a:t>
            </a:r>
            <a:r>
              <a:rPr lang="nl-NL" sz="900" b="1" noProof="0" dirty="0">
                <a:solidFill>
                  <a:schemeClr val="tx1"/>
                </a:solidFill>
                <a:latin typeface="+mn-lt"/>
              </a:rPr>
              <a:t>nieuwe presentatie </a:t>
            </a:r>
            <a:r>
              <a:rPr lang="nl-NL" sz="900" noProof="0" dirty="0">
                <a:solidFill>
                  <a:schemeClr val="tx1"/>
                </a:solidFill>
                <a:latin typeface="+mn-lt"/>
              </a:rPr>
              <a:t>start, staat hierin een aantal basisdia’s. Deze kunnen worden aangevuld met meerdere dia’s:</a:t>
            </a:r>
          </a:p>
        </p:txBody>
      </p:sp>
      <p:sp>
        <p:nvSpPr>
          <p:cNvPr id="30" name="Content Placeholder 3">
            <a:extLst>
              <a:ext uri="{FF2B5EF4-FFF2-40B4-BE49-F238E27FC236}">
                <a16:creationId xmlns:a16="http://schemas.microsoft.com/office/drawing/2014/main" id="{E6CFC921-09BC-42DC-B235-86163F2BCFF5}"/>
              </a:ext>
            </a:extLst>
          </p:cNvPr>
          <p:cNvSpPr txBox="1">
            <a:spLocks noSelect="1"/>
          </p:cNvSpPr>
          <p:nvPr userDrawn="1"/>
        </p:nvSpPr>
        <p:spPr>
          <a:xfrm>
            <a:off x="3139129" y="2099549"/>
            <a:ext cx="3337912" cy="3641318"/>
          </a:xfrm>
          <a:prstGeom prst="rect">
            <a:avLst/>
          </a:prstGeom>
        </p:spPr>
        <p:txBody>
          <a:bodyPr vert="horz" wrap="square" lIns="0" tIns="0" rIns="0" bIns="0" rtlCol="0" anchor="t" anchorCtr="0">
            <a:spAutoFit/>
          </a:bodyPr>
          <a:lstStyle>
            <a:lvl1pPr marL="269875" indent="-269875" algn="l" defTabSz="914400" rtl="0" eaLnBrk="1" latinLnBrk="0" hangingPunct="1">
              <a:lnSpc>
                <a:spcPct val="120000"/>
              </a:lnSpc>
              <a:spcBef>
                <a:spcPts val="0"/>
              </a:spcBef>
              <a:buSzPct val="80000"/>
              <a:buFontTx/>
              <a:buBlip>
                <a:blip r:embed="rId4"/>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6209" indent="-176209">
              <a:buSzPct val="100000"/>
              <a:buFont typeface="+mj-lt"/>
              <a:buAutoNum type="arabicPeriod"/>
            </a:pPr>
            <a:r>
              <a:rPr lang="nl-NL" sz="900" noProof="0" dirty="0">
                <a:solidFill>
                  <a:schemeClr val="tx1"/>
                </a:solidFill>
                <a:latin typeface="+mn-lt"/>
              </a:rPr>
              <a:t>Klik bij het tabblad ‘</a:t>
            </a:r>
            <a:r>
              <a:rPr lang="nl-NL" sz="900" b="1" noProof="0" dirty="0">
                <a:solidFill>
                  <a:schemeClr val="tx1"/>
                </a:solidFill>
                <a:latin typeface="+mn-lt"/>
              </a:rPr>
              <a:t>Start</a:t>
            </a:r>
            <a:r>
              <a:rPr lang="nl-NL" sz="900" noProof="0" dirty="0">
                <a:solidFill>
                  <a:schemeClr val="tx1"/>
                </a:solidFill>
                <a:latin typeface="+mn-lt"/>
              </a:rPr>
              <a:t>’ op ‘</a:t>
            </a:r>
            <a:r>
              <a:rPr lang="nl-NL" sz="900" b="1" noProof="0" dirty="0">
                <a:solidFill>
                  <a:schemeClr val="tx1"/>
                </a:solidFill>
                <a:latin typeface="+mn-lt"/>
              </a:rPr>
              <a:t>Nieuwe Dia</a:t>
            </a:r>
            <a:r>
              <a:rPr lang="nl-NL" sz="900" noProof="0" dirty="0">
                <a:solidFill>
                  <a:schemeClr val="tx1"/>
                </a:solidFill>
                <a:latin typeface="+mn-lt"/>
              </a:rPr>
              <a:t>’, klik op het kleine pijltje rechtsonder op deze knop. Hierdoor worden de indelingsopties weergegeven. </a:t>
            </a:r>
          </a:p>
          <a:p>
            <a:pPr marL="176209" indent="-176209">
              <a:buSzPct val="100000"/>
              <a:buFont typeface="+mj-lt"/>
              <a:buAutoNum type="arabicPeriod"/>
            </a:pPr>
            <a:endParaRPr lang="nl-NL" sz="900" noProof="0" dirty="0">
              <a:solidFill>
                <a:schemeClr val="tx1"/>
              </a:solidFill>
              <a:latin typeface="+mn-lt"/>
            </a:endParaRPr>
          </a:p>
          <a:p>
            <a:pPr marL="176209" indent="-176209">
              <a:buSzPct val="100000"/>
              <a:buFont typeface="+mj-lt"/>
              <a:buAutoNum type="arabicPeriod"/>
            </a:pPr>
            <a:r>
              <a:rPr lang="nl-NL" sz="900" noProof="0" dirty="0">
                <a:solidFill>
                  <a:schemeClr val="tx1"/>
                </a:solidFill>
                <a:latin typeface="+mn-lt"/>
              </a:rPr>
              <a:t>Klik op een</a:t>
            </a:r>
            <a:r>
              <a:rPr lang="nl-NL" sz="900" b="1" noProof="0" dirty="0">
                <a:solidFill>
                  <a:schemeClr val="tx1"/>
                </a:solidFill>
                <a:latin typeface="+mn-lt"/>
              </a:rPr>
              <a:t> ‘Dia-indeling’ </a:t>
            </a:r>
            <a:r>
              <a:rPr lang="nl-NL" sz="900" noProof="0" dirty="0">
                <a:solidFill>
                  <a:schemeClr val="tx1"/>
                </a:solidFill>
                <a:latin typeface="+mn-lt"/>
              </a:rPr>
              <a:t>van je keuze om deze in te voegen. Je voegt dan een ‘lege’ dia in, waarop je je eigen inhoud kunt invullen.</a:t>
            </a:r>
            <a:br>
              <a:rPr lang="nl-NL" sz="900" noProof="0" dirty="0">
                <a:solidFill>
                  <a:schemeClr val="tx1"/>
                </a:solidFill>
                <a:latin typeface="+mn-lt"/>
              </a:rPr>
            </a:br>
            <a:endParaRPr lang="nl-NL" sz="900" noProof="0" dirty="0">
              <a:solidFill>
                <a:schemeClr val="tx1"/>
              </a:solidFill>
              <a:latin typeface="+mn-lt"/>
            </a:endParaRPr>
          </a:p>
          <a:p>
            <a:pPr marL="176209" indent="-176209">
              <a:buSzPct val="100000"/>
              <a:buFont typeface="+mj-lt"/>
              <a:buAutoNum type="arabicPeriod"/>
            </a:pPr>
            <a:r>
              <a:rPr lang="nl-NL" sz="900" noProof="0" dirty="0">
                <a:solidFill>
                  <a:schemeClr val="tx1"/>
                </a:solidFill>
                <a:latin typeface="+mn-lt"/>
              </a:rPr>
              <a:t>Om de indeling van een dia te veranderen:</a:t>
            </a:r>
          </a:p>
          <a:p>
            <a:pPr marL="354004" lvl="1" indent="-176209">
              <a:buSzPct val="100000"/>
            </a:pPr>
            <a:r>
              <a:rPr lang="nl-NL" sz="900" noProof="0" dirty="0">
                <a:solidFill>
                  <a:schemeClr val="tx1"/>
                </a:solidFill>
                <a:latin typeface="+mn-lt"/>
              </a:rPr>
              <a:t>Klik op het tabblad ‘</a:t>
            </a:r>
            <a:r>
              <a:rPr lang="nl-NL" sz="900" b="0" noProof="0" dirty="0">
                <a:solidFill>
                  <a:schemeClr val="tx1"/>
                </a:solidFill>
                <a:latin typeface="+mn-lt"/>
              </a:rPr>
              <a:t>Start</a:t>
            </a:r>
            <a:r>
              <a:rPr lang="nl-NL" sz="900" noProof="0" dirty="0">
                <a:solidFill>
                  <a:schemeClr val="tx1"/>
                </a:solidFill>
                <a:latin typeface="+mn-lt"/>
              </a:rPr>
              <a:t>’ op ‘</a:t>
            </a:r>
            <a:r>
              <a:rPr lang="nl-NL" sz="900" b="1" noProof="0" dirty="0">
                <a:solidFill>
                  <a:schemeClr val="tx1"/>
                </a:solidFill>
                <a:latin typeface="+mn-lt"/>
              </a:rPr>
              <a:t>Indeling</a:t>
            </a:r>
            <a:r>
              <a:rPr lang="nl-NL" sz="900" noProof="0" dirty="0">
                <a:solidFill>
                  <a:schemeClr val="tx1"/>
                </a:solidFill>
                <a:latin typeface="+mn-lt"/>
              </a:rPr>
              <a:t>’.</a:t>
            </a:r>
          </a:p>
          <a:p>
            <a:pPr marL="354004" lvl="1" indent="-176209">
              <a:buSzPct val="100000"/>
            </a:pPr>
            <a:r>
              <a:rPr lang="nl-NL" sz="900" noProof="0" dirty="0">
                <a:solidFill>
                  <a:schemeClr val="tx1"/>
                </a:solidFill>
                <a:latin typeface="+mn-lt"/>
              </a:rPr>
              <a:t>Kies een andere Indeling</a:t>
            </a:r>
            <a:r>
              <a:rPr lang="nl-NL" sz="900" baseline="0" noProof="0" dirty="0">
                <a:solidFill>
                  <a:schemeClr val="tx1"/>
                </a:solidFill>
                <a:latin typeface="+mn-lt"/>
              </a:rPr>
              <a:t> uit de lijst en deze wordt toegepast</a:t>
            </a:r>
            <a:endParaRPr lang="nl-NL" sz="900" noProof="0" dirty="0">
              <a:solidFill>
                <a:schemeClr val="tx1"/>
              </a:solidFill>
              <a:latin typeface="+mn-lt"/>
            </a:endParaRPr>
          </a:p>
          <a:p>
            <a:pPr marL="176209" indent="-176209">
              <a:buSzPct val="100000"/>
              <a:buFont typeface="+mj-lt"/>
              <a:buAutoNum type="arabicPeriod"/>
            </a:pPr>
            <a:endParaRPr lang="nl-NL" sz="900" noProof="0" dirty="0">
              <a:solidFill>
                <a:schemeClr val="tx1"/>
              </a:solidFill>
              <a:latin typeface="+mn-lt"/>
            </a:endParaRPr>
          </a:p>
          <a:p>
            <a:pPr marL="176209" indent="-176209">
              <a:buSzPct val="100000"/>
              <a:buFont typeface="+mj-lt"/>
              <a:buAutoNum type="arabicPeriod"/>
            </a:pPr>
            <a:r>
              <a:rPr lang="nl-NL" sz="900" noProof="0" dirty="0">
                <a:solidFill>
                  <a:schemeClr val="tx1"/>
                </a:solidFill>
                <a:latin typeface="+mn-lt"/>
              </a:rPr>
              <a:t>De ‘</a:t>
            </a:r>
            <a:r>
              <a:rPr lang="nl-NL" sz="900" b="1" noProof="0" dirty="0">
                <a:solidFill>
                  <a:schemeClr val="tx1"/>
                </a:solidFill>
                <a:latin typeface="+mn-lt"/>
              </a:rPr>
              <a:t>Opnieuw</a:t>
            </a:r>
            <a:r>
              <a:rPr lang="nl-NL" sz="900" b="1" baseline="0" noProof="0" dirty="0">
                <a:solidFill>
                  <a:schemeClr val="tx1"/>
                </a:solidFill>
                <a:latin typeface="+mn-lt"/>
              </a:rPr>
              <a:t> instellen</a:t>
            </a:r>
            <a:r>
              <a:rPr lang="nl-NL" sz="900" noProof="0" dirty="0">
                <a:solidFill>
                  <a:schemeClr val="tx1"/>
                </a:solidFill>
                <a:latin typeface="+mn-lt"/>
              </a:rPr>
              <a:t>’-knop past de huidige indeling opnieuw toe. </a:t>
            </a:r>
            <a:br>
              <a:rPr lang="nl-NL" sz="900" noProof="0" dirty="0">
                <a:solidFill>
                  <a:schemeClr val="tx1"/>
                </a:solidFill>
                <a:latin typeface="+mn-lt"/>
              </a:rPr>
            </a:br>
            <a:endParaRPr lang="nl-NL" sz="900" noProof="0" dirty="0">
              <a:solidFill>
                <a:schemeClr val="tx1"/>
              </a:solidFill>
              <a:latin typeface="+mn-lt"/>
            </a:endParaRPr>
          </a:p>
          <a:p>
            <a:pPr marL="176209" indent="-176209">
              <a:buSzPct val="100000"/>
              <a:buFont typeface="+mj-lt"/>
              <a:buAutoNum type="arabicPeriod"/>
            </a:pPr>
            <a:r>
              <a:rPr lang="nl-NL" sz="900" noProof="0" dirty="0">
                <a:solidFill>
                  <a:schemeClr val="tx1"/>
                </a:solidFill>
                <a:latin typeface="+mn-lt"/>
              </a:rPr>
              <a:t>Denk bij het maken van een omslag voor je presentatie eerst aan de oriëntatie van de foto die je wilt plaatsen.</a:t>
            </a:r>
            <a:br>
              <a:rPr lang="nl-NL" sz="900" noProof="0" dirty="0">
                <a:solidFill>
                  <a:schemeClr val="tx1"/>
                </a:solidFill>
                <a:latin typeface="+mn-lt"/>
              </a:rPr>
            </a:br>
            <a:r>
              <a:rPr lang="nl-NL" sz="900" noProof="0" dirty="0">
                <a:solidFill>
                  <a:schemeClr val="tx1"/>
                </a:solidFill>
                <a:latin typeface="+mn-lt"/>
              </a:rPr>
              <a:t>In een titel dia komen liggende beelden het beste tot hun recht. Wil je een staand of vierkant beeld gebruiken? Kies dan voor een hoofdstuk dia als omslag.</a:t>
            </a:r>
          </a:p>
          <a:p>
            <a:pPr marL="176209" indent="-176209">
              <a:buSzPct val="100000"/>
              <a:buFont typeface="+mj-lt"/>
              <a:buAutoNum type="arabicPeriod"/>
            </a:pPr>
            <a:endParaRPr lang="nl-NL" sz="900" noProof="0" dirty="0">
              <a:solidFill>
                <a:schemeClr val="tx1"/>
              </a:solidFill>
              <a:latin typeface="+mn-lt"/>
            </a:endParaRPr>
          </a:p>
        </p:txBody>
      </p:sp>
      <p:sp>
        <p:nvSpPr>
          <p:cNvPr id="31" name="Oval 1">
            <a:extLst>
              <a:ext uri="{FF2B5EF4-FFF2-40B4-BE49-F238E27FC236}">
                <a16:creationId xmlns:a16="http://schemas.microsoft.com/office/drawing/2014/main" id="{8B456850-BE39-4B2C-BDD7-DEA8C127B95C}"/>
              </a:ext>
            </a:extLst>
          </p:cNvPr>
          <p:cNvSpPr>
            <a:spLocks noSelect="1"/>
          </p:cNvSpPr>
          <p:nvPr userDrawn="1"/>
        </p:nvSpPr>
        <p:spPr>
          <a:xfrm>
            <a:off x="768995" y="2348880"/>
            <a:ext cx="172845" cy="17145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nl-NL" sz="900" b="1" noProof="0" dirty="0">
                <a:solidFill>
                  <a:schemeClr val="bg1"/>
                </a:solidFill>
                <a:latin typeface="+mn-lt"/>
              </a:rPr>
              <a:t>1</a:t>
            </a:r>
          </a:p>
        </p:txBody>
      </p:sp>
      <p:sp>
        <p:nvSpPr>
          <p:cNvPr id="32" name="Oval 16">
            <a:extLst>
              <a:ext uri="{FF2B5EF4-FFF2-40B4-BE49-F238E27FC236}">
                <a16:creationId xmlns:a16="http://schemas.microsoft.com/office/drawing/2014/main" id="{63E86198-2B2C-4045-AB2C-916CB64AFF20}"/>
              </a:ext>
            </a:extLst>
          </p:cNvPr>
          <p:cNvSpPr>
            <a:spLocks noSelect="1"/>
          </p:cNvSpPr>
          <p:nvPr userDrawn="1"/>
        </p:nvSpPr>
        <p:spPr>
          <a:xfrm>
            <a:off x="2209155" y="2924944"/>
            <a:ext cx="172845" cy="17145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nl-NL" sz="900" b="1" noProof="0" dirty="0">
                <a:solidFill>
                  <a:schemeClr val="bg1"/>
                </a:solidFill>
                <a:latin typeface="+mn-lt"/>
              </a:rPr>
              <a:t>2</a:t>
            </a:r>
          </a:p>
        </p:txBody>
      </p:sp>
      <p:sp>
        <p:nvSpPr>
          <p:cNvPr id="33" name="Oval 16">
            <a:extLst>
              <a:ext uri="{FF2B5EF4-FFF2-40B4-BE49-F238E27FC236}">
                <a16:creationId xmlns:a16="http://schemas.microsoft.com/office/drawing/2014/main" id="{78DCA6C3-5A83-482A-8863-A0F92A45EE67}"/>
              </a:ext>
            </a:extLst>
          </p:cNvPr>
          <p:cNvSpPr>
            <a:spLocks noSelect="1"/>
          </p:cNvSpPr>
          <p:nvPr userDrawn="1"/>
        </p:nvSpPr>
        <p:spPr>
          <a:xfrm>
            <a:off x="1633091" y="1880828"/>
            <a:ext cx="172845" cy="17145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nl-NL" sz="900" b="1" noProof="0" dirty="0">
                <a:solidFill>
                  <a:schemeClr val="bg1"/>
                </a:solidFill>
                <a:latin typeface="+mn-lt"/>
              </a:rPr>
              <a:t>3</a:t>
            </a:r>
          </a:p>
        </p:txBody>
      </p:sp>
      <p:sp>
        <p:nvSpPr>
          <p:cNvPr id="34" name="Oval 16">
            <a:extLst>
              <a:ext uri="{FF2B5EF4-FFF2-40B4-BE49-F238E27FC236}">
                <a16:creationId xmlns:a16="http://schemas.microsoft.com/office/drawing/2014/main" id="{B197F0F2-5A22-476F-911E-2FA7568A9F57}"/>
              </a:ext>
            </a:extLst>
          </p:cNvPr>
          <p:cNvSpPr>
            <a:spLocks noSelect="1"/>
          </p:cNvSpPr>
          <p:nvPr userDrawn="1"/>
        </p:nvSpPr>
        <p:spPr>
          <a:xfrm>
            <a:off x="1633091" y="2096852"/>
            <a:ext cx="172845" cy="17145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r>
              <a:rPr lang="nl-NL" sz="900" b="1" noProof="0" dirty="0">
                <a:solidFill>
                  <a:schemeClr val="bg1"/>
                </a:solidFill>
                <a:latin typeface="+mn-lt"/>
              </a:rPr>
              <a:t>4</a:t>
            </a:r>
          </a:p>
        </p:txBody>
      </p:sp>
      <p:sp>
        <p:nvSpPr>
          <p:cNvPr id="36" name="Content Placeholder 4">
            <a:extLst>
              <a:ext uri="{FF2B5EF4-FFF2-40B4-BE49-F238E27FC236}">
                <a16:creationId xmlns:a16="http://schemas.microsoft.com/office/drawing/2014/main" id="{1E88A6CD-1316-4839-AC6D-1115E1C218F3}"/>
              </a:ext>
            </a:extLst>
          </p:cNvPr>
          <p:cNvSpPr txBox="1">
            <a:spLocks noSelect="1"/>
          </p:cNvSpPr>
          <p:nvPr userDrawn="1"/>
        </p:nvSpPr>
        <p:spPr>
          <a:xfrm>
            <a:off x="8653871" y="4077072"/>
            <a:ext cx="2628107" cy="483530"/>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4"/>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indent="0" algn="l" defTabSz="914377" rtl="0" eaLnBrk="1" fontAlgn="auto" latinLnBrk="0" hangingPunct="1">
              <a:lnSpc>
                <a:spcPct val="120000"/>
              </a:lnSpc>
              <a:spcBef>
                <a:spcPts val="0"/>
              </a:spcBef>
              <a:spcAft>
                <a:spcPts val="0"/>
              </a:spcAft>
              <a:buClrTx/>
              <a:buSzPct val="80000"/>
              <a:buFontTx/>
              <a:buNone/>
              <a:tabLst/>
              <a:defRPr/>
            </a:pPr>
            <a:r>
              <a:rPr lang="nl-NL" sz="900" noProof="0" dirty="0">
                <a:solidFill>
                  <a:schemeClr val="tx1"/>
                </a:solidFill>
                <a:latin typeface="+mn-lt"/>
              </a:rPr>
              <a:t>Onder Aangepaste kleuren vind je alle huisstijlkleuren van BPD.</a:t>
            </a:r>
          </a:p>
          <a:p>
            <a:pPr marL="0" marR="0" indent="0" algn="l" defTabSz="914377" rtl="0" eaLnBrk="1" fontAlgn="auto" latinLnBrk="0" hangingPunct="1">
              <a:lnSpc>
                <a:spcPct val="120000"/>
              </a:lnSpc>
              <a:spcBef>
                <a:spcPts val="0"/>
              </a:spcBef>
              <a:spcAft>
                <a:spcPts val="0"/>
              </a:spcAft>
              <a:buClrTx/>
              <a:buSzPct val="80000"/>
              <a:buFontTx/>
              <a:buNone/>
              <a:tabLst/>
              <a:defRPr/>
            </a:pPr>
            <a:r>
              <a:rPr lang="nl-NL" sz="900" noProof="0" dirty="0">
                <a:solidFill>
                  <a:schemeClr val="tx1"/>
                </a:solidFill>
                <a:latin typeface="+mn-lt"/>
              </a:rPr>
              <a:t>De themakleuren worden gebruikt voor grafieken.</a:t>
            </a:r>
          </a:p>
        </p:txBody>
      </p:sp>
      <p:pic>
        <p:nvPicPr>
          <p:cNvPr id="8" name="Afbeelding 7">
            <a:extLst>
              <a:ext uri="{FF2B5EF4-FFF2-40B4-BE49-F238E27FC236}">
                <a16:creationId xmlns:a16="http://schemas.microsoft.com/office/drawing/2014/main" id="{96F32102-7187-4C5C-81E2-D80C68969594}"/>
              </a:ext>
            </a:extLst>
          </p:cNvPr>
          <p:cNvPicPr>
            <a:picLocks noSelect="1" noChangeAspect="1"/>
          </p:cNvPicPr>
          <p:nvPr userDrawn="1"/>
        </p:nvPicPr>
        <p:blipFill>
          <a:blip r:embed="rId5"/>
          <a:stretch>
            <a:fillRect/>
          </a:stretch>
        </p:blipFill>
        <p:spPr>
          <a:xfrm>
            <a:off x="6889675" y="4089865"/>
            <a:ext cx="1628775" cy="2066925"/>
          </a:xfrm>
          <a:prstGeom prst="rect">
            <a:avLst/>
          </a:prstGeom>
        </p:spPr>
      </p:pic>
      <p:sp>
        <p:nvSpPr>
          <p:cNvPr id="2" name="Title 1">
            <a:extLst>
              <a:ext uri="{FF2B5EF4-FFF2-40B4-BE49-F238E27FC236}">
                <a16:creationId xmlns:a16="http://schemas.microsoft.com/office/drawing/2014/main" id="{059048CA-2D5D-473C-8905-77DD02BE82DF}"/>
              </a:ext>
            </a:extLst>
          </p:cNvPr>
          <p:cNvSpPr>
            <a:spLocks noGrp="1" noSelect="1"/>
          </p:cNvSpPr>
          <p:nvPr>
            <p:ph type="title" hasCustomPrompt="1"/>
          </p:nvPr>
        </p:nvSpPr>
        <p:spPr/>
        <p:txBody>
          <a:bodyPr/>
          <a:lstStyle>
            <a:lvl1pPr marL="0" marR="0" indent="0" algn="l" defTabSz="1088937" rtl="0" eaLnBrk="1" fontAlgn="auto" latinLnBrk="0" hangingPunct="1">
              <a:lnSpc>
                <a:spcPct val="100000"/>
              </a:lnSpc>
              <a:spcBef>
                <a:spcPct val="0"/>
              </a:spcBef>
              <a:spcAft>
                <a:spcPts val="0"/>
              </a:spcAft>
              <a:buClrTx/>
              <a:buSzTx/>
              <a:buFontTx/>
              <a:buNone/>
              <a:tabLst/>
              <a:defRPr/>
            </a:lvl1pPr>
          </a:lstStyle>
          <a:p>
            <a:pPr marL="0" marR="0" lvl="0" indent="0" algn="l" defTabSz="1088937" rtl="0" eaLnBrk="1" fontAlgn="auto" latinLnBrk="0" hangingPunct="1">
              <a:lnSpc>
                <a:spcPct val="120000"/>
              </a:lnSpc>
              <a:spcBef>
                <a:spcPct val="0"/>
              </a:spcBef>
              <a:spcAft>
                <a:spcPts val="0"/>
              </a:spcAft>
              <a:buClrTx/>
              <a:buSzTx/>
              <a:buFontTx/>
              <a:buNone/>
              <a:tabLst/>
              <a:defRPr/>
            </a:pPr>
            <a:r>
              <a:rPr lang="nl-NL" sz="2000" b="1" dirty="0"/>
              <a:t>Korte uitleg bij het sjabloon</a:t>
            </a:r>
            <a:endParaRPr lang="x-none" dirty="0"/>
          </a:p>
        </p:txBody>
      </p:sp>
      <p:sp>
        <p:nvSpPr>
          <p:cNvPr id="16" name="Content Placeholder 4">
            <a:extLst>
              <a:ext uri="{FF2B5EF4-FFF2-40B4-BE49-F238E27FC236}">
                <a16:creationId xmlns:a16="http://schemas.microsoft.com/office/drawing/2014/main" id="{9163A0A1-47E1-4C1C-A6EA-DFF010E259B4}"/>
              </a:ext>
            </a:extLst>
          </p:cNvPr>
          <p:cNvSpPr txBox="1">
            <a:spLocks noSelect="1"/>
          </p:cNvSpPr>
          <p:nvPr userDrawn="1"/>
        </p:nvSpPr>
        <p:spPr>
          <a:xfrm>
            <a:off x="8169071" y="1643637"/>
            <a:ext cx="3062159" cy="649730"/>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4"/>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nl-NL" sz="900" noProof="0" dirty="0">
                <a:solidFill>
                  <a:schemeClr val="tx1"/>
                </a:solidFill>
                <a:latin typeface="+mn-lt"/>
              </a:rPr>
              <a:t>Indien je van een ingevoegde afbeelding een ander gedeelte wilt zien, klik dan op ‘Bijsnijden’ in het rechtertabblad ‘Opmaak’. Verschuif de foto, of snijdt de randen af d.m.v. het verplaatsen van de zwarte hoekjes.</a:t>
            </a:r>
          </a:p>
        </p:txBody>
      </p:sp>
      <p:pic>
        <p:nvPicPr>
          <p:cNvPr id="3" name="Afbeelding 2">
            <a:extLst>
              <a:ext uri="{FF2B5EF4-FFF2-40B4-BE49-F238E27FC236}">
                <a16:creationId xmlns:a16="http://schemas.microsoft.com/office/drawing/2014/main" id="{E6476201-9DA9-4AC4-8B56-267C349D534E}"/>
              </a:ext>
            </a:extLst>
          </p:cNvPr>
          <p:cNvPicPr>
            <a:picLocks noSelect="1" noChangeAspect="1"/>
          </p:cNvPicPr>
          <p:nvPr userDrawn="1"/>
        </p:nvPicPr>
        <p:blipFill>
          <a:blip r:embed="rId6"/>
          <a:stretch>
            <a:fillRect/>
          </a:stretch>
        </p:blipFill>
        <p:spPr>
          <a:xfrm>
            <a:off x="7173427" y="1611314"/>
            <a:ext cx="600075" cy="714375"/>
          </a:xfrm>
          <a:prstGeom prst="rect">
            <a:avLst/>
          </a:prstGeom>
        </p:spPr>
      </p:pic>
      <p:sp>
        <p:nvSpPr>
          <p:cNvPr id="17" name="Content Placeholder 4">
            <a:extLst>
              <a:ext uri="{FF2B5EF4-FFF2-40B4-BE49-F238E27FC236}">
                <a16:creationId xmlns:a16="http://schemas.microsoft.com/office/drawing/2014/main" id="{1610CDB2-E2CD-47D2-BE59-12CA4E6CDD8B}"/>
              </a:ext>
            </a:extLst>
          </p:cNvPr>
          <p:cNvSpPr txBox="1">
            <a:spLocks noSelect="1"/>
          </p:cNvSpPr>
          <p:nvPr userDrawn="1"/>
        </p:nvSpPr>
        <p:spPr>
          <a:xfrm>
            <a:off x="8169072" y="2719551"/>
            <a:ext cx="3112906" cy="649730"/>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4"/>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nl-NL" sz="900" noProof="0" dirty="0">
                <a:solidFill>
                  <a:schemeClr val="tx1"/>
                </a:solidFill>
                <a:latin typeface="+mn-lt"/>
              </a:rPr>
              <a:t>De meeste dia’s bevatten een blokje met verschillende </a:t>
            </a:r>
            <a:r>
              <a:rPr lang="nl-NL" sz="900" b="1" noProof="0" dirty="0">
                <a:solidFill>
                  <a:schemeClr val="tx1"/>
                </a:solidFill>
                <a:latin typeface="+mn-lt"/>
              </a:rPr>
              <a:t>pictogrammen</a:t>
            </a:r>
            <a:r>
              <a:rPr lang="nl-NL" sz="900" noProof="0" dirty="0">
                <a:solidFill>
                  <a:schemeClr val="tx1"/>
                </a:solidFill>
                <a:latin typeface="+mn-lt"/>
              </a:rPr>
              <a:t> (‘tijdelijke aanduidingen’). Door op het gewenste pictogram te klikken kun je het desbetreffende type inhoud invoegen, bijvoorbeeld een tabel, een grafiek </a:t>
            </a:r>
          </a:p>
        </p:txBody>
      </p:sp>
      <p:pic>
        <p:nvPicPr>
          <p:cNvPr id="18" name="Picture 28" descr="Pictogrammen in de indeling Titel en object">
            <a:extLst>
              <a:ext uri="{FF2B5EF4-FFF2-40B4-BE49-F238E27FC236}">
                <a16:creationId xmlns:a16="http://schemas.microsoft.com/office/drawing/2014/main" id="{CD82EB5B-9088-4EF8-9111-D894C87BDE93}"/>
              </a:ext>
            </a:extLst>
          </p:cNvPr>
          <p:cNvPicPr>
            <a:picLocks noSelect="1" noChangeAspect="1" noChangeArrowheads="1"/>
          </p:cNvPicPr>
          <p:nvPr userDrawn="1">
            <p:custDataLst>
              <p:tags r:id="rId1"/>
            </p:custDataLst>
          </p:nvPr>
        </p:nvPicPr>
        <p:blipFill>
          <a:blip r:embed="rId7" cstate="screen">
            <a:extLst>
              <a:ext uri="{28A0092B-C50C-407E-A947-70E740481C1C}">
                <a14:useLocalDpi xmlns:a14="http://schemas.microsoft.com/office/drawing/2010/main"/>
              </a:ext>
            </a:extLst>
          </a:blip>
          <a:srcRect/>
          <a:stretch>
            <a:fillRect/>
          </a:stretch>
        </p:blipFill>
        <p:spPr bwMode="auto">
          <a:xfrm>
            <a:off x="6878109" y="2719551"/>
            <a:ext cx="895393" cy="627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Content Placeholder 4">
            <a:extLst>
              <a:ext uri="{FF2B5EF4-FFF2-40B4-BE49-F238E27FC236}">
                <a16:creationId xmlns:a16="http://schemas.microsoft.com/office/drawing/2014/main" id="{4CDC5B82-2F97-4A1A-89C0-86FC54F042DC}"/>
              </a:ext>
            </a:extLst>
          </p:cNvPr>
          <p:cNvSpPr txBox="1">
            <a:spLocks noSelect="1"/>
          </p:cNvSpPr>
          <p:nvPr userDrawn="1"/>
        </p:nvSpPr>
        <p:spPr>
          <a:xfrm>
            <a:off x="6878110" y="3369281"/>
            <a:ext cx="4403868" cy="317331"/>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4"/>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Verdana"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Arial"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nl-NL" sz="900" noProof="0" dirty="0">
                <a:solidFill>
                  <a:schemeClr val="tx1"/>
                </a:solidFill>
                <a:latin typeface="+mn-lt"/>
              </a:rPr>
              <a:t>of een afbeelding uit bestand. Je kunt de pictogrammen ook negeren en gewoon een tekst typen.</a:t>
            </a:r>
          </a:p>
        </p:txBody>
      </p:sp>
    </p:spTree>
    <p:extLst>
      <p:ext uri="{BB962C8B-B14F-4D97-AF65-F5344CB8AC3E}">
        <p14:creationId xmlns:p14="http://schemas.microsoft.com/office/powerpoint/2010/main" val="33157327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Uitleg #2 ">
    <p:spTree>
      <p:nvGrpSpPr>
        <p:cNvPr id="1" name=""/>
        <p:cNvGrpSpPr/>
        <p:nvPr/>
      </p:nvGrpSpPr>
      <p:grpSpPr>
        <a:xfrm>
          <a:off x="0" y="0"/>
          <a:ext cx="0" cy="0"/>
          <a:chOff x="0" y="0"/>
          <a:chExt cx="0" cy="0"/>
        </a:xfrm>
      </p:grpSpPr>
      <p:pic>
        <p:nvPicPr>
          <p:cNvPr id="17" name="Afbeelding 8">
            <a:extLst>
              <a:ext uri="{FF2B5EF4-FFF2-40B4-BE49-F238E27FC236}">
                <a16:creationId xmlns:a16="http://schemas.microsoft.com/office/drawing/2014/main" id="{4A4D0E2B-78F5-43A1-9A81-AA5E2B58A860}"/>
              </a:ext>
            </a:extLst>
          </p:cNvPr>
          <p:cNvPicPr>
            <a:picLocks noSelect="1" noChangeAspect="1"/>
          </p:cNvPicPr>
          <p:nvPr userDrawn="1"/>
        </p:nvPicPr>
        <p:blipFill>
          <a:blip r:embed="rId2"/>
          <a:stretch>
            <a:fillRect/>
          </a:stretch>
        </p:blipFill>
        <p:spPr bwMode="gray">
          <a:xfrm>
            <a:off x="868351" y="5625244"/>
            <a:ext cx="571649" cy="257335"/>
          </a:xfrm>
          <a:prstGeom prst="rect">
            <a:avLst/>
          </a:prstGeom>
        </p:spPr>
      </p:pic>
      <p:sp>
        <p:nvSpPr>
          <p:cNvPr id="5" name="Rectangle 4">
            <a:extLst>
              <a:ext uri="{FF2B5EF4-FFF2-40B4-BE49-F238E27FC236}">
                <a16:creationId xmlns:a16="http://schemas.microsoft.com/office/drawing/2014/main" id="{96D68C14-FDBF-4357-8DAB-DC52C6CECFDB}"/>
              </a:ext>
            </a:extLst>
          </p:cNvPr>
          <p:cNvSpPr>
            <a:spLocks noSelect="1"/>
          </p:cNvSpPr>
          <p:nvPr userDrawn="1"/>
        </p:nvSpPr>
        <p:spPr>
          <a:xfrm>
            <a:off x="1440000" y="404640"/>
            <a:ext cx="10152000" cy="53136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endParaRPr lang="nl-NL" sz="1800" b="1" dirty="0"/>
          </a:p>
        </p:txBody>
      </p:sp>
      <p:sp>
        <p:nvSpPr>
          <p:cNvPr id="2" name="Title 1">
            <a:extLst>
              <a:ext uri="{FF2B5EF4-FFF2-40B4-BE49-F238E27FC236}">
                <a16:creationId xmlns:a16="http://schemas.microsoft.com/office/drawing/2014/main" id="{9529CEC6-0800-4DC1-8762-7AFE20052EB7}"/>
              </a:ext>
            </a:extLst>
          </p:cNvPr>
          <p:cNvSpPr>
            <a:spLocks noGrp="1" noSelect="1"/>
          </p:cNvSpPr>
          <p:nvPr>
            <p:ph type="title" hasCustomPrompt="1"/>
          </p:nvPr>
        </p:nvSpPr>
        <p:spPr/>
        <p:txBody>
          <a:bodyPr/>
          <a:lstStyle>
            <a:lvl1pPr algn="l">
              <a:lnSpc>
                <a:spcPct val="100000"/>
              </a:lnSpc>
              <a:defRPr/>
            </a:lvl1pPr>
          </a:lstStyle>
          <a:p>
            <a:pPr algn="l"/>
            <a:r>
              <a:rPr lang="nl-NL" sz="2000" b="1" dirty="0"/>
              <a:t>Overzicht van beschikbare tekststijlen</a:t>
            </a:r>
          </a:p>
        </p:txBody>
      </p:sp>
      <p:sp>
        <p:nvSpPr>
          <p:cNvPr id="6" name="Tijdelijke aanduiding voor inhoud 2">
            <a:extLst>
              <a:ext uri="{FF2B5EF4-FFF2-40B4-BE49-F238E27FC236}">
                <a16:creationId xmlns:a16="http://schemas.microsoft.com/office/drawing/2014/main" id="{376CC5CB-43BC-48F3-8C2C-197CB17609D3}"/>
              </a:ext>
            </a:extLst>
          </p:cNvPr>
          <p:cNvSpPr txBox="1">
            <a:spLocks noSelect="1"/>
          </p:cNvSpPr>
          <p:nvPr userDrawn="1"/>
        </p:nvSpPr>
        <p:spPr>
          <a:xfrm>
            <a:off x="1440000" y="1628800"/>
            <a:ext cx="10152000" cy="4608000"/>
          </a:xfrm>
          <a:prstGeom prst="rect">
            <a:avLst/>
          </a:prstGeom>
        </p:spPr>
        <p:txBody>
          <a:bodyPr/>
          <a:lstStyle>
            <a:lvl1pPr marL="0" indent="0" algn="l" defTabSz="1088937" rtl="0" eaLnBrk="1" latinLnBrk="0" hangingPunct="1">
              <a:lnSpc>
                <a:spcPct val="114000"/>
              </a:lnSpc>
              <a:spcBef>
                <a:spcPts val="0"/>
              </a:spcBef>
              <a:buFont typeface="Arial" pitchFamily="34" charset="0"/>
              <a:buNone/>
              <a:defRPr sz="1500" b="0" kern="1200" baseline="0">
                <a:solidFill>
                  <a:schemeClr val="tx1"/>
                </a:solidFill>
                <a:latin typeface="Univers" panose="020B0603020202030204" pitchFamily="34" charset="0"/>
                <a:ea typeface="+mn-ea"/>
                <a:cs typeface="+mn-cs"/>
              </a:defRPr>
            </a:lvl1pPr>
            <a:lvl2pPr marL="0" indent="0" algn="l" defTabSz="1088937" rtl="0" eaLnBrk="1" latinLnBrk="0" hangingPunct="1">
              <a:lnSpc>
                <a:spcPct val="114000"/>
              </a:lnSpc>
              <a:spcBef>
                <a:spcPts val="2000"/>
              </a:spcBef>
              <a:buFont typeface="Arial" pitchFamily="34" charset="0"/>
              <a:buNone/>
              <a:defRPr sz="1500" b="1" kern="1200">
                <a:solidFill>
                  <a:schemeClr val="tx1"/>
                </a:solidFill>
                <a:latin typeface="Univers" panose="020B0603020202030204" pitchFamily="34" charset="0"/>
                <a:ea typeface="+mn-ea"/>
                <a:cs typeface="+mn-cs"/>
              </a:defRPr>
            </a:lvl2pPr>
            <a:lvl3pPr marL="0" indent="0" algn="l" defTabSz="1088937" rtl="0" eaLnBrk="1" latinLnBrk="0" hangingPunct="1">
              <a:lnSpc>
                <a:spcPct val="114000"/>
              </a:lnSpc>
              <a:spcBef>
                <a:spcPts val="2000"/>
              </a:spcBef>
              <a:buFont typeface="Arial" pitchFamily="34" charset="0"/>
              <a:buNone/>
              <a:defRPr sz="1500" b="1" kern="1200">
                <a:solidFill>
                  <a:schemeClr val="accent1"/>
                </a:solidFill>
                <a:latin typeface="Univers" panose="020B0603020202030204" pitchFamily="34" charset="0"/>
                <a:ea typeface="+mn-ea"/>
                <a:cs typeface="+mn-cs"/>
              </a:defRPr>
            </a:lvl3pPr>
            <a:lvl4pPr marL="0" indent="0" algn="l" defTabSz="1088937" rtl="0" eaLnBrk="1" latinLnBrk="0" hangingPunct="1">
              <a:lnSpc>
                <a:spcPct val="114000"/>
              </a:lnSpc>
              <a:spcBef>
                <a:spcPts val="2000"/>
              </a:spcBef>
              <a:buFont typeface="Arial" pitchFamily="34" charset="0"/>
              <a:buNone/>
              <a:defRPr sz="1500" b="1" kern="1200">
                <a:solidFill>
                  <a:srgbClr val="C73735"/>
                </a:solidFill>
                <a:latin typeface="Univers" panose="020B0603020202030204" pitchFamily="34" charset="0"/>
                <a:ea typeface="+mn-ea"/>
                <a:cs typeface="+mn-cs"/>
              </a:defRPr>
            </a:lvl4pPr>
            <a:lvl5pPr marL="0" indent="0" algn="l" defTabSz="1088937" rtl="0" eaLnBrk="1" latinLnBrk="0" hangingPunct="1">
              <a:lnSpc>
                <a:spcPct val="114000"/>
              </a:lnSpc>
              <a:spcBef>
                <a:spcPts val="1000"/>
              </a:spcBef>
              <a:spcAft>
                <a:spcPts val="1800"/>
              </a:spcAft>
              <a:buFont typeface="Arial" pitchFamily="34" charset="0"/>
              <a:buNone/>
              <a:defRPr sz="2500" b="0" kern="1200">
                <a:solidFill>
                  <a:schemeClr val="accent2"/>
                </a:solidFill>
                <a:latin typeface="Univers" panose="020B0603020202030204" pitchFamily="34" charset="0"/>
                <a:ea typeface="+mn-ea"/>
                <a:cs typeface="+mn-cs"/>
              </a:defRPr>
            </a:lvl5pPr>
            <a:lvl6pPr marL="198000" indent="-198000" algn="l" defTabSz="1088937" rtl="0" eaLnBrk="1" latinLnBrk="0" hangingPunct="1">
              <a:lnSpc>
                <a:spcPct val="114000"/>
              </a:lnSpc>
              <a:spcBef>
                <a:spcPts val="0"/>
              </a:spcBef>
              <a:spcAft>
                <a:spcPts val="0"/>
              </a:spcAft>
              <a:buFontTx/>
              <a:buBlip>
                <a:blip r:embed="rId3"/>
              </a:buBlip>
              <a:defRPr sz="1500" b="0" kern="1200" baseline="0">
                <a:solidFill>
                  <a:schemeClr val="tx1"/>
                </a:solidFill>
                <a:latin typeface="Univers" panose="020B0603020202030204" pitchFamily="34" charset="0"/>
                <a:ea typeface="+mn-ea"/>
                <a:cs typeface="+mn-cs"/>
              </a:defRPr>
            </a:lvl6pPr>
            <a:lvl7pPr marL="540000" indent="-216000" algn="l" defTabSz="1088937" rtl="0" eaLnBrk="1" latinLnBrk="0" hangingPunct="1">
              <a:lnSpc>
                <a:spcPct val="114000"/>
              </a:lnSpc>
              <a:spcBef>
                <a:spcPts val="0"/>
              </a:spcBef>
              <a:buFontTx/>
              <a:buBlip>
                <a:blip r:embed="rId4"/>
              </a:buBlip>
              <a:defRPr sz="1500" kern="1200">
                <a:solidFill>
                  <a:schemeClr val="tx1"/>
                </a:solidFill>
                <a:latin typeface="Univers" panose="020B0603020202030204" pitchFamily="34" charset="0"/>
                <a:ea typeface="+mn-ea"/>
                <a:cs typeface="+mn-cs"/>
              </a:defRPr>
            </a:lvl7pPr>
            <a:lvl8pPr marL="1026000" marR="0" indent="-144000" algn="l" defTabSz="1088937" rtl="0" eaLnBrk="1" fontAlgn="auto" latinLnBrk="0" hangingPunct="1">
              <a:lnSpc>
                <a:spcPct val="114000"/>
              </a:lnSpc>
              <a:spcBef>
                <a:spcPts val="0"/>
              </a:spcBef>
              <a:spcAft>
                <a:spcPts val="0"/>
              </a:spcAft>
              <a:buClrTx/>
              <a:buSzTx/>
              <a:buFont typeface="Arial" panose="020B0604020202020204" pitchFamily="34" charset="0"/>
              <a:buChar char="•"/>
              <a:tabLst/>
              <a:defRPr sz="1500" kern="1200">
                <a:solidFill>
                  <a:schemeClr val="tx1"/>
                </a:solidFill>
                <a:latin typeface="Univers" panose="020B0603020202030204" pitchFamily="34" charset="0"/>
                <a:ea typeface="+mn-ea"/>
                <a:cs typeface="+mn-cs"/>
              </a:defRPr>
            </a:lvl8pPr>
            <a:lvl9pPr marL="198000" indent="0" algn="l" defTabSz="1088937" rtl="0" eaLnBrk="1" latinLnBrk="0" hangingPunct="1">
              <a:lnSpc>
                <a:spcPct val="114000"/>
              </a:lnSpc>
              <a:spcBef>
                <a:spcPts val="0"/>
              </a:spcBef>
              <a:buClrTx/>
              <a:buFont typeface="Arial" pitchFamily="34" charset="0"/>
              <a:buNone/>
              <a:defRPr sz="1500" kern="1200" baseline="0">
                <a:solidFill>
                  <a:schemeClr val="tx1"/>
                </a:solidFill>
                <a:latin typeface="Univers" panose="020B0603020202030204" pitchFamily="34" charset="0"/>
                <a:ea typeface="+mn-ea"/>
                <a:cs typeface="+mn-cs"/>
              </a:defRPr>
            </a:lvl9pPr>
          </a:lstStyle>
          <a:p>
            <a:pPr lvl="0"/>
            <a:r>
              <a:rPr lang="nl-NL" dirty="0"/>
              <a:t>Basistekst</a:t>
            </a:r>
          </a:p>
          <a:p>
            <a:pPr lvl="1"/>
            <a:r>
              <a:rPr lang="nl-NL" dirty="0"/>
              <a:t>Tussenkop 1</a:t>
            </a:r>
          </a:p>
          <a:p>
            <a:pPr lvl="2"/>
            <a:r>
              <a:rPr lang="nl-NL" dirty="0"/>
              <a:t>Tussenkop 2</a:t>
            </a:r>
          </a:p>
          <a:p>
            <a:pPr lvl="3"/>
            <a:r>
              <a:rPr lang="nl-NL" dirty="0"/>
              <a:t>Tussenkop 3</a:t>
            </a:r>
          </a:p>
          <a:p>
            <a:pPr lvl="4"/>
            <a:r>
              <a:rPr lang="nl-NL" dirty="0"/>
              <a:t>Extra titelstijl</a:t>
            </a:r>
          </a:p>
          <a:p>
            <a:pPr lvl="5"/>
            <a:r>
              <a:rPr lang="nl-NL" dirty="0"/>
              <a:t>Opsomming 1e niveau</a:t>
            </a:r>
          </a:p>
          <a:p>
            <a:pPr lvl="6"/>
            <a:r>
              <a:rPr lang="nl-NL" dirty="0"/>
              <a:t>Opsomming 2e niveau</a:t>
            </a:r>
          </a:p>
          <a:p>
            <a:pPr lvl="7"/>
            <a:r>
              <a:rPr lang="nl-NL" dirty="0"/>
              <a:t>Opsomming 3e niveau</a:t>
            </a:r>
          </a:p>
          <a:p>
            <a:pPr lvl="8"/>
            <a:r>
              <a:rPr lang="nl-NL" dirty="0"/>
              <a:t>Zwevend 1e niveau</a:t>
            </a:r>
          </a:p>
          <a:p>
            <a:pPr lvl="8"/>
            <a:endParaRPr lang="nl-NL" dirty="0"/>
          </a:p>
          <a:p>
            <a:pPr lvl="8"/>
            <a:r>
              <a:rPr lang="nl-NL" dirty="0"/>
              <a:t>Gebruik de knoppen voor Lijstniveau verlagen en verhogen (zie afbeelding links) om van tekststijl te wisselen. Deze knoppen staan op tabblad Start, groep Alinea. Gebruik dus niet de knoppen voor opsommingstekens en nummering.</a:t>
            </a:r>
          </a:p>
          <a:p>
            <a:pPr lvl="7"/>
            <a:endParaRPr lang="nl-NL" dirty="0"/>
          </a:p>
        </p:txBody>
      </p:sp>
    </p:spTree>
    <p:extLst>
      <p:ext uri="{BB962C8B-B14F-4D97-AF65-F5344CB8AC3E}">
        <p14:creationId xmlns:p14="http://schemas.microsoft.com/office/powerpoint/2010/main" val="2288953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dia met eigen foto (groen)">
    <p:spTree>
      <p:nvGrpSpPr>
        <p:cNvPr id="1" name=""/>
        <p:cNvGrpSpPr/>
        <p:nvPr/>
      </p:nvGrpSpPr>
      <p:grpSpPr>
        <a:xfrm>
          <a:off x="0" y="0"/>
          <a:ext cx="0" cy="0"/>
          <a:chOff x="0" y="0"/>
          <a:chExt cx="0" cy="0"/>
        </a:xfrm>
      </p:grpSpPr>
      <p:grpSp>
        <p:nvGrpSpPr>
          <p:cNvPr id="12" name="Groep 11"/>
          <p:cNvGrpSpPr>
            <a:grpSpLocks noSelect="1"/>
          </p:cNvGrpSpPr>
          <p:nvPr userDrawn="1"/>
        </p:nvGrpSpPr>
        <p:grpSpPr bwMode="gray">
          <a:xfrm>
            <a:off x="0" y="2282031"/>
            <a:ext cx="12195361" cy="4579725"/>
            <a:chOff x="0" y="2279650"/>
            <a:chExt cx="12195361" cy="4579725"/>
          </a:xfrm>
        </p:grpSpPr>
        <p:sp>
          <p:nvSpPr>
            <p:cNvPr id="13" name="Vrije vorm: vorm 20">
              <a:extLst>
                <a:ext uri="{FF2B5EF4-FFF2-40B4-BE49-F238E27FC236}">
                  <a16:creationId xmlns:a16="http://schemas.microsoft.com/office/drawing/2014/main" id="{3DD2F5A7-5A03-464A-B51C-441C047EA134}"/>
                </a:ext>
              </a:extLst>
            </p:cNvPr>
            <p:cNvSpPr>
              <a:spLocks noSelect="1"/>
            </p:cNvSpPr>
            <p:nvPr userDrawn="1"/>
          </p:nvSpPr>
          <p:spPr bwMode="gray">
            <a:xfrm>
              <a:off x="0" y="2282399"/>
              <a:ext cx="12195361" cy="3427838"/>
            </a:xfrm>
            <a:custGeom>
              <a:avLst/>
              <a:gdLst>
                <a:gd name="connsiteX0" fmla="*/ 1144706 w 12195361"/>
                <a:gd name="connsiteY0" fmla="*/ 0 h 3427838"/>
                <a:gd name="connsiteX1" fmla="*/ 12195361 w 12195361"/>
                <a:gd name="connsiteY1" fmla="*/ 0 h 3427838"/>
                <a:gd name="connsiteX2" fmla="*/ 12195361 w 12195361"/>
                <a:gd name="connsiteY2" fmla="*/ 1147680 h 3427838"/>
                <a:gd name="connsiteX3" fmla="*/ 12195175 w 12195361"/>
                <a:gd name="connsiteY3" fmla="*/ 1147680 h 3427838"/>
                <a:gd name="connsiteX4" fmla="*/ 12195175 w 12195361"/>
                <a:gd name="connsiteY4" fmla="*/ 3427838 h 3427838"/>
                <a:gd name="connsiteX5" fmla="*/ 0 w 12195361"/>
                <a:gd name="connsiteY5" fmla="*/ 3427838 h 3427838"/>
                <a:gd name="connsiteX6" fmla="*/ 0 w 12195361"/>
                <a:gd name="connsiteY6" fmla="*/ 1143426 h 3427838"/>
                <a:gd name="connsiteX7" fmla="*/ 569408 w 12195361"/>
                <a:gd name="connsiteY7" fmla="*/ 575597 h 3427838"/>
                <a:gd name="connsiteX8" fmla="*/ 568440 w 12195361"/>
                <a:gd name="connsiteY8" fmla="*/ 574634 h 3427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5361" h="3427838">
                  <a:moveTo>
                    <a:pt x="1144706" y="0"/>
                  </a:moveTo>
                  <a:lnTo>
                    <a:pt x="12195361" y="0"/>
                  </a:lnTo>
                  <a:lnTo>
                    <a:pt x="12195361" y="1147680"/>
                  </a:lnTo>
                  <a:lnTo>
                    <a:pt x="12195175" y="1147680"/>
                  </a:lnTo>
                  <a:lnTo>
                    <a:pt x="12195175" y="3427838"/>
                  </a:lnTo>
                  <a:lnTo>
                    <a:pt x="0" y="3427838"/>
                  </a:lnTo>
                  <a:lnTo>
                    <a:pt x="0" y="1143426"/>
                  </a:lnTo>
                  <a:lnTo>
                    <a:pt x="569408" y="575597"/>
                  </a:lnTo>
                  <a:lnTo>
                    <a:pt x="568440" y="574634"/>
                  </a:lnTo>
                  <a:close/>
                </a:path>
              </a:pathLst>
            </a:custGeom>
            <a:solidFill>
              <a:srgbClr val="C0CF47"/>
            </a:solidFill>
            <a:ln>
              <a:noFill/>
            </a:ln>
          </p:spPr>
          <p:txBody>
            <a:bodyPr vert="horz" wrap="square" lIns="91440" tIns="45720" rIns="91440" bIns="45720" numCol="1" anchor="t" anchorCtr="0" compatLnSpc="1">
              <a:prstTxWarp prst="textNoShape">
                <a:avLst/>
              </a:prstTxWarp>
              <a:noAutofit/>
            </a:bodyPr>
            <a:lstStyle/>
            <a:p>
              <a:endParaRPr lang="nl-NL" dirty="0"/>
            </a:p>
          </p:txBody>
        </p:sp>
        <p:grpSp>
          <p:nvGrpSpPr>
            <p:cNvPr id="14" name="Group 25">
              <a:extLst>
                <a:ext uri="{FF2B5EF4-FFF2-40B4-BE49-F238E27FC236}">
                  <a16:creationId xmlns:a16="http://schemas.microsoft.com/office/drawing/2014/main" id="{9FDCD6F0-D7C5-442C-BD3E-9CAD785BCD9B}"/>
                </a:ext>
              </a:extLst>
            </p:cNvPr>
            <p:cNvGrpSpPr>
              <a:grpSpLocks noSelect="1"/>
            </p:cNvGrpSpPr>
            <p:nvPr userDrawn="1"/>
          </p:nvGrpSpPr>
          <p:grpSpPr bwMode="gray">
            <a:xfrm>
              <a:off x="6475413" y="2279650"/>
              <a:ext cx="5719763" cy="3430800"/>
              <a:chOff x="4079" y="1437"/>
              <a:chExt cx="3603" cy="2160"/>
            </a:xfrm>
          </p:grpSpPr>
          <p:sp>
            <p:nvSpPr>
              <p:cNvPr id="25" name="Freeform 26">
                <a:extLst>
                  <a:ext uri="{FF2B5EF4-FFF2-40B4-BE49-F238E27FC236}">
                    <a16:creationId xmlns:a16="http://schemas.microsoft.com/office/drawing/2014/main" id="{0F40A888-0D9E-43FE-BCE8-F28B06826A62}"/>
                  </a:ext>
                </a:extLst>
              </p:cNvPr>
              <p:cNvSpPr>
                <a:spLocks noSelect="1"/>
              </p:cNvSpPr>
              <p:nvPr userDrawn="1"/>
            </p:nvSpPr>
            <p:spPr bwMode="gray">
              <a:xfrm>
                <a:off x="4080" y="1439"/>
                <a:ext cx="3602" cy="2158"/>
              </a:xfrm>
              <a:custGeom>
                <a:avLst/>
                <a:gdLst>
                  <a:gd name="T0" fmla="*/ 17630 w 18008"/>
                  <a:gd name="T1" fmla="*/ 709 h 10801"/>
                  <a:gd name="T2" fmla="*/ 484 w 18008"/>
                  <a:gd name="T3" fmla="*/ 9941 h 10801"/>
                  <a:gd name="T4" fmla="*/ 4 w 18008"/>
                  <a:gd name="T5" fmla="*/ 1208 h 10801"/>
                  <a:gd name="T6" fmla="*/ 6458 w 18008"/>
                  <a:gd name="T7" fmla="*/ 268 h 10801"/>
                  <a:gd name="T8" fmla="*/ 9795 w 18008"/>
                  <a:gd name="T9" fmla="*/ 5809 h 10801"/>
                  <a:gd name="T10" fmla="*/ 10977 w 18008"/>
                  <a:gd name="T11" fmla="*/ 5207 h 10801"/>
                  <a:gd name="T12" fmla="*/ 3387 w 18008"/>
                  <a:gd name="T13" fmla="*/ 9414 h 10801"/>
                  <a:gd name="T14" fmla="*/ 2973 w 18008"/>
                  <a:gd name="T15" fmla="*/ 594 h 10801"/>
                  <a:gd name="T16" fmla="*/ 1258 w 18008"/>
                  <a:gd name="T17" fmla="*/ 2252 h 10801"/>
                  <a:gd name="T18" fmla="*/ 4569 w 18008"/>
                  <a:gd name="T19" fmla="*/ 1434 h 10801"/>
                  <a:gd name="T20" fmla="*/ 1876 w 18008"/>
                  <a:gd name="T21" fmla="*/ 7438 h 10801"/>
                  <a:gd name="T22" fmla="*/ 469 w 18008"/>
                  <a:gd name="T23" fmla="*/ 5054 h 10801"/>
                  <a:gd name="T24" fmla="*/ 7255 w 18008"/>
                  <a:gd name="T25" fmla="*/ 3824 h 10801"/>
                  <a:gd name="T26" fmla="*/ 4102 w 18008"/>
                  <a:gd name="T27" fmla="*/ 8425 h 10801"/>
                  <a:gd name="T28" fmla="*/ 5675 w 18008"/>
                  <a:gd name="T29" fmla="*/ 2611 h 10801"/>
                  <a:gd name="T30" fmla="*/ 4286 w 18008"/>
                  <a:gd name="T31" fmla="*/ 5657 h 10801"/>
                  <a:gd name="T32" fmla="*/ 3740 w 18008"/>
                  <a:gd name="T33" fmla="*/ 5768 h 10801"/>
                  <a:gd name="T34" fmla="*/ 2911 w 18008"/>
                  <a:gd name="T35" fmla="*/ 3955 h 10801"/>
                  <a:gd name="T36" fmla="*/ 4794 w 18008"/>
                  <a:gd name="T37" fmla="*/ 6771 h 10801"/>
                  <a:gd name="T38" fmla="*/ 1345 w 18008"/>
                  <a:gd name="T39" fmla="*/ 4588 h 10801"/>
                  <a:gd name="T40" fmla="*/ 6137 w 18008"/>
                  <a:gd name="T41" fmla="*/ 4556 h 10801"/>
                  <a:gd name="T42" fmla="*/ 7173 w 18008"/>
                  <a:gd name="T43" fmla="*/ 4565 h 10801"/>
                  <a:gd name="T44" fmla="*/ 1767 w 18008"/>
                  <a:gd name="T45" fmla="*/ 3394 h 10801"/>
                  <a:gd name="T46" fmla="*/ 6608 w 18008"/>
                  <a:gd name="T47" fmla="*/ 8126 h 10801"/>
                  <a:gd name="T48" fmla="*/ 5807 w 18008"/>
                  <a:gd name="T49" fmla="*/ 2567 h 10801"/>
                  <a:gd name="T50" fmla="*/ 450 w 18008"/>
                  <a:gd name="T51" fmla="*/ 5051 h 10801"/>
                  <a:gd name="T52" fmla="*/ 1810 w 18008"/>
                  <a:gd name="T53" fmla="*/ 10217 h 10801"/>
                  <a:gd name="T54" fmla="*/ 7625 w 18008"/>
                  <a:gd name="T55" fmla="*/ 8136 h 10801"/>
                  <a:gd name="T56" fmla="*/ 5937 w 18008"/>
                  <a:gd name="T57" fmla="*/ 1139 h 10801"/>
                  <a:gd name="T58" fmla="*/ 4200 w 18008"/>
                  <a:gd name="T59" fmla="*/ 390 h 10801"/>
                  <a:gd name="T60" fmla="*/ 1236 w 18008"/>
                  <a:gd name="T61" fmla="*/ 2645 h 10801"/>
                  <a:gd name="T62" fmla="*/ 1142 w 18008"/>
                  <a:gd name="T63" fmla="*/ 8692 h 10801"/>
                  <a:gd name="T64" fmla="*/ 2991 w 18008"/>
                  <a:gd name="T65" fmla="*/ 9818 h 10801"/>
                  <a:gd name="T66" fmla="*/ 14547 w 18008"/>
                  <a:gd name="T67" fmla="*/ 9024 h 10801"/>
                  <a:gd name="T68" fmla="*/ 1165 w 18008"/>
                  <a:gd name="T69" fmla="*/ 77 h 10801"/>
                  <a:gd name="T70" fmla="*/ 458 w 18008"/>
                  <a:gd name="T71" fmla="*/ 4194 h 10801"/>
                  <a:gd name="T72" fmla="*/ 3024 w 18008"/>
                  <a:gd name="T73" fmla="*/ 430 h 10801"/>
                  <a:gd name="T74" fmla="*/ 505 w 18008"/>
                  <a:gd name="T75" fmla="*/ 8406 h 10801"/>
                  <a:gd name="T76" fmla="*/ 8304 w 18008"/>
                  <a:gd name="T77" fmla="*/ 0 h 10801"/>
                  <a:gd name="T78" fmla="*/ 404 w 18008"/>
                  <a:gd name="T79" fmla="*/ 1203 h 10801"/>
                  <a:gd name="T80" fmla="*/ 9426 w 18008"/>
                  <a:gd name="T81" fmla="*/ 423 h 10801"/>
                  <a:gd name="T82" fmla="*/ 6587 w 18008"/>
                  <a:gd name="T83" fmla="*/ 7122 h 10801"/>
                  <a:gd name="T84" fmla="*/ 1518 w 18008"/>
                  <a:gd name="T85" fmla="*/ 5561 h 10801"/>
                  <a:gd name="T86" fmla="*/ 3890 w 18008"/>
                  <a:gd name="T87" fmla="*/ 7330 h 10801"/>
                  <a:gd name="T88" fmla="*/ 7399 w 18008"/>
                  <a:gd name="T89" fmla="*/ 6683 h 10801"/>
                  <a:gd name="T90" fmla="*/ 6232 w 18008"/>
                  <a:gd name="T91" fmla="*/ 7121 h 10801"/>
                  <a:gd name="T92" fmla="*/ 3045 w 18008"/>
                  <a:gd name="T93" fmla="*/ 5214 h 10801"/>
                  <a:gd name="T94" fmla="*/ 2725 w 18008"/>
                  <a:gd name="T95" fmla="*/ 5636 h 10801"/>
                  <a:gd name="T96" fmla="*/ 3164 w 18008"/>
                  <a:gd name="T97" fmla="*/ 3542 h 10801"/>
                  <a:gd name="T98" fmla="*/ 4258 w 18008"/>
                  <a:gd name="T99" fmla="*/ 5386 h 10801"/>
                  <a:gd name="T100" fmla="*/ 1909 w 18008"/>
                  <a:gd name="T101" fmla="*/ 4548 h 10801"/>
                  <a:gd name="T102" fmla="*/ 5136 w 18008"/>
                  <a:gd name="T103" fmla="*/ 6510 h 10801"/>
                  <a:gd name="T104" fmla="*/ 4572 w 18008"/>
                  <a:gd name="T105" fmla="*/ 8336 h 10801"/>
                  <a:gd name="T106" fmla="*/ 875 w 18008"/>
                  <a:gd name="T107" fmla="*/ 7620 h 10801"/>
                  <a:gd name="T108" fmla="*/ 2842 w 18008"/>
                  <a:gd name="T109" fmla="*/ 837 h 10801"/>
                  <a:gd name="T110" fmla="*/ 10952 w 18008"/>
                  <a:gd name="T111" fmla="*/ 8849 h 10801"/>
                  <a:gd name="T112" fmla="*/ 6962 w 18008"/>
                  <a:gd name="T113" fmla="*/ 9457 h 10801"/>
                  <a:gd name="T114" fmla="*/ 9342 w 18008"/>
                  <a:gd name="T115" fmla="*/ 5441 h 10801"/>
                  <a:gd name="T116" fmla="*/ 7767 w 18008"/>
                  <a:gd name="T117" fmla="*/ 6519 h 10801"/>
                  <a:gd name="T118" fmla="*/ 3027 w 18008"/>
                  <a:gd name="T119" fmla="*/ 3056 h 10801"/>
                  <a:gd name="T120" fmla="*/ 8061 w 18008"/>
                  <a:gd name="T121" fmla="*/ 3479 h 10801"/>
                  <a:gd name="T122" fmla="*/ 2151 w 18008"/>
                  <a:gd name="T123" fmla="*/ 1153 h 10801"/>
                  <a:gd name="T124" fmla="*/ 7618 w 18008"/>
                  <a:gd name="T125" fmla="*/ 6752 h 10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08" h="10801">
                    <a:moveTo>
                      <a:pt x="18005" y="9727"/>
                    </a:moveTo>
                    <a:cubicBezTo>
                      <a:pt x="18005" y="9644"/>
                      <a:pt x="18005" y="9644"/>
                      <a:pt x="18005" y="9644"/>
                    </a:cubicBezTo>
                    <a:cubicBezTo>
                      <a:pt x="18006" y="9645"/>
                      <a:pt x="18007" y="9646"/>
                      <a:pt x="18008" y="9647"/>
                    </a:cubicBezTo>
                    <a:cubicBezTo>
                      <a:pt x="18008" y="9730"/>
                      <a:pt x="18008" y="9730"/>
                      <a:pt x="18008" y="9730"/>
                    </a:cubicBezTo>
                    <a:cubicBezTo>
                      <a:pt x="18007" y="9729"/>
                      <a:pt x="18006" y="9728"/>
                      <a:pt x="18005" y="9727"/>
                    </a:cubicBezTo>
                    <a:close/>
                    <a:moveTo>
                      <a:pt x="18008" y="4545"/>
                    </a:moveTo>
                    <a:cubicBezTo>
                      <a:pt x="18008" y="4387"/>
                      <a:pt x="18008" y="4387"/>
                      <a:pt x="18008" y="4387"/>
                    </a:cubicBezTo>
                    <a:cubicBezTo>
                      <a:pt x="18007" y="4387"/>
                      <a:pt x="18006" y="4386"/>
                      <a:pt x="18005" y="4386"/>
                    </a:cubicBezTo>
                    <a:cubicBezTo>
                      <a:pt x="18005" y="4544"/>
                      <a:pt x="18005" y="4544"/>
                      <a:pt x="18005" y="4544"/>
                    </a:cubicBezTo>
                    <a:cubicBezTo>
                      <a:pt x="18006" y="4544"/>
                      <a:pt x="18007" y="4544"/>
                      <a:pt x="18008" y="4545"/>
                    </a:cubicBezTo>
                    <a:close/>
                    <a:moveTo>
                      <a:pt x="18008" y="4895"/>
                    </a:moveTo>
                    <a:cubicBezTo>
                      <a:pt x="18008" y="4819"/>
                      <a:pt x="18008" y="4819"/>
                      <a:pt x="18008" y="4819"/>
                    </a:cubicBezTo>
                    <a:cubicBezTo>
                      <a:pt x="18007" y="4820"/>
                      <a:pt x="18006" y="4821"/>
                      <a:pt x="18005" y="4821"/>
                    </a:cubicBezTo>
                    <a:cubicBezTo>
                      <a:pt x="18005" y="4896"/>
                      <a:pt x="18005" y="4896"/>
                      <a:pt x="18005" y="4896"/>
                    </a:cubicBezTo>
                    <a:cubicBezTo>
                      <a:pt x="18006" y="4896"/>
                      <a:pt x="18007" y="4895"/>
                      <a:pt x="18008" y="4895"/>
                    </a:cubicBezTo>
                    <a:close/>
                    <a:moveTo>
                      <a:pt x="758" y="3560"/>
                    </a:moveTo>
                    <a:cubicBezTo>
                      <a:pt x="636" y="3338"/>
                      <a:pt x="636" y="3338"/>
                      <a:pt x="636" y="3338"/>
                    </a:cubicBezTo>
                    <a:cubicBezTo>
                      <a:pt x="694" y="3306"/>
                      <a:pt x="694" y="3306"/>
                      <a:pt x="694" y="3306"/>
                    </a:cubicBezTo>
                    <a:cubicBezTo>
                      <a:pt x="817" y="3529"/>
                      <a:pt x="817" y="3529"/>
                      <a:pt x="817" y="3529"/>
                    </a:cubicBezTo>
                    <a:lnTo>
                      <a:pt x="758" y="3560"/>
                    </a:lnTo>
                    <a:close/>
                    <a:moveTo>
                      <a:pt x="654" y="3343"/>
                    </a:moveTo>
                    <a:cubicBezTo>
                      <a:pt x="763" y="3541"/>
                      <a:pt x="763" y="3541"/>
                      <a:pt x="763" y="3541"/>
                    </a:cubicBezTo>
                    <a:cubicBezTo>
                      <a:pt x="798" y="3523"/>
                      <a:pt x="798" y="3523"/>
                      <a:pt x="798" y="3523"/>
                    </a:cubicBezTo>
                    <a:cubicBezTo>
                      <a:pt x="688" y="3325"/>
                      <a:pt x="688" y="3325"/>
                      <a:pt x="688" y="3325"/>
                    </a:cubicBezTo>
                    <a:lnTo>
                      <a:pt x="654" y="3343"/>
                    </a:lnTo>
                    <a:close/>
                    <a:moveTo>
                      <a:pt x="10918" y="9436"/>
                    </a:moveTo>
                    <a:cubicBezTo>
                      <a:pt x="10984" y="9525"/>
                      <a:pt x="10984" y="9525"/>
                      <a:pt x="10984" y="9525"/>
                    </a:cubicBezTo>
                    <a:cubicBezTo>
                      <a:pt x="10860" y="9618"/>
                      <a:pt x="10860" y="9618"/>
                      <a:pt x="10860" y="9618"/>
                    </a:cubicBezTo>
                    <a:cubicBezTo>
                      <a:pt x="10794" y="9529"/>
                      <a:pt x="10794" y="9529"/>
                      <a:pt x="10794" y="9529"/>
                    </a:cubicBezTo>
                    <a:cubicBezTo>
                      <a:pt x="10799" y="9525"/>
                      <a:pt x="10799" y="9525"/>
                      <a:pt x="10799" y="9525"/>
                    </a:cubicBezTo>
                    <a:lnTo>
                      <a:pt x="10918" y="9436"/>
                    </a:lnTo>
                    <a:close/>
                    <a:moveTo>
                      <a:pt x="10966" y="9522"/>
                    </a:moveTo>
                    <a:cubicBezTo>
                      <a:pt x="10915" y="9454"/>
                      <a:pt x="10915" y="9454"/>
                      <a:pt x="10915" y="9454"/>
                    </a:cubicBezTo>
                    <a:cubicBezTo>
                      <a:pt x="10812" y="9532"/>
                      <a:pt x="10812" y="9532"/>
                      <a:pt x="10812" y="9532"/>
                    </a:cubicBezTo>
                    <a:cubicBezTo>
                      <a:pt x="10863" y="9599"/>
                      <a:pt x="10863" y="9599"/>
                      <a:pt x="10863" y="9599"/>
                    </a:cubicBezTo>
                    <a:lnTo>
                      <a:pt x="10966" y="9522"/>
                    </a:lnTo>
                    <a:close/>
                    <a:moveTo>
                      <a:pt x="8471" y="4773"/>
                    </a:moveTo>
                    <a:cubicBezTo>
                      <a:pt x="8763" y="4716"/>
                      <a:pt x="8763" y="4716"/>
                      <a:pt x="8763" y="4716"/>
                    </a:cubicBezTo>
                    <a:cubicBezTo>
                      <a:pt x="8756" y="4730"/>
                      <a:pt x="8756" y="4730"/>
                      <a:pt x="8756" y="4730"/>
                    </a:cubicBezTo>
                    <a:cubicBezTo>
                      <a:pt x="8455" y="5325"/>
                      <a:pt x="8455" y="5325"/>
                      <a:pt x="8455" y="5325"/>
                    </a:cubicBezTo>
                    <a:cubicBezTo>
                      <a:pt x="8412" y="5264"/>
                      <a:pt x="8412" y="5264"/>
                      <a:pt x="8412" y="5264"/>
                    </a:cubicBezTo>
                    <a:cubicBezTo>
                      <a:pt x="8390" y="5315"/>
                      <a:pt x="8295" y="5502"/>
                      <a:pt x="8123" y="5508"/>
                    </a:cubicBezTo>
                    <a:cubicBezTo>
                      <a:pt x="8121" y="5508"/>
                      <a:pt x="8120" y="5508"/>
                      <a:pt x="8118" y="5508"/>
                    </a:cubicBezTo>
                    <a:cubicBezTo>
                      <a:pt x="8020" y="5508"/>
                      <a:pt x="7968" y="5430"/>
                      <a:pt x="7942" y="5355"/>
                    </a:cubicBezTo>
                    <a:cubicBezTo>
                      <a:pt x="7920" y="5294"/>
                      <a:pt x="7914" y="5234"/>
                      <a:pt x="7913" y="5212"/>
                    </a:cubicBezTo>
                    <a:cubicBezTo>
                      <a:pt x="7669" y="5261"/>
                      <a:pt x="7669" y="5261"/>
                      <a:pt x="7669" y="5261"/>
                    </a:cubicBezTo>
                    <a:cubicBezTo>
                      <a:pt x="7966" y="4650"/>
                      <a:pt x="7966" y="4650"/>
                      <a:pt x="7966" y="4650"/>
                    </a:cubicBezTo>
                    <a:cubicBezTo>
                      <a:pt x="8039" y="4765"/>
                      <a:pt x="8039" y="4765"/>
                      <a:pt x="8039" y="4765"/>
                    </a:cubicBezTo>
                    <a:cubicBezTo>
                      <a:pt x="8064" y="4728"/>
                      <a:pt x="8158" y="4598"/>
                      <a:pt x="8287" y="4598"/>
                    </a:cubicBezTo>
                    <a:cubicBezTo>
                      <a:pt x="8295" y="4598"/>
                      <a:pt x="8303" y="4598"/>
                      <a:pt x="8312" y="4599"/>
                    </a:cubicBezTo>
                    <a:cubicBezTo>
                      <a:pt x="8414" y="4614"/>
                      <a:pt x="8461" y="4742"/>
                      <a:pt x="8471" y="4773"/>
                    </a:cubicBezTo>
                    <a:close/>
                    <a:moveTo>
                      <a:pt x="8736" y="4737"/>
                    </a:moveTo>
                    <a:cubicBezTo>
                      <a:pt x="8460" y="4790"/>
                      <a:pt x="8460" y="4790"/>
                      <a:pt x="8460" y="4790"/>
                    </a:cubicBezTo>
                    <a:cubicBezTo>
                      <a:pt x="8459" y="4783"/>
                      <a:pt x="8459" y="4783"/>
                      <a:pt x="8459" y="4783"/>
                    </a:cubicBezTo>
                    <a:cubicBezTo>
                      <a:pt x="8459" y="4783"/>
                      <a:pt x="8447" y="4744"/>
                      <a:pt x="8423" y="4703"/>
                    </a:cubicBezTo>
                    <a:cubicBezTo>
                      <a:pt x="8398" y="4662"/>
                      <a:pt x="8361" y="4621"/>
                      <a:pt x="8310" y="4614"/>
                    </a:cubicBezTo>
                    <a:cubicBezTo>
                      <a:pt x="8302" y="4613"/>
                      <a:pt x="8294" y="4612"/>
                      <a:pt x="8287" y="4612"/>
                    </a:cubicBezTo>
                    <a:cubicBezTo>
                      <a:pt x="8218" y="4612"/>
                      <a:pt x="8157" y="4654"/>
                      <a:pt x="8114" y="4697"/>
                    </a:cubicBezTo>
                    <a:cubicBezTo>
                      <a:pt x="8071" y="4740"/>
                      <a:pt x="8046" y="4782"/>
                      <a:pt x="8046" y="4782"/>
                    </a:cubicBezTo>
                    <a:cubicBezTo>
                      <a:pt x="8040" y="4793"/>
                      <a:pt x="8040" y="4793"/>
                      <a:pt x="8040" y="4793"/>
                    </a:cubicBezTo>
                    <a:cubicBezTo>
                      <a:pt x="7967" y="4680"/>
                      <a:pt x="7967" y="4680"/>
                      <a:pt x="7967" y="4680"/>
                    </a:cubicBezTo>
                    <a:cubicBezTo>
                      <a:pt x="7695" y="5240"/>
                      <a:pt x="7695" y="5240"/>
                      <a:pt x="7695" y="5240"/>
                    </a:cubicBezTo>
                    <a:cubicBezTo>
                      <a:pt x="7927" y="5195"/>
                      <a:pt x="7927" y="5195"/>
                      <a:pt x="7927" y="5195"/>
                    </a:cubicBezTo>
                    <a:cubicBezTo>
                      <a:pt x="7927" y="5203"/>
                      <a:pt x="7927" y="5203"/>
                      <a:pt x="7927" y="5203"/>
                    </a:cubicBezTo>
                    <a:cubicBezTo>
                      <a:pt x="7927" y="5203"/>
                      <a:pt x="7930" y="5277"/>
                      <a:pt x="7956" y="5350"/>
                    </a:cubicBezTo>
                    <a:cubicBezTo>
                      <a:pt x="7982" y="5423"/>
                      <a:pt x="8029" y="5493"/>
                      <a:pt x="8118" y="5493"/>
                    </a:cubicBezTo>
                    <a:cubicBezTo>
                      <a:pt x="8120" y="5493"/>
                      <a:pt x="8121" y="5493"/>
                      <a:pt x="8123" y="5493"/>
                    </a:cubicBezTo>
                    <a:cubicBezTo>
                      <a:pt x="8215" y="5491"/>
                      <a:pt x="8285" y="5430"/>
                      <a:pt x="8333" y="5368"/>
                    </a:cubicBezTo>
                    <a:cubicBezTo>
                      <a:pt x="8380" y="5307"/>
                      <a:pt x="8404" y="5247"/>
                      <a:pt x="8404" y="5246"/>
                    </a:cubicBezTo>
                    <a:cubicBezTo>
                      <a:pt x="8409" y="5234"/>
                      <a:pt x="8409" y="5234"/>
                      <a:pt x="8409" y="5234"/>
                    </a:cubicBezTo>
                    <a:cubicBezTo>
                      <a:pt x="8453" y="5296"/>
                      <a:pt x="8453" y="5296"/>
                      <a:pt x="8453" y="5296"/>
                    </a:cubicBezTo>
                    <a:lnTo>
                      <a:pt x="8736" y="4737"/>
                    </a:lnTo>
                    <a:close/>
                    <a:moveTo>
                      <a:pt x="8133" y="119"/>
                    </a:moveTo>
                    <a:cubicBezTo>
                      <a:pt x="8254" y="198"/>
                      <a:pt x="8254" y="198"/>
                      <a:pt x="8254" y="198"/>
                    </a:cubicBezTo>
                    <a:cubicBezTo>
                      <a:pt x="8213" y="262"/>
                      <a:pt x="8213" y="262"/>
                      <a:pt x="8213" y="262"/>
                    </a:cubicBezTo>
                    <a:cubicBezTo>
                      <a:pt x="8086" y="179"/>
                      <a:pt x="8086" y="179"/>
                      <a:pt x="8086" y="179"/>
                    </a:cubicBezTo>
                    <a:cubicBezTo>
                      <a:pt x="8127" y="115"/>
                      <a:pt x="8127" y="115"/>
                      <a:pt x="8127" y="115"/>
                    </a:cubicBezTo>
                    <a:lnTo>
                      <a:pt x="8133" y="119"/>
                    </a:lnTo>
                    <a:close/>
                    <a:moveTo>
                      <a:pt x="8236" y="202"/>
                    </a:moveTo>
                    <a:cubicBezTo>
                      <a:pt x="8131" y="134"/>
                      <a:pt x="8131" y="134"/>
                      <a:pt x="8131" y="134"/>
                    </a:cubicBezTo>
                    <a:cubicBezTo>
                      <a:pt x="8104" y="175"/>
                      <a:pt x="8104" y="175"/>
                      <a:pt x="8104" y="175"/>
                    </a:cubicBezTo>
                    <a:cubicBezTo>
                      <a:pt x="8209" y="244"/>
                      <a:pt x="8209" y="244"/>
                      <a:pt x="8209" y="244"/>
                    </a:cubicBezTo>
                    <a:lnTo>
                      <a:pt x="8236" y="202"/>
                    </a:lnTo>
                    <a:close/>
                    <a:moveTo>
                      <a:pt x="6331" y="9963"/>
                    </a:moveTo>
                    <a:cubicBezTo>
                      <a:pt x="6332" y="10148"/>
                      <a:pt x="6332" y="10148"/>
                      <a:pt x="6332" y="10148"/>
                    </a:cubicBezTo>
                    <a:cubicBezTo>
                      <a:pt x="6222" y="10149"/>
                      <a:pt x="6222" y="10149"/>
                      <a:pt x="6222" y="10149"/>
                    </a:cubicBezTo>
                    <a:cubicBezTo>
                      <a:pt x="6222" y="10076"/>
                      <a:pt x="6222" y="10076"/>
                      <a:pt x="6222" y="10076"/>
                    </a:cubicBezTo>
                    <a:cubicBezTo>
                      <a:pt x="6164" y="10076"/>
                      <a:pt x="6164" y="10076"/>
                      <a:pt x="6164" y="10076"/>
                    </a:cubicBezTo>
                    <a:cubicBezTo>
                      <a:pt x="6164" y="10070"/>
                      <a:pt x="6164" y="10070"/>
                      <a:pt x="6164" y="10070"/>
                    </a:cubicBezTo>
                    <a:cubicBezTo>
                      <a:pt x="6161" y="9953"/>
                      <a:pt x="6161" y="9953"/>
                      <a:pt x="6161" y="9953"/>
                    </a:cubicBezTo>
                    <a:cubicBezTo>
                      <a:pt x="6278" y="9953"/>
                      <a:pt x="6278" y="9953"/>
                      <a:pt x="6278" y="9953"/>
                    </a:cubicBezTo>
                    <a:cubicBezTo>
                      <a:pt x="6278" y="9963"/>
                      <a:pt x="6278" y="9963"/>
                      <a:pt x="6278" y="9963"/>
                    </a:cubicBezTo>
                    <a:lnTo>
                      <a:pt x="6331" y="9963"/>
                    </a:lnTo>
                    <a:close/>
                    <a:moveTo>
                      <a:pt x="6319" y="10135"/>
                    </a:moveTo>
                    <a:cubicBezTo>
                      <a:pt x="6318" y="9976"/>
                      <a:pt x="6318" y="9976"/>
                      <a:pt x="6318" y="9976"/>
                    </a:cubicBezTo>
                    <a:cubicBezTo>
                      <a:pt x="6265" y="9976"/>
                      <a:pt x="6265" y="9976"/>
                      <a:pt x="6265" y="9976"/>
                    </a:cubicBezTo>
                    <a:cubicBezTo>
                      <a:pt x="6265" y="9966"/>
                      <a:pt x="6265" y="9966"/>
                      <a:pt x="6265" y="9966"/>
                    </a:cubicBezTo>
                    <a:cubicBezTo>
                      <a:pt x="6174" y="9966"/>
                      <a:pt x="6174" y="9966"/>
                      <a:pt x="6174" y="9966"/>
                    </a:cubicBezTo>
                    <a:cubicBezTo>
                      <a:pt x="6177" y="10063"/>
                      <a:pt x="6177" y="10063"/>
                      <a:pt x="6177" y="10063"/>
                    </a:cubicBezTo>
                    <a:cubicBezTo>
                      <a:pt x="6235" y="10063"/>
                      <a:pt x="6235" y="10063"/>
                      <a:pt x="6235" y="10063"/>
                    </a:cubicBezTo>
                    <a:cubicBezTo>
                      <a:pt x="6235" y="10136"/>
                      <a:pt x="6235" y="10136"/>
                      <a:pt x="6235" y="10136"/>
                    </a:cubicBezTo>
                    <a:lnTo>
                      <a:pt x="6319" y="10135"/>
                    </a:lnTo>
                    <a:close/>
                    <a:moveTo>
                      <a:pt x="11782" y="9825"/>
                    </a:moveTo>
                    <a:cubicBezTo>
                      <a:pt x="11847" y="9914"/>
                      <a:pt x="11847" y="9914"/>
                      <a:pt x="11847" y="9914"/>
                    </a:cubicBezTo>
                    <a:cubicBezTo>
                      <a:pt x="11722" y="10006"/>
                      <a:pt x="11722" y="10006"/>
                      <a:pt x="11722" y="10006"/>
                    </a:cubicBezTo>
                    <a:cubicBezTo>
                      <a:pt x="11656" y="9916"/>
                      <a:pt x="11656" y="9916"/>
                      <a:pt x="11656" y="9916"/>
                    </a:cubicBezTo>
                    <a:cubicBezTo>
                      <a:pt x="11662" y="9912"/>
                      <a:pt x="11662" y="9912"/>
                      <a:pt x="11662" y="9912"/>
                    </a:cubicBezTo>
                    <a:lnTo>
                      <a:pt x="11782" y="9825"/>
                    </a:lnTo>
                    <a:close/>
                    <a:moveTo>
                      <a:pt x="11829" y="9912"/>
                    </a:moveTo>
                    <a:cubicBezTo>
                      <a:pt x="11779" y="9843"/>
                      <a:pt x="11779" y="9843"/>
                      <a:pt x="11779" y="9843"/>
                    </a:cubicBezTo>
                    <a:cubicBezTo>
                      <a:pt x="11675" y="9919"/>
                      <a:pt x="11675" y="9919"/>
                      <a:pt x="11675" y="9919"/>
                    </a:cubicBezTo>
                    <a:cubicBezTo>
                      <a:pt x="11725" y="9987"/>
                      <a:pt x="11725" y="9987"/>
                      <a:pt x="11725" y="9987"/>
                    </a:cubicBezTo>
                    <a:lnTo>
                      <a:pt x="11829" y="9912"/>
                    </a:lnTo>
                    <a:close/>
                    <a:moveTo>
                      <a:pt x="7859" y="442"/>
                    </a:moveTo>
                    <a:cubicBezTo>
                      <a:pt x="7756" y="330"/>
                      <a:pt x="7756" y="330"/>
                      <a:pt x="7756" y="330"/>
                    </a:cubicBezTo>
                    <a:cubicBezTo>
                      <a:pt x="7812" y="279"/>
                      <a:pt x="7812" y="279"/>
                      <a:pt x="7812" y="279"/>
                    </a:cubicBezTo>
                    <a:cubicBezTo>
                      <a:pt x="7816" y="284"/>
                      <a:pt x="7816" y="284"/>
                      <a:pt x="7816" y="284"/>
                    </a:cubicBezTo>
                    <a:cubicBezTo>
                      <a:pt x="7915" y="390"/>
                      <a:pt x="7915" y="390"/>
                      <a:pt x="7915" y="390"/>
                    </a:cubicBezTo>
                    <a:lnTo>
                      <a:pt x="7859" y="442"/>
                    </a:lnTo>
                    <a:close/>
                    <a:moveTo>
                      <a:pt x="7775" y="331"/>
                    </a:moveTo>
                    <a:cubicBezTo>
                      <a:pt x="7860" y="423"/>
                      <a:pt x="7860" y="423"/>
                      <a:pt x="7860" y="423"/>
                    </a:cubicBezTo>
                    <a:cubicBezTo>
                      <a:pt x="7896" y="389"/>
                      <a:pt x="7896" y="389"/>
                      <a:pt x="7896" y="389"/>
                    </a:cubicBezTo>
                    <a:cubicBezTo>
                      <a:pt x="7811" y="297"/>
                      <a:pt x="7811" y="297"/>
                      <a:pt x="7811" y="297"/>
                    </a:cubicBezTo>
                    <a:lnTo>
                      <a:pt x="7775" y="331"/>
                    </a:lnTo>
                    <a:close/>
                    <a:moveTo>
                      <a:pt x="6586" y="10060"/>
                    </a:moveTo>
                    <a:cubicBezTo>
                      <a:pt x="6704" y="10061"/>
                      <a:pt x="6704" y="10061"/>
                      <a:pt x="6704" y="10061"/>
                    </a:cubicBezTo>
                    <a:cubicBezTo>
                      <a:pt x="6700" y="10183"/>
                      <a:pt x="6700" y="10183"/>
                      <a:pt x="6700" y="10183"/>
                    </a:cubicBezTo>
                    <a:cubicBezTo>
                      <a:pt x="6694" y="10183"/>
                      <a:pt x="6694" y="10183"/>
                      <a:pt x="6694" y="10183"/>
                    </a:cubicBezTo>
                    <a:cubicBezTo>
                      <a:pt x="6643" y="10183"/>
                      <a:pt x="6643" y="10183"/>
                      <a:pt x="6643" y="10183"/>
                    </a:cubicBezTo>
                    <a:cubicBezTo>
                      <a:pt x="6643" y="10256"/>
                      <a:pt x="6643" y="10256"/>
                      <a:pt x="6643" y="10256"/>
                    </a:cubicBezTo>
                    <a:cubicBezTo>
                      <a:pt x="6533" y="10255"/>
                      <a:pt x="6533" y="10255"/>
                      <a:pt x="6533" y="10255"/>
                    </a:cubicBezTo>
                    <a:cubicBezTo>
                      <a:pt x="6534" y="10070"/>
                      <a:pt x="6534" y="10070"/>
                      <a:pt x="6534" y="10070"/>
                    </a:cubicBezTo>
                    <a:cubicBezTo>
                      <a:pt x="6586" y="10070"/>
                      <a:pt x="6586" y="10070"/>
                      <a:pt x="6586" y="10070"/>
                    </a:cubicBezTo>
                    <a:cubicBezTo>
                      <a:pt x="6586" y="10066"/>
                      <a:pt x="6586" y="10066"/>
                      <a:pt x="6586" y="10066"/>
                    </a:cubicBezTo>
                    <a:lnTo>
                      <a:pt x="6586" y="10060"/>
                    </a:lnTo>
                    <a:close/>
                    <a:moveTo>
                      <a:pt x="6599" y="10083"/>
                    </a:moveTo>
                    <a:cubicBezTo>
                      <a:pt x="6547" y="10083"/>
                      <a:pt x="6547" y="10083"/>
                      <a:pt x="6547" y="10083"/>
                    </a:cubicBezTo>
                    <a:cubicBezTo>
                      <a:pt x="6546" y="10242"/>
                      <a:pt x="6546" y="10242"/>
                      <a:pt x="6546" y="10242"/>
                    </a:cubicBezTo>
                    <a:cubicBezTo>
                      <a:pt x="6629" y="10243"/>
                      <a:pt x="6629" y="10243"/>
                      <a:pt x="6629" y="10243"/>
                    </a:cubicBezTo>
                    <a:cubicBezTo>
                      <a:pt x="6630" y="10170"/>
                      <a:pt x="6630" y="10170"/>
                      <a:pt x="6630" y="10170"/>
                    </a:cubicBezTo>
                    <a:cubicBezTo>
                      <a:pt x="6688" y="10170"/>
                      <a:pt x="6688" y="10170"/>
                      <a:pt x="6688" y="10170"/>
                    </a:cubicBezTo>
                    <a:cubicBezTo>
                      <a:pt x="6690" y="10074"/>
                      <a:pt x="6690" y="10074"/>
                      <a:pt x="6690" y="10074"/>
                    </a:cubicBezTo>
                    <a:cubicBezTo>
                      <a:pt x="6599" y="10073"/>
                      <a:pt x="6599" y="10073"/>
                      <a:pt x="6599" y="10073"/>
                    </a:cubicBezTo>
                    <a:cubicBezTo>
                      <a:pt x="6599" y="10077"/>
                      <a:pt x="6599" y="10077"/>
                      <a:pt x="6599" y="10077"/>
                    </a:cubicBezTo>
                    <a:lnTo>
                      <a:pt x="6599" y="10083"/>
                    </a:lnTo>
                    <a:close/>
                    <a:moveTo>
                      <a:pt x="656" y="4687"/>
                    </a:moveTo>
                    <a:cubicBezTo>
                      <a:pt x="274" y="4866"/>
                      <a:pt x="274" y="4866"/>
                      <a:pt x="274" y="4866"/>
                    </a:cubicBezTo>
                    <a:cubicBezTo>
                      <a:pt x="255" y="4962"/>
                      <a:pt x="255" y="4962"/>
                      <a:pt x="255" y="4962"/>
                    </a:cubicBezTo>
                    <a:cubicBezTo>
                      <a:pt x="140" y="4913"/>
                      <a:pt x="140" y="4913"/>
                      <a:pt x="140" y="4913"/>
                    </a:cubicBezTo>
                    <a:cubicBezTo>
                      <a:pt x="165" y="4811"/>
                      <a:pt x="165" y="4811"/>
                      <a:pt x="165" y="4811"/>
                    </a:cubicBezTo>
                    <a:cubicBezTo>
                      <a:pt x="598" y="4604"/>
                      <a:pt x="598" y="4604"/>
                      <a:pt x="598" y="4604"/>
                    </a:cubicBezTo>
                    <a:cubicBezTo>
                      <a:pt x="601" y="4609"/>
                      <a:pt x="601" y="4609"/>
                      <a:pt x="601" y="4609"/>
                    </a:cubicBezTo>
                    <a:lnTo>
                      <a:pt x="656" y="4687"/>
                    </a:lnTo>
                    <a:close/>
                    <a:moveTo>
                      <a:pt x="633" y="4681"/>
                    </a:moveTo>
                    <a:cubicBezTo>
                      <a:pt x="593" y="4622"/>
                      <a:pt x="593" y="4622"/>
                      <a:pt x="593" y="4622"/>
                    </a:cubicBezTo>
                    <a:cubicBezTo>
                      <a:pt x="178" y="4821"/>
                      <a:pt x="178" y="4821"/>
                      <a:pt x="178" y="4821"/>
                    </a:cubicBezTo>
                    <a:cubicBezTo>
                      <a:pt x="158" y="4904"/>
                      <a:pt x="158" y="4904"/>
                      <a:pt x="158" y="4904"/>
                    </a:cubicBezTo>
                    <a:cubicBezTo>
                      <a:pt x="244" y="4941"/>
                      <a:pt x="244" y="4941"/>
                      <a:pt x="244" y="4941"/>
                    </a:cubicBezTo>
                    <a:cubicBezTo>
                      <a:pt x="261" y="4856"/>
                      <a:pt x="261" y="4856"/>
                      <a:pt x="261" y="4856"/>
                    </a:cubicBezTo>
                    <a:lnTo>
                      <a:pt x="633" y="4681"/>
                    </a:lnTo>
                    <a:close/>
                    <a:moveTo>
                      <a:pt x="12658" y="1955"/>
                    </a:moveTo>
                    <a:cubicBezTo>
                      <a:pt x="12793" y="1957"/>
                      <a:pt x="12793" y="1957"/>
                      <a:pt x="12793" y="1957"/>
                    </a:cubicBezTo>
                    <a:cubicBezTo>
                      <a:pt x="12792" y="2149"/>
                      <a:pt x="12792" y="2149"/>
                      <a:pt x="12792" y="2149"/>
                    </a:cubicBezTo>
                    <a:cubicBezTo>
                      <a:pt x="12785" y="2149"/>
                      <a:pt x="12785" y="2149"/>
                      <a:pt x="12785" y="2149"/>
                    </a:cubicBezTo>
                    <a:cubicBezTo>
                      <a:pt x="12702" y="2150"/>
                      <a:pt x="12702" y="2150"/>
                      <a:pt x="12702" y="2150"/>
                    </a:cubicBezTo>
                    <a:cubicBezTo>
                      <a:pt x="12701" y="2192"/>
                      <a:pt x="12701" y="2192"/>
                      <a:pt x="12701" y="2192"/>
                    </a:cubicBezTo>
                    <a:cubicBezTo>
                      <a:pt x="12618" y="2190"/>
                      <a:pt x="12618" y="2190"/>
                      <a:pt x="12618" y="2190"/>
                    </a:cubicBezTo>
                    <a:cubicBezTo>
                      <a:pt x="12614" y="2147"/>
                      <a:pt x="12614" y="2147"/>
                      <a:pt x="12614" y="2147"/>
                    </a:cubicBezTo>
                    <a:cubicBezTo>
                      <a:pt x="12479" y="2146"/>
                      <a:pt x="12479" y="2146"/>
                      <a:pt x="12479" y="2146"/>
                    </a:cubicBezTo>
                    <a:cubicBezTo>
                      <a:pt x="12477" y="2091"/>
                      <a:pt x="12477" y="2091"/>
                      <a:pt x="12477" y="2091"/>
                    </a:cubicBezTo>
                    <a:cubicBezTo>
                      <a:pt x="12458" y="2089"/>
                      <a:pt x="12458" y="2089"/>
                      <a:pt x="12458" y="2089"/>
                    </a:cubicBezTo>
                    <a:cubicBezTo>
                      <a:pt x="12452" y="2089"/>
                      <a:pt x="12452" y="2089"/>
                      <a:pt x="12452" y="2089"/>
                    </a:cubicBezTo>
                    <a:cubicBezTo>
                      <a:pt x="12451" y="2021"/>
                      <a:pt x="12451" y="2021"/>
                      <a:pt x="12451" y="2021"/>
                    </a:cubicBezTo>
                    <a:cubicBezTo>
                      <a:pt x="12483" y="2019"/>
                      <a:pt x="12483" y="2019"/>
                      <a:pt x="12483" y="2019"/>
                    </a:cubicBezTo>
                    <a:cubicBezTo>
                      <a:pt x="12481" y="1954"/>
                      <a:pt x="12481" y="1954"/>
                      <a:pt x="12481" y="1954"/>
                    </a:cubicBezTo>
                    <a:cubicBezTo>
                      <a:pt x="12557" y="1954"/>
                      <a:pt x="12557" y="1954"/>
                      <a:pt x="12557" y="1954"/>
                    </a:cubicBezTo>
                    <a:cubicBezTo>
                      <a:pt x="12556" y="1935"/>
                      <a:pt x="12556" y="1935"/>
                      <a:pt x="12556" y="1935"/>
                    </a:cubicBezTo>
                    <a:cubicBezTo>
                      <a:pt x="12555" y="1929"/>
                      <a:pt x="12555" y="1929"/>
                      <a:pt x="12555" y="1929"/>
                    </a:cubicBezTo>
                    <a:cubicBezTo>
                      <a:pt x="12657" y="1926"/>
                      <a:pt x="12657" y="1926"/>
                      <a:pt x="12657" y="1926"/>
                    </a:cubicBezTo>
                    <a:lnTo>
                      <a:pt x="12658" y="1955"/>
                    </a:lnTo>
                    <a:close/>
                    <a:moveTo>
                      <a:pt x="12780" y="1970"/>
                    </a:moveTo>
                    <a:cubicBezTo>
                      <a:pt x="12646" y="1968"/>
                      <a:pt x="12646" y="1968"/>
                      <a:pt x="12646" y="1968"/>
                    </a:cubicBezTo>
                    <a:cubicBezTo>
                      <a:pt x="12644" y="1939"/>
                      <a:pt x="12644" y="1939"/>
                      <a:pt x="12644" y="1939"/>
                    </a:cubicBezTo>
                    <a:cubicBezTo>
                      <a:pt x="12569" y="1941"/>
                      <a:pt x="12569" y="1941"/>
                      <a:pt x="12569" y="1941"/>
                    </a:cubicBezTo>
                    <a:cubicBezTo>
                      <a:pt x="12570" y="1960"/>
                      <a:pt x="12570" y="1960"/>
                      <a:pt x="12570" y="1960"/>
                    </a:cubicBezTo>
                    <a:cubicBezTo>
                      <a:pt x="12570" y="1967"/>
                      <a:pt x="12570" y="1967"/>
                      <a:pt x="12570" y="1967"/>
                    </a:cubicBezTo>
                    <a:cubicBezTo>
                      <a:pt x="12495" y="1967"/>
                      <a:pt x="12495" y="1967"/>
                      <a:pt x="12495" y="1967"/>
                    </a:cubicBezTo>
                    <a:cubicBezTo>
                      <a:pt x="12497" y="2032"/>
                      <a:pt x="12497" y="2032"/>
                      <a:pt x="12497" y="2032"/>
                    </a:cubicBezTo>
                    <a:cubicBezTo>
                      <a:pt x="12464" y="2034"/>
                      <a:pt x="12464" y="2034"/>
                      <a:pt x="12464" y="2034"/>
                    </a:cubicBezTo>
                    <a:cubicBezTo>
                      <a:pt x="12464" y="2077"/>
                      <a:pt x="12464" y="2077"/>
                      <a:pt x="12464" y="2077"/>
                    </a:cubicBezTo>
                    <a:cubicBezTo>
                      <a:pt x="12484" y="2078"/>
                      <a:pt x="12484" y="2078"/>
                      <a:pt x="12484" y="2078"/>
                    </a:cubicBezTo>
                    <a:cubicBezTo>
                      <a:pt x="12490" y="2078"/>
                      <a:pt x="12490" y="2078"/>
                      <a:pt x="12490" y="2078"/>
                    </a:cubicBezTo>
                    <a:cubicBezTo>
                      <a:pt x="12492" y="2133"/>
                      <a:pt x="12492" y="2133"/>
                      <a:pt x="12492" y="2133"/>
                    </a:cubicBezTo>
                    <a:cubicBezTo>
                      <a:pt x="12625" y="2134"/>
                      <a:pt x="12625" y="2134"/>
                      <a:pt x="12625" y="2134"/>
                    </a:cubicBezTo>
                    <a:cubicBezTo>
                      <a:pt x="12630" y="2177"/>
                      <a:pt x="12630" y="2177"/>
                      <a:pt x="12630" y="2177"/>
                    </a:cubicBezTo>
                    <a:cubicBezTo>
                      <a:pt x="12688" y="2179"/>
                      <a:pt x="12688" y="2179"/>
                      <a:pt x="12688" y="2179"/>
                    </a:cubicBezTo>
                    <a:cubicBezTo>
                      <a:pt x="12689" y="2137"/>
                      <a:pt x="12689" y="2137"/>
                      <a:pt x="12689" y="2137"/>
                    </a:cubicBezTo>
                    <a:cubicBezTo>
                      <a:pt x="12779" y="2136"/>
                      <a:pt x="12779" y="2136"/>
                      <a:pt x="12779" y="2136"/>
                    </a:cubicBezTo>
                    <a:lnTo>
                      <a:pt x="12780" y="1970"/>
                    </a:lnTo>
                    <a:close/>
                    <a:moveTo>
                      <a:pt x="947" y="3733"/>
                    </a:moveTo>
                    <a:cubicBezTo>
                      <a:pt x="884" y="3773"/>
                      <a:pt x="884" y="3773"/>
                      <a:pt x="884" y="3773"/>
                    </a:cubicBezTo>
                    <a:cubicBezTo>
                      <a:pt x="743" y="3971"/>
                      <a:pt x="743" y="3971"/>
                      <a:pt x="743" y="3971"/>
                    </a:cubicBezTo>
                    <a:cubicBezTo>
                      <a:pt x="682" y="3903"/>
                      <a:pt x="682" y="3903"/>
                      <a:pt x="682" y="3903"/>
                    </a:cubicBezTo>
                    <a:cubicBezTo>
                      <a:pt x="789" y="3768"/>
                      <a:pt x="789" y="3768"/>
                      <a:pt x="789" y="3768"/>
                    </a:cubicBezTo>
                    <a:cubicBezTo>
                      <a:pt x="754" y="3711"/>
                      <a:pt x="754" y="3711"/>
                      <a:pt x="754" y="3711"/>
                    </a:cubicBezTo>
                    <a:cubicBezTo>
                      <a:pt x="820" y="3672"/>
                      <a:pt x="820" y="3672"/>
                      <a:pt x="820" y="3672"/>
                    </a:cubicBezTo>
                    <a:cubicBezTo>
                      <a:pt x="791" y="3614"/>
                      <a:pt x="791" y="3614"/>
                      <a:pt x="791" y="3614"/>
                    </a:cubicBezTo>
                    <a:cubicBezTo>
                      <a:pt x="851" y="3580"/>
                      <a:pt x="851" y="3580"/>
                      <a:pt x="851" y="3580"/>
                    </a:cubicBezTo>
                    <a:lnTo>
                      <a:pt x="947" y="3733"/>
                    </a:lnTo>
                    <a:close/>
                    <a:moveTo>
                      <a:pt x="928" y="3728"/>
                    </a:moveTo>
                    <a:cubicBezTo>
                      <a:pt x="846" y="3598"/>
                      <a:pt x="846" y="3598"/>
                      <a:pt x="846" y="3598"/>
                    </a:cubicBezTo>
                    <a:cubicBezTo>
                      <a:pt x="809" y="3620"/>
                      <a:pt x="809" y="3620"/>
                      <a:pt x="809" y="3620"/>
                    </a:cubicBezTo>
                    <a:cubicBezTo>
                      <a:pt x="833" y="3666"/>
                      <a:pt x="833" y="3666"/>
                      <a:pt x="833" y="3666"/>
                    </a:cubicBezTo>
                    <a:cubicBezTo>
                      <a:pt x="839" y="3678"/>
                      <a:pt x="839" y="3678"/>
                      <a:pt x="839" y="3678"/>
                    </a:cubicBezTo>
                    <a:cubicBezTo>
                      <a:pt x="827" y="3685"/>
                      <a:pt x="827" y="3685"/>
                      <a:pt x="827" y="3685"/>
                    </a:cubicBezTo>
                    <a:cubicBezTo>
                      <a:pt x="773" y="3716"/>
                      <a:pt x="773" y="3716"/>
                      <a:pt x="773" y="3716"/>
                    </a:cubicBezTo>
                    <a:cubicBezTo>
                      <a:pt x="801" y="3761"/>
                      <a:pt x="801" y="3761"/>
                      <a:pt x="801" y="3761"/>
                    </a:cubicBezTo>
                    <a:cubicBezTo>
                      <a:pt x="806" y="3769"/>
                      <a:pt x="806" y="3769"/>
                      <a:pt x="806" y="3769"/>
                    </a:cubicBezTo>
                    <a:cubicBezTo>
                      <a:pt x="800" y="3777"/>
                      <a:pt x="800" y="3777"/>
                      <a:pt x="800" y="3777"/>
                    </a:cubicBezTo>
                    <a:cubicBezTo>
                      <a:pt x="700" y="3903"/>
                      <a:pt x="700" y="3903"/>
                      <a:pt x="700" y="3903"/>
                    </a:cubicBezTo>
                    <a:cubicBezTo>
                      <a:pt x="741" y="3949"/>
                      <a:pt x="741" y="3949"/>
                      <a:pt x="741" y="3949"/>
                    </a:cubicBezTo>
                    <a:cubicBezTo>
                      <a:pt x="873" y="3765"/>
                      <a:pt x="873" y="3765"/>
                      <a:pt x="873" y="3765"/>
                    </a:cubicBezTo>
                    <a:cubicBezTo>
                      <a:pt x="874" y="3763"/>
                      <a:pt x="874" y="3763"/>
                      <a:pt x="874" y="3763"/>
                    </a:cubicBezTo>
                    <a:cubicBezTo>
                      <a:pt x="876" y="3761"/>
                      <a:pt x="876" y="3761"/>
                      <a:pt x="876" y="3761"/>
                    </a:cubicBezTo>
                    <a:lnTo>
                      <a:pt x="928" y="3728"/>
                    </a:lnTo>
                    <a:close/>
                    <a:moveTo>
                      <a:pt x="2996" y="181"/>
                    </a:moveTo>
                    <a:cubicBezTo>
                      <a:pt x="2918" y="0"/>
                      <a:pt x="2918" y="0"/>
                      <a:pt x="2918" y="0"/>
                    </a:cubicBezTo>
                    <a:cubicBezTo>
                      <a:pt x="2902" y="0"/>
                      <a:pt x="2902" y="0"/>
                      <a:pt x="2902" y="0"/>
                    </a:cubicBezTo>
                    <a:cubicBezTo>
                      <a:pt x="2976" y="171"/>
                      <a:pt x="2976" y="171"/>
                      <a:pt x="2976" y="171"/>
                    </a:cubicBezTo>
                    <a:cubicBezTo>
                      <a:pt x="2874" y="196"/>
                      <a:pt x="2874" y="196"/>
                      <a:pt x="2874" y="196"/>
                    </a:cubicBezTo>
                    <a:cubicBezTo>
                      <a:pt x="2865" y="0"/>
                      <a:pt x="2865" y="0"/>
                      <a:pt x="2865" y="0"/>
                    </a:cubicBezTo>
                    <a:cubicBezTo>
                      <a:pt x="2851" y="0"/>
                      <a:pt x="2851" y="0"/>
                      <a:pt x="2851" y="0"/>
                    </a:cubicBezTo>
                    <a:cubicBezTo>
                      <a:pt x="2860" y="215"/>
                      <a:pt x="2860" y="215"/>
                      <a:pt x="2860" y="215"/>
                    </a:cubicBezTo>
                    <a:lnTo>
                      <a:pt x="2996" y="181"/>
                    </a:lnTo>
                    <a:close/>
                    <a:moveTo>
                      <a:pt x="449" y="2022"/>
                    </a:moveTo>
                    <a:cubicBezTo>
                      <a:pt x="319" y="1992"/>
                      <a:pt x="319" y="1992"/>
                      <a:pt x="319" y="1992"/>
                    </a:cubicBezTo>
                    <a:cubicBezTo>
                      <a:pt x="369" y="1857"/>
                      <a:pt x="369" y="1857"/>
                      <a:pt x="369" y="1857"/>
                    </a:cubicBezTo>
                    <a:cubicBezTo>
                      <a:pt x="522" y="1788"/>
                      <a:pt x="522" y="1788"/>
                      <a:pt x="522" y="1788"/>
                    </a:cubicBezTo>
                    <a:cubicBezTo>
                      <a:pt x="566" y="1827"/>
                      <a:pt x="566" y="1827"/>
                      <a:pt x="566" y="1827"/>
                    </a:cubicBezTo>
                    <a:cubicBezTo>
                      <a:pt x="541" y="1916"/>
                      <a:pt x="541" y="1916"/>
                      <a:pt x="541" y="1916"/>
                    </a:cubicBezTo>
                    <a:cubicBezTo>
                      <a:pt x="486" y="1904"/>
                      <a:pt x="486" y="1904"/>
                      <a:pt x="486" y="1904"/>
                    </a:cubicBezTo>
                    <a:lnTo>
                      <a:pt x="449" y="2022"/>
                    </a:lnTo>
                    <a:close/>
                    <a:moveTo>
                      <a:pt x="439" y="2006"/>
                    </a:moveTo>
                    <a:cubicBezTo>
                      <a:pt x="473" y="1900"/>
                      <a:pt x="473" y="1900"/>
                      <a:pt x="473" y="1900"/>
                    </a:cubicBezTo>
                    <a:cubicBezTo>
                      <a:pt x="476" y="1887"/>
                      <a:pt x="476" y="1887"/>
                      <a:pt x="476" y="1887"/>
                    </a:cubicBezTo>
                    <a:cubicBezTo>
                      <a:pt x="489" y="1890"/>
                      <a:pt x="489" y="1890"/>
                      <a:pt x="489" y="1890"/>
                    </a:cubicBezTo>
                    <a:cubicBezTo>
                      <a:pt x="532" y="1900"/>
                      <a:pt x="532" y="1900"/>
                      <a:pt x="532" y="1900"/>
                    </a:cubicBezTo>
                    <a:cubicBezTo>
                      <a:pt x="551" y="1832"/>
                      <a:pt x="551" y="1832"/>
                      <a:pt x="551" y="1832"/>
                    </a:cubicBezTo>
                    <a:cubicBezTo>
                      <a:pt x="520" y="1804"/>
                      <a:pt x="520" y="1804"/>
                      <a:pt x="520" y="1804"/>
                    </a:cubicBezTo>
                    <a:cubicBezTo>
                      <a:pt x="380" y="1867"/>
                      <a:pt x="380" y="1867"/>
                      <a:pt x="380" y="1867"/>
                    </a:cubicBezTo>
                    <a:cubicBezTo>
                      <a:pt x="337" y="1982"/>
                      <a:pt x="337" y="1982"/>
                      <a:pt x="337" y="1982"/>
                    </a:cubicBezTo>
                    <a:lnTo>
                      <a:pt x="439" y="2006"/>
                    </a:lnTo>
                    <a:close/>
                    <a:moveTo>
                      <a:pt x="15473" y="0"/>
                    </a:moveTo>
                    <a:cubicBezTo>
                      <a:pt x="15539" y="0"/>
                      <a:pt x="15539" y="0"/>
                      <a:pt x="15539" y="0"/>
                    </a:cubicBezTo>
                    <a:cubicBezTo>
                      <a:pt x="15588" y="385"/>
                      <a:pt x="15650" y="886"/>
                      <a:pt x="15673" y="1071"/>
                    </a:cubicBezTo>
                    <a:cubicBezTo>
                      <a:pt x="15682" y="1067"/>
                      <a:pt x="15688" y="1065"/>
                      <a:pt x="15688" y="1065"/>
                    </a:cubicBezTo>
                    <a:cubicBezTo>
                      <a:pt x="15695" y="1062"/>
                      <a:pt x="15695" y="1062"/>
                      <a:pt x="15695" y="1062"/>
                    </a:cubicBezTo>
                    <a:cubicBezTo>
                      <a:pt x="17131" y="767"/>
                      <a:pt x="17131" y="767"/>
                      <a:pt x="17131" y="767"/>
                    </a:cubicBezTo>
                    <a:cubicBezTo>
                      <a:pt x="17134" y="767"/>
                      <a:pt x="17134" y="767"/>
                      <a:pt x="17134" y="767"/>
                    </a:cubicBezTo>
                    <a:cubicBezTo>
                      <a:pt x="17134" y="767"/>
                      <a:pt x="17382" y="738"/>
                      <a:pt x="17630" y="709"/>
                    </a:cubicBezTo>
                    <a:cubicBezTo>
                      <a:pt x="17754" y="694"/>
                      <a:pt x="17879" y="680"/>
                      <a:pt x="17973" y="669"/>
                    </a:cubicBezTo>
                    <a:cubicBezTo>
                      <a:pt x="17985" y="667"/>
                      <a:pt x="17997" y="666"/>
                      <a:pt x="18008" y="664"/>
                    </a:cubicBezTo>
                    <a:cubicBezTo>
                      <a:pt x="18008" y="818"/>
                      <a:pt x="18008" y="818"/>
                      <a:pt x="18008" y="818"/>
                    </a:cubicBezTo>
                    <a:cubicBezTo>
                      <a:pt x="17910" y="829"/>
                      <a:pt x="17772" y="846"/>
                      <a:pt x="17636" y="862"/>
                    </a:cubicBezTo>
                    <a:cubicBezTo>
                      <a:pt x="17408" y="888"/>
                      <a:pt x="17185" y="915"/>
                      <a:pt x="17155" y="918"/>
                    </a:cubicBezTo>
                    <a:cubicBezTo>
                      <a:pt x="15741" y="1208"/>
                      <a:pt x="15741" y="1208"/>
                      <a:pt x="15741" y="1208"/>
                    </a:cubicBezTo>
                    <a:cubicBezTo>
                      <a:pt x="15714" y="1219"/>
                      <a:pt x="15615" y="1262"/>
                      <a:pt x="15592" y="1272"/>
                    </a:cubicBezTo>
                    <a:cubicBezTo>
                      <a:pt x="15592" y="1272"/>
                      <a:pt x="15592" y="1272"/>
                      <a:pt x="15592" y="1272"/>
                    </a:cubicBezTo>
                    <a:cubicBezTo>
                      <a:pt x="15579" y="1279"/>
                      <a:pt x="15527" y="1308"/>
                      <a:pt x="15456" y="1348"/>
                    </a:cubicBezTo>
                    <a:cubicBezTo>
                      <a:pt x="15349" y="1408"/>
                      <a:pt x="15196" y="1493"/>
                      <a:pt x="15047" y="1571"/>
                    </a:cubicBezTo>
                    <a:cubicBezTo>
                      <a:pt x="14897" y="1649"/>
                      <a:pt x="14754" y="1721"/>
                      <a:pt x="14656" y="1756"/>
                    </a:cubicBezTo>
                    <a:cubicBezTo>
                      <a:pt x="14533" y="1801"/>
                      <a:pt x="14416" y="1840"/>
                      <a:pt x="14328" y="1869"/>
                    </a:cubicBezTo>
                    <a:cubicBezTo>
                      <a:pt x="14284" y="1883"/>
                      <a:pt x="14247" y="1894"/>
                      <a:pt x="14219" y="1902"/>
                    </a:cubicBezTo>
                    <a:cubicBezTo>
                      <a:pt x="14206" y="1906"/>
                      <a:pt x="14194" y="1910"/>
                      <a:pt x="14185" y="1912"/>
                    </a:cubicBezTo>
                    <a:cubicBezTo>
                      <a:pt x="14180" y="1913"/>
                      <a:pt x="14176" y="1914"/>
                      <a:pt x="14172" y="1915"/>
                    </a:cubicBezTo>
                    <a:cubicBezTo>
                      <a:pt x="14168" y="1916"/>
                      <a:pt x="14166" y="1916"/>
                      <a:pt x="14160" y="1917"/>
                    </a:cubicBezTo>
                    <a:cubicBezTo>
                      <a:pt x="14148" y="1919"/>
                      <a:pt x="14094" y="1932"/>
                      <a:pt x="14026" y="1948"/>
                    </a:cubicBezTo>
                    <a:cubicBezTo>
                      <a:pt x="13862" y="1987"/>
                      <a:pt x="13602" y="2050"/>
                      <a:pt x="13484" y="2078"/>
                    </a:cubicBezTo>
                    <a:cubicBezTo>
                      <a:pt x="13489" y="2111"/>
                      <a:pt x="13490" y="2144"/>
                      <a:pt x="13490" y="2175"/>
                    </a:cubicBezTo>
                    <a:cubicBezTo>
                      <a:pt x="13490" y="2236"/>
                      <a:pt x="13484" y="2293"/>
                      <a:pt x="13478" y="2335"/>
                    </a:cubicBezTo>
                    <a:cubicBezTo>
                      <a:pt x="13475" y="2352"/>
                      <a:pt x="13472" y="2366"/>
                      <a:pt x="13470" y="2378"/>
                    </a:cubicBezTo>
                    <a:cubicBezTo>
                      <a:pt x="13499" y="2420"/>
                      <a:pt x="13553" y="2474"/>
                      <a:pt x="13612" y="2519"/>
                    </a:cubicBezTo>
                    <a:cubicBezTo>
                      <a:pt x="13683" y="2575"/>
                      <a:pt x="13763" y="2621"/>
                      <a:pt x="13807" y="2636"/>
                    </a:cubicBezTo>
                    <a:cubicBezTo>
                      <a:pt x="13856" y="2653"/>
                      <a:pt x="13935" y="2667"/>
                      <a:pt x="14020" y="2688"/>
                    </a:cubicBezTo>
                    <a:cubicBezTo>
                      <a:pt x="14106" y="2710"/>
                      <a:pt x="14201" y="2739"/>
                      <a:pt x="14287" y="2793"/>
                    </a:cubicBezTo>
                    <a:cubicBezTo>
                      <a:pt x="14438" y="2890"/>
                      <a:pt x="14520" y="3035"/>
                      <a:pt x="14540" y="3073"/>
                    </a:cubicBezTo>
                    <a:cubicBezTo>
                      <a:pt x="14561" y="3098"/>
                      <a:pt x="14651" y="3207"/>
                      <a:pt x="14748" y="3322"/>
                    </a:cubicBezTo>
                    <a:cubicBezTo>
                      <a:pt x="14803" y="3387"/>
                      <a:pt x="14860" y="3455"/>
                      <a:pt x="14908" y="3509"/>
                    </a:cubicBezTo>
                    <a:cubicBezTo>
                      <a:pt x="14931" y="3536"/>
                      <a:pt x="14953" y="3560"/>
                      <a:pt x="14970" y="3579"/>
                    </a:cubicBezTo>
                    <a:cubicBezTo>
                      <a:pt x="14986" y="3598"/>
                      <a:pt x="15000" y="3612"/>
                      <a:pt x="15004" y="3615"/>
                    </a:cubicBezTo>
                    <a:cubicBezTo>
                      <a:pt x="15036" y="3644"/>
                      <a:pt x="15058" y="3661"/>
                      <a:pt x="15072" y="3670"/>
                    </a:cubicBezTo>
                    <a:cubicBezTo>
                      <a:pt x="15076" y="3673"/>
                      <a:pt x="15080" y="3675"/>
                      <a:pt x="15082" y="3677"/>
                    </a:cubicBezTo>
                    <a:cubicBezTo>
                      <a:pt x="15120" y="3686"/>
                      <a:pt x="15262" y="3719"/>
                      <a:pt x="15438" y="3759"/>
                    </a:cubicBezTo>
                    <a:cubicBezTo>
                      <a:pt x="15643" y="3806"/>
                      <a:pt x="15894" y="3862"/>
                      <a:pt x="16074" y="3898"/>
                    </a:cubicBezTo>
                    <a:cubicBezTo>
                      <a:pt x="16259" y="3936"/>
                      <a:pt x="16799" y="4073"/>
                      <a:pt x="17296" y="4202"/>
                    </a:cubicBezTo>
                    <a:cubicBezTo>
                      <a:pt x="17568" y="4272"/>
                      <a:pt x="17827" y="4339"/>
                      <a:pt x="18005" y="4386"/>
                    </a:cubicBezTo>
                    <a:cubicBezTo>
                      <a:pt x="18005" y="4544"/>
                      <a:pt x="18005" y="4544"/>
                      <a:pt x="18005" y="4544"/>
                    </a:cubicBezTo>
                    <a:cubicBezTo>
                      <a:pt x="17827" y="4497"/>
                      <a:pt x="17550" y="4425"/>
                      <a:pt x="17258" y="4349"/>
                    </a:cubicBezTo>
                    <a:cubicBezTo>
                      <a:pt x="16763" y="4221"/>
                      <a:pt x="16220" y="4083"/>
                      <a:pt x="16044" y="4048"/>
                    </a:cubicBezTo>
                    <a:cubicBezTo>
                      <a:pt x="15766" y="3991"/>
                      <a:pt x="15328" y="3891"/>
                      <a:pt x="15135" y="3846"/>
                    </a:cubicBezTo>
                    <a:cubicBezTo>
                      <a:pt x="14837" y="4255"/>
                      <a:pt x="14837" y="4255"/>
                      <a:pt x="14837" y="4255"/>
                    </a:cubicBezTo>
                    <a:cubicBezTo>
                      <a:pt x="14820" y="4301"/>
                      <a:pt x="14751" y="4478"/>
                      <a:pt x="14637" y="4635"/>
                    </a:cubicBezTo>
                    <a:cubicBezTo>
                      <a:pt x="14533" y="4778"/>
                      <a:pt x="14393" y="4886"/>
                      <a:pt x="14335" y="4929"/>
                    </a:cubicBezTo>
                    <a:cubicBezTo>
                      <a:pt x="14325" y="4987"/>
                      <a:pt x="14303" y="5124"/>
                      <a:pt x="14272" y="5310"/>
                    </a:cubicBezTo>
                    <a:cubicBezTo>
                      <a:pt x="14252" y="5431"/>
                      <a:pt x="14228" y="5574"/>
                      <a:pt x="14203" y="5729"/>
                    </a:cubicBezTo>
                    <a:cubicBezTo>
                      <a:pt x="15398" y="5964"/>
                      <a:pt x="15398" y="5964"/>
                      <a:pt x="15398" y="5964"/>
                    </a:cubicBezTo>
                    <a:cubicBezTo>
                      <a:pt x="15404" y="5965"/>
                      <a:pt x="15414" y="5967"/>
                      <a:pt x="15426" y="5970"/>
                    </a:cubicBezTo>
                    <a:cubicBezTo>
                      <a:pt x="15478" y="5683"/>
                      <a:pt x="15656" y="5337"/>
                      <a:pt x="16206" y="5186"/>
                    </a:cubicBezTo>
                    <a:cubicBezTo>
                      <a:pt x="16483" y="5110"/>
                      <a:pt x="16801" y="5072"/>
                      <a:pt x="17061" y="5050"/>
                    </a:cubicBezTo>
                    <a:cubicBezTo>
                      <a:pt x="17191" y="5039"/>
                      <a:pt x="17306" y="5032"/>
                      <a:pt x="17393" y="5026"/>
                    </a:cubicBezTo>
                    <a:cubicBezTo>
                      <a:pt x="17479" y="5021"/>
                      <a:pt x="17542" y="5016"/>
                      <a:pt x="17554" y="5013"/>
                    </a:cubicBezTo>
                    <a:cubicBezTo>
                      <a:pt x="17604" y="5000"/>
                      <a:pt x="17790" y="4944"/>
                      <a:pt x="18005" y="4821"/>
                    </a:cubicBezTo>
                    <a:cubicBezTo>
                      <a:pt x="18005" y="4896"/>
                      <a:pt x="18005" y="4896"/>
                      <a:pt x="18005" y="4896"/>
                    </a:cubicBezTo>
                    <a:cubicBezTo>
                      <a:pt x="17798" y="5010"/>
                      <a:pt x="17623" y="5063"/>
                      <a:pt x="17570" y="5077"/>
                    </a:cubicBezTo>
                    <a:cubicBezTo>
                      <a:pt x="17542" y="5083"/>
                      <a:pt x="17485" y="5086"/>
                      <a:pt x="17397" y="5092"/>
                    </a:cubicBezTo>
                    <a:cubicBezTo>
                      <a:pt x="17136" y="5108"/>
                      <a:pt x="16628" y="5138"/>
                      <a:pt x="16224" y="5250"/>
                    </a:cubicBezTo>
                    <a:cubicBezTo>
                      <a:pt x="15694" y="5397"/>
                      <a:pt x="15541" y="5713"/>
                      <a:pt x="15490" y="5985"/>
                    </a:cubicBezTo>
                    <a:cubicBezTo>
                      <a:pt x="15690" y="6034"/>
                      <a:pt x="16143" y="6177"/>
                      <a:pt x="16509" y="6538"/>
                    </a:cubicBezTo>
                    <a:cubicBezTo>
                      <a:pt x="17089" y="7110"/>
                      <a:pt x="17238" y="7841"/>
                      <a:pt x="17247" y="7888"/>
                    </a:cubicBezTo>
                    <a:cubicBezTo>
                      <a:pt x="17299" y="8053"/>
                      <a:pt x="17319" y="8209"/>
                      <a:pt x="17319" y="8352"/>
                    </a:cubicBezTo>
                    <a:cubicBezTo>
                      <a:pt x="17319" y="8733"/>
                      <a:pt x="17178" y="9013"/>
                      <a:pt x="17131" y="9096"/>
                    </a:cubicBezTo>
                    <a:cubicBezTo>
                      <a:pt x="17247" y="9132"/>
                      <a:pt x="17375" y="9188"/>
                      <a:pt x="17502" y="9274"/>
                    </a:cubicBezTo>
                    <a:cubicBezTo>
                      <a:pt x="17699" y="9408"/>
                      <a:pt x="17857" y="9530"/>
                      <a:pt x="18005" y="9644"/>
                    </a:cubicBezTo>
                    <a:cubicBezTo>
                      <a:pt x="18005" y="9727"/>
                      <a:pt x="18005" y="9727"/>
                      <a:pt x="18005" y="9727"/>
                    </a:cubicBezTo>
                    <a:cubicBezTo>
                      <a:pt x="17845" y="9604"/>
                      <a:pt x="17678" y="9472"/>
                      <a:pt x="17465" y="9328"/>
                    </a:cubicBezTo>
                    <a:cubicBezTo>
                      <a:pt x="17136" y="9105"/>
                      <a:pt x="16794" y="9095"/>
                      <a:pt x="16708" y="9095"/>
                    </a:cubicBezTo>
                    <a:cubicBezTo>
                      <a:pt x="16699" y="9095"/>
                      <a:pt x="16693" y="9095"/>
                      <a:pt x="16689" y="9095"/>
                    </a:cubicBezTo>
                    <a:cubicBezTo>
                      <a:pt x="16688" y="9095"/>
                      <a:pt x="16687" y="9095"/>
                      <a:pt x="16685" y="9095"/>
                    </a:cubicBezTo>
                    <a:cubicBezTo>
                      <a:pt x="16684" y="9095"/>
                      <a:pt x="16684" y="9095"/>
                      <a:pt x="16681" y="9095"/>
                    </a:cubicBezTo>
                    <a:cubicBezTo>
                      <a:pt x="16681" y="9095"/>
                      <a:pt x="16681" y="9095"/>
                      <a:pt x="16681" y="9095"/>
                    </a:cubicBezTo>
                    <a:cubicBezTo>
                      <a:pt x="16680" y="9095"/>
                      <a:pt x="16678" y="9095"/>
                      <a:pt x="16677" y="9095"/>
                    </a:cubicBezTo>
                    <a:cubicBezTo>
                      <a:pt x="16588" y="9095"/>
                      <a:pt x="15864" y="9106"/>
                      <a:pt x="15163" y="9116"/>
                    </a:cubicBezTo>
                    <a:cubicBezTo>
                      <a:pt x="14956" y="9119"/>
                      <a:pt x="14752" y="9123"/>
                      <a:pt x="14566" y="9125"/>
                    </a:cubicBezTo>
                    <a:cubicBezTo>
                      <a:pt x="14582" y="9194"/>
                      <a:pt x="14613" y="9326"/>
                      <a:pt x="14653" y="9490"/>
                    </a:cubicBezTo>
                    <a:cubicBezTo>
                      <a:pt x="14713" y="9732"/>
                      <a:pt x="14790" y="10044"/>
                      <a:pt x="14864" y="10322"/>
                    </a:cubicBezTo>
                    <a:cubicBezTo>
                      <a:pt x="14900" y="10457"/>
                      <a:pt x="14947" y="10629"/>
                      <a:pt x="14994" y="10801"/>
                    </a:cubicBezTo>
                    <a:cubicBezTo>
                      <a:pt x="14926" y="10801"/>
                      <a:pt x="14926" y="10801"/>
                      <a:pt x="14926" y="10801"/>
                    </a:cubicBezTo>
                    <a:cubicBezTo>
                      <a:pt x="14880" y="10635"/>
                      <a:pt x="14835" y="10470"/>
                      <a:pt x="14801" y="10339"/>
                    </a:cubicBezTo>
                    <a:cubicBezTo>
                      <a:pt x="14673" y="9858"/>
                      <a:pt x="14534" y="9276"/>
                      <a:pt x="14498" y="9127"/>
                    </a:cubicBezTo>
                    <a:cubicBezTo>
                      <a:pt x="14395" y="9128"/>
                      <a:pt x="14297" y="9130"/>
                      <a:pt x="14210" y="9131"/>
                    </a:cubicBezTo>
                    <a:cubicBezTo>
                      <a:pt x="14010" y="9134"/>
                      <a:pt x="13863" y="9136"/>
                      <a:pt x="13808" y="9137"/>
                    </a:cubicBezTo>
                    <a:cubicBezTo>
                      <a:pt x="13830" y="9386"/>
                      <a:pt x="13864" y="9751"/>
                      <a:pt x="13897" y="10099"/>
                    </a:cubicBezTo>
                    <a:cubicBezTo>
                      <a:pt x="13921" y="10358"/>
                      <a:pt x="13944" y="10607"/>
                      <a:pt x="13962" y="10791"/>
                    </a:cubicBezTo>
                    <a:cubicBezTo>
                      <a:pt x="13962" y="10795"/>
                      <a:pt x="13962" y="10798"/>
                      <a:pt x="13963" y="10801"/>
                    </a:cubicBezTo>
                    <a:cubicBezTo>
                      <a:pt x="13810" y="10801"/>
                      <a:pt x="13810" y="10801"/>
                      <a:pt x="13810" y="10801"/>
                    </a:cubicBezTo>
                    <a:cubicBezTo>
                      <a:pt x="13790" y="10592"/>
                      <a:pt x="13762" y="10303"/>
                      <a:pt x="13735" y="10009"/>
                    </a:cubicBezTo>
                    <a:cubicBezTo>
                      <a:pt x="13709" y="9732"/>
                      <a:pt x="13683" y="9451"/>
                      <a:pt x="13664" y="9235"/>
                    </a:cubicBezTo>
                    <a:cubicBezTo>
                      <a:pt x="13654" y="9126"/>
                      <a:pt x="13646" y="9034"/>
                      <a:pt x="13640" y="8966"/>
                    </a:cubicBezTo>
                    <a:cubicBezTo>
                      <a:pt x="13638" y="8944"/>
                      <a:pt x="13637" y="8924"/>
                      <a:pt x="13635" y="8908"/>
                    </a:cubicBezTo>
                    <a:cubicBezTo>
                      <a:pt x="12632" y="8941"/>
                      <a:pt x="12632" y="8941"/>
                      <a:pt x="12632" y="8941"/>
                    </a:cubicBezTo>
                    <a:cubicBezTo>
                      <a:pt x="12632" y="8941"/>
                      <a:pt x="12631" y="8941"/>
                      <a:pt x="12631" y="8941"/>
                    </a:cubicBezTo>
                    <a:cubicBezTo>
                      <a:pt x="12620" y="8944"/>
                      <a:pt x="12590" y="8954"/>
                      <a:pt x="12566" y="8975"/>
                    </a:cubicBezTo>
                    <a:cubicBezTo>
                      <a:pt x="12541" y="8996"/>
                      <a:pt x="12521" y="9024"/>
                      <a:pt x="12520" y="9073"/>
                    </a:cubicBezTo>
                    <a:cubicBezTo>
                      <a:pt x="12520" y="9074"/>
                      <a:pt x="12520" y="9076"/>
                      <a:pt x="12520" y="9079"/>
                    </a:cubicBezTo>
                    <a:cubicBezTo>
                      <a:pt x="12521" y="9088"/>
                      <a:pt x="12521" y="9097"/>
                      <a:pt x="12521" y="9106"/>
                    </a:cubicBezTo>
                    <a:cubicBezTo>
                      <a:pt x="12521" y="9165"/>
                      <a:pt x="12513" y="9209"/>
                      <a:pt x="12483" y="9243"/>
                    </a:cubicBezTo>
                    <a:cubicBezTo>
                      <a:pt x="12454" y="9276"/>
                      <a:pt x="12415" y="9294"/>
                      <a:pt x="12358" y="9323"/>
                    </a:cubicBezTo>
                    <a:cubicBezTo>
                      <a:pt x="12243" y="9380"/>
                      <a:pt x="11894" y="9514"/>
                      <a:pt x="11827" y="9539"/>
                    </a:cubicBezTo>
                    <a:cubicBezTo>
                      <a:pt x="12166" y="10332"/>
                      <a:pt x="12166" y="10332"/>
                      <a:pt x="12166" y="10332"/>
                    </a:cubicBezTo>
                    <a:cubicBezTo>
                      <a:pt x="12157" y="10336"/>
                      <a:pt x="12157" y="10336"/>
                      <a:pt x="12157" y="10336"/>
                    </a:cubicBezTo>
                    <a:cubicBezTo>
                      <a:pt x="12987" y="10801"/>
                      <a:pt x="12987" y="10801"/>
                      <a:pt x="12987" y="10801"/>
                    </a:cubicBezTo>
                    <a:cubicBezTo>
                      <a:pt x="12853" y="10801"/>
                      <a:pt x="12853" y="10801"/>
                      <a:pt x="12853" y="10801"/>
                    </a:cubicBezTo>
                    <a:cubicBezTo>
                      <a:pt x="12138" y="10400"/>
                      <a:pt x="12138" y="10400"/>
                      <a:pt x="12138" y="10400"/>
                    </a:cubicBezTo>
                    <a:cubicBezTo>
                      <a:pt x="11859" y="10801"/>
                      <a:pt x="11859" y="10801"/>
                      <a:pt x="11859" y="10801"/>
                    </a:cubicBezTo>
                    <a:cubicBezTo>
                      <a:pt x="11714" y="10801"/>
                      <a:pt x="11714" y="10801"/>
                      <a:pt x="11714" y="10801"/>
                    </a:cubicBezTo>
                    <a:cubicBezTo>
                      <a:pt x="11688" y="10764"/>
                      <a:pt x="11658" y="10715"/>
                      <a:pt x="11622" y="10645"/>
                    </a:cubicBezTo>
                    <a:cubicBezTo>
                      <a:pt x="11570" y="10546"/>
                      <a:pt x="11539" y="10384"/>
                      <a:pt x="11519" y="10231"/>
                    </a:cubicBezTo>
                    <a:cubicBezTo>
                      <a:pt x="11503" y="10115"/>
                      <a:pt x="11495" y="10006"/>
                      <a:pt x="11491" y="9918"/>
                    </a:cubicBezTo>
                    <a:cubicBezTo>
                      <a:pt x="10840" y="10066"/>
                      <a:pt x="10840" y="10066"/>
                      <a:pt x="10840" y="10066"/>
                    </a:cubicBezTo>
                    <a:cubicBezTo>
                      <a:pt x="10451" y="9723"/>
                      <a:pt x="10451" y="9723"/>
                      <a:pt x="10451" y="9723"/>
                    </a:cubicBezTo>
                    <a:cubicBezTo>
                      <a:pt x="10414" y="9751"/>
                      <a:pt x="10380" y="9778"/>
                      <a:pt x="10349" y="9803"/>
                    </a:cubicBezTo>
                    <a:cubicBezTo>
                      <a:pt x="10267" y="9867"/>
                      <a:pt x="10207" y="9914"/>
                      <a:pt x="10181" y="9934"/>
                    </a:cubicBezTo>
                    <a:cubicBezTo>
                      <a:pt x="10188" y="9952"/>
                      <a:pt x="10195" y="9972"/>
                      <a:pt x="10202" y="9995"/>
                    </a:cubicBezTo>
                    <a:cubicBezTo>
                      <a:pt x="10258" y="10168"/>
                      <a:pt x="10332" y="10479"/>
                      <a:pt x="10381" y="10697"/>
                    </a:cubicBezTo>
                    <a:cubicBezTo>
                      <a:pt x="10389" y="10734"/>
                      <a:pt x="10393" y="10768"/>
                      <a:pt x="10394" y="10801"/>
                    </a:cubicBezTo>
                    <a:cubicBezTo>
                      <a:pt x="10329" y="10801"/>
                      <a:pt x="10329" y="10801"/>
                      <a:pt x="10329" y="10801"/>
                    </a:cubicBezTo>
                    <a:cubicBezTo>
                      <a:pt x="10327" y="10773"/>
                      <a:pt x="10324" y="10743"/>
                      <a:pt x="10317" y="10711"/>
                    </a:cubicBezTo>
                    <a:cubicBezTo>
                      <a:pt x="10284" y="10566"/>
                      <a:pt x="10241" y="10380"/>
                      <a:pt x="10199" y="10222"/>
                    </a:cubicBezTo>
                    <a:cubicBezTo>
                      <a:pt x="10178" y="10143"/>
                      <a:pt x="10158" y="10071"/>
                      <a:pt x="10140" y="10015"/>
                    </a:cubicBezTo>
                    <a:cubicBezTo>
                      <a:pt x="10123" y="9961"/>
                      <a:pt x="10105" y="9919"/>
                      <a:pt x="10098" y="9911"/>
                    </a:cubicBezTo>
                    <a:cubicBezTo>
                      <a:pt x="10080" y="9886"/>
                      <a:pt x="10004" y="9822"/>
                      <a:pt x="9918" y="9762"/>
                    </a:cubicBezTo>
                    <a:cubicBezTo>
                      <a:pt x="9896" y="9746"/>
                      <a:pt x="9873" y="9731"/>
                      <a:pt x="9850" y="9716"/>
                    </a:cubicBezTo>
                    <a:cubicBezTo>
                      <a:pt x="9840" y="9731"/>
                      <a:pt x="9825" y="9755"/>
                      <a:pt x="9806" y="9786"/>
                    </a:cubicBezTo>
                    <a:cubicBezTo>
                      <a:pt x="9719" y="9927"/>
                      <a:pt x="9545" y="10207"/>
                      <a:pt x="9404" y="10393"/>
                    </a:cubicBezTo>
                    <a:cubicBezTo>
                      <a:pt x="9245" y="10602"/>
                      <a:pt x="9234" y="10710"/>
                      <a:pt x="9234" y="10734"/>
                    </a:cubicBezTo>
                    <a:cubicBezTo>
                      <a:pt x="9234" y="10737"/>
                      <a:pt x="9235" y="10738"/>
                      <a:pt x="9235" y="10739"/>
                    </a:cubicBezTo>
                    <a:cubicBezTo>
                      <a:pt x="9235" y="10739"/>
                      <a:pt x="9235" y="10739"/>
                      <a:pt x="9235" y="10739"/>
                    </a:cubicBezTo>
                    <a:cubicBezTo>
                      <a:pt x="9235" y="10741"/>
                      <a:pt x="9235" y="10741"/>
                      <a:pt x="9235" y="10741"/>
                    </a:cubicBezTo>
                    <a:cubicBezTo>
                      <a:pt x="9238" y="10801"/>
                      <a:pt x="9238" y="10801"/>
                      <a:pt x="9238" y="10801"/>
                    </a:cubicBezTo>
                    <a:cubicBezTo>
                      <a:pt x="9173" y="10801"/>
                      <a:pt x="9173" y="10801"/>
                      <a:pt x="9173" y="10801"/>
                    </a:cubicBezTo>
                    <a:cubicBezTo>
                      <a:pt x="9170" y="10748"/>
                      <a:pt x="9170" y="10748"/>
                      <a:pt x="9170" y="10748"/>
                    </a:cubicBezTo>
                    <a:cubicBezTo>
                      <a:pt x="9169" y="10745"/>
                      <a:pt x="9169" y="10740"/>
                      <a:pt x="9169" y="10734"/>
                    </a:cubicBezTo>
                    <a:cubicBezTo>
                      <a:pt x="9169" y="10691"/>
                      <a:pt x="9187" y="10570"/>
                      <a:pt x="9352" y="10353"/>
                    </a:cubicBezTo>
                    <a:cubicBezTo>
                      <a:pt x="9448" y="10228"/>
                      <a:pt x="9560" y="10055"/>
                      <a:pt x="9650" y="9913"/>
                    </a:cubicBezTo>
                    <a:cubicBezTo>
                      <a:pt x="9694" y="9843"/>
                      <a:pt x="9733" y="9780"/>
                      <a:pt x="9761" y="9735"/>
                    </a:cubicBezTo>
                    <a:cubicBezTo>
                      <a:pt x="9775" y="9712"/>
                      <a:pt x="9786" y="9694"/>
                      <a:pt x="9794" y="9681"/>
                    </a:cubicBezTo>
                    <a:cubicBezTo>
                      <a:pt x="9794" y="9681"/>
                      <a:pt x="9794" y="9681"/>
                      <a:pt x="9794" y="9681"/>
                    </a:cubicBezTo>
                    <a:cubicBezTo>
                      <a:pt x="9746" y="9652"/>
                      <a:pt x="9700" y="9627"/>
                      <a:pt x="9663" y="9612"/>
                    </a:cubicBezTo>
                    <a:cubicBezTo>
                      <a:pt x="9520" y="9552"/>
                      <a:pt x="9333" y="9511"/>
                      <a:pt x="9177" y="9466"/>
                    </a:cubicBezTo>
                    <a:cubicBezTo>
                      <a:pt x="9092" y="9441"/>
                      <a:pt x="8940" y="9360"/>
                      <a:pt x="8806" y="9283"/>
                    </a:cubicBezTo>
                    <a:cubicBezTo>
                      <a:pt x="8712" y="9230"/>
                      <a:pt x="8629" y="9180"/>
                      <a:pt x="8586" y="9154"/>
                    </a:cubicBezTo>
                    <a:cubicBezTo>
                      <a:pt x="7694" y="10774"/>
                      <a:pt x="7694" y="10774"/>
                      <a:pt x="7694" y="10774"/>
                    </a:cubicBezTo>
                    <a:cubicBezTo>
                      <a:pt x="7739" y="10801"/>
                      <a:pt x="7739" y="10801"/>
                      <a:pt x="7739" y="10801"/>
                    </a:cubicBezTo>
                    <a:cubicBezTo>
                      <a:pt x="7604" y="10801"/>
                      <a:pt x="7604" y="10801"/>
                      <a:pt x="7604" y="10801"/>
                    </a:cubicBezTo>
                    <a:cubicBezTo>
                      <a:pt x="7605" y="10798"/>
                      <a:pt x="7605" y="10798"/>
                      <a:pt x="7605" y="10798"/>
                    </a:cubicBezTo>
                    <a:cubicBezTo>
                      <a:pt x="7599" y="10794"/>
                      <a:pt x="7599" y="10794"/>
                      <a:pt x="7599" y="10794"/>
                    </a:cubicBezTo>
                    <a:cubicBezTo>
                      <a:pt x="7595" y="10791"/>
                      <a:pt x="7566" y="10777"/>
                      <a:pt x="7520" y="10755"/>
                    </a:cubicBezTo>
                    <a:cubicBezTo>
                      <a:pt x="7386" y="10691"/>
                      <a:pt x="7099" y="10568"/>
                      <a:pt x="6842" y="10524"/>
                    </a:cubicBezTo>
                    <a:cubicBezTo>
                      <a:pt x="6838" y="10547"/>
                      <a:pt x="6831" y="10586"/>
                      <a:pt x="6823" y="10633"/>
                    </a:cubicBezTo>
                    <a:cubicBezTo>
                      <a:pt x="6815" y="10682"/>
                      <a:pt x="6805" y="10740"/>
                      <a:pt x="6795" y="10801"/>
                    </a:cubicBezTo>
                    <a:cubicBezTo>
                      <a:pt x="6729" y="10801"/>
                      <a:pt x="6729" y="10801"/>
                      <a:pt x="6729" y="10801"/>
                    </a:cubicBezTo>
                    <a:cubicBezTo>
                      <a:pt x="6741" y="10729"/>
                      <a:pt x="6752" y="10661"/>
                      <a:pt x="6761" y="10606"/>
                    </a:cubicBezTo>
                    <a:cubicBezTo>
                      <a:pt x="6767" y="10571"/>
                      <a:pt x="6772" y="10541"/>
                      <a:pt x="6776" y="10520"/>
                    </a:cubicBezTo>
                    <a:cubicBezTo>
                      <a:pt x="6777" y="10518"/>
                      <a:pt x="6777" y="10516"/>
                      <a:pt x="6777" y="10515"/>
                    </a:cubicBezTo>
                    <a:cubicBezTo>
                      <a:pt x="6770" y="10514"/>
                      <a:pt x="6762" y="10513"/>
                      <a:pt x="6755" y="10512"/>
                    </a:cubicBezTo>
                    <a:cubicBezTo>
                      <a:pt x="6374" y="10476"/>
                      <a:pt x="6283" y="10420"/>
                      <a:pt x="6178" y="10393"/>
                    </a:cubicBezTo>
                    <a:cubicBezTo>
                      <a:pt x="6069" y="10364"/>
                      <a:pt x="5861" y="10311"/>
                      <a:pt x="5703" y="10279"/>
                    </a:cubicBezTo>
                    <a:cubicBezTo>
                      <a:pt x="5624" y="10263"/>
                      <a:pt x="5463" y="10235"/>
                      <a:pt x="5322" y="10212"/>
                    </a:cubicBezTo>
                    <a:cubicBezTo>
                      <a:pt x="5223" y="10195"/>
                      <a:pt x="5134" y="10181"/>
                      <a:pt x="5089" y="10174"/>
                    </a:cubicBezTo>
                    <a:cubicBezTo>
                      <a:pt x="5092" y="10201"/>
                      <a:pt x="5094" y="10232"/>
                      <a:pt x="5096" y="10267"/>
                    </a:cubicBezTo>
                    <a:cubicBezTo>
                      <a:pt x="5100" y="10345"/>
                      <a:pt x="5101" y="10440"/>
                      <a:pt x="5101" y="10541"/>
                    </a:cubicBezTo>
                    <a:cubicBezTo>
                      <a:pt x="5101" y="10627"/>
                      <a:pt x="5100" y="10715"/>
                      <a:pt x="5098" y="10801"/>
                    </a:cubicBezTo>
                    <a:cubicBezTo>
                      <a:pt x="5033" y="10801"/>
                      <a:pt x="5033" y="10801"/>
                      <a:pt x="5033" y="10801"/>
                    </a:cubicBezTo>
                    <a:cubicBezTo>
                      <a:pt x="5034" y="10716"/>
                      <a:pt x="5035" y="10629"/>
                      <a:pt x="5035" y="10545"/>
                    </a:cubicBezTo>
                    <a:cubicBezTo>
                      <a:pt x="4723" y="10581"/>
                      <a:pt x="4723" y="10581"/>
                      <a:pt x="4723" y="10581"/>
                    </a:cubicBezTo>
                    <a:cubicBezTo>
                      <a:pt x="4653" y="10801"/>
                      <a:pt x="4653" y="10801"/>
                      <a:pt x="4653" y="10801"/>
                    </a:cubicBezTo>
                    <a:cubicBezTo>
                      <a:pt x="4638" y="10801"/>
                      <a:pt x="4638" y="10801"/>
                      <a:pt x="4638" y="10801"/>
                    </a:cubicBezTo>
                    <a:cubicBezTo>
                      <a:pt x="4710" y="10576"/>
                      <a:pt x="4710" y="10576"/>
                      <a:pt x="4710" y="10576"/>
                    </a:cubicBezTo>
                    <a:cubicBezTo>
                      <a:pt x="4508" y="10288"/>
                      <a:pt x="4508" y="10288"/>
                      <a:pt x="4508" y="10288"/>
                    </a:cubicBezTo>
                    <a:cubicBezTo>
                      <a:pt x="4492" y="10293"/>
                      <a:pt x="4442" y="10309"/>
                      <a:pt x="4392" y="10326"/>
                    </a:cubicBezTo>
                    <a:cubicBezTo>
                      <a:pt x="4361" y="10336"/>
                      <a:pt x="4331" y="10346"/>
                      <a:pt x="4308" y="10354"/>
                    </a:cubicBezTo>
                    <a:cubicBezTo>
                      <a:pt x="4297" y="10358"/>
                      <a:pt x="4288" y="10361"/>
                      <a:pt x="4281" y="10363"/>
                    </a:cubicBezTo>
                    <a:cubicBezTo>
                      <a:pt x="4279" y="10364"/>
                      <a:pt x="4277" y="10365"/>
                      <a:pt x="4275" y="10366"/>
                    </a:cubicBezTo>
                    <a:cubicBezTo>
                      <a:pt x="4274" y="10374"/>
                      <a:pt x="4268" y="10386"/>
                      <a:pt x="4260" y="10405"/>
                    </a:cubicBezTo>
                    <a:cubicBezTo>
                      <a:pt x="4237" y="10460"/>
                      <a:pt x="4195" y="10552"/>
                      <a:pt x="4184" y="10577"/>
                    </a:cubicBezTo>
                    <a:cubicBezTo>
                      <a:pt x="4332" y="10594"/>
                      <a:pt x="4332" y="10594"/>
                      <a:pt x="4332" y="10594"/>
                    </a:cubicBezTo>
                    <a:cubicBezTo>
                      <a:pt x="4312" y="10801"/>
                      <a:pt x="4312" y="10801"/>
                      <a:pt x="4312" y="10801"/>
                    </a:cubicBezTo>
                    <a:cubicBezTo>
                      <a:pt x="4266" y="10801"/>
                      <a:pt x="4266" y="10801"/>
                      <a:pt x="4266" y="10801"/>
                    </a:cubicBezTo>
                    <a:cubicBezTo>
                      <a:pt x="4283" y="10634"/>
                      <a:pt x="4283" y="10634"/>
                      <a:pt x="4283" y="10634"/>
                    </a:cubicBezTo>
                    <a:cubicBezTo>
                      <a:pt x="4190" y="10623"/>
                      <a:pt x="4190" y="10623"/>
                      <a:pt x="4190" y="10623"/>
                    </a:cubicBezTo>
                    <a:cubicBezTo>
                      <a:pt x="3909" y="10783"/>
                      <a:pt x="3909" y="10783"/>
                      <a:pt x="3909" y="10783"/>
                    </a:cubicBezTo>
                    <a:cubicBezTo>
                      <a:pt x="3901" y="10801"/>
                      <a:pt x="3901" y="10801"/>
                      <a:pt x="3901" y="10801"/>
                    </a:cubicBezTo>
                    <a:cubicBezTo>
                      <a:pt x="3886" y="10801"/>
                      <a:pt x="3886" y="10801"/>
                      <a:pt x="3886" y="10801"/>
                    </a:cubicBezTo>
                    <a:cubicBezTo>
                      <a:pt x="3898" y="10773"/>
                      <a:pt x="3898" y="10773"/>
                      <a:pt x="3898" y="10773"/>
                    </a:cubicBezTo>
                    <a:cubicBezTo>
                      <a:pt x="4166" y="10621"/>
                      <a:pt x="4166" y="10621"/>
                      <a:pt x="4166" y="10621"/>
                    </a:cubicBezTo>
                    <a:cubicBezTo>
                      <a:pt x="3809" y="10581"/>
                      <a:pt x="3809" y="10581"/>
                      <a:pt x="3809" y="10581"/>
                    </a:cubicBezTo>
                    <a:cubicBezTo>
                      <a:pt x="3716" y="10057"/>
                      <a:pt x="3716" y="10057"/>
                      <a:pt x="3716" y="10057"/>
                    </a:cubicBezTo>
                    <a:cubicBezTo>
                      <a:pt x="3686" y="10073"/>
                      <a:pt x="3576" y="10133"/>
                      <a:pt x="3465" y="10193"/>
                    </a:cubicBezTo>
                    <a:cubicBezTo>
                      <a:pt x="3400" y="10229"/>
                      <a:pt x="3336" y="10265"/>
                      <a:pt x="3287" y="10292"/>
                    </a:cubicBezTo>
                    <a:cubicBezTo>
                      <a:pt x="3263" y="10306"/>
                      <a:pt x="3243" y="10318"/>
                      <a:pt x="3228" y="10326"/>
                    </a:cubicBezTo>
                    <a:cubicBezTo>
                      <a:pt x="3221" y="10330"/>
                      <a:pt x="3216" y="10334"/>
                      <a:pt x="3212" y="10336"/>
                    </a:cubicBezTo>
                    <a:cubicBezTo>
                      <a:pt x="3211" y="10337"/>
                      <a:pt x="3210" y="10337"/>
                      <a:pt x="3209" y="10338"/>
                    </a:cubicBezTo>
                    <a:cubicBezTo>
                      <a:pt x="3546" y="10672"/>
                      <a:pt x="3546" y="10672"/>
                      <a:pt x="3546" y="10672"/>
                    </a:cubicBezTo>
                    <a:cubicBezTo>
                      <a:pt x="3546" y="10675"/>
                      <a:pt x="3546" y="10675"/>
                      <a:pt x="3546" y="10675"/>
                    </a:cubicBezTo>
                    <a:cubicBezTo>
                      <a:pt x="3546" y="10675"/>
                      <a:pt x="3546" y="10722"/>
                      <a:pt x="3545" y="10769"/>
                    </a:cubicBezTo>
                    <a:cubicBezTo>
                      <a:pt x="3545" y="10780"/>
                      <a:pt x="3545" y="10790"/>
                      <a:pt x="3544" y="10801"/>
                    </a:cubicBezTo>
                    <a:cubicBezTo>
                      <a:pt x="3530" y="10801"/>
                      <a:pt x="3530" y="10801"/>
                      <a:pt x="3530" y="10801"/>
                    </a:cubicBezTo>
                    <a:cubicBezTo>
                      <a:pt x="3531" y="10788"/>
                      <a:pt x="3531" y="10774"/>
                      <a:pt x="3531" y="10760"/>
                    </a:cubicBezTo>
                    <a:cubicBezTo>
                      <a:pt x="3532" y="10723"/>
                      <a:pt x="3532" y="10688"/>
                      <a:pt x="3532" y="10678"/>
                    </a:cubicBezTo>
                    <a:cubicBezTo>
                      <a:pt x="3181" y="10329"/>
                      <a:pt x="3181" y="10329"/>
                      <a:pt x="3181" y="10329"/>
                    </a:cubicBezTo>
                    <a:cubicBezTo>
                      <a:pt x="3061" y="10077"/>
                      <a:pt x="3061" y="10077"/>
                      <a:pt x="3061" y="10077"/>
                    </a:cubicBezTo>
                    <a:cubicBezTo>
                      <a:pt x="3006" y="9862"/>
                      <a:pt x="3006" y="9862"/>
                      <a:pt x="3006" y="9862"/>
                    </a:cubicBezTo>
                    <a:cubicBezTo>
                      <a:pt x="2642" y="9924"/>
                      <a:pt x="2642" y="9924"/>
                      <a:pt x="2642" y="9924"/>
                    </a:cubicBezTo>
                    <a:cubicBezTo>
                      <a:pt x="2644" y="10065"/>
                      <a:pt x="2647" y="10197"/>
                      <a:pt x="2650" y="10304"/>
                    </a:cubicBezTo>
                    <a:cubicBezTo>
                      <a:pt x="2652" y="10406"/>
                      <a:pt x="2655" y="10485"/>
                      <a:pt x="2656" y="10527"/>
                    </a:cubicBezTo>
                    <a:cubicBezTo>
                      <a:pt x="2823" y="10531"/>
                      <a:pt x="2961" y="10646"/>
                      <a:pt x="3001" y="10801"/>
                    </a:cubicBezTo>
                    <a:cubicBezTo>
                      <a:pt x="2833" y="10801"/>
                      <a:pt x="2833" y="10801"/>
                      <a:pt x="2833" y="10801"/>
                    </a:cubicBezTo>
                    <a:cubicBezTo>
                      <a:pt x="2800" y="10732"/>
                      <a:pt x="2729" y="10684"/>
                      <a:pt x="2648" y="10684"/>
                    </a:cubicBezTo>
                    <a:cubicBezTo>
                      <a:pt x="2566" y="10684"/>
                      <a:pt x="2496" y="10732"/>
                      <a:pt x="2462" y="10801"/>
                    </a:cubicBezTo>
                    <a:cubicBezTo>
                      <a:pt x="2295" y="10801"/>
                      <a:pt x="2295" y="10801"/>
                      <a:pt x="2295" y="10801"/>
                    </a:cubicBezTo>
                    <a:cubicBezTo>
                      <a:pt x="2295" y="10797"/>
                      <a:pt x="2296" y="10794"/>
                      <a:pt x="2297" y="10791"/>
                    </a:cubicBezTo>
                    <a:cubicBezTo>
                      <a:pt x="2254" y="10778"/>
                      <a:pt x="2192" y="10761"/>
                      <a:pt x="2111" y="10744"/>
                    </a:cubicBezTo>
                    <a:cubicBezTo>
                      <a:pt x="1947" y="10710"/>
                      <a:pt x="1775" y="10698"/>
                      <a:pt x="1601" y="10664"/>
                    </a:cubicBezTo>
                    <a:cubicBezTo>
                      <a:pt x="1446" y="10634"/>
                      <a:pt x="1255" y="10573"/>
                      <a:pt x="1032" y="10492"/>
                    </a:cubicBezTo>
                    <a:cubicBezTo>
                      <a:pt x="1101" y="10536"/>
                      <a:pt x="1166" y="10577"/>
                      <a:pt x="1215" y="10604"/>
                    </a:cubicBezTo>
                    <a:cubicBezTo>
                      <a:pt x="1362" y="10689"/>
                      <a:pt x="1466" y="10758"/>
                      <a:pt x="1597" y="10801"/>
                    </a:cubicBezTo>
                    <a:cubicBezTo>
                      <a:pt x="1248" y="10801"/>
                      <a:pt x="1248" y="10801"/>
                      <a:pt x="1248" y="10801"/>
                    </a:cubicBezTo>
                    <a:cubicBezTo>
                      <a:pt x="1212" y="10780"/>
                      <a:pt x="1177" y="10758"/>
                      <a:pt x="1139" y="10737"/>
                    </a:cubicBezTo>
                    <a:cubicBezTo>
                      <a:pt x="1053" y="10687"/>
                      <a:pt x="928" y="10607"/>
                      <a:pt x="813" y="10531"/>
                    </a:cubicBezTo>
                    <a:cubicBezTo>
                      <a:pt x="698" y="10455"/>
                      <a:pt x="598" y="10386"/>
                      <a:pt x="558" y="10355"/>
                    </a:cubicBezTo>
                    <a:cubicBezTo>
                      <a:pt x="551" y="10349"/>
                      <a:pt x="514" y="10323"/>
                      <a:pt x="467" y="10289"/>
                    </a:cubicBezTo>
                    <a:cubicBezTo>
                      <a:pt x="432" y="10264"/>
                      <a:pt x="392" y="10233"/>
                      <a:pt x="349" y="10198"/>
                    </a:cubicBezTo>
                    <a:cubicBezTo>
                      <a:pt x="369" y="10301"/>
                      <a:pt x="395" y="10454"/>
                      <a:pt x="403" y="10575"/>
                    </a:cubicBezTo>
                    <a:cubicBezTo>
                      <a:pt x="408" y="10659"/>
                      <a:pt x="415" y="10733"/>
                      <a:pt x="421" y="10801"/>
                    </a:cubicBezTo>
                    <a:cubicBezTo>
                      <a:pt x="375" y="10801"/>
                      <a:pt x="375" y="10801"/>
                      <a:pt x="375" y="10801"/>
                    </a:cubicBezTo>
                    <a:cubicBezTo>
                      <a:pt x="370" y="10735"/>
                      <a:pt x="363" y="10661"/>
                      <a:pt x="358" y="10578"/>
                    </a:cubicBezTo>
                    <a:cubicBezTo>
                      <a:pt x="352" y="10479"/>
                      <a:pt x="332" y="10357"/>
                      <a:pt x="314" y="10260"/>
                    </a:cubicBezTo>
                    <a:cubicBezTo>
                      <a:pt x="307" y="10217"/>
                      <a:pt x="299" y="10180"/>
                      <a:pt x="293" y="10151"/>
                    </a:cubicBezTo>
                    <a:cubicBezTo>
                      <a:pt x="189" y="10058"/>
                      <a:pt x="89" y="9946"/>
                      <a:pt x="28" y="9885"/>
                    </a:cubicBezTo>
                    <a:cubicBezTo>
                      <a:pt x="21" y="9878"/>
                      <a:pt x="13" y="9870"/>
                      <a:pt x="4" y="9861"/>
                    </a:cubicBezTo>
                    <a:cubicBezTo>
                      <a:pt x="4" y="9569"/>
                      <a:pt x="4" y="9569"/>
                      <a:pt x="4" y="9569"/>
                    </a:cubicBezTo>
                    <a:cubicBezTo>
                      <a:pt x="79" y="9639"/>
                      <a:pt x="164" y="9716"/>
                      <a:pt x="252" y="9793"/>
                    </a:cubicBezTo>
                    <a:cubicBezTo>
                      <a:pt x="380" y="9904"/>
                      <a:pt x="515" y="10016"/>
                      <a:pt x="639" y="10108"/>
                    </a:cubicBezTo>
                    <a:cubicBezTo>
                      <a:pt x="763" y="10200"/>
                      <a:pt x="878" y="10272"/>
                      <a:pt x="954" y="10300"/>
                    </a:cubicBezTo>
                    <a:cubicBezTo>
                      <a:pt x="1230" y="10405"/>
                      <a:pt x="1463" y="10482"/>
                      <a:pt x="1630" y="10514"/>
                    </a:cubicBezTo>
                    <a:cubicBezTo>
                      <a:pt x="1792" y="10546"/>
                      <a:pt x="1965" y="10559"/>
                      <a:pt x="2142" y="10595"/>
                    </a:cubicBezTo>
                    <a:cubicBezTo>
                      <a:pt x="2247" y="10616"/>
                      <a:pt x="2325" y="10639"/>
                      <a:pt x="2371" y="10654"/>
                    </a:cubicBezTo>
                    <a:cubicBezTo>
                      <a:pt x="2426" y="10590"/>
                      <a:pt x="2503" y="10545"/>
                      <a:pt x="2591" y="10531"/>
                    </a:cubicBezTo>
                    <a:cubicBezTo>
                      <a:pt x="2589" y="10479"/>
                      <a:pt x="2585" y="10363"/>
                      <a:pt x="2582" y="10215"/>
                    </a:cubicBezTo>
                    <a:cubicBezTo>
                      <a:pt x="2535" y="10206"/>
                      <a:pt x="2535" y="10206"/>
                      <a:pt x="2535" y="10206"/>
                    </a:cubicBezTo>
                    <a:cubicBezTo>
                      <a:pt x="2532" y="10471"/>
                      <a:pt x="2532" y="10471"/>
                      <a:pt x="2532" y="10471"/>
                    </a:cubicBezTo>
                    <a:cubicBezTo>
                      <a:pt x="2527" y="10472"/>
                      <a:pt x="2527" y="10472"/>
                      <a:pt x="2527" y="10472"/>
                    </a:cubicBezTo>
                    <a:cubicBezTo>
                      <a:pt x="2527" y="10472"/>
                      <a:pt x="2498" y="10479"/>
                      <a:pt x="2458" y="10497"/>
                    </a:cubicBezTo>
                    <a:cubicBezTo>
                      <a:pt x="2419" y="10516"/>
                      <a:pt x="2370" y="10547"/>
                      <a:pt x="2331" y="10594"/>
                    </a:cubicBezTo>
                    <a:cubicBezTo>
                      <a:pt x="2329" y="10597"/>
                      <a:pt x="2329" y="10597"/>
                      <a:pt x="2329" y="10597"/>
                    </a:cubicBezTo>
                    <a:cubicBezTo>
                      <a:pt x="2326" y="10597"/>
                      <a:pt x="2326" y="10597"/>
                      <a:pt x="2326" y="10597"/>
                    </a:cubicBezTo>
                    <a:cubicBezTo>
                      <a:pt x="2325" y="10597"/>
                      <a:pt x="2325" y="10597"/>
                      <a:pt x="2325" y="10597"/>
                    </a:cubicBezTo>
                    <a:cubicBezTo>
                      <a:pt x="2310" y="10597"/>
                      <a:pt x="1252" y="10382"/>
                      <a:pt x="1251" y="10382"/>
                    </a:cubicBezTo>
                    <a:cubicBezTo>
                      <a:pt x="1250" y="10382"/>
                      <a:pt x="1250" y="10382"/>
                      <a:pt x="1250" y="10382"/>
                    </a:cubicBezTo>
                    <a:cubicBezTo>
                      <a:pt x="931" y="10243"/>
                      <a:pt x="931" y="10243"/>
                      <a:pt x="931" y="10243"/>
                    </a:cubicBezTo>
                    <a:cubicBezTo>
                      <a:pt x="930" y="10243"/>
                      <a:pt x="930" y="10244"/>
                      <a:pt x="929" y="10244"/>
                    </a:cubicBezTo>
                    <a:cubicBezTo>
                      <a:pt x="928" y="10245"/>
                      <a:pt x="927" y="10245"/>
                      <a:pt x="926" y="10245"/>
                    </a:cubicBezTo>
                    <a:cubicBezTo>
                      <a:pt x="926" y="10245"/>
                      <a:pt x="925" y="10245"/>
                      <a:pt x="925" y="10245"/>
                    </a:cubicBezTo>
                    <a:cubicBezTo>
                      <a:pt x="924" y="10245"/>
                      <a:pt x="924" y="10245"/>
                      <a:pt x="924" y="10245"/>
                    </a:cubicBezTo>
                    <a:cubicBezTo>
                      <a:pt x="924" y="10245"/>
                      <a:pt x="924" y="10245"/>
                      <a:pt x="924" y="10245"/>
                    </a:cubicBezTo>
                    <a:cubicBezTo>
                      <a:pt x="925" y="10241"/>
                      <a:pt x="925" y="10241"/>
                      <a:pt x="925" y="10241"/>
                    </a:cubicBezTo>
                    <a:cubicBezTo>
                      <a:pt x="692" y="10139"/>
                      <a:pt x="692" y="10139"/>
                      <a:pt x="692" y="10139"/>
                    </a:cubicBezTo>
                    <a:cubicBezTo>
                      <a:pt x="491" y="9948"/>
                      <a:pt x="491" y="9948"/>
                      <a:pt x="491" y="9948"/>
                    </a:cubicBezTo>
                    <a:cubicBezTo>
                      <a:pt x="483" y="9942"/>
                      <a:pt x="483" y="9942"/>
                      <a:pt x="483" y="9942"/>
                    </a:cubicBezTo>
                    <a:cubicBezTo>
                      <a:pt x="483" y="9942"/>
                      <a:pt x="484" y="9941"/>
                      <a:pt x="484" y="9941"/>
                    </a:cubicBezTo>
                    <a:cubicBezTo>
                      <a:pt x="4" y="9484"/>
                      <a:pt x="4" y="9484"/>
                      <a:pt x="4" y="9484"/>
                    </a:cubicBezTo>
                    <a:cubicBezTo>
                      <a:pt x="4" y="9465"/>
                      <a:pt x="4" y="9465"/>
                      <a:pt x="4" y="9465"/>
                    </a:cubicBezTo>
                    <a:cubicBezTo>
                      <a:pt x="333" y="9778"/>
                      <a:pt x="333" y="9778"/>
                      <a:pt x="333" y="9778"/>
                    </a:cubicBezTo>
                    <a:cubicBezTo>
                      <a:pt x="353" y="9752"/>
                      <a:pt x="429" y="9647"/>
                      <a:pt x="506" y="9543"/>
                    </a:cubicBezTo>
                    <a:cubicBezTo>
                      <a:pt x="551" y="9482"/>
                      <a:pt x="596" y="9422"/>
                      <a:pt x="631" y="9376"/>
                    </a:cubicBezTo>
                    <a:cubicBezTo>
                      <a:pt x="648" y="9354"/>
                      <a:pt x="663" y="9335"/>
                      <a:pt x="674" y="9321"/>
                    </a:cubicBezTo>
                    <a:cubicBezTo>
                      <a:pt x="679" y="9315"/>
                      <a:pt x="684" y="9309"/>
                      <a:pt x="687" y="9306"/>
                    </a:cubicBezTo>
                    <a:cubicBezTo>
                      <a:pt x="688" y="9305"/>
                      <a:pt x="688" y="9305"/>
                      <a:pt x="688" y="9305"/>
                    </a:cubicBezTo>
                    <a:cubicBezTo>
                      <a:pt x="650" y="9266"/>
                      <a:pt x="430" y="9019"/>
                      <a:pt x="383" y="8966"/>
                    </a:cubicBezTo>
                    <a:cubicBezTo>
                      <a:pt x="308" y="9340"/>
                      <a:pt x="308" y="9340"/>
                      <a:pt x="308" y="9340"/>
                    </a:cubicBezTo>
                    <a:cubicBezTo>
                      <a:pt x="225" y="9449"/>
                      <a:pt x="225" y="9449"/>
                      <a:pt x="225" y="9449"/>
                    </a:cubicBezTo>
                    <a:cubicBezTo>
                      <a:pt x="267" y="9482"/>
                      <a:pt x="267" y="9482"/>
                      <a:pt x="267" y="9482"/>
                    </a:cubicBezTo>
                    <a:cubicBezTo>
                      <a:pt x="240" y="9516"/>
                      <a:pt x="240" y="9516"/>
                      <a:pt x="240" y="9516"/>
                    </a:cubicBezTo>
                    <a:cubicBezTo>
                      <a:pt x="277" y="9545"/>
                      <a:pt x="277" y="9545"/>
                      <a:pt x="277" y="9545"/>
                    </a:cubicBezTo>
                    <a:cubicBezTo>
                      <a:pt x="223" y="9613"/>
                      <a:pt x="223" y="9613"/>
                      <a:pt x="223" y="9613"/>
                    </a:cubicBezTo>
                    <a:cubicBezTo>
                      <a:pt x="146" y="9552"/>
                      <a:pt x="146" y="9552"/>
                      <a:pt x="146" y="9552"/>
                    </a:cubicBezTo>
                    <a:cubicBezTo>
                      <a:pt x="128" y="9576"/>
                      <a:pt x="128" y="9576"/>
                      <a:pt x="128" y="9576"/>
                    </a:cubicBezTo>
                    <a:cubicBezTo>
                      <a:pt x="117" y="9568"/>
                      <a:pt x="117" y="9568"/>
                      <a:pt x="117" y="9568"/>
                    </a:cubicBezTo>
                    <a:cubicBezTo>
                      <a:pt x="135" y="9543"/>
                      <a:pt x="135" y="9543"/>
                      <a:pt x="135" y="9543"/>
                    </a:cubicBezTo>
                    <a:cubicBezTo>
                      <a:pt x="58" y="9482"/>
                      <a:pt x="58" y="9482"/>
                      <a:pt x="58" y="9482"/>
                    </a:cubicBezTo>
                    <a:cubicBezTo>
                      <a:pt x="62" y="9477"/>
                      <a:pt x="62" y="9477"/>
                      <a:pt x="62" y="9477"/>
                    </a:cubicBezTo>
                    <a:cubicBezTo>
                      <a:pt x="112" y="9414"/>
                      <a:pt x="112" y="9414"/>
                      <a:pt x="112" y="9414"/>
                    </a:cubicBezTo>
                    <a:cubicBezTo>
                      <a:pt x="149" y="9443"/>
                      <a:pt x="149" y="9443"/>
                      <a:pt x="149" y="9443"/>
                    </a:cubicBezTo>
                    <a:cubicBezTo>
                      <a:pt x="176" y="9410"/>
                      <a:pt x="176" y="9410"/>
                      <a:pt x="176" y="9410"/>
                    </a:cubicBezTo>
                    <a:cubicBezTo>
                      <a:pt x="214" y="9440"/>
                      <a:pt x="214" y="9440"/>
                      <a:pt x="214" y="9440"/>
                    </a:cubicBezTo>
                    <a:cubicBezTo>
                      <a:pt x="295" y="9334"/>
                      <a:pt x="295" y="9334"/>
                      <a:pt x="295" y="9334"/>
                    </a:cubicBezTo>
                    <a:cubicBezTo>
                      <a:pt x="371" y="8954"/>
                      <a:pt x="371" y="8954"/>
                      <a:pt x="371" y="8954"/>
                    </a:cubicBezTo>
                    <a:cubicBezTo>
                      <a:pt x="19" y="8769"/>
                      <a:pt x="19" y="8769"/>
                      <a:pt x="19" y="8769"/>
                    </a:cubicBezTo>
                    <a:cubicBezTo>
                      <a:pt x="4" y="8789"/>
                      <a:pt x="4" y="8789"/>
                      <a:pt x="4" y="8789"/>
                    </a:cubicBezTo>
                    <a:cubicBezTo>
                      <a:pt x="4" y="8767"/>
                      <a:pt x="4" y="8767"/>
                      <a:pt x="4" y="8767"/>
                    </a:cubicBezTo>
                    <a:cubicBezTo>
                      <a:pt x="8" y="8763"/>
                      <a:pt x="8" y="8763"/>
                      <a:pt x="8" y="8763"/>
                    </a:cubicBezTo>
                    <a:cubicBezTo>
                      <a:pt x="4" y="8761"/>
                      <a:pt x="4" y="8761"/>
                      <a:pt x="4" y="8761"/>
                    </a:cubicBezTo>
                    <a:cubicBezTo>
                      <a:pt x="4" y="8745"/>
                      <a:pt x="4" y="8745"/>
                      <a:pt x="4" y="8745"/>
                    </a:cubicBezTo>
                    <a:cubicBezTo>
                      <a:pt x="16" y="8751"/>
                      <a:pt x="16" y="8751"/>
                      <a:pt x="16" y="8751"/>
                    </a:cubicBezTo>
                    <a:cubicBezTo>
                      <a:pt x="109" y="8628"/>
                      <a:pt x="109" y="8628"/>
                      <a:pt x="109" y="8628"/>
                    </a:cubicBezTo>
                    <a:cubicBezTo>
                      <a:pt x="11" y="8577"/>
                      <a:pt x="11" y="8577"/>
                      <a:pt x="11" y="8577"/>
                    </a:cubicBezTo>
                    <a:cubicBezTo>
                      <a:pt x="4" y="8586"/>
                      <a:pt x="4" y="8586"/>
                      <a:pt x="4" y="8586"/>
                    </a:cubicBezTo>
                    <a:cubicBezTo>
                      <a:pt x="4" y="8558"/>
                      <a:pt x="4" y="8558"/>
                      <a:pt x="4" y="8558"/>
                    </a:cubicBezTo>
                    <a:cubicBezTo>
                      <a:pt x="8" y="8559"/>
                      <a:pt x="8" y="8559"/>
                      <a:pt x="8" y="8559"/>
                    </a:cubicBezTo>
                    <a:cubicBezTo>
                      <a:pt x="92" y="8447"/>
                      <a:pt x="92" y="8447"/>
                      <a:pt x="92" y="8447"/>
                    </a:cubicBezTo>
                    <a:cubicBezTo>
                      <a:pt x="201" y="8527"/>
                      <a:pt x="201" y="8527"/>
                      <a:pt x="201" y="8527"/>
                    </a:cubicBezTo>
                    <a:cubicBezTo>
                      <a:pt x="197" y="8532"/>
                      <a:pt x="197" y="8532"/>
                      <a:pt x="197" y="8532"/>
                    </a:cubicBezTo>
                    <a:cubicBezTo>
                      <a:pt x="129" y="8623"/>
                      <a:pt x="129" y="8623"/>
                      <a:pt x="129" y="8623"/>
                    </a:cubicBezTo>
                    <a:cubicBezTo>
                      <a:pt x="832" y="8989"/>
                      <a:pt x="832" y="8989"/>
                      <a:pt x="832" y="8989"/>
                    </a:cubicBezTo>
                    <a:cubicBezTo>
                      <a:pt x="900" y="8671"/>
                      <a:pt x="900" y="8671"/>
                      <a:pt x="900" y="8671"/>
                    </a:cubicBezTo>
                    <a:cubicBezTo>
                      <a:pt x="672" y="8636"/>
                      <a:pt x="672" y="8636"/>
                      <a:pt x="672" y="8636"/>
                    </a:cubicBezTo>
                    <a:cubicBezTo>
                      <a:pt x="707" y="8555"/>
                      <a:pt x="707" y="8555"/>
                      <a:pt x="707" y="8555"/>
                    </a:cubicBezTo>
                    <a:cubicBezTo>
                      <a:pt x="110" y="8390"/>
                      <a:pt x="110" y="8390"/>
                      <a:pt x="110" y="8390"/>
                    </a:cubicBezTo>
                    <a:cubicBezTo>
                      <a:pt x="4" y="8527"/>
                      <a:pt x="4" y="8527"/>
                      <a:pt x="4" y="8527"/>
                    </a:cubicBezTo>
                    <a:cubicBezTo>
                      <a:pt x="4" y="8420"/>
                      <a:pt x="4" y="8420"/>
                      <a:pt x="4" y="8420"/>
                    </a:cubicBezTo>
                    <a:cubicBezTo>
                      <a:pt x="54" y="8355"/>
                      <a:pt x="54" y="8355"/>
                      <a:pt x="54" y="8355"/>
                    </a:cubicBezTo>
                    <a:cubicBezTo>
                      <a:pt x="76" y="8328"/>
                      <a:pt x="124" y="8264"/>
                      <a:pt x="181" y="8189"/>
                    </a:cubicBezTo>
                    <a:cubicBezTo>
                      <a:pt x="151" y="8164"/>
                      <a:pt x="87" y="8108"/>
                      <a:pt x="4" y="8038"/>
                    </a:cubicBezTo>
                    <a:cubicBezTo>
                      <a:pt x="4" y="7951"/>
                      <a:pt x="4" y="7951"/>
                      <a:pt x="4" y="7951"/>
                    </a:cubicBezTo>
                    <a:cubicBezTo>
                      <a:pt x="28" y="7972"/>
                      <a:pt x="52" y="7992"/>
                      <a:pt x="73" y="8010"/>
                    </a:cubicBezTo>
                    <a:cubicBezTo>
                      <a:pt x="70" y="8008"/>
                      <a:pt x="70" y="8008"/>
                      <a:pt x="70" y="8008"/>
                    </a:cubicBezTo>
                    <a:cubicBezTo>
                      <a:pt x="275" y="7654"/>
                      <a:pt x="275" y="7654"/>
                      <a:pt x="275" y="7654"/>
                    </a:cubicBezTo>
                    <a:cubicBezTo>
                      <a:pt x="42" y="7554"/>
                      <a:pt x="42" y="7554"/>
                      <a:pt x="42" y="7554"/>
                    </a:cubicBezTo>
                    <a:cubicBezTo>
                      <a:pt x="4" y="7602"/>
                      <a:pt x="4" y="7602"/>
                      <a:pt x="4" y="7602"/>
                    </a:cubicBezTo>
                    <a:cubicBezTo>
                      <a:pt x="4" y="7579"/>
                      <a:pt x="4" y="7579"/>
                      <a:pt x="4" y="7579"/>
                    </a:cubicBezTo>
                    <a:cubicBezTo>
                      <a:pt x="28" y="7548"/>
                      <a:pt x="28" y="7548"/>
                      <a:pt x="28" y="7548"/>
                    </a:cubicBezTo>
                    <a:cubicBezTo>
                      <a:pt x="24" y="7546"/>
                      <a:pt x="24" y="7546"/>
                      <a:pt x="24" y="7546"/>
                    </a:cubicBezTo>
                    <a:cubicBezTo>
                      <a:pt x="4" y="7529"/>
                      <a:pt x="4" y="7529"/>
                      <a:pt x="4" y="7529"/>
                    </a:cubicBezTo>
                    <a:cubicBezTo>
                      <a:pt x="4" y="7510"/>
                      <a:pt x="4" y="7510"/>
                      <a:pt x="4" y="7510"/>
                    </a:cubicBezTo>
                    <a:cubicBezTo>
                      <a:pt x="31" y="7535"/>
                      <a:pt x="31" y="7535"/>
                      <a:pt x="31" y="7535"/>
                    </a:cubicBezTo>
                    <a:cubicBezTo>
                      <a:pt x="282" y="7642"/>
                      <a:pt x="282" y="7642"/>
                      <a:pt x="282" y="7642"/>
                    </a:cubicBezTo>
                    <a:cubicBezTo>
                      <a:pt x="281" y="7643"/>
                      <a:pt x="281" y="7643"/>
                      <a:pt x="281" y="7643"/>
                    </a:cubicBezTo>
                    <a:cubicBezTo>
                      <a:pt x="282" y="7641"/>
                      <a:pt x="282" y="7641"/>
                      <a:pt x="282" y="7641"/>
                    </a:cubicBezTo>
                    <a:cubicBezTo>
                      <a:pt x="385" y="7683"/>
                      <a:pt x="385" y="7683"/>
                      <a:pt x="385" y="7683"/>
                    </a:cubicBezTo>
                    <a:cubicBezTo>
                      <a:pt x="496" y="7422"/>
                      <a:pt x="496" y="7422"/>
                      <a:pt x="496" y="7422"/>
                    </a:cubicBezTo>
                    <a:cubicBezTo>
                      <a:pt x="490" y="7418"/>
                      <a:pt x="485" y="7414"/>
                      <a:pt x="481" y="7411"/>
                    </a:cubicBezTo>
                    <a:cubicBezTo>
                      <a:pt x="481" y="7411"/>
                      <a:pt x="481" y="7411"/>
                      <a:pt x="481" y="7411"/>
                    </a:cubicBezTo>
                    <a:cubicBezTo>
                      <a:pt x="472" y="7404"/>
                      <a:pt x="472" y="7404"/>
                      <a:pt x="472" y="7404"/>
                    </a:cubicBezTo>
                    <a:cubicBezTo>
                      <a:pt x="471" y="7403"/>
                      <a:pt x="470" y="7402"/>
                      <a:pt x="470" y="7402"/>
                    </a:cubicBezTo>
                    <a:cubicBezTo>
                      <a:pt x="470" y="7402"/>
                      <a:pt x="470" y="7402"/>
                      <a:pt x="470" y="7402"/>
                    </a:cubicBezTo>
                    <a:cubicBezTo>
                      <a:pt x="148" y="7147"/>
                      <a:pt x="148" y="7147"/>
                      <a:pt x="148" y="7147"/>
                    </a:cubicBezTo>
                    <a:cubicBezTo>
                      <a:pt x="136" y="7165"/>
                      <a:pt x="119" y="7191"/>
                      <a:pt x="102" y="7218"/>
                    </a:cubicBezTo>
                    <a:cubicBezTo>
                      <a:pt x="86" y="7241"/>
                      <a:pt x="70" y="7265"/>
                      <a:pt x="58" y="7284"/>
                    </a:cubicBezTo>
                    <a:cubicBezTo>
                      <a:pt x="52" y="7294"/>
                      <a:pt x="48" y="7302"/>
                      <a:pt x="44" y="7308"/>
                    </a:cubicBezTo>
                    <a:cubicBezTo>
                      <a:pt x="43" y="7311"/>
                      <a:pt x="41" y="7313"/>
                      <a:pt x="40" y="7315"/>
                    </a:cubicBezTo>
                    <a:cubicBezTo>
                      <a:pt x="40" y="7316"/>
                      <a:pt x="40" y="7316"/>
                      <a:pt x="40" y="7317"/>
                    </a:cubicBezTo>
                    <a:cubicBezTo>
                      <a:pt x="40" y="7317"/>
                      <a:pt x="40" y="7317"/>
                      <a:pt x="40" y="7317"/>
                    </a:cubicBezTo>
                    <a:cubicBezTo>
                      <a:pt x="37" y="7316"/>
                      <a:pt x="37" y="7316"/>
                      <a:pt x="37" y="7316"/>
                    </a:cubicBezTo>
                    <a:cubicBezTo>
                      <a:pt x="34" y="7316"/>
                      <a:pt x="34" y="7316"/>
                      <a:pt x="34" y="7316"/>
                    </a:cubicBezTo>
                    <a:cubicBezTo>
                      <a:pt x="35" y="7323"/>
                      <a:pt x="35" y="7323"/>
                      <a:pt x="35" y="7323"/>
                    </a:cubicBezTo>
                    <a:cubicBezTo>
                      <a:pt x="35" y="7323"/>
                      <a:pt x="23" y="7327"/>
                      <a:pt x="4" y="7333"/>
                    </a:cubicBezTo>
                    <a:cubicBezTo>
                      <a:pt x="4" y="7318"/>
                      <a:pt x="4" y="7318"/>
                      <a:pt x="4" y="7318"/>
                    </a:cubicBezTo>
                    <a:cubicBezTo>
                      <a:pt x="14" y="7315"/>
                      <a:pt x="22" y="7313"/>
                      <a:pt x="27" y="7311"/>
                    </a:cubicBezTo>
                    <a:cubicBezTo>
                      <a:pt x="28" y="7308"/>
                      <a:pt x="30" y="7306"/>
                      <a:pt x="32" y="7301"/>
                    </a:cubicBezTo>
                    <a:cubicBezTo>
                      <a:pt x="50" y="7268"/>
                      <a:pt x="109" y="7181"/>
                      <a:pt x="137" y="7139"/>
                    </a:cubicBezTo>
                    <a:cubicBezTo>
                      <a:pt x="4" y="7033"/>
                      <a:pt x="4" y="7033"/>
                      <a:pt x="4" y="7033"/>
                    </a:cubicBezTo>
                    <a:cubicBezTo>
                      <a:pt x="4" y="6945"/>
                      <a:pt x="4" y="6945"/>
                      <a:pt x="4" y="6945"/>
                    </a:cubicBezTo>
                    <a:cubicBezTo>
                      <a:pt x="44" y="6843"/>
                      <a:pt x="44" y="6843"/>
                      <a:pt x="44" y="6843"/>
                    </a:cubicBezTo>
                    <a:cubicBezTo>
                      <a:pt x="4" y="6812"/>
                      <a:pt x="4" y="6812"/>
                      <a:pt x="4" y="6812"/>
                    </a:cubicBezTo>
                    <a:cubicBezTo>
                      <a:pt x="4" y="6794"/>
                      <a:pt x="4" y="6794"/>
                      <a:pt x="4" y="6794"/>
                    </a:cubicBezTo>
                    <a:cubicBezTo>
                      <a:pt x="50" y="6829"/>
                      <a:pt x="50" y="6829"/>
                      <a:pt x="50" y="6829"/>
                    </a:cubicBezTo>
                    <a:cubicBezTo>
                      <a:pt x="114" y="6666"/>
                      <a:pt x="114" y="6666"/>
                      <a:pt x="114" y="6666"/>
                    </a:cubicBezTo>
                    <a:cubicBezTo>
                      <a:pt x="96" y="6658"/>
                      <a:pt x="55" y="6637"/>
                      <a:pt x="4" y="6610"/>
                    </a:cubicBezTo>
                    <a:cubicBezTo>
                      <a:pt x="4" y="6594"/>
                      <a:pt x="4" y="6594"/>
                      <a:pt x="4" y="6594"/>
                    </a:cubicBezTo>
                    <a:cubicBezTo>
                      <a:pt x="22" y="6604"/>
                      <a:pt x="39" y="6613"/>
                      <a:pt x="54" y="6620"/>
                    </a:cubicBezTo>
                    <a:cubicBezTo>
                      <a:pt x="76" y="6631"/>
                      <a:pt x="94" y="6640"/>
                      <a:pt x="107" y="6647"/>
                    </a:cubicBezTo>
                    <a:cubicBezTo>
                      <a:pt x="112" y="6649"/>
                      <a:pt x="116" y="6651"/>
                      <a:pt x="119" y="6653"/>
                    </a:cubicBezTo>
                    <a:cubicBezTo>
                      <a:pt x="173" y="6515"/>
                      <a:pt x="173" y="6515"/>
                      <a:pt x="173" y="6515"/>
                    </a:cubicBezTo>
                    <a:cubicBezTo>
                      <a:pt x="4" y="6441"/>
                      <a:pt x="4" y="6441"/>
                      <a:pt x="4" y="6441"/>
                    </a:cubicBezTo>
                    <a:cubicBezTo>
                      <a:pt x="4" y="6425"/>
                      <a:pt x="4" y="6425"/>
                      <a:pt x="4" y="6425"/>
                    </a:cubicBezTo>
                    <a:cubicBezTo>
                      <a:pt x="178" y="6502"/>
                      <a:pt x="178" y="6502"/>
                      <a:pt x="178" y="6502"/>
                    </a:cubicBezTo>
                    <a:cubicBezTo>
                      <a:pt x="197" y="6453"/>
                      <a:pt x="197" y="6453"/>
                      <a:pt x="197" y="6453"/>
                    </a:cubicBezTo>
                    <a:cubicBezTo>
                      <a:pt x="108" y="6292"/>
                      <a:pt x="108" y="6292"/>
                      <a:pt x="108" y="6292"/>
                    </a:cubicBezTo>
                    <a:cubicBezTo>
                      <a:pt x="108" y="6291"/>
                      <a:pt x="108" y="6291"/>
                      <a:pt x="108" y="6291"/>
                    </a:cubicBezTo>
                    <a:cubicBezTo>
                      <a:pt x="4" y="6267"/>
                      <a:pt x="4" y="6267"/>
                      <a:pt x="4" y="6267"/>
                    </a:cubicBezTo>
                    <a:cubicBezTo>
                      <a:pt x="4" y="6253"/>
                      <a:pt x="4" y="6253"/>
                      <a:pt x="4" y="6253"/>
                    </a:cubicBezTo>
                    <a:cubicBezTo>
                      <a:pt x="117" y="6279"/>
                      <a:pt x="117" y="6279"/>
                      <a:pt x="117" y="6279"/>
                    </a:cubicBezTo>
                    <a:cubicBezTo>
                      <a:pt x="229" y="6106"/>
                      <a:pt x="229" y="6106"/>
                      <a:pt x="229" y="6106"/>
                    </a:cubicBezTo>
                    <a:cubicBezTo>
                      <a:pt x="229" y="6075"/>
                      <a:pt x="231" y="5946"/>
                      <a:pt x="253" y="5826"/>
                    </a:cubicBezTo>
                    <a:cubicBezTo>
                      <a:pt x="256" y="5806"/>
                      <a:pt x="258" y="5787"/>
                      <a:pt x="258" y="5768"/>
                    </a:cubicBezTo>
                    <a:cubicBezTo>
                      <a:pt x="258" y="5747"/>
                      <a:pt x="255" y="5727"/>
                      <a:pt x="252" y="5707"/>
                    </a:cubicBezTo>
                    <a:cubicBezTo>
                      <a:pt x="220" y="5720"/>
                      <a:pt x="163" y="5744"/>
                      <a:pt x="108" y="5768"/>
                    </a:cubicBezTo>
                    <a:cubicBezTo>
                      <a:pt x="70" y="5784"/>
                      <a:pt x="33" y="5800"/>
                      <a:pt x="4" y="5813"/>
                    </a:cubicBezTo>
                    <a:cubicBezTo>
                      <a:pt x="4" y="5798"/>
                      <a:pt x="4" y="5798"/>
                      <a:pt x="4" y="5798"/>
                    </a:cubicBezTo>
                    <a:cubicBezTo>
                      <a:pt x="33" y="5785"/>
                      <a:pt x="69" y="5770"/>
                      <a:pt x="107" y="5754"/>
                    </a:cubicBezTo>
                    <a:cubicBezTo>
                      <a:pt x="147" y="5736"/>
                      <a:pt x="188" y="5719"/>
                      <a:pt x="219" y="5706"/>
                    </a:cubicBezTo>
                    <a:cubicBezTo>
                      <a:pt x="231" y="5701"/>
                      <a:pt x="241" y="5697"/>
                      <a:pt x="249" y="5693"/>
                    </a:cubicBezTo>
                    <a:cubicBezTo>
                      <a:pt x="234" y="5626"/>
                      <a:pt x="202" y="5571"/>
                      <a:pt x="178" y="5540"/>
                    </a:cubicBezTo>
                    <a:cubicBezTo>
                      <a:pt x="159" y="5516"/>
                      <a:pt x="137" y="5496"/>
                      <a:pt x="119" y="5484"/>
                    </a:cubicBezTo>
                    <a:cubicBezTo>
                      <a:pt x="110" y="5478"/>
                      <a:pt x="101" y="5473"/>
                      <a:pt x="95" y="5470"/>
                    </a:cubicBezTo>
                    <a:cubicBezTo>
                      <a:pt x="92" y="5469"/>
                      <a:pt x="90" y="5468"/>
                      <a:pt x="88" y="5467"/>
                    </a:cubicBezTo>
                    <a:cubicBezTo>
                      <a:pt x="88" y="5467"/>
                      <a:pt x="88" y="5467"/>
                      <a:pt x="88" y="5467"/>
                    </a:cubicBezTo>
                    <a:cubicBezTo>
                      <a:pt x="82" y="5467"/>
                      <a:pt x="78" y="5466"/>
                      <a:pt x="70" y="5465"/>
                    </a:cubicBezTo>
                    <a:cubicBezTo>
                      <a:pt x="55" y="5462"/>
                      <a:pt x="31" y="5458"/>
                      <a:pt x="4" y="5454"/>
                    </a:cubicBezTo>
                    <a:cubicBezTo>
                      <a:pt x="4" y="5408"/>
                      <a:pt x="4" y="5408"/>
                      <a:pt x="4" y="5408"/>
                    </a:cubicBezTo>
                    <a:cubicBezTo>
                      <a:pt x="18" y="5410"/>
                      <a:pt x="31" y="5413"/>
                      <a:pt x="42" y="5414"/>
                    </a:cubicBezTo>
                    <a:cubicBezTo>
                      <a:pt x="56" y="5417"/>
                      <a:pt x="68" y="5419"/>
                      <a:pt x="76" y="5420"/>
                    </a:cubicBezTo>
                    <a:cubicBezTo>
                      <a:pt x="81" y="5421"/>
                      <a:pt x="84" y="5421"/>
                      <a:pt x="87" y="5421"/>
                    </a:cubicBezTo>
                    <a:cubicBezTo>
                      <a:pt x="88" y="5422"/>
                      <a:pt x="89" y="5422"/>
                      <a:pt x="90" y="5422"/>
                    </a:cubicBezTo>
                    <a:cubicBezTo>
                      <a:pt x="90" y="5422"/>
                      <a:pt x="90" y="5422"/>
                      <a:pt x="90" y="5422"/>
                    </a:cubicBezTo>
                    <a:cubicBezTo>
                      <a:pt x="90" y="5422"/>
                      <a:pt x="90" y="5422"/>
                      <a:pt x="90" y="5422"/>
                    </a:cubicBezTo>
                    <a:cubicBezTo>
                      <a:pt x="100" y="5422"/>
                      <a:pt x="106" y="5425"/>
                      <a:pt x="115" y="5429"/>
                    </a:cubicBezTo>
                    <a:cubicBezTo>
                      <a:pt x="305" y="5201"/>
                      <a:pt x="305" y="5201"/>
                      <a:pt x="305" y="5201"/>
                    </a:cubicBezTo>
                    <a:cubicBezTo>
                      <a:pt x="289" y="5180"/>
                      <a:pt x="272" y="5157"/>
                      <a:pt x="254" y="5136"/>
                    </a:cubicBezTo>
                    <a:cubicBezTo>
                      <a:pt x="215" y="5087"/>
                      <a:pt x="171" y="5042"/>
                      <a:pt x="152" y="5031"/>
                    </a:cubicBezTo>
                    <a:cubicBezTo>
                      <a:pt x="125" y="5014"/>
                      <a:pt x="59" y="5001"/>
                      <a:pt x="4" y="4996"/>
                    </a:cubicBezTo>
                    <a:cubicBezTo>
                      <a:pt x="4" y="4931"/>
                      <a:pt x="4" y="4931"/>
                      <a:pt x="4" y="4931"/>
                    </a:cubicBezTo>
                    <a:cubicBezTo>
                      <a:pt x="26" y="4933"/>
                      <a:pt x="48" y="4935"/>
                      <a:pt x="71" y="4939"/>
                    </a:cubicBezTo>
                    <a:cubicBezTo>
                      <a:pt x="104" y="4799"/>
                      <a:pt x="104" y="4799"/>
                      <a:pt x="104" y="4799"/>
                    </a:cubicBezTo>
                    <a:cubicBezTo>
                      <a:pt x="4" y="4741"/>
                      <a:pt x="4" y="4741"/>
                      <a:pt x="4" y="4741"/>
                    </a:cubicBezTo>
                    <a:cubicBezTo>
                      <a:pt x="4" y="4689"/>
                      <a:pt x="4" y="4689"/>
                      <a:pt x="4" y="4689"/>
                    </a:cubicBezTo>
                    <a:cubicBezTo>
                      <a:pt x="131" y="4763"/>
                      <a:pt x="131" y="4763"/>
                      <a:pt x="131" y="4763"/>
                    </a:cubicBezTo>
                    <a:cubicBezTo>
                      <a:pt x="581" y="4545"/>
                      <a:pt x="581" y="4545"/>
                      <a:pt x="581" y="4545"/>
                    </a:cubicBezTo>
                    <a:cubicBezTo>
                      <a:pt x="512" y="4448"/>
                      <a:pt x="435" y="4339"/>
                      <a:pt x="360" y="4233"/>
                    </a:cubicBezTo>
                    <a:cubicBezTo>
                      <a:pt x="357" y="4228"/>
                      <a:pt x="354" y="4223"/>
                      <a:pt x="350" y="4218"/>
                    </a:cubicBezTo>
                    <a:cubicBezTo>
                      <a:pt x="310" y="4244"/>
                      <a:pt x="185" y="4326"/>
                      <a:pt x="63" y="4407"/>
                    </a:cubicBezTo>
                    <a:cubicBezTo>
                      <a:pt x="43" y="4420"/>
                      <a:pt x="24" y="4433"/>
                      <a:pt x="4" y="4446"/>
                    </a:cubicBezTo>
                    <a:cubicBezTo>
                      <a:pt x="4" y="4429"/>
                      <a:pt x="4" y="4429"/>
                      <a:pt x="4" y="4429"/>
                    </a:cubicBezTo>
                    <a:cubicBezTo>
                      <a:pt x="22" y="4417"/>
                      <a:pt x="41" y="4405"/>
                      <a:pt x="59" y="4393"/>
                    </a:cubicBezTo>
                    <a:cubicBezTo>
                      <a:pt x="132" y="4344"/>
                      <a:pt x="206" y="4296"/>
                      <a:pt x="262" y="4260"/>
                    </a:cubicBezTo>
                    <a:cubicBezTo>
                      <a:pt x="289" y="4241"/>
                      <a:pt x="313" y="4226"/>
                      <a:pt x="330" y="4215"/>
                    </a:cubicBezTo>
                    <a:cubicBezTo>
                      <a:pt x="335" y="4212"/>
                      <a:pt x="339" y="4209"/>
                      <a:pt x="342" y="4207"/>
                    </a:cubicBezTo>
                    <a:cubicBezTo>
                      <a:pt x="309" y="4159"/>
                      <a:pt x="276" y="4112"/>
                      <a:pt x="245" y="4067"/>
                    </a:cubicBezTo>
                    <a:cubicBezTo>
                      <a:pt x="215" y="4082"/>
                      <a:pt x="116" y="4131"/>
                      <a:pt x="4" y="4187"/>
                    </a:cubicBezTo>
                    <a:cubicBezTo>
                      <a:pt x="4" y="4172"/>
                      <a:pt x="4" y="4172"/>
                      <a:pt x="4" y="4172"/>
                    </a:cubicBezTo>
                    <a:cubicBezTo>
                      <a:pt x="111" y="4118"/>
                      <a:pt x="206" y="4071"/>
                      <a:pt x="237" y="4055"/>
                    </a:cubicBezTo>
                    <a:cubicBezTo>
                      <a:pt x="188" y="3983"/>
                      <a:pt x="142" y="3916"/>
                      <a:pt x="104" y="3860"/>
                    </a:cubicBezTo>
                    <a:cubicBezTo>
                      <a:pt x="80" y="3824"/>
                      <a:pt x="56" y="3792"/>
                      <a:pt x="38" y="3767"/>
                    </a:cubicBezTo>
                    <a:cubicBezTo>
                      <a:pt x="38" y="3767"/>
                      <a:pt x="38" y="3767"/>
                      <a:pt x="38" y="3767"/>
                    </a:cubicBezTo>
                    <a:cubicBezTo>
                      <a:pt x="37" y="3766"/>
                      <a:pt x="37" y="3766"/>
                      <a:pt x="37" y="3766"/>
                    </a:cubicBezTo>
                    <a:cubicBezTo>
                      <a:pt x="37" y="3767"/>
                      <a:pt x="37" y="3767"/>
                      <a:pt x="37" y="3767"/>
                    </a:cubicBezTo>
                    <a:cubicBezTo>
                      <a:pt x="27" y="3775"/>
                      <a:pt x="16" y="3785"/>
                      <a:pt x="4" y="3796"/>
                    </a:cubicBezTo>
                    <a:cubicBezTo>
                      <a:pt x="4" y="3775"/>
                      <a:pt x="4" y="3775"/>
                      <a:pt x="4" y="3775"/>
                    </a:cubicBezTo>
                    <a:cubicBezTo>
                      <a:pt x="6" y="3774"/>
                      <a:pt x="8" y="3772"/>
                      <a:pt x="9" y="3771"/>
                    </a:cubicBezTo>
                    <a:cubicBezTo>
                      <a:pt x="29" y="3754"/>
                      <a:pt x="29" y="3754"/>
                      <a:pt x="29" y="3754"/>
                    </a:cubicBezTo>
                    <a:cubicBezTo>
                      <a:pt x="25" y="3748"/>
                      <a:pt x="21" y="3743"/>
                      <a:pt x="18" y="3738"/>
                    </a:cubicBezTo>
                    <a:cubicBezTo>
                      <a:pt x="14" y="3733"/>
                      <a:pt x="14" y="3733"/>
                      <a:pt x="14" y="3733"/>
                    </a:cubicBezTo>
                    <a:cubicBezTo>
                      <a:pt x="10" y="3727"/>
                      <a:pt x="7" y="3722"/>
                      <a:pt x="4" y="3718"/>
                    </a:cubicBezTo>
                    <a:cubicBezTo>
                      <a:pt x="4" y="3603"/>
                      <a:pt x="4" y="3603"/>
                      <a:pt x="4" y="3603"/>
                    </a:cubicBezTo>
                    <a:cubicBezTo>
                      <a:pt x="25" y="3634"/>
                      <a:pt x="25" y="3634"/>
                      <a:pt x="25" y="3634"/>
                    </a:cubicBezTo>
                    <a:cubicBezTo>
                      <a:pt x="54" y="3613"/>
                      <a:pt x="66" y="3605"/>
                      <a:pt x="79" y="3595"/>
                    </a:cubicBezTo>
                    <a:cubicBezTo>
                      <a:pt x="167" y="3532"/>
                      <a:pt x="337" y="3414"/>
                      <a:pt x="341" y="3411"/>
                    </a:cubicBezTo>
                    <a:cubicBezTo>
                      <a:pt x="325" y="3372"/>
                      <a:pt x="314" y="3346"/>
                      <a:pt x="314" y="3346"/>
                    </a:cubicBezTo>
                    <a:cubicBezTo>
                      <a:pt x="346" y="3324"/>
                      <a:pt x="346" y="3324"/>
                      <a:pt x="346" y="3324"/>
                    </a:cubicBezTo>
                    <a:cubicBezTo>
                      <a:pt x="338" y="3330"/>
                      <a:pt x="338" y="3330"/>
                      <a:pt x="338" y="3330"/>
                    </a:cubicBezTo>
                    <a:cubicBezTo>
                      <a:pt x="303" y="3255"/>
                      <a:pt x="303" y="3255"/>
                      <a:pt x="303" y="3255"/>
                    </a:cubicBezTo>
                    <a:cubicBezTo>
                      <a:pt x="249" y="3285"/>
                      <a:pt x="198" y="3319"/>
                      <a:pt x="158" y="3363"/>
                    </a:cubicBezTo>
                    <a:cubicBezTo>
                      <a:pt x="103" y="3424"/>
                      <a:pt x="38" y="3505"/>
                      <a:pt x="4" y="3546"/>
                    </a:cubicBezTo>
                    <a:cubicBezTo>
                      <a:pt x="4" y="3507"/>
                      <a:pt x="4" y="3507"/>
                      <a:pt x="4" y="3507"/>
                    </a:cubicBezTo>
                    <a:cubicBezTo>
                      <a:pt x="40" y="3463"/>
                      <a:pt x="93" y="3398"/>
                      <a:pt x="140" y="3347"/>
                    </a:cubicBezTo>
                    <a:cubicBezTo>
                      <a:pt x="221" y="3258"/>
                      <a:pt x="342" y="3209"/>
                      <a:pt x="437" y="3157"/>
                    </a:cubicBezTo>
                    <a:cubicBezTo>
                      <a:pt x="482" y="3133"/>
                      <a:pt x="553" y="3098"/>
                      <a:pt x="621" y="3069"/>
                    </a:cubicBezTo>
                    <a:cubicBezTo>
                      <a:pt x="615" y="3061"/>
                      <a:pt x="608" y="3054"/>
                      <a:pt x="602" y="3047"/>
                    </a:cubicBezTo>
                    <a:cubicBezTo>
                      <a:pt x="595" y="3039"/>
                      <a:pt x="588" y="3031"/>
                      <a:pt x="582" y="3023"/>
                    </a:cubicBezTo>
                    <a:cubicBezTo>
                      <a:pt x="545" y="3045"/>
                      <a:pt x="515" y="3064"/>
                      <a:pt x="478" y="3089"/>
                    </a:cubicBezTo>
                    <a:cubicBezTo>
                      <a:pt x="477" y="3089"/>
                      <a:pt x="477" y="3089"/>
                      <a:pt x="477" y="3089"/>
                    </a:cubicBezTo>
                    <a:cubicBezTo>
                      <a:pt x="476" y="3090"/>
                      <a:pt x="476" y="3090"/>
                      <a:pt x="476" y="3090"/>
                    </a:cubicBezTo>
                    <a:cubicBezTo>
                      <a:pt x="475" y="3090"/>
                      <a:pt x="406" y="3113"/>
                      <a:pt x="389" y="3114"/>
                    </a:cubicBezTo>
                    <a:cubicBezTo>
                      <a:pt x="304" y="3129"/>
                      <a:pt x="304" y="3129"/>
                      <a:pt x="304" y="3129"/>
                    </a:cubicBezTo>
                    <a:cubicBezTo>
                      <a:pt x="279" y="3133"/>
                      <a:pt x="251" y="3137"/>
                      <a:pt x="222" y="3140"/>
                    </a:cubicBezTo>
                    <a:cubicBezTo>
                      <a:pt x="183" y="3182"/>
                      <a:pt x="141" y="3227"/>
                      <a:pt x="100" y="3272"/>
                    </a:cubicBezTo>
                    <a:cubicBezTo>
                      <a:pt x="67" y="3307"/>
                      <a:pt x="35" y="3342"/>
                      <a:pt x="4" y="3375"/>
                    </a:cubicBezTo>
                    <a:cubicBezTo>
                      <a:pt x="4" y="3145"/>
                      <a:pt x="4" y="3145"/>
                      <a:pt x="4" y="3145"/>
                    </a:cubicBezTo>
                    <a:cubicBezTo>
                      <a:pt x="6" y="3145"/>
                      <a:pt x="8" y="3145"/>
                      <a:pt x="10" y="3145"/>
                    </a:cubicBezTo>
                    <a:cubicBezTo>
                      <a:pt x="108" y="3038"/>
                      <a:pt x="205" y="2934"/>
                      <a:pt x="265" y="2870"/>
                    </a:cubicBezTo>
                    <a:cubicBezTo>
                      <a:pt x="225" y="2864"/>
                      <a:pt x="185" y="2859"/>
                      <a:pt x="149" y="2859"/>
                    </a:cubicBezTo>
                    <a:cubicBezTo>
                      <a:pt x="137" y="2859"/>
                      <a:pt x="127" y="2860"/>
                      <a:pt x="117" y="2861"/>
                    </a:cubicBezTo>
                    <a:cubicBezTo>
                      <a:pt x="75" y="2864"/>
                      <a:pt x="36" y="2880"/>
                      <a:pt x="4" y="2898"/>
                    </a:cubicBezTo>
                    <a:cubicBezTo>
                      <a:pt x="4" y="2879"/>
                      <a:pt x="4" y="2879"/>
                      <a:pt x="4" y="2879"/>
                    </a:cubicBezTo>
                    <a:cubicBezTo>
                      <a:pt x="36" y="2863"/>
                      <a:pt x="74" y="2848"/>
                      <a:pt x="115" y="2844"/>
                    </a:cubicBezTo>
                    <a:cubicBezTo>
                      <a:pt x="126" y="2843"/>
                      <a:pt x="137" y="2843"/>
                      <a:pt x="149" y="2843"/>
                    </a:cubicBezTo>
                    <a:cubicBezTo>
                      <a:pt x="189" y="2843"/>
                      <a:pt x="234" y="2848"/>
                      <a:pt x="278" y="2855"/>
                    </a:cubicBezTo>
                    <a:cubicBezTo>
                      <a:pt x="303" y="2828"/>
                      <a:pt x="320" y="2810"/>
                      <a:pt x="325" y="2805"/>
                    </a:cubicBezTo>
                    <a:cubicBezTo>
                      <a:pt x="337" y="2793"/>
                      <a:pt x="356" y="2777"/>
                      <a:pt x="371" y="2766"/>
                    </a:cubicBezTo>
                    <a:cubicBezTo>
                      <a:pt x="281" y="2597"/>
                      <a:pt x="281" y="2597"/>
                      <a:pt x="281" y="2597"/>
                    </a:cubicBezTo>
                    <a:cubicBezTo>
                      <a:pt x="269" y="2604"/>
                      <a:pt x="245" y="2617"/>
                      <a:pt x="221" y="2631"/>
                    </a:cubicBezTo>
                    <a:cubicBezTo>
                      <a:pt x="204" y="2641"/>
                      <a:pt x="186" y="2651"/>
                      <a:pt x="173" y="2658"/>
                    </a:cubicBezTo>
                    <a:cubicBezTo>
                      <a:pt x="166" y="2661"/>
                      <a:pt x="160" y="2665"/>
                      <a:pt x="156" y="2667"/>
                    </a:cubicBezTo>
                    <a:cubicBezTo>
                      <a:pt x="150" y="2669"/>
                      <a:pt x="150" y="2670"/>
                      <a:pt x="144" y="2671"/>
                    </a:cubicBezTo>
                    <a:cubicBezTo>
                      <a:pt x="144" y="2671"/>
                      <a:pt x="144" y="2671"/>
                      <a:pt x="144" y="2671"/>
                    </a:cubicBezTo>
                    <a:cubicBezTo>
                      <a:pt x="144" y="2671"/>
                      <a:pt x="143" y="2671"/>
                      <a:pt x="143" y="2671"/>
                    </a:cubicBezTo>
                    <a:cubicBezTo>
                      <a:pt x="142" y="2671"/>
                      <a:pt x="142" y="2671"/>
                      <a:pt x="142" y="2671"/>
                    </a:cubicBezTo>
                    <a:cubicBezTo>
                      <a:pt x="141" y="2670"/>
                      <a:pt x="141" y="2670"/>
                      <a:pt x="141" y="2670"/>
                    </a:cubicBezTo>
                    <a:cubicBezTo>
                      <a:pt x="138" y="2669"/>
                      <a:pt x="138" y="2669"/>
                      <a:pt x="136" y="2667"/>
                    </a:cubicBezTo>
                    <a:cubicBezTo>
                      <a:pt x="131" y="2663"/>
                      <a:pt x="118" y="2650"/>
                      <a:pt x="102" y="2636"/>
                    </a:cubicBezTo>
                    <a:cubicBezTo>
                      <a:pt x="87" y="2660"/>
                      <a:pt x="46" y="2723"/>
                      <a:pt x="4" y="2789"/>
                    </a:cubicBezTo>
                    <a:cubicBezTo>
                      <a:pt x="4" y="2758"/>
                      <a:pt x="4" y="2758"/>
                      <a:pt x="4" y="2758"/>
                    </a:cubicBezTo>
                    <a:cubicBezTo>
                      <a:pt x="43" y="2698"/>
                      <a:pt x="78" y="2643"/>
                      <a:pt x="90" y="2624"/>
                    </a:cubicBezTo>
                    <a:cubicBezTo>
                      <a:pt x="82" y="2616"/>
                      <a:pt x="73" y="2609"/>
                      <a:pt x="65" y="2601"/>
                    </a:cubicBezTo>
                    <a:cubicBezTo>
                      <a:pt x="50" y="2586"/>
                      <a:pt x="35" y="2572"/>
                      <a:pt x="23" y="2562"/>
                    </a:cubicBezTo>
                    <a:cubicBezTo>
                      <a:pt x="18" y="2557"/>
                      <a:pt x="13" y="2553"/>
                      <a:pt x="10" y="2550"/>
                    </a:cubicBezTo>
                    <a:cubicBezTo>
                      <a:pt x="8" y="2549"/>
                      <a:pt x="7" y="2547"/>
                      <a:pt x="6" y="2547"/>
                    </a:cubicBezTo>
                    <a:cubicBezTo>
                      <a:pt x="6" y="2547"/>
                      <a:pt x="5" y="2546"/>
                      <a:pt x="5" y="2546"/>
                    </a:cubicBezTo>
                    <a:cubicBezTo>
                      <a:pt x="5" y="2546"/>
                      <a:pt x="5" y="2546"/>
                      <a:pt x="5" y="2546"/>
                    </a:cubicBezTo>
                    <a:cubicBezTo>
                      <a:pt x="5" y="2546"/>
                      <a:pt x="5" y="2546"/>
                      <a:pt x="4" y="2545"/>
                    </a:cubicBezTo>
                    <a:cubicBezTo>
                      <a:pt x="1" y="2543"/>
                      <a:pt x="1" y="2541"/>
                      <a:pt x="1" y="2540"/>
                    </a:cubicBezTo>
                    <a:cubicBezTo>
                      <a:pt x="1" y="2539"/>
                      <a:pt x="1" y="2538"/>
                      <a:pt x="1" y="2537"/>
                    </a:cubicBezTo>
                    <a:cubicBezTo>
                      <a:pt x="1" y="2533"/>
                      <a:pt x="2" y="2522"/>
                      <a:pt x="4" y="2508"/>
                    </a:cubicBezTo>
                    <a:cubicBezTo>
                      <a:pt x="11" y="2464"/>
                      <a:pt x="26" y="2386"/>
                      <a:pt x="31" y="2359"/>
                    </a:cubicBezTo>
                    <a:cubicBezTo>
                      <a:pt x="4" y="2366"/>
                      <a:pt x="4" y="2366"/>
                      <a:pt x="4" y="2366"/>
                    </a:cubicBezTo>
                    <a:cubicBezTo>
                      <a:pt x="4" y="2352"/>
                      <a:pt x="4" y="2352"/>
                      <a:pt x="4" y="2352"/>
                    </a:cubicBezTo>
                    <a:cubicBezTo>
                      <a:pt x="34" y="2343"/>
                      <a:pt x="34" y="2343"/>
                      <a:pt x="34" y="2343"/>
                    </a:cubicBezTo>
                    <a:cubicBezTo>
                      <a:pt x="34" y="2343"/>
                      <a:pt x="34" y="2343"/>
                      <a:pt x="34" y="2343"/>
                    </a:cubicBezTo>
                    <a:cubicBezTo>
                      <a:pt x="131" y="2317"/>
                      <a:pt x="131" y="2317"/>
                      <a:pt x="131" y="2317"/>
                    </a:cubicBezTo>
                    <a:cubicBezTo>
                      <a:pt x="39" y="2146"/>
                      <a:pt x="39" y="2146"/>
                      <a:pt x="39" y="2146"/>
                    </a:cubicBezTo>
                    <a:cubicBezTo>
                      <a:pt x="39" y="2146"/>
                      <a:pt x="39" y="2146"/>
                      <a:pt x="39" y="2146"/>
                    </a:cubicBezTo>
                    <a:cubicBezTo>
                      <a:pt x="4" y="2077"/>
                      <a:pt x="4" y="2077"/>
                      <a:pt x="4" y="2077"/>
                    </a:cubicBezTo>
                    <a:cubicBezTo>
                      <a:pt x="4" y="1934"/>
                      <a:pt x="4" y="1934"/>
                      <a:pt x="4" y="1934"/>
                    </a:cubicBezTo>
                    <a:cubicBezTo>
                      <a:pt x="98" y="2118"/>
                      <a:pt x="98" y="2118"/>
                      <a:pt x="98" y="2118"/>
                    </a:cubicBezTo>
                    <a:cubicBezTo>
                      <a:pt x="110" y="2113"/>
                      <a:pt x="125" y="2106"/>
                      <a:pt x="140" y="2099"/>
                    </a:cubicBezTo>
                    <a:cubicBezTo>
                      <a:pt x="175" y="2083"/>
                      <a:pt x="211" y="2067"/>
                      <a:pt x="227" y="2061"/>
                    </a:cubicBezTo>
                    <a:cubicBezTo>
                      <a:pt x="230" y="2060"/>
                      <a:pt x="233" y="2058"/>
                      <a:pt x="236" y="2057"/>
                    </a:cubicBezTo>
                    <a:cubicBezTo>
                      <a:pt x="331" y="1829"/>
                      <a:pt x="331" y="1829"/>
                      <a:pt x="331" y="1829"/>
                    </a:cubicBezTo>
                    <a:cubicBezTo>
                      <a:pt x="145" y="1675"/>
                      <a:pt x="145" y="1675"/>
                      <a:pt x="145" y="1675"/>
                    </a:cubicBezTo>
                    <a:cubicBezTo>
                      <a:pt x="4" y="1792"/>
                      <a:pt x="4" y="1792"/>
                      <a:pt x="4" y="1792"/>
                    </a:cubicBezTo>
                    <a:cubicBezTo>
                      <a:pt x="4" y="1706"/>
                      <a:pt x="4" y="1706"/>
                      <a:pt x="4" y="1706"/>
                    </a:cubicBezTo>
                    <a:cubicBezTo>
                      <a:pt x="319" y="1445"/>
                      <a:pt x="319" y="1445"/>
                      <a:pt x="319" y="1445"/>
                    </a:cubicBezTo>
                    <a:cubicBezTo>
                      <a:pt x="197" y="1319"/>
                      <a:pt x="197" y="1319"/>
                      <a:pt x="197" y="1319"/>
                    </a:cubicBezTo>
                    <a:cubicBezTo>
                      <a:pt x="197" y="1319"/>
                      <a:pt x="197" y="1319"/>
                      <a:pt x="197" y="1319"/>
                    </a:cubicBezTo>
                    <a:cubicBezTo>
                      <a:pt x="186" y="1310"/>
                      <a:pt x="186" y="1310"/>
                      <a:pt x="186" y="1310"/>
                    </a:cubicBezTo>
                    <a:cubicBezTo>
                      <a:pt x="186" y="1310"/>
                      <a:pt x="186" y="1310"/>
                      <a:pt x="186" y="1310"/>
                    </a:cubicBezTo>
                    <a:cubicBezTo>
                      <a:pt x="225" y="1270"/>
                      <a:pt x="225" y="1270"/>
                      <a:pt x="225" y="1270"/>
                    </a:cubicBezTo>
                    <a:cubicBezTo>
                      <a:pt x="154" y="1195"/>
                      <a:pt x="154" y="1195"/>
                      <a:pt x="154" y="1195"/>
                    </a:cubicBezTo>
                    <a:cubicBezTo>
                      <a:pt x="114" y="1225"/>
                      <a:pt x="64" y="1254"/>
                      <a:pt x="4" y="1279"/>
                    </a:cubicBezTo>
                    <a:cubicBezTo>
                      <a:pt x="4" y="1208"/>
                      <a:pt x="4" y="1208"/>
                      <a:pt x="4" y="1208"/>
                    </a:cubicBezTo>
                    <a:cubicBezTo>
                      <a:pt x="100" y="1164"/>
                      <a:pt x="160" y="1109"/>
                      <a:pt x="206" y="1062"/>
                    </a:cubicBezTo>
                    <a:cubicBezTo>
                      <a:pt x="197" y="1054"/>
                      <a:pt x="185" y="1044"/>
                      <a:pt x="171" y="1032"/>
                    </a:cubicBezTo>
                    <a:cubicBezTo>
                      <a:pt x="131" y="1000"/>
                      <a:pt x="73" y="956"/>
                      <a:pt x="4" y="914"/>
                    </a:cubicBezTo>
                    <a:cubicBezTo>
                      <a:pt x="4" y="838"/>
                      <a:pt x="4" y="838"/>
                      <a:pt x="4" y="838"/>
                    </a:cubicBezTo>
                    <a:cubicBezTo>
                      <a:pt x="5" y="838"/>
                      <a:pt x="5" y="839"/>
                      <a:pt x="6" y="839"/>
                    </a:cubicBezTo>
                    <a:cubicBezTo>
                      <a:pt x="17" y="816"/>
                      <a:pt x="36" y="775"/>
                      <a:pt x="56" y="733"/>
                    </a:cubicBezTo>
                    <a:cubicBezTo>
                      <a:pt x="71" y="702"/>
                      <a:pt x="86" y="671"/>
                      <a:pt x="98" y="648"/>
                    </a:cubicBezTo>
                    <a:cubicBezTo>
                      <a:pt x="104" y="636"/>
                      <a:pt x="110" y="626"/>
                      <a:pt x="114" y="619"/>
                    </a:cubicBezTo>
                    <a:cubicBezTo>
                      <a:pt x="116" y="616"/>
                      <a:pt x="118" y="613"/>
                      <a:pt x="119" y="611"/>
                    </a:cubicBezTo>
                    <a:cubicBezTo>
                      <a:pt x="122" y="609"/>
                      <a:pt x="120" y="607"/>
                      <a:pt x="128" y="605"/>
                    </a:cubicBezTo>
                    <a:cubicBezTo>
                      <a:pt x="137" y="605"/>
                      <a:pt x="197" y="613"/>
                      <a:pt x="213" y="614"/>
                    </a:cubicBezTo>
                    <a:cubicBezTo>
                      <a:pt x="221" y="600"/>
                      <a:pt x="253" y="522"/>
                      <a:pt x="281" y="449"/>
                    </a:cubicBezTo>
                    <a:cubicBezTo>
                      <a:pt x="302" y="394"/>
                      <a:pt x="322" y="341"/>
                      <a:pt x="332" y="313"/>
                    </a:cubicBezTo>
                    <a:cubicBezTo>
                      <a:pt x="171" y="89"/>
                      <a:pt x="171" y="89"/>
                      <a:pt x="171" y="89"/>
                    </a:cubicBezTo>
                    <a:cubicBezTo>
                      <a:pt x="170" y="89"/>
                      <a:pt x="170" y="89"/>
                      <a:pt x="170" y="89"/>
                    </a:cubicBezTo>
                    <a:cubicBezTo>
                      <a:pt x="148" y="103"/>
                      <a:pt x="107" y="130"/>
                      <a:pt x="68" y="157"/>
                    </a:cubicBezTo>
                    <a:cubicBezTo>
                      <a:pt x="45" y="172"/>
                      <a:pt x="23" y="188"/>
                      <a:pt x="4" y="200"/>
                    </a:cubicBezTo>
                    <a:cubicBezTo>
                      <a:pt x="4" y="183"/>
                      <a:pt x="4" y="183"/>
                      <a:pt x="4" y="183"/>
                    </a:cubicBezTo>
                    <a:cubicBezTo>
                      <a:pt x="23" y="171"/>
                      <a:pt x="44" y="156"/>
                      <a:pt x="66" y="142"/>
                    </a:cubicBezTo>
                    <a:cubicBezTo>
                      <a:pt x="94" y="123"/>
                      <a:pt x="122" y="104"/>
                      <a:pt x="144" y="90"/>
                    </a:cubicBezTo>
                    <a:cubicBezTo>
                      <a:pt x="147" y="87"/>
                      <a:pt x="151" y="85"/>
                      <a:pt x="154" y="83"/>
                    </a:cubicBezTo>
                    <a:cubicBezTo>
                      <a:pt x="4" y="27"/>
                      <a:pt x="4" y="27"/>
                      <a:pt x="4" y="27"/>
                    </a:cubicBezTo>
                    <a:cubicBezTo>
                      <a:pt x="4" y="0"/>
                      <a:pt x="4" y="0"/>
                      <a:pt x="4" y="0"/>
                    </a:cubicBezTo>
                    <a:cubicBezTo>
                      <a:pt x="60" y="0"/>
                      <a:pt x="60" y="0"/>
                      <a:pt x="60" y="0"/>
                    </a:cubicBezTo>
                    <a:cubicBezTo>
                      <a:pt x="192" y="49"/>
                      <a:pt x="192" y="49"/>
                      <a:pt x="192" y="49"/>
                    </a:cubicBezTo>
                    <a:cubicBezTo>
                      <a:pt x="197" y="37"/>
                      <a:pt x="205" y="20"/>
                      <a:pt x="214" y="0"/>
                    </a:cubicBezTo>
                    <a:cubicBezTo>
                      <a:pt x="229" y="0"/>
                      <a:pt x="229" y="0"/>
                      <a:pt x="229" y="0"/>
                    </a:cubicBezTo>
                    <a:cubicBezTo>
                      <a:pt x="221" y="18"/>
                      <a:pt x="214" y="35"/>
                      <a:pt x="208" y="47"/>
                    </a:cubicBezTo>
                    <a:cubicBezTo>
                      <a:pt x="206" y="51"/>
                      <a:pt x="205" y="54"/>
                      <a:pt x="203" y="57"/>
                    </a:cubicBezTo>
                    <a:cubicBezTo>
                      <a:pt x="359" y="273"/>
                      <a:pt x="359" y="273"/>
                      <a:pt x="359" y="273"/>
                    </a:cubicBezTo>
                    <a:cubicBezTo>
                      <a:pt x="384" y="247"/>
                      <a:pt x="433" y="196"/>
                      <a:pt x="482" y="145"/>
                    </a:cubicBezTo>
                    <a:cubicBezTo>
                      <a:pt x="518" y="109"/>
                      <a:pt x="554" y="72"/>
                      <a:pt x="581" y="45"/>
                    </a:cubicBezTo>
                    <a:cubicBezTo>
                      <a:pt x="595" y="31"/>
                      <a:pt x="607" y="20"/>
                      <a:pt x="616" y="12"/>
                    </a:cubicBezTo>
                    <a:cubicBezTo>
                      <a:pt x="620" y="8"/>
                      <a:pt x="623" y="4"/>
                      <a:pt x="626" y="2"/>
                    </a:cubicBezTo>
                    <a:cubicBezTo>
                      <a:pt x="627" y="2"/>
                      <a:pt x="628" y="1"/>
                      <a:pt x="628" y="1"/>
                    </a:cubicBezTo>
                    <a:cubicBezTo>
                      <a:pt x="628" y="0"/>
                      <a:pt x="628" y="0"/>
                      <a:pt x="627" y="0"/>
                    </a:cubicBezTo>
                    <a:cubicBezTo>
                      <a:pt x="649" y="0"/>
                      <a:pt x="649" y="0"/>
                      <a:pt x="649" y="0"/>
                    </a:cubicBezTo>
                    <a:cubicBezTo>
                      <a:pt x="767" y="103"/>
                      <a:pt x="884" y="206"/>
                      <a:pt x="926" y="243"/>
                    </a:cubicBezTo>
                    <a:cubicBezTo>
                      <a:pt x="1010" y="40"/>
                      <a:pt x="1010" y="40"/>
                      <a:pt x="1010" y="40"/>
                    </a:cubicBezTo>
                    <a:cubicBezTo>
                      <a:pt x="1024" y="0"/>
                      <a:pt x="1024" y="0"/>
                      <a:pt x="1024" y="0"/>
                    </a:cubicBezTo>
                    <a:cubicBezTo>
                      <a:pt x="1094" y="0"/>
                      <a:pt x="1094" y="0"/>
                      <a:pt x="1094" y="0"/>
                    </a:cubicBezTo>
                    <a:cubicBezTo>
                      <a:pt x="1087" y="21"/>
                      <a:pt x="1087" y="21"/>
                      <a:pt x="1087" y="21"/>
                    </a:cubicBezTo>
                    <a:cubicBezTo>
                      <a:pt x="1108" y="16"/>
                      <a:pt x="1141" y="8"/>
                      <a:pt x="1177" y="0"/>
                    </a:cubicBezTo>
                    <a:cubicBezTo>
                      <a:pt x="1251" y="0"/>
                      <a:pt x="1251" y="0"/>
                      <a:pt x="1251" y="0"/>
                    </a:cubicBezTo>
                    <a:cubicBezTo>
                      <a:pt x="1239" y="2"/>
                      <a:pt x="1227" y="5"/>
                      <a:pt x="1214" y="8"/>
                    </a:cubicBezTo>
                    <a:cubicBezTo>
                      <a:pt x="1177" y="16"/>
                      <a:pt x="1141" y="25"/>
                      <a:pt x="1113" y="31"/>
                    </a:cubicBezTo>
                    <a:cubicBezTo>
                      <a:pt x="1099" y="34"/>
                      <a:pt x="1088" y="37"/>
                      <a:pt x="1080" y="39"/>
                    </a:cubicBezTo>
                    <a:cubicBezTo>
                      <a:pt x="1080" y="39"/>
                      <a:pt x="1080" y="39"/>
                      <a:pt x="1080" y="39"/>
                    </a:cubicBezTo>
                    <a:cubicBezTo>
                      <a:pt x="1066" y="75"/>
                      <a:pt x="1066" y="75"/>
                      <a:pt x="1066" y="75"/>
                    </a:cubicBezTo>
                    <a:cubicBezTo>
                      <a:pt x="1065" y="75"/>
                      <a:pt x="1065" y="75"/>
                      <a:pt x="1065" y="75"/>
                    </a:cubicBezTo>
                    <a:cubicBezTo>
                      <a:pt x="1048" y="119"/>
                      <a:pt x="1048" y="119"/>
                      <a:pt x="1048" y="119"/>
                    </a:cubicBezTo>
                    <a:cubicBezTo>
                      <a:pt x="1243" y="294"/>
                      <a:pt x="1243" y="294"/>
                      <a:pt x="1243" y="294"/>
                    </a:cubicBezTo>
                    <a:cubicBezTo>
                      <a:pt x="1348" y="167"/>
                      <a:pt x="1348" y="167"/>
                      <a:pt x="1348" y="167"/>
                    </a:cubicBezTo>
                    <a:cubicBezTo>
                      <a:pt x="1382" y="6"/>
                      <a:pt x="1382" y="6"/>
                      <a:pt x="1382" y="6"/>
                    </a:cubicBezTo>
                    <a:cubicBezTo>
                      <a:pt x="1378" y="0"/>
                      <a:pt x="1378" y="0"/>
                      <a:pt x="1378" y="0"/>
                    </a:cubicBezTo>
                    <a:cubicBezTo>
                      <a:pt x="1429" y="0"/>
                      <a:pt x="1429" y="0"/>
                      <a:pt x="1429" y="0"/>
                    </a:cubicBezTo>
                    <a:cubicBezTo>
                      <a:pt x="1398" y="150"/>
                      <a:pt x="1398" y="150"/>
                      <a:pt x="1398" y="150"/>
                    </a:cubicBezTo>
                    <a:cubicBezTo>
                      <a:pt x="1414" y="160"/>
                      <a:pt x="1444" y="179"/>
                      <a:pt x="1474" y="199"/>
                    </a:cubicBezTo>
                    <a:cubicBezTo>
                      <a:pt x="1497" y="213"/>
                      <a:pt x="1520" y="227"/>
                      <a:pt x="1538" y="238"/>
                    </a:cubicBezTo>
                    <a:cubicBezTo>
                      <a:pt x="1546" y="243"/>
                      <a:pt x="1554" y="248"/>
                      <a:pt x="1559" y="251"/>
                    </a:cubicBezTo>
                    <a:cubicBezTo>
                      <a:pt x="1561" y="252"/>
                      <a:pt x="1562" y="252"/>
                      <a:pt x="1564" y="253"/>
                    </a:cubicBezTo>
                    <a:cubicBezTo>
                      <a:pt x="1636" y="149"/>
                      <a:pt x="1636" y="149"/>
                      <a:pt x="1636" y="149"/>
                    </a:cubicBezTo>
                    <a:cubicBezTo>
                      <a:pt x="1636" y="149"/>
                      <a:pt x="1636" y="149"/>
                      <a:pt x="1636" y="149"/>
                    </a:cubicBezTo>
                    <a:cubicBezTo>
                      <a:pt x="1634" y="147"/>
                      <a:pt x="1634" y="147"/>
                      <a:pt x="1634" y="147"/>
                    </a:cubicBezTo>
                    <a:cubicBezTo>
                      <a:pt x="1639" y="143"/>
                      <a:pt x="1661" y="113"/>
                      <a:pt x="1687" y="76"/>
                    </a:cubicBezTo>
                    <a:cubicBezTo>
                      <a:pt x="1687" y="77"/>
                      <a:pt x="1687" y="77"/>
                      <a:pt x="1687" y="77"/>
                    </a:cubicBezTo>
                    <a:cubicBezTo>
                      <a:pt x="1703" y="53"/>
                      <a:pt x="1703" y="53"/>
                      <a:pt x="1703" y="53"/>
                    </a:cubicBezTo>
                    <a:cubicBezTo>
                      <a:pt x="1707" y="49"/>
                      <a:pt x="1710" y="44"/>
                      <a:pt x="1713" y="39"/>
                    </a:cubicBezTo>
                    <a:cubicBezTo>
                      <a:pt x="1682" y="27"/>
                      <a:pt x="1644" y="12"/>
                      <a:pt x="1611" y="0"/>
                    </a:cubicBezTo>
                    <a:cubicBezTo>
                      <a:pt x="1658" y="0"/>
                      <a:pt x="1658" y="0"/>
                      <a:pt x="1658" y="0"/>
                    </a:cubicBezTo>
                    <a:cubicBezTo>
                      <a:pt x="1669" y="4"/>
                      <a:pt x="1679" y="7"/>
                      <a:pt x="1687" y="11"/>
                    </a:cubicBezTo>
                    <a:cubicBezTo>
                      <a:pt x="1690" y="12"/>
                      <a:pt x="1693" y="13"/>
                      <a:pt x="1722" y="25"/>
                    </a:cubicBezTo>
                    <a:cubicBezTo>
                      <a:pt x="1722" y="27"/>
                      <a:pt x="1722" y="27"/>
                      <a:pt x="1722" y="27"/>
                    </a:cubicBezTo>
                    <a:cubicBezTo>
                      <a:pt x="1727" y="18"/>
                      <a:pt x="1733" y="9"/>
                      <a:pt x="1739" y="0"/>
                    </a:cubicBezTo>
                    <a:cubicBezTo>
                      <a:pt x="1818" y="0"/>
                      <a:pt x="1818" y="0"/>
                      <a:pt x="1818" y="0"/>
                    </a:cubicBezTo>
                    <a:cubicBezTo>
                      <a:pt x="1800" y="26"/>
                      <a:pt x="1782" y="52"/>
                      <a:pt x="1766" y="76"/>
                    </a:cubicBezTo>
                    <a:cubicBezTo>
                      <a:pt x="1744" y="108"/>
                      <a:pt x="1724" y="137"/>
                      <a:pt x="1709" y="158"/>
                    </a:cubicBezTo>
                    <a:cubicBezTo>
                      <a:pt x="1707" y="160"/>
                      <a:pt x="1706" y="162"/>
                      <a:pt x="1704" y="164"/>
                    </a:cubicBezTo>
                    <a:cubicBezTo>
                      <a:pt x="1704" y="165"/>
                      <a:pt x="1705" y="164"/>
                      <a:pt x="1705" y="165"/>
                    </a:cubicBezTo>
                    <a:cubicBezTo>
                      <a:pt x="1706" y="166"/>
                      <a:pt x="1706" y="167"/>
                      <a:pt x="1707" y="168"/>
                    </a:cubicBezTo>
                    <a:cubicBezTo>
                      <a:pt x="1711" y="174"/>
                      <a:pt x="1752" y="226"/>
                      <a:pt x="1792" y="274"/>
                    </a:cubicBezTo>
                    <a:cubicBezTo>
                      <a:pt x="1823" y="312"/>
                      <a:pt x="1854" y="350"/>
                      <a:pt x="1867" y="366"/>
                    </a:cubicBezTo>
                    <a:cubicBezTo>
                      <a:pt x="2202" y="0"/>
                      <a:pt x="2202" y="0"/>
                      <a:pt x="2202" y="0"/>
                    </a:cubicBezTo>
                    <a:cubicBezTo>
                      <a:pt x="2221" y="0"/>
                      <a:pt x="2221" y="0"/>
                      <a:pt x="2221" y="0"/>
                    </a:cubicBezTo>
                    <a:cubicBezTo>
                      <a:pt x="1876" y="377"/>
                      <a:pt x="1876" y="377"/>
                      <a:pt x="1876" y="377"/>
                    </a:cubicBezTo>
                    <a:cubicBezTo>
                      <a:pt x="1876" y="377"/>
                      <a:pt x="1876" y="377"/>
                      <a:pt x="1876" y="377"/>
                    </a:cubicBezTo>
                    <a:cubicBezTo>
                      <a:pt x="1876" y="381"/>
                      <a:pt x="1876" y="381"/>
                      <a:pt x="1876" y="381"/>
                    </a:cubicBezTo>
                    <a:cubicBezTo>
                      <a:pt x="1876" y="381"/>
                      <a:pt x="1867" y="457"/>
                      <a:pt x="1858" y="534"/>
                    </a:cubicBezTo>
                    <a:cubicBezTo>
                      <a:pt x="1853" y="572"/>
                      <a:pt x="1848" y="611"/>
                      <a:pt x="1844" y="639"/>
                    </a:cubicBezTo>
                    <a:cubicBezTo>
                      <a:pt x="1842" y="654"/>
                      <a:pt x="1841" y="666"/>
                      <a:pt x="1839" y="674"/>
                    </a:cubicBezTo>
                    <a:cubicBezTo>
                      <a:pt x="1839" y="677"/>
                      <a:pt x="1838" y="680"/>
                      <a:pt x="1838" y="682"/>
                    </a:cubicBezTo>
                    <a:cubicBezTo>
                      <a:pt x="1846" y="686"/>
                      <a:pt x="1863" y="693"/>
                      <a:pt x="1879" y="700"/>
                    </a:cubicBezTo>
                    <a:cubicBezTo>
                      <a:pt x="1895" y="707"/>
                      <a:pt x="1911" y="713"/>
                      <a:pt x="1918" y="716"/>
                    </a:cubicBezTo>
                    <a:cubicBezTo>
                      <a:pt x="1945" y="703"/>
                      <a:pt x="2011" y="668"/>
                      <a:pt x="2075" y="635"/>
                    </a:cubicBezTo>
                    <a:cubicBezTo>
                      <a:pt x="2146" y="598"/>
                      <a:pt x="2216" y="561"/>
                      <a:pt x="2229" y="554"/>
                    </a:cubicBezTo>
                    <a:cubicBezTo>
                      <a:pt x="2236" y="537"/>
                      <a:pt x="2273" y="434"/>
                      <a:pt x="2311" y="330"/>
                    </a:cubicBezTo>
                    <a:cubicBezTo>
                      <a:pt x="2331" y="274"/>
                      <a:pt x="2353" y="217"/>
                      <a:pt x="2369" y="174"/>
                    </a:cubicBezTo>
                    <a:cubicBezTo>
                      <a:pt x="2377" y="153"/>
                      <a:pt x="2384" y="135"/>
                      <a:pt x="2390" y="122"/>
                    </a:cubicBezTo>
                    <a:cubicBezTo>
                      <a:pt x="2390" y="121"/>
                      <a:pt x="2391" y="120"/>
                      <a:pt x="2391" y="119"/>
                    </a:cubicBezTo>
                    <a:cubicBezTo>
                      <a:pt x="2348" y="88"/>
                      <a:pt x="2288" y="44"/>
                      <a:pt x="2226" y="0"/>
                    </a:cubicBezTo>
                    <a:cubicBezTo>
                      <a:pt x="2338" y="0"/>
                      <a:pt x="2338" y="0"/>
                      <a:pt x="2338" y="0"/>
                    </a:cubicBezTo>
                    <a:cubicBezTo>
                      <a:pt x="2387" y="35"/>
                      <a:pt x="2429" y="66"/>
                      <a:pt x="2457" y="85"/>
                    </a:cubicBezTo>
                    <a:cubicBezTo>
                      <a:pt x="2476" y="0"/>
                      <a:pt x="2476" y="0"/>
                      <a:pt x="2476" y="0"/>
                    </a:cubicBezTo>
                    <a:cubicBezTo>
                      <a:pt x="2490" y="0"/>
                      <a:pt x="2490" y="0"/>
                      <a:pt x="2490" y="0"/>
                    </a:cubicBezTo>
                    <a:cubicBezTo>
                      <a:pt x="2469" y="94"/>
                      <a:pt x="2469" y="94"/>
                      <a:pt x="2469" y="94"/>
                    </a:cubicBezTo>
                    <a:cubicBezTo>
                      <a:pt x="2556" y="156"/>
                      <a:pt x="2661" y="240"/>
                      <a:pt x="2815" y="259"/>
                    </a:cubicBezTo>
                    <a:cubicBezTo>
                      <a:pt x="2826" y="261"/>
                      <a:pt x="2838" y="261"/>
                      <a:pt x="2849" y="261"/>
                    </a:cubicBezTo>
                    <a:cubicBezTo>
                      <a:pt x="2922" y="262"/>
                      <a:pt x="2995" y="233"/>
                      <a:pt x="3059" y="197"/>
                    </a:cubicBezTo>
                    <a:cubicBezTo>
                      <a:pt x="3050" y="180"/>
                      <a:pt x="3036" y="149"/>
                      <a:pt x="3018" y="109"/>
                    </a:cubicBezTo>
                    <a:cubicBezTo>
                      <a:pt x="3004" y="77"/>
                      <a:pt x="2987" y="40"/>
                      <a:pt x="2970" y="0"/>
                    </a:cubicBezTo>
                    <a:cubicBezTo>
                      <a:pt x="2985" y="0"/>
                      <a:pt x="2985" y="0"/>
                      <a:pt x="2985" y="0"/>
                    </a:cubicBezTo>
                    <a:cubicBezTo>
                      <a:pt x="3004" y="43"/>
                      <a:pt x="3022" y="84"/>
                      <a:pt x="3037" y="117"/>
                    </a:cubicBezTo>
                    <a:cubicBezTo>
                      <a:pt x="3049" y="143"/>
                      <a:pt x="3059" y="165"/>
                      <a:pt x="3066" y="181"/>
                    </a:cubicBezTo>
                    <a:cubicBezTo>
                      <a:pt x="3068" y="184"/>
                      <a:pt x="3069" y="187"/>
                      <a:pt x="3071" y="190"/>
                    </a:cubicBezTo>
                    <a:cubicBezTo>
                      <a:pt x="3125" y="158"/>
                      <a:pt x="3173" y="123"/>
                      <a:pt x="3208" y="98"/>
                    </a:cubicBezTo>
                    <a:cubicBezTo>
                      <a:pt x="3259" y="64"/>
                      <a:pt x="3339" y="45"/>
                      <a:pt x="3410" y="30"/>
                    </a:cubicBezTo>
                    <a:cubicBezTo>
                      <a:pt x="3433" y="25"/>
                      <a:pt x="3455" y="22"/>
                      <a:pt x="3475" y="18"/>
                    </a:cubicBezTo>
                    <a:cubicBezTo>
                      <a:pt x="3468" y="12"/>
                      <a:pt x="3461" y="6"/>
                      <a:pt x="3454" y="0"/>
                    </a:cubicBezTo>
                    <a:cubicBezTo>
                      <a:pt x="3551" y="0"/>
                      <a:pt x="3551" y="0"/>
                      <a:pt x="3551" y="0"/>
                    </a:cubicBezTo>
                    <a:cubicBezTo>
                      <a:pt x="3630" y="75"/>
                      <a:pt x="3694" y="151"/>
                      <a:pt x="3700" y="158"/>
                    </a:cubicBezTo>
                    <a:cubicBezTo>
                      <a:pt x="3855" y="33"/>
                      <a:pt x="3855" y="33"/>
                      <a:pt x="3855" y="33"/>
                    </a:cubicBezTo>
                    <a:cubicBezTo>
                      <a:pt x="3858" y="33"/>
                      <a:pt x="3858" y="33"/>
                      <a:pt x="3858" y="33"/>
                    </a:cubicBezTo>
                    <a:cubicBezTo>
                      <a:pt x="3858" y="33"/>
                      <a:pt x="3874" y="36"/>
                      <a:pt x="3886" y="37"/>
                    </a:cubicBezTo>
                    <a:cubicBezTo>
                      <a:pt x="3883" y="0"/>
                      <a:pt x="3883" y="0"/>
                      <a:pt x="3883" y="0"/>
                    </a:cubicBezTo>
                    <a:cubicBezTo>
                      <a:pt x="3900" y="0"/>
                      <a:pt x="3900" y="0"/>
                      <a:pt x="3900" y="0"/>
                    </a:cubicBezTo>
                    <a:cubicBezTo>
                      <a:pt x="3903" y="40"/>
                      <a:pt x="3903" y="40"/>
                      <a:pt x="3903" y="40"/>
                    </a:cubicBezTo>
                    <a:cubicBezTo>
                      <a:pt x="3903" y="40"/>
                      <a:pt x="3904" y="40"/>
                      <a:pt x="3905" y="41"/>
                    </a:cubicBezTo>
                    <a:cubicBezTo>
                      <a:pt x="3905" y="41"/>
                      <a:pt x="3906" y="42"/>
                      <a:pt x="3906" y="42"/>
                    </a:cubicBezTo>
                    <a:cubicBezTo>
                      <a:pt x="3917" y="53"/>
                      <a:pt x="4009" y="139"/>
                      <a:pt x="4087" y="211"/>
                    </a:cubicBezTo>
                    <a:cubicBezTo>
                      <a:pt x="4105" y="200"/>
                      <a:pt x="4159" y="163"/>
                      <a:pt x="4170" y="155"/>
                    </a:cubicBezTo>
                    <a:cubicBezTo>
                      <a:pt x="4223" y="0"/>
                      <a:pt x="4223" y="0"/>
                      <a:pt x="4223" y="0"/>
                    </a:cubicBezTo>
                    <a:cubicBezTo>
                      <a:pt x="4240" y="0"/>
                      <a:pt x="4240" y="0"/>
                      <a:pt x="4240" y="0"/>
                    </a:cubicBezTo>
                    <a:cubicBezTo>
                      <a:pt x="4184" y="166"/>
                      <a:pt x="4184" y="166"/>
                      <a:pt x="4184" y="166"/>
                    </a:cubicBezTo>
                    <a:cubicBezTo>
                      <a:pt x="4182" y="167"/>
                      <a:pt x="4182" y="167"/>
                      <a:pt x="4182" y="167"/>
                    </a:cubicBezTo>
                    <a:cubicBezTo>
                      <a:pt x="4182" y="167"/>
                      <a:pt x="4160" y="183"/>
                      <a:pt x="4137" y="198"/>
                    </a:cubicBezTo>
                    <a:cubicBezTo>
                      <a:pt x="4126" y="205"/>
                      <a:pt x="4114" y="213"/>
                      <a:pt x="4105" y="219"/>
                    </a:cubicBezTo>
                    <a:cubicBezTo>
                      <a:pt x="4103" y="221"/>
                      <a:pt x="4101" y="222"/>
                      <a:pt x="4099" y="223"/>
                    </a:cubicBezTo>
                    <a:cubicBezTo>
                      <a:pt x="4150" y="270"/>
                      <a:pt x="4192" y="310"/>
                      <a:pt x="4199" y="316"/>
                    </a:cubicBezTo>
                    <a:cubicBezTo>
                      <a:pt x="4205" y="312"/>
                      <a:pt x="4212" y="309"/>
                      <a:pt x="4220" y="305"/>
                    </a:cubicBezTo>
                    <a:cubicBezTo>
                      <a:pt x="4262" y="284"/>
                      <a:pt x="4312" y="255"/>
                      <a:pt x="4340" y="228"/>
                    </a:cubicBezTo>
                    <a:cubicBezTo>
                      <a:pt x="4365" y="205"/>
                      <a:pt x="4399" y="146"/>
                      <a:pt x="4428" y="64"/>
                    </a:cubicBezTo>
                    <a:cubicBezTo>
                      <a:pt x="4435" y="44"/>
                      <a:pt x="4442" y="23"/>
                      <a:pt x="4448" y="0"/>
                    </a:cubicBezTo>
                    <a:cubicBezTo>
                      <a:pt x="4516" y="0"/>
                      <a:pt x="4516" y="0"/>
                      <a:pt x="4516" y="0"/>
                    </a:cubicBezTo>
                    <a:cubicBezTo>
                      <a:pt x="4508" y="30"/>
                      <a:pt x="4499" y="60"/>
                      <a:pt x="4489" y="86"/>
                    </a:cubicBezTo>
                    <a:cubicBezTo>
                      <a:pt x="4459" y="173"/>
                      <a:pt x="4425" y="238"/>
                      <a:pt x="4384" y="276"/>
                    </a:cubicBezTo>
                    <a:cubicBezTo>
                      <a:pt x="4376" y="285"/>
                      <a:pt x="4366" y="293"/>
                      <a:pt x="4355" y="300"/>
                    </a:cubicBezTo>
                    <a:cubicBezTo>
                      <a:pt x="4408" y="544"/>
                      <a:pt x="4408" y="544"/>
                      <a:pt x="4408" y="544"/>
                    </a:cubicBezTo>
                    <a:cubicBezTo>
                      <a:pt x="4754" y="326"/>
                      <a:pt x="4754" y="326"/>
                      <a:pt x="4754" y="326"/>
                    </a:cubicBezTo>
                    <a:cubicBezTo>
                      <a:pt x="4895" y="378"/>
                      <a:pt x="4895" y="378"/>
                      <a:pt x="4895" y="378"/>
                    </a:cubicBezTo>
                    <a:cubicBezTo>
                      <a:pt x="5163" y="211"/>
                      <a:pt x="5163" y="211"/>
                      <a:pt x="5163" y="211"/>
                    </a:cubicBezTo>
                    <a:cubicBezTo>
                      <a:pt x="5093" y="64"/>
                      <a:pt x="5093" y="64"/>
                      <a:pt x="5093" y="64"/>
                    </a:cubicBezTo>
                    <a:cubicBezTo>
                      <a:pt x="5092" y="63"/>
                      <a:pt x="5092" y="63"/>
                      <a:pt x="5092" y="63"/>
                    </a:cubicBezTo>
                    <a:cubicBezTo>
                      <a:pt x="5092" y="63"/>
                      <a:pt x="5092" y="58"/>
                      <a:pt x="5092" y="49"/>
                    </a:cubicBezTo>
                    <a:cubicBezTo>
                      <a:pt x="5092" y="51"/>
                      <a:pt x="5092" y="51"/>
                      <a:pt x="5092" y="51"/>
                    </a:cubicBezTo>
                    <a:cubicBezTo>
                      <a:pt x="4837" y="0"/>
                      <a:pt x="4837" y="0"/>
                      <a:pt x="4837" y="0"/>
                    </a:cubicBezTo>
                    <a:cubicBezTo>
                      <a:pt x="4908" y="0"/>
                      <a:pt x="4908" y="0"/>
                      <a:pt x="4908" y="0"/>
                    </a:cubicBezTo>
                    <a:cubicBezTo>
                      <a:pt x="5092" y="37"/>
                      <a:pt x="5092" y="37"/>
                      <a:pt x="5092" y="37"/>
                    </a:cubicBezTo>
                    <a:cubicBezTo>
                      <a:pt x="5092" y="27"/>
                      <a:pt x="5091" y="14"/>
                      <a:pt x="5091" y="0"/>
                    </a:cubicBezTo>
                    <a:cubicBezTo>
                      <a:pt x="5105" y="0"/>
                      <a:pt x="5105" y="0"/>
                      <a:pt x="5105" y="0"/>
                    </a:cubicBezTo>
                    <a:cubicBezTo>
                      <a:pt x="5106" y="31"/>
                      <a:pt x="5106" y="55"/>
                      <a:pt x="5106" y="61"/>
                    </a:cubicBezTo>
                    <a:cubicBezTo>
                      <a:pt x="5175" y="204"/>
                      <a:pt x="5175" y="204"/>
                      <a:pt x="5175" y="204"/>
                    </a:cubicBezTo>
                    <a:cubicBezTo>
                      <a:pt x="5255" y="154"/>
                      <a:pt x="5255" y="154"/>
                      <a:pt x="5255" y="154"/>
                    </a:cubicBezTo>
                    <a:cubicBezTo>
                      <a:pt x="5680" y="160"/>
                      <a:pt x="5680" y="160"/>
                      <a:pt x="5680" y="160"/>
                    </a:cubicBezTo>
                    <a:cubicBezTo>
                      <a:pt x="5708" y="0"/>
                      <a:pt x="5708" y="0"/>
                      <a:pt x="5708" y="0"/>
                    </a:cubicBezTo>
                    <a:cubicBezTo>
                      <a:pt x="5774" y="0"/>
                      <a:pt x="5774" y="0"/>
                      <a:pt x="5774" y="0"/>
                    </a:cubicBezTo>
                    <a:cubicBezTo>
                      <a:pt x="5743" y="175"/>
                      <a:pt x="5743" y="175"/>
                      <a:pt x="5743" y="175"/>
                    </a:cubicBezTo>
                    <a:cubicBezTo>
                      <a:pt x="5954" y="297"/>
                      <a:pt x="5954" y="297"/>
                      <a:pt x="5954" y="297"/>
                    </a:cubicBezTo>
                    <a:cubicBezTo>
                      <a:pt x="6001" y="250"/>
                      <a:pt x="6001" y="250"/>
                      <a:pt x="6001" y="250"/>
                    </a:cubicBezTo>
                    <a:cubicBezTo>
                      <a:pt x="6006" y="254"/>
                      <a:pt x="6006" y="254"/>
                      <a:pt x="6006" y="254"/>
                    </a:cubicBezTo>
                    <a:cubicBezTo>
                      <a:pt x="6006" y="254"/>
                      <a:pt x="6055" y="294"/>
                      <a:pt x="6103" y="335"/>
                    </a:cubicBezTo>
                    <a:cubicBezTo>
                      <a:pt x="6128" y="355"/>
                      <a:pt x="6152" y="376"/>
                      <a:pt x="6170" y="391"/>
                    </a:cubicBezTo>
                    <a:cubicBezTo>
                      <a:pt x="6179" y="399"/>
                      <a:pt x="6187" y="405"/>
                      <a:pt x="6192" y="410"/>
                    </a:cubicBezTo>
                    <a:cubicBezTo>
                      <a:pt x="6195" y="412"/>
                      <a:pt x="6197" y="414"/>
                      <a:pt x="6198" y="415"/>
                    </a:cubicBezTo>
                    <a:cubicBezTo>
                      <a:pt x="6199" y="416"/>
                      <a:pt x="6200" y="417"/>
                      <a:pt x="6200" y="417"/>
                    </a:cubicBezTo>
                    <a:cubicBezTo>
                      <a:pt x="6200" y="417"/>
                      <a:pt x="6201" y="418"/>
                      <a:pt x="6201" y="418"/>
                    </a:cubicBezTo>
                    <a:cubicBezTo>
                      <a:pt x="6201" y="418"/>
                      <a:pt x="6201" y="418"/>
                      <a:pt x="6201" y="418"/>
                    </a:cubicBezTo>
                    <a:cubicBezTo>
                      <a:pt x="6245" y="368"/>
                      <a:pt x="6245" y="368"/>
                      <a:pt x="6245" y="368"/>
                    </a:cubicBezTo>
                    <a:cubicBezTo>
                      <a:pt x="6241" y="364"/>
                      <a:pt x="6241" y="364"/>
                      <a:pt x="6241" y="364"/>
                    </a:cubicBezTo>
                    <a:cubicBezTo>
                      <a:pt x="6241" y="360"/>
                      <a:pt x="6241" y="360"/>
                      <a:pt x="6241" y="360"/>
                    </a:cubicBezTo>
                    <a:cubicBezTo>
                      <a:pt x="6241" y="360"/>
                      <a:pt x="6248" y="303"/>
                      <a:pt x="6255" y="244"/>
                    </a:cubicBezTo>
                    <a:cubicBezTo>
                      <a:pt x="6259" y="215"/>
                      <a:pt x="6263" y="185"/>
                      <a:pt x="6266" y="163"/>
                    </a:cubicBezTo>
                    <a:cubicBezTo>
                      <a:pt x="6267" y="151"/>
                      <a:pt x="6269" y="142"/>
                      <a:pt x="6270" y="135"/>
                    </a:cubicBezTo>
                    <a:cubicBezTo>
                      <a:pt x="6270" y="132"/>
                      <a:pt x="6270" y="131"/>
                      <a:pt x="6271" y="129"/>
                    </a:cubicBezTo>
                    <a:cubicBezTo>
                      <a:pt x="6244" y="121"/>
                      <a:pt x="6133" y="86"/>
                      <a:pt x="6023" y="52"/>
                    </a:cubicBezTo>
                    <a:cubicBezTo>
                      <a:pt x="5963" y="33"/>
                      <a:pt x="5904" y="14"/>
                      <a:pt x="5857" y="0"/>
                    </a:cubicBezTo>
                    <a:cubicBezTo>
                      <a:pt x="5904" y="0"/>
                      <a:pt x="5904" y="0"/>
                      <a:pt x="5904" y="0"/>
                    </a:cubicBezTo>
                    <a:cubicBezTo>
                      <a:pt x="5944" y="13"/>
                      <a:pt x="5990" y="27"/>
                      <a:pt x="6036" y="41"/>
                    </a:cubicBezTo>
                    <a:cubicBezTo>
                      <a:pt x="6150" y="77"/>
                      <a:pt x="6263" y="112"/>
                      <a:pt x="6279" y="117"/>
                    </a:cubicBezTo>
                    <a:cubicBezTo>
                      <a:pt x="6362" y="92"/>
                      <a:pt x="6362" y="92"/>
                      <a:pt x="6362" y="92"/>
                    </a:cubicBezTo>
                    <a:cubicBezTo>
                      <a:pt x="6364" y="93"/>
                      <a:pt x="6364" y="93"/>
                      <a:pt x="6364" y="93"/>
                    </a:cubicBezTo>
                    <a:cubicBezTo>
                      <a:pt x="6364" y="93"/>
                      <a:pt x="6414" y="106"/>
                      <a:pt x="6465" y="119"/>
                    </a:cubicBezTo>
                    <a:cubicBezTo>
                      <a:pt x="6490" y="125"/>
                      <a:pt x="6516" y="132"/>
                      <a:pt x="6536" y="137"/>
                    </a:cubicBezTo>
                    <a:cubicBezTo>
                      <a:pt x="6545" y="139"/>
                      <a:pt x="6554" y="141"/>
                      <a:pt x="6560" y="143"/>
                    </a:cubicBezTo>
                    <a:cubicBezTo>
                      <a:pt x="6561" y="143"/>
                      <a:pt x="6562" y="143"/>
                      <a:pt x="6563" y="144"/>
                    </a:cubicBezTo>
                    <a:cubicBezTo>
                      <a:pt x="6565" y="142"/>
                      <a:pt x="6567" y="140"/>
                      <a:pt x="6569" y="138"/>
                    </a:cubicBezTo>
                    <a:cubicBezTo>
                      <a:pt x="6580" y="126"/>
                      <a:pt x="6601" y="109"/>
                      <a:pt x="6601" y="109"/>
                    </a:cubicBezTo>
                    <a:cubicBezTo>
                      <a:pt x="6604" y="107"/>
                      <a:pt x="6604" y="107"/>
                      <a:pt x="6604" y="107"/>
                    </a:cubicBezTo>
                    <a:cubicBezTo>
                      <a:pt x="6738" y="135"/>
                      <a:pt x="6738" y="135"/>
                      <a:pt x="6738" y="135"/>
                    </a:cubicBezTo>
                    <a:cubicBezTo>
                      <a:pt x="6763" y="0"/>
                      <a:pt x="6763" y="0"/>
                      <a:pt x="6763" y="0"/>
                    </a:cubicBezTo>
                    <a:cubicBezTo>
                      <a:pt x="6776" y="0"/>
                      <a:pt x="6776" y="0"/>
                      <a:pt x="6776" y="0"/>
                    </a:cubicBezTo>
                    <a:cubicBezTo>
                      <a:pt x="6751" y="138"/>
                      <a:pt x="6751" y="138"/>
                      <a:pt x="6751" y="138"/>
                    </a:cubicBezTo>
                    <a:cubicBezTo>
                      <a:pt x="6879" y="164"/>
                      <a:pt x="6879" y="164"/>
                      <a:pt x="6879" y="164"/>
                    </a:cubicBezTo>
                    <a:cubicBezTo>
                      <a:pt x="6907" y="8"/>
                      <a:pt x="6907" y="8"/>
                      <a:pt x="6907" y="8"/>
                    </a:cubicBezTo>
                    <a:cubicBezTo>
                      <a:pt x="6846" y="0"/>
                      <a:pt x="6846" y="0"/>
                      <a:pt x="6846" y="0"/>
                    </a:cubicBezTo>
                    <a:cubicBezTo>
                      <a:pt x="6954" y="0"/>
                      <a:pt x="6954" y="0"/>
                      <a:pt x="6954" y="0"/>
                    </a:cubicBezTo>
                    <a:cubicBezTo>
                      <a:pt x="7002" y="6"/>
                      <a:pt x="7002" y="6"/>
                      <a:pt x="7002" y="6"/>
                    </a:cubicBezTo>
                    <a:cubicBezTo>
                      <a:pt x="7003" y="0"/>
                      <a:pt x="7003" y="0"/>
                      <a:pt x="7003" y="0"/>
                    </a:cubicBezTo>
                    <a:cubicBezTo>
                      <a:pt x="7069" y="0"/>
                      <a:pt x="7069" y="0"/>
                      <a:pt x="7069" y="0"/>
                    </a:cubicBezTo>
                    <a:cubicBezTo>
                      <a:pt x="7041" y="190"/>
                      <a:pt x="7041" y="190"/>
                      <a:pt x="7041" y="190"/>
                    </a:cubicBezTo>
                    <a:cubicBezTo>
                      <a:pt x="7234" y="146"/>
                      <a:pt x="7234" y="146"/>
                      <a:pt x="7234" y="146"/>
                    </a:cubicBezTo>
                    <a:cubicBezTo>
                      <a:pt x="7227" y="126"/>
                      <a:pt x="7219" y="57"/>
                      <a:pt x="7213" y="0"/>
                    </a:cubicBezTo>
                    <a:cubicBezTo>
                      <a:pt x="7227" y="0"/>
                      <a:pt x="7227" y="0"/>
                      <a:pt x="7227" y="0"/>
                    </a:cubicBezTo>
                    <a:cubicBezTo>
                      <a:pt x="7228" y="10"/>
                      <a:pt x="7230" y="21"/>
                      <a:pt x="7231" y="32"/>
                    </a:cubicBezTo>
                    <a:cubicBezTo>
                      <a:pt x="7234" y="61"/>
                      <a:pt x="7238" y="90"/>
                      <a:pt x="7241" y="112"/>
                    </a:cubicBezTo>
                    <a:cubicBezTo>
                      <a:pt x="7243" y="122"/>
                      <a:pt x="7244" y="131"/>
                      <a:pt x="7246" y="137"/>
                    </a:cubicBezTo>
                    <a:cubicBezTo>
                      <a:pt x="7246" y="140"/>
                      <a:pt x="7247" y="141"/>
                      <a:pt x="7247" y="143"/>
                    </a:cubicBezTo>
                    <a:cubicBezTo>
                      <a:pt x="7537" y="76"/>
                      <a:pt x="7537" y="76"/>
                      <a:pt x="7537" y="76"/>
                    </a:cubicBezTo>
                    <a:cubicBezTo>
                      <a:pt x="7527" y="63"/>
                      <a:pt x="7497" y="32"/>
                      <a:pt x="7464" y="0"/>
                    </a:cubicBezTo>
                    <a:cubicBezTo>
                      <a:pt x="7484" y="0"/>
                      <a:pt x="7484" y="0"/>
                      <a:pt x="7484" y="0"/>
                    </a:cubicBezTo>
                    <a:cubicBezTo>
                      <a:pt x="7498" y="14"/>
                      <a:pt x="7512" y="28"/>
                      <a:pt x="7523" y="39"/>
                    </a:cubicBezTo>
                    <a:cubicBezTo>
                      <a:pt x="7532" y="49"/>
                      <a:pt x="7540" y="57"/>
                      <a:pt x="7545" y="63"/>
                    </a:cubicBezTo>
                    <a:cubicBezTo>
                      <a:pt x="7548" y="67"/>
                      <a:pt x="7550" y="69"/>
                      <a:pt x="7551" y="71"/>
                    </a:cubicBezTo>
                    <a:cubicBezTo>
                      <a:pt x="7693" y="0"/>
                      <a:pt x="7693" y="0"/>
                      <a:pt x="7693" y="0"/>
                    </a:cubicBezTo>
                    <a:cubicBezTo>
                      <a:pt x="7723" y="0"/>
                      <a:pt x="7723" y="0"/>
                      <a:pt x="7723" y="0"/>
                    </a:cubicBezTo>
                    <a:cubicBezTo>
                      <a:pt x="7550" y="87"/>
                      <a:pt x="7550" y="87"/>
                      <a:pt x="7550" y="87"/>
                    </a:cubicBezTo>
                    <a:cubicBezTo>
                      <a:pt x="7039" y="205"/>
                      <a:pt x="7039" y="205"/>
                      <a:pt x="7039" y="205"/>
                    </a:cubicBezTo>
                    <a:cubicBezTo>
                      <a:pt x="7031" y="258"/>
                      <a:pt x="7031" y="258"/>
                      <a:pt x="7031" y="258"/>
                    </a:cubicBezTo>
                    <a:cubicBezTo>
                      <a:pt x="6966" y="249"/>
                      <a:pt x="6966" y="249"/>
                      <a:pt x="6966" y="249"/>
                    </a:cubicBezTo>
                    <a:cubicBezTo>
                      <a:pt x="6974" y="198"/>
                      <a:pt x="6974" y="198"/>
                      <a:pt x="6974" y="198"/>
                    </a:cubicBezTo>
                    <a:cubicBezTo>
                      <a:pt x="6889" y="180"/>
                      <a:pt x="6889" y="180"/>
                      <a:pt x="6889" y="180"/>
                    </a:cubicBezTo>
                    <a:cubicBezTo>
                      <a:pt x="6878" y="241"/>
                      <a:pt x="6878" y="241"/>
                      <a:pt x="6878" y="241"/>
                    </a:cubicBezTo>
                    <a:cubicBezTo>
                      <a:pt x="6724" y="215"/>
                      <a:pt x="6724" y="215"/>
                      <a:pt x="6724" y="215"/>
                    </a:cubicBezTo>
                    <a:cubicBezTo>
                      <a:pt x="6736" y="149"/>
                      <a:pt x="6736" y="149"/>
                      <a:pt x="6736" y="149"/>
                    </a:cubicBezTo>
                    <a:cubicBezTo>
                      <a:pt x="6607" y="122"/>
                      <a:pt x="6607" y="122"/>
                      <a:pt x="6607" y="122"/>
                    </a:cubicBezTo>
                    <a:cubicBezTo>
                      <a:pt x="6604" y="125"/>
                      <a:pt x="6597" y="130"/>
                      <a:pt x="6591" y="136"/>
                    </a:cubicBezTo>
                    <a:cubicBezTo>
                      <a:pt x="6586" y="140"/>
                      <a:pt x="6582" y="144"/>
                      <a:pt x="6579" y="147"/>
                    </a:cubicBezTo>
                    <a:cubicBezTo>
                      <a:pt x="6577" y="149"/>
                      <a:pt x="6576" y="150"/>
                      <a:pt x="6575" y="151"/>
                    </a:cubicBezTo>
                    <a:cubicBezTo>
                      <a:pt x="6575" y="151"/>
                      <a:pt x="6575" y="152"/>
                      <a:pt x="6575" y="152"/>
                    </a:cubicBezTo>
                    <a:cubicBezTo>
                      <a:pt x="6576" y="154"/>
                      <a:pt x="6574" y="156"/>
                      <a:pt x="6573" y="157"/>
                    </a:cubicBezTo>
                    <a:cubicBezTo>
                      <a:pt x="6569" y="159"/>
                      <a:pt x="6569" y="159"/>
                      <a:pt x="6569" y="159"/>
                    </a:cubicBezTo>
                    <a:cubicBezTo>
                      <a:pt x="6568" y="159"/>
                      <a:pt x="6568" y="159"/>
                      <a:pt x="6568" y="159"/>
                    </a:cubicBezTo>
                    <a:cubicBezTo>
                      <a:pt x="6562" y="158"/>
                      <a:pt x="6513" y="146"/>
                      <a:pt x="6462" y="132"/>
                    </a:cubicBezTo>
                    <a:cubicBezTo>
                      <a:pt x="6416" y="121"/>
                      <a:pt x="6372" y="109"/>
                      <a:pt x="6362" y="107"/>
                    </a:cubicBezTo>
                    <a:cubicBezTo>
                      <a:pt x="6285" y="130"/>
                      <a:pt x="6285" y="130"/>
                      <a:pt x="6285" y="130"/>
                    </a:cubicBezTo>
                    <a:cubicBezTo>
                      <a:pt x="6282" y="143"/>
                      <a:pt x="6275" y="197"/>
                      <a:pt x="6269" y="248"/>
                    </a:cubicBezTo>
                    <a:cubicBezTo>
                      <a:pt x="6263" y="296"/>
                      <a:pt x="6257" y="342"/>
                      <a:pt x="6256" y="357"/>
                    </a:cubicBezTo>
                    <a:cubicBezTo>
                      <a:pt x="6263" y="363"/>
                      <a:pt x="6263" y="363"/>
                      <a:pt x="6263" y="363"/>
                    </a:cubicBezTo>
                    <a:cubicBezTo>
                      <a:pt x="6503" y="539"/>
                      <a:pt x="6503" y="539"/>
                      <a:pt x="6503" y="539"/>
                    </a:cubicBezTo>
                    <a:cubicBezTo>
                      <a:pt x="6505" y="535"/>
                      <a:pt x="6507" y="532"/>
                      <a:pt x="6510" y="528"/>
                    </a:cubicBezTo>
                    <a:cubicBezTo>
                      <a:pt x="6539" y="488"/>
                      <a:pt x="6565" y="453"/>
                      <a:pt x="6599" y="421"/>
                    </a:cubicBezTo>
                    <a:cubicBezTo>
                      <a:pt x="6613" y="408"/>
                      <a:pt x="6628" y="395"/>
                      <a:pt x="6645" y="384"/>
                    </a:cubicBezTo>
                    <a:cubicBezTo>
                      <a:pt x="6645" y="383"/>
                      <a:pt x="6645" y="383"/>
                      <a:pt x="6645" y="383"/>
                    </a:cubicBezTo>
                    <a:cubicBezTo>
                      <a:pt x="6645" y="383"/>
                      <a:pt x="6645" y="383"/>
                      <a:pt x="6645" y="383"/>
                    </a:cubicBezTo>
                    <a:cubicBezTo>
                      <a:pt x="6640" y="387"/>
                      <a:pt x="6640" y="387"/>
                      <a:pt x="6640" y="387"/>
                    </a:cubicBezTo>
                    <a:cubicBezTo>
                      <a:pt x="6640" y="387"/>
                      <a:pt x="6640" y="387"/>
                      <a:pt x="6640" y="387"/>
                    </a:cubicBezTo>
                    <a:cubicBezTo>
                      <a:pt x="6633" y="381"/>
                      <a:pt x="6588" y="353"/>
                      <a:pt x="6544" y="325"/>
                    </a:cubicBezTo>
                    <a:cubicBezTo>
                      <a:pt x="6523" y="311"/>
                      <a:pt x="6501" y="298"/>
                      <a:pt x="6486" y="287"/>
                    </a:cubicBezTo>
                    <a:cubicBezTo>
                      <a:pt x="6478" y="282"/>
                      <a:pt x="6471" y="278"/>
                      <a:pt x="6466" y="274"/>
                    </a:cubicBezTo>
                    <a:cubicBezTo>
                      <a:pt x="6464" y="273"/>
                      <a:pt x="6462" y="271"/>
                      <a:pt x="6461" y="270"/>
                    </a:cubicBezTo>
                    <a:cubicBezTo>
                      <a:pt x="6460" y="269"/>
                      <a:pt x="6459" y="269"/>
                      <a:pt x="6458" y="268"/>
                    </a:cubicBezTo>
                    <a:cubicBezTo>
                      <a:pt x="6433" y="261"/>
                      <a:pt x="6274" y="226"/>
                      <a:pt x="6274" y="226"/>
                    </a:cubicBezTo>
                    <a:cubicBezTo>
                      <a:pt x="6277" y="213"/>
                      <a:pt x="6277" y="213"/>
                      <a:pt x="6277" y="213"/>
                    </a:cubicBezTo>
                    <a:cubicBezTo>
                      <a:pt x="6277" y="213"/>
                      <a:pt x="6324" y="223"/>
                      <a:pt x="6371" y="233"/>
                    </a:cubicBezTo>
                    <a:cubicBezTo>
                      <a:pt x="6395" y="239"/>
                      <a:pt x="6418" y="244"/>
                      <a:pt x="6436" y="248"/>
                    </a:cubicBezTo>
                    <a:cubicBezTo>
                      <a:pt x="6445" y="250"/>
                      <a:pt x="6452" y="252"/>
                      <a:pt x="6458" y="253"/>
                    </a:cubicBezTo>
                    <a:cubicBezTo>
                      <a:pt x="6460" y="254"/>
                      <a:pt x="6462" y="255"/>
                      <a:pt x="6464" y="255"/>
                    </a:cubicBezTo>
                    <a:cubicBezTo>
                      <a:pt x="6465" y="255"/>
                      <a:pt x="6465" y="255"/>
                      <a:pt x="6466" y="256"/>
                    </a:cubicBezTo>
                    <a:cubicBezTo>
                      <a:pt x="6466" y="256"/>
                      <a:pt x="6467" y="256"/>
                      <a:pt x="6467" y="256"/>
                    </a:cubicBezTo>
                    <a:cubicBezTo>
                      <a:pt x="6467" y="257"/>
                      <a:pt x="6469" y="256"/>
                      <a:pt x="6470" y="260"/>
                    </a:cubicBezTo>
                    <a:cubicBezTo>
                      <a:pt x="6479" y="267"/>
                      <a:pt x="6522" y="295"/>
                      <a:pt x="6562" y="320"/>
                    </a:cubicBezTo>
                    <a:cubicBezTo>
                      <a:pt x="6584" y="334"/>
                      <a:pt x="6606" y="348"/>
                      <a:pt x="6622" y="358"/>
                    </a:cubicBezTo>
                    <a:cubicBezTo>
                      <a:pt x="6630" y="364"/>
                      <a:pt x="6637" y="368"/>
                      <a:pt x="6642" y="371"/>
                    </a:cubicBezTo>
                    <a:cubicBezTo>
                      <a:pt x="6644" y="373"/>
                      <a:pt x="6646" y="374"/>
                      <a:pt x="6648" y="375"/>
                    </a:cubicBezTo>
                    <a:cubicBezTo>
                      <a:pt x="6648" y="376"/>
                      <a:pt x="6649" y="376"/>
                      <a:pt x="6650" y="377"/>
                    </a:cubicBezTo>
                    <a:cubicBezTo>
                      <a:pt x="6650" y="378"/>
                      <a:pt x="6651" y="377"/>
                      <a:pt x="6652" y="380"/>
                    </a:cubicBezTo>
                    <a:cubicBezTo>
                      <a:pt x="6694" y="352"/>
                      <a:pt x="6746" y="331"/>
                      <a:pt x="6812" y="311"/>
                    </a:cubicBezTo>
                    <a:cubicBezTo>
                      <a:pt x="6910" y="283"/>
                      <a:pt x="7046" y="255"/>
                      <a:pt x="7259" y="214"/>
                    </a:cubicBezTo>
                    <a:cubicBezTo>
                      <a:pt x="7502" y="168"/>
                      <a:pt x="7694" y="89"/>
                      <a:pt x="7841" y="0"/>
                    </a:cubicBezTo>
                    <a:cubicBezTo>
                      <a:pt x="7872" y="0"/>
                      <a:pt x="7872" y="0"/>
                      <a:pt x="7872" y="0"/>
                    </a:cubicBezTo>
                    <a:cubicBezTo>
                      <a:pt x="7719" y="96"/>
                      <a:pt x="7520" y="181"/>
                      <a:pt x="7262" y="230"/>
                    </a:cubicBezTo>
                    <a:cubicBezTo>
                      <a:pt x="7050" y="271"/>
                      <a:pt x="6914" y="299"/>
                      <a:pt x="6817" y="327"/>
                    </a:cubicBezTo>
                    <a:cubicBezTo>
                      <a:pt x="6721" y="355"/>
                      <a:pt x="6659" y="387"/>
                      <a:pt x="6610" y="433"/>
                    </a:cubicBezTo>
                    <a:cubicBezTo>
                      <a:pt x="6578" y="464"/>
                      <a:pt x="6553" y="498"/>
                      <a:pt x="6523" y="538"/>
                    </a:cubicBezTo>
                    <a:cubicBezTo>
                      <a:pt x="6521" y="541"/>
                      <a:pt x="6518" y="545"/>
                      <a:pt x="6516" y="549"/>
                    </a:cubicBezTo>
                    <a:cubicBezTo>
                      <a:pt x="6517" y="550"/>
                      <a:pt x="6517" y="550"/>
                      <a:pt x="6517" y="550"/>
                    </a:cubicBezTo>
                    <a:cubicBezTo>
                      <a:pt x="6509" y="561"/>
                      <a:pt x="6509" y="561"/>
                      <a:pt x="6509" y="561"/>
                    </a:cubicBezTo>
                    <a:cubicBezTo>
                      <a:pt x="6508" y="560"/>
                      <a:pt x="6508" y="560"/>
                      <a:pt x="6508" y="560"/>
                    </a:cubicBezTo>
                    <a:cubicBezTo>
                      <a:pt x="6484" y="597"/>
                      <a:pt x="6467" y="637"/>
                      <a:pt x="6452" y="677"/>
                    </a:cubicBezTo>
                    <a:cubicBezTo>
                      <a:pt x="6455" y="678"/>
                      <a:pt x="6455" y="678"/>
                      <a:pt x="6455" y="678"/>
                    </a:cubicBezTo>
                    <a:cubicBezTo>
                      <a:pt x="6448" y="691"/>
                      <a:pt x="6448" y="691"/>
                      <a:pt x="6448" y="691"/>
                    </a:cubicBezTo>
                    <a:cubicBezTo>
                      <a:pt x="6448" y="690"/>
                      <a:pt x="6448" y="690"/>
                      <a:pt x="6448" y="690"/>
                    </a:cubicBezTo>
                    <a:cubicBezTo>
                      <a:pt x="6439" y="717"/>
                      <a:pt x="6431" y="744"/>
                      <a:pt x="6424" y="771"/>
                    </a:cubicBezTo>
                    <a:cubicBezTo>
                      <a:pt x="6419" y="786"/>
                      <a:pt x="6415" y="801"/>
                      <a:pt x="6411" y="816"/>
                    </a:cubicBezTo>
                    <a:cubicBezTo>
                      <a:pt x="6463" y="820"/>
                      <a:pt x="6506" y="823"/>
                      <a:pt x="6536" y="825"/>
                    </a:cubicBezTo>
                    <a:cubicBezTo>
                      <a:pt x="6558" y="743"/>
                      <a:pt x="6582" y="664"/>
                      <a:pt x="6622" y="611"/>
                    </a:cubicBezTo>
                    <a:cubicBezTo>
                      <a:pt x="6652" y="571"/>
                      <a:pt x="6673" y="543"/>
                      <a:pt x="6695" y="523"/>
                    </a:cubicBezTo>
                    <a:cubicBezTo>
                      <a:pt x="6716" y="502"/>
                      <a:pt x="6739" y="487"/>
                      <a:pt x="6779" y="470"/>
                    </a:cubicBezTo>
                    <a:cubicBezTo>
                      <a:pt x="6858" y="437"/>
                      <a:pt x="7003" y="405"/>
                      <a:pt x="7285" y="351"/>
                    </a:cubicBezTo>
                    <a:cubicBezTo>
                      <a:pt x="7643" y="282"/>
                      <a:pt x="7903" y="148"/>
                      <a:pt x="8082" y="0"/>
                    </a:cubicBezTo>
                    <a:cubicBezTo>
                      <a:pt x="8107" y="0"/>
                      <a:pt x="8107" y="0"/>
                      <a:pt x="8107" y="0"/>
                    </a:cubicBezTo>
                    <a:cubicBezTo>
                      <a:pt x="7925" y="155"/>
                      <a:pt x="7659" y="296"/>
                      <a:pt x="7288" y="367"/>
                    </a:cubicBezTo>
                    <a:cubicBezTo>
                      <a:pt x="7006" y="421"/>
                      <a:pt x="6861" y="453"/>
                      <a:pt x="6785" y="485"/>
                    </a:cubicBezTo>
                    <a:cubicBezTo>
                      <a:pt x="6747" y="502"/>
                      <a:pt x="6726" y="515"/>
                      <a:pt x="6706" y="534"/>
                    </a:cubicBezTo>
                    <a:cubicBezTo>
                      <a:pt x="6685" y="553"/>
                      <a:pt x="6665" y="581"/>
                      <a:pt x="6635" y="620"/>
                    </a:cubicBezTo>
                    <a:cubicBezTo>
                      <a:pt x="6599" y="669"/>
                      <a:pt x="6575" y="746"/>
                      <a:pt x="6553" y="826"/>
                    </a:cubicBezTo>
                    <a:cubicBezTo>
                      <a:pt x="6573" y="827"/>
                      <a:pt x="6586" y="828"/>
                      <a:pt x="6589" y="828"/>
                    </a:cubicBezTo>
                    <a:cubicBezTo>
                      <a:pt x="6600" y="829"/>
                      <a:pt x="6611" y="829"/>
                      <a:pt x="6620" y="829"/>
                    </a:cubicBezTo>
                    <a:cubicBezTo>
                      <a:pt x="6627" y="829"/>
                      <a:pt x="6633" y="829"/>
                      <a:pt x="6638" y="828"/>
                    </a:cubicBezTo>
                    <a:cubicBezTo>
                      <a:pt x="6653" y="796"/>
                      <a:pt x="6679" y="742"/>
                      <a:pt x="6707" y="691"/>
                    </a:cubicBezTo>
                    <a:cubicBezTo>
                      <a:pt x="6708" y="689"/>
                      <a:pt x="6708" y="689"/>
                      <a:pt x="6708" y="689"/>
                    </a:cubicBezTo>
                    <a:cubicBezTo>
                      <a:pt x="6708" y="688"/>
                      <a:pt x="6708" y="688"/>
                      <a:pt x="6708" y="688"/>
                    </a:cubicBezTo>
                    <a:cubicBezTo>
                      <a:pt x="6711" y="683"/>
                      <a:pt x="6731" y="650"/>
                      <a:pt x="6774" y="614"/>
                    </a:cubicBezTo>
                    <a:cubicBezTo>
                      <a:pt x="6816" y="577"/>
                      <a:pt x="6882" y="536"/>
                      <a:pt x="6972" y="520"/>
                    </a:cubicBezTo>
                    <a:cubicBezTo>
                      <a:pt x="7022" y="511"/>
                      <a:pt x="7077" y="504"/>
                      <a:pt x="7135" y="501"/>
                    </a:cubicBezTo>
                    <a:cubicBezTo>
                      <a:pt x="7132" y="483"/>
                      <a:pt x="7130" y="463"/>
                      <a:pt x="7130" y="452"/>
                    </a:cubicBezTo>
                    <a:cubicBezTo>
                      <a:pt x="7131" y="447"/>
                      <a:pt x="7127" y="444"/>
                      <a:pt x="7135" y="438"/>
                    </a:cubicBezTo>
                    <a:cubicBezTo>
                      <a:pt x="7139" y="436"/>
                      <a:pt x="7144" y="436"/>
                      <a:pt x="7156" y="433"/>
                    </a:cubicBezTo>
                    <a:cubicBezTo>
                      <a:pt x="7241" y="418"/>
                      <a:pt x="7586" y="352"/>
                      <a:pt x="7933" y="189"/>
                    </a:cubicBezTo>
                    <a:cubicBezTo>
                      <a:pt x="8040" y="138"/>
                      <a:pt x="8128" y="70"/>
                      <a:pt x="8199" y="0"/>
                    </a:cubicBezTo>
                    <a:cubicBezTo>
                      <a:pt x="8219" y="0"/>
                      <a:pt x="8219" y="0"/>
                      <a:pt x="8219" y="0"/>
                    </a:cubicBezTo>
                    <a:cubicBezTo>
                      <a:pt x="8203" y="16"/>
                      <a:pt x="8186" y="32"/>
                      <a:pt x="8169" y="48"/>
                    </a:cubicBezTo>
                    <a:cubicBezTo>
                      <a:pt x="8187" y="61"/>
                      <a:pt x="8265" y="118"/>
                      <a:pt x="8344" y="175"/>
                    </a:cubicBezTo>
                    <a:cubicBezTo>
                      <a:pt x="8390" y="208"/>
                      <a:pt x="8435" y="241"/>
                      <a:pt x="8470" y="265"/>
                    </a:cubicBezTo>
                    <a:cubicBezTo>
                      <a:pt x="8486" y="276"/>
                      <a:pt x="8500" y="285"/>
                      <a:pt x="8510" y="292"/>
                    </a:cubicBezTo>
                    <a:cubicBezTo>
                      <a:pt x="8507" y="258"/>
                      <a:pt x="8506" y="225"/>
                      <a:pt x="8506" y="192"/>
                    </a:cubicBezTo>
                    <a:cubicBezTo>
                      <a:pt x="8506" y="130"/>
                      <a:pt x="8510" y="72"/>
                      <a:pt x="8512" y="22"/>
                    </a:cubicBezTo>
                    <a:cubicBezTo>
                      <a:pt x="8512" y="21"/>
                      <a:pt x="8512" y="21"/>
                      <a:pt x="8512" y="20"/>
                    </a:cubicBezTo>
                    <a:cubicBezTo>
                      <a:pt x="8454" y="0"/>
                      <a:pt x="8454" y="0"/>
                      <a:pt x="8454" y="0"/>
                    </a:cubicBezTo>
                    <a:cubicBezTo>
                      <a:pt x="8496" y="0"/>
                      <a:pt x="8496" y="0"/>
                      <a:pt x="8496" y="0"/>
                    </a:cubicBezTo>
                    <a:cubicBezTo>
                      <a:pt x="8513" y="6"/>
                      <a:pt x="8513" y="6"/>
                      <a:pt x="8513" y="6"/>
                    </a:cubicBezTo>
                    <a:cubicBezTo>
                      <a:pt x="8513" y="4"/>
                      <a:pt x="8513" y="2"/>
                      <a:pt x="8513" y="0"/>
                    </a:cubicBezTo>
                    <a:cubicBezTo>
                      <a:pt x="8666" y="0"/>
                      <a:pt x="8666" y="0"/>
                      <a:pt x="8666" y="0"/>
                    </a:cubicBezTo>
                    <a:cubicBezTo>
                      <a:pt x="8665" y="11"/>
                      <a:pt x="8665" y="21"/>
                      <a:pt x="8664" y="29"/>
                    </a:cubicBezTo>
                    <a:cubicBezTo>
                      <a:pt x="8662" y="82"/>
                      <a:pt x="8658" y="137"/>
                      <a:pt x="8658" y="192"/>
                    </a:cubicBezTo>
                    <a:cubicBezTo>
                      <a:pt x="8658" y="274"/>
                      <a:pt x="8667" y="353"/>
                      <a:pt x="8695" y="416"/>
                    </a:cubicBezTo>
                    <a:cubicBezTo>
                      <a:pt x="8740" y="523"/>
                      <a:pt x="8881" y="652"/>
                      <a:pt x="9027" y="714"/>
                    </a:cubicBezTo>
                    <a:cubicBezTo>
                      <a:pt x="9183" y="782"/>
                      <a:pt x="9735" y="1031"/>
                      <a:pt x="10216" y="1196"/>
                    </a:cubicBezTo>
                    <a:cubicBezTo>
                      <a:pt x="10639" y="0"/>
                      <a:pt x="10639" y="0"/>
                      <a:pt x="10639" y="0"/>
                    </a:cubicBezTo>
                    <a:cubicBezTo>
                      <a:pt x="10709" y="0"/>
                      <a:pt x="10709" y="0"/>
                      <a:pt x="10709" y="0"/>
                    </a:cubicBezTo>
                    <a:cubicBezTo>
                      <a:pt x="10279" y="1217"/>
                      <a:pt x="10279" y="1217"/>
                      <a:pt x="10279" y="1217"/>
                    </a:cubicBezTo>
                    <a:cubicBezTo>
                      <a:pt x="10283" y="1219"/>
                      <a:pt x="10288" y="1220"/>
                      <a:pt x="10292" y="1222"/>
                    </a:cubicBezTo>
                    <a:cubicBezTo>
                      <a:pt x="10541" y="1304"/>
                      <a:pt x="10776" y="1363"/>
                      <a:pt x="10947" y="1402"/>
                    </a:cubicBezTo>
                    <a:cubicBezTo>
                      <a:pt x="11033" y="1421"/>
                      <a:pt x="11103" y="1436"/>
                      <a:pt x="11152" y="1445"/>
                    </a:cubicBezTo>
                    <a:cubicBezTo>
                      <a:pt x="11192" y="1453"/>
                      <a:pt x="11217" y="1457"/>
                      <a:pt x="11225" y="1458"/>
                    </a:cubicBezTo>
                    <a:cubicBezTo>
                      <a:pt x="11277" y="1462"/>
                      <a:pt x="11938" y="1508"/>
                      <a:pt x="12133" y="1516"/>
                    </a:cubicBezTo>
                    <a:cubicBezTo>
                      <a:pt x="12234" y="1521"/>
                      <a:pt x="12349" y="1525"/>
                      <a:pt x="12476" y="1537"/>
                    </a:cubicBezTo>
                    <a:cubicBezTo>
                      <a:pt x="12015" y="39"/>
                      <a:pt x="12015" y="39"/>
                      <a:pt x="12015" y="39"/>
                    </a:cubicBezTo>
                    <a:cubicBezTo>
                      <a:pt x="12015" y="38"/>
                      <a:pt x="12015" y="38"/>
                      <a:pt x="12015" y="38"/>
                    </a:cubicBezTo>
                    <a:cubicBezTo>
                      <a:pt x="12015" y="38"/>
                      <a:pt x="12015" y="37"/>
                      <a:pt x="12014" y="35"/>
                    </a:cubicBezTo>
                    <a:cubicBezTo>
                      <a:pt x="12012" y="28"/>
                      <a:pt x="12007" y="15"/>
                      <a:pt x="11999" y="0"/>
                    </a:cubicBezTo>
                    <a:cubicBezTo>
                      <a:pt x="12071" y="0"/>
                      <a:pt x="12071" y="0"/>
                      <a:pt x="12071" y="0"/>
                    </a:cubicBezTo>
                    <a:cubicBezTo>
                      <a:pt x="12075" y="10"/>
                      <a:pt x="12077" y="18"/>
                      <a:pt x="12078" y="20"/>
                    </a:cubicBezTo>
                    <a:cubicBezTo>
                      <a:pt x="12078" y="20"/>
                      <a:pt x="12078" y="20"/>
                      <a:pt x="12078" y="20"/>
                    </a:cubicBezTo>
                    <a:cubicBezTo>
                      <a:pt x="12546" y="1544"/>
                      <a:pt x="12546" y="1544"/>
                      <a:pt x="12546" y="1544"/>
                    </a:cubicBezTo>
                    <a:cubicBezTo>
                      <a:pt x="12662" y="1557"/>
                      <a:pt x="12786" y="1576"/>
                      <a:pt x="12916" y="1607"/>
                    </a:cubicBezTo>
                    <a:cubicBezTo>
                      <a:pt x="13069" y="1644"/>
                      <a:pt x="13189" y="1692"/>
                      <a:pt x="13281" y="1754"/>
                    </a:cubicBezTo>
                    <a:cubicBezTo>
                      <a:pt x="13353" y="1803"/>
                      <a:pt x="13407" y="1864"/>
                      <a:pt x="13441" y="1932"/>
                    </a:cubicBezTo>
                    <a:cubicBezTo>
                      <a:pt x="13509" y="1916"/>
                      <a:pt x="13631" y="1886"/>
                      <a:pt x="13754" y="1856"/>
                    </a:cubicBezTo>
                    <a:cubicBezTo>
                      <a:pt x="13847" y="1834"/>
                      <a:pt x="13940" y="1812"/>
                      <a:pt x="14011" y="1795"/>
                    </a:cubicBezTo>
                    <a:cubicBezTo>
                      <a:pt x="14046" y="1786"/>
                      <a:pt x="14076" y="1779"/>
                      <a:pt x="14098" y="1774"/>
                    </a:cubicBezTo>
                    <a:cubicBezTo>
                      <a:pt x="14109" y="1772"/>
                      <a:pt x="14118" y="1770"/>
                      <a:pt x="14125" y="1769"/>
                    </a:cubicBezTo>
                    <a:cubicBezTo>
                      <a:pt x="14128" y="1768"/>
                      <a:pt x="14131" y="1767"/>
                      <a:pt x="14134" y="1767"/>
                    </a:cubicBezTo>
                    <a:cubicBezTo>
                      <a:pt x="14136" y="1766"/>
                      <a:pt x="14137" y="1766"/>
                      <a:pt x="14139" y="1766"/>
                    </a:cubicBezTo>
                    <a:cubicBezTo>
                      <a:pt x="14140" y="1766"/>
                      <a:pt x="14141" y="1766"/>
                      <a:pt x="14143" y="1765"/>
                    </a:cubicBezTo>
                    <a:cubicBezTo>
                      <a:pt x="14149" y="1764"/>
                      <a:pt x="14168" y="1759"/>
                      <a:pt x="14192" y="1752"/>
                    </a:cubicBezTo>
                    <a:cubicBezTo>
                      <a:pt x="14274" y="1727"/>
                      <a:pt x="14433" y="1675"/>
                      <a:pt x="14605" y="1613"/>
                    </a:cubicBezTo>
                    <a:cubicBezTo>
                      <a:pt x="14717" y="1572"/>
                      <a:pt x="14944" y="1455"/>
                      <a:pt x="15141" y="1348"/>
                    </a:cubicBezTo>
                    <a:cubicBezTo>
                      <a:pt x="15240" y="1294"/>
                      <a:pt x="15332" y="1242"/>
                      <a:pt x="15401" y="1204"/>
                    </a:cubicBezTo>
                    <a:cubicBezTo>
                      <a:pt x="15436" y="1184"/>
                      <a:pt x="15465" y="1168"/>
                      <a:pt x="15486" y="1156"/>
                    </a:cubicBezTo>
                    <a:cubicBezTo>
                      <a:pt x="15497" y="1150"/>
                      <a:pt x="15506" y="1145"/>
                      <a:pt x="15512" y="1142"/>
                    </a:cubicBezTo>
                    <a:cubicBezTo>
                      <a:pt x="15520" y="1138"/>
                      <a:pt x="15523" y="1136"/>
                      <a:pt x="15530" y="1133"/>
                    </a:cubicBezTo>
                    <a:cubicBezTo>
                      <a:pt x="15544" y="1127"/>
                      <a:pt x="15577" y="1112"/>
                      <a:pt x="15610" y="1098"/>
                    </a:cubicBezTo>
                    <a:cubicBezTo>
                      <a:pt x="15599" y="1009"/>
                      <a:pt x="15575" y="818"/>
                      <a:pt x="15548" y="598"/>
                    </a:cubicBezTo>
                    <a:cubicBezTo>
                      <a:pt x="15524" y="403"/>
                      <a:pt x="15497" y="187"/>
                      <a:pt x="15473" y="0"/>
                    </a:cubicBezTo>
                    <a:close/>
                    <a:moveTo>
                      <a:pt x="6892" y="167"/>
                    </a:moveTo>
                    <a:cubicBezTo>
                      <a:pt x="6976" y="184"/>
                      <a:pt x="6976" y="184"/>
                      <a:pt x="6976" y="184"/>
                    </a:cubicBezTo>
                    <a:cubicBezTo>
                      <a:pt x="7000" y="20"/>
                      <a:pt x="7000" y="20"/>
                      <a:pt x="7000" y="20"/>
                    </a:cubicBezTo>
                    <a:cubicBezTo>
                      <a:pt x="6921" y="9"/>
                      <a:pt x="6921" y="9"/>
                      <a:pt x="6921" y="9"/>
                    </a:cubicBezTo>
                    <a:lnTo>
                      <a:pt x="6892" y="167"/>
                    </a:lnTo>
                    <a:close/>
                    <a:moveTo>
                      <a:pt x="6739" y="205"/>
                    </a:moveTo>
                    <a:cubicBezTo>
                      <a:pt x="6868" y="226"/>
                      <a:pt x="6868" y="226"/>
                      <a:pt x="6868" y="226"/>
                    </a:cubicBezTo>
                    <a:cubicBezTo>
                      <a:pt x="6876" y="178"/>
                      <a:pt x="6876" y="178"/>
                      <a:pt x="6876" y="178"/>
                    </a:cubicBezTo>
                    <a:cubicBezTo>
                      <a:pt x="6749" y="151"/>
                      <a:pt x="6749" y="151"/>
                      <a:pt x="6749" y="151"/>
                    </a:cubicBezTo>
                    <a:lnTo>
                      <a:pt x="6739" y="205"/>
                    </a:lnTo>
                    <a:close/>
                    <a:moveTo>
                      <a:pt x="39" y="7313"/>
                    </a:moveTo>
                    <a:cubicBezTo>
                      <a:pt x="34" y="7316"/>
                      <a:pt x="34" y="7316"/>
                      <a:pt x="34" y="7316"/>
                    </a:cubicBezTo>
                    <a:cubicBezTo>
                      <a:pt x="34" y="7316"/>
                      <a:pt x="34" y="7316"/>
                      <a:pt x="34" y="7316"/>
                    </a:cubicBezTo>
                    <a:lnTo>
                      <a:pt x="39" y="7313"/>
                    </a:lnTo>
                    <a:close/>
                    <a:moveTo>
                      <a:pt x="206" y="9451"/>
                    </a:moveTo>
                    <a:cubicBezTo>
                      <a:pt x="178" y="9428"/>
                      <a:pt x="178" y="9428"/>
                      <a:pt x="178" y="9428"/>
                    </a:cubicBezTo>
                    <a:cubicBezTo>
                      <a:pt x="151" y="9462"/>
                      <a:pt x="151" y="9462"/>
                      <a:pt x="151" y="9462"/>
                    </a:cubicBezTo>
                    <a:cubicBezTo>
                      <a:pt x="114" y="9433"/>
                      <a:pt x="114" y="9433"/>
                      <a:pt x="114" y="9433"/>
                    </a:cubicBezTo>
                    <a:cubicBezTo>
                      <a:pt x="77" y="9480"/>
                      <a:pt x="77" y="9480"/>
                      <a:pt x="77" y="9480"/>
                    </a:cubicBezTo>
                    <a:cubicBezTo>
                      <a:pt x="143" y="9533"/>
                      <a:pt x="143" y="9533"/>
                      <a:pt x="143" y="9533"/>
                    </a:cubicBezTo>
                    <a:lnTo>
                      <a:pt x="206" y="9451"/>
                    </a:lnTo>
                    <a:close/>
                    <a:moveTo>
                      <a:pt x="217" y="9459"/>
                    </a:moveTo>
                    <a:cubicBezTo>
                      <a:pt x="154" y="9541"/>
                      <a:pt x="154" y="9541"/>
                      <a:pt x="154" y="9541"/>
                    </a:cubicBezTo>
                    <a:cubicBezTo>
                      <a:pt x="221" y="9594"/>
                      <a:pt x="221" y="9594"/>
                      <a:pt x="221" y="9594"/>
                    </a:cubicBezTo>
                    <a:cubicBezTo>
                      <a:pt x="258" y="9548"/>
                      <a:pt x="258" y="9548"/>
                      <a:pt x="258" y="9548"/>
                    </a:cubicBezTo>
                    <a:cubicBezTo>
                      <a:pt x="222" y="9518"/>
                      <a:pt x="222" y="9518"/>
                      <a:pt x="222" y="9518"/>
                    </a:cubicBezTo>
                    <a:cubicBezTo>
                      <a:pt x="248" y="9484"/>
                      <a:pt x="248" y="9484"/>
                      <a:pt x="248" y="9484"/>
                    </a:cubicBezTo>
                    <a:lnTo>
                      <a:pt x="217" y="9459"/>
                    </a:lnTo>
                    <a:close/>
                    <a:moveTo>
                      <a:pt x="8656" y="788"/>
                    </a:moveTo>
                    <a:cubicBezTo>
                      <a:pt x="8594" y="829"/>
                      <a:pt x="8521" y="871"/>
                      <a:pt x="8440" y="890"/>
                    </a:cubicBezTo>
                    <a:cubicBezTo>
                      <a:pt x="8358" y="909"/>
                      <a:pt x="8260" y="923"/>
                      <a:pt x="8184" y="932"/>
                    </a:cubicBezTo>
                    <a:cubicBezTo>
                      <a:pt x="8233" y="968"/>
                      <a:pt x="8298" y="1016"/>
                      <a:pt x="8367" y="1067"/>
                    </a:cubicBezTo>
                    <a:cubicBezTo>
                      <a:pt x="8505" y="1168"/>
                      <a:pt x="8657" y="1278"/>
                      <a:pt x="8705" y="1307"/>
                    </a:cubicBezTo>
                    <a:cubicBezTo>
                      <a:pt x="8808" y="1368"/>
                      <a:pt x="9151" y="1584"/>
                      <a:pt x="9308" y="1669"/>
                    </a:cubicBezTo>
                    <a:cubicBezTo>
                      <a:pt x="9466" y="1755"/>
                      <a:pt x="9888" y="1984"/>
                      <a:pt x="10048" y="2051"/>
                    </a:cubicBezTo>
                    <a:cubicBezTo>
                      <a:pt x="10201" y="2116"/>
                      <a:pt x="10609" y="2308"/>
                      <a:pt x="10666" y="2334"/>
                    </a:cubicBezTo>
                    <a:cubicBezTo>
                      <a:pt x="10694" y="2309"/>
                      <a:pt x="10736" y="2272"/>
                      <a:pt x="10784" y="2228"/>
                    </a:cubicBezTo>
                    <a:cubicBezTo>
                      <a:pt x="10870" y="2148"/>
                      <a:pt x="10975" y="2050"/>
                      <a:pt x="11047" y="1973"/>
                    </a:cubicBezTo>
                    <a:cubicBezTo>
                      <a:pt x="11149" y="1868"/>
                      <a:pt x="11174" y="1686"/>
                      <a:pt x="11180" y="1605"/>
                    </a:cubicBezTo>
                    <a:cubicBezTo>
                      <a:pt x="11084" y="1588"/>
                      <a:pt x="10689" y="1513"/>
                      <a:pt x="10245" y="1367"/>
                    </a:cubicBezTo>
                    <a:cubicBezTo>
                      <a:pt x="9735" y="1199"/>
                      <a:pt x="9129" y="925"/>
                      <a:pt x="8967" y="854"/>
                    </a:cubicBezTo>
                    <a:cubicBezTo>
                      <a:pt x="8888" y="820"/>
                      <a:pt x="8814" y="773"/>
                      <a:pt x="8749" y="719"/>
                    </a:cubicBezTo>
                    <a:cubicBezTo>
                      <a:pt x="8725" y="738"/>
                      <a:pt x="8693" y="763"/>
                      <a:pt x="8656" y="788"/>
                    </a:cubicBezTo>
                    <a:close/>
                    <a:moveTo>
                      <a:pt x="9441" y="6141"/>
                    </a:moveTo>
                    <a:cubicBezTo>
                      <a:pt x="9437" y="6143"/>
                      <a:pt x="9437" y="6143"/>
                      <a:pt x="9437" y="6143"/>
                    </a:cubicBezTo>
                    <a:cubicBezTo>
                      <a:pt x="9435" y="6144"/>
                      <a:pt x="9435" y="6144"/>
                      <a:pt x="9435" y="6144"/>
                    </a:cubicBezTo>
                    <a:cubicBezTo>
                      <a:pt x="9435" y="6145"/>
                      <a:pt x="9435" y="6145"/>
                      <a:pt x="9435" y="6145"/>
                    </a:cubicBezTo>
                    <a:cubicBezTo>
                      <a:pt x="9480" y="6131"/>
                      <a:pt x="9527" y="6116"/>
                      <a:pt x="9576" y="6100"/>
                    </a:cubicBezTo>
                    <a:cubicBezTo>
                      <a:pt x="9569" y="6078"/>
                      <a:pt x="9569" y="6078"/>
                      <a:pt x="9569" y="6078"/>
                    </a:cubicBezTo>
                    <a:cubicBezTo>
                      <a:pt x="9447" y="6116"/>
                      <a:pt x="9447" y="6116"/>
                      <a:pt x="9447" y="6116"/>
                    </a:cubicBezTo>
                    <a:cubicBezTo>
                      <a:pt x="9403" y="5969"/>
                      <a:pt x="9403" y="5969"/>
                      <a:pt x="9403" y="5969"/>
                    </a:cubicBezTo>
                    <a:cubicBezTo>
                      <a:pt x="9519" y="5932"/>
                      <a:pt x="9519" y="5932"/>
                      <a:pt x="9519" y="5932"/>
                    </a:cubicBezTo>
                    <a:cubicBezTo>
                      <a:pt x="9409" y="5610"/>
                      <a:pt x="9409" y="5610"/>
                      <a:pt x="9409" y="5610"/>
                    </a:cubicBezTo>
                    <a:cubicBezTo>
                      <a:pt x="9383" y="5611"/>
                      <a:pt x="9358" y="5612"/>
                      <a:pt x="9337" y="5613"/>
                    </a:cubicBezTo>
                    <a:cubicBezTo>
                      <a:pt x="9316" y="5614"/>
                      <a:pt x="9298" y="5614"/>
                      <a:pt x="9286" y="5615"/>
                    </a:cubicBezTo>
                    <a:cubicBezTo>
                      <a:pt x="9282" y="5615"/>
                      <a:pt x="9278" y="5615"/>
                      <a:pt x="9275" y="5615"/>
                    </a:cubicBezTo>
                    <a:cubicBezTo>
                      <a:pt x="9285" y="5647"/>
                      <a:pt x="9320" y="5760"/>
                      <a:pt x="9356" y="5874"/>
                    </a:cubicBezTo>
                    <a:cubicBezTo>
                      <a:pt x="9377" y="5941"/>
                      <a:pt x="9398" y="6008"/>
                      <a:pt x="9414" y="6058"/>
                    </a:cubicBezTo>
                    <a:cubicBezTo>
                      <a:pt x="9422" y="6084"/>
                      <a:pt x="9429" y="6104"/>
                      <a:pt x="9433" y="6119"/>
                    </a:cubicBezTo>
                    <a:cubicBezTo>
                      <a:pt x="9436" y="6126"/>
                      <a:pt x="9438" y="6132"/>
                      <a:pt x="9439" y="6136"/>
                    </a:cubicBezTo>
                    <a:cubicBezTo>
                      <a:pt x="9440" y="6138"/>
                      <a:pt x="9440" y="6139"/>
                      <a:pt x="9441" y="6140"/>
                    </a:cubicBezTo>
                    <a:cubicBezTo>
                      <a:pt x="9441" y="6140"/>
                      <a:pt x="9441" y="6141"/>
                      <a:pt x="9441" y="6141"/>
                    </a:cubicBezTo>
                    <a:close/>
                    <a:moveTo>
                      <a:pt x="9360" y="5948"/>
                    </a:moveTo>
                    <a:cubicBezTo>
                      <a:pt x="9214" y="5995"/>
                      <a:pt x="9214" y="5995"/>
                      <a:pt x="9214" y="5995"/>
                    </a:cubicBezTo>
                    <a:cubicBezTo>
                      <a:pt x="9213" y="6024"/>
                      <a:pt x="9206" y="6193"/>
                      <a:pt x="9205" y="6220"/>
                    </a:cubicBezTo>
                    <a:cubicBezTo>
                      <a:pt x="9269" y="6199"/>
                      <a:pt x="9345" y="6175"/>
                      <a:pt x="9429" y="6147"/>
                    </a:cubicBezTo>
                    <a:cubicBezTo>
                      <a:pt x="9428" y="6145"/>
                      <a:pt x="9427" y="6143"/>
                      <a:pt x="9426" y="6139"/>
                    </a:cubicBezTo>
                    <a:cubicBezTo>
                      <a:pt x="9403" y="6076"/>
                      <a:pt x="9268" y="5638"/>
                      <a:pt x="9260" y="5612"/>
                    </a:cubicBezTo>
                    <a:cubicBezTo>
                      <a:pt x="9260" y="5612"/>
                      <a:pt x="9260" y="5612"/>
                      <a:pt x="9260" y="5612"/>
                    </a:cubicBezTo>
                    <a:cubicBezTo>
                      <a:pt x="9259" y="5612"/>
                      <a:pt x="9259" y="5613"/>
                      <a:pt x="9258" y="5614"/>
                    </a:cubicBezTo>
                    <a:cubicBezTo>
                      <a:pt x="9257" y="5615"/>
                      <a:pt x="9257" y="5616"/>
                      <a:pt x="9254" y="5618"/>
                    </a:cubicBezTo>
                    <a:cubicBezTo>
                      <a:pt x="9252" y="5621"/>
                      <a:pt x="9245" y="5633"/>
                      <a:pt x="9236" y="5649"/>
                    </a:cubicBezTo>
                    <a:cubicBezTo>
                      <a:pt x="9205" y="5709"/>
                      <a:pt x="9143" y="5837"/>
                      <a:pt x="9084" y="5962"/>
                    </a:cubicBezTo>
                    <a:cubicBezTo>
                      <a:pt x="9207" y="5983"/>
                      <a:pt x="9207" y="5983"/>
                      <a:pt x="9207" y="5983"/>
                    </a:cubicBezTo>
                    <a:cubicBezTo>
                      <a:pt x="9356" y="5934"/>
                      <a:pt x="9356" y="5934"/>
                      <a:pt x="9356" y="5934"/>
                    </a:cubicBezTo>
                    <a:lnTo>
                      <a:pt x="9360" y="5948"/>
                    </a:lnTo>
                    <a:close/>
                    <a:moveTo>
                      <a:pt x="9191" y="6224"/>
                    </a:moveTo>
                    <a:cubicBezTo>
                      <a:pt x="9191" y="6224"/>
                      <a:pt x="9191" y="6224"/>
                      <a:pt x="9191" y="6224"/>
                    </a:cubicBezTo>
                    <a:cubicBezTo>
                      <a:pt x="9191" y="6224"/>
                      <a:pt x="9193" y="6166"/>
                      <a:pt x="9196" y="6107"/>
                    </a:cubicBezTo>
                    <a:cubicBezTo>
                      <a:pt x="9197" y="6078"/>
                      <a:pt x="9198" y="6048"/>
                      <a:pt x="9199" y="6026"/>
                    </a:cubicBezTo>
                    <a:cubicBezTo>
                      <a:pt x="9199" y="6015"/>
                      <a:pt x="9200" y="6006"/>
                      <a:pt x="9200" y="6000"/>
                    </a:cubicBezTo>
                    <a:cubicBezTo>
                      <a:pt x="9200" y="5998"/>
                      <a:pt x="9200" y="5997"/>
                      <a:pt x="9200" y="5996"/>
                    </a:cubicBezTo>
                    <a:cubicBezTo>
                      <a:pt x="9080" y="5976"/>
                      <a:pt x="9080" y="5976"/>
                      <a:pt x="9080" y="5976"/>
                    </a:cubicBezTo>
                    <a:cubicBezTo>
                      <a:pt x="9082" y="5966"/>
                      <a:pt x="9082" y="5966"/>
                      <a:pt x="9082" y="5966"/>
                    </a:cubicBezTo>
                    <a:cubicBezTo>
                      <a:pt x="9074" y="5982"/>
                      <a:pt x="9067" y="5997"/>
                      <a:pt x="9060" y="6012"/>
                    </a:cubicBezTo>
                    <a:cubicBezTo>
                      <a:pt x="9003" y="6132"/>
                      <a:pt x="8952" y="6240"/>
                      <a:pt x="8940" y="6267"/>
                    </a:cubicBezTo>
                    <a:cubicBezTo>
                      <a:pt x="8946" y="6270"/>
                      <a:pt x="8956" y="6274"/>
                      <a:pt x="8966" y="6278"/>
                    </a:cubicBezTo>
                    <a:cubicBezTo>
                      <a:pt x="8974" y="6281"/>
                      <a:pt x="8982" y="6285"/>
                      <a:pt x="8988" y="6287"/>
                    </a:cubicBezTo>
                    <a:cubicBezTo>
                      <a:pt x="8991" y="6289"/>
                      <a:pt x="8993" y="6290"/>
                      <a:pt x="8995" y="6290"/>
                    </a:cubicBezTo>
                    <a:cubicBezTo>
                      <a:pt x="9000" y="6289"/>
                      <a:pt x="9007" y="6286"/>
                      <a:pt x="9019" y="6282"/>
                    </a:cubicBezTo>
                    <a:cubicBezTo>
                      <a:pt x="9052" y="6271"/>
                      <a:pt x="9113" y="6251"/>
                      <a:pt x="9194" y="6224"/>
                    </a:cubicBezTo>
                    <a:lnTo>
                      <a:pt x="9191" y="6224"/>
                    </a:lnTo>
                    <a:close/>
                    <a:moveTo>
                      <a:pt x="9667" y="5582"/>
                    </a:moveTo>
                    <a:cubicBezTo>
                      <a:pt x="9653" y="5586"/>
                      <a:pt x="9653" y="5586"/>
                      <a:pt x="9653" y="5586"/>
                    </a:cubicBezTo>
                    <a:cubicBezTo>
                      <a:pt x="9489" y="5102"/>
                      <a:pt x="9489" y="5102"/>
                      <a:pt x="9489" y="5102"/>
                    </a:cubicBezTo>
                    <a:cubicBezTo>
                      <a:pt x="9466" y="5154"/>
                      <a:pt x="9437" y="5221"/>
                      <a:pt x="9407" y="5290"/>
                    </a:cubicBezTo>
                    <a:cubicBezTo>
                      <a:pt x="9512" y="5593"/>
                      <a:pt x="9512" y="5593"/>
                      <a:pt x="9512" y="5593"/>
                    </a:cubicBezTo>
                    <a:cubicBezTo>
                      <a:pt x="9614" y="5590"/>
                      <a:pt x="9710" y="5586"/>
                      <a:pt x="9720" y="5586"/>
                    </a:cubicBezTo>
                    <a:cubicBezTo>
                      <a:pt x="9818" y="5556"/>
                      <a:pt x="9818" y="5556"/>
                      <a:pt x="9818" y="5556"/>
                    </a:cubicBezTo>
                    <a:cubicBezTo>
                      <a:pt x="9655" y="5077"/>
                      <a:pt x="9655" y="5077"/>
                      <a:pt x="9655" y="5077"/>
                    </a:cubicBezTo>
                    <a:cubicBezTo>
                      <a:pt x="9603" y="5063"/>
                      <a:pt x="9557" y="5045"/>
                      <a:pt x="9520" y="5029"/>
                    </a:cubicBezTo>
                    <a:cubicBezTo>
                      <a:pt x="9515" y="5042"/>
                      <a:pt x="9507" y="5061"/>
                      <a:pt x="9497" y="5083"/>
                    </a:cubicBezTo>
                    <a:lnTo>
                      <a:pt x="9667" y="5582"/>
                    </a:lnTo>
                    <a:close/>
                    <a:moveTo>
                      <a:pt x="10531" y="4318"/>
                    </a:moveTo>
                    <a:cubicBezTo>
                      <a:pt x="10516" y="4325"/>
                      <a:pt x="10479" y="4338"/>
                      <a:pt x="10427" y="4355"/>
                    </a:cubicBezTo>
                    <a:cubicBezTo>
                      <a:pt x="10257" y="4413"/>
                      <a:pt x="9945" y="4513"/>
                      <a:pt x="9897" y="4529"/>
                    </a:cubicBezTo>
                    <a:cubicBezTo>
                      <a:pt x="9992" y="4849"/>
                      <a:pt x="9992" y="4849"/>
                      <a:pt x="9992" y="4849"/>
                    </a:cubicBezTo>
                    <a:cubicBezTo>
                      <a:pt x="9823" y="4924"/>
                      <a:pt x="9823" y="4924"/>
                      <a:pt x="9823" y="4924"/>
                    </a:cubicBezTo>
                    <a:cubicBezTo>
                      <a:pt x="9820" y="4931"/>
                      <a:pt x="9813" y="4950"/>
                      <a:pt x="9806" y="4972"/>
                    </a:cubicBezTo>
                    <a:cubicBezTo>
                      <a:pt x="9799" y="4994"/>
                      <a:pt x="9792" y="5020"/>
                      <a:pt x="9790" y="5036"/>
                    </a:cubicBezTo>
                    <a:cubicBezTo>
                      <a:pt x="9809" y="5037"/>
                      <a:pt x="9828" y="5038"/>
                      <a:pt x="9847" y="5038"/>
                    </a:cubicBezTo>
                    <a:cubicBezTo>
                      <a:pt x="9896" y="5038"/>
                      <a:pt x="9947" y="5032"/>
                      <a:pt x="9997" y="5017"/>
                    </a:cubicBezTo>
                    <a:cubicBezTo>
                      <a:pt x="10115" y="4980"/>
                      <a:pt x="10475" y="4863"/>
                      <a:pt x="10847" y="4742"/>
                    </a:cubicBezTo>
                    <a:cubicBezTo>
                      <a:pt x="10736" y="4385"/>
                      <a:pt x="10736" y="4385"/>
                      <a:pt x="10736" y="4385"/>
                    </a:cubicBezTo>
                    <a:cubicBezTo>
                      <a:pt x="10577" y="4415"/>
                      <a:pt x="10577" y="4415"/>
                      <a:pt x="10577" y="4415"/>
                    </a:cubicBezTo>
                    <a:cubicBezTo>
                      <a:pt x="10575" y="4410"/>
                      <a:pt x="10575" y="4410"/>
                      <a:pt x="10575" y="4410"/>
                    </a:cubicBezTo>
                    <a:cubicBezTo>
                      <a:pt x="10575" y="4410"/>
                      <a:pt x="10563" y="4386"/>
                      <a:pt x="10551" y="4361"/>
                    </a:cubicBezTo>
                    <a:cubicBezTo>
                      <a:pt x="10546" y="4349"/>
                      <a:pt x="10540" y="4336"/>
                      <a:pt x="10535" y="4327"/>
                    </a:cubicBezTo>
                    <a:cubicBezTo>
                      <a:pt x="10534" y="4324"/>
                      <a:pt x="10532" y="4321"/>
                      <a:pt x="10531" y="4318"/>
                    </a:cubicBezTo>
                    <a:close/>
                    <a:moveTo>
                      <a:pt x="10535" y="4316"/>
                    </a:moveTo>
                    <a:cubicBezTo>
                      <a:pt x="10535" y="4316"/>
                      <a:pt x="10535" y="4316"/>
                      <a:pt x="10536" y="4315"/>
                    </a:cubicBezTo>
                    <a:cubicBezTo>
                      <a:pt x="10535" y="4316"/>
                      <a:pt x="10535" y="4316"/>
                      <a:pt x="10535" y="4316"/>
                    </a:cubicBezTo>
                    <a:close/>
                    <a:moveTo>
                      <a:pt x="10822" y="5241"/>
                    </a:moveTo>
                    <a:cubicBezTo>
                      <a:pt x="10699" y="4859"/>
                      <a:pt x="10699" y="4859"/>
                      <a:pt x="10699" y="4859"/>
                    </a:cubicBezTo>
                    <a:cubicBezTo>
                      <a:pt x="10655" y="4874"/>
                      <a:pt x="10611" y="4888"/>
                      <a:pt x="10568" y="4902"/>
                    </a:cubicBezTo>
                    <a:cubicBezTo>
                      <a:pt x="10691" y="5282"/>
                      <a:pt x="10691" y="5282"/>
                      <a:pt x="10691" y="5282"/>
                    </a:cubicBezTo>
                    <a:lnTo>
                      <a:pt x="10822" y="5241"/>
                    </a:lnTo>
                    <a:close/>
                    <a:moveTo>
                      <a:pt x="10749" y="5278"/>
                    </a:moveTo>
                    <a:cubicBezTo>
                      <a:pt x="10743" y="5280"/>
                      <a:pt x="10743" y="5280"/>
                      <a:pt x="10743" y="5280"/>
                    </a:cubicBezTo>
                    <a:cubicBezTo>
                      <a:pt x="10742" y="5281"/>
                      <a:pt x="10742" y="5281"/>
                      <a:pt x="10742" y="5281"/>
                    </a:cubicBezTo>
                    <a:cubicBezTo>
                      <a:pt x="10743" y="5283"/>
                      <a:pt x="10749" y="5284"/>
                      <a:pt x="10751" y="5282"/>
                    </a:cubicBezTo>
                    <a:lnTo>
                      <a:pt x="10749" y="5278"/>
                    </a:lnTo>
                    <a:close/>
                    <a:moveTo>
                      <a:pt x="9532" y="5928"/>
                    </a:moveTo>
                    <a:cubicBezTo>
                      <a:pt x="9664" y="5887"/>
                      <a:pt x="9664" y="5887"/>
                      <a:pt x="9664" y="5887"/>
                    </a:cubicBezTo>
                    <a:cubicBezTo>
                      <a:pt x="9570" y="5605"/>
                      <a:pt x="9570" y="5605"/>
                      <a:pt x="9570" y="5605"/>
                    </a:cubicBezTo>
                    <a:cubicBezTo>
                      <a:pt x="9546" y="5606"/>
                      <a:pt x="9520" y="5607"/>
                      <a:pt x="9494" y="5608"/>
                    </a:cubicBezTo>
                    <a:cubicBezTo>
                      <a:pt x="9470" y="5608"/>
                      <a:pt x="9446" y="5609"/>
                      <a:pt x="9424" y="5610"/>
                    </a:cubicBezTo>
                    <a:lnTo>
                      <a:pt x="9532" y="5928"/>
                    </a:lnTo>
                    <a:close/>
                    <a:moveTo>
                      <a:pt x="9523" y="5945"/>
                    </a:moveTo>
                    <a:cubicBezTo>
                      <a:pt x="9419" y="5978"/>
                      <a:pt x="9419" y="5978"/>
                      <a:pt x="9419" y="5978"/>
                    </a:cubicBezTo>
                    <a:cubicBezTo>
                      <a:pt x="9456" y="6099"/>
                      <a:pt x="9456" y="6099"/>
                      <a:pt x="9456" y="6099"/>
                    </a:cubicBezTo>
                    <a:cubicBezTo>
                      <a:pt x="9564" y="6065"/>
                      <a:pt x="9564" y="6065"/>
                      <a:pt x="9564" y="6065"/>
                    </a:cubicBezTo>
                    <a:lnTo>
                      <a:pt x="9523" y="5945"/>
                    </a:lnTo>
                    <a:close/>
                    <a:moveTo>
                      <a:pt x="9677" y="5882"/>
                    </a:moveTo>
                    <a:cubicBezTo>
                      <a:pt x="9806" y="5842"/>
                      <a:pt x="9806" y="5842"/>
                      <a:pt x="9806" y="5842"/>
                    </a:cubicBezTo>
                    <a:cubicBezTo>
                      <a:pt x="9802" y="5831"/>
                      <a:pt x="9799" y="5820"/>
                      <a:pt x="9795" y="5809"/>
                    </a:cubicBezTo>
                    <a:cubicBezTo>
                      <a:pt x="9778" y="5759"/>
                      <a:pt x="9761" y="5709"/>
                      <a:pt x="9748" y="5670"/>
                    </a:cubicBezTo>
                    <a:cubicBezTo>
                      <a:pt x="9736" y="5631"/>
                      <a:pt x="9727" y="5606"/>
                      <a:pt x="9727" y="5599"/>
                    </a:cubicBezTo>
                    <a:cubicBezTo>
                      <a:pt x="9727" y="5599"/>
                      <a:pt x="9727" y="5599"/>
                      <a:pt x="9727" y="5599"/>
                    </a:cubicBezTo>
                    <a:cubicBezTo>
                      <a:pt x="9723" y="5600"/>
                      <a:pt x="9723" y="5600"/>
                      <a:pt x="9723" y="5600"/>
                    </a:cubicBezTo>
                    <a:cubicBezTo>
                      <a:pt x="9722" y="5600"/>
                      <a:pt x="9722" y="5600"/>
                      <a:pt x="9722" y="5600"/>
                    </a:cubicBezTo>
                    <a:cubicBezTo>
                      <a:pt x="9722" y="5600"/>
                      <a:pt x="9662" y="5602"/>
                      <a:pt x="9585" y="5605"/>
                    </a:cubicBezTo>
                    <a:lnTo>
                      <a:pt x="9677" y="5882"/>
                    </a:lnTo>
                    <a:close/>
                    <a:moveTo>
                      <a:pt x="9810" y="5809"/>
                    </a:moveTo>
                    <a:cubicBezTo>
                      <a:pt x="9813" y="5819"/>
                      <a:pt x="9816" y="5828"/>
                      <a:pt x="9819" y="5837"/>
                    </a:cubicBezTo>
                    <a:cubicBezTo>
                      <a:pt x="9961" y="5792"/>
                      <a:pt x="9961" y="5792"/>
                      <a:pt x="9961" y="5792"/>
                    </a:cubicBezTo>
                    <a:cubicBezTo>
                      <a:pt x="9957" y="5781"/>
                      <a:pt x="9953" y="5769"/>
                      <a:pt x="9949" y="5757"/>
                    </a:cubicBezTo>
                    <a:cubicBezTo>
                      <a:pt x="9932" y="5707"/>
                      <a:pt x="9915" y="5656"/>
                      <a:pt x="9902" y="5618"/>
                    </a:cubicBezTo>
                    <a:cubicBezTo>
                      <a:pt x="9891" y="5582"/>
                      <a:pt x="9883" y="5559"/>
                      <a:pt x="9882" y="5550"/>
                    </a:cubicBezTo>
                    <a:cubicBezTo>
                      <a:pt x="9738" y="5595"/>
                      <a:pt x="9738" y="5595"/>
                      <a:pt x="9738" y="5595"/>
                    </a:cubicBezTo>
                    <a:cubicBezTo>
                      <a:pt x="9732" y="5601"/>
                      <a:pt x="9732" y="5601"/>
                      <a:pt x="9732" y="5601"/>
                    </a:cubicBezTo>
                    <a:cubicBezTo>
                      <a:pt x="9734" y="5599"/>
                      <a:pt x="9734" y="5599"/>
                      <a:pt x="9734" y="5599"/>
                    </a:cubicBezTo>
                    <a:cubicBezTo>
                      <a:pt x="9738" y="5605"/>
                      <a:pt x="9738" y="5605"/>
                      <a:pt x="9738" y="5605"/>
                    </a:cubicBezTo>
                    <a:cubicBezTo>
                      <a:pt x="9734" y="5599"/>
                      <a:pt x="9734" y="5599"/>
                      <a:pt x="9734" y="5599"/>
                    </a:cubicBezTo>
                    <a:cubicBezTo>
                      <a:pt x="9735" y="5599"/>
                      <a:pt x="9735" y="5599"/>
                      <a:pt x="9735" y="5599"/>
                    </a:cubicBezTo>
                    <a:cubicBezTo>
                      <a:pt x="9739" y="5599"/>
                      <a:pt x="9739" y="5599"/>
                      <a:pt x="9739" y="5599"/>
                    </a:cubicBezTo>
                    <a:cubicBezTo>
                      <a:pt x="9741" y="5599"/>
                      <a:pt x="9741" y="5599"/>
                      <a:pt x="9741" y="5599"/>
                    </a:cubicBezTo>
                    <a:cubicBezTo>
                      <a:pt x="9742" y="5609"/>
                      <a:pt x="9777" y="5711"/>
                      <a:pt x="9810" y="5809"/>
                    </a:cubicBezTo>
                    <a:close/>
                    <a:moveTo>
                      <a:pt x="9889" y="5548"/>
                    </a:moveTo>
                    <a:cubicBezTo>
                      <a:pt x="9886" y="5549"/>
                      <a:pt x="9886" y="5549"/>
                      <a:pt x="9886" y="5549"/>
                    </a:cubicBezTo>
                    <a:cubicBezTo>
                      <a:pt x="9883" y="5552"/>
                      <a:pt x="9883" y="5552"/>
                      <a:pt x="9883" y="5552"/>
                    </a:cubicBezTo>
                    <a:cubicBezTo>
                      <a:pt x="9884" y="5554"/>
                      <a:pt x="9890" y="5555"/>
                      <a:pt x="9892" y="5553"/>
                    </a:cubicBezTo>
                    <a:lnTo>
                      <a:pt x="9889" y="5548"/>
                    </a:lnTo>
                    <a:close/>
                    <a:moveTo>
                      <a:pt x="9895" y="5548"/>
                    </a:moveTo>
                    <a:cubicBezTo>
                      <a:pt x="9891" y="5547"/>
                      <a:pt x="9891" y="5547"/>
                      <a:pt x="9891" y="5547"/>
                    </a:cubicBezTo>
                    <a:cubicBezTo>
                      <a:pt x="9891" y="5547"/>
                      <a:pt x="9891" y="5547"/>
                      <a:pt x="9891" y="5547"/>
                    </a:cubicBezTo>
                    <a:lnTo>
                      <a:pt x="9895" y="5548"/>
                    </a:lnTo>
                    <a:close/>
                    <a:moveTo>
                      <a:pt x="9964" y="5757"/>
                    </a:moveTo>
                    <a:cubicBezTo>
                      <a:pt x="9967" y="5768"/>
                      <a:pt x="9971" y="5778"/>
                      <a:pt x="9974" y="5788"/>
                    </a:cubicBezTo>
                    <a:cubicBezTo>
                      <a:pt x="10104" y="5747"/>
                      <a:pt x="10104" y="5747"/>
                      <a:pt x="10104" y="5747"/>
                    </a:cubicBezTo>
                    <a:cubicBezTo>
                      <a:pt x="10100" y="5734"/>
                      <a:pt x="10095" y="5721"/>
                      <a:pt x="10091" y="5708"/>
                    </a:cubicBezTo>
                    <a:cubicBezTo>
                      <a:pt x="10074" y="5658"/>
                      <a:pt x="10057" y="5607"/>
                      <a:pt x="10044" y="5568"/>
                    </a:cubicBezTo>
                    <a:cubicBezTo>
                      <a:pt x="10034" y="5538"/>
                      <a:pt x="10027" y="5517"/>
                      <a:pt x="10024" y="5505"/>
                    </a:cubicBezTo>
                    <a:cubicBezTo>
                      <a:pt x="9891" y="5547"/>
                      <a:pt x="9891" y="5547"/>
                      <a:pt x="9891" y="5547"/>
                    </a:cubicBezTo>
                    <a:cubicBezTo>
                      <a:pt x="9893" y="5547"/>
                      <a:pt x="9893" y="5547"/>
                      <a:pt x="9893" y="5547"/>
                    </a:cubicBezTo>
                    <a:cubicBezTo>
                      <a:pt x="9895" y="5547"/>
                      <a:pt x="9895" y="5547"/>
                      <a:pt x="9895" y="5547"/>
                    </a:cubicBezTo>
                    <a:cubicBezTo>
                      <a:pt x="9896" y="5556"/>
                      <a:pt x="9931" y="5659"/>
                      <a:pt x="9964" y="5757"/>
                    </a:cubicBezTo>
                    <a:close/>
                    <a:moveTo>
                      <a:pt x="10033" y="5503"/>
                    </a:moveTo>
                    <a:cubicBezTo>
                      <a:pt x="10033" y="5503"/>
                      <a:pt x="10033" y="5503"/>
                      <a:pt x="10033" y="5503"/>
                    </a:cubicBezTo>
                    <a:cubicBezTo>
                      <a:pt x="10028" y="5504"/>
                      <a:pt x="10028" y="5504"/>
                      <a:pt x="10028" y="5504"/>
                    </a:cubicBezTo>
                    <a:cubicBezTo>
                      <a:pt x="10030" y="5505"/>
                      <a:pt x="10032" y="5504"/>
                      <a:pt x="10033" y="5503"/>
                    </a:cubicBezTo>
                    <a:close/>
                    <a:moveTo>
                      <a:pt x="10159" y="5463"/>
                    </a:moveTo>
                    <a:cubicBezTo>
                      <a:pt x="10038" y="5501"/>
                      <a:pt x="10038" y="5501"/>
                      <a:pt x="10038" y="5501"/>
                    </a:cubicBezTo>
                    <a:cubicBezTo>
                      <a:pt x="10043" y="5521"/>
                      <a:pt x="10074" y="5616"/>
                      <a:pt x="10106" y="5708"/>
                    </a:cubicBezTo>
                    <a:cubicBezTo>
                      <a:pt x="10109" y="5720"/>
                      <a:pt x="10113" y="5731"/>
                      <a:pt x="10117" y="5743"/>
                    </a:cubicBezTo>
                    <a:cubicBezTo>
                      <a:pt x="10238" y="5705"/>
                      <a:pt x="10238" y="5705"/>
                      <a:pt x="10238" y="5705"/>
                    </a:cubicBezTo>
                    <a:cubicBezTo>
                      <a:pt x="10234" y="5693"/>
                      <a:pt x="10230" y="5682"/>
                      <a:pt x="10226" y="5671"/>
                    </a:cubicBezTo>
                    <a:cubicBezTo>
                      <a:pt x="10209" y="5621"/>
                      <a:pt x="10192" y="5570"/>
                      <a:pt x="10180" y="5531"/>
                    </a:cubicBezTo>
                    <a:cubicBezTo>
                      <a:pt x="10168" y="5495"/>
                      <a:pt x="10160" y="5472"/>
                      <a:pt x="10159" y="5463"/>
                    </a:cubicBezTo>
                    <a:close/>
                    <a:moveTo>
                      <a:pt x="10164" y="5462"/>
                    </a:moveTo>
                    <a:cubicBezTo>
                      <a:pt x="10164" y="5462"/>
                      <a:pt x="10164" y="5462"/>
                      <a:pt x="10164" y="5462"/>
                    </a:cubicBezTo>
                    <a:cubicBezTo>
                      <a:pt x="10160" y="5466"/>
                      <a:pt x="10160" y="5466"/>
                      <a:pt x="10160" y="5466"/>
                    </a:cubicBezTo>
                    <a:lnTo>
                      <a:pt x="10164" y="5462"/>
                    </a:lnTo>
                    <a:close/>
                    <a:moveTo>
                      <a:pt x="10165" y="5461"/>
                    </a:moveTo>
                    <a:cubicBezTo>
                      <a:pt x="10165" y="5461"/>
                      <a:pt x="10165" y="5461"/>
                      <a:pt x="10165" y="5461"/>
                    </a:cubicBezTo>
                    <a:cubicBezTo>
                      <a:pt x="10169" y="5467"/>
                      <a:pt x="10169" y="5467"/>
                      <a:pt x="10169" y="5467"/>
                    </a:cubicBezTo>
                    <a:lnTo>
                      <a:pt x="10165" y="5461"/>
                    </a:lnTo>
                    <a:close/>
                    <a:moveTo>
                      <a:pt x="10172" y="5462"/>
                    </a:moveTo>
                    <a:cubicBezTo>
                      <a:pt x="10166" y="5461"/>
                      <a:pt x="10166" y="5461"/>
                      <a:pt x="10166" y="5461"/>
                    </a:cubicBezTo>
                    <a:cubicBezTo>
                      <a:pt x="10166" y="5461"/>
                      <a:pt x="10166" y="5461"/>
                      <a:pt x="10166" y="5461"/>
                    </a:cubicBezTo>
                    <a:lnTo>
                      <a:pt x="10172" y="5462"/>
                    </a:lnTo>
                    <a:close/>
                    <a:moveTo>
                      <a:pt x="9979" y="5801"/>
                    </a:moveTo>
                    <a:cubicBezTo>
                      <a:pt x="9995" y="5850"/>
                      <a:pt x="10011" y="5894"/>
                      <a:pt x="10020" y="5922"/>
                    </a:cubicBezTo>
                    <a:cubicBezTo>
                      <a:pt x="10150" y="5881"/>
                      <a:pt x="10150" y="5881"/>
                      <a:pt x="10150" y="5881"/>
                    </a:cubicBezTo>
                    <a:cubicBezTo>
                      <a:pt x="10141" y="5854"/>
                      <a:pt x="10125" y="5809"/>
                      <a:pt x="10108" y="5760"/>
                    </a:cubicBezTo>
                    <a:lnTo>
                      <a:pt x="9979" y="5801"/>
                    </a:lnTo>
                    <a:close/>
                    <a:moveTo>
                      <a:pt x="10163" y="5877"/>
                    </a:moveTo>
                    <a:cubicBezTo>
                      <a:pt x="10284" y="5839"/>
                      <a:pt x="10284" y="5839"/>
                      <a:pt x="10284" y="5839"/>
                    </a:cubicBezTo>
                    <a:cubicBezTo>
                      <a:pt x="10274" y="5811"/>
                      <a:pt x="10259" y="5766"/>
                      <a:pt x="10242" y="5717"/>
                    </a:cubicBezTo>
                    <a:cubicBezTo>
                      <a:pt x="10122" y="5755"/>
                      <a:pt x="10122" y="5755"/>
                      <a:pt x="10122" y="5755"/>
                    </a:cubicBezTo>
                    <a:cubicBezTo>
                      <a:pt x="10139" y="5806"/>
                      <a:pt x="10154" y="5850"/>
                      <a:pt x="10163" y="5877"/>
                    </a:cubicBezTo>
                    <a:close/>
                    <a:moveTo>
                      <a:pt x="10251" y="5701"/>
                    </a:moveTo>
                    <a:cubicBezTo>
                      <a:pt x="10397" y="5654"/>
                      <a:pt x="10397" y="5654"/>
                      <a:pt x="10397" y="5654"/>
                    </a:cubicBezTo>
                    <a:cubicBezTo>
                      <a:pt x="10394" y="5643"/>
                      <a:pt x="10390" y="5632"/>
                      <a:pt x="10386" y="5621"/>
                    </a:cubicBezTo>
                    <a:cubicBezTo>
                      <a:pt x="10369" y="5571"/>
                      <a:pt x="10352" y="5521"/>
                      <a:pt x="10340" y="5482"/>
                    </a:cubicBezTo>
                    <a:cubicBezTo>
                      <a:pt x="10328" y="5445"/>
                      <a:pt x="10320" y="5421"/>
                      <a:pt x="10319" y="5413"/>
                    </a:cubicBezTo>
                    <a:cubicBezTo>
                      <a:pt x="10167" y="5461"/>
                      <a:pt x="10167" y="5461"/>
                      <a:pt x="10167" y="5461"/>
                    </a:cubicBezTo>
                    <a:cubicBezTo>
                      <a:pt x="10170" y="5461"/>
                      <a:pt x="10170" y="5461"/>
                      <a:pt x="10170" y="5461"/>
                    </a:cubicBezTo>
                    <a:cubicBezTo>
                      <a:pt x="10172" y="5460"/>
                      <a:pt x="10172" y="5460"/>
                      <a:pt x="10172" y="5460"/>
                    </a:cubicBezTo>
                    <a:cubicBezTo>
                      <a:pt x="10174" y="5470"/>
                      <a:pt x="10208" y="5573"/>
                      <a:pt x="10241" y="5671"/>
                    </a:cubicBezTo>
                    <a:cubicBezTo>
                      <a:pt x="10244" y="5681"/>
                      <a:pt x="10248" y="5691"/>
                      <a:pt x="10251" y="5701"/>
                    </a:cubicBezTo>
                    <a:close/>
                    <a:moveTo>
                      <a:pt x="10391" y="5376"/>
                    </a:moveTo>
                    <a:cubicBezTo>
                      <a:pt x="10269" y="4999"/>
                      <a:pt x="10269" y="4999"/>
                      <a:pt x="10269" y="4999"/>
                    </a:cubicBezTo>
                    <a:cubicBezTo>
                      <a:pt x="10217" y="5015"/>
                      <a:pt x="10171" y="5030"/>
                      <a:pt x="10130" y="5043"/>
                    </a:cubicBezTo>
                    <a:cubicBezTo>
                      <a:pt x="10252" y="5418"/>
                      <a:pt x="10252" y="5418"/>
                      <a:pt x="10252" y="5418"/>
                    </a:cubicBezTo>
                    <a:cubicBezTo>
                      <a:pt x="10239" y="5423"/>
                      <a:pt x="10239" y="5423"/>
                      <a:pt x="10239" y="5423"/>
                    </a:cubicBezTo>
                    <a:cubicBezTo>
                      <a:pt x="10117" y="5047"/>
                      <a:pt x="10117" y="5047"/>
                      <a:pt x="10117" y="5047"/>
                    </a:cubicBezTo>
                    <a:cubicBezTo>
                      <a:pt x="10075" y="5061"/>
                      <a:pt x="10040" y="5072"/>
                      <a:pt x="10016" y="5079"/>
                    </a:cubicBezTo>
                    <a:cubicBezTo>
                      <a:pt x="10006" y="5083"/>
                      <a:pt x="9995" y="5085"/>
                      <a:pt x="9985" y="5088"/>
                    </a:cubicBezTo>
                    <a:cubicBezTo>
                      <a:pt x="10107" y="5465"/>
                      <a:pt x="10107" y="5465"/>
                      <a:pt x="10107" y="5465"/>
                    </a:cubicBezTo>
                    <a:cubicBezTo>
                      <a:pt x="10094" y="5469"/>
                      <a:pt x="10094" y="5469"/>
                      <a:pt x="10094" y="5469"/>
                    </a:cubicBezTo>
                    <a:cubicBezTo>
                      <a:pt x="9972" y="5091"/>
                      <a:pt x="9972" y="5091"/>
                      <a:pt x="9972" y="5091"/>
                    </a:cubicBezTo>
                    <a:cubicBezTo>
                      <a:pt x="9930" y="5100"/>
                      <a:pt x="9888" y="5104"/>
                      <a:pt x="9847" y="5104"/>
                    </a:cubicBezTo>
                    <a:cubicBezTo>
                      <a:pt x="9845" y="5104"/>
                      <a:pt x="9842" y="5104"/>
                      <a:pt x="9840" y="5104"/>
                    </a:cubicBezTo>
                    <a:cubicBezTo>
                      <a:pt x="9971" y="5508"/>
                      <a:pt x="9971" y="5508"/>
                      <a:pt x="9971" y="5508"/>
                    </a:cubicBezTo>
                    <a:lnTo>
                      <a:pt x="10391" y="5376"/>
                    </a:lnTo>
                    <a:close/>
                    <a:moveTo>
                      <a:pt x="10405" y="5372"/>
                    </a:moveTo>
                    <a:cubicBezTo>
                      <a:pt x="10533" y="5331"/>
                      <a:pt x="10533" y="5331"/>
                      <a:pt x="10533" y="5331"/>
                    </a:cubicBezTo>
                    <a:cubicBezTo>
                      <a:pt x="10410" y="4953"/>
                      <a:pt x="10410" y="4953"/>
                      <a:pt x="10410" y="4953"/>
                    </a:cubicBezTo>
                    <a:cubicBezTo>
                      <a:pt x="10365" y="4968"/>
                      <a:pt x="10322" y="4981"/>
                      <a:pt x="10283" y="4994"/>
                    </a:cubicBezTo>
                    <a:lnTo>
                      <a:pt x="10405" y="5372"/>
                    </a:lnTo>
                    <a:close/>
                    <a:moveTo>
                      <a:pt x="10546" y="5327"/>
                    </a:moveTo>
                    <a:cubicBezTo>
                      <a:pt x="10677" y="5286"/>
                      <a:pt x="10677" y="5286"/>
                      <a:pt x="10677" y="5286"/>
                    </a:cubicBezTo>
                    <a:cubicBezTo>
                      <a:pt x="10555" y="4906"/>
                      <a:pt x="10555" y="4906"/>
                      <a:pt x="10555" y="4906"/>
                    </a:cubicBezTo>
                    <a:cubicBezTo>
                      <a:pt x="10509" y="4921"/>
                      <a:pt x="10466" y="4935"/>
                      <a:pt x="10423" y="4949"/>
                    </a:cubicBezTo>
                    <a:lnTo>
                      <a:pt x="10546" y="5327"/>
                    </a:lnTo>
                    <a:close/>
                    <a:moveTo>
                      <a:pt x="10836" y="5236"/>
                    </a:moveTo>
                    <a:cubicBezTo>
                      <a:pt x="10973" y="5193"/>
                      <a:pt x="10973" y="5193"/>
                      <a:pt x="10973" y="5193"/>
                    </a:cubicBezTo>
                    <a:cubicBezTo>
                      <a:pt x="10840" y="4813"/>
                      <a:pt x="10840" y="4813"/>
                      <a:pt x="10840" y="4813"/>
                    </a:cubicBezTo>
                    <a:cubicBezTo>
                      <a:pt x="10797" y="4827"/>
                      <a:pt x="10755" y="4841"/>
                      <a:pt x="10712" y="4855"/>
                    </a:cubicBezTo>
                    <a:lnTo>
                      <a:pt x="10836" y="5236"/>
                    </a:lnTo>
                    <a:close/>
                    <a:moveTo>
                      <a:pt x="9672" y="5081"/>
                    </a:moveTo>
                    <a:cubicBezTo>
                      <a:pt x="9831" y="5551"/>
                      <a:pt x="9831" y="5551"/>
                      <a:pt x="9831" y="5551"/>
                    </a:cubicBezTo>
                    <a:cubicBezTo>
                      <a:pt x="9957" y="5512"/>
                      <a:pt x="9957" y="5512"/>
                      <a:pt x="9957" y="5512"/>
                    </a:cubicBezTo>
                    <a:cubicBezTo>
                      <a:pt x="9826" y="5106"/>
                      <a:pt x="9826" y="5106"/>
                      <a:pt x="9826" y="5106"/>
                    </a:cubicBezTo>
                    <a:cubicBezTo>
                      <a:pt x="9832" y="5104"/>
                      <a:pt x="9832" y="5104"/>
                      <a:pt x="9832" y="5104"/>
                    </a:cubicBezTo>
                    <a:cubicBezTo>
                      <a:pt x="9775" y="5102"/>
                      <a:pt x="9721" y="5093"/>
                      <a:pt x="9672" y="5081"/>
                    </a:cubicBezTo>
                    <a:close/>
                    <a:moveTo>
                      <a:pt x="9399" y="5309"/>
                    </a:moveTo>
                    <a:cubicBezTo>
                      <a:pt x="9399" y="5309"/>
                      <a:pt x="9398" y="5309"/>
                      <a:pt x="9398" y="5309"/>
                    </a:cubicBezTo>
                    <a:cubicBezTo>
                      <a:pt x="9365" y="5386"/>
                      <a:pt x="9331" y="5462"/>
                      <a:pt x="9305" y="5519"/>
                    </a:cubicBezTo>
                    <a:cubicBezTo>
                      <a:pt x="9292" y="5548"/>
                      <a:pt x="9280" y="5572"/>
                      <a:pt x="9272" y="5588"/>
                    </a:cubicBezTo>
                    <a:cubicBezTo>
                      <a:pt x="9270" y="5594"/>
                      <a:pt x="9267" y="5598"/>
                      <a:pt x="9265" y="5601"/>
                    </a:cubicBezTo>
                    <a:cubicBezTo>
                      <a:pt x="9270" y="5601"/>
                      <a:pt x="9385" y="5597"/>
                      <a:pt x="9498" y="5594"/>
                    </a:cubicBezTo>
                    <a:lnTo>
                      <a:pt x="9399" y="5309"/>
                    </a:lnTo>
                    <a:close/>
                    <a:moveTo>
                      <a:pt x="9578" y="6061"/>
                    </a:moveTo>
                    <a:cubicBezTo>
                      <a:pt x="9708" y="6020"/>
                      <a:pt x="9708" y="6020"/>
                      <a:pt x="9708" y="6020"/>
                    </a:cubicBezTo>
                    <a:cubicBezTo>
                      <a:pt x="9668" y="5899"/>
                      <a:pt x="9668" y="5899"/>
                      <a:pt x="9668" y="5899"/>
                    </a:cubicBezTo>
                    <a:cubicBezTo>
                      <a:pt x="9537" y="5941"/>
                      <a:pt x="9537" y="5941"/>
                      <a:pt x="9537" y="5941"/>
                    </a:cubicBezTo>
                    <a:lnTo>
                      <a:pt x="9578" y="6061"/>
                    </a:lnTo>
                    <a:close/>
                    <a:moveTo>
                      <a:pt x="9582" y="6073"/>
                    </a:moveTo>
                    <a:cubicBezTo>
                      <a:pt x="9590" y="6095"/>
                      <a:pt x="9590" y="6095"/>
                      <a:pt x="9590" y="6095"/>
                    </a:cubicBezTo>
                    <a:cubicBezTo>
                      <a:pt x="9632" y="6082"/>
                      <a:pt x="9675" y="6068"/>
                      <a:pt x="9719" y="6054"/>
                    </a:cubicBezTo>
                    <a:cubicBezTo>
                      <a:pt x="9712" y="6033"/>
                      <a:pt x="9712" y="6033"/>
                      <a:pt x="9712" y="6033"/>
                    </a:cubicBezTo>
                    <a:lnTo>
                      <a:pt x="9582" y="6073"/>
                    </a:lnTo>
                    <a:close/>
                    <a:moveTo>
                      <a:pt x="9721" y="6016"/>
                    </a:moveTo>
                    <a:cubicBezTo>
                      <a:pt x="9852" y="5975"/>
                      <a:pt x="9852" y="5975"/>
                      <a:pt x="9852" y="5975"/>
                    </a:cubicBezTo>
                    <a:cubicBezTo>
                      <a:pt x="9842" y="5946"/>
                      <a:pt x="9827" y="5902"/>
                      <a:pt x="9810" y="5854"/>
                    </a:cubicBezTo>
                    <a:cubicBezTo>
                      <a:pt x="9681" y="5895"/>
                      <a:pt x="9681" y="5895"/>
                      <a:pt x="9681" y="5895"/>
                    </a:cubicBezTo>
                    <a:lnTo>
                      <a:pt x="9721" y="6016"/>
                    </a:lnTo>
                    <a:close/>
                    <a:moveTo>
                      <a:pt x="9725" y="6028"/>
                    </a:moveTo>
                    <a:cubicBezTo>
                      <a:pt x="9732" y="6049"/>
                      <a:pt x="9732" y="6049"/>
                      <a:pt x="9732" y="6049"/>
                    </a:cubicBezTo>
                    <a:cubicBezTo>
                      <a:pt x="9775" y="6035"/>
                      <a:pt x="9819" y="6021"/>
                      <a:pt x="9863" y="6007"/>
                    </a:cubicBezTo>
                    <a:cubicBezTo>
                      <a:pt x="9862" y="6005"/>
                      <a:pt x="9859" y="5998"/>
                      <a:pt x="9856" y="5987"/>
                    </a:cubicBezTo>
                    <a:lnTo>
                      <a:pt x="9725" y="6028"/>
                    </a:lnTo>
                    <a:close/>
                    <a:moveTo>
                      <a:pt x="9865" y="5971"/>
                    </a:moveTo>
                    <a:cubicBezTo>
                      <a:pt x="10007" y="5926"/>
                      <a:pt x="10007" y="5926"/>
                      <a:pt x="10007" y="5926"/>
                    </a:cubicBezTo>
                    <a:cubicBezTo>
                      <a:pt x="9997" y="5898"/>
                      <a:pt x="9982" y="5854"/>
                      <a:pt x="9965" y="5805"/>
                    </a:cubicBezTo>
                    <a:cubicBezTo>
                      <a:pt x="9824" y="5850"/>
                      <a:pt x="9824" y="5850"/>
                      <a:pt x="9824" y="5850"/>
                    </a:cubicBezTo>
                    <a:cubicBezTo>
                      <a:pt x="9840" y="5898"/>
                      <a:pt x="9855" y="5942"/>
                      <a:pt x="9865" y="5971"/>
                    </a:cubicBezTo>
                    <a:close/>
                    <a:moveTo>
                      <a:pt x="9869" y="5983"/>
                    </a:moveTo>
                    <a:cubicBezTo>
                      <a:pt x="9873" y="5995"/>
                      <a:pt x="9875" y="6002"/>
                      <a:pt x="9876" y="6003"/>
                    </a:cubicBezTo>
                    <a:cubicBezTo>
                      <a:pt x="10014" y="5958"/>
                      <a:pt x="10157" y="5912"/>
                      <a:pt x="10294" y="5868"/>
                    </a:cubicBezTo>
                    <a:cubicBezTo>
                      <a:pt x="10293" y="5866"/>
                      <a:pt x="10291" y="5860"/>
                      <a:pt x="10288" y="5851"/>
                    </a:cubicBezTo>
                    <a:cubicBezTo>
                      <a:pt x="10167" y="5889"/>
                      <a:pt x="10167" y="5889"/>
                      <a:pt x="10167" y="5889"/>
                    </a:cubicBezTo>
                    <a:cubicBezTo>
                      <a:pt x="10170" y="5897"/>
                      <a:pt x="10172" y="5902"/>
                      <a:pt x="10172" y="5902"/>
                    </a:cubicBezTo>
                    <a:cubicBezTo>
                      <a:pt x="10158" y="5906"/>
                      <a:pt x="10158" y="5906"/>
                      <a:pt x="10158" y="5906"/>
                    </a:cubicBezTo>
                    <a:cubicBezTo>
                      <a:pt x="10158" y="5906"/>
                      <a:pt x="10158" y="5906"/>
                      <a:pt x="10158" y="5906"/>
                    </a:cubicBezTo>
                    <a:cubicBezTo>
                      <a:pt x="10158" y="5906"/>
                      <a:pt x="10157" y="5902"/>
                      <a:pt x="10154" y="5893"/>
                    </a:cubicBezTo>
                    <a:cubicBezTo>
                      <a:pt x="10024" y="5934"/>
                      <a:pt x="10024" y="5934"/>
                      <a:pt x="10024" y="5934"/>
                    </a:cubicBezTo>
                    <a:cubicBezTo>
                      <a:pt x="10028" y="5945"/>
                      <a:pt x="10030" y="5951"/>
                      <a:pt x="10030" y="5951"/>
                    </a:cubicBezTo>
                    <a:cubicBezTo>
                      <a:pt x="10017" y="5956"/>
                      <a:pt x="10017" y="5956"/>
                      <a:pt x="10017" y="5956"/>
                    </a:cubicBezTo>
                    <a:cubicBezTo>
                      <a:pt x="10017" y="5956"/>
                      <a:pt x="10017" y="5956"/>
                      <a:pt x="10017" y="5956"/>
                    </a:cubicBezTo>
                    <a:cubicBezTo>
                      <a:pt x="10017" y="5956"/>
                      <a:pt x="10015" y="5949"/>
                      <a:pt x="10011" y="5938"/>
                    </a:cubicBezTo>
                    <a:lnTo>
                      <a:pt x="9869" y="5983"/>
                    </a:lnTo>
                    <a:close/>
                    <a:moveTo>
                      <a:pt x="10297" y="5835"/>
                    </a:moveTo>
                    <a:cubicBezTo>
                      <a:pt x="10443" y="5789"/>
                      <a:pt x="10443" y="5789"/>
                      <a:pt x="10443" y="5789"/>
                    </a:cubicBezTo>
                    <a:cubicBezTo>
                      <a:pt x="10434" y="5760"/>
                      <a:pt x="10418" y="5716"/>
                      <a:pt x="10402" y="5667"/>
                    </a:cubicBezTo>
                    <a:cubicBezTo>
                      <a:pt x="10255" y="5713"/>
                      <a:pt x="10255" y="5713"/>
                      <a:pt x="10255" y="5713"/>
                    </a:cubicBezTo>
                    <a:cubicBezTo>
                      <a:pt x="10272" y="5762"/>
                      <a:pt x="10287" y="5807"/>
                      <a:pt x="10297" y="5835"/>
                    </a:cubicBezTo>
                    <a:close/>
                    <a:moveTo>
                      <a:pt x="10301" y="5847"/>
                    </a:moveTo>
                    <a:cubicBezTo>
                      <a:pt x="10304" y="5857"/>
                      <a:pt x="10306" y="5862"/>
                      <a:pt x="10307" y="5864"/>
                    </a:cubicBezTo>
                    <a:cubicBezTo>
                      <a:pt x="10356" y="5848"/>
                      <a:pt x="10405" y="5832"/>
                      <a:pt x="10453" y="5817"/>
                    </a:cubicBezTo>
                    <a:cubicBezTo>
                      <a:pt x="10452" y="5814"/>
                      <a:pt x="10450" y="5808"/>
                      <a:pt x="10448" y="5801"/>
                    </a:cubicBezTo>
                    <a:lnTo>
                      <a:pt x="10301" y="5847"/>
                    </a:lnTo>
                    <a:close/>
                    <a:moveTo>
                      <a:pt x="10457" y="5784"/>
                    </a:moveTo>
                    <a:cubicBezTo>
                      <a:pt x="10583" y="5744"/>
                      <a:pt x="10583" y="5744"/>
                      <a:pt x="10583" y="5744"/>
                    </a:cubicBezTo>
                    <a:cubicBezTo>
                      <a:pt x="10573" y="5713"/>
                      <a:pt x="10558" y="5669"/>
                      <a:pt x="10542" y="5622"/>
                    </a:cubicBezTo>
                    <a:cubicBezTo>
                      <a:pt x="10415" y="5662"/>
                      <a:pt x="10415" y="5662"/>
                      <a:pt x="10415" y="5662"/>
                    </a:cubicBezTo>
                    <a:cubicBezTo>
                      <a:pt x="10432" y="5712"/>
                      <a:pt x="10447" y="5756"/>
                      <a:pt x="10457" y="5784"/>
                    </a:cubicBezTo>
                    <a:close/>
                    <a:moveTo>
                      <a:pt x="10461" y="5797"/>
                    </a:moveTo>
                    <a:cubicBezTo>
                      <a:pt x="10464" y="5804"/>
                      <a:pt x="10465" y="5809"/>
                      <a:pt x="10466" y="5812"/>
                    </a:cubicBezTo>
                    <a:cubicBezTo>
                      <a:pt x="10510" y="5798"/>
                      <a:pt x="10552" y="5785"/>
                      <a:pt x="10593" y="5772"/>
                    </a:cubicBezTo>
                    <a:cubicBezTo>
                      <a:pt x="10591" y="5767"/>
                      <a:pt x="10590" y="5762"/>
                      <a:pt x="10588" y="5757"/>
                    </a:cubicBezTo>
                    <a:lnTo>
                      <a:pt x="10461" y="5797"/>
                    </a:lnTo>
                    <a:close/>
                    <a:moveTo>
                      <a:pt x="10597" y="5740"/>
                    </a:moveTo>
                    <a:cubicBezTo>
                      <a:pt x="10721" y="5701"/>
                      <a:pt x="10721" y="5701"/>
                      <a:pt x="10721" y="5701"/>
                    </a:cubicBezTo>
                    <a:cubicBezTo>
                      <a:pt x="10711" y="5671"/>
                      <a:pt x="10696" y="5627"/>
                      <a:pt x="10679" y="5579"/>
                    </a:cubicBezTo>
                    <a:cubicBezTo>
                      <a:pt x="10555" y="5618"/>
                      <a:pt x="10555" y="5618"/>
                      <a:pt x="10555" y="5618"/>
                    </a:cubicBezTo>
                    <a:cubicBezTo>
                      <a:pt x="10571" y="5665"/>
                      <a:pt x="10586" y="5709"/>
                      <a:pt x="10597" y="5740"/>
                    </a:cubicBezTo>
                    <a:close/>
                    <a:moveTo>
                      <a:pt x="10601" y="5753"/>
                    </a:moveTo>
                    <a:cubicBezTo>
                      <a:pt x="10603" y="5758"/>
                      <a:pt x="10605" y="5763"/>
                      <a:pt x="10606" y="5767"/>
                    </a:cubicBezTo>
                    <a:cubicBezTo>
                      <a:pt x="10649" y="5753"/>
                      <a:pt x="10691" y="5740"/>
                      <a:pt x="10730" y="5727"/>
                    </a:cubicBezTo>
                    <a:cubicBezTo>
                      <a:pt x="10729" y="5724"/>
                      <a:pt x="10727" y="5719"/>
                      <a:pt x="10725" y="5714"/>
                    </a:cubicBezTo>
                    <a:lnTo>
                      <a:pt x="10601" y="5753"/>
                    </a:lnTo>
                    <a:close/>
                    <a:moveTo>
                      <a:pt x="10734" y="5697"/>
                    </a:moveTo>
                    <a:cubicBezTo>
                      <a:pt x="10845" y="5662"/>
                      <a:pt x="10845" y="5662"/>
                      <a:pt x="10845" y="5662"/>
                    </a:cubicBezTo>
                    <a:cubicBezTo>
                      <a:pt x="10807" y="5538"/>
                      <a:pt x="10807" y="5538"/>
                      <a:pt x="10807" y="5538"/>
                    </a:cubicBezTo>
                    <a:cubicBezTo>
                      <a:pt x="10693" y="5574"/>
                      <a:pt x="10693" y="5574"/>
                      <a:pt x="10693" y="5574"/>
                    </a:cubicBezTo>
                    <a:cubicBezTo>
                      <a:pt x="10709" y="5622"/>
                      <a:pt x="10724" y="5667"/>
                      <a:pt x="10734" y="5697"/>
                    </a:cubicBezTo>
                    <a:close/>
                    <a:moveTo>
                      <a:pt x="10739" y="5709"/>
                    </a:moveTo>
                    <a:cubicBezTo>
                      <a:pt x="10740" y="5715"/>
                      <a:pt x="10742" y="5719"/>
                      <a:pt x="10743" y="5723"/>
                    </a:cubicBezTo>
                    <a:cubicBezTo>
                      <a:pt x="10791" y="5708"/>
                      <a:pt x="10835" y="5694"/>
                      <a:pt x="10875" y="5681"/>
                    </a:cubicBezTo>
                    <a:cubicBezTo>
                      <a:pt x="10868" y="5662"/>
                      <a:pt x="10838" y="5575"/>
                      <a:pt x="10808" y="5486"/>
                    </a:cubicBezTo>
                    <a:cubicBezTo>
                      <a:pt x="10791" y="5436"/>
                      <a:pt x="10774" y="5385"/>
                      <a:pt x="10762" y="5347"/>
                    </a:cubicBezTo>
                    <a:cubicBezTo>
                      <a:pt x="10751" y="5313"/>
                      <a:pt x="10743" y="5291"/>
                      <a:pt x="10741" y="5281"/>
                    </a:cubicBezTo>
                    <a:cubicBezTo>
                      <a:pt x="10326" y="5411"/>
                      <a:pt x="10326" y="5411"/>
                      <a:pt x="10326" y="5411"/>
                    </a:cubicBezTo>
                    <a:cubicBezTo>
                      <a:pt x="10325" y="5411"/>
                      <a:pt x="10325" y="5411"/>
                      <a:pt x="10325" y="5411"/>
                    </a:cubicBezTo>
                    <a:cubicBezTo>
                      <a:pt x="10329" y="5417"/>
                      <a:pt x="10329" y="5417"/>
                      <a:pt x="10329" y="5417"/>
                    </a:cubicBezTo>
                    <a:cubicBezTo>
                      <a:pt x="10325" y="5411"/>
                      <a:pt x="10325" y="5411"/>
                      <a:pt x="10325" y="5411"/>
                    </a:cubicBezTo>
                    <a:cubicBezTo>
                      <a:pt x="10332" y="5413"/>
                      <a:pt x="10332" y="5413"/>
                      <a:pt x="10332" y="5413"/>
                    </a:cubicBezTo>
                    <a:cubicBezTo>
                      <a:pt x="10326" y="5412"/>
                      <a:pt x="10326" y="5412"/>
                      <a:pt x="10326" y="5412"/>
                    </a:cubicBezTo>
                    <a:cubicBezTo>
                      <a:pt x="10330" y="5412"/>
                      <a:pt x="10330" y="5412"/>
                      <a:pt x="10330" y="5412"/>
                    </a:cubicBezTo>
                    <a:cubicBezTo>
                      <a:pt x="10332" y="5411"/>
                      <a:pt x="10332" y="5411"/>
                      <a:pt x="10332" y="5411"/>
                    </a:cubicBezTo>
                    <a:cubicBezTo>
                      <a:pt x="10334" y="5421"/>
                      <a:pt x="10368" y="5523"/>
                      <a:pt x="10401" y="5622"/>
                    </a:cubicBezTo>
                    <a:cubicBezTo>
                      <a:pt x="10404" y="5631"/>
                      <a:pt x="10408" y="5641"/>
                      <a:pt x="10411" y="5650"/>
                    </a:cubicBezTo>
                    <a:cubicBezTo>
                      <a:pt x="10538" y="5610"/>
                      <a:pt x="10538" y="5610"/>
                      <a:pt x="10538" y="5610"/>
                    </a:cubicBezTo>
                    <a:cubicBezTo>
                      <a:pt x="10535" y="5603"/>
                      <a:pt x="10533" y="5597"/>
                      <a:pt x="10531" y="5591"/>
                    </a:cubicBezTo>
                    <a:cubicBezTo>
                      <a:pt x="10514" y="5540"/>
                      <a:pt x="10497" y="5490"/>
                      <a:pt x="10484" y="5451"/>
                    </a:cubicBezTo>
                    <a:cubicBezTo>
                      <a:pt x="10472" y="5412"/>
                      <a:pt x="10463" y="5388"/>
                      <a:pt x="10463" y="5381"/>
                    </a:cubicBezTo>
                    <a:cubicBezTo>
                      <a:pt x="10463" y="5380"/>
                      <a:pt x="10463" y="5380"/>
                      <a:pt x="10463" y="5379"/>
                    </a:cubicBezTo>
                    <a:cubicBezTo>
                      <a:pt x="10463" y="5379"/>
                      <a:pt x="10463" y="5379"/>
                      <a:pt x="10464" y="5377"/>
                    </a:cubicBezTo>
                    <a:cubicBezTo>
                      <a:pt x="10464" y="5377"/>
                      <a:pt x="10464" y="5376"/>
                      <a:pt x="10466" y="5375"/>
                    </a:cubicBezTo>
                    <a:cubicBezTo>
                      <a:pt x="10468" y="5373"/>
                      <a:pt x="10474" y="5374"/>
                      <a:pt x="10475" y="5376"/>
                    </a:cubicBezTo>
                    <a:cubicBezTo>
                      <a:pt x="10470" y="5381"/>
                      <a:pt x="10470" y="5381"/>
                      <a:pt x="10470" y="5381"/>
                    </a:cubicBezTo>
                    <a:cubicBezTo>
                      <a:pt x="10470" y="5381"/>
                      <a:pt x="10470" y="5381"/>
                      <a:pt x="10470" y="5381"/>
                    </a:cubicBezTo>
                    <a:cubicBezTo>
                      <a:pt x="10477" y="5382"/>
                      <a:pt x="10477" y="5382"/>
                      <a:pt x="10477" y="5382"/>
                    </a:cubicBezTo>
                    <a:cubicBezTo>
                      <a:pt x="10471" y="5381"/>
                      <a:pt x="10471" y="5381"/>
                      <a:pt x="10471" y="5381"/>
                    </a:cubicBezTo>
                    <a:cubicBezTo>
                      <a:pt x="10475" y="5381"/>
                      <a:pt x="10475" y="5381"/>
                      <a:pt x="10475" y="5381"/>
                    </a:cubicBezTo>
                    <a:cubicBezTo>
                      <a:pt x="10477" y="5380"/>
                      <a:pt x="10477" y="5380"/>
                      <a:pt x="10477" y="5380"/>
                    </a:cubicBezTo>
                    <a:cubicBezTo>
                      <a:pt x="10479" y="5390"/>
                      <a:pt x="10513" y="5493"/>
                      <a:pt x="10546" y="5591"/>
                    </a:cubicBezTo>
                    <a:cubicBezTo>
                      <a:pt x="10548" y="5596"/>
                      <a:pt x="10549" y="5601"/>
                      <a:pt x="10551" y="5606"/>
                    </a:cubicBezTo>
                    <a:cubicBezTo>
                      <a:pt x="10675" y="5566"/>
                      <a:pt x="10675" y="5566"/>
                      <a:pt x="10675" y="5566"/>
                    </a:cubicBezTo>
                    <a:cubicBezTo>
                      <a:pt x="10672" y="5558"/>
                      <a:pt x="10669" y="5550"/>
                      <a:pt x="10667" y="5541"/>
                    </a:cubicBezTo>
                    <a:cubicBezTo>
                      <a:pt x="10650" y="5491"/>
                      <a:pt x="10633" y="5441"/>
                      <a:pt x="10620" y="5402"/>
                    </a:cubicBezTo>
                    <a:cubicBezTo>
                      <a:pt x="10607" y="5363"/>
                      <a:pt x="10599" y="5338"/>
                      <a:pt x="10598" y="5332"/>
                    </a:cubicBezTo>
                    <a:cubicBezTo>
                      <a:pt x="10598" y="5331"/>
                      <a:pt x="10598" y="5331"/>
                      <a:pt x="10599" y="5330"/>
                    </a:cubicBezTo>
                    <a:cubicBezTo>
                      <a:pt x="10599" y="5330"/>
                      <a:pt x="10599" y="5329"/>
                      <a:pt x="10599" y="5328"/>
                    </a:cubicBezTo>
                    <a:cubicBezTo>
                      <a:pt x="10600" y="5328"/>
                      <a:pt x="10600" y="5327"/>
                      <a:pt x="10602" y="5325"/>
                    </a:cubicBezTo>
                    <a:cubicBezTo>
                      <a:pt x="10604" y="5324"/>
                      <a:pt x="10609" y="5324"/>
                      <a:pt x="10610" y="5326"/>
                    </a:cubicBezTo>
                    <a:cubicBezTo>
                      <a:pt x="10601" y="5336"/>
                      <a:pt x="10601" y="5336"/>
                      <a:pt x="10601" y="5336"/>
                    </a:cubicBezTo>
                    <a:cubicBezTo>
                      <a:pt x="10605" y="5331"/>
                      <a:pt x="10605" y="5331"/>
                      <a:pt x="10605" y="5331"/>
                    </a:cubicBezTo>
                    <a:cubicBezTo>
                      <a:pt x="10609" y="5337"/>
                      <a:pt x="10609" y="5337"/>
                      <a:pt x="10609" y="5337"/>
                    </a:cubicBezTo>
                    <a:cubicBezTo>
                      <a:pt x="10606" y="5331"/>
                      <a:pt x="10606" y="5331"/>
                      <a:pt x="10606" y="5331"/>
                    </a:cubicBezTo>
                    <a:cubicBezTo>
                      <a:pt x="10612" y="5332"/>
                      <a:pt x="10612" y="5332"/>
                      <a:pt x="10612" y="5332"/>
                    </a:cubicBezTo>
                    <a:cubicBezTo>
                      <a:pt x="10606" y="5332"/>
                      <a:pt x="10606" y="5332"/>
                      <a:pt x="10606" y="5332"/>
                    </a:cubicBezTo>
                    <a:cubicBezTo>
                      <a:pt x="10610" y="5332"/>
                      <a:pt x="10610" y="5332"/>
                      <a:pt x="10610" y="5332"/>
                    </a:cubicBezTo>
                    <a:cubicBezTo>
                      <a:pt x="10612" y="5331"/>
                      <a:pt x="10612" y="5331"/>
                      <a:pt x="10612" y="5331"/>
                    </a:cubicBezTo>
                    <a:cubicBezTo>
                      <a:pt x="10614" y="5341"/>
                      <a:pt x="10648" y="5443"/>
                      <a:pt x="10681" y="5541"/>
                    </a:cubicBezTo>
                    <a:cubicBezTo>
                      <a:pt x="10684" y="5548"/>
                      <a:pt x="10686" y="5555"/>
                      <a:pt x="10688" y="5562"/>
                    </a:cubicBezTo>
                    <a:cubicBezTo>
                      <a:pt x="10816" y="5522"/>
                      <a:pt x="10816" y="5522"/>
                      <a:pt x="10816" y="5522"/>
                    </a:cubicBezTo>
                    <a:cubicBezTo>
                      <a:pt x="10818" y="5528"/>
                      <a:pt x="10818" y="5528"/>
                      <a:pt x="10818" y="5528"/>
                    </a:cubicBezTo>
                    <a:cubicBezTo>
                      <a:pt x="10861" y="5671"/>
                      <a:pt x="10861" y="5671"/>
                      <a:pt x="10861" y="5671"/>
                    </a:cubicBezTo>
                    <a:lnTo>
                      <a:pt x="10739" y="5709"/>
                    </a:lnTo>
                    <a:close/>
                    <a:moveTo>
                      <a:pt x="10888" y="5677"/>
                    </a:moveTo>
                    <a:cubicBezTo>
                      <a:pt x="11010" y="5637"/>
                      <a:pt x="11094" y="5610"/>
                      <a:pt x="11115" y="5604"/>
                    </a:cubicBezTo>
                    <a:cubicBezTo>
                      <a:pt x="10977" y="5207"/>
                      <a:pt x="10977" y="5207"/>
                      <a:pt x="10977" y="5207"/>
                    </a:cubicBezTo>
                    <a:cubicBezTo>
                      <a:pt x="10754" y="5277"/>
                      <a:pt x="10754" y="5277"/>
                      <a:pt x="10754" y="5277"/>
                    </a:cubicBezTo>
                    <a:cubicBezTo>
                      <a:pt x="10757" y="5289"/>
                      <a:pt x="10790" y="5389"/>
                      <a:pt x="10823" y="5486"/>
                    </a:cubicBezTo>
                    <a:cubicBezTo>
                      <a:pt x="10853" y="5575"/>
                      <a:pt x="10882" y="5660"/>
                      <a:pt x="10888" y="5677"/>
                    </a:cubicBezTo>
                    <a:close/>
                    <a:moveTo>
                      <a:pt x="11035" y="5174"/>
                    </a:moveTo>
                    <a:cubicBezTo>
                      <a:pt x="11353" y="5072"/>
                      <a:pt x="11353" y="5072"/>
                      <a:pt x="11353" y="5072"/>
                    </a:cubicBezTo>
                    <a:cubicBezTo>
                      <a:pt x="11208" y="4693"/>
                      <a:pt x="11208" y="4693"/>
                      <a:pt x="11208" y="4693"/>
                    </a:cubicBezTo>
                    <a:cubicBezTo>
                      <a:pt x="11109" y="4726"/>
                      <a:pt x="11006" y="4759"/>
                      <a:pt x="10903" y="4793"/>
                    </a:cubicBezTo>
                    <a:lnTo>
                      <a:pt x="11035" y="5174"/>
                    </a:lnTo>
                    <a:close/>
                    <a:moveTo>
                      <a:pt x="11366" y="5068"/>
                    </a:moveTo>
                    <a:cubicBezTo>
                      <a:pt x="11700" y="4962"/>
                      <a:pt x="11700" y="4962"/>
                      <a:pt x="11700" y="4962"/>
                    </a:cubicBezTo>
                    <a:cubicBezTo>
                      <a:pt x="11554" y="4580"/>
                      <a:pt x="11554" y="4580"/>
                      <a:pt x="11554" y="4580"/>
                    </a:cubicBezTo>
                    <a:cubicBezTo>
                      <a:pt x="11456" y="4612"/>
                      <a:pt x="11342" y="4649"/>
                      <a:pt x="11221" y="4689"/>
                    </a:cubicBezTo>
                    <a:lnTo>
                      <a:pt x="11366" y="5068"/>
                    </a:lnTo>
                    <a:close/>
                    <a:moveTo>
                      <a:pt x="11714" y="4958"/>
                    </a:moveTo>
                    <a:cubicBezTo>
                      <a:pt x="12023" y="4859"/>
                      <a:pt x="12023" y="4859"/>
                      <a:pt x="12023" y="4859"/>
                    </a:cubicBezTo>
                    <a:cubicBezTo>
                      <a:pt x="12020" y="4853"/>
                      <a:pt x="12018" y="4847"/>
                      <a:pt x="12015" y="4841"/>
                    </a:cubicBezTo>
                    <a:cubicBezTo>
                      <a:pt x="11942" y="4689"/>
                      <a:pt x="11873" y="4542"/>
                      <a:pt x="11846" y="4484"/>
                    </a:cubicBezTo>
                    <a:cubicBezTo>
                      <a:pt x="11800" y="4499"/>
                      <a:pt x="11699" y="4532"/>
                      <a:pt x="11567" y="4576"/>
                    </a:cubicBezTo>
                    <a:lnTo>
                      <a:pt x="11714" y="4958"/>
                    </a:lnTo>
                    <a:close/>
                    <a:moveTo>
                      <a:pt x="12084" y="4833"/>
                    </a:moveTo>
                    <a:cubicBezTo>
                      <a:pt x="12407" y="4640"/>
                      <a:pt x="12407" y="4640"/>
                      <a:pt x="12407" y="4640"/>
                    </a:cubicBezTo>
                    <a:cubicBezTo>
                      <a:pt x="12458" y="4515"/>
                      <a:pt x="12458" y="4515"/>
                      <a:pt x="12458" y="4515"/>
                    </a:cubicBezTo>
                    <a:cubicBezTo>
                      <a:pt x="12432" y="4500"/>
                      <a:pt x="12358" y="4456"/>
                      <a:pt x="12282" y="4412"/>
                    </a:cubicBezTo>
                    <a:cubicBezTo>
                      <a:pt x="12235" y="4384"/>
                      <a:pt x="12187" y="4357"/>
                      <a:pt x="12151" y="4337"/>
                    </a:cubicBezTo>
                    <a:cubicBezTo>
                      <a:pt x="12134" y="4327"/>
                      <a:pt x="12120" y="4319"/>
                      <a:pt x="12109" y="4313"/>
                    </a:cubicBezTo>
                    <a:cubicBezTo>
                      <a:pt x="12078" y="4342"/>
                      <a:pt x="12053" y="4364"/>
                      <a:pt x="12038" y="4376"/>
                    </a:cubicBezTo>
                    <a:cubicBezTo>
                      <a:pt x="11981" y="4421"/>
                      <a:pt x="11936" y="4447"/>
                      <a:pt x="11907" y="4461"/>
                    </a:cubicBezTo>
                    <a:cubicBezTo>
                      <a:pt x="11937" y="4524"/>
                      <a:pt x="12010" y="4678"/>
                      <a:pt x="12084" y="4833"/>
                    </a:cubicBezTo>
                    <a:close/>
                    <a:moveTo>
                      <a:pt x="12463" y="4502"/>
                    </a:moveTo>
                    <a:cubicBezTo>
                      <a:pt x="12519" y="4362"/>
                      <a:pt x="12519" y="4362"/>
                      <a:pt x="12519" y="4362"/>
                    </a:cubicBezTo>
                    <a:cubicBezTo>
                      <a:pt x="12510" y="4347"/>
                      <a:pt x="12468" y="4283"/>
                      <a:pt x="12426" y="4218"/>
                    </a:cubicBezTo>
                    <a:cubicBezTo>
                      <a:pt x="12401" y="4182"/>
                      <a:pt x="12377" y="4145"/>
                      <a:pt x="12358" y="4117"/>
                    </a:cubicBezTo>
                    <a:cubicBezTo>
                      <a:pt x="12351" y="4108"/>
                      <a:pt x="12345" y="4100"/>
                      <a:pt x="12340" y="4093"/>
                    </a:cubicBezTo>
                    <a:cubicBezTo>
                      <a:pt x="12258" y="4172"/>
                      <a:pt x="12179" y="4248"/>
                      <a:pt x="12120" y="4303"/>
                    </a:cubicBezTo>
                    <a:cubicBezTo>
                      <a:pt x="12196" y="4344"/>
                      <a:pt x="12409" y="4470"/>
                      <a:pt x="12463" y="4502"/>
                    </a:cubicBezTo>
                    <a:close/>
                    <a:moveTo>
                      <a:pt x="12359" y="3983"/>
                    </a:moveTo>
                    <a:cubicBezTo>
                      <a:pt x="12481" y="3864"/>
                      <a:pt x="12595" y="3751"/>
                      <a:pt x="12636" y="3711"/>
                    </a:cubicBezTo>
                    <a:cubicBezTo>
                      <a:pt x="11975" y="3153"/>
                      <a:pt x="11975" y="3153"/>
                      <a:pt x="11975" y="3153"/>
                    </a:cubicBezTo>
                    <a:cubicBezTo>
                      <a:pt x="11968" y="3149"/>
                      <a:pt x="11943" y="3138"/>
                      <a:pt x="11912" y="3138"/>
                    </a:cubicBezTo>
                    <a:cubicBezTo>
                      <a:pt x="11885" y="3138"/>
                      <a:pt x="11854" y="3145"/>
                      <a:pt x="11819" y="3175"/>
                    </a:cubicBezTo>
                    <a:cubicBezTo>
                      <a:pt x="11775" y="3214"/>
                      <a:pt x="11748" y="3235"/>
                      <a:pt x="11729" y="3248"/>
                    </a:cubicBezTo>
                    <a:cubicBezTo>
                      <a:pt x="12334" y="4008"/>
                      <a:pt x="12334" y="4008"/>
                      <a:pt x="12334" y="4008"/>
                    </a:cubicBezTo>
                    <a:cubicBezTo>
                      <a:pt x="12342" y="3999"/>
                      <a:pt x="12350" y="3991"/>
                      <a:pt x="12359" y="3983"/>
                    </a:cubicBezTo>
                    <a:close/>
                    <a:moveTo>
                      <a:pt x="11366" y="2896"/>
                    </a:moveTo>
                    <a:cubicBezTo>
                      <a:pt x="11358" y="2889"/>
                      <a:pt x="11329" y="2865"/>
                      <a:pt x="11283" y="2830"/>
                    </a:cubicBezTo>
                    <a:cubicBezTo>
                      <a:pt x="11228" y="2787"/>
                      <a:pt x="11148" y="2729"/>
                      <a:pt x="11049" y="2664"/>
                    </a:cubicBezTo>
                    <a:cubicBezTo>
                      <a:pt x="10898" y="2565"/>
                      <a:pt x="10742" y="2462"/>
                      <a:pt x="10675" y="2417"/>
                    </a:cubicBezTo>
                    <a:cubicBezTo>
                      <a:pt x="9485" y="4938"/>
                      <a:pt x="9485" y="4938"/>
                      <a:pt x="9485" y="4938"/>
                    </a:cubicBezTo>
                    <a:cubicBezTo>
                      <a:pt x="9529" y="4963"/>
                      <a:pt x="9643" y="5018"/>
                      <a:pt x="9776" y="5034"/>
                    </a:cubicBezTo>
                    <a:cubicBezTo>
                      <a:pt x="9781" y="4995"/>
                      <a:pt x="9811" y="4917"/>
                      <a:pt x="9811" y="4916"/>
                    </a:cubicBezTo>
                    <a:cubicBezTo>
                      <a:pt x="9812" y="4913"/>
                      <a:pt x="9812" y="4913"/>
                      <a:pt x="9812" y="4913"/>
                    </a:cubicBezTo>
                    <a:cubicBezTo>
                      <a:pt x="9975" y="4841"/>
                      <a:pt x="9975" y="4841"/>
                      <a:pt x="9975" y="4841"/>
                    </a:cubicBezTo>
                    <a:cubicBezTo>
                      <a:pt x="9879" y="4520"/>
                      <a:pt x="9879" y="4520"/>
                      <a:pt x="9879" y="4520"/>
                    </a:cubicBezTo>
                    <a:cubicBezTo>
                      <a:pt x="9886" y="4518"/>
                      <a:pt x="9886" y="4518"/>
                      <a:pt x="9886" y="4518"/>
                    </a:cubicBezTo>
                    <a:cubicBezTo>
                      <a:pt x="9886" y="4518"/>
                      <a:pt x="10047" y="4466"/>
                      <a:pt x="10209" y="4413"/>
                    </a:cubicBezTo>
                    <a:cubicBezTo>
                      <a:pt x="10290" y="4386"/>
                      <a:pt x="10371" y="4360"/>
                      <a:pt x="10431" y="4339"/>
                    </a:cubicBezTo>
                    <a:cubicBezTo>
                      <a:pt x="10462" y="4329"/>
                      <a:pt x="10487" y="4320"/>
                      <a:pt x="10504" y="4314"/>
                    </a:cubicBezTo>
                    <a:cubicBezTo>
                      <a:pt x="10513" y="4311"/>
                      <a:pt x="10520" y="4308"/>
                      <a:pt x="10525" y="4306"/>
                    </a:cubicBezTo>
                    <a:cubicBezTo>
                      <a:pt x="10527" y="4305"/>
                      <a:pt x="10528" y="4305"/>
                      <a:pt x="10529" y="4304"/>
                    </a:cubicBezTo>
                    <a:cubicBezTo>
                      <a:pt x="10529" y="4304"/>
                      <a:pt x="10530" y="4304"/>
                      <a:pt x="10530" y="4303"/>
                    </a:cubicBezTo>
                    <a:cubicBezTo>
                      <a:pt x="10531" y="4303"/>
                      <a:pt x="10531" y="4302"/>
                      <a:pt x="10532" y="4302"/>
                    </a:cubicBezTo>
                    <a:cubicBezTo>
                      <a:pt x="10532" y="4302"/>
                      <a:pt x="10532" y="4302"/>
                      <a:pt x="10532" y="4302"/>
                    </a:cubicBezTo>
                    <a:cubicBezTo>
                      <a:pt x="10533" y="4302"/>
                      <a:pt x="10534" y="4302"/>
                      <a:pt x="10535" y="4302"/>
                    </a:cubicBezTo>
                    <a:cubicBezTo>
                      <a:pt x="10536" y="4302"/>
                      <a:pt x="10538" y="4302"/>
                      <a:pt x="10539" y="4304"/>
                    </a:cubicBezTo>
                    <a:cubicBezTo>
                      <a:pt x="10540" y="4304"/>
                      <a:pt x="10541" y="4305"/>
                      <a:pt x="10541" y="4306"/>
                    </a:cubicBezTo>
                    <a:cubicBezTo>
                      <a:pt x="10541" y="4307"/>
                      <a:pt x="10541" y="4307"/>
                      <a:pt x="10541" y="4307"/>
                    </a:cubicBezTo>
                    <a:cubicBezTo>
                      <a:pt x="10545" y="4315"/>
                      <a:pt x="10576" y="4381"/>
                      <a:pt x="10585" y="4400"/>
                    </a:cubicBezTo>
                    <a:cubicBezTo>
                      <a:pt x="10746" y="4369"/>
                      <a:pt x="10746" y="4369"/>
                      <a:pt x="10746" y="4369"/>
                    </a:cubicBezTo>
                    <a:cubicBezTo>
                      <a:pt x="10860" y="4738"/>
                      <a:pt x="10860" y="4738"/>
                      <a:pt x="10860" y="4738"/>
                    </a:cubicBezTo>
                    <a:cubicBezTo>
                      <a:pt x="10916" y="4719"/>
                      <a:pt x="10973" y="4701"/>
                      <a:pt x="11028" y="4683"/>
                    </a:cubicBezTo>
                    <a:cubicBezTo>
                      <a:pt x="11243" y="4613"/>
                      <a:pt x="11449" y="4545"/>
                      <a:pt x="11602" y="4495"/>
                    </a:cubicBezTo>
                    <a:cubicBezTo>
                      <a:pt x="11754" y="4445"/>
                      <a:pt x="11852" y="4413"/>
                      <a:pt x="11853" y="4413"/>
                    </a:cubicBezTo>
                    <a:cubicBezTo>
                      <a:pt x="11852" y="4413"/>
                      <a:pt x="11853" y="4413"/>
                      <a:pt x="11854" y="4412"/>
                    </a:cubicBezTo>
                    <a:cubicBezTo>
                      <a:pt x="11864" y="4409"/>
                      <a:pt x="11918" y="4387"/>
                      <a:pt x="11998" y="4324"/>
                    </a:cubicBezTo>
                    <a:cubicBezTo>
                      <a:pt x="12034" y="4296"/>
                      <a:pt x="12158" y="4179"/>
                      <a:pt x="12286" y="4054"/>
                    </a:cubicBezTo>
                    <a:lnTo>
                      <a:pt x="11366" y="2896"/>
                    </a:lnTo>
                    <a:close/>
                    <a:moveTo>
                      <a:pt x="12531" y="6973"/>
                    </a:moveTo>
                    <a:cubicBezTo>
                      <a:pt x="12725" y="6676"/>
                      <a:pt x="12725" y="6676"/>
                      <a:pt x="12725" y="6676"/>
                    </a:cubicBezTo>
                    <a:cubicBezTo>
                      <a:pt x="12795" y="6476"/>
                      <a:pt x="12795" y="6476"/>
                      <a:pt x="12795" y="6476"/>
                    </a:cubicBezTo>
                    <a:cubicBezTo>
                      <a:pt x="12796" y="6474"/>
                      <a:pt x="12796" y="6474"/>
                      <a:pt x="12796" y="6474"/>
                    </a:cubicBezTo>
                    <a:cubicBezTo>
                      <a:pt x="12796" y="6474"/>
                      <a:pt x="12796" y="6472"/>
                      <a:pt x="12796" y="6470"/>
                    </a:cubicBezTo>
                    <a:cubicBezTo>
                      <a:pt x="12795" y="6464"/>
                      <a:pt x="12797" y="6443"/>
                      <a:pt x="12733" y="6414"/>
                    </a:cubicBezTo>
                    <a:cubicBezTo>
                      <a:pt x="12673" y="6387"/>
                      <a:pt x="12496" y="6281"/>
                      <a:pt x="12329" y="6179"/>
                    </a:cubicBezTo>
                    <a:cubicBezTo>
                      <a:pt x="12162" y="6077"/>
                      <a:pt x="12010" y="5982"/>
                      <a:pt x="12010" y="5982"/>
                    </a:cubicBezTo>
                    <a:cubicBezTo>
                      <a:pt x="12007" y="5980"/>
                      <a:pt x="12007" y="5980"/>
                      <a:pt x="12007" y="5980"/>
                    </a:cubicBezTo>
                    <a:cubicBezTo>
                      <a:pt x="12005" y="5978"/>
                      <a:pt x="12005" y="5978"/>
                      <a:pt x="12005" y="5978"/>
                    </a:cubicBezTo>
                    <a:cubicBezTo>
                      <a:pt x="12004" y="5978"/>
                      <a:pt x="11768" y="5754"/>
                      <a:pt x="11660" y="5630"/>
                    </a:cubicBezTo>
                    <a:cubicBezTo>
                      <a:pt x="11003" y="5814"/>
                      <a:pt x="11003" y="5814"/>
                      <a:pt x="11003" y="5814"/>
                    </a:cubicBezTo>
                    <a:cubicBezTo>
                      <a:pt x="9698" y="6242"/>
                      <a:pt x="9698" y="6242"/>
                      <a:pt x="9698" y="6242"/>
                    </a:cubicBezTo>
                    <a:cubicBezTo>
                      <a:pt x="8965" y="6491"/>
                      <a:pt x="8965" y="6491"/>
                      <a:pt x="8965" y="6491"/>
                    </a:cubicBezTo>
                    <a:cubicBezTo>
                      <a:pt x="8990" y="6492"/>
                      <a:pt x="9017" y="6493"/>
                      <a:pt x="9045" y="6493"/>
                    </a:cubicBezTo>
                    <a:cubicBezTo>
                      <a:pt x="9210" y="6498"/>
                      <a:pt x="9419" y="6502"/>
                      <a:pt x="9593" y="6502"/>
                    </a:cubicBezTo>
                    <a:cubicBezTo>
                      <a:pt x="9651" y="6502"/>
                      <a:pt x="9705" y="6502"/>
                      <a:pt x="9752" y="6501"/>
                    </a:cubicBezTo>
                    <a:cubicBezTo>
                      <a:pt x="9758" y="6500"/>
                      <a:pt x="9763" y="6500"/>
                      <a:pt x="9768" y="6500"/>
                    </a:cubicBezTo>
                    <a:cubicBezTo>
                      <a:pt x="9937" y="6500"/>
                      <a:pt x="10035" y="6570"/>
                      <a:pt x="10085" y="6641"/>
                    </a:cubicBezTo>
                    <a:cubicBezTo>
                      <a:pt x="10135" y="6712"/>
                      <a:pt x="10141" y="6781"/>
                      <a:pt x="10141" y="6784"/>
                    </a:cubicBezTo>
                    <a:cubicBezTo>
                      <a:pt x="10141" y="6785"/>
                      <a:pt x="10141" y="6785"/>
                      <a:pt x="10141" y="6785"/>
                    </a:cubicBezTo>
                    <a:cubicBezTo>
                      <a:pt x="10141" y="6786"/>
                      <a:pt x="10141" y="6786"/>
                      <a:pt x="10141" y="6786"/>
                    </a:cubicBezTo>
                    <a:cubicBezTo>
                      <a:pt x="10141" y="6786"/>
                      <a:pt x="10148" y="7487"/>
                      <a:pt x="10148" y="7835"/>
                    </a:cubicBezTo>
                    <a:cubicBezTo>
                      <a:pt x="10148" y="7893"/>
                      <a:pt x="10148" y="7941"/>
                      <a:pt x="10147" y="7975"/>
                    </a:cubicBezTo>
                    <a:cubicBezTo>
                      <a:pt x="10147" y="7992"/>
                      <a:pt x="10147" y="8005"/>
                      <a:pt x="10146" y="8014"/>
                    </a:cubicBezTo>
                    <a:cubicBezTo>
                      <a:pt x="10146" y="8019"/>
                      <a:pt x="10146" y="8023"/>
                      <a:pt x="10146" y="8026"/>
                    </a:cubicBezTo>
                    <a:cubicBezTo>
                      <a:pt x="10146" y="8028"/>
                      <a:pt x="10145" y="8030"/>
                      <a:pt x="10145" y="8032"/>
                    </a:cubicBezTo>
                    <a:cubicBezTo>
                      <a:pt x="10216" y="8086"/>
                      <a:pt x="10422" y="8243"/>
                      <a:pt x="10553" y="8344"/>
                    </a:cubicBezTo>
                    <a:cubicBezTo>
                      <a:pt x="10710" y="8465"/>
                      <a:pt x="11053" y="8702"/>
                      <a:pt x="11348" y="8914"/>
                    </a:cubicBezTo>
                    <a:cubicBezTo>
                      <a:pt x="11358" y="8922"/>
                      <a:pt x="11368" y="8930"/>
                      <a:pt x="11378" y="8938"/>
                    </a:cubicBezTo>
                    <a:cubicBezTo>
                      <a:pt x="11784" y="8161"/>
                      <a:pt x="11784" y="8161"/>
                      <a:pt x="11784" y="8161"/>
                    </a:cubicBezTo>
                    <a:cubicBezTo>
                      <a:pt x="11784" y="8160"/>
                      <a:pt x="11784" y="8160"/>
                      <a:pt x="11784" y="8160"/>
                    </a:cubicBezTo>
                    <a:cubicBezTo>
                      <a:pt x="11784" y="8160"/>
                      <a:pt x="11785" y="8159"/>
                      <a:pt x="11786" y="8157"/>
                    </a:cubicBezTo>
                    <a:cubicBezTo>
                      <a:pt x="11793" y="8144"/>
                      <a:pt x="11824" y="8080"/>
                      <a:pt x="11824" y="8003"/>
                    </a:cubicBezTo>
                    <a:cubicBezTo>
                      <a:pt x="11822" y="7915"/>
                      <a:pt x="11787" y="7810"/>
                      <a:pt x="11611" y="7728"/>
                    </a:cubicBezTo>
                    <a:cubicBezTo>
                      <a:pt x="11593" y="7720"/>
                      <a:pt x="11593" y="7720"/>
                      <a:pt x="11593" y="7720"/>
                    </a:cubicBezTo>
                    <a:cubicBezTo>
                      <a:pt x="11569" y="7304"/>
                      <a:pt x="11569" y="7304"/>
                      <a:pt x="11569" y="7304"/>
                    </a:cubicBezTo>
                    <a:cubicBezTo>
                      <a:pt x="11570" y="7303"/>
                      <a:pt x="11570" y="7303"/>
                      <a:pt x="11570" y="7303"/>
                    </a:cubicBezTo>
                    <a:cubicBezTo>
                      <a:pt x="11570" y="7301"/>
                      <a:pt x="11572" y="7236"/>
                      <a:pt x="11599" y="7168"/>
                    </a:cubicBezTo>
                    <a:cubicBezTo>
                      <a:pt x="11613" y="7134"/>
                      <a:pt x="11632" y="7099"/>
                      <a:pt x="11663" y="7071"/>
                    </a:cubicBezTo>
                    <a:cubicBezTo>
                      <a:pt x="11693" y="7043"/>
                      <a:pt x="11736" y="7023"/>
                      <a:pt x="11787" y="7024"/>
                    </a:cubicBezTo>
                    <a:cubicBezTo>
                      <a:pt x="11798" y="7023"/>
                      <a:pt x="11810" y="7024"/>
                      <a:pt x="11822" y="7026"/>
                    </a:cubicBezTo>
                    <a:cubicBezTo>
                      <a:pt x="11990" y="7052"/>
                      <a:pt x="12426" y="7131"/>
                      <a:pt x="12572" y="7158"/>
                    </a:cubicBezTo>
                    <a:lnTo>
                      <a:pt x="12531" y="6973"/>
                    </a:lnTo>
                    <a:close/>
                    <a:moveTo>
                      <a:pt x="9139" y="8775"/>
                    </a:moveTo>
                    <a:cubicBezTo>
                      <a:pt x="9139" y="8775"/>
                      <a:pt x="9140" y="8774"/>
                      <a:pt x="9140" y="8773"/>
                    </a:cubicBezTo>
                    <a:cubicBezTo>
                      <a:pt x="9141" y="8772"/>
                      <a:pt x="9144" y="8771"/>
                      <a:pt x="9145" y="8771"/>
                    </a:cubicBezTo>
                    <a:cubicBezTo>
                      <a:pt x="9147" y="8771"/>
                      <a:pt x="9147" y="8772"/>
                      <a:pt x="9148" y="8772"/>
                    </a:cubicBezTo>
                    <a:cubicBezTo>
                      <a:pt x="9512" y="8597"/>
                      <a:pt x="9512" y="8597"/>
                      <a:pt x="9512" y="8597"/>
                    </a:cubicBezTo>
                    <a:cubicBezTo>
                      <a:pt x="9482" y="8030"/>
                      <a:pt x="9482" y="8030"/>
                      <a:pt x="9482" y="8030"/>
                    </a:cubicBezTo>
                    <a:cubicBezTo>
                      <a:pt x="8887" y="7990"/>
                      <a:pt x="8887" y="7990"/>
                      <a:pt x="8887" y="7990"/>
                    </a:cubicBezTo>
                    <a:cubicBezTo>
                      <a:pt x="8879" y="7990"/>
                      <a:pt x="8819" y="7992"/>
                      <a:pt x="8759" y="8020"/>
                    </a:cubicBezTo>
                    <a:cubicBezTo>
                      <a:pt x="8699" y="8050"/>
                      <a:pt x="8640" y="8101"/>
                      <a:pt x="8627" y="8214"/>
                    </a:cubicBezTo>
                    <a:cubicBezTo>
                      <a:pt x="8625" y="8235"/>
                      <a:pt x="8620" y="8442"/>
                      <a:pt x="8616" y="8651"/>
                    </a:cubicBezTo>
                    <a:cubicBezTo>
                      <a:pt x="8665" y="8662"/>
                      <a:pt x="8765" y="8687"/>
                      <a:pt x="8866" y="8712"/>
                    </a:cubicBezTo>
                    <a:cubicBezTo>
                      <a:pt x="8992" y="8743"/>
                      <a:pt x="9116" y="8774"/>
                      <a:pt x="9135" y="8778"/>
                    </a:cubicBezTo>
                    <a:cubicBezTo>
                      <a:pt x="9141" y="8776"/>
                      <a:pt x="9141" y="8776"/>
                      <a:pt x="9141" y="8776"/>
                    </a:cubicBezTo>
                    <a:lnTo>
                      <a:pt x="9139" y="8775"/>
                    </a:lnTo>
                    <a:close/>
                    <a:moveTo>
                      <a:pt x="9526" y="8596"/>
                    </a:moveTo>
                    <a:cubicBezTo>
                      <a:pt x="10130" y="8787"/>
                      <a:pt x="10130" y="8787"/>
                      <a:pt x="10130" y="8787"/>
                    </a:cubicBezTo>
                    <a:cubicBezTo>
                      <a:pt x="10144" y="8764"/>
                      <a:pt x="10210" y="8653"/>
                      <a:pt x="10277" y="8542"/>
                    </a:cubicBezTo>
                    <a:cubicBezTo>
                      <a:pt x="10315" y="8479"/>
                      <a:pt x="10352" y="8416"/>
                      <a:pt x="10381" y="8369"/>
                    </a:cubicBezTo>
                    <a:cubicBezTo>
                      <a:pt x="10394" y="8349"/>
                      <a:pt x="10404" y="8332"/>
                      <a:pt x="10412" y="8319"/>
                    </a:cubicBezTo>
                    <a:cubicBezTo>
                      <a:pt x="10278" y="8216"/>
                      <a:pt x="10124" y="8099"/>
                      <a:pt x="10088" y="8071"/>
                    </a:cubicBezTo>
                    <a:cubicBezTo>
                      <a:pt x="9496" y="8031"/>
                      <a:pt x="9496" y="8031"/>
                      <a:pt x="9496" y="8031"/>
                    </a:cubicBezTo>
                    <a:lnTo>
                      <a:pt x="9526" y="8596"/>
                    </a:lnTo>
                    <a:close/>
                    <a:moveTo>
                      <a:pt x="10142" y="8795"/>
                    </a:moveTo>
                    <a:cubicBezTo>
                      <a:pt x="10494" y="9172"/>
                      <a:pt x="10494" y="9172"/>
                      <a:pt x="10494" y="9172"/>
                    </a:cubicBezTo>
                    <a:cubicBezTo>
                      <a:pt x="10875" y="9334"/>
                      <a:pt x="10875" y="9334"/>
                      <a:pt x="10875" y="9334"/>
                    </a:cubicBezTo>
                    <a:cubicBezTo>
                      <a:pt x="10982" y="9251"/>
                      <a:pt x="11084" y="9171"/>
                      <a:pt x="11166" y="9107"/>
                    </a:cubicBezTo>
                    <a:cubicBezTo>
                      <a:pt x="11224" y="9062"/>
                      <a:pt x="11273" y="9025"/>
                      <a:pt x="11307" y="8998"/>
                    </a:cubicBezTo>
                    <a:cubicBezTo>
                      <a:pt x="11315" y="8992"/>
                      <a:pt x="11322" y="8987"/>
                      <a:pt x="11328" y="8982"/>
                    </a:cubicBezTo>
                    <a:cubicBezTo>
                      <a:pt x="11322" y="8977"/>
                      <a:pt x="11316" y="8972"/>
                      <a:pt x="11309" y="8968"/>
                    </a:cubicBezTo>
                    <a:cubicBezTo>
                      <a:pt x="11016" y="8756"/>
                      <a:pt x="10673" y="8519"/>
                      <a:pt x="10513" y="8396"/>
                    </a:cubicBezTo>
                    <a:cubicBezTo>
                      <a:pt x="10485" y="8375"/>
                      <a:pt x="10455" y="8352"/>
                      <a:pt x="10423" y="8327"/>
                    </a:cubicBezTo>
                    <a:cubicBezTo>
                      <a:pt x="10395" y="8373"/>
                      <a:pt x="10339" y="8465"/>
                      <a:pt x="10285" y="8555"/>
                    </a:cubicBezTo>
                    <a:cubicBezTo>
                      <a:pt x="10220" y="8665"/>
                      <a:pt x="10156" y="8772"/>
                      <a:pt x="10142" y="8795"/>
                    </a:cubicBezTo>
                    <a:close/>
                    <a:moveTo>
                      <a:pt x="8759" y="6550"/>
                    </a:moveTo>
                    <a:cubicBezTo>
                      <a:pt x="8671" y="6562"/>
                      <a:pt x="8671" y="6562"/>
                      <a:pt x="8671" y="6562"/>
                    </a:cubicBezTo>
                    <a:cubicBezTo>
                      <a:pt x="7829" y="6596"/>
                      <a:pt x="7829" y="6596"/>
                      <a:pt x="7829" y="6596"/>
                    </a:cubicBezTo>
                    <a:cubicBezTo>
                      <a:pt x="7813" y="6675"/>
                      <a:pt x="7802" y="6832"/>
                      <a:pt x="7795" y="6969"/>
                    </a:cubicBezTo>
                    <a:cubicBezTo>
                      <a:pt x="7791" y="7041"/>
                      <a:pt x="7788" y="7108"/>
                      <a:pt x="7785" y="7158"/>
                    </a:cubicBezTo>
                    <a:cubicBezTo>
                      <a:pt x="7783" y="7182"/>
                      <a:pt x="7782" y="7203"/>
                      <a:pt x="7780" y="7218"/>
                    </a:cubicBezTo>
                    <a:cubicBezTo>
                      <a:pt x="7780" y="7220"/>
                      <a:pt x="7779" y="7221"/>
                      <a:pt x="7779" y="7223"/>
                    </a:cubicBezTo>
                    <a:cubicBezTo>
                      <a:pt x="7788" y="7230"/>
                      <a:pt x="7802" y="7240"/>
                      <a:pt x="7817" y="7251"/>
                    </a:cubicBezTo>
                    <a:cubicBezTo>
                      <a:pt x="7925" y="7328"/>
                      <a:pt x="8170" y="7499"/>
                      <a:pt x="8388" y="7651"/>
                    </a:cubicBezTo>
                    <a:cubicBezTo>
                      <a:pt x="8606" y="7802"/>
                      <a:pt x="8796" y="7934"/>
                      <a:pt x="8797" y="7935"/>
                    </a:cubicBezTo>
                    <a:cubicBezTo>
                      <a:pt x="8794" y="7938"/>
                      <a:pt x="8794" y="7938"/>
                      <a:pt x="8794" y="7938"/>
                    </a:cubicBezTo>
                    <a:cubicBezTo>
                      <a:pt x="8842" y="7925"/>
                      <a:pt x="8880" y="7925"/>
                      <a:pt x="8887" y="7925"/>
                    </a:cubicBezTo>
                    <a:cubicBezTo>
                      <a:pt x="8889" y="7925"/>
                      <a:pt x="8890" y="7925"/>
                      <a:pt x="8890" y="7925"/>
                    </a:cubicBezTo>
                    <a:cubicBezTo>
                      <a:pt x="10081" y="8005"/>
                      <a:pt x="10081" y="8005"/>
                      <a:pt x="10081" y="8005"/>
                    </a:cubicBezTo>
                    <a:cubicBezTo>
                      <a:pt x="10082" y="7977"/>
                      <a:pt x="10082" y="7914"/>
                      <a:pt x="10082" y="7835"/>
                    </a:cubicBezTo>
                    <a:cubicBezTo>
                      <a:pt x="10082" y="7661"/>
                      <a:pt x="10081" y="7399"/>
                      <a:pt x="10079" y="7180"/>
                    </a:cubicBezTo>
                    <a:cubicBezTo>
                      <a:pt x="10077" y="6972"/>
                      <a:pt x="10076" y="6804"/>
                      <a:pt x="10075" y="6788"/>
                    </a:cubicBezTo>
                    <a:cubicBezTo>
                      <a:pt x="10075" y="6787"/>
                      <a:pt x="10075" y="6785"/>
                      <a:pt x="10074" y="6781"/>
                    </a:cubicBezTo>
                    <a:cubicBezTo>
                      <a:pt x="10071" y="6760"/>
                      <a:pt x="10058" y="6706"/>
                      <a:pt x="10015" y="6658"/>
                    </a:cubicBezTo>
                    <a:cubicBezTo>
                      <a:pt x="9972" y="6611"/>
                      <a:pt x="9901" y="6566"/>
                      <a:pt x="9768" y="6566"/>
                    </a:cubicBezTo>
                    <a:cubicBezTo>
                      <a:pt x="9764" y="6566"/>
                      <a:pt x="9759" y="6566"/>
                      <a:pt x="9754" y="6566"/>
                    </a:cubicBezTo>
                    <a:cubicBezTo>
                      <a:pt x="9706" y="6567"/>
                      <a:pt x="9651" y="6568"/>
                      <a:pt x="9593" y="6568"/>
                    </a:cubicBezTo>
                    <a:cubicBezTo>
                      <a:pt x="9258" y="6568"/>
                      <a:pt x="8801" y="6551"/>
                      <a:pt x="8759" y="6550"/>
                    </a:cubicBezTo>
                    <a:close/>
                    <a:moveTo>
                      <a:pt x="7542" y="8753"/>
                    </a:moveTo>
                    <a:cubicBezTo>
                      <a:pt x="7542" y="8759"/>
                      <a:pt x="7542" y="8759"/>
                      <a:pt x="7542" y="8759"/>
                    </a:cubicBezTo>
                    <a:cubicBezTo>
                      <a:pt x="7545" y="8752"/>
                      <a:pt x="7548" y="8746"/>
                      <a:pt x="7551" y="8740"/>
                    </a:cubicBezTo>
                    <a:cubicBezTo>
                      <a:pt x="7540" y="8727"/>
                      <a:pt x="7499" y="8666"/>
                      <a:pt x="7452" y="8595"/>
                    </a:cubicBezTo>
                    <a:cubicBezTo>
                      <a:pt x="7451" y="8684"/>
                      <a:pt x="7451" y="8684"/>
                      <a:pt x="7451" y="8684"/>
                    </a:cubicBezTo>
                    <a:cubicBezTo>
                      <a:pt x="7329" y="8684"/>
                      <a:pt x="7329" y="8684"/>
                      <a:pt x="7329" y="8684"/>
                    </a:cubicBezTo>
                    <a:cubicBezTo>
                      <a:pt x="7327" y="8502"/>
                      <a:pt x="7327" y="8502"/>
                      <a:pt x="7327" y="8502"/>
                    </a:cubicBezTo>
                    <a:cubicBezTo>
                      <a:pt x="7391" y="8501"/>
                      <a:pt x="7391" y="8501"/>
                      <a:pt x="7391" y="8501"/>
                    </a:cubicBezTo>
                    <a:cubicBezTo>
                      <a:pt x="7346" y="8433"/>
                      <a:pt x="7307" y="8373"/>
                      <a:pt x="7297" y="8357"/>
                    </a:cubicBezTo>
                    <a:cubicBezTo>
                      <a:pt x="7274" y="8363"/>
                      <a:pt x="7185" y="8383"/>
                      <a:pt x="7181" y="8384"/>
                    </a:cubicBezTo>
                    <a:cubicBezTo>
                      <a:pt x="7226" y="8744"/>
                      <a:pt x="7226" y="8744"/>
                      <a:pt x="7226" y="8744"/>
                    </a:cubicBezTo>
                    <a:lnTo>
                      <a:pt x="7542" y="8753"/>
                    </a:lnTo>
                    <a:close/>
                    <a:moveTo>
                      <a:pt x="6502" y="9863"/>
                    </a:moveTo>
                    <a:cubicBezTo>
                      <a:pt x="6502" y="9866"/>
                      <a:pt x="6502" y="9866"/>
                      <a:pt x="6502" y="9866"/>
                    </a:cubicBezTo>
                    <a:cubicBezTo>
                      <a:pt x="6501" y="9863"/>
                      <a:pt x="6501" y="9863"/>
                      <a:pt x="6501" y="9863"/>
                    </a:cubicBezTo>
                    <a:cubicBezTo>
                      <a:pt x="6503" y="9870"/>
                      <a:pt x="6503" y="9870"/>
                      <a:pt x="6503" y="9870"/>
                    </a:cubicBezTo>
                    <a:cubicBezTo>
                      <a:pt x="6506" y="9850"/>
                      <a:pt x="6510" y="9831"/>
                      <a:pt x="6513" y="9815"/>
                    </a:cubicBezTo>
                    <a:cubicBezTo>
                      <a:pt x="6516" y="9799"/>
                      <a:pt x="6519" y="9785"/>
                      <a:pt x="6521" y="9775"/>
                    </a:cubicBezTo>
                    <a:cubicBezTo>
                      <a:pt x="6522" y="9770"/>
                      <a:pt x="6523" y="9766"/>
                      <a:pt x="6523" y="9764"/>
                    </a:cubicBezTo>
                    <a:cubicBezTo>
                      <a:pt x="6523" y="9763"/>
                      <a:pt x="6523" y="9763"/>
                      <a:pt x="6523" y="9763"/>
                    </a:cubicBezTo>
                    <a:cubicBezTo>
                      <a:pt x="6220" y="9493"/>
                      <a:pt x="6220" y="9493"/>
                      <a:pt x="6220" y="9493"/>
                    </a:cubicBezTo>
                    <a:cubicBezTo>
                      <a:pt x="6164" y="9529"/>
                      <a:pt x="6100" y="9537"/>
                      <a:pt x="6058" y="9537"/>
                    </a:cubicBezTo>
                    <a:cubicBezTo>
                      <a:pt x="6056" y="9537"/>
                      <a:pt x="6054" y="9537"/>
                      <a:pt x="6052" y="9537"/>
                    </a:cubicBezTo>
                    <a:cubicBezTo>
                      <a:pt x="6053" y="9577"/>
                      <a:pt x="6054" y="9639"/>
                      <a:pt x="6054" y="9709"/>
                    </a:cubicBezTo>
                    <a:cubicBezTo>
                      <a:pt x="6054" y="9750"/>
                      <a:pt x="6054" y="9795"/>
                      <a:pt x="6053" y="9840"/>
                    </a:cubicBezTo>
                    <a:cubicBezTo>
                      <a:pt x="6241" y="9850"/>
                      <a:pt x="6241" y="9850"/>
                      <a:pt x="6241" y="9850"/>
                    </a:cubicBezTo>
                    <a:cubicBezTo>
                      <a:pt x="6250" y="9845"/>
                      <a:pt x="6294" y="9819"/>
                      <a:pt x="6299" y="9816"/>
                    </a:cubicBezTo>
                    <a:cubicBezTo>
                      <a:pt x="6300" y="9815"/>
                      <a:pt x="6302" y="9815"/>
                      <a:pt x="6302" y="9815"/>
                    </a:cubicBezTo>
                    <a:cubicBezTo>
                      <a:pt x="6302" y="9815"/>
                      <a:pt x="6302" y="9815"/>
                      <a:pt x="6302" y="9815"/>
                    </a:cubicBezTo>
                    <a:cubicBezTo>
                      <a:pt x="6311" y="9816"/>
                      <a:pt x="6355" y="9827"/>
                      <a:pt x="6402" y="9839"/>
                    </a:cubicBezTo>
                    <a:cubicBezTo>
                      <a:pt x="6448" y="9851"/>
                      <a:pt x="6497" y="9863"/>
                      <a:pt x="6502" y="9863"/>
                    </a:cubicBezTo>
                    <a:cubicBezTo>
                      <a:pt x="6502" y="9863"/>
                      <a:pt x="6502" y="9863"/>
                      <a:pt x="6502" y="9863"/>
                    </a:cubicBezTo>
                    <a:close/>
                    <a:moveTo>
                      <a:pt x="4829" y="8647"/>
                    </a:moveTo>
                    <a:cubicBezTo>
                      <a:pt x="4820" y="8905"/>
                      <a:pt x="4820" y="8905"/>
                      <a:pt x="4820" y="8905"/>
                    </a:cubicBezTo>
                    <a:cubicBezTo>
                      <a:pt x="5106" y="8903"/>
                      <a:pt x="5106" y="8903"/>
                      <a:pt x="5106" y="8903"/>
                    </a:cubicBezTo>
                    <a:cubicBezTo>
                      <a:pt x="5129" y="8467"/>
                      <a:pt x="5129" y="8467"/>
                      <a:pt x="5129" y="8467"/>
                    </a:cubicBezTo>
                    <a:cubicBezTo>
                      <a:pt x="5134" y="8465"/>
                      <a:pt x="5134" y="8465"/>
                      <a:pt x="5134" y="8465"/>
                    </a:cubicBezTo>
                    <a:cubicBezTo>
                      <a:pt x="5134" y="8465"/>
                      <a:pt x="5318" y="8410"/>
                      <a:pt x="5491" y="8358"/>
                    </a:cubicBezTo>
                    <a:cubicBezTo>
                      <a:pt x="5491" y="7986"/>
                      <a:pt x="5491" y="7986"/>
                      <a:pt x="5491" y="7986"/>
                    </a:cubicBezTo>
                    <a:cubicBezTo>
                      <a:pt x="5442" y="7642"/>
                      <a:pt x="5442" y="7642"/>
                      <a:pt x="5442" y="7642"/>
                    </a:cubicBezTo>
                    <a:cubicBezTo>
                      <a:pt x="5054" y="7920"/>
                      <a:pt x="5054" y="7920"/>
                      <a:pt x="5054" y="7920"/>
                    </a:cubicBezTo>
                    <a:cubicBezTo>
                      <a:pt x="5053" y="7920"/>
                      <a:pt x="4948" y="7978"/>
                      <a:pt x="4819" y="8050"/>
                    </a:cubicBezTo>
                    <a:cubicBezTo>
                      <a:pt x="4819" y="8053"/>
                      <a:pt x="4828" y="8090"/>
                      <a:pt x="4838" y="8127"/>
                    </a:cubicBezTo>
                    <a:cubicBezTo>
                      <a:pt x="4843" y="8146"/>
                      <a:pt x="4848" y="8165"/>
                      <a:pt x="4852" y="8179"/>
                    </a:cubicBezTo>
                    <a:cubicBezTo>
                      <a:pt x="4854" y="8186"/>
                      <a:pt x="4856" y="8192"/>
                      <a:pt x="4858" y="8196"/>
                    </a:cubicBezTo>
                    <a:cubicBezTo>
                      <a:pt x="4858" y="8198"/>
                      <a:pt x="4859" y="8199"/>
                      <a:pt x="4859" y="8200"/>
                    </a:cubicBezTo>
                    <a:cubicBezTo>
                      <a:pt x="4861" y="8201"/>
                      <a:pt x="4862" y="8203"/>
                      <a:pt x="4862" y="8205"/>
                    </a:cubicBezTo>
                    <a:cubicBezTo>
                      <a:pt x="4861" y="8212"/>
                      <a:pt x="4860" y="8210"/>
                      <a:pt x="4859" y="8211"/>
                    </a:cubicBezTo>
                    <a:cubicBezTo>
                      <a:pt x="4847" y="8222"/>
                      <a:pt x="4701" y="8311"/>
                      <a:pt x="4674" y="8328"/>
                    </a:cubicBezTo>
                    <a:cubicBezTo>
                      <a:pt x="4730" y="8626"/>
                      <a:pt x="4730" y="8626"/>
                      <a:pt x="4730" y="8626"/>
                    </a:cubicBezTo>
                    <a:lnTo>
                      <a:pt x="4829" y="8647"/>
                    </a:lnTo>
                    <a:close/>
                    <a:moveTo>
                      <a:pt x="4424" y="9711"/>
                    </a:moveTo>
                    <a:cubicBezTo>
                      <a:pt x="4424" y="9636"/>
                      <a:pt x="4439" y="9544"/>
                      <a:pt x="4494" y="9337"/>
                    </a:cubicBezTo>
                    <a:cubicBezTo>
                      <a:pt x="4508" y="9286"/>
                      <a:pt x="4513" y="9241"/>
                      <a:pt x="4513" y="9201"/>
                    </a:cubicBezTo>
                    <a:cubicBezTo>
                      <a:pt x="4513" y="9123"/>
                      <a:pt x="4493" y="9066"/>
                      <a:pt x="4474" y="9027"/>
                    </a:cubicBezTo>
                    <a:cubicBezTo>
                      <a:pt x="4467" y="9013"/>
                      <a:pt x="4460" y="9003"/>
                      <a:pt x="4454" y="8994"/>
                    </a:cubicBezTo>
                    <a:cubicBezTo>
                      <a:pt x="4416" y="9021"/>
                      <a:pt x="4355" y="9064"/>
                      <a:pt x="4293" y="9108"/>
                    </a:cubicBezTo>
                    <a:cubicBezTo>
                      <a:pt x="4244" y="9143"/>
                      <a:pt x="4194" y="9178"/>
                      <a:pt x="4156" y="9205"/>
                    </a:cubicBezTo>
                    <a:cubicBezTo>
                      <a:pt x="4138" y="9219"/>
                      <a:pt x="4122" y="9230"/>
                      <a:pt x="4111" y="9238"/>
                    </a:cubicBezTo>
                    <a:cubicBezTo>
                      <a:pt x="4105" y="9242"/>
                      <a:pt x="4101" y="9246"/>
                      <a:pt x="4098" y="9248"/>
                    </a:cubicBezTo>
                    <a:cubicBezTo>
                      <a:pt x="4098" y="9248"/>
                      <a:pt x="4098" y="9248"/>
                      <a:pt x="4098" y="9248"/>
                    </a:cubicBezTo>
                    <a:cubicBezTo>
                      <a:pt x="4096" y="9251"/>
                      <a:pt x="4095" y="9251"/>
                      <a:pt x="4094" y="9253"/>
                    </a:cubicBezTo>
                    <a:cubicBezTo>
                      <a:pt x="4088" y="9261"/>
                      <a:pt x="4074" y="9278"/>
                      <a:pt x="4059" y="9329"/>
                    </a:cubicBezTo>
                    <a:cubicBezTo>
                      <a:pt x="4044" y="9379"/>
                      <a:pt x="4030" y="9460"/>
                      <a:pt x="4028" y="9590"/>
                    </a:cubicBezTo>
                    <a:cubicBezTo>
                      <a:pt x="4028" y="9594"/>
                      <a:pt x="4028" y="9598"/>
                      <a:pt x="4028" y="9602"/>
                    </a:cubicBezTo>
                    <a:cubicBezTo>
                      <a:pt x="4028" y="9743"/>
                      <a:pt x="4062" y="9814"/>
                      <a:pt x="4105" y="9856"/>
                    </a:cubicBezTo>
                    <a:cubicBezTo>
                      <a:pt x="4149" y="9897"/>
                      <a:pt x="4211" y="9913"/>
                      <a:pt x="4279" y="9925"/>
                    </a:cubicBezTo>
                    <a:cubicBezTo>
                      <a:pt x="4324" y="9933"/>
                      <a:pt x="4378" y="9937"/>
                      <a:pt x="4435" y="9938"/>
                    </a:cubicBezTo>
                    <a:cubicBezTo>
                      <a:pt x="4433" y="9921"/>
                      <a:pt x="4432" y="9902"/>
                      <a:pt x="4432" y="9880"/>
                    </a:cubicBezTo>
                    <a:cubicBezTo>
                      <a:pt x="4430" y="9843"/>
                      <a:pt x="4430" y="9802"/>
                      <a:pt x="4427" y="9768"/>
                    </a:cubicBezTo>
                    <a:cubicBezTo>
                      <a:pt x="4425" y="9749"/>
                      <a:pt x="4424" y="9731"/>
                      <a:pt x="4424" y="9711"/>
                    </a:cubicBezTo>
                    <a:close/>
                    <a:moveTo>
                      <a:pt x="3963" y="9602"/>
                    </a:moveTo>
                    <a:cubicBezTo>
                      <a:pt x="3963" y="9598"/>
                      <a:pt x="3963" y="9594"/>
                      <a:pt x="3963" y="9590"/>
                    </a:cubicBezTo>
                    <a:cubicBezTo>
                      <a:pt x="3965" y="9436"/>
                      <a:pt x="3983" y="9344"/>
                      <a:pt x="4003" y="9287"/>
                    </a:cubicBezTo>
                    <a:cubicBezTo>
                      <a:pt x="4013" y="9259"/>
                      <a:pt x="4024" y="9239"/>
                      <a:pt x="4032" y="9226"/>
                    </a:cubicBezTo>
                    <a:cubicBezTo>
                      <a:pt x="4033" y="9225"/>
                      <a:pt x="4034" y="9224"/>
                      <a:pt x="4035" y="9222"/>
                    </a:cubicBezTo>
                    <a:cubicBezTo>
                      <a:pt x="4001" y="9212"/>
                      <a:pt x="3907" y="9183"/>
                      <a:pt x="3812" y="9153"/>
                    </a:cubicBezTo>
                    <a:cubicBezTo>
                      <a:pt x="3753" y="9135"/>
                      <a:pt x="3694" y="9116"/>
                      <a:pt x="3650" y="9102"/>
                    </a:cubicBezTo>
                    <a:cubicBezTo>
                      <a:pt x="3627" y="9095"/>
                      <a:pt x="3609" y="9089"/>
                      <a:pt x="3596" y="9084"/>
                    </a:cubicBezTo>
                    <a:cubicBezTo>
                      <a:pt x="3589" y="9082"/>
                      <a:pt x="3584" y="9081"/>
                      <a:pt x="3581" y="9079"/>
                    </a:cubicBezTo>
                    <a:cubicBezTo>
                      <a:pt x="3581" y="9079"/>
                      <a:pt x="3581" y="9079"/>
                      <a:pt x="3581" y="9079"/>
                    </a:cubicBezTo>
                    <a:cubicBezTo>
                      <a:pt x="3384" y="9406"/>
                      <a:pt x="3384" y="9406"/>
                      <a:pt x="3384" y="9406"/>
                    </a:cubicBezTo>
                    <a:cubicBezTo>
                      <a:pt x="3385" y="9406"/>
                      <a:pt x="3385" y="9406"/>
                      <a:pt x="3385" y="9407"/>
                    </a:cubicBezTo>
                    <a:cubicBezTo>
                      <a:pt x="3387" y="9410"/>
                      <a:pt x="3386" y="9412"/>
                      <a:pt x="3387" y="9414"/>
                    </a:cubicBezTo>
                    <a:cubicBezTo>
                      <a:pt x="3387" y="9414"/>
                      <a:pt x="3387" y="9414"/>
                      <a:pt x="3387" y="9414"/>
                    </a:cubicBezTo>
                    <a:cubicBezTo>
                      <a:pt x="3387" y="9415"/>
                      <a:pt x="3387" y="9416"/>
                      <a:pt x="3387" y="9417"/>
                    </a:cubicBezTo>
                    <a:cubicBezTo>
                      <a:pt x="3387" y="9417"/>
                      <a:pt x="3387" y="9417"/>
                      <a:pt x="3387" y="9418"/>
                    </a:cubicBezTo>
                    <a:cubicBezTo>
                      <a:pt x="3389" y="9434"/>
                      <a:pt x="3401" y="9517"/>
                      <a:pt x="3413" y="9594"/>
                    </a:cubicBezTo>
                    <a:cubicBezTo>
                      <a:pt x="3422" y="9659"/>
                      <a:pt x="3432" y="9722"/>
                      <a:pt x="3435" y="9742"/>
                    </a:cubicBezTo>
                    <a:cubicBezTo>
                      <a:pt x="3693" y="9697"/>
                      <a:pt x="3693" y="9697"/>
                      <a:pt x="3693" y="9697"/>
                    </a:cubicBezTo>
                    <a:cubicBezTo>
                      <a:pt x="3676" y="9371"/>
                      <a:pt x="3676" y="9371"/>
                      <a:pt x="3676" y="9371"/>
                    </a:cubicBezTo>
                    <a:cubicBezTo>
                      <a:pt x="3484" y="9248"/>
                      <a:pt x="3484" y="9248"/>
                      <a:pt x="3484" y="9248"/>
                    </a:cubicBezTo>
                    <a:cubicBezTo>
                      <a:pt x="3491" y="9237"/>
                      <a:pt x="3491" y="9237"/>
                      <a:pt x="3491" y="9237"/>
                    </a:cubicBezTo>
                    <a:cubicBezTo>
                      <a:pt x="3689" y="9364"/>
                      <a:pt x="3689" y="9364"/>
                      <a:pt x="3689" y="9364"/>
                    </a:cubicBezTo>
                    <a:cubicBezTo>
                      <a:pt x="3707" y="9695"/>
                      <a:pt x="3707" y="9695"/>
                      <a:pt x="3707" y="9695"/>
                    </a:cubicBezTo>
                    <a:cubicBezTo>
                      <a:pt x="3964" y="9651"/>
                      <a:pt x="3964" y="9651"/>
                      <a:pt x="3964" y="9651"/>
                    </a:cubicBezTo>
                    <a:cubicBezTo>
                      <a:pt x="3963" y="9635"/>
                      <a:pt x="3962" y="9619"/>
                      <a:pt x="3963" y="9602"/>
                    </a:cubicBezTo>
                    <a:close/>
                    <a:moveTo>
                      <a:pt x="3177" y="9683"/>
                    </a:moveTo>
                    <a:cubicBezTo>
                      <a:pt x="3177" y="9699"/>
                      <a:pt x="3177" y="9714"/>
                      <a:pt x="3177" y="9728"/>
                    </a:cubicBezTo>
                    <a:cubicBezTo>
                      <a:pt x="3194" y="9726"/>
                      <a:pt x="3210" y="9723"/>
                      <a:pt x="3224" y="9721"/>
                    </a:cubicBezTo>
                    <a:cubicBezTo>
                      <a:pt x="3245" y="9719"/>
                      <a:pt x="3262" y="9716"/>
                      <a:pt x="3273" y="9714"/>
                    </a:cubicBezTo>
                    <a:cubicBezTo>
                      <a:pt x="3278" y="9714"/>
                      <a:pt x="3282" y="9713"/>
                      <a:pt x="3285" y="9713"/>
                    </a:cubicBezTo>
                    <a:cubicBezTo>
                      <a:pt x="3284" y="9709"/>
                      <a:pt x="3284" y="9704"/>
                      <a:pt x="3283" y="9697"/>
                    </a:cubicBezTo>
                    <a:cubicBezTo>
                      <a:pt x="3280" y="9670"/>
                      <a:pt x="3276" y="9625"/>
                      <a:pt x="3274" y="9608"/>
                    </a:cubicBezTo>
                    <a:cubicBezTo>
                      <a:pt x="3177" y="9621"/>
                      <a:pt x="3177" y="9621"/>
                      <a:pt x="3177" y="9621"/>
                    </a:cubicBezTo>
                    <a:cubicBezTo>
                      <a:pt x="3177" y="9642"/>
                      <a:pt x="3177" y="9663"/>
                      <a:pt x="3177" y="9683"/>
                    </a:cubicBezTo>
                    <a:close/>
                    <a:moveTo>
                      <a:pt x="3177" y="9786"/>
                    </a:moveTo>
                    <a:cubicBezTo>
                      <a:pt x="3390" y="9750"/>
                      <a:pt x="3390" y="9750"/>
                      <a:pt x="3390" y="9750"/>
                    </a:cubicBezTo>
                    <a:cubicBezTo>
                      <a:pt x="3387" y="9729"/>
                      <a:pt x="3377" y="9662"/>
                      <a:pt x="3367" y="9593"/>
                    </a:cubicBezTo>
                    <a:cubicBezTo>
                      <a:pt x="3361" y="9552"/>
                      <a:pt x="3354" y="9510"/>
                      <a:pt x="3350" y="9478"/>
                    </a:cubicBezTo>
                    <a:cubicBezTo>
                      <a:pt x="3348" y="9465"/>
                      <a:pt x="3346" y="9454"/>
                      <a:pt x="3345" y="9445"/>
                    </a:cubicBezTo>
                    <a:cubicBezTo>
                      <a:pt x="3312" y="9451"/>
                      <a:pt x="3250" y="9459"/>
                      <a:pt x="3175" y="9469"/>
                    </a:cubicBezTo>
                    <a:cubicBezTo>
                      <a:pt x="3176" y="9495"/>
                      <a:pt x="3177" y="9550"/>
                      <a:pt x="3177" y="9608"/>
                    </a:cubicBezTo>
                    <a:cubicBezTo>
                      <a:pt x="3286" y="9593"/>
                      <a:pt x="3286" y="9593"/>
                      <a:pt x="3286" y="9593"/>
                    </a:cubicBezTo>
                    <a:cubicBezTo>
                      <a:pt x="3287" y="9600"/>
                      <a:pt x="3287" y="9600"/>
                      <a:pt x="3287" y="9600"/>
                    </a:cubicBezTo>
                    <a:cubicBezTo>
                      <a:pt x="3287" y="9600"/>
                      <a:pt x="3289" y="9630"/>
                      <a:pt x="3292" y="9659"/>
                    </a:cubicBezTo>
                    <a:cubicBezTo>
                      <a:pt x="3293" y="9674"/>
                      <a:pt x="3295" y="9688"/>
                      <a:pt x="3296" y="9699"/>
                    </a:cubicBezTo>
                    <a:cubicBezTo>
                      <a:pt x="3297" y="9705"/>
                      <a:pt x="3297" y="9709"/>
                      <a:pt x="3298" y="9712"/>
                    </a:cubicBezTo>
                    <a:cubicBezTo>
                      <a:pt x="3298" y="9713"/>
                      <a:pt x="3298" y="9714"/>
                      <a:pt x="3298" y="9715"/>
                    </a:cubicBezTo>
                    <a:cubicBezTo>
                      <a:pt x="3299" y="9715"/>
                      <a:pt x="3299" y="9715"/>
                      <a:pt x="3299" y="9715"/>
                    </a:cubicBezTo>
                    <a:cubicBezTo>
                      <a:pt x="3300" y="9717"/>
                      <a:pt x="3300" y="9718"/>
                      <a:pt x="3299" y="9720"/>
                    </a:cubicBezTo>
                    <a:cubicBezTo>
                      <a:pt x="3300" y="9720"/>
                      <a:pt x="3299" y="9721"/>
                      <a:pt x="3299" y="9722"/>
                    </a:cubicBezTo>
                    <a:cubicBezTo>
                      <a:pt x="3298" y="9723"/>
                      <a:pt x="3298" y="9723"/>
                      <a:pt x="3297" y="9723"/>
                    </a:cubicBezTo>
                    <a:cubicBezTo>
                      <a:pt x="3297" y="9724"/>
                      <a:pt x="3296" y="9724"/>
                      <a:pt x="3295" y="9724"/>
                    </a:cubicBezTo>
                    <a:cubicBezTo>
                      <a:pt x="3295" y="9725"/>
                      <a:pt x="3295" y="9725"/>
                      <a:pt x="3295" y="9725"/>
                    </a:cubicBezTo>
                    <a:cubicBezTo>
                      <a:pt x="3295" y="9725"/>
                      <a:pt x="3295" y="9725"/>
                      <a:pt x="3295" y="9725"/>
                    </a:cubicBezTo>
                    <a:cubicBezTo>
                      <a:pt x="3295" y="9725"/>
                      <a:pt x="3295" y="9725"/>
                      <a:pt x="3295" y="9725"/>
                    </a:cubicBezTo>
                    <a:cubicBezTo>
                      <a:pt x="3294" y="9725"/>
                      <a:pt x="3294" y="9725"/>
                      <a:pt x="3294" y="9725"/>
                    </a:cubicBezTo>
                    <a:cubicBezTo>
                      <a:pt x="3295" y="9725"/>
                      <a:pt x="3295" y="9725"/>
                      <a:pt x="3295" y="9725"/>
                    </a:cubicBezTo>
                    <a:cubicBezTo>
                      <a:pt x="3294" y="9725"/>
                      <a:pt x="3294" y="9725"/>
                      <a:pt x="3294" y="9725"/>
                    </a:cubicBezTo>
                    <a:cubicBezTo>
                      <a:pt x="3287" y="9726"/>
                      <a:pt x="3239" y="9733"/>
                      <a:pt x="3177" y="9741"/>
                    </a:cubicBezTo>
                    <a:cubicBezTo>
                      <a:pt x="3177" y="9759"/>
                      <a:pt x="3177" y="9775"/>
                      <a:pt x="3177" y="9786"/>
                    </a:cubicBezTo>
                    <a:close/>
                    <a:moveTo>
                      <a:pt x="2451" y="9618"/>
                    </a:moveTo>
                    <a:cubicBezTo>
                      <a:pt x="2452" y="9718"/>
                      <a:pt x="2452" y="9718"/>
                      <a:pt x="2452" y="9718"/>
                    </a:cubicBezTo>
                    <a:cubicBezTo>
                      <a:pt x="2557" y="9729"/>
                      <a:pt x="2557" y="9729"/>
                      <a:pt x="2557" y="9729"/>
                    </a:cubicBezTo>
                    <a:cubicBezTo>
                      <a:pt x="2556" y="9626"/>
                      <a:pt x="2556" y="9626"/>
                      <a:pt x="2556" y="9626"/>
                    </a:cubicBezTo>
                    <a:cubicBezTo>
                      <a:pt x="2530" y="9624"/>
                      <a:pt x="2492" y="9621"/>
                      <a:pt x="2451" y="9618"/>
                    </a:cubicBezTo>
                    <a:close/>
                    <a:moveTo>
                      <a:pt x="2556" y="9612"/>
                    </a:moveTo>
                    <a:cubicBezTo>
                      <a:pt x="2555" y="9575"/>
                      <a:pt x="2555" y="9575"/>
                      <a:pt x="2555" y="9575"/>
                    </a:cubicBezTo>
                    <a:cubicBezTo>
                      <a:pt x="2451" y="9577"/>
                      <a:pt x="2451" y="9577"/>
                      <a:pt x="2451" y="9577"/>
                    </a:cubicBezTo>
                    <a:cubicBezTo>
                      <a:pt x="2451" y="9604"/>
                      <a:pt x="2451" y="9604"/>
                      <a:pt x="2451" y="9604"/>
                    </a:cubicBezTo>
                    <a:cubicBezTo>
                      <a:pt x="2492" y="9607"/>
                      <a:pt x="2530" y="9610"/>
                      <a:pt x="2556" y="9612"/>
                    </a:cubicBezTo>
                    <a:close/>
                    <a:moveTo>
                      <a:pt x="2452" y="9732"/>
                    </a:moveTo>
                    <a:cubicBezTo>
                      <a:pt x="2452" y="9840"/>
                      <a:pt x="2452" y="9840"/>
                      <a:pt x="2452" y="9840"/>
                    </a:cubicBezTo>
                    <a:cubicBezTo>
                      <a:pt x="2559" y="9847"/>
                      <a:pt x="2559" y="9847"/>
                      <a:pt x="2559" y="9847"/>
                    </a:cubicBezTo>
                    <a:cubicBezTo>
                      <a:pt x="2557" y="9743"/>
                      <a:pt x="2557" y="9743"/>
                      <a:pt x="2557" y="9743"/>
                    </a:cubicBezTo>
                    <a:lnTo>
                      <a:pt x="2452" y="9732"/>
                    </a:lnTo>
                    <a:close/>
                    <a:moveTo>
                      <a:pt x="2452" y="9854"/>
                    </a:moveTo>
                    <a:cubicBezTo>
                      <a:pt x="2453" y="10013"/>
                      <a:pt x="2453" y="10013"/>
                      <a:pt x="2453" y="10013"/>
                    </a:cubicBezTo>
                    <a:cubicBezTo>
                      <a:pt x="2561" y="10031"/>
                      <a:pt x="2561" y="10031"/>
                      <a:pt x="2561" y="10031"/>
                    </a:cubicBezTo>
                    <a:cubicBezTo>
                      <a:pt x="2559" y="9861"/>
                      <a:pt x="2559" y="9861"/>
                      <a:pt x="2559" y="9861"/>
                    </a:cubicBezTo>
                    <a:lnTo>
                      <a:pt x="2452" y="9854"/>
                    </a:lnTo>
                    <a:close/>
                    <a:moveTo>
                      <a:pt x="2453" y="10028"/>
                    </a:moveTo>
                    <a:cubicBezTo>
                      <a:pt x="2454" y="10141"/>
                      <a:pt x="2454" y="10141"/>
                      <a:pt x="2454" y="10141"/>
                    </a:cubicBezTo>
                    <a:cubicBezTo>
                      <a:pt x="2562" y="10136"/>
                      <a:pt x="2562" y="10136"/>
                      <a:pt x="2562" y="10136"/>
                    </a:cubicBezTo>
                    <a:cubicBezTo>
                      <a:pt x="2561" y="10045"/>
                      <a:pt x="2561" y="10045"/>
                      <a:pt x="2561" y="10045"/>
                    </a:cubicBezTo>
                    <a:lnTo>
                      <a:pt x="2453" y="10028"/>
                    </a:lnTo>
                    <a:close/>
                    <a:moveTo>
                      <a:pt x="2568" y="9561"/>
                    </a:moveTo>
                    <a:cubicBezTo>
                      <a:pt x="2569" y="9568"/>
                      <a:pt x="2569" y="9568"/>
                      <a:pt x="2569" y="9568"/>
                    </a:cubicBezTo>
                    <a:cubicBezTo>
                      <a:pt x="2569" y="9613"/>
                      <a:pt x="2569" y="9613"/>
                      <a:pt x="2569" y="9613"/>
                    </a:cubicBezTo>
                    <a:cubicBezTo>
                      <a:pt x="2570" y="9613"/>
                      <a:pt x="2572" y="9613"/>
                      <a:pt x="2573" y="9613"/>
                    </a:cubicBezTo>
                    <a:cubicBezTo>
                      <a:pt x="2573" y="9592"/>
                      <a:pt x="2572" y="9571"/>
                      <a:pt x="2572" y="9550"/>
                    </a:cubicBezTo>
                    <a:cubicBezTo>
                      <a:pt x="2545" y="9550"/>
                      <a:pt x="2503" y="9548"/>
                      <a:pt x="2457" y="9546"/>
                    </a:cubicBezTo>
                    <a:cubicBezTo>
                      <a:pt x="2379" y="9540"/>
                      <a:pt x="2294" y="9532"/>
                      <a:pt x="2238" y="9510"/>
                    </a:cubicBezTo>
                    <a:cubicBezTo>
                      <a:pt x="2232" y="9588"/>
                      <a:pt x="2232" y="9588"/>
                      <a:pt x="2232" y="9588"/>
                    </a:cubicBezTo>
                    <a:cubicBezTo>
                      <a:pt x="2250" y="9589"/>
                      <a:pt x="2348" y="9596"/>
                      <a:pt x="2438" y="9603"/>
                    </a:cubicBezTo>
                    <a:cubicBezTo>
                      <a:pt x="2438" y="9564"/>
                      <a:pt x="2438" y="9564"/>
                      <a:pt x="2438" y="9564"/>
                    </a:cubicBezTo>
                    <a:lnTo>
                      <a:pt x="2568" y="9561"/>
                    </a:lnTo>
                    <a:close/>
                    <a:moveTo>
                      <a:pt x="2185" y="9983"/>
                    </a:moveTo>
                    <a:cubicBezTo>
                      <a:pt x="2187" y="9969"/>
                      <a:pt x="2187" y="9969"/>
                      <a:pt x="2187" y="9969"/>
                    </a:cubicBezTo>
                    <a:cubicBezTo>
                      <a:pt x="2187" y="9969"/>
                      <a:pt x="2187" y="9969"/>
                      <a:pt x="2187" y="9969"/>
                    </a:cubicBezTo>
                    <a:cubicBezTo>
                      <a:pt x="2224" y="9505"/>
                      <a:pt x="2224" y="9505"/>
                      <a:pt x="2224" y="9505"/>
                    </a:cubicBezTo>
                    <a:cubicBezTo>
                      <a:pt x="2180" y="9483"/>
                      <a:pt x="2130" y="9445"/>
                      <a:pt x="2082" y="9404"/>
                    </a:cubicBezTo>
                    <a:cubicBezTo>
                      <a:pt x="2070" y="9442"/>
                      <a:pt x="2046" y="9520"/>
                      <a:pt x="2023" y="9596"/>
                    </a:cubicBezTo>
                    <a:cubicBezTo>
                      <a:pt x="2007" y="9647"/>
                      <a:pt x="1992" y="9698"/>
                      <a:pt x="1980" y="9736"/>
                    </a:cubicBezTo>
                    <a:cubicBezTo>
                      <a:pt x="1974" y="9755"/>
                      <a:pt x="1969" y="9770"/>
                      <a:pt x="1965" y="9781"/>
                    </a:cubicBezTo>
                    <a:cubicBezTo>
                      <a:pt x="1963" y="9787"/>
                      <a:pt x="1961" y="9791"/>
                      <a:pt x="1960" y="9795"/>
                    </a:cubicBezTo>
                    <a:cubicBezTo>
                      <a:pt x="1959" y="9796"/>
                      <a:pt x="1959" y="9797"/>
                      <a:pt x="1958" y="9798"/>
                    </a:cubicBezTo>
                    <a:cubicBezTo>
                      <a:pt x="1958" y="9799"/>
                      <a:pt x="1958" y="9800"/>
                      <a:pt x="1957" y="9800"/>
                    </a:cubicBezTo>
                    <a:cubicBezTo>
                      <a:pt x="1957" y="9801"/>
                      <a:pt x="1957" y="9802"/>
                      <a:pt x="1954" y="9803"/>
                    </a:cubicBezTo>
                    <a:cubicBezTo>
                      <a:pt x="1952" y="9804"/>
                      <a:pt x="1952" y="9804"/>
                      <a:pt x="1952" y="9804"/>
                    </a:cubicBezTo>
                    <a:cubicBezTo>
                      <a:pt x="1943" y="9810"/>
                      <a:pt x="1913" y="9839"/>
                      <a:pt x="1886" y="9867"/>
                    </a:cubicBezTo>
                    <a:cubicBezTo>
                      <a:pt x="1867" y="9885"/>
                      <a:pt x="1849" y="9903"/>
                      <a:pt x="1838" y="9915"/>
                    </a:cubicBezTo>
                    <a:cubicBezTo>
                      <a:pt x="1850" y="9929"/>
                      <a:pt x="1861" y="9944"/>
                      <a:pt x="1870" y="9962"/>
                    </a:cubicBezTo>
                    <a:cubicBezTo>
                      <a:pt x="1885" y="9992"/>
                      <a:pt x="1895" y="10023"/>
                      <a:pt x="1903" y="10047"/>
                    </a:cubicBezTo>
                    <a:cubicBezTo>
                      <a:pt x="1906" y="10059"/>
                      <a:pt x="1909" y="10069"/>
                      <a:pt x="1911" y="10074"/>
                    </a:cubicBezTo>
                    <a:cubicBezTo>
                      <a:pt x="1912" y="10077"/>
                      <a:pt x="1913" y="10078"/>
                      <a:pt x="1913" y="10078"/>
                    </a:cubicBezTo>
                    <a:cubicBezTo>
                      <a:pt x="2174" y="10126"/>
                      <a:pt x="2174" y="10126"/>
                      <a:pt x="2174" y="10126"/>
                    </a:cubicBezTo>
                    <a:cubicBezTo>
                      <a:pt x="2186" y="9983"/>
                      <a:pt x="2186" y="9983"/>
                      <a:pt x="2186" y="9983"/>
                    </a:cubicBezTo>
                    <a:lnTo>
                      <a:pt x="2185" y="9983"/>
                    </a:lnTo>
                    <a:close/>
                    <a:moveTo>
                      <a:pt x="1346" y="9455"/>
                    </a:moveTo>
                    <a:cubicBezTo>
                      <a:pt x="1346" y="9455"/>
                      <a:pt x="1346" y="9455"/>
                      <a:pt x="1346" y="9455"/>
                    </a:cubicBezTo>
                    <a:cubicBezTo>
                      <a:pt x="1346" y="9455"/>
                      <a:pt x="1292" y="9413"/>
                      <a:pt x="1238" y="9370"/>
                    </a:cubicBezTo>
                    <a:cubicBezTo>
                      <a:pt x="1211" y="9348"/>
                      <a:pt x="1184" y="9326"/>
                      <a:pt x="1164" y="9309"/>
                    </a:cubicBezTo>
                    <a:cubicBezTo>
                      <a:pt x="1154" y="9300"/>
                      <a:pt x="1145" y="9292"/>
                      <a:pt x="1139" y="9286"/>
                    </a:cubicBezTo>
                    <a:cubicBezTo>
                      <a:pt x="1136" y="9284"/>
                      <a:pt x="1134" y="9281"/>
                      <a:pt x="1132" y="9279"/>
                    </a:cubicBezTo>
                    <a:cubicBezTo>
                      <a:pt x="1132" y="9278"/>
                      <a:pt x="1131" y="9278"/>
                      <a:pt x="1131" y="9278"/>
                    </a:cubicBezTo>
                    <a:cubicBezTo>
                      <a:pt x="1121" y="9279"/>
                      <a:pt x="1100" y="9281"/>
                      <a:pt x="1070" y="9283"/>
                    </a:cubicBezTo>
                    <a:cubicBezTo>
                      <a:pt x="1035" y="9286"/>
                      <a:pt x="990" y="9290"/>
                      <a:pt x="944" y="9294"/>
                    </a:cubicBezTo>
                    <a:cubicBezTo>
                      <a:pt x="980" y="9501"/>
                      <a:pt x="980" y="9501"/>
                      <a:pt x="980" y="9501"/>
                    </a:cubicBezTo>
                    <a:cubicBezTo>
                      <a:pt x="978" y="9501"/>
                      <a:pt x="978" y="9501"/>
                      <a:pt x="978" y="9501"/>
                    </a:cubicBezTo>
                    <a:cubicBezTo>
                      <a:pt x="1289" y="9532"/>
                      <a:pt x="1289" y="9532"/>
                      <a:pt x="1289" y="9532"/>
                    </a:cubicBezTo>
                    <a:cubicBezTo>
                      <a:pt x="1298" y="9510"/>
                      <a:pt x="1312" y="9496"/>
                      <a:pt x="1318" y="9490"/>
                    </a:cubicBezTo>
                    <a:cubicBezTo>
                      <a:pt x="1686" y="9038"/>
                      <a:pt x="1686" y="9038"/>
                      <a:pt x="1686" y="9038"/>
                    </a:cubicBezTo>
                    <a:cubicBezTo>
                      <a:pt x="1626" y="8982"/>
                      <a:pt x="1570" y="8929"/>
                      <a:pt x="1537" y="8898"/>
                    </a:cubicBezTo>
                    <a:cubicBezTo>
                      <a:pt x="1497" y="8953"/>
                      <a:pt x="1320" y="9162"/>
                      <a:pt x="1320" y="9162"/>
                    </a:cubicBezTo>
                    <a:cubicBezTo>
                      <a:pt x="1317" y="9166"/>
                      <a:pt x="1317" y="9166"/>
                      <a:pt x="1317" y="9166"/>
                    </a:cubicBezTo>
                    <a:cubicBezTo>
                      <a:pt x="1235" y="9129"/>
                      <a:pt x="1235" y="9129"/>
                      <a:pt x="1235" y="9129"/>
                    </a:cubicBezTo>
                    <a:cubicBezTo>
                      <a:pt x="1228" y="9141"/>
                      <a:pt x="1211" y="9169"/>
                      <a:pt x="1193" y="9198"/>
                    </a:cubicBezTo>
                    <a:cubicBezTo>
                      <a:pt x="1181" y="9216"/>
                      <a:pt x="1169" y="9235"/>
                      <a:pt x="1159" y="9249"/>
                    </a:cubicBezTo>
                    <a:cubicBezTo>
                      <a:pt x="1155" y="9256"/>
                      <a:pt x="1151" y="9263"/>
                      <a:pt x="1147" y="9267"/>
                    </a:cubicBezTo>
                    <a:cubicBezTo>
                      <a:pt x="1146" y="9269"/>
                      <a:pt x="1145" y="9270"/>
                      <a:pt x="1144" y="9271"/>
                    </a:cubicBezTo>
                    <a:cubicBezTo>
                      <a:pt x="1155" y="9284"/>
                      <a:pt x="1205" y="9325"/>
                      <a:pt x="1252" y="9363"/>
                    </a:cubicBezTo>
                    <a:cubicBezTo>
                      <a:pt x="1304" y="9405"/>
                      <a:pt x="1354" y="9444"/>
                      <a:pt x="1354" y="9444"/>
                    </a:cubicBezTo>
                    <a:lnTo>
                      <a:pt x="1346" y="9455"/>
                    </a:lnTo>
                    <a:close/>
                    <a:moveTo>
                      <a:pt x="1165" y="8479"/>
                    </a:moveTo>
                    <a:cubicBezTo>
                      <a:pt x="1171" y="8483"/>
                      <a:pt x="1177" y="8488"/>
                      <a:pt x="1182" y="8493"/>
                    </a:cubicBezTo>
                    <a:cubicBezTo>
                      <a:pt x="1218" y="8523"/>
                      <a:pt x="1248" y="8550"/>
                      <a:pt x="1261" y="8562"/>
                    </a:cubicBezTo>
                    <a:cubicBezTo>
                      <a:pt x="1269" y="8564"/>
                      <a:pt x="1269" y="8564"/>
                      <a:pt x="1269" y="8564"/>
                    </a:cubicBezTo>
                    <a:cubicBezTo>
                      <a:pt x="1269" y="8564"/>
                      <a:pt x="1276" y="8578"/>
                      <a:pt x="1305" y="8602"/>
                    </a:cubicBezTo>
                    <a:cubicBezTo>
                      <a:pt x="1306" y="8603"/>
                      <a:pt x="1308" y="8605"/>
                      <a:pt x="1310" y="8607"/>
                    </a:cubicBezTo>
                    <a:cubicBezTo>
                      <a:pt x="1374" y="8529"/>
                      <a:pt x="1374" y="8529"/>
                      <a:pt x="1374" y="8529"/>
                    </a:cubicBezTo>
                    <a:cubicBezTo>
                      <a:pt x="923" y="8130"/>
                      <a:pt x="923" y="8130"/>
                      <a:pt x="923" y="8130"/>
                    </a:cubicBezTo>
                    <a:cubicBezTo>
                      <a:pt x="905" y="8198"/>
                      <a:pt x="905" y="8198"/>
                      <a:pt x="905" y="8198"/>
                    </a:cubicBezTo>
                    <a:cubicBezTo>
                      <a:pt x="692" y="8113"/>
                      <a:pt x="692" y="8113"/>
                      <a:pt x="692" y="8113"/>
                    </a:cubicBezTo>
                    <a:cubicBezTo>
                      <a:pt x="760" y="7843"/>
                      <a:pt x="760" y="7843"/>
                      <a:pt x="760" y="7843"/>
                    </a:cubicBezTo>
                    <a:cubicBezTo>
                      <a:pt x="604" y="7738"/>
                      <a:pt x="604" y="7738"/>
                      <a:pt x="604" y="7738"/>
                    </a:cubicBezTo>
                    <a:cubicBezTo>
                      <a:pt x="597" y="7750"/>
                      <a:pt x="590" y="7762"/>
                      <a:pt x="583" y="7772"/>
                    </a:cubicBezTo>
                    <a:cubicBezTo>
                      <a:pt x="562" y="7802"/>
                      <a:pt x="470" y="7923"/>
                      <a:pt x="372" y="8051"/>
                    </a:cubicBezTo>
                    <a:cubicBezTo>
                      <a:pt x="372" y="8053"/>
                      <a:pt x="372" y="8055"/>
                      <a:pt x="372" y="8057"/>
                    </a:cubicBezTo>
                    <a:cubicBezTo>
                      <a:pt x="372" y="8100"/>
                      <a:pt x="383" y="8127"/>
                      <a:pt x="403" y="8132"/>
                    </a:cubicBezTo>
                    <a:cubicBezTo>
                      <a:pt x="494" y="8160"/>
                      <a:pt x="759" y="8191"/>
                      <a:pt x="864" y="8238"/>
                    </a:cubicBezTo>
                    <a:cubicBezTo>
                      <a:pt x="906" y="8256"/>
                      <a:pt x="982" y="8296"/>
                      <a:pt x="1048" y="8345"/>
                    </a:cubicBezTo>
                    <a:cubicBezTo>
                      <a:pt x="1101" y="8385"/>
                      <a:pt x="1148" y="8430"/>
                      <a:pt x="1165" y="8479"/>
                    </a:cubicBezTo>
                    <a:close/>
                    <a:moveTo>
                      <a:pt x="1033" y="8365"/>
                    </a:moveTo>
                    <a:cubicBezTo>
                      <a:pt x="969" y="8317"/>
                      <a:pt x="894" y="8278"/>
                      <a:pt x="854" y="8260"/>
                    </a:cubicBezTo>
                    <a:cubicBezTo>
                      <a:pt x="756" y="8216"/>
                      <a:pt x="491" y="8184"/>
                      <a:pt x="396" y="8156"/>
                    </a:cubicBezTo>
                    <a:cubicBezTo>
                      <a:pt x="365" y="8146"/>
                      <a:pt x="352" y="8116"/>
                      <a:pt x="349" y="8081"/>
                    </a:cubicBezTo>
                    <a:cubicBezTo>
                      <a:pt x="325" y="8112"/>
                      <a:pt x="302" y="8142"/>
                      <a:pt x="279" y="8171"/>
                    </a:cubicBezTo>
                    <a:cubicBezTo>
                      <a:pt x="307" y="8175"/>
                      <a:pt x="346" y="8180"/>
                      <a:pt x="395" y="8187"/>
                    </a:cubicBezTo>
                    <a:cubicBezTo>
                      <a:pt x="513" y="8203"/>
                      <a:pt x="655" y="8238"/>
                      <a:pt x="763" y="8268"/>
                    </a:cubicBezTo>
                    <a:cubicBezTo>
                      <a:pt x="875" y="8298"/>
                      <a:pt x="944" y="8337"/>
                      <a:pt x="1026" y="8379"/>
                    </a:cubicBezTo>
                    <a:cubicBezTo>
                      <a:pt x="1052" y="8393"/>
                      <a:pt x="1081" y="8413"/>
                      <a:pt x="1110" y="8435"/>
                    </a:cubicBezTo>
                    <a:cubicBezTo>
                      <a:pt x="1090" y="8411"/>
                      <a:pt x="1063" y="8387"/>
                      <a:pt x="1033" y="8365"/>
                    </a:cubicBezTo>
                    <a:close/>
                    <a:moveTo>
                      <a:pt x="614" y="5947"/>
                    </a:moveTo>
                    <a:cubicBezTo>
                      <a:pt x="616" y="5887"/>
                      <a:pt x="617" y="5829"/>
                      <a:pt x="617" y="5794"/>
                    </a:cubicBezTo>
                    <a:cubicBezTo>
                      <a:pt x="617" y="5782"/>
                      <a:pt x="617" y="5773"/>
                      <a:pt x="617" y="5768"/>
                    </a:cubicBezTo>
                    <a:cubicBezTo>
                      <a:pt x="614" y="5724"/>
                      <a:pt x="606" y="5678"/>
                      <a:pt x="563" y="5592"/>
                    </a:cubicBezTo>
                    <a:cubicBezTo>
                      <a:pt x="555" y="5578"/>
                      <a:pt x="546" y="5561"/>
                      <a:pt x="535" y="5543"/>
                    </a:cubicBezTo>
                    <a:cubicBezTo>
                      <a:pt x="513" y="5548"/>
                      <a:pt x="448" y="5562"/>
                      <a:pt x="385" y="5577"/>
                    </a:cubicBezTo>
                    <a:cubicBezTo>
                      <a:pt x="341" y="5587"/>
                      <a:pt x="297" y="5597"/>
                      <a:pt x="267" y="5604"/>
                    </a:cubicBezTo>
                    <a:cubicBezTo>
                      <a:pt x="287" y="5650"/>
                      <a:pt x="303" y="5705"/>
                      <a:pt x="303" y="5768"/>
                    </a:cubicBezTo>
                    <a:cubicBezTo>
                      <a:pt x="303" y="5789"/>
                      <a:pt x="301" y="5811"/>
                      <a:pt x="297" y="5834"/>
                    </a:cubicBezTo>
                    <a:cubicBezTo>
                      <a:pt x="295" y="5843"/>
                      <a:pt x="294" y="5852"/>
                      <a:pt x="292" y="5861"/>
                    </a:cubicBezTo>
                    <a:lnTo>
                      <a:pt x="614" y="5947"/>
                    </a:lnTo>
                    <a:close/>
                    <a:moveTo>
                      <a:pt x="290" y="5875"/>
                    </a:moveTo>
                    <a:cubicBezTo>
                      <a:pt x="275" y="5979"/>
                      <a:pt x="274" y="6082"/>
                      <a:pt x="274" y="6107"/>
                    </a:cubicBezTo>
                    <a:cubicBezTo>
                      <a:pt x="274" y="6110"/>
                      <a:pt x="274" y="6110"/>
                      <a:pt x="274" y="6110"/>
                    </a:cubicBezTo>
                    <a:cubicBezTo>
                      <a:pt x="303" y="6121"/>
                      <a:pt x="369" y="6146"/>
                      <a:pt x="436" y="6170"/>
                    </a:cubicBezTo>
                    <a:cubicBezTo>
                      <a:pt x="478" y="6185"/>
                      <a:pt x="520" y="6200"/>
                      <a:pt x="553" y="6211"/>
                    </a:cubicBezTo>
                    <a:cubicBezTo>
                      <a:pt x="565" y="6216"/>
                      <a:pt x="575" y="6219"/>
                      <a:pt x="584" y="6222"/>
                    </a:cubicBezTo>
                    <a:cubicBezTo>
                      <a:pt x="588" y="6204"/>
                      <a:pt x="592" y="6187"/>
                      <a:pt x="595" y="6172"/>
                    </a:cubicBezTo>
                    <a:cubicBezTo>
                      <a:pt x="602" y="6144"/>
                      <a:pt x="608" y="6069"/>
                      <a:pt x="612" y="5993"/>
                    </a:cubicBezTo>
                    <a:cubicBezTo>
                      <a:pt x="612" y="5983"/>
                      <a:pt x="613" y="5972"/>
                      <a:pt x="613" y="5962"/>
                    </a:cubicBezTo>
                    <a:lnTo>
                      <a:pt x="290" y="5875"/>
                    </a:lnTo>
                    <a:close/>
                    <a:moveTo>
                      <a:pt x="925" y="941"/>
                    </a:moveTo>
                    <a:cubicBezTo>
                      <a:pt x="925" y="940"/>
                      <a:pt x="925" y="940"/>
                      <a:pt x="925" y="940"/>
                    </a:cubicBezTo>
                    <a:cubicBezTo>
                      <a:pt x="902" y="837"/>
                      <a:pt x="902" y="837"/>
                      <a:pt x="902" y="837"/>
                    </a:cubicBezTo>
                    <a:cubicBezTo>
                      <a:pt x="836" y="779"/>
                      <a:pt x="836" y="779"/>
                      <a:pt x="836" y="779"/>
                    </a:cubicBezTo>
                    <a:cubicBezTo>
                      <a:pt x="857" y="613"/>
                      <a:pt x="857" y="613"/>
                      <a:pt x="857" y="613"/>
                    </a:cubicBezTo>
                    <a:cubicBezTo>
                      <a:pt x="896" y="592"/>
                      <a:pt x="896" y="592"/>
                      <a:pt x="896" y="592"/>
                    </a:cubicBezTo>
                    <a:cubicBezTo>
                      <a:pt x="867" y="452"/>
                      <a:pt x="867" y="452"/>
                      <a:pt x="867" y="452"/>
                    </a:cubicBezTo>
                    <a:cubicBezTo>
                      <a:pt x="489" y="856"/>
                      <a:pt x="489" y="856"/>
                      <a:pt x="489" y="856"/>
                    </a:cubicBezTo>
                    <a:cubicBezTo>
                      <a:pt x="711" y="1119"/>
                      <a:pt x="711" y="1119"/>
                      <a:pt x="711" y="1119"/>
                    </a:cubicBezTo>
                    <a:cubicBezTo>
                      <a:pt x="925" y="941"/>
                      <a:pt x="925" y="941"/>
                      <a:pt x="925" y="941"/>
                    </a:cubicBezTo>
                    <a:close/>
                    <a:moveTo>
                      <a:pt x="680" y="1230"/>
                    </a:moveTo>
                    <a:cubicBezTo>
                      <a:pt x="828" y="1429"/>
                      <a:pt x="828" y="1429"/>
                      <a:pt x="828" y="1429"/>
                    </a:cubicBezTo>
                    <a:cubicBezTo>
                      <a:pt x="875" y="1403"/>
                      <a:pt x="911" y="1383"/>
                      <a:pt x="919" y="1378"/>
                    </a:cubicBezTo>
                    <a:cubicBezTo>
                      <a:pt x="926" y="1368"/>
                      <a:pt x="961" y="1314"/>
                      <a:pt x="997" y="1259"/>
                    </a:cubicBezTo>
                    <a:cubicBezTo>
                      <a:pt x="1016" y="1229"/>
                      <a:pt x="1036" y="1198"/>
                      <a:pt x="1051" y="1175"/>
                    </a:cubicBezTo>
                    <a:cubicBezTo>
                      <a:pt x="1058" y="1164"/>
                      <a:pt x="1064" y="1154"/>
                      <a:pt x="1069" y="1147"/>
                    </a:cubicBezTo>
                    <a:cubicBezTo>
                      <a:pt x="1071" y="1144"/>
                      <a:pt x="1072" y="1141"/>
                      <a:pt x="1074" y="1139"/>
                    </a:cubicBezTo>
                    <a:cubicBezTo>
                      <a:pt x="1074" y="1139"/>
                      <a:pt x="1074" y="1138"/>
                      <a:pt x="1074" y="1138"/>
                    </a:cubicBezTo>
                    <a:cubicBezTo>
                      <a:pt x="1074" y="1137"/>
                      <a:pt x="1074" y="1136"/>
                      <a:pt x="1074" y="1135"/>
                    </a:cubicBezTo>
                    <a:cubicBezTo>
                      <a:pt x="1074" y="1106"/>
                      <a:pt x="1079" y="953"/>
                      <a:pt x="1081" y="900"/>
                    </a:cubicBezTo>
                    <a:cubicBezTo>
                      <a:pt x="952" y="1003"/>
                      <a:pt x="952" y="1003"/>
                      <a:pt x="952" y="1003"/>
                    </a:cubicBezTo>
                    <a:lnTo>
                      <a:pt x="680" y="1230"/>
                    </a:lnTo>
                    <a:close/>
                    <a:moveTo>
                      <a:pt x="1091" y="1140"/>
                    </a:moveTo>
                    <a:cubicBezTo>
                      <a:pt x="1090" y="1145"/>
                      <a:pt x="1090" y="1143"/>
                      <a:pt x="1089" y="1145"/>
                    </a:cubicBezTo>
                    <a:cubicBezTo>
                      <a:pt x="1084" y="1155"/>
                      <a:pt x="1040" y="1222"/>
                      <a:pt x="1000" y="1284"/>
                    </a:cubicBezTo>
                    <a:cubicBezTo>
                      <a:pt x="1019" y="1299"/>
                      <a:pt x="1101" y="1361"/>
                      <a:pt x="1183" y="1424"/>
                    </a:cubicBezTo>
                    <a:cubicBezTo>
                      <a:pt x="1230" y="1459"/>
                      <a:pt x="1277" y="1495"/>
                      <a:pt x="1312" y="1522"/>
                    </a:cubicBezTo>
                    <a:cubicBezTo>
                      <a:pt x="1327" y="1534"/>
                      <a:pt x="1340" y="1544"/>
                      <a:pt x="1366" y="1564"/>
                    </a:cubicBezTo>
                    <a:cubicBezTo>
                      <a:pt x="1392" y="1520"/>
                      <a:pt x="1443" y="1431"/>
                      <a:pt x="1495" y="1343"/>
                    </a:cubicBezTo>
                    <a:cubicBezTo>
                      <a:pt x="1506" y="1323"/>
                      <a:pt x="1518" y="1304"/>
                      <a:pt x="1529" y="1284"/>
                    </a:cubicBezTo>
                    <a:cubicBezTo>
                      <a:pt x="1316" y="1127"/>
                      <a:pt x="1316" y="1127"/>
                      <a:pt x="1316" y="1127"/>
                    </a:cubicBezTo>
                    <a:cubicBezTo>
                      <a:pt x="1091" y="1139"/>
                      <a:pt x="1091" y="1139"/>
                      <a:pt x="1091" y="1139"/>
                    </a:cubicBezTo>
                    <a:cubicBezTo>
                      <a:pt x="1091" y="1140"/>
                      <a:pt x="1091" y="1140"/>
                      <a:pt x="1091" y="1140"/>
                    </a:cubicBezTo>
                    <a:close/>
                    <a:moveTo>
                      <a:pt x="1574" y="579"/>
                    </a:moveTo>
                    <a:cubicBezTo>
                      <a:pt x="1574" y="574"/>
                      <a:pt x="1574" y="574"/>
                      <a:pt x="1574" y="574"/>
                    </a:cubicBezTo>
                    <a:cubicBezTo>
                      <a:pt x="1569" y="567"/>
                      <a:pt x="1546" y="539"/>
                      <a:pt x="1524" y="514"/>
                    </a:cubicBezTo>
                    <a:cubicBezTo>
                      <a:pt x="1510" y="498"/>
                      <a:pt x="1497" y="482"/>
                      <a:pt x="1488" y="472"/>
                    </a:cubicBezTo>
                    <a:cubicBezTo>
                      <a:pt x="1338" y="684"/>
                      <a:pt x="1338" y="684"/>
                      <a:pt x="1338" y="684"/>
                    </a:cubicBezTo>
                    <a:cubicBezTo>
                      <a:pt x="1528" y="919"/>
                      <a:pt x="1528" y="919"/>
                      <a:pt x="1528" y="919"/>
                    </a:cubicBezTo>
                    <a:cubicBezTo>
                      <a:pt x="1556" y="894"/>
                      <a:pt x="1616" y="846"/>
                      <a:pt x="1675" y="798"/>
                    </a:cubicBezTo>
                    <a:cubicBezTo>
                      <a:pt x="1745" y="742"/>
                      <a:pt x="1812" y="688"/>
                      <a:pt x="1821" y="681"/>
                    </a:cubicBezTo>
                    <a:cubicBezTo>
                      <a:pt x="1824" y="672"/>
                      <a:pt x="1829" y="635"/>
                      <a:pt x="1834" y="590"/>
                    </a:cubicBezTo>
                    <a:cubicBezTo>
                      <a:pt x="1806" y="589"/>
                      <a:pt x="1606" y="580"/>
                      <a:pt x="1584" y="580"/>
                    </a:cubicBezTo>
                    <a:cubicBezTo>
                      <a:pt x="1584" y="580"/>
                      <a:pt x="1584" y="580"/>
                      <a:pt x="1584" y="580"/>
                    </a:cubicBezTo>
                    <a:cubicBezTo>
                      <a:pt x="1584" y="580"/>
                      <a:pt x="1583" y="580"/>
                      <a:pt x="1583" y="580"/>
                    </a:cubicBezTo>
                    <a:cubicBezTo>
                      <a:pt x="1583" y="580"/>
                      <a:pt x="1582" y="581"/>
                      <a:pt x="1580" y="580"/>
                    </a:cubicBezTo>
                    <a:lnTo>
                      <a:pt x="1574" y="579"/>
                    </a:lnTo>
                    <a:close/>
                    <a:moveTo>
                      <a:pt x="1307" y="717"/>
                    </a:moveTo>
                    <a:cubicBezTo>
                      <a:pt x="1222" y="786"/>
                      <a:pt x="1222" y="786"/>
                      <a:pt x="1222" y="786"/>
                    </a:cubicBezTo>
                    <a:cubicBezTo>
                      <a:pt x="1345" y="971"/>
                      <a:pt x="1345" y="971"/>
                      <a:pt x="1345" y="971"/>
                    </a:cubicBezTo>
                    <a:cubicBezTo>
                      <a:pt x="1327" y="1115"/>
                      <a:pt x="1327" y="1115"/>
                      <a:pt x="1327" y="1115"/>
                    </a:cubicBezTo>
                    <a:cubicBezTo>
                      <a:pt x="1537" y="1270"/>
                      <a:pt x="1537" y="1270"/>
                      <a:pt x="1537" y="1270"/>
                    </a:cubicBezTo>
                    <a:cubicBezTo>
                      <a:pt x="1578" y="1201"/>
                      <a:pt x="1613" y="1140"/>
                      <a:pt x="1628" y="1115"/>
                    </a:cubicBezTo>
                    <a:lnTo>
                      <a:pt x="1307" y="717"/>
                    </a:lnTo>
                    <a:close/>
                    <a:moveTo>
                      <a:pt x="3858" y="509"/>
                    </a:moveTo>
                    <a:cubicBezTo>
                      <a:pt x="3858" y="506"/>
                      <a:pt x="3858" y="504"/>
                      <a:pt x="3858" y="502"/>
                    </a:cubicBezTo>
                    <a:cubicBezTo>
                      <a:pt x="3858" y="500"/>
                      <a:pt x="3857" y="498"/>
                      <a:pt x="3857" y="495"/>
                    </a:cubicBezTo>
                    <a:cubicBezTo>
                      <a:pt x="3857" y="493"/>
                      <a:pt x="3857" y="490"/>
                      <a:pt x="3856" y="488"/>
                    </a:cubicBezTo>
                    <a:cubicBezTo>
                      <a:pt x="3590" y="542"/>
                      <a:pt x="3590" y="542"/>
                      <a:pt x="3590" y="542"/>
                    </a:cubicBezTo>
                    <a:cubicBezTo>
                      <a:pt x="3675" y="770"/>
                      <a:pt x="3675" y="770"/>
                      <a:pt x="3675" y="770"/>
                    </a:cubicBezTo>
                    <a:cubicBezTo>
                      <a:pt x="3727" y="788"/>
                      <a:pt x="3727" y="788"/>
                      <a:pt x="3727" y="788"/>
                    </a:cubicBezTo>
                    <a:cubicBezTo>
                      <a:pt x="3882" y="718"/>
                      <a:pt x="3882" y="718"/>
                      <a:pt x="3882" y="718"/>
                    </a:cubicBezTo>
                    <a:cubicBezTo>
                      <a:pt x="3882" y="717"/>
                      <a:pt x="3882" y="716"/>
                      <a:pt x="3882" y="715"/>
                    </a:cubicBezTo>
                    <a:cubicBezTo>
                      <a:pt x="3882" y="714"/>
                      <a:pt x="3881" y="713"/>
                      <a:pt x="3881" y="712"/>
                    </a:cubicBezTo>
                    <a:cubicBezTo>
                      <a:pt x="3881" y="712"/>
                      <a:pt x="3881" y="712"/>
                      <a:pt x="3881" y="712"/>
                    </a:cubicBezTo>
                    <a:cubicBezTo>
                      <a:pt x="3875" y="674"/>
                      <a:pt x="3858" y="569"/>
                      <a:pt x="3858" y="509"/>
                    </a:cubicBezTo>
                    <a:close/>
                    <a:moveTo>
                      <a:pt x="3512" y="378"/>
                    </a:moveTo>
                    <a:cubicBezTo>
                      <a:pt x="3435" y="361"/>
                      <a:pt x="3435" y="361"/>
                      <a:pt x="3435" y="361"/>
                    </a:cubicBezTo>
                    <a:cubicBezTo>
                      <a:pt x="3057" y="655"/>
                      <a:pt x="3057" y="655"/>
                      <a:pt x="3057" y="655"/>
                    </a:cubicBezTo>
                    <a:cubicBezTo>
                      <a:pt x="3090" y="687"/>
                      <a:pt x="3129" y="725"/>
                      <a:pt x="3169" y="765"/>
                    </a:cubicBezTo>
                    <a:cubicBezTo>
                      <a:pt x="3216" y="811"/>
                      <a:pt x="3264" y="858"/>
                      <a:pt x="3299" y="893"/>
                    </a:cubicBezTo>
                    <a:cubicBezTo>
                      <a:pt x="3317" y="911"/>
                      <a:pt x="3332" y="925"/>
                      <a:pt x="3342" y="935"/>
                    </a:cubicBezTo>
                    <a:cubicBezTo>
                      <a:pt x="3347" y="940"/>
                      <a:pt x="3351" y="944"/>
                      <a:pt x="3354" y="947"/>
                    </a:cubicBezTo>
                    <a:cubicBezTo>
                      <a:pt x="3355" y="948"/>
                      <a:pt x="3356" y="949"/>
                      <a:pt x="3356" y="949"/>
                    </a:cubicBezTo>
                    <a:cubicBezTo>
                      <a:pt x="3361" y="950"/>
                      <a:pt x="3367" y="952"/>
                      <a:pt x="3377" y="955"/>
                    </a:cubicBezTo>
                    <a:cubicBezTo>
                      <a:pt x="3406" y="964"/>
                      <a:pt x="3457" y="979"/>
                      <a:pt x="3473" y="984"/>
                    </a:cubicBezTo>
                    <a:cubicBezTo>
                      <a:pt x="3656" y="766"/>
                      <a:pt x="3656" y="766"/>
                      <a:pt x="3656" y="766"/>
                    </a:cubicBezTo>
                    <a:lnTo>
                      <a:pt x="3512" y="378"/>
                    </a:lnTo>
                    <a:close/>
                    <a:moveTo>
                      <a:pt x="2973" y="594"/>
                    </a:moveTo>
                    <a:cubicBezTo>
                      <a:pt x="2677" y="814"/>
                      <a:pt x="2677" y="814"/>
                      <a:pt x="2677" y="814"/>
                    </a:cubicBezTo>
                    <a:cubicBezTo>
                      <a:pt x="3047" y="1335"/>
                      <a:pt x="3047" y="1335"/>
                      <a:pt x="3047" y="1335"/>
                    </a:cubicBezTo>
                    <a:cubicBezTo>
                      <a:pt x="3079" y="1318"/>
                      <a:pt x="3111" y="1301"/>
                      <a:pt x="3142" y="1284"/>
                    </a:cubicBezTo>
                    <a:cubicBezTo>
                      <a:pt x="3175" y="1267"/>
                      <a:pt x="3208" y="1249"/>
                      <a:pt x="3239" y="1233"/>
                    </a:cubicBezTo>
                    <a:cubicBezTo>
                      <a:pt x="3231" y="1230"/>
                      <a:pt x="3231" y="1230"/>
                      <a:pt x="3231" y="1230"/>
                    </a:cubicBezTo>
                    <a:cubicBezTo>
                      <a:pt x="3343" y="959"/>
                      <a:pt x="3343" y="959"/>
                      <a:pt x="3343" y="959"/>
                    </a:cubicBezTo>
                    <a:cubicBezTo>
                      <a:pt x="3308" y="925"/>
                      <a:pt x="3015" y="636"/>
                      <a:pt x="2973" y="594"/>
                    </a:cubicBezTo>
                    <a:close/>
                    <a:moveTo>
                      <a:pt x="2661" y="820"/>
                    </a:moveTo>
                    <a:cubicBezTo>
                      <a:pt x="2642" y="815"/>
                      <a:pt x="2515" y="782"/>
                      <a:pt x="2499" y="777"/>
                    </a:cubicBezTo>
                    <a:cubicBezTo>
                      <a:pt x="2497" y="777"/>
                      <a:pt x="2495" y="776"/>
                      <a:pt x="2493" y="776"/>
                    </a:cubicBezTo>
                    <a:cubicBezTo>
                      <a:pt x="2288" y="915"/>
                      <a:pt x="2288" y="915"/>
                      <a:pt x="2288" y="915"/>
                    </a:cubicBezTo>
                    <a:cubicBezTo>
                      <a:pt x="2436" y="1222"/>
                      <a:pt x="2436" y="1222"/>
                      <a:pt x="2436" y="1222"/>
                    </a:cubicBezTo>
                    <a:cubicBezTo>
                      <a:pt x="2450" y="1216"/>
                      <a:pt x="2484" y="1203"/>
                      <a:pt x="2519" y="1190"/>
                    </a:cubicBezTo>
                    <a:cubicBezTo>
                      <a:pt x="2560" y="1175"/>
                      <a:pt x="2600" y="1160"/>
                      <a:pt x="2600" y="1160"/>
                    </a:cubicBezTo>
                    <a:cubicBezTo>
                      <a:pt x="2605" y="1158"/>
                      <a:pt x="2605" y="1158"/>
                      <a:pt x="2605" y="1158"/>
                    </a:cubicBezTo>
                    <a:cubicBezTo>
                      <a:pt x="2873" y="1427"/>
                      <a:pt x="2873" y="1427"/>
                      <a:pt x="2873" y="1427"/>
                    </a:cubicBezTo>
                    <a:cubicBezTo>
                      <a:pt x="2871" y="1429"/>
                      <a:pt x="2871" y="1429"/>
                      <a:pt x="2871" y="1429"/>
                    </a:cubicBezTo>
                    <a:cubicBezTo>
                      <a:pt x="2925" y="1400"/>
                      <a:pt x="2979" y="1371"/>
                      <a:pt x="3032" y="1343"/>
                    </a:cubicBezTo>
                    <a:lnTo>
                      <a:pt x="2661" y="820"/>
                    </a:lnTo>
                    <a:close/>
                    <a:moveTo>
                      <a:pt x="2162" y="1799"/>
                    </a:moveTo>
                    <a:cubicBezTo>
                      <a:pt x="2162" y="1799"/>
                      <a:pt x="2169" y="1796"/>
                      <a:pt x="2180" y="1790"/>
                    </a:cubicBezTo>
                    <a:cubicBezTo>
                      <a:pt x="2155" y="1735"/>
                      <a:pt x="2155" y="1735"/>
                      <a:pt x="2155" y="1735"/>
                    </a:cubicBezTo>
                    <a:cubicBezTo>
                      <a:pt x="2075" y="1775"/>
                      <a:pt x="2075" y="1775"/>
                      <a:pt x="2075" y="1775"/>
                    </a:cubicBezTo>
                    <a:cubicBezTo>
                      <a:pt x="2102" y="1832"/>
                      <a:pt x="2102" y="1832"/>
                      <a:pt x="2102" y="1832"/>
                    </a:cubicBezTo>
                    <a:cubicBezTo>
                      <a:pt x="2163" y="1799"/>
                      <a:pt x="2163" y="1799"/>
                      <a:pt x="2163" y="1799"/>
                    </a:cubicBezTo>
                    <a:lnTo>
                      <a:pt x="2162" y="1799"/>
                    </a:lnTo>
                    <a:close/>
                    <a:moveTo>
                      <a:pt x="1114" y="1877"/>
                    </a:moveTo>
                    <a:cubicBezTo>
                      <a:pt x="1017" y="1968"/>
                      <a:pt x="923" y="2058"/>
                      <a:pt x="883" y="2096"/>
                    </a:cubicBezTo>
                    <a:cubicBezTo>
                      <a:pt x="901" y="2100"/>
                      <a:pt x="919" y="2107"/>
                      <a:pt x="938" y="2119"/>
                    </a:cubicBezTo>
                    <a:cubicBezTo>
                      <a:pt x="992" y="2154"/>
                      <a:pt x="1024" y="2222"/>
                      <a:pt x="1050" y="2282"/>
                    </a:cubicBezTo>
                    <a:cubicBezTo>
                      <a:pt x="1067" y="2323"/>
                      <a:pt x="1079" y="2360"/>
                      <a:pt x="1085" y="2380"/>
                    </a:cubicBezTo>
                    <a:cubicBezTo>
                      <a:pt x="1166" y="2336"/>
                      <a:pt x="1166" y="2336"/>
                      <a:pt x="1166" y="2336"/>
                    </a:cubicBezTo>
                    <a:cubicBezTo>
                      <a:pt x="1165" y="2334"/>
                      <a:pt x="1164" y="2332"/>
                      <a:pt x="1163" y="2329"/>
                    </a:cubicBezTo>
                    <a:cubicBezTo>
                      <a:pt x="1160" y="2323"/>
                      <a:pt x="1156" y="2316"/>
                      <a:pt x="1152" y="2307"/>
                    </a:cubicBezTo>
                    <a:cubicBezTo>
                      <a:pt x="1150" y="2309"/>
                      <a:pt x="1150" y="2309"/>
                      <a:pt x="1150" y="2309"/>
                    </a:cubicBezTo>
                    <a:cubicBezTo>
                      <a:pt x="1079" y="2169"/>
                      <a:pt x="1079" y="2169"/>
                      <a:pt x="1079" y="2169"/>
                    </a:cubicBezTo>
                    <a:cubicBezTo>
                      <a:pt x="1088" y="2165"/>
                      <a:pt x="1088" y="2165"/>
                      <a:pt x="1088" y="2165"/>
                    </a:cubicBezTo>
                    <a:cubicBezTo>
                      <a:pt x="1066" y="2115"/>
                      <a:pt x="1048" y="2075"/>
                      <a:pt x="1048" y="2075"/>
                    </a:cubicBezTo>
                    <a:cubicBezTo>
                      <a:pt x="1045" y="2068"/>
                      <a:pt x="1045" y="2068"/>
                      <a:pt x="1045" y="2068"/>
                    </a:cubicBezTo>
                    <a:cubicBezTo>
                      <a:pt x="1596" y="1724"/>
                      <a:pt x="1596" y="1724"/>
                      <a:pt x="1596" y="1724"/>
                    </a:cubicBezTo>
                    <a:cubicBezTo>
                      <a:pt x="1565" y="1658"/>
                      <a:pt x="1535" y="1593"/>
                      <a:pt x="1512" y="1543"/>
                    </a:cubicBezTo>
                    <a:cubicBezTo>
                      <a:pt x="1499" y="1515"/>
                      <a:pt x="1489" y="1492"/>
                      <a:pt x="1481" y="1475"/>
                    </a:cubicBezTo>
                    <a:cubicBezTo>
                      <a:pt x="1479" y="1471"/>
                      <a:pt x="1478" y="1468"/>
                      <a:pt x="1476" y="1465"/>
                    </a:cubicBezTo>
                    <a:cubicBezTo>
                      <a:pt x="1461" y="1491"/>
                      <a:pt x="1446" y="1517"/>
                      <a:pt x="1433" y="1538"/>
                    </a:cubicBezTo>
                    <a:cubicBezTo>
                      <a:pt x="1420" y="1561"/>
                      <a:pt x="1409" y="1580"/>
                      <a:pt x="1401" y="1594"/>
                    </a:cubicBezTo>
                    <a:cubicBezTo>
                      <a:pt x="1397" y="1601"/>
                      <a:pt x="1394" y="1606"/>
                      <a:pt x="1392" y="1610"/>
                    </a:cubicBezTo>
                    <a:cubicBezTo>
                      <a:pt x="1391" y="1611"/>
                      <a:pt x="1390" y="1613"/>
                      <a:pt x="1389" y="1614"/>
                    </a:cubicBezTo>
                    <a:cubicBezTo>
                      <a:pt x="1389" y="1614"/>
                      <a:pt x="1389" y="1615"/>
                      <a:pt x="1389" y="1615"/>
                    </a:cubicBezTo>
                    <a:cubicBezTo>
                      <a:pt x="1389" y="1615"/>
                      <a:pt x="1389" y="1615"/>
                      <a:pt x="1389" y="1615"/>
                    </a:cubicBezTo>
                    <a:cubicBezTo>
                      <a:pt x="1388" y="1615"/>
                      <a:pt x="1388" y="1616"/>
                      <a:pt x="1388" y="1616"/>
                    </a:cubicBezTo>
                    <a:cubicBezTo>
                      <a:pt x="1388" y="1616"/>
                      <a:pt x="1388" y="1616"/>
                      <a:pt x="1388" y="1617"/>
                    </a:cubicBezTo>
                    <a:cubicBezTo>
                      <a:pt x="1387" y="1617"/>
                      <a:pt x="1387" y="1617"/>
                      <a:pt x="1387" y="1618"/>
                    </a:cubicBezTo>
                    <a:cubicBezTo>
                      <a:pt x="1386" y="1618"/>
                      <a:pt x="1386" y="1619"/>
                      <a:pt x="1385" y="1620"/>
                    </a:cubicBezTo>
                    <a:cubicBezTo>
                      <a:pt x="1384" y="1621"/>
                      <a:pt x="1383" y="1622"/>
                      <a:pt x="1382" y="1622"/>
                    </a:cubicBezTo>
                    <a:cubicBezTo>
                      <a:pt x="1382" y="1622"/>
                      <a:pt x="1382" y="1622"/>
                      <a:pt x="1382" y="1622"/>
                    </a:cubicBezTo>
                    <a:cubicBezTo>
                      <a:pt x="1365" y="1638"/>
                      <a:pt x="1237" y="1759"/>
                      <a:pt x="1114" y="1877"/>
                    </a:cubicBezTo>
                    <a:close/>
                    <a:moveTo>
                      <a:pt x="1272" y="1665"/>
                    </a:moveTo>
                    <a:cubicBezTo>
                      <a:pt x="1296" y="1641"/>
                      <a:pt x="1316" y="1622"/>
                      <a:pt x="1331" y="1608"/>
                    </a:cubicBezTo>
                    <a:cubicBezTo>
                      <a:pt x="1337" y="1602"/>
                      <a:pt x="1343" y="1597"/>
                      <a:pt x="1347" y="1594"/>
                    </a:cubicBezTo>
                    <a:cubicBezTo>
                      <a:pt x="1353" y="1586"/>
                      <a:pt x="1353" y="1586"/>
                      <a:pt x="1353" y="1586"/>
                    </a:cubicBezTo>
                    <a:cubicBezTo>
                      <a:pt x="1354" y="1584"/>
                      <a:pt x="1356" y="1581"/>
                      <a:pt x="1358" y="1578"/>
                    </a:cubicBezTo>
                    <a:cubicBezTo>
                      <a:pt x="1306" y="1538"/>
                      <a:pt x="1235" y="1484"/>
                      <a:pt x="1167" y="1432"/>
                    </a:cubicBezTo>
                    <a:cubicBezTo>
                      <a:pt x="1088" y="1371"/>
                      <a:pt x="1011" y="1313"/>
                      <a:pt x="991" y="1298"/>
                    </a:cubicBezTo>
                    <a:cubicBezTo>
                      <a:pt x="965" y="1338"/>
                      <a:pt x="943" y="1372"/>
                      <a:pt x="935" y="1384"/>
                    </a:cubicBezTo>
                    <a:cubicBezTo>
                      <a:pt x="949" y="1402"/>
                      <a:pt x="1014" y="1482"/>
                      <a:pt x="1078" y="1560"/>
                    </a:cubicBezTo>
                    <a:cubicBezTo>
                      <a:pt x="1137" y="1633"/>
                      <a:pt x="1195" y="1703"/>
                      <a:pt x="1211" y="1722"/>
                    </a:cubicBezTo>
                    <a:cubicBezTo>
                      <a:pt x="1233" y="1701"/>
                      <a:pt x="1253" y="1682"/>
                      <a:pt x="1272" y="1665"/>
                    </a:cubicBezTo>
                    <a:close/>
                    <a:moveTo>
                      <a:pt x="2275" y="1391"/>
                    </a:moveTo>
                    <a:cubicBezTo>
                      <a:pt x="2286" y="1387"/>
                      <a:pt x="2286" y="1387"/>
                      <a:pt x="2286" y="1387"/>
                    </a:cubicBezTo>
                    <a:cubicBezTo>
                      <a:pt x="2390" y="1338"/>
                      <a:pt x="2390" y="1338"/>
                      <a:pt x="2390" y="1338"/>
                    </a:cubicBezTo>
                    <a:cubicBezTo>
                      <a:pt x="2349" y="1252"/>
                      <a:pt x="2349" y="1252"/>
                      <a:pt x="2349" y="1252"/>
                    </a:cubicBezTo>
                    <a:cubicBezTo>
                      <a:pt x="2099" y="1374"/>
                      <a:pt x="2099" y="1374"/>
                      <a:pt x="2099" y="1374"/>
                    </a:cubicBezTo>
                    <a:cubicBezTo>
                      <a:pt x="2140" y="1456"/>
                      <a:pt x="2140" y="1456"/>
                      <a:pt x="2140" y="1456"/>
                    </a:cubicBezTo>
                    <a:cubicBezTo>
                      <a:pt x="2152" y="1452"/>
                      <a:pt x="2152" y="1452"/>
                      <a:pt x="2152" y="1452"/>
                    </a:cubicBezTo>
                    <a:cubicBezTo>
                      <a:pt x="2164" y="1447"/>
                      <a:pt x="2164" y="1447"/>
                      <a:pt x="2164" y="1447"/>
                    </a:cubicBezTo>
                    <a:cubicBezTo>
                      <a:pt x="2170" y="1458"/>
                      <a:pt x="2170" y="1458"/>
                      <a:pt x="2170" y="1458"/>
                    </a:cubicBezTo>
                    <a:cubicBezTo>
                      <a:pt x="2186" y="1491"/>
                      <a:pt x="2186" y="1491"/>
                      <a:pt x="2186" y="1491"/>
                    </a:cubicBezTo>
                    <a:cubicBezTo>
                      <a:pt x="2258" y="1457"/>
                      <a:pt x="2258" y="1457"/>
                      <a:pt x="2258" y="1457"/>
                    </a:cubicBezTo>
                    <a:cubicBezTo>
                      <a:pt x="2271" y="1451"/>
                      <a:pt x="2271" y="1451"/>
                      <a:pt x="2271" y="1451"/>
                    </a:cubicBezTo>
                    <a:cubicBezTo>
                      <a:pt x="2276" y="1464"/>
                      <a:pt x="2276" y="1464"/>
                      <a:pt x="2276" y="1464"/>
                    </a:cubicBezTo>
                    <a:cubicBezTo>
                      <a:pt x="2286" y="1485"/>
                      <a:pt x="2286" y="1485"/>
                      <a:pt x="2286" y="1485"/>
                    </a:cubicBezTo>
                    <a:cubicBezTo>
                      <a:pt x="2292" y="1481"/>
                      <a:pt x="2292" y="1481"/>
                      <a:pt x="2292" y="1481"/>
                    </a:cubicBezTo>
                    <a:cubicBezTo>
                      <a:pt x="2272" y="1445"/>
                      <a:pt x="2272" y="1445"/>
                      <a:pt x="2272" y="1445"/>
                    </a:cubicBezTo>
                    <a:cubicBezTo>
                      <a:pt x="2266" y="1434"/>
                      <a:pt x="2266" y="1434"/>
                      <a:pt x="2266" y="1434"/>
                    </a:cubicBezTo>
                    <a:cubicBezTo>
                      <a:pt x="2276" y="1427"/>
                      <a:pt x="2276" y="1427"/>
                      <a:pt x="2276" y="1427"/>
                    </a:cubicBezTo>
                    <a:cubicBezTo>
                      <a:pt x="2283" y="1422"/>
                      <a:pt x="2283" y="1422"/>
                      <a:pt x="2283" y="1422"/>
                    </a:cubicBezTo>
                    <a:cubicBezTo>
                      <a:pt x="2278" y="1403"/>
                      <a:pt x="2278" y="1403"/>
                      <a:pt x="2278" y="1403"/>
                    </a:cubicBezTo>
                    <a:lnTo>
                      <a:pt x="2275" y="1391"/>
                    </a:lnTo>
                    <a:close/>
                    <a:moveTo>
                      <a:pt x="2085" y="1377"/>
                    </a:moveTo>
                    <a:cubicBezTo>
                      <a:pt x="2070" y="1384"/>
                      <a:pt x="2056" y="1391"/>
                      <a:pt x="2044" y="1397"/>
                    </a:cubicBezTo>
                    <a:cubicBezTo>
                      <a:pt x="2035" y="1401"/>
                      <a:pt x="2028" y="1405"/>
                      <a:pt x="2022" y="1408"/>
                    </a:cubicBezTo>
                    <a:cubicBezTo>
                      <a:pt x="2141" y="1666"/>
                      <a:pt x="2141" y="1666"/>
                      <a:pt x="2141" y="1666"/>
                    </a:cubicBezTo>
                    <a:cubicBezTo>
                      <a:pt x="2150" y="1683"/>
                      <a:pt x="2150" y="1683"/>
                      <a:pt x="2150" y="1683"/>
                    </a:cubicBezTo>
                    <a:cubicBezTo>
                      <a:pt x="2159" y="1677"/>
                      <a:pt x="2179" y="1665"/>
                      <a:pt x="2209" y="1647"/>
                    </a:cubicBezTo>
                    <a:cubicBezTo>
                      <a:pt x="2305" y="1590"/>
                      <a:pt x="2482" y="1489"/>
                      <a:pt x="2507" y="1475"/>
                    </a:cubicBezTo>
                    <a:cubicBezTo>
                      <a:pt x="2389" y="1231"/>
                      <a:pt x="2389" y="1231"/>
                      <a:pt x="2389" y="1231"/>
                    </a:cubicBezTo>
                    <a:cubicBezTo>
                      <a:pt x="2389" y="1230"/>
                      <a:pt x="2388" y="1230"/>
                      <a:pt x="2388" y="1230"/>
                    </a:cubicBezTo>
                    <a:cubicBezTo>
                      <a:pt x="2383" y="1233"/>
                      <a:pt x="2373" y="1238"/>
                      <a:pt x="2360" y="1244"/>
                    </a:cubicBezTo>
                    <a:cubicBezTo>
                      <a:pt x="2408" y="1345"/>
                      <a:pt x="2408" y="1345"/>
                      <a:pt x="2408" y="1345"/>
                    </a:cubicBezTo>
                    <a:cubicBezTo>
                      <a:pt x="2292" y="1399"/>
                      <a:pt x="2292" y="1399"/>
                      <a:pt x="2292" y="1399"/>
                    </a:cubicBezTo>
                    <a:cubicBezTo>
                      <a:pt x="2299" y="1428"/>
                      <a:pt x="2299" y="1428"/>
                      <a:pt x="2299" y="1428"/>
                    </a:cubicBezTo>
                    <a:cubicBezTo>
                      <a:pt x="2284" y="1438"/>
                      <a:pt x="2284" y="1438"/>
                      <a:pt x="2284" y="1438"/>
                    </a:cubicBezTo>
                    <a:cubicBezTo>
                      <a:pt x="2310" y="1486"/>
                      <a:pt x="2310" y="1486"/>
                      <a:pt x="2310" y="1486"/>
                    </a:cubicBezTo>
                    <a:cubicBezTo>
                      <a:pt x="2280" y="1505"/>
                      <a:pt x="2280" y="1505"/>
                      <a:pt x="2280" y="1505"/>
                    </a:cubicBezTo>
                    <a:cubicBezTo>
                      <a:pt x="2264" y="1470"/>
                      <a:pt x="2264" y="1470"/>
                      <a:pt x="2264" y="1470"/>
                    </a:cubicBezTo>
                    <a:cubicBezTo>
                      <a:pt x="2180" y="1509"/>
                      <a:pt x="2180" y="1509"/>
                      <a:pt x="2180" y="1509"/>
                    </a:cubicBezTo>
                    <a:cubicBezTo>
                      <a:pt x="2157" y="1465"/>
                      <a:pt x="2157" y="1465"/>
                      <a:pt x="2157" y="1465"/>
                    </a:cubicBezTo>
                    <a:cubicBezTo>
                      <a:pt x="2134" y="1474"/>
                      <a:pt x="2134" y="1474"/>
                      <a:pt x="2134" y="1474"/>
                    </a:cubicBezTo>
                    <a:lnTo>
                      <a:pt x="2085" y="1377"/>
                    </a:lnTo>
                    <a:close/>
                    <a:moveTo>
                      <a:pt x="1190" y="2115"/>
                    </a:moveTo>
                    <a:cubicBezTo>
                      <a:pt x="1191" y="2115"/>
                      <a:pt x="1191" y="2115"/>
                      <a:pt x="1191" y="2115"/>
                    </a:cubicBezTo>
                    <a:cubicBezTo>
                      <a:pt x="1147" y="2024"/>
                      <a:pt x="1147" y="2024"/>
                      <a:pt x="1147" y="2024"/>
                    </a:cubicBezTo>
                    <a:cubicBezTo>
                      <a:pt x="1066" y="2074"/>
                      <a:pt x="1066" y="2074"/>
                      <a:pt x="1066" y="2074"/>
                    </a:cubicBezTo>
                    <a:cubicBezTo>
                      <a:pt x="1072" y="2088"/>
                      <a:pt x="1086" y="2120"/>
                      <a:pt x="1103" y="2157"/>
                    </a:cubicBezTo>
                    <a:cubicBezTo>
                      <a:pt x="1190" y="2115"/>
                      <a:pt x="1190" y="2115"/>
                      <a:pt x="1190" y="2115"/>
                    </a:cubicBezTo>
                    <a:close/>
                    <a:moveTo>
                      <a:pt x="1199" y="2095"/>
                    </a:moveTo>
                    <a:cubicBezTo>
                      <a:pt x="1294" y="2048"/>
                      <a:pt x="1294" y="2048"/>
                      <a:pt x="1294" y="2048"/>
                    </a:cubicBezTo>
                    <a:cubicBezTo>
                      <a:pt x="1294" y="2047"/>
                      <a:pt x="1294" y="2047"/>
                      <a:pt x="1294" y="2047"/>
                    </a:cubicBezTo>
                    <a:cubicBezTo>
                      <a:pt x="1299" y="2044"/>
                      <a:pt x="1299" y="2044"/>
                      <a:pt x="1299" y="2044"/>
                    </a:cubicBezTo>
                    <a:cubicBezTo>
                      <a:pt x="1293" y="2031"/>
                      <a:pt x="1293" y="2031"/>
                      <a:pt x="1293" y="2031"/>
                    </a:cubicBezTo>
                    <a:cubicBezTo>
                      <a:pt x="1295" y="2030"/>
                      <a:pt x="1295" y="2030"/>
                      <a:pt x="1295" y="2030"/>
                    </a:cubicBezTo>
                    <a:cubicBezTo>
                      <a:pt x="1260" y="1953"/>
                      <a:pt x="1260" y="1953"/>
                      <a:pt x="1260" y="1953"/>
                    </a:cubicBezTo>
                    <a:cubicBezTo>
                      <a:pt x="1161" y="2016"/>
                      <a:pt x="1161" y="2016"/>
                      <a:pt x="1161" y="2016"/>
                    </a:cubicBezTo>
                    <a:lnTo>
                      <a:pt x="1199" y="2095"/>
                    </a:lnTo>
                    <a:close/>
                    <a:moveTo>
                      <a:pt x="1531" y="1879"/>
                    </a:moveTo>
                    <a:cubicBezTo>
                      <a:pt x="1532" y="1879"/>
                      <a:pt x="1532" y="1879"/>
                      <a:pt x="1532" y="1879"/>
                    </a:cubicBezTo>
                    <a:cubicBezTo>
                      <a:pt x="1498" y="1805"/>
                      <a:pt x="1498" y="1805"/>
                      <a:pt x="1498" y="1805"/>
                    </a:cubicBezTo>
                    <a:cubicBezTo>
                      <a:pt x="1391" y="1872"/>
                      <a:pt x="1391" y="1872"/>
                      <a:pt x="1391" y="1872"/>
                    </a:cubicBezTo>
                    <a:cubicBezTo>
                      <a:pt x="1427" y="1948"/>
                      <a:pt x="1427" y="1948"/>
                      <a:pt x="1427" y="1948"/>
                    </a:cubicBezTo>
                    <a:cubicBezTo>
                      <a:pt x="1533" y="1897"/>
                      <a:pt x="1533" y="1897"/>
                      <a:pt x="1533" y="1897"/>
                    </a:cubicBezTo>
                    <a:cubicBezTo>
                      <a:pt x="1533" y="1896"/>
                      <a:pt x="1533" y="1896"/>
                      <a:pt x="1533" y="1896"/>
                    </a:cubicBezTo>
                    <a:cubicBezTo>
                      <a:pt x="1536" y="1895"/>
                      <a:pt x="1536" y="1895"/>
                      <a:pt x="1536" y="1895"/>
                    </a:cubicBezTo>
                    <a:lnTo>
                      <a:pt x="1531" y="1879"/>
                    </a:lnTo>
                    <a:close/>
                    <a:moveTo>
                      <a:pt x="1377" y="1880"/>
                    </a:moveTo>
                    <a:cubicBezTo>
                      <a:pt x="1274" y="1945"/>
                      <a:pt x="1274" y="1945"/>
                      <a:pt x="1274" y="1945"/>
                    </a:cubicBezTo>
                    <a:cubicBezTo>
                      <a:pt x="1310" y="2023"/>
                      <a:pt x="1310" y="2023"/>
                      <a:pt x="1310" y="2023"/>
                    </a:cubicBezTo>
                    <a:cubicBezTo>
                      <a:pt x="1419" y="1970"/>
                      <a:pt x="1419" y="1970"/>
                      <a:pt x="1419" y="1970"/>
                    </a:cubicBezTo>
                    <a:lnTo>
                      <a:pt x="1377" y="1880"/>
                    </a:lnTo>
                    <a:close/>
                    <a:moveTo>
                      <a:pt x="1206" y="2108"/>
                    </a:moveTo>
                    <a:cubicBezTo>
                      <a:pt x="1260" y="2220"/>
                      <a:pt x="1260" y="2220"/>
                      <a:pt x="1260" y="2220"/>
                    </a:cubicBezTo>
                    <a:cubicBezTo>
                      <a:pt x="1354" y="2173"/>
                      <a:pt x="1354" y="2173"/>
                      <a:pt x="1354" y="2173"/>
                    </a:cubicBezTo>
                    <a:cubicBezTo>
                      <a:pt x="1353" y="2171"/>
                      <a:pt x="1353" y="2171"/>
                      <a:pt x="1353" y="2171"/>
                    </a:cubicBezTo>
                    <a:cubicBezTo>
                      <a:pt x="1347" y="2159"/>
                      <a:pt x="1347" y="2159"/>
                      <a:pt x="1347" y="2159"/>
                    </a:cubicBezTo>
                    <a:cubicBezTo>
                      <a:pt x="1352" y="2157"/>
                      <a:pt x="1352" y="2157"/>
                      <a:pt x="1352" y="2157"/>
                    </a:cubicBezTo>
                    <a:cubicBezTo>
                      <a:pt x="1341" y="2131"/>
                      <a:pt x="1341" y="2131"/>
                      <a:pt x="1341" y="2131"/>
                    </a:cubicBezTo>
                    <a:cubicBezTo>
                      <a:pt x="1301" y="2060"/>
                      <a:pt x="1301" y="2060"/>
                      <a:pt x="1301" y="2060"/>
                    </a:cubicBezTo>
                    <a:lnTo>
                      <a:pt x="1206" y="2108"/>
                    </a:lnTo>
                    <a:close/>
                    <a:moveTo>
                      <a:pt x="1367" y="2149"/>
                    </a:moveTo>
                    <a:cubicBezTo>
                      <a:pt x="1477" y="2096"/>
                      <a:pt x="1477" y="2096"/>
                      <a:pt x="1477" y="2096"/>
                    </a:cubicBezTo>
                    <a:cubicBezTo>
                      <a:pt x="1425" y="1983"/>
                      <a:pt x="1425" y="1983"/>
                      <a:pt x="1425" y="1983"/>
                    </a:cubicBezTo>
                    <a:cubicBezTo>
                      <a:pt x="1316" y="2036"/>
                      <a:pt x="1316" y="2036"/>
                      <a:pt x="1316" y="2036"/>
                    </a:cubicBezTo>
                    <a:lnTo>
                      <a:pt x="1367" y="2149"/>
                    </a:lnTo>
                    <a:close/>
                    <a:moveTo>
                      <a:pt x="1484" y="2071"/>
                    </a:moveTo>
                    <a:cubicBezTo>
                      <a:pt x="1485" y="2074"/>
                      <a:pt x="1485" y="2074"/>
                      <a:pt x="1485" y="2074"/>
                    </a:cubicBezTo>
                    <a:cubicBezTo>
                      <a:pt x="1486" y="2073"/>
                      <a:pt x="1486" y="2073"/>
                      <a:pt x="1486" y="2073"/>
                    </a:cubicBezTo>
                    <a:cubicBezTo>
                      <a:pt x="1592" y="2022"/>
                      <a:pt x="1592" y="2022"/>
                      <a:pt x="1592" y="2022"/>
                    </a:cubicBezTo>
                    <a:cubicBezTo>
                      <a:pt x="1590" y="2018"/>
                      <a:pt x="1590" y="2018"/>
                      <a:pt x="1590" y="2018"/>
                    </a:cubicBezTo>
                    <a:cubicBezTo>
                      <a:pt x="1587" y="2006"/>
                      <a:pt x="1587" y="2006"/>
                      <a:pt x="1587" y="2006"/>
                    </a:cubicBezTo>
                    <a:cubicBezTo>
                      <a:pt x="1591" y="2004"/>
                      <a:pt x="1591" y="2004"/>
                      <a:pt x="1591" y="2004"/>
                    </a:cubicBezTo>
                    <a:cubicBezTo>
                      <a:pt x="1577" y="1975"/>
                      <a:pt x="1577" y="1975"/>
                      <a:pt x="1577" y="1975"/>
                    </a:cubicBezTo>
                    <a:cubicBezTo>
                      <a:pt x="1540" y="1909"/>
                      <a:pt x="1540" y="1909"/>
                      <a:pt x="1540" y="1909"/>
                    </a:cubicBezTo>
                    <a:cubicBezTo>
                      <a:pt x="1436" y="1959"/>
                      <a:pt x="1436" y="1959"/>
                      <a:pt x="1436" y="1959"/>
                    </a:cubicBezTo>
                    <a:cubicBezTo>
                      <a:pt x="1437" y="1964"/>
                      <a:pt x="1437" y="1964"/>
                      <a:pt x="1437" y="1964"/>
                    </a:cubicBezTo>
                    <a:cubicBezTo>
                      <a:pt x="1440" y="1975"/>
                      <a:pt x="1440" y="1975"/>
                      <a:pt x="1440" y="1975"/>
                    </a:cubicBezTo>
                    <a:cubicBezTo>
                      <a:pt x="1439" y="1976"/>
                      <a:pt x="1439" y="1976"/>
                      <a:pt x="1439" y="1976"/>
                    </a:cubicBezTo>
                    <a:lnTo>
                      <a:pt x="1484" y="2071"/>
                    </a:lnTo>
                    <a:close/>
                    <a:moveTo>
                      <a:pt x="1605" y="1997"/>
                    </a:moveTo>
                    <a:cubicBezTo>
                      <a:pt x="1699" y="1950"/>
                      <a:pt x="1699" y="1950"/>
                      <a:pt x="1699" y="1950"/>
                    </a:cubicBezTo>
                    <a:cubicBezTo>
                      <a:pt x="1698" y="1948"/>
                      <a:pt x="1698" y="1948"/>
                      <a:pt x="1698" y="1948"/>
                    </a:cubicBezTo>
                    <a:cubicBezTo>
                      <a:pt x="1691" y="1935"/>
                      <a:pt x="1691" y="1935"/>
                      <a:pt x="1691" y="1935"/>
                    </a:cubicBezTo>
                    <a:cubicBezTo>
                      <a:pt x="1694" y="1934"/>
                      <a:pt x="1694" y="1934"/>
                      <a:pt x="1694" y="1934"/>
                    </a:cubicBezTo>
                    <a:cubicBezTo>
                      <a:pt x="1680" y="1905"/>
                      <a:pt x="1665" y="1872"/>
                      <a:pt x="1648" y="1836"/>
                    </a:cubicBezTo>
                    <a:cubicBezTo>
                      <a:pt x="1553" y="1884"/>
                      <a:pt x="1553" y="1884"/>
                      <a:pt x="1553" y="1884"/>
                    </a:cubicBezTo>
                    <a:lnTo>
                      <a:pt x="1605" y="1997"/>
                    </a:lnTo>
                    <a:close/>
                    <a:moveTo>
                      <a:pt x="1709" y="1927"/>
                    </a:moveTo>
                    <a:cubicBezTo>
                      <a:pt x="1816" y="1876"/>
                      <a:pt x="1816" y="1876"/>
                      <a:pt x="1816" y="1876"/>
                    </a:cubicBezTo>
                    <a:cubicBezTo>
                      <a:pt x="1802" y="1848"/>
                      <a:pt x="1802" y="1848"/>
                      <a:pt x="1802" y="1848"/>
                    </a:cubicBezTo>
                    <a:cubicBezTo>
                      <a:pt x="1778" y="1802"/>
                      <a:pt x="1778" y="1802"/>
                      <a:pt x="1778" y="1802"/>
                    </a:cubicBezTo>
                    <a:cubicBezTo>
                      <a:pt x="1771" y="1805"/>
                      <a:pt x="1771" y="1805"/>
                      <a:pt x="1771" y="1805"/>
                    </a:cubicBezTo>
                    <a:cubicBezTo>
                      <a:pt x="1765" y="1794"/>
                      <a:pt x="1765" y="1794"/>
                      <a:pt x="1765" y="1794"/>
                    </a:cubicBezTo>
                    <a:cubicBezTo>
                      <a:pt x="1750" y="1770"/>
                      <a:pt x="1750" y="1770"/>
                      <a:pt x="1750" y="1770"/>
                    </a:cubicBezTo>
                    <a:cubicBezTo>
                      <a:pt x="1657" y="1814"/>
                      <a:pt x="1657" y="1814"/>
                      <a:pt x="1657" y="1814"/>
                    </a:cubicBezTo>
                    <a:cubicBezTo>
                      <a:pt x="1658" y="1815"/>
                      <a:pt x="1658" y="1815"/>
                      <a:pt x="1658" y="1815"/>
                    </a:cubicBezTo>
                    <a:cubicBezTo>
                      <a:pt x="1665" y="1828"/>
                      <a:pt x="1665" y="1828"/>
                      <a:pt x="1665" y="1828"/>
                    </a:cubicBezTo>
                    <a:cubicBezTo>
                      <a:pt x="1663" y="1829"/>
                      <a:pt x="1663" y="1829"/>
                      <a:pt x="1663" y="1829"/>
                    </a:cubicBezTo>
                    <a:cubicBezTo>
                      <a:pt x="1680" y="1865"/>
                      <a:pt x="1695" y="1898"/>
                      <a:pt x="1709" y="1927"/>
                    </a:cubicBezTo>
                    <a:close/>
                    <a:moveTo>
                      <a:pt x="1831" y="1869"/>
                    </a:moveTo>
                    <a:cubicBezTo>
                      <a:pt x="1834" y="1868"/>
                      <a:pt x="1834" y="1868"/>
                      <a:pt x="1834" y="1868"/>
                    </a:cubicBezTo>
                    <a:cubicBezTo>
                      <a:pt x="1841" y="1879"/>
                      <a:pt x="1841" y="1879"/>
                      <a:pt x="1841" y="1879"/>
                    </a:cubicBezTo>
                    <a:cubicBezTo>
                      <a:pt x="1855" y="1903"/>
                      <a:pt x="1855" y="1903"/>
                      <a:pt x="1855" y="1903"/>
                    </a:cubicBezTo>
                    <a:cubicBezTo>
                      <a:pt x="1955" y="1854"/>
                      <a:pt x="1955" y="1854"/>
                      <a:pt x="1955" y="1854"/>
                    </a:cubicBezTo>
                    <a:cubicBezTo>
                      <a:pt x="1954" y="1851"/>
                      <a:pt x="1952" y="1848"/>
                      <a:pt x="1950" y="1844"/>
                    </a:cubicBezTo>
                    <a:cubicBezTo>
                      <a:pt x="1948" y="1839"/>
                      <a:pt x="1948" y="1839"/>
                      <a:pt x="1948" y="1839"/>
                    </a:cubicBezTo>
                    <a:cubicBezTo>
                      <a:pt x="1948" y="1839"/>
                      <a:pt x="1948" y="1839"/>
                      <a:pt x="1948" y="1839"/>
                    </a:cubicBezTo>
                    <a:cubicBezTo>
                      <a:pt x="1935" y="1811"/>
                      <a:pt x="1918" y="1776"/>
                      <a:pt x="1902" y="1742"/>
                    </a:cubicBezTo>
                    <a:cubicBezTo>
                      <a:pt x="1795" y="1794"/>
                      <a:pt x="1795" y="1794"/>
                      <a:pt x="1795" y="1794"/>
                    </a:cubicBezTo>
                    <a:lnTo>
                      <a:pt x="1831" y="1869"/>
                    </a:lnTo>
                    <a:close/>
                    <a:moveTo>
                      <a:pt x="1963" y="1831"/>
                    </a:moveTo>
                    <a:cubicBezTo>
                      <a:pt x="2056" y="1783"/>
                      <a:pt x="2056" y="1783"/>
                      <a:pt x="2056" y="1783"/>
                    </a:cubicBezTo>
                    <a:cubicBezTo>
                      <a:pt x="2056" y="1783"/>
                      <a:pt x="2056" y="1783"/>
                      <a:pt x="2056" y="1783"/>
                    </a:cubicBezTo>
                    <a:cubicBezTo>
                      <a:pt x="2052" y="1771"/>
                      <a:pt x="2052" y="1771"/>
                      <a:pt x="2052" y="1771"/>
                    </a:cubicBezTo>
                    <a:cubicBezTo>
                      <a:pt x="2054" y="1770"/>
                      <a:pt x="2054" y="1770"/>
                      <a:pt x="2054" y="1770"/>
                    </a:cubicBezTo>
                    <a:cubicBezTo>
                      <a:pt x="2022" y="1704"/>
                      <a:pt x="2022" y="1704"/>
                      <a:pt x="2022" y="1704"/>
                    </a:cubicBezTo>
                    <a:cubicBezTo>
                      <a:pt x="2003" y="1670"/>
                      <a:pt x="2003" y="1670"/>
                      <a:pt x="2003" y="1670"/>
                    </a:cubicBezTo>
                    <a:cubicBezTo>
                      <a:pt x="1913" y="1717"/>
                      <a:pt x="1913" y="1717"/>
                      <a:pt x="1913" y="1717"/>
                    </a:cubicBezTo>
                    <a:cubicBezTo>
                      <a:pt x="1914" y="1720"/>
                      <a:pt x="1914" y="1720"/>
                      <a:pt x="1914" y="1720"/>
                    </a:cubicBezTo>
                    <a:cubicBezTo>
                      <a:pt x="1921" y="1733"/>
                      <a:pt x="1921" y="1733"/>
                      <a:pt x="1921" y="1733"/>
                    </a:cubicBezTo>
                    <a:cubicBezTo>
                      <a:pt x="1916" y="1735"/>
                      <a:pt x="1916" y="1735"/>
                      <a:pt x="1916" y="1735"/>
                    </a:cubicBezTo>
                    <a:cubicBezTo>
                      <a:pt x="1929" y="1762"/>
                      <a:pt x="1942" y="1788"/>
                      <a:pt x="1953" y="1812"/>
                    </a:cubicBezTo>
                    <a:lnTo>
                      <a:pt x="1963" y="1831"/>
                    </a:lnTo>
                    <a:close/>
                    <a:moveTo>
                      <a:pt x="2069" y="1762"/>
                    </a:moveTo>
                    <a:cubicBezTo>
                      <a:pt x="2149" y="1722"/>
                      <a:pt x="2149" y="1722"/>
                      <a:pt x="2149" y="1722"/>
                    </a:cubicBezTo>
                    <a:cubicBezTo>
                      <a:pt x="2110" y="1638"/>
                      <a:pt x="2110" y="1638"/>
                      <a:pt x="2110" y="1638"/>
                    </a:cubicBezTo>
                    <a:cubicBezTo>
                      <a:pt x="2095" y="1610"/>
                      <a:pt x="2095" y="1610"/>
                      <a:pt x="2095" y="1610"/>
                    </a:cubicBezTo>
                    <a:cubicBezTo>
                      <a:pt x="2015" y="1650"/>
                      <a:pt x="2015" y="1650"/>
                      <a:pt x="2015" y="1650"/>
                    </a:cubicBezTo>
                    <a:lnTo>
                      <a:pt x="2069" y="1762"/>
                    </a:lnTo>
                    <a:close/>
                    <a:moveTo>
                      <a:pt x="2037" y="1479"/>
                    </a:moveTo>
                    <a:cubicBezTo>
                      <a:pt x="1950" y="1516"/>
                      <a:pt x="1950" y="1516"/>
                      <a:pt x="1950" y="1516"/>
                    </a:cubicBezTo>
                    <a:cubicBezTo>
                      <a:pt x="2009" y="1638"/>
                      <a:pt x="2009" y="1638"/>
                      <a:pt x="2009" y="1638"/>
                    </a:cubicBezTo>
                    <a:cubicBezTo>
                      <a:pt x="2091" y="1596"/>
                      <a:pt x="2091" y="1596"/>
                      <a:pt x="2091" y="1596"/>
                    </a:cubicBezTo>
                    <a:lnTo>
                      <a:pt x="2037" y="1479"/>
                    </a:lnTo>
                    <a:close/>
                    <a:moveTo>
                      <a:pt x="1935" y="1522"/>
                    </a:moveTo>
                    <a:cubicBezTo>
                      <a:pt x="1834" y="1564"/>
                      <a:pt x="1834" y="1564"/>
                      <a:pt x="1834" y="1564"/>
                    </a:cubicBezTo>
                    <a:cubicBezTo>
                      <a:pt x="1840" y="1576"/>
                      <a:pt x="1870" y="1638"/>
                      <a:pt x="1903" y="1706"/>
                    </a:cubicBezTo>
                    <a:cubicBezTo>
                      <a:pt x="1996" y="1658"/>
                      <a:pt x="1996" y="1658"/>
                      <a:pt x="1996" y="1658"/>
                    </a:cubicBezTo>
                    <a:cubicBezTo>
                      <a:pt x="1996" y="1658"/>
                      <a:pt x="1996" y="1658"/>
                      <a:pt x="1996" y="1658"/>
                    </a:cubicBezTo>
                    <a:cubicBezTo>
                      <a:pt x="1999" y="1656"/>
                      <a:pt x="1999" y="1656"/>
                      <a:pt x="1999" y="1656"/>
                    </a:cubicBezTo>
                    <a:lnTo>
                      <a:pt x="1935" y="1522"/>
                    </a:lnTo>
                    <a:close/>
                    <a:moveTo>
                      <a:pt x="1819" y="1571"/>
                    </a:moveTo>
                    <a:cubicBezTo>
                      <a:pt x="1712" y="1616"/>
                      <a:pt x="1712" y="1616"/>
                      <a:pt x="1712" y="1616"/>
                    </a:cubicBezTo>
                    <a:cubicBezTo>
                      <a:pt x="1789" y="1781"/>
                      <a:pt x="1789" y="1781"/>
                      <a:pt x="1789" y="1781"/>
                    </a:cubicBezTo>
                    <a:cubicBezTo>
                      <a:pt x="1896" y="1729"/>
                      <a:pt x="1896" y="1729"/>
                      <a:pt x="1896" y="1729"/>
                    </a:cubicBezTo>
                    <a:cubicBezTo>
                      <a:pt x="1859" y="1653"/>
                      <a:pt x="1823" y="1580"/>
                      <a:pt x="1819" y="1571"/>
                    </a:cubicBezTo>
                    <a:close/>
                    <a:moveTo>
                      <a:pt x="1699" y="1627"/>
                    </a:moveTo>
                    <a:cubicBezTo>
                      <a:pt x="1616" y="1728"/>
                      <a:pt x="1616" y="1728"/>
                      <a:pt x="1616" y="1728"/>
                    </a:cubicBezTo>
                    <a:cubicBezTo>
                      <a:pt x="1618" y="1733"/>
                      <a:pt x="1621" y="1739"/>
                      <a:pt x="1623" y="1744"/>
                    </a:cubicBezTo>
                    <a:cubicBezTo>
                      <a:pt x="1632" y="1763"/>
                      <a:pt x="1641" y="1783"/>
                      <a:pt x="1650" y="1802"/>
                    </a:cubicBezTo>
                    <a:cubicBezTo>
                      <a:pt x="1756" y="1752"/>
                      <a:pt x="1756" y="1752"/>
                      <a:pt x="1756" y="1752"/>
                    </a:cubicBezTo>
                    <a:cubicBezTo>
                      <a:pt x="1762" y="1761"/>
                      <a:pt x="1762" y="1761"/>
                      <a:pt x="1762" y="1761"/>
                    </a:cubicBezTo>
                    <a:lnTo>
                      <a:pt x="1699" y="1627"/>
                    </a:lnTo>
                    <a:close/>
                    <a:moveTo>
                      <a:pt x="1605" y="1744"/>
                    </a:moveTo>
                    <a:cubicBezTo>
                      <a:pt x="1605" y="1742"/>
                      <a:pt x="1604" y="1741"/>
                      <a:pt x="1603" y="1739"/>
                    </a:cubicBezTo>
                    <a:cubicBezTo>
                      <a:pt x="1512" y="1796"/>
                      <a:pt x="1512" y="1796"/>
                      <a:pt x="1512" y="1796"/>
                    </a:cubicBezTo>
                    <a:cubicBezTo>
                      <a:pt x="1547" y="1871"/>
                      <a:pt x="1547" y="1871"/>
                      <a:pt x="1547" y="1871"/>
                    </a:cubicBezTo>
                    <a:cubicBezTo>
                      <a:pt x="1642" y="1824"/>
                      <a:pt x="1642" y="1824"/>
                      <a:pt x="1642" y="1824"/>
                    </a:cubicBezTo>
                    <a:cubicBezTo>
                      <a:pt x="1630" y="1798"/>
                      <a:pt x="1618" y="1771"/>
                      <a:pt x="1605" y="1744"/>
                    </a:cubicBezTo>
                    <a:close/>
                    <a:moveTo>
                      <a:pt x="1249" y="2241"/>
                    </a:moveTo>
                    <a:cubicBezTo>
                      <a:pt x="1248" y="2238"/>
                      <a:pt x="1248" y="2238"/>
                      <a:pt x="1248" y="2238"/>
                    </a:cubicBezTo>
                    <a:cubicBezTo>
                      <a:pt x="1245" y="2227"/>
                      <a:pt x="1245" y="2227"/>
                      <a:pt x="1245" y="2227"/>
                    </a:cubicBezTo>
                    <a:cubicBezTo>
                      <a:pt x="1245" y="2227"/>
                      <a:pt x="1245" y="2227"/>
                      <a:pt x="1245" y="2227"/>
                    </a:cubicBezTo>
                    <a:cubicBezTo>
                      <a:pt x="1197" y="2128"/>
                      <a:pt x="1197" y="2128"/>
                      <a:pt x="1197" y="2128"/>
                    </a:cubicBezTo>
                    <a:cubicBezTo>
                      <a:pt x="1108" y="2170"/>
                      <a:pt x="1108" y="2170"/>
                      <a:pt x="1108" y="2170"/>
                    </a:cubicBezTo>
                    <a:cubicBezTo>
                      <a:pt x="1113" y="2181"/>
                      <a:pt x="1118" y="2191"/>
                      <a:pt x="1123" y="2202"/>
                    </a:cubicBezTo>
                    <a:cubicBezTo>
                      <a:pt x="1136" y="2233"/>
                      <a:pt x="1150" y="2263"/>
                      <a:pt x="1161" y="2287"/>
                    </a:cubicBezTo>
                    <a:lnTo>
                      <a:pt x="1249" y="2241"/>
                    </a:lnTo>
                    <a:close/>
                    <a:moveTo>
                      <a:pt x="1167" y="2300"/>
                    </a:moveTo>
                    <a:cubicBezTo>
                      <a:pt x="1172" y="2310"/>
                      <a:pt x="1176" y="2318"/>
                      <a:pt x="1179" y="2324"/>
                    </a:cubicBezTo>
                    <a:cubicBezTo>
                      <a:pt x="1180" y="2326"/>
                      <a:pt x="1180" y="2327"/>
                      <a:pt x="1181" y="2329"/>
                    </a:cubicBezTo>
                    <a:cubicBezTo>
                      <a:pt x="1271" y="2280"/>
                      <a:pt x="1271" y="2280"/>
                      <a:pt x="1271" y="2280"/>
                    </a:cubicBezTo>
                    <a:cubicBezTo>
                      <a:pt x="1258" y="2252"/>
                      <a:pt x="1258" y="2252"/>
                      <a:pt x="1258" y="2252"/>
                    </a:cubicBezTo>
                    <a:lnTo>
                      <a:pt x="1167" y="2300"/>
                    </a:lnTo>
                    <a:close/>
                    <a:moveTo>
                      <a:pt x="1286" y="2272"/>
                    </a:moveTo>
                    <a:cubicBezTo>
                      <a:pt x="1381" y="2221"/>
                      <a:pt x="1381" y="2221"/>
                      <a:pt x="1381" y="2221"/>
                    </a:cubicBezTo>
                    <a:cubicBezTo>
                      <a:pt x="1364" y="2183"/>
                      <a:pt x="1364" y="2183"/>
                      <a:pt x="1364" y="2183"/>
                    </a:cubicBezTo>
                    <a:cubicBezTo>
                      <a:pt x="1266" y="2232"/>
                      <a:pt x="1266" y="2232"/>
                      <a:pt x="1266" y="2232"/>
                    </a:cubicBezTo>
                    <a:lnTo>
                      <a:pt x="1286" y="2272"/>
                    </a:lnTo>
                    <a:close/>
                    <a:moveTo>
                      <a:pt x="1396" y="2213"/>
                    </a:moveTo>
                    <a:cubicBezTo>
                      <a:pt x="1504" y="2154"/>
                      <a:pt x="1504" y="2154"/>
                      <a:pt x="1504" y="2154"/>
                    </a:cubicBezTo>
                    <a:cubicBezTo>
                      <a:pt x="1483" y="2108"/>
                      <a:pt x="1483" y="2108"/>
                      <a:pt x="1483" y="2108"/>
                    </a:cubicBezTo>
                    <a:cubicBezTo>
                      <a:pt x="1373" y="2162"/>
                      <a:pt x="1373" y="2162"/>
                      <a:pt x="1373" y="2162"/>
                    </a:cubicBezTo>
                    <a:lnTo>
                      <a:pt x="1396" y="2213"/>
                    </a:lnTo>
                    <a:close/>
                    <a:moveTo>
                      <a:pt x="1519" y="2147"/>
                    </a:moveTo>
                    <a:cubicBezTo>
                      <a:pt x="1629" y="2087"/>
                      <a:pt x="1629" y="2087"/>
                      <a:pt x="1629" y="2087"/>
                    </a:cubicBezTo>
                    <a:cubicBezTo>
                      <a:pt x="1604" y="2032"/>
                      <a:pt x="1604" y="2032"/>
                      <a:pt x="1604" y="2032"/>
                    </a:cubicBezTo>
                    <a:cubicBezTo>
                      <a:pt x="1492" y="2086"/>
                      <a:pt x="1492" y="2086"/>
                      <a:pt x="1492" y="2086"/>
                    </a:cubicBezTo>
                    <a:cubicBezTo>
                      <a:pt x="1493" y="2091"/>
                      <a:pt x="1493" y="2091"/>
                      <a:pt x="1493" y="2091"/>
                    </a:cubicBezTo>
                    <a:lnTo>
                      <a:pt x="1519" y="2147"/>
                    </a:lnTo>
                    <a:close/>
                    <a:moveTo>
                      <a:pt x="1644" y="2079"/>
                    </a:moveTo>
                    <a:cubicBezTo>
                      <a:pt x="1738" y="2028"/>
                      <a:pt x="1738" y="2028"/>
                      <a:pt x="1738" y="2028"/>
                    </a:cubicBezTo>
                    <a:cubicBezTo>
                      <a:pt x="1733" y="2018"/>
                      <a:pt x="1722" y="1994"/>
                      <a:pt x="1707" y="1962"/>
                    </a:cubicBezTo>
                    <a:cubicBezTo>
                      <a:pt x="1611" y="2010"/>
                      <a:pt x="1611" y="2010"/>
                      <a:pt x="1611" y="2010"/>
                    </a:cubicBezTo>
                    <a:lnTo>
                      <a:pt x="1644" y="2079"/>
                    </a:lnTo>
                    <a:close/>
                    <a:moveTo>
                      <a:pt x="1753" y="2020"/>
                    </a:moveTo>
                    <a:cubicBezTo>
                      <a:pt x="1857" y="1964"/>
                      <a:pt x="1857" y="1964"/>
                      <a:pt x="1857" y="1964"/>
                    </a:cubicBezTo>
                    <a:cubicBezTo>
                      <a:pt x="1822" y="1889"/>
                      <a:pt x="1822" y="1889"/>
                      <a:pt x="1822" y="1889"/>
                    </a:cubicBezTo>
                    <a:cubicBezTo>
                      <a:pt x="1715" y="1940"/>
                      <a:pt x="1715" y="1940"/>
                      <a:pt x="1715" y="1940"/>
                    </a:cubicBezTo>
                    <a:cubicBezTo>
                      <a:pt x="1733" y="1979"/>
                      <a:pt x="1747" y="2008"/>
                      <a:pt x="1753" y="2020"/>
                    </a:cubicBezTo>
                    <a:close/>
                    <a:moveTo>
                      <a:pt x="1872" y="1956"/>
                    </a:moveTo>
                    <a:cubicBezTo>
                      <a:pt x="1976" y="1900"/>
                      <a:pt x="1976" y="1900"/>
                      <a:pt x="1976" y="1900"/>
                    </a:cubicBezTo>
                    <a:cubicBezTo>
                      <a:pt x="1974" y="1894"/>
                      <a:pt x="1968" y="1883"/>
                      <a:pt x="1961" y="1867"/>
                    </a:cubicBezTo>
                    <a:cubicBezTo>
                      <a:pt x="1854" y="1919"/>
                      <a:pt x="1854" y="1919"/>
                      <a:pt x="1854" y="1919"/>
                    </a:cubicBezTo>
                    <a:lnTo>
                      <a:pt x="1872" y="1956"/>
                    </a:lnTo>
                    <a:close/>
                    <a:moveTo>
                      <a:pt x="1986" y="1883"/>
                    </a:moveTo>
                    <a:cubicBezTo>
                      <a:pt x="1988" y="1887"/>
                      <a:pt x="1989" y="1889"/>
                      <a:pt x="1991" y="1892"/>
                    </a:cubicBezTo>
                    <a:cubicBezTo>
                      <a:pt x="2088" y="1840"/>
                      <a:pt x="2088" y="1840"/>
                      <a:pt x="2088" y="1840"/>
                    </a:cubicBezTo>
                    <a:cubicBezTo>
                      <a:pt x="2066" y="1793"/>
                      <a:pt x="2066" y="1793"/>
                      <a:pt x="2066" y="1793"/>
                    </a:cubicBezTo>
                    <a:cubicBezTo>
                      <a:pt x="1970" y="1843"/>
                      <a:pt x="1970" y="1843"/>
                      <a:pt x="1970" y="1843"/>
                    </a:cubicBezTo>
                    <a:cubicBezTo>
                      <a:pt x="1970" y="1844"/>
                      <a:pt x="1970" y="1844"/>
                      <a:pt x="1970" y="1844"/>
                    </a:cubicBezTo>
                    <a:cubicBezTo>
                      <a:pt x="1969" y="1844"/>
                      <a:pt x="1969" y="1844"/>
                      <a:pt x="1969" y="1844"/>
                    </a:cubicBezTo>
                    <a:cubicBezTo>
                      <a:pt x="1976" y="1860"/>
                      <a:pt x="1982" y="1873"/>
                      <a:pt x="1986" y="1883"/>
                    </a:cubicBezTo>
                    <a:close/>
                    <a:moveTo>
                      <a:pt x="2195" y="1783"/>
                    </a:moveTo>
                    <a:cubicBezTo>
                      <a:pt x="2233" y="1764"/>
                      <a:pt x="2302" y="1730"/>
                      <a:pt x="2388" y="1684"/>
                    </a:cubicBezTo>
                    <a:cubicBezTo>
                      <a:pt x="2441" y="1657"/>
                      <a:pt x="2500" y="1625"/>
                      <a:pt x="2564" y="1591"/>
                    </a:cubicBezTo>
                    <a:cubicBezTo>
                      <a:pt x="2515" y="1488"/>
                      <a:pt x="2515" y="1488"/>
                      <a:pt x="2515" y="1488"/>
                    </a:cubicBezTo>
                    <a:cubicBezTo>
                      <a:pt x="2502" y="1496"/>
                      <a:pt x="2420" y="1543"/>
                      <a:pt x="2337" y="1591"/>
                    </a:cubicBezTo>
                    <a:cubicBezTo>
                      <a:pt x="2291" y="1617"/>
                      <a:pt x="2246" y="1644"/>
                      <a:pt x="2212" y="1664"/>
                    </a:cubicBezTo>
                    <a:cubicBezTo>
                      <a:pt x="2195" y="1674"/>
                      <a:pt x="2181" y="1682"/>
                      <a:pt x="2171" y="1688"/>
                    </a:cubicBezTo>
                    <a:cubicBezTo>
                      <a:pt x="2166" y="1691"/>
                      <a:pt x="2163" y="1694"/>
                      <a:pt x="2160" y="1696"/>
                    </a:cubicBezTo>
                    <a:cubicBezTo>
                      <a:pt x="2159" y="1696"/>
                      <a:pt x="2158" y="1697"/>
                      <a:pt x="2158" y="1697"/>
                    </a:cubicBezTo>
                    <a:cubicBezTo>
                      <a:pt x="2173" y="1726"/>
                      <a:pt x="2173" y="1726"/>
                      <a:pt x="2173" y="1726"/>
                    </a:cubicBezTo>
                    <a:cubicBezTo>
                      <a:pt x="2169" y="1728"/>
                      <a:pt x="2169" y="1728"/>
                      <a:pt x="2169" y="1728"/>
                    </a:cubicBezTo>
                    <a:lnTo>
                      <a:pt x="2195" y="1783"/>
                    </a:lnTo>
                    <a:close/>
                    <a:moveTo>
                      <a:pt x="2604" y="1570"/>
                    </a:moveTo>
                    <a:cubicBezTo>
                      <a:pt x="2685" y="1527"/>
                      <a:pt x="2771" y="1481"/>
                      <a:pt x="2858" y="1435"/>
                    </a:cubicBezTo>
                    <a:cubicBezTo>
                      <a:pt x="2600" y="1177"/>
                      <a:pt x="2600" y="1177"/>
                      <a:pt x="2600" y="1177"/>
                    </a:cubicBezTo>
                    <a:cubicBezTo>
                      <a:pt x="2596" y="1179"/>
                      <a:pt x="2588" y="1182"/>
                      <a:pt x="2580" y="1185"/>
                    </a:cubicBezTo>
                    <a:cubicBezTo>
                      <a:pt x="2796" y="1394"/>
                      <a:pt x="2796" y="1394"/>
                      <a:pt x="2796" y="1394"/>
                    </a:cubicBezTo>
                    <a:cubicBezTo>
                      <a:pt x="2751" y="1403"/>
                      <a:pt x="2751" y="1403"/>
                      <a:pt x="2751" y="1403"/>
                    </a:cubicBezTo>
                    <a:cubicBezTo>
                      <a:pt x="2655" y="1310"/>
                      <a:pt x="2655" y="1310"/>
                      <a:pt x="2655" y="1310"/>
                    </a:cubicBezTo>
                    <a:cubicBezTo>
                      <a:pt x="2643" y="1428"/>
                      <a:pt x="2643" y="1428"/>
                      <a:pt x="2643" y="1428"/>
                    </a:cubicBezTo>
                    <a:cubicBezTo>
                      <a:pt x="2566" y="1448"/>
                      <a:pt x="2566" y="1448"/>
                      <a:pt x="2566" y="1448"/>
                    </a:cubicBezTo>
                    <a:cubicBezTo>
                      <a:pt x="2470" y="1228"/>
                      <a:pt x="2470" y="1228"/>
                      <a:pt x="2470" y="1228"/>
                    </a:cubicBezTo>
                    <a:cubicBezTo>
                      <a:pt x="2577" y="1186"/>
                      <a:pt x="2577" y="1186"/>
                      <a:pt x="2577" y="1186"/>
                    </a:cubicBezTo>
                    <a:cubicBezTo>
                      <a:pt x="2561" y="1192"/>
                      <a:pt x="2541" y="1199"/>
                      <a:pt x="2521" y="1207"/>
                    </a:cubicBezTo>
                    <a:cubicBezTo>
                      <a:pt x="2500" y="1215"/>
                      <a:pt x="2479" y="1222"/>
                      <a:pt x="2463" y="1229"/>
                    </a:cubicBezTo>
                    <a:cubicBezTo>
                      <a:pt x="2455" y="1232"/>
                      <a:pt x="2449" y="1234"/>
                      <a:pt x="2444" y="1236"/>
                    </a:cubicBezTo>
                    <a:cubicBezTo>
                      <a:pt x="2444" y="1237"/>
                      <a:pt x="2443" y="1237"/>
                      <a:pt x="2443" y="1237"/>
                    </a:cubicBezTo>
                    <a:cubicBezTo>
                      <a:pt x="2545" y="1450"/>
                      <a:pt x="2545" y="1450"/>
                      <a:pt x="2545" y="1450"/>
                    </a:cubicBezTo>
                    <a:cubicBezTo>
                      <a:pt x="2547" y="1449"/>
                      <a:pt x="2547" y="1449"/>
                      <a:pt x="2547" y="1449"/>
                    </a:cubicBezTo>
                    <a:lnTo>
                      <a:pt x="2604" y="1570"/>
                    </a:lnTo>
                    <a:close/>
                    <a:moveTo>
                      <a:pt x="2576" y="1201"/>
                    </a:moveTo>
                    <a:cubicBezTo>
                      <a:pt x="2488" y="1236"/>
                      <a:pt x="2488" y="1236"/>
                      <a:pt x="2488" y="1236"/>
                    </a:cubicBezTo>
                    <a:cubicBezTo>
                      <a:pt x="2574" y="1432"/>
                      <a:pt x="2574" y="1432"/>
                      <a:pt x="2574" y="1432"/>
                    </a:cubicBezTo>
                    <a:cubicBezTo>
                      <a:pt x="2630" y="1417"/>
                      <a:pt x="2630" y="1417"/>
                      <a:pt x="2630" y="1417"/>
                    </a:cubicBezTo>
                    <a:cubicBezTo>
                      <a:pt x="2642" y="1309"/>
                      <a:pt x="2642" y="1309"/>
                      <a:pt x="2642" y="1309"/>
                    </a:cubicBezTo>
                    <a:cubicBezTo>
                      <a:pt x="2645" y="1280"/>
                      <a:pt x="2645" y="1280"/>
                      <a:pt x="2645" y="1280"/>
                    </a:cubicBezTo>
                    <a:cubicBezTo>
                      <a:pt x="2665" y="1300"/>
                      <a:pt x="2665" y="1300"/>
                      <a:pt x="2665" y="1300"/>
                    </a:cubicBezTo>
                    <a:cubicBezTo>
                      <a:pt x="2755" y="1388"/>
                      <a:pt x="2755" y="1388"/>
                      <a:pt x="2755" y="1388"/>
                    </a:cubicBezTo>
                    <a:cubicBezTo>
                      <a:pt x="2767" y="1386"/>
                      <a:pt x="2767" y="1386"/>
                      <a:pt x="2767" y="1386"/>
                    </a:cubicBezTo>
                    <a:lnTo>
                      <a:pt x="2576" y="1201"/>
                    </a:lnTo>
                    <a:close/>
                    <a:moveTo>
                      <a:pt x="2250" y="941"/>
                    </a:moveTo>
                    <a:cubicBezTo>
                      <a:pt x="2004" y="1108"/>
                      <a:pt x="2004" y="1108"/>
                      <a:pt x="2004" y="1108"/>
                    </a:cubicBezTo>
                    <a:cubicBezTo>
                      <a:pt x="1888" y="1117"/>
                      <a:pt x="1888" y="1117"/>
                      <a:pt x="1888" y="1117"/>
                    </a:cubicBezTo>
                    <a:cubicBezTo>
                      <a:pt x="2015" y="1393"/>
                      <a:pt x="2015" y="1393"/>
                      <a:pt x="2015" y="1393"/>
                    </a:cubicBezTo>
                    <a:cubicBezTo>
                      <a:pt x="2027" y="1387"/>
                      <a:pt x="2044" y="1378"/>
                      <a:pt x="2068" y="1367"/>
                    </a:cubicBezTo>
                    <a:cubicBezTo>
                      <a:pt x="2122" y="1341"/>
                      <a:pt x="2200" y="1303"/>
                      <a:pt x="2266" y="1272"/>
                    </a:cubicBezTo>
                    <a:cubicBezTo>
                      <a:pt x="2298" y="1256"/>
                      <a:pt x="2328" y="1242"/>
                      <a:pt x="2349" y="1232"/>
                    </a:cubicBezTo>
                    <a:cubicBezTo>
                      <a:pt x="2359" y="1227"/>
                      <a:pt x="2368" y="1222"/>
                      <a:pt x="2373" y="1219"/>
                    </a:cubicBezTo>
                    <a:cubicBezTo>
                      <a:pt x="2376" y="1218"/>
                      <a:pt x="2378" y="1217"/>
                      <a:pt x="2380" y="1216"/>
                    </a:cubicBezTo>
                    <a:cubicBezTo>
                      <a:pt x="2380" y="1215"/>
                      <a:pt x="2381" y="1215"/>
                      <a:pt x="2382" y="1214"/>
                    </a:cubicBezTo>
                    <a:lnTo>
                      <a:pt x="2250" y="941"/>
                    </a:lnTo>
                    <a:close/>
                    <a:moveTo>
                      <a:pt x="1871" y="1118"/>
                    </a:moveTo>
                    <a:cubicBezTo>
                      <a:pt x="1669" y="1134"/>
                      <a:pt x="1669" y="1134"/>
                      <a:pt x="1669" y="1134"/>
                    </a:cubicBezTo>
                    <a:cubicBezTo>
                      <a:pt x="1650" y="1166"/>
                      <a:pt x="1591" y="1268"/>
                      <a:pt x="1532" y="1369"/>
                    </a:cubicBezTo>
                    <a:cubicBezTo>
                      <a:pt x="1516" y="1396"/>
                      <a:pt x="1501" y="1422"/>
                      <a:pt x="1487" y="1447"/>
                    </a:cubicBezTo>
                    <a:cubicBezTo>
                      <a:pt x="1497" y="1471"/>
                      <a:pt x="1551" y="1589"/>
                      <a:pt x="1608" y="1712"/>
                    </a:cubicBezTo>
                    <a:cubicBezTo>
                      <a:pt x="1695" y="1605"/>
                      <a:pt x="1695" y="1605"/>
                      <a:pt x="1695" y="1605"/>
                    </a:cubicBezTo>
                    <a:cubicBezTo>
                      <a:pt x="2030" y="1464"/>
                      <a:pt x="2030" y="1464"/>
                      <a:pt x="2030" y="1464"/>
                    </a:cubicBezTo>
                    <a:lnTo>
                      <a:pt x="1871" y="1118"/>
                    </a:lnTo>
                    <a:close/>
                    <a:moveTo>
                      <a:pt x="1209" y="796"/>
                    </a:moveTo>
                    <a:cubicBezTo>
                      <a:pt x="1097" y="886"/>
                      <a:pt x="1097" y="886"/>
                      <a:pt x="1097" y="886"/>
                    </a:cubicBezTo>
                    <a:cubicBezTo>
                      <a:pt x="1097" y="914"/>
                      <a:pt x="1091" y="1071"/>
                      <a:pt x="1091" y="1123"/>
                    </a:cubicBezTo>
                    <a:cubicBezTo>
                      <a:pt x="1311" y="1111"/>
                      <a:pt x="1311" y="1111"/>
                      <a:pt x="1311" y="1111"/>
                    </a:cubicBezTo>
                    <a:cubicBezTo>
                      <a:pt x="1328" y="975"/>
                      <a:pt x="1328" y="975"/>
                      <a:pt x="1328" y="975"/>
                    </a:cubicBezTo>
                    <a:lnTo>
                      <a:pt x="1209" y="796"/>
                    </a:lnTo>
                    <a:close/>
                    <a:moveTo>
                      <a:pt x="669" y="1239"/>
                    </a:moveTo>
                    <a:cubicBezTo>
                      <a:pt x="410" y="1454"/>
                      <a:pt x="410" y="1454"/>
                      <a:pt x="410" y="1454"/>
                    </a:cubicBezTo>
                    <a:cubicBezTo>
                      <a:pt x="426" y="1470"/>
                      <a:pt x="447" y="1491"/>
                      <a:pt x="469" y="1512"/>
                    </a:cubicBezTo>
                    <a:cubicBezTo>
                      <a:pt x="489" y="1533"/>
                      <a:pt x="511" y="1553"/>
                      <a:pt x="527" y="1569"/>
                    </a:cubicBezTo>
                    <a:cubicBezTo>
                      <a:pt x="534" y="1576"/>
                      <a:pt x="541" y="1582"/>
                      <a:pt x="546" y="1586"/>
                    </a:cubicBezTo>
                    <a:cubicBezTo>
                      <a:pt x="579" y="1567"/>
                      <a:pt x="717" y="1490"/>
                      <a:pt x="816" y="1436"/>
                    </a:cubicBezTo>
                    <a:lnTo>
                      <a:pt x="669" y="1239"/>
                    </a:lnTo>
                    <a:close/>
                    <a:moveTo>
                      <a:pt x="815" y="1465"/>
                    </a:moveTo>
                    <a:cubicBezTo>
                      <a:pt x="1079" y="1800"/>
                      <a:pt x="1079" y="1800"/>
                      <a:pt x="1079" y="1800"/>
                    </a:cubicBezTo>
                    <a:cubicBezTo>
                      <a:pt x="1146" y="1736"/>
                      <a:pt x="1146" y="1736"/>
                      <a:pt x="1146" y="1736"/>
                    </a:cubicBezTo>
                    <a:cubicBezTo>
                      <a:pt x="921" y="1454"/>
                      <a:pt x="921" y="1454"/>
                      <a:pt x="921" y="1454"/>
                    </a:cubicBezTo>
                    <a:lnTo>
                      <a:pt x="815" y="1465"/>
                    </a:lnTo>
                    <a:close/>
                    <a:moveTo>
                      <a:pt x="551" y="1606"/>
                    </a:moveTo>
                    <a:cubicBezTo>
                      <a:pt x="551" y="1633"/>
                      <a:pt x="553" y="1712"/>
                      <a:pt x="554" y="1728"/>
                    </a:cubicBezTo>
                    <a:cubicBezTo>
                      <a:pt x="566" y="1739"/>
                      <a:pt x="643" y="1813"/>
                      <a:pt x="721" y="1887"/>
                    </a:cubicBezTo>
                    <a:cubicBezTo>
                      <a:pt x="764" y="1928"/>
                      <a:pt x="806" y="1968"/>
                      <a:pt x="838" y="1999"/>
                    </a:cubicBezTo>
                    <a:cubicBezTo>
                      <a:pt x="854" y="2014"/>
                      <a:pt x="868" y="2027"/>
                      <a:pt x="877" y="2036"/>
                    </a:cubicBezTo>
                    <a:cubicBezTo>
                      <a:pt x="878" y="2036"/>
                      <a:pt x="878" y="2037"/>
                      <a:pt x="879" y="2038"/>
                    </a:cubicBezTo>
                    <a:cubicBezTo>
                      <a:pt x="930" y="1989"/>
                      <a:pt x="1013" y="1910"/>
                      <a:pt x="1092" y="1834"/>
                    </a:cubicBezTo>
                    <a:cubicBezTo>
                      <a:pt x="1129" y="1800"/>
                      <a:pt x="1165" y="1765"/>
                      <a:pt x="1199" y="1733"/>
                    </a:cubicBezTo>
                    <a:cubicBezTo>
                      <a:pt x="1183" y="1715"/>
                      <a:pt x="1122" y="1640"/>
                      <a:pt x="1061" y="1565"/>
                    </a:cubicBezTo>
                    <a:cubicBezTo>
                      <a:pt x="1025" y="1521"/>
                      <a:pt x="990" y="1478"/>
                      <a:pt x="963" y="1445"/>
                    </a:cubicBezTo>
                    <a:cubicBezTo>
                      <a:pt x="950" y="1428"/>
                      <a:pt x="939" y="1415"/>
                      <a:pt x="931" y="1405"/>
                    </a:cubicBezTo>
                    <a:cubicBezTo>
                      <a:pt x="927" y="1401"/>
                      <a:pt x="925" y="1398"/>
                      <a:pt x="923" y="1395"/>
                    </a:cubicBezTo>
                    <a:cubicBezTo>
                      <a:pt x="909" y="1403"/>
                      <a:pt x="870" y="1424"/>
                      <a:pt x="823" y="1450"/>
                    </a:cubicBezTo>
                    <a:cubicBezTo>
                      <a:pt x="927" y="1440"/>
                      <a:pt x="927" y="1440"/>
                      <a:pt x="927" y="1440"/>
                    </a:cubicBezTo>
                    <a:cubicBezTo>
                      <a:pt x="1165" y="1738"/>
                      <a:pt x="1165" y="1738"/>
                      <a:pt x="1165" y="1738"/>
                    </a:cubicBezTo>
                    <a:cubicBezTo>
                      <a:pt x="1078" y="1821"/>
                      <a:pt x="1078" y="1821"/>
                      <a:pt x="1078" y="1821"/>
                    </a:cubicBezTo>
                    <a:cubicBezTo>
                      <a:pt x="797" y="1465"/>
                      <a:pt x="797" y="1465"/>
                      <a:pt x="797" y="1465"/>
                    </a:cubicBezTo>
                    <a:cubicBezTo>
                      <a:pt x="778" y="1475"/>
                      <a:pt x="758" y="1486"/>
                      <a:pt x="738" y="1497"/>
                    </a:cubicBezTo>
                    <a:cubicBezTo>
                      <a:pt x="691" y="1524"/>
                      <a:pt x="643" y="1550"/>
                      <a:pt x="607" y="1570"/>
                    </a:cubicBezTo>
                    <a:cubicBezTo>
                      <a:pt x="589" y="1580"/>
                      <a:pt x="574" y="1589"/>
                      <a:pt x="564" y="1595"/>
                    </a:cubicBezTo>
                    <a:cubicBezTo>
                      <a:pt x="559" y="1598"/>
                      <a:pt x="555" y="1600"/>
                      <a:pt x="552" y="1602"/>
                    </a:cubicBezTo>
                    <a:lnTo>
                      <a:pt x="551" y="1606"/>
                    </a:lnTo>
                    <a:close/>
                    <a:moveTo>
                      <a:pt x="609" y="1812"/>
                    </a:moveTo>
                    <a:cubicBezTo>
                      <a:pt x="596" y="1860"/>
                      <a:pt x="556" y="2008"/>
                      <a:pt x="535" y="2081"/>
                    </a:cubicBezTo>
                    <a:cubicBezTo>
                      <a:pt x="576" y="2095"/>
                      <a:pt x="621" y="2112"/>
                      <a:pt x="641" y="2111"/>
                    </a:cubicBezTo>
                    <a:cubicBezTo>
                      <a:pt x="664" y="2112"/>
                      <a:pt x="689" y="2098"/>
                      <a:pt x="735" y="2091"/>
                    </a:cubicBezTo>
                    <a:cubicBezTo>
                      <a:pt x="752" y="2089"/>
                      <a:pt x="775" y="2085"/>
                      <a:pt x="804" y="2085"/>
                    </a:cubicBezTo>
                    <a:cubicBezTo>
                      <a:pt x="811" y="2085"/>
                      <a:pt x="819" y="2085"/>
                      <a:pt x="827" y="2086"/>
                    </a:cubicBezTo>
                    <a:cubicBezTo>
                      <a:pt x="827" y="2086"/>
                      <a:pt x="828" y="2086"/>
                      <a:pt x="828" y="2086"/>
                    </a:cubicBezTo>
                    <a:cubicBezTo>
                      <a:pt x="833" y="2082"/>
                      <a:pt x="847" y="2068"/>
                      <a:pt x="867" y="2049"/>
                    </a:cubicBezTo>
                    <a:cubicBezTo>
                      <a:pt x="827" y="2010"/>
                      <a:pt x="694" y="1884"/>
                      <a:pt x="611" y="1804"/>
                    </a:cubicBezTo>
                    <a:cubicBezTo>
                      <a:pt x="610" y="1806"/>
                      <a:pt x="610" y="1809"/>
                      <a:pt x="609" y="1812"/>
                    </a:cubicBezTo>
                    <a:close/>
                    <a:moveTo>
                      <a:pt x="516" y="2147"/>
                    </a:moveTo>
                    <a:cubicBezTo>
                      <a:pt x="500" y="2196"/>
                      <a:pt x="464" y="2304"/>
                      <a:pt x="459" y="2320"/>
                    </a:cubicBezTo>
                    <a:cubicBezTo>
                      <a:pt x="462" y="2334"/>
                      <a:pt x="493" y="2420"/>
                      <a:pt x="522" y="2503"/>
                    </a:cubicBezTo>
                    <a:cubicBezTo>
                      <a:pt x="544" y="2564"/>
                      <a:pt x="565" y="2623"/>
                      <a:pt x="575" y="2653"/>
                    </a:cubicBezTo>
                    <a:cubicBezTo>
                      <a:pt x="1023" y="2413"/>
                      <a:pt x="1023" y="2413"/>
                      <a:pt x="1023" y="2413"/>
                    </a:cubicBezTo>
                    <a:cubicBezTo>
                      <a:pt x="1023" y="2411"/>
                      <a:pt x="1020" y="2400"/>
                      <a:pt x="1014" y="2382"/>
                    </a:cubicBezTo>
                    <a:cubicBezTo>
                      <a:pt x="1004" y="2353"/>
                      <a:pt x="988" y="2308"/>
                      <a:pt x="968" y="2267"/>
                    </a:cubicBezTo>
                    <a:cubicBezTo>
                      <a:pt x="948" y="2225"/>
                      <a:pt x="921" y="2189"/>
                      <a:pt x="902" y="2178"/>
                    </a:cubicBezTo>
                    <a:cubicBezTo>
                      <a:pt x="873" y="2160"/>
                      <a:pt x="847" y="2157"/>
                      <a:pt x="822" y="2155"/>
                    </a:cubicBezTo>
                    <a:cubicBezTo>
                      <a:pt x="816" y="2154"/>
                      <a:pt x="810" y="2154"/>
                      <a:pt x="804" y="2154"/>
                    </a:cubicBezTo>
                    <a:cubicBezTo>
                      <a:pt x="781" y="2154"/>
                      <a:pt x="763" y="2157"/>
                      <a:pt x="744" y="2160"/>
                    </a:cubicBezTo>
                    <a:cubicBezTo>
                      <a:pt x="712" y="2163"/>
                      <a:pt x="686" y="2179"/>
                      <a:pt x="641" y="2180"/>
                    </a:cubicBezTo>
                    <a:cubicBezTo>
                      <a:pt x="597" y="2179"/>
                      <a:pt x="554" y="2160"/>
                      <a:pt x="516" y="2147"/>
                    </a:cubicBezTo>
                    <a:close/>
                    <a:moveTo>
                      <a:pt x="526" y="2852"/>
                    </a:moveTo>
                    <a:cubicBezTo>
                      <a:pt x="529" y="2855"/>
                      <a:pt x="532" y="2860"/>
                      <a:pt x="538" y="2866"/>
                    </a:cubicBezTo>
                    <a:cubicBezTo>
                      <a:pt x="592" y="2836"/>
                      <a:pt x="593" y="2835"/>
                      <a:pt x="599" y="2831"/>
                    </a:cubicBezTo>
                    <a:cubicBezTo>
                      <a:pt x="601" y="2830"/>
                      <a:pt x="601" y="2830"/>
                      <a:pt x="601" y="2830"/>
                    </a:cubicBezTo>
                    <a:cubicBezTo>
                      <a:pt x="602" y="2830"/>
                      <a:pt x="602" y="2830"/>
                      <a:pt x="602" y="2830"/>
                    </a:cubicBezTo>
                    <a:cubicBezTo>
                      <a:pt x="602" y="2829"/>
                      <a:pt x="615" y="2823"/>
                      <a:pt x="640" y="2810"/>
                    </a:cubicBezTo>
                    <a:cubicBezTo>
                      <a:pt x="811" y="2719"/>
                      <a:pt x="1543" y="2331"/>
                      <a:pt x="2268" y="1940"/>
                    </a:cubicBezTo>
                    <a:cubicBezTo>
                      <a:pt x="2900" y="1599"/>
                      <a:pt x="3534" y="1248"/>
                      <a:pt x="3744" y="1140"/>
                    </a:cubicBezTo>
                    <a:cubicBezTo>
                      <a:pt x="3738" y="1126"/>
                      <a:pt x="3738" y="1126"/>
                      <a:pt x="3738" y="1126"/>
                    </a:cubicBezTo>
                    <a:cubicBezTo>
                      <a:pt x="3724" y="1137"/>
                      <a:pt x="3711" y="1147"/>
                      <a:pt x="3701" y="1155"/>
                    </a:cubicBezTo>
                    <a:cubicBezTo>
                      <a:pt x="3694" y="1159"/>
                      <a:pt x="3692" y="1161"/>
                      <a:pt x="3687" y="1164"/>
                    </a:cubicBezTo>
                    <a:cubicBezTo>
                      <a:pt x="3653" y="1183"/>
                      <a:pt x="3549" y="1239"/>
                      <a:pt x="3408" y="1315"/>
                    </a:cubicBezTo>
                    <a:cubicBezTo>
                      <a:pt x="2984" y="1542"/>
                      <a:pt x="2234" y="1934"/>
                      <a:pt x="2234" y="1934"/>
                    </a:cubicBezTo>
                    <a:cubicBezTo>
                      <a:pt x="2233" y="1933"/>
                      <a:pt x="2233" y="1933"/>
                      <a:pt x="2233" y="1933"/>
                    </a:cubicBezTo>
                    <a:cubicBezTo>
                      <a:pt x="2230" y="1935"/>
                      <a:pt x="2230" y="1935"/>
                      <a:pt x="2230" y="1935"/>
                    </a:cubicBezTo>
                    <a:cubicBezTo>
                      <a:pt x="1345" y="2414"/>
                      <a:pt x="1345" y="2414"/>
                      <a:pt x="1345" y="2414"/>
                    </a:cubicBezTo>
                    <a:lnTo>
                      <a:pt x="526" y="2852"/>
                    </a:lnTo>
                    <a:close/>
                    <a:moveTo>
                      <a:pt x="3925" y="847"/>
                    </a:moveTo>
                    <a:cubicBezTo>
                      <a:pt x="3921" y="838"/>
                      <a:pt x="3915" y="823"/>
                      <a:pt x="3908" y="807"/>
                    </a:cubicBezTo>
                    <a:cubicBezTo>
                      <a:pt x="3900" y="786"/>
                      <a:pt x="3891" y="761"/>
                      <a:pt x="3885" y="735"/>
                    </a:cubicBezTo>
                    <a:cubicBezTo>
                      <a:pt x="3728" y="806"/>
                      <a:pt x="3728" y="806"/>
                      <a:pt x="3728" y="806"/>
                    </a:cubicBezTo>
                    <a:cubicBezTo>
                      <a:pt x="3663" y="783"/>
                      <a:pt x="3663" y="783"/>
                      <a:pt x="3663" y="783"/>
                    </a:cubicBezTo>
                    <a:cubicBezTo>
                      <a:pt x="3479" y="1003"/>
                      <a:pt x="3479" y="1003"/>
                      <a:pt x="3479" y="1003"/>
                    </a:cubicBezTo>
                    <a:cubicBezTo>
                      <a:pt x="3474" y="1002"/>
                      <a:pt x="3474" y="1002"/>
                      <a:pt x="3474" y="1002"/>
                    </a:cubicBezTo>
                    <a:cubicBezTo>
                      <a:pt x="3474" y="1002"/>
                      <a:pt x="3444" y="992"/>
                      <a:pt x="3414" y="983"/>
                    </a:cubicBezTo>
                    <a:cubicBezTo>
                      <a:pt x="3399" y="979"/>
                      <a:pt x="3384" y="974"/>
                      <a:pt x="3372" y="971"/>
                    </a:cubicBezTo>
                    <a:cubicBezTo>
                      <a:pt x="3366" y="969"/>
                      <a:pt x="3361" y="968"/>
                      <a:pt x="3358" y="967"/>
                    </a:cubicBezTo>
                    <a:cubicBezTo>
                      <a:pt x="3250" y="1227"/>
                      <a:pt x="3250" y="1227"/>
                      <a:pt x="3250" y="1227"/>
                    </a:cubicBezTo>
                    <a:cubicBezTo>
                      <a:pt x="3334" y="1182"/>
                      <a:pt x="3410" y="1141"/>
                      <a:pt x="3470" y="1109"/>
                    </a:cubicBezTo>
                    <a:cubicBezTo>
                      <a:pt x="3513" y="1086"/>
                      <a:pt x="3548" y="1066"/>
                      <a:pt x="3574" y="1052"/>
                    </a:cubicBezTo>
                    <a:cubicBezTo>
                      <a:pt x="3586" y="1045"/>
                      <a:pt x="3597" y="1040"/>
                      <a:pt x="3604" y="1036"/>
                    </a:cubicBezTo>
                    <a:cubicBezTo>
                      <a:pt x="3607" y="1034"/>
                      <a:pt x="3610" y="1032"/>
                      <a:pt x="3612" y="1031"/>
                    </a:cubicBezTo>
                    <a:cubicBezTo>
                      <a:pt x="3612" y="1031"/>
                      <a:pt x="3612" y="1031"/>
                      <a:pt x="3613" y="1030"/>
                    </a:cubicBezTo>
                    <a:cubicBezTo>
                      <a:pt x="3629" y="1019"/>
                      <a:pt x="3672" y="982"/>
                      <a:pt x="3726" y="945"/>
                    </a:cubicBezTo>
                    <a:cubicBezTo>
                      <a:pt x="3780" y="908"/>
                      <a:pt x="3848" y="869"/>
                      <a:pt x="3925" y="847"/>
                    </a:cubicBezTo>
                    <a:close/>
                    <a:moveTo>
                      <a:pt x="3792" y="1085"/>
                    </a:moveTo>
                    <a:cubicBezTo>
                      <a:pt x="3803" y="1111"/>
                      <a:pt x="3803" y="1111"/>
                      <a:pt x="3803" y="1111"/>
                    </a:cubicBezTo>
                    <a:cubicBezTo>
                      <a:pt x="3927" y="1054"/>
                      <a:pt x="4065" y="1015"/>
                      <a:pt x="4208" y="989"/>
                    </a:cubicBezTo>
                    <a:cubicBezTo>
                      <a:pt x="4154" y="985"/>
                      <a:pt x="4107" y="981"/>
                      <a:pt x="4066" y="981"/>
                    </a:cubicBezTo>
                    <a:cubicBezTo>
                      <a:pt x="4031" y="981"/>
                      <a:pt x="4001" y="984"/>
                      <a:pt x="3972" y="992"/>
                    </a:cubicBezTo>
                    <a:cubicBezTo>
                      <a:pt x="3917" y="1006"/>
                      <a:pt x="3860" y="1038"/>
                      <a:pt x="3812" y="1071"/>
                    </a:cubicBezTo>
                    <a:cubicBezTo>
                      <a:pt x="3805" y="1076"/>
                      <a:pt x="3799" y="1080"/>
                      <a:pt x="3792" y="1085"/>
                    </a:cubicBezTo>
                    <a:close/>
                    <a:moveTo>
                      <a:pt x="4321" y="757"/>
                    </a:moveTo>
                    <a:cubicBezTo>
                      <a:pt x="4294" y="629"/>
                      <a:pt x="4294" y="629"/>
                      <a:pt x="4294" y="629"/>
                    </a:cubicBezTo>
                    <a:cubicBezTo>
                      <a:pt x="4190" y="644"/>
                      <a:pt x="4190" y="644"/>
                      <a:pt x="4190" y="644"/>
                    </a:cubicBezTo>
                    <a:cubicBezTo>
                      <a:pt x="4218" y="771"/>
                      <a:pt x="4218" y="771"/>
                      <a:pt x="4218" y="771"/>
                    </a:cubicBezTo>
                    <a:lnTo>
                      <a:pt x="4321" y="757"/>
                    </a:lnTo>
                    <a:close/>
                    <a:moveTo>
                      <a:pt x="4221" y="784"/>
                    </a:moveTo>
                    <a:cubicBezTo>
                      <a:pt x="4233" y="838"/>
                      <a:pt x="4233" y="838"/>
                      <a:pt x="4233" y="838"/>
                    </a:cubicBezTo>
                    <a:cubicBezTo>
                      <a:pt x="4267" y="840"/>
                      <a:pt x="4302" y="842"/>
                      <a:pt x="4338" y="843"/>
                    </a:cubicBezTo>
                    <a:cubicBezTo>
                      <a:pt x="4323" y="770"/>
                      <a:pt x="4323" y="770"/>
                      <a:pt x="4323" y="770"/>
                    </a:cubicBezTo>
                    <a:lnTo>
                      <a:pt x="4221" y="784"/>
                    </a:lnTo>
                    <a:close/>
                    <a:moveTo>
                      <a:pt x="4173" y="646"/>
                    </a:moveTo>
                    <a:cubicBezTo>
                      <a:pt x="4109" y="655"/>
                      <a:pt x="4109" y="655"/>
                      <a:pt x="4109" y="655"/>
                    </a:cubicBezTo>
                    <a:cubicBezTo>
                      <a:pt x="4129" y="784"/>
                      <a:pt x="4129" y="784"/>
                      <a:pt x="4129" y="784"/>
                    </a:cubicBezTo>
                    <a:cubicBezTo>
                      <a:pt x="4202" y="774"/>
                      <a:pt x="4202" y="774"/>
                      <a:pt x="4202" y="774"/>
                    </a:cubicBezTo>
                    <a:lnTo>
                      <a:pt x="4173" y="646"/>
                    </a:lnTo>
                    <a:close/>
                    <a:moveTo>
                      <a:pt x="4171" y="633"/>
                    </a:moveTo>
                    <a:cubicBezTo>
                      <a:pt x="4125" y="429"/>
                      <a:pt x="4125" y="429"/>
                      <a:pt x="4125" y="429"/>
                    </a:cubicBezTo>
                    <a:cubicBezTo>
                      <a:pt x="4063" y="460"/>
                      <a:pt x="4063" y="460"/>
                      <a:pt x="4063" y="460"/>
                    </a:cubicBezTo>
                    <a:cubicBezTo>
                      <a:pt x="4018" y="480"/>
                      <a:pt x="4018" y="480"/>
                      <a:pt x="4018" y="480"/>
                    </a:cubicBezTo>
                    <a:cubicBezTo>
                      <a:pt x="4104" y="830"/>
                      <a:pt x="4104" y="830"/>
                      <a:pt x="4104" y="830"/>
                    </a:cubicBezTo>
                    <a:cubicBezTo>
                      <a:pt x="4141" y="831"/>
                      <a:pt x="4178" y="834"/>
                      <a:pt x="4216" y="837"/>
                    </a:cubicBezTo>
                    <a:cubicBezTo>
                      <a:pt x="4205" y="786"/>
                      <a:pt x="4205" y="786"/>
                      <a:pt x="4205" y="786"/>
                    </a:cubicBezTo>
                    <a:cubicBezTo>
                      <a:pt x="4118" y="799"/>
                      <a:pt x="4118" y="799"/>
                      <a:pt x="4118" y="799"/>
                    </a:cubicBezTo>
                    <a:cubicBezTo>
                      <a:pt x="4094" y="644"/>
                      <a:pt x="4094" y="644"/>
                      <a:pt x="4094" y="644"/>
                    </a:cubicBezTo>
                    <a:lnTo>
                      <a:pt x="4171" y="633"/>
                    </a:lnTo>
                    <a:close/>
                    <a:moveTo>
                      <a:pt x="4003" y="487"/>
                    </a:moveTo>
                    <a:cubicBezTo>
                      <a:pt x="3927" y="520"/>
                      <a:pt x="3927" y="520"/>
                      <a:pt x="3927" y="520"/>
                    </a:cubicBezTo>
                    <a:cubicBezTo>
                      <a:pt x="3928" y="551"/>
                      <a:pt x="3933" y="596"/>
                      <a:pt x="3939" y="635"/>
                    </a:cubicBezTo>
                    <a:cubicBezTo>
                      <a:pt x="3944" y="667"/>
                      <a:pt x="3948" y="695"/>
                      <a:pt x="3950" y="707"/>
                    </a:cubicBezTo>
                    <a:cubicBezTo>
                      <a:pt x="3951" y="707"/>
                      <a:pt x="3951" y="707"/>
                      <a:pt x="3951" y="707"/>
                    </a:cubicBezTo>
                    <a:cubicBezTo>
                      <a:pt x="3954" y="735"/>
                      <a:pt x="3961" y="763"/>
                      <a:pt x="3971" y="787"/>
                    </a:cubicBezTo>
                    <a:cubicBezTo>
                      <a:pt x="3976" y="799"/>
                      <a:pt x="3980" y="810"/>
                      <a:pt x="3984" y="817"/>
                    </a:cubicBezTo>
                    <a:cubicBezTo>
                      <a:pt x="3986" y="821"/>
                      <a:pt x="3987" y="825"/>
                      <a:pt x="3989" y="827"/>
                    </a:cubicBezTo>
                    <a:cubicBezTo>
                      <a:pt x="3989" y="829"/>
                      <a:pt x="3990" y="830"/>
                      <a:pt x="3990" y="832"/>
                    </a:cubicBezTo>
                    <a:cubicBezTo>
                      <a:pt x="3991" y="832"/>
                      <a:pt x="3991" y="833"/>
                      <a:pt x="3991" y="833"/>
                    </a:cubicBezTo>
                    <a:cubicBezTo>
                      <a:pt x="4016" y="830"/>
                      <a:pt x="4041" y="828"/>
                      <a:pt x="4066" y="828"/>
                    </a:cubicBezTo>
                    <a:cubicBezTo>
                      <a:pt x="4073" y="828"/>
                      <a:pt x="4080" y="829"/>
                      <a:pt x="4087" y="829"/>
                    </a:cubicBezTo>
                    <a:lnTo>
                      <a:pt x="4003" y="487"/>
                    </a:lnTo>
                    <a:close/>
                    <a:moveTo>
                      <a:pt x="3932" y="829"/>
                    </a:moveTo>
                    <a:cubicBezTo>
                      <a:pt x="3951" y="840"/>
                      <a:pt x="3951" y="840"/>
                      <a:pt x="3951" y="840"/>
                    </a:cubicBezTo>
                    <a:cubicBezTo>
                      <a:pt x="3951" y="840"/>
                      <a:pt x="3951" y="840"/>
                      <a:pt x="3951" y="840"/>
                    </a:cubicBezTo>
                    <a:lnTo>
                      <a:pt x="3932" y="829"/>
                    </a:lnTo>
                    <a:close/>
                    <a:moveTo>
                      <a:pt x="3092" y="1657"/>
                    </a:moveTo>
                    <a:cubicBezTo>
                      <a:pt x="3383" y="2246"/>
                      <a:pt x="3383" y="2246"/>
                      <a:pt x="3383" y="2246"/>
                    </a:cubicBezTo>
                    <a:cubicBezTo>
                      <a:pt x="3387" y="2224"/>
                      <a:pt x="3391" y="2203"/>
                      <a:pt x="3396" y="2184"/>
                    </a:cubicBezTo>
                    <a:cubicBezTo>
                      <a:pt x="3410" y="2133"/>
                      <a:pt x="3420" y="2071"/>
                      <a:pt x="3466" y="2012"/>
                    </a:cubicBezTo>
                    <a:cubicBezTo>
                      <a:pt x="3511" y="1952"/>
                      <a:pt x="3590" y="1897"/>
                      <a:pt x="3735" y="1852"/>
                    </a:cubicBezTo>
                    <a:cubicBezTo>
                      <a:pt x="3844" y="1818"/>
                      <a:pt x="3957" y="1787"/>
                      <a:pt x="4008" y="1774"/>
                    </a:cubicBezTo>
                    <a:cubicBezTo>
                      <a:pt x="3804" y="1284"/>
                      <a:pt x="3804" y="1284"/>
                      <a:pt x="3804" y="1284"/>
                    </a:cubicBezTo>
                    <a:cubicBezTo>
                      <a:pt x="3677" y="1349"/>
                      <a:pt x="3414" y="1486"/>
                      <a:pt x="3092" y="1657"/>
                    </a:cubicBezTo>
                    <a:close/>
                    <a:moveTo>
                      <a:pt x="4442" y="1520"/>
                    </a:moveTo>
                    <a:cubicBezTo>
                      <a:pt x="4429" y="1523"/>
                      <a:pt x="4429" y="1523"/>
                      <a:pt x="4429" y="1523"/>
                    </a:cubicBezTo>
                    <a:cubicBezTo>
                      <a:pt x="4324" y="1128"/>
                      <a:pt x="4324" y="1128"/>
                      <a:pt x="4324" y="1128"/>
                    </a:cubicBezTo>
                    <a:cubicBezTo>
                      <a:pt x="4156" y="1153"/>
                      <a:pt x="3995" y="1193"/>
                      <a:pt x="3863" y="1255"/>
                    </a:cubicBezTo>
                    <a:cubicBezTo>
                      <a:pt x="4077" y="1769"/>
                      <a:pt x="4077" y="1769"/>
                      <a:pt x="4077" y="1769"/>
                    </a:cubicBezTo>
                    <a:cubicBezTo>
                      <a:pt x="4569" y="1434"/>
                      <a:pt x="4569" y="1434"/>
                      <a:pt x="4569" y="1434"/>
                    </a:cubicBezTo>
                    <a:cubicBezTo>
                      <a:pt x="4569" y="1403"/>
                      <a:pt x="4573" y="1172"/>
                      <a:pt x="4574" y="1102"/>
                    </a:cubicBezTo>
                    <a:cubicBezTo>
                      <a:pt x="4495" y="1107"/>
                      <a:pt x="4416" y="1115"/>
                      <a:pt x="4338" y="1126"/>
                    </a:cubicBezTo>
                    <a:lnTo>
                      <a:pt x="4442" y="1520"/>
                    </a:lnTo>
                    <a:close/>
                    <a:moveTo>
                      <a:pt x="4756" y="1106"/>
                    </a:moveTo>
                    <a:cubicBezTo>
                      <a:pt x="4754" y="1094"/>
                      <a:pt x="4754" y="1094"/>
                      <a:pt x="4754" y="1094"/>
                    </a:cubicBezTo>
                    <a:cubicBezTo>
                      <a:pt x="4700" y="1095"/>
                      <a:pt x="4644" y="1098"/>
                      <a:pt x="4588" y="1101"/>
                    </a:cubicBezTo>
                    <a:cubicBezTo>
                      <a:pt x="4587" y="1168"/>
                      <a:pt x="4583" y="1394"/>
                      <a:pt x="4583" y="1432"/>
                    </a:cubicBezTo>
                    <a:cubicBezTo>
                      <a:pt x="4607" y="1437"/>
                      <a:pt x="4706" y="1456"/>
                      <a:pt x="4807" y="1475"/>
                    </a:cubicBezTo>
                    <a:cubicBezTo>
                      <a:pt x="4812" y="1476"/>
                      <a:pt x="4817" y="1477"/>
                      <a:pt x="4822" y="1478"/>
                    </a:cubicBezTo>
                    <a:cubicBezTo>
                      <a:pt x="4762" y="1137"/>
                      <a:pt x="4762" y="1137"/>
                      <a:pt x="4762" y="1137"/>
                    </a:cubicBezTo>
                    <a:cubicBezTo>
                      <a:pt x="4761" y="1254"/>
                      <a:pt x="4761" y="1254"/>
                      <a:pt x="4761" y="1254"/>
                    </a:cubicBezTo>
                    <a:cubicBezTo>
                      <a:pt x="4754" y="1254"/>
                      <a:pt x="4754" y="1254"/>
                      <a:pt x="4754" y="1254"/>
                    </a:cubicBezTo>
                    <a:cubicBezTo>
                      <a:pt x="4656" y="1253"/>
                      <a:pt x="4656" y="1253"/>
                      <a:pt x="4656" y="1253"/>
                    </a:cubicBezTo>
                    <a:cubicBezTo>
                      <a:pt x="4658" y="1105"/>
                      <a:pt x="4658" y="1105"/>
                      <a:pt x="4658" y="1105"/>
                    </a:cubicBezTo>
                    <a:lnTo>
                      <a:pt x="4756" y="1106"/>
                    </a:lnTo>
                    <a:close/>
                    <a:moveTo>
                      <a:pt x="4670" y="1118"/>
                    </a:moveTo>
                    <a:cubicBezTo>
                      <a:pt x="4669" y="1240"/>
                      <a:pt x="4669" y="1240"/>
                      <a:pt x="4669" y="1240"/>
                    </a:cubicBezTo>
                    <a:cubicBezTo>
                      <a:pt x="4748" y="1241"/>
                      <a:pt x="4748" y="1241"/>
                      <a:pt x="4748" y="1241"/>
                    </a:cubicBezTo>
                    <a:cubicBezTo>
                      <a:pt x="4749" y="1119"/>
                      <a:pt x="4749" y="1119"/>
                      <a:pt x="4749" y="1119"/>
                    </a:cubicBezTo>
                    <a:lnTo>
                      <a:pt x="4670" y="1118"/>
                    </a:lnTo>
                    <a:close/>
                    <a:moveTo>
                      <a:pt x="8084" y="481"/>
                    </a:moveTo>
                    <a:cubicBezTo>
                      <a:pt x="8007" y="509"/>
                      <a:pt x="7934" y="537"/>
                      <a:pt x="7910" y="546"/>
                    </a:cubicBezTo>
                    <a:cubicBezTo>
                      <a:pt x="8134" y="784"/>
                      <a:pt x="8134" y="784"/>
                      <a:pt x="8134" y="784"/>
                    </a:cubicBezTo>
                    <a:cubicBezTo>
                      <a:pt x="8147" y="782"/>
                      <a:pt x="8161" y="781"/>
                      <a:pt x="8175" y="779"/>
                    </a:cubicBezTo>
                    <a:cubicBezTo>
                      <a:pt x="8180" y="778"/>
                      <a:pt x="8185" y="778"/>
                      <a:pt x="8189" y="777"/>
                    </a:cubicBezTo>
                    <a:cubicBezTo>
                      <a:pt x="8092" y="672"/>
                      <a:pt x="8092" y="672"/>
                      <a:pt x="8092" y="672"/>
                    </a:cubicBezTo>
                    <a:cubicBezTo>
                      <a:pt x="8148" y="621"/>
                      <a:pt x="8148" y="621"/>
                      <a:pt x="8148" y="621"/>
                    </a:cubicBezTo>
                    <a:cubicBezTo>
                      <a:pt x="8152" y="626"/>
                      <a:pt x="8152" y="626"/>
                      <a:pt x="8152" y="626"/>
                    </a:cubicBezTo>
                    <a:cubicBezTo>
                      <a:pt x="8251" y="732"/>
                      <a:pt x="8251" y="732"/>
                      <a:pt x="8251" y="732"/>
                    </a:cubicBezTo>
                    <a:cubicBezTo>
                      <a:pt x="8204" y="775"/>
                      <a:pt x="8204" y="775"/>
                      <a:pt x="8204" y="775"/>
                    </a:cubicBezTo>
                    <a:cubicBezTo>
                      <a:pt x="8253" y="769"/>
                      <a:pt x="8307" y="761"/>
                      <a:pt x="8357" y="752"/>
                    </a:cubicBezTo>
                    <a:cubicBezTo>
                      <a:pt x="8319" y="718"/>
                      <a:pt x="8198" y="596"/>
                      <a:pt x="8084" y="481"/>
                    </a:cubicBezTo>
                    <a:close/>
                    <a:moveTo>
                      <a:pt x="8116" y="493"/>
                    </a:moveTo>
                    <a:cubicBezTo>
                      <a:pt x="8180" y="558"/>
                      <a:pt x="8243" y="622"/>
                      <a:pt x="8292" y="670"/>
                    </a:cubicBezTo>
                    <a:cubicBezTo>
                      <a:pt x="8317" y="694"/>
                      <a:pt x="8337" y="714"/>
                      <a:pt x="8352" y="728"/>
                    </a:cubicBezTo>
                    <a:cubicBezTo>
                      <a:pt x="8359" y="735"/>
                      <a:pt x="8365" y="741"/>
                      <a:pt x="8370" y="744"/>
                    </a:cubicBezTo>
                    <a:cubicBezTo>
                      <a:pt x="8372" y="746"/>
                      <a:pt x="8373" y="747"/>
                      <a:pt x="8374" y="748"/>
                    </a:cubicBezTo>
                    <a:cubicBezTo>
                      <a:pt x="8385" y="746"/>
                      <a:pt x="8396" y="744"/>
                      <a:pt x="8406" y="741"/>
                    </a:cubicBezTo>
                    <a:cubicBezTo>
                      <a:pt x="8457" y="730"/>
                      <a:pt x="8523" y="694"/>
                      <a:pt x="8577" y="657"/>
                    </a:cubicBezTo>
                    <a:cubicBezTo>
                      <a:pt x="8285" y="408"/>
                      <a:pt x="8285" y="408"/>
                      <a:pt x="8285" y="408"/>
                    </a:cubicBezTo>
                    <a:cubicBezTo>
                      <a:pt x="8258" y="417"/>
                      <a:pt x="8178" y="446"/>
                      <a:pt x="8099" y="476"/>
                    </a:cubicBezTo>
                    <a:cubicBezTo>
                      <a:pt x="8104" y="481"/>
                      <a:pt x="8110" y="487"/>
                      <a:pt x="8116" y="493"/>
                    </a:cubicBezTo>
                    <a:close/>
                    <a:moveTo>
                      <a:pt x="8232" y="731"/>
                    </a:moveTo>
                    <a:cubicBezTo>
                      <a:pt x="8147" y="639"/>
                      <a:pt x="8147" y="639"/>
                      <a:pt x="8147" y="639"/>
                    </a:cubicBezTo>
                    <a:cubicBezTo>
                      <a:pt x="8111" y="673"/>
                      <a:pt x="8111" y="673"/>
                      <a:pt x="8111" y="673"/>
                    </a:cubicBezTo>
                    <a:cubicBezTo>
                      <a:pt x="8196" y="765"/>
                      <a:pt x="8196" y="765"/>
                      <a:pt x="8196" y="765"/>
                    </a:cubicBezTo>
                    <a:lnTo>
                      <a:pt x="8232" y="731"/>
                    </a:lnTo>
                    <a:close/>
                    <a:moveTo>
                      <a:pt x="8088" y="942"/>
                    </a:moveTo>
                    <a:cubicBezTo>
                      <a:pt x="8076" y="943"/>
                      <a:pt x="8069" y="944"/>
                      <a:pt x="8065" y="944"/>
                    </a:cubicBezTo>
                    <a:cubicBezTo>
                      <a:pt x="7631" y="1799"/>
                      <a:pt x="7631" y="1799"/>
                      <a:pt x="7631" y="1799"/>
                    </a:cubicBezTo>
                    <a:cubicBezTo>
                      <a:pt x="8183" y="2156"/>
                      <a:pt x="8183" y="2156"/>
                      <a:pt x="8183" y="2156"/>
                    </a:cubicBezTo>
                    <a:cubicBezTo>
                      <a:pt x="8272" y="2019"/>
                      <a:pt x="8366" y="1873"/>
                      <a:pt x="8450" y="1743"/>
                    </a:cubicBezTo>
                    <a:cubicBezTo>
                      <a:pt x="8562" y="1569"/>
                      <a:pt x="8654" y="1426"/>
                      <a:pt x="8688" y="1373"/>
                    </a:cubicBezTo>
                    <a:cubicBezTo>
                      <a:pt x="8682" y="1369"/>
                      <a:pt x="8676" y="1366"/>
                      <a:pt x="8671" y="1363"/>
                    </a:cubicBezTo>
                    <a:cubicBezTo>
                      <a:pt x="8617" y="1330"/>
                      <a:pt x="8467" y="1222"/>
                      <a:pt x="8329" y="1120"/>
                    </a:cubicBezTo>
                    <a:cubicBezTo>
                      <a:pt x="8226" y="1045"/>
                      <a:pt x="8130" y="973"/>
                      <a:pt x="8088" y="942"/>
                    </a:cubicBezTo>
                    <a:close/>
                    <a:moveTo>
                      <a:pt x="7207" y="4531"/>
                    </a:moveTo>
                    <a:cubicBezTo>
                      <a:pt x="7211" y="4518"/>
                      <a:pt x="7211" y="4518"/>
                      <a:pt x="7211" y="4518"/>
                    </a:cubicBezTo>
                    <a:cubicBezTo>
                      <a:pt x="7436" y="4580"/>
                      <a:pt x="7436" y="4580"/>
                      <a:pt x="7436" y="4580"/>
                    </a:cubicBezTo>
                    <a:cubicBezTo>
                      <a:pt x="7769" y="4750"/>
                      <a:pt x="7769" y="4750"/>
                      <a:pt x="7769" y="4750"/>
                    </a:cubicBezTo>
                    <a:cubicBezTo>
                      <a:pt x="7886" y="4508"/>
                      <a:pt x="7886" y="4508"/>
                      <a:pt x="7886" y="4508"/>
                    </a:cubicBezTo>
                    <a:cubicBezTo>
                      <a:pt x="7776" y="4411"/>
                      <a:pt x="7776" y="4411"/>
                      <a:pt x="7776" y="4411"/>
                    </a:cubicBezTo>
                    <a:cubicBezTo>
                      <a:pt x="7471" y="4393"/>
                      <a:pt x="7471" y="4393"/>
                      <a:pt x="7471" y="4393"/>
                    </a:cubicBezTo>
                    <a:cubicBezTo>
                      <a:pt x="7308" y="4236"/>
                      <a:pt x="7308" y="4236"/>
                      <a:pt x="7308" y="4236"/>
                    </a:cubicBezTo>
                    <a:cubicBezTo>
                      <a:pt x="7227" y="4470"/>
                      <a:pt x="7128" y="4754"/>
                      <a:pt x="7120" y="4775"/>
                    </a:cubicBezTo>
                    <a:cubicBezTo>
                      <a:pt x="7123" y="5102"/>
                      <a:pt x="7123" y="5102"/>
                      <a:pt x="7123" y="5102"/>
                    </a:cubicBezTo>
                    <a:cubicBezTo>
                      <a:pt x="7040" y="5242"/>
                      <a:pt x="7040" y="5242"/>
                      <a:pt x="7040" y="5242"/>
                    </a:cubicBezTo>
                    <a:cubicBezTo>
                      <a:pt x="7463" y="5377"/>
                      <a:pt x="7463" y="5377"/>
                      <a:pt x="7463" y="5377"/>
                    </a:cubicBezTo>
                    <a:cubicBezTo>
                      <a:pt x="7587" y="5123"/>
                      <a:pt x="7587" y="5123"/>
                      <a:pt x="7587" y="5123"/>
                    </a:cubicBezTo>
                    <a:cubicBezTo>
                      <a:pt x="7587" y="5123"/>
                      <a:pt x="7587" y="5123"/>
                      <a:pt x="7587" y="5123"/>
                    </a:cubicBezTo>
                    <a:cubicBezTo>
                      <a:pt x="7540" y="5091"/>
                      <a:pt x="7387" y="4968"/>
                      <a:pt x="7372" y="4956"/>
                    </a:cubicBezTo>
                    <a:cubicBezTo>
                      <a:pt x="7363" y="4953"/>
                      <a:pt x="7307" y="4939"/>
                      <a:pt x="7251" y="4924"/>
                    </a:cubicBezTo>
                    <a:cubicBezTo>
                      <a:pt x="7220" y="4916"/>
                      <a:pt x="7189" y="4908"/>
                      <a:pt x="7166" y="4902"/>
                    </a:cubicBezTo>
                    <a:cubicBezTo>
                      <a:pt x="7154" y="4899"/>
                      <a:pt x="7144" y="4896"/>
                      <a:pt x="7137" y="4894"/>
                    </a:cubicBezTo>
                    <a:cubicBezTo>
                      <a:pt x="7133" y="4893"/>
                      <a:pt x="7130" y="4893"/>
                      <a:pt x="7128" y="4892"/>
                    </a:cubicBezTo>
                    <a:cubicBezTo>
                      <a:pt x="7127" y="4892"/>
                      <a:pt x="7126" y="4892"/>
                      <a:pt x="7126" y="4892"/>
                    </a:cubicBezTo>
                    <a:cubicBezTo>
                      <a:pt x="7126" y="4892"/>
                      <a:pt x="7126" y="4892"/>
                      <a:pt x="7126" y="4892"/>
                    </a:cubicBezTo>
                    <a:cubicBezTo>
                      <a:pt x="7126" y="4878"/>
                      <a:pt x="7126" y="4878"/>
                      <a:pt x="7126" y="4878"/>
                    </a:cubicBezTo>
                    <a:cubicBezTo>
                      <a:pt x="7130" y="4878"/>
                      <a:pt x="7145" y="4882"/>
                      <a:pt x="7169" y="4888"/>
                    </a:cubicBezTo>
                    <a:cubicBezTo>
                      <a:pt x="7240" y="4906"/>
                      <a:pt x="7377" y="4943"/>
                      <a:pt x="7377" y="4943"/>
                    </a:cubicBezTo>
                    <a:cubicBezTo>
                      <a:pt x="7378" y="4943"/>
                      <a:pt x="7378" y="4943"/>
                      <a:pt x="7378" y="4943"/>
                    </a:cubicBezTo>
                    <a:cubicBezTo>
                      <a:pt x="7379" y="4944"/>
                      <a:pt x="7379" y="4944"/>
                      <a:pt x="7379" y="4944"/>
                    </a:cubicBezTo>
                    <a:cubicBezTo>
                      <a:pt x="7380" y="4944"/>
                      <a:pt x="7434" y="4988"/>
                      <a:pt x="7490" y="5032"/>
                    </a:cubicBezTo>
                    <a:cubicBezTo>
                      <a:pt x="7518" y="5054"/>
                      <a:pt x="7546" y="5076"/>
                      <a:pt x="7568" y="5092"/>
                    </a:cubicBezTo>
                    <a:cubicBezTo>
                      <a:pt x="7578" y="5100"/>
                      <a:pt x="7586" y="5106"/>
                      <a:pt x="7593" y="5111"/>
                    </a:cubicBezTo>
                    <a:cubicBezTo>
                      <a:pt x="7763" y="4763"/>
                      <a:pt x="7763" y="4763"/>
                      <a:pt x="7763" y="4763"/>
                    </a:cubicBezTo>
                    <a:cubicBezTo>
                      <a:pt x="7431" y="4593"/>
                      <a:pt x="7431" y="4593"/>
                      <a:pt x="7431" y="4593"/>
                    </a:cubicBezTo>
                    <a:lnTo>
                      <a:pt x="7207" y="4531"/>
                    </a:lnTo>
                    <a:close/>
                    <a:moveTo>
                      <a:pt x="7939" y="6234"/>
                    </a:moveTo>
                    <a:cubicBezTo>
                      <a:pt x="7939" y="6526"/>
                      <a:pt x="7939" y="6526"/>
                      <a:pt x="7939" y="6526"/>
                    </a:cubicBezTo>
                    <a:cubicBezTo>
                      <a:pt x="8100" y="6519"/>
                      <a:pt x="8100" y="6519"/>
                      <a:pt x="8100" y="6519"/>
                    </a:cubicBezTo>
                    <a:cubicBezTo>
                      <a:pt x="8100" y="6224"/>
                      <a:pt x="8100" y="6224"/>
                      <a:pt x="8100" y="6224"/>
                    </a:cubicBezTo>
                    <a:cubicBezTo>
                      <a:pt x="8031" y="6226"/>
                      <a:pt x="7956" y="6228"/>
                      <a:pt x="7882" y="6231"/>
                    </a:cubicBezTo>
                    <a:cubicBezTo>
                      <a:pt x="7737" y="6235"/>
                      <a:pt x="7592" y="6240"/>
                      <a:pt x="7483" y="6244"/>
                    </a:cubicBezTo>
                    <a:cubicBezTo>
                      <a:pt x="7428" y="6246"/>
                      <a:pt x="7383" y="6248"/>
                      <a:pt x="7351" y="6249"/>
                    </a:cubicBezTo>
                    <a:cubicBezTo>
                      <a:pt x="7348" y="6250"/>
                      <a:pt x="7345" y="6250"/>
                      <a:pt x="7342" y="6250"/>
                    </a:cubicBezTo>
                    <a:cubicBezTo>
                      <a:pt x="7342" y="6264"/>
                      <a:pt x="7343" y="6292"/>
                      <a:pt x="7346" y="6331"/>
                    </a:cubicBezTo>
                    <a:cubicBezTo>
                      <a:pt x="7350" y="6387"/>
                      <a:pt x="7358" y="6463"/>
                      <a:pt x="7374" y="6548"/>
                    </a:cubicBezTo>
                    <a:cubicBezTo>
                      <a:pt x="7561" y="6541"/>
                      <a:pt x="7561" y="6541"/>
                      <a:pt x="7561" y="6541"/>
                    </a:cubicBezTo>
                    <a:cubicBezTo>
                      <a:pt x="7561" y="6243"/>
                      <a:pt x="7561" y="6243"/>
                      <a:pt x="7561" y="6243"/>
                    </a:cubicBezTo>
                    <a:cubicBezTo>
                      <a:pt x="7575" y="6243"/>
                      <a:pt x="7575" y="6243"/>
                      <a:pt x="7575" y="6243"/>
                    </a:cubicBezTo>
                    <a:cubicBezTo>
                      <a:pt x="7575" y="6540"/>
                      <a:pt x="7575" y="6540"/>
                      <a:pt x="7575" y="6540"/>
                    </a:cubicBezTo>
                    <a:cubicBezTo>
                      <a:pt x="7743" y="6533"/>
                      <a:pt x="7743" y="6533"/>
                      <a:pt x="7743" y="6533"/>
                    </a:cubicBezTo>
                    <a:cubicBezTo>
                      <a:pt x="7743" y="6243"/>
                      <a:pt x="7743" y="6243"/>
                      <a:pt x="7743" y="6243"/>
                    </a:cubicBezTo>
                    <a:cubicBezTo>
                      <a:pt x="7757" y="6243"/>
                      <a:pt x="7757" y="6243"/>
                      <a:pt x="7757" y="6243"/>
                    </a:cubicBezTo>
                    <a:cubicBezTo>
                      <a:pt x="7757" y="6533"/>
                      <a:pt x="7757" y="6533"/>
                      <a:pt x="7757" y="6533"/>
                    </a:cubicBezTo>
                    <a:cubicBezTo>
                      <a:pt x="7925" y="6526"/>
                      <a:pt x="7925" y="6526"/>
                      <a:pt x="7925" y="6526"/>
                    </a:cubicBezTo>
                    <a:cubicBezTo>
                      <a:pt x="7925" y="6234"/>
                      <a:pt x="7925" y="6234"/>
                      <a:pt x="7925" y="6234"/>
                    </a:cubicBezTo>
                    <a:lnTo>
                      <a:pt x="7939" y="6234"/>
                    </a:lnTo>
                    <a:close/>
                    <a:moveTo>
                      <a:pt x="7636" y="7768"/>
                    </a:moveTo>
                    <a:cubicBezTo>
                      <a:pt x="7643" y="7721"/>
                      <a:pt x="7643" y="7721"/>
                      <a:pt x="7643" y="7721"/>
                    </a:cubicBezTo>
                    <a:cubicBezTo>
                      <a:pt x="7584" y="7712"/>
                      <a:pt x="7584" y="7712"/>
                      <a:pt x="7584" y="7712"/>
                    </a:cubicBezTo>
                    <a:cubicBezTo>
                      <a:pt x="7573" y="7786"/>
                      <a:pt x="7573" y="7786"/>
                      <a:pt x="7573" y="7786"/>
                    </a:cubicBezTo>
                    <a:cubicBezTo>
                      <a:pt x="7674" y="7805"/>
                      <a:pt x="7674" y="7805"/>
                      <a:pt x="7674" y="7805"/>
                    </a:cubicBezTo>
                    <a:cubicBezTo>
                      <a:pt x="7679" y="7774"/>
                      <a:pt x="7679" y="7774"/>
                      <a:pt x="7679" y="7774"/>
                    </a:cubicBezTo>
                    <a:lnTo>
                      <a:pt x="7636" y="7768"/>
                    </a:lnTo>
                    <a:close/>
                    <a:moveTo>
                      <a:pt x="7570" y="7800"/>
                    </a:moveTo>
                    <a:cubicBezTo>
                      <a:pt x="7556" y="7895"/>
                      <a:pt x="7556" y="7895"/>
                      <a:pt x="7556" y="7895"/>
                    </a:cubicBezTo>
                    <a:cubicBezTo>
                      <a:pt x="7615" y="7904"/>
                      <a:pt x="7615" y="7904"/>
                      <a:pt x="7615" y="7904"/>
                    </a:cubicBezTo>
                    <a:cubicBezTo>
                      <a:pt x="7622" y="7857"/>
                      <a:pt x="7622" y="7857"/>
                      <a:pt x="7622" y="7857"/>
                    </a:cubicBezTo>
                    <a:cubicBezTo>
                      <a:pt x="7665" y="7864"/>
                      <a:pt x="7665" y="7864"/>
                      <a:pt x="7665" y="7864"/>
                    </a:cubicBezTo>
                    <a:cubicBezTo>
                      <a:pt x="7672" y="7819"/>
                      <a:pt x="7672" y="7819"/>
                      <a:pt x="7672" y="7819"/>
                    </a:cubicBezTo>
                    <a:lnTo>
                      <a:pt x="7570" y="7800"/>
                    </a:lnTo>
                    <a:close/>
                    <a:moveTo>
                      <a:pt x="7575" y="7698"/>
                    </a:moveTo>
                    <a:cubicBezTo>
                      <a:pt x="7539" y="7690"/>
                      <a:pt x="7502" y="7682"/>
                      <a:pt x="7464" y="7674"/>
                    </a:cubicBezTo>
                    <a:cubicBezTo>
                      <a:pt x="7340" y="7647"/>
                      <a:pt x="7217" y="7620"/>
                      <a:pt x="7193" y="7615"/>
                    </a:cubicBezTo>
                    <a:cubicBezTo>
                      <a:pt x="7192" y="7645"/>
                      <a:pt x="7192" y="7678"/>
                      <a:pt x="7192" y="7712"/>
                    </a:cubicBezTo>
                    <a:cubicBezTo>
                      <a:pt x="7560" y="7783"/>
                      <a:pt x="7560" y="7783"/>
                      <a:pt x="7560" y="7783"/>
                    </a:cubicBezTo>
                    <a:cubicBezTo>
                      <a:pt x="7573" y="7697"/>
                      <a:pt x="7573" y="7697"/>
                      <a:pt x="7573" y="7697"/>
                    </a:cubicBezTo>
                    <a:lnTo>
                      <a:pt x="7575" y="7698"/>
                    </a:lnTo>
                    <a:close/>
                    <a:moveTo>
                      <a:pt x="7312" y="7415"/>
                    </a:moveTo>
                    <a:cubicBezTo>
                      <a:pt x="7371" y="7414"/>
                      <a:pt x="7425" y="7402"/>
                      <a:pt x="7473" y="7384"/>
                    </a:cubicBezTo>
                    <a:cubicBezTo>
                      <a:pt x="7436" y="7203"/>
                      <a:pt x="7436" y="7203"/>
                      <a:pt x="7436" y="7203"/>
                    </a:cubicBezTo>
                    <a:cubicBezTo>
                      <a:pt x="7424" y="7201"/>
                      <a:pt x="7395" y="7197"/>
                      <a:pt x="7388" y="7195"/>
                    </a:cubicBezTo>
                    <a:cubicBezTo>
                      <a:pt x="7382" y="7192"/>
                      <a:pt x="7384" y="7190"/>
                      <a:pt x="7383" y="7188"/>
                    </a:cubicBezTo>
                    <a:cubicBezTo>
                      <a:pt x="7382" y="7184"/>
                      <a:pt x="7382" y="7177"/>
                      <a:pt x="7382" y="7167"/>
                    </a:cubicBezTo>
                    <a:cubicBezTo>
                      <a:pt x="7382" y="7124"/>
                      <a:pt x="7387" y="7027"/>
                      <a:pt x="7389" y="6999"/>
                    </a:cubicBezTo>
                    <a:cubicBezTo>
                      <a:pt x="7360" y="7000"/>
                      <a:pt x="7243" y="7004"/>
                      <a:pt x="7098" y="7009"/>
                    </a:cubicBezTo>
                    <a:cubicBezTo>
                      <a:pt x="7102" y="7021"/>
                      <a:pt x="7107" y="7044"/>
                      <a:pt x="7115" y="7076"/>
                    </a:cubicBezTo>
                    <a:cubicBezTo>
                      <a:pt x="7139" y="7179"/>
                      <a:pt x="7180" y="7360"/>
                      <a:pt x="7192" y="7416"/>
                    </a:cubicBezTo>
                    <a:cubicBezTo>
                      <a:pt x="7240" y="7416"/>
                      <a:pt x="7282" y="7415"/>
                      <a:pt x="7312" y="7415"/>
                    </a:cubicBezTo>
                    <a:close/>
                    <a:moveTo>
                      <a:pt x="6938" y="8735"/>
                    </a:moveTo>
                    <a:cubicBezTo>
                      <a:pt x="6938" y="8675"/>
                      <a:pt x="6959" y="8375"/>
                      <a:pt x="6963" y="8328"/>
                    </a:cubicBezTo>
                    <a:cubicBezTo>
                      <a:pt x="6856" y="8309"/>
                      <a:pt x="6856" y="8309"/>
                      <a:pt x="6856" y="8309"/>
                    </a:cubicBezTo>
                    <a:cubicBezTo>
                      <a:pt x="6869" y="8012"/>
                      <a:pt x="6869" y="8012"/>
                      <a:pt x="6869" y="8012"/>
                    </a:cubicBezTo>
                    <a:cubicBezTo>
                      <a:pt x="6729" y="7980"/>
                      <a:pt x="6729" y="7980"/>
                      <a:pt x="6729" y="7980"/>
                    </a:cubicBezTo>
                    <a:cubicBezTo>
                      <a:pt x="6733" y="8132"/>
                      <a:pt x="6733" y="8132"/>
                      <a:pt x="6733" y="8132"/>
                    </a:cubicBezTo>
                    <a:cubicBezTo>
                      <a:pt x="6708" y="8134"/>
                      <a:pt x="6708" y="8134"/>
                      <a:pt x="6708" y="8134"/>
                    </a:cubicBezTo>
                    <a:cubicBezTo>
                      <a:pt x="6699" y="8728"/>
                      <a:pt x="6699" y="8728"/>
                      <a:pt x="6699" y="8728"/>
                    </a:cubicBezTo>
                    <a:cubicBezTo>
                      <a:pt x="6938" y="8735"/>
                      <a:pt x="6938" y="8735"/>
                      <a:pt x="6938" y="8735"/>
                    </a:cubicBezTo>
                    <a:cubicBezTo>
                      <a:pt x="6938" y="8735"/>
                      <a:pt x="6938" y="8735"/>
                      <a:pt x="6938" y="8735"/>
                    </a:cubicBezTo>
                    <a:close/>
                    <a:moveTo>
                      <a:pt x="6304" y="9549"/>
                    </a:moveTo>
                    <a:cubicBezTo>
                      <a:pt x="6532" y="9752"/>
                      <a:pt x="6532" y="9752"/>
                      <a:pt x="6532" y="9752"/>
                    </a:cubicBezTo>
                    <a:cubicBezTo>
                      <a:pt x="6545" y="9744"/>
                      <a:pt x="6590" y="9715"/>
                      <a:pt x="6634" y="9686"/>
                    </a:cubicBezTo>
                    <a:cubicBezTo>
                      <a:pt x="6677" y="9657"/>
                      <a:pt x="6720" y="9629"/>
                      <a:pt x="6733" y="9620"/>
                    </a:cubicBezTo>
                    <a:cubicBezTo>
                      <a:pt x="6720" y="9526"/>
                      <a:pt x="6720" y="9526"/>
                      <a:pt x="6720" y="9526"/>
                    </a:cubicBezTo>
                    <a:cubicBezTo>
                      <a:pt x="6283" y="9426"/>
                      <a:pt x="6283" y="9426"/>
                      <a:pt x="6283" y="9426"/>
                    </a:cubicBezTo>
                    <a:cubicBezTo>
                      <a:pt x="6275" y="9442"/>
                      <a:pt x="6264" y="9457"/>
                      <a:pt x="6251" y="9469"/>
                    </a:cubicBezTo>
                    <a:cubicBezTo>
                      <a:pt x="6245" y="9475"/>
                      <a:pt x="6238" y="9480"/>
                      <a:pt x="6232" y="9485"/>
                    </a:cubicBezTo>
                    <a:cubicBezTo>
                      <a:pt x="6276" y="9525"/>
                      <a:pt x="6276" y="9525"/>
                      <a:pt x="6276" y="9525"/>
                    </a:cubicBezTo>
                    <a:cubicBezTo>
                      <a:pt x="6320" y="9466"/>
                      <a:pt x="6320" y="9466"/>
                      <a:pt x="6320" y="9466"/>
                    </a:cubicBezTo>
                    <a:cubicBezTo>
                      <a:pt x="6325" y="9470"/>
                      <a:pt x="6325" y="9470"/>
                      <a:pt x="6325" y="9470"/>
                    </a:cubicBezTo>
                    <a:cubicBezTo>
                      <a:pt x="6441" y="9557"/>
                      <a:pt x="6441" y="9557"/>
                      <a:pt x="6441" y="9557"/>
                    </a:cubicBezTo>
                    <a:cubicBezTo>
                      <a:pt x="6395" y="9618"/>
                      <a:pt x="6395" y="9618"/>
                      <a:pt x="6395" y="9618"/>
                    </a:cubicBezTo>
                    <a:lnTo>
                      <a:pt x="6304" y="9549"/>
                    </a:lnTo>
                    <a:close/>
                    <a:moveTo>
                      <a:pt x="6393" y="9600"/>
                    </a:moveTo>
                    <a:cubicBezTo>
                      <a:pt x="6422" y="9560"/>
                      <a:pt x="6422" y="9560"/>
                      <a:pt x="6422" y="9560"/>
                    </a:cubicBezTo>
                    <a:cubicBezTo>
                      <a:pt x="6322" y="9485"/>
                      <a:pt x="6322" y="9485"/>
                      <a:pt x="6322" y="9485"/>
                    </a:cubicBezTo>
                    <a:cubicBezTo>
                      <a:pt x="6292" y="9524"/>
                      <a:pt x="6292" y="9524"/>
                      <a:pt x="6292" y="9524"/>
                    </a:cubicBezTo>
                    <a:lnTo>
                      <a:pt x="6393" y="9600"/>
                    </a:lnTo>
                    <a:close/>
                    <a:moveTo>
                      <a:pt x="6690" y="8264"/>
                    </a:moveTo>
                    <a:cubicBezTo>
                      <a:pt x="6172" y="8299"/>
                      <a:pt x="6172" y="8299"/>
                      <a:pt x="6172" y="8299"/>
                    </a:cubicBezTo>
                    <a:cubicBezTo>
                      <a:pt x="6184" y="8453"/>
                      <a:pt x="6184" y="8453"/>
                      <a:pt x="6184" y="8453"/>
                    </a:cubicBezTo>
                    <a:cubicBezTo>
                      <a:pt x="6687" y="8424"/>
                      <a:pt x="6687" y="8424"/>
                      <a:pt x="6687" y="8424"/>
                    </a:cubicBezTo>
                    <a:cubicBezTo>
                      <a:pt x="6688" y="8438"/>
                      <a:pt x="6688" y="8438"/>
                      <a:pt x="6688" y="8438"/>
                    </a:cubicBezTo>
                    <a:cubicBezTo>
                      <a:pt x="6425" y="8453"/>
                      <a:pt x="6425" y="8453"/>
                      <a:pt x="6425" y="8453"/>
                    </a:cubicBezTo>
                    <a:cubicBezTo>
                      <a:pt x="6420" y="8720"/>
                      <a:pt x="6420" y="8720"/>
                      <a:pt x="6420" y="8720"/>
                    </a:cubicBezTo>
                    <a:cubicBezTo>
                      <a:pt x="6685" y="8728"/>
                      <a:pt x="6685" y="8728"/>
                      <a:pt x="6685" y="8728"/>
                    </a:cubicBezTo>
                    <a:cubicBezTo>
                      <a:pt x="6694" y="8134"/>
                      <a:pt x="6694" y="8134"/>
                      <a:pt x="6694" y="8134"/>
                    </a:cubicBezTo>
                    <a:cubicBezTo>
                      <a:pt x="6335" y="8158"/>
                      <a:pt x="6335" y="8158"/>
                      <a:pt x="6335" y="8158"/>
                    </a:cubicBezTo>
                    <a:cubicBezTo>
                      <a:pt x="6333" y="8262"/>
                      <a:pt x="6333" y="8262"/>
                      <a:pt x="6333" y="8262"/>
                    </a:cubicBezTo>
                    <a:cubicBezTo>
                      <a:pt x="6327" y="8261"/>
                      <a:pt x="6327" y="8261"/>
                      <a:pt x="6327" y="8261"/>
                    </a:cubicBezTo>
                    <a:cubicBezTo>
                      <a:pt x="6247" y="8260"/>
                      <a:pt x="6247" y="8260"/>
                      <a:pt x="6247" y="8260"/>
                    </a:cubicBezTo>
                    <a:cubicBezTo>
                      <a:pt x="6248" y="8213"/>
                      <a:pt x="6248" y="8213"/>
                      <a:pt x="6248" y="8213"/>
                    </a:cubicBezTo>
                    <a:cubicBezTo>
                      <a:pt x="6205" y="8212"/>
                      <a:pt x="6205" y="8212"/>
                      <a:pt x="6205" y="8212"/>
                    </a:cubicBezTo>
                    <a:cubicBezTo>
                      <a:pt x="6206" y="8167"/>
                      <a:pt x="6206" y="8167"/>
                      <a:pt x="6206" y="8167"/>
                    </a:cubicBezTo>
                    <a:cubicBezTo>
                      <a:pt x="6162" y="8170"/>
                      <a:pt x="6162" y="8170"/>
                      <a:pt x="6162" y="8170"/>
                    </a:cubicBezTo>
                    <a:cubicBezTo>
                      <a:pt x="6171" y="8285"/>
                      <a:pt x="6171" y="8285"/>
                      <a:pt x="6171" y="8285"/>
                    </a:cubicBezTo>
                    <a:cubicBezTo>
                      <a:pt x="6689" y="8250"/>
                      <a:pt x="6689" y="8250"/>
                      <a:pt x="6689" y="8250"/>
                    </a:cubicBezTo>
                    <a:lnTo>
                      <a:pt x="6690" y="8264"/>
                    </a:lnTo>
                    <a:close/>
                    <a:moveTo>
                      <a:pt x="5796" y="8268"/>
                    </a:moveTo>
                    <a:cubicBezTo>
                      <a:pt x="5796" y="8268"/>
                      <a:pt x="5796" y="8268"/>
                      <a:pt x="5796" y="8268"/>
                    </a:cubicBezTo>
                    <a:cubicBezTo>
                      <a:pt x="5803" y="8269"/>
                      <a:pt x="5803" y="8273"/>
                      <a:pt x="5804" y="8275"/>
                    </a:cubicBezTo>
                    <a:cubicBezTo>
                      <a:pt x="5816" y="8300"/>
                      <a:pt x="5835" y="8462"/>
                      <a:pt x="5839" y="8493"/>
                    </a:cubicBezTo>
                    <a:cubicBezTo>
                      <a:pt x="6127" y="8561"/>
                      <a:pt x="6127" y="8561"/>
                      <a:pt x="6127" y="8561"/>
                    </a:cubicBezTo>
                    <a:cubicBezTo>
                      <a:pt x="6082" y="7983"/>
                      <a:pt x="6082" y="7983"/>
                      <a:pt x="6082" y="7983"/>
                    </a:cubicBezTo>
                    <a:cubicBezTo>
                      <a:pt x="6021" y="7984"/>
                      <a:pt x="5827" y="7987"/>
                      <a:pt x="5826" y="7987"/>
                    </a:cubicBezTo>
                    <a:cubicBezTo>
                      <a:pt x="5504" y="7975"/>
                      <a:pt x="5504" y="7975"/>
                      <a:pt x="5504" y="7975"/>
                    </a:cubicBezTo>
                    <a:cubicBezTo>
                      <a:pt x="5505" y="7985"/>
                      <a:pt x="5505" y="7985"/>
                      <a:pt x="5505" y="7985"/>
                    </a:cubicBezTo>
                    <a:cubicBezTo>
                      <a:pt x="5505" y="8354"/>
                      <a:pt x="5505" y="8354"/>
                      <a:pt x="5505" y="8354"/>
                    </a:cubicBezTo>
                    <a:cubicBezTo>
                      <a:pt x="5650" y="8311"/>
                      <a:pt x="5784" y="8271"/>
                      <a:pt x="5794" y="8268"/>
                    </a:cubicBezTo>
                    <a:cubicBezTo>
                      <a:pt x="5794" y="8268"/>
                      <a:pt x="5795" y="8268"/>
                      <a:pt x="5795" y="8268"/>
                    </a:cubicBezTo>
                    <a:cubicBezTo>
                      <a:pt x="5795" y="8268"/>
                      <a:pt x="5796" y="8268"/>
                      <a:pt x="5796" y="8268"/>
                    </a:cubicBezTo>
                    <a:cubicBezTo>
                      <a:pt x="5796" y="8268"/>
                      <a:pt x="5796" y="8268"/>
                      <a:pt x="5796" y="8268"/>
                    </a:cubicBezTo>
                    <a:close/>
                    <a:moveTo>
                      <a:pt x="4658" y="8321"/>
                    </a:moveTo>
                    <a:cubicBezTo>
                      <a:pt x="4663" y="8318"/>
                      <a:pt x="4663" y="8318"/>
                      <a:pt x="4663" y="8318"/>
                    </a:cubicBezTo>
                    <a:cubicBezTo>
                      <a:pt x="4663" y="8318"/>
                      <a:pt x="4710" y="8289"/>
                      <a:pt x="4757" y="8260"/>
                    </a:cubicBezTo>
                    <a:cubicBezTo>
                      <a:pt x="4780" y="8246"/>
                      <a:pt x="4804" y="8231"/>
                      <a:pt x="4822" y="8220"/>
                    </a:cubicBezTo>
                    <a:cubicBezTo>
                      <a:pt x="4830" y="8214"/>
                      <a:pt x="4838" y="8209"/>
                      <a:pt x="4843" y="8206"/>
                    </a:cubicBezTo>
                    <a:cubicBezTo>
                      <a:pt x="4844" y="8205"/>
                      <a:pt x="4845" y="8204"/>
                      <a:pt x="4846" y="8204"/>
                    </a:cubicBezTo>
                    <a:cubicBezTo>
                      <a:pt x="4835" y="8179"/>
                      <a:pt x="4811" y="8079"/>
                      <a:pt x="4806" y="8057"/>
                    </a:cubicBezTo>
                    <a:cubicBezTo>
                      <a:pt x="4767" y="8079"/>
                      <a:pt x="4727" y="8101"/>
                      <a:pt x="4686" y="8124"/>
                    </a:cubicBezTo>
                    <a:cubicBezTo>
                      <a:pt x="4594" y="8175"/>
                      <a:pt x="4503" y="8226"/>
                      <a:pt x="4434" y="8265"/>
                    </a:cubicBezTo>
                    <a:cubicBezTo>
                      <a:pt x="4399" y="8284"/>
                      <a:pt x="4371" y="8300"/>
                      <a:pt x="4351" y="8312"/>
                    </a:cubicBezTo>
                    <a:cubicBezTo>
                      <a:pt x="4345" y="8315"/>
                      <a:pt x="4340" y="8318"/>
                      <a:pt x="4336" y="8320"/>
                    </a:cubicBezTo>
                    <a:cubicBezTo>
                      <a:pt x="4358" y="8361"/>
                      <a:pt x="4374" y="8394"/>
                      <a:pt x="4381" y="8416"/>
                    </a:cubicBezTo>
                    <a:cubicBezTo>
                      <a:pt x="4399" y="8470"/>
                      <a:pt x="4424" y="8584"/>
                      <a:pt x="4445" y="8693"/>
                    </a:cubicBezTo>
                    <a:cubicBezTo>
                      <a:pt x="4470" y="8687"/>
                      <a:pt x="4521" y="8674"/>
                      <a:pt x="4573" y="8661"/>
                    </a:cubicBezTo>
                    <a:cubicBezTo>
                      <a:pt x="4635" y="8646"/>
                      <a:pt x="4694" y="8631"/>
                      <a:pt x="4715" y="8626"/>
                    </a:cubicBezTo>
                    <a:lnTo>
                      <a:pt x="4658" y="8321"/>
                    </a:lnTo>
                    <a:close/>
                    <a:moveTo>
                      <a:pt x="3807" y="8885"/>
                    </a:moveTo>
                    <a:cubicBezTo>
                      <a:pt x="3815" y="8874"/>
                      <a:pt x="3815" y="8874"/>
                      <a:pt x="3815" y="8874"/>
                    </a:cubicBezTo>
                    <a:cubicBezTo>
                      <a:pt x="4167" y="9117"/>
                      <a:pt x="4167" y="9117"/>
                      <a:pt x="4167" y="9117"/>
                    </a:cubicBezTo>
                    <a:cubicBezTo>
                      <a:pt x="4201" y="9092"/>
                      <a:pt x="4239" y="9066"/>
                      <a:pt x="4276" y="9039"/>
                    </a:cubicBezTo>
                    <a:cubicBezTo>
                      <a:pt x="4211" y="8981"/>
                      <a:pt x="3999" y="8773"/>
                      <a:pt x="3965" y="8740"/>
                    </a:cubicBezTo>
                    <a:cubicBezTo>
                      <a:pt x="3944" y="8760"/>
                      <a:pt x="3858" y="8836"/>
                      <a:pt x="3772" y="8911"/>
                    </a:cubicBezTo>
                    <a:cubicBezTo>
                      <a:pt x="3693" y="8980"/>
                      <a:pt x="3615" y="9047"/>
                      <a:pt x="3591" y="9068"/>
                    </a:cubicBezTo>
                    <a:cubicBezTo>
                      <a:pt x="3623" y="9079"/>
                      <a:pt x="3729" y="9113"/>
                      <a:pt x="3830" y="9144"/>
                    </a:cubicBezTo>
                    <a:cubicBezTo>
                      <a:pt x="3925" y="9174"/>
                      <a:pt x="4016" y="9202"/>
                      <a:pt x="4044" y="9210"/>
                    </a:cubicBezTo>
                    <a:cubicBezTo>
                      <a:pt x="4045" y="9210"/>
                      <a:pt x="4045" y="9209"/>
                      <a:pt x="4046" y="9208"/>
                    </a:cubicBezTo>
                    <a:cubicBezTo>
                      <a:pt x="4048" y="9205"/>
                      <a:pt x="4049" y="9204"/>
                      <a:pt x="4050" y="9203"/>
                    </a:cubicBezTo>
                    <a:cubicBezTo>
                      <a:pt x="4054" y="9199"/>
                      <a:pt x="4056" y="9198"/>
                      <a:pt x="4060" y="9194"/>
                    </a:cubicBezTo>
                    <a:cubicBezTo>
                      <a:pt x="4076" y="9182"/>
                      <a:pt x="4111" y="9157"/>
                      <a:pt x="4155" y="9125"/>
                    </a:cubicBezTo>
                    <a:lnTo>
                      <a:pt x="3807" y="8885"/>
                    </a:lnTo>
                    <a:close/>
                    <a:moveTo>
                      <a:pt x="3309" y="8750"/>
                    </a:moveTo>
                    <a:cubicBezTo>
                      <a:pt x="3309" y="8749"/>
                      <a:pt x="3309" y="8749"/>
                      <a:pt x="3309" y="8749"/>
                    </a:cubicBezTo>
                    <a:cubicBezTo>
                      <a:pt x="3313" y="8743"/>
                      <a:pt x="3325" y="8703"/>
                      <a:pt x="3335" y="8667"/>
                    </a:cubicBezTo>
                    <a:cubicBezTo>
                      <a:pt x="3343" y="8636"/>
                      <a:pt x="3351" y="8606"/>
                      <a:pt x="3353" y="8598"/>
                    </a:cubicBezTo>
                    <a:cubicBezTo>
                      <a:pt x="3346" y="8584"/>
                      <a:pt x="3309" y="8513"/>
                      <a:pt x="3271" y="8441"/>
                    </a:cubicBezTo>
                    <a:cubicBezTo>
                      <a:pt x="3250" y="8401"/>
                      <a:pt x="3230" y="8361"/>
                      <a:pt x="3214" y="8330"/>
                    </a:cubicBezTo>
                    <a:cubicBezTo>
                      <a:pt x="3209" y="8320"/>
                      <a:pt x="3205" y="8311"/>
                      <a:pt x="3201" y="8304"/>
                    </a:cubicBezTo>
                    <a:cubicBezTo>
                      <a:pt x="2932" y="8454"/>
                      <a:pt x="2932" y="8454"/>
                      <a:pt x="2932" y="8454"/>
                    </a:cubicBezTo>
                    <a:cubicBezTo>
                      <a:pt x="2978" y="8501"/>
                      <a:pt x="3164" y="8683"/>
                      <a:pt x="3178" y="8698"/>
                    </a:cubicBezTo>
                    <a:cubicBezTo>
                      <a:pt x="3313" y="8755"/>
                      <a:pt x="3313" y="8755"/>
                      <a:pt x="3313" y="8755"/>
                    </a:cubicBezTo>
                    <a:cubicBezTo>
                      <a:pt x="3313" y="8753"/>
                      <a:pt x="3313" y="8753"/>
                      <a:pt x="3313" y="8753"/>
                    </a:cubicBezTo>
                    <a:lnTo>
                      <a:pt x="3309" y="8750"/>
                    </a:lnTo>
                    <a:close/>
                    <a:moveTo>
                      <a:pt x="2036" y="7420"/>
                    </a:moveTo>
                    <a:cubicBezTo>
                      <a:pt x="1935" y="7347"/>
                      <a:pt x="1935" y="7347"/>
                      <a:pt x="1935" y="7347"/>
                    </a:cubicBezTo>
                    <a:cubicBezTo>
                      <a:pt x="1922" y="7374"/>
                      <a:pt x="1906" y="7408"/>
                      <a:pt x="1888" y="7446"/>
                    </a:cubicBezTo>
                    <a:cubicBezTo>
                      <a:pt x="1989" y="7517"/>
                      <a:pt x="1989" y="7517"/>
                      <a:pt x="1989" y="7517"/>
                    </a:cubicBezTo>
                    <a:cubicBezTo>
                      <a:pt x="2008" y="7478"/>
                      <a:pt x="2024" y="7445"/>
                      <a:pt x="2036" y="7420"/>
                    </a:cubicBezTo>
                    <a:close/>
                    <a:moveTo>
                      <a:pt x="2001" y="7526"/>
                    </a:moveTo>
                    <a:cubicBezTo>
                      <a:pt x="2057" y="7566"/>
                      <a:pt x="2057" y="7566"/>
                      <a:pt x="2057" y="7566"/>
                    </a:cubicBezTo>
                    <a:cubicBezTo>
                      <a:pt x="2117" y="7479"/>
                      <a:pt x="2117" y="7479"/>
                      <a:pt x="2117" y="7479"/>
                    </a:cubicBezTo>
                    <a:cubicBezTo>
                      <a:pt x="2047" y="7428"/>
                      <a:pt x="2047" y="7428"/>
                      <a:pt x="2047" y="7428"/>
                    </a:cubicBezTo>
                    <a:cubicBezTo>
                      <a:pt x="2035" y="7453"/>
                      <a:pt x="2019" y="7487"/>
                      <a:pt x="2001" y="7526"/>
                    </a:cubicBezTo>
                    <a:close/>
                    <a:moveTo>
                      <a:pt x="1924" y="7339"/>
                    </a:moveTo>
                    <a:cubicBezTo>
                      <a:pt x="1828" y="7271"/>
                      <a:pt x="1828" y="7271"/>
                      <a:pt x="1828" y="7271"/>
                    </a:cubicBezTo>
                    <a:cubicBezTo>
                      <a:pt x="1815" y="7298"/>
                      <a:pt x="1799" y="7332"/>
                      <a:pt x="1781" y="7370"/>
                    </a:cubicBezTo>
                    <a:cubicBezTo>
                      <a:pt x="1876" y="7438"/>
                      <a:pt x="1876" y="7438"/>
                      <a:pt x="1876" y="7438"/>
                    </a:cubicBezTo>
                    <a:cubicBezTo>
                      <a:pt x="1895" y="7399"/>
                      <a:pt x="1911" y="7366"/>
                      <a:pt x="1924" y="7339"/>
                    </a:cubicBezTo>
                    <a:close/>
                    <a:moveTo>
                      <a:pt x="1817" y="7262"/>
                    </a:moveTo>
                    <a:cubicBezTo>
                      <a:pt x="1774" y="7231"/>
                      <a:pt x="1774" y="7231"/>
                      <a:pt x="1774" y="7231"/>
                    </a:cubicBezTo>
                    <a:cubicBezTo>
                      <a:pt x="1709" y="7318"/>
                      <a:pt x="1709" y="7318"/>
                      <a:pt x="1709" y="7318"/>
                    </a:cubicBezTo>
                    <a:cubicBezTo>
                      <a:pt x="1769" y="7362"/>
                      <a:pt x="1769" y="7362"/>
                      <a:pt x="1769" y="7362"/>
                    </a:cubicBezTo>
                    <a:cubicBezTo>
                      <a:pt x="1787" y="7323"/>
                      <a:pt x="1804" y="7290"/>
                      <a:pt x="1817" y="7262"/>
                    </a:cubicBezTo>
                    <a:close/>
                    <a:moveTo>
                      <a:pt x="1744" y="7447"/>
                    </a:moveTo>
                    <a:cubicBezTo>
                      <a:pt x="1825" y="7546"/>
                      <a:pt x="1825" y="7546"/>
                      <a:pt x="1825" y="7546"/>
                    </a:cubicBezTo>
                    <a:cubicBezTo>
                      <a:pt x="1841" y="7512"/>
                      <a:pt x="1856" y="7480"/>
                      <a:pt x="1871" y="7450"/>
                    </a:cubicBezTo>
                    <a:cubicBezTo>
                      <a:pt x="1775" y="7382"/>
                      <a:pt x="1775" y="7382"/>
                      <a:pt x="1775" y="7382"/>
                    </a:cubicBezTo>
                    <a:cubicBezTo>
                      <a:pt x="1765" y="7403"/>
                      <a:pt x="1754" y="7424"/>
                      <a:pt x="1744" y="7447"/>
                    </a:cubicBezTo>
                    <a:close/>
                    <a:moveTo>
                      <a:pt x="1737" y="7461"/>
                    </a:moveTo>
                    <a:cubicBezTo>
                      <a:pt x="1722" y="7492"/>
                      <a:pt x="1707" y="7523"/>
                      <a:pt x="1692" y="7555"/>
                    </a:cubicBezTo>
                    <a:cubicBezTo>
                      <a:pt x="1657" y="7629"/>
                      <a:pt x="1622" y="7703"/>
                      <a:pt x="1593" y="7765"/>
                    </a:cubicBezTo>
                    <a:cubicBezTo>
                      <a:pt x="1688" y="7834"/>
                      <a:pt x="1688" y="7834"/>
                      <a:pt x="1688" y="7834"/>
                    </a:cubicBezTo>
                    <a:cubicBezTo>
                      <a:pt x="1726" y="7752"/>
                      <a:pt x="1774" y="7652"/>
                      <a:pt x="1818" y="7559"/>
                    </a:cubicBezTo>
                    <a:lnTo>
                      <a:pt x="1737" y="7461"/>
                    </a:lnTo>
                    <a:close/>
                    <a:moveTo>
                      <a:pt x="1678" y="7888"/>
                    </a:moveTo>
                    <a:cubicBezTo>
                      <a:pt x="1666" y="7913"/>
                      <a:pt x="1656" y="7935"/>
                      <a:pt x="1648" y="7953"/>
                    </a:cubicBezTo>
                    <a:cubicBezTo>
                      <a:pt x="1748" y="8025"/>
                      <a:pt x="1748" y="8025"/>
                      <a:pt x="1748" y="8025"/>
                    </a:cubicBezTo>
                    <a:cubicBezTo>
                      <a:pt x="1761" y="7998"/>
                      <a:pt x="1777" y="7964"/>
                      <a:pt x="1794" y="7926"/>
                    </a:cubicBezTo>
                    <a:cubicBezTo>
                      <a:pt x="1694" y="7854"/>
                      <a:pt x="1694" y="7854"/>
                      <a:pt x="1694" y="7854"/>
                    </a:cubicBezTo>
                    <a:cubicBezTo>
                      <a:pt x="1688" y="7866"/>
                      <a:pt x="1683" y="7878"/>
                      <a:pt x="1678" y="7888"/>
                    </a:cubicBezTo>
                    <a:close/>
                    <a:moveTo>
                      <a:pt x="1760" y="8033"/>
                    </a:moveTo>
                    <a:cubicBezTo>
                      <a:pt x="1813" y="8071"/>
                      <a:pt x="1813" y="8071"/>
                      <a:pt x="1813" y="8071"/>
                    </a:cubicBezTo>
                    <a:cubicBezTo>
                      <a:pt x="1874" y="7983"/>
                      <a:pt x="1874" y="7983"/>
                      <a:pt x="1874" y="7983"/>
                    </a:cubicBezTo>
                    <a:cubicBezTo>
                      <a:pt x="1806" y="7935"/>
                      <a:pt x="1806" y="7935"/>
                      <a:pt x="1806" y="7935"/>
                    </a:cubicBezTo>
                    <a:cubicBezTo>
                      <a:pt x="1798" y="7951"/>
                      <a:pt x="1791" y="7966"/>
                      <a:pt x="1784" y="7981"/>
                    </a:cubicBezTo>
                    <a:cubicBezTo>
                      <a:pt x="1775" y="8000"/>
                      <a:pt x="1767" y="8017"/>
                      <a:pt x="1760" y="8033"/>
                    </a:cubicBezTo>
                    <a:close/>
                    <a:moveTo>
                      <a:pt x="1915" y="7672"/>
                    </a:moveTo>
                    <a:cubicBezTo>
                      <a:pt x="1795" y="7640"/>
                      <a:pt x="1795" y="7640"/>
                      <a:pt x="1795" y="7640"/>
                    </a:cubicBezTo>
                    <a:cubicBezTo>
                      <a:pt x="1795" y="7641"/>
                      <a:pt x="1795" y="7641"/>
                      <a:pt x="1795" y="7641"/>
                    </a:cubicBezTo>
                    <a:cubicBezTo>
                      <a:pt x="1761" y="7712"/>
                      <a:pt x="1728" y="7782"/>
                      <a:pt x="1699" y="7842"/>
                    </a:cubicBezTo>
                    <a:cubicBezTo>
                      <a:pt x="1800" y="7914"/>
                      <a:pt x="1800" y="7914"/>
                      <a:pt x="1800" y="7914"/>
                    </a:cubicBezTo>
                    <a:cubicBezTo>
                      <a:pt x="1835" y="7841"/>
                      <a:pt x="1876" y="7754"/>
                      <a:pt x="1915" y="7672"/>
                    </a:cubicBezTo>
                    <a:close/>
                    <a:moveTo>
                      <a:pt x="1921" y="7659"/>
                    </a:moveTo>
                    <a:cubicBezTo>
                      <a:pt x="1943" y="7613"/>
                      <a:pt x="1964" y="7569"/>
                      <a:pt x="1983" y="7530"/>
                    </a:cubicBezTo>
                    <a:cubicBezTo>
                      <a:pt x="1882" y="7458"/>
                      <a:pt x="1882" y="7458"/>
                      <a:pt x="1882" y="7458"/>
                    </a:cubicBezTo>
                    <a:cubicBezTo>
                      <a:pt x="1858" y="7509"/>
                      <a:pt x="1829" y="7568"/>
                      <a:pt x="1801" y="7628"/>
                    </a:cubicBezTo>
                    <a:lnTo>
                      <a:pt x="1921" y="7659"/>
                    </a:lnTo>
                    <a:close/>
                    <a:moveTo>
                      <a:pt x="1935" y="7663"/>
                    </a:moveTo>
                    <a:cubicBezTo>
                      <a:pt x="2041" y="7690"/>
                      <a:pt x="2041" y="7690"/>
                      <a:pt x="2041" y="7690"/>
                    </a:cubicBezTo>
                    <a:cubicBezTo>
                      <a:pt x="2102" y="7563"/>
                      <a:pt x="2151" y="7460"/>
                      <a:pt x="2151" y="7460"/>
                    </a:cubicBezTo>
                    <a:cubicBezTo>
                      <a:pt x="2157" y="7463"/>
                      <a:pt x="2157" y="7463"/>
                      <a:pt x="2157" y="7463"/>
                    </a:cubicBezTo>
                    <a:cubicBezTo>
                      <a:pt x="2068" y="7386"/>
                      <a:pt x="2068" y="7386"/>
                      <a:pt x="2068" y="7386"/>
                    </a:cubicBezTo>
                    <a:cubicBezTo>
                      <a:pt x="2065" y="7392"/>
                      <a:pt x="2060" y="7403"/>
                      <a:pt x="2053" y="7416"/>
                    </a:cubicBezTo>
                    <a:cubicBezTo>
                      <a:pt x="2135" y="7475"/>
                      <a:pt x="2135" y="7475"/>
                      <a:pt x="2135" y="7475"/>
                    </a:cubicBezTo>
                    <a:cubicBezTo>
                      <a:pt x="2132" y="7481"/>
                      <a:pt x="2132" y="7481"/>
                      <a:pt x="2132" y="7481"/>
                    </a:cubicBezTo>
                    <a:cubicBezTo>
                      <a:pt x="2060" y="7584"/>
                      <a:pt x="2060" y="7584"/>
                      <a:pt x="2060" y="7584"/>
                    </a:cubicBezTo>
                    <a:cubicBezTo>
                      <a:pt x="1995" y="7538"/>
                      <a:pt x="1995" y="7538"/>
                      <a:pt x="1995" y="7538"/>
                    </a:cubicBezTo>
                    <a:cubicBezTo>
                      <a:pt x="1976" y="7576"/>
                      <a:pt x="1956" y="7618"/>
                      <a:pt x="1935" y="7663"/>
                    </a:cubicBezTo>
                    <a:close/>
                    <a:moveTo>
                      <a:pt x="2057" y="7376"/>
                    </a:moveTo>
                    <a:cubicBezTo>
                      <a:pt x="1961" y="7293"/>
                      <a:pt x="1961" y="7293"/>
                      <a:pt x="1961" y="7293"/>
                    </a:cubicBezTo>
                    <a:cubicBezTo>
                      <a:pt x="1958" y="7301"/>
                      <a:pt x="1951" y="7316"/>
                      <a:pt x="1941" y="7335"/>
                    </a:cubicBezTo>
                    <a:cubicBezTo>
                      <a:pt x="2042" y="7408"/>
                      <a:pt x="2042" y="7408"/>
                      <a:pt x="2042" y="7408"/>
                    </a:cubicBezTo>
                    <a:cubicBezTo>
                      <a:pt x="2049" y="7392"/>
                      <a:pt x="2054" y="7381"/>
                      <a:pt x="2057" y="7376"/>
                    </a:cubicBezTo>
                    <a:close/>
                    <a:moveTo>
                      <a:pt x="1950" y="7284"/>
                    </a:moveTo>
                    <a:cubicBezTo>
                      <a:pt x="1860" y="7205"/>
                      <a:pt x="1860" y="7205"/>
                      <a:pt x="1860" y="7205"/>
                    </a:cubicBezTo>
                    <a:cubicBezTo>
                      <a:pt x="1856" y="7213"/>
                      <a:pt x="1847" y="7232"/>
                      <a:pt x="1834" y="7258"/>
                    </a:cubicBezTo>
                    <a:cubicBezTo>
                      <a:pt x="1929" y="7327"/>
                      <a:pt x="1929" y="7327"/>
                      <a:pt x="1929" y="7327"/>
                    </a:cubicBezTo>
                    <a:cubicBezTo>
                      <a:pt x="1940" y="7305"/>
                      <a:pt x="1947" y="7290"/>
                      <a:pt x="1950" y="7284"/>
                    </a:cubicBezTo>
                    <a:close/>
                    <a:moveTo>
                      <a:pt x="1849" y="7195"/>
                    </a:moveTo>
                    <a:cubicBezTo>
                      <a:pt x="1773" y="7129"/>
                      <a:pt x="1773" y="7129"/>
                      <a:pt x="1773" y="7129"/>
                    </a:cubicBezTo>
                    <a:cubicBezTo>
                      <a:pt x="1758" y="7159"/>
                      <a:pt x="1716" y="7246"/>
                      <a:pt x="1665" y="7351"/>
                    </a:cubicBezTo>
                    <a:cubicBezTo>
                      <a:pt x="1734" y="7435"/>
                      <a:pt x="1734" y="7435"/>
                      <a:pt x="1734" y="7435"/>
                    </a:cubicBezTo>
                    <a:cubicBezTo>
                      <a:pt x="1744" y="7414"/>
                      <a:pt x="1754" y="7393"/>
                      <a:pt x="1763" y="7374"/>
                    </a:cubicBezTo>
                    <a:cubicBezTo>
                      <a:pt x="1690" y="7321"/>
                      <a:pt x="1690" y="7321"/>
                      <a:pt x="1690" y="7321"/>
                    </a:cubicBezTo>
                    <a:cubicBezTo>
                      <a:pt x="1771" y="7213"/>
                      <a:pt x="1771" y="7213"/>
                      <a:pt x="1771" y="7213"/>
                    </a:cubicBezTo>
                    <a:cubicBezTo>
                      <a:pt x="1823" y="7250"/>
                      <a:pt x="1823" y="7250"/>
                      <a:pt x="1823" y="7250"/>
                    </a:cubicBezTo>
                    <a:cubicBezTo>
                      <a:pt x="1837" y="7220"/>
                      <a:pt x="1847" y="7200"/>
                      <a:pt x="1849" y="7195"/>
                    </a:cubicBezTo>
                    <a:close/>
                    <a:moveTo>
                      <a:pt x="1762" y="7119"/>
                    </a:moveTo>
                    <a:cubicBezTo>
                      <a:pt x="1671" y="7041"/>
                      <a:pt x="1671" y="7041"/>
                      <a:pt x="1671" y="7041"/>
                    </a:cubicBezTo>
                    <a:cubicBezTo>
                      <a:pt x="1667" y="7049"/>
                      <a:pt x="1661" y="7063"/>
                      <a:pt x="1652" y="7081"/>
                    </a:cubicBezTo>
                    <a:cubicBezTo>
                      <a:pt x="1742" y="7146"/>
                      <a:pt x="1742" y="7146"/>
                      <a:pt x="1742" y="7146"/>
                    </a:cubicBezTo>
                    <a:cubicBezTo>
                      <a:pt x="1739" y="7152"/>
                      <a:pt x="1739" y="7152"/>
                      <a:pt x="1739" y="7152"/>
                    </a:cubicBezTo>
                    <a:cubicBezTo>
                      <a:pt x="1667" y="7255"/>
                      <a:pt x="1667" y="7255"/>
                      <a:pt x="1667" y="7255"/>
                    </a:cubicBezTo>
                    <a:cubicBezTo>
                      <a:pt x="1593" y="7203"/>
                      <a:pt x="1593" y="7203"/>
                      <a:pt x="1593" y="7203"/>
                    </a:cubicBezTo>
                    <a:cubicBezTo>
                      <a:pt x="1571" y="7248"/>
                      <a:pt x="1546" y="7300"/>
                      <a:pt x="1521" y="7352"/>
                    </a:cubicBezTo>
                    <a:cubicBezTo>
                      <a:pt x="1565" y="7381"/>
                      <a:pt x="1606" y="7408"/>
                      <a:pt x="1618" y="7416"/>
                    </a:cubicBezTo>
                    <a:cubicBezTo>
                      <a:pt x="1685" y="7277"/>
                      <a:pt x="1747" y="7151"/>
                      <a:pt x="1762" y="7119"/>
                    </a:cubicBezTo>
                    <a:close/>
                    <a:moveTo>
                      <a:pt x="1503" y="7357"/>
                    </a:moveTo>
                    <a:cubicBezTo>
                      <a:pt x="1477" y="7340"/>
                      <a:pt x="1451" y="7323"/>
                      <a:pt x="1431" y="7311"/>
                    </a:cubicBezTo>
                    <a:cubicBezTo>
                      <a:pt x="1421" y="7304"/>
                      <a:pt x="1412" y="7299"/>
                      <a:pt x="1405" y="7295"/>
                    </a:cubicBezTo>
                    <a:cubicBezTo>
                      <a:pt x="1220" y="7682"/>
                      <a:pt x="1220" y="7682"/>
                      <a:pt x="1220" y="7682"/>
                    </a:cubicBezTo>
                    <a:cubicBezTo>
                      <a:pt x="1248" y="7703"/>
                      <a:pt x="1280" y="7727"/>
                      <a:pt x="1316" y="7754"/>
                    </a:cubicBezTo>
                    <a:cubicBezTo>
                      <a:pt x="1318" y="7749"/>
                      <a:pt x="1321" y="7742"/>
                      <a:pt x="1324" y="7735"/>
                    </a:cubicBezTo>
                    <a:cubicBezTo>
                      <a:pt x="1235" y="7672"/>
                      <a:pt x="1235" y="7672"/>
                      <a:pt x="1235" y="7672"/>
                    </a:cubicBezTo>
                    <a:cubicBezTo>
                      <a:pt x="1316" y="7563"/>
                      <a:pt x="1316" y="7563"/>
                      <a:pt x="1316" y="7563"/>
                    </a:cubicBezTo>
                    <a:cubicBezTo>
                      <a:pt x="1382" y="7611"/>
                      <a:pt x="1382" y="7611"/>
                      <a:pt x="1382" y="7611"/>
                    </a:cubicBezTo>
                    <a:cubicBezTo>
                      <a:pt x="1417" y="7537"/>
                      <a:pt x="1461" y="7445"/>
                      <a:pt x="1503" y="7357"/>
                    </a:cubicBezTo>
                    <a:close/>
                    <a:moveTo>
                      <a:pt x="1377" y="7655"/>
                    </a:moveTo>
                    <a:cubicBezTo>
                      <a:pt x="1362" y="7685"/>
                      <a:pt x="1351" y="7710"/>
                      <a:pt x="1341" y="7731"/>
                    </a:cubicBezTo>
                    <a:cubicBezTo>
                      <a:pt x="1401" y="7773"/>
                      <a:pt x="1401" y="7773"/>
                      <a:pt x="1401" y="7773"/>
                    </a:cubicBezTo>
                    <a:cubicBezTo>
                      <a:pt x="1462" y="7686"/>
                      <a:pt x="1462" y="7686"/>
                      <a:pt x="1462" y="7686"/>
                    </a:cubicBezTo>
                    <a:cubicBezTo>
                      <a:pt x="1388" y="7632"/>
                      <a:pt x="1388" y="7632"/>
                      <a:pt x="1388" y="7632"/>
                    </a:cubicBezTo>
                    <a:cubicBezTo>
                      <a:pt x="1384" y="7639"/>
                      <a:pt x="1380" y="7648"/>
                      <a:pt x="1377" y="7655"/>
                    </a:cubicBezTo>
                    <a:close/>
                    <a:moveTo>
                      <a:pt x="1330" y="7722"/>
                    </a:moveTo>
                    <a:cubicBezTo>
                      <a:pt x="1341" y="7697"/>
                      <a:pt x="1357" y="7663"/>
                      <a:pt x="1376" y="7623"/>
                    </a:cubicBezTo>
                    <a:cubicBezTo>
                      <a:pt x="1319" y="7582"/>
                      <a:pt x="1319" y="7582"/>
                      <a:pt x="1319" y="7582"/>
                    </a:cubicBezTo>
                    <a:cubicBezTo>
                      <a:pt x="1254" y="7669"/>
                      <a:pt x="1254" y="7669"/>
                      <a:pt x="1254" y="7669"/>
                    </a:cubicBezTo>
                    <a:lnTo>
                      <a:pt x="1330" y="7722"/>
                    </a:lnTo>
                    <a:close/>
                    <a:moveTo>
                      <a:pt x="1327" y="7763"/>
                    </a:moveTo>
                    <a:cubicBezTo>
                      <a:pt x="1356" y="7785"/>
                      <a:pt x="1387" y="7808"/>
                      <a:pt x="1420" y="7833"/>
                    </a:cubicBezTo>
                    <a:cubicBezTo>
                      <a:pt x="1442" y="7782"/>
                      <a:pt x="1530" y="7598"/>
                      <a:pt x="1612" y="7429"/>
                    </a:cubicBezTo>
                    <a:cubicBezTo>
                      <a:pt x="1602" y="7422"/>
                      <a:pt x="1560" y="7394"/>
                      <a:pt x="1515" y="7365"/>
                    </a:cubicBezTo>
                    <a:cubicBezTo>
                      <a:pt x="1509" y="7376"/>
                      <a:pt x="1504" y="7388"/>
                      <a:pt x="1498" y="7399"/>
                    </a:cubicBezTo>
                    <a:cubicBezTo>
                      <a:pt x="1461" y="7477"/>
                      <a:pt x="1424" y="7555"/>
                      <a:pt x="1393" y="7620"/>
                    </a:cubicBezTo>
                    <a:cubicBezTo>
                      <a:pt x="1480" y="7683"/>
                      <a:pt x="1480" y="7683"/>
                      <a:pt x="1480" y="7683"/>
                    </a:cubicBezTo>
                    <a:cubicBezTo>
                      <a:pt x="1476" y="7688"/>
                      <a:pt x="1476" y="7688"/>
                      <a:pt x="1476" y="7688"/>
                    </a:cubicBezTo>
                    <a:cubicBezTo>
                      <a:pt x="1404" y="7791"/>
                      <a:pt x="1404" y="7791"/>
                      <a:pt x="1404" y="7791"/>
                    </a:cubicBezTo>
                    <a:cubicBezTo>
                      <a:pt x="1336" y="7743"/>
                      <a:pt x="1336" y="7743"/>
                      <a:pt x="1336" y="7743"/>
                    </a:cubicBezTo>
                    <a:cubicBezTo>
                      <a:pt x="1332" y="7751"/>
                      <a:pt x="1329" y="7757"/>
                      <a:pt x="1327" y="7763"/>
                    </a:cubicBezTo>
                    <a:close/>
                    <a:moveTo>
                      <a:pt x="1635" y="7084"/>
                    </a:moveTo>
                    <a:cubicBezTo>
                      <a:pt x="1591" y="7053"/>
                      <a:pt x="1591" y="7053"/>
                      <a:pt x="1591" y="7053"/>
                    </a:cubicBezTo>
                    <a:cubicBezTo>
                      <a:pt x="1526" y="7140"/>
                      <a:pt x="1526" y="7140"/>
                      <a:pt x="1526" y="7140"/>
                    </a:cubicBezTo>
                    <a:cubicBezTo>
                      <a:pt x="1587" y="7183"/>
                      <a:pt x="1587" y="7183"/>
                      <a:pt x="1587" y="7183"/>
                    </a:cubicBezTo>
                    <a:cubicBezTo>
                      <a:pt x="1606" y="7144"/>
                      <a:pt x="1622" y="7111"/>
                      <a:pt x="1635" y="7084"/>
                    </a:cubicBezTo>
                    <a:close/>
                    <a:moveTo>
                      <a:pt x="1599" y="7191"/>
                    </a:moveTo>
                    <a:cubicBezTo>
                      <a:pt x="1664" y="7237"/>
                      <a:pt x="1664" y="7237"/>
                      <a:pt x="1664" y="7237"/>
                    </a:cubicBezTo>
                    <a:cubicBezTo>
                      <a:pt x="1724" y="7149"/>
                      <a:pt x="1724" y="7149"/>
                      <a:pt x="1724" y="7149"/>
                    </a:cubicBezTo>
                    <a:cubicBezTo>
                      <a:pt x="1646" y="7093"/>
                      <a:pt x="1646" y="7093"/>
                      <a:pt x="1646" y="7093"/>
                    </a:cubicBezTo>
                    <a:cubicBezTo>
                      <a:pt x="1633" y="7119"/>
                      <a:pt x="1617" y="7153"/>
                      <a:pt x="1599" y="7191"/>
                    </a:cubicBezTo>
                    <a:close/>
                    <a:moveTo>
                      <a:pt x="1661" y="7031"/>
                    </a:moveTo>
                    <a:cubicBezTo>
                      <a:pt x="1570" y="6952"/>
                      <a:pt x="1570" y="6952"/>
                      <a:pt x="1570" y="6952"/>
                    </a:cubicBezTo>
                    <a:cubicBezTo>
                      <a:pt x="1411" y="7282"/>
                      <a:pt x="1411" y="7282"/>
                      <a:pt x="1411" y="7282"/>
                    </a:cubicBezTo>
                    <a:cubicBezTo>
                      <a:pt x="1412" y="7283"/>
                      <a:pt x="1412" y="7283"/>
                      <a:pt x="1412" y="7283"/>
                    </a:cubicBezTo>
                    <a:cubicBezTo>
                      <a:pt x="1431" y="7294"/>
                      <a:pt x="1470" y="7319"/>
                      <a:pt x="1509" y="7344"/>
                    </a:cubicBezTo>
                    <a:cubicBezTo>
                      <a:pt x="1535" y="7292"/>
                      <a:pt x="1559" y="7240"/>
                      <a:pt x="1581" y="7195"/>
                    </a:cubicBezTo>
                    <a:cubicBezTo>
                      <a:pt x="1508" y="7143"/>
                      <a:pt x="1508" y="7143"/>
                      <a:pt x="1508" y="7143"/>
                    </a:cubicBezTo>
                    <a:cubicBezTo>
                      <a:pt x="1589" y="7035"/>
                      <a:pt x="1589" y="7035"/>
                      <a:pt x="1589" y="7035"/>
                    </a:cubicBezTo>
                    <a:cubicBezTo>
                      <a:pt x="1641" y="7072"/>
                      <a:pt x="1641" y="7072"/>
                      <a:pt x="1641" y="7072"/>
                    </a:cubicBezTo>
                    <a:cubicBezTo>
                      <a:pt x="1650" y="7052"/>
                      <a:pt x="1657" y="7038"/>
                      <a:pt x="1661" y="7031"/>
                    </a:cubicBezTo>
                    <a:close/>
                    <a:moveTo>
                      <a:pt x="1556" y="6944"/>
                    </a:moveTo>
                    <a:cubicBezTo>
                      <a:pt x="1416" y="6811"/>
                      <a:pt x="1416" y="6811"/>
                      <a:pt x="1416" y="6811"/>
                    </a:cubicBezTo>
                    <a:cubicBezTo>
                      <a:pt x="1057" y="7562"/>
                      <a:pt x="1057" y="7562"/>
                      <a:pt x="1057" y="7562"/>
                    </a:cubicBezTo>
                    <a:cubicBezTo>
                      <a:pt x="1093" y="7589"/>
                      <a:pt x="1093" y="7589"/>
                      <a:pt x="1093" y="7589"/>
                    </a:cubicBezTo>
                    <a:cubicBezTo>
                      <a:pt x="1095" y="7588"/>
                      <a:pt x="1095" y="7588"/>
                      <a:pt x="1095" y="7588"/>
                    </a:cubicBezTo>
                    <a:cubicBezTo>
                      <a:pt x="1095" y="7588"/>
                      <a:pt x="1138" y="7620"/>
                      <a:pt x="1206" y="7672"/>
                    </a:cubicBezTo>
                    <a:cubicBezTo>
                      <a:pt x="1394" y="7281"/>
                      <a:pt x="1394" y="7281"/>
                      <a:pt x="1394" y="7281"/>
                    </a:cubicBezTo>
                    <a:cubicBezTo>
                      <a:pt x="1391" y="7279"/>
                      <a:pt x="1391" y="7279"/>
                      <a:pt x="1391" y="7279"/>
                    </a:cubicBezTo>
                    <a:cubicBezTo>
                      <a:pt x="1392" y="7278"/>
                      <a:pt x="1393" y="7277"/>
                      <a:pt x="1395" y="7276"/>
                    </a:cubicBezTo>
                    <a:cubicBezTo>
                      <a:pt x="1395" y="7276"/>
                      <a:pt x="1396" y="7276"/>
                      <a:pt x="1396" y="7276"/>
                    </a:cubicBezTo>
                    <a:lnTo>
                      <a:pt x="1556" y="6944"/>
                    </a:lnTo>
                    <a:close/>
                    <a:moveTo>
                      <a:pt x="1042" y="7635"/>
                    </a:moveTo>
                    <a:cubicBezTo>
                      <a:pt x="946" y="7753"/>
                      <a:pt x="946" y="7753"/>
                      <a:pt x="946" y="7753"/>
                    </a:cubicBezTo>
                    <a:cubicBezTo>
                      <a:pt x="991" y="7874"/>
                      <a:pt x="991" y="7874"/>
                      <a:pt x="991" y="7874"/>
                    </a:cubicBezTo>
                    <a:cubicBezTo>
                      <a:pt x="926" y="8119"/>
                      <a:pt x="926" y="8119"/>
                      <a:pt x="926" y="8119"/>
                    </a:cubicBezTo>
                    <a:cubicBezTo>
                      <a:pt x="930" y="8114"/>
                      <a:pt x="930" y="8114"/>
                      <a:pt x="930" y="8114"/>
                    </a:cubicBezTo>
                    <a:cubicBezTo>
                      <a:pt x="930" y="8114"/>
                      <a:pt x="930" y="8114"/>
                      <a:pt x="930" y="8114"/>
                    </a:cubicBezTo>
                    <a:cubicBezTo>
                      <a:pt x="1198" y="8351"/>
                      <a:pt x="1198" y="8351"/>
                      <a:pt x="1198" y="8351"/>
                    </a:cubicBezTo>
                    <a:cubicBezTo>
                      <a:pt x="1503" y="7980"/>
                      <a:pt x="1503" y="7980"/>
                      <a:pt x="1503" y="7980"/>
                    </a:cubicBezTo>
                    <a:cubicBezTo>
                      <a:pt x="1262" y="7800"/>
                      <a:pt x="1045" y="7638"/>
                      <a:pt x="1042" y="7635"/>
                    </a:cubicBezTo>
                    <a:close/>
                    <a:moveTo>
                      <a:pt x="1514" y="7903"/>
                    </a:moveTo>
                    <a:cubicBezTo>
                      <a:pt x="1516" y="7897"/>
                      <a:pt x="1519" y="7890"/>
                      <a:pt x="1524" y="7881"/>
                    </a:cubicBezTo>
                    <a:cubicBezTo>
                      <a:pt x="1446" y="7826"/>
                      <a:pt x="1446" y="7826"/>
                      <a:pt x="1446" y="7826"/>
                    </a:cubicBezTo>
                    <a:cubicBezTo>
                      <a:pt x="1527" y="7718"/>
                      <a:pt x="1527" y="7718"/>
                      <a:pt x="1527" y="7718"/>
                    </a:cubicBezTo>
                    <a:cubicBezTo>
                      <a:pt x="1581" y="7757"/>
                      <a:pt x="1581" y="7757"/>
                      <a:pt x="1581" y="7757"/>
                    </a:cubicBezTo>
                    <a:cubicBezTo>
                      <a:pt x="1624" y="7667"/>
                      <a:pt x="1678" y="7552"/>
                      <a:pt x="1727" y="7449"/>
                    </a:cubicBezTo>
                    <a:cubicBezTo>
                      <a:pt x="1658" y="7365"/>
                      <a:pt x="1658" y="7365"/>
                      <a:pt x="1658" y="7365"/>
                    </a:cubicBezTo>
                    <a:cubicBezTo>
                      <a:pt x="1640" y="7402"/>
                      <a:pt x="1622" y="7441"/>
                      <a:pt x="1603" y="7479"/>
                    </a:cubicBezTo>
                    <a:cubicBezTo>
                      <a:pt x="1559" y="7570"/>
                      <a:pt x="1515" y="7661"/>
                      <a:pt x="1482" y="7731"/>
                    </a:cubicBezTo>
                    <a:cubicBezTo>
                      <a:pt x="1466" y="7765"/>
                      <a:pt x="1452" y="7795"/>
                      <a:pt x="1443" y="7816"/>
                    </a:cubicBezTo>
                    <a:cubicBezTo>
                      <a:pt x="1438" y="7826"/>
                      <a:pt x="1434" y="7835"/>
                      <a:pt x="1432" y="7841"/>
                    </a:cubicBezTo>
                    <a:cubicBezTo>
                      <a:pt x="1432" y="7841"/>
                      <a:pt x="1432" y="7841"/>
                      <a:pt x="1431" y="7841"/>
                    </a:cubicBezTo>
                    <a:cubicBezTo>
                      <a:pt x="1458" y="7861"/>
                      <a:pt x="1486" y="7882"/>
                      <a:pt x="1514" y="7903"/>
                    </a:cubicBezTo>
                    <a:close/>
                    <a:moveTo>
                      <a:pt x="1529" y="7869"/>
                    </a:moveTo>
                    <a:cubicBezTo>
                      <a:pt x="1541" y="7843"/>
                      <a:pt x="1557" y="7809"/>
                      <a:pt x="1575" y="7769"/>
                    </a:cubicBezTo>
                    <a:cubicBezTo>
                      <a:pt x="1530" y="7736"/>
                      <a:pt x="1530" y="7736"/>
                      <a:pt x="1530" y="7736"/>
                    </a:cubicBezTo>
                    <a:cubicBezTo>
                      <a:pt x="1465" y="7823"/>
                      <a:pt x="1465" y="7823"/>
                      <a:pt x="1465" y="7823"/>
                    </a:cubicBezTo>
                    <a:lnTo>
                      <a:pt x="1529" y="7869"/>
                    </a:lnTo>
                    <a:close/>
                    <a:moveTo>
                      <a:pt x="1525" y="7912"/>
                    </a:moveTo>
                    <a:cubicBezTo>
                      <a:pt x="1537" y="7920"/>
                      <a:pt x="1548" y="7929"/>
                      <a:pt x="1560" y="7938"/>
                    </a:cubicBezTo>
                    <a:cubicBezTo>
                      <a:pt x="1580" y="7953"/>
                      <a:pt x="1599" y="7968"/>
                      <a:pt x="1619" y="7982"/>
                    </a:cubicBezTo>
                    <a:cubicBezTo>
                      <a:pt x="1622" y="7976"/>
                      <a:pt x="1626" y="7967"/>
                      <a:pt x="1631" y="7957"/>
                    </a:cubicBezTo>
                    <a:cubicBezTo>
                      <a:pt x="1535" y="7889"/>
                      <a:pt x="1535" y="7889"/>
                      <a:pt x="1535" y="7889"/>
                    </a:cubicBezTo>
                    <a:cubicBezTo>
                      <a:pt x="1531" y="7898"/>
                      <a:pt x="1528" y="7905"/>
                      <a:pt x="1526" y="7910"/>
                    </a:cubicBezTo>
                    <a:cubicBezTo>
                      <a:pt x="1526" y="7911"/>
                      <a:pt x="1526" y="7911"/>
                      <a:pt x="1525" y="7912"/>
                    </a:cubicBezTo>
                    <a:close/>
                    <a:moveTo>
                      <a:pt x="1636" y="7945"/>
                    </a:moveTo>
                    <a:cubicBezTo>
                      <a:pt x="1648" y="7919"/>
                      <a:pt x="1664" y="7885"/>
                      <a:pt x="1682" y="7846"/>
                    </a:cubicBezTo>
                    <a:cubicBezTo>
                      <a:pt x="1587" y="7777"/>
                      <a:pt x="1587" y="7777"/>
                      <a:pt x="1587" y="7777"/>
                    </a:cubicBezTo>
                    <a:cubicBezTo>
                      <a:pt x="1583" y="7785"/>
                      <a:pt x="1579" y="7794"/>
                      <a:pt x="1575" y="7802"/>
                    </a:cubicBezTo>
                    <a:cubicBezTo>
                      <a:pt x="1561" y="7832"/>
                      <a:pt x="1550" y="7857"/>
                      <a:pt x="1541" y="7877"/>
                    </a:cubicBezTo>
                    <a:lnTo>
                      <a:pt x="1636" y="7945"/>
                    </a:lnTo>
                    <a:close/>
                    <a:moveTo>
                      <a:pt x="1631" y="7991"/>
                    </a:moveTo>
                    <a:cubicBezTo>
                      <a:pt x="1664" y="8016"/>
                      <a:pt x="1697" y="8041"/>
                      <a:pt x="1730" y="8066"/>
                    </a:cubicBezTo>
                    <a:cubicBezTo>
                      <a:pt x="1733" y="8057"/>
                      <a:pt x="1738" y="8048"/>
                      <a:pt x="1743" y="8037"/>
                    </a:cubicBezTo>
                    <a:cubicBezTo>
                      <a:pt x="1642" y="7965"/>
                      <a:pt x="1642" y="7965"/>
                      <a:pt x="1642" y="7965"/>
                    </a:cubicBezTo>
                    <a:cubicBezTo>
                      <a:pt x="1641" y="7967"/>
                      <a:pt x="1640" y="7970"/>
                      <a:pt x="1639" y="7972"/>
                    </a:cubicBezTo>
                    <a:cubicBezTo>
                      <a:pt x="1636" y="7980"/>
                      <a:pt x="1633" y="7986"/>
                      <a:pt x="1631" y="7991"/>
                    </a:cubicBezTo>
                    <a:close/>
                    <a:moveTo>
                      <a:pt x="1741" y="8074"/>
                    </a:moveTo>
                    <a:cubicBezTo>
                      <a:pt x="1771" y="8096"/>
                      <a:pt x="1800" y="8118"/>
                      <a:pt x="1828" y="8140"/>
                    </a:cubicBezTo>
                    <a:cubicBezTo>
                      <a:pt x="1866" y="8055"/>
                      <a:pt x="1958" y="7862"/>
                      <a:pt x="2035" y="7703"/>
                    </a:cubicBezTo>
                    <a:cubicBezTo>
                      <a:pt x="1929" y="7675"/>
                      <a:pt x="1929" y="7675"/>
                      <a:pt x="1929" y="7675"/>
                    </a:cubicBezTo>
                    <a:cubicBezTo>
                      <a:pt x="1920" y="7695"/>
                      <a:pt x="1910" y="7714"/>
                      <a:pt x="1901" y="7733"/>
                    </a:cubicBezTo>
                    <a:cubicBezTo>
                      <a:pt x="1870" y="7799"/>
                      <a:pt x="1839" y="7865"/>
                      <a:pt x="1811" y="7923"/>
                    </a:cubicBezTo>
                    <a:cubicBezTo>
                      <a:pt x="1892" y="7980"/>
                      <a:pt x="1892" y="7980"/>
                      <a:pt x="1892" y="7980"/>
                    </a:cubicBezTo>
                    <a:cubicBezTo>
                      <a:pt x="1888" y="7986"/>
                      <a:pt x="1888" y="7986"/>
                      <a:pt x="1888" y="7986"/>
                    </a:cubicBezTo>
                    <a:cubicBezTo>
                      <a:pt x="1816" y="8089"/>
                      <a:pt x="1816" y="8089"/>
                      <a:pt x="1816" y="8089"/>
                    </a:cubicBezTo>
                    <a:cubicBezTo>
                      <a:pt x="1754" y="8045"/>
                      <a:pt x="1754" y="8045"/>
                      <a:pt x="1754" y="8045"/>
                    </a:cubicBezTo>
                    <a:cubicBezTo>
                      <a:pt x="1751" y="8052"/>
                      <a:pt x="1748" y="8058"/>
                      <a:pt x="1746" y="8064"/>
                    </a:cubicBezTo>
                    <a:cubicBezTo>
                      <a:pt x="1744" y="8068"/>
                      <a:pt x="1743" y="8071"/>
                      <a:pt x="1741" y="8074"/>
                    </a:cubicBezTo>
                    <a:close/>
                    <a:moveTo>
                      <a:pt x="1840" y="8148"/>
                    </a:moveTo>
                    <a:cubicBezTo>
                      <a:pt x="1918" y="8207"/>
                      <a:pt x="1989" y="8260"/>
                      <a:pt x="2047" y="8304"/>
                    </a:cubicBezTo>
                    <a:cubicBezTo>
                      <a:pt x="2094" y="8219"/>
                      <a:pt x="2175" y="8066"/>
                      <a:pt x="2246" y="7932"/>
                    </a:cubicBezTo>
                    <a:cubicBezTo>
                      <a:pt x="2315" y="7801"/>
                      <a:pt x="2374" y="7690"/>
                      <a:pt x="2378" y="7682"/>
                    </a:cubicBezTo>
                    <a:cubicBezTo>
                      <a:pt x="2210" y="7509"/>
                      <a:pt x="2210" y="7509"/>
                      <a:pt x="2210" y="7509"/>
                    </a:cubicBezTo>
                    <a:cubicBezTo>
                      <a:pt x="2163" y="7468"/>
                      <a:pt x="2163" y="7468"/>
                      <a:pt x="2163" y="7468"/>
                    </a:cubicBezTo>
                    <a:cubicBezTo>
                      <a:pt x="2154" y="7487"/>
                      <a:pt x="2074" y="7653"/>
                      <a:pt x="1993" y="7822"/>
                    </a:cubicBezTo>
                    <a:cubicBezTo>
                      <a:pt x="1951" y="7911"/>
                      <a:pt x="1908" y="8000"/>
                      <a:pt x="1876" y="8069"/>
                    </a:cubicBezTo>
                    <a:cubicBezTo>
                      <a:pt x="1861" y="8101"/>
                      <a:pt x="1849" y="8128"/>
                      <a:pt x="1840" y="8148"/>
                    </a:cubicBezTo>
                    <a:close/>
                    <a:moveTo>
                      <a:pt x="2600" y="7890"/>
                    </a:moveTo>
                    <a:cubicBezTo>
                      <a:pt x="2651" y="8141"/>
                      <a:pt x="2651" y="8141"/>
                      <a:pt x="2651" y="8141"/>
                    </a:cubicBezTo>
                    <a:cubicBezTo>
                      <a:pt x="2708" y="8087"/>
                      <a:pt x="2782" y="8018"/>
                      <a:pt x="2857" y="7952"/>
                    </a:cubicBezTo>
                    <a:cubicBezTo>
                      <a:pt x="2950" y="7871"/>
                      <a:pt x="3047" y="7802"/>
                      <a:pt x="3098" y="7756"/>
                    </a:cubicBezTo>
                    <a:cubicBezTo>
                      <a:pt x="3197" y="7668"/>
                      <a:pt x="3295" y="7634"/>
                      <a:pt x="3350" y="7622"/>
                    </a:cubicBezTo>
                    <a:cubicBezTo>
                      <a:pt x="3364" y="7515"/>
                      <a:pt x="3364" y="7515"/>
                      <a:pt x="3364" y="7515"/>
                    </a:cubicBezTo>
                    <a:cubicBezTo>
                      <a:pt x="3296" y="7510"/>
                      <a:pt x="2852" y="7474"/>
                      <a:pt x="2852" y="7474"/>
                    </a:cubicBezTo>
                    <a:cubicBezTo>
                      <a:pt x="2851" y="7474"/>
                      <a:pt x="2851" y="7474"/>
                      <a:pt x="2851" y="7474"/>
                    </a:cubicBezTo>
                    <a:cubicBezTo>
                      <a:pt x="2697" y="7420"/>
                      <a:pt x="2697" y="7420"/>
                      <a:pt x="2697" y="7420"/>
                    </a:cubicBezTo>
                    <a:cubicBezTo>
                      <a:pt x="2408" y="7223"/>
                      <a:pt x="2408" y="7223"/>
                      <a:pt x="2408" y="7223"/>
                    </a:cubicBezTo>
                    <a:cubicBezTo>
                      <a:pt x="1601" y="6734"/>
                      <a:pt x="1601" y="6734"/>
                      <a:pt x="1601" y="6734"/>
                    </a:cubicBezTo>
                    <a:cubicBezTo>
                      <a:pt x="1600" y="6736"/>
                      <a:pt x="1600" y="6736"/>
                      <a:pt x="1600" y="6736"/>
                    </a:cubicBezTo>
                    <a:cubicBezTo>
                      <a:pt x="1525" y="6691"/>
                      <a:pt x="1525" y="6691"/>
                      <a:pt x="1525" y="6691"/>
                    </a:cubicBezTo>
                    <a:cubicBezTo>
                      <a:pt x="1348" y="6630"/>
                      <a:pt x="1348" y="6630"/>
                      <a:pt x="1348" y="6630"/>
                    </a:cubicBezTo>
                    <a:cubicBezTo>
                      <a:pt x="1307" y="6685"/>
                      <a:pt x="1307" y="6685"/>
                      <a:pt x="1307" y="6685"/>
                    </a:cubicBezTo>
                    <a:cubicBezTo>
                      <a:pt x="1571" y="6936"/>
                      <a:pt x="1571" y="6936"/>
                      <a:pt x="1571" y="6936"/>
                    </a:cubicBezTo>
                    <a:cubicBezTo>
                      <a:pt x="1572" y="6935"/>
                      <a:pt x="1572" y="6935"/>
                      <a:pt x="1572" y="6935"/>
                    </a:cubicBezTo>
                    <a:cubicBezTo>
                      <a:pt x="2219" y="7499"/>
                      <a:pt x="2219" y="7499"/>
                      <a:pt x="2219" y="7499"/>
                    </a:cubicBezTo>
                    <a:lnTo>
                      <a:pt x="2600" y="7890"/>
                    </a:lnTo>
                    <a:close/>
                    <a:moveTo>
                      <a:pt x="1129" y="6093"/>
                    </a:moveTo>
                    <a:cubicBezTo>
                      <a:pt x="1128" y="6098"/>
                      <a:pt x="1128" y="6098"/>
                      <a:pt x="1128" y="6098"/>
                    </a:cubicBezTo>
                    <a:cubicBezTo>
                      <a:pt x="1447" y="6377"/>
                      <a:pt x="1447" y="6377"/>
                      <a:pt x="1447" y="6377"/>
                    </a:cubicBezTo>
                    <a:cubicBezTo>
                      <a:pt x="1487" y="6322"/>
                      <a:pt x="1487" y="6322"/>
                      <a:pt x="1487" y="6322"/>
                    </a:cubicBezTo>
                    <a:cubicBezTo>
                      <a:pt x="1492" y="6314"/>
                      <a:pt x="1520" y="6270"/>
                      <a:pt x="1549" y="6225"/>
                    </a:cubicBezTo>
                    <a:cubicBezTo>
                      <a:pt x="1565" y="6201"/>
                      <a:pt x="1580" y="6176"/>
                      <a:pt x="1593" y="6158"/>
                    </a:cubicBezTo>
                    <a:cubicBezTo>
                      <a:pt x="1599" y="6149"/>
                      <a:pt x="1604" y="6141"/>
                      <a:pt x="1607" y="6135"/>
                    </a:cubicBezTo>
                    <a:cubicBezTo>
                      <a:pt x="1608" y="6134"/>
                      <a:pt x="1608" y="6134"/>
                      <a:pt x="1609" y="6134"/>
                    </a:cubicBezTo>
                    <a:cubicBezTo>
                      <a:pt x="1543" y="5691"/>
                      <a:pt x="1543" y="5691"/>
                      <a:pt x="1543" y="5691"/>
                    </a:cubicBezTo>
                    <a:cubicBezTo>
                      <a:pt x="1324" y="5583"/>
                      <a:pt x="1324" y="5583"/>
                      <a:pt x="1324" y="5583"/>
                    </a:cubicBezTo>
                    <a:cubicBezTo>
                      <a:pt x="1323" y="5583"/>
                      <a:pt x="1323" y="5583"/>
                      <a:pt x="1322" y="5584"/>
                    </a:cubicBezTo>
                    <a:cubicBezTo>
                      <a:pt x="1529" y="5688"/>
                      <a:pt x="1529" y="5688"/>
                      <a:pt x="1529" y="5688"/>
                    </a:cubicBezTo>
                    <a:cubicBezTo>
                      <a:pt x="1581" y="6101"/>
                      <a:pt x="1581" y="6101"/>
                      <a:pt x="1581" y="6101"/>
                    </a:cubicBezTo>
                    <a:cubicBezTo>
                      <a:pt x="1436" y="6322"/>
                      <a:pt x="1436" y="6322"/>
                      <a:pt x="1436" y="6322"/>
                    </a:cubicBezTo>
                    <a:cubicBezTo>
                      <a:pt x="1154" y="6087"/>
                      <a:pt x="1154" y="6087"/>
                      <a:pt x="1154" y="6087"/>
                    </a:cubicBezTo>
                    <a:cubicBezTo>
                      <a:pt x="1150" y="5868"/>
                      <a:pt x="1150" y="5868"/>
                      <a:pt x="1150" y="5868"/>
                    </a:cubicBezTo>
                    <a:cubicBezTo>
                      <a:pt x="1018" y="5653"/>
                      <a:pt x="1018" y="5653"/>
                      <a:pt x="1018" y="5653"/>
                    </a:cubicBezTo>
                    <a:cubicBezTo>
                      <a:pt x="1262" y="5597"/>
                      <a:pt x="1262" y="5597"/>
                      <a:pt x="1262" y="5597"/>
                    </a:cubicBezTo>
                    <a:cubicBezTo>
                      <a:pt x="1230" y="5604"/>
                      <a:pt x="1192" y="5612"/>
                      <a:pt x="1153" y="5621"/>
                    </a:cubicBezTo>
                    <a:cubicBezTo>
                      <a:pt x="1108" y="5631"/>
                      <a:pt x="1062" y="5641"/>
                      <a:pt x="1027" y="5649"/>
                    </a:cubicBezTo>
                    <a:cubicBezTo>
                      <a:pt x="1018" y="5651"/>
                      <a:pt x="1002" y="5655"/>
                      <a:pt x="989" y="5658"/>
                    </a:cubicBezTo>
                    <a:cubicBezTo>
                      <a:pt x="1127" y="5882"/>
                      <a:pt x="1127" y="5882"/>
                      <a:pt x="1127" y="5882"/>
                    </a:cubicBezTo>
                    <a:lnTo>
                      <a:pt x="1129" y="6093"/>
                    </a:lnTo>
                    <a:close/>
                    <a:moveTo>
                      <a:pt x="469" y="5054"/>
                    </a:moveTo>
                    <a:cubicBezTo>
                      <a:pt x="434" y="5079"/>
                      <a:pt x="434" y="5079"/>
                      <a:pt x="434" y="5079"/>
                    </a:cubicBezTo>
                    <a:cubicBezTo>
                      <a:pt x="462" y="5117"/>
                      <a:pt x="462" y="5117"/>
                      <a:pt x="462" y="5117"/>
                    </a:cubicBezTo>
                    <a:cubicBezTo>
                      <a:pt x="403" y="5161"/>
                      <a:pt x="403" y="5161"/>
                      <a:pt x="403" y="5161"/>
                    </a:cubicBezTo>
                    <a:cubicBezTo>
                      <a:pt x="896" y="4991"/>
                      <a:pt x="896" y="4991"/>
                      <a:pt x="896" y="4991"/>
                    </a:cubicBezTo>
                    <a:cubicBezTo>
                      <a:pt x="823" y="4886"/>
                      <a:pt x="823" y="4886"/>
                      <a:pt x="823" y="4886"/>
                    </a:cubicBezTo>
                    <a:cubicBezTo>
                      <a:pt x="452" y="5032"/>
                      <a:pt x="452" y="5032"/>
                      <a:pt x="452" y="5032"/>
                    </a:cubicBezTo>
                    <a:lnTo>
                      <a:pt x="469" y="5054"/>
                    </a:lnTo>
                    <a:close/>
                    <a:moveTo>
                      <a:pt x="833" y="4862"/>
                    </a:moveTo>
                    <a:cubicBezTo>
                      <a:pt x="833" y="4862"/>
                      <a:pt x="833" y="4862"/>
                      <a:pt x="833" y="4862"/>
                    </a:cubicBezTo>
                    <a:cubicBezTo>
                      <a:pt x="825" y="4858"/>
                      <a:pt x="825" y="4858"/>
                      <a:pt x="825" y="4858"/>
                    </a:cubicBezTo>
                    <a:lnTo>
                      <a:pt x="833" y="4862"/>
                    </a:lnTo>
                    <a:close/>
                    <a:moveTo>
                      <a:pt x="1154" y="5241"/>
                    </a:moveTo>
                    <a:cubicBezTo>
                      <a:pt x="1444" y="4949"/>
                      <a:pt x="1444" y="4949"/>
                      <a:pt x="1444" y="4949"/>
                    </a:cubicBezTo>
                    <a:cubicBezTo>
                      <a:pt x="1377" y="4888"/>
                      <a:pt x="1363" y="4831"/>
                      <a:pt x="1356" y="4803"/>
                    </a:cubicBezTo>
                    <a:cubicBezTo>
                      <a:pt x="1351" y="4787"/>
                      <a:pt x="1343" y="4757"/>
                      <a:pt x="1334" y="4723"/>
                    </a:cubicBezTo>
                    <a:cubicBezTo>
                      <a:pt x="869" y="4836"/>
                      <a:pt x="869" y="4836"/>
                      <a:pt x="869" y="4836"/>
                    </a:cubicBezTo>
                    <a:cubicBezTo>
                      <a:pt x="869" y="4837"/>
                      <a:pt x="870" y="4837"/>
                      <a:pt x="870" y="4838"/>
                    </a:cubicBezTo>
                    <a:cubicBezTo>
                      <a:pt x="874" y="4843"/>
                      <a:pt x="877" y="4847"/>
                      <a:pt x="879" y="4850"/>
                    </a:cubicBezTo>
                    <a:cubicBezTo>
                      <a:pt x="880" y="4851"/>
                      <a:pt x="880" y="4852"/>
                      <a:pt x="881" y="4853"/>
                    </a:cubicBezTo>
                    <a:cubicBezTo>
                      <a:pt x="882" y="4854"/>
                      <a:pt x="882" y="4854"/>
                      <a:pt x="882" y="4855"/>
                    </a:cubicBezTo>
                    <a:cubicBezTo>
                      <a:pt x="883" y="4855"/>
                      <a:pt x="883" y="4856"/>
                      <a:pt x="883" y="4857"/>
                    </a:cubicBezTo>
                    <a:cubicBezTo>
                      <a:pt x="884" y="4857"/>
                      <a:pt x="884" y="4858"/>
                      <a:pt x="885" y="4860"/>
                    </a:cubicBezTo>
                    <a:cubicBezTo>
                      <a:pt x="885" y="4860"/>
                      <a:pt x="885" y="4861"/>
                      <a:pt x="886" y="4862"/>
                    </a:cubicBezTo>
                    <a:lnTo>
                      <a:pt x="1154" y="5241"/>
                    </a:lnTo>
                    <a:close/>
                    <a:moveTo>
                      <a:pt x="1035" y="4277"/>
                    </a:moveTo>
                    <a:cubicBezTo>
                      <a:pt x="1035" y="4301"/>
                      <a:pt x="1030" y="4326"/>
                      <a:pt x="1017" y="4347"/>
                    </a:cubicBezTo>
                    <a:cubicBezTo>
                      <a:pt x="1002" y="4372"/>
                      <a:pt x="985" y="4390"/>
                      <a:pt x="968" y="4402"/>
                    </a:cubicBezTo>
                    <a:cubicBezTo>
                      <a:pt x="1091" y="4514"/>
                      <a:pt x="1091" y="4514"/>
                      <a:pt x="1091" y="4514"/>
                    </a:cubicBezTo>
                    <a:cubicBezTo>
                      <a:pt x="1146" y="4752"/>
                      <a:pt x="1146" y="4752"/>
                      <a:pt x="1146" y="4752"/>
                    </a:cubicBezTo>
                    <a:cubicBezTo>
                      <a:pt x="1330" y="4707"/>
                      <a:pt x="1330" y="4707"/>
                      <a:pt x="1330" y="4707"/>
                    </a:cubicBezTo>
                    <a:cubicBezTo>
                      <a:pt x="1320" y="4670"/>
                      <a:pt x="1310" y="4630"/>
                      <a:pt x="1301" y="4600"/>
                    </a:cubicBezTo>
                    <a:cubicBezTo>
                      <a:pt x="1286" y="4542"/>
                      <a:pt x="1224" y="4441"/>
                      <a:pt x="1175" y="4389"/>
                    </a:cubicBezTo>
                    <a:cubicBezTo>
                      <a:pt x="1143" y="4354"/>
                      <a:pt x="1084" y="4303"/>
                      <a:pt x="1033" y="4262"/>
                    </a:cubicBezTo>
                    <a:cubicBezTo>
                      <a:pt x="1034" y="4267"/>
                      <a:pt x="1035" y="4272"/>
                      <a:pt x="1035" y="4277"/>
                    </a:cubicBezTo>
                    <a:close/>
                    <a:moveTo>
                      <a:pt x="1274" y="3986"/>
                    </a:moveTo>
                    <a:cubicBezTo>
                      <a:pt x="1274" y="3981"/>
                      <a:pt x="1274" y="3977"/>
                      <a:pt x="1274" y="3975"/>
                    </a:cubicBezTo>
                    <a:cubicBezTo>
                      <a:pt x="1272" y="3969"/>
                      <a:pt x="1267" y="3953"/>
                      <a:pt x="1258" y="3935"/>
                    </a:cubicBezTo>
                    <a:cubicBezTo>
                      <a:pt x="1249" y="3942"/>
                      <a:pt x="1240" y="3950"/>
                      <a:pt x="1231" y="3958"/>
                    </a:cubicBezTo>
                    <a:cubicBezTo>
                      <a:pt x="1208" y="3978"/>
                      <a:pt x="1186" y="4003"/>
                      <a:pt x="1167" y="4025"/>
                    </a:cubicBezTo>
                    <a:cubicBezTo>
                      <a:pt x="1142" y="4054"/>
                      <a:pt x="1113" y="4095"/>
                      <a:pt x="1092" y="4135"/>
                    </a:cubicBezTo>
                    <a:cubicBezTo>
                      <a:pt x="1078" y="4161"/>
                      <a:pt x="1068" y="4187"/>
                      <a:pt x="1061" y="4206"/>
                    </a:cubicBezTo>
                    <a:cubicBezTo>
                      <a:pt x="1058" y="4212"/>
                      <a:pt x="1057" y="4217"/>
                      <a:pt x="1055" y="4222"/>
                    </a:cubicBezTo>
                    <a:cubicBezTo>
                      <a:pt x="1109" y="4264"/>
                      <a:pt x="1172" y="4319"/>
                      <a:pt x="1208" y="4358"/>
                    </a:cubicBezTo>
                    <a:cubicBezTo>
                      <a:pt x="1234" y="4386"/>
                      <a:pt x="1261" y="4423"/>
                      <a:pt x="1285" y="4462"/>
                    </a:cubicBezTo>
                    <a:cubicBezTo>
                      <a:pt x="1773" y="4397"/>
                      <a:pt x="1773" y="4397"/>
                      <a:pt x="1773" y="4397"/>
                    </a:cubicBezTo>
                    <a:cubicBezTo>
                      <a:pt x="1673" y="4283"/>
                      <a:pt x="1673" y="4283"/>
                      <a:pt x="1673" y="4283"/>
                    </a:cubicBezTo>
                    <a:cubicBezTo>
                      <a:pt x="1610" y="4323"/>
                      <a:pt x="1539" y="4367"/>
                      <a:pt x="1522" y="4376"/>
                    </a:cubicBezTo>
                    <a:cubicBezTo>
                      <a:pt x="1509" y="4384"/>
                      <a:pt x="1489" y="4386"/>
                      <a:pt x="1464" y="4386"/>
                    </a:cubicBezTo>
                    <a:cubicBezTo>
                      <a:pt x="1410" y="4385"/>
                      <a:pt x="1336" y="4373"/>
                      <a:pt x="1299" y="4338"/>
                    </a:cubicBezTo>
                    <a:cubicBezTo>
                      <a:pt x="1286" y="4325"/>
                      <a:pt x="1279" y="4309"/>
                      <a:pt x="1280" y="4294"/>
                    </a:cubicBezTo>
                    <a:cubicBezTo>
                      <a:pt x="1281" y="4254"/>
                      <a:pt x="1318" y="4222"/>
                      <a:pt x="1329" y="4197"/>
                    </a:cubicBezTo>
                    <a:cubicBezTo>
                      <a:pt x="1338" y="4179"/>
                      <a:pt x="1344" y="4162"/>
                      <a:pt x="1344" y="4146"/>
                    </a:cubicBezTo>
                    <a:cubicBezTo>
                      <a:pt x="1344" y="4128"/>
                      <a:pt x="1337" y="4109"/>
                      <a:pt x="1315" y="4085"/>
                    </a:cubicBezTo>
                    <a:cubicBezTo>
                      <a:pt x="1279" y="4048"/>
                      <a:pt x="1273" y="4006"/>
                      <a:pt x="1274" y="3986"/>
                    </a:cubicBezTo>
                    <a:close/>
                    <a:moveTo>
                      <a:pt x="3946" y="2546"/>
                    </a:moveTo>
                    <a:cubicBezTo>
                      <a:pt x="3935" y="2554"/>
                      <a:pt x="3935" y="2554"/>
                      <a:pt x="3935" y="2554"/>
                    </a:cubicBezTo>
                    <a:cubicBezTo>
                      <a:pt x="3934" y="2553"/>
                      <a:pt x="3828" y="2414"/>
                      <a:pt x="3721" y="2276"/>
                    </a:cubicBezTo>
                    <a:cubicBezTo>
                      <a:pt x="3667" y="2206"/>
                      <a:pt x="3613" y="2136"/>
                      <a:pt x="3572" y="2084"/>
                    </a:cubicBezTo>
                    <a:cubicBezTo>
                      <a:pt x="3552" y="2058"/>
                      <a:pt x="3535" y="2036"/>
                      <a:pt x="3523" y="2021"/>
                    </a:cubicBezTo>
                    <a:cubicBezTo>
                      <a:pt x="3522" y="2020"/>
                      <a:pt x="3521" y="2019"/>
                      <a:pt x="3520" y="2018"/>
                    </a:cubicBezTo>
                    <a:cubicBezTo>
                      <a:pt x="3513" y="2025"/>
                      <a:pt x="3507" y="2032"/>
                      <a:pt x="3502" y="2039"/>
                    </a:cubicBezTo>
                    <a:cubicBezTo>
                      <a:pt x="3464" y="2089"/>
                      <a:pt x="3454" y="2141"/>
                      <a:pt x="3439" y="2196"/>
                    </a:cubicBezTo>
                    <a:cubicBezTo>
                      <a:pt x="3415" y="2285"/>
                      <a:pt x="3405" y="2466"/>
                      <a:pt x="3343" y="2597"/>
                    </a:cubicBezTo>
                    <a:cubicBezTo>
                      <a:pt x="3357" y="2616"/>
                      <a:pt x="3407" y="2694"/>
                      <a:pt x="3457" y="2773"/>
                    </a:cubicBezTo>
                    <a:cubicBezTo>
                      <a:pt x="3483" y="2814"/>
                      <a:pt x="3509" y="2855"/>
                      <a:pt x="3528" y="2885"/>
                    </a:cubicBezTo>
                    <a:cubicBezTo>
                      <a:pt x="3538" y="2900"/>
                      <a:pt x="3546" y="2913"/>
                      <a:pt x="3552" y="2922"/>
                    </a:cubicBezTo>
                    <a:cubicBezTo>
                      <a:pt x="3555" y="2926"/>
                      <a:pt x="3557" y="2930"/>
                      <a:pt x="3558" y="2932"/>
                    </a:cubicBezTo>
                    <a:cubicBezTo>
                      <a:pt x="3559" y="2933"/>
                      <a:pt x="3560" y="2934"/>
                      <a:pt x="3560" y="2934"/>
                    </a:cubicBezTo>
                    <a:cubicBezTo>
                      <a:pt x="3696" y="2713"/>
                      <a:pt x="3696" y="2713"/>
                      <a:pt x="3696" y="2713"/>
                    </a:cubicBezTo>
                    <a:cubicBezTo>
                      <a:pt x="3697" y="2712"/>
                      <a:pt x="3697" y="2712"/>
                      <a:pt x="3697" y="2712"/>
                    </a:cubicBezTo>
                    <a:cubicBezTo>
                      <a:pt x="3697" y="2712"/>
                      <a:pt x="4167" y="2407"/>
                      <a:pt x="4258" y="2348"/>
                    </a:cubicBezTo>
                    <a:cubicBezTo>
                      <a:pt x="4139" y="2089"/>
                      <a:pt x="4139" y="2089"/>
                      <a:pt x="4139" y="2089"/>
                    </a:cubicBezTo>
                    <a:cubicBezTo>
                      <a:pt x="4026" y="1816"/>
                      <a:pt x="4026" y="1816"/>
                      <a:pt x="4026" y="1816"/>
                    </a:cubicBezTo>
                    <a:cubicBezTo>
                      <a:pt x="3978" y="1828"/>
                      <a:pt x="3861" y="1860"/>
                      <a:pt x="3749" y="1895"/>
                    </a:cubicBezTo>
                    <a:cubicBezTo>
                      <a:pt x="3638" y="1930"/>
                      <a:pt x="3572" y="1969"/>
                      <a:pt x="3530" y="2008"/>
                    </a:cubicBezTo>
                    <a:cubicBezTo>
                      <a:pt x="3611" y="2108"/>
                      <a:pt x="3946" y="2546"/>
                      <a:pt x="3946" y="2546"/>
                    </a:cubicBezTo>
                    <a:close/>
                    <a:moveTo>
                      <a:pt x="4631" y="2065"/>
                    </a:moveTo>
                    <a:cubicBezTo>
                      <a:pt x="4654" y="2493"/>
                      <a:pt x="4654" y="2493"/>
                      <a:pt x="4654" y="2493"/>
                    </a:cubicBezTo>
                    <a:cubicBezTo>
                      <a:pt x="4799" y="2490"/>
                      <a:pt x="4969" y="2486"/>
                      <a:pt x="5110" y="2483"/>
                    </a:cubicBezTo>
                    <a:cubicBezTo>
                      <a:pt x="4954" y="2029"/>
                      <a:pt x="4954" y="2029"/>
                      <a:pt x="4954" y="2029"/>
                    </a:cubicBezTo>
                    <a:cubicBezTo>
                      <a:pt x="4869" y="2043"/>
                      <a:pt x="4751" y="2055"/>
                      <a:pt x="4631" y="2065"/>
                    </a:cubicBezTo>
                    <a:close/>
                    <a:moveTo>
                      <a:pt x="4949" y="1985"/>
                    </a:moveTo>
                    <a:cubicBezTo>
                      <a:pt x="4959" y="1518"/>
                      <a:pt x="4959" y="1518"/>
                      <a:pt x="4959" y="1518"/>
                    </a:cubicBezTo>
                    <a:cubicBezTo>
                      <a:pt x="4881" y="1504"/>
                      <a:pt x="4766" y="1482"/>
                      <a:pt x="4683" y="1466"/>
                    </a:cubicBezTo>
                    <a:cubicBezTo>
                      <a:pt x="4783" y="2005"/>
                      <a:pt x="4783" y="2005"/>
                      <a:pt x="4783" y="2005"/>
                    </a:cubicBezTo>
                    <a:cubicBezTo>
                      <a:pt x="4845" y="1999"/>
                      <a:pt x="4903" y="1992"/>
                      <a:pt x="4949" y="1985"/>
                    </a:cubicBezTo>
                    <a:close/>
                    <a:moveTo>
                      <a:pt x="5269" y="1888"/>
                    </a:moveTo>
                    <a:cubicBezTo>
                      <a:pt x="5280" y="1901"/>
                      <a:pt x="5295" y="1920"/>
                      <a:pt x="5307" y="1942"/>
                    </a:cubicBezTo>
                    <a:cubicBezTo>
                      <a:pt x="5354" y="1951"/>
                      <a:pt x="5441" y="1967"/>
                      <a:pt x="5529" y="1984"/>
                    </a:cubicBezTo>
                    <a:cubicBezTo>
                      <a:pt x="5655" y="2008"/>
                      <a:pt x="5786" y="2032"/>
                      <a:pt x="5793" y="2033"/>
                    </a:cubicBezTo>
                    <a:cubicBezTo>
                      <a:pt x="5793" y="2033"/>
                      <a:pt x="5793" y="2033"/>
                      <a:pt x="5793" y="2033"/>
                    </a:cubicBezTo>
                    <a:cubicBezTo>
                      <a:pt x="5793" y="2034"/>
                      <a:pt x="5793" y="2034"/>
                      <a:pt x="5793" y="2034"/>
                    </a:cubicBezTo>
                    <a:cubicBezTo>
                      <a:pt x="5812" y="1970"/>
                      <a:pt x="5812" y="1970"/>
                      <a:pt x="5812" y="1970"/>
                    </a:cubicBezTo>
                    <a:cubicBezTo>
                      <a:pt x="5809" y="1962"/>
                      <a:pt x="5798" y="1931"/>
                      <a:pt x="5787" y="1899"/>
                    </a:cubicBezTo>
                    <a:cubicBezTo>
                      <a:pt x="5786" y="1895"/>
                      <a:pt x="5785" y="1891"/>
                      <a:pt x="5783" y="1887"/>
                    </a:cubicBezTo>
                    <a:cubicBezTo>
                      <a:pt x="5764" y="1884"/>
                      <a:pt x="5660" y="1866"/>
                      <a:pt x="5553" y="1848"/>
                    </a:cubicBezTo>
                    <a:cubicBezTo>
                      <a:pt x="5474" y="1834"/>
                      <a:pt x="5392" y="1821"/>
                      <a:pt x="5351" y="1814"/>
                    </a:cubicBezTo>
                    <a:cubicBezTo>
                      <a:pt x="5328" y="1837"/>
                      <a:pt x="5301" y="1862"/>
                      <a:pt x="5269" y="1888"/>
                    </a:cubicBezTo>
                    <a:close/>
                    <a:moveTo>
                      <a:pt x="5330" y="1770"/>
                    </a:moveTo>
                    <a:cubicBezTo>
                      <a:pt x="5330" y="1770"/>
                      <a:pt x="5330" y="1770"/>
                      <a:pt x="5330" y="1770"/>
                    </a:cubicBezTo>
                    <a:cubicBezTo>
                      <a:pt x="5330" y="1769"/>
                      <a:pt x="5330" y="1769"/>
                      <a:pt x="5330" y="1769"/>
                    </a:cubicBezTo>
                    <a:lnTo>
                      <a:pt x="5330" y="1770"/>
                    </a:lnTo>
                    <a:close/>
                    <a:moveTo>
                      <a:pt x="5880" y="1344"/>
                    </a:moveTo>
                    <a:cubicBezTo>
                      <a:pt x="5881" y="1330"/>
                      <a:pt x="5881" y="1330"/>
                      <a:pt x="5881" y="1330"/>
                    </a:cubicBezTo>
                    <a:cubicBezTo>
                      <a:pt x="5886" y="1330"/>
                      <a:pt x="5886" y="1330"/>
                      <a:pt x="5886" y="1330"/>
                    </a:cubicBezTo>
                    <a:cubicBezTo>
                      <a:pt x="5889" y="1318"/>
                      <a:pt x="5892" y="1307"/>
                      <a:pt x="5895" y="1296"/>
                    </a:cubicBezTo>
                    <a:cubicBezTo>
                      <a:pt x="5871" y="1293"/>
                      <a:pt x="5502" y="1232"/>
                      <a:pt x="5420" y="1218"/>
                    </a:cubicBezTo>
                    <a:cubicBezTo>
                      <a:pt x="5426" y="1251"/>
                      <a:pt x="5433" y="1286"/>
                      <a:pt x="5438" y="1320"/>
                    </a:cubicBezTo>
                    <a:cubicBezTo>
                      <a:pt x="5504" y="1328"/>
                      <a:pt x="5835" y="1388"/>
                      <a:pt x="5870" y="1394"/>
                    </a:cubicBezTo>
                    <a:cubicBezTo>
                      <a:pt x="5874" y="1379"/>
                      <a:pt x="5878" y="1364"/>
                      <a:pt x="5881" y="1349"/>
                    </a:cubicBezTo>
                    <a:cubicBezTo>
                      <a:pt x="5882" y="1347"/>
                      <a:pt x="5882" y="1346"/>
                      <a:pt x="5883" y="1344"/>
                    </a:cubicBezTo>
                    <a:lnTo>
                      <a:pt x="5880" y="1344"/>
                    </a:lnTo>
                    <a:close/>
                    <a:moveTo>
                      <a:pt x="5958" y="2559"/>
                    </a:moveTo>
                    <a:cubicBezTo>
                      <a:pt x="5999" y="2445"/>
                      <a:pt x="5999" y="2445"/>
                      <a:pt x="5999" y="2445"/>
                    </a:cubicBezTo>
                    <a:cubicBezTo>
                      <a:pt x="5872" y="2425"/>
                      <a:pt x="5872" y="2425"/>
                      <a:pt x="5872" y="2425"/>
                    </a:cubicBezTo>
                    <a:cubicBezTo>
                      <a:pt x="5825" y="2554"/>
                      <a:pt x="5825" y="2554"/>
                      <a:pt x="5825" y="2554"/>
                    </a:cubicBezTo>
                    <a:cubicBezTo>
                      <a:pt x="5870" y="2556"/>
                      <a:pt x="5917" y="2558"/>
                      <a:pt x="5958" y="2559"/>
                    </a:cubicBezTo>
                    <a:close/>
                    <a:moveTo>
                      <a:pt x="5820" y="2568"/>
                    </a:moveTo>
                    <a:cubicBezTo>
                      <a:pt x="5776" y="2690"/>
                      <a:pt x="5776" y="2690"/>
                      <a:pt x="5776" y="2690"/>
                    </a:cubicBezTo>
                    <a:cubicBezTo>
                      <a:pt x="5894" y="2735"/>
                      <a:pt x="5894" y="2735"/>
                      <a:pt x="5894" y="2735"/>
                    </a:cubicBezTo>
                    <a:cubicBezTo>
                      <a:pt x="5953" y="2573"/>
                      <a:pt x="5953" y="2573"/>
                      <a:pt x="5953" y="2573"/>
                    </a:cubicBezTo>
                    <a:cubicBezTo>
                      <a:pt x="5912" y="2571"/>
                      <a:pt x="5864" y="2570"/>
                      <a:pt x="5820" y="2568"/>
                    </a:cubicBezTo>
                    <a:close/>
                    <a:moveTo>
                      <a:pt x="6415" y="3095"/>
                    </a:moveTo>
                    <a:cubicBezTo>
                      <a:pt x="6463" y="2872"/>
                      <a:pt x="6463" y="2872"/>
                      <a:pt x="6463" y="2872"/>
                    </a:cubicBezTo>
                    <a:cubicBezTo>
                      <a:pt x="6327" y="2853"/>
                      <a:pt x="6327" y="2853"/>
                      <a:pt x="6327" y="2853"/>
                    </a:cubicBezTo>
                    <a:cubicBezTo>
                      <a:pt x="6283" y="3084"/>
                      <a:pt x="6283" y="3084"/>
                      <a:pt x="6283" y="3084"/>
                    </a:cubicBezTo>
                    <a:lnTo>
                      <a:pt x="6415" y="3095"/>
                    </a:lnTo>
                    <a:close/>
                    <a:moveTo>
                      <a:pt x="6281" y="3098"/>
                    </a:moveTo>
                    <a:cubicBezTo>
                      <a:pt x="6253" y="3245"/>
                      <a:pt x="6253" y="3245"/>
                      <a:pt x="6253" y="3245"/>
                    </a:cubicBezTo>
                    <a:cubicBezTo>
                      <a:pt x="6377" y="3277"/>
                      <a:pt x="6377" y="3277"/>
                      <a:pt x="6377" y="3277"/>
                    </a:cubicBezTo>
                    <a:cubicBezTo>
                      <a:pt x="6412" y="3109"/>
                      <a:pt x="6412" y="3109"/>
                      <a:pt x="6412" y="3109"/>
                    </a:cubicBezTo>
                    <a:lnTo>
                      <a:pt x="6281" y="3098"/>
                    </a:lnTo>
                    <a:close/>
                    <a:moveTo>
                      <a:pt x="7110" y="2558"/>
                    </a:moveTo>
                    <a:cubicBezTo>
                      <a:pt x="7206" y="2492"/>
                      <a:pt x="7206" y="2492"/>
                      <a:pt x="7206" y="2492"/>
                    </a:cubicBezTo>
                    <a:cubicBezTo>
                      <a:pt x="7245" y="2416"/>
                      <a:pt x="7245" y="2416"/>
                      <a:pt x="7245" y="2416"/>
                    </a:cubicBezTo>
                    <a:cubicBezTo>
                      <a:pt x="7015" y="2313"/>
                      <a:pt x="7015" y="2313"/>
                      <a:pt x="7015" y="2313"/>
                    </a:cubicBezTo>
                    <a:cubicBezTo>
                      <a:pt x="6959" y="2488"/>
                      <a:pt x="6959" y="2488"/>
                      <a:pt x="6959" y="2488"/>
                    </a:cubicBezTo>
                    <a:lnTo>
                      <a:pt x="7110" y="2558"/>
                    </a:lnTo>
                    <a:close/>
                    <a:moveTo>
                      <a:pt x="6955" y="2501"/>
                    </a:moveTo>
                    <a:cubicBezTo>
                      <a:pt x="6887" y="2712"/>
                      <a:pt x="6887" y="2712"/>
                      <a:pt x="6887" y="2712"/>
                    </a:cubicBezTo>
                    <a:cubicBezTo>
                      <a:pt x="7096" y="2567"/>
                      <a:pt x="7096" y="2567"/>
                      <a:pt x="7096" y="2567"/>
                    </a:cubicBezTo>
                    <a:lnTo>
                      <a:pt x="6955" y="2501"/>
                    </a:lnTo>
                    <a:close/>
                    <a:moveTo>
                      <a:pt x="7251" y="2403"/>
                    </a:moveTo>
                    <a:cubicBezTo>
                      <a:pt x="7328" y="2251"/>
                      <a:pt x="7328" y="2251"/>
                      <a:pt x="7328" y="2251"/>
                    </a:cubicBezTo>
                    <a:cubicBezTo>
                      <a:pt x="7311" y="2243"/>
                      <a:pt x="7311" y="2243"/>
                      <a:pt x="7311" y="2243"/>
                    </a:cubicBezTo>
                    <a:cubicBezTo>
                      <a:pt x="7240" y="2381"/>
                      <a:pt x="7240" y="2381"/>
                      <a:pt x="7240" y="2381"/>
                    </a:cubicBezTo>
                    <a:cubicBezTo>
                      <a:pt x="7105" y="2310"/>
                      <a:pt x="7105" y="2310"/>
                      <a:pt x="7105" y="2310"/>
                    </a:cubicBezTo>
                    <a:cubicBezTo>
                      <a:pt x="7108" y="2304"/>
                      <a:pt x="7108" y="2304"/>
                      <a:pt x="7108" y="2304"/>
                    </a:cubicBezTo>
                    <a:cubicBezTo>
                      <a:pt x="7173" y="2177"/>
                      <a:pt x="7173" y="2177"/>
                      <a:pt x="7173" y="2177"/>
                    </a:cubicBezTo>
                    <a:cubicBezTo>
                      <a:pt x="7073" y="2130"/>
                      <a:pt x="7073" y="2130"/>
                      <a:pt x="7073" y="2130"/>
                    </a:cubicBezTo>
                    <a:cubicBezTo>
                      <a:pt x="7019" y="2300"/>
                      <a:pt x="7019" y="2300"/>
                      <a:pt x="7019" y="2300"/>
                    </a:cubicBezTo>
                    <a:lnTo>
                      <a:pt x="7251" y="2403"/>
                    </a:lnTo>
                    <a:close/>
                    <a:moveTo>
                      <a:pt x="7350" y="1859"/>
                    </a:moveTo>
                    <a:cubicBezTo>
                      <a:pt x="7275" y="2007"/>
                      <a:pt x="7275" y="2007"/>
                      <a:pt x="7275" y="2007"/>
                    </a:cubicBezTo>
                    <a:cubicBezTo>
                      <a:pt x="7388" y="2063"/>
                      <a:pt x="7388" y="2063"/>
                      <a:pt x="7388" y="2063"/>
                    </a:cubicBezTo>
                    <a:cubicBezTo>
                      <a:pt x="7463" y="1915"/>
                      <a:pt x="7463" y="1915"/>
                      <a:pt x="7463" y="1915"/>
                    </a:cubicBezTo>
                    <a:cubicBezTo>
                      <a:pt x="7433" y="1901"/>
                      <a:pt x="7393" y="1880"/>
                      <a:pt x="7350" y="1859"/>
                    </a:cubicBezTo>
                    <a:close/>
                    <a:moveTo>
                      <a:pt x="7469" y="1903"/>
                    </a:moveTo>
                    <a:cubicBezTo>
                      <a:pt x="7547" y="1749"/>
                      <a:pt x="7547" y="1749"/>
                      <a:pt x="7547" y="1749"/>
                    </a:cubicBezTo>
                    <a:cubicBezTo>
                      <a:pt x="7435" y="1692"/>
                      <a:pt x="7435" y="1692"/>
                      <a:pt x="7435" y="1692"/>
                    </a:cubicBezTo>
                    <a:cubicBezTo>
                      <a:pt x="7356" y="1847"/>
                      <a:pt x="7356" y="1847"/>
                      <a:pt x="7356" y="1847"/>
                    </a:cubicBezTo>
                    <a:cubicBezTo>
                      <a:pt x="7399" y="1868"/>
                      <a:pt x="7440" y="1888"/>
                      <a:pt x="7469" y="1903"/>
                    </a:cubicBezTo>
                    <a:close/>
                    <a:moveTo>
                      <a:pt x="7305" y="2224"/>
                    </a:moveTo>
                    <a:cubicBezTo>
                      <a:pt x="7381" y="2075"/>
                      <a:pt x="7381" y="2075"/>
                      <a:pt x="7381" y="2075"/>
                    </a:cubicBezTo>
                    <a:cubicBezTo>
                      <a:pt x="7268" y="2019"/>
                      <a:pt x="7268" y="2019"/>
                      <a:pt x="7268" y="2019"/>
                    </a:cubicBezTo>
                    <a:cubicBezTo>
                      <a:pt x="7191" y="2170"/>
                      <a:pt x="7191" y="2170"/>
                      <a:pt x="7191" y="2170"/>
                    </a:cubicBezTo>
                    <a:lnTo>
                      <a:pt x="7305" y="2224"/>
                    </a:lnTo>
                    <a:close/>
                    <a:moveTo>
                      <a:pt x="7185" y="2183"/>
                    </a:moveTo>
                    <a:cubicBezTo>
                      <a:pt x="7123" y="2304"/>
                      <a:pt x="7123" y="2304"/>
                      <a:pt x="7123" y="2304"/>
                    </a:cubicBezTo>
                    <a:cubicBezTo>
                      <a:pt x="7234" y="2364"/>
                      <a:pt x="7234" y="2364"/>
                      <a:pt x="7234" y="2364"/>
                    </a:cubicBezTo>
                    <a:cubicBezTo>
                      <a:pt x="7299" y="2237"/>
                      <a:pt x="7299" y="2237"/>
                      <a:pt x="7299" y="2237"/>
                    </a:cubicBezTo>
                    <a:lnTo>
                      <a:pt x="7185" y="2183"/>
                    </a:lnTo>
                    <a:close/>
                    <a:moveTo>
                      <a:pt x="7338" y="1853"/>
                    </a:moveTo>
                    <a:cubicBezTo>
                      <a:pt x="7337" y="1853"/>
                      <a:pt x="7336" y="1852"/>
                      <a:pt x="7334" y="1852"/>
                    </a:cubicBezTo>
                    <a:cubicBezTo>
                      <a:pt x="7291" y="1830"/>
                      <a:pt x="7246" y="1809"/>
                      <a:pt x="7212" y="1792"/>
                    </a:cubicBezTo>
                    <a:cubicBezTo>
                      <a:pt x="7202" y="1788"/>
                      <a:pt x="7193" y="1784"/>
                      <a:pt x="7185" y="1780"/>
                    </a:cubicBezTo>
                    <a:cubicBezTo>
                      <a:pt x="7135" y="1938"/>
                      <a:pt x="7135" y="1938"/>
                      <a:pt x="7135" y="1938"/>
                    </a:cubicBezTo>
                    <a:cubicBezTo>
                      <a:pt x="7263" y="2001"/>
                      <a:pt x="7263" y="2001"/>
                      <a:pt x="7263" y="2001"/>
                    </a:cubicBezTo>
                    <a:lnTo>
                      <a:pt x="7338" y="1853"/>
                    </a:lnTo>
                    <a:close/>
                    <a:moveTo>
                      <a:pt x="7131" y="1951"/>
                    </a:moveTo>
                    <a:cubicBezTo>
                      <a:pt x="7078" y="2116"/>
                      <a:pt x="7078" y="2116"/>
                      <a:pt x="7078" y="2116"/>
                    </a:cubicBezTo>
                    <a:cubicBezTo>
                      <a:pt x="7179" y="2165"/>
                      <a:pt x="7179" y="2165"/>
                      <a:pt x="7179" y="2165"/>
                    </a:cubicBezTo>
                    <a:cubicBezTo>
                      <a:pt x="7256" y="2013"/>
                      <a:pt x="7256" y="2013"/>
                      <a:pt x="7256" y="2013"/>
                    </a:cubicBezTo>
                    <a:lnTo>
                      <a:pt x="7131" y="1951"/>
                    </a:lnTo>
                    <a:close/>
                    <a:moveTo>
                      <a:pt x="7335" y="2238"/>
                    </a:moveTo>
                    <a:cubicBezTo>
                      <a:pt x="7410" y="2089"/>
                      <a:pt x="7410" y="2089"/>
                      <a:pt x="7410" y="2089"/>
                    </a:cubicBezTo>
                    <a:cubicBezTo>
                      <a:pt x="7393" y="2081"/>
                      <a:pt x="7393" y="2081"/>
                      <a:pt x="7393" y="2081"/>
                    </a:cubicBezTo>
                    <a:cubicBezTo>
                      <a:pt x="7317" y="2230"/>
                      <a:pt x="7317" y="2230"/>
                      <a:pt x="7317" y="2230"/>
                    </a:cubicBezTo>
                    <a:lnTo>
                      <a:pt x="7335" y="2238"/>
                    </a:lnTo>
                    <a:close/>
                    <a:moveTo>
                      <a:pt x="7416" y="2077"/>
                    </a:moveTo>
                    <a:cubicBezTo>
                      <a:pt x="7491" y="1930"/>
                      <a:pt x="7491" y="1930"/>
                      <a:pt x="7491" y="1930"/>
                    </a:cubicBezTo>
                    <a:cubicBezTo>
                      <a:pt x="7487" y="1927"/>
                      <a:pt x="7481" y="1925"/>
                      <a:pt x="7475" y="1921"/>
                    </a:cubicBezTo>
                    <a:cubicBezTo>
                      <a:pt x="7399" y="2069"/>
                      <a:pt x="7399" y="2069"/>
                      <a:pt x="7399" y="2069"/>
                    </a:cubicBezTo>
                    <a:lnTo>
                      <a:pt x="7416" y="2077"/>
                    </a:lnTo>
                    <a:close/>
                    <a:moveTo>
                      <a:pt x="7498" y="1917"/>
                    </a:moveTo>
                    <a:cubicBezTo>
                      <a:pt x="7575" y="1764"/>
                      <a:pt x="7575" y="1764"/>
                      <a:pt x="7575" y="1764"/>
                    </a:cubicBezTo>
                    <a:cubicBezTo>
                      <a:pt x="7559" y="1755"/>
                      <a:pt x="7559" y="1755"/>
                      <a:pt x="7559" y="1755"/>
                    </a:cubicBezTo>
                    <a:cubicBezTo>
                      <a:pt x="7481" y="1909"/>
                      <a:pt x="7481" y="1909"/>
                      <a:pt x="7481" y="1909"/>
                    </a:cubicBezTo>
                    <a:cubicBezTo>
                      <a:pt x="7487" y="1912"/>
                      <a:pt x="7493" y="1915"/>
                      <a:pt x="7498" y="1917"/>
                    </a:cubicBezTo>
                    <a:close/>
                    <a:moveTo>
                      <a:pt x="7636" y="1576"/>
                    </a:moveTo>
                    <a:cubicBezTo>
                      <a:pt x="7522" y="1521"/>
                      <a:pt x="7522" y="1521"/>
                      <a:pt x="7522" y="1521"/>
                    </a:cubicBezTo>
                    <a:cubicBezTo>
                      <a:pt x="7441" y="1679"/>
                      <a:pt x="7441" y="1679"/>
                      <a:pt x="7441" y="1679"/>
                    </a:cubicBezTo>
                    <a:cubicBezTo>
                      <a:pt x="7554" y="1737"/>
                      <a:pt x="7554" y="1737"/>
                      <a:pt x="7554" y="1737"/>
                    </a:cubicBezTo>
                    <a:lnTo>
                      <a:pt x="7636" y="1576"/>
                    </a:lnTo>
                    <a:close/>
                    <a:moveTo>
                      <a:pt x="7511" y="1515"/>
                    </a:moveTo>
                    <a:cubicBezTo>
                      <a:pt x="7303" y="1413"/>
                      <a:pt x="7303" y="1413"/>
                      <a:pt x="7303" y="1413"/>
                    </a:cubicBezTo>
                    <a:cubicBezTo>
                      <a:pt x="7249" y="1581"/>
                      <a:pt x="7249" y="1581"/>
                      <a:pt x="7249" y="1581"/>
                    </a:cubicBezTo>
                    <a:cubicBezTo>
                      <a:pt x="7430" y="1673"/>
                      <a:pt x="7430" y="1673"/>
                      <a:pt x="7430" y="1673"/>
                    </a:cubicBezTo>
                    <a:lnTo>
                      <a:pt x="7511" y="1515"/>
                    </a:lnTo>
                    <a:close/>
                    <a:moveTo>
                      <a:pt x="7245" y="1594"/>
                    </a:moveTo>
                    <a:cubicBezTo>
                      <a:pt x="7190" y="1767"/>
                      <a:pt x="7190" y="1767"/>
                      <a:pt x="7190" y="1767"/>
                    </a:cubicBezTo>
                    <a:cubicBezTo>
                      <a:pt x="7198" y="1771"/>
                      <a:pt x="7207" y="1775"/>
                      <a:pt x="7217" y="1780"/>
                    </a:cubicBezTo>
                    <a:cubicBezTo>
                      <a:pt x="7253" y="1796"/>
                      <a:pt x="7299" y="1819"/>
                      <a:pt x="7344" y="1841"/>
                    </a:cubicBezTo>
                    <a:cubicBezTo>
                      <a:pt x="7423" y="1686"/>
                      <a:pt x="7423" y="1686"/>
                      <a:pt x="7423" y="1686"/>
                    </a:cubicBezTo>
                    <a:lnTo>
                      <a:pt x="7245" y="1594"/>
                    </a:lnTo>
                    <a:close/>
                    <a:moveTo>
                      <a:pt x="7240" y="1393"/>
                    </a:moveTo>
                    <a:cubicBezTo>
                      <a:pt x="7197" y="1385"/>
                      <a:pt x="7119" y="1370"/>
                      <a:pt x="7039" y="1355"/>
                    </a:cubicBezTo>
                    <a:cubicBezTo>
                      <a:pt x="7024" y="1352"/>
                      <a:pt x="7009" y="1349"/>
                      <a:pt x="6993" y="1346"/>
                    </a:cubicBezTo>
                    <a:cubicBezTo>
                      <a:pt x="6936" y="1515"/>
                      <a:pt x="6936" y="1515"/>
                      <a:pt x="6936" y="1515"/>
                    </a:cubicBezTo>
                    <a:cubicBezTo>
                      <a:pt x="7030" y="1532"/>
                      <a:pt x="7131" y="1552"/>
                      <a:pt x="7186" y="1562"/>
                    </a:cubicBezTo>
                    <a:lnTo>
                      <a:pt x="7240" y="1393"/>
                    </a:lnTo>
                    <a:close/>
                    <a:moveTo>
                      <a:pt x="6932" y="1528"/>
                    </a:moveTo>
                    <a:cubicBezTo>
                      <a:pt x="6873" y="1701"/>
                      <a:pt x="6873" y="1701"/>
                      <a:pt x="6873" y="1701"/>
                    </a:cubicBezTo>
                    <a:cubicBezTo>
                      <a:pt x="6882" y="1703"/>
                      <a:pt x="6891" y="1704"/>
                      <a:pt x="6900" y="1706"/>
                    </a:cubicBezTo>
                    <a:cubicBezTo>
                      <a:pt x="6990" y="1724"/>
                      <a:pt x="7084" y="1742"/>
                      <a:pt x="7126" y="1749"/>
                    </a:cubicBezTo>
                    <a:cubicBezTo>
                      <a:pt x="7182" y="1576"/>
                      <a:pt x="7182" y="1576"/>
                      <a:pt x="7182" y="1576"/>
                    </a:cubicBezTo>
                    <a:cubicBezTo>
                      <a:pt x="7135" y="1567"/>
                      <a:pt x="7056" y="1552"/>
                      <a:pt x="6977" y="1537"/>
                    </a:cubicBezTo>
                    <a:cubicBezTo>
                      <a:pt x="6962" y="1534"/>
                      <a:pt x="6947" y="1531"/>
                      <a:pt x="6932" y="1528"/>
                    </a:cubicBezTo>
                    <a:close/>
                    <a:moveTo>
                      <a:pt x="6869" y="1714"/>
                    </a:moveTo>
                    <a:cubicBezTo>
                      <a:pt x="6820" y="1858"/>
                      <a:pt x="6820" y="1858"/>
                      <a:pt x="6820" y="1858"/>
                    </a:cubicBezTo>
                    <a:cubicBezTo>
                      <a:pt x="7073" y="1917"/>
                      <a:pt x="7073" y="1917"/>
                      <a:pt x="7073" y="1917"/>
                    </a:cubicBezTo>
                    <a:cubicBezTo>
                      <a:pt x="7122" y="1762"/>
                      <a:pt x="7122" y="1762"/>
                      <a:pt x="7122" y="1762"/>
                    </a:cubicBezTo>
                    <a:cubicBezTo>
                      <a:pt x="7073" y="1754"/>
                      <a:pt x="6966" y="1734"/>
                      <a:pt x="6869" y="1714"/>
                    </a:cubicBezTo>
                    <a:close/>
                    <a:moveTo>
                      <a:pt x="6815" y="1871"/>
                    </a:moveTo>
                    <a:cubicBezTo>
                      <a:pt x="6760" y="2035"/>
                      <a:pt x="6760" y="2035"/>
                      <a:pt x="6760" y="2035"/>
                    </a:cubicBezTo>
                    <a:cubicBezTo>
                      <a:pt x="7016" y="2095"/>
                      <a:pt x="7016" y="2095"/>
                      <a:pt x="7016" y="2095"/>
                    </a:cubicBezTo>
                    <a:cubicBezTo>
                      <a:pt x="7069" y="1930"/>
                      <a:pt x="7069" y="1930"/>
                      <a:pt x="7069" y="1930"/>
                    </a:cubicBezTo>
                    <a:lnTo>
                      <a:pt x="6815" y="1871"/>
                    </a:lnTo>
                    <a:close/>
                    <a:moveTo>
                      <a:pt x="6756" y="2048"/>
                    </a:moveTo>
                    <a:cubicBezTo>
                      <a:pt x="6699" y="2215"/>
                      <a:pt x="6699" y="2215"/>
                      <a:pt x="6699" y="2215"/>
                    </a:cubicBezTo>
                    <a:cubicBezTo>
                      <a:pt x="6957" y="2278"/>
                      <a:pt x="6957" y="2278"/>
                      <a:pt x="6957" y="2278"/>
                    </a:cubicBezTo>
                    <a:cubicBezTo>
                      <a:pt x="7011" y="2109"/>
                      <a:pt x="7011" y="2109"/>
                      <a:pt x="7011" y="2109"/>
                    </a:cubicBezTo>
                    <a:lnTo>
                      <a:pt x="6756" y="2048"/>
                    </a:lnTo>
                    <a:close/>
                    <a:moveTo>
                      <a:pt x="6694" y="2228"/>
                    </a:moveTo>
                    <a:cubicBezTo>
                      <a:pt x="6633" y="2408"/>
                      <a:pt x="6633" y="2408"/>
                      <a:pt x="6633" y="2408"/>
                    </a:cubicBezTo>
                    <a:cubicBezTo>
                      <a:pt x="6897" y="2466"/>
                      <a:pt x="6897" y="2466"/>
                      <a:pt x="6897" y="2466"/>
                    </a:cubicBezTo>
                    <a:cubicBezTo>
                      <a:pt x="6953" y="2291"/>
                      <a:pt x="6953" y="2291"/>
                      <a:pt x="6953" y="2291"/>
                    </a:cubicBezTo>
                    <a:lnTo>
                      <a:pt x="6694" y="2228"/>
                    </a:lnTo>
                    <a:close/>
                    <a:moveTo>
                      <a:pt x="6629" y="2422"/>
                    </a:moveTo>
                    <a:cubicBezTo>
                      <a:pt x="6561" y="2624"/>
                      <a:pt x="6561" y="2624"/>
                      <a:pt x="6561" y="2624"/>
                    </a:cubicBezTo>
                    <a:cubicBezTo>
                      <a:pt x="6826" y="2687"/>
                      <a:pt x="6826" y="2687"/>
                      <a:pt x="6826" y="2687"/>
                    </a:cubicBezTo>
                    <a:cubicBezTo>
                      <a:pt x="6893" y="2480"/>
                      <a:pt x="6893" y="2480"/>
                      <a:pt x="6893" y="2480"/>
                    </a:cubicBezTo>
                    <a:lnTo>
                      <a:pt x="6629" y="2422"/>
                    </a:lnTo>
                    <a:close/>
                    <a:moveTo>
                      <a:pt x="6556" y="2637"/>
                    </a:moveTo>
                    <a:cubicBezTo>
                      <a:pt x="6480" y="2860"/>
                      <a:pt x="6480" y="2860"/>
                      <a:pt x="6480" y="2860"/>
                    </a:cubicBezTo>
                    <a:cubicBezTo>
                      <a:pt x="6780" y="2901"/>
                      <a:pt x="6780" y="2901"/>
                      <a:pt x="6780" y="2901"/>
                    </a:cubicBezTo>
                    <a:cubicBezTo>
                      <a:pt x="6791" y="2797"/>
                      <a:pt x="6791" y="2797"/>
                      <a:pt x="6791" y="2797"/>
                    </a:cubicBezTo>
                    <a:cubicBezTo>
                      <a:pt x="6822" y="2701"/>
                      <a:pt x="6822" y="2701"/>
                      <a:pt x="6822" y="2701"/>
                    </a:cubicBezTo>
                    <a:lnTo>
                      <a:pt x="6556" y="2637"/>
                    </a:lnTo>
                    <a:close/>
                    <a:moveTo>
                      <a:pt x="6763" y="3682"/>
                    </a:moveTo>
                    <a:cubicBezTo>
                      <a:pt x="6799" y="3688"/>
                      <a:pt x="6868" y="3702"/>
                      <a:pt x="6960" y="3727"/>
                    </a:cubicBezTo>
                    <a:cubicBezTo>
                      <a:pt x="7060" y="3190"/>
                      <a:pt x="7060" y="3190"/>
                      <a:pt x="7060" y="3190"/>
                    </a:cubicBezTo>
                    <a:cubicBezTo>
                      <a:pt x="7065" y="3191"/>
                      <a:pt x="7065" y="3191"/>
                      <a:pt x="7065" y="3191"/>
                    </a:cubicBezTo>
                    <a:cubicBezTo>
                      <a:pt x="6960" y="3144"/>
                      <a:pt x="6870" y="3103"/>
                      <a:pt x="6827" y="3083"/>
                    </a:cubicBezTo>
                    <a:lnTo>
                      <a:pt x="6763" y="3682"/>
                    </a:lnTo>
                    <a:close/>
                    <a:moveTo>
                      <a:pt x="6974" y="3731"/>
                    </a:moveTo>
                    <a:cubicBezTo>
                      <a:pt x="7053" y="3753"/>
                      <a:pt x="7148" y="3783"/>
                      <a:pt x="7255" y="3824"/>
                    </a:cubicBezTo>
                    <a:cubicBezTo>
                      <a:pt x="7336" y="3312"/>
                      <a:pt x="7336" y="3312"/>
                      <a:pt x="7336" y="3312"/>
                    </a:cubicBezTo>
                    <a:cubicBezTo>
                      <a:pt x="7250" y="3274"/>
                      <a:pt x="7158" y="3232"/>
                      <a:pt x="7074" y="3194"/>
                    </a:cubicBezTo>
                    <a:lnTo>
                      <a:pt x="6974" y="3731"/>
                    </a:lnTo>
                    <a:close/>
                    <a:moveTo>
                      <a:pt x="7268" y="3829"/>
                    </a:moveTo>
                    <a:cubicBezTo>
                      <a:pt x="7335" y="3856"/>
                      <a:pt x="7405" y="3886"/>
                      <a:pt x="7478" y="3921"/>
                    </a:cubicBezTo>
                    <a:cubicBezTo>
                      <a:pt x="7479" y="3921"/>
                      <a:pt x="7480" y="3922"/>
                      <a:pt x="7482" y="3923"/>
                    </a:cubicBezTo>
                    <a:cubicBezTo>
                      <a:pt x="7500" y="3857"/>
                      <a:pt x="7556" y="3657"/>
                      <a:pt x="7619" y="3434"/>
                    </a:cubicBezTo>
                    <a:cubicBezTo>
                      <a:pt x="7613" y="3432"/>
                      <a:pt x="7605" y="3429"/>
                      <a:pt x="7596" y="3425"/>
                    </a:cubicBezTo>
                    <a:cubicBezTo>
                      <a:pt x="7545" y="3404"/>
                      <a:pt x="7453" y="3363"/>
                      <a:pt x="7349" y="3318"/>
                    </a:cubicBezTo>
                    <a:lnTo>
                      <a:pt x="7268" y="3829"/>
                    </a:lnTo>
                    <a:close/>
                    <a:moveTo>
                      <a:pt x="7623" y="3421"/>
                    </a:moveTo>
                    <a:cubicBezTo>
                      <a:pt x="7634" y="3382"/>
                      <a:pt x="7645" y="3343"/>
                      <a:pt x="7656" y="3304"/>
                    </a:cubicBezTo>
                    <a:cubicBezTo>
                      <a:pt x="7666" y="3269"/>
                      <a:pt x="7676" y="3234"/>
                      <a:pt x="7686" y="3199"/>
                    </a:cubicBezTo>
                    <a:cubicBezTo>
                      <a:pt x="6934" y="2759"/>
                      <a:pt x="6934" y="2759"/>
                      <a:pt x="6934" y="2759"/>
                    </a:cubicBezTo>
                    <a:cubicBezTo>
                      <a:pt x="6855" y="2814"/>
                      <a:pt x="6855" y="2814"/>
                      <a:pt x="6855" y="2814"/>
                    </a:cubicBezTo>
                    <a:cubicBezTo>
                      <a:pt x="6828" y="3069"/>
                      <a:pt x="6828" y="3069"/>
                      <a:pt x="6828" y="3069"/>
                    </a:cubicBezTo>
                    <a:cubicBezTo>
                      <a:pt x="6887" y="3095"/>
                      <a:pt x="7051" y="3169"/>
                      <a:pt x="7217" y="3243"/>
                    </a:cubicBezTo>
                    <a:cubicBezTo>
                      <a:pt x="7320" y="3289"/>
                      <a:pt x="7424" y="3336"/>
                      <a:pt x="7504" y="3370"/>
                    </a:cubicBezTo>
                    <a:cubicBezTo>
                      <a:pt x="7543" y="3388"/>
                      <a:pt x="7577" y="3402"/>
                      <a:pt x="7601" y="3412"/>
                    </a:cubicBezTo>
                    <a:cubicBezTo>
                      <a:pt x="7610" y="3416"/>
                      <a:pt x="7617" y="3419"/>
                      <a:pt x="7623" y="3421"/>
                    </a:cubicBezTo>
                    <a:close/>
                    <a:moveTo>
                      <a:pt x="7690" y="3185"/>
                    </a:moveTo>
                    <a:cubicBezTo>
                      <a:pt x="7715" y="3098"/>
                      <a:pt x="7739" y="3014"/>
                      <a:pt x="7761" y="2939"/>
                    </a:cubicBezTo>
                    <a:cubicBezTo>
                      <a:pt x="7757" y="2937"/>
                      <a:pt x="7753" y="2934"/>
                      <a:pt x="7747" y="2930"/>
                    </a:cubicBezTo>
                    <a:cubicBezTo>
                      <a:pt x="7645" y="2863"/>
                      <a:pt x="7295" y="2628"/>
                      <a:pt x="7209" y="2569"/>
                    </a:cubicBezTo>
                    <a:cubicBezTo>
                      <a:pt x="6947" y="2750"/>
                      <a:pt x="6947" y="2750"/>
                      <a:pt x="6947" y="2750"/>
                    </a:cubicBezTo>
                    <a:lnTo>
                      <a:pt x="7690" y="3185"/>
                    </a:lnTo>
                    <a:close/>
                    <a:moveTo>
                      <a:pt x="7765" y="2925"/>
                    </a:moveTo>
                    <a:cubicBezTo>
                      <a:pt x="7772" y="2904"/>
                      <a:pt x="7778" y="2883"/>
                      <a:pt x="7784" y="2863"/>
                    </a:cubicBezTo>
                    <a:cubicBezTo>
                      <a:pt x="7801" y="2803"/>
                      <a:pt x="7817" y="2753"/>
                      <a:pt x="7828" y="2717"/>
                    </a:cubicBezTo>
                    <a:cubicBezTo>
                      <a:pt x="7833" y="2700"/>
                      <a:pt x="7838" y="2686"/>
                      <a:pt x="7842" y="2676"/>
                    </a:cubicBezTo>
                    <a:cubicBezTo>
                      <a:pt x="7844" y="2671"/>
                      <a:pt x="7845" y="2667"/>
                      <a:pt x="7847" y="2664"/>
                    </a:cubicBezTo>
                    <a:cubicBezTo>
                      <a:pt x="7847" y="2662"/>
                      <a:pt x="7848" y="2660"/>
                      <a:pt x="7850" y="2658"/>
                    </a:cubicBezTo>
                    <a:cubicBezTo>
                      <a:pt x="7850" y="2657"/>
                      <a:pt x="7851" y="2656"/>
                      <a:pt x="7853" y="2654"/>
                    </a:cubicBezTo>
                    <a:cubicBezTo>
                      <a:pt x="7854" y="2653"/>
                      <a:pt x="7855" y="2652"/>
                      <a:pt x="7856" y="2651"/>
                    </a:cubicBezTo>
                    <a:cubicBezTo>
                      <a:pt x="7856" y="2651"/>
                      <a:pt x="7856" y="2651"/>
                      <a:pt x="7856" y="2651"/>
                    </a:cubicBezTo>
                    <a:cubicBezTo>
                      <a:pt x="7856" y="2650"/>
                      <a:pt x="7858" y="2648"/>
                      <a:pt x="7859" y="2647"/>
                    </a:cubicBezTo>
                    <a:cubicBezTo>
                      <a:pt x="7364" y="2325"/>
                      <a:pt x="7364" y="2325"/>
                      <a:pt x="7364" y="2325"/>
                    </a:cubicBezTo>
                    <a:cubicBezTo>
                      <a:pt x="7257" y="2536"/>
                      <a:pt x="7257" y="2536"/>
                      <a:pt x="7257" y="2536"/>
                    </a:cubicBezTo>
                    <a:cubicBezTo>
                      <a:pt x="7221" y="2561"/>
                      <a:pt x="7221" y="2561"/>
                      <a:pt x="7221" y="2561"/>
                    </a:cubicBezTo>
                    <a:cubicBezTo>
                      <a:pt x="7268" y="2592"/>
                      <a:pt x="7377" y="2666"/>
                      <a:pt x="7486" y="2739"/>
                    </a:cubicBezTo>
                    <a:cubicBezTo>
                      <a:pt x="7559" y="2788"/>
                      <a:pt x="7632" y="2837"/>
                      <a:pt x="7687" y="2873"/>
                    </a:cubicBezTo>
                    <a:cubicBezTo>
                      <a:pt x="7715" y="2892"/>
                      <a:pt x="7738" y="2907"/>
                      <a:pt x="7755" y="2918"/>
                    </a:cubicBezTo>
                    <a:cubicBezTo>
                      <a:pt x="7759" y="2921"/>
                      <a:pt x="7762" y="2923"/>
                      <a:pt x="7765" y="2925"/>
                    </a:cubicBezTo>
                    <a:close/>
                    <a:moveTo>
                      <a:pt x="7867" y="2635"/>
                    </a:moveTo>
                    <a:cubicBezTo>
                      <a:pt x="7892" y="2601"/>
                      <a:pt x="7945" y="2521"/>
                      <a:pt x="8013" y="2418"/>
                    </a:cubicBezTo>
                    <a:cubicBezTo>
                      <a:pt x="8017" y="2411"/>
                      <a:pt x="8022" y="2404"/>
                      <a:pt x="8026" y="2397"/>
                    </a:cubicBezTo>
                    <a:cubicBezTo>
                      <a:pt x="7505" y="2047"/>
                      <a:pt x="7505" y="2047"/>
                      <a:pt x="7505" y="2047"/>
                    </a:cubicBezTo>
                    <a:cubicBezTo>
                      <a:pt x="7370" y="2313"/>
                      <a:pt x="7370" y="2313"/>
                      <a:pt x="7370" y="2313"/>
                    </a:cubicBezTo>
                    <a:lnTo>
                      <a:pt x="7867" y="2635"/>
                    </a:lnTo>
                    <a:close/>
                    <a:moveTo>
                      <a:pt x="8034" y="2386"/>
                    </a:moveTo>
                    <a:cubicBezTo>
                      <a:pt x="8077" y="2319"/>
                      <a:pt x="8125" y="2246"/>
                      <a:pt x="8176" y="2168"/>
                    </a:cubicBezTo>
                    <a:cubicBezTo>
                      <a:pt x="7625" y="1811"/>
                      <a:pt x="7625" y="1811"/>
                      <a:pt x="7625" y="1811"/>
                    </a:cubicBezTo>
                    <a:cubicBezTo>
                      <a:pt x="7512" y="2034"/>
                      <a:pt x="7512" y="2034"/>
                      <a:pt x="7512" y="2034"/>
                    </a:cubicBezTo>
                    <a:lnTo>
                      <a:pt x="8034" y="2386"/>
                    </a:lnTo>
                    <a:close/>
                    <a:moveTo>
                      <a:pt x="7664" y="1590"/>
                    </a:moveTo>
                    <a:cubicBezTo>
                      <a:pt x="7648" y="1582"/>
                      <a:pt x="7648" y="1582"/>
                      <a:pt x="7648" y="1582"/>
                    </a:cubicBezTo>
                    <a:cubicBezTo>
                      <a:pt x="7565" y="1743"/>
                      <a:pt x="7565" y="1743"/>
                      <a:pt x="7565" y="1743"/>
                    </a:cubicBezTo>
                    <a:cubicBezTo>
                      <a:pt x="7582" y="1751"/>
                      <a:pt x="7582" y="1751"/>
                      <a:pt x="7582" y="1751"/>
                    </a:cubicBezTo>
                    <a:lnTo>
                      <a:pt x="7664" y="1590"/>
                    </a:lnTo>
                    <a:close/>
                    <a:moveTo>
                      <a:pt x="7670" y="1577"/>
                    </a:moveTo>
                    <a:cubicBezTo>
                      <a:pt x="7749" y="1421"/>
                      <a:pt x="7749" y="1421"/>
                      <a:pt x="7749" y="1421"/>
                    </a:cubicBezTo>
                    <a:cubicBezTo>
                      <a:pt x="7733" y="1414"/>
                      <a:pt x="7733" y="1414"/>
                      <a:pt x="7733" y="1414"/>
                    </a:cubicBezTo>
                    <a:cubicBezTo>
                      <a:pt x="7654" y="1569"/>
                      <a:pt x="7654" y="1569"/>
                      <a:pt x="7654" y="1569"/>
                    </a:cubicBezTo>
                    <a:lnTo>
                      <a:pt x="7670" y="1577"/>
                    </a:lnTo>
                    <a:close/>
                    <a:moveTo>
                      <a:pt x="7756" y="1409"/>
                    </a:moveTo>
                    <a:cubicBezTo>
                      <a:pt x="7836" y="1251"/>
                      <a:pt x="7836" y="1251"/>
                      <a:pt x="7836" y="1251"/>
                    </a:cubicBezTo>
                    <a:cubicBezTo>
                      <a:pt x="7820" y="1244"/>
                      <a:pt x="7820" y="1244"/>
                      <a:pt x="7820" y="1244"/>
                    </a:cubicBezTo>
                    <a:cubicBezTo>
                      <a:pt x="7740" y="1401"/>
                      <a:pt x="7740" y="1401"/>
                      <a:pt x="7740" y="1401"/>
                    </a:cubicBezTo>
                    <a:lnTo>
                      <a:pt x="7756" y="1409"/>
                    </a:lnTo>
                    <a:close/>
                    <a:moveTo>
                      <a:pt x="7842" y="1239"/>
                    </a:moveTo>
                    <a:cubicBezTo>
                      <a:pt x="7911" y="1102"/>
                      <a:pt x="7911" y="1102"/>
                      <a:pt x="7911" y="1102"/>
                    </a:cubicBezTo>
                    <a:cubicBezTo>
                      <a:pt x="7896" y="1094"/>
                      <a:pt x="7896" y="1094"/>
                      <a:pt x="7896" y="1094"/>
                    </a:cubicBezTo>
                    <a:cubicBezTo>
                      <a:pt x="7826" y="1231"/>
                      <a:pt x="7826" y="1231"/>
                      <a:pt x="7826" y="1231"/>
                    </a:cubicBezTo>
                    <a:lnTo>
                      <a:pt x="7842" y="1239"/>
                    </a:lnTo>
                    <a:close/>
                    <a:moveTo>
                      <a:pt x="7953" y="954"/>
                    </a:moveTo>
                    <a:cubicBezTo>
                      <a:pt x="7841" y="895"/>
                      <a:pt x="7841" y="895"/>
                      <a:pt x="7841" y="895"/>
                    </a:cubicBezTo>
                    <a:cubicBezTo>
                      <a:pt x="7777" y="1020"/>
                      <a:pt x="7777" y="1020"/>
                      <a:pt x="7777" y="1020"/>
                    </a:cubicBezTo>
                    <a:cubicBezTo>
                      <a:pt x="7890" y="1076"/>
                      <a:pt x="7890" y="1076"/>
                      <a:pt x="7890" y="1076"/>
                    </a:cubicBezTo>
                    <a:lnTo>
                      <a:pt x="7953" y="954"/>
                    </a:lnTo>
                    <a:close/>
                    <a:moveTo>
                      <a:pt x="7771" y="1033"/>
                    </a:moveTo>
                    <a:cubicBezTo>
                      <a:pt x="7700" y="1172"/>
                      <a:pt x="7700" y="1172"/>
                      <a:pt x="7700" y="1172"/>
                    </a:cubicBezTo>
                    <a:cubicBezTo>
                      <a:pt x="7814" y="1226"/>
                      <a:pt x="7814" y="1226"/>
                      <a:pt x="7814" y="1226"/>
                    </a:cubicBezTo>
                    <a:cubicBezTo>
                      <a:pt x="7884" y="1089"/>
                      <a:pt x="7884" y="1089"/>
                      <a:pt x="7884" y="1089"/>
                    </a:cubicBezTo>
                    <a:lnTo>
                      <a:pt x="7771" y="1033"/>
                    </a:lnTo>
                    <a:close/>
                    <a:moveTo>
                      <a:pt x="7693" y="1185"/>
                    </a:moveTo>
                    <a:cubicBezTo>
                      <a:pt x="7615" y="1339"/>
                      <a:pt x="7615" y="1339"/>
                      <a:pt x="7615" y="1339"/>
                    </a:cubicBezTo>
                    <a:cubicBezTo>
                      <a:pt x="7728" y="1395"/>
                      <a:pt x="7728" y="1395"/>
                      <a:pt x="7728" y="1395"/>
                    </a:cubicBezTo>
                    <a:cubicBezTo>
                      <a:pt x="7808" y="1238"/>
                      <a:pt x="7808" y="1238"/>
                      <a:pt x="7808" y="1238"/>
                    </a:cubicBezTo>
                    <a:lnTo>
                      <a:pt x="7693" y="1185"/>
                    </a:lnTo>
                    <a:close/>
                    <a:moveTo>
                      <a:pt x="7608" y="1352"/>
                    </a:moveTo>
                    <a:cubicBezTo>
                      <a:pt x="7529" y="1508"/>
                      <a:pt x="7529" y="1508"/>
                      <a:pt x="7529" y="1508"/>
                    </a:cubicBezTo>
                    <a:cubicBezTo>
                      <a:pt x="7642" y="1564"/>
                      <a:pt x="7642" y="1564"/>
                      <a:pt x="7642" y="1564"/>
                    </a:cubicBezTo>
                    <a:cubicBezTo>
                      <a:pt x="7721" y="1408"/>
                      <a:pt x="7721" y="1408"/>
                      <a:pt x="7721" y="1408"/>
                    </a:cubicBezTo>
                    <a:lnTo>
                      <a:pt x="7608" y="1352"/>
                    </a:lnTo>
                    <a:close/>
                    <a:moveTo>
                      <a:pt x="7597" y="1346"/>
                    </a:moveTo>
                    <a:cubicBezTo>
                      <a:pt x="7361" y="1230"/>
                      <a:pt x="7361" y="1230"/>
                      <a:pt x="7361" y="1230"/>
                    </a:cubicBezTo>
                    <a:cubicBezTo>
                      <a:pt x="7307" y="1400"/>
                      <a:pt x="7307" y="1400"/>
                      <a:pt x="7307" y="1400"/>
                    </a:cubicBezTo>
                    <a:cubicBezTo>
                      <a:pt x="7517" y="1502"/>
                      <a:pt x="7517" y="1502"/>
                      <a:pt x="7517" y="1502"/>
                    </a:cubicBezTo>
                    <a:lnTo>
                      <a:pt x="7597" y="1346"/>
                    </a:lnTo>
                    <a:close/>
                    <a:moveTo>
                      <a:pt x="7355" y="1035"/>
                    </a:moveTo>
                    <a:cubicBezTo>
                      <a:pt x="7314" y="1026"/>
                      <a:pt x="7240" y="1010"/>
                      <a:pt x="7164" y="995"/>
                    </a:cubicBezTo>
                    <a:cubicBezTo>
                      <a:pt x="7148" y="991"/>
                      <a:pt x="7132" y="988"/>
                      <a:pt x="7116" y="985"/>
                    </a:cubicBezTo>
                    <a:cubicBezTo>
                      <a:pt x="7060" y="1149"/>
                      <a:pt x="7060" y="1149"/>
                      <a:pt x="7060" y="1149"/>
                    </a:cubicBezTo>
                    <a:cubicBezTo>
                      <a:pt x="7303" y="1197"/>
                      <a:pt x="7303" y="1197"/>
                      <a:pt x="7303" y="1197"/>
                    </a:cubicBezTo>
                    <a:lnTo>
                      <a:pt x="7355" y="1035"/>
                    </a:lnTo>
                    <a:close/>
                    <a:moveTo>
                      <a:pt x="7056" y="1163"/>
                    </a:moveTo>
                    <a:cubicBezTo>
                      <a:pt x="6998" y="1333"/>
                      <a:pt x="6998" y="1333"/>
                      <a:pt x="6998" y="1333"/>
                    </a:cubicBezTo>
                    <a:cubicBezTo>
                      <a:pt x="7092" y="1351"/>
                      <a:pt x="7194" y="1370"/>
                      <a:pt x="7245" y="1380"/>
                    </a:cubicBezTo>
                    <a:cubicBezTo>
                      <a:pt x="7299" y="1210"/>
                      <a:pt x="7299" y="1210"/>
                      <a:pt x="7299" y="1210"/>
                    </a:cubicBezTo>
                    <a:lnTo>
                      <a:pt x="7056" y="1163"/>
                    </a:lnTo>
                    <a:close/>
                    <a:moveTo>
                      <a:pt x="7043" y="1160"/>
                    </a:moveTo>
                    <a:cubicBezTo>
                      <a:pt x="6912" y="1134"/>
                      <a:pt x="6912" y="1134"/>
                      <a:pt x="6912" y="1134"/>
                    </a:cubicBezTo>
                    <a:cubicBezTo>
                      <a:pt x="6853" y="1306"/>
                      <a:pt x="6853" y="1306"/>
                      <a:pt x="6853" y="1306"/>
                    </a:cubicBezTo>
                    <a:cubicBezTo>
                      <a:pt x="6888" y="1313"/>
                      <a:pt x="6935" y="1321"/>
                      <a:pt x="6985" y="1331"/>
                    </a:cubicBezTo>
                    <a:lnTo>
                      <a:pt x="7043" y="1160"/>
                    </a:lnTo>
                    <a:close/>
                    <a:moveTo>
                      <a:pt x="6849" y="1320"/>
                    </a:moveTo>
                    <a:cubicBezTo>
                      <a:pt x="6792" y="1487"/>
                      <a:pt x="6792" y="1487"/>
                      <a:pt x="6792" y="1487"/>
                    </a:cubicBezTo>
                    <a:cubicBezTo>
                      <a:pt x="6827" y="1494"/>
                      <a:pt x="6874" y="1503"/>
                      <a:pt x="6923" y="1512"/>
                    </a:cubicBezTo>
                    <a:cubicBezTo>
                      <a:pt x="6980" y="1344"/>
                      <a:pt x="6980" y="1344"/>
                      <a:pt x="6980" y="1344"/>
                    </a:cubicBezTo>
                    <a:cubicBezTo>
                      <a:pt x="6930" y="1335"/>
                      <a:pt x="6883" y="1326"/>
                      <a:pt x="6849" y="1320"/>
                    </a:cubicBezTo>
                    <a:close/>
                    <a:moveTo>
                      <a:pt x="6787" y="1500"/>
                    </a:moveTo>
                    <a:cubicBezTo>
                      <a:pt x="6728" y="1672"/>
                      <a:pt x="6728" y="1672"/>
                      <a:pt x="6728" y="1672"/>
                    </a:cubicBezTo>
                    <a:cubicBezTo>
                      <a:pt x="6763" y="1679"/>
                      <a:pt x="6810" y="1689"/>
                      <a:pt x="6860" y="1698"/>
                    </a:cubicBezTo>
                    <a:cubicBezTo>
                      <a:pt x="6919" y="1525"/>
                      <a:pt x="6919" y="1525"/>
                      <a:pt x="6919" y="1525"/>
                    </a:cubicBezTo>
                    <a:cubicBezTo>
                      <a:pt x="6869" y="1516"/>
                      <a:pt x="6822" y="1507"/>
                      <a:pt x="6787" y="1500"/>
                    </a:cubicBezTo>
                    <a:close/>
                    <a:moveTo>
                      <a:pt x="6724" y="1685"/>
                    </a:moveTo>
                    <a:cubicBezTo>
                      <a:pt x="6676" y="1825"/>
                      <a:pt x="6676" y="1825"/>
                      <a:pt x="6676" y="1825"/>
                    </a:cubicBezTo>
                    <a:cubicBezTo>
                      <a:pt x="6807" y="1855"/>
                      <a:pt x="6807" y="1855"/>
                      <a:pt x="6807" y="1855"/>
                    </a:cubicBezTo>
                    <a:cubicBezTo>
                      <a:pt x="6856" y="1712"/>
                      <a:pt x="6856" y="1712"/>
                      <a:pt x="6856" y="1712"/>
                    </a:cubicBezTo>
                    <a:cubicBezTo>
                      <a:pt x="6806" y="1702"/>
                      <a:pt x="6759" y="1692"/>
                      <a:pt x="6724" y="1685"/>
                    </a:cubicBezTo>
                    <a:close/>
                    <a:moveTo>
                      <a:pt x="6672" y="1838"/>
                    </a:moveTo>
                    <a:cubicBezTo>
                      <a:pt x="6616" y="2001"/>
                      <a:pt x="6616" y="2001"/>
                      <a:pt x="6616" y="2001"/>
                    </a:cubicBezTo>
                    <a:cubicBezTo>
                      <a:pt x="6747" y="2032"/>
                      <a:pt x="6747" y="2032"/>
                      <a:pt x="6747" y="2032"/>
                    </a:cubicBezTo>
                    <a:cubicBezTo>
                      <a:pt x="6803" y="1868"/>
                      <a:pt x="6803" y="1868"/>
                      <a:pt x="6803" y="1868"/>
                    </a:cubicBezTo>
                    <a:lnTo>
                      <a:pt x="6672" y="1838"/>
                    </a:lnTo>
                    <a:close/>
                    <a:moveTo>
                      <a:pt x="6612" y="2014"/>
                    </a:moveTo>
                    <a:cubicBezTo>
                      <a:pt x="6555" y="2180"/>
                      <a:pt x="6555" y="2180"/>
                      <a:pt x="6555" y="2180"/>
                    </a:cubicBezTo>
                    <a:cubicBezTo>
                      <a:pt x="6686" y="2212"/>
                      <a:pt x="6686" y="2212"/>
                      <a:pt x="6686" y="2212"/>
                    </a:cubicBezTo>
                    <a:cubicBezTo>
                      <a:pt x="6743" y="2045"/>
                      <a:pt x="6743" y="2045"/>
                      <a:pt x="6743" y="2045"/>
                    </a:cubicBezTo>
                    <a:lnTo>
                      <a:pt x="6612" y="2014"/>
                    </a:lnTo>
                    <a:close/>
                    <a:moveTo>
                      <a:pt x="6551" y="2193"/>
                    </a:moveTo>
                    <a:cubicBezTo>
                      <a:pt x="6488" y="2376"/>
                      <a:pt x="6488" y="2376"/>
                      <a:pt x="6488" y="2376"/>
                    </a:cubicBezTo>
                    <a:cubicBezTo>
                      <a:pt x="6621" y="2406"/>
                      <a:pt x="6621" y="2406"/>
                      <a:pt x="6621" y="2406"/>
                    </a:cubicBezTo>
                    <a:cubicBezTo>
                      <a:pt x="6682" y="2225"/>
                      <a:pt x="6682" y="2225"/>
                      <a:pt x="6682" y="2225"/>
                    </a:cubicBezTo>
                    <a:lnTo>
                      <a:pt x="6551" y="2193"/>
                    </a:lnTo>
                    <a:close/>
                    <a:moveTo>
                      <a:pt x="6484" y="2390"/>
                    </a:moveTo>
                    <a:cubicBezTo>
                      <a:pt x="6416" y="2589"/>
                      <a:pt x="6416" y="2589"/>
                      <a:pt x="6416" y="2589"/>
                    </a:cubicBezTo>
                    <a:cubicBezTo>
                      <a:pt x="6548" y="2620"/>
                      <a:pt x="6548" y="2620"/>
                      <a:pt x="6548" y="2620"/>
                    </a:cubicBezTo>
                    <a:cubicBezTo>
                      <a:pt x="6616" y="2419"/>
                      <a:pt x="6616" y="2419"/>
                      <a:pt x="6616" y="2419"/>
                    </a:cubicBezTo>
                    <a:lnTo>
                      <a:pt x="6484" y="2390"/>
                    </a:lnTo>
                    <a:close/>
                    <a:moveTo>
                      <a:pt x="6412" y="2602"/>
                    </a:moveTo>
                    <a:cubicBezTo>
                      <a:pt x="6331" y="2839"/>
                      <a:pt x="6331" y="2839"/>
                      <a:pt x="6331" y="2839"/>
                    </a:cubicBezTo>
                    <a:cubicBezTo>
                      <a:pt x="6467" y="2858"/>
                      <a:pt x="6467" y="2858"/>
                      <a:pt x="6467" y="2858"/>
                    </a:cubicBezTo>
                    <a:cubicBezTo>
                      <a:pt x="6543" y="2634"/>
                      <a:pt x="6543" y="2634"/>
                      <a:pt x="6543" y="2634"/>
                    </a:cubicBezTo>
                    <a:lnTo>
                      <a:pt x="6412" y="2602"/>
                    </a:lnTo>
                    <a:close/>
                    <a:moveTo>
                      <a:pt x="6429" y="3096"/>
                    </a:moveTo>
                    <a:cubicBezTo>
                      <a:pt x="6756" y="3123"/>
                      <a:pt x="6756" y="3123"/>
                      <a:pt x="6756" y="3123"/>
                    </a:cubicBezTo>
                    <a:cubicBezTo>
                      <a:pt x="6779" y="2915"/>
                      <a:pt x="6779" y="2915"/>
                      <a:pt x="6779" y="2915"/>
                    </a:cubicBezTo>
                    <a:cubicBezTo>
                      <a:pt x="6476" y="2873"/>
                      <a:pt x="6476" y="2873"/>
                      <a:pt x="6476" y="2873"/>
                    </a:cubicBezTo>
                    <a:cubicBezTo>
                      <a:pt x="6475" y="2875"/>
                      <a:pt x="6475" y="2875"/>
                      <a:pt x="6475" y="2875"/>
                    </a:cubicBezTo>
                    <a:lnTo>
                      <a:pt x="6429" y="3096"/>
                    </a:lnTo>
                    <a:close/>
                    <a:moveTo>
                      <a:pt x="6756" y="3747"/>
                    </a:moveTo>
                    <a:cubicBezTo>
                      <a:pt x="6729" y="3998"/>
                      <a:pt x="6729" y="3998"/>
                      <a:pt x="6729" y="3998"/>
                    </a:cubicBezTo>
                    <a:cubicBezTo>
                      <a:pt x="7066" y="4163"/>
                      <a:pt x="7066" y="4163"/>
                      <a:pt x="7066" y="4163"/>
                    </a:cubicBezTo>
                    <a:cubicBezTo>
                      <a:pt x="7316" y="4169"/>
                      <a:pt x="7316" y="4169"/>
                      <a:pt x="7316" y="4169"/>
                    </a:cubicBezTo>
                    <a:cubicBezTo>
                      <a:pt x="7329" y="4129"/>
                      <a:pt x="7342" y="4091"/>
                      <a:pt x="7354" y="4058"/>
                    </a:cubicBezTo>
                    <a:cubicBezTo>
                      <a:pt x="7367" y="4018"/>
                      <a:pt x="7379" y="3984"/>
                      <a:pt x="7387" y="3960"/>
                    </a:cubicBezTo>
                    <a:cubicBezTo>
                      <a:pt x="7388" y="3957"/>
                      <a:pt x="7388" y="3955"/>
                      <a:pt x="7389" y="3952"/>
                    </a:cubicBezTo>
                    <a:cubicBezTo>
                      <a:pt x="7212" y="3872"/>
                      <a:pt x="7053" y="3820"/>
                      <a:pt x="6935" y="3788"/>
                    </a:cubicBezTo>
                    <a:cubicBezTo>
                      <a:pt x="6870" y="3771"/>
                      <a:pt x="6817" y="3759"/>
                      <a:pt x="6781" y="3752"/>
                    </a:cubicBezTo>
                    <a:cubicBezTo>
                      <a:pt x="6771" y="3750"/>
                      <a:pt x="6763" y="3749"/>
                      <a:pt x="6756" y="3747"/>
                    </a:cubicBezTo>
                    <a:close/>
                    <a:moveTo>
                      <a:pt x="7447" y="6622"/>
                    </a:moveTo>
                    <a:cubicBezTo>
                      <a:pt x="7447" y="6618"/>
                      <a:pt x="7447" y="6614"/>
                      <a:pt x="7447" y="6611"/>
                    </a:cubicBezTo>
                    <a:cubicBezTo>
                      <a:pt x="7343" y="6615"/>
                      <a:pt x="7343" y="6615"/>
                      <a:pt x="7343" y="6615"/>
                    </a:cubicBezTo>
                    <a:cubicBezTo>
                      <a:pt x="7343" y="6615"/>
                      <a:pt x="7260" y="6618"/>
                      <a:pt x="7157" y="6625"/>
                    </a:cubicBezTo>
                    <a:cubicBezTo>
                      <a:pt x="7137" y="6627"/>
                      <a:pt x="7116" y="6628"/>
                      <a:pt x="7096" y="6630"/>
                    </a:cubicBezTo>
                    <a:cubicBezTo>
                      <a:pt x="7179" y="6993"/>
                      <a:pt x="7179" y="6993"/>
                      <a:pt x="7179" y="6993"/>
                    </a:cubicBezTo>
                    <a:cubicBezTo>
                      <a:pt x="7291" y="6989"/>
                      <a:pt x="7375" y="6986"/>
                      <a:pt x="7393" y="6985"/>
                    </a:cubicBezTo>
                    <a:cubicBezTo>
                      <a:pt x="7455" y="6890"/>
                      <a:pt x="7455" y="6890"/>
                      <a:pt x="7455" y="6890"/>
                    </a:cubicBezTo>
                    <a:cubicBezTo>
                      <a:pt x="7454" y="6868"/>
                      <a:pt x="7447" y="6694"/>
                      <a:pt x="7447" y="6622"/>
                    </a:cubicBezTo>
                    <a:close/>
                    <a:moveTo>
                      <a:pt x="7000" y="7640"/>
                    </a:moveTo>
                    <a:cubicBezTo>
                      <a:pt x="6905" y="7643"/>
                      <a:pt x="6905" y="7643"/>
                      <a:pt x="6905" y="7643"/>
                    </a:cubicBezTo>
                    <a:cubicBezTo>
                      <a:pt x="6905" y="7636"/>
                      <a:pt x="6905" y="7636"/>
                      <a:pt x="6905" y="7636"/>
                    </a:cubicBezTo>
                    <a:cubicBezTo>
                      <a:pt x="6903" y="7556"/>
                      <a:pt x="6903" y="7556"/>
                      <a:pt x="6903" y="7556"/>
                    </a:cubicBezTo>
                    <a:cubicBezTo>
                      <a:pt x="6949" y="7555"/>
                      <a:pt x="6949" y="7555"/>
                      <a:pt x="6949" y="7555"/>
                    </a:cubicBezTo>
                    <a:cubicBezTo>
                      <a:pt x="6948" y="7512"/>
                      <a:pt x="6948" y="7512"/>
                      <a:pt x="6948" y="7512"/>
                    </a:cubicBezTo>
                    <a:cubicBezTo>
                      <a:pt x="6995" y="7511"/>
                      <a:pt x="6995" y="7511"/>
                      <a:pt x="6995" y="7511"/>
                    </a:cubicBezTo>
                    <a:cubicBezTo>
                      <a:pt x="6993" y="7483"/>
                      <a:pt x="6993" y="7483"/>
                      <a:pt x="6993" y="7483"/>
                    </a:cubicBezTo>
                    <a:cubicBezTo>
                      <a:pt x="6928" y="7483"/>
                      <a:pt x="6859" y="7483"/>
                      <a:pt x="6788" y="7483"/>
                    </a:cubicBezTo>
                    <a:cubicBezTo>
                      <a:pt x="6789" y="7526"/>
                      <a:pt x="6789" y="7622"/>
                      <a:pt x="6789" y="7718"/>
                    </a:cubicBezTo>
                    <a:cubicBezTo>
                      <a:pt x="6790" y="7783"/>
                      <a:pt x="6791" y="7847"/>
                      <a:pt x="6792" y="7895"/>
                    </a:cubicBezTo>
                    <a:cubicBezTo>
                      <a:pt x="6792" y="7919"/>
                      <a:pt x="6793" y="7939"/>
                      <a:pt x="6794" y="7953"/>
                    </a:cubicBezTo>
                    <a:cubicBezTo>
                      <a:pt x="6794" y="7960"/>
                      <a:pt x="6795" y="7966"/>
                      <a:pt x="6795" y="7969"/>
                    </a:cubicBezTo>
                    <a:cubicBezTo>
                      <a:pt x="6795" y="7971"/>
                      <a:pt x="6796" y="7972"/>
                      <a:pt x="6796" y="7973"/>
                    </a:cubicBezTo>
                    <a:cubicBezTo>
                      <a:pt x="6796" y="7973"/>
                      <a:pt x="6796" y="7973"/>
                      <a:pt x="6796" y="7973"/>
                    </a:cubicBezTo>
                    <a:cubicBezTo>
                      <a:pt x="6794" y="7973"/>
                      <a:pt x="6794" y="7973"/>
                      <a:pt x="6794" y="7973"/>
                    </a:cubicBezTo>
                    <a:cubicBezTo>
                      <a:pt x="6795" y="7972"/>
                      <a:pt x="6795" y="7972"/>
                      <a:pt x="6795" y="7972"/>
                    </a:cubicBezTo>
                    <a:cubicBezTo>
                      <a:pt x="6790" y="7975"/>
                      <a:pt x="6790" y="7975"/>
                      <a:pt x="6790" y="7975"/>
                    </a:cubicBezTo>
                    <a:cubicBezTo>
                      <a:pt x="6790" y="7980"/>
                      <a:pt x="6790" y="7980"/>
                      <a:pt x="6790" y="7980"/>
                    </a:cubicBezTo>
                    <a:cubicBezTo>
                      <a:pt x="7018" y="8032"/>
                      <a:pt x="7018" y="8032"/>
                      <a:pt x="7018" y="8032"/>
                    </a:cubicBezTo>
                    <a:lnTo>
                      <a:pt x="7000" y="7640"/>
                    </a:lnTo>
                    <a:close/>
                    <a:moveTo>
                      <a:pt x="7014" y="7627"/>
                    </a:moveTo>
                    <a:cubicBezTo>
                      <a:pt x="7102" y="7625"/>
                      <a:pt x="7102" y="7625"/>
                      <a:pt x="7102" y="7625"/>
                    </a:cubicBezTo>
                    <a:cubicBezTo>
                      <a:pt x="7100" y="7565"/>
                      <a:pt x="7100" y="7565"/>
                      <a:pt x="7100" y="7565"/>
                    </a:cubicBezTo>
                    <a:cubicBezTo>
                      <a:pt x="7053" y="7566"/>
                      <a:pt x="7053" y="7566"/>
                      <a:pt x="7053" y="7566"/>
                    </a:cubicBezTo>
                    <a:cubicBezTo>
                      <a:pt x="7052" y="7523"/>
                      <a:pt x="7052" y="7523"/>
                      <a:pt x="7052" y="7523"/>
                    </a:cubicBezTo>
                    <a:cubicBezTo>
                      <a:pt x="7009" y="7524"/>
                      <a:pt x="7009" y="7524"/>
                      <a:pt x="7009" y="7524"/>
                    </a:cubicBezTo>
                    <a:lnTo>
                      <a:pt x="7014" y="7627"/>
                    </a:lnTo>
                    <a:close/>
                    <a:moveTo>
                      <a:pt x="6911" y="7347"/>
                    </a:moveTo>
                    <a:cubicBezTo>
                      <a:pt x="6911" y="7237"/>
                      <a:pt x="6915" y="7055"/>
                      <a:pt x="6916" y="7016"/>
                    </a:cubicBezTo>
                    <a:cubicBezTo>
                      <a:pt x="6911" y="7016"/>
                      <a:pt x="6906" y="7016"/>
                      <a:pt x="6902" y="7017"/>
                    </a:cubicBezTo>
                    <a:cubicBezTo>
                      <a:pt x="6815" y="7020"/>
                      <a:pt x="6729" y="7023"/>
                      <a:pt x="6653" y="7026"/>
                    </a:cubicBezTo>
                    <a:cubicBezTo>
                      <a:pt x="6651" y="7418"/>
                      <a:pt x="6651" y="7418"/>
                      <a:pt x="6651" y="7418"/>
                    </a:cubicBezTo>
                    <a:cubicBezTo>
                      <a:pt x="6738" y="7418"/>
                      <a:pt x="6827" y="7418"/>
                      <a:pt x="6912" y="7417"/>
                    </a:cubicBezTo>
                    <a:cubicBezTo>
                      <a:pt x="6912" y="7414"/>
                      <a:pt x="6912" y="7410"/>
                      <a:pt x="6911" y="7404"/>
                    </a:cubicBezTo>
                    <a:cubicBezTo>
                      <a:pt x="6911" y="7390"/>
                      <a:pt x="6911" y="7370"/>
                      <a:pt x="6911" y="7347"/>
                    </a:cubicBezTo>
                    <a:close/>
                    <a:moveTo>
                      <a:pt x="6963" y="7568"/>
                    </a:moveTo>
                    <a:cubicBezTo>
                      <a:pt x="6916" y="7569"/>
                      <a:pt x="6916" y="7569"/>
                      <a:pt x="6916" y="7569"/>
                    </a:cubicBezTo>
                    <a:cubicBezTo>
                      <a:pt x="6917" y="7629"/>
                      <a:pt x="6917" y="7629"/>
                      <a:pt x="6917" y="7629"/>
                    </a:cubicBezTo>
                    <a:cubicBezTo>
                      <a:pt x="7000" y="7627"/>
                      <a:pt x="7000" y="7627"/>
                      <a:pt x="7000" y="7627"/>
                    </a:cubicBezTo>
                    <a:cubicBezTo>
                      <a:pt x="6995" y="7524"/>
                      <a:pt x="6995" y="7524"/>
                      <a:pt x="6995" y="7524"/>
                    </a:cubicBezTo>
                    <a:cubicBezTo>
                      <a:pt x="6962" y="7525"/>
                      <a:pt x="6962" y="7525"/>
                      <a:pt x="6962" y="7525"/>
                    </a:cubicBezTo>
                    <a:lnTo>
                      <a:pt x="6963" y="7568"/>
                    </a:lnTo>
                    <a:close/>
                    <a:moveTo>
                      <a:pt x="7178" y="7416"/>
                    </a:moveTo>
                    <a:cubicBezTo>
                      <a:pt x="7170" y="7380"/>
                      <a:pt x="7152" y="7301"/>
                      <a:pt x="7134" y="7221"/>
                    </a:cubicBezTo>
                    <a:cubicBezTo>
                      <a:pt x="7122" y="7167"/>
                      <a:pt x="7109" y="7113"/>
                      <a:pt x="7100" y="7073"/>
                    </a:cubicBezTo>
                    <a:cubicBezTo>
                      <a:pt x="7095" y="7053"/>
                      <a:pt x="7091" y="7036"/>
                      <a:pt x="7088" y="7024"/>
                    </a:cubicBezTo>
                    <a:cubicBezTo>
                      <a:pt x="7086" y="7019"/>
                      <a:pt x="7085" y="7014"/>
                      <a:pt x="7084" y="7011"/>
                    </a:cubicBezTo>
                    <a:cubicBezTo>
                      <a:pt x="7084" y="7011"/>
                      <a:pt x="7084" y="7010"/>
                      <a:pt x="7084" y="7010"/>
                    </a:cubicBezTo>
                    <a:cubicBezTo>
                      <a:pt x="7034" y="7012"/>
                      <a:pt x="6982" y="7014"/>
                      <a:pt x="6930" y="7015"/>
                    </a:cubicBezTo>
                    <a:cubicBezTo>
                      <a:pt x="6929" y="7052"/>
                      <a:pt x="6925" y="7236"/>
                      <a:pt x="6925" y="7347"/>
                    </a:cubicBezTo>
                    <a:cubicBezTo>
                      <a:pt x="6925" y="7371"/>
                      <a:pt x="6925" y="7392"/>
                      <a:pt x="6925" y="7407"/>
                    </a:cubicBezTo>
                    <a:cubicBezTo>
                      <a:pt x="6926" y="7411"/>
                      <a:pt x="6926" y="7414"/>
                      <a:pt x="6926" y="7417"/>
                    </a:cubicBezTo>
                    <a:cubicBezTo>
                      <a:pt x="7019" y="7417"/>
                      <a:pt x="7106" y="7417"/>
                      <a:pt x="7178" y="7416"/>
                    </a:cubicBezTo>
                    <a:close/>
                    <a:moveTo>
                      <a:pt x="7165" y="6993"/>
                    </a:moveTo>
                    <a:cubicBezTo>
                      <a:pt x="7082" y="6631"/>
                      <a:pt x="7082" y="6631"/>
                      <a:pt x="7082" y="6631"/>
                    </a:cubicBezTo>
                    <a:cubicBezTo>
                      <a:pt x="6999" y="6638"/>
                      <a:pt x="6913" y="6647"/>
                      <a:pt x="6854" y="6659"/>
                    </a:cubicBezTo>
                    <a:cubicBezTo>
                      <a:pt x="6850" y="6660"/>
                      <a:pt x="6846" y="6661"/>
                      <a:pt x="6841" y="6662"/>
                    </a:cubicBezTo>
                    <a:cubicBezTo>
                      <a:pt x="6805" y="7003"/>
                      <a:pt x="6805" y="7003"/>
                      <a:pt x="6805" y="7003"/>
                    </a:cubicBezTo>
                    <a:cubicBezTo>
                      <a:pt x="6791" y="7001"/>
                      <a:pt x="6791" y="7001"/>
                      <a:pt x="6791" y="7001"/>
                    </a:cubicBezTo>
                    <a:cubicBezTo>
                      <a:pt x="6827" y="6664"/>
                      <a:pt x="6827" y="6664"/>
                      <a:pt x="6827" y="6664"/>
                    </a:cubicBezTo>
                    <a:cubicBezTo>
                      <a:pt x="6730" y="6684"/>
                      <a:pt x="6631" y="6698"/>
                      <a:pt x="6532" y="6711"/>
                    </a:cubicBezTo>
                    <a:cubicBezTo>
                      <a:pt x="6532" y="7016"/>
                      <a:pt x="6532" y="7016"/>
                      <a:pt x="6532" y="7016"/>
                    </a:cubicBezTo>
                    <a:cubicBezTo>
                      <a:pt x="6541" y="7016"/>
                      <a:pt x="6550" y="7016"/>
                      <a:pt x="6559" y="7015"/>
                    </a:cubicBezTo>
                    <a:cubicBezTo>
                      <a:pt x="6723" y="7009"/>
                      <a:pt x="6979" y="7000"/>
                      <a:pt x="7165" y="6993"/>
                    </a:cubicBezTo>
                    <a:close/>
                    <a:moveTo>
                      <a:pt x="6605" y="7418"/>
                    </a:moveTo>
                    <a:cubicBezTo>
                      <a:pt x="6616" y="7418"/>
                      <a:pt x="6626" y="7418"/>
                      <a:pt x="6637" y="7418"/>
                    </a:cubicBezTo>
                    <a:cubicBezTo>
                      <a:pt x="6639" y="7026"/>
                      <a:pt x="6639" y="7026"/>
                      <a:pt x="6639" y="7026"/>
                    </a:cubicBezTo>
                    <a:cubicBezTo>
                      <a:pt x="6611" y="7027"/>
                      <a:pt x="6584" y="7028"/>
                      <a:pt x="6560" y="7029"/>
                    </a:cubicBezTo>
                    <a:cubicBezTo>
                      <a:pt x="6513" y="7031"/>
                      <a:pt x="6473" y="7032"/>
                      <a:pt x="6446" y="7034"/>
                    </a:cubicBezTo>
                    <a:cubicBezTo>
                      <a:pt x="6432" y="7034"/>
                      <a:pt x="6421" y="7035"/>
                      <a:pt x="6413" y="7035"/>
                    </a:cubicBezTo>
                    <a:cubicBezTo>
                      <a:pt x="6410" y="7035"/>
                      <a:pt x="6408" y="7035"/>
                      <a:pt x="6406" y="7035"/>
                    </a:cubicBezTo>
                    <a:cubicBezTo>
                      <a:pt x="6322" y="7419"/>
                      <a:pt x="6322" y="7419"/>
                      <a:pt x="6322" y="7419"/>
                    </a:cubicBezTo>
                    <a:cubicBezTo>
                      <a:pt x="6404" y="7419"/>
                      <a:pt x="6502" y="7418"/>
                      <a:pt x="6605" y="7418"/>
                    </a:cubicBezTo>
                    <a:close/>
                    <a:moveTo>
                      <a:pt x="6583" y="7484"/>
                    </a:moveTo>
                    <a:cubicBezTo>
                      <a:pt x="6499" y="7484"/>
                      <a:pt x="6419" y="7484"/>
                      <a:pt x="6349" y="7484"/>
                    </a:cubicBezTo>
                    <a:cubicBezTo>
                      <a:pt x="6360" y="7669"/>
                      <a:pt x="6360" y="7669"/>
                      <a:pt x="6360" y="7669"/>
                    </a:cubicBezTo>
                    <a:cubicBezTo>
                      <a:pt x="6591" y="7681"/>
                      <a:pt x="6591" y="7681"/>
                      <a:pt x="6591" y="7681"/>
                    </a:cubicBezTo>
                    <a:lnTo>
                      <a:pt x="6583" y="7484"/>
                    </a:lnTo>
                    <a:close/>
                    <a:moveTo>
                      <a:pt x="4102" y="8425"/>
                    </a:moveTo>
                    <a:cubicBezTo>
                      <a:pt x="4098" y="8428"/>
                      <a:pt x="4098" y="8428"/>
                      <a:pt x="4098" y="8428"/>
                    </a:cubicBezTo>
                    <a:cubicBezTo>
                      <a:pt x="4264" y="8326"/>
                      <a:pt x="4264" y="8326"/>
                      <a:pt x="4264" y="8326"/>
                    </a:cubicBezTo>
                    <a:cubicBezTo>
                      <a:pt x="4265" y="8326"/>
                      <a:pt x="4265" y="8326"/>
                      <a:pt x="4265" y="8326"/>
                    </a:cubicBezTo>
                    <a:cubicBezTo>
                      <a:pt x="4262" y="8320"/>
                      <a:pt x="4259" y="8315"/>
                      <a:pt x="4256" y="8310"/>
                    </a:cubicBezTo>
                    <a:cubicBezTo>
                      <a:pt x="4208" y="8221"/>
                      <a:pt x="4142" y="8107"/>
                      <a:pt x="4088" y="8016"/>
                    </a:cubicBezTo>
                    <a:cubicBezTo>
                      <a:pt x="4042" y="7939"/>
                      <a:pt x="4005" y="7878"/>
                      <a:pt x="3995" y="7861"/>
                    </a:cubicBezTo>
                    <a:cubicBezTo>
                      <a:pt x="3995" y="7861"/>
                      <a:pt x="3995" y="7861"/>
                      <a:pt x="3995" y="7861"/>
                    </a:cubicBezTo>
                    <a:cubicBezTo>
                      <a:pt x="3808" y="7965"/>
                      <a:pt x="3808" y="7965"/>
                      <a:pt x="3808" y="7965"/>
                    </a:cubicBezTo>
                    <a:lnTo>
                      <a:pt x="4102" y="8425"/>
                    </a:lnTo>
                    <a:close/>
                    <a:moveTo>
                      <a:pt x="3597" y="8317"/>
                    </a:moveTo>
                    <a:cubicBezTo>
                      <a:pt x="3585" y="8324"/>
                      <a:pt x="3585" y="8324"/>
                      <a:pt x="3585" y="8324"/>
                    </a:cubicBezTo>
                    <a:cubicBezTo>
                      <a:pt x="3715" y="8541"/>
                      <a:pt x="3715" y="8541"/>
                      <a:pt x="3715" y="8541"/>
                    </a:cubicBezTo>
                    <a:cubicBezTo>
                      <a:pt x="3861" y="8573"/>
                      <a:pt x="3861" y="8573"/>
                      <a:pt x="3861" y="8573"/>
                    </a:cubicBezTo>
                    <a:cubicBezTo>
                      <a:pt x="4090" y="8432"/>
                      <a:pt x="4090" y="8432"/>
                      <a:pt x="4090" y="8432"/>
                    </a:cubicBezTo>
                    <a:cubicBezTo>
                      <a:pt x="3796" y="7972"/>
                      <a:pt x="3796" y="7972"/>
                      <a:pt x="3796" y="7972"/>
                    </a:cubicBezTo>
                    <a:cubicBezTo>
                      <a:pt x="3479" y="8148"/>
                      <a:pt x="3479" y="8148"/>
                      <a:pt x="3479" y="8148"/>
                    </a:cubicBezTo>
                    <a:cubicBezTo>
                      <a:pt x="3493" y="8171"/>
                      <a:pt x="3493" y="8171"/>
                      <a:pt x="3493" y="8171"/>
                    </a:cubicBezTo>
                    <a:cubicBezTo>
                      <a:pt x="3618" y="8099"/>
                      <a:pt x="3618" y="8099"/>
                      <a:pt x="3618" y="8099"/>
                    </a:cubicBezTo>
                    <a:cubicBezTo>
                      <a:pt x="3670" y="8189"/>
                      <a:pt x="3670" y="8189"/>
                      <a:pt x="3670" y="8189"/>
                    </a:cubicBezTo>
                    <a:cubicBezTo>
                      <a:pt x="3559" y="8253"/>
                      <a:pt x="3559" y="8253"/>
                      <a:pt x="3559" y="8253"/>
                    </a:cubicBezTo>
                    <a:lnTo>
                      <a:pt x="3597" y="8317"/>
                    </a:lnTo>
                    <a:close/>
                    <a:moveTo>
                      <a:pt x="3526" y="8253"/>
                    </a:moveTo>
                    <a:cubicBezTo>
                      <a:pt x="3434" y="8306"/>
                      <a:pt x="3434" y="8306"/>
                      <a:pt x="3434" y="8306"/>
                    </a:cubicBezTo>
                    <a:cubicBezTo>
                      <a:pt x="3473" y="8374"/>
                      <a:pt x="3473" y="8374"/>
                      <a:pt x="3473" y="8374"/>
                    </a:cubicBezTo>
                    <a:cubicBezTo>
                      <a:pt x="3566" y="8320"/>
                      <a:pt x="3566" y="8320"/>
                      <a:pt x="3566" y="8320"/>
                    </a:cubicBezTo>
                    <a:lnTo>
                      <a:pt x="3526" y="8253"/>
                    </a:lnTo>
                    <a:close/>
                    <a:moveTo>
                      <a:pt x="3538" y="8231"/>
                    </a:moveTo>
                    <a:cubicBezTo>
                      <a:pt x="3544" y="8227"/>
                      <a:pt x="3544" y="8227"/>
                      <a:pt x="3544" y="8227"/>
                    </a:cubicBezTo>
                    <a:cubicBezTo>
                      <a:pt x="3553" y="8242"/>
                      <a:pt x="3553" y="8242"/>
                      <a:pt x="3553" y="8242"/>
                    </a:cubicBezTo>
                    <a:cubicBezTo>
                      <a:pt x="3652" y="8184"/>
                      <a:pt x="3652" y="8184"/>
                      <a:pt x="3652" y="8184"/>
                    </a:cubicBezTo>
                    <a:cubicBezTo>
                      <a:pt x="3613" y="8116"/>
                      <a:pt x="3613" y="8116"/>
                      <a:pt x="3613" y="8116"/>
                    </a:cubicBezTo>
                    <a:cubicBezTo>
                      <a:pt x="3507" y="8178"/>
                      <a:pt x="3507" y="8178"/>
                      <a:pt x="3507" y="8178"/>
                    </a:cubicBezTo>
                    <a:lnTo>
                      <a:pt x="3538" y="8231"/>
                    </a:lnTo>
                    <a:close/>
                    <a:moveTo>
                      <a:pt x="3578" y="8313"/>
                    </a:moveTo>
                    <a:cubicBezTo>
                      <a:pt x="3579" y="8313"/>
                      <a:pt x="3579" y="8313"/>
                      <a:pt x="3579" y="8313"/>
                    </a:cubicBezTo>
                    <a:cubicBezTo>
                      <a:pt x="3548" y="8259"/>
                      <a:pt x="3548" y="8259"/>
                      <a:pt x="3548" y="8259"/>
                    </a:cubicBezTo>
                    <a:cubicBezTo>
                      <a:pt x="3547" y="8260"/>
                      <a:pt x="3547" y="8260"/>
                      <a:pt x="3547" y="8260"/>
                    </a:cubicBezTo>
                    <a:lnTo>
                      <a:pt x="3578" y="8313"/>
                    </a:lnTo>
                    <a:close/>
                    <a:moveTo>
                      <a:pt x="3298" y="6966"/>
                    </a:moveTo>
                    <a:cubicBezTo>
                      <a:pt x="3204" y="6953"/>
                      <a:pt x="3204" y="6953"/>
                      <a:pt x="3204" y="6953"/>
                    </a:cubicBezTo>
                    <a:cubicBezTo>
                      <a:pt x="3205" y="6947"/>
                      <a:pt x="3205" y="6947"/>
                      <a:pt x="3205" y="6947"/>
                    </a:cubicBezTo>
                    <a:cubicBezTo>
                      <a:pt x="3216" y="6868"/>
                      <a:pt x="3216" y="6868"/>
                      <a:pt x="3216" y="6868"/>
                    </a:cubicBezTo>
                    <a:cubicBezTo>
                      <a:pt x="3262" y="6874"/>
                      <a:pt x="3262" y="6874"/>
                      <a:pt x="3262" y="6874"/>
                    </a:cubicBezTo>
                    <a:cubicBezTo>
                      <a:pt x="3268" y="6831"/>
                      <a:pt x="3268" y="6831"/>
                      <a:pt x="3268" y="6831"/>
                    </a:cubicBezTo>
                    <a:cubicBezTo>
                      <a:pt x="3317" y="6838"/>
                      <a:pt x="3317" y="6838"/>
                      <a:pt x="3317" y="6838"/>
                    </a:cubicBezTo>
                    <a:cubicBezTo>
                      <a:pt x="3320" y="6814"/>
                      <a:pt x="3323" y="6797"/>
                      <a:pt x="3324" y="6789"/>
                    </a:cubicBezTo>
                    <a:cubicBezTo>
                      <a:pt x="3219" y="6751"/>
                      <a:pt x="3219" y="6751"/>
                      <a:pt x="3219" y="6751"/>
                    </a:cubicBezTo>
                    <a:cubicBezTo>
                      <a:pt x="3210" y="6845"/>
                      <a:pt x="3132" y="7415"/>
                      <a:pt x="3122" y="7482"/>
                    </a:cubicBezTo>
                    <a:cubicBezTo>
                      <a:pt x="3158" y="7485"/>
                      <a:pt x="3194" y="7488"/>
                      <a:pt x="3226" y="7490"/>
                    </a:cubicBezTo>
                    <a:cubicBezTo>
                      <a:pt x="3228" y="7454"/>
                      <a:pt x="3269" y="7163"/>
                      <a:pt x="3298" y="6966"/>
                    </a:cubicBezTo>
                    <a:close/>
                    <a:moveTo>
                      <a:pt x="3235" y="7491"/>
                    </a:moveTo>
                    <a:cubicBezTo>
                      <a:pt x="3235" y="7491"/>
                      <a:pt x="3235" y="7491"/>
                      <a:pt x="3235" y="7491"/>
                    </a:cubicBezTo>
                    <a:cubicBezTo>
                      <a:pt x="3237" y="7488"/>
                      <a:pt x="3237" y="7488"/>
                      <a:pt x="3237" y="7488"/>
                    </a:cubicBezTo>
                    <a:lnTo>
                      <a:pt x="3235" y="7491"/>
                    </a:lnTo>
                    <a:close/>
                    <a:moveTo>
                      <a:pt x="2791" y="6858"/>
                    </a:moveTo>
                    <a:cubicBezTo>
                      <a:pt x="2798" y="6847"/>
                      <a:pt x="2798" y="6847"/>
                      <a:pt x="2798" y="6847"/>
                    </a:cubicBezTo>
                    <a:cubicBezTo>
                      <a:pt x="2942" y="6935"/>
                      <a:pt x="2942" y="6935"/>
                      <a:pt x="2942" y="6935"/>
                    </a:cubicBezTo>
                    <a:cubicBezTo>
                      <a:pt x="2878" y="7463"/>
                      <a:pt x="2878" y="7463"/>
                      <a:pt x="2878" y="7463"/>
                    </a:cubicBezTo>
                    <a:cubicBezTo>
                      <a:pt x="2903" y="7464"/>
                      <a:pt x="2942" y="7468"/>
                      <a:pt x="2989" y="7471"/>
                    </a:cubicBezTo>
                    <a:cubicBezTo>
                      <a:pt x="3069" y="6878"/>
                      <a:pt x="3069" y="6878"/>
                      <a:pt x="3069" y="6878"/>
                    </a:cubicBezTo>
                    <a:cubicBezTo>
                      <a:pt x="2963" y="6864"/>
                      <a:pt x="2963" y="6864"/>
                      <a:pt x="2963" y="6864"/>
                    </a:cubicBezTo>
                    <a:cubicBezTo>
                      <a:pt x="2963" y="6857"/>
                      <a:pt x="2963" y="6857"/>
                      <a:pt x="2963" y="6857"/>
                    </a:cubicBezTo>
                    <a:cubicBezTo>
                      <a:pt x="2974" y="6778"/>
                      <a:pt x="2974" y="6778"/>
                      <a:pt x="2974" y="6778"/>
                    </a:cubicBezTo>
                    <a:cubicBezTo>
                      <a:pt x="3021" y="6785"/>
                      <a:pt x="3021" y="6785"/>
                      <a:pt x="3021" y="6785"/>
                    </a:cubicBezTo>
                    <a:cubicBezTo>
                      <a:pt x="3027" y="6742"/>
                      <a:pt x="3027" y="6742"/>
                      <a:pt x="3027" y="6742"/>
                    </a:cubicBezTo>
                    <a:cubicBezTo>
                      <a:pt x="3087" y="6750"/>
                      <a:pt x="3087" y="6750"/>
                      <a:pt x="3087" y="6750"/>
                    </a:cubicBezTo>
                    <a:cubicBezTo>
                      <a:pt x="3093" y="6705"/>
                      <a:pt x="3093" y="6705"/>
                      <a:pt x="3093" y="6705"/>
                    </a:cubicBezTo>
                    <a:cubicBezTo>
                      <a:pt x="2982" y="6665"/>
                      <a:pt x="2982" y="6665"/>
                      <a:pt x="2982" y="6665"/>
                    </a:cubicBezTo>
                    <a:cubicBezTo>
                      <a:pt x="2604" y="7037"/>
                      <a:pt x="2604" y="7037"/>
                      <a:pt x="2604" y="7037"/>
                    </a:cubicBezTo>
                    <a:cubicBezTo>
                      <a:pt x="2736" y="7118"/>
                      <a:pt x="2736" y="7118"/>
                      <a:pt x="2736" y="7118"/>
                    </a:cubicBezTo>
                    <a:cubicBezTo>
                      <a:pt x="2654" y="7254"/>
                      <a:pt x="2654" y="7254"/>
                      <a:pt x="2654" y="7254"/>
                    </a:cubicBezTo>
                    <a:cubicBezTo>
                      <a:pt x="2648" y="7250"/>
                      <a:pt x="2648" y="7250"/>
                      <a:pt x="2648" y="7250"/>
                    </a:cubicBezTo>
                    <a:cubicBezTo>
                      <a:pt x="2488" y="7152"/>
                      <a:pt x="2488" y="7152"/>
                      <a:pt x="2488" y="7152"/>
                    </a:cubicBezTo>
                    <a:cubicBezTo>
                      <a:pt x="2422" y="7216"/>
                      <a:pt x="2422" y="7216"/>
                      <a:pt x="2422" y="7216"/>
                    </a:cubicBezTo>
                    <a:cubicBezTo>
                      <a:pt x="2704" y="7408"/>
                      <a:pt x="2704" y="7408"/>
                      <a:pt x="2704" y="7408"/>
                    </a:cubicBezTo>
                    <a:cubicBezTo>
                      <a:pt x="2854" y="7461"/>
                      <a:pt x="2854" y="7461"/>
                      <a:pt x="2854" y="7461"/>
                    </a:cubicBezTo>
                    <a:cubicBezTo>
                      <a:pt x="2855" y="7461"/>
                      <a:pt x="2859" y="7461"/>
                      <a:pt x="2865" y="7461"/>
                    </a:cubicBezTo>
                    <a:cubicBezTo>
                      <a:pt x="2927" y="6942"/>
                      <a:pt x="2927" y="6942"/>
                      <a:pt x="2927" y="6942"/>
                    </a:cubicBezTo>
                    <a:lnTo>
                      <a:pt x="2791" y="6858"/>
                    </a:lnTo>
                    <a:close/>
                    <a:moveTo>
                      <a:pt x="1966" y="6938"/>
                    </a:moveTo>
                    <a:cubicBezTo>
                      <a:pt x="2033" y="6872"/>
                      <a:pt x="2033" y="6872"/>
                      <a:pt x="2033" y="6872"/>
                    </a:cubicBezTo>
                    <a:cubicBezTo>
                      <a:pt x="1814" y="6738"/>
                      <a:pt x="1814" y="6738"/>
                      <a:pt x="1814" y="6738"/>
                    </a:cubicBezTo>
                    <a:cubicBezTo>
                      <a:pt x="1814" y="6739"/>
                      <a:pt x="1813" y="6739"/>
                      <a:pt x="1813" y="6740"/>
                    </a:cubicBezTo>
                    <a:cubicBezTo>
                      <a:pt x="1791" y="6760"/>
                      <a:pt x="1774" y="6778"/>
                      <a:pt x="1762" y="6790"/>
                    </a:cubicBezTo>
                    <a:cubicBezTo>
                      <a:pt x="1755" y="6797"/>
                      <a:pt x="1751" y="6802"/>
                      <a:pt x="1747" y="6805"/>
                    </a:cubicBezTo>
                    <a:cubicBezTo>
                      <a:pt x="1747" y="6806"/>
                      <a:pt x="1747" y="6806"/>
                      <a:pt x="1747" y="6806"/>
                    </a:cubicBezTo>
                    <a:cubicBezTo>
                      <a:pt x="1968" y="6940"/>
                      <a:pt x="1968" y="6940"/>
                      <a:pt x="1968" y="6940"/>
                    </a:cubicBezTo>
                    <a:lnTo>
                      <a:pt x="1966" y="6938"/>
                    </a:lnTo>
                    <a:close/>
                    <a:moveTo>
                      <a:pt x="2122" y="3312"/>
                    </a:moveTo>
                    <a:cubicBezTo>
                      <a:pt x="2124" y="3309"/>
                      <a:pt x="2124" y="3309"/>
                      <a:pt x="2124" y="3309"/>
                    </a:cubicBezTo>
                    <a:cubicBezTo>
                      <a:pt x="2122" y="3312"/>
                      <a:pt x="2122" y="3312"/>
                      <a:pt x="2122" y="3312"/>
                    </a:cubicBezTo>
                    <a:cubicBezTo>
                      <a:pt x="2118" y="3311"/>
                      <a:pt x="2114" y="3310"/>
                      <a:pt x="2108" y="3310"/>
                    </a:cubicBezTo>
                    <a:cubicBezTo>
                      <a:pt x="2079" y="3310"/>
                      <a:pt x="2028" y="3334"/>
                      <a:pt x="1978" y="3390"/>
                    </a:cubicBezTo>
                    <a:cubicBezTo>
                      <a:pt x="1917" y="3459"/>
                      <a:pt x="1857" y="3501"/>
                      <a:pt x="1806" y="3521"/>
                    </a:cubicBezTo>
                    <a:cubicBezTo>
                      <a:pt x="1781" y="3531"/>
                      <a:pt x="1745" y="3551"/>
                      <a:pt x="1715" y="3569"/>
                    </a:cubicBezTo>
                    <a:cubicBezTo>
                      <a:pt x="1700" y="3577"/>
                      <a:pt x="1687" y="3586"/>
                      <a:pt x="1677" y="3593"/>
                    </a:cubicBezTo>
                    <a:cubicBezTo>
                      <a:pt x="1672" y="3597"/>
                      <a:pt x="1669" y="3600"/>
                      <a:pt x="1666" y="3602"/>
                    </a:cubicBezTo>
                    <a:cubicBezTo>
                      <a:pt x="1665" y="3603"/>
                      <a:pt x="1665" y="3604"/>
                      <a:pt x="1664" y="3604"/>
                    </a:cubicBezTo>
                    <a:cubicBezTo>
                      <a:pt x="1666" y="3605"/>
                      <a:pt x="1668" y="3605"/>
                      <a:pt x="1672" y="3605"/>
                    </a:cubicBezTo>
                    <a:cubicBezTo>
                      <a:pt x="1690" y="3605"/>
                      <a:pt x="1726" y="3596"/>
                      <a:pt x="1754" y="3578"/>
                    </a:cubicBezTo>
                    <a:cubicBezTo>
                      <a:pt x="1796" y="3552"/>
                      <a:pt x="1854" y="3529"/>
                      <a:pt x="1891" y="3515"/>
                    </a:cubicBezTo>
                    <a:cubicBezTo>
                      <a:pt x="1929" y="3501"/>
                      <a:pt x="1959" y="3500"/>
                      <a:pt x="1981" y="3461"/>
                    </a:cubicBezTo>
                    <a:cubicBezTo>
                      <a:pt x="2004" y="3421"/>
                      <a:pt x="2020" y="3378"/>
                      <a:pt x="2072" y="3378"/>
                    </a:cubicBezTo>
                    <a:cubicBezTo>
                      <a:pt x="2103" y="3378"/>
                      <a:pt x="2130" y="3385"/>
                      <a:pt x="2147" y="3385"/>
                    </a:cubicBezTo>
                    <a:cubicBezTo>
                      <a:pt x="2158" y="3385"/>
                      <a:pt x="2163" y="3383"/>
                      <a:pt x="2165" y="3377"/>
                    </a:cubicBezTo>
                    <a:cubicBezTo>
                      <a:pt x="2166" y="3374"/>
                      <a:pt x="2167" y="3370"/>
                      <a:pt x="2167" y="3367"/>
                    </a:cubicBezTo>
                    <a:cubicBezTo>
                      <a:pt x="2167" y="3348"/>
                      <a:pt x="2151" y="3324"/>
                      <a:pt x="2122" y="3312"/>
                    </a:cubicBezTo>
                    <a:close/>
                    <a:moveTo>
                      <a:pt x="2076" y="3308"/>
                    </a:moveTo>
                    <a:cubicBezTo>
                      <a:pt x="2016" y="3323"/>
                      <a:pt x="1963" y="3372"/>
                      <a:pt x="1937" y="3399"/>
                    </a:cubicBezTo>
                    <a:cubicBezTo>
                      <a:pt x="1893" y="3444"/>
                      <a:pt x="1812" y="3506"/>
                      <a:pt x="1761" y="3530"/>
                    </a:cubicBezTo>
                    <a:cubicBezTo>
                      <a:pt x="1733" y="3542"/>
                      <a:pt x="1677" y="3549"/>
                      <a:pt x="1620" y="3558"/>
                    </a:cubicBezTo>
                    <a:cubicBezTo>
                      <a:pt x="1562" y="3567"/>
                      <a:pt x="1504" y="3578"/>
                      <a:pt x="1480" y="3592"/>
                    </a:cubicBezTo>
                    <a:cubicBezTo>
                      <a:pt x="1464" y="3601"/>
                      <a:pt x="1436" y="3614"/>
                      <a:pt x="1403" y="3629"/>
                    </a:cubicBezTo>
                    <a:cubicBezTo>
                      <a:pt x="1441" y="3671"/>
                      <a:pt x="1476" y="3710"/>
                      <a:pt x="1494" y="3728"/>
                    </a:cubicBezTo>
                    <a:cubicBezTo>
                      <a:pt x="1507" y="3722"/>
                      <a:pt x="1521" y="3716"/>
                      <a:pt x="1533" y="3710"/>
                    </a:cubicBezTo>
                    <a:cubicBezTo>
                      <a:pt x="1617" y="3673"/>
                      <a:pt x="1851" y="3579"/>
                      <a:pt x="1960" y="3554"/>
                    </a:cubicBezTo>
                    <a:cubicBezTo>
                      <a:pt x="2020" y="3541"/>
                      <a:pt x="2094" y="3535"/>
                      <a:pt x="2187" y="3534"/>
                    </a:cubicBezTo>
                    <a:cubicBezTo>
                      <a:pt x="2186" y="3533"/>
                      <a:pt x="2186" y="3533"/>
                      <a:pt x="2186" y="3533"/>
                    </a:cubicBezTo>
                    <a:cubicBezTo>
                      <a:pt x="2213" y="3399"/>
                      <a:pt x="2213" y="3399"/>
                      <a:pt x="2213" y="3399"/>
                    </a:cubicBezTo>
                    <a:cubicBezTo>
                      <a:pt x="2199" y="3380"/>
                      <a:pt x="2189" y="3356"/>
                      <a:pt x="2184" y="3324"/>
                    </a:cubicBezTo>
                    <a:cubicBezTo>
                      <a:pt x="2163" y="3312"/>
                      <a:pt x="2142" y="3306"/>
                      <a:pt x="2122" y="3304"/>
                    </a:cubicBezTo>
                    <a:cubicBezTo>
                      <a:pt x="2123" y="3305"/>
                      <a:pt x="2125" y="3304"/>
                      <a:pt x="2125" y="3305"/>
                    </a:cubicBezTo>
                    <a:cubicBezTo>
                      <a:pt x="2156" y="3318"/>
                      <a:pt x="2175" y="3344"/>
                      <a:pt x="2175" y="3367"/>
                    </a:cubicBezTo>
                    <a:cubicBezTo>
                      <a:pt x="2175" y="3371"/>
                      <a:pt x="2174" y="3376"/>
                      <a:pt x="2173" y="3380"/>
                    </a:cubicBezTo>
                    <a:cubicBezTo>
                      <a:pt x="2169" y="3390"/>
                      <a:pt x="2158" y="3393"/>
                      <a:pt x="2147" y="3393"/>
                    </a:cubicBezTo>
                    <a:cubicBezTo>
                      <a:pt x="2128" y="3393"/>
                      <a:pt x="2102" y="3386"/>
                      <a:pt x="2072" y="3386"/>
                    </a:cubicBezTo>
                    <a:cubicBezTo>
                      <a:pt x="2026" y="3386"/>
                      <a:pt x="2012" y="3423"/>
                      <a:pt x="1988" y="3465"/>
                    </a:cubicBezTo>
                    <a:cubicBezTo>
                      <a:pt x="1964" y="3508"/>
                      <a:pt x="1930" y="3509"/>
                      <a:pt x="1894" y="3523"/>
                    </a:cubicBezTo>
                    <a:cubicBezTo>
                      <a:pt x="1858" y="3536"/>
                      <a:pt x="1799" y="3560"/>
                      <a:pt x="1758" y="3585"/>
                    </a:cubicBezTo>
                    <a:cubicBezTo>
                      <a:pt x="1728" y="3604"/>
                      <a:pt x="1692" y="3613"/>
                      <a:pt x="1672" y="3613"/>
                    </a:cubicBezTo>
                    <a:cubicBezTo>
                      <a:pt x="1664" y="3613"/>
                      <a:pt x="1658" y="3613"/>
                      <a:pt x="1655" y="3606"/>
                    </a:cubicBezTo>
                    <a:cubicBezTo>
                      <a:pt x="1655" y="3605"/>
                      <a:pt x="1655" y="3605"/>
                      <a:pt x="1655" y="3605"/>
                    </a:cubicBezTo>
                    <a:cubicBezTo>
                      <a:pt x="1655" y="3605"/>
                      <a:pt x="1655" y="3605"/>
                      <a:pt x="1655" y="3605"/>
                    </a:cubicBezTo>
                    <a:cubicBezTo>
                      <a:pt x="1655" y="3604"/>
                      <a:pt x="1655" y="3604"/>
                      <a:pt x="1655" y="3604"/>
                    </a:cubicBezTo>
                    <a:cubicBezTo>
                      <a:pt x="1655" y="3604"/>
                      <a:pt x="1655" y="3604"/>
                      <a:pt x="1655" y="3604"/>
                    </a:cubicBezTo>
                    <a:cubicBezTo>
                      <a:pt x="1657" y="3597"/>
                      <a:pt x="1663" y="3594"/>
                      <a:pt x="1672" y="3586"/>
                    </a:cubicBezTo>
                    <a:cubicBezTo>
                      <a:pt x="1702" y="3565"/>
                      <a:pt x="1764" y="3529"/>
                      <a:pt x="1802" y="3514"/>
                    </a:cubicBezTo>
                    <a:cubicBezTo>
                      <a:pt x="1852" y="3494"/>
                      <a:pt x="1912" y="3453"/>
                      <a:pt x="1972" y="3385"/>
                    </a:cubicBezTo>
                    <a:cubicBezTo>
                      <a:pt x="2008" y="3343"/>
                      <a:pt x="2046" y="3319"/>
                      <a:pt x="2076" y="3308"/>
                    </a:cubicBezTo>
                    <a:close/>
                    <a:moveTo>
                      <a:pt x="2561" y="3384"/>
                    </a:moveTo>
                    <a:cubicBezTo>
                      <a:pt x="2495" y="3402"/>
                      <a:pt x="2495" y="3402"/>
                      <a:pt x="2495" y="3402"/>
                    </a:cubicBezTo>
                    <a:cubicBezTo>
                      <a:pt x="2266" y="3361"/>
                      <a:pt x="2266" y="3361"/>
                      <a:pt x="2266" y="3361"/>
                    </a:cubicBezTo>
                    <a:cubicBezTo>
                      <a:pt x="2257" y="3408"/>
                      <a:pt x="2257" y="3408"/>
                      <a:pt x="2257" y="3408"/>
                    </a:cubicBezTo>
                    <a:cubicBezTo>
                      <a:pt x="2286" y="3429"/>
                      <a:pt x="2321" y="3431"/>
                      <a:pt x="2339" y="3433"/>
                    </a:cubicBezTo>
                    <a:cubicBezTo>
                      <a:pt x="2371" y="3437"/>
                      <a:pt x="2489" y="3443"/>
                      <a:pt x="2542" y="3471"/>
                    </a:cubicBezTo>
                    <a:cubicBezTo>
                      <a:pt x="2584" y="3494"/>
                      <a:pt x="2591" y="3535"/>
                      <a:pt x="2593" y="3553"/>
                    </a:cubicBezTo>
                    <a:cubicBezTo>
                      <a:pt x="2736" y="3569"/>
                      <a:pt x="2840" y="3592"/>
                      <a:pt x="2871" y="3600"/>
                    </a:cubicBezTo>
                    <a:cubicBezTo>
                      <a:pt x="2812" y="3319"/>
                      <a:pt x="2812" y="3319"/>
                      <a:pt x="2812" y="3319"/>
                    </a:cubicBezTo>
                    <a:cubicBezTo>
                      <a:pt x="2622" y="3368"/>
                      <a:pt x="2622" y="3368"/>
                      <a:pt x="2622" y="3368"/>
                    </a:cubicBezTo>
                    <a:cubicBezTo>
                      <a:pt x="2783" y="3368"/>
                      <a:pt x="2783" y="3368"/>
                      <a:pt x="2783" y="3368"/>
                    </a:cubicBezTo>
                    <a:cubicBezTo>
                      <a:pt x="2785" y="3374"/>
                      <a:pt x="2785" y="3374"/>
                      <a:pt x="2785" y="3374"/>
                    </a:cubicBezTo>
                    <a:cubicBezTo>
                      <a:pt x="2828" y="3553"/>
                      <a:pt x="2828" y="3553"/>
                      <a:pt x="2828" y="3553"/>
                    </a:cubicBezTo>
                    <a:cubicBezTo>
                      <a:pt x="2750" y="3541"/>
                      <a:pt x="2750" y="3541"/>
                      <a:pt x="2750" y="3541"/>
                    </a:cubicBezTo>
                    <a:cubicBezTo>
                      <a:pt x="2717" y="3479"/>
                      <a:pt x="2717" y="3479"/>
                      <a:pt x="2717" y="3479"/>
                    </a:cubicBezTo>
                    <a:lnTo>
                      <a:pt x="2561" y="3384"/>
                    </a:lnTo>
                    <a:close/>
                    <a:moveTo>
                      <a:pt x="2728" y="3468"/>
                    </a:moveTo>
                    <a:cubicBezTo>
                      <a:pt x="2759" y="3528"/>
                      <a:pt x="2759" y="3528"/>
                      <a:pt x="2759" y="3528"/>
                    </a:cubicBezTo>
                    <a:cubicBezTo>
                      <a:pt x="2809" y="3535"/>
                      <a:pt x="2809" y="3535"/>
                      <a:pt x="2809" y="3535"/>
                    </a:cubicBezTo>
                    <a:cubicBezTo>
                      <a:pt x="2772" y="3383"/>
                      <a:pt x="2772" y="3383"/>
                      <a:pt x="2772" y="3383"/>
                    </a:cubicBezTo>
                    <a:cubicBezTo>
                      <a:pt x="2588" y="3383"/>
                      <a:pt x="2588" y="3383"/>
                      <a:pt x="2588" y="3383"/>
                    </a:cubicBezTo>
                    <a:lnTo>
                      <a:pt x="2728" y="3468"/>
                    </a:lnTo>
                    <a:close/>
                    <a:moveTo>
                      <a:pt x="3557" y="2938"/>
                    </a:moveTo>
                    <a:cubicBezTo>
                      <a:pt x="3559" y="2935"/>
                      <a:pt x="3559" y="2935"/>
                      <a:pt x="3559" y="2935"/>
                    </a:cubicBezTo>
                    <a:cubicBezTo>
                      <a:pt x="3559" y="2935"/>
                      <a:pt x="3559" y="2935"/>
                      <a:pt x="3559" y="2935"/>
                    </a:cubicBezTo>
                    <a:cubicBezTo>
                      <a:pt x="3555" y="2939"/>
                      <a:pt x="3555" y="2939"/>
                      <a:pt x="3555" y="2939"/>
                    </a:cubicBezTo>
                    <a:cubicBezTo>
                      <a:pt x="3555" y="2942"/>
                      <a:pt x="3555" y="2942"/>
                      <a:pt x="3555" y="2942"/>
                    </a:cubicBezTo>
                    <a:cubicBezTo>
                      <a:pt x="3559" y="2936"/>
                      <a:pt x="3559" y="2936"/>
                      <a:pt x="3559" y="2936"/>
                    </a:cubicBezTo>
                    <a:lnTo>
                      <a:pt x="3557" y="2938"/>
                    </a:lnTo>
                    <a:close/>
                    <a:moveTo>
                      <a:pt x="3360" y="3039"/>
                    </a:moveTo>
                    <a:cubicBezTo>
                      <a:pt x="3310" y="3060"/>
                      <a:pt x="3260" y="3080"/>
                      <a:pt x="3222" y="3095"/>
                    </a:cubicBezTo>
                    <a:cubicBezTo>
                      <a:pt x="3203" y="3103"/>
                      <a:pt x="3187" y="3109"/>
                      <a:pt x="3175" y="3113"/>
                    </a:cubicBezTo>
                    <a:cubicBezTo>
                      <a:pt x="3169" y="3116"/>
                      <a:pt x="3165" y="3117"/>
                      <a:pt x="3161" y="3118"/>
                    </a:cubicBezTo>
                    <a:cubicBezTo>
                      <a:pt x="3158" y="3120"/>
                      <a:pt x="3158" y="3120"/>
                      <a:pt x="3155" y="3120"/>
                    </a:cubicBezTo>
                    <a:cubicBezTo>
                      <a:pt x="3149" y="3123"/>
                      <a:pt x="3063" y="3172"/>
                      <a:pt x="2981" y="3219"/>
                    </a:cubicBezTo>
                    <a:cubicBezTo>
                      <a:pt x="2915" y="3258"/>
                      <a:pt x="2851" y="3295"/>
                      <a:pt x="2827" y="3309"/>
                    </a:cubicBezTo>
                    <a:cubicBezTo>
                      <a:pt x="2887" y="3595"/>
                      <a:pt x="2887" y="3595"/>
                      <a:pt x="2887" y="3595"/>
                    </a:cubicBezTo>
                    <a:cubicBezTo>
                      <a:pt x="2943" y="3547"/>
                      <a:pt x="3000" y="3511"/>
                      <a:pt x="3057" y="3486"/>
                    </a:cubicBezTo>
                    <a:cubicBezTo>
                      <a:pt x="3090" y="3471"/>
                      <a:pt x="3119" y="3460"/>
                      <a:pt x="3139" y="3453"/>
                    </a:cubicBezTo>
                    <a:cubicBezTo>
                      <a:pt x="3149" y="3449"/>
                      <a:pt x="3158" y="3446"/>
                      <a:pt x="3162" y="3444"/>
                    </a:cubicBezTo>
                    <a:cubicBezTo>
                      <a:pt x="3167" y="3439"/>
                      <a:pt x="3168" y="3441"/>
                      <a:pt x="3169" y="3439"/>
                    </a:cubicBezTo>
                    <a:cubicBezTo>
                      <a:pt x="3175" y="3436"/>
                      <a:pt x="3181" y="3434"/>
                      <a:pt x="3191" y="3431"/>
                    </a:cubicBezTo>
                    <a:cubicBezTo>
                      <a:pt x="3232" y="3416"/>
                      <a:pt x="3334" y="3381"/>
                      <a:pt x="3473" y="3336"/>
                    </a:cubicBezTo>
                    <a:cubicBezTo>
                      <a:pt x="3277" y="3077"/>
                      <a:pt x="3277" y="3077"/>
                      <a:pt x="3277" y="3077"/>
                    </a:cubicBezTo>
                    <a:cubicBezTo>
                      <a:pt x="3288" y="3069"/>
                      <a:pt x="3288" y="3069"/>
                      <a:pt x="3288" y="3069"/>
                    </a:cubicBezTo>
                    <a:cubicBezTo>
                      <a:pt x="3487" y="3332"/>
                      <a:pt x="3487" y="3332"/>
                      <a:pt x="3487" y="3332"/>
                    </a:cubicBezTo>
                    <a:cubicBezTo>
                      <a:pt x="3641" y="3282"/>
                      <a:pt x="3838" y="3221"/>
                      <a:pt x="4047" y="3159"/>
                    </a:cubicBezTo>
                    <a:cubicBezTo>
                      <a:pt x="3808" y="3004"/>
                      <a:pt x="3808" y="3004"/>
                      <a:pt x="3808" y="3004"/>
                    </a:cubicBezTo>
                    <a:cubicBezTo>
                      <a:pt x="3708" y="2722"/>
                      <a:pt x="3708" y="2722"/>
                      <a:pt x="3708" y="2722"/>
                    </a:cubicBezTo>
                    <a:cubicBezTo>
                      <a:pt x="3707" y="2722"/>
                      <a:pt x="3706" y="2723"/>
                      <a:pt x="3706" y="2723"/>
                    </a:cubicBezTo>
                    <a:cubicBezTo>
                      <a:pt x="3562" y="2957"/>
                      <a:pt x="3562" y="2957"/>
                      <a:pt x="3562" y="2957"/>
                    </a:cubicBezTo>
                    <a:cubicBezTo>
                      <a:pt x="3560" y="2958"/>
                      <a:pt x="3560" y="2958"/>
                      <a:pt x="3560" y="2958"/>
                    </a:cubicBezTo>
                    <a:cubicBezTo>
                      <a:pt x="3560" y="2958"/>
                      <a:pt x="3460" y="2999"/>
                      <a:pt x="3360" y="3039"/>
                    </a:cubicBezTo>
                    <a:close/>
                    <a:moveTo>
                      <a:pt x="5789" y="2099"/>
                    </a:moveTo>
                    <a:cubicBezTo>
                      <a:pt x="5964" y="2129"/>
                      <a:pt x="5964" y="2129"/>
                      <a:pt x="5964" y="2129"/>
                    </a:cubicBezTo>
                    <a:cubicBezTo>
                      <a:pt x="6007" y="2011"/>
                      <a:pt x="6007" y="2011"/>
                      <a:pt x="6007" y="2011"/>
                    </a:cubicBezTo>
                    <a:cubicBezTo>
                      <a:pt x="5824" y="1977"/>
                      <a:pt x="5824" y="1977"/>
                      <a:pt x="5824" y="1977"/>
                    </a:cubicBezTo>
                    <a:lnTo>
                      <a:pt x="5789" y="2099"/>
                    </a:lnTo>
                    <a:close/>
                    <a:moveTo>
                      <a:pt x="5793" y="2036"/>
                    </a:moveTo>
                    <a:cubicBezTo>
                      <a:pt x="5793" y="2036"/>
                      <a:pt x="5793" y="2036"/>
                      <a:pt x="5793" y="2036"/>
                    </a:cubicBezTo>
                    <a:cubicBezTo>
                      <a:pt x="5792" y="2033"/>
                      <a:pt x="5792" y="2033"/>
                      <a:pt x="5792" y="2033"/>
                    </a:cubicBezTo>
                    <a:lnTo>
                      <a:pt x="5793" y="2036"/>
                    </a:lnTo>
                    <a:close/>
                    <a:moveTo>
                      <a:pt x="5837" y="1526"/>
                    </a:moveTo>
                    <a:cubicBezTo>
                      <a:pt x="5847" y="1487"/>
                      <a:pt x="5857" y="1447"/>
                      <a:pt x="5867" y="1408"/>
                    </a:cubicBezTo>
                    <a:cubicBezTo>
                      <a:pt x="5847" y="1404"/>
                      <a:pt x="5754" y="1388"/>
                      <a:pt x="5659" y="1371"/>
                    </a:cubicBezTo>
                    <a:cubicBezTo>
                      <a:pt x="5569" y="1355"/>
                      <a:pt x="5474" y="1339"/>
                      <a:pt x="5441" y="1335"/>
                    </a:cubicBezTo>
                    <a:cubicBezTo>
                      <a:pt x="5448" y="1377"/>
                      <a:pt x="5454" y="1417"/>
                      <a:pt x="5458" y="1447"/>
                    </a:cubicBezTo>
                    <a:cubicBezTo>
                      <a:pt x="5459" y="1454"/>
                      <a:pt x="5459" y="1461"/>
                      <a:pt x="5460" y="1468"/>
                    </a:cubicBezTo>
                    <a:lnTo>
                      <a:pt x="5837" y="1526"/>
                    </a:lnTo>
                    <a:close/>
                    <a:moveTo>
                      <a:pt x="5462" y="1483"/>
                    </a:moveTo>
                    <a:cubicBezTo>
                      <a:pt x="5465" y="1511"/>
                      <a:pt x="5467" y="1538"/>
                      <a:pt x="5467" y="1565"/>
                    </a:cubicBezTo>
                    <a:cubicBezTo>
                      <a:pt x="5494" y="1571"/>
                      <a:pt x="5789" y="1625"/>
                      <a:pt x="5811" y="1629"/>
                    </a:cubicBezTo>
                    <a:cubicBezTo>
                      <a:pt x="5818" y="1601"/>
                      <a:pt x="5826" y="1571"/>
                      <a:pt x="5834" y="1540"/>
                    </a:cubicBezTo>
                    <a:lnTo>
                      <a:pt x="5462" y="1483"/>
                    </a:lnTo>
                    <a:close/>
                    <a:moveTo>
                      <a:pt x="5448" y="1690"/>
                    </a:moveTo>
                    <a:cubicBezTo>
                      <a:pt x="5521" y="1702"/>
                      <a:pt x="5780" y="1745"/>
                      <a:pt x="5781" y="1745"/>
                    </a:cubicBezTo>
                    <a:cubicBezTo>
                      <a:pt x="5780" y="1750"/>
                      <a:pt x="5780" y="1750"/>
                      <a:pt x="5780" y="1750"/>
                    </a:cubicBezTo>
                    <a:cubicBezTo>
                      <a:pt x="5784" y="1734"/>
                      <a:pt x="5789" y="1716"/>
                      <a:pt x="5794" y="1696"/>
                    </a:cubicBezTo>
                    <a:cubicBezTo>
                      <a:pt x="5798" y="1679"/>
                      <a:pt x="5803" y="1661"/>
                      <a:pt x="5808" y="1642"/>
                    </a:cubicBezTo>
                    <a:cubicBezTo>
                      <a:pt x="5793" y="1640"/>
                      <a:pt x="5715" y="1626"/>
                      <a:pt x="5636" y="1611"/>
                    </a:cubicBezTo>
                    <a:cubicBezTo>
                      <a:pt x="5593" y="1603"/>
                      <a:pt x="5549" y="1595"/>
                      <a:pt x="5517" y="1589"/>
                    </a:cubicBezTo>
                    <a:cubicBezTo>
                      <a:pt x="5500" y="1586"/>
                      <a:pt x="5487" y="1583"/>
                      <a:pt x="5477" y="1581"/>
                    </a:cubicBezTo>
                    <a:cubicBezTo>
                      <a:pt x="5473" y="1580"/>
                      <a:pt x="5470" y="1580"/>
                      <a:pt x="5467" y="1579"/>
                    </a:cubicBezTo>
                    <a:cubicBezTo>
                      <a:pt x="5467" y="1619"/>
                      <a:pt x="5462" y="1657"/>
                      <a:pt x="5448" y="1690"/>
                    </a:cubicBezTo>
                    <a:close/>
                    <a:moveTo>
                      <a:pt x="5778" y="1809"/>
                    </a:moveTo>
                    <a:cubicBezTo>
                      <a:pt x="5777" y="1810"/>
                      <a:pt x="5777" y="1811"/>
                      <a:pt x="5776" y="1812"/>
                    </a:cubicBezTo>
                    <a:cubicBezTo>
                      <a:pt x="5776" y="1813"/>
                      <a:pt x="5776" y="1813"/>
                      <a:pt x="5776" y="1813"/>
                    </a:cubicBezTo>
                    <a:cubicBezTo>
                      <a:pt x="5776" y="1815"/>
                      <a:pt x="5777" y="1817"/>
                      <a:pt x="5777" y="1819"/>
                    </a:cubicBezTo>
                    <a:cubicBezTo>
                      <a:pt x="5779" y="1809"/>
                      <a:pt x="5779" y="1809"/>
                      <a:pt x="5779" y="1809"/>
                    </a:cubicBezTo>
                    <a:cubicBezTo>
                      <a:pt x="6057" y="1871"/>
                      <a:pt x="6057" y="1871"/>
                      <a:pt x="6057" y="1871"/>
                    </a:cubicBezTo>
                    <a:cubicBezTo>
                      <a:pt x="6099" y="1753"/>
                      <a:pt x="6099" y="1753"/>
                      <a:pt x="6099" y="1753"/>
                    </a:cubicBezTo>
                    <a:cubicBezTo>
                      <a:pt x="5809" y="1701"/>
                      <a:pt x="5809" y="1701"/>
                      <a:pt x="5809" y="1701"/>
                    </a:cubicBezTo>
                    <a:cubicBezTo>
                      <a:pt x="5812" y="1687"/>
                      <a:pt x="5812" y="1687"/>
                      <a:pt x="5812" y="1687"/>
                    </a:cubicBezTo>
                    <a:cubicBezTo>
                      <a:pt x="6104" y="1740"/>
                      <a:pt x="6104" y="1740"/>
                      <a:pt x="6104" y="1740"/>
                    </a:cubicBezTo>
                    <a:cubicBezTo>
                      <a:pt x="6140" y="1639"/>
                      <a:pt x="6140" y="1639"/>
                      <a:pt x="6140" y="1639"/>
                    </a:cubicBezTo>
                    <a:cubicBezTo>
                      <a:pt x="5834" y="1595"/>
                      <a:pt x="5834" y="1595"/>
                      <a:pt x="5834" y="1595"/>
                    </a:cubicBezTo>
                    <a:cubicBezTo>
                      <a:pt x="5833" y="1598"/>
                      <a:pt x="5833" y="1602"/>
                      <a:pt x="5832" y="1605"/>
                    </a:cubicBezTo>
                    <a:cubicBezTo>
                      <a:pt x="5817" y="1663"/>
                      <a:pt x="5804" y="1714"/>
                      <a:pt x="5794" y="1752"/>
                    </a:cubicBezTo>
                    <a:cubicBezTo>
                      <a:pt x="5789" y="1771"/>
                      <a:pt x="5785" y="1786"/>
                      <a:pt x="5782" y="1796"/>
                    </a:cubicBezTo>
                    <a:cubicBezTo>
                      <a:pt x="5780" y="1802"/>
                      <a:pt x="5779" y="1806"/>
                      <a:pt x="5778" y="1809"/>
                    </a:cubicBezTo>
                    <a:close/>
                    <a:moveTo>
                      <a:pt x="5778" y="1823"/>
                    </a:moveTo>
                    <a:cubicBezTo>
                      <a:pt x="5782" y="1838"/>
                      <a:pt x="5791" y="1868"/>
                      <a:pt x="5801" y="1895"/>
                    </a:cubicBezTo>
                    <a:cubicBezTo>
                      <a:pt x="5811" y="1925"/>
                      <a:pt x="5821" y="1954"/>
                      <a:pt x="5824" y="1963"/>
                    </a:cubicBezTo>
                    <a:cubicBezTo>
                      <a:pt x="6011" y="1998"/>
                      <a:pt x="6011" y="1998"/>
                      <a:pt x="6011" y="1998"/>
                    </a:cubicBezTo>
                    <a:cubicBezTo>
                      <a:pt x="6052" y="1884"/>
                      <a:pt x="6052" y="1884"/>
                      <a:pt x="6052" y="1884"/>
                    </a:cubicBezTo>
                    <a:lnTo>
                      <a:pt x="5778" y="1823"/>
                    </a:lnTo>
                    <a:close/>
                    <a:moveTo>
                      <a:pt x="5790" y="2046"/>
                    </a:moveTo>
                    <a:cubicBezTo>
                      <a:pt x="5752" y="2041"/>
                      <a:pt x="5434" y="1980"/>
                      <a:pt x="5315" y="1958"/>
                    </a:cubicBezTo>
                    <a:cubicBezTo>
                      <a:pt x="5318" y="1964"/>
                      <a:pt x="5321" y="1970"/>
                      <a:pt x="5322" y="1977"/>
                    </a:cubicBezTo>
                    <a:cubicBezTo>
                      <a:pt x="5325" y="1990"/>
                      <a:pt x="5350" y="2041"/>
                      <a:pt x="5374" y="2101"/>
                    </a:cubicBezTo>
                    <a:cubicBezTo>
                      <a:pt x="5377" y="2106"/>
                      <a:pt x="5379" y="2112"/>
                      <a:pt x="5381" y="2117"/>
                    </a:cubicBezTo>
                    <a:cubicBezTo>
                      <a:pt x="5755" y="2166"/>
                      <a:pt x="5755" y="2166"/>
                      <a:pt x="5755" y="2166"/>
                    </a:cubicBezTo>
                    <a:lnTo>
                      <a:pt x="5790" y="2046"/>
                    </a:lnTo>
                    <a:close/>
                    <a:moveTo>
                      <a:pt x="5424" y="2268"/>
                    </a:moveTo>
                    <a:cubicBezTo>
                      <a:pt x="5450" y="2272"/>
                      <a:pt x="5504" y="2281"/>
                      <a:pt x="5560" y="2290"/>
                    </a:cubicBezTo>
                    <a:cubicBezTo>
                      <a:pt x="5624" y="2301"/>
                      <a:pt x="5691" y="2311"/>
                      <a:pt x="5713" y="2314"/>
                    </a:cubicBezTo>
                    <a:cubicBezTo>
                      <a:pt x="5751" y="2179"/>
                      <a:pt x="5751" y="2179"/>
                      <a:pt x="5751" y="2179"/>
                    </a:cubicBezTo>
                    <a:cubicBezTo>
                      <a:pt x="5387" y="2132"/>
                      <a:pt x="5387" y="2132"/>
                      <a:pt x="5387" y="2132"/>
                    </a:cubicBezTo>
                    <a:cubicBezTo>
                      <a:pt x="5403" y="2175"/>
                      <a:pt x="5417" y="2222"/>
                      <a:pt x="5424" y="2268"/>
                    </a:cubicBezTo>
                    <a:close/>
                    <a:moveTo>
                      <a:pt x="5415" y="2652"/>
                    </a:moveTo>
                    <a:cubicBezTo>
                      <a:pt x="5675" y="2611"/>
                      <a:pt x="5675" y="2611"/>
                      <a:pt x="5675" y="2611"/>
                    </a:cubicBezTo>
                    <a:cubicBezTo>
                      <a:pt x="5672" y="2463"/>
                      <a:pt x="5672" y="2463"/>
                      <a:pt x="5672" y="2463"/>
                    </a:cubicBezTo>
                    <a:cubicBezTo>
                      <a:pt x="5428" y="2442"/>
                      <a:pt x="5428" y="2442"/>
                      <a:pt x="5428" y="2442"/>
                    </a:cubicBezTo>
                    <a:cubicBezTo>
                      <a:pt x="5425" y="2507"/>
                      <a:pt x="5420" y="2582"/>
                      <a:pt x="5415" y="2652"/>
                    </a:cubicBezTo>
                    <a:close/>
                    <a:moveTo>
                      <a:pt x="5279" y="1988"/>
                    </a:moveTo>
                    <a:cubicBezTo>
                      <a:pt x="5276" y="1975"/>
                      <a:pt x="5261" y="1951"/>
                      <a:pt x="5247" y="1933"/>
                    </a:cubicBezTo>
                    <a:cubicBezTo>
                      <a:pt x="5242" y="1926"/>
                      <a:pt x="5237" y="1920"/>
                      <a:pt x="5233" y="1915"/>
                    </a:cubicBezTo>
                    <a:cubicBezTo>
                      <a:pt x="5163" y="1964"/>
                      <a:pt x="5076" y="2008"/>
                      <a:pt x="4968" y="2027"/>
                    </a:cubicBezTo>
                    <a:cubicBezTo>
                      <a:pt x="5124" y="2483"/>
                      <a:pt x="5124" y="2483"/>
                      <a:pt x="5124" y="2483"/>
                    </a:cubicBezTo>
                    <a:cubicBezTo>
                      <a:pt x="5251" y="2480"/>
                      <a:pt x="5350" y="2478"/>
                      <a:pt x="5381" y="2477"/>
                    </a:cubicBezTo>
                    <a:cubicBezTo>
                      <a:pt x="5384" y="2429"/>
                      <a:pt x="5385" y="2383"/>
                      <a:pt x="5385" y="2348"/>
                    </a:cubicBezTo>
                    <a:cubicBezTo>
                      <a:pt x="5385" y="2330"/>
                      <a:pt x="5385" y="2315"/>
                      <a:pt x="5384" y="2303"/>
                    </a:cubicBezTo>
                    <a:cubicBezTo>
                      <a:pt x="5380" y="2245"/>
                      <a:pt x="5356" y="2176"/>
                      <a:pt x="5333" y="2118"/>
                    </a:cubicBezTo>
                    <a:cubicBezTo>
                      <a:pt x="5309" y="2058"/>
                      <a:pt x="5285" y="2013"/>
                      <a:pt x="5279" y="1988"/>
                    </a:cubicBezTo>
                    <a:close/>
                    <a:moveTo>
                      <a:pt x="5185" y="2495"/>
                    </a:moveTo>
                    <a:cubicBezTo>
                      <a:pt x="5172" y="2880"/>
                      <a:pt x="5172" y="2880"/>
                      <a:pt x="5172" y="2880"/>
                    </a:cubicBezTo>
                    <a:cubicBezTo>
                      <a:pt x="5233" y="2870"/>
                      <a:pt x="5293" y="2861"/>
                      <a:pt x="5352" y="2853"/>
                    </a:cubicBezTo>
                    <a:cubicBezTo>
                      <a:pt x="5355" y="2820"/>
                      <a:pt x="5362" y="2752"/>
                      <a:pt x="5368" y="2673"/>
                    </a:cubicBezTo>
                    <a:cubicBezTo>
                      <a:pt x="5372" y="2614"/>
                      <a:pt x="5377" y="2551"/>
                      <a:pt x="5380" y="2491"/>
                    </a:cubicBezTo>
                    <a:cubicBezTo>
                      <a:pt x="5354" y="2492"/>
                      <a:pt x="5281" y="2493"/>
                      <a:pt x="5185" y="2495"/>
                    </a:cubicBezTo>
                    <a:close/>
                    <a:moveTo>
                      <a:pt x="4915" y="2501"/>
                    </a:moveTo>
                    <a:cubicBezTo>
                      <a:pt x="4934" y="2924"/>
                      <a:pt x="4934" y="2924"/>
                      <a:pt x="4934" y="2924"/>
                    </a:cubicBezTo>
                    <a:cubicBezTo>
                      <a:pt x="5009" y="2908"/>
                      <a:pt x="5083" y="2895"/>
                      <a:pt x="5158" y="2882"/>
                    </a:cubicBezTo>
                    <a:cubicBezTo>
                      <a:pt x="5171" y="2496"/>
                      <a:pt x="5171" y="2496"/>
                      <a:pt x="5171" y="2496"/>
                    </a:cubicBezTo>
                    <a:cubicBezTo>
                      <a:pt x="5095" y="2497"/>
                      <a:pt x="5006" y="2499"/>
                      <a:pt x="4915" y="2501"/>
                    </a:cubicBezTo>
                    <a:close/>
                    <a:moveTo>
                      <a:pt x="5710" y="5332"/>
                    </a:moveTo>
                    <a:cubicBezTo>
                      <a:pt x="5743" y="5339"/>
                      <a:pt x="5770" y="5343"/>
                      <a:pt x="5786" y="5346"/>
                    </a:cubicBezTo>
                    <a:cubicBezTo>
                      <a:pt x="5799" y="5229"/>
                      <a:pt x="5799" y="5229"/>
                      <a:pt x="5799" y="5229"/>
                    </a:cubicBezTo>
                    <a:cubicBezTo>
                      <a:pt x="5726" y="5216"/>
                      <a:pt x="5436" y="5161"/>
                      <a:pt x="5394" y="5153"/>
                    </a:cubicBezTo>
                    <a:cubicBezTo>
                      <a:pt x="5337" y="5432"/>
                      <a:pt x="5337" y="5432"/>
                      <a:pt x="5337" y="5432"/>
                    </a:cubicBezTo>
                    <a:cubicBezTo>
                      <a:pt x="5337" y="5433"/>
                      <a:pt x="5337" y="5433"/>
                      <a:pt x="5337" y="5433"/>
                    </a:cubicBezTo>
                    <a:cubicBezTo>
                      <a:pt x="5340" y="5421"/>
                      <a:pt x="5340" y="5421"/>
                      <a:pt x="5340" y="5421"/>
                    </a:cubicBezTo>
                    <a:cubicBezTo>
                      <a:pt x="5340" y="5421"/>
                      <a:pt x="5445" y="5441"/>
                      <a:pt x="5551" y="5461"/>
                    </a:cubicBezTo>
                    <a:cubicBezTo>
                      <a:pt x="5656" y="5481"/>
                      <a:pt x="5764" y="5501"/>
                      <a:pt x="5765" y="5501"/>
                    </a:cubicBezTo>
                    <a:cubicBezTo>
                      <a:pt x="5765" y="5515"/>
                      <a:pt x="5765" y="5515"/>
                      <a:pt x="5765" y="5515"/>
                    </a:cubicBezTo>
                    <a:cubicBezTo>
                      <a:pt x="5756" y="5515"/>
                      <a:pt x="5347" y="5437"/>
                      <a:pt x="5338" y="5435"/>
                    </a:cubicBezTo>
                    <a:cubicBezTo>
                      <a:pt x="5351" y="5564"/>
                      <a:pt x="5351" y="5564"/>
                      <a:pt x="5351" y="5564"/>
                    </a:cubicBezTo>
                    <a:cubicBezTo>
                      <a:pt x="5376" y="5569"/>
                      <a:pt x="5465" y="5585"/>
                      <a:pt x="5555" y="5602"/>
                    </a:cubicBezTo>
                    <a:cubicBezTo>
                      <a:pt x="5636" y="5618"/>
                      <a:pt x="5719" y="5633"/>
                      <a:pt x="5753" y="5639"/>
                    </a:cubicBezTo>
                    <a:cubicBezTo>
                      <a:pt x="5784" y="5360"/>
                      <a:pt x="5784" y="5360"/>
                      <a:pt x="5784" y="5360"/>
                    </a:cubicBezTo>
                    <a:cubicBezTo>
                      <a:pt x="5704" y="5346"/>
                      <a:pt x="5375" y="5283"/>
                      <a:pt x="5374" y="5283"/>
                    </a:cubicBezTo>
                    <a:cubicBezTo>
                      <a:pt x="5377" y="5269"/>
                      <a:pt x="5377" y="5269"/>
                      <a:pt x="5377" y="5269"/>
                    </a:cubicBezTo>
                    <a:cubicBezTo>
                      <a:pt x="5377" y="5269"/>
                      <a:pt x="5467" y="5287"/>
                      <a:pt x="5565" y="5305"/>
                    </a:cubicBezTo>
                    <a:cubicBezTo>
                      <a:pt x="5566" y="5300"/>
                      <a:pt x="5566" y="5300"/>
                      <a:pt x="5566" y="5300"/>
                    </a:cubicBezTo>
                    <a:cubicBezTo>
                      <a:pt x="5583" y="5203"/>
                      <a:pt x="5583" y="5203"/>
                      <a:pt x="5583" y="5203"/>
                    </a:cubicBezTo>
                    <a:cubicBezTo>
                      <a:pt x="5729" y="5230"/>
                      <a:pt x="5729" y="5230"/>
                      <a:pt x="5729" y="5230"/>
                    </a:cubicBezTo>
                    <a:lnTo>
                      <a:pt x="5710" y="5332"/>
                    </a:lnTo>
                    <a:close/>
                    <a:moveTo>
                      <a:pt x="5714" y="5240"/>
                    </a:moveTo>
                    <a:cubicBezTo>
                      <a:pt x="5594" y="5218"/>
                      <a:pt x="5594" y="5218"/>
                      <a:pt x="5594" y="5218"/>
                    </a:cubicBezTo>
                    <a:cubicBezTo>
                      <a:pt x="5580" y="5296"/>
                      <a:pt x="5580" y="5296"/>
                      <a:pt x="5580" y="5296"/>
                    </a:cubicBezTo>
                    <a:cubicBezTo>
                      <a:pt x="5700" y="5317"/>
                      <a:pt x="5700" y="5317"/>
                      <a:pt x="5700" y="5317"/>
                    </a:cubicBezTo>
                    <a:lnTo>
                      <a:pt x="5714" y="5240"/>
                    </a:lnTo>
                    <a:close/>
                    <a:moveTo>
                      <a:pt x="3363" y="6901"/>
                    </a:moveTo>
                    <a:cubicBezTo>
                      <a:pt x="3369" y="6858"/>
                      <a:pt x="3369" y="6858"/>
                      <a:pt x="3369" y="6858"/>
                    </a:cubicBezTo>
                    <a:cubicBezTo>
                      <a:pt x="3329" y="6853"/>
                      <a:pt x="3329" y="6853"/>
                      <a:pt x="3329" y="6853"/>
                    </a:cubicBezTo>
                    <a:cubicBezTo>
                      <a:pt x="3325" y="6881"/>
                      <a:pt x="3320" y="6916"/>
                      <a:pt x="3314" y="6955"/>
                    </a:cubicBezTo>
                    <a:cubicBezTo>
                      <a:pt x="3402" y="6967"/>
                      <a:pt x="3402" y="6967"/>
                      <a:pt x="3402" y="6967"/>
                    </a:cubicBezTo>
                    <a:cubicBezTo>
                      <a:pt x="3410" y="6907"/>
                      <a:pt x="3410" y="6907"/>
                      <a:pt x="3410" y="6907"/>
                    </a:cubicBezTo>
                    <a:lnTo>
                      <a:pt x="3363" y="6901"/>
                    </a:lnTo>
                    <a:close/>
                    <a:moveTo>
                      <a:pt x="3315" y="6851"/>
                    </a:moveTo>
                    <a:cubicBezTo>
                      <a:pt x="3279" y="6846"/>
                      <a:pt x="3279" y="6846"/>
                      <a:pt x="3279" y="6846"/>
                    </a:cubicBezTo>
                    <a:cubicBezTo>
                      <a:pt x="3274" y="6889"/>
                      <a:pt x="3274" y="6889"/>
                      <a:pt x="3274" y="6889"/>
                    </a:cubicBezTo>
                    <a:cubicBezTo>
                      <a:pt x="3227" y="6882"/>
                      <a:pt x="3227" y="6882"/>
                      <a:pt x="3227" y="6882"/>
                    </a:cubicBezTo>
                    <a:cubicBezTo>
                      <a:pt x="3219" y="6942"/>
                      <a:pt x="3219" y="6942"/>
                      <a:pt x="3219" y="6942"/>
                    </a:cubicBezTo>
                    <a:cubicBezTo>
                      <a:pt x="3300" y="6953"/>
                      <a:pt x="3300" y="6953"/>
                      <a:pt x="3300" y="6953"/>
                    </a:cubicBezTo>
                    <a:cubicBezTo>
                      <a:pt x="3306" y="6914"/>
                      <a:pt x="3311" y="6879"/>
                      <a:pt x="3315" y="6851"/>
                    </a:cubicBezTo>
                    <a:close/>
                    <a:moveTo>
                      <a:pt x="3122" y="6812"/>
                    </a:moveTo>
                    <a:cubicBezTo>
                      <a:pt x="3127" y="6769"/>
                      <a:pt x="3127" y="6769"/>
                      <a:pt x="3127" y="6769"/>
                    </a:cubicBezTo>
                    <a:cubicBezTo>
                      <a:pt x="3099" y="6765"/>
                      <a:pt x="3099" y="6765"/>
                      <a:pt x="3099" y="6765"/>
                    </a:cubicBezTo>
                    <a:cubicBezTo>
                      <a:pt x="3085" y="6867"/>
                      <a:pt x="3085" y="6867"/>
                      <a:pt x="3085" y="6867"/>
                    </a:cubicBezTo>
                    <a:cubicBezTo>
                      <a:pt x="3160" y="6877"/>
                      <a:pt x="3160" y="6877"/>
                      <a:pt x="3160" y="6877"/>
                    </a:cubicBezTo>
                    <a:cubicBezTo>
                      <a:pt x="3168" y="6818"/>
                      <a:pt x="3168" y="6818"/>
                      <a:pt x="3168" y="6818"/>
                    </a:cubicBezTo>
                    <a:lnTo>
                      <a:pt x="3122" y="6812"/>
                    </a:lnTo>
                    <a:close/>
                    <a:moveTo>
                      <a:pt x="1824" y="6729"/>
                    </a:moveTo>
                    <a:cubicBezTo>
                      <a:pt x="2042" y="6863"/>
                      <a:pt x="2042" y="6863"/>
                      <a:pt x="2042" y="6863"/>
                    </a:cubicBezTo>
                    <a:cubicBezTo>
                      <a:pt x="2141" y="6766"/>
                      <a:pt x="2141" y="6766"/>
                      <a:pt x="2141" y="6766"/>
                    </a:cubicBezTo>
                    <a:cubicBezTo>
                      <a:pt x="1924" y="6632"/>
                      <a:pt x="1924" y="6632"/>
                      <a:pt x="1924" y="6632"/>
                    </a:cubicBezTo>
                    <a:cubicBezTo>
                      <a:pt x="1887" y="6667"/>
                      <a:pt x="1853" y="6700"/>
                      <a:pt x="1824" y="6729"/>
                    </a:cubicBezTo>
                    <a:close/>
                    <a:moveTo>
                      <a:pt x="1911" y="6625"/>
                    </a:moveTo>
                    <a:cubicBezTo>
                      <a:pt x="1791" y="6550"/>
                      <a:pt x="1791" y="6550"/>
                      <a:pt x="1791" y="6550"/>
                    </a:cubicBezTo>
                    <a:cubicBezTo>
                      <a:pt x="1723" y="6667"/>
                      <a:pt x="1723" y="6667"/>
                      <a:pt x="1723" y="6667"/>
                    </a:cubicBezTo>
                    <a:cubicBezTo>
                      <a:pt x="1811" y="6721"/>
                      <a:pt x="1811" y="6721"/>
                      <a:pt x="1811" y="6721"/>
                    </a:cubicBezTo>
                    <a:cubicBezTo>
                      <a:pt x="1840" y="6693"/>
                      <a:pt x="1875" y="6660"/>
                      <a:pt x="1911" y="6625"/>
                    </a:cubicBezTo>
                    <a:close/>
                    <a:moveTo>
                      <a:pt x="2059" y="6260"/>
                    </a:moveTo>
                    <a:cubicBezTo>
                      <a:pt x="2055" y="6259"/>
                      <a:pt x="2055" y="6259"/>
                      <a:pt x="2055" y="6259"/>
                    </a:cubicBezTo>
                    <a:cubicBezTo>
                      <a:pt x="2387" y="6379"/>
                      <a:pt x="2387" y="6379"/>
                      <a:pt x="2387" y="6379"/>
                    </a:cubicBezTo>
                    <a:cubicBezTo>
                      <a:pt x="2607" y="5805"/>
                      <a:pt x="2607" y="5805"/>
                      <a:pt x="2607" y="5805"/>
                    </a:cubicBezTo>
                    <a:cubicBezTo>
                      <a:pt x="2479" y="5768"/>
                      <a:pt x="2353" y="5734"/>
                      <a:pt x="2352" y="5734"/>
                    </a:cubicBezTo>
                    <a:cubicBezTo>
                      <a:pt x="2350" y="5733"/>
                      <a:pt x="2350" y="5733"/>
                      <a:pt x="2350" y="5733"/>
                    </a:cubicBezTo>
                    <a:cubicBezTo>
                      <a:pt x="2245" y="5581"/>
                      <a:pt x="2245" y="5581"/>
                      <a:pt x="2245" y="5581"/>
                    </a:cubicBezTo>
                    <a:cubicBezTo>
                      <a:pt x="2083" y="5525"/>
                      <a:pt x="2083" y="5525"/>
                      <a:pt x="2083" y="5525"/>
                    </a:cubicBezTo>
                    <a:cubicBezTo>
                      <a:pt x="1958" y="5805"/>
                      <a:pt x="1958" y="5805"/>
                      <a:pt x="1958" y="5805"/>
                    </a:cubicBezTo>
                    <a:cubicBezTo>
                      <a:pt x="2057" y="6247"/>
                      <a:pt x="2057" y="6247"/>
                      <a:pt x="2057" y="6247"/>
                    </a:cubicBezTo>
                    <a:lnTo>
                      <a:pt x="2059" y="6260"/>
                    </a:lnTo>
                    <a:close/>
                    <a:moveTo>
                      <a:pt x="2473" y="3886"/>
                    </a:moveTo>
                    <a:cubicBezTo>
                      <a:pt x="2473" y="3873"/>
                      <a:pt x="2473" y="3873"/>
                      <a:pt x="2473" y="3873"/>
                    </a:cubicBezTo>
                    <a:cubicBezTo>
                      <a:pt x="2354" y="4062"/>
                      <a:pt x="2354" y="4062"/>
                      <a:pt x="2354" y="4062"/>
                    </a:cubicBezTo>
                    <a:cubicBezTo>
                      <a:pt x="2337" y="4137"/>
                      <a:pt x="2337" y="4137"/>
                      <a:pt x="2337" y="4137"/>
                    </a:cubicBezTo>
                    <a:cubicBezTo>
                      <a:pt x="2428" y="4181"/>
                      <a:pt x="2428" y="4181"/>
                      <a:pt x="2428" y="4181"/>
                    </a:cubicBezTo>
                    <a:cubicBezTo>
                      <a:pt x="2429" y="4178"/>
                      <a:pt x="2431" y="4175"/>
                      <a:pt x="2432" y="4173"/>
                    </a:cubicBezTo>
                    <a:cubicBezTo>
                      <a:pt x="2467" y="4106"/>
                      <a:pt x="2498" y="4056"/>
                      <a:pt x="2529" y="4007"/>
                    </a:cubicBezTo>
                    <a:cubicBezTo>
                      <a:pt x="2554" y="3967"/>
                      <a:pt x="2581" y="3928"/>
                      <a:pt x="2612" y="3886"/>
                    </a:cubicBezTo>
                    <a:cubicBezTo>
                      <a:pt x="2599" y="3886"/>
                      <a:pt x="2586" y="3886"/>
                      <a:pt x="2572" y="3886"/>
                    </a:cubicBezTo>
                    <a:cubicBezTo>
                      <a:pt x="2524" y="3886"/>
                      <a:pt x="2477" y="3886"/>
                      <a:pt x="2473" y="3886"/>
                    </a:cubicBezTo>
                    <a:close/>
                    <a:moveTo>
                      <a:pt x="5086" y="4799"/>
                    </a:moveTo>
                    <a:cubicBezTo>
                      <a:pt x="5087" y="4790"/>
                      <a:pt x="5087" y="4790"/>
                      <a:pt x="5087" y="4790"/>
                    </a:cubicBezTo>
                    <a:cubicBezTo>
                      <a:pt x="5065" y="4831"/>
                      <a:pt x="5038" y="4872"/>
                      <a:pt x="5011" y="4911"/>
                    </a:cubicBezTo>
                    <a:cubicBezTo>
                      <a:pt x="5035" y="4912"/>
                      <a:pt x="5072" y="4915"/>
                      <a:pt x="5113" y="4917"/>
                    </a:cubicBezTo>
                    <a:cubicBezTo>
                      <a:pt x="5114" y="4912"/>
                      <a:pt x="5114" y="4912"/>
                      <a:pt x="5114" y="4912"/>
                    </a:cubicBezTo>
                    <a:cubicBezTo>
                      <a:pt x="5118" y="4814"/>
                      <a:pt x="5118" y="4814"/>
                      <a:pt x="5118" y="4814"/>
                    </a:cubicBezTo>
                    <a:cubicBezTo>
                      <a:pt x="5266" y="4822"/>
                      <a:pt x="5266" y="4822"/>
                      <a:pt x="5266" y="4822"/>
                    </a:cubicBezTo>
                    <a:cubicBezTo>
                      <a:pt x="5261" y="4926"/>
                      <a:pt x="5261" y="4926"/>
                      <a:pt x="5261" y="4926"/>
                    </a:cubicBezTo>
                    <a:cubicBezTo>
                      <a:pt x="5185" y="4922"/>
                      <a:pt x="5185" y="4922"/>
                      <a:pt x="5185" y="4922"/>
                    </a:cubicBezTo>
                    <a:cubicBezTo>
                      <a:pt x="5288" y="4929"/>
                      <a:pt x="5395" y="4937"/>
                      <a:pt x="5422" y="4939"/>
                    </a:cubicBezTo>
                    <a:cubicBezTo>
                      <a:pt x="5445" y="4824"/>
                      <a:pt x="5445" y="4824"/>
                      <a:pt x="5445" y="4824"/>
                    </a:cubicBezTo>
                    <a:cubicBezTo>
                      <a:pt x="5394" y="4822"/>
                      <a:pt x="5086" y="4799"/>
                      <a:pt x="5086" y="4799"/>
                    </a:cubicBezTo>
                    <a:close/>
                    <a:moveTo>
                      <a:pt x="5727" y="4236"/>
                    </a:moveTo>
                    <a:cubicBezTo>
                      <a:pt x="5728" y="4236"/>
                      <a:pt x="5728" y="4236"/>
                      <a:pt x="5728" y="4236"/>
                    </a:cubicBezTo>
                    <a:cubicBezTo>
                      <a:pt x="5728" y="4236"/>
                      <a:pt x="5809" y="4231"/>
                      <a:pt x="5848" y="4229"/>
                    </a:cubicBezTo>
                    <a:cubicBezTo>
                      <a:pt x="5868" y="3974"/>
                      <a:pt x="5868" y="3974"/>
                      <a:pt x="5868" y="3974"/>
                    </a:cubicBezTo>
                    <a:cubicBezTo>
                      <a:pt x="5589" y="3953"/>
                      <a:pt x="5589" y="3953"/>
                      <a:pt x="5589" y="3953"/>
                    </a:cubicBezTo>
                    <a:cubicBezTo>
                      <a:pt x="5119" y="4012"/>
                      <a:pt x="5119" y="4012"/>
                      <a:pt x="5119" y="4012"/>
                    </a:cubicBezTo>
                    <a:cubicBezTo>
                      <a:pt x="5139" y="4175"/>
                      <a:pt x="5155" y="4300"/>
                      <a:pt x="5161" y="4331"/>
                    </a:cubicBezTo>
                    <a:cubicBezTo>
                      <a:pt x="5167" y="4359"/>
                      <a:pt x="5169" y="4387"/>
                      <a:pt x="5169" y="4416"/>
                    </a:cubicBezTo>
                    <a:cubicBezTo>
                      <a:pt x="5169" y="4419"/>
                      <a:pt x="5169" y="4422"/>
                      <a:pt x="5169" y="4425"/>
                    </a:cubicBezTo>
                    <a:lnTo>
                      <a:pt x="5727" y="4236"/>
                    </a:lnTo>
                    <a:close/>
                    <a:moveTo>
                      <a:pt x="5312" y="4391"/>
                    </a:moveTo>
                    <a:cubicBezTo>
                      <a:pt x="5315" y="4412"/>
                      <a:pt x="5318" y="4474"/>
                      <a:pt x="5321" y="4537"/>
                    </a:cubicBezTo>
                    <a:cubicBezTo>
                      <a:pt x="5322" y="4572"/>
                      <a:pt x="5323" y="4606"/>
                      <a:pt x="5325" y="4631"/>
                    </a:cubicBezTo>
                    <a:cubicBezTo>
                      <a:pt x="5325" y="4643"/>
                      <a:pt x="5325" y="4653"/>
                      <a:pt x="5326" y="4660"/>
                    </a:cubicBezTo>
                    <a:cubicBezTo>
                      <a:pt x="5650" y="4689"/>
                      <a:pt x="5650" y="4689"/>
                      <a:pt x="5650" y="4689"/>
                    </a:cubicBezTo>
                    <a:cubicBezTo>
                      <a:pt x="5643" y="4643"/>
                      <a:pt x="5628" y="4532"/>
                      <a:pt x="5625" y="4513"/>
                    </a:cubicBezTo>
                    <a:cubicBezTo>
                      <a:pt x="5424" y="4353"/>
                      <a:pt x="5424" y="4353"/>
                      <a:pt x="5424" y="4353"/>
                    </a:cubicBezTo>
                    <a:lnTo>
                      <a:pt x="5312" y="4391"/>
                    </a:lnTo>
                    <a:close/>
                    <a:moveTo>
                      <a:pt x="5306" y="4516"/>
                    </a:moveTo>
                    <a:cubicBezTo>
                      <a:pt x="5304" y="4483"/>
                      <a:pt x="5303" y="4451"/>
                      <a:pt x="5301" y="4427"/>
                    </a:cubicBezTo>
                    <a:cubicBezTo>
                      <a:pt x="5300" y="4415"/>
                      <a:pt x="5300" y="4405"/>
                      <a:pt x="5299" y="4399"/>
                    </a:cubicBezTo>
                    <a:cubicBezTo>
                      <a:pt x="5299" y="4397"/>
                      <a:pt x="5299" y="4397"/>
                      <a:pt x="5298" y="4396"/>
                    </a:cubicBezTo>
                    <a:cubicBezTo>
                      <a:pt x="5168" y="4440"/>
                      <a:pt x="5168" y="4440"/>
                      <a:pt x="5168" y="4440"/>
                    </a:cubicBezTo>
                    <a:cubicBezTo>
                      <a:pt x="5165" y="4512"/>
                      <a:pt x="5151" y="4583"/>
                      <a:pt x="5137" y="4643"/>
                    </a:cubicBezTo>
                    <a:cubicBezTo>
                      <a:pt x="5312" y="4659"/>
                      <a:pt x="5312" y="4659"/>
                      <a:pt x="5312" y="4659"/>
                    </a:cubicBezTo>
                    <a:cubicBezTo>
                      <a:pt x="5310" y="4631"/>
                      <a:pt x="5308" y="4573"/>
                      <a:pt x="5306" y="4516"/>
                    </a:cubicBezTo>
                    <a:close/>
                    <a:moveTo>
                      <a:pt x="5089" y="4786"/>
                    </a:moveTo>
                    <a:cubicBezTo>
                      <a:pt x="5108" y="4787"/>
                      <a:pt x="5410" y="4809"/>
                      <a:pt x="5448" y="4810"/>
                    </a:cubicBezTo>
                    <a:cubicBezTo>
                      <a:pt x="5467" y="4718"/>
                      <a:pt x="5467" y="4718"/>
                      <a:pt x="5467" y="4718"/>
                    </a:cubicBezTo>
                    <a:cubicBezTo>
                      <a:pt x="5127" y="4688"/>
                      <a:pt x="5127" y="4688"/>
                      <a:pt x="5127" y="4688"/>
                    </a:cubicBezTo>
                    <a:cubicBezTo>
                      <a:pt x="5126" y="4688"/>
                      <a:pt x="5126" y="4690"/>
                      <a:pt x="5126" y="4690"/>
                    </a:cubicBezTo>
                    <a:cubicBezTo>
                      <a:pt x="5118" y="4722"/>
                      <a:pt x="5105" y="4754"/>
                      <a:pt x="5089" y="4786"/>
                    </a:cubicBezTo>
                    <a:close/>
                    <a:moveTo>
                      <a:pt x="5049" y="6121"/>
                    </a:moveTo>
                    <a:cubicBezTo>
                      <a:pt x="5049" y="6134"/>
                      <a:pt x="5049" y="6144"/>
                      <a:pt x="5048" y="6153"/>
                    </a:cubicBezTo>
                    <a:cubicBezTo>
                      <a:pt x="5292" y="6151"/>
                      <a:pt x="5292" y="6151"/>
                      <a:pt x="5292" y="6151"/>
                    </a:cubicBezTo>
                    <a:cubicBezTo>
                      <a:pt x="5311" y="6155"/>
                      <a:pt x="5311" y="6155"/>
                      <a:pt x="5311" y="6155"/>
                    </a:cubicBezTo>
                    <a:cubicBezTo>
                      <a:pt x="5316" y="6143"/>
                      <a:pt x="5331" y="6083"/>
                      <a:pt x="5345" y="6026"/>
                    </a:cubicBezTo>
                    <a:cubicBezTo>
                      <a:pt x="5358" y="5970"/>
                      <a:pt x="5370" y="5916"/>
                      <a:pt x="5372" y="5907"/>
                    </a:cubicBezTo>
                    <a:cubicBezTo>
                      <a:pt x="5356" y="5747"/>
                      <a:pt x="5356" y="5747"/>
                      <a:pt x="5356" y="5747"/>
                    </a:cubicBezTo>
                    <a:cubicBezTo>
                      <a:pt x="5347" y="5745"/>
                      <a:pt x="5341" y="5744"/>
                      <a:pt x="5341" y="5744"/>
                    </a:cubicBezTo>
                    <a:cubicBezTo>
                      <a:pt x="5338" y="5743"/>
                      <a:pt x="5220" y="5726"/>
                      <a:pt x="5105" y="5710"/>
                    </a:cubicBezTo>
                    <a:cubicBezTo>
                      <a:pt x="5034" y="5700"/>
                      <a:pt x="4963" y="5689"/>
                      <a:pt x="4919" y="5683"/>
                    </a:cubicBezTo>
                    <a:cubicBezTo>
                      <a:pt x="5037" y="5845"/>
                      <a:pt x="5049" y="6034"/>
                      <a:pt x="5049" y="6121"/>
                    </a:cubicBezTo>
                    <a:close/>
                    <a:moveTo>
                      <a:pt x="5354" y="5733"/>
                    </a:moveTo>
                    <a:cubicBezTo>
                      <a:pt x="5323" y="5432"/>
                      <a:pt x="5323" y="5432"/>
                      <a:pt x="5323" y="5432"/>
                    </a:cubicBezTo>
                    <a:cubicBezTo>
                      <a:pt x="5420" y="4953"/>
                      <a:pt x="5420" y="4953"/>
                      <a:pt x="5420" y="4953"/>
                    </a:cubicBezTo>
                    <a:cubicBezTo>
                      <a:pt x="5367" y="4949"/>
                      <a:pt x="5085" y="4928"/>
                      <a:pt x="5001" y="4925"/>
                    </a:cubicBezTo>
                    <a:cubicBezTo>
                      <a:pt x="4982" y="4952"/>
                      <a:pt x="4963" y="4979"/>
                      <a:pt x="4946" y="5004"/>
                    </a:cubicBezTo>
                    <a:cubicBezTo>
                      <a:pt x="4920" y="5042"/>
                      <a:pt x="4912" y="5074"/>
                      <a:pt x="4912" y="5109"/>
                    </a:cubicBezTo>
                    <a:cubicBezTo>
                      <a:pt x="4912" y="5154"/>
                      <a:pt x="4927" y="5206"/>
                      <a:pt x="4946" y="5271"/>
                    </a:cubicBezTo>
                    <a:cubicBezTo>
                      <a:pt x="4959" y="5318"/>
                      <a:pt x="4965" y="5359"/>
                      <a:pt x="4965" y="5397"/>
                    </a:cubicBezTo>
                    <a:cubicBezTo>
                      <a:pt x="4965" y="5501"/>
                      <a:pt x="4917" y="5571"/>
                      <a:pt x="4872" y="5626"/>
                    </a:cubicBezTo>
                    <a:cubicBezTo>
                      <a:pt x="4885" y="5639"/>
                      <a:pt x="4897" y="5653"/>
                      <a:pt x="4908" y="5667"/>
                    </a:cubicBezTo>
                    <a:cubicBezTo>
                      <a:pt x="5011" y="5682"/>
                      <a:pt x="5336" y="5729"/>
                      <a:pt x="5344" y="5731"/>
                    </a:cubicBezTo>
                    <a:cubicBezTo>
                      <a:pt x="5344" y="5731"/>
                      <a:pt x="5348" y="5731"/>
                      <a:pt x="5354" y="5733"/>
                    </a:cubicBezTo>
                    <a:close/>
                    <a:moveTo>
                      <a:pt x="2700" y="6493"/>
                    </a:moveTo>
                    <a:cubicBezTo>
                      <a:pt x="2714" y="6427"/>
                      <a:pt x="2745" y="6297"/>
                      <a:pt x="2800" y="6209"/>
                    </a:cubicBezTo>
                    <a:cubicBezTo>
                      <a:pt x="2833" y="6157"/>
                      <a:pt x="2888" y="6139"/>
                      <a:pt x="2950" y="6117"/>
                    </a:cubicBezTo>
                    <a:cubicBezTo>
                      <a:pt x="2974" y="6108"/>
                      <a:pt x="3003" y="6101"/>
                      <a:pt x="3034" y="6094"/>
                    </a:cubicBezTo>
                    <a:cubicBezTo>
                      <a:pt x="3022" y="6073"/>
                      <a:pt x="3002" y="6042"/>
                      <a:pt x="2976" y="6008"/>
                    </a:cubicBezTo>
                    <a:cubicBezTo>
                      <a:pt x="2930" y="5949"/>
                      <a:pt x="2865" y="5885"/>
                      <a:pt x="2793" y="5861"/>
                    </a:cubicBezTo>
                    <a:cubicBezTo>
                      <a:pt x="2745" y="5845"/>
                      <a:pt x="2683" y="5827"/>
                      <a:pt x="2621" y="5809"/>
                    </a:cubicBezTo>
                    <a:cubicBezTo>
                      <a:pt x="2400" y="6384"/>
                      <a:pt x="2400" y="6384"/>
                      <a:pt x="2400" y="6384"/>
                    </a:cubicBezTo>
                    <a:lnTo>
                      <a:pt x="2700" y="6493"/>
                    </a:lnTo>
                    <a:close/>
                    <a:moveTo>
                      <a:pt x="2459" y="6475"/>
                    </a:moveTo>
                    <a:cubicBezTo>
                      <a:pt x="2163" y="6765"/>
                      <a:pt x="2163" y="6765"/>
                      <a:pt x="2163" y="6765"/>
                    </a:cubicBezTo>
                    <a:cubicBezTo>
                      <a:pt x="2351" y="6881"/>
                      <a:pt x="2351" y="6881"/>
                      <a:pt x="2351" y="6881"/>
                    </a:cubicBezTo>
                    <a:cubicBezTo>
                      <a:pt x="2481" y="6756"/>
                      <a:pt x="2640" y="6605"/>
                      <a:pt x="2689" y="6558"/>
                    </a:cubicBezTo>
                    <a:lnTo>
                      <a:pt x="2459" y="6475"/>
                    </a:lnTo>
                    <a:close/>
                    <a:moveTo>
                      <a:pt x="2442" y="4576"/>
                    </a:moveTo>
                    <a:cubicBezTo>
                      <a:pt x="2430" y="4606"/>
                      <a:pt x="2391" y="4721"/>
                      <a:pt x="2375" y="4768"/>
                    </a:cubicBezTo>
                    <a:cubicBezTo>
                      <a:pt x="2620" y="4779"/>
                      <a:pt x="2620" y="4779"/>
                      <a:pt x="2620" y="4779"/>
                    </a:cubicBezTo>
                    <a:cubicBezTo>
                      <a:pt x="2582" y="4901"/>
                      <a:pt x="2582" y="4901"/>
                      <a:pt x="2582" y="4901"/>
                    </a:cubicBezTo>
                    <a:cubicBezTo>
                      <a:pt x="2605" y="4905"/>
                      <a:pt x="2664" y="4914"/>
                      <a:pt x="2725" y="4924"/>
                    </a:cubicBezTo>
                    <a:cubicBezTo>
                      <a:pt x="2789" y="4934"/>
                      <a:pt x="2856" y="4944"/>
                      <a:pt x="2875" y="4947"/>
                    </a:cubicBezTo>
                    <a:cubicBezTo>
                      <a:pt x="2891" y="4903"/>
                      <a:pt x="2984" y="4638"/>
                      <a:pt x="3003" y="4584"/>
                    </a:cubicBezTo>
                    <a:cubicBezTo>
                      <a:pt x="2876" y="4540"/>
                      <a:pt x="2876" y="4540"/>
                      <a:pt x="2876" y="4540"/>
                    </a:cubicBezTo>
                    <a:cubicBezTo>
                      <a:pt x="2782" y="4434"/>
                      <a:pt x="2782" y="4434"/>
                      <a:pt x="2782" y="4434"/>
                    </a:cubicBezTo>
                    <a:cubicBezTo>
                      <a:pt x="2696" y="4517"/>
                      <a:pt x="2696" y="4517"/>
                      <a:pt x="2696" y="4517"/>
                    </a:cubicBezTo>
                    <a:cubicBezTo>
                      <a:pt x="2512" y="4570"/>
                      <a:pt x="2512" y="4570"/>
                      <a:pt x="2512" y="4570"/>
                    </a:cubicBezTo>
                    <a:lnTo>
                      <a:pt x="2442" y="4576"/>
                    </a:lnTo>
                    <a:close/>
                    <a:moveTo>
                      <a:pt x="2504" y="4526"/>
                    </a:moveTo>
                    <a:cubicBezTo>
                      <a:pt x="2673" y="4477"/>
                      <a:pt x="2673" y="4477"/>
                      <a:pt x="2673" y="4477"/>
                    </a:cubicBezTo>
                    <a:cubicBezTo>
                      <a:pt x="2765" y="4387"/>
                      <a:pt x="2765" y="4387"/>
                      <a:pt x="2765" y="4387"/>
                    </a:cubicBezTo>
                    <a:cubicBezTo>
                      <a:pt x="2773" y="4366"/>
                      <a:pt x="2773" y="4366"/>
                      <a:pt x="2773" y="4366"/>
                    </a:cubicBezTo>
                    <a:cubicBezTo>
                      <a:pt x="2772" y="4366"/>
                      <a:pt x="2772" y="4366"/>
                      <a:pt x="2772" y="4366"/>
                    </a:cubicBezTo>
                    <a:cubicBezTo>
                      <a:pt x="2765" y="4367"/>
                      <a:pt x="2742" y="4383"/>
                      <a:pt x="2721" y="4402"/>
                    </a:cubicBezTo>
                    <a:cubicBezTo>
                      <a:pt x="2700" y="4421"/>
                      <a:pt x="2679" y="4441"/>
                      <a:pt x="2665" y="4453"/>
                    </a:cubicBezTo>
                    <a:cubicBezTo>
                      <a:pt x="2636" y="4474"/>
                      <a:pt x="2574" y="4480"/>
                      <a:pt x="2524" y="4481"/>
                    </a:cubicBezTo>
                    <a:cubicBezTo>
                      <a:pt x="2514" y="4481"/>
                      <a:pt x="2505" y="4481"/>
                      <a:pt x="2496" y="4480"/>
                    </a:cubicBezTo>
                    <a:cubicBezTo>
                      <a:pt x="2471" y="4478"/>
                      <a:pt x="2455" y="4467"/>
                      <a:pt x="2448" y="4454"/>
                    </a:cubicBezTo>
                    <a:cubicBezTo>
                      <a:pt x="2445" y="4450"/>
                      <a:pt x="2443" y="4446"/>
                      <a:pt x="2442" y="4443"/>
                    </a:cubicBezTo>
                    <a:cubicBezTo>
                      <a:pt x="2424" y="4453"/>
                      <a:pt x="2399" y="4459"/>
                      <a:pt x="2371" y="4463"/>
                    </a:cubicBezTo>
                    <a:cubicBezTo>
                      <a:pt x="2360" y="4490"/>
                      <a:pt x="2349" y="4515"/>
                      <a:pt x="2340" y="4539"/>
                    </a:cubicBezTo>
                    <a:lnTo>
                      <a:pt x="2504" y="4526"/>
                    </a:lnTo>
                    <a:close/>
                    <a:moveTo>
                      <a:pt x="2925" y="4327"/>
                    </a:moveTo>
                    <a:cubicBezTo>
                      <a:pt x="2925" y="4327"/>
                      <a:pt x="2925" y="4327"/>
                      <a:pt x="2925" y="4327"/>
                    </a:cubicBezTo>
                    <a:cubicBezTo>
                      <a:pt x="2922" y="4326"/>
                      <a:pt x="2923" y="4324"/>
                      <a:pt x="2922" y="4324"/>
                    </a:cubicBezTo>
                    <a:cubicBezTo>
                      <a:pt x="2917" y="4318"/>
                      <a:pt x="2904" y="4292"/>
                      <a:pt x="2890" y="4265"/>
                    </a:cubicBezTo>
                    <a:cubicBezTo>
                      <a:pt x="2884" y="4253"/>
                      <a:pt x="2878" y="4241"/>
                      <a:pt x="2873" y="4231"/>
                    </a:cubicBezTo>
                    <a:cubicBezTo>
                      <a:pt x="2830" y="4342"/>
                      <a:pt x="2830" y="4342"/>
                      <a:pt x="2830" y="4342"/>
                    </a:cubicBezTo>
                    <a:cubicBezTo>
                      <a:pt x="2854" y="4346"/>
                      <a:pt x="2883" y="4357"/>
                      <a:pt x="2917" y="4380"/>
                    </a:cubicBezTo>
                    <a:cubicBezTo>
                      <a:pt x="2988" y="4426"/>
                      <a:pt x="3058" y="4435"/>
                      <a:pt x="3117" y="4494"/>
                    </a:cubicBezTo>
                    <a:cubicBezTo>
                      <a:pt x="3171" y="4550"/>
                      <a:pt x="3211" y="4604"/>
                      <a:pt x="3211" y="4605"/>
                    </a:cubicBezTo>
                    <a:cubicBezTo>
                      <a:pt x="3208" y="4607"/>
                      <a:pt x="3208" y="4607"/>
                      <a:pt x="3208" y="4607"/>
                    </a:cubicBezTo>
                    <a:cubicBezTo>
                      <a:pt x="3243" y="4620"/>
                      <a:pt x="3243" y="4620"/>
                      <a:pt x="3243" y="4620"/>
                    </a:cubicBezTo>
                    <a:cubicBezTo>
                      <a:pt x="3329" y="4664"/>
                      <a:pt x="3329" y="4664"/>
                      <a:pt x="3329" y="4664"/>
                    </a:cubicBezTo>
                    <a:cubicBezTo>
                      <a:pt x="3317" y="4646"/>
                      <a:pt x="3301" y="4623"/>
                      <a:pt x="3282" y="4598"/>
                    </a:cubicBezTo>
                    <a:cubicBezTo>
                      <a:pt x="3244" y="4547"/>
                      <a:pt x="3197" y="4489"/>
                      <a:pt x="3165" y="4465"/>
                    </a:cubicBezTo>
                    <a:cubicBezTo>
                      <a:pt x="3099" y="4413"/>
                      <a:pt x="2975" y="4347"/>
                      <a:pt x="2925" y="4327"/>
                    </a:cubicBezTo>
                    <a:close/>
                    <a:moveTo>
                      <a:pt x="3138" y="4131"/>
                    </a:moveTo>
                    <a:cubicBezTo>
                      <a:pt x="3141" y="4125"/>
                      <a:pt x="3141" y="4125"/>
                      <a:pt x="3141" y="4125"/>
                    </a:cubicBezTo>
                    <a:cubicBezTo>
                      <a:pt x="3122" y="4148"/>
                      <a:pt x="3122" y="4148"/>
                      <a:pt x="3122" y="4148"/>
                    </a:cubicBezTo>
                    <a:cubicBezTo>
                      <a:pt x="3221" y="4226"/>
                      <a:pt x="3221" y="4226"/>
                      <a:pt x="3221" y="4226"/>
                    </a:cubicBezTo>
                    <a:cubicBezTo>
                      <a:pt x="3221" y="4226"/>
                      <a:pt x="3221" y="4226"/>
                      <a:pt x="3221" y="4226"/>
                    </a:cubicBezTo>
                    <a:cubicBezTo>
                      <a:pt x="3222" y="4226"/>
                      <a:pt x="3222" y="4226"/>
                      <a:pt x="3222" y="4226"/>
                    </a:cubicBezTo>
                    <a:cubicBezTo>
                      <a:pt x="3255" y="4193"/>
                      <a:pt x="3255" y="4193"/>
                      <a:pt x="3255" y="4193"/>
                    </a:cubicBezTo>
                    <a:lnTo>
                      <a:pt x="3138" y="4131"/>
                    </a:lnTo>
                    <a:close/>
                    <a:moveTo>
                      <a:pt x="3949" y="3904"/>
                    </a:moveTo>
                    <a:cubicBezTo>
                      <a:pt x="3951" y="3902"/>
                      <a:pt x="3951" y="3902"/>
                      <a:pt x="3951" y="3902"/>
                    </a:cubicBezTo>
                    <a:cubicBezTo>
                      <a:pt x="3632" y="4012"/>
                      <a:pt x="3632" y="4012"/>
                      <a:pt x="3632" y="4012"/>
                    </a:cubicBezTo>
                    <a:cubicBezTo>
                      <a:pt x="4233" y="4797"/>
                      <a:pt x="4233" y="4797"/>
                      <a:pt x="4233" y="4797"/>
                    </a:cubicBezTo>
                    <a:cubicBezTo>
                      <a:pt x="4296" y="4710"/>
                      <a:pt x="4296" y="4710"/>
                      <a:pt x="4296" y="4710"/>
                    </a:cubicBezTo>
                    <a:cubicBezTo>
                      <a:pt x="4307" y="4444"/>
                      <a:pt x="4307" y="4444"/>
                      <a:pt x="4307" y="4444"/>
                    </a:cubicBezTo>
                    <a:lnTo>
                      <a:pt x="3949" y="3904"/>
                    </a:lnTo>
                    <a:close/>
                    <a:moveTo>
                      <a:pt x="4289" y="5450"/>
                    </a:moveTo>
                    <a:cubicBezTo>
                      <a:pt x="4301" y="5385"/>
                      <a:pt x="4301" y="5385"/>
                      <a:pt x="4301" y="5385"/>
                    </a:cubicBezTo>
                    <a:cubicBezTo>
                      <a:pt x="4209" y="5224"/>
                      <a:pt x="4209" y="5224"/>
                      <a:pt x="4209" y="5224"/>
                    </a:cubicBezTo>
                    <a:cubicBezTo>
                      <a:pt x="4266" y="5183"/>
                      <a:pt x="4266" y="5183"/>
                      <a:pt x="4266" y="5183"/>
                    </a:cubicBezTo>
                    <a:cubicBezTo>
                      <a:pt x="4174" y="4965"/>
                      <a:pt x="4174" y="4965"/>
                      <a:pt x="4174" y="4965"/>
                    </a:cubicBezTo>
                    <a:cubicBezTo>
                      <a:pt x="4173" y="4966"/>
                      <a:pt x="4172" y="4967"/>
                      <a:pt x="4171" y="4968"/>
                    </a:cubicBezTo>
                    <a:cubicBezTo>
                      <a:pt x="4150" y="4987"/>
                      <a:pt x="4128" y="5009"/>
                      <a:pt x="4113" y="5028"/>
                    </a:cubicBezTo>
                    <a:cubicBezTo>
                      <a:pt x="4076" y="5071"/>
                      <a:pt x="4064" y="5124"/>
                      <a:pt x="4052" y="5157"/>
                    </a:cubicBezTo>
                    <a:cubicBezTo>
                      <a:pt x="4042" y="5188"/>
                      <a:pt x="4011" y="5303"/>
                      <a:pt x="3996" y="5343"/>
                    </a:cubicBezTo>
                    <a:cubicBezTo>
                      <a:pt x="3993" y="5352"/>
                      <a:pt x="3989" y="5363"/>
                      <a:pt x="3985" y="5374"/>
                    </a:cubicBezTo>
                    <a:cubicBezTo>
                      <a:pt x="4007" y="5395"/>
                      <a:pt x="4103" y="5482"/>
                      <a:pt x="4173" y="5545"/>
                    </a:cubicBezTo>
                    <a:cubicBezTo>
                      <a:pt x="4195" y="5565"/>
                      <a:pt x="4214" y="5581"/>
                      <a:pt x="4228" y="5593"/>
                    </a:cubicBezTo>
                    <a:cubicBezTo>
                      <a:pt x="4235" y="5598"/>
                      <a:pt x="4241" y="5603"/>
                      <a:pt x="4245" y="5606"/>
                    </a:cubicBezTo>
                    <a:cubicBezTo>
                      <a:pt x="4247" y="5608"/>
                      <a:pt x="4248" y="5609"/>
                      <a:pt x="4250" y="5610"/>
                    </a:cubicBezTo>
                    <a:cubicBezTo>
                      <a:pt x="4250" y="5611"/>
                      <a:pt x="4251" y="5611"/>
                      <a:pt x="4251" y="5612"/>
                    </a:cubicBezTo>
                    <a:cubicBezTo>
                      <a:pt x="4252" y="5612"/>
                      <a:pt x="4252" y="5613"/>
                      <a:pt x="4253" y="5613"/>
                    </a:cubicBezTo>
                    <a:cubicBezTo>
                      <a:pt x="4253" y="5614"/>
                      <a:pt x="4254" y="5614"/>
                      <a:pt x="4255" y="5615"/>
                    </a:cubicBezTo>
                    <a:cubicBezTo>
                      <a:pt x="4255" y="5616"/>
                      <a:pt x="4255" y="5616"/>
                      <a:pt x="4255" y="5616"/>
                    </a:cubicBezTo>
                    <a:cubicBezTo>
                      <a:pt x="4255" y="5617"/>
                      <a:pt x="4256" y="5617"/>
                      <a:pt x="4256" y="5618"/>
                    </a:cubicBezTo>
                    <a:cubicBezTo>
                      <a:pt x="4260" y="5622"/>
                      <a:pt x="4273" y="5638"/>
                      <a:pt x="4286" y="5657"/>
                    </a:cubicBezTo>
                    <a:cubicBezTo>
                      <a:pt x="4300" y="5678"/>
                      <a:pt x="4315" y="5705"/>
                      <a:pt x="4315" y="5735"/>
                    </a:cubicBezTo>
                    <a:cubicBezTo>
                      <a:pt x="4393" y="5758"/>
                      <a:pt x="4393" y="5758"/>
                      <a:pt x="4393" y="5758"/>
                    </a:cubicBezTo>
                    <a:cubicBezTo>
                      <a:pt x="4392" y="5750"/>
                      <a:pt x="4392" y="5741"/>
                      <a:pt x="4392" y="5730"/>
                    </a:cubicBezTo>
                    <a:cubicBezTo>
                      <a:pt x="4392" y="5670"/>
                      <a:pt x="4395" y="5565"/>
                      <a:pt x="4395" y="5543"/>
                    </a:cubicBezTo>
                    <a:lnTo>
                      <a:pt x="4289" y="5450"/>
                    </a:lnTo>
                    <a:close/>
                    <a:moveTo>
                      <a:pt x="3658" y="5716"/>
                    </a:moveTo>
                    <a:cubicBezTo>
                      <a:pt x="3658" y="5749"/>
                      <a:pt x="3651" y="5786"/>
                      <a:pt x="3637" y="5826"/>
                    </a:cubicBezTo>
                    <a:cubicBezTo>
                      <a:pt x="3635" y="5833"/>
                      <a:pt x="3631" y="5839"/>
                      <a:pt x="3628" y="5846"/>
                    </a:cubicBezTo>
                    <a:cubicBezTo>
                      <a:pt x="3684" y="5868"/>
                      <a:pt x="3684" y="5868"/>
                      <a:pt x="3684" y="5868"/>
                    </a:cubicBezTo>
                    <a:cubicBezTo>
                      <a:pt x="3724" y="5765"/>
                      <a:pt x="3724" y="5765"/>
                      <a:pt x="3724" y="5765"/>
                    </a:cubicBezTo>
                    <a:cubicBezTo>
                      <a:pt x="3725" y="5578"/>
                      <a:pt x="3725" y="5578"/>
                      <a:pt x="3725" y="5578"/>
                    </a:cubicBezTo>
                    <a:cubicBezTo>
                      <a:pt x="3682" y="5591"/>
                      <a:pt x="3646" y="5601"/>
                      <a:pt x="3629" y="5605"/>
                    </a:cubicBezTo>
                    <a:cubicBezTo>
                      <a:pt x="3629" y="5605"/>
                      <a:pt x="3620" y="5590"/>
                      <a:pt x="3620" y="5590"/>
                    </a:cubicBezTo>
                    <a:cubicBezTo>
                      <a:pt x="3616" y="5584"/>
                      <a:pt x="3616" y="5584"/>
                      <a:pt x="3616" y="5584"/>
                    </a:cubicBezTo>
                    <a:cubicBezTo>
                      <a:pt x="3642" y="5622"/>
                      <a:pt x="3658" y="5665"/>
                      <a:pt x="3658" y="5716"/>
                    </a:cubicBezTo>
                    <a:close/>
                    <a:moveTo>
                      <a:pt x="3589" y="5548"/>
                    </a:moveTo>
                    <a:cubicBezTo>
                      <a:pt x="3587" y="5546"/>
                      <a:pt x="3587" y="5546"/>
                      <a:pt x="3587" y="5546"/>
                    </a:cubicBezTo>
                    <a:cubicBezTo>
                      <a:pt x="3593" y="5553"/>
                      <a:pt x="3598" y="5560"/>
                      <a:pt x="3604" y="5567"/>
                    </a:cubicBezTo>
                    <a:cubicBezTo>
                      <a:pt x="3609" y="5566"/>
                      <a:pt x="3609" y="5566"/>
                      <a:pt x="3609" y="5566"/>
                    </a:cubicBezTo>
                    <a:cubicBezTo>
                      <a:pt x="3609" y="5565"/>
                      <a:pt x="3654" y="5553"/>
                      <a:pt x="3712" y="5534"/>
                    </a:cubicBezTo>
                    <a:cubicBezTo>
                      <a:pt x="3764" y="5518"/>
                      <a:pt x="3824" y="5494"/>
                      <a:pt x="3857" y="5470"/>
                    </a:cubicBezTo>
                    <a:cubicBezTo>
                      <a:pt x="3777" y="5206"/>
                      <a:pt x="3777" y="5206"/>
                      <a:pt x="3777" y="5206"/>
                    </a:cubicBezTo>
                    <a:cubicBezTo>
                      <a:pt x="3609" y="5035"/>
                      <a:pt x="3609" y="5035"/>
                      <a:pt x="3609" y="5035"/>
                    </a:cubicBezTo>
                    <a:cubicBezTo>
                      <a:pt x="3481" y="5140"/>
                      <a:pt x="3481" y="5140"/>
                      <a:pt x="3481" y="5140"/>
                    </a:cubicBezTo>
                    <a:lnTo>
                      <a:pt x="3589" y="5548"/>
                    </a:lnTo>
                    <a:close/>
                    <a:moveTo>
                      <a:pt x="3415" y="4436"/>
                    </a:moveTo>
                    <a:cubicBezTo>
                      <a:pt x="3421" y="4426"/>
                      <a:pt x="3421" y="4426"/>
                      <a:pt x="3421" y="4426"/>
                    </a:cubicBezTo>
                    <a:cubicBezTo>
                      <a:pt x="3439" y="4397"/>
                      <a:pt x="3439" y="4397"/>
                      <a:pt x="3439" y="4397"/>
                    </a:cubicBezTo>
                    <a:cubicBezTo>
                      <a:pt x="3345" y="4320"/>
                      <a:pt x="3345" y="4320"/>
                      <a:pt x="3345" y="4320"/>
                    </a:cubicBezTo>
                    <a:cubicBezTo>
                      <a:pt x="3283" y="4397"/>
                      <a:pt x="3283" y="4397"/>
                      <a:pt x="3283" y="4397"/>
                    </a:cubicBezTo>
                    <a:cubicBezTo>
                      <a:pt x="3276" y="4407"/>
                      <a:pt x="3276" y="4407"/>
                      <a:pt x="3276" y="4407"/>
                    </a:cubicBezTo>
                    <a:cubicBezTo>
                      <a:pt x="3262" y="4428"/>
                      <a:pt x="3262" y="4428"/>
                      <a:pt x="3262" y="4428"/>
                    </a:cubicBezTo>
                    <a:cubicBezTo>
                      <a:pt x="3361" y="4508"/>
                      <a:pt x="3361" y="4508"/>
                      <a:pt x="3361" y="4508"/>
                    </a:cubicBezTo>
                    <a:cubicBezTo>
                      <a:pt x="3418" y="4439"/>
                      <a:pt x="3418" y="4439"/>
                      <a:pt x="3418" y="4439"/>
                    </a:cubicBezTo>
                    <a:lnTo>
                      <a:pt x="3415" y="4436"/>
                    </a:lnTo>
                    <a:close/>
                    <a:moveTo>
                      <a:pt x="3349" y="4557"/>
                    </a:moveTo>
                    <a:cubicBezTo>
                      <a:pt x="3349" y="4557"/>
                      <a:pt x="3349" y="4557"/>
                      <a:pt x="3349" y="4557"/>
                    </a:cubicBezTo>
                    <a:cubicBezTo>
                      <a:pt x="3446" y="4636"/>
                      <a:pt x="3446" y="4636"/>
                      <a:pt x="3446" y="4636"/>
                    </a:cubicBezTo>
                    <a:cubicBezTo>
                      <a:pt x="3530" y="4530"/>
                      <a:pt x="3530" y="4530"/>
                      <a:pt x="3530" y="4530"/>
                    </a:cubicBezTo>
                    <a:cubicBezTo>
                      <a:pt x="3433" y="4451"/>
                      <a:pt x="3433" y="4451"/>
                      <a:pt x="3433" y="4451"/>
                    </a:cubicBezTo>
                    <a:lnTo>
                      <a:pt x="3349" y="4557"/>
                    </a:lnTo>
                    <a:close/>
                    <a:moveTo>
                      <a:pt x="3406" y="4712"/>
                    </a:moveTo>
                    <a:cubicBezTo>
                      <a:pt x="3493" y="4822"/>
                      <a:pt x="3493" y="4822"/>
                      <a:pt x="3493" y="4822"/>
                    </a:cubicBezTo>
                    <a:cubicBezTo>
                      <a:pt x="3522" y="4784"/>
                      <a:pt x="3522" y="4784"/>
                      <a:pt x="3522" y="4784"/>
                    </a:cubicBezTo>
                    <a:cubicBezTo>
                      <a:pt x="3520" y="4783"/>
                      <a:pt x="3520" y="4783"/>
                      <a:pt x="3520" y="4783"/>
                    </a:cubicBezTo>
                    <a:cubicBezTo>
                      <a:pt x="3553" y="4743"/>
                      <a:pt x="3553" y="4743"/>
                      <a:pt x="3553" y="4743"/>
                    </a:cubicBezTo>
                    <a:cubicBezTo>
                      <a:pt x="3548" y="4739"/>
                      <a:pt x="3548" y="4739"/>
                      <a:pt x="3548" y="4739"/>
                    </a:cubicBezTo>
                    <a:cubicBezTo>
                      <a:pt x="3549" y="4739"/>
                      <a:pt x="3549" y="4739"/>
                      <a:pt x="3549" y="4739"/>
                    </a:cubicBezTo>
                    <a:cubicBezTo>
                      <a:pt x="3450" y="4657"/>
                      <a:pt x="3450" y="4657"/>
                      <a:pt x="3450" y="4657"/>
                    </a:cubicBezTo>
                    <a:lnTo>
                      <a:pt x="3406" y="4712"/>
                    </a:lnTo>
                    <a:close/>
                    <a:moveTo>
                      <a:pt x="3834" y="5125"/>
                    </a:moveTo>
                    <a:cubicBezTo>
                      <a:pt x="3827" y="5135"/>
                      <a:pt x="3827" y="5135"/>
                      <a:pt x="3827" y="5135"/>
                    </a:cubicBezTo>
                    <a:cubicBezTo>
                      <a:pt x="3819" y="5146"/>
                      <a:pt x="3819" y="5146"/>
                      <a:pt x="3819" y="5146"/>
                    </a:cubicBezTo>
                    <a:cubicBezTo>
                      <a:pt x="3908" y="5218"/>
                      <a:pt x="3908" y="5218"/>
                      <a:pt x="3908" y="5218"/>
                    </a:cubicBezTo>
                    <a:cubicBezTo>
                      <a:pt x="3993" y="5113"/>
                      <a:pt x="3993" y="5113"/>
                      <a:pt x="3993" y="5113"/>
                    </a:cubicBezTo>
                    <a:cubicBezTo>
                      <a:pt x="3900" y="5037"/>
                      <a:pt x="3900" y="5037"/>
                      <a:pt x="3900" y="5037"/>
                    </a:cubicBezTo>
                    <a:cubicBezTo>
                      <a:pt x="3833" y="5124"/>
                      <a:pt x="3833" y="5124"/>
                      <a:pt x="3833" y="5124"/>
                    </a:cubicBezTo>
                    <a:lnTo>
                      <a:pt x="3834" y="5125"/>
                    </a:lnTo>
                    <a:close/>
                    <a:moveTo>
                      <a:pt x="3899" y="5003"/>
                    </a:moveTo>
                    <a:cubicBezTo>
                      <a:pt x="3805" y="4923"/>
                      <a:pt x="3805" y="4923"/>
                      <a:pt x="3805" y="4923"/>
                    </a:cubicBezTo>
                    <a:cubicBezTo>
                      <a:pt x="3735" y="5013"/>
                      <a:pt x="3735" y="5013"/>
                      <a:pt x="3735" y="5013"/>
                    </a:cubicBezTo>
                    <a:cubicBezTo>
                      <a:pt x="3734" y="5016"/>
                      <a:pt x="3734" y="5016"/>
                      <a:pt x="3734" y="5016"/>
                    </a:cubicBezTo>
                    <a:cubicBezTo>
                      <a:pt x="3725" y="5032"/>
                      <a:pt x="3725" y="5032"/>
                      <a:pt x="3725" y="5032"/>
                    </a:cubicBezTo>
                    <a:cubicBezTo>
                      <a:pt x="3820" y="5113"/>
                      <a:pt x="3820" y="5113"/>
                      <a:pt x="3820" y="5113"/>
                    </a:cubicBezTo>
                    <a:cubicBezTo>
                      <a:pt x="3887" y="5027"/>
                      <a:pt x="3887" y="5027"/>
                      <a:pt x="3887" y="5027"/>
                    </a:cubicBezTo>
                    <a:cubicBezTo>
                      <a:pt x="3884" y="5025"/>
                      <a:pt x="3884" y="5025"/>
                      <a:pt x="3884" y="5025"/>
                    </a:cubicBezTo>
                    <a:cubicBezTo>
                      <a:pt x="3891" y="5014"/>
                      <a:pt x="3891" y="5014"/>
                      <a:pt x="3891" y="5014"/>
                    </a:cubicBezTo>
                    <a:lnTo>
                      <a:pt x="3899" y="5003"/>
                    </a:lnTo>
                    <a:close/>
                    <a:moveTo>
                      <a:pt x="3806" y="4886"/>
                    </a:moveTo>
                    <a:cubicBezTo>
                      <a:pt x="3711" y="4805"/>
                      <a:pt x="3711" y="4805"/>
                      <a:pt x="3711" y="4805"/>
                    </a:cubicBezTo>
                    <a:cubicBezTo>
                      <a:pt x="3654" y="4877"/>
                      <a:pt x="3654" y="4877"/>
                      <a:pt x="3654" y="4877"/>
                    </a:cubicBezTo>
                    <a:cubicBezTo>
                      <a:pt x="3654" y="4877"/>
                      <a:pt x="3654" y="4877"/>
                      <a:pt x="3654" y="4877"/>
                    </a:cubicBezTo>
                    <a:cubicBezTo>
                      <a:pt x="3647" y="4888"/>
                      <a:pt x="3647" y="4888"/>
                      <a:pt x="3647" y="4888"/>
                    </a:cubicBezTo>
                    <a:cubicBezTo>
                      <a:pt x="3629" y="4913"/>
                      <a:pt x="3629" y="4913"/>
                      <a:pt x="3629" y="4913"/>
                    </a:cubicBezTo>
                    <a:cubicBezTo>
                      <a:pt x="3727" y="4997"/>
                      <a:pt x="3727" y="4997"/>
                      <a:pt x="3727" y="4997"/>
                    </a:cubicBezTo>
                    <a:cubicBezTo>
                      <a:pt x="3730" y="4993"/>
                      <a:pt x="3730" y="4993"/>
                      <a:pt x="3730" y="4993"/>
                    </a:cubicBezTo>
                    <a:cubicBezTo>
                      <a:pt x="3793" y="4911"/>
                      <a:pt x="3793" y="4911"/>
                      <a:pt x="3793" y="4911"/>
                    </a:cubicBezTo>
                    <a:cubicBezTo>
                      <a:pt x="3798" y="4902"/>
                      <a:pt x="3798" y="4902"/>
                      <a:pt x="3798" y="4902"/>
                    </a:cubicBezTo>
                    <a:lnTo>
                      <a:pt x="3806" y="4886"/>
                    </a:lnTo>
                    <a:close/>
                    <a:moveTo>
                      <a:pt x="3719" y="4755"/>
                    </a:moveTo>
                    <a:cubicBezTo>
                      <a:pt x="3627" y="4677"/>
                      <a:pt x="3627" y="4677"/>
                      <a:pt x="3627" y="4677"/>
                    </a:cubicBezTo>
                    <a:cubicBezTo>
                      <a:pt x="3543" y="4784"/>
                      <a:pt x="3543" y="4784"/>
                      <a:pt x="3543" y="4784"/>
                    </a:cubicBezTo>
                    <a:cubicBezTo>
                      <a:pt x="3640" y="4866"/>
                      <a:pt x="3640" y="4866"/>
                      <a:pt x="3640" y="4866"/>
                    </a:cubicBezTo>
                    <a:cubicBezTo>
                      <a:pt x="3698" y="4794"/>
                      <a:pt x="3698" y="4794"/>
                      <a:pt x="3698" y="4794"/>
                    </a:cubicBezTo>
                    <a:cubicBezTo>
                      <a:pt x="3694" y="4791"/>
                      <a:pt x="3694" y="4791"/>
                      <a:pt x="3694" y="4791"/>
                    </a:cubicBezTo>
                    <a:cubicBezTo>
                      <a:pt x="3702" y="4780"/>
                      <a:pt x="3702" y="4780"/>
                      <a:pt x="3702" y="4780"/>
                    </a:cubicBezTo>
                    <a:lnTo>
                      <a:pt x="3719" y="4755"/>
                    </a:lnTo>
                    <a:close/>
                    <a:moveTo>
                      <a:pt x="3503" y="4835"/>
                    </a:moveTo>
                    <a:cubicBezTo>
                      <a:pt x="3585" y="4939"/>
                      <a:pt x="3585" y="4939"/>
                      <a:pt x="3585" y="4939"/>
                    </a:cubicBezTo>
                    <a:cubicBezTo>
                      <a:pt x="3632" y="4879"/>
                      <a:pt x="3632" y="4879"/>
                      <a:pt x="3632" y="4879"/>
                    </a:cubicBezTo>
                    <a:cubicBezTo>
                      <a:pt x="3630" y="4877"/>
                      <a:pt x="3630" y="4877"/>
                      <a:pt x="3630" y="4877"/>
                    </a:cubicBezTo>
                    <a:cubicBezTo>
                      <a:pt x="3631" y="4877"/>
                      <a:pt x="3631" y="4877"/>
                      <a:pt x="3631" y="4877"/>
                    </a:cubicBezTo>
                    <a:cubicBezTo>
                      <a:pt x="3535" y="4795"/>
                      <a:pt x="3535" y="4795"/>
                      <a:pt x="3535" y="4795"/>
                    </a:cubicBezTo>
                    <a:lnTo>
                      <a:pt x="3503" y="4835"/>
                    </a:lnTo>
                    <a:close/>
                    <a:moveTo>
                      <a:pt x="3595" y="4952"/>
                    </a:moveTo>
                    <a:cubicBezTo>
                      <a:pt x="3615" y="4977"/>
                      <a:pt x="3615" y="4977"/>
                      <a:pt x="3615" y="4977"/>
                    </a:cubicBezTo>
                    <a:cubicBezTo>
                      <a:pt x="3687" y="5050"/>
                      <a:pt x="3687" y="5050"/>
                      <a:pt x="3687" y="5050"/>
                    </a:cubicBezTo>
                    <a:cubicBezTo>
                      <a:pt x="3718" y="5009"/>
                      <a:pt x="3718" y="5009"/>
                      <a:pt x="3718" y="5009"/>
                    </a:cubicBezTo>
                    <a:cubicBezTo>
                      <a:pt x="3717" y="5009"/>
                      <a:pt x="3717" y="5009"/>
                      <a:pt x="3717" y="5009"/>
                    </a:cubicBezTo>
                    <a:cubicBezTo>
                      <a:pt x="3718" y="5007"/>
                      <a:pt x="3718" y="5007"/>
                      <a:pt x="3718" y="5007"/>
                    </a:cubicBezTo>
                    <a:cubicBezTo>
                      <a:pt x="3619" y="4922"/>
                      <a:pt x="3619" y="4922"/>
                      <a:pt x="3619" y="4922"/>
                    </a:cubicBezTo>
                    <a:lnTo>
                      <a:pt x="3595" y="4952"/>
                    </a:lnTo>
                    <a:close/>
                    <a:moveTo>
                      <a:pt x="3698" y="5061"/>
                    </a:moveTo>
                    <a:cubicBezTo>
                      <a:pt x="3789" y="5154"/>
                      <a:pt x="3789" y="5154"/>
                      <a:pt x="3789" y="5154"/>
                    </a:cubicBezTo>
                    <a:cubicBezTo>
                      <a:pt x="3812" y="5124"/>
                      <a:pt x="3812" y="5124"/>
                      <a:pt x="3812" y="5124"/>
                    </a:cubicBezTo>
                    <a:cubicBezTo>
                      <a:pt x="3714" y="5041"/>
                      <a:pt x="3714" y="5041"/>
                      <a:pt x="3714" y="5041"/>
                    </a:cubicBezTo>
                    <a:lnTo>
                      <a:pt x="3698" y="5061"/>
                    </a:lnTo>
                    <a:close/>
                    <a:moveTo>
                      <a:pt x="3801" y="5165"/>
                    </a:moveTo>
                    <a:cubicBezTo>
                      <a:pt x="3817" y="5182"/>
                      <a:pt x="3817" y="5182"/>
                      <a:pt x="3817" y="5182"/>
                    </a:cubicBezTo>
                    <a:cubicBezTo>
                      <a:pt x="3894" y="5436"/>
                      <a:pt x="3894" y="5436"/>
                      <a:pt x="3894" y="5436"/>
                    </a:cubicBezTo>
                    <a:cubicBezTo>
                      <a:pt x="3934" y="5392"/>
                      <a:pt x="3941" y="5361"/>
                      <a:pt x="3954" y="5327"/>
                    </a:cubicBezTo>
                    <a:cubicBezTo>
                      <a:pt x="3967" y="5292"/>
                      <a:pt x="3998" y="5176"/>
                      <a:pt x="4010" y="5143"/>
                    </a:cubicBezTo>
                    <a:cubicBezTo>
                      <a:pt x="4015" y="5128"/>
                      <a:pt x="4021" y="5104"/>
                      <a:pt x="4032" y="5078"/>
                    </a:cubicBezTo>
                    <a:cubicBezTo>
                      <a:pt x="4012" y="5061"/>
                      <a:pt x="3970" y="5025"/>
                      <a:pt x="3934" y="4993"/>
                    </a:cubicBezTo>
                    <a:cubicBezTo>
                      <a:pt x="3908" y="5026"/>
                      <a:pt x="3908" y="5026"/>
                      <a:pt x="3908" y="5026"/>
                    </a:cubicBezTo>
                    <a:cubicBezTo>
                      <a:pt x="4012" y="5111"/>
                      <a:pt x="4012" y="5111"/>
                      <a:pt x="4012" y="5111"/>
                    </a:cubicBezTo>
                    <a:cubicBezTo>
                      <a:pt x="3910" y="5238"/>
                      <a:pt x="3910" y="5238"/>
                      <a:pt x="3910" y="5238"/>
                    </a:cubicBezTo>
                    <a:cubicBezTo>
                      <a:pt x="3809" y="5156"/>
                      <a:pt x="3809" y="5156"/>
                      <a:pt x="3809" y="5156"/>
                    </a:cubicBezTo>
                    <a:lnTo>
                      <a:pt x="3801" y="5165"/>
                    </a:lnTo>
                    <a:close/>
                    <a:moveTo>
                      <a:pt x="3921" y="4982"/>
                    </a:moveTo>
                    <a:cubicBezTo>
                      <a:pt x="3892" y="4956"/>
                      <a:pt x="3868" y="4935"/>
                      <a:pt x="3868" y="4935"/>
                    </a:cubicBezTo>
                    <a:cubicBezTo>
                      <a:pt x="3864" y="4932"/>
                      <a:pt x="3864" y="4932"/>
                      <a:pt x="3864" y="4932"/>
                    </a:cubicBezTo>
                    <a:cubicBezTo>
                      <a:pt x="3839" y="4879"/>
                      <a:pt x="3839" y="4879"/>
                      <a:pt x="3839" y="4879"/>
                    </a:cubicBezTo>
                    <a:cubicBezTo>
                      <a:pt x="3813" y="4912"/>
                      <a:pt x="3813" y="4912"/>
                      <a:pt x="3813" y="4912"/>
                    </a:cubicBezTo>
                    <a:cubicBezTo>
                      <a:pt x="3912" y="4995"/>
                      <a:pt x="3912" y="4995"/>
                      <a:pt x="3912" y="4995"/>
                    </a:cubicBezTo>
                    <a:lnTo>
                      <a:pt x="3921" y="4982"/>
                    </a:lnTo>
                    <a:close/>
                    <a:moveTo>
                      <a:pt x="3831" y="4862"/>
                    </a:moveTo>
                    <a:cubicBezTo>
                      <a:pt x="3768" y="4731"/>
                      <a:pt x="3768" y="4731"/>
                      <a:pt x="3768" y="4731"/>
                    </a:cubicBezTo>
                    <a:cubicBezTo>
                      <a:pt x="3719" y="4794"/>
                      <a:pt x="3719" y="4794"/>
                      <a:pt x="3719" y="4794"/>
                    </a:cubicBezTo>
                    <a:cubicBezTo>
                      <a:pt x="3818" y="4878"/>
                      <a:pt x="3818" y="4878"/>
                      <a:pt x="3818" y="4878"/>
                    </a:cubicBezTo>
                    <a:lnTo>
                      <a:pt x="3831" y="4862"/>
                    </a:lnTo>
                    <a:close/>
                    <a:moveTo>
                      <a:pt x="3763" y="4719"/>
                    </a:moveTo>
                    <a:cubicBezTo>
                      <a:pt x="3726" y="4640"/>
                      <a:pt x="3726" y="4640"/>
                      <a:pt x="3726" y="4640"/>
                    </a:cubicBezTo>
                    <a:cubicBezTo>
                      <a:pt x="3718" y="4635"/>
                      <a:pt x="3701" y="4622"/>
                      <a:pt x="3681" y="4608"/>
                    </a:cubicBezTo>
                    <a:cubicBezTo>
                      <a:pt x="3635" y="4666"/>
                      <a:pt x="3635" y="4666"/>
                      <a:pt x="3635" y="4666"/>
                    </a:cubicBezTo>
                    <a:cubicBezTo>
                      <a:pt x="3733" y="4749"/>
                      <a:pt x="3733" y="4749"/>
                      <a:pt x="3733" y="4749"/>
                    </a:cubicBezTo>
                    <a:cubicBezTo>
                      <a:pt x="3759" y="4716"/>
                      <a:pt x="3759" y="4716"/>
                      <a:pt x="3759" y="4716"/>
                    </a:cubicBezTo>
                    <a:lnTo>
                      <a:pt x="3763" y="4719"/>
                    </a:lnTo>
                    <a:close/>
                    <a:moveTo>
                      <a:pt x="3668" y="4598"/>
                    </a:moveTo>
                    <a:cubicBezTo>
                      <a:pt x="3657" y="4590"/>
                      <a:pt x="3647" y="4583"/>
                      <a:pt x="3636" y="4575"/>
                    </a:cubicBezTo>
                    <a:cubicBezTo>
                      <a:pt x="3613" y="4558"/>
                      <a:pt x="3589" y="4540"/>
                      <a:pt x="3571" y="4528"/>
                    </a:cubicBezTo>
                    <a:cubicBezTo>
                      <a:pt x="3567" y="4525"/>
                      <a:pt x="3563" y="4522"/>
                      <a:pt x="3560" y="4519"/>
                    </a:cubicBezTo>
                    <a:cubicBezTo>
                      <a:pt x="3551" y="4530"/>
                      <a:pt x="3551" y="4530"/>
                      <a:pt x="3551" y="4530"/>
                    </a:cubicBezTo>
                    <a:cubicBezTo>
                      <a:pt x="3655" y="4614"/>
                      <a:pt x="3655" y="4614"/>
                      <a:pt x="3655" y="4614"/>
                    </a:cubicBezTo>
                    <a:lnTo>
                      <a:pt x="3668" y="4598"/>
                    </a:lnTo>
                    <a:close/>
                    <a:moveTo>
                      <a:pt x="3543" y="4541"/>
                    </a:moveTo>
                    <a:cubicBezTo>
                      <a:pt x="3458" y="4647"/>
                      <a:pt x="3458" y="4647"/>
                      <a:pt x="3458" y="4647"/>
                    </a:cubicBezTo>
                    <a:cubicBezTo>
                      <a:pt x="3558" y="4728"/>
                      <a:pt x="3558" y="4728"/>
                      <a:pt x="3558" y="4728"/>
                    </a:cubicBezTo>
                    <a:cubicBezTo>
                      <a:pt x="3610" y="4663"/>
                      <a:pt x="3610" y="4663"/>
                      <a:pt x="3610" y="4663"/>
                    </a:cubicBezTo>
                    <a:cubicBezTo>
                      <a:pt x="3603" y="4658"/>
                      <a:pt x="3603" y="4658"/>
                      <a:pt x="3603" y="4658"/>
                    </a:cubicBezTo>
                    <a:cubicBezTo>
                      <a:pt x="3612" y="4647"/>
                      <a:pt x="3612" y="4647"/>
                      <a:pt x="3612" y="4647"/>
                    </a:cubicBezTo>
                    <a:cubicBezTo>
                      <a:pt x="3636" y="4617"/>
                      <a:pt x="3636" y="4617"/>
                      <a:pt x="3636" y="4617"/>
                    </a:cubicBezTo>
                    <a:lnTo>
                      <a:pt x="3543" y="4541"/>
                    </a:lnTo>
                    <a:close/>
                    <a:moveTo>
                      <a:pt x="3546" y="4510"/>
                    </a:moveTo>
                    <a:cubicBezTo>
                      <a:pt x="3545" y="4509"/>
                      <a:pt x="3544" y="4508"/>
                      <a:pt x="3543" y="4508"/>
                    </a:cubicBezTo>
                    <a:cubicBezTo>
                      <a:pt x="3543" y="4508"/>
                      <a:pt x="3543" y="4508"/>
                      <a:pt x="3543" y="4508"/>
                    </a:cubicBezTo>
                    <a:cubicBezTo>
                      <a:pt x="3540" y="4506"/>
                      <a:pt x="3539" y="4505"/>
                      <a:pt x="3538" y="4504"/>
                    </a:cubicBezTo>
                    <a:cubicBezTo>
                      <a:pt x="3533" y="4499"/>
                      <a:pt x="3534" y="4499"/>
                      <a:pt x="3533" y="4498"/>
                    </a:cubicBezTo>
                    <a:cubicBezTo>
                      <a:pt x="3528" y="4488"/>
                      <a:pt x="3506" y="4439"/>
                      <a:pt x="3483" y="4389"/>
                    </a:cubicBezTo>
                    <a:cubicBezTo>
                      <a:pt x="3442" y="4441"/>
                      <a:pt x="3442" y="4441"/>
                      <a:pt x="3442" y="4441"/>
                    </a:cubicBezTo>
                    <a:cubicBezTo>
                      <a:pt x="3539" y="4519"/>
                      <a:pt x="3539" y="4519"/>
                      <a:pt x="3539" y="4519"/>
                    </a:cubicBezTo>
                    <a:lnTo>
                      <a:pt x="3546" y="4510"/>
                    </a:lnTo>
                    <a:close/>
                    <a:moveTo>
                      <a:pt x="3475" y="4373"/>
                    </a:moveTo>
                    <a:cubicBezTo>
                      <a:pt x="3459" y="4337"/>
                      <a:pt x="3445" y="4305"/>
                      <a:pt x="3439" y="4291"/>
                    </a:cubicBezTo>
                    <a:cubicBezTo>
                      <a:pt x="3389" y="4265"/>
                      <a:pt x="3389" y="4265"/>
                      <a:pt x="3389" y="4265"/>
                    </a:cubicBezTo>
                    <a:cubicBezTo>
                      <a:pt x="3353" y="4310"/>
                      <a:pt x="3353" y="4310"/>
                      <a:pt x="3353" y="4310"/>
                    </a:cubicBezTo>
                    <a:cubicBezTo>
                      <a:pt x="3457" y="4394"/>
                      <a:pt x="3457" y="4394"/>
                      <a:pt x="3457" y="4394"/>
                    </a:cubicBezTo>
                    <a:cubicBezTo>
                      <a:pt x="3453" y="4400"/>
                      <a:pt x="3453" y="4400"/>
                      <a:pt x="3453" y="4400"/>
                    </a:cubicBezTo>
                    <a:lnTo>
                      <a:pt x="3475" y="4373"/>
                    </a:lnTo>
                    <a:close/>
                    <a:moveTo>
                      <a:pt x="3374" y="4257"/>
                    </a:moveTo>
                    <a:cubicBezTo>
                      <a:pt x="3295" y="4214"/>
                      <a:pt x="3295" y="4214"/>
                      <a:pt x="3295" y="4214"/>
                    </a:cubicBezTo>
                    <a:cubicBezTo>
                      <a:pt x="3364" y="4270"/>
                      <a:pt x="3364" y="4270"/>
                      <a:pt x="3364" y="4270"/>
                    </a:cubicBezTo>
                    <a:lnTo>
                      <a:pt x="3374" y="4257"/>
                    </a:lnTo>
                    <a:close/>
                    <a:moveTo>
                      <a:pt x="3268" y="4211"/>
                    </a:moveTo>
                    <a:cubicBezTo>
                      <a:pt x="3183" y="4316"/>
                      <a:pt x="3183" y="4316"/>
                      <a:pt x="3183" y="4316"/>
                    </a:cubicBezTo>
                    <a:cubicBezTo>
                      <a:pt x="3271" y="4386"/>
                      <a:pt x="3271" y="4386"/>
                      <a:pt x="3271" y="4386"/>
                    </a:cubicBezTo>
                    <a:cubicBezTo>
                      <a:pt x="3332" y="4310"/>
                      <a:pt x="3332" y="4310"/>
                      <a:pt x="3332" y="4310"/>
                    </a:cubicBezTo>
                    <a:cubicBezTo>
                      <a:pt x="3327" y="4306"/>
                      <a:pt x="3327" y="4306"/>
                      <a:pt x="3327" y="4306"/>
                    </a:cubicBezTo>
                    <a:cubicBezTo>
                      <a:pt x="3334" y="4295"/>
                      <a:pt x="3334" y="4295"/>
                      <a:pt x="3334" y="4295"/>
                    </a:cubicBezTo>
                    <a:cubicBezTo>
                      <a:pt x="3348" y="4275"/>
                      <a:pt x="3348" y="4275"/>
                      <a:pt x="3348" y="4275"/>
                    </a:cubicBezTo>
                    <a:lnTo>
                      <a:pt x="3268" y="4211"/>
                    </a:lnTo>
                    <a:close/>
                    <a:moveTo>
                      <a:pt x="3221" y="4244"/>
                    </a:moveTo>
                    <a:cubicBezTo>
                      <a:pt x="3218" y="4242"/>
                      <a:pt x="3218" y="4242"/>
                      <a:pt x="3218" y="4242"/>
                    </a:cubicBezTo>
                    <a:cubicBezTo>
                      <a:pt x="3169" y="4305"/>
                      <a:pt x="3169" y="4305"/>
                      <a:pt x="3169" y="4305"/>
                    </a:cubicBezTo>
                    <a:cubicBezTo>
                      <a:pt x="3171" y="4306"/>
                      <a:pt x="3171" y="4306"/>
                      <a:pt x="3171" y="4306"/>
                    </a:cubicBezTo>
                    <a:lnTo>
                      <a:pt x="3221" y="4244"/>
                    </a:lnTo>
                    <a:close/>
                    <a:moveTo>
                      <a:pt x="3110" y="4407"/>
                    </a:moveTo>
                    <a:cubicBezTo>
                      <a:pt x="3134" y="4422"/>
                      <a:pt x="3157" y="4437"/>
                      <a:pt x="3175" y="4452"/>
                    </a:cubicBezTo>
                    <a:cubicBezTo>
                      <a:pt x="3183" y="4458"/>
                      <a:pt x="3191" y="4466"/>
                      <a:pt x="3200" y="4474"/>
                    </a:cubicBezTo>
                    <a:cubicBezTo>
                      <a:pt x="3262" y="4397"/>
                      <a:pt x="3262" y="4397"/>
                      <a:pt x="3262" y="4397"/>
                    </a:cubicBezTo>
                    <a:cubicBezTo>
                      <a:pt x="3175" y="4327"/>
                      <a:pt x="3175" y="4327"/>
                      <a:pt x="3175" y="4327"/>
                    </a:cubicBezTo>
                    <a:lnTo>
                      <a:pt x="3110" y="4407"/>
                    </a:lnTo>
                    <a:close/>
                    <a:moveTo>
                      <a:pt x="3212" y="4486"/>
                    </a:moveTo>
                    <a:cubicBezTo>
                      <a:pt x="3240" y="4517"/>
                      <a:pt x="3272" y="4557"/>
                      <a:pt x="3299" y="4593"/>
                    </a:cubicBezTo>
                    <a:cubicBezTo>
                      <a:pt x="3349" y="4531"/>
                      <a:pt x="3349" y="4531"/>
                      <a:pt x="3349" y="4531"/>
                    </a:cubicBezTo>
                    <a:cubicBezTo>
                      <a:pt x="3354" y="4522"/>
                      <a:pt x="3354" y="4522"/>
                      <a:pt x="3354" y="4522"/>
                    </a:cubicBezTo>
                    <a:cubicBezTo>
                      <a:pt x="3351" y="4520"/>
                      <a:pt x="3351" y="4520"/>
                      <a:pt x="3351" y="4520"/>
                    </a:cubicBezTo>
                    <a:cubicBezTo>
                      <a:pt x="3353" y="4519"/>
                      <a:pt x="3353" y="4519"/>
                      <a:pt x="3353" y="4519"/>
                    </a:cubicBezTo>
                    <a:cubicBezTo>
                      <a:pt x="3251" y="4437"/>
                      <a:pt x="3251" y="4437"/>
                      <a:pt x="3251" y="4437"/>
                    </a:cubicBezTo>
                    <a:lnTo>
                      <a:pt x="3212" y="4486"/>
                    </a:lnTo>
                    <a:close/>
                    <a:moveTo>
                      <a:pt x="3309" y="4607"/>
                    </a:moveTo>
                    <a:cubicBezTo>
                      <a:pt x="3333" y="4640"/>
                      <a:pt x="3352" y="4667"/>
                      <a:pt x="3359" y="4679"/>
                    </a:cubicBezTo>
                    <a:cubicBezTo>
                      <a:pt x="3395" y="4697"/>
                      <a:pt x="3395" y="4697"/>
                      <a:pt x="3395" y="4697"/>
                    </a:cubicBezTo>
                    <a:cubicBezTo>
                      <a:pt x="3396" y="4699"/>
                      <a:pt x="3396" y="4699"/>
                      <a:pt x="3396" y="4699"/>
                    </a:cubicBezTo>
                    <a:cubicBezTo>
                      <a:pt x="3437" y="4647"/>
                      <a:pt x="3437" y="4647"/>
                      <a:pt x="3437" y="4647"/>
                    </a:cubicBezTo>
                    <a:cubicBezTo>
                      <a:pt x="3340" y="4568"/>
                      <a:pt x="3340" y="4568"/>
                      <a:pt x="3340" y="4568"/>
                    </a:cubicBezTo>
                    <a:lnTo>
                      <a:pt x="3309" y="4607"/>
                    </a:lnTo>
                    <a:close/>
                    <a:moveTo>
                      <a:pt x="3225" y="4661"/>
                    </a:moveTo>
                    <a:cubicBezTo>
                      <a:pt x="3018" y="4589"/>
                      <a:pt x="3018" y="4589"/>
                      <a:pt x="3018" y="4589"/>
                    </a:cubicBezTo>
                    <a:cubicBezTo>
                      <a:pt x="3008" y="4619"/>
                      <a:pt x="2976" y="4710"/>
                      <a:pt x="2946" y="4796"/>
                    </a:cubicBezTo>
                    <a:cubicBezTo>
                      <a:pt x="3184" y="4876"/>
                      <a:pt x="3184" y="4876"/>
                      <a:pt x="3184" y="4876"/>
                    </a:cubicBezTo>
                    <a:cubicBezTo>
                      <a:pt x="3124" y="5026"/>
                      <a:pt x="3124" y="5026"/>
                      <a:pt x="3124" y="5026"/>
                    </a:cubicBezTo>
                    <a:cubicBezTo>
                      <a:pt x="3342" y="5109"/>
                      <a:pt x="3342" y="5109"/>
                      <a:pt x="3342" y="5109"/>
                    </a:cubicBezTo>
                    <a:cubicBezTo>
                      <a:pt x="3351" y="5091"/>
                      <a:pt x="3377" y="5038"/>
                      <a:pt x="3404" y="4985"/>
                    </a:cubicBezTo>
                    <a:cubicBezTo>
                      <a:pt x="3420" y="4952"/>
                      <a:pt x="3437" y="4919"/>
                      <a:pt x="3450" y="4894"/>
                    </a:cubicBezTo>
                    <a:cubicBezTo>
                      <a:pt x="3456" y="4882"/>
                      <a:pt x="3462" y="4872"/>
                      <a:pt x="3466" y="4864"/>
                    </a:cubicBezTo>
                    <a:cubicBezTo>
                      <a:pt x="3466" y="4863"/>
                      <a:pt x="3467" y="4863"/>
                      <a:pt x="3467" y="4862"/>
                    </a:cubicBezTo>
                    <a:cubicBezTo>
                      <a:pt x="3365" y="4733"/>
                      <a:pt x="3365" y="4733"/>
                      <a:pt x="3365" y="4733"/>
                    </a:cubicBezTo>
                    <a:lnTo>
                      <a:pt x="3225" y="4661"/>
                    </a:lnTo>
                    <a:close/>
                    <a:moveTo>
                      <a:pt x="2940" y="4811"/>
                    </a:moveTo>
                    <a:cubicBezTo>
                      <a:pt x="2913" y="4889"/>
                      <a:pt x="2889" y="4958"/>
                      <a:pt x="2888" y="4959"/>
                    </a:cubicBezTo>
                    <a:cubicBezTo>
                      <a:pt x="2886" y="4964"/>
                      <a:pt x="2886" y="4964"/>
                      <a:pt x="2886" y="4964"/>
                    </a:cubicBezTo>
                    <a:cubicBezTo>
                      <a:pt x="2881" y="4964"/>
                      <a:pt x="2881" y="4964"/>
                      <a:pt x="2881" y="4964"/>
                    </a:cubicBezTo>
                    <a:cubicBezTo>
                      <a:pt x="2881" y="4964"/>
                      <a:pt x="2881" y="4964"/>
                      <a:pt x="2881" y="4964"/>
                    </a:cubicBezTo>
                    <a:cubicBezTo>
                      <a:pt x="2879" y="4964"/>
                      <a:pt x="2871" y="4962"/>
                      <a:pt x="2858" y="4961"/>
                    </a:cubicBezTo>
                    <a:cubicBezTo>
                      <a:pt x="2882" y="5199"/>
                      <a:pt x="2882" y="5199"/>
                      <a:pt x="2882" y="5199"/>
                    </a:cubicBezTo>
                    <a:cubicBezTo>
                      <a:pt x="2984" y="5221"/>
                      <a:pt x="3065" y="5247"/>
                      <a:pt x="3152" y="5273"/>
                    </a:cubicBezTo>
                    <a:cubicBezTo>
                      <a:pt x="3182" y="5282"/>
                      <a:pt x="3212" y="5294"/>
                      <a:pt x="3243" y="5308"/>
                    </a:cubicBezTo>
                    <a:cubicBezTo>
                      <a:pt x="3336" y="5125"/>
                      <a:pt x="3336" y="5125"/>
                      <a:pt x="3336" y="5125"/>
                    </a:cubicBezTo>
                    <a:cubicBezTo>
                      <a:pt x="3102" y="5035"/>
                      <a:pt x="3102" y="5035"/>
                      <a:pt x="3102" y="5035"/>
                    </a:cubicBezTo>
                    <a:cubicBezTo>
                      <a:pt x="3162" y="4886"/>
                      <a:pt x="3162" y="4886"/>
                      <a:pt x="3162" y="4886"/>
                    </a:cubicBezTo>
                    <a:lnTo>
                      <a:pt x="2940" y="4811"/>
                    </a:lnTo>
                    <a:close/>
                    <a:moveTo>
                      <a:pt x="3255" y="5314"/>
                    </a:moveTo>
                    <a:cubicBezTo>
                      <a:pt x="3379" y="5372"/>
                      <a:pt x="3500" y="5460"/>
                      <a:pt x="3561" y="5520"/>
                    </a:cubicBezTo>
                    <a:cubicBezTo>
                      <a:pt x="3562" y="5521"/>
                      <a:pt x="3563" y="5522"/>
                      <a:pt x="3564" y="5523"/>
                    </a:cubicBezTo>
                    <a:cubicBezTo>
                      <a:pt x="3463" y="5134"/>
                      <a:pt x="3463" y="5134"/>
                      <a:pt x="3463" y="5134"/>
                    </a:cubicBezTo>
                    <a:cubicBezTo>
                      <a:pt x="3598" y="5024"/>
                      <a:pt x="3598" y="5024"/>
                      <a:pt x="3598" y="5024"/>
                    </a:cubicBezTo>
                    <a:cubicBezTo>
                      <a:pt x="3582" y="5007"/>
                      <a:pt x="3582" y="5007"/>
                      <a:pt x="3582" y="5007"/>
                    </a:cubicBezTo>
                    <a:cubicBezTo>
                      <a:pt x="3478" y="4876"/>
                      <a:pt x="3478" y="4876"/>
                      <a:pt x="3478" y="4876"/>
                    </a:cubicBezTo>
                    <a:cubicBezTo>
                      <a:pt x="3465" y="4900"/>
                      <a:pt x="3439" y="4952"/>
                      <a:pt x="3414" y="5001"/>
                    </a:cubicBezTo>
                    <a:cubicBezTo>
                      <a:pt x="3382" y="5064"/>
                      <a:pt x="3353" y="5123"/>
                      <a:pt x="3353" y="5123"/>
                    </a:cubicBezTo>
                    <a:cubicBezTo>
                      <a:pt x="3350" y="5130"/>
                      <a:pt x="3350" y="5130"/>
                      <a:pt x="3350" y="5130"/>
                    </a:cubicBezTo>
                    <a:cubicBezTo>
                      <a:pt x="3349" y="5130"/>
                      <a:pt x="3349" y="5130"/>
                      <a:pt x="3349" y="5130"/>
                    </a:cubicBezTo>
                    <a:lnTo>
                      <a:pt x="3255" y="5314"/>
                    </a:lnTo>
                    <a:close/>
                    <a:moveTo>
                      <a:pt x="3700" y="5872"/>
                    </a:moveTo>
                    <a:cubicBezTo>
                      <a:pt x="4013" y="5988"/>
                      <a:pt x="4013" y="5988"/>
                      <a:pt x="4013" y="5988"/>
                    </a:cubicBezTo>
                    <a:cubicBezTo>
                      <a:pt x="4021" y="5976"/>
                      <a:pt x="4030" y="5963"/>
                      <a:pt x="4039" y="5952"/>
                    </a:cubicBezTo>
                    <a:cubicBezTo>
                      <a:pt x="4116" y="5856"/>
                      <a:pt x="4166" y="5846"/>
                      <a:pt x="4182" y="5832"/>
                    </a:cubicBezTo>
                    <a:cubicBezTo>
                      <a:pt x="4201" y="5815"/>
                      <a:pt x="4258" y="5762"/>
                      <a:pt x="4265" y="5754"/>
                    </a:cubicBezTo>
                    <a:cubicBezTo>
                      <a:pt x="4267" y="5752"/>
                      <a:pt x="4268" y="5750"/>
                      <a:pt x="4270" y="5749"/>
                    </a:cubicBezTo>
                    <a:cubicBezTo>
                      <a:pt x="4270" y="5744"/>
                      <a:pt x="4271" y="5739"/>
                      <a:pt x="4271" y="5737"/>
                    </a:cubicBezTo>
                    <a:cubicBezTo>
                      <a:pt x="4271" y="5722"/>
                      <a:pt x="4259" y="5698"/>
                      <a:pt x="4246" y="5679"/>
                    </a:cubicBezTo>
                    <a:cubicBezTo>
                      <a:pt x="4240" y="5669"/>
                      <a:pt x="4233" y="5660"/>
                      <a:pt x="4228" y="5654"/>
                    </a:cubicBezTo>
                    <a:cubicBezTo>
                      <a:pt x="4225" y="5651"/>
                      <a:pt x="4223" y="5648"/>
                      <a:pt x="4221" y="5646"/>
                    </a:cubicBezTo>
                    <a:cubicBezTo>
                      <a:pt x="4221" y="5645"/>
                      <a:pt x="4220" y="5645"/>
                      <a:pt x="4219" y="5644"/>
                    </a:cubicBezTo>
                    <a:cubicBezTo>
                      <a:pt x="4212" y="5637"/>
                      <a:pt x="4180" y="5612"/>
                      <a:pt x="4143" y="5579"/>
                    </a:cubicBezTo>
                    <a:cubicBezTo>
                      <a:pt x="4080" y="5523"/>
                      <a:pt x="3998" y="5447"/>
                      <a:pt x="3964" y="5417"/>
                    </a:cubicBezTo>
                    <a:cubicBezTo>
                      <a:pt x="3950" y="5441"/>
                      <a:pt x="3929" y="5468"/>
                      <a:pt x="3895" y="5497"/>
                    </a:cubicBezTo>
                    <a:cubicBezTo>
                      <a:pt x="3858" y="5529"/>
                      <a:pt x="3797" y="5553"/>
                      <a:pt x="3741" y="5572"/>
                    </a:cubicBezTo>
                    <a:cubicBezTo>
                      <a:pt x="3740" y="5768"/>
                      <a:pt x="3740" y="5768"/>
                      <a:pt x="3740" y="5768"/>
                    </a:cubicBezTo>
                    <a:lnTo>
                      <a:pt x="3700" y="5872"/>
                    </a:lnTo>
                    <a:close/>
                    <a:moveTo>
                      <a:pt x="4214" y="5629"/>
                    </a:moveTo>
                    <a:cubicBezTo>
                      <a:pt x="4214" y="5629"/>
                      <a:pt x="4214" y="5629"/>
                      <a:pt x="4214" y="5629"/>
                    </a:cubicBezTo>
                    <a:cubicBezTo>
                      <a:pt x="4214" y="5629"/>
                      <a:pt x="4214" y="5629"/>
                      <a:pt x="4214" y="5629"/>
                    </a:cubicBezTo>
                    <a:close/>
                    <a:moveTo>
                      <a:pt x="4215" y="5623"/>
                    </a:moveTo>
                    <a:cubicBezTo>
                      <a:pt x="4215" y="5623"/>
                      <a:pt x="4215" y="5623"/>
                      <a:pt x="4215" y="5623"/>
                    </a:cubicBezTo>
                    <a:cubicBezTo>
                      <a:pt x="4215" y="5624"/>
                      <a:pt x="4214" y="5624"/>
                      <a:pt x="4214" y="5625"/>
                    </a:cubicBezTo>
                    <a:cubicBezTo>
                      <a:pt x="4214" y="5625"/>
                      <a:pt x="4215" y="5624"/>
                      <a:pt x="4215" y="5623"/>
                    </a:cubicBezTo>
                    <a:close/>
                    <a:moveTo>
                      <a:pt x="4209" y="4877"/>
                    </a:moveTo>
                    <a:cubicBezTo>
                      <a:pt x="4209" y="4877"/>
                      <a:pt x="4209" y="4877"/>
                      <a:pt x="4209" y="4877"/>
                    </a:cubicBezTo>
                    <a:cubicBezTo>
                      <a:pt x="4208" y="4877"/>
                      <a:pt x="4208" y="4877"/>
                      <a:pt x="4208" y="4877"/>
                    </a:cubicBezTo>
                    <a:cubicBezTo>
                      <a:pt x="4208" y="4877"/>
                      <a:pt x="4208" y="4877"/>
                      <a:pt x="4208" y="4877"/>
                    </a:cubicBezTo>
                    <a:cubicBezTo>
                      <a:pt x="4090" y="4722"/>
                      <a:pt x="4090" y="4722"/>
                      <a:pt x="4090" y="4722"/>
                    </a:cubicBezTo>
                    <a:cubicBezTo>
                      <a:pt x="3849" y="4796"/>
                      <a:pt x="3849" y="4796"/>
                      <a:pt x="3849" y="4796"/>
                    </a:cubicBezTo>
                    <a:cubicBezTo>
                      <a:pt x="3901" y="4904"/>
                      <a:pt x="3901" y="4904"/>
                      <a:pt x="3901" y="4904"/>
                    </a:cubicBezTo>
                    <a:cubicBezTo>
                      <a:pt x="3912" y="4914"/>
                      <a:pt x="3948" y="4945"/>
                      <a:pt x="3984" y="4977"/>
                    </a:cubicBezTo>
                    <a:cubicBezTo>
                      <a:pt x="4005" y="4995"/>
                      <a:pt x="4027" y="5014"/>
                      <a:pt x="4043" y="5028"/>
                    </a:cubicBezTo>
                    <a:cubicBezTo>
                      <a:pt x="4047" y="5031"/>
                      <a:pt x="4050" y="5034"/>
                      <a:pt x="4052" y="5036"/>
                    </a:cubicBezTo>
                    <a:cubicBezTo>
                      <a:pt x="4060" y="5023"/>
                      <a:pt x="4068" y="5011"/>
                      <a:pt x="4078" y="4999"/>
                    </a:cubicBezTo>
                    <a:cubicBezTo>
                      <a:pt x="4095" y="4979"/>
                      <a:pt x="4118" y="4955"/>
                      <a:pt x="4141" y="4934"/>
                    </a:cubicBezTo>
                    <a:cubicBezTo>
                      <a:pt x="4173" y="4905"/>
                      <a:pt x="4204" y="4881"/>
                      <a:pt x="4209" y="4877"/>
                    </a:cubicBezTo>
                    <a:close/>
                    <a:moveTo>
                      <a:pt x="3614" y="4098"/>
                    </a:moveTo>
                    <a:cubicBezTo>
                      <a:pt x="3475" y="4262"/>
                      <a:pt x="3475" y="4262"/>
                      <a:pt x="3475" y="4262"/>
                    </a:cubicBezTo>
                    <a:cubicBezTo>
                      <a:pt x="3477" y="4266"/>
                      <a:pt x="3477" y="4266"/>
                      <a:pt x="3477" y="4266"/>
                    </a:cubicBezTo>
                    <a:cubicBezTo>
                      <a:pt x="3477" y="4266"/>
                      <a:pt x="3500" y="4319"/>
                      <a:pt x="3525" y="4372"/>
                    </a:cubicBezTo>
                    <a:cubicBezTo>
                      <a:pt x="3537" y="4399"/>
                      <a:pt x="3549" y="4425"/>
                      <a:pt x="3558" y="4445"/>
                    </a:cubicBezTo>
                    <a:cubicBezTo>
                      <a:pt x="3563" y="4455"/>
                      <a:pt x="3566" y="4463"/>
                      <a:pt x="3569" y="4469"/>
                    </a:cubicBezTo>
                    <a:cubicBezTo>
                      <a:pt x="3570" y="4470"/>
                      <a:pt x="3570" y="4471"/>
                      <a:pt x="3571" y="4472"/>
                    </a:cubicBezTo>
                    <a:cubicBezTo>
                      <a:pt x="3600" y="4492"/>
                      <a:pt x="3757" y="4607"/>
                      <a:pt x="3757" y="4607"/>
                    </a:cubicBezTo>
                    <a:cubicBezTo>
                      <a:pt x="3761" y="4611"/>
                      <a:pt x="3761" y="4611"/>
                      <a:pt x="3761" y="4611"/>
                    </a:cubicBezTo>
                    <a:cubicBezTo>
                      <a:pt x="3842" y="4781"/>
                      <a:pt x="3842" y="4781"/>
                      <a:pt x="3842" y="4781"/>
                    </a:cubicBezTo>
                    <a:cubicBezTo>
                      <a:pt x="4079" y="4708"/>
                      <a:pt x="4079" y="4708"/>
                      <a:pt x="4079" y="4708"/>
                    </a:cubicBezTo>
                    <a:lnTo>
                      <a:pt x="3614" y="4098"/>
                    </a:lnTo>
                    <a:close/>
                    <a:moveTo>
                      <a:pt x="3604" y="4085"/>
                    </a:moveTo>
                    <a:cubicBezTo>
                      <a:pt x="3409" y="3830"/>
                      <a:pt x="3409" y="3830"/>
                      <a:pt x="3409" y="3830"/>
                    </a:cubicBezTo>
                    <a:cubicBezTo>
                      <a:pt x="3228" y="3944"/>
                      <a:pt x="3228" y="3944"/>
                      <a:pt x="3228" y="3944"/>
                    </a:cubicBezTo>
                    <a:cubicBezTo>
                      <a:pt x="3153" y="4103"/>
                      <a:pt x="3153" y="4103"/>
                      <a:pt x="3153" y="4103"/>
                    </a:cubicBezTo>
                    <a:cubicBezTo>
                      <a:pt x="3160" y="4091"/>
                      <a:pt x="3160" y="4091"/>
                      <a:pt x="3160" y="4091"/>
                    </a:cubicBezTo>
                    <a:cubicBezTo>
                      <a:pt x="3461" y="4252"/>
                      <a:pt x="3461" y="4252"/>
                      <a:pt x="3461" y="4252"/>
                    </a:cubicBezTo>
                    <a:lnTo>
                      <a:pt x="3604" y="4085"/>
                    </a:lnTo>
                    <a:close/>
                    <a:moveTo>
                      <a:pt x="3119" y="4164"/>
                    </a:moveTo>
                    <a:cubicBezTo>
                      <a:pt x="3034" y="4270"/>
                      <a:pt x="3034" y="4270"/>
                      <a:pt x="3034" y="4270"/>
                    </a:cubicBezTo>
                    <a:cubicBezTo>
                      <a:pt x="3118" y="4335"/>
                      <a:pt x="3118" y="4335"/>
                      <a:pt x="3118" y="4335"/>
                    </a:cubicBezTo>
                    <a:cubicBezTo>
                      <a:pt x="3148" y="4304"/>
                      <a:pt x="3148" y="4304"/>
                      <a:pt x="3148" y="4304"/>
                    </a:cubicBezTo>
                    <a:cubicBezTo>
                      <a:pt x="3157" y="4296"/>
                      <a:pt x="3157" y="4296"/>
                      <a:pt x="3157" y="4296"/>
                    </a:cubicBezTo>
                    <a:cubicBezTo>
                      <a:pt x="3163" y="4300"/>
                      <a:pt x="3163" y="4300"/>
                      <a:pt x="3163" y="4300"/>
                    </a:cubicBezTo>
                    <a:cubicBezTo>
                      <a:pt x="3212" y="4237"/>
                      <a:pt x="3212" y="4237"/>
                      <a:pt x="3212" y="4237"/>
                    </a:cubicBezTo>
                    <a:lnTo>
                      <a:pt x="3119" y="4164"/>
                    </a:lnTo>
                    <a:close/>
                    <a:moveTo>
                      <a:pt x="3016" y="4273"/>
                    </a:moveTo>
                    <a:cubicBezTo>
                      <a:pt x="2969" y="4329"/>
                      <a:pt x="2969" y="4329"/>
                      <a:pt x="2969" y="4329"/>
                    </a:cubicBezTo>
                    <a:cubicBezTo>
                      <a:pt x="3005" y="4346"/>
                      <a:pt x="3052" y="4372"/>
                      <a:pt x="3096" y="4399"/>
                    </a:cubicBezTo>
                    <a:cubicBezTo>
                      <a:pt x="3162" y="4317"/>
                      <a:pt x="3162" y="4317"/>
                      <a:pt x="3162" y="4317"/>
                    </a:cubicBezTo>
                    <a:cubicBezTo>
                      <a:pt x="3161" y="4316"/>
                      <a:pt x="3161" y="4316"/>
                      <a:pt x="3161" y="4316"/>
                    </a:cubicBezTo>
                    <a:cubicBezTo>
                      <a:pt x="3159" y="4318"/>
                      <a:pt x="3159" y="4318"/>
                      <a:pt x="3159" y="4318"/>
                    </a:cubicBezTo>
                    <a:cubicBezTo>
                      <a:pt x="3157" y="4316"/>
                      <a:pt x="3157" y="4316"/>
                      <a:pt x="3157" y="4316"/>
                    </a:cubicBezTo>
                    <a:cubicBezTo>
                      <a:pt x="3119" y="4354"/>
                      <a:pt x="3119" y="4354"/>
                      <a:pt x="3119" y="4354"/>
                    </a:cubicBezTo>
                    <a:lnTo>
                      <a:pt x="3016" y="4273"/>
                    </a:lnTo>
                    <a:close/>
                    <a:moveTo>
                      <a:pt x="2822" y="4365"/>
                    </a:moveTo>
                    <a:cubicBezTo>
                      <a:pt x="2809" y="4397"/>
                      <a:pt x="2809" y="4397"/>
                      <a:pt x="2809" y="4397"/>
                    </a:cubicBezTo>
                    <a:cubicBezTo>
                      <a:pt x="2902" y="4501"/>
                      <a:pt x="2902" y="4501"/>
                      <a:pt x="2902" y="4501"/>
                    </a:cubicBezTo>
                    <a:cubicBezTo>
                      <a:pt x="3173" y="4595"/>
                      <a:pt x="3173" y="4595"/>
                      <a:pt x="3173" y="4595"/>
                    </a:cubicBezTo>
                    <a:cubicBezTo>
                      <a:pt x="3157" y="4575"/>
                      <a:pt x="3131" y="4543"/>
                      <a:pt x="3099" y="4511"/>
                    </a:cubicBezTo>
                    <a:cubicBezTo>
                      <a:pt x="3049" y="4458"/>
                      <a:pt x="2980" y="4450"/>
                      <a:pt x="2904" y="4401"/>
                    </a:cubicBezTo>
                    <a:cubicBezTo>
                      <a:pt x="2869" y="4378"/>
                      <a:pt x="2842" y="4368"/>
                      <a:pt x="2822" y="4365"/>
                    </a:cubicBezTo>
                    <a:close/>
                    <a:moveTo>
                      <a:pt x="2370" y="4784"/>
                    </a:moveTo>
                    <a:cubicBezTo>
                      <a:pt x="2369" y="4785"/>
                      <a:pt x="2369" y="4787"/>
                      <a:pt x="2369" y="4787"/>
                    </a:cubicBezTo>
                    <a:cubicBezTo>
                      <a:pt x="2368" y="4796"/>
                      <a:pt x="2356" y="4877"/>
                      <a:pt x="2344" y="4959"/>
                    </a:cubicBezTo>
                    <a:cubicBezTo>
                      <a:pt x="2338" y="5002"/>
                      <a:pt x="2331" y="5045"/>
                      <a:pt x="2326" y="5078"/>
                    </a:cubicBezTo>
                    <a:cubicBezTo>
                      <a:pt x="2324" y="5094"/>
                      <a:pt x="2322" y="5108"/>
                      <a:pt x="2320" y="5118"/>
                    </a:cubicBezTo>
                    <a:cubicBezTo>
                      <a:pt x="2319" y="5122"/>
                      <a:pt x="2319" y="5126"/>
                      <a:pt x="2318" y="5129"/>
                    </a:cubicBezTo>
                    <a:cubicBezTo>
                      <a:pt x="2364" y="5133"/>
                      <a:pt x="2462" y="5143"/>
                      <a:pt x="2626" y="5160"/>
                    </a:cubicBezTo>
                    <a:cubicBezTo>
                      <a:pt x="2721" y="5169"/>
                      <a:pt x="2799" y="5182"/>
                      <a:pt x="2868" y="5196"/>
                    </a:cubicBezTo>
                    <a:cubicBezTo>
                      <a:pt x="2844" y="4958"/>
                      <a:pt x="2844" y="4958"/>
                      <a:pt x="2844" y="4958"/>
                    </a:cubicBezTo>
                    <a:cubicBezTo>
                      <a:pt x="2762" y="4946"/>
                      <a:pt x="2571" y="4916"/>
                      <a:pt x="2570" y="4916"/>
                    </a:cubicBezTo>
                    <a:cubicBezTo>
                      <a:pt x="2561" y="4915"/>
                      <a:pt x="2561" y="4915"/>
                      <a:pt x="2561" y="4915"/>
                    </a:cubicBezTo>
                    <a:cubicBezTo>
                      <a:pt x="2598" y="4795"/>
                      <a:pt x="2598" y="4795"/>
                      <a:pt x="2598" y="4795"/>
                    </a:cubicBezTo>
                    <a:lnTo>
                      <a:pt x="2370" y="4784"/>
                    </a:lnTo>
                    <a:close/>
                    <a:moveTo>
                      <a:pt x="2620" y="5204"/>
                    </a:moveTo>
                    <a:cubicBezTo>
                      <a:pt x="2527" y="5768"/>
                      <a:pt x="2527" y="5768"/>
                      <a:pt x="2527" y="5768"/>
                    </a:cubicBezTo>
                    <a:cubicBezTo>
                      <a:pt x="2617" y="5793"/>
                      <a:pt x="2724" y="5824"/>
                      <a:pt x="2797" y="5848"/>
                    </a:cubicBezTo>
                    <a:cubicBezTo>
                      <a:pt x="2829" y="5858"/>
                      <a:pt x="2859" y="5876"/>
                      <a:pt x="2887" y="5898"/>
                    </a:cubicBezTo>
                    <a:cubicBezTo>
                      <a:pt x="3312" y="5394"/>
                      <a:pt x="3312" y="5394"/>
                      <a:pt x="3312" y="5394"/>
                    </a:cubicBezTo>
                    <a:cubicBezTo>
                      <a:pt x="3254" y="5361"/>
                      <a:pt x="3194" y="5333"/>
                      <a:pt x="3139" y="5317"/>
                    </a:cubicBezTo>
                    <a:cubicBezTo>
                      <a:pt x="2990" y="5272"/>
                      <a:pt x="2861" y="5228"/>
                      <a:pt x="2621" y="5204"/>
                    </a:cubicBezTo>
                    <a:cubicBezTo>
                      <a:pt x="2621" y="5204"/>
                      <a:pt x="2621" y="5204"/>
                      <a:pt x="2620" y="5204"/>
                    </a:cubicBezTo>
                    <a:close/>
                    <a:moveTo>
                      <a:pt x="3049" y="6091"/>
                    </a:moveTo>
                    <a:cubicBezTo>
                      <a:pt x="3156" y="6069"/>
                      <a:pt x="3285" y="6054"/>
                      <a:pt x="3350" y="6030"/>
                    </a:cubicBezTo>
                    <a:cubicBezTo>
                      <a:pt x="3353" y="6029"/>
                      <a:pt x="3365" y="6023"/>
                      <a:pt x="3382" y="6013"/>
                    </a:cubicBezTo>
                    <a:cubicBezTo>
                      <a:pt x="3442" y="5981"/>
                      <a:pt x="3565" y="5898"/>
                      <a:pt x="3594" y="5811"/>
                    </a:cubicBezTo>
                    <a:cubicBezTo>
                      <a:pt x="3607" y="5774"/>
                      <a:pt x="3613" y="5743"/>
                      <a:pt x="3613" y="5716"/>
                    </a:cubicBezTo>
                    <a:cubicBezTo>
                      <a:pt x="3612" y="5650"/>
                      <a:pt x="3582" y="5603"/>
                      <a:pt x="3530" y="5552"/>
                    </a:cubicBezTo>
                    <a:cubicBezTo>
                      <a:pt x="3488" y="5511"/>
                      <a:pt x="3410" y="5452"/>
                      <a:pt x="3324" y="5401"/>
                    </a:cubicBezTo>
                    <a:cubicBezTo>
                      <a:pt x="2898" y="5906"/>
                      <a:pt x="2898" y="5906"/>
                      <a:pt x="2898" y="5906"/>
                    </a:cubicBezTo>
                    <a:cubicBezTo>
                      <a:pt x="2971" y="5967"/>
                      <a:pt x="3026" y="6052"/>
                      <a:pt x="3049" y="6091"/>
                    </a:cubicBezTo>
                    <a:close/>
                    <a:moveTo>
                      <a:pt x="3086" y="6130"/>
                    </a:moveTo>
                    <a:cubicBezTo>
                      <a:pt x="3112" y="6147"/>
                      <a:pt x="3151" y="6175"/>
                      <a:pt x="3192" y="6203"/>
                    </a:cubicBezTo>
                    <a:cubicBezTo>
                      <a:pt x="3226" y="6226"/>
                      <a:pt x="3260" y="6249"/>
                      <a:pt x="3286" y="6266"/>
                    </a:cubicBezTo>
                    <a:cubicBezTo>
                      <a:pt x="3299" y="6275"/>
                      <a:pt x="3310" y="6282"/>
                      <a:pt x="3318" y="6287"/>
                    </a:cubicBezTo>
                    <a:cubicBezTo>
                      <a:pt x="3322" y="6290"/>
                      <a:pt x="3326" y="6292"/>
                      <a:pt x="3328" y="6293"/>
                    </a:cubicBezTo>
                    <a:cubicBezTo>
                      <a:pt x="3329" y="6293"/>
                      <a:pt x="3330" y="6294"/>
                      <a:pt x="3330" y="6294"/>
                    </a:cubicBezTo>
                    <a:cubicBezTo>
                      <a:pt x="3367" y="6288"/>
                      <a:pt x="3856" y="6215"/>
                      <a:pt x="3914" y="6205"/>
                    </a:cubicBezTo>
                    <a:cubicBezTo>
                      <a:pt x="3923" y="6180"/>
                      <a:pt x="3954" y="6084"/>
                      <a:pt x="4004" y="6002"/>
                    </a:cubicBezTo>
                    <a:cubicBezTo>
                      <a:pt x="3679" y="5882"/>
                      <a:pt x="3679" y="5882"/>
                      <a:pt x="3679" y="5882"/>
                    </a:cubicBezTo>
                    <a:cubicBezTo>
                      <a:pt x="3679" y="5881"/>
                      <a:pt x="3679" y="5881"/>
                      <a:pt x="3679" y="5881"/>
                    </a:cubicBezTo>
                    <a:cubicBezTo>
                      <a:pt x="3622" y="5859"/>
                      <a:pt x="3622" y="5859"/>
                      <a:pt x="3622" y="5859"/>
                    </a:cubicBezTo>
                    <a:cubicBezTo>
                      <a:pt x="3590" y="5917"/>
                      <a:pt x="3534" y="5966"/>
                      <a:pt x="3483" y="6002"/>
                    </a:cubicBezTo>
                    <a:cubicBezTo>
                      <a:pt x="3423" y="6045"/>
                      <a:pt x="3370" y="6071"/>
                      <a:pt x="3369" y="6071"/>
                    </a:cubicBezTo>
                    <a:cubicBezTo>
                      <a:pt x="3368" y="6072"/>
                      <a:pt x="3368" y="6072"/>
                      <a:pt x="3368" y="6072"/>
                    </a:cubicBezTo>
                    <a:cubicBezTo>
                      <a:pt x="3367" y="6072"/>
                      <a:pt x="3367" y="6072"/>
                      <a:pt x="3367" y="6072"/>
                    </a:cubicBezTo>
                    <a:cubicBezTo>
                      <a:pt x="3300" y="6097"/>
                      <a:pt x="3185" y="6111"/>
                      <a:pt x="3086" y="6130"/>
                    </a:cubicBezTo>
                    <a:close/>
                    <a:moveTo>
                      <a:pt x="3928" y="6566"/>
                    </a:moveTo>
                    <a:cubicBezTo>
                      <a:pt x="4130" y="6783"/>
                      <a:pt x="4130" y="6783"/>
                      <a:pt x="4130" y="6783"/>
                    </a:cubicBezTo>
                    <a:cubicBezTo>
                      <a:pt x="4145" y="6785"/>
                      <a:pt x="4209" y="6796"/>
                      <a:pt x="4276" y="6807"/>
                    </a:cubicBezTo>
                    <a:cubicBezTo>
                      <a:pt x="4334" y="6816"/>
                      <a:pt x="4394" y="6826"/>
                      <a:pt x="4421" y="6829"/>
                    </a:cubicBezTo>
                    <a:cubicBezTo>
                      <a:pt x="4429" y="6787"/>
                      <a:pt x="4442" y="6703"/>
                      <a:pt x="4454" y="6620"/>
                    </a:cubicBezTo>
                    <a:cubicBezTo>
                      <a:pt x="4470" y="6514"/>
                      <a:pt x="4485" y="6408"/>
                      <a:pt x="4488" y="6385"/>
                    </a:cubicBezTo>
                    <a:cubicBezTo>
                      <a:pt x="4494" y="6333"/>
                      <a:pt x="4513" y="6222"/>
                      <a:pt x="4522" y="6172"/>
                    </a:cubicBezTo>
                    <a:cubicBezTo>
                      <a:pt x="4526" y="6154"/>
                      <a:pt x="4535" y="6128"/>
                      <a:pt x="4547" y="6093"/>
                    </a:cubicBezTo>
                    <a:cubicBezTo>
                      <a:pt x="4573" y="6024"/>
                      <a:pt x="4610" y="5928"/>
                      <a:pt x="4631" y="5873"/>
                    </a:cubicBezTo>
                    <a:cubicBezTo>
                      <a:pt x="4632" y="5871"/>
                      <a:pt x="4633" y="5869"/>
                      <a:pt x="4634" y="5866"/>
                    </a:cubicBezTo>
                    <a:cubicBezTo>
                      <a:pt x="4632" y="5873"/>
                      <a:pt x="4632" y="5873"/>
                      <a:pt x="4632" y="5873"/>
                    </a:cubicBezTo>
                    <a:cubicBezTo>
                      <a:pt x="4273" y="5769"/>
                      <a:pt x="4273" y="5769"/>
                      <a:pt x="4273" y="5769"/>
                    </a:cubicBezTo>
                    <a:cubicBezTo>
                      <a:pt x="4256" y="5786"/>
                      <a:pt x="4210" y="5828"/>
                      <a:pt x="4192" y="5844"/>
                    </a:cubicBezTo>
                    <a:cubicBezTo>
                      <a:pt x="4169" y="5863"/>
                      <a:pt x="4129" y="5867"/>
                      <a:pt x="4052" y="5962"/>
                    </a:cubicBezTo>
                    <a:cubicBezTo>
                      <a:pt x="4014" y="6009"/>
                      <a:pt x="3983" y="6073"/>
                      <a:pt x="3961" y="6125"/>
                    </a:cubicBezTo>
                    <a:cubicBezTo>
                      <a:pt x="3942" y="6172"/>
                      <a:pt x="3931" y="6209"/>
                      <a:pt x="3928" y="6215"/>
                    </a:cubicBezTo>
                    <a:lnTo>
                      <a:pt x="3928" y="6566"/>
                    </a:lnTo>
                    <a:close/>
                    <a:moveTo>
                      <a:pt x="4648" y="5832"/>
                    </a:moveTo>
                    <a:cubicBezTo>
                      <a:pt x="4648" y="5831"/>
                      <a:pt x="4648" y="5831"/>
                      <a:pt x="4648" y="5831"/>
                    </a:cubicBezTo>
                    <a:cubicBezTo>
                      <a:pt x="4652" y="5832"/>
                      <a:pt x="4652" y="5832"/>
                      <a:pt x="4652" y="5832"/>
                    </a:cubicBezTo>
                    <a:cubicBezTo>
                      <a:pt x="4676" y="5793"/>
                      <a:pt x="4738" y="5695"/>
                      <a:pt x="4789" y="5626"/>
                    </a:cubicBezTo>
                    <a:cubicBezTo>
                      <a:pt x="4773" y="5604"/>
                      <a:pt x="4739" y="5560"/>
                      <a:pt x="4697" y="5505"/>
                    </a:cubicBezTo>
                    <a:cubicBezTo>
                      <a:pt x="4612" y="5395"/>
                      <a:pt x="4490" y="5238"/>
                      <a:pt x="4389" y="5108"/>
                    </a:cubicBezTo>
                    <a:cubicBezTo>
                      <a:pt x="4324" y="5025"/>
                      <a:pt x="4268" y="4953"/>
                      <a:pt x="4236" y="4912"/>
                    </a:cubicBezTo>
                    <a:cubicBezTo>
                      <a:pt x="4232" y="4915"/>
                      <a:pt x="4232" y="4915"/>
                      <a:pt x="4232" y="4915"/>
                    </a:cubicBezTo>
                    <a:cubicBezTo>
                      <a:pt x="4232" y="4915"/>
                      <a:pt x="4212" y="4931"/>
                      <a:pt x="4187" y="4953"/>
                    </a:cubicBezTo>
                    <a:cubicBezTo>
                      <a:pt x="4286" y="5189"/>
                      <a:pt x="4286" y="5189"/>
                      <a:pt x="4286" y="5189"/>
                    </a:cubicBezTo>
                    <a:cubicBezTo>
                      <a:pt x="4230" y="5229"/>
                      <a:pt x="4230" y="5229"/>
                      <a:pt x="4230" y="5229"/>
                    </a:cubicBezTo>
                    <a:cubicBezTo>
                      <a:pt x="4318" y="5382"/>
                      <a:pt x="4318" y="5382"/>
                      <a:pt x="4318" y="5382"/>
                    </a:cubicBezTo>
                    <a:cubicBezTo>
                      <a:pt x="4307" y="5444"/>
                      <a:pt x="4307" y="5444"/>
                      <a:pt x="4307" y="5444"/>
                    </a:cubicBezTo>
                    <a:cubicBezTo>
                      <a:pt x="4412" y="5536"/>
                      <a:pt x="4412" y="5536"/>
                      <a:pt x="4412" y="5536"/>
                    </a:cubicBezTo>
                    <a:cubicBezTo>
                      <a:pt x="4412" y="5540"/>
                      <a:pt x="4412" y="5540"/>
                      <a:pt x="4412" y="5540"/>
                    </a:cubicBezTo>
                    <a:cubicBezTo>
                      <a:pt x="4412" y="5540"/>
                      <a:pt x="4409" y="5663"/>
                      <a:pt x="4409" y="5730"/>
                    </a:cubicBezTo>
                    <a:cubicBezTo>
                      <a:pt x="4409" y="5742"/>
                      <a:pt x="4409" y="5753"/>
                      <a:pt x="4409" y="5760"/>
                    </a:cubicBezTo>
                    <a:cubicBezTo>
                      <a:pt x="4409" y="5761"/>
                      <a:pt x="4409" y="5762"/>
                      <a:pt x="4409" y="5763"/>
                    </a:cubicBezTo>
                    <a:lnTo>
                      <a:pt x="4648" y="5832"/>
                    </a:lnTo>
                    <a:close/>
                    <a:moveTo>
                      <a:pt x="4828" y="5569"/>
                    </a:moveTo>
                    <a:cubicBezTo>
                      <a:pt x="4829" y="5570"/>
                      <a:pt x="4830" y="5571"/>
                      <a:pt x="4831" y="5572"/>
                    </a:cubicBezTo>
                    <a:cubicBezTo>
                      <a:pt x="4869" y="5523"/>
                      <a:pt x="4899" y="5474"/>
                      <a:pt x="4899" y="5397"/>
                    </a:cubicBezTo>
                    <a:cubicBezTo>
                      <a:pt x="4899" y="5366"/>
                      <a:pt x="4894" y="5331"/>
                      <a:pt x="4883" y="5289"/>
                    </a:cubicBezTo>
                    <a:cubicBezTo>
                      <a:pt x="4865" y="5225"/>
                      <a:pt x="4846" y="5168"/>
                      <a:pt x="4846" y="5109"/>
                    </a:cubicBezTo>
                    <a:cubicBezTo>
                      <a:pt x="4846" y="5062"/>
                      <a:pt x="4859" y="5014"/>
                      <a:pt x="4892" y="4967"/>
                    </a:cubicBezTo>
                    <a:cubicBezTo>
                      <a:pt x="4906" y="4947"/>
                      <a:pt x="4921" y="4925"/>
                      <a:pt x="4936" y="4904"/>
                    </a:cubicBezTo>
                    <a:cubicBezTo>
                      <a:pt x="4886" y="4869"/>
                      <a:pt x="4752" y="4769"/>
                      <a:pt x="4619" y="4672"/>
                    </a:cubicBezTo>
                    <a:cubicBezTo>
                      <a:pt x="4543" y="4615"/>
                      <a:pt x="4467" y="4560"/>
                      <a:pt x="4410" y="4518"/>
                    </a:cubicBezTo>
                    <a:cubicBezTo>
                      <a:pt x="4382" y="4497"/>
                      <a:pt x="4358" y="4479"/>
                      <a:pt x="4341" y="4467"/>
                    </a:cubicBezTo>
                    <a:cubicBezTo>
                      <a:pt x="4333" y="4462"/>
                      <a:pt x="4327" y="4457"/>
                      <a:pt x="4323" y="4454"/>
                    </a:cubicBezTo>
                    <a:cubicBezTo>
                      <a:pt x="4312" y="4715"/>
                      <a:pt x="4312" y="4715"/>
                      <a:pt x="4312" y="4715"/>
                    </a:cubicBezTo>
                    <a:cubicBezTo>
                      <a:pt x="4244" y="4811"/>
                      <a:pt x="4244" y="4811"/>
                      <a:pt x="4244" y="4811"/>
                    </a:cubicBezTo>
                    <a:cubicBezTo>
                      <a:pt x="4270" y="4845"/>
                      <a:pt x="4422" y="5044"/>
                      <a:pt x="4557" y="5217"/>
                    </a:cubicBezTo>
                    <a:cubicBezTo>
                      <a:pt x="4631" y="5313"/>
                      <a:pt x="4705" y="5409"/>
                      <a:pt x="4761" y="5481"/>
                    </a:cubicBezTo>
                    <a:cubicBezTo>
                      <a:pt x="4789" y="5517"/>
                      <a:pt x="4812" y="5548"/>
                      <a:pt x="4828" y="5569"/>
                    </a:cubicBezTo>
                    <a:close/>
                    <a:moveTo>
                      <a:pt x="5249" y="4912"/>
                    </a:moveTo>
                    <a:cubicBezTo>
                      <a:pt x="5252" y="4834"/>
                      <a:pt x="5252" y="4834"/>
                      <a:pt x="5252" y="4834"/>
                    </a:cubicBezTo>
                    <a:cubicBezTo>
                      <a:pt x="5130" y="4828"/>
                      <a:pt x="5130" y="4828"/>
                      <a:pt x="5130" y="4828"/>
                    </a:cubicBezTo>
                    <a:cubicBezTo>
                      <a:pt x="5127" y="4906"/>
                      <a:pt x="5127" y="4906"/>
                      <a:pt x="5127" y="4906"/>
                    </a:cubicBezTo>
                    <a:lnTo>
                      <a:pt x="5249" y="4912"/>
                    </a:lnTo>
                    <a:close/>
                    <a:moveTo>
                      <a:pt x="5058" y="4690"/>
                    </a:moveTo>
                    <a:cubicBezTo>
                      <a:pt x="4991" y="4605"/>
                      <a:pt x="4619" y="4129"/>
                      <a:pt x="4550" y="4027"/>
                    </a:cubicBezTo>
                    <a:cubicBezTo>
                      <a:pt x="4527" y="3993"/>
                      <a:pt x="4516" y="3961"/>
                      <a:pt x="4516" y="3931"/>
                    </a:cubicBezTo>
                    <a:cubicBezTo>
                      <a:pt x="4516" y="3927"/>
                      <a:pt x="4517" y="3923"/>
                      <a:pt x="4517" y="3920"/>
                    </a:cubicBezTo>
                    <a:cubicBezTo>
                      <a:pt x="4132" y="3848"/>
                      <a:pt x="4132" y="3848"/>
                      <a:pt x="4132" y="3848"/>
                    </a:cubicBezTo>
                    <a:cubicBezTo>
                      <a:pt x="3964" y="3898"/>
                      <a:pt x="3964" y="3898"/>
                      <a:pt x="3964" y="3898"/>
                    </a:cubicBezTo>
                    <a:cubicBezTo>
                      <a:pt x="4322" y="4436"/>
                      <a:pt x="4322" y="4436"/>
                      <a:pt x="4322" y="4436"/>
                    </a:cubicBezTo>
                    <a:cubicBezTo>
                      <a:pt x="4324" y="4438"/>
                      <a:pt x="4325" y="4439"/>
                      <a:pt x="4330" y="4442"/>
                    </a:cubicBezTo>
                    <a:cubicBezTo>
                      <a:pt x="4367" y="4469"/>
                      <a:pt x="4524" y="4584"/>
                      <a:pt x="4672" y="4694"/>
                    </a:cubicBezTo>
                    <a:cubicBezTo>
                      <a:pt x="4747" y="4748"/>
                      <a:pt x="4819" y="4801"/>
                      <a:pt x="4872" y="4841"/>
                    </a:cubicBezTo>
                    <a:cubicBezTo>
                      <a:pt x="4899" y="4860"/>
                      <a:pt x="4922" y="4877"/>
                      <a:pt x="4938" y="4888"/>
                    </a:cubicBezTo>
                    <a:cubicBezTo>
                      <a:pt x="4940" y="4890"/>
                      <a:pt x="4942" y="4891"/>
                      <a:pt x="4944" y="4892"/>
                    </a:cubicBezTo>
                    <a:cubicBezTo>
                      <a:pt x="4993" y="4822"/>
                      <a:pt x="5040" y="4751"/>
                      <a:pt x="5058" y="4690"/>
                    </a:cubicBezTo>
                    <a:close/>
                    <a:moveTo>
                      <a:pt x="4557" y="3840"/>
                    </a:moveTo>
                    <a:cubicBezTo>
                      <a:pt x="4579" y="3820"/>
                      <a:pt x="4602" y="3808"/>
                      <a:pt x="4618" y="3802"/>
                    </a:cubicBezTo>
                    <a:cubicBezTo>
                      <a:pt x="4627" y="3799"/>
                      <a:pt x="4636" y="3797"/>
                      <a:pt x="4651" y="3794"/>
                    </a:cubicBezTo>
                    <a:cubicBezTo>
                      <a:pt x="4659" y="3792"/>
                      <a:pt x="4670" y="3790"/>
                      <a:pt x="4681" y="3788"/>
                    </a:cubicBezTo>
                    <a:cubicBezTo>
                      <a:pt x="4567" y="3450"/>
                      <a:pt x="4567" y="3450"/>
                      <a:pt x="4567" y="3450"/>
                    </a:cubicBezTo>
                    <a:cubicBezTo>
                      <a:pt x="4515" y="3455"/>
                      <a:pt x="4466" y="3459"/>
                      <a:pt x="4426" y="3463"/>
                    </a:cubicBezTo>
                    <a:cubicBezTo>
                      <a:pt x="4394" y="3466"/>
                      <a:pt x="4367" y="3468"/>
                      <a:pt x="4348" y="3470"/>
                    </a:cubicBezTo>
                    <a:cubicBezTo>
                      <a:pt x="4338" y="3471"/>
                      <a:pt x="4330" y="3472"/>
                      <a:pt x="4325" y="3472"/>
                    </a:cubicBezTo>
                    <a:cubicBezTo>
                      <a:pt x="4322" y="3472"/>
                      <a:pt x="4320" y="3473"/>
                      <a:pt x="4319" y="3473"/>
                    </a:cubicBezTo>
                    <a:cubicBezTo>
                      <a:pt x="4318" y="3473"/>
                      <a:pt x="4318" y="3473"/>
                      <a:pt x="4317" y="3473"/>
                    </a:cubicBezTo>
                    <a:cubicBezTo>
                      <a:pt x="4317" y="3473"/>
                      <a:pt x="4317" y="3473"/>
                      <a:pt x="4317" y="3473"/>
                    </a:cubicBezTo>
                    <a:cubicBezTo>
                      <a:pt x="4310" y="3476"/>
                      <a:pt x="4255" y="3499"/>
                      <a:pt x="4241" y="3504"/>
                    </a:cubicBezTo>
                    <a:cubicBezTo>
                      <a:pt x="4136" y="3803"/>
                      <a:pt x="4136" y="3803"/>
                      <a:pt x="4136" y="3803"/>
                    </a:cubicBezTo>
                    <a:cubicBezTo>
                      <a:pt x="4529" y="3876"/>
                      <a:pt x="4529" y="3876"/>
                      <a:pt x="4529" y="3876"/>
                    </a:cubicBezTo>
                    <a:cubicBezTo>
                      <a:pt x="4537" y="3862"/>
                      <a:pt x="4547" y="3849"/>
                      <a:pt x="4557" y="3840"/>
                    </a:cubicBezTo>
                    <a:close/>
                    <a:moveTo>
                      <a:pt x="4695" y="3786"/>
                    </a:moveTo>
                    <a:cubicBezTo>
                      <a:pt x="4741" y="3777"/>
                      <a:pt x="4803" y="3767"/>
                      <a:pt x="4861" y="3758"/>
                    </a:cubicBezTo>
                    <a:cubicBezTo>
                      <a:pt x="4804" y="3429"/>
                      <a:pt x="4804" y="3429"/>
                      <a:pt x="4804" y="3429"/>
                    </a:cubicBezTo>
                    <a:cubicBezTo>
                      <a:pt x="4759" y="3433"/>
                      <a:pt x="4710" y="3437"/>
                      <a:pt x="4661" y="3442"/>
                    </a:cubicBezTo>
                    <a:cubicBezTo>
                      <a:pt x="4634" y="3444"/>
                      <a:pt x="4607" y="3447"/>
                      <a:pt x="4581" y="3449"/>
                    </a:cubicBezTo>
                    <a:lnTo>
                      <a:pt x="4695" y="3786"/>
                    </a:lnTo>
                    <a:close/>
                    <a:moveTo>
                      <a:pt x="4815" y="3414"/>
                    </a:moveTo>
                    <a:cubicBezTo>
                      <a:pt x="4889" y="3408"/>
                      <a:pt x="4950" y="3402"/>
                      <a:pt x="4980" y="3400"/>
                    </a:cubicBezTo>
                    <a:cubicBezTo>
                      <a:pt x="4958" y="3208"/>
                      <a:pt x="4939" y="3048"/>
                      <a:pt x="4933" y="2991"/>
                    </a:cubicBezTo>
                    <a:cubicBezTo>
                      <a:pt x="4904" y="2997"/>
                      <a:pt x="4875" y="3004"/>
                      <a:pt x="4847" y="3010"/>
                    </a:cubicBezTo>
                    <a:cubicBezTo>
                      <a:pt x="4807" y="3020"/>
                      <a:pt x="4765" y="3030"/>
                      <a:pt x="4722" y="3041"/>
                    </a:cubicBezTo>
                    <a:lnTo>
                      <a:pt x="4815" y="3414"/>
                    </a:lnTo>
                    <a:close/>
                    <a:moveTo>
                      <a:pt x="4709" y="3044"/>
                    </a:moveTo>
                    <a:cubicBezTo>
                      <a:pt x="4652" y="3058"/>
                      <a:pt x="4594" y="3073"/>
                      <a:pt x="4535" y="3089"/>
                    </a:cubicBezTo>
                    <a:cubicBezTo>
                      <a:pt x="4624" y="3431"/>
                      <a:pt x="4624" y="3431"/>
                      <a:pt x="4624" y="3431"/>
                    </a:cubicBezTo>
                    <a:cubicBezTo>
                      <a:pt x="4684" y="3426"/>
                      <a:pt x="4746" y="3420"/>
                      <a:pt x="4801" y="3415"/>
                    </a:cubicBezTo>
                    <a:lnTo>
                      <a:pt x="4709" y="3044"/>
                    </a:lnTo>
                    <a:close/>
                    <a:moveTo>
                      <a:pt x="4522" y="3093"/>
                    </a:moveTo>
                    <a:cubicBezTo>
                      <a:pt x="4464" y="3108"/>
                      <a:pt x="4406" y="3124"/>
                      <a:pt x="4347" y="3141"/>
                    </a:cubicBezTo>
                    <a:cubicBezTo>
                      <a:pt x="4433" y="3448"/>
                      <a:pt x="4433" y="3448"/>
                      <a:pt x="4433" y="3448"/>
                    </a:cubicBezTo>
                    <a:cubicBezTo>
                      <a:pt x="4483" y="3444"/>
                      <a:pt x="4545" y="3438"/>
                      <a:pt x="4610" y="3432"/>
                    </a:cubicBezTo>
                    <a:lnTo>
                      <a:pt x="4522" y="3093"/>
                    </a:lnTo>
                    <a:close/>
                    <a:moveTo>
                      <a:pt x="4333" y="3145"/>
                    </a:moveTo>
                    <a:cubicBezTo>
                      <a:pt x="4273" y="3162"/>
                      <a:pt x="4212" y="3179"/>
                      <a:pt x="4152" y="3197"/>
                    </a:cubicBezTo>
                    <a:cubicBezTo>
                      <a:pt x="4174" y="3261"/>
                      <a:pt x="4257" y="3473"/>
                      <a:pt x="4260" y="3481"/>
                    </a:cubicBezTo>
                    <a:cubicBezTo>
                      <a:pt x="4282" y="3472"/>
                      <a:pt x="4309" y="3461"/>
                      <a:pt x="4313" y="3460"/>
                    </a:cubicBezTo>
                    <a:cubicBezTo>
                      <a:pt x="4317" y="3459"/>
                      <a:pt x="4326" y="3458"/>
                      <a:pt x="4346" y="3456"/>
                    </a:cubicBezTo>
                    <a:cubicBezTo>
                      <a:pt x="4364" y="3454"/>
                      <a:pt x="4389" y="3452"/>
                      <a:pt x="4418" y="3449"/>
                    </a:cubicBezTo>
                    <a:lnTo>
                      <a:pt x="4333" y="3145"/>
                    </a:lnTo>
                    <a:close/>
                    <a:moveTo>
                      <a:pt x="4151" y="3234"/>
                    </a:moveTo>
                    <a:cubicBezTo>
                      <a:pt x="4146" y="3220"/>
                      <a:pt x="4141" y="3209"/>
                      <a:pt x="4138" y="3201"/>
                    </a:cubicBezTo>
                    <a:cubicBezTo>
                      <a:pt x="4013" y="3237"/>
                      <a:pt x="3889" y="3275"/>
                      <a:pt x="3776" y="3310"/>
                    </a:cubicBezTo>
                    <a:cubicBezTo>
                      <a:pt x="3610" y="3361"/>
                      <a:pt x="3464" y="3408"/>
                      <a:pt x="3360" y="3442"/>
                    </a:cubicBezTo>
                    <a:cubicBezTo>
                      <a:pt x="3308" y="3459"/>
                      <a:pt x="3267" y="3473"/>
                      <a:pt x="3238" y="3483"/>
                    </a:cubicBezTo>
                    <a:cubicBezTo>
                      <a:pt x="3236" y="3484"/>
                      <a:pt x="3234" y="3485"/>
                      <a:pt x="3232" y="3485"/>
                    </a:cubicBezTo>
                    <a:cubicBezTo>
                      <a:pt x="3453" y="3777"/>
                      <a:pt x="3453" y="3777"/>
                      <a:pt x="3453" y="3777"/>
                    </a:cubicBezTo>
                    <a:cubicBezTo>
                      <a:pt x="3453" y="3777"/>
                      <a:pt x="3453" y="3777"/>
                      <a:pt x="3453" y="3777"/>
                    </a:cubicBezTo>
                    <a:cubicBezTo>
                      <a:pt x="3601" y="3970"/>
                      <a:pt x="3601" y="3970"/>
                      <a:pt x="3601" y="3970"/>
                    </a:cubicBezTo>
                    <a:cubicBezTo>
                      <a:pt x="3939" y="3858"/>
                      <a:pt x="3939" y="3858"/>
                      <a:pt x="3939" y="3858"/>
                    </a:cubicBezTo>
                    <a:cubicBezTo>
                      <a:pt x="3939" y="3858"/>
                      <a:pt x="3939" y="3858"/>
                      <a:pt x="3939" y="3858"/>
                    </a:cubicBezTo>
                    <a:cubicBezTo>
                      <a:pt x="4121" y="3804"/>
                      <a:pt x="4121" y="3804"/>
                      <a:pt x="4121" y="3804"/>
                    </a:cubicBezTo>
                    <a:cubicBezTo>
                      <a:pt x="4230" y="3494"/>
                      <a:pt x="4230" y="3494"/>
                      <a:pt x="4230" y="3494"/>
                    </a:cubicBezTo>
                    <a:cubicBezTo>
                      <a:pt x="4233" y="3493"/>
                      <a:pt x="4233" y="3493"/>
                      <a:pt x="4233" y="3493"/>
                    </a:cubicBezTo>
                    <a:cubicBezTo>
                      <a:pt x="4233" y="3493"/>
                      <a:pt x="4239" y="3490"/>
                      <a:pt x="4247" y="3487"/>
                    </a:cubicBezTo>
                    <a:cubicBezTo>
                      <a:pt x="4246" y="3484"/>
                      <a:pt x="4218" y="3412"/>
                      <a:pt x="4190" y="3339"/>
                    </a:cubicBezTo>
                    <a:cubicBezTo>
                      <a:pt x="4176" y="3301"/>
                      <a:pt x="4161" y="3263"/>
                      <a:pt x="4151" y="3234"/>
                    </a:cubicBezTo>
                    <a:close/>
                    <a:moveTo>
                      <a:pt x="3169" y="3511"/>
                    </a:moveTo>
                    <a:cubicBezTo>
                      <a:pt x="3145" y="3520"/>
                      <a:pt x="3109" y="3534"/>
                      <a:pt x="3066" y="3554"/>
                    </a:cubicBezTo>
                    <a:cubicBezTo>
                      <a:pt x="3011" y="3579"/>
                      <a:pt x="2961" y="3615"/>
                      <a:pt x="2912" y="3659"/>
                    </a:cubicBezTo>
                    <a:cubicBezTo>
                      <a:pt x="2906" y="3665"/>
                      <a:pt x="2896" y="3675"/>
                      <a:pt x="2896" y="3675"/>
                    </a:cubicBezTo>
                    <a:cubicBezTo>
                      <a:pt x="2895" y="3677"/>
                      <a:pt x="2893" y="3678"/>
                      <a:pt x="2891" y="3680"/>
                    </a:cubicBezTo>
                    <a:cubicBezTo>
                      <a:pt x="3112" y="3763"/>
                      <a:pt x="3112" y="3763"/>
                      <a:pt x="3112" y="3763"/>
                    </a:cubicBezTo>
                    <a:cubicBezTo>
                      <a:pt x="3224" y="3927"/>
                      <a:pt x="3224" y="3927"/>
                      <a:pt x="3224" y="3927"/>
                    </a:cubicBezTo>
                    <a:cubicBezTo>
                      <a:pt x="3399" y="3816"/>
                      <a:pt x="3399" y="3816"/>
                      <a:pt x="3399" y="3816"/>
                    </a:cubicBezTo>
                    <a:cubicBezTo>
                      <a:pt x="3399" y="3816"/>
                      <a:pt x="3399" y="3816"/>
                      <a:pt x="3399" y="3816"/>
                    </a:cubicBezTo>
                    <a:cubicBezTo>
                      <a:pt x="3399" y="3815"/>
                      <a:pt x="3399" y="3815"/>
                      <a:pt x="3399" y="3815"/>
                    </a:cubicBezTo>
                    <a:lnTo>
                      <a:pt x="3169" y="3511"/>
                    </a:lnTo>
                    <a:close/>
                    <a:moveTo>
                      <a:pt x="2877" y="3692"/>
                    </a:moveTo>
                    <a:cubicBezTo>
                      <a:pt x="2839" y="3727"/>
                      <a:pt x="2779" y="3786"/>
                      <a:pt x="2723" y="3855"/>
                    </a:cubicBezTo>
                    <a:cubicBezTo>
                      <a:pt x="2768" y="3868"/>
                      <a:pt x="2830" y="3887"/>
                      <a:pt x="2855" y="3895"/>
                    </a:cubicBezTo>
                    <a:cubicBezTo>
                      <a:pt x="2876" y="3901"/>
                      <a:pt x="2887" y="3907"/>
                      <a:pt x="2895" y="3913"/>
                    </a:cubicBezTo>
                    <a:cubicBezTo>
                      <a:pt x="2898" y="3915"/>
                      <a:pt x="2901" y="3917"/>
                      <a:pt x="2902" y="3919"/>
                    </a:cubicBezTo>
                    <a:cubicBezTo>
                      <a:pt x="2903" y="3920"/>
                      <a:pt x="2903" y="3920"/>
                      <a:pt x="2903" y="3920"/>
                    </a:cubicBezTo>
                    <a:cubicBezTo>
                      <a:pt x="2912" y="3930"/>
                      <a:pt x="2909" y="3931"/>
                      <a:pt x="2910" y="3933"/>
                    </a:cubicBezTo>
                    <a:cubicBezTo>
                      <a:pt x="2911" y="3940"/>
                      <a:pt x="2911" y="3944"/>
                      <a:pt x="2911" y="3955"/>
                    </a:cubicBezTo>
                    <a:cubicBezTo>
                      <a:pt x="2911" y="3992"/>
                      <a:pt x="2909" y="4071"/>
                      <a:pt x="2909" y="4071"/>
                    </a:cubicBezTo>
                    <a:cubicBezTo>
                      <a:pt x="2909" y="4073"/>
                      <a:pt x="2909" y="4073"/>
                      <a:pt x="2909" y="4073"/>
                    </a:cubicBezTo>
                    <a:cubicBezTo>
                      <a:pt x="2880" y="4209"/>
                      <a:pt x="2880" y="4209"/>
                      <a:pt x="2880" y="4209"/>
                    </a:cubicBezTo>
                    <a:cubicBezTo>
                      <a:pt x="2881" y="4213"/>
                      <a:pt x="2884" y="4217"/>
                      <a:pt x="2887" y="4223"/>
                    </a:cubicBezTo>
                    <a:cubicBezTo>
                      <a:pt x="2895" y="4239"/>
                      <a:pt x="2907" y="4262"/>
                      <a:pt x="2917" y="4281"/>
                    </a:cubicBezTo>
                    <a:cubicBezTo>
                      <a:pt x="2922" y="4291"/>
                      <a:pt x="2926" y="4299"/>
                      <a:pt x="2929" y="4305"/>
                    </a:cubicBezTo>
                    <a:cubicBezTo>
                      <a:pt x="2931" y="4308"/>
                      <a:pt x="2932" y="4311"/>
                      <a:pt x="2933" y="4312"/>
                    </a:cubicBezTo>
                    <a:cubicBezTo>
                      <a:pt x="2933" y="4312"/>
                      <a:pt x="2933" y="4312"/>
                      <a:pt x="2933" y="4312"/>
                    </a:cubicBezTo>
                    <a:cubicBezTo>
                      <a:pt x="2939" y="4315"/>
                      <a:pt x="2946" y="4318"/>
                      <a:pt x="2954" y="4321"/>
                    </a:cubicBezTo>
                    <a:cubicBezTo>
                      <a:pt x="3131" y="4112"/>
                      <a:pt x="3131" y="4112"/>
                      <a:pt x="3131" y="4112"/>
                    </a:cubicBezTo>
                    <a:cubicBezTo>
                      <a:pt x="3213" y="3939"/>
                      <a:pt x="3213" y="3939"/>
                      <a:pt x="3213" y="3939"/>
                    </a:cubicBezTo>
                    <a:cubicBezTo>
                      <a:pt x="3101" y="3777"/>
                      <a:pt x="3101" y="3777"/>
                      <a:pt x="3101" y="3777"/>
                    </a:cubicBezTo>
                    <a:lnTo>
                      <a:pt x="2877" y="3692"/>
                    </a:lnTo>
                    <a:close/>
                    <a:moveTo>
                      <a:pt x="2693" y="3893"/>
                    </a:moveTo>
                    <a:cubicBezTo>
                      <a:pt x="2652" y="3946"/>
                      <a:pt x="2619" y="3994"/>
                      <a:pt x="2587" y="4044"/>
                    </a:cubicBezTo>
                    <a:cubicBezTo>
                      <a:pt x="2557" y="4092"/>
                      <a:pt x="2527" y="4140"/>
                      <a:pt x="2493" y="4205"/>
                    </a:cubicBezTo>
                    <a:cubicBezTo>
                      <a:pt x="2452" y="4282"/>
                      <a:pt x="2414" y="4363"/>
                      <a:pt x="2383" y="4436"/>
                    </a:cubicBezTo>
                    <a:cubicBezTo>
                      <a:pt x="2409" y="4431"/>
                      <a:pt x="2430" y="4424"/>
                      <a:pt x="2439" y="4415"/>
                    </a:cubicBezTo>
                    <a:cubicBezTo>
                      <a:pt x="2479" y="4377"/>
                      <a:pt x="2510" y="4324"/>
                      <a:pt x="2519" y="4259"/>
                    </a:cubicBezTo>
                    <a:cubicBezTo>
                      <a:pt x="2529" y="4188"/>
                      <a:pt x="2573" y="4117"/>
                      <a:pt x="2573" y="4116"/>
                    </a:cubicBezTo>
                    <a:cubicBezTo>
                      <a:pt x="2594" y="4129"/>
                      <a:pt x="2594" y="4129"/>
                      <a:pt x="2594" y="4129"/>
                    </a:cubicBezTo>
                    <a:cubicBezTo>
                      <a:pt x="2594" y="4129"/>
                      <a:pt x="2584" y="4146"/>
                      <a:pt x="2572" y="4172"/>
                    </a:cubicBezTo>
                    <a:cubicBezTo>
                      <a:pt x="2561" y="4197"/>
                      <a:pt x="2548" y="4231"/>
                      <a:pt x="2544" y="4262"/>
                    </a:cubicBezTo>
                    <a:cubicBezTo>
                      <a:pt x="2534" y="4329"/>
                      <a:pt x="2503" y="4384"/>
                      <a:pt x="2463" y="4425"/>
                    </a:cubicBezTo>
                    <a:cubicBezTo>
                      <a:pt x="2464" y="4425"/>
                      <a:pt x="2464" y="4425"/>
                      <a:pt x="2464" y="4425"/>
                    </a:cubicBezTo>
                    <a:cubicBezTo>
                      <a:pt x="2464" y="4425"/>
                      <a:pt x="2464" y="4425"/>
                      <a:pt x="2464" y="4425"/>
                    </a:cubicBezTo>
                    <a:cubicBezTo>
                      <a:pt x="2464" y="4426"/>
                      <a:pt x="2464" y="4426"/>
                      <a:pt x="2464" y="4427"/>
                    </a:cubicBezTo>
                    <a:cubicBezTo>
                      <a:pt x="2464" y="4428"/>
                      <a:pt x="2464" y="4435"/>
                      <a:pt x="2468" y="4441"/>
                    </a:cubicBezTo>
                    <a:cubicBezTo>
                      <a:pt x="2472" y="4447"/>
                      <a:pt x="2479" y="4454"/>
                      <a:pt x="2498" y="4455"/>
                    </a:cubicBezTo>
                    <a:cubicBezTo>
                      <a:pt x="2506" y="4456"/>
                      <a:pt x="2515" y="4456"/>
                      <a:pt x="2524" y="4456"/>
                    </a:cubicBezTo>
                    <a:cubicBezTo>
                      <a:pt x="2571" y="4457"/>
                      <a:pt x="2635" y="4447"/>
                      <a:pt x="2649" y="4434"/>
                    </a:cubicBezTo>
                    <a:cubicBezTo>
                      <a:pt x="2662" y="4424"/>
                      <a:pt x="2683" y="4403"/>
                      <a:pt x="2705" y="4383"/>
                    </a:cubicBezTo>
                    <a:cubicBezTo>
                      <a:pt x="2728" y="4364"/>
                      <a:pt x="2748" y="4347"/>
                      <a:pt x="2767" y="4342"/>
                    </a:cubicBezTo>
                    <a:cubicBezTo>
                      <a:pt x="2772" y="4341"/>
                      <a:pt x="2777" y="4340"/>
                      <a:pt x="2783" y="4340"/>
                    </a:cubicBezTo>
                    <a:cubicBezTo>
                      <a:pt x="2834" y="4205"/>
                      <a:pt x="2834" y="4205"/>
                      <a:pt x="2834" y="4205"/>
                    </a:cubicBezTo>
                    <a:cubicBezTo>
                      <a:pt x="2864" y="4067"/>
                      <a:pt x="2864" y="4067"/>
                      <a:pt x="2864" y="4067"/>
                    </a:cubicBezTo>
                    <a:cubicBezTo>
                      <a:pt x="2864" y="4054"/>
                      <a:pt x="2866" y="3987"/>
                      <a:pt x="2866" y="3955"/>
                    </a:cubicBezTo>
                    <a:cubicBezTo>
                      <a:pt x="2866" y="3952"/>
                      <a:pt x="2866" y="3950"/>
                      <a:pt x="2866" y="3948"/>
                    </a:cubicBezTo>
                    <a:cubicBezTo>
                      <a:pt x="2862" y="3945"/>
                      <a:pt x="2855" y="3942"/>
                      <a:pt x="2841" y="3938"/>
                    </a:cubicBezTo>
                    <a:cubicBezTo>
                      <a:pt x="2822" y="3932"/>
                      <a:pt x="2778" y="3918"/>
                      <a:pt x="2739" y="3907"/>
                    </a:cubicBezTo>
                    <a:cubicBezTo>
                      <a:pt x="2722" y="3901"/>
                      <a:pt x="2706" y="3897"/>
                      <a:pt x="2693" y="3893"/>
                    </a:cubicBezTo>
                    <a:close/>
                    <a:moveTo>
                      <a:pt x="2457" y="3868"/>
                    </a:moveTo>
                    <a:cubicBezTo>
                      <a:pt x="2074" y="3866"/>
                      <a:pt x="2074" y="3866"/>
                      <a:pt x="2074" y="3866"/>
                    </a:cubicBezTo>
                    <a:cubicBezTo>
                      <a:pt x="1980" y="3620"/>
                      <a:pt x="1980" y="3620"/>
                      <a:pt x="1980" y="3620"/>
                    </a:cubicBezTo>
                    <a:cubicBezTo>
                      <a:pt x="1978" y="3621"/>
                      <a:pt x="1976" y="3621"/>
                      <a:pt x="1975" y="3621"/>
                    </a:cubicBezTo>
                    <a:cubicBezTo>
                      <a:pt x="1878" y="3642"/>
                      <a:pt x="1641" y="3738"/>
                      <a:pt x="1561" y="3773"/>
                    </a:cubicBezTo>
                    <a:cubicBezTo>
                      <a:pt x="1549" y="3779"/>
                      <a:pt x="1535" y="3785"/>
                      <a:pt x="1522" y="3791"/>
                    </a:cubicBezTo>
                    <a:cubicBezTo>
                      <a:pt x="1891" y="4199"/>
                      <a:pt x="1891" y="4199"/>
                      <a:pt x="1891" y="4199"/>
                    </a:cubicBezTo>
                    <a:cubicBezTo>
                      <a:pt x="1960" y="4143"/>
                      <a:pt x="1960" y="4143"/>
                      <a:pt x="1960" y="4143"/>
                    </a:cubicBezTo>
                    <a:cubicBezTo>
                      <a:pt x="2063" y="3863"/>
                      <a:pt x="2063" y="3863"/>
                      <a:pt x="2063" y="3863"/>
                    </a:cubicBezTo>
                    <a:cubicBezTo>
                      <a:pt x="2105" y="3878"/>
                      <a:pt x="2105" y="3878"/>
                      <a:pt x="2105" y="3878"/>
                    </a:cubicBezTo>
                    <a:cubicBezTo>
                      <a:pt x="2103" y="3882"/>
                      <a:pt x="2103" y="3882"/>
                      <a:pt x="2103" y="3882"/>
                    </a:cubicBezTo>
                    <a:cubicBezTo>
                      <a:pt x="2048" y="4032"/>
                      <a:pt x="2048" y="4032"/>
                      <a:pt x="2048" y="4032"/>
                    </a:cubicBezTo>
                    <a:cubicBezTo>
                      <a:pt x="2072" y="4039"/>
                      <a:pt x="2110" y="4052"/>
                      <a:pt x="2150" y="4065"/>
                    </a:cubicBezTo>
                    <a:cubicBezTo>
                      <a:pt x="2208" y="4084"/>
                      <a:pt x="2265" y="4103"/>
                      <a:pt x="2265" y="4103"/>
                    </a:cubicBezTo>
                    <a:cubicBezTo>
                      <a:pt x="2266" y="4103"/>
                      <a:pt x="2266" y="4103"/>
                      <a:pt x="2266" y="4103"/>
                    </a:cubicBezTo>
                    <a:cubicBezTo>
                      <a:pt x="2322" y="4130"/>
                      <a:pt x="2322" y="4130"/>
                      <a:pt x="2322" y="4130"/>
                    </a:cubicBezTo>
                    <a:cubicBezTo>
                      <a:pt x="2339" y="4056"/>
                      <a:pt x="2339" y="4056"/>
                      <a:pt x="2339" y="4056"/>
                    </a:cubicBezTo>
                    <a:lnTo>
                      <a:pt x="2457" y="3868"/>
                    </a:lnTo>
                    <a:close/>
                    <a:moveTo>
                      <a:pt x="2250" y="4145"/>
                    </a:moveTo>
                    <a:cubicBezTo>
                      <a:pt x="2240" y="4142"/>
                      <a:pt x="2187" y="4125"/>
                      <a:pt x="2133" y="4107"/>
                    </a:cubicBezTo>
                    <a:cubicBezTo>
                      <a:pt x="2103" y="4097"/>
                      <a:pt x="2074" y="4087"/>
                      <a:pt x="2052" y="4080"/>
                    </a:cubicBezTo>
                    <a:cubicBezTo>
                      <a:pt x="2044" y="4078"/>
                      <a:pt x="2038" y="4076"/>
                      <a:pt x="2033" y="4074"/>
                    </a:cubicBezTo>
                    <a:cubicBezTo>
                      <a:pt x="1998" y="4170"/>
                      <a:pt x="1998" y="4170"/>
                      <a:pt x="1998" y="4170"/>
                    </a:cubicBezTo>
                    <a:cubicBezTo>
                      <a:pt x="1921" y="4232"/>
                      <a:pt x="1921" y="4232"/>
                      <a:pt x="1921" y="4232"/>
                    </a:cubicBezTo>
                    <a:cubicBezTo>
                      <a:pt x="1977" y="4295"/>
                      <a:pt x="1977" y="4295"/>
                      <a:pt x="1977" y="4295"/>
                    </a:cubicBezTo>
                    <a:cubicBezTo>
                      <a:pt x="2270" y="4360"/>
                      <a:pt x="2270" y="4360"/>
                      <a:pt x="2270" y="4360"/>
                    </a:cubicBezTo>
                    <a:cubicBezTo>
                      <a:pt x="2312" y="4175"/>
                      <a:pt x="2312" y="4175"/>
                      <a:pt x="2312" y="4175"/>
                    </a:cubicBezTo>
                    <a:lnTo>
                      <a:pt x="2250" y="4145"/>
                    </a:lnTo>
                    <a:close/>
                    <a:moveTo>
                      <a:pt x="1861" y="4281"/>
                    </a:moveTo>
                    <a:cubicBezTo>
                      <a:pt x="1937" y="4361"/>
                      <a:pt x="1937" y="4361"/>
                      <a:pt x="1937" y="4361"/>
                    </a:cubicBezTo>
                    <a:cubicBezTo>
                      <a:pt x="1944" y="4365"/>
                      <a:pt x="1973" y="4381"/>
                      <a:pt x="2011" y="4399"/>
                    </a:cubicBezTo>
                    <a:cubicBezTo>
                      <a:pt x="2054" y="4418"/>
                      <a:pt x="2107" y="4438"/>
                      <a:pt x="2147" y="4441"/>
                    </a:cubicBezTo>
                    <a:cubicBezTo>
                      <a:pt x="2178" y="4442"/>
                      <a:pt x="2220" y="4444"/>
                      <a:pt x="2262" y="4444"/>
                    </a:cubicBezTo>
                    <a:cubicBezTo>
                      <a:pt x="2276" y="4445"/>
                      <a:pt x="2290" y="4444"/>
                      <a:pt x="2304" y="4444"/>
                    </a:cubicBezTo>
                    <a:cubicBezTo>
                      <a:pt x="2333" y="4374"/>
                      <a:pt x="2369" y="4297"/>
                      <a:pt x="2407" y="4221"/>
                    </a:cubicBezTo>
                    <a:cubicBezTo>
                      <a:pt x="2327" y="4183"/>
                      <a:pt x="2327" y="4183"/>
                      <a:pt x="2327" y="4183"/>
                    </a:cubicBezTo>
                    <a:cubicBezTo>
                      <a:pt x="2283" y="4379"/>
                      <a:pt x="2283" y="4379"/>
                      <a:pt x="2283" y="4379"/>
                    </a:cubicBezTo>
                    <a:cubicBezTo>
                      <a:pt x="1969" y="4310"/>
                      <a:pt x="1969" y="4310"/>
                      <a:pt x="1969" y="4310"/>
                    </a:cubicBezTo>
                    <a:cubicBezTo>
                      <a:pt x="1908" y="4243"/>
                      <a:pt x="1908" y="4243"/>
                      <a:pt x="1908" y="4243"/>
                    </a:cubicBezTo>
                    <a:lnTo>
                      <a:pt x="1861" y="4281"/>
                    </a:lnTo>
                    <a:close/>
                    <a:moveTo>
                      <a:pt x="1842" y="4297"/>
                    </a:moveTo>
                    <a:cubicBezTo>
                      <a:pt x="1804" y="4328"/>
                      <a:pt x="1804" y="4328"/>
                      <a:pt x="1804" y="4328"/>
                    </a:cubicBezTo>
                    <a:cubicBezTo>
                      <a:pt x="1835" y="4363"/>
                      <a:pt x="1835" y="4363"/>
                      <a:pt x="1835" y="4363"/>
                    </a:cubicBezTo>
                    <a:cubicBezTo>
                      <a:pt x="1837" y="4365"/>
                      <a:pt x="1841" y="4369"/>
                      <a:pt x="1848" y="4375"/>
                    </a:cubicBezTo>
                    <a:cubicBezTo>
                      <a:pt x="1876" y="4400"/>
                      <a:pt x="1943" y="4455"/>
                      <a:pt x="2017" y="4487"/>
                    </a:cubicBezTo>
                    <a:cubicBezTo>
                      <a:pt x="2097" y="4522"/>
                      <a:pt x="2188" y="4526"/>
                      <a:pt x="2224" y="4525"/>
                    </a:cubicBezTo>
                    <a:cubicBezTo>
                      <a:pt x="2232" y="4525"/>
                      <a:pt x="2251" y="4526"/>
                      <a:pt x="2271" y="4526"/>
                    </a:cubicBezTo>
                    <a:cubicBezTo>
                      <a:pt x="2278" y="4508"/>
                      <a:pt x="2286" y="4489"/>
                      <a:pt x="2294" y="4468"/>
                    </a:cubicBezTo>
                    <a:cubicBezTo>
                      <a:pt x="2283" y="4469"/>
                      <a:pt x="2273" y="4469"/>
                      <a:pt x="2262" y="4469"/>
                    </a:cubicBezTo>
                    <a:cubicBezTo>
                      <a:pt x="2219" y="4469"/>
                      <a:pt x="2177" y="4467"/>
                      <a:pt x="2146" y="4465"/>
                    </a:cubicBezTo>
                    <a:cubicBezTo>
                      <a:pt x="2055" y="4459"/>
                      <a:pt x="1924" y="4381"/>
                      <a:pt x="1923" y="4381"/>
                    </a:cubicBezTo>
                    <a:cubicBezTo>
                      <a:pt x="1922" y="4380"/>
                      <a:pt x="1922" y="4380"/>
                      <a:pt x="1922" y="4380"/>
                    </a:cubicBezTo>
                    <a:lnTo>
                      <a:pt x="1842" y="4297"/>
                    </a:lnTo>
                    <a:close/>
                    <a:moveTo>
                      <a:pt x="2183" y="4593"/>
                    </a:moveTo>
                    <a:cubicBezTo>
                      <a:pt x="2130" y="4832"/>
                      <a:pt x="2130" y="4832"/>
                      <a:pt x="2130" y="4832"/>
                    </a:cubicBezTo>
                    <a:cubicBezTo>
                      <a:pt x="2139" y="4819"/>
                      <a:pt x="2148" y="4805"/>
                      <a:pt x="2155" y="4793"/>
                    </a:cubicBezTo>
                    <a:cubicBezTo>
                      <a:pt x="2185" y="4748"/>
                      <a:pt x="2205" y="4714"/>
                      <a:pt x="2213" y="4702"/>
                    </a:cubicBezTo>
                    <a:cubicBezTo>
                      <a:pt x="2215" y="4689"/>
                      <a:pt x="2223" y="4661"/>
                      <a:pt x="2246" y="4595"/>
                    </a:cubicBezTo>
                    <a:cubicBezTo>
                      <a:pt x="2239" y="4594"/>
                      <a:pt x="2231" y="4594"/>
                      <a:pt x="2224" y="4594"/>
                    </a:cubicBezTo>
                    <a:cubicBezTo>
                      <a:pt x="2214" y="4594"/>
                      <a:pt x="2200" y="4594"/>
                      <a:pt x="2183" y="4593"/>
                    </a:cubicBezTo>
                    <a:close/>
                    <a:moveTo>
                      <a:pt x="2062" y="5048"/>
                    </a:moveTo>
                    <a:cubicBezTo>
                      <a:pt x="2051" y="5064"/>
                      <a:pt x="2038" y="5082"/>
                      <a:pt x="2024" y="5100"/>
                    </a:cubicBezTo>
                    <a:cubicBezTo>
                      <a:pt x="2122" y="5109"/>
                      <a:pt x="2266" y="5123"/>
                      <a:pt x="2302" y="5126"/>
                    </a:cubicBezTo>
                    <a:cubicBezTo>
                      <a:pt x="2305" y="5110"/>
                      <a:pt x="2317" y="5030"/>
                      <a:pt x="2328" y="4952"/>
                    </a:cubicBezTo>
                    <a:cubicBezTo>
                      <a:pt x="2341" y="4867"/>
                      <a:pt x="2353" y="4784"/>
                      <a:pt x="2353" y="4784"/>
                    </a:cubicBezTo>
                    <a:cubicBezTo>
                      <a:pt x="2353" y="4784"/>
                      <a:pt x="2353" y="4784"/>
                      <a:pt x="2353" y="4784"/>
                    </a:cubicBezTo>
                    <a:cubicBezTo>
                      <a:pt x="2353" y="4783"/>
                      <a:pt x="2353" y="4783"/>
                      <a:pt x="2353" y="4783"/>
                    </a:cubicBezTo>
                    <a:cubicBezTo>
                      <a:pt x="2353" y="4783"/>
                      <a:pt x="2371" y="4728"/>
                      <a:pt x="2390" y="4674"/>
                    </a:cubicBezTo>
                    <a:cubicBezTo>
                      <a:pt x="2400" y="4646"/>
                      <a:pt x="2409" y="4619"/>
                      <a:pt x="2417" y="4598"/>
                    </a:cubicBezTo>
                    <a:cubicBezTo>
                      <a:pt x="2419" y="4590"/>
                      <a:pt x="2422" y="4583"/>
                      <a:pt x="2424" y="4577"/>
                    </a:cubicBezTo>
                    <a:cubicBezTo>
                      <a:pt x="2322" y="4585"/>
                      <a:pt x="2322" y="4585"/>
                      <a:pt x="2322" y="4585"/>
                    </a:cubicBezTo>
                    <a:cubicBezTo>
                      <a:pt x="2320" y="4593"/>
                      <a:pt x="2317" y="4600"/>
                      <a:pt x="2314" y="4607"/>
                    </a:cubicBezTo>
                    <a:cubicBezTo>
                      <a:pt x="2297" y="4657"/>
                      <a:pt x="2288" y="4686"/>
                      <a:pt x="2284" y="4702"/>
                    </a:cubicBezTo>
                    <a:cubicBezTo>
                      <a:pt x="2281" y="4710"/>
                      <a:pt x="2280" y="4715"/>
                      <a:pt x="2280" y="4717"/>
                    </a:cubicBezTo>
                    <a:cubicBezTo>
                      <a:pt x="2280" y="4718"/>
                      <a:pt x="2280" y="4718"/>
                      <a:pt x="2279" y="4718"/>
                    </a:cubicBezTo>
                    <a:cubicBezTo>
                      <a:pt x="2279" y="4725"/>
                      <a:pt x="2279" y="4725"/>
                      <a:pt x="2279" y="4725"/>
                    </a:cubicBezTo>
                    <a:cubicBezTo>
                      <a:pt x="2275" y="4732"/>
                      <a:pt x="2275" y="4732"/>
                      <a:pt x="2275" y="4732"/>
                    </a:cubicBezTo>
                    <a:cubicBezTo>
                      <a:pt x="2275" y="4732"/>
                      <a:pt x="2182" y="4890"/>
                      <a:pt x="2062" y="5048"/>
                    </a:cubicBezTo>
                    <a:close/>
                    <a:moveTo>
                      <a:pt x="2173" y="5160"/>
                    </a:moveTo>
                    <a:cubicBezTo>
                      <a:pt x="2087" y="5511"/>
                      <a:pt x="2087" y="5511"/>
                      <a:pt x="2087" y="5511"/>
                    </a:cubicBezTo>
                    <a:cubicBezTo>
                      <a:pt x="2254" y="5570"/>
                      <a:pt x="2254" y="5570"/>
                      <a:pt x="2254" y="5570"/>
                    </a:cubicBezTo>
                    <a:cubicBezTo>
                      <a:pt x="2358" y="5721"/>
                      <a:pt x="2358" y="5721"/>
                      <a:pt x="2358" y="5721"/>
                    </a:cubicBezTo>
                    <a:cubicBezTo>
                      <a:pt x="2371" y="5725"/>
                      <a:pt x="2435" y="5742"/>
                      <a:pt x="2514" y="5764"/>
                    </a:cubicBezTo>
                    <a:cubicBezTo>
                      <a:pt x="2607" y="5203"/>
                      <a:pt x="2607" y="5203"/>
                      <a:pt x="2607" y="5203"/>
                    </a:cubicBezTo>
                    <a:cubicBezTo>
                      <a:pt x="2376" y="5180"/>
                      <a:pt x="2281" y="5170"/>
                      <a:pt x="2281" y="5170"/>
                    </a:cubicBezTo>
                    <a:cubicBezTo>
                      <a:pt x="2281" y="5170"/>
                      <a:pt x="2281" y="5170"/>
                      <a:pt x="2281" y="5170"/>
                    </a:cubicBezTo>
                    <a:cubicBezTo>
                      <a:pt x="2255" y="5168"/>
                      <a:pt x="2216" y="5164"/>
                      <a:pt x="2173" y="5160"/>
                    </a:cubicBezTo>
                    <a:close/>
                    <a:moveTo>
                      <a:pt x="2191" y="6378"/>
                    </a:moveTo>
                    <a:cubicBezTo>
                      <a:pt x="2170" y="6397"/>
                      <a:pt x="2069" y="6493"/>
                      <a:pt x="1968" y="6589"/>
                    </a:cubicBezTo>
                    <a:cubicBezTo>
                      <a:pt x="1957" y="6601"/>
                      <a:pt x="1945" y="6612"/>
                      <a:pt x="1933" y="6623"/>
                    </a:cubicBezTo>
                    <a:cubicBezTo>
                      <a:pt x="2151" y="6757"/>
                      <a:pt x="2151" y="6757"/>
                      <a:pt x="2151" y="6757"/>
                    </a:cubicBezTo>
                    <a:cubicBezTo>
                      <a:pt x="2444" y="6470"/>
                      <a:pt x="2444" y="6470"/>
                      <a:pt x="2444" y="6470"/>
                    </a:cubicBezTo>
                    <a:lnTo>
                      <a:pt x="2191" y="6378"/>
                    </a:lnTo>
                    <a:close/>
                    <a:moveTo>
                      <a:pt x="2054" y="6870"/>
                    </a:moveTo>
                    <a:cubicBezTo>
                      <a:pt x="2243" y="6986"/>
                      <a:pt x="2243" y="6986"/>
                      <a:pt x="2243" y="6986"/>
                    </a:cubicBezTo>
                    <a:cubicBezTo>
                      <a:pt x="2271" y="6959"/>
                      <a:pt x="2305" y="6926"/>
                      <a:pt x="2341" y="6890"/>
                    </a:cubicBezTo>
                    <a:cubicBezTo>
                      <a:pt x="2153" y="6774"/>
                      <a:pt x="2153" y="6774"/>
                      <a:pt x="2153" y="6774"/>
                    </a:cubicBezTo>
                    <a:lnTo>
                      <a:pt x="2054" y="6870"/>
                    </a:lnTo>
                    <a:close/>
                    <a:moveTo>
                      <a:pt x="2255" y="6994"/>
                    </a:moveTo>
                    <a:cubicBezTo>
                      <a:pt x="2485" y="7135"/>
                      <a:pt x="2485" y="7135"/>
                      <a:pt x="2485" y="7135"/>
                    </a:cubicBezTo>
                    <a:cubicBezTo>
                      <a:pt x="2583" y="7039"/>
                      <a:pt x="2583" y="7039"/>
                      <a:pt x="2583" y="7039"/>
                    </a:cubicBezTo>
                    <a:cubicBezTo>
                      <a:pt x="2354" y="6898"/>
                      <a:pt x="2354" y="6898"/>
                      <a:pt x="2354" y="6898"/>
                    </a:cubicBezTo>
                    <a:cubicBezTo>
                      <a:pt x="2320" y="6930"/>
                      <a:pt x="2289" y="6961"/>
                      <a:pt x="2262" y="6987"/>
                    </a:cubicBezTo>
                    <a:cubicBezTo>
                      <a:pt x="2260" y="6989"/>
                      <a:pt x="2257" y="6991"/>
                      <a:pt x="2255" y="6994"/>
                    </a:cubicBezTo>
                    <a:close/>
                    <a:moveTo>
                      <a:pt x="2497" y="7142"/>
                    </a:moveTo>
                    <a:cubicBezTo>
                      <a:pt x="2649" y="7236"/>
                      <a:pt x="2649" y="7236"/>
                      <a:pt x="2649" y="7236"/>
                    </a:cubicBezTo>
                    <a:cubicBezTo>
                      <a:pt x="2718" y="7122"/>
                      <a:pt x="2718" y="7122"/>
                      <a:pt x="2718" y="7122"/>
                    </a:cubicBezTo>
                    <a:cubicBezTo>
                      <a:pt x="2595" y="7047"/>
                      <a:pt x="2595" y="7047"/>
                      <a:pt x="2595" y="7047"/>
                    </a:cubicBezTo>
                    <a:lnTo>
                      <a:pt x="2497" y="7142"/>
                    </a:lnTo>
                    <a:close/>
                    <a:moveTo>
                      <a:pt x="2967" y="6660"/>
                    </a:moveTo>
                    <a:cubicBezTo>
                      <a:pt x="2703" y="6564"/>
                      <a:pt x="2703" y="6564"/>
                      <a:pt x="2703" y="6564"/>
                    </a:cubicBezTo>
                    <a:cubicBezTo>
                      <a:pt x="2670" y="6595"/>
                      <a:pt x="2558" y="6701"/>
                      <a:pt x="2446" y="6809"/>
                    </a:cubicBezTo>
                    <a:cubicBezTo>
                      <a:pt x="2418" y="6836"/>
                      <a:pt x="2390" y="6863"/>
                      <a:pt x="2363" y="6888"/>
                    </a:cubicBezTo>
                    <a:cubicBezTo>
                      <a:pt x="2592" y="7030"/>
                      <a:pt x="2592" y="7030"/>
                      <a:pt x="2592" y="7030"/>
                    </a:cubicBezTo>
                    <a:lnTo>
                      <a:pt x="2967" y="6660"/>
                    </a:lnTo>
                    <a:close/>
                    <a:moveTo>
                      <a:pt x="3162" y="6660"/>
                    </a:moveTo>
                    <a:cubicBezTo>
                      <a:pt x="3313" y="6300"/>
                      <a:pt x="3313" y="6300"/>
                      <a:pt x="3313" y="6300"/>
                    </a:cubicBezTo>
                    <a:cubicBezTo>
                      <a:pt x="3312" y="6300"/>
                      <a:pt x="3312" y="6300"/>
                      <a:pt x="3311" y="6299"/>
                    </a:cubicBezTo>
                    <a:cubicBezTo>
                      <a:pt x="3263" y="6270"/>
                      <a:pt x="3115" y="6167"/>
                      <a:pt x="3067" y="6133"/>
                    </a:cubicBezTo>
                    <a:cubicBezTo>
                      <a:pt x="3028" y="6141"/>
                      <a:pt x="2993" y="6149"/>
                      <a:pt x="2965" y="6159"/>
                    </a:cubicBezTo>
                    <a:cubicBezTo>
                      <a:pt x="2902" y="6181"/>
                      <a:pt x="2859" y="6198"/>
                      <a:pt x="2838" y="6233"/>
                    </a:cubicBezTo>
                    <a:cubicBezTo>
                      <a:pt x="2804" y="6287"/>
                      <a:pt x="2778" y="6365"/>
                      <a:pt x="2761" y="6429"/>
                    </a:cubicBezTo>
                    <a:cubicBezTo>
                      <a:pt x="2753" y="6460"/>
                      <a:pt x="2747" y="6488"/>
                      <a:pt x="2743" y="6508"/>
                    </a:cubicBezTo>
                    <a:lnTo>
                      <a:pt x="3162" y="6660"/>
                    </a:lnTo>
                    <a:close/>
                    <a:moveTo>
                      <a:pt x="3175" y="6665"/>
                    </a:moveTo>
                    <a:cubicBezTo>
                      <a:pt x="3576" y="6811"/>
                      <a:pt x="3576" y="6811"/>
                      <a:pt x="3576" y="6811"/>
                    </a:cubicBezTo>
                    <a:cubicBezTo>
                      <a:pt x="3609" y="6266"/>
                      <a:pt x="3609" y="6266"/>
                      <a:pt x="3609" y="6266"/>
                    </a:cubicBezTo>
                    <a:cubicBezTo>
                      <a:pt x="3469" y="6287"/>
                      <a:pt x="3335" y="6307"/>
                      <a:pt x="3331" y="6308"/>
                    </a:cubicBezTo>
                    <a:cubicBezTo>
                      <a:pt x="3331" y="6308"/>
                      <a:pt x="3331" y="6308"/>
                      <a:pt x="3331" y="6308"/>
                    </a:cubicBezTo>
                    <a:cubicBezTo>
                      <a:pt x="3330" y="6308"/>
                      <a:pt x="3330" y="6308"/>
                      <a:pt x="3330" y="6308"/>
                    </a:cubicBezTo>
                    <a:cubicBezTo>
                      <a:pt x="3330" y="6308"/>
                      <a:pt x="3330" y="6308"/>
                      <a:pt x="3330" y="6308"/>
                    </a:cubicBezTo>
                    <a:cubicBezTo>
                      <a:pt x="3328" y="6308"/>
                      <a:pt x="3326" y="6307"/>
                      <a:pt x="3325" y="6307"/>
                    </a:cubicBezTo>
                    <a:lnTo>
                      <a:pt x="3175" y="6665"/>
                    </a:lnTo>
                    <a:close/>
                    <a:moveTo>
                      <a:pt x="3589" y="6816"/>
                    </a:moveTo>
                    <a:cubicBezTo>
                      <a:pt x="4178" y="7029"/>
                      <a:pt x="4178" y="7029"/>
                      <a:pt x="4178" y="7029"/>
                    </a:cubicBezTo>
                    <a:cubicBezTo>
                      <a:pt x="4096" y="6889"/>
                      <a:pt x="4096" y="6889"/>
                      <a:pt x="4096" y="6889"/>
                    </a:cubicBezTo>
                    <a:cubicBezTo>
                      <a:pt x="4116" y="6792"/>
                      <a:pt x="4116" y="6792"/>
                      <a:pt x="4116" y="6792"/>
                    </a:cubicBezTo>
                    <a:cubicBezTo>
                      <a:pt x="3912" y="6573"/>
                      <a:pt x="3912" y="6573"/>
                      <a:pt x="3912" y="6573"/>
                    </a:cubicBezTo>
                    <a:cubicBezTo>
                      <a:pt x="3912" y="6220"/>
                      <a:pt x="3912" y="6220"/>
                      <a:pt x="3912" y="6220"/>
                    </a:cubicBezTo>
                    <a:cubicBezTo>
                      <a:pt x="3874" y="6226"/>
                      <a:pt x="3748" y="6245"/>
                      <a:pt x="3623" y="6263"/>
                    </a:cubicBezTo>
                    <a:lnTo>
                      <a:pt x="3589" y="6816"/>
                    </a:lnTo>
                    <a:close/>
                    <a:moveTo>
                      <a:pt x="4202" y="7038"/>
                    </a:moveTo>
                    <a:cubicBezTo>
                      <a:pt x="4296" y="7072"/>
                      <a:pt x="4296" y="7072"/>
                      <a:pt x="4296" y="7072"/>
                    </a:cubicBezTo>
                    <a:cubicBezTo>
                      <a:pt x="4312" y="7051"/>
                      <a:pt x="4348" y="7004"/>
                      <a:pt x="4368" y="6973"/>
                    </a:cubicBezTo>
                    <a:cubicBezTo>
                      <a:pt x="4392" y="6936"/>
                      <a:pt x="4404" y="6904"/>
                      <a:pt x="4416" y="6855"/>
                    </a:cubicBezTo>
                    <a:cubicBezTo>
                      <a:pt x="4417" y="6853"/>
                      <a:pt x="4417" y="6849"/>
                      <a:pt x="4418" y="6846"/>
                    </a:cubicBezTo>
                    <a:cubicBezTo>
                      <a:pt x="4359" y="6837"/>
                      <a:pt x="4172" y="6806"/>
                      <a:pt x="4132" y="6800"/>
                    </a:cubicBezTo>
                    <a:cubicBezTo>
                      <a:pt x="4113" y="6886"/>
                      <a:pt x="4113" y="6886"/>
                      <a:pt x="4113" y="6886"/>
                    </a:cubicBezTo>
                    <a:lnTo>
                      <a:pt x="4202" y="7038"/>
                    </a:lnTo>
                    <a:close/>
                    <a:moveTo>
                      <a:pt x="4394" y="7055"/>
                    </a:moveTo>
                    <a:cubicBezTo>
                      <a:pt x="4469" y="7056"/>
                      <a:pt x="4640" y="7059"/>
                      <a:pt x="4687" y="7059"/>
                    </a:cubicBezTo>
                    <a:cubicBezTo>
                      <a:pt x="4689" y="7059"/>
                      <a:pt x="4691" y="7059"/>
                      <a:pt x="4693" y="7059"/>
                    </a:cubicBezTo>
                    <a:cubicBezTo>
                      <a:pt x="4696" y="7024"/>
                      <a:pt x="4707" y="6858"/>
                      <a:pt x="4717" y="6697"/>
                    </a:cubicBezTo>
                    <a:cubicBezTo>
                      <a:pt x="4728" y="6538"/>
                      <a:pt x="4738" y="6383"/>
                      <a:pt x="4739" y="6358"/>
                    </a:cubicBezTo>
                    <a:cubicBezTo>
                      <a:pt x="4584" y="6214"/>
                      <a:pt x="4584" y="6214"/>
                      <a:pt x="4584" y="6214"/>
                    </a:cubicBezTo>
                    <a:cubicBezTo>
                      <a:pt x="4574" y="6269"/>
                      <a:pt x="4561" y="6353"/>
                      <a:pt x="4556" y="6392"/>
                    </a:cubicBezTo>
                    <a:cubicBezTo>
                      <a:pt x="4553" y="6419"/>
                      <a:pt x="4538" y="6524"/>
                      <a:pt x="4522" y="6630"/>
                    </a:cubicBezTo>
                    <a:cubicBezTo>
                      <a:pt x="4506" y="6737"/>
                      <a:pt x="4490" y="6841"/>
                      <a:pt x="4483" y="6871"/>
                    </a:cubicBezTo>
                    <a:cubicBezTo>
                      <a:pt x="4470" y="6923"/>
                      <a:pt x="4455" y="6967"/>
                      <a:pt x="4425" y="7012"/>
                    </a:cubicBezTo>
                    <a:cubicBezTo>
                      <a:pt x="4416" y="7025"/>
                      <a:pt x="4405" y="7040"/>
                      <a:pt x="4394" y="7055"/>
                    </a:cubicBezTo>
                    <a:close/>
                    <a:moveTo>
                      <a:pt x="4795" y="6507"/>
                    </a:moveTo>
                    <a:cubicBezTo>
                      <a:pt x="4800" y="6469"/>
                      <a:pt x="4800" y="6469"/>
                      <a:pt x="4800" y="6469"/>
                    </a:cubicBezTo>
                    <a:cubicBezTo>
                      <a:pt x="4773" y="6467"/>
                      <a:pt x="4753" y="6466"/>
                      <a:pt x="4749" y="6466"/>
                    </a:cubicBezTo>
                    <a:cubicBezTo>
                      <a:pt x="4745" y="6520"/>
                      <a:pt x="4741" y="6590"/>
                      <a:pt x="4736" y="6663"/>
                    </a:cubicBezTo>
                    <a:cubicBezTo>
                      <a:pt x="4766" y="6664"/>
                      <a:pt x="4766" y="6664"/>
                      <a:pt x="4766" y="6664"/>
                    </a:cubicBezTo>
                    <a:cubicBezTo>
                      <a:pt x="4772" y="6613"/>
                      <a:pt x="4772" y="6613"/>
                      <a:pt x="4772" y="6613"/>
                    </a:cubicBezTo>
                    <a:cubicBezTo>
                      <a:pt x="4808" y="6615"/>
                      <a:pt x="4808" y="6615"/>
                      <a:pt x="4808" y="6615"/>
                    </a:cubicBezTo>
                    <a:cubicBezTo>
                      <a:pt x="4817" y="6567"/>
                      <a:pt x="4817" y="6567"/>
                      <a:pt x="4817" y="6567"/>
                    </a:cubicBezTo>
                    <a:cubicBezTo>
                      <a:pt x="4830" y="6567"/>
                      <a:pt x="4830" y="6567"/>
                      <a:pt x="4830" y="6567"/>
                    </a:cubicBezTo>
                    <a:cubicBezTo>
                      <a:pt x="4836" y="6508"/>
                      <a:pt x="4836" y="6508"/>
                      <a:pt x="4836" y="6508"/>
                    </a:cubicBezTo>
                    <a:lnTo>
                      <a:pt x="4795" y="6507"/>
                    </a:lnTo>
                    <a:close/>
                    <a:moveTo>
                      <a:pt x="4814" y="6470"/>
                    </a:moveTo>
                    <a:cubicBezTo>
                      <a:pt x="4811" y="6493"/>
                      <a:pt x="4811" y="6493"/>
                      <a:pt x="4811" y="6493"/>
                    </a:cubicBezTo>
                    <a:cubicBezTo>
                      <a:pt x="4836" y="6494"/>
                      <a:pt x="4836" y="6494"/>
                      <a:pt x="4836" y="6494"/>
                    </a:cubicBezTo>
                    <a:cubicBezTo>
                      <a:pt x="4851" y="6495"/>
                      <a:pt x="4851" y="6495"/>
                      <a:pt x="4851" y="6495"/>
                    </a:cubicBezTo>
                    <a:cubicBezTo>
                      <a:pt x="4850" y="6510"/>
                      <a:pt x="4850" y="6510"/>
                      <a:pt x="4850" y="6510"/>
                    </a:cubicBezTo>
                    <a:cubicBezTo>
                      <a:pt x="4844" y="6568"/>
                      <a:pt x="4844" y="6568"/>
                      <a:pt x="4844" y="6568"/>
                    </a:cubicBezTo>
                    <a:cubicBezTo>
                      <a:pt x="4843" y="6581"/>
                      <a:pt x="4843" y="6581"/>
                      <a:pt x="4843" y="6581"/>
                    </a:cubicBezTo>
                    <a:cubicBezTo>
                      <a:pt x="4830" y="6581"/>
                      <a:pt x="4830" y="6581"/>
                      <a:pt x="4830" y="6581"/>
                    </a:cubicBezTo>
                    <a:cubicBezTo>
                      <a:pt x="4828" y="6581"/>
                      <a:pt x="4828" y="6581"/>
                      <a:pt x="4828" y="6581"/>
                    </a:cubicBezTo>
                    <a:cubicBezTo>
                      <a:pt x="4822" y="6617"/>
                      <a:pt x="4822" y="6617"/>
                      <a:pt x="4822" y="6617"/>
                    </a:cubicBezTo>
                    <a:cubicBezTo>
                      <a:pt x="4820" y="6629"/>
                      <a:pt x="4820" y="6629"/>
                      <a:pt x="4820" y="6629"/>
                    </a:cubicBezTo>
                    <a:cubicBezTo>
                      <a:pt x="4807" y="6629"/>
                      <a:pt x="4807" y="6629"/>
                      <a:pt x="4807" y="6629"/>
                    </a:cubicBezTo>
                    <a:cubicBezTo>
                      <a:pt x="4784" y="6628"/>
                      <a:pt x="4784" y="6628"/>
                      <a:pt x="4784" y="6628"/>
                    </a:cubicBezTo>
                    <a:cubicBezTo>
                      <a:pt x="4780" y="6665"/>
                      <a:pt x="4780" y="6665"/>
                      <a:pt x="4780" y="6665"/>
                    </a:cubicBezTo>
                    <a:cubicBezTo>
                      <a:pt x="4895" y="6671"/>
                      <a:pt x="4895" y="6671"/>
                      <a:pt x="4895" y="6671"/>
                    </a:cubicBezTo>
                    <a:cubicBezTo>
                      <a:pt x="4906" y="6577"/>
                      <a:pt x="4906" y="6577"/>
                      <a:pt x="4906" y="6577"/>
                    </a:cubicBezTo>
                    <a:cubicBezTo>
                      <a:pt x="4907" y="6564"/>
                      <a:pt x="4907" y="6564"/>
                      <a:pt x="4907" y="6564"/>
                    </a:cubicBezTo>
                    <a:cubicBezTo>
                      <a:pt x="4919" y="6564"/>
                      <a:pt x="4919" y="6564"/>
                      <a:pt x="4919" y="6564"/>
                    </a:cubicBezTo>
                    <a:cubicBezTo>
                      <a:pt x="4929" y="6478"/>
                      <a:pt x="4929" y="6478"/>
                      <a:pt x="4929" y="6478"/>
                    </a:cubicBezTo>
                    <a:cubicBezTo>
                      <a:pt x="4895" y="6476"/>
                      <a:pt x="4851" y="6473"/>
                      <a:pt x="4814" y="6470"/>
                    </a:cubicBezTo>
                    <a:close/>
                    <a:moveTo>
                      <a:pt x="4907" y="6460"/>
                    </a:moveTo>
                    <a:cubicBezTo>
                      <a:pt x="4916" y="6461"/>
                      <a:pt x="4924" y="6461"/>
                      <a:pt x="4931" y="6462"/>
                    </a:cubicBezTo>
                    <a:cubicBezTo>
                      <a:pt x="4940" y="6381"/>
                      <a:pt x="4940" y="6381"/>
                      <a:pt x="4940" y="6381"/>
                    </a:cubicBezTo>
                    <a:cubicBezTo>
                      <a:pt x="4864" y="6373"/>
                      <a:pt x="4864" y="6373"/>
                      <a:pt x="4864" y="6373"/>
                    </a:cubicBezTo>
                    <a:cubicBezTo>
                      <a:pt x="4860" y="6410"/>
                      <a:pt x="4860" y="6410"/>
                      <a:pt x="4860" y="6410"/>
                    </a:cubicBezTo>
                    <a:cubicBezTo>
                      <a:pt x="4858" y="6423"/>
                      <a:pt x="4858" y="6423"/>
                      <a:pt x="4858" y="6423"/>
                    </a:cubicBezTo>
                    <a:cubicBezTo>
                      <a:pt x="4845" y="6422"/>
                      <a:pt x="4845" y="6422"/>
                      <a:pt x="4845" y="6422"/>
                    </a:cubicBezTo>
                    <a:cubicBezTo>
                      <a:pt x="4820" y="6421"/>
                      <a:pt x="4820" y="6421"/>
                      <a:pt x="4820" y="6421"/>
                    </a:cubicBezTo>
                    <a:cubicBezTo>
                      <a:pt x="4816" y="6454"/>
                      <a:pt x="4816" y="6454"/>
                      <a:pt x="4816" y="6454"/>
                    </a:cubicBezTo>
                    <a:cubicBezTo>
                      <a:pt x="4845" y="6456"/>
                      <a:pt x="4878" y="6458"/>
                      <a:pt x="4907" y="6460"/>
                    </a:cubicBezTo>
                    <a:close/>
                    <a:moveTo>
                      <a:pt x="4814" y="6705"/>
                    </a:moveTo>
                    <a:cubicBezTo>
                      <a:pt x="4813" y="6719"/>
                      <a:pt x="4813" y="6719"/>
                      <a:pt x="4813" y="6719"/>
                    </a:cubicBezTo>
                    <a:cubicBezTo>
                      <a:pt x="4809" y="6759"/>
                      <a:pt x="4809" y="6759"/>
                      <a:pt x="4809" y="6759"/>
                    </a:cubicBezTo>
                    <a:cubicBezTo>
                      <a:pt x="4883" y="6768"/>
                      <a:pt x="4883" y="6768"/>
                      <a:pt x="4883" y="6768"/>
                    </a:cubicBezTo>
                    <a:cubicBezTo>
                      <a:pt x="4893" y="6687"/>
                      <a:pt x="4893" y="6687"/>
                      <a:pt x="4893" y="6687"/>
                    </a:cubicBezTo>
                    <a:cubicBezTo>
                      <a:pt x="4778" y="6681"/>
                      <a:pt x="4778" y="6681"/>
                      <a:pt x="4778" y="6681"/>
                    </a:cubicBezTo>
                    <a:cubicBezTo>
                      <a:pt x="4776" y="6702"/>
                      <a:pt x="4776" y="6702"/>
                      <a:pt x="4776" y="6702"/>
                    </a:cubicBezTo>
                    <a:cubicBezTo>
                      <a:pt x="4800" y="6704"/>
                      <a:pt x="4800" y="6704"/>
                      <a:pt x="4800" y="6704"/>
                    </a:cubicBezTo>
                    <a:lnTo>
                      <a:pt x="4814" y="6705"/>
                    </a:lnTo>
                    <a:close/>
                    <a:moveTo>
                      <a:pt x="4721" y="6897"/>
                    </a:moveTo>
                    <a:cubicBezTo>
                      <a:pt x="4742" y="6886"/>
                      <a:pt x="4784" y="6864"/>
                      <a:pt x="4827" y="6841"/>
                    </a:cubicBezTo>
                    <a:cubicBezTo>
                      <a:pt x="4857" y="6825"/>
                      <a:pt x="4887" y="6809"/>
                      <a:pt x="4910" y="6797"/>
                    </a:cubicBezTo>
                    <a:cubicBezTo>
                      <a:pt x="4924" y="6789"/>
                      <a:pt x="4935" y="6784"/>
                      <a:pt x="4942" y="6780"/>
                    </a:cubicBezTo>
                    <a:cubicBezTo>
                      <a:pt x="4939" y="6755"/>
                      <a:pt x="4940" y="6738"/>
                      <a:pt x="4940" y="6717"/>
                    </a:cubicBezTo>
                    <a:cubicBezTo>
                      <a:pt x="4940" y="6707"/>
                      <a:pt x="4940" y="6698"/>
                      <a:pt x="4940" y="6689"/>
                    </a:cubicBezTo>
                    <a:cubicBezTo>
                      <a:pt x="4907" y="6688"/>
                      <a:pt x="4907" y="6688"/>
                      <a:pt x="4907" y="6688"/>
                    </a:cubicBezTo>
                    <a:cubicBezTo>
                      <a:pt x="4895" y="6784"/>
                      <a:pt x="4895" y="6784"/>
                      <a:pt x="4895" y="6784"/>
                    </a:cubicBezTo>
                    <a:cubicBezTo>
                      <a:pt x="4794" y="6771"/>
                      <a:pt x="4794" y="6771"/>
                      <a:pt x="4794" y="6771"/>
                    </a:cubicBezTo>
                    <a:cubicBezTo>
                      <a:pt x="4799" y="6718"/>
                      <a:pt x="4799" y="6718"/>
                      <a:pt x="4799" y="6718"/>
                    </a:cubicBezTo>
                    <a:cubicBezTo>
                      <a:pt x="4760" y="6715"/>
                      <a:pt x="4760" y="6715"/>
                      <a:pt x="4760" y="6715"/>
                    </a:cubicBezTo>
                    <a:cubicBezTo>
                      <a:pt x="4764" y="6681"/>
                      <a:pt x="4764" y="6681"/>
                      <a:pt x="4764" y="6681"/>
                    </a:cubicBezTo>
                    <a:cubicBezTo>
                      <a:pt x="4735" y="6679"/>
                      <a:pt x="4735" y="6679"/>
                      <a:pt x="4735" y="6679"/>
                    </a:cubicBezTo>
                    <a:cubicBezTo>
                      <a:pt x="4734" y="6690"/>
                      <a:pt x="4734" y="6700"/>
                      <a:pt x="4733" y="6711"/>
                    </a:cubicBezTo>
                    <a:cubicBezTo>
                      <a:pt x="4729" y="6776"/>
                      <a:pt x="4724" y="6841"/>
                      <a:pt x="4721" y="6897"/>
                    </a:cubicBezTo>
                    <a:close/>
                    <a:moveTo>
                      <a:pt x="4963" y="6480"/>
                    </a:moveTo>
                    <a:cubicBezTo>
                      <a:pt x="4957" y="6480"/>
                      <a:pt x="4950" y="6480"/>
                      <a:pt x="4943" y="6479"/>
                    </a:cubicBezTo>
                    <a:cubicBezTo>
                      <a:pt x="4932" y="6579"/>
                      <a:pt x="4932" y="6579"/>
                      <a:pt x="4932" y="6579"/>
                    </a:cubicBezTo>
                    <a:cubicBezTo>
                      <a:pt x="4920" y="6578"/>
                      <a:pt x="4920" y="6578"/>
                      <a:pt x="4920" y="6578"/>
                    </a:cubicBezTo>
                    <a:cubicBezTo>
                      <a:pt x="4909" y="6671"/>
                      <a:pt x="4909" y="6671"/>
                      <a:pt x="4909" y="6671"/>
                    </a:cubicBezTo>
                    <a:cubicBezTo>
                      <a:pt x="4941" y="6673"/>
                      <a:pt x="4941" y="6673"/>
                      <a:pt x="4941" y="6673"/>
                    </a:cubicBezTo>
                    <a:cubicBezTo>
                      <a:pt x="4941" y="6670"/>
                      <a:pt x="4941" y="6667"/>
                      <a:pt x="4942" y="6665"/>
                    </a:cubicBezTo>
                    <a:cubicBezTo>
                      <a:pt x="4947" y="6604"/>
                      <a:pt x="4956" y="6532"/>
                      <a:pt x="4963" y="6480"/>
                    </a:cubicBezTo>
                    <a:close/>
                    <a:moveTo>
                      <a:pt x="4965" y="6464"/>
                    </a:moveTo>
                    <a:cubicBezTo>
                      <a:pt x="4968" y="6445"/>
                      <a:pt x="4970" y="6430"/>
                      <a:pt x="4972" y="6421"/>
                    </a:cubicBezTo>
                    <a:cubicBezTo>
                      <a:pt x="4974" y="6403"/>
                      <a:pt x="4979" y="6371"/>
                      <a:pt x="4983" y="6336"/>
                    </a:cubicBezTo>
                    <a:cubicBezTo>
                      <a:pt x="4934" y="6342"/>
                      <a:pt x="4789" y="6358"/>
                      <a:pt x="4755" y="6362"/>
                    </a:cubicBezTo>
                    <a:cubicBezTo>
                      <a:pt x="4755" y="6375"/>
                      <a:pt x="4753" y="6407"/>
                      <a:pt x="4750" y="6449"/>
                    </a:cubicBezTo>
                    <a:cubicBezTo>
                      <a:pt x="4756" y="6450"/>
                      <a:pt x="4776" y="6451"/>
                      <a:pt x="4802" y="6453"/>
                    </a:cubicBezTo>
                    <a:cubicBezTo>
                      <a:pt x="4808" y="6406"/>
                      <a:pt x="4808" y="6406"/>
                      <a:pt x="4808" y="6406"/>
                    </a:cubicBezTo>
                    <a:cubicBezTo>
                      <a:pt x="4846" y="6408"/>
                      <a:pt x="4846" y="6408"/>
                      <a:pt x="4846" y="6408"/>
                    </a:cubicBezTo>
                    <a:cubicBezTo>
                      <a:pt x="4852" y="6358"/>
                      <a:pt x="4852" y="6358"/>
                      <a:pt x="4852" y="6358"/>
                    </a:cubicBezTo>
                    <a:cubicBezTo>
                      <a:pt x="4955" y="6368"/>
                      <a:pt x="4955" y="6368"/>
                      <a:pt x="4955" y="6368"/>
                    </a:cubicBezTo>
                    <a:cubicBezTo>
                      <a:pt x="4945" y="6463"/>
                      <a:pt x="4945" y="6463"/>
                      <a:pt x="4945" y="6463"/>
                    </a:cubicBezTo>
                    <a:cubicBezTo>
                      <a:pt x="4946" y="6463"/>
                      <a:pt x="4946" y="6463"/>
                      <a:pt x="4946" y="6463"/>
                    </a:cubicBezTo>
                    <a:cubicBezTo>
                      <a:pt x="4946" y="6463"/>
                      <a:pt x="4946" y="6463"/>
                      <a:pt x="4946" y="6463"/>
                    </a:cubicBezTo>
                    <a:cubicBezTo>
                      <a:pt x="4954" y="6463"/>
                      <a:pt x="4960" y="6464"/>
                      <a:pt x="4965" y="6464"/>
                    </a:cubicBezTo>
                    <a:close/>
                    <a:moveTo>
                      <a:pt x="4986" y="6319"/>
                    </a:moveTo>
                    <a:cubicBezTo>
                      <a:pt x="4989" y="6297"/>
                      <a:pt x="4991" y="6274"/>
                      <a:pt x="4994" y="6252"/>
                    </a:cubicBezTo>
                    <a:cubicBezTo>
                      <a:pt x="4999" y="6206"/>
                      <a:pt x="5002" y="6163"/>
                      <a:pt x="5003" y="6152"/>
                    </a:cubicBezTo>
                    <a:cubicBezTo>
                      <a:pt x="5003" y="6145"/>
                      <a:pt x="5004" y="6134"/>
                      <a:pt x="5004" y="6121"/>
                    </a:cubicBezTo>
                    <a:cubicBezTo>
                      <a:pt x="5004" y="6030"/>
                      <a:pt x="4990" y="5820"/>
                      <a:pt x="4844" y="5662"/>
                    </a:cubicBezTo>
                    <a:cubicBezTo>
                      <a:pt x="4818" y="5697"/>
                      <a:pt x="4787" y="5743"/>
                      <a:pt x="4761" y="5783"/>
                    </a:cubicBezTo>
                    <a:cubicBezTo>
                      <a:pt x="4742" y="5812"/>
                      <a:pt x="4725" y="5839"/>
                      <a:pt x="4713" y="5857"/>
                    </a:cubicBezTo>
                    <a:cubicBezTo>
                      <a:pt x="4711" y="5862"/>
                      <a:pt x="4684" y="5930"/>
                      <a:pt x="4655" y="6005"/>
                    </a:cubicBezTo>
                    <a:cubicBezTo>
                      <a:pt x="4640" y="6043"/>
                      <a:pt x="4624" y="6084"/>
                      <a:pt x="4612" y="6117"/>
                    </a:cubicBezTo>
                    <a:cubicBezTo>
                      <a:pt x="4600" y="6150"/>
                      <a:pt x="4591" y="6178"/>
                      <a:pt x="4590" y="6185"/>
                    </a:cubicBezTo>
                    <a:cubicBezTo>
                      <a:pt x="4589" y="6188"/>
                      <a:pt x="4589" y="6192"/>
                      <a:pt x="4588" y="6195"/>
                    </a:cubicBezTo>
                    <a:cubicBezTo>
                      <a:pt x="4750" y="6346"/>
                      <a:pt x="4750" y="6346"/>
                      <a:pt x="4750" y="6346"/>
                    </a:cubicBezTo>
                    <a:cubicBezTo>
                      <a:pt x="4751" y="6346"/>
                      <a:pt x="4751" y="6346"/>
                      <a:pt x="4751" y="6346"/>
                    </a:cubicBezTo>
                    <a:cubicBezTo>
                      <a:pt x="4768" y="6344"/>
                      <a:pt x="4829" y="6337"/>
                      <a:pt x="4886" y="6331"/>
                    </a:cubicBezTo>
                    <a:cubicBezTo>
                      <a:pt x="4915" y="6327"/>
                      <a:pt x="4942" y="6324"/>
                      <a:pt x="4963" y="6322"/>
                    </a:cubicBezTo>
                    <a:cubicBezTo>
                      <a:pt x="4972" y="6321"/>
                      <a:pt x="4980" y="6320"/>
                      <a:pt x="4986" y="6319"/>
                    </a:cubicBezTo>
                    <a:close/>
                    <a:moveTo>
                      <a:pt x="4985" y="6717"/>
                    </a:moveTo>
                    <a:cubicBezTo>
                      <a:pt x="4985" y="6737"/>
                      <a:pt x="4986" y="6758"/>
                      <a:pt x="4988" y="6770"/>
                    </a:cubicBezTo>
                    <a:cubicBezTo>
                      <a:pt x="4988" y="6775"/>
                      <a:pt x="4988" y="6775"/>
                      <a:pt x="4988" y="6775"/>
                    </a:cubicBezTo>
                    <a:cubicBezTo>
                      <a:pt x="4988" y="6780"/>
                      <a:pt x="4989" y="6785"/>
                      <a:pt x="4990" y="6791"/>
                    </a:cubicBezTo>
                    <a:cubicBezTo>
                      <a:pt x="5011" y="6776"/>
                      <a:pt x="5049" y="6746"/>
                      <a:pt x="5088" y="6717"/>
                    </a:cubicBezTo>
                    <a:cubicBezTo>
                      <a:pt x="5116" y="6695"/>
                      <a:pt x="5145" y="6674"/>
                      <a:pt x="5166" y="6658"/>
                    </a:cubicBezTo>
                    <a:cubicBezTo>
                      <a:pt x="5177" y="6650"/>
                      <a:pt x="5186" y="6643"/>
                      <a:pt x="5193" y="6638"/>
                    </a:cubicBezTo>
                    <a:cubicBezTo>
                      <a:pt x="5196" y="6636"/>
                      <a:pt x="5199" y="6634"/>
                      <a:pt x="5200" y="6633"/>
                    </a:cubicBezTo>
                    <a:cubicBezTo>
                      <a:pt x="5202" y="6632"/>
                      <a:pt x="5202" y="6631"/>
                      <a:pt x="5203" y="6631"/>
                    </a:cubicBezTo>
                    <a:cubicBezTo>
                      <a:pt x="5206" y="6627"/>
                      <a:pt x="5217" y="6607"/>
                      <a:pt x="5231" y="6582"/>
                    </a:cubicBezTo>
                    <a:cubicBezTo>
                      <a:pt x="5278" y="6497"/>
                      <a:pt x="5365" y="6336"/>
                      <a:pt x="5366" y="6335"/>
                    </a:cubicBezTo>
                    <a:cubicBezTo>
                      <a:pt x="5368" y="6330"/>
                      <a:pt x="5368" y="6330"/>
                      <a:pt x="5368" y="6330"/>
                    </a:cubicBezTo>
                    <a:cubicBezTo>
                      <a:pt x="5407" y="6336"/>
                      <a:pt x="5407" y="6336"/>
                      <a:pt x="5407" y="6336"/>
                    </a:cubicBezTo>
                    <a:cubicBezTo>
                      <a:pt x="5431" y="6197"/>
                      <a:pt x="5431" y="6197"/>
                      <a:pt x="5431" y="6197"/>
                    </a:cubicBezTo>
                    <a:cubicBezTo>
                      <a:pt x="5291" y="6168"/>
                      <a:pt x="5291" y="6168"/>
                      <a:pt x="5291" y="6168"/>
                    </a:cubicBezTo>
                    <a:cubicBezTo>
                      <a:pt x="5047" y="6169"/>
                      <a:pt x="5047" y="6169"/>
                      <a:pt x="5047" y="6169"/>
                    </a:cubicBezTo>
                    <a:cubicBezTo>
                      <a:pt x="5047" y="6169"/>
                      <a:pt x="5047" y="6170"/>
                      <a:pt x="5047" y="6170"/>
                    </a:cubicBezTo>
                    <a:cubicBezTo>
                      <a:pt x="5047" y="6170"/>
                      <a:pt x="5047" y="6170"/>
                      <a:pt x="5047" y="6170"/>
                    </a:cubicBezTo>
                    <a:cubicBezTo>
                      <a:pt x="5045" y="6189"/>
                      <a:pt x="5043" y="6222"/>
                      <a:pt x="5039" y="6257"/>
                    </a:cubicBezTo>
                    <a:cubicBezTo>
                      <a:pt x="5031" y="6322"/>
                      <a:pt x="5021" y="6396"/>
                      <a:pt x="5016" y="6428"/>
                    </a:cubicBezTo>
                    <a:cubicBezTo>
                      <a:pt x="5011" y="6463"/>
                      <a:pt x="4994" y="6579"/>
                      <a:pt x="4986" y="6669"/>
                    </a:cubicBezTo>
                    <a:cubicBezTo>
                      <a:pt x="4986" y="6676"/>
                      <a:pt x="4985" y="6696"/>
                      <a:pt x="4985" y="6717"/>
                    </a:cubicBezTo>
                    <a:close/>
                    <a:moveTo>
                      <a:pt x="5546" y="6189"/>
                    </a:moveTo>
                    <a:cubicBezTo>
                      <a:pt x="5560" y="6112"/>
                      <a:pt x="5560" y="6112"/>
                      <a:pt x="5560" y="6112"/>
                    </a:cubicBezTo>
                    <a:cubicBezTo>
                      <a:pt x="5440" y="6090"/>
                      <a:pt x="5440" y="6090"/>
                      <a:pt x="5440" y="6090"/>
                    </a:cubicBezTo>
                    <a:cubicBezTo>
                      <a:pt x="5426" y="6167"/>
                      <a:pt x="5426" y="6167"/>
                      <a:pt x="5426" y="6167"/>
                    </a:cubicBezTo>
                    <a:lnTo>
                      <a:pt x="5546" y="6189"/>
                    </a:lnTo>
                    <a:close/>
                    <a:moveTo>
                      <a:pt x="5450" y="6185"/>
                    </a:moveTo>
                    <a:cubicBezTo>
                      <a:pt x="5450" y="6185"/>
                      <a:pt x="5450" y="6185"/>
                      <a:pt x="5450" y="6185"/>
                    </a:cubicBezTo>
                    <a:cubicBezTo>
                      <a:pt x="5451" y="6185"/>
                      <a:pt x="5452" y="6185"/>
                      <a:pt x="5454" y="6186"/>
                    </a:cubicBezTo>
                    <a:lnTo>
                      <a:pt x="5450" y="6185"/>
                    </a:lnTo>
                    <a:close/>
                    <a:moveTo>
                      <a:pt x="5423" y="6341"/>
                    </a:moveTo>
                    <a:cubicBezTo>
                      <a:pt x="5445" y="6346"/>
                      <a:pt x="5491" y="6355"/>
                      <a:pt x="5538" y="6364"/>
                    </a:cubicBezTo>
                    <a:cubicBezTo>
                      <a:pt x="5590" y="6374"/>
                      <a:pt x="5644" y="6383"/>
                      <a:pt x="5668" y="6387"/>
                    </a:cubicBezTo>
                    <a:cubicBezTo>
                      <a:pt x="5685" y="6237"/>
                      <a:pt x="5685" y="6237"/>
                      <a:pt x="5685" y="6237"/>
                    </a:cubicBezTo>
                    <a:cubicBezTo>
                      <a:pt x="5664" y="6234"/>
                      <a:pt x="5618" y="6227"/>
                      <a:pt x="5571" y="6220"/>
                    </a:cubicBezTo>
                    <a:cubicBezTo>
                      <a:pt x="5519" y="6212"/>
                      <a:pt x="5465" y="6202"/>
                      <a:pt x="5447" y="6199"/>
                    </a:cubicBezTo>
                    <a:lnTo>
                      <a:pt x="5423" y="6341"/>
                    </a:lnTo>
                    <a:close/>
                    <a:moveTo>
                      <a:pt x="5687" y="6223"/>
                    </a:moveTo>
                    <a:cubicBezTo>
                      <a:pt x="5716" y="5960"/>
                      <a:pt x="5716" y="5960"/>
                      <a:pt x="5716" y="5960"/>
                    </a:cubicBezTo>
                    <a:cubicBezTo>
                      <a:pt x="5385" y="5898"/>
                      <a:pt x="5385" y="5898"/>
                      <a:pt x="5385" y="5898"/>
                    </a:cubicBezTo>
                    <a:cubicBezTo>
                      <a:pt x="5387" y="5908"/>
                      <a:pt x="5387" y="5908"/>
                      <a:pt x="5387" y="5908"/>
                    </a:cubicBezTo>
                    <a:cubicBezTo>
                      <a:pt x="5386" y="5909"/>
                      <a:pt x="5386" y="5909"/>
                      <a:pt x="5386" y="5909"/>
                    </a:cubicBezTo>
                    <a:cubicBezTo>
                      <a:pt x="5386" y="5909"/>
                      <a:pt x="5372" y="5972"/>
                      <a:pt x="5357" y="6035"/>
                    </a:cubicBezTo>
                    <a:cubicBezTo>
                      <a:pt x="5349" y="6067"/>
                      <a:pt x="5341" y="6099"/>
                      <a:pt x="5335" y="6123"/>
                    </a:cubicBezTo>
                    <a:cubicBezTo>
                      <a:pt x="5332" y="6135"/>
                      <a:pt x="5329" y="6145"/>
                      <a:pt x="5327" y="6152"/>
                    </a:cubicBezTo>
                    <a:cubicBezTo>
                      <a:pt x="5326" y="6155"/>
                      <a:pt x="5326" y="6156"/>
                      <a:pt x="5325" y="6158"/>
                    </a:cubicBezTo>
                    <a:cubicBezTo>
                      <a:pt x="5411" y="6176"/>
                      <a:pt x="5411" y="6176"/>
                      <a:pt x="5411" y="6176"/>
                    </a:cubicBezTo>
                    <a:cubicBezTo>
                      <a:pt x="5412" y="6171"/>
                      <a:pt x="5412" y="6171"/>
                      <a:pt x="5412" y="6171"/>
                    </a:cubicBezTo>
                    <a:cubicBezTo>
                      <a:pt x="5429" y="6075"/>
                      <a:pt x="5429" y="6075"/>
                      <a:pt x="5429" y="6075"/>
                    </a:cubicBezTo>
                    <a:cubicBezTo>
                      <a:pt x="5575" y="6101"/>
                      <a:pt x="5575" y="6101"/>
                      <a:pt x="5575" y="6101"/>
                    </a:cubicBezTo>
                    <a:cubicBezTo>
                      <a:pt x="5557" y="6202"/>
                      <a:pt x="5557" y="6202"/>
                      <a:pt x="5557" y="6202"/>
                    </a:cubicBezTo>
                    <a:cubicBezTo>
                      <a:pt x="5609" y="6210"/>
                      <a:pt x="5663" y="6219"/>
                      <a:pt x="5687" y="6223"/>
                    </a:cubicBezTo>
                    <a:close/>
                    <a:moveTo>
                      <a:pt x="5718" y="5946"/>
                    </a:moveTo>
                    <a:cubicBezTo>
                      <a:pt x="5732" y="5818"/>
                      <a:pt x="5732" y="5818"/>
                      <a:pt x="5732" y="5818"/>
                    </a:cubicBezTo>
                    <a:cubicBezTo>
                      <a:pt x="5649" y="5803"/>
                      <a:pt x="5446" y="5764"/>
                      <a:pt x="5370" y="5750"/>
                    </a:cubicBezTo>
                    <a:cubicBezTo>
                      <a:pt x="5384" y="5883"/>
                      <a:pt x="5384" y="5883"/>
                      <a:pt x="5384" y="5883"/>
                    </a:cubicBezTo>
                    <a:lnTo>
                      <a:pt x="5718" y="5946"/>
                    </a:lnTo>
                    <a:close/>
                    <a:moveTo>
                      <a:pt x="5734" y="5804"/>
                    </a:moveTo>
                    <a:cubicBezTo>
                      <a:pt x="5751" y="5653"/>
                      <a:pt x="5751" y="5653"/>
                      <a:pt x="5751" y="5653"/>
                    </a:cubicBezTo>
                    <a:cubicBezTo>
                      <a:pt x="5679" y="5640"/>
                      <a:pt x="5411" y="5589"/>
                      <a:pt x="5352" y="5578"/>
                    </a:cubicBezTo>
                    <a:cubicBezTo>
                      <a:pt x="5369" y="5735"/>
                      <a:pt x="5369" y="5735"/>
                      <a:pt x="5369" y="5735"/>
                    </a:cubicBezTo>
                    <a:cubicBezTo>
                      <a:pt x="5406" y="5742"/>
                      <a:pt x="5480" y="5756"/>
                      <a:pt x="5555" y="5771"/>
                    </a:cubicBezTo>
                    <a:cubicBezTo>
                      <a:pt x="5623" y="5784"/>
                      <a:pt x="5693" y="5797"/>
                      <a:pt x="5734" y="5804"/>
                    </a:cubicBezTo>
                    <a:close/>
                    <a:moveTo>
                      <a:pt x="5801" y="5215"/>
                    </a:moveTo>
                    <a:cubicBezTo>
                      <a:pt x="5827" y="4981"/>
                      <a:pt x="5827" y="4981"/>
                      <a:pt x="5827" y="4981"/>
                    </a:cubicBezTo>
                    <a:cubicBezTo>
                      <a:pt x="5799" y="4976"/>
                      <a:pt x="5724" y="4962"/>
                      <a:pt x="5647" y="4947"/>
                    </a:cubicBezTo>
                    <a:cubicBezTo>
                      <a:pt x="5551" y="4928"/>
                      <a:pt x="5450" y="4910"/>
                      <a:pt x="5445" y="4910"/>
                    </a:cubicBezTo>
                    <a:cubicBezTo>
                      <a:pt x="5445" y="4907"/>
                      <a:pt x="5445" y="4907"/>
                      <a:pt x="5445" y="4907"/>
                    </a:cubicBezTo>
                    <a:cubicBezTo>
                      <a:pt x="5445" y="4903"/>
                      <a:pt x="5445" y="4903"/>
                      <a:pt x="5445" y="4903"/>
                    </a:cubicBezTo>
                    <a:cubicBezTo>
                      <a:pt x="5444" y="4902"/>
                      <a:pt x="5444" y="4902"/>
                      <a:pt x="5444" y="4902"/>
                    </a:cubicBezTo>
                    <a:cubicBezTo>
                      <a:pt x="5396" y="5139"/>
                      <a:pt x="5396" y="5139"/>
                      <a:pt x="5396" y="5139"/>
                    </a:cubicBezTo>
                    <a:cubicBezTo>
                      <a:pt x="5419" y="5143"/>
                      <a:pt x="5510" y="5161"/>
                      <a:pt x="5602" y="5178"/>
                    </a:cubicBezTo>
                    <a:cubicBezTo>
                      <a:pt x="5684" y="5194"/>
                      <a:pt x="5767" y="5209"/>
                      <a:pt x="5801" y="5215"/>
                    </a:cubicBezTo>
                    <a:close/>
                    <a:moveTo>
                      <a:pt x="5829" y="4968"/>
                    </a:moveTo>
                    <a:cubicBezTo>
                      <a:pt x="5853" y="4752"/>
                      <a:pt x="5853" y="4752"/>
                      <a:pt x="5853" y="4752"/>
                    </a:cubicBezTo>
                    <a:cubicBezTo>
                      <a:pt x="5481" y="4719"/>
                      <a:pt x="5481" y="4719"/>
                      <a:pt x="5481" y="4719"/>
                    </a:cubicBezTo>
                    <a:cubicBezTo>
                      <a:pt x="5445" y="4896"/>
                      <a:pt x="5445" y="4896"/>
                      <a:pt x="5445" y="4896"/>
                    </a:cubicBezTo>
                    <a:cubicBezTo>
                      <a:pt x="5445" y="4896"/>
                      <a:pt x="5445" y="4896"/>
                      <a:pt x="5445" y="4896"/>
                    </a:cubicBezTo>
                    <a:cubicBezTo>
                      <a:pt x="5460" y="4896"/>
                      <a:pt x="5763" y="4955"/>
                      <a:pt x="5829" y="4968"/>
                    </a:cubicBezTo>
                    <a:close/>
                    <a:moveTo>
                      <a:pt x="5858" y="4707"/>
                    </a:moveTo>
                    <a:cubicBezTo>
                      <a:pt x="5888" y="4445"/>
                      <a:pt x="5888" y="4445"/>
                      <a:pt x="5888" y="4445"/>
                    </a:cubicBezTo>
                    <a:cubicBezTo>
                      <a:pt x="5840" y="4339"/>
                      <a:pt x="5840" y="4339"/>
                      <a:pt x="5840" y="4339"/>
                    </a:cubicBezTo>
                    <a:cubicBezTo>
                      <a:pt x="5847" y="4243"/>
                      <a:pt x="5847" y="4243"/>
                      <a:pt x="5847" y="4243"/>
                    </a:cubicBezTo>
                    <a:cubicBezTo>
                      <a:pt x="5810" y="4245"/>
                      <a:pt x="5739" y="4250"/>
                      <a:pt x="5729" y="4250"/>
                    </a:cubicBezTo>
                    <a:cubicBezTo>
                      <a:pt x="5439" y="4348"/>
                      <a:pt x="5439" y="4348"/>
                      <a:pt x="5439" y="4348"/>
                    </a:cubicBezTo>
                    <a:cubicBezTo>
                      <a:pt x="5638" y="4506"/>
                      <a:pt x="5638" y="4506"/>
                      <a:pt x="5638" y="4506"/>
                    </a:cubicBezTo>
                    <a:cubicBezTo>
                      <a:pt x="5639" y="4509"/>
                      <a:pt x="5639" y="4509"/>
                      <a:pt x="5639" y="4509"/>
                    </a:cubicBezTo>
                    <a:cubicBezTo>
                      <a:pt x="5639" y="4509"/>
                      <a:pt x="5645" y="4557"/>
                      <a:pt x="5652" y="4605"/>
                    </a:cubicBezTo>
                    <a:cubicBezTo>
                      <a:pt x="5656" y="4630"/>
                      <a:pt x="5659" y="4654"/>
                      <a:pt x="5662" y="4673"/>
                    </a:cubicBezTo>
                    <a:cubicBezTo>
                      <a:pt x="5663" y="4680"/>
                      <a:pt x="5664" y="4685"/>
                      <a:pt x="5664" y="4690"/>
                    </a:cubicBezTo>
                    <a:lnTo>
                      <a:pt x="5858" y="4707"/>
                    </a:lnTo>
                    <a:close/>
                    <a:moveTo>
                      <a:pt x="5892" y="3650"/>
                    </a:moveTo>
                    <a:cubicBezTo>
                      <a:pt x="5818" y="3645"/>
                      <a:pt x="5558" y="3625"/>
                      <a:pt x="5552" y="3625"/>
                    </a:cubicBezTo>
                    <a:cubicBezTo>
                      <a:pt x="5551" y="3625"/>
                      <a:pt x="5424" y="3651"/>
                      <a:pt x="5302" y="3677"/>
                    </a:cubicBezTo>
                    <a:cubicBezTo>
                      <a:pt x="5214" y="3696"/>
                      <a:pt x="5127" y="3714"/>
                      <a:pt x="5084" y="3724"/>
                    </a:cubicBezTo>
                    <a:cubicBezTo>
                      <a:pt x="5096" y="3819"/>
                      <a:pt x="5107" y="3913"/>
                      <a:pt x="5117" y="3998"/>
                    </a:cubicBezTo>
                    <a:cubicBezTo>
                      <a:pt x="5588" y="3939"/>
                      <a:pt x="5588" y="3939"/>
                      <a:pt x="5588" y="3939"/>
                    </a:cubicBezTo>
                    <a:cubicBezTo>
                      <a:pt x="5869" y="3961"/>
                      <a:pt x="5869" y="3961"/>
                      <a:pt x="5869" y="3961"/>
                    </a:cubicBezTo>
                    <a:lnTo>
                      <a:pt x="5892" y="3650"/>
                    </a:lnTo>
                    <a:close/>
                    <a:moveTo>
                      <a:pt x="4954" y="4269"/>
                    </a:moveTo>
                    <a:cubicBezTo>
                      <a:pt x="4898" y="4269"/>
                      <a:pt x="4842" y="4269"/>
                      <a:pt x="4814" y="4269"/>
                    </a:cubicBezTo>
                    <a:cubicBezTo>
                      <a:pt x="4839" y="4301"/>
                      <a:pt x="4864" y="4334"/>
                      <a:pt x="4889" y="4367"/>
                    </a:cubicBezTo>
                    <a:cubicBezTo>
                      <a:pt x="4964" y="4463"/>
                      <a:pt x="5034" y="4553"/>
                      <a:pt x="5077" y="4609"/>
                    </a:cubicBezTo>
                    <a:cubicBezTo>
                      <a:pt x="5091" y="4547"/>
                      <a:pt x="5103" y="4479"/>
                      <a:pt x="5103" y="4416"/>
                    </a:cubicBezTo>
                    <a:cubicBezTo>
                      <a:pt x="5103" y="4390"/>
                      <a:pt x="5101" y="4366"/>
                      <a:pt x="5097" y="4343"/>
                    </a:cubicBezTo>
                    <a:cubicBezTo>
                      <a:pt x="5094" y="4330"/>
                      <a:pt x="5091" y="4305"/>
                      <a:pt x="5086" y="4270"/>
                    </a:cubicBezTo>
                    <a:cubicBezTo>
                      <a:pt x="5057" y="4269"/>
                      <a:pt x="5005" y="4269"/>
                      <a:pt x="4954" y="4269"/>
                    </a:cubicBezTo>
                    <a:close/>
                    <a:moveTo>
                      <a:pt x="5084" y="4256"/>
                    </a:moveTo>
                    <a:cubicBezTo>
                      <a:pt x="5079" y="4218"/>
                      <a:pt x="5073" y="4170"/>
                      <a:pt x="5066" y="4116"/>
                    </a:cubicBezTo>
                    <a:cubicBezTo>
                      <a:pt x="4736" y="4167"/>
                      <a:pt x="4736" y="4167"/>
                      <a:pt x="4736" y="4167"/>
                    </a:cubicBezTo>
                    <a:cubicBezTo>
                      <a:pt x="4757" y="4195"/>
                      <a:pt x="4780" y="4225"/>
                      <a:pt x="4803" y="4255"/>
                    </a:cubicBezTo>
                    <a:cubicBezTo>
                      <a:pt x="4824" y="4255"/>
                      <a:pt x="4889" y="4255"/>
                      <a:pt x="4954" y="4255"/>
                    </a:cubicBezTo>
                    <a:cubicBezTo>
                      <a:pt x="5005" y="4255"/>
                      <a:pt x="5054" y="4255"/>
                      <a:pt x="5084" y="4256"/>
                    </a:cubicBezTo>
                    <a:close/>
                    <a:moveTo>
                      <a:pt x="5064" y="4102"/>
                    </a:moveTo>
                    <a:cubicBezTo>
                      <a:pt x="5059" y="4058"/>
                      <a:pt x="5053" y="4011"/>
                      <a:pt x="5047" y="3961"/>
                    </a:cubicBezTo>
                    <a:cubicBezTo>
                      <a:pt x="4960" y="3973"/>
                      <a:pt x="4686" y="4011"/>
                      <a:pt x="4623" y="4017"/>
                    </a:cubicBezTo>
                    <a:cubicBezTo>
                      <a:pt x="4647" y="4050"/>
                      <a:pt x="4684" y="4099"/>
                      <a:pt x="4726" y="4154"/>
                    </a:cubicBezTo>
                    <a:lnTo>
                      <a:pt x="5064" y="4102"/>
                    </a:lnTo>
                    <a:close/>
                    <a:moveTo>
                      <a:pt x="5045" y="3947"/>
                    </a:moveTo>
                    <a:cubicBezTo>
                      <a:pt x="5039" y="3899"/>
                      <a:pt x="5033" y="3850"/>
                      <a:pt x="5027" y="3799"/>
                    </a:cubicBezTo>
                    <a:cubicBezTo>
                      <a:pt x="4993" y="3804"/>
                      <a:pt x="4926" y="3814"/>
                      <a:pt x="4856" y="3825"/>
                    </a:cubicBezTo>
                    <a:cubicBezTo>
                      <a:pt x="4806" y="3833"/>
                      <a:pt x="4755" y="3842"/>
                      <a:pt x="4715" y="3849"/>
                    </a:cubicBezTo>
                    <a:cubicBezTo>
                      <a:pt x="4695" y="3852"/>
                      <a:pt x="4677" y="3856"/>
                      <a:pt x="4664" y="3858"/>
                    </a:cubicBezTo>
                    <a:cubicBezTo>
                      <a:pt x="4651" y="3861"/>
                      <a:pt x="4641" y="3864"/>
                      <a:pt x="4641" y="3864"/>
                    </a:cubicBezTo>
                    <a:cubicBezTo>
                      <a:pt x="4631" y="3867"/>
                      <a:pt x="4614" y="3876"/>
                      <a:pt x="4602" y="3888"/>
                    </a:cubicBezTo>
                    <a:cubicBezTo>
                      <a:pt x="4589" y="3900"/>
                      <a:pt x="4581" y="3913"/>
                      <a:pt x="4581" y="3931"/>
                    </a:cubicBezTo>
                    <a:cubicBezTo>
                      <a:pt x="4581" y="3944"/>
                      <a:pt x="4586" y="3964"/>
                      <a:pt x="4604" y="3990"/>
                    </a:cubicBezTo>
                    <a:cubicBezTo>
                      <a:pt x="4607" y="3994"/>
                      <a:pt x="4610" y="3999"/>
                      <a:pt x="4614" y="4004"/>
                    </a:cubicBezTo>
                    <a:cubicBezTo>
                      <a:pt x="4633" y="4003"/>
                      <a:pt x="4742" y="3988"/>
                      <a:pt x="4847" y="3974"/>
                    </a:cubicBezTo>
                    <a:cubicBezTo>
                      <a:pt x="4927" y="3963"/>
                      <a:pt x="5006" y="3952"/>
                      <a:pt x="5045" y="3947"/>
                    </a:cubicBezTo>
                    <a:close/>
                    <a:moveTo>
                      <a:pt x="5019" y="3734"/>
                    </a:moveTo>
                    <a:cubicBezTo>
                      <a:pt x="5015" y="3693"/>
                      <a:pt x="5010" y="3653"/>
                      <a:pt x="5005" y="3612"/>
                    </a:cubicBezTo>
                    <a:cubicBezTo>
                      <a:pt x="4997" y="3544"/>
                      <a:pt x="4989" y="3477"/>
                      <a:pt x="4982" y="3413"/>
                    </a:cubicBezTo>
                    <a:cubicBezTo>
                      <a:pt x="4952" y="3416"/>
                      <a:pt x="4891" y="3421"/>
                      <a:pt x="4818" y="3428"/>
                    </a:cubicBezTo>
                    <a:cubicBezTo>
                      <a:pt x="4875" y="3756"/>
                      <a:pt x="4875" y="3756"/>
                      <a:pt x="4875" y="3756"/>
                    </a:cubicBezTo>
                    <a:cubicBezTo>
                      <a:pt x="4936" y="3746"/>
                      <a:pt x="4991" y="3738"/>
                      <a:pt x="5019" y="3734"/>
                    </a:cubicBezTo>
                    <a:close/>
                    <a:moveTo>
                      <a:pt x="4901" y="2501"/>
                    </a:moveTo>
                    <a:cubicBezTo>
                      <a:pt x="4887" y="2502"/>
                      <a:pt x="4874" y="2502"/>
                      <a:pt x="4860" y="2502"/>
                    </a:cubicBezTo>
                    <a:cubicBezTo>
                      <a:pt x="4790" y="2504"/>
                      <a:pt x="4721" y="2505"/>
                      <a:pt x="4656" y="2507"/>
                    </a:cubicBezTo>
                    <a:cubicBezTo>
                      <a:pt x="4741" y="2968"/>
                      <a:pt x="4741" y="2968"/>
                      <a:pt x="4741" y="2968"/>
                    </a:cubicBezTo>
                    <a:cubicBezTo>
                      <a:pt x="4772" y="2961"/>
                      <a:pt x="4803" y="2953"/>
                      <a:pt x="4832" y="2946"/>
                    </a:cubicBezTo>
                    <a:cubicBezTo>
                      <a:pt x="4862" y="2940"/>
                      <a:pt x="4891" y="2933"/>
                      <a:pt x="4920" y="2927"/>
                    </a:cubicBezTo>
                    <a:lnTo>
                      <a:pt x="4901" y="2501"/>
                    </a:lnTo>
                    <a:close/>
                    <a:moveTo>
                      <a:pt x="4642" y="2507"/>
                    </a:moveTo>
                    <a:cubicBezTo>
                      <a:pt x="4546" y="2509"/>
                      <a:pt x="4461" y="2511"/>
                      <a:pt x="4406" y="2512"/>
                    </a:cubicBezTo>
                    <a:cubicBezTo>
                      <a:pt x="4525" y="2773"/>
                      <a:pt x="4525" y="2773"/>
                      <a:pt x="4525" y="2773"/>
                    </a:cubicBezTo>
                    <a:cubicBezTo>
                      <a:pt x="4468" y="2590"/>
                      <a:pt x="4468" y="2590"/>
                      <a:pt x="4468" y="2590"/>
                    </a:cubicBezTo>
                    <a:cubicBezTo>
                      <a:pt x="4515" y="2575"/>
                      <a:pt x="4515" y="2575"/>
                      <a:pt x="4515" y="2575"/>
                    </a:cubicBezTo>
                    <a:cubicBezTo>
                      <a:pt x="4511" y="2564"/>
                      <a:pt x="4511" y="2564"/>
                      <a:pt x="4511" y="2564"/>
                    </a:cubicBezTo>
                    <a:cubicBezTo>
                      <a:pt x="4509" y="2558"/>
                      <a:pt x="4509" y="2558"/>
                      <a:pt x="4509" y="2558"/>
                    </a:cubicBezTo>
                    <a:cubicBezTo>
                      <a:pt x="4601" y="2527"/>
                      <a:pt x="4601" y="2527"/>
                      <a:pt x="4601" y="2527"/>
                    </a:cubicBezTo>
                    <a:cubicBezTo>
                      <a:pt x="4645" y="2661"/>
                      <a:pt x="4645" y="2661"/>
                      <a:pt x="4645" y="2661"/>
                    </a:cubicBezTo>
                    <a:cubicBezTo>
                      <a:pt x="4576" y="2684"/>
                      <a:pt x="4576" y="2684"/>
                      <a:pt x="4576" y="2684"/>
                    </a:cubicBezTo>
                    <a:cubicBezTo>
                      <a:pt x="4599" y="2756"/>
                      <a:pt x="4599" y="2756"/>
                      <a:pt x="4599" y="2756"/>
                    </a:cubicBezTo>
                    <a:cubicBezTo>
                      <a:pt x="4528" y="2780"/>
                      <a:pt x="4528" y="2780"/>
                      <a:pt x="4528" y="2780"/>
                    </a:cubicBezTo>
                    <a:cubicBezTo>
                      <a:pt x="4628" y="2997"/>
                      <a:pt x="4628" y="2997"/>
                      <a:pt x="4628" y="2997"/>
                    </a:cubicBezTo>
                    <a:cubicBezTo>
                      <a:pt x="4662" y="2988"/>
                      <a:pt x="4695" y="2980"/>
                      <a:pt x="4728" y="2972"/>
                    </a:cubicBezTo>
                    <a:lnTo>
                      <a:pt x="4642" y="2507"/>
                    </a:lnTo>
                    <a:close/>
                    <a:moveTo>
                      <a:pt x="4531" y="2583"/>
                    </a:moveTo>
                    <a:cubicBezTo>
                      <a:pt x="4484" y="2599"/>
                      <a:pt x="4484" y="2599"/>
                      <a:pt x="4484" y="2599"/>
                    </a:cubicBezTo>
                    <a:cubicBezTo>
                      <a:pt x="4536" y="2763"/>
                      <a:pt x="4536" y="2763"/>
                      <a:pt x="4536" y="2763"/>
                    </a:cubicBezTo>
                    <a:cubicBezTo>
                      <a:pt x="4583" y="2748"/>
                      <a:pt x="4583" y="2748"/>
                      <a:pt x="4583" y="2748"/>
                    </a:cubicBezTo>
                    <a:cubicBezTo>
                      <a:pt x="4559" y="2676"/>
                      <a:pt x="4559" y="2676"/>
                      <a:pt x="4559" y="2676"/>
                    </a:cubicBezTo>
                    <a:cubicBezTo>
                      <a:pt x="4629" y="2653"/>
                      <a:pt x="4629" y="2653"/>
                      <a:pt x="4629" y="2653"/>
                    </a:cubicBezTo>
                    <a:cubicBezTo>
                      <a:pt x="4593" y="2544"/>
                      <a:pt x="4593" y="2544"/>
                      <a:pt x="4593" y="2544"/>
                    </a:cubicBezTo>
                    <a:cubicBezTo>
                      <a:pt x="4526" y="2566"/>
                      <a:pt x="4526" y="2566"/>
                      <a:pt x="4526" y="2566"/>
                    </a:cubicBezTo>
                    <a:cubicBezTo>
                      <a:pt x="4529" y="2577"/>
                      <a:pt x="4529" y="2577"/>
                      <a:pt x="4529" y="2577"/>
                    </a:cubicBezTo>
                    <a:lnTo>
                      <a:pt x="4531" y="2583"/>
                    </a:lnTo>
                    <a:close/>
                    <a:moveTo>
                      <a:pt x="4264" y="2361"/>
                    </a:moveTo>
                    <a:cubicBezTo>
                      <a:pt x="4223" y="2388"/>
                      <a:pt x="4105" y="2464"/>
                      <a:pt x="3989" y="2539"/>
                    </a:cubicBezTo>
                    <a:cubicBezTo>
                      <a:pt x="3874" y="2614"/>
                      <a:pt x="3760" y="2688"/>
                      <a:pt x="3720" y="2714"/>
                    </a:cubicBezTo>
                    <a:cubicBezTo>
                      <a:pt x="3819" y="2994"/>
                      <a:pt x="3819" y="2994"/>
                      <a:pt x="3819" y="2994"/>
                    </a:cubicBezTo>
                    <a:cubicBezTo>
                      <a:pt x="4063" y="3153"/>
                      <a:pt x="4063" y="3153"/>
                      <a:pt x="4063" y="3153"/>
                    </a:cubicBezTo>
                    <a:cubicBezTo>
                      <a:pt x="4062" y="3154"/>
                      <a:pt x="4062" y="3154"/>
                      <a:pt x="4062" y="3154"/>
                    </a:cubicBezTo>
                    <a:cubicBezTo>
                      <a:pt x="4228" y="3106"/>
                      <a:pt x="4400" y="3057"/>
                      <a:pt x="4564" y="3014"/>
                    </a:cubicBezTo>
                    <a:lnTo>
                      <a:pt x="4264" y="2361"/>
                    </a:lnTo>
                    <a:close/>
                    <a:moveTo>
                      <a:pt x="2252" y="3434"/>
                    </a:moveTo>
                    <a:cubicBezTo>
                      <a:pt x="2232" y="3534"/>
                      <a:pt x="2232" y="3534"/>
                      <a:pt x="2232" y="3534"/>
                    </a:cubicBezTo>
                    <a:cubicBezTo>
                      <a:pt x="2298" y="3534"/>
                      <a:pt x="2373" y="3537"/>
                      <a:pt x="2460" y="3542"/>
                    </a:cubicBezTo>
                    <a:cubicBezTo>
                      <a:pt x="2498" y="3544"/>
                      <a:pt x="2534" y="3547"/>
                      <a:pt x="2568" y="3550"/>
                    </a:cubicBezTo>
                    <a:cubicBezTo>
                      <a:pt x="2566" y="3535"/>
                      <a:pt x="2559" y="3508"/>
                      <a:pt x="2531" y="3493"/>
                    </a:cubicBezTo>
                    <a:cubicBezTo>
                      <a:pt x="2488" y="3470"/>
                      <a:pt x="2369" y="3461"/>
                      <a:pt x="2337" y="3458"/>
                    </a:cubicBezTo>
                    <a:cubicBezTo>
                      <a:pt x="2321" y="3457"/>
                      <a:pt x="2285" y="3454"/>
                      <a:pt x="2252" y="3434"/>
                    </a:cubicBezTo>
                    <a:close/>
                    <a:moveTo>
                      <a:pt x="2208" y="3602"/>
                    </a:moveTo>
                    <a:cubicBezTo>
                      <a:pt x="2119" y="3602"/>
                      <a:pt x="2050" y="3607"/>
                      <a:pt x="1996" y="3617"/>
                    </a:cubicBezTo>
                    <a:cubicBezTo>
                      <a:pt x="2086" y="3850"/>
                      <a:pt x="2086" y="3850"/>
                      <a:pt x="2086" y="3850"/>
                    </a:cubicBezTo>
                    <a:cubicBezTo>
                      <a:pt x="2473" y="3851"/>
                      <a:pt x="2473" y="3851"/>
                      <a:pt x="2473" y="3851"/>
                    </a:cubicBezTo>
                    <a:cubicBezTo>
                      <a:pt x="2473" y="3841"/>
                      <a:pt x="2473" y="3841"/>
                      <a:pt x="2473" y="3841"/>
                    </a:cubicBezTo>
                    <a:cubicBezTo>
                      <a:pt x="2477" y="3841"/>
                      <a:pt x="2477" y="3841"/>
                      <a:pt x="2477" y="3841"/>
                    </a:cubicBezTo>
                    <a:cubicBezTo>
                      <a:pt x="2477" y="3841"/>
                      <a:pt x="2524" y="3841"/>
                      <a:pt x="2572" y="3841"/>
                    </a:cubicBezTo>
                    <a:cubicBezTo>
                      <a:pt x="2596" y="3841"/>
                      <a:pt x="2619" y="3841"/>
                      <a:pt x="2637" y="3841"/>
                    </a:cubicBezTo>
                    <a:cubicBezTo>
                      <a:pt x="2640" y="3841"/>
                      <a:pt x="2643" y="3841"/>
                      <a:pt x="2646" y="3841"/>
                    </a:cubicBezTo>
                    <a:cubicBezTo>
                      <a:pt x="2651" y="3835"/>
                      <a:pt x="2655" y="3829"/>
                      <a:pt x="2660" y="3823"/>
                    </a:cubicBezTo>
                    <a:cubicBezTo>
                      <a:pt x="2713" y="3756"/>
                      <a:pt x="2771" y="3698"/>
                      <a:pt x="2814" y="3658"/>
                    </a:cubicBezTo>
                    <a:cubicBezTo>
                      <a:pt x="2747" y="3643"/>
                      <a:pt x="2617" y="3620"/>
                      <a:pt x="2456" y="3611"/>
                    </a:cubicBezTo>
                    <a:cubicBezTo>
                      <a:pt x="2360" y="3605"/>
                      <a:pt x="2278" y="3602"/>
                      <a:pt x="2208" y="3602"/>
                    </a:cubicBezTo>
                    <a:close/>
                    <a:moveTo>
                      <a:pt x="1448" y="3827"/>
                    </a:moveTo>
                    <a:cubicBezTo>
                      <a:pt x="1773" y="4191"/>
                      <a:pt x="1773" y="4191"/>
                      <a:pt x="1773" y="4191"/>
                    </a:cubicBezTo>
                    <a:cubicBezTo>
                      <a:pt x="1774" y="4190"/>
                      <a:pt x="1774" y="4190"/>
                      <a:pt x="1774" y="4190"/>
                    </a:cubicBezTo>
                    <a:cubicBezTo>
                      <a:pt x="1830" y="4248"/>
                      <a:pt x="1830" y="4248"/>
                      <a:pt x="1830" y="4248"/>
                    </a:cubicBezTo>
                    <a:cubicBezTo>
                      <a:pt x="1878" y="4209"/>
                      <a:pt x="1878" y="4209"/>
                      <a:pt x="1878" y="4209"/>
                    </a:cubicBezTo>
                    <a:cubicBezTo>
                      <a:pt x="1506" y="3799"/>
                      <a:pt x="1506" y="3799"/>
                      <a:pt x="1506" y="3799"/>
                    </a:cubicBezTo>
                    <a:cubicBezTo>
                      <a:pt x="1486" y="3808"/>
                      <a:pt x="1467" y="3818"/>
                      <a:pt x="1448" y="3827"/>
                    </a:cubicBezTo>
                    <a:close/>
                    <a:moveTo>
                      <a:pt x="1425" y="3838"/>
                    </a:moveTo>
                    <a:cubicBezTo>
                      <a:pt x="1413" y="3844"/>
                      <a:pt x="1402" y="3850"/>
                      <a:pt x="1392" y="3855"/>
                    </a:cubicBezTo>
                    <a:cubicBezTo>
                      <a:pt x="1716" y="4227"/>
                      <a:pt x="1716" y="4227"/>
                      <a:pt x="1716" y="4227"/>
                    </a:cubicBezTo>
                    <a:cubicBezTo>
                      <a:pt x="1731" y="4217"/>
                      <a:pt x="1743" y="4210"/>
                      <a:pt x="1752" y="4204"/>
                    </a:cubicBezTo>
                    <a:lnTo>
                      <a:pt x="1425" y="3838"/>
                    </a:lnTo>
                    <a:close/>
                    <a:moveTo>
                      <a:pt x="1732" y="4246"/>
                    </a:moveTo>
                    <a:cubicBezTo>
                      <a:pt x="1774" y="4293"/>
                      <a:pt x="1774" y="4293"/>
                      <a:pt x="1774" y="4293"/>
                    </a:cubicBezTo>
                    <a:cubicBezTo>
                      <a:pt x="1811" y="4264"/>
                      <a:pt x="1811" y="4264"/>
                      <a:pt x="1811" y="4264"/>
                    </a:cubicBezTo>
                    <a:cubicBezTo>
                      <a:pt x="1770" y="4222"/>
                      <a:pt x="1770" y="4222"/>
                      <a:pt x="1770" y="4222"/>
                    </a:cubicBezTo>
                    <a:cubicBezTo>
                      <a:pt x="1762" y="4227"/>
                      <a:pt x="1749" y="4235"/>
                      <a:pt x="1732" y="4246"/>
                    </a:cubicBezTo>
                    <a:close/>
                    <a:moveTo>
                      <a:pt x="1294" y="4477"/>
                    </a:moveTo>
                    <a:cubicBezTo>
                      <a:pt x="1317" y="4516"/>
                      <a:pt x="1335" y="4555"/>
                      <a:pt x="1345" y="4588"/>
                    </a:cubicBezTo>
                    <a:cubicBezTo>
                      <a:pt x="1362" y="4652"/>
                      <a:pt x="1389" y="4757"/>
                      <a:pt x="1399" y="4791"/>
                    </a:cubicBezTo>
                    <a:cubicBezTo>
                      <a:pt x="1410" y="4826"/>
                      <a:pt x="1419" y="4883"/>
                      <a:pt x="1526" y="4955"/>
                    </a:cubicBezTo>
                    <a:cubicBezTo>
                      <a:pt x="1601" y="5006"/>
                      <a:pt x="1742" y="5049"/>
                      <a:pt x="1846" y="5073"/>
                    </a:cubicBezTo>
                    <a:cubicBezTo>
                      <a:pt x="1885" y="5083"/>
                      <a:pt x="1916" y="5088"/>
                      <a:pt x="1942" y="5093"/>
                    </a:cubicBezTo>
                    <a:cubicBezTo>
                      <a:pt x="1942" y="5093"/>
                      <a:pt x="1943" y="5093"/>
                      <a:pt x="1943" y="5093"/>
                    </a:cubicBezTo>
                    <a:cubicBezTo>
                      <a:pt x="1963" y="5069"/>
                      <a:pt x="1986" y="5035"/>
                      <a:pt x="2007" y="5007"/>
                    </a:cubicBezTo>
                    <a:cubicBezTo>
                      <a:pt x="2043" y="4959"/>
                      <a:pt x="2076" y="4912"/>
                      <a:pt x="2105" y="4869"/>
                    </a:cubicBezTo>
                    <a:cubicBezTo>
                      <a:pt x="2166" y="4592"/>
                      <a:pt x="2166" y="4592"/>
                      <a:pt x="2166" y="4592"/>
                    </a:cubicBezTo>
                    <a:cubicBezTo>
                      <a:pt x="2118" y="4588"/>
                      <a:pt x="2053" y="4578"/>
                      <a:pt x="1990" y="4550"/>
                    </a:cubicBezTo>
                    <a:cubicBezTo>
                      <a:pt x="1877" y="4502"/>
                      <a:pt x="1790" y="4416"/>
                      <a:pt x="1786" y="4412"/>
                    </a:cubicBezTo>
                    <a:lnTo>
                      <a:pt x="1294" y="4477"/>
                    </a:lnTo>
                    <a:close/>
                    <a:moveTo>
                      <a:pt x="1456" y="4960"/>
                    </a:moveTo>
                    <a:cubicBezTo>
                      <a:pt x="1164" y="5255"/>
                      <a:pt x="1164" y="5255"/>
                      <a:pt x="1164" y="5255"/>
                    </a:cubicBezTo>
                    <a:cubicBezTo>
                      <a:pt x="1258" y="5388"/>
                      <a:pt x="1258" y="5388"/>
                      <a:pt x="1258" y="5388"/>
                    </a:cubicBezTo>
                    <a:cubicBezTo>
                      <a:pt x="1541" y="5302"/>
                      <a:pt x="1541" y="5302"/>
                      <a:pt x="1541" y="5302"/>
                    </a:cubicBezTo>
                    <a:cubicBezTo>
                      <a:pt x="1558" y="5024"/>
                      <a:pt x="1558" y="5024"/>
                      <a:pt x="1558" y="5024"/>
                    </a:cubicBezTo>
                    <a:cubicBezTo>
                      <a:pt x="1538" y="5014"/>
                      <a:pt x="1518" y="5004"/>
                      <a:pt x="1501" y="4993"/>
                    </a:cubicBezTo>
                    <a:cubicBezTo>
                      <a:pt x="1484" y="4982"/>
                      <a:pt x="1470" y="4971"/>
                      <a:pt x="1456" y="4960"/>
                    </a:cubicBezTo>
                    <a:close/>
                    <a:moveTo>
                      <a:pt x="1268" y="5402"/>
                    </a:moveTo>
                    <a:cubicBezTo>
                      <a:pt x="1351" y="5520"/>
                      <a:pt x="1351" y="5520"/>
                      <a:pt x="1351" y="5520"/>
                    </a:cubicBezTo>
                    <a:cubicBezTo>
                      <a:pt x="1520" y="5603"/>
                      <a:pt x="1520" y="5603"/>
                      <a:pt x="1520" y="5603"/>
                    </a:cubicBezTo>
                    <a:cubicBezTo>
                      <a:pt x="1561" y="5554"/>
                      <a:pt x="1679" y="5416"/>
                      <a:pt x="1789" y="5283"/>
                    </a:cubicBezTo>
                    <a:cubicBezTo>
                      <a:pt x="1833" y="5231"/>
                      <a:pt x="1874" y="5178"/>
                      <a:pt x="1911" y="5133"/>
                    </a:cubicBezTo>
                    <a:cubicBezTo>
                      <a:pt x="1890" y="5129"/>
                      <a:pt x="1865" y="5124"/>
                      <a:pt x="1835" y="5117"/>
                    </a:cubicBezTo>
                    <a:cubicBezTo>
                      <a:pt x="1756" y="5098"/>
                      <a:pt x="1655" y="5069"/>
                      <a:pt x="1574" y="5032"/>
                    </a:cubicBezTo>
                    <a:cubicBezTo>
                      <a:pt x="1557" y="5314"/>
                      <a:pt x="1557" y="5314"/>
                      <a:pt x="1557" y="5314"/>
                    </a:cubicBezTo>
                    <a:lnTo>
                      <a:pt x="1268" y="5402"/>
                    </a:lnTo>
                    <a:close/>
                    <a:moveTo>
                      <a:pt x="1583" y="5634"/>
                    </a:moveTo>
                    <a:cubicBezTo>
                      <a:pt x="1607" y="5645"/>
                      <a:pt x="1607" y="5645"/>
                      <a:pt x="1607" y="5645"/>
                    </a:cubicBezTo>
                    <a:cubicBezTo>
                      <a:pt x="1673" y="6120"/>
                      <a:pt x="1673" y="6120"/>
                      <a:pt x="1673" y="6120"/>
                    </a:cubicBezTo>
                    <a:cubicBezTo>
                      <a:pt x="1910" y="6206"/>
                      <a:pt x="1910" y="6206"/>
                      <a:pt x="1910" y="6206"/>
                    </a:cubicBezTo>
                    <a:cubicBezTo>
                      <a:pt x="1910" y="6206"/>
                      <a:pt x="1910" y="6206"/>
                      <a:pt x="1910" y="6206"/>
                    </a:cubicBezTo>
                    <a:cubicBezTo>
                      <a:pt x="2041" y="6253"/>
                      <a:pt x="2041" y="6253"/>
                      <a:pt x="2041" y="6253"/>
                    </a:cubicBezTo>
                    <a:cubicBezTo>
                      <a:pt x="1941" y="5803"/>
                      <a:pt x="1941" y="5803"/>
                      <a:pt x="1941" y="5803"/>
                    </a:cubicBezTo>
                    <a:cubicBezTo>
                      <a:pt x="2069" y="5516"/>
                      <a:pt x="2069" y="5516"/>
                      <a:pt x="2069" y="5516"/>
                    </a:cubicBezTo>
                    <a:cubicBezTo>
                      <a:pt x="2156" y="5158"/>
                      <a:pt x="2156" y="5158"/>
                      <a:pt x="2156" y="5158"/>
                    </a:cubicBezTo>
                    <a:cubicBezTo>
                      <a:pt x="2098" y="5153"/>
                      <a:pt x="2036" y="5147"/>
                      <a:pt x="1992" y="5143"/>
                    </a:cubicBezTo>
                    <a:cubicBezTo>
                      <a:pt x="1950" y="5193"/>
                      <a:pt x="1898" y="5260"/>
                      <a:pt x="1842" y="5327"/>
                    </a:cubicBezTo>
                    <a:cubicBezTo>
                      <a:pt x="1740" y="5450"/>
                      <a:pt x="1632" y="5577"/>
                      <a:pt x="1583" y="5634"/>
                    </a:cubicBezTo>
                    <a:close/>
                    <a:moveTo>
                      <a:pt x="1898" y="6272"/>
                    </a:moveTo>
                    <a:cubicBezTo>
                      <a:pt x="1898" y="6272"/>
                      <a:pt x="1898" y="6272"/>
                      <a:pt x="1898" y="6272"/>
                    </a:cubicBezTo>
                    <a:cubicBezTo>
                      <a:pt x="1898" y="6272"/>
                      <a:pt x="1898" y="6272"/>
                      <a:pt x="1898" y="6272"/>
                    </a:cubicBezTo>
                    <a:close/>
                    <a:moveTo>
                      <a:pt x="1609" y="6722"/>
                    </a:moveTo>
                    <a:cubicBezTo>
                      <a:pt x="1735" y="6799"/>
                      <a:pt x="1735" y="6799"/>
                      <a:pt x="1735" y="6799"/>
                    </a:cubicBezTo>
                    <a:cubicBezTo>
                      <a:pt x="1743" y="6789"/>
                      <a:pt x="1768" y="6764"/>
                      <a:pt x="1802" y="6731"/>
                    </a:cubicBezTo>
                    <a:cubicBezTo>
                      <a:pt x="1705" y="6672"/>
                      <a:pt x="1705" y="6672"/>
                      <a:pt x="1705" y="6672"/>
                    </a:cubicBezTo>
                    <a:cubicBezTo>
                      <a:pt x="1786" y="6532"/>
                      <a:pt x="1786" y="6532"/>
                      <a:pt x="1786" y="6532"/>
                    </a:cubicBezTo>
                    <a:cubicBezTo>
                      <a:pt x="1921" y="6615"/>
                      <a:pt x="1921" y="6615"/>
                      <a:pt x="1921" y="6615"/>
                    </a:cubicBezTo>
                    <a:cubicBezTo>
                      <a:pt x="2027" y="6514"/>
                      <a:pt x="2143" y="6403"/>
                      <a:pt x="2176" y="6372"/>
                    </a:cubicBezTo>
                    <a:cubicBezTo>
                      <a:pt x="1898" y="6272"/>
                      <a:pt x="1898" y="6272"/>
                      <a:pt x="1898" y="6272"/>
                    </a:cubicBezTo>
                    <a:cubicBezTo>
                      <a:pt x="1898" y="6272"/>
                      <a:pt x="1898" y="6272"/>
                      <a:pt x="1898" y="6272"/>
                    </a:cubicBezTo>
                    <a:cubicBezTo>
                      <a:pt x="1898" y="6272"/>
                      <a:pt x="1898" y="6272"/>
                      <a:pt x="1898" y="6272"/>
                    </a:cubicBezTo>
                    <a:lnTo>
                      <a:pt x="1609" y="6722"/>
                    </a:lnTo>
                    <a:close/>
                    <a:moveTo>
                      <a:pt x="1978" y="6946"/>
                    </a:moveTo>
                    <a:cubicBezTo>
                      <a:pt x="2169" y="7062"/>
                      <a:pt x="2169" y="7062"/>
                      <a:pt x="2169" y="7062"/>
                    </a:cubicBezTo>
                    <a:cubicBezTo>
                      <a:pt x="2169" y="7062"/>
                      <a:pt x="2169" y="7061"/>
                      <a:pt x="2170" y="7061"/>
                    </a:cubicBezTo>
                    <a:cubicBezTo>
                      <a:pt x="2176" y="7053"/>
                      <a:pt x="2199" y="7029"/>
                      <a:pt x="2233" y="6996"/>
                    </a:cubicBezTo>
                    <a:cubicBezTo>
                      <a:pt x="2045" y="6880"/>
                      <a:pt x="2045" y="6880"/>
                      <a:pt x="2045" y="6880"/>
                    </a:cubicBezTo>
                    <a:lnTo>
                      <a:pt x="1978" y="6946"/>
                    </a:lnTo>
                    <a:close/>
                    <a:moveTo>
                      <a:pt x="2181" y="7069"/>
                    </a:moveTo>
                    <a:cubicBezTo>
                      <a:pt x="2410" y="7209"/>
                      <a:pt x="2410" y="7209"/>
                      <a:pt x="2410" y="7209"/>
                    </a:cubicBezTo>
                    <a:cubicBezTo>
                      <a:pt x="2476" y="7144"/>
                      <a:pt x="2476" y="7144"/>
                      <a:pt x="2476" y="7144"/>
                    </a:cubicBezTo>
                    <a:cubicBezTo>
                      <a:pt x="2245" y="7003"/>
                      <a:pt x="2245" y="7003"/>
                      <a:pt x="2245" y="7003"/>
                    </a:cubicBezTo>
                    <a:cubicBezTo>
                      <a:pt x="2228" y="7020"/>
                      <a:pt x="2213" y="7035"/>
                      <a:pt x="2202" y="7047"/>
                    </a:cubicBezTo>
                    <a:cubicBezTo>
                      <a:pt x="2194" y="7054"/>
                      <a:pt x="2189" y="7060"/>
                      <a:pt x="2185" y="7064"/>
                    </a:cubicBezTo>
                    <a:cubicBezTo>
                      <a:pt x="2183" y="7066"/>
                      <a:pt x="2182" y="7068"/>
                      <a:pt x="2181" y="7069"/>
                    </a:cubicBezTo>
                    <a:close/>
                    <a:moveTo>
                      <a:pt x="3038" y="6757"/>
                    </a:moveTo>
                    <a:cubicBezTo>
                      <a:pt x="3032" y="6799"/>
                      <a:pt x="3032" y="6799"/>
                      <a:pt x="3032" y="6799"/>
                    </a:cubicBezTo>
                    <a:cubicBezTo>
                      <a:pt x="2985" y="6793"/>
                      <a:pt x="2985" y="6793"/>
                      <a:pt x="2985" y="6793"/>
                    </a:cubicBezTo>
                    <a:cubicBezTo>
                      <a:pt x="2977" y="6852"/>
                      <a:pt x="2977" y="6852"/>
                      <a:pt x="2977" y="6852"/>
                    </a:cubicBezTo>
                    <a:cubicBezTo>
                      <a:pt x="3071" y="6865"/>
                      <a:pt x="3071" y="6865"/>
                      <a:pt x="3071" y="6865"/>
                    </a:cubicBezTo>
                    <a:cubicBezTo>
                      <a:pt x="3085" y="6763"/>
                      <a:pt x="3085" y="6763"/>
                      <a:pt x="3085" y="6763"/>
                    </a:cubicBezTo>
                    <a:lnTo>
                      <a:pt x="3038" y="6757"/>
                    </a:lnTo>
                    <a:close/>
                    <a:moveTo>
                      <a:pt x="3003" y="7472"/>
                    </a:moveTo>
                    <a:cubicBezTo>
                      <a:pt x="3036" y="7475"/>
                      <a:pt x="3072" y="7478"/>
                      <a:pt x="3108" y="7481"/>
                    </a:cubicBezTo>
                    <a:cubicBezTo>
                      <a:pt x="3113" y="7449"/>
                      <a:pt x="3135" y="7289"/>
                      <a:pt x="3157" y="7124"/>
                    </a:cubicBezTo>
                    <a:cubicBezTo>
                      <a:pt x="3179" y="6956"/>
                      <a:pt x="3202" y="6784"/>
                      <a:pt x="3206" y="6746"/>
                    </a:cubicBezTo>
                    <a:cubicBezTo>
                      <a:pt x="3106" y="6710"/>
                      <a:pt x="3106" y="6710"/>
                      <a:pt x="3106" y="6710"/>
                    </a:cubicBezTo>
                    <a:cubicBezTo>
                      <a:pt x="3100" y="6752"/>
                      <a:pt x="3100" y="6752"/>
                      <a:pt x="3100" y="6752"/>
                    </a:cubicBezTo>
                    <a:cubicBezTo>
                      <a:pt x="3142" y="6758"/>
                      <a:pt x="3142" y="6758"/>
                      <a:pt x="3142" y="6758"/>
                    </a:cubicBezTo>
                    <a:cubicBezTo>
                      <a:pt x="3136" y="6800"/>
                      <a:pt x="3136" y="6800"/>
                      <a:pt x="3136" y="6800"/>
                    </a:cubicBezTo>
                    <a:cubicBezTo>
                      <a:pt x="3183" y="6807"/>
                      <a:pt x="3183" y="6807"/>
                      <a:pt x="3183" y="6807"/>
                    </a:cubicBezTo>
                    <a:cubicBezTo>
                      <a:pt x="3171" y="6892"/>
                      <a:pt x="3171" y="6892"/>
                      <a:pt x="3171" y="6892"/>
                    </a:cubicBezTo>
                    <a:cubicBezTo>
                      <a:pt x="3083" y="6880"/>
                      <a:pt x="3083" y="6880"/>
                      <a:pt x="3083" y="6880"/>
                    </a:cubicBezTo>
                    <a:lnTo>
                      <a:pt x="3003" y="7472"/>
                    </a:lnTo>
                    <a:close/>
                    <a:moveTo>
                      <a:pt x="3240" y="7491"/>
                    </a:moveTo>
                    <a:cubicBezTo>
                      <a:pt x="3301" y="7496"/>
                      <a:pt x="3349" y="7500"/>
                      <a:pt x="3366" y="7501"/>
                    </a:cubicBezTo>
                    <a:cubicBezTo>
                      <a:pt x="3452" y="6835"/>
                      <a:pt x="3452" y="6835"/>
                      <a:pt x="3452" y="6835"/>
                    </a:cubicBezTo>
                    <a:cubicBezTo>
                      <a:pt x="3337" y="6794"/>
                      <a:pt x="3337" y="6794"/>
                      <a:pt x="3337" y="6794"/>
                    </a:cubicBezTo>
                    <a:cubicBezTo>
                      <a:pt x="3336" y="6803"/>
                      <a:pt x="3334" y="6819"/>
                      <a:pt x="3331" y="6840"/>
                    </a:cubicBezTo>
                    <a:cubicBezTo>
                      <a:pt x="3384" y="6847"/>
                      <a:pt x="3384" y="6847"/>
                      <a:pt x="3384" y="6847"/>
                    </a:cubicBezTo>
                    <a:cubicBezTo>
                      <a:pt x="3378" y="6890"/>
                      <a:pt x="3378" y="6890"/>
                      <a:pt x="3378" y="6890"/>
                    </a:cubicBezTo>
                    <a:cubicBezTo>
                      <a:pt x="3425" y="6896"/>
                      <a:pt x="3425" y="6896"/>
                      <a:pt x="3425" y="6896"/>
                    </a:cubicBezTo>
                    <a:cubicBezTo>
                      <a:pt x="3413" y="6982"/>
                      <a:pt x="3413" y="6982"/>
                      <a:pt x="3413" y="6982"/>
                    </a:cubicBezTo>
                    <a:cubicBezTo>
                      <a:pt x="3312" y="6968"/>
                      <a:pt x="3312" y="6968"/>
                      <a:pt x="3312" y="6968"/>
                    </a:cubicBezTo>
                    <a:cubicBezTo>
                      <a:pt x="3305" y="7016"/>
                      <a:pt x="3297" y="7070"/>
                      <a:pt x="3289" y="7125"/>
                    </a:cubicBezTo>
                    <a:cubicBezTo>
                      <a:pt x="3265" y="7294"/>
                      <a:pt x="3241" y="7470"/>
                      <a:pt x="3240" y="7491"/>
                    </a:cubicBezTo>
                    <a:close/>
                    <a:moveTo>
                      <a:pt x="3365" y="7619"/>
                    </a:moveTo>
                    <a:cubicBezTo>
                      <a:pt x="3377" y="7616"/>
                      <a:pt x="3387" y="7615"/>
                      <a:pt x="3391" y="7614"/>
                    </a:cubicBezTo>
                    <a:cubicBezTo>
                      <a:pt x="3475" y="7594"/>
                      <a:pt x="3603" y="7589"/>
                      <a:pt x="3713" y="7589"/>
                    </a:cubicBezTo>
                    <a:cubicBezTo>
                      <a:pt x="3738" y="7589"/>
                      <a:pt x="3761" y="7589"/>
                      <a:pt x="3782" y="7590"/>
                    </a:cubicBezTo>
                    <a:cubicBezTo>
                      <a:pt x="3785" y="7572"/>
                      <a:pt x="3794" y="7500"/>
                      <a:pt x="3804" y="7427"/>
                    </a:cubicBezTo>
                    <a:cubicBezTo>
                      <a:pt x="3810" y="7386"/>
                      <a:pt x="3815" y="7344"/>
                      <a:pt x="3820" y="7313"/>
                    </a:cubicBezTo>
                    <a:cubicBezTo>
                      <a:pt x="3822" y="7298"/>
                      <a:pt x="3824" y="7285"/>
                      <a:pt x="3825" y="7276"/>
                    </a:cubicBezTo>
                    <a:cubicBezTo>
                      <a:pt x="3825" y="7273"/>
                      <a:pt x="3826" y="7271"/>
                      <a:pt x="3826" y="7269"/>
                    </a:cubicBezTo>
                    <a:cubicBezTo>
                      <a:pt x="3422" y="7173"/>
                      <a:pt x="3422" y="7173"/>
                      <a:pt x="3422" y="7173"/>
                    </a:cubicBezTo>
                    <a:cubicBezTo>
                      <a:pt x="3426" y="7159"/>
                      <a:pt x="3426" y="7159"/>
                      <a:pt x="3426" y="7159"/>
                    </a:cubicBezTo>
                    <a:cubicBezTo>
                      <a:pt x="3831" y="7256"/>
                      <a:pt x="3831" y="7256"/>
                      <a:pt x="3831" y="7256"/>
                    </a:cubicBezTo>
                    <a:cubicBezTo>
                      <a:pt x="3832" y="7256"/>
                      <a:pt x="3833" y="7256"/>
                      <a:pt x="3834" y="7255"/>
                    </a:cubicBezTo>
                    <a:cubicBezTo>
                      <a:pt x="3834" y="7255"/>
                      <a:pt x="3837" y="7255"/>
                      <a:pt x="3840" y="7258"/>
                    </a:cubicBezTo>
                    <a:cubicBezTo>
                      <a:pt x="3840" y="7258"/>
                      <a:pt x="3840" y="7258"/>
                      <a:pt x="3840" y="7258"/>
                    </a:cubicBezTo>
                    <a:cubicBezTo>
                      <a:pt x="4110" y="7323"/>
                      <a:pt x="4110" y="7323"/>
                      <a:pt x="4110" y="7323"/>
                    </a:cubicBezTo>
                    <a:cubicBezTo>
                      <a:pt x="4259" y="7128"/>
                      <a:pt x="4259" y="7128"/>
                      <a:pt x="4259" y="7128"/>
                    </a:cubicBezTo>
                    <a:cubicBezTo>
                      <a:pt x="3465" y="6840"/>
                      <a:pt x="3465" y="6840"/>
                      <a:pt x="3465" y="6840"/>
                    </a:cubicBezTo>
                    <a:lnTo>
                      <a:pt x="3365" y="7619"/>
                    </a:lnTo>
                    <a:close/>
                    <a:moveTo>
                      <a:pt x="3839" y="7273"/>
                    </a:moveTo>
                    <a:cubicBezTo>
                      <a:pt x="3833" y="7320"/>
                      <a:pt x="3802" y="7553"/>
                      <a:pt x="3797" y="7590"/>
                    </a:cubicBezTo>
                    <a:cubicBezTo>
                      <a:pt x="3844" y="7591"/>
                      <a:pt x="3882" y="7592"/>
                      <a:pt x="3902" y="7593"/>
                    </a:cubicBezTo>
                    <a:cubicBezTo>
                      <a:pt x="4101" y="7335"/>
                      <a:pt x="4101" y="7335"/>
                      <a:pt x="4101" y="7335"/>
                    </a:cubicBezTo>
                    <a:lnTo>
                      <a:pt x="3839" y="7273"/>
                    </a:lnTo>
                    <a:close/>
                    <a:moveTo>
                      <a:pt x="3261" y="7724"/>
                    </a:moveTo>
                    <a:cubicBezTo>
                      <a:pt x="3523" y="7837"/>
                      <a:pt x="3523" y="7837"/>
                      <a:pt x="3523" y="7837"/>
                    </a:cubicBezTo>
                    <a:cubicBezTo>
                      <a:pt x="3534" y="7858"/>
                      <a:pt x="3534" y="7858"/>
                      <a:pt x="3534" y="7858"/>
                    </a:cubicBezTo>
                    <a:cubicBezTo>
                      <a:pt x="3647" y="7792"/>
                      <a:pt x="3647" y="7792"/>
                      <a:pt x="3647" y="7792"/>
                    </a:cubicBezTo>
                    <a:cubicBezTo>
                      <a:pt x="3699" y="7882"/>
                      <a:pt x="3699" y="7882"/>
                      <a:pt x="3699" y="7882"/>
                    </a:cubicBezTo>
                    <a:cubicBezTo>
                      <a:pt x="3580" y="7951"/>
                      <a:pt x="3580" y="7951"/>
                      <a:pt x="3580" y="7951"/>
                    </a:cubicBezTo>
                    <a:cubicBezTo>
                      <a:pt x="3589" y="7968"/>
                      <a:pt x="3589" y="7968"/>
                      <a:pt x="3589" y="7968"/>
                    </a:cubicBezTo>
                    <a:cubicBezTo>
                      <a:pt x="3604" y="7994"/>
                      <a:pt x="3604" y="7994"/>
                      <a:pt x="3604" y="7994"/>
                    </a:cubicBezTo>
                    <a:cubicBezTo>
                      <a:pt x="3602" y="7995"/>
                      <a:pt x="3602" y="7995"/>
                      <a:pt x="3602" y="7995"/>
                    </a:cubicBezTo>
                    <a:cubicBezTo>
                      <a:pt x="3606" y="8002"/>
                      <a:pt x="3606" y="8002"/>
                      <a:pt x="3606" y="8002"/>
                    </a:cubicBezTo>
                    <a:cubicBezTo>
                      <a:pt x="3957" y="7806"/>
                      <a:pt x="3957" y="7806"/>
                      <a:pt x="3957" y="7806"/>
                    </a:cubicBezTo>
                    <a:cubicBezTo>
                      <a:pt x="3896" y="7659"/>
                      <a:pt x="3896" y="7659"/>
                      <a:pt x="3896" y="7659"/>
                    </a:cubicBezTo>
                    <a:cubicBezTo>
                      <a:pt x="3863" y="7657"/>
                      <a:pt x="3793" y="7655"/>
                      <a:pt x="3713" y="7655"/>
                    </a:cubicBezTo>
                    <a:cubicBezTo>
                      <a:pt x="3605" y="7654"/>
                      <a:pt x="3476" y="7660"/>
                      <a:pt x="3405" y="7679"/>
                    </a:cubicBezTo>
                    <a:cubicBezTo>
                      <a:pt x="3402" y="7679"/>
                      <a:pt x="3402" y="7679"/>
                      <a:pt x="3402" y="7679"/>
                    </a:cubicBezTo>
                    <a:cubicBezTo>
                      <a:pt x="3399" y="7680"/>
                      <a:pt x="3399" y="7680"/>
                      <a:pt x="3399" y="7680"/>
                    </a:cubicBezTo>
                    <a:cubicBezTo>
                      <a:pt x="3399" y="7680"/>
                      <a:pt x="3398" y="7680"/>
                      <a:pt x="3395" y="7680"/>
                    </a:cubicBezTo>
                    <a:cubicBezTo>
                      <a:pt x="3379" y="7682"/>
                      <a:pt x="3327" y="7691"/>
                      <a:pt x="3261" y="7724"/>
                    </a:cubicBezTo>
                    <a:close/>
                    <a:moveTo>
                      <a:pt x="3547" y="7921"/>
                    </a:moveTo>
                    <a:cubicBezTo>
                      <a:pt x="3441" y="7982"/>
                      <a:pt x="3441" y="7982"/>
                      <a:pt x="3441" y="7982"/>
                    </a:cubicBezTo>
                    <a:cubicBezTo>
                      <a:pt x="3480" y="8050"/>
                      <a:pt x="3480" y="8050"/>
                      <a:pt x="3480" y="8050"/>
                    </a:cubicBezTo>
                    <a:cubicBezTo>
                      <a:pt x="3584" y="7990"/>
                      <a:pt x="3584" y="7990"/>
                      <a:pt x="3584" y="7990"/>
                    </a:cubicBezTo>
                    <a:cubicBezTo>
                      <a:pt x="3569" y="7959"/>
                      <a:pt x="3569" y="7959"/>
                      <a:pt x="3569" y="7959"/>
                    </a:cubicBezTo>
                    <a:lnTo>
                      <a:pt x="3547" y="7921"/>
                    </a:lnTo>
                    <a:close/>
                    <a:moveTo>
                      <a:pt x="3566" y="7922"/>
                    </a:moveTo>
                    <a:cubicBezTo>
                      <a:pt x="3576" y="7939"/>
                      <a:pt x="3576" y="7939"/>
                      <a:pt x="3576" y="7939"/>
                    </a:cubicBezTo>
                    <a:cubicBezTo>
                      <a:pt x="3681" y="7878"/>
                      <a:pt x="3681" y="7878"/>
                      <a:pt x="3681" y="7878"/>
                    </a:cubicBezTo>
                    <a:cubicBezTo>
                      <a:pt x="3642" y="7810"/>
                      <a:pt x="3642" y="7810"/>
                      <a:pt x="3642" y="7810"/>
                    </a:cubicBezTo>
                    <a:cubicBezTo>
                      <a:pt x="3539" y="7869"/>
                      <a:pt x="3539" y="7869"/>
                      <a:pt x="3539" y="7869"/>
                    </a:cubicBezTo>
                    <a:lnTo>
                      <a:pt x="3566" y="7922"/>
                    </a:lnTo>
                    <a:close/>
                    <a:moveTo>
                      <a:pt x="3245" y="7732"/>
                    </a:moveTo>
                    <a:cubicBezTo>
                      <a:pt x="3212" y="7750"/>
                      <a:pt x="3177" y="7773"/>
                      <a:pt x="3142" y="7805"/>
                    </a:cubicBezTo>
                    <a:cubicBezTo>
                      <a:pt x="3120" y="7824"/>
                      <a:pt x="3092" y="7847"/>
                      <a:pt x="3061" y="7871"/>
                    </a:cubicBezTo>
                    <a:cubicBezTo>
                      <a:pt x="3088" y="7890"/>
                      <a:pt x="3133" y="7920"/>
                      <a:pt x="3177" y="7949"/>
                    </a:cubicBezTo>
                    <a:cubicBezTo>
                      <a:pt x="3240" y="7992"/>
                      <a:pt x="3301" y="8031"/>
                      <a:pt x="3301" y="8031"/>
                    </a:cubicBezTo>
                    <a:cubicBezTo>
                      <a:pt x="3302" y="8032"/>
                      <a:pt x="3302" y="8032"/>
                      <a:pt x="3302" y="8032"/>
                    </a:cubicBezTo>
                    <a:cubicBezTo>
                      <a:pt x="3382" y="8127"/>
                      <a:pt x="3382" y="8127"/>
                      <a:pt x="3382" y="8127"/>
                    </a:cubicBezTo>
                    <a:cubicBezTo>
                      <a:pt x="3594" y="8009"/>
                      <a:pt x="3594" y="8009"/>
                      <a:pt x="3594" y="8009"/>
                    </a:cubicBezTo>
                    <a:cubicBezTo>
                      <a:pt x="3590" y="8002"/>
                      <a:pt x="3590" y="8002"/>
                      <a:pt x="3590" y="8002"/>
                    </a:cubicBezTo>
                    <a:cubicBezTo>
                      <a:pt x="3476" y="8068"/>
                      <a:pt x="3476" y="8068"/>
                      <a:pt x="3476" y="8068"/>
                    </a:cubicBezTo>
                    <a:cubicBezTo>
                      <a:pt x="3472" y="8062"/>
                      <a:pt x="3472" y="8062"/>
                      <a:pt x="3472" y="8062"/>
                    </a:cubicBezTo>
                    <a:cubicBezTo>
                      <a:pt x="3423" y="7977"/>
                      <a:pt x="3423" y="7977"/>
                      <a:pt x="3423" y="7977"/>
                    </a:cubicBezTo>
                    <a:cubicBezTo>
                      <a:pt x="3543" y="7908"/>
                      <a:pt x="3543" y="7908"/>
                      <a:pt x="3543" y="7908"/>
                    </a:cubicBezTo>
                    <a:cubicBezTo>
                      <a:pt x="3519" y="7866"/>
                      <a:pt x="3519" y="7866"/>
                      <a:pt x="3519" y="7866"/>
                    </a:cubicBezTo>
                    <a:cubicBezTo>
                      <a:pt x="3522" y="7865"/>
                      <a:pt x="3522" y="7865"/>
                      <a:pt x="3522" y="7865"/>
                    </a:cubicBezTo>
                    <a:cubicBezTo>
                      <a:pt x="3513" y="7848"/>
                      <a:pt x="3513" y="7848"/>
                      <a:pt x="3513" y="7848"/>
                    </a:cubicBezTo>
                    <a:lnTo>
                      <a:pt x="3245" y="7732"/>
                    </a:lnTo>
                    <a:close/>
                    <a:moveTo>
                      <a:pt x="4314" y="8278"/>
                    </a:moveTo>
                    <a:cubicBezTo>
                      <a:pt x="4320" y="8289"/>
                      <a:pt x="4325" y="8298"/>
                      <a:pt x="4330" y="8308"/>
                    </a:cubicBezTo>
                    <a:cubicBezTo>
                      <a:pt x="4366" y="8287"/>
                      <a:pt x="4453" y="8238"/>
                      <a:pt x="4555" y="8181"/>
                    </a:cubicBezTo>
                    <a:cubicBezTo>
                      <a:pt x="4417" y="7940"/>
                      <a:pt x="4417" y="7940"/>
                      <a:pt x="4417" y="7940"/>
                    </a:cubicBezTo>
                    <a:cubicBezTo>
                      <a:pt x="4197" y="8073"/>
                      <a:pt x="4197" y="8073"/>
                      <a:pt x="4197" y="8073"/>
                    </a:cubicBezTo>
                    <a:cubicBezTo>
                      <a:pt x="4199" y="8075"/>
                      <a:pt x="4200" y="8078"/>
                      <a:pt x="4201" y="8080"/>
                    </a:cubicBezTo>
                    <a:cubicBezTo>
                      <a:pt x="4241" y="8148"/>
                      <a:pt x="4281" y="8218"/>
                      <a:pt x="4314" y="8278"/>
                    </a:cubicBezTo>
                    <a:close/>
                    <a:moveTo>
                      <a:pt x="4410" y="7928"/>
                    </a:moveTo>
                    <a:cubicBezTo>
                      <a:pt x="4279" y="7700"/>
                      <a:pt x="4279" y="7700"/>
                      <a:pt x="4279" y="7700"/>
                    </a:cubicBezTo>
                    <a:cubicBezTo>
                      <a:pt x="4076" y="7815"/>
                      <a:pt x="4076" y="7815"/>
                      <a:pt x="4076" y="7815"/>
                    </a:cubicBezTo>
                    <a:cubicBezTo>
                      <a:pt x="4052" y="7829"/>
                      <a:pt x="4052" y="7829"/>
                      <a:pt x="4052" y="7829"/>
                    </a:cubicBezTo>
                    <a:cubicBezTo>
                      <a:pt x="4067" y="7854"/>
                      <a:pt x="4126" y="7951"/>
                      <a:pt x="4190" y="8061"/>
                    </a:cubicBezTo>
                    <a:lnTo>
                      <a:pt x="4410" y="7928"/>
                    </a:lnTo>
                    <a:close/>
                    <a:moveTo>
                      <a:pt x="4599" y="7442"/>
                    </a:moveTo>
                    <a:cubicBezTo>
                      <a:pt x="4595" y="7430"/>
                      <a:pt x="4590" y="7413"/>
                      <a:pt x="4583" y="7390"/>
                    </a:cubicBezTo>
                    <a:cubicBezTo>
                      <a:pt x="4551" y="7288"/>
                      <a:pt x="4496" y="7099"/>
                      <a:pt x="4488" y="7073"/>
                    </a:cubicBezTo>
                    <a:cubicBezTo>
                      <a:pt x="4446" y="7072"/>
                      <a:pt x="4406" y="7072"/>
                      <a:pt x="4383" y="7071"/>
                    </a:cubicBezTo>
                    <a:cubicBezTo>
                      <a:pt x="4373" y="7084"/>
                      <a:pt x="4365" y="7095"/>
                      <a:pt x="4358" y="7104"/>
                    </a:cubicBezTo>
                    <a:cubicBezTo>
                      <a:pt x="4358" y="7104"/>
                      <a:pt x="4358" y="7104"/>
                      <a:pt x="4358" y="7104"/>
                    </a:cubicBezTo>
                    <a:cubicBezTo>
                      <a:pt x="3955" y="7632"/>
                      <a:pt x="3955" y="7632"/>
                      <a:pt x="3955" y="7632"/>
                    </a:cubicBezTo>
                    <a:cubicBezTo>
                      <a:pt x="4015" y="7774"/>
                      <a:pt x="4015" y="7774"/>
                      <a:pt x="4015" y="7774"/>
                    </a:cubicBezTo>
                    <a:cubicBezTo>
                      <a:pt x="4044" y="7758"/>
                      <a:pt x="4044" y="7758"/>
                      <a:pt x="4044" y="7758"/>
                    </a:cubicBezTo>
                    <a:lnTo>
                      <a:pt x="4599" y="7442"/>
                    </a:lnTo>
                    <a:close/>
                    <a:moveTo>
                      <a:pt x="4611" y="7434"/>
                    </a:moveTo>
                    <a:cubicBezTo>
                      <a:pt x="4611" y="7435"/>
                      <a:pt x="4611" y="7435"/>
                      <a:pt x="4611" y="7435"/>
                    </a:cubicBezTo>
                    <a:cubicBezTo>
                      <a:pt x="5105" y="7154"/>
                      <a:pt x="5105" y="7154"/>
                      <a:pt x="5105" y="7154"/>
                    </a:cubicBezTo>
                    <a:cubicBezTo>
                      <a:pt x="5101" y="7145"/>
                      <a:pt x="5098" y="7136"/>
                      <a:pt x="5092" y="7123"/>
                    </a:cubicBezTo>
                    <a:cubicBezTo>
                      <a:pt x="5078" y="7088"/>
                      <a:pt x="5055" y="7039"/>
                      <a:pt x="5024" y="6987"/>
                    </a:cubicBezTo>
                    <a:cubicBezTo>
                      <a:pt x="4987" y="6923"/>
                      <a:pt x="4965" y="6867"/>
                      <a:pt x="4953" y="6830"/>
                    </a:cubicBezTo>
                    <a:cubicBezTo>
                      <a:pt x="4953" y="6831"/>
                      <a:pt x="4953" y="6831"/>
                      <a:pt x="4953" y="6831"/>
                    </a:cubicBezTo>
                    <a:cubicBezTo>
                      <a:pt x="4953" y="6829"/>
                      <a:pt x="4953" y="6829"/>
                      <a:pt x="4953" y="6829"/>
                    </a:cubicBezTo>
                    <a:cubicBezTo>
                      <a:pt x="4952" y="6828"/>
                      <a:pt x="4952" y="6826"/>
                      <a:pt x="4951" y="6825"/>
                    </a:cubicBezTo>
                    <a:cubicBezTo>
                      <a:pt x="4951" y="6823"/>
                      <a:pt x="4950" y="6822"/>
                      <a:pt x="4950" y="6820"/>
                    </a:cubicBezTo>
                    <a:cubicBezTo>
                      <a:pt x="4950" y="6819"/>
                      <a:pt x="4950" y="6819"/>
                      <a:pt x="4949" y="6818"/>
                    </a:cubicBezTo>
                    <a:cubicBezTo>
                      <a:pt x="4949" y="6816"/>
                      <a:pt x="4948" y="6815"/>
                      <a:pt x="4948" y="6812"/>
                    </a:cubicBezTo>
                    <a:cubicBezTo>
                      <a:pt x="4947" y="6810"/>
                      <a:pt x="4946" y="6808"/>
                      <a:pt x="4946" y="6806"/>
                    </a:cubicBezTo>
                    <a:cubicBezTo>
                      <a:pt x="4946" y="6805"/>
                      <a:pt x="4946" y="6804"/>
                      <a:pt x="4946" y="6803"/>
                    </a:cubicBezTo>
                    <a:cubicBezTo>
                      <a:pt x="4945" y="6801"/>
                      <a:pt x="4945" y="6799"/>
                      <a:pt x="4944" y="6797"/>
                    </a:cubicBezTo>
                    <a:cubicBezTo>
                      <a:pt x="4899" y="6821"/>
                      <a:pt x="4749" y="6901"/>
                      <a:pt x="4719" y="6917"/>
                    </a:cubicBezTo>
                    <a:cubicBezTo>
                      <a:pt x="4718" y="6930"/>
                      <a:pt x="4718" y="6944"/>
                      <a:pt x="4717" y="6956"/>
                    </a:cubicBezTo>
                    <a:cubicBezTo>
                      <a:pt x="4714" y="6989"/>
                      <a:pt x="4712" y="7017"/>
                      <a:pt x="4711" y="7037"/>
                    </a:cubicBezTo>
                    <a:cubicBezTo>
                      <a:pt x="4710" y="7046"/>
                      <a:pt x="4710" y="7054"/>
                      <a:pt x="4709" y="7059"/>
                    </a:cubicBezTo>
                    <a:cubicBezTo>
                      <a:pt x="4709" y="7062"/>
                      <a:pt x="4709" y="7064"/>
                      <a:pt x="4708" y="7066"/>
                    </a:cubicBezTo>
                    <a:cubicBezTo>
                      <a:pt x="4708" y="7067"/>
                      <a:pt x="4708" y="7067"/>
                      <a:pt x="4708" y="7068"/>
                    </a:cubicBezTo>
                    <a:cubicBezTo>
                      <a:pt x="4708" y="7068"/>
                      <a:pt x="4708" y="7068"/>
                      <a:pt x="4708" y="7069"/>
                    </a:cubicBezTo>
                    <a:cubicBezTo>
                      <a:pt x="4707" y="7070"/>
                      <a:pt x="4709" y="7070"/>
                      <a:pt x="4704" y="7074"/>
                    </a:cubicBezTo>
                    <a:cubicBezTo>
                      <a:pt x="4701" y="7075"/>
                      <a:pt x="4700" y="7075"/>
                      <a:pt x="4700" y="7075"/>
                    </a:cubicBezTo>
                    <a:cubicBezTo>
                      <a:pt x="4700" y="7075"/>
                      <a:pt x="4700" y="7075"/>
                      <a:pt x="4699" y="7075"/>
                    </a:cubicBezTo>
                    <a:cubicBezTo>
                      <a:pt x="4697" y="7075"/>
                      <a:pt x="4693" y="7075"/>
                      <a:pt x="4687" y="7075"/>
                    </a:cubicBezTo>
                    <a:cubicBezTo>
                      <a:pt x="4657" y="7075"/>
                      <a:pt x="4577" y="7074"/>
                      <a:pt x="4503" y="7073"/>
                    </a:cubicBezTo>
                    <a:cubicBezTo>
                      <a:pt x="4510" y="7097"/>
                      <a:pt x="4533" y="7177"/>
                      <a:pt x="4558" y="7258"/>
                    </a:cubicBezTo>
                    <a:cubicBezTo>
                      <a:pt x="4572" y="7307"/>
                      <a:pt x="4586" y="7355"/>
                      <a:pt x="4598" y="7391"/>
                    </a:cubicBezTo>
                    <a:cubicBezTo>
                      <a:pt x="4603" y="7409"/>
                      <a:pt x="4608" y="7424"/>
                      <a:pt x="4611" y="7434"/>
                    </a:cubicBezTo>
                    <a:close/>
                    <a:moveTo>
                      <a:pt x="5144" y="7131"/>
                    </a:moveTo>
                    <a:cubicBezTo>
                      <a:pt x="5610" y="6794"/>
                      <a:pt x="5610" y="6794"/>
                      <a:pt x="5610" y="6794"/>
                    </a:cubicBezTo>
                    <a:cubicBezTo>
                      <a:pt x="5632" y="6703"/>
                      <a:pt x="5632" y="6703"/>
                      <a:pt x="5632" y="6703"/>
                    </a:cubicBezTo>
                    <a:cubicBezTo>
                      <a:pt x="5666" y="6401"/>
                      <a:pt x="5666" y="6401"/>
                      <a:pt x="5666" y="6401"/>
                    </a:cubicBezTo>
                    <a:cubicBezTo>
                      <a:pt x="5618" y="6393"/>
                      <a:pt x="5462" y="6362"/>
                      <a:pt x="5417" y="6354"/>
                    </a:cubicBezTo>
                    <a:cubicBezTo>
                      <a:pt x="5377" y="6348"/>
                      <a:pt x="5377" y="6348"/>
                      <a:pt x="5377" y="6348"/>
                    </a:cubicBezTo>
                    <a:cubicBezTo>
                      <a:pt x="5368" y="6366"/>
                      <a:pt x="5334" y="6429"/>
                      <a:pt x="5299" y="6492"/>
                    </a:cubicBezTo>
                    <a:cubicBezTo>
                      <a:pt x="5279" y="6529"/>
                      <a:pt x="5259" y="6566"/>
                      <a:pt x="5243" y="6594"/>
                    </a:cubicBezTo>
                    <a:cubicBezTo>
                      <a:pt x="5235" y="6608"/>
                      <a:pt x="5229" y="6620"/>
                      <a:pt x="5224" y="6628"/>
                    </a:cubicBezTo>
                    <a:cubicBezTo>
                      <a:pt x="5221" y="6632"/>
                      <a:pt x="5219" y="6635"/>
                      <a:pt x="5218" y="6638"/>
                    </a:cubicBezTo>
                    <a:cubicBezTo>
                      <a:pt x="5217" y="6639"/>
                      <a:pt x="5217" y="6640"/>
                      <a:pt x="5216" y="6641"/>
                    </a:cubicBezTo>
                    <a:cubicBezTo>
                      <a:pt x="5215" y="6642"/>
                      <a:pt x="5216" y="6642"/>
                      <a:pt x="5212" y="6644"/>
                    </a:cubicBezTo>
                    <a:cubicBezTo>
                      <a:pt x="5212" y="6644"/>
                      <a:pt x="5212" y="6644"/>
                      <a:pt x="5212" y="6644"/>
                    </a:cubicBezTo>
                    <a:cubicBezTo>
                      <a:pt x="5212" y="6644"/>
                      <a:pt x="5212" y="6644"/>
                      <a:pt x="5212" y="6644"/>
                    </a:cubicBezTo>
                    <a:cubicBezTo>
                      <a:pt x="5206" y="6648"/>
                      <a:pt x="5149" y="6691"/>
                      <a:pt x="5095" y="6732"/>
                    </a:cubicBezTo>
                    <a:cubicBezTo>
                      <a:pt x="5052" y="6765"/>
                      <a:pt x="5010" y="6796"/>
                      <a:pt x="4994" y="6809"/>
                    </a:cubicBezTo>
                    <a:cubicBezTo>
                      <a:pt x="5005" y="6844"/>
                      <a:pt x="5026" y="6902"/>
                      <a:pt x="5063" y="6964"/>
                    </a:cubicBezTo>
                    <a:cubicBezTo>
                      <a:pt x="5103" y="7032"/>
                      <a:pt x="5130" y="7093"/>
                      <a:pt x="5144" y="7131"/>
                    </a:cubicBezTo>
                    <a:close/>
                    <a:moveTo>
                      <a:pt x="5605" y="6997"/>
                    </a:moveTo>
                    <a:cubicBezTo>
                      <a:pt x="6038" y="7378"/>
                      <a:pt x="6038" y="7378"/>
                      <a:pt x="6038" y="7378"/>
                    </a:cubicBezTo>
                    <a:cubicBezTo>
                      <a:pt x="6119" y="7104"/>
                      <a:pt x="6119" y="7104"/>
                      <a:pt x="6119" y="7104"/>
                    </a:cubicBezTo>
                    <a:cubicBezTo>
                      <a:pt x="6177" y="7009"/>
                      <a:pt x="6177" y="7009"/>
                      <a:pt x="6177" y="7009"/>
                    </a:cubicBezTo>
                    <a:cubicBezTo>
                      <a:pt x="6181" y="7009"/>
                      <a:pt x="6181" y="7009"/>
                      <a:pt x="6181" y="7009"/>
                    </a:cubicBezTo>
                    <a:cubicBezTo>
                      <a:pt x="6181" y="7009"/>
                      <a:pt x="6182" y="7010"/>
                      <a:pt x="6183" y="7010"/>
                    </a:cubicBezTo>
                    <a:cubicBezTo>
                      <a:pt x="6214" y="6738"/>
                      <a:pt x="6214" y="6738"/>
                      <a:pt x="6214" y="6738"/>
                    </a:cubicBezTo>
                    <a:cubicBezTo>
                      <a:pt x="6047" y="6745"/>
                      <a:pt x="5838" y="6746"/>
                      <a:pt x="5789" y="6746"/>
                    </a:cubicBezTo>
                    <a:cubicBezTo>
                      <a:pt x="5668" y="6833"/>
                      <a:pt x="5668" y="6833"/>
                      <a:pt x="5668" y="6833"/>
                    </a:cubicBezTo>
                    <a:cubicBezTo>
                      <a:pt x="5667" y="6837"/>
                      <a:pt x="5667" y="6837"/>
                      <a:pt x="5667" y="6837"/>
                    </a:cubicBezTo>
                    <a:lnTo>
                      <a:pt x="5605" y="6997"/>
                    </a:lnTo>
                    <a:close/>
                    <a:moveTo>
                      <a:pt x="6256" y="4549"/>
                    </a:moveTo>
                    <a:cubicBezTo>
                      <a:pt x="6296" y="4351"/>
                      <a:pt x="6296" y="4351"/>
                      <a:pt x="6296" y="4351"/>
                    </a:cubicBezTo>
                    <a:cubicBezTo>
                      <a:pt x="6244" y="4346"/>
                      <a:pt x="6196" y="4341"/>
                      <a:pt x="6160" y="4337"/>
                    </a:cubicBezTo>
                    <a:cubicBezTo>
                      <a:pt x="6118" y="4540"/>
                      <a:pt x="6118" y="4540"/>
                      <a:pt x="6118" y="4540"/>
                    </a:cubicBezTo>
                    <a:cubicBezTo>
                      <a:pt x="6155" y="4543"/>
                      <a:pt x="6203" y="4546"/>
                      <a:pt x="6256" y="4549"/>
                    </a:cubicBezTo>
                    <a:close/>
                    <a:moveTo>
                      <a:pt x="6137" y="4556"/>
                    </a:moveTo>
                    <a:cubicBezTo>
                      <a:pt x="6129" y="4555"/>
                      <a:pt x="6122" y="4555"/>
                      <a:pt x="6115" y="4554"/>
                    </a:cubicBezTo>
                    <a:cubicBezTo>
                      <a:pt x="6084" y="4702"/>
                      <a:pt x="6084" y="4702"/>
                      <a:pt x="6084" y="4702"/>
                    </a:cubicBezTo>
                    <a:cubicBezTo>
                      <a:pt x="6219" y="4729"/>
                      <a:pt x="6219" y="4729"/>
                      <a:pt x="6219" y="4729"/>
                    </a:cubicBezTo>
                    <a:cubicBezTo>
                      <a:pt x="6253" y="4563"/>
                      <a:pt x="6253" y="4563"/>
                      <a:pt x="6253" y="4563"/>
                    </a:cubicBezTo>
                    <a:cubicBezTo>
                      <a:pt x="6211" y="4560"/>
                      <a:pt x="6170" y="4558"/>
                      <a:pt x="6137" y="4556"/>
                    </a:cubicBezTo>
                    <a:close/>
                    <a:moveTo>
                      <a:pt x="6239" y="3957"/>
                    </a:moveTo>
                    <a:cubicBezTo>
                      <a:pt x="6204" y="4125"/>
                      <a:pt x="6204" y="4125"/>
                      <a:pt x="6204" y="4125"/>
                    </a:cubicBezTo>
                    <a:cubicBezTo>
                      <a:pt x="6340" y="4135"/>
                      <a:pt x="6340" y="4135"/>
                      <a:pt x="6340" y="4135"/>
                    </a:cubicBezTo>
                    <a:cubicBezTo>
                      <a:pt x="6374" y="3968"/>
                      <a:pt x="6374" y="3968"/>
                      <a:pt x="6374" y="3968"/>
                    </a:cubicBezTo>
                    <a:cubicBezTo>
                      <a:pt x="6323" y="3964"/>
                      <a:pt x="6275" y="3960"/>
                      <a:pt x="6239" y="3957"/>
                    </a:cubicBezTo>
                    <a:close/>
                    <a:moveTo>
                      <a:pt x="6376" y="3954"/>
                    </a:moveTo>
                    <a:cubicBezTo>
                      <a:pt x="6398" y="3845"/>
                      <a:pt x="6398" y="3845"/>
                      <a:pt x="6398" y="3845"/>
                    </a:cubicBezTo>
                    <a:cubicBezTo>
                      <a:pt x="6268" y="3819"/>
                      <a:pt x="6268" y="3819"/>
                      <a:pt x="6268" y="3819"/>
                    </a:cubicBezTo>
                    <a:cubicBezTo>
                      <a:pt x="6242" y="3944"/>
                      <a:pt x="6242" y="3944"/>
                      <a:pt x="6242" y="3944"/>
                    </a:cubicBezTo>
                    <a:cubicBezTo>
                      <a:pt x="6278" y="3946"/>
                      <a:pt x="6326" y="3950"/>
                      <a:pt x="6376" y="3954"/>
                    </a:cubicBezTo>
                    <a:close/>
                    <a:moveTo>
                      <a:pt x="6202" y="4139"/>
                    </a:moveTo>
                    <a:cubicBezTo>
                      <a:pt x="6163" y="4324"/>
                      <a:pt x="6163" y="4324"/>
                      <a:pt x="6163" y="4324"/>
                    </a:cubicBezTo>
                    <a:cubicBezTo>
                      <a:pt x="6199" y="4327"/>
                      <a:pt x="6247" y="4332"/>
                      <a:pt x="6299" y="4337"/>
                    </a:cubicBezTo>
                    <a:cubicBezTo>
                      <a:pt x="6337" y="4149"/>
                      <a:pt x="6337" y="4149"/>
                      <a:pt x="6337" y="4149"/>
                    </a:cubicBezTo>
                    <a:lnTo>
                      <a:pt x="6202" y="4139"/>
                    </a:lnTo>
                    <a:close/>
                    <a:moveTo>
                      <a:pt x="6269" y="4550"/>
                    </a:moveTo>
                    <a:cubicBezTo>
                      <a:pt x="6408" y="4558"/>
                      <a:pt x="6569" y="4567"/>
                      <a:pt x="6602" y="4570"/>
                    </a:cubicBezTo>
                    <a:cubicBezTo>
                      <a:pt x="6622" y="4382"/>
                      <a:pt x="6622" y="4382"/>
                      <a:pt x="6622" y="4382"/>
                    </a:cubicBezTo>
                    <a:cubicBezTo>
                      <a:pt x="6572" y="4377"/>
                      <a:pt x="6432" y="4364"/>
                      <a:pt x="6309" y="4352"/>
                    </a:cubicBezTo>
                    <a:lnTo>
                      <a:pt x="6269" y="4550"/>
                    </a:lnTo>
                    <a:close/>
                    <a:moveTo>
                      <a:pt x="6624" y="4368"/>
                    </a:moveTo>
                    <a:cubicBezTo>
                      <a:pt x="6645" y="4173"/>
                      <a:pt x="6645" y="4173"/>
                      <a:pt x="6645" y="4173"/>
                    </a:cubicBezTo>
                    <a:cubicBezTo>
                      <a:pt x="6350" y="4150"/>
                      <a:pt x="6350" y="4150"/>
                      <a:pt x="6350" y="4150"/>
                    </a:cubicBezTo>
                    <a:cubicBezTo>
                      <a:pt x="6312" y="4338"/>
                      <a:pt x="6312" y="4338"/>
                      <a:pt x="6312" y="4338"/>
                    </a:cubicBezTo>
                    <a:cubicBezTo>
                      <a:pt x="6330" y="4340"/>
                      <a:pt x="6348" y="4342"/>
                      <a:pt x="6367" y="4344"/>
                    </a:cubicBezTo>
                    <a:cubicBezTo>
                      <a:pt x="6474" y="4354"/>
                      <a:pt x="6582" y="4364"/>
                      <a:pt x="6624" y="4368"/>
                    </a:cubicBezTo>
                    <a:close/>
                    <a:moveTo>
                      <a:pt x="6646" y="4159"/>
                    </a:moveTo>
                    <a:cubicBezTo>
                      <a:pt x="6664" y="3989"/>
                      <a:pt x="6664" y="3989"/>
                      <a:pt x="6664" y="3989"/>
                    </a:cubicBezTo>
                    <a:cubicBezTo>
                      <a:pt x="6635" y="3988"/>
                      <a:pt x="6505" y="3978"/>
                      <a:pt x="6387" y="3969"/>
                    </a:cubicBezTo>
                    <a:cubicBezTo>
                      <a:pt x="6353" y="4136"/>
                      <a:pt x="6353" y="4136"/>
                      <a:pt x="6353" y="4136"/>
                    </a:cubicBezTo>
                    <a:lnTo>
                      <a:pt x="6646" y="4159"/>
                    </a:lnTo>
                    <a:close/>
                    <a:moveTo>
                      <a:pt x="6665" y="3983"/>
                    </a:moveTo>
                    <a:cubicBezTo>
                      <a:pt x="6665" y="3983"/>
                      <a:pt x="6665" y="3983"/>
                      <a:pt x="6665" y="3983"/>
                    </a:cubicBezTo>
                    <a:cubicBezTo>
                      <a:pt x="6663" y="3983"/>
                      <a:pt x="6663" y="3983"/>
                      <a:pt x="6663" y="3983"/>
                    </a:cubicBezTo>
                    <a:lnTo>
                      <a:pt x="6665" y="3983"/>
                    </a:lnTo>
                    <a:close/>
                    <a:moveTo>
                      <a:pt x="6666" y="3976"/>
                    </a:moveTo>
                    <a:cubicBezTo>
                      <a:pt x="6691" y="3742"/>
                      <a:pt x="6691" y="3742"/>
                      <a:pt x="6691" y="3742"/>
                    </a:cubicBezTo>
                    <a:cubicBezTo>
                      <a:pt x="6224" y="3736"/>
                      <a:pt x="6224" y="3736"/>
                      <a:pt x="6224" y="3736"/>
                    </a:cubicBezTo>
                    <a:cubicBezTo>
                      <a:pt x="6217" y="3776"/>
                      <a:pt x="6203" y="3851"/>
                      <a:pt x="6187" y="3939"/>
                    </a:cubicBezTo>
                    <a:cubicBezTo>
                      <a:pt x="6194" y="3940"/>
                      <a:pt x="6209" y="3941"/>
                      <a:pt x="6229" y="3942"/>
                    </a:cubicBezTo>
                    <a:cubicBezTo>
                      <a:pt x="6258" y="3803"/>
                      <a:pt x="6258" y="3803"/>
                      <a:pt x="6258" y="3803"/>
                    </a:cubicBezTo>
                    <a:cubicBezTo>
                      <a:pt x="6414" y="3835"/>
                      <a:pt x="6414" y="3835"/>
                      <a:pt x="6414" y="3835"/>
                    </a:cubicBezTo>
                    <a:cubicBezTo>
                      <a:pt x="6413" y="3841"/>
                      <a:pt x="6413" y="3841"/>
                      <a:pt x="6413" y="3841"/>
                    </a:cubicBezTo>
                    <a:cubicBezTo>
                      <a:pt x="6390" y="3955"/>
                      <a:pt x="6390" y="3955"/>
                      <a:pt x="6390" y="3955"/>
                    </a:cubicBezTo>
                    <a:cubicBezTo>
                      <a:pt x="6509" y="3965"/>
                      <a:pt x="6640" y="3975"/>
                      <a:pt x="6666" y="3976"/>
                    </a:cubicBezTo>
                    <a:close/>
                    <a:moveTo>
                      <a:pt x="6184" y="3953"/>
                    </a:moveTo>
                    <a:cubicBezTo>
                      <a:pt x="6174" y="4006"/>
                      <a:pt x="6163" y="4063"/>
                      <a:pt x="6152" y="4121"/>
                    </a:cubicBezTo>
                    <a:cubicBezTo>
                      <a:pt x="6191" y="4124"/>
                      <a:pt x="6191" y="4124"/>
                      <a:pt x="6191" y="4124"/>
                    </a:cubicBezTo>
                    <a:cubicBezTo>
                      <a:pt x="6226" y="3956"/>
                      <a:pt x="6226" y="3956"/>
                      <a:pt x="6226" y="3956"/>
                    </a:cubicBezTo>
                    <a:cubicBezTo>
                      <a:pt x="6206" y="3955"/>
                      <a:pt x="6191" y="3953"/>
                      <a:pt x="6184" y="3953"/>
                    </a:cubicBezTo>
                    <a:close/>
                    <a:moveTo>
                      <a:pt x="6150" y="4135"/>
                    </a:moveTo>
                    <a:cubicBezTo>
                      <a:pt x="6137" y="4198"/>
                      <a:pt x="6125" y="4262"/>
                      <a:pt x="6113" y="4319"/>
                    </a:cubicBezTo>
                    <a:cubicBezTo>
                      <a:pt x="6122" y="4320"/>
                      <a:pt x="6134" y="4321"/>
                      <a:pt x="6150" y="4322"/>
                    </a:cubicBezTo>
                    <a:cubicBezTo>
                      <a:pt x="6188" y="4138"/>
                      <a:pt x="6188" y="4138"/>
                      <a:pt x="6188" y="4138"/>
                    </a:cubicBezTo>
                    <a:lnTo>
                      <a:pt x="6150" y="4135"/>
                    </a:lnTo>
                    <a:close/>
                    <a:moveTo>
                      <a:pt x="6110" y="4333"/>
                    </a:moveTo>
                    <a:cubicBezTo>
                      <a:pt x="6105" y="4360"/>
                      <a:pt x="6099" y="4387"/>
                      <a:pt x="6094" y="4410"/>
                    </a:cubicBezTo>
                    <a:cubicBezTo>
                      <a:pt x="6085" y="4450"/>
                      <a:pt x="6078" y="4483"/>
                      <a:pt x="6071" y="4507"/>
                    </a:cubicBezTo>
                    <a:cubicBezTo>
                      <a:pt x="6068" y="4519"/>
                      <a:pt x="6065" y="4528"/>
                      <a:pt x="6063" y="4535"/>
                    </a:cubicBezTo>
                    <a:cubicBezTo>
                      <a:pt x="6063" y="4536"/>
                      <a:pt x="6063" y="4536"/>
                      <a:pt x="6062" y="4537"/>
                    </a:cubicBezTo>
                    <a:cubicBezTo>
                      <a:pt x="6071" y="4537"/>
                      <a:pt x="6086" y="4538"/>
                      <a:pt x="6105" y="4539"/>
                    </a:cubicBezTo>
                    <a:cubicBezTo>
                      <a:pt x="6147" y="4336"/>
                      <a:pt x="6147" y="4336"/>
                      <a:pt x="6147" y="4336"/>
                    </a:cubicBezTo>
                    <a:cubicBezTo>
                      <a:pt x="6132" y="4335"/>
                      <a:pt x="6119" y="4333"/>
                      <a:pt x="6110" y="4333"/>
                    </a:cubicBezTo>
                    <a:close/>
                    <a:moveTo>
                      <a:pt x="6058" y="4551"/>
                    </a:moveTo>
                    <a:cubicBezTo>
                      <a:pt x="6056" y="4573"/>
                      <a:pt x="6048" y="4644"/>
                      <a:pt x="6035" y="4747"/>
                    </a:cubicBezTo>
                    <a:cubicBezTo>
                      <a:pt x="6579" y="4788"/>
                      <a:pt x="6579" y="4788"/>
                      <a:pt x="6579" y="4788"/>
                    </a:cubicBezTo>
                    <a:cubicBezTo>
                      <a:pt x="6601" y="4583"/>
                      <a:pt x="6601" y="4583"/>
                      <a:pt x="6601" y="4583"/>
                    </a:cubicBezTo>
                    <a:cubicBezTo>
                      <a:pt x="6571" y="4582"/>
                      <a:pt x="6450" y="4574"/>
                      <a:pt x="6329" y="4567"/>
                    </a:cubicBezTo>
                    <a:cubicBezTo>
                      <a:pt x="6308" y="4566"/>
                      <a:pt x="6287" y="4565"/>
                      <a:pt x="6266" y="4563"/>
                    </a:cubicBezTo>
                    <a:cubicBezTo>
                      <a:pt x="6230" y="4744"/>
                      <a:pt x="6230" y="4744"/>
                      <a:pt x="6230" y="4744"/>
                    </a:cubicBezTo>
                    <a:cubicBezTo>
                      <a:pt x="6069" y="4712"/>
                      <a:pt x="6069" y="4712"/>
                      <a:pt x="6069" y="4712"/>
                    </a:cubicBezTo>
                    <a:cubicBezTo>
                      <a:pt x="6102" y="4553"/>
                      <a:pt x="6102" y="4553"/>
                      <a:pt x="6102" y="4553"/>
                    </a:cubicBezTo>
                    <a:cubicBezTo>
                      <a:pt x="6091" y="4553"/>
                      <a:pt x="6082" y="4552"/>
                      <a:pt x="6074" y="4552"/>
                    </a:cubicBezTo>
                    <a:cubicBezTo>
                      <a:pt x="6067" y="4551"/>
                      <a:pt x="6062" y="4551"/>
                      <a:pt x="6058" y="4551"/>
                    </a:cubicBezTo>
                    <a:close/>
                    <a:moveTo>
                      <a:pt x="6034" y="4761"/>
                    </a:moveTo>
                    <a:cubicBezTo>
                      <a:pt x="6027" y="4817"/>
                      <a:pt x="6018" y="4883"/>
                      <a:pt x="6009" y="4956"/>
                    </a:cubicBezTo>
                    <a:cubicBezTo>
                      <a:pt x="6557" y="4997"/>
                      <a:pt x="6557" y="4997"/>
                      <a:pt x="6557" y="4997"/>
                    </a:cubicBezTo>
                    <a:cubicBezTo>
                      <a:pt x="6578" y="4802"/>
                      <a:pt x="6578" y="4802"/>
                      <a:pt x="6578" y="4802"/>
                    </a:cubicBezTo>
                    <a:lnTo>
                      <a:pt x="6034" y="4761"/>
                    </a:lnTo>
                    <a:close/>
                    <a:moveTo>
                      <a:pt x="6007" y="4970"/>
                    </a:moveTo>
                    <a:cubicBezTo>
                      <a:pt x="5999" y="5033"/>
                      <a:pt x="5991" y="5101"/>
                      <a:pt x="5982" y="5172"/>
                    </a:cubicBezTo>
                    <a:cubicBezTo>
                      <a:pt x="6016" y="5174"/>
                      <a:pt x="6016" y="5174"/>
                      <a:pt x="6016" y="5174"/>
                    </a:cubicBezTo>
                    <a:cubicBezTo>
                      <a:pt x="6031" y="5029"/>
                      <a:pt x="6031" y="5029"/>
                      <a:pt x="6031" y="5029"/>
                    </a:cubicBezTo>
                    <a:cubicBezTo>
                      <a:pt x="6190" y="5045"/>
                      <a:pt x="6190" y="5045"/>
                      <a:pt x="6190" y="5045"/>
                    </a:cubicBezTo>
                    <a:cubicBezTo>
                      <a:pt x="6189" y="5052"/>
                      <a:pt x="6189" y="5052"/>
                      <a:pt x="6189" y="5052"/>
                    </a:cubicBezTo>
                    <a:cubicBezTo>
                      <a:pt x="6176" y="5187"/>
                      <a:pt x="6176" y="5187"/>
                      <a:pt x="6176" y="5187"/>
                    </a:cubicBezTo>
                    <a:cubicBezTo>
                      <a:pt x="6534" y="5214"/>
                      <a:pt x="6534" y="5214"/>
                      <a:pt x="6534" y="5214"/>
                    </a:cubicBezTo>
                    <a:cubicBezTo>
                      <a:pt x="6555" y="5011"/>
                      <a:pt x="6555" y="5011"/>
                      <a:pt x="6555" y="5011"/>
                    </a:cubicBezTo>
                    <a:lnTo>
                      <a:pt x="6007" y="4970"/>
                    </a:lnTo>
                    <a:close/>
                    <a:moveTo>
                      <a:pt x="7276" y="6240"/>
                    </a:moveTo>
                    <a:cubicBezTo>
                      <a:pt x="7276" y="6238"/>
                      <a:pt x="7276" y="6238"/>
                      <a:pt x="7276" y="6238"/>
                    </a:cubicBezTo>
                    <a:cubicBezTo>
                      <a:pt x="7280" y="6186"/>
                      <a:pt x="7280" y="6186"/>
                      <a:pt x="7280" y="6186"/>
                    </a:cubicBezTo>
                    <a:cubicBezTo>
                      <a:pt x="7246" y="6178"/>
                      <a:pt x="7179" y="6161"/>
                      <a:pt x="7110" y="6144"/>
                    </a:cubicBezTo>
                    <a:cubicBezTo>
                      <a:pt x="7062" y="6133"/>
                      <a:pt x="7014" y="6121"/>
                      <a:pt x="6978" y="6112"/>
                    </a:cubicBezTo>
                    <a:cubicBezTo>
                      <a:pt x="6960" y="6107"/>
                      <a:pt x="6945" y="6103"/>
                      <a:pt x="6934" y="6101"/>
                    </a:cubicBezTo>
                    <a:cubicBezTo>
                      <a:pt x="6930" y="6099"/>
                      <a:pt x="6927" y="6098"/>
                      <a:pt x="6924" y="6098"/>
                    </a:cubicBezTo>
                    <a:cubicBezTo>
                      <a:pt x="6922" y="6102"/>
                      <a:pt x="6918" y="6106"/>
                      <a:pt x="6914" y="6113"/>
                    </a:cubicBezTo>
                    <a:cubicBezTo>
                      <a:pt x="6894" y="6141"/>
                      <a:pt x="6858" y="6187"/>
                      <a:pt x="6850" y="6199"/>
                    </a:cubicBezTo>
                    <a:cubicBezTo>
                      <a:pt x="6912" y="6583"/>
                      <a:pt x="6912" y="6583"/>
                      <a:pt x="6912" y="6583"/>
                    </a:cubicBezTo>
                    <a:cubicBezTo>
                      <a:pt x="7049" y="6564"/>
                      <a:pt x="7234" y="6554"/>
                      <a:pt x="7308" y="6551"/>
                    </a:cubicBezTo>
                    <a:cubicBezTo>
                      <a:pt x="7276" y="6377"/>
                      <a:pt x="7276" y="6241"/>
                      <a:pt x="7276" y="6240"/>
                    </a:cubicBezTo>
                    <a:close/>
                    <a:moveTo>
                      <a:pt x="6841" y="6595"/>
                    </a:moveTo>
                    <a:cubicBezTo>
                      <a:pt x="6858" y="6592"/>
                      <a:pt x="6878" y="6588"/>
                      <a:pt x="6898" y="6585"/>
                    </a:cubicBezTo>
                    <a:cubicBezTo>
                      <a:pt x="6836" y="6203"/>
                      <a:pt x="6836" y="6203"/>
                      <a:pt x="6836" y="6203"/>
                    </a:cubicBezTo>
                    <a:cubicBezTo>
                      <a:pt x="6817" y="6199"/>
                      <a:pt x="6734" y="6188"/>
                      <a:pt x="6652" y="6176"/>
                    </a:cubicBezTo>
                    <a:cubicBezTo>
                      <a:pt x="6592" y="6168"/>
                      <a:pt x="6533" y="6160"/>
                      <a:pt x="6500" y="6155"/>
                    </a:cubicBezTo>
                    <a:cubicBezTo>
                      <a:pt x="6446" y="6655"/>
                      <a:pt x="6446" y="6655"/>
                      <a:pt x="6446" y="6655"/>
                    </a:cubicBezTo>
                    <a:cubicBezTo>
                      <a:pt x="6580" y="6640"/>
                      <a:pt x="6712" y="6622"/>
                      <a:pt x="6841" y="6595"/>
                    </a:cubicBezTo>
                    <a:close/>
                    <a:moveTo>
                      <a:pt x="6366" y="6729"/>
                    </a:moveTo>
                    <a:cubicBezTo>
                      <a:pt x="6329" y="6733"/>
                      <a:pt x="6281" y="6736"/>
                      <a:pt x="6228" y="6738"/>
                    </a:cubicBezTo>
                    <a:cubicBezTo>
                      <a:pt x="6197" y="7011"/>
                      <a:pt x="6197" y="7011"/>
                      <a:pt x="6197" y="7011"/>
                    </a:cubicBezTo>
                    <a:cubicBezTo>
                      <a:pt x="6241" y="7013"/>
                      <a:pt x="6371" y="7022"/>
                      <a:pt x="6396" y="7022"/>
                    </a:cubicBezTo>
                    <a:cubicBezTo>
                      <a:pt x="6397" y="7022"/>
                      <a:pt x="6398" y="7022"/>
                      <a:pt x="6398" y="7022"/>
                    </a:cubicBezTo>
                    <a:cubicBezTo>
                      <a:pt x="6399" y="7022"/>
                      <a:pt x="6399" y="7022"/>
                      <a:pt x="6399" y="7022"/>
                    </a:cubicBezTo>
                    <a:cubicBezTo>
                      <a:pt x="6403" y="7021"/>
                      <a:pt x="6447" y="7020"/>
                      <a:pt x="6518" y="7017"/>
                    </a:cubicBezTo>
                    <a:cubicBezTo>
                      <a:pt x="6518" y="6712"/>
                      <a:pt x="6518" y="6712"/>
                      <a:pt x="6518" y="6712"/>
                    </a:cubicBezTo>
                    <a:cubicBezTo>
                      <a:pt x="6467" y="6718"/>
                      <a:pt x="6416" y="6724"/>
                      <a:pt x="6366" y="6729"/>
                    </a:cubicBezTo>
                    <a:close/>
                    <a:moveTo>
                      <a:pt x="6101" y="5791"/>
                    </a:moveTo>
                    <a:cubicBezTo>
                      <a:pt x="6121" y="5593"/>
                      <a:pt x="6121" y="5593"/>
                      <a:pt x="6121" y="5593"/>
                    </a:cubicBezTo>
                    <a:cubicBezTo>
                      <a:pt x="5986" y="5582"/>
                      <a:pt x="5986" y="5582"/>
                      <a:pt x="5986" y="5582"/>
                    </a:cubicBezTo>
                    <a:cubicBezTo>
                      <a:pt x="5965" y="5781"/>
                      <a:pt x="5965" y="5781"/>
                      <a:pt x="5965" y="5781"/>
                    </a:cubicBezTo>
                    <a:lnTo>
                      <a:pt x="6101" y="5791"/>
                    </a:lnTo>
                    <a:close/>
                    <a:moveTo>
                      <a:pt x="5964" y="5794"/>
                    </a:moveTo>
                    <a:cubicBezTo>
                      <a:pt x="5949" y="5936"/>
                      <a:pt x="5949" y="5936"/>
                      <a:pt x="5949" y="5936"/>
                    </a:cubicBezTo>
                    <a:cubicBezTo>
                      <a:pt x="6084" y="5953"/>
                      <a:pt x="6084" y="5953"/>
                      <a:pt x="6084" y="5953"/>
                    </a:cubicBezTo>
                    <a:cubicBezTo>
                      <a:pt x="6099" y="5805"/>
                      <a:pt x="6099" y="5805"/>
                      <a:pt x="6099" y="5805"/>
                    </a:cubicBezTo>
                    <a:lnTo>
                      <a:pt x="5964" y="5794"/>
                    </a:lnTo>
                    <a:close/>
                    <a:moveTo>
                      <a:pt x="6514" y="5405"/>
                    </a:moveTo>
                    <a:cubicBezTo>
                      <a:pt x="6532" y="5228"/>
                      <a:pt x="6532" y="5228"/>
                      <a:pt x="6532" y="5228"/>
                    </a:cubicBezTo>
                    <a:cubicBezTo>
                      <a:pt x="6174" y="5200"/>
                      <a:pt x="6174" y="5200"/>
                      <a:pt x="6174" y="5200"/>
                    </a:cubicBezTo>
                    <a:cubicBezTo>
                      <a:pt x="6156" y="5377"/>
                      <a:pt x="6156" y="5377"/>
                      <a:pt x="6156" y="5377"/>
                    </a:cubicBezTo>
                    <a:lnTo>
                      <a:pt x="6514" y="5405"/>
                    </a:lnTo>
                    <a:close/>
                    <a:moveTo>
                      <a:pt x="6155" y="5391"/>
                    </a:moveTo>
                    <a:cubicBezTo>
                      <a:pt x="6136" y="5580"/>
                      <a:pt x="6136" y="5580"/>
                      <a:pt x="6136" y="5580"/>
                    </a:cubicBezTo>
                    <a:cubicBezTo>
                      <a:pt x="6492" y="5607"/>
                      <a:pt x="6492" y="5607"/>
                      <a:pt x="6492" y="5607"/>
                    </a:cubicBezTo>
                    <a:cubicBezTo>
                      <a:pt x="6512" y="5419"/>
                      <a:pt x="6512" y="5419"/>
                      <a:pt x="6512" y="5419"/>
                    </a:cubicBezTo>
                    <a:lnTo>
                      <a:pt x="6155" y="5391"/>
                    </a:lnTo>
                    <a:close/>
                    <a:moveTo>
                      <a:pt x="6175" y="5057"/>
                    </a:moveTo>
                    <a:cubicBezTo>
                      <a:pt x="6042" y="5043"/>
                      <a:pt x="6042" y="5043"/>
                      <a:pt x="6042" y="5043"/>
                    </a:cubicBezTo>
                    <a:cubicBezTo>
                      <a:pt x="6029" y="5175"/>
                      <a:pt x="6029" y="5175"/>
                      <a:pt x="6029" y="5175"/>
                    </a:cubicBezTo>
                    <a:cubicBezTo>
                      <a:pt x="6162" y="5186"/>
                      <a:pt x="6162" y="5186"/>
                      <a:pt x="6162" y="5186"/>
                    </a:cubicBezTo>
                    <a:lnTo>
                      <a:pt x="6175" y="5057"/>
                    </a:lnTo>
                    <a:close/>
                    <a:moveTo>
                      <a:pt x="6027" y="5189"/>
                    </a:moveTo>
                    <a:cubicBezTo>
                      <a:pt x="6009" y="5366"/>
                      <a:pt x="6009" y="5366"/>
                      <a:pt x="6009" y="5366"/>
                    </a:cubicBezTo>
                    <a:cubicBezTo>
                      <a:pt x="6143" y="5376"/>
                      <a:pt x="6143" y="5376"/>
                      <a:pt x="6143" y="5376"/>
                    </a:cubicBezTo>
                    <a:cubicBezTo>
                      <a:pt x="6161" y="5199"/>
                      <a:pt x="6161" y="5199"/>
                      <a:pt x="6161" y="5199"/>
                    </a:cubicBezTo>
                    <a:lnTo>
                      <a:pt x="6027" y="5189"/>
                    </a:lnTo>
                    <a:close/>
                    <a:moveTo>
                      <a:pt x="6007" y="5380"/>
                    </a:moveTo>
                    <a:cubicBezTo>
                      <a:pt x="5988" y="5568"/>
                      <a:pt x="5988" y="5568"/>
                      <a:pt x="5988" y="5568"/>
                    </a:cubicBezTo>
                    <a:cubicBezTo>
                      <a:pt x="6122" y="5579"/>
                      <a:pt x="6122" y="5579"/>
                      <a:pt x="6122" y="5579"/>
                    </a:cubicBezTo>
                    <a:cubicBezTo>
                      <a:pt x="6142" y="5390"/>
                      <a:pt x="6142" y="5390"/>
                      <a:pt x="6142" y="5390"/>
                    </a:cubicBezTo>
                    <a:lnTo>
                      <a:pt x="6007" y="5380"/>
                    </a:lnTo>
                    <a:close/>
                    <a:moveTo>
                      <a:pt x="6114" y="5792"/>
                    </a:moveTo>
                    <a:cubicBezTo>
                      <a:pt x="6469" y="5819"/>
                      <a:pt x="6469" y="5819"/>
                      <a:pt x="6469" y="5819"/>
                    </a:cubicBezTo>
                    <a:cubicBezTo>
                      <a:pt x="6491" y="5621"/>
                      <a:pt x="6491" y="5621"/>
                      <a:pt x="6491" y="5621"/>
                    </a:cubicBezTo>
                    <a:cubicBezTo>
                      <a:pt x="6134" y="5594"/>
                      <a:pt x="6134" y="5594"/>
                      <a:pt x="6134" y="5594"/>
                    </a:cubicBezTo>
                    <a:lnTo>
                      <a:pt x="6114" y="5792"/>
                    </a:lnTo>
                    <a:close/>
                    <a:moveTo>
                      <a:pt x="6928" y="5742"/>
                    </a:moveTo>
                    <a:cubicBezTo>
                      <a:pt x="6894" y="5740"/>
                      <a:pt x="6639" y="5723"/>
                      <a:pt x="6546" y="5716"/>
                    </a:cubicBezTo>
                    <a:cubicBezTo>
                      <a:pt x="6501" y="6141"/>
                      <a:pt x="6501" y="6141"/>
                      <a:pt x="6501" y="6141"/>
                    </a:cubicBezTo>
                    <a:cubicBezTo>
                      <a:pt x="6580" y="6152"/>
                      <a:pt x="6805" y="6183"/>
                      <a:pt x="6839" y="6189"/>
                    </a:cubicBezTo>
                    <a:cubicBezTo>
                      <a:pt x="6845" y="6182"/>
                      <a:pt x="6860" y="6162"/>
                      <a:pt x="6876" y="6142"/>
                    </a:cubicBezTo>
                    <a:cubicBezTo>
                      <a:pt x="6885" y="6129"/>
                      <a:pt x="6895" y="6115"/>
                      <a:pt x="6902" y="6105"/>
                    </a:cubicBezTo>
                    <a:cubicBezTo>
                      <a:pt x="6906" y="6100"/>
                      <a:pt x="6909" y="6096"/>
                      <a:pt x="6911" y="6092"/>
                    </a:cubicBezTo>
                    <a:cubicBezTo>
                      <a:pt x="6911" y="6091"/>
                      <a:pt x="6912" y="6090"/>
                      <a:pt x="6912" y="6090"/>
                    </a:cubicBezTo>
                    <a:cubicBezTo>
                      <a:pt x="6912" y="6090"/>
                      <a:pt x="6912" y="6089"/>
                      <a:pt x="6912" y="6089"/>
                    </a:cubicBezTo>
                    <a:cubicBezTo>
                      <a:pt x="6911" y="6086"/>
                      <a:pt x="6911" y="6082"/>
                      <a:pt x="6911" y="6074"/>
                    </a:cubicBezTo>
                    <a:cubicBezTo>
                      <a:pt x="6911" y="6029"/>
                      <a:pt x="6919" y="5887"/>
                      <a:pt x="6928" y="5742"/>
                    </a:cubicBezTo>
                    <a:close/>
                    <a:moveTo>
                      <a:pt x="5980" y="5185"/>
                    </a:moveTo>
                    <a:cubicBezTo>
                      <a:pt x="5973" y="5243"/>
                      <a:pt x="5965" y="5302"/>
                      <a:pt x="5957" y="5362"/>
                    </a:cubicBezTo>
                    <a:cubicBezTo>
                      <a:pt x="5996" y="5365"/>
                      <a:pt x="5996" y="5365"/>
                      <a:pt x="5996" y="5365"/>
                    </a:cubicBezTo>
                    <a:cubicBezTo>
                      <a:pt x="6014" y="5188"/>
                      <a:pt x="6014" y="5188"/>
                      <a:pt x="6014" y="5188"/>
                    </a:cubicBezTo>
                    <a:lnTo>
                      <a:pt x="5980" y="5185"/>
                    </a:lnTo>
                    <a:close/>
                    <a:moveTo>
                      <a:pt x="5955" y="5376"/>
                    </a:moveTo>
                    <a:cubicBezTo>
                      <a:pt x="5947" y="5438"/>
                      <a:pt x="5939" y="5501"/>
                      <a:pt x="5931" y="5564"/>
                    </a:cubicBezTo>
                    <a:cubicBezTo>
                      <a:pt x="5974" y="5567"/>
                      <a:pt x="5974" y="5567"/>
                      <a:pt x="5974" y="5567"/>
                    </a:cubicBezTo>
                    <a:cubicBezTo>
                      <a:pt x="5994" y="5379"/>
                      <a:pt x="5994" y="5379"/>
                      <a:pt x="5994" y="5379"/>
                    </a:cubicBezTo>
                    <a:lnTo>
                      <a:pt x="5955" y="5376"/>
                    </a:lnTo>
                    <a:close/>
                    <a:moveTo>
                      <a:pt x="5929" y="5578"/>
                    </a:moveTo>
                    <a:cubicBezTo>
                      <a:pt x="5921" y="5644"/>
                      <a:pt x="5912" y="5710"/>
                      <a:pt x="5903" y="5776"/>
                    </a:cubicBezTo>
                    <a:cubicBezTo>
                      <a:pt x="5952" y="5780"/>
                      <a:pt x="5952" y="5780"/>
                      <a:pt x="5952" y="5780"/>
                    </a:cubicBezTo>
                    <a:cubicBezTo>
                      <a:pt x="5973" y="5581"/>
                      <a:pt x="5973" y="5581"/>
                      <a:pt x="5973" y="5581"/>
                    </a:cubicBezTo>
                    <a:lnTo>
                      <a:pt x="5929" y="5578"/>
                    </a:lnTo>
                    <a:close/>
                    <a:moveTo>
                      <a:pt x="5902" y="5790"/>
                    </a:moveTo>
                    <a:cubicBezTo>
                      <a:pt x="5882" y="5937"/>
                      <a:pt x="5864" y="6079"/>
                      <a:pt x="5847" y="6207"/>
                    </a:cubicBezTo>
                    <a:cubicBezTo>
                      <a:pt x="6423" y="6251"/>
                      <a:pt x="6423" y="6251"/>
                      <a:pt x="6423" y="6251"/>
                    </a:cubicBezTo>
                    <a:cubicBezTo>
                      <a:pt x="6444" y="6055"/>
                      <a:pt x="6444" y="6055"/>
                      <a:pt x="6444" y="6055"/>
                    </a:cubicBezTo>
                    <a:cubicBezTo>
                      <a:pt x="5874" y="6011"/>
                      <a:pt x="5874" y="6011"/>
                      <a:pt x="5874" y="6011"/>
                    </a:cubicBezTo>
                    <a:cubicBezTo>
                      <a:pt x="5875" y="5997"/>
                      <a:pt x="5875" y="5997"/>
                      <a:pt x="5875" y="5997"/>
                    </a:cubicBezTo>
                    <a:cubicBezTo>
                      <a:pt x="6446" y="6041"/>
                      <a:pt x="6446" y="6041"/>
                      <a:pt x="6446" y="6041"/>
                    </a:cubicBezTo>
                    <a:cubicBezTo>
                      <a:pt x="6468" y="5833"/>
                      <a:pt x="6468" y="5833"/>
                      <a:pt x="6468" y="5833"/>
                    </a:cubicBezTo>
                    <a:cubicBezTo>
                      <a:pt x="6113" y="5806"/>
                      <a:pt x="6113" y="5806"/>
                      <a:pt x="6113" y="5806"/>
                    </a:cubicBezTo>
                    <a:cubicBezTo>
                      <a:pt x="6096" y="5967"/>
                      <a:pt x="6096" y="5967"/>
                      <a:pt x="6096" y="5967"/>
                    </a:cubicBezTo>
                    <a:cubicBezTo>
                      <a:pt x="5935" y="5948"/>
                      <a:pt x="5935" y="5948"/>
                      <a:pt x="5935" y="5948"/>
                    </a:cubicBezTo>
                    <a:cubicBezTo>
                      <a:pt x="5951" y="5793"/>
                      <a:pt x="5951" y="5793"/>
                      <a:pt x="5951" y="5793"/>
                    </a:cubicBezTo>
                    <a:lnTo>
                      <a:pt x="5902" y="5790"/>
                    </a:lnTo>
                    <a:close/>
                    <a:moveTo>
                      <a:pt x="5845" y="6221"/>
                    </a:moveTo>
                    <a:cubicBezTo>
                      <a:pt x="5836" y="6293"/>
                      <a:pt x="5827" y="6360"/>
                      <a:pt x="5819" y="6419"/>
                    </a:cubicBezTo>
                    <a:cubicBezTo>
                      <a:pt x="6401" y="6464"/>
                      <a:pt x="6401" y="6464"/>
                      <a:pt x="6401" y="6464"/>
                    </a:cubicBezTo>
                    <a:cubicBezTo>
                      <a:pt x="6422" y="6265"/>
                      <a:pt x="6422" y="6265"/>
                      <a:pt x="6422" y="6265"/>
                    </a:cubicBezTo>
                    <a:lnTo>
                      <a:pt x="5845" y="6221"/>
                    </a:lnTo>
                    <a:close/>
                    <a:moveTo>
                      <a:pt x="5817" y="6433"/>
                    </a:moveTo>
                    <a:cubicBezTo>
                      <a:pt x="5802" y="6550"/>
                      <a:pt x="5790" y="6638"/>
                      <a:pt x="5785" y="6680"/>
                    </a:cubicBezTo>
                    <a:cubicBezTo>
                      <a:pt x="5808" y="6680"/>
                      <a:pt x="5901" y="6680"/>
                      <a:pt x="6009" y="6678"/>
                    </a:cubicBezTo>
                    <a:cubicBezTo>
                      <a:pt x="6134" y="6676"/>
                      <a:pt x="6280" y="6672"/>
                      <a:pt x="6359" y="6664"/>
                    </a:cubicBezTo>
                    <a:cubicBezTo>
                      <a:pt x="6366" y="6663"/>
                      <a:pt x="6373" y="6662"/>
                      <a:pt x="6380" y="6662"/>
                    </a:cubicBezTo>
                    <a:cubicBezTo>
                      <a:pt x="6399" y="6478"/>
                      <a:pt x="6399" y="6478"/>
                      <a:pt x="6399" y="6478"/>
                    </a:cubicBezTo>
                    <a:lnTo>
                      <a:pt x="5817" y="6433"/>
                    </a:lnTo>
                    <a:close/>
                    <a:moveTo>
                      <a:pt x="6050" y="7388"/>
                    </a:moveTo>
                    <a:cubicBezTo>
                      <a:pt x="6093" y="7426"/>
                      <a:pt x="6093" y="7426"/>
                      <a:pt x="6093" y="7426"/>
                    </a:cubicBezTo>
                    <a:cubicBezTo>
                      <a:pt x="6093" y="7419"/>
                      <a:pt x="6093" y="7419"/>
                      <a:pt x="6093" y="7419"/>
                    </a:cubicBezTo>
                    <a:cubicBezTo>
                      <a:pt x="6093" y="7419"/>
                      <a:pt x="6180" y="7419"/>
                      <a:pt x="6307" y="7419"/>
                    </a:cubicBezTo>
                    <a:cubicBezTo>
                      <a:pt x="6392" y="7036"/>
                      <a:pt x="6392" y="7036"/>
                      <a:pt x="6392" y="7036"/>
                    </a:cubicBezTo>
                    <a:cubicBezTo>
                      <a:pt x="6354" y="7035"/>
                      <a:pt x="6211" y="7025"/>
                      <a:pt x="6185" y="7024"/>
                    </a:cubicBezTo>
                    <a:cubicBezTo>
                      <a:pt x="6132" y="7109"/>
                      <a:pt x="6132" y="7109"/>
                      <a:pt x="6132" y="7109"/>
                    </a:cubicBezTo>
                    <a:lnTo>
                      <a:pt x="6050" y="7388"/>
                    </a:lnTo>
                    <a:close/>
                    <a:moveTo>
                      <a:pt x="6108" y="7484"/>
                    </a:moveTo>
                    <a:cubicBezTo>
                      <a:pt x="6122" y="7656"/>
                      <a:pt x="6122" y="7656"/>
                      <a:pt x="6122" y="7656"/>
                    </a:cubicBezTo>
                    <a:cubicBezTo>
                      <a:pt x="6346" y="7668"/>
                      <a:pt x="6346" y="7668"/>
                      <a:pt x="6346" y="7668"/>
                    </a:cubicBezTo>
                    <a:cubicBezTo>
                      <a:pt x="6335" y="7484"/>
                      <a:pt x="6335" y="7484"/>
                      <a:pt x="6335" y="7484"/>
                    </a:cubicBezTo>
                    <a:cubicBezTo>
                      <a:pt x="6225" y="7484"/>
                      <a:pt x="6140" y="7484"/>
                      <a:pt x="6108" y="7484"/>
                    </a:cubicBezTo>
                    <a:close/>
                    <a:moveTo>
                      <a:pt x="7318" y="5715"/>
                    </a:moveTo>
                    <a:cubicBezTo>
                      <a:pt x="6947" y="5657"/>
                      <a:pt x="6947" y="5657"/>
                      <a:pt x="6947" y="5657"/>
                    </a:cubicBezTo>
                    <a:cubicBezTo>
                      <a:pt x="6937" y="5828"/>
                      <a:pt x="6925" y="6021"/>
                      <a:pt x="6925" y="6074"/>
                    </a:cubicBezTo>
                    <a:cubicBezTo>
                      <a:pt x="6925" y="6079"/>
                      <a:pt x="6925" y="6081"/>
                      <a:pt x="6925" y="6084"/>
                    </a:cubicBezTo>
                    <a:cubicBezTo>
                      <a:pt x="6941" y="6088"/>
                      <a:pt x="7032" y="6111"/>
                      <a:pt x="7120" y="6133"/>
                    </a:cubicBezTo>
                    <a:cubicBezTo>
                      <a:pt x="7185" y="6148"/>
                      <a:pt x="7248" y="6164"/>
                      <a:pt x="7281" y="6172"/>
                    </a:cubicBezTo>
                    <a:lnTo>
                      <a:pt x="7318" y="5715"/>
                    </a:lnTo>
                    <a:close/>
                    <a:moveTo>
                      <a:pt x="6952" y="5371"/>
                    </a:moveTo>
                    <a:cubicBezTo>
                      <a:pt x="6592" y="5289"/>
                      <a:pt x="6592" y="5289"/>
                      <a:pt x="6592" y="5289"/>
                    </a:cubicBezTo>
                    <a:cubicBezTo>
                      <a:pt x="6548" y="5702"/>
                      <a:pt x="6548" y="5702"/>
                      <a:pt x="6548" y="5702"/>
                    </a:cubicBezTo>
                    <a:cubicBezTo>
                      <a:pt x="6642" y="5709"/>
                      <a:pt x="6899" y="5726"/>
                      <a:pt x="6929" y="5728"/>
                    </a:cubicBezTo>
                    <a:cubicBezTo>
                      <a:pt x="6939" y="5565"/>
                      <a:pt x="6950" y="5403"/>
                      <a:pt x="6952" y="5371"/>
                    </a:cubicBezTo>
                    <a:close/>
                    <a:moveTo>
                      <a:pt x="6956" y="5357"/>
                    </a:moveTo>
                    <a:cubicBezTo>
                      <a:pt x="7109" y="5098"/>
                      <a:pt x="7109" y="5098"/>
                      <a:pt x="7109" y="5098"/>
                    </a:cubicBezTo>
                    <a:cubicBezTo>
                      <a:pt x="7107" y="4825"/>
                      <a:pt x="7107" y="4825"/>
                      <a:pt x="7107" y="4825"/>
                    </a:cubicBezTo>
                    <a:cubicBezTo>
                      <a:pt x="7043" y="4814"/>
                      <a:pt x="6758" y="4754"/>
                      <a:pt x="6651" y="4731"/>
                    </a:cubicBezTo>
                    <a:cubicBezTo>
                      <a:pt x="6593" y="5275"/>
                      <a:pt x="6593" y="5275"/>
                      <a:pt x="6593" y="5275"/>
                    </a:cubicBezTo>
                    <a:lnTo>
                      <a:pt x="6956" y="5357"/>
                    </a:lnTo>
                    <a:close/>
                    <a:moveTo>
                      <a:pt x="7173" y="4581"/>
                    </a:moveTo>
                    <a:cubicBezTo>
                      <a:pt x="7171" y="4580"/>
                      <a:pt x="7169" y="4579"/>
                      <a:pt x="7166" y="4578"/>
                    </a:cubicBezTo>
                    <a:cubicBezTo>
                      <a:pt x="7124" y="4555"/>
                      <a:pt x="6987" y="4470"/>
                      <a:pt x="6972" y="4460"/>
                    </a:cubicBezTo>
                    <a:cubicBezTo>
                      <a:pt x="6684" y="4427"/>
                      <a:pt x="6684" y="4427"/>
                      <a:pt x="6684" y="4427"/>
                    </a:cubicBezTo>
                    <a:cubicBezTo>
                      <a:pt x="6653" y="4717"/>
                      <a:pt x="6653" y="4717"/>
                      <a:pt x="6653" y="4717"/>
                    </a:cubicBezTo>
                    <a:cubicBezTo>
                      <a:pt x="6699" y="4727"/>
                      <a:pt x="6779" y="4744"/>
                      <a:pt x="6861" y="4761"/>
                    </a:cubicBezTo>
                    <a:cubicBezTo>
                      <a:pt x="6965" y="4783"/>
                      <a:pt x="7071" y="4804"/>
                      <a:pt x="7107" y="4811"/>
                    </a:cubicBezTo>
                    <a:cubicBezTo>
                      <a:pt x="7106" y="4773"/>
                      <a:pt x="7106" y="4773"/>
                      <a:pt x="7106" y="4773"/>
                    </a:cubicBezTo>
                    <a:cubicBezTo>
                      <a:pt x="7107" y="4772"/>
                      <a:pt x="7107" y="4772"/>
                      <a:pt x="7107" y="4772"/>
                    </a:cubicBezTo>
                    <a:cubicBezTo>
                      <a:pt x="7107" y="4771"/>
                      <a:pt x="7135" y="4692"/>
                      <a:pt x="7173" y="4581"/>
                    </a:cubicBezTo>
                    <a:close/>
                    <a:moveTo>
                      <a:pt x="7178" y="4568"/>
                    </a:moveTo>
                    <a:cubicBezTo>
                      <a:pt x="7201" y="4502"/>
                      <a:pt x="7227" y="4427"/>
                      <a:pt x="7253" y="4351"/>
                    </a:cubicBezTo>
                    <a:cubicBezTo>
                      <a:pt x="7273" y="4293"/>
                      <a:pt x="7293" y="4236"/>
                      <a:pt x="7311" y="4183"/>
                    </a:cubicBezTo>
                    <a:cubicBezTo>
                      <a:pt x="7062" y="4177"/>
                      <a:pt x="7062" y="4177"/>
                      <a:pt x="7062" y="4177"/>
                    </a:cubicBezTo>
                    <a:cubicBezTo>
                      <a:pt x="6728" y="4013"/>
                      <a:pt x="6728" y="4013"/>
                      <a:pt x="6728" y="4013"/>
                    </a:cubicBezTo>
                    <a:cubicBezTo>
                      <a:pt x="6685" y="4413"/>
                      <a:pt x="6685" y="4413"/>
                      <a:pt x="6685" y="4413"/>
                    </a:cubicBezTo>
                    <a:cubicBezTo>
                      <a:pt x="6977" y="4447"/>
                      <a:pt x="6977" y="4447"/>
                      <a:pt x="6977" y="4447"/>
                    </a:cubicBezTo>
                    <a:cubicBezTo>
                      <a:pt x="6979" y="4448"/>
                      <a:pt x="6979" y="4448"/>
                      <a:pt x="6979" y="4448"/>
                    </a:cubicBezTo>
                    <a:cubicBezTo>
                      <a:pt x="6979" y="4448"/>
                      <a:pt x="7028" y="4479"/>
                      <a:pt x="7078" y="4509"/>
                    </a:cubicBezTo>
                    <a:cubicBezTo>
                      <a:pt x="7103" y="4525"/>
                      <a:pt x="7129" y="4540"/>
                      <a:pt x="7148" y="4552"/>
                    </a:cubicBezTo>
                    <a:cubicBezTo>
                      <a:pt x="7158" y="4557"/>
                      <a:pt x="7167" y="4562"/>
                      <a:pt x="7173" y="4565"/>
                    </a:cubicBezTo>
                    <a:cubicBezTo>
                      <a:pt x="7175" y="4567"/>
                      <a:pt x="7176" y="4567"/>
                      <a:pt x="7178" y="4568"/>
                    </a:cubicBezTo>
                    <a:close/>
                    <a:moveTo>
                      <a:pt x="6732" y="3348"/>
                    </a:moveTo>
                    <a:cubicBezTo>
                      <a:pt x="6684" y="3345"/>
                      <a:pt x="6576" y="3337"/>
                      <a:pt x="6469" y="3329"/>
                    </a:cubicBezTo>
                    <a:cubicBezTo>
                      <a:pt x="6453" y="3433"/>
                      <a:pt x="6453" y="3433"/>
                      <a:pt x="6453" y="3433"/>
                    </a:cubicBezTo>
                    <a:cubicBezTo>
                      <a:pt x="6508" y="3390"/>
                      <a:pt x="6508" y="3390"/>
                      <a:pt x="6508" y="3390"/>
                    </a:cubicBezTo>
                    <a:cubicBezTo>
                      <a:pt x="6625" y="3524"/>
                      <a:pt x="6625" y="3524"/>
                      <a:pt x="6625" y="3524"/>
                    </a:cubicBezTo>
                    <a:cubicBezTo>
                      <a:pt x="6494" y="3630"/>
                      <a:pt x="6494" y="3630"/>
                      <a:pt x="6494" y="3630"/>
                    </a:cubicBezTo>
                    <a:cubicBezTo>
                      <a:pt x="6434" y="3561"/>
                      <a:pt x="6434" y="3561"/>
                      <a:pt x="6434" y="3561"/>
                    </a:cubicBezTo>
                    <a:cubicBezTo>
                      <a:pt x="6417" y="3673"/>
                      <a:pt x="6417" y="3673"/>
                      <a:pt x="6417" y="3673"/>
                    </a:cubicBezTo>
                    <a:cubicBezTo>
                      <a:pt x="6697" y="3676"/>
                      <a:pt x="6697" y="3676"/>
                      <a:pt x="6697" y="3676"/>
                    </a:cubicBezTo>
                    <a:lnTo>
                      <a:pt x="6732" y="3348"/>
                    </a:lnTo>
                    <a:close/>
                    <a:moveTo>
                      <a:pt x="6434" y="3464"/>
                    </a:moveTo>
                    <a:cubicBezTo>
                      <a:pt x="6427" y="3470"/>
                      <a:pt x="6427" y="3470"/>
                      <a:pt x="6427" y="3470"/>
                    </a:cubicBezTo>
                    <a:cubicBezTo>
                      <a:pt x="6366" y="3399"/>
                      <a:pt x="6366" y="3399"/>
                      <a:pt x="6366" y="3399"/>
                    </a:cubicBezTo>
                    <a:cubicBezTo>
                      <a:pt x="6260" y="3492"/>
                      <a:pt x="6260" y="3492"/>
                      <a:pt x="6260" y="3492"/>
                    </a:cubicBezTo>
                    <a:cubicBezTo>
                      <a:pt x="6353" y="3598"/>
                      <a:pt x="6353" y="3598"/>
                      <a:pt x="6353" y="3598"/>
                    </a:cubicBezTo>
                    <a:cubicBezTo>
                      <a:pt x="6424" y="3536"/>
                      <a:pt x="6424" y="3536"/>
                      <a:pt x="6424" y="3536"/>
                    </a:cubicBezTo>
                    <a:lnTo>
                      <a:pt x="6434" y="3464"/>
                    </a:lnTo>
                    <a:close/>
                    <a:moveTo>
                      <a:pt x="6495" y="3612"/>
                    </a:moveTo>
                    <a:cubicBezTo>
                      <a:pt x="6606" y="3522"/>
                      <a:pt x="6606" y="3522"/>
                      <a:pt x="6606" y="3522"/>
                    </a:cubicBezTo>
                    <a:cubicBezTo>
                      <a:pt x="6507" y="3408"/>
                      <a:pt x="6507" y="3408"/>
                      <a:pt x="6507" y="3408"/>
                    </a:cubicBezTo>
                    <a:cubicBezTo>
                      <a:pt x="6450" y="3452"/>
                      <a:pt x="6450" y="3452"/>
                      <a:pt x="6450" y="3452"/>
                    </a:cubicBezTo>
                    <a:cubicBezTo>
                      <a:pt x="6436" y="3544"/>
                      <a:pt x="6436" y="3544"/>
                      <a:pt x="6436" y="3544"/>
                    </a:cubicBezTo>
                    <a:lnTo>
                      <a:pt x="6495" y="3612"/>
                    </a:lnTo>
                    <a:close/>
                    <a:moveTo>
                      <a:pt x="6455" y="3328"/>
                    </a:moveTo>
                    <a:cubicBezTo>
                      <a:pt x="6355" y="3320"/>
                      <a:pt x="6257" y="3312"/>
                      <a:pt x="6211" y="3308"/>
                    </a:cubicBezTo>
                    <a:cubicBezTo>
                      <a:pt x="6141" y="3669"/>
                      <a:pt x="6141" y="3669"/>
                      <a:pt x="6141" y="3669"/>
                    </a:cubicBezTo>
                    <a:cubicBezTo>
                      <a:pt x="6403" y="3673"/>
                      <a:pt x="6403" y="3673"/>
                      <a:pt x="6403" y="3673"/>
                    </a:cubicBezTo>
                    <a:cubicBezTo>
                      <a:pt x="6420" y="3556"/>
                      <a:pt x="6420" y="3556"/>
                      <a:pt x="6420" y="3556"/>
                    </a:cubicBezTo>
                    <a:cubicBezTo>
                      <a:pt x="6351" y="3617"/>
                      <a:pt x="6351" y="3617"/>
                      <a:pt x="6351" y="3617"/>
                    </a:cubicBezTo>
                    <a:cubicBezTo>
                      <a:pt x="6241" y="3491"/>
                      <a:pt x="6241" y="3491"/>
                      <a:pt x="6241" y="3491"/>
                    </a:cubicBezTo>
                    <a:cubicBezTo>
                      <a:pt x="6367" y="3381"/>
                      <a:pt x="6367" y="3381"/>
                      <a:pt x="6367" y="3381"/>
                    </a:cubicBezTo>
                    <a:cubicBezTo>
                      <a:pt x="6429" y="3452"/>
                      <a:pt x="6429" y="3452"/>
                      <a:pt x="6429" y="3452"/>
                    </a:cubicBezTo>
                    <a:cubicBezTo>
                      <a:pt x="6437" y="3445"/>
                      <a:pt x="6437" y="3445"/>
                      <a:pt x="6437" y="3445"/>
                    </a:cubicBezTo>
                    <a:lnTo>
                      <a:pt x="6455" y="3328"/>
                    </a:lnTo>
                    <a:close/>
                    <a:moveTo>
                      <a:pt x="6128" y="3735"/>
                    </a:moveTo>
                    <a:cubicBezTo>
                      <a:pt x="6031" y="4220"/>
                      <a:pt x="6031" y="4220"/>
                      <a:pt x="6031" y="4220"/>
                    </a:cubicBezTo>
                    <a:cubicBezTo>
                      <a:pt x="5954" y="4447"/>
                      <a:pt x="5954" y="4447"/>
                      <a:pt x="5954" y="4447"/>
                    </a:cubicBezTo>
                    <a:cubicBezTo>
                      <a:pt x="5697" y="6715"/>
                      <a:pt x="5697" y="6715"/>
                      <a:pt x="5697" y="6715"/>
                    </a:cubicBezTo>
                    <a:cubicBezTo>
                      <a:pt x="5692" y="6735"/>
                      <a:pt x="5692" y="6735"/>
                      <a:pt x="5692" y="6735"/>
                    </a:cubicBezTo>
                    <a:cubicBezTo>
                      <a:pt x="5768" y="6680"/>
                      <a:pt x="5768" y="6680"/>
                      <a:pt x="5768" y="6680"/>
                    </a:cubicBezTo>
                    <a:cubicBezTo>
                      <a:pt x="5770" y="6680"/>
                      <a:pt x="5770" y="6680"/>
                      <a:pt x="5770" y="6680"/>
                    </a:cubicBezTo>
                    <a:cubicBezTo>
                      <a:pt x="5777" y="6632"/>
                      <a:pt x="5791" y="6524"/>
                      <a:pt x="5810" y="6378"/>
                    </a:cubicBezTo>
                    <a:cubicBezTo>
                      <a:pt x="5852" y="6063"/>
                      <a:pt x="5915" y="5577"/>
                      <a:pt x="5966" y="5184"/>
                    </a:cubicBezTo>
                    <a:cubicBezTo>
                      <a:pt x="5964" y="5184"/>
                      <a:pt x="5964" y="5184"/>
                      <a:pt x="5964" y="5184"/>
                    </a:cubicBezTo>
                    <a:cubicBezTo>
                      <a:pt x="5965" y="5170"/>
                      <a:pt x="5965" y="5170"/>
                      <a:pt x="5965" y="5170"/>
                    </a:cubicBezTo>
                    <a:cubicBezTo>
                      <a:pt x="5968" y="5171"/>
                      <a:pt x="5968" y="5171"/>
                      <a:pt x="5968" y="5171"/>
                    </a:cubicBezTo>
                    <a:cubicBezTo>
                      <a:pt x="5988" y="5012"/>
                      <a:pt x="6006" y="4869"/>
                      <a:pt x="6020" y="4760"/>
                    </a:cubicBezTo>
                    <a:cubicBezTo>
                      <a:pt x="6017" y="4759"/>
                      <a:pt x="6017" y="4759"/>
                      <a:pt x="6017" y="4759"/>
                    </a:cubicBezTo>
                    <a:cubicBezTo>
                      <a:pt x="6018" y="4745"/>
                      <a:pt x="6018" y="4745"/>
                      <a:pt x="6018" y="4745"/>
                    </a:cubicBezTo>
                    <a:cubicBezTo>
                      <a:pt x="6021" y="4746"/>
                      <a:pt x="6021" y="4746"/>
                      <a:pt x="6021" y="4746"/>
                    </a:cubicBezTo>
                    <a:cubicBezTo>
                      <a:pt x="6035" y="4632"/>
                      <a:pt x="6044" y="4558"/>
                      <a:pt x="6044" y="4545"/>
                    </a:cubicBezTo>
                    <a:cubicBezTo>
                      <a:pt x="6044" y="4544"/>
                      <a:pt x="6044" y="4544"/>
                      <a:pt x="6044" y="4543"/>
                    </a:cubicBezTo>
                    <a:cubicBezTo>
                      <a:pt x="6044" y="4541"/>
                      <a:pt x="6045" y="4539"/>
                      <a:pt x="6046" y="4538"/>
                    </a:cubicBezTo>
                    <a:cubicBezTo>
                      <a:pt x="6046" y="4538"/>
                      <a:pt x="6046" y="4538"/>
                      <a:pt x="6047" y="4538"/>
                    </a:cubicBezTo>
                    <a:cubicBezTo>
                      <a:pt x="6047" y="4538"/>
                      <a:pt x="6047" y="4538"/>
                      <a:pt x="6047" y="4537"/>
                    </a:cubicBezTo>
                    <a:cubicBezTo>
                      <a:pt x="6048" y="4535"/>
                      <a:pt x="6054" y="4519"/>
                      <a:pt x="6060" y="4495"/>
                    </a:cubicBezTo>
                    <a:cubicBezTo>
                      <a:pt x="6070" y="4457"/>
                      <a:pt x="6082" y="4398"/>
                      <a:pt x="6097" y="4329"/>
                    </a:cubicBezTo>
                    <a:cubicBezTo>
                      <a:pt x="6098" y="4317"/>
                      <a:pt x="6098" y="4317"/>
                      <a:pt x="6098" y="4317"/>
                    </a:cubicBezTo>
                    <a:cubicBezTo>
                      <a:pt x="6098" y="4317"/>
                      <a:pt x="6098" y="4317"/>
                      <a:pt x="6099" y="4318"/>
                    </a:cubicBezTo>
                    <a:cubicBezTo>
                      <a:pt x="6117" y="4230"/>
                      <a:pt x="6137" y="4128"/>
                      <a:pt x="6155" y="4033"/>
                    </a:cubicBezTo>
                    <a:cubicBezTo>
                      <a:pt x="6179" y="3906"/>
                      <a:pt x="6200" y="3791"/>
                      <a:pt x="6210" y="3736"/>
                    </a:cubicBezTo>
                    <a:lnTo>
                      <a:pt x="6128" y="3735"/>
                    </a:lnTo>
                    <a:close/>
                    <a:moveTo>
                      <a:pt x="5893" y="3636"/>
                    </a:moveTo>
                    <a:cubicBezTo>
                      <a:pt x="5911" y="3399"/>
                      <a:pt x="5911" y="3399"/>
                      <a:pt x="5911" y="3399"/>
                    </a:cubicBezTo>
                    <a:cubicBezTo>
                      <a:pt x="5902" y="3399"/>
                      <a:pt x="5889" y="3399"/>
                      <a:pt x="5874" y="3399"/>
                    </a:cubicBezTo>
                    <a:cubicBezTo>
                      <a:pt x="5739" y="3399"/>
                      <a:pt x="5413" y="3401"/>
                      <a:pt x="5397" y="3402"/>
                    </a:cubicBezTo>
                    <a:cubicBezTo>
                      <a:pt x="5054" y="3470"/>
                      <a:pt x="5054" y="3470"/>
                      <a:pt x="5054" y="3470"/>
                    </a:cubicBezTo>
                    <a:cubicBezTo>
                      <a:pt x="5059" y="3514"/>
                      <a:pt x="5065" y="3559"/>
                      <a:pt x="5070" y="3604"/>
                    </a:cubicBezTo>
                    <a:cubicBezTo>
                      <a:pt x="5074" y="3639"/>
                      <a:pt x="5078" y="3675"/>
                      <a:pt x="5083" y="3710"/>
                    </a:cubicBezTo>
                    <a:cubicBezTo>
                      <a:pt x="5187" y="3687"/>
                      <a:pt x="5542" y="3611"/>
                      <a:pt x="5552" y="3611"/>
                    </a:cubicBezTo>
                    <a:cubicBezTo>
                      <a:pt x="5560" y="3611"/>
                      <a:pt x="5820" y="3631"/>
                      <a:pt x="5893" y="3636"/>
                    </a:cubicBezTo>
                    <a:close/>
                    <a:moveTo>
                      <a:pt x="5912" y="3385"/>
                    </a:moveTo>
                    <a:cubicBezTo>
                      <a:pt x="5934" y="3097"/>
                      <a:pt x="5934" y="3097"/>
                      <a:pt x="5934" y="3097"/>
                    </a:cubicBezTo>
                    <a:cubicBezTo>
                      <a:pt x="5890" y="3097"/>
                      <a:pt x="5785" y="3099"/>
                      <a:pt x="5680" y="3102"/>
                    </a:cubicBezTo>
                    <a:cubicBezTo>
                      <a:pt x="5611" y="3103"/>
                      <a:pt x="5541" y="3104"/>
                      <a:pt x="5489" y="3106"/>
                    </a:cubicBezTo>
                    <a:cubicBezTo>
                      <a:pt x="5462" y="3106"/>
                      <a:pt x="5440" y="3107"/>
                      <a:pt x="5424" y="3107"/>
                    </a:cubicBezTo>
                    <a:cubicBezTo>
                      <a:pt x="5417" y="3108"/>
                      <a:pt x="5410" y="3108"/>
                      <a:pt x="5406" y="3108"/>
                    </a:cubicBezTo>
                    <a:cubicBezTo>
                      <a:pt x="5404" y="3108"/>
                      <a:pt x="5402" y="3108"/>
                      <a:pt x="5401" y="3108"/>
                    </a:cubicBezTo>
                    <a:cubicBezTo>
                      <a:pt x="5400" y="3108"/>
                      <a:pt x="5400" y="3108"/>
                      <a:pt x="5399" y="3108"/>
                    </a:cubicBezTo>
                    <a:cubicBezTo>
                      <a:pt x="5399" y="3108"/>
                      <a:pt x="5399" y="3108"/>
                      <a:pt x="5399" y="3108"/>
                    </a:cubicBezTo>
                    <a:cubicBezTo>
                      <a:pt x="5387" y="3111"/>
                      <a:pt x="5105" y="3170"/>
                      <a:pt x="5021" y="3187"/>
                    </a:cubicBezTo>
                    <a:cubicBezTo>
                      <a:pt x="5030" y="3265"/>
                      <a:pt x="5041" y="3358"/>
                      <a:pt x="5053" y="3456"/>
                    </a:cubicBezTo>
                    <a:cubicBezTo>
                      <a:pt x="5395" y="3388"/>
                      <a:pt x="5395" y="3388"/>
                      <a:pt x="5395" y="3388"/>
                    </a:cubicBezTo>
                    <a:cubicBezTo>
                      <a:pt x="5396" y="3388"/>
                      <a:pt x="5396" y="3388"/>
                      <a:pt x="5396" y="3388"/>
                    </a:cubicBezTo>
                    <a:cubicBezTo>
                      <a:pt x="5396" y="3388"/>
                      <a:pt x="5736" y="3385"/>
                      <a:pt x="5874" y="3385"/>
                    </a:cubicBezTo>
                    <a:cubicBezTo>
                      <a:pt x="5890" y="3385"/>
                      <a:pt x="5902" y="3385"/>
                      <a:pt x="5912" y="3385"/>
                    </a:cubicBezTo>
                    <a:close/>
                    <a:moveTo>
                      <a:pt x="5935" y="3083"/>
                    </a:moveTo>
                    <a:cubicBezTo>
                      <a:pt x="5952" y="2862"/>
                      <a:pt x="5952" y="2862"/>
                      <a:pt x="5952" y="2862"/>
                    </a:cubicBezTo>
                    <a:cubicBezTo>
                      <a:pt x="5707" y="2877"/>
                      <a:pt x="5347" y="2909"/>
                      <a:pt x="4997" y="2978"/>
                    </a:cubicBezTo>
                    <a:cubicBezTo>
                      <a:pt x="5001" y="3009"/>
                      <a:pt x="5009" y="3079"/>
                      <a:pt x="5020" y="3174"/>
                    </a:cubicBezTo>
                    <a:cubicBezTo>
                      <a:pt x="5106" y="3155"/>
                      <a:pt x="5390" y="3096"/>
                      <a:pt x="5396" y="3095"/>
                    </a:cubicBezTo>
                    <a:cubicBezTo>
                      <a:pt x="5401" y="3094"/>
                      <a:pt x="5435" y="3093"/>
                      <a:pt x="5488" y="3092"/>
                    </a:cubicBezTo>
                    <a:cubicBezTo>
                      <a:pt x="5622" y="3089"/>
                      <a:pt x="5865" y="3084"/>
                      <a:pt x="5935" y="3083"/>
                    </a:cubicBezTo>
                    <a:close/>
                    <a:moveTo>
                      <a:pt x="5678" y="2817"/>
                    </a:moveTo>
                    <a:cubicBezTo>
                      <a:pt x="5675" y="2625"/>
                      <a:pt x="5675" y="2625"/>
                      <a:pt x="5675" y="2625"/>
                    </a:cubicBezTo>
                    <a:cubicBezTo>
                      <a:pt x="5414" y="2666"/>
                      <a:pt x="5414" y="2666"/>
                      <a:pt x="5414" y="2666"/>
                    </a:cubicBezTo>
                    <a:cubicBezTo>
                      <a:pt x="5408" y="2742"/>
                      <a:pt x="5402" y="2810"/>
                      <a:pt x="5398" y="2847"/>
                    </a:cubicBezTo>
                    <a:cubicBezTo>
                      <a:pt x="5496" y="2835"/>
                      <a:pt x="5590" y="2825"/>
                      <a:pt x="5678" y="2817"/>
                    </a:cubicBezTo>
                    <a:close/>
                    <a:moveTo>
                      <a:pt x="5709" y="2328"/>
                    </a:moveTo>
                    <a:cubicBezTo>
                      <a:pt x="5663" y="2322"/>
                      <a:pt x="5485" y="2292"/>
                      <a:pt x="5427" y="2282"/>
                    </a:cubicBezTo>
                    <a:cubicBezTo>
                      <a:pt x="5427" y="2288"/>
                      <a:pt x="5429" y="2294"/>
                      <a:pt x="5429" y="2300"/>
                    </a:cubicBezTo>
                    <a:cubicBezTo>
                      <a:pt x="5430" y="2313"/>
                      <a:pt x="5431" y="2329"/>
                      <a:pt x="5431" y="2348"/>
                    </a:cubicBezTo>
                    <a:cubicBezTo>
                      <a:pt x="5431" y="2371"/>
                      <a:pt x="5430" y="2398"/>
                      <a:pt x="5429" y="2428"/>
                    </a:cubicBezTo>
                    <a:cubicBezTo>
                      <a:pt x="5674" y="2449"/>
                      <a:pt x="5674" y="2449"/>
                      <a:pt x="5674" y="2449"/>
                    </a:cubicBezTo>
                    <a:lnTo>
                      <a:pt x="5709" y="2328"/>
                    </a:lnTo>
                    <a:close/>
                    <a:moveTo>
                      <a:pt x="5707" y="2384"/>
                    </a:moveTo>
                    <a:cubicBezTo>
                      <a:pt x="5863" y="2409"/>
                      <a:pt x="5863" y="2409"/>
                      <a:pt x="5863" y="2409"/>
                    </a:cubicBezTo>
                    <a:cubicBezTo>
                      <a:pt x="5909" y="2284"/>
                      <a:pt x="5909" y="2284"/>
                      <a:pt x="5909" y="2284"/>
                    </a:cubicBezTo>
                    <a:cubicBezTo>
                      <a:pt x="5748" y="2258"/>
                      <a:pt x="5748" y="2258"/>
                      <a:pt x="5748" y="2258"/>
                    </a:cubicBezTo>
                    <a:cubicBezTo>
                      <a:pt x="5750" y="2245"/>
                      <a:pt x="5750" y="2245"/>
                      <a:pt x="5750" y="2245"/>
                    </a:cubicBezTo>
                    <a:cubicBezTo>
                      <a:pt x="5913" y="2270"/>
                      <a:pt x="5913" y="2270"/>
                      <a:pt x="5913" y="2270"/>
                    </a:cubicBezTo>
                    <a:cubicBezTo>
                      <a:pt x="5959" y="2142"/>
                      <a:pt x="5959" y="2142"/>
                      <a:pt x="5959" y="2142"/>
                    </a:cubicBezTo>
                    <a:cubicBezTo>
                      <a:pt x="5785" y="2113"/>
                      <a:pt x="5785" y="2113"/>
                      <a:pt x="5785" y="2113"/>
                    </a:cubicBezTo>
                    <a:lnTo>
                      <a:pt x="5707" y="2384"/>
                    </a:lnTo>
                    <a:close/>
                    <a:moveTo>
                      <a:pt x="6003" y="2432"/>
                    </a:moveTo>
                    <a:cubicBezTo>
                      <a:pt x="6049" y="2305"/>
                      <a:pt x="6049" y="2305"/>
                      <a:pt x="6049" y="2305"/>
                    </a:cubicBezTo>
                    <a:cubicBezTo>
                      <a:pt x="5922" y="2286"/>
                      <a:pt x="5922" y="2286"/>
                      <a:pt x="5922" y="2286"/>
                    </a:cubicBezTo>
                    <a:cubicBezTo>
                      <a:pt x="5877" y="2411"/>
                      <a:pt x="5877" y="2411"/>
                      <a:pt x="5877" y="2411"/>
                    </a:cubicBezTo>
                    <a:lnTo>
                      <a:pt x="6003" y="2432"/>
                    </a:lnTo>
                    <a:close/>
                    <a:moveTo>
                      <a:pt x="6054" y="2292"/>
                    </a:moveTo>
                    <a:cubicBezTo>
                      <a:pt x="6099" y="2166"/>
                      <a:pt x="6099" y="2166"/>
                      <a:pt x="6099" y="2166"/>
                    </a:cubicBezTo>
                    <a:cubicBezTo>
                      <a:pt x="5973" y="2144"/>
                      <a:pt x="5973" y="2144"/>
                      <a:pt x="5973" y="2144"/>
                    </a:cubicBezTo>
                    <a:cubicBezTo>
                      <a:pt x="5927" y="2272"/>
                      <a:pt x="5927" y="2272"/>
                      <a:pt x="5927" y="2272"/>
                    </a:cubicBezTo>
                    <a:lnTo>
                      <a:pt x="6054" y="2292"/>
                    </a:lnTo>
                    <a:close/>
                    <a:moveTo>
                      <a:pt x="6104" y="2153"/>
                    </a:moveTo>
                    <a:cubicBezTo>
                      <a:pt x="6145" y="2037"/>
                      <a:pt x="6145" y="2037"/>
                      <a:pt x="6145" y="2037"/>
                    </a:cubicBezTo>
                    <a:cubicBezTo>
                      <a:pt x="6020" y="2013"/>
                      <a:pt x="6020" y="2013"/>
                      <a:pt x="6020" y="2013"/>
                    </a:cubicBezTo>
                    <a:cubicBezTo>
                      <a:pt x="5977" y="2131"/>
                      <a:pt x="5977" y="2131"/>
                      <a:pt x="5977" y="2131"/>
                    </a:cubicBezTo>
                    <a:lnTo>
                      <a:pt x="6104" y="2153"/>
                    </a:lnTo>
                    <a:close/>
                    <a:moveTo>
                      <a:pt x="6150" y="2023"/>
                    </a:moveTo>
                    <a:cubicBezTo>
                      <a:pt x="6189" y="1915"/>
                      <a:pt x="6189" y="1915"/>
                      <a:pt x="6189" y="1915"/>
                    </a:cubicBezTo>
                    <a:cubicBezTo>
                      <a:pt x="6065" y="1887"/>
                      <a:pt x="6065" y="1887"/>
                      <a:pt x="6065" y="1887"/>
                    </a:cubicBezTo>
                    <a:cubicBezTo>
                      <a:pt x="6024" y="2000"/>
                      <a:pt x="6024" y="2000"/>
                      <a:pt x="6024" y="2000"/>
                    </a:cubicBezTo>
                    <a:lnTo>
                      <a:pt x="6150" y="2023"/>
                    </a:lnTo>
                    <a:close/>
                    <a:moveTo>
                      <a:pt x="6194" y="1901"/>
                    </a:moveTo>
                    <a:cubicBezTo>
                      <a:pt x="6238" y="1778"/>
                      <a:pt x="6238" y="1778"/>
                      <a:pt x="6238" y="1778"/>
                    </a:cubicBezTo>
                    <a:cubicBezTo>
                      <a:pt x="6112" y="1756"/>
                      <a:pt x="6112" y="1756"/>
                      <a:pt x="6112" y="1756"/>
                    </a:cubicBezTo>
                    <a:cubicBezTo>
                      <a:pt x="6070" y="1874"/>
                      <a:pt x="6070" y="1874"/>
                      <a:pt x="6070" y="1874"/>
                    </a:cubicBezTo>
                    <a:lnTo>
                      <a:pt x="6194" y="1901"/>
                    </a:lnTo>
                    <a:close/>
                    <a:moveTo>
                      <a:pt x="6243" y="1765"/>
                    </a:moveTo>
                    <a:cubicBezTo>
                      <a:pt x="6281" y="1660"/>
                      <a:pt x="6281" y="1660"/>
                      <a:pt x="6281" y="1660"/>
                    </a:cubicBezTo>
                    <a:cubicBezTo>
                      <a:pt x="6154" y="1641"/>
                      <a:pt x="6154" y="1641"/>
                      <a:pt x="6154" y="1641"/>
                    </a:cubicBezTo>
                    <a:cubicBezTo>
                      <a:pt x="6117" y="1742"/>
                      <a:pt x="6117" y="1742"/>
                      <a:pt x="6117" y="1742"/>
                    </a:cubicBezTo>
                    <a:lnTo>
                      <a:pt x="6243" y="1765"/>
                    </a:lnTo>
                    <a:close/>
                    <a:moveTo>
                      <a:pt x="6286" y="1646"/>
                    </a:moveTo>
                    <a:cubicBezTo>
                      <a:pt x="6334" y="1512"/>
                      <a:pt x="6334" y="1512"/>
                      <a:pt x="6334" y="1512"/>
                    </a:cubicBezTo>
                    <a:cubicBezTo>
                      <a:pt x="6205" y="1498"/>
                      <a:pt x="6205" y="1498"/>
                      <a:pt x="6205" y="1498"/>
                    </a:cubicBezTo>
                    <a:cubicBezTo>
                      <a:pt x="6158" y="1628"/>
                      <a:pt x="6158" y="1628"/>
                      <a:pt x="6158" y="1628"/>
                    </a:cubicBezTo>
                    <a:lnTo>
                      <a:pt x="6286" y="1646"/>
                    </a:lnTo>
                    <a:close/>
                    <a:moveTo>
                      <a:pt x="6192" y="1496"/>
                    </a:moveTo>
                    <a:cubicBezTo>
                      <a:pt x="5867" y="1462"/>
                      <a:pt x="5867" y="1462"/>
                      <a:pt x="5867" y="1462"/>
                    </a:cubicBezTo>
                    <a:cubicBezTo>
                      <a:pt x="5857" y="1502"/>
                      <a:pt x="5847" y="1543"/>
                      <a:pt x="5838" y="1581"/>
                    </a:cubicBezTo>
                    <a:cubicBezTo>
                      <a:pt x="6145" y="1626"/>
                      <a:pt x="6145" y="1626"/>
                      <a:pt x="6145" y="1626"/>
                    </a:cubicBezTo>
                    <a:lnTo>
                      <a:pt x="6192" y="1496"/>
                    </a:lnTo>
                    <a:close/>
                    <a:moveTo>
                      <a:pt x="5414" y="1746"/>
                    </a:moveTo>
                    <a:cubicBezTo>
                      <a:pt x="5401" y="1759"/>
                      <a:pt x="5384" y="1779"/>
                      <a:pt x="5362" y="1801"/>
                    </a:cubicBezTo>
                    <a:cubicBezTo>
                      <a:pt x="5407" y="1809"/>
                      <a:pt x="5481" y="1822"/>
                      <a:pt x="5556" y="1834"/>
                    </a:cubicBezTo>
                    <a:cubicBezTo>
                      <a:pt x="5653" y="1851"/>
                      <a:pt x="5751" y="1868"/>
                      <a:pt x="5779" y="1872"/>
                    </a:cubicBezTo>
                    <a:cubicBezTo>
                      <a:pt x="5770" y="1845"/>
                      <a:pt x="5762" y="1821"/>
                      <a:pt x="5762" y="1812"/>
                    </a:cubicBezTo>
                    <a:cubicBezTo>
                      <a:pt x="5762" y="1811"/>
                      <a:pt x="5762" y="1810"/>
                      <a:pt x="5762" y="1808"/>
                    </a:cubicBezTo>
                    <a:cubicBezTo>
                      <a:pt x="5763" y="1808"/>
                      <a:pt x="5763" y="1807"/>
                      <a:pt x="5764" y="1806"/>
                    </a:cubicBezTo>
                    <a:cubicBezTo>
                      <a:pt x="5766" y="1802"/>
                      <a:pt x="5771" y="1785"/>
                      <a:pt x="5778" y="1759"/>
                    </a:cubicBezTo>
                    <a:cubicBezTo>
                      <a:pt x="5773" y="1758"/>
                      <a:pt x="5690" y="1744"/>
                      <a:pt x="5605" y="1730"/>
                    </a:cubicBezTo>
                    <a:cubicBezTo>
                      <a:pt x="5538" y="1719"/>
                      <a:pt x="5470" y="1708"/>
                      <a:pt x="5442" y="1703"/>
                    </a:cubicBezTo>
                    <a:cubicBezTo>
                      <a:pt x="5435" y="1718"/>
                      <a:pt x="5425" y="1733"/>
                      <a:pt x="5414" y="1746"/>
                    </a:cubicBezTo>
                    <a:close/>
                    <a:moveTo>
                      <a:pt x="5325" y="1775"/>
                    </a:moveTo>
                    <a:cubicBezTo>
                      <a:pt x="5316" y="1758"/>
                      <a:pt x="5286" y="1682"/>
                      <a:pt x="5256" y="1606"/>
                    </a:cubicBezTo>
                    <a:cubicBezTo>
                      <a:pt x="5229" y="1537"/>
                      <a:pt x="5203" y="1470"/>
                      <a:pt x="5197" y="1454"/>
                    </a:cubicBezTo>
                    <a:cubicBezTo>
                      <a:pt x="5166" y="1471"/>
                      <a:pt x="5137" y="1488"/>
                      <a:pt x="5112" y="1501"/>
                    </a:cubicBezTo>
                    <a:cubicBezTo>
                      <a:pt x="5095" y="1511"/>
                      <a:pt x="5080" y="1519"/>
                      <a:pt x="5069" y="1524"/>
                    </a:cubicBezTo>
                    <a:cubicBezTo>
                      <a:pt x="5057" y="1530"/>
                      <a:pt x="5052" y="1533"/>
                      <a:pt x="5046" y="1534"/>
                    </a:cubicBezTo>
                    <a:cubicBezTo>
                      <a:pt x="5042" y="1534"/>
                      <a:pt x="5013" y="1529"/>
                      <a:pt x="4973" y="1521"/>
                    </a:cubicBezTo>
                    <a:cubicBezTo>
                      <a:pt x="4963" y="1982"/>
                      <a:pt x="4963" y="1982"/>
                      <a:pt x="4963" y="1982"/>
                    </a:cubicBezTo>
                    <a:cubicBezTo>
                      <a:pt x="5135" y="1951"/>
                      <a:pt x="5253" y="1850"/>
                      <a:pt x="5325" y="1775"/>
                    </a:cubicBezTo>
                    <a:close/>
                    <a:moveTo>
                      <a:pt x="4618" y="2066"/>
                    </a:moveTo>
                    <a:cubicBezTo>
                      <a:pt x="4456" y="2079"/>
                      <a:pt x="4296" y="2089"/>
                      <a:pt x="4214" y="2094"/>
                    </a:cubicBezTo>
                    <a:cubicBezTo>
                      <a:pt x="4399" y="2498"/>
                      <a:pt x="4399" y="2498"/>
                      <a:pt x="4399" y="2498"/>
                    </a:cubicBezTo>
                    <a:cubicBezTo>
                      <a:pt x="4455" y="2497"/>
                      <a:pt x="4541" y="2495"/>
                      <a:pt x="4640" y="2493"/>
                    </a:cubicBezTo>
                    <a:lnTo>
                      <a:pt x="4618" y="2066"/>
                    </a:lnTo>
                    <a:close/>
                    <a:moveTo>
                      <a:pt x="4481" y="1510"/>
                    </a:moveTo>
                    <a:cubicBezTo>
                      <a:pt x="4083" y="1782"/>
                      <a:pt x="4083" y="1782"/>
                      <a:pt x="4083" y="1782"/>
                    </a:cubicBezTo>
                    <a:cubicBezTo>
                      <a:pt x="4194" y="2050"/>
                      <a:pt x="4194" y="2050"/>
                      <a:pt x="4194" y="2050"/>
                    </a:cubicBezTo>
                    <a:cubicBezTo>
                      <a:pt x="4247" y="2047"/>
                      <a:pt x="4352" y="2041"/>
                      <a:pt x="4472" y="2032"/>
                    </a:cubicBezTo>
                    <a:lnTo>
                      <a:pt x="4481" y="1510"/>
                    </a:lnTo>
                    <a:close/>
                    <a:moveTo>
                      <a:pt x="3337" y="2612"/>
                    </a:moveTo>
                    <a:cubicBezTo>
                      <a:pt x="3336" y="2612"/>
                      <a:pt x="3336" y="2612"/>
                      <a:pt x="3336" y="2611"/>
                    </a:cubicBezTo>
                    <a:cubicBezTo>
                      <a:pt x="3328" y="2626"/>
                      <a:pt x="3320" y="2640"/>
                      <a:pt x="3310" y="2653"/>
                    </a:cubicBezTo>
                    <a:cubicBezTo>
                      <a:pt x="3267" y="2714"/>
                      <a:pt x="3241" y="2740"/>
                      <a:pt x="3191" y="2766"/>
                    </a:cubicBezTo>
                    <a:cubicBezTo>
                      <a:pt x="3171" y="2777"/>
                      <a:pt x="3145" y="2789"/>
                      <a:pt x="3112" y="2806"/>
                    </a:cubicBezTo>
                    <a:cubicBezTo>
                      <a:pt x="3182" y="3096"/>
                      <a:pt x="3182" y="3096"/>
                      <a:pt x="3182" y="3096"/>
                    </a:cubicBezTo>
                    <a:cubicBezTo>
                      <a:pt x="3221" y="3080"/>
                      <a:pt x="3291" y="3052"/>
                      <a:pt x="3360" y="3024"/>
                    </a:cubicBezTo>
                    <a:cubicBezTo>
                      <a:pt x="3450" y="2988"/>
                      <a:pt x="3538" y="2952"/>
                      <a:pt x="3553" y="2946"/>
                    </a:cubicBezTo>
                    <a:cubicBezTo>
                      <a:pt x="3553" y="2946"/>
                      <a:pt x="3553" y="2946"/>
                      <a:pt x="3553" y="2946"/>
                    </a:cubicBezTo>
                    <a:cubicBezTo>
                      <a:pt x="3550" y="2945"/>
                      <a:pt x="3551" y="2945"/>
                      <a:pt x="3550" y="2944"/>
                    </a:cubicBezTo>
                    <a:cubicBezTo>
                      <a:pt x="3548" y="2942"/>
                      <a:pt x="3545" y="2937"/>
                      <a:pt x="3538" y="2927"/>
                    </a:cubicBezTo>
                    <a:cubicBezTo>
                      <a:pt x="3517" y="2893"/>
                      <a:pt x="3465" y="2811"/>
                      <a:pt x="3419" y="2738"/>
                    </a:cubicBezTo>
                    <a:cubicBezTo>
                      <a:pt x="3396" y="2702"/>
                      <a:pt x="3374" y="2668"/>
                      <a:pt x="3357" y="2642"/>
                    </a:cubicBezTo>
                    <a:cubicBezTo>
                      <a:pt x="3349" y="2630"/>
                      <a:pt x="3342" y="2620"/>
                      <a:pt x="3337" y="2612"/>
                    </a:cubicBezTo>
                    <a:close/>
                    <a:moveTo>
                      <a:pt x="3099" y="2812"/>
                    </a:moveTo>
                    <a:cubicBezTo>
                      <a:pt x="3056" y="2834"/>
                      <a:pt x="2999" y="2863"/>
                      <a:pt x="2920" y="2906"/>
                    </a:cubicBezTo>
                    <a:cubicBezTo>
                      <a:pt x="2810" y="2967"/>
                      <a:pt x="2696" y="2996"/>
                      <a:pt x="2596" y="3009"/>
                    </a:cubicBezTo>
                    <a:cubicBezTo>
                      <a:pt x="2815" y="3299"/>
                      <a:pt x="2815" y="3299"/>
                      <a:pt x="2815" y="3299"/>
                    </a:cubicBezTo>
                    <a:cubicBezTo>
                      <a:pt x="2835" y="3288"/>
                      <a:pt x="2906" y="3246"/>
                      <a:pt x="2978" y="3205"/>
                    </a:cubicBezTo>
                    <a:cubicBezTo>
                      <a:pt x="3020" y="3181"/>
                      <a:pt x="3062" y="3156"/>
                      <a:pt x="3094" y="3138"/>
                    </a:cubicBezTo>
                    <a:cubicBezTo>
                      <a:pt x="3110" y="3129"/>
                      <a:pt x="3124" y="3121"/>
                      <a:pt x="3134" y="3116"/>
                    </a:cubicBezTo>
                    <a:cubicBezTo>
                      <a:pt x="3139" y="3113"/>
                      <a:pt x="3143" y="3111"/>
                      <a:pt x="3145" y="3110"/>
                    </a:cubicBezTo>
                    <a:cubicBezTo>
                      <a:pt x="3149" y="3108"/>
                      <a:pt x="3148" y="3108"/>
                      <a:pt x="3152" y="3107"/>
                    </a:cubicBezTo>
                    <a:cubicBezTo>
                      <a:pt x="3152" y="3107"/>
                      <a:pt x="3152" y="3107"/>
                      <a:pt x="3152" y="3107"/>
                    </a:cubicBezTo>
                    <a:cubicBezTo>
                      <a:pt x="3154" y="3107"/>
                      <a:pt x="3160" y="3104"/>
                      <a:pt x="3169" y="3101"/>
                    </a:cubicBezTo>
                    <a:lnTo>
                      <a:pt x="3099" y="2812"/>
                    </a:lnTo>
                    <a:close/>
                    <a:moveTo>
                      <a:pt x="2581" y="3011"/>
                    </a:moveTo>
                    <a:cubicBezTo>
                      <a:pt x="2537" y="3015"/>
                      <a:pt x="2497" y="3017"/>
                      <a:pt x="2462" y="3017"/>
                    </a:cubicBezTo>
                    <a:cubicBezTo>
                      <a:pt x="2404" y="3017"/>
                      <a:pt x="2362" y="3012"/>
                      <a:pt x="2337" y="3008"/>
                    </a:cubicBezTo>
                    <a:cubicBezTo>
                      <a:pt x="2270" y="3345"/>
                      <a:pt x="2270" y="3345"/>
                      <a:pt x="2270" y="3345"/>
                    </a:cubicBezTo>
                    <a:cubicBezTo>
                      <a:pt x="2494" y="3385"/>
                      <a:pt x="2494" y="3385"/>
                      <a:pt x="2494" y="3385"/>
                    </a:cubicBezTo>
                    <a:cubicBezTo>
                      <a:pt x="2541" y="3373"/>
                      <a:pt x="2541" y="3373"/>
                      <a:pt x="2541" y="3373"/>
                    </a:cubicBezTo>
                    <a:cubicBezTo>
                      <a:pt x="2535" y="3369"/>
                      <a:pt x="2535" y="3369"/>
                      <a:pt x="2535" y="3369"/>
                    </a:cubicBezTo>
                    <a:cubicBezTo>
                      <a:pt x="2556" y="3369"/>
                      <a:pt x="2556" y="3369"/>
                      <a:pt x="2556" y="3369"/>
                    </a:cubicBezTo>
                    <a:cubicBezTo>
                      <a:pt x="2744" y="3320"/>
                      <a:pt x="2744" y="3320"/>
                      <a:pt x="2744" y="3320"/>
                    </a:cubicBezTo>
                    <a:cubicBezTo>
                      <a:pt x="2734" y="3320"/>
                      <a:pt x="2734" y="3320"/>
                      <a:pt x="2734" y="3320"/>
                    </a:cubicBezTo>
                    <a:cubicBezTo>
                      <a:pt x="2653" y="3324"/>
                      <a:pt x="2653" y="3324"/>
                      <a:pt x="2653" y="3324"/>
                    </a:cubicBezTo>
                    <a:cubicBezTo>
                      <a:pt x="2468" y="3049"/>
                      <a:pt x="2468" y="3049"/>
                      <a:pt x="2468" y="3049"/>
                    </a:cubicBezTo>
                    <a:cubicBezTo>
                      <a:pt x="2550" y="3045"/>
                      <a:pt x="2550" y="3045"/>
                      <a:pt x="2550" y="3045"/>
                    </a:cubicBezTo>
                    <a:cubicBezTo>
                      <a:pt x="2747" y="3319"/>
                      <a:pt x="2747" y="3319"/>
                      <a:pt x="2747" y="3319"/>
                    </a:cubicBezTo>
                    <a:cubicBezTo>
                      <a:pt x="2802" y="3305"/>
                      <a:pt x="2802" y="3305"/>
                      <a:pt x="2802" y="3305"/>
                    </a:cubicBezTo>
                    <a:lnTo>
                      <a:pt x="2581" y="3011"/>
                    </a:lnTo>
                    <a:close/>
                    <a:moveTo>
                      <a:pt x="2543" y="3060"/>
                    </a:moveTo>
                    <a:cubicBezTo>
                      <a:pt x="2495" y="3062"/>
                      <a:pt x="2495" y="3062"/>
                      <a:pt x="2495" y="3062"/>
                    </a:cubicBezTo>
                    <a:cubicBezTo>
                      <a:pt x="2661" y="3309"/>
                      <a:pt x="2661" y="3309"/>
                      <a:pt x="2661" y="3309"/>
                    </a:cubicBezTo>
                    <a:cubicBezTo>
                      <a:pt x="2720" y="3306"/>
                      <a:pt x="2720" y="3306"/>
                      <a:pt x="2720" y="3306"/>
                    </a:cubicBezTo>
                    <a:lnTo>
                      <a:pt x="2543" y="3060"/>
                    </a:lnTo>
                    <a:close/>
                    <a:moveTo>
                      <a:pt x="2293" y="3000"/>
                    </a:moveTo>
                    <a:cubicBezTo>
                      <a:pt x="2251" y="2991"/>
                      <a:pt x="2186" y="2975"/>
                      <a:pt x="2139" y="2956"/>
                    </a:cubicBezTo>
                    <a:cubicBezTo>
                      <a:pt x="2073" y="2928"/>
                      <a:pt x="2017" y="2874"/>
                      <a:pt x="1994" y="2849"/>
                    </a:cubicBezTo>
                    <a:cubicBezTo>
                      <a:pt x="1641" y="2999"/>
                      <a:pt x="1641" y="2999"/>
                      <a:pt x="1641" y="2999"/>
                    </a:cubicBezTo>
                    <a:cubicBezTo>
                      <a:pt x="1639" y="3019"/>
                      <a:pt x="1636" y="3056"/>
                      <a:pt x="1633" y="3094"/>
                    </a:cubicBezTo>
                    <a:cubicBezTo>
                      <a:pt x="1628" y="3145"/>
                      <a:pt x="1623" y="3193"/>
                      <a:pt x="1623" y="3196"/>
                    </a:cubicBezTo>
                    <a:cubicBezTo>
                      <a:pt x="1605" y="3195"/>
                      <a:pt x="1605" y="3195"/>
                      <a:pt x="1605" y="3195"/>
                    </a:cubicBezTo>
                    <a:cubicBezTo>
                      <a:pt x="1599" y="3265"/>
                      <a:pt x="1599" y="3265"/>
                      <a:pt x="1599" y="3265"/>
                    </a:cubicBezTo>
                    <a:cubicBezTo>
                      <a:pt x="1766" y="3373"/>
                      <a:pt x="1766" y="3373"/>
                      <a:pt x="1766" y="3373"/>
                    </a:cubicBezTo>
                    <a:cubicBezTo>
                      <a:pt x="1936" y="3219"/>
                      <a:pt x="1936" y="3219"/>
                      <a:pt x="1936" y="3219"/>
                    </a:cubicBezTo>
                    <a:cubicBezTo>
                      <a:pt x="2272" y="3103"/>
                      <a:pt x="2272" y="3103"/>
                      <a:pt x="2272" y="3103"/>
                    </a:cubicBezTo>
                    <a:lnTo>
                      <a:pt x="2293" y="3000"/>
                    </a:lnTo>
                    <a:close/>
                    <a:moveTo>
                      <a:pt x="1591" y="3279"/>
                    </a:moveTo>
                    <a:cubicBezTo>
                      <a:pt x="1260" y="3460"/>
                      <a:pt x="1260" y="3460"/>
                      <a:pt x="1260" y="3460"/>
                    </a:cubicBezTo>
                    <a:cubicBezTo>
                      <a:pt x="1273" y="3479"/>
                      <a:pt x="1289" y="3499"/>
                      <a:pt x="1310" y="3524"/>
                    </a:cubicBezTo>
                    <a:cubicBezTo>
                      <a:pt x="1328" y="3545"/>
                      <a:pt x="1357" y="3577"/>
                      <a:pt x="1386" y="3610"/>
                    </a:cubicBezTo>
                    <a:cubicBezTo>
                      <a:pt x="1422" y="3594"/>
                      <a:pt x="1452" y="3580"/>
                      <a:pt x="1467" y="3571"/>
                    </a:cubicBezTo>
                    <a:cubicBezTo>
                      <a:pt x="1500" y="3553"/>
                      <a:pt x="1558" y="3543"/>
                      <a:pt x="1616" y="3534"/>
                    </a:cubicBezTo>
                    <a:cubicBezTo>
                      <a:pt x="1673" y="3525"/>
                      <a:pt x="1730" y="3517"/>
                      <a:pt x="1751" y="3507"/>
                    </a:cubicBezTo>
                    <a:cubicBezTo>
                      <a:pt x="1796" y="3486"/>
                      <a:pt x="1878" y="3424"/>
                      <a:pt x="1919" y="3382"/>
                    </a:cubicBezTo>
                    <a:cubicBezTo>
                      <a:pt x="1952" y="3349"/>
                      <a:pt x="2022" y="3279"/>
                      <a:pt x="2111" y="3279"/>
                    </a:cubicBezTo>
                    <a:cubicBezTo>
                      <a:pt x="2140" y="3279"/>
                      <a:pt x="2171" y="3287"/>
                      <a:pt x="2202" y="3307"/>
                    </a:cubicBezTo>
                    <a:cubicBezTo>
                      <a:pt x="2207" y="3310"/>
                      <a:pt x="2207" y="3310"/>
                      <a:pt x="2207" y="3310"/>
                    </a:cubicBezTo>
                    <a:cubicBezTo>
                      <a:pt x="2208" y="3315"/>
                      <a:pt x="2208" y="3315"/>
                      <a:pt x="2208" y="3315"/>
                    </a:cubicBezTo>
                    <a:cubicBezTo>
                      <a:pt x="2210" y="3334"/>
                      <a:pt x="2215" y="3349"/>
                      <a:pt x="2220" y="3362"/>
                    </a:cubicBezTo>
                    <a:cubicBezTo>
                      <a:pt x="2269" y="3122"/>
                      <a:pt x="2269" y="3122"/>
                      <a:pt x="2269" y="3122"/>
                    </a:cubicBezTo>
                    <a:cubicBezTo>
                      <a:pt x="1945" y="3233"/>
                      <a:pt x="1945" y="3233"/>
                      <a:pt x="1945" y="3233"/>
                    </a:cubicBezTo>
                    <a:cubicBezTo>
                      <a:pt x="1767" y="3394"/>
                      <a:pt x="1767" y="3394"/>
                      <a:pt x="1767" y="3394"/>
                    </a:cubicBezTo>
                    <a:lnTo>
                      <a:pt x="1591" y="3279"/>
                    </a:lnTo>
                    <a:close/>
                    <a:moveTo>
                      <a:pt x="1338" y="3659"/>
                    </a:moveTo>
                    <a:cubicBezTo>
                      <a:pt x="1328" y="3664"/>
                      <a:pt x="1319" y="3668"/>
                      <a:pt x="1310" y="3672"/>
                    </a:cubicBezTo>
                    <a:cubicBezTo>
                      <a:pt x="1400" y="3774"/>
                      <a:pt x="1400" y="3774"/>
                      <a:pt x="1400" y="3774"/>
                    </a:cubicBezTo>
                    <a:cubicBezTo>
                      <a:pt x="1409" y="3769"/>
                      <a:pt x="1419" y="3764"/>
                      <a:pt x="1429" y="3760"/>
                    </a:cubicBezTo>
                    <a:cubicBezTo>
                      <a:pt x="1406" y="3735"/>
                      <a:pt x="1372" y="3697"/>
                      <a:pt x="1338" y="3659"/>
                    </a:cubicBezTo>
                    <a:close/>
                    <a:moveTo>
                      <a:pt x="1287" y="3683"/>
                    </a:moveTo>
                    <a:cubicBezTo>
                      <a:pt x="1276" y="3688"/>
                      <a:pt x="1266" y="3692"/>
                      <a:pt x="1256" y="3697"/>
                    </a:cubicBezTo>
                    <a:cubicBezTo>
                      <a:pt x="1295" y="3743"/>
                      <a:pt x="1326" y="3779"/>
                      <a:pt x="1346" y="3801"/>
                    </a:cubicBezTo>
                    <a:cubicBezTo>
                      <a:pt x="1353" y="3797"/>
                      <a:pt x="1364" y="3792"/>
                      <a:pt x="1378" y="3785"/>
                    </a:cubicBezTo>
                    <a:lnTo>
                      <a:pt x="1287" y="3683"/>
                    </a:lnTo>
                    <a:close/>
                    <a:moveTo>
                      <a:pt x="1300" y="3903"/>
                    </a:moveTo>
                    <a:cubicBezTo>
                      <a:pt x="1293" y="3908"/>
                      <a:pt x="1285" y="3914"/>
                      <a:pt x="1277" y="3920"/>
                    </a:cubicBezTo>
                    <a:cubicBezTo>
                      <a:pt x="1291" y="3947"/>
                      <a:pt x="1298" y="3969"/>
                      <a:pt x="1298" y="3970"/>
                    </a:cubicBezTo>
                    <a:cubicBezTo>
                      <a:pt x="1299" y="3973"/>
                      <a:pt x="1299" y="3973"/>
                      <a:pt x="1299" y="3973"/>
                    </a:cubicBezTo>
                    <a:cubicBezTo>
                      <a:pt x="1299" y="3975"/>
                      <a:pt x="1299" y="3975"/>
                      <a:pt x="1299" y="3975"/>
                    </a:cubicBezTo>
                    <a:cubicBezTo>
                      <a:pt x="1299" y="3975"/>
                      <a:pt x="1298" y="3979"/>
                      <a:pt x="1298" y="3986"/>
                    </a:cubicBezTo>
                    <a:cubicBezTo>
                      <a:pt x="1298" y="4003"/>
                      <a:pt x="1302" y="4037"/>
                      <a:pt x="1333" y="4068"/>
                    </a:cubicBezTo>
                    <a:cubicBezTo>
                      <a:pt x="1358" y="4094"/>
                      <a:pt x="1369" y="4121"/>
                      <a:pt x="1369" y="4146"/>
                    </a:cubicBezTo>
                    <a:cubicBezTo>
                      <a:pt x="1369" y="4169"/>
                      <a:pt x="1360" y="4189"/>
                      <a:pt x="1351" y="4208"/>
                    </a:cubicBezTo>
                    <a:cubicBezTo>
                      <a:pt x="1335" y="4239"/>
                      <a:pt x="1303" y="4270"/>
                      <a:pt x="1304" y="4294"/>
                    </a:cubicBezTo>
                    <a:cubicBezTo>
                      <a:pt x="1304" y="4303"/>
                      <a:pt x="1307" y="4311"/>
                      <a:pt x="1317" y="4321"/>
                    </a:cubicBezTo>
                    <a:cubicBezTo>
                      <a:pt x="1342" y="4347"/>
                      <a:pt x="1414" y="4362"/>
                      <a:pt x="1464" y="4361"/>
                    </a:cubicBezTo>
                    <a:cubicBezTo>
                      <a:pt x="1486" y="4361"/>
                      <a:pt x="1505" y="4358"/>
                      <a:pt x="1510" y="4355"/>
                    </a:cubicBezTo>
                    <a:cubicBezTo>
                      <a:pt x="1525" y="4346"/>
                      <a:pt x="1594" y="4303"/>
                      <a:pt x="1657" y="4264"/>
                    </a:cubicBezTo>
                    <a:cubicBezTo>
                      <a:pt x="1326" y="3884"/>
                      <a:pt x="1326" y="3884"/>
                      <a:pt x="1326" y="3884"/>
                    </a:cubicBezTo>
                    <a:cubicBezTo>
                      <a:pt x="1321" y="3887"/>
                      <a:pt x="1312" y="3894"/>
                      <a:pt x="1300" y="3903"/>
                    </a:cubicBezTo>
                    <a:close/>
                    <a:moveTo>
                      <a:pt x="1097" y="5277"/>
                    </a:moveTo>
                    <a:cubicBezTo>
                      <a:pt x="1053" y="5292"/>
                      <a:pt x="942" y="5329"/>
                      <a:pt x="829" y="5366"/>
                    </a:cubicBezTo>
                    <a:cubicBezTo>
                      <a:pt x="756" y="5390"/>
                      <a:pt x="683" y="5414"/>
                      <a:pt x="626" y="5432"/>
                    </a:cubicBezTo>
                    <a:cubicBezTo>
                      <a:pt x="598" y="5441"/>
                      <a:pt x="575" y="5448"/>
                      <a:pt x="557" y="5454"/>
                    </a:cubicBezTo>
                    <a:cubicBezTo>
                      <a:pt x="578" y="5486"/>
                      <a:pt x="597" y="5518"/>
                      <a:pt x="611" y="5544"/>
                    </a:cubicBezTo>
                    <a:cubicBezTo>
                      <a:pt x="644" y="5536"/>
                      <a:pt x="644" y="5536"/>
                      <a:pt x="644" y="5536"/>
                    </a:cubicBezTo>
                    <a:cubicBezTo>
                      <a:pt x="614" y="5449"/>
                      <a:pt x="614" y="5449"/>
                      <a:pt x="614" y="5449"/>
                    </a:cubicBezTo>
                    <a:cubicBezTo>
                      <a:pt x="620" y="5447"/>
                      <a:pt x="620" y="5447"/>
                      <a:pt x="620" y="5447"/>
                    </a:cubicBezTo>
                    <a:cubicBezTo>
                      <a:pt x="696" y="5421"/>
                      <a:pt x="696" y="5421"/>
                      <a:pt x="696" y="5421"/>
                    </a:cubicBezTo>
                    <a:cubicBezTo>
                      <a:pt x="711" y="5465"/>
                      <a:pt x="711" y="5465"/>
                      <a:pt x="711" y="5465"/>
                    </a:cubicBezTo>
                    <a:cubicBezTo>
                      <a:pt x="752" y="5451"/>
                      <a:pt x="752" y="5451"/>
                      <a:pt x="752" y="5451"/>
                    </a:cubicBezTo>
                    <a:cubicBezTo>
                      <a:pt x="771" y="5507"/>
                      <a:pt x="771" y="5507"/>
                      <a:pt x="771" y="5507"/>
                    </a:cubicBezTo>
                    <a:cubicBezTo>
                      <a:pt x="1189" y="5409"/>
                      <a:pt x="1189" y="5409"/>
                      <a:pt x="1189" y="5409"/>
                    </a:cubicBezTo>
                    <a:lnTo>
                      <a:pt x="1097" y="5277"/>
                    </a:lnTo>
                    <a:close/>
                    <a:moveTo>
                      <a:pt x="732" y="5567"/>
                    </a:moveTo>
                    <a:cubicBezTo>
                      <a:pt x="773" y="5553"/>
                      <a:pt x="773" y="5553"/>
                      <a:pt x="773" y="5553"/>
                    </a:cubicBezTo>
                    <a:cubicBezTo>
                      <a:pt x="763" y="5523"/>
                      <a:pt x="763" y="5523"/>
                      <a:pt x="763" y="5523"/>
                    </a:cubicBezTo>
                    <a:cubicBezTo>
                      <a:pt x="662" y="5546"/>
                      <a:pt x="662" y="5546"/>
                      <a:pt x="662" y="5546"/>
                    </a:cubicBezTo>
                    <a:cubicBezTo>
                      <a:pt x="691" y="5632"/>
                      <a:pt x="691" y="5632"/>
                      <a:pt x="691" y="5632"/>
                    </a:cubicBezTo>
                    <a:cubicBezTo>
                      <a:pt x="748" y="5612"/>
                      <a:pt x="748" y="5612"/>
                      <a:pt x="748" y="5612"/>
                    </a:cubicBezTo>
                    <a:lnTo>
                      <a:pt x="732" y="5567"/>
                    </a:lnTo>
                    <a:close/>
                    <a:moveTo>
                      <a:pt x="758" y="5510"/>
                    </a:moveTo>
                    <a:cubicBezTo>
                      <a:pt x="743" y="5468"/>
                      <a:pt x="743" y="5468"/>
                      <a:pt x="743" y="5468"/>
                    </a:cubicBezTo>
                    <a:cubicBezTo>
                      <a:pt x="703" y="5482"/>
                      <a:pt x="703" y="5482"/>
                      <a:pt x="703" y="5482"/>
                    </a:cubicBezTo>
                    <a:cubicBezTo>
                      <a:pt x="687" y="5438"/>
                      <a:pt x="687" y="5438"/>
                      <a:pt x="687" y="5438"/>
                    </a:cubicBezTo>
                    <a:cubicBezTo>
                      <a:pt x="631" y="5457"/>
                      <a:pt x="631" y="5457"/>
                      <a:pt x="631" y="5457"/>
                    </a:cubicBezTo>
                    <a:cubicBezTo>
                      <a:pt x="657" y="5533"/>
                      <a:pt x="657" y="5533"/>
                      <a:pt x="657" y="5533"/>
                    </a:cubicBezTo>
                    <a:lnTo>
                      <a:pt x="758" y="5510"/>
                    </a:lnTo>
                    <a:close/>
                    <a:moveTo>
                      <a:pt x="618" y="5557"/>
                    </a:moveTo>
                    <a:cubicBezTo>
                      <a:pt x="619" y="5558"/>
                      <a:pt x="620" y="5560"/>
                      <a:pt x="621" y="5562"/>
                    </a:cubicBezTo>
                    <a:cubicBezTo>
                      <a:pt x="640" y="5599"/>
                      <a:pt x="653" y="5631"/>
                      <a:pt x="663" y="5659"/>
                    </a:cubicBezTo>
                    <a:cubicBezTo>
                      <a:pt x="672" y="5657"/>
                      <a:pt x="682" y="5655"/>
                      <a:pt x="695" y="5652"/>
                    </a:cubicBezTo>
                    <a:cubicBezTo>
                      <a:pt x="745" y="5641"/>
                      <a:pt x="816" y="5625"/>
                      <a:pt x="876" y="5611"/>
                    </a:cubicBezTo>
                    <a:cubicBezTo>
                      <a:pt x="903" y="5606"/>
                      <a:pt x="926" y="5600"/>
                      <a:pt x="945" y="5596"/>
                    </a:cubicBezTo>
                    <a:cubicBezTo>
                      <a:pt x="945" y="5596"/>
                      <a:pt x="945" y="5596"/>
                      <a:pt x="945" y="5596"/>
                    </a:cubicBezTo>
                    <a:cubicBezTo>
                      <a:pt x="945" y="5596"/>
                      <a:pt x="1168" y="5547"/>
                      <a:pt x="1270" y="5524"/>
                    </a:cubicBezTo>
                    <a:cubicBezTo>
                      <a:pt x="1198" y="5422"/>
                      <a:pt x="1198" y="5422"/>
                      <a:pt x="1198" y="5422"/>
                    </a:cubicBezTo>
                    <a:cubicBezTo>
                      <a:pt x="775" y="5520"/>
                      <a:pt x="775" y="5520"/>
                      <a:pt x="775" y="5520"/>
                    </a:cubicBezTo>
                    <a:cubicBezTo>
                      <a:pt x="790" y="5561"/>
                      <a:pt x="790" y="5561"/>
                      <a:pt x="790" y="5561"/>
                    </a:cubicBezTo>
                    <a:cubicBezTo>
                      <a:pt x="749" y="5576"/>
                      <a:pt x="749" y="5576"/>
                      <a:pt x="749" y="5576"/>
                    </a:cubicBezTo>
                    <a:cubicBezTo>
                      <a:pt x="765" y="5620"/>
                      <a:pt x="765" y="5620"/>
                      <a:pt x="765" y="5620"/>
                    </a:cubicBezTo>
                    <a:cubicBezTo>
                      <a:pt x="683" y="5648"/>
                      <a:pt x="683" y="5648"/>
                      <a:pt x="683" y="5648"/>
                    </a:cubicBezTo>
                    <a:cubicBezTo>
                      <a:pt x="649" y="5549"/>
                      <a:pt x="649" y="5549"/>
                      <a:pt x="649" y="5549"/>
                    </a:cubicBezTo>
                    <a:lnTo>
                      <a:pt x="618" y="5557"/>
                    </a:lnTo>
                    <a:close/>
                    <a:moveTo>
                      <a:pt x="1040" y="5663"/>
                    </a:moveTo>
                    <a:cubicBezTo>
                      <a:pt x="1162" y="5861"/>
                      <a:pt x="1162" y="5861"/>
                      <a:pt x="1162" y="5861"/>
                    </a:cubicBezTo>
                    <a:cubicBezTo>
                      <a:pt x="1164" y="5864"/>
                      <a:pt x="1164" y="5864"/>
                      <a:pt x="1164" y="5864"/>
                    </a:cubicBezTo>
                    <a:cubicBezTo>
                      <a:pt x="1164" y="5868"/>
                      <a:pt x="1164" y="5868"/>
                      <a:pt x="1164" y="5868"/>
                    </a:cubicBezTo>
                    <a:cubicBezTo>
                      <a:pt x="1168" y="6081"/>
                      <a:pt x="1168" y="6081"/>
                      <a:pt x="1168" y="6081"/>
                    </a:cubicBezTo>
                    <a:cubicBezTo>
                      <a:pt x="1433" y="6301"/>
                      <a:pt x="1433" y="6301"/>
                      <a:pt x="1433" y="6301"/>
                    </a:cubicBezTo>
                    <a:cubicBezTo>
                      <a:pt x="1566" y="6098"/>
                      <a:pt x="1566" y="6098"/>
                      <a:pt x="1566" y="6098"/>
                    </a:cubicBezTo>
                    <a:cubicBezTo>
                      <a:pt x="1516" y="5697"/>
                      <a:pt x="1516" y="5697"/>
                      <a:pt x="1516" y="5697"/>
                    </a:cubicBezTo>
                    <a:cubicBezTo>
                      <a:pt x="1320" y="5598"/>
                      <a:pt x="1320" y="5598"/>
                      <a:pt x="1320" y="5598"/>
                    </a:cubicBezTo>
                    <a:lnTo>
                      <a:pt x="1040" y="5663"/>
                    </a:lnTo>
                    <a:close/>
                    <a:moveTo>
                      <a:pt x="677" y="6008"/>
                    </a:moveTo>
                    <a:cubicBezTo>
                      <a:pt x="1024" y="6004"/>
                      <a:pt x="1024" y="6004"/>
                      <a:pt x="1024" y="6004"/>
                    </a:cubicBezTo>
                    <a:cubicBezTo>
                      <a:pt x="1112" y="6084"/>
                      <a:pt x="1112" y="6084"/>
                      <a:pt x="1112" y="6084"/>
                    </a:cubicBezTo>
                    <a:cubicBezTo>
                      <a:pt x="1111" y="5887"/>
                      <a:pt x="1111" y="5887"/>
                      <a:pt x="1111" y="5887"/>
                    </a:cubicBezTo>
                    <a:cubicBezTo>
                      <a:pt x="972" y="5661"/>
                      <a:pt x="972" y="5661"/>
                      <a:pt x="972" y="5661"/>
                    </a:cubicBezTo>
                    <a:cubicBezTo>
                      <a:pt x="960" y="5664"/>
                      <a:pt x="928" y="5670"/>
                      <a:pt x="928" y="5670"/>
                    </a:cubicBezTo>
                    <a:cubicBezTo>
                      <a:pt x="878" y="5681"/>
                      <a:pt x="815" y="5692"/>
                      <a:pt x="756" y="5705"/>
                    </a:cubicBezTo>
                    <a:cubicBezTo>
                      <a:pt x="726" y="5712"/>
                      <a:pt x="699" y="5718"/>
                      <a:pt x="680" y="5723"/>
                    </a:cubicBezTo>
                    <a:cubicBezTo>
                      <a:pt x="680" y="5723"/>
                      <a:pt x="679" y="5723"/>
                      <a:pt x="678" y="5723"/>
                    </a:cubicBezTo>
                    <a:cubicBezTo>
                      <a:pt x="681" y="5738"/>
                      <a:pt x="682" y="5751"/>
                      <a:pt x="682" y="5764"/>
                    </a:cubicBezTo>
                    <a:cubicBezTo>
                      <a:pt x="683" y="5771"/>
                      <a:pt x="683" y="5781"/>
                      <a:pt x="683" y="5794"/>
                    </a:cubicBezTo>
                    <a:cubicBezTo>
                      <a:pt x="683" y="5839"/>
                      <a:pt x="681" y="5919"/>
                      <a:pt x="677" y="5997"/>
                    </a:cubicBezTo>
                    <a:cubicBezTo>
                      <a:pt x="677" y="6000"/>
                      <a:pt x="677" y="6004"/>
                      <a:pt x="677" y="6008"/>
                    </a:cubicBezTo>
                    <a:close/>
                    <a:moveTo>
                      <a:pt x="1358" y="6616"/>
                    </a:moveTo>
                    <a:cubicBezTo>
                      <a:pt x="1532" y="6676"/>
                      <a:pt x="1532" y="6676"/>
                      <a:pt x="1532" y="6676"/>
                    </a:cubicBezTo>
                    <a:cubicBezTo>
                      <a:pt x="1595" y="6714"/>
                      <a:pt x="1595" y="6714"/>
                      <a:pt x="1595" y="6714"/>
                    </a:cubicBezTo>
                    <a:cubicBezTo>
                      <a:pt x="1882" y="6266"/>
                      <a:pt x="1882" y="6266"/>
                      <a:pt x="1882" y="6266"/>
                    </a:cubicBezTo>
                    <a:cubicBezTo>
                      <a:pt x="1658" y="6184"/>
                      <a:pt x="1658" y="6184"/>
                      <a:pt x="1658" y="6184"/>
                    </a:cubicBezTo>
                    <a:cubicBezTo>
                      <a:pt x="1645" y="6203"/>
                      <a:pt x="1623" y="6237"/>
                      <a:pt x="1603" y="6269"/>
                    </a:cubicBezTo>
                    <a:cubicBezTo>
                      <a:pt x="1573" y="6315"/>
                      <a:pt x="1545" y="6360"/>
                      <a:pt x="1545" y="6360"/>
                    </a:cubicBezTo>
                    <a:cubicBezTo>
                      <a:pt x="1544" y="6361"/>
                      <a:pt x="1544" y="6361"/>
                      <a:pt x="1544" y="6361"/>
                    </a:cubicBezTo>
                    <a:lnTo>
                      <a:pt x="1358" y="6616"/>
                    </a:lnTo>
                    <a:close/>
                    <a:moveTo>
                      <a:pt x="2851" y="8045"/>
                    </a:moveTo>
                    <a:cubicBezTo>
                      <a:pt x="2873" y="8074"/>
                      <a:pt x="2912" y="8123"/>
                      <a:pt x="2950" y="8172"/>
                    </a:cubicBezTo>
                    <a:cubicBezTo>
                      <a:pt x="2978" y="8209"/>
                      <a:pt x="3006" y="8245"/>
                      <a:pt x="3028" y="8273"/>
                    </a:cubicBezTo>
                    <a:cubicBezTo>
                      <a:pt x="3038" y="8287"/>
                      <a:pt x="3047" y="8299"/>
                      <a:pt x="3053" y="8307"/>
                    </a:cubicBezTo>
                    <a:cubicBezTo>
                      <a:pt x="3054" y="8308"/>
                      <a:pt x="3055" y="8309"/>
                      <a:pt x="3055" y="8310"/>
                    </a:cubicBezTo>
                    <a:cubicBezTo>
                      <a:pt x="3370" y="8134"/>
                      <a:pt x="3370" y="8134"/>
                      <a:pt x="3370" y="8134"/>
                    </a:cubicBezTo>
                    <a:cubicBezTo>
                      <a:pt x="3292" y="8043"/>
                      <a:pt x="3292" y="8043"/>
                      <a:pt x="3292" y="8043"/>
                    </a:cubicBezTo>
                    <a:cubicBezTo>
                      <a:pt x="3284" y="8037"/>
                      <a:pt x="3222" y="7996"/>
                      <a:pt x="3160" y="7955"/>
                    </a:cubicBezTo>
                    <a:cubicBezTo>
                      <a:pt x="3126" y="7933"/>
                      <a:pt x="3093" y="7910"/>
                      <a:pt x="3068" y="7893"/>
                    </a:cubicBezTo>
                    <a:cubicBezTo>
                      <a:pt x="3061" y="7888"/>
                      <a:pt x="3055" y="7884"/>
                      <a:pt x="3049" y="7880"/>
                    </a:cubicBezTo>
                    <a:cubicBezTo>
                      <a:pt x="3003" y="7916"/>
                      <a:pt x="2951" y="7957"/>
                      <a:pt x="2900" y="8001"/>
                    </a:cubicBezTo>
                    <a:cubicBezTo>
                      <a:pt x="2883" y="8016"/>
                      <a:pt x="2867" y="8030"/>
                      <a:pt x="2851" y="8045"/>
                    </a:cubicBezTo>
                    <a:close/>
                    <a:moveTo>
                      <a:pt x="3320" y="8758"/>
                    </a:moveTo>
                    <a:cubicBezTo>
                      <a:pt x="3449" y="8812"/>
                      <a:pt x="3449" y="8812"/>
                      <a:pt x="3449" y="8812"/>
                    </a:cubicBezTo>
                    <a:cubicBezTo>
                      <a:pt x="3702" y="8547"/>
                      <a:pt x="3702" y="8547"/>
                      <a:pt x="3702" y="8547"/>
                    </a:cubicBezTo>
                    <a:cubicBezTo>
                      <a:pt x="3573" y="8331"/>
                      <a:pt x="3573" y="8331"/>
                      <a:pt x="3573" y="8331"/>
                    </a:cubicBezTo>
                    <a:cubicBezTo>
                      <a:pt x="3469" y="8391"/>
                      <a:pt x="3469" y="8391"/>
                      <a:pt x="3469" y="8391"/>
                    </a:cubicBezTo>
                    <a:cubicBezTo>
                      <a:pt x="3465" y="8386"/>
                      <a:pt x="3465" y="8386"/>
                      <a:pt x="3465" y="8386"/>
                    </a:cubicBezTo>
                    <a:cubicBezTo>
                      <a:pt x="3416" y="8301"/>
                      <a:pt x="3416" y="8301"/>
                      <a:pt x="3416" y="8301"/>
                    </a:cubicBezTo>
                    <a:cubicBezTo>
                      <a:pt x="3519" y="8242"/>
                      <a:pt x="3519" y="8242"/>
                      <a:pt x="3519" y="8242"/>
                    </a:cubicBezTo>
                    <a:cubicBezTo>
                      <a:pt x="3467" y="8155"/>
                      <a:pt x="3467" y="8155"/>
                      <a:pt x="3467" y="8155"/>
                    </a:cubicBezTo>
                    <a:cubicBezTo>
                      <a:pt x="3213" y="8297"/>
                      <a:pt x="3213" y="8297"/>
                      <a:pt x="3213" y="8297"/>
                    </a:cubicBezTo>
                    <a:cubicBezTo>
                      <a:pt x="3229" y="8328"/>
                      <a:pt x="3257" y="8384"/>
                      <a:pt x="3286" y="8438"/>
                    </a:cubicBezTo>
                    <a:cubicBezTo>
                      <a:pt x="3326" y="8517"/>
                      <a:pt x="3367" y="8593"/>
                      <a:pt x="3367" y="8594"/>
                    </a:cubicBezTo>
                    <a:cubicBezTo>
                      <a:pt x="3368" y="8596"/>
                      <a:pt x="3368" y="8596"/>
                      <a:pt x="3368" y="8596"/>
                    </a:cubicBezTo>
                    <a:cubicBezTo>
                      <a:pt x="3367" y="8599"/>
                      <a:pt x="3367" y="8599"/>
                      <a:pt x="3367" y="8599"/>
                    </a:cubicBezTo>
                    <a:cubicBezTo>
                      <a:pt x="3367" y="8599"/>
                      <a:pt x="3357" y="8638"/>
                      <a:pt x="3346" y="8678"/>
                    </a:cubicBezTo>
                    <a:cubicBezTo>
                      <a:pt x="3341" y="8697"/>
                      <a:pt x="3335" y="8717"/>
                      <a:pt x="3330" y="8732"/>
                    </a:cubicBezTo>
                    <a:cubicBezTo>
                      <a:pt x="3328" y="8740"/>
                      <a:pt x="3326" y="8746"/>
                      <a:pt x="3324" y="8750"/>
                    </a:cubicBezTo>
                    <a:cubicBezTo>
                      <a:pt x="3323" y="8753"/>
                      <a:pt x="3322" y="8755"/>
                      <a:pt x="3321" y="8756"/>
                    </a:cubicBezTo>
                    <a:cubicBezTo>
                      <a:pt x="3321" y="8757"/>
                      <a:pt x="3321" y="8757"/>
                      <a:pt x="3320" y="8758"/>
                    </a:cubicBezTo>
                    <a:close/>
                    <a:moveTo>
                      <a:pt x="3459" y="8821"/>
                    </a:moveTo>
                    <a:cubicBezTo>
                      <a:pt x="3580" y="9059"/>
                      <a:pt x="3580" y="9059"/>
                      <a:pt x="3580" y="9059"/>
                    </a:cubicBezTo>
                    <a:cubicBezTo>
                      <a:pt x="3603" y="9039"/>
                      <a:pt x="3685" y="8968"/>
                      <a:pt x="3767" y="8897"/>
                    </a:cubicBezTo>
                    <a:cubicBezTo>
                      <a:pt x="3815" y="8855"/>
                      <a:pt x="3864" y="8812"/>
                      <a:pt x="3900" y="8780"/>
                    </a:cubicBezTo>
                    <a:cubicBezTo>
                      <a:pt x="3918" y="8764"/>
                      <a:pt x="3933" y="8751"/>
                      <a:pt x="3944" y="8741"/>
                    </a:cubicBezTo>
                    <a:cubicBezTo>
                      <a:pt x="3949" y="8736"/>
                      <a:pt x="3953" y="8732"/>
                      <a:pt x="3956" y="8730"/>
                    </a:cubicBezTo>
                    <a:cubicBezTo>
                      <a:pt x="3957" y="8729"/>
                      <a:pt x="3958" y="8728"/>
                      <a:pt x="3959" y="8727"/>
                    </a:cubicBezTo>
                    <a:cubicBezTo>
                      <a:pt x="3960" y="8724"/>
                      <a:pt x="3961" y="8725"/>
                      <a:pt x="3961" y="8724"/>
                    </a:cubicBezTo>
                    <a:cubicBezTo>
                      <a:pt x="3961" y="8724"/>
                      <a:pt x="3961" y="8724"/>
                      <a:pt x="3961" y="8724"/>
                    </a:cubicBezTo>
                    <a:cubicBezTo>
                      <a:pt x="3961" y="8724"/>
                      <a:pt x="3961" y="8724"/>
                      <a:pt x="3961" y="8724"/>
                    </a:cubicBezTo>
                    <a:cubicBezTo>
                      <a:pt x="3966" y="8721"/>
                      <a:pt x="3989" y="8710"/>
                      <a:pt x="4026" y="8692"/>
                    </a:cubicBezTo>
                    <a:cubicBezTo>
                      <a:pt x="4124" y="8644"/>
                      <a:pt x="4305" y="8557"/>
                      <a:pt x="4345" y="8537"/>
                    </a:cubicBezTo>
                    <a:cubicBezTo>
                      <a:pt x="4335" y="8494"/>
                      <a:pt x="4326" y="8458"/>
                      <a:pt x="4319" y="8436"/>
                    </a:cubicBezTo>
                    <a:cubicBezTo>
                      <a:pt x="4314" y="8421"/>
                      <a:pt x="4296" y="8384"/>
                      <a:pt x="4272" y="8339"/>
                    </a:cubicBezTo>
                    <a:cubicBezTo>
                      <a:pt x="4271" y="8339"/>
                      <a:pt x="4270" y="8339"/>
                      <a:pt x="4269" y="8339"/>
                    </a:cubicBezTo>
                    <a:cubicBezTo>
                      <a:pt x="3864" y="8588"/>
                      <a:pt x="3864" y="8588"/>
                      <a:pt x="3864" y="8588"/>
                    </a:cubicBezTo>
                    <a:cubicBezTo>
                      <a:pt x="3713" y="8555"/>
                      <a:pt x="3713" y="8555"/>
                      <a:pt x="3713" y="8555"/>
                    </a:cubicBezTo>
                    <a:lnTo>
                      <a:pt x="3459" y="8821"/>
                    </a:lnTo>
                    <a:close/>
                    <a:moveTo>
                      <a:pt x="4287" y="9031"/>
                    </a:moveTo>
                    <a:cubicBezTo>
                      <a:pt x="4287" y="9031"/>
                      <a:pt x="4287" y="9031"/>
                      <a:pt x="4288" y="9031"/>
                    </a:cubicBezTo>
                    <a:cubicBezTo>
                      <a:pt x="4343" y="8992"/>
                      <a:pt x="4394" y="8956"/>
                      <a:pt x="4424" y="8935"/>
                    </a:cubicBezTo>
                    <a:cubicBezTo>
                      <a:pt x="4418" y="8900"/>
                      <a:pt x="4404" y="8821"/>
                      <a:pt x="4387" y="8735"/>
                    </a:cubicBezTo>
                    <a:cubicBezTo>
                      <a:pt x="4375" y="8673"/>
                      <a:pt x="4361" y="8607"/>
                      <a:pt x="4348" y="8551"/>
                    </a:cubicBezTo>
                    <a:cubicBezTo>
                      <a:pt x="4320" y="8565"/>
                      <a:pt x="4242" y="8602"/>
                      <a:pt x="4164" y="8640"/>
                    </a:cubicBezTo>
                    <a:cubicBezTo>
                      <a:pt x="4115" y="8664"/>
                      <a:pt x="4066" y="8688"/>
                      <a:pt x="4029" y="8706"/>
                    </a:cubicBezTo>
                    <a:cubicBezTo>
                      <a:pt x="4011" y="8715"/>
                      <a:pt x="3996" y="8722"/>
                      <a:pt x="3985" y="8728"/>
                    </a:cubicBezTo>
                    <a:cubicBezTo>
                      <a:pt x="3981" y="8729"/>
                      <a:pt x="3979" y="8730"/>
                      <a:pt x="3977" y="8732"/>
                    </a:cubicBezTo>
                    <a:cubicBezTo>
                      <a:pt x="3997" y="8752"/>
                      <a:pt x="4065" y="8818"/>
                      <a:pt x="4134" y="8885"/>
                    </a:cubicBezTo>
                    <a:cubicBezTo>
                      <a:pt x="4175" y="8925"/>
                      <a:pt x="4217" y="8965"/>
                      <a:pt x="4248" y="8995"/>
                    </a:cubicBezTo>
                    <a:cubicBezTo>
                      <a:pt x="4264" y="9010"/>
                      <a:pt x="4278" y="9022"/>
                      <a:pt x="4287" y="9031"/>
                    </a:cubicBezTo>
                    <a:close/>
                    <a:moveTo>
                      <a:pt x="5039" y="7912"/>
                    </a:moveTo>
                    <a:cubicBezTo>
                      <a:pt x="4999" y="7861"/>
                      <a:pt x="4759" y="7510"/>
                      <a:pt x="4718" y="7450"/>
                    </a:cubicBezTo>
                    <a:cubicBezTo>
                      <a:pt x="4291" y="7693"/>
                      <a:pt x="4291" y="7693"/>
                      <a:pt x="4291" y="7693"/>
                    </a:cubicBezTo>
                    <a:cubicBezTo>
                      <a:pt x="4568" y="8174"/>
                      <a:pt x="4568" y="8174"/>
                      <a:pt x="4568" y="8174"/>
                    </a:cubicBezTo>
                    <a:cubicBezTo>
                      <a:pt x="4605" y="8153"/>
                      <a:pt x="4644" y="8131"/>
                      <a:pt x="4683" y="8110"/>
                    </a:cubicBezTo>
                    <a:cubicBezTo>
                      <a:pt x="4844" y="8020"/>
                      <a:pt x="5004" y="7932"/>
                      <a:pt x="5039" y="7912"/>
                    </a:cubicBezTo>
                    <a:close/>
                    <a:moveTo>
                      <a:pt x="5050" y="7904"/>
                    </a:moveTo>
                    <a:cubicBezTo>
                      <a:pt x="5050" y="7904"/>
                      <a:pt x="5050" y="7905"/>
                      <a:pt x="5051" y="7905"/>
                    </a:cubicBezTo>
                    <a:cubicBezTo>
                      <a:pt x="5438" y="7628"/>
                      <a:pt x="5438" y="7628"/>
                      <a:pt x="5438" y="7628"/>
                    </a:cubicBezTo>
                    <a:cubicBezTo>
                      <a:pt x="5161" y="7197"/>
                      <a:pt x="5161" y="7197"/>
                      <a:pt x="5161" y="7197"/>
                    </a:cubicBezTo>
                    <a:cubicBezTo>
                      <a:pt x="4730" y="7443"/>
                      <a:pt x="4730" y="7443"/>
                      <a:pt x="4730" y="7443"/>
                    </a:cubicBezTo>
                    <a:cubicBezTo>
                      <a:pt x="4751" y="7473"/>
                      <a:pt x="4818" y="7571"/>
                      <a:pt x="4886" y="7670"/>
                    </a:cubicBezTo>
                    <a:cubicBezTo>
                      <a:pt x="4927" y="7729"/>
                      <a:pt x="4968" y="7789"/>
                      <a:pt x="5000" y="7834"/>
                    </a:cubicBezTo>
                    <a:cubicBezTo>
                      <a:pt x="5016" y="7856"/>
                      <a:pt x="5029" y="7875"/>
                      <a:pt x="5038" y="7888"/>
                    </a:cubicBezTo>
                    <a:cubicBezTo>
                      <a:pt x="5043" y="7895"/>
                      <a:pt x="5047" y="7900"/>
                      <a:pt x="5050" y="7904"/>
                    </a:cubicBezTo>
                    <a:close/>
                    <a:moveTo>
                      <a:pt x="5449" y="7619"/>
                    </a:moveTo>
                    <a:cubicBezTo>
                      <a:pt x="5842" y="7293"/>
                      <a:pt x="5842" y="7293"/>
                      <a:pt x="5842" y="7293"/>
                    </a:cubicBezTo>
                    <a:cubicBezTo>
                      <a:pt x="5528" y="7016"/>
                      <a:pt x="5528" y="7016"/>
                      <a:pt x="5528" y="7016"/>
                    </a:cubicBezTo>
                    <a:cubicBezTo>
                      <a:pt x="5571" y="6903"/>
                      <a:pt x="5571" y="6903"/>
                      <a:pt x="5571" y="6903"/>
                    </a:cubicBezTo>
                    <a:cubicBezTo>
                      <a:pt x="5173" y="7190"/>
                      <a:pt x="5173" y="7190"/>
                      <a:pt x="5173" y="7190"/>
                    </a:cubicBezTo>
                    <a:lnTo>
                      <a:pt x="5449" y="7619"/>
                    </a:lnTo>
                    <a:close/>
                    <a:moveTo>
                      <a:pt x="5455" y="7632"/>
                    </a:moveTo>
                    <a:cubicBezTo>
                      <a:pt x="5479" y="7806"/>
                      <a:pt x="5479" y="7806"/>
                      <a:pt x="5479" y="7806"/>
                    </a:cubicBezTo>
                    <a:cubicBezTo>
                      <a:pt x="5511" y="7787"/>
                      <a:pt x="5639" y="7711"/>
                      <a:pt x="5767" y="7634"/>
                    </a:cubicBezTo>
                    <a:cubicBezTo>
                      <a:pt x="5841" y="7590"/>
                      <a:pt x="5915" y="7545"/>
                      <a:pt x="5970" y="7512"/>
                    </a:cubicBezTo>
                    <a:cubicBezTo>
                      <a:pt x="5998" y="7495"/>
                      <a:pt x="6021" y="7481"/>
                      <a:pt x="6037" y="7471"/>
                    </a:cubicBezTo>
                    <a:cubicBezTo>
                      <a:pt x="6039" y="7470"/>
                      <a:pt x="6040" y="7469"/>
                      <a:pt x="6041" y="7468"/>
                    </a:cubicBezTo>
                    <a:cubicBezTo>
                      <a:pt x="6041" y="7467"/>
                      <a:pt x="6041" y="7467"/>
                      <a:pt x="6041" y="7467"/>
                    </a:cubicBezTo>
                    <a:cubicBezTo>
                      <a:pt x="5853" y="7302"/>
                      <a:pt x="5853" y="7302"/>
                      <a:pt x="5853" y="7302"/>
                    </a:cubicBezTo>
                    <a:lnTo>
                      <a:pt x="5455" y="7632"/>
                    </a:lnTo>
                    <a:close/>
                    <a:moveTo>
                      <a:pt x="5482" y="7821"/>
                    </a:moveTo>
                    <a:cubicBezTo>
                      <a:pt x="5502" y="7961"/>
                      <a:pt x="5502" y="7961"/>
                      <a:pt x="5502" y="7961"/>
                    </a:cubicBezTo>
                    <a:cubicBezTo>
                      <a:pt x="5827" y="7973"/>
                      <a:pt x="5827" y="7973"/>
                      <a:pt x="5827" y="7973"/>
                    </a:cubicBezTo>
                    <a:cubicBezTo>
                      <a:pt x="5826" y="7973"/>
                      <a:pt x="6019" y="7970"/>
                      <a:pt x="6080" y="7969"/>
                    </a:cubicBezTo>
                    <a:cubicBezTo>
                      <a:pt x="6042" y="7484"/>
                      <a:pt x="6042" y="7484"/>
                      <a:pt x="6042" y="7484"/>
                    </a:cubicBezTo>
                    <a:cubicBezTo>
                      <a:pt x="5991" y="7516"/>
                      <a:pt x="5879" y="7583"/>
                      <a:pt x="5768" y="7650"/>
                    </a:cubicBezTo>
                    <a:cubicBezTo>
                      <a:pt x="5633" y="7731"/>
                      <a:pt x="5500" y="7810"/>
                      <a:pt x="5482" y="7821"/>
                    </a:cubicBezTo>
                    <a:close/>
                    <a:moveTo>
                      <a:pt x="6135" y="7821"/>
                    </a:moveTo>
                    <a:cubicBezTo>
                      <a:pt x="6144" y="7821"/>
                      <a:pt x="6156" y="7822"/>
                      <a:pt x="6170" y="7822"/>
                    </a:cubicBezTo>
                    <a:cubicBezTo>
                      <a:pt x="6171" y="7762"/>
                      <a:pt x="6171" y="7762"/>
                      <a:pt x="6171" y="7762"/>
                    </a:cubicBezTo>
                    <a:cubicBezTo>
                      <a:pt x="6214" y="7763"/>
                      <a:pt x="6214" y="7763"/>
                      <a:pt x="6214" y="7763"/>
                    </a:cubicBezTo>
                    <a:cubicBezTo>
                      <a:pt x="6215" y="7716"/>
                      <a:pt x="6215" y="7716"/>
                      <a:pt x="6215" y="7716"/>
                    </a:cubicBezTo>
                    <a:cubicBezTo>
                      <a:pt x="6301" y="7718"/>
                      <a:pt x="6301" y="7718"/>
                      <a:pt x="6301" y="7718"/>
                    </a:cubicBezTo>
                    <a:cubicBezTo>
                      <a:pt x="6299" y="7826"/>
                      <a:pt x="6299" y="7826"/>
                      <a:pt x="6299" y="7826"/>
                    </a:cubicBezTo>
                    <a:cubicBezTo>
                      <a:pt x="6319" y="7827"/>
                      <a:pt x="6340" y="7828"/>
                      <a:pt x="6361" y="7828"/>
                    </a:cubicBezTo>
                    <a:cubicBezTo>
                      <a:pt x="6465" y="7831"/>
                      <a:pt x="6568" y="7834"/>
                      <a:pt x="6597" y="7835"/>
                    </a:cubicBezTo>
                    <a:cubicBezTo>
                      <a:pt x="6592" y="7695"/>
                      <a:pt x="6592" y="7695"/>
                      <a:pt x="6592" y="7695"/>
                    </a:cubicBezTo>
                    <a:cubicBezTo>
                      <a:pt x="6123" y="7670"/>
                      <a:pt x="6123" y="7670"/>
                      <a:pt x="6123" y="7670"/>
                    </a:cubicBezTo>
                    <a:lnTo>
                      <a:pt x="6135" y="7821"/>
                    </a:lnTo>
                    <a:close/>
                    <a:moveTo>
                      <a:pt x="6225" y="7867"/>
                    </a:moveTo>
                    <a:cubicBezTo>
                      <a:pt x="6224" y="7914"/>
                      <a:pt x="6224" y="7914"/>
                      <a:pt x="6224" y="7914"/>
                    </a:cubicBezTo>
                    <a:cubicBezTo>
                      <a:pt x="6284" y="7915"/>
                      <a:pt x="6284" y="7915"/>
                      <a:pt x="6284" y="7915"/>
                    </a:cubicBezTo>
                    <a:cubicBezTo>
                      <a:pt x="6286" y="7840"/>
                      <a:pt x="6286" y="7840"/>
                      <a:pt x="6286" y="7840"/>
                    </a:cubicBezTo>
                    <a:cubicBezTo>
                      <a:pt x="6249" y="7839"/>
                      <a:pt x="6214" y="7838"/>
                      <a:pt x="6185" y="7837"/>
                    </a:cubicBezTo>
                    <a:cubicBezTo>
                      <a:pt x="6184" y="7837"/>
                      <a:pt x="6183" y="7836"/>
                      <a:pt x="6183" y="7836"/>
                    </a:cubicBezTo>
                    <a:cubicBezTo>
                      <a:pt x="6182" y="7866"/>
                      <a:pt x="6182" y="7866"/>
                      <a:pt x="6182" y="7866"/>
                    </a:cubicBezTo>
                    <a:lnTo>
                      <a:pt x="6225" y="7867"/>
                    </a:lnTo>
                    <a:close/>
                    <a:moveTo>
                      <a:pt x="6286" y="7826"/>
                    </a:moveTo>
                    <a:cubicBezTo>
                      <a:pt x="6288" y="7731"/>
                      <a:pt x="6288" y="7731"/>
                      <a:pt x="6288" y="7731"/>
                    </a:cubicBezTo>
                    <a:cubicBezTo>
                      <a:pt x="6228" y="7730"/>
                      <a:pt x="6228" y="7730"/>
                      <a:pt x="6228" y="7730"/>
                    </a:cubicBezTo>
                    <a:cubicBezTo>
                      <a:pt x="6227" y="7777"/>
                      <a:pt x="6227" y="7777"/>
                      <a:pt x="6227" y="7777"/>
                    </a:cubicBezTo>
                    <a:cubicBezTo>
                      <a:pt x="6184" y="7776"/>
                      <a:pt x="6184" y="7776"/>
                      <a:pt x="6184" y="7776"/>
                    </a:cubicBezTo>
                    <a:cubicBezTo>
                      <a:pt x="6183" y="7822"/>
                      <a:pt x="6183" y="7822"/>
                      <a:pt x="6183" y="7822"/>
                    </a:cubicBezTo>
                    <a:cubicBezTo>
                      <a:pt x="6212" y="7824"/>
                      <a:pt x="6248" y="7825"/>
                      <a:pt x="6286" y="7826"/>
                    </a:cubicBezTo>
                    <a:close/>
                    <a:moveTo>
                      <a:pt x="6136" y="7835"/>
                    </a:moveTo>
                    <a:cubicBezTo>
                      <a:pt x="6148" y="7996"/>
                      <a:pt x="6148" y="7996"/>
                      <a:pt x="6148" y="7996"/>
                    </a:cubicBezTo>
                    <a:cubicBezTo>
                      <a:pt x="6227" y="7996"/>
                      <a:pt x="6450" y="7998"/>
                      <a:pt x="6555" y="7998"/>
                    </a:cubicBezTo>
                    <a:cubicBezTo>
                      <a:pt x="6571" y="7998"/>
                      <a:pt x="6584" y="7998"/>
                      <a:pt x="6593" y="7998"/>
                    </a:cubicBezTo>
                    <a:cubicBezTo>
                      <a:pt x="6598" y="7998"/>
                      <a:pt x="6601" y="7998"/>
                      <a:pt x="6603" y="7998"/>
                    </a:cubicBezTo>
                    <a:cubicBezTo>
                      <a:pt x="6598" y="7849"/>
                      <a:pt x="6598" y="7849"/>
                      <a:pt x="6598" y="7849"/>
                    </a:cubicBezTo>
                    <a:cubicBezTo>
                      <a:pt x="6569" y="7848"/>
                      <a:pt x="6463" y="7845"/>
                      <a:pt x="6356" y="7842"/>
                    </a:cubicBezTo>
                    <a:cubicBezTo>
                      <a:pt x="6337" y="7841"/>
                      <a:pt x="6318" y="7841"/>
                      <a:pt x="6299" y="7840"/>
                    </a:cubicBezTo>
                    <a:cubicBezTo>
                      <a:pt x="6297" y="7928"/>
                      <a:pt x="6297" y="7928"/>
                      <a:pt x="6297" y="7928"/>
                    </a:cubicBezTo>
                    <a:cubicBezTo>
                      <a:pt x="6291" y="7928"/>
                      <a:pt x="6291" y="7928"/>
                      <a:pt x="6291" y="7928"/>
                    </a:cubicBezTo>
                    <a:cubicBezTo>
                      <a:pt x="6211" y="7927"/>
                      <a:pt x="6211" y="7927"/>
                      <a:pt x="6211" y="7927"/>
                    </a:cubicBezTo>
                    <a:cubicBezTo>
                      <a:pt x="6212" y="7880"/>
                      <a:pt x="6212" y="7880"/>
                      <a:pt x="6212" y="7880"/>
                    </a:cubicBezTo>
                    <a:cubicBezTo>
                      <a:pt x="6169" y="7879"/>
                      <a:pt x="6169" y="7879"/>
                      <a:pt x="6169" y="7879"/>
                    </a:cubicBezTo>
                    <a:cubicBezTo>
                      <a:pt x="6169" y="7836"/>
                      <a:pt x="6169" y="7836"/>
                      <a:pt x="6169" y="7836"/>
                    </a:cubicBezTo>
                    <a:cubicBezTo>
                      <a:pt x="6156" y="7835"/>
                      <a:pt x="6145" y="7835"/>
                      <a:pt x="6136" y="7835"/>
                    </a:cubicBezTo>
                    <a:close/>
                    <a:moveTo>
                      <a:pt x="6149" y="8010"/>
                    </a:moveTo>
                    <a:cubicBezTo>
                      <a:pt x="6161" y="8156"/>
                      <a:pt x="6161" y="8156"/>
                      <a:pt x="6161" y="8156"/>
                    </a:cubicBezTo>
                    <a:cubicBezTo>
                      <a:pt x="6206" y="8153"/>
                      <a:pt x="6206" y="8153"/>
                      <a:pt x="6206" y="8153"/>
                    </a:cubicBezTo>
                    <a:cubicBezTo>
                      <a:pt x="6207" y="8096"/>
                      <a:pt x="6207" y="8096"/>
                      <a:pt x="6207" y="8096"/>
                    </a:cubicBezTo>
                    <a:cubicBezTo>
                      <a:pt x="6250" y="8096"/>
                      <a:pt x="6250" y="8096"/>
                      <a:pt x="6250" y="8096"/>
                    </a:cubicBezTo>
                    <a:cubicBezTo>
                      <a:pt x="6251" y="8049"/>
                      <a:pt x="6251" y="8049"/>
                      <a:pt x="6251" y="8049"/>
                    </a:cubicBezTo>
                    <a:cubicBezTo>
                      <a:pt x="6337" y="8051"/>
                      <a:pt x="6337" y="8051"/>
                      <a:pt x="6337" y="8051"/>
                    </a:cubicBezTo>
                    <a:cubicBezTo>
                      <a:pt x="6335" y="8144"/>
                      <a:pt x="6335" y="8144"/>
                      <a:pt x="6335" y="8144"/>
                    </a:cubicBezTo>
                    <a:cubicBezTo>
                      <a:pt x="6719" y="8119"/>
                      <a:pt x="6719" y="8119"/>
                      <a:pt x="6719" y="8119"/>
                    </a:cubicBezTo>
                    <a:cubicBezTo>
                      <a:pt x="6715" y="7963"/>
                      <a:pt x="6715" y="7963"/>
                      <a:pt x="6715" y="7963"/>
                    </a:cubicBezTo>
                    <a:cubicBezTo>
                      <a:pt x="6783" y="7978"/>
                      <a:pt x="6783" y="7978"/>
                      <a:pt x="6783" y="7978"/>
                    </a:cubicBezTo>
                    <a:cubicBezTo>
                      <a:pt x="6783" y="7978"/>
                      <a:pt x="6783" y="7978"/>
                      <a:pt x="6783" y="7978"/>
                    </a:cubicBezTo>
                    <a:cubicBezTo>
                      <a:pt x="6781" y="7973"/>
                      <a:pt x="6781" y="7965"/>
                      <a:pt x="6780" y="7949"/>
                    </a:cubicBezTo>
                    <a:cubicBezTo>
                      <a:pt x="6775" y="7858"/>
                      <a:pt x="6775" y="7566"/>
                      <a:pt x="6775" y="7483"/>
                    </a:cubicBezTo>
                    <a:cubicBezTo>
                      <a:pt x="6715" y="7484"/>
                      <a:pt x="6655" y="7484"/>
                      <a:pt x="6597" y="7484"/>
                    </a:cubicBezTo>
                    <a:cubicBezTo>
                      <a:pt x="6622" y="8125"/>
                      <a:pt x="6622" y="8125"/>
                      <a:pt x="6622" y="8125"/>
                    </a:cubicBezTo>
                    <a:cubicBezTo>
                      <a:pt x="6608" y="8126"/>
                      <a:pt x="6608" y="8126"/>
                      <a:pt x="6608" y="8126"/>
                    </a:cubicBezTo>
                    <a:cubicBezTo>
                      <a:pt x="6604" y="8012"/>
                      <a:pt x="6604" y="8012"/>
                      <a:pt x="6604" y="8012"/>
                    </a:cubicBezTo>
                    <a:cubicBezTo>
                      <a:pt x="6595" y="8012"/>
                      <a:pt x="6579" y="8012"/>
                      <a:pt x="6555" y="8012"/>
                    </a:cubicBezTo>
                    <a:cubicBezTo>
                      <a:pt x="6491" y="8012"/>
                      <a:pt x="6382" y="8011"/>
                      <a:pt x="6289" y="8011"/>
                    </a:cubicBezTo>
                    <a:cubicBezTo>
                      <a:pt x="6243" y="8010"/>
                      <a:pt x="6200" y="8010"/>
                      <a:pt x="6169" y="8010"/>
                    </a:cubicBezTo>
                    <a:cubicBezTo>
                      <a:pt x="6162" y="8010"/>
                      <a:pt x="6155" y="8010"/>
                      <a:pt x="6149" y="8010"/>
                    </a:cubicBezTo>
                    <a:close/>
                    <a:moveTo>
                      <a:pt x="6261" y="8200"/>
                    </a:moveTo>
                    <a:cubicBezTo>
                      <a:pt x="6260" y="8247"/>
                      <a:pt x="6260" y="8247"/>
                      <a:pt x="6260" y="8247"/>
                    </a:cubicBezTo>
                    <a:cubicBezTo>
                      <a:pt x="6320" y="8248"/>
                      <a:pt x="6320" y="8248"/>
                      <a:pt x="6320" y="8248"/>
                    </a:cubicBezTo>
                    <a:cubicBezTo>
                      <a:pt x="6322" y="8159"/>
                      <a:pt x="6322" y="8159"/>
                      <a:pt x="6322" y="8159"/>
                    </a:cubicBezTo>
                    <a:cubicBezTo>
                      <a:pt x="6219" y="8166"/>
                      <a:pt x="6219" y="8166"/>
                      <a:pt x="6219" y="8166"/>
                    </a:cubicBezTo>
                    <a:cubicBezTo>
                      <a:pt x="6218" y="8199"/>
                      <a:pt x="6218" y="8199"/>
                      <a:pt x="6218" y="8199"/>
                    </a:cubicBezTo>
                    <a:lnTo>
                      <a:pt x="6261" y="8200"/>
                    </a:lnTo>
                    <a:close/>
                    <a:moveTo>
                      <a:pt x="6322" y="8145"/>
                    </a:moveTo>
                    <a:cubicBezTo>
                      <a:pt x="6324" y="8064"/>
                      <a:pt x="6324" y="8064"/>
                      <a:pt x="6324" y="8064"/>
                    </a:cubicBezTo>
                    <a:cubicBezTo>
                      <a:pt x="6264" y="8063"/>
                      <a:pt x="6264" y="8063"/>
                      <a:pt x="6264" y="8063"/>
                    </a:cubicBezTo>
                    <a:cubicBezTo>
                      <a:pt x="6263" y="8110"/>
                      <a:pt x="6263" y="8110"/>
                      <a:pt x="6263" y="8110"/>
                    </a:cubicBezTo>
                    <a:cubicBezTo>
                      <a:pt x="6220" y="8109"/>
                      <a:pt x="6220" y="8109"/>
                      <a:pt x="6220" y="8109"/>
                    </a:cubicBezTo>
                    <a:cubicBezTo>
                      <a:pt x="6219" y="8152"/>
                      <a:pt x="6219" y="8152"/>
                      <a:pt x="6219" y="8152"/>
                    </a:cubicBezTo>
                    <a:lnTo>
                      <a:pt x="6322" y="8145"/>
                    </a:lnTo>
                    <a:close/>
                    <a:moveTo>
                      <a:pt x="6185" y="8467"/>
                    </a:moveTo>
                    <a:cubicBezTo>
                      <a:pt x="6205" y="8713"/>
                      <a:pt x="6205" y="8713"/>
                      <a:pt x="6205" y="8713"/>
                    </a:cubicBezTo>
                    <a:cubicBezTo>
                      <a:pt x="6406" y="8719"/>
                      <a:pt x="6406" y="8719"/>
                      <a:pt x="6406" y="8719"/>
                    </a:cubicBezTo>
                    <a:cubicBezTo>
                      <a:pt x="6412" y="8454"/>
                      <a:pt x="6412" y="8454"/>
                      <a:pt x="6412" y="8454"/>
                    </a:cubicBezTo>
                    <a:lnTo>
                      <a:pt x="6185" y="8467"/>
                    </a:lnTo>
                    <a:close/>
                    <a:moveTo>
                      <a:pt x="6718" y="9511"/>
                    </a:moveTo>
                    <a:cubicBezTo>
                      <a:pt x="6700" y="9380"/>
                      <a:pt x="6700" y="9380"/>
                      <a:pt x="6700" y="9380"/>
                    </a:cubicBezTo>
                    <a:cubicBezTo>
                      <a:pt x="6813" y="9321"/>
                      <a:pt x="6813" y="9321"/>
                      <a:pt x="6813" y="9321"/>
                    </a:cubicBezTo>
                    <a:cubicBezTo>
                      <a:pt x="6754" y="9310"/>
                      <a:pt x="6481" y="9243"/>
                      <a:pt x="6481" y="9243"/>
                    </a:cubicBezTo>
                    <a:cubicBezTo>
                      <a:pt x="6475" y="9242"/>
                      <a:pt x="6475" y="9242"/>
                      <a:pt x="6475" y="9242"/>
                    </a:cubicBezTo>
                    <a:cubicBezTo>
                      <a:pt x="6475" y="9181"/>
                      <a:pt x="6475" y="9181"/>
                      <a:pt x="6475" y="9181"/>
                    </a:cubicBezTo>
                    <a:cubicBezTo>
                      <a:pt x="6317" y="9171"/>
                      <a:pt x="6317" y="9171"/>
                      <a:pt x="6317" y="9171"/>
                    </a:cubicBezTo>
                    <a:cubicBezTo>
                      <a:pt x="6316" y="9215"/>
                      <a:pt x="6315" y="9258"/>
                      <a:pt x="6313" y="9297"/>
                    </a:cubicBezTo>
                    <a:cubicBezTo>
                      <a:pt x="6312" y="9340"/>
                      <a:pt x="6304" y="9380"/>
                      <a:pt x="6290" y="9413"/>
                    </a:cubicBezTo>
                    <a:lnTo>
                      <a:pt x="6718" y="9511"/>
                    </a:lnTo>
                    <a:close/>
                    <a:moveTo>
                      <a:pt x="6818" y="9308"/>
                    </a:moveTo>
                    <a:cubicBezTo>
                      <a:pt x="6824" y="9274"/>
                      <a:pt x="6839" y="9186"/>
                      <a:pt x="6855" y="9091"/>
                    </a:cubicBezTo>
                    <a:cubicBezTo>
                      <a:pt x="6493" y="9016"/>
                      <a:pt x="6493" y="9016"/>
                      <a:pt x="6493" y="9016"/>
                    </a:cubicBezTo>
                    <a:cubicBezTo>
                      <a:pt x="6499" y="8954"/>
                      <a:pt x="6499" y="8954"/>
                      <a:pt x="6499" y="8954"/>
                    </a:cubicBezTo>
                    <a:cubicBezTo>
                      <a:pt x="6320" y="8953"/>
                      <a:pt x="6320" y="8953"/>
                      <a:pt x="6320" y="8953"/>
                    </a:cubicBezTo>
                    <a:cubicBezTo>
                      <a:pt x="6320" y="9016"/>
                      <a:pt x="6319" y="9087"/>
                      <a:pt x="6317" y="9157"/>
                    </a:cubicBezTo>
                    <a:cubicBezTo>
                      <a:pt x="6489" y="9168"/>
                      <a:pt x="6489" y="9168"/>
                      <a:pt x="6489" y="9168"/>
                    </a:cubicBezTo>
                    <a:cubicBezTo>
                      <a:pt x="6489" y="9231"/>
                      <a:pt x="6489" y="9231"/>
                      <a:pt x="6489" y="9231"/>
                    </a:cubicBezTo>
                    <a:cubicBezTo>
                      <a:pt x="6509" y="9236"/>
                      <a:pt x="6578" y="9253"/>
                      <a:pt x="6650" y="9270"/>
                    </a:cubicBezTo>
                    <a:cubicBezTo>
                      <a:pt x="6722" y="9287"/>
                      <a:pt x="6797" y="9304"/>
                      <a:pt x="6818" y="9308"/>
                    </a:cubicBezTo>
                    <a:close/>
                    <a:moveTo>
                      <a:pt x="6857" y="9077"/>
                    </a:moveTo>
                    <a:cubicBezTo>
                      <a:pt x="6858" y="9069"/>
                      <a:pt x="6860" y="9061"/>
                      <a:pt x="6861" y="9053"/>
                    </a:cubicBezTo>
                    <a:cubicBezTo>
                      <a:pt x="6872" y="8986"/>
                      <a:pt x="6884" y="8918"/>
                      <a:pt x="6893" y="8867"/>
                    </a:cubicBezTo>
                    <a:cubicBezTo>
                      <a:pt x="6897" y="8841"/>
                      <a:pt x="6901" y="8820"/>
                      <a:pt x="6903" y="8805"/>
                    </a:cubicBezTo>
                    <a:cubicBezTo>
                      <a:pt x="6904" y="8803"/>
                      <a:pt x="6904" y="8801"/>
                      <a:pt x="6904" y="8800"/>
                    </a:cubicBezTo>
                    <a:cubicBezTo>
                      <a:pt x="6321" y="8782"/>
                      <a:pt x="6321" y="8782"/>
                      <a:pt x="6321" y="8782"/>
                    </a:cubicBezTo>
                    <a:cubicBezTo>
                      <a:pt x="6321" y="8813"/>
                      <a:pt x="6321" y="8870"/>
                      <a:pt x="6321" y="8939"/>
                    </a:cubicBezTo>
                    <a:cubicBezTo>
                      <a:pt x="6514" y="8940"/>
                      <a:pt x="6514" y="8940"/>
                      <a:pt x="6514" y="8940"/>
                    </a:cubicBezTo>
                    <a:cubicBezTo>
                      <a:pt x="6508" y="9005"/>
                      <a:pt x="6508" y="9005"/>
                      <a:pt x="6508" y="9005"/>
                    </a:cubicBezTo>
                    <a:lnTo>
                      <a:pt x="6857" y="9077"/>
                    </a:lnTo>
                    <a:close/>
                    <a:moveTo>
                      <a:pt x="6952" y="8735"/>
                    </a:moveTo>
                    <a:cubicBezTo>
                      <a:pt x="6952" y="8735"/>
                      <a:pt x="6952" y="8735"/>
                      <a:pt x="6952" y="8735"/>
                    </a:cubicBezTo>
                    <a:cubicBezTo>
                      <a:pt x="7212" y="8743"/>
                      <a:pt x="7212" y="8743"/>
                      <a:pt x="7212" y="8743"/>
                    </a:cubicBezTo>
                    <a:cubicBezTo>
                      <a:pt x="7162" y="8347"/>
                      <a:pt x="7162" y="8347"/>
                      <a:pt x="7162" y="8347"/>
                    </a:cubicBezTo>
                    <a:cubicBezTo>
                      <a:pt x="7098" y="8316"/>
                      <a:pt x="7098" y="8316"/>
                      <a:pt x="7098" y="8316"/>
                    </a:cubicBezTo>
                    <a:cubicBezTo>
                      <a:pt x="7094" y="8035"/>
                      <a:pt x="7094" y="8035"/>
                      <a:pt x="7094" y="8035"/>
                    </a:cubicBezTo>
                    <a:cubicBezTo>
                      <a:pt x="7025" y="8048"/>
                      <a:pt x="7025" y="8048"/>
                      <a:pt x="7025" y="8048"/>
                    </a:cubicBezTo>
                    <a:cubicBezTo>
                      <a:pt x="6883" y="8016"/>
                      <a:pt x="6883" y="8016"/>
                      <a:pt x="6883" y="8016"/>
                    </a:cubicBezTo>
                    <a:cubicBezTo>
                      <a:pt x="6871" y="8298"/>
                      <a:pt x="6871" y="8298"/>
                      <a:pt x="6871" y="8298"/>
                    </a:cubicBezTo>
                    <a:cubicBezTo>
                      <a:pt x="6977" y="8316"/>
                      <a:pt x="6977" y="8316"/>
                      <a:pt x="6977" y="8316"/>
                    </a:cubicBezTo>
                    <a:cubicBezTo>
                      <a:pt x="6977" y="8323"/>
                      <a:pt x="6977" y="8323"/>
                      <a:pt x="6977" y="8323"/>
                    </a:cubicBezTo>
                    <a:cubicBezTo>
                      <a:pt x="6977" y="8323"/>
                      <a:pt x="6952" y="8672"/>
                      <a:pt x="6952" y="8735"/>
                    </a:cubicBezTo>
                    <a:close/>
                    <a:moveTo>
                      <a:pt x="7176" y="8005"/>
                    </a:moveTo>
                    <a:cubicBezTo>
                      <a:pt x="7177" y="7960"/>
                      <a:pt x="7179" y="7644"/>
                      <a:pt x="7179" y="7514"/>
                    </a:cubicBezTo>
                    <a:cubicBezTo>
                      <a:pt x="7179" y="7502"/>
                      <a:pt x="7179" y="7493"/>
                      <a:pt x="7179" y="7485"/>
                    </a:cubicBezTo>
                    <a:cubicBezTo>
                      <a:pt x="7178" y="7485"/>
                      <a:pt x="7178" y="7485"/>
                      <a:pt x="7178" y="7485"/>
                    </a:cubicBezTo>
                    <a:cubicBezTo>
                      <a:pt x="7178" y="7482"/>
                      <a:pt x="7178" y="7482"/>
                      <a:pt x="7178" y="7482"/>
                    </a:cubicBezTo>
                    <a:cubicBezTo>
                      <a:pt x="7127" y="7482"/>
                      <a:pt x="7069" y="7482"/>
                      <a:pt x="7007" y="7483"/>
                    </a:cubicBezTo>
                    <a:cubicBezTo>
                      <a:pt x="7008" y="7511"/>
                      <a:pt x="7008" y="7511"/>
                      <a:pt x="7008" y="7511"/>
                    </a:cubicBezTo>
                    <a:cubicBezTo>
                      <a:pt x="7065" y="7509"/>
                      <a:pt x="7065" y="7509"/>
                      <a:pt x="7065" y="7509"/>
                    </a:cubicBezTo>
                    <a:cubicBezTo>
                      <a:pt x="7066" y="7552"/>
                      <a:pt x="7066" y="7552"/>
                      <a:pt x="7066" y="7552"/>
                    </a:cubicBezTo>
                    <a:cubicBezTo>
                      <a:pt x="7113" y="7551"/>
                      <a:pt x="7113" y="7551"/>
                      <a:pt x="7113" y="7551"/>
                    </a:cubicBezTo>
                    <a:cubicBezTo>
                      <a:pt x="7115" y="7637"/>
                      <a:pt x="7115" y="7637"/>
                      <a:pt x="7115" y="7637"/>
                    </a:cubicBezTo>
                    <a:cubicBezTo>
                      <a:pt x="7014" y="7640"/>
                      <a:pt x="7014" y="7640"/>
                      <a:pt x="7014" y="7640"/>
                    </a:cubicBezTo>
                    <a:cubicBezTo>
                      <a:pt x="7032" y="8033"/>
                      <a:pt x="7032" y="8033"/>
                      <a:pt x="7032" y="8033"/>
                    </a:cubicBezTo>
                    <a:lnTo>
                      <a:pt x="7176" y="8005"/>
                    </a:lnTo>
                    <a:close/>
                    <a:moveTo>
                      <a:pt x="7486" y="7379"/>
                    </a:moveTo>
                    <a:cubicBezTo>
                      <a:pt x="7532" y="7360"/>
                      <a:pt x="7573" y="7337"/>
                      <a:pt x="7606" y="7313"/>
                    </a:cubicBezTo>
                    <a:cubicBezTo>
                      <a:pt x="7642" y="7288"/>
                      <a:pt x="7669" y="7263"/>
                      <a:pt x="7688" y="7245"/>
                    </a:cubicBezTo>
                    <a:cubicBezTo>
                      <a:pt x="7698" y="7235"/>
                      <a:pt x="7705" y="7228"/>
                      <a:pt x="7709" y="7222"/>
                    </a:cubicBezTo>
                    <a:cubicBezTo>
                      <a:pt x="7711" y="7220"/>
                      <a:pt x="7713" y="7219"/>
                      <a:pt x="7714" y="7217"/>
                    </a:cubicBezTo>
                    <a:cubicBezTo>
                      <a:pt x="7716" y="7205"/>
                      <a:pt x="7719" y="7169"/>
                      <a:pt x="7721" y="7125"/>
                    </a:cubicBezTo>
                    <a:cubicBezTo>
                      <a:pt x="7724" y="7076"/>
                      <a:pt x="7727" y="7014"/>
                      <a:pt x="7731" y="6949"/>
                    </a:cubicBezTo>
                    <a:cubicBezTo>
                      <a:pt x="7675" y="6939"/>
                      <a:pt x="7496" y="6905"/>
                      <a:pt x="7465" y="6899"/>
                    </a:cubicBezTo>
                    <a:cubicBezTo>
                      <a:pt x="7403" y="6994"/>
                      <a:pt x="7403" y="6994"/>
                      <a:pt x="7403" y="6994"/>
                    </a:cubicBezTo>
                    <a:cubicBezTo>
                      <a:pt x="7402" y="7009"/>
                      <a:pt x="7396" y="7120"/>
                      <a:pt x="7396" y="7167"/>
                    </a:cubicBezTo>
                    <a:cubicBezTo>
                      <a:pt x="7396" y="7174"/>
                      <a:pt x="7396" y="7179"/>
                      <a:pt x="7396" y="7182"/>
                    </a:cubicBezTo>
                    <a:cubicBezTo>
                      <a:pt x="7396" y="7182"/>
                      <a:pt x="7396" y="7183"/>
                      <a:pt x="7396" y="7183"/>
                    </a:cubicBezTo>
                    <a:cubicBezTo>
                      <a:pt x="7408" y="7185"/>
                      <a:pt x="7442" y="7190"/>
                      <a:pt x="7442" y="7190"/>
                    </a:cubicBezTo>
                    <a:cubicBezTo>
                      <a:pt x="7447" y="7191"/>
                      <a:pt x="7447" y="7191"/>
                      <a:pt x="7447" y="7191"/>
                    </a:cubicBezTo>
                    <a:lnTo>
                      <a:pt x="7486" y="7379"/>
                    </a:lnTo>
                    <a:close/>
                    <a:moveTo>
                      <a:pt x="7731" y="6935"/>
                    </a:moveTo>
                    <a:cubicBezTo>
                      <a:pt x="7738" y="6813"/>
                      <a:pt x="7747" y="6682"/>
                      <a:pt x="7761" y="6598"/>
                    </a:cubicBezTo>
                    <a:cubicBezTo>
                      <a:pt x="7461" y="6610"/>
                      <a:pt x="7461" y="6610"/>
                      <a:pt x="7461" y="6610"/>
                    </a:cubicBezTo>
                    <a:cubicBezTo>
                      <a:pt x="7461" y="6614"/>
                      <a:pt x="7461" y="6618"/>
                      <a:pt x="7461" y="6622"/>
                    </a:cubicBezTo>
                    <a:cubicBezTo>
                      <a:pt x="7461" y="6691"/>
                      <a:pt x="7468" y="6855"/>
                      <a:pt x="7469" y="6886"/>
                    </a:cubicBezTo>
                    <a:cubicBezTo>
                      <a:pt x="7486" y="6889"/>
                      <a:pt x="7544" y="6900"/>
                      <a:pt x="7603" y="6911"/>
                    </a:cubicBezTo>
                    <a:cubicBezTo>
                      <a:pt x="7654" y="6921"/>
                      <a:pt x="7706" y="6931"/>
                      <a:pt x="7731" y="6935"/>
                    </a:cubicBezTo>
                    <a:close/>
                    <a:moveTo>
                      <a:pt x="7457" y="5390"/>
                    </a:moveTo>
                    <a:cubicBezTo>
                      <a:pt x="7034" y="5255"/>
                      <a:pt x="7034" y="5255"/>
                      <a:pt x="7034" y="5255"/>
                    </a:cubicBezTo>
                    <a:cubicBezTo>
                      <a:pt x="7036" y="5250"/>
                      <a:pt x="7036" y="5250"/>
                      <a:pt x="7036" y="5250"/>
                    </a:cubicBezTo>
                    <a:cubicBezTo>
                      <a:pt x="6966" y="5367"/>
                      <a:pt x="6966" y="5367"/>
                      <a:pt x="6966" y="5367"/>
                    </a:cubicBezTo>
                    <a:cubicBezTo>
                      <a:pt x="6965" y="5383"/>
                      <a:pt x="6957" y="5504"/>
                      <a:pt x="6948" y="5643"/>
                    </a:cubicBezTo>
                    <a:cubicBezTo>
                      <a:pt x="7319" y="5701"/>
                      <a:pt x="7319" y="5701"/>
                      <a:pt x="7319" y="5701"/>
                    </a:cubicBezTo>
                    <a:cubicBezTo>
                      <a:pt x="7322" y="5668"/>
                      <a:pt x="7322" y="5668"/>
                      <a:pt x="7322" y="5668"/>
                    </a:cubicBezTo>
                    <a:lnTo>
                      <a:pt x="7457" y="5390"/>
                    </a:lnTo>
                    <a:close/>
                    <a:moveTo>
                      <a:pt x="7893" y="4495"/>
                    </a:moveTo>
                    <a:cubicBezTo>
                      <a:pt x="8009" y="4257"/>
                      <a:pt x="8009" y="4257"/>
                      <a:pt x="8009" y="4257"/>
                    </a:cubicBezTo>
                    <a:cubicBezTo>
                      <a:pt x="7987" y="4245"/>
                      <a:pt x="7950" y="4226"/>
                      <a:pt x="7894" y="4198"/>
                    </a:cubicBezTo>
                    <a:cubicBezTo>
                      <a:pt x="7799" y="4150"/>
                      <a:pt x="7654" y="4078"/>
                      <a:pt x="7450" y="3980"/>
                    </a:cubicBezTo>
                    <a:cubicBezTo>
                      <a:pt x="7434" y="3972"/>
                      <a:pt x="7418" y="3965"/>
                      <a:pt x="7402" y="3958"/>
                    </a:cubicBezTo>
                    <a:cubicBezTo>
                      <a:pt x="7401" y="3960"/>
                      <a:pt x="7401" y="3962"/>
                      <a:pt x="7400" y="3964"/>
                    </a:cubicBezTo>
                    <a:cubicBezTo>
                      <a:pt x="7385" y="4010"/>
                      <a:pt x="7358" y="4090"/>
                      <a:pt x="7326" y="4183"/>
                    </a:cubicBezTo>
                    <a:cubicBezTo>
                      <a:pt x="7326" y="4184"/>
                      <a:pt x="7326" y="4184"/>
                      <a:pt x="7326" y="4184"/>
                    </a:cubicBezTo>
                    <a:cubicBezTo>
                      <a:pt x="7325" y="4184"/>
                      <a:pt x="7325" y="4184"/>
                      <a:pt x="7325" y="4184"/>
                    </a:cubicBezTo>
                    <a:cubicBezTo>
                      <a:pt x="7321" y="4196"/>
                      <a:pt x="7317" y="4208"/>
                      <a:pt x="7313" y="4221"/>
                    </a:cubicBezTo>
                    <a:cubicBezTo>
                      <a:pt x="7477" y="4379"/>
                      <a:pt x="7477" y="4379"/>
                      <a:pt x="7477" y="4379"/>
                    </a:cubicBezTo>
                    <a:cubicBezTo>
                      <a:pt x="7781" y="4398"/>
                      <a:pt x="7781" y="4398"/>
                      <a:pt x="7781" y="4398"/>
                    </a:cubicBezTo>
                    <a:lnTo>
                      <a:pt x="7893" y="4495"/>
                    </a:lnTo>
                    <a:close/>
                    <a:moveTo>
                      <a:pt x="8038" y="4198"/>
                    </a:moveTo>
                    <a:cubicBezTo>
                      <a:pt x="8549" y="3148"/>
                      <a:pt x="8549" y="3148"/>
                      <a:pt x="8549" y="3148"/>
                    </a:cubicBezTo>
                    <a:cubicBezTo>
                      <a:pt x="8548" y="3148"/>
                      <a:pt x="8548" y="3147"/>
                      <a:pt x="8547" y="3147"/>
                    </a:cubicBezTo>
                    <a:cubicBezTo>
                      <a:pt x="8411" y="3059"/>
                      <a:pt x="7984" y="2773"/>
                      <a:pt x="7880" y="2703"/>
                    </a:cubicBezTo>
                    <a:cubicBezTo>
                      <a:pt x="7876" y="2715"/>
                      <a:pt x="7871" y="2731"/>
                      <a:pt x="7865" y="2749"/>
                    </a:cubicBezTo>
                    <a:cubicBezTo>
                      <a:pt x="7823" y="2885"/>
                      <a:pt x="7736" y="3187"/>
                      <a:pt x="7660" y="3455"/>
                    </a:cubicBezTo>
                    <a:cubicBezTo>
                      <a:pt x="7595" y="3684"/>
                      <a:pt x="7538" y="3887"/>
                      <a:pt x="7523" y="3942"/>
                    </a:cubicBezTo>
                    <a:cubicBezTo>
                      <a:pt x="7816" y="4083"/>
                      <a:pt x="7979" y="4167"/>
                      <a:pt x="8038" y="4198"/>
                    </a:cubicBezTo>
                    <a:close/>
                    <a:moveTo>
                      <a:pt x="8569" y="3107"/>
                    </a:moveTo>
                    <a:cubicBezTo>
                      <a:pt x="9249" y="1712"/>
                      <a:pt x="9249" y="1712"/>
                      <a:pt x="9249" y="1712"/>
                    </a:cubicBezTo>
                    <a:cubicBezTo>
                      <a:pt x="9104" y="1631"/>
                      <a:pt x="8856" y="1476"/>
                      <a:pt x="8726" y="1396"/>
                    </a:cubicBezTo>
                    <a:cubicBezTo>
                      <a:pt x="8677" y="1473"/>
                      <a:pt x="8499" y="1750"/>
                      <a:pt x="8320" y="2028"/>
                    </a:cubicBezTo>
                    <a:cubicBezTo>
                      <a:pt x="8214" y="2192"/>
                      <a:pt x="8108" y="2355"/>
                      <a:pt x="8028" y="2477"/>
                    </a:cubicBezTo>
                    <a:cubicBezTo>
                      <a:pt x="7987" y="2539"/>
                      <a:pt x="7953" y="2590"/>
                      <a:pt x="7929" y="2626"/>
                    </a:cubicBezTo>
                    <a:cubicBezTo>
                      <a:pt x="7918" y="2642"/>
                      <a:pt x="7909" y="2654"/>
                      <a:pt x="7902" y="2664"/>
                    </a:cubicBezTo>
                    <a:cubicBezTo>
                      <a:pt x="7954" y="2699"/>
                      <a:pt x="8098" y="2795"/>
                      <a:pt x="8244" y="2892"/>
                    </a:cubicBezTo>
                    <a:cubicBezTo>
                      <a:pt x="8334" y="2953"/>
                      <a:pt x="8425" y="3013"/>
                      <a:pt x="8494" y="3059"/>
                    </a:cubicBezTo>
                    <a:cubicBezTo>
                      <a:pt x="8524" y="3078"/>
                      <a:pt x="8549" y="3095"/>
                      <a:pt x="8569" y="3107"/>
                    </a:cubicBezTo>
                    <a:close/>
                    <a:moveTo>
                      <a:pt x="8002" y="923"/>
                    </a:moveTo>
                    <a:cubicBezTo>
                      <a:pt x="8002" y="923"/>
                      <a:pt x="8002" y="923"/>
                      <a:pt x="8002" y="923"/>
                    </a:cubicBezTo>
                    <a:cubicBezTo>
                      <a:pt x="7948" y="887"/>
                      <a:pt x="7706" y="735"/>
                      <a:pt x="7534" y="691"/>
                    </a:cubicBezTo>
                    <a:cubicBezTo>
                      <a:pt x="7476" y="872"/>
                      <a:pt x="7476" y="872"/>
                      <a:pt x="7476" y="872"/>
                    </a:cubicBezTo>
                    <a:cubicBezTo>
                      <a:pt x="7765" y="1015"/>
                      <a:pt x="7765" y="1015"/>
                      <a:pt x="7765" y="1015"/>
                    </a:cubicBezTo>
                    <a:cubicBezTo>
                      <a:pt x="7836" y="877"/>
                      <a:pt x="7836" y="877"/>
                      <a:pt x="7836" y="877"/>
                    </a:cubicBezTo>
                    <a:cubicBezTo>
                      <a:pt x="7970" y="949"/>
                      <a:pt x="7970" y="949"/>
                      <a:pt x="7970" y="949"/>
                    </a:cubicBezTo>
                    <a:cubicBezTo>
                      <a:pt x="7902" y="1082"/>
                      <a:pt x="7902" y="1082"/>
                      <a:pt x="7902" y="1082"/>
                    </a:cubicBezTo>
                    <a:cubicBezTo>
                      <a:pt x="7918" y="1090"/>
                      <a:pt x="7918" y="1090"/>
                      <a:pt x="7918" y="1090"/>
                    </a:cubicBezTo>
                    <a:lnTo>
                      <a:pt x="8002" y="923"/>
                    </a:lnTo>
                    <a:close/>
                    <a:moveTo>
                      <a:pt x="7472" y="885"/>
                    </a:moveTo>
                    <a:cubicBezTo>
                      <a:pt x="7422" y="1042"/>
                      <a:pt x="7422" y="1042"/>
                      <a:pt x="7422" y="1042"/>
                    </a:cubicBezTo>
                    <a:cubicBezTo>
                      <a:pt x="7688" y="1167"/>
                      <a:pt x="7688" y="1167"/>
                      <a:pt x="7688" y="1167"/>
                    </a:cubicBezTo>
                    <a:cubicBezTo>
                      <a:pt x="7759" y="1027"/>
                      <a:pt x="7759" y="1027"/>
                      <a:pt x="7759" y="1027"/>
                    </a:cubicBezTo>
                    <a:lnTo>
                      <a:pt x="7472" y="885"/>
                    </a:lnTo>
                    <a:close/>
                    <a:moveTo>
                      <a:pt x="7417" y="1056"/>
                    </a:moveTo>
                    <a:cubicBezTo>
                      <a:pt x="7366" y="1217"/>
                      <a:pt x="7366" y="1217"/>
                      <a:pt x="7366" y="1217"/>
                    </a:cubicBezTo>
                    <a:cubicBezTo>
                      <a:pt x="7603" y="1334"/>
                      <a:pt x="7603" y="1334"/>
                      <a:pt x="7603" y="1334"/>
                    </a:cubicBezTo>
                    <a:cubicBezTo>
                      <a:pt x="7682" y="1179"/>
                      <a:pt x="7682" y="1179"/>
                      <a:pt x="7682" y="1179"/>
                    </a:cubicBezTo>
                    <a:lnTo>
                      <a:pt x="7417" y="1056"/>
                    </a:lnTo>
                    <a:close/>
                    <a:moveTo>
                      <a:pt x="7408" y="869"/>
                    </a:moveTo>
                    <a:cubicBezTo>
                      <a:pt x="7170" y="824"/>
                      <a:pt x="7170" y="824"/>
                      <a:pt x="7170" y="824"/>
                    </a:cubicBezTo>
                    <a:cubicBezTo>
                      <a:pt x="7120" y="971"/>
                      <a:pt x="7120" y="971"/>
                      <a:pt x="7120" y="971"/>
                    </a:cubicBezTo>
                    <a:cubicBezTo>
                      <a:pt x="7211" y="990"/>
                      <a:pt x="7310" y="1011"/>
                      <a:pt x="7359" y="1022"/>
                    </a:cubicBezTo>
                    <a:lnTo>
                      <a:pt x="7408" y="869"/>
                    </a:lnTo>
                    <a:close/>
                    <a:moveTo>
                      <a:pt x="7191" y="723"/>
                    </a:moveTo>
                    <a:cubicBezTo>
                      <a:pt x="7066" y="681"/>
                      <a:pt x="7066" y="681"/>
                      <a:pt x="7066" y="681"/>
                    </a:cubicBezTo>
                    <a:cubicBezTo>
                      <a:pt x="7032" y="783"/>
                      <a:pt x="7032" y="783"/>
                      <a:pt x="7032" y="783"/>
                    </a:cubicBezTo>
                    <a:cubicBezTo>
                      <a:pt x="7162" y="808"/>
                      <a:pt x="7162" y="808"/>
                      <a:pt x="7162" y="808"/>
                    </a:cubicBezTo>
                    <a:lnTo>
                      <a:pt x="7191" y="723"/>
                    </a:lnTo>
                    <a:close/>
                    <a:moveTo>
                      <a:pt x="7027" y="796"/>
                    </a:moveTo>
                    <a:cubicBezTo>
                      <a:pt x="6977" y="942"/>
                      <a:pt x="6977" y="942"/>
                      <a:pt x="6977" y="942"/>
                    </a:cubicBezTo>
                    <a:cubicBezTo>
                      <a:pt x="7011" y="949"/>
                      <a:pt x="7058" y="958"/>
                      <a:pt x="7107" y="969"/>
                    </a:cubicBezTo>
                    <a:cubicBezTo>
                      <a:pt x="7157" y="821"/>
                      <a:pt x="7157" y="821"/>
                      <a:pt x="7157" y="821"/>
                    </a:cubicBezTo>
                    <a:lnTo>
                      <a:pt x="7027" y="796"/>
                    </a:lnTo>
                    <a:close/>
                    <a:moveTo>
                      <a:pt x="6973" y="956"/>
                    </a:moveTo>
                    <a:cubicBezTo>
                      <a:pt x="6916" y="1121"/>
                      <a:pt x="6916" y="1121"/>
                      <a:pt x="6916" y="1121"/>
                    </a:cubicBezTo>
                    <a:cubicBezTo>
                      <a:pt x="7047" y="1147"/>
                      <a:pt x="7047" y="1147"/>
                      <a:pt x="7047" y="1147"/>
                    </a:cubicBezTo>
                    <a:cubicBezTo>
                      <a:pt x="7103" y="982"/>
                      <a:pt x="7103" y="982"/>
                      <a:pt x="7103" y="982"/>
                    </a:cubicBezTo>
                    <a:cubicBezTo>
                      <a:pt x="7053" y="972"/>
                      <a:pt x="7006" y="962"/>
                      <a:pt x="6973" y="956"/>
                    </a:cubicBezTo>
                    <a:close/>
                    <a:moveTo>
                      <a:pt x="6960" y="953"/>
                    </a:moveTo>
                    <a:cubicBezTo>
                      <a:pt x="6954" y="952"/>
                      <a:pt x="6949" y="951"/>
                      <a:pt x="6944" y="950"/>
                    </a:cubicBezTo>
                    <a:cubicBezTo>
                      <a:pt x="6927" y="1001"/>
                      <a:pt x="6908" y="1057"/>
                      <a:pt x="6888" y="1116"/>
                    </a:cubicBezTo>
                    <a:cubicBezTo>
                      <a:pt x="6903" y="1119"/>
                      <a:pt x="6903" y="1119"/>
                      <a:pt x="6903" y="1119"/>
                    </a:cubicBezTo>
                    <a:lnTo>
                      <a:pt x="6960" y="953"/>
                    </a:lnTo>
                    <a:close/>
                    <a:moveTo>
                      <a:pt x="6884" y="1129"/>
                    </a:moveTo>
                    <a:cubicBezTo>
                      <a:pt x="6865" y="1184"/>
                      <a:pt x="6845" y="1242"/>
                      <a:pt x="6825" y="1302"/>
                    </a:cubicBezTo>
                    <a:cubicBezTo>
                      <a:pt x="6830" y="1302"/>
                      <a:pt x="6835" y="1303"/>
                      <a:pt x="6840" y="1304"/>
                    </a:cubicBezTo>
                    <a:cubicBezTo>
                      <a:pt x="6899" y="1132"/>
                      <a:pt x="6899" y="1132"/>
                      <a:pt x="6899" y="1132"/>
                    </a:cubicBezTo>
                    <a:lnTo>
                      <a:pt x="6884" y="1129"/>
                    </a:lnTo>
                    <a:close/>
                    <a:moveTo>
                      <a:pt x="6821" y="1315"/>
                    </a:moveTo>
                    <a:cubicBezTo>
                      <a:pt x="6802" y="1369"/>
                      <a:pt x="6783" y="1425"/>
                      <a:pt x="6764" y="1482"/>
                    </a:cubicBezTo>
                    <a:cubicBezTo>
                      <a:pt x="6768" y="1483"/>
                      <a:pt x="6773" y="1484"/>
                      <a:pt x="6779" y="1485"/>
                    </a:cubicBezTo>
                    <a:cubicBezTo>
                      <a:pt x="6836" y="1317"/>
                      <a:pt x="6836" y="1317"/>
                      <a:pt x="6836" y="1317"/>
                    </a:cubicBezTo>
                    <a:cubicBezTo>
                      <a:pt x="6830" y="1317"/>
                      <a:pt x="6825" y="1316"/>
                      <a:pt x="6821" y="1315"/>
                    </a:cubicBezTo>
                    <a:close/>
                    <a:moveTo>
                      <a:pt x="6759" y="1495"/>
                    </a:moveTo>
                    <a:cubicBezTo>
                      <a:pt x="6740" y="1552"/>
                      <a:pt x="6721" y="1609"/>
                      <a:pt x="6701" y="1667"/>
                    </a:cubicBezTo>
                    <a:cubicBezTo>
                      <a:pt x="6706" y="1668"/>
                      <a:pt x="6710" y="1668"/>
                      <a:pt x="6716" y="1670"/>
                    </a:cubicBezTo>
                    <a:cubicBezTo>
                      <a:pt x="6774" y="1498"/>
                      <a:pt x="6774" y="1498"/>
                      <a:pt x="6774" y="1498"/>
                    </a:cubicBezTo>
                    <a:cubicBezTo>
                      <a:pt x="6769" y="1497"/>
                      <a:pt x="6764" y="1496"/>
                      <a:pt x="6759" y="1495"/>
                    </a:cubicBezTo>
                    <a:close/>
                    <a:moveTo>
                      <a:pt x="6697" y="1680"/>
                    </a:moveTo>
                    <a:cubicBezTo>
                      <a:pt x="6681" y="1726"/>
                      <a:pt x="6665" y="1773"/>
                      <a:pt x="6650" y="1819"/>
                    </a:cubicBezTo>
                    <a:cubicBezTo>
                      <a:pt x="6664" y="1822"/>
                      <a:pt x="6664" y="1822"/>
                      <a:pt x="6664" y="1822"/>
                    </a:cubicBezTo>
                    <a:cubicBezTo>
                      <a:pt x="6711" y="1683"/>
                      <a:pt x="6711" y="1683"/>
                      <a:pt x="6711" y="1683"/>
                    </a:cubicBezTo>
                    <a:cubicBezTo>
                      <a:pt x="6706" y="1682"/>
                      <a:pt x="6701" y="1681"/>
                      <a:pt x="6697" y="1680"/>
                    </a:cubicBezTo>
                    <a:close/>
                    <a:moveTo>
                      <a:pt x="6645" y="1832"/>
                    </a:moveTo>
                    <a:cubicBezTo>
                      <a:pt x="6627" y="1887"/>
                      <a:pt x="6608" y="1941"/>
                      <a:pt x="6590" y="1995"/>
                    </a:cubicBezTo>
                    <a:cubicBezTo>
                      <a:pt x="6604" y="1998"/>
                      <a:pt x="6604" y="1998"/>
                      <a:pt x="6604" y="1998"/>
                    </a:cubicBezTo>
                    <a:cubicBezTo>
                      <a:pt x="6659" y="1835"/>
                      <a:pt x="6659" y="1835"/>
                      <a:pt x="6659" y="1835"/>
                    </a:cubicBezTo>
                    <a:lnTo>
                      <a:pt x="6645" y="1832"/>
                    </a:lnTo>
                    <a:close/>
                    <a:moveTo>
                      <a:pt x="6586" y="2008"/>
                    </a:moveTo>
                    <a:cubicBezTo>
                      <a:pt x="6566" y="2064"/>
                      <a:pt x="6548" y="2120"/>
                      <a:pt x="6529" y="2174"/>
                    </a:cubicBezTo>
                    <a:cubicBezTo>
                      <a:pt x="6543" y="2177"/>
                      <a:pt x="6543" y="2177"/>
                      <a:pt x="6543" y="2177"/>
                    </a:cubicBezTo>
                    <a:cubicBezTo>
                      <a:pt x="6599" y="2011"/>
                      <a:pt x="6599" y="2011"/>
                      <a:pt x="6599" y="2011"/>
                    </a:cubicBezTo>
                    <a:lnTo>
                      <a:pt x="6586" y="2008"/>
                    </a:lnTo>
                    <a:close/>
                    <a:moveTo>
                      <a:pt x="6525" y="2187"/>
                    </a:moveTo>
                    <a:cubicBezTo>
                      <a:pt x="6503" y="2251"/>
                      <a:pt x="6482" y="2313"/>
                      <a:pt x="6462" y="2371"/>
                    </a:cubicBezTo>
                    <a:cubicBezTo>
                      <a:pt x="6476" y="2374"/>
                      <a:pt x="6476" y="2374"/>
                      <a:pt x="6476" y="2374"/>
                    </a:cubicBezTo>
                    <a:cubicBezTo>
                      <a:pt x="6538" y="2190"/>
                      <a:pt x="6538" y="2190"/>
                      <a:pt x="6538" y="2190"/>
                    </a:cubicBezTo>
                    <a:lnTo>
                      <a:pt x="6525" y="2187"/>
                    </a:lnTo>
                    <a:close/>
                    <a:moveTo>
                      <a:pt x="6458" y="2384"/>
                    </a:moveTo>
                    <a:cubicBezTo>
                      <a:pt x="6433" y="2456"/>
                      <a:pt x="6411" y="2523"/>
                      <a:pt x="6391" y="2583"/>
                    </a:cubicBezTo>
                    <a:cubicBezTo>
                      <a:pt x="6403" y="2586"/>
                      <a:pt x="6403" y="2586"/>
                      <a:pt x="6403" y="2586"/>
                    </a:cubicBezTo>
                    <a:cubicBezTo>
                      <a:pt x="6471" y="2387"/>
                      <a:pt x="6471" y="2387"/>
                      <a:pt x="6471" y="2387"/>
                    </a:cubicBezTo>
                    <a:lnTo>
                      <a:pt x="6458" y="2384"/>
                    </a:lnTo>
                    <a:close/>
                    <a:moveTo>
                      <a:pt x="6386" y="2596"/>
                    </a:moveTo>
                    <a:cubicBezTo>
                      <a:pt x="6345" y="2716"/>
                      <a:pt x="6316" y="2803"/>
                      <a:pt x="6305" y="2836"/>
                    </a:cubicBezTo>
                    <a:cubicBezTo>
                      <a:pt x="6317" y="2838"/>
                      <a:pt x="6317" y="2838"/>
                      <a:pt x="6317" y="2838"/>
                    </a:cubicBezTo>
                    <a:cubicBezTo>
                      <a:pt x="6399" y="2599"/>
                      <a:pt x="6399" y="2599"/>
                      <a:pt x="6399" y="2599"/>
                    </a:cubicBezTo>
                    <a:lnTo>
                      <a:pt x="6386" y="2596"/>
                    </a:lnTo>
                    <a:close/>
                    <a:moveTo>
                      <a:pt x="6300" y="2849"/>
                    </a:moveTo>
                    <a:cubicBezTo>
                      <a:pt x="6255" y="3082"/>
                      <a:pt x="6255" y="3082"/>
                      <a:pt x="6255" y="3082"/>
                    </a:cubicBezTo>
                    <a:cubicBezTo>
                      <a:pt x="6270" y="3083"/>
                      <a:pt x="6270" y="3083"/>
                      <a:pt x="6270" y="3083"/>
                    </a:cubicBezTo>
                    <a:cubicBezTo>
                      <a:pt x="6314" y="2851"/>
                      <a:pt x="6314" y="2851"/>
                      <a:pt x="6314" y="2851"/>
                    </a:cubicBezTo>
                    <a:lnTo>
                      <a:pt x="6300" y="2849"/>
                    </a:lnTo>
                    <a:close/>
                    <a:moveTo>
                      <a:pt x="6252" y="3096"/>
                    </a:moveTo>
                    <a:cubicBezTo>
                      <a:pt x="6214" y="3294"/>
                      <a:pt x="6214" y="3294"/>
                      <a:pt x="6214" y="3294"/>
                    </a:cubicBezTo>
                    <a:cubicBezTo>
                      <a:pt x="6314" y="3302"/>
                      <a:pt x="6640" y="3329"/>
                      <a:pt x="6734" y="3334"/>
                    </a:cubicBezTo>
                    <a:cubicBezTo>
                      <a:pt x="6755" y="3137"/>
                      <a:pt x="6755" y="3137"/>
                      <a:pt x="6755" y="3137"/>
                    </a:cubicBezTo>
                    <a:cubicBezTo>
                      <a:pt x="6426" y="3110"/>
                      <a:pt x="6426" y="3110"/>
                      <a:pt x="6426" y="3110"/>
                    </a:cubicBezTo>
                    <a:cubicBezTo>
                      <a:pt x="6387" y="3293"/>
                      <a:pt x="6387" y="3293"/>
                      <a:pt x="6387" y="3293"/>
                    </a:cubicBezTo>
                    <a:cubicBezTo>
                      <a:pt x="6238" y="3255"/>
                      <a:pt x="6238" y="3255"/>
                      <a:pt x="6238" y="3255"/>
                    </a:cubicBezTo>
                    <a:cubicBezTo>
                      <a:pt x="6239" y="3249"/>
                      <a:pt x="6239" y="3249"/>
                      <a:pt x="6239" y="3249"/>
                    </a:cubicBezTo>
                    <a:cubicBezTo>
                      <a:pt x="6267" y="3097"/>
                      <a:pt x="6267" y="3097"/>
                      <a:pt x="6267" y="3097"/>
                    </a:cubicBezTo>
                    <a:lnTo>
                      <a:pt x="6252" y="3096"/>
                    </a:lnTo>
                    <a:close/>
                    <a:moveTo>
                      <a:pt x="6233" y="2849"/>
                    </a:moveTo>
                    <a:cubicBezTo>
                      <a:pt x="6212" y="2850"/>
                      <a:pt x="6176" y="2851"/>
                      <a:pt x="6128" y="2853"/>
                    </a:cubicBezTo>
                    <a:cubicBezTo>
                      <a:pt x="6096" y="2854"/>
                      <a:pt x="6059" y="2856"/>
                      <a:pt x="6018" y="2858"/>
                    </a:cubicBezTo>
                    <a:cubicBezTo>
                      <a:pt x="5907" y="4327"/>
                      <a:pt x="5907" y="4327"/>
                      <a:pt x="5907" y="4327"/>
                    </a:cubicBezTo>
                    <a:cubicBezTo>
                      <a:pt x="5917" y="4351"/>
                      <a:pt x="5917" y="4351"/>
                      <a:pt x="5917" y="4351"/>
                    </a:cubicBezTo>
                    <a:cubicBezTo>
                      <a:pt x="5967" y="4203"/>
                      <a:pt x="5967" y="4203"/>
                      <a:pt x="5967" y="4203"/>
                    </a:cubicBezTo>
                    <a:cubicBezTo>
                      <a:pt x="6065" y="3715"/>
                      <a:pt x="6065" y="3715"/>
                      <a:pt x="6065" y="3715"/>
                    </a:cubicBezTo>
                    <a:lnTo>
                      <a:pt x="6233" y="2849"/>
                    </a:lnTo>
                    <a:close/>
                    <a:moveTo>
                      <a:pt x="6043" y="2576"/>
                    </a:moveTo>
                    <a:cubicBezTo>
                      <a:pt x="6031" y="2576"/>
                      <a:pt x="6003" y="2575"/>
                      <a:pt x="5966" y="2574"/>
                    </a:cubicBezTo>
                    <a:cubicBezTo>
                      <a:pt x="5902" y="2752"/>
                      <a:pt x="5902" y="2752"/>
                      <a:pt x="5902" y="2752"/>
                    </a:cubicBezTo>
                    <a:cubicBezTo>
                      <a:pt x="5760" y="2698"/>
                      <a:pt x="5760" y="2698"/>
                      <a:pt x="5760" y="2698"/>
                    </a:cubicBezTo>
                    <a:cubicBezTo>
                      <a:pt x="5762" y="2691"/>
                      <a:pt x="5762" y="2691"/>
                      <a:pt x="5762" y="2691"/>
                    </a:cubicBezTo>
                    <a:cubicBezTo>
                      <a:pt x="5807" y="2567"/>
                      <a:pt x="5807" y="2567"/>
                      <a:pt x="5807" y="2567"/>
                    </a:cubicBezTo>
                    <a:cubicBezTo>
                      <a:pt x="5743" y="2565"/>
                      <a:pt x="5691" y="2563"/>
                      <a:pt x="5689" y="2563"/>
                    </a:cubicBezTo>
                    <a:cubicBezTo>
                      <a:pt x="5689" y="2549"/>
                      <a:pt x="5689" y="2549"/>
                      <a:pt x="5689" y="2549"/>
                    </a:cubicBezTo>
                    <a:cubicBezTo>
                      <a:pt x="5692" y="2549"/>
                      <a:pt x="5746" y="2551"/>
                      <a:pt x="5811" y="2554"/>
                    </a:cubicBezTo>
                    <a:cubicBezTo>
                      <a:pt x="5859" y="2422"/>
                      <a:pt x="5859" y="2422"/>
                      <a:pt x="5859" y="2422"/>
                    </a:cubicBezTo>
                    <a:cubicBezTo>
                      <a:pt x="5703" y="2397"/>
                      <a:pt x="5703" y="2397"/>
                      <a:pt x="5703" y="2397"/>
                    </a:cubicBezTo>
                    <a:cubicBezTo>
                      <a:pt x="5686" y="2458"/>
                      <a:pt x="5686" y="2458"/>
                      <a:pt x="5686" y="2458"/>
                    </a:cubicBezTo>
                    <a:cubicBezTo>
                      <a:pt x="5692" y="2815"/>
                      <a:pt x="5692" y="2815"/>
                      <a:pt x="5692" y="2815"/>
                    </a:cubicBezTo>
                    <a:cubicBezTo>
                      <a:pt x="5793" y="2806"/>
                      <a:pt x="5886" y="2800"/>
                      <a:pt x="5965" y="2795"/>
                    </a:cubicBezTo>
                    <a:lnTo>
                      <a:pt x="6043" y="2576"/>
                    </a:lnTo>
                    <a:close/>
                    <a:moveTo>
                      <a:pt x="6047" y="2563"/>
                    </a:moveTo>
                    <a:cubicBezTo>
                      <a:pt x="6084" y="2459"/>
                      <a:pt x="6084" y="2459"/>
                      <a:pt x="6084" y="2459"/>
                    </a:cubicBezTo>
                    <a:cubicBezTo>
                      <a:pt x="6012" y="2447"/>
                      <a:pt x="6012" y="2447"/>
                      <a:pt x="6012" y="2447"/>
                    </a:cubicBezTo>
                    <a:cubicBezTo>
                      <a:pt x="5971" y="2560"/>
                      <a:pt x="5971" y="2560"/>
                      <a:pt x="5971" y="2560"/>
                    </a:cubicBezTo>
                    <a:cubicBezTo>
                      <a:pt x="6014" y="2561"/>
                      <a:pt x="6044" y="2563"/>
                      <a:pt x="6047" y="2563"/>
                    </a:cubicBezTo>
                    <a:close/>
                    <a:moveTo>
                      <a:pt x="6089" y="2445"/>
                    </a:moveTo>
                    <a:cubicBezTo>
                      <a:pt x="6134" y="2319"/>
                      <a:pt x="6134" y="2319"/>
                      <a:pt x="6134" y="2319"/>
                    </a:cubicBezTo>
                    <a:cubicBezTo>
                      <a:pt x="6062" y="2307"/>
                      <a:pt x="6062" y="2307"/>
                      <a:pt x="6062" y="2307"/>
                    </a:cubicBezTo>
                    <a:cubicBezTo>
                      <a:pt x="6017" y="2434"/>
                      <a:pt x="6017" y="2434"/>
                      <a:pt x="6017" y="2434"/>
                    </a:cubicBezTo>
                    <a:lnTo>
                      <a:pt x="6089" y="2445"/>
                    </a:lnTo>
                    <a:close/>
                    <a:moveTo>
                      <a:pt x="6139" y="2305"/>
                    </a:moveTo>
                    <a:cubicBezTo>
                      <a:pt x="6270" y="1933"/>
                      <a:pt x="6270" y="1933"/>
                      <a:pt x="6270" y="1933"/>
                    </a:cubicBezTo>
                    <a:cubicBezTo>
                      <a:pt x="6202" y="1918"/>
                      <a:pt x="6202" y="1918"/>
                      <a:pt x="6202" y="1918"/>
                    </a:cubicBezTo>
                    <a:cubicBezTo>
                      <a:pt x="6163" y="2026"/>
                      <a:pt x="6163" y="2026"/>
                      <a:pt x="6163" y="2026"/>
                    </a:cubicBezTo>
                    <a:cubicBezTo>
                      <a:pt x="6229" y="2038"/>
                      <a:pt x="6229" y="2038"/>
                      <a:pt x="6229" y="2038"/>
                    </a:cubicBezTo>
                    <a:cubicBezTo>
                      <a:pt x="6226" y="2052"/>
                      <a:pt x="6226" y="2052"/>
                      <a:pt x="6226" y="2052"/>
                    </a:cubicBezTo>
                    <a:cubicBezTo>
                      <a:pt x="6159" y="2039"/>
                      <a:pt x="6159" y="2039"/>
                      <a:pt x="6159" y="2039"/>
                    </a:cubicBezTo>
                    <a:cubicBezTo>
                      <a:pt x="6117" y="2155"/>
                      <a:pt x="6117" y="2155"/>
                      <a:pt x="6117" y="2155"/>
                    </a:cubicBezTo>
                    <a:cubicBezTo>
                      <a:pt x="6183" y="2166"/>
                      <a:pt x="6183" y="2166"/>
                      <a:pt x="6183" y="2166"/>
                    </a:cubicBezTo>
                    <a:cubicBezTo>
                      <a:pt x="6180" y="2180"/>
                      <a:pt x="6180" y="2180"/>
                      <a:pt x="6180" y="2180"/>
                    </a:cubicBezTo>
                    <a:cubicBezTo>
                      <a:pt x="6112" y="2168"/>
                      <a:pt x="6112" y="2168"/>
                      <a:pt x="6112" y="2168"/>
                    </a:cubicBezTo>
                    <a:cubicBezTo>
                      <a:pt x="6067" y="2294"/>
                      <a:pt x="6067" y="2294"/>
                      <a:pt x="6067" y="2294"/>
                    </a:cubicBezTo>
                    <a:lnTo>
                      <a:pt x="6139" y="2305"/>
                    </a:lnTo>
                    <a:close/>
                    <a:moveTo>
                      <a:pt x="6275" y="1920"/>
                    </a:moveTo>
                    <a:cubicBezTo>
                      <a:pt x="6320" y="1793"/>
                      <a:pt x="6320" y="1793"/>
                      <a:pt x="6320" y="1793"/>
                    </a:cubicBezTo>
                    <a:cubicBezTo>
                      <a:pt x="6251" y="1781"/>
                      <a:pt x="6251" y="1781"/>
                      <a:pt x="6251" y="1781"/>
                    </a:cubicBezTo>
                    <a:cubicBezTo>
                      <a:pt x="6207" y="1904"/>
                      <a:pt x="6207" y="1904"/>
                      <a:pt x="6207" y="1904"/>
                    </a:cubicBezTo>
                    <a:lnTo>
                      <a:pt x="6275" y="1920"/>
                    </a:lnTo>
                    <a:close/>
                    <a:moveTo>
                      <a:pt x="6325" y="1780"/>
                    </a:moveTo>
                    <a:cubicBezTo>
                      <a:pt x="6363" y="1671"/>
                      <a:pt x="6363" y="1671"/>
                      <a:pt x="6363" y="1671"/>
                    </a:cubicBezTo>
                    <a:cubicBezTo>
                      <a:pt x="6294" y="1661"/>
                      <a:pt x="6294" y="1661"/>
                      <a:pt x="6294" y="1661"/>
                    </a:cubicBezTo>
                    <a:cubicBezTo>
                      <a:pt x="6256" y="1767"/>
                      <a:pt x="6256" y="1767"/>
                      <a:pt x="6256" y="1767"/>
                    </a:cubicBezTo>
                    <a:lnTo>
                      <a:pt x="6325" y="1780"/>
                    </a:lnTo>
                    <a:close/>
                    <a:moveTo>
                      <a:pt x="6368" y="1658"/>
                    </a:moveTo>
                    <a:cubicBezTo>
                      <a:pt x="6476" y="1352"/>
                      <a:pt x="6476" y="1352"/>
                      <a:pt x="6476" y="1352"/>
                    </a:cubicBezTo>
                    <a:cubicBezTo>
                      <a:pt x="6406" y="1351"/>
                      <a:pt x="6406" y="1351"/>
                      <a:pt x="6406" y="1351"/>
                    </a:cubicBezTo>
                    <a:cubicBezTo>
                      <a:pt x="6352" y="1500"/>
                      <a:pt x="6352" y="1500"/>
                      <a:pt x="6352" y="1500"/>
                    </a:cubicBezTo>
                    <a:cubicBezTo>
                      <a:pt x="6413" y="1506"/>
                      <a:pt x="6413" y="1506"/>
                      <a:pt x="6413" y="1506"/>
                    </a:cubicBezTo>
                    <a:cubicBezTo>
                      <a:pt x="6412" y="1520"/>
                      <a:pt x="6412" y="1520"/>
                      <a:pt x="6412" y="1520"/>
                    </a:cubicBezTo>
                    <a:cubicBezTo>
                      <a:pt x="6348" y="1513"/>
                      <a:pt x="6348" y="1513"/>
                      <a:pt x="6348" y="1513"/>
                    </a:cubicBezTo>
                    <a:cubicBezTo>
                      <a:pt x="6299" y="1648"/>
                      <a:pt x="6299" y="1648"/>
                      <a:pt x="6299" y="1648"/>
                    </a:cubicBezTo>
                    <a:lnTo>
                      <a:pt x="6368" y="1658"/>
                    </a:lnTo>
                    <a:close/>
                    <a:moveTo>
                      <a:pt x="6430" y="1246"/>
                    </a:moveTo>
                    <a:cubicBezTo>
                      <a:pt x="6312" y="1201"/>
                      <a:pt x="6312" y="1201"/>
                      <a:pt x="6312" y="1201"/>
                    </a:cubicBezTo>
                    <a:cubicBezTo>
                      <a:pt x="6263" y="1335"/>
                      <a:pt x="6263" y="1335"/>
                      <a:pt x="6263" y="1335"/>
                    </a:cubicBezTo>
                    <a:cubicBezTo>
                      <a:pt x="6397" y="1337"/>
                      <a:pt x="6397" y="1337"/>
                      <a:pt x="6397" y="1337"/>
                    </a:cubicBezTo>
                    <a:lnTo>
                      <a:pt x="6430" y="1246"/>
                    </a:lnTo>
                    <a:close/>
                    <a:moveTo>
                      <a:pt x="6258" y="1349"/>
                    </a:moveTo>
                    <a:cubicBezTo>
                      <a:pt x="6210" y="1484"/>
                      <a:pt x="6210" y="1484"/>
                      <a:pt x="6210" y="1484"/>
                    </a:cubicBezTo>
                    <a:cubicBezTo>
                      <a:pt x="6339" y="1498"/>
                      <a:pt x="6339" y="1498"/>
                      <a:pt x="6339" y="1498"/>
                    </a:cubicBezTo>
                    <a:cubicBezTo>
                      <a:pt x="6392" y="1351"/>
                      <a:pt x="6392" y="1351"/>
                      <a:pt x="6392" y="1351"/>
                    </a:cubicBezTo>
                    <a:lnTo>
                      <a:pt x="6258" y="1349"/>
                    </a:lnTo>
                    <a:close/>
                    <a:moveTo>
                      <a:pt x="6245" y="1349"/>
                    </a:moveTo>
                    <a:cubicBezTo>
                      <a:pt x="5897" y="1344"/>
                      <a:pt x="5897" y="1344"/>
                      <a:pt x="5897" y="1344"/>
                    </a:cubicBezTo>
                    <a:cubicBezTo>
                      <a:pt x="5889" y="1377"/>
                      <a:pt x="5880" y="1412"/>
                      <a:pt x="5871" y="1448"/>
                    </a:cubicBezTo>
                    <a:cubicBezTo>
                      <a:pt x="6196" y="1483"/>
                      <a:pt x="6196" y="1483"/>
                      <a:pt x="6196" y="1483"/>
                    </a:cubicBezTo>
                    <a:lnTo>
                      <a:pt x="6245" y="1349"/>
                    </a:lnTo>
                    <a:close/>
                    <a:moveTo>
                      <a:pt x="5918" y="1204"/>
                    </a:moveTo>
                    <a:cubicBezTo>
                      <a:pt x="5922" y="1185"/>
                      <a:pt x="5926" y="1170"/>
                      <a:pt x="5929" y="1160"/>
                    </a:cubicBezTo>
                    <a:cubicBezTo>
                      <a:pt x="5929" y="1159"/>
                      <a:pt x="5929" y="1159"/>
                      <a:pt x="5929" y="1158"/>
                    </a:cubicBezTo>
                    <a:cubicBezTo>
                      <a:pt x="5758" y="1148"/>
                      <a:pt x="5566" y="1131"/>
                      <a:pt x="5401" y="1117"/>
                    </a:cubicBezTo>
                    <a:cubicBezTo>
                      <a:pt x="5406" y="1141"/>
                      <a:pt x="5412" y="1171"/>
                      <a:pt x="5418" y="1204"/>
                    </a:cubicBezTo>
                    <a:cubicBezTo>
                      <a:pt x="5450" y="1209"/>
                      <a:pt x="5549" y="1225"/>
                      <a:pt x="5649" y="1242"/>
                    </a:cubicBezTo>
                    <a:cubicBezTo>
                      <a:pt x="5770" y="1262"/>
                      <a:pt x="5895" y="1282"/>
                      <a:pt x="5896" y="1282"/>
                    </a:cubicBezTo>
                    <a:cubicBezTo>
                      <a:pt x="5896" y="1290"/>
                      <a:pt x="5896" y="1290"/>
                      <a:pt x="5896" y="1290"/>
                    </a:cubicBezTo>
                    <a:cubicBezTo>
                      <a:pt x="5904" y="1257"/>
                      <a:pt x="5912" y="1227"/>
                      <a:pt x="5918" y="1204"/>
                    </a:cubicBezTo>
                    <a:close/>
                    <a:moveTo>
                      <a:pt x="5396" y="1339"/>
                    </a:moveTo>
                    <a:cubicBezTo>
                      <a:pt x="5368" y="1356"/>
                      <a:pt x="5302" y="1394"/>
                      <a:pt x="5236" y="1432"/>
                    </a:cubicBezTo>
                    <a:cubicBezTo>
                      <a:pt x="5227" y="1437"/>
                      <a:pt x="5218" y="1442"/>
                      <a:pt x="5209" y="1447"/>
                    </a:cubicBezTo>
                    <a:cubicBezTo>
                      <a:pt x="5212" y="1455"/>
                      <a:pt x="5241" y="1532"/>
                      <a:pt x="5272" y="1609"/>
                    </a:cubicBezTo>
                    <a:cubicBezTo>
                      <a:pt x="5288" y="1649"/>
                      <a:pt x="5304" y="1690"/>
                      <a:pt x="5317" y="1721"/>
                    </a:cubicBezTo>
                    <a:cubicBezTo>
                      <a:pt x="5323" y="1736"/>
                      <a:pt x="5328" y="1749"/>
                      <a:pt x="5332" y="1758"/>
                    </a:cubicBezTo>
                    <a:cubicBezTo>
                      <a:pt x="5334" y="1761"/>
                      <a:pt x="5334" y="1762"/>
                      <a:pt x="5335" y="1764"/>
                    </a:cubicBezTo>
                    <a:cubicBezTo>
                      <a:pt x="5354" y="1745"/>
                      <a:pt x="5369" y="1728"/>
                      <a:pt x="5380" y="1715"/>
                    </a:cubicBezTo>
                    <a:cubicBezTo>
                      <a:pt x="5411" y="1682"/>
                      <a:pt x="5423" y="1634"/>
                      <a:pt x="5423" y="1572"/>
                    </a:cubicBezTo>
                    <a:cubicBezTo>
                      <a:pt x="5423" y="1536"/>
                      <a:pt x="5419" y="1495"/>
                      <a:pt x="5413" y="1453"/>
                    </a:cubicBezTo>
                    <a:cubicBezTo>
                      <a:pt x="5410" y="1423"/>
                      <a:pt x="5403" y="1383"/>
                      <a:pt x="5396" y="1339"/>
                    </a:cubicBezTo>
                    <a:close/>
                    <a:moveTo>
                      <a:pt x="5393" y="1325"/>
                    </a:moveTo>
                    <a:cubicBezTo>
                      <a:pt x="5380" y="1248"/>
                      <a:pt x="5364" y="1164"/>
                      <a:pt x="5355" y="1114"/>
                    </a:cubicBezTo>
                    <a:cubicBezTo>
                      <a:pt x="5276" y="1107"/>
                      <a:pt x="5205" y="1102"/>
                      <a:pt x="5149" y="1100"/>
                    </a:cubicBezTo>
                    <a:cubicBezTo>
                      <a:pt x="5129" y="1099"/>
                      <a:pt x="5108" y="1098"/>
                      <a:pt x="5086" y="1097"/>
                    </a:cubicBezTo>
                    <a:cubicBezTo>
                      <a:pt x="5060" y="1513"/>
                      <a:pt x="5060" y="1513"/>
                      <a:pt x="5060" y="1513"/>
                    </a:cubicBezTo>
                    <a:cubicBezTo>
                      <a:pt x="5092" y="1497"/>
                      <a:pt x="5166" y="1455"/>
                      <a:pt x="5237" y="1415"/>
                    </a:cubicBezTo>
                    <a:cubicBezTo>
                      <a:pt x="5305" y="1376"/>
                      <a:pt x="5370" y="1338"/>
                      <a:pt x="5393" y="1325"/>
                    </a:cubicBezTo>
                    <a:close/>
                    <a:moveTo>
                      <a:pt x="5072" y="1097"/>
                    </a:moveTo>
                    <a:cubicBezTo>
                      <a:pt x="5010" y="1095"/>
                      <a:pt x="4940" y="1093"/>
                      <a:pt x="4865" y="1093"/>
                    </a:cubicBezTo>
                    <a:cubicBezTo>
                      <a:pt x="4862" y="1093"/>
                      <a:pt x="4858" y="1093"/>
                      <a:pt x="4855" y="1093"/>
                    </a:cubicBezTo>
                    <a:cubicBezTo>
                      <a:pt x="4827" y="1093"/>
                      <a:pt x="4798" y="1093"/>
                      <a:pt x="4768" y="1094"/>
                    </a:cubicBezTo>
                    <a:cubicBezTo>
                      <a:pt x="4837" y="1481"/>
                      <a:pt x="4837" y="1481"/>
                      <a:pt x="4837" y="1481"/>
                    </a:cubicBezTo>
                    <a:cubicBezTo>
                      <a:pt x="4941" y="1501"/>
                      <a:pt x="5041" y="1520"/>
                      <a:pt x="5046" y="1520"/>
                    </a:cubicBezTo>
                    <a:cubicBezTo>
                      <a:pt x="5046" y="1519"/>
                      <a:pt x="5046" y="1519"/>
                      <a:pt x="5046" y="1519"/>
                    </a:cubicBezTo>
                    <a:cubicBezTo>
                      <a:pt x="5046" y="1519"/>
                      <a:pt x="5046" y="1519"/>
                      <a:pt x="5046" y="1519"/>
                    </a:cubicBezTo>
                    <a:cubicBezTo>
                      <a:pt x="5046" y="1519"/>
                      <a:pt x="5046" y="1519"/>
                      <a:pt x="5046" y="1519"/>
                    </a:cubicBezTo>
                    <a:lnTo>
                      <a:pt x="5072" y="1097"/>
                    </a:lnTo>
                    <a:close/>
                    <a:moveTo>
                      <a:pt x="4577" y="1445"/>
                    </a:moveTo>
                    <a:cubicBezTo>
                      <a:pt x="4496" y="1501"/>
                      <a:pt x="4496" y="1501"/>
                      <a:pt x="4496" y="1501"/>
                    </a:cubicBezTo>
                    <a:cubicBezTo>
                      <a:pt x="4486" y="2031"/>
                      <a:pt x="4486" y="2031"/>
                      <a:pt x="4486" y="2031"/>
                    </a:cubicBezTo>
                    <a:cubicBezTo>
                      <a:pt x="4578" y="2024"/>
                      <a:pt x="4678" y="2016"/>
                      <a:pt x="4769" y="2007"/>
                    </a:cubicBezTo>
                    <a:cubicBezTo>
                      <a:pt x="4668" y="1463"/>
                      <a:pt x="4668" y="1463"/>
                      <a:pt x="4668" y="1463"/>
                    </a:cubicBezTo>
                    <a:cubicBezTo>
                      <a:pt x="4622" y="1454"/>
                      <a:pt x="4587" y="1447"/>
                      <a:pt x="4577" y="1445"/>
                    </a:cubicBezTo>
                    <a:close/>
                    <a:moveTo>
                      <a:pt x="3080" y="1664"/>
                    </a:moveTo>
                    <a:cubicBezTo>
                      <a:pt x="2946" y="1735"/>
                      <a:pt x="2803" y="1811"/>
                      <a:pt x="2655" y="1890"/>
                    </a:cubicBezTo>
                    <a:cubicBezTo>
                      <a:pt x="3224" y="2688"/>
                      <a:pt x="3224" y="2688"/>
                      <a:pt x="3224" y="2688"/>
                    </a:cubicBezTo>
                    <a:cubicBezTo>
                      <a:pt x="3239" y="2674"/>
                      <a:pt x="3253" y="2656"/>
                      <a:pt x="3274" y="2627"/>
                    </a:cubicBezTo>
                    <a:cubicBezTo>
                      <a:pt x="3314" y="2572"/>
                      <a:pt x="3338" y="2488"/>
                      <a:pt x="3355" y="2405"/>
                    </a:cubicBezTo>
                    <a:cubicBezTo>
                      <a:pt x="3364" y="2358"/>
                      <a:pt x="3371" y="2311"/>
                      <a:pt x="3378" y="2269"/>
                    </a:cubicBezTo>
                    <a:lnTo>
                      <a:pt x="3080" y="1664"/>
                    </a:lnTo>
                    <a:close/>
                    <a:moveTo>
                      <a:pt x="2643" y="1896"/>
                    </a:moveTo>
                    <a:cubicBezTo>
                      <a:pt x="2572" y="1934"/>
                      <a:pt x="2500" y="1973"/>
                      <a:pt x="2428" y="2011"/>
                    </a:cubicBezTo>
                    <a:cubicBezTo>
                      <a:pt x="2785" y="2918"/>
                      <a:pt x="2785" y="2918"/>
                      <a:pt x="2785" y="2918"/>
                    </a:cubicBezTo>
                    <a:cubicBezTo>
                      <a:pt x="2823" y="2904"/>
                      <a:pt x="2861" y="2887"/>
                      <a:pt x="2899" y="2867"/>
                    </a:cubicBezTo>
                    <a:cubicBezTo>
                      <a:pt x="3049" y="2783"/>
                      <a:pt x="3124" y="2751"/>
                      <a:pt x="3170" y="2726"/>
                    </a:cubicBezTo>
                    <a:cubicBezTo>
                      <a:pt x="3188" y="2716"/>
                      <a:pt x="3202" y="2708"/>
                      <a:pt x="3214" y="2697"/>
                    </a:cubicBezTo>
                    <a:lnTo>
                      <a:pt x="2643" y="1896"/>
                    </a:lnTo>
                    <a:close/>
                    <a:moveTo>
                      <a:pt x="2416" y="2018"/>
                    </a:moveTo>
                    <a:cubicBezTo>
                      <a:pt x="2352" y="2052"/>
                      <a:pt x="2287" y="2087"/>
                      <a:pt x="2223" y="2121"/>
                    </a:cubicBezTo>
                    <a:cubicBezTo>
                      <a:pt x="2219" y="2166"/>
                      <a:pt x="2201" y="2338"/>
                      <a:pt x="2183" y="2511"/>
                    </a:cubicBezTo>
                    <a:cubicBezTo>
                      <a:pt x="2172" y="2611"/>
                      <a:pt x="2162" y="2712"/>
                      <a:pt x="2153" y="2787"/>
                    </a:cubicBezTo>
                    <a:cubicBezTo>
                      <a:pt x="2149" y="2825"/>
                      <a:pt x="2145" y="2856"/>
                      <a:pt x="2143" y="2878"/>
                    </a:cubicBezTo>
                    <a:cubicBezTo>
                      <a:pt x="2141" y="2889"/>
                      <a:pt x="2140" y="2898"/>
                      <a:pt x="2139" y="2904"/>
                    </a:cubicBezTo>
                    <a:cubicBezTo>
                      <a:pt x="2139" y="2905"/>
                      <a:pt x="2139" y="2905"/>
                      <a:pt x="2139" y="2906"/>
                    </a:cubicBezTo>
                    <a:cubicBezTo>
                      <a:pt x="2144" y="2909"/>
                      <a:pt x="2150" y="2912"/>
                      <a:pt x="2156" y="2914"/>
                    </a:cubicBezTo>
                    <a:cubicBezTo>
                      <a:pt x="2189" y="2928"/>
                      <a:pt x="2236" y="2940"/>
                      <a:pt x="2274" y="2949"/>
                    </a:cubicBezTo>
                    <a:cubicBezTo>
                      <a:pt x="2312" y="2958"/>
                      <a:pt x="2341" y="2963"/>
                      <a:pt x="2342" y="2963"/>
                    </a:cubicBezTo>
                    <a:cubicBezTo>
                      <a:pt x="2347" y="2964"/>
                      <a:pt x="2354" y="2964"/>
                      <a:pt x="2362" y="2965"/>
                    </a:cubicBezTo>
                    <a:cubicBezTo>
                      <a:pt x="2387" y="2968"/>
                      <a:pt x="2418" y="2972"/>
                      <a:pt x="2462" y="2972"/>
                    </a:cubicBezTo>
                    <a:cubicBezTo>
                      <a:pt x="2545" y="2972"/>
                      <a:pt x="2657" y="2962"/>
                      <a:pt x="2772" y="2922"/>
                    </a:cubicBezTo>
                    <a:lnTo>
                      <a:pt x="2416" y="2018"/>
                    </a:lnTo>
                    <a:close/>
                    <a:moveTo>
                      <a:pt x="2206" y="2131"/>
                    </a:moveTo>
                    <a:cubicBezTo>
                      <a:pt x="2176" y="2147"/>
                      <a:pt x="2146" y="2163"/>
                      <a:pt x="2116" y="2179"/>
                    </a:cubicBezTo>
                    <a:cubicBezTo>
                      <a:pt x="2094" y="2200"/>
                      <a:pt x="2094" y="2200"/>
                      <a:pt x="2094" y="2200"/>
                    </a:cubicBezTo>
                    <a:cubicBezTo>
                      <a:pt x="2093" y="2201"/>
                      <a:pt x="2093" y="2201"/>
                      <a:pt x="2093" y="2201"/>
                    </a:cubicBezTo>
                    <a:cubicBezTo>
                      <a:pt x="1781" y="2369"/>
                      <a:pt x="1491" y="2525"/>
                      <a:pt x="1249" y="2656"/>
                    </a:cubicBezTo>
                    <a:cubicBezTo>
                      <a:pt x="1262" y="2668"/>
                      <a:pt x="1281" y="2684"/>
                      <a:pt x="1299" y="2699"/>
                    </a:cubicBezTo>
                    <a:cubicBezTo>
                      <a:pt x="1324" y="2721"/>
                      <a:pt x="1349" y="2741"/>
                      <a:pt x="1358" y="2749"/>
                    </a:cubicBezTo>
                    <a:cubicBezTo>
                      <a:pt x="1366" y="2739"/>
                      <a:pt x="1366" y="2739"/>
                      <a:pt x="1366" y="2739"/>
                    </a:cubicBezTo>
                    <a:cubicBezTo>
                      <a:pt x="1623" y="2957"/>
                      <a:pt x="1623" y="2957"/>
                      <a:pt x="1623" y="2957"/>
                    </a:cubicBezTo>
                    <a:cubicBezTo>
                      <a:pt x="2006" y="2795"/>
                      <a:pt x="2006" y="2795"/>
                      <a:pt x="2006" y="2795"/>
                    </a:cubicBezTo>
                    <a:cubicBezTo>
                      <a:pt x="2017" y="2808"/>
                      <a:pt x="2017" y="2808"/>
                      <a:pt x="2017" y="2808"/>
                    </a:cubicBezTo>
                    <a:cubicBezTo>
                      <a:pt x="2017" y="2808"/>
                      <a:pt x="2021" y="2812"/>
                      <a:pt x="2028" y="2820"/>
                    </a:cubicBezTo>
                    <a:cubicBezTo>
                      <a:pt x="2045" y="2838"/>
                      <a:pt x="2082" y="2873"/>
                      <a:pt x="2123" y="2898"/>
                    </a:cubicBezTo>
                    <a:cubicBezTo>
                      <a:pt x="2130" y="2852"/>
                      <a:pt x="2150" y="2671"/>
                      <a:pt x="2168" y="2495"/>
                    </a:cubicBezTo>
                    <a:cubicBezTo>
                      <a:pt x="2184" y="2339"/>
                      <a:pt x="2200" y="2187"/>
                      <a:pt x="2206" y="2131"/>
                    </a:cubicBezTo>
                    <a:close/>
                    <a:moveTo>
                      <a:pt x="1239" y="2670"/>
                    </a:moveTo>
                    <a:cubicBezTo>
                      <a:pt x="1237" y="2668"/>
                      <a:pt x="1236" y="2666"/>
                      <a:pt x="1233" y="2665"/>
                    </a:cubicBezTo>
                    <a:cubicBezTo>
                      <a:pt x="1193" y="2687"/>
                      <a:pt x="1153" y="2708"/>
                      <a:pt x="1115" y="2729"/>
                    </a:cubicBezTo>
                    <a:cubicBezTo>
                      <a:pt x="860" y="2867"/>
                      <a:pt x="691" y="2958"/>
                      <a:pt x="677" y="2966"/>
                    </a:cubicBezTo>
                    <a:cubicBezTo>
                      <a:pt x="674" y="2968"/>
                      <a:pt x="661" y="2976"/>
                      <a:pt x="642" y="2987"/>
                    </a:cubicBezTo>
                    <a:cubicBezTo>
                      <a:pt x="656" y="3004"/>
                      <a:pt x="672" y="3022"/>
                      <a:pt x="688" y="3041"/>
                    </a:cubicBezTo>
                    <a:cubicBezTo>
                      <a:pt x="739" y="3021"/>
                      <a:pt x="782" y="3007"/>
                      <a:pt x="807" y="3006"/>
                    </a:cubicBezTo>
                    <a:cubicBezTo>
                      <a:pt x="808" y="3006"/>
                      <a:pt x="808" y="3006"/>
                      <a:pt x="808" y="3006"/>
                    </a:cubicBezTo>
                    <a:cubicBezTo>
                      <a:pt x="808" y="3006"/>
                      <a:pt x="808" y="3006"/>
                      <a:pt x="810" y="3007"/>
                    </a:cubicBezTo>
                    <a:cubicBezTo>
                      <a:pt x="832" y="3009"/>
                      <a:pt x="849" y="3026"/>
                      <a:pt x="870" y="3050"/>
                    </a:cubicBezTo>
                    <a:cubicBezTo>
                      <a:pt x="933" y="3125"/>
                      <a:pt x="1011" y="3276"/>
                      <a:pt x="1040" y="3341"/>
                    </a:cubicBezTo>
                    <a:cubicBezTo>
                      <a:pt x="1057" y="3379"/>
                      <a:pt x="1122" y="3460"/>
                      <a:pt x="1182" y="3530"/>
                    </a:cubicBezTo>
                    <a:cubicBezTo>
                      <a:pt x="1232" y="3588"/>
                      <a:pt x="1279" y="3638"/>
                      <a:pt x="1293" y="3653"/>
                    </a:cubicBezTo>
                    <a:cubicBezTo>
                      <a:pt x="1295" y="3652"/>
                      <a:pt x="1297" y="3651"/>
                      <a:pt x="1299" y="3650"/>
                    </a:cubicBezTo>
                    <a:cubicBezTo>
                      <a:pt x="1306" y="3647"/>
                      <a:pt x="1313" y="3643"/>
                      <a:pt x="1320" y="3640"/>
                    </a:cubicBezTo>
                    <a:cubicBezTo>
                      <a:pt x="1296" y="3613"/>
                      <a:pt x="1273" y="3587"/>
                      <a:pt x="1257" y="3568"/>
                    </a:cubicBezTo>
                    <a:cubicBezTo>
                      <a:pt x="1200" y="3502"/>
                      <a:pt x="1177" y="3459"/>
                      <a:pt x="1149" y="3411"/>
                    </a:cubicBezTo>
                    <a:cubicBezTo>
                      <a:pt x="1120" y="3362"/>
                      <a:pt x="856" y="2894"/>
                      <a:pt x="852" y="2889"/>
                    </a:cubicBezTo>
                    <a:cubicBezTo>
                      <a:pt x="912" y="2855"/>
                      <a:pt x="912" y="2855"/>
                      <a:pt x="912" y="2855"/>
                    </a:cubicBezTo>
                    <a:cubicBezTo>
                      <a:pt x="915" y="2860"/>
                      <a:pt x="915" y="2860"/>
                      <a:pt x="915" y="2860"/>
                    </a:cubicBezTo>
                    <a:cubicBezTo>
                      <a:pt x="916" y="2860"/>
                      <a:pt x="982" y="2977"/>
                      <a:pt x="1051" y="3100"/>
                    </a:cubicBezTo>
                    <a:cubicBezTo>
                      <a:pt x="1121" y="3223"/>
                      <a:pt x="1195" y="3353"/>
                      <a:pt x="1209" y="3377"/>
                    </a:cubicBezTo>
                    <a:cubicBezTo>
                      <a:pt x="1223" y="3402"/>
                      <a:pt x="1235" y="3423"/>
                      <a:pt x="1251" y="3446"/>
                    </a:cubicBezTo>
                    <a:cubicBezTo>
                      <a:pt x="1583" y="3265"/>
                      <a:pt x="1583" y="3265"/>
                      <a:pt x="1583" y="3265"/>
                    </a:cubicBezTo>
                    <a:cubicBezTo>
                      <a:pt x="1589" y="3193"/>
                      <a:pt x="1589" y="3193"/>
                      <a:pt x="1589" y="3193"/>
                    </a:cubicBezTo>
                    <a:cubicBezTo>
                      <a:pt x="1578" y="3192"/>
                      <a:pt x="1578" y="3192"/>
                      <a:pt x="1578" y="3192"/>
                    </a:cubicBezTo>
                    <a:cubicBezTo>
                      <a:pt x="1578" y="3189"/>
                      <a:pt x="1578" y="3189"/>
                      <a:pt x="1578" y="3189"/>
                    </a:cubicBezTo>
                    <a:cubicBezTo>
                      <a:pt x="1578" y="3189"/>
                      <a:pt x="1583" y="3140"/>
                      <a:pt x="1588" y="3090"/>
                    </a:cubicBezTo>
                    <a:cubicBezTo>
                      <a:pt x="1591" y="3052"/>
                      <a:pt x="1595" y="3011"/>
                      <a:pt x="1596" y="2993"/>
                    </a:cubicBezTo>
                    <a:cubicBezTo>
                      <a:pt x="1337" y="2774"/>
                      <a:pt x="1337" y="2774"/>
                      <a:pt x="1337" y="2774"/>
                    </a:cubicBezTo>
                    <a:cubicBezTo>
                      <a:pt x="1347" y="2761"/>
                      <a:pt x="1347" y="2761"/>
                      <a:pt x="1347" y="2761"/>
                    </a:cubicBezTo>
                    <a:cubicBezTo>
                      <a:pt x="1338" y="2753"/>
                      <a:pt x="1311" y="2731"/>
                      <a:pt x="1285" y="2709"/>
                    </a:cubicBezTo>
                    <a:cubicBezTo>
                      <a:pt x="1268" y="2695"/>
                      <a:pt x="1252" y="2681"/>
                      <a:pt x="1239" y="2670"/>
                    </a:cubicBezTo>
                    <a:close/>
                    <a:moveTo>
                      <a:pt x="705" y="3061"/>
                    </a:moveTo>
                    <a:cubicBezTo>
                      <a:pt x="779" y="3147"/>
                      <a:pt x="868" y="3249"/>
                      <a:pt x="956" y="3351"/>
                    </a:cubicBezTo>
                    <a:cubicBezTo>
                      <a:pt x="1060" y="3471"/>
                      <a:pt x="1162" y="3589"/>
                      <a:pt x="1239" y="3678"/>
                    </a:cubicBezTo>
                    <a:cubicBezTo>
                      <a:pt x="1249" y="3673"/>
                      <a:pt x="1259" y="3669"/>
                      <a:pt x="1269" y="3664"/>
                    </a:cubicBezTo>
                    <a:cubicBezTo>
                      <a:pt x="1226" y="3617"/>
                      <a:pt x="1053" y="3429"/>
                      <a:pt x="1017" y="3351"/>
                    </a:cubicBezTo>
                    <a:cubicBezTo>
                      <a:pt x="999" y="3309"/>
                      <a:pt x="958" y="3228"/>
                      <a:pt x="915" y="3157"/>
                    </a:cubicBezTo>
                    <a:cubicBezTo>
                      <a:pt x="893" y="3122"/>
                      <a:pt x="871" y="3089"/>
                      <a:pt x="851" y="3066"/>
                    </a:cubicBezTo>
                    <a:cubicBezTo>
                      <a:pt x="832" y="3042"/>
                      <a:pt x="813" y="3030"/>
                      <a:pt x="808" y="3031"/>
                    </a:cubicBezTo>
                    <a:cubicBezTo>
                      <a:pt x="808" y="3031"/>
                      <a:pt x="808" y="3031"/>
                      <a:pt x="808" y="3031"/>
                    </a:cubicBezTo>
                    <a:cubicBezTo>
                      <a:pt x="807" y="3031"/>
                      <a:pt x="807" y="3031"/>
                      <a:pt x="807" y="3031"/>
                    </a:cubicBezTo>
                    <a:cubicBezTo>
                      <a:pt x="806" y="3031"/>
                      <a:pt x="806" y="3031"/>
                      <a:pt x="806" y="3031"/>
                    </a:cubicBezTo>
                    <a:cubicBezTo>
                      <a:pt x="789" y="3031"/>
                      <a:pt x="751" y="3043"/>
                      <a:pt x="705" y="3061"/>
                    </a:cubicBezTo>
                    <a:close/>
                    <a:moveTo>
                      <a:pt x="1193" y="3730"/>
                    </a:moveTo>
                    <a:cubicBezTo>
                      <a:pt x="1177" y="3738"/>
                      <a:pt x="1165" y="3746"/>
                      <a:pt x="1161" y="3750"/>
                    </a:cubicBezTo>
                    <a:cubicBezTo>
                      <a:pt x="1151" y="3761"/>
                      <a:pt x="1148" y="3776"/>
                      <a:pt x="1148" y="3792"/>
                    </a:cubicBezTo>
                    <a:cubicBezTo>
                      <a:pt x="1148" y="3805"/>
                      <a:pt x="1150" y="3817"/>
                      <a:pt x="1153" y="3825"/>
                    </a:cubicBezTo>
                    <a:cubicBezTo>
                      <a:pt x="1153" y="3825"/>
                      <a:pt x="1154" y="3825"/>
                      <a:pt x="1155" y="3825"/>
                    </a:cubicBezTo>
                    <a:cubicBezTo>
                      <a:pt x="1199" y="3825"/>
                      <a:pt x="1231" y="3852"/>
                      <a:pt x="1253" y="3881"/>
                    </a:cubicBezTo>
                    <a:cubicBezTo>
                      <a:pt x="1271" y="3867"/>
                      <a:pt x="1287" y="3856"/>
                      <a:pt x="1297" y="3850"/>
                    </a:cubicBezTo>
                    <a:cubicBezTo>
                      <a:pt x="1276" y="3825"/>
                      <a:pt x="1239" y="3783"/>
                      <a:pt x="1193" y="3730"/>
                    </a:cubicBezTo>
                    <a:close/>
                    <a:moveTo>
                      <a:pt x="1112" y="3860"/>
                    </a:moveTo>
                    <a:cubicBezTo>
                      <a:pt x="988" y="3918"/>
                      <a:pt x="950" y="3970"/>
                      <a:pt x="950" y="4014"/>
                    </a:cubicBezTo>
                    <a:cubicBezTo>
                      <a:pt x="950" y="4014"/>
                      <a:pt x="950" y="4014"/>
                      <a:pt x="950" y="4014"/>
                    </a:cubicBezTo>
                    <a:cubicBezTo>
                      <a:pt x="950" y="4029"/>
                      <a:pt x="970" y="4072"/>
                      <a:pt x="992" y="4120"/>
                    </a:cubicBezTo>
                    <a:cubicBezTo>
                      <a:pt x="1001" y="4142"/>
                      <a:pt x="1011" y="4166"/>
                      <a:pt x="1019" y="4190"/>
                    </a:cubicBezTo>
                    <a:cubicBezTo>
                      <a:pt x="1026" y="4169"/>
                      <a:pt x="1037" y="4142"/>
                      <a:pt x="1052" y="4114"/>
                    </a:cubicBezTo>
                    <a:cubicBezTo>
                      <a:pt x="1075" y="4070"/>
                      <a:pt x="1106" y="4028"/>
                      <a:pt x="1133" y="3996"/>
                    </a:cubicBezTo>
                    <a:cubicBezTo>
                      <a:pt x="1152" y="3973"/>
                      <a:pt x="1176" y="3947"/>
                      <a:pt x="1202" y="3924"/>
                    </a:cubicBezTo>
                    <a:cubicBezTo>
                      <a:pt x="1212" y="3914"/>
                      <a:pt x="1223" y="3905"/>
                      <a:pt x="1234" y="3897"/>
                    </a:cubicBezTo>
                    <a:cubicBezTo>
                      <a:pt x="1214" y="3871"/>
                      <a:pt x="1187" y="3849"/>
                      <a:pt x="1155" y="3850"/>
                    </a:cubicBezTo>
                    <a:cubicBezTo>
                      <a:pt x="1142" y="3850"/>
                      <a:pt x="1128" y="3853"/>
                      <a:pt x="1112" y="3860"/>
                    </a:cubicBezTo>
                    <a:close/>
                    <a:moveTo>
                      <a:pt x="962" y="4210"/>
                    </a:moveTo>
                    <a:cubicBezTo>
                      <a:pt x="949" y="4202"/>
                      <a:pt x="933" y="4192"/>
                      <a:pt x="913" y="4181"/>
                    </a:cubicBezTo>
                    <a:cubicBezTo>
                      <a:pt x="905" y="4228"/>
                      <a:pt x="885" y="4318"/>
                      <a:pt x="844" y="4391"/>
                    </a:cubicBezTo>
                    <a:cubicBezTo>
                      <a:pt x="860" y="4397"/>
                      <a:pt x="877" y="4402"/>
                      <a:pt x="895" y="4402"/>
                    </a:cubicBezTo>
                    <a:cubicBezTo>
                      <a:pt x="928" y="4402"/>
                      <a:pt x="963" y="4388"/>
                      <a:pt x="996" y="4334"/>
                    </a:cubicBezTo>
                    <a:cubicBezTo>
                      <a:pt x="1006" y="4317"/>
                      <a:pt x="1010" y="4298"/>
                      <a:pt x="1010" y="4277"/>
                    </a:cubicBezTo>
                    <a:cubicBezTo>
                      <a:pt x="1010" y="4265"/>
                      <a:pt x="1009" y="4254"/>
                      <a:pt x="1007" y="4242"/>
                    </a:cubicBezTo>
                    <a:cubicBezTo>
                      <a:pt x="989" y="4228"/>
                      <a:pt x="973" y="4217"/>
                      <a:pt x="962" y="4210"/>
                    </a:cubicBezTo>
                    <a:close/>
                    <a:moveTo>
                      <a:pt x="831" y="4412"/>
                    </a:moveTo>
                    <a:cubicBezTo>
                      <a:pt x="827" y="4419"/>
                      <a:pt x="822" y="4425"/>
                      <a:pt x="818" y="4431"/>
                    </a:cubicBezTo>
                    <a:cubicBezTo>
                      <a:pt x="779" y="4480"/>
                      <a:pt x="742" y="4512"/>
                      <a:pt x="714" y="4531"/>
                    </a:cubicBezTo>
                    <a:cubicBezTo>
                      <a:pt x="699" y="4540"/>
                      <a:pt x="687" y="4547"/>
                      <a:pt x="678" y="4551"/>
                    </a:cubicBezTo>
                    <a:cubicBezTo>
                      <a:pt x="674" y="4553"/>
                      <a:pt x="672" y="4554"/>
                      <a:pt x="668" y="4555"/>
                    </a:cubicBezTo>
                    <a:cubicBezTo>
                      <a:pt x="667" y="4554"/>
                      <a:pt x="667" y="4554"/>
                      <a:pt x="667" y="4554"/>
                    </a:cubicBezTo>
                    <a:cubicBezTo>
                      <a:pt x="690" y="4585"/>
                      <a:pt x="711" y="4615"/>
                      <a:pt x="731" y="4643"/>
                    </a:cubicBezTo>
                    <a:cubicBezTo>
                      <a:pt x="776" y="4706"/>
                      <a:pt x="813" y="4758"/>
                      <a:pt x="840" y="4795"/>
                    </a:cubicBezTo>
                    <a:cubicBezTo>
                      <a:pt x="847" y="4806"/>
                      <a:pt x="854" y="4815"/>
                      <a:pt x="860" y="4823"/>
                    </a:cubicBezTo>
                    <a:cubicBezTo>
                      <a:pt x="859" y="4822"/>
                      <a:pt x="859" y="4822"/>
                      <a:pt x="859" y="4822"/>
                    </a:cubicBezTo>
                    <a:cubicBezTo>
                      <a:pt x="1123" y="4758"/>
                      <a:pt x="1123" y="4758"/>
                      <a:pt x="1123" y="4758"/>
                    </a:cubicBezTo>
                    <a:cubicBezTo>
                      <a:pt x="1068" y="4527"/>
                      <a:pt x="1068" y="4527"/>
                      <a:pt x="1068" y="4527"/>
                    </a:cubicBezTo>
                    <a:cubicBezTo>
                      <a:pt x="946" y="4416"/>
                      <a:pt x="946" y="4416"/>
                      <a:pt x="946" y="4416"/>
                    </a:cubicBezTo>
                    <a:cubicBezTo>
                      <a:pt x="929" y="4423"/>
                      <a:pt x="912" y="4427"/>
                      <a:pt x="895" y="4427"/>
                    </a:cubicBezTo>
                    <a:cubicBezTo>
                      <a:pt x="872" y="4427"/>
                      <a:pt x="850" y="4420"/>
                      <a:pt x="831" y="4412"/>
                    </a:cubicBezTo>
                    <a:close/>
                    <a:moveTo>
                      <a:pt x="347" y="4962"/>
                    </a:moveTo>
                    <a:cubicBezTo>
                      <a:pt x="365" y="4985"/>
                      <a:pt x="365" y="4985"/>
                      <a:pt x="365" y="4985"/>
                    </a:cubicBezTo>
                    <a:cubicBezTo>
                      <a:pt x="399" y="4960"/>
                      <a:pt x="399" y="4960"/>
                      <a:pt x="399" y="4960"/>
                    </a:cubicBezTo>
                    <a:cubicBezTo>
                      <a:pt x="444" y="5020"/>
                      <a:pt x="444" y="5020"/>
                      <a:pt x="444" y="5020"/>
                    </a:cubicBezTo>
                    <a:cubicBezTo>
                      <a:pt x="816" y="4874"/>
                      <a:pt x="816" y="4874"/>
                      <a:pt x="816" y="4874"/>
                    </a:cubicBezTo>
                    <a:cubicBezTo>
                      <a:pt x="808" y="4863"/>
                      <a:pt x="796" y="4847"/>
                      <a:pt x="782" y="4826"/>
                    </a:cubicBezTo>
                    <a:cubicBezTo>
                      <a:pt x="768" y="4808"/>
                      <a:pt x="753" y="4786"/>
                      <a:pt x="735" y="4761"/>
                    </a:cubicBezTo>
                    <a:lnTo>
                      <a:pt x="347" y="4962"/>
                    </a:lnTo>
                    <a:close/>
                    <a:moveTo>
                      <a:pt x="335" y="4968"/>
                    </a:moveTo>
                    <a:cubicBezTo>
                      <a:pt x="322" y="4975"/>
                      <a:pt x="322" y="4975"/>
                      <a:pt x="322" y="4975"/>
                    </a:cubicBezTo>
                    <a:cubicBezTo>
                      <a:pt x="286" y="5002"/>
                      <a:pt x="286" y="5002"/>
                      <a:pt x="286" y="5002"/>
                    </a:cubicBezTo>
                    <a:cubicBezTo>
                      <a:pt x="332" y="5064"/>
                      <a:pt x="332" y="5064"/>
                      <a:pt x="332" y="5064"/>
                    </a:cubicBezTo>
                    <a:cubicBezTo>
                      <a:pt x="431" y="5025"/>
                      <a:pt x="431" y="5025"/>
                      <a:pt x="431" y="5025"/>
                    </a:cubicBezTo>
                    <a:cubicBezTo>
                      <a:pt x="396" y="4978"/>
                      <a:pt x="396" y="4978"/>
                      <a:pt x="396" y="4978"/>
                    </a:cubicBezTo>
                    <a:cubicBezTo>
                      <a:pt x="362" y="5004"/>
                      <a:pt x="362" y="5004"/>
                      <a:pt x="362" y="5004"/>
                    </a:cubicBezTo>
                    <a:lnTo>
                      <a:pt x="335" y="4968"/>
                    </a:lnTo>
                    <a:close/>
                    <a:moveTo>
                      <a:pt x="340" y="5076"/>
                    </a:moveTo>
                    <a:cubicBezTo>
                      <a:pt x="395" y="5150"/>
                      <a:pt x="395" y="5150"/>
                      <a:pt x="395" y="5150"/>
                    </a:cubicBezTo>
                    <a:cubicBezTo>
                      <a:pt x="444" y="5114"/>
                      <a:pt x="444" y="5114"/>
                      <a:pt x="444" y="5114"/>
                    </a:cubicBezTo>
                    <a:cubicBezTo>
                      <a:pt x="416" y="5076"/>
                      <a:pt x="416" y="5076"/>
                      <a:pt x="416" y="5076"/>
                    </a:cubicBezTo>
                    <a:cubicBezTo>
                      <a:pt x="450" y="5051"/>
                      <a:pt x="450" y="5051"/>
                      <a:pt x="450" y="5051"/>
                    </a:cubicBezTo>
                    <a:cubicBezTo>
                      <a:pt x="440" y="5037"/>
                      <a:pt x="440" y="5037"/>
                      <a:pt x="440" y="5037"/>
                    </a:cubicBezTo>
                    <a:lnTo>
                      <a:pt x="340" y="5076"/>
                    </a:lnTo>
                    <a:close/>
                    <a:moveTo>
                      <a:pt x="375" y="5185"/>
                    </a:moveTo>
                    <a:cubicBezTo>
                      <a:pt x="388" y="5202"/>
                      <a:pt x="399" y="5217"/>
                      <a:pt x="407" y="5228"/>
                    </a:cubicBezTo>
                    <a:cubicBezTo>
                      <a:pt x="421" y="5248"/>
                      <a:pt x="442" y="5279"/>
                      <a:pt x="467" y="5316"/>
                    </a:cubicBezTo>
                    <a:cubicBezTo>
                      <a:pt x="475" y="5313"/>
                      <a:pt x="485" y="5310"/>
                      <a:pt x="495" y="5306"/>
                    </a:cubicBezTo>
                    <a:cubicBezTo>
                      <a:pt x="446" y="5240"/>
                      <a:pt x="446" y="5240"/>
                      <a:pt x="446" y="5240"/>
                    </a:cubicBezTo>
                    <a:cubicBezTo>
                      <a:pt x="451" y="5236"/>
                      <a:pt x="451" y="5236"/>
                      <a:pt x="451" y="5236"/>
                    </a:cubicBezTo>
                    <a:cubicBezTo>
                      <a:pt x="515" y="5189"/>
                      <a:pt x="515" y="5189"/>
                      <a:pt x="515" y="5189"/>
                    </a:cubicBezTo>
                    <a:cubicBezTo>
                      <a:pt x="543" y="5226"/>
                      <a:pt x="543" y="5226"/>
                      <a:pt x="543" y="5226"/>
                    </a:cubicBezTo>
                    <a:cubicBezTo>
                      <a:pt x="578" y="5201"/>
                      <a:pt x="578" y="5201"/>
                      <a:pt x="578" y="5201"/>
                    </a:cubicBezTo>
                    <a:cubicBezTo>
                      <a:pt x="623" y="5262"/>
                      <a:pt x="623" y="5262"/>
                      <a:pt x="623" y="5262"/>
                    </a:cubicBezTo>
                    <a:cubicBezTo>
                      <a:pt x="769" y="5211"/>
                      <a:pt x="947" y="5147"/>
                      <a:pt x="994" y="5131"/>
                    </a:cubicBezTo>
                    <a:cubicBezTo>
                      <a:pt x="905" y="5003"/>
                      <a:pt x="905" y="5003"/>
                      <a:pt x="905" y="5003"/>
                    </a:cubicBezTo>
                    <a:lnTo>
                      <a:pt x="375" y="5185"/>
                    </a:lnTo>
                    <a:close/>
                    <a:moveTo>
                      <a:pt x="517" y="5314"/>
                    </a:moveTo>
                    <a:cubicBezTo>
                      <a:pt x="574" y="5391"/>
                      <a:pt x="574" y="5391"/>
                      <a:pt x="574" y="5391"/>
                    </a:cubicBezTo>
                    <a:cubicBezTo>
                      <a:pt x="622" y="5355"/>
                      <a:pt x="622" y="5355"/>
                      <a:pt x="622" y="5355"/>
                    </a:cubicBezTo>
                    <a:cubicBezTo>
                      <a:pt x="594" y="5317"/>
                      <a:pt x="594" y="5317"/>
                      <a:pt x="594" y="5317"/>
                    </a:cubicBezTo>
                    <a:cubicBezTo>
                      <a:pt x="629" y="5292"/>
                      <a:pt x="629" y="5292"/>
                      <a:pt x="629" y="5292"/>
                    </a:cubicBezTo>
                    <a:cubicBezTo>
                      <a:pt x="619" y="5279"/>
                      <a:pt x="619" y="5279"/>
                      <a:pt x="619" y="5279"/>
                    </a:cubicBezTo>
                    <a:cubicBezTo>
                      <a:pt x="586" y="5290"/>
                      <a:pt x="555" y="5301"/>
                      <a:pt x="528" y="5310"/>
                    </a:cubicBezTo>
                    <a:cubicBezTo>
                      <a:pt x="524" y="5311"/>
                      <a:pt x="520" y="5313"/>
                      <a:pt x="517" y="5314"/>
                    </a:cubicBezTo>
                    <a:close/>
                    <a:moveTo>
                      <a:pt x="523" y="5297"/>
                    </a:moveTo>
                    <a:cubicBezTo>
                      <a:pt x="549" y="5288"/>
                      <a:pt x="579" y="5278"/>
                      <a:pt x="610" y="5267"/>
                    </a:cubicBezTo>
                    <a:cubicBezTo>
                      <a:pt x="575" y="5219"/>
                      <a:pt x="575" y="5219"/>
                      <a:pt x="575" y="5219"/>
                    </a:cubicBezTo>
                    <a:cubicBezTo>
                      <a:pt x="540" y="5245"/>
                      <a:pt x="540" y="5245"/>
                      <a:pt x="540" y="5245"/>
                    </a:cubicBezTo>
                    <a:cubicBezTo>
                      <a:pt x="512" y="5207"/>
                      <a:pt x="512" y="5207"/>
                      <a:pt x="512" y="5207"/>
                    </a:cubicBezTo>
                    <a:cubicBezTo>
                      <a:pt x="464" y="5243"/>
                      <a:pt x="464" y="5243"/>
                      <a:pt x="464" y="5243"/>
                    </a:cubicBezTo>
                    <a:cubicBezTo>
                      <a:pt x="508" y="5302"/>
                      <a:pt x="508" y="5302"/>
                      <a:pt x="508" y="5302"/>
                    </a:cubicBezTo>
                    <a:cubicBezTo>
                      <a:pt x="513" y="5300"/>
                      <a:pt x="518" y="5299"/>
                      <a:pt x="523" y="5297"/>
                    </a:cubicBezTo>
                    <a:close/>
                    <a:moveTo>
                      <a:pt x="475" y="5328"/>
                    </a:moveTo>
                    <a:cubicBezTo>
                      <a:pt x="499" y="5363"/>
                      <a:pt x="525" y="5403"/>
                      <a:pt x="550" y="5441"/>
                    </a:cubicBezTo>
                    <a:cubicBezTo>
                      <a:pt x="567" y="5436"/>
                      <a:pt x="593" y="5428"/>
                      <a:pt x="622" y="5419"/>
                    </a:cubicBezTo>
                    <a:cubicBezTo>
                      <a:pt x="764" y="5374"/>
                      <a:pt x="1011" y="5291"/>
                      <a:pt x="1089" y="5265"/>
                    </a:cubicBezTo>
                    <a:cubicBezTo>
                      <a:pt x="1003" y="5142"/>
                      <a:pt x="1003" y="5142"/>
                      <a:pt x="1003" y="5142"/>
                    </a:cubicBezTo>
                    <a:cubicBezTo>
                      <a:pt x="970" y="5154"/>
                      <a:pt x="850" y="5197"/>
                      <a:pt x="727" y="5241"/>
                    </a:cubicBezTo>
                    <a:cubicBezTo>
                      <a:pt x="695" y="5252"/>
                      <a:pt x="663" y="5263"/>
                      <a:pt x="632" y="5274"/>
                    </a:cubicBezTo>
                    <a:cubicBezTo>
                      <a:pt x="647" y="5294"/>
                      <a:pt x="647" y="5294"/>
                      <a:pt x="647" y="5294"/>
                    </a:cubicBezTo>
                    <a:cubicBezTo>
                      <a:pt x="612" y="5320"/>
                      <a:pt x="612" y="5320"/>
                      <a:pt x="612" y="5320"/>
                    </a:cubicBezTo>
                    <a:cubicBezTo>
                      <a:pt x="640" y="5358"/>
                      <a:pt x="640" y="5358"/>
                      <a:pt x="640" y="5358"/>
                    </a:cubicBezTo>
                    <a:cubicBezTo>
                      <a:pt x="571" y="5409"/>
                      <a:pt x="571" y="5409"/>
                      <a:pt x="571" y="5409"/>
                    </a:cubicBezTo>
                    <a:cubicBezTo>
                      <a:pt x="504" y="5318"/>
                      <a:pt x="504" y="5318"/>
                      <a:pt x="504" y="5318"/>
                    </a:cubicBezTo>
                    <a:cubicBezTo>
                      <a:pt x="493" y="5322"/>
                      <a:pt x="484" y="5325"/>
                      <a:pt x="475" y="5328"/>
                    </a:cubicBezTo>
                    <a:close/>
                    <a:moveTo>
                      <a:pt x="614" y="6425"/>
                    </a:moveTo>
                    <a:cubicBezTo>
                      <a:pt x="613" y="6444"/>
                      <a:pt x="631" y="6496"/>
                      <a:pt x="651" y="6522"/>
                    </a:cubicBezTo>
                    <a:cubicBezTo>
                      <a:pt x="651" y="6522"/>
                      <a:pt x="652" y="6522"/>
                      <a:pt x="652" y="6523"/>
                    </a:cubicBezTo>
                    <a:cubicBezTo>
                      <a:pt x="665" y="6533"/>
                      <a:pt x="741" y="6585"/>
                      <a:pt x="780" y="6610"/>
                    </a:cubicBezTo>
                    <a:cubicBezTo>
                      <a:pt x="800" y="6623"/>
                      <a:pt x="819" y="6634"/>
                      <a:pt x="833" y="6643"/>
                    </a:cubicBezTo>
                    <a:cubicBezTo>
                      <a:pt x="835" y="6644"/>
                      <a:pt x="836" y="6645"/>
                      <a:pt x="838" y="6646"/>
                    </a:cubicBezTo>
                    <a:cubicBezTo>
                      <a:pt x="839" y="6645"/>
                      <a:pt x="839" y="6645"/>
                      <a:pt x="839" y="6645"/>
                    </a:cubicBezTo>
                    <a:cubicBezTo>
                      <a:pt x="840" y="6646"/>
                      <a:pt x="840" y="6646"/>
                      <a:pt x="840" y="6646"/>
                    </a:cubicBezTo>
                    <a:cubicBezTo>
                      <a:pt x="1128" y="6160"/>
                      <a:pt x="1128" y="6160"/>
                      <a:pt x="1128" y="6160"/>
                    </a:cubicBezTo>
                    <a:cubicBezTo>
                      <a:pt x="1126" y="6157"/>
                      <a:pt x="1126" y="6157"/>
                      <a:pt x="1126" y="6157"/>
                    </a:cubicBezTo>
                    <a:cubicBezTo>
                      <a:pt x="1112" y="6146"/>
                      <a:pt x="1112" y="6146"/>
                      <a:pt x="1112" y="6146"/>
                    </a:cubicBezTo>
                    <a:cubicBezTo>
                      <a:pt x="1112" y="6146"/>
                      <a:pt x="1112" y="6146"/>
                      <a:pt x="1112" y="6146"/>
                    </a:cubicBezTo>
                    <a:cubicBezTo>
                      <a:pt x="1007" y="6049"/>
                      <a:pt x="1007" y="6049"/>
                      <a:pt x="1007" y="6049"/>
                    </a:cubicBezTo>
                    <a:cubicBezTo>
                      <a:pt x="674" y="6053"/>
                      <a:pt x="674" y="6053"/>
                      <a:pt x="674" y="6053"/>
                    </a:cubicBezTo>
                    <a:cubicBezTo>
                      <a:pt x="670" y="6108"/>
                      <a:pt x="666" y="6157"/>
                      <a:pt x="659" y="6186"/>
                    </a:cubicBezTo>
                    <a:cubicBezTo>
                      <a:pt x="642" y="6260"/>
                      <a:pt x="619" y="6391"/>
                      <a:pt x="614" y="6421"/>
                    </a:cubicBezTo>
                    <a:cubicBezTo>
                      <a:pt x="614" y="6422"/>
                      <a:pt x="614" y="6423"/>
                      <a:pt x="614" y="6425"/>
                    </a:cubicBezTo>
                    <a:close/>
                    <a:moveTo>
                      <a:pt x="854" y="6654"/>
                    </a:moveTo>
                    <a:cubicBezTo>
                      <a:pt x="1118" y="6820"/>
                      <a:pt x="1118" y="6820"/>
                      <a:pt x="1118" y="6820"/>
                    </a:cubicBezTo>
                    <a:cubicBezTo>
                      <a:pt x="1118" y="6819"/>
                      <a:pt x="1119" y="6819"/>
                      <a:pt x="1119" y="6819"/>
                    </a:cubicBezTo>
                    <a:cubicBezTo>
                      <a:pt x="1121" y="6816"/>
                      <a:pt x="1122" y="6814"/>
                      <a:pt x="1125" y="6810"/>
                    </a:cubicBezTo>
                    <a:cubicBezTo>
                      <a:pt x="1151" y="6776"/>
                      <a:pt x="1240" y="6661"/>
                      <a:pt x="1240" y="6661"/>
                    </a:cubicBezTo>
                    <a:cubicBezTo>
                      <a:pt x="1420" y="6414"/>
                      <a:pt x="1420" y="6414"/>
                      <a:pt x="1420" y="6414"/>
                    </a:cubicBezTo>
                    <a:cubicBezTo>
                      <a:pt x="1144" y="6174"/>
                      <a:pt x="1144" y="6174"/>
                      <a:pt x="1144" y="6174"/>
                    </a:cubicBezTo>
                    <a:cubicBezTo>
                      <a:pt x="1144" y="6174"/>
                      <a:pt x="1144" y="6174"/>
                      <a:pt x="1144" y="6174"/>
                    </a:cubicBezTo>
                    <a:cubicBezTo>
                      <a:pt x="1140" y="6171"/>
                      <a:pt x="1140" y="6171"/>
                      <a:pt x="1140" y="6171"/>
                    </a:cubicBezTo>
                    <a:lnTo>
                      <a:pt x="854" y="6654"/>
                    </a:lnTo>
                    <a:close/>
                    <a:moveTo>
                      <a:pt x="988" y="7054"/>
                    </a:moveTo>
                    <a:cubicBezTo>
                      <a:pt x="988" y="7054"/>
                      <a:pt x="988" y="7054"/>
                      <a:pt x="988" y="7054"/>
                    </a:cubicBezTo>
                    <a:cubicBezTo>
                      <a:pt x="1221" y="7180"/>
                      <a:pt x="1221" y="7180"/>
                      <a:pt x="1221" y="7180"/>
                    </a:cubicBezTo>
                    <a:cubicBezTo>
                      <a:pt x="1403" y="6799"/>
                      <a:pt x="1403" y="6799"/>
                      <a:pt x="1403" y="6799"/>
                    </a:cubicBezTo>
                    <a:cubicBezTo>
                      <a:pt x="1298" y="6699"/>
                      <a:pt x="1298" y="6699"/>
                      <a:pt x="1298" y="6699"/>
                    </a:cubicBezTo>
                    <a:cubicBezTo>
                      <a:pt x="1295" y="6703"/>
                      <a:pt x="1295" y="6703"/>
                      <a:pt x="1295" y="6703"/>
                    </a:cubicBezTo>
                    <a:cubicBezTo>
                      <a:pt x="1294" y="6704"/>
                      <a:pt x="1264" y="6742"/>
                      <a:pt x="1234" y="6781"/>
                    </a:cubicBezTo>
                    <a:cubicBezTo>
                      <a:pt x="1219" y="6801"/>
                      <a:pt x="1204" y="6820"/>
                      <a:pt x="1193" y="6835"/>
                    </a:cubicBezTo>
                    <a:cubicBezTo>
                      <a:pt x="1187" y="6842"/>
                      <a:pt x="1183" y="6848"/>
                      <a:pt x="1179" y="6853"/>
                    </a:cubicBezTo>
                    <a:cubicBezTo>
                      <a:pt x="1178" y="6855"/>
                      <a:pt x="1177" y="6856"/>
                      <a:pt x="1176" y="6857"/>
                    </a:cubicBezTo>
                    <a:cubicBezTo>
                      <a:pt x="1175" y="6860"/>
                      <a:pt x="1174" y="6859"/>
                      <a:pt x="1174" y="6861"/>
                    </a:cubicBezTo>
                    <a:cubicBezTo>
                      <a:pt x="1170" y="6865"/>
                      <a:pt x="1170" y="6865"/>
                      <a:pt x="1167" y="6868"/>
                    </a:cubicBezTo>
                    <a:cubicBezTo>
                      <a:pt x="1146" y="6891"/>
                      <a:pt x="1065" y="6975"/>
                      <a:pt x="988" y="7054"/>
                    </a:cubicBezTo>
                    <a:close/>
                    <a:moveTo>
                      <a:pt x="976" y="7066"/>
                    </a:moveTo>
                    <a:cubicBezTo>
                      <a:pt x="942" y="7102"/>
                      <a:pt x="909" y="7135"/>
                      <a:pt x="884" y="7161"/>
                    </a:cubicBezTo>
                    <a:cubicBezTo>
                      <a:pt x="871" y="7175"/>
                      <a:pt x="859" y="7187"/>
                      <a:pt x="851" y="7195"/>
                    </a:cubicBezTo>
                    <a:cubicBezTo>
                      <a:pt x="847" y="7199"/>
                      <a:pt x="843" y="7203"/>
                      <a:pt x="841" y="7205"/>
                    </a:cubicBezTo>
                    <a:cubicBezTo>
                      <a:pt x="840" y="7206"/>
                      <a:pt x="839" y="7207"/>
                      <a:pt x="838" y="7208"/>
                    </a:cubicBezTo>
                    <a:cubicBezTo>
                      <a:pt x="838" y="7208"/>
                      <a:pt x="838" y="7209"/>
                      <a:pt x="837" y="7209"/>
                    </a:cubicBezTo>
                    <a:cubicBezTo>
                      <a:pt x="836" y="7210"/>
                      <a:pt x="837" y="7209"/>
                      <a:pt x="836" y="7210"/>
                    </a:cubicBezTo>
                    <a:cubicBezTo>
                      <a:pt x="831" y="7215"/>
                      <a:pt x="807" y="7240"/>
                      <a:pt x="785" y="7266"/>
                    </a:cubicBezTo>
                    <a:cubicBezTo>
                      <a:pt x="773" y="7281"/>
                      <a:pt x="761" y="7295"/>
                      <a:pt x="752" y="7307"/>
                    </a:cubicBezTo>
                    <a:cubicBezTo>
                      <a:pt x="747" y="7313"/>
                      <a:pt x="743" y="7319"/>
                      <a:pt x="741" y="7323"/>
                    </a:cubicBezTo>
                    <a:cubicBezTo>
                      <a:pt x="1044" y="7552"/>
                      <a:pt x="1044" y="7552"/>
                      <a:pt x="1044" y="7552"/>
                    </a:cubicBezTo>
                    <a:cubicBezTo>
                      <a:pt x="1214" y="7195"/>
                      <a:pt x="1214" y="7195"/>
                      <a:pt x="1214" y="7195"/>
                    </a:cubicBezTo>
                    <a:lnTo>
                      <a:pt x="976" y="7066"/>
                    </a:lnTo>
                    <a:close/>
                    <a:moveTo>
                      <a:pt x="726" y="7398"/>
                    </a:moveTo>
                    <a:cubicBezTo>
                      <a:pt x="719" y="7425"/>
                      <a:pt x="706" y="7472"/>
                      <a:pt x="692" y="7514"/>
                    </a:cubicBezTo>
                    <a:cubicBezTo>
                      <a:pt x="678" y="7555"/>
                      <a:pt x="648" y="7649"/>
                      <a:pt x="611" y="7723"/>
                    </a:cubicBezTo>
                    <a:cubicBezTo>
                      <a:pt x="778" y="7836"/>
                      <a:pt x="778" y="7836"/>
                      <a:pt x="778" y="7836"/>
                    </a:cubicBezTo>
                    <a:cubicBezTo>
                      <a:pt x="711" y="8103"/>
                      <a:pt x="711" y="8103"/>
                      <a:pt x="711" y="8103"/>
                    </a:cubicBezTo>
                    <a:cubicBezTo>
                      <a:pt x="894" y="8176"/>
                      <a:pt x="894" y="8176"/>
                      <a:pt x="894" y="8176"/>
                    </a:cubicBezTo>
                    <a:cubicBezTo>
                      <a:pt x="974" y="7875"/>
                      <a:pt x="974" y="7875"/>
                      <a:pt x="974" y="7875"/>
                    </a:cubicBezTo>
                    <a:cubicBezTo>
                      <a:pt x="927" y="7750"/>
                      <a:pt x="927" y="7750"/>
                      <a:pt x="927" y="7750"/>
                    </a:cubicBezTo>
                    <a:cubicBezTo>
                      <a:pt x="1028" y="7625"/>
                      <a:pt x="1028" y="7625"/>
                      <a:pt x="1028" y="7625"/>
                    </a:cubicBezTo>
                    <a:lnTo>
                      <a:pt x="726" y="7398"/>
                    </a:lnTo>
                    <a:close/>
                    <a:moveTo>
                      <a:pt x="618" y="7517"/>
                    </a:moveTo>
                    <a:cubicBezTo>
                      <a:pt x="613" y="7513"/>
                      <a:pt x="606" y="7508"/>
                      <a:pt x="599" y="7502"/>
                    </a:cubicBezTo>
                    <a:cubicBezTo>
                      <a:pt x="585" y="7492"/>
                      <a:pt x="571" y="7480"/>
                      <a:pt x="556" y="7469"/>
                    </a:cubicBezTo>
                    <a:cubicBezTo>
                      <a:pt x="550" y="7503"/>
                      <a:pt x="542" y="7542"/>
                      <a:pt x="533" y="7581"/>
                    </a:cubicBezTo>
                    <a:cubicBezTo>
                      <a:pt x="514" y="7654"/>
                      <a:pt x="492" y="7725"/>
                      <a:pt x="462" y="7762"/>
                    </a:cubicBezTo>
                    <a:cubicBezTo>
                      <a:pt x="444" y="7785"/>
                      <a:pt x="419" y="7841"/>
                      <a:pt x="400" y="7903"/>
                    </a:cubicBezTo>
                    <a:cubicBezTo>
                      <a:pt x="463" y="7819"/>
                      <a:pt x="513" y="7752"/>
                      <a:pt x="526" y="7733"/>
                    </a:cubicBezTo>
                    <a:cubicBezTo>
                      <a:pt x="561" y="7684"/>
                      <a:pt x="598" y="7578"/>
                      <a:pt x="618" y="7517"/>
                    </a:cubicBezTo>
                    <a:close/>
                    <a:moveTo>
                      <a:pt x="1322" y="8617"/>
                    </a:moveTo>
                    <a:cubicBezTo>
                      <a:pt x="1393" y="8679"/>
                      <a:pt x="1504" y="8775"/>
                      <a:pt x="1559" y="8828"/>
                    </a:cubicBezTo>
                    <a:cubicBezTo>
                      <a:pt x="1788" y="8489"/>
                      <a:pt x="1788" y="8489"/>
                      <a:pt x="1788" y="8489"/>
                    </a:cubicBezTo>
                    <a:cubicBezTo>
                      <a:pt x="1884" y="8546"/>
                      <a:pt x="1884" y="8546"/>
                      <a:pt x="1884" y="8546"/>
                    </a:cubicBezTo>
                    <a:cubicBezTo>
                      <a:pt x="1997" y="8353"/>
                      <a:pt x="1997" y="8353"/>
                      <a:pt x="1997" y="8353"/>
                    </a:cubicBezTo>
                    <a:cubicBezTo>
                      <a:pt x="1999" y="8352"/>
                      <a:pt x="1999" y="8352"/>
                      <a:pt x="1999" y="8352"/>
                    </a:cubicBezTo>
                    <a:cubicBezTo>
                      <a:pt x="1999" y="8352"/>
                      <a:pt x="2001" y="8352"/>
                      <a:pt x="2001" y="8352"/>
                    </a:cubicBezTo>
                    <a:cubicBezTo>
                      <a:pt x="1876" y="8259"/>
                      <a:pt x="1690" y="8120"/>
                      <a:pt x="1515" y="7989"/>
                    </a:cubicBezTo>
                    <a:cubicBezTo>
                      <a:pt x="1208" y="8360"/>
                      <a:pt x="1208" y="8360"/>
                      <a:pt x="1208" y="8360"/>
                    </a:cubicBezTo>
                    <a:cubicBezTo>
                      <a:pt x="1397" y="8527"/>
                      <a:pt x="1397" y="8527"/>
                      <a:pt x="1397" y="8527"/>
                    </a:cubicBezTo>
                    <a:lnTo>
                      <a:pt x="1322" y="8617"/>
                    </a:lnTo>
                    <a:close/>
                    <a:moveTo>
                      <a:pt x="1914" y="8947"/>
                    </a:moveTo>
                    <a:cubicBezTo>
                      <a:pt x="1798" y="9054"/>
                      <a:pt x="1798" y="9054"/>
                      <a:pt x="1798" y="9054"/>
                    </a:cubicBezTo>
                    <a:cubicBezTo>
                      <a:pt x="1799" y="9055"/>
                      <a:pt x="1799" y="9055"/>
                      <a:pt x="1800" y="9056"/>
                    </a:cubicBezTo>
                    <a:cubicBezTo>
                      <a:pt x="1874" y="9125"/>
                      <a:pt x="1941" y="9188"/>
                      <a:pt x="1965" y="9211"/>
                    </a:cubicBezTo>
                    <a:cubicBezTo>
                      <a:pt x="2113" y="9037"/>
                      <a:pt x="2113" y="9037"/>
                      <a:pt x="2113" y="9037"/>
                    </a:cubicBezTo>
                    <a:cubicBezTo>
                      <a:pt x="2092" y="9028"/>
                      <a:pt x="2068" y="9017"/>
                      <a:pt x="2045" y="9007"/>
                    </a:cubicBezTo>
                    <a:cubicBezTo>
                      <a:pt x="2011" y="8992"/>
                      <a:pt x="1978" y="8977"/>
                      <a:pt x="1952" y="8965"/>
                    </a:cubicBezTo>
                    <a:cubicBezTo>
                      <a:pt x="1940" y="8959"/>
                      <a:pt x="1929" y="8955"/>
                      <a:pt x="1922" y="8951"/>
                    </a:cubicBezTo>
                    <a:cubicBezTo>
                      <a:pt x="1919" y="8950"/>
                      <a:pt x="1916" y="8948"/>
                      <a:pt x="1914" y="8947"/>
                    </a:cubicBezTo>
                    <a:close/>
                    <a:moveTo>
                      <a:pt x="1916" y="8946"/>
                    </a:moveTo>
                    <a:cubicBezTo>
                      <a:pt x="1916" y="8945"/>
                      <a:pt x="1916" y="8945"/>
                      <a:pt x="1916" y="8945"/>
                    </a:cubicBezTo>
                    <a:cubicBezTo>
                      <a:pt x="1916" y="8946"/>
                      <a:pt x="1916" y="8946"/>
                      <a:pt x="1916" y="8946"/>
                    </a:cubicBezTo>
                    <a:cubicBezTo>
                      <a:pt x="1916" y="8946"/>
                      <a:pt x="1916" y="8946"/>
                      <a:pt x="1916" y="8946"/>
                    </a:cubicBezTo>
                    <a:close/>
                    <a:moveTo>
                      <a:pt x="2015" y="8854"/>
                    </a:moveTo>
                    <a:cubicBezTo>
                      <a:pt x="1925" y="8937"/>
                      <a:pt x="1925" y="8937"/>
                      <a:pt x="1925" y="8937"/>
                    </a:cubicBezTo>
                    <a:cubicBezTo>
                      <a:pt x="1945" y="8946"/>
                      <a:pt x="2001" y="8972"/>
                      <a:pt x="2055" y="8996"/>
                    </a:cubicBezTo>
                    <a:cubicBezTo>
                      <a:pt x="2117" y="9023"/>
                      <a:pt x="2177" y="9050"/>
                      <a:pt x="2184" y="9053"/>
                    </a:cubicBezTo>
                    <a:cubicBezTo>
                      <a:pt x="2573" y="9117"/>
                      <a:pt x="2573" y="9117"/>
                      <a:pt x="2573" y="9117"/>
                    </a:cubicBezTo>
                    <a:cubicBezTo>
                      <a:pt x="2574" y="9046"/>
                      <a:pt x="2574" y="8982"/>
                      <a:pt x="2575" y="8929"/>
                    </a:cubicBezTo>
                    <a:cubicBezTo>
                      <a:pt x="2187" y="8909"/>
                      <a:pt x="2187" y="8909"/>
                      <a:pt x="2187" y="8909"/>
                    </a:cubicBezTo>
                    <a:cubicBezTo>
                      <a:pt x="2015" y="8851"/>
                      <a:pt x="2015" y="8851"/>
                      <a:pt x="2015" y="8851"/>
                    </a:cubicBezTo>
                    <a:lnTo>
                      <a:pt x="2015" y="8854"/>
                    </a:lnTo>
                    <a:close/>
                    <a:moveTo>
                      <a:pt x="2572" y="9438"/>
                    </a:moveTo>
                    <a:cubicBezTo>
                      <a:pt x="2572" y="9328"/>
                      <a:pt x="2573" y="9224"/>
                      <a:pt x="2573" y="9131"/>
                    </a:cubicBezTo>
                    <a:cubicBezTo>
                      <a:pt x="2293" y="9085"/>
                      <a:pt x="2293" y="9085"/>
                      <a:pt x="2293" y="9085"/>
                    </a:cubicBezTo>
                    <a:cubicBezTo>
                      <a:pt x="2227" y="9266"/>
                      <a:pt x="2227" y="9266"/>
                      <a:pt x="2227" y="9266"/>
                    </a:cubicBezTo>
                    <a:cubicBezTo>
                      <a:pt x="2362" y="9471"/>
                      <a:pt x="2362" y="9471"/>
                      <a:pt x="2362" y="9471"/>
                    </a:cubicBezTo>
                    <a:cubicBezTo>
                      <a:pt x="2394" y="9475"/>
                      <a:pt x="2429" y="9478"/>
                      <a:pt x="2461" y="9480"/>
                    </a:cubicBezTo>
                    <a:cubicBezTo>
                      <a:pt x="2505" y="9483"/>
                      <a:pt x="2545" y="9484"/>
                      <a:pt x="2572" y="9485"/>
                    </a:cubicBezTo>
                    <a:cubicBezTo>
                      <a:pt x="2572" y="9469"/>
                      <a:pt x="2572" y="9453"/>
                      <a:pt x="2572" y="9438"/>
                    </a:cubicBezTo>
                    <a:close/>
                    <a:moveTo>
                      <a:pt x="2211" y="9268"/>
                    </a:moveTo>
                    <a:cubicBezTo>
                      <a:pt x="2279" y="9083"/>
                      <a:pt x="2279" y="9083"/>
                      <a:pt x="2279" y="9083"/>
                    </a:cubicBezTo>
                    <a:cubicBezTo>
                      <a:pt x="2180" y="9067"/>
                      <a:pt x="2180" y="9067"/>
                      <a:pt x="2180" y="9067"/>
                    </a:cubicBezTo>
                    <a:cubicBezTo>
                      <a:pt x="2179" y="9066"/>
                      <a:pt x="2179" y="9066"/>
                      <a:pt x="2179" y="9066"/>
                    </a:cubicBezTo>
                    <a:cubicBezTo>
                      <a:pt x="2179" y="9066"/>
                      <a:pt x="2157" y="9057"/>
                      <a:pt x="2126" y="9043"/>
                    </a:cubicBezTo>
                    <a:cubicBezTo>
                      <a:pt x="1975" y="9220"/>
                      <a:pt x="1975" y="9220"/>
                      <a:pt x="1975" y="9220"/>
                    </a:cubicBezTo>
                    <a:cubicBezTo>
                      <a:pt x="2001" y="9243"/>
                      <a:pt x="2049" y="9289"/>
                      <a:pt x="2103" y="9336"/>
                    </a:cubicBezTo>
                    <a:cubicBezTo>
                      <a:pt x="2158" y="9383"/>
                      <a:pt x="2219" y="9431"/>
                      <a:pt x="2257" y="9448"/>
                    </a:cubicBezTo>
                    <a:cubicBezTo>
                      <a:pt x="2275" y="9456"/>
                      <a:pt x="2306" y="9463"/>
                      <a:pt x="2343" y="9468"/>
                    </a:cubicBezTo>
                    <a:lnTo>
                      <a:pt x="2211" y="9268"/>
                    </a:lnTo>
                    <a:close/>
                    <a:moveTo>
                      <a:pt x="1734" y="9084"/>
                    </a:moveTo>
                    <a:cubicBezTo>
                      <a:pt x="1623" y="9219"/>
                      <a:pt x="1623" y="9219"/>
                      <a:pt x="1623" y="9219"/>
                    </a:cubicBezTo>
                    <a:cubicBezTo>
                      <a:pt x="1650" y="9242"/>
                      <a:pt x="1650" y="9242"/>
                      <a:pt x="1650" y="9242"/>
                    </a:cubicBezTo>
                    <a:cubicBezTo>
                      <a:pt x="1721" y="9152"/>
                      <a:pt x="1721" y="9152"/>
                      <a:pt x="1721" y="9152"/>
                    </a:cubicBezTo>
                    <a:cubicBezTo>
                      <a:pt x="1826" y="9235"/>
                      <a:pt x="1826" y="9235"/>
                      <a:pt x="1826" y="9235"/>
                    </a:cubicBezTo>
                    <a:cubicBezTo>
                      <a:pt x="1821" y="9240"/>
                      <a:pt x="1821" y="9240"/>
                      <a:pt x="1821" y="9240"/>
                    </a:cubicBezTo>
                    <a:cubicBezTo>
                      <a:pt x="1752" y="9327"/>
                      <a:pt x="1752" y="9327"/>
                      <a:pt x="1752" y="9327"/>
                    </a:cubicBezTo>
                    <a:cubicBezTo>
                      <a:pt x="2021" y="9553"/>
                      <a:pt x="2021" y="9553"/>
                      <a:pt x="2021" y="9553"/>
                    </a:cubicBezTo>
                    <a:cubicBezTo>
                      <a:pt x="2034" y="9511"/>
                      <a:pt x="2046" y="9471"/>
                      <a:pt x="2056" y="9439"/>
                    </a:cubicBezTo>
                    <a:cubicBezTo>
                      <a:pt x="2062" y="9421"/>
                      <a:pt x="2067" y="9405"/>
                      <a:pt x="2070" y="9394"/>
                    </a:cubicBezTo>
                    <a:cubicBezTo>
                      <a:pt x="2067" y="9391"/>
                      <a:pt x="2063" y="9388"/>
                      <a:pt x="2060" y="9385"/>
                    </a:cubicBezTo>
                    <a:cubicBezTo>
                      <a:pt x="2004" y="9336"/>
                      <a:pt x="1953" y="9287"/>
                      <a:pt x="1930" y="9268"/>
                    </a:cubicBezTo>
                    <a:cubicBezTo>
                      <a:pt x="1930" y="9268"/>
                      <a:pt x="1930" y="9268"/>
                      <a:pt x="1930" y="9268"/>
                    </a:cubicBezTo>
                    <a:cubicBezTo>
                      <a:pt x="1929" y="9267"/>
                      <a:pt x="1929" y="9267"/>
                      <a:pt x="1929" y="9267"/>
                    </a:cubicBezTo>
                    <a:cubicBezTo>
                      <a:pt x="1929" y="9267"/>
                      <a:pt x="1834" y="9178"/>
                      <a:pt x="1734" y="9084"/>
                    </a:cubicBezTo>
                    <a:close/>
                    <a:moveTo>
                      <a:pt x="1363" y="9538"/>
                    </a:moveTo>
                    <a:cubicBezTo>
                      <a:pt x="1360" y="9540"/>
                      <a:pt x="1346" y="9556"/>
                      <a:pt x="1347" y="9570"/>
                    </a:cubicBezTo>
                    <a:cubicBezTo>
                      <a:pt x="1347" y="9581"/>
                      <a:pt x="1351" y="9597"/>
                      <a:pt x="1383" y="9623"/>
                    </a:cubicBezTo>
                    <a:cubicBezTo>
                      <a:pt x="1473" y="9695"/>
                      <a:pt x="1646" y="9778"/>
                      <a:pt x="1712" y="9820"/>
                    </a:cubicBezTo>
                    <a:cubicBezTo>
                      <a:pt x="1754" y="9847"/>
                      <a:pt x="1795" y="9871"/>
                      <a:pt x="1828" y="9905"/>
                    </a:cubicBezTo>
                    <a:cubicBezTo>
                      <a:pt x="1936" y="9794"/>
                      <a:pt x="1936" y="9794"/>
                      <a:pt x="1936" y="9794"/>
                    </a:cubicBezTo>
                    <a:cubicBezTo>
                      <a:pt x="1911" y="9773"/>
                      <a:pt x="1805" y="9683"/>
                      <a:pt x="1700" y="9593"/>
                    </a:cubicBezTo>
                    <a:cubicBezTo>
                      <a:pt x="1667" y="9566"/>
                      <a:pt x="1635" y="9538"/>
                      <a:pt x="1605" y="9513"/>
                    </a:cubicBezTo>
                    <a:cubicBezTo>
                      <a:pt x="1542" y="9592"/>
                      <a:pt x="1542" y="9592"/>
                      <a:pt x="1542" y="9592"/>
                    </a:cubicBezTo>
                    <a:cubicBezTo>
                      <a:pt x="1437" y="9508"/>
                      <a:pt x="1437" y="9508"/>
                      <a:pt x="1437" y="9508"/>
                    </a:cubicBezTo>
                    <a:cubicBezTo>
                      <a:pt x="1504" y="9425"/>
                      <a:pt x="1504" y="9425"/>
                      <a:pt x="1504" y="9425"/>
                    </a:cubicBezTo>
                    <a:cubicBezTo>
                      <a:pt x="1494" y="9416"/>
                      <a:pt x="1485" y="9408"/>
                      <a:pt x="1478" y="9402"/>
                    </a:cubicBezTo>
                    <a:cubicBezTo>
                      <a:pt x="1477" y="9401"/>
                      <a:pt x="1477" y="9401"/>
                      <a:pt x="1476" y="9400"/>
                    </a:cubicBezTo>
                    <a:cubicBezTo>
                      <a:pt x="1365" y="9536"/>
                      <a:pt x="1365" y="9536"/>
                      <a:pt x="1365" y="9536"/>
                    </a:cubicBezTo>
                    <a:cubicBezTo>
                      <a:pt x="1363" y="9538"/>
                      <a:pt x="1363" y="9538"/>
                      <a:pt x="1363" y="9538"/>
                    </a:cubicBezTo>
                    <a:close/>
                    <a:moveTo>
                      <a:pt x="1651" y="9261"/>
                    </a:moveTo>
                    <a:cubicBezTo>
                      <a:pt x="1523" y="9422"/>
                      <a:pt x="1523" y="9422"/>
                      <a:pt x="1523" y="9422"/>
                    </a:cubicBezTo>
                    <a:cubicBezTo>
                      <a:pt x="1545" y="9442"/>
                      <a:pt x="1573" y="9466"/>
                      <a:pt x="1604" y="9493"/>
                    </a:cubicBezTo>
                    <a:cubicBezTo>
                      <a:pt x="1734" y="9330"/>
                      <a:pt x="1734" y="9330"/>
                      <a:pt x="1734" y="9330"/>
                    </a:cubicBezTo>
                    <a:lnTo>
                      <a:pt x="1651" y="9261"/>
                    </a:lnTo>
                    <a:close/>
                    <a:moveTo>
                      <a:pt x="1742" y="9319"/>
                    </a:moveTo>
                    <a:cubicBezTo>
                      <a:pt x="1807" y="9237"/>
                      <a:pt x="1807" y="9237"/>
                      <a:pt x="1807" y="9237"/>
                    </a:cubicBezTo>
                    <a:cubicBezTo>
                      <a:pt x="1723" y="9171"/>
                      <a:pt x="1723" y="9171"/>
                      <a:pt x="1723" y="9171"/>
                    </a:cubicBezTo>
                    <a:cubicBezTo>
                      <a:pt x="1660" y="9250"/>
                      <a:pt x="1660" y="9250"/>
                      <a:pt x="1660" y="9250"/>
                    </a:cubicBezTo>
                    <a:lnTo>
                      <a:pt x="1742" y="9319"/>
                    </a:lnTo>
                    <a:close/>
                    <a:moveTo>
                      <a:pt x="1533" y="9450"/>
                    </a:moveTo>
                    <a:cubicBezTo>
                      <a:pt x="1526" y="9444"/>
                      <a:pt x="1520" y="9439"/>
                      <a:pt x="1514" y="9433"/>
                    </a:cubicBezTo>
                    <a:cubicBezTo>
                      <a:pt x="1456" y="9506"/>
                      <a:pt x="1456" y="9506"/>
                      <a:pt x="1456" y="9506"/>
                    </a:cubicBezTo>
                    <a:cubicBezTo>
                      <a:pt x="1540" y="9574"/>
                      <a:pt x="1540" y="9574"/>
                      <a:pt x="1540" y="9574"/>
                    </a:cubicBezTo>
                    <a:cubicBezTo>
                      <a:pt x="1595" y="9504"/>
                      <a:pt x="1595" y="9504"/>
                      <a:pt x="1595" y="9504"/>
                    </a:cubicBezTo>
                    <a:cubicBezTo>
                      <a:pt x="1573" y="9485"/>
                      <a:pt x="1552" y="9466"/>
                      <a:pt x="1533" y="9450"/>
                    </a:cubicBezTo>
                    <a:close/>
                    <a:moveTo>
                      <a:pt x="1641" y="9252"/>
                    </a:moveTo>
                    <a:cubicBezTo>
                      <a:pt x="1614" y="9230"/>
                      <a:pt x="1614" y="9230"/>
                      <a:pt x="1614" y="9230"/>
                    </a:cubicBezTo>
                    <a:cubicBezTo>
                      <a:pt x="1485" y="9389"/>
                      <a:pt x="1485" y="9389"/>
                      <a:pt x="1485" y="9389"/>
                    </a:cubicBezTo>
                    <a:cubicBezTo>
                      <a:pt x="1492" y="9396"/>
                      <a:pt x="1502" y="9404"/>
                      <a:pt x="1513" y="9414"/>
                    </a:cubicBezTo>
                    <a:lnTo>
                      <a:pt x="1641" y="9252"/>
                    </a:lnTo>
                    <a:close/>
                    <a:moveTo>
                      <a:pt x="1948" y="9787"/>
                    </a:moveTo>
                    <a:cubicBezTo>
                      <a:pt x="1958" y="9762"/>
                      <a:pt x="1986" y="9668"/>
                      <a:pt x="2014" y="9577"/>
                    </a:cubicBezTo>
                    <a:cubicBezTo>
                      <a:pt x="2015" y="9573"/>
                      <a:pt x="2016" y="9570"/>
                      <a:pt x="2017" y="9567"/>
                    </a:cubicBezTo>
                    <a:cubicBezTo>
                      <a:pt x="2017" y="9567"/>
                      <a:pt x="2017" y="9567"/>
                      <a:pt x="2017" y="9567"/>
                    </a:cubicBezTo>
                    <a:cubicBezTo>
                      <a:pt x="1744" y="9338"/>
                      <a:pt x="1744" y="9338"/>
                      <a:pt x="1744" y="9338"/>
                    </a:cubicBezTo>
                    <a:cubicBezTo>
                      <a:pt x="1614" y="9502"/>
                      <a:pt x="1614" y="9502"/>
                      <a:pt x="1614" y="9502"/>
                    </a:cubicBezTo>
                    <a:cubicBezTo>
                      <a:pt x="1646" y="9529"/>
                      <a:pt x="1680" y="9558"/>
                      <a:pt x="1714" y="9588"/>
                    </a:cubicBezTo>
                    <a:cubicBezTo>
                      <a:pt x="1823" y="9681"/>
                      <a:pt x="1931" y="9772"/>
                      <a:pt x="1948" y="9787"/>
                    </a:cubicBezTo>
                    <a:close/>
                    <a:moveTo>
                      <a:pt x="972" y="9515"/>
                    </a:moveTo>
                    <a:cubicBezTo>
                      <a:pt x="968" y="9533"/>
                      <a:pt x="953" y="9577"/>
                      <a:pt x="939" y="9621"/>
                    </a:cubicBezTo>
                    <a:cubicBezTo>
                      <a:pt x="925" y="9662"/>
                      <a:pt x="911" y="9702"/>
                      <a:pt x="906" y="9714"/>
                    </a:cubicBezTo>
                    <a:cubicBezTo>
                      <a:pt x="1038" y="9820"/>
                      <a:pt x="1038" y="9820"/>
                      <a:pt x="1038" y="9820"/>
                    </a:cubicBezTo>
                    <a:cubicBezTo>
                      <a:pt x="1054" y="9809"/>
                      <a:pt x="1113" y="9768"/>
                      <a:pt x="1173" y="9727"/>
                    </a:cubicBezTo>
                    <a:cubicBezTo>
                      <a:pt x="1207" y="9702"/>
                      <a:pt x="1242" y="9678"/>
                      <a:pt x="1268" y="9659"/>
                    </a:cubicBezTo>
                    <a:cubicBezTo>
                      <a:pt x="1281" y="9650"/>
                      <a:pt x="1292" y="9642"/>
                      <a:pt x="1299" y="9636"/>
                    </a:cubicBezTo>
                    <a:cubicBezTo>
                      <a:pt x="1301" y="9635"/>
                      <a:pt x="1302" y="9634"/>
                      <a:pt x="1303" y="9633"/>
                    </a:cubicBezTo>
                    <a:cubicBezTo>
                      <a:pt x="1289" y="9612"/>
                      <a:pt x="1281" y="9591"/>
                      <a:pt x="1281" y="9570"/>
                    </a:cubicBezTo>
                    <a:cubicBezTo>
                      <a:pt x="1281" y="9561"/>
                      <a:pt x="1283" y="9553"/>
                      <a:pt x="1285" y="9546"/>
                    </a:cubicBezTo>
                    <a:lnTo>
                      <a:pt x="972" y="9515"/>
                    </a:lnTo>
                    <a:close/>
                    <a:moveTo>
                      <a:pt x="1048" y="9830"/>
                    </a:moveTo>
                    <a:cubicBezTo>
                      <a:pt x="1212" y="10045"/>
                      <a:pt x="1212" y="10045"/>
                      <a:pt x="1212" y="10045"/>
                    </a:cubicBezTo>
                    <a:cubicBezTo>
                      <a:pt x="1514" y="10132"/>
                      <a:pt x="1514" y="10132"/>
                      <a:pt x="1514" y="10132"/>
                    </a:cubicBezTo>
                    <a:cubicBezTo>
                      <a:pt x="1636" y="9851"/>
                      <a:pt x="1636" y="9851"/>
                      <a:pt x="1636" y="9851"/>
                    </a:cubicBezTo>
                    <a:cubicBezTo>
                      <a:pt x="1583" y="9822"/>
                      <a:pt x="1505" y="9781"/>
                      <a:pt x="1434" y="9738"/>
                    </a:cubicBezTo>
                    <a:cubicBezTo>
                      <a:pt x="1216" y="10040"/>
                      <a:pt x="1216" y="10040"/>
                      <a:pt x="1216" y="10040"/>
                    </a:cubicBezTo>
                    <a:cubicBezTo>
                      <a:pt x="1204" y="10032"/>
                      <a:pt x="1204" y="10032"/>
                      <a:pt x="1204" y="10032"/>
                    </a:cubicBezTo>
                    <a:cubicBezTo>
                      <a:pt x="1422" y="9730"/>
                      <a:pt x="1422" y="9730"/>
                      <a:pt x="1422" y="9730"/>
                    </a:cubicBezTo>
                    <a:cubicBezTo>
                      <a:pt x="1393" y="9712"/>
                      <a:pt x="1365" y="9693"/>
                      <a:pt x="1342" y="9675"/>
                    </a:cubicBezTo>
                    <a:cubicBezTo>
                      <a:pt x="1329" y="9665"/>
                      <a:pt x="1320" y="9655"/>
                      <a:pt x="1311" y="9644"/>
                    </a:cubicBezTo>
                    <a:cubicBezTo>
                      <a:pt x="1304" y="9650"/>
                      <a:pt x="1294" y="9657"/>
                      <a:pt x="1281" y="9667"/>
                    </a:cubicBezTo>
                    <a:cubicBezTo>
                      <a:pt x="1282" y="9667"/>
                      <a:pt x="1282" y="9667"/>
                      <a:pt x="1282" y="9667"/>
                    </a:cubicBezTo>
                    <a:cubicBezTo>
                      <a:pt x="1396" y="9733"/>
                      <a:pt x="1396" y="9733"/>
                      <a:pt x="1396" y="9733"/>
                    </a:cubicBezTo>
                    <a:cubicBezTo>
                      <a:pt x="1326" y="9852"/>
                      <a:pt x="1326" y="9852"/>
                      <a:pt x="1326" y="9852"/>
                    </a:cubicBezTo>
                    <a:cubicBezTo>
                      <a:pt x="1207" y="9783"/>
                      <a:pt x="1207" y="9783"/>
                      <a:pt x="1207" y="9783"/>
                    </a:cubicBezTo>
                    <a:cubicBezTo>
                      <a:pt x="1270" y="9674"/>
                      <a:pt x="1270" y="9674"/>
                      <a:pt x="1270" y="9674"/>
                    </a:cubicBezTo>
                    <a:cubicBezTo>
                      <a:pt x="1199" y="9725"/>
                      <a:pt x="1075" y="9811"/>
                      <a:pt x="1048" y="9830"/>
                    </a:cubicBezTo>
                    <a:close/>
                    <a:moveTo>
                      <a:pt x="1225" y="9778"/>
                    </a:moveTo>
                    <a:cubicBezTo>
                      <a:pt x="1321" y="9834"/>
                      <a:pt x="1321" y="9834"/>
                      <a:pt x="1321" y="9834"/>
                    </a:cubicBezTo>
                    <a:cubicBezTo>
                      <a:pt x="1378" y="9738"/>
                      <a:pt x="1378" y="9738"/>
                      <a:pt x="1378" y="9738"/>
                    </a:cubicBezTo>
                    <a:cubicBezTo>
                      <a:pt x="1281" y="9682"/>
                      <a:pt x="1281" y="9682"/>
                      <a:pt x="1281" y="9682"/>
                    </a:cubicBezTo>
                    <a:lnTo>
                      <a:pt x="1225" y="9778"/>
                    </a:lnTo>
                    <a:close/>
                    <a:moveTo>
                      <a:pt x="1527" y="10136"/>
                    </a:moveTo>
                    <a:cubicBezTo>
                      <a:pt x="1810" y="10217"/>
                      <a:pt x="1810" y="10217"/>
                      <a:pt x="1810" y="10217"/>
                    </a:cubicBezTo>
                    <a:cubicBezTo>
                      <a:pt x="1855" y="10107"/>
                      <a:pt x="1855" y="10107"/>
                      <a:pt x="1855" y="10107"/>
                    </a:cubicBezTo>
                    <a:cubicBezTo>
                      <a:pt x="1848" y="10093"/>
                      <a:pt x="1844" y="10078"/>
                      <a:pt x="1837" y="10058"/>
                    </a:cubicBezTo>
                    <a:cubicBezTo>
                      <a:pt x="1831" y="10037"/>
                      <a:pt x="1822" y="10012"/>
                      <a:pt x="1811" y="9991"/>
                    </a:cubicBezTo>
                    <a:cubicBezTo>
                      <a:pt x="1790" y="9947"/>
                      <a:pt x="1741" y="9916"/>
                      <a:pt x="1677" y="9875"/>
                    </a:cubicBezTo>
                    <a:cubicBezTo>
                      <a:pt x="1669" y="9870"/>
                      <a:pt x="1659" y="9865"/>
                      <a:pt x="1648" y="9858"/>
                    </a:cubicBezTo>
                    <a:lnTo>
                      <a:pt x="1527" y="10136"/>
                    </a:lnTo>
                    <a:close/>
                    <a:moveTo>
                      <a:pt x="2201" y="9972"/>
                    </a:moveTo>
                    <a:cubicBezTo>
                      <a:pt x="2440" y="10011"/>
                      <a:pt x="2440" y="10011"/>
                      <a:pt x="2440" y="10011"/>
                    </a:cubicBezTo>
                    <a:cubicBezTo>
                      <a:pt x="2439" y="9853"/>
                      <a:pt x="2439" y="9853"/>
                      <a:pt x="2439" y="9853"/>
                    </a:cubicBezTo>
                    <a:cubicBezTo>
                      <a:pt x="2215" y="9838"/>
                      <a:pt x="2215" y="9838"/>
                      <a:pt x="2215" y="9838"/>
                    </a:cubicBezTo>
                    <a:cubicBezTo>
                      <a:pt x="2216" y="9824"/>
                      <a:pt x="2216" y="9824"/>
                      <a:pt x="2216" y="9824"/>
                    </a:cubicBezTo>
                    <a:cubicBezTo>
                      <a:pt x="2439" y="9839"/>
                      <a:pt x="2439" y="9839"/>
                      <a:pt x="2439" y="9839"/>
                    </a:cubicBezTo>
                    <a:cubicBezTo>
                      <a:pt x="2439" y="9731"/>
                      <a:pt x="2439" y="9731"/>
                      <a:pt x="2439" y="9731"/>
                    </a:cubicBezTo>
                    <a:cubicBezTo>
                      <a:pt x="2223" y="9709"/>
                      <a:pt x="2223" y="9709"/>
                      <a:pt x="2223" y="9709"/>
                    </a:cubicBezTo>
                    <a:cubicBezTo>
                      <a:pt x="2224" y="9695"/>
                      <a:pt x="2224" y="9695"/>
                      <a:pt x="2224" y="9695"/>
                    </a:cubicBezTo>
                    <a:cubicBezTo>
                      <a:pt x="2439" y="9717"/>
                      <a:pt x="2439" y="9717"/>
                      <a:pt x="2439" y="9717"/>
                    </a:cubicBezTo>
                    <a:cubicBezTo>
                      <a:pt x="2438" y="9617"/>
                      <a:pt x="2438" y="9617"/>
                      <a:pt x="2438" y="9617"/>
                    </a:cubicBezTo>
                    <a:cubicBezTo>
                      <a:pt x="2346" y="9610"/>
                      <a:pt x="2245" y="9602"/>
                      <a:pt x="2231" y="9601"/>
                    </a:cubicBezTo>
                    <a:lnTo>
                      <a:pt x="2201" y="9972"/>
                    </a:lnTo>
                    <a:close/>
                    <a:moveTo>
                      <a:pt x="2569" y="9627"/>
                    </a:moveTo>
                    <a:cubicBezTo>
                      <a:pt x="2570" y="9731"/>
                      <a:pt x="2570" y="9731"/>
                      <a:pt x="2570" y="9731"/>
                    </a:cubicBezTo>
                    <a:cubicBezTo>
                      <a:pt x="2574" y="9731"/>
                      <a:pt x="2574" y="9731"/>
                      <a:pt x="2574" y="9731"/>
                    </a:cubicBezTo>
                    <a:cubicBezTo>
                      <a:pt x="2574" y="9730"/>
                      <a:pt x="2573" y="9730"/>
                      <a:pt x="2573" y="9729"/>
                    </a:cubicBezTo>
                    <a:cubicBezTo>
                      <a:pt x="2573" y="9695"/>
                      <a:pt x="2573" y="9661"/>
                      <a:pt x="2573" y="9627"/>
                    </a:cubicBezTo>
                    <a:cubicBezTo>
                      <a:pt x="2572" y="9627"/>
                      <a:pt x="2570" y="9627"/>
                      <a:pt x="2569" y="9627"/>
                    </a:cubicBezTo>
                    <a:close/>
                    <a:moveTo>
                      <a:pt x="2570" y="9745"/>
                    </a:moveTo>
                    <a:cubicBezTo>
                      <a:pt x="2572" y="9848"/>
                      <a:pt x="2572" y="9848"/>
                      <a:pt x="2572" y="9848"/>
                    </a:cubicBezTo>
                    <a:cubicBezTo>
                      <a:pt x="2575" y="9848"/>
                      <a:pt x="2575" y="9848"/>
                      <a:pt x="2575" y="9848"/>
                    </a:cubicBezTo>
                    <a:cubicBezTo>
                      <a:pt x="2574" y="9814"/>
                      <a:pt x="2574" y="9780"/>
                      <a:pt x="2574" y="9745"/>
                    </a:cubicBezTo>
                    <a:lnTo>
                      <a:pt x="2570" y="9745"/>
                    </a:lnTo>
                    <a:close/>
                    <a:moveTo>
                      <a:pt x="2572" y="9862"/>
                    </a:moveTo>
                    <a:cubicBezTo>
                      <a:pt x="2574" y="10033"/>
                      <a:pt x="2574" y="10033"/>
                      <a:pt x="2574" y="10033"/>
                    </a:cubicBezTo>
                    <a:cubicBezTo>
                      <a:pt x="2578" y="10034"/>
                      <a:pt x="2578" y="10034"/>
                      <a:pt x="2578" y="10034"/>
                    </a:cubicBezTo>
                    <a:cubicBezTo>
                      <a:pt x="2577" y="9979"/>
                      <a:pt x="2576" y="9921"/>
                      <a:pt x="2575" y="9862"/>
                    </a:cubicBezTo>
                    <a:lnTo>
                      <a:pt x="2572" y="9862"/>
                    </a:lnTo>
                    <a:close/>
                    <a:moveTo>
                      <a:pt x="2580" y="8755"/>
                    </a:moveTo>
                    <a:cubicBezTo>
                      <a:pt x="2343" y="8722"/>
                      <a:pt x="2343" y="8722"/>
                      <a:pt x="2343" y="8722"/>
                    </a:cubicBezTo>
                    <a:cubicBezTo>
                      <a:pt x="2336" y="8703"/>
                      <a:pt x="2336" y="8703"/>
                      <a:pt x="2336" y="8703"/>
                    </a:cubicBezTo>
                    <a:cubicBezTo>
                      <a:pt x="2336" y="8703"/>
                      <a:pt x="2336" y="8702"/>
                      <a:pt x="2334" y="8698"/>
                    </a:cubicBezTo>
                    <a:cubicBezTo>
                      <a:pt x="2334" y="8697"/>
                      <a:pt x="2333" y="8695"/>
                      <a:pt x="2332" y="8694"/>
                    </a:cubicBezTo>
                    <a:cubicBezTo>
                      <a:pt x="2331" y="8694"/>
                      <a:pt x="2331" y="8694"/>
                      <a:pt x="2328" y="8695"/>
                    </a:cubicBezTo>
                    <a:cubicBezTo>
                      <a:pt x="2293" y="8699"/>
                      <a:pt x="2050" y="8729"/>
                      <a:pt x="2007" y="8734"/>
                    </a:cubicBezTo>
                    <a:cubicBezTo>
                      <a:pt x="2014" y="8836"/>
                      <a:pt x="2014" y="8836"/>
                      <a:pt x="2014" y="8836"/>
                    </a:cubicBezTo>
                    <a:cubicBezTo>
                      <a:pt x="2189" y="8895"/>
                      <a:pt x="2189" y="8895"/>
                      <a:pt x="2189" y="8895"/>
                    </a:cubicBezTo>
                    <a:cubicBezTo>
                      <a:pt x="2575" y="8915"/>
                      <a:pt x="2575" y="8915"/>
                      <a:pt x="2575" y="8915"/>
                    </a:cubicBezTo>
                    <a:cubicBezTo>
                      <a:pt x="2575" y="8874"/>
                      <a:pt x="2575" y="8839"/>
                      <a:pt x="2575" y="8814"/>
                    </a:cubicBezTo>
                    <a:cubicBezTo>
                      <a:pt x="2575" y="8794"/>
                      <a:pt x="2577" y="8774"/>
                      <a:pt x="2580" y="8755"/>
                    </a:cubicBezTo>
                    <a:close/>
                    <a:moveTo>
                      <a:pt x="2326" y="8681"/>
                    </a:moveTo>
                    <a:cubicBezTo>
                      <a:pt x="2305" y="8637"/>
                      <a:pt x="2245" y="8533"/>
                      <a:pt x="2118" y="8439"/>
                    </a:cubicBezTo>
                    <a:cubicBezTo>
                      <a:pt x="2095" y="8421"/>
                      <a:pt x="2059" y="8394"/>
                      <a:pt x="2014" y="8361"/>
                    </a:cubicBezTo>
                    <a:cubicBezTo>
                      <a:pt x="2011" y="8363"/>
                      <a:pt x="2008" y="8364"/>
                      <a:pt x="2006" y="8365"/>
                    </a:cubicBezTo>
                    <a:cubicBezTo>
                      <a:pt x="1889" y="8565"/>
                      <a:pt x="1889" y="8565"/>
                      <a:pt x="1889" y="8565"/>
                    </a:cubicBezTo>
                    <a:cubicBezTo>
                      <a:pt x="1792" y="8508"/>
                      <a:pt x="1792" y="8508"/>
                      <a:pt x="1792" y="8508"/>
                    </a:cubicBezTo>
                    <a:cubicBezTo>
                      <a:pt x="1569" y="8838"/>
                      <a:pt x="1569" y="8838"/>
                      <a:pt x="1569" y="8838"/>
                    </a:cubicBezTo>
                    <a:cubicBezTo>
                      <a:pt x="1606" y="8872"/>
                      <a:pt x="1700" y="8961"/>
                      <a:pt x="1788" y="9045"/>
                    </a:cubicBezTo>
                    <a:cubicBezTo>
                      <a:pt x="2001" y="8848"/>
                      <a:pt x="2001" y="8848"/>
                      <a:pt x="2001" y="8848"/>
                    </a:cubicBezTo>
                    <a:cubicBezTo>
                      <a:pt x="1992" y="8722"/>
                      <a:pt x="1992" y="8722"/>
                      <a:pt x="1992" y="8722"/>
                    </a:cubicBezTo>
                    <a:cubicBezTo>
                      <a:pt x="1999" y="8721"/>
                      <a:pt x="1999" y="8721"/>
                      <a:pt x="1999" y="8721"/>
                    </a:cubicBezTo>
                    <a:cubicBezTo>
                      <a:pt x="1999" y="8721"/>
                      <a:pt x="2082" y="8711"/>
                      <a:pt x="2165" y="8701"/>
                    </a:cubicBezTo>
                    <a:cubicBezTo>
                      <a:pt x="2206" y="8696"/>
                      <a:pt x="2248" y="8691"/>
                      <a:pt x="2279" y="8687"/>
                    </a:cubicBezTo>
                    <a:cubicBezTo>
                      <a:pt x="2294" y="8685"/>
                      <a:pt x="2307" y="8683"/>
                      <a:pt x="2316" y="8682"/>
                    </a:cubicBezTo>
                    <a:cubicBezTo>
                      <a:pt x="2321" y="8681"/>
                      <a:pt x="2324" y="8681"/>
                      <a:pt x="2326" y="8681"/>
                    </a:cubicBezTo>
                    <a:close/>
                    <a:moveTo>
                      <a:pt x="2292" y="8340"/>
                    </a:moveTo>
                    <a:cubicBezTo>
                      <a:pt x="2354" y="8327"/>
                      <a:pt x="2421" y="8300"/>
                      <a:pt x="2472" y="8277"/>
                    </a:cubicBezTo>
                    <a:cubicBezTo>
                      <a:pt x="2497" y="8265"/>
                      <a:pt x="2519" y="8254"/>
                      <a:pt x="2534" y="8246"/>
                    </a:cubicBezTo>
                    <a:cubicBezTo>
                      <a:pt x="2543" y="8241"/>
                      <a:pt x="2550" y="8237"/>
                      <a:pt x="2554" y="8235"/>
                    </a:cubicBezTo>
                    <a:cubicBezTo>
                      <a:pt x="2566" y="8223"/>
                      <a:pt x="2597" y="8193"/>
                      <a:pt x="2639" y="8152"/>
                    </a:cubicBezTo>
                    <a:cubicBezTo>
                      <a:pt x="2587" y="7897"/>
                      <a:pt x="2587" y="7897"/>
                      <a:pt x="2587" y="7897"/>
                    </a:cubicBezTo>
                    <a:cubicBezTo>
                      <a:pt x="2388" y="7693"/>
                      <a:pt x="2388" y="7693"/>
                      <a:pt x="2388" y="7693"/>
                    </a:cubicBezTo>
                    <a:cubicBezTo>
                      <a:pt x="2363" y="7741"/>
                      <a:pt x="2146" y="8153"/>
                      <a:pt x="2059" y="8312"/>
                    </a:cubicBezTo>
                    <a:cubicBezTo>
                      <a:pt x="2093" y="8338"/>
                      <a:pt x="2122" y="8360"/>
                      <a:pt x="2144" y="8376"/>
                    </a:cubicBezTo>
                    <a:cubicBezTo>
                      <a:pt x="2165" y="8369"/>
                      <a:pt x="2208" y="8358"/>
                      <a:pt x="2292" y="8340"/>
                    </a:cubicBezTo>
                    <a:close/>
                    <a:moveTo>
                      <a:pt x="2520" y="8326"/>
                    </a:moveTo>
                    <a:cubicBezTo>
                      <a:pt x="2524" y="8333"/>
                      <a:pt x="2529" y="8340"/>
                      <a:pt x="2534" y="8348"/>
                    </a:cubicBezTo>
                    <a:cubicBezTo>
                      <a:pt x="2558" y="8385"/>
                      <a:pt x="2593" y="8438"/>
                      <a:pt x="2622" y="8482"/>
                    </a:cubicBezTo>
                    <a:cubicBezTo>
                      <a:pt x="2636" y="8503"/>
                      <a:pt x="2649" y="8523"/>
                      <a:pt x="2659" y="8538"/>
                    </a:cubicBezTo>
                    <a:cubicBezTo>
                      <a:pt x="2663" y="8545"/>
                      <a:pt x="2667" y="8552"/>
                      <a:pt x="2670" y="8556"/>
                    </a:cubicBezTo>
                    <a:cubicBezTo>
                      <a:pt x="2670" y="8557"/>
                      <a:pt x="2670" y="8557"/>
                      <a:pt x="2670" y="8557"/>
                    </a:cubicBezTo>
                    <a:cubicBezTo>
                      <a:pt x="2691" y="8532"/>
                      <a:pt x="2714" y="8510"/>
                      <a:pt x="2736" y="8492"/>
                    </a:cubicBezTo>
                    <a:cubicBezTo>
                      <a:pt x="2807" y="8434"/>
                      <a:pt x="2876" y="8407"/>
                      <a:pt x="2892" y="8401"/>
                    </a:cubicBezTo>
                    <a:cubicBezTo>
                      <a:pt x="3043" y="8317"/>
                      <a:pt x="3043" y="8317"/>
                      <a:pt x="3043" y="8317"/>
                    </a:cubicBezTo>
                    <a:cubicBezTo>
                      <a:pt x="3025" y="8292"/>
                      <a:pt x="2979" y="8232"/>
                      <a:pt x="2933" y="8174"/>
                    </a:cubicBezTo>
                    <a:cubicBezTo>
                      <a:pt x="2905" y="8137"/>
                      <a:pt x="2876" y="8101"/>
                      <a:pt x="2855" y="8074"/>
                    </a:cubicBezTo>
                    <a:cubicBezTo>
                      <a:pt x="2850" y="8067"/>
                      <a:pt x="2845" y="8060"/>
                      <a:pt x="2840" y="8054"/>
                    </a:cubicBezTo>
                    <a:cubicBezTo>
                      <a:pt x="2721" y="8163"/>
                      <a:pt x="2615" y="8267"/>
                      <a:pt x="2596" y="8285"/>
                    </a:cubicBezTo>
                    <a:cubicBezTo>
                      <a:pt x="2593" y="8288"/>
                      <a:pt x="2593" y="8288"/>
                      <a:pt x="2593" y="8288"/>
                    </a:cubicBezTo>
                    <a:cubicBezTo>
                      <a:pt x="2590" y="8290"/>
                      <a:pt x="2590" y="8290"/>
                      <a:pt x="2590" y="8290"/>
                    </a:cubicBezTo>
                    <a:cubicBezTo>
                      <a:pt x="2589" y="8290"/>
                      <a:pt x="2562" y="8306"/>
                      <a:pt x="2520" y="8326"/>
                    </a:cubicBezTo>
                    <a:close/>
                    <a:moveTo>
                      <a:pt x="2654" y="8723"/>
                    </a:moveTo>
                    <a:cubicBezTo>
                      <a:pt x="3152" y="8775"/>
                      <a:pt x="3152" y="8775"/>
                      <a:pt x="3152" y="8775"/>
                    </a:cubicBezTo>
                    <a:cubicBezTo>
                      <a:pt x="3156" y="8736"/>
                      <a:pt x="3159" y="8705"/>
                      <a:pt x="3159" y="8699"/>
                    </a:cubicBezTo>
                    <a:cubicBezTo>
                      <a:pt x="3159" y="8699"/>
                      <a:pt x="3159" y="8699"/>
                      <a:pt x="3159" y="8699"/>
                    </a:cubicBezTo>
                    <a:cubicBezTo>
                      <a:pt x="3159" y="8698"/>
                      <a:pt x="3159" y="8698"/>
                      <a:pt x="3159" y="8698"/>
                    </a:cubicBezTo>
                    <a:cubicBezTo>
                      <a:pt x="3159" y="8698"/>
                      <a:pt x="3159" y="8698"/>
                      <a:pt x="3159" y="8698"/>
                    </a:cubicBezTo>
                    <a:cubicBezTo>
                      <a:pt x="3138" y="8678"/>
                      <a:pt x="3089" y="8630"/>
                      <a:pt x="3040" y="8581"/>
                    </a:cubicBezTo>
                    <a:cubicBezTo>
                      <a:pt x="3008" y="8549"/>
                      <a:pt x="2975" y="8517"/>
                      <a:pt x="2951" y="8493"/>
                    </a:cubicBezTo>
                    <a:cubicBezTo>
                      <a:pt x="2939" y="8481"/>
                      <a:pt x="2929" y="8471"/>
                      <a:pt x="2922" y="8464"/>
                    </a:cubicBezTo>
                    <a:cubicBezTo>
                      <a:pt x="2921" y="8463"/>
                      <a:pt x="2920" y="8462"/>
                      <a:pt x="2919" y="8461"/>
                    </a:cubicBezTo>
                    <a:cubicBezTo>
                      <a:pt x="2917" y="8462"/>
                      <a:pt x="2917" y="8462"/>
                      <a:pt x="2917" y="8462"/>
                    </a:cubicBezTo>
                    <a:cubicBezTo>
                      <a:pt x="2917" y="8462"/>
                      <a:pt x="2913" y="8463"/>
                      <a:pt x="2906" y="8466"/>
                    </a:cubicBezTo>
                    <a:cubicBezTo>
                      <a:pt x="2879" y="8477"/>
                      <a:pt x="2811" y="8509"/>
                      <a:pt x="2752" y="8565"/>
                    </a:cubicBezTo>
                    <a:cubicBezTo>
                      <a:pt x="2710" y="8606"/>
                      <a:pt x="2672" y="8657"/>
                      <a:pt x="2654" y="8723"/>
                    </a:cubicBezTo>
                    <a:close/>
                    <a:moveTo>
                      <a:pt x="3138" y="9018"/>
                    </a:moveTo>
                    <a:cubicBezTo>
                      <a:pt x="3198" y="9074"/>
                      <a:pt x="3198" y="9074"/>
                      <a:pt x="3198" y="9074"/>
                    </a:cubicBezTo>
                    <a:cubicBezTo>
                      <a:pt x="3089" y="9433"/>
                      <a:pt x="3089" y="9433"/>
                      <a:pt x="3089" y="9433"/>
                    </a:cubicBezTo>
                    <a:cubicBezTo>
                      <a:pt x="3146" y="9427"/>
                      <a:pt x="3199" y="9420"/>
                      <a:pt x="3243" y="9414"/>
                    </a:cubicBezTo>
                    <a:cubicBezTo>
                      <a:pt x="3278" y="9410"/>
                      <a:pt x="3308" y="9406"/>
                      <a:pt x="3328" y="9402"/>
                    </a:cubicBezTo>
                    <a:cubicBezTo>
                      <a:pt x="3338" y="9401"/>
                      <a:pt x="3346" y="9399"/>
                      <a:pt x="3351" y="9398"/>
                    </a:cubicBezTo>
                    <a:cubicBezTo>
                      <a:pt x="3351" y="9398"/>
                      <a:pt x="3351" y="9398"/>
                      <a:pt x="3352" y="9398"/>
                    </a:cubicBezTo>
                    <a:cubicBezTo>
                      <a:pt x="3355" y="9396"/>
                      <a:pt x="3359" y="9394"/>
                      <a:pt x="3364" y="9394"/>
                    </a:cubicBezTo>
                    <a:cubicBezTo>
                      <a:pt x="3369" y="9394"/>
                      <a:pt x="3371" y="9395"/>
                      <a:pt x="3374" y="9396"/>
                    </a:cubicBezTo>
                    <a:cubicBezTo>
                      <a:pt x="3570" y="9070"/>
                      <a:pt x="3570" y="9070"/>
                      <a:pt x="3570" y="9070"/>
                    </a:cubicBezTo>
                    <a:cubicBezTo>
                      <a:pt x="3446" y="8826"/>
                      <a:pt x="3446" y="8826"/>
                      <a:pt x="3446" y="8826"/>
                    </a:cubicBezTo>
                    <a:cubicBezTo>
                      <a:pt x="3172" y="8710"/>
                      <a:pt x="3172" y="8710"/>
                      <a:pt x="3172" y="8710"/>
                    </a:cubicBezTo>
                    <a:cubicBezTo>
                      <a:pt x="3168" y="8766"/>
                      <a:pt x="3142" y="8988"/>
                      <a:pt x="3138" y="9018"/>
                    </a:cubicBezTo>
                    <a:close/>
                    <a:moveTo>
                      <a:pt x="4806" y="8905"/>
                    </a:moveTo>
                    <a:cubicBezTo>
                      <a:pt x="4815" y="8658"/>
                      <a:pt x="4815" y="8658"/>
                      <a:pt x="4815" y="8658"/>
                    </a:cubicBezTo>
                    <a:cubicBezTo>
                      <a:pt x="4723" y="8639"/>
                      <a:pt x="4723" y="8639"/>
                      <a:pt x="4723" y="8639"/>
                    </a:cubicBezTo>
                    <a:cubicBezTo>
                      <a:pt x="4720" y="8639"/>
                      <a:pt x="4647" y="8657"/>
                      <a:pt x="4577" y="8674"/>
                    </a:cubicBezTo>
                    <a:cubicBezTo>
                      <a:pt x="4524" y="8687"/>
                      <a:pt x="4472" y="8701"/>
                      <a:pt x="4448" y="8707"/>
                    </a:cubicBezTo>
                    <a:cubicBezTo>
                      <a:pt x="4449" y="8712"/>
                      <a:pt x="4450" y="8717"/>
                      <a:pt x="4451" y="8723"/>
                    </a:cubicBezTo>
                    <a:cubicBezTo>
                      <a:pt x="4466" y="8798"/>
                      <a:pt x="4479" y="8868"/>
                      <a:pt x="4486" y="8908"/>
                    </a:cubicBezTo>
                    <a:lnTo>
                      <a:pt x="4806" y="8905"/>
                    </a:lnTo>
                    <a:close/>
                    <a:moveTo>
                      <a:pt x="5120" y="8903"/>
                    </a:moveTo>
                    <a:cubicBezTo>
                      <a:pt x="5568" y="8899"/>
                      <a:pt x="5568" y="8899"/>
                      <a:pt x="5568" y="8899"/>
                    </a:cubicBezTo>
                    <a:cubicBezTo>
                      <a:pt x="5553" y="8688"/>
                      <a:pt x="5553" y="8688"/>
                      <a:pt x="5553" y="8688"/>
                    </a:cubicBezTo>
                    <a:cubicBezTo>
                      <a:pt x="5529" y="8688"/>
                      <a:pt x="5440" y="8688"/>
                      <a:pt x="5351" y="8689"/>
                    </a:cubicBezTo>
                    <a:cubicBezTo>
                      <a:pt x="5298" y="8690"/>
                      <a:pt x="5245" y="8691"/>
                      <a:pt x="5205" y="8691"/>
                    </a:cubicBezTo>
                    <a:cubicBezTo>
                      <a:pt x="5184" y="8692"/>
                      <a:pt x="5167" y="8692"/>
                      <a:pt x="5155" y="8693"/>
                    </a:cubicBezTo>
                    <a:cubicBezTo>
                      <a:pt x="5149" y="8693"/>
                      <a:pt x="5144" y="8693"/>
                      <a:pt x="5140" y="8693"/>
                    </a:cubicBezTo>
                    <a:cubicBezTo>
                      <a:pt x="5139" y="8693"/>
                      <a:pt x="5137" y="8693"/>
                      <a:pt x="5136" y="8694"/>
                    </a:cubicBezTo>
                    <a:cubicBezTo>
                      <a:pt x="5136" y="8693"/>
                      <a:pt x="5136" y="8693"/>
                      <a:pt x="5136" y="8693"/>
                    </a:cubicBezTo>
                    <a:cubicBezTo>
                      <a:pt x="5131" y="8682"/>
                      <a:pt x="5131" y="8682"/>
                      <a:pt x="5131" y="8682"/>
                    </a:cubicBezTo>
                    <a:lnTo>
                      <a:pt x="5120" y="8903"/>
                    </a:lnTo>
                    <a:close/>
                    <a:moveTo>
                      <a:pt x="5582" y="8899"/>
                    </a:moveTo>
                    <a:cubicBezTo>
                      <a:pt x="5915" y="8896"/>
                      <a:pt x="5915" y="8896"/>
                      <a:pt x="5915" y="8896"/>
                    </a:cubicBezTo>
                    <a:cubicBezTo>
                      <a:pt x="6140" y="8730"/>
                      <a:pt x="6140" y="8730"/>
                      <a:pt x="6140" y="8730"/>
                    </a:cubicBezTo>
                    <a:cubicBezTo>
                      <a:pt x="6128" y="8575"/>
                      <a:pt x="6128" y="8575"/>
                      <a:pt x="6128" y="8575"/>
                    </a:cubicBezTo>
                    <a:cubicBezTo>
                      <a:pt x="5826" y="8504"/>
                      <a:pt x="5826" y="8504"/>
                      <a:pt x="5826" y="8504"/>
                    </a:cubicBezTo>
                    <a:cubicBezTo>
                      <a:pt x="5826" y="8499"/>
                      <a:pt x="5826" y="8499"/>
                      <a:pt x="5826" y="8499"/>
                    </a:cubicBezTo>
                    <a:cubicBezTo>
                      <a:pt x="5826" y="8499"/>
                      <a:pt x="5819" y="8443"/>
                      <a:pt x="5811" y="8388"/>
                    </a:cubicBezTo>
                    <a:cubicBezTo>
                      <a:pt x="5807" y="8360"/>
                      <a:pt x="5803" y="8332"/>
                      <a:pt x="5799" y="8311"/>
                    </a:cubicBezTo>
                    <a:cubicBezTo>
                      <a:pt x="5797" y="8301"/>
                      <a:pt x="5795" y="8292"/>
                      <a:pt x="5794" y="8286"/>
                    </a:cubicBezTo>
                    <a:cubicBezTo>
                      <a:pt x="5793" y="8285"/>
                      <a:pt x="5793" y="8284"/>
                      <a:pt x="5793" y="8283"/>
                    </a:cubicBezTo>
                    <a:cubicBezTo>
                      <a:pt x="5765" y="8291"/>
                      <a:pt x="5613" y="8336"/>
                      <a:pt x="5464" y="8381"/>
                    </a:cubicBezTo>
                    <a:cubicBezTo>
                      <a:pt x="5316" y="8425"/>
                      <a:pt x="5170" y="8469"/>
                      <a:pt x="5142" y="8477"/>
                    </a:cubicBezTo>
                    <a:cubicBezTo>
                      <a:pt x="5131" y="8680"/>
                      <a:pt x="5131" y="8680"/>
                      <a:pt x="5131" y="8680"/>
                    </a:cubicBezTo>
                    <a:cubicBezTo>
                      <a:pt x="5136" y="8679"/>
                      <a:pt x="5142" y="8679"/>
                      <a:pt x="5155" y="8679"/>
                    </a:cubicBezTo>
                    <a:cubicBezTo>
                      <a:pt x="5241" y="8675"/>
                      <a:pt x="5560" y="8674"/>
                      <a:pt x="5560" y="8674"/>
                    </a:cubicBezTo>
                    <a:cubicBezTo>
                      <a:pt x="5566" y="8674"/>
                      <a:pt x="5566" y="8674"/>
                      <a:pt x="5566" y="8674"/>
                    </a:cubicBezTo>
                    <a:lnTo>
                      <a:pt x="5582" y="8899"/>
                    </a:lnTo>
                    <a:close/>
                    <a:moveTo>
                      <a:pt x="5962" y="8943"/>
                    </a:moveTo>
                    <a:cubicBezTo>
                      <a:pt x="5978" y="9021"/>
                      <a:pt x="6035" y="9300"/>
                      <a:pt x="6049" y="9471"/>
                    </a:cubicBezTo>
                    <a:cubicBezTo>
                      <a:pt x="6052" y="9471"/>
                      <a:pt x="6055" y="9471"/>
                      <a:pt x="6058" y="9471"/>
                    </a:cubicBezTo>
                    <a:cubicBezTo>
                      <a:pt x="6099" y="9472"/>
                      <a:pt x="6166" y="9461"/>
                      <a:pt x="6206" y="9422"/>
                    </a:cubicBezTo>
                    <a:cubicBezTo>
                      <a:pt x="6229" y="9400"/>
                      <a:pt x="6246" y="9356"/>
                      <a:pt x="6248" y="9295"/>
                    </a:cubicBezTo>
                    <a:cubicBezTo>
                      <a:pt x="6255" y="9113"/>
                      <a:pt x="6256" y="8857"/>
                      <a:pt x="6256" y="8780"/>
                    </a:cubicBezTo>
                    <a:cubicBezTo>
                      <a:pt x="6185" y="8778"/>
                      <a:pt x="6185" y="8778"/>
                      <a:pt x="6185" y="8778"/>
                    </a:cubicBezTo>
                    <a:lnTo>
                      <a:pt x="5962" y="8943"/>
                    </a:lnTo>
                    <a:close/>
                    <a:moveTo>
                      <a:pt x="6508" y="9921"/>
                    </a:moveTo>
                    <a:cubicBezTo>
                      <a:pt x="6825" y="9991"/>
                      <a:pt x="6825" y="9991"/>
                      <a:pt x="6825" y="9991"/>
                    </a:cubicBezTo>
                    <a:cubicBezTo>
                      <a:pt x="6922" y="10170"/>
                      <a:pt x="6922" y="10170"/>
                      <a:pt x="6922" y="10170"/>
                    </a:cubicBezTo>
                    <a:cubicBezTo>
                      <a:pt x="6983" y="10032"/>
                      <a:pt x="7058" y="9861"/>
                      <a:pt x="7135" y="9685"/>
                    </a:cubicBezTo>
                    <a:cubicBezTo>
                      <a:pt x="6740" y="9641"/>
                      <a:pt x="6740" y="9641"/>
                      <a:pt x="6740" y="9641"/>
                    </a:cubicBezTo>
                    <a:cubicBezTo>
                      <a:pt x="6741" y="9632"/>
                      <a:pt x="6741" y="9632"/>
                      <a:pt x="6741" y="9632"/>
                    </a:cubicBezTo>
                    <a:cubicBezTo>
                      <a:pt x="6716" y="9648"/>
                      <a:pt x="6559" y="9752"/>
                      <a:pt x="6537" y="9766"/>
                    </a:cubicBezTo>
                    <a:cubicBezTo>
                      <a:pt x="6536" y="9771"/>
                      <a:pt x="6531" y="9794"/>
                      <a:pt x="6526" y="9822"/>
                    </a:cubicBezTo>
                    <a:cubicBezTo>
                      <a:pt x="6521" y="9850"/>
                      <a:pt x="6514" y="9885"/>
                      <a:pt x="6508" y="9921"/>
                    </a:cubicBezTo>
                    <a:close/>
                    <a:moveTo>
                      <a:pt x="7141" y="9672"/>
                    </a:moveTo>
                    <a:cubicBezTo>
                      <a:pt x="7157" y="9635"/>
                      <a:pt x="7174" y="9598"/>
                      <a:pt x="7190" y="9561"/>
                    </a:cubicBezTo>
                    <a:cubicBezTo>
                      <a:pt x="7243" y="9440"/>
                      <a:pt x="7296" y="9320"/>
                      <a:pt x="7344" y="9210"/>
                    </a:cubicBezTo>
                    <a:cubicBezTo>
                      <a:pt x="7172" y="9182"/>
                      <a:pt x="7172" y="9182"/>
                      <a:pt x="7172" y="9182"/>
                    </a:cubicBezTo>
                    <a:cubicBezTo>
                      <a:pt x="7157" y="9190"/>
                      <a:pt x="7055" y="9241"/>
                      <a:pt x="7047" y="9245"/>
                    </a:cubicBezTo>
                    <a:cubicBezTo>
                      <a:pt x="7043" y="9246"/>
                      <a:pt x="7040" y="9246"/>
                      <a:pt x="7033" y="9247"/>
                    </a:cubicBezTo>
                    <a:cubicBezTo>
                      <a:pt x="6994" y="9250"/>
                      <a:pt x="6871" y="9253"/>
                      <a:pt x="6841" y="9253"/>
                    </a:cubicBezTo>
                    <a:cubicBezTo>
                      <a:pt x="6834" y="9297"/>
                      <a:pt x="6829" y="9325"/>
                      <a:pt x="6829" y="9326"/>
                    </a:cubicBezTo>
                    <a:cubicBezTo>
                      <a:pt x="6829" y="9329"/>
                      <a:pt x="6829" y="9329"/>
                      <a:pt x="6829" y="9329"/>
                    </a:cubicBezTo>
                    <a:cubicBezTo>
                      <a:pt x="6715" y="9388"/>
                      <a:pt x="6715" y="9388"/>
                      <a:pt x="6715" y="9388"/>
                    </a:cubicBezTo>
                    <a:cubicBezTo>
                      <a:pt x="6748" y="9627"/>
                      <a:pt x="6748" y="9627"/>
                      <a:pt x="6748" y="9627"/>
                    </a:cubicBezTo>
                    <a:cubicBezTo>
                      <a:pt x="6747" y="9628"/>
                      <a:pt x="6747" y="9628"/>
                      <a:pt x="6747" y="9628"/>
                    </a:cubicBezTo>
                    <a:lnTo>
                      <a:pt x="7141" y="9672"/>
                    </a:lnTo>
                    <a:close/>
                    <a:moveTo>
                      <a:pt x="7350" y="9196"/>
                    </a:moveTo>
                    <a:cubicBezTo>
                      <a:pt x="7387" y="9113"/>
                      <a:pt x="7421" y="9035"/>
                      <a:pt x="7451" y="8967"/>
                    </a:cubicBezTo>
                    <a:cubicBezTo>
                      <a:pt x="7476" y="8909"/>
                      <a:pt x="7498" y="8859"/>
                      <a:pt x="7516" y="8818"/>
                    </a:cubicBezTo>
                    <a:cubicBezTo>
                      <a:pt x="6918" y="8800"/>
                      <a:pt x="6918" y="8800"/>
                      <a:pt x="6918" y="8800"/>
                    </a:cubicBezTo>
                    <a:cubicBezTo>
                      <a:pt x="6906" y="8866"/>
                      <a:pt x="6866" y="9108"/>
                      <a:pt x="6844" y="9239"/>
                    </a:cubicBezTo>
                    <a:cubicBezTo>
                      <a:pt x="6861" y="9239"/>
                      <a:pt x="6898" y="9238"/>
                      <a:pt x="6936" y="9237"/>
                    </a:cubicBezTo>
                    <a:cubicBezTo>
                      <a:pt x="6962" y="9236"/>
                      <a:pt x="6987" y="9235"/>
                      <a:pt x="7007" y="9234"/>
                    </a:cubicBezTo>
                    <a:cubicBezTo>
                      <a:pt x="7017" y="9234"/>
                      <a:pt x="7026" y="9233"/>
                      <a:pt x="7032" y="9233"/>
                    </a:cubicBezTo>
                    <a:cubicBezTo>
                      <a:pt x="7035" y="9233"/>
                      <a:pt x="7038" y="9232"/>
                      <a:pt x="7039" y="9232"/>
                    </a:cubicBezTo>
                    <a:cubicBezTo>
                      <a:pt x="7040" y="9232"/>
                      <a:pt x="7041" y="9232"/>
                      <a:pt x="7041" y="9232"/>
                    </a:cubicBezTo>
                    <a:cubicBezTo>
                      <a:pt x="7041" y="9232"/>
                      <a:pt x="7041" y="9232"/>
                      <a:pt x="7041" y="9232"/>
                    </a:cubicBezTo>
                    <a:cubicBezTo>
                      <a:pt x="7041" y="9232"/>
                      <a:pt x="7041" y="9232"/>
                      <a:pt x="7041" y="9232"/>
                    </a:cubicBezTo>
                    <a:cubicBezTo>
                      <a:pt x="7052" y="9226"/>
                      <a:pt x="7168" y="9169"/>
                      <a:pt x="7168" y="9169"/>
                    </a:cubicBezTo>
                    <a:cubicBezTo>
                      <a:pt x="7170" y="9168"/>
                      <a:pt x="7170" y="9168"/>
                      <a:pt x="7170" y="9168"/>
                    </a:cubicBezTo>
                    <a:lnTo>
                      <a:pt x="7350" y="9196"/>
                    </a:lnTo>
                    <a:close/>
                    <a:moveTo>
                      <a:pt x="7424" y="8514"/>
                    </a:moveTo>
                    <a:cubicBezTo>
                      <a:pt x="7416" y="8514"/>
                      <a:pt x="7416" y="8514"/>
                      <a:pt x="7416" y="8514"/>
                    </a:cubicBezTo>
                    <a:cubicBezTo>
                      <a:pt x="7421" y="8522"/>
                      <a:pt x="7427" y="8531"/>
                      <a:pt x="7432" y="8539"/>
                    </a:cubicBezTo>
                    <a:cubicBezTo>
                      <a:pt x="7440" y="8551"/>
                      <a:pt x="7447" y="8562"/>
                      <a:pt x="7455" y="8574"/>
                    </a:cubicBezTo>
                    <a:cubicBezTo>
                      <a:pt x="7524" y="8573"/>
                      <a:pt x="7524" y="8573"/>
                      <a:pt x="7524" y="8573"/>
                    </a:cubicBezTo>
                    <a:cubicBezTo>
                      <a:pt x="7525" y="8429"/>
                      <a:pt x="7525" y="8429"/>
                      <a:pt x="7525" y="8429"/>
                    </a:cubicBezTo>
                    <a:cubicBezTo>
                      <a:pt x="7421" y="8430"/>
                      <a:pt x="7421" y="8430"/>
                      <a:pt x="7421" y="8430"/>
                    </a:cubicBezTo>
                    <a:lnTo>
                      <a:pt x="7424" y="8514"/>
                    </a:lnTo>
                    <a:close/>
                    <a:moveTo>
                      <a:pt x="7399" y="8514"/>
                    </a:moveTo>
                    <a:cubicBezTo>
                      <a:pt x="7340" y="8515"/>
                      <a:pt x="7340" y="8515"/>
                      <a:pt x="7340" y="8515"/>
                    </a:cubicBezTo>
                    <a:cubicBezTo>
                      <a:pt x="7342" y="8671"/>
                      <a:pt x="7342" y="8671"/>
                      <a:pt x="7342" y="8671"/>
                    </a:cubicBezTo>
                    <a:cubicBezTo>
                      <a:pt x="7438" y="8671"/>
                      <a:pt x="7438" y="8671"/>
                      <a:pt x="7438" y="8671"/>
                    </a:cubicBezTo>
                    <a:cubicBezTo>
                      <a:pt x="7439" y="8575"/>
                      <a:pt x="7439" y="8575"/>
                      <a:pt x="7439" y="8575"/>
                    </a:cubicBezTo>
                    <a:cubicBezTo>
                      <a:pt x="7426" y="8555"/>
                      <a:pt x="7412" y="8535"/>
                      <a:pt x="7399" y="8514"/>
                    </a:cubicBezTo>
                    <a:close/>
                    <a:moveTo>
                      <a:pt x="7557" y="8726"/>
                    </a:moveTo>
                    <a:cubicBezTo>
                      <a:pt x="7562" y="8715"/>
                      <a:pt x="7565" y="8707"/>
                      <a:pt x="7567" y="8703"/>
                    </a:cubicBezTo>
                    <a:cubicBezTo>
                      <a:pt x="7625" y="8347"/>
                      <a:pt x="7625" y="8347"/>
                      <a:pt x="7625" y="8347"/>
                    </a:cubicBezTo>
                    <a:cubicBezTo>
                      <a:pt x="7598" y="8341"/>
                      <a:pt x="7543" y="8330"/>
                      <a:pt x="7489" y="8318"/>
                    </a:cubicBezTo>
                    <a:cubicBezTo>
                      <a:pt x="7427" y="8305"/>
                      <a:pt x="7366" y="8293"/>
                      <a:pt x="7349" y="8289"/>
                    </a:cubicBezTo>
                    <a:cubicBezTo>
                      <a:pt x="7345" y="8295"/>
                      <a:pt x="7338" y="8306"/>
                      <a:pt x="7331" y="8318"/>
                    </a:cubicBezTo>
                    <a:cubicBezTo>
                      <a:pt x="7326" y="8326"/>
                      <a:pt x="7320" y="8335"/>
                      <a:pt x="7315" y="8341"/>
                    </a:cubicBezTo>
                    <a:cubicBezTo>
                      <a:pt x="7313" y="8345"/>
                      <a:pt x="7311" y="8348"/>
                      <a:pt x="7309" y="8350"/>
                    </a:cubicBezTo>
                    <a:cubicBezTo>
                      <a:pt x="7320" y="8367"/>
                      <a:pt x="7361" y="8431"/>
                      <a:pt x="7407" y="8501"/>
                    </a:cubicBezTo>
                    <a:cubicBezTo>
                      <a:pt x="7410" y="8501"/>
                      <a:pt x="7410" y="8501"/>
                      <a:pt x="7410" y="8501"/>
                    </a:cubicBezTo>
                    <a:cubicBezTo>
                      <a:pt x="7407" y="8417"/>
                      <a:pt x="7407" y="8417"/>
                      <a:pt x="7407" y="8417"/>
                    </a:cubicBezTo>
                    <a:cubicBezTo>
                      <a:pt x="7538" y="8415"/>
                      <a:pt x="7538" y="8415"/>
                      <a:pt x="7538" y="8415"/>
                    </a:cubicBezTo>
                    <a:cubicBezTo>
                      <a:pt x="7537" y="8586"/>
                      <a:pt x="7537" y="8586"/>
                      <a:pt x="7537" y="8586"/>
                    </a:cubicBezTo>
                    <a:cubicBezTo>
                      <a:pt x="7463" y="8587"/>
                      <a:pt x="7463" y="8587"/>
                      <a:pt x="7463" y="8587"/>
                    </a:cubicBezTo>
                    <a:cubicBezTo>
                      <a:pt x="7484" y="8618"/>
                      <a:pt x="7504" y="8648"/>
                      <a:pt x="7520" y="8673"/>
                    </a:cubicBezTo>
                    <a:cubicBezTo>
                      <a:pt x="7533" y="8691"/>
                      <a:pt x="7543" y="8706"/>
                      <a:pt x="7551" y="8717"/>
                    </a:cubicBezTo>
                    <a:cubicBezTo>
                      <a:pt x="7553" y="8721"/>
                      <a:pt x="7555" y="8723"/>
                      <a:pt x="7557" y="8726"/>
                    </a:cubicBezTo>
                    <a:close/>
                    <a:moveTo>
                      <a:pt x="7627" y="8333"/>
                    </a:moveTo>
                    <a:cubicBezTo>
                      <a:pt x="7666" y="8099"/>
                      <a:pt x="7666" y="8099"/>
                      <a:pt x="7666" y="8099"/>
                    </a:cubicBezTo>
                    <a:cubicBezTo>
                      <a:pt x="7644" y="8095"/>
                      <a:pt x="7644" y="8095"/>
                      <a:pt x="7644" y="8095"/>
                    </a:cubicBezTo>
                    <a:cubicBezTo>
                      <a:pt x="7636" y="8151"/>
                      <a:pt x="7636" y="8151"/>
                      <a:pt x="7636" y="8151"/>
                    </a:cubicBezTo>
                    <a:cubicBezTo>
                      <a:pt x="7593" y="8145"/>
                      <a:pt x="7593" y="8145"/>
                      <a:pt x="7593" y="8145"/>
                    </a:cubicBezTo>
                    <a:cubicBezTo>
                      <a:pt x="7586" y="8191"/>
                      <a:pt x="7586" y="8191"/>
                      <a:pt x="7586" y="8191"/>
                    </a:cubicBezTo>
                    <a:cubicBezTo>
                      <a:pt x="7501" y="8178"/>
                      <a:pt x="7501" y="8178"/>
                      <a:pt x="7501" y="8178"/>
                    </a:cubicBezTo>
                    <a:cubicBezTo>
                      <a:pt x="7517" y="8074"/>
                      <a:pt x="7517" y="8074"/>
                      <a:pt x="7517" y="8074"/>
                    </a:cubicBezTo>
                    <a:cubicBezTo>
                      <a:pt x="7183" y="8018"/>
                      <a:pt x="7183" y="8018"/>
                      <a:pt x="7183" y="8018"/>
                    </a:cubicBezTo>
                    <a:cubicBezTo>
                      <a:pt x="7108" y="8032"/>
                      <a:pt x="7108" y="8032"/>
                      <a:pt x="7108" y="8032"/>
                    </a:cubicBezTo>
                    <a:cubicBezTo>
                      <a:pt x="7112" y="8308"/>
                      <a:pt x="7112" y="8308"/>
                      <a:pt x="7112" y="8308"/>
                    </a:cubicBezTo>
                    <a:cubicBezTo>
                      <a:pt x="7175" y="8338"/>
                      <a:pt x="7175" y="8338"/>
                      <a:pt x="7175" y="8338"/>
                    </a:cubicBezTo>
                    <a:cubicBezTo>
                      <a:pt x="7179" y="8370"/>
                      <a:pt x="7179" y="8370"/>
                      <a:pt x="7179" y="8370"/>
                    </a:cubicBezTo>
                    <a:cubicBezTo>
                      <a:pt x="7193" y="8367"/>
                      <a:pt x="7287" y="8345"/>
                      <a:pt x="7297" y="8342"/>
                    </a:cubicBezTo>
                    <a:cubicBezTo>
                      <a:pt x="7300" y="8340"/>
                      <a:pt x="7311" y="8323"/>
                      <a:pt x="7320" y="8309"/>
                    </a:cubicBezTo>
                    <a:cubicBezTo>
                      <a:pt x="7330" y="8293"/>
                      <a:pt x="7339" y="8278"/>
                      <a:pt x="7339" y="8278"/>
                    </a:cubicBezTo>
                    <a:cubicBezTo>
                      <a:pt x="7342" y="8273"/>
                      <a:pt x="7342" y="8273"/>
                      <a:pt x="7342" y="8273"/>
                    </a:cubicBezTo>
                    <a:cubicBezTo>
                      <a:pt x="7347" y="8274"/>
                      <a:pt x="7347" y="8274"/>
                      <a:pt x="7347" y="8274"/>
                    </a:cubicBezTo>
                    <a:cubicBezTo>
                      <a:pt x="7347" y="8274"/>
                      <a:pt x="7421" y="8290"/>
                      <a:pt x="7495" y="8305"/>
                    </a:cubicBezTo>
                    <a:cubicBezTo>
                      <a:pt x="7533" y="8313"/>
                      <a:pt x="7570" y="8321"/>
                      <a:pt x="7598" y="8327"/>
                    </a:cubicBezTo>
                    <a:cubicBezTo>
                      <a:pt x="7610" y="8330"/>
                      <a:pt x="7620" y="8332"/>
                      <a:pt x="7627" y="8333"/>
                    </a:cubicBezTo>
                    <a:close/>
                    <a:moveTo>
                      <a:pt x="7596" y="8040"/>
                    </a:moveTo>
                    <a:cubicBezTo>
                      <a:pt x="7603" y="7994"/>
                      <a:pt x="7603" y="7994"/>
                      <a:pt x="7603" y="7994"/>
                    </a:cubicBezTo>
                    <a:cubicBezTo>
                      <a:pt x="7544" y="7985"/>
                      <a:pt x="7544" y="7985"/>
                      <a:pt x="7544" y="7985"/>
                    </a:cubicBezTo>
                    <a:cubicBezTo>
                      <a:pt x="7532" y="8062"/>
                      <a:pt x="7532" y="8062"/>
                      <a:pt x="7532" y="8062"/>
                    </a:cubicBezTo>
                    <a:cubicBezTo>
                      <a:pt x="7634" y="8080"/>
                      <a:pt x="7634" y="8080"/>
                      <a:pt x="7634" y="8080"/>
                    </a:cubicBezTo>
                    <a:cubicBezTo>
                      <a:pt x="7639" y="8047"/>
                      <a:pt x="7639" y="8047"/>
                      <a:pt x="7639" y="8047"/>
                    </a:cubicBezTo>
                    <a:lnTo>
                      <a:pt x="7596" y="8040"/>
                    </a:lnTo>
                    <a:close/>
                    <a:moveTo>
                      <a:pt x="7530" y="8076"/>
                    </a:moveTo>
                    <a:cubicBezTo>
                      <a:pt x="7516" y="8167"/>
                      <a:pt x="7516" y="8167"/>
                      <a:pt x="7516" y="8167"/>
                    </a:cubicBezTo>
                    <a:cubicBezTo>
                      <a:pt x="7575" y="8176"/>
                      <a:pt x="7575" y="8176"/>
                      <a:pt x="7575" y="8176"/>
                    </a:cubicBezTo>
                    <a:cubicBezTo>
                      <a:pt x="7582" y="8130"/>
                      <a:pt x="7582" y="8130"/>
                      <a:pt x="7582" y="8130"/>
                    </a:cubicBezTo>
                    <a:cubicBezTo>
                      <a:pt x="7625" y="8136"/>
                      <a:pt x="7625" y="8136"/>
                      <a:pt x="7625" y="8136"/>
                    </a:cubicBezTo>
                    <a:cubicBezTo>
                      <a:pt x="7632" y="8093"/>
                      <a:pt x="7632" y="8093"/>
                      <a:pt x="7632" y="8093"/>
                    </a:cubicBezTo>
                    <a:lnTo>
                      <a:pt x="7530" y="8076"/>
                    </a:lnTo>
                    <a:close/>
                    <a:moveTo>
                      <a:pt x="7668" y="8085"/>
                    </a:moveTo>
                    <a:cubicBezTo>
                      <a:pt x="7689" y="7959"/>
                      <a:pt x="7689" y="7959"/>
                      <a:pt x="7689" y="7959"/>
                    </a:cubicBezTo>
                    <a:cubicBezTo>
                      <a:pt x="7654" y="7952"/>
                      <a:pt x="7549" y="7929"/>
                      <a:pt x="7443" y="7906"/>
                    </a:cubicBezTo>
                    <a:cubicBezTo>
                      <a:pt x="7335" y="7882"/>
                      <a:pt x="7224" y="7858"/>
                      <a:pt x="7191" y="7851"/>
                    </a:cubicBezTo>
                    <a:cubicBezTo>
                      <a:pt x="7191" y="7926"/>
                      <a:pt x="7190" y="7987"/>
                      <a:pt x="7190" y="8005"/>
                    </a:cubicBezTo>
                    <a:cubicBezTo>
                      <a:pt x="7519" y="8060"/>
                      <a:pt x="7519" y="8060"/>
                      <a:pt x="7519" y="8060"/>
                    </a:cubicBezTo>
                    <a:cubicBezTo>
                      <a:pt x="7533" y="7970"/>
                      <a:pt x="7533" y="7970"/>
                      <a:pt x="7533" y="7970"/>
                    </a:cubicBezTo>
                    <a:cubicBezTo>
                      <a:pt x="7539" y="7971"/>
                      <a:pt x="7539" y="7971"/>
                      <a:pt x="7539" y="7971"/>
                    </a:cubicBezTo>
                    <a:cubicBezTo>
                      <a:pt x="7618" y="7983"/>
                      <a:pt x="7618" y="7983"/>
                      <a:pt x="7618" y="7983"/>
                    </a:cubicBezTo>
                    <a:cubicBezTo>
                      <a:pt x="7611" y="8029"/>
                      <a:pt x="7611" y="8029"/>
                      <a:pt x="7611" y="8029"/>
                    </a:cubicBezTo>
                    <a:cubicBezTo>
                      <a:pt x="7653" y="8036"/>
                      <a:pt x="7653" y="8036"/>
                      <a:pt x="7653" y="8036"/>
                    </a:cubicBezTo>
                    <a:cubicBezTo>
                      <a:pt x="7647" y="8082"/>
                      <a:pt x="7647" y="8082"/>
                      <a:pt x="7647" y="8082"/>
                    </a:cubicBezTo>
                    <a:lnTo>
                      <a:pt x="7668" y="8085"/>
                    </a:lnTo>
                    <a:close/>
                    <a:moveTo>
                      <a:pt x="7691" y="7946"/>
                    </a:moveTo>
                    <a:cubicBezTo>
                      <a:pt x="7710" y="7827"/>
                      <a:pt x="7710" y="7827"/>
                      <a:pt x="7710" y="7827"/>
                    </a:cubicBezTo>
                    <a:cubicBezTo>
                      <a:pt x="7685" y="7822"/>
                      <a:pt x="7685" y="7822"/>
                      <a:pt x="7685" y="7822"/>
                    </a:cubicBezTo>
                    <a:cubicBezTo>
                      <a:pt x="7676" y="7879"/>
                      <a:pt x="7676" y="7879"/>
                      <a:pt x="7676" y="7879"/>
                    </a:cubicBezTo>
                    <a:cubicBezTo>
                      <a:pt x="7633" y="7872"/>
                      <a:pt x="7633" y="7872"/>
                      <a:pt x="7633" y="7872"/>
                    </a:cubicBezTo>
                    <a:cubicBezTo>
                      <a:pt x="7626" y="7919"/>
                      <a:pt x="7626" y="7919"/>
                      <a:pt x="7626" y="7919"/>
                    </a:cubicBezTo>
                    <a:cubicBezTo>
                      <a:pt x="7541" y="7906"/>
                      <a:pt x="7541" y="7906"/>
                      <a:pt x="7541" y="7906"/>
                    </a:cubicBezTo>
                    <a:cubicBezTo>
                      <a:pt x="7558" y="7797"/>
                      <a:pt x="7558" y="7797"/>
                      <a:pt x="7558" y="7797"/>
                    </a:cubicBezTo>
                    <a:cubicBezTo>
                      <a:pt x="7192" y="7726"/>
                      <a:pt x="7192" y="7726"/>
                      <a:pt x="7192" y="7726"/>
                    </a:cubicBezTo>
                    <a:cubicBezTo>
                      <a:pt x="7192" y="7764"/>
                      <a:pt x="7192" y="7802"/>
                      <a:pt x="7191" y="7837"/>
                    </a:cubicBezTo>
                    <a:cubicBezTo>
                      <a:pt x="7225" y="7844"/>
                      <a:pt x="7335" y="7868"/>
                      <a:pt x="7446" y="7892"/>
                    </a:cubicBezTo>
                    <a:cubicBezTo>
                      <a:pt x="7551" y="7915"/>
                      <a:pt x="7656" y="7938"/>
                      <a:pt x="7691" y="7946"/>
                    </a:cubicBezTo>
                    <a:close/>
                    <a:moveTo>
                      <a:pt x="7713" y="7813"/>
                    </a:moveTo>
                    <a:cubicBezTo>
                      <a:pt x="7726" y="7731"/>
                      <a:pt x="7726" y="7731"/>
                      <a:pt x="7726" y="7731"/>
                    </a:cubicBezTo>
                    <a:cubicBezTo>
                      <a:pt x="7710" y="7727"/>
                      <a:pt x="7686" y="7722"/>
                      <a:pt x="7657" y="7716"/>
                    </a:cubicBezTo>
                    <a:cubicBezTo>
                      <a:pt x="7651" y="7757"/>
                      <a:pt x="7651" y="7757"/>
                      <a:pt x="7651" y="7757"/>
                    </a:cubicBezTo>
                    <a:cubicBezTo>
                      <a:pt x="7694" y="7763"/>
                      <a:pt x="7694" y="7763"/>
                      <a:pt x="7694" y="7763"/>
                    </a:cubicBezTo>
                    <a:cubicBezTo>
                      <a:pt x="7687" y="7808"/>
                      <a:pt x="7687" y="7808"/>
                      <a:pt x="7687" y="7808"/>
                    </a:cubicBezTo>
                    <a:lnTo>
                      <a:pt x="7713" y="7813"/>
                    </a:lnTo>
                    <a:close/>
                    <a:moveTo>
                      <a:pt x="7727" y="7717"/>
                    </a:moveTo>
                    <a:cubicBezTo>
                      <a:pt x="7728" y="7717"/>
                      <a:pt x="7728" y="7717"/>
                      <a:pt x="7728" y="7717"/>
                    </a:cubicBezTo>
                    <a:cubicBezTo>
                      <a:pt x="7749" y="7591"/>
                      <a:pt x="7749" y="7591"/>
                      <a:pt x="7749" y="7591"/>
                    </a:cubicBezTo>
                    <a:cubicBezTo>
                      <a:pt x="7743" y="7589"/>
                      <a:pt x="7736" y="7588"/>
                      <a:pt x="7729" y="7587"/>
                    </a:cubicBezTo>
                    <a:cubicBezTo>
                      <a:pt x="7720" y="7645"/>
                      <a:pt x="7720" y="7645"/>
                      <a:pt x="7720" y="7645"/>
                    </a:cubicBezTo>
                    <a:cubicBezTo>
                      <a:pt x="7677" y="7638"/>
                      <a:pt x="7677" y="7638"/>
                      <a:pt x="7677" y="7638"/>
                    </a:cubicBezTo>
                    <a:cubicBezTo>
                      <a:pt x="7670" y="7685"/>
                      <a:pt x="7670" y="7685"/>
                      <a:pt x="7670" y="7685"/>
                    </a:cubicBezTo>
                    <a:cubicBezTo>
                      <a:pt x="7585" y="7672"/>
                      <a:pt x="7585" y="7672"/>
                      <a:pt x="7585" y="7672"/>
                    </a:cubicBezTo>
                    <a:cubicBezTo>
                      <a:pt x="7601" y="7564"/>
                      <a:pt x="7601" y="7564"/>
                      <a:pt x="7601" y="7564"/>
                    </a:cubicBezTo>
                    <a:cubicBezTo>
                      <a:pt x="7450" y="7536"/>
                      <a:pt x="7249" y="7498"/>
                      <a:pt x="7193" y="7487"/>
                    </a:cubicBezTo>
                    <a:cubicBezTo>
                      <a:pt x="7193" y="7495"/>
                      <a:pt x="7193" y="7504"/>
                      <a:pt x="7193" y="7514"/>
                    </a:cubicBezTo>
                    <a:cubicBezTo>
                      <a:pt x="7193" y="7538"/>
                      <a:pt x="7193" y="7567"/>
                      <a:pt x="7193" y="7600"/>
                    </a:cubicBezTo>
                    <a:cubicBezTo>
                      <a:pt x="7209" y="7604"/>
                      <a:pt x="7339" y="7632"/>
                      <a:pt x="7470" y="7661"/>
                    </a:cubicBezTo>
                    <a:cubicBezTo>
                      <a:pt x="7540" y="7676"/>
                      <a:pt x="7610" y="7691"/>
                      <a:pt x="7663" y="7703"/>
                    </a:cubicBezTo>
                    <a:cubicBezTo>
                      <a:pt x="7689" y="7709"/>
                      <a:pt x="7712" y="7714"/>
                      <a:pt x="7727" y="7717"/>
                    </a:cubicBezTo>
                    <a:close/>
                    <a:moveTo>
                      <a:pt x="7680" y="7534"/>
                    </a:moveTo>
                    <a:cubicBezTo>
                      <a:pt x="7687" y="7488"/>
                      <a:pt x="7687" y="7488"/>
                      <a:pt x="7687" y="7488"/>
                    </a:cubicBezTo>
                    <a:cubicBezTo>
                      <a:pt x="7628" y="7479"/>
                      <a:pt x="7628" y="7479"/>
                      <a:pt x="7628" y="7479"/>
                    </a:cubicBezTo>
                    <a:cubicBezTo>
                      <a:pt x="7616" y="7552"/>
                      <a:pt x="7616" y="7552"/>
                      <a:pt x="7616" y="7552"/>
                    </a:cubicBezTo>
                    <a:cubicBezTo>
                      <a:pt x="7655" y="7559"/>
                      <a:pt x="7691" y="7566"/>
                      <a:pt x="7718" y="7571"/>
                    </a:cubicBezTo>
                    <a:cubicBezTo>
                      <a:pt x="7723" y="7541"/>
                      <a:pt x="7723" y="7541"/>
                      <a:pt x="7723" y="7541"/>
                    </a:cubicBezTo>
                    <a:lnTo>
                      <a:pt x="7680" y="7534"/>
                    </a:lnTo>
                    <a:close/>
                    <a:moveTo>
                      <a:pt x="7614" y="7566"/>
                    </a:moveTo>
                    <a:cubicBezTo>
                      <a:pt x="7600" y="7661"/>
                      <a:pt x="7600" y="7661"/>
                      <a:pt x="7600" y="7661"/>
                    </a:cubicBezTo>
                    <a:cubicBezTo>
                      <a:pt x="7659" y="7670"/>
                      <a:pt x="7659" y="7670"/>
                      <a:pt x="7659" y="7670"/>
                    </a:cubicBezTo>
                    <a:cubicBezTo>
                      <a:pt x="7666" y="7624"/>
                      <a:pt x="7666" y="7624"/>
                      <a:pt x="7666" y="7624"/>
                    </a:cubicBezTo>
                    <a:cubicBezTo>
                      <a:pt x="7709" y="7630"/>
                      <a:pt x="7709" y="7630"/>
                      <a:pt x="7709" y="7630"/>
                    </a:cubicBezTo>
                    <a:cubicBezTo>
                      <a:pt x="7716" y="7585"/>
                      <a:pt x="7716" y="7585"/>
                      <a:pt x="7716" y="7585"/>
                    </a:cubicBezTo>
                    <a:cubicBezTo>
                      <a:pt x="7688" y="7580"/>
                      <a:pt x="7653" y="7573"/>
                      <a:pt x="7614" y="7566"/>
                    </a:cubicBezTo>
                    <a:close/>
                    <a:moveTo>
                      <a:pt x="7751" y="7577"/>
                    </a:moveTo>
                    <a:cubicBezTo>
                      <a:pt x="7768" y="7473"/>
                      <a:pt x="7768" y="7473"/>
                      <a:pt x="7768" y="7473"/>
                    </a:cubicBezTo>
                    <a:cubicBezTo>
                      <a:pt x="7595" y="7398"/>
                      <a:pt x="7595" y="7398"/>
                      <a:pt x="7595" y="7398"/>
                    </a:cubicBezTo>
                    <a:cubicBezTo>
                      <a:pt x="7521" y="7441"/>
                      <a:pt x="7426" y="7478"/>
                      <a:pt x="7314" y="7480"/>
                    </a:cubicBezTo>
                    <a:cubicBezTo>
                      <a:pt x="7292" y="7481"/>
                      <a:pt x="7266" y="7481"/>
                      <a:pt x="7236" y="7481"/>
                    </a:cubicBezTo>
                    <a:cubicBezTo>
                      <a:pt x="7292" y="7492"/>
                      <a:pt x="7384" y="7509"/>
                      <a:pt x="7477" y="7526"/>
                    </a:cubicBezTo>
                    <a:cubicBezTo>
                      <a:pt x="7520" y="7534"/>
                      <a:pt x="7563" y="7542"/>
                      <a:pt x="7604" y="7550"/>
                    </a:cubicBezTo>
                    <a:cubicBezTo>
                      <a:pt x="7617" y="7464"/>
                      <a:pt x="7617" y="7464"/>
                      <a:pt x="7617" y="7464"/>
                    </a:cubicBezTo>
                    <a:cubicBezTo>
                      <a:pt x="7623" y="7465"/>
                      <a:pt x="7623" y="7465"/>
                      <a:pt x="7623" y="7465"/>
                    </a:cubicBezTo>
                    <a:cubicBezTo>
                      <a:pt x="7702" y="7477"/>
                      <a:pt x="7702" y="7477"/>
                      <a:pt x="7702" y="7477"/>
                    </a:cubicBezTo>
                    <a:cubicBezTo>
                      <a:pt x="7695" y="7523"/>
                      <a:pt x="7695" y="7523"/>
                      <a:pt x="7695" y="7523"/>
                    </a:cubicBezTo>
                    <a:cubicBezTo>
                      <a:pt x="7737" y="7529"/>
                      <a:pt x="7737" y="7529"/>
                      <a:pt x="7737" y="7529"/>
                    </a:cubicBezTo>
                    <a:cubicBezTo>
                      <a:pt x="7731" y="7573"/>
                      <a:pt x="7731" y="7573"/>
                      <a:pt x="7731" y="7573"/>
                    </a:cubicBezTo>
                    <a:cubicBezTo>
                      <a:pt x="7738" y="7574"/>
                      <a:pt x="7745" y="7576"/>
                      <a:pt x="7751" y="7577"/>
                    </a:cubicBezTo>
                    <a:close/>
                    <a:moveTo>
                      <a:pt x="7771" y="7459"/>
                    </a:moveTo>
                    <a:cubicBezTo>
                      <a:pt x="7794" y="7315"/>
                      <a:pt x="7794" y="7315"/>
                      <a:pt x="7794" y="7315"/>
                    </a:cubicBezTo>
                    <a:cubicBezTo>
                      <a:pt x="7784" y="7308"/>
                      <a:pt x="7775" y="7301"/>
                      <a:pt x="7767" y="7295"/>
                    </a:cubicBezTo>
                    <a:cubicBezTo>
                      <a:pt x="7758" y="7289"/>
                      <a:pt x="7752" y="7284"/>
                      <a:pt x="7745" y="7280"/>
                    </a:cubicBezTo>
                    <a:cubicBezTo>
                      <a:pt x="7720" y="7306"/>
                      <a:pt x="7674" y="7349"/>
                      <a:pt x="7610" y="7389"/>
                    </a:cubicBezTo>
                    <a:lnTo>
                      <a:pt x="7771" y="7459"/>
                    </a:lnTo>
                    <a:close/>
                    <a:moveTo>
                      <a:pt x="8114" y="6499"/>
                    </a:moveTo>
                    <a:cubicBezTo>
                      <a:pt x="8114" y="6519"/>
                      <a:pt x="8114" y="6519"/>
                      <a:pt x="8114" y="6519"/>
                    </a:cubicBezTo>
                    <a:cubicBezTo>
                      <a:pt x="8270" y="6512"/>
                      <a:pt x="8270" y="6512"/>
                      <a:pt x="8270" y="6512"/>
                    </a:cubicBezTo>
                    <a:cubicBezTo>
                      <a:pt x="8270" y="6219"/>
                      <a:pt x="8270" y="6219"/>
                      <a:pt x="8270" y="6219"/>
                    </a:cubicBezTo>
                    <a:cubicBezTo>
                      <a:pt x="8223" y="6220"/>
                      <a:pt x="8170" y="6222"/>
                      <a:pt x="8114" y="6223"/>
                    </a:cubicBezTo>
                    <a:cubicBezTo>
                      <a:pt x="8114" y="6428"/>
                      <a:pt x="8114" y="6428"/>
                      <a:pt x="8114" y="6428"/>
                    </a:cubicBezTo>
                    <a:cubicBezTo>
                      <a:pt x="8119" y="6428"/>
                      <a:pt x="8119" y="6428"/>
                      <a:pt x="8119" y="6428"/>
                    </a:cubicBezTo>
                    <a:cubicBezTo>
                      <a:pt x="8264" y="6425"/>
                      <a:pt x="8264" y="6425"/>
                      <a:pt x="8264" y="6425"/>
                    </a:cubicBezTo>
                    <a:cubicBezTo>
                      <a:pt x="8266" y="6496"/>
                      <a:pt x="8266" y="6496"/>
                      <a:pt x="8266" y="6496"/>
                    </a:cubicBezTo>
                    <a:lnTo>
                      <a:pt x="8114" y="6499"/>
                    </a:lnTo>
                    <a:close/>
                    <a:moveTo>
                      <a:pt x="8127" y="6485"/>
                    </a:moveTo>
                    <a:cubicBezTo>
                      <a:pt x="8252" y="6483"/>
                      <a:pt x="8252" y="6483"/>
                      <a:pt x="8252" y="6483"/>
                    </a:cubicBezTo>
                    <a:cubicBezTo>
                      <a:pt x="8251" y="6438"/>
                      <a:pt x="8251" y="6438"/>
                      <a:pt x="8251" y="6438"/>
                    </a:cubicBezTo>
                    <a:cubicBezTo>
                      <a:pt x="8126" y="6441"/>
                      <a:pt x="8126" y="6441"/>
                      <a:pt x="8126" y="6441"/>
                    </a:cubicBezTo>
                    <a:lnTo>
                      <a:pt x="8127" y="6485"/>
                    </a:lnTo>
                    <a:close/>
                    <a:moveTo>
                      <a:pt x="8455" y="6505"/>
                    </a:moveTo>
                    <a:cubicBezTo>
                      <a:pt x="8455" y="6213"/>
                      <a:pt x="8455" y="6213"/>
                      <a:pt x="8455" y="6213"/>
                    </a:cubicBezTo>
                    <a:cubicBezTo>
                      <a:pt x="8435" y="6214"/>
                      <a:pt x="8371" y="6216"/>
                      <a:pt x="8284" y="6218"/>
                    </a:cubicBezTo>
                    <a:cubicBezTo>
                      <a:pt x="8284" y="6512"/>
                      <a:pt x="8284" y="6512"/>
                      <a:pt x="8284" y="6512"/>
                    </a:cubicBezTo>
                    <a:lnTo>
                      <a:pt x="8455" y="6505"/>
                    </a:lnTo>
                    <a:close/>
                    <a:moveTo>
                      <a:pt x="9348" y="5075"/>
                    </a:moveTo>
                    <a:cubicBezTo>
                      <a:pt x="9399" y="4967"/>
                      <a:pt x="9399" y="4967"/>
                      <a:pt x="9399" y="4967"/>
                    </a:cubicBezTo>
                    <a:cubicBezTo>
                      <a:pt x="8067" y="4287"/>
                      <a:pt x="8067" y="4287"/>
                      <a:pt x="8067" y="4287"/>
                    </a:cubicBezTo>
                    <a:cubicBezTo>
                      <a:pt x="7386" y="5685"/>
                      <a:pt x="7386" y="5685"/>
                      <a:pt x="7386" y="5685"/>
                    </a:cubicBezTo>
                    <a:cubicBezTo>
                      <a:pt x="7342" y="6236"/>
                      <a:pt x="7342" y="6236"/>
                      <a:pt x="7342" y="6236"/>
                    </a:cubicBezTo>
                    <a:cubicBezTo>
                      <a:pt x="7347" y="6236"/>
                      <a:pt x="7351" y="6235"/>
                      <a:pt x="7356" y="6235"/>
                    </a:cubicBezTo>
                    <a:cubicBezTo>
                      <a:pt x="7587" y="6224"/>
                      <a:pt x="8462" y="6199"/>
                      <a:pt x="8462" y="6199"/>
                    </a:cubicBezTo>
                    <a:cubicBezTo>
                      <a:pt x="8469" y="6199"/>
                      <a:pt x="8469" y="6199"/>
                      <a:pt x="8469" y="6199"/>
                    </a:cubicBezTo>
                    <a:cubicBezTo>
                      <a:pt x="8469" y="6504"/>
                      <a:pt x="8469" y="6504"/>
                      <a:pt x="8469" y="6504"/>
                    </a:cubicBezTo>
                    <a:cubicBezTo>
                      <a:pt x="8665" y="6497"/>
                      <a:pt x="8665" y="6497"/>
                      <a:pt x="8665" y="6497"/>
                    </a:cubicBezTo>
                    <a:cubicBezTo>
                      <a:pt x="8694" y="6493"/>
                      <a:pt x="8694" y="6493"/>
                      <a:pt x="8694" y="6493"/>
                    </a:cubicBezTo>
                    <a:lnTo>
                      <a:pt x="9348" y="5075"/>
                    </a:lnTo>
                    <a:close/>
                    <a:moveTo>
                      <a:pt x="9427" y="4907"/>
                    </a:moveTo>
                    <a:cubicBezTo>
                      <a:pt x="10618" y="2384"/>
                      <a:pt x="10618" y="2384"/>
                      <a:pt x="10618" y="2384"/>
                    </a:cubicBezTo>
                    <a:cubicBezTo>
                      <a:pt x="10577" y="2365"/>
                      <a:pt x="10491" y="2325"/>
                      <a:pt x="10394" y="2280"/>
                    </a:cubicBezTo>
                    <a:cubicBezTo>
                      <a:pt x="10259" y="2217"/>
                      <a:pt x="10103" y="2146"/>
                      <a:pt x="10022" y="2112"/>
                    </a:cubicBezTo>
                    <a:cubicBezTo>
                      <a:pt x="9865" y="2045"/>
                      <a:pt x="9483" y="1838"/>
                      <a:pt x="9307" y="1743"/>
                    </a:cubicBezTo>
                    <a:cubicBezTo>
                      <a:pt x="8096" y="4228"/>
                      <a:pt x="8096" y="4228"/>
                      <a:pt x="8096" y="4228"/>
                    </a:cubicBezTo>
                    <a:lnTo>
                      <a:pt x="9427" y="4907"/>
                    </a:lnTo>
                    <a:close/>
                    <a:moveTo>
                      <a:pt x="8369" y="211"/>
                    </a:moveTo>
                    <a:cubicBezTo>
                      <a:pt x="8364" y="225"/>
                      <a:pt x="8349" y="268"/>
                      <a:pt x="8336" y="308"/>
                    </a:cubicBezTo>
                    <a:cubicBezTo>
                      <a:pt x="8328" y="331"/>
                      <a:pt x="8320" y="354"/>
                      <a:pt x="8313" y="372"/>
                    </a:cubicBezTo>
                    <a:cubicBezTo>
                      <a:pt x="8310" y="381"/>
                      <a:pt x="8307" y="388"/>
                      <a:pt x="8304" y="393"/>
                    </a:cubicBezTo>
                    <a:cubicBezTo>
                      <a:pt x="8303" y="396"/>
                      <a:pt x="8302" y="398"/>
                      <a:pt x="8301" y="400"/>
                    </a:cubicBezTo>
                    <a:cubicBezTo>
                      <a:pt x="8300" y="400"/>
                      <a:pt x="8300" y="401"/>
                      <a:pt x="8299" y="402"/>
                    </a:cubicBezTo>
                    <a:cubicBezTo>
                      <a:pt x="8589" y="649"/>
                      <a:pt x="8589" y="649"/>
                      <a:pt x="8589" y="649"/>
                    </a:cubicBezTo>
                    <a:cubicBezTo>
                      <a:pt x="8590" y="648"/>
                      <a:pt x="8592" y="647"/>
                      <a:pt x="8593" y="646"/>
                    </a:cubicBezTo>
                    <a:cubicBezTo>
                      <a:pt x="8611" y="633"/>
                      <a:pt x="8626" y="621"/>
                      <a:pt x="8640" y="610"/>
                    </a:cubicBezTo>
                    <a:cubicBezTo>
                      <a:pt x="8606" y="568"/>
                      <a:pt x="8576" y="524"/>
                      <a:pt x="8555" y="477"/>
                    </a:cubicBezTo>
                    <a:cubicBezTo>
                      <a:pt x="8531" y="423"/>
                      <a:pt x="8519" y="366"/>
                      <a:pt x="8512" y="310"/>
                    </a:cubicBezTo>
                    <a:cubicBezTo>
                      <a:pt x="8510" y="309"/>
                      <a:pt x="8509" y="308"/>
                      <a:pt x="8506" y="306"/>
                    </a:cubicBezTo>
                    <a:cubicBezTo>
                      <a:pt x="8479" y="288"/>
                      <a:pt x="8426" y="251"/>
                      <a:pt x="8369" y="211"/>
                    </a:cubicBezTo>
                    <a:close/>
                    <a:moveTo>
                      <a:pt x="8015" y="160"/>
                    </a:moveTo>
                    <a:cubicBezTo>
                      <a:pt x="8288" y="392"/>
                      <a:pt x="8288" y="392"/>
                      <a:pt x="8288" y="392"/>
                    </a:cubicBezTo>
                    <a:cubicBezTo>
                      <a:pt x="8288" y="392"/>
                      <a:pt x="8289" y="392"/>
                      <a:pt x="8290" y="392"/>
                    </a:cubicBezTo>
                    <a:cubicBezTo>
                      <a:pt x="8292" y="388"/>
                      <a:pt x="8297" y="375"/>
                      <a:pt x="8303" y="360"/>
                    </a:cubicBezTo>
                    <a:cubicBezTo>
                      <a:pt x="8313" y="332"/>
                      <a:pt x="8326" y="292"/>
                      <a:pt x="8338" y="259"/>
                    </a:cubicBezTo>
                    <a:cubicBezTo>
                      <a:pt x="8343" y="243"/>
                      <a:pt x="8348" y="228"/>
                      <a:pt x="8352" y="217"/>
                    </a:cubicBezTo>
                    <a:cubicBezTo>
                      <a:pt x="8354" y="211"/>
                      <a:pt x="8356" y="207"/>
                      <a:pt x="8357" y="204"/>
                    </a:cubicBezTo>
                    <a:cubicBezTo>
                      <a:pt x="8358" y="203"/>
                      <a:pt x="8358" y="203"/>
                      <a:pt x="8358" y="202"/>
                    </a:cubicBezTo>
                    <a:cubicBezTo>
                      <a:pt x="8265" y="136"/>
                      <a:pt x="8168" y="64"/>
                      <a:pt x="8158" y="57"/>
                    </a:cubicBezTo>
                    <a:cubicBezTo>
                      <a:pt x="8115" y="94"/>
                      <a:pt x="8068" y="129"/>
                      <a:pt x="8015" y="160"/>
                    </a:cubicBezTo>
                    <a:close/>
                    <a:moveTo>
                      <a:pt x="7519" y="360"/>
                    </a:moveTo>
                    <a:cubicBezTo>
                      <a:pt x="7616" y="557"/>
                      <a:pt x="7616" y="557"/>
                      <a:pt x="7616" y="557"/>
                    </a:cubicBezTo>
                    <a:cubicBezTo>
                      <a:pt x="7723" y="591"/>
                      <a:pt x="7832" y="646"/>
                      <a:pt x="7921" y="696"/>
                    </a:cubicBezTo>
                    <a:cubicBezTo>
                      <a:pt x="7990" y="735"/>
                      <a:pt x="8047" y="770"/>
                      <a:pt x="8077" y="790"/>
                    </a:cubicBezTo>
                    <a:cubicBezTo>
                      <a:pt x="8087" y="789"/>
                      <a:pt x="8101" y="787"/>
                      <a:pt x="8117" y="786"/>
                    </a:cubicBezTo>
                    <a:cubicBezTo>
                      <a:pt x="7675" y="317"/>
                      <a:pt x="7675" y="317"/>
                      <a:pt x="7675" y="317"/>
                    </a:cubicBezTo>
                    <a:cubicBezTo>
                      <a:pt x="7685" y="307"/>
                      <a:pt x="7685" y="307"/>
                      <a:pt x="7685" y="307"/>
                    </a:cubicBezTo>
                    <a:cubicBezTo>
                      <a:pt x="7900" y="535"/>
                      <a:pt x="7900" y="535"/>
                      <a:pt x="7900" y="535"/>
                    </a:cubicBezTo>
                    <a:cubicBezTo>
                      <a:pt x="7916" y="529"/>
                      <a:pt x="7992" y="500"/>
                      <a:pt x="8074" y="470"/>
                    </a:cubicBezTo>
                    <a:cubicBezTo>
                      <a:pt x="7959" y="353"/>
                      <a:pt x="7854" y="246"/>
                      <a:pt x="7854" y="246"/>
                    </a:cubicBezTo>
                    <a:cubicBezTo>
                      <a:pt x="7864" y="236"/>
                      <a:pt x="7864" y="236"/>
                      <a:pt x="7864" y="236"/>
                    </a:cubicBezTo>
                    <a:cubicBezTo>
                      <a:pt x="7864" y="236"/>
                      <a:pt x="7971" y="346"/>
                      <a:pt x="8088" y="465"/>
                    </a:cubicBezTo>
                    <a:cubicBezTo>
                      <a:pt x="8089" y="464"/>
                      <a:pt x="8089" y="464"/>
                      <a:pt x="8090" y="464"/>
                    </a:cubicBezTo>
                    <a:cubicBezTo>
                      <a:pt x="8139" y="446"/>
                      <a:pt x="8188" y="428"/>
                      <a:pt x="8225" y="414"/>
                    </a:cubicBezTo>
                    <a:cubicBezTo>
                      <a:pt x="8244" y="407"/>
                      <a:pt x="8259" y="402"/>
                      <a:pt x="8271" y="398"/>
                    </a:cubicBezTo>
                    <a:cubicBezTo>
                      <a:pt x="8271" y="398"/>
                      <a:pt x="8272" y="397"/>
                      <a:pt x="8272" y="397"/>
                    </a:cubicBezTo>
                    <a:cubicBezTo>
                      <a:pt x="8005" y="169"/>
                      <a:pt x="8005" y="169"/>
                      <a:pt x="8005" y="169"/>
                    </a:cubicBezTo>
                    <a:cubicBezTo>
                      <a:pt x="8010" y="163"/>
                      <a:pt x="8010" y="163"/>
                      <a:pt x="8010" y="163"/>
                    </a:cubicBezTo>
                    <a:cubicBezTo>
                      <a:pt x="7987" y="177"/>
                      <a:pt x="7964" y="189"/>
                      <a:pt x="7939" y="201"/>
                    </a:cubicBezTo>
                    <a:cubicBezTo>
                      <a:pt x="7792" y="270"/>
                      <a:pt x="7646" y="322"/>
                      <a:pt x="7519" y="360"/>
                    </a:cubicBezTo>
                    <a:close/>
                    <a:moveTo>
                      <a:pt x="7144" y="452"/>
                    </a:moveTo>
                    <a:cubicBezTo>
                      <a:pt x="7144" y="462"/>
                      <a:pt x="7146" y="482"/>
                      <a:pt x="7149" y="500"/>
                    </a:cubicBezTo>
                    <a:cubicBezTo>
                      <a:pt x="7170" y="499"/>
                      <a:pt x="7193" y="498"/>
                      <a:pt x="7215" y="498"/>
                    </a:cubicBezTo>
                    <a:cubicBezTo>
                      <a:pt x="7321" y="498"/>
                      <a:pt x="7438" y="510"/>
                      <a:pt x="7563" y="542"/>
                    </a:cubicBezTo>
                    <a:cubicBezTo>
                      <a:pt x="7575" y="544"/>
                      <a:pt x="7587" y="548"/>
                      <a:pt x="7598" y="551"/>
                    </a:cubicBezTo>
                    <a:cubicBezTo>
                      <a:pt x="7506" y="364"/>
                      <a:pt x="7506" y="364"/>
                      <a:pt x="7506" y="364"/>
                    </a:cubicBezTo>
                    <a:cubicBezTo>
                      <a:pt x="7466" y="376"/>
                      <a:pt x="7427" y="386"/>
                      <a:pt x="7392" y="396"/>
                    </a:cubicBezTo>
                    <a:cubicBezTo>
                      <a:pt x="7317" y="415"/>
                      <a:pt x="7255" y="428"/>
                      <a:pt x="7211" y="437"/>
                    </a:cubicBezTo>
                    <a:cubicBezTo>
                      <a:pt x="7189" y="442"/>
                      <a:pt x="7171" y="445"/>
                      <a:pt x="7159" y="447"/>
                    </a:cubicBezTo>
                    <a:cubicBezTo>
                      <a:pt x="7153" y="448"/>
                      <a:pt x="7148" y="449"/>
                      <a:pt x="7145" y="450"/>
                    </a:cubicBezTo>
                    <a:cubicBezTo>
                      <a:pt x="7144" y="450"/>
                      <a:pt x="7144" y="450"/>
                      <a:pt x="7144" y="450"/>
                    </a:cubicBezTo>
                    <a:cubicBezTo>
                      <a:pt x="7144" y="451"/>
                      <a:pt x="7144" y="451"/>
                      <a:pt x="7144" y="452"/>
                    </a:cubicBezTo>
                    <a:close/>
                    <a:moveTo>
                      <a:pt x="7003" y="777"/>
                    </a:moveTo>
                    <a:cubicBezTo>
                      <a:pt x="7019" y="780"/>
                      <a:pt x="7019" y="780"/>
                      <a:pt x="7019" y="780"/>
                    </a:cubicBezTo>
                    <a:cubicBezTo>
                      <a:pt x="7058" y="664"/>
                      <a:pt x="7058" y="664"/>
                      <a:pt x="7058" y="664"/>
                    </a:cubicBezTo>
                    <a:cubicBezTo>
                      <a:pt x="7207" y="715"/>
                      <a:pt x="7207" y="715"/>
                      <a:pt x="7207" y="715"/>
                    </a:cubicBezTo>
                    <a:cubicBezTo>
                      <a:pt x="7175" y="810"/>
                      <a:pt x="7175" y="810"/>
                      <a:pt x="7175" y="810"/>
                    </a:cubicBezTo>
                    <a:cubicBezTo>
                      <a:pt x="7412" y="856"/>
                      <a:pt x="7412" y="856"/>
                      <a:pt x="7412" y="856"/>
                    </a:cubicBezTo>
                    <a:cubicBezTo>
                      <a:pt x="7470" y="677"/>
                      <a:pt x="7470" y="677"/>
                      <a:pt x="7470" y="677"/>
                    </a:cubicBezTo>
                    <a:cubicBezTo>
                      <a:pt x="7378" y="659"/>
                      <a:pt x="7293" y="651"/>
                      <a:pt x="7215" y="651"/>
                    </a:cubicBezTo>
                    <a:cubicBezTo>
                      <a:pt x="7153" y="651"/>
                      <a:pt x="7095" y="656"/>
                      <a:pt x="7041" y="663"/>
                    </a:cubicBezTo>
                    <a:cubicBezTo>
                      <a:pt x="7033" y="688"/>
                      <a:pt x="7020" y="727"/>
                      <a:pt x="7003" y="777"/>
                    </a:cubicBezTo>
                    <a:close/>
                    <a:moveTo>
                      <a:pt x="6949" y="937"/>
                    </a:moveTo>
                    <a:cubicBezTo>
                      <a:pt x="6953" y="938"/>
                      <a:pt x="6959" y="939"/>
                      <a:pt x="6964" y="940"/>
                    </a:cubicBezTo>
                    <a:cubicBezTo>
                      <a:pt x="7014" y="794"/>
                      <a:pt x="7014" y="794"/>
                      <a:pt x="7014" y="794"/>
                    </a:cubicBezTo>
                    <a:cubicBezTo>
                      <a:pt x="6998" y="791"/>
                      <a:pt x="6998" y="791"/>
                      <a:pt x="6998" y="791"/>
                    </a:cubicBezTo>
                    <a:cubicBezTo>
                      <a:pt x="6984" y="833"/>
                      <a:pt x="6967" y="882"/>
                      <a:pt x="6949" y="937"/>
                    </a:cubicBezTo>
                    <a:close/>
                    <a:moveTo>
                      <a:pt x="6036" y="2791"/>
                    </a:moveTo>
                    <a:cubicBezTo>
                      <a:pt x="6161" y="2785"/>
                      <a:pt x="6241" y="2784"/>
                      <a:pt x="6253" y="2783"/>
                    </a:cubicBezTo>
                    <a:cubicBezTo>
                      <a:pt x="6258" y="2770"/>
                      <a:pt x="6263" y="2754"/>
                      <a:pt x="6270" y="2735"/>
                    </a:cubicBezTo>
                    <a:cubicBezTo>
                      <a:pt x="6341" y="2523"/>
                      <a:pt x="6521" y="1994"/>
                      <a:pt x="6683" y="1517"/>
                    </a:cubicBezTo>
                    <a:cubicBezTo>
                      <a:pt x="6764" y="1279"/>
                      <a:pt x="6840" y="1053"/>
                      <a:pt x="6896" y="888"/>
                    </a:cubicBezTo>
                    <a:cubicBezTo>
                      <a:pt x="6924" y="805"/>
                      <a:pt x="6947" y="736"/>
                      <a:pt x="6963" y="689"/>
                    </a:cubicBezTo>
                    <a:cubicBezTo>
                      <a:pt x="6964" y="685"/>
                      <a:pt x="6965" y="682"/>
                      <a:pt x="6967" y="679"/>
                    </a:cubicBezTo>
                    <a:cubicBezTo>
                      <a:pt x="6925" y="691"/>
                      <a:pt x="6894" y="711"/>
                      <a:pt x="6874" y="729"/>
                    </a:cubicBezTo>
                    <a:cubicBezTo>
                      <a:pt x="6861" y="740"/>
                      <a:pt x="6851" y="751"/>
                      <a:pt x="6846" y="758"/>
                    </a:cubicBezTo>
                    <a:cubicBezTo>
                      <a:pt x="6843" y="761"/>
                      <a:pt x="6841" y="764"/>
                      <a:pt x="6840" y="765"/>
                    </a:cubicBezTo>
                    <a:cubicBezTo>
                      <a:pt x="6840" y="765"/>
                      <a:pt x="6840" y="765"/>
                      <a:pt x="6840" y="766"/>
                    </a:cubicBezTo>
                    <a:cubicBezTo>
                      <a:pt x="6821" y="801"/>
                      <a:pt x="6802" y="839"/>
                      <a:pt x="6788" y="869"/>
                    </a:cubicBezTo>
                    <a:cubicBezTo>
                      <a:pt x="6773" y="899"/>
                      <a:pt x="6764" y="920"/>
                      <a:pt x="6764" y="920"/>
                    </a:cubicBezTo>
                    <a:cubicBezTo>
                      <a:pt x="6757" y="936"/>
                      <a:pt x="6757" y="936"/>
                      <a:pt x="6757" y="936"/>
                    </a:cubicBezTo>
                    <a:cubicBezTo>
                      <a:pt x="6742" y="948"/>
                      <a:pt x="6742" y="948"/>
                      <a:pt x="6742" y="948"/>
                    </a:cubicBezTo>
                    <a:cubicBezTo>
                      <a:pt x="6721" y="965"/>
                      <a:pt x="6699" y="972"/>
                      <a:pt x="6679" y="976"/>
                    </a:cubicBezTo>
                    <a:lnTo>
                      <a:pt x="6036" y="2791"/>
                    </a:lnTo>
                    <a:close/>
                    <a:moveTo>
                      <a:pt x="6509" y="976"/>
                    </a:moveTo>
                    <a:cubicBezTo>
                      <a:pt x="6503" y="993"/>
                      <a:pt x="6497" y="1010"/>
                      <a:pt x="6488" y="1027"/>
                    </a:cubicBezTo>
                    <a:cubicBezTo>
                      <a:pt x="6466" y="1072"/>
                      <a:pt x="6433" y="1118"/>
                      <a:pt x="6378" y="1142"/>
                    </a:cubicBezTo>
                    <a:cubicBezTo>
                      <a:pt x="6348" y="1155"/>
                      <a:pt x="6320" y="1159"/>
                      <a:pt x="6286" y="1162"/>
                    </a:cubicBezTo>
                    <a:cubicBezTo>
                      <a:pt x="6253" y="1166"/>
                      <a:pt x="6214" y="1167"/>
                      <a:pt x="6171" y="1167"/>
                    </a:cubicBezTo>
                    <a:cubicBezTo>
                      <a:pt x="6105" y="1167"/>
                      <a:pt x="6027" y="1164"/>
                      <a:pt x="5944" y="1159"/>
                    </a:cubicBezTo>
                    <a:cubicBezTo>
                      <a:pt x="5939" y="1176"/>
                      <a:pt x="5930" y="1211"/>
                      <a:pt x="5919" y="1256"/>
                    </a:cubicBezTo>
                    <a:cubicBezTo>
                      <a:pt x="5913" y="1278"/>
                      <a:pt x="5907" y="1304"/>
                      <a:pt x="5900" y="1330"/>
                    </a:cubicBezTo>
                    <a:cubicBezTo>
                      <a:pt x="6250" y="1335"/>
                      <a:pt x="6250" y="1335"/>
                      <a:pt x="6250" y="1335"/>
                    </a:cubicBezTo>
                    <a:cubicBezTo>
                      <a:pt x="6304" y="1184"/>
                      <a:pt x="6304" y="1184"/>
                      <a:pt x="6304" y="1184"/>
                    </a:cubicBezTo>
                    <a:cubicBezTo>
                      <a:pt x="6446" y="1238"/>
                      <a:pt x="6446" y="1238"/>
                      <a:pt x="6446" y="1238"/>
                    </a:cubicBezTo>
                    <a:cubicBezTo>
                      <a:pt x="6411" y="1337"/>
                      <a:pt x="6411" y="1337"/>
                      <a:pt x="6411" y="1337"/>
                    </a:cubicBezTo>
                    <a:cubicBezTo>
                      <a:pt x="6481" y="1338"/>
                      <a:pt x="6481" y="1338"/>
                      <a:pt x="6481" y="1338"/>
                    </a:cubicBezTo>
                    <a:cubicBezTo>
                      <a:pt x="6607" y="981"/>
                      <a:pt x="6607" y="981"/>
                      <a:pt x="6607" y="981"/>
                    </a:cubicBezTo>
                    <a:cubicBezTo>
                      <a:pt x="6599" y="981"/>
                      <a:pt x="6590" y="981"/>
                      <a:pt x="6582" y="981"/>
                    </a:cubicBezTo>
                    <a:cubicBezTo>
                      <a:pt x="6576" y="980"/>
                      <a:pt x="6550" y="979"/>
                      <a:pt x="6509" y="976"/>
                    </a:cubicBezTo>
                    <a:close/>
                    <a:moveTo>
                      <a:pt x="6363" y="965"/>
                    </a:moveTo>
                    <a:cubicBezTo>
                      <a:pt x="6348" y="995"/>
                      <a:pt x="6334" y="1009"/>
                      <a:pt x="6321" y="1015"/>
                    </a:cubicBezTo>
                    <a:cubicBezTo>
                      <a:pt x="6319" y="1016"/>
                      <a:pt x="6318" y="1016"/>
                      <a:pt x="6316" y="1017"/>
                    </a:cubicBezTo>
                    <a:cubicBezTo>
                      <a:pt x="6308" y="1019"/>
                      <a:pt x="6293" y="1022"/>
                      <a:pt x="6273" y="1024"/>
                    </a:cubicBezTo>
                    <a:cubicBezTo>
                      <a:pt x="6246" y="1026"/>
                      <a:pt x="6211" y="1028"/>
                      <a:pt x="6171" y="1028"/>
                    </a:cubicBezTo>
                    <a:cubicBezTo>
                      <a:pt x="6171" y="1028"/>
                      <a:pt x="6170" y="1028"/>
                      <a:pt x="6170" y="1028"/>
                    </a:cubicBezTo>
                    <a:cubicBezTo>
                      <a:pt x="5900" y="1028"/>
                      <a:pt x="5402" y="972"/>
                      <a:pt x="5155" y="961"/>
                    </a:cubicBezTo>
                    <a:cubicBezTo>
                      <a:pt x="5076" y="957"/>
                      <a:pt x="4976" y="954"/>
                      <a:pt x="4865" y="954"/>
                    </a:cubicBezTo>
                    <a:cubicBezTo>
                      <a:pt x="4812" y="954"/>
                      <a:pt x="4755" y="955"/>
                      <a:pt x="4697" y="957"/>
                    </a:cubicBezTo>
                    <a:cubicBezTo>
                      <a:pt x="4601" y="973"/>
                      <a:pt x="4507" y="986"/>
                      <a:pt x="4437" y="992"/>
                    </a:cubicBezTo>
                    <a:cubicBezTo>
                      <a:pt x="4405" y="994"/>
                      <a:pt x="4374" y="995"/>
                      <a:pt x="4345" y="995"/>
                    </a:cubicBezTo>
                    <a:cubicBezTo>
                      <a:pt x="4322" y="995"/>
                      <a:pt x="4301" y="995"/>
                      <a:pt x="4280" y="994"/>
                    </a:cubicBezTo>
                    <a:cubicBezTo>
                      <a:pt x="4114" y="1019"/>
                      <a:pt x="3951" y="1061"/>
                      <a:pt x="3810" y="1126"/>
                    </a:cubicBezTo>
                    <a:cubicBezTo>
                      <a:pt x="3857" y="1240"/>
                      <a:pt x="3857" y="1240"/>
                      <a:pt x="3857" y="1240"/>
                    </a:cubicBezTo>
                    <a:cubicBezTo>
                      <a:pt x="3990" y="1177"/>
                      <a:pt x="4152" y="1137"/>
                      <a:pt x="4319" y="1112"/>
                    </a:cubicBezTo>
                    <a:cubicBezTo>
                      <a:pt x="4318" y="1106"/>
                      <a:pt x="4318" y="1106"/>
                      <a:pt x="4318" y="1106"/>
                    </a:cubicBezTo>
                    <a:cubicBezTo>
                      <a:pt x="4331" y="1102"/>
                      <a:pt x="4331" y="1102"/>
                      <a:pt x="4331" y="1102"/>
                    </a:cubicBezTo>
                    <a:cubicBezTo>
                      <a:pt x="4333" y="1110"/>
                      <a:pt x="4333" y="1110"/>
                      <a:pt x="4333" y="1110"/>
                    </a:cubicBezTo>
                    <a:cubicBezTo>
                      <a:pt x="4413" y="1099"/>
                      <a:pt x="4494" y="1091"/>
                      <a:pt x="4574" y="1086"/>
                    </a:cubicBezTo>
                    <a:cubicBezTo>
                      <a:pt x="4574" y="1084"/>
                      <a:pt x="4574" y="1082"/>
                      <a:pt x="4574" y="1082"/>
                    </a:cubicBezTo>
                    <a:cubicBezTo>
                      <a:pt x="4588" y="1082"/>
                      <a:pt x="4588" y="1082"/>
                      <a:pt x="4588" y="1082"/>
                    </a:cubicBezTo>
                    <a:cubicBezTo>
                      <a:pt x="4588" y="1082"/>
                      <a:pt x="4588" y="1084"/>
                      <a:pt x="4588" y="1085"/>
                    </a:cubicBezTo>
                    <a:cubicBezTo>
                      <a:pt x="4643" y="1081"/>
                      <a:pt x="4698" y="1079"/>
                      <a:pt x="4751" y="1078"/>
                    </a:cubicBezTo>
                    <a:cubicBezTo>
                      <a:pt x="4750" y="1073"/>
                      <a:pt x="4750" y="1073"/>
                      <a:pt x="4750" y="1073"/>
                    </a:cubicBezTo>
                    <a:cubicBezTo>
                      <a:pt x="4764" y="1071"/>
                      <a:pt x="4764" y="1071"/>
                      <a:pt x="4764" y="1071"/>
                    </a:cubicBezTo>
                    <a:cubicBezTo>
                      <a:pt x="4765" y="1078"/>
                      <a:pt x="4765" y="1078"/>
                      <a:pt x="4765" y="1078"/>
                    </a:cubicBezTo>
                    <a:cubicBezTo>
                      <a:pt x="4796" y="1077"/>
                      <a:pt x="4826" y="1077"/>
                      <a:pt x="4855" y="1077"/>
                    </a:cubicBezTo>
                    <a:cubicBezTo>
                      <a:pt x="4858" y="1077"/>
                      <a:pt x="4862" y="1077"/>
                      <a:pt x="4865" y="1077"/>
                    </a:cubicBezTo>
                    <a:cubicBezTo>
                      <a:pt x="4941" y="1077"/>
                      <a:pt x="5011" y="1078"/>
                      <a:pt x="5073" y="1080"/>
                    </a:cubicBezTo>
                    <a:cubicBezTo>
                      <a:pt x="5073" y="1073"/>
                      <a:pt x="5073" y="1073"/>
                      <a:pt x="5073" y="1073"/>
                    </a:cubicBezTo>
                    <a:cubicBezTo>
                      <a:pt x="5087" y="1074"/>
                      <a:pt x="5087" y="1074"/>
                      <a:pt x="5087" y="1074"/>
                    </a:cubicBezTo>
                    <a:cubicBezTo>
                      <a:pt x="5087" y="1081"/>
                      <a:pt x="5087" y="1081"/>
                      <a:pt x="5087" y="1081"/>
                    </a:cubicBezTo>
                    <a:cubicBezTo>
                      <a:pt x="5109" y="1082"/>
                      <a:pt x="5130" y="1083"/>
                      <a:pt x="5150" y="1083"/>
                    </a:cubicBezTo>
                    <a:cubicBezTo>
                      <a:pt x="5331" y="1092"/>
                      <a:pt x="5662" y="1126"/>
                      <a:pt x="5934" y="1142"/>
                    </a:cubicBezTo>
                    <a:cubicBezTo>
                      <a:pt x="5934" y="1142"/>
                      <a:pt x="5935" y="1141"/>
                      <a:pt x="5937" y="1139"/>
                    </a:cubicBezTo>
                    <a:cubicBezTo>
                      <a:pt x="5939" y="1142"/>
                      <a:pt x="5939" y="1142"/>
                      <a:pt x="5939" y="1142"/>
                    </a:cubicBezTo>
                    <a:cubicBezTo>
                      <a:pt x="6024" y="1147"/>
                      <a:pt x="6104" y="1151"/>
                      <a:pt x="6171" y="1151"/>
                    </a:cubicBezTo>
                    <a:cubicBezTo>
                      <a:pt x="6214" y="1151"/>
                      <a:pt x="6252" y="1149"/>
                      <a:pt x="6285" y="1146"/>
                    </a:cubicBezTo>
                    <a:cubicBezTo>
                      <a:pt x="6318" y="1143"/>
                      <a:pt x="6344" y="1139"/>
                      <a:pt x="6371" y="1127"/>
                    </a:cubicBezTo>
                    <a:cubicBezTo>
                      <a:pt x="6421" y="1105"/>
                      <a:pt x="6453" y="1063"/>
                      <a:pt x="6474" y="1019"/>
                    </a:cubicBezTo>
                    <a:cubicBezTo>
                      <a:pt x="6481" y="1005"/>
                      <a:pt x="6487" y="990"/>
                      <a:pt x="6493" y="975"/>
                    </a:cubicBezTo>
                    <a:cubicBezTo>
                      <a:pt x="6457" y="972"/>
                      <a:pt x="6414" y="969"/>
                      <a:pt x="6363" y="965"/>
                    </a:cubicBezTo>
                    <a:close/>
                    <a:moveTo>
                      <a:pt x="5119" y="877"/>
                    </a:moveTo>
                    <a:cubicBezTo>
                      <a:pt x="5081" y="884"/>
                      <a:pt x="4951" y="911"/>
                      <a:pt x="4806" y="938"/>
                    </a:cubicBezTo>
                    <a:cubicBezTo>
                      <a:pt x="4826" y="937"/>
                      <a:pt x="4846" y="937"/>
                      <a:pt x="4865" y="937"/>
                    </a:cubicBezTo>
                    <a:cubicBezTo>
                      <a:pt x="4976" y="937"/>
                      <a:pt x="5076" y="941"/>
                      <a:pt x="5156" y="944"/>
                    </a:cubicBezTo>
                    <a:cubicBezTo>
                      <a:pt x="5404" y="955"/>
                      <a:pt x="5902" y="1011"/>
                      <a:pt x="6170" y="1011"/>
                    </a:cubicBezTo>
                    <a:cubicBezTo>
                      <a:pt x="6171" y="1011"/>
                      <a:pt x="6171" y="1011"/>
                      <a:pt x="6171" y="1011"/>
                    </a:cubicBezTo>
                    <a:cubicBezTo>
                      <a:pt x="6211" y="1011"/>
                      <a:pt x="6245" y="1010"/>
                      <a:pt x="6271" y="1007"/>
                    </a:cubicBezTo>
                    <a:cubicBezTo>
                      <a:pt x="6284" y="1006"/>
                      <a:pt x="6295" y="1005"/>
                      <a:pt x="6303" y="1003"/>
                    </a:cubicBezTo>
                    <a:cubicBezTo>
                      <a:pt x="6306" y="1002"/>
                      <a:pt x="6310" y="1001"/>
                      <a:pt x="6312" y="1001"/>
                    </a:cubicBezTo>
                    <a:cubicBezTo>
                      <a:pt x="6313" y="1001"/>
                      <a:pt x="6313" y="1000"/>
                      <a:pt x="6314" y="1000"/>
                    </a:cubicBezTo>
                    <a:cubicBezTo>
                      <a:pt x="6314" y="1000"/>
                      <a:pt x="6314" y="1000"/>
                      <a:pt x="6314" y="1000"/>
                    </a:cubicBezTo>
                    <a:cubicBezTo>
                      <a:pt x="6315" y="1000"/>
                      <a:pt x="6315" y="1000"/>
                      <a:pt x="6315" y="1000"/>
                    </a:cubicBezTo>
                    <a:cubicBezTo>
                      <a:pt x="6322" y="997"/>
                      <a:pt x="6333" y="987"/>
                      <a:pt x="6345" y="964"/>
                    </a:cubicBezTo>
                    <a:cubicBezTo>
                      <a:pt x="5956" y="937"/>
                      <a:pt x="5216" y="884"/>
                      <a:pt x="5119" y="877"/>
                    </a:cubicBezTo>
                    <a:close/>
                    <a:moveTo>
                      <a:pt x="5387" y="551"/>
                    </a:moveTo>
                    <a:cubicBezTo>
                      <a:pt x="5312" y="545"/>
                      <a:pt x="5312" y="545"/>
                      <a:pt x="5312" y="545"/>
                    </a:cubicBezTo>
                    <a:cubicBezTo>
                      <a:pt x="5303" y="674"/>
                      <a:pt x="5303" y="674"/>
                      <a:pt x="5303" y="674"/>
                    </a:cubicBezTo>
                    <a:cubicBezTo>
                      <a:pt x="5386" y="681"/>
                      <a:pt x="5386" y="681"/>
                      <a:pt x="5386" y="681"/>
                    </a:cubicBezTo>
                    <a:lnTo>
                      <a:pt x="5387" y="551"/>
                    </a:lnTo>
                    <a:close/>
                    <a:moveTo>
                      <a:pt x="6172" y="762"/>
                    </a:moveTo>
                    <a:cubicBezTo>
                      <a:pt x="6169" y="799"/>
                      <a:pt x="6169" y="799"/>
                      <a:pt x="6169" y="799"/>
                    </a:cubicBezTo>
                    <a:cubicBezTo>
                      <a:pt x="6215" y="802"/>
                      <a:pt x="6259" y="805"/>
                      <a:pt x="6300" y="808"/>
                    </a:cubicBezTo>
                    <a:cubicBezTo>
                      <a:pt x="6302" y="801"/>
                      <a:pt x="6302" y="801"/>
                      <a:pt x="6302" y="801"/>
                    </a:cubicBezTo>
                    <a:cubicBezTo>
                      <a:pt x="6301" y="806"/>
                      <a:pt x="6301" y="806"/>
                      <a:pt x="6301" y="806"/>
                    </a:cubicBezTo>
                    <a:cubicBezTo>
                      <a:pt x="6301" y="806"/>
                      <a:pt x="6301" y="806"/>
                      <a:pt x="6301" y="806"/>
                    </a:cubicBezTo>
                    <a:cubicBezTo>
                      <a:pt x="6297" y="802"/>
                      <a:pt x="6297" y="802"/>
                      <a:pt x="6297" y="802"/>
                    </a:cubicBezTo>
                    <a:cubicBezTo>
                      <a:pt x="6298" y="802"/>
                      <a:pt x="6298" y="802"/>
                      <a:pt x="6298" y="802"/>
                    </a:cubicBezTo>
                    <a:cubicBezTo>
                      <a:pt x="6297" y="802"/>
                      <a:pt x="6297" y="802"/>
                      <a:pt x="6297" y="802"/>
                    </a:cubicBezTo>
                    <a:cubicBezTo>
                      <a:pt x="6301" y="795"/>
                      <a:pt x="6309" y="747"/>
                      <a:pt x="6313" y="703"/>
                    </a:cubicBezTo>
                    <a:cubicBezTo>
                      <a:pt x="6317" y="667"/>
                      <a:pt x="6320" y="633"/>
                      <a:pt x="6321" y="621"/>
                    </a:cubicBezTo>
                    <a:cubicBezTo>
                      <a:pt x="6192" y="551"/>
                      <a:pt x="6192" y="551"/>
                      <a:pt x="6192" y="551"/>
                    </a:cubicBezTo>
                    <a:cubicBezTo>
                      <a:pt x="6187" y="605"/>
                      <a:pt x="6187" y="605"/>
                      <a:pt x="6187" y="605"/>
                    </a:cubicBezTo>
                    <a:cubicBezTo>
                      <a:pt x="6257" y="611"/>
                      <a:pt x="6257" y="611"/>
                      <a:pt x="6257" y="611"/>
                    </a:cubicBezTo>
                    <a:cubicBezTo>
                      <a:pt x="6247" y="768"/>
                      <a:pt x="6247" y="768"/>
                      <a:pt x="6247" y="768"/>
                    </a:cubicBezTo>
                    <a:cubicBezTo>
                      <a:pt x="6240" y="768"/>
                      <a:pt x="6240" y="768"/>
                      <a:pt x="6240" y="768"/>
                    </a:cubicBezTo>
                    <a:lnTo>
                      <a:pt x="6172" y="762"/>
                    </a:lnTo>
                    <a:close/>
                    <a:moveTo>
                      <a:pt x="6235" y="754"/>
                    </a:moveTo>
                    <a:cubicBezTo>
                      <a:pt x="6244" y="623"/>
                      <a:pt x="6244" y="623"/>
                      <a:pt x="6244" y="623"/>
                    </a:cubicBezTo>
                    <a:cubicBezTo>
                      <a:pt x="6186" y="618"/>
                      <a:pt x="6186" y="618"/>
                      <a:pt x="6186" y="618"/>
                    </a:cubicBezTo>
                    <a:cubicBezTo>
                      <a:pt x="6173" y="749"/>
                      <a:pt x="6173" y="749"/>
                      <a:pt x="6173" y="749"/>
                    </a:cubicBezTo>
                    <a:lnTo>
                      <a:pt x="6235" y="754"/>
                    </a:lnTo>
                    <a:close/>
                    <a:moveTo>
                      <a:pt x="6172" y="617"/>
                    </a:moveTo>
                    <a:cubicBezTo>
                      <a:pt x="5934" y="597"/>
                      <a:pt x="5934" y="597"/>
                      <a:pt x="5934" y="597"/>
                    </a:cubicBezTo>
                    <a:cubicBezTo>
                      <a:pt x="5944" y="639"/>
                      <a:pt x="5957" y="690"/>
                      <a:pt x="5966" y="731"/>
                    </a:cubicBezTo>
                    <a:cubicBezTo>
                      <a:pt x="6159" y="748"/>
                      <a:pt x="6159" y="748"/>
                      <a:pt x="6159" y="748"/>
                    </a:cubicBezTo>
                    <a:lnTo>
                      <a:pt x="6172" y="617"/>
                    </a:lnTo>
                    <a:close/>
                    <a:moveTo>
                      <a:pt x="5968" y="744"/>
                    </a:moveTo>
                    <a:cubicBezTo>
                      <a:pt x="5972" y="762"/>
                      <a:pt x="5974" y="776"/>
                      <a:pt x="5975" y="785"/>
                    </a:cubicBezTo>
                    <a:cubicBezTo>
                      <a:pt x="6037" y="789"/>
                      <a:pt x="6097" y="794"/>
                      <a:pt x="6155" y="798"/>
                    </a:cubicBezTo>
                    <a:cubicBezTo>
                      <a:pt x="6158" y="761"/>
                      <a:pt x="6158" y="761"/>
                      <a:pt x="6158" y="761"/>
                    </a:cubicBezTo>
                    <a:lnTo>
                      <a:pt x="5968" y="744"/>
                    </a:lnTo>
                    <a:close/>
                    <a:moveTo>
                      <a:pt x="5954" y="743"/>
                    </a:moveTo>
                    <a:cubicBezTo>
                      <a:pt x="5826" y="732"/>
                      <a:pt x="5826" y="732"/>
                      <a:pt x="5826" y="732"/>
                    </a:cubicBezTo>
                    <a:cubicBezTo>
                      <a:pt x="5831" y="775"/>
                      <a:pt x="5831" y="775"/>
                      <a:pt x="5831" y="775"/>
                    </a:cubicBezTo>
                    <a:cubicBezTo>
                      <a:pt x="5833" y="775"/>
                      <a:pt x="5836" y="775"/>
                      <a:pt x="5838" y="775"/>
                    </a:cubicBezTo>
                    <a:cubicBezTo>
                      <a:pt x="5879" y="778"/>
                      <a:pt x="5920" y="781"/>
                      <a:pt x="5961" y="784"/>
                    </a:cubicBezTo>
                    <a:cubicBezTo>
                      <a:pt x="5960" y="775"/>
                      <a:pt x="5957" y="761"/>
                      <a:pt x="5954" y="743"/>
                    </a:cubicBezTo>
                    <a:close/>
                    <a:moveTo>
                      <a:pt x="5932" y="648"/>
                    </a:moveTo>
                    <a:cubicBezTo>
                      <a:pt x="5928" y="630"/>
                      <a:pt x="5923" y="612"/>
                      <a:pt x="5919" y="596"/>
                    </a:cubicBezTo>
                    <a:cubicBezTo>
                      <a:pt x="5809" y="586"/>
                      <a:pt x="5809" y="586"/>
                      <a:pt x="5809" y="586"/>
                    </a:cubicBezTo>
                    <a:cubicBezTo>
                      <a:pt x="5825" y="719"/>
                      <a:pt x="5825" y="719"/>
                      <a:pt x="5825" y="719"/>
                    </a:cubicBezTo>
                    <a:cubicBezTo>
                      <a:pt x="5951" y="730"/>
                      <a:pt x="5951" y="730"/>
                      <a:pt x="5951" y="730"/>
                    </a:cubicBezTo>
                    <a:cubicBezTo>
                      <a:pt x="5946" y="705"/>
                      <a:pt x="5939" y="676"/>
                      <a:pt x="5932" y="648"/>
                    </a:cubicBezTo>
                    <a:close/>
                    <a:moveTo>
                      <a:pt x="5812" y="731"/>
                    </a:moveTo>
                    <a:cubicBezTo>
                      <a:pt x="5605" y="713"/>
                      <a:pt x="5605" y="713"/>
                      <a:pt x="5605" y="713"/>
                    </a:cubicBezTo>
                    <a:cubicBezTo>
                      <a:pt x="5605" y="759"/>
                      <a:pt x="5605" y="759"/>
                      <a:pt x="5605" y="759"/>
                    </a:cubicBezTo>
                    <a:cubicBezTo>
                      <a:pt x="5673" y="763"/>
                      <a:pt x="5745" y="769"/>
                      <a:pt x="5817" y="774"/>
                    </a:cubicBezTo>
                    <a:lnTo>
                      <a:pt x="5812" y="731"/>
                    </a:lnTo>
                    <a:close/>
                    <a:moveTo>
                      <a:pt x="5795" y="585"/>
                    </a:moveTo>
                    <a:cubicBezTo>
                      <a:pt x="5603" y="569"/>
                      <a:pt x="5603" y="569"/>
                      <a:pt x="5603" y="569"/>
                    </a:cubicBezTo>
                    <a:cubicBezTo>
                      <a:pt x="5604" y="700"/>
                      <a:pt x="5604" y="700"/>
                      <a:pt x="5604" y="700"/>
                    </a:cubicBezTo>
                    <a:cubicBezTo>
                      <a:pt x="5810" y="718"/>
                      <a:pt x="5810" y="718"/>
                      <a:pt x="5810" y="718"/>
                    </a:cubicBezTo>
                    <a:lnTo>
                      <a:pt x="5795" y="585"/>
                    </a:lnTo>
                    <a:close/>
                    <a:moveTo>
                      <a:pt x="4820" y="780"/>
                    </a:moveTo>
                    <a:cubicBezTo>
                      <a:pt x="4818" y="766"/>
                      <a:pt x="4814" y="738"/>
                      <a:pt x="4808" y="702"/>
                    </a:cubicBezTo>
                    <a:cubicBezTo>
                      <a:pt x="4703" y="717"/>
                      <a:pt x="4703" y="717"/>
                      <a:pt x="4703" y="717"/>
                    </a:cubicBezTo>
                    <a:cubicBezTo>
                      <a:pt x="4717" y="799"/>
                      <a:pt x="4717" y="799"/>
                      <a:pt x="4717" y="799"/>
                    </a:cubicBezTo>
                    <a:cubicBezTo>
                      <a:pt x="4752" y="793"/>
                      <a:pt x="4786" y="786"/>
                      <a:pt x="4820" y="780"/>
                    </a:cubicBezTo>
                    <a:close/>
                    <a:moveTo>
                      <a:pt x="4834" y="777"/>
                    </a:moveTo>
                    <a:cubicBezTo>
                      <a:pt x="4835" y="777"/>
                      <a:pt x="4836" y="777"/>
                      <a:pt x="4837" y="777"/>
                    </a:cubicBezTo>
                    <a:cubicBezTo>
                      <a:pt x="4877" y="769"/>
                      <a:pt x="4915" y="762"/>
                      <a:pt x="4949" y="755"/>
                    </a:cubicBezTo>
                    <a:cubicBezTo>
                      <a:pt x="4938" y="684"/>
                      <a:pt x="4938" y="684"/>
                      <a:pt x="4938" y="684"/>
                    </a:cubicBezTo>
                    <a:cubicBezTo>
                      <a:pt x="4822" y="700"/>
                      <a:pt x="4822" y="700"/>
                      <a:pt x="4822" y="700"/>
                    </a:cubicBezTo>
                    <a:cubicBezTo>
                      <a:pt x="4828" y="736"/>
                      <a:pt x="4832" y="763"/>
                      <a:pt x="4834" y="777"/>
                    </a:cubicBezTo>
                    <a:close/>
                    <a:moveTo>
                      <a:pt x="4949" y="669"/>
                    </a:moveTo>
                    <a:cubicBezTo>
                      <a:pt x="5055" y="654"/>
                      <a:pt x="5055" y="654"/>
                      <a:pt x="5055" y="654"/>
                    </a:cubicBezTo>
                    <a:cubicBezTo>
                      <a:pt x="5034" y="524"/>
                      <a:pt x="5034" y="524"/>
                      <a:pt x="5034" y="524"/>
                    </a:cubicBezTo>
                    <a:cubicBezTo>
                      <a:pt x="4928" y="539"/>
                      <a:pt x="4928" y="539"/>
                      <a:pt x="4928" y="539"/>
                    </a:cubicBezTo>
                    <a:lnTo>
                      <a:pt x="4949" y="669"/>
                    </a:lnTo>
                    <a:close/>
                    <a:moveTo>
                      <a:pt x="4914" y="541"/>
                    </a:moveTo>
                    <a:cubicBezTo>
                      <a:pt x="4801" y="558"/>
                      <a:pt x="4801" y="558"/>
                      <a:pt x="4801" y="558"/>
                    </a:cubicBezTo>
                    <a:cubicBezTo>
                      <a:pt x="4808" y="603"/>
                      <a:pt x="4815" y="648"/>
                      <a:pt x="4820" y="687"/>
                    </a:cubicBezTo>
                    <a:cubicBezTo>
                      <a:pt x="4936" y="671"/>
                      <a:pt x="4936" y="671"/>
                      <a:pt x="4936" y="671"/>
                    </a:cubicBezTo>
                    <a:lnTo>
                      <a:pt x="4914" y="541"/>
                    </a:lnTo>
                    <a:close/>
                    <a:moveTo>
                      <a:pt x="4787" y="562"/>
                    </a:moveTo>
                    <a:cubicBezTo>
                      <a:pt x="4787" y="561"/>
                      <a:pt x="4787" y="560"/>
                      <a:pt x="4787" y="559"/>
                    </a:cubicBezTo>
                    <a:cubicBezTo>
                      <a:pt x="4680" y="575"/>
                      <a:pt x="4680" y="575"/>
                      <a:pt x="4680" y="575"/>
                    </a:cubicBezTo>
                    <a:cubicBezTo>
                      <a:pt x="4701" y="704"/>
                      <a:pt x="4701" y="704"/>
                      <a:pt x="4701" y="704"/>
                    </a:cubicBezTo>
                    <a:cubicBezTo>
                      <a:pt x="4807" y="689"/>
                      <a:pt x="4807" y="689"/>
                      <a:pt x="4807" y="689"/>
                    </a:cubicBezTo>
                    <a:cubicBezTo>
                      <a:pt x="4801" y="651"/>
                      <a:pt x="4794" y="607"/>
                      <a:pt x="4787" y="562"/>
                    </a:cubicBezTo>
                    <a:close/>
                    <a:moveTo>
                      <a:pt x="4471" y="834"/>
                    </a:moveTo>
                    <a:cubicBezTo>
                      <a:pt x="4457" y="837"/>
                      <a:pt x="4457" y="837"/>
                      <a:pt x="4457" y="837"/>
                    </a:cubicBezTo>
                    <a:cubicBezTo>
                      <a:pt x="4524" y="830"/>
                      <a:pt x="4612" y="816"/>
                      <a:pt x="4703" y="801"/>
                    </a:cubicBezTo>
                    <a:cubicBezTo>
                      <a:pt x="4689" y="719"/>
                      <a:pt x="4689" y="719"/>
                      <a:pt x="4689" y="719"/>
                    </a:cubicBezTo>
                    <a:cubicBezTo>
                      <a:pt x="4453" y="752"/>
                      <a:pt x="4453" y="752"/>
                      <a:pt x="4453" y="752"/>
                    </a:cubicBezTo>
                    <a:lnTo>
                      <a:pt x="4471" y="834"/>
                    </a:lnTo>
                    <a:close/>
                    <a:moveTo>
                      <a:pt x="4667" y="576"/>
                    </a:moveTo>
                    <a:cubicBezTo>
                      <a:pt x="4423" y="611"/>
                      <a:pt x="4423" y="611"/>
                      <a:pt x="4423" y="611"/>
                    </a:cubicBezTo>
                    <a:cubicBezTo>
                      <a:pt x="4451" y="739"/>
                      <a:pt x="4451" y="739"/>
                      <a:pt x="4451" y="739"/>
                    </a:cubicBezTo>
                    <a:cubicBezTo>
                      <a:pt x="4687" y="706"/>
                      <a:pt x="4687" y="706"/>
                      <a:pt x="4687" y="706"/>
                    </a:cubicBezTo>
                    <a:lnTo>
                      <a:pt x="4667" y="576"/>
                    </a:lnTo>
                    <a:close/>
                    <a:moveTo>
                      <a:pt x="4437" y="754"/>
                    </a:moveTo>
                    <a:cubicBezTo>
                      <a:pt x="4340" y="768"/>
                      <a:pt x="4340" y="768"/>
                      <a:pt x="4340" y="768"/>
                    </a:cubicBezTo>
                    <a:cubicBezTo>
                      <a:pt x="4355" y="842"/>
                      <a:pt x="4355" y="842"/>
                      <a:pt x="4355" y="842"/>
                    </a:cubicBezTo>
                    <a:cubicBezTo>
                      <a:pt x="4378" y="842"/>
                      <a:pt x="4401" y="842"/>
                      <a:pt x="4426" y="840"/>
                    </a:cubicBezTo>
                    <a:cubicBezTo>
                      <a:pt x="4435" y="839"/>
                      <a:pt x="4445" y="838"/>
                      <a:pt x="4455" y="837"/>
                    </a:cubicBezTo>
                    <a:lnTo>
                      <a:pt x="4437" y="754"/>
                    </a:lnTo>
                    <a:close/>
                    <a:moveTo>
                      <a:pt x="6433" y="682"/>
                    </a:moveTo>
                    <a:cubicBezTo>
                      <a:pt x="6334" y="628"/>
                      <a:pt x="6334" y="628"/>
                      <a:pt x="6334" y="628"/>
                    </a:cubicBezTo>
                    <a:cubicBezTo>
                      <a:pt x="6333" y="645"/>
                      <a:pt x="6330" y="679"/>
                      <a:pt x="6326" y="713"/>
                    </a:cubicBezTo>
                    <a:cubicBezTo>
                      <a:pt x="6323" y="737"/>
                      <a:pt x="6320" y="761"/>
                      <a:pt x="6317" y="779"/>
                    </a:cubicBezTo>
                    <a:cubicBezTo>
                      <a:pt x="6315" y="788"/>
                      <a:pt x="6314" y="796"/>
                      <a:pt x="6312" y="801"/>
                    </a:cubicBezTo>
                    <a:cubicBezTo>
                      <a:pt x="6311" y="804"/>
                      <a:pt x="6310" y="807"/>
                      <a:pt x="6309" y="809"/>
                    </a:cubicBezTo>
                    <a:cubicBezTo>
                      <a:pt x="6339" y="811"/>
                      <a:pt x="6368" y="813"/>
                      <a:pt x="6395" y="815"/>
                    </a:cubicBezTo>
                    <a:cubicBezTo>
                      <a:pt x="6399" y="799"/>
                      <a:pt x="6403" y="783"/>
                      <a:pt x="6408" y="766"/>
                    </a:cubicBezTo>
                    <a:cubicBezTo>
                      <a:pt x="6415" y="739"/>
                      <a:pt x="6424" y="711"/>
                      <a:pt x="6433" y="682"/>
                    </a:cubicBezTo>
                    <a:close/>
                    <a:moveTo>
                      <a:pt x="6193" y="536"/>
                    </a:moveTo>
                    <a:cubicBezTo>
                      <a:pt x="6438" y="669"/>
                      <a:pt x="6438" y="669"/>
                      <a:pt x="6438" y="669"/>
                    </a:cubicBezTo>
                    <a:cubicBezTo>
                      <a:pt x="6452" y="629"/>
                      <a:pt x="6471" y="589"/>
                      <a:pt x="6495" y="551"/>
                    </a:cubicBezTo>
                    <a:cubicBezTo>
                      <a:pt x="6400" y="481"/>
                      <a:pt x="6400" y="481"/>
                      <a:pt x="6400" y="481"/>
                    </a:cubicBezTo>
                    <a:cubicBezTo>
                      <a:pt x="6386" y="551"/>
                      <a:pt x="6386" y="551"/>
                      <a:pt x="6386" y="551"/>
                    </a:cubicBezTo>
                    <a:cubicBezTo>
                      <a:pt x="6380" y="549"/>
                      <a:pt x="6380" y="549"/>
                      <a:pt x="6380" y="549"/>
                    </a:cubicBezTo>
                    <a:cubicBezTo>
                      <a:pt x="6238" y="522"/>
                      <a:pt x="6238" y="522"/>
                      <a:pt x="6238" y="522"/>
                    </a:cubicBezTo>
                    <a:cubicBezTo>
                      <a:pt x="6252" y="448"/>
                      <a:pt x="6252" y="448"/>
                      <a:pt x="6252" y="448"/>
                    </a:cubicBezTo>
                    <a:cubicBezTo>
                      <a:pt x="6391" y="474"/>
                      <a:pt x="6391" y="474"/>
                      <a:pt x="6391" y="474"/>
                    </a:cubicBezTo>
                    <a:cubicBezTo>
                      <a:pt x="6257" y="376"/>
                      <a:pt x="6257" y="376"/>
                      <a:pt x="6257" y="376"/>
                    </a:cubicBezTo>
                    <a:cubicBezTo>
                      <a:pt x="6202" y="438"/>
                      <a:pt x="6202" y="438"/>
                      <a:pt x="6202" y="438"/>
                    </a:cubicBezTo>
                    <a:lnTo>
                      <a:pt x="6193" y="536"/>
                    </a:lnTo>
                    <a:close/>
                    <a:moveTo>
                      <a:pt x="6262" y="463"/>
                    </a:moveTo>
                    <a:cubicBezTo>
                      <a:pt x="6253" y="512"/>
                      <a:pt x="6253" y="512"/>
                      <a:pt x="6253" y="512"/>
                    </a:cubicBezTo>
                    <a:cubicBezTo>
                      <a:pt x="6376" y="535"/>
                      <a:pt x="6376" y="535"/>
                      <a:pt x="6376" y="535"/>
                    </a:cubicBezTo>
                    <a:cubicBezTo>
                      <a:pt x="6385" y="487"/>
                      <a:pt x="6385" y="487"/>
                      <a:pt x="6385" y="487"/>
                    </a:cubicBezTo>
                    <a:lnTo>
                      <a:pt x="6262" y="463"/>
                    </a:lnTo>
                    <a:close/>
                    <a:moveTo>
                      <a:pt x="5916" y="527"/>
                    </a:moveTo>
                    <a:cubicBezTo>
                      <a:pt x="5918" y="533"/>
                      <a:pt x="5924" y="555"/>
                      <a:pt x="5931" y="583"/>
                    </a:cubicBezTo>
                    <a:cubicBezTo>
                      <a:pt x="6173" y="604"/>
                      <a:pt x="6173" y="604"/>
                      <a:pt x="6173" y="604"/>
                    </a:cubicBezTo>
                    <a:cubicBezTo>
                      <a:pt x="6189" y="432"/>
                      <a:pt x="6189" y="432"/>
                      <a:pt x="6189" y="432"/>
                    </a:cubicBezTo>
                    <a:cubicBezTo>
                      <a:pt x="6195" y="426"/>
                      <a:pt x="6195" y="426"/>
                      <a:pt x="6195" y="426"/>
                    </a:cubicBezTo>
                    <a:cubicBezTo>
                      <a:pt x="6196" y="423"/>
                      <a:pt x="6196" y="423"/>
                      <a:pt x="6196" y="423"/>
                    </a:cubicBezTo>
                    <a:cubicBezTo>
                      <a:pt x="6196" y="423"/>
                      <a:pt x="6196" y="423"/>
                      <a:pt x="6196" y="423"/>
                    </a:cubicBezTo>
                    <a:cubicBezTo>
                      <a:pt x="6191" y="427"/>
                      <a:pt x="6191" y="427"/>
                      <a:pt x="6191" y="427"/>
                    </a:cubicBezTo>
                    <a:cubicBezTo>
                      <a:pt x="6190" y="427"/>
                      <a:pt x="6190" y="427"/>
                      <a:pt x="6190" y="427"/>
                    </a:cubicBezTo>
                    <a:cubicBezTo>
                      <a:pt x="6190" y="427"/>
                      <a:pt x="6190" y="427"/>
                      <a:pt x="6190" y="427"/>
                    </a:cubicBezTo>
                    <a:cubicBezTo>
                      <a:pt x="6185" y="421"/>
                      <a:pt x="6137" y="382"/>
                      <a:pt x="6092" y="344"/>
                    </a:cubicBezTo>
                    <a:cubicBezTo>
                      <a:pt x="6053" y="312"/>
                      <a:pt x="6015" y="280"/>
                      <a:pt x="6002" y="269"/>
                    </a:cubicBezTo>
                    <a:cubicBezTo>
                      <a:pt x="5962" y="309"/>
                      <a:pt x="5962" y="309"/>
                      <a:pt x="5962" y="309"/>
                    </a:cubicBezTo>
                    <a:lnTo>
                      <a:pt x="5916" y="527"/>
                    </a:lnTo>
                    <a:close/>
                    <a:moveTo>
                      <a:pt x="5829" y="241"/>
                    </a:moveTo>
                    <a:cubicBezTo>
                      <a:pt x="5793" y="454"/>
                      <a:pt x="5793" y="454"/>
                      <a:pt x="5793" y="454"/>
                    </a:cubicBezTo>
                    <a:cubicBezTo>
                      <a:pt x="5807" y="573"/>
                      <a:pt x="5807" y="573"/>
                      <a:pt x="5807" y="573"/>
                    </a:cubicBezTo>
                    <a:cubicBezTo>
                      <a:pt x="5916" y="582"/>
                      <a:pt x="5916" y="582"/>
                      <a:pt x="5916" y="582"/>
                    </a:cubicBezTo>
                    <a:cubicBezTo>
                      <a:pt x="5908" y="551"/>
                      <a:pt x="5903" y="529"/>
                      <a:pt x="5903" y="529"/>
                    </a:cubicBezTo>
                    <a:cubicBezTo>
                      <a:pt x="5902" y="528"/>
                      <a:pt x="5902" y="528"/>
                      <a:pt x="5902" y="528"/>
                    </a:cubicBezTo>
                    <a:cubicBezTo>
                      <a:pt x="5948" y="309"/>
                      <a:pt x="5948" y="309"/>
                      <a:pt x="5948" y="309"/>
                    </a:cubicBezTo>
                    <a:lnTo>
                      <a:pt x="5829" y="241"/>
                    </a:lnTo>
                    <a:close/>
                    <a:moveTo>
                      <a:pt x="5599" y="173"/>
                    </a:moveTo>
                    <a:cubicBezTo>
                      <a:pt x="5603" y="556"/>
                      <a:pt x="5603" y="556"/>
                      <a:pt x="5603" y="556"/>
                    </a:cubicBezTo>
                    <a:cubicBezTo>
                      <a:pt x="5793" y="572"/>
                      <a:pt x="5793" y="572"/>
                      <a:pt x="5793" y="572"/>
                    </a:cubicBezTo>
                    <a:cubicBezTo>
                      <a:pt x="5779" y="453"/>
                      <a:pt x="5779" y="453"/>
                      <a:pt x="5779" y="453"/>
                    </a:cubicBezTo>
                    <a:cubicBezTo>
                      <a:pt x="5816" y="233"/>
                      <a:pt x="5816" y="233"/>
                      <a:pt x="5816" y="233"/>
                    </a:cubicBezTo>
                    <a:cubicBezTo>
                      <a:pt x="5741" y="190"/>
                      <a:pt x="5741" y="190"/>
                      <a:pt x="5741" y="190"/>
                    </a:cubicBezTo>
                    <a:cubicBezTo>
                      <a:pt x="5740" y="192"/>
                      <a:pt x="5740" y="192"/>
                      <a:pt x="5740" y="192"/>
                    </a:cubicBezTo>
                    <a:cubicBezTo>
                      <a:pt x="5676" y="181"/>
                      <a:pt x="5676" y="181"/>
                      <a:pt x="5676" y="181"/>
                    </a:cubicBezTo>
                    <a:cubicBezTo>
                      <a:pt x="5677" y="174"/>
                      <a:pt x="5677" y="174"/>
                      <a:pt x="5677" y="174"/>
                    </a:cubicBezTo>
                    <a:lnTo>
                      <a:pt x="5599" y="173"/>
                    </a:lnTo>
                    <a:close/>
                    <a:moveTo>
                      <a:pt x="5591" y="712"/>
                    </a:moveTo>
                    <a:cubicBezTo>
                      <a:pt x="5400" y="696"/>
                      <a:pt x="5400" y="696"/>
                      <a:pt x="5400" y="696"/>
                    </a:cubicBezTo>
                    <a:cubicBezTo>
                      <a:pt x="5399" y="744"/>
                      <a:pt x="5399" y="744"/>
                      <a:pt x="5399" y="744"/>
                    </a:cubicBezTo>
                    <a:cubicBezTo>
                      <a:pt x="5458" y="748"/>
                      <a:pt x="5523" y="753"/>
                      <a:pt x="5591" y="758"/>
                    </a:cubicBezTo>
                    <a:lnTo>
                      <a:pt x="5591" y="712"/>
                    </a:lnTo>
                    <a:close/>
                    <a:moveTo>
                      <a:pt x="5589" y="568"/>
                    </a:moveTo>
                    <a:cubicBezTo>
                      <a:pt x="5401" y="552"/>
                      <a:pt x="5401" y="552"/>
                      <a:pt x="5401" y="552"/>
                    </a:cubicBezTo>
                    <a:cubicBezTo>
                      <a:pt x="5400" y="683"/>
                      <a:pt x="5400" y="683"/>
                      <a:pt x="5400" y="683"/>
                    </a:cubicBezTo>
                    <a:cubicBezTo>
                      <a:pt x="5590" y="699"/>
                      <a:pt x="5590" y="699"/>
                      <a:pt x="5590" y="699"/>
                    </a:cubicBezTo>
                    <a:lnTo>
                      <a:pt x="5589" y="568"/>
                    </a:lnTo>
                    <a:close/>
                    <a:moveTo>
                      <a:pt x="5181" y="216"/>
                    </a:moveTo>
                    <a:cubicBezTo>
                      <a:pt x="5183" y="221"/>
                      <a:pt x="5183" y="221"/>
                      <a:pt x="5183" y="221"/>
                    </a:cubicBezTo>
                    <a:cubicBezTo>
                      <a:pt x="5243" y="733"/>
                      <a:pt x="5243" y="733"/>
                      <a:pt x="5243" y="733"/>
                    </a:cubicBezTo>
                    <a:cubicBezTo>
                      <a:pt x="5283" y="735"/>
                      <a:pt x="5331" y="739"/>
                      <a:pt x="5385" y="743"/>
                    </a:cubicBezTo>
                    <a:cubicBezTo>
                      <a:pt x="5386" y="695"/>
                      <a:pt x="5386" y="695"/>
                      <a:pt x="5386" y="695"/>
                    </a:cubicBezTo>
                    <a:cubicBezTo>
                      <a:pt x="5289" y="686"/>
                      <a:pt x="5289" y="686"/>
                      <a:pt x="5289" y="686"/>
                    </a:cubicBezTo>
                    <a:cubicBezTo>
                      <a:pt x="5300" y="530"/>
                      <a:pt x="5300" y="530"/>
                      <a:pt x="5300" y="530"/>
                    </a:cubicBezTo>
                    <a:cubicBezTo>
                      <a:pt x="5387" y="538"/>
                      <a:pt x="5387" y="538"/>
                      <a:pt x="5387" y="538"/>
                    </a:cubicBezTo>
                    <a:cubicBezTo>
                      <a:pt x="5391" y="176"/>
                      <a:pt x="5391" y="176"/>
                      <a:pt x="5391" y="176"/>
                    </a:cubicBezTo>
                    <a:cubicBezTo>
                      <a:pt x="5405" y="176"/>
                      <a:pt x="5405" y="176"/>
                      <a:pt x="5405" y="176"/>
                    </a:cubicBezTo>
                    <a:cubicBezTo>
                      <a:pt x="5401" y="539"/>
                      <a:pt x="5401" y="539"/>
                      <a:pt x="5401" y="539"/>
                    </a:cubicBezTo>
                    <a:cubicBezTo>
                      <a:pt x="5589" y="555"/>
                      <a:pt x="5589" y="555"/>
                      <a:pt x="5589" y="555"/>
                    </a:cubicBezTo>
                    <a:cubicBezTo>
                      <a:pt x="5585" y="172"/>
                      <a:pt x="5585" y="172"/>
                      <a:pt x="5585" y="172"/>
                    </a:cubicBezTo>
                    <a:cubicBezTo>
                      <a:pt x="5258" y="168"/>
                      <a:pt x="5258" y="168"/>
                      <a:pt x="5258" y="168"/>
                    </a:cubicBezTo>
                    <a:lnTo>
                      <a:pt x="5181" y="216"/>
                    </a:lnTo>
                    <a:close/>
                    <a:moveTo>
                      <a:pt x="5032" y="309"/>
                    </a:moveTo>
                    <a:cubicBezTo>
                      <a:pt x="5042" y="308"/>
                      <a:pt x="5042" y="308"/>
                      <a:pt x="5042" y="308"/>
                    </a:cubicBezTo>
                    <a:cubicBezTo>
                      <a:pt x="5105" y="724"/>
                      <a:pt x="5105" y="724"/>
                      <a:pt x="5105" y="724"/>
                    </a:cubicBezTo>
                    <a:cubicBezTo>
                      <a:pt x="5109" y="723"/>
                      <a:pt x="5109" y="723"/>
                      <a:pt x="5109" y="723"/>
                    </a:cubicBezTo>
                    <a:cubicBezTo>
                      <a:pt x="5119" y="724"/>
                      <a:pt x="5119" y="724"/>
                      <a:pt x="5119" y="724"/>
                    </a:cubicBezTo>
                    <a:cubicBezTo>
                      <a:pt x="5120" y="724"/>
                      <a:pt x="5161" y="727"/>
                      <a:pt x="5229" y="732"/>
                    </a:cubicBezTo>
                    <a:cubicBezTo>
                      <a:pt x="5170" y="224"/>
                      <a:pt x="5170" y="224"/>
                      <a:pt x="5170" y="224"/>
                    </a:cubicBezTo>
                    <a:cubicBezTo>
                      <a:pt x="5169" y="224"/>
                      <a:pt x="5169" y="224"/>
                      <a:pt x="5169" y="224"/>
                    </a:cubicBezTo>
                    <a:lnTo>
                      <a:pt x="5032" y="309"/>
                    </a:lnTo>
                    <a:close/>
                    <a:moveTo>
                      <a:pt x="4904" y="389"/>
                    </a:moveTo>
                    <a:cubicBezTo>
                      <a:pt x="4926" y="527"/>
                      <a:pt x="4926" y="527"/>
                      <a:pt x="4926" y="527"/>
                    </a:cubicBezTo>
                    <a:cubicBezTo>
                      <a:pt x="5045" y="510"/>
                      <a:pt x="5045" y="510"/>
                      <a:pt x="5045" y="510"/>
                    </a:cubicBezTo>
                    <a:cubicBezTo>
                      <a:pt x="5070" y="665"/>
                      <a:pt x="5070" y="665"/>
                      <a:pt x="5070" y="665"/>
                    </a:cubicBezTo>
                    <a:cubicBezTo>
                      <a:pt x="5063" y="666"/>
                      <a:pt x="5063" y="666"/>
                      <a:pt x="5063" y="666"/>
                    </a:cubicBezTo>
                    <a:cubicBezTo>
                      <a:pt x="4951" y="682"/>
                      <a:pt x="4951" y="682"/>
                      <a:pt x="4951" y="682"/>
                    </a:cubicBezTo>
                    <a:cubicBezTo>
                      <a:pt x="4963" y="753"/>
                      <a:pt x="4963" y="753"/>
                      <a:pt x="4963" y="753"/>
                    </a:cubicBezTo>
                    <a:cubicBezTo>
                      <a:pt x="5027" y="740"/>
                      <a:pt x="5075" y="730"/>
                      <a:pt x="5091" y="727"/>
                    </a:cubicBezTo>
                    <a:cubicBezTo>
                      <a:pt x="5028" y="312"/>
                      <a:pt x="5028" y="312"/>
                      <a:pt x="5028" y="312"/>
                    </a:cubicBezTo>
                    <a:lnTo>
                      <a:pt x="4904" y="389"/>
                    </a:lnTo>
                    <a:close/>
                    <a:moveTo>
                      <a:pt x="4765" y="345"/>
                    </a:moveTo>
                    <a:cubicBezTo>
                      <a:pt x="4766" y="348"/>
                      <a:pt x="4767" y="351"/>
                      <a:pt x="4768" y="356"/>
                    </a:cubicBezTo>
                    <a:cubicBezTo>
                      <a:pt x="4775" y="393"/>
                      <a:pt x="4787" y="468"/>
                      <a:pt x="4799" y="545"/>
                    </a:cubicBezTo>
                    <a:cubicBezTo>
                      <a:pt x="4912" y="528"/>
                      <a:pt x="4912" y="528"/>
                      <a:pt x="4912" y="528"/>
                    </a:cubicBezTo>
                    <a:cubicBezTo>
                      <a:pt x="4890" y="391"/>
                      <a:pt x="4890" y="391"/>
                      <a:pt x="4890" y="391"/>
                    </a:cubicBezTo>
                    <a:lnTo>
                      <a:pt x="4765" y="345"/>
                    </a:lnTo>
                    <a:close/>
                    <a:moveTo>
                      <a:pt x="4645" y="411"/>
                    </a:moveTo>
                    <a:cubicBezTo>
                      <a:pt x="4654" y="409"/>
                      <a:pt x="4654" y="409"/>
                      <a:pt x="4654" y="409"/>
                    </a:cubicBezTo>
                    <a:cubicBezTo>
                      <a:pt x="4678" y="562"/>
                      <a:pt x="4678" y="562"/>
                      <a:pt x="4678" y="562"/>
                    </a:cubicBezTo>
                    <a:cubicBezTo>
                      <a:pt x="4785" y="546"/>
                      <a:pt x="4785" y="546"/>
                      <a:pt x="4785" y="546"/>
                    </a:cubicBezTo>
                    <a:cubicBezTo>
                      <a:pt x="4777" y="495"/>
                      <a:pt x="4769" y="444"/>
                      <a:pt x="4762" y="406"/>
                    </a:cubicBezTo>
                    <a:cubicBezTo>
                      <a:pt x="4759" y="384"/>
                      <a:pt x="4755" y="367"/>
                      <a:pt x="4753" y="354"/>
                    </a:cubicBezTo>
                    <a:cubicBezTo>
                      <a:pt x="4752" y="350"/>
                      <a:pt x="4751" y="347"/>
                      <a:pt x="4751" y="344"/>
                    </a:cubicBezTo>
                    <a:lnTo>
                      <a:pt x="4645" y="411"/>
                    </a:lnTo>
                    <a:close/>
                    <a:moveTo>
                      <a:pt x="4411" y="558"/>
                    </a:moveTo>
                    <a:cubicBezTo>
                      <a:pt x="4420" y="598"/>
                      <a:pt x="4420" y="598"/>
                      <a:pt x="4420" y="598"/>
                    </a:cubicBezTo>
                    <a:cubicBezTo>
                      <a:pt x="4664" y="563"/>
                      <a:pt x="4664" y="563"/>
                      <a:pt x="4664" y="563"/>
                    </a:cubicBezTo>
                    <a:cubicBezTo>
                      <a:pt x="4640" y="414"/>
                      <a:pt x="4640" y="414"/>
                      <a:pt x="4640" y="414"/>
                    </a:cubicBezTo>
                    <a:lnTo>
                      <a:pt x="4411" y="558"/>
                    </a:lnTo>
                    <a:close/>
                    <a:moveTo>
                      <a:pt x="4406" y="613"/>
                    </a:moveTo>
                    <a:cubicBezTo>
                      <a:pt x="4311" y="627"/>
                      <a:pt x="4311" y="627"/>
                      <a:pt x="4311" y="627"/>
                    </a:cubicBezTo>
                    <a:cubicBezTo>
                      <a:pt x="4337" y="755"/>
                      <a:pt x="4337" y="755"/>
                      <a:pt x="4337" y="755"/>
                    </a:cubicBezTo>
                    <a:cubicBezTo>
                      <a:pt x="4434" y="741"/>
                      <a:pt x="4434" y="741"/>
                      <a:pt x="4434" y="741"/>
                    </a:cubicBezTo>
                    <a:lnTo>
                      <a:pt x="4406" y="613"/>
                    </a:lnTo>
                    <a:close/>
                    <a:moveTo>
                      <a:pt x="4256" y="362"/>
                    </a:moveTo>
                    <a:cubicBezTo>
                      <a:pt x="4308" y="614"/>
                      <a:pt x="4308" y="614"/>
                      <a:pt x="4308" y="614"/>
                    </a:cubicBezTo>
                    <a:cubicBezTo>
                      <a:pt x="4404" y="600"/>
                      <a:pt x="4404" y="600"/>
                      <a:pt x="4404" y="600"/>
                    </a:cubicBezTo>
                    <a:cubicBezTo>
                      <a:pt x="4341" y="311"/>
                      <a:pt x="4341" y="311"/>
                      <a:pt x="4341" y="311"/>
                    </a:cubicBezTo>
                    <a:cubicBezTo>
                      <a:pt x="4313" y="330"/>
                      <a:pt x="4283" y="348"/>
                      <a:pt x="4256" y="362"/>
                    </a:cubicBezTo>
                    <a:close/>
                    <a:moveTo>
                      <a:pt x="4140" y="421"/>
                    </a:moveTo>
                    <a:cubicBezTo>
                      <a:pt x="4187" y="631"/>
                      <a:pt x="4187" y="631"/>
                      <a:pt x="4187" y="631"/>
                    </a:cubicBezTo>
                    <a:cubicBezTo>
                      <a:pt x="4292" y="616"/>
                      <a:pt x="4292" y="616"/>
                      <a:pt x="4292" y="616"/>
                    </a:cubicBezTo>
                    <a:cubicBezTo>
                      <a:pt x="4241" y="370"/>
                      <a:pt x="4241" y="370"/>
                      <a:pt x="4241" y="370"/>
                    </a:cubicBezTo>
                    <a:cubicBezTo>
                      <a:pt x="4225" y="378"/>
                      <a:pt x="4212" y="385"/>
                      <a:pt x="4200" y="390"/>
                    </a:cubicBezTo>
                    <a:lnTo>
                      <a:pt x="4140" y="421"/>
                    </a:lnTo>
                    <a:close/>
                    <a:moveTo>
                      <a:pt x="3907" y="48"/>
                    </a:moveTo>
                    <a:cubicBezTo>
                      <a:pt x="3907" y="48"/>
                      <a:pt x="3907" y="48"/>
                      <a:pt x="3907" y="48"/>
                    </a:cubicBezTo>
                    <a:cubicBezTo>
                      <a:pt x="3907" y="48"/>
                      <a:pt x="3907" y="48"/>
                      <a:pt x="3907" y="48"/>
                    </a:cubicBezTo>
                    <a:cubicBezTo>
                      <a:pt x="3907" y="48"/>
                      <a:pt x="3907" y="48"/>
                      <a:pt x="3907" y="48"/>
                    </a:cubicBezTo>
                    <a:close/>
                    <a:moveTo>
                      <a:pt x="3903" y="54"/>
                    </a:moveTo>
                    <a:cubicBezTo>
                      <a:pt x="3903" y="54"/>
                      <a:pt x="3903" y="54"/>
                      <a:pt x="3903" y="54"/>
                    </a:cubicBezTo>
                    <a:cubicBezTo>
                      <a:pt x="3903" y="54"/>
                      <a:pt x="3903" y="54"/>
                      <a:pt x="3904" y="54"/>
                    </a:cubicBezTo>
                    <a:cubicBezTo>
                      <a:pt x="3904" y="54"/>
                      <a:pt x="3904" y="54"/>
                      <a:pt x="3904" y="53"/>
                    </a:cubicBezTo>
                    <a:cubicBezTo>
                      <a:pt x="3904" y="54"/>
                      <a:pt x="3903" y="54"/>
                      <a:pt x="3903" y="54"/>
                    </a:cubicBezTo>
                    <a:close/>
                    <a:moveTo>
                      <a:pt x="3711" y="170"/>
                    </a:moveTo>
                    <a:cubicBezTo>
                      <a:pt x="3905" y="396"/>
                      <a:pt x="3905" y="396"/>
                      <a:pt x="3905" y="396"/>
                    </a:cubicBezTo>
                    <a:cubicBezTo>
                      <a:pt x="3907" y="399"/>
                      <a:pt x="3907" y="399"/>
                      <a:pt x="3907" y="399"/>
                    </a:cubicBezTo>
                    <a:cubicBezTo>
                      <a:pt x="3909" y="402"/>
                      <a:pt x="3916" y="414"/>
                      <a:pt x="3919" y="435"/>
                    </a:cubicBezTo>
                    <a:cubicBezTo>
                      <a:pt x="3920" y="439"/>
                      <a:pt x="3920" y="443"/>
                      <a:pt x="3921" y="447"/>
                    </a:cubicBezTo>
                    <a:cubicBezTo>
                      <a:pt x="4034" y="398"/>
                      <a:pt x="4034" y="398"/>
                      <a:pt x="4034" y="398"/>
                    </a:cubicBezTo>
                    <a:cubicBezTo>
                      <a:pt x="4145" y="343"/>
                      <a:pt x="4145" y="343"/>
                      <a:pt x="4145" y="343"/>
                    </a:cubicBezTo>
                    <a:cubicBezTo>
                      <a:pt x="4144" y="340"/>
                      <a:pt x="4144" y="340"/>
                      <a:pt x="4144" y="340"/>
                    </a:cubicBezTo>
                    <a:cubicBezTo>
                      <a:pt x="4144" y="340"/>
                      <a:pt x="4144" y="340"/>
                      <a:pt x="4144" y="340"/>
                    </a:cubicBezTo>
                    <a:cubicBezTo>
                      <a:pt x="4144" y="340"/>
                      <a:pt x="4159" y="334"/>
                      <a:pt x="4182" y="323"/>
                    </a:cubicBezTo>
                    <a:cubicBezTo>
                      <a:pt x="4167" y="309"/>
                      <a:pt x="4103" y="250"/>
                      <a:pt x="4040" y="190"/>
                    </a:cubicBezTo>
                    <a:cubicBezTo>
                      <a:pt x="4003" y="156"/>
                      <a:pt x="3966" y="122"/>
                      <a:pt x="3939" y="96"/>
                    </a:cubicBezTo>
                    <a:cubicBezTo>
                      <a:pt x="3925" y="83"/>
                      <a:pt x="3914" y="73"/>
                      <a:pt x="3906" y="65"/>
                    </a:cubicBezTo>
                    <a:cubicBezTo>
                      <a:pt x="3902" y="61"/>
                      <a:pt x="3899" y="58"/>
                      <a:pt x="3897" y="56"/>
                    </a:cubicBezTo>
                    <a:cubicBezTo>
                      <a:pt x="3896" y="56"/>
                      <a:pt x="3896" y="55"/>
                      <a:pt x="3896" y="55"/>
                    </a:cubicBezTo>
                    <a:cubicBezTo>
                      <a:pt x="3887" y="54"/>
                      <a:pt x="3867" y="51"/>
                      <a:pt x="3859" y="50"/>
                    </a:cubicBezTo>
                    <a:lnTo>
                      <a:pt x="3711" y="170"/>
                    </a:lnTo>
                    <a:close/>
                    <a:moveTo>
                      <a:pt x="3648" y="204"/>
                    </a:moveTo>
                    <a:cubicBezTo>
                      <a:pt x="3558" y="248"/>
                      <a:pt x="3558" y="248"/>
                      <a:pt x="3558" y="248"/>
                    </a:cubicBezTo>
                    <a:cubicBezTo>
                      <a:pt x="3527" y="371"/>
                      <a:pt x="3527" y="371"/>
                      <a:pt x="3527" y="371"/>
                    </a:cubicBezTo>
                    <a:cubicBezTo>
                      <a:pt x="3585" y="526"/>
                      <a:pt x="3585" y="526"/>
                      <a:pt x="3585" y="526"/>
                    </a:cubicBezTo>
                    <a:cubicBezTo>
                      <a:pt x="3855" y="471"/>
                      <a:pt x="3855" y="471"/>
                      <a:pt x="3855" y="471"/>
                    </a:cubicBezTo>
                    <a:cubicBezTo>
                      <a:pt x="3854" y="463"/>
                      <a:pt x="3853" y="454"/>
                      <a:pt x="3851" y="447"/>
                    </a:cubicBezTo>
                    <a:cubicBezTo>
                      <a:pt x="3850" y="442"/>
                      <a:pt x="3849" y="438"/>
                      <a:pt x="3848" y="436"/>
                    </a:cubicBezTo>
                    <a:lnTo>
                      <a:pt x="3648" y="204"/>
                    </a:lnTo>
                    <a:close/>
                    <a:moveTo>
                      <a:pt x="3261" y="143"/>
                    </a:moveTo>
                    <a:cubicBezTo>
                      <a:pt x="3430" y="342"/>
                      <a:pt x="3430" y="342"/>
                      <a:pt x="3430" y="342"/>
                    </a:cubicBezTo>
                    <a:cubicBezTo>
                      <a:pt x="3430" y="343"/>
                      <a:pt x="3430" y="343"/>
                      <a:pt x="3430" y="343"/>
                    </a:cubicBezTo>
                    <a:cubicBezTo>
                      <a:pt x="3431" y="343"/>
                      <a:pt x="3431" y="343"/>
                      <a:pt x="3431" y="343"/>
                    </a:cubicBezTo>
                    <a:cubicBezTo>
                      <a:pt x="3512" y="362"/>
                      <a:pt x="3512" y="362"/>
                      <a:pt x="3512" y="362"/>
                    </a:cubicBezTo>
                    <a:cubicBezTo>
                      <a:pt x="3544" y="237"/>
                      <a:pt x="3544" y="237"/>
                      <a:pt x="3544" y="237"/>
                    </a:cubicBezTo>
                    <a:cubicBezTo>
                      <a:pt x="3636" y="191"/>
                      <a:pt x="3636" y="191"/>
                      <a:pt x="3636" y="191"/>
                    </a:cubicBezTo>
                    <a:cubicBezTo>
                      <a:pt x="3636" y="191"/>
                      <a:pt x="3636" y="191"/>
                      <a:pt x="3636" y="191"/>
                    </a:cubicBezTo>
                    <a:cubicBezTo>
                      <a:pt x="3637" y="191"/>
                      <a:pt x="3637" y="191"/>
                      <a:pt x="3637" y="191"/>
                    </a:cubicBezTo>
                    <a:cubicBezTo>
                      <a:pt x="3632" y="184"/>
                      <a:pt x="3615" y="161"/>
                      <a:pt x="3570" y="113"/>
                    </a:cubicBezTo>
                    <a:cubicBezTo>
                      <a:pt x="3558" y="101"/>
                      <a:pt x="3546" y="89"/>
                      <a:pt x="3534" y="76"/>
                    </a:cubicBezTo>
                    <a:cubicBezTo>
                      <a:pt x="3514" y="79"/>
                      <a:pt x="3471" y="85"/>
                      <a:pt x="3422" y="94"/>
                    </a:cubicBezTo>
                    <a:cubicBezTo>
                      <a:pt x="3365" y="106"/>
                      <a:pt x="3298" y="124"/>
                      <a:pt x="3261" y="143"/>
                    </a:cubicBezTo>
                    <a:close/>
                    <a:moveTo>
                      <a:pt x="2890" y="324"/>
                    </a:moveTo>
                    <a:cubicBezTo>
                      <a:pt x="2974" y="573"/>
                      <a:pt x="2974" y="573"/>
                      <a:pt x="2974" y="573"/>
                    </a:cubicBezTo>
                    <a:cubicBezTo>
                      <a:pt x="2974" y="573"/>
                      <a:pt x="2974" y="573"/>
                      <a:pt x="2974" y="573"/>
                    </a:cubicBezTo>
                    <a:cubicBezTo>
                      <a:pt x="2979" y="578"/>
                      <a:pt x="2979" y="578"/>
                      <a:pt x="2979" y="578"/>
                    </a:cubicBezTo>
                    <a:cubicBezTo>
                      <a:pt x="2979" y="578"/>
                      <a:pt x="3006" y="604"/>
                      <a:pt x="3045" y="643"/>
                    </a:cubicBezTo>
                    <a:cubicBezTo>
                      <a:pt x="3419" y="352"/>
                      <a:pt x="3419" y="352"/>
                      <a:pt x="3419" y="352"/>
                    </a:cubicBezTo>
                    <a:cubicBezTo>
                      <a:pt x="3248" y="151"/>
                      <a:pt x="3248" y="151"/>
                      <a:pt x="3248" y="151"/>
                    </a:cubicBezTo>
                    <a:cubicBezTo>
                      <a:pt x="3247" y="151"/>
                      <a:pt x="3246" y="152"/>
                      <a:pt x="3245" y="152"/>
                    </a:cubicBezTo>
                    <a:cubicBezTo>
                      <a:pt x="3176" y="199"/>
                      <a:pt x="3045" y="307"/>
                      <a:pt x="2890" y="324"/>
                    </a:cubicBezTo>
                    <a:close/>
                    <a:moveTo>
                      <a:pt x="2714" y="304"/>
                    </a:moveTo>
                    <a:cubicBezTo>
                      <a:pt x="2511" y="762"/>
                      <a:pt x="2511" y="762"/>
                      <a:pt x="2511" y="762"/>
                    </a:cubicBezTo>
                    <a:cubicBezTo>
                      <a:pt x="2513" y="763"/>
                      <a:pt x="2513" y="763"/>
                      <a:pt x="2513" y="763"/>
                    </a:cubicBezTo>
                    <a:cubicBezTo>
                      <a:pt x="2512" y="763"/>
                      <a:pt x="2512" y="763"/>
                      <a:pt x="2512" y="763"/>
                    </a:cubicBezTo>
                    <a:cubicBezTo>
                      <a:pt x="2562" y="776"/>
                      <a:pt x="2646" y="798"/>
                      <a:pt x="2664" y="804"/>
                    </a:cubicBezTo>
                    <a:cubicBezTo>
                      <a:pt x="2962" y="582"/>
                      <a:pt x="2962" y="582"/>
                      <a:pt x="2962" y="582"/>
                    </a:cubicBezTo>
                    <a:cubicBezTo>
                      <a:pt x="2876" y="326"/>
                      <a:pt x="2876" y="326"/>
                      <a:pt x="2876" y="326"/>
                    </a:cubicBezTo>
                    <a:cubicBezTo>
                      <a:pt x="2867" y="326"/>
                      <a:pt x="2858" y="327"/>
                      <a:pt x="2849" y="327"/>
                    </a:cubicBezTo>
                    <a:cubicBezTo>
                      <a:pt x="2835" y="327"/>
                      <a:pt x="2821" y="326"/>
                      <a:pt x="2807" y="324"/>
                    </a:cubicBezTo>
                    <a:cubicBezTo>
                      <a:pt x="2773" y="320"/>
                      <a:pt x="2743" y="313"/>
                      <a:pt x="2714" y="304"/>
                    </a:cubicBezTo>
                    <a:close/>
                    <a:moveTo>
                      <a:pt x="1885" y="867"/>
                    </a:moveTo>
                    <a:cubicBezTo>
                      <a:pt x="2119" y="977"/>
                      <a:pt x="2119" y="977"/>
                      <a:pt x="2119" y="977"/>
                    </a:cubicBezTo>
                    <a:cubicBezTo>
                      <a:pt x="2459" y="749"/>
                      <a:pt x="2459" y="749"/>
                      <a:pt x="2459" y="749"/>
                    </a:cubicBezTo>
                    <a:cubicBezTo>
                      <a:pt x="2664" y="287"/>
                      <a:pt x="2664" y="287"/>
                      <a:pt x="2664" y="287"/>
                    </a:cubicBezTo>
                    <a:cubicBezTo>
                      <a:pt x="2559" y="245"/>
                      <a:pt x="2480" y="181"/>
                      <a:pt x="2419" y="139"/>
                    </a:cubicBezTo>
                    <a:cubicBezTo>
                      <a:pt x="2414" y="135"/>
                      <a:pt x="2409" y="131"/>
                      <a:pt x="2403" y="127"/>
                    </a:cubicBezTo>
                    <a:cubicBezTo>
                      <a:pt x="2397" y="141"/>
                      <a:pt x="2389" y="161"/>
                      <a:pt x="2380" y="185"/>
                    </a:cubicBezTo>
                    <a:cubicBezTo>
                      <a:pt x="2330" y="315"/>
                      <a:pt x="2242" y="561"/>
                      <a:pt x="2242" y="561"/>
                    </a:cubicBezTo>
                    <a:cubicBezTo>
                      <a:pt x="2241" y="564"/>
                      <a:pt x="2241" y="564"/>
                      <a:pt x="2241" y="564"/>
                    </a:cubicBezTo>
                    <a:cubicBezTo>
                      <a:pt x="2238" y="565"/>
                      <a:pt x="2238" y="565"/>
                      <a:pt x="2238" y="565"/>
                    </a:cubicBezTo>
                    <a:cubicBezTo>
                      <a:pt x="2238" y="565"/>
                      <a:pt x="2158" y="607"/>
                      <a:pt x="2078" y="649"/>
                    </a:cubicBezTo>
                    <a:cubicBezTo>
                      <a:pt x="2037" y="670"/>
                      <a:pt x="1995" y="693"/>
                      <a:pt x="1964" y="709"/>
                    </a:cubicBezTo>
                    <a:cubicBezTo>
                      <a:pt x="1949" y="717"/>
                      <a:pt x="1936" y="723"/>
                      <a:pt x="1926" y="728"/>
                    </a:cubicBezTo>
                    <a:lnTo>
                      <a:pt x="1885" y="867"/>
                    </a:lnTo>
                    <a:close/>
                    <a:moveTo>
                      <a:pt x="1829" y="696"/>
                    </a:moveTo>
                    <a:cubicBezTo>
                      <a:pt x="1812" y="709"/>
                      <a:pt x="1745" y="763"/>
                      <a:pt x="1678" y="817"/>
                    </a:cubicBezTo>
                    <a:cubicBezTo>
                      <a:pt x="1639" y="848"/>
                      <a:pt x="1601" y="879"/>
                      <a:pt x="1571" y="903"/>
                    </a:cubicBezTo>
                    <a:cubicBezTo>
                      <a:pt x="1558" y="915"/>
                      <a:pt x="1547" y="924"/>
                      <a:pt x="1538" y="932"/>
                    </a:cubicBezTo>
                    <a:cubicBezTo>
                      <a:pt x="1665" y="1089"/>
                      <a:pt x="1665" y="1089"/>
                      <a:pt x="1665" y="1089"/>
                    </a:cubicBezTo>
                    <a:cubicBezTo>
                      <a:pt x="1990" y="1064"/>
                      <a:pt x="1990" y="1064"/>
                      <a:pt x="1990" y="1064"/>
                    </a:cubicBezTo>
                    <a:cubicBezTo>
                      <a:pt x="2103" y="988"/>
                      <a:pt x="2103" y="988"/>
                      <a:pt x="2103" y="988"/>
                    </a:cubicBezTo>
                    <a:cubicBezTo>
                      <a:pt x="1865" y="876"/>
                      <a:pt x="1865" y="876"/>
                      <a:pt x="1865" y="876"/>
                    </a:cubicBezTo>
                    <a:cubicBezTo>
                      <a:pt x="1907" y="736"/>
                      <a:pt x="1907" y="736"/>
                      <a:pt x="1907" y="736"/>
                    </a:cubicBezTo>
                    <a:cubicBezTo>
                      <a:pt x="1906" y="736"/>
                      <a:pt x="1906" y="736"/>
                      <a:pt x="1906" y="736"/>
                    </a:cubicBezTo>
                    <a:cubicBezTo>
                      <a:pt x="1906" y="729"/>
                      <a:pt x="1906" y="729"/>
                      <a:pt x="1906" y="729"/>
                    </a:cubicBezTo>
                    <a:cubicBezTo>
                      <a:pt x="1897" y="726"/>
                      <a:pt x="1884" y="720"/>
                      <a:pt x="1870" y="714"/>
                    </a:cubicBezTo>
                    <a:cubicBezTo>
                      <a:pt x="1859" y="709"/>
                      <a:pt x="1847" y="704"/>
                      <a:pt x="1839" y="700"/>
                    </a:cubicBezTo>
                    <a:cubicBezTo>
                      <a:pt x="1835" y="699"/>
                      <a:pt x="1832" y="697"/>
                      <a:pt x="1829" y="696"/>
                    </a:cubicBezTo>
                    <a:close/>
                    <a:moveTo>
                      <a:pt x="1498" y="458"/>
                    </a:moveTo>
                    <a:cubicBezTo>
                      <a:pt x="1507" y="469"/>
                      <a:pt x="1523" y="487"/>
                      <a:pt x="1539" y="506"/>
                    </a:cubicBezTo>
                    <a:cubicBezTo>
                      <a:pt x="1551" y="521"/>
                      <a:pt x="1564" y="536"/>
                      <a:pt x="1573" y="547"/>
                    </a:cubicBezTo>
                    <a:cubicBezTo>
                      <a:pt x="1578" y="553"/>
                      <a:pt x="1582" y="557"/>
                      <a:pt x="1585" y="561"/>
                    </a:cubicBezTo>
                    <a:cubicBezTo>
                      <a:pt x="1586" y="562"/>
                      <a:pt x="1586" y="563"/>
                      <a:pt x="1587" y="564"/>
                    </a:cubicBezTo>
                    <a:cubicBezTo>
                      <a:pt x="1620" y="565"/>
                      <a:pt x="1814" y="573"/>
                      <a:pt x="1836" y="574"/>
                    </a:cubicBezTo>
                    <a:cubicBezTo>
                      <a:pt x="1838" y="557"/>
                      <a:pt x="1841" y="539"/>
                      <a:pt x="1843" y="521"/>
                    </a:cubicBezTo>
                    <a:cubicBezTo>
                      <a:pt x="1850" y="458"/>
                      <a:pt x="1857" y="397"/>
                      <a:pt x="1859" y="382"/>
                    </a:cubicBezTo>
                    <a:cubicBezTo>
                      <a:pt x="1850" y="371"/>
                      <a:pt x="1813" y="327"/>
                      <a:pt x="1777" y="282"/>
                    </a:cubicBezTo>
                    <a:cubicBezTo>
                      <a:pt x="1756" y="256"/>
                      <a:pt x="1735" y="230"/>
                      <a:pt x="1719" y="210"/>
                    </a:cubicBezTo>
                    <a:cubicBezTo>
                      <a:pt x="1711" y="200"/>
                      <a:pt x="1704" y="192"/>
                      <a:pt x="1700" y="186"/>
                    </a:cubicBezTo>
                    <a:cubicBezTo>
                      <a:pt x="1697" y="183"/>
                      <a:pt x="1696" y="180"/>
                      <a:pt x="1694" y="178"/>
                    </a:cubicBezTo>
                    <a:lnTo>
                      <a:pt x="1498" y="458"/>
                    </a:lnTo>
                    <a:close/>
                    <a:moveTo>
                      <a:pt x="946" y="378"/>
                    </a:moveTo>
                    <a:cubicBezTo>
                      <a:pt x="1091" y="470"/>
                      <a:pt x="1091" y="470"/>
                      <a:pt x="1091" y="470"/>
                    </a:cubicBezTo>
                    <a:cubicBezTo>
                      <a:pt x="1182" y="732"/>
                      <a:pt x="1182" y="732"/>
                      <a:pt x="1182" y="732"/>
                    </a:cubicBezTo>
                    <a:cubicBezTo>
                      <a:pt x="1289" y="646"/>
                      <a:pt x="1289" y="646"/>
                      <a:pt x="1289" y="646"/>
                    </a:cubicBezTo>
                    <a:cubicBezTo>
                      <a:pt x="1538" y="290"/>
                      <a:pt x="1538" y="290"/>
                      <a:pt x="1538" y="290"/>
                    </a:cubicBezTo>
                    <a:cubicBezTo>
                      <a:pt x="1517" y="279"/>
                      <a:pt x="1479" y="255"/>
                      <a:pt x="1442" y="231"/>
                    </a:cubicBezTo>
                    <a:cubicBezTo>
                      <a:pt x="1399" y="204"/>
                      <a:pt x="1360" y="179"/>
                      <a:pt x="1360" y="179"/>
                    </a:cubicBezTo>
                    <a:cubicBezTo>
                      <a:pt x="1360" y="179"/>
                      <a:pt x="1360" y="179"/>
                      <a:pt x="1360" y="179"/>
                    </a:cubicBezTo>
                    <a:cubicBezTo>
                      <a:pt x="1245" y="317"/>
                      <a:pt x="1245" y="317"/>
                      <a:pt x="1245" y="317"/>
                    </a:cubicBezTo>
                    <a:cubicBezTo>
                      <a:pt x="1041" y="135"/>
                      <a:pt x="1041" y="135"/>
                      <a:pt x="1041" y="135"/>
                    </a:cubicBezTo>
                    <a:lnTo>
                      <a:pt x="946" y="378"/>
                    </a:lnTo>
                    <a:close/>
                    <a:moveTo>
                      <a:pt x="881" y="439"/>
                    </a:moveTo>
                    <a:cubicBezTo>
                      <a:pt x="915" y="600"/>
                      <a:pt x="915" y="600"/>
                      <a:pt x="915" y="600"/>
                    </a:cubicBezTo>
                    <a:cubicBezTo>
                      <a:pt x="872" y="624"/>
                      <a:pt x="872" y="624"/>
                      <a:pt x="872" y="624"/>
                    </a:cubicBezTo>
                    <a:cubicBezTo>
                      <a:pt x="854" y="773"/>
                      <a:pt x="854" y="773"/>
                      <a:pt x="854" y="773"/>
                    </a:cubicBezTo>
                    <a:cubicBezTo>
                      <a:pt x="917" y="828"/>
                      <a:pt x="917" y="828"/>
                      <a:pt x="917" y="828"/>
                    </a:cubicBezTo>
                    <a:cubicBezTo>
                      <a:pt x="940" y="929"/>
                      <a:pt x="940" y="929"/>
                      <a:pt x="940" y="929"/>
                    </a:cubicBezTo>
                    <a:cubicBezTo>
                      <a:pt x="1169" y="743"/>
                      <a:pt x="1169" y="743"/>
                      <a:pt x="1169" y="743"/>
                    </a:cubicBezTo>
                    <a:cubicBezTo>
                      <a:pt x="1077" y="481"/>
                      <a:pt x="1077" y="481"/>
                      <a:pt x="1077" y="481"/>
                    </a:cubicBezTo>
                    <a:cubicBezTo>
                      <a:pt x="935" y="391"/>
                      <a:pt x="935" y="391"/>
                      <a:pt x="935" y="391"/>
                    </a:cubicBezTo>
                    <a:lnTo>
                      <a:pt x="881" y="439"/>
                    </a:lnTo>
                    <a:close/>
                    <a:moveTo>
                      <a:pt x="367" y="285"/>
                    </a:moveTo>
                    <a:cubicBezTo>
                      <a:pt x="614" y="628"/>
                      <a:pt x="614" y="628"/>
                      <a:pt x="614" y="628"/>
                    </a:cubicBezTo>
                    <a:cubicBezTo>
                      <a:pt x="852" y="374"/>
                      <a:pt x="852" y="374"/>
                      <a:pt x="852" y="374"/>
                    </a:cubicBezTo>
                    <a:cubicBezTo>
                      <a:pt x="852" y="374"/>
                      <a:pt x="852" y="374"/>
                      <a:pt x="852" y="374"/>
                    </a:cubicBezTo>
                    <a:cubicBezTo>
                      <a:pt x="855" y="372"/>
                      <a:pt x="855" y="372"/>
                      <a:pt x="855" y="372"/>
                    </a:cubicBezTo>
                    <a:cubicBezTo>
                      <a:pt x="857" y="369"/>
                      <a:pt x="857" y="369"/>
                      <a:pt x="857" y="369"/>
                    </a:cubicBezTo>
                    <a:cubicBezTo>
                      <a:pt x="857" y="369"/>
                      <a:pt x="857" y="369"/>
                      <a:pt x="857" y="369"/>
                    </a:cubicBezTo>
                    <a:cubicBezTo>
                      <a:pt x="885" y="344"/>
                      <a:pt x="885" y="344"/>
                      <a:pt x="885" y="344"/>
                    </a:cubicBezTo>
                    <a:cubicBezTo>
                      <a:pt x="921" y="257"/>
                      <a:pt x="921" y="257"/>
                      <a:pt x="921" y="257"/>
                    </a:cubicBezTo>
                    <a:cubicBezTo>
                      <a:pt x="881" y="222"/>
                      <a:pt x="760" y="116"/>
                      <a:pt x="638" y="9"/>
                    </a:cubicBezTo>
                    <a:cubicBezTo>
                      <a:pt x="638" y="9"/>
                      <a:pt x="637" y="8"/>
                      <a:pt x="636" y="8"/>
                    </a:cubicBezTo>
                    <a:cubicBezTo>
                      <a:pt x="638" y="11"/>
                      <a:pt x="638" y="11"/>
                      <a:pt x="638" y="11"/>
                    </a:cubicBezTo>
                    <a:cubicBezTo>
                      <a:pt x="636" y="11"/>
                      <a:pt x="615" y="31"/>
                      <a:pt x="587" y="59"/>
                    </a:cubicBezTo>
                    <a:cubicBezTo>
                      <a:pt x="520" y="126"/>
                      <a:pt x="408" y="242"/>
                      <a:pt x="367" y="285"/>
                    </a:cubicBezTo>
                    <a:close/>
                    <a:moveTo>
                      <a:pt x="251" y="1015"/>
                    </a:moveTo>
                    <a:cubicBezTo>
                      <a:pt x="252" y="1014"/>
                      <a:pt x="252" y="1014"/>
                      <a:pt x="252" y="1014"/>
                    </a:cubicBezTo>
                    <a:cubicBezTo>
                      <a:pt x="583" y="662"/>
                      <a:pt x="583" y="662"/>
                      <a:pt x="583" y="662"/>
                    </a:cubicBezTo>
                    <a:cubicBezTo>
                      <a:pt x="342" y="327"/>
                      <a:pt x="342" y="327"/>
                      <a:pt x="342" y="327"/>
                    </a:cubicBezTo>
                    <a:cubicBezTo>
                      <a:pt x="331" y="358"/>
                      <a:pt x="311" y="409"/>
                      <a:pt x="291" y="461"/>
                    </a:cubicBezTo>
                    <a:cubicBezTo>
                      <a:pt x="275" y="502"/>
                      <a:pt x="259" y="542"/>
                      <a:pt x="247" y="573"/>
                    </a:cubicBezTo>
                    <a:cubicBezTo>
                      <a:pt x="240" y="588"/>
                      <a:pt x="235" y="601"/>
                      <a:pt x="231" y="610"/>
                    </a:cubicBezTo>
                    <a:cubicBezTo>
                      <a:pt x="228" y="615"/>
                      <a:pt x="227" y="618"/>
                      <a:pt x="225" y="621"/>
                    </a:cubicBezTo>
                    <a:cubicBezTo>
                      <a:pt x="224" y="622"/>
                      <a:pt x="224" y="623"/>
                      <a:pt x="223" y="624"/>
                    </a:cubicBezTo>
                    <a:cubicBezTo>
                      <a:pt x="222" y="625"/>
                      <a:pt x="222" y="627"/>
                      <a:pt x="216" y="628"/>
                    </a:cubicBezTo>
                    <a:cubicBezTo>
                      <a:pt x="207" y="628"/>
                      <a:pt x="145" y="620"/>
                      <a:pt x="130" y="619"/>
                    </a:cubicBezTo>
                    <a:cubicBezTo>
                      <a:pt x="127" y="624"/>
                      <a:pt x="118" y="640"/>
                      <a:pt x="107" y="661"/>
                    </a:cubicBezTo>
                    <a:cubicBezTo>
                      <a:pt x="79" y="717"/>
                      <a:pt x="36" y="808"/>
                      <a:pt x="18" y="846"/>
                    </a:cubicBezTo>
                    <a:cubicBezTo>
                      <a:pt x="34" y="856"/>
                      <a:pt x="50" y="865"/>
                      <a:pt x="66" y="875"/>
                    </a:cubicBezTo>
                    <a:cubicBezTo>
                      <a:pt x="153" y="932"/>
                      <a:pt x="221" y="988"/>
                      <a:pt x="251" y="1015"/>
                    </a:cubicBezTo>
                    <a:close/>
                    <a:moveTo>
                      <a:pt x="330" y="1436"/>
                    </a:moveTo>
                    <a:cubicBezTo>
                      <a:pt x="700" y="1128"/>
                      <a:pt x="700" y="1128"/>
                      <a:pt x="700" y="1128"/>
                    </a:cubicBezTo>
                    <a:cubicBezTo>
                      <a:pt x="480" y="866"/>
                      <a:pt x="480" y="866"/>
                      <a:pt x="480" y="866"/>
                    </a:cubicBezTo>
                    <a:cubicBezTo>
                      <a:pt x="300" y="1059"/>
                      <a:pt x="300" y="1059"/>
                      <a:pt x="300" y="1059"/>
                    </a:cubicBezTo>
                    <a:cubicBezTo>
                      <a:pt x="269" y="1090"/>
                      <a:pt x="228" y="1138"/>
                      <a:pt x="165" y="1187"/>
                    </a:cubicBezTo>
                    <a:cubicBezTo>
                      <a:pt x="243" y="1270"/>
                      <a:pt x="243" y="1270"/>
                      <a:pt x="243" y="1270"/>
                    </a:cubicBezTo>
                    <a:cubicBezTo>
                      <a:pt x="200" y="1316"/>
                      <a:pt x="200" y="1316"/>
                      <a:pt x="200" y="1316"/>
                    </a:cubicBezTo>
                    <a:cubicBezTo>
                      <a:pt x="206" y="1310"/>
                      <a:pt x="206" y="1310"/>
                      <a:pt x="206" y="1310"/>
                    </a:cubicBezTo>
                    <a:lnTo>
                      <a:pt x="330" y="1436"/>
                    </a:lnTo>
                    <a:close/>
                    <a:moveTo>
                      <a:pt x="342" y="1821"/>
                    </a:moveTo>
                    <a:cubicBezTo>
                      <a:pt x="537" y="1726"/>
                      <a:pt x="537" y="1726"/>
                      <a:pt x="537" y="1726"/>
                    </a:cubicBezTo>
                    <a:cubicBezTo>
                      <a:pt x="537" y="1706"/>
                      <a:pt x="534" y="1632"/>
                      <a:pt x="534" y="1606"/>
                    </a:cubicBezTo>
                    <a:cubicBezTo>
                      <a:pt x="534" y="1604"/>
                      <a:pt x="534" y="1602"/>
                      <a:pt x="534" y="1600"/>
                    </a:cubicBezTo>
                    <a:cubicBezTo>
                      <a:pt x="535" y="1598"/>
                      <a:pt x="534" y="1598"/>
                      <a:pt x="535" y="1595"/>
                    </a:cubicBezTo>
                    <a:cubicBezTo>
                      <a:pt x="506" y="1569"/>
                      <a:pt x="436" y="1499"/>
                      <a:pt x="399" y="1463"/>
                    </a:cubicBezTo>
                    <a:cubicBezTo>
                      <a:pt x="156" y="1666"/>
                      <a:pt x="156" y="1666"/>
                      <a:pt x="156" y="1666"/>
                    </a:cubicBezTo>
                    <a:lnTo>
                      <a:pt x="342" y="1821"/>
                    </a:lnTo>
                    <a:close/>
                    <a:moveTo>
                      <a:pt x="258" y="2049"/>
                    </a:moveTo>
                    <a:cubicBezTo>
                      <a:pt x="278" y="2041"/>
                      <a:pt x="304" y="2032"/>
                      <a:pt x="341" y="2030"/>
                    </a:cubicBezTo>
                    <a:cubicBezTo>
                      <a:pt x="343" y="2030"/>
                      <a:pt x="346" y="2030"/>
                      <a:pt x="348" y="2030"/>
                    </a:cubicBezTo>
                    <a:cubicBezTo>
                      <a:pt x="409" y="2031"/>
                      <a:pt x="480" y="2063"/>
                      <a:pt x="520" y="2076"/>
                    </a:cubicBezTo>
                    <a:cubicBezTo>
                      <a:pt x="528" y="2045"/>
                      <a:pt x="540" y="2001"/>
                      <a:pt x="553" y="1957"/>
                    </a:cubicBezTo>
                    <a:cubicBezTo>
                      <a:pt x="564" y="1916"/>
                      <a:pt x="575" y="1876"/>
                      <a:pt x="583" y="1845"/>
                    </a:cubicBezTo>
                    <a:cubicBezTo>
                      <a:pt x="587" y="1830"/>
                      <a:pt x="591" y="1817"/>
                      <a:pt x="593" y="1808"/>
                    </a:cubicBezTo>
                    <a:cubicBezTo>
                      <a:pt x="594" y="1803"/>
                      <a:pt x="595" y="1799"/>
                      <a:pt x="596" y="1797"/>
                    </a:cubicBezTo>
                    <a:cubicBezTo>
                      <a:pt x="596" y="1796"/>
                      <a:pt x="596" y="1795"/>
                      <a:pt x="596" y="1794"/>
                    </a:cubicBezTo>
                    <a:cubicBezTo>
                      <a:pt x="597" y="1794"/>
                      <a:pt x="597" y="1793"/>
                      <a:pt x="597" y="1793"/>
                    </a:cubicBezTo>
                    <a:cubicBezTo>
                      <a:pt x="600" y="1794"/>
                      <a:pt x="600" y="1794"/>
                      <a:pt x="600" y="1794"/>
                    </a:cubicBezTo>
                    <a:cubicBezTo>
                      <a:pt x="573" y="1769"/>
                      <a:pt x="552" y="1749"/>
                      <a:pt x="544" y="1741"/>
                    </a:cubicBezTo>
                    <a:cubicBezTo>
                      <a:pt x="346" y="1837"/>
                      <a:pt x="346" y="1837"/>
                      <a:pt x="346" y="1837"/>
                    </a:cubicBezTo>
                    <a:lnTo>
                      <a:pt x="258" y="2049"/>
                    </a:lnTo>
                    <a:close/>
                    <a:moveTo>
                      <a:pt x="273" y="2583"/>
                    </a:moveTo>
                    <a:cubicBezTo>
                      <a:pt x="139" y="2332"/>
                      <a:pt x="139" y="2332"/>
                      <a:pt x="139" y="2332"/>
                    </a:cubicBezTo>
                    <a:cubicBezTo>
                      <a:pt x="48" y="2356"/>
                      <a:pt x="48" y="2356"/>
                      <a:pt x="48" y="2356"/>
                    </a:cubicBezTo>
                    <a:cubicBezTo>
                      <a:pt x="46" y="2369"/>
                      <a:pt x="40" y="2403"/>
                      <a:pt x="33" y="2438"/>
                    </a:cubicBezTo>
                    <a:cubicBezTo>
                      <a:pt x="26" y="2478"/>
                      <a:pt x="18" y="2522"/>
                      <a:pt x="17" y="2535"/>
                    </a:cubicBezTo>
                    <a:cubicBezTo>
                      <a:pt x="28" y="2543"/>
                      <a:pt x="58" y="2572"/>
                      <a:pt x="88" y="2600"/>
                    </a:cubicBezTo>
                    <a:cubicBezTo>
                      <a:pt x="103" y="2615"/>
                      <a:pt x="118" y="2628"/>
                      <a:pt x="130" y="2639"/>
                    </a:cubicBezTo>
                    <a:cubicBezTo>
                      <a:pt x="135" y="2644"/>
                      <a:pt x="140" y="2648"/>
                      <a:pt x="143" y="2651"/>
                    </a:cubicBezTo>
                    <a:cubicBezTo>
                      <a:pt x="144" y="2652"/>
                      <a:pt x="145" y="2653"/>
                      <a:pt x="145" y="2653"/>
                    </a:cubicBezTo>
                    <a:cubicBezTo>
                      <a:pt x="156" y="2649"/>
                      <a:pt x="187" y="2631"/>
                      <a:pt x="216" y="2615"/>
                    </a:cubicBezTo>
                    <a:cubicBezTo>
                      <a:pt x="239" y="2602"/>
                      <a:pt x="262" y="2589"/>
                      <a:pt x="273" y="2583"/>
                    </a:cubicBezTo>
                    <a:close/>
                    <a:moveTo>
                      <a:pt x="430" y="2730"/>
                    </a:moveTo>
                    <a:cubicBezTo>
                      <a:pt x="435" y="2728"/>
                      <a:pt x="439" y="2726"/>
                      <a:pt x="441" y="2725"/>
                    </a:cubicBezTo>
                    <a:cubicBezTo>
                      <a:pt x="561" y="2661"/>
                      <a:pt x="561" y="2661"/>
                      <a:pt x="561" y="2661"/>
                    </a:cubicBezTo>
                    <a:cubicBezTo>
                      <a:pt x="550" y="2631"/>
                      <a:pt x="528" y="2568"/>
                      <a:pt x="505" y="2504"/>
                    </a:cubicBezTo>
                    <a:cubicBezTo>
                      <a:pt x="489" y="2460"/>
                      <a:pt x="474" y="2416"/>
                      <a:pt x="462" y="2382"/>
                    </a:cubicBezTo>
                    <a:cubicBezTo>
                      <a:pt x="456" y="2365"/>
                      <a:pt x="451" y="2351"/>
                      <a:pt x="448" y="2340"/>
                    </a:cubicBezTo>
                    <a:cubicBezTo>
                      <a:pt x="444" y="2329"/>
                      <a:pt x="442" y="2325"/>
                      <a:pt x="442" y="2320"/>
                    </a:cubicBezTo>
                    <a:cubicBezTo>
                      <a:pt x="442" y="2320"/>
                      <a:pt x="442" y="2320"/>
                      <a:pt x="442" y="2320"/>
                    </a:cubicBezTo>
                    <a:cubicBezTo>
                      <a:pt x="442" y="2319"/>
                      <a:pt x="442" y="2319"/>
                      <a:pt x="442" y="2319"/>
                    </a:cubicBezTo>
                    <a:cubicBezTo>
                      <a:pt x="442" y="2317"/>
                      <a:pt x="442" y="2317"/>
                      <a:pt x="442" y="2317"/>
                    </a:cubicBezTo>
                    <a:cubicBezTo>
                      <a:pt x="443" y="2314"/>
                      <a:pt x="483" y="2194"/>
                      <a:pt x="500" y="2142"/>
                    </a:cubicBezTo>
                    <a:cubicBezTo>
                      <a:pt x="457" y="2127"/>
                      <a:pt x="386" y="2098"/>
                      <a:pt x="348" y="2099"/>
                    </a:cubicBezTo>
                    <a:cubicBezTo>
                      <a:pt x="347" y="2099"/>
                      <a:pt x="346" y="2099"/>
                      <a:pt x="345" y="2099"/>
                    </a:cubicBezTo>
                    <a:cubicBezTo>
                      <a:pt x="299" y="2101"/>
                      <a:pt x="282" y="2114"/>
                      <a:pt x="250" y="2126"/>
                    </a:cubicBezTo>
                    <a:cubicBezTo>
                      <a:pt x="241" y="2129"/>
                      <a:pt x="202" y="2146"/>
                      <a:pt x="169" y="2161"/>
                    </a:cubicBezTo>
                    <a:cubicBezTo>
                      <a:pt x="155" y="2168"/>
                      <a:pt x="142" y="2174"/>
                      <a:pt x="131" y="2179"/>
                    </a:cubicBezTo>
                    <a:lnTo>
                      <a:pt x="430" y="2730"/>
                    </a:lnTo>
                    <a:close/>
                    <a:moveTo>
                      <a:pt x="472" y="2895"/>
                    </a:moveTo>
                    <a:cubicBezTo>
                      <a:pt x="471" y="2894"/>
                      <a:pt x="471" y="2893"/>
                      <a:pt x="470" y="2892"/>
                    </a:cubicBezTo>
                    <a:cubicBezTo>
                      <a:pt x="469" y="2892"/>
                      <a:pt x="469" y="2891"/>
                      <a:pt x="468" y="2891"/>
                    </a:cubicBezTo>
                    <a:cubicBezTo>
                      <a:pt x="468" y="2890"/>
                      <a:pt x="468" y="2890"/>
                      <a:pt x="467" y="2888"/>
                    </a:cubicBezTo>
                    <a:cubicBezTo>
                      <a:pt x="467" y="2888"/>
                      <a:pt x="466" y="2887"/>
                      <a:pt x="466" y="2886"/>
                    </a:cubicBezTo>
                    <a:cubicBezTo>
                      <a:pt x="462" y="2889"/>
                      <a:pt x="459" y="2891"/>
                      <a:pt x="456" y="2893"/>
                    </a:cubicBezTo>
                    <a:cubicBezTo>
                      <a:pt x="464" y="2895"/>
                      <a:pt x="470" y="2897"/>
                      <a:pt x="475" y="2898"/>
                    </a:cubicBezTo>
                    <a:cubicBezTo>
                      <a:pt x="474" y="2897"/>
                      <a:pt x="473" y="2896"/>
                      <a:pt x="472" y="2895"/>
                    </a:cubicBezTo>
                    <a:close/>
                    <a:moveTo>
                      <a:pt x="571" y="3010"/>
                    </a:moveTo>
                    <a:cubicBezTo>
                      <a:pt x="545" y="2980"/>
                      <a:pt x="523" y="2955"/>
                      <a:pt x="506" y="2935"/>
                    </a:cubicBezTo>
                    <a:cubicBezTo>
                      <a:pt x="499" y="2927"/>
                      <a:pt x="493" y="2920"/>
                      <a:pt x="488" y="2914"/>
                    </a:cubicBezTo>
                    <a:cubicBezTo>
                      <a:pt x="487" y="2914"/>
                      <a:pt x="486" y="2915"/>
                      <a:pt x="484" y="2916"/>
                    </a:cubicBezTo>
                    <a:cubicBezTo>
                      <a:pt x="481" y="2917"/>
                      <a:pt x="481" y="2917"/>
                      <a:pt x="481" y="2917"/>
                    </a:cubicBezTo>
                    <a:cubicBezTo>
                      <a:pt x="478" y="2916"/>
                      <a:pt x="478" y="2916"/>
                      <a:pt x="478" y="2916"/>
                    </a:cubicBezTo>
                    <a:cubicBezTo>
                      <a:pt x="474" y="2915"/>
                      <a:pt x="460" y="2911"/>
                      <a:pt x="440" y="2906"/>
                    </a:cubicBezTo>
                    <a:cubicBezTo>
                      <a:pt x="438" y="2908"/>
                      <a:pt x="436" y="2909"/>
                      <a:pt x="435" y="2911"/>
                    </a:cubicBezTo>
                    <a:cubicBezTo>
                      <a:pt x="426" y="2920"/>
                      <a:pt x="343" y="3010"/>
                      <a:pt x="239" y="3121"/>
                    </a:cubicBezTo>
                    <a:cubicBezTo>
                      <a:pt x="261" y="3119"/>
                      <a:pt x="282" y="3116"/>
                      <a:pt x="301" y="3113"/>
                    </a:cubicBezTo>
                    <a:cubicBezTo>
                      <a:pt x="387" y="3098"/>
                      <a:pt x="387" y="3098"/>
                      <a:pt x="387" y="3098"/>
                    </a:cubicBezTo>
                    <a:cubicBezTo>
                      <a:pt x="388" y="3098"/>
                      <a:pt x="388" y="3098"/>
                      <a:pt x="388" y="3098"/>
                    </a:cubicBezTo>
                    <a:cubicBezTo>
                      <a:pt x="391" y="3098"/>
                      <a:pt x="414" y="3092"/>
                      <a:pt x="433" y="3086"/>
                    </a:cubicBezTo>
                    <a:cubicBezTo>
                      <a:pt x="450" y="3081"/>
                      <a:pt x="465" y="3076"/>
                      <a:pt x="470" y="3075"/>
                    </a:cubicBezTo>
                    <a:cubicBezTo>
                      <a:pt x="506" y="3051"/>
                      <a:pt x="535" y="3032"/>
                      <a:pt x="571" y="3010"/>
                    </a:cubicBezTo>
                    <a:close/>
                    <a:moveTo>
                      <a:pt x="631" y="2974"/>
                    </a:moveTo>
                    <a:cubicBezTo>
                      <a:pt x="651" y="2962"/>
                      <a:pt x="665" y="2954"/>
                      <a:pt x="669" y="2952"/>
                    </a:cubicBezTo>
                    <a:cubicBezTo>
                      <a:pt x="683" y="2944"/>
                      <a:pt x="853" y="2852"/>
                      <a:pt x="1107" y="2714"/>
                    </a:cubicBezTo>
                    <a:cubicBezTo>
                      <a:pt x="1143" y="2695"/>
                      <a:pt x="1182" y="2674"/>
                      <a:pt x="1221" y="2653"/>
                    </a:cubicBezTo>
                    <a:cubicBezTo>
                      <a:pt x="1220" y="2653"/>
                      <a:pt x="1220" y="2652"/>
                      <a:pt x="1220" y="2652"/>
                    </a:cubicBezTo>
                    <a:cubicBezTo>
                      <a:pt x="1219" y="2651"/>
                      <a:pt x="1219" y="2651"/>
                      <a:pt x="1218" y="2650"/>
                    </a:cubicBezTo>
                    <a:cubicBezTo>
                      <a:pt x="1218" y="2649"/>
                      <a:pt x="1217" y="2651"/>
                      <a:pt x="1216" y="2645"/>
                    </a:cubicBezTo>
                    <a:cubicBezTo>
                      <a:pt x="1216" y="2642"/>
                      <a:pt x="1218" y="2638"/>
                      <a:pt x="1220" y="2637"/>
                    </a:cubicBezTo>
                    <a:cubicBezTo>
                      <a:pt x="1221" y="2637"/>
                      <a:pt x="1222" y="2636"/>
                      <a:pt x="1223" y="2636"/>
                    </a:cubicBezTo>
                    <a:cubicBezTo>
                      <a:pt x="1224" y="2636"/>
                      <a:pt x="1224" y="2636"/>
                      <a:pt x="1224" y="2636"/>
                    </a:cubicBezTo>
                    <a:cubicBezTo>
                      <a:pt x="1224" y="2636"/>
                      <a:pt x="1224" y="2636"/>
                      <a:pt x="1224" y="2636"/>
                    </a:cubicBezTo>
                    <a:cubicBezTo>
                      <a:pt x="1224" y="2636"/>
                      <a:pt x="1224" y="2636"/>
                      <a:pt x="1224" y="2636"/>
                    </a:cubicBezTo>
                    <a:cubicBezTo>
                      <a:pt x="1224" y="2636"/>
                      <a:pt x="1224" y="2636"/>
                      <a:pt x="1224" y="2636"/>
                    </a:cubicBezTo>
                    <a:cubicBezTo>
                      <a:pt x="1224" y="2636"/>
                      <a:pt x="1224" y="2636"/>
                      <a:pt x="1224" y="2636"/>
                    </a:cubicBezTo>
                    <a:cubicBezTo>
                      <a:pt x="1225" y="2636"/>
                      <a:pt x="1226" y="2636"/>
                      <a:pt x="1227" y="2637"/>
                    </a:cubicBezTo>
                    <a:cubicBezTo>
                      <a:pt x="1228" y="2637"/>
                      <a:pt x="1229" y="2637"/>
                      <a:pt x="1229" y="2638"/>
                    </a:cubicBezTo>
                    <a:cubicBezTo>
                      <a:pt x="1230" y="2638"/>
                      <a:pt x="1230" y="2638"/>
                      <a:pt x="1230" y="2639"/>
                    </a:cubicBezTo>
                    <a:cubicBezTo>
                      <a:pt x="1230" y="2639"/>
                      <a:pt x="1231" y="2639"/>
                      <a:pt x="1231" y="2640"/>
                    </a:cubicBezTo>
                    <a:cubicBezTo>
                      <a:pt x="1231" y="2640"/>
                      <a:pt x="1231" y="2640"/>
                      <a:pt x="1231" y="2641"/>
                    </a:cubicBezTo>
                    <a:cubicBezTo>
                      <a:pt x="1232" y="2642"/>
                      <a:pt x="1234" y="2643"/>
                      <a:pt x="1236" y="2645"/>
                    </a:cubicBezTo>
                    <a:cubicBezTo>
                      <a:pt x="1479" y="2513"/>
                      <a:pt x="1771" y="2356"/>
                      <a:pt x="2084" y="2187"/>
                    </a:cubicBezTo>
                    <a:cubicBezTo>
                      <a:pt x="2106" y="2166"/>
                      <a:pt x="2106" y="2166"/>
                      <a:pt x="2106" y="2166"/>
                    </a:cubicBezTo>
                    <a:cubicBezTo>
                      <a:pt x="2107" y="2166"/>
                      <a:pt x="2107" y="2166"/>
                      <a:pt x="2107" y="2166"/>
                    </a:cubicBezTo>
                    <a:cubicBezTo>
                      <a:pt x="2140" y="2147"/>
                      <a:pt x="2174" y="2129"/>
                      <a:pt x="2208" y="2111"/>
                    </a:cubicBezTo>
                    <a:cubicBezTo>
                      <a:pt x="2208" y="2109"/>
                      <a:pt x="2208" y="2108"/>
                      <a:pt x="2208" y="2108"/>
                    </a:cubicBezTo>
                    <a:cubicBezTo>
                      <a:pt x="2212" y="2109"/>
                      <a:pt x="2212" y="2109"/>
                      <a:pt x="2212" y="2109"/>
                    </a:cubicBezTo>
                    <a:cubicBezTo>
                      <a:pt x="2278" y="2073"/>
                      <a:pt x="2344" y="2038"/>
                      <a:pt x="2410" y="2003"/>
                    </a:cubicBezTo>
                    <a:cubicBezTo>
                      <a:pt x="2405" y="1991"/>
                      <a:pt x="2405" y="1991"/>
                      <a:pt x="2405" y="1991"/>
                    </a:cubicBezTo>
                    <a:cubicBezTo>
                      <a:pt x="2418" y="1986"/>
                      <a:pt x="2418" y="1986"/>
                      <a:pt x="2418" y="1986"/>
                    </a:cubicBezTo>
                    <a:cubicBezTo>
                      <a:pt x="2422" y="1996"/>
                      <a:pt x="2422" y="1996"/>
                      <a:pt x="2422" y="1996"/>
                    </a:cubicBezTo>
                    <a:cubicBezTo>
                      <a:pt x="2493" y="1958"/>
                      <a:pt x="2564" y="1920"/>
                      <a:pt x="2633" y="1883"/>
                    </a:cubicBezTo>
                    <a:cubicBezTo>
                      <a:pt x="2625" y="1872"/>
                      <a:pt x="2625" y="1872"/>
                      <a:pt x="2625" y="1872"/>
                    </a:cubicBezTo>
                    <a:cubicBezTo>
                      <a:pt x="2636" y="1863"/>
                      <a:pt x="2636" y="1863"/>
                      <a:pt x="2636" y="1863"/>
                    </a:cubicBezTo>
                    <a:cubicBezTo>
                      <a:pt x="2646" y="1876"/>
                      <a:pt x="2646" y="1876"/>
                      <a:pt x="2646" y="1876"/>
                    </a:cubicBezTo>
                    <a:cubicBezTo>
                      <a:pt x="2794" y="1797"/>
                      <a:pt x="2938" y="1720"/>
                      <a:pt x="3072" y="1649"/>
                    </a:cubicBezTo>
                    <a:cubicBezTo>
                      <a:pt x="3071" y="1647"/>
                      <a:pt x="3071" y="1647"/>
                      <a:pt x="3071" y="1647"/>
                    </a:cubicBezTo>
                    <a:cubicBezTo>
                      <a:pt x="3084" y="1641"/>
                      <a:pt x="3084" y="1641"/>
                      <a:pt x="3084" y="1641"/>
                    </a:cubicBezTo>
                    <a:cubicBezTo>
                      <a:pt x="3085" y="1643"/>
                      <a:pt x="3085" y="1643"/>
                      <a:pt x="3085" y="1643"/>
                    </a:cubicBezTo>
                    <a:cubicBezTo>
                      <a:pt x="3408" y="1471"/>
                      <a:pt x="3671" y="1333"/>
                      <a:pt x="3798" y="1269"/>
                    </a:cubicBezTo>
                    <a:cubicBezTo>
                      <a:pt x="3751" y="1155"/>
                      <a:pt x="3751" y="1155"/>
                      <a:pt x="3751" y="1155"/>
                    </a:cubicBezTo>
                    <a:cubicBezTo>
                      <a:pt x="3540" y="1264"/>
                      <a:pt x="2907" y="1614"/>
                      <a:pt x="2276" y="1954"/>
                    </a:cubicBezTo>
                    <a:cubicBezTo>
                      <a:pt x="1447" y="2401"/>
                      <a:pt x="610" y="2844"/>
                      <a:pt x="609" y="2844"/>
                    </a:cubicBezTo>
                    <a:cubicBezTo>
                      <a:pt x="609" y="2845"/>
                      <a:pt x="609" y="2845"/>
                      <a:pt x="609" y="2845"/>
                    </a:cubicBezTo>
                    <a:cubicBezTo>
                      <a:pt x="608" y="2845"/>
                      <a:pt x="608" y="2845"/>
                      <a:pt x="608" y="2845"/>
                    </a:cubicBezTo>
                    <a:cubicBezTo>
                      <a:pt x="601" y="2849"/>
                      <a:pt x="600" y="2850"/>
                      <a:pt x="549" y="2879"/>
                    </a:cubicBezTo>
                    <a:cubicBezTo>
                      <a:pt x="567" y="2901"/>
                      <a:pt x="596" y="2934"/>
                      <a:pt x="631" y="2974"/>
                    </a:cubicBezTo>
                    <a:close/>
                    <a:moveTo>
                      <a:pt x="499" y="3153"/>
                    </a:moveTo>
                    <a:cubicBezTo>
                      <a:pt x="588" y="3311"/>
                      <a:pt x="588" y="3311"/>
                      <a:pt x="588" y="3311"/>
                    </a:cubicBezTo>
                    <a:cubicBezTo>
                      <a:pt x="707" y="3243"/>
                      <a:pt x="707" y="3243"/>
                      <a:pt x="707" y="3243"/>
                    </a:cubicBezTo>
                    <a:cubicBezTo>
                      <a:pt x="711" y="3250"/>
                      <a:pt x="711" y="3250"/>
                      <a:pt x="711" y="3250"/>
                    </a:cubicBezTo>
                    <a:cubicBezTo>
                      <a:pt x="711" y="3250"/>
                      <a:pt x="788" y="3371"/>
                      <a:pt x="865" y="3492"/>
                    </a:cubicBezTo>
                    <a:cubicBezTo>
                      <a:pt x="904" y="3553"/>
                      <a:pt x="942" y="3614"/>
                      <a:pt x="971" y="3660"/>
                    </a:cubicBezTo>
                    <a:cubicBezTo>
                      <a:pt x="986" y="3682"/>
                      <a:pt x="998" y="3702"/>
                      <a:pt x="1006" y="3715"/>
                    </a:cubicBezTo>
                    <a:cubicBezTo>
                      <a:pt x="1010" y="3722"/>
                      <a:pt x="1013" y="3728"/>
                      <a:pt x="1016" y="3731"/>
                    </a:cubicBezTo>
                    <a:cubicBezTo>
                      <a:pt x="1017" y="3733"/>
                      <a:pt x="1018" y="3735"/>
                      <a:pt x="1018" y="3736"/>
                    </a:cubicBezTo>
                    <a:cubicBezTo>
                      <a:pt x="1019" y="3736"/>
                      <a:pt x="1019" y="3737"/>
                      <a:pt x="1019" y="3737"/>
                    </a:cubicBezTo>
                    <a:cubicBezTo>
                      <a:pt x="1020" y="3738"/>
                      <a:pt x="1020" y="3737"/>
                      <a:pt x="1020" y="3742"/>
                    </a:cubicBezTo>
                    <a:cubicBezTo>
                      <a:pt x="1020" y="3747"/>
                      <a:pt x="1017" y="3748"/>
                      <a:pt x="1016" y="3749"/>
                    </a:cubicBezTo>
                    <a:cubicBezTo>
                      <a:pt x="1015" y="3749"/>
                      <a:pt x="1015" y="3750"/>
                      <a:pt x="1012" y="3750"/>
                    </a:cubicBezTo>
                    <a:cubicBezTo>
                      <a:pt x="1007" y="3752"/>
                      <a:pt x="984" y="3767"/>
                      <a:pt x="964" y="3781"/>
                    </a:cubicBezTo>
                    <a:cubicBezTo>
                      <a:pt x="945" y="3794"/>
                      <a:pt x="927" y="3806"/>
                      <a:pt x="922" y="3809"/>
                    </a:cubicBezTo>
                    <a:cubicBezTo>
                      <a:pt x="759" y="4036"/>
                      <a:pt x="759" y="4036"/>
                      <a:pt x="759" y="4036"/>
                    </a:cubicBezTo>
                    <a:cubicBezTo>
                      <a:pt x="835" y="4085"/>
                      <a:pt x="937" y="4142"/>
                      <a:pt x="986" y="4172"/>
                    </a:cubicBezTo>
                    <a:cubicBezTo>
                      <a:pt x="986" y="4172"/>
                      <a:pt x="986" y="4172"/>
                      <a:pt x="986" y="4172"/>
                    </a:cubicBezTo>
                    <a:cubicBezTo>
                      <a:pt x="981" y="4158"/>
                      <a:pt x="975" y="4143"/>
                      <a:pt x="969" y="4130"/>
                    </a:cubicBezTo>
                    <a:cubicBezTo>
                      <a:pt x="948" y="4081"/>
                      <a:pt x="926" y="4042"/>
                      <a:pt x="926" y="4014"/>
                    </a:cubicBezTo>
                    <a:cubicBezTo>
                      <a:pt x="926" y="4014"/>
                      <a:pt x="926" y="4014"/>
                      <a:pt x="926" y="4014"/>
                    </a:cubicBezTo>
                    <a:cubicBezTo>
                      <a:pt x="927" y="3954"/>
                      <a:pt x="975" y="3896"/>
                      <a:pt x="1102" y="3838"/>
                    </a:cubicBezTo>
                    <a:cubicBezTo>
                      <a:pt x="1111" y="3834"/>
                      <a:pt x="1119" y="3831"/>
                      <a:pt x="1128" y="3829"/>
                    </a:cubicBezTo>
                    <a:cubicBezTo>
                      <a:pt x="1126" y="3819"/>
                      <a:pt x="1123" y="3806"/>
                      <a:pt x="1123" y="3792"/>
                    </a:cubicBezTo>
                    <a:cubicBezTo>
                      <a:pt x="1123" y="3773"/>
                      <a:pt x="1127" y="3751"/>
                      <a:pt x="1143" y="3733"/>
                    </a:cubicBezTo>
                    <a:cubicBezTo>
                      <a:pt x="1150" y="3727"/>
                      <a:pt x="1162" y="3719"/>
                      <a:pt x="1176" y="3711"/>
                    </a:cubicBezTo>
                    <a:cubicBezTo>
                      <a:pt x="1098" y="3620"/>
                      <a:pt x="996" y="3502"/>
                      <a:pt x="893" y="3383"/>
                    </a:cubicBezTo>
                    <a:cubicBezTo>
                      <a:pt x="802" y="3279"/>
                      <a:pt x="712" y="3174"/>
                      <a:pt x="638" y="3088"/>
                    </a:cubicBezTo>
                    <a:cubicBezTo>
                      <a:pt x="590" y="3109"/>
                      <a:pt x="541" y="3132"/>
                      <a:pt x="499" y="3153"/>
                    </a:cubicBezTo>
                    <a:close/>
                    <a:moveTo>
                      <a:pt x="911" y="3798"/>
                    </a:moveTo>
                    <a:cubicBezTo>
                      <a:pt x="912" y="3797"/>
                      <a:pt x="912" y="3797"/>
                      <a:pt x="912" y="3797"/>
                    </a:cubicBezTo>
                    <a:cubicBezTo>
                      <a:pt x="912" y="3797"/>
                      <a:pt x="934" y="3781"/>
                      <a:pt x="957" y="3766"/>
                    </a:cubicBezTo>
                    <a:cubicBezTo>
                      <a:pt x="968" y="3758"/>
                      <a:pt x="980" y="3750"/>
                      <a:pt x="989" y="3744"/>
                    </a:cubicBezTo>
                    <a:cubicBezTo>
                      <a:pt x="994" y="3742"/>
                      <a:pt x="997" y="3739"/>
                      <a:pt x="1000" y="3738"/>
                    </a:cubicBezTo>
                    <a:cubicBezTo>
                      <a:pt x="983" y="3709"/>
                      <a:pt x="916" y="3602"/>
                      <a:pt x="850" y="3498"/>
                    </a:cubicBezTo>
                    <a:cubicBezTo>
                      <a:pt x="784" y="3394"/>
                      <a:pt x="719" y="3292"/>
                      <a:pt x="702" y="3265"/>
                    </a:cubicBezTo>
                    <a:cubicBezTo>
                      <a:pt x="596" y="3325"/>
                      <a:pt x="596" y="3325"/>
                      <a:pt x="596" y="3325"/>
                    </a:cubicBezTo>
                    <a:cubicBezTo>
                      <a:pt x="741" y="3585"/>
                      <a:pt x="741" y="3585"/>
                      <a:pt x="741" y="3585"/>
                    </a:cubicBezTo>
                    <a:cubicBezTo>
                      <a:pt x="630" y="3640"/>
                      <a:pt x="630" y="3640"/>
                      <a:pt x="630" y="3640"/>
                    </a:cubicBezTo>
                    <a:cubicBezTo>
                      <a:pt x="724" y="3799"/>
                      <a:pt x="724" y="3799"/>
                      <a:pt x="724" y="3799"/>
                    </a:cubicBezTo>
                    <a:cubicBezTo>
                      <a:pt x="632" y="3910"/>
                      <a:pt x="632" y="3910"/>
                      <a:pt x="632" y="3910"/>
                    </a:cubicBezTo>
                    <a:cubicBezTo>
                      <a:pt x="650" y="3934"/>
                      <a:pt x="697" y="3991"/>
                      <a:pt x="746" y="4027"/>
                    </a:cubicBezTo>
                    <a:lnTo>
                      <a:pt x="911" y="3798"/>
                    </a:lnTo>
                    <a:close/>
                    <a:moveTo>
                      <a:pt x="447" y="3180"/>
                    </a:moveTo>
                    <a:cubicBezTo>
                      <a:pt x="493" y="3156"/>
                      <a:pt x="493" y="3156"/>
                      <a:pt x="493" y="3156"/>
                    </a:cubicBezTo>
                    <a:cubicBezTo>
                      <a:pt x="476" y="3164"/>
                      <a:pt x="461" y="3172"/>
                      <a:pt x="449" y="3179"/>
                    </a:cubicBezTo>
                    <a:cubicBezTo>
                      <a:pt x="448" y="3179"/>
                      <a:pt x="448" y="3179"/>
                      <a:pt x="447" y="3180"/>
                    </a:cubicBezTo>
                    <a:close/>
                    <a:moveTo>
                      <a:pt x="352" y="3321"/>
                    </a:moveTo>
                    <a:cubicBezTo>
                      <a:pt x="352" y="3320"/>
                      <a:pt x="352" y="3320"/>
                      <a:pt x="352" y="3320"/>
                    </a:cubicBezTo>
                    <a:cubicBezTo>
                      <a:pt x="358" y="3333"/>
                      <a:pt x="358" y="3333"/>
                      <a:pt x="358" y="3333"/>
                    </a:cubicBezTo>
                    <a:cubicBezTo>
                      <a:pt x="358" y="3333"/>
                      <a:pt x="446" y="3554"/>
                      <a:pt x="503" y="3676"/>
                    </a:cubicBezTo>
                    <a:cubicBezTo>
                      <a:pt x="531" y="3736"/>
                      <a:pt x="562" y="3797"/>
                      <a:pt x="591" y="3845"/>
                    </a:cubicBezTo>
                    <a:cubicBezTo>
                      <a:pt x="621" y="3895"/>
                      <a:pt x="621" y="3895"/>
                      <a:pt x="621" y="3895"/>
                    </a:cubicBezTo>
                    <a:cubicBezTo>
                      <a:pt x="621" y="3895"/>
                      <a:pt x="621" y="3895"/>
                      <a:pt x="621" y="3895"/>
                    </a:cubicBezTo>
                    <a:cubicBezTo>
                      <a:pt x="621" y="3895"/>
                      <a:pt x="622" y="3896"/>
                      <a:pt x="622" y="3896"/>
                    </a:cubicBezTo>
                    <a:cubicBezTo>
                      <a:pt x="704" y="3797"/>
                      <a:pt x="704" y="3797"/>
                      <a:pt x="704" y="3797"/>
                    </a:cubicBezTo>
                    <a:cubicBezTo>
                      <a:pt x="607" y="3633"/>
                      <a:pt x="607" y="3633"/>
                      <a:pt x="607" y="3633"/>
                    </a:cubicBezTo>
                    <a:cubicBezTo>
                      <a:pt x="718" y="3578"/>
                      <a:pt x="718" y="3578"/>
                      <a:pt x="718" y="3578"/>
                    </a:cubicBezTo>
                    <a:cubicBezTo>
                      <a:pt x="493" y="3174"/>
                      <a:pt x="493" y="3174"/>
                      <a:pt x="493" y="3174"/>
                    </a:cubicBezTo>
                    <a:cubicBezTo>
                      <a:pt x="325" y="3262"/>
                      <a:pt x="325" y="3262"/>
                      <a:pt x="325" y="3262"/>
                    </a:cubicBezTo>
                    <a:lnTo>
                      <a:pt x="352" y="3321"/>
                    </a:lnTo>
                    <a:close/>
                    <a:moveTo>
                      <a:pt x="118" y="3771"/>
                    </a:moveTo>
                    <a:cubicBezTo>
                      <a:pt x="433" y="3631"/>
                      <a:pt x="433" y="3631"/>
                      <a:pt x="433" y="3631"/>
                    </a:cubicBezTo>
                    <a:cubicBezTo>
                      <a:pt x="403" y="3563"/>
                      <a:pt x="371" y="3484"/>
                      <a:pt x="347" y="3427"/>
                    </a:cubicBezTo>
                    <a:cubicBezTo>
                      <a:pt x="345" y="3428"/>
                      <a:pt x="345" y="3428"/>
                      <a:pt x="345" y="3428"/>
                    </a:cubicBezTo>
                    <a:cubicBezTo>
                      <a:pt x="345" y="3428"/>
                      <a:pt x="330" y="3439"/>
                      <a:pt x="307" y="3455"/>
                    </a:cubicBezTo>
                    <a:cubicBezTo>
                      <a:pt x="380" y="3604"/>
                      <a:pt x="380" y="3604"/>
                      <a:pt x="380" y="3604"/>
                    </a:cubicBezTo>
                    <a:cubicBezTo>
                      <a:pt x="373" y="3607"/>
                      <a:pt x="373" y="3607"/>
                      <a:pt x="373" y="3607"/>
                    </a:cubicBezTo>
                    <a:cubicBezTo>
                      <a:pt x="189" y="3683"/>
                      <a:pt x="189" y="3683"/>
                      <a:pt x="189" y="3683"/>
                    </a:cubicBezTo>
                    <a:cubicBezTo>
                      <a:pt x="170" y="3613"/>
                      <a:pt x="170" y="3613"/>
                      <a:pt x="170" y="3613"/>
                    </a:cubicBezTo>
                    <a:cubicBezTo>
                      <a:pt x="295" y="3463"/>
                      <a:pt x="295" y="3463"/>
                      <a:pt x="295" y="3463"/>
                    </a:cubicBezTo>
                    <a:cubicBezTo>
                      <a:pt x="266" y="3483"/>
                      <a:pt x="229" y="3509"/>
                      <a:pt x="191" y="3536"/>
                    </a:cubicBezTo>
                    <a:cubicBezTo>
                      <a:pt x="152" y="3563"/>
                      <a:pt x="113" y="3590"/>
                      <a:pt x="85" y="3611"/>
                    </a:cubicBezTo>
                    <a:cubicBezTo>
                      <a:pt x="73" y="3619"/>
                      <a:pt x="63" y="3627"/>
                      <a:pt x="34" y="3648"/>
                    </a:cubicBezTo>
                    <a:cubicBezTo>
                      <a:pt x="34" y="3648"/>
                      <a:pt x="34" y="3648"/>
                      <a:pt x="34" y="3648"/>
                    </a:cubicBezTo>
                    <a:cubicBezTo>
                      <a:pt x="34" y="3648"/>
                      <a:pt x="34" y="3648"/>
                      <a:pt x="34" y="3648"/>
                    </a:cubicBezTo>
                    <a:cubicBezTo>
                      <a:pt x="46" y="3664"/>
                      <a:pt x="46" y="3664"/>
                      <a:pt x="46" y="3664"/>
                    </a:cubicBezTo>
                    <a:cubicBezTo>
                      <a:pt x="52" y="3675"/>
                      <a:pt x="79" y="3714"/>
                      <a:pt x="118" y="3771"/>
                    </a:cubicBezTo>
                    <a:close/>
                    <a:moveTo>
                      <a:pt x="186" y="3617"/>
                    </a:moveTo>
                    <a:cubicBezTo>
                      <a:pt x="199" y="3663"/>
                      <a:pt x="199" y="3663"/>
                      <a:pt x="199" y="3663"/>
                    </a:cubicBezTo>
                    <a:cubicBezTo>
                      <a:pt x="360" y="3597"/>
                      <a:pt x="360" y="3597"/>
                      <a:pt x="360" y="3597"/>
                    </a:cubicBezTo>
                    <a:cubicBezTo>
                      <a:pt x="302" y="3478"/>
                      <a:pt x="302" y="3478"/>
                      <a:pt x="302" y="3478"/>
                    </a:cubicBezTo>
                    <a:lnTo>
                      <a:pt x="186" y="3617"/>
                    </a:lnTo>
                    <a:close/>
                    <a:moveTo>
                      <a:pt x="459" y="4259"/>
                    </a:moveTo>
                    <a:cubicBezTo>
                      <a:pt x="710" y="4056"/>
                      <a:pt x="710" y="4056"/>
                      <a:pt x="710" y="4056"/>
                    </a:cubicBezTo>
                    <a:cubicBezTo>
                      <a:pt x="640" y="4003"/>
                      <a:pt x="594" y="3932"/>
                      <a:pt x="593" y="3931"/>
                    </a:cubicBezTo>
                    <a:cubicBezTo>
                      <a:pt x="593" y="3931"/>
                      <a:pt x="593" y="3931"/>
                      <a:pt x="593" y="3931"/>
                    </a:cubicBezTo>
                    <a:cubicBezTo>
                      <a:pt x="564" y="3888"/>
                      <a:pt x="506" y="3789"/>
                      <a:pt x="462" y="3695"/>
                    </a:cubicBezTo>
                    <a:cubicBezTo>
                      <a:pt x="455" y="3680"/>
                      <a:pt x="447" y="3662"/>
                      <a:pt x="439" y="3644"/>
                    </a:cubicBezTo>
                    <a:cubicBezTo>
                      <a:pt x="126" y="3783"/>
                      <a:pt x="126" y="3783"/>
                      <a:pt x="126" y="3783"/>
                    </a:cubicBezTo>
                    <a:cubicBezTo>
                      <a:pt x="197" y="3884"/>
                      <a:pt x="303" y="4037"/>
                      <a:pt x="414" y="4195"/>
                    </a:cubicBezTo>
                    <a:cubicBezTo>
                      <a:pt x="429" y="4217"/>
                      <a:pt x="444" y="4238"/>
                      <a:pt x="459" y="4259"/>
                    </a:cubicBezTo>
                    <a:close/>
                    <a:moveTo>
                      <a:pt x="641" y="4517"/>
                    </a:moveTo>
                    <a:cubicBezTo>
                      <a:pt x="650" y="4514"/>
                      <a:pt x="650" y="4514"/>
                      <a:pt x="650" y="4514"/>
                    </a:cubicBezTo>
                    <a:cubicBezTo>
                      <a:pt x="655" y="4513"/>
                      <a:pt x="716" y="4488"/>
                      <a:pt x="782" y="4403"/>
                    </a:cubicBezTo>
                    <a:cubicBezTo>
                      <a:pt x="816" y="4360"/>
                      <a:pt x="840" y="4295"/>
                      <a:pt x="854" y="4241"/>
                    </a:cubicBezTo>
                    <a:cubicBezTo>
                      <a:pt x="864" y="4204"/>
                      <a:pt x="869" y="4174"/>
                      <a:pt x="872" y="4157"/>
                    </a:cubicBezTo>
                    <a:cubicBezTo>
                      <a:pt x="826" y="4130"/>
                      <a:pt x="774" y="4100"/>
                      <a:pt x="731" y="4071"/>
                    </a:cubicBezTo>
                    <a:cubicBezTo>
                      <a:pt x="728" y="4069"/>
                      <a:pt x="725" y="4067"/>
                      <a:pt x="722" y="4065"/>
                    </a:cubicBezTo>
                    <a:cubicBezTo>
                      <a:pt x="467" y="4271"/>
                      <a:pt x="467" y="4271"/>
                      <a:pt x="467" y="4271"/>
                    </a:cubicBezTo>
                    <a:cubicBezTo>
                      <a:pt x="527" y="4356"/>
                      <a:pt x="586" y="4440"/>
                      <a:pt x="641" y="4517"/>
                    </a:cubicBezTo>
                    <a:close/>
                    <a:moveTo>
                      <a:pt x="227" y="5008"/>
                    </a:moveTo>
                    <a:cubicBezTo>
                      <a:pt x="319" y="4961"/>
                      <a:pt x="319" y="4961"/>
                      <a:pt x="319" y="4961"/>
                    </a:cubicBezTo>
                    <a:cubicBezTo>
                      <a:pt x="337" y="4948"/>
                      <a:pt x="337" y="4948"/>
                      <a:pt x="337" y="4948"/>
                    </a:cubicBezTo>
                    <a:cubicBezTo>
                      <a:pt x="339" y="4951"/>
                      <a:pt x="339" y="4951"/>
                      <a:pt x="339" y="4951"/>
                    </a:cubicBezTo>
                    <a:cubicBezTo>
                      <a:pt x="727" y="4750"/>
                      <a:pt x="727" y="4750"/>
                      <a:pt x="727" y="4750"/>
                    </a:cubicBezTo>
                    <a:cubicBezTo>
                      <a:pt x="693" y="4702"/>
                      <a:pt x="652" y="4645"/>
                      <a:pt x="607" y="4583"/>
                    </a:cubicBezTo>
                    <a:cubicBezTo>
                      <a:pt x="150" y="4804"/>
                      <a:pt x="150" y="4804"/>
                      <a:pt x="150" y="4804"/>
                    </a:cubicBezTo>
                    <a:cubicBezTo>
                      <a:pt x="115" y="4948"/>
                      <a:pt x="115" y="4948"/>
                      <a:pt x="115" y="4948"/>
                    </a:cubicBezTo>
                    <a:cubicBezTo>
                      <a:pt x="141" y="4955"/>
                      <a:pt x="166" y="4963"/>
                      <a:pt x="185" y="4975"/>
                    </a:cubicBezTo>
                    <a:cubicBezTo>
                      <a:pt x="199" y="4983"/>
                      <a:pt x="213" y="4995"/>
                      <a:pt x="227" y="5008"/>
                    </a:cubicBezTo>
                    <a:close/>
                    <a:moveTo>
                      <a:pt x="292" y="5080"/>
                    </a:moveTo>
                    <a:cubicBezTo>
                      <a:pt x="319" y="5069"/>
                      <a:pt x="319" y="5069"/>
                      <a:pt x="319" y="5069"/>
                    </a:cubicBezTo>
                    <a:cubicBezTo>
                      <a:pt x="269" y="5002"/>
                      <a:pt x="269" y="5002"/>
                      <a:pt x="269" y="5002"/>
                    </a:cubicBezTo>
                    <a:cubicBezTo>
                      <a:pt x="237" y="5019"/>
                      <a:pt x="237" y="5019"/>
                      <a:pt x="237" y="5019"/>
                    </a:cubicBezTo>
                    <a:cubicBezTo>
                      <a:pt x="255" y="5037"/>
                      <a:pt x="274" y="5057"/>
                      <a:pt x="292" y="5080"/>
                    </a:cubicBezTo>
                    <a:close/>
                    <a:moveTo>
                      <a:pt x="367" y="5173"/>
                    </a:moveTo>
                    <a:cubicBezTo>
                      <a:pt x="390" y="5165"/>
                      <a:pt x="390" y="5165"/>
                      <a:pt x="390" y="5165"/>
                    </a:cubicBezTo>
                    <a:cubicBezTo>
                      <a:pt x="328" y="5081"/>
                      <a:pt x="328" y="5081"/>
                      <a:pt x="328" y="5081"/>
                    </a:cubicBezTo>
                    <a:cubicBezTo>
                      <a:pt x="302" y="5091"/>
                      <a:pt x="302" y="5091"/>
                      <a:pt x="302" y="5091"/>
                    </a:cubicBezTo>
                    <a:cubicBezTo>
                      <a:pt x="303" y="5092"/>
                      <a:pt x="304" y="5093"/>
                      <a:pt x="305" y="5094"/>
                    </a:cubicBezTo>
                    <a:cubicBezTo>
                      <a:pt x="327" y="5121"/>
                      <a:pt x="348" y="5149"/>
                      <a:pt x="367" y="5173"/>
                    </a:cubicBezTo>
                    <a:close/>
                    <a:moveTo>
                      <a:pt x="261" y="5591"/>
                    </a:moveTo>
                    <a:cubicBezTo>
                      <a:pt x="291" y="5584"/>
                      <a:pt x="336" y="5574"/>
                      <a:pt x="382" y="5563"/>
                    </a:cubicBezTo>
                    <a:cubicBezTo>
                      <a:pt x="442" y="5550"/>
                      <a:pt x="500" y="5536"/>
                      <a:pt x="528" y="5531"/>
                    </a:cubicBezTo>
                    <a:cubicBezTo>
                      <a:pt x="473" y="5439"/>
                      <a:pt x="387" y="5313"/>
                      <a:pt x="353" y="5266"/>
                    </a:cubicBezTo>
                    <a:cubicBezTo>
                      <a:pt x="344" y="5252"/>
                      <a:pt x="330" y="5233"/>
                      <a:pt x="314" y="5212"/>
                    </a:cubicBezTo>
                    <a:cubicBezTo>
                      <a:pt x="127" y="5436"/>
                      <a:pt x="127" y="5436"/>
                      <a:pt x="127" y="5436"/>
                    </a:cubicBezTo>
                    <a:cubicBezTo>
                      <a:pt x="152" y="5451"/>
                      <a:pt x="185" y="5475"/>
                      <a:pt x="214" y="5513"/>
                    </a:cubicBezTo>
                    <a:cubicBezTo>
                      <a:pt x="228" y="5532"/>
                      <a:pt x="246" y="5559"/>
                      <a:pt x="261" y="5591"/>
                    </a:cubicBezTo>
                    <a:close/>
                    <a:moveTo>
                      <a:pt x="243" y="6442"/>
                    </a:moveTo>
                    <a:cubicBezTo>
                      <a:pt x="556" y="6470"/>
                      <a:pt x="556" y="6470"/>
                      <a:pt x="556" y="6470"/>
                    </a:cubicBezTo>
                    <a:cubicBezTo>
                      <a:pt x="552" y="6454"/>
                      <a:pt x="549" y="6439"/>
                      <a:pt x="548" y="6425"/>
                    </a:cubicBezTo>
                    <a:cubicBezTo>
                      <a:pt x="548" y="6420"/>
                      <a:pt x="549" y="6415"/>
                      <a:pt x="549" y="6410"/>
                    </a:cubicBezTo>
                    <a:cubicBezTo>
                      <a:pt x="553" y="6387"/>
                      <a:pt x="567" y="6307"/>
                      <a:pt x="581" y="6236"/>
                    </a:cubicBezTo>
                    <a:cubicBezTo>
                      <a:pt x="515" y="6214"/>
                      <a:pt x="329" y="6146"/>
                      <a:pt x="271" y="6124"/>
                    </a:cubicBezTo>
                    <a:cubicBezTo>
                      <a:pt x="160" y="6294"/>
                      <a:pt x="160" y="6294"/>
                      <a:pt x="160" y="6294"/>
                    </a:cubicBezTo>
                    <a:lnTo>
                      <a:pt x="243" y="6442"/>
                    </a:lnTo>
                    <a:close/>
                    <a:moveTo>
                      <a:pt x="159" y="6674"/>
                    </a:moveTo>
                    <a:cubicBezTo>
                      <a:pt x="250" y="6729"/>
                      <a:pt x="523" y="6905"/>
                      <a:pt x="560" y="6930"/>
                    </a:cubicBezTo>
                    <a:cubicBezTo>
                      <a:pt x="748" y="6670"/>
                      <a:pt x="748" y="6670"/>
                      <a:pt x="748" y="6670"/>
                    </a:cubicBezTo>
                    <a:cubicBezTo>
                      <a:pt x="753" y="6671"/>
                      <a:pt x="753" y="6671"/>
                      <a:pt x="753" y="6671"/>
                    </a:cubicBezTo>
                    <a:cubicBezTo>
                      <a:pt x="748" y="6668"/>
                      <a:pt x="748" y="6668"/>
                      <a:pt x="748" y="6668"/>
                    </a:cubicBezTo>
                    <a:cubicBezTo>
                      <a:pt x="749" y="6668"/>
                      <a:pt x="749" y="6668"/>
                      <a:pt x="749" y="6668"/>
                    </a:cubicBezTo>
                    <a:cubicBezTo>
                      <a:pt x="708" y="6640"/>
                      <a:pt x="708" y="6640"/>
                      <a:pt x="708" y="6640"/>
                    </a:cubicBezTo>
                    <a:cubicBezTo>
                      <a:pt x="685" y="6624"/>
                      <a:pt x="685" y="6624"/>
                      <a:pt x="685" y="6624"/>
                    </a:cubicBezTo>
                    <a:cubicBezTo>
                      <a:pt x="665" y="6612"/>
                      <a:pt x="656" y="6606"/>
                      <a:pt x="640" y="6595"/>
                    </a:cubicBezTo>
                    <a:cubicBezTo>
                      <a:pt x="624" y="6583"/>
                      <a:pt x="613" y="6576"/>
                      <a:pt x="604" y="6567"/>
                    </a:cubicBezTo>
                    <a:cubicBezTo>
                      <a:pt x="602" y="6566"/>
                      <a:pt x="602" y="6566"/>
                      <a:pt x="602" y="6566"/>
                    </a:cubicBezTo>
                    <a:cubicBezTo>
                      <a:pt x="601" y="6564"/>
                      <a:pt x="601" y="6564"/>
                      <a:pt x="601" y="6564"/>
                    </a:cubicBezTo>
                    <a:cubicBezTo>
                      <a:pt x="584" y="6541"/>
                      <a:pt x="570" y="6513"/>
                      <a:pt x="560" y="6484"/>
                    </a:cubicBezTo>
                    <a:cubicBezTo>
                      <a:pt x="244" y="6456"/>
                      <a:pt x="244" y="6456"/>
                      <a:pt x="244" y="6456"/>
                    </a:cubicBezTo>
                    <a:lnTo>
                      <a:pt x="159" y="6674"/>
                    </a:lnTo>
                    <a:close/>
                    <a:moveTo>
                      <a:pt x="648" y="7011"/>
                    </a:moveTo>
                    <a:cubicBezTo>
                      <a:pt x="551" y="6943"/>
                      <a:pt x="551" y="6943"/>
                      <a:pt x="551" y="6943"/>
                    </a:cubicBezTo>
                    <a:cubicBezTo>
                      <a:pt x="552" y="6941"/>
                      <a:pt x="552" y="6941"/>
                      <a:pt x="552" y="6941"/>
                    </a:cubicBezTo>
                    <a:cubicBezTo>
                      <a:pt x="530" y="6927"/>
                      <a:pt x="436" y="6868"/>
                      <a:pt x="342" y="6807"/>
                    </a:cubicBezTo>
                    <a:cubicBezTo>
                      <a:pt x="289" y="6773"/>
                      <a:pt x="235" y="6738"/>
                      <a:pt x="194" y="6712"/>
                    </a:cubicBezTo>
                    <a:cubicBezTo>
                      <a:pt x="178" y="6702"/>
                      <a:pt x="165" y="6694"/>
                      <a:pt x="154" y="6687"/>
                    </a:cubicBezTo>
                    <a:cubicBezTo>
                      <a:pt x="40" y="6978"/>
                      <a:pt x="40" y="6978"/>
                      <a:pt x="40" y="6978"/>
                    </a:cubicBezTo>
                    <a:cubicBezTo>
                      <a:pt x="464" y="7314"/>
                      <a:pt x="464" y="7314"/>
                      <a:pt x="464" y="7314"/>
                    </a:cubicBezTo>
                    <a:lnTo>
                      <a:pt x="648" y="7011"/>
                    </a:lnTo>
                    <a:close/>
                    <a:moveTo>
                      <a:pt x="549" y="7377"/>
                    </a:moveTo>
                    <a:cubicBezTo>
                      <a:pt x="571" y="7297"/>
                      <a:pt x="662" y="7188"/>
                      <a:pt x="683" y="7146"/>
                    </a:cubicBezTo>
                    <a:cubicBezTo>
                      <a:pt x="685" y="7141"/>
                      <a:pt x="686" y="7137"/>
                      <a:pt x="686" y="7133"/>
                    </a:cubicBezTo>
                    <a:cubicBezTo>
                      <a:pt x="687" y="7121"/>
                      <a:pt x="675" y="7107"/>
                      <a:pt x="661" y="7096"/>
                    </a:cubicBezTo>
                    <a:cubicBezTo>
                      <a:pt x="648" y="7085"/>
                      <a:pt x="634" y="7079"/>
                      <a:pt x="634" y="7079"/>
                    </a:cubicBezTo>
                    <a:cubicBezTo>
                      <a:pt x="644" y="7056"/>
                      <a:pt x="644" y="7056"/>
                      <a:pt x="644" y="7056"/>
                    </a:cubicBezTo>
                    <a:cubicBezTo>
                      <a:pt x="645" y="7057"/>
                      <a:pt x="660" y="7064"/>
                      <a:pt x="676" y="7077"/>
                    </a:cubicBezTo>
                    <a:cubicBezTo>
                      <a:pt x="692" y="7089"/>
                      <a:pt x="710" y="7107"/>
                      <a:pt x="711" y="7133"/>
                    </a:cubicBezTo>
                    <a:cubicBezTo>
                      <a:pt x="711" y="7141"/>
                      <a:pt x="709" y="7149"/>
                      <a:pt x="705" y="7157"/>
                    </a:cubicBezTo>
                    <a:cubicBezTo>
                      <a:pt x="680" y="7206"/>
                      <a:pt x="582" y="7324"/>
                      <a:pt x="570" y="7393"/>
                    </a:cubicBezTo>
                    <a:cubicBezTo>
                      <a:pt x="575" y="7397"/>
                      <a:pt x="580" y="7401"/>
                      <a:pt x="585" y="7404"/>
                    </a:cubicBezTo>
                    <a:cubicBezTo>
                      <a:pt x="605" y="7420"/>
                      <a:pt x="624" y="7435"/>
                      <a:pt x="641" y="7448"/>
                    </a:cubicBezTo>
                    <a:cubicBezTo>
                      <a:pt x="652" y="7410"/>
                      <a:pt x="661" y="7375"/>
                      <a:pt x="662" y="7368"/>
                    </a:cubicBezTo>
                    <a:cubicBezTo>
                      <a:pt x="664" y="7361"/>
                      <a:pt x="662" y="7340"/>
                      <a:pt x="672" y="7308"/>
                    </a:cubicBezTo>
                    <a:cubicBezTo>
                      <a:pt x="678" y="7291"/>
                      <a:pt x="686" y="7280"/>
                      <a:pt x="698" y="7265"/>
                    </a:cubicBezTo>
                    <a:cubicBezTo>
                      <a:pt x="714" y="7243"/>
                      <a:pt x="736" y="7217"/>
                      <a:pt x="754" y="7197"/>
                    </a:cubicBezTo>
                    <a:cubicBezTo>
                      <a:pt x="763" y="7187"/>
                      <a:pt x="772" y="7178"/>
                      <a:pt x="778" y="7171"/>
                    </a:cubicBezTo>
                    <a:cubicBezTo>
                      <a:pt x="781" y="7168"/>
                      <a:pt x="783" y="7165"/>
                      <a:pt x="785" y="7163"/>
                    </a:cubicBezTo>
                    <a:cubicBezTo>
                      <a:pt x="786" y="7162"/>
                      <a:pt x="787" y="7162"/>
                      <a:pt x="788" y="7161"/>
                    </a:cubicBezTo>
                    <a:cubicBezTo>
                      <a:pt x="788" y="7160"/>
                      <a:pt x="789" y="7160"/>
                      <a:pt x="789" y="7159"/>
                    </a:cubicBezTo>
                    <a:cubicBezTo>
                      <a:pt x="789" y="7159"/>
                      <a:pt x="790" y="7159"/>
                      <a:pt x="790" y="7159"/>
                    </a:cubicBezTo>
                    <a:cubicBezTo>
                      <a:pt x="790" y="7159"/>
                      <a:pt x="790" y="7159"/>
                      <a:pt x="790" y="7159"/>
                    </a:cubicBezTo>
                    <a:cubicBezTo>
                      <a:pt x="797" y="7152"/>
                      <a:pt x="881" y="7066"/>
                      <a:pt x="961" y="6982"/>
                    </a:cubicBezTo>
                    <a:cubicBezTo>
                      <a:pt x="1001" y="6942"/>
                      <a:pt x="1040" y="6901"/>
                      <a:pt x="1069" y="6870"/>
                    </a:cubicBezTo>
                    <a:cubicBezTo>
                      <a:pt x="763" y="6678"/>
                      <a:pt x="763" y="6678"/>
                      <a:pt x="763" y="6678"/>
                    </a:cubicBezTo>
                    <a:cubicBezTo>
                      <a:pt x="574" y="6939"/>
                      <a:pt x="574" y="6939"/>
                      <a:pt x="574" y="6939"/>
                    </a:cubicBezTo>
                    <a:cubicBezTo>
                      <a:pt x="670" y="7006"/>
                      <a:pt x="670" y="7006"/>
                      <a:pt x="670" y="7006"/>
                    </a:cubicBezTo>
                    <a:cubicBezTo>
                      <a:pt x="477" y="7324"/>
                      <a:pt x="477" y="7324"/>
                      <a:pt x="477" y="7324"/>
                    </a:cubicBezTo>
                    <a:cubicBezTo>
                      <a:pt x="493" y="7335"/>
                      <a:pt x="522" y="7356"/>
                      <a:pt x="549" y="7377"/>
                    </a:cubicBezTo>
                    <a:close/>
                    <a:moveTo>
                      <a:pt x="221" y="8137"/>
                    </a:moveTo>
                    <a:cubicBezTo>
                      <a:pt x="238" y="8115"/>
                      <a:pt x="256" y="8092"/>
                      <a:pt x="273" y="8069"/>
                    </a:cubicBezTo>
                    <a:cubicBezTo>
                      <a:pt x="302" y="8031"/>
                      <a:pt x="332" y="7992"/>
                      <a:pt x="360" y="7954"/>
                    </a:cubicBezTo>
                    <a:cubicBezTo>
                      <a:pt x="379" y="7869"/>
                      <a:pt x="415" y="7782"/>
                      <a:pt x="443" y="7747"/>
                    </a:cubicBezTo>
                    <a:cubicBezTo>
                      <a:pt x="468" y="7717"/>
                      <a:pt x="491" y="7646"/>
                      <a:pt x="509" y="7575"/>
                    </a:cubicBezTo>
                    <a:cubicBezTo>
                      <a:pt x="519" y="7532"/>
                      <a:pt x="528" y="7488"/>
                      <a:pt x="535" y="7452"/>
                    </a:cubicBezTo>
                    <a:cubicBezTo>
                      <a:pt x="526" y="7445"/>
                      <a:pt x="517" y="7439"/>
                      <a:pt x="509" y="7433"/>
                    </a:cubicBezTo>
                    <a:cubicBezTo>
                      <a:pt x="394" y="7704"/>
                      <a:pt x="394" y="7704"/>
                      <a:pt x="394" y="7704"/>
                    </a:cubicBezTo>
                    <a:cubicBezTo>
                      <a:pt x="289" y="7662"/>
                      <a:pt x="289" y="7662"/>
                      <a:pt x="289" y="7662"/>
                    </a:cubicBezTo>
                    <a:cubicBezTo>
                      <a:pt x="82" y="8018"/>
                      <a:pt x="82" y="8018"/>
                      <a:pt x="82" y="8018"/>
                    </a:cubicBezTo>
                    <a:cubicBezTo>
                      <a:pt x="145" y="8072"/>
                      <a:pt x="194" y="8114"/>
                      <a:pt x="221" y="8137"/>
                    </a:cubicBezTo>
                    <a:close/>
                    <a:moveTo>
                      <a:pt x="714" y="8540"/>
                    </a:moveTo>
                    <a:cubicBezTo>
                      <a:pt x="797" y="8350"/>
                      <a:pt x="797" y="8350"/>
                      <a:pt x="797" y="8350"/>
                    </a:cubicBezTo>
                    <a:cubicBezTo>
                      <a:pt x="780" y="8345"/>
                      <a:pt x="764" y="8339"/>
                      <a:pt x="745" y="8334"/>
                    </a:cubicBezTo>
                    <a:cubicBezTo>
                      <a:pt x="638" y="8305"/>
                      <a:pt x="498" y="8271"/>
                      <a:pt x="385" y="8255"/>
                    </a:cubicBezTo>
                    <a:cubicBezTo>
                      <a:pt x="330" y="8247"/>
                      <a:pt x="288" y="8242"/>
                      <a:pt x="260" y="8238"/>
                    </a:cubicBezTo>
                    <a:cubicBezTo>
                      <a:pt x="247" y="8236"/>
                      <a:pt x="238" y="8235"/>
                      <a:pt x="231" y="8234"/>
                    </a:cubicBezTo>
                    <a:cubicBezTo>
                      <a:pt x="181" y="8299"/>
                      <a:pt x="140" y="8352"/>
                      <a:pt x="121" y="8376"/>
                    </a:cubicBezTo>
                    <a:lnTo>
                      <a:pt x="714" y="8540"/>
                    </a:lnTo>
                    <a:close/>
                    <a:moveTo>
                      <a:pt x="1142" y="8692"/>
                    </a:moveTo>
                    <a:cubicBezTo>
                      <a:pt x="1214" y="8614"/>
                      <a:pt x="1214" y="8614"/>
                      <a:pt x="1214" y="8614"/>
                    </a:cubicBezTo>
                    <a:cubicBezTo>
                      <a:pt x="1204" y="8604"/>
                      <a:pt x="1184" y="8585"/>
                      <a:pt x="1157" y="8562"/>
                    </a:cubicBezTo>
                    <a:cubicBezTo>
                      <a:pt x="1150" y="8573"/>
                      <a:pt x="1141" y="8584"/>
                      <a:pt x="1128" y="8594"/>
                    </a:cubicBezTo>
                    <a:cubicBezTo>
                      <a:pt x="1098" y="8617"/>
                      <a:pt x="1069" y="8627"/>
                      <a:pt x="1042" y="8627"/>
                    </a:cubicBezTo>
                    <a:cubicBezTo>
                      <a:pt x="999" y="8627"/>
                      <a:pt x="964" y="8602"/>
                      <a:pt x="937" y="8577"/>
                    </a:cubicBezTo>
                    <a:cubicBezTo>
                      <a:pt x="910" y="8552"/>
                      <a:pt x="887" y="8526"/>
                      <a:pt x="877" y="8524"/>
                    </a:cubicBezTo>
                    <a:cubicBezTo>
                      <a:pt x="873" y="8523"/>
                      <a:pt x="868" y="8522"/>
                      <a:pt x="863" y="8522"/>
                    </a:cubicBezTo>
                    <a:cubicBezTo>
                      <a:pt x="846" y="8522"/>
                      <a:pt x="824" y="8530"/>
                      <a:pt x="808" y="8544"/>
                    </a:cubicBezTo>
                    <a:cubicBezTo>
                      <a:pt x="791" y="8558"/>
                      <a:pt x="779" y="8577"/>
                      <a:pt x="779" y="8601"/>
                    </a:cubicBezTo>
                    <a:cubicBezTo>
                      <a:pt x="779" y="8605"/>
                      <a:pt x="781" y="8619"/>
                      <a:pt x="781" y="8624"/>
                    </a:cubicBezTo>
                    <a:cubicBezTo>
                      <a:pt x="781" y="8624"/>
                      <a:pt x="755" y="8609"/>
                      <a:pt x="755" y="8609"/>
                    </a:cubicBezTo>
                    <a:cubicBezTo>
                      <a:pt x="755" y="8606"/>
                      <a:pt x="755" y="8603"/>
                      <a:pt x="755" y="8601"/>
                    </a:cubicBezTo>
                    <a:cubicBezTo>
                      <a:pt x="756" y="8536"/>
                      <a:pt x="816" y="8498"/>
                      <a:pt x="863" y="8497"/>
                    </a:cubicBezTo>
                    <a:cubicBezTo>
                      <a:pt x="871" y="8497"/>
                      <a:pt x="878" y="8498"/>
                      <a:pt x="884" y="8501"/>
                    </a:cubicBezTo>
                    <a:cubicBezTo>
                      <a:pt x="908" y="8509"/>
                      <a:pt x="927" y="8535"/>
                      <a:pt x="953" y="8559"/>
                    </a:cubicBezTo>
                    <a:cubicBezTo>
                      <a:pt x="979" y="8582"/>
                      <a:pt x="1009" y="8603"/>
                      <a:pt x="1042" y="8603"/>
                    </a:cubicBezTo>
                    <a:cubicBezTo>
                      <a:pt x="1063" y="8603"/>
                      <a:pt x="1086" y="8595"/>
                      <a:pt x="1113" y="8574"/>
                    </a:cubicBezTo>
                    <a:cubicBezTo>
                      <a:pt x="1125" y="8565"/>
                      <a:pt x="1133" y="8555"/>
                      <a:pt x="1139" y="8546"/>
                    </a:cubicBezTo>
                    <a:cubicBezTo>
                      <a:pt x="1138" y="8546"/>
                      <a:pt x="1138" y="8546"/>
                      <a:pt x="1137" y="8545"/>
                    </a:cubicBezTo>
                    <a:cubicBezTo>
                      <a:pt x="1090" y="8505"/>
                      <a:pt x="1031" y="8459"/>
                      <a:pt x="995" y="8441"/>
                    </a:cubicBezTo>
                    <a:cubicBezTo>
                      <a:pt x="931" y="8408"/>
                      <a:pt x="879" y="8380"/>
                      <a:pt x="812" y="8356"/>
                    </a:cubicBezTo>
                    <a:cubicBezTo>
                      <a:pt x="695" y="8623"/>
                      <a:pt x="695" y="8623"/>
                      <a:pt x="695" y="8623"/>
                    </a:cubicBezTo>
                    <a:lnTo>
                      <a:pt x="1142" y="8692"/>
                    </a:lnTo>
                    <a:close/>
                    <a:moveTo>
                      <a:pt x="843" y="9006"/>
                    </a:moveTo>
                    <a:cubicBezTo>
                      <a:pt x="846" y="9025"/>
                      <a:pt x="882" y="9236"/>
                      <a:pt x="886" y="9285"/>
                    </a:cubicBezTo>
                    <a:cubicBezTo>
                      <a:pt x="900" y="9284"/>
                      <a:pt x="914" y="9283"/>
                      <a:pt x="927" y="9281"/>
                    </a:cubicBezTo>
                    <a:cubicBezTo>
                      <a:pt x="979" y="9277"/>
                      <a:pt x="1030" y="9273"/>
                      <a:pt x="1069" y="9269"/>
                    </a:cubicBezTo>
                    <a:cubicBezTo>
                      <a:pt x="1088" y="9268"/>
                      <a:pt x="1104" y="9266"/>
                      <a:pt x="1115" y="9265"/>
                    </a:cubicBezTo>
                    <a:cubicBezTo>
                      <a:pt x="1121" y="9265"/>
                      <a:pt x="1126" y="9264"/>
                      <a:pt x="1129" y="9264"/>
                    </a:cubicBezTo>
                    <a:cubicBezTo>
                      <a:pt x="1130" y="9264"/>
                      <a:pt x="1131" y="9263"/>
                      <a:pt x="1132" y="9263"/>
                    </a:cubicBezTo>
                    <a:cubicBezTo>
                      <a:pt x="1138" y="9257"/>
                      <a:pt x="1162" y="9221"/>
                      <a:pt x="1183" y="9187"/>
                    </a:cubicBezTo>
                    <a:cubicBezTo>
                      <a:pt x="1206" y="9151"/>
                      <a:pt x="1227" y="9117"/>
                      <a:pt x="1227" y="9117"/>
                    </a:cubicBezTo>
                    <a:cubicBezTo>
                      <a:pt x="1230" y="9111"/>
                      <a:pt x="1230" y="9111"/>
                      <a:pt x="1230" y="9111"/>
                    </a:cubicBezTo>
                    <a:cubicBezTo>
                      <a:pt x="1313" y="9149"/>
                      <a:pt x="1313" y="9149"/>
                      <a:pt x="1313" y="9149"/>
                    </a:cubicBezTo>
                    <a:cubicBezTo>
                      <a:pt x="1326" y="9134"/>
                      <a:pt x="1374" y="9077"/>
                      <a:pt x="1422" y="9019"/>
                    </a:cubicBezTo>
                    <a:cubicBezTo>
                      <a:pt x="1450" y="8985"/>
                      <a:pt x="1478" y="8951"/>
                      <a:pt x="1499" y="8924"/>
                    </a:cubicBezTo>
                    <a:cubicBezTo>
                      <a:pt x="1510" y="8911"/>
                      <a:pt x="1518" y="8900"/>
                      <a:pt x="1524" y="8892"/>
                    </a:cubicBezTo>
                    <a:cubicBezTo>
                      <a:pt x="1526" y="8890"/>
                      <a:pt x="1526" y="8889"/>
                      <a:pt x="1527" y="8888"/>
                    </a:cubicBezTo>
                    <a:cubicBezTo>
                      <a:pt x="1526" y="8887"/>
                      <a:pt x="1524" y="8885"/>
                      <a:pt x="1523" y="8884"/>
                    </a:cubicBezTo>
                    <a:cubicBezTo>
                      <a:pt x="1487" y="8849"/>
                      <a:pt x="1409" y="8781"/>
                      <a:pt x="1342" y="8723"/>
                    </a:cubicBezTo>
                    <a:cubicBezTo>
                      <a:pt x="1291" y="8680"/>
                      <a:pt x="1246" y="8642"/>
                      <a:pt x="1226" y="8625"/>
                    </a:cubicBezTo>
                    <a:cubicBezTo>
                      <a:pt x="1149" y="8710"/>
                      <a:pt x="1149" y="8710"/>
                      <a:pt x="1149" y="8710"/>
                    </a:cubicBezTo>
                    <a:cubicBezTo>
                      <a:pt x="914" y="8673"/>
                      <a:pt x="914" y="8673"/>
                      <a:pt x="914" y="8673"/>
                    </a:cubicBezTo>
                    <a:lnTo>
                      <a:pt x="843" y="9006"/>
                    </a:lnTo>
                    <a:close/>
                    <a:moveTo>
                      <a:pt x="117" y="8616"/>
                    </a:moveTo>
                    <a:cubicBezTo>
                      <a:pt x="183" y="8529"/>
                      <a:pt x="183" y="8529"/>
                      <a:pt x="183" y="8529"/>
                    </a:cubicBezTo>
                    <a:cubicBezTo>
                      <a:pt x="95" y="8465"/>
                      <a:pt x="95" y="8465"/>
                      <a:pt x="95" y="8465"/>
                    </a:cubicBezTo>
                    <a:cubicBezTo>
                      <a:pt x="19" y="8565"/>
                      <a:pt x="19" y="8565"/>
                      <a:pt x="19" y="8565"/>
                    </a:cubicBezTo>
                    <a:lnTo>
                      <a:pt x="117" y="8616"/>
                    </a:lnTo>
                    <a:close/>
                    <a:moveTo>
                      <a:pt x="699" y="9296"/>
                    </a:moveTo>
                    <a:cubicBezTo>
                      <a:pt x="700" y="9297"/>
                      <a:pt x="701" y="9297"/>
                      <a:pt x="701" y="9298"/>
                    </a:cubicBezTo>
                    <a:cubicBezTo>
                      <a:pt x="715" y="9298"/>
                      <a:pt x="789" y="9292"/>
                      <a:pt x="872" y="9286"/>
                    </a:cubicBezTo>
                    <a:cubicBezTo>
                      <a:pt x="869" y="9240"/>
                      <a:pt x="829" y="9007"/>
                      <a:pt x="829" y="9007"/>
                    </a:cubicBezTo>
                    <a:cubicBezTo>
                      <a:pt x="829" y="9005"/>
                      <a:pt x="829" y="9005"/>
                      <a:pt x="829" y="9005"/>
                    </a:cubicBezTo>
                    <a:cubicBezTo>
                      <a:pt x="829" y="9004"/>
                      <a:pt x="829" y="9004"/>
                      <a:pt x="829" y="9004"/>
                    </a:cubicBezTo>
                    <a:cubicBezTo>
                      <a:pt x="121" y="8634"/>
                      <a:pt x="121" y="8634"/>
                      <a:pt x="121" y="8634"/>
                    </a:cubicBezTo>
                    <a:cubicBezTo>
                      <a:pt x="28" y="8757"/>
                      <a:pt x="28" y="8757"/>
                      <a:pt x="28" y="8757"/>
                    </a:cubicBezTo>
                    <a:cubicBezTo>
                      <a:pt x="384" y="8945"/>
                      <a:pt x="384" y="8945"/>
                      <a:pt x="384" y="8945"/>
                    </a:cubicBezTo>
                    <a:cubicBezTo>
                      <a:pt x="384" y="8946"/>
                      <a:pt x="384" y="8946"/>
                      <a:pt x="384" y="8946"/>
                    </a:cubicBezTo>
                    <a:cubicBezTo>
                      <a:pt x="385" y="8946"/>
                      <a:pt x="462" y="9034"/>
                      <a:pt x="541" y="9122"/>
                    </a:cubicBezTo>
                    <a:cubicBezTo>
                      <a:pt x="581" y="9166"/>
                      <a:pt x="620" y="9210"/>
                      <a:pt x="651" y="9244"/>
                    </a:cubicBezTo>
                    <a:cubicBezTo>
                      <a:pt x="666" y="9260"/>
                      <a:pt x="679" y="9274"/>
                      <a:pt x="688" y="9284"/>
                    </a:cubicBezTo>
                    <a:cubicBezTo>
                      <a:pt x="692" y="9289"/>
                      <a:pt x="696" y="9293"/>
                      <a:pt x="699" y="9296"/>
                    </a:cubicBezTo>
                    <a:close/>
                    <a:moveTo>
                      <a:pt x="492" y="9930"/>
                    </a:moveTo>
                    <a:cubicBezTo>
                      <a:pt x="497" y="9923"/>
                      <a:pt x="504" y="9913"/>
                      <a:pt x="512" y="9902"/>
                    </a:cubicBezTo>
                    <a:cubicBezTo>
                      <a:pt x="431" y="9838"/>
                      <a:pt x="431" y="9838"/>
                      <a:pt x="431" y="9838"/>
                    </a:cubicBezTo>
                    <a:cubicBezTo>
                      <a:pt x="435" y="9833"/>
                      <a:pt x="435" y="9833"/>
                      <a:pt x="435" y="9833"/>
                    </a:cubicBezTo>
                    <a:cubicBezTo>
                      <a:pt x="485" y="9771"/>
                      <a:pt x="485" y="9771"/>
                      <a:pt x="485" y="9771"/>
                    </a:cubicBezTo>
                    <a:cubicBezTo>
                      <a:pt x="522" y="9800"/>
                      <a:pt x="522" y="9800"/>
                      <a:pt x="522" y="9800"/>
                    </a:cubicBezTo>
                    <a:cubicBezTo>
                      <a:pt x="549" y="9766"/>
                      <a:pt x="549" y="9766"/>
                      <a:pt x="549" y="9766"/>
                    </a:cubicBezTo>
                    <a:cubicBezTo>
                      <a:pt x="588" y="9798"/>
                      <a:pt x="588" y="9798"/>
                      <a:pt x="588" y="9798"/>
                    </a:cubicBezTo>
                    <a:cubicBezTo>
                      <a:pt x="591" y="9793"/>
                      <a:pt x="595" y="9789"/>
                      <a:pt x="598" y="9785"/>
                    </a:cubicBezTo>
                    <a:cubicBezTo>
                      <a:pt x="627" y="9745"/>
                      <a:pt x="656" y="9706"/>
                      <a:pt x="678" y="9676"/>
                    </a:cubicBezTo>
                    <a:cubicBezTo>
                      <a:pt x="689" y="9661"/>
                      <a:pt x="699" y="9648"/>
                      <a:pt x="706" y="9639"/>
                    </a:cubicBezTo>
                    <a:cubicBezTo>
                      <a:pt x="709" y="9635"/>
                      <a:pt x="712" y="9631"/>
                      <a:pt x="714" y="9629"/>
                    </a:cubicBezTo>
                    <a:cubicBezTo>
                      <a:pt x="717" y="9626"/>
                      <a:pt x="716" y="9625"/>
                      <a:pt x="721" y="9623"/>
                    </a:cubicBezTo>
                    <a:cubicBezTo>
                      <a:pt x="722" y="9622"/>
                      <a:pt x="723" y="9622"/>
                      <a:pt x="724" y="9622"/>
                    </a:cubicBezTo>
                    <a:cubicBezTo>
                      <a:pt x="724" y="9622"/>
                      <a:pt x="724" y="9622"/>
                      <a:pt x="724" y="9622"/>
                    </a:cubicBezTo>
                    <a:cubicBezTo>
                      <a:pt x="731" y="9623"/>
                      <a:pt x="741" y="9628"/>
                      <a:pt x="759" y="9637"/>
                    </a:cubicBezTo>
                    <a:cubicBezTo>
                      <a:pt x="802" y="9657"/>
                      <a:pt x="873" y="9695"/>
                      <a:pt x="894" y="9707"/>
                    </a:cubicBezTo>
                    <a:cubicBezTo>
                      <a:pt x="900" y="9691"/>
                      <a:pt x="913" y="9655"/>
                      <a:pt x="925" y="9617"/>
                    </a:cubicBezTo>
                    <a:cubicBezTo>
                      <a:pt x="942" y="9569"/>
                      <a:pt x="958" y="9517"/>
                      <a:pt x="959" y="9509"/>
                    </a:cubicBezTo>
                    <a:cubicBezTo>
                      <a:pt x="959" y="9509"/>
                      <a:pt x="959" y="9509"/>
                      <a:pt x="959" y="9508"/>
                    </a:cubicBezTo>
                    <a:cubicBezTo>
                      <a:pt x="959" y="9508"/>
                      <a:pt x="959" y="9508"/>
                      <a:pt x="959" y="9508"/>
                    </a:cubicBezTo>
                    <a:cubicBezTo>
                      <a:pt x="964" y="9508"/>
                      <a:pt x="964" y="9508"/>
                      <a:pt x="964" y="9508"/>
                    </a:cubicBezTo>
                    <a:cubicBezTo>
                      <a:pt x="966" y="9501"/>
                      <a:pt x="966" y="9501"/>
                      <a:pt x="966" y="9501"/>
                    </a:cubicBezTo>
                    <a:cubicBezTo>
                      <a:pt x="930" y="9295"/>
                      <a:pt x="930" y="9295"/>
                      <a:pt x="930" y="9295"/>
                    </a:cubicBezTo>
                    <a:cubicBezTo>
                      <a:pt x="915" y="9296"/>
                      <a:pt x="899" y="9298"/>
                      <a:pt x="884" y="9299"/>
                    </a:cubicBezTo>
                    <a:cubicBezTo>
                      <a:pt x="883" y="9300"/>
                      <a:pt x="881" y="9301"/>
                      <a:pt x="878" y="9302"/>
                    </a:cubicBezTo>
                    <a:cubicBezTo>
                      <a:pt x="878" y="9299"/>
                      <a:pt x="878" y="9299"/>
                      <a:pt x="878" y="9299"/>
                    </a:cubicBezTo>
                    <a:cubicBezTo>
                      <a:pt x="793" y="9306"/>
                      <a:pt x="716" y="9312"/>
                      <a:pt x="701" y="9312"/>
                    </a:cubicBezTo>
                    <a:cubicBezTo>
                      <a:pt x="701" y="9312"/>
                      <a:pt x="701" y="9312"/>
                      <a:pt x="701" y="9312"/>
                    </a:cubicBezTo>
                    <a:cubicBezTo>
                      <a:pt x="695" y="9317"/>
                      <a:pt x="669" y="9348"/>
                      <a:pt x="637" y="9391"/>
                    </a:cubicBezTo>
                    <a:cubicBezTo>
                      <a:pt x="540" y="9519"/>
                      <a:pt x="370" y="9752"/>
                      <a:pt x="344" y="9788"/>
                    </a:cubicBezTo>
                    <a:lnTo>
                      <a:pt x="492" y="9930"/>
                    </a:lnTo>
                    <a:close/>
                    <a:moveTo>
                      <a:pt x="531" y="9901"/>
                    </a:moveTo>
                    <a:cubicBezTo>
                      <a:pt x="594" y="9951"/>
                      <a:pt x="594" y="9951"/>
                      <a:pt x="594" y="9951"/>
                    </a:cubicBezTo>
                    <a:cubicBezTo>
                      <a:pt x="632" y="9904"/>
                      <a:pt x="632" y="9904"/>
                      <a:pt x="632" y="9904"/>
                    </a:cubicBezTo>
                    <a:cubicBezTo>
                      <a:pt x="595" y="9875"/>
                      <a:pt x="595" y="9875"/>
                      <a:pt x="595" y="9875"/>
                    </a:cubicBezTo>
                    <a:cubicBezTo>
                      <a:pt x="621" y="9841"/>
                      <a:pt x="621" y="9841"/>
                      <a:pt x="621" y="9841"/>
                    </a:cubicBezTo>
                    <a:cubicBezTo>
                      <a:pt x="591" y="9817"/>
                      <a:pt x="591" y="9817"/>
                      <a:pt x="591" y="9817"/>
                    </a:cubicBezTo>
                    <a:cubicBezTo>
                      <a:pt x="569" y="9848"/>
                      <a:pt x="548" y="9877"/>
                      <a:pt x="531" y="9901"/>
                    </a:cubicBezTo>
                    <a:close/>
                    <a:moveTo>
                      <a:pt x="580" y="9808"/>
                    </a:moveTo>
                    <a:cubicBezTo>
                      <a:pt x="551" y="9785"/>
                      <a:pt x="551" y="9785"/>
                      <a:pt x="551" y="9785"/>
                    </a:cubicBezTo>
                    <a:cubicBezTo>
                      <a:pt x="524" y="9819"/>
                      <a:pt x="524" y="9819"/>
                      <a:pt x="524" y="9819"/>
                    </a:cubicBezTo>
                    <a:cubicBezTo>
                      <a:pt x="487" y="9789"/>
                      <a:pt x="487" y="9789"/>
                      <a:pt x="487" y="9789"/>
                    </a:cubicBezTo>
                    <a:cubicBezTo>
                      <a:pt x="450" y="9836"/>
                      <a:pt x="450" y="9836"/>
                      <a:pt x="450" y="9836"/>
                    </a:cubicBezTo>
                    <a:cubicBezTo>
                      <a:pt x="520" y="9892"/>
                      <a:pt x="520" y="9892"/>
                      <a:pt x="520" y="9892"/>
                    </a:cubicBezTo>
                    <a:cubicBezTo>
                      <a:pt x="537" y="9868"/>
                      <a:pt x="558" y="9839"/>
                      <a:pt x="580" y="9808"/>
                    </a:cubicBezTo>
                    <a:close/>
                    <a:moveTo>
                      <a:pt x="703" y="10129"/>
                    </a:moveTo>
                    <a:cubicBezTo>
                      <a:pt x="965" y="9779"/>
                      <a:pt x="965" y="9779"/>
                      <a:pt x="965" y="9779"/>
                    </a:cubicBezTo>
                    <a:cubicBezTo>
                      <a:pt x="894" y="9722"/>
                      <a:pt x="894" y="9722"/>
                      <a:pt x="894" y="9722"/>
                    </a:cubicBezTo>
                    <a:cubicBezTo>
                      <a:pt x="889" y="9720"/>
                      <a:pt x="852" y="9699"/>
                      <a:pt x="812" y="9679"/>
                    </a:cubicBezTo>
                    <a:cubicBezTo>
                      <a:pt x="791" y="9668"/>
                      <a:pt x="770" y="9657"/>
                      <a:pt x="753" y="9649"/>
                    </a:cubicBezTo>
                    <a:cubicBezTo>
                      <a:pt x="745" y="9645"/>
                      <a:pt x="737" y="9642"/>
                      <a:pt x="732" y="9639"/>
                    </a:cubicBezTo>
                    <a:cubicBezTo>
                      <a:pt x="729" y="9638"/>
                      <a:pt x="727" y="9637"/>
                      <a:pt x="726" y="9637"/>
                    </a:cubicBezTo>
                    <a:cubicBezTo>
                      <a:pt x="714" y="9650"/>
                      <a:pt x="659" y="9725"/>
                      <a:pt x="606" y="9796"/>
                    </a:cubicBezTo>
                    <a:cubicBezTo>
                      <a:pt x="604" y="9800"/>
                      <a:pt x="602" y="9803"/>
                      <a:pt x="599" y="9806"/>
                    </a:cubicBezTo>
                    <a:cubicBezTo>
                      <a:pt x="640" y="9839"/>
                      <a:pt x="640" y="9839"/>
                      <a:pt x="640" y="9839"/>
                    </a:cubicBezTo>
                    <a:cubicBezTo>
                      <a:pt x="613" y="9873"/>
                      <a:pt x="613" y="9873"/>
                      <a:pt x="613" y="9873"/>
                    </a:cubicBezTo>
                    <a:cubicBezTo>
                      <a:pt x="650" y="9902"/>
                      <a:pt x="650" y="9902"/>
                      <a:pt x="650" y="9902"/>
                    </a:cubicBezTo>
                    <a:cubicBezTo>
                      <a:pt x="596" y="9969"/>
                      <a:pt x="596" y="9969"/>
                      <a:pt x="596" y="9969"/>
                    </a:cubicBezTo>
                    <a:cubicBezTo>
                      <a:pt x="523" y="9911"/>
                      <a:pt x="523" y="9911"/>
                      <a:pt x="523" y="9911"/>
                    </a:cubicBezTo>
                    <a:cubicBezTo>
                      <a:pt x="514" y="9923"/>
                      <a:pt x="507" y="9933"/>
                      <a:pt x="503" y="9939"/>
                    </a:cubicBezTo>
                    <a:cubicBezTo>
                      <a:pt x="700" y="10127"/>
                      <a:pt x="700" y="10127"/>
                      <a:pt x="700" y="10127"/>
                    </a:cubicBezTo>
                    <a:lnTo>
                      <a:pt x="703" y="10129"/>
                    </a:lnTo>
                    <a:close/>
                    <a:moveTo>
                      <a:pt x="958" y="10186"/>
                    </a:moveTo>
                    <a:cubicBezTo>
                      <a:pt x="881" y="10141"/>
                      <a:pt x="881" y="10141"/>
                      <a:pt x="881" y="10141"/>
                    </a:cubicBezTo>
                    <a:cubicBezTo>
                      <a:pt x="885" y="10135"/>
                      <a:pt x="885" y="10135"/>
                      <a:pt x="885" y="10135"/>
                    </a:cubicBezTo>
                    <a:cubicBezTo>
                      <a:pt x="925" y="10067"/>
                      <a:pt x="925" y="10067"/>
                      <a:pt x="925" y="10067"/>
                    </a:cubicBezTo>
                    <a:cubicBezTo>
                      <a:pt x="965" y="10090"/>
                      <a:pt x="965" y="10090"/>
                      <a:pt x="965" y="10090"/>
                    </a:cubicBezTo>
                    <a:cubicBezTo>
                      <a:pt x="987" y="10053"/>
                      <a:pt x="987" y="10053"/>
                      <a:pt x="987" y="10053"/>
                    </a:cubicBezTo>
                    <a:cubicBezTo>
                      <a:pt x="1032" y="10079"/>
                      <a:pt x="1032" y="10079"/>
                      <a:pt x="1032" y="10079"/>
                    </a:cubicBezTo>
                    <a:cubicBezTo>
                      <a:pt x="1055" y="10046"/>
                      <a:pt x="1077" y="10014"/>
                      <a:pt x="1095" y="9989"/>
                    </a:cubicBezTo>
                    <a:cubicBezTo>
                      <a:pt x="1104" y="9977"/>
                      <a:pt x="1111" y="9966"/>
                      <a:pt x="1117" y="9959"/>
                    </a:cubicBezTo>
                    <a:cubicBezTo>
                      <a:pt x="1119" y="9956"/>
                      <a:pt x="1121" y="9953"/>
                      <a:pt x="1123" y="9951"/>
                    </a:cubicBezTo>
                    <a:cubicBezTo>
                      <a:pt x="1033" y="9834"/>
                      <a:pt x="1033" y="9834"/>
                      <a:pt x="1033" y="9834"/>
                    </a:cubicBezTo>
                    <a:cubicBezTo>
                      <a:pt x="976" y="9788"/>
                      <a:pt x="976" y="9788"/>
                      <a:pt x="976" y="9788"/>
                    </a:cubicBezTo>
                    <a:cubicBezTo>
                      <a:pt x="716" y="10135"/>
                      <a:pt x="716" y="10135"/>
                      <a:pt x="716" y="10135"/>
                    </a:cubicBezTo>
                    <a:cubicBezTo>
                      <a:pt x="928" y="10226"/>
                      <a:pt x="928" y="10226"/>
                      <a:pt x="928" y="10226"/>
                    </a:cubicBezTo>
                    <a:cubicBezTo>
                      <a:pt x="934" y="10219"/>
                      <a:pt x="944" y="10204"/>
                      <a:pt x="958" y="10186"/>
                    </a:cubicBezTo>
                    <a:close/>
                    <a:moveTo>
                      <a:pt x="977" y="10182"/>
                    </a:moveTo>
                    <a:cubicBezTo>
                      <a:pt x="1058" y="10230"/>
                      <a:pt x="1058" y="10230"/>
                      <a:pt x="1058" y="10230"/>
                    </a:cubicBezTo>
                    <a:cubicBezTo>
                      <a:pt x="1089" y="10178"/>
                      <a:pt x="1089" y="10178"/>
                      <a:pt x="1089" y="10178"/>
                    </a:cubicBezTo>
                    <a:cubicBezTo>
                      <a:pt x="1048" y="10154"/>
                      <a:pt x="1048" y="10154"/>
                      <a:pt x="1048" y="10154"/>
                    </a:cubicBezTo>
                    <a:cubicBezTo>
                      <a:pt x="1070" y="10117"/>
                      <a:pt x="1070" y="10117"/>
                      <a:pt x="1070" y="10117"/>
                    </a:cubicBezTo>
                    <a:cubicBezTo>
                      <a:pt x="1036" y="10097"/>
                      <a:pt x="1036" y="10097"/>
                      <a:pt x="1036" y="10097"/>
                    </a:cubicBezTo>
                    <a:cubicBezTo>
                      <a:pt x="1034" y="10101"/>
                      <a:pt x="1031" y="10105"/>
                      <a:pt x="1029" y="10109"/>
                    </a:cubicBezTo>
                    <a:cubicBezTo>
                      <a:pt x="1011" y="10135"/>
                      <a:pt x="993" y="10160"/>
                      <a:pt x="977" y="10182"/>
                    </a:cubicBezTo>
                    <a:close/>
                    <a:moveTo>
                      <a:pt x="1024" y="10090"/>
                    </a:moveTo>
                    <a:cubicBezTo>
                      <a:pt x="992" y="10071"/>
                      <a:pt x="992" y="10071"/>
                      <a:pt x="992" y="10071"/>
                    </a:cubicBezTo>
                    <a:cubicBezTo>
                      <a:pt x="970" y="10108"/>
                      <a:pt x="970" y="10108"/>
                      <a:pt x="970" y="10108"/>
                    </a:cubicBezTo>
                    <a:cubicBezTo>
                      <a:pt x="930" y="10085"/>
                      <a:pt x="930" y="10085"/>
                      <a:pt x="930" y="10085"/>
                    </a:cubicBezTo>
                    <a:cubicBezTo>
                      <a:pt x="899" y="10136"/>
                      <a:pt x="899" y="10136"/>
                      <a:pt x="899" y="10136"/>
                    </a:cubicBezTo>
                    <a:cubicBezTo>
                      <a:pt x="965" y="10175"/>
                      <a:pt x="965" y="10175"/>
                      <a:pt x="965" y="10175"/>
                    </a:cubicBezTo>
                    <a:cubicBezTo>
                      <a:pt x="983" y="10150"/>
                      <a:pt x="1004" y="10120"/>
                      <a:pt x="1024" y="10090"/>
                    </a:cubicBezTo>
                    <a:close/>
                    <a:moveTo>
                      <a:pt x="1580" y="10434"/>
                    </a:moveTo>
                    <a:cubicBezTo>
                      <a:pt x="1668" y="10191"/>
                      <a:pt x="1668" y="10191"/>
                      <a:pt x="1668" y="10191"/>
                    </a:cubicBezTo>
                    <a:cubicBezTo>
                      <a:pt x="1204" y="10057"/>
                      <a:pt x="1204" y="10057"/>
                      <a:pt x="1204" y="10057"/>
                    </a:cubicBezTo>
                    <a:cubicBezTo>
                      <a:pt x="1132" y="9963"/>
                      <a:pt x="1132" y="9963"/>
                      <a:pt x="1132" y="9963"/>
                    </a:cubicBezTo>
                    <a:cubicBezTo>
                      <a:pt x="1118" y="9980"/>
                      <a:pt x="1082" y="10032"/>
                      <a:pt x="1044" y="10087"/>
                    </a:cubicBezTo>
                    <a:cubicBezTo>
                      <a:pt x="1088" y="10112"/>
                      <a:pt x="1088" y="10112"/>
                      <a:pt x="1088" y="10112"/>
                    </a:cubicBezTo>
                    <a:cubicBezTo>
                      <a:pt x="1066" y="10149"/>
                      <a:pt x="1066" y="10149"/>
                      <a:pt x="1066" y="10149"/>
                    </a:cubicBezTo>
                    <a:cubicBezTo>
                      <a:pt x="1107" y="10173"/>
                      <a:pt x="1107" y="10173"/>
                      <a:pt x="1107" y="10173"/>
                    </a:cubicBezTo>
                    <a:cubicBezTo>
                      <a:pt x="1063" y="10248"/>
                      <a:pt x="1063" y="10248"/>
                      <a:pt x="1063" y="10248"/>
                    </a:cubicBezTo>
                    <a:cubicBezTo>
                      <a:pt x="970" y="10193"/>
                      <a:pt x="970" y="10193"/>
                      <a:pt x="970" y="10193"/>
                    </a:cubicBezTo>
                    <a:cubicBezTo>
                      <a:pt x="968" y="10196"/>
                      <a:pt x="966" y="10199"/>
                      <a:pt x="964" y="10201"/>
                    </a:cubicBezTo>
                    <a:cubicBezTo>
                      <a:pt x="955" y="10214"/>
                      <a:pt x="947" y="10224"/>
                      <a:pt x="942" y="10231"/>
                    </a:cubicBezTo>
                    <a:cubicBezTo>
                      <a:pt x="941" y="10232"/>
                      <a:pt x="941" y="10232"/>
                      <a:pt x="941" y="10232"/>
                    </a:cubicBezTo>
                    <a:cubicBezTo>
                      <a:pt x="1255" y="10369"/>
                      <a:pt x="1255" y="10369"/>
                      <a:pt x="1255" y="10369"/>
                    </a:cubicBezTo>
                    <a:cubicBezTo>
                      <a:pt x="1255" y="10369"/>
                      <a:pt x="1256" y="10369"/>
                      <a:pt x="1257" y="10369"/>
                    </a:cubicBezTo>
                    <a:cubicBezTo>
                      <a:pt x="1281" y="10313"/>
                      <a:pt x="1281" y="10313"/>
                      <a:pt x="1281" y="10313"/>
                    </a:cubicBezTo>
                    <a:cubicBezTo>
                      <a:pt x="1196" y="10280"/>
                      <a:pt x="1196" y="10280"/>
                      <a:pt x="1196" y="10280"/>
                    </a:cubicBezTo>
                    <a:cubicBezTo>
                      <a:pt x="1199" y="10274"/>
                      <a:pt x="1199" y="10274"/>
                      <a:pt x="1199" y="10274"/>
                    </a:cubicBezTo>
                    <a:cubicBezTo>
                      <a:pt x="1227" y="10200"/>
                      <a:pt x="1227" y="10200"/>
                      <a:pt x="1227" y="10200"/>
                    </a:cubicBezTo>
                    <a:cubicBezTo>
                      <a:pt x="1271" y="10217"/>
                      <a:pt x="1271" y="10217"/>
                      <a:pt x="1271" y="10217"/>
                    </a:cubicBezTo>
                    <a:cubicBezTo>
                      <a:pt x="1286" y="10176"/>
                      <a:pt x="1286" y="10176"/>
                      <a:pt x="1286" y="10176"/>
                    </a:cubicBezTo>
                    <a:cubicBezTo>
                      <a:pt x="1332" y="10194"/>
                      <a:pt x="1332" y="10194"/>
                      <a:pt x="1332" y="10194"/>
                    </a:cubicBezTo>
                    <a:cubicBezTo>
                      <a:pt x="1371" y="10106"/>
                      <a:pt x="1371" y="10106"/>
                      <a:pt x="1371" y="10106"/>
                    </a:cubicBezTo>
                    <a:cubicBezTo>
                      <a:pt x="1384" y="10111"/>
                      <a:pt x="1384" y="10111"/>
                      <a:pt x="1384" y="10111"/>
                    </a:cubicBezTo>
                    <a:cubicBezTo>
                      <a:pt x="1346" y="10199"/>
                      <a:pt x="1346" y="10199"/>
                      <a:pt x="1346" y="10199"/>
                    </a:cubicBezTo>
                    <a:cubicBezTo>
                      <a:pt x="1395" y="10218"/>
                      <a:pt x="1395" y="10218"/>
                      <a:pt x="1395" y="10218"/>
                    </a:cubicBezTo>
                    <a:cubicBezTo>
                      <a:pt x="1380" y="10259"/>
                      <a:pt x="1380" y="10259"/>
                      <a:pt x="1380" y="10259"/>
                    </a:cubicBezTo>
                    <a:cubicBezTo>
                      <a:pt x="1424" y="10276"/>
                      <a:pt x="1424" y="10276"/>
                      <a:pt x="1424" y="10276"/>
                    </a:cubicBezTo>
                    <a:cubicBezTo>
                      <a:pt x="1393" y="10356"/>
                      <a:pt x="1393" y="10356"/>
                      <a:pt x="1393" y="10356"/>
                    </a:cubicBezTo>
                    <a:cubicBezTo>
                      <a:pt x="1294" y="10318"/>
                      <a:pt x="1294" y="10318"/>
                      <a:pt x="1294" y="10318"/>
                    </a:cubicBezTo>
                    <a:cubicBezTo>
                      <a:pt x="1271" y="10372"/>
                      <a:pt x="1271" y="10372"/>
                      <a:pt x="1271" y="10372"/>
                    </a:cubicBezTo>
                    <a:cubicBezTo>
                      <a:pt x="1313" y="10381"/>
                      <a:pt x="1434" y="10405"/>
                      <a:pt x="1580" y="10434"/>
                    </a:cubicBezTo>
                    <a:close/>
                    <a:moveTo>
                      <a:pt x="1363" y="10266"/>
                    </a:moveTo>
                    <a:cubicBezTo>
                      <a:pt x="1378" y="10226"/>
                      <a:pt x="1378" y="10226"/>
                      <a:pt x="1378" y="10226"/>
                    </a:cubicBezTo>
                    <a:cubicBezTo>
                      <a:pt x="1340" y="10211"/>
                      <a:pt x="1340" y="10211"/>
                      <a:pt x="1340" y="10211"/>
                    </a:cubicBezTo>
                    <a:cubicBezTo>
                      <a:pt x="1299" y="10306"/>
                      <a:pt x="1299" y="10306"/>
                      <a:pt x="1299" y="10306"/>
                    </a:cubicBezTo>
                    <a:cubicBezTo>
                      <a:pt x="1385" y="10339"/>
                      <a:pt x="1385" y="10339"/>
                      <a:pt x="1385" y="10339"/>
                    </a:cubicBezTo>
                    <a:cubicBezTo>
                      <a:pt x="1407" y="10283"/>
                      <a:pt x="1407" y="10283"/>
                      <a:pt x="1407" y="10283"/>
                    </a:cubicBezTo>
                    <a:lnTo>
                      <a:pt x="1363" y="10266"/>
                    </a:lnTo>
                    <a:close/>
                    <a:moveTo>
                      <a:pt x="1327" y="10206"/>
                    </a:moveTo>
                    <a:cubicBezTo>
                      <a:pt x="1294" y="10193"/>
                      <a:pt x="1294" y="10193"/>
                      <a:pt x="1294" y="10193"/>
                    </a:cubicBezTo>
                    <a:cubicBezTo>
                      <a:pt x="1279" y="10234"/>
                      <a:pt x="1279" y="10234"/>
                      <a:pt x="1279" y="10234"/>
                    </a:cubicBezTo>
                    <a:cubicBezTo>
                      <a:pt x="1235" y="10217"/>
                      <a:pt x="1235" y="10217"/>
                      <a:pt x="1235" y="10217"/>
                    </a:cubicBezTo>
                    <a:cubicBezTo>
                      <a:pt x="1213" y="10273"/>
                      <a:pt x="1213" y="10273"/>
                      <a:pt x="1213" y="10273"/>
                    </a:cubicBezTo>
                    <a:cubicBezTo>
                      <a:pt x="1286" y="10301"/>
                      <a:pt x="1286" y="10301"/>
                      <a:pt x="1286" y="10301"/>
                    </a:cubicBezTo>
                    <a:lnTo>
                      <a:pt x="1327" y="10206"/>
                    </a:lnTo>
                    <a:close/>
                    <a:moveTo>
                      <a:pt x="2521" y="10204"/>
                    </a:moveTo>
                    <a:cubicBezTo>
                      <a:pt x="1895" y="10089"/>
                      <a:pt x="1895" y="10089"/>
                      <a:pt x="1895" y="10089"/>
                    </a:cubicBezTo>
                    <a:cubicBezTo>
                      <a:pt x="1893" y="10090"/>
                      <a:pt x="1893" y="10090"/>
                      <a:pt x="1893" y="10090"/>
                    </a:cubicBezTo>
                    <a:cubicBezTo>
                      <a:pt x="1874" y="10129"/>
                      <a:pt x="1874" y="10129"/>
                      <a:pt x="1874" y="10129"/>
                    </a:cubicBezTo>
                    <a:cubicBezTo>
                      <a:pt x="1869" y="10126"/>
                      <a:pt x="1866" y="10124"/>
                      <a:pt x="1864" y="10122"/>
                    </a:cubicBezTo>
                    <a:cubicBezTo>
                      <a:pt x="1818" y="10234"/>
                      <a:pt x="1818" y="10234"/>
                      <a:pt x="1818" y="10234"/>
                    </a:cubicBezTo>
                    <a:cubicBezTo>
                      <a:pt x="1682" y="10195"/>
                      <a:pt x="1682" y="10195"/>
                      <a:pt x="1682" y="10195"/>
                    </a:cubicBezTo>
                    <a:cubicBezTo>
                      <a:pt x="1594" y="10437"/>
                      <a:pt x="1594" y="10437"/>
                      <a:pt x="1594" y="10437"/>
                    </a:cubicBezTo>
                    <a:cubicBezTo>
                      <a:pt x="1655" y="10450"/>
                      <a:pt x="1720" y="10463"/>
                      <a:pt x="1786" y="10476"/>
                    </a:cubicBezTo>
                    <a:cubicBezTo>
                      <a:pt x="2037" y="10526"/>
                      <a:pt x="2293" y="10577"/>
                      <a:pt x="2323" y="10583"/>
                    </a:cubicBezTo>
                    <a:cubicBezTo>
                      <a:pt x="2394" y="10498"/>
                      <a:pt x="2494" y="10466"/>
                      <a:pt x="2518" y="10460"/>
                    </a:cubicBezTo>
                    <a:lnTo>
                      <a:pt x="2521" y="10204"/>
                    </a:lnTo>
                    <a:close/>
                    <a:moveTo>
                      <a:pt x="2582" y="10201"/>
                    </a:moveTo>
                    <a:cubicBezTo>
                      <a:pt x="2580" y="10153"/>
                      <a:pt x="2579" y="10102"/>
                      <a:pt x="2578" y="10048"/>
                    </a:cubicBezTo>
                    <a:cubicBezTo>
                      <a:pt x="2574" y="10047"/>
                      <a:pt x="2574" y="10047"/>
                      <a:pt x="2574" y="10047"/>
                    </a:cubicBezTo>
                    <a:cubicBezTo>
                      <a:pt x="2575" y="10149"/>
                      <a:pt x="2575" y="10149"/>
                      <a:pt x="2575" y="10149"/>
                    </a:cubicBezTo>
                    <a:cubicBezTo>
                      <a:pt x="2441" y="10155"/>
                      <a:pt x="2441" y="10155"/>
                      <a:pt x="2441" y="10155"/>
                    </a:cubicBezTo>
                    <a:cubicBezTo>
                      <a:pt x="2440" y="10025"/>
                      <a:pt x="2440" y="10025"/>
                      <a:pt x="2440" y="10025"/>
                    </a:cubicBezTo>
                    <a:cubicBezTo>
                      <a:pt x="2200" y="9985"/>
                      <a:pt x="2200" y="9985"/>
                      <a:pt x="2200" y="9985"/>
                    </a:cubicBezTo>
                    <a:cubicBezTo>
                      <a:pt x="2188" y="10129"/>
                      <a:pt x="2188" y="10129"/>
                      <a:pt x="2188" y="10129"/>
                    </a:cubicBezTo>
                    <a:lnTo>
                      <a:pt x="2582" y="10201"/>
                    </a:lnTo>
                    <a:close/>
                    <a:moveTo>
                      <a:pt x="2595" y="8691"/>
                    </a:moveTo>
                    <a:cubicBezTo>
                      <a:pt x="2611" y="8644"/>
                      <a:pt x="2634" y="8603"/>
                      <a:pt x="2661" y="8569"/>
                    </a:cubicBezTo>
                    <a:cubicBezTo>
                      <a:pt x="2658" y="8562"/>
                      <a:pt x="2616" y="8498"/>
                      <a:pt x="2576" y="8438"/>
                    </a:cubicBezTo>
                    <a:cubicBezTo>
                      <a:pt x="2555" y="8406"/>
                      <a:pt x="2535" y="8375"/>
                      <a:pt x="2519" y="8351"/>
                    </a:cubicBezTo>
                    <a:cubicBezTo>
                      <a:pt x="2515" y="8344"/>
                      <a:pt x="2511" y="8338"/>
                      <a:pt x="2507" y="8332"/>
                    </a:cubicBezTo>
                    <a:cubicBezTo>
                      <a:pt x="2453" y="8358"/>
                      <a:pt x="2379" y="8389"/>
                      <a:pt x="2306" y="8404"/>
                    </a:cubicBezTo>
                    <a:cubicBezTo>
                      <a:pt x="2263" y="8413"/>
                      <a:pt x="2231" y="8421"/>
                      <a:pt x="2208" y="8427"/>
                    </a:cubicBezTo>
                    <a:cubicBezTo>
                      <a:pt x="2319" y="8524"/>
                      <a:pt x="2372" y="8622"/>
                      <a:pt x="2390" y="8662"/>
                    </a:cubicBezTo>
                    <a:lnTo>
                      <a:pt x="2595" y="8691"/>
                    </a:lnTo>
                    <a:close/>
                    <a:moveTo>
                      <a:pt x="2638" y="9484"/>
                    </a:moveTo>
                    <a:cubicBezTo>
                      <a:pt x="2703" y="9477"/>
                      <a:pt x="2842" y="9462"/>
                      <a:pt x="2981" y="9446"/>
                    </a:cubicBezTo>
                    <a:cubicBezTo>
                      <a:pt x="3012" y="9443"/>
                      <a:pt x="3044" y="9439"/>
                      <a:pt x="3074" y="9435"/>
                    </a:cubicBezTo>
                    <a:cubicBezTo>
                      <a:pt x="3182" y="9079"/>
                      <a:pt x="3182" y="9079"/>
                      <a:pt x="3182" y="9079"/>
                    </a:cubicBezTo>
                    <a:cubicBezTo>
                      <a:pt x="3124" y="9024"/>
                      <a:pt x="3124" y="9024"/>
                      <a:pt x="3124" y="9024"/>
                    </a:cubicBezTo>
                    <a:cubicBezTo>
                      <a:pt x="3124" y="9020"/>
                      <a:pt x="3124" y="9020"/>
                      <a:pt x="3124" y="9020"/>
                    </a:cubicBezTo>
                    <a:cubicBezTo>
                      <a:pt x="3124" y="9020"/>
                      <a:pt x="3140" y="8884"/>
                      <a:pt x="3150" y="8789"/>
                    </a:cubicBezTo>
                    <a:cubicBezTo>
                      <a:pt x="2650" y="8737"/>
                      <a:pt x="2650" y="8737"/>
                      <a:pt x="2650" y="8737"/>
                    </a:cubicBezTo>
                    <a:cubicBezTo>
                      <a:pt x="2644" y="8761"/>
                      <a:pt x="2641" y="8787"/>
                      <a:pt x="2641" y="8814"/>
                    </a:cubicBezTo>
                    <a:cubicBezTo>
                      <a:pt x="2641" y="8859"/>
                      <a:pt x="2640" y="8933"/>
                      <a:pt x="2640" y="9026"/>
                    </a:cubicBezTo>
                    <a:cubicBezTo>
                      <a:pt x="3123" y="9012"/>
                      <a:pt x="3123" y="9012"/>
                      <a:pt x="3123" y="9012"/>
                    </a:cubicBezTo>
                    <a:cubicBezTo>
                      <a:pt x="3123" y="9026"/>
                      <a:pt x="3123" y="9026"/>
                      <a:pt x="3123" y="9026"/>
                    </a:cubicBezTo>
                    <a:cubicBezTo>
                      <a:pt x="2639" y="9039"/>
                      <a:pt x="2639" y="9039"/>
                      <a:pt x="2639" y="9039"/>
                    </a:cubicBezTo>
                    <a:cubicBezTo>
                      <a:pt x="2639" y="9152"/>
                      <a:pt x="2638" y="9290"/>
                      <a:pt x="2638" y="9438"/>
                    </a:cubicBezTo>
                    <a:cubicBezTo>
                      <a:pt x="2638" y="9453"/>
                      <a:pt x="2638" y="9469"/>
                      <a:pt x="2638" y="9484"/>
                    </a:cubicBezTo>
                    <a:close/>
                    <a:moveTo>
                      <a:pt x="2967" y="9648"/>
                    </a:moveTo>
                    <a:cubicBezTo>
                      <a:pt x="2849" y="9664"/>
                      <a:pt x="2849" y="9664"/>
                      <a:pt x="2849" y="9664"/>
                    </a:cubicBezTo>
                    <a:cubicBezTo>
                      <a:pt x="2865" y="9771"/>
                      <a:pt x="2865" y="9771"/>
                      <a:pt x="2865" y="9771"/>
                    </a:cubicBezTo>
                    <a:cubicBezTo>
                      <a:pt x="2880" y="9769"/>
                      <a:pt x="2922" y="9763"/>
                      <a:pt x="2974" y="9756"/>
                    </a:cubicBezTo>
                    <a:cubicBezTo>
                      <a:pt x="2972" y="9725"/>
                      <a:pt x="2970" y="9689"/>
                      <a:pt x="2968" y="9653"/>
                    </a:cubicBezTo>
                    <a:cubicBezTo>
                      <a:pt x="2967" y="9651"/>
                      <a:pt x="2967" y="9650"/>
                      <a:pt x="2967" y="9648"/>
                    </a:cubicBezTo>
                    <a:close/>
                    <a:moveTo>
                      <a:pt x="2978" y="9821"/>
                    </a:moveTo>
                    <a:cubicBezTo>
                      <a:pt x="2977" y="9809"/>
                      <a:pt x="2976" y="9790"/>
                      <a:pt x="2975" y="9769"/>
                    </a:cubicBezTo>
                    <a:cubicBezTo>
                      <a:pt x="2909" y="9778"/>
                      <a:pt x="2860" y="9785"/>
                      <a:pt x="2860" y="9785"/>
                    </a:cubicBezTo>
                    <a:cubicBezTo>
                      <a:pt x="2854" y="9786"/>
                      <a:pt x="2854" y="9786"/>
                      <a:pt x="2854" y="9786"/>
                    </a:cubicBezTo>
                    <a:cubicBezTo>
                      <a:pt x="2834" y="9653"/>
                      <a:pt x="2834" y="9653"/>
                      <a:pt x="2834" y="9653"/>
                    </a:cubicBezTo>
                    <a:cubicBezTo>
                      <a:pt x="2966" y="9635"/>
                      <a:pt x="2966" y="9635"/>
                      <a:pt x="2966" y="9635"/>
                    </a:cubicBezTo>
                    <a:cubicBezTo>
                      <a:pt x="2964" y="9595"/>
                      <a:pt x="2961" y="9556"/>
                      <a:pt x="2959" y="9526"/>
                    </a:cubicBezTo>
                    <a:cubicBezTo>
                      <a:pt x="2958" y="9514"/>
                      <a:pt x="2957" y="9503"/>
                      <a:pt x="2956" y="9495"/>
                    </a:cubicBezTo>
                    <a:cubicBezTo>
                      <a:pt x="2823" y="9510"/>
                      <a:pt x="2696" y="9523"/>
                      <a:pt x="2638" y="9530"/>
                    </a:cubicBezTo>
                    <a:cubicBezTo>
                      <a:pt x="2638" y="9596"/>
                      <a:pt x="2638" y="9662"/>
                      <a:pt x="2639" y="9728"/>
                    </a:cubicBezTo>
                    <a:cubicBezTo>
                      <a:pt x="2640" y="9779"/>
                      <a:pt x="2640" y="9829"/>
                      <a:pt x="2641" y="9879"/>
                    </a:cubicBezTo>
                    <a:lnTo>
                      <a:pt x="2978" y="9821"/>
                    </a:lnTo>
                    <a:close/>
                    <a:moveTo>
                      <a:pt x="2980" y="9634"/>
                    </a:moveTo>
                    <a:cubicBezTo>
                      <a:pt x="3163" y="9609"/>
                      <a:pt x="3163" y="9609"/>
                      <a:pt x="3163" y="9609"/>
                    </a:cubicBezTo>
                    <a:cubicBezTo>
                      <a:pt x="3163" y="9582"/>
                      <a:pt x="3163" y="9555"/>
                      <a:pt x="3162" y="9532"/>
                    </a:cubicBezTo>
                    <a:cubicBezTo>
                      <a:pt x="3162" y="9509"/>
                      <a:pt x="3162" y="9490"/>
                      <a:pt x="3161" y="9477"/>
                    </a:cubicBezTo>
                    <a:cubicBezTo>
                      <a:pt x="3161" y="9474"/>
                      <a:pt x="3161" y="9472"/>
                      <a:pt x="3161" y="9470"/>
                    </a:cubicBezTo>
                    <a:cubicBezTo>
                      <a:pt x="3101" y="9478"/>
                      <a:pt x="3035" y="9485"/>
                      <a:pt x="2970" y="9493"/>
                    </a:cubicBezTo>
                    <a:cubicBezTo>
                      <a:pt x="2973" y="9523"/>
                      <a:pt x="2977" y="9577"/>
                      <a:pt x="2980" y="9634"/>
                    </a:cubicBezTo>
                    <a:close/>
                    <a:moveTo>
                      <a:pt x="2988" y="9754"/>
                    </a:moveTo>
                    <a:cubicBezTo>
                      <a:pt x="3015" y="9750"/>
                      <a:pt x="3045" y="9746"/>
                      <a:pt x="3075" y="9742"/>
                    </a:cubicBezTo>
                    <a:cubicBezTo>
                      <a:pt x="3105" y="9738"/>
                      <a:pt x="3135" y="9734"/>
                      <a:pt x="3163" y="9730"/>
                    </a:cubicBezTo>
                    <a:cubicBezTo>
                      <a:pt x="3163" y="9715"/>
                      <a:pt x="3163" y="9700"/>
                      <a:pt x="3163" y="9683"/>
                    </a:cubicBezTo>
                    <a:cubicBezTo>
                      <a:pt x="3163" y="9664"/>
                      <a:pt x="3163" y="9643"/>
                      <a:pt x="3163" y="9623"/>
                    </a:cubicBezTo>
                    <a:cubicBezTo>
                      <a:pt x="2981" y="9647"/>
                      <a:pt x="2981" y="9647"/>
                      <a:pt x="2981" y="9647"/>
                    </a:cubicBezTo>
                    <a:cubicBezTo>
                      <a:pt x="2983" y="9684"/>
                      <a:pt x="2986" y="9722"/>
                      <a:pt x="2988" y="9754"/>
                    </a:cubicBezTo>
                    <a:close/>
                    <a:moveTo>
                      <a:pt x="3163" y="9789"/>
                    </a:moveTo>
                    <a:cubicBezTo>
                      <a:pt x="3163" y="9778"/>
                      <a:pt x="3163" y="9762"/>
                      <a:pt x="3163" y="9743"/>
                    </a:cubicBezTo>
                    <a:cubicBezTo>
                      <a:pt x="3108" y="9751"/>
                      <a:pt x="3043" y="9759"/>
                      <a:pt x="2988" y="9767"/>
                    </a:cubicBezTo>
                    <a:cubicBezTo>
                      <a:pt x="2990" y="9788"/>
                      <a:pt x="2991" y="9806"/>
                      <a:pt x="2991" y="9818"/>
                    </a:cubicBezTo>
                    <a:lnTo>
                      <a:pt x="3163" y="9789"/>
                    </a:lnTo>
                    <a:close/>
                    <a:moveTo>
                      <a:pt x="3208" y="10331"/>
                    </a:moveTo>
                    <a:cubicBezTo>
                      <a:pt x="3205" y="10333"/>
                      <a:pt x="3205" y="10333"/>
                      <a:pt x="3205" y="10333"/>
                    </a:cubicBezTo>
                    <a:cubicBezTo>
                      <a:pt x="3205" y="10333"/>
                      <a:pt x="3205" y="10333"/>
                      <a:pt x="3205" y="10333"/>
                    </a:cubicBezTo>
                    <a:lnTo>
                      <a:pt x="3208" y="10331"/>
                    </a:lnTo>
                    <a:close/>
                    <a:moveTo>
                      <a:pt x="3713" y="10042"/>
                    </a:moveTo>
                    <a:cubicBezTo>
                      <a:pt x="3662" y="9749"/>
                      <a:pt x="3662" y="9749"/>
                      <a:pt x="3662" y="9749"/>
                    </a:cubicBezTo>
                    <a:cubicBezTo>
                      <a:pt x="3019" y="9859"/>
                      <a:pt x="3019" y="9859"/>
                      <a:pt x="3019" y="9859"/>
                    </a:cubicBezTo>
                    <a:cubicBezTo>
                      <a:pt x="3074" y="10072"/>
                      <a:pt x="3074" y="10072"/>
                      <a:pt x="3074" y="10072"/>
                    </a:cubicBezTo>
                    <a:cubicBezTo>
                      <a:pt x="3192" y="10321"/>
                      <a:pt x="3192" y="10321"/>
                      <a:pt x="3192" y="10321"/>
                    </a:cubicBezTo>
                    <a:cubicBezTo>
                      <a:pt x="3199" y="10328"/>
                      <a:pt x="3199" y="10328"/>
                      <a:pt x="3199" y="10328"/>
                    </a:cubicBezTo>
                    <a:cubicBezTo>
                      <a:pt x="3200" y="10328"/>
                      <a:pt x="3200" y="10328"/>
                      <a:pt x="3200" y="10328"/>
                    </a:cubicBezTo>
                    <a:cubicBezTo>
                      <a:pt x="3230" y="10304"/>
                      <a:pt x="3666" y="10068"/>
                      <a:pt x="3713" y="10042"/>
                    </a:cubicBezTo>
                    <a:close/>
                    <a:moveTo>
                      <a:pt x="4506" y="10274"/>
                    </a:moveTo>
                    <a:cubicBezTo>
                      <a:pt x="4493" y="10273"/>
                      <a:pt x="4493" y="10273"/>
                      <a:pt x="4493" y="10273"/>
                    </a:cubicBezTo>
                    <a:cubicBezTo>
                      <a:pt x="4493" y="10273"/>
                      <a:pt x="4498" y="10200"/>
                      <a:pt x="4504" y="10127"/>
                    </a:cubicBezTo>
                    <a:cubicBezTo>
                      <a:pt x="4507" y="10091"/>
                      <a:pt x="4510" y="10055"/>
                      <a:pt x="4513" y="10027"/>
                    </a:cubicBezTo>
                    <a:cubicBezTo>
                      <a:pt x="4514" y="10018"/>
                      <a:pt x="4515" y="10011"/>
                      <a:pt x="4515" y="10004"/>
                    </a:cubicBezTo>
                    <a:cubicBezTo>
                      <a:pt x="4509" y="10005"/>
                      <a:pt x="4503" y="10005"/>
                      <a:pt x="4497" y="10005"/>
                    </a:cubicBezTo>
                    <a:cubicBezTo>
                      <a:pt x="4492" y="10005"/>
                      <a:pt x="4486" y="10005"/>
                      <a:pt x="4481" y="10004"/>
                    </a:cubicBezTo>
                    <a:cubicBezTo>
                      <a:pt x="4481" y="10006"/>
                      <a:pt x="4481" y="10006"/>
                      <a:pt x="4481" y="10006"/>
                    </a:cubicBezTo>
                    <a:cubicBezTo>
                      <a:pt x="4481" y="10006"/>
                      <a:pt x="4481" y="10006"/>
                      <a:pt x="4481" y="10006"/>
                    </a:cubicBezTo>
                    <a:cubicBezTo>
                      <a:pt x="4477" y="10006"/>
                      <a:pt x="4474" y="10005"/>
                      <a:pt x="4471" y="10004"/>
                    </a:cubicBezTo>
                    <a:cubicBezTo>
                      <a:pt x="4399" y="10004"/>
                      <a:pt x="4328" y="10000"/>
                      <a:pt x="4267" y="9989"/>
                    </a:cubicBezTo>
                    <a:cubicBezTo>
                      <a:pt x="4222" y="9981"/>
                      <a:pt x="4173" y="9971"/>
                      <a:pt x="4128" y="9949"/>
                    </a:cubicBezTo>
                    <a:cubicBezTo>
                      <a:pt x="4019" y="10198"/>
                      <a:pt x="4019" y="10198"/>
                      <a:pt x="4019" y="10198"/>
                    </a:cubicBezTo>
                    <a:cubicBezTo>
                      <a:pt x="4006" y="10193"/>
                      <a:pt x="4006" y="10193"/>
                      <a:pt x="4006" y="10193"/>
                    </a:cubicBezTo>
                    <a:cubicBezTo>
                      <a:pt x="4116" y="9943"/>
                      <a:pt x="4116" y="9943"/>
                      <a:pt x="4116" y="9943"/>
                    </a:cubicBezTo>
                    <a:cubicBezTo>
                      <a:pt x="4096" y="9932"/>
                      <a:pt x="4078" y="9920"/>
                      <a:pt x="4060" y="9903"/>
                    </a:cubicBezTo>
                    <a:cubicBezTo>
                      <a:pt x="4013" y="9859"/>
                      <a:pt x="3981" y="9793"/>
                      <a:pt x="3968" y="9696"/>
                    </a:cubicBezTo>
                    <a:cubicBezTo>
                      <a:pt x="3706" y="9741"/>
                      <a:pt x="3706" y="9741"/>
                      <a:pt x="3706" y="9741"/>
                    </a:cubicBezTo>
                    <a:cubicBezTo>
                      <a:pt x="3788" y="10202"/>
                      <a:pt x="3788" y="10202"/>
                      <a:pt x="3788" y="10202"/>
                    </a:cubicBezTo>
                    <a:cubicBezTo>
                      <a:pt x="3850" y="10201"/>
                      <a:pt x="4010" y="10197"/>
                      <a:pt x="4010" y="10197"/>
                    </a:cubicBezTo>
                    <a:cubicBezTo>
                      <a:pt x="4012" y="10197"/>
                      <a:pt x="4012" y="10197"/>
                      <a:pt x="4012" y="10197"/>
                    </a:cubicBezTo>
                    <a:cubicBezTo>
                      <a:pt x="4262" y="10356"/>
                      <a:pt x="4262" y="10356"/>
                      <a:pt x="4262" y="10356"/>
                    </a:cubicBezTo>
                    <a:cubicBezTo>
                      <a:pt x="4255" y="10368"/>
                      <a:pt x="4255" y="10368"/>
                      <a:pt x="4255" y="10368"/>
                    </a:cubicBezTo>
                    <a:cubicBezTo>
                      <a:pt x="4255" y="10368"/>
                      <a:pt x="4255" y="10368"/>
                      <a:pt x="4255" y="10368"/>
                    </a:cubicBezTo>
                    <a:cubicBezTo>
                      <a:pt x="4008" y="10211"/>
                      <a:pt x="4008" y="10211"/>
                      <a:pt x="4008" y="10211"/>
                    </a:cubicBezTo>
                    <a:cubicBezTo>
                      <a:pt x="3997" y="10211"/>
                      <a:pt x="3942" y="10212"/>
                      <a:pt x="3887" y="10214"/>
                    </a:cubicBezTo>
                    <a:cubicBezTo>
                      <a:pt x="3857" y="10215"/>
                      <a:pt x="3826" y="10215"/>
                      <a:pt x="3803" y="10216"/>
                    </a:cubicBezTo>
                    <a:cubicBezTo>
                      <a:pt x="3798" y="10216"/>
                      <a:pt x="3794" y="10216"/>
                      <a:pt x="3790" y="10216"/>
                    </a:cubicBezTo>
                    <a:cubicBezTo>
                      <a:pt x="3847" y="10540"/>
                      <a:pt x="3847" y="10540"/>
                      <a:pt x="3847" y="10540"/>
                    </a:cubicBezTo>
                    <a:cubicBezTo>
                      <a:pt x="4169" y="10576"/>
                      <a:pt x="4169" y="10576"/>
                      <a:pt x="4169" y="10576"/>
                    </a:cubicBezTo>
                    <a:cubicBezTo>
                      <a:pt x="4174" y="10565"/>
                      <a:pt x="4194" y="10520"/>
                      <a:pt x="4215" y="10474"/>
                    </a:cubicBezTo>
                    <a:cubicBezTo>
                      <a:pt x="4227" y="10448"/>
                      <a:pt x="4239" y="10421"/>
                      <a:pt x="4248" y="10400"/>
                    </a:cubicBezTo>
                    <a:cubicBezTo>
                      <a:pt x="4252" y="10389"/>
                      <a:pt x="4256" y="10380"/>
                      <a:pt x="4258" y="10373"/>
                    </a:cubicBezTo>
                    <a:cubicBezTo>
                      <a:pt x="4259" y="10370"/>
                      <a:pt x="4260" y="10367"/>
                      <a:pt x="4261" y="10365"/>
                    </a:cubicBezTo>
                    <a:cubicBezTo>
                      <a:pt x="4261" y="10364"/>
                      <a:pt x="4262" y="10364"/>
                      <a:pt x="4262" y="10363"/>
                    </a:cubicBezTo>
                    <a:cubicBezTo>
                      <a:pt x="4262" y="10363"/>
                      <a:pt x="4261" y="10362"/>
                      <a:pt x="4261" y="10362"/>
                    </a:cubicBezTo>
                    <a:cubicBezTo>
                      <a:pt x="4263" y="10354"/>
                      <a:pt x="4265" y="10356"/>
                      <a:pt x="4266" y="10355"/>
                    </a:cubicBezTo>
                    <a:cubicBezTo>
                      <a:pt x="4281" y="10346"/>
                      <a:pt x="4480" y="10282"/>
                      <a:pt x="4506" y="10274"/>
                    </a:cubicBezTo>
                    <a:close/>
                    <a:moveTo>
                      <a:pt x="5035" y="10530"/>
                    </a:moveTo>
                    <a:cubicBezTo>
                      <a:pt x="5035" y="10435"/>
                      <a:pt x="5034" y="10344"/>
                      <a:pt x="5030" y="10270"/>
                    </a:cubicBezTo>
                    <a:cubicBezTo>
                      <a:pt x="5027" y="10193"/>
                      <a:pt x="5020" y="10133"/>
                      <a:pt x="5013" y="10109"/>
                    </a:cubicBezTo>
                    <a:cubicBezTo>
                      <a:pt x="4996" y="10055"/>
                      <a:pt x="4974" y="10029"/>
                      <a:pt x="4950" y="10014"/>
                    </a:cubicBezTo>
                    <a:cubicBezTo>
                      <a:pt x="4925" y="9999"/>
                      <a:pt x="4892" y="9994"/>
                      <a:pt x="4851" y="9994"/>
                    </a:cubicBezTo>
                    <a:cubicBezTo>
                      <a:pt x="4821" y="9994"/>
                      <a:pt x="4787" y="9997"/>
                      <a:pt x="4751" y="9998"/>
                    </a:cubicBezTo>
                    <a:cubicBezTo>
                      <a:pt x="4690" y="10000"/>
                      <a:pt x="4611" y="10003"/>
                      <a:pt x="4530" y="10004"/>
                    </a:cubicBezTo>
                    <a:cubicBezTo>
                      <a:pt x="4526" y="10032"/>
                      <a:pt x="4521" y="10085"/>
                      <a:pt x="4517" y="10135"/>
                    </a:cubicBezTo>
                    <a:cubicBezTo>
                      <a:pt x="4512" y="10204"/>
                      <a:pt x="4507" y="10270"/>
                      <a:pt x="4507" y="10273"/>
                    </a:cubicBezTo>
                    <a:cubicBezTo>
                      <a:pt x="4507" y="10273"/>
                      <a:pt x="4508" y="10273"/>
                      <a:pt x="4508" y="10273"/>
                    </a:cubicBezTo>
                    <a:cubicBezTo>
                      <a:pt x="4513" y="10271"/>
                      <a:pt x="4513" y="10271"/>
                      <a:pt x="4513" y="10271"/>
                    </a:cubicBezTo>
                    <a:cubicBezTo>
                      <a:pt x="4721" y="10567"/>
                      <a:pt x="4721" y="10567"/>
                      <a:pt x="4721" y="10567"/>
                    </a:cubicBezTo>
                    <a:lnTo>
                      <a:pt x="5035" y="10530"/>
                    </a:lnTo>
                    <a:close/>
                    <a:moveTo>
                      <a:pt x="5989" y="9709"/>
                    </a:moveTo>
                    <a:cubicBezTo>
                      <a:pt x="5989" y="9632"/>
                      <a:pt x="5987" y="9564"/>
                      <a:pt x="5987" y="9525"/>
                    </a:cubicBezTo>
                    <a:cubicBezTo>
                      <a:pt x="5985" y="9442"/>
                      <a:pt x="5962" y="9293"/>
                      <a:pt x="5939" y="9167"/>
                    </a:cubicBezTo>
                    <a:cubicBezTo>
                      <a:pt x="5923" y="9078"/>
                      <a:pt x="5907" y="9000"/>
                      <a:pt x="5899" y="8962"/>
                    </a:cubicBezTo>
                    <a:cubicBezTo>
                      <a:pt x="4519" y="8973"/>
                      <a:pt x="4519" y="8973"/>
                      <a:pt x="4519" y="8973"/>
                    </a:cubicBezTo>
                    <a:cubicBezTo>
                      <a:pt x="4546" y="9018"/>
                      <a:pt x="4578" y="9094"/>
                      <a:pt x="4579" y="9201"/>
                    </a:cubicBezTo>
                    <a:cubicBezTo>
                      <a:pt x="4579" y="9246"/>
                      <a:pt x="4572" y="9297"/>
                      <a:pt x="4558" y="9353"/>
                    </a:cubicBezTo>
                    <a:cubicBezTo>
                      <a:pt x="4503" y="9559"/>
                      <a:pt x="4490" y="9646"/>
                      <a:pt x="4490" y="9711"/>
                    </a:cubicBezTo>
                    <a:cubicBezTo>
                      <a:pt x="4490" y="9729"/>
                      <a:pt x="4491" y="9745"/>
                      <a:pt x="4492" y="9763"/>
                    </a:cubicBezTo>
                    <a:cubicBezTo>
                      <a:pt x="4496" y="9808"/>
                      <a:pt x="4496" y="9860"/>
                      <a:pt x="4498" y="9900"/>
                    </a:cubicBezTo>
                    <a:cubicBezTo>
                      <a:pt x="4499" y="9916"/>
                      <a:pt x="4500" y="9929"/>
                      <a:pt x="4501" y="9939"/>
                    </a:cubicBezTo>
                    <a:cubicBezTo>
                      <a:pt x="4590" y="9939"/>
                      <a:pt x="4680" y="9935"/>
                      <a:pt x="4749" y="9932"/>
                    </a:cubicBezTo>
                    <a:cubicBezTo>
                      <a:pt x="4783" y="9931"/>
                      <a:pt x="4818" y="9929"/>
                      <a:pt x="4851" y="9929"/>
                    </a:cubicBezTo>
                    <a:cubicBezTo>
                      <a:pt x="4897" y="9929"/>
                      <a:pt x="4942" y="9933"/>
                      <a:pt x="4983" y="9958"/>
                    </a:cubicBezTo>
                    <a:cubicBezTo>
                      <a:pt x="5025" y="9982"/>
                      <a:pt x="5056" y="10026"/>
                      <a:pt x="5076" y="10090"/>
                    </a:cubicBezTo>
                    <a:cubicBezTo>
                      <a:pt x="5077" y="10095"/>
                      <a:pt x="5078" y="10101"/>
                      <a:pt x="5079" y="10106"/>
                    </a:cubicBezTo>
                    <a:cubicBezTo>
                      <a:pt x="5146" y="10116"/>
                      <a:pt x="5568" y="10184"/>
                      <a:pt x="5716" y="10215"/>
                    </a:cubicBezTo>
                    <a:cubicBezTo>
                      <a:pt x="5791" y="10230"/>
                      <a:pt x="5876" y="10250"/>
                      <a:pt x="5958" y="10270"/>
                    </a:cubicBezTo>
                    <a:cubicBezTo>
                      <a:pt x="5963" y="10217"/>
                      <a:pt x="5975" y="10101"/>
                      <a:pt x="5983" y="9972"/>
                    </a:cubicBezTo>
                    <a:cubicBezTo>
                      <a:pt x="5987" y="9890"/>
                      <a:pt x="5989" y="9793"/>
                      <a:pt x="5989" y="9709"/>
                    </a:cubicBezTo>
                    <a:close/>
                    <a:moveTo>
                      <a:pt x="6321" y="10369"/>
                    </a:moveTo>
                    <a:cubicBezTo>
                      <a:pt x="6399" y="10127"/>
                      <a:pt x="6399" y="10127"/>
                      <a:pt x="6399" y="10127"/>
                    </a:cubicBezTo>
                    <a:cubicBezTo>
                      <a:pt x="6462" y="10104"/>
                      <a:pt x="6462" y="10104"/>
                      <a:pt x="6462" y="10104"/>
                    </a:cubicBezTo>
                    <a:cubicBezTo>
                      <a:pt x="6465" y="10086"/>
                      <a:pt x="6478" y="10011"/>
                      <a:pt x="6491" y="9935"/>
                    </a:cubicBezTo>
                    <a:cubicBezTo>
                      <a:pt x="6495" y="9915"/>
                      <a:pt x="6498" y="9895"/>
                      <a:pt x="6502" y="9877"/>
                    </a:cubicBezTo>
                    <a:cubicBezTo>
                      <a:pt x="6491" y="9876"/>
                      <a:pt x="6446" y="9865"/>
                      <a:pt x="6399" y="9853"/>
                    </a:cubicBezTo>
                    <a:cubicBezTo>
                      <a:pt x="6356" y="9842"/>
                      <a:pt x="6312" y="9831"/>
                      <a:pt x="6304" y="9830"/>
                    </a:cubicBezTo>
                    <a:cubicBezTo>
                      <a:pt x="6294" y="9835"/>
                      <a:pt x="6246" y="9863"/>
                      <a:pt x="6246" y="9863"/>
                    </a:cubicBezTo>
                    <a:cubicBezTo>
                      <a:pt x="6244" y="9864"/>
                      <a:pt x="6244" y="9864"/>
                      <a:pt x="6244" y="9864"/>
                    </a:cubicBezTo>
                    <a:cubicBezTo>
                      <a:pt x="6053" y="9854"/>
                      <a:pt x="6053" y="9854"/>
                      <a:pt x="6053" y="9854"/>
                    </a:cubicBezTo>
                    <a:cubicBezTo>
                      <a:pt x="6052" y="9895"/>
                      <a:pt x="6050" y="9937"/>
                      <a:pt x="6048" y="9975"/>
                    </a:cubicBezTo>
                    <a:cubicBezTo>
                      <a:pt x="6040" y="10114"/>
                      <a:pt x="6027" y="10237"/>
                      <a:pt x="6022" y="10285"/>
                    </a:cubicBezTo>
                    <a:cubicBezTo>
                      <a:pt x="6089" y="10302"/>
                      <a:pt x="6150" y="10318"/>
                      <a:pt x="6195" y="10329"/>
                    </a:cubicBezTo>
                    <a:cubicBezTo>
                      <a:pt x="6237" y="10340"/>
                      <a:pt x="6274" y="10354"/>
                      <a:pt x="6321" y="10369"/>
                    </a:cubicBezTo>
                    <a:close/>
                    <a:moveTo>
                      <a:pt x="6915" y="10186"/>
                    </a:moveTo>
                    <a:cubicBezTo>
                      <a:pt x="6816" y="10003"/>
                      <a:pt x="6816" y="10003"/>
                      <a:pt x="6816" y="10003"/>
                    </a:cubicBezTo>
                    <a:cubicBezTo>
                      <a:pt x="6505" y="9935"/>
                      <a:pt x="6505" y="9935"/>
                      <a:pt x="6505" y="9935"/>
                    </a:cubicBezTo>
                    <a:cubicBezTo>
                      <a:pt x="6490" y="10022"/>
                      <a:pt x="6475" y="10111"/>
                      <a:pt x="6475" y="10111"/>
                    </a:cubicBezTo>
                    <a:cubicBezTo>
                      <a:pt x="6474" y="10115"/>
                      <a:pt x="6474" y="10115"/>
                      <a:pt x="6474" y="10115"/>
                    </a:cubicBezTo>
                    <a:cubicBezTo>
                      <a:pt x="6410" y="10137"/>
                      <a:pt x="6410" y="10137"/>
                      <a:pt x="6410" y="10137"/>
                    </a:cubicBezTo>
                    <a:cubicBezTo>
                      <a:pt x="6335" y="10373"/>
                      <a:pt x="6335" y="10373"/>
                      <a:pt x="6335" y="10373"/>
                    </a:cubicBezTo>
                    <a:cubicBezTo>
                      <a:pt x="6417" y="10397"/>
                      <a:pt x="6533" y="10424"/>
                      <a:pt x="6761" y="10447"/>
                    </a:cubicBezTo>
                    <a:cubicBezTo>
                      <a:pt x="6773" y="10448"/>
                      <a:pt x="6785" y="10449"/>
                      <a:pt x="6798" y="10451"/>
                    </a:cubicBezTo>
                    <a:cubicBezTo>
                      <a:pt x="6817" y="10407"/>
                      <a:pt x="6860" y="10311"/>
                      <a:pt x="6915" y="10186"/>
                    </a:cubicBezTo>
                    <a:close/>
                    <a:moveTo>
                      <a:pt x="8725" y="7965"/>
                    </a:moveTo>
                    <a:cubicBezTo>
                      <a:pt x="8646" y="7910"/>
                      <a:pt x="8444" y="7769"/>
                      <a:pt x="8241" y="7628"/>
                    </a:cubicBezTo>
                    <a:cubicBezTo>
                      <a:pt x="8111" y="7538"/>
                      <a:pt x="7982" y="7447"/>
                      <a:pt x="7884" y="7379"/>
                    </a:cubicBezTo>
                    <a:cubicBezTo>
                      <a:pt x="7874" y="7371"/>
                      <a:pt x="7864" y="7364"/>
                      <a:pt x="7854" y="7357"/>
                    </a:cubicBezTo>
                    <a:cubicBezTo>
                      <a:pt x="7630" y="8722"/>
                      <a:pt x="7630" y="8722"/>
                      <a:pt x="7630" y="8722"/>
                    </a:cubicBezTo>
                    <a:cubicBezTo>
                      <a:pt x="7629" y="8726"/>
                      <a:pt x="7629" y="8726"/>
                      <a:pt x="7629" y="8726"/>
                    </a:cubicBezTo>
                    <a:cubicBezTo>
                      <a:pt x="7629" y="8726"/>
                      <a:pt x="7434" y="9169"/>
                      <a:pt x="7238" y="9614"/>
                    </a:cubicBezTo>
                    <a:cubicBezTo>
                      <a:pt x="7141" y="9836"/>
                      <a:pt x="7043" y="10058"/>
                      <a:pt x="6969" y="10225"/>
                    </a:cubicBezTo>
                    <a:cubicBezTo>
                      <a:pt x="6932" y="10309"/>
                      <a:pt x="6902" y="10378"/>
                      <a:pt x="6880" y="10427"/>
                    </a:cubicBezTo>
                    <a:cubicBezTo>
                      <a:pt x="6874" y="10440"/>
                      <a:pt x="6869" y="10451"/>
                      <a:pt x="6865" y="10461"/>
                    </a:cubicBezTo>
                    <a:cubicBezTo>
                      <a:pt x="7231" y="10527"/>
                      <a:pt x="7628" y="10735"/>
                      <a:pt x="7630" y="10736"/>
                    </a:cubicBezTo>
                    <a:cubicBezTo>
                      <a:pt x="7631" y="10736"/>
                      <a:pt x="7631" y="10736"/>
                      <a:pt x="7631" y="10736"/>
                    </a:cubicBezTo>
                    <a:cubicBezTo>
                      <a:pt x="7637" y="10740"/>
                      <a:pt x="7637" y="10740"/>
                      <a:pt x="7637" y="10740"/>
                    </a:cubicBezTo>
                    <a:cubicBezTo>
                      <a:pt x="8541" y="9100"/>
                      <a:pt x="8541" y="9100"/>
                      <a:pt x="8541" y="9100"/>
                    </a:cubicBezTo>
                    <a:cubicBezTo>
                      <a:pt x="8543" y="9009"/>
                      <a:pt x="8558" y="8258"/>
                      <a:pt x="8562" y="8208"/>
                    </a:cubicBezTo>
                    <a:cubicBezTo>
                      <a:pt x="8576" y="8075"/>
                      <a:pt x="8652" y="8000"/>
                      <a:pt x="8725" y="7965"/>
                    </a:cubicBezTo>
                    <a:close/>
                    <a:moveTo>
                      <a:pt x="9099" y="9364"/>
                    </a:moveTo>
                    <a:cubicBezTo>
                      <a:pt x="9105" y="9243"/>
                      <a:pt x="9135" y="8868"/>
                      <a:pt x="9138" y="8792"/>
                    </a:cubicBezTo>
                    <a:cubicBezTo>
                      <a:pt x="9136" y="8793"/>
                      <a:pt x="9136" y="8793"/>
                      <a:pt x="9136" y="8793"/>
                    </a:cubicBezTo>
                    <a:cubicBezTo>
                      <a:pt x="9134" y="8793"/>
                      <a:pt x="9134" y="8793"/>
                      <a:pt x="9134" y="8793"/>
                    </a:cubicBezTo>
                    <a:cubicBezTo>
                      <a:pt x="9133" y="8792"/>
                      <a:pt x="8999" y="8759"/>
                      <a:pt x="8863" y="8725"/>
                    </a:cubicBezTo>
                    <a:cubicBezTo>
                      <a:pt x="8765" y="8701"/>
                      <a:pt x="8665" y="8677"/>
                      <a:pt x="8616" y="8665"/>
                    </a:cubicBezTo>
                    <a:cubicBezTo>
                      <a:pt x="8612" y="8850"/>
                      <a:pt x="8608" y="9033"/>
                      <a:pt x="8607" y="9090"/>
                    </a:cubicBezTo>
                    <a:cubicBezTo>
                      <a:pt x="8643" y="9112"/>
                      <a:pt x="8734" y="9167"/>
                      <a:pt x="8838" y="9226"/>
                    </a:cubicBezTo>
                    <a:cubicBezTo>
                      <a:pt x="8926" y="9276"/>
                      <a:pt x="9023" y="9329"/>
                      <a:pt x="9099" y="9364"/>
                    </a:cubicBezTo>
                    <a:close/>
                    <a:moveTo>
                      <a:pt x="9674" y="9546"/>
                    </a:moveTo>
                    <a:cubicBezTo>
                      <a:pt x="9680" y="9522"/>
                      <a:pt x="9691" y="9477"/>
                      <a:pt x="9703" y="9419"/>
                    </a:cubicBezTo>
                    <a:cubicBezTo>
                      <a:pt x="9755" y="9184"/>
                      <a:pt x="9846" y="8744"/>
                      <a:pt x="9852" y="8714"/>
                    </a:cubicBezTo>
                    <a:cubicBezTo>
                      <a:pt x="9520" y="8609"/>
                      <a:pt x="9520" y="8609"/>
                      <a:pt x="9520" y="8609"/>
                    </a:cubicBezTo>
                    <a:cubicBezTo>
                      <a:pt x="9153" y="8785"/>
                      <a:pt x="9153" y="8785"/>
                      <a:pt x="9153" y="8785"/>
                    </a:cubicBezTo>
                    <a:cubicBezTo>
                      <a:pt x="9151" y="8843"/>
                      <a:pt x="9118" y="9253"/>
                      <a:pt x="9112" y="9370"/>
                    </a:cubicBezTo>
                    <a:cubicBezTo>
                      <a:pt x="9145" y="9385"/>
                      <a:pt x="9174" y="9397"/>
                      <a:pt x="9195" y="9403"/>
                    </a:cubicBezTo>
                    <a:cubicBezTo>
                      <a:pt x="9344" y="9446"/>
                      <a:pt x="9525" y="9486"/>
                      <a:pt x="9674" y="9546"/>
                    </a:cubicBezTo>
                    <a:close/>
                    <a:moveTo>
                      <a:pt x="9826" y="9700"/>
                    </a:moveTo>
                    <a:cubicBezTo>
                      <a:pt x="9826" y="9700"/>
                      <a:pt x="9826" y="9700"/>
                      <a:pt x="9826" y="9700"/>
                    </a:cubicBezTo>
                    <a:cubicBezTo>
                      <a:pt x="9822" y="9710"/>
                      <a:pt x="9822" y="9710"/>
                      <a:pt x="9822" y="9710"/>
                    </a:cubicBezTo>
                    <a:lnTo>
                      <a:pt x="9826" y="9700"/>
                    </a:lnTo>
                    <a:close/>
                    <a:moveTo>
                      <a:pt x="10417" y="9692"/>
                    </a:moveTo>
                    <a:cubicBezTo>
                      <a:pt x="10415" y="9691"/>
                      <a:pt x="10415" y="9691"/>
                      <a:pt x="10415" y="9691"/>
                    </a:cubicBezTo>
                    <a:cubicBezTo>
                      <a:pt x="10267" y="9462"/>
                      <a:pt x="10267" y="9462"/>
                      <a:pt x="10267" y="9462"/>
                    </a:cubicBezTo>
                    <a:cubicBezTo>
                      <a:pt x="10481" y="9178"/>
                      <a:pt x="10481" y="9178"/>
                      <a:pt x="10481" y="9178"/>
                    </a:cubicBezTo>
                    <a:cubicBezTo>
                      <a:pt x="10130" y="8802"/>
                      <a:pt x="10130" y="8802"/>
                      <a:pt x="10130" y="8802"/>
                    </a:cubicBezTo>
                    <a:cubicBezTo>
                      <a:pt x="9865" y="8718"/>
                      <a:pt x="9865" y="8718"/>
                      <a:pt x="9865" y="8718"/>
                    </a:cubicBezTo>
                    <a:cubicBezTo>
                      <a:pt x="9860" y="8744"/>
                      <a:pt x="9819" y="8942"/>
                      <a:pt x="9777" y="9141"/>
                    </a:cubicBezTo>
                    <a:cubicBezTo>
                      <a:pt x="9755" y="9247"/>
                      <a:pt x="9732" y="9354"/>
                      <a:pt x="9714" y="9434"/>
                    </a:cubicBezTo>
                    <a:cubicBezTo>
                      <a:pt x="9705" y="9474"/>
                      <a:pt x="9698" y="9508"/>
                      <a:pt x="9692" y="9531"/>
                    </a:cubicBezTo>
                    <a:cubicBezTo>
                      <a:pt x="9690" y="9539"/>
                      <a:pt x="9688" y="9545"/>
                      <a:pt x="9687" y="9551"/>
                    </a:cubicBezTo>
                    <a:cubicBezTo>
                      <a:pt x="9687" y="9551"/>
                      <a:pt x="9688" y="9551"/>
                      <a:pt x="9688" y="9551"/>
                    </a:cubicBezTo>
                    <a:cubicBezTo>
                      <a:pt x="9766" y="9584"/>
                      <a:pt x="9867" y="9646"/>
                      <a:pt x="9956" y="9708"/>
                    </a:cubicBezTo>
                    <a:cubicBezTo>
                      <a:pt x="10045" y="9772"/>
                      <a:pt x="10120" y="9832"/>
                      <a:pt x="10151" y="9872"/>
                    </a:cubicBezTo>
                    <a:cubicBezTo>
                      <a:pt x="10155" y="9878"/>
                      <a:pt x="10159" y="9884"/>
                      <a:pt x="10162" y="9892"/>
                    </a:cubicBezTo>
                    <a:cubicBezTo>
                      <a:pt x="10203" y="9859"/>
                      <a:pt x="10297" y="9786"/>
                      <a:pt x="10417" y="9692"/>
                    </a:cubicBezTo>
                    <a:close/>
                    <a:moveTo>
                      <a:pt x="10746" y="9435"/>
                    </a:moveTo>
                    <a:cubicBezTo>
                      <a:pt x="10785" y="9404"/>
                      <a:pt x="10824" y="9374"/>
                      <a:pt x="10863" y="9344"/>
                    </a:cubicBezTo>
                    <a:cubicBezTo>
                      <a:pt x="10493" y="9186"/>
                      <a:pt x="10493" y="9186"/>
                      <a:pt x="10493" y="9186"/>
                    </a:cubicBezTo>
                    <a:cubicBezTo>
                      <a:pt x="10284" y="9462"/>
                      <a:pt x="10284" y="9462"/>
                      <a:pt x="10284" y="9462"/>
                    </a:cubicBezTo>
                    <a:cubicBezTo>
                      <a:pt x="10426" y="9682"/>
                      <a:pt x="10426" y="9682"/>
                      <a:pt x="10426" y="9682"/>
                    </a:cubicBezTo>
                    <a:cubicBezTo>
                      <a:pt x="10428" y="9684"/>
                      <a:pt x="10428" y="9684"/>
                      <a:pt x="10428" y="9684"/>
                    </a:cubicBezTo>
                    <a:cubicBezTo>
                      <a:pt x="10524" y="9608"/>
                      <a:pt x="10635" y="9522"/>
                      <a:pt x="10746" y="9435"/>
                    </a:cubicBezTo>
                    <a:close/>
                    <a:moveTo>
                      <a:pt x="11530" y="9831"/>
                    </a:moveTo>
                    <a:cubicBezTo>
                      <a:pt x="11530" y="9812"/>
                      <a:pt x="11529" y="9793"/>
                      <a:pt x="11529" y="9785"/>
                    </a:cubicBezTo>
                    <a:cubicBezTo>
                      <a:pt x="10907" y="9366"/>
                      <a:pt x="10907" y="9366"/>
                      <a:pt x="10907" y="9366"/>
                    </a:cubicBezTo>
                    <a:cubicBezTo>
                      <a:pt x="10856" y="9406"/>
                      <a:pt x="10804" y="9446"/>
                      <a:pt x="10753" y="9487"/>
                    </a:cubicBezTo>
                    <a:cubicBezTo>
                      <a:pt x="10651" y="9566"/>
                      <a:pt x="10551" y="9645"/>
                      <a:pt x="10462" y="9714"/>
                    </a:cubicBezTo>
                    <a:cubicBezTo>
                      <a:pt x="10844" y="10051"/>
                      <a:pt x="10844" y="10051"/>
                      <a:pt x="10844" y="10051"/>
                    </a:cubicBezTo>
                    <a:cubicBezTo>
                      <a:pt x="11490" y="9904"/>
                      <a:pt x="11490" y="9904"/>
                      <a:pt x="11490" y="9904"/>
                    </a:cubicBezTo>
                    <a:cubicBezTo>
                      <a:pt x="11489" y="9886"/>
                      <a:pt x="11489" y="9869"/>
                      <a:pt x="11488" y="9854"/>
                    </a:cubicBezTo>
                    <a:cubicBezTo>
                      <a:pt x="11530" y="9854"/>
                      <a:pt x="11530" y="9854"/>
                      <a:pt x="11530" y="9854"/>
                    </a:cubicBezTo>
                    <a:cubicBezTo>
                      <a:pt x="11530" y="9847"/>
                      <a:pt x="11530" y="9839"/>
                      <a:pt x="11530" y="9831"/>
                    </a:cubicBezTo>
                    <a:close/>
                    <a:moveTo>
                      <a:pt x="11537" y="9774"/>
                    </a:moveTo>
                    <a:cubicBezTo>
                      <a:pt x="11552" y="9768"/>
                      <a:pt x="11617" y="9743"/>
                      <a:pt x="11683" y="9717"/>
                    </a:cubicBezTo>
                    <a:cubicBezTo>
                      <a:pt x="11720" y="9702"/>
                      <a:pt x="11758" y="9687"/>
                      <a:pt x="11787" y="9676"/>
                    </a:cubicBezTo>
                    <a:cubicBezTo>
                      <a:pt x="11796" y="9673"/>
                      <a:pt x="11803" y="9670"/>
                      <a:pt x="11810" y="9667"/>
                    </a:cubicBezTo>
                    <a:cubicBezTo>
                      <a:pt x="11690" y="9386"/>
                      <a:pt x="11690" y="9386"/>
                      <a:pt x="11690" y="9386"/>
                    </a:cubicBezTo>
                    <a:cubicBezTo>
                      <a:pt x="11690" y="9387"/>
                      <a:pt x="11689" y="9384"/>
                      <a:pt x="11686" y="9378"/>
                    </a:cubicBezTo>
                    <a:cubicBezTo>
                      <a:pt x="11667" y="9340"/>
                      <a:pt x="11576" y="9178"/>
                      <a:pt x="11366" y="9011"/>
                    </a:cubicBezTo>
                    <a:cubicBezTo>
                      <a:pt x="11302" y="9059"/>
                      <a:pt x="11121" y="9199"/>
                      <a:pt x="10918" y="9357"/>
                    </a:cubicBezTo>
                    <a:lnTo>
                      <a:pt x="11537" y="9774"/>
                    </a:lnTo>
                    <a:close/>
                    <a:moveTo>
                      <a:pt x="11816" y="9680"/>
                    </a:moveTo>
                    <a:cubicBezTo>
                      <a:pt x="11809" y="9682"/>
                      <a:pt x="11801" y="9685"/>
                      <a:pt x="11792" y="9689"/>
                    </a:cubicBezTo>
                    <a:cubicBezTo>
                      <a:pt x="11714" y="9720"/>
                      <a:pt x="11571" y="9775"/>
                      <a:pt x="11543" y="9786"/>
                    </a:cubicBezTo>
                    <a:cubicBezTo>
                      <a:pt x="11543" y="9795"/>
                      <a:pt x="11544" y="9813"/>
                      <a:pt x="11544" y="9831"/>
                    </a:cubicBezTo>
                    <a:cubicBezTo>
                      <a:pt x="11544" y="9839"/>
                      <a:pt x="11544" y="9846"/>
                      <a:pt x="11544" y="9854"/>
                    </a:cubicBezTo>
                    <a:cubicBezTo>
                      <a:pt x="11554" y="9853"/>
                      <a:pt x="11554" y="9853"/>
                      <a:pt x="11554" y="9853"/>
                    </a:cubicBezTo>
                    <a:cubicBezTo>
                      <a:pt x="11556" y="9945"/>
                      <a:pt x="11565" y="10079"/>
                      <a:pt x="11584" y="10222"/>
                    </a:cubicBezTo>
                    <a:cubicBezTo>
                      <a:pt x="11603" y="10371"/>
                      <a:pt x="11636" y="10532"/>
                      <a:pt x="11680" y="10615"/>
                    </a:cubicBezTo>
                    <a:cubicBezTo>
                      <a:pt x="11724" y="10701"/>
                      <a:pt x="11761" y="10755"/>
                      <a:pt x="11787" y="10789"/>
                    </a:cubicBezTo>
                    <a:cubicBezTo>
                      <a:pt x="12099" y="10341"/>
                      <a:pt x="12099" y="10341"/>
                      <a:pt x="12099" y="10341"/>
                    </a:cubicBezTo>
                    <a:lnTo>
                      <a:pt x="11816" y="9680"/>
                    </a:lnTo>
                    <a:close/>
                    <a:moveTo>
                      <a:pt x="13671" y="8034"/>
                    </a:moveTo>
                    <a:cubicBezTo>
                      <a:pt x="13755" y="7502"/>
                      <a:pt x="14120" y="5294"/>
                      <a:pt x="14181" y="4925"/>
                    </a:cubicBezTo>
                    <a:cubicBezTo>
                      <a:pt x="11731" y="5611"/>
                      <a:pt x="11731" y="5611"/>
                      <a:pt x="11731" y="5611"/>
                    </a:cubicBezTo>
                    <a:cubicBezTo>
                      <a:pt x="11781" y="5666"/>
                      <a:pt x="11851" y="5737"/>
                      <a:pt x="11913" y="5798"/>
                    </a:cubicBezTo>
                    <a:cubicBezTo>
                      <a:pt x="11979" y="5863"/>
                      <a:pt x="12036" y="5917"/>
                      <a:pt x="12048" y="5928"/>
                    </a:cubicBezTo>
                    <a:cubicBezTo>
                      <a:pt x="12069" y="5942"/>
                      <a:pt x="12210" y="6030"/>
                      <a:pt x="12363" y="6123"/>
                    </a:cubicBezTo>
                    <a:cubicBezTo>
                      <a:pt x="12528" y="6224"/>
                      <a:pt x="12710" y="6332"/>
                      <a:pt x="12759" y="6354"/>
                    </a:cubicBezTo>
                    <a:cubicBezTo>
                      <a:pt x="12836" y="6386"/>
                      <a:pt x="12863" y="6434"/>
                      <a:pt x="12862" y="6470"/>
                    </a:cubicBezTo>
                    <a:cubicBezTo>
                      <a:pt x="12862" y="6485"/>
                      <a:pt x="12858" y="6496"/>
                      <a:pt x="12855" y="6501"/>
                    </a:cubicBezTo>
                    <a:cubicBezTo>
                      <a:pt x="12785" y="6705"/>
                      <a:pt x="12785" y="6705"/>
                      <a:pt x="12785" y="6705"/>
                    </a:cubicBezTo>
                    <a:cubicBezTo>
                      <a:pt x="12601" y="6986"/>
                      <a:pt x="12601" y="6986"/>
                      <a:pt x="12601" y="6986"/>
                    </a:cubicBezTo>
                    <a:cubicBezTo>
                      <a:pt x="12657" y="7240"/>
                      <a:pt x="12657" y="7240"/>
                      <a:pt x="12657" y="7240"/>
                    </a:cubicBezTo>
                    <a:cubicBezTo>
                      <a:pt x="12609" y="7231"/>
                      <a:pt x="12609" y="7231"/>
                      <a:pt x="12609" y="7231"/>
                    </a:cubicBezTo>
                    <a:cubicBezTo>
                      <a:pt x="12608" y="7231"/>
                      <a:pt x="12460" y="7204"/>
                      <a:pt x="12286" y="7173"/>
                    </a:cubicBezTo>
                    <a:cubicBezTo>
                      <a:pt x="12112" y="7141"/>
                      <a:pt x="11912" y="7106"/>
                      <a:pt x="11812" y="7091"/>
                    </a:cubicBezTo>
                    <a:cubicBezTo>
                      <a:pt x="11803" y="7090"/>
                      <a:pt x="11795" y="7089"/>
                      <a:pt x="11787" y="7089"/>
                    </a:cubicBezTo>
                    <a:cubicBezTo>
                      <a:pt x="11752" y="7089"/>
                      <a:pt x="11728" y="7101"/>
                      <a:pt x="11707" y="7119"/>
                    </a:cubicBezTo>
                    <a:cubicBezTo>
                      <a:pt x="11677" y="7147"/>
                      <a:pt x="11657" y="7193"/>
                      <a:pt x="11647" y="7234"/>
                    </a:cubicBezTo>
                    <a:cubicBezTo>
                      <a:pt x="11642" y="7254"/>
                      <a:pt x="11639" y="7272"/>
                      <a:pt x="11637" y="7285"/>
                    </a:cubicBezTo>
                    <a:cubicBezTo>
                      <a:pt x="11636" y="7295"/>
                      <a:pt x="11635" y="7302"/>
                      <a:pt x="11635" y="7304"/>
                    </a:cubicBezTo>
                    <a:cubicBezTo>
                      <a:pt x="11656" y="7677"/>
                      <a:pt x="11656" y="7677"/>
                      <a:pt x="11656" y="7677"/>
                    </a:cubicBezTo>
                    <a:cubicBezTo>
                      <a:pt x="11837" y="7764"/>
                      <a:pt x="11891" y="7897"/>
                      <a:pt x="11889" y="8003"/>
                    </a:cubicBezTo>
                    <a:cubicBezTo>
                      <a:pt x="11889" y="8106"/>
                      <a:pt x="11846" y="8183"/>
                      <a:pt x="11841" y="8192"/>
                    </a:cubicBezTo>
                    <a:cubicBezTo>
                      <a:pt x="11431" y="8979"/>
                      <a:pt x="11431" y="8979"/>
                      <a:pt x="11431" y="8979"/>
                    </a:cubicBezTo>
                    <a:cubicBezTo>
                      <a:pt x="11666" y="9174"/>
                      <a:pt x="11749" y="9357"/>
                      <a:pt x="11750" y="9360"/>
                    </a:cubicBezTo>
                    <a:cubicBezTo>
                      <a:pt x="11801" y="9479"/>
                      <a:pt x="11801" y="9479"/>
                      <a:pt x="11801" y="9479"/>
                    </a:cubicBezTo>
                    <a:cubicBezTo>
                      <a:pt x="11828" y="9469"/>
                      <a:pt x="11916" y="9435"/>
                      <a:pt x="12015" y="9396"/>
                    </a:cubicBezTo>
                    <a:cubicBezTo>
                      <a:pt x="12134" y="9349"/>
                      <a:pt x="12270" y="9294"/>
                      <a:pt x="12328" y="9265"/>
                    </a:cubicBezTo>
                    <a:cubicBezTo>
                      <a:pt x="12386" y="9236"/>
                      <a:pt x="12419" y="9218"/>
                      <a:pt x="12434" y="9200"/>
                    </a:cubicBezTo>
                    <a:cubicBezTo>
                      <a:pt x="12448" y="9183"/>
                      <a:pt x="12455" y="9162"/>
                      <a:pt x="12455" y="9106"/>
                    </a:cubicBezTo>
                    <a:cubicBezTo>
                      <a:pt x="12455" y="9098"/>
                      <a:pt x="12455" y="9089"/>
                      <a:pt x="12455" y="9080"/>
                    </a:cubicBezTo>
                    <a:cubicBezTo>
                      <a:pt x="12455" y="9078"/>
                      <a:pt x="12455" y="9075"/>
                      <a:pt x="12455" y="9073"/>
                    </a:cubicBezTo>
                    <a:cubicBezTo>
                      <a:pt x="12454" y="8993"/>
                      <a:pt x="12498" y="8940"/>
                      <a:pt x="12539" y="8913"/>
                    </a:cubicBezTo>
                    <a:cubicBezTo>
                      <a:pt x="12580" y="8885"/>
                      <a:pt x="12619" y="8877"/>
                      <a:pt x="12621" y="8876"/>
                    </a:cubicBezTo>
                    <a:cubicBezTo>
                      <a:pt x="12624" y="8876"/>
                      <a:pt x="12624" y="8876"/>
                      <a:pt x="12624" y="8876"/>
                    </a:cubicBezTo>
                    <a:cubicBezTo>
                      <a:pt x="13631" y="8842"/>
                      <a:pt x="13631" y="8842"/>
                      <a:pt x="13631" y="8842"/>
                    </a:cubicBezTo>
                    <a:cubicBezTo>
                      <a:pt x="13626" y="8816"/>
                      <a:pt x="13616" y="8749"/>
                      <a:pt x="13616" y="8629"/>
                    </a:cubicBezTo>
                    <a:cubicBezTo>
                      <a:pt x="13616" y="8499"/>
                      <a:pt x="13627" y="8306"/>
                      <a:pt x="13671" y="8034"/>
                    </a:cubicBezTo>
                    <a:close/>
                    <a:moveTo>
                      <a:pt x="13707" y="8851"/>
                    </a:moveTo>
                    <a:cubicBezTo>
                      <a:pt x="13683" y="8852"/>
                      <a:pt x="13683" y="8852"/>
                      <a:pt x="13683" y="8852"/>
                    </a:cubicBezTo>
                    <a:cubicBezTo>
                      <a:pt x="13685" y="8906"/>
                      <a:pt x="13685" y="8906"/>
                      <a:pt x="13685" y="8906"/>
                    </a:cubicBezTo>
                    <a:cubicBezTo>
                      <a:pt x="13679" y="8906"/>
                      <a:pt x="13679" y="8906"/>
                      <a:pt x="13679" y="8906"/>
                    </a:cubicBezTo>
                    <a:cubicBezTo>
                      <a:pt x="13679" y="8906"/>
                      <a:pt x="13680" y="8907"/>
                      <a:pt x="13680" y="8907"/>
                    </a:cubicBezTo>
                    <a:cubicBezTo>
                      <a:pt x="13694" y="8912"/>
                      <a:pt x="13703" y="8912"/>
                      <a:pt x="13706" y="8912"/>
                    </a:cubicBezTo>
                    <a:cubicBezTo>
                      <a:pt x="13707" y="8912"/>
                      <a:pt x="13707" y="8912"/>
                      <a:pt x="13707" y="8912"/>
                    </a:cubicBezTo>
                    <a:lnTo>
                      <a:pt x="13707" y="8851"/>
                    </a:lnTo>
                    <a:close/>
                    <a:moveTo>
                      <a:pt x="13750" y="8899"/>
                    </a:moveTo>
                    <a:cubicBezTo>
                      <a:pt x="13718" y="8851"/>
                      <a:pt x="13718" y="8851"/>
                      <a:pt x="13718" y="8851"/>
                    </a:cubicBezTo>
                    <a:cubicBezTo>
                      <a:pt x="13718" y="8851"/>
                      <a:pt x="13718" y="8851"/>
                      <a:pt x="13718" y="8851"/>
                    </a:cubicBezTo>
                    <a:lnTo>
                      <a:pt x="13750" y="8899"/>
                    </a:lnTo>
                    <a:close/>
                    <a:moveTo>
                      <a:pt x="15332" y="6264"/>
                    </a:moveTo>
                    <a:cubicBezTo>
                      <a:pt x="15225" y="6404"/>
                      <a:pt x="15057" y="6627"/>
                      <a:pt x="15002" y="6731"/>
                    </a:cubicBezTo>
                    <a:cubicBezTo>
                      <a:pt x="15000" y="6734"/>
                      <a:pt x="15000" y="6734"/>
                      <a:pt x="15000" y="6734"/>
                    </a:cubicBezTo>
                    <a:cubicBezTo>
                      <a:pt x="14997" y="6737"/>
                      <a:pt x="14997" y="6737"/>
                      <a:pt x="14997" y="6737"/>
                    </a:cubicBezTo>
                    <a:cubicBezTo>
                      <a:pt x="14997" y="6737"/>
                      <a:pt x="14997" y="6737"/>
                      <a:pt x="14997" y="6737"/>
                    </a:cubicBezTo>
                    <a:cubicBezTo>
                      <a:pt x="14993" y="6742"/>
                      <a:pt x="14917" y="6837"/>
                      <a:pt x="14875" y="7164"/>
                    </a:cubicBezTo>
                    <a:cubicBezTo>
                      <a:pt x="14852" y="7340"/>
                      <a:pt x="14832" y="7548"/>
                      <a:pt x="14818" y="7712"/>
                    </a:cubicBezTo>
                    <a:cubicBezTo>
                      <a:pt x="14804" y="7876"/>
                      <a:pt x="14796" y="7995"/>
                      <a:pt x="14796" y="7996"/>
                    </a:cubicBezTo>
                    <a:cubicBezTo>
                      <a:pt x="14796" y="7997"/>
                      <a:pt x="14796" y="7997"/>
                      <a:pt x="14796" y="7997"/>
                    </a:cubicBezTo>
                    <a:cubicBezTo>
                      <a:pt x="14796" y="7998"/>
                      <a:pt x="14796" y="7998"/>
                      <a:pt x="14796" y="7998"/>
                    </a:cubicBezTo>
                    <a:cubicBezTo>
                      <a:pt x="14796" y="8000"/>
                      <a:pt x="14766" y="8232"/>
                      <a:pt x="14626" y="8487"/>
                    </a:cubicBezTo>
                    <a:cubicBezTo>
                      <a:pt x="14558" y="8609"/>
                      <a:pt x="14540" y="8766"/>
                      <a:pt x="14540" y="8887"/>
                    </a:cubicBezTo>
                    <a:cubicBezTo>
                      <a:pt x="14540" y="8942"/>
                      <a:pt x="14544" y="8990"/>
                      <a:pt x="14547" y="9024"/>
                    </a:cubicBezTo>
                    <a:cubicBezTo>
                      <a:pt x="14549" y="9039"/>
                      <a:pt x="14550" y="9051"/>
                      <a:pt x="14552" y="9060"/>
                    </a:cubicBezTo>
                    <a:cubicBezTo>
                      <a:pt x="15369" y="9047"/>
                      <a:pt x="16559" y="9029"/>
                      <a:pt x="16677" y="9029"/>
                    </a:cubicBezTo>
                    <a:cubicBezTo>
                      <a:pt x="16684" y="9029"/>
                      <a:pt x="16684" y="9029"/>
                      <a:pt x="16684" y="9029"/>
                    </a:cubicBezTo>
                    <a:cubicBezTo>
                      <a:pt x="16685" y="9029"/>
                      <a:pt x="16686" y="9029"/>
                      <a:pt x="16687" y="9029"/>
                    </a:cubicBezTo>
                    <a:cubicBezTo>
                      <a:pt x="16687" y="9029"/>
                      <a:pt x="16688" y="9030"/>
                      <a:pt x="16689" y="9030"/>
                    </a:cubicBezTo>
                    <a:cubicBezTo>
                      <a:pt x="16689" y="9030"/>
                      <a:pt x="16690" y="9030"/>
                      <a:pt x="16690" y="9030"/>
                    </a:cubicBezTo>
                    <a:cubicBezTo>
                      <a:pt x="16694" y="9030"/>
                      <a:pt x="16700" y="9030"/>
                      <a:pt x="16708" y="9030"/>
                    </a:cubicBezTo>
                    <a:cubicBezTo>
                      <a:pt x="16760" y="9030"/>
                      <a:pt x="16896" y="9033"/>
                      <a:pt x="17066" y="9078"/>
                    </a:cubicBezTo>
                    <a:cubicBezTo>
                      <a:pt x="17067" y="9076"/>
                      <a:pt x="17067" y="9076"/>
                      <a:pt x="17068" y="9074"/>
                    </a:cubicBezTo>
                    <a:cubicBezTo>
                      <a:pt x="17104" y="9012"/>
                      <a:pt x="17254" y="8734"/>
                      <a:pt x="17254" y="8352"/>
                    </a:cubicBezTo>
                    <a:cubicBezTo>
                      <a:pt x="17254" y="8215"/>
                      <a:pt x="17235" y="8065"/>
                      <a:pt x="17184" y="7906"/>
                    </a:cubicBezTo>
                    <a:cubicBezTo>
                      <a:pt x="17184" y="7904"/>
                      <a:pt x="17184" y="7904"/>
                      <a:pt x="17184" y="7904"/>
                    </a:cubicBezTo>
                    <a:cubicBezTo>
                      <a:pt x="17183" y="7902"/>
                      <a:pt x="17183" y="7902"/>
                      <a:pt x="17183" y="7902"/>
                    </a:cubicBezTo>
                    <a:cubicBezTo>
                      <a:pt x="17183" y="7902"/>
                      <a:pt x="17181" y="7891"/>
                      <a:pt x="17176" y="7870"/>
                    </a:cubicBezTo>
                    <a:cubicBezTo>
                      <a:pt x="17143" y="7721"/>
                      <a:pt x="16972" y="7086"/>
                      <a:pt x="16463" y="6585"/>
                    </a:cubicBezTo>
                    <a:cubicBezTo>
                      <a:pt x="16111" y="6237"/>
                      <a:pt x="15671" y="6097"/>
                      <a:pt x="15476" y="6049"/>
                    </a:cubicBezTo>
                    <a:cubicBezTo>
                      <a:pt x="15475" y="6053"/>
                      <a:pt x="15473" y="6056"/>
                      <a:pt x="15472" y="6059"/>
                    </a:cubicBezTo>
                    <a:cubicBezTo>
                      <a:pt x="15469" y="6067"/>
                      <a:pt x="15466" y="6072"/>
                      <a:pt x="15461" y="6079"/>
                    </a:cubicBezTo>
                    <a:cubicBezTo>
                      <a:pt x="15459" y="6081"/>
                      <a:pt x="15456" y="6083"/>
                      <a:pt x="15453" y="6085"/>
                    </a:cubicBezTo>
                    <a:cubicBezTo>
                      <a:pt x="15440" y="6110"/>
                      <a:pt x="15403" y="6173"/>
                      <a:pt x="15332" y="6264"/>
                    </a:cubicBezTo>
                    <a:close/>
                    <a:moveTo>
                      <a:pt x="14192" y="5794"/>
                    </a:moveTo>
                    <a:cubicBezTo>
                      <a:pt x="14060" y="6598"/>
                      <a:pt x="13877" y="7703"/>
                      <a:pt x="13821" y="8058"/>
                    </a:cubicBezTo>
                    <a:cubicBezTo>
                      <a:pt x="13779" y="8323"/>
                      <a:pt x="13768" y="8508"/>
                      <a:pt x="13768" y="8629"/>
                    </a:cubicBezTo>
                    <a:cubicBezTo>
                      <a:pt x="13768" y="8699"/>
                      <a:pt x="13772" y="8748"/>
                      <a:pt x="13775" y="8778"/>
                    </a:cubicBezTo>
                    <a:cubicBezTo>
                      <a:pt x="13777" y="8793"/>
                      <a:pt x="13779" y="8804"/>
                      <a:pt x="13780" y="8810"/>
                    </a:cubicBezTo>
                    <a:cubicBezTo>
                      <a:pt x="13780" y="8813"/>
                      <a:pt x="13781" y="8815"/>
                      <a:pt x="13781" y="8816"/>
                    </a:cubicBezTo>
                    <a:cubicBezTo>
                      <a:pt x="13781" y="8817"/>
                      <a:pt x="13781" y="8817"/>
                      <a:pt x="13781" y="8817"/>
                    </a:cubicBezTo>
                    <a:cubicBezTo>
                      <a:pt x="13782" y="8820"/>
                      <a:pt x="13783" y="8824"/>
                      <a:pt x="13783" y="8827"/>
                    </a:cubicBezTo>
                    <a:cubicBezTo>
                      <a:pt x="13784" y="8833"/>
                      <a:pt x="13784" y="8837"/>
                      <a:pt x="13783" y="8841"/>
                    </a:cubicBezTo>
                    <a:cubicBezTo>
                      <a:pt x="13784" y="8846"/>
                      <a:pt x="13784" y="8858"/>
                      <a:pt x="13785" y="8872"/>
                    </a:cubicBezTo>
                    <a:cubicBezTo>
                      <a:pt x="13788" y="8913"/>
                      <a:pt x="13794" y="8982"/>
                      <a:pt x="13802" y="9072"/>
                    </a:cubicBezTo>
                    <a:cubicBezTo>
                      <a:pt x="13875" y="9071"/>
                      <a:pt x="14141" y="9066"/>
                      <a:pt x="14486" y="9061"/>
                    </a:cubicBezTo>
                    <a:cubicBezTo>
                      <a:pt x="14481" y="9028"/>
                      <a:pt x="14475" y="8965"/>
                      <a:pt x="14475" y="8887"/>
                    </a:cubicBezTo>
                    <a:cubicBezTo>
                      <a:pt x="14475" y="8760"/>
                      <a:pt x="14492" y="8594"/>
                      <a:pt x="14568" y="8455"/>
                    </a:cubicBezTo>
                    <a:cubicBezTo>
                      <a:pt x="14635" y="8333"/>
                      <a:pt x="14676" y="8216"/>
                      <a:pt x="14700" y="8130"/>
                    </a:cubicBezTo>
                    <a:cubicBezTo>
                      <a:pt x="14712" y="8087"/>
                      <a:pt x="14720" y="8051"/>
                      <a:pt x="14725" y="8027"/>
                    </a:cubicBezTo>
                    <a:cubicBezTo>
                      <a:pt x="14729" y="8005"/>
                      <a:pt x="14731" y="7992"/>
                      <a:pt x="14731" y="7990"/>
                    </a:cubicBezTo>
                    <a:cubicBezTo>
                      <a:pt x="14733" y="7961"/>
                      <a:pt x="14765" y="7499"/>
                      <a:pt x="14810" y="7156"/>
                    </a:cubicBezTo>
                    <a:cubicBezTo>
                      <a:pt x="14852" y="6829"/>
                      <a:pt x="14928" y="6718"/>
                      <a:pt x="14945" y="6697"/>
                    </a:cubicBezTo>
                    <a:cubicBezTo>
                      <a:pt x="15008" y="6582"/>
                      <a:pt x="15173" y="6365"/>
                      <a:pt x="15280" y="6224"/>
                    </a:cubicBezTo>
                    <a:cubicBezTo>
                      <a:pt x="15325" y="6166"/>
                      <a:pt x="15355" y="6121"/>
                      <a:pt x="15374" y="6090"/>
                    </a:cubicBezTo>
                    <a:cubicBezTo>
                      <a:pt x="15384" y="6074"/>
                      <a:pt x="15391" y="6063"/>
                      <a:pt x="15395" y="6055"/>
                    </a:cubicBezTo>
                    <a:cubicBezTo>
                      <a:pt x="15399" y="6047"/>
                      <a:pt x="15401" y="6044"/>
                      <a:pt x="15401" y="6044"/>
                    </a:cubicBezTo>
                    <a:cubicBezTo>
                      <a:pt x="15407" y="6033"/>
                      <a:pt x="15407" y="6033"/>
                      <a:pt x="15407" y="6033"/>
                    </a:cubicBezTo>
                    <a:cubicBezTo>
                      <a:pt x="15397" y="6031"/>
                      <a:pt x="15390" y="6029"/>
                      <a:pt x="15385" y="6028"/>
                    </a:cubicBezTo>
                    <a:lnTo>
                      <a:pt x="14192" y="5794"/>
                    </a:lnTo>
                    <a:close/>
                    <a:moveTo>
                      <a:pt x="12697" y="3742"/>
                    </a:moveTo>
                    <a:cubicBezTo>
                      <a:pt x="12684" y="3755"/>
                      <a:pt x="12550" y="3888"/>
                      <a:pt x="12405" y="4030"/>
                    </a:cubicBezTo>
                    <a:cubicBezTo>
                      <a:pt x="12386" y="4048"/>
                      <a:pt x="12368" y="4065"/>
                      <a:pt x="12350" y="4083"/>
                    </a:cubicBezTo>
                    <a:cubicBezTo>
                      <a:pt x="12400" y="4151"/>
                      <a:pt x="12533" y="4357"/>
                      <a:pt x="12533" y="4358"/>
                    </a:cubicBezTo>
                    <a:cubicBezTo>
                      <a:pt x="12535" y="4361"/>
                      <a:pt x="12535" y="4361"/>
                      <a:pt x="12535" y="4361"/>
                    </a:cubicBezTo>
                    <a:cubicBezTo>
                      <a:pt x="12475" y="4509"/>
                      <a:pt x="12475" y="4509"/>
                      <a:pt x="12475" y="4509"/>
                    </a:cubicBezTo>
                    <a:cubicBezTo>
                      <a:pt x="12475" y="4509"/>
                      <a:pt x="12475" y="4509"/>
                      <a:pt x="12475" y="4509"/>
                    </a:cubicBezTo>
                    <a:cubicBezTo>
                      <a:pt x="12475" y="4510"/>
                      <a:pt x="12475" y="4510"/>
                      <a:pt x="12475" y="4510"/>
                    </a:cubicBezTo>
                    <a:cubicBezTo>
                      <a:pt x="12419" y="4649"/>
                      <a:pt x="12419" y="4649"/>
                      <a:pt x="12419" y="4649"/>
                    </a:cubicBezTo>
                    <a:cubicBezTo>
                      <a:pt x="12090" y="4846"/>
                      <a:pt x="12090" y="4846"/>
                      <a:pt x="12090" y="4846"/>
                    </a:cubicBezTo>
                    <a:cubicBezTo>
                      <a:pt x="12137" y="4944"/>
                      <a:pt x="12184" y="5042"/>
                      <a:pt x="12219" y="5117"/>
                    </a:cubicBezTo>
                    <a:cubicBezTo>
                      <a:pt x="12238" y="5155"/>
                      <a:pt x="12254" y="5187"/>
                      <a:pt x="12265" y="5209"/>
                    </a:cubicBezTo>
                    <a:cubicBezTo>
                      <a:pt x="12269" y="5218"/>
                      <a:pt x="12292" y="5269"/>
                      <a:pt x="12295" y="5275"/>
                    </a:cubicBezTo>
                    <a:cubicBezTo>
                      <a:pt x="12234" y="5299"/>
                      <a:pt x="12234" y="5299"/>
                      <a:pt x="12234" y="5299"/>
                    </a:cubicBezTo>
                    <a:cubicBezTo>
                      <a:pt x="12204" y="5240"/>
                      <a:pt x="12109" y="5040"/>
                      <a:pt x="12029" y="4872"/>
                    </a:cubicBezTo>
                    <a:cubicBezTo>
                      <a:pt x="11039" y="5187"/>
                      <a:pt x="11039" y="5187"/>
                      <a:pt x="11039" y="5187"/>
                    </a:cubicBezTo>
                    <a:cubicBezTo>
                      <a:pt x="11176" y="5580"/>
                      <a:pt x="11176" y="5580"/>
                      <a:pt x="11176" y="5580"/>
                    </a:cubicBezTo>
                    <a:cubicBezTo>
                      <a:pt x="11182" y="5595"/>
                      <a:pt x="11182" y="5595"/>
                      <a:pt x="11182" y="5595"/>
                    </a:cubicBezTo>
                    <a:cubicBezTo>
                      <a:pt x="11125" y="5615"/>
                      <a:pt x="11125" y="5615"/>
                      <a:pt x="11125" y="5615"/>
                    </a:cubicBezTo>
                    <a:cubicBezTo>
                      <a:pt x="11125" y="5615"/>
                      <a:pt x="11125" y="5615"/>
                      <a:pt x="11125" y="5615"/>
                    </a:cubicBezTo>
                    <a:cubicBezTo>
                      <a:pt x="11125" y="5615"/>
                      <a:pt x="10992" y="5658"/>
                      <a:pt x="10792" y="5722"/>
                    </a:cubicBezTo>
                    <a:cubicBezTo>
                      <a:pt x="10737" y="5740"/>
                      <a:pt x="10675" y="5760"/>
                      <a:pt x="10611" y="5781"/>
                    </a:cubicBezTo>
                    <a:cubicBezTo>
                      <a:pt x="10611" y="5783"/>
                      <a:pt x="10612" y="5785"/>
                      <a:pt x="10612" y="5785"/>
                    </a:cubicBezTo>
                    <a:cubicBezTo>
                      <a:pt x="10599" y="5789"/>
                      <a:pt x="10599" y="5789"/>
                      <a:pt x="10599" y="5789"/>
                    </a:cubicBezTo>
                    <a:cubicBezTo>
                      <a:pt x="10599" y="5789"/>
                      <a:pt x="10599" y="5789"/>
                      <a:pt x="10599" y="5789"/>
                    </a:cubicBezTo>
                    <a:cubicBezTo>
                      <a:pt x="10599" y="5789"/>
                      <a:pt x="10598" y="5788"/>
                      <a:pt x="10597" y="5785"/>
                    </a:cubicBezTo>
                    <a:cubicBezTo>
                      <a:pt x="10317" y="5875"/>
                      <a:pt x="9970" y="5987"/>
                      <a:pt x="9670" y="6084"/>
                    </a:cubicBezTo>
                    <a:cubicBezTo>
                      <a:pt x="9483" y="6144"/>
                      <a:pt x="9315" y="6199"/>
                      <a:pt x="9193" y="6239"/>
                    </a:cubicBezTo>
                    <a:cubicBezTo>
                      <a:pt x="9133" y="6259"/>
                      <a:pt x="9084" y="6275"/>
                      <a:pt x="9050" y="6286"/>
                    </a:cubicBezTo>
                    <a:cubicBezTo>
                      <a:pt x="9033" y="6292"/>
                      <a:pt x="9020" y="6297"/>
                      <a:pt x="9011" y="6300"/>
                    </a:cubicBezTo>
                    <a:cubicBezTo>
                      <a:pt x="9006" y="6301"/>
                      <a:pt x="9003" y="6302"/>
                      <a:pt x="9001" y="6303"/>
                    </a:cubicBezTo>
                    <a:cubicBezTo>
                      <a:pt x="9000" y="6304"/>
                      <a:pt x="9000" y="6305"/>
                      <a:pt x="8996" y="6305"/>
                    </a:cubicBezTo>
                    <a:cubicBezTo>
                      <a:pt x="8994" y="6305"/>
                      <a:pt x="8994" y="6305"/>
                      <a:pt x="8993" y="6305"/>
                    </a:cubicBezTo>
                    <a:cubicBezTo>
                      <a:pt x="8988" y="6303"/>
                      <a:pt x="8988" y="6303"/>
                      <a:pt x="8988" y="6303"/>
                    </a:cubicBezTo>
                    <a:cubicBezTo>
                      <a:pt x="8988" y="6302"/>
                      <a:pt x="8988" y="6302"/>
                      <a:pt x="8988" y="6302"/>
                    </a:cubicBezTo>
                    <a:cubicBezTo>
                      <a:pt x="8973" y="6296"/>
                      <a:pt x="8928" y="6277"/>
                      <a:pt x="8928" y="6277"/>
                    </a:cubicBezTo>
                    <a:cubicBezTo>
                      <a:pt x="8921" y="6274"/>
                      <a:pt x="8921" y="6274"/>
                      <a:pt x="8921" y="6274"/>
                    </a:cubicBezTo>
                    <a:cubicBezTo>
                      <a:pt x="8924" y="6268"/>
                      <a:pt x="8924" y="6268"/>
                      <a:pt x="8924" y="6268"/>
                    </a:cubicBezTo>
                    <a:cubicBezTo>
                      <a:pt x="8924" y="6268"/>
                      <a:pt x="9001" y="6103"/>
                      <a:pt x="9080" y="5938"/>
                    </a:cubicBezTo>
                    <a:cubicBezTo>
                      <a:pt x="9119" y="5856"/>
                      <a:pt x="9158" y="5773"/>
                      <a:pt x="9189" y="5711"/>
                    </a:cubicBezTo>
                    <a:cubicBezTo>
                      <a:pt x="9204" y="5680"/>
                      <a:pt x="9217" y="5655"/>
                      <a:pt x="9227" y="5637"/>
                    </a:cubicBezTo>
                    <a:cubicBezTo>
                      <a:pt x="9232" y="5627"/>
                      <a:pt x="9236" y="5620"/>
                      <a:pt x="9239" y="5615"/>
                    </a:cubicBezTo>
                    <a:cubicBezTo>
                      <a:pt x="9240" y="5613"/>
                      <a:pt x="9242" y="5611"/>
                      <a:pt x="9243" y="5609"/>
                    </a:cubicBezTo>
                    <a:cubicBezTo>
                      <a:pt x="9244" y="5608"/>
                      <a:pt x="9244" y="5607"/>
                      <a:pt x="9247" y="5605"/>
                    </a:cubicBezTo>
                    <a:cubicBezTo>
                      <a:pt x="9249" y="5603"/>
                      <a:pt x="9255" y="5591"/>
                      <a:pt x="9262" y="5577"/>
                    </a:cubicBezTo>
                    <a:cubicBezTo>
                      <a:pt x="9293" y="5514"/>
                      <a:pt x="9357" y="5370"/>
                      <a:pt x="9413" y="5241"/>
                    </a:cubicBezTo>
                    <a:cubicBezTo>
                      <a:pt x="9439" y="5181"/>
                      <a:pt x="9464" y="5125"/>
                      <a:pt x="9482" y="5082"/>
                    </a:cubicBezTo>
                    <a:cubicBezTo>
                      <a:pt x="9481" y="5078"/>
                      <a:pt x="9481" y="5078"/>
                      <a:pt x="9481" y="5078"/>
                    </a:cubicBezTo>
                    <a:cubicBezTo>
                      <a:pt x="9485" y="5077"/>
                      <a:pt x="9485" y="5077"/>
                      <a:pt x="9485" y="5077"/>
                    </a:cubicBezTo>
                    <a:cubicBezTo>
                      <a:pt x="9494" y="5055"/>
                      <a:pt x="9502" y="5037"/>
                      <a:pt x="9508" y="5023"/>
                    </a:cubicBezTo>
                    <a:cubicBezTo>
                      <a:pt x="9487" y="5014"/>
                      <a:pt x="9470" y="5005"/>
                      <a:pt x="9457" y="4998"/>
                    </a:cubicBezTo>
                    <a:cubicBezTo>
                      <a:pt x="9407" y="5103"/>
                      <a:pt x="9407" y="5103"/>
                      <a:pt x="9407" y="5103"/>
                    </a:cubicBezTo>
                    <a:cubicBezTo>
                      <a:pt x="8770" y="6485"/>
                      <a:pt x="8770" y="6485"/>
                      <a:pt x="8770" y="6485"/>
                    </a:cubicBezTo>
                    <a:cubicBezTo>
                      <a:pt x="8775" y="6485"/>
                      <a:pt x="8781" y="6485"/>
                      <a:pt x="8789" y="6485"/>
                    </a:cubicBezTo>
                    <a:cubicBezTo>
                      <a:pt x="8788" y="6482"/>
                      <a:pt x="8788" y="6482"/>
                      <a:pt x="8788" y="6482"/>
                    </a:cubicBezTo>
                    <a:cubicBezTo>
                      <a:pt x="8788" y="6482"/>
                      <a:pt x="8788" y="6482"/>
                      <a:pt x="8788" y="6482"/>
                    </a:cubicBezTo>
                    <a:cubicBezTo>
                      <a:pt x="9677" y="6180"/>
                      <a:pt x="9677" y="6180"/>
                      <a:pt x="9677" y="6180"/>
                    </a:cubicBezTo>
                    <a:cubicBezTo>
                      <a:pt x="10984" y="5751"/>
                      <a:pt x="10984" y="5751"/>
                      <a:pt x="10984" y="5751"/>
                    </a:cubicBezTo>
                    <a:cubicBezTo>
                      <a:pt x="14193" y="4854"/>
                      <a:pt x="14193" y="4854"/>
                      <a:pt x="14193" y="4854"/>
                    </a:cubicBezTo>
                    <a:cubicBezTo>
                      <a:pt x="14195" y="4840"/>
                      <a:pt x="14195" y="4840"/>
                      <a:pt x="14195" y="4840"/>
                    </a:cubicBezTo>
                    <a:cubicBezTo>
                      <a:pt x="14222" y="4822"/>
                      <a:pt x="14222" y="4822"/>
                      <a:pt x="14222" y="4822"/>
                    </a:cubicBezTo>
                    <a:cubicBezTo>
                      <a:pt x="14222" y="4822"/>
                      <a:pt x="14224" y="4821"/>
                      <a:pt x="14229" y="4817"/>
                    </a:cubicBezTo>
                    <a:cubicBezTo>
                      <a:pt x="14264" y="4794"/>
                      <a:pt x="14416" y="4681"/>
                      <a:pt x="14514" y="4546"/>
                    </a:cubicBezTo>
                    <a:cubicBezTo>
                      <a:pt x="14571" y="4467"/>
                      <a:pt x="14617" y="4378"/>
                      <a:pt x="14649" y="4309"/>
                    </a:cubicBezTo>
                    <a:cubicBezTo>
                      <a:pt x="14665" y="4275"/>
                      <a:pt x="14677" y="4246"/>
                      <a:pt x="14685" y="4225"/>
                    </a:cubicBezTo>
                    <a:cubicBezTo>
                      <a:pt x="14689" y="4215"/>
                      <a:pt x="14692" y="4207"/>
                      <a:pt x="14694" y="4201"/>
                    </a:cubicBezTo>
                    <a:cubicBezTo>
                      <a:pt x="14696" y="4196"/>
                      <a:pt x="14697" y="4194"/>
                      <a:pt x="14697" y="4194"/>
                    </a:cubicBezTo>
                    <a:cubicBezTo>
                      <a:pt x="14700" y="4183"/>
                      <a:pt x="14700" y="4183"/>
                      <a:pt x="14700" y="4183"/>
                    </a:cubicBezTo>
                    <a:cubicBezTo>
                      <a:pt x="14983" y="3794"/>
                      <a:pt x="14983" y="3794"/>
                      <a:pt x="14983" y="3794"/>
                    </a:cubicBezTo>
                    <a:cubicBezTo>
                      <a:pt x="14964" y="3781"/>
                      <a:pt x="14936" y="3760"/>
                      <a:pt x="14902" y="3728"/>
                    </a:cubicBezTo>
                    <a:cubicBezTo>
                      <a:pt x="14889" y="3717"/>
                      <a:pt x="14875" y="3702"/>
                      <a:pt x="14857" y="3682"/>
                    </a:cubicBezTo>
                    <a:cubicBezTo>
                      <a:pt x="14730" y="3543"/>
                      <a:pt x="14419" y="3165"/>
                      <a:pt x="14418" y="3164"/>
                    </a:cubicBezTo>
                    <a:cubicBezTo>
                      <a:pt x="14412" y="3158"/>
                      <a:pt x="14412" y="3158"/>
                      <a:pt x="14412" y="3158"/>
                    </a:cubicBezTo>
                    <a:cubicBezTo>
                      <a:pt x="14408" y="3150"/>
                      <a:pt x="14408" y="3150"/>
                      <a:pt x="14408" y="3150"/>
                    </a:cubicBezTo>
                    <a:cubicBezTo>
                      <a:pt x="14408" y="3149"/>
                      <a:pt x="14408" y="3149"/>
                      <a:pt x="14408" y="3149"/>
                    </a:cubicBezTo>
                    <a:cubicBezTo>
                      <a:pt x="14402" y="3136"/>
                      <a:pt x="14326" y="2997"/>
                      <a:pt x="14206" y="2922"/>
                    </a:cubicBezTo>
                    <a:cubicBezTo>
                      <a:pt x="14142" y="2882"/>
                      <a:pt x="14063" y="2856"/>
                      <a:pt x="13984" y="2836"/>
                    </a:cubicBezTo>
                    <a:cubicBezTo>
                      <a:pt x="13935" y="2824"/>
                      <a:pt x="13888" y="2814"/>
                      <a:pt x="13843" y="2804"/>
                    </a:cubicBezTo>
                    <a:lnTo>
                      <a:pt x="12697" y="3742"/>
                    </a:lnTo>
                    <a:close/>
                    <a:moveTo>
                      <a:pt x="13319" y="2423"/>
                    </a:moveTo>
                    <a:cubicBezTo>
                      <a:pt x="13315" y="2388"/>
                      <a:pt x="13315" y="2388"/>
                      <a:pt x="13315" y="2388"/>
                    </a:cubicBezTo>
                    <a:cubicBezTo>
                      <a:pt x="13318" y="2357"/>
                      <a:pt x="13318" y="2357"/>
                      <a:pt x="13318" y="2357"/>
                    </a:cubicBezTo>
                    <a:cubicBezTo>
                      <a:pt x="13318" y="2358"/>
                      <a:pt x="13318" y="2358"/>
                      <a:pt x="13318" y="2358"/>
                    </a:cubicBezTo>
                    <a:cubicBezTo>
                      <a:pt x="13318" y="2358"/>
                      <a:pt x="13318" y="2358"/>
                      <a:pt x="13318" y="2358"/>
                    </a:cubicBezTo>
                    <a:cubicBezTo>
                      <a:pt x="13319" y="2353"/>
                      <a:pt x="13325" y="2326"/>
                      <a:pt x="13330" y="2293"/>
                    </a:cubicBezTo>
                    <a:cubicBezTo>
                      <a:pt x="13334" y="2259"/>
                      <a:pt x="13338" y="2218"/>
                      <a:pt x="13338" y="2175"/>
                    </a:cubicBezTo>
                    <a:cubicBezTo>
                      <a:pt x="13338" y="2125"/>
                      <a:pt x="13333" y="2074"/>
                      <a:pt x="13320" y="2037"/>
                    </a:cubicBezTo>
                    <a:cubicBezTo>
                      <a:pt x="13301" y="1979"/>
                      <a:pt x="13264" y="1928"/>
                      <a:pt x="13194" y="1880"/>
                    </a:cubicBezTo>
                    <a:cubicBezTo>
                      <a:pt x="13125" y="1832"/>
                      <a:pt x="13022" y="1789"/>
                      <a:pt x="12880" y="1756"/>
                    </a:cubicBezTo>
                    <a:cubicBezTo>
                      <a:pt x="12594" y="1687"/>
                      <a:pt x="12336" y="1678"/>
                      <a:pt x="12127" y="1668"/>
                    </a:cubicBezTo>
                    <a:cubicBezTo>
                      <a:pt x="12021" y="1664"/>
                      <a:pt x="11793" y="1649"/>
                      <a:pt x="11589" y="1636"/>
                    </a:cubicBezTo>
                    <a:cubicBezTo>
                      <a:pt x="11488" y="1629"/>
                      <a:pt x="11393" y="1623"/>
                      <a:pt x="11323" y="1618"/>
                    </a:cubicBezTo>
                    <a:cubicBezTo>
                      <a:pt x="11291" y="1616"/>
                      <a:pt x="11264" y="1614"/>
                      <a:pt x="11245" y="1613"/>
                    </a:cubicBezTo>
                    <a:cubicBezTo>
                      <a:pt x="11239" y="1702"/>
                      <a:pt x="11214" y="1891"/>
                      <a:pt x="11095" y="2018"/>
                    </a:cubicBezTo>
                    <a:cubicBezTo>
                      <a:pt x="10986" y="2134"/>
                      <a:pt x="10810" y="2293"/>
                      <a:pt x="10724" y="2371"/>
                    </a:cubicBezTo>
                    <a:cubicBezTo>
                      <a:pt x="10796" y="2419"/>
                      <a:pt x="10942" y="2516"/>
                      <a:pt x="11085" y="2609"/>
                    </a:cubicBezTo>
                    <a:cubicBezTo>
                      <a:pt x="11287" y="2741"/>
                      <a:pt x="11410" y="2848"/>
                      <a:pt x="11411" y="2848"/>
                    </a:cubicBezTo>
                    <a:cubicBezTo>
                      <a:pt x="11413" y="2850"/>
                      <a:pt x="11413" y="2850"/>
                      <a:pt x="11413" y="2850"/>
                    </a:cubicBezTo>
                    <a:cubicBezTo>
                      <a:pt x="11688" y="3196"/>
                      <a:pt x="11688" y="3196"/>
                      <a:pt x="11688" y="3196"/>
                    </a:cubicBezTo>
                    <a:cubicBezTo>
                      <a:pt x="11703" y="3186"/>
                      <a:pt x="11731" y="3166"/>
                      <a:pt x="11776" y="3126"/>
                    </a:cubicBezTo>
                    <a:cubicBezTo>
                      <a:pt x="11822" y="3085"/>
                      <a:pt x="11872" y="3072"/>
                      <a:pt x="11912" y="3072"/>
                    </a:cubicBezTo>
                    <a:cubicBezTo>
                      <a:pt x="11969" y="3072"/>
                      <a:pt x="12008" y="3097"/>
                      <a:pt x="12011" y="3098"/>
                    </a:cubicBezTo>
                    <a:cubicBezTo>
                      <a:pt x="12013" y="3100"/>
                      <a:pt x="12013" y="3100"/>
                      <a:pt x="12013" y="3100"/>
                    </a:cubicBezTo>
                    <a:cubicBezTo>
                      <a:pt x="12685" y="3667"/>
                      <a:pt x="12685" y="3667"/>
                      <a:pt x="12685" y="3667"/>
                    </a:cubicBezTo>
                    <a:cubicBezTo>
                      <a:pt x="13766" y="2782"/>
                      <a:pt x="13766" y="2782"/>
                      <a:pt x="13766" y="2782"/>
                    </a:cubicBezTo>
                    <a:cubicBezTo>
                      <a:pt x="13763" y="2782"/>
                      <a:pt x="13760" y="2781"/>
                      <a:pt x="13758" y="2780"/>
                    </a:cubicBezTo>
                    <a:cubicBezTo>
                      <a:pt x="13686" y="2755"/>
                      <a:pt x="13600" y="2703"/>
                      <a:pt x="13518" y="2639"/>
                    </a:cubicBezTo>
                    <a:cubicBezTo>
                      <a:pt x="13437" y="2575"/>
                      <a:pt x="13361" y="2503"/>
                      <a:pt x="13319" y="2423"/>
                    </a:cubicBezTo>
                    <a:close/>
                    <a:moveTo>
                      <a:pt x="8472" y="481"/>
                    </a:moveTo>
                    <a:cubicBezTo>
                      <a:pt x="8369" y="370"/>
                      <a:pt x="8369" y="370"/>
                      <a:pt x="8369" y="370"/>
                    </a:cubicBezTo>
                    <a:cubicBezTo>
                      <a:pt x="8424" y="319"/>
                      <a:pt x="8424" y="319"/>
                      <a:pt x="8424" y="319"/>
                    </a:cubicBezTo>
                    <a:cubicBezTo>
                      <a:pt x="8429" y="323"/>
                      <a:pt x="8429" y="323"/>
                      <a:pt x="8429" y="323"/>
                    </a:cubicBezTo>
                    <a:cubicBezTo>
                      <a:pt x="8527" y="430"/>
                      <a:pt x="8527" y="430"/>
                      <a:pt x="8527" y="430"/>
                    </a:cubicBezTo>
                    <a:lnTo>
                      <a:pt x="8472" y="481"/>
                    </a:lnTo>
                    <a:close/>
                    <a:moveTo>
                      <a:pt x="8387" y="371"/>
                    </a:moveTo>
                    <a:cubicBezTo>
                      <a:pt x="8472" y="463"/>
                      <a:pt x="8472" y="463"/>
                      <a:pt x="8472" y="463"/>
                    </a:cubicBezTo>
                    <a:cubicBezTo>
                      <a:pt x="8509" y="429"/>
                      <a:pt x="8509" y="429"/>
                      <a:pt x="8509" y="429"/>
                    </a:cubicBezTo>
                    <a:cubicBezTo>
                      <a:pt x="8424" y="337"/>
                      <a:pt x="8424" y="337"/>
                      <a:pt x="8424" y="337"/>
                    </a:cubicBezTo>
                    <a:lnTo>
                      <a:pt x="8387" y="371"/>
                    </a:lnTo>
                    <a:close/>
                    <a:moveTo>
                      <a:pt x="11524" y="9501"/>
                    </a:moveTo>
                    <a:cubicBezTo>
                      <a:pt x="11608" y="9575"/>
                      <a:pt x="11608" y="9575"/>
                      <a:pt x="11608" y="9575"/>
                    </a:cubicBezTo>
                    <a:cubicBezTo>
                      <a:pt x="11505" y="9691"/>
                      <a:pt x="11505" y="9691"/>
                      <a:pt x="11505" y="9691"/>
                    </a:cubicBezTo>
                    <a:cubicBezTo>
                      <a:pt x="11422" y="9618"/>
                      <a:pt x="11422" y="9618"/>
                      <a:pt x="11422" y="9618"/>
                    </a:cubicBezTo>
                    <a:cubicBezTo>
                      <a:pt x="11426" y="9613"/>
                      <a:pt x="11426" y="9613"/>
                      <a:pt x="11426" y="9613"/>
                    </a:cubicBezTo>
                    <a:lnTo>
                      <a:pt x="11524" y="9501"/>
                    </a:lnTo>
                    <a:close/>
                    <a:moveTo>
                      <a:pt x="11525" y="9520"/>
                    </a:moveTo>
                    <a:cubicBezTo>
                      <a:pt x="11440" y="9617"/>
                      <a:pt x="11440" y="9617"/>
                      <a:pt x="11440" y="9617"/>
                    </a:cubicBezTo>
                    <a:cubicBezTo>
                      <a:pt x="11504" y="9673"/>
                      <a:pt x="11504" y="9673"/>
                      <a:pt x="11504" y="9673"/>
                    </a:cubicBezTo>
                    <a:cubicBezTo>
                      <a:pt x="11589" y="9576"/>
                      <a:pt x="11589" y="9576"/>
                      <a:pt x="11589" y="9576"/>
                    </a:cubicBezTo>
                    <a:lnTo>
                      <a:pt x="11525" y="9520"/>
                    </a:lnTo>
                    <a:close/>
                    <a:moveTo>
                      <a:pt x="2438" y="7"/>
                    </a:moveTo>
                    <a:cubicBezTo>
                      <a:pt x="2440" y="0"/>
                      <a:pt x="2440" y="0"/>
                      <a:pt x="2440" y="0"/>
                    </a:cubicBezTo>
                    <a:cubicBezTo>
                      <a:pt x="2428" y="0"/>
                      <a:pt x="2428" y="0"/>
                      <a:pt x="2428" y="0"/>
                    </a:cubicBezTo>
                    <a:lnTo>
                      <a:pt x="2438" y="7"/>
                    </a:lnTo>
                    <a:close/>
                    <a:moveTo>
                      <a:pt x="1227" y="2637"/>
                    </a:moveTo>
                    <a:cubicBezTo>
                      <a:pt x="1227" y="2637"/>
                      <a:pt x="1227" y="2637"/>
                      <a:pt x="1227" y="2637"/>
                    </a:cubicBezTo>
                    <a:cubicBezTo>
                      <a:pt x="1227" y="2637"/>
                      <a:pt x="1227" y="2637"/>
                      <a:pt x="1227" y="2637"/>
                    </a:cubicBezTo>
                    <a:cubicBezTo>
                      <a:pt x="1227" y="2637"/>
                      <a:pt x="1227" y="2637"/>
                      <a:pt x="1227" y="2637"/>
                    </a:cubicBezTo>
                    <a:close/>
                    <a:moveTo>
                      <a:pt x="13585" y="4408"/>
                    </a:moveTo>
                    <a:cubicBezTo>
                      <a:pt x="13389" y="4190"/>
                      <a:pt x="13389" y="4190"/>
                      <a:pt x="13389" y="4190"/>
                    </a:cubicBezTo>
                    <a:cubicBezTo>
                      <a:pt x="14082" y="3573"/>
                      <a:pt x="14082" y="3573"/>
                      <a:pt x="14082" y="3573"/>
                    </a:cubicBezTo>
                    <a:cubicBezTo>
                      <a:pt x="14088" y="3568"/>
                      <a:pt x="14088" y="3568"/>
                      <a:pt x="14088" y="3568"/>
                    </a:cubicBezTo>
                    <a:cubicBezTo>
                      <a:pt x="14243" y="3746"/>
                      <a:pt x="14243" y="3746"/>
                      <a:pt x="14243" y="3746"/>
                    </a:cubicBezTo>
                    <a:cubicBezTo>
                      <a:pt x="14463" y="3553"/>
                      <a:pt x="14463" y="3553"/>
                      <a:pt x="14463" y="3553"/>
                    </a:cubicBezTo>
                    <a:cubicBezTo>
                      <a:pt x="14646" y="3756"/>
                      <a:pt x="14646" y="3756"/>
                      <a:pt x="14646" y="3756"/>
                    </a:cubicBezTo>
                    <a:cubicBezTo>
                      <a:pt x="14306" y="4058"/>
                      <a:pt x="14306" y="4058"/>
                      <a:pt x="14306" y="4058"/>
                    </a:cubicBezTo>
                    <a:cubicBezTo>
                      <a:pt x="14516" y="4295"/>
                      <a:pt x="14516" y="4295"/>
                      <a:pt x="14516" y="4295"/>
                    </a:cubicBezTo>
                    <a:cubicBezTo>
                      <a:pt x="14339" y="4453"/>
                      <a:pt x="14339" y="4453"/>
                      <a:pt x="14339" y="4453"/>
                    </a:cubicBezTo>
                    <a:cubicBezTo>
                      <a:pt x="14243" y="4342"/>
                      <a:pt x="14243" y="4342"/>
                      <a:pt x="14243" y="4342"/>
                    </a:cubicBezTo>
                    <a:cubicBezTo>
                      <a:pt x="13990" y="4563"/>
                      <a:pt x="13990" y="4563"/>
                      <a:pt x="13990" y="4563"/>
                    </a:cubicBezTo>
                    <a:cubicBezTo>
                      <a:pt x="13929" y="4494"/>
                      <a:pt x="13929" y="4494"/>
                      <a:pt x="13929" y="4494"/>
                    </a:cubicBezTo>
                    <a:cubicBezTo>
                      <a:pt x="14178" y="4267"/>
                      <a:pt x="14178" y="4267"/>
                      <a:pt x="14178" y="4267"/>
                    </a:cubicBezTo>
                    <a:cubicBezTo>
                      <a:pt x="14073" y="4150"/>
                      <a:pt x="14073" y="4150"/>
                      <a:pt x="14073" y="4150"/>
                    </a:cubicBezTo>
                    <a:cubicBezTo>
                      <a:pt x="14126" y="4098"/>
                      <a:pt x="14126" y="4098"/>
                      <a:pt x="14126" y="4098"/>
                    </a:cubicBezTo>
                    <a:cubicBezTo>
                      <a:pt x="14042" y="4000"/>
                      <a:pt x="14042" y="4000"/>
                      <a:pt x="14042" y="4000"/>
                    </a:cubicBezTo>
                    <a:cubicBezTo>
                      <a:pt x="13804" y="4215"/>
                      <a:pt x="13804" y="4215"/>
                      <a:pt x="13804" y="4215"/>
                    </a:cubicBezTo>
                    <a:cubicBezTo>
                      <a:pt x="13880" y="4302"/>
                      <a:pt x="13880" y="4302"/>
                      <a:pt x="13880" y="4302"/>
                    </a:cubicBezTo>
                    <a:cubicBezTo>
                      <a:pt x="13721" y="4447"/>
                      <a:pt x="13721" y="4447"/>
                      <a:pt x="13721" y="4447"/>
                    </a:cubicBezTo>
                    <a:cubicBezTo>
                      <a:pt x="13642" y="4356"/>
                      <a:pt x="13642" y="4356"/>
                      <a:pt x="13642" y="4356"/>
                    </a:cubicBezTo>
                    <a:lnTo>
                      <a:pt x="13585" y="4408"/>
                    </a:lnTo>
                    <a:close/>
                    <a:moveTo>
                      <a:pt x="13410" y="4191"/>
                    </a:moveTo>
                    <a:cubicBezTo>
                      <a:pt x="13586" y="4387"/>
                      <a:pt x="13586" y="4387"/>
                      <a:pt x="13586" y="4387"/>
                    </a:cubicBezTo>
                    <a:cubicBezTo>
                      <a:pt x="13643" y="4335"/>
                      <a:pt x="13643" y="4335"/>
                      <a:pt x="13643" y="4335"/>
                    </a:cubicBezTo>
                    <a:cubicBezTo>
                      <a:pt x="13722" y="4426"/>
                      <a:pt x="13722" y="4426"/>
                      <a:pt x="13722" y="4426"/>
                    </a:cubicBezTo>
                    <a:cubicBezTo>
                      <a:pt x="13859" y="4301"/>
                      <a:pt x="13859" y="4301"/>
                      <a:pt x="13859" y="4301"/>
                    </a:cubicBezTo>
                    <a:cubicBezTo>
                      <a:pt x="13783" y="4214"/>
                      <a:pt x="13783" y="4214"/>
                      <a:pt x="13783" y="4214"/>
                    </a:cubicBezTo>
                    <a:cubicBezTo>
                      <a:pt x="14044" y="3979"/>
                      <a:pt x="14044" y="3979"/>
                      <a:pt x="14044" y="3979"/>
                    </a:cubicBezTo>
                    <a:cubicBezTo>
                      <a:pt x="14146" y="4099"/>
                      <a:pt x="14146" y="4099"/>
                      <a:pt x="14146" y="4099"/>
                    </a:cubicBezTo>
                    <a:cubicBezTo>
                      <a:pt x="14094" y="4151"/>
                      <a:pt x="14094" y="4151"/>
                      <a:pt x="14094" y="4151"/>
                    </a:cubicBezTo>
                    <a:cubicBezTo>
                      <a:pt x="14198" y="4268"/>
                      <a:pt x="14198" y="4268"/>
                      <a:pt x="14198" y="4268"/>
                    </a:cubicBezTo>
                    <a:cubicBezTo>
                      <a:pt x="13949" y="4495"/>
                      <a:pt x="13949" y="4495"/>
                      <a:pt x="13949" y="4495"/>
                    </a:cubicBezTo>
                    <a:cubicBezTo>
                      <a:pt x="13992" y="4543"/>
                      <a:pt x="13992" y="4543"/>
                      <a:pt x="13992" y="4543"/>
                    </a:cubicBezTo>
                    <a:cubicBezTo>
                      <a:pt x="14244" y="4321"/>
                      <a:pt x="14244" y="4321"/>
                      <a:pt x="14244" y="4321"/>
                    </a:cubicBezTo>
                    <a:cubicBezTo>
                      <a:pt x="14340" y="4432"/>
                      <a:pt x="14340" y="4432"/>
                      <a:pt x="14340" y="4432"/>
                    </a:cubicBezTo>
                    <a:cubicBezTo>
                      <a:pt x="14495" y="4294"/>
                      <a:pt x="14495" y="4294"/>
                      <a:pt x="14495" y="4294"/>
                    </a:cubicBezTo>
                    <a:cubicBezTo>
                      <a:pt x="14285" y="4057"/>
                      <a:pt x="14285" y="4057"/>
                      <a:pt x="14285" y="4057"/>
                    </a:cubicBezTo>
                    <a:cubicBezTo>
                      <a:pt x="14625" y="3754"/>
                      <a:pt x="14625" y="3754"/>
                      <a:pt x="14625" y="3754"/>
                    </a:cubicBezTo>
                    <a:cubicBezTo>
                      <a:pt x="14462" y="3573"/>
                      <a:pt x="14462" y="3573"/>
                      <a:pt x="14462" y="3573"/>
                    </a:cubicBezTo>
                    <a:cubicBezTo>
                      <a:pt x="14242" y="3767"/>
                      <a:pt x="14242" y="3767"/>
                      <a:pt x="14242" y="3767"/>
                    </a:cubicBezTo>
                    <a:cubicBezTo>
                      <a:pt x="14086" y="3589"/>
                      <a:pt x="14086" y="3589"/>
                      <a:pt x="14086" y="3589"/>
                    </a:cubicBezTo>
                    <a:lnTo>
                      <a:pt x="13410" y="4191"/>
                    </a:lnTo>
                    <a:close/>
                    <a:moveTo>
                      <a:pt x="614" y="4378"/>
                    </a:moveTo>
                    <a:cubicBezTo>
                      <a:pt x="631" y="4316"/>
                      <a:pt x="631" y="4316"/>
                      <a:pt x="631" y="4316"/>
                    </a:cubicBezTo>
                    <a:cubicBezTo>
                      <a:pt x="584" y="4313"/>
                      <a:pt x="584" y="4313"/>
                      <a:pt x="584" y="4313"/>
                    </a:cubicBezTo>
                    <a:cubicBezTo>
                      <a:pt x="540" y="4259"/>
                      <a:pt x="540" y="4259"/>
                      <a:pt x="540" y="4259"/>
                    </a:cubicBezTo>
                    <a:cubicBezTo>
                      <a:pt x="675" y="4156"/>
                      <a:pt x="675" y="4156"/>
                      <a:pt x="675" y="4156"/>
                    </a:cubicBezTo>
                    <a:cubicBezTo>
                      <a:pt x="747" y="4392"/>
                      <a:pt x="747" y="4392"/>
                      <a:pt x="747" y="4392"/>
                    </a:cubicBezTo>
                    <a:cubicBezTo>
                      <a:pt x="649" y="4461"/>
                      <a:pt x="649" y="4461"/>
                      <a:pt x="649" y="4461"/>
                    </a:cubicBezTo>
                    <a:cubicBezTo>
                      <a:pt x="646" y="4453"/>
                      <a:pt x="646" y="4453"/>
                      <a:pt x="646" y="4453"/>
                    </a:cubicBezTo>
                    <a:lnTo>
                      <a:pt x="614" y="4378"/>
                    </a:lnTo>
                    <a:close/>
                    <a:moveTo>
                      <a:pt x="650" y="4303"/>
                    </a:moveTo>
                    <a:cubicBezTo>
                      <a:pt x="630" y="4377"/>
                      <a:pt x="630" y="4377"/>
                      <a:pt x="630" y="4377"/>
                    </a:cubicBezTo>
                    <a:cubicBezTo>
                      <a:pt x="656" y="4438"/>
                      <a:pt x="656" y="4438"/>
                      <a:pt x="656" y="4438"/>
                    </a:cubicBezTo>
                    <a:cubicBezTo>
                      <a:pt x="730" y="4386"/>
                      <a:pt x="730" y="4386"/>
                      <a:pt x="730" y="4386"/>
                    </a:cubicBezTo>
                    <a:cubicBezTo>
                      <a:pt x="667" y="4181"/>
                      <a:pt x="667" y="4181"/>
                      <a:pt x="667" y="4181"/>
                    </a:cubicBezTo>
                    <a:cubicBezTo>
                      <a:pt x="561" y="4261"/>
                      <a:pt x="561" y="4261"/>
                      <a:pt x="561" y="4261"/>
                    </a:cubicBezTo>
                    <a:cubicBezTo>
                      <a:pt x="591" y="4298"/>
                      <a:pt x="591" y="4298"/>
                      <a:pt x="591" y="4298"/>
                    </a:cubicBezTo>
                    <a:lnTo>
                      <a:pt x="650" y="4303"/>
                    </a:lnTo>
                    <a:close/>
                    <a:moveTo>
                      <a:pt x="8033" y="359"/>
                    </a:moveTo>
                    <a:cubicBezTo>
                      <a:pt x="7930" y="248"/>
                      <a:pt x="7930" y="248"/>
                      <a:pt x="7930" y="248"/>
                    </a:cubicBezTo>
                    <a:cubicBezTo>
                      <a:pt x="7986" y="197"/>
                      <a:pt x="7986" y="197"/>
                      <a:pt x="7986" y="197"/>
                    </a:cubicBezTo>
                    <a:cubicBezTo>
                      <a:pt x="7990" y="201"/>
                      <a:pt x="7990" y="201"/>
                      <a:pt x="7990" y="201"/>
                    </a:cubicBezTo>
                    <a:cubicBezTo>
                      <a:pt x="8089" y="308"/>
                      <a:pt x="8089" y="308"/>
                      <a:pt x="8089" y="308"/>
                    </a:cubicBezTo>
                    <a:lnTo>
                      <a:pt x="8033" y="359"/>
                    </a:lnTo>
                    <a:close/>
                    <a:moveTo>
                      <a:pt x="7949" y="249"/>
                    </a:moveTo>
                    <a:cubicBezTo>
                      <a:pt x="8034" y="341"/>
                      <a:pt x="8034" y="341"/>
                      <a:pt x="8034" y="341"/>
                    </a:cubicBezTo>
                    <a:cubicBezTo>
                      <a:pt x="8071" y="307"/>
                      <a:pt x="8071" y="307"/>
                      <a:pt x="8071" y="307"/>
                    </a:cubicBezTo>
                    <a:cubicBezTo>
                      <a:pt x="7985" y="215"/>
                      <a:pt x="7985" y="215"/>
                      <a:pt x="7985" y="215"/>
                    </a:cubicBezTo>
                    <a:lnTo>
                      <a:pt x="7949" y="249"/>
                    </a:lnTo>
                    <a:close/>
                    <a:moveTo>
                      <a:pt x="1165" y="77"/>
                    </a:moveTo>
                    <a:cubicBezTo>
                      <a:pt x="1298" y="196"/>
                      <a:pt x="1298" y="196"/>
                      <a:pt x="1298" y="196"/>
                    </a:cubicBezTo>
                    <a:cubicBezTo>
                      <a:pt x="1241" y="260"/>
                      <a:pt x="1241" y="260"/>
                      <a:pt x="1241" y="260"/>
                    </a:cubicBezTo>
                    <a:cubicBezTo>
                      <a:pt x="1239" y="260"/>
                      <a:pt x="1110" y="144"/>
                      <a:pt x="1110" y="144"/>
                    </a:cubicBezTo>
                    <a:lnTo>
                      <a:pt x="1165" y="77"/>
                    </a:lnTo>
                    <a:close/>
                    <a:moveTo>
                      <a:pt x="1167" y="97"/>
                    </a:moveTo>
                    <a:cubicBezTo>
                      <a:pt x="1129" y="142"/>
                      <a:pt x="1129" y="142"/>
                      <a:pt x="1129" y="142"/>
                    </a:cubicBezTo>
                    <a:cubicBezTo>
                      <a:pt x="1167" y="176"/>
                      <a:pt x="1219" y="222"/>
                      <a:pt x="1240" y="240"/>
                    </a:cubicBezTo>
                    <a:cubicBezTo>
                      <a:pt x="1279" y="197"/>
                      <a:pt x="1279" y="197"/>
                      <a:pt x="1279" y="197"/>
                    </a:cubicBezTo>
                    <a:lnTo>
                      <a:pt x="1167" y="97"/>
                    </a:lnTo>
                    <a:close/>
                    <a:moveTo>
                      <a:pt x="1231" y="2640"/>
                    </a:moveTo>
                    <a:cubicBezTo>
                      <a:pt x="1231" y="2640"/>
                      <a:pt x="1231" y="2640"/>
                      <a:pt x="1231" y="2640"/>
                    </a:cubicBezTo>
                    <a:cubicBezTo>
                      <a:pt x="1231" y="2640"/>
                      <a:pt x="1231" y="2640"/>
                      <a:pt x="1231" y="2640"/>
                    </a:cubicBezTo>
                    <a:cubicBezTo>
                      <a:pt x="1231" y="2640"/>
                      <a:pt x="1231" y="2640"/>
                      <a:pt x="1231" y="2640"/>
                    </a:cubicBezTo>
                    <a:close/>
                    <a:moveTo>
                      <a:pt x="9534" y="9107"/>
                    </a:moveTo>
                    <a:cubicBezTo>
                      <a:pt x="9465" y="9129"/>
                      <a:pt x="9465" y="9129"/>
                      <a:pt x="9465" y="9129"/>
                    </a:cubicBezTo>
                    <a:cubicBezTo>
                      <a:pt x="9488" y="9201"/>
                      <a:pt x="9488" y="9201"/>
                      <a:pt x="9488" y="9201"/>
                    </a:cubicBezTo>
                    <a:cubicBezTo>
                      <a:pt x="9416" y="9224"/>
                      <a:pt x="9416" y="9224"/>
                      <a:pt x="9416" y="9224"/>
                    </a:cubicBezTo>
                    <a:cubicBezTo>
                      <a:pt x="9414" y="9218"/>
                      <a:pt x="9414" y="9218"/>
                      <a:pt x="9414" y="9218"/>
                    </a:cubicBezTo>
                    <a:cubicBezTo>
                      <a:pt x="9358" y="9034"/>
                      <a:pt x="9358" y="9034"/>
                      <a:pt x="9358" y="9034"/>
                    </a:cubicBezTo>
                    <a:cubicBezTo>
                      <a:pt x="9405" y="9019"/>
                      <a:pt x="9405" y="9019"/>
                      <a:pt x="9405" y="9019"/>
                    </a:cubicBezTo>
                    <a:cubicBezTo>
                      <a:pt x="9401" y="9008"/>
                      <a:pt x="9401" y="9008"/>
                      <a:pt x="9401" y="9008"/>
                    </a:cubicBezTo>
                    <a:cubicBezTo>
                      <a:pt x="9399" y="9002"/>
                      <a:pt x="9399" y="9002"/>
                      <a:pt x="9399" y="9002"/>
                    </a:cubicBezTo>
                    <a:cubicBezTo>
                      <a:pt x="9491" y="8972"/>
                      <a:pt x="9491" y="8972"/>
                      <a:pt x="9491" y="8972"/>
                    </a:cubicBezTo>
                    <a:lnTo>
                      <a:pt x="9534" y="9107"/>
                    </a:lnTo>
                    <a:close/>
                    <a:moveTo>
                      <a:pt x="9448" y="9120"/>
                    </a:moveTo>
                    <a:cubicBezTo>
                      <a:pt x="9518" y="9098"/>
                      <a:pt x="9518" y="9098"/>
                      <a:pt x="9518" y="9098"/>
                    </a:cubicBezTo>
                    <a:cubicBezTo>
                      <a:pt x="9483" y="8989"/>
                      <a:pt x="9483" y="8989"/>
                      <a:pt x="9483" y="8989"/>
                    </a:cubicBezTo>
                    <a:cubicBezTo>
                      <a:pt x="9416" y="9010"/>
                      <a:pt x="9416" y="9010"/>
                      <a:pt x="9416" y="9010"/>
                    </a:cubicBezTo>
                    <a:cubicBezTo>
                      <a:pt x="9419" y="9021"/>
                      <a:pt x="9419" y="9021"/>
                      <a:pt x="9419" y="9021"/>
                    </a:cubicBezTo>
                    <a:cubicBezTo>
                      <a:pt x="9421" y="9028"/>
                      <a:pt x="9421" y="9028"/>
                      <a:pt x="9421" y="9028"/>
                    </a:cubicBezTo>
                    <a:cubicBezTo>
                      <a:pt x="9374" y="9043"/>
                      <a:pt x="9374" y="9043"/>
                      <a:pt x="9374" y="9043"/>
                    </a:cubicBezTo>
                    <a:cubicBezTo>
                      <a:pt x="9424" y="9208"/>
                      <a:pt x="9424" y="9208"/>
                      <a:pt x="9424" y="9208"/>
                    </a:cubicBezTo>
                    <a:cubicBezTo>
                      <a:pt x="9471" y="9193"/>
                      <a:pt x="9471" y="9193"/>
                      <a:pt x="9471" y="9193"/>
                    </a:cubicBezTo>
                    <a:lnTo>
                      <a:pt x="9448" y="9120"/>
                    </a:lnTo>
                    <a:close/>
                    <a:moveTo>
                      <a:pt x="3183" y="25"/>
                    </a:moveTo>
                    <a:cubicBezTo>
                      <a:pt x="3183" y="25"/>
                      <a:pt x="3183" y="26"/>
                      <a:pt x="3183" y="26"/>
                    </a:cubicBezTo>
                    <a:cubicBezTo>
                      <a:pt x="3118" y="56"/>
                      <a:pt x="3118" y="56"/>
                      <a:pt x="3118" y="56"/>
                    </a:cubicBezTo>
                    <a:cubicBezTo>
                      <a:pt x="3097" y="30"/>
                      <a:pt x="3097" y="30"/>
                      <a:pt x="3097" y="30"/>
                    </a:cubicBezTo>
                    <a:cubicBezTo>
                      <a:pt x="3061" y="48"/>
                      <a:pt x="3061" y="48"/>
                      <a:pt x="3061" y="48"/>
                    </a:cubicBezTo>
                    <a:cubicBezTo>
                      <a:pt x="3041" y="0"/>
                      <a:pt x="3041" y="0"/>
                      <a:pt x="3041" y="0"/>
                    </a:cubicBezTo>
                    <a:cubicBezTo>
                      <a:pt x="3025" y="0"/>
                      <a:pt x="3025" y="0"/>
                      <a:pt x="3025" y="0"/>
                    </a:cubicBezTo>
                    <a:cubicBezTo>
                      <a:pt x="3054" y="69"/>
                      <a:pt x="3054" y="69"/>
                      <a:pt x="3054" y="69"/>
                    </a:cubicBezTo>
                    <a:cubicBezTo>
                      <a:pt x="3093" y="49"/>
                      <a:pt x="3093" y="49"/>
                      <a:pt x="3093" y="49"/>
                    </a:cubicBezTo>
                    <a:cubicBezTo>
                      <a:pt x="3114" y="75"/>
                      <a:pt x="3114" y="75"/>
                      <a:pt x="3114" y="75"/>
                    </a:cubicBezTo>
                    <a:cubicBezTo>
                      <a:pt x="3199" y="34"/>
                      <a:pt x="3199" y="34"/>
                      <a:pt x="3199" y="34"/>
                    </a:cubicBezTo>
                    <a:cubicBezTo>
                      <a:pt x="3198" y="29"/>
                      <a:pt x="3198" y="29"/>
                      <a:pt x="3198" y="29"/>
                    </a:cubicBezTo>
                    <a:cubicBezTo>
                      <a:pt x="3198" y="29"/>
                      <a:pt x="3198" y="28"/>
                      <a:pt x="3198" y="25"/>
                    </a:cubicBezTo>
                    <a:cubicBezTo>
                      <a:pt x="3198" y="20"/>
                      <a:pt x="3199" y="10"/>
                      <a:pt x="3211" y="0"/>
                    </a:cubicBezTo>
                    <a:cubicBezTo>
                      <a:pt x="3191" y="0"/>
                      <a:pt x="3191" y="0"/>
                      <a:pt x="3191" y="0"/>
                    </a:cubicBezTo>
                    <a:cubicBezTo>
                      <a:pt x="3185" y="9"/>
                      <a:pt x="3183" y="19"/>
                      <a:pt x="3183" y="25"/>
                    </a:cubicBezTo>
                    <a:close/>
                    <a:moveTo>
                      <a:pt x="10002" y="8963"/>
                    </a:moveTo>
                    <a:cubicBezTo>
                      <a:pt x="10136" y="8963"/>
                      <a:pt x="10136" y="8963"/>
                      <a:pt x="10136" y="8963"/>
                    </a:cubicBezTo>
                    <a:cubicBezTo>
                      <a:pt x="10136" y="9132"/>
                      <a:pt x="10136" y="9132"/>
                      <a:pt x="10136" y="9132"/>
                    </a:cubicBezTo>
                    <a:cubicBezTo>
                      <a:pt x="10050" y="9132"/>
                      <a:pt x="10050" y="9132"/>
                      <a:pt x="10050" y="9132"/>
                    </a:cubicBezTo>
                    <a:cubicBezTo>
                      <a:pt x="10050" y="9234"/>
                      <a:pt x="10050" y="9234"/>
                      <a:pt x="10050" y="9234"/>
                    </a:cubicBezTo>
                    <a:cubicBezTo>
                      <a:pt x="9922" y="9234"/>
                      <a:pt x="9922" y="9234"/>
                      <a:pt x="9922" y="9234"/>
                    </a:cubicBezTo>
                    <a:cubicBezTo>
                      <a:pt x="9922" y="9051"/>
                      <a:pt x="9922" y="9051"/>
                      <a:pt x="9922" y="9051"/>
                    </a:cubicBezTo>
                    <a:cubicBezTo>
                      <a:pt x="10002" y="9051"/>
                      <a:pt x="10002" y="9051"/>
                      <a:pt x="10002" y="9051"/>
                    </a:cubicBezTo>
                    <a:lnTo>
                      <a:pt x="10002" y="8963"/>
                    </a:lnTo>
                    <a:close/>
                    <a:moveTo>
                      <a:pt x="10014" y="9063"/>
                    </a:moveTo>
                    <a:cubicBezTo>
                      <a:pt x="9934" y="9063"/>
                      <a:pt x="9934" y="9063"/>
                      <a:pt x="9934" y="9063"/>
                    </a:cubicBezTo>
                    <a:cubicBezTo>
                      <a:pt x="9934" y="9222"/>
                      <a:pt x="9934" y="9222"/>
                      <a:pt x="9934" y="9222"/>
                    </a:cubicBezTo>
                    <a:cubicBezTo>
                      <a:pt x="10038" y="9222"/>
                      <a:pt x="10038" y="9222"/>
                      <a:pt x="10038" y="9222"/>
                    </a:cubicBezTo>
                    <a:cubicBezTo>
                      <a:pt x="10038" y="9120"/>
                      <a:pt x="10038" y="9120"/>
                      <a:pt x="10038" y="9120"/>
                    </a:cubicBezTo>
                    <a:cubicBezTo>
                      <a:pt x="10044" y="9120"/>
                      <a:pt x="10044" y="9120"/>
                      <a:pt x="10044" y="9120"/>
                    </a:cubicBezTo>
                    <a:cubicBezTo>
                      <a:pt x="10124" y="9120"/>
                      <a:pt x="10124" y="9120"/>
                      <a:pt x="10124" y="9120"/>
                    </a:cubicBezTo>
                    <a:cubicBezTo>
                      <a:pt x="10124" y="8975"/>
                      <a:pt x="10124" y="8975"/>
                      <a:pt x="10124" y="8975"/>
                    </a:cubicBezTo>
                    <a:cubicBezTo>
                      <a:pt x="10014" y="8975"/>
                      <a:pt x="10014" y="8975"/>
                      <a:pt x="10014" y="8975"/>
                    </a:cubicBezTo>
                    <a:lnTo>
                      <a:pt x="10014" y="9063"/>
                    </a:lnTo>
                    <a:close/>
                    <a:moveTo>
                      <a:pt x="501" y="3608"/>
                    </a:moveTo>
                    <a:cubicBezTo>
                      <a:pt x="408" y="3345"/>
                      <a:pt x="408" y="3345"/>
                      <a:pt x="408" y="3345"/>
                    </a:cubicBezTo>
                    <a:cubicBezTo>
                      <a:pt x="482" y="3322"/>
                      <a:pt x="482" y="3322"/>
                      <a:pt x="482" y="3322"/>
                    </a:cubicBezTo>
                    <a:cubicBezTo>
                      <a:pt x="602" y="3567"/>
                      <a:pt x="602" y="3567"/>
                      <a:pt x="602" y="3567"/>
                    </a:cubicBezTo>
                    <a:cubicBezTo>
                      <a:pt x="594" y="3570"/>
                      <a:pt x="594" y="3570"/>
                      <a:pt x="594" y="3570"/>
                    </a:cubicBezTo>
                    <a:lnTo>
                      <a:pt x="501" y="3608"/>
                    </a:lnTo>
                    <a:close/>
                    <a:moveTo>
                      <a:pt x="427" y="3355"/>
                    </a:moveTo>
                    <a:cubicBezTo>
                      <a:pt x="509" y="3588"/>
                      <a:pt x="509" y="3588"/>
                      <a:pt x="509" y="3588"/>
                    </a:cubicBezTo>
                    <a:cubicBezTo>
                      <a:pt x="581" y="3559"/>
                      <a:pt x="581" y="3559"/>
                      <a:pt x="581" y="3559"/>
                    </a:cubicBezTo>
                    <a:cubicBezTo>
                      <a:pt x="474" y="3340"/>
                      <a:pt x="474" y="3340"/>
                      <a:pt x="474" y="3340"/>
                    </a:cubicBezTo>
                    <a:lnTo>
                      <a:pt x="427" y="3355"/>
                    </a:lnTo>
                    <a:close/>
                    <a:moveTo>
                      <a:pt x="7504" y="521"/>
                    </a:moveTo>
                    <a:cubicBezTo>
                      <a:pt x="7360" y="504"/>
                      <a:pt x="7360" y="504"/>
                      <a:pt x="7360" y="504"/>
                    </a:cubicBezTo>
                    <a:cubicBezTo>
                      <a:pt x="7369" y="428"/>
                      <a:pt x="7369" y="428"/>
                      <a:pt x="7369" y="428"/>
                    </a:cubicBezTo>
                    <a:cubicBezTo>
                      <a:pt x="7519" y="447"/>
                      <a:pt x="7519" y="447"/>
                      <a:pt x="7519" y="447"/>
                    </a:cubicBezTo>
                    <a:cubicBezTo>
                      <a:pt x="7510" y="522"/>
                      <a:pt x="7510" y="522"/>
                      <a:pt x="7510" y="522"/>
                    </a:cubicBezTo>
                    <a:lnTo>
                      <a:pt x="7504" y="521"/>
                    </a:lnTo>
                    <a:close/>
                    <a:moveTo>
                      <a:pt x="7499" y="507"/>
                    </a:moveTo>
                    <a:cubicBezTo>
                      <a:pt x="7505" y="458"/>
                      <a:pt x="7505" y="458"/>
                      <a:pt x="7505" y="458"/>
                    </a:cubicBezTo>
                    <a:cubicBezTo>
                      <a:pt x="7380" y="443"/>
                      <a:pt x="7380" y="443"/>
                      <a:pt x="7380" y="443"/>
                    </a:cubicBezTo>
                    <a:cubicBezTo>
                      <a:pt x="7374" y="492"/>
                      <a:pt x="7374" y="492"/>
                      <a:pt x="7374" y="492"/>
                    </a:cubicBezTo>
                    <a:lnTo>
                      <a:pt x="7499" y="507"/>
                    </a:lnTo>
                    <a:close/>
                    <a:moveTo>
                      <a:pt x="131" y="2352"/>
                    </a:moveTo>
                    <a:cubicBezTo>
                      <a:pt x="215" y="2511"/>
                      <a:pt x="215" y="2511"/>
                      <a:pt x="215" y="2511"/>
                    </a:cubicBezTo>
                    <a:cubicBezTo>
                      <a:pt x="140" y="2549"/>
                      <a:pt x="140" y="2549"/>
                      <a:pt x="140" y="2549"/>
                    </a:cubicBezTo>
                    <a:cubicBezTo>
                      <a:pt x="57" y="2391"/>
                      <a:pt x="57" y="2391"/>
                      <a:pt x="57" y="2391"/>
                    </a:cubicBezTo>
                    <a:lnTo>
                      <a:pt x="131" y="2352"/>
                    </a:lnTo>
                    <a:close/>
                    <a:moveTo>
                      <a:pt x="196" y="2505"/>
                    </a:moveTo>
                    <a:cubicBezTo>
                      <a:pt x="126" y="2371"/>
                      <a:pt x="126" y="2371"/>
                      <a:pt x="126" y="2371"/>
                    </a:cubicBezTo>
                    <a:cubicBezTo>
                      <a:pt x="76" y="2397"/>
                      <a:pt x="76" y="2397"/>
                      <a:pt x="76" y="2397"/>
                    </a:cubicBezTo>
                    <a:cubicBezTo>
                      <a:pt x="146" y="2531"/>
                      <a:pt x="146" y="2531"/>
                      <a:pt x="146" y="2531"/>
                    </a:cubicBezTo>
                    <a:lnTo>
                      <a:pt x="196" y="2505"/>
                    </a:lnTo>
                    <a:close/>
                    <a:moveTo>
                      <a:pt x="7651" y="506"/>
                    </a:moveTo>
                    <a:cubicBezTo>
                      <a:pt x="7564" y="383"/>
                      <a:pt x="7564" y="383"/>
                      <a:pt x="7564" y="383"/>
                    </a:cubicBezTo>
                    <a:cubicBezTo>
                      <a:pt x="7626" y="339"/>
                      <a:pt x="7626" y="339"/>
                      <a:pt x="7626" y="339"/>
                    </a:cubicBezTo>
                    <a:cubicBezTo>
                      <a:pt x="7629" y="344"/>
                      <a:pt x="7629" y="344"/>
                      <a:pt x="7629" y="344"/>
                    </a:cubicBezTo>
                    <a:cubicBezTo>
                      <a:pt x="7713" y="463"/>
                      <a:pt x="7713" y="463"/>
                      <a:pt x="7713" y="463"/>
                    </a:cubicBezTo>
                    <a:lnTo>
                      <a:pt x="7651" y="506"/>
                    </a:lnTo>
                    <a:close/>
                    <a:moveTo>
                      <a:pt x="7582" y="386"/>
                    </a:moveTo>
                    <a:cubicBezTo>
                      <a:pt x="7654" y="488"/>
                      <a:pt x="7654" y="488"/>
                      <a:pt x="7654" y="488"/>
                    </a:cubicBezTo>
                    <a:cubicBezTo>
                      <a:pt x="7694" y="460"/>
                      <a:pt x="7694" y="460"/>
                      <a:pt x="7694" y="460"/>
                    </a:cubicBezTo>
                    <a:cubicBezTo>
                      <a:pt x="7622" y="357"/>
                      <a:pt x="7622" y="357"/>
                      <a:pt x="7622" y="357"/>
                    </a:cubicBezTo>
                    <a:lnTo>
                      <a:pt x="7582" y="386"/>
                    </a:lnTo>
                    <a:close/>
                    <a:moveTo>
                      <a:pt x="1229" y="2638"/>
                    </a:moveTo>
                    <a:cubicBezTo>
                      <a:pt x="1229" y="2638"/>
                      <a:pt x="1229" y="2638"/>
                      <a:pt x="1229" y="2638"/>
                    </a:cubicBezTo>
                    <a:cubicBezTo>
                      <a:pt x="1229" y="2638"/>
                      <a:pt x="1229" y="2638"/>
                      <a:pt x="1229" y="2638"/>
                    </a:cubicBezTo>
                    <a:cubicBezTo>
                      <a:pt x="1229" y="2638"/>
                      <a:pt x="1229" y="2638"/>
                      <a:pt x="1229" y="2638"/>
                    </a:cubicBezTo>
                    <a:close/>
                    <a:moveTo>
                      <a:pt x="10551" y="9401"/>
                    </a:moveTo>
                    <a:cubicBezTo>
                      <a:pt x="10552" y="9512"/>
                      <a:pt x="10552" y="9512"/>
                      <a:pt x="10552" y="9512"/>
                    </a:cubicBezTo>
                    <a:cubicBezTo>
                      <a:pt x="10397" y="9513"/>
                      <a:pt x="10397" y="9513"/>
                      <a:pt x="10397" y="9513"/>
                    </a:cubicBezTo>
                    <a:cubicBezTo>
                      <a:pt x="10396" y="9402"/>
                      <a:pt x="10396" y="9402"/>
                      <a:pt x="10396" y="9402"/>
                    </a:cubicBezTo>
                    <a:cubicBezTo>
                      <a:pt x="10403" y="9402"/>
                      <a:pt x="10403" y="9402"/>
                      <a:pt x="10403" y="9402"/>
                    </a:cubicBezTo>
                    <a:lnTo>
                      <a:pt x="10551" y="9401"/>
                    </a:lnTo>
                    <a:close/>
                    <a:moveTo>
                      <a:pt x="10539" y="9499"/>
                    </a:moveTo>
                    <a:cubicBezTo>
                      <a:pt x="10538" y="9414"/>
                      <a:pt x="10538" y="9414"/>
                      <a:pt x="10538" y="9414"/>
                    </a:cubicBezTo>
                    <a:cubicBezTo>
                      <a:pt x="10409" y="9415"/>
                      <a:pt x="10409" y="9415"/>
                      <a:pt x="10409" y="9415"/>
                    </a:cubicBezTo>
                    <a:cubicBezTo>
                      <a:pt x="10410" y="9500"/>
                      <a:pt x="10410" y="9500"/>
                      <a:pt x="10410" y="9500"/>
                    </a:cubicBezTo>
                    <a:lnTo>
                      <a:pt x="10539" y="9499"/>
                    </a:lnTo>
                    <a:close/>
                    <a:moveTo>
                      <a:pt x="1227" y="2637"/>
                    </a:moveTo>
                    <a:cubicBezTo>
                      <a:pt x="1227" y="2637"/>
                      <a:pt x="1227" y="2637"/>
                      <a:pt x="1227" y="2637"/>
                    </a:cubicBezTo>
                    <a:cubicBezTo>
                      <a:pt x="1228" y="2637"/>
                      <a:pt x="1228" y="2637"/>
                      <a:pt x="1228" y="2637"/>
                    </a:cubicBezTo>
                    <a:cubicBezTo>
                      <a:pt x="1227" y="2637"/>
                      <a:pt x="1227" y="2637"/>
                      <a:pt x="1227" y="2637"/>
                    </a:cubicBezTo>
                    <a:close/>
                    <a:moveTo>
                      <a:pt x="8796" y="4057"/>
                    </a:moveTo>
                    <a:cubicBezTo>
                      <a:pt x="8796" y="4150"/>
                      <a:pt x="8796" y="4150"/>
                      <a:pt x="8796" y="4150"/>
                    </a:cubicBezTo>
                    <a:cubicBezTo>
                      <a:pt x="8861" y="4150"/>
                      <a:pt x="8861" y="4150"/>
                      <a:pt x="8861" y="4150"/>
                    </a:cubicBezTo>
                    <a:cubicBezTo>
                      <a:pt x="8861" y="4282"/>
                      <a:pt x="8861" y="4282"/>
                      <a:pt x="8861" y="4282"/>
                    </a:cubicBezTo>
                    <a:cubicBezTo>
                      <a:pt x="8318" y="4282"/>
                      <a:pt x="8318" y="4282"/>
                      <a:pt x="8318" y="4282"/>
                    </a:cubicBezTo>
                    <a:cubicBezTo>
                      <a:pt x="8318" y="4151"/>
                      <a:pt x="8318" y="4151"/>
                      <a:pt x="8318" y="4151"/>
                    </a:cubicBezTo>
                    <a:cubicBezTo>
                      <a:pt x="8381" y="4151"/>
                      <a:pt x="8381" y="4151"/>
                      <a:pt x="8381" y="4151"/>
                    </a:cubicBezTo>
                    <a:cubicBezTo>
                      <a:pt x="8381" y="4060"/>
                      <a:pt x="8381" y="4060"/>
                      <a:pt x="8381" y="4060"/>
                    </a:cubicBezTo>
                    <a:cubicBezTo>
                      <a:pt x="8316" y="4060"/>
                      <a:pt x="8316" y="4060"/>
                      <a:pt x="8316" y="4060"/>
                    </a:cubicBezTo>
                    <a:cubicBezTo>
                      <a:pt x="8316" y="3929"/>
                      <a:pt x="8316" y="3929"/>
                      <a:pt x="8316" y="3929"/>
                    </a:cubicBezTo>
                    <a:cubicBezTo>
                      <a:pt x="8860" y="3929"/>
                      <a:pt x="8860" y="3929"/>
                      <a:pt x="8860" y="3929"/>
                    </a:cubicBezTo>
                    <a:cubicBezTo>
                      <a:pt x="8860" y="3937"/>
                      <a:pt x="8860" y="3937"/>
                      <a:pt x="8860" y="3937"/>
                    </a:cubicBezTo>
                    <a:cubicBezTo>
                      <a:pt x="8862" y="4057"/>
                      <a:pt x="8862" y="4057"/>
                      <a:pt x="8862" y="4057"/>
                    </a:cubicBezTo>
                    <a:lnTo>
                      <a:pt x="8796" y="4057"/>
                    </a:lnTo>
                    <a:close/>
                    <a:moveTo>
                      <a:pt x="8782" y="4164"/>
                    </a:moveTo>
                    <a:cubicBezTo>
                      <a:pt x="8782" y="4043"/>
                      <a:pt x="8782" y="4043"/>
                      <a:pt x="8782" y="4043"/>
                    </a:cubicBezTo>
                    <a:cubicBezTo>
                      <a:pt x="8847" y="4043"/>
                      <a:pt x="8847" y="4043"/>
                      <a:pt x="8847" y="4043"/>
                    </a:cubicBezTo>
                    <a:cubicBezTo>
                      <a:pt x="8846" y="3944"/>
                      <a:pt x="8846" y="3944"/>
                      <a:pt x="8846" y="3944"/>
                    </a:cubicBezTo>
                    <a:cubicBezTo>
                      <a:pt x="8331" y="3944"/>
                      <a:pt x="8331" y="3944"/>
                      <a:pt x="8331" y="3944"/>
                    </a:cubicBezTo>
                    <a:cubicBezTo>
                      <a:pt x="8331" y="4045"/>
                      <a:pt x="8331" y="4045"/>
                      <a:pt x="8331" y="4045"/>
                    </a:cubicBezTo>
                    <a:cubicBezTo>
                      <a:pt x="8396" y="4045"/>
                      <a:pt x="8396" y="4045"/>
                      <a:pt x="8396" y="4045"/>
                    </a:cubicBezTo>
                    <a:cubicBezTo>
                      <a:pt x="8396" y="4166"/>
                      <a:pt x="8396" y="4166"/>
                      <a:pt x="8396" y="4166"/>
                    </a:cubicBezTo>
                    <a:cubicBezTo>
                      <a:pt x="8332" y="4166"/>
                      <a:pt x="8332" y="4166"/>
                      <a:pt x="8332" y="4166"/>
                    </a:cubicBezTo>
                    <a:cubicBezTo>
                      <a:pt x="8332" y="4267"/>
                      <a:pt x="8332" y="4267"/>
                      <a:pt x="8332" y="4267"/>
                    </a:cubicBezTo>
                    <a:cubicBezTo>
                      <a:pt x="8847" y="4267"/>
                      <a:pt x="8847" y="4267"/>
                      <a:pt x="8847" y="4267"/>
                    </a:cubicBezTo>
                    <a:cubicBezTo>
                      <a:pt x="8847" y="4164"/>
                      <a:pt x="8847" y="4164"/>
                      <a:pt x="8847" y="4164"/>
                    </a:cubicBezTo>
                    <a:lnTo>
                      <a:pt x="8782" y="4164"/>
                    </a:lnTo>
                    <a:close/>
                    <a:moveTo>
                      <a:pt x="2005" y="129"/>
                    </a:moveTo>
                    <a:cubicBezTo>
                      <a:pt x="1963" y="101"/>
                      <a:pt x="1963" y="101"/>
                      <a:pt x="1963" y="101"/>
                    </a:cubicBezTo>
                    <a:cubicBezTo>
                      <a:pt x="1905" y="187"/>
                      <a:pt x="1905" y="187"/>
                      <a:pt x="1905" y="187"/>
                    </a:cubicBezTo>
                    <a:cubicBezTo>
                      <a:pt x="1911" y="225"/>
                      <a:pt x="1911" y="225"/>
                      <a:pt x="1911" y="225"/>
                    </a:cubicBezTo>
                    <a:cubicBezTo>
                      <a:pt x="1872" y="278"/>
                      <a:pt x="1872" y="278"/>
                      <a:pt x="1872" y="278"/>
                    </a:cubicBezTo>
                    <a:cubicBezTo>
                      <a:pt x="1826" y="225"/>
                      <a:pt x="1826" y="225"/>
                      <a:pt x="1826" y="225"/>
                    </a:cubicBezTo>
                    <a:cubicBezTo>
                      <a:pt x="1835" y="136"/>
                      <a:pt x="1835" y="136"/>
                      <a:pt x="1835" y="136"/>
                    </a:cubicBezTo>
                    <a:cubicBezTo>
                      <a:pt x="1865" y="152"/>
                      <a:pt x="1865" y="152"/>
                      <a:pt x="1865" y="152"/>
                    </a:cubicBezTo>
                    <a:cubicBezTo>
                      <a:pt x="1991" y="0"/>
                      <a:pt x="1991" y="0"/>
                      <a:pt x="1991" y="0"/>
                    </a:cubicBezTo>
                    <a:cubicBezTo>
                      <a:pt x="1972" y="0"/>
                      <a:pt x="1972" y="0"/>
                      <a:pt x="1972" y="0"/>
                    </a:cubicBezTo>
                    <a:cubicBezTo>
                      <a:pt x="1861" y="133"/>
                      <a:pt x="1861" y="133"/>
                      <a:pt x="1861" y="133"/>
                    </a:cubicBezTo>
                    <a:cubicBezTo>
                      <a:pt x="1823" y="113"/>
                      <a:pt x="1823" y="113"/>
                      <a:pt x="1823" y="113"/>
                    </a:cubicBezTo>
                    <a:cubicBezTo>
                      <a:pt x="1810" y="230"/>
                      <a:pt x="1810" y="230"/>
                      <a:pt x="1810" y="230"/>
                    </a:cubicBezTo>
                    <a:cubicBezTo>
                      <a:pt x="1873" y="302"/>
                      <a:pt x="1873" y="302"/>
                      <a:pt x="1873" y="302"/>
                    </a:cubicBezTo>
                    <a:cubicBezTo>
                      <a:pt x="1927" y="228"/>
                      <a:pt x="1927" y="228"/>
                      <a:pt x="1927" y="228"/>
                    </a:cubicBezTo>
                    <a:cubicBezTo>
                      <a:pt x="1920" y="190"/>
                      <a:pt x="1920" y="190"/>
                      <a:pt x="1920" y="190"/>
                    </a:cubicBezTo>
                    <a:cubicBezTo>
                      <a:pt x="1967" y="122"/>
                      <a:pt x="1967" y="122"/>
                      <a:pt x="1967" y="122"/>
                    </a:cubicBezTo>
                    <a:cubicBezTo>
                      <a:pt x="2007" y="148"/>
                      <a:pt x="2007" y="148"/>
                      <a:pt x="2007" y="148"/>
                    </a:cubicBezTo>
                    <a:cubicBezTo>
                      <a:pt x="2168" y="4"/>
                      <a:pt x="2168" y="4"/>
                      <a:pt x="2168" y="4"/>
                    </a:cubicBezTo>
                    <a:cubicBezTo>
                      <a:pt x="2172" y="0"/>
                      <a:pt x="2172" y="0"/>
                      <a:pt x="2172" y="0"/>
                    </a:cubicBezTo>
                    <a:cubicBezTo>
                      <a:pt x="2150" y="0"/>
                      <a:pt x="2150" y="0"/>
                      <a:pt x="2150" y="0"/>
                    </a:cubicBezTo>
                    <a:lnTo>
                      <a:pt x="2005" y="129"/>
                    </a:lnTo>
                    <a:close/>
                    <a:moveTo>
                      <a:pt x="299" y="2401"/>
                    </a:moveTo>
                    <a:cubicBezTo>
                      <a:pt x="302" y="2347"/>
                      <a:pt x="302" y="2347"/>
                      <a:pt x="302" y="2347"/>
                    </a:cubicBezTo>
                    <a:cubicBezTo>
                      <a:pt x="260" y="2346"/>
                      <a:pt x="260" y="2346"/>
                      <a:pt x="260" y="2346"/>
                    </a:cubicBezTo>
                    <a:cubicBezTo>
                      <a:pt x="213" y="2259"/>
                      <a:pt x="213" y="2259"/>
                      <a:pt x="213" y="2259"/>
                    </a:cubicBezTo>
                    <a:cubicBezTo>
                      <a:pt x="225" y="2173"/>
                      <a:pt x="225" y="2173"/>
                      <a:pt x="225" y="2173"/>
                    </a:cubicBezTo>
                    <a:cubicBezTo>
                      <a:pt x="358" y="2125"/>
                      <a:pt x="358" y="2125"/>
                      <a:pt x="358" y="2125"/>
                    </a:cubicBezTo>
                    <a:cubicBezTo>
                      <a:pt x="398" y="2196"/>
                      <a:pt x="398" y="2196"/>
                      <a:pt x="398" y="2196"/>
                    </a:cubicBezTo>
                    <a:cubicBezTo>
                      <a:pt x="299" y="2197"/>
                      <a:pt x="299" y="2197"/>
                      <a:pt x="299" y="2197"/>
                    </a:cubicBezTo>
                    <a:cubicBezTo>
                      <a:pt x="292" y="2265"/>
                      <a:pt x="292" y="2265"/>
                      <a:pt x="292" y="2265"/>
                    </a:cubicBezTo>
                    <a:cubicBezTo>
                      <a:pt x="396" y="2265"/>
                      <a:pt x="396" y="2265"/>
                      <a:pt x="396" y="2265"/>
                    </a:cubicBezTo>
                    <a:cubicBezTo>
                      <a:pt x="383" y="2375"/>
                      <a:pt x="383" y="2375"/>
                      <a:pt x="383" y="2375"/>
                    </a:cubicBezTo>
                    <a:cubicBezTo>
                      <a:pt x="513" y="2647"/>
                      <a:pt x="513" y="2647"/>
                      <a:pt x="513" y="2647"/>
                    </a:cubicBezTo>
                    <a:cubicBezTo>
                      <a:pt x="445" y="2678"/>
                      <a:pt x="445" y="2678"/>
                      <a:pt x="445" y="2678"/>
                    </a:cubicBezTo>
                    <a:lnTo>
                      <a:pt x="299" y="2401"/>
                    </a:lnTo>
                    <a:close/>
                    <a:moveTo>
                      <a:pt x="303" y="2333"/>
                    </a:moveTo>
                    <a:cubicBezTo>
                      <a:pt x="317" y="2333"/>
                      <a:pt x="317" y="2333"/>
                      <a:pt x="317" y="2333"/>
                    </a:cubicBezTo>
                    <a:cubicBezTo>
                      <a:pt x="316" y="2348"/>
                      <a:pt x="316" y="2348"/>
                      <a:pt x="316" y="2348"/>
                    </a:cubicBezTo>
                    <a:cubicBezTo>
                      <a:pt x="313" y="2398"/>
                      <a:pt x="313" y="2398"/>
                      <a:pt x="313" y="2398"/>
                    </a:cubicBezTo>
                    <a:cubicBezTo>
                      <a:pt x="451" y="2660"/>
                      <a:pt x="451" y="2660"/>
                      <a:pt x="451" y="2660"/>
                    </a:cubicBezTo>
                    <a:cubicBezTo>
                      <a:pt x="494" y="2640"/>
                      <a:pt x="494" y="2640"/>
                      <a:pt x="494" y="2640"/>
                    </a:cubicBezTo>
                    <a:cubicBezTo>
                      <a:pt x="370" y="2381"/>
                      <a:pt x="370" y="2381"/>
                      <a:pt x="370" y="2381"/>
                    </a:cubicBezTo>
                    <a:cubicBezTo>
                      <a:pt x="368" y="2377"/>
                      <a:pt x="368" y="2377"/>
                      <a:pt x="368" y="2377"/>
                    </a:cubicBezTo>
                    <a:cubicBezTo>
                      <a:pt x="369" y="2373"/>
                      <a:pt x="369" y="2373"/>
                      <a:pt x="369" y="2373"/>
                    </a:cubicBezTo>
                    <a:cubicBezTo>
                      <a:pt x="380" y="2279"/>
                      <a:pt x="380" y="2279"/>
                      <a:pt x="380" y="2279"/>
                    </a:cubicBezTo>
                    <a:cubicBezTo>
                      <a:pt x="292" y="2279"/>
                      <a:pt x="292" y="2279"/>
                      <a:pt x="292" y="2279"/>
                    </a:cubicBezTo>
                    <a:cubicBezTo>
                      <a:pt x="276" y="2279"/>
                      <a:pt x="276" y="2279"/>
                      <a:pt x="276" y="2279"/>
                    </a:cubicBezTo>
                    <a:cubicBezTo>
                      <a:pt x="278" y="2263"/>
                      <a:pt x="278" y="2263"/>
                      <a:pt x="278" y="2263"/>
                    </a:cubicBezTo>
                    <a:cubicBezTo>
                      <a:pt x="285" y="2196"/>
                      <a:pt x="285" y="2196"/>
                      <a:pt x="285" y="2196"/>
                    </a:cubicBezTo>
                    <a:cubicBezTo>
                      <a:pt x="286" y="2183"/>
                      <a:pt x="286" y="2183"/>
                      <a:pt x="286" y="2183"/>
                    </a:cubicBezTo>
                    <a:cubicBezTo>
                      <a:pt x="299" y="2183"/>
                      <a:pt x="299" y="2183"/>
                      <a:pt x="299" y="2183"/>
                    </a:cubicBezTo>
                    <a:cubicBezTo>
                      <a:pt x="375" y="2182"/>
                      <a:pt x="375" y="2182"/>
                      <a:pt x="375" y="2182"/>
                    </a:cubicBezTo>
                    <a:cubicBezTo>
                      <a:pt x="352" y="2142"/>
                      <a:pt x="352" y="2142"/>
                      <a:pt x="352" y="2142"/>
                    </a:cubicBezTo>
                    <a:cubicBezTo>
                      <a:pt x="238" y="2183"/>
                      <a:pt x="238" y="2183"/>
                      <a:pt x="238" y="2183"/>
                    </a:cubicBezTo>
                    <a:cubicBezTo>
                      <a:pt x="227" y="2256"/>
                      <a:pt x="227" y="2256"/>
                      <a:pt x="227" y="2256"/>
                    </a:cubicBezTo>
                    <a:cubicBezTo>
                      <a:pt x="269" y="2332"/>
                      <a:pt x="269" y="2332"/>
                      <a:pt x="269" y="2332"/>
                    </a:cubicBezTo>
                    <a:lnTo>
                      <a:pt x="303" y="2333"/>
                    </a:lnTo>
                    <a:close/>
                    <a:moveTo>
                      <a:pt x="8719" y="4052"/>
                    </a:moveTo>
                    <a:cubicBezTo>
                      <a:pt x="8724" y="4163"/>
                      <a:pt x="8724" y="4163"/>
                      <a:pt x="8724" y="4163"/>
                    </a:cubicBezTo>
                    <a:cubicBezTo>
                      <a:pt x="8460" y="4163"/>
                      <a:pt x="8460" y="4163"/>
                      <a:pt x="8460" y="4163"/>
                    </a:cubicBezTo>
                    <a:cubicBezTo>
                      <a:pt x="8460" y="4045"/>
                      <a:pt x="8460" y="4045"/>
                      <a:pt x="8460" y="4045"/>
                    </a:cubicBezTo>
                    <a:cubicBezTo>
                      <a:pt x="8719" y="4045"/>
                      <a:pt x="8719" y="4045"/>
                      <a:pt x="8719" y="4045"/>
                    </a:cubicBezTo>
                    <a:lnTo>
                      <a:pt x="8719" y="4052"/>
                    </a:lnTo>
                    <a:close/>
                    <a:moveTo>
                      <a:pt x="8708" y="4148"/>
                    </a:moveTo>
                    <a:cubicBezTo>
                      <a:pt x="8705" y="4060"/>
                      <a:pt x="8705" y="4060"/>
                      <a:pt x="8705" y="4060"/>
                    </a:cubicBezTo>
                    <a:cubicBezTo>
                      <a:pt x="8474" y="4060"/>
                      <a:pt x="8474" y="4060"/>
                      <a:pt x="8474" y="4060"/>
                    </a:cubicBezTo>
                    <a:cubicBezTo>
                      <a:pt x="8474" y="4148"/>
                      <a:pt x="8474" y="4148"/>
                      <a:pt x="8474" y="4148"/>
                    </a:cubicBezTo>
                    <a:lnTo>
                      <a:pt x="8708" y="4148"/>
                    </a:lnTo>
                    <a:close/>
                    <a:moveTo>
                      <a:pt x="1228" y="2637"/>
                    </a:moveTo>
                    <a:cubicBezTo>
                      <a:pt x="1228" y="2637"/>
                      <a:pt x="1228" y="2637"/>
                      <a:pt x="1228" y="2637"/>
                    </a:cubicBezTo>
                    <a:cubicBezTo>
                      <a:pt x="1228" y="2637"/>
                      <a:pt x="1228" y="2637"/>
                      <a:pt x="1229" y="2637"/>
                    </a:cubicBezTo>
                    <a:lnTo>
                      <a:pt x="1228" y="2637"/>
                    </a:lnTo>
                    <a:close/>
                    <a:moveTo>
                      <a:pt x="1959" y="581"/>
                    </a:moveTo>
                    <a:cubicBezTo>
                      <a:pt x="1891" y="551"/>
                      <a:pt x="1891" y="551"/>
                      <a:pt x="1891" y="551"/>
                    </a:cubicBezTo>
                    <a:cubicBezTo>
                      <a:pt x="1911" y="385"/>
                      <a:pt x="1911" y="385"/>
                      <a:pt x="1911" y="385"/>
                    </a:cubicBezTo>
                    <a:cubicBezTo>
                      <a:pt x="1965" y="347"/>
                      <a:pt x="1965" y="347"/>
                      <a:pt x="1965" y="347"/>
                    </a:cubicBezTo>
                    <a:cubicBezTo>
                      <a:pt x="2004" y="375"/>
                      <a:pt x="2004" y="375"/>
                      <a:pt x="2004" y="375"/>
                    </a:cubicBezTo>
                    <a:cubicBezTo>
                      <a:pt x="2083" y="304"/>
                      <a:pt x="2083" y="304"/>
                      <a:pt x="2083" y="304"/>
                    </a:cubicBezTo>
                    <a:cubicBezTo>
                      <a:pt x="2055" y="264"/>
                      <a:pt x="2055" y="264"/>
                      <a:pt x="2055" y="264"/>
                    </a:cubicBezTo>
                    <a:cubicBezTo>
                      <a:pt x="2229" y="59"/>
                      <a:pt x="2229" y="59"/>
                      <a:pt x="2229" y="59"/>
                    </a:cubicBezTo>
                    <a:cubicBezTo>
                      <a:pt x="2344" y="131"/>
                      <a:pt x="2344" y="131"/>
                      <a:pt x="2344" y="131"/>
                    </a:cubicBezTo>
                    <a:cubicBezTo>
                      <a:pt x="2340" y="138"/>
                      <a:pt x="2340" y="138"/>
                      <a:pt x="2340" y="138"/>
                    </a:cubicBezTo>
                    <a:cubicBezTo>
                      <a:pt x="2192" y="369"/>
                      <a:pt x="2192" y="369"/>
                      <a:pt x="2192" y="369"/>
                    </a:cubicBezTo>
                    <a:cubicBezTo>
                      <a:pt x="2143" y="346"/>
                      <a:pt x="2143" y="346"/>
                      <a:pt x="2143" y="346"/>
                    </a:cubicBezTo>
                    <a:cubicBezTo>
                      <a:pt x="2089" y="410"/>
                      <a:pt x="2089" y="410"/>
                      <a:pt x="2089" y="410"/>
                    </a:cubicBezTo>
                    <a:cubicBezTo>
                      <a:pt x="2117" y="460"/>
                      <a:pt x="2117" y="460"/>
                      <a:pt x="2117" y="460"/>
                    </a:cubicBezTo>
                    <a:lnTo>
                      <a:pt x="1959" y="581"/>
                    </a:lnTo>
                    <a:close/>
                    <a:moveTo>
                      <a:pt x="1957" y="564"/>
                    </a:moveTo>
                    <a:cubicBezTo>
                      <a:pt x="2098" y="456"/>
                      <a:pt x="2098" y="456"/>
                      <a:pt x="2098" y="456"/>
                    </a:cubicBezTo>
                    <a:cubicBezTo>
                      <a:pt x="2071" y="408"/>
                      <a:pt x="2071" y="408"/>
                      <a:pt x="2071" y="408"/>
                    </a:cubicBezTo>
                    <a:cubicBezTo>
                      <a:pt x="2139" y="328"/>
                      <a:pt x="2139" y="328"/>
                      <a:pt x="2139" y="328"/>
                    </a:cubicBezTo>
                    <a:cubicBezTo>
                      <a:pt x="2187" y="350"/>
                      <a:pt x="2187" y="350"/>
                      <a:pt x="2187" y="350"/>
                    </a:cubicBezTo>
                    <a:cubicBezTo>
                      <a:pt x="2323" y="136"/>
                      <a:pt x="2323" y="136"/>
                      <a:pt x="2323" y="136"/>
                    </a:cubicBezTo>
                    <a:cubicBezTo>
                      <a:pt x="2232" y="78"/>
                      <a:pt x="2232" y="78"/>
                      <a:pt x="2232" y="78"/>
                    </a:cubicBezTo>
                    <a:cubicBezTo>
                      <a:pt x="2073" y="265"/>
                      <a:pt x="2073" y="265"/>
                      <a:pt x="2073" y="265"/>
                    </a:cubicBezTo>
                    <a:cubicBezTo>
                      <a:pt x="2102" y="307"/>
                      <a:pt x="2102" y="307"/>
                      <a:pt x="2102" y="307"/>
                    </a:cubicBezTo>
                    <a:cubicBezTo>
                      <a:pt x="2004" y="394"/>
                      <a:pt x="2004" y="394"/>
                      <a:pt x="2004" y="394"/>
                    </a:cubicBezTo>
                    <a:cubicBezTo>
                      <a:pt x="1965" y="365"/>
                      <a:pt x="1965" y="365"/>
                      <a:pt x="1965" y="365"/>
                    </a:cubicBezTo>
                    <a:cubicBezTo>
                      <a:pt x="1925" y="394"/>
                      <a:pt x="1925" y="394"/>
                      <a:pt x="1925" y="394"/>
                    </a:cubicBezTo>
                    <a:cubicBezTo>
                      <a:pt x="1907" y="542"/>
                      <a:pt x="1907" y="542"/>
                      <a:pt x="1907" y="542"/>
                    </a:cubicBezTo>
                    <a:lnTo>
                      <a:pt x="1957" y="564"/>
                    </a:lnTo>
                    <a:close/>
                    <a:moveTo>
                      <a:pt x="583" y="4010"/>
                    </a:moveTo>
                    <a:cubicBezTo>
                      <a:pt x="648" y="4060"/>
                      <a:pt x="648" y="4060"/>
                      <a:pt x="648" y="4060"/>
                    </a:cubicBezTo>
                    <a:cubicBezTo>
                      <a:pt x="640" y="4065"/>
                      <a:pt x="640" y="4065"/>
                      <a:pt x="640" y="4065"/>
                    </a:cubicBezTo>
                    <a:cubicBezTo>
                      <a:pt x="458" y="4194"/>
                      <a:pt x="458" y="4194"/>
                      <a:pt x="458" y="4194"/>
                    </a:cubicBezTo>
                    <a:cubicBezTo>
                      <a:pt x="172" y="3797"/>
                      <a:pt x="172" y="3797"/>
                      <a:pt x="172" y="3797"/>
                    </a:cubicBezTo>
                    <a:cubicBezTo>
                      <a:pt x="268" y="3768"/>
                      <a:pt x="268" y="3768"/>
                      <a:pt x="268" y="3768"/>
                    </a:cubicBezTo>
                    <a:cubicBezTo>
                      <a:pt x="337" y="3876"/>
                      <a:pt x="337" y="3876"/>
                      <a:pt x="337" y="3876"/>
                    </a:cubicBezTo>
                    <a:cubicBezTo>
                      <a:pt x="386" y="3853"/>
                      <a:pt x="386" y="3853"/>
                      <a:pt x="386" y="3853"/>
                    </a:cubicBezTo>
                    <a:cubicBezTo>
                      <a:pt x="447" y="3948"/>
                      <a:pt x="447" y="3948"/>
                      <a:pt x="447" y="3948"/>
                    </a:cubicBezTo>
                    <a:cubicBezTo>
                      <a:pt x="510" y="3922"/>
                      <a:pt x="510" y="3922"/>
                      <a:pt x="510" y="3922"/>
                    </a:cubicBezTo>
                    <a:cubicBezTo>
                      <a:pt x="552" y="3975"/>
                      <a:pt x="552" y="3975"/>
                      <a:pt x="552" y="3975"/>
                    </a:cubicBezTo>
                    <a:cubicBezTo>
                      <a:pt x="444" y="4042"/>
                      <a:pt x="444" y="4042"/>
                      <a:pt x="444" y="4042"/>
                    </a:cubicBezTo>
                    <a:cubicBezTo>
                      <a:pt x="472" y="4071"/>
                      <a:pt x="472" y="4071"/>
                      <a:pt x="472" y="4071"/>
                    </a:cubicBezTo>
                    <a:lnTo>
                      <a:pt x="583" y="4010"/>
                    </a:lnTo>
                    <a:close/>
                    <a:moveTo>
                      <a:pt x="623" y="4059"/>
                    </a:moveTo>
                    <a:cubicBezTo>
                      <a:pt x="582" y="4028"/>
                      <a:pt x="582" y="4028"/>
                      <a:pt x="582" y="4028"/>
                    </a:cubicBezTo>
                    <a:cubicBezTo>
                      <a:pt x="470" y="4089"/>
                      <a:pt x="470" y="4089"/>
                      <a:pt x="470" y="4089"/>
                    </a:cubicBezTo>
                    <a:cubicBezTo>
                      <a:pt x="420" y="4040"/>
                      <a:pt x="420" y="4040"/>
                      <a:pt x="420" y="4040"/>
                    </a:cubicBezTo>
                    <a:cubicBezTo>
                      <a:pt x="531" y="3972"/>
                      <a:pt x="531" y="3972"/>
                      <a:pt x="531" y="3972"/>
                    </a:cubicBezTo>
                    <a:cubicBezTo>
                      <a:pt x="505" y="3940"/>
                      <a:pt x="505" y="3940"/>
                      <a:pt x="505" y="3940"/>
                    </a:cubicBezTo>
                    <a:cubicBezTo>
                      <a:pt x="441" y="3966"/>
                      <a:pt x="441" y="3966"/>
                      <a:pt x="441" y="3966"/>
                    </a:cubicBezTo>
                    <a:cubicBezTo>
                      <a:pt x="381" y="3872"/>
                      <a:pt x="381" y="3872"/>
                      <a:pt x="381" y="3872"/>
                    </a:cubicBezTo>
                    <a:cubicBezTo>
                      <a:pt x="331" y="3895"/>
                      <a:pt x="331" y="3895"/>
                      <a:pt x="331" y="3895"/>
                    </a:cubicBezTo>
                    <a:cubicBezTo>
                      <a:pt x="262" y="3785"/>
                      <a:pt x="262" y="3785"/>
                      <a:pt x="262" y="3785"/>
                    </a:cubicBezTo>
                    <a:cubicBezTo>
                      <a:pt x="196" y="3805"/>
                      <a:pt x="196" y="3805"/>
                      <a:pt x="196" y="3805"/>
                    </a:cubicBezTo>
                    <a:cubicBezTo>
                      <a:pt x="461" y="4174"/>
                      <a:pt x="461" y="4174"/>
                      <a:pt x="461" y="4174"/>
                    </a:cubicBezTo>
                    <a:lnTo>
                      <a:pt x="623" y="4059"/>
                    </a:lnTo>
                    <a:close/>
                    <a:moveTo>
                      <a:pt x="2626" y="141"/>
                    </a:moveTo>
                    <a:cubicBezTo>
                      <a:pt x="2645" y="43"/>
                      <a:pt x="2645" y="43"/>
                      <a:pt x="2645" y="43"/>
                    </a:cubicBezTo>
                    <a:cubicBezTo>
                      <a:pt x="2770" y="84"/>
                      <a:pt x="2770" y="84"/>
                      <a:pt x="2770" y="84"/>
                    </a:cubicBezTo>
                    <a:cubicBezTo>
                      <a:pt x="2775" y="0"/>
                      <a:pt x="2775" y="0"/>
                      <a:pt x="2775" y="0"/>
                    </a:cubicBezTo>
                    <a:cubicBezTo>
                      <a:pt x="2761" y="0"/>
                      <a:pt x="2761" y="0"/>
                      <a:pt x="2761" y="0"/>
                    </a:cubicBezTo>
                    <a:cubicBezTo>
                      <a:pt x="2756" y="64"/>
                      <a:pt x="2756" y="64"/>
                      <a:pt x="2756" y="64"/>
                    </a:cubicBezTo>
                    <a:cubicBezTo>
                      <a:pt x="2634" y="23"/>
                      <a:pt x="2634" y="23"/>
                      <a:pt x="2634" y="23"/>
                    </a:cubicBezTo>
                    <a:cubicBezTo>
                      <a:pt x="2616" y="117"/>
                      <a:pt x="2616" y="117"/>
                      <a:pt x="2616" y="117"/>
                    </a:cubicBezTo>
                    <a:cubicBezTo>
                      <a:pt x="2531" y="64"/>
                      <a:pt x="2531" y="64"/>
                      <a:pt x="2531" y="64"/>
                    </a:cubicBezTo>
                    <a:cubicBezTo>
                      <a:pt x="2546" y="0"/>
                      <a:pt x="2546" y="0"/>
                      <a:pt x="2546" y="0"/>
                    </a:cubicBezTo>
                    <a:cubicBezTo>
                      <a:pt x="2530" y="0"/>
                      <a:pt x="2530" y="0"/>
                      <a:pt x="2530" y="0"/>
                    </a:cubicBezTo>
                    <a:cubicBezTo>
                      <a:pt x="2514" y="70"/>
                      <a:pt x="2514" y="70"/>
                      <a:pt x="2514" y="70"/>
                    </a:cubicBezTo>
                    <a:lnTo>
                      <a:pt x="2626" y="141"/>
                    </a:lnTo>
                    <a:close/>
                    <a:moveTo>
                      <a:pt x="2606" y="742"/>
                    </a:moveTo>
                    <a:cubicBezTo>
                      <a:pt x="2540" y="755"/>
                      <a:pt x="2540" y="755"/>
                      <a:pt x="2540" y="755"/>
                    </a:cubicBezTo>
                    <a:cubicBezTo>
                      <a:pt x="2727" y="347"/>
                      <a:pt x="2727" y="347"/>
                      <a:pt x="2727" y="347"/>
                    </a:cubicBezTo>
                    <a:cubicBezTo>
                      <a:pt x="2831" y="369"/>
                      <a:pt x="2831" y="369"/>
                      <a:pt x="2831" y="369"/>
                    </a:cubicBezTo>
                    <a:cubicBezTo>
                      <a:pt x="2832" y="373"/>
                      <a:pt x="2832" y="373"/>
                      <a:pt x="2832" y="373"/>
                    </a:cubicBezTo>
                    <a:cubicBezTo>
                      <a:pt x="2860" y="463"/>
                      <a:pt x="2860" y="463"/>
                      <a:pt x="2860" y="463"/>
                    </a:cubicBezTo>
                    <a:lnTo>
                      <a:pt x="2606" y="742"/>
                    </a:lnTo>
                    <a:close/>
                    <a:moveTo>
                      <a:pt x="2598" y="729"/>
                    </a:moveTo>
                    <a:cubicBezTo>
                      <a:pt x="2844" y="459"/>
                      <a:pt x="2844" y="459"/>
                      <a:pt x="2844" y="459"/>
                    </a:cubicBezTo>
                    <a:cubicBezTo>
                      <a:pt x="2819" y="382"/>
                      <a:pt x="2819" y="382"/>
                      <a:pt x="2819" y="382"/>
                    </a:cubicBezTo>
                    <a:cubicBezTo>
                      <a:pt x="2735" y="364"/>
                      <a:pt x="2735" y="364"/>
                      <a:pt x="2735" y="364"/>
                    </a:cubicBezTo>
                    <a:cubicBezTo>
                      <a:pt x="2565" y="735"/>
                      <a:pt x="2565" y="735"/>
                      <a:pt x="2565" y="735"/>
                    </a:cubicBezTo>
                    <a:lnTo>
                      <a:pt x="2598" y="729"/>
                    </a:lnTo>
                    <a:close/>
                    <a:moveTo>
                      <a:pt x="937" y="594"/>
                    </a:moveTo>
                    <a:cubicBezTo>
                      <a:pt x="992" y="568"/>
                      <a:pt x="992" y="568"/>
                      <a:pt x="992" y="568"/>
                    </a:cubicBezTo>
                    <a:cubicBezTo>
                      <a:pt x="977" y="525"/>
                      <a:pt x="977" y="525"/>
                      <a:pt x="977" y="525"/>
                    </a:cubicBezTo>
                    <a:cubicBezTo>
                      <a:pt x="1068" y="488"/>
                      <a:pt x="1068" y="488"/>
                      <a:pt x="1068" y="488"/>
                    </a:cubicBezTo>
                    <a:cubicBezTo>
                      <a:pt x="1102" y="586"/>
                      <a:pt x="1102" y="586"/>
                      <a:pt x="1102" y="586"/>
                    </a:cubicBezTo>
                    <a:cubicBezTo>
                      <a:pt x="1046" y="609"/>
                      <a:pt x="1046" y="609"/>
                      <a:pt x="1046" y="609"/>
                    </a:cubicBezTo>
                    <a:cubicBezTo>
                      <a:pt x="1053" y="628"/>
                      <a:pt x="1053" y="628"/>
                      <a:pt x="1053" y="628"/>
                    </a:cubicBezTo>
                    <a:cubicBezTo>
                      <a:pt x="1084" y="618"/>
                      <a:pt x="1084" y="618"/>
                      <a:pt x="1084" y="618"/>
                    </a:cubicBezTo>
                    <a:cubicBezTo>
                      <a:pt x="1117" y="717"/>
                      <a:pt x="1117" y="717"/>
                      <a:pt x="1117" y="717"/>
                    </a:cubicBezTo>
                    <a:cubicBezTo>
                      <a:pt x="1060" y="741"/>
                      <a:pt x="1060" y="741"/>
                      <a:pt x="1060" y="741"/>
                    </a:cubicBezTo>
                    <a:cubicBezTo>
                      <a:pt x="1073" y="783"/>
                      <a:pt x="1073" y="783"/>
                      <a:pt x="1073" y="783"/>
                    </a:cubicBezTo>
                    <a:cubicBezTo>
                      <a:pt x="985" y="818"/>
                      <a:pt x="985" y="818"/>
                      <a:pt x="985" y="818"/>
                    </a:cubicBezTo>
                    <a:cubicBezTo>
                      <a:pt x="950" y="724"/>
                      <a:pt x="950" y="724"/>
                      <a:pt x="950" y="724"/>
                    </a:cubicBezTo>
                    <a:cubicBezTo>
                      <a:pt x="1006" y="698"/>
                      <a:pt x="1006" y="698"/>
                      <a:pt x="1006" y="698"/>
                    </a:cubicBezTo>
                    <a:cubicBezTo>
                      <a:pt x="1000" y="680"/>
                      <a:pt x="1000" y="680"/>
                      <a:pt x="1000" y="680"/>
                    </a:cubicBezTo>
                    <a:cubicBezTo>
                      <a:pt x="968" y="689"/>
                      <a:pt x="968" y="689"/>
                      <a:pt x="968" y="689"/>
                    </a:cubicBezTo>
                    <a:lnTo>
                      <a:pt x="937" y="594"/>
                    </a:lnTo>
                    <a:close/>
                    <a:moveTo>
                      <a:pt x="1009" y="575"/>
                    </a:moveTo>
                    <a:cubicBezTo>
                      <a:pt x="998" y="581"/>
                      <a:pt x="998" y="581"/>
                      <a:pt x="998" y="581"/>
                    </a:cubicBezTo>
                    <a:cubicBezTo>
                      <a:pt x="954" y="601"/>
                      <a:pt x="954" y="601"/>
                      <a:pt x="954" y="601"/>
                    </a:cubicBezTo>
                    <a:cubicBezTo>
                      <a:pt x="977" y="672"/>
                      <a:pt x="977" y="672"/>
                      <a:pt x="977" y="672"/>
                    </a:cubicBezTo>
                    <a:cubicBezTo>
                      <a:pt x="996" y="666"/>
                      <a:pt x="996" y="666"/>
                      <a:pt x="996" y="666"/>
                    </a:cubicBezTo>
                    <a:cubicBezTo>
                      <a:pt x="1009" y="663"/>
                      <a:pt x="1009" y="663"/>
                      <a:pt x="1009" y="663"/>
                    </a:cubicBezTo>
                    <a:cubicBezTo>
                      <a:pt x="1013" y="675"/>
                      <a:pt x="1013" y="675"/>
                      <a:pt x="1013" y="675"/>
                    </a:cubicBezTo>
                    <a:cubicBezTo>
                      <a:pt x="1020" y="694"/>
                      <a:pt x="1020" y="694"/>
                      <a:pt x="1020" y="694"/>
                    </a:cubicBezTo>
                    <a:cubicBezTo>
                      <a:pt x="1024" y="706"/>
                      <a:pt x="1024" y="706"/>
                      <a:pt x="1024" y="706"/>
                    </a:cubicBezTo>
                    <a:cubicBezTo>
                      <a:pt x="1012" y="711"/>
                      <a:pt x="1012" y="711"/>
                      <a:pt x="1012" y="711"/>
                    </a:cubicBezTo>
                    <a:cubicBezTo>
                      <a:pt x="968" y="731"/>
                      <a:pt x="968" y="731"/>
                      <a:pt x="968" y="731"/>
                    </a:cubicBezTo>
                    <a:cubicBezTo>
                      <a:pt x="993" y="800"/>
                      <a:pt x="993" y="800"/>
                      <a:pt x="993" y="800"/>
                    </a:cubicBezTo>
                    <a:cubicBezTo>
                      <a:pt x="1056" y="775"/>
                      <a:pt x="1056" y="775"/>
                      <a:pt x="1056" y="775"/>
                    </a:cubicBezTo>
                    <a:cubicBezTo>
                      <a:pt x="1046" y="745"/>
                      <a:pt x="1046" y="745"/>
                      <a:pt x="1046" y="745"/>
                    </a:cubicBezTo>
                    <a:cubicBezTo>
                      <a:pt x="1043" y="733"/>
                      <a:pt x="1043" y="733"/>
                      <a:pt x="1043" y="733"/>
                    </a:cubicBezTo>
                    <a:cubicBezTo>
                      <a:pt x="1054" y="728"/>
                      <a:pt x="1054" y="728"/>
                      <a:pt x="1054" y="728"/>
                    </a:cubicBezTo>
                    <a:cubicBezTo>
                      <a:pt x="1100" y="709"/>
                      <a:pt x="1100" y="709"/>
                      <a:pt x="1100" y="709"/>
                    </a:cubicBezTo>
                    <a:cubicBezTo>
                      <a:pt x="1075" y="636"/>
                      <a:pt x="1075" y="636"/>
                      <a:pt x="1075" y="636"/>
                    </a:cubicBezTo>
                    <a:cubicBezTo>
                      <a:pt x="1058" y="642"/>
                      <a:pt x="1058" y="642"/>
                      <a:pt x="1058" y="642"/>
                    </a:cubicBezTo>
                    <a:cubicBezTo>
                      <a:pt x="1045" y="646"/>
                      <a:pt x="1045" y="646"/>
                      <a:pt x="1045" y="646"/>
                    </a:cubicBezTo>
                    <a:cubicBezTo>
                      <a:pt x="1040" y="633"/>
                      <a:pt x="1040" y="633"/>
                      <a:pt x="1040" y="633"/>
                    </a:cubicBezTo>
                    <a:cubicBezTo>
                      <a:pt x="1033" y="614"/>
                      <a:pt x="1033" y="614"/>
                      <a:pt x="1033" y="614"/>
                    </a:cubicBezTo>
                    <a:cubicBezTo>
                      <a:pt x="1029" y="601"/>
                      <a:pt x="1029" y="601"/>
                      <a:pt x="1029" y="601"/>
                    </a:cubicBezTo>
                    <a:cubicBezTo>
                      <a:pt x="1041" y="596"/>
                      <a:pt x="1041" y="596"/>
                      <a:pt x="1041" y="596"/>
                    </a:cubicBezTo>
                    <a:cubicBezTo>
                      <a:pt x="1084" y="578"/>
                      <a:pt x="1084" y="578"/>
                      <a:pt x="1084" y="578"/>
                    </a:cubicBezTo>
                    <a:cubicBezTo>
                      <a:pt x="1059" y="507"/>
                      <a:pt x="1059" y="507"/>
                      <a:pt x="1059" y="507"/>
                    </a:cubicBezTo>
                    <a:cubicBezTo>
                      <a:pt x="994" y="533"/>
                      <a:pt x="994" y="533"/>
                      <a:pt x="994" y="533"/>
                    </a:cubicBezTo>
                    <a:cubicBezTo>
                      <a:pt x="1005" y="563"/>
                      <a:pt x="1005" y="563"/>
                      <a:pt x="1005" y="563"/>
                    </a:cubicBezTo>
                    <a:lnTo>
                      <a:pt x="1009" y="575"/>
                    </a:lnTo>
                    <a:close/>
                    <a:moveTo>
                      <a:pt x="4133" y="129"/>
                    </a:moveTo>
                    <a:cubicBezTo>
                      <a:pt x="4090" y="124"/>
                      <a:pt x="4090" y="124"/>
                      <a:pt x="4090" y="124"/>
                    </a:cubicBezTo>
                    <a:cubicBezTo>
                      <a:pt x="4082" y="123"/>
                      <a:pt x="4082" y="123"/>
                      <a:pt x="4082" y="123"/>
                    </a:cubicBezTo>
                    <a:cubicBezTo>
                      <a:pt x="4077" y="131"/>
                      <a:pt x="4077" y="131"/>
                      <a:pt x="4077" y="131"/>
                    </a:cubicBezTo>
                    <a:cubicBezTo>
                      <a:pt x="4072" y="139"/>
                      <a:pt x="4072" y="139"/>
                      <a:pt x="4072" y="139"/>
                    </a:cubicBezTo>
                    <a:cubicBezTo>
                      <a:pt x="4052" y="125"/>
                      <a:pt x="4052" y="125"/>
                      <a:pt x="4052" y="125"/>
                    </a:cubicBezTo>
                    <a:cubicBezTo>
                      <a:pt x="4128" y="0"/>
                      <a:pt x="4128" y="0"/>
                      <a:pt x="4128" y="0"/>
                    </a:cubicBezTo>
                    <a:cubicBezTo>
                      <a:pt x="4111" y="0"/>
                      <a:pt x="4111" y="0"/>
                      <a:pt x="4111" y="0"/>
                    </a:cubicBezTo>
                    <a:cubicBezTo>
                      <a:pt x="4033" y="129"/>
                      <a:pt x="4033" y="129"/>
                      <a:pt x="4033" y="129"/>
                    </a:cubicBezTo>
                    <a:cubicBezTo>
                      <a:pt x="4076" y="159"/>
                      <a:pt x="4076" y="159"/>
                      <a:pt x="4076" y="159"/>
                    </a:cubicBezTo>
                    <a:cubicBezTo>
                      <a:pt x="4089" y="138"/>
                      <a:pt x="4089" y="138"/>
                      <a:pt x="4089" y="138"/>
                    </a:cubicBezTo>
                    <a:cubicBezTo>
                      <a:pt x="4144" y="144"/>
                      <a:pt x="4144" y="144"/>
                      <a:pt x="4144" y="144"/>
                    </a:cubicBezTo>
                    <a:cubicBezTo>
                      <a:pt x="4182" y="0"/>
                      <a:pt x="4182" y="0"/>
                      <a:pt x="4182" y="0"/>
                    </a:cubicBezTo>
                    <a:cubicBezTo>
                      <a:pt x="4168" y="0"/>
                      <a:pt x="4168" y="0"/>
                      <a:pt x="4168" y="0"/>
                    </a:cubicBezTo>
                    <a:lnTo>
                      <a:pt x="4133" y="129"/>
                    </a:lnTo>
                    <a:close/>
                    <a:moveTo>
                      <a:pt x="7589" y="24"/>
                    </a:moveTo>
                    <a:cubicBezTo>
                      <a:pt x="7565" y="0"/>
                      <a:pt x="7565" y="0"/>
                      <a:pt x="7565" y="0"/>
                    </a:cubicBezTo>
                    <a:cubicBezTo>
                      <a:pt x="7546" y="0"/>
                      <a:pt x="7546" y="0"/>
                      <a:pt x="7546" y="0"/>
                    </a:cubicBezTo>
                    <a:cubicBezTo>
                      <a:pt x="7584" y="38"/>
                      <a:pt x="7584" y="38"/>
                      <a:pt x="7584" y="38"/>
                    </a:cubicBezTo>
                    <a:cubicBezTo>
                      <a:pt x="7589" y="42"/>
                      <a:pt x="7589" y="42"/>
                      <a:pt x="7589" y="42"/>
                    </a:cubicBezTo>
                    <a:cubicBezTo>
                      <a:pt x="7630" y="0"/>
                      <a:pt x="7630" y="0"/>
                      <a:pt x="7630" y="0"/>
                    </a:cubicBezTo>
                    <a:cubicBezTo>
                      <a:pt x="7612" y="0"/>
                      <a:pt x="7612" y="0"/>
                      <a:pt x="7612" y="0"/>
                    </a:cubicBezTo>
                    <a:lnTo>
                      <a:pt x="7589" y="24"/>
                    </a:lnTo>
                    <a:close/>
                    <a:moveTo>
                      <a:pt x="3701" y="10402"/>
                    </a:moveTo>
                    <a:cubicBezTo>
                      <a:pt x="3688" y="10404"/>
                      <a:pt x="3688" y="10404"/>
                      <a:pt x="3688" y="10404"/>
                    </a:cubicBezTo>
                    <a:cubicBezTo>
                      <a:pt x="3697" y="10458"/>
                      <a:pt x="3697" y="10458"/>
                      <a:pt x="3697" y="10458"/>
                    </a:cubicBezTo>
                    <a:cubicBezTo>
                      <a:pt x="3489" y="10494"/>
                      <a:pt x="3489" y="10494"/>
                      <a:pt x="3489" y="10494"/>
                    </a:cubicBezTo>
                    <a:cubicBezTo>
                      <a:pt x="3475" y="10416"/>
                      <a:pt x="3475" y="10416"/>
                      <a:pt x="3475" y="10416"/>
                    </a:cubicBezTo>
                    <a:cubicBezTo>
                      <a:pt x="3561" y="10402"/>
                      <a:pt x="3561" y="10402"/>
                      <a:pt x="3561" y="10402"/>
                    </a:cubicBezTo>
                    <a:cubicBezTo>
                      <a:pt x="3558" y="10387"/>
                      <a:pt x="3558" y="10387"/>
                      <a:pt x="3558" y="10387"/>
                    </a:cubicBezTo>
                    <a:cubicBezTo>
                      <a:pt x="3371" y="10419"/>
                      <a:pt x="3371" y="10419"/>
                      <a:pt x="3371" y="10419"/>
                    </a:cubicBezTo>
                    <a:cubicBezTo>
                      <a:pt x="3359" y="10344"/>
                      <a:pt x="3359" y="10344"/>
                      <a:pt x="3359" y="10344"/>
                    </a:cubicBezTo>
                    <a:cubicBezTo>
                      <a:pt x="3428" y="10332"/>
                      <a:pt x="3428" y="10332"/>
                      <a:pt x="3428" y="10332"/>
                    </a:cubicBezTo>
                    <a:cubicBezTo>
                      <a:pt x="3415" y="10257"/>
                      <a:pt x="3415" y="10257"/>
                      <a:pt x="3415" y="10257"/>
                    </a:cubicBezTo>
                    <a:cubicBezTo>
                      <a:pt x="3562" y="10232"/>
                      <a:pt x="3562" y="10232"/>
                      <a:pt x="3562" y="10232"/>
                    </a:cubicBezTo>
                    <a:cubicBezTo>
                      <a:pt x="3577" y="10322"/>
                      <a:pt x="3577" y="10322"/>
                      <a:pt x="3577" y="10322"/>
                    </a:cubicBezTo>
                    <a:cubicBezTo>
                      <a:pt x="3684" y="10304"/>
                      <a:pt x="3684" y="10304"/>
                      <a:pt x="3684" y="10304"/>
                    </a:cubicBezTo>
                    <a:cubicBezTo>
                      <a:pt x="3685" y="10310"/>
                      <a:pt x="3685" y="10310"/>
                      <a:pt x="3685" y="10310"/>
                    </a:cubicBezTo>
                    <a:lnTo>
                      <a:pt x="3701" y="10402"/>
                    </a:lnTo>
                    <a:close/>
                    <a:moveTo>
                      <a:pt x="3672" y="10393"/>
                    </a:moveTo>
                    <a:cubicBezTo>
                      <a:pt x="3685" y="10391"/>
                      <a:pt x="3685" y="10391"/>
                      <a:pt x="3685" y="10391"/>
                    </a:cubicBezTo>
                    <a:cubicBezTo>
                      <a:pt x="3673" y="10319"/>
                      <a:pt x="3673" y="10319"/>
                      <a:pt x="3673" y="10319"/>
                    </a:cubicBezTo>
                    <a:cubicBezTo>
                      <a:pt x="3566" y="10338"/>
                      <a:pt x="3566" y="10338"/>
                      <a:pt x="3566" y="10338"/>
                    </a:cubicBezTo>
                    <a:cubicBezTo>
                      <a:pt x="3551" y="10247"/>
                      <a:pt x="3551" y="10247"/>
                      <a:pt x="3551" y="10247"/>
                    </a:cubicBezTo>
                    <a:cubicBezTo>
                      <a:pt x="3430" y="10268"/>
                      <a:pt x="3430" y="10268"/>
                      <a:pt x="3430" y="10268"/>
                    </a:cubicBezTo>
                    <a:cubicBezTo>
                      <a:pt x="3443" y="10343"/>
                      <a:pt x="3443" y="10343"/>
                      <a:pt x="3443" y="10343"/>
                    </a:cubicBezTo>
                    <a:cubicBezTo>
                      <a:pt x="3374" y="10355"/>
                      <a:pt x="3374" y="10355"/>
                      <a:pt x="3374" y="10355"/>
                    </a:cubicBezTo>
                    <a:cubicBezTo>
                      <a:pt x="3382" y="10403"/>
                      <a:pt x="3382" y="10403"/>
                      <a:pt x="3382" y="10403"/>
                    </a:cubicBezTo>
                    <a:cubicBezTo>
                      <a:pt x="3569" y="10371"/>
                      <a:pt x="3569" y="10371"/>
                      <a:pt x="3569" y="10371"/>
                    </a:cubicBezTo>
                    <a:cubicBezTo>
                      <a:pt x="3576" y="10413"/>
                      <a:pt x="3576" y="10413"/>
                      <a:pt x="3576" y="10413"/>
                    </a:cubicBezTo>
                    <a:cubicBezTo>
                      <a:pt x="3491" y="10427"/>
                      <a:pt x="3491" y="10427"/>
                      <a:pt x="3491" y="10427"/>
                    </a:cubicBezTo>
                    <a:cubicBezTo>
                      <a:pt x="3500" y="10478"/>
                      <a:pt x="3500" y="10478"/>
                      <a:pt x="3500" y="10478"/>
                    </a:cubicBezTo>
                    <a:cubicBezTo>
                      <a:pt x="3681" y="10447"/>
                      <a:pt x="3681" y="10447"/>
                      <a:pt x="3681" y="10447"/>
                    </a:cubicBezTo>
                    <a:lnTo>
                      <a:pt x="3672" y="10393"/>
                    </a:lnTo>
                    <a:close/>
                    <a:moveTo>
                      <a:pt x="161" y="6734"/>
                    </a:moveTo>
                    <a:cubicBezTo>
                      <a:pt x="422" y="6895"/>
                      <a:pt x="422" y="6895"/>
                      <a:pt x="422" y="6895"/>
                    </a:cubicBezTo>
                    <a:cubicBezTo>
                      <a:pt x="411" y="6901"/>
                      <a:pt x="411" y="6901"/>
                      <a:pt x="411" y="6901"/>
                    </a:cubicBezTo>
                    <a:cubicBezTo>
                      <a:pt x="352" y="6939"/>
                      <a:pt x="352" y="6939"/>
                      <a:pt x="352" y="6939"/>
                    </a:cubicBezTo>
                    <a:cubicBezTo>
                      <a:pt x="231" y="6874"/>
                      <a:pt x="231" y="6874"/>
                      <a:pt x="231" y="6874"/>
                    </a:cubicBezTo>
                    <a:cubicBezTo>
                      <a:pt x="157" y="6931"/>
                      <a:pt x="157" y="6931"/>
                      <a:pt x="157" y="6931"/>
                    </a:cubicBezTo>
                    <a:cubicBezTo>
                      <a:pt x="217" y="7015"/>
                      <a:pt x="217" y="7015"/>
                      <a:pt x="217" y="7015"/>
                    </a:cubicBezTo>
                    <a:cubicBezTo>
                      <a:pt x="182" y="7040"/>
                      <a:pt x="182" y="7040"/>
                      <a:pt x="182" y="7040"/>
                    </a:cubicBezTo>
                    <a:cubicBezTo>
                      <a:pt x="73" y="6968"/>
                      <a:pt x="73" y="6968"/>
                      <a:pt x="73" y="6968"/>
                    </a:cubicBezTo>
                    <a:lnTo>
                      <a:pt x="161" y="6734"/>
                    </a:lnTo>
                    <a:close/>
                    <a:moveTo>
                      <a:pt x="169" y="6756"/>
                    </a:moveTo>
                    <a:cubicBezTo>
                      <a:pt x="91" y="6962"/>
                      <a:pt x="91" y="6962"/>
                      <a:pt x="91" y="6962"/>
                    </a:cubicBezTo>
                    <a:cubicBezTo>
                      <a:pt x="182" y="7022"/>
                      <a:pt x="182" y="7022"/>
                      <a:pt x="182" y="7022"/>
                    </a:cubicBezTo>
                    <a:cubicBezTo>
                      <a:pt x="196" y="7012"/>
                      <a:pt x="196" y="7012"/>
                      <a:pt x="196" y="7012"/>
                    </a:cubicBezTo>
                    <a:cubicBezTo>
                      <a:pt x="137" y="6929"/>
                      <a:pt x="137" y="6929"/>
                      <a:pt x="137" y="6929"/>
                    </a:cubicBezTo>
                    <a:cubicBezTo>
                      <a:pt x="230" y="6856"/>
                      <a:pt x="230" y="6856"/>
                      <a:pt x="230" y="6856"/>
                    </a:cubicBezTo>
                    <a:cubicBezTo>
                      <a:pt x="351" y="6922"/>
                      <a:pt x="351" y="6922"/>
                      <a:pt x="351" y="6922"/>
                    </a:cubicBezTo>
                    <a:cubicBezTo>
                      <a:pt x="394" y="6895"/>
                      <a:pt x="394" y="6895"/>
                      <a:pt x="394" y="6895"/>
                    </a:cubicBezTo>
                    <a:lnTo>
                      <a:pt x="169" y="6756"/>
                    </a:lnTo>
                    <a:close/>
                    <a:moveTo>
                      <a:pt x="4008" y="22"/>
                    </a:moveTo>
                    <a:cubicBezTo>
                      <a:pt x="3937" y="33"/>
                      <a:pt x="3937" y="33"/>
                      <a:pt x="3937" y="33"/>
                    </a:cubicBezTo>
                    <a:cubicBezTo>
                      <a:pt x="3930" y="0"/>
                      <a:pt x="3930" y="0"/>
                      <a:pt x="3930" y="0"/>
                    </a:cubicBezTo>
                    <a:cubicBezTo>
                      <a:pt x="3916" y="0"/>
                      <a:pt x="3916" y="0"/>
                      <a:pt x="3916" y="0"/>
                    </a:cubicBezTo>
                    <a:cubicBezTo>
                      <a:pt x="3926" y="49"/>
                      <a:pt x="3926" y="49"/>
                      <a:pt x="3926" y="49"/>
                    </a:cubicBezTo>
                    <a:cubicBezTo>
                      <a:pt x="4024" y="34"/>
                      <a:pt x="4024" y="34"/>
                      <a:pt x="4024" y="34"/>
                    </a:cubicBezTo>
                    <a:cubicBezTo>
                      <a:pt x="4019" y="0"/>
                      <a:pt x="4019" y="0"/>
                      <a:pt x="4019" y="0"/>
                    </a:cubicBezTo>
                    <a:cubicBezTo>
                      <a:pt x="4005" y="0"/>
                      <a:pt x="4005" y="0"/>
                      <a:pt x="4005" y="0"/>
                    </a:cubicBezTo>
                    <a:lnTo>
                      <a:pt x="4008" y="22"/>
                    </a:lnTo>
                    <a:close/>
                    <a:moveTo>
                      <a:pt x="3893" y="344"/>
                    </a:moveTo>
                    <a:cubicBezTo>
                      <a:pt x="3936" y="299"/>
                      <a:pt x="3936" y="299"/>
                      <a:pt x="3936" y="299"/>
                    </a:cubicBezTo>
                    <a:cubicBezTo>
                      <a:pt x="3917" y="274"/>
                      <a:pt x="3917" y="274"/>
                      <a:pt x="3917" y="274"/>
                    </a:cubicBezTo>
                    <a:cubicBezTo>
                      <a:pt x="3966" y="229"/>
                      <a:pt x="3966" y="229"/>
                      <a:pt x="3966" y="229"/>
                    </a:cubicBezTo>
                    <a:cubicBezTo>
                      <a:pt x="3984" y="245"/>
                      <a:pt x="3984" y="245"/>
                      <a:pt x="3984" y="245"/>
                    </a:cubicBezTo>
                    <a:cubicBezTo>
                      <a:pt x="4030" y="205"/>
                      <a:pt x="4030" y="205"/>
                      <a:pt x="4030" y="205"/>
                    </a:cubicBezTo>
                    <a:cubicBezTo>
                      <a:pt x="4093" y="269"/>
                      <a:pt x="4093" y="269"/>
                      <a:pt x="4093" y="269"/>
                    </a:cubicBezTo>
                    <a:cubicBezTo>
                      <a:pt x="4046" y="316"/>
                      <a:pt x="4046" y="316"/>
                      <a:pt x="4046" y="316"/>
                    </a:cubicBezTo>
                    <a:cubicBezTo>
                      <a:pt x="4021" y="296"/>
                      <a:pt x="4021" y="296"/>
                      <a:pt x="4021" y="296"/>
                    </a:cubicBezTo>
                    <a:cubicBezTo>
                      <a:pt x="3983" y="338"/>
                      <a:pt x="3983" y="338"/>
                      <a:pt x="3983" y="338"/>
                    </a:cubicBezTo>
                    <a:cubicBezTo>
                      <a:pt x="4001" y="360"/>
                      <a:pt x="4001" y="360"/>
                      <a:pt x="4001" y="360"/>
                    </a:cubicBezTo>
                    <a:cubicBezTo>
                      <a:pt x="3953" y="408"/>
                      <a:pt x="3953" y="408"/>
                      <a:pt x="3953" y="408"/>
                    </a:cubicBezTo>
                    <a:lnTo>
                      <a:pt x="3893" y="344"/>
                    </a:lnTo>
                    <a:close/>
                    <a:moveTo>
                      <a:pt x="3955" y="300"/>
                    </a:moveTo>
                    <a:cubicBezTo>
                      <a:pt x="3946" y="309"/>
                      <a:pt x="3946" y="309"/>
                      <a:pt x="3946" y="309"/>
                    </a:cubicBezTo>
                    <a:cubicBezTo>
                      <a:pt x="3912" y="344"/>
                      <a:pt x="3912" y="344"/>
                      <a:pt x="3912" y="344"/>
                    </a:cubicBezTo>
                    <a:cubicBezTo>
                      <a:pt x="3954" y="388"/>
                      <a:pt x="3954" y="388"/>
                      <a:pt x="3954" y="388"/>
                    </a:cubicBezTo>
                    <a:cubicBezTo>
                      <a:pt x="3982" y="359"/>
                      <a:pt x="3982" y="359"/>
                      <a:pt x="3982" y="359"/>
                    </a:cubicBezTo>
                    <a:cubicBezTo>
                      <a:pt x="3972" y="347"/>
                      <a:pt x="3972" y="347"/>
                      <a:pt x="3972" y="347"/>
                    </a:cubicBezTo>
                    <a:cubicBezTo>
                      <a:pt x="3965" y="338"/>
                      <a:pt x="3965" y="338"/>
                      <a:pt x="3965" y="338"/>
                    </a:cubicBezTo>
                    <a:cubicBezTo>
                      <a:pt x="3973" y="329"/>
                      <a:pt x="3973" y="329"/>
                      <a:pt x="3973" y="329"/>
                    </a:cubicBezTo>
                    <a:cubicBezTo>
                      <a:pt x="4010" y="286"/>
                      <a:pt x="4010" y="286"/>
                      <a:pt x="4010" y="286"/>
                    </a:cubicBezTo>
                    <a:cubicBezTo>
                      <a:pt x="4019" y="276"/>
                      <a:pt x="4019" y="276"/>
                      <a:pt x="4019" y="276"/>
                    </a:cubicBezTo>
                    <a:cubicBezTo>
                      <a:pt x="4030" y="285"/>
                      <a:pt x="4030" y="285"/>
                      <a:pt x="4030" y="285"/>
                    </a:cubicBezTo>
                    <a:cubicBezTo>
                      <a:pt x="4045" y="297"/>
                      <a:pt x="4045" y="297"/>
                      <a:pt x="4045" y="297"/>
                    </a:cubicBezTo>
                    <a:cubicBezTo>
                      <a:pt x="4073" y="269"/>
                      <a:pt x="4073" y="269"/>
                      <a:pt x="4073" y="269"/>
                    </a:cubicBezTo>
                    <a:cubicBezTo>
                      <a:pt x="4029" y="224"/>
                      <a:pt x="4029" y="224"/>
                      <a:pt x="4029" y="224"/>
                    </a:cubicBezTo>
                    <a:cubicBezTo>
                      <a:pt x="3993" y="256"/>
                      <a:pt x="3993" y="256"/>
                      <a:pt x="3993" y="256"/>
                    </a:cubicBezTo>
                    <a:cubicBezTo>
                      <a:pt x="3984" y="264"/>
                      <a:pt x="3984" y="264"/>
                      <a:pt x="3984" y="264"/>
                    </a:cubicBezTo>
                    <a:cubicBezTo>
                      <a:pt x="3975" y="256"/>
                      <a:pt x="3975" y="256"/>
                      <a:pt x="3975" y="256"/>
                    </a:cubicBezTo>
                    <a:cubicBezTo>
                      <a:pt x="3966" y="248"/>
                      <a:pt x="3966" y="248"/>
                      <a:pt x="3966" y="248"/>
                    </a:cubicBezTo>
                    <a:cubicBezTo>
                      <a:pt x="3936" y="276"/>
                      <a:pt x="3936" y="276"/>
                      <a:pt x="3936" y="276"/>
                    </a:cubicBezTo>
                    <a:cubicBezTo>
                      <a:pt x="3947" y="290"/>
                      <a:pt x="3947" y="290"/>
                      <a:pt x="3947" y="290"/>
                    </a:cubicBezTo>
                    <a:lnTo>
                      <a:pt x="3955" y="300"/>
                    </a:lnTo>
                    <a:close/>
                    <a:moveTo>
                      <a:pt x="1124" y="470"/>
                    </a:moveTo>
                    <a:cubicBezTo>
                      <a:pt x="976" y="340"/>
                      <a:pt x="976" y="340"/>
                      <a:pt x="976" y="340"/>
                    </a:cubicBezTo>
                    <a:cubicBezTo>
                      <a:pt x="1042" y="159"/>
                      <a:pt x="1042" y="159"/>
                      <a:pt x="1042" y="159"/>
                    </a:cubicBezTo>
                    <a:cubicBezTo>
                      <a:pt x="1245" y="333"/>
                      <a:pt x="1245" y="333"/>
                      <a:pt x="1245" y="333"/>
                    </a:cubicBezTo>
                    <a:cubicBezTo>
                      <a:pt x="1363" y="194"/>
                      <a:pt x="1363" y="194"/>
                      <a:pt x="1363" y="194"/>
                    </a:cubicBezTo>
                    <a:cubicBezTo>
                      <a:pt x="1506" y="287"/>
                      <a:pt x="1506" y="287"/>
                      <a:pt x="1506" y="287"/>
                    </a:cubicBezTo>
                    <a:cubicBezTo>
                      <a:pt x="1419" y="413"/>
                      <a:pt x="1419" y="413"/>
                      <a:pt x="1419" y="413"/>
                    </a:cubicBezTo>
                    <a:cubicBezTo>
                      <a:pt x="1345" y="413"/>
                      <a:pt x="1345" y="413"/>
                      <a:pt x="1345" y="413"/>
                    </a:cubicBezTo>
                    <a:cubicBezTo>
                      <a:pt x="1313" y="457"/>
                      <a:pt x="1313" y="457"/>
                      <a:pt x="1313" y="457"/>
                    </a:cubicBezTo>
                    <a:cubicBezTo>
                      <a:pt x="1326" y="533"/>
                      <a:pt x="1326" y="533"/>
                      <a:pt x="1326" y="533"/>
                    </a:cubicBezTo>
                    <a:cubicBezTo>
                      <a:pt x="1263" y="628"/>
                      <a:pt x="1263" y="628"/>
                      <a:pt x="1263" y="628"/>
                    </a:cubicBezTo>
                    <a:cubicBezTo>
                      <a:pt x="1198" y="674"/>
                      <a:pt x="1198" y="674"/>
                      <a:pt x="1198" y="674"/>
                    </a:cubicBezTo>
                    <a:lnTo>
                      <a:pt x="1124" y="470"/>
                    </a:lnTo>
                    <a:close/>
                    <a:moveTo>
                      <a:pt x="992" y="336"/>
                    </a:moveTo>
                    <a:cubicBezTo>
                      <a:pt x="1133" y="460"/>
                      <a:pt x="1133" y="460"/>
                      <a:pt x="1133" y="460"/>
                    </a:cubicBezTo>
                    <a:cubicBezTo>
                      <a:pt x="1136" y="462"/>
                      <a:pt x="1136" y="462"/>
                      <a:pt x="1136" y="462"/>
                    </a:cubicBezTo>
                    <a:cubicBezTo>
                      <a:pt x="1137" y="465"/>
                      <a:pt x="1137" y="465"/>
                      <a:pt x="1137" y="465"/>
                    </a:cubicBezTo>
                    <a:cubicBezTo>
                      <a:pt x="1205" y="652"/>
                      <a:pt x="1205" y="652"/>
                      <a:pt x="1205" y="652"/>
                    </a:cubicBezTo>
                    <a:cubicBezTo>
                      <a:pt x="1253" y="618"/>
                      <a:pt x="1253" y="618"/>
                      <a:pt x="1253" y="618"/>
                    </a:cubicBezTo>
                    <a:cubicBezTo>
                      <a:pt x="1311" y="530"/>
                      <a:pt x="1311" y="530"/>
                      <a:pt x="1311" y="530"/>
                    </a:cubicBezTo>
                    <a:cubicBezTo>
                      <a:pt x="1299" y="460"/>
                      <a:pt x="1299" y="460"/>
                      <a:pt x="1299" y="460"/>
                    </a:cubicBezTo>
                    <a:cubicBezTo>
                      <a:pt x="1298" y="454"/>
                      <a:pt x="1298" y="454"/>
                      <a:pt x="1298" y="454"/>
                    </a:cubicBezTo>
                    <a:cubicBezTo>
                      <a:pt x="1301" y="449"/>
                      <a:pt x="1301" y="449"/>
                      <a:pt x="1301" y="449"/>
                    </a:cubicBezTo>
                    <a:cubicBezTo>
                      <a:pt x="1333" y="405"/>
                      <a:pt x="1333" y="405"/>
                      <a:pt x="1333" y="405"/>
                    </a:cubicBezTo>
                    <a:cubicBezTo>
                      <a:pt x="1337" y="399"/>
                      <a:pt x="1337" y="399"/>
                      <a:pt x="1337" y="399"/>
                    </a:cubicBezTo>
                    <a:cubicBezTo>
                      <a:pt x="1345" y="399"/>
                      <a:pt x="1345" y="399"/>
                      <a:pt x="1345" y="399"/>
                    </a:cubicBezTo>
                    <a:cubicBezTo>
                      <a:pt x="1412" y="399"/>
                      <a:pt x="1412" y="399"/>
                      <a:pt x="1412" y="399"/>
                    </a:cubicBezTo>
                    <a:cubicBezTo>
                      <a:pt x="1487" y="291"/>
                      <a:pt x="1487" y="291"/>
                      <a:pt x="1487" y="291"/>
                    </a:cubicBezTo>
                    <a:cubicBezTo>
                      <a:pt x="1366" y="212"/>
                      <a:pt x="1366" y="212"/>
                      <a:pt x="1366" y="212"/>
                    </a:cubicBezTo>
                    <a:cubicBezTo>
                      <a:pt x="1256" y="342"/>
                      <a:pt x="1256" y="342"/>
                      <a:pt x="1256" y="342"/>
                    </a:cubicBezTo>
                    <a:cubicBezTo>
                      <a:pt x="1247" y="352"/>
                      <a:pt x="1247" y="352"/>
                      <a:pt x="1247" y="352"/>
                    </a:cubicBezTo>
                    <a:cubicBezTo>
                      <a:pt x="1236" y="343"/>
                      <a:pt x="1236" y="343"/>
                      <a:pt x="1236" y="343"/>
                    </a:cubicBezTo>
                    <a:cubicBezTo>
                      <a:pt x="1048" y="183"/>
                      <a:pt x="1048" y="183"/>
                      <a:pt x="1048" y="183"/>
                    </a:cubicBezTo>
                    <a:lnTo>
                      <a:pt x="992" y="336"/>
                    </a:lnTo>
                    <a:close/>
                    <a:moveTo>
                      <a:pt x="3011" y="445"/>
                    </a:moveTo>
                    <a:cubicBezTo>
                      <a:pt x="2993" y="328"/>
                      <a:pt x="2993" y="328"/>
                      <a:pt x="2993" y="328"/>
                    </a:cubicBezTo>
                    <a:cubicBezTo>
                      <a:pt x="3000" y="327"/>
                      <a:pt x="3000" y="327"/>
                      <a:pt x="3000" y="327"/>
                    </a:cubicBezTo>
                    <a:cubicBezTo>
                      <a:pt x="3001" y="327"/>
                      <a:pt x="3001" y="327"/>
                      <a:pt x="3001" y="327"/>
                    </a:cubicBezTo>
                    <a:cubicBezTo>
                      <a:pt x="3004" y="327"/>
                      <a:pt x="3053" y="327"/>
                      <a:pt x="3102" y="304"/>
                    </a:cubicBezTo>
                    <a:cubicBezTo>
                      <a:pt x="3245" y="184"/>
                      <a:pt x="3245" y="184"/>
                      <a:pt x="3245" y="184"/>
                    </a:cubicBezTo>
                    <a:cubicBezTo>
                      <a:pt x="3364" y="338"/>
                      <a:pt x="3364" y="338"/>
                      <a:pt x="3364" y="338"/>
                    </a:cubicBezTo>
                    <a:cubicBezTo>
                      <a:pt x="3358" y="342"/>
                      <a:pt x="3358" y="342"/>
                      <a:pt x="3358" y="342"/>
                    </a:cubicBezTo>
                    <a:cubicBezTo>
                      <a:pt x="3283" y="392"/>
                      <a:pt x="3283" y="392"/>
                      <a:pt x="3283" y="392"/>
                    </a:cubicBezTo>
                    <a:cubicBezTo>
                      <a:pt x="3263" y="338"/>
                      <a:pt x="3263" y="338"/>
                      <a:pt x="3263" y="338"/>
                    </a:cubicBezTo>
                    <a:cubicBezTo>
                      <a:pt x="3249" y="363"/>
                      <a:pt x="3217" y="413"/>
                      <a:pt x="3176" y="427"/>
                    </a:cubicBezTo>
                    <a:cubicBezTo>
                      <a:pt x="3124" y="444"/>
                      <a:pt x="3018" y="444"/>
                      <a:pt x="3018" y="445"/>
                    </a:cubicBezTo>
                    <a:lnTo>
                      <a:pt x="3011" y="445"/>
                    </a:lnTo>
                    <a:close/>
                    <a:moveTo>
                      <a:pt x="3010" y="342"/>
                    </a:moveTo>
                    <a:cubicBezTo>
                      <a:pt x="3024" y="430"/>
                      <a:pt x="3024" y="430"/>
                      <a:pt x="3024" y="430"/>
                    </a:cubicBezTo>
                    <a:cubicBezTo>
                      <a:pt x="3047" y="429"/>
                      <a:pt x="3131" y="426"/>
                      <a:pt x="3171" y="413"/>
                    </a:cubicBezTo>
                    <a:cubicBezTo>
                      <a:pt x="3194" y="406"/>
                      <a:pt x="3216" y="382"/>
                      <a:pt x="3231" y="360"/>
                    </a:cubicBezTo>
                    <a:cubicBezTo>
                      <a:pt x="3247" y="337"/>
                      <a:pt x="3257" y="317"/>
                      <a:pt x="3257" y="317"/>
                    </a:cubicBezTo>
                    <a:cubicBezTo>
                      <a:pt x="3264" y="301"/>
                      <a:pt x="3264" y="301"/>
                      <a:pt x="3264" y="301"/>
                    </a:cubicBezTo>
                    <a:cubicBezTo>
                      <a:pt x="3290" y="370"/>
                      <a:pt x="3290" y="370"/>
                      <a:pt x="3290" y="370"/>
                    </a:cubicBezTo>
                    <a:cubicBezTo>
                      <a:pt x="3343" y="334"/>
                      <a:pt x="3343" y="334"/>
                      <a:pt x="3343" y="334"/>
                    </a:cubicBezTo>
                    <a:cubicBezTo>
                      <a:pt x="3243" y="205"/>
                      <a:pt x="3243" y="205"/>
                      <a:pt x="3243" y="205"/>
                    </a:cubicBezTo>
                    <a:cubicBezTo>
                      <a:pt x="3110" y="316"/>
                      <a:pt x="3110" y="316"/>
                      <a:pt x="3110" y="316"/>
                    </a:cubicBezTo>
                    <a:cubicBezTo>
                      <a:pt x="3110" y="317"/>
                      <a:pt x="3110" y="317"/>
                      <a:pt x="3110" y="317"/>
                    </a:cubicBezTo>
                    <a:cubicBezTo>
                      <a:pt x="3068" y="336"/>
                      <a:pt x="3027" y="341"/>
                      <a:pt x="3010" y="342"/>
                    </a:cubicBezTo>
                    <a:close/>
                    <a:moveTo>
                      <a:pt x="3510" y="197"/>
                    </a:moveTo>
                    <a:cubicBezTo>
                      <a:pt x="3425" y="264"/>
                      <a:pt x="3425" y="264"/>
                      <a:pt x="3425" y="264"/>
                    </a:cubicBezTo>
                    <a:cubicBezTo>
                      <a:pt x="3317" y="137"/>
                      <a:pt x="3317" y="137"/>
                      <a:pt x="3317" y="137"/>
                    </a:cubicBezTo>
                    <a:cubicBezTo>
                      <a:pt x="3503" y="113"/>
                      <a:pt x="3503" y="113"/>
                      <a:pt x="3503" y="113"/>
                    </a:cubicBezTo>
                    <a:cubicBezTo>
                      <a:pt x="3503" y="121"/>
                      <a:pt x="3503" y="121"/>
                      <a:pt x="3503" y="121"/>
                    </a:cubicBezTo>
                    <a:lnTo>
                      <a:pt x="3510" y="197"/>
                    </a:lnTo>
                    <a:close/>
                    <a:moveTo>
                      <a:pt x="3494" y="190"/>
                    </a:moveTo>
                    <a:cubicBezTo>
                      <a:pt x="3489" y="130"/>
                      <a:pt x="3489" y="130"/>
                      <a:pt x="3489" y="130"/>
                    </a:cubicBezTo>
                    <a:cubicBezTo>
                      <a:pt x="3346" y="149"/>
                      <a:pt x="3346" y="149"/>
                      <a:pt x="3346" y="149"/>
                    </a:cubicBezTo>
                    <a:cubicBezTo>
                      <a:pt x="3427" y="244"/>
                      <a:pt x="3427" y="244"/>
                      <a:pt x="3427" y="244"/>
                    </a:cubicBezTo>
                    <a:lnTo>
                      <a:pt x="3494" y="190"/>
                    </a:lnTo>
                    <a:close/>
                    <a:moveTo>
                      <a:pt x="6561" y="452"/>
                    </a:moveTo>
                    <a:cubicBezTo>
                      <a:pt x="6419" y="424"/>
                      <a:pt x="6419" y="424"/>
                      <a:pt x="6419" y="424"/>
                    </a:cubicBezTo>
                    <a:cubicBezTo>
                      <a:pt x="6433" y="350"/>
                      <a:pt x="6433" y="350"/>
                      <a:pt x="6433" y="350"/>
                    </a:cubicBezTo>
                    <a:cubicBezTo>
                      <a:pt x="6582" y="378"/>
                      <a:pt x="6582" y="378"/>
                      <a:pt x="6582" y="378"/>
                    </a:cubicBezTo>
                    <a:cubicBezTo>
                      <a:pt x="6568" y="453"/>
                      <a:pt x="6568" y="453"/>
                      <a:pt x="6568" y="453"/>
                    </a:cubicBezTo>
                    <a:lnTo>
                      <a:pt x="6561" y="452"/>
                    </a:lnTo>
                    <a:close/>
                    <a:moveTo>
                      <a:pt x="6557" y="437"/>
                    </a:moveTo>
                    <a:cubicBezTo>
                      <a:pt x="6567" y="389"/>
                      <a:pt x="6567" y="389"/>
                      <a:pt x="6567" y="389"/>
                    </a:cubicBezTo>
                    <a:cubicBezTo>
                      <a:pt x="6444" y="365"/>
                      <a:pt x="6444" y="365"/>
                      <a:pt x="6444" y="365"/>
                    </a:cubicBezTo>
                    <a:cubicBezTo>
                      <a:pt x="6434" y="414"/>
                      <a:pt x="6434" y="414"/>
                      <a:pt x="6434" y="414"/>
                    </a:cubicBezTo>
                    <a:lnTo>
                      <a:pt x="6557" y="437"/>
                    </a:lnTo>
                    <a:close/>
                    <a:moveTo>
                      <a:pt x="4950" y="10725"/>
                    </a:moveTo>
                    <a:cubicBezTo>
                      <a:pt x="4950" y="10715"/>
                      <a:pt x="4950" y="10715"/>
                      <a:pt x="4950" y="10715"/>
                    </a:cubicBezTo>
                    <a:cubicBezTo>
                      <a:pt x="4832" y="10715"/>
                      <a:pt x="4832" y="10715"/>
                      <a:pt x="4832" y="10715"/>
                    </a:cubicBezTo>
                    <a:cubicBezTo>
                      <a:pt x="4835" y="10801"/>
                      <a:pt x="4835" y="10801"/>
                      <a:pt x="4835" y="10801"/>
                    </a:cubicBezTo>
                    <a:cubicBezTo>
                      <a:pt x="4848" y="10801"/>
                      <a:pt x="4848" y="10801"/>
                      <a:pt x="4848" y="10801"/>
                    </a:cubicBezTo>
                    <a:cubicBezTo>
                      <a:pt x="4846" y="10728"/>
                      <a:pt x="4846" y="10728"/>
                      <a:pt x="4846" y="10728"/>
                    </a:cubicBezTo>
                    <a:cubicBezTo>
                      <a:pt x="4937" y="10728"/>
                      <a:pt x="4937" y="10728"/>
                      <a:pt x="4937" y="10728"/>
                    </a:cubicBezTo>
                    <a:cubicBezTo>
                      <a:pt x="4937" y="10738"/>
                      <a:pt x="4937" y="10738"/>
                      <a:pt x="4937" y="10738"/>
                    </a:cubicBezTo>
                    <a:cubicBezTo>
                      <a:pt x="4989" y="10738"/>
                      <a:pt x="4989" y="10738"/>
                      <a:pt x="4989" y="10738"/>
                    </a:cubicBezTo>
                    <a:cubicBezTo>
                      <a:pt x="4989" y="10801"/>
                      <a:pt x="4989" y="10801"/>
                      <a:pt x="4989" y="10801"/>
                    </a:cubicBezTo>
                    <a:cubicBezTo>
                      <a:pt x="5002" y="10801"/>
                      <a:pt x="5002" y="10801"/>
                      <a:pt x="5002" y="10801"/>
                    </a:cubicBezTo>
                    <a:cubicBezTo>
                      <a:pt x="5002" y="10725"/>
                      <a:pt x="5002" y="10725"/>
                      <a:pt x="5002" y="10725"/>
                    </a:cubicBezTo>
                    <a:lnTo>
                      <a:pt x="4950" y="10725"/>
                    </a:lnTo>
                    <a:close/>
                    <a:moveTo>
                      <a:pt x="4" y="8092"/>
                    </a:moveTo>
                    <a:cubicBezTo>
                      <a:pt x="123" y="8195"/>
                      <a:pt x="123" y="8195"/>
                      <a:pt x="123" y="8195"/>
                    </a:cubicBezTo>
                    <a:cubicBezTo>
                      <a:pt x="4" y="8341"/>
                      <a:pt x="4" y="8341"/>
                      <a:pt x="4" y="8341"/>
                    </a:cubicBezTo>
                    <a:cubicBezTo>
                      <a:pt x="4" y="8364"/>
                      <a:pt x="4" y="8364"/>
                      <a:pt x="4" y="8364"/>
                    </a:cubicBezTo>
                    <a:cubicBezTo>
                      <a:pt x="139" y="8198"/>
                      <a:pt x="139" y="8198"/>
                      <a:pt x="139" y="8198"/>
                    </a:cubicBezTo>
                    <a:cubicBezTo>
                      <a:pt x="144" y="8193"/>
                      <a:pt x="144" y="8193"/>
                      <a:pt x="144" y="8193"/>
                    </a:cubicBezTo>
                    <a:cubicBezTo>
                      <a:pt x="4" y="8073"/>
                      <a:pt x="4" y="8073"/>
                      <a:pt x="4" y="8073"/>
                    </a:cubicBezTo>
                    <a:lnTo>
                      <a:pt x="4" y="8092"/>
                    </a:lnTo>
                    <a:close/>
                    <a:moveTo>
                      <a:pt x="4" y="6083"/>
                    </a:moveTo>
                    <a:cubicBezTo>
                      <a:pt x="0" y="6083"/>
                      <a:pt x="0" y="6083"/>
                      <a:pt x="0" y="6083"/>
                    </a:cubicBezTo>
                    <a:cubicBezTo>
                      <a:pt x="4" y="6062"/>
                      <a:pt x="4" y="6062"/>
                      <a:pt x="4" y="6062"/>
                    </a:cubicBezTo>
                    <a:cubicBezTo>
                      <a:pt x="35" y="5900"/>
                      <a:pt x="35" y="5900"/>
                      <a:pt x="35" y="5900"/>
                    </a:cubicBezTo>
                    <a:cubicBezTo>
                      <a:pt x="86" y="5910"/>
                      <a:pt x="86" y="5910"/>
                      <a:pt x="86" y="5910"/>
                    </a:cubicBezTo>
                    <a:cubicBezTo>
                      <a:pt x="87" y="5906"/>
                      <a:pt x="87" y="5906"/>
                      <a:pt x="87" y="5906"/>
                    </a:cubicBezTo>
                    <a:cubicBezTo>
                      <a:pt x="88" y="5900"/>
                      <a:pt x="88" y="5900"/>
                      <a:pt x="88" y="5900"/>
                    </a:cubicBezTo>
                    <a:cubicBezTo>
                      <a:pt x="203" y="5921"/>
                      <a:pt x="203" y="5921"/>
                      <a:pt x="203" y="5921"/>
                    </a:cubicBezTo>
                    <a:cubicBezTo>
                      <a:pt x="178" y="6041"/>
                      <a:pt x="178" y="6041"/>
                      <a:pt x="178" y="6041"/>
                    </a:cubicBezTo>
                    <a:cubicBezTo>
                      <a:pt x="172" y="6040"/>
                      <a:pt x="172" y="6040"/>
                      <a:pt x="172" y="6040"/>
                    </a:cubicBezTo>
                    <a:cubicBezTo>
                      <a:pt x="122" y="6031"/>
                      <a:pt x="122" y="6031"/>
                      <a:pt x="122" y="6031"/>
                    </a:cubicBezTo>
                    <a:cubicBezTo>
                      <a:pt x="108" y="6103"/>
                      <a:pt x="108" y="6103"/>
                      <a:pt x="108" y="6103"/>
                    </a:cubicBezTo>
                    <a:lnTo>
                      <a:pt x="4" y="6083"/>
                    </a:lnTo>
                    <a:close/>
                    <a:moveTo>
                      <a:pt x="16" y="6072"/>
                    </a:moveTo>
                    <a:cubicBezTo>
                      <a:pt x="98" y="6087"/>
                      <a:pt x="98" y="6087"/>
                      <a:pt x="98" y="6087"/>
                    </a:cubicBezTo>
                    <a:cubicBezTo>
                      <a:pt x="111" y="6016"/>
                      <a:pt x="111" y="6016"/>
                      <a:pt x="111" y="6016"/>
                    </a:cubicBezTo>
                    <a:cubicBezTo>
                      <a:pt x="168" y="6026"/>
                      <a:pt x="168" y="6026"/>
                      <a:pt x="168" y="6026"/>
                    </a:cubicBezTo>
                    <a:cubicBezTo>
                      <a:pt x="188" y="5932"/>
                      <a:pt x="188" y="5932"/>
                      <a:pt x="188" y="5932"/>
                    </a:cubicBezTo>
                    <a:cubicBezTo>
                      <a:pt x="98" y="5915"/>
                      <a:pt x="98" y="5915"/>
                      <a:pt x="98" y="5915"/>
                    </a:cubicBezTo>
                    <a:cubicBezTo>
                      <a:pt x="98" y="5919"/>
                      <a:pt x="98" y="5919"/>
                      <a:pt x="98" y="5919"/>
                    </a:cubicBezTo>
                    <a:cubicBezTo>
                      <a:pt x="96" y="5925"/>
                      <a:pt x="96" y="5925"/>
                      <a:pt x="96" y="5925"/>
                    </a:cubicBezTo>
                    <a:cubicBezTo>
                      <a:pt x="45" y="5916"/>
                      <a:pt x="45" y="5916"/>
                      <a:pt x="45" y="5916"/>
                    </a:cubicBezTo>
                    <a:lnTo>
                      <a:pt x="16" y="6072"/>
                    </a:lnTo>
                    <a:close/>
                    <a:moveTo>
                      <a:pt x="4" y="8932"/>
                    </a:moveTo>
                    <a:cubicBezTo>
                      <a:pt x="75" y="8983"/>
                      <a:pt x="75" y="8983"/>
                      <a:pt x="75" y="8983"/>
                    </a:cubicBezTo>
                    <a:cubicBezTo>
                      <a:pt x="4" y="9081"/>
                      <a:pt x="4" y="9081"/>
                      <a:pt x="4" y="9081"/>
                    </a:cubicBezTo>
                    <a:cubicBezTo>
                      <a:pt x="4" y="9105"/>
                      <a:pt x="4" y="9105"/>
                      <a:pt x="4" y="9105"/>
                    </a:cubicBezTo>
                    <a:cubicBezTo>
                      <a:pt x="180" y="8860"/>
                      <a:pt x="180" y="8860"/>
                      <a:pt x="180" y="8860"/>
                    </a:cubicBezTo>
                    <a:cubicBezTo>
                      <a:pt x="169" y="8852"/>
                      <a:pt x="169" y="8852"/>
                      <a:pt x="169" y="8852"/>
                    </a:cubicBezTo>
                    <a:cubicBezTo>
                      <a:pt x="83" y="8972"/>
                      <a:pt x="83" y="8972"/>
                      <a:pt x="83" y="8972"/>
                    </a:cubicBezTo>
                    <a:cubicBezTo>
                      <a:pt x="4" y="8915"/>
                      <a:pt x="4" y="8915"/>
                      <a:pt x="4" y="8915"/>
                    </a:cubicBezTo>
                    <a:lnTo>
                      <a:pt x="4" y="8932"/>
                    </a:lnTo>
                    <a:close/>
                    <a:moveTo>
                      <a:pt x="4" y="7092"/>
                    </a:moveTo>
                    <a:cubicBezTo>
                      <a:pt x="49" y="7123"/>
                      <a:pt x="49" y="7123"/>
                      <a:pt x="49" y="7123"/>
                    </a:cubicBezTo>
                    <a:cubicBezTo>
                      <a:pt x="15" y="7172"/>
                      <a:pt x="15" y="7172"/>
                      <a:pt x="15" y="7172"/>
                    </a:cubicBezTo>
                    <a:cubicBezTo>
                      <a:pt x="4" y="7165"/>
                      <a:pt x="4" y="7165"/>
                      <a:pt x="4" y="7165"/>
                    </a:cubicBezTo>
                    <a:cubicBezTo>
                      <a:pt x="4" y="7181"/>
                      <a:pt x="4" y="7181"/>
                      <a:pt x="4" y="7181"/>
                    </a:cubicBezTo>
                    <a:cubicBezTo>
                      <a:pt x="18" y="7190"/>
                      <a:pt x="18" y="7190"/>
                      <a:pt x="18" y="7190"/>
                    </a:cubicBezTo>
                    <a:cubicBezTo>
                      <a:pt x="63" y="7125"/>
                      <a:pt x="63" y="7125"/>
                      <a:pt x="63" y="7125"/>
                    </a:cubicBezTo>
                    <a:cubicBezTo>
                      <a:pt x="67" y="7119"/>
                      <a:pt x="67" y="7119"/>
                      <a:pt x="67" y="7119"/>
                    </a:cubicBezTo>
                    <a:cubicBezTo>
                      <a:pt x="4" y="7076"/>
                      <a:pt x="4" y="7076"/>
                      <a:pt x="4" y="7076"/>
                    </a:cubicBezTo>
                    <a:lnTo>
                      <a:pt x="4" y="7092"/>
                    </a:lnTo>
                    <a:close/>
                    <a:moveTo>
                      <a:pt x="610" y="307"/>
                    </a:moveTo>
                    <a:cubicBezTo>
                      <a:pt x="654" y="264"/>
                      <a:pt x="654" y="264"/>
                      <a:pt x="654" y="264"/>
                    </a:cubicBezTo>
                    <a:cubicBezTo>
                      <a:pt x="634" y="229"/>
                      <a:pt x="634" y="229"/>
                      <a:pt x="634" y="229"/>
                    </a:cubicBezTo>
                    <a:cubicBezTo>
                      <a:pt x="528" y="307"/>
                      <a:pt x="528" y="307"/>
                      <a:pt x="528" y="307"/>
                    </a:cubicBezTo>
                    <a:cubicBezTo>
                      <a:pt x="507" y="280"/>
                      <a:pt x="507" y="280"/>
                      <a:pt x="507" y="280"/>
                    </a:cubicBezTo>
                    <a:cubicBezTo>
                      <a:pt x="526" y="251"/>
                      <a:pt x="526" y="251"/>
                      <a:pt x="526" y="251"/>
                    </a:cubicBezTo>
                    <a:cubicBezTo>
                      <a:pt x="479" y="207"/>
                      <a:pt x="479" y="207"/>
                      <a:pt x="479" y="207"/>
                    </a:cubicBezTo>
                    <a:cubicBezTo>
                      <a:pt x="643" y="58"/>
                      <a:pt x="643" y="58"/>
                      <a:pt x="643" y="58"/>
                    </a:cubicBezTo>
                    <a:cubicBezTo>
                      <a:pt x="862" y="261"/>
                      <a:pt x="862" y="261"/>
                      <a:pt x="862" y="261"/>
                    </a:cubicBezTo>
                    <a:cubicBezTo>
                      <a:pt x="857" y="267"/>
                      <a:pt x="857" y="267"/>
                      <a:pt x="857" y="267"/>
                    </a:cubicBezTo>
                    <a:cubicBezTo>
                      <a:pt x="798" y="328"/>
                      <a:pt x="798" y="328"/>
                      <a:pt x="798" y="328"/>
                    </a:cubicBezTo>
                    <a:cubicBezTo>
                      <a:pt x="753" y="285"/>
                      <a:pt x="753" y="285"/>
                      <a:pt x="753" y="285"/>
                    </a:cubicBezTo>
                    <a:cubicBezTo>
                      <a:pt x="679" y="348"/>
                      <a:pt x="679" y="348"/>
                      <a:pt x="679" y="348"/>
                    </a:cubicBezTo>
                    <a:lnTo>
                      <a:pt x="610" y="307"/>
                    </a:lnTo>
                    <a:close/>
                    <a:moveTo>
                      <a:pt x="672" y="267"/>
                    </a:moveTo>
                    <a:cubicBezTo>
                      <a:pt x="634" y="304"/>
                      <a:pt x="634" y="304"/>
                      <a:pt x="634" y="304"/>
                    </a:cubicBezTo>
                    <a:cubicBezTo>
                      <a:pt x="677" y="330"/>
                      <a:pt x="677" y="330"/>
                      <a:pt x="677" y="330"/>
                    </a:cubicBezTo>
                    <a:cubicBezTo>
                      <a:pt x="754" y="265"/>
                      <a:pt x="754" y="265"/>
                      <a:pt x="754" y="265"/>
                    </a:cubicBezTo>
                    <a:cubicBezTo>
                      <a:pt x="798" y="307"/>
                      <a:pt x="798" y="307"/>
                      <a:pt x="798" y="307"/>
                    </a:cubicBezTo>
                    <a:cubicBezTo>
                      <a:pt x="841" y="262"/>
                      <a:pt x="841" y="262"/>
                      <a:pt x="841" y="262"/>
                    </a:cubicBezTo>
                    <a:cubicBezTo>
                      <a:pt x="643" y="78"/>
                      <a:pt x="643" y="78"/>
                      <a:pt x="643" y="78"/>
                    </a:cubicBezTo>
                    <a:cubicBezTo>
                      <a:pt x="501" y="207"/>
                      <a:pt x="501" y="207"/>
                      <a:pt x="501" y="207"/>
                    </a:cubicBezTo>
                    <a:cubicBezTo>
                      <a:pt x="545" y="249"/>
                      <a:pt x="545" y="249"/>
                      <a:pt x="545" y="249"/>
                    </a:cubicBezTo>
                    <a:cubicBezTo>
                      <a:pt x="525" y="280"/>
                      <a:pt x="525" y="280"/>
                      <a:pt x="525" y="280"/>
                    </a:cubicBezTo>
                    <a:cubicBezTo>
                      <a:pt x="531" y="287"/>
                      <a:pt x="531" y="287"/>
                      <a:pt x="531" y="287"/>
                    </a:cubicBezTo>
                    <a:cubicBezTo>
                      <a:pt x="639" y="207"/>
                      <a:pt x="639" y="207"/>
                      <a:pt x="639" y="207"/>
                    </a:cubicBezTo>
                    <a:lnTo>
                      <a:pt x="672" y="267"/>
                    </a:lnTo>
                    <a:close/>
                    <a:moveTo>
                      <a:pt x="3933" y="195"/>
                    </a:moveTo>
                    <a:cubicBezTo>
                      <a:pt x="3883" y="239"/>
                      <a:pt x="3883" y="239"/>
                      <a:pt x="3883" y="239"/>
                    </a:cubicBezTo>
                    <a:cubicBezTo>
                      <a:pt x="3865" y="223"/>
                      <a:pt x="3865" y="223"/>
                      <a:pt x="3865" y="223"/>
                    </a:cubicBezTo>
                    <a:cubicBezTo>
                      <a:pt x="3818" y="262"/>
                      <a:pt x="3818" y="262"/>
                      <a:pt x="3818" y="262"/>
                    </a:cubicBezTo>
                    <a:cubicBezTo>
                      <a:pt x="3756" y="197"/>
                      <a:pt x="3756" y="197"/>
                      <a:pt x="3756" y="197"/>
                    </a:cubicBezTo>
                    <a:cubicBezTo>
                      <a:pt x="3804" y="151"/>
                      <a:pt x="3804" y="151"/>
                      <a:pt x="3804" y="151"/>
                    </a:cubicBezTo>
                    <a:cubicBezTo>
                      <a:pt x="3829" y="172"/>
                      <a:pt x="3829" y="172"/>
                      <a:pt x="3829" y="172"/>
                    </a:cubicBezTo>
                    <a:cubicBezTo>
                      <a:pt x="3867" y="130"/>
                      <a:pt x="3867" y="130"/>
                      <a:pt x="3867" y="130"/>
                    </a:cubicBezTo>
                    <a:cubicBezTo>
                      <a:pt x="3843" y="106"/>
                      <a:pt x="3843" y="106"/>
                      <a:pt x="3843" y="106"/>
                    </a:cubicBezTo>
                    <a:cubicBezTo>
                      <a:pt x="3895" y="60"/>
                      <a:pt x="3895" y="60"/>
                      <a:pt x="3895" y="60"/>
                    </a:cubicBezTo>
                    <a:cubicBezTo>
                      <a:pt x="3958" y="126"/>
                      <a:pt x="3958" y="126"/>
                      <a:pt x="3958" y="126"/>
                    </a:cubicBezTo>
                    <a:cubicBezTo>
                      <a:pt x="3914" y="170"/>
                      <a:pt x="3914" y="170"/>
                      <a:pt x="3914" y="170"/>
                    </a:cubicBezTo>
                    <a:lnTo>
                      <a:pt x="3933" y="195"/>
                    </a:lnTo>
                    <a:close/>
                    <a:moveTo>
                      <a:pt x="3883" y="221"/>
                    </a:moveTo>
                    <a:cubicBezTo>
                      <a:pt x="3914" y="193"/>
                      <a:pt x="3914" y="193"/>
                      <a:pt x="3914" y="193"/>
                    </a:cubicBezTo>
                    <a:cubicBezTo>
                      <a:pt x="3903" y="178"/>
                      <a:pt x="3903" y="178"/>
                      <a:pt x="3903" y="178"/>
                    </a:cubicBezTo>
                    <a:cubicBezTo>
                      <a:pt x="3895" y="169"/>
                      <a:pt x="3895" y="169"/>
                      <a:pt x="3895" y="169"/>
                    </a:cubicBezTo>
                    <a:cubicBezTo>
                      <a:pt x="3904" y="160"/>
                      <a:pt x="3904" y="160"/>
                      <a:pt x="3904" y="160"/>
                    </a:cubicBezTo>
                    <a:cubicBezTo>
                      <a:pt x="3938" y="126"/>
                      <a:pt x="3938" y="126"/>
                      <a:pt x="3938" y="126"/>
                    </a:cubicBezTo>
                    <a:cubicBezTo>
                      <a:pt x="3894" y="79"/>
                      <a:pt x="3894" y="79"/>
                      <a:pt x="3894" y="79"/>
                    </a:cubicBezTo>
                    <a:cubicBezTo>
                      <a:pt x="3863" y="106"/>
                      <a:pt x="3863" y="106"/>
                      <a:pt x="3863" y="106"/>
                    </a:cubicBezTo>
                    <a:cubicBezTo>
                      <a:pt x="3877" y="120"/>
                      <a:pt x="3877" y="120"/>
                      <a:pt x="3877" y="120"/>
                    </a:cubicBezTo>
                    <a:cubicBezTo>
                      <a:pt x="3887" y="130"/>
                      <a:pt x="3887" y="130"/>
                      <a:pt x="3887" y="130"/>
                    </a:cubicBezTo>
                    <a:cubicBezTo>
                      <a:pt x="3878" y="140"/>
                      <a:pt x="3878" y="140"/>
                      <a:pt x="3878" y="140"/>
                    </a:cubicBezTo>
                    <a:cubicBezTo>
                      <a:pt x="3839" y="181"/>
                      <a:pt x="3839" y="181"/>
                      <a:pt x="3839" y="181"/>
                    </a:cubicBezTo>
                    <a:cubicBezTo>
                      <a:pt x="3830" y="191"/>
                      <a:pt x="3830" y="191"/>
                      <a:pt x="3830" y="191"/>
                    </a:cubicBezTo>
                    <a:cubicBezTo>
                      <a:pt x="3820" y="183"/>
                      <a:pt x="3820" y="183"/>
                      <a:pt x="3820" y="183"/>
                    </a:cubicBezTo>
                    <a:cubicBezTo>
                      <a:pt x="3805" y="170"/>
                      <a:pt x="3805" y="170"/>
                      <a:pt x="3805" y="170"/>
                    </a:cubicBezTo>
                    <a:cubicBezTo>
                      <a:pt x="3776" y="198"/>
                      <a:pt x="3776" y="198"/>
                      <a:pt x="3776" y="198"/>
                    </a:cubicBezTo>
                    <a:cubicBezTo>
                      <a:pt x="3819" y="243"/>
                      <a:pt x="3819" y="243"/>
                      <a:pt x="3819" y="243"/>
                    </a:cubicBezTo>
                    <a:cubicBezTo>
                      <a:pt x="3856" y="212"/>
                      <a:pt x="3856" y="212"/>
                      <a:pt x="3856" y="212"/>
                    </a:cubicBezTo>
                    <a:cubicBezTo>
                      <a:pt x="3865" y="204"/>
                      <a:pt x="3865" y="204"/>
                      <a:pt x="3865" y="204"/>
                    </a:cubicBezTo>
                    <a:cubicBezTo>
                      <a:pt x="3874" y="213"/>
                      <a:pt x="3874" y="213"/>
                      <a:pt x="3874" y="213"/>
                    </a:cubicBezTo>
                    <a:lnTo>
                      <a:pt x="3883" y="221"/>
                    </a:lnTo>
                    <a:close/>
                    <a:moveTo>
                      <a:pt x="4" y="5895"/>
                    </a:moveTo>
                    <a:cubicBezTo>
                      <a:pt x="4" y="5966"/>
                      <a:pt x="4" y="5966"/>
                      <a:pt x="4" y="5966"/>
                    </a:cubicBezTo>
                    <a:cubicBezTo>
                      <a:pt x="6" y="5953"/>
                      <a:pt x="7" y="5941"/>
                      <a:pt x="7" y="5929"/>
                    </a:cubicBezTo>
                    <a:cubicBezTo>
                      <a:pt x="7" y="5917"/>
                      <a:pt x="6" y="5906"/>
                      <a:pt x="4" y="5895"/>
                    </a:cubicBezTo>
                    <a:close/>
                    <a:moveTo>
                      <a:pt x="4" y="6330"/>
                    </a:moveTo>
                    <a:cubicBezTo>
                      <a:pt x="69" y="6362"/>
                      <a:pt x="69" y="6362"/>
                      <a:pt x="69" y="6362"/>
                    </a:cubicBezTo>
                    <a:cubicBezTo>
                      <a:pt x="47" y="6406"/>
                      <a:pt x="47" y="6406"/>
                      <a:pt x="47" y="6406"/>
                    </a:cubicBezTo>
                    <a:cubicBezTo>
                      <a:pt x="4" y="6385"/>
                      <a:pt x="4" y="6385"/>
                      <a:pt x="4" y="6385"/>
                    </a:cubicBezTo>
                    <a:cubicBezTo>
                      <a:pt x="4" y="6400"/>
                      <a:pt x="4" y="6400"/>
                      <a:pt x="4" y="6400"/>
                    </a:cubicBezTo>
                    <a:cubicBezTo>
                      <a:pt x="47" y="6421"/>
                      <a:pt x="47" y="6421"/>
                      <a:pt x="47" y="6421"/>
                    </a:cubicBezTo>
                    <a:cubicBezTo>
                      <a:pt x="52" y="6424"/>
                      <a:pt x="52" y="6424"/>
                      <a:pt x="52" y="6424"/>
                    </a:cubicBezTo>
                    <a:cubicBezTo>
                      <a:pt x="86" y="6356"/>
                      <a:pt x="86" y="6356"/>
                      <a:pt x="86" y="6356"/>
                    </a:cubicBezTo>
                    <a:cubicBezTo>
                      <a:pt x="4" y="6315"/>
                      <a:pt x="4" y="6315"/>
                      <a:pt x="4" y="6315"/>
                    </a:cubicBezTo>
                    <a:lnTo>
                      <a:pt x="4" y="6330"/>
                    </a:lnTo>
                    <a:close/>
                    <a:moveTo>
                      <a:pt x="3573" y="402"/>
                    </a:moveTo>
                    <a:cubicBezTo>
                      <a:pt x="3570" y="401"/>
                      <a:pt x="3592" y="398"/>
                      <a:pt x="3592" y="398"/>
                    </a:cubicBezTo>
                    <a:cubicBezTo>
                      <a:pt x="3578" y="321"/>
                      <a:pt x="3578" y="321"/>
                      <a:pt x="3578" y="321"/>
                    </a:cubicBezTo>
                    <a:cubicBezTo>
                      <a:pt x="3660" y="305"/>
                      <a:pt x="3660" y="305"/>
                      <a:pt x="3660" y="305"/>
                    </a:cubicBezTo>
                    <a:cubicBezTo>
                      <a:pt x="3677" y="384"/>
                      <a:pt x="3677" y="384"/>
                      <a:pt x="3677" y="384"/>
                    </a:cubicBezTo>
                    <a:cubicBezTo>
                      <a:pt x="3751" y="371"/>
                      <a:pt x="3751" y="371"/>
                      <a:pt x="3751" y="371"/>
                    </a:cubicBezTo>
                    <a:cubicBezTo>
                      <a:pt x="3765" y="456"/>
                      <a:pt x="3765" y="456"/>
                      <a:pt x="3765" y="456"/>
                    </a:cubicBezTo>
                    <a:cubicBezTo>
                      <a:pt x="3589" y="482"/>
                      <a:pt x="3589" y="482"/>
                      <a:pt x="3589" y="482"/>
                    </a:cubicBezTo>
                    <a:cubicBezTo>
                      <a:pt x="3589" y="482"/>
                      <a:pt x="3575" y="403"/>
                      <a:pt x="3573" y="402"/>
                    </a:cubicBezTo>
                    <a:close/>
                    <a:moveTo>
                      <a:pt x="3590" y="412"/>
                    </a:moveTo>
                    <a:cubicBezTo>
                      <a:pt x="3592" y="423"/>
                      <a:pt x="3595" y="440"/>
                      <a:pt x="3600" y="467"/>
                    </a:cubicBezTo>
                    <a:cubicBezTo>
                      <a:pt x="3749" y="444"/>
                      <a:pt x="3749" y="444"/>
                      <a:pt x="3749" y="444"/>
                    </a:cubicBezTo>
                    <a:cubicBezTo>
                      <a:pt x="3740" y="388"/>
                      <a:pt x="3740" y="388"/>
                      <a:pt x="3740" y="388"/>
                    </a:cubicBezTo>
                    <a:cubicBezTo>
                      <a:pt x="3679" y="398"/>
                      <a:pt x="3679" y="398"/>
                      <a:pt x="3679" y="398"/>
                    </a:cubicBezTo>
                    <a:cubicBezTo>
                      <a:pt x="3666" y="400"/>
                      <a:pt x="3666" y="400"/>
                      <a:pt x="3666" y="400"/>
                    </a:cubicBezTo>
                    <a:cubicBezTo>
                      <a:pt x="3663" y="387"/>
                      <a:pt x="3663" y="387"/>
                      <a:pt x="3663" y="387"/>
                    </a:cubicBezTo>
                    <a:cubicBezTo>
                      <a:pt x="3649" y="321"/>
                      <a:pt x="3649" y="321"/>
                      <a:pt x="3649" y="321"/>
                    </a:cubicBezTo>
                    <a:cubicBezTo>
                      <a:pt x="3595" y="332"/>
                      <a:pt x="3595" y="332"/>
                      <a:pt x="3595" y="332"/>
                    </a:cubicBezTo>
                    <a:cubicBezTo>
                      <a:pt x="3606" y="395"/>
                      <a:pt x="3606" y="395"/>
                      <a:pt x="3606" y="395"/>
                    </a:cubicBezTo>
                    <a:cubicBezTo>
                      <a:pt x="3608" y="409"/>
                      <a:pt x="3608" y="409"/>
                      <a:pt x="3608" y="409"/>
                    </a:cubicBezTo>
                    <a:cubicBezTo>
                      <a:pt x="3594" y="412"/>
                      <a:pt x="3594" y="412"/>
                      <a:pt x="3594" y="412"/>
                    </a:cubicBezTo>
                    <a:cubicBezTo>
                      <a:pt x="3593" y="412"/>
                      <a:pt x="3591" y="412"/>
                      <a:pt x="3590" y="412"/>
                    </a:cubicBezTo>
                    <a:close/>
                    <a:moveTo>
                      <a:pt x="916" y="9232"/>
                    </a:moveTo>
                    <a:cubicBezTo>
                      <a:pt x="873" y="8987"/>
                      <a:pt x="873" y="8987"/>
                      <a:pt x="873" y="8987"/>
                    </a:cubicBezTo>
                    <a:cubicBezTo>
                      <a:pt x="940" y="8728"/>
                      <a:pt x="940" y="8728"/>
                      <a:pt x="940" y="8728"/>
                    </a:cubicBezTo>
                    <a:cubicBezTo>
                      <a:pt x="1099" y="8756"/>
                      <a:pt x="1099" y="8756"/>
                      <a:pt x="1099" y="8756"/>
                    </a:cubicBezTo>
                    <a:cubicBezTo>
                      <a:pt x="1068" y="8913"/>
                      <a:pt x="1068" y="8913"/>
                      <a:pt x="1068" y="8913"/>
                    </a:cubicBezTo>
                    <a:cubicBezTo>
                      <a:pt x="1139" y="8962"/>
                      <a:pt x="1139" y="8962"/>
                      <a:pt x="1139" y="8962"/>
                    </a:cubicBezTo>
                    <a:cubicBezTo>
                      <a:pt x="1243" y="8839"/>
                      <a:pt x="1243" y="8839"/>
                      <a:pt x="1243" y="8839"/>
                    </a:cubicBezTo>
                    <a:cubicBezTo>
                      <a:pt x="1332" y="8880"/>
                      <a:pt x="1332" y="8880"/>
                      <a:pt x="1332" y="8880"/>
                    </a:cubicBezTo>
                    <a:cubicBezTo>
                      <a:pt x="1385" y="8812"/>
                      <a:pt x="1385" y="8812"/>
                      <a:pt x="1385" y="8812"/>
                    </a:cubicBezTo>
                    <a:cubicBezTo>
                      <a:pt x="1480" y="8894"/>
                      <a:pt x="1480" y="8894"/>
                      <a:pt x="1480" y="8894"/>
                    </a:cubicBezTo>
                    <a:cubicBezTo>
                      <a:pt x="1476" y="8900"/>
                      <a:pt x="1476" y="8900"/>
                      <a:pt x="1476" y="8900"/>
                    </a:cubicBezTo>
                    <a:cubicBezTo>
                      <a:pt x="1313" y="9108"/>
                      <a:pt x="1313" y="9108"/>
                      <a:pt x="1313" y="9108"/>
                    </a:cubicBezTo>
                    <a:cubicBezTo>
                      <a:pt x="1216" y="9053"/>
                      <a:pt x="1216" y="9053"/>
                      <a:pt x="1216" y="9053"/>
                    </a:cubicBezTo>
                    <a:cubicBezTo>
                      <a:pt x="1111" y="9219"/>
                      <a:pt x="1111" y="9219"/>
                      <a:pt x="1111" y="9219"/>
                    </a:cubicBezTo>
                    <a:lnTo>
                      <a:pt x="916" y="9232"/>
                    </a:lnTo>
                    <a:close/>
                    <a:moveTo>
                      <a:pt x="888" y="8988"/>
                    </a:moveTo>
                    <a:cubicBezTo>
                      <a:pt x="928" y="9216"/>
                      <a:pt x="928" y="9216"/>
                      <a:pt x="928" y="9216"/>
                    </a:cubicBezTo>
                    <a:cubicBezTo>
                      <a:pt x="1103" y="9205"/>
                      <a:pt x="1103" y="9205"/>
                      <a:pt x="1103" y="9205"/>
                    </a:cubicBezTo>
                    <a:cubicBezTo>
                      <a:pt x="1211" y="9034"/>
                      <a:pt x="1211" y="9034"/>
                      <a:pt x="1211" y="9034"/>
                    </a:cubicBezTo>
                    <a:cubicBezTo>
                      <a:pt x="1310" y="9089"/>
                      <a:pt x="1310" y="9089"/>
                      <a:pt x="1310" y="9089"/>
                    </a:cubicBezTo>
                    <a:cubicBezTo>
                      <a:pt x="1460" y="8896"/>
                      <a:pt x="1460" y="8896"/>
                      <a:pt x="1460" y="8896"/>
                    </a:cubicBezTo>
                    <a:cubicBezTo>
                      <a:pt x="1387" y="8833"/>
                      <a:pt x="1387" y="8833"/>
                      <a:pt x="1387" y="8833"/>
                    </a:cubicBezTo>
                    <a:cubicBezTo>
                      <a:pt x="1336" y="8898"/>
                      <a:pt x="1336" y="8898"/>
                      <a:pt x="1336" y="8898"/>
                    </a:cubicBezTo>
                    <a:cubicBezTo>
                      <a:pt x="1247" y="8857"/>
                      <a:pt x="1247" y="8857"/>
                      <a:pt x="1247" y="8857"/>
                    </a:cubicBezTo>
                    <a:cubicBezTo>
                      <a:pt x="1142" y="8982"/>
                      <a:pt x="1142" y="8982"/>
                      <a:pt x="1142" y="8982"/>
                    </a:cubicBezTo>
                    <a:cubicBezTo>
                      <a:pt x="1052" y="8920"/>
                      <a:pt x="1052" y="8920"/>
                      <a:pt x="1052" y="8920"/>
                    </a:cubicBezTo>
                    <a:cubicBezTo>
                      <a:pt x="1082" y="8768"/>
                      <a:pt x="1082" y="8768"/>
                      <a:pt x="1082" y="8768"/>
                    </a:cubicBezTo>
                    <a:cubicBezTo>
                      <a:pt x="951" y="8745"/>
                      <a:pt x="951" y="8745"/>
                      <a:pt x="951" y="8745"/>
                    </a:cubicBezTo>
                    <a:lnTo>
                      <a:pt x="888" y="8988"/>
                    </a:lnTo>
                    <a:close/>
                    <a:moveTo>
                      <a:pt x="1167" y="432"/>
                    </a:moveTo>
                    <a:cubicBezTo>
                      <a:pt x="1046" y="324"/>
                      <a:pt x="1046" y="324"/>
                      <a:pt x="1046" y="324"/>
                    </a:cubicBezTo>
                    <a:cubicBezTo>
                      <a:pt x="1039" y="318"/>
                      <a:pt x="1039" y="318"/>
                      <a:pt x="1039" y="318"/>
                    </a:cubicBezTo>
                    <a:cubicBezTo>
                      <a:pt x="1042" y="309"/>
                      <a:pt x="1042" y="309"/>
                      <a:pt x="1042" y="309"/>
                    </a:cubicBezTo>
                    <a:cubicBezTo>
                      <a:pt x="1058" y="259"/>
                      <a:pt x="1058" y="259"/>
                      <a:pt x="1058" y="259"/>
                    </a:cubicBezTo>
                    <a:cubicBezTo>
                      <a:pt x="1064" y="239"/>
                      <a:pt x="1064" y="239"/>
                      <a:pt x="1064" y="239"/>
                    </a:cubicBezTo>
                    <a:cubicBezTo>
                      <a:pt x="1080" y="253"/>
                      <a:pt x="1080" y="253"/>
                      <a:pt x="1080" y="253"/>
                    </a:cubicBezTo>
                    <a:cubicBezTo>
                      <a:pt x="1204" y="362"/>
                      <a:pt x="1204" y="362"/>
                      <a:pt x="1204" y="362"/>
                    </a:cubicBezTo>
                    <a:cubicBezTo>
                      <a:pt x="1212" y="368"/>
                      <a:pt x="1212" y="368"/>
                      <a:pt x="1212" y="368"/>
                    </a:cubicBezTo>
                    <a:cubicBezTo>
                      <a:pt x="1208" y="377"/>
                      <a:pt x="1208" y="377"/>
                      <a:pt x="1208" y="377"/>
                    </a:cubicBezTo>
                    <a:cubicBezTo>
                      <a:pt x="1189" y="427"/>
                      <a:pt x="1189" y="427"/>
                      <a:pt x="1189" y="427"/>
                    </a:cubicBezTo>
                    <a:cubicBezTo>
                      <a:pt x="1182" y="445"/>
                      <a:pt x="1182" y="445"/>
                      <a:pt x="1182" y="445"/>
                    </a:cubicBezTo>
                    <a:lnTo>
                      <a:pt x="1167" y="432"/>
                    </a:lnTo>
                    <a:close/>
                    <a:moveTo>
                      <a:pt x="1055" y="313"/>
                    </a:moveTo>
                    <a:cubicBezTo>
                      <a:pt x="1176" y="421"/>
                      <a:pt x="1176" y="421"/>
                      <a:pt x="1176" y="421"/>
                    </a:cubicBezTo>
                    <a:cubicBezTo>
                      <a:pt x="1195" y="372"/>
                      <a:pt x="1195" y="372"/>
                      <a:pt x="1195" y="372"/>
                    </a:cubicBezTo>
                    <a:cubicBezTo>
                      <a:pt x="1071" y="264"/>
                      <a:pt x="1071" y="264"/>
                      <a:pt x="1071" y="264"/>
                    </a:cubicBezTo>
                    <a:lnTo>
                      <a:pt x="1055" y="313"/>
                    </a:lnTo>
                    <a:close/>
                    <a:moveTo>
                      <a:pt x="8366" y="10514"/>
                    </a:moveTo>
                    <a:cubicBezTo>
                      <a:pt x="8461" y="10515"/>
                      <a:pt x="8461" y="10515"/>
                      <a:pt x="8461" y="10515"/>
                    </a:cubicBezTo>
                    <a:cubicBezTo>
                      <a:pt x="8461" y="10610"/>
                      <a:pt x="8461" y="10610"/>
                      <a:pt x="8461" y="10610"/>
                    </a:cubicBezTo>
                    <a:cubicBezTo>
                      <a:pt x="8454" y="10610"/>
                      <a:pt x="8454" y="10610"/>
                      <a:pt x="8454" y="10610"/>
                    </a:cubicBezTo>
                    <a:cubicBezTo>
                      <a:pt x="8366" y="10609"/>
                      <a:pt x="8366" y="10609"/>
                      <a:pt x="8366" y="10609"/>
                    </a:cubicBezTo>
                    <a:lnTo>
                      <a:pt x="8366" y="10514"/>
                    </a:lnTo>
                    <a:close/>
                    <a:moveTo>
                      <a:pt x="8379" y="10596"/>
                    </a:moveTo>
                    <a:cubicBezTo>
                      <a:pt x="8448" y="10597"/>
                      <a:pt x="8448" y="10597"/>
                      <a:pt x="8448" y="10597"/>
                    </a:cubicBezTo>
                    <a:cubicBezTo>
                      <a:pt x="8448" y="10528"/>
                      <a:pt x="8448" y="10528"/>
                      <a:pt x="8448" y="10528"/>
                    </a:cubicBezTo>
                    <a:cubicBezTo>
                      <a:pt x="8379" y="10527"/>
                      <a:pt x="8379" y="10527"/>
                      <a:pt x="8379" y="10527"/>
                    </a:cubicBezTo>
                    <a:lnTo>
                      <a:pt x="8379" y="10596"/>
                    </a:lnTo>
                    <a:close/>
                    <a:moveTo>
                      <a:pt x="6390" y="95"/>
                    </a:moveTo>
                    <a:cubicBezTo>
                      <a:pt x="6415" y="0"/>
                      <a:pt x="6415" y="0"/>
                      <a:pt x="6415" y="0"/>
                    </a:cubicBezTo>
                    <a:cubicBezTo>
                      <a:pt x="6400" y="0"/>
                      <a:pt x="6400" y="0"/>
                      <a:pt x="6400" y="0"/>
                    </a:cubicBezTo>
                    <a:cubicBezTo>
                      <a:pt x="6377" y="92"/>
                      <a:pt x="6377" y="92"/>
                      <a:pt x="6377" y="92"/>
                    </a:cubicBezTo>
                    <a:lnTo>
                      <a:pt x="6390" y="95"/>
                    </a:lnTo>
                    <a:close/>
                    <a:moveTo>
                      <a:pt x="730" y="8383"/>
                    </a:moveTo>
                    <a:cubicBezTo>
                      <a:pt x="675" y="8454"/>
                      <a:pt x="675" y="8454"/>
                      <a:pt x="675" y="8454"/>
                    </a:cubicBezTo>
                    <a:cubicBezTo>
                      <a:pt x="675" y="8454"/>
                      <a:pt x="642" y="8438"/>
                      <a:pt x="613" y="8424"/>
                    </a:cubicBezTo>
                    <a:cubicBezTo>
                      <a:pt x="584" y="8411"/>
                      <a:pt x="574" y="8439"/>
                      <a:pt x="574" y="8439"/>
                    </a:cubicBezTo>
                    <a:cubicBezTo>
                      <a:pt x="505" y="8406"/>
                      <a:pt x="505" y="8406"/>
                      <a:pt x="505" y="8406"/>
                    </a:cubicBezTo>
                    <a:cubicBezTo>
                      <a:pt x="505" y="8406"/>
                      <a:pt x="422" y="8399"/>
                      <a:pt x="422" y="8397"/>
                    </a:cubicBezTo>
                    <a:cubicBezTo>
                      <a:pt x="421" y="8351"/>
                      <a:pt x="307" y="8368"/>
                      <a:pt x="307" y="8368"/>
                    </a:cubicBezTo>
                    <a:cubicBezTo>
                      <a:pt x="299" y="8282"/>
                      <a:pt x="299" y="8282"/>
                      <a:pt x="299" y="8282"/>
                    </a:cubicBezTo>
                    <a:cubicBezTo>
                      <a:pt x="299" y="8282"/>
                      <a:pt x="416" y="8260"/>
                      <a:pt x="537" y="8284"/>
                    </a:cubicBezTo>
                    <a:cubicBezTo>
                      <a:pt x="656" y="8306"/>
                      <a:pt x="730" y="8383"/>
                      <a:pt x="730" y="8383"/>
                    </a:cubicBezTo>
                    <a:close/>
                    <a:moveTo>
                      <a:pt x="711" y="8385"/>
                    </a:moveTo>
                    <a:cubicBezTo>
                      <a:pt x="689" y="8365"/>
                      <a:pt x="625" y="8314"/>
                      <a:pt x="535" y="8297"/>
                    </a:cubicBezTo>
                    <a:cubicBezTo>
                      <a:pt x="498" y="8290"/>
                      <a:pt x="458" y="8287"/>
                      <a:pt x="416" y="8287"/>
                    </a:cubicBezTo>
                    <a:cubicBezTo>
                      <a:pt x="370" y="8287"/>
                      <a:pt x="333" y="8291"/>
                      <a:pt x="314" y="8294"/>
                    </a:cubicBezTo>
                    <a:cubicBezTo>
                      <a:pt x="320" y="8352"/>
                      <a:pt x="320" y="8352"/>
                      <a:pt x="320" y="8352"/>
                    </a:cubicBezTo>
                    <a:cubicBezTo>
                      <a:pt x="328" y="8352"/>
                      <a:pt x="339" y="8351"/>
                      <a:pt x="352" y="8351"/>
                    </a:cubicBezTo>
                    <a:cubicBezTo>
                      <a:pt x="408" y="8351"/>
                      <a:pt x="428" y="8367"/>
                      <a:pt x="434" y="8385"/>
                    </a:cubicBezTo>
                    <a:cubicBezTo>
                      <a:pt x="448" y="8387"/>
                      <a:pt x="478" y="8389"/>
                      <a:pt x="506" y="8392"/>
                    </a:cubicBezTo>
                    <a:cubicBezTo>
                      <a:pt x="509" y="8392"/>
                      <a:pt x="509" y="8392"/>
                      <a:pt x="509" y="8392"/>
                    </a:cubicBezTo>
                    <a:cubicBezTo>
                      <a:pt x="511" y="8393"/>
                      <a:pt x="511" y="8393"/>
                      <a:pt x="511" y="8393"/>
                    </a:cubicBezTo>
                    <a:cubicBezTo>
                      <a:pt x="569" y="8421"/>
                      <a:pt x="569" y="8421"/>
                      <a:pt x="569" y="8421"/>
                    </a:cubicBezTo>
                    <a:cubicBezTo>
                      <a:pt x="575" y="8413"/>
                      <a:pt x="585" y="8407"/>
                      <a:pt x="598" y="8407"/>
                    </a:cubicBezTo>
                    <a:cubicBezTo>
                      <a:pt x="605" y="8407"/>
                      <a:pt x="612" y="8408"/>
                      <a:pt x="619" y="8411"/>
                    </a:cubicBezTo>
                    <a:cubicBezTo>
                      <a:pt x="638" y="8420"/>
                      <a:pt x="659" y="8431"/>
                      <a:pt x="671" y="8436"/>
                    </a:cubicBezTo>
                    <a:lnTo>
                      <a:pt x="711" y="8385"/>
                    </a:lnTo>
                    <a:close/>
                    <a:moveTo>
                      <a:pt x="5509" y="0"/>
                    </a:moveTo>
                    <a:cubicBezTo>
                      <a:pt x="5625" y="0"/>
                      <a:pt x="5625" y="0"/>
                      <a:pt x="5625" y="0"/>
                    </a:cubicBezTo>
                    <a:cubicBezTo>
                      <a:pt x="5661" y="4"/>
                      <a:pt x="5661" y="4"/>
                      <a:pt x="5661" y="4"/>
                    </a:cubicBezTo>
                    <a:cubicBezTo>
                      <a:pt x="5652" y="79"/>
                      <a:pt x="5652" y="79"/>
                      <a:pt x="5652" y="79"/>
                    </a:cubicBezTo>
                    <a:cubicBezTo>
                      <a:pt x="5646" y="79"/>
                      <a:pt x="5646" y="79"/>
                      <a:pt x="5646" y="79"/>
                    </a:cubicBezTo>
                    <a:cubicBezTo>
                      <a:pt x="5502" y="61"/>
                      <a:pt x="5502" y="61"/>
                      <a:pt x="5502" y="61"/>
                    </a:cubicBezTo>
                    <a:lnTo>
                      <a:pt x="5509" y="0"/>
                    </a:lnTo>
                    <a:close/>
                    <a:moveTo>
                      <a:pt x="5522" y="0"/>
                    </a:moveTo>
                    <a:cubicBezTo>
                      <a:pt x="5516" y="50"/>
                      <a:pt x="5516" y="50"/>
                      <a:pt x="5516" y="50"/>
                    </a:cubicBezTo>
                    <a:cubicBezTo>
                      <a:pt x="5641" y="65"/>
                      <a:pt x="5641" y="65"/>
                      <a:pt x="5641" y="65"/>
                    </a:cubicBezTo>
                    <a:cubicBezTo>
                      <a:pt x="5647" y="16"/>
                      <a:pt x="5647" y="16"/>
                      <a:pt x="5647" y="16"/>
                    </a:cubicBezTo>
                    <a:lnTo>
                      <a:pt x="5522" y="0"/>
                    </a:lnTo>
                    <a:close/>
                    <a:moveTo>
                      <a:pt x="1081" y="9064"/>
                    </a:moveTo>
                    <a:cubicBezTo>
                      <a:pt x="972" y="9137"/>
                      <a:pt x="972" y="9137"/>
                      <a:pt x="972" y="9137"/>
                    </a:cubicBezTo>
                    <a:cubicBezTo>
                      <a:pt x="1018" y="8996"/>
                      <a:pt x="1018" y="8996"/>
                      <a:pt x="1018" y="8996"/>
                    </a:cubicBezTo>
                    <a:cubicBezTo>
                      <a:pt x="1089" y="9058"/>
                      <a:pt x="1089" y="9058"/>
                      <a:pt x="1089" y="9058"/>
                    </a:cubicBezTo>
                    <a:lnTo>
                      <a:pt x="1081" y="9064"/>
                    </a:lnTo>
                    <a:close/>
                    <a:moveTo>
                      <a:pt x="1065" y="9057"/>
                    </a:moveTo>
                    <a:cubicBezTo>
                      <a:pt x="1025" y="9022"/>
                      <a:pt x="1025" y="9022"/>
                      <a:pt x="1025" y="9022"/>
                    </a:cubicBezTo>
                    <a:cubicBezTo>
                      <a:pt x="999" y="9101"/>
                      <a:pt x="999" y="9101"/>
                      <a:pt x="999" y="9101"/>
                    </a:cubicBezTo>
                    <a:lnTo>
                      <a:pt x="1065" y="9057"/>
                    </a:lnTo>
                    <a:close/>
                    <a:moveTo>
                      <a:pt x="5778" y="98"/>
                    </a:moveTo>
                    <a:cubicBezTo>
                      <a:pt x="5788" y="23"/>
                      <a:pt x="5788" y="23"/>
                      <a:pt x="5788" y="23"/>
                    </a:cubicBezTo>
                    <a:cubicBezTo>
                      <a:pt x="5938" y="41"/>
                      <a:pt x="5938" y="41"/>
                      <a:pt x="5938" y="41"/>
                    </a:cubicBezTo>
                    <a:cubicBezTo>
                      <a:pt x="5929" y="116"/>
                      <a:pt x="5929" y="116"/>
                      <a:pt x="5929" y="116"/>
                    </a:cubicBezTo>
                    <a:cubicBezTo>
                      <a:pt x="5922" y="116"/>
                      <a:pt x="5922" y="116"/>
                      <a:pt x="5922" y="116"/>
                    </a:cubicBezTo>
                    <a:lnTo>
                      <a:pt x="5778" y="98"/>
                    </a:lnTo>
                    <a:close/>
                    <a:moveTo>
                      <a:pt x="5793" y="86"/>
                    </a:moveTo>
                    <a:cubicBezTo>
                      <a:pt x="5917" y="102"/>
                      <a:pt x="5917" y="102"/>
                      <a:pt x="5917" y="102"/>
                    </a:cubicBezTo>
                    <a:cubicBezTo>
                      <a:pt x="5923" y="53"/>
                      <a:pt x="5923" y="53"/>
                      <a:pt x="5923" y="53"/>
                    </a:cubicBezTo>
                    <a:cubicBezTo>
                      <a:pt x="5799" y="37"/>
                      <a:pt x="5799" y="37"/>
                      <a:pt x="5799" y="37"/>
                    </a:cubicBezTo>
                    <a:lnTo>
                      <a:pt x="5793" y="86"/>
                    </a:lnTo>
                    <a:close/>
                    <a:moveTo>
                      <a:pt x="831" y="7061"/>
                    </a:moveTo>
                    <a:cubicBezTo>
                      <a:pt x="663" y="6954"/>
                      <a:pt x="663" y="6954"/>
                      <a:pt x="663" y="6954"/>
                    </a:cubicBezTo>
                    <a:cubicBezTo>
                      <a:pt x="799" y="6706"/>
                      <a:pt x="799" y="6706"/>
                      <a:pt x="799" y="6706"/>
                    </a:cubicBezTo>
                    <a:cubicBezTo>
                      <a:pt x="1036" y="6854"/>
                      <a:pt x="1036" y="6854"/>
                      <a:pt x="1036" y="6854"/>
                    </a:cubicBezTo>
                    <a:lnTo>
                      <a:pt x="831" y="7061"/>
                    </a:lnTo>
                    <a:close/>
                    <a:moveTo>
                      <a:pt x="829" y="7043"/>
                    </a:moveTo>
                    <a:cubicBezTo>
                      <a:pt x="1014" y="6856"/>
                      <a:pt x="1014" y="6856"/>
                      <a:pt x="1014" y="6856"/>
                    </a:cubicBezTo>
                    <a:cubicBezTo>
                      <a:pt x="804" y="6726"/>
                      <a:pt x="804" y="6726"/>
                      <a:pt x="804" y="6726"/>
                    </a:cubicBezTo>
                    <a:cubicBezTo>
                      <a:pt x="682" y="6949"/>
                      <a:pt x="682" y="6949"/>
                      <a:pt x="682" y="6949"/>
                    </a:cubicBezTo>
                    <a:lnTo>
                      <a:pt x="829" y="7043"/>
                    </a:lnTo>
                    <a:close/>
                    <a:moveTo>
                      <a:pt x="1733" y="405"/>
                    </a:moveTo>
                    <a:cubicBezTo>
                      <a:pt x="1730" y="405"/>
                      <a:pt x="1764" y="307"/>
                      <a:pt x="1764" y="307"/>
                    </a:cubicBezTo>
                    <a:cubicBezTo>
                      <a:pt x="1825" y="378"/>
                      <a:pt x="1825" y="378"/>
                      <a:pt x="1825" y="378"/>
                    </a:cubicBezTo>
                    <a:cubicBezTo>
                      <a:pt x="1813" y="544"/>
                      <a:pt x="1813" y="544"/>
                      <a:pt x="1813" y="544"/>
                    </a:cubicBezTo>
                    <a:cubicBezTo>
                      <a:pt x="1733" y="538"/>
                      <a:pt x="1733" y="538"/>
                      <a:pt x="1733" y="538"/>
                    </a:cubicBezTo>
                    <a:cubicBezTo>
                      <a:pt x="1741" y="476"/>
                      <a:pt x="1741" y="476"/>
                      <a:pt x="1741" y="476"/>
                    </a:cubicBezTo>
                    <a:cubicBezTo>
                      <a:pt x="1741" y="476"/>
                      <a:pt x="1765" y="436"/>
                      <a:pt x="1762" y="436"/>
                    </a:cubicBezTo>
                    <a:cubicBezTo>
                      <a:pt x="1759" y="436"/>
                      <a:pt x="1736" y="405"/>
                      <a:pt x="1733" y="405"/>
                    </a:cubicBezTo>
                    <a:close/>
                    <a:moveTo>
                      <a:pt x="1748" y="400"/>
                    </a:moveTo>
                    <a:cubicBezTo>
                      <a:pt x="1751" y="403"/>
                      <a:pt x="1754" y="407"/>
                      <a:pt x="1758" y="411"/>
                    </a:cubicBezTo>
                    <a:cubicBezTo>
                      <a:pt x="1761" y="415"/>
                      <a:pt x="1764" y="419"/>
                      <a:pt x="1767" y="422"/>
                    </a:cubicBezTo>
                    <a:cubicBezTo>
                      <a:pt x="1770" y="422"/>
                      <a:pt x="1770" y="422"/>
                      <a:pt x="1770" y="422"/>
                    </a:cubicBezTo>
                    <a:cubicBezTo>
                      <a:pt x="1774" y="429"/>
                      <a:pt x="1774" y="429"/>
                      <a:pt x="1774" y="429"/>
                    </a:cubicBezTo>
                    <a:cubicBezTo>
                      <a:pt x="1778" y="436"/>
                      <a:pt x="1779" y="438"/>
                      <a:pt x="1755" y="480"/>
                    </a:cubicBezTo>
                    <a:cubicBezTo>
                      <a:pt x="1749" y="526"/>
                      <a:pt x="1749" y="526"/>
                      <a:pt x="1749" y="526"/>
                    </a:cubicBezTo>
                    <a:cubicBezTo>
                      <a:pt x="1800" y="529"/>
                      <a:pt x="1800" y="529"/>
                      <a:pt x="1800" y="529"/>
                    </a:cubicBezTo>
                    <a:cubicBezTo>
                      <a:pt x="1811" y="383"/>
                      <a:pt x="1811" y="383"/>
                      <a:pt x="1811" y="383"/>
                    </a:cubicBezTo>
                    <a:cubicBezTo>
                      <a:pt x="1769" y="334"/>
                      <a:pt x="1769" y="334"/>
                      <a:pt x="1769" y="334"/>
                    </a:cubicBezTo>
                    <a:cubicBezTo>
                      <a:pt x="1760" y="362"/>
                      <a:pt x="1751" y="388"/>
                      <a:pt x="1748" y="400"/>
                    </a:cubicBezTo>
                    <a:close/>
                    <a:moveTo>
                      <a:pt x="929" y="6866"/>
                    </a:moveTo>
                    <a:cubicBezTo>
                      <a:pt x="911" y="6878"/>
                      <a:pt x="911" y="6878"/>
                      <a:pt x="911" y="6878"/>
                    </a:cubicBezTo>
                    <a:cubicBezTo>
                      <a:pt x="785" y="6962"/>
                      <a:pt x="785" y="6962"/>
                      <a:pt x="785" y="6962"/>
                    </a:cubicBezTo>
                    <a:cubicBezTo>
                      <a:pt x="780" y="6966"/>
                      <a:pt x="780" y="6966"/>
                      <a:pt x="780" y="6966"/>
                    </a:cubicBezTo>
                    <a:cubicBezTo>
                      <a:pt x="774" y="6965"/>
                      <a:pt x="774" y="6965"/>
                      <a:pt x="774" y="6965"/>
                    </a:cubicBezTo>
                    <a:cubicBezTo>
                      <a:pt x="747" y="6959"/>
                      <a:pt x="747" y="6959"/>
                      <a:pt x="747" y="6959"/>
                    </a:cubicBezTo>
                    <a:cubicBezTo>
                      <a:pt x="728" y="6956"/>
                      <a:pt x="728" y="6956"/>
                      <a:pt x="728" y="6956"/>
                    </a:cubicBezTo>
                    <a:cubicBezTo>
                      <a:pt x="738" y="6939"/>
                      <a:pt x="738" y="6939"/>
                      <a:pt x="738" y="6939"/>
                    </a:cubicBezTo>
                    <a:cubicBezTo>
                      <a:pt x="813" y="6813"/>
                      <a:pt x="813" y="6813"/>
                      <a:pt x="813" y="6813"/>
                    </a:cubicBezTo>
                    <a:cubicBezTo>
                      <a:pt x="820" y="6801"/>
                      <a:pt x="820" y="6801"/>
                      <a:pt x="820" y="6801"/>
                    </a:cubicBezTo>
                    <a:cubicBezTo>
                      <a:pt x="832" y="6808"/>
                      <a:pt x="832" y="6808"/>
                      <a:pt x="832" y="6808"/>
                    </a:cubicBezTo>
                    <a:cubicBezTo>
                      <a:pt x="910" y="6855"/>
                      <a:pt x="910" y="6855"/>
                      <a:pt x="910" y="6855"/>
                    </a:cubicBezTo>
                    <a:lnTo>
                      <a:pt x="929" y="6866"/>
                    </a:lnTo>
                    <a:close/>
                    <a:moveTo>
                      <a:pt x="903" y="6867"/>
                    </a:moveTo>
                    <a:cubicBezTo>
                      <a:pt x="825" y="6820"/>
                      <a:pt x="825" y="6820"/>
                      <a:pt x="825" y="6820"/>
                    </a:cubicBezTo>
                    <a:cubicBezTo>
                      <a:pt x="750" y="6946"/>
                      <a:pt x="750" y="6946"/>
                      <a:pt x="750" y="6946"/>
                    </a:cubicBezTo>
                    <a:cubicBezTo>
                      <a:pt x="777" y="6951"/>
                      <a:pt x="777" y="6951"/>
                      <a:pt x="777" y="6951"/>
                    </a:cubicBezTo>
                    <a:lnTo>
                      <a:pt x="903" y="6867"/>
                    </a:lnTo>
                    <a:close/>
                    <a:moveTo>
                      <a:pt x="4701" y="74"/>
                    </a:moveTo>
                    <a:cubicBezTo>
                      <a:pt x="4715" y="0"/>
                      <a:pt x="4715" y="0"/>
                      <a:pt x="4715" y="0"/>
                    </a:cubicBezTo>
                    <a:cubicBezTo>
                      <a:pt x="4702" y="0"/>
                      <a:pt x="4702" y="0"/>
                      <a:pt x="4702" y="0"/>
                    </a:cubicBezTo>
                    <a:cubicBezTo>
                      <a:pt x="4691" y="59"/>
                      <a:pt x="4691" y="59"/>
                      <a:pt x="4691" y="59"/>
                    </a:cubicBezTo>
                    <a:cubicBezTo>
                      <a:pt x="4562" y="38"/>
                      <a:pt x="4562" y="38"/>
                      <a:pt x="4562" y="38"/>
                    </a:cubicBezTo>
                    <a:cubicBezTo>
                      <a:pt x="4569" y="0"/>
                      <a:pt x="4569" y="0"/>
                      <a:pt x="4569" y="0"/>
                    </a:cubicBezTo>
                    <a:cubicBezTo>
                      <a:pt x="4556" y="0"/>
                      <a:pt x="4556" y="0"/>
                      <a:pt x="4556" y="0"/>
                    </a:cubicBezTo>
                    <a:cubicBezTo>
                      <a:pt x="4547" y="49"/>
                      <a:pt x="4547" y="49"/>
                      <a:pt x="4547" y="49"/>
                    </a:cubicBezTo>
                    <a:lnTo>
                      <a:pt x="4701" y="74"/>
                    </a:lnTo>
                    <a:close/>
                    <a:moveTo>
                      <a:pt x="7330" y="114"/>
                    </a:moveTo>
                    <a:cubicBezTo>
                      <a:pt x="7253" y="80"/>
                      <a:pt x="7253" y="80"/>
                      <a:pt x="7253" y="80"/>
                    </a:cubicBezTo>
                    <a:cubicBezTo>
                      <a:pt x="7283" y="10"/>
                      <a:pt x="7283" y="10"/>
                      <a:pt x="7283" y="10"/>
                    </a:cubicBezTo>
                    <a:cubicBezTo>
                      <a:pt x="7367" y="47"/>
                      <a:pt x="7367" y="47"/>
                      <a:pt x="7367" y="47"/>
                    </a:cubicBezTo>
                    <a:cubicBezTo>
                      <a:pt x="7336" y="116"/>
                      <a:pt x="7336" y="116"/>
                      <a:pt x="7336" y="116"/>
                    </a:cubicBezTo>
                    <a:lnTo>
                      <a:pt x="7330" y="114"/>
                    </a:lnTo>
                    <a:close/>
                    <a:moveTo>
                      <a:pt x="7330" y="99"/>
                    </a:moveTo>
                    <a:cubicBezTo>
                      <a:pt x="7349" y="54"/>
                      <a:pt x="7349" y="54"/>
                      <a:pt x="7349" y="54"/>
                    </a:cubicBezTo>
                    <a:cubicBezTo>
                      <a:pt x="7290" y="27"/>
                      <a:pt x="7290" y="27"/>
                      <a:pt x="7290" y="27"/>
                    </a:cubicBezTo>
                    <a:cubicBezTo>
                      <a:pt x="7270" y="73"/>
                      <a:pt x="7270" y="73"/>
                      <a:pt x="7270" y="73"/>
                    </a:cubicBezTo>
                    <a:lnTo>
                      <a:pt x="7330" y="99"/>
                    </a:lnTo>
                    <a:close/>
                    <a:moveTo>
                      <a:pt x="2103" y="882"/>
                    </a:moveTo>
                    <a:cubicBezTo>
                      <a:pt x="1956" y="824"/>
                      <a:pt x="1956" y="824"/>
                      <a:pt x="1956" y="824"/>
                    </a:cubicBezTo>
                    <a:cubicBezTo>
                      <a:pt x="1993" y="745"/>
                      <a:pt x="1993" y="745"/>
                      <a:pt x="1993" y="745"/>
                    </a:cubicBezTo>
                    <a:cubicBezTo>
                      <a:pt x="2261" y="656"/>
                      <a:pt x="2261" y="656"/>
                      <a:pt x="2261" y="656"/>
                    </a:cubicBezTo>
                    <a:cubicBezTo>
                      <a:pt x="2287" y="558"/>
                      <a:pt x="2287" y="558"/>
                      <a:pt x="2287" y="558"/>
                    </a:cubicBezTo>
                    <a:cubicBezTo>
                      <a:pt x="2323" y="554"/>
                      <a:pt x="2323" y="554"/>
                      <a:pt x="2323" y="554"/>
                    </a:cubicBezTo>
                    <a:cubicBezTo>
                      <a:pt x="2383" y="450"/>
                      <a:pt x="2383" y="450"/>
                      <a:pt x="2383" y="450"/>
                    </a:cubicBezTo>
                    <a:cubicBezTo>
                      <a:pt x="2356" y="422"/>
                      <a:pt x="2356" y="422"/>
                      <a:pt x="2356" y="422"/>
                    </a:cubicBezTo>
                    <a:cubicBezTo>
                      <a:pt x="2429" y="203"/>
                      <a:pt x="2429" y="203"/>
                      <a:pt x="2429" y="203"/>
                    </a:cubicBezTo>
                    <a:cubicBezTo>
                      <a:pt x="2599" y="312"/>
                      <a:pt x="2599" y="312"/>
                      <a:pt x="2599" y="312"/>
                    </a:cubicBezTo>
                    <a:cubicBezTo>
                      <a:pt x="2595" y="318"/>
                      <a:pt x="2595" y="318"/>
                      <a:pt x="2595" y="318"/>
                    </a:cubicBezTo>
                    <a:cubicBezTo>
                      <a:pt x="2427" y="605"/>
                      <a:pt x="2427" y="605"/>
                      <a:pt x="2427" y="605"/>
                    </a:cubicBezTo>
                    <a:cubicBezTo>
                      <a:pt x="2382" y="609"/>
                      <a:pt x="2382" y="609"/>
                      <a:pt x="2382" y="609"/>
                    </a:cubicBezTo>
                    <a:cubicBezTo>
                      <a:pt x="2358" y="726"/>
                      <a:pt x="2358" y="726"/>
                      <a:pt x="2358" y="726"/>
                    </a:cubicBezTo>
                    <a:cubicBezTo>
                      <a:pt x="2187" y="807"/>
                      <a:pt x="2187" y="807"/>
                      <a:pt x="2187" y="807"/>
                    </a:cubicBezTo>
                    <a:cubicBezTo>
                      <a:pt x="2158" y="794"/>
                      <a:pt x="2158" y="794"/>
                      <a:pt x="2158" y="794"/>
                    </a:cubicBezTo>
                    <a:lnTo>
                      <a:pt x="2103" y="882"/>
                    </a:lnTo>
                    <a:close/>
                    <a:moveTo>
                      <a:pt x="2097" y="863"/>
                    </a:moveTo>
                    <a:cubicBezTo>
                      <a:pt x="2152" y="775"/>
                      <a:pt x="2152" y="775"/>
                      <a:pt x="2152" y="775"/>
                    </a:cubicBezTo>
                    <a:cubicBezTo>
                      <a:pt x="2186" y="791"/>
                      <a:pt x="2186" y="791"/>
                      <a:pt x="2186" y="791"/>
                    </a:cubicBezTo>
                    <a:cubicBezTo>
                      <a:pt x="2345" y="716"/>
                      <a:pt x="2345" y="716"/>
                      <a:pt x="2345" y="716"/>
                    </a:cubicBezTo>
                    <a:cubicBezTo>
                      <a:pt x="2369" y="595"/>
                      <a:pt x="2369" y="595"/>
                      <a:pt x="2369" y="595"/>
                    </a:cubicBezTo>
                    <a:cubicBezTo>
                      <a:pt x="2418" y="591"/>
                      <a:pt x="2418" y="591"/>
                      <a:pt x="2418" y="591"/>
                    </a:cubicBezTo>
                    <a:cubicBezTo>
                      <a:pt x="2579" y="317"/>
                      <a:pt x="2579" y="317"/>
                      <a:pt x="2579" y="317"/>
                    </a:cubicBezTo>
                    <a:cubicBezTo>
                      <a:pt x="2437" y="225"/>
                      <a:pt x="2437" y="225"/>
                      <a:pt x="2437" y="225"/>
                    </a:cubicBezTo>
                    <a:cubicBezTo>
                      <a:pt x="2373" y="418"/>
                      <a:pt x="2373" y="418"/>
                      <a:pt x="2373" y="418"/>
                    </a:cubicBezTo>
                    <a:cubicBezTo>
                      <a:pt x="2401" y="448"/>
                      <a:pt x="2401" y="448"/>
                      <a:pt x="2401" y="448"/>
                    </a:cubicBezTo>
                    <a:cubicBezTo>
                      <a:pt x="2332" y="568"/>
                      <a:pt x="2332" y="568"/>
                      <a:pt x="2332" y="568"/>
                    </a:cubicBezTo>
                    <a:cubicBezTo>
                      <a:pt x="2298" y="572"/>
                      <a:pt x="2298" y="572"/>
                      <a:pt x="2298" y="572"/>
                    </a:cubicBezTo>
                    <a:cubicBezTo>
                      <a:pt x="2273" y="667"/>
                      <a:pt x="2273" y="667"/>
                      <a:pt x="2273" y="667"/>
                    </a:cubicBezTo>
                    <a:cubicBezTo>
                      <a:pt x="2004" y="757"/>
                      <a:pt x="2004" y="757"/>
                      <a:pt x="2004" y="757"/>
                    </a:cubicBezTo>
                    <a:cubicBezTo>
                      <a:pt x="1976" y="816"/>
                      <a:pt x="1976" y="816"/>
                      <a:pt x="1976" y="816"/>
                    </a:cubicBezTo>
                    <a:lnTo>
                      <a:pt x="2097" y="863"/>
                    </a:lnTo>
                    <a:close/>
                    <a:moveTo>
                      <a:pt x="794" y="9218"/>
                    </a:moveTo>
                    <a:cubicBezTo>
                      <a:pt x="682" y="9227"/>
                      <a:pt x="682" y="9227"/>
                      <a:pt x="682" y="9227"/>
                    </a:cubicBezTo>
                    <a:cubicBezTo>
                      <a:pt x="418" y="8920"/>
                      <a:pt x="418" y="8920"/>
                      <a:pt x="418" y="8920"/>
                    </a:cubicBezTo>
                    <a:cubicBezTo>
                      <a:pt x="432" y="8836"/>
                      <a:pt x="432" y="8836"/>
                      <a:pt x="432" y="8836"/>
                    </a:cubicBezTo>
                    <a:cubicBezTo>
                      <a:pt x="783" y="9014"/>
                      <a:pt x="783" y="9014"/>
                      <a:pt x="783" y="9014"/>
                    </a:cubicBezTo>
                    <a:cubicBezTo>
                      <a:pt x="802" y="9217"/>
                      <a:pt x="802" y="9217"/>
                      <a:pt x="802" y="9217"/>
                    </a:cubicBezTo>
                    <a:lnTo>
                      <a:pt x="794" y="9218"/>
                    </a:lnTo>
                    <a:close/>
                    <a:moveTo>
                      <a:pt x="786" y="9203"/>
                    </a:moveTo>
                    <a:cubicBezTo>
                      <a:pt x="769" y="9024"/>
                      <a:pt x="769" y="9024"/>
                      <a:pt x="769" y="9024"/>
                    </a:cubicBezTo>
                    <a:cubicBezTo>
                      <a:pt x="444" y="8859"/>
                      <a:pt x="444" y="8859"/>
                      <a:pt x="444" y="8859"/>
                    </a:cubicBezTo>
                    <a:cubicBezTo>
                      <a:pt x="434" y="8916"/>
                      <a:pt x="434" y="8916"/>
                      <a:pt x="434" y="8916"/>
                    </a:cubicBezTo>
                    <a:cubicBezTo>
                      <a:pt x="688" y="9211"/>
                      <a:pt x="688" y="9211"/>
                      <a:pt x="688" y="9211"/>
                    </a:cubicBezTo>
                    <a:lnTo>
                      <a:pt x="786" y="9203"/>
                    </a:lnTo>
                    <a:close/>
                    <a:moveTo>
                      <a:pt x="1744" y="791"/>
                    </a:moveTo>
                    <a:cubicBezTo>
                      <a:pt x="1846" y="842"/>
                      <a:pt x="1846" y="842"/>
                      <a:pt x="1846" y="842"/>
                    </a:cubicBezTo>
                    <a:cubicBezTo>
                      <a:pt x="1846" y="842"/>
                      <a:pt x="1832" y="892"/>
                      <a:pt x="1829" y="892"/>
                    </a:cubicBezTo>
                    <a:cubicBezTo>
                      <a:pt x="1826" y="892"/>
                      <a:pt x="2014" y="983"/>
                      <a:pt x="2014" y="983"/>
                    </a:cubicBezTo>
                    <a:cubicBezTo>
                      <a:pt x="2014" y="983"/>
                      <a:pt x="1948" y="1030"/>
                      <a:pt x="1945" y="1030"/>
                    </a:cubicBezTo>
                    <a:cubicBezTo>
                      <a:pt x="1942" y="1030"/>
                      <a:pt x="1697" y="1038"/>
                      <a:pt x="1695" y="1038"/>
                    </a:cubicBezTo>
                    <a:cubicBezTo>
                      <a:pt x="1693" y="1038"/>
                      <a:pt x="1600" y="915"/>
                      <a:pt x="1600" y="915"/>
                    </a:cubicBezTo>
                    <a:lnTo>
                      <a:pt x="1744" y="791"/>
                    </a:lnTo>
                    <a:close/>
                    <a:moveTo>
                      <a:pt x="1746" y="808"/>
                    </a:moveTo>
                    <a:cubicBezTo>
                      <a:pt x="1619" y="918"/>
                      <a:pt x="1619" y="918"/>
                      <a:pt x="1619" y="918"/>
                    </a:cubicBezTo>
                    <a:cubicBezTo>
                      <a:pt x="1648" y="956"/>
                      <a:pt x="1689" y="1009"/>
                      <a:pt x="1701" y="1024"/>
                    </a:cubicBezTo>
                    <a:cubicBezTo>
                      <a:pt x="1716" y="1024"/>
                      <a:pt x="1757" y="1023"/>
                      <a:pt x="1801" y="1021"/>
                    </a:cubicBezTo>
                    <a:cubicBezTo>
                      <a:pt x="1889" y="1018"/>
                      <a:pt x="1930" y="1017"/>
                      <a:pt x="1942" y="1016"/>
                    </a:cubicBezTo>
                    <a:cubicBezTo>
                      <a:pt x="1948" y="1012"/>
                      <a:pt x="1967" y="1000"/>
                      <a:pt x="1987" y="985"/>
                    </a:cubicBezTo>
                    <a:cubicBezTo>
                      <a:pt x="1969" y="977"/>
                      <a:pt x="1942" y="964"/>
                      <a:pt x="1915" y="951"/>
                    </a:cubicBezTo>
                    <a:cubicBezTo>
                      <a:pt x="1813" y="900"/>
                      <a:pt x="1813" y="900"/>
                      <a:pt x="1816" y="889"/>
                    </a:cubicBezTo>
                    <a:cubicBezTo>
                      <a:pt x="1818" y="878"/>
                      <a:pt x="1818" y="878"/>
                      <a:pt x="1818" y="878"/>
                    </a:cubicBezTo>
                    <a:cubicBezTo>
                      <a:pt x="1821" y="878"/>
                      <a:pt x="1821" y="878"/>
                      <a:pt x="1821" y="878"/>
                    </a:cubicBezTo>
                    <a:cubicBezTo>
                      <a:pt x="1823" y="871"/>
                      <a:pt x="1826" y="860"/>
                      <a:pt x="1829" y="849"/>
                    </a:cubicBezTo>
                    <a:lnTo>
                      <a:pt x="1746" y="808"/>
                    </a:lnTo>
                    <a:close/>
                    <a:moveTo>
                      <a:pt x="8268" y="10533"/>
                    </a:moveTo>
                    <a:cubicBezTo>
                      <a:pt x="8269" y="10724"/>
                      <a:pt x="8269" y="10724"/>
                      <a:pt x="8269" y="10724"/>
                    </a:cubicBezTo>
                    <a:cubicBezTo>
                      <a:pt x="8262" y="10724"/>
                      <a:pt x="8262" y="10724"/>
                      <a:pt x="8262" y="10724"/>
                    </a:cubicBezTo>
                    <a:cubicBezTo>
                      <a:pt x="8179" y="10727"/>
                      <a:pt x="8179" y="10727"/>
                      <a:pt x="8179" y="10727"/>
                    </a:cubicBezTo>
                    <a:cubicBezTo>
                      <a:pt x="8179" y="10769"/>
                      <a:pt x="8179" y="10769"/>
                      <a:pt x="8179" y="10769"/>
                    </a:cubicBezTo>
                    <a:cubicBezTo>
                      <a:pt x="8096" y="10768"/>
                      <a:pt x="8096" y="10768"/>
                      <a:pt x="8096" y="10768"/>
                    </a:cubicBezTo>
                    <a:cubicBezTo>
                      <a:pt x="8091" y="10725"/>
                      <a:pt x="8091" y="10725"/>
                      <a:pt x="8091" y="10725"/>
                    </a:cubicBezTo>
                    <a:cubicBezTo>
                      <a:pt x="7956" y="10726"/>
                      <a:pt x="7956" y="10726"/>
                      <a:pt x="7956" y="10726"/>
                    </a:cubicBezTo>
                    <a:cubicBezTo>
                      <a:pt x="7954" y="10670"/>
                      <a:pt x="7954" y="10670"/>
                      <a:pt x="7954" y="10670"/>
                    </a:cubicBezTo>
                    <a:cubicBezTo>
                      <a:pt x="7934" y="10669"/>
                      <a:pt x="7934" y="10669"/>
                      <a:pt x="7934" y="10669"/>
                    </a:cubicBezTo>
                    <a:cubicBezTo>
                      <a:pt x="7928" y="10669"/>
                      <a:pt x="7928" y="10669"/>
                      <a:pt x="7928" y="10669"/>
                    </a:cubicBezTo>
                    <a:cubicBezTo>
                      <a:pt x="7926" y="10601"/>
                      <a:pt x="7926" y="10601"/>
                      <a:pt x="7926" y="10601"/>
                    </a:cubicBezTo>
                    <a:cubicBezTo>
                      <a:pt x="7959" y="10599"/>
                      <a:pt x="7959" y="10599"/>
                      <a:pt x="7959" y="10599"/>
                    </a:cubicBezTo>
                    <a:cubicBezTo>
                      <a:pt x="7956" y="10533"/>
                      <a:pt x="7956" y="10533"/>
                      <a:pt x="7956" y="10533"/>
                    </a:cubicBezTo>
                    <a:cubicBezTo>
                      <a:pt x="8031" y="10532"/>
                      <a:pt x="8031" y="10532"/>
                      <a:pt x="8031" y="10532"/>
                    </a:cubicBezTo>
                    <a:cubicBezTo>
                      <a:pt x="8030" y="10514"/>
                      <a:pt x="8030" y="10514"/>
                      <a:pt x="8030" y="10514"/>
                    </a:cubicBezTo>
                    <a:cubicBezTo>
                      <a:pt x="8030" y="10507"/>
                      <a:pt x="8030" y="10507"/>
                      <a:pt x="8030" y="10507"/>
                    </a:cubicBezTo>
                    <a:cubicBezTo>
                      <a:pt x="8131" y="10503"/>
                      <a:pt x="8131" y="10503"/>
                      <a:pt x="8131" y="10503"/>
                    </a:cubicBezTo>
                    <a:cubicBezTo>
                      <a:pt x="8133" y="10532"/>
                      <a:pt x="8133" y="10532"/>
                      <a:pt x="8133" y="10532"/>
                    </a:cubicBezTo>
                    <a:lnTo>
                      <a:pt x="8268" y="10533"/>
                    </a:lnTo>
                    <a:close/>
                    <a:moveTo>
                      <a:pt x="8256" y="10711"/>
                    </a:moveTo>
                    <a:cubicBezTo>
                      <a:pt x="8255" y="10546"/>
                      <a:pt x="8255" y="10546"/>
                      <a:pt x="8255" y="10546"/>
                    </a:cubicBezTo>
                    <a:cubicBezTo>
                      <a:pt x="8121" y="10545"/>
                      <a:pt x="8121" y="10545"/>
                      <a:pt x="8121" y="10545"/>
                    </a:cubicBezTo>
                    <a:cubicBezTo>
                      <a:pt x="8119" y="10517"/>
                      <a:pt x="8119" y="10517"/>
                      <a:pt x="8119" y="10517"/>
                    </a:cubicBezTo>
                    <a:cubicBezTo>
                      <a:pt x="8044" y="10520"/>
                      <a:pt x="8044" y="10520"/>
                      <a:pt x="8044" y="10520"/>
                    </a:cubicBezTo>
                    <a:cubicBezTo>
                      <a:pt x="8045" y="10539"/>
                      <a:pt x="8045" y="10539"/>
                      <a:pt x="8045" y="10539"/>
                    </a:cubicBezTo>
                    <a:cubicBezTo>
                      <a:pt x="8045" y="10545"/>
                      <a:pt x="8045" y="10545"/>
                      <a:pt x="8045" y="10545"/>
                    </a:cubicBezTo>
                    <a:cubicBezTo>
                      <a:pt x="7970" y="10546"/>
                      <a:pt x="7970" y="10546"/>
                      <a:pt x="7970" y="10546"/>
                    </a:cubicBezTo>
                    <a:cubicBezTo>
                      <a:pt x="7973" y="10611"/>
                      <a:pt x="7973" y="10611"/>
                      <a:pt x="7973" y="10611"/>
                    </a:cubicBezTo>
                    <a:cubicBezTo>
                      <a:pt x="7940" y="10614"/>
                      <a:pt x="7940" y="10614"/>
                      <a:pt x="7940" y="10614"/>
                    </a:cubicBezTo>
                    <a:cubicBezTo>
                      <a:pt x="7941" y="10657"/>
                      <a:pt x="7941" y="10657"/>
                      <a:pt x="7941" y="10657"/>
                    </a:cubicBezTo>
                    <a:cubicBezTo>
                      <a:pt x="7960" y="10658"/>
                      <a:pt x="7960" y="10658"/>
                      <a:pt x="7960" y="10658"/>
                    </a:cubicBezTo>
                    <a:cubicBezTo>
                      <a:pt x="7966" y="10658"/>
                      <a:pt x="7966" y="10658"/>
                      <a:pt x="7966" y="10658"/>
                    </a:cubicBezTo>
                    <a:cubicBezTo>
                      <a:pt x="7969" y="10713"/>
                      <a:pt x="7969" y="10713"/>
                      <a:pt x="7969" y="10713"/>
                    </a:cubicBezTo>
                    <a:cubicBezTo>
                      <a:pt x="8103" y="10712"/>
                      <a:pt x="8103" y="10712"/>
                      <a:pt x="8103" y="10712"/>
                    </a:cubicBezTo>
                    <a:cubicBezTo>
                      <a:pt x="8108" y="10755"/>
                      <a:pt x="8108" y="10755"/>
                      <a:pt x="8108" y="10755"/>
                    </a:cubicBezTo>
                    <a:cubicBezTo>
                      <a:pt x="8166" y="10756"/>
                      <a:pt x="8166" y="10756"/>
                      <a:pt x="8166" y="10756"/>
                    </a:cubicBezTo>
                    <a:cubicBezTo>
                      <a:pt x="8166" y="10714"/>
                      <a:pt x="8166" y="10714"/>
                      <a:pt x="8166" y="10714"/>
                    </a:cubicBezTo>
                    <a:lnTo>
                      <a:pt x="8256" y="10711"/>
                    </a:lnTo>
                    <a:close/>
                    <a:moveTo>
                      <a:pt x="1606" y="533"/>
                    </a:moveTo>
                    <a:cubicBezTo>
                      <a:pt x="1546" y="455"/>
                      <a:pt x="1546" y="455"/>
                      <a:pt x="1546" y="455"/>
                    </a:cubicBezTo>
                    <a:cubicBezTo>
                      <a:pt x="1691" y="240"/>
                      <a:pt x="1691" y="240"/>
                      <a:pt x="1691" y="240"/>
                    </a:cubicBezTo>
                    <a:cubicBezTo>
                      <a:pt x="1730" y="282"/>
                      <a:pt x="1730" y="282"/>
                      <a:pt x="1730" y="282"/>
                    </a:cubicBezTo>
                    <a:cubicBezTo>
                      <a:pt x="1675" y="441"/>
                      <a:pt x="1675" y="441"/>
                      <a:pt x="1675" y="441"/>
                    </a:cubicBezTo>
                    <a:cubicBezTo>
                      <a:pt x="1710" y="476"/>
                      <a:pt x="1710" y="476"/>
                      <a:pt x="1710" y="476"/>
                    </a:cubicBezTo>
                    <a:cubicBezTo>
                      <a:pt x="1701" y="538"/>
                      <a:pt x="1701" y="538"/>
                      <a:pt x="1701" y="538"/>
                    </a:cubicBezTo>
                    <a:lnTo>
                      <a:pt x="1606" y="533"/>
                    </a:lnTo>
                    <a:close/>
                    <a:moveTo>
                      <a:pt x="1564" y="455"/>
                    </a:moveTo>
                    <a:cubicBezTo>
                      <a:pt x="1613" y="520"/>
                      <a:pt x="1613" y="520"/>
                      <a:pt x="1613" y="520"/>
                    </a:cubicBezTo>
                    <a:cubicBezTo>
                      <a:pt x="1689" y="524"/>
                      <a:pt x="1689" y="524"/>
                      <a:pt x="1689" y="524"/>
                    </a:cubicBezTo>
                    <a:cubicBezTo>
                      <a:pt x="1696" y="481"/>
                      <a:pt x="1696" y="481"/>
                      <a:pt x="1696" y="481"/>
                    </a:cubicBezTo>
                    <a:cubicBezTo>
                      <a:pt x="1665" y="451"/>
                      <a:pt x="1665" y="451"/>
                      <a:pt x="1665" y="451"/>
                    </a:cubicBezTo>
                    <a:cubicBezTo>
                      <a:pt x="1658" y="445"/>
                      <a:pt x="1658" y="445"/>
                      <a:pt x="1658" y="445"/>
                    </a:cubicBezTo>
                    <a:cubicBezTo>
                      <a:pt x="1661" y="436"/>
                      <a:pt x="1661" y="436"/>
                      <a:pt x="1661" y="436"/>
                    </a:cubicBezTo>
                    <a:cubicBezTo>
                      <a:pt x="1714" y="285"/>
                      <a:pt x="1714" y="285"/>
                      <a:pt x="1714" y="285"/>
                    </a:cubicBezTo>
                    <a:cubicBezTo>
                      <a:pt x="1693" y="262"/>
                      <a:pt x="1693" y="262"/>
                      <a:pt x="1693" y="262"/>
                    </a:cubicBezTo>
                    <a:lnTo>
                      <a:pt x="1564" y="455"/>
                    </a:lnTo>
                    <a:close/>
                    <a:moveTo>
                      <a:pt x="7111" y="0"/>
                    </a:moveTo>
                    <a:cubicBezTo>
                      <a:pt x="7127" y="0"/>
                      <a:pt x="7127" y="0"/>
                      <a:pt x="7127" y="0"/>
                    </a:cubicBezTo>
                    <a:cubicBezTo>
                      <a:pt x="7197" y="30"/>
                      <a:pt x="7197" y="30"/>
                      <a:pt x="7197" y="30"/>
                    </a:cubicBezTo>
                    <a:cubicBezTo>
                      <a:pt x="7167" y="100"/>
                      <a:pt x="7167" y="100"/>
                      <a:pt x="7167" y="100"/>
                    </a:cubicBezTo>
                    <a:cubicBezTo>
                      <a:pt x="7161" y="97"/>
                      <a:pt x="7161" y="97"/>
                      <a:pt x="7161" y="97"/>
                    </a:cubicBezTo>
                    <a:cubicBezTo>
                      <a:pt x="7083" y="63"/>
                      <a:pt x="7083" y="63"/>
                      <a:pt x="7083" y="63"/>
                    </a:cubicBezTo>
                    <a:lnTo>
                      <a:pt x="7111" y="0"/>
                    </a:lnTo>
                    <a:close/>
                    <a:moveTo>
                      <a:pt x="7180" y="37"/>
                    </a:moveTo>
                    <a:cubicBezTo>
                      <a:pt x="7120" y="11"/>
                      <a:pt x="7120" y="11"/>
                      <a:pt x="7120" y="11"/>
                    </a:cubicBezTo>
                    <a:cubicBezTo>
                      <a:pt x="7101" y="56"/>
                      <a:pt x="7101" y="56"/>
                      <a:pt x="7101" y="56"/>
                    </a:cubicBezTo>
                    <a:cubicBezTo>
                      <a:pt x="7160" y="83"/>
                      <a:pt x="7160" y="83"/>
                      <a:pt x="7160" y="83"/>
                    </a:cubicBezTo>
                    <a:lnTo>
                      <a:pt x="7180" y="37"/>
                    </a:lnTo>
                    <a:close/>
                    <a:moveTo>
                      <a:pt x="8304" y="0"/>
                    </a:moveTo>
                    <a:cubicBezTo>
                      <a:pt x="8336" y="0"/>
                      <a:pt x="8336" y="0"/>
                      <a:pt x="8336" y="0"/>
                    </a:cubicBezTo>
                    <a:cubicBezTo>
                      <a:pt x="8440" y="68"/>
                      <a:pt x="8440" y="68"/>
                      <a:pt x="8440" y="68"/>
                    </a:cubicBezTo>
                    <a:cubicBezTo>
                      <a:pt x="8398" y="131"/>
                      <a:pt x="8398" y="131"/>
                      <a:pt x="8398" y="131"/>
                    </a:cubicBezTo>
                    <a:cubicBezTo>
                      <a:pt x="8272" y="48"/>
                      <a:pt x="8272" y="48"/>
                      <a:pt x="8272" y="48"/>
                    </a:cubicBezTo>
                    <a:lnTo>
                      <a:pt x="8304" y="0"/>
                    </a:lnTo>
                    <a:close/>
                    <a:moveTo>
                      <a:pt x="8422" y="72"/>
                    </a:moveTo>
                    <a:cubicBezTo>
                      <a:pt x="8317" y="3"/>
                      <a:pt x="8317" y="3"/>
                      <a:pt x="8317" y="3"/>
                    </a:cubicBezTo>
                    <a:cubicBezTo>
                      <a:pt x="8290" y="45"/>
                      <a:pt x="8290" y="45"/>
                      <a:pt x="8290" y="45"/>
                    </a:cubicBezTo>
                    <a:cubicBezTo>
                      <a:pt x="8395" y="113"/>
                      <a:pt x="8395" y="113"/>
                      <a:pt x="8395" y="113"/>
                    </a:cubicBezTo>
                    <a:lnTo>
                      <a:pt x="8422" y="72"/>
                    </a:lnTo>
                    <a:close/>
                    <a:moveTo>
                      <a:pt x="481" y="7411"/>
                    </a:moveTo>
                    <a:cubicBezTo>
                      <a:pt x="481" y="7411"/>
                      <a:pt x="481" y="7411"/>
                      <a:pt x="481" y="7411"/>
                    </a:cubicBezTo>
                    <a:cubicBezTo>
                      <a:pt x="481" y="7411"/>
                      <a:pt x="481" y="7411"/>
                      <a:pt x="481" y="7411"/>
                    </a:cubicBezTo>
                    <a:close/>
                    <a:moveTo>
                      <a:pt x="345" y="675"/>
                    </a:moveTo>
                    <a:cubicBezTo>
                      <a:pt x="258" y="630"/>
                      <a:pt x="258" y="630"/>
                      <a:pt x="258" y="630"/>
                    </a:cubicBezTo>
                    <a:cubicBezTo>
                      <a:pt x="369" y="408"/>
                      <a:pt x="369" y="408"/>
                      <a:pt x="369" y="408"/>
                    </a:cubicBezTo>
                    <a:cubicBezTo>
                      <a:pt x="540" y="636"/>
                      <a:pt x="540" y="636"/>
                      <a:pt x="540" y="636"/>
                    </a:cubicBezTo>
                    <a:cubicBezTo>
                      <a:pt x="535" y="641"/>
                      <a:pt x="535" y="641"/>
                      <a:pt x="535" y="641"/>
                    </a:cubicBezTo>
                    <a:cubicBezTo>
                      <a:pt x="492" y="682"/>
                      <a:pt x="492" y="682"/>
                      <a:pt x="492" y="682"/>
                    </a:cubicBezTo>
                    <a:cubicBezTo>
                      <a:pt x="423" y="637"/>
                      <a:pt x="423" y="637"/>
                      <a:pt x="423" y="637"/>
                    </a:cubicBezTo>
                    <a:lnTo>
                      <a:pt x="345" y="675"/>
                    </a:lnTo>
                    <a:close/>
                    <a:moveTo>
                      <a:pt x="278" y="624"/>
                    </a:moveTo>
                    <a:cubicBezTo>
                      <a:pt x="345" y="658"/>
                      <a:pt x="345" y="658"/>
                      <a:pt x="345" y="658"/>
                    </a:cubicBezTo>
                    <a:cubicBezTo>
                      <a:pt x="424" y="620"/>
                      <a:pt x="424" y="620"/>
                      <a:pt x="424" y="620"/>
                    </a:cubicBezTo>
                    <a:cubicBezTo>
                      <a:pt x="490" y="663"/>
                      <a:pt x="490" y="663"/>
                      <a:pt x="490" y="663"/>
                    </a:cubicBezTo>
                    <a:cubicBezTo>
                      <a:pt x="520" y="635"/>
                      <a:pt x="520" y="635"/>
                      <a:pt x="520" y="635"/>
                    </a:cubicBezTo>
                    <a:cubicBezTo>
                      <a:pt x="372" y="436"/>
                      <a:pt x="372" y="436"/>
                      <a:pt x="372" y="436"/>
                    </a:cubicBezTo>
                    <a:lnTo>
                      <a:pt x="278" y="624"/>
                    </a:lnTo>
                    <a:close/>
                    <a:moveTo>
                      <a:pt x="3915" y="9742"/>
                    </a:moveTo>
                    <a:cubicBezTo>
                      <a:pt x="3976" y="9827"/>
                      <a:pt x="3976" y="9827"/>
                      <a:pt x="3976" y="9827"/>
                    </a:cubicBezTo>
                    <a:cubicBezTo>
                      <a:pt x="3855" y="9912"/>
                      <a:pt x="3855" y="9912"/>
                      <a:pt x="3855" y="9912"/>
                    </a:cubicBezTo>
                    <a:cubicBezTo>
                      <a:pt x="3851" y="9907"/>
                      <a:pt x="3851" y="9907"/>
                      <a:pt x="3851" y="9907"/>
                    </a:cubicBezTo>
                    <a:cubicBezTo>
                      <a:pt x="3795" y="9827"/>
                      <a:pt x="3795" y="9827"/>
                      <a:pt x="3795" y="9827"/>
                    </a:cubicBezTo>
                    <a:lnTo>
                      <a:pt x="3915" y="9742"/>
                    </a:lnTo>
                    <a:close/>
                    <a:moveTo>
                      <a:pt x="3958" y="9824"/>
                    </a:moveTo>
                    <a:cubicBezTo>
                      <a:pt x="3912" y="9760"/>
                      <a:pt x="3912" y="9760"/>
                      <a:pt x="3912" y="9760"/>
                    </a:cubicBezTo>
                    <a:cubicBezTo>
                      <a:pt x="3813" y="9830"/>
                      <a:pt x="3813" y="9830"/>
                      <a:pt x="3813" y="9830"/>
                    </a:cubicBezTo>
                    <a:cubicBezTo>
                      <a:pt x="3858" y="9894"/>
                      <a:pt x="3858" y="9894"/>
                      <a:pt x="3858" y="9894"/>
                    </a:cubicBezTo>
                    <a:lnTo>
                      <a:pt x="3958" y="9824"/>
                    </a:lnTo>
                    <a:close/>
                    <a:moveTo>
                      <a:pt x="260" y="899"/>
                    </a:moveTo>
                    <a:cubicBezTo>
                      <a:pt x="236" y="976"/>
                      <a:pt x="236" y="976"/>
                      <a:pt x="236" y="976"/>
                    </a:cubicBezTo>
                    <a:cubicBezTo>
                      <a:pt x="228" y="970"/>
                      <a:pt x="228" y="970"/>
                      <a:pt x="228" y="970"/>
                    </a:cubicBezTo>
                    <a:cubicBezTo>
                      <a:pt x="57" y="849"/>
                      <a:pt x="57" y="849"/>
                      <a:pt x="57" y="849"/>
                    </a:cubicBezTo>
                    <a:cubicBezTo>
                      <a:pt x="150" y="668"/>
                      <a:pt x="150" y="668"/>
                      <a:pt x="150" y="668"/>
                    </a:cubicBezTo>
                    <a:cubicBezTo>
                      <a:pt x="233" y="821"/>
                      <a:pt x="233" y="821"/>
                      <a:pt x="233" y="821"/>
                    </a:cubicBezTo>
                    <a:cubicBezTo>
                      <a:pt x="214" y="881"/>
                      <a:pt x="214" y="881"/>
                      <a:pt x="214" y="881"/>
                    </a:cubicBezTo>
                    <a:lnTo>
                      <a:pt x="260" y="899"/>
                    </a:lnTo>
                    <a:close/>
                    <a:moveTo>
                      <a:pt x="242" y="908"/>
                    </a:moveTo>
                    <a:cubicBezTo>
                      <a:pt x="196" y="890"/>
                      <a:pt x="196" y="890"/>
                      <a:pt x="196" y="890"/>
                    </a:cubicBezTo>
                    <a:cubicBezTo>
                      <a:pt x="217" y="822"/>
                      <a:pt x="217" y="822"/>
                      <a:pt x="217" y="822"/>
                    </a:cubicBezTo>
                    <a:cubicBezTo>
                      <a:pt x="150" y="699"/>
                      <a:pt x="150" y="699"/>
                      <a:pt x="150" y="699"/>
                    </a:cubicBezTo>
                    <a:cubicBezTo>
                      <a:pt x="76" y="844"/>
                      <a:pt x="76" y="844"/>
                      <a:pt x="76" y="844"/>
                    </a:cubicBezTo>
                    <a:cubicBezTo>
                      <a:pt x="228" y="952"/>
                      <a:pt x="228" y="952"/>
                      <a:pt x="228" y="952"/>
                    </a:cubicBezTo>
                    <a:lnTo>
                      <a:pt x="242" y="908"/>
                    </a:lnTo>
                    <a:close/>
                    <a:moveTo>
                      <a:pt x="4" y="9186"/>
                    </a:moveTo>
                    <a:cubicBezTo>
                      <a:pt x="29" y="9236"/>
                      <a:pt x="29" y="9236"/>
                      <a:pt x="29" y="9236"/>
                    </a:cubicBezTo>
                    <a:cubicBezTo>
                      <a:pt x="4" y="9264"/>
                      <a:pt x="4" y="9264"/>
                      <a:pt x="4" y="9264"/>
                    </a:cubicBezTo>
                    <a:cubicBezTo>
                      <a:pt x="4" y="9284"/>
                      <a:pt x="4" y="9284"/>
                      <a:pt x="4" y="9284"/>
                    </a:cubicBezTo>
                    <a:cubicBezTo>
                      <a:pt x="46" y="9239"/>
                      <a:pt x="46" y="9239"/>
                      <a:pt x="46" y="9239"/>
                    </a:cubicBezTo>
                    <a:cubicBezTo>
                      <a:pt x="4" y="9154"/>
                      <a:pt x="4" y="9154"/>
                      <a:pt x="4" y="9154"/>
                    </a:cubicBezTo>
                    <a:lnTo>
                      <a:pt x="4" y="9186"/>
                    </a:lnTo>
                    <a:close/>
                    <a:moveTo>
                      <a:pt x="179" y="7329"/>
                    </a:moveTo>
                    <a:cubicBezTo>
                      <a:pt x="140" y="7302"/>
                      <a:pt x="140" y="7302"/>
                      <a:pt x="140" y="7302"/>
                    </a:cubicBezTo>
                    <a:cubicBezTo>
                      <a:pt x="189" y="7231"/>
                      <a:pt x="189" y="7231"/>
                      <a:pt x="189" y="7231"/>
                    </a:cubicBezTo>
                    <a:cubicBezTo>
                      <a:pt x="363" y="7350"/>
                      <a:pt x="363" y="7350"/>
                      <a:pt x="363" y="7350"/>
                    </a:cubicBezTo>
                    <a:cubicBezTo>
                      <a:pt x="359" y="7356"/>
                      <a:pt x="359" y="7356"/>
                      <a:pt x="359" y="7356"/>
                    </a:cubicBezTo>
                    <a:cubicBezTo>
                      <a:pt x="314" y="7421"/>
                      <a:pt x="314" y="7421"/>
                      <a:pt x="314" y="7421"/>
                    </a:cubicBezTo>
                    <a:cubicBezTo>
                      <a:pt x="275" y="7395"/>
                      <a:pt x="275" y="7395"/>
                      <a:pt x="275" y="7395"/>
                    </a:cubicBezTo>
                    <a:cubicBezTo>
                      <a:pt x="250" y="7430"/>
                      <a:pt x="250" y="7430"/>
                      <a:pt x="250" y="7430"/>
                    </a:cubicBezTo>
                    <a:cubicBezTo>
                      <a:pt x="154" y="7364"/>
                      <a:pt x="154" y="7364"/>
                      <a:pt x="154" y="7364"/>
                    </a:cubicBezTo>
                    <a:lnTo>
                      <a:pt x="179" y="7329"/>
                    </a:lnTo>
                    <a:close/>
                    <a:moveTo>
                      <a:pt x="197" y="7325"/>
                    </a:moveTo>
                    <a:cubicBezTo>
                      <a:pt x="173" y="7361"/>
                      <a:pt x="173" y="7361"/>
                      <a:pt x="173" y="7361"/>
                    </a:cubicBezTo>
                    <a:cubicBezTo>
                      <a:pt x="247" y="7412"/>
                      <a:pt x="247" y="7412"/>
                      <a:pt x="247" y="7412"/>
                    </a:cubicBezTo>
                    <a:cubicBezTo>
                      <a:pt x="272" y="7377"/>
                      <a:pt x="272" y="7377"/>
                      <a:pt x="272" y="7377"/>
                    </a:cubicBezTo>
                    <a:cubicBezTo>
                      <a:pt x="310" y="7403"/>
                      <a:pt x="310" y="7403"/>
                      <a:pt x="310" y="7403"/>
                    </a:cubicBezTo>
                    <a:cubicBezTo>
                      <a:pt x="344" y="7354"/>
                      <a:pt x="344" y="7354"/>
                      <a:pt x="344" y="7354"/>
                    </a:cubicBezTo>
                    <a:cubicBezTo>
                      <a:pt x="192" y="7249"/>
                      <a:pt x="192" y="7249"/>
                      <a:pt x="192" y="7249"/>
                    </a:cubicBezTo>
                    <a:cubicBezTo>
                      <a:pt x="158" y="7298"/>
                      <a:pt x="158" y="7298"/>
                      <a:pt x="158" y="7298"/>
                    </a:cubicBezTo>
                    <a:lnTo>
                      <a:pt x="197" y="7325"/>
                    </a:lnTo>
                    <a:close/>
                    <a:moveTo>
                      <a:pt x="58" y="3824"/>
                    </a:moveTo>
                    <a:cubicBezTo>
                      <a:pt x="54" y="3816"/>
                      <a:pt x="54" y="3816"/>
                      <a:pt x="54" y="3816"/>
                    </a:cubicBezTo>
                    <a:cubicBezTo>
                      <a:pt x="4" y="3860"/>
                      <a:pt x="4" y="3860"/>
                      <a:pt x="4" y="3860"/>
                    </a:cubicBezTo>
                    <a:cubicBezTo>
                      <a:pt x="4" y="3880"/>
                      <a:pt x="4" y="3880"/>
                      <a:pt x="4" y="3880"/>
                    </a:cubicBezTo>
                    <a:cubicBezTo>
                      <a:pt x="50" y="3839"/>
                      <a:pt x="50" y="3839"/>
                      <a:pt x="50" y="3839"/>
                    </a:cubicBezTo>
                    <a:cubicBezTo>
                      <a:pt x="162" y="4031"/>
                      <a:pt x="162" y="4031"/>
                      <a:pt x="162" y="4031"/>
                    </a:cubicBezTo>
                    <a:cubicBezTo>
                      <a:pt x="4" y="4115"/>
                      <a:pt x="4" y="4115"/>
                      <a:pt x="4" y="4115"/>
                    </a:cubicBezTo>
                    <a:cubicBezTo>
                      <a:pt x="4" y="4131"/>
                      <a:pt x="4" y="4131"/>
                      <a:pt x="4" y="4131"/>
                    </a:cubicBezTo>
                    <a:cubicBezTo>
                      <a:pt x="182" y="4037"/>
                      <a:pt x="182" y="4037"/>
                      <a:pt x="182" y="4037"/>
                    </a:cubicBezTo>
                    <a:lnTo>
                      <a:pt x="58" y="3824"/>
                    </a:lnTo>
                    <a:close/>
                    <a:moveTo>
                      <a:pt x="797" y="8902"/>
                    </a:moveTo>
                    <a:cubicBezTo>
                      <a:pt x="388" y="8712"/>
                      <a:pt x="388" y="8712"/>
                      <a:pt x="388" y="8712"/>
                    </a:cubicBezTo>
                    <a:cubicBezTo>
                      <a:pt x="512" y="8529"/>
                      <a:pt x="512" y="8529"/>
                      <a:pt x="512" y="8529"/>
                    </a:cubicBezTo>
                    <a:cubicBezTo>
                      <a:pt x="646" y="8663"/>
                      <a:pt x="646" y="8663"/>
                      <a:pt x="646" y="8663"/>
                    </a:cubicBezTo>
                    <a:cubicBezTo>
                      <a:pt x="834" y="8706"/>
                      <a:pt x="834" y="8706"/>
                      <a:pt x="834" y="8706"/>
                    </a:cubicBezTo>
                    <a:cubicBezTo>
                      <a:pt x="833" y="8713"/>
                      <a:pt x="833" y="8713"/>
                      <a:pt x="833" y="8713"/>
                    </a:cubicBezTo>
                    <a:lnTo>
                      <a:pt x="797" y="8902"/>
                    </a:lnTo>
                    <a:close/>
                    <a:moveTo>
                      <a:pt x="786" y="8881"/>
                    </a:moveTo>
                    <a:cubicBezTo>
                      <a:pt x="817" y="8717"/>
                      <a:pt x="817" y="8717"/>
                      <a:pt x="817" y="8717"/>
                    </a:cubicBezTo>
                    <a:cubicBezTo>
                      <a:pt x="639" y="8676"/>
                      <a:pt x="639" y="8676"/>
                      <a:pt x="639" y="8676"/>
                    </a:cubicBezTo>
                    <a:cubicBezTo>
                      <a:pt x="514" y="8552"/>
                      <a:pt x="514" y="8552"/>
                      <a:pt x="514" y="8552"/>
                    </a:cubicBezTo>
                    <a:cubicBezTo>
                      <a:pt x="410" y="8706"/>
                      <a:pt x="410" y="8706"/>
                      <a:pt x="410" y="8706"/>
                    </a:cubicBezTo>
                    <a:lnTo>
                      <a:pt x="786" y="8881"/>
                    </a:lnTo>
                    <a:close/>
                    <a:moveTo>
                      <a:pt x="3301" y="9869"/>
                    </a:moveTo>
                    <a:cubicBezTo>
                      <a:pt x="3370" y="9936"/>
                      <a:pt x="3370" y="9936"/>
                      <a:pt x="3370" y="9936"/>
                    </a:cubicBezTo>
                    <a:cubicBezTo>
                      <a:pt x="3271" y="10037"/>
                      <a:pt x="3271" y="10037"/>
                      <a:pt x="3271" y="10037"/>
                    </a:cubicBezTo>
                    <a:cubicBezTo>
                      <a:pt x="3219" y="9986"/>
                      <a:pt x="3219" y="9986"/>
                      <a:pt x="3219" y="9986"/>
                    </a:cubicBezTo>
                    <a:cubicBezTo>
                      <a:pt x="3166" y="10040"/>
                      <a:pt x="3166" y="10040"/>
                      <a:pt x="3166" y="10040"/>
                    </a:cubicBezTo>
                    <a:cubicBezTo>
                      <a:pt x="3111" y="9986"/>
                      <a:pt x="3111" y="9986"/>
                      <a:pt x="3111" y="9986"/>
                    </a:cubicBezTo>
                    <a:cubicBezTo>
                      <a:pt x="3116" y="9982"/>
                      <a:pt x="3116" y="9982"/>
                      <a:pt x="3116" y="9982"/>
                    </a:cubicBezTo>
                    <a:cubicBezTo>
                      <a:pt x="3252" y="9847"/>
                      <a:pt x="3252" y="9847"/>
                      <a:pt x="3252" y="9847"/>
                    </a:cubicBezTo>
                    <a:cubicBezTo>
                      <a:pt x="3288" y="9882"/>
                      <a:pt x="3288" y="9882"/>
                      <a:pt x="3288" y="9882"/>
                    </a:cubicBezTo>
                    <a:cubicBezTo>
                      <a:pt x="3296" y="9873"/>
                      <a:pt x="3296" y="9873"/>
                      <a:pt x="3296" y="9873"/>
                    </a:cubicBezTo>
                    <a:lnTo>
                      <a:pt x="3301" y="9869"/>
                    </a:lnTo>
                    <a:close/>
                    <a:moveTo>
                      <a:pt x="3301" y="9887"/>
                    </a:moveTo>
                    <a:cubicBezTo>
                      <a:pt x="3293" y="9895"/>
                      <a:pt x="3293" y="9895"/>
                      <a:pt x="3293" y="9895"/>
                    </a:cubicBezTo>
                    <a:cubicBezTo>
                      <a:pt x="3288" y="9900"/>
                      <a:pt x="3288" y="9900"/>
                      <a:pt x="3288" y="9900"/>
                    </a:cubicBezTo>
                    <a:cubicBezTo>
                      <a:pt x="3253" y="9865"/>
                      <a:pt x="3253" y="9865"/>
                      <a:pt x="3253" y="9865"/>
                    </a:cubicBezTo>
                    <a:cubicBezTo>
                      <a:pt x="3130" y="9986"/>
                      <a:pt x="3130" y="9986"/>
                      <a:pt x="3130" y="9986"/>
                    </a:cubicBezTo>
                    <a:cubicBezTo>
                      <a:pt x="3165" y="10021"/>
                      <a:pt x="3165" y="10021"/>
                      <a:pt x="3165" y="10021"/>
                    </a:cubicBezTo>
                    <a:cubicBezTo>
                      <a:pt x="3218" y="9967"/>
                      <a:pt x="3218" y="9967"/>
                      <a:pt x="3218" y="9967"/>
                    </a:cubicBezTo>
                    <a:cubicBezTo>
                      <a:pt x="3271" y="10018"/>
                      <a:pt x="3271" y="10018"/>
                      <a:pt x="3271" y="10018"/>
                    </a:cubicBezTo>
                    <a:cubicBezTo>
                      <a:pt x="3351" y="9936"/>
                      <a:pt x="3351" y="9936"/>
                      <a:pt x="3351" y="9936"/>
                    </a:cubicBezTo>
                    <a:lnTo>
                      <a:pt x="3301" y="9887"/>
                    </a:lnTo>
                    <a:close/>
                    <a:moveTo>
                      <a:pt x="3978" y="10352"/>
                    </a:moveTo>
                    <a:cubicBezTo>
                      <a:pt x="4039" y="10437"/>
                      <a:pt x="4039" y="10437"/>
                      <a:pt x="4039" y="10437"/>
                    </a:cubicBezTo>
                    <a:cubicBezTo>
                      <a:pt x="3918" y="10522"/>
                      <a:pt x="3918" y="10522"/>
                      <a:pt x="3918" y="10522"/>
                    </a:cubicBezTo>
                    <a:cubicBezTo>
                      <a:pt x="3914" y="10517"/>
                      <a:pt x="3914" y="10517"/>
                      <a:pt x="3914" y="10517"/>
                    </a:cubicBezTo>
                    <a:cubicBezTo>
                      <a:pt x="3858" y="10437"/>
                      <a:pt x="3858" y="10437"/>
                      <a:pt x="3858" y="10437"/>
                    </a:cubicBezTo>
                    <a:lnTo>
                      <a:pt x="3978" y="10352"/>
                    </a:lnTo>
                    <a:close/>
                    <a:moveTo>
                      <a:pt x="4021" y="10434"/>
                    </a:moveTo>
                    <a:cubicBezTo>
                      <a:pt x="3975" y="10370"/>
                      <a:pt x="3975" y="10370"/>
                      <a:pt x="3975" y="10370"/>
                    </a:cubicBezTo>
                    <a:cubicBezTo>
                      <a:pt x="3876" y="10440"/>
                      <a:pt x="3876" y="10440"/>
                      <a:pt x="3876" y="10440"/>
                    </a:cubicBezTo>
                    <a:cubicBezTo>
                      <a:pt x="3921" y="10504"/>
                      <a:pt x="3921" y="10504"/>
                      <a:pt x="3921" y="10504"/>
                    </a:cubicBezTo>
                    <a:lnTo>
                      <a:pt x="4021" y="10434"/>
                    </a:lnTo>
                    <a:close/>
                    <a:moveTo>
                      <a:pt x="493" y="1705"/>
                    </a:moveTo>
                    <a:cubicBezTo>
                      <a:pt x="333" y="1795"/>
                      <a:pt x="333" y="1795"/>
                      <a:pt x="333" y="1795"/>
                    </a:cubicBezTo>
                    <a:cubicBezTo>
                      <a:pt x="191" y="1656"/>
                      <a:pt x="191" y="1656"/>
                      <a:pt x="191" y="1656"/>
                    </a:cubicBezTo>
                    <a:cubicBezTo>
                      <a:pt x="260" y="1600"/>
                      <a:pt x="260" y="1600"/>
                      <a:pt x="260" y="1600"/>
                    </a:cubicBezTo>
                    <a:cubicBezTo>
                      <a:pt x="295" y="1621"/>
                      <a:pt x="295" y="1621"/>
                      <a:pt x="295" y="1621"/>
                    </a:cubicBezTo>
                    <a:cubicBezTo>
                      <a:pt x="321" y="1606"/>
                      <a:pt x="321" y="1606"/>
                      <a:pt x="321" y="1606"/>
                    </a:cubicBezTo>
                    <a:cubicBezTo>
                      <a:pt x="297" y="1567"/>
                      <a:pt x="297" y="1567"/>
                      <a:pt x="297" y="1567"/>
                    </a:cubicBezTo>
                    <a:cubicBezTo>
                      <a:pt x="393" y="1495"/>
                      <a:pt x="393" y="1495"/>
                      <a:pt x="393" y="1495"/>
                    </a:cubicBezTo>
                    <a:cubicBezTo>
                      <a:pt x="511" y="1599"/>
                      <a:pt x="511" y="1599"/>
                      <a:pt x="511" y="1599"/>
                    </a:cubicBezTo>
                    <a:cubicBezTo>
                      <a:pt x="496" y="1703"/>
                      <a:pt x="496" y="1703"/>
                      <a:pt x="496" y="1703"/>
                    </a:cubicBezTo>
                    <a:lnTo>
                      <a:pt x="493" y="1705"/>
                    </a:lnTo>
                    <a:close/>
                    <a:moveTo>
                      <a:pt x="482" y="1694"/>
                    </a:moveTo>
                    <a:cubicBezTo>
                      <a:pt x="495" y="1605"/>
                      <a:pt x="495" y="1605"/>
                      <a:pt x="495" y="1605"/>
                    </a:cubicBezTo>
                    <a:cubicBezTo>
                      <a:pt x="392" y="1514"/>
                      <a:pt x="392" y="1514"/>
                      <a:pt x="392" y="1514"/>
                    </a:cubicBezTo>
                    <a:cubicBezTo>
                      <a:pt x="317" y="1571"/>
                      <a:pt x="317" y="1571"/>
                      <a:pt x="317" y="1571"/>
                    </a:cubicBezTo>
                    <a:cubicBezTo>
                      <a:pt x="341" y="1612"/>
                      <a:pt x="341" y="1612"/>
                      <a:pt x="341" y="1612"/>
                    </a:cubicBezTo>
                    <a:cubicBezTo>
                      <a:pt x="295" y="1638"/>
                      <a:pt x="295" y="1638"/>
                      <a:pt x="295" y="1638"/>
                    </a:cubicBezTo>
                    <a:cubicBezTo>
                      <a:pt x="261" y="1618"/>
                      <a:pt x="261" y="1618"/>
                      <a:pt x="261" y="1618"/>
                    </a:cubicBezTo>
                    <a:cubicBezTo>
                      <a:pt x="213" y="1657"/>
                      <a:pt x="213" y="1657"/>
                      <a:pt x="213" y="1657"/>
                    </a:cubicBezTo>
                    <a:cubicBezTo>
                      <a:pt x="336" y="1777"/>
                      <a:pt x="336" y="1777"/>
                      <a:pt x="336" y="1777"/>
                    </a:cubicBezTo>
                    <a:lnTo>
                      <a:pt x="482" y="1694"/>
                    </a:lnTo>
                    <a:close/>
                    <a:moveTo>
                      <a:pt x="4913" y="10124"/>
                    </a:moveTo>
                    <a:cubicBezTo>
                      <a:pt x="4956" y="10148"/>
                      <a:pt x="4956" y="10148"/>
                      <a:pt x="4956" y="10148"/>
                    </a:cubicBezTo>
                    <a:cubicBezTo>
                      <a:pt x="4860" y="10322"/>
                      <a:pt x="4860" y="10322"/>
                      <a:pt x="4860" y="10322"/>
                    </a:cubicBezTo>
                    <a:cubicBezTo>
                      <a:pt x="4854" y="10319"/>
                      <a:pt x="4854" y="10319"/>
                      <a:pt x="4854" y="10319"/>
                    </a:cubicBezTo>
                    <a:cubicBezTo>
                      <a:pt x="4794" y="10284"/>
                      <a:pt x="4794" y="10284"/>
                      <a:pt x="4794" y="10284"/>
                    </a:cubicBezTo>
                    <a:cubicBezTo>
                      <a:pt x="4831" y="10219"/>
                      <a:pt x="4831" y="10219"/>
                      <a:pt x="4831" y="10219"/>
                    </a:cubicBezTo>
                    <a:cubicBezTo>
                      <a:pt x="4768" y="10182"/>
                      <a:pt x="4768" y="10182"/>
                      <a:pt x="4768" y="10182"/>
                    </a:cubicBezTo>
                    <a:cubicBezTo>
                      <a:pt x="4838" y="10060"/>
                      <a:pt x="4838" y="10060"/>
                      <a:pt x="4838" y="10060"/>
                    </a:cubicBezTo>
                    <a:cubicBezTo>
                      <a:pt x="4922" y="10108"/>
                      <a:pt x="4922" y="10108"/>
                      <a:pt x="4922" y="10108"/>
                    </a:cubicBezTo>
                    <a:lnTo>
                      <a:pt x="4913" y="10124"/>
                    </a:lnTo>
                    <a:close/>
                    <a:moveTo>
                      <a:pt x="4895" y="10129"/>
                    </a:moveTo>
                    <a:cubicBezTo>
                      <a:pt x="4904" y="10113"/>
                      <a:pt x="4904" y="10113"/>
                      <a:pt x="4904" y="10113"/>
                    </a:cubicBezTo>
                    <a:cubicBezTo>
                      <a:pt x="4843" y="10078"/>
                      <a:pt x="4843" y="10078"/>
                      <a:pt x="4843" y="10078"/>
                    </a:cubicBezTo>
                    <a:cubicBezTo>
                      <a:pt x="4786" y="10178"/>
                      <a:pt x="4786" y="10178"/>
                      <a:pt x="4786" y="10178"/>
                    </a:cubicBezTo>
                    <a:cubicBezTo>
                      <a:pt x="4849" y="10214"/>
                      <a:pt x="4849" y="10214"/>
                      <a:pt x="4849" y="10214"/>
                    </a:cubicBezTo>
                    <a:cubicBezTo>
                      <a:pt x="4812" y="10280"/>
                      <a:pt x="4812" y="10280"/>
                      <a:pt x="4812" y="10280"/>
                    </a:cubicBezTo>
                    <a:cubicBezTo>
                      <a:pt x="4854" y="10304"/>
                      <a:pt x="4854" y="10304"/>
                      <a:pt x="4854" y="10304"/>
                    </a:cubicBezTo>
                    <a:cubicBezTo>
                      <a:pt x="4938" y="10153"/>
                      <a:pt x="4938" y="10153"/>
                      <a:pt x="4938" y="10153"/>
                    </a:cubicBezTo>
                    <a:lnTo>
                      <a:pt x="4895" y="10129"/>
                    </a:lnTo>
                    <a:close/>
                    <a:moveTo>
                      <a:pt x="5450" y="9173"/>
                    </a:moveTo>
                    <a:cubicBezTo>
                      <a:pt x="5632" y="9173"/>
                      <a:pt x="5632" y="9173"/>
                      <a:pt x="5632" y="9173"/>
                    </a:cubicBezTo>
                    <a:cubicBezTo>
                      <a:pt x="5632" y="9181"/>
                      <a:pt x="5632" y="9181"/>
                      <a:pt x="5632" y="9181"/>
                    </a:cubicBezTo>
                    <a:cubicBezTo>
                      <a:pt x="5631" y="9394"/>
                      <a:pt x="5631" y="9394"/>
                      <a:pt x="5631" y="9394"/>
                    </a:cubicBezTo>
                    <a:cubicBezTo>
                      <a:pt x="5545" y="9394"/>
                      <a:pt x="5545" y="9394"/>
                      <a:pt x="5545" y="9394"/>
                    </a:cubicBezTo>
                    <a:cubicBezTo>
                      <a:pt x="5545" y="9498"/>
                      <a:pt x="5545" y="9498"/>
                      <a:pt x="5545" y="9498"/>
                    </a:cubicBezTo>
                    <a:cubicBezTo>
                      <a:pt x="5393" y="9498"/>
                      <a:pt x="5393" y="9498"/>
                      <a:pt x="5393" y="9498"/>
                    </a:cubicBezTo>
                    <a:cubicBezTo>
                      <a:pt x="5393" y="9395"/>
                      <a:pt x="5393" y="9395"/>
                      <a:pt x="5393" y="9395"/>
                    </a:cubicBezTo>
                    <a:cubicBezTo>
                      <a:pt x="5118" y="9395"/>
                      <a:pt x="5118" y="9395"/>
                      <a:pt x="5118" y="9395"/>
                    </a:cubicBezTo>
                    <a:cubicBezTo>
                      <a:pt x="5118" y="9656"/>
                      <a:pt x="5118" y="9656"/>
                      <a:pt x="5118" y="9656"/>
                    </a:cubicBezTo>
                    <a:cubicBezTo>
                      <a:pt x="5005" y="9656"/>
                      <a:pt x="5005" y="9656"/>
                      <a:pt x="5005" y="9656"/>
                    </a:cubicBezTo>
                    <a:cubicBezTo>
                      <a:pt x="5005" y="9394"/>
                      <a:pt x="5005" y="9394"/>
                      <a:pt x="5005" y="9394"/>
                    </a:cubicBezTo>
                    <a:cubicBezTo>
                      <a:pt x="4944" y="9394"/>
                      <a:pt x="4944" y="9394"/>
                      <a:pt x="4944" y="9394"/>
                    </a:cubicBezTo>
                    <a:cubicBezTo>
                      <a:pt x="4944" y="9172"/>
                      <a:pt x="4944" y="9172"/>
                      <a:pt x="4944" y="9172"/>
                    </a:cubicBezTo>
                    <a:cubicBezTo>
                      <a:pt x="5079" y="9172"/>
                      <a:pt x="5079" y="9172"/>
                      <a:pt x="5079" y="9172"/>
                    </a:cubicBezTo>
                    <a:cubicBezTo>
                      <a:pt x="5079" y="9102"/>
                      <a:pt x="5079" y="9102"/>
                      <a:pt x="5079" y="9102"/>
                    </a:cubicBezTo>
                    <a:cubicBezTo>
                      <a:pt x="5450" y="9102"/>
                      <a:pt x="5450" y="9102"/>
                      <a:pt x="5450" y="9102"/>
                    </a:cubicBezTo>
                    <a:lnTo>
                      <a:pt x="5450" y="9173"/>
                    </a:lnTo>
                    <a:close/>
                    <a:moveTo>
                      <a:pt x="5435" y="9188"/>
                    </a:moveTo>
                    <a:cubicBezTo>
                      <a:pt x="5435" y="9116"/>
                      <a:pt x="5435" y="9116"/>
                      <a:pt x="5435" y="9116"/>
                    </a:cubicBezTo>
                    <a:cubicBezTo>
                      <a:pt x="5093" y="9116"/>
                      <a:pt x="5093" y="9116"/>
                      <a:pt x="5093" y="9116"/>
                    </a:cubicBezTo>
                    <a:cubicBezTo>
                      <a:pt x="5093" y="9187"/>
                      <a:pt x="5093" y="9187"/>
                      <a:pt x="5093" y="9187"/>
                    </a:cubicBezTo>
                    <a:cubicBezTo>
                      <a:pt x="4958" y="9187"/>
                      <a:pt x="4958" y="9187"/>
                      <a:pt x="4958" y="9187"/>
                    </a:cubicBezTo>
                    <a:cubicBezTo>
                      <a:pt x="4958" y="9379"/>
                      <a:pt x="4958" y="9379"/>
                      <a:pt x="4958" y="9379"/>
                    </a:cubicBezTo>
                    <a:cubicBezTo>
                      <a:pt x="5020" y="9379"/>
                      <a:pt x="5020" y="9379"/>
                      <a:pt x="5020" y="9379"/>
                    </a:cubicBezTo>
                    <a:cubicBezTo>
                      <a:pt x="5020" y="9641"/>
                      <a:pt x="5020" y="9641"/>
                      <a:pt x="5020" y="9641"/>
                    </a:cubicBezTo>
                    <a:cubicBezTo>
                      <a:pt x="5103" y="9641"/>
                      <a:pt x="5103" y="9641"/>
                      <a:pt x="5103" y="9641"/>
                    </a:cubicBezTo>
                    <a:cubicBezTo>
                      <a:pt x="5103" y="9381"/>
                      <a:pt x="5103" y="9381"/>
                      <a:pt x="5103" y="9381"/>
                    </a:cubicBezTo>
                    <a:cubicBezTo>
                      <a:pt x="5408" y="9381"/>
                      <a:pt x="5408" y="9381"/>
                      <a:pt x="5408" y="9381"/>
                    </a:cubicBezTo>
                    <a:cubicBezTo>
                      <a:pt x="5408" y="9483"/>
                      <a:pt x="5408" y="9483"/>
                      <a:pt x="5408" y="9483"/>
                    </a:cubicBezTo>
                    <a:cubicBezTo>
                      <a:pt x="5531" y="9483"/>
                      <a:pt x="5531" y="9483"/>
                      <a:pt x="5531" y="9483"/>
                    </a:cubicBezTo>
                    <a:cubicBezTo>
                      <a:pt x="5531" y="9379"/>
                      <a:pt x="5531" y="9379"/>
                      <a:pt x="5531" y="9379"/>
                    </a:cubicBezTo>
                    <a:cubicBezTo>
                      <a:pt x="5616" y="9379"/>
                      <a:pt x="5616" y="9379"/>
                      <a:pt x="5616" y="9379"/>
                    </a:cubicBezTo>
                    <a:cubicBezTo>
                      <a:pt x="5617" y="9188"/>
                      <a:pt x="5617" y="9188"/>
                      <a:pt x="5617" y="9188"/>
                    </a:cubicBezTo>
                    <a:lnTo>
                      <a:pt x="5435" y="9188"/>
                    </a:lnTo>
                    <a:close/>
                    <a:moveTo>
                      <a:pt x="908" y="132"/>
                    </a:moveTo>
                    <a:cubicBezTo>
                      <a:pt x="766" y="30"/>
                      <a:pt x="766" y="30"/>
                      <a:pt x="766" y="30"/>
                    </a:cubicBezTo>
                    <a:cubicBezTo>
                      <a:pt x="775" y="0"/>
                      <a:pt x="775" y="0"/>
                      <a:pt x="775" y="0"/>
                    </a:cubicBezTo>
                    <a:cubicBezTo>
                      <a:pt x="760" y="0"/>
                      <a:pt x="760" y="0"/>
                      <a:pt x="760" y="0"/>
                    </a:cubicBezTo>
                    <a:cubicBezTo>
                      <a:pt x="749" y="36"/>
                      <a:pt x="749" y="36"/>
                      <a:pt x="749" y="36"/>
                    </a:cubicBezTo>
                    <a:cubicBezTo>
                      <a:pt x="907" y="150"/>
                      <a:pt x="907" y="150"/>
                      <a:pt x="907" y="150"/>
                    </a:cubicBezTo>
                    <a:cubicBezTo>
                      <a:pt x="915" y="156"/>
                      <a:pt x="915" y="156"/>
                      <a:pt x="915" y="156"/>
                    </a:cubicBezTo>
                    <a:cubicBezTo>
                      <a:pt x="971" y="0"/>
                      <a:pt x="971" y="0"/>
                      <a:pt x="971" y="0"/>
                    </a:cubicBezTo>
                    <a:cubicBezTo>
                      <a:pt x="956" y="0"/>
                      <a:pt x="956" y="0"/>
                      <a:pt x="956" y="0"/>
                    </a:cubicBezTo>
                    <a:lnTo>
                      <a:pt x="908" y="132"/>
                    </a:lnTo>
                    <a:close/>
                    <a:moveTo>
                      <a:pt x="4172" y="10048"/>
                    </a:moveTo>
                    <a:cubicBezTo>
                      <a:pt x="4357" y="10054"/>
                      <a:pt x="4357" y="10054"/>
                      <a:pt x="4357" y="10054"/>
                    </a:cubicBezTo>
                    <a:cubicBezTo>
                      <a:pt x="4354" y="10163"/>
                      <a:pt x="4354" y="10163"/>
                      <a:pt x="4354" y="10163"/>
                    </a:cubicBezTo>
                    <a:cubicBezTo>
                      <a:pt x="4281" y="10161"/>
                      <a:pt x="4281" y="10161"/>
                      <a:pt x="4281" y="10161"/>
                    </a:cubicBezTo>
                    <a:cubicBezTo>
                      <a:pt x="4279" y="10218"/>
                      <a:pt x="4279" y="10218"/>
                      <a:pt x="4279" y="10218"/>
                    </a:cubicBezTo>
                    <a:cubicBezTo>
                      <a:pt x="4273" y="10218"/>
                      <a:pt x="4273" y="10218"/>
                      <a:pt x="4273" y="10218"/>
                    </a:cubicBezTo>
                    <a:cubicBezTo>
                      <a:pt x="4156" y="10217"/>
                      <a:pt x="4156" y="10217"/>
                      <a:pt x="4156" y="10217"/>
                    </a:cubicBezTo>
                    <a:cubicBezTo>
                      <a:pt x="4160" y="10100"/>
                      <a:pt x="4160" y="10100"/>
                      <a:pt x="4160" y="10100"/>
                    </a:cubicBezTo>
                    <a:cubicBezTo>
                      <a:pt x="4170" y="10100"/>
                      <a:pt x="4170" y="10100"/>
                      <a:pt x="4170" y="10100"/>
                    </a:cubicBezTo>
                    <a:lnTo>
                      <a:pt x="4172" y="10048"/>
                    </a:lnTo>
                    <a:close/>
                    <a:moveTo>
                      <a:pt x="4173" y="10113"/>
                    </a:moveTo>
                    <a:cubicBezTo>
                      <a:pt x="4170" y="10204"/>
                      <a:pt x="4170" y="10204"/>
                      <a:pt x="4170" y="10204"/>
                    </a:cubicBezTo>
                    <a:cubicBezTo>
                      <a:pt x="4266" y="10205"/>
                      <a:pt x="4266" y="10205"/>
                      <a:pt x="4266" y="10205"/>
                    </a:cubicBezTo>
                    <a:cubicBezTo>
                      <a:pt x="4268" y="10148"/>
                      <a:pt x="4268" y="10148"/>
                      <a:pt x="4268" y="10148"/>
                    </a:cubicBezTo>
                    <a:cubicBezTo>
                      <a:pt x="4341" y="10150"/>
                      <a:pt x="4341" y="10150"/>
                      <a:pt x="4341" y="10150"/>
                    </a:cubicBezTo>
                    <a:cubicBezTo>
                      <a:pt x="4344" y="10066"/>
                      <a:pt x="4344" y="10066"/>
                      <a:pt x="4344" y="10066"/>
                    </a:cubicBezTo>
                    <a:cubicBezTo>
                      <a:pt x="4185" y="10061"/>
                      <a:pt x="4185" y="10061"/>
                      <a:pt x="4185" y="10061"/>
                    </a:cubicBezTo>
                    <a:cubicBezTo>
                      <a:pt x="4183" y="10113"/>
                      <a:pt x="4183" y="10113"/>
                      <a:pt x="4183" y="10113"/>
                    </a:cubicBezTo>
                    <a:lnTo>
                      <a:pt x="4173" y="10113"/>
                    </a:lnTo>
                    <a:close/>
                    <a:moveTo>
                      <a:pt x="295" y="5545"/>
                    </a:moveTo>
                    <a:cubicBezTo>
                      <a:pt x="225" y="5426"/>
                      <a:pt x="225" y="5426"/>
                      <a:pt x="225" y="5426"/>
                    </a:cubicBezTo>
                    <a:cubicBezTo>
                      <a:pt x="344" y="5356"/>
                      <a:pt x="344" y="5356"/>
                      <a:pt x="344" y="5356"/>
                    </a:cubicBezTo>
                    <a:cubicBezTo>
                      <a:pt x="347" y="5362"/>
                      <a:pt x="347" y="5362"/>
                      <a:pt x="347" y="5362"/>
                    </a:cubicBezTo>
                    <a:cubicBezTo>
                      <a:pt x="414" y="5475"/>
                      <a:pt x="414" y="5475"/>
                      <a:pt x="414" y="5475"/>
                    </a:cubicBezTo>
                    <a:lnTo>
                      <a:pt x="295" y="5545"/>
                    </a:lnTo>
                    <a:close/>
                    <a:moveTo>
                      <a:pt x="243" y="5431"/>
                    </a:moveTo>
                    <a:cubicBezTo>
                      <a:pt x="300" y="5527"/>
                      <a:pt x="300" y="5527"/>
                      <a:pt x="300" y="5527"/>
                    </a:cubicBezTo>
                    <a:cubicBezTo>
                      <a:pt x="396" y="5470"/>
                      <a:pt x="396" y="5470"/>
                      <a:pt x="396" y="5470"/>
                    </a:cubicBezTo>
                    <a:cubicBezTo>
                      <a:pt x="339" y="5374"/>
                      <a:pt x="339" y="5374"/>
                      <a:pt x="339" y="5374"/>
                    </a:cubicBezTo>
                    <a:lnTo>
                      <a:pt x="243" y="5431"/>
                    </a:lnTo>
                    <a:close/>
                    <a:moveTo>
                      <a:pt x="414" y="1102"/>
                    </a:moveTo>
                    <a:cubicBezTo>
                      <a:pt x="366" y="1030"/>
                      <a:pt x="366" y="1030"/>
                      <a:pt x="366" y="1030"/>
                    </a:cubicBezTo>
                    <a:cubicBezTo>
                      <a:pt x="490" y="895"/>
                      <a:pt x="490" y="895"/>
                      <a:pt x="490" y="895"/>
                    </a:cubicBezTo>
                    <a:cubicBezTo>
                      <a:pt x="660" y="1115"/>
                      <a:pt x="660" y="1115"/>
                      <a:pt x="660" y="1115"/>
                    </a:cubicBezTo>
                    <a:cubicBezTo>
                      <a:pt x="654" y="1120"/>
                      <a:pt x="654" y="1120"/>
                      <a:pt x="654" y="1120"/>
                    </a:cubicBezTo>
                    <a:cubicBezTo>
                      <a:pt x="444" y="1292"/>
                      <a:pt x="444" y="1292"/>
                      <a:pt x="444" y="1292"/>
                    </a:cubicBezTo>
                    <a:cubicBezTo>
                      <a:pt x="385" y="1200"/>
                      <a:pt x="385" y="1200"/>
                      <a:pt x="385" y="1200"/>
                    </a:cubicBezTo>
                    <a:cubicBezTo>
                      <a:pt x="481" y="1108"/>
                      <a:pt x="481" y="1108"/>
                      <a:pt x="481" y="1108"/>
                    </a:cubicBezTo>
                    <a:cubicBezTo>
                      <a:pt x="461" y="1065"/>
                      <a:pt x="461" y="1065"/>
                      <a:pt x="461" y="1065"/>
                    </a:cubicBezTo>
                    <a:lnTo>
                      <a:pt x="414" y="1102"/>
                    </a:lnTo>
                    <a:close/>
                    <a:moveTo>
                      <a:pt x="385" y="1031"/>
                    </a:moveTo>
                    <a:cubicBezTo>
                      <a:pt x="417" y="1080"/>
                      <a:pt x="417" y="1080"/>
                      <a:pt x="417" y="1080"/>
                    </a:cubicBezTo>
                    <a:cubicBezTo>
                      <a:pt x="467" y="1042"/>
                      <a:pt x="467" y="1042"/>
                      <a:pt x="467" y="1042"/>
                    </a:cubicBezTo>
                    <a:cubicBezTo>
                      <a:pt x="498" y="1112"/>
                      <a:pt x="498" y="1112"/>
                      <a:pt x="498" y="1112"/>
                    </a:cubicBezTo>
                    <a:cubicBezTo>
                      <a:pt x="404" y="1203"/>
                      <a:pt x="404" y="1203"/>
                      <a:pt x="404" y="1203"/>
                    </a:cubicBezTo>
                    <a:cubicBezTo>
                      <a:pt x="447" y="1270"/>
                      <a:pt x="447" y="1270"/>
                      <a:pt x="447" y="1270"/>
                    </a:cubicBezTo>
                    <a:cubicBezTo>
                      <a:pt x="639" y="1113"/>
                      <a:pt x="639" y="1113"/>
                      <a:pt x="639" y="1113"/>
                    </a:cubicBezTo>
                    <a:cubicBezTo>
                      <a:pt x="489" y="918"/>
                      <a:pt x="489" y="918"/>
                      <a:pt x="489" y="918"/>
                    </a:cubicBezTo>
                    <a:lnTo>
                      <a:pt x="385" y="1031"/>
                    </a:lnTo>
                    <a:close/>
                    <a:moveTo>
                      <a:pt x="13" y="4215"/>
                    </a:moveTo>
                    <a:cubicBezTo>
                      <a:pt x="10" y="4208"/>
                      <a:pt x="10" y="4208"/>
                      <a:pt x="10" y="4208"/>
                    </a:cubicBezTo>
                    <a:cubicBezTo>
                      <a:pt x="4" y="4210"/>
                      <a:pt x="4" y="4210"/>
                      <a:pt x="4" y="4210"/>
                    </a:cubicBezTo>
                    <a:cubicBezTo>
                      <a:pt x="4" y="4234"/>
                      <a:pt x="4" y="4234"/>
                      <a:pt x="4" y="4234"/>
                    </a:cubicBezTo>
                    <a:cubicBezTo>
                      <a:pt x="22" y="4278"/>
                      <a:pt x="22" y="4278"/>
                      <a:pt x="22" y="4278"/>
                    </a:cubicBezTo>
                    <a:cubicBezTo>
                      <a:pt x="4" y="4289"/>
                      <a:pt x="4" y="4289"/>
                      <a:pt x="4" y="4289"/>
                    </a:cubicBezTo>
                    <a:cubicBezTo>
                      <a:pt x="4" y="4307"/>
                      <a:pt x="4" y="4307"/>
                      <a:pt x="4" y="4307"/>
                    </a:cubicBezTo>
                    <a:cubicBezTo>
                      <a:pt x="40" y="4284"/>
                      <a:pt x="40" y="4284"/>
                      <a:pt x="40" y="4284"/>
                    </a:cubicBezTo>
                    <a:lnTo>
                      <a:pt x="13" y="4215"/>
                    </a:lnTo>
                    <a:close/>
                    <a:moveTo>
                      <a:pt x="443" y="118"/>
                    </a:moveTo>
                    <a:cubicBezTo>
                      <a:pt x="393" y="151"/>
                      <a:pt x="393" y="151"/>
                      <a:pt x="393" y="151"/>
                    </a:cubicBezTo>
                    <a:cubicBezTo>
                      <a:pt x="367" y="112"/>
                      <a:pt x="367" y="112"/>
                      <a:pt x="367" y="112"/>
                    </a:cubicBezTo>
                    <a:cubicBezTo>
                      <a:pt x="319" y="144"/>
                      <a:pt x="319" y="144"/>
                      <a:pt x="319" y="144"/>
                    </a:cubicBezTo>
                    <a:cubicBezTo>
                      <a:pt x="281" y="85"/>
                      <a:pt x="281" y="85"/>
                      <a:pt x="281" y="85"/>
                    </a:cubicBezTo>
                    <a:cubicBezTo>
                      <a:pt x="328" y="53"/>
                      <a:pt x="328" y="53"/>
                      <a:pt x="328" y="53"/>
                    </a:cubicBezTo>
                    <a:cubicBezTo>
                      <a:pt x="303" y="14"/>
                      <a:pt x="303" y="14"/>
                      <a:pt x="303" y="14"/>
                    </a:cubicBezTo>
                    <a:cubicBezTo>
                      <a:pt x="324" y="0"/>
                      <a:pt x="324" y="0"/>
                      <a:pt x="324" y="0"/>
                    </a:cubicBezTo>
                    <a:cubicBezTo>
                      <a:pt x="300" y="0"/>
                      <a:pt x="300" y="0"/>
                      <a:pt x="300" y="0"/>
                    </a:cubicBezTo>
                    <a:cubicBezTo>
                      <a:pt x="284" y="10"/>
                      <a:pt x="284" y="10"/>
                      <a:pt x="284" y="10"/>
                    </a:cubicBezTo>
                    <a:cubicBezTo>
                      <a:pt x="310" y="49"/>
                      <a:pt x="310" y="49"/>
                      <a:pt x="310" y="49"/>
                    </a:cubicBezTo>
                    <a:cubicBezTo>
                      <a:pt x="262" y="81"/>
                      <a:pt x="262" y="81"/>
                      <a:pt x="262" y="81"/>
                    </a:cubicBezTo>
                    <a:cubicBezTo>
                      <a:pt x="316" y="162"/>
                      <a:pt x="316" y="162"/>
                      <a:pt x="316" y="162"/>
                    </a:cubicBezTo>
                    <a:cubicBezTo>
                      <a:pt x="364" y="130"/>
                      <a:pt x="364" y="130"/>
                      <a:pt x="364" y="130"/>
                    </a:cubicBezTo>
                    <a:cubicBezTo>
                      <a:pt x="390" y="169"/>
                      <a:pt x="390" y="169"/>
                      <a:pt x="390" y="169"/>
                    </a:cubicBezTo>
                    <a:cubicBezTo>
                      <a:pt x="456" y="125"/>
                      <a:pt x="456" y="125"/>
                      <a:pt x="456" y="125"/>
                    </a:cubicBezTo>
                    <a:cubicBezTo>
                      <a:pt x="462" y="122"/>
                      <a:pt x="462" y="122"/>
                      <a:pt x="462" y="122"/>
                    </a:cubicBezTo>
                    <a:cubicBezTo>
                      <a:pt x="381" y="0"/>
                      <a:pt x="381" y="0"/>
                      <a:pt x="381" y="0"/>
                    </a:cubicBezTo>
                    <a:cubicBezTo>
                      <a:pt x="365" y="0"/>
                      <a:pt x="365" y="0"/>
                      <a:pt x="365" y="0"/>
                    </a:cubicBezTo>
                    <a:lnTo>
                      <a:pt x="443" y="118"/>
                    </a:lnTo>
                    <a:close/>
                    <a:moveTo>
                      <a:pt x="11053" y="20"/>
                    </a:moveTo>
                    <a:cubicBezTo>
                      <a:pt x="11204" y="31"/>
                      <a:pt x="11355" y="42"/>
                      <a:pt x="11356" y="42"/>
                    </a:cubicBezTo>
                    <a:cubicBezTo>
                      <a:pt x="11356" y="42"/>
                      <a:pt x="11543" y="52"/>
                      <a:pt x="11643" y="52"/>
                    </a:cubicBezTo>
                    <a:cubicBezTo>
                      <a:pt x="11658" y="52"/>
                      <a:pt x="11672" y="52"/>
                      <a:pt x="11683" y="51"/>
                    </a:cubicBezTo>
                    <a:cubicBezTo>
                      <a:pt x="11693" y="50"/>
                      <a:pt x="11699" y="50"/>
                      <a:pt x="11709" y="48"/>
                    </a:cubicBezTo>
                    <a:cubicBezTo>
                      <a:pt x="11747" y="40"/>
                      <a:pt x="11781" y="22"/>
                      <a:pt x="11811" y="0"/>
                    </a:cubicBezTo>
                    <a:cubicBezTo>
                      <a:pt x="10785" y="0"/>
                      <a:pt x="10785" y="0"/>
                      <a:pt x="10785" y="0"/>
                    </a:cubicBezTo>
                    <a:cubicBezTo>
                      <a:pt x="10801" y="1"/>
                      <a:pt x="10821" y="2"/>
                      <a:pt x="10845" y="4"/>
                    </a:cubicBezTo>
                    <a:cubicBezTo>
                      <a:pt x="10902" y="8"/>
                      <a:pt x="10978" y="14"/>
                      <a:pt x="11053" y="20"/>
                    </a:cubicBezTo>
                    <a:close/>
                    <a:moveTo>
                      <a:pt x="566" y="6723"/>
                    </a:moveTo>
                    <a:cubicBezTo>
                      <a:pt x="548" y="6739"/>
                      <a:pt x="513" y="6750"/>
                      <a:pt x="481" y="6750"/>
                    </a:cubicBezTo>
                    <a:cubicBezTo>
                      <a:pt x="479" y="6750"/>
                      <a:pt x="477" y="6750"/>
                      <a:pt x="475" y="6750"/>
                    </a:cubicBezTo>
                    <a:cubicBezTo>
                      <a:pt x="441" y="6748"/>
                      <a:pt x="401" y="6720"/>
                      <a:pt x="384" y="6711"/>
                    </a:cubicBezTo>
                    <a:cubicBezTo>
                      <a:pt x="368" y="6703"/>
                      <a:pt x="314" y="6701"/>
                      <a:pt x="301" y="6698"/>
                    </a:cubicBezTo>
                    <a:cubicBezTo>
                      <a:pt x="291" y="6695"/>
                      <a:pt x="282" y="6690"/>
                      <a:pt x="281" y="6680"/>
                    </a:cubicBezTo>
                    <a:cubicBezTo>
                      <a:pt x="281" y="6676"/>
                      <a:pt x="283" y="6672"/>
                      <a:pt x="287" y="6670"/>
                    </a:cubicBezTo>
                    <a:cubicBezTo>
                      <a:pt x="293" y="6665"/>
                      <a:pt x="302" y="6664"/>
                      <a:pt x="314" y="6664"/>
                    </a:cubicBezTo>
                    <a:cubicBezTo>
                      <a:pt x="336" y="6664"/>
                      <a:pt x="364" y="6668"/>
                      <a:pt x="378" y="6670"/>
                    </a:cubicBezTo>
                    <a:cubicBezTo>
                      <a:pt x="393" y="6673"/>
                      <a:pt x="416" y="6678"/>
                      <a:pt x="442" y="6678"/>
                    </a:cubicBezTo>
                    <a:cubicBezTo>
                      <a:pt x="452" y="6678"/>
                      <a:pt x="462" y="6677"/>
                      <a:pt x="473" y="6676"/>
                    </a:cubicBezTo>
                    <a:cubicBezTo>
                      <a:pt x="510" y="6669"/>
                      <a:pt x="571" y="6638"/>
                      <a:pt x="578" y="6634"/>
                    </a:cubicBezTo>
                    <a:cubicBezTo>
                      <a:pt x="578" y="6634"/>
                      <a:pt x="579" y="6633"/>
                      <a:pt x="581" y="6633"/>
                    </a:cubicBezTo>
                    <a:cubicBezTo>
                      <a:pt x="586" y="6635"/>
                      <a:pt x="584" y="6637"/>
                      <a:pt x="585" y="6637"/>
                    </a:cubicBezTo>
                    <a:cubicBezTo>
                      <a:pt x="586" y="6643"/>
                      <a:pt x="587" y="6662"/>
                      <a:pt x="591" y="6669"/>
                    </a:cubicBezTo>
                    <a:cubicBezTo>
                      <a:pt x="592" y="6671"/>
                      <a:pt x="593" y="6674"/>
                      <a:pt x="593" y="6677"/>
                    </a:cubicBezTo>
                    <a:cubicBezTo>
                      <a:pt x="592" y="6691"/>
                      <a:pt x="581" y="6709"/>
                      <a:pt x="566" y="6723"/>
                    </a:cubicBezTo>
                    <a:close/>
                    <a:moveTo>
                      <a:pt x="560" y="6717"/>
                    </a:moveTo>
                    <a:cubicBezTo>
                      <a:pt x="574" y="6704"/>
                      <a:pt x="585" y="6686"/>
                      <a:pt x="584" y="6677"/>
                    </a:cubicBezTo>
                    <a:cubicBezTo>
                      <a:pt x="584" y="6675"/>
                      <a:pt x="584" y="6674"/>
                      <a:pt x="584" y="6673"/>
                    </a:cubicBezTo>
                    <a:cubicBezTo>
                      <a:pt x="581" y="6667"/>
                      <a:pt x="579" y="6658"/>
                      <a:pt x="579" y="6651"/>
                    </a:cubicBezTo>
                    <a:cubicBezTo>
                      <a:pt x="578" y="6648"/>
                      <a:pt x="578" y="6646"/>
                      <a:pt x="578" y="6644"/>
                    </a:cubicBezTo>
                    <a:cubicBezTo>
                      <a:pt x="562" y="6651"/>
                      <a:pt x="509" y="6678"/>
                      <a:pt x="474" y="6684"/>
                    </a:cubicBezTo>
                    <a:cubicBezTo>
                      <a:pt x="463" y="6686"/>
                      <a:pt x="452" y="6686"/>
                      <a:pt x="442" y="6686"/>
                    </a:cubicBezTo>
                    <a:cubicBezTo>
                      <a:pt x="415" y="6686"/>
                      <a:pt x="391" y="6681"/>
                      <a:pt x="376" y="6678"/>
                    </a:cubicBezTo>
                    <a:cubicBezTo>
                      <a:pt x="363" y="6676"/>
                      <a:pt x="335" y="6672"/>
                      <a:pt x="314" y="6672"/>
                    </a:cubicBezTo>
                    <a:cubicBezTo>
                      <a:pt x="303" y="6672"/>
                      <a:pt x="294" y="6674"/>
                      <a:pt x="292" y="6676"/>
                    </a:cubicBezTo>
                    <a:cubicBezTo>
                      <a:pt x="290" y="6678"/>
                      <a:pt x="289" y="6679"/>
                      <a:pt x="289" y="6680"/>
                    </a:cubicBezTo>
                    <a:cubicBezTo>
                      <a:pt x="289" y="6682"/>
                      <a:pt x="295" y="6688"/>
                      <a:pt x="303" y="6690"/>
                    </a:cubicBezTo>
                    <a:cubicBezTo>
                      <a:pt x="314" y="6693"/>
                      <a:pt x="368" y="6695"/>
                      <a:pt x="388" y="6704"/>
                    </a:cubicBezTo>
                    <a:cubicBezTo>
                      <a:pt x="406" y="6713"/>
                      <a:pt x="446" y="6741"/>
                      <a:pt x="475" y="6742"/>
                    </a:cubicBezTo>
                    <a:cubicBezTo>
                      <a:pt x="477" y="6742"/>
                      <a:pt x="479" y="6742"/>
                      <a:pt x="481" y="6742"/>
                    </a:cubicBezTo>
                    <a:cubicBezTo>
                      <a:pt x="510" y="6742"/>
                      <a:pt x="545" y="6731"/>
                      <a:pt x="560" y="6717"/>
                    </a:cubicBezTo>
                    <a:close/>
                    <a:moveTo>
                      <a:pt x="77" y="1144"/>
                    </a:moveTo>
                    <a:cubicBezTo>
                      <a:pt x="4" y="1039"/>
                      <a:pt x="4" y="1039"/>
                      <a:pt x="4" y="1039"/>
                    </a:cubicBezTo>
                    <a:cubicBezTo>
                      <a:pt x="4" y="1062"/>
                      <a:pt x="4" y="1062"/>
                      <a:pt x="4" y="1062"/>
                    </a:cubicBezTo>
                    <a:cubicBezTo>
                      <a:pt x="59" y="1140"/>
                      <a:pt x="59" y="1140"/>
                      <a:pt x="59" y="1140"/>
                    </a:cubicBezTo>
                    <a:cubicBezTo>
                      <a:pt x="18" y="1169"/>
                      <a:pt x="18" y="1169"/>
                      <a:pt x="18" y="1169"/>
                    </a:cubicBezTo>
                    <a:cubicBezTo>
                      <a:pt x="4" y="1149"/>
                      <a:pt x="4" y="1149"/>
                      <a:pt x="4" y="1149"/>
                    </a:cubicBezTo>
                    <a:cubicBezTo>
                      <a:pt x="4" y="1172"/>
                      <a:pt x="4" y="1172"/>
                      <a:pt x="4" y="1172"/>
                    </a:cubicBezTo>
                    <a:cubicBezTo>
                      <a:pt x="15" y="1187"/>
                      <a:pt x="15" y="1187"/>
                      <a:pt x="15" y="1187"/>
                    </a:cubicBezTo>
                    <a:lnTo>
                      <a:pt x="77" y="1144"/>
                    </a:lnTo>
                    <a:close/>
                    <a:moveTo>
                      <a:pt x="69" y="1459"/>
                    </a:moveTo>
                    <a:cubicBezTo>
                      <a:pt x="4" y="1477"/>
                      <a:pt x="4" y="1477"/>
                      <a:pt x="4" y="1477"/>
                    </a:cubicBezTo>
                    <a:cubicBezTo>
                      <a:pt x="4" y="1492"/>
                      <a:pt x="4" y="1492"/>
                      <a:pt x="4" y="1492"/>
                    </a:cubicBezTo>
                    <a:cubicBezTo>
                      <a:pt x="62" y="1476"/>
                      <a:pt x="62" y="1476"/>
                      <a:pt x="62" y="1476"/>
                    </a:cubicBezTo>
                    <a:cubicBezTo>
                      <a:pt x="109" y="1558"/>
                      <a:pt x="109" y="1558"/>
                      <a:pt x="109" y="1558"/>
                    </a:cubicBezTo>
                    <a:cubicBezTo>
                      <a:pt x="4" y="1647"/>
                      <a:pt x="4" y="1647"/>
                      <a:pt x="4" y="1647"/>
                    </a:cubicBezTo>
                    <a:cubicBezTo>
                      <a:pt x="4" y="1666"/>
                      <a:pt x="4" y="1666"/>
                      <a:pt x="4" y="1666"/>
                    </a:cubicBezTo>
                    <a:cubicBezTo>
                      <a:pt x="128" y="1561"/>
                      <a:pt x="128" y="1561"/>
                      <a:pt x="128" y="1561"/>
                    </a:cubicBezTo>
                    <a:lnTo>
                      <a:pt x="69" y="1459"/>
                    </a:lnTo>
                    <a:close/>
                    <a:moveTo>
                      <a:pt x="51" y="1301"/>
                    </a:moveTo>
                    <a:cubicBezTo>
                      <a:pt x="23" y="1312"/>
                      <a:pt x="23" y="1312"/>
                      <a:pt x="23" y="1312"/>
                    </a:cubicBezTo>
                    <a:cubicBezTo>
                      <a:pt x="23" y="1312"/>
                      <a:pt x="16" y="1315"/>
                      <a:pt x="4" y="1320"/>
                    </a:cubicBezTo>
                    <a:cubicBezTo>
                      <a:pt x="4" y="1355"/>
                      <a:pt x="4" y="1355"/>
                      <a:pt x="4" y="1355"/>
                    </a:cubicBezTo>
                    <a:cubicBezTo>
                      <a:pt x="31" y="1324"/>
                      <a:pt x="31" y="1324"/>
                      <a:pt x="31" y="1324"/>
                    </a:cubicBezTo>
                    <a:lnTo>
                      <a:pt x="51" y="1301"/>
                    </a:lnTo>
                    <a:close/>
                    <a:moveTo>
                      <a:pt x="3098" y="9170"/>
                    </a:moveTo>
                    <a:cubicBezTo>
                      <a:pt x="2977" y="9256"/>
                      <a:pt x="2977" y="9256"/>
                      <a:pt x="2977" y="9256"/>
                    </a:cubicBezTo>
                    <a:cubicBezTo>
                      <a:pt x="2974" y="9250"/>
                      <a:pt x="2974" y="9250"/>
                      <a:pt x="2974" y="9250"/>
                    </a:cubicBezTo>
                    <a:cubicBezTo>
                      <a:pt x="2917" y="9171"/>
                      <a:pt x="2917" y="9171"/>
                      <a:pt x="2917" y="9171"/>
                    </a:cubicBezTo>
                    <a:cubicBezTo>
                      <a:pt x="3037" y="9085"/>
                      <a:pt x="3037" y="9085"/>
                      <a:pt x="3037" y="9085"/>
                    </a:cubicBezTo>
                    <a:lnTo>
                      <a:pt x="3098" y="9170"/>
                    </a:lnTo>
                    <a:close/>
                    <a:moveTo>
                      <a:pt x="2980" y="9238"/>
                    </a:moveTo>
                    <a:cubicBezTo>
                      <a:pt x="3080" y="9167"/>
                      <a:pt x="3080" y="9167"/>
                      <a:pt x="3080" y="9167"/>
                    </a:cubicBezTo>
                    <a:cubicBezTo>
                      <a:pt x="3034" y="9103"/>
                      <a:pt x="3034" y="9103"/>
                      <a:pt x="3034" y="9103"/>
                    </a:cubicBezTo>
                    <a:cubicBezTo>
                      <a:pt x="2935" y="9174"/>
                      <a:pt x="2935" y="9174"/>
                      <a:pt x="2935" y="9174"/>
                    </a:cubicBezTo>
                    <a:lnTo>
                      <a:pt x="2980" y="9238"/>
                    </a:lnTo>
                    <a:close/>
                    <a:moveTo>
                      <a:pt x="3739" y="48"/>
                    </a:moveTo>
                    <a:cubicBezTo>
                      <a:pt x="3719" y="40"/>
                      <a:pt x="3719" y="40"/>
                      <a:pt x="3719" y="40"/>
                    </a:cubicBezTo>
                    <a:cubicBezTo>
                      <a:pt x="3732" y="0"/>
                      <a:pt x="3732" y="0"/>
                      <a:pt x="3732" y="0"/>
                    </a:cubicBezTo>
                    <a:cubicBezTo>
                      <a:pt x="3716" y="0"/>
                      <a:pt x="3716" y="0"/>
                      <a:pt x="3716" y="0"/>
                    </a:cubicBezTo>
                    <a:cubicBezTo>
                      <a:pt x="3701" y="49"/>
                      <a:pt x="3701" y="49"/>
                      <a:pt x="3701" y="49"/>
                    </a:cubicBezTo>
                    <a:cubicBezTo>
                      <a:pt x="3743" y="66"/>
                      <a:pt x="3743" y="66"/>
                      <a:pt x="3743" y="66"/>
                    </a:cubicBezTo>
                    <a:cubicBezTo>
                      <a:pt x="3813" y="0"/>
                      <a:pt x="3813" y="0"/>
                      <a:pt x="3813" y="0"/>
                    </a:cubicBezTo>
                    <a:cubicBezTo>
                      <a:pt x="3792" y="0"/>
                      <a:pt x="3792" y="0"/>
                      <a:pt x="3792" y="0"/>
                    </a:cubicBezTo>
                    <a:lnTo>
                      <a:pt x="3739" y="48"/>
                    </a:lnTo>
                    <a:close/>
                    <a:moveTo>
                      <a:pt x="2739" y="8792"/>
                    </a:moveTo>
                    <a:cubicBezTo>
                      <a:pt x="2883" y="8806"/>
                      <a:pt x="2883" y="8806"/>
                      <a:pt x="2883" y="8806"/>
                    </a:cubicBezTo>
                    <a:cubicBezTo>
                      <a:pt x="2876" y="8882"/>
                      <a:pt x="2876" y="8882"/>
                      <a:pt x="2876" y="8882"/>
                    </a:cubicBezTo>
                    <a:cubicBezTo>
                      <a:pt x="2725" y="8867"/>
                      <a:pt x="2725" y="8867"/>
                      <a:pt x="2725" y="8867"/>
                    </a:cubicBezTo>
                    <a:cubicBezTo>
                      <a:pt x="2732" y="8792"/>
                      <a:pt x="2732" y="8792"/>
                      <a:pt x="2732" y="8792"/>
                    </a:cubicBezTo>
                    <a:lnTo>
                      <a:pt x="2739" y="8792"/>
                    </a:lnTo>
                    <a:close/>
                    <a:moveTo>
                      <a:pt x="2739" y="8855"/>
                    </a:moveTo>
                    <a:cubicBezTo>
                      <a:pt x="2864" y="8867"/>
                      <a:pt x="2864" y="8867"/>
                      <a:pt x="2864" y="8867"/>
                    </a:cubicBezTo>
                    <a:cubicBezTo>
                      <a:pt x="2869" y="8818"/>
                      <a:pt x="2869" y="8818"/>
                      <a:pt x="2869" y="8818"/>
                    </a:cubicBezTo>
                    <a:cubicBezTo>
                      <a:pt x="2744" y="8806"/>
                      <a:pt x="2744" y="8806"/>
                      <a:pt x="2744" y="8806"/>
                    </a:cubicBezTo>
                    <a:lnTo>
                      <a:pt x="2739" y="8855"/>
                    </a:lnTo>
                    <a:close/>
                    <a:moveTo>
                      <a:pt x="151" y="4553"/>
                    </a:moveTo>
                    <a:cubicBezTo>
                      <a:pt x="126" y="4518"/>
                      <a:pt x="126" y="4518"/>
                      <a:pt x="126" y="4518"/>
                    </a:cubicBezTo>
                    <a:cubicBezTo>
                      <a:pt x="267" y="4421"/>
                      <a:pt x="267" y="4421"/>
                      <a:pt x="267" y="4421"/>
                    </a:cubicBezTo>
                    <a:cubicBezTo>
                      <a:pt x="292" y="4454"/>
                      <a:pt x="292" y="4454"/>
                      <a:pt x="292" y="4454"/>
                    </a:cubicBezTo>
                    <a:cubicBezTo>
                      <a:pt x="242" y="4498"/>
                      <a:pt x="242" y="4498"/>
                      <a:pt x="242" y="4498"/>
                    </a:cubicBezTo>
                    <a:cubicBezTo>
                      <a:pt x="315" y="4581"/>
                      <a:pt x="315" y="4581"/>
                      <a:pt x="315" y="4581"/>
                    </a:cubicBezTo>
                    <a:cubicBezTo>
                      <a:pt x="432" y="4528"/>
                      <a:pt x="432" y="4528"/>
                      <a:pt x="432" y="4528"/>
                    </a:cubicBezTo>
                    <a:cubicBezTo>
                      <a:pt x="461" y="4571"/>
                      <a:pt x="461" y="4571"/>
                      <a:pt x="461" y="4571"/>
                    </a:cubicBezTo>
                    <a:cubicBezTo>
                      <a:pt x="545" y="4546"/>
                      <a:pt x="545" y="4546"/>
                      <a:pt x="545" y="4546"/>
                    </a:cubicBezTo>
                    <a:cubicBezTo>
                      <a:pt x="555" y="4543"/>
                      <a:pt x="555" y="4543"/>
                      <a:pt x="555" y="4543"/>
                    </a:cubicBezTo>
                    <a:cubicBezTo>
                      <a:pt x="340" y="4250"/>
                      <a:pt x="340" y="4250"/>
                      <a:pt x="340" y="4250"/>
                    </a:cubicBezTo>
                    <a:cubicBezTo>
                      <a:pt x="4" y="4474"/>
                      <a:pt x="4" y="4474"/>
                      <a:pt x="4" y="4474"/>
                    </a:cubicBezTo>
                    <a:cubicBezTo>
                      <a:pt x="4" y="4492"/>
                      <a:pt x="4" y="4492"/>
                      <a:pt x="4" y="4492"/>
                    </a:cubicBezTo>
                    <a:cubicBezTo>
                      <a:pt x="336" y="4270"/>
                      <a:pt x="336" y="4270"/>
                      <a:pt x="336" y="4270"/>
                    </a:cubicBezTo>
                    <a:cubicBezTo>
                      <a:pt x="531" y="4534"/>
                      <a:pt x="531" y="4534"/>
                      <a:pt x="531" y="4534"/>
                    </a:cubicBezTo>
                    <a:cubicBezTo>
                      <a:pt x="467" y="4553"/>
                      <a:pt x="467" y="4553"/>
                      <a:pt x="467" y="4553"/>
                    </a:cubicBezTo>
                    <a:cubicBezTo>
                      <a:pt x="437" y="4509"/>
                      <a:pt x="437" y="4509"/>
                      <a:pt x="437" y="4509"/>
                    </a:cubicBezTo>
                    <a:cubicBezTo>
                      <a:pt x="319" y="4563"/>
                      <a:pt x="319" y="4563"/>
                      <a:pt x="319" y="4563"/>
                    </a:cubicBezTo>
                    <a:cubicBezTo>
                      <a:pt x="263" y="4499"/>
                      <a:pt x="263" y="4499"/>
                      <a:pt x="263" y="4499"/>
                    </a:cubicBezTo>
                    <a:cubicBezTo>
                      <a:pt x="312" y="4456"/>
                      <a:pt x="312" y="4456"/>
                      <a:pt x="312" y="4456"/>
                    </a:cubicBezTo>
                    <a:cubicBezTo>
                      <a:pt x="270" y="4401"/>
                      <a:pt x="270" y="4401"/>
                      <a:pt x="270" y="4401"/>
                    </a:cubicBezTo>
                    <a:cubicBezTo>
                      <a:pt x="105" y="4514"/>
                      <a:pt x="105" y="4514"/>
                      <a:pt x="105" y="4514"/>
                    </a:cubicBezTo>
                    <a:cubicBezTo>
                      <a:pt x="130" y="4549"/>
                      <a:pt x="130" y="4549"/>
                      <a:pt x="130" y="4549"/>
                    </a:cubicBezTo>
                    <a:cubicBezTo>
                      <a:pt x="10" y="4629"/>
                      <a:pt x="10" y="4629"/>
                      <a:pt x="10" y="4629"/>
                    </a:cubicBezTo>
                    <a:cubicBezTo>
                      <a:pt x="4" y="4626"/>
                      <a:pt x="4" y="4626"/>
                      <a:pt x="4" y="4626"/>
                    </a:cubicBezTo>
                    <a:cubicBezTo>
                      <a:pt x="4" y="4643"/>
                      <a:pt x="4" y="4643"/>
                      <a:pt x="4" y="4643"/>
                    </a:cubicBezTo>
                    <a:cubicBezTo>
                      <a:pt x="11" y="4646"/>
                      <a:pt x="11" y="4646"/>
                      <a:pt x="11" y="4646"/>
                    </a:cubicBezTo>
                    <a:lnTo>
                      <a:pt x="151" y="4553"/>
                    </a:lnTo>
                    <a:close/>
                    <a:moveTo>
                      <a:pt x="183" y="1935"/>
                    </a:moveTo>
                    <a:cubicBezTo>
                      <a:pt x="293" y="1835"/>
                      <a:pt x="293" y="1835"/>
                      <a:pt x="293" y="1835"/>
                    </a:cubicBezTo>
                    <a:cubicBezTo>
                      <a:pt x="299" y="1829"/>
                      <a:pt x="299" y="1829"/>
                      <a:pt x="299" y="1829"/>
                    </a:cubicBezTo>
                    <a:cubicBezTo>
                      <a:pt x="152" y="1695"/>
                      <a:pt x="152" y="1695"/>
                      <a:pt x="152" y="1695"/>
                    </a:cubicBezTo>
                    <a:cubicBezTo>
                      <a:pt x="4" y="1809"/>
                      <a:pt x="4" y="1809"/>
                      <a:pt x="4" y="1809"/>
                    </a:cubicBezTo>
                    <a:cubicBezTo>
                      <a:pt x="4" y="1828"/>
                      <a:pt x="4" y="1828"/>
                      <a:pt x="4" y="1828"/>
                    </a:cubicBezTo>
                    <a:cubicBezTo>
                      <a:pt x="151" y="1715"/>
                      <a:pt x="151" y="1715"/>
                      <a:pt x="151" y="1715"/>
                    </a:cubicBezTo>
                    <a:cubicBezTo>
                      <a:pt x="277" y="1829"/>
                      <a:pt x="277" y="1829"/>
                      <a:pt x="277" y="1829"/>
                    </a:cubicBezTo>
                    <a:cubicBezTo>
                      <a:pt x="177" y="1920"/>
                      <a:pt x="177" y="1920"/>
                      <a:pt x="177" y="1920"/>
                    </a:cubicBezTo>
                    <a:cubicBezTo>
                      <a:pt x="37" y="1913"/>
                      <a:pt x="37" y="1913"/>
                      <a:pt x="37" y="1913"/>
                    </a:cubicBezTo>
                    <a:cubicBezTo>
                      <a:pt x="4" y="1859"/>
                      <a:pt x="4" y="1859"/>
                      <a:pt x="4" y="1859"/>
                    </a:cubicBezTo>
                    <a:cubicBezTo>
                      <a:pt x="4" y="1887"/>
                      <a:pt x="4" y="1887"/>
                      <a:pt x="4" y="1887"/>
                    </a:cubicBezTo>
                    <a:cubicBezTo>
                      <a:pt x="28" y="1927"/>
                      <a:pt x="28" y="1927"/>
                      <a:pt x="28" y="1927"/>
                    </a:cubicBezTo>
                    <a:lnTo>
                      <a:pt x="183" y="1935"/>
                    </a:lnTo>
                    <a:close/>
                    <a:moveTo>
                      <a:pt x="54" y="2215"/>
                    </a:moveTo>
                    <a:cubicBezTo>
                      <a:pt x="4" y="2136"/>
                      <a:pt x="4" y="2136"/>
                      <a:pt x="4" y="2136"/>
                    </a:cubicBezTo>
                    <a:cubicBezTo>
                      <a:pt x="4" y="2164"/>
                      <a:pt x="4" y="2164"/>
                      <a:pt x="4" y="2164"/>
                    </a:cubicBezTo>
                    <a:cubicBezTo>
                      <a:pt x="38" y="2217"/>
                      <a:pt x="38" y="2217"/>
                      <a:pt x="38" y="2217"/>
                    </a:cubicBezTo>
                    <a:cubicBezTo>
                      <a:pt x="11" y="2302"/>
                      <a:pt x="11" y="2302"/>
                      <a:pt x="11" y="2302"/>
                    </a:cubicBezTo>
                    <a:cubicBezTo>
                      <a:pt x="4" y="2303"/>
                      <a:pt x="4" y="2303"/>
                      <a:pt x="4" y="2303"/>
                    </a:cubicBezTo>
                    <a:cubicBezTo>
                      <a:pt x="4" y="2318"/>
                      <a:pt x="4" y="2318"/>
                      <a:pt x="4" y="2318"/>
                    </a:cubicBezTo>
                    <a:cubicBezTo>
                      <a:pt x="23" y="2315"/>
                      <a:pt x="23" y="2315"/>
                      <a:pt x="23" y="2315"/>
                    </a:cubicBezTo>
                    <a:lnTo>
                      <a:pt x="54" y="2215"/>
                    </a:lnTo>
                    <a:close/>
                    <a:moveTo>
                      <a:pt x="522" y="6400"/>
                    </a:moveTo>
                    <a:cubicBezTo>
                      <a:pt x="384" y="6397"/>
                      <a:pt x="384" y="6397"/>
                      <a:pt x="384" y="6397"/>
                    </a:cubicBezTo>
                    <a:cubicBezTo>
                      <a:pt x="387" y="6260"/>
                      <a:pt x="387" y="6260"/>
                      <a:pt x="387" y="6260"/>
                    </a:cubicBezTo>
                    <a:cubicBezTo>
                      <a:pt x="393" y="6260"/>
                      <a:pt x="393" y="6260"/>
                      <a:pt x="393" y="6260"/>
                    </a:cubicBezTo>
                    <a:cubicBezTo>
                      <a:pt x="525" y="6262"/>
                      <a:pt x="525" y="6262"/>
                      <a:pt x="525" y="6262"/>
                    </a:cubicBezTo>
                    <a:lnTo>
                      <a:pt x="522" y="6400"/>
                    </a:lnTo>
                    <a:close/>
                    <a:moveTo>
                      <a:pt x="511" y="6275"/>
                    </a:moveTo>
                    <a:cubicBezTo>
                      <a:pt x="400" y="6273"/>
                      <a:pt x="400" y="6273"/>
                      <a:pt x="400" y="6273"/>
                    </a:cubicBezTo>
                    <a:cubicBezTo>
                      <a:pt x="398" y="6385"/>
                      <a:pt x="398" y="6385"/>
                      <a:pt x="398" y="6385"/>
                    </a:cubicBezTo>
                    <a:cubicBezTo>
                      <a:pt x="509" y="6387"/>
                      <a:pt x="509" y="6387"/>
                      <a:pt x="509" y="6387"/>
                    </a:cubicBezTo>
                    <a:lnTo>
                      <a:pt x="511" y="6275"/>
                    </a:lnTo>
                    <a:close/>
                    <a:moveTo>
                      <a:pt x="56" y="4838"/>
                    </a:moveTo>
                    <a:cubicBezTo>
                      <a:pt x="4" y="4824"/>
                      <a:pt x="4" y="4824"/>
                      <a:pt x="4" y="4824"/>
                    </a:cubicBezTo>
                    <a:cubicBezTo>
                      <a:pt x="4" y="4839"/>
                      <a:pt x="4" y="4839"/>
                      <a:pt x="4" y="4839"/>
                    </a:cubicBezTo>
                    <a:cubicBezTo>
                      <a:pt x="20" y="4843"/>
                      <a:pt x="20" y="4843"/>
                      <a:pt x="20" y="4843"/>
                    </a:cubicBezTo>
                    <a:cubicBezTo>
                      <a:pt x="4" y="4853"/>
                      <a:pt x="4" y="4853"/>
                      <a:pt x="4" y="4853"/>
                    </a:cubicBezTo>
                    <a:cubicBezTo>
                      <a:pt x="4" y="4870"/>
                      <a:pt x="4" y="4870"/>
                      <a:pt x="4" y="4870"/>
                    </a:cubicBezTo>
                    <a:cubicBezTo>
                      <a:pt x="42" y="4847"/>
                      <a:pt x="42" y="4847"/>
                      <a:pt x="42" y="4847"/>
                    </a:cubicBezTo>
                    <a:lnTo>
                      <a:pt x="56" y="4838"/>
                    </a:lnTo>
                    <a:close/>
                    <a:moveTo>
                      <a:pt x="10007" y="37"/>
                    </a:moveTo>
                    <a:cubicBezTo>
                      <a:pt x="10143" y="0"/>
                      <a:pt x="10143" y="0"/>
                      <a:pt x="10143" y="0"/>
                    </a:cubicBezTo>
                    <a:cubicBezTo>
                      <a:pt x="10088" y="0"/>
                      <a:pt x="10088" y="0"/>
                      <a:pt x="10088" y="0"/>
                    </a:cubicBezTo>
                    <a:cubicBezTo>
                      <a:pt x="10017" y="19"/>
                      <a:pt x="10017" y="19"/>
                      <a:pt x="10017" y="19"/>
                    </a:cubicBezTo>
                    <a:cubicBezTo>
                      <a:pt x="10011" y="0"/>
                      <a:pt x="10011" y="0"/>
                      <a:pt x="10011" y="0"/>
                    </a:cubicBezTo>
                    <a:cubicBezTo>
                      <a:pt x="9996" y="0"/>
                      <a:pt x="9996" y="0"/>
                      <a:pt x="9996" y="0"/>
                    </a:cubicBezTo>
                    <a:lnTo>
                      <a:pt x="10007" y="37"/>
                    </a:lnTo>
                    <a:close/>
                    <a:moveTo>
                      <a:pt x="46" y="4813"/>
                    </a:moveTo>
                    <a:cubicBezTo>
                      <a:pt x="61" y="4806"/>
                      <a:pt x="61" y="4806"/>
                      <a:pt x="61" y="4806"/>
                    </a:cubicBezTo>
                    <a:cubicBezTo>
                      <a:pt x="75" y="4800"/>
                      <a:pt x="75" y="4800"/>
                      <a:pt x="75" y="4800"/>
                    </a:cubicBezTo>
                    <a:cubicBezTo>
                      <a:pt x="4" y="4762"/>
                      <a:pt x="4" y="4762"/>
                      <a:pt x="4" y="4762"/>
                    </a:cubicBezTo>
                    <a:cubicBezTo>
                      <a:pt x="4" y="4779"/>
                      <a:pt x="4" y="4779"/>
                      <a:pt x="4" y="4779"/>
                    </a:cubicBezTo>
                    <a:cubicBezTo>
                      <a:pt x="37" y="4797"/>
                      <a:pt x="37" y="4797"/>
                      <a:pt x="37" y="4797"/>
                    </a:cubicBezTo>
                    <a:cubicBezTo>
                      <a:pt x="4" y="4786"/>
                      <a:pt x="4" y="4786"/>
                      <a:pt x="4" y="4786"/>
                    </a:cubicBezTo>
                    <a:cubicBezTo>
                      <a:pt x="4" y="4802"/>
                      <a:pt x="4" y="4802"/>
                      <a:pt x="4" y="4802"/>
                    </a:cubicBezTo>
                    <a:cubicBezTo>
                      <a:pt x="43" y="4814"/>
                      <a:pt x="43" y="4814"/>
                      <a:pt x="43" y="4814"/>
                    </a:cubicBezTo>
                    <a:lnTo>
                      <a:pt x="46" y="4813"/>
                    </a:lnTo>
                    <a:close/>
                    <a:moveTo>
                      <a:pt x="88" y="5226"/>
                    </a:moveTo>
                    <a:cubicBezTo>
                      <a:pt x="101" y="5224"/>
                      <a:pt x="101" y="5224"/>
                      <a:pt x="101" y="5224"/>
                    </a:cubicBezTo>
                    <a:cubicBezTo>
                      <a:pt x="84" y="5133"/>
                      <a:pt x="84" y="5133"/>
                      <a:pt x="84" y="5133"/>
                    </a:cubicBezTo>
                    <a:cubicBezTo>
                      <a:pt x="83" y="5126"/>
                      <a:pt x="83" y="5126"/>
                      <a:pt x="83" y="5126"/>
                    </a:cubicBezTo>
                    <a:cubicBezTo>
                      <a:pt x="4" y="5141"/>
                      <a:pt x="4" y="5141"/>
                      <a:pt x="4" y="5141"/>
                    </a:cubicBezTo>
                    <a:cubicBezTo>
                      <a:pt x="4" y="5154"/>
                      <a:pt x="4" y="5154"/>
                      <a:pt x="4" y="5154"/>
                    </a:cubicBezTo>
                    <a:cubicBezTo>
                      <a:pt x="72" y="5142"/>
                      <a:pt x="72" y="5142"/>
                      <a:pt x="72" y="5142"/>
                    </a:cubicBezTo>
                    <a:cubicBezTo>
                      <a:pt x="86" y="5213"/>
                      <a:pt x="86" y="5213"/>
                      <a:pt x="86" y="5213"/>
                    </a:cubicBezTo>
                    <a:cubicBezTo>
                      <a:pt x="73" y="5216"/>
                      <a:pt x="73" y="5216"/>
                      <a:pt x="73" y="5216"/>
                    </a:cubicBezTo>
                    <a:cubicBezTo>
                      <a:pt x="83" y="5270"/>
                      <a:pt x="83" y="5270"/>
                      <a:pt x="83" y="5270"/>
                    </a:cubicBezTo>
                    <a:cubicBezTo>
                      <a:pt x="4" y="5284"/>
                      <a:pt x="4" y="5284"/>
                      <a:pt x="4" y="5284"/>
                    </a:cubicBezTo>
                    <a:cubicBezTo>
                      <a:pt x="4" y="5298"/>
                      <a:pt x="4" y="5298"/>
                      <a:pt x="4" y="5298"/>
                    </a:cubicBezTo>
                    <a:cubicBezTo>
                      <a:pt x="98" y="5280"/>
                      <a:pt x="98" y="5280"/>
                      <a:pt x="98" y="5280"/>
                    </a:cubicBezTo>
                    <a:lnTo>
                      <a:pt x="88" y="5226"/>
                    </a:lnTo>
                    <a:close/>
                    <a:moveTo>
                      <a:pt x="57" y="5657"/>
                    </a:moveTo>
                    <a:cubicBezTo>
                      <a:pt x="63" y="5658"/>
                      <a:pt x="63" y="5658"/>
                      <a:pt x="63" y="5658"/>
                    </a:cubicBezTo>
                    <a:cubicBezTo>
                      <a:pt x="89" y="5538"/>
                      <a:pt x="89" y="5538"/>
                      <a:pt x="89" y="5538"/>
                    </a:cubicBezTo>
                    <a:cubicBezTo>
                      <a:pt x="4" y="5522"/>
                      <a:pt x="4" y="5522"/>
                      <a:pt x="4" y="5522"/>
                    </a:cubicBezTo>
                    <a:cubicBezTo>
                      <a:pt x="4" y="5536"/>
                      <a:pt x="4" y="5536"/>
                      <a:pt x="4" y="5536"/>
                    </a:cubicBezTo>
                    <a:cubicBezTo>
                      <a:pt x="73" y="5549"/>
                      <a:pt x="73" y="5549"/>
                      <a:pt x="73" y="5549"/>
                    </a:cubicBezTo>
                    <a:cubicBezTo>
                      <a:pt x="53" y="5643"/>
                      <a:pt x="53" y="5643"/>
                      <a:pt x="53" y="5643"/>
                    </a:cubicBezTo>
                    <a:cubicBezTo>
                      <a:pt x="4" y="5634"/>
                      <a:pt x="4" y="5634"/>
                      <a:pt x="4" y="5634"/>
                    </a:cubicBezTo>
                    <a:cubicBezTo>
                      <a:pt x="4" y="5663"/>
                      <a:pt x="4" y="5663"/>
                      <a:pt x="4" y="5663"/>
                    </a:cubicBezTo>
                    <a:cubicBezTo>
                      <a:pt x="7" y="5648"/>
                      <a:pt x="7" y="5648"/>
                      <a:pt x="7" y="5648"/>
                    </a:cubicBezTo>
                    <a:lnTo>
                      <a:pt x="57" y="5657"/>
                    </a:lnTo>
                    <a:close/>
                    <a:moveTo>
                      <a:pt x="10286" y="278"/>
                    </a:moveTo>
                    <a:cubicBezTo>
                      <a:pt x="10142" y="318"/>
                      <a:pt x="10142" y="318"/>
                      <a:pt x="10142" y="318"/>
                    </a:cubicBezTo>
                    <a:cubicBezTo>
                      <a:pt x="10227" y="622"/>
                      <a:pt x="10227" y="622"/>
                      <a:pt x="10227" y="622"/>
                    </a:cubicBezTo>
                    <a:cubicBezTo>
                      <a:pt x="9554" y="797"/>
                      <a:pt x="9554" y="797"/>
                      <a:pt x="9554" y="797"/>
                    </a:cubicBezTo>
                    <a:cubicBezTo>
                      <a:pt x="9511" y="643"/>
                      <a:pt x="9511" y="643"/>
                      <a:pt x="9511" y="643"/>
                    </a:cubicBezTo>
                    <a:cubicBezTo>
                      <a:pt x="9581" y="620"/>
                      <a:pt x="9581" y="620"/>
                      <a:pt x="9581" y="620"/>
                    </a:cubicBezTo>
                    <a:cubicBezTo>
                      <a:pt x="9512" y="389"/>
                      <a:pt x="9512" y="389"/>
                      <a:pt x="9512" y="389"/>
                    </a:cubicBezTo>
                    <a:cubicBezTo>
                      <a:pt x="9437" y="405"/>
                      <a:pt x="9437" y="405"/>
                      <a:pt x="9437" y="405"/>
                    </a:cubicBezTo>
                    <a:cubicBezTo>
                      <a:pt x="9379" y="195"/>
                      <a:pt x="9379" y="195"/>
                      <a:pt x="9379" y="195"/>
                    </a:cubicBezTo>
                    <a:cubicBezTo>
                      <a:pt x="9679" y="113"/>
                      <a:pt x="9679" y="113"/>
                      <a:pt x="9679" y="113"/>
                    </a:cubicBezTo>
                    <a:cubicBezTo>
                      <a:pt x="9667" y="72"/>
                      <a:pt x="9667" y="72"/>
                      <a:pt x="9667" y="72"/>
                    </a:cubicBezTo>
                    <a:cubicBezTo>
                      <a:pt x="9928" y="0"/>
                      <a:pt x="9928" y="0"/>
                      <a:pt x="9928" y="0"/>
                    </a:cubicBezTo>
                    <a:cubicBezTo>
                      <a:pt x="9872" y="0"/>
                      <a:pt x="9872" y="0"/>
                      <a:pt x="9872" y="0"/>
                    </a:cubicBezTo>
                    <a:cubicBezTo>
                      <a:pt x="9649" y="61"/>
                      <a:pt x="9649" y="61"/>
                      <a:pt x="9649" y="61"/>
                    </a:cubicBezTo>
                    <a:cubicBezTo>
                      <a:pt x="9661" y="103"/>
                      <a:pt x="9661" y="103"/>
                      <a:pt x="9661" y="103"/>
                    </a:cubicBezTo>
                    <a:cubicBezTo>
                      <a:pt x="9368" y="183"/>
                      <a:pt x="9368" y="183"/>
                      <a:pt x="9368" y="183"/>
                    </a:cubicBezTo>
                    <a:cubicBezTo>
                      <a:pt x="9361" y="185"/>
                      <a:pt x="9361" y="185"/>
                      <a:pt x="9361" y="185"/>
                    </a:cubicBezTo>
                    <a:cubicBezTo>
                      <a:pt x="9426" y="423"/>
                      <a:pt x="9426" y="423"/>
                      <a:pt x="9426" y="423"/>
                    </a:cubicBezTo>
                    <a:cubicBezTo>
                      <a:pt x="9502" y="406"/>
                      <a:pt x="9502" y="406"/>
                      <a:pt x="9502" y="406"/>
                    </a:cubicBezTo>
                    <a:cubicBezTo>
                      <a:pt x="9563" y="610"/>
                      <a:pt x="9563" y="610"/>
                      <a:pt x="9563" y="610"/>
                    </a:cubicBezTo>
                    <a:cubicBezTo>
                      <a:pt x="9493" y="633"/>
                      <a:pt x="9493" y="633"/>
                      <a:pt x="9493" y="633"/>
                    </a:cubicBezTo>
                    <a:cubicBezTo>
                      <a:pt x="9544" y="815"/>
                      <a:pt x="9544" y="815"/>
                      <a:pt x="9544" y="815"/>
                    </a:cubicBezTo>
                    <a:cubicBezTo>
                      <a:pt x="10245" y="633"/>
                      <a:pt x="10245" y="633"/>
                      <a:pt x="10245" y="633"/>
                    </a:cubicBezTo>
                    <a:cubicBezTo>
                      <a:pt x="10161" y="329"/>
                      <a:pt x="10161" y="329"/>
                      <a:pt x="10161" y="329"/>
                    </a:cubicBezTo>
                    <a:cubicBezTo>
                      <a:pt x="10305" y="288"/>
                      <a:pt x="10305" y="288"/>
                      <a:pt x="10305" y="288"/>
                    </a:cubicBezTo>
                    <a:cubicBezTo>
                      <a:pt x="10222" y="0"/>
                      <a:pt x="10222" y="0"/>
                      <a:pt x="10222" y="0"/>
                    </a:cubicBezTo>
                    <a:cubicBezTo>
                      <a:pt x="10206" y="0"/>
                      <a:pt x="10206" y="0"/>
                      <a:pt x="10206" y="0"/>
                    </a:cubicBezTo>
                    <a:lnTo>
                      <a:pt x="10286" y="278"/>
                    </a:lnTo>
                    <a:close/>
                    <a:moveTo>
                      <a:pt x="156" y="403"/>
                    </a:moveTo>
                    <a:cubicBezTo>
                      <a:pt x="60" y="238"/>
                      <a:pt x="60" y="238"/>
                      <a:pt x="60" y="238"/>
                    </a:cubicBezTo>
                    <a:cubicBezTo>
                      <a:pt x="65" y="235"/>
                      <a:pt x="65" y="235"/>
                      <a:pt x="65" y="235"/>
                    </a:cubicBezTo>
                    <a:cubicBezTo>
                      <a:pt x="134" y="195"/>
                      <a:pt x="134" y="195"/>
                      <a:pt x="134" y="195"/>
                    </a:cubicBezTo>
                    <a:cubicBezTo>
                      <a:pt x="158" y="235"/>
                      <a:pt x="158" y="235"/>
                      <a:pt x="158" y="235"/>
                    </a:cubicBezTo>
                    <a:cubicBezTo>
                      <a:pt x="207" y="206"/>
                      <a:pt x="207" y="206"/>
                      <a:pt x="207" y="206"/>
                    </a:cubicBezTo>
                    <a:cubicBezTo>
                      <a:pt x="256" y="290"/>
                      <a:pt x="256" y="290"/>
                      <a:pt x="256" y="290"/>
                    </a:cubicBezTo>
                    <a:cubicBezTo>
                      <a:pt x="207" y="319"/>
                      <a:pt x="207" y="319"/>
                      <a:pt x="207" y="319"/>
                    </a:cubicBezTo>
                    <a:cubicBezTo>
                      <a:pt x="230" y="359"/>
                      <a:pt x="230" y="359"/>
                      <a:pt x="230" y="359"/>
                    </a:cubicBezTo>
                    <a:lnTo>
                      <a:pt x="156" y="403"/>
                    </a:lnTo>
                    <a:close/>
                    <a:moveTo>
                      <a:pt x="78" y="243"/>
                    </a:moveTo>
                    <a:cubicBezTo>
                      <a:pt x="161" y="385"/>
                      <a:pt x="161" y="385"/>
                      <a:pt x="161" y="385"/>
                    </a:cubicBezTo>
                    <a:cubicBezTo>
                      <a:pt x="212" y="355"/>
                      <a:pt x="212" y="355"/>
                      <a:pt x="212" y="355"/>
                    </a:cubicBezTo>
                    <a:cubicBezTo>
                      <a:pt x="189" y="314"/>
                      <a:pt x="189" y="314"/>
                      <a:pt x="189" y="314"/>
                    </a:cubicBezTo>
                    <a:cubicBezTo>
                      <a:pt x="238" y="285"/>
                      <a:pt x="238" y="285"/>
                      <a:pt x="238" y="285"/>
                    </a:cubicBezTo>
                    <a:cubicBezTo>
                      <a:pt x="203" y="224"/>
                      <a:pt x="203" y="224"/>
                      <a:pt x="203" y="224"/>
                    </a:cubicBezTo>
                    <a:cubicBezTo>
                      <a:pt x="153" y="253"/>
                      <a:pt x="153" y="253"/>
                      <a:pt x="153" y="253"/>
                    </a:cubicBezTo>
                    <a:cubicBezTo>
                      <a:pt x="129" y="213"/>
                      <a:pt x="129" y="213"/>
                      <a:pt x="129" y="213"/>
                    </a:cubicBezTo>
                    <a:lnTo>
                      <a:pt x="78" y="243"/>
                    </a:lnTo>
                    <a:close/>
                    <a:moveTo>
                      <a:pt x="4359" y="10714"/>
                    </a:moveTo>
                    <a:cubicBezTo>
                      <a:pt x="4353" y="10801"/>
                      <a:pt x="4353" y="10801"/>
                      <a:pt x="4353" y="10801"/>
                    </a:cubicBezTo>
                    <a:cubicBezTo>
                      <a:pt x="4366" y="10801"/>
                      <a:pt x="4366" y="10801"/>
                      <a:pt x="4366" y="10801"/>
                    </a:cubicBezTo>
                    <a:cubicBezTo>
                      <a:pt x="4371" y="10727"/>
                      <a:pt x="4371" y="10727"/>
                      <a:pt x="4371" y="10727"/>
                    </a:cubicBezTo>
                    <a:cubicBezTo>
                      <a:pt x="4493" y="10737"/>
                      <a:pt x="4493" y="10737"/>
                      <a:pt x="4493" y="10737"/>
                    </a:cubicBezTo>
                    <a:cubicBezTo>
                      <a:pt x="4488" y="10801"/>
                      <a:pt x="4488" y="10801"/>
                      <a:pt x="4488" y="10801"/>
                    </a:cubicBezTo>
                    <a:cubicBezTo>
                      <a:pt x="4501" y="10801"/>
                      <a:pt x="4501" y="10801"/>
                      <a:pt x="4501" y="10801"/>
                    </a:cubicBezTo>
                    <a:cubicBezTo>
                      <a:pt x="4507" y="10725"/>
                      <a:pt x="4507" y="10725"/>
                      <a:pt x="4507" y="10725"/>
                    </a:cubicBezTo>
                    <a:lnTo>
                      <a:pt x="4359" y="10714"/>
                    </a:lnTo>
                    <a:close/>
                    <a:moveTo>
                      <a:pt x="3285" y="9126"/>
                    </a:moveTo>
                    <a:cubicBezTo>
                      <a:pt x="3282" y="9010"/>
                      <a:pt x="3282" y="9010"/>
                      <a:pt x="3282" y="9010"/>
                    </a:cubicBezTo>
                    <a:cubicBezTo>
                      <a:pt x="3399" y="9009"/>
                      <a:pt x="3399" y="9009"/>
                      <a:pt x="3399" y="9009"/>
                    </a:cubicBezTo>
                    <a:cubicBezTo>
                      <a:pt x="3400" y="9020"/>
                      <a:pt x="3400" y="9020"/>
                      <a:pt x="3400" y="9020"/>
                    </a:cubicBezTo>
                    <a:cubicBezTo>
                      <a:pt x="3452" y="9019"/>
                      <a:pt x="3452" y="9019"/>
                      <a:pt x="3452" y="9019"/>
                    </a:cubicBezTo>
                    <a:cubicBezTo>
                      <a:pt x="3453" y="9205"/>
                      <a:pt x="3453" y="9205"/>
                      <a:pt x="3453" y="9205"/>
                    </a:cubicBezTo>
                    <a:cubicBezTo>
                      <a:pt x="3343" y="9206"/>
                      <a:pt x="3343" y="9206"/>
                      <a:pt x="3343" y="9206"/>
                    </a:cubicBezTo>
                    <a:cubicBezTo>
                      <a:pt x="3343" y="9132"/>
                      <a:pt x="3343" y="9132"/>
                      <a:pt x="3343" y="9132"/>
                    </a:cubicBezTo>
                    <a:cubicBezTo>
                      <a:pt x="3286" y="9133"/>
                      <a:pt x="3286" y="9133"/>
                      <a:pt x="3286" y="9133"/>
                    </a:cubicBezTo>
                    <a:lnTo>
                      <a:pt x="3285" y="9126"/>
                    </a:lnTo>
                    <a:close/>
                    <a:moveTo>
                      <a:pt x="3295" y="9023"/>
                    </a:moveTo>
                    <a:cubicBezTo>
                      <a:pt x="3298" y="9120"/>
                      <a:pt x="3298" y="9120"/>
                      <a:pt x="3298" y="9120"/>
                    </a:cubicBezTo>
                    <a:cubicBezTo>
                      <a:pt x="3356" y="9119"/>
                      <a:pt x="3356" y="9119"/>
                      <a:pt x="3356" y="9119"/>
                    </a:cubicBezTo>
                    <a:cubicBezTo>
                      <a:pt x="3356" y="9192"/>
                      <a:pt x="3356" y="9192"/>
                      <a:pt x="3356" y="9192"/>
                    </a:cubicBezTo>
                    <a:cubicBezTo>
                      <a:pt x="3440" y="9192"/>
                      <a:pt x="3440" y="9192"/>
                      <a:pt x="3440" y="9192"/>
                    </a:cubicBezTo>
                    <a:cubicBezTo>
                      <a:pt x="3439" y="9033"/>
                      <a:pt x="3439" y="9033"/>
                      <a:pt x="3439" y="9033"/>
                    </a:cubicBezTo>
                    <a:cubicBezTo>
                      <a:pt x="3387" y="9033"/>
                      <a:pt x="3387" y="9033"/>
                      <a:pt x="3387" y="9033"/>
                    </a:cubicBezTo>
                    <a:cubicBezTo>
                      <a:pt x="3386" y="9022"/>
                      <a:pt x="3386" y="9022"/>
                      <a:pt x="3386" y="9022"/>
                    </a:cubicBezTo>
                    <a:lnTo>
                      <a:pt x="3295" y="9023"/>
                    </a:lnTo>
                    <a:close/>
                    <a:moveTo>
                      <a:pt x="5868" y="6895"/>
                    </a:moveTo>
                    <a:cubicBezTo>
                      <a:pt x="5787" y="7116"/>
                      <a:pt x="5787" y="7116"/>
                      <a:pt x="5787" y="7116"/>
                    </a:cubicBezTo>
                    <a:cubicBezTo>
                      <a:pt x="5631" y="6996"/>
                      <a:pt x="5631" y="6996"/>
                      <a:pt x="5631" y="6996"/>
                    </a:cubicBezTo>
                    <a:cubicBezTo>
                      <a:pt x="5720" y="6817"/>
                      <a:pt x="5720" y="6817"/>
                      <a:pt x="5720" y="6817"/>
                    </a:cubicBezTo>
                    <a:cubicBezTo>
                      <a:pt x="5801" y="6768"/>
                      <a:pt x="5801" y="6768"/>
                      <a:pt x="5801" y="6768"/>
                    </a:cubicBezTo>
                    <a:cubicBezTo>
                      <a:pt x="6174" y="6770"/>
                      <a:pt x="6174" y="6770"/>
                      <a:pt x="6174" y="6770"/>
                    </a:cubicBezTo>
                    <a:cubicBezTo>
                      <a:pt x="6173" y="6779"/>
                      <a:pt x="6173" y="6779"/>
                      <a:pt x="6173" y="6779"/>
                    </a:cubicBezTo>
                    <a:cubicBezTo>
                      <a:pt x="6124" y="7005"/>
                      <a:pt x="6124" y="7005"/>
                      <a:pt x="6124" y="7005"/>
                    </a:cubicBezTo>
                    <a:lnTo>
                      <a:pt x="5868" y="6895"/>
                    </a:lnTo>
                    <a:close/>
                    <a:moveTo>
                      <a:pt x="5859" y="6875"/>
                    </a:moveTo>
                    <a:cubicBezTo>
                      <a:pt x="6113" y="6984"/>
                      <a:pt x="6113" y="6984"/>
                      <a:pt x="6113" y="6984"/>
                    </a:cubicBezTo>
                    <a:cubicBezTo>
                      <a:pt x="6156" y="6785"/>
                      <a:pt x="6156" y="6785"/>
                      <a:pt x="6156" y="6785"/>
                    </a:cubicBezTo>
                    <a:cubicBezTo>
                      <a:pt x="5805" y="6783"/>
                      <a:pt x="5805" y="6783"/>
                      <a:pt x="5805" y="6783"/>
                    </a:cubicBezTo>
                    <a:cubicBezTo>
                      <a:pt x="5731" y="6827"/>
                      <a:pt x="5731" y="6827"/>
                      <a:pt x="5731" y="6827"/>
                    </a:cubicBezTo>
                    <a:cubicBezTo>
                      <a:pt x="5649" y="6991"/>
                      <a:pt x="5649" y="6991"/>
                      <a:pt x="5649" y="6991"/>
                    </a:cubicBezTo>
                    <a:cubicBezTo>
                      <a:pt x="5780" y="7092"/>
                      <a:pt x="5780" y="7092"/>
                      <a:pt x="5780" y="7092"/>
                    </a:cubicBezTo>
                    <a:lnTo>
                      <a:pt x="5859" y="6875"/>
                    </a:lnTo>
                    <a:close/>
                    <a:moveTo>
                      <a:pt x="5529" y="6759"/>
                    </a:moveTo>
                    <a:cubicBezTo>
                      <a:pt x="5116" y="6879"/>
                      <a:pt x="5116" y="6879"/>
                      <a:pt x="5116" y="6879"/>
                    </a:cubicBezTo>
                    <a:cubicBezTo>
                      <a:pt x="5096" y="6823"/>
                      <a:pt x="5096" y="6823"/>
                      <a:pt x="5096" y="6823"/>
                    </a:cubicBezTo>
                    <a:cubicBezTo>
                      <a:pt x="5370" y="6704"/>
                      <a:pt x="5370" y="6704"/>
                      <a:pt x="5370" y="6704"/>
                    </a:cubicBezTo>
                    <a:cubicBezTo>
                      <a:pt x="5425" y="6575"/>
                      <a:pt x="5425" y="6575"/>
                      <a:pt x="5425" y="6575"/>
                    </a:cubicBezTo>
                    <a:cubicBezTo>
                      <a:pt x="5486" y="6580"/>
                      <a:pt x="5486" y="6580"/>
                      <a:pt x="5486" y="6580"/>
                    </a:cubicBezTo>
                    <a:cubicBezTo>
                      <a:pt x="5487" y="6585"/>
                      <a:pt x="5487" y="6585"/>
                      <a:pt x="5487" y="6585"/>
                    </a:cubicBezTo>
                    <a:lnTo>
                      <a:pt x="5529" y="6759"/>
                    </a:lnTo>
                    <a:close/>
                    <a:moveTo>
                      <a:pt x="5125" y="6861"/>
                    </a:moveTo>
                    <a:cubicBezTo>
                      <a:pt x="5511" y="6749"/>
                      <a:pt x="5511" y="6749"/>
                      <a:pt x="5511" y="6749"/>
                    </a:cubicBezTo>
                    <a:cubicBezTo>
                      <a:pt x="5474" y="6594"/>
                      <a:pt x="5474" y="6594"/>
                      <a:pt x="5474" y="6594"/>
                    </a:cubicBezTo>
                    <a:cubicBezTo>
                      <a:pt x="5434" y="6591"/>
                      <a:pt x="5434" y="6591"/>
                      <a:pt x="5434" y="6591"/>
                    </a:cubicBezTo>
                    <a:cubicBezTo>
                      <a:pt x="5381" y="6715"/>
                      <a:pt x="5381" y="6715"/>
                      <a:pt x="5381" y="6715"/>
                    </a:cubicBezTo>
                    <a:cubicBezTo>
                      <a:pt x="5115" y="6831"/>
                      <a:pt x="5115" y="6831"/>
                      <a:pt x="5115" y="6831"/>
                    </a:cubicBezTo>
                    <a:lnTo>
                      <a:pt x="5125" y="6861"/>
                    </a:lnTo>
                    <a:close/>
                    <a:moveTo>
                      <a:pt x="5161" y="7083"/>
                    </a:moveTo>
                    <a:cubicBezTo>
                      <a:pt x="5031" y="6818"/>
                      <a:pt x="5031" y="6818"/>
                      <a:pt x="5031" y="6818"/>
                    </a:cubicBezTo>
                    <a:cubicBezTo>
                      <a:pt x="5270" y="6648"/>
                      <a:pt x="5270" y="6648"/>
                      <a:pt x="5270" y="6648"/>
                    </a:cubicBezTo>
                    <a:cubicBezTo>
                      <a:pt x="5385" y="6401"/>
                      <a:pt x="5385" y="6401"/>
                      <a:pt x="5385" y="6401"/>
                    </a:cubicBezTo>
                    <a:cubicBezTo>
                      <a:pt x="5633" y="6446"/>
                      <a:pt x="5633" y="6446"/>
                      <a:pt x="5633" y="6446"/>
                    </a:cubicBezTo>
                    <a:cubicBezTo>
                      <a:pt x="5632" y="6453"/>
                      <a:pt x="5632" y="6453"/>
                      <a:pt x="5632" y="6453"/>
                    </a:cubicBezTo>
                    <a:cubicBezTo>
                      <a:pt x="5600" y="6759"/>
                      <a:pt x="5600" y="6759"/>
                      <a:pt x="5600" y="6759"/>
                    </a:cubicBezTo>
                    <a:lnTo>
                      <a:pt x="5161" y="7083"/>
                    </a:lnTo>
                    <a:close/>
                    <a:moveTo>
                      <a:pt x="5050" y="6823"/>
                    </a:moveTo>
                    <a:cubicBezTo>
                      <a:pt x="5166" y="7061"/>
                      <a:pt x="5166" y="7061"/>
                      <a:pt x="5166" y="7061"/>
                    </a:cubicBezTo>
                    <a:cubicBezTo>
                      <a:pt x="5586" y="6751"/>
                      <a:pt x="5586" y="6751"/>
                      <a:pt x="5586" y="6751"/>
                    </a:cubicBezTo>
                    <a:cubicBezTo>
                      <a:pt x="5617" y="6458"/>
                      <a:pt x="5617" y="6458"/>
                      <a:pt x="5617" y="6458"/>
                    </a:cubicBezTo>
                    <a:cubicBezTo>
                      <a:pt x="5394" y="6418"/>
                      <a:pt x="5394" y="6418"/>
                      <a:pt x="5394" y="6418"/>
                    </a:cubicBezTo>
                    <a:cubicBezTo>
                      <a:pt x="5281" y="6658"/>
                      <a:pt x="5281" y="6658"/>
                      <a:pt x="5281" y="6658"/>
                    </a:cubicBezTo>
                    <a:lnTo>
                      <a:pt x="5050" y="6823"/>
                    </a:lnTo>
                    <a:close/>
                    <a:moveTo>
                      <a:pt x="3604" y="3033"/>
                    </a:moveTo>
                    <a:cubicBezTo>
                      <a:pt x="3651" y="3018"/>
                      <a:pt x="3651" y="3018"/>
                      <a:pt x="3651" y="3018"/>
                    </a:cubicBezTo>
                    <a:cubicBezTo>
                      <a:pt x="3648" y="3007"/>
                      <a:pt x="3648" y="3007"/>
                      <a:pt x="3648" y="3007"/>
                    </a:cubicBezTo>
                    <a:cubicBezTo>
                      <a:pt x="3645" y="3000"/>
                      <a:pt x="3645" y="3000"/>
                      <a:pt x="3645" y="3000"/>
                    </a:cubicBezTo>
                    <a:cubicBezTo>
                      <a:pt x="3737" y="2970"/>
                      <a:pt x="3737" y="2970"/>
                      <a:pt x="3737" y="2970"/>
                    </a:cubicBezTo>
                    <a:cubicBezTo>
                      <a:pt x="3782" y="3104"/>
                      <a:pt x="3782" y="3104"/>
                      <a:pt x="3782" y="3104"/>
                    </a:cubicBezTo>
                    <a:cubicBezTo>
                      <a:pt x="3712" y="3127"/>
                      <a:pt x="3712" y="3127"/>
                      <a:pt x="3712" y="3127"/>
                    </a:cubicBezTo>
                    <a:cubicBezTo>
                      <a:pt x="3736" y="3199"/>
                      <a:pt x="3736" y="3199"/>
                      <a:pt x="3736" y="3199"/>
                    </a:cubicBezTo>
                    <a:cubicBezTo>
                      <a:pt x="3664" y="3223"/>
                      <a:pt x="3664" y="3223"/>
                      <a:pt x="3664" y="3223"/>
                    </a:cubicBezTo>
                    <a:cubicBezTo>
                      <a:pt x="3662" y="3216"/>
                      <a:pt x="3662" y="3216"/>
                      <a:pt x="3662" y="3216"/>
                    </a:cubicBezTo>
                    <a:lnTo>
                      <a:pt x="3604" y="3033"/>
                    </a:lnTo>
                    <a:close/>
                    <a:moveTo>
                      <a:pt x="3668" y="3026"/>
                    </a:moveTo>
                    <a:cubicBezTo>
                      <a:pt x="3621" y="3042"/>
                      <a:pt x="3621" y="3042"/>
                      <a:pt x="3621" y="3042"/>
                    </a:cubicBezTo>
                    <a:cubicBezTo>
                      <a:pt x="3672" y="3206"/>
                      <a:pt x="3672" y="3206"/>
                      <a:pt x="3672" y="3206"/>
                    </a:cubicBezTo>
                    <a:cubicBezTo>
                      <a:pt x="3719" y="3190"/>
                      <a:pt x="3719" y="3190"/>
                      <a:pt x="3719" y="3190"/>
                    </a:cubicBezTo>
                    <a:cubicBezTo>
                      <a:pt x="3696" y="3118"/>
                      <a:pt x="3696" y="3118"/>
                      <a:pt x="3696" y="3118"/>
                    </a:cubicBezTo>
                    <a:cubicBezTo>
                      <a:pt x="3765" y="3096"/>
                      <a:pt x="3765" y="3096"/>
                      <a:pt x="3765" y="3096"/>
                    </a:cubicBezTo>
                    <a:cubicBezTo>
                      <a:pt x="3729" y="2987"/>
                      <a:pt x="3729" y="2987"/>
                      <a:pt x="3729" y="2987"/>
                    </a:cubicBezTo>
                    <a:cubicBezTo>
                      <a:pt x="3662" y="3009"/>
                      <a:pt x="3662" y="3009"/>
                      <a:pt x="3662" y="3009"/>
                    </a:cubicBezTo>
                    <a:cubicBezTo>
                      <a:pt x="3666" y="3020"/>
                      <a:pt x="3666" y="3020"/>
                      <a:pt x="3666" y="3020"/>
                    </a:cubicBezTo>
                    <a:lnTo>
                      <a:pt x="3668" y="3026"/>
                    </a:lnTo>
                    <a:close/>
                    <a:moveTo>
                      <a:pt x="3123" y="3189"/>
                    </a:moveTo>
                    <a:cubicBezTo>
                      <a:pt x="3277" y="3117"/>
                      <a:pt x="3277" y="3117"/>
                      <a:pt x="3277" y="3117"/>
                    </a:cubicBezTo>
                    <a:cubicBezTo>
                      <a:pt x="3281" y="3122"/>
                      <a:pt x="3281" y="3122"/>
                      <a:pt x="3281" y="3122"/>
                    </a:cubicBezTo>
                    <a:cubicBezTo>
                      <a:pt x="3281" y="3122"/>
                      <a:pt x="3293" y="3136"/>
                      <a:pt x="3305" y="3151"/>
                    </a:cubicBezTo>
                    <a:cubicBezTo>
                      <a:pt x="3311" y="3158"/>
                      <a:pt x="3318" y="3165"/>
                      <a:pt x="3323" y="3170"/>
                    </a:cubicBezTo>
                    <a:cubicBezTo>
                      <a:pt x="3326" y="3173"/>
                      <a:pt x="3328" y="3175"/>
                      <a:pt x="3329" y="3177"/>
                    </a:cubicBezTo>
                    <a:cubicBezTo>
                      <a:pt x="3330" y="3177"/>
                      <a:pt x="3330" y="3177"/>
                      <a:pt x="3330" y="3177"/>
                    </a:cubicBezTo>
                    <a:cubicBezTo>
                      <a:pt x="3342" y="3177"/>
                      <a:pt x="3342" y="3177"/>
                      <a:pt x="3342" y="3177"/>
                    </a:cubicBezTo>
                    <a:cubicBezTo>
                      <a:pt x="3335" y="3188"/>
                      <a:pt x="3335" y="3188"/>
                      <a:pt x="3335" y="3188"/>
                    </a:cubicBezTo>
                    <a:cubicBezTo>
                      <a:pt x="3335" y="3188"/>
                      <a:pt x="3325" y="3206"/>
                      <a:pt x="3315" y="3225"/>
                    </a:cubicBezTo>
                    <a:cubicBezTo>
                      <a:pt x="3310" y="3234"/>
                      <a:pt x="3304" y="3244"/>
                      <a:pt x="3301" y="3251"/>
                    </a:cubicBezTo>
                    <a:cubicBezTo>
                      <a:pt x="3299" y="3255"/>
                      <a:pt x="3297" y="3258"/>
                      <a:pt x="3296" y="3260"/>
                    </a:cubicBezTo>
                    <a:cubicBezTo>
                      <a:pt x="3297" y="3261"/>
                      <a:pt x="3298" y="3261"/>
                      <a:pt x="3298" y="3261"/>
                    </a:cubicBezTo>
                    <a:cubicBezTo>
                      <a:pt x="3319" y="3276"/>
                      <a:pt x="3373" y="3331"/>
                      <a:pt x="3373" y="3331"/>
                    </a:cubicBezTo>
                    <a:cubicBezTo>
                      <a:pt x="3384" y="3342"/>
                      <a:pt x="3384" y="3342"/>
                      <a:pt x="3384" y="3342"/>
                    </a:cubicBezTo>
                    <a:cubicBezTo>
                      <a:pt x="3153" y="3361"/>
                      <a:pt x="3153" y="3361"/>
                      <a:pt x="3153" y="3361"/>
                    </a:cubicBezTo>
                    <a:cubicBezTo>
                      <a:pt x="3151" y="3365"/>
                      <a:pt x="3148" y="3371"/>
                      <a:pt x="3145" y="3378"/>
                    </a:cubicBezTo>
                    <a:cubicBezTo>
                      <a:pt x="3141" y="3386"/>
                      <a:pt x="3137" y="3396"/>
                      <a:pt x="3135" y="3400"/>
                    </a:cubicBezTo>
                    <a:cubicBezTo>
                      <a:pt x="3136" y="3401"/>
                      <a:pt x="3136" y="3402"/>
                      <a:pt x="3137" y="3404"/>
                    </a:cubicBezTo>
                    <a:cubicBezTo>
                      <a:pt x="3135" y="3412"/>
                      <a:pt x="3133" y="3409"/>
                      <a:pt x="3133" y="3410"/>
                    </a:cubicBezTo>
                    <a:cubicBezTo>
                      <a:pt x="3128" y="3414"/>
                      <a:pt x="3079" y="3434"/>
                      <a:pt x="3029" y="3456"/>
                    </a:cubicBezTo>
                    <a:cubicBezTo>
                      <a:pt x="3004" y="3466"/>
                      <a:pt x="2979" y="3477"/>
                      <a:pt x="2961" y="3485"/>
                    </a:cubicBezTo>
                    <a:cubicBezTo>
                      <a:pt x="2952" y="3489"/>
                      <a:pt x="2944" y="3492"/>
                      <a:pt x="2939" y="3494"/>
                    </a:cubicBezTo>
                    <a:cubicBezTo>
                      <a:pt x="2936" y="3496"/>
                      <a:pt x="2934" y="3497"/>
                      <a:pt x="2933" y="3497"/>
                    </a:cubicBezTo>
                    <a:cubicBezTo>
                      <a:pt x="2932" y="3497"/>
                      <a:pt x="2932" y="3498"/>
                      <a:pt x="2932" y="3498"/>
                    </a:cubicBezTo>
                    <a:cubicBezTo>
                      <a:pt x="2931" y="3498"/>
                      <a:pt x="2929" y="3499"/>
                      <a:pt x="2927" y="3499"/>
                    </a:cubicBezTo>
                    <a:cubicBezTo>
                      <a:pt x="2927" y="3499"/>
                      <a:pt x="2925" y="3499"/>
                      <a:pt x="2923" y="3498"/>
                    </a:cubicBezTo>
                    <a:cubicBezTo>
                      <a:pt x="2921" y="3497"/>
                      <a:pt x="2920" y="3493"/>
                      <a:pt x="2920" y="3492"/>
                    </a:cubicBezTo>
                    <a:cubicBezTo>
                      <a:pt x="2920" y="3491"/>
                      <a:pt x="2920" y="3490"/>
                      <a:pt x="2921" y="3489"/>
                    </a:cubicBezTo>
                    <a:cubicBezTo>
                      <a:pt x="2921" y="3489"/>
                      <a:pt x="2921" y="3489"/>
                      <a:pt x="2921" y="3489"/>
                    </a:cubicBezTo>
                    <a:cubicBezTo>
                      <a:pt x="2921" y="3469"/>
                      <a:pt x="2896" y="3323"/>
                      <a:pt x="2896" y="3323"/>
                    </a:cubicBezTo>
                    <a:cubicBezTo>
                      <a:pt x="2894" y="3315"/>
                      <a:pt x="2894" y="3315"/>
                      <a:pt x="2894" y="3315"/>
                    </a:cubicBezTo>
                    <a:cubicBezTo>
                      <a:pt x="3091" y="3290"/>
                      <a:pt x="3091" y="3290"/>
                      <a:pt x="3091" y="3290"/>
                    </a:cubicBezTo>
                    <a:lnTo>
                      <a:pt x="3123" y="3189"/>
                    </a:lnTo>
                    <a:close/>
                    <a:moveTo>
                      <a:pt x="3135" y="3200"/>
                    </a:moveTo>
                    <a:cubicBezTo>
                      <a:pt x="3102" y="3304"/>
                      <a:pt x="3102" y="3304"/>
                      <a:pt x="3102" y="3304"/>
                    </a:cubicBezTo>
                    <a:cubicBezTo>
                      <a:pt x="2911" y="3328"/>
                      <a:pt x="2911" y="3328"/>
                      <a:pt x="2911" y="3328"/>
                    </a:cubicBezTo>
                    <a:cubicBezTo>
                      <a:pt x="2916" y="3355"/>
                      <a:pt x="2932" y="3446"/>
                      <a:pt x="2935" y="3480"/>
                    </a:cubicBezTo>
                    <a:cubicBezTo>
                      <a:pt x="2941" y="3477"/>
                      <a:pt x="2949" y="3474"/>
                      <a:pt x="2959" y="3470"/>
                    </a:cubicBezTo>
                    <a:cubicBezTo>
                      <a:pt x="2987" y="3457"/>
                      <a:pt x="3029" y="3439"/>
                      <a:pt x="3064" y="3425"/>
                    </a:cubicBezTo>
                    <a:cubicBezTo>
                      <a:pt x="3081" y="3417"/>
                      <a:pt x="3097" y="3411"/>
                      <a:pt x="3108" y="3406"/>
                    </a:cubicBezTo>
                    <a:cubicBezTo>
                      <a:pt x="3113" y="3404"/>
                      <a:pt x="3117" y="3402"/>
                      <a:pt x="3120" y="3400"/>
                    </a:cubicBezTo>
                    <a:cubicBezTo>
                      <a:pt x="3123" y="3385"/>
                      <a:pt x="3142" y="3351"/>
                      <a:pt x="3142" y="3350"/>
                    </a:cubicBezTo>
                    <a:cubicBezTo>
                      <a:pt x="3144" y="3347"/>
                      <a:pt x="3144" y="3347"/>
                      <a:pt x="3144" y="3347"/>
                    </a:cubicBezTo>
                    <a:cubicBezTo>
                      <a:pt x="3351" y="3330"/>
                      <a:pt x="3351" y="3330"/>
                      <a:pt x="3351" y="3330"/>
                    </a:cubicBezTo>
                    <a:cubicBezTo>
                      <a:pt x="3344" y="3323"/>
                      <a:pt x="3335" y="3314"/>
                      <a:pt x="3326" y="3305"/>
                    </a:cubicBezTo>
                    <a:cubicBezTo>
                      <a:pt x="3317" y="3297"/>
                      <a:pt x="3307" y="3288"/>
                      <a:pt x="3299" y="3281"/>
                    </a:cubicBezTo>
                    <a:cubicBezTo>
                      <a:pt x="3296" y="3278"/>
                      <a:pt x="3292" y="3275"/>
                      <a:pt x="3290" y="3273"/>
                    </a:cubicBezTo>
                    <a:cubicBezTo>
                      <a:pt x="3289" y="3273"/>
                      <a:pt x="3288" y="3272"/>
                      <a:pt x="3287" y="3272"/>
                    </a:cubicBezTo>
                    <a:cubicBezTo>
                      <a:pt x="3285" y="3272"/>
                      <a:pt x="3282" y="3270"/>
                      <a:pt x="3281" y="3268"/>
                    </a:cubicBezTo>
                    <a:cubicBezTo>
                      <a:pt x="3280" y="3266"/>
                      <a:pt x="3280" y="3265"/>
                      <a:pt x="3280" y="3264"/>
                    </a:cubicBezTo>
                    <a:cubicBezTo>
                      <a:pt x="3281" y="3257"/>
                      <a:pt x="3283" y="3253"/>
                      <a:pt x="3287" y="3245"/>
                    </a:cubicBezTo>
                    <a:cubicBezTo>
                      <a:pt x="3296" y="3227"/>
                      <a:pt x="3312" y="3199"/>
                      <a:pt x="3319" y="3187"/>
                    </a:cubicBezTo>
                    <a:cubicBezTo>
                      <a:pt x="3307" y="3176"/>
                      <a:pt x="3282" y="3147"/>
                      <a:pt x="3273" y="3135"/>
                    </a:cubicBezTo>
                    <a:lnTo>
                      <a:pt x="3135" y="3200"/>
                    </a:lnTo>
                    <a:close/>
                    <a:moveTo>
                      <a:pt x="5628" y="1593"/>
                    </a:moveTo>
                    <a:cubicBezTo>
                      <a:pt x="5486" y="1568"/>
                      <a:pt x="5486" y="1568"/>
                      <a:pt x="5486" y="1568"/>
                    </a:cubicBezTo>
                    <a:cubicBezTo>
                      <a:pt x="5498" y="1498"/>
                      <a:pt x="5498" y="1498"/>
                      <a:pt x="5498" y="1498"/>
                    </a:cubicBezTo>
                    <a:cubicBezTo>
                      <a:pt x="5647" y="1524"/>
                      <a:pt x="5647" y="1524"/>
                      <a:pt x="5647" y="1524"/>
                    </a:cubicBezTo>
                    <a:cubicBezTo>
                      <a:pt x="5635" y="1594"/>
                      <a:pt x="5635" y="1594"/>
                      <a:pt x="5635" y="1594"/>
                    </a:cubicBezTo>
                    <a:lnTo>
                      <a:pt x="5628" y="1593"/>
                    </a:lnTo>
                    <a:close/>
                    <a:moveTo>
                      <a:pt x="5624" y="1580"/>
                    </a:moveTo>
                    <a:cubicBezTo>
                      <a:pt x="5632" y="1534"/>
                      <a:pt x="5632" y="1534"/>
                      <a:pt x="5632" y="1534"/>
                    </a:cubicBezTo>
                    <a:cubicBezTo>
                      <a:pt x="5508" y="1513"/>
                      <a:pt x="5508" y="1513"/>
                      <a:pt x="5508" y="1513"/>
                    </a:cubicBezTo>
                    <a:cubicBezTo>
                      <a:pt x="5500" y="1558"/>
                      <a:pt x="5500" y="1558"/>
                      <a:pt x="5500" y="1558"/>
                    </a:cubicBezTo>
                    <a:lnTo>
                      <a:pt x="5624" y="1580"/>
                    </a:lnTo>
                    <a:close/>
                    <a:moveTo>
                      <a:pt x="4475" y="7190"/>
                    </a:moveTo>
                    <a:cubicBezTo>
                      <a:pt x="4521" y="7336"/>
                      <a:pt x="4521" y="7336"/>
                      <a:pt x="4521" y="7336"/>
                    </a:cubicBezTo>
                    <a:cubicBezTo>
                      <a:pt x="4376" y="7400"/>
                      <a:pt x="4376" y="7400"/>
                      <a:pt x="4376" y="7400"/>
                    </a:cubicBezTo>
                    <a:cubicBezTo>
                      <a:pt x="4352" y="7361"/>
                      <a:pt x="4352" y="7361"/>
                      <a:pt x="4352" y="7361"/>
                    </a:cubicBezTo>
                    <a:cubicBezTo>
                      <a:pt x="4167" y="7634"/>
                      <a:pt x="4167" y="7634"/>
                      <a:pt x="4167" y="7634"/>
                    </a:cubicBezTo>
                    <a:cubicBezTo>
                      <a:pt x="4029" y="7720"/>
                      <a:pt x="4029" y="7720"/>
                      <a:pt x="4029" y="7720"/>
                    </a:cubicBezTo>
                    <a:cubicBezTo>
                      <a:pt x="3994" y="7628"/>
                      <a:pt x="3994" y="7628"/>
                      <a:pt x="3994" y="7628"/>
                    </a:cubicBezTo>
                    <a:cubicBezTo>
                      <a:pt x="4331" y="7225"/>
                      <a:pt x="4331" y="7225"/>
                      <a:pt x="4331" y="7225"/>
                    </a:cubicBezTo>
                    <a:cubicBezTo>
                      <a:pt x="4358" y="7238"/>
                      <a:pt x="4358" y="7238"/>
                      <a:pt x="4358" y="7238"/>
                    </a:cubicBezTo>
                    <a:cubicBezTo>
                      <a:pt x="4472" y="7182"/>
                      <a:pt x="4472" y="7182"/>
                      <a:pt x="4472" y="7182"/>
                    </a:cubicBezTo>
                    <a:lnTo>
                      <a:pt x="4475" y="7190"/>
                    </a:lnTo>
                    <a:close/>
                    <a:moveTo>
                      <a:pt x="4503" y="7327"/>
                    </a:moveTo>
                    <a:cubicBezTo>
                      <a:pt x="4463" y="7202"/>
                      <a:pt x="4463" y="7202"/>
                      <a:pt x="4463" y="7202"/>
                    </a:cubicBezTo>
                    <a:cubicBezTo>
                      <a:pt x="4359" y="7254"/>
                      <a:pt x="4359" y="7254"/>
                      <a:pt x="4359" y="7254"/>
                    </a:cubicBezTo>
                    <a:cubicBezTo>
                      <a:pt x="4335" y="7244"/>
                      <a:pt x="4335" y="7244"/>
                      <a:pt x="4335" y="7244"/>
                    </a:cubicBezTo>
                    <a:cubicBezTo>
                      <a:pt x="4011" y="7631"/>
                      <a:pt x="4011" y="7631"/>
                      <a:pt x="4011" y="7631"/>
                    </a:cubicBezTo>
                    <a:cubicBezTo>
                      <a:pt x="4037" y="7698"/>
                      <a:pt x="4037" y="7698"/>
                      <a:pt x="4037" y="7698"/>
                    </a:cubicBezTo>
                    <a:cubicBezTo>
                      <a:pt x="4156" y="7623"/>
                      <a:pt x="4156" y="7623"/>
                      <a:pt x="4156" y="7623"/>
                    </a:cubicBezTo>
                    <a:cubicBezTo>
                      <a:pt x="4352" y="7334"/>
                      <a:pt x="4352" y="7334"/>
                      <a:pt x="4352" y="7334"/>
                    </a:cubicBezTo>
                    <a:cubicBezTo>
                      <a:pt x="4382" y="7381"/>
                      <a:pt x="4382" y="7381"/>
                      <a:pt x="4382" y="7381"/>
                    </a:cubicBezTo>
                    <a:lnTo>
                      <a:pt x="4503" y="7327"/>
                    </a:lnTo>
                    <a:close/>
                    <a:moveTo>
                      <a:pt x="5486" y="1381"/>
                    </a:moveTo>
                    <a:cubicBezTo>
                      <a:pt x="5635" y="1407"/>
                      <a:pt x="5635" y="1407"/>
                      <a:pt x="5635" y="1407"/>
                    </a:cubicBezTo>
                    <a:cubicBezTo>
                      <a:pt x="5623" y="1477"/>
                      <a:pt x="5623" y="1477"/>
                      <a:pt x="5623" y="1477"/>
                    </a:cubicBezTo>
                    <a:cubicBezTo>
                      <a:pt x="5617" y="1476"/>
                      <a:pt x="5617" y="1476"/>
                      <a:pt x="5617" y="1476"/>
                    </a:cubicBezTo>
                    <a:cubicBezTo>
                      <a:pt x="5474" y="1451"/>
                      <a:pt x="5474" y="1451"/>
                      <a:pt x="5474" y="1451"/>
                    </a:cubicBezTo>
                    <a:lnTo>
                      <a:pt x="5486" y="1381"/>
                    </a:lnTo>
                    <a:close/>
                    <a:moveTo>
                      <a:pt x="5489" y="1441"/>
                    </a:moveTo>
                    <a:cubicBezTo>
                      <a:pt x="5613" y="1463"/>
                      <a:pt x="5613" y="1463"/>
                      <a:pt x="5613" y="1463"/>
                    </a:cubicBezTo>
                    <a:cubicBezTo>
                      <a:pt x="5620" y="1417"/>
                      <a:pt x="5620" y="1417"/>
                      <a:pt x="5620" y="1417"/>
                    </a:cubicBezTo>
                    <a:cubicBezTo>
                      <a:pt x="5497" y="1396"/>
                      <a:pt x="5497" y="1396"/>
                      <a:pt x="5497" y="1396"/>
                    </a:cubicBezTo>
                    <a:lnTo>
                      <a:pt x="5489" y="1441"/>
                    </a:lnTo>
                    <a:close/>
                    <a:moveTo>
                      <a:pt x="4628" y="7392"/>
                    </a:moveTo>
                    <a:cubicBezTo>
                      <a:pt x="4593" y="7245"/>
                      <a:pt x="4593" y="7245"/>
                      <a:pt x="4593" y="7245"/>
                    </a:cubicBezTo>
                    <a:cubicBezTo>
                      <a:pt x="4881" y="7123"/>
                      <a:pt x="4881" y="7123"/>
                      <a:pt x="4881" y="7123"/>
                    </a:cubicBezTo>
                    <a:cubicBezTo>
                      <a:pt x="4893" y="7036"/>
                      <a:pt x="4893" y="7036"/>
                      <a:pt x="4893" y="7036"/>
                    </a:cubicBezTo>
                    <a:cubicBezTo>
                      <a:pt x="4984" y="7004"/>
                      <a:pt x="4984" y="7004"/>
                      <a:pt x="4984" y="7004"/>
                    </a:cubicBezTo>
                    <a:cubicBezTo>
                      <a:pt x="4988" y="7008"/>
                      <a:pt x="4988" y="7008"/>
                      <a:pt x="4988" y="7008"/>
                    </a:cubicBezTo>
                    <a:cubicBezTo>
                      <a:pt x="5039" y="7074"/>
                      <a:pt x="5039" y="7074"/>
                      <a:pt x="5039" y="7074"/>
                    </a:cubicBezTo>
                    <a:cubicBezTo>
                      <a:pt x="4963" y="7115"/>
                      <a:pt x="4963" y="7115"/>
                      <a:pt x="4963" y="7115"/>
                    </a:cubicBezTo>
                    <a:cubicBezTo>
                      <a:pt x="4964" y="7189"/>
                      <a:pt x="4964" y="7189"/>
                      <a:pt x="4964" y="7189"/>
                    </a:cubicBezTo>
                    <a:lnTo>
                      <a:pt x="4628" y="7392"/>
                    </a:lnTo>
                    <a:close/>
                    <a:moveTo>
                      <a:pt x="4610" y="7254"/>
                    </a:moveTo>
                    <a:cubicBezTo>
                      <a:pt x="4638" y="7369"/>
                      <a:pt x="4638" y="7369"/>
                      <a:pt x="4638" y="7369"/>
                    </a:cubicBezTo>
                    <a:cubicBezTo>
                      <a:pt x="4949" y="7181"/>
                      <a:pt x="4949" y="7181"/>
                      <a:pt x="4949" y="7181"/>
                    </a:cubicBezTo>
                    <a:cubicBezTo>
                      <a:pt x="4949" y="7106"/>
                      <a:pt x="4949" y="7106"/>
                      <a:pt x="4949" y="7106"/>
                    </a:cubicBezTo>
                    <a:cubicBezTo>
                      <a:pt x="5016" y="7070"/>
                      <a:pt x="5016" y="7070"/>
                      <a:pt x="5016" y="7070"/>
                    </a:cubicBezTo>
                    <a:cubicBezTo>
                      <a:pt x="4979" y="7021"/>
                      <a:pt x="4979" y="7021"/>
                      <a:pt x="4979" y="7021"/>
                    </a:cubicBezTo>
                    <a:cubicBezTo>
                      <a:pt x="4906" y="7047"/>
                      <a:pt x="4906" y="7047"/>
                      <a:pt x="4906" y="7047"/>
                    </a:cubicBezTo>
                    <a:cubicBezTo>
                      <a:pt x="4895" y="7133"/>
                      <a:pt x="4895" y="7133"/>
                      <a:pt x="4895" y="7133"/>
                    </a:cubicBezTo>
                    <a:lnTo>
                      <a:pt x="4610" y="7254"/>
                    </a:lnTo>
                    <a:close/>
                    <a:moveTo>
                      <a:pt x="6485" y="7099"/>
                    </a:moveTo>
                    <a:cubicBezTo>
                      <a:pt x="6602" y="7110"/>
                      <a:pt x="6602" y="7110"/>
                      <a:pt x="6602" y="7110"/>
                    </a:cubicBezTo>
                    <a:cubicBezTo>
                      <a:pt x="6587" y="7232"/>
                      <a:pt x="6587" y="7232"/>
                      <a:pt x="6587" y="7232"/>
                    </a:cubicBezTo>
                    <a:cubicBezTo>
                      <a:pt x="6581" y="7231"/>
                      <a:pt x="6581" y="7231"/>
                      <a:pt x="6581" y="7231"/>
                    </a:cubicBezTo>
                    <a:cubicBezTo>
                      <a:pt x="6530" y="7226"/>
                      <a:pt x="6530" y="7226"/>
                      <a:pt x="6530" y="7226"/>
                    </a:cubicBezTo>
                    <a:cubicBezTo>
                      <a:pt x="6524" y="7299"/>
                      <a:pt x="6524" y="7299"/>
                      <a:pt x="6524" y="7299"/>
                    </a:cubicBezTo>
                    <a:cubicBezTo>
                      <a:pt x="6414" y="7289"/>
                      <a:pt x="6414" y="7289"/>
                      <a:pt x="6414" y="7289"/>
                    </a:cubicBezTo>
                    <a:cubicBezTo>
                      <a:pt x="6432" y="7104"/>
                      <a:pt x="6432" y="7104"/>
                      <a:pt x="6432" y="7104"/>
                    </a:cubicBezTo>
                    <a:cubicBezTo>
                      <a:pt x="6484" y="7109"/>
                      <a:pt x="6484" y="7109"/>
                      <a:pt x="6484" y="7109"/>
                    </a:cubicBezTo>
                    <a:cubicBezTo>
                      <a:pt x="6484" y="7105"/>
                      <a:pt x="6484" y="7105"/>
                      <a:pt x="6484" y="7105"/>
                    </a:cubicBezTo>
                    <a:lnTo>
                      <a:pt x="6485" y="7099"/>
                    </a:lnTo>
                    <a:close/>
                    <a:moveTo>
                      <a:pt x="6495" y="7123"/>
                    </a:moveTo>
                    <a:cubicBezTo>
                      <a:pt x="6443" y="7118"/>
                      <a:pt x="6443" y="7118"/>
                      <a:pt x="6443" y="7118"/>
                    </a:cubicBezTo>
                    <a:cubicBezTo>
                      <a:pt x="6429" y="7277"/>
                      <a:pt x="6429" y="7277"/>
                      <a:pt x="6429" y="7277"/>
                    </a:cubicBezTo>
                    <a:cubicBezTo>
                      <a:pt x="6512" y="7285"/>
                      <a:pt x="6512" y="7285"/>
                      <a:pt x="6512" y="7285"/>
                    </a:cubicBezTo>
                    <a:cubicBezTo>
                      <a:pt x="6518" y="7212"/>
                      <a:pt x="6518" y="7212"/>
                      <a:pt x="6518" y="7212"/>
                    </a:cubicBezTo>
                    <a:cubicBezTo>
                      <a:pt x="6576" y="7217"/>
                      <a:pt x="6576" y="7217"/>
                      <a:pt x="6576" y="7217"/>
                    </a:cubicBezTo>
                    <a:cubicBezTo>
                      <a:pt x="6587" y="7122"/>
                      <a:pt x="6587" y="7122"/>
                      <a:pt x="6587" y="7122"/>
                    </a:cubicBezTo>
                    <a:cubicBezTo>
                      <a:pt x="6496" y="7113"/>
                      <a:pt x="6496" y="7113"/>
                      <a:pt x="6496" y="7113"/>
                    </a:cubicBezTo>
                    <a:cubicBezTo>
                      <a:pt x="6496" y="7117"/>
                      <a:pt x="6496" y="7117"/>
                      <a:pt x="6496" y="7117"/>
                    </a:cubicBezTo>
                    <a:lnTo>
                      <a:pt x="6495" y="7123"/>
                    </a:lnTo>
                    <a:close/>
                    <a:moveTo>
                      <a:pt x="7093" y="6807"/>
                    </a:moveTo>
                    <a:cubicBezTo>
                      <a:pt x="7076" y="6916"/>
                      <a:pt x="7076" y="6916"/>
                      <a:pt x="7076" y="6916"/>
                    </a:cubicBezTo>
                    <a:cubicBezTo>
                      <a:pt x="7004" y="6905"/>
                      <a:pt x="7004" y="6905"/>
                      <a:pt x="7004" y="6905"/>
                    </a:cubicBezTo>
                    <a:cubicBezTo>
                      <a:pt x="6995" y="6961"/>
                      <a:pt x="6995" y="6961"/>
                      <a:pt x="6995" y="6961"/>
                    </a:cubicBezTo>
                    <a:cubicBezTo>
                      <a:pt x="6989" y="6960"/>
                      <a:pt x="6989" y="6960"/>
                      <a:pt x="6989" y="6960"/>
                    </a:cubicBezTo>
                    <a:cubicBezTo>
                      <a:pt x="6874" y="6946"/>
                      <a:pt x="6874" y="6946"/>
                      <a:pt x="6874" y="6946"/>
                    </a:cubicBezTo>
                    <a:cubicBezTo>
                      <a:pt x="6891" y="6829"/>
                      <a:pt x="6891" y="6829"/>
                      <a:pt x="6891" y="6829"/>
                    </a:cubicBezTo>
                    <a:cubicBezTo>
                      <a:pt x="6901" y="6831"/>
                      <a:pt x="6901" y="6831"/>
                      <a:pt x="6901" y="6831"/>
                    </a:cubicBezTo>
                    <a:cubicBezTo>
                      <a:pt x="6909" y="6779"/>
                      <a:pt x="6909" y="6779"/>
                      <a:pt x="6909" y="6779"/>
                    </a:cubicBezTo>
                    <a:lnTo>
                      <a:pt x="7093" y="6807"/>
                    </a:lnTo>
                    <a:close/>
                    <a:moveTo>
                      <a:pt x="7078" y="6818"/>
                    </a:moveTo>
                    <a:cubicBezTo>
                      <a:pt x="6920" y="6794"/>
                      <a:pt x="6920" y="6794"/>
                      <a:pt x="6920" y="6794"/>
                    </a:cubicBezTo>
                    <a:cubicBezTo>
                      <a:pt x="6913" y="6846"/>
                      <a:pt x="6913" y="6846"/>
                      <a:pt x="6913" y="6846"/>
                    </a:cubicBezTo>
                    <a:cubicBezTo>
                      <a:pt x="6902" y="6844"/>
                      <a:pt x="6902" y="6844"/>
                      <a:pt x="6902" y="6844"/>
                    </a:cubicBezTo>
                    <a:cubicBezTo>
                      <a:pt x="6889" y="6935"/>
                      <a:pt x="6889" y="6935"/>
                      <a:pt x="6889" y="6935"/>
                    </a:cubicBezTo>
                    <a:cubicBezTo>
                      <a:pt x="6984" y="6947"/>
                      <a:pt x="6984" y="6947"/>
                      <a:pt x="6984" y="6947"/>
                    </a:cubicBezTo>
                    <a:cubicBezTo>
                      <a:pt x="6993" y="6890"/>
                      <a:pt x="6993" y="6890"/>
                      <a:pt x="6993" y="6890"/>
                    </a:cubicBezTo>
                    <a:cubicBezTo>
                      <a:pt x="7065" y="6901"/>
                      <a:pt x="7065" y="6901"/>
                      <a:pt x="7065" y="6901"/>
                    </a:cubicBezTo>
                    <a:lnTo>
                      <a:pt x="7078" y="6818"/>
                    </a:lnTo>
                    <a:close/>
                    <a:moveTo>
                      <a:pt x="7009" y="7189"/>
                    </a:moveTo>
                    <a:cubicBezTo>
                      <a:pt x="7126" y="7200"/>
                      <a:pt x="7126" y="7200"/>
                      <a:pt x="7126" y="7200"/>
                    </a:cubicBezTo>
                    <a:cubicBezTo>
                      <a:pt x="7112" y="7322"/>
                      <a:pt x="7112" y="7322"/>
                      <a:pt x="7112" y="7322"/>
                    </a:cubicBezTo>
                    <a:cubicBezTo>
                      <a:pt x="7105" y="7321"/>
                      <a:pt x="7105" y="7321"/>
                      <a:pt x="7105" y="7321"/>
                    </a:cubicBezTo>
                    <a:cubicBezTo>
                      <a:pt x="7055" y="7317"/>
                      <a:pt x="7055" y="7317"/>
                      <a:pt x="7055" y="7317"/>
                    </a:cubicBezTo>
                    <a:cubicBezTo>
                      <a:pt x="7048" y="7390"/>
                      <a:pt x="7048" y="7390"/>
                      <a:pt x="7048" y="7390"/>
                    </a:cubicBezTo>
                    <a:cubicBezTo>
                      <a:pt x="6939" y="7379"/>
                      <a:pt x="6939" y="7379"/>
                      <a:pt x="6939" y="7379"/>
                    </a:cubicBezTo>
                    <a:cubicBezTo>
                      <a:pt x="6956" y="7195"/>
                      <a:pt x="6956" y="7195"/>
                      <a:pt x="6956" y="7195"/>
                    </a:cubicBezTo>
                    <a:cubicBezTo>
                      <a:pt x="7008" y="7199"/>
                      <a:pt x="7008" y="7199"/>
                      <a:pt x="7008" y="7199"/>
                    </a:cubicBezTo>
                    <a:cubicBezTo>
                      <a:pt x="7008" y="7196"/>
                      <a:pt x="7008" y="7196"/>
                      <a:pt x="7008" y="7196"/>
                    </a:cubicBezTo>
                    <a:lnTo>
                      <a:pt x="7009" y="7189"/>
                    </a:lnTo>
                    <a:close/>
                    <a:moveTo>
                      <a:pt x="7020" y="7214"/>
                    </a:moveTo>
                    <a:cubicBezTo>
                      <a:pt x="6968" y="7209"/>
                      <a:pt x="6968" y="7209"/>
                      <a:pt x="6968" y="7209"/>
                    </a:cubicBezTo>
                    <a:cubicBezTo>
                      <a:pt x="6953" y="7367"/>
                      <a:pt x="6953" y="7367"/>
                      <a:pt x="6953" y="7367"/>
                    </a:cubicBezTo>
                    <a:cubicBezTo>
                      <a:pt x="7036" y="7375"/>
                      <a:pt x="7036" y="7375"/>
                      <a:pt x="7036" y="7375"/>
                    </a:cubicBezTo>
                    <a:cubicBezTo>
                      <a:pt x="7043" y="7302"/>
                      <a:pt x="7043" y="7302"/>
                      <a:pt x="7043" y="7302"/>
                    </a:cubicBezTo>
                    <a:cubicBezTo>
                      <a:pt x="7100" y="7308"/>
                      <a:pt x="7100" y="7308"/>
                      <a:pt x="7100" y="7308"/>
                    </a:cubicBezTo>
                    <a:cubicBezTo>
                      <a:pt x="7111" y="7212"/>
                      <a:pt x="7111" y="7212"/>
                      <a:pt x="7111" y="7212"/>
                    </a:cubicBezTo>
                    <a:cubicBezTo>
                      <a:pt x="7021" y="7203"/>
                      <a:pt x="7021" y="7203"/>
                      <a:pt x="7021" y="7203"/>
                    </a:cubicBezTo>
                    <a:cubicBezTo>
                      <a:pt x="7020" y="7207"/>
                      <a:pt x="7020" y="7207"/>
                      <a:pt x="7020" y="7207"/>
                    </a:cubicBezTo>
                    <a:lnTo>
                      <a:pt x="7020" y="7214"/>
                    </a:lnTo>
                    <a:close/>
                    <a:moveTo>
                      <a:pt x="6799" y="6748"/>
                    </a:moveTo>
                    <a:cubicBezTo>
                      <a:pt x="6783" y="6856"/>
                      <a:pt x="6783" y="6856"/>
                      <a:pt x="6783" y="6856"/>
                    </a:cubicBezTo>
                    <a:cubicBezTo>
                      <a:pt x="6711" y="6845"/>
                      <a:pt x="6711" y="6845"/>
                      <a:pt x="6711" y="6845"/>
                    </a:cubicBezTo>
                    <a:cubicBezTo>
                      <a:pt x="6702" y="6902"/>
                      <a:pt x="6702" y="6902"/>
                      <a:pt x="6702" y="6902"/>
                    </a:cubicBezTo>
                    <a:cubicBezTo>
                      <a:pt x="6696" y="6901"/>
                      <a:pt x="6696" y="6901"/>
                      <a:pt x="6696" y="6901"/>
                    </a:cubicBezTo>
                    <a:cubicBezTo>
                      <a:pt x="6580" y="6886"/>
                      <a:pt x="6580" y="6886"/>
                      <a:pt x="6580" y="6886"/>
                    </a:cubicBezTo>
                    <a:cubicBezTo>
                      <a:pt x="6598" y="6770"/>
                      <a:pt x="6598" y="6770"/>
                      <a:pt x="6598" y="6770"/>
                    </a:cubicBezTo>
                    <a:cubicBezTo>
                      <a:pt x="6608" y="6772"/>
                      <a:pt x="6608" y="6772"/>
                      <a:pt x="6608" y="6772"/>
                    </a:cubicBezTo>
                    <a:cubicBezTo>
                      <a:pt x="6616" y="6720"/>
                      <a:pt x="6616" y="6720"/>
                      <a:pt x="6616" y="6720"/>
                    </a:cubicBezTo>
                    <a:lnTo>
                      <a:pt x="6799" y="6748"/>
                    </a:lnTo>
                    <a:close/>
                    <a:moveTo>
                      <a:pt x="6785" y="6759"/>
                    </a:moveTo>
                    <a:cubicBezTo>
                      <a:pt x="6627" y="6735"/>
                      <a:pt x="6627" y="6735"/>
                      <a:pt x="6627" y="6735"/>
                    </a:cubicBezTo>
                    <a:cubicBezTo>
                      <a:pt x="6619" y="6787"/>
                      <a:pt x="6619" y="6787"/>
                      <a:pt x="6619" y="6787"/>
                    </a:cubicBezTo>
                    <a:cubicBezTo>
                      <a:pt x="6609" y="6785"/>
                      <a:pt x="6609" y="6785"/>
                      <a:pt x="6609" y="6785"/>
                    </a:cubicBezTo>
                    <a:cubicBezTo>
                      <a:pt x="6595" y="6875"/>
                      <a:pt x="6595" y="6875"/>
                      <a:pt x="6595" y="6875"/>
                    </a:cubicBezTo>
                    <a:cubicBezTo>
                      <a:pt x="6691" y="6887"/>
                      <a:pt x="6691" y="6887"/>
                      <a:pt x="6691" y="6887"/>
                    </a:cubicBezTo>
                    <a:cubicBezTo>
                      <a:pt x="6700" y="6830"/>
                      <a:pt x="6700" y="6830"/>
                      <a:pt x="6700" y="6830"/>
                    </a:cubicBezTo>
                    <a:cubicBezTo>
                      <a:pt x="6772" y="6841"/>
                      <a:pt x="6772" y="6841"/>
                      <a:pt x="6772" y="6841"/>
                    </a:cubicBezTo>
                    <a:lnTo>
                      <a:pt x="6785" y="6759"/>
                    </a:lnTo>
                    <a:close/>
                    <a:moveTo>
                      <a:pt x="6770" y="7091"/>
                    </a:moveTo>
                    <a:cubicBezTo>
                      <a:pt x="6887" y="7102"/>
                      <a:pt x="6887" y="7102"/>
                      <a:pt x="6887" y="7102"/>
                    </a:cubicBezTo>
                    <a:cubicBezTo>
                      <a:pt x="6873" y="7224"/>
                      <a:pt x="6873" y="7224"/>
                      <a:pt x="6873" y="7224"/>
                    </a:cubicBezTo>
                    <a:cubicBezTo>
                      <a:pt x="6866" y="7223"/>
                      <a:pt x="6866" y="7223"/>
                      <a:pt x="6866" y="7223"/>
                    </a:cubicBezTo>
                    <a:cubicBezTo>
                      <a:pt x="6816" y="7219"/>
                      <a:pt x="6816" y="7219"/>
                      <a:pt x="6816" y="7219"/>
                    </a:cubicBezTo>
                    <a:cubicBezTo>
                      <a:pt x="6809" y="7291"/>
                      <a:pt x="6809" y="7291"/>
                      <a:pt x="6809" y="7291"/>
                    </a:cubicBezTo>
                    <a:cubicBezTo>
                      <a:pt x="6700" y="7281"/>
                      <a:pt x="6700" y="7281"/>
                      <a:pt x="6700" y="7281"/>
                    </a:cubicBezTo>
                    <a:cubicBezTo>
                      <a:pt x="6717" y="7096"/>
                      <a:pt x="6717" y="7096"/>
                      <a:pt x="6717" y="7096"/>
                    </a:cubicBezTo>
                    <a:cubicBezTo>
                      <a:pt x="6769" y="7101"/>
                      <a:pt x="6769" y="7101"/>
                      <a:pt x="6769" y="7101"/>
                    </a:cubicBezTo>
                    <a:cubicBezTo>
                      <a:pt x="6769" y="7097"/>
                      <a:pt x="6769" y="7097"/>
                      <a:pt x="6769" y="7097"/>
                    </a:cubicBezTo>
                    <a:lnTo>
                      <a:pt x="6770" y="7091"/>
                    </a:lnTo>
                    <a:close/>
                    <a:moveTo>
                      <a:pt x="6781" y="7116"/>
                    </a:moveTo>
                    <a:cubicBezTo>
                      <a:pt x="6729" y="7111"/>
                      <a:pt x="6729" y="7111"/>
                      <a:pt x="6729" y="7111"/>
                    </a:cubicBezTo>
                    <a:cubicBezTo>
                      <a:pt x="6714" y="7269"/>
                      <a:pt x="6714" y="7269"/>
                      <a:pt x="6714" y="7269"/>
                    </a:cubicBezTo>
                    <a:cubicBezTo>
                      <a:pt x="6797" y="7277"/>
                      <a:pt x="6797" y="7277"/>
                      <a:pt x="6797" y="7277"/>
                    </a:cubicBezTo>
                    <a:cubicBezTo>
                      <a:pt x="6804" y="7204"/>
                      <a:pt x="6804" y="7204"/>
                      <a:pt x="6804" y="7204"/>
                    </a:cubicBezTo>
                    <a:cubicBezTo>
                      <a:pt x="6861" y="7210"/>
                      <a:pt x="6861" y="7210"/>
                      <a:pt x="6861" y="7210"/>
                    </a:cubicBezTo>
                    <a:cubicBezTo>
                      <a:pt x="6873" y="7114"/>
                      <a:pt x="6873" y="7114"/>
                      <a:pt x="6873" y="7114"/>
                    </a:cubicBezTo>
                    <a:cubicBezTo>
                      <a:pt x="6782" y="7105"/>
                      <a:pt x="6782" y="7105"/>
                      <a:pt x="6782" y="7105"/>
                    </a:cubicBezTo>
                    <a:cubicBezTo>
                      <a:pt x="6781" y="7109"/>
                      <a:pt x="6781" y="7109"/>
                      <a:pt x="6781" y="7109"/>
                    </a:cubicBezTo>
                    <a:lnTo>
                      <a:pt x="6781" y="7116"/>
                    </a:lnTo>
                    <a:close/>
                    <a:moveTo>
                      <a:pt x="6475" y="7594"/>
                    </a:moveTo>
                    <a:cubicBezTo>
                      <a:pt x="6400" y="7594"/>
                      <a:pt x="6400" y="7594"/>
                      <a:pt x="6400" y="7594"/>
                    </a:cubicBezTo>
                    <a:cubicBezTo>
                      <a:pt x="6400" y="7587"/>
                      <a:pt x="6400" y="7587"/>
                      <a:pt x="6400" y="7587"/>
                    </a:cubicBezTo>
                    <a:cubicBezTo>
                      <a:pt x="6400" y="7503"/>
                      <a:pt x="6400" y="7503"/>
                      <a:pt x="6400" y="7503"/>
                    </a:cubicBezTo>
                    <a:cubicBezTo>
                      <a:pt x="6475" y="7503"/>
                      <a:pt x="6475" y="7503"/>
                      <a:pt x="6475" y="7503"/>
                    </a:cubicBezTo>
                    <a:lnTo>
                      <a:pt x="6475" y="7594"/>
                    </a:lnTo>
                    <a:close/>
                    <a:moveTo>
                      <a:pt x="6462" y="7516"/>
                    </a:moveTo>
                    <a:cubicBezTo>
                      <a:pt x="6413" y="7516"/>
                      <a:pt x="6413" y="7516"/>
                      <a:pt x="6413" y="7516"/>
                    </a:cubicBezTo>
                    <a:cubicBezTo>
                      <a:pt x="6413" y="7581"/>
                      <a:pt x="6413" y="7581"/>
                      <a:pt x="6413" y="7581"/>
                    </a:cubicBezTo>
                    <a:cubicBezTo>
                      <a:pt x="6462" y="7581"/>
                      <a:pt x="6462" y="7581"/>
                      <a:pt x="6462" y="7581"/>
                    </a:cubicBezTo>
                    <a:lnTo>
                      <a:pt x="6462" y="7516"/>
                    </a:lnTo>
                    <a:close/>
                    <a:moveTo>
                      <a:pt x="3993" y="7920"/>
                    </a:moveTo>
                    <a:cubicBezTo>
                      <a:pt x="4046" y="8011"/>
                      <a:pt x="4046" y="8011"/>
                      <a:pt x="4046" y="8011"/>
                    </a:cubicBezTo>
                    <a:cubicBezTo>
                      <a:pt x="3918" y="8085"/>
                      <a:pt x="3918" y="8085"/>
                      <a:pt x="3918" y="8085"/>
                    </a:cubicBezTo>
                    <a:cubicBezTo>
                      <a:pt x="3915" y="8079"/>
                      <a:pt x="3915" y="8079"/>
                      <a:pt x="3915" y="8079"/>
                    </a:cubicBezTo>
                    <a:cubicBezTo>
                      <a:pt x="3865" y="7995"/>
                      <a:pt x="3865" y="7995"/>
                      <a:pt x="3865" y="7995"/>
                    </a:cubicBezTo>
                    <a:lnTo>
                      <a:pt x="3993" y="7920"/>
                    </a:lnTo>
                    <a:close/>
                    <a:moveTo>
                      <a:pt x="4028" y="8006"/>
                    </a:moveTo>
                    <a:cubicBezTo>
                      <a:pt x="3989" y="7938"/>
                      <a:pt x="3989" y="7938"/>
                      <a:pt x="3989" y="7938"/>
                    </a:cubicBezTo>
                    <a:cubicBezTo>
                      <a:pt x="3883" y="7999"/>
                      <a:pt x="3883" y="7999"/>
                      <a:pt x="3883" y="7999"/>
                    </a:cubicBezTo>
                    <a:cubicBezTo>
                      <a:pt x="3922" y="8067"/>
                      <a:pt x="3922" y="8067"/>
                      <a:pt x="3922" y="8067"/>
                    </a:cubicBezTo>
                    <a:lnTo>
                      <a:pt x="4028" y="8006"/>
                    </a:lnTo>
                    <a:close/>
                    <a:moveTo>
                      <a:pt x="6105" y="7054"/>
                    </a:moveTo>
                    <a:cubicBezTo>
                      <a:pt x="6025" y="7311"/>
                      <a:pt x="6025" y="7311"/>
                      <a:pt x="6025" y="7311"/>
                    </a:cubicBezTo>
                    <a:cubicBezTo>
                      <a:pt x="5812" y="7138"/>
                      <a:pt x="5812" y="7138"/>
                      <a:pt x="5812" y="7138"/>
                    </a:cubicBezTo>
                    <a:cubicBezTo>
                      <a:pt x="5886" y="6939"/>
                      <a:pt x="5886" y="6939"/>
                      <a:pt x="5886" y="6939"/>
                    </a:cubicBezTo>
                    <a:cubicBezTo>
                      <a:pt x="6107" y="7048"/>
                      <a:pt x="6107" y="7048"/>
                      <a:pt x="6107" y="7048"/>
                    </a:cubicBezTo>
                    <a:lnTo>
                      <a:pt x="6105" y="7054"/>
                    </a:lnTo>
                    <a:close/>
                    <a:moveTo>
                      <a:pt x="6089" y="7056"/>
                    </a:moveTo>
                    <a:cubicBezTo>
                      <a:pt x="5894" y="6959"/>
                      <a:pt x="5894" y="6959"/>
                      <a:pt x="5894" y="6959"/>
                    </a:cubicBezTo>
                    <a:cubicBezTo>
                      <a:pt x="5830" y="7133"/>
                      <a:pt x="5830" y="7133"/>
                      <a:pt x="5830" y="7133"/>
                    </a:cubicBezTo>
                    <a:cubicBezTo>
                      <a:pt x="6017" y="7286"/>
                      <a:pt x="6017" y="7286"/>
                      <a:pt x="6017" y="7286"/>
                    </a:cubicBezTo>
                    <a:lnTo>
                      <a:pt x="6089" y="7056"/>
                    </a:lnTo>
                    <a:close/>
                    <a:moveTo>
                      <a:pt x="5878" y="7121"/>
                    </a:moveTo>
                    <a:cubicBezTo>
                      <a:pt x="5914" y="7016"/>
                      <a:pt x="5914" y="7016"/>
                      <a:pt x="5914" y="7016"/>
                    </a:cubicBezTo>
                    <a:cubicBezTo>
                      <a:pt x="6033" y="7082"/>
                      <a:pt x="6033" y="7082"/>
                      <a:pt x="6033" y="7082"/>
                    </a:cubicBezTo>
                    <a:cubicBezTo>
                      <a:pt x="6030" y="7088"/>
                      <a:pt x="6030" y="7088"/>
                      <a:pt x="6030" y="7088"/>
                    </a:cubicBezTo>
                    <a:cubicBezTo>
                      <a:pt x="5996" y="7162"/>
                      <a:pt x="5996" y="7162"/>
                      <a:pt x="5996" y="7162"/>
                    </a:cubicBezTo>
                    <a:lnTo>
                      <a:pt x="5878" y="7121"/>
                    </a:lnTo>
                    <a:close/>
                    <a:moveTo>
                      <a:pt x="5897" y="7112"/>
                    </a:moveTo>
                    <a:cubicBezTo>
                      <a:pt x="5988" y="7144"/>
                      <a:pt x="5988" y="7144"/>
                      <a:pt x="5988" y="7144"/>
                    </a:cubicBezTo>
                    <a:cubicBezTo>
                      <a:pt x="6014" y="7088"/>
                      <a:pt x="6014" y="7088"/>
                      <a:pt x="6014" y="7088"/>
                    </a:cubicBezTo>
                    <a:cubicBezTo>
                      <a:pt x="5922" y="7038"/>
                      <a:pt x="5922" y="7038"/>
                      <a:pt x="5922" y="7038"/>
                    </a:cubicBezTo>
                    <a:lnTo>
                      <a:pt x="5897" y="7112"/>
                    </a:lnTo>
                    <a:close/>
                    <a:moveTo>
                      <a:pt x="4358" y="7104"/>
                    </a:moveTo>
                    <a:cubicBezTo>
                      <a:pt x="4358" y="7104"/>
                      <a:pt x="4358" y="7104"/>
                      <a:pt x="4358" y="7104"/>
                    </a:cubicBezTo>
                    <a:cubicBezTo>
                      <a:pt x="4358" y="7104"/>
                      <a:pt x="4358" y="7104"/>
                      <a:pt x="4358" y="7104"/>
                    </a:cubicBezTo>
                    <a:close/>
                    <a:moveTo>
                      <a:pt x="5574" y="2257"/>
                    </a:moveTo>
                    <a:cubicBezTo>
                      <a:pt x="5431" y="2232"/>
                      <a:pt x="5431" y="2232"/>
                      <a:pt x="5431" y="2232"/>
                    </a:cubicBezTo>
                    <a:cubicBezTo>
                      <a:pt x="5443" y="2161"/>
                      <a:pt x="5443" y="2161"/>
                      <a:pt x="5443" y="2161"/>
                    </a:cubicBezTo>
                    <a:cubicBezTo>
                      <a:pt x="5592" y="2188"/>
                      <a:pt x="5592" y="2188"/>
                      <a:pt x="5592" y="2188"/>
                    </a:cubicBezTo>
                    <a:cubicBezTo>
                      <a:pt x="5580" y="2258"/>
                      <a:pt x="5580" y="2258"/>
                      <a:pt x="5580" y="2258"/>
                    </a:cubicBezTo>
                    <a:lnTo>
                      <a:pt x="5574" y="2257"/>
                    </a:lnTo>
                    <a:close/>
                    <a:moveTo>
                      <a:pt x="5570" y="2243"/>
                    </a:moveTo>
                    <a:cubicBezTo>
                      <a:pt x="5578" y="2198"/>
                      <a:pt x="5578" y="2198"/>
                      <a:pt x="5578" y="2198"/>
                    </a:cubicBezTo>
                    <a:cubicBezTo>
                      <a:pt x="5454" y="2176"/>
                      <a:pt x="5454" y="2176"/>
                      <a:pt x="5454" y="2176"/>
                    </a:cubicBezTo>
                    <a:cubicBezTo>
                      <a:pt x="5446" y="2221"/>
                      <a:pt x="5446" y="2221"/>
                      <a:pt x="5446" y="2221"/>
                    </a:cubicBezTo>
                    <a:lnTo>
                      <a:pt x="5570" y="2243"/>
                    </a:lnTo>
                    <a:close/>
                    <a:moveTo>
                      <a:pt x="5495" y="1618"/>
                    </a:moveTo>
                    <a:cubicBezTo>
                      <a:pt x="5644" y="1644"/>
                      <a:pt x="5644" y="1644"/>
                      <a:pt x="5644" y="1644"/>
                    </a:cubicBezTo>
                    <a:cubicBezTo>
                      <a:pt x="5632" y="1714"/>
                      <a:pt x="5632" y="1714"/>
                      <a:pt x="5632" y="1714"/>
                    </a:cubicBezTo>
                    <a:cubicBezTo>
                      <a:pt x="5626" y="1713"/>
                      <a:pt x="5626" y="1713"/>
                      <a:pt x="5626" y="1713"/>
                    </a:cubicBezTo>
                    <a:cubicBezTo>
                      <a:pt x="5483" y="1688"/>
                      <a:pt x="5483" y="1688"/>
                      <a:pt x="5483" y="1688"/>
                    </a:cubicBezTo>
                    <a:lnTo>
                      <a:pt x="5495" y="1618"/>
                    </a:lnTo>
                    <a:close/>
                    <a:moveTo>
                      <a:pt x="5498" y="1678"/>
                    </a:moveTo>
                    <a:cubicBezTo>
                      <a:pt x="5622" y="1699"/>
                      <a:pt x="5622" y="1699"/>
                      <a:pt x="5622" y="1699"/>
                    </a:cubicBezTo>
                    <a:cubicBezTo>
                      <a:pt x="5630" y="1654"/>
                      <a:pt x="5630" y="1654"/>
                      <a:pt x="5630" y="1654"/>
                    </a:cubicBezTo>
                    <a:cubicBezTo>
                      <a:pt x="5506" y="1632"/>
                      <a:pt x="5506" y="1632"/>
                      <a:pt x="5506" y="1632"/>
                    </a:cubicBezTo>
                    <a:lnTo>
                      <a:pt x="5498" y="1678"/>
                    </a:lnTo>
                    <a:close/>
                    <a:moveTo>
                      <a:pt x="3556" y="7508"/>
                    </a:moveTo>
                    <a:cubicBezTo>
                      <a:pt x="3417" y="7499"/>
                      <a:pt x="3417" y="7499"/>
                      <a:pt x="3417" y="7499"/>
                    </a:cubicBezTo>
                    <a:cubicBezTo>
                      <a:pt x="3449" y="7215"/>
                      <a:pt x="3449" y="7215"/>
                      <a:pt x="3449" y="7215"/>
                    </a:cubicBezTo>
                    <a:cubicBezTo>
                      <a:pt x="3779" y="7295"/>
                      <a:pt x="3779" y="7295"/>
                      <a:pt x="3779" y="7295"/>
                    </a:cubicBezTo>
                    <a:cubicBezTo>
                      <a:pt x="3778" y="7301"/>
                      <a:pt x="3778" y="7301"/>
                      <a:pt x="3778" y="7301"/>
                    </a:cubicBezTo>
                    <a:cubicBezTo>
                      <a:pt x="3768" y="7371"/>
                      <a:pt x="3768" y="7371"/>
                      <a:pt x="3768" y="7371"/>
                    </a:cubicBezTo>
                    <a:cubicBezTo>
                      <a:pt x="3576" y="7332"/>
                      <a:pt x="3576" y="7332"/>
                      <a:pt x="3576" y="7332"/>
                    </a:cubicBezTo>
                    <a:lnTo>
                      <a:pt x="3556" y="7508"/>
                    </a:lnTo>
                    <a:close/>
                    <a:moveTo>
                      <a:pt x="3543" y="7492"/>
                    </a:moveTo>
                    <a:cubicBezTo>
                      <a:pt x="3564" y="7314"/>
                      <a:pt x="3564" y="7314"/>
                      <a:pt x="3564" y="7314"/>
                    </a:cubicBezTo>
                    <a:cubicBezTo>
                      <a:pt x="3755" y="7354"/>
                      <a:pt x="3755" y="7354"/>
                      <a:pt x="3755" y="7354"/>
                    </a:cubicBezTo>
                    <a:cubicBezTo>
                      <a:pt x="3762" y="7306"/>
                      <a:pt x="3762" y="7306"/>
                      <a:pt x="3762" y="7306"/>
                    </a:cubicBezTo>
                    <a:cubicBezTo>
                      <a:pt x="3462" y="7234"/>
                      <a:pt x="3462" y="7234"/>
                      <a:pt x="3462" y="7234"/>
                    </a:cubicBezTo>
                    <a:cubicBezTo>
                      <a:pt x="3434" y="7485"/>
                      <a:pt x="3434" y="7485"/>
                      <a:pt x="3434" y="7485"/>
                    </a:cubicBezTo>
                    <a:lnTo>
                      <a:pt x="3543" y="7492"/>
                    </a:lnTo>
                    <a:close/>
                    <a:moveTo>
                      <a:pt x="5602" y="5455"/>
                    </a:moveTo>
                    <a:cubicBezTo>
                      <a:pt x="5456" y="5429"/>
                      <a:pt x="5456" y="5429"/>
                      <a:pt x="5456" y="5429"/>
                    </a:cubicBezTo>
                    <a:cubicBezTo>
                      <a:pt x="5458" y="5423"/>
                      <a:pt x="5458" y="5423"/>
                      <a:pt x="5458" y="5423"/>
                    </a:cubicBezTo>
                    <a:cubicBezTo>
                      <a:pt x="5475" y="5326"/>
                      <a:pt x="5475" y="5326"/>
                      <a:pt x="5475" y="5326"/>
                    </a:cubicBezTo>
                    <a:cubicBezTo>
                      <a:pt x="5621" y="5353"/>
                      <a:pt x="5621" y="5353"/>
                      <a:pt x="5621" y="5353"/>
                    </a:cubicBezTo>
                    <a:lnTo>
                      <a:pt x="5602" y="5455"/>
                    </a:lnTo>
                    <a:close/>
                    <a:moveTo>
                      <a:pt x="5592" y="5440"/>
                    </a:moveTo>
                    <a:cubicBezTo>
                      <a:pt x="5606" y="5363"/>
                      <a:pt x="5606" y="5363"/>
                      <a:pt x="5606" y="5363"/>
                    </a:cubicBezTo>
                    <a:cubicBezTo>
                      <a:pt x="5485" y="5341"/>
                      <a:pt x="5485" y="5341"/>
                      <a:pt x="5485" y="5341"/>
                    </a:cubicBezTo>
                    <a:cubicBezTo>
                      <a:pt x="5471" y="5419"/>
                      <a:pt x="5471" y="5419"/>
                      <a:pt x="5471" y="5419"/>
                    </a:cubicBezTo>
                    <a:lnTo>
                      <a:pt x="5592" y="5440"/>
                    </a:lnTo>
                    <a:close/>
                    <a:moveTo>
                      <a:pt x="5567" y="5488"/>
                    </a:moveTo>
                    <a:cubicBezTo>
                      <a:pt x="5712" y="5515"/>
                      <a:pt x="5712" y="5515"/>
                      <a:pt x="5712" y="5515"/>
                    </a:cubicBezTo>
                    <a:cubicBezTo>
                      <a:pt x="5694" y="5618"/>
                      <a:pt x="5694" y="5618"/>
                      <a:pt x="5694" y="5618"/>
                    </a:cubicBezTo>
                    <a:cubicBezTo>
                      <a:pt x="5548" y="5591"/>
                      <a:pt x="5548" y="5591"/>
                      <a:pt x="5548" y="5591"/>
                    </a:cubicBezTo>
                    <a:cubicBezTo>
                      <a:pt x="5549" y="5585"/>
                      <a:pt x="5549" y="5585"/>
                      <a:pt x="5549" y="5585"/>
                    </a:cubicBezTo>
                    <a:lnTo>
                      <a:pt x="5567" y="5488"/>
                    </a:lnTo>
                    <a:close/>
                    <a:moveTo>
                      <a:pt x="5577" y="5503"/>
                    </a:moveTo>
                    <a:cubicBezTo>
                      <a:pt x="5563" y="5581"/>
                      <a:pt x="5563" y="5581"/>
                      <a:pt x="5563" y="5581"/>
                    </a:cubicBezTo>
                    <a:cubicBezTo>
                      <a:pt x="5683" y="5603"/>
                      <a:pt x="5683" y="5603"/>
                      <a:pt x="5683" y="5603"/>
                    </a:cubicBezTo>
                    <a:cubicBezTo>
                      <a:pt x="5697" y="5525"/>
                      <a:pt x="5697" y="5525"/>
                      <a:pt x="5697" y="5525"/>
                    </a:cubicBezTo>
                    <a:lnTo>
                      <a:pt x="5577" y="5503"/>
                    </a:lnTo>
                    <a:close/>
                    <a:moveTo>
                      <a:pt x="2114" y="5816"/>
                    </a:moveTo>
                    <a:cubicBezTo>
                      <a:pt x="1989" y="5781"/>
                      <a:pt x="1989" y="5781"/>
                      <a:pt x="1989" y="5781"/>
                    </a:cubicBezTo>
                    <a:cubicBezTo>
                      <a:pt x="2087" y="5558"/>
                      <a:pt x="2087" y="5558"/>
                      <a:pt x="2087" y="5558"/>
                    </a:cubicBezTo>
                    <a:cubicBezTo>
                      <a:pt x="2233" y="5606"/>
                      <a:pt x="2233" y="5606"/>
                      <a:pt x="2233" y="5606"/>
                    </a:cubicBezTo>
                    <a:cubicBezTo>
                      <a:pt x="2333" y="5761"/>
                      <a:pt x="2333" y="5761"/>
                      <a:pt x="2333" y="5761"/>
                    </a:cubicBezTo>
                    <a:cubicBezTo>
                      <a:pt x="2565" y="5828"/>
                      <a:pt x="2565" y="5828"/>
                      <a:pt x="2565" y="5828"/>
                    </a:cubicBezTo>
                    <a:cubicBezTo>
                      <a:pt x="2562" y="5835"/>
                      <a:pt x="2562" y="5835"/>
                      <a:pt x="2562" y="5835"/>
                    </a:cubicBezTo>
                    <a:cubicBezTo>
                      <a:pt x="2510" y="5992"/>
                      <a:pt x="2510" y="5992"/>
                      <a:pt x="2510" y="5992"/>
                    </a:cubicBezTo>
                    <a:cubicBezTo>
                      <a:pt x="2390" y="5955"/>
                      <a:pt x="2390" y="5955"/>
                      <a:pt x="2390" y="5955"/>
                    </a:cubicBezTo>
                    <a:cubicBezTo>
                      <a:pt x="2404" y="5919"/>
                      <a:pt x="2404" y="5919"/>
                      <a:pt x="2404" y="5919"/>
                    </a:cubicBezTo>
                    <a:cubicBezTo>
                      <a:pt x="2239" y="5876"/>
                      <a:pt x="2239" y="5876"/>
                      <a:pt x="2239" y="5876"/>
                    </a:cubicBezTo>
                    <a:cubicBezTo>
                      <a:pt x="2158" y="5745"/>
                      <a:pt x="2158" y="5745"/>
                      <a:pt x="2158" y="5745"/>
                    </a:cubicBezTo>
                    <a:cubicBezTo>
                      <a:pt x="2156" y="5745"/>
                      <a:pt x="2154" y="5744"/>
                      <a:pt x="2151" y="5743"/>
                    </a:cubicBezTo>
                    <a:cubicBezTo>
                      <a:pt x="2150" y="5743"/>
                      <a:pt x="2149" y="5743"/>
                      <a:pt x="2148" y="5742"/>
                    </a:cubicBezTo>
                    <a:cubicBezTo>
                      <a:pt x="2139" y="5761"/>
                      <a:pt x="2116" y="5810"/>
                      <a:pt x="2116" y="5810"/>
                    </a:cubicBezTo>
                    <a:lnTo>
                      <a:pt x="2114" y="5816"/>
                    </a:lnTo>
                    <a:close/>
                    <a:moveTo>
                      <a:pt x="2106" y="5798"/>
                    </a:moveTo>
                    <a:cubicBezTo>
                      <a:pt x="2109" y="5791"/>
                      <a:pt x="2114" y="5779"/>
                      <a:pt x="2120" y="5767"/>
                    </a:cubicBezTo>
                    <a:cubicBezTo>
                      <a:pt x="2124" y="5758"/>
                      <a:pt x="2128" y="5749"/>
                      <a:pt x="2131" y="5742"/>
                    </a:cubicBezTo>
                    <a:cubicBezTo>
                      <a:pt x="2133" y="5739"/>
                      <a:pt x="2134" y="5736"/>
                      <a:pt x="2135" y="5734"/>
                    </a:cubicBezTo>
                    <a:cubicBezTo>
                      <a:pt x="2136" y="5733"/>
                      <a:pt x="2136" y="5732"/>
                      <a:pt x="2136" y="5731"/>
                    </a:cubicBezTo>
                    <a:cubicBezTo>
                      <a:pt x="2136" y="5731"/>
                      <a:pt x="2136" y="5731"/>
                      <a:pt x="2136" y="5731"/>
                    </a:cubicBezTo>
                    <a:cubicBezTo>
                      <a:pt x="2136" y="5730"/>
                      <a:pt x="2137" y="5730"/>
                      <a:pt x="2137" y="5729"/>
                    </a:cubicBezTo>
                    <a:cubicBezTo>
                      <a:pt x="2137" y="5729"/>
                      <a:pt x="2137" y="5729"/>
                      <a:pt x="2137" y="5729"/>
                    </a:cubicBezTo>
                    <a:cubicBezTo>
                      <a:pt x="2137" y="5729"/>
                      <a:pt x="2137" y="5729"/>
                      <a:pt x="2137" y="5729"/>
                    </a:cubicBezTo>
                    <a:cubicBezTo>
                      <a:pt x="2137" y="5729"/>
                      <a:pt x="2137" y="5728"/>
                      <a:pt x="2138" y="5728"/>
                    </a:cubicBezTo>
                    <a:cubicBezTo>
                      <a:pt x="2138" y="5728"/>
                      <a:pt x="2138" y="5728"/>
                      <a:pt x="2138" y="5728"/>
                    </a:cubicBezTo>
                    <a:cubicBezTo>
                      <a:pt x="2138" y="5728"/>
                      <a:pt x="2138" y="5728"/>
                      <a:pt x="2138" y="5728"/>
                    </a:cubicBezTo>
                    <a:cubicBezTo>
                      <a:pt x="2138" y="5728"/>
                      <a:pt x="2138" y="5728"/>
                      <a:pt x="2138" y="5728"/>
                    </a:cubicBezTo>
                    <a:cubicBezTo>
                      <a:pt x="2138" y="5728"/>
                      <a:pt x="2138" y="5728"/>
                      <a:pt x="2138" y="5728"/>
                    </a:cubicBezTo>
                    <a:cubicBezTo>
                      <a:pt x="2139" y="5727"/>
                      <a:pt x="2140" y="5726"/>
                      <a:pt x="2141" y="5726"/>
                    </a:cubicBezTo>
                    <a:cubicBezTo>
                      <a:pt x="2141" y="5726"/>
                      <a:pt x="2142" y="5725"/>
                      <a:pt x="2143" y="5725"/>
                    </a:cubicBezTo>
                    <a:cubicBezTo>
                      <a:pt x="2145" y="5725"/>
                      <a:pt x="2146" y="5726"/>
                      <a:pt x="2147" y="5727"/>
                    </a:cubicBezTo>
                    <a:cubicBezTo>
                      <a:pt x="2151" y="5728"/>
                      <a:pt x="2165" y="5732"/>
                      <a:pt x="2165" y="5732"/>
                    </a:cubicBezTo>
                    <a:cubicBezTo>
                      <a:pt x="2168" y="5733"/>
                      <a:pt x="2168" y="5733"/>
                      <a:pt x="2168" y="5733"/>
                    </a:cubicBezTo>
                    <a:cubicBezTo>
                      <a:pt x="2248" y="5863"/>
                      <a:pt x="2248" y="5863"/>
                      <a:pt x="2248" y="5863"/>
                    </a:cubicBezTo>
                    <a:cubicBezTo>
                      <a:pt x="2424" y="5909"/>
                      <a:pt x="2424" y="5909"/>
                      <a:pt x="2424" y="5909"/>
                    </a:cubicBezTo>
                    <a:cubicBezTo>
                      <a:pt x="2410" y="5946"/>
                      <a:pt x="2410" y="5946"/>
                      <a:pt x="2410" y="5946"/>
                    </a:cubicBezTo>
                    <a:cubicBezTo>
                      <a:pt x="2500" y="5974"/>
                      <a:pt x="2500" y="5974"/>
                      <a:pt x="2500" y="5974"/>
                    </a:cubicBezTo>
                    <a:cubicBezTo>
                      <a:pt x="2546" y="5838"/>
                      <a:pt x="2546" y="5838"/>
                      <a:pt x="2546" y="5838"/>
                    </a:cubicBezTo>
                    <a:cubicBezTo>
                      <a:pt x="2324" y="5774"/>
                      <a:pt x="2324" y="5774"/>
                      <a:pt x="2324" y="5774"/>
                    </a:cubicBezTo>
                    <a:cubicBezTo>
                      <a:pt x="2224" y="5618"/>
                      <a:pt x="2224" y="5618"/>
                      <a:pt x="2224" y="5618"/>
                    </a:cubicBezTo>
                    <a:cubicBezTo>
                      <a:pt x="2095" y="5576"/>
                      <a:pt x="2095" y="5576"/>
                      <a:pt x="2095" y="5576"/>
                    </a:cubicBezTo>
                    <a:cubicBezTo>
                      <a:pt x="2010" y="5771"/>
                      <a:pt x="2010" y="5771"/>
                      <a:pt x="2010" y="5771"/>
                    </a:cubicBezTo>
                    <a:lnTo>
                      <a:pt x="2106" y="5798"/>
                    </a:lnTo>
                    <a:close/>
                    <a:moveTo>
                      <a:pt x="5389" y="4142"/>
                    </a:moveTo>
                    <a:cubicBezTo>
                      <a:pt x="5408" y="4258"/>
                      <a:pt x="5408" y="4258"/>
                      <a:pt x="5408" y="4258"/>
                    </a:cubicBezTo>
                    <a:cubicBezTo>
                      <a:pt x="5286" y="4276"/>
                      <a:pt x="5286" y="4276"/>
                      <a:pt x="5286" y="4276"/>
                    </a:cubicBezTo>
                    <a:cubicBezTo>
                      <a:pt x="5285" y="4269"/>
                      <a:pt x="5285" y="4269"/>
                      <a:pt x="5285" y="4269"/>
                    </a:cubicBezTo>
                    <a:cubicBezTo>
                      <a:pt x="5277" y="4219"/>
                      <a:pt x="5277" y="4219"/>
                      <a:pt x="5277" y="4219"/>
                    </a:cubicBezTo>
                    <a:cubicBezTo>
                      <a:pt x="5205" y="4231"/>
                      <a:pt x="5205" y="4231"/>
                      <a:pt x="5205" y="4231"/>
                    </a:cubicBezTo>
                    <a:cubicBezTo>
                      <a:pt x="5187" y="4123"/>
                      <a:pt x="5187" y="4123"/>
                      <a:pt x="5187" y="4123"/>
                    </a:cubicBezTo>
                    <a:cubicBezTo>
                      <a:pt x="5370" y="4092"/>
                      <a:pt x="5370" y="4092"/>
                      <a:pt x="5370" y="4092"/>
                    </a:cubicBezTo>
                    <a:cubicBezTo>
                      <a:pt x="5378" y="4144"/>
                      <a:pt x="5378" y="4144"/>
                      <a:pt x="5378" y="4144"/>
                    </a:cubicBezTo>
                    <a:cubicBezTo>
                      <a:pt x="5382" y="4143"/>
                      <a:pt x="5382" y="4143"/>
                      <a:pt x="5382" y="4143"/>
                    </a:cubicBezTo>
                    <a:lnTo>
                      <a:pt x="5389" y="4142"/>
                    </a:lnTo>
                    <a:close/>
                    <a:moveTo>
                      <a:pt x="5393" y="4247"/>
                    </a:moveTo>
                    <a:cubicBezTo>
                      <a:pt x="5378" y="4157"/>
                      <a:pt x="5378" y="4157"/>
                      <a:pt x="5378" y="4157"/>
                    </a:cubicBezTo>
                    <a:cubicBezTo>
                      <a:pt x="5374" y="4158"/>
                      <a:pt x="5374" y="4158"/>
                      <a:pt x="5374" y="4158"/>
                    </a:cubicBezTo>
                    <a:cubicBezTo>
                      <a:pt x="5368" y="4159"/>
                      <a:pt x="5368" y="4159"/>
                      <a:pt x="5368" y="4159"/>
                    </a:cubicBezTo>
                    <a:cubicBezTo>
                      <a:pt x="5359" y="4107"/>
                      <a:pt x="5359" y="4107"/>
                      <a:pt x="5359" y="4107"/>
                    </a:cubicBezTo>
                    <a:cubicBezTo>
                      <a:pt x="5202" y="4134"/>
                      <a:pt x="5202" y="4134"/>
                      <a:pt x="5202" y="4134"/>
                    </a:cubicBezTo>
                    <a:cubicBezTo>
                      <a:pt x="5216" y="4216"/>
                      <a:pt x="5216" y="4216"/>
                      <a:pt x="5216" y="4216"/>
                    </a:cubicBezTo>
                    <a:cubicBezTo>
                      <a:pt x="5288" y="4204"/>
                      <a:pt x="5288" y="4204"/>
                      <a:pt x="5288" y="4204"/>
                    </a:cubicBezTo>
                    <a:cubicBezTo>
                      <a:pt x="5297" y="4261"/>
                      <a:pt x="5297" y="4261"/>
                      <a:pt x="5297" y="4261"/>
                    </a:cubicBezTo>
                    <a:lnTo>
                      <a:pt x="5393" y="4247"/>
                    </a:lnTo>
                    <a:close/>
                    <a:moveTo>
                      <a:pt x="1379" y="5500"/>
                    </a:moveTo>
                    <a:cubicBezTo>
                      <a:pt x="1337" y="5408"/>
                      <a:pt x="1337" y="5408"/>
                      <a:pt x="1337" y="5408"/>
                    </a:cubicBezTo>
                    <a:cubicBezTo>
                      <a:pt x="1549" y="5349"/>
                      <a:pt x="1549" y="5349"/>
                      <a:pt x="1549" y="5349"/>
                    </a:cubicBezTo>
                    <a:cubicBezTo>
                      <a:pt x="1659" y="5390"/>
                      <a:pt x="1659" y="5390"/>
                      <a:pt x="1659" y="5390"/>
                    </a:cubicBezTo>
                    <a:cubicBezTo>
                      <a:pt x="1518" y="5561"/>
                      <a:pt x="1518" y="5561"/>
                      <a:pt x="1518" y="5561"/>
                    </a:cubicBezTo>
                    <a:lnTo>
                      <a:pt x="1379" y="5500"/>
                    </a:lnTo>
                    <a:close/>
                    <a:moveTo>
                      <a:pt x="1357" y="5417"/>
                    </a:moveTo>
                    <a:cubicBezTo>
                      <a:pt x="1390" y="5489"/>
                      <a:pt x="1390" y="5489"/>
                      <a:pt x="1390" y="5489"/>
                    </a:cubicBezTo>
                    <a:cubicBezTo>
                      <a:pt x="1514" y="5544"/>
                      <a:pt x="1514" y="5544"/>
                      <a:pt x="1514" y="5544"/>
                    </a:cubicBezTo>
                    <a:cubicBezTo>
                      <a:pt x="1636" y="5396"/>
                      <a:pt x="1636" y="5396"/>
                      <a:pt x="1636" y="5396"/>
                    </a:cubicBezTo>
                    <a:cubicBezTo>
                      <a:pt x="1548" y="5364"/>
                      <a:pt x="1548" y="5364"/>
                      <a:pt x="1548" y="5364"/>
                    </a:cubicBezTo>
                    <a:lnTo>
                      <a:pt x="1357" y="5417"/>
                    </a:lnTo>
                    <a:close/>
                    <a:moveTo>
                      <a:pt x="5430" y="4647"/>
                    </a:moveTo>
                    <a:cubicBezTo>
                      <a:pt x="5359" y="4642"/>
                      <a:pt x="5359" y="4642"/>
                      <a:pt x="5359" y="4642"/>
                    </a:cubicBezTo>
                    <a:cubicBezTo>
                      <a:pt x="5360" y="4636"/>
                      <a:pt x="5360" y="4636"/>
                      <a:pt x="5360" y="4636"/>
                    </a:cubicBezTo>
                    <a:cubicBezTo>
                      <a:pt x="5370" y="4491"/>
                      <a:pt x="5370" y="4491"/>
                      <a:pt x="5370" y="4491"/>
                    </a:cubicBezTo>
                    <a:cubicBezTo>
                      <a:pt x="5440" y="4496"/>
                      <a:pt x="5440" y="4496"/>
                      <a:pt x="5440" y="4496"/>
                    </a:cubicBezTo>
                    <a:lnTo>
                      <a:pt x="5430" y="4647"/>
                    </a:lnTo>
                    <a:close/>
                    <a:moveTo>
                      <a:pt x="5427" y="4508"/>
                    </a:moveTo>
                    <a:cubicBezTo>
                      <a:pt x="5382" y="4505"/>
                      <a:pt x="5382" y="4505"/>
                      <a:pt x="5382" y="4505"/>
                    </a:cubicBezTo>
                    <a:cubicBezTo>
                      <a:pt x="5373" y="4630"/>
                      <a:pt x="5373" y="4630"/>
                      <a:pt x="5373" y="4630"/>
                    </a:cubicBezTo>
                    <a:cubicBezTo>
                      <a:pt x="5418" y="4633"/>
                      <a:pt x="5418" y="4633"/>
                      <a:pt x="5418" y="4633"/>
                    </a:cubicBezTo>
                    <a:lnTo>
                      <a:pt x="5427" y="4508"/>
                    </a:lnTo>
                    <a:close/>
                    <a:moveTo>
                      <a:pt x="1856" y="6114"/>
                    </a:moveTo>
                    <a:cubicBezTo>
                      <a:pt x="1682" y="6020"/>
                      <a:pt x="1682" y="6020"/>
                      <a:pt x="1682" y="6020"/>
                    </a:cubicBezTo>
                    <a:cubicBezTo>
                      <a:pt x="1719" y="5951"/>
                      <a:pt x="1719" y="5951"/>
                      <a:pt x="1719" y="5951"/>
                    </a:cubicBezTo>
                    <a:cubicBezTo>
                      <a:pt x="1786" y="5984"/>
                      <a:pt x="1786" y="5984"/>
                      <a:pt x="1786" y="5984"/>
                    </a:cubicBezTo>
                    <a:cubicBezTo>
                      <a:pt x="1815" y="5930"/>
                      <a:pt x="1815" y="5930"/>
                      <a:pt x="1815" y="5930"/>
                    </a:cubicBezTo>
                    <a:cubicBezTo>
                      <a:pt x="1801" y="5922"/>
                      <a:pt x="1801" y="5922"/>
                      <a:pt x="1801" y="5922"/>
                    </a:cubicBezTo>
                    <a:cubicBezTo>
                      <a:pt x="1827" y="5864"/>
                      <a:pt x="1827" y="5864"/>
                      <a:pt x="1827" y="5864"/>
                    </a:cubicBezTo>
                    <a:cubicBezTo>
                      <a:pt x="1720" y="5801"/>
                      <a:pt x="1720" y="5801"/>
                      <a:pt x="1720" y="5801"/>
                    </a:cubicBezTo>
                    <a:cubicBezTo>
                      <a:pt x="1795" y="5661"/>
                      <a:pt x="1795" y="5661"/>
                      <a:pt x="1795" y="5661"/>
                    </a:cubicBezTo>
                    <a:cubicBezTo>
                      <a:pt x="1814" y="5667"/>
                      <a:pt x="1814" y="5667"/>
                      <a:pt x="1814" y="5667"/>
                    </a:cubicBezTo>
                    <a:cubicBezTo>
                      <a:pt x="1838" y="5627"/>
                      <a:pt x="1838" y="5627"/>
                      <a:pt x="1838" y="5627"/>
                    </a:cubicBezTo>
                    <a:cubicBezTo>
                      <a:pt x="1742" y="5571"/>
                      <a:pt x="1742" y="5571"/>
                      <a:pt x="1742" y="5571"/>
                    </a:cubicBezTo>
                    <a:cubicBezTo>
                      <a:pt x="1824" y="5430"/>
                      <a:pt x="1824" y="5430"/>
                      <a:pt x="1824" y="5430"/>
                    </a:cubicBezTo>
                    <a:cubicBezTo>
                      <a:pt x="1840" y="5438"/>
                      <a:pt x="1840" y="5438"/>
                      <a:pt x="1840" y="5438"/>
                    </a:cubicBezTo>
                    <a:cubicBezTo>
                      <a:pt x="1862" y="5401"/>
                      <a:pt x="1862" y="5401"/>
                      <a:pt x="1862" y="5401"/>
                    </a:cubicBezTo>
                    <a:cubicBezTo>
                      <a:pt x="1840" y="5387"/>
                      <a:pt x="1840" y="5387"/>
                      <a:pt x="1840" y="5387"/>
                    </a:cubicBezTo>
                    <a:cubicBezTo>
                      <a:pt x="1922" y="5247"/>
                      <a:pt x="1922" y="5247"/>
                      <a:pt x="1922" y="5247"/>
                    </a:cubicBezTo>
                    <a:cubicBezTo>
                      <a:pt x="1939" y="5253"/>
                      <a:pt x="1939" y="5253"/>
                      <a:pt x="1939" y="5253"/>
                    </a:cubicBezTo>
                    <a:cubicBezTo>
                      <a:pt x="1965" y="5209"/>
                      <a:pt x="1965" y="5209"/>
                      <a:pt x="1965" y="5209"/>
                    </a:cubicBezTo>
                    <a:cubicBezTo>
                      <a:pt x="2070" y="5269"/>
                      <a:pt x="2070" y="5269"/>
                      <a:pt x="2070" y="5269"/>
                    </a:cubicBezTo>
                    <a:cubicBezTo>
                      <a:pt x="2038" y="5327"/>
                      <a:pt x="2038" y="5327"/>
                      <a:pt x="2038" y="5327"/>
                    </a:cubicBezTo>
                    <a:cubicBezTo>
                      <a:pt x="2019" y="5321"/>
                      <a:pt x="2019" y="5321"/>
                      <a:pt x="2019" y="5321"/>
                    </a:cubicBezTo>
                    <a:cubicBezTo>
                      <a:pt x="1989" y="5376"/>
                      <a:pt x="1989" y="5376"/>
                      <a:pt x="1989" y="5376"/>
                    </a:cubicBezTo>
                    <a:cubicBezTo>
                      <a:pt x="2053" y="5413"/>
                      <a:pt x="2053" y="5413"/>
                      <a:pt x="2053" y="5413"/>
                    </a:cubicBezTo>
                    <a:cubicBezTo>
                      <a:pt x="2016" y="5483"/>
                      <a:pt x="2016" y="5483"/>
                      <a:pt x="2016" y="5483"/>
                    </a:cubicBezTo>
                    <a:cubicBezTo>
                      <a:pt x="1971" y="5460"/>
                      <a:pt x="1971" y="5460"/>
                      <a:pt x="1971" y="5460"/>
                    </a:cubicBezTo>
                    <a:cubicBezTo>
                      <a:pt x="1941" y="5513"/>
                      <a:pt x="1941" y="5513"/>
                      <a:pt x="1941" y="5513"/>
                    </a:cubicBezTo>
                    <a:cubicBezTo>
                      <a:pt x="1921" y="5506"/>
                      <a:pt x="1921" y="5506"/>
                      <a:pt x="1921" y="5506"/>
                    </a:cubicBezTo>
                    <a:cubicBezTo>
                      <a:pt x="1892" y="5561"/>
                      <a:pt x="1892" y="5561"/>
                      <a:pt x="1892" y="5561"/>
                    </a:cubicBezTo>
                    <a:cubicBezTo>
                      <a:pt x="1956" y="5596"/>
                      <a:pt x="1956" y="5596"/>
                      <a:pt x="1956" y="5596"/>
                    </a:cubicBezTo>
                    <a:cubicBezTo>
                      <a:pt x="1917" y="5667"/>
                      <a:pt x="1917" y="5667"/>
                      <a:pt x="1917" y="5667"/>
                    </a:cubicBezTo>
                    <a:cubicBezTo>
                      <a:pt x="1950" y="5682"/>
                      <a:pt x="1950" y="5682"/>
                      <a:pt x="1950" y="5682"/>
                    </a:cubicBezTo>
                    <a:cubicBezTo>
                      <a:pt x="1918" y="5744"/>
                      <a:pt x="1918" y="5744"/>
                      <a:pt x="1918" y="5744"/>
                    </a:cubicBezTo>
                    <a:cubicBezTo>
                      <a:pt x="1896" y="5734"/>
                      <a:pt x="1896" y="5734"/>
                      <a:pt x="1896" y="5734"/>
                    </a:cubicBezTo>
                    <a:cubicBezTo>
                      <a:pt x="1864" y="5788"/>
                      <a:pt x="1864" y="5788"/>
                      <a:pt x="1864" y="5788"/>
                    </a:cubicBezTo>
                    <a:cubicBezTo>
                      <a:pt x="1934" y="5826"/>
                      <a:pt x="1934" y="5826"/>
                      <a:pt x="1934" y="5826"/>
                    </a:cubicBezTo>
                    <a:cubicBezTo>
                      <a:pt x="1896" y="5892"/>
                      <a:pt x="1896" y="5892"/>
                      <a:pt x="1896" y="5892"/>
                    </a:cubicBezTo>
                    <a:cubicBezTo>
                      <a:pt x="1940" y="5916"/>
                      <a:pt x="1940" y="5916"/>
                      <a:pt x="1940" y="5916"/>
                    </a:cubicBezTo>
                    <a:cubicBezTo>
                      <a:pt x="1916" y="5961"/>
                      <a:pt x="1916" y="5961"/>
                      <a:pt x="1916" y="5961"/>
                    </a:cubicBezTo>
                    <a:cubicBezTo>
                      <a:pt x="1933" y="5974"/>
                      <a:pt x="1933" y="5974"/>
                      <a:pt x="1933" y="5974"/>
                    </a:cubicBezTo>
                    <a:lnTo>
                      <a:pt x="1856" y="6114"/>
                    </a:lnTo>
                    <a:close/>
                    <a:moveTo>
                      <a:pt x="1850" y="6095"/>
                    </a:moveTo>
                    <a:cubicBezTo>
                      <a:pt x="1915" y="5978"/>
                      <a:pt x="1915" y="5978"/>
                      <a:pt x="1915" y="5978"/>
                    </a:cubicBezTo>
                    <a:cubicBezTo>
                      <a:pt x="1908" y="5972"/>
                      <a:pt x="1908" y="5972"/>
                      <a:pt x="1908" y="5972"/>
                    </a:cubicBezTo>
                    <a:cubicBezTo>
                      <a:pt x="1899" y="5965"/>
                      <a:pt x="1899" y="5965"/>
                      <a:pt x="1899" y="5965"/>
                    </a:cubicBezTo>
                    <a:cubicBezTo>
                      <a:pt x="1904" y="5954"/>
                      <a:pt x="1904" y="5954"/>
                      <a:pt x="1904" y="5954"/>
                    </a:cubicBezTo>
                    <a:cubicBezTo>
                      <a:pt x="1921" y="5922"/>
                      <a:pt x="1921" y="5922"/>
                      <a:pt x="1921" y="5922"/>
                    </a:cubicBezTo>
                    <a:cubicBezTo>
                      <a:pt x="1889" y="5905"/>
                      <a:pt x="1889" y="5905"/>
                      <a:pt x="1889" y="5905"/>
                    </a:cubicBezTo>
                    <a:cubicBezTo>
                      <a:pt x="1877" y="5898"/>
                      <a:pt x="1877" y="5898"/>
                      <a:pt x="1877" y="5898"/>
                    </a:cubicBezTo>
                    <a:cubicBezTo>
                      <a:pt x="1884" y="5885"/>
                      <a:pt x="1884" y="5885"/>
                      <a:pt x="1884" y="5885"/>
                    </a:cubicBezTo>
                    <a:cubicBezTo>
                      <a:pt x="1915" y="5831"/>
                      <a:pt x="1915" y="5831"/>
                      <a:pt x="1915" y="5831"/>
                    </a:cubicBezTo>
                    <a:cubicBezTo>
                      <a:pt x="1858" y="5800"/>
                      <a:pt x="1858" y="5800"/>
                      <a:pt x="1858" y="5800"/>
                    </a:cubicBezTo>
                    <a:cubicBezTo>
                      <a:pt x="1845" y="5793"/>
                      <a:pt x="1845" y="5793"/>
                      <a:pt x="1845" y="5793"/>
                    </a:cubicBezTo>
                    <a:cubicBezTo>
                      <a:pt x="1852" y="5781"/>
                      <a:pt x="1852" y="5781"/>
                      <a:pt x="1852" y="5781"/>
                    </a:cubicBezTo>
                    <a:cubicBezTo>
                      <a:pt x="1884" y="5727"/>
                      <a:pt x="1884" y="5727"/>
                      <a:pt x="1884" y="5727"/>
                    </a:cubicBezTo>
                    <a:cubicBezTo>
                      <a:pt x="1890" y="5717"/>
                      <a:pt x="1890" y="5717"/>
                      <a:pt x="1890" y="5717"/>
                    </a:cubicBezTo>
                    <a:cubicBezTo>
                      <a:pt x="1901" y="5721"/>
                      <a:pt x="1901" y="5721"/>
                      <a:pt x="1901" y="5721"/>
                    </a:cubicBezTo>
                    <a:cubicBezTo>
                      <a:pt x="1912" y="5726"/>
                      <a:pt x="1912" y="5726"/>
                      <a:pt x="1912" y="5726"/>
                    </a:cubicBezTo>
                    <a:cubicBezTo>
                      <a:pt x="1931" y="5689"/>
                      <a:pt x="1931" y="5689"/>
                      <a:pt x="1931" y="5689"/>
                    </a:cubicBezTo>
                    <a:cubicBezTo>
                      <a:pt x="1912" y="5679"/>
                      <a:pt x="1912" y="5679"/>
                      <a:pt x="1912" y="5679"/>
                    </a:cubicBezTo>
                    <a:cubicBezTo>
                      <a:pt x="1898" y="5673"/>
                      <a:pt x="1898" y="5673"/>
                      <a:pt x="1898" y="5673"/>
                    </a:cubicBezTo>
                    <a:cubicBezTo>
                      <a:pt x="1905" y="5660"/>
                      <a:pt x="1905" y="5660"/>
                      <a:pt x="1905" y="5660"/>
                    </a:cubicBezTo>
                    <a:cubicBezTo>
                      <a:pt x="1937" y="5602"/>
                      <a:pt x="1937" y="5602"/>
                      <a:pt x="1937" y="5602"/>
                    </a:cubicBezTo>
                    <a:cubicBezTo>
                      <a:pt x="1885" y="5573"/>
                      <a:pt x="1885" y="5573"/>
                      <a:pt x="1885" y="5573"/>
                    </a:cubicBezTo>
                    <a:cubicBezTo>
                      <a:pt x="1873" y="5567"/>
                      <a:pt x="1873" y="5567"/>
                      <a:pt x="1873" y="5567"/>
                    </a:cubicBezTo>
                    <a:cubicBezTo>
                      <a:pt x="1879" y="5555"/>
                      <a:pt x="1879" y="5555"/>
                      <a:pt x="1879" y="5555"/>
                    </a:cubicBezTo>
                    <a:cubicBezTo>
                      <a:pt x="1908" y="5499"/>
                      <a:pt x="1908" y="5499"/>
                      <a:pt x="1908" y="5499"/>
                    </a:cubicBezTo>
                    <a:cubicBezTo>
                      <a:pt x="1914" y="5489"/>
                      <a:pt x="1914" y="5489"/>
                      <a:pt x="1914" y="5489"/>
                    </a:cubicBezTo>
                    <a:cubicBezTo>
                      <a:pt x="1925" y="5493"/>
                      <a:pt x="1925" y="5493"/>
                      <a:pt x="1925" y="5493"/>
                    </a:cubicBezTo>
                    <a:cubicBezTo>
                      <a:pt x="1935" y="5496"/>
                      <a:pt x="1935" y="5496"/>
                      <a:pt x="1935" y="5496"/>
                    </a:cubicBezTo>
                    <a:cubicBezTo>
                      <a:pt x="1959" y="5453"/>
                      <a:pt x="1959" y="5453"/>
                      <a:pt x="1959" y="5453"/>
                    </a:cubicBezTo>
                    <a:cubicBezTo>
                      <a:pt x="1965" y="5441"/>
                      <a:pt x="1965" y="5441"/>
                      <a:pt x="1965" y="5441"/>
                    </a:cubicBezTo>
                    <a:cubicBezTo>
                      <a:pt x="1977" y="5447"/>
                      <a:pt x="1977" y="5447"/>
                      <a:pt x="1977" y="5447"/>
                    </a:cubicBezTo>
                    <a:cubicBezTo>
                      <a:pt x="2010" y="5464"/>
                      <a:pt x="2010" y="5464"/>
                      <a:pt x="2010" y="5464"/>
                    </a:cubicBezTo>
                    <a:cubicBezTo>
                      <a:pt x="2034" y="5418"/>
                      <a:pt x="2034" y="5418"/>
                      <a:pt x="2034" y="5418"/>
                    </a:cubicBezTo>
                    <a:cubicBezTo>
                      <a:pt x="1982" y="5388"/>
                      <a:pt x="1982" y="5388"/>
                      <a:pt x="1982" y="5388"/>
                    </a:cubicBezTo>
                    <a:cubicBezTo>
                      <a:pt x="1970" y="5381"/>
                      <a:pt x="1970" y="5381"/>
                      <a:pt x="1970" y="5381"/>
                    </a:cubicBezTo>
                    <a:cubicBezTo>
                      <a:pt x="1977" y="5369"/>
                      <a:pt x="1977" y="5369"/>
                      <a:pt x="1977" y="5369"/>
                    </a:cubicBezTo>
                    <a:cubicBezTo>
                      <a:pt x="2007" y="5315"/>
                      <a:pt x="2007" y="5315"/>
                      <a:pt x="2007" y="5315"/>
                    </a:cubicBezTo>
                    <a:cubicBezTo>
                      <a:pt x="2012" y="5305"/>
                      <a:pt x="2012" y="5305"/>
                      <a:pt x="2012" y="5305"/>
                    </a:cubicBezTo>
                    <a:cubicBezTo>
                      <a:pt x="2023" y="5308"/>
                      <a:pt x="2023" y="5308"/>
                      <a:pt x="2023" y="5308"/>
                    </a:cubicBezTo>
                    <a:cubicBezTo>
                      <a:pt x="2032" y="5311"/>
                      <a:pt x="2032" y="5311"/>
                      <a:pt x="2032" y="5311"/>
                    </a:cubicBezTo>
                    <a:cubicBezTo>
                      <a:pt x="2051" y="5274"/>
                      <a:pt x="2051" y="5274"/>
                      <a:pt x="2051" y="5274"/>
                    </a:cubicBezTo>
                    <a:cubicBezTo>
                      <a:pt x="1970" y="5228"/>
                      <a:pt x="1970" y="5228"/>
                      <a:pt x="1970" y="5228"/>
                    </a:cubicBezTo>
                    <a:cubicBezTo>
                      <a:pt x="1951" y="5260"/>
                      <a:pt x="1951" y="5260"/>
                      <a:pt x="1951" y="5260"/>
                    </a:cubicBezTo>
                    <a:cubicBezTo>
                      <a:pt x="1945" y="5270"/>
                      <a:pt x="1945" y="5270"/>
                      <a:pt x="1945" y="5270"/>
                    </a:cubicBezTo>
                    <a:cubicBezTo>
                      <a:pt x="1934" y="5266"/>
                      <a:pt x="1934" y="5266"/>
                      <a:pt x="1934" y="5266"/>
                    </a:cubicBezTo>
                    <a:cubicBezTo>
                      <a:pt x="1928" y="5264"/>
                      <a:pt x="1928" y="5264"/>
                      <a:pt x="1928" y="5264"/>
                    </a:cubicBezTo>
                    <a:cubicBezTo>
                      <a:pt x="1858" y="5382"/>
                      <a:pt x="1858" y="5382"/>
                      <a:pt x="1858" y="5382"/>
                    </a:cubicBezTo>
                    <a:cubicBezTo>
                      <a:pt x="1870" y="5390"/>
                      <a:pt x="1870" y="5390"/>
                      <a:pt x="1870" y="5390"/>
                    </a:cubicBezTo>
                    <a:cubicBezTo>
                      <a:pt x="1881" y="5397"/>
                      <a:pt x="1881" y="5397"/>
                      <a:pt x="1881" y="5397"/>
                    </a:cubicBezTo>
                    <a:cubicBezTo>
                      <a:pt x="1874" y="5409"/>
                      <a:pt x="1874" y="5409"/>
                      <a:pt x="1874" y="5409"/>
                    </a:cubicBezTo>
                    <a:cubicBezTo>
                      <a:pt x="1851" y="5445"/>
                      <a:pt x="1851" y="5445"/>
                      <a:pt x="1851" y="5445"/>
                    </a:cubicBezTo>
                    <a:cubicBezTo>
                      <a:pt x="1845" y="5457"/>
                      <a:pt x="1845" y="5457"/>
                      <a:pt x="1845" y="5457"/>
                    </a:cubicBezTo>
                    <a:cubicBezTo>
                      <a:pt x="1833" y="5450"/>
                      <a:pt x="1833" y="5450"/>
                      <a:pt x="1833" y="5450"/>
                    </a:cubicBezTo>
                    <a:cubicBezTo>
                      <a:pt x="1830" y="5449"/>
                      <a:pt x="1830" y="5449"/>
                      <a:pt x="1830" y="5449"/>
                    </a:cubicBezTo>
                    <a:cubicBezTo>
                      <a:pt x="1761" y="5566"/>
                      <a:pt x="1761" y="5566"/>
                      <a:pt x="1761" y="5566"/>
                    </a:cubicBezTo>
                    <a:cubicBezTo>
                      <a:pt x="1845" y="5615"/>
                      <a:pt x="1845" y="5615"/>
                      <a:pt x="1845" y="5615"/>
                    </a:cubicBezTo>
                    <a:cubicBezTo>
                      <a:pt x="1857" y="5622"/>
                      <a:pt x="1857" y="5622"/>
                      <a:pt x="1857" y="5622"/>
                    </a:cubicBezTo>
                    <a:cubicBezTo>
                      <a:pt x="1850" y="5634"/>
                      <a:pt x="1850" y="5634"/>
                      <a:pt x="1850" y="5634"/>
                    </a:cubicBezTo>
                    <a:cubicBezTo>
                      <a:pt x="1826" y="5674"/>
                      <a:pt x="1826" y="5674"/>
                      <a:pt x="1826" y="5674"/>
                    </a:cubicBezTo>
                    <a:cubicBezTo>
                      <a:pt x="1820" y="5684"/>
                      <a:pt x="1820" y="5684"/>
                      <a:pt x="1820" y="5684"/>
                    </a:cubicBezTo>
                    <a:cubicBezTo>
                      <a:pt x="1810" y="5680"/>
                      <a:pt x="1810" y="5680"/>
                      <a:pt x="1810" y="5680"/>
                    </a:cubicBezTo>
                    <a:cubicBezTo>
                      <a:pt x="1802" y="5677"/>
                      <a:pt x="1802" y="5677"/>
                      <a:pt x="1802" y="5677"/>
                    </a:cubicBezTo>
                    <a:cubicBezTo>
                      <a:pt x="1738" y="5796"/>
                      <a:pt x="1738" y="5796"/>
                      <a:pt x="1738" y="5796"/>
                    </a:cubicBezTo>
                    <a:cubicBezTo>
                      <a:pt x="1834" y="5851"/>
                      <a:pt x="1834" y="5851"/>
                      <a:pt x="1834" y="5851"/>
                    </a:cubicBezTo>
                    <a:cubicBezTo>
                      <a:pt x="1845" y="5858"/>
                      <a:pt x="1845" y="5858"/>
                      <a:pt x="1845" y="5858"/>
                    </a:cubicBezTo>
                    <a:cubicBezTo>
                      <a:pt x="1840" y="5869"/>
                      <a:pt x="1840" y="5869"/>
                      <a:pt x="1840" y="5869"/>
                    </a:cubicBezTo>
                    <a:cubicBezTo>
                      <a:pt x="1819" y="5916"/>
                      <a:pt x="1819" y="5916"/>
                      <a:pt x="1819" y="5916"/>
                    </a:cubicBezTo>
                    <a:cubicBezTo>
                      <a:pt x="1822" y="5918"/>
                      <a:pt x="1822" y="5918"/>
                      <a:pt x="1822" y="5918"/>
                    </a:cubicBezTo>
                    <a:cubicBezTo>
                      <a:pt x="1834" y="5925"/>
                      <a:pt x="1834" y="5925"/>
                      <a:pt x="1834" y="5925"/>
                    </a:cubicBezTo>
                    <a:cubicBezTo>
                      <a:pt x="1827" y="5937"/>
                      <a:pt x="1827" y="5937"/>
                      <a:pt x="1827" y="5937"/>
                    </a:cubicBezTo>
                    <a:cubicBezTo>
                      <a:pt x="1799" y="5991"/>
                      <a:pt x="1799" y="5991"/>
                      <a:pt x="1799" y="5991"/>
                    </a:cubicBezTo>
                    <a:cubicBezTo>
                      <a:pt x="1792" y="6003"/>
                      <a:pt x="1792" y="6003"/>
                      <a:pt x="1792" y="6003"/>
                    </a:cubicBezTo>
                    <a:cubicBezTo>
                      <a:pt x="1780" y="5997"/>
                      <a:pt x="1780" y="5997"/>
                      <a:pt x="1780" y="5997"/>
                    </a:cubicBezTo>
                    <a:cubicBezTo>
                      <a:pt x="1725" y="5969"/>
                      <a:pt x="1725" y="5969"/>
                      <a:pt x="1725" y="5969"/>
                    </a:cubicBezTo>
                    <a:cubicBezTo>
                      <a:pt x="1701" y="6015"/>
                      <a:pt x="1701" y="6015"/>
                      <a:pt x="1701" y="6015"/>
                    </a:cubicBezTo>
                    <a:lnTo>
                      <a:pt x="1850" y="6095"/>
                    </a:lnTo>
                    <a:close/>
                    <a:moveTo>
                      <a:pt x="3655" y="7174"/>
                    </a:moveTo>
                    <a:cubicBezTo>
                      <a:pt x="3479" y="7128"/>
                      <a:pt x="3479" y="7128"/>
                      <a:pt x="3479" y="7128"/>
                    </a:cubicBezTo>
                    <a:cubicBezTo>
                      <a:pt x="3494" y="7011"/>
                      <a:pt x="3494" y="7011"/>
                      <a:pt x="3494" y="7011"/>
                    </a:cubicBezTo>
                    <a:cubicBezTo>
                      <a:pt x="3617" y="7049"/>
                      <a:pt x="3617" y="7049"/>
                      <a:pt x="3617" y="7049"/>
                    </a:cubicBezTo>
                    <a:cubicBezTo>
                      <a:pt x="3628" y="6952"/>
                      <a:pt x="3628" y="6952"/>
                      <a:pt x="3628" y="6952"/>
                    </a:cubicBezTo>
                    <a:cubicBezTo>
                      <a:pt x="4175" y="7141"/>
                      <a:pt x="4175" y="7141"/>
                      <a:pt x="4175" y="7141"/>
                    </a:cubicBezTo>
                    <a:cubicBezTo>
                      <a:pt x="4155" y="7148"/>
                      <a:pt x="4155" y="7148"/>
                      <a:pt x="4155" y="7148"/>
                    </a:cubicBezTo>
                    <a:cubicBezTo>
                      <a:pt x="4019" y="7196"/>
                      <a:pt x="4019" y="7196"/>
                      <a:pt x="4019" y="7196"/>
                    </a:cubicBezTo>
                    <a:cubicBezTo>
                      <a:pt x="3820" y="7145"/>
                      <a:pt x="3820" y="7145"/>
                      <a:pt x="3820" y="7145"/>
                    </a:cubicBezTo>
                    <a:lnTo>
                      <a:pt x="3655" y="7174"/>
                    </a:lnTo>
                    <a:close/>
                    <a:moveTo>
                      <a:pt x="3495" y="7117"/>
                    </a:moveTo>
                    <a:cubicBezTo>
                      <a:pt x="3656" y="7159"/>
                      <a:pt x="3656" y="7159"/>
                      <a:pt x="3656" y="7159"/>
                    </a:cubicBezTo>
                    <a:cubicBezTo>
                      <a:pt x="3821" y="7130"/>
                      <a:pt x="3821" y="7130"/>
                      <a:pt x="3821" y="7130"/>
                    </a:cubicBezTo>
                    <a:cubicBezTo>
                      <a:pt x="4018" y="7180"/>
                      <a:pt x="4018" y="7180"/>
                      <a:pt x="4018" y="7180"/>
                    </a:cubicBezTo>
                    <a:cubicBezTo>
                      <a:pt x="4130" y="7142"/>
                      <a:pt x="4130" y="7142"/>
                      <a:pt x="4130" y="7142"/>
                    </a:cubicBezTo>
                    <a:cubicBezTo>
                      <a:pt x="3640" y="6972"/>
                      <a:pt x="3640" y="6972"/>
                      <a:pt x="3640" y="6972"/>
                    </a:cubicBezTo>
                    <a:cubicBezTo>
                      <a:pt x="3630" y="7068"/>
                      <a:pt x="3630" y="7068"/>
                      <a:pt x="3630" y="7068"/>
                    </a:cubicBezTo>
                    <a:cubicBezTo>
                      <a:pt x="3506" y="7030"/>
                      <a:pt x="3506" y="7030"/>
                      <a:pt x="3506" y="7030"/>
                    </a:cubicBezTo>
                    <a:lnTo>
                      <a:pt x="3495" y="7117"/>
                    </a:lnTo>
                    <a:close/>
                    <a:moveTo>
                      <a:pt x="4369" y="8170"/>
                    </a:moveTo>
                    <a:cubicBezTo>
                      <a:pt x="4308" y="8170"/>
                      <a:pt x="4308" y="8170"/>
                      <a:pt x="4308" y="8170"/>
                    </a:cubicBezTo>
                    <a:cubicBezTo>
                      <a:pt x="4308" y="8164"/>
                      <a:pt x="4308" y="8164"/>
                      <a:pt x="4308" y="8164"/>
                    </a:cubicBezTo>
                    <a:cubicBezTo>
                      <a:pt x="4308" y="8079"/>
                      <a:pt x="4308" y="8079"/>
                      <a:pt x="4308" y="8079"/>
                    </a:cubicBezTo>
                    <a:cubicBezTo>
                      <a:pt x="4353" y="8079"/>
                      <a:pt x="4353" y="8079"/>
                      <a:pt x="4353" y="8079"/>
                    </a:cubicBezTo>
                    <a:cubicBezTo>
                      <a:pt x="4353" y="8011"/>
                      <a:pt x="4353" y="8011"/>
                      <a:pt x="4353" y="8011"/>
                    </a:cubicBezTo>
                    <a:cubicBezTo>
                      <a:pt x="4429" y="8011"/>
                      <a:pt x="4429" y="8011"/>
                      <a:pt x="4429" y="8011"/>
                    </a:cubicBezTo>
                    <a:cubicBezTo>
                      <a:pt x="4429" y="8103"/>
                      <a:pt x="4429" y="8103"/>
                      <a:pt x="4429" y="8103"/>
                    </a:cubicBezTo>
                    <a:cubicBezTo>
                      <a:pt x="4384" y="8103"/>
                      <a:pt x="4384" y="8103"/>
                      <a:pt x="4384" y="8103"/>
                    </a:cubicBezTo>
                    <a:cubicBezTo>
                      <a:pt x="4384" y="8118"/>
                      <a:pt x="4384" y="8118"/>
                      <a:pt x="4384" y="8118"/>
                    </a:cubicBezTo>
                    <a:cubicBezTo>
                      <a:pt x="4445" y="8118"/>
                      <a:pt x="4445" y="8118"/>
                      <a:pt x="4445" y="8118"/>
                    </a:cubicBezTo>
                    <a:cubicBezTo>
                      <a:pt x="4445" y="8210"/>
                      <a:pt x="4445" y="8210"/>
                      <a:pt x="4445" y="8210"/>
                    </a:cubicBezTo>
                    <a:cubicBezTo>
                      <a:pt x="4369" y="8210"/>
                      <a:pt x="4369" y="8210"/>
                      <a:pt x="4369" y="8210"/>
                    </a:cubicBezTo>
                    <a:cubicBezTo>
                      <a:pt x="4369" y="8203"/>
                      <a:pt x="4369" y="8203"/>
                      <a:pt x="4369" y="8203"/>
                    </a:cubicBezTo>
                    <a:lnTo>
                      <a:pt x="4369" y="8170"/>
                    </a:lnTo>
                    <a:close/>
                    <a:moveTo>
                      <a:pt x="4384" y="8132"/>
                    </a:moveTo>
                    <a:cubicBezTo>
                      <a:pt x="4384" y="8170"/>
                      <a:pt x="4384" y="8170"/>
                      <a:pt x="4384" y="8170"/>
                    </a:cubicBezTo>
                    <a:cubicBezTo>
                      <a:pt x="4382" y="8170"/>
                      <a:pt x="4382" y="8170"/>
                      <a:pt x="4382" y="8170"/>
                    </a:cubicBezTo>
                    <a:cubicBezTo>
                      <a:pt x="4382" y="8197"/>
                      <a:pt x="4382" y="8197"/>
                      <a:pt x="4382" y="8197"/>
                    </a:cubicBezTo>
                    <a:cubicBezTo>
                      <a:pt x="4432" y="8197"/>
                      <a:pt x="4432" y="8197"/>
                      <a:pt x="4432" y="8197"/>
                    </a:cubicBezTo>
                    <a:cubicBezTo>
                      <a:pt x="4432" y="8132"/>
                      <a:pt x="4432" y="8132"/>
                      <a:pt x="4432" y="8132"/>
                    </a:cubicBezTo>
                    <a:lnTo>
                      <a:pt x="4384" y="8132"/>
                    </a:lnTo>
                    <a:close/>
                    <a:moveTo>
                      <a:pt x="4366" y="8079"/>
                    </a:moveTo>
                    <a:cubicBezTo>
                      <a:pt x="4384" y="8079"/>
                      <a:pt x="4384" y="8079"/>
                      <a:pt x="4384" y="8079"/>
                    </a:cubicBezTo>
                    <a:cubicBezTo>
                      <a:pt x="4384" y="8090"/>
                      <a:pt x="4384" y="8090"/>
                      <a:pt x="4384" y="8090"/>
                    </a:cubicBezTo>
                    <a:cubicBezTo>
                      <a:pt x="4416" y="8090"/>
                      <a:pt x="4416" y="8090"/>
                      <a:pt x="4416" y="8090"/>
                    </a:cubicBezTo>
                    <a:cubicBezTo>
                      <a:pt x="4416" y="8024"/>
                      <a:pt x="4416" y="8024"/>
                      <a:pt x="4416" y="8024"/>
                    </a:cubicBezTo>
                    <a:cubicBezTo>
                      <a:pt x="4366" y="8024"/>
                      <a:pt x="4366" y="8024"/>
                      <a:pt x="4366" y="8024"/>
                    </a:cubicBezTo>
                    <a:lnTo>
                      <a:pt x="4366" y="8079"/>
                    </a:lnTo>
                    <a:close/>
                    <a:moveTo>
                      <a:pt x="4369" y="8157"/>
                    </a:moveTo>
                    <a:cubicBezTo>
                      <a:pt x="4369" y="8118"/>
                      <a:pt x="4369" y="8118"/>
                      <a:pt x="4369" y="8118"/>
                    </a:cubicBezTo>
                    <a:cubicBezTo>
                      <a:pt x="4371" y="8118"/>
                      <a:pt x="4371" y="8118"/>
                      <a:pt x="4371" y="8118"/>
                    </a:cubicBezTo>
                    <a:cubicBezTo>
                      <a:pt x="4371" y="8103"/>
                      <a:pt x="4371" y="8103"/>
                      <a:pt x="4371" y="8103"/>
                    </a:cubicBezTo>
                    <a:cubicBezTo>
                      <a:pt x="4353" y="8103"/>
                      <a:pt x="4353" y="8103"/>
                      <a:pt x="4353" y="8103"/>
                    </a:cubicBezTo>
                    <a:cubicBezTo>
                      <a:pt x="4353" y="8096"/>
                      <a:pt x="4353" y="8096"/>
                      <a:pt x="4353" y="8096"/>
                    </a:cubicBezTo>
                    <a:cubicBezTo>
                      <a:pt x="4353" y="8092"/>
                      <a:pt x="4353" y="8092"/>
                      <a:pt x="4353" y="8092"/>
                    </a:cubicBezTo>
                    <a:cubicBezTo>
                      <a:pt x="4322" y="8092"/>
                      <a:pt x="4322" y="8092"/>
                      <a:pt x="4322" y="8092"/>
                    </a:cubicBezTo>
                    <a:cubicBezTo>
                      <a:pt x="4322" y="8157"/>
                      <a:pt x="4322" y="8157"/>
                      <a:pt x="4322" y="8157"/>
                    </a:cubicBezTo>
                    <a:lnTo>
                      <a:pt x="4369" y="8157"/>
                    </a:lnTo>
                    <a:close/>
                    <a:moveTo>
                      <a:pt x="7083" y="6232"/>
                    </a:moveTo>
                    <a:cubicBezTo>
                      <a:pt x="7213" y="6231"/>
                      <a:pt x="7213" y="6231"/>
                      <a:pt x="7213" y="6231"/>
                    </a:cubicBezTo>
                    <a:cubicBezTo>
                      <a:pt x="7212" y="6402"/>
                      <a:pt x="7212" y="6402"/>
                      <a:pt x="7212" y="6402"/>
                    </a:cubicBezTo>
                    <a:cubicBezTo>
                      <a:pt x="7125" y="6402"/>
                      <a:pt x="7125" y="6402"/>
                      <a:pt x="7125" y="6402"/>
                    </a:cubicBezTo>
                    <a:cubicBezTo>
                      <a:pt x="7125" y="6500"/>
                      <a:pt x="7125" y="6500"/>
                      <a:pt x="7125" y="6500"/>
                    </a:cubicBezTo>
                    <a:cubicBezTo>
                      <a:pt x="7002" y="6500"/>
                      <a:pt x="7002" y="6500"/>
                      <a:pt x="7002" y="6500"/>
                    </a:cubicBezTo>
                    <a:cubicBezTo>
                      <a:pt x="7000" y="6318"/>
                      <a:pt x="7000" y="6318"/>
                      <a:pt x="7000" y="6318"/>
                    </a:cubicBezTo>
                    <a:cubicBezTo>
                      <a:pt x="7083" y="6316"/>
                      <a:pt x="7083" y="6316"/>
                      <a:pt x="7083" y="6316"/>
                    </a:cubicBezTo>
                    <a:lnTo>
                      <a:pt x="7083" y="6232"/>
                    </a:lnTo>
                    <a:close/>
                    <a:moveTo>
                      <a:pt x="7096" y="6245"/>
                    </a:moveTo>
                    <a:cubicBezTo>
                      <a:pt x="7097" y="6329"/>
                      <a:pt x="7097" y="6329"/>
                      <a:pt x="7097" y="6329"/>
                    </a:cubicBezTo>
                    <a:cubicBezTo>
                      <a:pt x="7013" y="6331"/>
                      <a:pt x="7013" y="6331"/>
                      <a:pt x="7013" y="6331"/>
                    </a:cubicBezTo>
                    <a:cubicBezTo>
                      <a:pt x="7015" y="6487"/>
                      <a:pt x="7015" y="6487"/>
                      <a:pt x="7015" y="6487"/>
                    </a:cubicBezTo>
                    <a:cubicBezTo>
                      <a:pt x="7112" y="6487"/>
                      <a:pt x="7112" y="6487"/>
                      <a:pt x="7112" y="6487"/>
                    </a:cubicBezTo>
                    <a:cubicBezTo>
                      <a:pt x="7112" y="6389"/>
                      <a:pt x="7112" y="6389"/>
                      <a:pt x="7112" y="6389"/>
                    </a:cubicBezTo>
                    <a:cubicBezTo>
                      <a:pt x="7119" y="6389"/>
                      <a:pt x="7119" y="6389"/>
                      <a:pt x="7119" y="6389"/>
                    </a:cubicBezTo>
                    <a:cubicBezTo>
                      <a:pt x="7199" y="6388"/>
                      <a:pt x="7199" y="6388"/>
                      <a:pt x="7199" y="6388"/>
                    </a:cubicBezTo>
                    <a:cubicBezTo>
                      <a:pt x="7200" y="6244"/>
                      <a:pt x="7200" y="6244"/>
                      <a:pt x="7200" y="6244"/>
                    </a:cubicBezTo>
                    <a:lnTo>
                      <a:pt x="7096" y="6245"/>
                    </a:lnTo>
                    <a:close/>
                    <a:moveTo>
                      <a:pt x="5539" y="2111"/>
                    </a:moveTo>
                    <a:cubicBezTo>
                      <a:pt x="5396" y="2086"/>
                      <a:pt x="5396" y="2086"/>
                      <a:pt x="5396" y="2086"/>
                    </a:cubicBezTo>
                    <a:cubicBezTo>
                      <a:pt x="5408" y="2016"/>
                      <a:pt x="5408" y="2016"/>
                      <a:pt x="5408" y="2016"/>
                    </a:cubicBezTo>
                    <a:cubicBezTo>
                      <a:pt x="5557" y="2042"/>
                      <a:pt x="5557" y="2042"/>
                      <a:pt x="5557" y="2042"/>
                    </a:cubicBezTo>
                    <a:cubicBezTo>
                      <a:pt x="5545" y="2112"/>
                      <a:pt x="5545" y="2112"/>
                      <a:pt x="5545" y="2112"/>
                    </a:cubicBezTo>
                    <a:lnTo>
                      <a:pt x="5539" y="2111"/>
                    </a:lnTo>
                    <a:close/>
                    <a:moveTo>
                      <a:pt x="5535" y="2097"/>
                    </a:moveTo>
                    <a:cubicBezTo>
                      <a:pt x="5542" y="2052"/>
                      <a:pt x="5542" y="2052"/>
                      <a:pt x="5542" y="2052"/>
                    </a:cubicBezTo>
                    <a:cubicBezTo>
                      <a:pt x="5419" y="2030"/>
                      <a:pt x="5419" y="2030"/>
                      <a:pt x="5419" y="2030"/>
                    </a:cubicBezTo>
                    <a:cubicBezTo>
                      <a:pt x="5411" y="2076"/>
                      <a:pt x="5411" y="2076"/>
                      <a:pt x="5411" y="2076"/>
                    </a:cubicBezTo>
                    <a:lnTo>
                      <a:pt x="5535" y="2097"/>
                    </a:lnTo>
                    <a:close/>
                    <a:moveTo>
                      <a:pt x="4267" y="7742"/>
                    </a:moveTo>
                    <a:cubicBezTo>
                      <a:pt x="4368" y="7919"/>
                      <a:pt x="4368" y="7919"/>
                      <a:pt x="4368" y="7919"/>
                    </a:cubicBezTo>
                    <a:cubicBezTo>
                      <a:pt x="4362" y="7923"/>
                      <a:pt x="4362" y="7923"/>
                      <a:pt x="4362" y="7923"/>
                    </a:cubicBezTo>
                    <a:cubicBezTo>
                      <a:pt x="4287" y="7971"/>
                      <a:pt x="4287" y="7971"/>
                      <a:pt x="4287" y="7971"/>
                    </a:cubicBezTo>
                    <a:cubicBezTo>
                      <a:pt x="4242" y="7898"/>
                      <a:pt x="4242" y="7898"/>
                      <a:pt x="4242" y="7898"/>
                    </a:cubicBezTo>
                    <a:cubicBezTo>
                      <a:pt x="4158" y="7939"/>
                      <a:pt x="4158" y="7939"/>
                      <a:pt x="4158" y="7939"/>
                    </a:cubicBezTo>
                    <a:cubicBezTo>
                      <a:pt x="4088" y="7833"/>
                      <a:pt x="4088" y="7833"/>
                      <a:pt x="4088" y="7833"/>
                    </a:cubicBezTo>
                    <a:lnTo>
                      <a:pt x="4267" y="7742"/>
                    </a:lnTo>
                    <a:close/>
                    <a:moveTo>
                      <a:pt x="4348" y="7915"/>
                    </a:moveTo>
                    <a:cubicBezTo>
                      <a:pt x="4262" y="7762"/>
                      <a:pt x="4262" y="7762"/>
                      <a:pt x="4262" y="7762"/>
                    </a:cubicBezTo>
                    <a:cubicBezTo>
                      <a:pt x="4109" y="7838"/>
                      <a:pt x="4109" y="7838"/>
                      <a:pt x="4109" y="7838"/>
                    </a:cubicBezTo>
                    <a:cubicBezTo>
                      <a:pt x="4163" y="7920"/>
                      <a:pt x="4163" y="7920"/>
                      <a:pt x="4163" y="7920"/>
                    </a:cubicBezTo>
                    <a:cubicBezTo>
                      <a:pt x="4248" y="7879"/>
                      <a:pt x="4248" y="7879"/>
                      <a:pt x="4248" y="7879"/>
                    </a:cubicBezTo>
                    <a:cubicBezTo>
                      <a:pt x="4292" y="7950"/>
                      <a:pt x="4292" y="7950"/>
                      <a:pt x="4292" y="7950"/>
                    </a:cubicBezTo>
                    <a:lnTo>
                      <a:pt x="4348" y="7915"/>
                    </a:lnTo>
                    <a:close/>
                    <a:moveTo>
                      <a:pt x="4968" y="2889"/>
                    </a:moveTo>
                    <a:cubicBezTo>
                      <a:pt x="4957" y="2635"/>
                      <a:pt x="4957" y="2635"/>
                      <a:pt x="4957" y="2635"/>
                    </a:cubicBezTo>
                    <a:cubicBezTo>
                      <a:pt x="5041" y="2631"/>
                      <a:pt x="5041" y="2631"/>
                      <a:pt x="5041" y="2631"/>
                    </a:cubicBezTo>
                    <a:cubicBezTo>
                      <a:pt x="5052" y="2891"/>
                      <a:pt x="5052" y="2891"/>
                      <a:pt x="5052" y="2891"/>
                    </a:cubicBezTo>
                    <a:cubicBezTo>
                      <a:pt x="4968" y="2895"/>
                      <a:pt x="4968" y="2895"/>
                      <a:pt x="4968" y="2895"/>
                    </a:cubicBezTo>
                    <a:lnTo>
                      <a:pt x="4968" y="2889"/>
                    </a:lnTo>
                    <a:close/>
                    <a:moveTo>
                      <a:pt x="4970" y="2648"/>
                    </a:moveTo>
                    <a:cubicBezTo>
                      <a:pt x="4981" y="2881"/>
                      <a:pt x="4981" y="2881"/>
                      <a:pt x="4981" y="2881"/>
                    </a:cubicBezTo>
                    <a:cubicBezTo>
                      <a:pt x="5039" y="2879"/>
                      <a:pt x="5039" y="2879"/>
                      <a:pt x="5039" y="2879"/>
                    </a:cubicBezTo>
                    <a:cubicBezTo>
                      <a:pt x="5028" y="2645"/>
                      <a:pt x="5028" y="2645"/>
                      <a:pt x="5028" y="2645"/>
                    </a:cubicBezTo>
                    <a:lnTo>
                      <a:pt x="4970" y="2648"/>
                    </a:lnTo>
                    <a:close/>
                    <a:moveTo>
                      <a:pt x="3834" y="7523"/>
                    </a:moveTo>
                    <a:cubicBezTo>
                      <a:pt x="3879" y="7312"/>
                      <a:pt x="3879" y="7312"/>
                      <a:pt x="3879" y="7312"/>
                    </a:cubicBezTo>
                    <a:cubicBezTo>
                      <a:pt x="4016" y="7349"/>
                      <a:pt x="4016" y="7349"/>
                      <a:pt x="4016" y="7349"/>
                    </a:cubicBezTo>
                    <a:cubicBezTo>
                      <a:pt x="4010" y="7358"/>
                      <a:pt x="4010" y="7358"/>
                      <a:pt x="4010" y="7358"/>
                    </a:cubicBezTo>
                    <a:cubicBezTo>
                      <a:pt x="3892" y="7518"/>
                      <a:pt x="3892" y="7518"/>
                      <a:pt x="3892" y="7518"/>
                    </a:cubicBezTo>
                    <a:lnTo>
                      <a:pt x="3834" y="7523"/>
                    </a:lnTo>
                    <a:close/>
                    <a:moveTo>
                      <a:pt x="3852" y="7507"/>
                    </a:moveTo>
                    <a:cubicBezTo>
                      <a:pt x="3885" y="7504"/>
                      <a:pt x="3885" y="7504"/>
                      <a:pt x="3885" y="7504"/>
                    </a:cubicBezTo>
                    <a:cubicBezTo>
                      <a:pt x="3991" y="7358"/>
                      <a:pt x="3991" y="7358"/>
                      <a:pt x="3991" y="7358"/>
                    </a:cubicBezTo>
                    <a:cubicBezTo>
                      <a:pt x="3890" y="7330"/>
                      <a:pt x="3890" y="7330"/>
                      <a:pt x="3890" y="7330"/>
                    </a:cubicBezTo>
                    <a:lnTo>
                      <a:pt x="3852" y="7507"/>
                    </a:lnTo>
                    <a:close/>
                    <a:moveTo>
                      <a:pt x="5237" y="2836"/>
                    </a:moveTo>
                    <a:cubicBezTo>
                      <a:pt x="5226" y="2583"/>
                      <a:pt x="5226" y="2583"/>
                      <a:pt x="5226" y="2583"/>
                    </a:cubicBezTo>
                    <a:cubicBezTo>
                      <a:pt x="5310" y="2579"/>
                      <a:pt x="5310" y="2579"/>
                      <a:pt x="5310" y="2579"/>
                    </a:cubicBezTo>
                    <a:cubicBezTo>
                      <a:pt x="5321" y="2839"/>
                      <a:pt x="5321" y="2839"/>
                      <a:pt x="5321" y="2839"/>
                    </a:cubicBezTo>
                    <a:cubicBezTo>
                      <a:pt x="5237" y="2843"/>
                      <a:pt x="5237" y="2843"/>
                      <a:pt x="5237" y="2843"/>
                    </a:cubicBezTo>
                    <a:lnTo>
                      <a:pt x="5237" y="2836"/>
                    </a:lnTo>
                    <a:close/>
                    <a:moveTo>
                      <a:pt x="5239" y="2595"/>
                    </a:moveTo>
                    <a:cubicBezTo>
                      <a:pt x="5250" y="2829"/>
                      <a:pt x="5250" y="2829"/>
                      <a:pt x="5250" y="2829"/>
                    </a:cubicBezTo>
                    <a:cubicBezTo>
                      <a:pt x="5308" y="2826"/>
                      <a:pt x="5308" y="2826"/>
                      <a:pt x="5308" y="2826"/>
                    </a:cubicBezTo>
                    <a:cubicBezTo>
                      <a:pt x="5297" y="2593"/>
                      <a:pt x="5297" y="2593"/>
                      <a:pt x="5297" y="2593"/>
                    </a:cubicBezTo>
                    <a:lnTo>
                      <a:pt x="5239" y="2595"/>
                    </a:lnTo>
                    <a:close/>
                    <a:moveTo>
                      <a:pt x="5217" y="2235"/>
                    </a:moveTo>
                    <a:cubicBezTo>
                      <a:pt x="5311" y="2235"/>
                      <a:pt x="5311" y="2235"/>
                      <a:pt x="5311" y="2235"/>
                    </a:cubicBezTo>
                    <a:cubicBezTo>
                      <a:pt x="5310" y="2416"/>
                      <a:pt x="5310" y="2416"/>
                      <a:pt x="5310" y="2416"/>
                    </a:cubicBezTo>
                    <a:cubicBezTo>
                      <a:pt x="5303" y="2416"/>
                      <a:pt x="5303" y="2416"/>
                      <a:pt x="5303" y="2416"/>
                    </a:cubicBezTo>
                    <a:cubicBezTo>
                      <a:pt x="5216" y="2416"/>
                      <a:pt x="5216" y="2416"/>
                      <a:pt x="5216" y="2416"/>
                    </a:cubicBezTo>
                    <a:cubicBezTo>
                      <a:pt x="5216" y="2371"/>
                      <a:pt x="5216" y="2371"/>
                      <a:pt x="5216" y="2371"/>
                    </a:cubicBezTo>
                    <a:cubicBezTo>
                      <a:pt x="5154" y="2371"/>
                      <a:pt x="5154" y="2371"/>
                      <a:pt x="5154" y="2371"/>
                    </a:cubicBezTo>
                    <a:cubicBezTo>
                      <a:pt x="5155" y="2279"/>
                      <a:pt x="5155" y="2279"/>
                      <a:pt x="5155" y="2279"/>
                    </a:cubicBezTo>
                    <a:cubicBezTo>
                      <a:pt x="5217" y="2279"/>
                      <a:pt x="5217" y="2279"/>
                      <a:pt x="5217" y="2279"/>
                    </a:cubicBezTo>
                    <a:lnTo>
                      <a:pt x="5217" y="2235"/>
                    </a:lnTo>
                    <a:close/>
                    <a:moveTo>
                      <a:pt x="5230" y="2293"/>
                    </a:moveTo>
                    <a:cubicBezTo>
                      <a:pt x="5168" y="2292"/>
                      <a:pt x="5168" y="2292"/>
                      <a:pt x="5168" y="2292"/>
                    </a:cubicBezTo>
                    <a:cubicBezTo>
                      <a:pt x="5168" y="2358"/>
                      <a:pt x="5168" y="2358"/>
                      <a:pt x="5168" y="2358"/>
                    </a:cubicBezTo>
                    <a:cubicBezTo>
                      <a:pt x="5230" y="2358"/>
                      <a:pt x="5230" y="2358"/>
                      <a:pt x="5230" y="2358"/>
                    </a:cubicBezTo>
                    <a:cubicBezTo>
                      <a:pt x="5229" y="2403"/>
                      <a:pt x="5229" y="2403"/>
                      <a:pt x="5229" y="2403"/>
                    </a:cubicBezTo>
                    <a:cubicBezTo>
                      <a:pt x="5297" y="2403"/>
                      <a:pt x="5297" y="2403"/>
                      <a:pt x="5297" y="2403"/>
                    </a:cubicBezTo>
                    <a:cubicBezTo>
                      <a:pt x="5298" y="2248"/>
                      <a:pt x="5298" y="2248"/>
                      <a:pt x="5298" y="2248"/>
                    </a:cubicBezTo>
                    <a:cubicBezTo>
                      <a:pt x="5230" y="2248"/>
                      <a:pt x="5230" y="2248"/>
                      <a:pt x="5230" y="2248"/>
                    </a:cubicBezTo>
                    <a:lnTo>
                      <a:pt x="5230" y="2293"/>
                    </a:lnTo>
                    <a:close/>
                    <a:moveTo>
                      <a:pt x="5433" y="2489"/>
                    </a:moveTo>
                    <a:cubicBezTo>
                      <a:pt x="5584" y="2492"/>
                      <a:pt x="5584" y="2492"/>
                      <a:pt x="5584" y="2492"/>
                    </a:cubicBezTo>
                    <a:cubicBezTo>
                      <a:pt x="5583" y="2563"/>
                      <a:pt x="5583" y="2563"/>
                      <a:pt x="5583" y="2563"/>
                    </a:cubicBezTo>
                    <a:cubicBezTo>
                      <a:pt x="5577" y="2563"/>
                      <a:pt x="5577" y="2563"/>
                      <a:pt x="5577" y="2563"/>
                    </a:cubicBezTo>
                    <a:cubicBezTo>
                      <a:pt x="5432" y="2561"/>
                      <a:pt x="5432" y="2561"/>
                      <a:pt x="5432" y="2561"/>
                    </a:cubicBezTo>
                    <a:lnTo>
                      <a:pt x="5433" y="2489"/>
                    </a:lnTo>
                    <a:close/>
                    <a:moveTo>
                      <a:pt x="5445" y="2548"/>
                    </a:moveTo>
                    <a:cubicBezTo>
                      <a:pt x="5570" y="2550"/>
                      <a:pt x="5570" y="2550"/>
                      <a:pt x="5570" y="2550"/>
                    </a:cubicBezTo>
                    <a:cubicBezTo>
                      <a:pt x="5571" y="2504"/>
                      <a:pt x="5571" y="2504"/>
                      <a:pt x="5571" y="2504"/>
                    </a:cubicBezTo>
                    <a:cubicBezTo>
                      <a:pt x="5446" y="2502"/>
                      <a:pt x="5446" y="2502"/>
                      <a:pt x="5446" y="2502"/>
                    </a:cubicBezTo>
                    <a:lnTo>
                      <a:pt x="5445" y="2548"/>
                    </a:lnTo>
                    <a:close/>
                    <a:moveTo>
                      <a:pt x="2156" y="6260"/>
                    </a:moveTo>
                    <a:cubicBezTo>
                      <a:pt x="1995" y="5883"/>
                      <a:pt x="1995" y="5883"/>
                      <a:pt x="1995" y="5883"/>
                    </a:cubicBezTo>
                    <a:cubicBezTo>
                      <a:pt x="2101" y="5918"/>
                      <a:pt x="2101" y="5918"/>
                      <a:pt x="2101" y="5918"/>
                    </a:cubicBezTo>
                    <a:cubicBezTo>
                      <a:pt x="2178" y="6074"/>
                      <a:pt x="2178" y="6074"/>
                      <a:pt x="2178" y="6074"/>
                    </a:cubicBezTo>
                    <a:cubicBezTo>
                      <a:pt x="2270" y="6107"/>
                      <a:pt x="2270" y="6107"/>
                      <a:pt x="2270" y="6107"/>
                    </a:cubicBezTo>
                    <a:cubicBezTo>
                      <a:pt x="2303" y="6042"/>
                      <a:pt x="2303" y="6042"/>
                      <a:pt x="2303" y="6042"/>
                    </a:cubicBezTo>
                    <a:cubicBezTo>
                      <a:pt x="2472" y="6097"/>
                      <a:pt x="2472" y="6097"/>
                      <a:pt x="2472" y="6097"/>
                    </a:cubicBezTo>
                    <a:cubicBezTo>
                      <a:pt x="2469" y="6105"/>
                      <a:pt x="2469" y="6105"/>
                      <a:pt x="2469" y="6105"/>
                    </a:cubicBezTo>
                    <a:cubicBezTo>
                      <a:pt x="2405" y="6266"/>
                      <a:pt x="2405" y="6266"/>
                      <a:pt x="2405" y="6266"/>
                    </a:cubicBezTo>
                    <a:cubicBezTo>
                      <a:pt x="2364" y="6252"/>
                      <a:pt x="2364" y="6252"/>
                      <a:pt x="2364" y="6252"/>
                    </a:cubicBezTo>
                    <a:cubicBezTo>
                      <a:pt x="2337" y="6320"/>
                      <a:pt x="2337" y="6320"/>
                      <a:pt x="2337" y="6320"/>
                    </a:cubicBezTo>
                    <a:lnTo>
                      <a:pt x="2156" y="6260"/>
                    </a:lnTo>
                    <a:close/>
                    <a:moveTo>
                      <a:pt x="2021" y="5907"/>
                    </a:moveTo>
                    <a:cubicBezTo>
                      <a:pt x="2167" y="6248"/>
                      <a:pt x="2167" y="6248"/>
                      <a:pt x="2167" y="6248"/>
                    </a:cubicBezTo>
                    <a:cubicBezTo>
                      <a:pt x="2328" y="6301"/>
                      <a:pt x="2328" y="6301"/>
                      <a:pt x="2328" y="6301"/>
                    </a:cubicBezTo>
                    <a:cubicBezTo>
                      <a:pt x="2356" y="6234"/>
                      <a:pt x="2356" y="6234"/>
                      <a:pt x="2356" y="6234"/>
                    </a:cubicBezTo>
                    <a:cubicBezTo>
                      <a:pt x="2396" y="6247"/>
                      <a:pt x="2396" y="6247"/>
                      <a:pt x="2396" y="6247"/>
                    </a:cubicBezTo>
                    <a:cubicBezTo>
                      <a:pt x="2453" y="6106"/>
                      <a:pt x="2453" y="6106"/>
                      <a:pt x="2453" y="6106"/>
                    </a:cubicBezTo>
                    <a:cubicBezTo>
                      <a:pt x="2310" y="6060"/>
                      <a:pt x="2310" y="6060"/>
                      <a:pt x="2310" y="6060"/>
                    </a:cubicBezTo>
                    <a:cubicBezTo>
                      <a:pt x="2278" y="6125"/>
                      <a:pt x="2278" y="6125"/>
                      <a:pt x="2278" y="6125"/>
                    </a:cubicBezTo>
                    <a:cubicBezTo>
                      <a:pt x="2167" y="6086"/>
                      <a:pt x="2167" y="6086"/>
                      <a:pt x="2167" y="6086"/>
                    </a:cubicBezTo>
                    <a:cubicBezTo>
                      <a:pt x="2091" y="5930"/>
                      <a:pt x="2091" y="5930"/>
                      <a:pt x="2091" y="5930"/>
                    </a:cubicBezTo>
                    <a:lnTo>
                      <a:pt x="2021" y="5907"/>
                    </a:lnTo>
                    <a:close/>
                    <a:moveTo>
                      <a:pt x="5582" y="2682"/>
                    </a:moveTo>
                    <a:cubicBezTo>
                      <a:pt x="5596" y="2786"/>
                      <a:pt x="5596" y="2786"/>
                      <a:pt x="5596" y="2786"/>
                    </a:cubicBezTo>
                    <a:cubicBezTo>
                      <a:pt x="5449" y="2805"/>
                      <a:pt x="5449" y="2805"/>
                      <a:pt x="5449" y="2805"/>
                    </a:cubicBezTo>
                    <a:cubicBezTo>
                      <a:pt x="5448" y="2798"/>
                      <a:pt x="5448" y="2798"/>
                      <a:pt x="5448" y="2798"/>
                    </a:cubicBezTo>
                    <a:cubicBezTo>
                      <a:pt x="5436" y="2701"/>
                      <a:pt x="5436" y="2701"/>
                      <a:pt x="5436" y="2701"/>
                    </a:cubicBezTo>
                    <a:lnTo>
                      <a:pt x="5582" y="2682"/>
                    </a:lnTo>
                    <a:close/>
                    <a:moveTo>
                      <a:pt x="5581" y="2774"/>
                    </a:moveTo>
                    <a:cubicBezTo>
                      <a:pt x="5571" y="2697"/>
                      <a:pt x="5571" y="2697"/>
                      <a:pt x="5571" y="2697"/>
                    </a:cubicBezTo>
                    <a:cubicBezTo>
                      <a:pt x="5450" y="2712"/>
                      <a:pt x="5450" y="2712"/>
                      <a:pt x="5450" y="2712"/>
                    </a:cubicBezTo>
                    <a:cubicBezTo>
                      <a:pt x="5460" y="2790"/>
                      <a:pt x="5460" y="2790"/>
                      <a:pt x="5460" y="2790"/>
                    </a:cubicBezTo>
                    <a:lnTo>
                      <a:pt x="5581" y="2774"/>
                    </a:lnTo>
                    <a:close/>
                    <a:moveTo>
                      <a:pt x="5447" y="2325"/>
                    </a:moveTo>
                    <a:cubicBezTo>
                      <a:pt x="5596" y="2351"/>
                      <a:pt x="5596" y="2351"/>
                      <a:pt x="5596" y="2351"/>
                    </a:cubicBezTo>
                    <a:cubicBezTo>
                      <a:pt x="5584" y="2422"/>
                      <a:pt x="5584" y="2422"/>
                      <a:pt x="5584" y="2422"/>
                    </a:cubicBezTo>
                    <a:cubicBezTo>
                      <a:pt x="5578" y="2421"/>
                      <a:pt x="5578" y="2421"/>
                      <a:pt x="5578" y="2421"/>
                    </a:cubicBezTo>
                    <a:cubicBezTo>
                      <a:pt x="5435" y="2396"/>
                      <a:pt x="5435" y="2396"/>
                      <a:pt x="5435" y="2396"/>
                    </a:cubicBezTo>
                    <a:lnTo>
                      <a:pt x="5447" y="2325"/>
                    </a:lnTo>
                    <a:close/>
                    <a:moveTo>
                      <a:pt x="5450" y="2385"/>
                    </a:moveTo>
                    <a:cubicBezTo>
                      <a:pt x="5574" y="2407"/>
                      <a:pt x="5574" y="2407"/>
                      <a:pt x="5574" y="2407"/>
                    </a:cubicBezTo>
                    <a:cubicBezTo>
                      <a:pt x="5581" y="2362"/>
                      <a:pt x="5581" y="2362"/>
                      <a:pt x="5581" y="2362"/>
                    </a:cubicBezTo>
                    <a:cubicBezTo>
                      <a:pt x="5458" y="2340"/>
                      <a:pt x="5458" y="2340"/>
                      <a:pt x="5458" y="2340"/>
                    </a:cubicBezTo>
                    <a:lnTo>
                      <a:pt x="5450" y="2385"/>
                    </a:lnTo>
                    <a:close/>
                    <a:moveTo>
                      <a:pt x="5758" y="2923"/>
                    </a:moveTo>
                    <a:cubicBezTo>
                      <a:pt x="5906" y="2932"/>
                      <a:pt x="5906" y="2932"/>
                      <a:pt x="5906" y="2932"/>
                    </a:cubicBezTo>
                    <a:cubicBezTo>
                      <a:pt x="5899" y="3036"/>
                      <a:pt x="5899" y="3036"/>
                      <a:pt x="5899" y="3036"/>
                    </a:cubicBezTo>
                    <a:cubicBezTo>
                      <a:pt x="5752" y="3027"/>
                      <a:pt x="5752" y="3027"/>
                      <a:pt x="5752" y="3027"/>
                    </a:cubicBezTo>
                    <a:cubicBezTo>
                      <a:pt x="5752" y="3020"/>
                      <a:pt x="5752" y="3020"/>
                      <a:pt x="5752" y="3020"/>
                    </a:cubicBezTo>
                    <a:lnTo>
                      <a:pt x="5758" y="2923"/>
                    </a:lnTo>
                    <a:close/>
                    <a:moveTo>
                      <a:pt x="5765" y="3015"/>
                    </a:moveTo>
                    <a:cubicBezTo>
                      <a:pt x="5887" y="3022"/>
                      <a:pt x="5887" y="3022"/>
                      <a:pt x="5887" y="3022"/>
                    </a:cubicBezTo>
                    <a:cubicBezTo>
                      <a:pt x="5892" y="2944"/>
                      <a:pt x="5892" y="2944"/>
                      <a:pt x="5892" y="2944"/>
                    </a:cubicBezTo>
                    <a:cubicBezTo>
                      <a:pt x="5770" y="2936"/>
                      <a:pt x="5770" y="2936"/>
                      <a:pt x="5770" y="2936"/>
                    </a:cubicBezTo>
                    <a:lnTo>
                      <a:pt x="5765" y="3015"/>
                    </a:lnTo>
                    <a:close/>
                    <a:moveTo>
                      <a:pt x="5465" y="1244"/>
                    </a:moveTo>
                    <a:cubicBezTo>
                      <a:pt x="5614" y="1270"/>
                      <a:pt x="5614" y="1270"/>
                      <a:pt x="5614" y="1270"/>
                    </a:cubicBezTo>
                    <a:cubicBezTo>
                      <a:pt x="5602" y="1341"/>
                      <a:pt x="5602" y="1341"/>
                      <a:pt x="5602" y="1341"/>
                    </a:cubicBezTo>
                    <a:cubicBezTo>
                      <a:pt x="5596" y="1340"/>
                      <a:pt x="5596" y="1340"/>
                      <a:pt x="5596" y="1340"/>
                    </a:cubicBezTo>
                    <a:cubicBezTo>
                      <a:pt x="5453" y="1315"/>
                      <a:pt x="5453" y="1315"/>
                      <a:pt x="5453" y="1315"/>
                    </a:cubicBezTo>
                    <a:lnTo>
                      <a:pt x="5465" y="1244"/>
                    </a:lnTo>
                    <a:close/>
                    <a:moveTo>
                      <a:pt x="5468" y="1304"/>
                    </a:moveTo>
                    <a:cubicBezTo>
                      <a:pt x="5592" y="1326"/>
                      <a:pt x="5592" y="1326"/>
                      <a:pt x="5592" y="1326"/>
                    </a:cubicBezTo>
                    <a:cubicBezTo>
                      <a:pt x="5600" y="1281"/>
                      <a:pt x="5600" y="1281"/>
                      <a:pt x="5600" y="1281"/>
                    </a:cubicBezTo>
                    <a:cubicBezTo>
                      <a:pt x="5476" y="1259"/>
                      <a:pt x="5476" y="1259"/>
                      <a:pt x="5476" y="1259"/>
                    </a:cubicBezTo>
                    <a:lnTo>
                      <a:pt x="5468" y="1304"/>
                    </a:lnTo>
                    <a:close/>
                    <a:moveTo>
                      <a:pt x="5192" y="2991"/>
                    </a:moveTo>
                    <a:cubicBezTo>
                      <a:pt x="5209" y="3095"/>
                      <a:pt x="5209" y="3095"/>
                      <a:pt x="5209" y="3095"/>
                    </a:cubicBezTo>
                    <a:cubicBezTo>
                      <a:pt x="5063" y="3118"/>
                      <a:pt x="5063" y="3118"/>
                      <a:pt x="5063" y="3118"/>
                    </a:cubicBezTo>
                    <a:cubicBezTo>
                      <a:pt x="5061" y="3111"/>
                      <a:pt x="5061" y="3111"/>
                      <a:pt x="5061" y="3111"/>
                    </a:cubicBezTo>
                    <a:cubicBezTo>
                      <a:pt x="5046" y="3015"/>
                      <a:pt x="5046" y="3015"/>
                      <a:pt x="5046" y="3015"/>
                    </a:cubicBezTo>
                    <a:lnTo>
                      <a:pt x="5192" y="2991"/>
                    </a:lnTo>
                    <a:close/>
                    <a:moveTo>
                      <a:pt x="5194" y="3084"/>
                    </a:moveTo>
                    <a:cubicBezTo>
                      <a:pt x="5181" y="3006"/>
                      <a:pt x="5181" y="3006"/>
                      <a:pt x="5181" y="3006"/>
                    </a:cubicBezTo>
                    <a:cubicBezTo>
                      <a:pt x="5061" y="3025"/>
                      <a:pt x="5061" y="3025"/>
                      <a:pt x="5061" y="3025"/>
                    </a:cubicBezTo>
                    <a:cubicBezTo>
                      <a:pt x="5073" y="3103"/>
                      <a:pt x="5073" y="3103"/>
                      <a:pt x="5073" y="3103"/>
                    </a:cubicBezTo>
                    <a:lnTo>
                      <a:pt x="5194" y="3084"/>
                    </a:lnTo>
                    <a:close/>
                    <a:moveTo>
                      <a:pt x="5364" y="3576"/>
                    </a:moveTo>
                    <a:cubicBezTo>
                      <a:pt x="5318" y="3585"/>
                      <a:pt x="5318" y="3585"/>
                      <a:pt x="5318" y="3585"/>
                    </a:cubicBezTo>
                    <a:cubicBezTo>
                      <a:pt x="5326" y="3627"/>
                      <a:pt x="5326" y="3627"/>
                      <a:pt x="5326" y="3627"/>
                    </a:cubicBezTo>
                    <a:cubicBezTo>
                      <a:pt x="5212" y="3650"/>
                      <a:pt x="5212" y="3650"/>
                      <a:pt x="5212" y="3650"/>
                    </a:cubicBezTo>
                    <a:cubicBezTo>
                      <a:pt x="5203" y="3608"/>
                      <a:pt x="5203" y="3608"/>
                      <a:pt x="5203" y="3608"/>
                    </a:cubicBezTo>
                    <a:cubicBezTo>
                      <a:pt x="5157" y="3617"/>
                      <a:pt x="5157" y="3617"/>
                      <a:pt x="5157" y="3617"/>
                    </a:cubicBezTo>
                    <a:cubicBezTo>
                      <a:pt x="5140" y="3532"/>
                      <a:pt x="5140" y="3532"/>
                      <a:pt x="5140" y="3532"/>
                    </a:cubicBezTo>
                    <a:cubicBezTo>
                      <a:pt x="5347" y="3491"/>
                      <a:pt x="5347" y="3491"/>
                      <a:pt x="5347" y="3491"/>
                    </a:cubicBezTo>
                    <a:cubicBezTo>
                      <a:pt x="5348" y="3498"/>
                      <a:pt x="5348" y="3498"/>
                      <a:pt x="5348" y="3498"/>
                    </a:cubicBezTo>
                    <a:lnTo>
                      <a:pt x="5364" y="3576"/>
                    </a:lnTo>
                    <a:close/>
                    <a:moveTo>
                      <a:pt x="5302" y="3575"/>
                    </a:moveTo>
                    <a:cubicBezTo>
                      <a:pt x="5348" y="3565"/>
                      <a:pt x="5348" y="3565"/>
                      <a:pt x="5348" y="3565"/>
                    </a:cubicBezTo>
                    <a:cubicBezTo>
                      <a:pt x="5336" y="3507"/>
                      <a:pt x="5336" y="3507"/>
                      <a:pt x="5336" y="3507"/>
                    </a:cubicBezTo>
                    <a:cubicBezTo>
                      <a:pt x="5156" y="3543"/>
                      <a:pt x="5156" y="3543"/>
                      <a:pt x="5156" y="3543"/>
                    </a:cubicBezTo>
                    <a:cubicBezTo>
                      <a:pt x="5167" y="3602"/>
                      <a:pt x="5167" y="3602"/>
                      <a:pt x="5167" y="3602"/>
                    </a:cubicBezTo>
                    <a:cubicBezTo>
                      <a:pt x="5213" y="3592"/>
                      <a:pt x="5213" y="3592"/>
                      <a:pt x="5213" y="3592"/>
                    </a:cubicBezTo>
                    <a:cubicBezTo>
                      <a:pt x="5222" y="3635"/>
                      <a:pt x="5222" y="3635"/>
                      <a:pt x="5222" y="3635"/>
                    </a:cubicBezTo>
                    <a:cubicBezTo>
                      <a:pt x="5311" y="3617"/>
                      <a:pt x="5311" y="3617"/>
                      <a:pt x="5311" y="3617"/>
                    </a:cubicBezTo>
                    <a:lnTo>
                      <a:pt x="5302" y="3575"/>
                    </a:lnTo>
                    <a:close/>
                    <a:moveTo>
                      <a:pt x="6858" y="4595"/>
                    </a:moveTo>
                    <a:cubicBezTo>
                      <a:pt x="6933" y="4602"/>
                      <a:pt x="6933" y="4602"/>
                      <a:pt x="6933" y="4602"/>
                    </a:cubicBezTo>
                    <a:cubicBezTo>
                      <a:pt x="6926" y="4678"/>
                      <a:pt x="6926" y="4678"/>
                      <a:pt x="6926" y="4678"/>
                    </a:cubicBezTo>
                    <a:cubicBezTo>
                      <a:pt x="6920" y="4677"/>
                      <a:pt x="6920" y="4677"/>
                      <a:pt x="6920" y="4677"/>
                    </a:cubicBezTo>
                    <a:cubicBezTo>
                      <a:pt x="6729" y="4657"/>
                      <a:pt x="6729" y="4657"/>
                      <a:pt x="6729" y="4657"/>
                    </a:cubicBezTo>
                    <a:cubicBezTo>
                      <a:pt x="6733" y="4608"/>
                      <a:pt x="6733" y="4608"/>
                      <a:pt x="6733" y="4608"/>
                    </a:cubicBezTo>
                    <a:cubicBezTo>
                      <a:pt x="6722" y="4607"/>
                      <a:pt x="6722" y="4607"/>
                      <a:pt x="6722" y="4607"/>
                    </a:cubicBezTo>
                    <a:cubicBezTo>
                      <a:pt x="6715" y="4606"/>
                      <a:pt x="6715" y="4606"/>
                      <a:pt x="6715" y="4606"/>
                    </a:cubicBezTo>
                    <a:cubicBezTo>
                      <a:pt x="6724" y="4510"/>
                      <a:pt x="6724" y="4510"/>
                      <a:pt x="6724" y="4510"/>
                    </a:cubicBezTo>
                    <a:cubicBezTo>
                      <a:pt x="6864" y="4523"/>
                      <a:pt x="6864" y="4523"/>
                      <a:pt x="6864" y="4523"/>
                    </a:cubicBezTo>
                    <a:lnTo>
                      <a:pt x="6858" y="4595"/>
                    </a:lnTo>
                    <a:close/>
                    <a:moveTo>
                      <a:pt x="6844" y="4607"/>
                    </a:moveTo>
                    <a:cubicBezTo>
                      <a:pt x="6850" y="4535"/>
                      <a:pt x="6850" y="4535"/>
                      <a:pt x="6850" y="4535"/>
                    </a:cubicBezTo>
                    <a:cubicBezTo>
                      <a:pt x="6736" y="4524"/>
                      <a:pt x="6736" y="4524"/>
                      <a:pt x="6736" y="4524"/>
                    </a:cubicBezTo>
                    <a:cubicBezTo>
                      <a:pt x="6729" y="4594"/>
                      <a:pt x="6729" y="4594"/>
                      <a:pt x="6729" y="4594"/>
                    </a:cubicBezTo>
                    <a:cubicBezTo>
                      <a:pt x="6741" y="4595"/>
                      <a:pt x="6741" y="4595"/>
                      <a:pt x="6741" y="4595"/>
                    </a:cubicBezTo>
                    <a:cubicBezTo>
                      <a:pt x="6748" y="4596"/>
                      <a:pt x="6748" y="4596"/>
                      <a:pt x="6748" y="4596"/>
                    </a:cubicBezTo>
                    <a:cubicBezTo>
                      <a:pt x="6743" y="4645"/>
                      <a:pt x="6743" y="4645"/>
                      <a:pt x="6743" y="4645"/>
                    </a:cubicBezTo>
                    <a:cubicBezTo>
                      <a:pt x="6914" y="4664"/>
                      <a:pt x="6914" y="4664"/>
                      <a:pt x="6914" y="4664"/>
                    </a:cubicBezTo>
                    <a:cubicBezTo>
                      <a:pt x="6919" y="4614"/>
                      <a:pt x="6919" y="4614"/>
                      <a:pt x="6919" y="4614"/>
                    </a:cubicBezTo>
                    <a:lnTo>
                      <a:pt x="6844" y="4607"/>
                    </a:lnTo>
                    <a:close/>
                    <a:moveTo>
                      <a:pt x="5466" y="1946"/>
                    </a:moveTo>
                    <a:cubicBezTo>
                      <a:pt x="5323" y="1921"/>
                      <a:pt x="5323" y="1921"/>
                      <a:pt x="5323" y="1921"/>
                    </a:cubicBezTo>
                    <a:cubicBezTo>
                      <a:pt x="5335" y="1851"/>
                      <a:pt x="5335" y="1851"/>
                      <a:pt x="5335" y="1851"/>
                    </a:cubicBezTo>
                    <a:cubicBezTo>
                      <a:pt x="5484" y="1877"/>
                      <a:pt x="5484" y="1877"/>
                      <a:pt x="5484" y="1877"/>
                    </a:cubicBezTo>
                    <a:cubicBezTo>
                      <a:pt x="5472" y="1947"/>
                      <a:pt x="5472" y="1947"/>
                      <a:pt x="5472" y="1947"/>
                    </a:cubicBezTo>
                    <a:lnTo>
                      <a:pt x="5466" y="1946"/>
                    </a:lnTo>
                    <a:close/>
                    <a:moveTo>
                      <a:pt x="5462" y="1932"/>
                    </a:moveTo>
                    <a:cubicBezTo>
                      <a:pt x="5470" y="1887"/>
                      <a:pt x="5470" y="1887"/>
                      <a:pt x="5470" y="1887"/>
                    </a:cubicBezTo>
                    <a:cubicBezTo>
                      <a:pt x="5346" y="1865"/>
                      <a:pt x="5346" y="1865"/>
                      <a:pt x="5346" y="1865"/>
                    </a:cubicBezTo>
                    <a:cubicBezTo>
                      <a:pt x="5338" y="1911"/>
                      <a:pt x="5338" y="1911"/>
                      <a:pt x="5338" y="1911"/>
                    </a:cubicBezTo>
                    <a:lnTo>
                      <a:pt x="5462" y="1932"/>
                    </a:lnTo>
                    <a:close/>
                    <a:moveTo>
                      <a:pt x="5327" y="3305"/>
                    </a:moveTo>
                    <a:cubicBezTo>
                      <a:pt x="5256" y="3322"/>
                      <a:pt x="5256" y="3322"/>
                      <a:pt x="5256" y="3322"/>
                    </a:cubicBezTo>
                    <a:cubicBezTo>
                      <a:pt x="5269" y="3377"/>
                      <a:pt x="5269" y="3377"/>
                      <a:pt x="5269" y="3377"/>
                    </a:cubicBezTo>
                    <a:cubicBezTo>
                      <a:pt x="5263" y="3379"/>
                      <a:pt x="5263" y="3379"/>
                      <a:pt x="5263" y="3379"/>
                    </a:cubicBezTo>
                    <a:cubicBezTo>
                      <a:pt x="5150" y="3409"/>
                      <a:pt x="5150" y="3409"/>
                      <a:pt x="5150" y="3409"/>
                    </a:cubicBezTo>
                    <a:cubicBezTo>
                      <a:pt x="5123" y="3295"/>
                      <a:pt x="5123" y="3295"/>
                      <a:pt x="5123" y="3295"/>
                    </a:cubicBezTo>
                    <a:cubicBezTo>
                      <a:pt x="5133" y="3292"/>
                      <a:pt x="5133" y="3292"/>
                      <a:pt x="5133" y="3292"/>
                    </a:cubicBezTo>
                    <a:cubicBezTo>
                      <a:pt x="5121" y="3241"/>
                      <a:pt x="5121" y="3241"/>
                      <a:pt x="5121" y="3241"/>
                    </a:cubicBezTo>
                    <a:cubicBezTo>
                      <a:pt x="5301" y="3198"/>
                      <a:pt x="5301" y="3198"/>
                      <a:pt x="5301" y="3198"/>
                    </a:cubicBezTo>
                    <a:lnTo>
                      <a:pt x="5327" y="3305"/>
                    </a:lnTo>
                    <a:close/>
                    <a:moveTo>
                      <a:pt x="5240" y="3312"/>
                    </a:moveTo>
                    <a:cubicBezTo>
                      <a:pt x="5311" y="3295"/>
                      <a:pt x="5311" y="3295"/>
                      <a:pt x="5311" y="3295"/>
                    </a:cubicBezTo>
                    <a:cubicBezTo>
                      <a:pt x="5291" y="3214"/>
                      <a:pt x="5291" y="3214"/>
                      <a:pt x="5291" y="3214"/>
                    </a:cubicBezTo>
                    <a:cubicBezTo>
                      <a:pt x="5136" y="3251"/>
                      <a:pt x="5136" y="3251"/>
                      <a:pt x="5136" y="3251"/>
                    </a:cubicBezTo>
                    <a:cubicBezTo>
                      <a:pt x="5149" y="3302"/>
                      <a:pt x="5149" y="3302"/>
                      <a:pt x="5149" y="3302"/>
                    </a:cubicBezTo>
                    <a:cubicBezTo>
                      <a:pt x="5139" y="3304"/>
                      <a:pt x="5139" y="3304"/>
                      <a:pt x="5139" y="3304"/>
                    </a:cubicBezTo>
                    <a:cubicBezTo>
                      <a:pt x="5160" y="3393"/>
                      <a:pt x="5160" y="3393"/>
                      <a:pt x="5160" y="3393"/>
                    </a:cubicBezTo>
                    <a:cubicBezTo>
                      <a:pt x="5253" y="3368"/>
                      <a:pt x="5253" y="3368"/>
                      <a:pt x="5253" y="3368"/>
                    </a:cubicBezTo>
                    <a:lnTo>
                      <a:pt x="5240" y="3312"/>
                    </a:lnTo>
                    <a:close/>
                    <a:moveTo>
                      <a:pt x="6884" y="4257"/>
                    </a:moveTo>
                    <a:cubicBezTo>
                      <a:pt x="6960" y="4264"/>
                      <a:pt x="6960" y="4264"/>
                      <a:pt x="6960" y="4264"/>
                    </a:cubicBezTo>
                    <a:cubicBezTo>
                      <a:pt x="6953" y="4340"/>
                      <a:pt x="6953" y="4340"/>
                      <a:pt x="6953" y="4340"/>
                    </a:cubicBezTo>
                    <a:cubicBezTo>
                      <a:pt x="6946" y="4339"/>
                      <a:pt x="6946" y="4339"/>
                      <a:pt x="6946" y="4339"/>
                    </a:cubicBezTo>
                    <a:cubicBezTo>
                      <a:pt x="6756" y="4319"/>
                      <a:pt x="6756" y="4319"/>
                      <a:pt x="6756" y="4319"/>
                    </a:cubicBezTo>
                    <a:cubicBezTo>
                      <a:pt x="6760" y="4270"/>
                      <a:pt x="6760" y="4270"/>
                      <a:pt x="6760" y="4270"/>
                    </a:cubicBezTo>
                    <a:cubicBezTo>
                      <a:pt x="6748" y="4269"/>
                      <a:pt x="6748" y="4269"/>
                      <a:pt x="6748" y="4269"/>
                    </a:cubicBezTo>
                    <a:cubicBezTo>
                      <a:pt x="6742" y="4268"/>
                      <a:pt x="6742" y="4268"/>
                      <a:pt x="6742" y="4268"/>
                    </a:cubicBezTo>
                    <a:cubicBezTo>
                      <a:pt x="6751" y="4172"/>
                      <a:pt x="6751" y="4172"/>
                      <a:pt x="6751" y="4172"/>
                    </a:cubicBezTo>
                    <a:cubicBezTo>
                      <a:pt x="6891" y="4185"/>
                      <a:pt x="6891" y="4185"/>
                      <a:pt x="6891" y="4185"/>
                    </a:cubicBezTo>
                    <a:lnTo>
                      <a:pt x="6884" y="4257"/>
                    </a:lnTo>
                    <a:close/>
                    <a:moveTo>
                      <a:pt x="6870" y="4269"/>
                    </a:moveTo>
                    <a:cubicBezTo>
                      <a:pt x="6877" y="4196"/>
                      <a:pt x="6877" y="4196"/>
                      <a:pt x="6877" y="4196"/>
                    </a:cubicBezTo>
                    <a:cubicBezTo>
                      <a:pt x="6763" y="4186"/>
                      <a:pt x="6763" y="4186"/>
                      <a:pt x="6763" y="4186"/>
                    </a:cubicBezTo>
                    <a:cubicBezTo>
                      <a:pt x="6756" y="4256"/>
                      <a:pt x="6756" y="4256"/>
                      <a:pt x="6756" y="4256"/>
                    </a:cubicBezTo>
                    <a:cubicBezTo>
                      <a:pt x="6768" y="4257"/>
                      <a:pt x="6768" y="4257"/>
                      <a:pt x="6768" y="4257"/>
                    </a:cubicBezTo>
                    <a:cubicBezTo>
                      <a:pt x="6774" y="4258"/>
                      <a:pt x="6774" y="4258"/>
                      <a:pt x="6774" y="4258"/>
                    </a:cubicBezTo>
                    <a:cubicBezTo>
                      <a:pt x="6770" y="4307"/>
                      <a:pt x="6770" y="4307"/>
                      <a:pt x="6770" y="4307"/>
                    </a:cubicBezTo>
                    <a:cubicBezTo>
                      <a:pt x="6941" y="4325"/>
                      <a:pt x="6941" y="4325"/>
                      <a:pt x="6941" y="4325"/>
                    </a:cubicBezTo>
                    <a:cubicBezTo>
                      <a:pt x="6946" y="4276"/>
                      <a:pt x="6946" y="4276"/>
                      <a:pt x="6946" y="4276"/>
                    </a:cubicBezTo>
                    <a:lnTo>
                      <a:pt x="6870" y="4269"/>
                    </a:lnTo>
                    <a:close/>
                    <a:moveTo>
                      <a:pt x="5207" y="1669"/>
                    </a:moveTo>
                    <a:cubicBezTo>
                      <a:pt x="5231" y="1770"/>
                      <a:pt x="5231" y="1770"/>
                      <a:pt x="5231" y="1770"/>
                    </a:cubicBezTo>
                    <a:cubicBezTo>
                      <a:pt x="5087" y="1804"/>
                      <a:pt x="5087" y="1804"/>
                      <a:pt x="5087" y="1804"/>
                    </a:cubicBezTo>
                    <a:cubicBezTo>
                      <a:pt x="5086" y="1798"/>
                      <a:pt x="5086" y="1798"/>
                      <a:pt x="5086" y="1798"/>
                    </a:cubicBezTo>
                    <a:cubicBezTo>
                      <a:pt x="5063" y="1703"/>
                      <a:pt x="5063" y="1703"/>
                      <a:pt x="5063" y="1703"/>
                    </a:cubicBezTo>
                    <a:lnTo>
                      <a:pt x="5207" y="1669"/>
                    </a:lnTo>
                    <a:close/>
                    <a:moveTo>
                      <a:pt x="5216" y="1761"/>
                    </a:moveTo>
                    <a:cubicBezTo>
                      <a:pt x="5197" y="1684"/>
                      <a:pt x="5197" y="1684"/>
                      <a:pt x="5197" y="1684"/>
                    </a:cubicBezTo>
                    <a:cubicBezTo>
                      <a:pt x="5079" y="1713"/>
                      <a:pt x="5079" y="1713"/>
                      <a:pt x="5079" y="1713"/>
                    </a:cubicBezTo>
                    <a:cubicBezTo>
                      <a:pt x="5097" y="1789"/>
                      <a:pt x="5097" y="1789"/>
                      <a:pt x="5097" y="1789"/>
                    </a:cubicBezTo>
                    <a:lnTo>
                      <a:pt x="5216" y="1761"/>
                    </a:lnTo>
                    <a:close/>
                    <a:moveTo>
                      <a:pt x="4789" y="1565"/>
                    </a:moveTo>
                    <a:cubicBezTo>
                      <a:pt x="4893" y="1566"/>
                      <a:pt x="4893" y="1566"/>
                      <a:pt x="4893" y="1566"/>
                    </a:cubicBezTo>
                    <a:cubicBezTo>
                      <a:pt x="4892" y="1714"/>
                      <a:pt x="4892" y="1714"/>
                      <a:pt x="4892" y="1714"/>
                    </a:cubicBezTo>
                    <a:cubicBezTo>
                      <a:pt x="4886" y="1714"/>
                      <a:pt x="4886" y="1714"/>
                      <a:pt x="4886" y="1714"/>
                    </a:cubicBezTo>
                    <a:cubicBezTo>
                      <a:pt x="4788" y="1713"/>
                      <a:pt x="4788" y="1713"/>
                      <a:pt x="4788" y="1713"/>
                    </a:cubicBezTo>
                    <a:lnTo>
                      <a:pt x="4789" y="1565"/>
                    </a:lnTo>
                    <a:close/>
                    <a:moveTo>
                      <a:pt x="4801" y="1701"/>
                    </a:moveTo>
                    <a:cubicBezTo>
                      <a:pt x="4879" y="1701"/>
                      <a:pt x="4879" y="1701"/>
                      <a:pt x="4879" y="1701"/>
                    </a:cubicBezTo>
                    <a:cubicBezTo>
                      <a:pt x="4880" y="1579"/>
                      <a:pt x="4880" y="1579"/>
                      <a:pt x="4880" y="1579"/>
                    </a:cubicBezTo>
                    <a:cubicBezTo>
                      <a:pt x="4802" y="1578"/>
                      <a:pt x="4802" y="1578"/>
                      <a:pt x="4802" y="1578"/>
                    </a:cubicBezTo>
                    <a:lnTo>
                      <a:pt x="4801" y="1701"/>
                    </a:lnTo>
                    <a:close/>
                    <a:moveTo>
                      <a:pt x="3935" y="2554"/>
                    </a:moveTo>
                    <a:cubicBezTo>
                      <a:pt x="3935" y="2554"/>
                      <a:pt x="3935" y="2554"/>
                      <a:pt x="3935" y="2554"/>
                    </a:cubicBezTo>
                    <a:cubicBezTo>
                      <a:pt x="3935" y="2554"/>
                      <a:pt x="3935" y="2554"/>
                      <a:pt x="3935" y="2554"/>
                    </a:cubicBezTo>
                    <a:close/>
                    <a:moveTo>
                      <a:pt x="983" y="4921"/>
                    </a:moveTo>
                    <a:cubicBezTo>
                      <a:pt x="1048" y="4858"/>
                      <a:pt x="1048" y="4858"/>
                      <a:pt x="1048" y="4858"/>
                    </a:cubicBezTo>
                    <a:cubicBezTo>
                      <a:pt x="1018" y="4810"/>
                      <a:pt x="1018" y="4810"/>
                      <a:pt x="1018" y="4810"/>
                    </a:cubicBezTo>
                    <a:cubicBezTo>
                      <a:pt x="1119" y="4795"/>
                      <a:pt x="1119" y="4795"/>
                      <a:pt x="1119" y="4795"/>
                    </a:cubicBezTo>
                    <a:cubicBezTo>
                      <a:pt x="1152" y="4831"/>
                      <a:pt x="1152" y="4831"/>
                      <a:pt x="1152" y="4831"/>
                    </a:cubicBezTo>
                    <a:cubicBezTo>
                      <a:pt x="1323" y="4810"/>
                      <a:pt x="1323" y="4810"/>
                      <a:pt x="1323" y="4810"/>
                    </a:cubicBezTo>
                    <a:cubicBezTo>
                      <a:pt x="1383" y="4936"/>
                      <a:pt x="1383" y="4936"/>
                      <a:pt x="1383" y="4936"/>
                    </a:cubicBezTo>
                    <a:cubicBezTo>
                      <a:pt x="1160" y="5156"/>
                      <a:pt x="1160" y="5156"/>
                      <a:pt x="1160" y="5156"/>
                    </a:cubicBezTo>
                    <a:lnTo>
                      <a:pt x="983" y="4921"/>
                    </a:lnTo>
                    <a:close/>
                    <a:moveTo>
                      <a:pt x="1066" y="4860"/>
                    </a:moveTo>
                    <a:cubicBezTo>
                      <a:pt x="1058" y="4868"/>
                      <a:pt x="1058" y="4868"/>
                      <a:pt x="1058" y="4868"/>
                    </a:cubicBezTo>
                    <a:cubicBezTo>
                      <a:pt x="1001" y="4922"/>
                      <a:pt x="1001" y="4922"/>
                      <a:pt x="1001" y="4922"/>
                    </a:cubicBezTo>
                    <a:cubicBezTo>
                      <a:pt x="1162" y="5135"/>
                      <a:pt x="1162" y="5135"/>
                      <a:pt x="1162" y="5135"/>
                    </a:cubicBezTo>
                    <a:cubicBezTo>
                      <a:pt x="1366" y="4933"/>
                      <a:pt x="1366" y="4933"/>
                      <a:pt x="1366" y="4933"/>
                    </a:cubicBezTo>
                    <a:cubicBezTo>
                      <a:pt x="1315" y="4825"/>
                      <a:pt x="1315" y="4825"/>
                      <a:pt x="1315" y="4825"/>
                    </a:cubicBezTo>
                    <a:cubicBezTo>
                      <a:pt x="1154" y="4845"/>
                      <a:pt x="1154" y="4845"/>
                      <a:pt x="1154" y="4845"/>
                    </a:cubicBezTo>
                    <a:cubicBezTo>
                      <a:pt x="1147" y="4846"/>
                      <a:pt x="1147" y="4846"/>
                      <a:pt x="1147" y="4846"/>
                    </a:cubicBezTo>
                    <a:cubicBezTo>
                      <a:pt x="1142" y="4840"/>
                      <a:pt x="1142" y="4840"/>
                      <a:pt x="1142" y="4840"/>
                    </a:cubicBezTo>
                    <a:cubicBezTo>
                      <a:pt x="1114" y="4810"/>
                      <a:pt x="1114" y="4810"/>
                      <a:pt x="1114" y="4810"/>
                    </a:cubicBezTo>
                    <a:cubicBezTo>
                      <a:pt x="1041" y="4821"/>
                      <a:pt x="1041" y="4821"/>
                      <a:pt x="1041" y="4821"/>
                    </a:cubicBezTo>
                    <a:cubicBezTo>
                      <a:pt x="1060" y="4851"/>
                      <a:pt x="1060" y="4851"/>
                      <a:pt x="1060" y="4851"/>
                    </a:cubicBezTo>
                    <a:lnTo>
                      <a:pt x="1066" y="4860"/>
                    </a:lnTo>
                    <a:close/>
                    <a:moveTo>
                      <a:pt x="7215" y="6655"/>
                    </a:moveTo>
                    <a:cubicBezTo>
                      <a:pt x="7399" y="6683"/>
                      <a:pt x="7399" y="6683"/>
                      <a:pt x="7399" y="6683"/>
                    </a:cubicBezTo>
                    <a:cubicBezTo>
                      <a:pt x="7382" y="6792"/>
                      <a:pt x="7382" y="6792"/>
                      <a:pt x="7382" y="6792"/>
                    </a:cubicBezTo>
                    <a:cubicBezTo>
                      <a:pt x="7310" y="6781"/>
                      <a:pt x="7310" y="6781"/>
                      <a:pt x="7310" y="6781"/>
                    </a:cubicBezTo>
                    <a:cubicBezTo>
                      <a:pt x="7302" y="6837"/>
                      <a:pt x="7302" y="6837"/>
                      <a:pt x="7302" y="6837"/>
                    </a:cubicBezTo>
                    <a:cubicBezTo>
                      <a:pt x="7295" y="6836"/>
                      <a:pt x="7295" y="6836"/>
                      <a:pt x="7295" y="6836"/>
                    </a:cubicBezTo>
                    <a:cubicBezTo>
                      <a:pt x="7180" y="6822"/>
                      <a:pt x="7180" y="6822"/>
                      <a:pt x="7180" y="6822"/>
                    </a:cubicBezTo>
                    <a:cubicBezTo>
                      <a:pt x="7197" y="6705"/>
                      <a:pt x="7197" y="6705"/>
                      <a:pt x="7197" y="6705"/>
                    </a:cubicBezTo>
                    <a:cubicBezTo>
                      <a:pt x="7208" y="6707"/>
                      <a:pt x="7208" y="6707"/>
                      <a:pt x="7208" y="6707"/>
                    </a:cubicBezTo>
                    <a:lnTo>
                      <a:pt x="7215" y="6655"/>
                    </a:lnTo>
                    <a:close/>
                    <a:moveTo>
                      <a:pt x="7219" y="6722"/>
                    </a:moveTo>
                    <a:cubicBezTo>
                      <a:pt x="7208" y="6720"/>
                      <a:pt x="7208" y="6720"/>
                      <a:pt x="7208" y="6720"/>
                    </a:cubicBezTo>
                    <a:cubicBezTo>
                      <a:pt x="7195" y="6811"/>
                      <a:pt x="7195" y="6811"/>
                      <a:pt x="7195" y="6811"/>
                    </a:cubicBezTo>
                    <a:cubicBezTo>
                      <a:pt x="7290" y="6823"/>
                      <a:pt x="7290" y="6823"/>
                      <a:pt x="7290" y="6823"/>
                    </a:cubicBezTo>
                    <a:cubicBezTo>
                      <a:pt x="7299" y="6766"/>
                      <a:pt x="7299" y="6766"/>
                      <a:pt x="7299" y="6766"/>
                    </a:cubicBezTo>
                    <a:cubicBezTo>
                      <a:pt x="7371" y="6777"/>
                      <a:pt x="7371" y="6777"/>
                      <a:pt x="7371" y="6777"/>
                    </a:cubicBezTo>
                    <a:cubicBezTo>
                      <a:pt x="7384" y="6694"/>
                      <a:pt x="7384" y="6694"/>
                      <a:pt x="7384" y="6694"/>
                    </a:cubicBezTo>
                    <a:cubicBezTo>
                      <a:pt x="7226" y="6670"/>
                      <a:pt x="7226" y="6670"/>
                      <a:pt x="7226" y="6670"/>
                    </a:cubicBezTo>
                    <a:lnTo>
                      <a:pt x="7219" y="6722"/>
                    </a:lnTo>
                    <a:close/>
                    <a:moveTo>
                      <a:pt x="4727" y="2359"/>
                    </a:moveTo>
                    <a:cubicBezTo>
                      <a:pt x="4716" y="2106"/>
                      <a:pt x="4716" y="2106"/>
                      <a:pt x="4716" y="2106"/>
                    </a:cubicBezTo>
                    <a:cubicBezTo>
                      <a:pt x="4800" y="2102"/>
                      <a:pt x="4800" y="2102"/>
                      <a:pt x="4800" y="2102"/>
                    </a:cubicBezTo>
                    <a:cubicBezTo>
                      <a:pt x="4811" y="2362"/>
                      <a:pt x="4811" y="2362"/>
                      <a:pt x="4811" y="2362"/>
                    </a:cubicBezTo>
                    <a:cubicBezTo>
                      <a:pt x="4727" y="2365"/>
                      <a:pt x="4727" y="2365"/>
                      <a:pt x="4727" y="2365"/>
                    </a:cubicBezTo>
                    <a:lnTo>
                      <a:pt x="4727" y="2359"/>
                    </a:lnTo>
                    <a:close/>
                    <a:moveTo>
                      <a:pt x="4729" y="2118"/>
                    </a:moveTo>
                    <a:cubicBezTo>
                      <a:pt x="4740" y="2352"/>
                      <a:pt x="4740" y="2352"/>
                      <a:pt x="4740" y="2352"/>
                    </a:cubicBezTo>
                    <a:cubicBezTo>
                      <a:pt x="4798" y="2349"/>
                      <a:pt x="4798" y="2349"/>
                      <a:pt x="4798" y="2349"/>
                    </a:cubicBezTo>
                    <a:cubicBezTo>
                      <a:pt x="4787" y="2116"/>
                      <a:pt x="4787" y="2116"/>
                      <a:pt x="4787" y="2116"/>
                    </a:cubicBezTo>
                    <a:lnTo>
                      <a:pt x="4729" y="2118"/>
                    </a:lnTo>
                    <a:close/>
                    <a:moveTo>
                      <a:pt x="3979" y="2420"/>
                    </a:moveTo>
                    <a:cubicBezTo>
                      <a:pt x="3936" y="2460"/>
                      <a:pt x="3936" y="2460"/>
                      <a:pt x="3936" y="2460"/>
                    </a:cubicBezTo>
                    <a:cubicBezTo>
                      <a:pt x="3849" y="2346"/>
                      <a:pt x="3849" y="2346"/>
                      <a:pt x="3849" y="2346"/>
                    </a:cubicBezTo>
                    <a:cubicBezTo>
                      <a:pt x="3896" y="2309"/>
                      <a:pt x="3896" y="2309"/>
                      <a:pt x="3896" y="2309"/>
                    </a:cubicBezTo>
                    <a:cubicBezTo>
                      <a:pt x="3860" y="2262"/>
                      <a:pt x="3860" y="2262"/>
                      <a:pt x="3860" y="2262"/>
                    </a:cubicBezTo>
                    <a:cubicBezTo>
                      <a:pt x="3813" y="2299"/>
                      <a:pt x="3813" y="2299"/>
                      <a:pt x="3813" y="2299"/>
                    </a:cubicBezTo>
                    <a:cubicBezTo>
                      <a:pt x="3723" y="2180"/>
                      <a:pt x="3723" y="2180"/>
                      <a:pt x="3723" y="2180"/>
                    </a:cubicBezTo>
                    <a:cubicBezTo>
                      <a:pt x="3767" y="2152"/>
                      <a:pt x="3767" y="2152"/>
                      <a:pt x="3767" y="2152"/>
                    </a:cubicBezTo>
                    <a:cubicBezTo>
                      <a:pt x="3732" y="2103"/>
                      <a:pt x="3732" y="2103"/>
                      <a:pt x="3732" y="2103"/>
                    </a:cubicBezTo>
                    <a:cubicBezTo>
                      <a:pt x="3686" y="2133"/>
                      <a:pt x="3686" y="2133"/>
                      <a:pt x="3686" y="2133"/>
                    </a:cubicBezTo>
                    <a:cubicBezTo>
                      <a:pt x="3620" y="2038"/>
                      <a:pt x="3620" y="2038"/>
                      <a:pt x="3620" y="2038"/>
                    </a:cubicBezTo>
                    <a:cubicBezTo>
                      <a:pt x="3758" y="1983"/>
                      <a:pt x="3758" y="1983"/>
                      <a:pt x="3758" y="1983"/>
                    </a:cubicBezTo>
                    <a:cubicBezTo>
                      <a:pt x="3736" y="1930"/>
                      <a:pt x="3736" y="1930"/>
                      <a:pt x="3736" y="1930"/>
                    </a:cubicBezTo>
                    <a:cubicBezTo>
                      <a:pt x="4012" y="1855"/>
                      <a:pt x="4012" y="1855"/>
                      <a:pt x="4012" y="1855"/>
                    </a:cubicBezTo>
                    <a:cubicBezTo>
                      <a:pt x="4109" y="2075"/>
                      <a:pt x="4109" y="2075"/>
                      <a:pt x="4109" y="2075"/>
                    </a:cubicBezTo>
                    <a:cubicBezTo>
                      <a:pt x="4070" y="2092"/>
                      <a:pt x="4070" y="2092"/>
                      <a:pt x="4070" y="2092"/>
                    </a:cubicBezTo>
                    <a:cubicBezTo>
                      <a:pt x="4156" y="2276"/>
                      <a:pt x="4156" y="2276"/>
                      <a:pt x="4156" y="2276"/>
                    </a:cubicBezTo>
                    <a:cubicBezTo>
                      <a:pt x="4153" y="2280"/>
                      <a:pt x="4153" y="2280"/>
                      <a:pt x="4153" y="2280"/>
                    </a:cubicBezTo>
                    <a:cubicBezTo>
                      <a:pt x="4139" y="2298"/>
                      <a:pt x="4139" y="2298"/>
                      <a:pt x="4139" y="2298"/>
                    </a:cubicBezTo>
                    <a:cubicBezTo>
                      <a:pt x="4161" y="2328"/>
                      <a:pt x="4161" y="2328"/>
                      <a:pt x="4161" y="2328"/>
                    </a:cubicBezTo>
                    <a:cubicBezTo>
                      <a:pt x="3999" y="2446"/>
                      <a:pt x="3999" y="2446"/>
                      <a:pt x="3999" y="2446"/>
                    </a:cubicBezTo>
                    <a:lnTo>
                      <a:pt x="3979" y="2420"/>
                    </a:lnTo>
                    <a:close/>
                    <a:moveTo>
                      <a:pt x="3938" y="2438"/>
                    </a:moveTo>
                    <a:cubicBezTo>
                      <a:pt x="3981" y="2399"/>
                      <a:pt x="3981" y="2399"/>
                      <a:pt x="3981" y="2399"/>
                    </a:cubicBezTo>
                    <a:cubicBezTo>
                      <a:pt x="4002" y="2426"/>
                      <a:pt x="4002" y="2426"/>
                      <a:pt x="4002" y="2426"/>
                    </a:cubicBezTo>
                    <a:cubicBezTo>
                      <a:pt x="4140" y="2325"/>
                      <a:pt x="4140" y="2325"/>
                      <a:pt x="4140" y="2325"/>
                    </a:cubicBezTo>
                    <a:cubicBezTo>
                      <a:pt x="4120" y="2298"/>
                      <a:pt x="4120" y="2298"/>
                      <a:pt x="4120" y="2298"/>
                    </a:cubicBezTo>
                    <a:cubicBezTo>
                      <a:pt x="4138" y="2274"/>
                      <a:pt x="4138" y="2274"/>
                      <a:pt x="4138" y="2274"/>
                    </a:cubicBezTo>
                    <a:cubicBezTo>
                      <a:pt x="4050" y="2085"/>
                      <a:pt x="4050" y="2085"/>
                      <a:pt x="4050" y="2085"/>
                    </a:cubicBezTo>
                    <a:cubicBezTo>
                      <a:pt x="4090" y="2067"/>
                      <a:pt x="4090" y="2067"/>
                      <a:pt x="4090" y="2067"/>
                    </a:cubicBezTo>
                    <a:cubicBezTo>
                      <a:pt x="4004" y="1873"/>
                      <a:pt x="4004" y="1873"/>
                      <a:pt x="4004" y="1873"/>
                    </a:cubicBezTo>
                    <a:cubicBezTo>
                      <a:pt x="3756" y="1940"/>
                      <a:pt x="3756" y="1940"/>
                      <a:pt x="3756" y="1940"/>
                    </a:cubicBezTo>
                    <a:cubicBezTo>
                      <a:pt x="3778" y="1992"/>
                      <a:pt x="3778" y="1992"/>
                      <a:pt x="3778" y="1992"/>
                    </a:cubicBezTo>
                    <a:cubicBezTo>
                      <a:pt x="3643" y="2045"/>
                      <a:pt x="3643" y="2045"/>
                      <a:pt x="3643" y="2045"/>
                    </a:cubicBezTo>
                    <a:cubicBezTo>
                      <a:pt x="3690" y="2113"/>
                      <a:pt x="3690" y="2113"/>
                      <a:pt x="3690" y="2113"/>
                    </a:cubicBezTo>
                    <a:cubicBezTo>
                      <a:pt x="3736" y="2082"/>
                      <a:pt x="3736" y="2082"/>
                      <a:pt x="3736" y="2082"/>
                    </a:cubicBezTo>
                    <a:cubicBezTo>
                      <a:pt x="3787" y="2156"/>
                      <a:pt x="3787" y="2156"/>
                      <a:pt x="3787" y="2156"/>
                    </a:cubicBezTo>
                    <a:cubicBezTo>
                      <a:pt x="3745" y="2184"/>
                      <a:pt x="3745" y="2184"/>
                      <a:pt x="3745" y="2184"/>
                    </a:cubicBezTo>
                    <a:cubicBezTo>
                      <a:pt x="3816" y="2278"/>
                      <a:pt x="3816" y="2278"/>
                      <a:pt x="3816" y="2278"/>
                    </a:cubicBezTo>
                    <a:cubicBezTo>
                      <a:pt x="3863" y="2241"/>
                      <a:pt x="3863" y="2241"/>
                      <a:pt x="3863" y="2241"/>
                    </a:cubicBezTo>
                    <a:cubicBezTo>
                      <a:pt x="3916" y="2312"/>
                      <a:pt x="3916" y="2312"/>
                      <a:pt x="3916" y="2312"/>
                    </a:cubicBezTo>
                    <a:cubicBezTo>
                      <a:pt x="3870" y="2348"/>
                      <a:pt x="3870" y="2348"/>
                      <a:pt x="3870" y="2348"/>
                    </a:cubicBezTo>
                    <a:lnTo>
                      <a:pt x="3938" y="2438"/>
                    </a:lnTo>
                    <a:close/>
                    <a:moveTo>
                      <a:pt x="3660" y="2571"/>
                    </a:moveTo>
                    <a:cubicBezTo>
                      <a:pt x="3542" y="2623"/>
                      <a:pt x="3542" y="2623"/>
                      <a:pt x="3542" y="2623"/>
                    </a:cubicBezTo>
                    <a:cubicBezTo>
                      <a:pt x="3564" y="2308"/>
                      <a:pt x="3564" y="2308"/>
                      <a:pt x="3564" y="2308"/>
                    </a:cubicBezTo>
                    <a:cubicBezTo>
                      <a:pt x="3578" y="2306"/>
                      <a:pt x="3578" y="2306"/>
                      <a:pt x="3578" y="2306"/>
                    </a:cubicBezTo>
                    <a:cubicBezTo>
                      <a:pt x="3666" y="2568"/>
                      <a:pt x="3666" y="2568"/>
                      <a:pt x="3666" y="2568"/>
                    </a:cubicBezTo>
                    <a:lnTo>
                      <a:pt x="3660" y="2571"/>
                    </a:lnTo>
                    <a:close/>
                    <a:moveTo>
                      <a:pt x="3648" y="2560"/>
                    </a:moveTo>
                    <a:cubicBezTo>
                      <a:pt x="3576" y="2346"/>
                      <a:pt x="3576" y="2346"/>
                      <a:pt x="3576" y="2346"/>
                    </a:cubicBezTo>
                    <a:cubicBezTo>
                      <a:pt x="3558" y="2599"/>
                      <a:pt x="3558" y="2599"/>
                      <a:pt x="3558" y="2599"/>
                    </a:cubicBezTo>
                    <a:lnTo>
                      <a:pt x="3648" y="2560"/>
                    </a:lnTo>
                    <a:close/>
                    <a:moveTo>
                      <a:pt x="3878" y="2556"/>
                    </a:moveTo>
                    <a:cubicBezTo>
                      <a:pt x="3883" y="2563"/>
                      <a:pt x="3883" y="2563"/>
                      <a:pt x="3883" y="2563"/>
                    </a:cubicBezTo>
                    <a:cubicBezTo>
                      <a:pt x="3876" y="2567"/>
                      <a:pt x="3876" y="2567"/>
                      <a:pt x="3876" y="2567"/>
                    </a:cubicBezTo>
                    <a:cubicBezTo>
                      <a:pt x="3875" y="2567"/>
                      <a:pt x="3827" y="2596"/>
                      <a:pt x="3779" y="2626"/>
                    </a:cubicBezTo>
                    <a:cubicBezTo>
                      <a:pt x="3755" y="2641"/>
                      <a:pt x="3730" y="2656"/>
                      <a:pt x="3712" y="2667"/>
                    </a:cubicBezTo>
                    <a:cubicBezTo>
                      <a:pt x="3703" y="2673"/>
                      <a:pt x="3696" y="2678"/>
                      <a:pt x="3691" y="2681"/>
                    </a:cubicBezTo>
                    <a:cubicBezTo>
                      <a:pt x="3688" y="2682"/>
                      <a:pt x="3686" y="2684"/>
                      <a:pt x="3685" y="2685"/>
                    </a:cubicBezTo>
                    <a:cubicBezTo>
                      <a:pt x="3684" y="2688"/>
                      <a:pt x="3683" y="2690"/>
                      <a:pt x="3680" y="2694"/>
                    </a:cubicBezTo>
                    <a:cubicBezTo>
                      <a:pt x="3670" y="2714"/>
                      <a:pt x="3643" y="2756"/>
                      <a:pt x="3620" y="2795"/>
                    </a:cubicBezTo>
                    <a:cubicBezTo>
                      <a:pt x="3608" y="2814"/>
                      <a:pt x="3597" y="2833"/>
                      <a:pt x="3589" y="2846"/>
                    </a:cubicBezTo>
                    <a:cubicBezTo>
                      <a:pt x="3585" y="2853"/>
                      <a:pt x="3582" y="2859"/>
                      <a:pt x="3579" y="2863"/>
                    </a:cubicBezTo>
                    <a:cubicBezTo>
                      <a:pt x="3578" y="2865"/>
                      <a:pt x="3577" y="2867"/>
                      <a:pt x="3577" y="2868"/>
                    </a:cubicBezTo>
                    <a:cubicBezTo>
                      <a:pt x="3577" y="2869"/>
                      <a:pt x="3577" y="2870"/>
                      <a:pt x="3576" y="2871"/>
                    </a:cubicBezTo>
                    <a:cubicBezTo>
                      <a:pt x="3575" y="2874"/>
                      <a:pt x="3571" y="2875"/>
                      <a:pt x="3569" y="2875"/>
                    </a:cubicBezTo>
                    <a:cubicBezTo>
                      <a:pt x="3569" y="2875"/>
                      <a:pt x="3569" y="2875"/>
                      <a:pt x="3569" y="2875"/>
                    </a:cubicBezTo>
                    <a:cubicBezTo>
                      <a:pt x="3567" y="2875"/>
                      <a:pt x="3564" y="2873"/>
                      <a:pt x="3563" y="2871"/>
                    </a:cubicBezTo>
                    <a:cubicBezTo>
                      <a:pt x="3562" y="2870"/>
                      <a:pt x="3562" y="2869"/>
                      <a:pt x="3562" y="2868"/>
                    </a:cubicBezTo>
                    <a:cubicBezTo>
                      <a:pt x="3557" y="2857"/>
                      <a:pt x="3519" y="2790"/>
                      <a:pt x="3483" y="2727"/>
                    </a:cubicBezTo>
                    <a:cubicBezTo>
                      <a:pt x="3445" y="2660"/>
                      <a:pt x="3407" y="2595"/>
                      <a:pt x="3407" y="2595"/>
                    </a:cubicBezTo>
                    <a:cubicBezTo>
                      <a:pt x="3405" y="2593"/>
                      <a:pt x="3405" y="2593"/>
                      <a:pt x="3405" y="2593"/>
                    </a:cubicBezTo>
                    <a:cubicBezTo>
                      <a:pt x="3522" y="2098"/>
                      <a:pt x="3522" y="2098"/>
                      <a:pt x="3522" y="2098"/>
                    </a:cubicBezTo>
                    <a:cubicBezTo>
                      <a:pt x="3876" y="2554"/>
                      <a:pt x="3876" y="2554"/>
                      <a:pt x="3876" y="2554"/>
                    </a:cubicBezTo>
                    <a:lnTo>
                      <a:pt x="3878" y="2556"/>
                    </a:lnTo>
                    <a:close/>
                    <a:moveTo>
                      <a:pt x="3861" y="2559"/>
                    </a:moveTo>
                    <a:cubicBezTo>
                      <a:pt x="3529" y="2132"/>
                      <a:pt x="3529" y="2132"/>
                      <a:pt x="3529" y="2132"/>
                    </a:cubicBezTo>
                    <a:cubicBezTo>
                      <a:pt x="3421" y="2590"/>
                      <a:pt x="3421" y="2590"/>
                      <a:pt x="3421" y="2590"/>
                    </a:cubicBezTo>
                    <a:cubicBezTo>
                      <a:pt x="3429" y="2603"/>
                      <a:pt x="3463" y="2663"/>
                      <a:pt x="3498" y="2723"/>
                    </a:cubicBezTo>
                    <a:cubicBezTo>
                      <a:pt x="3517" y="2757"/>
                      <a:pt x="3537" y="2791"/>
                      <a:pt x="3552" y="2817"/>
                    </a:cubicBezTo>
                    <a:cubicBezTo>
                      <a:pt x="3559" y="2831"/>
                      <a:pt x="3565" y="2842"/>
                      <a:pt x="3569" y="2850"/>
                    </a:cubicBezTo>
                    <a:cubicBezTo>
                      <a:pt x="3569" y="2850"/>
                      <a:pt x="3569" y="2850"/>
                      <a:pt x="3570" y="2850"/>
                    </a:cubicBezTo>
                    <a:cubicBezTo>
                      <a:pt x="3581" y="2830"/>
                      <a:pt x="3606" y="2790"/>
                      <a:pt x="3628" y="2754"/>
                    </a:cubicBezTo>
                    <a:cubicBezTo>
                      <a:pt x="3639" y="2734"/>
                      <a:pt x="3651" y="2716"/>
                      <a:pt x="3659" y="2702"/>
                    </a:cubicBezTo>
                    <a:cubicBezTo>
                      <a:pt x="3663" y="2695"/>
                      <a:pt x="3666" y="2689"/>
                      <a:pt x="3668" y="2685"/>
                    </a:cubicBezTo>
                    <a:cubicBezTo>
                      <a:pt x="3669" y="2683"/>
                      <a:pt x="3670" y="2682"/>
                      <a:pt x="3671" y="2680"/>
                    </a:cubicBezTo>
                    <a:cubicBezTo>
                      <a:pt x="3671" y="2680"/>
                      <a:pt x="3671" y="2680"/>
                      <a:pt x="3671" y="2680"/>
                    </a:cubicBezTo>
                    <a:cubicBezTo>
                      <a:pt x="3672" y="2676"/>
                      <a:pt x="3673" y="2676"/>
                      <a:pt x="3673" y="2676"/>
                    </a:cubicBezTo>
                    <a:cubicBezTo>
                      <a:pt x="3677" y="2672"/>
                      <a:pt x="3688" y="2665"/>
                      <a:pt x="3707" y="2653"/>
                    </a:cubicBezTo>
                    <a:cubicBezTo>
                      <a:pt x="3754" y="2624"/>
                      <a:pt x="3836" y="2573"/>
                      <a:pt x="3861" y="2559"/>
                    </a:cubicBezTo>
                    <a:close/>
                    <a:moveTo>
                      <a:pt x="5568" y="1826"/>
                    </a:moveTo>
                    <a:cubicBezTo>
                      <a:pt x="5426" y="1801"/>
                      <a:pt x="5426" y="1801"/>
                      <a:pt x="5426" y="1801"/>
                    </a:cubicBezTo>
                    <a:cubicBezTo>
                      <a:pt x="5438" y="1731"/>
                      <a:pt x="5438" y="1731"/>
                      <a:pt x="5438" y="1731"/>
                    </a:cubicBezTo>
                    <a:cubicBezTo>
                      <a:pt x="5587" y="1757"/>
                      <a:pt x="5587" y="1757"/>
                      <a:pt x="5587" y="1757"/>
                    </a:cubicBezTo>
                    <a:cubicBezTo>
                      <a:pt x="5575" y="1827"/>
                      <a:pt x="5575" y="1827"/>
                      <a:pt x="5575" y="1827"/>
                    </a:cubicBezTo>
                    <a:lnTo>
                      <a:pt x="5568" y="1826"/>
                    </a:lnTo>
                    <a:close/>
                    <a:moveTo>
                      <a:pt x="5564" y="1813"/>
                    </a:moveTo>
                    <a:cubicBezTo>
                      <a:pt x="5572" y="1767"/>
                      <a:pt x="5572" y="1767"/>
                      <a:pt x="5572" y="1767"/>
                    </a:cubicBezTo>
                    <a:cubicBezTo>
                      <a:pt x="5449" y="1746"/>
                      <a:pt x="5449" y="1746"/>
                      <a:pt x="5449" y="1746"/>
                    </a:cubicBezTo>
                    <a:cubicBezTo>
                      <a:pt x="5441" y="1791"/>
                      <a:pt x="5441" y="1791"/>
                      <a:pt x="5441" y="1791"/>
                    </a:cubicBezTo>
                    <a:lnTo>
                      <a:pt x="5564" y="1813"/>
                    </a:lnTo>
                    <a:close/>
                    <a:moveTo>
                      <a:pt x="5854" y="6593"/>
                    </a:moveTo>
                    <a:cubicBezTo>
                      <a:pt x="5848" y="6593"/>
                      <a:pt x="5848" y="6593"/>
                      <a:pt x="5848" y="6593"/>
                    </a:cubicBezTo>
                    <a:cubicBezTo>
                      <a:pt x="5850" y="6496"/>
                      <a:pt x="5850" y="6496"/>
                      <a:pt x="5850" y="6496"/>
                    </a:cubicBezTo>
                    <a:cubicBezTo>
                      <a:pt x="5991" y="6500"/>
                      <a:pt x="5991" y="6500"/>
                      <a:pt x="5991" y="6500"/>
                    </a:cubicBezTo>
                    <a:cubicBezTo>
                      <a:pt x="5989" y="6573"/>
                      <a:pt x="5989" y="6573"/>
                      <a:pt x="5989" y="6573"/>
                    </a:cubicBezTo>
                    <a:cubicBezTo>
                      <a:pt x="6065" y="6574"/>
                      <a:pt x="6065" y="6574"/>
                      <a:pt x="6065" y="6574"/>
                    </a:cubicBezTo>
                    <a:cubicBezTo>
                      <a:pt x="6063" y="6650"/>
                      <a:pt x="6063" y="6650"/>
                      <a:pt x="6063" y="6650"/>
                    </a:cubicBezTo>
                    <a:cubicBezTo>
                      <a:pt x="6057" y="6650"/>
                      <a:pt x="6057" y="6650"/>
                      <a:pt x="6057" y="6650"/>
                    </a:cubicBezTo>
                    <a:cubicBezTo>
                      <a:pt x="5865" y="6643"/>
                      <a:pt x="5865" y="6643"/>
                      <a:pt x="5865" y="6643"/>
                    </a:cubicBezTo>
                    <a:cubicBezTo>
                      <a:pt x="5866" y="6593"/>
                      <a:pt x="5866" y="6593"/>
                      <a:pt x="5866" y="6593"/>
                    </a:cubicBezTo>
                    <a:lnTo>
                      <a:pt x="5854" y="6593"/>
                    </a:lnTo>
                    <a:close/>
                    <a:moveTo>
                      <a:pt x="5861" y="6580"/>
                    </a:moveTo>
                    <a:cubicBezTo>
                      <a:pt x="5873" y="6580"/>
                      <a:pt x="5873" y="6580"/>
                      <a:pt x="5873" y="6580"/>
                    </a:cubicBezTo>
                    <a:cubicBezTo>
                      <a:pt x="5879" y="6581"/>
                      <a:pt x="5879" y="6581"/>
                      <a:pt x="5879" y="6581"/>
                    </a:cubicBezTo>
                    <a:cubicBezTo>
                      <a:pt x="5878" y="6630"/>
                      <a:pt x="5878" y="6630"/>
                      <a:pt x="5878" y="6630"/>
                    </a:cubicBezTo>
                    <a:cubicBezTo>
                      <a:pt x="6050" y="6637"/>
                      <a:pt x="6050" y="6637"/>
                      <a:pt x="6050" y="6637"/>
                    </a:cubicBezTo>
                    <a:cubicBezTo>
                      <a:pt x="6052" y="6587"/>
                      <a:pt x="6052" y="6587"/>
                      <a:pt x="6052" y="6587"/>
                    </a:cubicBezTo>
                    <a:cubicBezTo>
                      <a:pt x="5976" y="6586"/>
                      <a:pt x="5976" y="6586"/>
                      <a:pt x="5976" y="6586"/>
                    </a:cubicBezTo>
                    <a:cubicBezTo>
                      <a:pt x="5978" y="6512"/>
                      <a:pt x="5978" y="6512"/>
                      <a:pt x="5978" y="6512"/>
                    </a:cubicBezTo>
                    <a:cubicBezTo>
                      <a:pt x="5863" y="6510"/>
                      <a:pt x="5863" y="6510"/>
                      <a:pt x="5863" y="6510"/>
                    </a:cubicBezTo>
                    <a:lnTo>
                      <a:pt x="5861" y="6580"/>
                    </a:lnTo>
                    <a:close/>
                    <a:moveTo>
                      <a:pt x="7749" y="2049"/>
                    </a:moveTo>
                    <a:cubicBezTo>
                      <a:pt x="7801" y="2103"/>
                      <a:pt x="7801" y="2103"/>
                      <a:pt x="7801" y="2103"/>
                    </a:cubicBezTo>
                    <a:cubicBezTo>
                      <a:pt x="7747" y="2156"/>
                      <a:pt x="7747" y="2156"/>
                      <a:pt x="7747" y="2156"/>
                    </a:cubicBezTo>
                    <a:cubicBezTo>
                      <a:pt x="7742" y="2151"/>
                      <a:pt x="7742" y="2151"/>
                      <a:pt x="7742" y="2151"/>
                    </a:cubicBezTo>
                    <a:cubicBezTo>
                      <a:pt x="7611" y="2012"/>
                      <a:pt x="7611" y="2012"/>
                      <a:pt x="7611" y="2012"/>
                    </a:cubicBezTo>
                    <a:cubicBezTo>
                      <a:pt x="7646" y="1977"/>
                      <a:pt x="7646" y="1977"/>
                      <a:pt x="7646" y="1977"/>
                    </a:cubicBezTo>
                    <a:cubicBezTo>
                      <a:pt x="7638" y="1969"/>
                      <a:pt x="7638" y="1969"/>
                      <a:pt x="7638" y="1969"/>
                    </a:cubicBezTo>
                    <a:cubicBezTo>
                      <a:pt x="7633" y="1964"/>
                      <a:pt x="7633" y="1964"/>
                      <a:pt x="7633" y="1964"/>
                    </a:cubicBezTo>
                    <a:cubicBezTo>
                      <a:pt x="7703" y="1897"/>
                      <a:pt x="7703" y="1897"/>
                      <a:pt x="7703" y="1897"/>
                    </a:cubicBezTo>
                    <a:cubicBezTo>
                      <a:pt x="7801" y="1998"/>
                      <a:pt x="7801" y="1998"/>
                      <a:pt x="7801" y="1998"/>
                    </a:cubicBezTo>
                    <a:lnTo>
                      <a:pt x="7749" y="2049"/>
                    </a:lnTo>
                    <a:close/>
                    <a:moveTo>
                      <a:pt x="7730" y="2049"/>
                    </a:moveTo>
                    <a:cubicBezTo>
                      <a:pt x="7782" y="1998"/>
                      <a:pt x="7782" y="1998"/>
                      <a:pt x="7782" y="1998"/>
                    </a:cubicBezTo>
                    <a:cubicBezTo>
                      <a:pt x="7702" y="1915"/>
                      <a:pt x="7702" y="1915"/>
                      <a:pt x="7702" y="1915"/>
                    </a:cubicBezTo>
                    <a:cubicBezTo>
                      <a:pt x="7652" y="1965"/>
                      <a:pt x="7652" y="1965"/>
                      <a:pt x="7652" y="1965"/>
                    </a:cubicBezTo>
                    <a:cubicBezTo>
                      <a:pt x="7660" y="1973"/>
                      <a:pt x="7660" y="1973"/>
                      <a:pt x="7660" y="1973"/>
                    </a:cubicBezTo>
                    <a:cubicBezTo>
                      <a:pt x="7665" y="1978"/>
                      <a:pt x="7665" y="1978"/>
                      <a:pt x="7665" y="1978"/>
                    </a:cubicBezTo>
                    <a:cubicBezTo>
                      <a:pt x="7629" y="2012"/>
                      <a:pt x="7629" y="2012"/>
                      <a:pt x="7629" y="2012"/>
                    </a:cubicBezTo>
                    <a:cubicBezTo>
                      <a:pt x="7747" y="2137"/>
                      <a:pt x="7747" y="2137"/>
                      <a:pt x="7747" y="2137"/>
                    </a:cubicBezTo>
                    <a:cubicBezTo>
                      <a:pt x="7783" y="2103"/>
                      <a:pt x="7783" y="2103"/>
                      <a:pt x="7783" y="2103"/>
                    </a:cubicBezTo>
                    <a:lnTo>
                      <a:pt x="7730" y="2049"/>
                    </a:lnTo>
                    <a:close/>
                    <a:moveTo>
                      <a:pt x="6281" y="6440"/>
                    </a:moveTo>
                    <a:cubicBezTo>
                      <a:pt x="6165" y="6435"/>
                      <a:pt x="6165" y="6435"/>
                      <a:pt x="6165" y="6435"/>
                    </a:cubicBezTo>
                    <a:cubicBezTo>
                      <a:pt x="6173" y="6318"/>
                      <a:pt x="6173" y="6318"/>
                      <a:pt x="6173" y="6318"/>
                    </a:cubicBezTo>
                    <a:cubicBezTo>
                      <a:pt x="6183" y="6318"/>
                      <a:pt x="6183" y="6318"/>
                      <a:pt x="6183" y="6318"/>
                    </a:cubicBezTo>
                    <a:cubicBezTo>
                      <a:pt x="6187" y="6266"/>
                      <a:pt x="6187" y="6266"/>
                      <a:pt x="6187" y="6266"/>
                    </a:cubicBezTo>
                    <a:cubicBezTo>
                      <a:pt x="6372" y="6279"/>
                      <a:pt x="6372" y="6279"/>
                      <a:pt x="6372" y="6279"/>
                    </a:cubicBezTo>
                    <a:cubicBezTo>
                      <a:pt x="6364" y="6388"/>
                      <a:pt x="6364" y="6388"/>
                      <a:pt x="6364" y="6388"/>
                    </a:cubicBezTo>
                    <a:cubicBezTo>
                      <a:pt x="6292" y="6383"/>
                      <a:pt x="6292" y="6383"/>
                      <a:pt x="6292" y="6383"/>
                    </a:cubicBezTo>
                    <a:cubicBezTo>
                      <a:pt x="6288" y="6440"/>
                      <a:pt x="6288" y="6440"/>
                      <a:pt x="6288" y="6440"/>
                    </a:cubicBezTo>
                    <a:lnTo>
                      <a:pt x="6281" y="6440"/>
                    </a:lnTo>
                    <a:close/>
                    <a:moveTo>
                      <a:pt x="6279" y="6369"/>
                    </a:moveTo>
                    <a:cubicBezTo>
                      <a:pt x="6352" y="6374"/>
                      <a:pt x="6352" y="6374"/>
                      <a:pt x="6352" y="6374"/>
                    </a:cubicBezTo>
                    <a:cubicBezTo>
                      <a:pt x="6358" y="6291"/>
                      <a:pt x="6358" y="6291"/>
                      <a:pt x="6358" y="6291"/>
                    </a:cubicBezTo>
                    <a:cubicBezTo>
                      <a:pt x="6199" y="6280"/>
                      <a:pt x="6199" y="6280"/>
                      <a:pt x="6199" y="6280"/>
                    </a:cubicBezTo>
                    <a:cubicBezTo>
                      <a:pt x="6196" y="6332"/>
                      <a:pt x="6196" y="6332"/>
                      <a:pt x="6196" y="6332"/>
                    </a:cubicBezTo>
                    <a:cubicBezTo>
                      <a:pt x="6185" y="6332"/>
                      <a:pt x="6185" y="6332"/>
                      <a:pt x="6185" y="6332"/>
                    </a:cubicBezTo>
                    <a:cubicBezTo>
                      <a:pt x="6179" y="6422"/>
                      <a:pt x="6179" y="6422"/>
                      <a:pt x="6179" y="6422"/>
                    </a:cubicBezTo>
                    <a:cubicBezTo>
                      <a:pt x="6275" y="6427"/>
                      <a:pt x="6275" y="6427"/>
                      <a:pt x="6275" y="6427"/>
                    </a:cubicBezTo>
                    <a:lnTo>
                      <a:pt x="6279" y="6369"/>
                    </a:lnTo>
                    <a:close/>
                    <a:moveTo>
                      <a:pt x="7606" y="2303"/>
                    </a:moveTo>
                    <a:cubicBezTo>
                      <a:pt x="7659" y="2357"/>
                      <a:pt x="7659" y="2357"/>
                      <a:pt x="7659" y="2357"/>
                    </a:cubicBezTo>
                    <a:cubicBezTo>
                      <a:pt x="7605" y="2410"/>
                      <a:pt x="7605" y="2410"/>
                      <a:pt x="7605" y="2410"/>
                    </a:cubicBezTo>
                    <a:cubicBezTo>
                      <a:pt x="7600" y="2406"/>
                      <a:pt x="7600" y="2406"/>
                      <a:pt x="7600" y="2406"/>
                    </a:cubicBezTo>
                    <a:cubicBezTo>
                      <a:pt x="7468" y="2266"/>
                      <a:pt x="7468" y="2266"/>
                      <a:pt x="7468" y="2266"/>
                    </a:cubicBezTo>
                    <a:cubicBezTo>
                      <a:pt x="7504" y="2232"/>
                      <a:pt x="7504" y="2232"/>
                      <a:pt x="7504" y="2232"/>
                    </a:cubicBezTo>
                    <a:cubicBezTo>
                      <a:pt x="7496" y="2223"/>
                      <a:pt x="7496" y="2223"/>
                      <a:pt x="7496" y="2223"/>
                    </a:cubicBezTo>
                    <a:cubicBezTo>
                      <a:pt x="7491" y="2218"/>
                      <a:pt x="7491" y="2218"/>
                      <a:pt x="7491" y="2218"/>
                    </a:cubicBezTo>
                    <a:cubicBezTo>
                      <a:pt x="7561" y="2151"/>
                      <a:pt x="7561" y="2151"/>
                      <a:pt x="7561" y="2151"/>
                    </a:cubicBezTo>
                    <a:cubicBezTo>
                      <a:pt x="7659" y="2252"/>
                      <a:pt x="7659" y="2252"/>
                      <a:pt x="7659" y="2252"/>
                    </a:cubicBezTo>
                    <a:lnTo>
                      <a:pt x="7606" y="2303"/>
                    </a:lnTo>
                    <a:close/>
                    <a:moveTo>
                      <a:pt x="7588" y="2303"/>
                    </a:moveTo>
                    <a:cubicBezTo>
                      <a:pt x="7640" y="2252"/>
                      <a:pt x="7640" y="2252"/>
                      <a:pt x="7640" y="2252"/>
                    </a:cubicBezTo>
                    <a:cubicBezTo>
                      <a:pt x="7560" y="2170"/>
                      <a:pt x="7560" y="2170"/>
                      <a:pt x="7560" y="2170"/>
                    </a:cubicBezTo>
                    <a:cubicBezTo>
                      <a:pt x="7510" y="2219"/>
                      <a:pt x="7510" y="2219"/>
                      <a:pt x="7510" y="2219"/>
                    </a:cubicBezTo>
                    <a:cubicBezTo>
                      <a:pt x="7518" y="2227"/>
                      <a:pt x="7518" y="2227"/>
                      <a:pt x="7518" y="2227"/>
                    </a:cubicBezTo>
                    <a:cubicBezTo>
                      <a:pt x="7523" y="2232"/>
                      <a:pt x="7523" y="2232"/>
                      <a:pt x="7523" y="2232"/>
                    </a:cubicBezTo>
                    <a:cubicBezTo>
                      <a:pt x="7487" y="2266"/>
                      <a:pt x="7487" y="2266"/>
                      <a:pt x="7487" y="2266"/>
                    </a:cubicBezTo>
                    <a:cubicBezTo>
                      <a:pt x="7605" y="2392"/>
                      <a:pt x="7605" y="2392"/>
                      <a:pt x="7605" y="2392"/>
                    </a:cubicBezTo>
                    <a:cubicBezTo>
                      <a:pt x="7641" y="2357"/>
                      <a:pt x="7641" y="2357"/>
                      <a:pt x="7641" y="2357"/>
                    </a:cubicBezTo>
                    <a:lnTo>
                      <a:pt x="7588" y="2303"/>
                    </a:lnTo>
                    <a:close/>
                    <a:moveTo>
                      <a:pt x="7004" y="5052"/>
                    </a:moveTo>
                    <a:cubicBezTo>
                      <a:pt x="6916" y="5172"/>
                      <a:pt x="6916" y="5172"/>
                      <a:pt x="6916" y="5172"/>
                    </a:cubicBezTo>
                    <a:cubicBezTo>
                      <a:pt x="6855" y="5127"/>
                      <a:pt x="6855" y="5127"/>
                      <a:pt x="6855" y="5127"/>
                    </a:cubicBezTo>
                    <a:cubicBezTo>
                      <a:pt x="6814" y="5184"/>
                      <a:pt x="6814" y="5184"/>
                      <a:pt x="6814" y="5184"/>
                    </a:cubicBezTo>
                    <a:cubicBezTo>
                      <a:pt x="6752" y="5139"/>
                      <a:pt x="6752" y="5139"/>
                      <a:pt x="6752" y="5139"/>
                    </a:cubicBezTo>
                    <a:cubicBezTo>
                      <a:pt x="6864" y="4986"/>
                      <a:pt x="6864" y="4986"/>
                      <a:pt x="6864" y="4986"/>
                    </a:cubicBezTo>
                    <a:cubicBezTo>
                      <a:pt x="6852" y="4977"/>
                      <a:pt x="6852" y="4977"/>
                      <a:pt x="6852" y="4977"/>
                    </a:cubicBezTo>
                    <a:cubicBezTo>
                      <a:pt x="6801" y="5047"/>
                      <a:pt x="6801" y="5047"/>
                      <a:pt x="6801" y="5047"/>
                    </a:cubicBezTo>
                    <a:cubicBezTo>
                      <a:pt x="6737" y="5001"/>
                      <a:pt x="6737" y="5001"/>
                      <a:pt x="6737" y="5001"/>
                    </a:cubicBezTo>
                    <a:cubicBezTo>
                      <a:pt x="6862" y="4830"/>
                      <a:pt x="6862" y="4830"/>
                      <a:pt x="6862" y="4830"/>
                    </a:cubicBezTo>
                    <a:cubicBezTo>
                      <a:pt x="6906" y="4863"/>
                      <a:pt x="6906" y="4863"/>
                      <a:pt x="6906" y="4863"/>
                    </a:cubicBezTo>
                    <a:cubicBezTo>
                      <a:pt x="6910" y="4857"/>
                      <a:pt x="6910" y="4857"/>
                      <a:pt x="6910" y="4857"/>
                    </a:cubicBezTo>
                    <a:cubicBezTo>
                      <a:pt x="6914" y="4852"/>
                      <a:pt x="6914" y="4852"/>
                      <a:pt x="6914" y="4852"/>
                    </a:cubicBezTo>
                    <a:cubicBezTo>
                      <a:pt x="6994" y="4910"/>
                      <a:pt x="6994" y="4910"/>
                      <a:pt x="6994" y="4910"/>
                    </a:cubicBezTo>
                    <a:cubicBezTo>
                      <a:pt x="6990" y="4916"/>
                      <a:pt x="6990" y="4916"/>
                      <a:pt x="6990" y="4916"/>
                    </a:cubicBezTo>
                    <a:cubicBezTo>
                      <a:pt x="6930" y="4998"/>
                      <a:pt x="6930" y="4998"/>
                      <a:pt x="6930" y="4998"/>
                    </a:cubicBezTo>
                    <a:lnTo>
                      <a:pt x="7004" y="5052"/>
                    </a:lnTo>
                    <a:close/>
                    <a:moveTo>
                      <a:pt x="6985" y="5055"/>
                    </a:moveTo>
                    <a:cubicBezTo>
                      <a:pt x="6912" y="5001"/>
                      <a:pt x="6912" y="5001"/>
                      <a:pt x="6912" y="5001"/>
                    </a:cubicBezTo>
                    <a:cubicBezTo>
                      <a:pt x="6976" y="4913"/>
                      <a:pt x="6976" y="4913"/>
                      <a:pt x="6976" y="4913"/>
                    </a:cubicBezTo>
                    <a:cubicBezTo>
                      <a:pt x="6917" y="4870"/>
                      <a:pt x="6917" y="4870"/>
                      <a:pt x="6917" y="4870"/>
                    </a:cubicBezTo>
                    <a:cubicBezTo>
                      <a:pt x="6913" y="4876"/>
                      <a:pt x="6913" y="4876"/>
                      <a:pt x="6913" y="4876"/>
                    </a:cubicBezTo>
                    <a:cubicBezTo>
                      <a:pt x="6909" y="4881"/>
                      <a:pt x="6909" y="4881"/>
                      <a:pt x="6909" y="4881"/>
                    </a:cubicBezTo>
                    <a:cubicBezTo>
                      <a:pt x="6865" y="4849"/>
                      <a:pt x="6865" y="4849"/>
                      <a:pt x="6865" y="4849"/>
                    </a:cubicBezTo>
                    <a:cubicBezTo>
                      <a:pt x="6756" y="4998"/>
                      <a:pt x="6756" y="4998"/>
                      <a:pt x="6756" y="4998"/>
                    </a:cubicBezTo>
                    <a:cubicBezTo>
                      <a:pt x="6798" y="5029"/>
                      <a:pt x="6798" y="5029"/>
                      <a:pt x="6798" y="5029"/>
                    </a:cubicBezTo>
                    <a:cubicBezTo>
                      <a:pt x="6849" y="4959"/>
                      <a:pt x="6849" y="4959"/>
                      <a:pt x="6849" y="4959"/>
                    </a:cubicBezTo>
                    <a:cubicBezTo>
                      <a:pt x="6883" y="4983"/>
                      <a:pt x="6883" y="4983"/>
                      <a:pt x="6883" y="4983"/>
                    </a:cubicBezTo>
                    <a:cubicBezTo>
                      <a:pt x="6771" y="5137"/>
                      <a:pt x="6771" y="5137"/>
                      <a:pt x="6771" y="5137"/>
                    </a:cubicBezTo>
                    <a:cubicBezTo>
                      <a:pt x="6811" y="5166"/>
                      <a:pt x="6811" y="5166"/>
                      <a:pt x="6811" y="5166"/>
                    </a:cubicBezTo>
                    <a:cubicBezTo>
                      <a:pt x="6852" y="5109"/>
                      <a:pt x="6852" y="5109"/>
                      <a:pt x="6852" y="5109"/>
                    </a:cubicBezTo>
                    <a:cubicBezTo>
                      <a:pt x="6914" y="5153"/>
                      <a:pt x="6914" y="5153"/>
                      <a:pt x="6914" y="5153"/>
                    </a:cubicBezTo>
                    <a:lnTo>
                      <a:pt x="6985" y="5055"/>
                    </a:lnTo>
                    <a:close/>
                    <a:moveTo>
                      <a:pt x="6259" y="7307"/>
                    </a:moveTo>
                    <a:cubicBezTo>
                      <a:pt x="6149" y="7297"/>
                      <a:pt x="6149" y="7297"/>
                      <a:pt x="6149" y="7297"/>
                    </a:cubicBezTo>
                    <a:cubicBezTo>
                      <a:pt x="6167" y="7112"/>
                      <a:pt x="6167" y="7112"/>
                      <a:pt x="6167" y="7112"/>
                    </a:cubicBezTo>
                    <a:cubicBezTo>
                      <a:pt x="6219" y="7117"/>
                      <a:pt x="6219" y="7117"/>
                      <a:pt x="6219" y="7117"/>
                    </a:cubicBezTo>
                    <a:cubicBezTo>
                      <a:pt x="6219" y="7113"/>
                      <a:pt x="6219" y="7113"/>
                      <a:pt x="6219" y="7113"/>
                    </a:cubicBezTo>
                    <a:cubicBezTo>
                      <a:pt x="6220" y="7106"/>
                      <a:pt x="6220" y="7106"/>
                      <a:pt x="6220" y="7106"/>
                    </a:cubicBezTo>
                    <a:cubicBezTo>
                      <a:pt x="6337" y="7117"/>
                      <a:pt x="6337" y="7117"/>
                      <a:pt x="6337" y="7117"/>
                    </a:cubicBezTo>
                    <a:cubicBezTo>
                      <a:pt x="6323" y="7239"/>
                      <a:pt x="6323" y="7239"/>
                      <a:pt x="6323" y="7239"/>
                    </a:cubicBezTo>
                    <a:cubicBezTo>
                      <a:pt x="6316" y="7239"/>
                      <a:pt x="6316" y="7239"/>
                      <a:pt x="6316" y="7239"/>
                    </a:cubicBezTo>
                    <a:cubicBezTo>
                      <a:pt x="6266" y="7234"/>
                      <a:pt x="6266" y="7234"/>
                      <a:pt x="6266" y="7234"/>
                    </a:cubicBezTo>
                    <a:lnTo>
                      <a:pt x="6259" y="7307"/>
                    </a:lnTo>
                    <a:close/>
                    <a:moveTo>
                      <a:pt x="6254" y="7220"/>
                    </a:moveTo>
                    <a:cubicBezTo>
                      <a:pt x="6311" y="7225"/>
                      <a:pt x="6311" y="7225"/>
                      <a:pt x="6311" y="7225"/>
                    </a:cubicBezTo>
                    <a:cubicBezTo>
                      <a:pt x="6322" y="7129"/>
                      <a:pt x="6322" y="7129"/>
                      <a:pt x="6322" y="7129"/>
                    </a:cubicBezTo>
                    <a:cubicBezTo>
                      <a:pt x="6232" y="7121"/>
                      <a:pt x="6232" y="7121"/>
                      <a:pt x="6232" y="7121"/>
                    </a:cubicBezTo>
                    <a:cubicBezTo>
                      <a:pt x="6231" y="7125"/>
                      <a:pt x="6231" y="7125"/>
                      <a:pt x="6231" y="7125"/>
                    </a:cubicBezTo>
                    <a:cubicBezTo>
                      <a:pt x="6231" y="7131"/>
                      <a:pt x="6231" y="7131"/>
                      <a:pt x="6231" y="7131"/>
                    </a:cubicBezTo>
                    <a:cubicBezTo>
                      <a:pt x="6179" y="7126"/>
                      <a:pt x="6179" y="7126"/>
                      <a:pt x="6179" y="7126"/>
                    </a:cubicBezTo>
                    <a:cubicBezTo>
                      <a:pt x="6164" y="7285"/>
                      <a:pt x="6164" y="7285"/>
                      <a:pt x="6164" y="7285"/>
                    </a:cubicBezTo>
                    <a:cubicBezTo>
                      <a:pt x="6247" y="7293"/>
                      <a:pt x="6247" y="7293"/>
                      <a:pt x="6247" y="7293"/>
                    </a:cubicBezTo>
                    <a:lnTo>
                      <a:pt x="6254" y="7220"/>
                    </a:lnTo>
                    <a:close/>
                    <a:moveTo>
                      <a:pt x="7111" y="4029"/>
                    </a:moveTo>
                    <a:cubicBezTo>
                      <a:pt x="6910" y="3966"/>
                      <a:pt x="6910" y="3966"/>
                      <a:pt x="6910" y="3966"/>
                    </a:cubicBezTo>
                    <a:cubicBezTo>
                      <a:pt x="6912" y="3959"/>
                      <a:pt x="6912" y="3959"/>
                      <a:pt x="6912" y="3959"/>
                    </a:cubicBezTo>
                    <a:cubicBezTo>
                      <a:pt x="6936" y="3883"/>
                      <a:pt x="6936" y="3883"/>
                      <a:pt x="6936" y="3883"/>
                    </a:cubicBezTo>
                    <a:cubicBezTo>
                      <a:pt x="6981" y="3897"/>
                      <a:pt x="6981" y="3897"/>
                      <a:pt x="6981" y="3897"/>
                    </a:cubicBezTo>
                    <a:cubicBezTo>
                      <a:pt x="6994" y="3856"/>
                      <a:pt x="6994" y="3856"/>
                      <a:pt x="6994" y="3856"/>
                    </a:cubicBezTo>
                    <a:cubicBezTo>
                      <a:pt x="7105" y="3891"/>
                      <a:pt x="7105" y="3891"/>
                      <a:pt x="7105" y="3891"/>
                    </a:cubicBezTo>
                    <a:cubicBezTo>
                      <a:pt x="7092" y="3933"/>
                      <a:pt x="7092" y="3933"/>
                      <a:pt x="7092" y="3933"/>
                    </a:cubicBezTo>
                    <a:cubicBezTo>
                      <a:pt x="7137" y="3947"/>
                      <a:pt x="7137" y="3947"/>
                      <a:pt x="7137" y="3947"/>
                    </a:cubicBezTo>
                    <a:lnTo>
                      <a:pt x="7111" y="4029"/>
                    </a:lnTo>
                    <a:close/>
                    <a:moveTo>
                      <a:pt x="7102" y="4012"/>
                    </a:moveTo>
                    <a:cubicBezTo>
                      <a:pt x="7120" y="3955"/>
                      <a:pt x="7120" y="3955"/>
                      <a:pt x="7120" y="3955"/>
                    </a:cubicBezTo>
                    <a:cubicBezTo>
                      <a:pt x="7076" y="3941"/>
                      <a:pt x="7076" y="3941"/>
                      <a:pt x="7076" y="3941"/>
                    </a:cubicBezTo>
                    <a:cubicBezTo>
                      <a:pt x="7088" y="3900"/>
                      <a:pt x="7088" y="3900"/>
                      <a:pt x="7088" y="3900"/>
                    </a:cubicBezTo>
                    <a:cubicBezTo>
                      <a:pt x="7002" y="3873"/>
                      <a:pt x="7002" y="3873"/>
                      <a:pt x="7002" y="3873"/>
                    </a:cubicBezTo>
                    <a:cubicBezTo>
                      <a:pt x="6989" y="3914"/>
                      <a:pt x="6989" y="3914"/>
                      <a:pt x="6989" y="3914"/>
                    </a:cubicBezTo>
                    <a:cubicBezTo>
                      <a:pt x="6945" y="3900"/>
                      <a:pt x="6945" y="3900"/>
                      <a:pt x="6945" y="3900"/>
                    </a:cubicBezTo>
                    <a:cubicBezTo>
                      <a:pt x="6926" y="3957"/>
                      <a:pt x="6926" y="3957"/>
                      <a:pt x="6926" y="3957"/>
                    </a:cubicBezTo>
                    <a:lnTo>
                      <a:pt x="7102" y="4012"/>
                    </a:lnTo>
                    <a:close/>
                    <a:moveTo>
                      <a:pt x="6698" y="5948"/>
                    </a:moveTo>
                    <a:cubicBezTo>
                      <a:pt x="6773" y="5953"/>
                      <a:pt x="6773" y="5953"/>
                      <a:pt x="6773" y="5953"/>
                    </a:cubicBezTo>
                    <a:cubicBezTo>
                      <a:pt x="6769" y="6029"/>
                      <a:pt x="6769" y="6029"/>
                      <a:pt x="6769" y="6029"/>
                    </a:cubicBezTo>
                    <a:cubicBezTo>
                      <a:pt x="6762" y="6028"/>
                      <a:pt x="6762" y="6028"/>
                      <a:pt x="6762" y="6028"/>
                    </a:cubicBezTo>
                    <a:cubicBezTo>
                      <a:pt x="6571" y="6014"/>
                      <a:pt x="6571" y="6014"/>
                      <a:pt x="6571" y="6014"/>
                    </a:cubicBezTo>
                    <a:cubicBezTo>
                      <a:pt x="6574" y="5964"/>
                      <a:pt x="6574" y="5964"/>
                      <a:pt x="6574" y="5964"/>
                    </a:cubicBezTo>
                    <a:cubicBezTo>
                      <a:pt x="6562" y="5964"/>
                      <a:pt x="6562" y="5964"/>
                      <a:pt x="6562" y="5964"/>
                    </a:cubicBezTo>
                    <a:cubicBezTo>
                      <a:pt x="6556" y="5963"/>
                      <a:pt x="6556" y="5963"/>
                      <a:pt x="6556" y="5963"/>
                    </a:cubicBezTo>
                    <a:cubicBezTo>
                      <a:pt x="6562" y="5867"/>
                      <a:pt x="6562" y="5867"/>
                      <a:pt x="6562" y="5867"/>
                    </a:cubicBezTo>
                    <a:cubicBezTo>
                      <a:pt x="6702" y="5875"/>
                      <a:pt x="6702" y="5875"/>
                      <a:pt x="6702" y="5875"/>
                    </a:cubicBezTo>
                    <a:lnTo>
                      <a:pt x="6698" y="5948"/>
                    </a:lnTo>
                    <a:close/>
                    <a:moveTo>
                      <a:pt x="6684" y="5961"/>
                    </a:moveTo>
                    <a:cubicBezTo>
                      <a:pt x="6689" y="5888"/>
                      <a:pt x="6689" y="5888"/>
                      <a:pt x="6689" y="5888"/>
                    </a:cubicBezTo>
                    <a:cubicBezTo>
                      <a:pt x="6574" y="5881"/>
                      <a:pt x="6574" y="5881"/>
                      <a:pt x="6574" y="5881"/>
                    </a:cubicBezTo>
                    <a:cubicBezTo>
                      <a:pt x="6570" y="5951"/>
                      <a:pt x="6570" y="5951"/>
                      <a:pt x="6570" y="5951"/>
                    </a:cubicBezTo>
                    <a:cubicBezTo>
                      <a:pt x="6581" y="5952"/>
                      <a:pt x="6581" y="5952"/>
                      <a:pt x="6581" y="5952"/>
                    </a:cubicBezTo>
                    <a:cubicBezTo>
                      <a:pt x="6588" y="5952"/>
                      <a:pt x="6588" y="5952"/>
                      <a:pt x="6588" y="5952"/>
                    </a:cubicBezTo>
                    <a:cubicBezTo>
                      <a:pt x="6585" y="6002"/>
                      <a:pt x="6585" y="6002"/>
                      <a:pt x="6585" y="6002"/>
                    </a:cubicBezTo>
                    <a:cubicBezTo>
                      <a:pt x="6757" y="6015"/>
                      <a:pt x="6757" y="6015"/>
                      <a:pt x="6757" y="6015"/>
                    </a:cubicBezTo>
                    <a:cubicBezTo>
                      <a:pt x="6760" y="5965"/>
                      <a:pt x="6760" y="5965"/>
                      <a:pt x="6760" y="5965"/>
                    </a:cubicBezTo>
                    <a:lnTo>
                      <a:pt x="6684" y="5961"/>
                    </a:lnTo>
                    <a:close/>
                    <a:moveTo>
                      <a:pt x="6293" y="6812"/>
                    </a:moveTo>
                    <a:cubicBezTo>
                      <a:pt x="6477" y="6839"/>
                      <a:pt x="6477" y="6839"/>
                      <a:pt x="6477" y="6839"/>
                    </a:cubicBezTo>
                    <a:cubicBezTo>
                      <a:pt x="6460" y="6948"/>
                      <a:pt x="6460" y="6948"/>
                      <a:pt x="6460" y="6948"/>
                    </a:cubicBezTo>
                    <a:cubicBezTo>
                      <a:pt x="6388" y="6937"/>
                      <a:pt x="6388" y="6937"/>
                      <a:pt x="6388" y="6937"/>
                    </a:cubicBezTo>
                    <a:cubicBezTo>
                      <a:pt x="6379" y="6994"/>
                      <a:pt x="6379" y="6994"/>
                      <a:pt x="6379" y="6994"/>
                    </a:cubicBezTo>
                    <a:cubicBezTo>
                      <a:pt x="6373" y="6993"/>
                      <a:pt x="6373" y="6993"/>
                      <a:pt x="6373" y="6993"/>
                    </a:cubicBezTo>
                    <a:cubicBezTo>
                      <a:pt x="6258" y="6978"/>
                      <a:pt x="6258" y="6978"/>
                      <a:pt x="6258" y="6978"/>
                    </a:cubicBezTo>
                    <a:cubicBezTo>
                      <a:pt x="6275" y="6862"/>
                      <a:pt x="6275" y="6862"/>
                      <a:pt x="6275" y="6862"/>
                    </a:cubicBezTo>
                    <a:cubicBezTo>
                      <a:pt x="6285" y="6863"/>
                      <a:pt x="6285" y="6863"/>
                      <a:pt x="6285" y="6863"/>
                    </a:cubicBezTo>
                    <a:lnTo>
                      <a:pt x="6293" y="6812"/>
                    </a:lnTo>
                    <a:close/>
                    <a:moveTo>
                      <a:pt x="6296" y="6878"/>
                    </a:moveTo>
                    <a:cubicBezTo>
                      <a:pt x="6286" y="6877"/>
                      <a:pt x="6286" y="6877"/>
                      <a:pt x="6286" y="6877"/>
                    </a:cubicBezTo>
                    <a:cubicBezTo>
                      <a:pt x="6273" y="6967"/>
                      <a:pt x="6273" y="6967"/>
                      <a:pt x="6273" y="6967"/>
                    </a:cubicBezTo>
                    <a:cubicBezTo>
                      <a:pt x="6368" y="6979"/>
                      <a:pt x="6368" y="6979"/>
                      <a:pt x="6368" y="6979"/>
                    </a:cubicBezTo>
                    <a:cubicBezTo>
                      <a:pt x="6377" y="6922"/>
                      <a:pt x="6377" y="6922"/>
                      <a:pt x="6377" y="6922"/>
                    </a:cubicBezTo>
                    <a:cubicBezTo>
                      <a:pt x="6449" y="6933"/>
                      <a:pt x="6449" y="6933"/>
                      <a:pt x="6449" y="6933"/>
                    </a:cubicBezTo>
                    <a:cubicBezTo>
                      <a:pt x="6462" y="6850"/>
                      <a:pt x="6462" y="6850"/>
                      <a:pt x="6462" y="6850"/>
                    </a:cubicBezTo>
                    <a:cubicBezTo>
                      <a:pt x="6304" y="6827"/>
                      <a:pt x="6304" y="6827"/>
                      <a:pt x="6304" y="6827"/>
                    </a:cubicBezTo>
                    <a:lnTo>
                      <a:pt x="6296" y="6878"/>
                    </a:lnTo>
                    <a:close/>
                    <a:moveTo>
                      <a:pt x="6601" y="6299"/>
                    </a:moveTo>
                    <a:cubicBezTo>
                      <a:pt x="6731" y="6297"/>
                      <a:pt x="6731" y="6297"/>
                      <a:pt x="6731" y="6297"/>
                    </a:cubicBezTo>
                    <a:cubicBezTo>
                      <a:pt x="6730" y="6468"/>
                      <a:pt x="6730" y="6468"/>
                      <a:pt x="6730" y="6468"/>
                    </a:cubicBezTo>
                    <a:cubicBezTo>
                      <a:pt x="6643" y="6469"/>
                      <a:pt x="6643" y="6469"/>
                      <a:pt x="6643" y="6469"/>
                    </a:cubicBezTo>
                    <a:cubicBezTo>
                      <a:pt x="6643" y="6566"/>
                      <a:pt x="6643" y="6566"/>
                      <a:pt x="6643" y="6566"/>
                    </a:cubicBezTo>
                    <a:cubicBezTo>
                      <a:pt x="6520" y="6566"/>
                      <a:pt x="6520" y="6566"/>
                      <a:pt x="6520" y="6566"/>
                    </a:cubicBezTo>
                    <a:cubicBezTo>
                      <a:pt x="6518" y="6384"/>
                      <a:pt x="6518" y="6384"/>
                      <a:pt x="6518" y="6384"/>
                    </a:cubicBezTo>
                    <a:cubicBezTo>
                      <a:pt x="6601" y="6383"/>
                      <a:pt x="6601" y="6383"/>
                      <a:pt x="6601" y="6383"/>
                    </a:cubicBezTo>
                    <a:lnTo>
                      <a:pt x="6601" y="6299"/>
                    </a:lnTo>
                    <a:close/>
                    <a:moveTo>
                      <a:pt x="6614" y="6312"/>
                    </a:moveTo>
                    <a:cubicBezTo>
                      <a:pt x="6615" y="6396"/>
                      <a:pt x="6615" y="6396"/>
                      <a:pt x="6615" y="6396"/>
                    </a:cubicBezTo>
                    <a:cubicBezTo>
                      <a:pt x="6531" y="6397"/>
                      <a:pt x="6531" y="6397"/>
                      <a:pt x="6531" y="6397"/>
                    </a:cubicBezTo>
                    <a:cubicBezTo>
                      <a:pt x="6533" y="6553"/>
                      <a:pt x="6533" y="6553"/>
                      <a:pt x="6533" y="6553"/>
                    </a:cubicBezTo>
                    <a:cubicBezTo>
                      <a:pt x="6630" y="6553"/>
                      <a:pt x="6630" y="6553"/>
                      <a:pt x="6630" y="6553"/>
                    </a:cubicBezTo>
                    <a:cubicBezTo>
                      <a:pt x="6630" y="6456"/>
                      <a:pt x="6630" y="6456"/>
                      <a:pt x="6630" y="6456"/>
                    </a:cubicBezTo>
                    <a:cubicBezTo>
                      <a:pt x="6637" y="6456"/>
                      <a:pt x="6637" y="6456"/>
                      <a:pt x="6637" y="6456"/>
                    </a:cubicBezTo>
                    <a:cubicBezTo>
                      <a:pt x="6717" y="6455"/>
                      <a:pt x="6717" y="6455"/>
                      <a:pt x="6717" y="6455"/>
                    </a:cubicBezTo>
                    <a:cubicBezTo>
                      <a:pt x="6718" y="6311"/>
                      <a:pt x="6718" y="6311"/>
                      <a:pt x="6718" y="6311"/>
                    </a:cubicBezTo>
                    <a:lnTo>
                      <a:pt x="6614" y="6312"/>
                    </a:lnTo>
                    <a:close/>
                    <a:moveTo>
                      <a:pt x="6755" y="5501"/>
                    </a:moveTo>
                    <a:cubicBezTo>
                      <a:pt x="6831" y="5508"/>
                      <a:pt x="6831" y="5508"/>
                      <a:pt x="6831" y="5508"/>
                    </a:cubicBezTo>
                    <a:cubicBezTo>
                      <a:pt x="6824" y="5584"/>
                      <a:pt x="6824" y="5584"/>
                      <a:pt x="6824" y="5584"/>
                    </a:cubicBezTo>
                    <a:cubicBezTo>
                      <a:pt x="6817" y="5583"/>
                      <a:pt x="6817" y="5583"/>
                      <a:pt x="6817" y="5583"/>
                    </a:cubicBezTo>
                    <a:cubicBezTo>
                      <a:pt x="6626" y="5563"/>
                      <a:pt x="6626" y="5563"/>
                      <a:pt x="6626" y="5563"/>
                    </a:cubicBezTo>
                    <a:cubicBezTo>
                      <a:pt x="6631" y="5514"/>
                      <a:pt x="6631" y="5514"/>
                      <a:pt x="6631" y="5514"/>
                    </a:cubicBezTo>
                    <a:cubicBezTo>
                      <a:pt x="6619" y="5513"/>
                      <a:pt x="6619" y="5513"/>
                      <a:pt x="6619" y="5513"/>
                    </a:cubicBezTo>
                    <a:cubicBezTo>
                      <a:pt x="6613" y="5512"/>
                      <a:pt x="6613" y="5512"/>
                      <a:pt x="6613" y="5512"/>
                    </a:cubicBezTo>
                    <a:cubicBezTo>
                      <a:pt x="6622" y="5416"/>
                      <a:pt x="6622" y="5416"/>
                      <a:pt x="6622" y="5416"/>
                    </a:cubicBezTo>
                    <a:cubicBezTo>
                      <a:pt x="6762" y="5429"/>
                      <a:pt x="6762" y="5429"/>
                      <a:pt x="6762" y="5429"/>
                    </a:cubicBezTo>
                    <a:lnTo>
                      <a:pt x="6755" y="5501"/>
                    </a:lnTo>
                    <a:close/>
                    <a:moveTo>
                      <a:pt x="6741" y="5513"/>
                    </a:moveTo>
                    <a:cubicBezTo>
                      <a:pt x="6748" y="5441"/>
                      <a:pt x="6748" y="5441"/>
                      <a:pt x="6748" y="5441"/>
                    </a:cubicBezTo>
                    <a:cubicBezTo>
                      <a:pt x="6633" y="5430"/>
                      <a:pt x="6633" y="5430"/>
                      <a:pt x="6633" y="5430"/>
                    </a:cubicBezTo>
                    <a:cubicBezTo>
                      <a:pt x="6627" y="5500"/>
                      <a:pt x="6627" y="5500"/>
                      <a:pt x="6627" y="5500"/>
                    </a:cubicBezTo>
                    <a:cubicBezTo>
                      <a:pt x="6639" y="5501"/>
                      <a:pt x="6639" y="5501"/>
                      <a:pt x="6639" y="5501"/>
                    </a:cubicBezTo>
                    <a:cubicBezTo>
                      <a:pt x="6645" y="5502"/>
                      <a:pt x="6645" y="5502"/>
                      <a:pt x="6645" y="5502"/>
                    </a:cubicBezTo>
                    <a:cubicBezTo>
                      <a:pt x="6641" y="5551"/>
                      <a:pt x="6641" y="5551"/>
                      <a:pt x="6641" y="5551"/>
                    </a:cubicBezTo>
                    <a:cubicBezTo>
                      <a:pt x="6812" y="5570"/>
                      <a:pt x="6812" y="5570"/>
                      <a:pt x="6812" y="5570"/>
                    </a:cubicBezTo>
                    <a:cubicBezTo>
                      <a:pt x="6816" y="5520"/>
                      <a:pt x="6816" y="5520"/>
                      <a:pt x="6816" y="5520"/>
                    </a:cubicBezTo>
                    <a:lnTo>
                      <a:pt x="6741" y="5513"/>
                    </a:lnTo>
                    <a:close/>
                    <a:moveTo>
                      <a:pt x="7190" y="3598"/>
                    </a:moveTo>
                    <a:cubicBezTo>
                      <a:pt x="7245" y="3615"/>
                      <a:pt x="7245" y="3615"/>
                      <a:pt x="7245" y="3615"/>
                    </a:cubicBezTo>
                    <a:cubicBezTo>
                      <a:pt x="7243" y="3621"/>
                      <a:pt x="7243" y="3621"/>
                      <a:pt x="7243" y="3621"/>
                    </a:cubicBezTo>
                    <a:cubicBezTo>
                      <a:pt x="7212" y="3733"/>
                      <a:pt x="7212" y="3733"/>
                      <a:pt x="7212" y="3733"/>
                    </a:cubicBezTo>
                    <a:cubicBezTo>
                      <a:pt x="7102" y="3701"/>
                      <a:pt x="7102" y="3701"/>
                      <a:pt x="7102" y="3701"/>
                    </a:cubicBezTo>
                    <a:cubicBezTo>
                      <a:pt x="7106" y="3687"/>
                      <a:pt x="7106" y="3687"/>
                      <a:pt x="7106" y="3687"/>
                    </a:cubicBezTo>
                    <a:cubicBezTo>
                      <a:pt x="7056" y="3673"/>
                      <a:pt x="7056" y="3673"/>
                      <a:pt x="7056" y="3673"/>
                    </a:cubicBezTo>
                    <a:cubicBezTo>
                      <a:pt x="7106" y="3494"/>
                      <a:pt x="7106" y="3494"/>
                      <a:pt x="7106" y="3494"/>
                    </a:cubicBezTo>
                    <a:cubicBezTo>
                      <a:pt x="7211" y="3524"/>
                      <a:pt x="7211" y="3524"/>
                      <a:pt x="7211" y="3524"/>
                    </a:cubicBezTo>
                    <a:lnTo>
                      <a:pt x="7190" y="3598"/>
                    </a:lnTo>
                    <a:close/>
                    <a:moveTo>
                      <a:pt x="7173" y="3606"/>
                    </a:moveTo>
                    <a:cubicBezTo>
                      <a:pt x="7195" y="3533"/>
                      <a:pt x="7195" y="3533"/>
                      <a:pt x="7195" y="3533"/>
                    </a:cubicBezTo>
                    <a:cubicBezTo>
                      <a:pt x="7115" y="3510"/>
                      <a:pt x="7115" y="3510"/>
                      <a:pt x="7115" y="3510"/>
                    </a:cubicBezTo>
                    <a:cubicBezTo>
                      <a:pt x="7072" y="3664"/>
                      <a:pt x="7072" y="3664"/>
                      <a:pt x="7072" y="3664"/>
                    </a:cubicBezTo>
                    <a:cubicBezTo>
                      <a:pt x="7123" y="3678"/>
                      <a:pt x="7123" y="3678"/>
                      <a:pt x="7123" y="3678"/>
                    </a:cubicBezTo>
                    <a:cubicBezTo>
                      <a:pt x="7118" y="3692"/>
                      <a:pt x="7118" y="3692"/>
                      <a:pt x="7118" y="3692"/>
                    </a:cubicBezTo>
                    <a:cubicBezTo>
                      <a:pt x="7203" y="3717"/>
                      <a:pt x="7203" y="3717"/>
                      <a:pt x="7203" y="3717"/>
                    </a:cubicBezTo>
                    <a:cubicBezTo>
                      <a:pt x="7229" y="3624"/>
                      <a:pt x="7229" y="3624"/>
                      <a:pt x="7229" y="3624"/>
                    </a:cubicBezTo>
                    <a:lnTo>
                      <a:pt x="7173" y="3606"/>
                    </a:lnTo>
                    <a:close/>
                    <a:moveTo>
                      <a:pt x="7399" y="3632"/>
                    </a:moveTo>
                    <a:cubicBezTo>
                      <a:pt x="7404" y="3618"/>
                      <a:pt x="7404" y="3618"/>
                      <a:pt x="7404" y="3618"/>
                    </a:cubicBezTo>
                    <a:cubicBezTo>
                      <a:pt x="7354" y="3604"/>
                      <a:pt x="7354" y="3604"/>
                      <a:pt x="7354" y="3604"/>
                    </a:cubicBezTo>
                    <a:cubicBezTo>
                      <a:pt x="7403" y="3425"/>
                      <a:pt x="7403" y="3425"/>
                      <a:pt x="7403" y="3425"/>
                    </a:cubicBezTo>
                    <a:cubicBezTo>
                      <a:pt x="7509" y="3454"/>
                      <a:pt x="7509" y="3454"/>
                      <a:pt x="7509" y="3454"/>
                    </a:cubicBezTo>
                    <a:cubicBezTo>
                      <a:pt x="7487" y="3529"/>
                      <a:pt x="7487" y="3529"/>
                      <a:pt x="7487" y="3529"/>
                    </a:cubicBezTo>
                    <a:cubicBezTo>
                      <a:pt x="7542" y="3546"/>
                      <a:pt x="7542" y="3546"/>
                      <a:pt x="7542" y="3546"/>
                    </a:cubicBezTo>
                    <a:cubicBezTo>
                      <a:pt x="7540" y="3552"/>
                      <a:pt x="7540" y="3552"/>
                      <a:pt x="7540" y="3552"/>
                    </a:cubicBezTo>
                    <a:cubicBezTo>
                      <a:pt x="7510" y="3664"/>
                      <a:pt x="7510" y="3664"/>
                      <a:pt x="7510" y="3664"/>
                    </a:cubicBezTo>
                    <a:lnTo>
                      <a:pt x="7399" y="3632"/>
                    </a:lnTo>
                    <a:close/>
                    <a:moveTo>
                      <a:pt x="7420" y="3609"/>
                    </a:moveTo>
                    <a:cubicBezTo>
                      <a:pt x="7416" y="3623"/>
                      <a:pt x="7416" y="3623"/>
                      <a:pt x="7416" y="3623"/>
                    </a:cubicBezTo>
                    <a:cubicBezTo>
                      <a:pt x="7501" y="3648"/>
                      <a:pt x="7501" y="3648"/>
                      <a:pt x="7501" y="3648"/>
                    </a:cubicBezTo>
                    <a:cubicBezTo>
                      <a:pt x="7526" y="3555"/>
                      <a:pt x="7526" y="3555"/>
                      <a:pt x="7526" y="3555"/>
                    </a:cubicBezTo>
                    <a:cubicBezTo>
                      <a:pt x="7471" y="3537"/>
                      <a:pt x="7471" y="3537"/>
                      <a:pt x="7471" y="3537"/>
                    </a:cubicBezTo>
                    <a:cubicBezTo>
                      <a:pt x="7493" y="3463"/>
                      <a:pt x="7493" y="3463"/>
                      <a:pt x="7493" y="3463"/>
                    </a:cubicBezTo>
                    <a:cubicBezTo>
                      <a:pt x="7412" y="3441"/>
                      <a:pt x="7412" y="3441"/>
                      <a:pt x="7412" y="3441"/>
                    </a:cubicBezTo>
                    <a:cubicBezTo>
                      <a:pt x="7370" y="3595"/>
                      <a:pt x="7370" y="3595"/>
                      <a:pt x="7370" y="3595"/>
                    </a:cubicBezTo>
                    <a:lnTo>
                      <a:pt x="7420" y="3609"/>
                    </a:lnTo>
                    <a:close/>
                    <a:moveTo>
                      <a:pt x="6897" y="3323"/>
                    </a:moveTo>
                    <a:cubicBezTo>
                      <a:pt x="6840" y="3313"/>
                      <a:pt x="6840" y="3313"/>
                      <a:pt x="6840" y="3313"/>
                    </a:cubicBezTo>
                    <a:cubicBezTo>
                      <a:pt x="6841" y="3307"/>
                      <a:pt x="6841" y="3307"/>
                      <a:pt x="6841" y="3307"/>
                    </a:cubicBezTo>
                    <a:cubicBezTo>
                      <a:pt x="6856" y="3191"/>
                      <a:pt x="6856" y="3191"/>
                      <a:pt x="6856" y="3191"/>
                    </a:cubicBezTo>
                    <a:cubicBezTo>
                      <a:pt x="6970" y="3209"/>
                      <a:pt x="6970" y="3209"/>
                      <a:pt x="6970" y="3209"/>
                    </a:cubicBezTo>
                    <a:cubicBezTo>
                      <a:pt x="6968" y="3223"/>
                      <a:pt x="6968" y="3223"/>
                      <a:pt x="6968" y="3223"/>
                    </a:cubicBezTo>
                    <a:cubicBezTo>
                      <a:pt x="7019" y="3230"/>
                      <a:pt x="7019" y="3230"/>
                      <a:pt x="7019" y="3230"/>
                    </a:cubicBezTo>
                    <a:cubicBezTo>
                      <a:pt x="6994" y="3414"/>
                      <a:pt x="6994" y="3414"/>
                      <a:pt x="6994" y="3414"/>
                    </a:cubicBezTo>
                    <a:cubicBezTo>
                      <a:pt x="6885" y="3399"/>
                      <a:pt x="6885" y="3399"/>
                      <a:pt x="6885" y="3399"/>
                    </a:cubicBezTo>
                    <a:lnTo>
                      <a:pt x="6897" y="3323"/>
                    </a:lnTo>
                    <a:close/>
                    <a:moveTo>
                      <a:pt x="6912" y="3312"/>
                    </a:moveTo>
                    <a:cubicBezTo>
                      <a:pt x="6900" y="3388"/>
                      <a:pt x="6900" y="3388"/>
                      <a:pt x="6900" y="3388"/>
                    </a:cubicBezTo>
                    <a:cubicBezTo>
                      <a:pt x="6983" y="3399"/>
                      <a:pt x="6983" y="3399"/>
                      <a:pt x="6983" y="3399"/>
                    </a:cubicBezTo>
                    <a:cubicBezTo>
                      <a:pt x="7004" y="3242"/>
                      <a:pt x="7004" y="3242"/>
                      <a:pt x="7004" y="3242"/>
                    </a:cubicBezTo>
                    <a:cubicBezTo>
                      <a:pt x="6952" y="3235"/>
                      <a:pt x="6952" y="3235"/>
                      <a:pt x="6952" y="3235"/>
                    </a:cubicBezTo>
                    <a:cubicBezTo>
                      <a:pt x="6955" y="3220"/>
                      <a:pt x="6955" y="3220"/>
                      <a:pt x="6955" y="3220"/>
                    </a:cubicBezTo>
                    <a:cubicBezTo>
                      <a:pt x="6867" y="3206"/>
                      <a:pt x="6867" y="3206"/>
                      <a:pt x="6867" y="3206"/>
                    </a:cubicBezTo>
                    <a:cubicBezTo>
                      <a:pt x="6855" y="3302"/>
                      <a:pt x="6855" y="3302"/>
                      <a:pt x="6855" y="3302"/>
                    </a:cubicBezTo>
                    <a:lnTo>
                      <a:pt x="6912" y="3312"/>
                    </a:lnTo>
                    <a:close/>
                    <a:moveTo>
                      <a:pt x="7453" y="2555"/>
                    </a:moveTo>
                    <a:cubicBezTo>
                      <a:pt x="7506" y="2609"/>
                      <a:pt x="7506" y="2609"/>
                      <a:pt x="7506" y="2609"/>
                    </a:cubicBezTo>
                    <a:cubicBezTo>
                      <a:pt x="7452" y="2662"/>
                      <a:pt x="7452" y="2662"/>
                      <a:pt x="7452" y="2662"/>
                    </a:cubicBezTo>
                    <a:cubicBezTo>
                      <a:pt x="7447" y="2657"/>
                      <a:pt x="7447" y="2657"/>
                      <a:pt x="7447" y="2657"/>
                    </a:cubicBezTo>
                    <a:cubicBezTo>
                      <a:pt x="7315" y="2518"/>
                      <a:pt x="7315" y="2518"/>
                      <a:pt x="7315" y="2518"/>
                    </a:cubicBezTo>
                    <a:cubicBezTo>
                      <a:pt x="7351" y="2483"/>
                      <a:pt x="7351" y="2483"/>
                      <a:pt x="7351" y="2483"/>
                    </a:cubicBezTo>
                    <a:cubicBezTo>
                      <a:pt x="7343" y="2475"/>
                      <a:pt x="7343" y="2475"/>
                      <a:pt x="7343" y="2475"/>
                    </a:cubicBezTo>
                    <a:cubicBezTo>
                      <a:pt x="7338" y="2470"/>
                      <a:pt x="7338" y="2470"/>
                      <a:pt x="7338" y="2470"/>
                    </a:cubicBezTo>
                    <a:cubicBezTo>
                      <a:pt x="7407" y="2402"/>
                      <a:pt x="7407" y="2402"/>
                      <a:pt x="7407" y="2402"/>
                    </a:cubicBezTo>
                    <a:cubicBezTo>
                      <a:pt x="7506" y="2504"/>
                      <a:pt x="7506" y="2504"/>
                      <a:pt x="7506" y="2504"/>
                    </a:cubicBezTo>
                    <a:lnTo>
                      <a:pt x="7453" y="2555"/>
                    </a:lnTo>
                    <a:close/>
                    <a:moveTo>
                      <a:pt x="7435" y="2554"/>
                    </a:moveTo>
                    <a:cubicBezTo>
                      <a:pt x="7487" y="2503"/>
                      <a:pt x="7487" y="2503"/>
                      <a:pt x="7487" y="2503"/>
                    </a:cubicBezTo>
                    <a:cubicBezTo>
                      <a:pt x="7407" y="2421"/>
                      <a:pt x="7407" y="2421"/>
                      <a:pt x="7407" y="2421"/>
                    </a:cubicBezTo>
                    <a:cubicBezTo>
                      <a:pt x="7357" y="2470"/>
                      <a:pt x="7357" y="2470"/>
                      <a:pt x="7357" y="2470"/>
                    </a:cubicBezTo>
                    <a:cubicBezTo>
                      <a:pt x="7365" y="2479"/>
                      <a:pt x="7365" y="2479"/>
                      <a:pt x="7365" y="2479"/>
                    </a:cubicBezTo>
                    <a:cubicBezTo>
                      <a:pt x="7369" y="2483"/>
                      <a:pt x="7369" y="2483"/>
                      <a:pt x="7369" y="2483"/>
                    </a:cubicBezTo>
                    <a:cubicBezTo>
                      <a:pt x="7334" y="2518"/>
                      <a:pt x="7334" y="2518"/>
                      <a:pt x="7334" y="2518"/>
                    </a:cubicBezTo>
                    <a:cubicBezTo>
                      <a:pt x="7452" y="2643"/>
                      <a:pt x="7452" y="2643"/>
                      <a:pt x="7452" y="2643"/>
                    </a:cubicBezTo>
                    <a:cubicBezTo>
                      <a:pt x="7488" y="2609"/>
                      <a:pt x="7488" y="2609"/>
                      <a:pt x="7488" y="2609"/>
                    </a:cubicBezTo>
                    <a:lnTo>
                      <a:pt x="7435" y="2554"/>
                    </a:lnTo>
                    <a:close/>
                    <a:moveTo>
                      <a:pt x="7276" y="2776"/>
                    </a:moveTo>
                    <a:cubicBezTo>
                      <a:pt x="7329" y="2830"/>
                      <a:pt x="7329" y="2830"/>
                      <a:pt x="7329" y="2830"/>
                    </a:cubicBezTo>
                    <a:cubicBezTo>
                      <a:pt x="7274" y="2883"/>
                      <a:pt x="7274" y="2883"/>
                      <a:pt x="7274" y="2883"/>
                    </a:cubicBezTo>
                    <a:cubicBezTo>
                      <a:pt x="7270" y="2878"/>
                      <a:pt x="7270" y="2878"/>
                      <a:pt x="7270" y="2878"/>
                    </a:cubicBezTo>
                    <a:cubicBezTo>
                      <a:pt x="7138" y="2739"/>
                      <a:pt x="7138" y="2739"/>
                      <a:pt x="7138" y="2739"/>
                    </a:cubicBezTo>
                    <a:cubicBezTo>
                      <a:pt x="7173" y="2704"/>
                      <a:pt x="7173" y="2704"/>
                      <a:pt x="7173" y="2704"/>
                    </a:cubicBezTo>
                    <a:cubicBezTo>
                      <a:pt x="7165" y="2696"/>
                      <a:pt x="7165" y="2696"/>
                      <a:pt x="7165" y="2696"/>
                    </a:cubicBezTo>
                    <a:cubicBezTo>
                      <a:pt x="7161" y="2691"/>
                      <a:pt x="7161" y="2691"/>
                      <a:pt x="7161" y="2691"/>
                    </a:cubicBezTo>
                    <a:cubicBezTo>
                      <a:pt x="7230" y="2624"/>
                      <a:pt x="7230" y="2624"/>
                      <a:pt x="7230" y="2624"/>
                    </a:cubicBezTo>
                    <a:cubicBezTo>
                      <a:pt x="7328" y="2725"/>
                      <a:pt x="7328" y="2725"/>
                      <a:pt x="7328" y="2725"/>
                    </a:cubicBezTo>
                    <a:lnTo>
                      <a:pt x="7276" y="2776"/>
                    </a:lnTo>
                    <a:close/>
                    <a:moveTo>
                      <a:pt x="7257" y="2776"/>
                    </a:moveTo>
                    <a:cubicBezTo>
                      <a:pt x="7310" y="2725"/>
                      <a:pt x="7310" y="2725"/>
                      <a:pt x="7310" y="2725"/>
                    </a:cubicBezTo>
                    <a:cubicBezTo>
                      <a:pt x="7230" y="2642"/>
                      <a:pt x="7230" y="2642"/>
                      <a:pt x="7230" y="2642"/>
                    </a:cubicBezTo>
                    <a:cubicBezTo>
                      <a:pt x="7179" y="2692"/>
                      <a:pt x="7179" y="2692"/>
                      <a:pt x="7179" y="2692"/>
                    </a:cubicBezTo>
                    <a:cubicBezTo>
                      <a:pt x="7187" y="2700"/>
                      <a:pt x="7187" y="2700"/>
                      <a:pt x="7187" y="2700"/>
                    </a:cubicBezTo>
                    <a:cubicBezTo>
                      <a:pt x="7192" y="2705"/>
                      <a:pt x="7192" y="2705"/>
                      <a:pt x="7192" y="2705"/>
                    </a:cubicBezTo>
                    <a:cubicBezTo>
                      <a:pt x="7156" y="2739"/>
                      <a:pt x="7156" y="2739"/>
                      <a:pt x="7156" y="2739"/>
                    </a:cubicBezTo>
                    <a:cubicBezTo>
                      <a:pt x="7275" y="2864"/>
                      <a:pt x="7275" y="2864"/>
                      <a:pt x="7275" y="2864"/>
                    </a:cubicBezTo>
                    <a:cubicBezTo>
                      <a:pt x="7310" y="2830"/>
                      <a:pt x="7310" y="2830"/>
                      <a:pt x="7310" y="2830"/>
                    </a:cubicBezTo>
                    <a:lnTo>
                      <a:pt x="7257" y="2776"/>
                    </a:lnTo>
                    <a:close/>
                    <a:moveTo>
                      <a:pt x="6238" y="7589"/>
                    </a:moveTo>
                    <a:cubicBezTo>
                      <a:pt x="6162" y="7589"/>
                      <a:pt x="6162" y="7589"/>
                      <a:pt x="6162" y="7589"/>
                    </a:cubicBezTo>
                    <a:cubicBezTo>
                      <a:pt x="6162" y="7582"/>
                      <a:pt x="6162" y="7582"/>
                      <a:pt x="6162" y="7582"/>
                    </a:cubicBezTo>
                    <a:cubicBezTo>
                      <a:pt x="6162" y="7497"/>
                      <a:pt x="6162" y="7497"/>
                      <a:pt x="6162" y="7497"/>
                    </a:cubicBezTo>
                    <a:cubicBezTo>
                      <a:pt x="6238" y="7497"/>
                      <a:pt x="6238" y="7497"/>
                      <a:pt x="6238" y="7497"/>
                    </a:cubicBezTo>
                    <a:lnTo>
                      <a:pt x="6238" y="7589"/>
                    </a:lnTo>
                    <a:close/>
                    <a:moveTo>
                      <a:pt x="6225" y="7510"/>
                    </a:moveTo>
                    <a:cubicBezTo>
                      <a:pt x="6175" y="7510"/>
                      <a:pt x="6175" y="7510"/>
                      <a:pt x="6175" y="7510"/>
                    </a:cubicBezTo>
                    <a:cubicBezTo>
                      <a:pt x="6175" y="7576"/>
                      <a:pt x="6175" y="7576"/>
                      <a:pt x="6175" y="7576"/>
                    </a:cubicBezTo>
                    <a:cubicBezTo>
                      <a:pt x="6225" y="7576"/>
                      <a:pt x="6225" y="7576"/>
                      <a:pt x="6225" y="7576"/>
                    </a:cubicBezTo>
                    <a:lnTo>
                      <a:pt x="6225" y="7510"/>
                    </a:lnTo>
                    <a:close/>
                    <a:moveTo>
                      <a:pt x="7242" y="5987"/>
                    </a:moveTo>
                    <a:cubicBezTo>
                      <a:pt x="7044" y="5973"/>
                      <a:pt x="7044" y="5973"/>
                      <a:pt x="7044" y="5973"/>
                    </a:cubicBezTo>
                    <a:cubicBezTo>
                      <a:pt x="7045" y="5967"/>
                      <a:pt x="7045" y="5967"/>
                      <a:pt x="7045" y="5967"/>
                    </a:cubicBezTo>
                    <a:cubicBezTo>
                      <a:pt x="7051" y="5898"/>
                      <a:pt x="7051" y="5898"/>
                      <a:pt x="7051" y="5898"/>
                    </a:cubicBezTo>
                    <a:cubicBezTo>
                      <a:pt x="7126" y="5904"/>
                      <a:pt x="7126" y="5904"/>
                      <a:pt x="7126" y="5904"/>
                    </a:cubicBezTo>
                    <a:cubicBezTo>
                      <a:pt x="7132" y="5831"/>
                      <a:pt x="7132" y="5831"/>
                      <a:pt x="7132" y="5831"/>
                    </a:cubicBezTo>
                    <a:cubicBezTo>
                      <a:pt x="7273" y="5843"/>
                      <a:pt x="7273" y="5843"/>
                      <a:pt x="7273" y="5843"/>
                    </a:cubicBezTo>
                    <a:cubicBezTo>
                      <a:pt x="7265" y="5940"/>
                      <a:pt x="7265" y="5940"/>
                      <a:pt x="7265" y="5940"/>
                    </a:cubicBezTo>
                    <a:cubicBezTo>
                      <a:pt x="7246" y="5938"/>
                      <a:pt x="7246" y="5938"/>
                      <a:pt x="7246" y="5938"/>
                    </a:cubicBezTo>
                    <a:lnTo>
                      <a:pt x="7242" y="5987"/>
                    </a:lnTo>
                    <a:close/>
                    <a:moveTo>
                      <a:pt x="7234" y="5924"/>
                    </a:moveTo>
                    <a:cubicBezTo>
                      <a:pt x="7253" y="5926"/>
                      <a:pt x="7253" y="5926"/>
                      <a:pt x="7253" y="5926"/>
                    </a:cubicBezTo>
                    <a:cubicBezTo>
                      <a:pt x="7259" y="5855"/>
                      <a:pt x="7259" y="5855"/>
                      <a:pt x="7259" y="5855"/>
                    </a:cubicBezTo>
                    <a:cubicBezTo>
                      <a:pt x="7144" y="5845"/>
                      <a:pt x="7144" y="5845"/>
                      <a:pt x="7144" y="5845"/>
                    </a:cubicBezTo>
                    <a:cubicBezTo>
                      <a:pt x="7138" y="5918"/>
                      <a:pt x="7138" y="5918"/>
                      <a:pt x="7138" y="5918"/>
                    </a:cubicBezTo>
                    <a:cubicBezTo>
                      <a:pt x="7063" y="5912"/>
                      <a:pt x="7063" y="5912"/>
                      <a:pt x="7063" y="5912"/>
                    </a:cubicBezTo>
                    <a:cubicBezTo>
                      <a:pt x="7058" y="5961"/>
                      <a:pt x="7058" y="5961"/>
                      <a:pt x="7058" y="5961"/>
                    </a:cubicBezTo>
                    <a:cubicBezTo>
                      <a:pt x="7230" y="5973"/>
                      <a:pt x="7230" y="5973"/>
                      <a:pt x="7230" y="5973"/>
                    </a:cubicBezTo>
                    <a:lnTo>
                      <a:pt x="7234" y="5924"/>
                    </a:lnTo>
                    <a:close/>
                    <a:moveTo>
                      <a:pt x="7069" y="2995"/>
                    </a:moveTo>
                    <a:cubicBezTo>
                      <a:pt x="7121" y="3049"/>
                      <a:pt x="7121" y="3049"/>
                      <a:pt x="7121" y="3049"/>
                    </a:cubicBezTo>
                    <a:cubicBezTo>
                      <a:pt x="7067" y="3102"/>
                      <a:pt x="7067" y="3102"/>
                      <a:pt x="7067" y="3102"/>
                    </a:cubicBezTo>
                    <a:cubicBezTo>
                      <a:pt x="7062" y="3097"/>
                      <a:pt x="7062" y="3097"/>
                      <a:pt x="7062" y="3097"/>
                    </a:cubicBezTo>
                    <a:cubicBezTo>
                      <a:pt x="6931" y="2958"/>
                      <a:pt x="6931" y="2958"/>
                      <a:pt x="6931" y="2958"/>
                    </a:cubicBezTo>
                    <a:cubicBezTo>
                      <a:pt x="6966" y="2923"/>
                      <a:pt x="6966" y="2923"/>
                      <a:pt x="6966" y="2923"/>
                    </a:cubicBezTo>
                    <a:cubicBezTo>
                      <a:pt x="6958" y="2915"/>
                      <a:pt x="6958" y="2915"/>
                      <a:pt x="6958" y="2915"/>
                    </a:cubicBezTo>
                    <a:cubicBezTo>
                      <a:pt x="6953" y="2910"/>
                      <a:pt x="6953" y="2910"/>
                      <a:pt x="6953" y="2910"/>
                    </a:cubicBezTo>
                    <a:cubicBezTo>
                      <a:pt x="7023" y="2843"/>
                      <a:pt x="7023" y="2843"/>
                      <a:pt x="7023" y="2843"/>
                    </a:cubicBezTo>
                    <a:cubicBezTo>
                      <a:pt x="7121" y="2944"/>
                      <a:pt x="7121" y="2944"/>
                      <a:pt x="7121" y="2944"/>
                    </a:cubicBezTo>
                    <a:lnTo>
                      <a:pt x="7069" y="2995"/>
                    </a:lnTo>
                    <a:close/>
                    <a:moveTo>
                      <a:pt x="7050" y="2995"/>
                    </a:moveTo>
                    <a:cubicBezTo>
                      <a:pt x="7102" y="2944"/>
                      <a:pt x="7102" y="2944"/>
                      <a:pt x="7102" y="2944"/>
                    </a:cubicBezTo>
                    <a:cubicBezTo>
                      <a:pt x="7022" y="2861"/>
                      <a:pt x="7022" y="2861"/>
                      <a:pt x="7022" y="2861"/>
                    </a:cubicBezTo>
                    <a:cubicBezTo>
                      <a:pt x="6972" y="2910"/>
                      <a:pt x="6972" y="2910"/>
                      <a:pt x="6972" y="2910"/>
                    </a:cubicBezTo>
                    <a:cubicBezTo>
                      <a:pt x="6980" y="2919"/>
                      <a:pt x="6980" y="2919"/>
                      <a:pt x="6980" y="2919"/>
                    </a:cubicBezTo>
                    <a:cubicBezTo>
                      <a:pt x="6985" y="2924"/>
                      <a:pt x="6985" y="2924"/>
                      <a:pt x="6985" y="2924"/>
                    </a:cubicBezTo>
                    <a:cubicBezTo>
                      <a:pt x="6949" y="2958"/>
                      <a:pt x="6949" y="2958"/>
                      <a:pt x="6949" y="2958"/>
                    </a:cubicBezTo>
                    <a:cubicBezTo>
                      <a:pt x="7067" y="3083"/>
                      <a:pt x="7067" y="3083"/>
                      <a:pt x="7067" y="3083"/>
                    </a:cubicBezTo>
                    <a:cubicBezTo>
                      <a:pt x="7103" y="3049"/>
                      <a:pt x="7103" y="3049"/>
                      <a:pt x="7103" y="3049"/>
                    </a:cubicBezTo>
                    <a:lnTo>
                      <a:pt x="7050" y="2995"/>
                    </a:lnTo>
                    <a:close/>
                    <a:moveTo>
                      <a:pt x="3092" y="5124"/>
                    </a:moveTo>
                    <a:cubicBezTo>
                      <a:pt x="3297" y="5128"/>
                      <a:pt x="3297" y="5128"/>
                      <a:pt x="3297" y="5128"/>
                    </a:cubicBezTo>
                    <a:cubicBezTo>
                      <a:pt x="3293" y="5138"/>
                      <a:pt x="3293" y="5138"/>
                      <a:pt x="3293" y="5138"/>
                    </a:cubicBezTo>
                    <a:cubicBezTo>
                      <a:pt x="3226" y="5282"/>
                      <a:pt x="3226" y="5282"/>
                      <a:pt x="3226" y="5282"/>
                    </a:cubicBezTo>
                    <a:cubicBezTo>
                      <a:pt x="3045" y="5214"/>
                      <a:pt x="3045" y="5214"/>
                      <a:pt x="3045" y="5214"/>
                    </a:cubicBezTo>
                    <a:lnTo>
                      <a:pt x="3092" y="5124"/>
                    </a:lnTo>
                    <a:close/>
                    <a:moveTo>
                      <a:pt x="3101" y="5139"/>
                    </a:moveTo>
                    <a:cubicBezTo>
                      <a:pt x="3066" y="5206"/>
                      <a:pt x="3066" y="5206"/>
                      <a:pt x="3066" y="5206"/>
                    </a:cubicBezTo>
                    <a:cubicBezTo>
                      <a:pt x="3219" y="5263"/>
                      <a:pt x="3219" y="5263"/>
                      <a:pt x="3219" y="5263"/>
                    </a:cubicBezTo>
                    <a:cubicBezTo>
                      <a:pt x="3274" y="5142"/>
                      <a:pt x="3274" y="5142"/>
                      <a:pt x="3274" y="5142"/>
                    </a:cubicBezTo>
                    <a:lnTo>
                      <a:pt x="3101" y="5139"/>
                    </a:lnTo>
                    <a:close/>
                    <a:moveTo>
                      <a:pt x="4875" y="5447"/>
                    </a:moveTo>
                    <a:cubicBezTo>
                      <a:pt x="4821" y="5513"/>
                      <a:pt x="4821" y="5513"/>
                      <a:pt x="4821" y="5513"/>
                    </a:cubicBezTo>
                    <a:cubicBezTo>
                      <a:pt x="4583" y="5219"/>
                      <a:pt x="4583" y="5219"/>
                      <a:pt x="4583" y="5219"/>
                    </a:cubicBezTo>
                    <a:cubicBezTo>
                      <a:pt x="4650" y="5162"/>
                      <a:pt x="4650" y="5162"/>
                      <a:pt x="4650" y="5162"/>
                    </a:cubicBezTo>
                    <a:cubicBezTo>
                      <a:pt x="4878" y="5443"/>
                      <a:pt x="4878" y="5443"/>
                      <a:pt x="4878" y="5443"/>
                    </a:cubicBezTo>
                    <a:lnTo>
                      <a:pt x="4875" y="5447"/>
                    </a:lnTo>
                    <a:close/>
                    <a:moveTo>
                      <a:pt x="4859" y="5443"/>
                    </a:moveTo>
                    <a:cubicBezTo>
                      <a:pt x="4648" y="5183"/>
                      <a:pt x="4648" y="5183"/>
                      <a:pt x="4648" y="5183"/>
                    </a:cubicBezTo>
                    <a:cubicBezTo>
                      <a:pt x="4603" y="5221"/>
                      <a:pt x="4603" y="5221"/>
                      <a:pt x="4603" y="5221"/>
                    </a:cubicBezTo>
                    <a:cubicBezTo>
                      <a:pt x="4821" y="5489"/>
                      <a:pt x="4821" y="5489"/>
                      <a:pt x="4821" y="5489"/>
                    </a:cubicBezTo>
                    <a:lnTo>
                      <a:pt x="4859" y="5443"/>
                    </a:lnTo>
                    <a:close/>
                    <a:moveTo>
                      <a:pt x="3785" y="6618"/>
                    </a:moveTo>
                    <a:cubicBezTo>
                      <a:pt x="3929" y="6771"/>
                      <a:pt x="3929" y="6771"/>
                      <a:pt x="3929" y="6771"/>
                    </a:cubicBezTo>
                    <a:cubicBezTo>
                      <a:pt x="3928" y="6775"/>
                      <a:pt x="3928" y="6775"/>
                      <a:pt x="3928" y="6775"/>
                    </a:cubicBezTo>
                    <a:cubicBezTo>
                      <a:pt x="3904" y="6838"/>
                      <a:pt x="3904" y="6838"/>
                      <a:pt x="3904" y="6838"/>
                    </a:cubicBezTo>
                    <a:cubicBezTo>
                      <a:pt x="3706" y="6761"/>
                      <a:pt x="3706" y="6761"/>
                      <a:pt x="3706" y="6761"/>
                    </a:cubicBezTo>
                    <a:cubicBezTo>
                      <a:pt x="3722" y="6386"/>
                      <a:pt x="3722" y="6386"/>
                      <a:pt x="3722" y="6386"/>
                    </a:cubicBezTo>
                    <a:cubicBezTo>
                      <a:pt x="3796" y="6378"/>
                      <a:pt x="3796" y="6378"/>
                      <a:pt x="3796" y="6378"/>
                    </a:cubicBezTo>
                    <a:lnTo>
                      <a:pt x="3785" y="6618"/>
                    </a:lnTo>
                    <a:close/>
                    <a:moveTo>
                      <a:pt x="3770" y="6623"/>
                    </a:moveTo>
                    <a:cubicBezTo>
                      <a:pt x="3781" y="6394"/>
                      <a:pt x="3781" y="6394"/>
                      <a:pt x="3781" y="6394"/>
                    </a:cubicBezTo>
                    <a:cubicBezTo>
                      <a:pt x="3737" y="6399"/>
                      <a:pt x="3737" y="6399"/>
                      <a:pt x="3737" y="6399"/>
                    </a:cubicBezTo>
                    <a:cubicBezTo>
                      <a:pt x="3722" y="6752"/>
                      <a:pt x="3722" y="6752"/>
                      <a:pt x="3722" y="6752"/>
                    </a:cubicBezTo>
                    <a:cubicBezTo>
                      <a:pt x="3895" y="6819"/>
                      <a:pt x="3895" y="6819"/>
                      <a:pt x="3895" y="6819"/>
                    </a:cubicBezTo>
                    <a:cubicBezTo>
                      <a:pt x="3912" y="6774"/>
                      <a:pt x="3912" y="6774"/>
                      <a:pt x="3912" y="6774"/>
                    </a:cubicBezTo>
                    <a:lnTo>
                      <a:pt x="3770" y="6623"/>
                    </a:lnTo>
                    <a:close/>
                    <a:moveTo>
                      <a:pt x="4636" y="5686"/>
                    </a:moveTo>
                    <a:cubicBezTo>
                      <a:pt x="4487" y="5708"/>
                      <a:pt x="4487" y="5708"/>
                      <a:pt x="4487" y="5708"/>
                    </a:cubicBezTo>
                    <a:cubicBezTo>
                      <a:pt x="4537" y="5543"/>
                      <a:pt x="4537" y="5543"/>
                      <a:pt x="4537" y="5543"/>
                    </a:cubicBezTo>
                    <a:cubicBezTo>
                      <a:pt x="4615" y="5553"/>
                      <a:pt x="4615" y="5553"/>
                      <a:pt x="4615" y="5553"/>
                    </a:cubicBezTo>
                    <a:cubicBezTo>
                      <a:pt x="4616" y="5559"/>
                      <a:pt x="4616" y="5559"/>
                      <a:pt x="4616" y="5559"/>
                    </a:cubicBezTo>
                    <a:lnTo>
                      <a:pt x="4636" y="5686"/>
                    </a:lnTo>
                    <a:close/>
                    <a:moveTo>
                      <a:pt x="4508" y="5690"/>
                    </a:moveTo>
                    <a:cubicBezTo>
                      <a:pt x="4619" y="5673"/>
                      <a:pt x="4619" y="5673"/>
                      <a:pt x="4619" y="5673"/>
                    </a:cubicBezTo>
                    <a:cubicBezTo>
                      <a:pt x="4602" y="5567"/>
                      <a:pt x="4602" y="5567"/>
                      <a:pt x="4602" y="5567"/>
                    </a:cubicBezTo>
                    <a:cubicBezTo>
                      <a:pt x="4548" y="5560"/>
                      <a:pt x="4548" y="5560"/>
                      <a:pt x="4548" y="5560"/>
                    </a:cubicBezTo>
                    <a:lnTo>
                      <a:pt x="4508" y="5690"/>
                    </a:lnTo>
                    <a:close/>
                    <a:moveTo>
                      <a:pt x="4721" y="5630"/>
                    </a:moveTo>
                    <a:cubicBezTo>
                      <a:pt x="4635" y="5774"/>
                      <a:pt x="4635" y="5774"/>
                      <a:pt x="4635" y="5774"/>
                    </a:cubicBezTo>
                    <a:cubicBezTo>
                      <a:pt x="4442" y="5722"/>
                      <a:pt x="4442" y="5722"/>
                      <a:pt x="4442" y="5722"/>
                    </a:cubicBezTo>
                    <a:cubicBezTo>
                      <a:pt x="4452" y="5539"/>
                      <a:pt x="4452" y="5539"/>
                      <a:pt x="4452" y="5539"/>
                    </a:cubicBezTo>
                    <a:cubicBezTo>
                      <a:pt x="4273" y="5249"/>
                      <a:pt x="4273" y="5249"/>
                      <a:pt x="4273" y="5249"/>
                    </a:cubicBezTo>
                    <a:cubicBezTo>
                      <a:pt x="4311" y="5213"/>
                      <a:pt x="4311" y="5213"/>
                      <a:pt x="4311" y="5213"/>
                    </a:cubicBezTo>
                    <a:cubicBezTo>
                      <a:pt x="4304" y="5120"/>
                      <a:pt x="4304" y="5120"/>
                      <a:pt x="4304" y="5120"/>
                    </a:cubicBezTo>
                    <a:cubicBezTo>
                      <a:pt x="4357" y="5110"/>
                      <a:pt x="4357" y="5110"/>
                      <a:pt x="4357" y="5110"/>
                    </a:cubicBezTo>
                    <a:cubicBezTo>
                      <a:pt x="4723" y="5626"/>
                      <a:pt x="4723" y="5626"/>
                      <a:pt x="4723" y="5626"/>
                    </a:cubicBezTo>
                    <a:lnTo>
                      <a:pt x="4721" y="5630"/>
                    </a:lnTo>
                    <a:close/>
                    <a:moveTo>
                      <a:pt x="4706" y="5626"/>
                    </a:moveTo>
                    <a:cubicBezTo>
                      <a:pt x="4351" y="5126"/>
                      <a:pt x="4351" y="5126"/>
                      <a:pt x="4351" y="5126"/>
                    </a:cubicBezTo>
                    <a:cubicBezTo>
                      <a:pt x="4319" y="5132"/>
                      <a:pt x="4319" y="5132"/>
                      <a:pt x="4319" y="5132"/>
                    </a:cubicBezTo>
                    <a:cubicBezTo>
                      <a:pt x="4327" y="5219"/>
                      <a:pt x="4327" y="5219"/>
                      <a:pt x="4327" y="5219"/>
                    </a:cubicBezTo>
                    <a:cubicBezTo>
                      <a:pt x="4292" y="5252"/>
                      <a:pt x="4292" y="5252"/>
                      <a:pt x="4292" y="5252"/>
                    </a:cubicBezTo>
                    <a:cubicBezTo>
                      <a:pt x="4467" y="5535"/>
                      <a:pt x="4467" y="5535"/>
                      <a:pt x="4467" y="5535"/>
                    </a:cubicBezTo>
                    <a:cubicBezTo>
                      <a:pt x="4457" y="5711"/>
                      <a:pt x="4457" y="5711"/>
                      <a:pt x="4457" y="5711"/>
                    </a:cubicBezTo>
                    <a:cubicBezTo>
                      <a:pt x="4628" y="5757"/>
                      <a:pt x="4628" y="5757"/>
                      <a:pt x="4628" y="5757"/>
                    </a:cubicBezTo>
                    <a:lnTo>
                      <a:pt x="4706" y="5626"/>
                    </a:lnTo>
                    <a:close/>
                    <a:moveTo>
                      <a:pt x="4639" y="5016"/>
                    </a:moveTo>
                    <a:cubicBezTo>
                      <a:pt x="4522" y="5094"/>
                      <a:pt x="4522" y="5094"/>
                      <a:pt x="4522" y="5094"/>
                    </a:cubicBezTo>
                    <a:cubicBezTo>
                      <a:pt x="4319" y="4841"/>
                      <a:pt x="4319" y="4841"/>
                      <a:pt x="4319" y="4841"/>
                    </a:cubicBezTo>
                    <a:cubicBezTo>
                      <a:pt x="4409" y="4776"/>
                      <a:pt x="4409" y="4776"/>
                      <a:pt x="4409" y="4776"/>
                    </a:cubicBezTo>
                    <a:cubicBezTo>
                      <a:pt x="4442" y="4604"/>
                      <a:pt x="4442" y="4604"/>
                      <a:pt x="4442" y="4604"/>
                    </a:cubicBezTo>
                    <a:cubicBezTo>
                      <a:pt x="4861" y="4911"/>
                      <a:pt x="4861" y="4911"/>
                      <a:pt x="4861" y="4911"/>
                    </a:cubicBezTo>
                    <a:cubicBezTo>
                      <a:pt x="4858" y="4917"/>
                      <a:pt x="4858" y="4917"/>
                      <a:pt x="4858" y="4917"/>
                    </a:cubicBezTo>
                    <a:cubicBezTo>
                      <a:pt x="4858" y="4917"/>
                      <a:pt x="4818" y="4984"/>
                      <a:pt x="4795" y="5030"/>
                    </a:cubicBezTo>
                    <a:cubicBezTo>
                      <a:pt x="4782" y="5056"/>
                      <a:pt x="4779" y="5088"/>
                      <a:pt x="4779" y="5111"/>
                    </a:cubicBezTo>
                    <a:cubicBezTo>
                      <a:pt x="4779" y="5126"/>
                      <a:pt x="4781" y="5137"/>
                      <a:pt x="4781" y="5137"/>
                    </a:cubicBezTo>
                    <a:cubicBezTo>
                      <a:pt x="4767" y="5142"/>
                      <a:pt x="4767" y="5142"/>
                      <a:pt x="4767" y="5142"/>
                    </a:cubicBezTo>
                    <a:cubicBezTo>
                      <a:pt x="4580" y="4870"/>
                      <a:pt x="4580" y="4870"/>
                      <a:pt x="4580" y="4870"/>
                    </a:cubicBezTo>
                    <a:cubicBezTo>
                      <a:pt x="4546" y="4882"/>
                      <a:pt x="4546" y="4882"/>
                      <a:pt x="4546" y="4882"/>
                    </a:cubicBezTo>
                    <a:lnTo>
                      <a:pt x="4639" y="5016"/>
                    </a:lnTo>
                    <a:close/>
                    <a:moveTo>
                      <a:pt x="4525" y="5075"/>
                    </a:moveTo>
                    <a:cubicBezTo>
                      <a:pt x="4618" y="5013"/>
                      <a:pt x="4618" y="5013"/>
                      <a:pt x="4618" y="5013"/>
                    </a:cubicBezTo>
                    <a:cubicBezTo>
                      <a:pt x="4523" y="4874"/>
                      <a:pt x="4523" y="4874"/>
                      <a:pt x="4523" y="4874"/>
                    </a:cubicBezTo>
                    <a:cubicBezTo>
                      <a:pt x="4586" y="4853"/>
                      <a:pt x="4586" y="4853"/>
                      <a:pt x="4586" y="4853"/>
                    </a:cubicBezTo>
                    <a:cubicBezTo>
                      <a:pt x="4765" y="5112"/>
                      <a:pt x="4765" y="5112"/>
                      <a:pt x="4765" y="5112"/>
                    </a:cubicBezTo>
                    <a:cubicBezTo>
                      <a:pt x="4765" y="5111"/>
                      <a:pt x="4765" y="5111"/>
                      <a:pt x="4765" y="5111"/>
                    </a:cubicBezTo>
                    <a:cubicBezTo>
                      <a:pt x="4765" y="5087"/>
                      <a:pt x="4767" y="5053"/>
                      <a:pt x="4782" y="5024"/>
                    </a:cubicBezTo>
                    <a:cubicBezTo>
                      <a:pt x="4801" y="4985"/>
                      <a:pt x="4831" y="4932"/>
                      <a:pt x="4842" y="4915"/>
                    </a:cubicBezTo>
                    <a:cubicBezTo>
                      <a:pt x="4452" y="4629"/>
                      <a:pt x="4452" y="4629"/>
                      <a:pt x="4452" y="4629"/>
                    </a:cubicBezTo>
                    <a:cubicBezTo>
                      <a:pt x="4422" y="4784"/>
                      <a:pt x="4422" y="4784"/>
                      <a:pt x="4422" y="4784"/>
                    </a:cubicBezTo>
                    <a:cubicBezTo>
                      <a:pt x="4340" y="4844"/>
                      <a:pt x="4340" y="4844"/>
                      <a:pt x="4340" y="4844"/>
                    </a:cubicBezTo>
                    <a:lnTo>
                      <a:pt x="4525" y="5075"/>
                    </a:lnTo>
                    <a:close/>
                    <a:moveTo>
                      <a:pt x="4437" y="4076"/>
                    </a:moveTo>
                    <a:cubicBezTo>
                      <a:pt x="4554" y="4097"/>
                      <a:pt x="4554" y="4097"/>
                      <a:pt x="4554" y="4097"/>
                    </a:cubicBezTo>
                    <a:cubicBezTo>
                      <a:pt x="4556" y="4100"/>
                      <a:pt x="4556" y="4100"/>
                      <a:pt x="4556" y="4100"/>
                    </a:cubicBezTo>
                    <a:cubicBezTo>
                      <a:pt x="4890" y="4534"/>
                      <a:pt x="4890" y="4534"/>
                      <a:pt x="4890" y="4534"/>
                    </a:cubicBezTo>
                    <a:cubicBezTo>
                      <a:pt x="4861" y="4545"/>
                      <a:pt x="4861" y="4545"/>
                      <a:pt x="4861" y="4545"/>
                    </a:cubicBezTo>
                    <a:cubicBezTo>
                      <a:pt x="4526" y="4288"/>
                      <a:pt x="4526" y="4288"/>
                      <a:pt x="4526" y="4288"/>
                    </a:cubicBezTo>
                    <a:lnTo>
                      <a:pt x="4437" y="4076"/>
                    </a:lnTo>
                    <a:close/>
                    <a:moveTo>
                      <a:pt x="4546" y="4111"/>
                    </a:moveTo>
                    <a:cubicBezTo>
                      <a:pt x="4462" y="4095"/>
                      <a:pt x="4462" y="4095"/>
                      <a:pt x="4462" y="4095"/>
                    </a:cubicBezTo>
                    <a:cubicBezTo>
                      <a:pt x="4538" y="4278"/>
                      <a:pt x="4538" y="4278"/>
                      <a:pt x="4538" y="4278"/>
                    </a:cubicBezTo>
                    <a:cubicBezTo>
                      <a:pt x="4863" y="4529"/>
                      <a:pt x="4863" y="4529"/>
                      <a:pt x="4863" y="4529"/>
                    </a:cubicBezTo>
                    <a:cubicBezTo>
                      <a:pt x="4867" y="4527"/>
                      <a:pt x="4867" y="4527"/>
                      <a:pt x="4867" y="4527"/>
                    </a:cubicBezTo>
                    <a:lnTo>
                      <a:pt x="4546" y="4111"/>
                    </a:lnTo>
                    <a:close/>
                    <a:moveTo>
                      <a:pt x="3346" y="6326"/>
                    </a:moveTo>
                    <a:cubicBezTo>
                      <a:pt x="3574" y="6301"/>
                      <a:pt x="3574" y="6301"/>
                      <a:pt x="3574" y="6301"/>
                    </a:cubicBezTo>
                    <a:cubicBezTo>
                      <a:pt x="3574" y="6310"/>
                      <a:pt x="3574" y="6310"/>
                      <a:pt x="3574" y="6310"/>
                    </a:cubicBezTo>
                    <a:cubicBezTo>
                      <a:pt x="3542" y="6773"/>
                      <a:pt x="3542" y="6773"/>
                      <a:pt x="3542" y="6773"/>
                    </a:cubicBezTo>
                    <a:cubicBezTo>
                      <a:pt x="3205" y="6652"/>
                      <a:pt x="3205" y="6652"/>
                      <a:pt x="3205" y="6652"/>
                    </a:cubicBezTo>
                    <a:cubicBezTo>
                      <a:pt x="3279" y="6501"/>
                      <a:pt x="3279" y="6501"/>
                      <a:pt x="3279" y="6501"/>
                    </a:cubicBezTo>
                    <a:cubicBezTo>
                      <a:pt x="3352" y="6541"/>
                      <a:pt x="3352" y="6541"/>
                      <a:pt x="3352" y="6541"/>
                    </a:cubicBezTo>
                    <a:cubicBezTo>
                      <a:pt x="3342" y="6628"/>
                      <a:pt x="3342" y="6628"/>
                      <a:pt x="3342" y="6628"/>
                    </a:cubicBezTo>
                    <a:cubicBezTo>
                      <a:pt x="3400" y="6644"/>
                      <a:pt x="3400" y="6644"/>
                      <a:pt x="3400" y="6644"/>
                    </a:cubicBezTo>
                    <a:cubicBezTo>
                      <a:pt x="3472" y="6381"/>
                      <a:pt x="3472" y="6381"/>
                      <a:pt x="3472" y="6381"/>
                    </a:cubicBezTo>
                    <a:cubicBezTo>
                      <a:pt x="3403" y="6386"/>
                      <a:pt x="3403" y="6386"/>
                      <a:pt x="3403" y="6386"/>
                    </a:cubicBezTo>
                    <a:cubicBezTo>
                      <a:pt x="3379" y="6450"/>
                      <a:pt x="3379" y="6450"/>
                      <a:pt x="3379" y="6450"/>
                    </a:cubicBezTo>
                    <a:cubicBezTo>
                      <a:pt x="3287" y="6452"/>
                      <a:pt x="3287" y="6452"/>
                      <a:pt x="3287" y="6452"/>
                    </a:cubicBezTo>
                    <a:lnTo>
                      <a:pt x="3346" y="6326"/>
                    </a:lnTo>
                    <a:close/>
                    <a:moveTo>
                      <a:pt x="3355" y="6340"/>
                    </a:moveTo>
                    <a:cubicBezTo>
                      <a:pt x="3311" y="6437"/>
                      <a:pt x="3311" y="6437"/>
                      <a:pt x="3311" y="6437"/>
                    </a:cubicBezTo>
                    <a:cubicBezTo>
                      <a:pt x="3369" y="6436"/>
                      <a:pt x="3369" y="6436"/>
                      <a:pt x="3369" y="6436"/>
                    </a:cubicBezTo>
                    <a:cubicBezTo>
                      <a:pt x="3392" y="6372"/>
                      <a:pt x="3392" y="6372"/>
                      <a:pt x="3392" y="6372"/>
                    </a:cubicBezTo>
                    <a:cubicBezTo>
                      <a:pt x="3492" y="6365"/>
                      <a:pt x="3492" y="6365"/>
                      <a:pt x="3492" y="6365"/>
                    </a:cubicBezTo>
                    <a:cubicBezTo>
                      <a:pt x="3410" y="6663"/>
                      <a:pt x="3410" y="6663"/>
                      <a:pt x="3410" y="6663"/>
                    </a:cubicBezTo>
                    <a:cubicBezTo>
                      <a:pt x="3326" y="6639"/>
                      <a:pt x="3326" y="6639"/>
                      <a:pt x="3326" y="6639"/>
                    </a:cubicBezTo>
                    <a:cubicBezTo>
                      <a:pt x="3336" y="6550"/>
                      <a:pt x="3336" y="6550"/>
                      <a:pt x="3336" y="6550"/>
                    </a:cubicBezTo>
                    <a:cubicBezTo>
                      <a:pt x="3286" y="6522"/>
                      <a:pt x="3286" y="6522"/>
                      <a:pt x="3286" y="6522"/>
                    </a:cubicBezTo>
                    <a:cubicBezTo>
                      <a:pt x="3226" y="6644"/>
                      <a:pt x="3226" y="6644"/>
                      <a:pt x="3226" y="6644"/>
                    </a:cubicBezTo>
                    <a:cubicBezTo>
                      <a:pt x="3529" y="6753"/>
                      <a:pt x="3529" y="6753"/>
                      <a:pt x="3529" y="6753"/>
                    </a:cubicBezTo>
                    <a:cubicBezTo>
                      <a:pt x="3558" y="6318"/>
                      <a:pt x="3558" y="6318"/>
                      <a:pt x="3558" y="6318"/>
                    </a:cubicBezTo>
                    <a:lnTo>
                      <a:pt x="3355" y="6340"/>
                    </a:lnTo>
                    <a:close/>
                    <a:moveTo>
                      <a:pt x="2357" y="5057"/>
                    </a:moveTo>
                    <a:cubicBezTo>
                      <a:pt x="2394" y="4826"/>
                      <a:pt x="2394" y="4826"/>
                      <a:pt x="2394" y="4826"/>
                    </a:cubicBezTo>
                    <a:cubicBezTo>
                      <a:pt x="2570" y="4833"/>
                      <a:pt x="2570" y="4833"/>
                      <a:pt x="2570" y="4833"/>
                    </a:cubicBezTo>
                    <a:cubicBezTo>
                      <a:pt x="2542" y="4938"/>
                      <a:pt x="2542" y="4938"/>
                      <a:pt x="2542" y="4938"/>
                    </a:cubicBezTo>
                    <a:cubicBezTo>
                      <a:pt x="2821" y="5007"/>
                      <a:pt x="2821" y="5007"/>
                      <a:pt x="2821" y="5007"/>
                    </a:cubicBezTo>
                    <a:cubicBezTo>
                      <a:pt x="2822" y="5012"/>
                      <a:pt x="2822" y="5012"/>
                      <a:pt x="2822" y="5012"/>
                    </a:cubicBezTo>
                    <a:cubicBezTo>
                      <a:pt x="2839" y="5166"/>
                      <a:pt x="2839" y="5166"/>
                      <a:pt x="2839" y="5166"/>
                    </a:cubicBezTo>
                    <a:cubicBezTo>
                      <a:pt x="2573" y="5132"/>
                      <a:pt x="2573" y="5132"/>
                      <a:pt x="2573" y="5132"/>
                    </a:cubicBezTo>
                    <a:cubicBezTo>
                      <a:pt x="2581" y="5097"/>
                      <a:pt x="2581" y="5097"/>
                      <a:pt x="2581" y="5097"/>
                    </a:cubicBezTo>
                    <a:cubicBezTo>
                      <a:pt x="2465" y="5063"/>
                      <a:pt x="2465" y="5063"/>
                      <a:pt x="2465" y="5063"/>
                    </a:cubicBezTo>
                    <a:lnTo>
                      <a:pt x="2357" y="5057"/>
                    </a:lnTo>
                    <a:close/>
                    <a:moveTo>
                      <a:pt x="2374" y="5043"/>
                    </a:moveTo>
                    <a:cubicBezTo>
                      <a:pt x="2467" y="5049"/>
                      <a:pt x="2467" y="5049"/>
                      <a:pt x="2467" y="5049"/>
                    </a:cubicBezTo>
                    <a:cubicBezTo>
                      <a:pt x="2599" y="5087"/>
                      <a:pt x="2599" y="5087"/>
                      <a:pt x="2599" y="5087"/>
                    </a:cubicBezTo>
                    <a:cubicBezTo>
                      <a:pt x="2591" y="5119"/>
                      <a:pt x="2591" y="5119"/>
                      <a:pt x="2591" y="5119"/>
                    </a:cubicBezTo>
                    <a:cubicBezTo>
                      <a:pt x="2822" y="5149"/>
                      <a:pt x="2822" y="5149"/>
                      <a:pt x="2822" y="5149"/>
                    </a:cubicBezTo>
                    <a:cubicBezTo>
                      <a:pt x="2808" y="5019"/>
                      <a:pt x="2808" y="5019"/>
                      <a:pt x="2808" y="5019"/>
                    </a:cubicBezTo>
                    <a:cubicBezTo>
                      <a:pt x="2524" y="4948"/>
                      <a:pt x="2524" y="4948"/>
                      <a:pt x="2524" y="4948"/>
                    </a:cubicBezTo>
                    <a:cubicBezTo>
                      <a:pt x="2551" y="4847"/>
                      <a:pt x="2551" y="4847"/>
                      <a:pt x="2551" y="4847"/>
                    </a:cubicBezTo>
                    <a:cubicBezTo>
                      <a:pt x="2406" y="4841"/>
                      <a:pt x="2406" y="4841"/>
                      <a:pt x="2406" y="4841"/>
                    </a:cubicBezTo>
                    <a:lnTo>
                      <a:pt x="2374" y="5043"/>
                    </a:lnTo>
                    <a:close/>
                    <a:moveTo>
                      <a:pt x="4489" y="4287"/>
                    </a:moveTo>
                    <a:cubicBezTo>
                      <a:pt x="5000" y="4714"/>
                      <a:pt x="5000" y="4714"/>
                      <a:pt x="5000" y="4714"/>
                    </a:cubicBezTo>
                    <a:cubicBezTo>
                      <a:pt x="4931" y="4833"/>
                      <a:pt x="4931" y="4833"/>
                      <a:pt x="4931" y="4833"/>
                    </a:cubicBezTo>
                    <a:cubicBezTo>
                      <a:pt x="4438" y="4470"/>
                      <a:pt x="4438" y="4470"/>
                      <a:pt x="4438" y="4470"/>
                    </a:cubicBezTo>
                    <a:cubicBezTo>
                      <a:pt x="4188" y="3887"/>
                      <a:pt x="4188" y="3887"/>
                      <a:pt x="4188" y="3887"/>
                    </a:cubicBezTo>
                    <a:cubicBezTo>
                      <a:pt x="4483" y="3950"/>
                      <a:pt x="4483" y="3950"/>
                      <a:pt x="4483" y="3950"/>
                    </a:cubicBezTo>
                    <a:cubicBezTo>
                      <a:pt x="4484" y="3954"/>
                      <a:pt x="4484" y="3954"/>
                      <a:pt x="4484" y="3954"/>
                    </a:cubicBezTo>
                    <a:cubicBezTo>
                      <a:pt x="4524" y="4056"/>
                      <a:pt x="4524" y="4056"/>
                      <a:pt x="4524" y="4056"/>
                    </a:cubicBezTo>
                    <a:cubicBezTo>
                      <a:pt x="4393" y="4040"/>
                      <a:pt x="4393" y="4040"/>
                      <a:pt x="4393" y="4040"/>
                    </a:cubicBezTo>
                    <a:lnTo>
                      <a:pt x="4489" y="4287"/>
                    </a:lnTo>
                    <a:close/>
                    <a:moveTo>
                      <a:pt x="4981" y="4718"/>
                    </a:moveTo>
                    <a:cubicBezTo>
                      <a:pt x="4476" y="4295"/>
                      <a:pt x="4476" y="4295"/>
                      <a:pt x="4476" y="4295"/>
                    </a:cubicBezTo>
                    <a:cubicBezTo>
                      <a:pt x="4370" y="4023"/>
                      <a:pt x="4370" y="4023"/>
                      <a:pt x="4370" y="4023"/>
                    </a:cubicBezTo>
                    <a:cubicBezTo>
                      <a:pt x="4501" y="4038"/>
                      <a:pt x="4501" y="4038"/>
                      <a:pt x="4501" y="4038"/>
                    </a:cubicBezTo>
                    <a:cubicBezTo>
                      <a:pt x="4472" y="3963"/>
                      <a:pt x="4472" y="3963"/>
                      <a:pt x="4472" y="3963"/>
                    </a:cubicBezTo>
                    <a:cubicBezTo>
                      <a:pt x="4213" y="3907"/>
                      <a:pt x="4213" y="3907"/>
                      <a:pt x="4213" y="3907"/>
                    </a:cubicBezTo>
                    <a:cubicBezTo>
                      <a:pt x="4450" y="4461"/>
                      <a:pt x="4450" y="4461"/>
                      <a:pt x="4450" y="4461"/>
                    </a:cubicBezTo>
                    <a:cubicBezTo>
                      <a:pt x="4927" y="4812"/>
                      <a:pt x="4927" y="4812"/>
                      <a:pt x="4927" y="4812"/>
                    </a:cubicBezTo>
                    <a:lnTo>
                      <a:pt x="4981" y="4718"/>
                    </a:lnTo>
                    <a:close/>
                    <a:moveTo>
                      <a:pt x="3329" y="6273"/>
                    </a:moveTo>
                    <a:cubicBezTo>
                      <a:pt x="3130" y="6138"/>
                      <a:pt x="3130" y="6138"/>
                      <a:pt x="3130" y="6138"/>
                    </a:cubicBezTo>
                    <a:cubicBezTo>
                      <a:pt x="3322" y="6111"/>
                      <a:pt x="3322" y="6111"/>
                      <a:pt x="3322" y="6111"/>
                    </a:cubicBezTo>
                    <a:cubicBezTo>
                      <a:pt x="3383" y="6170"/>
                      <a:pt x="3383" y="6170"/>
                      <a:pt x="3383" y="6170"/>
                    </a:cubicBezTo>
                    <a:cubicBezTo>
                      <a:pt x="3746" y="6157"/>
                      <a:pt x="3746" y="6157"/>
                      <a:pt x="3746" y="6157"/>
                    </a:cubicBezTo>
                    <a:cubicBezTo>
                      <a:pt x="3748" y="6158"/>
                      <a:pt x="3748" y="6158"/>
                      <a:pt x="3748" y="6158"/>
                    </a:cubicBezTo>
                    <a:cubicBezTo>
                      <a:pt x="3846" y="6194"/>
                      <a:pt x="3846" y="6194"/>
                      <a:pt x="3846" y="6194"/>
                    </a:cubicBezTo>
                    <a:lnTo>
                      <a:pt x="3329" y="6273"/>
                    </a:lnTo>
                    <a:close/>
                    <a:moveTo>
                      <a:pt x="3170" y="6148"/>
                    </a:moveTo>
                    <a:cubicBezTo>
                      <a:pt x="3333" y="6258"/>
                      <a:pt x="3333" y="6258"/>
                      <a:pt x="3333" y="6258"/>
                    </a:cubicBezTo>
                    <a:cubicBezTo>
                      <a:pt x="3788" y="6188"/>
                      <a:pt x="3788" y="6188"/>
                      <a:pt x="3788" y="6188"/>
                    </a:cubicBezTo>
                    <a:cubicBezTo>
                      <a:pt x="3744" y="6172"/>
                      <a:pt x="3744" y="6172"/>
                      <a:pt x="3744" y="6172"/>
                    </a:cubicBezTo>
                    <a:cubicBezTo>
                      <a:pt x="3377" y="6185"/>
                      <a:pt x="3377" y="6185"/>
                      <a:pt x="3377" y="6185"/>
                    </a:cubicBezTo>
                    <a:cubicBezTo>
                      <a:pt x="3317" y="6127"/>
                      <a:pt x="3317" y="6127"/>
                      <a:pt x="3317" y="6127"/>
                    </a:cubicBezTo>
                    <a:lnTo>
                      <a:pt x="3170" y="6148"/>
                    </a:lnTo>
                    <a:close/>
                    <a:moveTo>
                      <a:pt x="4109" y="6992"/>
                    </a:moveTo>
                    <a:cubicBezTo>
                      <a:pt x="3612" y="6801"/>
                      <a:pt x="3612" y="6801"/>
                      <a:pt x="3612" y="6801"/>
                    </a:cubicBezTo>
                    <a:cubicBezTo>
                      <a:pt x="3648" y="6294"/>
                      <a:pt x="3648" y="6294"/>
                      <a:pt x="3648" y="6294"/>
                    </a:cubicBezTo>
                    <a:cubicBezTo>
                      <a:pt x="3883" y="6264"/>
                      <a:pt x="3883" y="6264"/>
                      <a:pt x="3883" y="6264"/>
                    </a:cubicBezTo>
                    <a:cubicBezTo>
                      <a:pt x="3883" y="6273"/>
                      <a:pt x="3883" y="6273"/>
                      <a:pt x="3883" y="6273"/>
                    </a:cubicBezTo>
                    <a:cubicBezTo>
                      <a:pt x="3873" y="6575"/>
                      <a:pt x="3873" y="6575"/>
                      <a:pt x="3873" y="6575"/>
                    </a:cubicBezTo>
                    <a:cubicBezTo>
                      <a:pt x="4074" y="6787"/>
                      <a:pt x="4074" y="6787"/>
                      <a:pt x="4074" y="6787"/>
                    </a:cubicBezTo>
                    <a:cubicBezTo>
                      <a:pt x="4049" y="6882"/>
                      <a:pt x="4049" y="6882"/>
                      <a:pt x="4049" y="6882"/>
                    </a:cubicBezTo>
                    <a:lnTo>
                      <a:pt x="4109" y="6992"/>
                    </a:lnTo>
                    <a:close/>
                    <a:moveTo>
                      <a:pt x="3627" y="6791"/>
                    </a:moveTo>
                    <a:cubicBezTo>
                      <a:pt x="4077" y="6963"/>
                      <a:pt x="4077" y="6963"/>
                      <a:pt x="4077" y="6963"/>
                    </a:cubicBezTo>
                    <a:cubicBezTo>
                      <a:pt x="4033" y="6884"/>
                      <a:pt x="4033" y="6884"/>
                      <a:pt x="4033" y="6884"/>
                    </a:cubicBezTo>
                    <a:cubicBezTo>
                      <a:pt x="4057" y="6791"/>
                      <a:pt x="4057" y="6791"/>
                      <a:pt x="4057" y="6791"/>
                    </a:cubicBezTo>
                    <a:cubicBezTo>
                      <a:pt x="3858" y="6581"/>
                      <a:pt x="3858" y="6581"/>
                      <a:pt x="3858" y="6581"/>
                    </a:cubicBezTo>
                    <a:cubicBezTo>
                      <a:pt x="3868" y="6281"/>
                      <a:pt x="3868" y="6281"/>
                      <a:pt x="3868" y="6281"/>
                    </a:cubicBezTo>
                    <a:cubicBezTo>
                      <a:pt x="3662" y="6307"/>
                      <a:pt x="3662" y="6307"/>
                      <a:pt x="3662" y="6307"/>
                    </a:cubicBezTo>
                    <a:lnTo>
                      <a:pt x="3627" y="6791"/>
                    </a:lnTo>
                    <a:close/>
                    <a:moveTo>
                      <a:pt x="3202" y="5738"/>
                    </a:moveTo>
                    <a:cubicBezTo>
                      <a:pt x="3211" y="5645"/>
                      <a:pt x="3211" y="5645"/>
                      <a:pt x="3211" y="5645"/>
                    </a:cubicBezTo>
                    <a:cubicBezTo>
                      <a:pt x="3211" y="5641"/>
                      <a:pt x="3215" y="5638"/>
                      <a:pt x="3219" y="5639"/>
                    </a:cubicBezTo>
                    <a:cubicBezTo>
                      <a:pt x="3276" y="5642"/>
                      <a:pt x="3276" y="5642"/>
                      <a:pt x="3276" y="5642"/>
                    </a:cubicBezTo>
                    <a:cubicBezTo>
                      <a:pt x="3283" y="5539"/>
                      <a:pt x="3283" y="5539"/>
                      <a:pt x="3283" y="5539"/>
                    </a:cubicBezTo>
                    <a:cubicBezTo>
                      <a:pt x="3284" y="5535"/>
                      <a:pt x="3284" y="5535"/>
                      <a:pt x="3284" y="5535"/>
                    </a:cubicBezTo>
                    <a:cubicBezTo>
                      <a:pt x="3336" y="5468"/>
                      <a:pt x="3336" y="5468"/>
                      <a:pt x="3336" y="5468"/>
                    </a:cubicBezTo>
                    <a:cubicBezTo>
                      <a:pt x="3338" y="5465"/>
                      <a:pt x="3343" y="5464"/>
                      <a:pt x="3346" y="5467"/>
                    </a:cubicBezTo>
                    <a:cubicBezTo>
                      <a:pt x="3346" y="5467"/>
                      <a:pt x="3450" y="5540"/>
                      <a:pt x="3504" y="5602"/>
                    </a:cubicBezTo>
                    <a:cubicBezTo>
                      <a:pt x="3530" y="5633"/>
                      <a:pt x="3548" y="5672"/>
                      <a:pt x="3548" y="5715"/>
                    </a:cubicBezTo>
                    <a:cubicBezTo>
                      <a:pt x="3548" y="5761"/>
                      <a:pt x="3529" y="5813"/>
                      <a:pt x="3483" y="5866"/>
                    </a:cubicBezTo>
                    <a:cubicBezTo>
                      <a:pt x="3391" y="5972"/>
                      <a:pt x="3094" y="6033"/>
                      <a:pt x="3094" y="6034"/>
                    </a:cubicBezTo>
                    <a:cubicBezTo>
                      <a:pt x="3093" y="6034"/>
                      <a:pt x="3093" y="6034"/>
                      <a:pt x="3092" y="6034"/>
                    </a:cubicBezTo>
                    <a:cubicBezTo>
                      <a:pt x="3090" y="6034"/>
                      <a:pt x="3087" y="6032"/>
                      <a:pt x="3086" y="6030"/>
                    </a:cubicBezTo>
                    <a:cubicBezTo>
                      <a:pt x="3070" y="6001"/>
                      <a:pt x="3070" y="6001"/>
                      <a:pt x="3070" y="6001"/>
                    </a:cubicBezTo>
                    <a:cubicBezTo>
                      <a:pt x="3068" y="5997"/>
                      <a:pt x="3069" y="5993"/>
                      <a:pt x="3072" y="5991"/>
                    </a:cubicBezTo>
                    <a:cubicBezTo>
                      <a:pt x="3072" y="5991"/>
                      <a:pt x="3123" y="5961"/>
                      <a:pt x="3180" y="5916"/>
                    </a:cubicBezTo>
                    <a:cubicBezTo>
                      <a:pt x="3233" y="5873"/>
                      <a:pt x="3291" y="5815"/>
                      <a:pt x="3315" y="5757"/>
                    </a:cubicBezTo>
                    <a:cubicBezTo>
                      <a:pt x="3286" y="5755"/>
                      <a:pt x="3209" y="5746"/>
                      <a:pt x="3209" y="5746"/>
                    </a:cubicBezTo>
                    <a:cubicBezTo>
                      <a:pt x="3205" y="5746"/>
                      <a:pt x="3202" y="5742"/>
                      <a:pt x="3202" y="5738"/>
                    </a:cubicBezTo>
                    <a:close/>
                    <a:moveTo>
                      <a:pt x="3218" y="5733"/>
                    </a:moveTo>
                    <a:cubicBezTo>
                      <a:pt x="3241" y="5735"/>
                      <a:pt x="3312" y="5742"/>
                      <a:pt x="3323" y="5742"/>
                    </a:cubicBezTo>
                    <a:cubicBezTo>
                      <a:pt x="3324" y="5742"/>
                      <a:pt x="3324" y="5742"/>
                      <a:pt x="3324" y="5742"/>
                    </a:cubicBezTo>
                    <a:cubicBezTo>
                      <a:pt x="3325" y="5742"/>
                      <a:pt x="3326" y="5742"/>
                      <a:pt x="3327" y="5742"/>
                    </a:cubicBezTo>
                    <a:cubicBezTo>
                      <a:pt x="3331" y="5743"/>
                      <a:pt x="3333" y="5746"/>
                      <a:pt x="3333" y="5750"/>
                    </a:cubicBezTo>
                    <a:cubicBezTo>
                      <a:pt x="3332" y="5751"/>
                      <a:pt x="3332" y="5751"/>
                      <a:pt x="3332" y="5752"/>
                    </a:cubicBezTo>
                    <a:cubicBezTo>
                      <a:pt x="3332" y="5752"/>
                      <a:pt x="3332" y="5752"/>
                      <a:pt x="3332" y="5752"/>
                    </a:cubicBezTo>
                    <a:cubicBezTo>
                      <a:pt x="3291" y="5872"/>
                      <a:pt x="3121" y="5979"/>
                      <a:pt x="3086" y="6000"/>
                    </a:cubicBezTo>
                    <a:cubicBezTo>
                      <a:pt x="3096" y="6018"/>
                      <a:pt x="3096" y="6018"/>
                      <a:pt x="3096" y="6018"/>
                    </a:cubicBezTo>
                    <a:cubicBezTo>
                      <a:pt x="3114" y="6014"/>
                      <a:pt x="3178" y="5999"/>
                      <a:pt x="3250" y="5975"/>
                    </a:cubicBezTo>
                    <a:cubicBezTo>
                      <a:pt x="3334" y="5947"/>
                      <a:pt x="3430" y="5906"/>
                      <a:pt x="3472" y="5857"/>
                    </a:cubicBezTo>
                    <a:cubicBezTo>
                      <a:pt x="3516" y="5805"/>
                      <a:pt x="3533" y="5757"/>
                      <a:pt x="3533" y="5715"/>
                    </a:cubicBezTo>
                    <a:cubicBezTo>
                      <a:pt x="3533" y="5676"/>
                      <a:pt x="3517" y="5641"/>
                      <a:pt x="3493" y="5612"/>
                    </a:cubicBezTo>
                    <a:cubicBezTo>
                      <a:pt x="3448" y="5560"/>
                      <a:pt x="3366" y="5499"/>
                      <a:pt x="3343" y="5483"/>
                    </a:cubicBezTo>
                    <a:cubicBezTo>
                      <a:pt x="3297" y="5542"/>
                      <a:pt x="3297" y="5542"/>
                      <a:pt x="3297" y="5542"/>
                    </a:cubicBezTo>
                    <a:cubicBezTo>
                      <a:pt x="3290" y="5651"/>
                      <a:pt x="3290" y="5651"/>
                      <a:pt x="3290" y="5651"/>
                    </a:cubicBezTo>
                    <a:cubicBezTo>
                      <a:pt x="3290" y="5655"/>
                      <a:pt x="3286" y="5658"/>
                      <a:pt x="3282" y="5658"/>
                    </a:cubicBezTo>
                    <a:cubicBezTo>
                      <a:pt x="3225" y="5654"/>
                      <a:pt x="3225" y="5654"/>
                      <a:pt x="3225" y="5654"/>
                    </a:cubicBezTo>
                    <a:lnTo>
                      <a:pt x="3218" y="5733"/>
                    </a:lnTo>
                    <a:close/>
                    <a:moveTo>
                      <a:pt x="2729" y="5542"/>
                    </a:moveTo>
                    <a:cubicBezTo>
                      <a:pt x="2656" y="5514"/>
                      <a:pt x="2656" y="5514"/>
                      <a:pt x="2656" y="5514"/>
                    </a:cubicBezTo>
                    <a:cubicBezTo>
                      <a:pt x="2731" y="5317"/>
                      <a:pt x="2731" y="5317"/>
                      <a:pt x="2731" y="5317"/>
                    </a:cubicBezTo>
                    <a:cubicBezTo>
                      <a:pt x="2782" y="5336"/>
                      <a:pt x="2782" y="5336"/>
                      <a:pt x="2782" y="5336"/>
                    </a:cubicBezTo>
                    <a:cubicBezTo>
                      <a:pt x="2784" y="5330"/>
                      <a:pt x="2784" y="5330"/>
                      <a:pt x="2784" y="5330"/>
                    </a:cubicBezTo>
                    <a:cubicBezTo>
                      <a:pt x="2787" y="5323"/>
                      <a:pt x="2787" y="5323"/>
                      <a:pt x="2787" y="5323"/>
                    </a:cubicBezTo>
                    <a:cubicBezTo>
                      <a:pt x="2880" y="5359"/>
                      <a:pt x="2880" y="5359"/>
                      <a:pt x="2880" y="5359"/>
                    </a:cubicBezTo>
                    <a:cubicBezTo>
                      <a:pt x="2877" y="5365"/>
                      <a:pt x="2877" y="5365"/>
                      <a:pt x="2877" y="5365"/>
                    </a:cubicBezTo>
                    <a:cubicBezTo>
                      <a:pt x="2841" y="5460"/>
                      <a:pt x="2841" y="5460"/>
                      <a:pt x="2841" y="5460"/>
                    </a:cubicBezTo>
                    <a:cubicBezTo>
                      <a:pt x="2927" y="5492"/>
                      <a:pt x="2927" y="5492"/>
                      <a:pt x="2927" y="5492"/>
                    </a:cubicBezTo>
                    <a:cubicBezTo>
                      <a:pt x="2874" y="5631"/>
                      <a:pt x="2874" y="5631"/>
                      <a:pt x="2874" y="5631"/>
                    </a:cubicBezTo>
                    <a:cubicBezTo>
                      <a:pt x="2803" y="5605"/>
                      <a:pt x="2803" y="5605"/>
                      <a:pt x="2803" y="5605"/>
                    </a:cubicBezTo>
                    <a:cubicBezTo>
                      <a:pt x="2778" y="5671"/>
                      <a:pt x="2778" y="5671"/>
                      <a:pt x="2778" y="5671"/>
                    </a:cubicBezTo>
                    <a:cubicBezTo>
                      <a:pt x="2707" y="5644"/>
                      <a:pt x="2707" y="5644"/>
                      <a:pt x="2707" y="5644"/>
                    </a:cubicBezTo>
                    <a:cubicBezTo>
                      <a:pt x="2774" y="5466"/>
                      <a:pt x="2774" y="5466"/>
                      <a:pt x="2774" y="5466"/>
                    </a:cubicBezTo>
                    <a:cubicBezTo>
                      <a:pt x="2760" y="5461"/>
                      <a:pt x="2760" y="5461"/>
                      <a:pt x="2760" y="5461"/>
                    </a:cubicBezTo>
                    <a:lnTo>
                      <a:pt x="2729" y="5542"/>
                    </a:lnTo>
                    <a:close/>
                    <a:moveTo>
                      <a:pt x="2722" y="5525"/>
                    </a:moveTo>
                    <a:cubicBezTo>
                      <a:pt x="2752" y="5444"/>
                      <a:pt x="2752" y="5444"/>
                      <a:pt x="2752" y="5444"/>
                    </a:cubicBezTo>
                    <a:cubicBezTo>
                      <a:pt x="2792" y="5458"/>
                      <a:pt x="2792" y="5458"/>
                      <a:pt x="2792" y="5458"/>
                    </a:cubicBezTo>
                    <a:cubicBezTo>
                      <a:pt x="2725" y="5636"/>
                      <a:pt x="2725" y="5636"/>
                      <a:pt x="2725" y="5636"/>
                    </a:cubicBezTo>
                    <a:cubicBezTo>
                      <a:pt x="2771" y="5653"/>
                      <a:pt x="2771" y="5653"/>
                      <a:pt x="2771" y="5653"/>
                    </a:cubicBezTo>
                    <a:cubicBezTo>
                      <a:pt x="2796" y="5587"/>
                      <a:pt x="2796" y="5587"/>
                      <a:pt x="2796" y="5587"/>
                    </a:cubicBezTo>
                    <a:cubicBezTo>
                      <a:pt x="2866" y="5614"/>
                      <a:pt x="2866" y="5614"/>
                      <a:pt x="2866" y="5614"/>
                    </a:cubicBezTo>
                    <a:cubicBezTo>
                      <a:pt x="2910" y="5500"/>
                      <a:pt x="2910" y="5500"/>
                      <a:pt x="2910" y="5500"/>
                    </a:cubicBezTo>
                    <a:cubicBezTo>
                      <a:pt x="2824" y="5468"/>
                      <a:pt x="2824" y="5468"/>
                      <a:pt x="2824" y="5468"/>
                    </a:cubicBezTo>
                    <a:cubicBezTo>
                      <a:pt x="2863" y="5366"/>
                      <a:pt x="2863" y="5366"/>
                      <a:pt x="2863" y="5366"/>
                    </a:cubicBezTo>
                    <a:cubicBezTo>
                      <a:pt x="2794" y="5341"/>
                      <a:pt x="2794" y="5341"/>
                      <a:pt x="2794" y="5341"/>
                    </a:cubicBezTo>
                    <a:cubicBezTo>
                      <a:pt x="2792" y="5347"/>
                      <a:pt x="2792" y="5347"/>
                      <a:pt x="2792" y="5347"/>
                    </a:cubicBezTo>
                    <a:cubicBezTo>
                      <a:pt x="2790" y="5353"/>
                      <a:pt x="2790" y="5353"/>
                      <a:pt x="2790" y="5353"/>
                    </a:cubicBezTo>
                    <a:cubicBezTo>
                      <a:pt x="2738" y="5334"/>
                      <a:pt x="2738" y="5334"/>
                      <a:pt x="2738" y="5334"/>
                    </a:cubicBezTo>
                    <a:cubicBezTo>
                      <a:pt x="2673" y="5506"/>
                      <a:pt x="2673" y="5506"/>
                      <a:pt x="2673" y="5506"/>
                    </a:cubicBezTo>
                    <a:lnTo>
                      <a:pt x="2722" y="5525"/>
                    </a:lnTo>
                    <a:close/>
                    <a:moveTo>
                      <a:pt x="3395" y="6085"/>
                    </a:moveTo>
                    <a:cubicBezTo>
                      <a:pt x="3394" y="6083"/>
                      <a:pt x="3396" y="6080"/>
                      <a:pt x="3398" y="6078"/>
                    </a:cubicBezTo>
                    <a:cubicBezTo>
                      <a:pt x="3401" y="6077"/>
                      <a:pt x="3402" y="6077"/>
                      <a:pt x="3403" y="6077"/>
                    </a:cubicBezTo>
                    <a:cubicBezTo>
                      <a:pt x="3405" y="6078"/>
                      <a:pt x="3457" y="6060"/>
                      <a:pt x="3516" y="6023"/>
                    </a:cubicBezTo>
                    <a:cubicBezTo>
                      <a:pt x="3545" y="6005"/>
                      <a:pt x="3571" y="5974"/>
                      <a:pt x="3590" y="5948"/>
                    </a:cubicBezTo>
                    <a:cubicBezTo>
                      <a:pt x="3609" y="5922"/>
                      <a:pt x="3620" y="5900"/>
                      <a:pt x="3620" y="5900"/>
                    </a:cubicBezTo>
                    <a:cubicBezTo>
                      <a:pt x="3623" y="5894"/>
                      <a:pt x="3623" y="5894"/>
                      <a:pt x="3623" y="5894"/>
                    </a:cubicBezTo>
                    <a:cubicBezTo>
                      <a:pt x="3747" y="5936"/>
                      <a:pt x="3747" y="5936"/>
                      <a:pt x="3747" y="5936"/>
                    </a:cubicBezTo>
                    <a:cubicBezTo>
                      <a:pt x="3747" y="5942"/>
                      <a:pt x="3747" y="5942"/>
                      <a:pt x="3747" y="5942"/>
                    </a:cubicBezTo>
                    <a:cubicBezTo>
                      <a:pt x="3747" y="6083"/>
                      <a:pt x="3747" y="6083"/>
                      <a:pt x="3747" y="6083"/>
                    </a:cubicBezTo>
                    <a:cubicBezTo>
                      <a:pt x="3424" y="6112"/>
                      <a:pt x="3424" y="6112"/>
                      <a:pt x="3424" y="6112"/>
                    </a:cubicBezTo>
                    <a:cubicBezTo>
                      <a:pt x="3422" y="6111"/>
                      <a:pt x="3422" y="6111"/>
                      <a:pt x="3422" y="6111"/>
                    </a:cubicBezTo>
                    <a:cubicBezTo>
                      <a:pt x="3422" y="6111"/>
                      <a:pt x="3416" y="6107"/>
                      <a:pt x="3410" y="6102"/>
                    </a:cubicBezTo>
                    <a:cubicBezTo>
                      <a:pt x="3406" y="6100"/>
                      <a:pt x="3403" y="6097"/>
                      <a:pt x="3401" y="6095"/>
                    </a:cubicBezTo>
                    <a:cubicBezTo>
                      <a:pt x="3398" y="6092"/>
                      <a:pt x="3396" y="6093"/>
                      <a:pt x="3395" y="6085"/>
                    </a:cubicBezTo>
                    <a:close/>
                    <a:moveTo>
                      <a:pt x="3416" y="6089"/>
                    </a:moveTo>
                    <a:cubicBezTo>
                      <a:pt x="3420" y="6092"/>
                      <a:pt x="3425" y="6095"/>
                      <a:pt x="3428" y="6097"/>
                    </a:cubicBezTo>
                    <a:cubicBezTo>
                      <a:pt x="3732" y="6070"/>
                      <a:pt x="3732" y="6070"/>
                      <a:pt x="3732" y="6070"/>
                    </a:cubicBezTo>
                    <a:cubicBezTo>
                      <a:pt x="3732" y="5947"/>
                      <a:pt x="3732" y="5947"/>
                      <a:pt x="3732" y="5947"/>
                    </a:cubicBezTo>
                    <a:cubicBezTo>
                      <a:pt x="3630" y="5912"/>
                      <a:pt x="3630" y="5912"/>
                      <a:pt x="3630" y="5912"/>
                    </a:cubicBezTo>
                    <a:cubicBezTo>
                      <a:pt x="3619" y="5933"/>
                      <a:pt x="3578" y="6002"/>
                      <a:pt x="3524" y="6036"/>
                    </a:cubicBezTo>
                    <a:cubicBezTo>
                      <a:pt x="3476" y="6065"/>
                      <a:pt x="3437" y="6082"/>
                      <a:pt x="3416" y="6089"/>
                    </a:cubicBezTo>
                    <a:close/>
                    <a:moveTo>
                      <a:pt x="3213" y="5793"/>
                    </a:moveTo>
                    <a:cubicBezTo>
                      <a:pt x="3029" y="5946"/>
                      <a:pt x="3029" y="5946"/>
                      <a:pt x="3029" y="5946"/>
                    </a:cubicBezTo>
                    <a:cubicBezTo>
                      <a:pt x="2945" y="5894"/>
                      <a:pt x="2945" y="5894"/>
                      <a:pt x="2945" y="5894"/>
                    </a:cubicBezTo>
                    <a:cubicBezTo>
                      <a:pt x="3146" y="5701"/>
                      <a:pt x="3146" y="5701"/>
                      <a:pt x="3146" y="5701"/>
                    </a:cubicBezTo>
                    <a:cubicBezTo>
                      <a:pt x="3147" y="5767"/>
                      <a:pt x="3147" y="5767"/>
                      <a:pt x="3147" y="5767"/>
                    </a:cubicBezTo>
                    <a:cubicBezTo>
                      <a:pt x="3225" y="5783"/>
                      <a:pt x="3225" y="5783"/>
                      <a:pt x="3225" y="5783"/>
                    </a:cubicBezTo>
                    <a:lnTo>
                      <a:pt x="3213" y="5793"/>
                    </a:lnTo>
                    <a:close/>
                    <a:moveTo>
                      <a:pt x="3192" y="5791"/>
                    </a:moveTo>
                    <a:cubicBezTo>
                      <a:pt x="3133" y="5779"/>
                      <a:pt x="3133" y="5779"/>
                      <a:pt x="3133" y="5779"/>
                    </a:cubicBezTo>
                    <a:cubicBezTo>
                      <a:pt x="3132" y="5735"/>
                      <a:pt x="3132" y="5735"/>
                      <a:pt x="3132" y="5735"/>
                    </a:cubicBezTo>
                    <a:cubicBezTo>
                      <a:pt x="2969" y="5891"/>
                      <a:pt x="2969" y="5891"/>
                      <a:pt x="2969" y="5891"/>
                    </a:cubicBezTo>
                    <a:cubicBezTo>
                      <a:pt x="3028" y="5927"/>
                      <a:pt x="3028" y="5927"/>
                      <a:pt x="3028" y="5927"/>
                    </a:cubicBezTo>
                    <a:lnTo>
                      <a:pt x="3192" y="5791"/>
                    </a:lnTo>
                    <a:close/>
                    <a:moveTo>
                      <a:pt x="4169" y="6687"/>
                    </a:moveTo>
                    <a:cubicBezTo>
                      <a:pt x="4169" y="6687"/>
                      <a:pt x="4120" y="6669"/>
                      <a:pt x="4082" y="6627"/>
                    </a:cubicBezTo>
                    <a:cubicBezTo>
                      <a:pt x="4045" y="6586"/>
                      <a:pt x="4042" y="6524"/>
                      <a:pt x="4042" y="6524"/>
                    </a:cubicBezTo>
                    <a:cubicBezTo>
                      <a:pt x="4023" y="6522"/>
                      <a:pt x="4023" y="6522"/>
                      <a:pt x="4023" y="6522"/>
                    </a:cubicBezTo>
                    <a:cubicBezTo>
                      <a:pt x="4022" y="6068"/>
                      <a:pt x="4022" y="6068"/>
                      <a:pt x="4022" y="6068"/>
                    </a:cubicBezTo>
                    <a:cubicBezTo>
                      <a:pt x="4109" y="6067"/>
                      <a:pt x="4109" y="6067"/>
                      <a:pt x="4109" y="6067"/>
                    </a:cubicBezTo>
                    <a:cubicBezTo>
                      <a:pt x="4109" y="6067"/>
                      <a:pt x="4118" y="6046"/>
                      <a:pt x="4136" y="6023"/>
                    </a:cubicBezTo>
                    <a:cubicBezTo>
                      <a:pt x="4150" y="6007"/>
                      <a:pt x="4171" y="5990"/>
                      <a:pt x="4188" y="5979"/>
                    </a:cubicBezTo>
                    <a:cubicBezTo>
                      <a:pt x="4227" y="5953"/>
                      <a:pt x="4302" y="5953"/>
                      <a:pt x="4302" y="5953"/>
                    </a:cubicBezTo>
                    <a:cubicBezTo>
                      <a:pt x="4361" y="5904"/>
                      <a:pt x="4361" y="5904"/>
                      <a:pt x="4361" y="5904"/>
                    </a:cubicBezTo>
                    <a:cubicBezTo>
                      <a:pt x="4472" y="6029"/>
                      <a:pt x="4472" y="6029"/>
                      <a:pt x="4472" y="6029"/>
                    </a:cubicBezTo>
                    <a:cubicBezTo>
                      <a:pt x="4472" y="6029"/>
                      <a:pt x="4452" y="6052"/>
                      <a:pt x="4452" y="6053"/>
                    </a:cubicBezTo>
                    <a:cubicBezTo>
                      <a:pt x="4483" y="6096"/>
                      <a:pt x="4474" y="6152"/>
                      <a:pt x="4474" y="6152"/>
                    </a:cubicBezTo>
                    <a:cubicBezTo>
                      <a:pt x="4474" y="6152"/>
                      <a:pt x="4427" y="6495"/>
                      <a:pt x="4419" y="6549"/>
                    </a:cubicBezTo>
                    <a:cubicBezTo>
                      <a:pt x="4410" y="6603"/>
                      <a:pt x="4365" y="6648"/>
                      <a:pt x="4365" y="6648"/>
                    </a:cubicBezTo>
                    <a:cubicBezTo>
                      <a:pt x="4363" y="6728"/>
                      <a:pt x="4363" y="6728"/>
                      <a:pt x="4363" y="6728"/>
                    </a:cubicBezTo>
                    <a:cubicBezTo>
                      <a:pt x="4169" y="6727"/>
                      <a:pt x="4169" y="6727"/>
                      <a:pt x="4169" y="6727"/>
                    </a:cubicBezTo>
                    <a:lnTo>
                      <a:pt x="4169" y="6687"/>
                    </a:lnTo>
                    <a:close/>
                    <a:moveTo>
                      <a:pt x="4174" y="6674"/>
                    </a:moveTo>
                    <a:cubicBezTo>
                      <a:pt x="4183" y="6677"/>
                      <a:pt x="4183" y="6677"/>
                      <a:pt x="4183" y="6677"/>
                    </a:cubicBezTo>
                    <a:cubicBezTo>
                      <a:pt x="4183" y="6687"/>
                      <a:pt x="4183" y="6687"/>
                      <a:pt x="4183" y="6687"/>
                    </a:cubicBezTo>
                    <a:cubicBezTo>
                      <a:pt x="4183" y="6713"/>
                      <a:pt x="4183" y="6713"/>
                      <a:pt x="4183" y="6713"/>
                    </a:cubicBezTo>
                    <a:cubicBezTo>
                      <a:pt x="4349" y="6714"/>
                      <a:pt x="4349" y="6714"/>
                      <a:pt x="4349" y="6714"/>
                    </a:cubicBezTo>
                    <a:cubicBezTo>
                      <a:pt x="4351" y="6647"/>
                      <a:pt x="4351" y="6647"/>
                      <a:pt x="4351" y="6647"/>
                    </a:cubicBezTo>
                    <a:cubicBezTo>
                      <a:pt x="4351" y="6642"/>
                      <a:pt x="4351" y="6642"/>
                      <a:pt x="4351" y="6642"/>
                    </a:cubicBezTo>
                    <a:cubicBezTo>
                      <a:pt x="4355" y="6638"/>
                      <a:pt x="4355" y="6638"/>
                      <a:pt x="4355" y="6638"/>
                    </a:cubicBezTo>
                    <a:cubicBezTo>
                      <a:pt x="4355" y="6637"/>
                      <a:pt x="4397" y="6596"/>
                      <a:pt x="4405" y="6547"/>
                    </a:cubicBezTo>
                    <a:cubicBezTo>
                      <a:pt x="4413" y="6494"/>
                      <a:pt x="4460" y="6154"/>
                      <a:pt x="4460" y="6151"/>
                    </a:cubicBezTo>
                    <a:cubicBezTo>
                      <a:pt x="4461" y="6150"/>
                      <a:pt x="4467" y="6099"/>
                      <a:pt x="4441" y="6061"/>
                    </a:cubicBezTo>
                    <a:cubicBezTo>
                      <a:pt x="4439" y="6058"/>
                      <a:pt x="4439" y="6058"/>
                      <a:pt x="4439" y="6058"/>
                    </a:cubicBezTo>
                    <a:cubicBezTo>
                      <a:pt x="4439" y="6053"/>
                      <a:pt x="4439" y="6053"/>
                      <a:pt x="4439" y="6053"/>
                    </a:cubicBezTo>
                    <a:cubicBezTo>
                      <a:pt x="4439" y="6049"/>
                      <a:pt x="4439" y="6047"/>
                      <a:pt x="4454" y="6029"/>
                    </a:cubicBezTo>
                    <a:cubicBezTo>
                      <a:pt x="4359" y="5923"/>
                      <a:pt x="4359" y="5923"/>
                      <a:pt x="4359" y="5923"/>
                    </a:cubicBezTo>
                    <a:cubicBezTo>
                      <a:pt x="4311" y="5964"/>
                      <a:pt x="4311" y="5964"/>
                      <a:pt x="4311" y="5964"/>
                    </a:cubicBezTo>
                    <a:cubicBezTo>
                      <a:pt x="4307" y="5967"/>
                      <a:pt x="4307" y="5967"/>
                      <a:pt x="4307" y="5967"/>
                    </a:cubicBezTo>
                    <a:cubicBezTo>
                      <a:pt x="4302" y="5967"/>
                      <a:pt x="4302" y="5967"/>
                      <a:pt x="4302" y="5967"/>
                    </a:cubicBezTo>
                    <a:cubicBezTo>
                      <a:pt x="4275" y="5967"/>
                      <a:pt x="4223" y="5972"/>
                      <a:pt x="4196" y="5991"/>
                    </a:cubicBezTo>
                    <a:cubicBezTo>
                      <a:pt x="4186" y="5997"/>
                      <a:pt x="4162" y="6014"/>
                      <a:pt x="4147" y="6032"/>
                    </a:cubicBezTo>
                    <a:cubicBezTo>
                      <a:pt x="4130" y="6052"/>
                      <a:pt x="4122" y="6072"/>
                      <a:pt x="4122" y="6072"/>
                    </a:cubicBezTo>
                    <a:cubicBezTo>
                      <a:pt x="4119" y="6081"/>
                      <a:pt x="4119" y="6081"/>
                      <a:pt x="4119" y="6081"/>
                    </a:cubicBezTo>
                    <a:cubicBezTo>
                      <a:pt x="4109" y="6081"/>
                      <a:pt x="4109" y="6081"/>
                      <a:pt x="4109" y="6081"/>
                    </a:cubicBezTo>
                    <a:cubicBezTo>
                      <a:pt x="4036" y="6081"/>
                      <a:pt x="4036" y="6081"/>
                      <a:pt x="4036" y="6081"/>
                    </a:cubicBezTo>
                    <a:cubicBezTo>
                      <a:pt x="4037" y="6509"/>
                      <a:pt x="4037" y="6509"/>
                      <a:pt x="4037" y="6509"/>
                    </a:cubicBezTo>
                    <a:cubicBezTo>
                      <a:pt x="4043" y="6510"/>
                      <a:pt x="4043" y="6510"/>
                      <a:pt x="4043" y="6510"/>
                    </a:cubicBezTo>
                    <a:cubicBezTo>
                      <a:pt x="4056" y="6511"/>
                      <a:pt x="4056" y="6511"/>
                      <a:pt x="4056" y="6511"/>
                    </a:cubicBezTo>
                    <a:cubicBezTo>
                      <a:pt x="4056" y="6523"/>
                      <a:pt x="4056" y="6523"/>
                      <a:pt x="4056" y="6523"/>
                    </a:cubicBezTo>
                    <a:cubicBezTo>
                      <a:pt x="4056" y="6524"/>
                      <a:pt x="4059" y="6581"/>
                      <a:pt x="4092" y="6618"/>
                    </a:cubicBezTo>
                    <a:cubicBezTo>
                      <a:pt x="4127" y="6656"/>
                      <a:pt x="4174" y="6673"/>
                      <a:pt x="4174" y="6674"/>
                    </a:cubicBezTo>
                    <a:close/>
                    <a:moveTo>
                      <a:pt x="4217" y="6635"/>
                    </a:moveTo>
                    <a:cubicBezTo>
                      <a:pt x="4122" y="6621"/>
                      <a:pt x="4102" y="6528"/>
                      <a:pt x="4105" y="6481"/>
                    </a:cubicBezTo>
                    <a:cubicBezTo>
                      <a:pt x="4107" y="6468"/>
                      <a:pt x="4144" y="6184"/>
                      <a:pt x="4155" y="6130"/>
                    </a:cubicBezTo>
                    <a:cubicBezTo>
                      <a:pt x="4166" y="6077"/>
                      <a:pt x="4211" y="6020"/>
                      <a:pt x="4283" y="6020"/>
                    </a:cubicBezTo>
                    <a:cubicBezTo>
                      <a:pt x="4288" y="6020"/>
                      <a:pt x="4294" y="6020"/>
                      <a:pt x="4299" y="6021"/>
                    </a:cubicBezTo>
                    <a:cubicBezTo>
                      <a:pt x="4391" y="6031"/>
                      <a:pt x="4414" y="6122"/>
                      <a:pt x="4414" y="6168"/>
                    </a:cubicBezTo>
                    <a:cubicBezTo>
                      <a:pt x="4414" y="6169"/>
                      <a:pt x="4414" y="6169"/>
                      <a:pt x="4414" y="6169"/>
                    </a:cubicBezTo>
                    <a:cubicBezTo>
                      <a:pt x="4414" y="6170"/>
                      <a:pt x="4414" y="6170"/>
                      <a:pt x="4414" y="6170"/>
                    </a:cubicBezTo>
                    <a:cubicBezTo>
                      <a:pt x="4365" y="6519"/>
                      <a:pt x="4365" y="6519"/>
                      <a:pt x="4365" y="6519"/>
                    </a:cubicBezTo>
                    <a:cubicBezTo>
                      <a:pt x="4356" y="6560"/>
                      <a:pt x="4318" y="6637"/>
                      <a:pt x="4238" y="6637"/>
                    </a:cubicBezTo>
                    <a:cubicBezTo>
                      <a:pt x="4231" y="6637"/>
                      <a:pt x="4224" y="6636"/>
                      <a:pt x="4217" y="6635"/>
                    </a:cubicBezTo>
                    <a:close/>
                    <a:moveTo>
                      <a:pt x="4219" y="6621"/>
                    </a:moveTo>
                    <a:cubicBezTo>
                      <a:pt x="4326" y="6637"/>
                      <a:pt x="4351" y="6517"/>
                      <a:pt x="4351" y="6517"/>
                    </a:cubicBezTo>
                    <a:cubicBezTo>
                      <a:pt x="4400" y="6168"/>
                      <a:pt x="4400" y="6168"/>
                      <a:pt x="4400" y="6168"/>
                    </a:cubicBezTo>
                    <a:cubicBezTo>
                      <a:pt x="4400" y="6168"/>
                      <a:pt x="4401" y="6047"/>
                      <a:pt x="4298" y="6035"/>
                    </a:cubicBezTo>
                    <a:cubicBezTo>
                      <a:pt x="4227" y="6026"/>
                      <a:pt x="4180" y="6079"/>
                      <a:pt x="4169" y="6133"/>
                    </a:cubicBezTo>
                    <a:cubicBezTo>
                      <a:pt x="4157" y="6187"/>
                      <a:pt x="4119" y="6482"/>
                      <a:pt x="4119" y="6482"/>
                    </a:cubicBezTo>
                    <a:cubicBezTo>
                      <a:pt x="4119" y="6482"/>
                      <a:pt x="4112" y="6605"/>
                      <a:pt x="4219" y="6621"/>
                    </a:cubicBezTo>
                    <a:close/>
                    <a:moveTo>
                      <a:pt x="4213" y="6919"/>
                    </a:moveTo>
                    <a:cubicBezTo>
                      <a:pt x="4141" y="6887"/>
                      <a:pt x="4141" y="6887"/>
                      <a:pt x="4141" y="6887"/>
                    </a:cubicBezTo>
                    <a:cubicBezTo>
                      <a:pt x="4151" y="6825"/>
                      <a:pt x="4151" y="6825"/>
                      <a:pt x="4151" y="6825"/>
                    </a:cubicBezTo>
                    <a:cubicBezTo>
                      <a:pt x="4395" y="6862"/>
                      <a:pt x="4395" y="6862"/>
                      <a:pt x="4395" y="6862"/>
                    </a:cubicBezTo>
                    <a:cubicBezTo>
                      <a:pt x="4378" y="6920"/>
                      <a:pt x="4378" y="6920"/>
                      <a:pt x="4378" y="6920"/>
                    </a:cubicBezTo>
                    <a:cubicBezTo>
                      <a:pt x="4314" y="6909"/>
                      <a:pt x="4314" y="6909"/>
                      <a:pt x="4314" y="6909"/>
                    </a:cubicBezTo>
                    <a:cubicBezTo>
                      <a:pt x="4303" y="6980"/>
                      <a:pt x="4303" y="6980"/>
                      <a:pt x="4303" y="6980"/>
                    </a:cubicBezTo>
                    <a:cubicBezTo>
                      <a:pt x="4211" y="6992"/>
                      <a:pt x="4211" y="6992"/>
                      <a:pt x="4211" y="6992"/>
                    </a:cubicBezTo>
                    <a:lnTo>
                      <a:pt x="4213" y="6919"/>
                    </a:lnTo>
                    <a:close/>
                    <a:moveTo>
                      <a:pt x="4218" y="6906"/>
                    </a:moveTo>
                    <a:cubicBezTo>
                      <a:pt x="4227" y="6910"/>
                      <a:pt x="4227" y="6910"/>
                      <a:pt x="4227" y="6910"/>
                    </a:cubicBezTo>
                    <a:cubicBezTo>
                      <a:pt x="4227" y="6919"/>
                      <a:pt x="4227" y="6919"/>
                      <a:pt x="4227" y="6919"/>
                    </a:cubicBezTo>
                    <a:cubicBezTo>
                      <a:pt x="4225" y="6976"/>
                      <a:pt x="4225" y="6976"/>
                      <a:pt x="4225" y="6976"/>
                    </a:cubicBezTo>
                    <a:cubicBezTo>
                      <a:pt x="4291" y="6967"/>
                      <a:pt x="4291" y="6967"/>
                      <a:pt x="4291" y="6967"/>
                    </a:cubicBezTo>
                    <a:cubicBezTo>
                      <a:pt x="4300" y="6907"/>
                      <a:pt x="4300" y="6907"/>
                      <a:pt x="4300" y="6907"/>
                    </a:cubicBezTo>
                    <a:cubicBezTo>
                      <a:pt x="4303" y="6893"/>
                      <a:pt x="4303" y="6893"/>
                      <a:pt x="4303" y="6893"/>
                    </a:cubicBezTo>
                    <a:cubicBezTo>
                      <a:pt x="4317" y="6895"/>
                      <a:pt x="4317" y="6895"/>
                      <a:pt x="4317" y="6895"/>
                    </a:cubicBezTo>
                    <a:cubicBezTo>
                      <a:pt x="4368" y="6904"/>
                      <a:pt x="4368" y="6904"/>
                      <a:pt x="4368" y="6904"/>
                    </a:cubicBezTo>
                    <a:cubicBezTo>
                      <a:pt x="4377" y="6874"/>
                      <a:pt x="4377" y="6874"/>
                      <a:pt x="4377" y="6874"/>
                    </a:cubicBezTo>
                    <a:cubicBezTo>
                      <a:pt x="4163" y="6841"/>
                      <a:pt x="4163" y="6841"/>
                      <a:pt x="4163" y="6841"/>
                    </a:cubicBezTo>
                    <a:cubicBezTo>
                      <a:pt x="4156" y="6879"/>
                      <a:pt x="4156" y="6879"/>
                      <a:pt x="4156" y="6879"/>
                    </a:cubicBezTo>
                    <a:lnTo>
                      <a:pt x="4218" y="6906"/>
                    </a:lnTo>
                    <a:close/>
                    <a:moveTo>
                      <a:pt x="3044" y="6320"/>
                    </a:moveTo>
                    <a:cubicBezTo>
                      <a:pt x="3096" y="6365"/>
                      <a:pt x="3096" y="6365"/>
                      <a:pt x="3096" y="6365"/>
                    </a:cubicBezTo>
                    <a:cubicBezTo>
                      <a:pt x="3091" y="6371"/>
                      <a:pt x="3091" y="6371"/>
                      <a:pt x="3091" y="6371"/>
                    </a:cubicBezTo>
                    <a:cubicBezTo>
                      <a:pt x="3051" y="6412"/>
                      <a:pt x="3051" y="6412"/>
                      <a:pt x="3051" y="6412"/>
                    </a:cubicBezTo>
                    <a:cubicBezTo>
                      <a:pt x="2994" y="6386"/>
                      <a:pt x="2994" y="6386"/>
                      <a:pt x="2994" y="6386"/>
                    </a:cubicBezTo>
                    <a:cubicBezTo>
                      <a:pt x="3007" y="6338"/>
                      <a:pt x="3007" y="6338"/>
                      <a:pt x="3007" y="6338"/>
                    </a:cubicBezTo>
                    <a:lnTo>
                      <a:pt x="3044" y="6320"/>
                    </a:lnTo>
                    <a:close/>
                    <a:moveTo>
                      <a:pt x="3075" y="6366"/>
                    </a:moveTo>
                    <a:cubicBezTo>
                      <a:pt x="3042" y="6337"/>
                      <a:pt x="3042" y="6337"/>
                      <a:pt x="3042" y="6337"/>
                    </a:cubicBezTo>
                    <a:cubicBezTo>
                      <a:pt x="3020" y="6349"/>
                      <a:pt x="3020" y="6349"/>
                      <a:pt x="3020" y="6349"/>
                    </a:cubicBezTo>
                    <a:cubicBezTo>
                      <a:pt x="3012" y="6378"/>
                      <a:pt x="3012" y="6378"/>
                      <a:pt x="3012" y="6378"/>
                    </a:cubicBezTo>
                    <a:cubicBezTo>
                      <a:pt x="3047" y="6394"/>
                      <a:pt x="3047" y="6394"/>
                      <a:pt x="3047" y="6394"/>
                    </a:cubicBezTo>
                    <a:lnTo>
                      <a:pt x="3075" y="6366"/>
                    </a:lnTo>
                    <a:close/>
                    <a:moveTo>
                      <a:pt x="3207" y="6449"/>
                    </a:moveTo>
                    <a:cubicBezTo>
                      <a:pt x="3138" y="6630"/>
                      <a:pt x="3138" y="6630"/>
                      <a:pt x="3138" y="6630"/>
                    </a:cubicBezTo>
                    <a:cubicBezTo>
                      <a:pt x="2770" y="6503"/>
                      <a:pt x="2770" y="6503"/>
                      <a:pt x="2770" y="6503"/>
                    </a:cubicBezTo>
                    <a:cubicBezTo>
                      <a:pt x="2772" y="6497"/>
                      <a:pt x="2772" y="6497"/>
                      <a:pt x="2772" y="6497"/>
                    </a:cubicBezTo>
                    <a:cubicBezTo>
                      <a:pt x="2772" y="6496"/>
                      <a:pt x="2793" y="6389"/>
                      <a:pt x="2808" y="6342"/>
                    </a:cubicBezTo>
                    <a:cubicBezTo>
                      <a:pt x="2822" y="6293"/>
                      <a:pt x="2861" y="6247"/>
                      <a:pt x="2862" y="6247"/>
                    </a:cubicBezTo>
                    <a:cubicBezTo>
                      <a:pt x="2866" y="6242"/>
                      <a:pt x="2866" y="6242"/>
                      <a:pt x="2866" y="6242"/>
                    </a:cubicBezTo>
                    <a:cubicBezTo>
                      <a:pt x="2974" y="6313"/>
                      <a:pt x="2974" y="6313"/>
                      <a:pt x="2974" y="6313"/>
                    </a:cubicBezTo>
                    <a:cubicBezTo>
                      <a:pt x="2955" y="6420"/>
                      <a:pt x="2955" y="6420"/>
                      <a:pt x="2955" y="6420"/>
                    </a:cubicBezTo>
                    <a:cubicBezTo>
                      <a:pt x="3050" y="6467"/>
                      <a:pt x="3050" y="6467"/>
                      <a:pt x="3050" y="6467"/>
                    </a:cubicBezTo>
                    <a:cubicBezTo>
                      <a:pt x="3158" y="6401"/>
                      <a:pt x="3158" y="6401"/>
                      <a:pt x="3158" y="6401"/>
                    </a:cubicBezTo>
                    <a:cubicBezTo>
                      <a:pt x="3209" y="6444"/>
                      <a:pt x="3209" y="6444"/>
                      <a:pt x="3209" y="6444"/>
                    </a:cubicBezTo>
                    <a:lnTo>
                      <a:pt x="3207" y="6449"/>
                    </a:lnTo>
                    <a:close/>
                    <a:moveTo>
                      <a:pt x="3191" y="6449"/>
                    </a:moveTo>
                    <a:cubicBezTo>
                      <a:pt x="3156" y="6420"/>
                      <a:pt x="3156" y="6420"/>
                      <a:pt x="3156" y="6420"/>
                    </a:cubicBezTo>
                    <a:cubicBezTo>
                      <a:pt x="3051" y="6484"/>
                      <a:pt x="3051" y="6484"/>
                      <a:pt x="3051" y="6484"/>
                    </a:cubicBezTo>
                    <a:cubicBezTo>
                      <a:pt x="2938" y="6429"/>
                      <a:pt x="2938" y="6429"/>
                      <a:pt x="2938" y="6429"/>
                    </a:cubicBezTo>
                    <a:cubicBezTo>
                      <a:pt x="2958" y="6320"/>
                      <a:pt x="2958" y="6320"/>
                      <a:pt x="2958" y="6320"/>
                    </a:cubicBezTo>
                    <a:cubicBezTo>
                      <a:pt x="2869" y="6261"/>
                      <a:pt x="2869" y="6261"/>
                      <a:pt x="2869" y="6261"/>
                    </a:cubicBezTo>
                    <a:cubicBezTo>
                      <a:pt x="2859" y="6274"/>
                      <a:pt x="2832" y="6310"/>
                      <a:pt x="2822" y="6346"/>
                    </a:cubicBezTo>
                    <a:cubicBezTo>
                      <a:pt x="2810" y="6385"/>
                      <a:pt x="2792" y="6469"/>
                      <a:pt x="2787" y="6493"/>
                    </a:cubicBezTo>
                    <a:cubicBezTo>
                      <a:pt x="3130" y="6611"/>
                      <a:pt x="3130" y="6611"/>
                      <a:pt x="3130" y="6611"/>
                    </a:cubicBezTo>
                    <a:lnTo>
                      <a:pt x="3191" y="6449"/>
                    </a:lnTo>
                    <a:close/>
                    <a:moveTo>
                      <a:pt x="2177" y="4201"/>
                    </a:moveTo>
                    <a:cubicBezTo>
                      <a:pt x="2247" y="4224"/>
                      <a:pt x="2247" y="4224"/>
                      <a:pt x="2247" y="4224"/>
                    </a:cubicBezTo>
                    <a:cubicBezTo>
                      <a:pt x="2239" y="4308"/>
                      <a:pt x="2239" y="4308"/>
                      <a:pt x="2239" y="4308"/>
                    </a:cubicBezTo>
                    <a:cubicBezTo>
                      <a:pt x="2001" y="4252"/>
                      <a:pt x="2001" y="4252"/>
                      <a:pt x="2001" y="4252"/>
                    </a:cubicBezTo>
                    <a:cubicBezTo>
                      <a:pt x="2048" y="4084"/>
                      <a:pt x="2048" y="4084"/>
                      <a:pt x="2048" y="4084"/>
                    </a:cubicBezTo>
                    <a:cubicBezTo>
                      <a:pt x="2185" y="4127"/>
                      <a:pt x="2185" y="4127"/>
                      <a:pt x="2185" y="4127"/>
                    </a:cubicBezTo>
                    <a:lnTo>
                      <a:pt x="2177" y="4201"/>
                    </a:lnTo>
                    <a:close/>
                    <a:moveTo>
                      <a:pt x="2173" y="4214"/>
                    </a:moveTo>
                    <a:cubicBezTo>
                      <a:pt x="2162" y="4211"/>
                      <a:pt x="2162" y="4211"/>
                      <a:pt x="2162" y="4211"/>
                    </a:cubicBezTo>
                    <a:cubicBezTo>
                      <a:pt x="2163" y="4200"/>
                      <a:pt x="2163" y="4200"/>
                      <a:pt x="2163" y="4200"/>
                    </a:cubicBezTo>
                    <a:cubicBezTo>
                      <a:pt x="2170" y="4137"/>
                      <a:pt x="2170" y="4137"/>
                      <a:pt x="2170" y="4137"/>
                    </a:cubicBezTo>
                    <a:cubicBezTo>
                      <a:pt x="2057" y="4102"/>
                      <a:pt x="2057" y="4102"/>
                      <a:pt x="2057" y="4102"/>
                    </a:cubicBezTo>
                    <a:cubicBezTo>
                      <a:pt x="2018" y="4242"/>
                      <a:pt x="2018" y="4242"/>
                      <a:pt x="2018" y="4242"/>
                    </a:cubicBezTo>
                    <a:cubicBezTo>
                      <a:pt x="2227" y="4291"/>
                      <a:pt x="2227" y="4291"/>
                      <a:pt x="2227" y="4291"/>
                    </a:cubicBezTo>
                    <a:cubicBezTo>
                      <a:pt x="2232" y="4234"/>
                      <a:pt x="2232" y="4234"/>
                      <a:pt x="2232" y="4234"/>
                    </a:cubicBezTo>
                    <a:lnTo>
                      <a:pt x="2173" y="4214"/>
                    </a:lnTo>
                    <a:close/>
                    <a:moveTo>
                      <a:pt x="2594" y="4129"/>
                    </a:moveTo>
                    <a:cubicBezTo>
                      <a:pt x="2594" y="4129"/>
                      <a:pt x="2594" y="4129"/>
                      <a:pt x="2594" y="4129"/>
                    </a:cubicBezTo>
                    <a:cubicBezTo>
                      <a:pt x="2594" y="4129"/>
                      <a:pt x="2594" y="4129"/>
                      <a:pt x="2594" y="4129"/>
                    </a:cubicBezTo>
                    <a:close/>
                    <a:moveTo>
                      <a:pt x="2798" y="3836"/>
                    </a:moveTo>
                    <a:cubicBezTo>
                      <a:pt x="2883" y="3724"/>
                      <a:pt x="2883" y="3724"/>
                      <a:pt x="2883" y="3724"/>
                    </a:cubicBezTo>
                    <a:cubicBezTo>
                      <a:pt x="3094" y="3807"/>
                      <a:pt x="3094" y="3807"/>
                      <a:pt x="3094" y="3807"/>
                    </a:cubicBezTo>
                    <a:cubicBezTo>
                      <a:pt x="3161" y="3949"/>
                      <a:pt x="3161" y="3949"/>
                      <a:pt x="3161" y="3949"/>
                    </a:cubicBezTo>
                    <a:cubicBezTo>
                      <a:pt x="3139" y="4006"/>
                      <a:pt x="3139" y="4006"/>
                      <a:pt x="3139" y="4006"/>
                    </a:cubicBezTo>
                    <a:cubicBezTo>
                      <a:pt x="3034" y="4146"/>
                      <a:pt x="3034" y="4146"/>
                      <a:pt x="3034" y="4146"/>
                    </a:cubicBezTo>
                    <a:cubicBezTo>
                      <a:pt x="2979" y="4085"/>
                      <a:pt x="2979" y="4085"/>
                      <a:pt x="2979" y="4085"/>
                    </a:cubicBezTo>
                    <a:cubicBezTo>
                      <a:pt x="3010" y="3976"/>
                      <a:pt x="3010" y="3976"/>
                      <a:pt x="3010" y="3976"/>
                    </a:cubicBezTo>
                    <a:cubicBezTo>
                      <a:pt x="2977" y="3962"/>
                      <a:pt x="2977" y="3962"/>
                      <a:pt x="2977" y="3962"/>
                    </a:cubicBezTo>
                    <a:cubicBezTo>
                      <a:pt x="2972" y="3901"/>
                      <a:pt x="2972" y="3901"/>
                      <a:pt x="2972" y="3901"/>
                    </a:cubicBezTo>
                    <a:lnTo>
                      <a:pt x="2798" y="3836"/>
                    </a:lnTo>
                    <a:close/>
                    <a:moveTo>
                      <a:pt x="2820" y="3830"/>
                    </a:moveTo>
                    <a:cubicBezTo>
                      <a:pt x="2977" y="3888"/>
                      <a:pt x="2977" y="3888"/>
                      <a:pt x="2977" y="3888"/>
                    </a:cubicBezTo>
                    <a:cubicBezTo>
                      <a:pt x="2986" y="3891"/>
                      <a:pt x="2986" y="3891"/>
                      <a:pt x="2986" y="3891"/>
                    </a:cubicBezTo>
                    <a:cubicBezTo>
                      <a:pt x="2986" y="3900"/>
                      <a:pt x="2986" y="3900"/>
                      <a:pt x="2986" y="3900"/>
                    </a:cubicBezTo>
                    <a:cubicBezTo>
                      <a:pt x="2990" y="3952"/>
                      <a:pt x="2990" y="3952"/>
                      <a:pt x="2990" y="3952"/>
                    </a:cubicBezTo>
                    <a:cubicBezTo>
                      <a:pt x="3016" y="3963"/>
                      <a:pt x="3016" y="3963"/>
                      <a:pt x="3016" y="3963"/>
                    </a:cubicBezTo>
                    <a:cubicBezTo>
                      <a:pt x="3027" y="3968"/>
                      <a:pt x="3027" y="3968"/>
                      <a:pt x="3027" y="3968"/>
                    </a:cubicBezTo>
                    <a:cubicBezTo>
                      <a:pt x="3024" y="3979"/>
                      <a:pt x="3024" y="3979"/>
                      <a:pt x="3024" y="3979"/>
                    </a:cubicBezTo>
                    <a:cubicBezTo>
                      <a:pt x="2995" y="4081"/>
                      <a:pt x="2995" y="4081"/>
                      <a:pt x="2995" y="4081"/>
                    </a:cubicBezTo>
                    <a:cubicBezTo>
                      <a:pt x="3033" y="4124"/>
                      <a:pt x="3033" y="4124"/>
                      <a:pt x="3033" y="4124"/>
                    </a:cubicBezTo>
                    <a:cubicBezTo>
                      <a:pt x="3127" y="3999"/>
                      <a:pt x="3127" y="3999"/>
                      <a:pt x="3127" y="3999"/>
                    </a:cubicBezTo>
                    <a:cubicBezTo>
                      <a:pt x="3145" y="3949"/>
                      <a:pt x="3145" y="3949"/>
                      <a:pt x="3145" y="3949"/>
                    </a:cubicBezTo>
                    <a:cubicBezTo>
                      <a:pt x="3083" y="3818"/>
                      <a:pt x="3083" y="3818"/>
                      <a:pt x="3083" y="3818"/>
                    </a:cubicBezTo>
                    <a:cubicBezTo>
                      <a:pt x="2888" y="3741"/>
                      <a:pt x="2888" y="3741"/>
                      <a:pt x="2888" y="3741"/>
                    </a:cubicBezTo>
                    <a:lnTo>
                      <a:pt x="2820" y="3830"/>
                    </a:lnTo>
                    <a:close/>
                    <a:moveTo>
                      <a:pt x="4126" y="3475"/>
                    </a:moveTo>
                    <a:cubicBezTo>
                      <a:pt x="4186" y="3533"/>
                      <a:pt x="4186" y="3533"/>
                      <a:pt x="4186" y="3533"/>
                    </a:cubicBezTo>
                    <a:cubicBezTo>
                      <a:pt x="4185" y="3538"/>
                      <a:pt x="4185" y="3538"/>
                      <a:pt x="4185" y="3538"/>
                    </a:cubicBezTo>
                    <a:cubicBezTo>
                      <a:pt x="4090" y="3773"/>
                      <a:pt x="4090" y="3773"/>
                      <a:pt x="4090" y="3773"/>
                    </a:cubicBezTo>
                    <a:cubicBezTo>
                      <a:pt x="4022" y="3790"/>
                      <a:pt x="4022" y="3790"/>
                      <a:pt x="4022" y="3790"/>
                    </a:cubicBezTo>
                    <a:cubicBezTo>
                      <a:pt x="4012" y="3735"/>
                      <a:pt x="4012" y="3735"/>
                      <a:pt x="4012" y="3735"/>
                    </a:cubicBezTo>
                    <a:cubicBezTo>
                      <a:pt x="3814" y="3777"/>
                      <a:pt x="3814" y="3777"/>
                      <a:pt x="3814" y="3777"/>
                    </a:cubicBezTo>
                    <a:cubicBezTo>
                      <a:pt x="3821" y="3854"/>
                      <a:pt x="3821" y="3854"/>
                      <a:pt x="3821" y="3854"/>
                    </a:cubicBezTo>
                    <a:cubicBezTo>
                      <a:pt x="3646" y="3905"/>
                      <a:pt x="3646" y="3905"/>
                      <a:pt x="3646" y="3905"/>
                    </a:cubicBezTo>
                    <a:cubicBezTo>
                      <a:pt x="3513" y="3743"/>
                      <a:pt x="3513" y="3743"/>
                      <a:pt x="3513" y="3743"/>
                    </a:cubicBezTo>
                    <a:cubicBezTo>
                      <a:pt x="3676" y="3666"/>
                      <a:pt x="3676" y="3666"/>
                      <a:pt x="3676" y="3666"/>
                    </a:cubicBezTo>
                    <a:cubicBezTo>
                      <a:pt x="3647" y="3629"/>
                      <a:pt x="3647" y="3629"/>
                      <a:pt x="3647" y="3629"/>
                    </a:cubicBezTo>
                    <a:cubicBezTo>
                      <a:pt x="3742" y="3582"/>
                      <a:pt x="3742" y="3582"/>
                      <a:pt x="3742" y="3582"/>
                    </a:cubicBezTo>
                    <a:cubicBezTo>
                      <a:pt x="3802" y="3619"/>
                      <a:pt x="3802" y="3619"/>
                      <a:pt x="3802" y="3619"/>
                    </a:cubicBezTo>
                    <a:cubicBezTo>
                      <a:pt x="4026" y="3570"/>
                      <a:pt x="4026" y="3570"/>
                      <a:pt x="4026" y="3570"/>
                    </a:cubicBezTo>
                    <a:cubicBezTo>
                      <a:pt x="4018" y="3514"/>
                      <a:pt x="4018" y="3514"/>
                      <a:pt x="4018" y="3514"/>
                    </a:cubicBezTo>
                    <a:lnTo>
                      <a:pt x="4126" y="3475"/>
                    </a:lnTo>
                    <a:close/>
                    <a:moveTo>
                      <a:pt x="4169" y="3537"/>
                    </a:moveTo>
                    <a:cubicBezTo>
                      <a:pt x="4122" y="3492"/>
                      <a:pt x="4122" y="3492"/>
                      <a:pt x="4122" y="3492"/>
                    </a:cubicBezTo>
                    <a:cubicBezTo>
                      <a:pt x="4034" y="3524"/>
                      <a:pt x="4034" y="3524"/>
                      <a:pt x="4034" y="3524"/>
                    </a:cubicBezTo>
                    <a:cubicBezTo>
                      <a:pt x="4043" y="3582"/>
                      <a:pt x="4043" y="3582"/>
                      <a:pt x="4043" y="3582"/>
                    </a:cubicBezTo>
                    <a:cubicBezTo>
                      <a:pt x="3800" y="3635"/>
                      <a:pt x="3800" y="3635"/>
                      <a:pt x="3800" y="3635"/>
                    </a:cubicBezTo>
                    <a:cubicBezTo>
                      <a:pt x="3741" y="3599"/>
                      <a:pt x="3741" y="3599"/>
                      <a:pt x="3741" y="3599"/>
                    </a:cubicBezTo>
                    <a:cubicBezTo>
                      <a:pt x="3670" y="3634"/>
                      <a:pt x="3670" y="3634"/>
                      <a:pt x="3670" y="3634"/>
                    </a:cubicBezTo>
                    <a:cubicBezTo>
                      <a:pt x="3699" y="3672"/>
                      <a:pt x="3699" y="3672"/>
                      <a:pt x="3699" y="3672"/>
                    </a:cubicBezTo>
                    <a:cubicBezTo>
                      <a:pt x="3536" y="3749"/>
                      <a:pt x="3536" y="3749"/>
                      <a:pt x="3536" y="3749"/>
                    </a:cubicBezTo>
                    <a:cubicBezTo>
                      <a:pt x="3652" y="3888"/>
                      <a:pt x="3652" y="3888"/>
                      <a:pt x="3652" y="3888"/>
                    </a:cubicBezTo>
                    <a:cubicBezTo>
                      <a:pt x="3805" y="3843"/>
                      <a:pt x="3805" y="3843"/>
                      <a:pt x="3805" y="3843"/>
                    </a:cubicBezTo>
                    <a:cubicBezTo>
                      <a:pt x="3798" y="3766"/>
                      <a:pt x="3798" y="3766"/>
                      <a:pt x="3798" y="3766"/>
                    </a:cubicBezTo>
                    <a:cubicBezTo>
                      <a:pt x="4023" y="3718"/>
                      <a:pt x="4023" y="3718"/>
                      <a:pt x="4023" y="3718"/>
                    </a:cubicBezTo>
                    <a:cubicBezTo>
                      <a:pt x="4034" y="3772"/>
                      <a:pt x="4034" y="3772"/>
                      <a:pt x="4034" y="3772"/>
                    </a:cubicBezTo>
                    <a:cubicBezTo>
                      <a:pt x="4079" y="3761"/>
                      <a:pt x="4079" y="3761"/>
                      <a:pt x="4079" y="3761"/>
                    </a:cubicBezTo>
                    <a:lnTo>
                      <a:pt x="4169" y="3537"/>
                    </a:lnTo>
                    <a:close/>
                    <a:moveTo>
                      <a:pt x="3164" y="3542"/>
                    </a:moveTo>
                    <a:cubicBezTo>
                      <a:pt x="3337" y="3760"/>
                      <a:pt x="3337" y="3760"/>
                      <a:pt x="3337" y="3760"/>
                    </a:cubicBezTo>
                    <a:cubicBezTo>
                      <a:pt x="3335" y="3837"/>
                      <a:pt x="3335" y="3837"/>
                      <a:pt x="3335" y="3837"/>
                    </a:cubicBezTo>
                    <a:cubicBezTo>
                      <a:pt x="3228" y="3897"/>
                      <a:pt x="3228" y="3897"/>
                      <a:pt x="3228" y="3897"/>
                    </a:cubicBezTo>
                    <a:cubicBezTo>
                      <a:pt x="3117" y="3745"/>
                      <a:pt x="3117" y="3745"/>
                      <a:pt x="3117" y="3745"/>
                    </a:cubicBezTo>
                    <a:cubicBezTo>
                      <a:pt x="2947" y="3676"/>
                      <a:pt x="2947" y="3676"/>
                      <a:pt x="2947" y="3676"/>
                    </a:cubicBezTo>
                    <a:cubicBezTo>
                      <a:pt x="2949" y="3669"/>
                      <a:pt x="2949" y="3669"/>
                      <a:pt x="2949" y="3669"/>
                    </a:cubicBezTo>
                    <a:cubicBezTo>
                      <a:pt x="2950" y="3667"/>
                      <a:pt x="2957" y="3649"/>
                      <a:pt x="3001" y="3619"/>
                    </a:cubicBezTo>
                    <a:cubicBezTo>
                      <a:pt x="3045" y="3589"/>
                      <a:pt x="3155" y="3540"/>
                      <a:pt x="3155" y="3540"/>
                    </a:cubicBezTo>
                    <a:cubicBezTo>
                      <a:pt x="3161" y="3537"/>
                      <a:pt x="3161" y="3537"/>
                      <a:pt x="3161" y="3537"/>
                    </a:cubicBezTo>
                    <a:lnTo>
                      <a:pt x="3164" y="3542"/>
                    </a:lnTo>
                    <a:close/>
                    <a:moveTo>
                      <a:pt x="3322" y="3765"/>
                    </a:moveTo>
                    <a:cubicBezTo>
                      <a:pt x="3156" y="3556"/>
                      <a:pt x="3156" y="3556"/>
                      <a:pt x="3156" y="3556"/>
                    </a:cubicBezTo>
                    <a:cubicBezTo>
                      <a:pt x="3134" y="3566"/>
                      <a:pt x="3045" y="3607"/>
                      <a:pt x="3009" y="3632"/>
                    </a:cubicBezTo>
                    <a:cubicBezTo>
                      <a:pt x="2988" y="3646"/>
                      <a:pt x="2976" y="3657"/>
                      <a:pt x="2970" y="3664"/>
                    </a:cubicBezTo>
                    <a:cubicBezTo>
                      <a:pt x="2969" y="3666"/>
                      <a:pt x="2968" y="3667"/>
                      <a:pt x="2967" y="3668"/>
                    </a:cubicBezTo>
                    <a:cubicBezTo>
                      <a:pt x="3127" y="3733"/>
                      <a:pt x="3127" y="3733"/>
                      <a:pt x="3127" y="3733"/>
                    </a:cubicBezTo>
                    <a:cubicBezTo>
                      <a:pt x="3232" y="3877"/>
                      <a:pt x="3232" y="3877"/>
                      <a:pt x="3232" y="3877"/>
                    </a:cubicBezTo>
                    <a:cubicBezTo>
                      <a:pt x="3321" y="3828"/>
                      <a:pt x="3321" y="3828"/>
                      <a:pt x="3321" y="3828"/>
                    </a:cubicBezTo>
                    <a:lnTo>
                      <a:pt x="3322" y="3765"/>
                    </a:lnTo>
                    <a:close/>
                    <a:moveTo>
                      <a:pt x="2001" y="3838"/>
                    </a:moveTo>
                    <a:cubicBezTo>
                      <a:pt x="2015" y="3876"/>
                      <a:pt x="2015" y="3876"/>
                      <a:pt x="2015" y="3876"/>
                    </a:cubicBezTo>
                    <a:cubicBezTo>
                      <a:pt x="1980" y="3959"/>
                      <a:pt x="1980" y="3959"/>
                      <a:pt x="1980" y="3959"/>
                    </a:cubicBezTo>
                    <a:cubicBezTo>
                      <a:pt x="1901" y="3874"/>
                      <a:pt x="1901" y="3874"/>
                      <a:pt x="1901" y="3874"/>
                    </a:cubicBezTo>
                    <a:lnTo>
                      <a:pt x="2001" y="3838"/>
                    </a:lnTo>
                    <a:close/>
                    <a:moveTo>
                      <a:pt x="2000" y="3875"/>
                    </a:moveTo>
                    <a:cubicBezTo>
                      <a:pt x="1993" y="3856"/>
                      <a:pt x="1993" y="3856"/>
                      <a:pt x="1993" y="3856"/>
                    </a:cubicBezTo>
                    <a:cubicBezTo>
                      <a:pt x="1926" y="3880"/>
                      <a:pt x="1926" y="3880"/>
                      <a:pt x="1926" y="3880"/>
                    </a:cubicBezTo>
                    <a:cubicBezTo>
                      <a:pt x="1976" y="3934"/>
                      <a:pt x="1976" y="3934"/>
                      <a:pt x="1976" y="3934"/>
                    </a:cubicBezTo>
                    <a:lnTo>
                      <a:pt x="2000" y="3875"/>
                    </a:lnTo>
                    <a:close/>
                    <a:moveTo>
                      <a:pt x="1770" y="3841"/>
                    </a:moveTo>
                    <a:cubicBezTo>
                      <a:pt x="1672" y="3874"/>
                      <a:pt x="1672" y="3874"/>
                      <a:pt x="1672" y="3874"/>
                    </a:cubicBezTo>
                    <a:cubicBezTo>
                      <a:pt x="1577" y="3780"/>
                      <a:pt x="1577" y="3780"/>
                      <a:pt x="1577" y="3780"/>
                    </a:cubicBezTo>
                    <a:cubicBezTo>
                      <a:pt x="1751" y="3707"/>
                      <a:pt x="1751" y="3707"/>
                      <a:pt x="1751" y="3707"/>
                    </a:cubicBezTo>
                    <a:cubicBezTo>
                      <a:pt x="1933" y="3646"/>
                      <a:pt x="1933" y="3646"/>
                      <a:pt x="1933" y="3646"/>
                    </a:cubicBezTo>
                    <a:cubicBezTo>
                      <a:pt x="1977" y="3766"/>
                      <a:pt x="1977" y="3766"/>
                      <a:pt x="1977" y="3766"/>
                    </a:cubicBezTo>
                    <a:cubicBezTo>
                      <a:pt x="1869" y="3801"/>
                      <a:pt x="1869" y="3801"/>
                      <a:pt x="1869" y="3801"/>
                    </a:cubicBezTo>
                    <a:cubicBezTo>
                      <a:pt x="1848" y="3781"/>
                      <a:pt x="1848" y="3781"/>
                      <a:pt x="1848" y="3781"/>
                    </a:cubicBezTo>
                    <a:cubicBezTo>
                      <a:pt x="1749" y="3816"/>
                      <a:pt x="1749" y="3816"/>
                      <a:pt x="1749" y="3816"/>
                    </a:cubicBezTo>
                    <a:lnTo>
                      <a:pt x="1770" y="3841"/>
                    </a:lnTo>
                    <a:close/>
                    <a:moveTo>
                      <a:pt x="1746" y="3835"/>
                    </a:moveTo>
                    <a:cubicBezTo>
                      <a:pt x="1738" y="3825"/>
                      <a:pt x="1738" y="3825"/>
                      <a:pt x="1738" y="3825"/>
                    </a:cubicBezTo>
                    <a:cubicBezTo>
                      <a:pt x="1725" y="3809"/>
                      <a:pt x="1725" y="3809"/>
                      <a:pt x="1725" y="3809"/>
                    </a:cubicBezTo>
                    <a:cubicBezTo>
                      <a:pt x="1744" y="3802"/>
                      <a:pt x="1744" y="3802"/>
                      <a:pt x="1744" y="3802"/>
                    </a:cubicBezTo>
                    <a:cubicBezTo>
                      <a:pt x="1844" y="3768"/>
                      <a:pt x="1844" y="3768"/>
                      <a:pt x="1844" y="3768"/>
                    </a:cubicBezTo>
                    <a:cubicBezTo>
                      <a:pt x="1852" y="3765"/>
                      <a:pt x="1852" y="3765"/>
                      <a:pt x="1852" y="3765"/>
                    </a:cubicBezTo>
                    <a:cubicBezTo>
                      <a:pt x="1858" y="3771"/>
                      <a:pt x="1858" y="3771"/>
                      <a:pt x="1858" y="3771"/>
                    </a:cubicBezTo>
                    <a:cubicBezTo>
                      <a:pt x="1873" y="3785"/>
                      <a:pt x="1873" y="3785"/>
                      <a:pt x="1873" y="3785"/>
                    </a:cubicBezTo>
                    <a:cubicBezTo>
                      <a:pt x="1959" y="3757"/>
                      <a:pt x="1959" y="3757"/>
                      <a:pt x="1959" y="3757"/>
                    </a:cubicBezTo>
                    <a:cubicBezTo>
                      <a:pt x="1924" y="3664"/>
                      <a:pt x="1924" y="3664"/>
                      <a:pt x="1924" y="3664"/>
                    </a:cubicBezTo>
                    <a:cubicBezTo>
                      <a:pt x="1755" y="3720"/>
                      <a:pt x="1755" y="3720"/>
                      <a:pt x="1755" y="3720"/>
                    </a:cubicBezTo>
                    <a:cubicBezTo>
                      <a:pt x="1601" y="3785"/>
                      <a:pt x="1601" y="3785"/>
                      <a:pt x="1601" y="3785"/>
                    </a:cubicBezTo>
                    <a:cubicBezTo>
                      <a:pt x="1675" y="3859"/>
                      <a:pt x="1675" y="3859"/>
                      <a:pt x="1675" y="3859"/>
                    </a:cubicBezTo>
                    <a:lnTo>
                      <a:pt x="1746" y="3835"/>
                    </a:lnTo>
                    <a:close/>
                    <a:moveTo>
                      <a:pt x="2075" y="4000"/>
                    </a:moveTo>
                    <a:cubicBezTo>
                      <a:pt x="2118" y="3871"/>
                      <a:pt x="2118" y="3871"/>
                      <a:pt x="2118" y="3871"/>
                    </a:cubicBezTo>
                    <a:cubicBezTo>
                      <a:pt x="2397" y="3875"/>
                      <a:pt x="2397" y="3875"/>
                      <a:pt x="2397" y="3875"/>
                    </a:cubicBezTo>
                    <a:cubicBezTo>
                      <a:pt x="2362" y="3955"/>
                      <a:pt x="2362" y="3955"/>
                      <a:pt x="2362" y="3955"/>
                    </a:cubicBezTo>
                    <a:cubicBezTo>
                      <a:pt x="2240" y="3952"/>
                      <a:pt x="2240" y="3952"/>
                      <a:pt x="2240" y="3952"/>
                    </a:cubicBezTo>
                    <a:cubicBezTo>
                      <a:pt x="2218" y="4038"/>
                      <a:pt x="2218" y="4038"/>
                      <a:pt x="2218" y="4038"/>
                    </a:cubicBezTo>
                    <a:lnTo>
                      <a:pt x="2075" y="4000"/>
                    </a:lnTo>
                    <a:close/>
                    <a:moveTo>
                      <a:pt x="2093" y="3990"/>
                    </a:moveTo>
                    <a:cubicBezTo>
                      <a:pt x="2208" y="4021"/>
                      <a:pt x="2208" y="4021"/>
                      <a:pt x="2208" y="4021"/>
                    </a:cubicBezTo>
                    <a:cubicBezTo>
                      <a:pt x="2227" y="3949"/>
                      <a:pt x="2227" y="3949"/>
                      <a:pt x="2227" y="3949"/>
                    </a:cubicBezTo>
                    <a:cubicBezTo>
                      <a:pt x="2230" y="3938"/>
                      <a:pt x="2230" y="3938"/>
                      <a:pt x="2230" y="3938"/>
                    </a:cubicBezTo>
                    <a:cubicBezTo>
                      <a:pt x="2241" y="3938"/>
                      <a:pt x="2241" y="3938"/>
                      <a:pt x="2241" y="3938"/>
                    </a:cubicBezTo>
                    <a:cubicBezTo>
                      <a:pt x="2353" y="3941"/>
                      <a:pt x="2353" y="3941"/>
                      <a:pt x="2353" y="3941"/>
                    </a:cubicBezTo>
                    <a:cubicBezTo>
                      <a:pt x="2376" y="3889"/>
                      <a:pt x="2376" y="3889"/>
                      <a:pt x="2376" y="3889"/>
                    </a:cubicBezTo>
                    <a:cubicBezTo>
                      <a:pt x="2128" y="3885"/>
                      <a:pt x="2128" y="3885"/>
                      <a:pt x="2128" y="3885"/>
                    </a:cubicBezTo>
                    <a:lnTo>
                      <a:pt x="2093" y="3990"/>
                    </a:lnTo>
                    <a:close/>
                    <a:moveTo>
                      <a:pt x="2621" y="4114"/>
                    </a:moveTo>
                    <a:cubicBezTo>
                      <a:pt x="2689" y="3998"/>
                      <a:pt x="2760" y="3966"/>
                      <a:pt x="2801" y="3966"/>
                    </a:cubicBezTo>
                    <a:cubicBezTo>
                      <a:pt x="2812" y="3966"/>
                      <a:pt x="2820" y="3968"/>
                      <a:pt x="2827" y="3972"/>
                    </a:cubicBezTo>
                    <a:cubicBezTo>
                      <a:pt x="2840" y="3981"/>
                      <a:pt x="2848" y="3991"/>
                      <a:pt x="2849" y="4031"/>
                    </a:cubicBezTo>
                    <a:cubicBezTo>
                      <a:pt x="2849" y="4031"/>
                      <a:pt x="2849" y="4032"/>
                      <a:pt x="2849" y="4033"/>
                    </a:cubicBezTo>
                    <a:cubicBezTo>
                      <a:pt x="2849" y="4075"/>
                      <a:pt x="2806" y="4111"/>
                      <a:pt x="2795" y="4149"/>
                    </a:cubicBezTo>
                    <a:cubicBezTo>
                      <a:pt x="2790" y="4168"/>
                      <a:pt x="2789" y="4196"/>
                      <a:pt x="2789" y="4220"/>
                    </a:cubicBezTo>
                    <a:cubicBezTo>
                      <a:pt x="2789" y="4245"/>
                      <a:pt x="2790" y="4266"/>
                      <a:pt x="2790" y="4266"/>
                    </a:cubicBezTo>
                    <a:cubicBezTo>
                      <a:pt x="2778" y="4340"/>
                      <a:pt x="2710" y="4361"/>
                      <a:pt x="2653" y="4386"/>
                    </a:cubicBezTo>
                    <a:cubicBezTo>
                      <a:pt x="2595" y="4411"/>
                      <a:pt x="2543" y="4414"/>
                      <a:pt x="2543" y="4414"/>
                    </a:cubicBezTo>
                    <a:cubicBezTo>
                      <a:pt x="2536" y="4414"/>
                      <a:pt x="2536" y="4414"/>
                      <a:pt x="2536" y="4414"/>
                    </a:cubicBezTo>
                    <a:cubicBezTo>
                      <a:pt x="2539" y="4408"/>
                      <a:pt x="2539" y="4408"/>
                      <a:pt x="2539" y="4408"/>
                    </a:cubicBezTo>
                    <a:cubicBezTo>
                      <a:pt x="2539" y="4407"/>
                      <a:pt x="2543" y="4399"/>
                      <a:pt x="2572" y="4372"/>
                    </a:cubicBezTo>
                    <a:cubicBezTo>
                      <a:pt x="2625" y="4323"/>
                      <a:pt x="2615" y="4235"/>
                      <a:pt x="2620" y="4217"/>
                    </a:cubicBezTo>
                    <a:cubicBezTo>
                      <a:pt x="2620" y="4215"/>
                      <a:pt x="2621" y="4214"/>
                      <a:pt x="2621" y="4212"/>
                    </a:cubicBezTo>
                    <a:cubicBezTo>
                      <a:pt x="2621" y="4200"/>
                      <a:pt x="2614" y="4178"/>
                      <a:pt x="2614" y="4153"/>
                    </a:cubicBezTo>
                    <a:cubicBezTo>
                      <a:pt x="2614" y="4140"/>
                      <a:pt x="2616" y="4127"/>
                      <a:pt x="2621" y="4114"/>
                    </a:cubicBezTo>
                    <a:close/>
                    <a:moveTo>
                      <a:pt x="2622" y="4153"/>
                    </a:moveTo>
                    <a:cubicBezTo>
                      <a:pt x="2622" y="4176"/>
                      <a:pt x="2629" y="4198"/>
                      <a:pt x="2629" y="4212"/>
                    </a:cubicBezTo>
                    <a:cubicBezTo>
                      <a:pt x="2629" y="4214"/>
                      <a:pt x="2629" y="4217"/>
                      <a:pt x="2628" y="4219"/>
                    </a:cubicBezTo>
                    <a:cubicBezTo>
                      <a:pt x="2624" y="4232"/>
                      <a:pt x="2635" y="4326"/>
                      <a:pt x="2577" y="4378"/>
                    </a:cubicBezTo>
                    <a:cubicBezTo>
                      <a:pt x="2563" y="4391"/>
                      <a:pt x="2556" y="4400"/>
                      <a:pt x="2551" y="4405"/>
                    </a:cubicBezTo>
                    <a:cubicBezTo>
                      <a:pt x="2568" y="4403"/>
                      <a:pt x="2607" y="4397"/>
                      <a:pt x="2650" y="4378"/>
                    </a:cubicBezTo>
                    <a:cubicBezTo>
                      <a:pt x="2708" y="4353"/>
                      <a:pt x="2771" y="4333"/>
                      <a:pt x="2782" y="4266"/>
                    </a:cubicBezTo>
                    <a:cubicBezTo>
                      <a:pt x="2782" y="4266"/>
                      <a:pt x="2781" y="4245"/>
                      <a:pt x="2781" y="4220"/>
                    </a:cubicBezTo>
                    <a:cubicBezTo>
                      <a:pt x="2781" y="4196"/>
                      <a:pt x="2782" y="4167"/>
                      <a:pt x="2787" y="4147"/>
                    </a:cubicBezTo>
                    <a:cubicBezTo>
                      <a:pt x="2799" y="4106"/>
                      <a:pt x="2842" y="4069"/>
                      <a:pt x="2841" y="4033"/>
                    </a:cubicBezTo>
                    <a:cubicBezTo>
                      <a:pt x="2841" y="4032"/>
                      <a:pt x="2841" y="4032"/>
                      <a:pt x="2841" y="4031"/>
                    </a:cubicBezTo>
                    <a:cubicBezTo>
                      <a:pt x="2839" y="3991"/>
                      <a:pt x="2834" y="3987"/>
                      <a:pt x="2822" y="3979"/>
                    </a:cubicBezTo>
                    <a:cubicBezTo>
                      <a:pt x="2818" y="3976"/>
                      <a:pt x="2810" y="3974"/>
                      <a:pt x="2801" y="3974"/>
                    </a:cubicBezTo>
                    <a:cubicBezTo>
                      <a:pt x="2764" y="3974"/>
                      <a:pt x="2695" y="4004"/>
                      <a:pt x="2628" y="4118"/>
                    </a:cubicBezTo>
                    <a:cubicBezTo>
                      <a:pt x="2624" y="4129"/>
                      <a:pt x="2622" y="4141"/>
                      <a:pt x="2622" y="4153"/>
                    </a:cubicBezTo>
                    <a:close/>
                    <a:moveTo>
                      <a:pt x="4712" y="3760"/>
                    </a:moveTo>
                    <a:cubicBezTo>
                      <a:pt x="4691" y="3613"/>
                      <a:pt x="4691" y="3613"/>
                      <a:pt x="4691" y="3613"/>
                    </a:cubicBezTo>
                    <a:cubicBezTo>
                      <a:pt x="4794" y="3599"/>
                      <a:pt x="4794" y="3599"/>
                      <a:pt x="4794" y="3599"/>
                    </a:cubicBezTo>
                    <a:cubicBezTo>
                      <a:pt x="4815" y="3745"/>
                      <a:pt x="4815" y="3745"/>
                      <a:pt x="4815" y="3745"/>
                    </a:cubicBezTo>
                    <a:cubicBezTo>
                      <a:pt x="4809" y="3746"/>
                      <a:pt x="4809" y="3746"/>
                      <a:pt x="4809" y="3746"/>
                    </a:cubicBezTo>
                    <a:lnTo>
                      <a:pt x="4712" y="3760"/>
                    </a:lnTo>
                    <a:close/>
                    <a:moveTo>
                      <a:pt x="4706" y="3624"/>
                    </a:moveTo>
                    <a:cubicBezTo>
                      <a:pt x="4723" y="3745"/>
                      <a:pt x="4723" y="3745"/>
                      <a:pt x="4723" y="3745"/>
                    </a:cubicBezTo>
                    <a:cubicBezTo>
                      <a:pt x="4800" y="3734"/>
                      <a:pt x="4800" y="3734"/>
                      <a:pt x="4800" y="3734"/>
                    </a:cubicBezTo>
                    <a:cubicBezTo>
                      <a:pt x="4783" y="3613"/>
                      <a:pt x="4783" y="3613"/>
                      <a:pt x="4783" y="3613"/>
                    </a:cubicBezTo>
                    <a:lnTo>
                      <a:pt x="4706" y="3624"/>
                    </a:lnTo>
                    <a:close/>
                    <a:moveTo>
                      <a:pt x="4905" y="3036"/>
                    </a:moveTo>
                    <a:cubicBezTo>
                      <a:pt x="4930" y="3137"/>
                      <a:pt x="4930" y="3137"/>
                      <a:pt x="4930" y="3137"/>
                    </a:cubicBezTo>
                    <a:cubicBezTo>
                      <a:pt x="4786" y="3172"/>
                      <a:pt x="4786" y="3172"/>
                      <a:pt x="4786" y="3172"/>
                    </a:cubicBezTo>
                    <a:cubicBezTo>
                      <a:pt x="4784" y="3165"/>
                      <a:pt x="4784" y="3165"/>
                      <a:pt x="4784" y="3165"/>
                    </a:cubicBezTo>
                    <a:cubicBezTo>
                      <a:pt x="4761" y="3070"/>
                      <a:pt x="4761" y="3070"/>
                      <a:pt x="4761" y="3070"/>
                    </a:cubicBezTo>
                    <a:lnTo>
                      <a:pt x="4905" y="3036"/>
                    </a:lnTo>
                    <a:close/>
                    <a:moveTo>
                      <a:pt x="4914" y="3128"/>
                    </a:moveTo>
                    <a:cubicBezTo>
                      <a:pt x="4896" y="3051"/>
                      <a:pt x="4896" y="3051"/>
                      <a:pt x="4896" y="3051"/>
                    </a:cubicBezTo>
                    <a:cubicBezTo>
                      <a:pt x="4777" y="3080"/>
                      <a:pt x="4777" y="3080"/>
                      <a:pt x="4777" y="3080"/>
                    </a:cubicBezTo>
                    <a:cubicBezTo>
                      <a:pt x="4795" y="3156"/>
                      <a:pt x="4795" y="3156"/>
                      <a:pt x="4795" y="3156"/>
                    </a:cubicBezTo>
                    <a:lnTo>
                      <a:pt x="4914" y="3128"/>
                    </a:lnTo>
                    <a:close/>
                    <a:moveTo>
                      <a:pt x="2891" y="6216"/>
                    </a:moveTo>
                    <a:cubicBezTo>
                      <a:pt x="2889" y="6211"/>
                      <a:pt x="2889" y="6211"/>
                      <a:pt x="2889" y="6211"/>
                    </a:cubicBezTo>
                    <a:cubicBezTo>
                      <a:pt x="2894" y="6207"/>
                      <a:pt x="2894" y="6207"/>
                      <a:pt x="2894" y="6207"/>
                    </a:cubicBezTo>
                    <a:cubicBezTo>
                      <a:pt x="2933" y="6178"/>
                      <a:pt x="3058" y="6159"/>
                      <a:pt x="3058" y="6159"/>
                    </a:cubicBezTo>
                    <a:cubicBezTo>
                      <a:pt x="3061" y="6158"/>
                      <a:pt x="3061" y="6158"/>
                      <a:pt x="3061" y="6158"/>
                    </a:cubicBezTo>
                    <a:cubicBezTo>
                      <a:pt x="3279" y="6305"/>
                      <a:pt x="3279" y="6305"/>
                      <a:pt x="3279" y="6305"/>
                    </a:cubicBezTo>
                    <a:cubicBezTo>
                      <a:pt x="3276" y="6311"/>
                      <a:pt x="3276" y="6311"/>
                      <a:pt x="3276" y="6311"/>
                    </a:cubicBezTo>
                    <a:cubicBezTo>
                      <a:pt x="3225" y="6417"/>
                      <a:pt x="3225" y="6417"/>
                      <a:pt x="3225" y="6417"/>
                    </a:cubicBezTo>
                    <a:cubicBezTo>
                      <a:pt x="3077" y="6255"/>
                      <a:pt x="3077" y="6255"/>
                      <a:pt x="3077" y="6255"/>
                    </a:cubicBezTo>
                    <a:cubicBezTo>
                      <a:pt x="3000" y="6283"/>
                      <a:pt x="3000" y="6283"/>
                      <a:pt x="3000" y="6283"/>
                    </a:cubicBezTo>
                    <a:cubicBezTo>
                      <a:pt x="2997" y="6281"/>
                      <a:pt x="2997" y="6281"/>
                      <a:pt x="2997" y="6281"/>
                    </a:cubicBezTo>
                    <a:cubicBezTo>
                      <a:pt x="2997" y="6281"/>
                      <a:pt x="2972" y="6267"/>
                      <a:pt x="2946" y="6252"/>
                    </a:cubicBezTo>
                    <a:cubicBezTo>
                      <a:pt x="2933" y="6244"/>
                      <a:pt x="2921" y="6237"/>
                      <a:pt x="2911" y="6231"/>
                    </a:cubicBezTo>
                    <a:cubicBezTo>
                      <a:pt x="2906" y="6228"/>
                      <a:pt x="2902" y="6225"/>
                      <a:pt x="2899" y="6223"/>
                    </a:cubicBezTo>
                    <a:cubicBezTo>
                      <a:pt x="2897" y="6222"/>
                      <a:pt x="2896" y="6221"/>
                      <a:pt x="2895" y="6221"/>
                    </a:cubicBezTo>
                    <a:cubicBezTo>
                      <a:pt x="2894" y="6219"/>
                      <a:pt x="2893" y="6220"/>
                      <a:pt x="2891" y="6216"/>
                    </a:cubicBezTo>
                    <a:close/>
                    <a:moveTo>
                      <a:pt x="2911" y="6214"/>
                    </a:moveTo>
                    <a:cubicBezTo>
                      <a:pt x="2921" y="6220"/>
                      <a:pt x="2939" y="6231"/>
                      <a:pt x="2956" y="6240"/>
                    </a:cubicBezTo>
                    <a:cubicBezTo>
                      <a:pt x="2975" y="6252"/>
                      <a:pt x="2994" y="6263"/>
                      <a:pt x="3001" y="6267"/>
                    </a:cubicBezTo>
                    <a:cubicBezTo>
                      <a:pt x="3081" y="6238"/>
                      <a:pt x="3081" y="6238"/>
                      <a:pt x="3081" y="6238"/>
                    </a:cubicBezTo>
                    <a:cubicBezTo>
                      <a:pt x="3221" y="6391"/>
                      <a:pt x="3221" y="6391"/>
                      <a:pt x="3221" y="6391"/>
                    </a:cubicBezTo>
                    <a:cubicBezTo>
                      <a:pt x="3260" y="6310"/>
                      <a:pt x="3260" y="6310"/>
                      <a:pt x="3260" y="6310"/>
                    </a:cubicBezTo>
                    <a:cubicBezTo>
                      <a:pt x="3058" y="6174"/>
                      <a:pt x="3058" y="6174"/>
                      <a:pt x="3058" y="6174"/>
                    </a:cubicBezTo>
                    <a:cubicBezTo>
                      <a:pt x="3049" y="6175"/>
                      <a:pt x="3023" y="6180"/>
                      <a:pt x="2994" y="6187"/>
                    </a:cubicBezTo>
                    <a:cubicBezTo>
                      <a:pt x="2964" y="6194"/>
                      <a:pt x="2930" y="6204"/>
                      <a:pt x="2911" y="6214"/>
                    </a:cubicBezTo>
                    <a:close/>
                    <a:moveTo>
                      <a:pt x="4505" y="3733"/>
                    </a:moveTo>
                    <a:cubicBezTo>
                      <a:pt x="4506" y="3734"/>
                      <a:pt x="4508" y="3736"/>
                      <a:pt x="4508" y="3738"/>
                    </a:cubicBezTo>
                    <a:cubicBezTo>
                      <a:pt x="4506" y="3745"/>
                      <a:pt x="4505" y="3744"/>
                      <a:pt x="4504" y="3746"/>
                    </a:cubicBezTo>
                    <a:cubicBezTo>
                      <a:pt x="4497" y="3751"/>
                      <a:pt x="4476" y="3761"/>
                      <a:pt x="4475" y="3762"/>
                    </a:cubicBezTo>
                    <a:cubicBezTo>
                      <a:pt x="4472" y="3763"/>
                      <a:pt x="4472" y="3763"/>
                      <a:pt x="4472" y="3763"/>
                    </a:cubicBezTo>
                    <a:cubicBezTo>
                      <a:pt x="4284" y="3649"/>
                      <a:pt x="4284" y="3649"/>
                      <a:pt x="4284" y="3649"/>
                    </a:cubicBezTo>
                    <a:cubicBezTo>
                      <a:pt x="4409" y="3560"/>
                      <a:pt x="4409" y="3560"/>
                      <a:pt x="4409" y="3560"/>
                    </a:cubicBezTo>
                    <a:lnTo>
                      <a:pt x="4505" y="3733"/>
                    </a:lnTo>
                    <a:close/>
                    <a:moveTo>
                      <a:pt x="4490" y="3737"/>
                    </a:moveTo>
                    <a:cubicBezTo>
                      <a:pt x="4404" y="3581"/>
                      <a:pt x="4404" y="3581"/>
                      <a:pt x="4404" y="3581"/>
                    </a:cubicBezTo>
                    <a:cubicBezTo>
                      <a:pt x="4310" y="3648"/>
                      <a:pt x="4310" y="3648"/>
                      <a:pt x="4310" y="3648"/>
                    </a:cubicBezTo>
                    <a:cubicBezTo>
                      <a:pt x="4472" y="3746"/>
                      <a:pt x="4472" y="3746"/>
                      <a:pt x="4472" y="3746"/>
                    </a:cubicBezTo>
                    <a:cubicBezTo>
                      <a:pt x="4475" y="3745"/>
                      <a:pt x="4479" y="3743"/>
                      <a:pt x="4483" y="3741"/>
                    </a:cubicBezTo>
                    <a:cubicBezTo>
                      <a:pt x="4485" y="3740"/>
                      <a:pt x="4488" y="3738"/>
                      <a:pt x="4490" y="3737"/>
                    </a:cubicBezTo>
                    <a:close/>
                    <a:moveTo>
                      <a:pt x="4618" y="3768"/>
                    </a:moveTo>
                    <a:cubicBezTo>
                      <a:pt x="4613" y="3771"/>
                      <a:pt x="4613" y="3771"/>
                      <a:pt x="4613" y="3771"/>
                    </a:cubicBezTo>
                    <a:cubicBezTo>
                      <a:pt x="4484" y="3846"/>
                      <a:pt x="4484" y="3846"/>
                      <a:pt x="4484" y="3846"/>
                    </a:cubicBezTo>
                    <a:cubicBezTo>
                      <a:pt x="4198" y="3766"/>
                      <a:pt x="4198" y="3766"/>
                      <a:pt x="4198" y="3766"/>
                    </a:cubicBezTo>
                    <a:cubicBezTo>
                      <a:pt x="4273" y="3584"/>
                      <a:pt x="4273" y="3584"/>
                      <a:pt x="4273" y="3584"/>
                    </a:cubicBezTo>
                    <a:cubicBezTo>
                      <a:pt x="4358" y="3524"/>
                      <a:pt x="4358" y="3524"/>
                      <a:pt x="4358" y="3524"/>
                    </a:cubicBezTo>
                    <a:cubicBezTo>
                      <a:pt x="4527" y="3508"/>
                      <a:pt x="4527" y="3508"/>
                      <a:pt x="4527" y="3508"/>
                    </a:cubicBezTo>
                    <a:lnTo>
                      <a:pt x="4618" y="3768"/>
                    </a:lnTo>
                    <a:close/>
                    <a:moveTo>
                      <a:pt x="4600" y="3762"/>
                    </a:moveTo>
                    <a:cubicBezTo>
                      <a:pt x="4517" y="3524"/>
                      <a:pt x="4517" y="3524"/>
                      <a:pt x="4517" y="3524"/>
                    </a:cubicBezTo>
                    <a:cubicBezTo>
                      <a:pt x="4363" y="3539"/>
                      <a:pt x="4363" y="3539"/>
                      <a:pt x="4363" y="3539"/>
                    </a:cubicBezTo>
                    <a:cubicBezTo>
                      <a:pt x="4285" y="3593"/>
                      <a:pt x="4285" y="3593"/>
                      <a:pt x="4285" y="3593"/>
                    </a:cubicBezTo>
                    <a:cubicBezTo>
                      <a:pt x="4218" y="3757"/>
                      <a:pt x="4218" y="3757"/>
                      <a:pt x="4218" y="3757"/>
                    </a:cubicBezTo>
                    <a:cubicBezTo>
                      <a:pt x="4482" y="3830"/>
                      <a:pt x="4482" y="3830"/>
                      <a:pt x="4482" y="3830"/>
                    </a:cubicBezTo>
                    <a:lnTo>
                      <a:pt x="4600" y="3762"/>
                    </a:lnTo>
                    <a:close/>
                    <a:moveTo>
                      <a:pt x="4704" y="3078"/>
                    </a:moveTo>
                    <a:cubicBezTo>
                      <a:pt x="4728" y="3180"/>
                      <a:pt x="4728" y="3180"/>
                      <a:pt x="4728" y="3180"/>
                    </a:cubicBezTo>
                    <a:cubicBezTo>
                      <a:pt x="4584" y="3214"/>
                      <a:pt x="4584" y="3214"/>
                      <a:pt x="4584" y="3214"/>
                    </a:cubicBezTo>
                    <a:cubicBezTo>
                      <a:pt x="4583" y="3208"/>
                      <a:pt x="4583" y="3208"/>
                      <a:pt x="4583" y="3208"/>
                    </a:cubicBezTo>
                    <a:cubicBezTo>
                      <a:pt x="4560" y="3113"/>
                      <a:pt x="4560" y="3113"/>
                      <a:pt x="4560" y="3113"/>
                    </a:cubicBezTo>
                    <a:lnTo>
                      <a:pt x="4704" y="3078"/>
                    </a:lnTo>
                    <a:close/>
                    <a:moveTo>
                      <a:pt x="4713" y="3170"/>
                    </a:moveTo>
                    <a:cubicBezTo>
                      <a:pt x="4694" y="3094"/>
                      <a:pt x="4694" y="3094"/>
                      <a:pt x="4694" y="3094"/>
                    </a:cubicBezTo>
                    <a:cubicBezTo>
                      <a:pt x="4575" y="3122"/>
                      <a:pt x="4575" y="3122"/>
                      <a:pt x="4575" y="3122"/>
                    </a:cubicBezTo>
                    <a:cubicBezTo>
                      <a:pt x="4594" y="3199"/>
                      <a:pt x="4594" y="3199"/>
                      <a:pt x="4594" y="3199"/>
                    </a:cubicBezTo>
                    <a:lnTo>
                      <a:pt x="4713" y="3170"/>
                    </a:lnTo>
                    <a:close/>
                    <a:moveTo>
                      <a:pt x="4332" y="3180"/>
                    </a:moveTo>
                    <a:cubicBezTo>
                      <a:pt x="4356" y="3282"/>
                      <a:pt x="4356" y="3282"/>
                      <a:pt x="4356" y="3282"/>
                    </a:cubicBezTo>
                    <a:cubicBezTo>
                      <a:pt x="4213" y="3316"/>
                      <a:pt x="4213" y="3316"/>
                      <a:pt x="4213" y="3316"/>
                    </a:cubicBezTo>
                    <a:cubicBezTo>
                      <a:pt x="4211" y="3310"/>
                      <a:pt x="4211" y="3310"/>
                      <a:pt x="4211" y="3310"/>
                    </a:cubicBezTo>
                    <a:cubicBezTo>
                      <a:pt x="4188" y="3215"/>
                      <a:pt x="4188" y="3215"/>
                      <a:pt x="4188" y="3215"/>
                    </a:cubicBezTo>
                    <a:lnTo>
                      <a:pt x="4332" y="3180"/>
                    </a:lnTo>
                    <a:close/>
                    <a:moveTo>
                      <a:pt x="4341" y="3272"/>
                    </a:moveTo>
                    <a:cubicBezTo>
                      <a:pt x="4322" y="3196"/>
                      <a:pt x="4322" y="3196"/>
                      <a:pt x="4322" y="3196"/>
                    </a:cubicBezTo>
                    <a:cubicBezTo>
                      <a:pt x="4204" y="3224"/>
                      <a:pt x="4204" y="3224"/>
                      <a:pt x="4204" y="3224"/>
                    </a:cubicBezTo>
                    <a:cubicBezTo>
                      <a:pt x="4222" y="3301"/>
                      <a:pt x="4222" y="3301"/>
                      <a:pt x="4222" y="3301"/>
                    </a:cubicBezTo>
                    <a:lnTo>
                      <a:pt x="4341" y="3272"/>
                    </a:lnTo>
                    <a:close/>
                    <a:moveTo>
                      <a:pt x="3596" y="3646"/>
                    </a:moveTo>
                    <a:cubicBezTo>
                      <a:pt x="3455" y="3697"/>
                      <a:pt x="3455" y="3697"/>
                      <a:pt x="3455" y="3697"/>
                    </a:cubicBezTo>
                    <a:cubicBezTo>
                      <a:pt x="3302" y="3490"/>
                      <a:pt x="3302" y="3490"/>
                      <a:pt x="3302" y="3490"/>
                    </a:cubicBezTo>
                    <a:cubicBezTo>
                      <a:pt x="4098" y="3250"/>
                      <a:pt x="4098" y="3250"/>
                      <a:pt x="4098" y="3250"/>
                    </a:cubicBezTo>
                    <a:cubicBezTo>
                      <a:pt x="4098" y="3260"/>
                      <a:pt x="4098" y="3260"/>
                      <a:pt x="4098" y="3260"/>
                    </a:cubicBezTo>
                    <a:cubicBezTo>
                      <a:pt x="4097" y="3354"/>
                      <a:pt x="4097" y="3354"/>
                      <a:pt x="4097" y="3354"/>
                    </a:cubicBezTo>
                    <a:cubicBezTo>
                      <a:pt x="3967" y="3393"/>
                      <a:pt x="3967" y="3393"/>
                      <a:pt x="3967" y="3393"/>
                    </a:cubicBezTo>
                    <a:cubicBezTo>
                      <a:pt x="3986" y="3489"/>
                      <a:pt x="3986" y="3489"/>
                      <a:pt x="3986" y="3489"/>
                    </a:cubicBezTo>
                    <a:cubicBezTo>
                      <a:pt x="3772" y="3536"/>
                      <a:pt x="3772" y="3536"/>
                      <a:pt x="3772" y="3536"/>
                    </a:cubicBezTo>
                    <a:cubicBezTo>
                      <a:pt x="3719" y="3484"/>
                      <a:pt x="3719" y="3484"/>
                      <a:pt x="3719" y="3484"/>
                    </a:cubicBezTo>
                    <a:cubicBezTo>
                      <a:pt x="3573" y="3600"/>
                      <a:pt x="3573" y="3600"/>
                      <a:pt x="3573" y="3600"/>
                    </a:cubicBezTo>
                    <a:lnTo>
                      <a:pt x="3596" y="3646"/>
                    </a:lnTo>
                    <a:close/>
                    <a:moveTo>
                      <a:pt x="3460" y="3680"/>
                    </a:moveTo>
                    <a:cubicBezTo>
                      <a:pt x="3576" y="3638"/>
                      <a:pt x="3576" y="3638"/>
                      <a:pt x="3576" y="3638"/>
                    </a:cubicBezTo>
                    <a:cubicBezTo>
                      <a:pt x="3555" y="3596"/>
                      <a:pt x="3555" y="3596"/>
                      <a:pt x="3555" y="3596"/>
                    </a:cubicBezTo>
                    <a:cubicBezTo>
                      <a:pt x="3720" y="3464"/>
                      <a:pt x="3720" y="3464"/>
                      <a:pt x="3720" y="3464"/>
                    </a:cubicBezTo>
                    <a:cubicBezTo>
                      <a:pt x="3777" y="3520"/>
                      <a:pt x="3777" y="3520"/>
                      <a:pt x="3777" y="3520"/>
                    </a:cubicBezTo>
                    <a:cubicBezTo>
                      <a:pt x="3969" y="3478"/>
                      <a:pt x="3969" y="3478"/>
                      <a:pt x="3969" y="3478"/>
                    </a:cubicBezTo>
                    <a:cubicBezTo>
                      <a:pt x="3950" y="3382"/>
                      <a:pt x="3950" y="3382"/>
                      <a:pt x="3950" y="3382"/>
                    </a:cubicBezTo>
                    <a:cubicBezTo>
                      <a:pt x="4082" y="3343"/>
                      <a:pt x="4082" y="3343"/>
                      <a:pt x="4082" y="3343"/>
                    </a:cubicBezTo>
                    <a:cubicBezTo>
                      <a:pt x="4083" y="3270"/>
                      <a:pt x="4083" y="3270"/>
                      <a:pt x="4083" y="3270"/>
                    </a:cubicBezTo>
                    <a:cubicBezTo>
                      <a:pt x="3327" y="3498"/>
                      <a:pt x="3327" y="3498"/>
                      <a:pt x="3327" y="3498"/>
                    </a:cubicBezTo>
                    <a:lnTo>
                      <a:pt x="3460" y="3680"/>
                    </a:lnTo>
                    <a:close/>
                    <a:moveTo>
                      <a:pt x="2423" y="5496"/>
                    </a:moveTo>
                    <a:cubicBezTo>
                      <a:pt x="2316" y="5476"/>
                      <a:pt x="2316" y="5476"/>
                      <a:pt x="2316" y="5476"/>
                    </a:cubicBezTo>
                    <a:cubicBezTo>
                      <a:pt x="2349" y="5294"/>
                      <a:pt x="2349" y="5294"/>
                      <a:pt x="2349" y="5294"/>
                    </a:cubicBezTo>
                    <a:cubicBezTo>
                      <a:pt x="2400" y="5303"/>
                      <a:pt x="2400" y="5303"/>
                      <a:pt x="2400" y="5303"/>
                    </a:cubicBezTo>
                    <a:cubicBezTo>
                      <a:pt x="2401" y="5299"/>
                      <a:pt x="2401" y="5299"/>
                      <a:pt x="2401" y="5299"/>
                    </a:cubicBezTo>
                    <a:cubicBezTo>
                      <a:pt x="2402" y="5293"/>
                      <a:pt x="2402" y="5293"/>
                      <a:pt x="2402" y="5293"/>
                    </a:cubicBezTo>
                    <a:cubicBezTo>
                      <a:pt x="2518" y="5314"/>
                      <a:pt x="2518" y="5314"/>
                      <a:pt x="2518" y="5314"/>
                    </a:cubicBezTo>
                    <a:cubicBezTo>
                      <a:pt x="2493" y="5434"/>
                      <a:pt x="2493" y="5434"/>
                      <a:pt x="2493" y="5434"/>
                    </a:cubicBezTo>
                    <a:cubicBezTo>
                      <a:pt x="2487" y="5433"/>
                      <a:pt x="2487" y="5433"/>
                      <a:pt x="2487" y="5433"/>
                    </a:cubicBezTo>
                    <a:cubicBezTo>
                      <a:pt x="2437" y="5424"/>
                      <a:pt x="2437" y="5424"/>
                      <a:pt x="2437" y="5424"/>
                    </a:cubicBezTo>
                    <a:lnTo>
                      <a:pt x="2423" y="5496"/>
                    </a:lnTo>
                    <a:close/>
                    <a:moveTo>
                      <a:pt x="2413" y="5480"/>
                    </a:moveTo>
                    <a:cubicBezTo>
                      <a:pt x="2426" y="5408"/>
                      <a:pt x="2426" y="5408"/>
                      <a:pt x="2426" y="5408"/>
                    </a:cubicBezTo>
                    <a:cubicBezTo>
                      <a:pt x="2483" y="5419"/>
                      <a:pt x="2483" y="5419"/>
                      <a:pt x="2483" y="5419"/>
                    </a:cubicBezTo>
                    <a:cubicBezTo>
                      <a:pt x="2502" y="5324"/>
                      <a:pt x="2502" y="5324"/>
                      <a:pt x="2502" y="5324"/>
                    </a:cubicBezTo>
                    <a:cubicBezTo>
                      <a:pt x="2412" y="5308"/>
                      <a:pt x="2412" y="5308"/>
                      <a:pt x="2412" y="5308"/>
                    </a:cubicBezTo>
                    <a:cubicBezTo>
                      <a:pt x="2412" y="5312"/>
                      <a:pt x="2412" y="5312"/>
                      <a:pt x="2412" y="5312"/>
                    </a:cubicBezTo>
                    <a:cubicBezTo>
                      <a:pt x="2411" y="5318"/>
                      <a:pt x="2411" y="5318"/>
                      <a:pt x="2411" y="5318"/>
                    </a:cubicBezTo>
                    <a:cubicBezTo>
                      <a:pt x="2359" y="5309"/>
                      <a:pt x="2359" y="5309"/>
                      <a:pt x="2359" y="5309"/>
                    </a:cubicBezTo>
                    <a:cubicBezTo>
                      <a:pt x="2331" y="5465"/>
                      <a:pt x="2331" y="5465"/>
                      <a:pt x="2331" y="5465"/>
                    </a:cubicBezTo>
                    <a:lnTo>
                      <a:pt x="2413" y="5480"/>
                    </a:lnTo>
                    <a:close/>
                    <a:moveTo>
                      <a:pt x="1707" y="5342"/>
                    </a:moveTo>
                    <a:cubicBezTo>
                      <a:pt x="1586" y="5304"/>
                      <a:pt x="1586" y="5304"/>
                      <a:pt x="1586" y="5304"/>
                    </a:cubicBezTo>
                    <a:cubicBezTo>
                      <a:pt x="1603" y="5074"/>
                      <a:pt x="1603" y="5074"/>
                      <a:pt x="1603" y="5074"/>
                    </a:cubicBezTo>
                    <a:cubicBezTo>
                      <a:pt x="1862" y="5149"/>
                      <a:pt x="1862" y="5149"/>
                      <a:pt x="1862" y="5149"/>
                    </a:cubicBezTo>
                    <a:lnTo>
                      <a:pt x="1707" y="5342"/>
                    </a:lnTo>
                    <a:close/>
                    <a:moveTo>
                      <a:pt x="1702" y="5326"/>
                    </a:moveTo>
                    <a:cubicBezTo>
                      <a:pt x="1838" y="5157"/>
                      <a:pt x="1838" y="5157"/>
                      <a:pt x="1838" y="5157"/>
                    </a:cubicBezTo>
                    <a:cubicBezTo>
                      <a:pt x="1616" y="5093"/>
                      <a:pt x="1616" y="5093"/>
                      <a:pt x="1616" y="5093"/>
                    </a:cubicBezTo>
                    <a:cubicBezTo>
                      <a:pt x="1601" y="5294"/>
                      <a:pt x="1601" y="5294"/>
                      <a:pt x="1601" y="5294"/>
                    </a:cubicBezTo>
                    <a:lnTo>
                      <a:pt x="1702" y="5326"/>
                    </a:lnTo>
                    <a:close/>
                    <a:moveTo>
                      <a:pt x="4519" y="3126"/>
                    </a:moveTo>
                    <a:cubicBezTo>
                      <a:pt x="4543" y="3227"/>
                      <a:pt x="4543" y="3227"/>
                      <a:pt x="4543" y="3227"/>
                    </a:cubicBezTo>
                    <a:cubicBezTo>
                      <a:pt x="4399" y="3262"/>
                      <a:pt x="4399" y="3262"/>
                      <a:pt x="4399" y="3262"/>
                    </a:cubicBezTo>
                    <a:cubicBezTo>
                      <a:pt x="4398" y="3256"/>
                      <a:pt x="4398" y="3256"/>
                      <a:pt x="4398" y="3256"/>
                    </a:cubicBezTo>
                    <a:cubicBezTo>
                      <a:pt x="4375" y="3160"/>
                      <a:pt x="4375" y="3160"/>
                      <a:pt x="4375" y="3160"/>
                    </a:cubicBezTo>
                    <a:lnTo>
                      <a:pt x="4519" y="3126"/>
                    </a:lnTo>
                    <a:close/>
                    <a:moveTo>
                      <a:pt x="4527" y="3218"/>
                    </a:moveTo>
                    <a:cubicBezTo>
                      <a:pt x="4509" y="3141"/>
                      <a:pt x="4509" y="3141"/>
                      <a:pt x="4509" y="3141"/>
                    </a:cubicBezTo>
                    <a:cubicBezTo>
                      <a:pt x="4390" y="3170"/>
                      <a:pt x="4390" y="3170"/>
                      <a:pt x="4390" y="3170"/>
                    </a:cubicBezTo>
                    <a:cubicBezTo>
                      <a:pt x="4409" y="3246"/>
                      <a:pt x="4409" y="3246"/>
                      <a:pt x="4409" y="3246"/>
                    </a:cubicBezTo>
                    <a:lnTo>
                      <a:pt x="4527" y="3218"/>
                    </a:lnTo>
                    <a:close/>
                    <a:moveTo>
                      <a:pt x="4245" y="5439"/>
                    </a:moveTo>
                    <a:cubicBezTo>
                      <a:pt x="4292" y="5487"/>
                      <a:pt x="4292" y="5487"/>
                      <a:pt x="4292" y="5487"/>
                    </a:cubicBezTo>
                    <a:cubicBezTo>
                      <a:pt x="4251" y="5577"/>
                      <a:pt x="4251" y="5577"/>
                      <a:pt x="4251" y="5577"/>
                    </a:cubicBezTo>
                    <a:cubicBezTo>
                      <a:pt x="4145" y="5488"/>
                      <a:pt x="4145" y="5488"/>
                      <a:pt x="4145" y="5488"/>
                    </a:cubicBezTo>
                    <a:cubicBezTo>
                      <a:pt x="4224" y="5319"/>
                      <a:pt x="4224" y="5319"/>
                      <a:pt x="4224" y="5319"/>
                    </a:cubicBezTo>
                    <a:cubicBezTo>
                      <a:pt x="4258" y="5386"/>
                      <a:pt x="4258" y="5386"/>
                      <a:pt x="4258" y="5386"/>
                    </a:cubicBezTo>
                    <a:lnTo>
                      <a:pt x="4245" y="5439"/>
                    </a:lnTo>
                    <a:close/>
                    <a:moveTo>
                      <a:pt x="4235" y="5449"/>
                    </a:moveTo>
                    <a:cubicBezTo>
                      <a:pt x="4229" y="5443"/>
                      <a:pt x="4229" y="5443"/>
                      <a:pt x="4229" y="5443"/>
                    </a:cubicBezTo>
                    <a:cubicBezTo>
                      <a:pt x="4231" y="5435"/>
                      <a:pt x="4231" y="5435"/>
                      <a:pt x="4231" y="5435"/>
                    </a:cubicBezTo>
                    <a:cubicBezTo>
                      <a:pt x="4243" y="5387"/>
                      <a:pt x="4243" y="5387"/>
                      <a:pt x="4243" y="5387"/>
                    </a:cubicBezTo>
                    <a:cubicBezTo>
                      <a:pt x="4225" y="5350"/>
                      <a:pt x="4225" y="5350"/>
                      <a:pt x="4225" y="5350"/>
                    </a:cubicBezTo>
                    <a:cubicBezTo>
                      <a:pt x="4162" y="5484"/>
                      <a:pt x="4162" y="5484"/>
                      <a:pt x="4162" y="5484"/>
                    </a:cubicBezTo>
                    <a:cubicBezTo>
                      <a:pt x="4246" y="5554"/>
                      <a:pt x="4246" y="5554"/>
                      <a:pt x="4246" y="5554"/>
                    </a:cubicBezTo>
                    <a:cubicBezTo>
                      <a:pt x="4276" y="5490"/>
                      <a:pt x="4276" y="5490"/>
                      <a:pt x="4276" y="5490"/>
                    </a:cubicBezTo>
                    <a:lnTo>
                      <a:pt x="4235" y="5449"/>
                    </a:lnTo>
                    <a:close/>
                    <a:moveTo>
                      <a:pt x="4113" y="2698"/>
                    </a:moveTo>
                    <a:cubicBezTo>
                      <a:pt x="4276" y="2629"/>
                      <a:pt x="4276" y="2629"/>
                      <a:pt x="4276" y="2629"/>
                    </a:cubicBezTo>
                    <a:cubicBezTo>
                      <a:pt x="4337" y="2787"/>
                      <a:pt x="4337" y="2787"/>
                      <a:pt x="4337" y="2787"/>
                    </a:cubicBezTo>
                    <a:cubicBezTo>
                      <a:pt x="4241" y="2827"/>
                      <a:pt x="4241" y="2827"/>
                      <a:pt x="4241" y="2827"/>
                    </a:cubicBezTo>
                    <a:cubicBezTo>
                      <a:pt x="4280" y="2918"/>
                      <a:pt x="4280" y="2918"/>
                      <a:pt x="4280" y="2918"/>
                    </a:cubicBezTo>
                    <a:cubicBezTo>
                      <a:pt x="4126" y="2984"/>
                      <a:pt x="4126" y="2984"/>
                      <a:pt x="4126" y="2984"/>
                    </a:cubicBezTo>
                    <a:cubicBezTo>
                      <a:pt x="4061" y="2830"/>
                      <a:pt x="4061" y="2830"/>
                      <a:pt x="4061" y="2830"/>
                    </a:cubicBezTo>
                    <a:cubicBezTo>
                      <a:pt x="4147" y="2793"/>
                      <a:pt x="4147" y="2793"/>
                      <a:pt x="4147" y="2793"/>
                    </a:cubicBezTo>
                    <a:lnTo>
                      <a:pt x="4113" y="2698"/>
                    </a:lnTo>
                    <a:close/>
                    <a:moveTo>
                      <a:pt x="4269" y="2647"/>
                    </a:moveTo>
                    <a:cubicBezTo>
                      <a:pt x="4129" y="2705"/>
                      <a:pt x="4129" y="2705"/>
                      <a:pt x="4129" y="2705"/>
                    </a:cubicBezTo>
                    <a:cubicBezTo>
                      <a:pt x="4164" y="2800"/>
                      <a:pt x="4164" y="2800"/>
                      <a:pt x="4164" y="2800"/>
                    </a:cubicBezTo>
                    <a:cubicBezTo>
                      <a:pt x="4078" y="2837"/>
                      <a:pt x="4078" y="2837"/>
                      <a:pt x="4078" y="2837"/>
                    </a:cubicBezTo>
                    <a:cubicBezTo>
                      <a:pt x="4133" y="2966"/>
                      <a:pt x="4133" y="2966"/>
                      <a:pt x="4133" y="2966"/>
                    </a:cubicBezTo>
                    <a:cubicBezTo>
                      <a:pt x="4263" y="2911"/>
                      <a:pt x="4263" y="2911"/>
                      <a:pt x="4263" y="2911"/>
                    </a:cubicBezTo>
                    <a:cubicBezTo>
                      <a:pt x="4224" y="2820"/>
                      <a:pt x="4224" y="2820"/>
                      <a:pt x="4224" y="2820"/>
                    </a:cubicBezTo>
                    <a:cubicBezTo>
                      <a:pt x="4230" y="2817"/>
                      <a:pt x="4230" y="2817"/>
                      <a:pt x="4230" y="2817"/>
                    </a:cubicBezTo>
                    <a:cubicBezTo>
                      <a:pt x="4320" y="2780"/>
                      <a:pt x="4320" y="2780"/>
                      <a:pt x="4320" y="2780"/>
                    </a:cubicBezTo>
                    <a:lnTo>
                      <a:pt x="4269" y="2647"/>
                    </a:lnTo>
                    <a:close/>
                    <a:moveTo>
                      <a:pt x="4186" y="5283"/>
                    </a:moveTo>
                    <a:cubicBezTo>
                      <a:pt x="4115" y="5453"/>
                      <a:pt x="4115" y="5453"/>
                      <a:pt x="4115" y="5453"/>
                    </a:cubicBezTo>
                    <a:cubicBezTo>
                      <a:pt x="4023" y="5375"/>
                      <a:pt x="4023" y="5375"/>
                      <a:pt x="4023" y="5375"/>
                    </a:cubicBezTo>
                    <a:cubicBezTo>
                      <a:pt x="4023" y="5375"/>
                      <a:pt x="4044" y="5324"/>
                      <a:pt x="4059" y="5274"/>
                    </a:cubicBezTo>
                    <a:cubicBezTo>
                      <a:pt x="4072" y="5228"/>
                      <a:pt x="4079" y="5183"/>
                      <a:pt x="4086" y="5156"/>
                    </a:cubicBezTo>
                    <a:cubicBezTo>
                      <a:pt x="4101" y="5099"/>
                      <a:pt x="4164" y="5030"/>
                      <a:pt x="4164" y="5030"/>
                    </a:cubicBezTo>
                    <a:cubicBezTo>
                      <a:pt x="4215" y="5175"/>
                      <a:pt x="4215" y="5175"/>
                      <a:pt x="4215" y="5175"/>
                    </a:cubicBezTo>
                    <a:cubicBezTo>
                      <a:pt x="4154" y="5227"/>
                      <a:pt x="4154" y="5227"/>
                      <a:pt x="4154" y="5227"/>
                    </a:cubicBezTo>
                    <a:lnTo>
                      <a:pt x="4186" y="5283"/>
                    </a:lnTo>
                    <a:close/>
                    <a:moveTo>
                      <a:pt x="4170" y="5284"/>
                    </a:moveTo>
                    <a:cubicBezTo>
                      <a:pt x="4142" y="5234"/>
                      <a:pt x="4142" y="5234"/>
                      <a:pt x="4142" y="5234"/>
                    </a:cubicBezTo>
                    <a:cubicBezTo>
                      <a:pt x="4137" y="5224"/>
                      <a:pt x="4137" y="5224"/>
                      <a:pt x="4137" y="5224"/>
                    </a:cubicBezTo>
                    <a:cubicBezTo>
                      <a:pt x="4145" y="5217"/>
                      <a:pt x="4145" y="5217"/>
                      <a:pt x="4145" y="5217"/>
                    </a:cubicBezTo>
                    <a:cubicBezTo>
                      <a:pt x="4198" y="5171"/>
                      <a:pt x="4198" y="5171"/>
                      <a:pt x="4198" y="5171"/>
                    </a:cubicBezTo>
                    <a:cubicBezTo>
                      <a:pt x="4159" y="5058"/>
                      <a:pt x="4159" y="5058"/>
                      <a:pt x="4159" y="5058"/>
                    </a:cubicBezTo>
                    <a:cubicBezTo>
                      <a:pt x="4140" y="5081"/>
                      <a:pt x="4109" y="5123"/>
                      <a:pt x="4100" y="5160"/>
                    </a:cubicBezTo>
                    <a:cubicBezTo>
                      <a:pt x="4097" y="5170"/>
                      <a:pt x="4094" y="5183"/>
                      <a:pt x="4091" y="5197"/>
                    </a:cubicBezTo>
                    <a:cubicBezTo>
                      <a:pt x="4086" y="5221"/>
                      <a:pt x="4081" y="5249"/>
                      <a:pt x="4072" y="5277"/>
                    </a:cubicBezTo>
                    <a:cubicBezTo>
                      <a:pt x="4061" y="5315"/>
                      <a:pt x="4047" y="5353"/>
                      <a:pt x="4040" y="5371"/>
                    </a:cubicBezTo>
                    <a:cubicBezTo>
                      <a:pt x="4109" y="5430"/>
                      <a:pt x="4109" y="5430"/>
                      <a:pt x="4109" y="5430"/>
                    </a:cubicBezTo>
                    <a:lnTo>
                      <a:pt x="4170" y="5284"/>
                    </a:lnTo>
                    <a:close/>
                    <a:moveTo>
                      <a:pt x="2579" y="3743"/>
                    </a:moveTo>
                    <a:cubicBezTo>
                      <a:pt x="2578" y="3636"/>
                      <a:pt x="2578" y="3636"/>
                      <a:pt x="2578" y="3636"/>
                    </a:cubicBezTo>
                    <a:cubicBezTo>
                      <a:pt x="2760" y="3664"/>
                      <a:pt x="2760" y="3664"/>
                      <a:pt x="2760" y="3664"/>
                    </a:cubicBezTo>
                    <a:cubicBezTo>
                      <a:pt x="2676" y="3758"/>
                      <a:pt x="2676" y="3758"/>
                      <a:pt x="2676" y="3758"/>
                    </a:cubicBezTo>
                    <a:lnTo>
                      <a:pt x="2579" y="3743"/>
                    </a:lnTo>
                    <a:close/>
                    <a:moveTo>
                      <a:pt x="2592" y="3652"/>
                    </a:moveTo>
                    <a:cubicBezTo>
                      <a:pt x="2593" y="3731"/>
                      <a:pt x="2593" y="3731"/>
                      <a:pt x="2593" y="3731"/>
                    </a:cubicBezTo>
                    <a:cubicBezTo>
                      <a:pt x="2670" y="3743"/>
                      <a:pt x="2670" y="3743"/>
                      <a:pt x="2670" y="3743"/>
                    </a:cubicBezTo>
                    <a:cubicBezTo>
                      <a:pt x="2733" y="3674"/>
                      <a:pt x="2733" y="3674"/>
                      <a:pt x="2733" y="3674"/>
                    </a:cubicBezTo>
                    <a:lnTo>
                      <a:pt x="2592" y="3652"/>
                    </a:lnTo>
                    <a:close/>
                    <a:moveTo>
                      <a:pt x="4964" y="3577"/>
                    </a:moveTo>
                    <a:cubicBezTo>
                      <a:pt x="4984" y="3723"/>
                      <a:pt x="4984" y="3723"/>
                      <a:pt x="4984" y="3723"/>
                    </a:cubicBezTo>
                    <a:cubicBezTo>
                      <a:pt x="4978" y="3724"/>
                      <a:pt x="4978" y="3724"/>
                      <a:pt x="4978" y="3724"/>
                    </a:cubicBezTo>
                    <a:cubicBezTo>
                      <a:pt x="4881" y="3738"/>
                      <a:pt x="4881" y="3738"/>
                      <a:pt x="4881" y="3738"/>
                    </a:cubicBezTo>
                    <a:cubicBezTo>
                      <a:pt x="4861" y="3591"/>
                      <a:pt x="4861" y="3591"/>
                      <a:pt x="4861" y="3591"/>
                    </a:cubicBezTo>
                    <a:lnTo>
                      <a:pt x="4964" y="3577"/>
                    </a:lnTo>
                    <a:close/>
                    <a:moveTo>
                      <a:pt x="4970" y="3712"/>
                    </a:moveTo>
                    <a:cubicBezTo>
                      <a:pt x="4953" y="3592"/>
                      <a:pt x="4953" y="3592"/>
                      <a:pt x="4953" y="3592"/>
                    </a:cubicBezTo>
                    <a:cubicBezTo>
                      <a:pt x="4875" y="3602"/>
                      <a:pt x="4875" y="3602"/>
                      <a:pt x="4875" y="3602"/>
                    </a:cubicBezTo>
                    <a:cubicBezTo>
                      <a:pt x="4892" y="3723"/>
                      <a:pt x="4892" y="3723"/>
                      <a:pt x="4892" y="3723"/>
                    </a:cubicBezTo>
                    <a:lnTo>
                      <a:pt x="4970" y="3712"/>
                    </a:lnTo>
                    <a:close/>
                    <a:moveTo>
                      <a:pt x="2586" y="4724"/>
                    </a:moveTo>
                    <a:cubicBezTo>
                      <a:pt x="2453" y="4720"/>
                      <a:pt x="2453" y="4720"/>
                      <a:pt x="2453" y="4720"/>
                    </a:cubicBezTo>
                    <a:cubicBezTo>
                      <a:pt x="2541" y="4588"/>
                      <a:pt x="2541" y="4588"/>
                      <a:pt x="2541" y="4588"/>
                    </a:cubicBezTo>
                    <a:cubicBezTo>
                      <a:pt x="2711" y="4564"/>
                      <a:pt x="2711" y="4564"/>
                      <a:pt x="2711" y="4564"/>
                    </a:cubicBezTo>
                    <a:cubicBezTo>
                      <a:pt x="2677" y="4642"/>
                      <a:pt x="2677" y="4642"/>
                      <a:pt x="2677" y="4642"/>
                    </a:cubicBezTo>
                    <a:cubicBezTo>
                      <a:pt x="2617" y="4642"/>
                      <a:pt x="2617" y="4642"/>
                      <a:pt x="2617" y="4642"/>
                    </a:cubicBezTo>
                    <a:lnTo>
                      <a:pt x="2586" y="4724"/>
                    </a:lnTo>
                    <a:close/>
                    <a:moveTo>
                      <a:pt x="2576" y="4710"/>
                    </a:moveTo>
                    <a:cubicBezTo>
                      <a:pt x="2604" y="4637"/>
                      <a:pt x="2604" y="4637"/>
                      <a:pt x="2604" y="4637"/>
                    </a:cubicBezTo>
                    <a:cubicBezTo>
                      <a:pt x="2608" y="4628"/>
                      <a:pt x="2608" y="4628"/>
                      <a:pt x="2608" y="4628"/>
                    </a:cubicBezTo>
                    <a:cubicBezTo>
                      <a:pt x="2617" y="4628"/>
                      <a:pt x="2617" y="4628"/>
                      <a:pt x="2617" y="4628"/>
                    </a:cubicBezTo>
                    <a:cubicBezTo>
                      <a:pt x="2668" y="4628"/>
                      <a:pt x="2668" y="4628"/>
                      <a:pt x="2668" y="4628"/>
                    </a:cubicBezTo>
                    <a:cubicBezTo>
                      <a:pt x="2689" y="4582"/>
                      <a:pt x="2689" y="4582"/>
                      <a:pt x="2689" y="4582"/>
                    </a:cubicBezTo>
                    <a:cubicBezTo>
                      <a:pt x="2549" y="4601"/>
                      <a:pt x="2549" y="4601"/>
                      <a:pt x="2549" y="4601"/>
                    </a:cubicBezTo>
                    <a:cubicBezTo>
                      <a:pt x="2479" y="4707"/>
                      <a:pt x="2479" y="4707"/>
                      <a:pt x="2479" y="4707"/>
                    </a:cubicBezTo>
                    <a:lnTo>
                      <a:pt x="2576" y="4710"/>
                    </a:lnTo>
                    <a:close/>
                    <a:moveTo>
                      <a:pt x="3637" y="5432"/>
                    </a:moveTo>
                    <a:cubicBezTo>
                      <a:pt x="3518" y="5134"/>
                      <a:pt x="3518" y="5134"/>
                      <a:pt x="3518" y="5134"/>
                    </a:cubicBezTo>
                    <a:cubicBezTo>
                      <a:pt x="3603" y="5067"/>
                      <a:pt x="3603" y="5067"/>
                      <a:pt x="3603" y="5067"/>
                    </a:cubicBezTo>
                    <a:cubicBezTo>
                      <a:pt x="3639" y="5122"/>
                      <a:pt x="3639" y="5122"/>
                      <a:pt x="3639" y="5122"/>
                    </a:cubicBezTo>
                    <a:cubicBezTo>
                      <a:pt x="3630" y="5155"/>
                      <a:pt x="3630" y="5155"/>
                      <a:pt x="3630" y="5155"/>
                    </a:cubicBezTo>
                    <a:cubicBezTo>
                      <a:pt x="3665" y="5234"/>
                      <a:pt x="3665" y="5234"/>
                      <a:pt x="3665" y="5234"/>
                    </a:cubicBezTo>
                    <a:cubicBezTo>
                      <a:pt x="3726" y="5230"/>
                      <a:pt x="3726" y="5230"/>
                      <a:pt x="3726" y="5230"/>
                    </a:cubicBezTo>
                    <a:cubicBezTo>
                      <a:pt x="3762" y="5335"/>
                      <a:pt x="3762" y="5335"/>
                      <a:pt x="3762" y="5335"/>
                    </a:cubicBezTo>
                    <a:cubicBezTo>
                      <a:pt x="3790" y="5320"/>
                      <a:pt x="3790" y="5320"/>
                      <a:pt x="3790" y="5320"/>
                    </a:cubicBezTo>
                    <a:cubicBezTo>
                      <a:pt x="3821" y="5419"/>
                      <a:pt x="3821" y="5419"/>
                      <a:pt x="3821" y="5419"/>
                    </a:cubicBezTo>
                    <a:cubicBezTo>
                      <a:pt x="3797" y="5422"/>
                      <a:pt x="3797" y="5422"/>
                      <a:pt x="3797" y="5422"/>
                    </a:cubicBezTo>
                    <a:cubicBezTo>
                      <a:pt x="3804" y="5455"/>
                      <a:pt x="3804" y="5455"/>
                      <a:pt x="3804" y="5455"/>
                    </a:cubicBezTo>
                    <a:cubicBezTo>
                      <a:pt x="3722" y="5483"/>
                      <a:pt x="3722" y="5483"/>
                      <a:pt x="3722" y="5483"/>
                    </a:cubicBezTo>
                    <a:lnTo>
                      <a:pt x="3637" y="5432"/>
                    </a:lnTo>
                    <a:close/>
                    <a:moveTo>
                      <a:pt x="3534" y="5138"/>
                    </a:moveTo>
                    <a:cubicBezTo>
                      <a:pt x="3648" y="5422"/>
                      <a:pt x="3648" y="5422"/>
                      <a:pt x="3648" y="5422"/>
                    </a:cubicBezTo>
                    <a:cubicBezTo>
                      <a:pt x="3723" y="5468"/>
                      <a:pt x="3723" y="5468"/>
                      <a:pt x="3723" y="5468"/>
                    </a:cubicBezTo>
                    <a:cubicBezTo>
                      <a:pt x="3787" y="5446"/>
                      <a:pt x="3787" y="5446"/>
                      <a:pt x="3787" y="5446"/>
                    </a:cubicBezTo>
                    <a:cubicBezTo>
                      <a:pt x="3783" y="5425"/>
                      <a:pt x="3783" y="5425"/>
                      <a:pt x="3783" y="5425"/>
                    </a:cubicBezTo>
                    <a:cubicBezTo>
                      <a:pt x="3780" y="5410"/>
                      <a:pt x="3780" y="5410"/>
                      <a:pt x="3780" y="5410"/>
                    </a:cubicBezTo>
                    <a:cubicBezTo>
                      <a:pt x="3795" y="5408"/>
                      <a:pt x="3795" y="5408"/>
                      <a:pt x="3795" y="5408"/>
                    </a:cubicBezTo>
                    <a:cubicBezTo>
                      <a:pt x="3803" y="5407"/>
                      <a:pt x="3803" y="5407"/>
                      <a:pt x="3803" y="5407"/>
                    </a:cubicBezTo>
                    <a:cubicBezTo>
                      <a:pt x="3781" y="5341"/>
                      <a:pt x="3781" y="5341"/>
                      <a:pt x="3781" y="5341"/>
                    </a:cubicBezTo>
                    <a:cubicBezTo>
                      <a:pt x="3769" y="5347"/>
                      <a:pt x="3769" y="5347"/>
                      <a:pt x="3769" y="5347"/>
                    </a:cubicBezTo>
                    <a:cubicBezTo>
                      <a:pt x="3755" y="5355"/>
                      <a:pt x="3755" y="5355"/>
                      <a:pt x="3755" y="5355"/>
                    </a:cubicBezTo>
                    <a:cubicBezTo>
                      <a:pt x="3749" y="5340"/>
                      <a:pt x="3749" y="5340"/>
                      <a:pt x="3749" y="5340"/>
                    </a:cubicBezTo>
                    <a:cubicBezTo>
                      <a:pt x="3716" y="5245"/>
                      <a:pt x="3716" y="5245"/>
                      <a:pt x="3716" y="5245"/>
                    </a:cubicBezTo>
                    <a:cubicBezTo>
                      <a:pt x="3666" y="5248"/>
                      <a:pt x="3666" y="5248"/>
                      <a:pt x="3666" y="5248"/>
                    </a:cubicBezTo>
                    <a:cubicBezTo>
                      <a:pt x="3656" y="5249"/>
                      <a:pt x="3656" y="5249"/>
                      <a:pt x="3656" y="5249"/>
                    </a:cubicBezTo>
                    <a:cubicBezTo>
                      <a:pt x="3652" y="5240"/>
                      <a:pt x="3652" y="5240"/>
                      <a:pt x="3652" y="5240"/>
                    </a:cubicBezTo>
                    <a:cubicBezTo>
                      <a:pt x="3617" y="5160"/>
                      <a:pt x="3617" y="5160"/>
                      <a:pt x="3617" y="5160"/>
                    </a:cubicBezTo>
                    <a:cubicBezTo>
                      <a:pt x="3615" y="5156"/>
                      <a:pt x="3615" y="5156"/>
                      <a:pt x="3615" y="5156"/>
                    </a:cubicBezTo>
                    <a:cubicBezTo>
                      <a:pt x="3616" y="5151"/>
                      <a:pt x="3616" y="5151"/>
                      <a:pt x="3616" y="5151"/>
                    </a:cubicBezTo>
                    <a:cubicBezTo>
                      <a:pt x="3624" y="5124"/>
                      <a:pt x="3624" y="5124"/>
                      <a:pt x="3624" y="5124"/>
                    </a:cubicBezTo>
                    <a:cubicBezTo>
                      <a:pt x="3599" y="5087"/>
                      <a:pt x="3599" y="5087"/>
                      <a:pt x="3599" y="5087"/>
                    </a:cubicBezTo>
                    <a:lnTo>
                      <a:pt x="3534" y="5138"/>
                    </a:lnTo>
                    <a:close/>
                    <a:moveTo>
                      <a:pt x="4924" y="3849"/>
                    </a:moveTo>
                    <a:cubicBezTo>
                      <a:pt x="5005" y="3881"/>
                      <a:pt x="5005" y="3881"/>
                      <a:pt x="5005" y="3881"/>
                    </a:cubicBezTo>
                    <a:cubicBezTo>
                      <a:pt x="4980" y="3944"/>
                      <a:pt x="4980" y="3944"/>
                      <a:pt x="4980" y="3944"/>
                    </a:cubicBezTo>
                    <a:cubicBezTo>
                      <a:pt x="4974" y="3942"/>
                      <a:pt x="4974" y="3942"/>
                      <a:pt x="4974" y="3942"/>
                    </a:cubicBezTo>
                    <a:cubicBezTo>
                      <a:pt x="4899" y="3912"/>
                      <a:pt x="4899" y="3912"/>
                      <a:pt x="4899" y="3912"/>
                    </a:cubicBezTo>
                    <a:lnTo>
                      <a:pt x="4924" y="3849"/>
                    </a:lnTo>
                    <a:close/>
                    <a:moveTo>
                      <a:pt x="4932" y="3866"/>
                    </a:moveTo>
                    <a:cubicBezTo>
                      <a:pt x="4916" y="3905"/>
                      <a:pt x="4916" y="3905"/>
                      <a:pt x="4916" y="3905"/>
                    </a:cubicBezTo>
                    <a:cubicBezTo>
                      <a:pt x="4972" y="3927"/>
                      <a:pt x="4972" y="3927"/>
                      <a:pt x="4972" y="3927"/>
                    </a:cubicBezTo>
                    <a:cubicBezTo>
                      <a:pt x="4988" y="3888"/>
                      <a:pt x="4988" y="3888"/>
                      <a:pt x="4988" y="3888"/>
                    </a:cubicBezTo>
                    <a:lnTo>
                      <a:pt x="4932" y="3866"/>
                    </a:lnTo>
                    <a:close/>
                    <a:moveTo>
                      <a:pt x="4832" y="2658"/>
                    </a:moveTo>
                    <a:cubicBezTo>
                      <a:pt x="4844" y="2918"/>
                      <a:pt x="4844" y="2918"/>
                      <a:pt x="4844" y="2918"/>
                    </a:cubicBezTo>
                    <a:cubicBezTo>
                      <a:pt x="4760" y="2921"/>
                      <a:pt x="4760" y="2921"/>
                      <a:pt x="4760" y="2921"/>
                    </a:cubicBezTo>
                    <a:cubicBezTo>
                      <a:pt x="4760" y="2915"/>
                      <a:pt x="4760" y="2915"/>
                      <a:pt x="4760" y="2915"/>
                    </a:cubicBezTo>
                    <a:cubicBezTo>
                      <a:pt x="4748" y="2661"/>
                      <a:pt x="4748" y="2661"/>
                      <a:pt x="4748" y="2661"/>
                    </a:cubicBezTo>
                    <a:lnTo>
                      <a:pt x="4832" y="2658"/>
                    </a:lnTo>
                    <a:close/>
                    <a:moveTo>
                      <a:pt x="4830" y="2905"/>
                    </a:moveTo>
                    <a:cubicBezTo>
                      <a:pt x="4820" y="2671"/>
                      <a:pt x="4820" y="2671"/>
                      <a:pt x="4820" y="2671"/>
                    </a:cubicBezTo>
                    <a:cubicBezTo>
                      <a:pt x="4762" y="2674"/>
                      <a:pt x="4762" y="2674"/>
                      <a:pt x="4762" y="2674"/>
                    </a:cubicBezTo>
                    <a:cubicBezTo>
                      <a:pt x="4773" y="2908"/>
                      <a:pt x="4773" y="2908"/>
                      <a:pt x="4773" y="2908"/>
                    </a:cubicBezTo>
                    <a:lnTo>
                      <a:pt x="4830" y="2905"/>
                    </a:lnTo>
                    <a:close/>
                    <a:moveTo>
                      <a:pt x="5067" y="5901"/>
                    </a:moveTo>
                    <a:cubicBezTo>
                      <a:pt x="5045" y="5814"/>
                      <a:pt x="4999" y="5737"/>
                      <a:pt x="4999" y="5737"/>
                    </a:cubicBezTo>
                    <a:cubicBezTo>
                      <a:pt x="4991" y="5724"/>
                      <a:pt x="4991" y="5724"/>
                      <a:pt x="4991" y="5724"/>
                    </a:cubicBezTo>
                    <a:cubicBezTo>
                      <a:pt x="5309" y="5763"/>
                      <a:pt x="5309" y="5763"/>
                      <a:pt x="5309" y="5763"/>
                    </a:cubicBezTo>
                    <a:cubicBezTo>
                      <a:pt x="5310" y="5768"/>
                      <a:pt x="5310" y="5768"/>
                      <a:pt x="5310" y="5768"/>
                    </a:cubicBezTo>
                    <a:cubicBezTo>
                      <a:pt x="5333" y="5925"/>
                      <a:pt x="5333" y="5925"/>
                      <a:pt x="5333" y="5925"/>
                    </a:cubicBezTo>
                    <a:cubicBezTo>
                      <a:pt x="5244" y="5913"/>
                      <a:pt x="5244" y="5913"/>
                      <a:pt x="5244" y="5913"/>
                    </a:cubicBezTo>
                    <a:cubicBezTo>
                      <a:pt x="5214" y="5987"/>
                      <a:pt x="5214" y="5987"/>
                      <a:pt x="5214" y="5987"/>
                    </a:cubicBezTo>
                    <a:cubicBezTo>
                      <a:pt x="5320" y="5964"/>
                      <a:pt x="5320" y="5964"/>
                      <a:pt x="5320" y="5964"/>
                    </a:cubicBezTo>
                    <a:cubicBezTo>
                      <a:pt x="5317" y="5975"/>
                      <a:pt x="5317" y="5975"/>
                      <a:pt x="5317" y="5975"/>
                    </a:cubicBezTo>
                    <a:cubicBezTo>
                      <a:pt x="5317" y="5975"/>
                      <a:pt x="5310" y="6013"/>
                      <a:pt x="5302" y="6051"/>
                    </a:cubicBezTo>
                    <a:cubicBezTo>
                      <a:pt x="5298" y="6070"/>
                      <a:pt x="5294" y="6089"/>
                      <a:pt x="5292" y="6103"/>
                    </a:cubicBezTo>
                    <a:cubicBezTo>
                      <a:pt x="5290" y="6110"/>
                      <a:pt x="5289" y="6116"/>
                      <a:pt x="5288" y="6121"/>
                    </a:cubicBezTo>
                    <a:cubicBezTo>
                      <a:pt x="5288" y="6123"/>
                      <a:pt x="5287" y="6124"/>
                      <a:pt x="5287" y="6126"/>
                    </a:cubicBezTo>
                    <a:cubicBezTo>
                      <a:pt x="5287" y="6126"/>
                      <a:pt x="5287" y="6126"/>
                      <a:pt x="5287" y="6126"/>
                    </a:cubicBezTo>
                    <a:cubicBezTo>
                      <a:pt x="5287" y="6129"/>
                      <a:pt x="5286" y="6129"/>
                      <a:pt x="5286" y="6130"/>
                    </a:cubicBezTo>
                    <a:cubicBezTo>
                      <a:pt x="5280" y="6127"/>
                      <a:pt x="5280" y="6127"/>
                      <a:pt x="5280" y="6127"/>
                    </a:cubicBezTo>
                    <a:cubicBezTo>
                      <a:pt x="5280" y="6134"/>
                      <a:pt x="5280" y="6134"/>
                      <a:pt x="5280" y="6134"/>
                    </a:cubicBezTo>
                    <a:cubicBezTo>
                      <a:pt x="5279" y="6134"/>
                      <a:pt x="5279" y="6134"/>
                      <a:pt x="5279" y="6134"/>
                    </a:cubicBezTo>
                    <a:cubicBezTo>
                      <a:pt x="5279" y="6134"/>
                      <a:pt x="5278" y="6133"/>
                      <a:pt x="5277" y="6133"/>
                    </a:cubicBezTo>
                    <a:cubicBezTo>
                      <a:pt x="5263" y="6131"/>
                      <a:pt x="5095" y="6126"/>
                      <a:pt x="5095" y="6126"/>
                    </a:cubicBezTo>
                    <a:cubicBezTo>
                      <a:pt x="5087" y="6125"/>
                      <a:pt x="5087" y="6125"/>
                      <a:pt x="5087" y="6125"/>
                    </a:cubicBezTo>
                    <a:cubicBezTo>
                      <a:pt x="5088" y="6118"/>
                      <a:pt x="5088" y="6118"/>
                      <a:pt x="5088" y="6118"/>
                    </a:cubicBezTo>
                    <a:cubicBezTo>
                      <a:pt x="5088" y="6118"/>
                      <a:pt x="5088" y="6112"/>
                      <a:pt x="5088" y="6101"/>
                    </a:cubicBezTo>
                    <a:cubicBezTo>
                      <a:pt x="5088" y="6064"/>
                      <a:pt x="5086" y="5974"/>
                      <a:pt x="5067" y="5901"/>
                    </a:cubicBezTo>
                    <a:close/>
                    <a:moveTo>
                      <a:pt x="5019" y="5742"/>
                    </a:moveTo>
                    <a:cubicBezTo>
                      <a:pt x="5033" y="5768"/>
                      <a:pt x="5064" y="5829"/>
                      <a:pt x="5081" y="5897"/>
                    </a:cubicBezTo>
                    <a:cubicBezTo>
                      <a:pt x="5100" y="5972"/>
                      <a:pt x="5103" y="6063"/>
                      <a:pt x="5103" y="6101"/>
                    </a:cubicBezTo>
                    <a:cubicBezTo>
                      <a:pt x="5103" y="6105"/>
                      <a:pt x="5103" y="6108"/>
                      <a:pt x="5103" y="6111"/>
                    </a:cubicBezTo>
                    <a:cubicBezTo>
                      <a:pt x="5117" y="6112"/>
                      <a:pt x="5152" y="6113"/>
                      <a:pt x="5188" y="6114"/>
                    </a:cubicBezTo>
                    <a:cubicBezTo>
                      <a:pt x="5211" y="6115"/>
                      <a:pt x="5234" y="6116"/>
                      <a:pt x="5251" y="6117"/>
                    </a:cubicBezTo>
                    <a:cubicBezTo>
                      <a:pt x="5260" y="6117"/>
                      <a:pt x="5267" y="6118"/>
                      <a:pt x="5272" y="6118"/>
                    </a:cubicBezTo>
                    <a:cubicBezTo>
                      <a:pt x="5273" y="6118"/>
                      <a:pt x="5273" y="6118"/>
                      <a:pt x="5274" y="6118"/>
                    </a:cubicBezTo>
                    <a:cubicBezTo>
                      <a:pt x="5276" y="6105"/>
                      <a:pt x="5282" y="6077"/>
                      <a:pt x="5288" y="6048"/>
                    </a:cubicBezTo>
                    <a:cubicBezTo>
                      <a:pt x="5293" y="6022"/>
                      <a:pt x="5298" y="5997"/>
                      <a:pt x="5301" y="5983"/>
                    </a:cubicBezTo>
                    <a:cubicBezTo>
                      <a:pt x="5189" y="6007"/>
                      <a:pt x="5189" y="6007"/>
                      <a:pt x="5189" y="6007"/>
                    </a:cubicBezTo>
                    <a:cubicBezTo>
                      <a:pt x="5234" y="5897"/>
                      <a:pt x="5234" y="5897"/>
                      <a:pt x="5234" y="5897"/>
                    </a:cubicBezTo>
                    <a:cubicBezTo>
                      <a:pt x="5315" y="5908"/>
                      <a:pt x="5315" y="5908"/>
                      <a:pt x="5315" y="5908"/>
                    </a:cubicBezTo>
                    <a:cubicBezTo>
                      <a:pt x="5296" y="5776"/>
                      <a:pt x="5296" y="5776"/>
                      <a:pt x="5296" y="5776"/>
                    </a:cubicBezTo>
                    <a:lnTo>
                      <a:pt x="5019" y="5742"/>
                    </a:lnTo>
                    <a:close/>
                    <a:moveTo>
                      <a:pt x="5411" y="4800"/>
                    </a:moveTo>
                    <a:cubicBezTo>
                      <a:pt x="5260" y="4790"/>
                      <a:pt x="5260" y="4790"/>
                      <a:pt x="5260" y="4790"/>
                    </a:cubicBezTo>
                    <a:cubicBezTo>
                      <a:pt x="5265" y="4719"/>
                      <a:pt x="5265" y="4719"/>
                      <a:pt x="5265" y="4719"/>
                    </a:cubicBezTo>
                    <a:cubicBezTo>
                      <a:pt x="5271" y="4720"/>
                      <a:pt x="5271" y="4720"/>
                      <a:pt x="5271" y="4720"/>
                    </a:cubicBezTo>
                    <a:cubicBezTo>
                      <a:pt x="5416" y="4729"/>
                      <a:pt x="5416" y="4729"/>
                      <a:pt x="5416" y="4729"/>
                    </a:cubicBezTo>
                    <a:lnTo>
                      <a:pt x="5411" y="4800"/>
                    </a:lnTo>
                    <a:close/>
                    <a:moveTo>
                      <a:pt x="5402" y="4742"/>
                    </a:moveTo>
                    <a:cubicBezTo>
                      <a:pt x="5277" y="4733"/>
                      <a:pt x="5277" y="4733"/>
                      <a:pt x="5277" y="4733"/>
                    </a:cubicBezTo>
                    <a:cubicBezTo>
                      <a:pt x="5274" y="4778"/>
                      <a:pt x="5274" y="4778"/>
                      <a:pt x="5274" y="4778"/>
                    </a:cubicBezTo>
                    <a:cubicBezTo>
                      <a:pt x="5399" y="4786"/>
                      <a:pt x="5399" y="4786"/>
                      <a:pt x="5399" y="4786"/>
                    </a:cubicBezTo>
                    <a:lnTo>
                      <a:pt x="5402" y="4742"/>
                    </a:lnTo>
                    <a:close/>
                    <a:moveTo>
                      <a:pt x="2690" y="4717"/>
                    </a:moveTo>
                    <a:cubicBezTo>
                      <a:pt x="2795" y="4717"/>
                      <a:pt x="2795" y="4717"/>
                      <a:pt x="2795" y="4717"/>
                    </a:cubicBezTo>
                    <a:cubicBezTo>
                      <a:pt x="2830" y="4612"/>
                      <a:pt x="2830" y="4612"/>
                      <a:pt x="2830" y="4612"/>
                    </a:cubicBezTo>
                    <a:cubicBezTo>
                      <a:pt x="2955" y="4604"/>
                      <a:pt x="2955" y="4604"/>
                      <a:pt x="2955" y="4604"/>
                    </a:cubicBezTo>
                    <a:cubicBezTo>
                      <a:pt x="2874" y="4850"/>
                      <a:pt x="2874" y="4850"/>
                      <a:pt x="2874" y="4850"/>
                    </a:cubicBezTo>
                    <a:cubicBezTo>
                      <a:pt x="2647" y="4838"/>
                      <a:pt x="2647" y="4838"/>
                      <a:pt x="2647" y="4838"/>
                    </a:cubicBezTo>
                    <a:lnTo>
                      <a:pt x="2690" y="4717"/>
                    </a:lnTo>
                    <a:close/>
                    <a:moveTo>
                      <a:pt x="2699" y="4731"/>
                    </a:moveTo>
                    <a:cubicBezTo>
                      <a:pt x="2666" y="4825"/>
                      <a:pt x="2666" y="4825"/>
                      <a:pt x="2666" y="4825"/>
                    </a:cubicBezTo>
                    <a:cubicBezTo>
                      <a:pt x="2864" y="4835"/>
                      <a:pt x="2864" y="4835"/>
                      <a:pt x="2864" y="4835"/>
                    </a:cubicBezTo>
                    <a:cubicBezTo>
                      <a:pt x="2935" y="4619"/>
                      <a:pt x="2935" y="4619"/>
                      <a:pt x="2935" y="4619"/>
                    </a:cubicBezTo>
                    <a:cubicBezTo>
                      <a:pt x="2840" y="4625"/>
                      <a:pt x="2840" y="4625"/>
                      <a:pt x="2840" y="4625"/>
                    </a:cubicBezTo>
                    <a:cubicBezTo>
                      <a:pt x="2808" y="4722"/>
                      <a:pt x="2808" y="4722"/>
                      <a:pt x="2808" y="4722"/>
                    </a:cubicBezTo>
                    <a:cubicBezTo>
                      <a:pt x="2805" y="4731"/>
                      <a:pt x="2805" y="4731"/>
                      <a:pt x="2805" y="4731"/>
                    </a:cubicBezTo>
                    <a:cubicBezTo>
                      <a:pt x="2795" y="4731"/>
                      <a:pt x="2795" y="4731"/>
                      <a:pt x="2795" y="4731"/>
                    </a:cubicBezTo>
                    <a:lnTo>
                      <a:pt x="2699" y="4731"/>
                    </a:lnTo>
                    <a:close/>
                    <a:moveTo>
                      <a:pt x="5194" y="4481"/>
                    </a:moveTo>
                    <a:cubicBezTo>
                      <a:pt x="5264" y="4486"/>
                      <a:pt x="5264" y="4486"/>
                      <a:pt x="5264" y="4486"/>
                    </a:cubicBezTo>
                    <a:cubicBezTo>
                      <a:pt x="5254" y="4637"/>
                      <a:pt x="5254" y="4637"/>
                      <a:pt x="5254" y="4637"/>
                    </a:cubicBezTo>
                    <a:cubicBezTo>
                      <a:pt x="5183" y="4632"/>
                      <a:pt x="5183" y="4632"/>
                      <a:pt x="5183" y="4632"/>
                    </a:cubicBezTo>
                    <a:cubicBezTo>
                      <a:pt x="5184" y="4625"/>
                      <a:pt x="5184" y="4625"/>
                      <a:pt x="5184" y="4625"/>
                    </a:cubicBezTo>
                    <a:lnTo>
                      <a:pt x="5194" y="4481"/>
                    </a:lnTo>
                    <a:close/>
                    <a:moveTo>
                      <a:pt x="5197" y="4620"/>
                    </a:moveTo>
                    <a:cubicBezTo>
                      <a:pt x="5242" y="4623"/>
                      <a:pt x="5242" y="4623"/>
                      <a:pt x="5242" y="4623"/>
                    </a:cubicBezTo>
                    <a:cubicBezTo>
                      <a:pt x="5250" y="4498"/>
                      <a:pt x="5250" y="4498"/>
                      <a:pt x="5250" y="4498"/>
                    </a:cubicBezTo>
                    <a:cubicBezTo>
                      <a:pt x="5206" y="4495"/>
                      <a:pt x="5206" y="4495"/>
                      <a:pt x="5206" y="4495"/>
                    </a:cubicBezTo>
                    <a:lnTo>
                      <a:pt x="5197" y="4620"/>
                    </a:lnTo>
                    <a:close/>
                    <a:moveTo>
                      <a:pt x="4939" y="3996"/>
                    </a:moveTo>
                    <a:cubicBezTo>
                      <a:pt x="5020" y="4028"/>
                      <a:pt x="5020" y="4028"/>
                      <a:pt x="5020" y="4028"/>
                    </a:cubicBezTo>
                    <a:cubicBezTo>
                      <a:pt x="4994" y="4092"/>
                      <a:pt x="4994" y="4092"/>
                      <a:pt x="4994" y="4092"/>
                    </a:cubicBezTo>
                    <a:cubicBezTo>
                      <a:pt x="4988" y="4089"/>
                      <a:pt x="4988" y="4089"/>
                      <a:pt x="4988" y="4089"/>
                    </a:cubicBezTo>
                    <a:cubicBezTo>
                      <a:pt x="4914" y="4060"/>
                      <a:pt x="4914" y="4060"/>
                      <a:pt x="4914" y="4060"/>
                    </a:cubicBezTo>
                    <a:lnTo>
                      <a:pt x="4939" y="3996"/>
                    </a:lnTo>
                    <a:close/>
                    <a:moveTo>
                      <a:pt x="4947" y="4013"/>
                    </a:moveTo>
                    <a:cubicBezTo>
                      <a:pt x="4931" y="4053"/>
                      <a:pt x="4931" y="4053"/>
                      <a:pt x="4931" y="4053"/>
                    </a:cubicBezTo>
                    <a:cubicBezTo>
                      <a:pt x="4987" y="4075"/>
                      <a:pt x="4987" y="4075"/>
                      <a:pt x="4987" y="4075"/>
                    </a:cubicBezTo>
                    <a:cubicBezTo>
                      <a:pt x="5003" y="4036"/>
                      <a:pt x="5003" y="4036"/>
                      <a:pt x="5003" y="4036"/>
                    </a:cubicBezTo>
                    <a:lnTo>
                      <a:pt x="4947" y="4013"/>
                    </a:lnTo>
                    <a:close/>
                    <a:moveTo>
                      <a:pt x="1431" y="4598"/>
                    </a:moveTo>
                    <a:cubicBezTo>
                      <a:pt x="1394" y="4478"/>
                      <a:pt x="1394" y="4478"/>
                      <a:pt x="1394" y="4478"/>
                    </a:cubicBezTo>
                    <a:cubicBezTo>
                      <a:pt x="1781" y="4428"/>
                      <a:pt x="1781" y="4428"/>
                      <a:pt x="1781" y="4428"/>
                    </a:cubicBezTo>
                    <a:cubicBezTo>
                      <a:pt x="1781" y="4428"/>
                      <a:pt x="1841" y="4493"/>
                      <a:pt x="1916" y="4536"/>
                    </a:cubicBezTo>
                    <a:cubicBezTo>
                      <a:pt x="1991" y="4578"/>
                      <a:pt x="2120" y="4612"/>
                      <a:pt x="2120" y="4612"/>
                    </a:cubicBezTo>
                    <a:cubicBezTo>
                      <a:pt x="2060" y="4872"/>
                      <a:pt x="2060" y="4872"/>
                      <a:pt x="2060" y="4872"/>
                    </a:cubicBezTo>
                    <a:cubicBezTo>
                      <a:pt x="1952" y="5002"/>
                      <a:pt x="1952" y="5002"/>
                      <a:pt x="1952" y="5002"/>
                    </a:cubicBezTo>
                    <a:cubicBezTo>
                      <a:pt x="1876" y="4980"/>
                      <a:pt x="1876" y="4980"/>
                      <a:pt x="1876" y="4980"/>
                    </a:cubicBezTo>
                    <a:cubicBezTo>
                      <a:pt x="1948" y="4712"/>
                      <a:pt x="1948" y="4712"/>
                      <a:pt x="1948" y="4712"/>
                    </a:cubicBezTo>
                    <a:cubicBezTo>
                      <a:pt x="1948" y="4712"/>
                      <a:pt x="1851" y="4686"/>
                      <a:pt x="1808" y="4659"/>
                    </a:cubicBezTo>
                    <a:cubicBezTo>
                      <a:pt x="1766" y="4631"/>
                      <a:pt x="1722" y="4567"/>
                      <a:pt x="1722" y="4567"/>
                    </a:cubicBezTo>
                    <a:lnTo>
                      <a:pt x="1431" y="4598"/>
                    </a:lnTo>
                    <a:close/>
                    <a:moveTo>
                      <a:pt x="1412" y="4490"/>
                    </a:moveTo>
                    <a:cubicBezTo>
                      <a:pt x="1441" y="4583"/>
                      <a:pt x="1441" y="4583"/>
                      <a:pt x="1441" y="4583"/>
                    </a:cubicBezTo>
                    <a:cubicBezTo>
                      <a:pt x="1721" y="4553"/>
                      <a:pt x="1721" y="4553"/>
                      <a:pt x="1721" y="4553"/>
                    </a:cubicBezTo>
                    <a:cubicBezTo>
                      <a:pt x="1729" y="4552"/>
                      <a:pt x="1729" y="4552"/>
                      <a:pt x="1729" y="4552"/>
                    </a:cubicBezTo>
                    <a:cubicBezTo>
                      <a:pt x="1734" y="4559"/>
                      <a:pt x="1734" y="4559"/>
                      <a:pt x="1734" y="4559"/>
                    </a:cubicBezTo>
                    <a:cubicBezTo>
                      <a:pt x="1734" y="4560"/>
                      <a:pt x="1776" y="4621"/>
                      <a:pt x="1816" y="4647"/>
                    </a:cubicBezTo>
                    <a:cubicBezTo>
                      <a:pt x="1856" y="4673"/>
                      <a:pt x="1950" y="4698"/>
                      <a:pt x="1951" y="4698"/>
                    </a:cubicBezTo>
                    <a:cubicBezTo>
                      <a:pt x="1965" y="4702"/>
                      <a:pt x="1965" y="4702"/>
                      <a:pt x="1965" y="4702"/>
                    </a:cubicBezTo>
                    <a:cubicBezTo>
                      <a:pt x="1961" y="4715"/>
                      <a:pt x="1961" y="4715"/>
                      <a:pt x="1961" y="4715"/>
                    </a:cubicBezTo>
                    <a:cubicBezTo>
                      <a:pt x="1893" y="4970"/>
                      <a:pt x="1893" y="4970"/>
                      <a:pt x="1893" y="4970"/>
                    </a:cubicBezTo>
                    <a:cubicBezTo>
                      <a:pt x="1947" y="4986"/>
                      <a:pt x="1947" y="4986"/>
                      <a:pt x="1947" y="4986"/>
                    </a:cubicBezTo>
                    <a:cubicBezTo>
                      <a:pt x="2047" y="4865"/>
                      <a:pt x="2047" y="4865"/>
                      <a:pt x="2047" y="4865"/>
                    </a:cubicBezTo>
                    <a:cubicBezTo>
                      <a:pt x="2103" y="4622"/>
                      <a:pt x="2103" y="4622"/>
                      <a:pt x="2103" y="4622"/>
                    </a:cubicBezTo>
                    <a:cubicBezTo>
                      <a:pt x="2068" y="4612"/>
                      <a:pt x="1972" y="4583"/>
                      <a:pt x="1909" y="4548"/>
                    </a:cubicBezTo>
                    <a:cubicBezTo>
                      <a:pt x="1845" y="4511"/>
                      <a:pt x="1792" y="4459"/>
                      <a:pt x="1776" y="4442"/>
                    </a:cubicBezTo>
                    <a:lnTo>
                      <a:pt x="1412" y="4490"/>
                    </a:lnTo>
                    <a:close/>
                    <a:moveTo>
                      <a:pt x="2719" y="6280"/>
                    </a:moveTo>
                    <a:cubicBezTo>
                      <a:pt x="2676" y="6453"/>
                      <a:pt x="2676" y="6453"/>
                      <a:pt x="2676" y="6453"/>
                    </a:cubicBezTo>
                    <a:cubicBezTo>
                      <a:pt x="2440" y="6368"/>
                      <a:pt x="2440" y="6368"/>
                      <a:pt x="2440" y="6368"/>
                    </a:cubicBezTo>
                    <a:cubicBezTo>
                      <a:pt x="2648" y="5877"/>
                      <a:pt x="2648" y="5877"/>
                      <a:pt x="2648" y="5877"/>
                    </a:cubicBezTo>
                    <a:cubicBezTo>
                      <a:pt x="2864" y="5932"/>
                      <a:pt x="2864" y="5932"/>
                      <a:pt x="2864" y="5932"/>
                    </a:cubicBezTo>
                    <a:cubicBezTo>
                      <a:pt x="2919" y="6096"/>
                      <a:pt x="2919" y="6096"/>
                      <a:pt x="2919" y="6096"/>
                    </a:cubicBezTo>
                    <a:cubicBezTo>
                      <a:pt x="2910" y="6097"/>
                      <a:pt x="2910" y="6097"/>
                      <a:pt x="2910" y="6097"/>
                    </a:cubicBezTo>
                    <a:cubicBezTo>
                      <a:pt x="2843" y="6105"/>
                      <a:pt x="2805" y="6128"/>
                      <a:pt x="2784" y="6148"/>
                    </a:cubicBezTo>
                    <a:cubicBezTo>
                      <a:pt x="2774" y="6158"/>
                      <a:pt x="2768" y="6168"/>
                      <a:pt x="2764" y="6175"/>
                    </a:cubicBezTo>
                    <a:cubicBezTo>
                      <a:pt x="2760" y="6182"/>
                      <a:pt x="2759" y="6186"/>
                      <a:pt x="2759" y="6186"/>
                    </a:cubicBezTo>
                    <a:cubicBezTo>
                      <a:pt x="2757" y="6194"/>
                      <a:pt x="2757" y="6194"/>
                      <a:pt x="2757" y="6194"/>
                    </a:cubicBezTo>
                    <a:cubicBezTo>
                      <a:pt x="2683" y="6168"/>
                      <a:pt x="2683" y="6168"/>
                      <a:pt x="2683" y="6168"/>
                    </a:cubicBezTo>
                    <a:cubicBezTo>
                      <a:pt x="2728" y="6060"/>
                      <a:pt x="2728" y="6060"/>
                      <a:pt x="2728" y="6060"/>
                    </a:cubicBezTo>
                    <a:cubicBezTo>
                      <a:pt x="2671" y="6050"/>
                      <a:pt x="2671" y="6050"/>
                      <a:pt x="2671" y="6050"/>
                    </a:cubicBezTo>
                    <a:cubicBezTo>
                      <a:pt x="2561" y="6315"/>
                      <a:pt x="2561" y="6315"/>
                      <a:pt x="2561" y="6315"/>
                    </a:cubicBezTo>
                    <a:cubicBezTo>
                      <a:pt x="2593" y="6325"/>
                      <a:pt x="2593" y="6325"/>
                      <a:pt x="2593" y="6325"/>
                    </a:cubicBezTo>
                    <a:cubicBezTo>
                      <a:pt x="2623" y="6255"/>
                      <a:pt x="2623" y="6255"/>
                      <a:pt x="2623" y="6255"/>
                    </a:cubicBezTo>
                    <a:lnTo>
                      <a:pt x="2719" y="6280"/>
                    </a:lnTo>
                    <a:close/>
                    <a:moveTo>
                      <a:pt x="2701" y="6290"/>
                    </a:moveTo>
                    <a:cubicBezTo>
                      <a:pt x="2631" y="6272"/>
                      <a:pt x="2631" y="6272"/>
                      <a:pt x="2631" y="6272"/>
                    </a:cubicBezTo>
                    <a:cubicBezTo>
                      <a:pt x="2601" y="6344"/>
                      <a:pt x="2601" y="6344"/>
                      <a:pt x="2601" y="6344"/>
                    </a:cubicBezTo>
                    <a:cubicBezTo>
                      <a:pt x="2541" y="6324"/>
                      <a:pt x="2541" y="6324"/>
                      <a:pt x="2541" y="6324"/>
                    </a:cubicBezTo>
                    <a:cubicBezTo>
                      <a:pt x="2662" y="6034"/>
                      <a:pt x="2662" y="6034"/>
                      <a:pt x="2662" y="6034"/>
                    </a:cubicBezTo>
                    <a:cubicBezTo>
                      <a:pt x="2748" y="6049"/>
                      <a:pt x="2748" y="6049"/>
                      <a:pt x="2748" y="6049"/>
                    </a:cubicBezTo>
                    <a:cubicBezTo>
                      <a:pt x="2703" y="6159"/>
                      <a:pt x="2703" y="6159"/>
                      <a:pt x="2703" y="6159"/>
                    </a:cubicBezTo>
                    <a:cubicBezTo>
                      <a:pt x="2748" y="6175"/>
                      <a:pt x="2748" y="6175"/>
                      <a:pt x="2748" y="6175"/>
                    </a:cubicBezTo>
                    <a:cubicBezTo>
                      <a:pt x="2756" y="6154"/>
                      <a:pt x="2791" y="6099"/>
                      <a:pt x="2899" y="6084"/>
                    </a:cubicBezTo>
                    <a:cubicBezTo>
                      <a:pt x="2853" y="5944"/>
                      <a:pt x="2853" y="5944"/>
                      <a:pt x="2853" y="5944"/>
                    </a:cubicBezTo>
                    <a:cubicBezTo>
                      <a:pt x="2657" y="5894"/>
                      <a:pt x="2657" y="5894"/>
                      <a:pt x="2657" y="5894"/>
                    </a:cubicBezTo>
                    <a:cubicBezTo>
                      <a:pt x="2460" y="6359"/>
                      <a:pt x="2460" y="6359"/>
                      <a:pt x="2460" y="6359"/>
                    </a:cubicBezTo>
                    <a:cubicBezTo>
                      <a:pt x="2666" y="6433"/>
                      <a:pt x="2666" y="6433"/>
                      <a:pt x="2666" y="6433"/>
                    </a:cubicBezTo>
                    <a:lnTo>
                      <a:pt x="2701" y="6290"/>
                    </a:lnTo>
                    <a:close/>
                    <a:moveTo>
                      <a:pt x="2199" y="3622"/>
                    </a:moveTo>
                    <a:cubicBezTo>
                      <a:pt x="2309" y="3619"/>
                      <a:pt x="2309" y="3619"/>
                      <a:pt x="2309" y="3619"/>
                    </a:cubicBezTo>
                    <a:cubicBezTo>
                      <a:pt x="2309" y="3619"/>
                      <a:pt x="2309" y="3619"/>
                      <a:pt x="2309" y="3619"/>
                    </a:cubicBezTo>
                    <a:cubicBezTo>
                      <a:pt x="2309" y="3619"/>
                      <a:pt x="2309" y="3619"/>
                      <a:pt x="2309" y="3619"/>
                    </a:cubicBezTo>
                    <a:cubicBezTo>
                      <a:pt x="2311" y="3619"/>
                      <a:pt x="2311" y="3619"/>
                      <a:pt x="2311" y="3619"/>
                    </a:cubicBezTo>
                    <a:cubicBezTo>
                      <a:pt x="2478" y="3626"/>
                      <a:pt x="2478" y="3626"/>
                      <a:pt x="2478" y="3626"/>
                    </a:cubicBezTo>
                    <a:cubicBezTo>
                      <a:pt x="2391" y="3797"/>
                      <a:pt x="2391" y="3797"/>
                      <a:pt x="2391" y="3797"/>
                    </a:cubicBezTo>
                    <a:cubicBezTo>
                      <a:pt x="2210" y="3798"/>
                      <a:pt x="2210" y="3798"/>
                      <a:pt x="2210" y="3798"/>
                    </a:cubicBezTo>
                    <a:cubicBezTo>
                      <a:pt x="2210" y="3798"/>
                      <a:pt x="2210" y="3798"/>
                      <a:pt x="2210" y="3798"/>
                    </a:cubicBezTo>
                    <a:cubicBezTo>
                      <a:pt x="2202" y="3798"/>
                      <a:pt x="2202" y="3798"/>
                      <a:pt x="2202" y="3798"/>
                    </a:cubicBezTo>
                    <a:cubicBezTo>
                      <a:pt x="2202" y="3798"/>
                      <a:pt x="2202" y="3798"/>
                      <a:pt x="2202" y="3798"/>
                    </a:cubicBezTo>
                    <a:cubicBezTo>
                      <a:pt x="2095" y="3798"/>
                      <a:pt x="2095" y="3798"/>
                      <a:pt x="2095" y="3798"/>
                    </a:cubicBezTo>
                    <a:cubicBezTo>
                      <a:pt x="2044" y="3635"/>
                      <a:pt x="2044" y="3635"/>
                      <a:pt x="2044" y="3635"/>
                    </a:cubicBezTo>
                    <a:cubicBezTo>
                      <a:pt x="2193" y="3623"/>
                      <a:pt x="2193" y="3623"/>
                      <a:pt x="2193" y="3623"/>
                    </a:cubicBezTo>
                    <a:cubicBezTo>
                      <a:pt x="2196" y="3622"/>
                      <a:pt x="2196" y="3622"/>
                      <a:pt x="2196" y="3622"/>
                    </a:cubicBezTo>
                    <a:cubicBezTo>
                      <a:pt x="2199" y="3622"/>
                      <a:pt x="2199" y="3622"/>
                      <a:pt x="2199" y="3622"/>
                    </a:cubicBezTo>
                    <a:cubicBezTo>
                      <a:pt x="2199" y="3622"/>
                      <a:pt x="2199" y="3622"/>
                      <a:pt x="2199" y="3622"/>
                    </a:cubicBezTo>
                    <a:close/>
                    <a:moveTo>
                      <a:pt x="2201" y="3784"/>
                    </a:moveTo>
                    <a:cubicBezTo>
                      <a:pt x="2200" y="3767"/>
                      <a:pt x="2199" y="3740"/>
                      <a:pt x="2197" y="3712"/>
                    </a:cubicBezTo>
                    <a:cubicBezTo>
                      <a:pt x="2196" y="3690"/>
                      <a:pt x="2194" y="3668"/>
                      <a:pt x="2193" y="3652"/>
                    </a:cubicBezTo>
                    <a:cubicBezTo>
                      <a:pt x="2192" y="3648"/>
                      <a:pt x="2192" y="3644"/>
                      <a:pt x="2192" y="3637"/>
                    </a:cubicBezTo>
                    <a:cubicBezTo>
                      <a:pt x="2062" y="3647"/>
                      <a:pt x="2062" y="3647"/>
                      <a:pt x="2062" y="3647"/>
                    </a:cubicBezTo>
                    <a:cubicBezTo>
                      <a:pt x="2105" y="3784"/>
                      <a:pt x="2105" y="3784"/>
                      <a:pt x="2105" y="3784"/>
                    </a:cubicBezTo>
                    <a:lnTo>
                      <a:pt x="2201" y="3784"/>
                    </a:lnTo>
                    <a:close/>
                    <a:moveTo>
                      <a:pt x="2308" y="3783"/>
                    </a:moveTo>
                    <a:cubicBezTo>
                      <a:pt x="2383" y="3783"/>
                      <a:pt x="2383" y="3783"/>
                      <a:pt x="2383" y="3783"/>
                    </a:cubicBezTo>
                    <a:cubicBezTo>
                      <a:pt x="2456" y="3639"/>
                      <a:pt x="2456" y="3639"/>
                      <a:pt x="2456" y="3639"/>
                    </a:cubicBezTo>
                    <a:cubicBezTo>
                      <a:pt x="2317" y="3633"/>
                      <a:pt x="2317" y="3633"/>
                      <a:pt x="2317" y="3633"/>
                    </a:cubicBezTo>
                    <a:lnTo>
                      <a:pt x="2308" y="3783"/>
                    </a:lnTo>
                    <a:close/>
                    <a:moveTo>
                      <a:pt x="2200" y="3636"/>
                    </a:moveTo>
                    <a:cubicBezTo>
                      <a:pt x="2204" y="3681"/>
                      <a:pt x="2208" y="3753"/>
                      <a:pt x="2209" y="3784"/>
                    </a:cubicBezTo>
                    <a:cubicBezTo>
                      <a:pt x="2300" y="3783"/>
                      <a:pt x="2300" y="3783"/>
                      <a:pt x="2300" y="3783"/>
                    </a:cubicBezTo>
                    <a:cubicBezTo>
                      <a:pt x="2309" y="3633"/>
                      <a:pt x="2309" y="3633"/>
                      <a:pt x="2309" y="3633"/>
                    </a:cubicBezTo>
                    <a:cubicBezTo>
                      <a:pt x="2308" y="3633"/>
                      <a:pt x="2308" y="3633"/>
                      <a:pt x="2308" y="3633"/>
                    </a:cubicBezTo>
                    <a:lnTo>
                      <a:pt x="2200" y="3636"/>
                    </a:lnTo>
                    <a:close/>
                    <a:moveTo>
                      <a:pt x="5296" y="5278"/>
                    </a:moveTo>
                    <a:cubicBezTo>
                      <a:pt x="5196" y="5394"/>
                      <a:pt x="5196" y="5394"/>
                      <a:pt x="5196" y="5394"/>
                    </a:cubicBezTo>
                    <a:cubicBezTo>
                      <a:pt x="5260" y="5433"/>
                      <a:pt x="5260" y="5433"/>
                      <a:pt x="5260" y="5433"/>
                    </a:cubicBezTo>
                    <a:cubicBezTo>
                      <a:pt x="5269" y="5666"/>
                      <a:pt x="5269" y="5666"/>
                      <a:pt x="5269" y="5666"/>
                    </a:cubicBezTo>
                    <a:cubicBezTo>
                      <a:pt x="5261" y="5666"/>
                      <a:pt x="5261" y="5666"/>
                      <a:pt x="5261" y="5666"/>
                    </a:cubicBezTo>
                    <a:cubicBezTo>
                      <a:pt x="5005" y="5640"/>
                      <a:pt x="5005" y="5640"/>
                      <a:pt x="5005" y="5640"/>
                    </a:cubicBezTo>
                    <a:cubicBezTo>
                      <a:pt x="4962" y="5603"/>
                      <a:pt x="4962" y="5603"/>
                      <a:pt x="4962" y="5603"/>
                    </a:cubicBezTo>
                    <a:cubicBezTo>
                      <a:pt x="4968" y="5598"/>
                      <a:pt x="4968" y="5598"/>
                      <a:pt x="4968" y="5598"/>
                    </a:cubicBezTo>
                    <a:cubicBezTo>
                      <a:pt x="4968" y="5598"/>
                      <a:pt x="4990" y="5575"/>
                      <a:pt x="5012" y="5538"/>
                    </a:cubicBezTo>
                    <a:cubicBezTo>
                      <a:pt x="5035" y="5500"/>
                      <a:pt x="5057" y="5447"/>
                      <a:pt x="5057" y="5387"/>
                    </a:cubicBezTo>
                    <a:cubicBezTo>
                      <a:pt x="5057" y="5376"/>
                      <a:pt x="5056" y="5366"/>
                      <a:pt x="5055" y="5355"/>
                    </a:cubicBezTo>
                    <a:cubicBezTo>
                      <a:pt x="5046" y="5285"/>
                      <a:pt x="5027" y="5235"/>
                      <a:pt x="5010" y="5203"/>
                    </a:cubicBezTo>
                    <a:cubicBezTo>
                      <a:pt x="4994" y="5171"/>
                      <a:pt x="4980" y="5157"/>
                      <a:pt x="4980" y="5157"/>
                    </a:cubicBezTo>
                    <a:cubicBezTo>
                      <a:pt x="4976" y="5153"/>
                      <a:pt x="4976" y="5153"/>
                      <a:pt x="4976" y="5153"/>
                    </a:cubicBezTo>
                    <a:cubicBezTo>
                      <a:pt x="5048" y="5007"/>
                      <a:pt x="5048" y="5007"/>
                      <a:pt x="5048" y="5007"/>
                    </a:cubicBezTo>
                    <a:cubicBezTo>
                      <a:pt x="5351" y="5026"/>
                      <a:pt x="5351" y="5026"/>
                      <a:pt x="5351" y="5026"/>
                    </a:cubicBezTo>
                    <a:cubicBezTo>
                      <a:pt x="5323" y="5136"/>
                      <a:pt x="5323" y="5136"/>
                      <a:pt x="5323" y="5136"/>
                    </a:cubicBezTo>
                    <a:cubicBezTo>
                      <a:pt x="5155" y="5127"/>
                      <a:pt x="5155" y="5127"/>
                      <a:pt x="5155" y="5127"/>
                    </a:cubicBezTo>
                    <a:lnTo>
                      <a:pt x="5296" y="5278"/>
                    </a:lnTo>
                    <a:close/>
                    <a:moveTo>
                      <a:pt x="5173" y="5397"/>
                    </a:moveTo>
                    <a:cubicBezTo>
                      <a:pt x="5276" y="5279"/>
                      <a:pt x="5276" y="5279"/>
                      <a:pt x="5276" y="5279"/>
                    </a:cubicBezTo>
                    <a:cubicBezTo>
                      <a:pt x="5119" y="5111"/>
                      <a:pt x="5119" y="5111"/>
                      <a:pt x="5119" y="5111"/>
                    </a:cubicBezTo>
                    <a:cubicBezTo>
                      <a:pt x="5312" y="5121"/>
                      <a:pt x="5312" y="5121"/>
                      <a:pt x="5312" y="5121"/>
                    </a:cubicBezTo>
                    <a:cubicBezTo>
                      <a:pt x="5333" y="5040"/>
                      <a:pt x="5333" y="5040"/>
                      <a:pt x="5333" y="5040"/>
                    </a:cubicBezTo>
                    <a:cubicBezTo>
                      <a:pt x="5057" y="5022"/>
                      <a:pt x="5057" y="5022"/>
                      <a:pt x="5057" y="5022"/>
                    </a:cubicBezTo>
                    <a:cubicBezTo>
                      <a:pt x="4994" y="5151"/>
                      <a:pt x="4994" y="5151"/>
                      <a:pt x="4994" y="5151"/>
                    </a:cubicBezTo>
                    <a:cubicBezTo>
                      <a:pt x="5007" y="5167"/>
                      <a:pt x="5053" y="5230"/>
                      <a:pt x="5070" y="5353"/>
                    </a:cubicBezTo>
                    <a:cubicBezTo>
                      <a:pt x="5071" y="5364"/>
                      <a:pt x="5072" y="5376"/>
                      <a:pt x="5072" y="5387"/>
                    </a:cubicBezTo>
                    <a:cubicBezTo>
                      <a:pt x="5072" y="5497"/>
                      <a:pt x="5004" y="5580"/>
                      <a:pt x="4984" y="5602"/>
                    </a:cubicBezTo>
                    <a:cubicBezTo>
                      <a:pt x="5011" y="5625"/>
                      <a:pt x="5011" y="5625"/>
                      <a:pt x="5011" y="5625"/>
                    </a:cubicBezTo>
                    <a:cubicBezTo>
                      <a:pt x="5254" y="5650"/>
                      <a:pt x="5254" y="5650"/>
                      <a:pt x="5254" y="5650"/>
                    </a:cubicBezTo>
                    <a:cubicBezTo>
                      <a:pt x="5246" y="5442"/>
                      <a:pt x="5246" y="5442"/>
                      <a:pt x="5246" y="5442"/>
                    </a:cubicBezTo>
                    <a:lnTo>
                      <a:pt x="5173" y="5397"/>
                    </a:lnTo>
                    <a:close/>
                    <a:moveTo>
                      <a:pt x="1695" y="4741"/>
                    </a:moveTo>
                    <a:cubicBezTo>
                      <a:pt x="1734" y="4782"/>
                      <a:pt x="1803" y="4797"/>
                      <a:pt x="1803" y="4797"/>
                    </a:cubicBezTo>
                    <a:cubicBezTo>
                      <a:pt x="1764" y="4946"/>
                      <a:pt x="1764" y="4946"/>
                      <a:pt x="1764" y="4946"/>
                    </a:cubicBezTo>
                    <a:cubicBezTo>
                      <a:pt x="1764" y="4946"/>
                      <a:pt x="1609" y="4896"/>
                      <a:pt x="1550" y="4858"/>
                    </a:cubicBezTo>
                    <a:cubicBezTo>
                      <a:pt x="1491" y="4820"/>
                      <a:pt x="1451" y="4682"/>
                      <a:pt x="1451" y="4682"/>
                    </a:cubicBezTo>
                    <a:cubicBezTo>
                      <a:pt x="1639" y="4656"/>
                      <a:pt x="1639" y="4656"/>
                      <a:pt x="1639" y="4656"/>
                    </a:cubicBezTo>
                    <a:cubicBezTo>
                      <a:pt x="1639" y="4656"/>
                      <a:pt x="1655" y="4700"/>
                      <a:pt x="1695" y="4741"/>
                    </a:cubicBezTo>
                    <a:close/>
                    <a:moveTo>
                      <a:pt x="1786" y="4807"/>
                    </a:moveTo>
                    <a:cubicBezTo>
                      <a:pt x="1763" y="4800"/>
                      <a:pt x="1716" y="4783"/>
                      <a:pt x="1685" y="4750"/>
                    </a:cubicBezTo>
                    <a:cubicBezTo>
                      <a:pt x="1655" y="4719"/>
                      <a:pt x="1638" y="4687"/>
                      <a:pt x="1630" y="4671"/>
                    </a:cubicBezTo>
                    <a:cubicBezTo>
                      <a:pt x="1470" y="4693"/>
                      <a:pt x="1470" y="4693"/>
                      <a:pt x="1470" y="4693"/>
                    </a:cubicBezTo>
                    <a:cubicBezTo>
                      <a:pt x="1482" y="4730"/>
                      <a:pt x="1515" y="4819"/>
                      <a:pt x="1557" y="4846"/>
                    </a:cubicBezTo>
                    <a:cubicBezTo>
                      <a:pt x="1604" y="4877"/>
                      <a:pt x="1715" y="4915"/>
                      <a:pt x="1755" y="4928"/>
                    </a:cubicBezTo>
                    <a:lnTo>
                      <a:pt x="1786" y="4807"/>
                    </a:lnTo>
                    <a:close/>
                    <a:moveTo>
                      <a:pt x="3095" y="4659"/>
                    </a:moveTo>
                    <a:cubicBezTo>
                      <a:pt x="3355" y="4754"/>
                      <a:pt x="3355" y="4754"/>
                      <a:pt x="3355" y="4754"/>
                    </a:cubicBezTo>
                    <a:cubicBezTo>
                      <a:pt x="3393" y="4869"/>
                      <a:pt x="3393" y="4869"/>
                      <a:pt x="3393" y="4869"/>
                    </a:cubicBezTo>
                    <a:cubicBezTo>
                      <a:pt x="3382" y="4894"/>
                      <a:pt x="3382" y="4894"/>
                      <a:pt x="3382" y="4894"/>
                    </a:cubicBezTo>
                    <a:cubicBezTo>
                      <a:pt x="3244" y="4890"/>
                      <a:pt x="3244" y="4890"/>
                      <a:pt x="3244" y="4890"/>
                    </a:cubicBezTo>
                    <a:cubicBezTo>
                      <a:pt x="3210" y="4844"/>
                      <a:pt x="3210" y="4844"/>
                      <a:pt x="3210" y="4844"/>
                    </a:cubicBezTo>
                    <a:cubicBezTo>
                      <a:pt x="3227" y="4795"/>
                      <a:pt x="3227" y="4795"/>
                      <a:pt x="3227" y="4795"/>
                    </a:cubicBezTo>
                    <a:cubicBezTo>
                      <a:pt x="3065" y="4738"/>
                      <a:pt x="3065" y="4738"/>
                      <a:pt x="3065" y="4738"/>
                    </a:cubicBezTo>
                    <a:lnTo>
                      <a:pt x="3095" y="4659"/>
                    </a:lnTo>
                    <a:close/>
                    <a:moveTo>
                      <a:pt x="3104" y="4676"/>
                    </a:moveTo>
                    <a:cubicBezTo>
                      <a:pt x="3083" y="4729"/>
                      <a:pt x="3083" y="4729"/>
                      <a:pt x="3083" y="4729"/>
                    </a:cubicBezTo>
                    <a:cubicBezTo>
                      <a:pt x="3231" y="4782"/>
                      <a:pt x="3231" y="4782"/>
                      <a:pt x="3231" y="4782"/>
                    </a:cubicBezTo>
                    <a:cubicBezTo>
                      <a:pt x="3244" y="4787"/>
                      <a:pt x="3244" y="4787"/>
                      <a:pt x="3244" y="4787"/>
                    </a:cubicBezTo>
                    <a:cubicBezTo>
                      <a:pt x="3240" y="4800"/>
                      <a:pt x="3240" y="4800"/>
                      <a:pt x="3240" y="4800"/>
                    </a:cubicBezTo>
                    <a:cubicBezTo>
                      <a:pt x="3226" y="4842"/>
                      <a:pt x="3226" y="4842"/>
                      <a:pt x="3226" y="4842"/>
                    </a:cubicBezTo>
                    <a:cubicBezTo>
                      <a:pt x="3251" y="4876"/>
                      <a:pt x="3251" y="4876"/>
                      <a:pt x="3251" y="4876"/>
                    </a:cubicBezTo>
                    <a:cubicBezTo>
                      <a:pt x="3373" y="4879"/>
                      <a:pt x="3373" y="4879"/>
                      <a:pt x="3373" y="4879"/>
                    </a:cubicBezTo>
                    <a:cubicBezTo>
                      <a:pt x="3378" y="4868"/>
                      <a:pt x="3378" y="4868"/>
                      <a:pt x="3378" y="4868"/>
                    </a:cubicBezTo>
                    <a:cubicBezTo>
                      <a:pt x="3344" y="4765"/>
                      <a:pt x="3344" y="4765"/>
                      <a:pt x="3344" y="4765"/>
                    </a:cubicBezTo>
                    <a:lnTo>
                      <a:pt x="3104" y="4676"/>
                    </a:lnTo>
                    <a:close/>
                    <a:moveTo>
                      <a:pt x="4026" y="5783"/>
                    </a:moveTo>
                    <a:cubicBezTo>
                      <a:pt x="4011" y="5799"/>
                      <a:pt x="4013" y="5852"/>
                      <a:pt x="4009" y="5867"/>
                    </a:cubicBezTo>
                    <a:cubicBezTo>
                      <a:pt x="4007" y="5877"/>
                      <a:pt x="3999" y="5882"/>
                      <a:pt x="3990" y="5882"/>
                    </a:cubicBezTo>
                    <a:cubicBezTo>
                      <a:pt x="3990" y="5882"/>
                      <a:pt x="3990" y="5882"/>
                      <a:pt x="3989" y="5882"/>
                    </a:cubicBezTo>
                    <a:cubicBezTo>
                      <a:pt x="3984" y="5882"/>
                      <a:pt x="3977" y="5881"/>
                      <a:pt x="3970" y="5880"/>
                    </a:cubicBezTo>
                    <a:cubicBezTo>
                      <a:pt x="3950" y="5874"/>
                      <a:pt x="3939" y="5831"/>
                      <a:pt x="3938" y="5800"/>
                    </a:cubicBezTo>
                    <a:cubicBezTo>
                      <a:pt x="3938" y="5796"/>
                      <a:pt x="3939" y="5791"/>
                      <a:pt x="3939" y="5787"/>
                    </a:cubicBezTo>
                    <a:cubicBezTo>
                      <a:pt x="3930" y="5788"/>
                      <a:pt x="3902" y="5801"/>
                      <a:pt x="3889" y="5809"/>
                    </a:cubicBezTo>
                    <a:cubicBezTo>
                      <a:pt x="3880" y="5815"/>
                      <a:pt x="3870" y="5820"/>
                      <a:pt x="3859" y="5820"/>
                    </a:cubicBezTo>
                    <a:cubicBezTo>
                      <a:pt x="3850" y="5820"/>
                      <a:pt x="3840" y="5817"/>
                      <a:pt x="3831" y="5809"/>
                    </a:cubicBezTo>
                    <a:cubicBezTo>
                      <a:pt x="3823" y="5803"/>
                      <a:pt x="3820" y="5796"/>
                      <a:pt x="3820" y="5788"/>
                    </a:cubicBezTo>
                    <a:cubicBezTo>
                      <a:pt x="3820" y="5770"/>
                      <a:pt x="3835" y="5752"/>
                      <a:pt x="3852" y="5743"/>
                    </a:cubicBezTo>
                    <a:cubicBezTo>
                      <a:pt x="3876" y="5731"/>
                      <a:pt x="3911" y="5729"/>
                      <a:pt x="3940" y="5726"/>
                    </a:cubicBezTo>
                    <a:cubicBezTo>
                      <a:pt x="3970" y="5724"/>
                      <a:pt x="4012" y="5715"/>
                      <a:pt x="4020" y="5695"/>
                    </a:cubicBezTo>
                    <a:cubicBezTo>
                      <a:pt x="4020" y="5694"/>
                      <a:pt x="4020" y="5694"/>
                      <a:pt x="4020" y="5694"/>
                    </a:cubicBezTo>
                    <a:cubicBezTo>
                      <a:pt x="4020" y="5694"/>
                      <a:pt x="4020" y="5692"/>
                      <a:pt x="4016" y="5690"/>
                    </a:cubicBezTo>
                    <a:cubicBezTo>
                      <a:pt x="3987" y="5674"/>
                      <a:pt x="3864" y="5666"/>
                      <a:pt x="3841" y="5662"/>
                    </a:cubicBezTo>
                    <a:cubicBezTo>
                      <a:pt x="3817" y="5657"/>
                      <a:pt x="3804" y="5640"/>
                      <a:pt x="3804" y="5626"/>
                    </a:cubicBezTo>
                    <a:cubicBezTo>
                      <a:pt x="3804" y="5622"/>
                      <a:pt x="3804" y="5619"/>
                      <a:pt x="3806" y="5616"/>
                    </a:cubicBezTo>
                    <a:cubicBezTo>
                      <a:pt x="3809" y="5612"/>
                      <a:pt x="3814" y="5610"/>
                      <a:pt x="3818" y="5610"/>
                    </a:cubicBezTo>
                    <a:cubicBezTo>
                      <a:pt x="3829" y="5611"/>
                      <a:pt x="3844" y="5619"/>
                      <a:pt x="3848" y="5621"/>
                    </a:cubicBezTo>
                    <a:cubicBezTo>
                      <a:pt x="3862" y="5620"/>
                      <a:pt x="4007" y="5615"/>
                      <a:pt x="4065" y="5615"/>
                    </a:cubicBezTo>
                    <a:cubicBezTo>
                      <a:pt x="4071" y="5615"/>
                      <a:pt x="4077" y="5615"/>
                      <a:pt x="4081" y="5616"/>
                    </a:cubicBezTo>
                    <a:cubicBezTo>
                      <a:pt x="4124" y="5617"/>
                      <a:pt x="4150" y="5636"/>
                      <a:pt x="4150" y="5636"/>
                    </a:cubicBezTo>
                    <a:cubicBezTo>
                      <a:pt x="4148" y="5640"/>
                      <a:pt x="4148" y="5640"/>
                      <a:pt x="4148" y="5640"/>
                    </a:cubicBezTo>
                    <a:cubicBezTo>
                      <a:pt x="4151" y="5637"/>
                      <a:pt x="4151" y="5637"/>
                      <a:pt x="4151" y="5637"/>
                    </a:cubicBezTo>
                    <a:cubicBezTo>
                      <a:pt x="4155" y="5642"/>
                      <a:pt x="4156" y="5648"/>
                      <a:pt x="4156" y="5654"/>
                    </a:cubicBezTo>
                    <a:cubicBezTo>
                      <a:pt x="4156" y="5672"/>
                      <a:pt x="4146" y="5693"/>
                      <a:pt x="4142" y="5700"/>
                    </a:cubicBezTo>
                    <a:cubicBezTo>
                      <a:pt x="4137" y="5705"/>
                      <a:pt x="4114" y="5720"/>
                      <a:pt x="4088" y="5738"/>
                    </a:cubicBezTo>
                    <a:cubicBezTo>
                      <a:pt x="4062" y="5756"/>
                      <a:pt x="4034" y="5775"/>
                      <a:pt x="4026" y="5783"/>
                    </a:cubicBezTo>
                    <a:close/>
                    <a:moveTo>
                      <a:pt x="4020" y="5778"/>
                    </a:moveTo>
                    <a:cubicBezTo>
                      <a:pt x="4030" y="5768"/>
                      <a:pt x="4057" y="5749"/>
                      <a:pt x="4083" y="5731"/>
                    </a:cubicBezTo>
                    <a:cubicBezTo>
                      <a:pt x="4109" y="5714"/>
                      <a:pt x="4134" y="5697"/>
                      <a:pt x="4135" y="5695"/>
                    </a:cubicBezTo>
                    <a:cubicBezTo>
                      <a:pt x="4138" y="5691"/>
                      <a:pt x="4148" y="5669"/>
                      <a:pt x="4148" y="5654"/>
                    </a:cubicBezTo>
                    <a:cubicBezTo>
                      <a:pt x="4148" y="5649"/>
                      <a:pt x="4147" y="5645"/>
                      <a:pt x="4145" y="5643"/>
                    </a:cubicBezTo>
                    <a:cubicBezTo>
                      <a:pt x="4142" y="5641"/>
                      <a:pt x="4119" y="5625"/>
                      <a:pt x="4081" y="5624"/>
                    </a:cubicBezTo>
                    <a:cubicBezTo>
                      <a:pt x="4077" y="5624"/>
                      <a:pt x="4071" y="5624"/>
                      <a:pt x="4065" y="5624"/>
                    </a:cubicBezTo>
                    <a:cubicBezTo>
                      <a:pt x="4004" y="5624"/>
                      <a:pt x="3847" y="5629"/>
                      <a:pt x="3847" y="5629"/>
                    </a:cubicBezTo>
                    <a:cubicBezTo>
                      <a:pt x="3846" y="5629"/>
                      <a:pt x="3846" y="5629"/>
                      <a:pt x="3846" y="5629"/>
                    </a:cubicBezTo>
                    <a:cubicBezTo>
                      <a:pt x="3845" y="5629"/>
                      <a:pt x="3845" y="5629"/>
                      <a:pt x="3845" y="5629"/>
                    </a:cubicBezTo>
                    <a:cubicBezTo>
                      <a:pt x="3845" y="5628"/>
                      <a:pt x="3827" y="5618"/>
                      <a:pt x="3818" y="5619"/>
                    </a:cubicBezTo>
                    <a:cubicBezTo>
                      <a:pt x="3815" y="5619"/>
                      <a:pt x="3814" y="5619"/>
                      <a:pt x="3813" y="5620"/>
                    </a:cubicBezTo>
                    <a:cubicBezTo>
                      <a:pt x="3812" y="5622"/>
                      <a:pt x="3812" y="5624"/>
                      <a:pt x="3812" y="5626"/>
                    </a:cubicBezTo>
                    <a:cubicBezTo>
                      <a:pt x="3812" y="5635"/>
                      <a:pt x="3822" y="5650"/>
                      <a:pt x="3842" y="5654"/>
                    </a:cubicBezTo>
                    <a:cubicBezTo>
                      <a:pt x="3855" y="5656"/>
                      <a:pt x="3901" y="5660"/>
                      <a:pt x="3943" y="5666"/>
                    </a:cubicBezTo>
                    <a:cubicBezTo>
                      <a:pt x="3965" y="5668"/>
                      <a:pt x="3985" y="5672"/>
                      <a:pt x="4000" y="5676"/>
                    </a:cubicBezTo>
                    <a:cubicBezTo>
                      <a:pt x="4016" y="5681"/>
                      <a:pt x="4027" y="5684"/>
                      <a:pt x="4028" y="5694"/>
                    </a:cubicBezTo>
                    <a:cubicBezTo>
                      <a:pt x="4028" y="5695"/>
                      <a:pt x="4028" y="5697"/>
                      <a:pt x="4028" y="5698"/>
                    </a:cubicBezTo>
                    <a:cubicBezTo>
                      <a:pt x="4015" y="5725"/>
                      <a:pt x="3971" y="5731"/>
                      <a:pt x="3941" y="5734"/>
                    </a:cubicBezTo>
                    <a:cubicBezTo>
                      <a:pt x="3912" y="5737"/>
                      <a:pt x="3878" y="5739"/>
                      <a:pt x="3856" y="5751"/>
                    </a:cubicBezTo>
                    <a:cubicBezTo>
                      <a:pt x="3841" y="5758"/>
                      <a:pt x="3828" y="5775"/>
                      <a:pt x="3828" y="5788"/>
                    </a:cubicBezTo>
                    <a:cubicBezTo>
                      <a:pt x="3828" y="5793"/>
                      <a:pt x="3830" y="5798"/>
                      <a:pt x="3836" y="5803"/>
                    </a:cubicBezTo>
                    <a:cubicBezTo>
                      <a:pt x="3844" y="5810"/>
                      <a:pt x="3852" y="5812"/>
                      <a:pt x="3859" y="5812"/>
                    </a:cubicBezTo>
                    <a:cubicBezTo>
                      <a:pt x="3867" y="5812"/>
                      <a:pt x="3876" y="5808"/>
                      <a:pt x="3885" y="5802"/>
                    </a:cubicBezTo>
                    <a:cubicBezTo>
                      <a:pt x="3900" y="5794"/>
                      <a:pt x="3928" y="5779"/>
                      <a:pt x="3941" y="5779"/>
                    </a:cubicBezTo>
                    <a:cubicBezTo>
                      <a:pt x="3943" y="5779"/>
                      <a:pt x="3948" y="5780"/>
                      <a:pt x="3948" y="5785"/>
                    </a:cubicBezTo>
                    <a:cubicBezTo>
                      <a:pt x="3948" y="5786"/>
                      <a:pt x="3948" y="5786"/>
                      <a:pt x="3948" y="5787"/>
                    </a:cubicBezTo>
                    <a:cubicBezTo>
                      <a:pt x="3947" y="5790"/>
                      <a:pt x="3947" y="5795"/>
                      <a:pt x="3947" y="5800"/>
                    </a:cubicBezTo>
                    <a:cubicBezTo>
                      <a:pt x="3946" y="5828"/>
                      <a:pt x="3961" y="5872"/>
                      <a:pt x="3972" y="5872"/>
                    </a:cubicBezTo>
                    <a:cubicBezTo>
                      <a:pt x="3979" y="5873"/>
                      <a:pt x="3985" y="5874"/>
                      <a:pt x="3989" y="5874"/>
                    </a:cubicBezTo>
                    <a:cubicBezTo>
                      <a:pt x="3997" y="5873"/>
                      <a:pt x="3999" y="5873"/>
                      <a:pt x="4001" y="5865"/>
                    </a:cubicBezTo>
                    <a:cubicBezTo>
                      <a:pt x="4005" y="5853"/>
                      <a:pt x="4001" y="5799"/>
                      <a:pt x="4020" y="5778"/>
                    </a:cubicBezTo>
                    <a:close/>
                    <a:moveTo>
                      <a:pt x="5526" y="5939"/>
                    </a:moveTo>
                    <a:cubicBezTo>
                      <a:pt x="5671" y="5965"/>
                      <a:pt x="5671" y="5965"/>
                      <a:pt x="5671" y="5965"/>
                    </a:cubicBezTo>
                    <a:cubicBezTo>
                      <a:pt x="5653" y="6068"/>
                      <a:pt x="5653" y="6068"/>
                      <a:pt x="5653" y="6068"/>
                    </a:cubicBezTo>
                    <a:cubicBezTo>
                      <a:pt x="5507" y="6042"/>
                      <a:pt x="5507" y="6042"/>
                      <a:pt x="5507" y="6042"/>
                    </a:cubicBezTo>
                    <a:cubicBezTo>
                      <a:pt x="5508" y="6035"/>
                      <a:pt x="5508" y="6035"/>
                      <a:pt x="5508" y="6035"/>
                    </a:cubicBezTo>
                    <a:lnTo>
                      <a:pt x="5526" y="5939"/>
                    </a:lnTo>
                    <a:close/>
                    <a:moveTo>
                      <a:pt x="5536" y="5954"/>
                    </a:moveTo>
                    <a:cubicBezTo>
                      <a:pt x="5522" y="6031"/>
                      <a:pt x="5522" y="6031"/>
                      <a:pt x="5522" y="6031"/>
                    </a:cubicBezTo>
                    <a:cubicBezTo>
                      <a:pt x="5642" y="6053"/>
                      <a:pt x="5642" y="6053"/>
                      <a:pt x="5642" y="6053"/>
                    </a:cubicBezTo>
                    <a:cubicBezTo>
                      <a:pt x="5656" y="5976"/>
                      <a:pt x="5656" y="5976"/>
                      <a:pt x="5656" y="5976"/>
                    </a:cubicBezTo>
                    <a:lnTo>
                      <a:pt x="5536" y="5954"/>
                    </a:lnTo>
                    <a:close/>
                    <a:moveTo>
                      <a:pt x="5511" y="5788"/>
                    </a:moveTo>
                    <a:cubicBezTo>
                      <a:pt x="5657" y="5815"/>
                      <a:pt x="5657" y="5815"/>
                      <a:pt x="5657" y="5815"/>
                    </a:cubicBezTo>
                    <a:cubicBezTo>
                      <a:pt x="5638" y="5917"/>
                      <a:pt x="5638" y="5917"/>
                      <a:pt x="5638" y="5917"/>
                    </a:cubicBezTo>
                    <a:cubicBezTo>
                      <a:pt x="5492" y="5891"/>
                      <a:pt x="5492" y="5891"/>
                      <a:pt x="5492" y="5891"/>
                    </a:cubicBezTo>
                    <a:cubicBezTo>
                      <a:pt x="5494" y="5885"/>
                      <a:pt x="5494" y="5885"/>
                      <a:pt x="5494" y="5885"/>
                    </a:cubicBezTo>
                    <a:lnTo>
                      <a:pt x="5511" y="5788"/>
                    </a:lnTo>
                    <a:close/>
                    <a:moveTo>
                      <a:pt x="5522" y="5803"/>
                    </a:moveTo>
                    <a:cubicBezTo>
                      <a:pt x="5508" y="5880"/>
                      <a:pt x="5508" y="5880"/>
                      <a:pt x="5508" y="5880"/>
                    </a:cubicBezTo>
                    <a:cubicBezTo>
                      <a:pt x="5628" y="5902"/>
                      <a:pt x="5628" y="5902"/>
                      <a:pt x="5628" y="5902"/>
                    </a:cubicBezTo>
                    <a:cubicBezTo>
                      <a:pt x="5642" y="5825"/>
                      <a:pt x="5642" y="5825"/>
                      <a:pt x="5642" y="5825"/>
                    </a:cubicBezTo>
                    <a:lnTo>
                      <a:pt x="5522" y="5803"/>
                    </a:lnTo>
                    <a:close/>
                    <a:moveTo>
                      <a:pt x="4107" y="4835"/>
                    </a:moveTo>
                    <a:cubicBezTo>
                      <a:pt x="4136" y="4877"/>
                      <a:pt x="4136" y="4877"/>
                      <a:pt x="4136" y="4877"/>
                    </a:cubicBezTo>
                    <a:cubicBezTo>
                      <a:pt x="3981" y="4971"/>
                      <a:pt x="3981" y="4971"/>
                      <a:pt x="3981" y="4971"/>
                    </a:cubicBezTo>
                    <a:cubicBezTo>
                      <a:pt x="3928" y="4883"/>
                      <a:pt x="3928" y="4883"/>
                      <a:pt x="3928" y="4883"/>
                    </a:cubicBezTo>
                    <a:cubicBezTo>
                      <a:pt x="4012" y="4830"/>
                      <a:pt x="4012" y="4830"/>
                      <a:pt x="4012" y="4830"/>
                    </a:cubicBezTo>
                    <a:cubicBezTo>
                      <a:pt x="3996" y="4802"/>
                      <a:pt x="3996" y="4802"/>
                      <a:pt x="3996" y="4802"/>
                    </a:cubicBezTo>
                    <a:cubicBezTo>
                      <a:pt x="4082" y="4752"/>
                      <a:pt x="4082" y="4752"/>
                      <a:pt x="4082" y="4752"/>
                    </a:cubicBezTo>
                    <a:cubicBezTo>
                      <a:pt x="4125" y="4824"/>
                      <a:pt x="4125" y="4824"/>
                      <a:pt x="4125" y="4824"/>
                    </a:cubicBezTo>
                    <a:lnTo>
                      <a:pt x="4107" y="4835"/>
                    </a:lnTo>
                    <a:close/>
                    <a:moveTo>
                      <a:pt x="4095" y="4842"/>
                    </a:moveTo>
                    <a:cubicBezTo>
                      <a:pt x="4087" y="4830"/>
                      <a:pt x="4087" y="4830"/>
                      <a:pt x="4087" y="4830"/>
                    </a:cubicBezTo>
                    <a:cubicBezTo>
                      <a:pt x="4100" y="4822"/>
                      <a:pt x="4100" y="4822"/>
                      <a:pt x="4100" y="4822"/>
                    </a:cubicBezTo>
                    <a:cubicBezTo>
                      <a:pt x="4106" y="4819"/>
                      <a:pt x="4106" y="4819"/>
                      <a:pt x="4106" y="4819"/>
                    </a:cubicBezTo>
                    <a:cubicBezTo>
                      <a:pt x="4077" y="4771"/>
                      <a:pt x="4077" y="4771"/>
                      <a:pt x="4077" y="4771"/>
                    </a:cubicBezTo>
                    <a:cubicBezTo>
                      <a:pt x="4015" y="4807"/>
                      <a:pt x="4015" y="4807"/>
                      <a:pt x="4015" y="4807"/>
                    </a:cubicBezTo>
                    <a:cubicBezTo>
                      <a:pt x="4024" y="4823"/>
                      <a:pt x="4024" y="4823"/>
                      <a:pt x="4024" y="4823"/>
                    </a:cubicBezTo>
                    <a:cubicBezTo>
                      <a:pt x="4032" y="4834"/>
                      <a:pt x="4032" y="4834"/>
                      <a:pt x="4032" y="4834"/>
                    </a:cubicBezTo>
                    <a:cubicBezTo>
                      <a:pt x="4020" y="4842"/>
                      <a:pt x="4020" y="4842"/>
                      <a:pt x="4020" y="4842"/>
                    </a:cubicBezTo>
                    <a:cubicBezTo>
                      <a:pt x="3947" y="4887"/>
                      <a:pt x="3947" y="4887"/>
                      <a:pt x="3947" y="4887"/>
                    </a:cubicBezTo>
                    <a:cubicBezTo>
                      <a:pt x="3986" y="4952"/>
                      <a:pt x="3986" y="4952"/>
                      <a:pt x="3986" y="4952"/>
                    </a:cubicBezTo>
                    <a:cubicBezTo>
                      <a:pt x="4116" y="4872"/>
                      <a:pt x="4116" y="4872"/>
                      <a:pt x="4116" y="4872"/>
                    </a:cubicBezTo>
                    <a:lnTo>
                      <a:pt x="4095" y="4842"/>
                    </a:lnTo>
                    <a:close/>
                    <a:moveTo>
                      <a:pt x="5012" y="6702"/>
                    </a:moveTo>
                    <a:cubicBezTo>
                      <a:pt x="5009" y="6642"/>
                      <a:pt x="5009" y="6642"/>
                      <a:pt x="5009" y="6642"/>
                    </a:cubicBezTo>
                    <a:cubicBezTo>
                      <a:pt x="5071" y="6285"/>
                      <a:pt x="5071" y="6285"/>
                      <a:pt x="5071" y="6285"/>
                    </a:cubicBezTo>
                    <a:cubicBezTo>
                      <a:pt x="5263" y="6195"/>
                      <a:pt x="5263" y="6195"/>
                      <a:pt x="5263" y="6195"/>
                    </a:cubicBezTo>
                    <a:cubicBezTo>
                      <a:pt x="5328" y="6214"/>
                      <a:pt x="5328" y="6214"/>
                      <a:pt x="5328" y="6214"/>
                    </a:cubicBezTo>
                    <a:cubicBezTo>
                      <a:pt x="5288" y="6386"/>
                      <a:pt x="5288" y="6386"/>
                      <a:pt x="5288" y="6386"/>
                    </a:cubicBezTo>
                    <a:cubicBezTo>
                      <a:pt x="5252" y="6282"/>
                      <a:pt x="5252" y="6282"/>
                      <a:pt x="5252" y="6282"/>
                    </a:cubicBezTo>
                    <a:cubicBezTo>
                      <a:pt x="5180" y="6340"/>
                      <a:pt x="5180" y="6340"/>
                      <a:pt x="5180" y="6340"/>
                    </a:cubicBezTo>
                    <a:cubicBezTo>
                      <a:pt x="5174" y="6408"/>
                      <a:pt x="5174" y="6408"/>
                      <a:pt x="5174" y="6408"/>
                    </a:cubicBezTo>
                    <a:cubicBezTo>
                      <a:pt x="5243" y="6438"/>
                      <a:pt x="5243" y="6438"/>
                      <a:pt x="5243" y="6438"/>
                    </a:cubicBezTo>
                    <a:cubicBezTo>
                      <a:pt x="5201" y="6517"/>
                      <a:pt x="5201" y="6517"/>
                      <a:pt x="5201" y="6517"/>
                    </a:cubicBezTo>
                    <a:cubicBezTo>
                      <a:pt x="5150" y="6512"/>
                      <a:pt x="5150" y="6512"/>
                      <a:pt x="5150" y="6512"/>
                    </a:cubicBezTo>
                    <a:cubicBezTo>
                      <a:pt x="5129" y="6611"/>
                      <a:pt x="5129" y="6611"/>
                      <a:pt x="5129" y="6611"/>
                    </a:cubicBezTo>
                    <a:lnTo>
                      <a:pt x="5012" y="6702"/>
                    </a:lnTo>
                    <a:close/>
                    <a:moveTo>
                      <a:pt x="5023" y="6643"/>
                    </a:moveTo>
                    <a:cubicBezTo>
                      <a:pt x="5025" y="6675"/>
                      <a:pt x="5025" y="6675"/>
                      <a:pt x="5025" y="6675"/>
                    </a:cubicBezTo>
                    <a:cubicBezTo>
                      <a:pt x="5117" y="6603"/>
                      <a:pt x="5117" y="6603"/>
                      <a:pt x="5117" y="6603"/>
                    </a:cubicBezTo>
                    <a:cubicBezTo>
                      <a:pt x="5136" y="6510"/>
                      <a:pt x="5136" y="6510"/>
                      <a:pt x="5136" y="6510"/>
                    </a:cubicBezTo>
                    <a:cubicBezTo>
                      <a:pt x="5138" y="6497"/>
                      <a:pt x="5138" y="6497"/>
                      <a:pt x="5138" y="6497"/>
                    </a:cubicBezTo>
                    <a:cubicBezTo>
                      <a:pt x="5151" y="6498"/>
                      <a:pt x="5151" y="6498"/>
                      <a:pt x="5151" y="6498"/>
                    </a:cubicBezTo>
                    <a:cubicBezTo>
                      <a:pt x="5193" y="6502"/>
                      <a:pt x="5193" y="6502"/>
                      <a:pt x="5193" y="6502"/>
                    </a:cubicBezTo>
                    <a:cubicBezTo>
                      <a:pt x="5223" y="6445"/>
                      <a:pt x="5223" y="6445"/>
                      <a:pt x="5223" y="6445"/>
                    </a:cubicBezTo>
                    <a:cubicBezTo>
                      <a:pt x="5169" y="6421"/>
                      <a:pt x="5169" y="6421"/>
                      <a:pt x="5169" y="6421"/>
                    </a:cubicBezTo>
                    <a:cubicBezTo>
                      <a:pt x="5160" y="6417"/>
                      <a:pt x="5160" y="6417"/>
                      <a:pt x="5160" y="6417"/>
                    </a:cubicBezTo>
                    <a:cubicBezTo>
                      <a:pt x="5160" y="6407"/>
                      <a:pt x="5160" y="6407"/>
                      <a:pt x="5160" y="6407"/>
                    </a:cubicBezTo>
                    <a:cubicBezTo>
                      <a:pt x="5166" y="6339"/>
                      <a:pt x="5166" y="6339"/>
                      <a:pt x="5166" y="6339"/>
                    </a:cubicBezTo>
                    <a:cubicBezTo>
                      <a:pt x="5167" y="6333"/>
                      <a:pt x="5167" y="6333"/>
                      <a:pt x="5167" y="6333"/>
                    </a:cubicBezTo>
                    <a:cubicBezTo>
                      <a:pt x="5172" y="6329"/>
                      <a:pt x="5172" y="6329"/>
                      <a:pt x="5172" y="6329"/>
                    </a:cubicBezTo>
                    <a:cubicBezTo>
                      <a:pt x="5243" y="6272"/>
                      <a:pt x="5243" y="6272"/>
                      <a:pt x="5243" y="6272"/>
                    </a:cubicBezTo>
                    <a:cubicBezTo>
                      <a:pt x="5258" y="6259"/>
                      <a:pt x="5258" y="6259"/>
                      <a:pt x="5258" y="6259"/>
                    </a:cubicBezTo>
                    <a:cubicBezTo>
                      <a:pt x="5265" y="6278"/>
                      <a:pt x="5265" y="6278"/>
                      <a:pt x="5265" y="6278"/>
                    </a:cubicBezTo>
                    <a:cubicBezTo>
                      <a:pt x="5285" y="6336"/>
                      <a:pt x="5285" y="6336"/>
                      <a:pt x="5285" y="6336"/>
                    </a:cubicBezTo>
                    <a:cubicBezTo>
                      <a:pt x="5311" y="6224"/>
                      <a:pt x="5311" y="6224"/>
                      <a:pt x="5311" y="6224"/>
                    </a:cubicBezTo>
                    <a:cubicBezTo>
                      <a:pt x="5264" y="6209"/>
                      <a:pt x="5264" y="6209"/>
                      <a:pt x="5264" y="6209"/>
                    </a:cubicBezTo>
                    <a:cubicBezTo>
                      <a:pt x="5083" y="6294"/>
                      <a:pt x="5083" y="6294"/>
                      <a:pt x="5083" y="6294"/>
                    </a:cubicBezTo>
                    <a:lnTo>
                      <a:pt x="5023" y="6643"/>
                    </a:lnTo>
                    <a:close/>
                    <a:moveTo>
                      <a:pt x="4964" y="4142"/>
                    </a:moveTo>
                    <a:cubicBezTo>
                      <a:pt x="5044" y="4174"/>
                      <a:pt x="5044" y="4174"/>
                      <a:pt x="5044" y="4174"/>
                    </a:cubicBezTo>
                    <a:cubicBezTo>
                      <a:pt x="5019" y="4238"/>
                      <a:pt x="5019" y="4238"/>
                      <a:pt x="5019" y="4238"/>
                    </a:cubicBezTo>
                    <a:cubicBezTo>
                      <a:pt x="5013" y="4235"/>
                      <a:pt x="5013" y="4235"/>
                      <a:pt x="5013" y="4235"/>
                    </a:cubicBezTo>
                    <a:cubicBezTo>
                      <a:pt x="4939" y="4206"/>
                      <a:pt x="4939" y="4206"/>
                      <a:pt x="4939" y="4206"/>
                    </a:cubicBezTo>
                    <a:lnTo>
                      <a:pt x="4964" y="4142"/>
                    </a:lnTo>
                    <a:close/>
                    <a:moveTo>
                      <a:pt x="4971" y="4159"/>
                    </a:moveTo>
                    <a:cubicBezTo>
                      <a:pt x="4956" y="4198"/>
                      <a:pt x="4956" y="4198"/>
                      <a:pt x="4956" y="4198"/>
                    </a:cubicBezTo>
                    <a:cubicBezTo>
                      <a:pt x="5012" y="4221"/>
                      <a:pt x="5012" y="4221"/>
                      <a:pt x="5012" y="4221"/>
                    </a:cubicBezTo>
                    <a:cubicBezTo>
                      <a:pt x="5027" y="4182"/>
                      <a:pt x="5027" y="4182"/>
                      <a:pt x="5027" y="4182"/>
                    </a:cubicBezTo>
                    <a:lnTo>
                      <a:pt x="4971" y="4159"/>
                    </a:lnTo>
                    <a:close/>
                    <a:moveTo>
                      <a:pt x="3402" y="4016"/>
                    </a:moveTo>
                    <a:cubicBezTo>
                      <a:pt x="3429" y="3968"/>
                      <a:pt x="3429" y="3968"/>
                      <a:pt x="3429" y="3968"/>
                    </a:cubicBezTo>
                    <a:cubicBezTo>
                      <a:pt x="3429" y="3968"/>
                      <a:pt x="3563" y="4036"/>
                      <a:pt x="3565" y="4036"/>
                    </a:cubicBezTo>
                    <a:cubicBezTo>
                      <a:pt x="3567" y="4036"/>
                      <a:pt x="3507" y="4153"/>
                      <a:pt x="3507" y="4153"/>
                    </a:cubicBezTo>
                    <a:cubicBezTo>
                      <a:pt x="3481" y="4139"/>
                      <a:pt x="3481" y="4139"/>
                      <a:pt x="3481" y="4139"/>
                    </a:cubicBezTo>
                    <a:cubicBezTo>
                      <a:pt x="3443" y="4210"/>
                      <a:pt x="3443" y="4210"/>
                      <a:pt x="3443" y="4210"/>
                    </a:cubicBezTo>
                    <a:cubicBezTo>
                      <a:pt x="3197" y="4082"/>
                      <a:pt x="3197" y="4082"/>
                      <a:pt x="3197" y="4082"/>
                    </a:cubicBezTo>
                    <a:cubicBezTo>
                      <a:pt x="3267" y="3947"/>
                      <a:pt x="3267" y="3947"/>
                      <a:pt x="3267" y="3947"/>
                    </a:cubicBezTo>
                    <a:lnTo>
                      <a:pt x="3402" y="4016"/>
                    </a:lnTo>
                    <a:close/>
                    <a:moveTo>
                      <a:pt x="3408" y="4035"/>
                    </a:moveTo>
                    <a:cubicBezTo>
                      <a:pt x="3396" y="4029"/>
                      <a:pt x="3396" y="4029"/>
                      <a:pt x="3396" y="4029"/>
                    </a:cubicBezTo>
                    <a:cubicBezTo>
                      <a:pt x="3273" y="3966"/>
                      <a:pt x="3273" y="3966"/>
                      <a:pt x="3273" y="3966"/>
                    </a:cubicBezTo>
                    <a:cubicBezTo>
                      <a:pt x="3216" y="4076"/>
                      <a:pt x="3216" y="4076"/>
                      <a:pt x="3216" y="4076"/>
                    </a:cubicBezTo>
                    <a:cubicBezTo>
                      <a:pt x="3437" y="4192"/>
                      <a:pt x="3437" y="4192"/>
                      <a:pt x="3437" y="4192"/>
                    </a:cubicBezTo>
                    <a:cubicBezTo>
                      <a:pt x="3468" y="4132"/>
                      <a:pt x="3468" y="4132"/>
                      <a:pt x="3468" y="4132"/>
                    </a:cubicBezTo>
                    <a:cubicBezTo>
                      <a:pt x="3475" y="4120"/>
                      <a:pt x="3475" y="4120"/>
                      <a:pt x="3475" y="4120"/>
                    </a:cubicBezTo>
                    <a:cubicBezTo>
                      <a:pt x="3487" y="4126"/>
                      <a:pt x="3487" y="4126"/>
                      <a:pt x="3487" y="4126"/>
                    </a:cubicBezTo>
                    <a:cubicBezTo>
                      <a:pt x="3501" y="4134"/>
                      <a:pt x="3501" y="4134"/>
                      <a:pt x="3501" y="4134"/>
                    </a:cubicBezTo>
                    <a:cubicBezTo>
                      <a:pt x="3520" y="4098"/>
                      <a:pt x="3538" y="4061"/>
                      <a:pt x="3547" y="4043"/>
                    </a:cubicBezTo>
                    <a:cubicBezTo>
                      <a:pt x="3531" y="4036"/>
                      <a:pt x="3500" y="4020"/>
                      <a:pt x="3435" y="3986"/>
                    </a:cubicBezTo>
                    <a:cubicBezTo>
                      <a:pt x="3414" y="4023"/>
                      <a:pt x="3414" y="4023"/>
                      <a:pt x="3414" y="4023"/>
                    </a:cubicBezTo>
                    <a:lnTo>
                      <a:pt x="3408" y="4035"/>
                    </a:lnTo>
                    <a:close/>
                    <a:moveTo>
                      <a:pt x="5627" y="6356"/>
                    </a:moveTo>
                    <a:cubicBezTo>
                      <a:pt x="5481" y="6330"/>
                      <a:pt x="5481" y="6330"/>
                      <a:pt x="5481" y="6330"/>
                    </a:cubicBezTo>
                    <a:cubicBezTo>
                      <a:pt x="5482" y="6324"/>
                      <a:pt x="5482" y="6324"/>
                      <a:pt x="5482" y="6324"/>
                    </a:cubicBezTo>
                    <a:cubicBezTo>
                      <a:pt x="5500" y="6227"/>
                      <a:pt x="5500" y="6227"/>
                      <a:pt x="5500" y="6227"/>
                    </a:cubicBezTo>
                    <a:cubicBezTo>
                      <a:pt x="5645" y="6254"/>
                      <a:pt x="5645" y="6254"/>
                      <a:pt x="5645" y="6254"/>
                    </a:cubicBezTo>
                    <a:lnTo>
                      <a:pt x="5627" y="6356"/>
                    </a:lnTo>
                    <a:close/>
                    <a:moveTo>
                      <a:pt x="5616" y="6341"/>
                    </a:moveTo>
                    <a:cubicBezTo>
                      <a:pt x="5630" y="6264"/>
                      <a:pt x="5630" y="6264"/>
                      <a:pt x="5630" y="6264"/>
                    </a:cubicBezTo>
                    <a:cubicBezTo>
                      <a:pt x="5510" y="6242"/>
                      <a:pt x="5510" y="6242"/>
                      <a:pt x="5510" y="6242"/>
                    </a:cubicBezTo>
                    <a:cubicBezTo>
                      <a:pt x="5496" y="6320"/>
                      <a:pt x="5496" y="6320"/>
                      <a:pt x="5496" y="6320"/>
                    </a:cubicBezTo>
                    <a:lnTo>
                      <a:pt x="5616" y="6341"/>
                    </a:lnTo>
                    <a:close/>
                    <a:moveTo>
                      <a:pt x="3498" y="4257"/>
                    </a:moveTo>
                    <a:cubicBezTo>
                      <a:pt x="3764" y="4306"/>
                      <a:pt x="3764" y="4306"/>
                      <a:pt x="3764" y="4306"/>
                    </a:cubicBezTo>
                    <a:cubicBezTo>
                      <a:pt x="3791" y="4412"/>
                      <a:pt x="3791" y="4412"/>
                      <a:pt x="3791" y="4412"/>
                    </a:cubicBezTo>
                    <a:cubicBezTo>
                      <a:pt x="3791" y="4412"/>
                      <a:pt x="3791" y="4412"/>
                      <a:pt x="3791" y="4412"/>
                    </a:cubicBezTo>
                    <a:cubicBezTo>
                      <a:pt x="3792" y="4416"/>
                      <a:pt x="3792" y="4416"/>
                      <a:pt x="3792" y="4416"/>
                    </a:cubicBezTo>
                    <a:cubicBezTo>
                      <a:pt x="3923" y="4505"/>
                      <a:pt x="3923" y="4505"/>
                      <a:pt x="3923" y="4505"/>
                    </a:cubicBezTo>
                    <a:cubicBezTo>
                      <a:pt x="4038" y="4666"/>
                      <a:pt x="4038" y="4666"/>
                      <a:pt x="4038" y="4666"/>
                    </a:cubicBezTo>
                    <a:cubicBezTo>
                      <a:pt x="3834" y="4731"/>
                      <a:pt x="3834" y="4731"/>
                      <a:pt x="3834" y="4731"/>
                    </a:cubicBezTo>
                    <a:cubicBezTo>
                      <a:pt x="3769" y="4566"/>
                      <a:pt x="3769" y="4566"/>
                      <a:pt x="3769" y="4566"/>
                    </a:cubicBezTo>
                    <a:cubicBezTo>
                      <a:pt x="3582" y="4469"/>
                      <a:pt x="3582" y="4469"/>
                      <a:pt x="3582" y="4469"/>
                    </a:cubicBezTo>
                    <a:cubicBezTo>
                      <a:pt x="3581" y="4469"/>
                      <a:pt x="3580" y="4469"/>
                      <a:pt x="3580" y="4469"/>
                    </a:cubicBezTo>
                    <a:cubicBezTo>
                      <a:pt x="3579" y="4464"/>
                      <a:pt x="3579" y="4464"/>
                      <a:pt x="3579" y="4464"/>
                    </a:cubicBezTo>
                    <a:lnTo>
                      <a:pt x="3498" y="4257"/>
                    </a:lnTo>
                    <a:close/>
                    <a:moveTo>
                      <a:pt x="3909" y="4512"/>
                    </a:moveTo>
                    <a:cubicBezTo>
                      <a:pt x="3783" y="4563"/>
                      <a:pt x="3783" y="4563"/>
                      <a:pt x="3783" y="4563"/>
                    </a:cubicBezTo>
                    <a:cubicBezTo>
                      <a:pt x="3842" y="4714"/>
                      <a:pt x="3842" y="4714"/>
                      <a:pt x="3842" y="4714"/>
                    </a:cubicBezTo>
                    <a:cubicBezTo>
                      <a:pt x="4015" y="4659"/>
                      <a:pt x="4015" y="4659"/>
                      <a:pt x="4015" y="4659"/>
                    </a:cubicBezTo>
                    <a:cubicBezTo>
                      <a:pt x="3913" y="4515"/>
                      <a:pt x="3913" y="4515"/>
                      <a:pt x="3913" y="4515"/>
                    </a:cubicBezTo>
                    <a:lnTo>
                      <a:pt x="3909" y="4512"/>
                    </a:lnTo>
                    <a:close/>
                    <a:moveTo>
                      <a:pt x="3779" y="4423"/>
                    </a:moveTo>
                    <a:cubicBezTo>
                      <a:pt x="3743" y="4432"/>
                      <a:pt x="3647" y="4454"/>
                      <a:pt x="3603" y="4464"/>
                    </a:cubicBezTo>
                    <a:cubicBezTo>
                      <a:pt x="3775" y="4553"/>
                      <a:pt x="3775" y="4553"/>
                      <a:pt x="3775" y="4553"/>
                    </a:cubicBezTo>
                    <a:cubicBezTo>
                      <a:pt x="3779" y="4555"/>
                      <a:pt x="3779" y="4555"/>
                      <a:pt x="3779" y="4555"/>
                    </a:cubicBezTo>
                    <a:cubicBezTo>
                      <a:pt x="3901" y="4506"/>
                      <a:pt x="3901" y="4506"/>
                      <a:pt x="3901" y="4506"/>
                    </a:cubicBezTo>
                    <a:cubicBezTo>
                      <a:pt x="3784" y="4427"/>
                      <a:pt x="3784" y="4427"/>
                      <a:pt x="3784" y="4427"/>
                    </a:cubicBezTo>
                    <a:cubicBezTo>
                      <a:pt x="3779" y="4424"/>
                      <a:pt x="3779" y="4424"/>
                      <a:pt x="3779" y="4424"/>
                    </a:cubicBezTo>
                    <a:lnTo>
                      <a:pt x="3779" y="4423"/>
                    </a:lnTo>
                    <a:close/>
                    <a:moveTo>
                      <a:pt x="3753" y="4318"/>
                    </a:moveTo>
                    <a:cubicBezTo>
                      <a:pt x="3520" y="4275"/>
                      <a:pt x="3520" y="4275"/>
                      <a:pt x="3520" y="4275"/>
                    </a:cubicBezTo>
                    <a:cubicBezTo>
                      <a:pt x="3592" y="4458"/>
                      <a:pt x="3592" y="4458"/>
                      <a:pt x="3592" y="4458"/>
                    </a:cubicBezTo>
                    <a:cubicBezTo>
                      <a:pt x="3630" y="4449"/>
                      <a:pt x="3739" y="4424"/>
                      <a:pt x="3777" y="4415"/>
                    </a:cubicBezTo>
                    <a:lnTo>
                      <a:pt x="3753" y="4318"/>
                    </a:lnTo>
                    <a:close/>
                    <a:moveTo>
                      <a:pt x="3409" y="5067"/>
                    </a:moveTo>
                    <a:cubicBezTo>
                      <a:pt x="3537" y="5474"/>
                      <a:pt x="3537" y="5474"/>
                      <a:pt x="3537" y="5474"/>
                    </a:cubicBezTo>
                    <a:cubicBezTo>
                      <a:pt x="3517" y="5455"/>
                      <a:pt x="3517" y="5455"/>
                      <a:pt x="3517" y="5455"/>
                    </a:cubicBezTo>
                    <a:cubicBezTo>
                      <a:pt x="3431" y="5376"/>
                      <a:pt x="3431" y="5376"/>
                      <a:pt x="3431" y="5376"/>
                    </a:cubicBezTo>
                    <a:cubicBezTo>
                      <a:pt x="3408" y="5323"/>
                      <a:pt x="3408" y="5323"/>
                      <a:pt x="3408" y="5323"/>
                    </a:cubicBezTo>
                    <a:cubicBezTo>
                      <a:pt x="3397" y="5349"/>
                      <a:pt x="3397" y="5349"/>
                      <a:pt x="3397" y="5349"/>
                    </a:cubicBezTo>
                    <a:cubicBezTo>
                      <a:pt x="3289" y="5307"/>
                      <a:pt x="3289" y="5307"/>
                      <a:pt x="3289" y="5307"/>
                    </a:cubicBezTo>
                    <a:lnTo>
                      <a:pt x="3409" y="5067"/>
                    </a:lnTo>
                    <a:close/>
                    <a:moveTo>
                      <a:pt x="3507" y="5426"/>
                    </a:moveTo>
                    <a:cubicBezTo>
                      <a:pt x="3406" y="5106"/>
                      <a:pt x="3406" y="5106"/>
                      <a:pt x="3406" y="5106"/>
                    </a:cubicBezTo>
                    <a:cubicBezTo>
                      <a:pt x="3309" y="5299"/>
                      <a:pt x="3309" y="5299"/>
                      <a:pt x="3309" y="5299"/>
                    </a:cubicBezTo>
                    <a:cubicBezTo>
                      <a:pt x="3389" y="5330"/>
                      <a:pt x="3389" y="5330"/>
                      <a:pt x="3389" y="5330"/>
                    </a:cubicBezTo>
                    <a:cubicBezTo>
                      <a:pt x="3409" y="5287"/>
                      <a:pt x="3409" y="5287"/>
                      <a:pt x="3409" y="5287"/>
                    </a:cubicBezTo>
                    <a:cubicBezTo>
                      <a:pt x="3443" y="5367"/>
                      <a:pt x="3443" y="5367"/>
                      <a:pt x="3443" y="5367"/>
                    </a:cubicBezTo>
                    <a:lnTo>
                      <a:pt x="3507" y="5426"/>
                    </a:lnTo>
                    <a:close/>
                    <a:moveTo>
                      <a:pt x="5766" y="4512"/>
                    </a:moveTo>
                    <a:cubicBezTo>
                      <a:pt x="5836" y="4516"/>
                      <a:pt x="5836" y="4516"/>
                      <a:pt x="5836" y="4516"/>
                    </a:cubicBezTo>
                    <a:cubicBezTo>
                      <a:pt x="5826" y="4668"/>
                      <a:pt x="5826" y="4668"/>
                      <a:pt x="5826" y="4668"/>
                    </a:cubicBezTo>
                    <a:cubicBezTo>
                      <a:pt x="5755" y="4663"/>
                      <a:pt x="5755" y="4663"/>
                      <a:pt x="5755" y="4663"/>
                    </a:cubicBezTo>
                    <a:cubicBezTo>
                      <a:pt x="5756" y="4656"/>
                      <a:pt x="5756" y="4656"/>
                      <a:pt x="5756" y="4656"/>
                    </a:cubicBezTo>
                    <a:lnTo>
                      <a:pt x="5766" y="4512"/>
                    </a:lnTo>
                    <a:close/>
                    <a:moveTo>
                      <a:pt x="5769" y="4651"/>
                    </a:moveTo>
                    <a:cubicBezTo>
                      <a:pt x="5813" y="4654"/>
                      <a:pt x="5813" y="4654"/>
                      <a:pt x="5813" y="4654"/>
                    </a:cubicBezTo>
                    <a:cubicBezTo>
                      <a:pt x="5822" y="4529"/>
                      <a:pt x="5822" y="4529"/>
                      <a:pt x="5822" y="4529"/>
                    </a:cubicBezTo>
                    <a:cubicBezTo>
                      <a:pt x="5778" y="4526"/>
                      <a:pt x="5778" y="4526"/>
                      <a:pt x="5778" y="4526"/>
                    </a:cubicBezTo>
                    <a:lnTo>
                      <a:pt x="5769" y="4651"/>
                    </a:lnTo>
                    <a:close/>
                    <a:moveTo>
                      <a:pt x="5615" y="4749"/>
                    </a:moveTo>
                    <a:cubicBezTo>
                      <a:pt x="5798" y="4778"/>
                      <a:pt x="5798" y="4778"/>
                      <a:pt x="5798" y="4778"/>
                    </a:cubicBezTo>
                    <a:cubicBezTo>
                      <a:pt x="5780" y="4887"/>
                      <a:pt x="5780" y="4887"/>
                      <a:pt x="5780" y="4887"/>
                    </a:cubicBezTo>
                    <a:cubicBezTo>
                      <a:pt x="5708" y="4875"/>
                      <a:pt x="5708" y="4875"/>
                      <a:pt x="5708" y="4875"/>
                    </a:cubicBezTo>
                    <a:cubicBezTo>
                      <a:pt x="5699" y="4932"/>
                      <a:pt x="5699" y="4932"/>
                      <a:pt x="5699" y="4932"/>
                    </a:cubicBezTo>
                    <a:cubicBezTo>
                      <a:pt x="5693" y="4931"/>
                      <a:pt x="5693" y="4931"/>
                      <a:pt x="5693" y="4931"/>
                    </a:cubicBezTo>
                    <a:cubicBezTo>
                      <a:pt x="5577" y="4915"/>
                      <a:pt x="5577" y="4915"/>
                      <a:pt x="5577" y="4915"/>
                    </a:cubicBezTo>
                    <a:cubicBezTo>
                      <a:pt x="5596" y="4799"/>
                      <a:pt x="5596" y="4799"/>
                      <a:pt x="5596" y="4799"/>
                    </a:cubicBezTo>
                    <a:cubicBezTo>
                      <a:pt x="5607" y="4800"/>
                      <a:pt x="5607" y="4800"/>
                      <a:pt x="5607" y="4800"/>
                    </a:cubicBezTo>
                    <a:lnTo>
                      <a:pt x="5615" y="4749"/>
                    </a:lnTo>
                    <a:close/>
                    <a:moveTo>
                      <a:pt x="5617" y="4815"/>
                    </a:moveTo>
                    <a:cubicBezTo>
                      <a:pt x="5607" y="4814"/>
                      <a:pt x="5607" y="4814"/>
                      <a:pt x="5607" y="4814"/>
                    </a:cubicBezTo>
                    <a:cubicBezTo>
                      <a:pt x="5593" y="4904"/>
                      <a:pt x="5593" y="4904"/>
                      <a:pt x="5593" y="4904"/>
                    </a:cubicBezTo>
                    <a:cubicBezTo>
                      <a:pt x="5688" y="4917"/>
                      <a:pt x="5688" y="4917"/>
                      <a:pt x="5688" y="4917"/>
                    </a:cubicBezTo>
                    <a:cubicBezTo>
                      <a:pt x="5697" y="4860"/>
                      <a:pt x="5697" y="4860"/>
                      <a:pt x="5697" y="4860"/>
                    </a:cubicBezTo>
                    <a:cubicBezTo>
                      <a:pt x="5770" y="4872"/>
                      <a:pt x="5770" y="4872"/>
                      <a:pt x="5770" y="4872"/>
                    </a:cubicBezTo>
                    <a:cubicBezTo>
                      <a:pt x="5783" y="4789"/>
                      <a:pt x="5783" y="4789"/>
                      <a:pt x="5783" y="4789"/>
                    </a:cubicBezTo>
                    <a:cubicBezTo>
                      <a:pt x="5626" y="4764"/>
                      <a:pt x="5626" y="4764"/>
                      <a:pt x="5626" y="4764"/>
                    </a:cubicBezTo>
                    <a:lnTo>
                      <a:pt x="5617" y="4815"/>
                    </a:lnTo>
                    <a:close/>
                    <a:moveTo>
                      <a:pt x="5434" y="5613"/>
                    </a:moveTo>
                    <a:cubicBezTo>
                      <a:pt x="5580" y="5639"/>
                      <a:pt x="5580" y="5639"/>
                      <a:pt x="5580" y="5639"/>
                    </a:cubicBezTo>
                    <a:cubicBezTo>
                      <a:pt x="5561" y="5742"/>
                      <a:pt x="5561" y="5742"/>
                      <a:pt x="5561" y="5742"/>
                    </a:cubicBezTo>
                    <a:cubicBezTo>
                      <a:pt x="5415" y="5716"/>
                      <a:pt x="5415" y="5716"/>
                      <a:pt x="5415" y="5716"/>
                    </a:cubicBezTo>
                    <a:cubicBezTo>
                      <a:pt x="5417" y="5709"/>
                      <a:pt x="5417" y="5709"/>
                      <a:pt x="5417" y="5709"/>
                    </a:cubicBezTo>
                    <a:lnTo>
                      <a:pt x="5434" y="5613"/>
                    </a:lnTo>
                    <a:close/>
                    <a:moveTo>
                      <a:pt x="5445" y="5628"/>
                    </a:moveTo>
                    <a:cubicBezTo>
                      <a:pt x="5431" y="5705"/>
                      <a:pt x="5431" y="5705"/>
                      <a:pt x="5431" y="5705"/>
                    </a:cubicBezTo>
                    <a:cubicBezTo>
                      <a:pt x="5551" y="5727"/>
                      <a:pt x="5551" y="5727"/>
                      <a:pt x="5551" y="5727"/>
                    </a:cubicBezTo>
                    <a:cubicBezTo>
                      <a:pt x="5565" y="5650"/>
                      <a:pt x="5565" y="5650"/>
                      <a:pt x="5565" y="5650"/>
                    </a:cubicBezTo>
                    <a:lnTo>
                      <a:pt x="5445" y="5628"/>
                    </a:lnTo>
                    <a:close/>
                    <a:moveTo>
                      <a:pt x="5367" y="3808"/>
                    </a:moveTo>
                    <a:cubicBezTo>
                      <a:pt x="5384" y="3892"/>
                      <a:pt x="5384" y="3892"/>
                      <a:pt x="5384" y="3892"/>
                    </a:cubicBezTo>
                    <a:cubicBezTo>
                      <a:pt x="5177" y="3934"/>
                      <a:pt x="5177" y="3934"/>
                      <a:pt x="5177" y="3934"/>
                    </a:cubicBezTo>
                    <a:cubicBezTo>
                      <a:pt x="5176" y="3927"/>
                      <a:pt x="5176" y="3927"/>
                      <a:pt x="5176" y="3927"/>
                    </a:cubicBezTo>
                    <a:cubicBezTo>
                      <a:pt x="5161" y="3849"/>
                      <a:pt x="5161" y="3849"/>
                      <a:pt x="5161" y="3849"/>
                    </a:cubicBezTo>
                    <a:cubicBezTo>
                      <a:pt x="5207" y="3840"/>
                      <a:pt x="5207" y="3840"/>
                      <a:pt x="5207" y="3840"/>
                    </a:cubicBezTo>
                    <a:cubicBezTo>
                      <a:pt x="5198" y="3798"/>
                      <a:pt x="5198" y="3798"/>
                      <a:pt x="5198" y="3798"/>
                    </a:cubicBezTo>
                    <a:cubicBezTo>
                      <a:pt x="5313" y="3775"/>
                      <a:pt x="5313" y="3775"/>
                      <a:pt x="5313" y="3775"/>
                    </a:cubicBezTo>
                    <a:cubicBezTo>
                      <a:pt x="5321" y="3817"/>
                      <a:pt x="5321" y="3817"/>
                      <a:pt x="5321" y="3817"/>
                    </a:cubicBezTo>
                    <a:lnTo>
                      <a:pt x="5367" y="3808"/>
                    </a:lnTo>
                    <a:close/>
                    <a:moveTo>
                      <a:pt x="5369" y="3882"/>
                    </a:moveTo>
                    <a:cubicBezTo>
                      <a:pt x="5357" y="3823"/>
                      <a:pt x="5357" y="3823"/>
                      <a:pt x="5357" y="3823"/>
                    </a:cubicBezTo>
                    <a:cubicBezTo>
                      <a:pt x="5311" y="3832"/>
                      <a:pt x="5311" y="3832"/>
                      <a:pt x="5311" y="3832"/>
                    </a:cubicBezTo>
                    <a:cubicBezTo>
                      <a:pt x="5302" y="3790"/>
                      <a:pt x="5302" y="3790"/>
                      <a:pt x="5302" y="3790"/>
                    </a:cubicBezTo>
                    <a:cubicBezTo>
                      <a:pt x="5214" y="3808"/>
                      <a:pt x="5214" y="3808"/>
                      <a:pt x="5214" y="3808"/>
                    </a:cubicBezTo>
                    <a:cubicBezTo>
                      <a:pt x="5222" y="3850"/>
                      <a:pt x="5222" y="3850"/>
                      <a:pt x="5222" y="3850"/>
                    </a:cubicBezTo>
                    <a:cubicBezTo>
                      <a:pt x="5176" y="3859"/>
                      <a:pt x="5176" y="3859"/>
                      <a:pt x="5176" y="3859"/>
                    </a:cubicBezTo>
                    <a:cubicBezTo>
                      <a:pt x="5188" y="3918"/>
                      <a:pt x="5188" y="3918"/>
                      <a:pt x="5188" y="3918"/>
                    </a:cubicBezTo>
                    <a:lnTo>
                      <a:pt x="5369" y="3882"/>
                    </a:lnTo>
                    <a:close/>
                    <a:moveTo>
                      <a:pt x="4955" y="6019"/>
                    </a:moveTo>
                    <a:cubicBezTo>
                      <a:pt x="4958" y="6041"/>
                      <a:pt x="4959" y="6064"/>
                      <a:pt x="4959" y="6088"/>
                    </a:cubicBezTo>
                    <a:cubicBezTo>
                      <a:pt x="4959" y="6185"/>
                      <a:pt x="4937" y="6282"/>
                      <a:pt x="4937" y="6282"/>
                    </a:cubicBezTo>
                    <a:cubicBezTo>
                      <a:pt x="4936" y="6287"/>
                      <a:pt x="4936" y="6287"/>
                      <a:pt x="4936" y="6287"/>
                    </a:cubicBezTo>
                    <a:cubicBezTo>
                      <a:pt x="4777" y="6311"/>
                      <a:pt x="4777" y="6311"/>
                      <a:pt x="4777" y="6311"/>
                    </a:cubicBezTo>
                    <a:cubicBezTo>
                      <a:pt x="4634" y="6179"/>
                      <a:pt x="4634" y="6179"/>
                      <a:pt x="4634" y="6179"/>
                    </a:cubicBezTo>
                    <a:cubicBezTo>
                      <a:pt x="4675" y="6065"/>
                      <a:pt x="4675" y="6065"/>
                      <a:pt x="4675" y="6065"/>
                    </a:cubicBezTo>
                    <a:cubicBezTo>
                      <a:pt x="4779" y="6067"/>
                      <a:pt x="4779" y="6067"/>
                      <a:pt x="4779" y="6067"/>
                    </a:cubicBezTo>
                    <a:cubicBezTo>
                      <a:pt x="4782" y="6058"/>
                      <a:pt x="4787" y="6038"/>
                      <a:pt x="4787" y="6016"/>
                    </a:cubicBezTo>
                    <a:cubicBezTo>
                      <a:pt x="4787" y="6011"/>
                      <a:pt x="4786" y="6006"/>
                      <a:pt x="4786" y="6001"/>
                    </a:cubicBezTo>
                    <a:cubicBezTo>
                      <a:pt x="4782" y="5965"/>
                      <a:pt x="4741" y="5879"/>
                      <a:pt x="4741" y="5879"/>
                    </a:cubicBezTo>
                    <a:cubicBezTo>
                      <a:pt x="4738" y="5873"/>
                      <a:pt x="4738" y="5873"/>
                      <a:pt x="4738" y="5873"/>
                    </a:cubicBezTo>
                    <a:cubicBezTo>
                      <a:pt x="4860" y="5769"/>
                      <a:pt x="4860" y="5769"/>
                      <a:pt x="4860" y="5769"/>
                    </a:cubicBezTo>
                    <a:cubicBezTo>
                      <a:pt x="4865" y="5777"/>
                      <a:pt x="4865" y="5777"/>
                      <a:pt x="4865" y="5777"/>
                    </a:cubicBezTo>
                    <a:cubicBezTo>
                      <a:pt x="4865" y="5778"/>
                      <a:pt x="4939" y="5904"/>
                      <a:pt x="4955" y="6019"/>
                    </a:cubicBezTo>
                    <a:close/>
                    <a:moveTo>
                      <a:pt x="4944" y="6088"/>
                    </a:moveTo>
                    <a:cubicBezTo>
                      <a:pt x="4944" y="6065"/>
                      <a:pt x="4943" y="6042"/>
                      <a:pt x="4940" y="6021"/>
                    </a:cubicBezTo>
                    <a:cubicBezTo>
                      <a:pt x="4927" y="5926"/>
                      <a:pt x="4872" y="5821"/>
                      <a:pt x="4856" y="5792"/>
                    </a:cubicBezTo>
                    <a:cubicBezTo>
                      <a:pt x="4756" y="5877"/>
                      <a:pt x="4756" y="5877"/>
                      <a:pt x="4756" y="5877"/>
                    </a:cubicBezTo>
                    <a:cubicBezTo>
                      <a:pt x="4765" y="5896"/>
                      <a:pt x="4796" y="5964"/>
                      <a:pt x="4800" y="5999"/>
                    </a:cubicBezTo>
                    <a:cubicBezTo>
                      <a:pt x="4801" y="6005"/>
                      <a:pt x="4801" y="6010"/>
                      <a:pt x="4801" y="6016"/>
                    </a:cubicBezTo>
                    <a:cubicBezTo>
                      <a:pt x="4801" y="6049"/>
                      <a:pt x="4791" y="6076"/>
                      <a:pt x="4791" y="6077"/>
                    </a:cubicBezTo>
                    <a:cubicBezTo>
                      <a:pt x="4790" y="6082"/>
                      <a:pt x="4790" y="6082"/>
                      <a:pt x="4790" y="6082"/>
                    </a:cubicBezTo>
                    <a:cubicBezTo>
                      <a:pt x="4686" y="6080"/>
                      <a:pt x="4686" y="6080"/>
                      <a:pt x="4686" y="6080"/>
                    </a:cubicBezTo>
                    <a:cubicBezTo>
                      <a:pt x="4652" y="6175"/>
                      <a:pt x="4652" y="6175"/>
                      <a:pt x="4652" y="6175"/>
                    </a:cubicBezTo>
                    <a:cubicBezTo>
                      <a:pt x="4782" y="6295"/>
                      <a:pt x="4782" y="6295"/>
                      <a:pt x="4782" y="6295"/>
                    </a:cubicBezTo>
                    <a:cubicBezTo>
                      <a:pt x="4924" y="6274"/>
                      <a:pt x="4924" y="6274"/>
                      <a:pt x="4924" y="6274"/>
                    </a:cubicBezTo>
                    <a:cubicBezTo>
                      <a:pt x="4928" y="6253"/>
                      <a:pt x="4945" y="6170"/>
                      <a:pt x="4944" y="6088"/>
                    </a:cubicBezTo>
                    <a:close/>
                    <a:moveTo>
                      <a:pt x="2893" y="4987"/>
                    </a:moveTo>
                    <a:cubicBezTo>
                      <a:pt x="2947" y="4839"/>
                      <a:pt x="2947" y="4839"/>
                      <a:pt x="2947" y="4839"/>
                    </a:cubicBezTo>
                    <a:cubicBezTo>
                      <a:pt x="3141" y="4899"/>
                      <a:pt x="3141" y="4899"/>
                      <a:pt x="3141" y="4899"/>
                    </a:cubicBezTo>
                    <a:cubicBezTo>
                      <a:pt x="3085" y="5032"/>
                      <a:pt x="3085" y="5032"/>
                      <a:pt x="3085" y="5032"/>
                    </a:cubicBezTo>
                    <a:cubicBezTo>
                      <a:pt x="3017" y="5009"/>
                      <a:pt x="3017" y="5009"/>
                      <a:pt x="3017" y="5009"/>
                    </a:cubicBezTo>
                    <a:cubicBezTo>
                      <a:pt x="3001" y="5051"/>
                      <a:pt x="3001" y="5051"/>
                      <a:pt x="3001" y="5051"/>
                    </a:cubicBezTo>
                    <a:cubicBezTo>
                      <a:pt x="2998" y="5115"/>
                      <a:pt x="2998" y="5115"/>
                      <a:pt x="2998" y="5115"/>
                    </a:cubicBezTo>
                    <a:cubicBezTo>
                      <a:pt x="3059" y="5118"/>
                      <a:pt x="3059" y="5118"/>
                      <a:pt x="3059" y="5118"/>
                    </a:cubicBezTo>
                    <a:cubicBezTo>
                      <a:pt x="3019" y="5207"/>
                      <a:pt x="3019" y="5207"/>
                      <a:pt x="3019" y="5207"/>
                    </a:cubicBezTo>
                    <a:cubicBezTo>
                      <a:pt x="2907" y="5179"/>
                      <a:pt x="2907" y="5179"/>
                      <a:pt x="2907" y="5179"/>
                    </a:cubicBezTo>
                    <a:lnTo>
                      <a:pt x="2893" y="4987"/>
                    </a:lnTo>
                    <a:close/>
                    <a:moveTo>
                      <a:pt x="2908" y="4990"/>
                    </a:moveTo>
                    <a:cubicBezTo>
                      <a:pt x="2921" y="5167"/>
                      <a:pt x="2921" y="5167"/>
                      <a:pt x="2921" y="5167"/>
                    </a:cubicBezTo>
                    <a:cubicBezTo>
                      <a:pt x="3011" y="5189"/>
                      <a:pt x="3011" y="5189"/>
                      <a:pt x="3011" y="5189"/>
                    </a:cubicBezTo>
                    <a:cubicBezTo>
                      <a:pt x="3037" y="5132"/>
                      <a:pt x="3037" y="5132"/>
                      <a:pt x="3037" y="5132"/>
                    </a:cubicBezTo>
                    <a:cubicBezTo>
                      <a:pt x="2983" y="5129"/>
                      <a:pt x="2983" y="5129"/>
                      <a:pt x="2983" y="5129"/>
                    </a:cubicBezTo>
                    <a:cubicBezTo>
                      <a:pt x="2986" y="5048"/>
                      <a:pt x="2986" y="5048"/>
                      <a:pt x="2986" y="5048"/>
                    </a:cubicBezTo>
                    <a:cubicBezTo>
                      <a:pt x="3009" y="4990"/>
                      <a:pt x="3009" y="4990"/>
                      <a:pt x="3009" y="4990"/>
                    </a:cubicBezTo>
                    <a:cubicBezTo>
                      <a:pt x="3015" y="4992"/>
                      <a:pt x="3015" y="4992"/>
                      <a:pt x="3015" y="4992"/>
                    </a:cubicBezTo>
                    <a:cubicBezTo>
                      <a:pt x="3077" y="5014"/>
                      <a:pt x="3077" y="5014"/>
                      <a:pt x="3077" y="5014"/>
                    </a:cubicBezTo>
                    <a:cubicBezTo>
                      <a:pt x="3121" y="4908"/>
                      <a:pt x="3121" y="4908"/>
                      <a:pt x="3121" y="4908"/>
                    </a:cubicBezTo>
                    <a:cubicBezTo>
                      <a:pt x="2956" y="4857"/>
                      <a:pt x="2956" y="4857"/>
                      <a:pt x="2956" y="4857"/>
                    </a:cubicBezTo>
                    <a:lnTo>
                      <a:pt x="2908" y="4990"/>
                    </a:lnTo>
                    <a:close/>
                    <a:moveTo>
                      <a:pt x="1107" y="4949"/>
                    </a:moveTo>
                    <a:cubicBezTo>
                      <a:pt x="1093" y="4931"/>
                      <a:pt x="1093" y="4931"/>
                      <a:pt x="1093" y="4931"/>
                    </a:cubicBezTo>
                    <a:cubicBezTo>
                      <a:pt x="1115" y="4926"/>
                      <a:pt x="1115" y="4926"/>
                      <a:pt x="1115" y="4926"/>
                    </a:cubicBezTo>
                    <a:cubicBezTo>
                      <a:pt x="1268" y="4896"/>
                      <a:pt x="1268" y="4896"/>
                      <a:pt x="1268" y="4896"/>
                    </a:cubicBezTo>
                    <a:cubicBezTo>
                      <a:pt x="1314" y="4887"/>
                      <a:pt x="1314" y="4887"/>
                      <a:pt x="1314" y="4887"/>
                    </a:cubicBezTo>
                    <a:cubicBezTo>
                      <a:pt x="1281" y="4920"/>
                      <a:pt x="1281" y="4920"/>
                      <a:pt x="1281" y="4920"/>
                    </a:cubicBezTo>
                    <a:cubicBezTo>
                      <a:pt x="1181" y="5018"/>
                      <a:pt x="1181" y="5018"/>
                      <a:pt x="1181" y="5018"/>
                    </a:cubicBezTo>
                    <a:cubicBezTo>
                      <a:pt x="1170" y="5029"/>
                      <a:pt x="1170" y="5029"/>
                      <a:pt x="1170" y="5029"/>
                    </a:cubicBezTo>
                    <a:cubicBezTo>
                      <a:pt x="1160" y="5017"/>
                      <a:pt x="1160" y="5017"/>
                      <a:pt x="1160" y="5017"/>
                    </a:cubicBezTo>
                    <a:lnTo>
                      <a:pt x="1107" y="4949"/>
                    </a:lnTo>
                    <a:close/>
                    <a:moveTo>
                      <a:pt x="1118" y="4940"/>
                    </a:moveTo>
                    <a:cubicBezTo>
                      <a:pt x="1171" y="5008"/>
                      <a:pt x="1171" y="5008"/>
                      <a:pt x="1171" y="5008"/>
                    </a:cubicBezTo>
                    <a:cubicBezTo>
                      <a:pt x="1271" y="4910"/>
                      <a:pt x="1271" y="4910"/>
                      <a:pt x="1271" y="4910"/>
                    </a:cubicBezTo>
                    <a:lnTo>
                      <a:pt x="1118" y="4940"/>
                    </a:lnTo>
                    <a:close/>
                    <a:moveTo>
                      <a:pt x="5584" y="4970"/>
                    </a:moveTo>
                    <a:cubicBezTo>
                      <a:pt x="5767" y="5000"/>
                      <a:pt x="5767" y="5000"/>
                      <a:pt x="5767" y="5000"/>
                    </a:cubicBezTo>
                    <a:cubicBezTo>
                      <a:pt x="5750" y="5108"/>
                      <a:pt x="5750" y="5108"/>
                      <a:pt x="5750" y="5108"/>
                    </a:cubicBezTo>
                    <a:cubicBezTo>
                      <a:pt x="5678" y="5096"/>
                      <a:pt x="5678" y="5096"/>
                      <a:pt x="5678" y="5096"/>
                    </a:cubicBezTo>
                    <a:cubicBezTo>
                      <a:pt x="5668" y="5153"/>
                      <a:pt x="5668" y="5153"/>
                      <a:pt x="5668" y="5153"/>
                    </a:cubicBezTo>
                    <a:cubicBezTo>
                      <a:pt x="5662" y="5152"/>
                      <a:pt x="5662" y="5152"/>
                      <a:pt x="5662" y="5152"/>
                    </a:cubicBezTo>
                    <a:cubicBezTo>
                      <a:pt x="5547" y="5136"/>
                      <a:pt x="5547" y="5136"/>
                      <a:pt x="5547" y="5136"/>
                    </a:cubicBezTo>
                    <a:cubicBezTo>
                      <a:pt x="5566" y="5020"/>
                      <a:pt x="5566" y="5020"/>
                      <a:pt x="5566" y="5020"/>
                    </a:cubicBezTo>
                    <a:cubicBezTo>
                      <a:pt x="5576" y="5022"/>
                      <a:pt x="5576" y="5022"/>
                      <a:pt x="5576" y="5022"/>
                    </a:cubicBezTo>
                    <a:lnTo>
                      <a:pt x="5584" y="4970"/>
                    </a:lnTo>
                    <a:close/>
                    <a:moveTo>
                      <a:pt x="5587" y="5037"/>
                    </a:moveTo>
                    <a:cubicBezTo>
                      <a:pt x="5576" y="5035"/>
                      <a:pt x="5576" y="5035"/>
                      <a:pt x="5576" y="5035"/>
                    </a:cubicBezTo>
                    <a:cubicBezTo>
                      <a:pt x="5562" y="5125"/>
                      <a:pt x="5562" y="5125"/>
                      <a:pt x="5562" y="5125"/>
                    </a:cubicBezTo>
                    <a:cubicBezTo>
                      <a:pt x="5657" y="5138"/>
                      <a:pt x="5657" y="5138"/>
                      <a:pt x="5657" y="5138"/>
                    </a:cubicBezTo>
                    <a:cubicBezTo>
                      <a:pt x="5667" y="5081"/>
                      <a:pt x="5667" y="5081"/>
                      <a:pt x="5667" y="5081"/>
                    </a:cubicBezTo>
                    <a:cubicBezTo>
                      <a:pt x="5739" y="5093"/>
                      <a:pt x="5739" y="5093"/>
                      <a:pt x="5739" y="5093"/>
                    </a:cubicBezTo>
                    <a:cubicBezTo>
                      <a:pt x="5752" y="5011"/>
                      <a:pt x="5752" y="5011"/>
                      <a:pt x="5752" y="5011"/>
                    </a:cubicBezTo>
                    <a:cubicBezTo>
                      <a:pt x="5595" y="4985"/>
                      <a:pt x="5595" y="4985"/>
                      <a:pt x="5595" y="4985"/>
                    </a:cubicBezTo>
                    <a:lnTo>
                      <a:pt x="5587" y="5037"/>
                    </a:lnTo>
                    <a:close/>
                    <a:moveTo>
                      <a:pt x="4530" y="8254"/>
                    </a:moveTo>
                    <a:cubicBezTo>
                      <a:pt x="4590" y="8339"/>
                      <a:pt x="4590" y="8339"/>
                      <a:pt x="4590" y="8339"/>
                    </a:cubicBezTo>
                    <a:cubicBezTo>
                      <a:pt x="4469" y="8424"/>
                      <a:pt x="4469" y="8424"/>
                      <a:pt x="4469" y="8424"/>
                    </a:cubicBezTo>
                    <a:cubicBezTo>
                      <a:pt x="4465" y="8419"/>
                      <a:pt x="4465" y="8419"/>
                      <a:pt x="4465" y="8419"/>
                    </a:cubicBezTo>
                    <a:cubicBezTo>
                      <a:pt x="4409" y="8338"/>
                      <a:pt x="4409" y="8338"/>
                      <a:pt x="4409" y="8338"/>
                    </a:cubicBezTo>
                    <a:lnTo>
                      <a:pt x="4530" y="8254"/>
                    </a:lnTo>
                    <a:close/>
                    <a:moveTo>
                      <a:pt x="4572" y="8336"/>
                    </a:moveTo>
                    <a:cubicBezTo>
                      <a:pt x="4527" y="8272"/>
                      <a:pt x="4527" y="8272"/>
                      <a:pt x="4527" y="8272"/>
                    </a:cubicBezTo>
                    <a:cubicBezTo>
                      <a:pt x="4427" y="8342"/>
                      <a:pt x="4427" y="8342"/>
                      <a:pt x="4427" y="8342"/>
                    </a:cubicBezTo>
                    <a:cubicBezTo>
                      <a:pt x="4472" y="8406"/>
                      <a:pt x="4472" y="8406"/>
                      <a:pt x="4472" y="8406"/>
                    </a:cubicBezTo>
                    <a:lnTo>
                      <a:pt x="4572" y="8336"/>
                    </a:lnTo>
                    <a:close/>
                    <a:moveTo>
                      <a:pt x="4303" y="9306"/>
                    </a:moveTo>
                    <a:cubicBezTo>
                      <a:pt x="4350" y="9306"/>
                      <a:pt x="4350" y="9306"/>
                      <a:pt x="4350" y="9306"/>
                    </a:cubicBezTo>
                    <a:cubicBezTo>
                      <a:pt x="4350" y="9462"/>
                      <a:pt x="4350" y="9462"/>
                      <a:pt x="4350" y="9462"/>
                    </a:cubicBezTo>
                    <a:cubicBezTo>
                      <a:pt x="4272" y="9462"/>
                      <a:pt x="4272" y="9462"/>
                      <a:pt x="4272" y="9462"/>
                    </a:cubicBezTo>
                    <a:cubicBezTo>
                      <a:pt x="4272" y="9499"/>
                      <a:pt x="4272" y="9499"/>
                      <a:pt x="4272" y="9499"/>
                    </a:cubicBezTo>
                    <a:cubicBezTo>
                      <a:pt x="4175" y="9499"/>
                      <a:pt x="4175" y="9499"/>
                      <a:pt x="4175" y="9499"/>
                    </a:cubicBezTo>
                    <a:cubicBezTo>
                      <a:pt x="4175" y="9459"/>
                      <a:pt x="4175" y="9459"/>
                      <a:pt x="4175" y="9459"/>
                    </a:cubicBezTo>
                    <a:cubicBezTo>
                      <a:pt x="4165" y="9457"/>
                      <a:pt x="4165" y="9457"/>
                      <a:pt x="4165" y="9457"/>
                    </a:cubicBezTo>
                    <a:cubicBezTo>
                      <a:pt x="4160" y="9456"/>
                      <a:pt x="4160" y="9456"/>
                      <a:pt x="4160" y="9456"/>
                    </a:cubicBezTo>
                    <a:cubicBezTo>
                      <a:pt x="4160" y="9416"/>
                      <a:pt x="4160" y="9416"/>
                      <a:pt x="4160" y="9416"/>
                    </a:cubicBezTo>
                    <a:cubicBezTo>
                      <a:pt x="4145" y="9416"/>
                      <a:pt x="4145" y="9416"/>
                      <a:pt x="4145" y="9416"/>
                    </a:cubicBezTo>
                    <a:cubicBezTo>
                      <a:pt x="4139" y="9416"/>
                      <a:pt x="4139" y="9416"/>
                      <a:pt x="4139" y="9416"/>
                    </a:cubicBezTo>
                    <a:cubicBezTo>
                      <a:pt x="4139" y="9340"/>
                      <a:pt x="4139" y="9340"/>
                      <a:pt x="4139" y="9340"/>
                    </a:cubicBezTo>
                    <a:cubicBezTo>
                      <a:pt x="4165" y="9340"/>
                      <a:pt x="4165" y="9340"/>
                      <a:pt x="4165" y="9340"/>
                    </a:cubicBezTo>
                    <a:cubicBezTo>
                      <a:pt x="4165" y="9306"/>
                      <a:pt x="4165" y="9306"/>
                      <a:pt x="4165" y="9306"/>
                    </a:cubicBezTo>
                    <a:cubicBezTo>
                      <a:pt x="4228" y="9306"/>
                      <a:pt x="4228" y="9306"/>
                      <a:pt x="4228" y="9306"/>
                    </a:cubicBezTo>
                    <a:cubicBezTo>
                      <a:pt x="4228" y="9277"/>
                      <a:pt x="4228" y="9277"/>
                      <a:pt x="4228" y="9277"/>
                    </a:cubicBezTo>
                    <a:cubicBezTo>
                      <a:pt x="4303" y="9277"/>
                      <a:pt x="4303" y="9277"/>
                      <a:pt x="4303" y="9277"/>
                    </a:cubicBezTo>
                    <a:lnTo>
                      <a:pt x="4303" y="9306"/>
                    </a:lnTo>
                    <a:close/>
                    <a:moveTo>
                      <a:pt x="4290" y="9319"/>
                    </a:moveTo>
                    <a:cubicBezTo>
                      <a:pt x="4290" y="9290"/>
                      <a:pt x="4290" y="9290"/>
                      <a:pt x="4290" y="9290"/>
                    </a:cubicBezTo>
                    <a:cubicBezTo>
                      <a:pt x="4241" y="9290"/>
                      <a:pt x="4241" y="9290"/>
                      <a:pt x="4241" y="9290"/>
                    </a:cubicBezTo>
                    <a:cubicBezTo>
                      <a:pt x="4241" y="9319"/>
                      <a:pt x="4241" y="9319"/>
                      <a:pt x="4241" y="9319"/>
                    </a:cubicBezTo>
                    <a:cubicBezTo>
                      <a:pt x="4178" y="9319"/>
                      <a:pt x="4178" y="9319"/>
                      <a:pt x="4178" y="9319"/>
                    </a:cubicBezTo>
                    <a:cubicBezTo>
                      <a:pt x="4178" y="9353"/>
                      <a:pt x="4178" y="9353"/>
                      <a:pt x="4178" y="9353"/>
                    </a:cubicBezTo>
                    <a:cubicBezTo>
                      <a:pt x="4152" y="9353"/>
                      <a:pt x="4152" y="9353"/>
                      <a:pt x="4152" y="9353"/>
                    </a:cubicBezTo>
                    <a:cubicBezTo>
                      <a:pt x="4152" y="9402"/>
                      <a:pt x="4152" y="9402"/>
                      <a:pt x="4152" y="9402"/>
                    </a:cubicBezTo>
                    <a:cubicBezTo>
                      <a:pt x="4166" y="9402"/>
                      <a:pt x="4166" y="9402"/>
                      <a:pt x="4166" y="9402"/>
                    </a:cubicBezTo>
                    <a:cubicBezTo>
                      <a:pt x="4173" y="9402"/>
                      <a:pt x="4173" y="9402"/>
                      <a:pt x="4173" y="9402"/>
                    </a:cubicBezTo>
                    <a:cubicBezTo>
                      <a:pt x="4173" y="9445"/>
                      <a:pt x="4173" y="9445"/>
                      <a:pt x="4173" y="9445"/>
                    </a:cubicBezTo>
                    <a:cubicBezTo>
                      <a:pt x="4183" y="9447"/>
                      <a:pt x="4183" y="9447"/>
                      <a:pt x="4183" y="9447"/>
                    </a:cubicBezTo>
                    <a:cubicBezTo>
                      <a:pt x="4188" y="9448"/>
                      <a:pt x="4188" y="9448"/>
                      <a:pt x="4188" y="9448"/>
                    </a:cubicBezTo>
                    <a:cubicBezTo>
                      <a:pt x="4188" y="9453"/>
                      <a:pt x="4188" y="9453"/>
                      <a:pt x="4188" y="9453"/>
                    </a:cubicBezTo>
                    <a:cubicBezTo>
                      <a:pt x="4188" y="9486"/>
                      <a:pt x="4188" y="9486"/>
                      <a:pt x="4188" y="9486"/>
                    </a:cubicBezTo>
                    <a:cubicBezTo>
                      <a:pt x="4259" y="9486"/>
                      <a:pt x="4259" y="9486"/>
                      <a:pt x="4259" y="9486"/>
                    </a:cubicBezTo>
                    <a:cubicBezTo>
                      <a:pt x="4259" y="9449"/>
                      <a:pt x="4259" y="9449"/>
                      <a:pt x="4259" y="9449"/>
                    </a:cubicBezTo>
                    <a:cubicBezTo>
                      <a:pt x="4337" y="9449"/>
                      <a:pt x="4337" y="9449"/>
                      <a:pt x="4337" y="9449"/>
                    </a:cubicBezTo>
                    <a:cubicBezTo>
                      <a:pt x="4337" y="9319"/>
                      <a:pt x="4337" y="9319"/>
                      <a:pt x="4337" y="9319"/>
                    </a:cubicBezTo>
                    <a:lnTo>
                      <a:pt x="4290" y="9319"/>
                    </a:lnTo>
                    <a:close/>
                    <a:moveTo>
                      <a:pt x="3979" y="9309"/>
                    </a:moveTo>
                    <a:cubicBezTo>
                      <a:pt x="3858" y="9394"/>
                      <a:pt x="3858" y="9394"/>
                      <a:pt x="3858" y="9394"/>
                    </a:cubicBezTo>
                    <a:cubicBezTo>
                      <a:pt x="3855" y="9389"/>
                      <a:pt x="3855" y="9389"/>
                      <a:pt x="3855" y="9389"/>
                    </a:cubicBezTo>
                    <a:cubicBezTo>
                      <a:pt x="3798" y="9309"/>
                      <a:pt x="3798" y="9309"/>
                      <a:pt x="3798" y="9309"/>
                    </a:cubicBezTo>
                    <a:cubicBezTo>
                      <a:pt x="3919" y="9224"/>
                      <a:pt x="3919" y="9224"/>
                      <a:pt x="3919" y="9224"/>
                    </a:cubicBezTo>
                    <a:lnTo>
                      <a:pt x="3979" y="9309"/>
                    </a:lnTo>
                    <a:close/>
                    <a:moveTo>
                      <a:pt x="3861" y="9376"/>
                    </a:moveTo>
                    <a:cubicBezTo>
                      <a:pt x="3961" y="9306"/>
                      <a:pt x="3961" y="9306"/>
                      <a:pt x="3961" y="9306"/>
                    </a:cubicBezTo>
                    <a:cubicBezTo>
                      <a:pt x="3916" y="9242"/>
                      <a:pt x="3916" y="9242"/>
                      <a:pt x="3916" y="9242"/>
                    </a:cubicBezTo>
                    <a:cubicBezTo>
                      <a:pt x="3816" y="9312"/>
                      <a:pt x="3816" y="9312"/>
                      <a:pt x="3816" y="9312"/>
                    </a:cubicBezTo>
                    <a:lnTo>
                      <a:pt x="3861" y="9376"/>
                    </a:lnTo>
                    <a:close/>
                    <a:moveTo>
                      <a:pt x="683" y="6488"/>
                    </a:moveTo>
                    <a:cubicBezTo>
                      <a:pt x="657" y="6392"/>
                      <a:pt x="657" y="6392"/>
                      <a:pt x="657" y="6392"/>
                    </a:cubicBezTo>
                    <a:cubicBezTo>
                      <a:pt x="718" y="6244"/>
                      <a:pt x="718" y="6244"/>
                      <a:pt x="718" y="6244"/>
                    </a:cubicBezTo>
                    <a:cubicBezTo>
                      <a:pt x="839" y="6275"/>
                      <a:pt x="839" y="6275"/>
                      <a:pt x="839" y="6275"/>
                    </a:cubicBezTo>
                    <a:cubicBezTo>
                      <a:pt x="845" y="6202"/>
                      <a:pt x="845" y="6202"/>
                      <a:pt x="845" y="6202"/>
                    </a:cubicBezTo>
                    <a:cubicBezTo>
                      <a:pt x="692" y="6197"/>
                      <a:pt x="692" y="6197"/>
                      <a:pt x="692" y="6197"/>
                    </a:cubicBezTo>
                    <a:cubicBezTo>
                      <a:pt x="707" y="6088"/>
                      <a:pt x="707" y="6088"/>
                      <a:pt x="707" y="6088"/>
                    </a:cubicBezTo>
                    <a:cubicBezTo>
                      <a:pt x="987" y="6084"/>
                      <a:pt x="987" y="6084"/>
                      <a:pt x="987" y="6084"/>
                    </a:cubicBezTo>
                    <a:cubicBezTo>
                      <a:pt x="1050" y="6156"/>
                      <a:pt x="1050" y="6156"/>
                      <a:pt x="1050" y="6156"/>
                    </a:cubicBezTo>
                    <a:cubicBezTo>
                      <a:pt x="1048" y="6161"/>
                      <a:pt x="1048" y="6161"/>
                      <a:pt x="1048" y="6161"/>
                    </a:cubicBezTo>
                    <a:cubicBezTo>
                      <a:pt x="981" y="6311"/>
                      <a:pt x="981" y="6311"/>
                      <a:pt x="981" y="6311"/>
                    </a:cubicBezTo>
                    <a:cubicBezTo>
                      <a:pt x="833" y="6360"/>
                      <a:pt x="833" y="6360"/>
                      <a:pt x="833" y="6360"/>
                    </a:cubicBezTo>
                    <a:cubicBezTo>
                      <a:pt x="831" y="6371"/>
                      <a:pt x="831" y="6371"/>
                      <a:pt x="831" y="6371"/>
                    </a:cubicBezTo>
                    <a:cubicBezTo>
                      <a:pt x="908" y="6413"/>
                      <a:pt x="908" y="6413"/>
                      <a:pt x="908" y="6413"/>
                    </a:cubicBezTo>
                    <a:cubicBezTo>
                      <a:pt x="814" y="6570"/>
                      <a:pt x="814" y="6570"/>
                      <a:pt x="814" y="6570"/>
                    </a:cubicBezTo>
                    <a:lnTo>
                      <a:pt x="683" y="6488"/>
                    </a:lnTo>
                    <a:close/>
                    <a:moveTo>
                      <a:pt x="673" y="6393"/>
                    </a:moveTo>
                    <a:cubicBezTo>
                      <a:pt x="695" y="6478"/>
                      <a:pt x="695" y="6478"/>
                      <a:pt x="695" y="6478"/>
                    </a:cubicBezTo>
                    <a:cubicBezTo>
                      <a:pt x="809" y="6549"/>
                      <a:pt x="809" y="6549"/>
                      <a:pt x="809" y="6549"/>
                    </a:cubicBezTo>
                    <a:cubicBezTo>
                      <a:pt x="887" y="6418"/>
                      <a:pt x="887" y="6418"/>
                      <a:pt x="887" y="6418"/>
                    </a:cubicBezTo>
                    <a:cubicBezTo>
                      <a:pt x="814" y="6378"/>
                      <a:pt x="814" y="6378"/>
                      <a:pt x="814" y="6378"/>
                    </a:cubicBezTo>
                    <a:cubicBezTo>
                      <a:pt x="821" y="6348"/>
                      <a:pt x="821" y="6348"/>
                      <a:pt x="821" y="6348"/>
                    </a:cubicBezTo>
                    <a:cubicBezTo>
                      <a:pt x="970" y="6300"/>
                      <a:pt x="970" y="6300"/>
                      <a:pt x="970" y="6300"/>
                    </a:cubicBezTo>
                    <a:cubicBezTo>
                      <a:pt x="1033" y="6159"/>
                      <a:pt x="1033" y="6159"/>
                      <a:pt x="1033" y="6159"/>
                    </a:cubicBezTo>
                    <a:cubicBezTo>
                      <a:pt x="980" y="6099"/>
                      <a:pt x="980" y="6099"/>
                      <a:pt x="980" y="6099"/>
                    </a:cubicBezTo>
                    <a:cubicBezTo>
                      <a:pt x="720" y="6103"/>
                      <a:pt x="720" y="6103"/>
                      <a:pt x="720" y="6103"/>
                    </a:cubicBezTo>
                    <a:cubicBezTo>
                      <a:pt x="709" y="6182"/>
                      <a:pt x="709" y="6182"/>
                      <a:pt x="709" y="6182"/>
                    </a:cubicBezTo>
                    <a:cubicBezTo>
                      <a:pt x="861" y="6188"/>
                      <a:pt x="861" y="6188"/>
                      <a:pt x="861" y="6188"/>
                    </a:cubicBezTo>
                    <a:cubicBezTo>
                      <a:pt x="852" y="6293"/>
                      <a:pt x="852" y="6293"/>
                      <a:pt x="852" y="6293"/>
                    </a:cubicBezTo>
                    <a:cubicBezTo>
                      <a:pt x="727" y="6261"/>
                      <a:pt x="727" y="6261"/>
                      <a:pt x="727" y="6261"/>
                    </a:cubicBezTo>
                    <a:lnTo>
                      <a:pt x="673" y="6393"/>
                    </a:lnTo>
                    <a:close/>
                    <a:moveTo>
                      <a:pt x="1283" y="6538"/>
                    </a:moveTo>
                    <a:cubicBezTo>
                      <a:pt x="1112" y="6792"/>
                      <a:pt x="1112" y="6792"/>
                      <a:pt x="1112" y="6792"/>
                    </a:cubicBezTo>
                    <a:cubicBezTo>
                      <a:pt x="885" y="6651"/>
                      <a:pt x="885" y="6651"/>
                      <a:pt x="885" y="6651"/>
                    </a:cubicBezTo>
                    <a:cubicBezTo>
                      <a:pt x="1060" y="6384"/>
                      <a:pt x="1060" y="6384"/>
                      <a:pt x="1060" y="6384"/>
                    </a:cubicBezTo>
                    <a:cubicBezTo>
                      <a:pt x="1122" y="6345"/>
                      <a:pt x="1122" y="6345"/>
                      <a:pt x="1122" y="6345"/>
                    </a:cubicBezTo>
                    <a:cubicBezTo>
                      <a:pt x="1178" y="6223"/>
                      <a:pt x="1178" y="6223"/>
                      <a:pt x="1178" y="6223"/>
                    </a:cubicBezTo>
                    <a:cubicBezTo>
                      <a:pt x="1399" y="6406"/>
                      <a:pt x="1399" y="6406"/>
                      <a:pt x="1399" y="6406"/>
                    </a:cubicBezTo>
                    <a:cubicBezTo>
                      <a:pt x="1332" y="6473"/>
                      <a:pt x="1332" y="6473"/>
                      <a:pt x="1332" y="6473"/>
                    </a:cubicBezTo>
                    <a:cubicBezTo>
                      <a:pt x="1252" y="6429"/>
                      <a:pt x="1252" y="6429"/>
                      <a:pt x="1252" y="6429"/>
                    </a:cubicBezTo>
                    <a:cubicBezTo>
                      <a:pt x="1135" y="6448"/>
                      <a:pt x="1135" y="6448"/>
                      <a:pt x="1135" y="6448"/>
                    </a:cubicBezTo>
                    <a:cubicBezTo>
                      <a:pt x="1021" y="6621"/>
                      <a:pt x="1021" y="6621"/>
                      <a:pt x="1021" y="6621"/>
                    </a:cubicBezTo>
                    <a:cubicBezTo>
                      <a:pt x="1069" y="6654"/>
                      <a:pt x="1069" y="6654"/>
                      <a:pt x="1069" y="6654"/>
                    </a:cubicBezTo>
                    <a:cubicBezTo>
                      <a:pt x="1187" y="6476"/>
                      <a:pt x="1187" y="6476"/>
                      <a:pt x="1187" y="6476"/>
                    </a:cubicBezTo>
                    <a:lnTo>
                      <a:pt x="1283" y="6538"/>
                    </a:lnTo>
                    <a:close/>
                    <a:moveTo>
                      <a:pt x="1264" y="6542"/>
                    </a:moveTo>
                    <a:cubicBezTo>
                      <a:pt x="1191" y="6496"/>
                      <a:pt x="1191" y="6496"/>
                      <a:pt x="1191" y="6496"/>
                    </a:cubicBezTo>
                    <a:cubicBezTo>
                      <a:pt x="1080" y="6661"/>
                      <a:pt x="1080" y="6661"/>
                      <a:pt x="1080" y="6661"/>
                    </a:cubicBezTo>
                    <a:cubicBezTo>
                      <a:pt x="1073" y="6673"/>
                      <a:pt x="1073" y="6673"/>
                      <a:pt x="1073" y="6673"/>
                    </a:cubicBezTo>
                    <a:cubicBezTo>
                      <a:pt x="1061" y="6665"/>
                      <a:pt x="1061" y="6665"/>
                      <a:pt x="1061" y="6665"/>
                    </a:cubicBezTo>
                    <a:cubicBezTo>
                      <a:pt x="1013" y="6632"/>
                      <a:pt x="1013" y="6632"/>
                      <a:pt x="1013" y="6632"/>
                    </a:cubicBezTo>
                    <a:cubicBezTo>
                      <a:pt x="1001" y="6625"/>
                      <a:pt x="1001" y="6625"/>
                      <a:pt x="1001" y="6625"/>
                    </a:cubicBezTo>
                    <a:cubicBezTo>
                      <a:pt x="1009" y="6613"/>
                      <a:pt x="1009" y="6613"/>
                      <a:pt x="1009" y="6613"/>
                    </a:cubicBezTo>
                    <a:cubicBezTo>
                      <a:pt x="1124" y="6440"/>
                      <a:pt x="1124" y="6440"/>
                      <a:pt x="1124" y="6440"/>
                    </a:cubicBezTo>
                    <a:cubicBezTo>
                      <a:pt x="1127" y="6435"/>
                      <a:pt x="1127" y="6435"/>
                      <a:pt x="1127" y="6435"/>
                    </a:cubicBezTo>
                    <a:cubicBezTo>
                      <a:pt x="1133" y="6434"/>
                      <a:pt x="1133" y="6434"/>
                      <a:pt x="1133" y="6434"/>
                    </a:cubicBezTo>
                    <a:cubicBezTo>
                      <a:pt x="1250" y="6415"/>
                      <a:pt x="1250" y="6415"/>
                      <a:pt x="1250" y="6415"/>
                    </a:cubicBezTo>
                    <a:cubicBezTo>
                      <a:pt x="1255" y="6415"/>
                      <a:pt x="1255" y="6415"/>
                      <a:pt x="1255" y="6415"/>
                    </a:cubicBezTo>
                    <a:cubicBezTo>
                      <a:pt x="1259" y="6417"/>
                      <a:pt x="1259" y="6417"/>
                      <a:pt x="1259" y="6417"/>
                    </a:cubicBezTo>
                    <a:cubicBezTo>
                      <a:pt x="1330" y="6456"/>
                      <a:pt x="1330" y="6456"/>
                      <a:pt x="1330" y="6456"/>
                    </a:cubicBezTo>
                    <a:cubicBezTo>
                      <a:pt x="1378" y="6407"/>
                      <a:pt x="1378" y="6407"/>
                      <a:pt x="1378" y="6407"/>
                    </a:cubicBezTo>
                    <a:cubicBezTo>
                      <a:pt x="1183" y="6246"/>
                      <a:pt x="1183" y="6246"/>
                      <a:pt x="1183" y="6246"/>
                    </a:cubicBezTo>
                    <a:cubicBezTo>
                      <a:pt x="1135" y="6351"/>
                      <a:pt x="1135" y="6351"/>
                      <a:pt x="1135" y="6351"/>
                    </a:cubicBezTo>
                    <a:cubicBezTo>
                      <a:pt x="1133" y="6355"/>
                      <a:pt x="1133" y="6355"/>
                      <a:pt x="1133" y="6355"/>
                    </a:cubicBezTo>
                    <a:cubicBezTo>
                      <a:pt x="1130" y="6357"/>
                      <a:pt x="1130" y="6357"/>
                      <a:pt x="1130" y="6357"/>
                    </a:cubicBezTo>
                    <a:cubicBezTo>
                      <a:pt x="1070" y="6394"/>
                      <a:pt x="1070" y="6394"/>
                      <a:pt x="1070" y="6394"/>
                    </a:cubicBezTo>
                    <a:cubicBezTo>
                      <a:pt x="905" y="6646"/>
                      <a:pt x="905" y="6646"/>
                      <a:pt x="905" y="6646"/>
                    </a:cubicBezTo>
                    <a:cubicBezTo>
                      <a:pt x="1108" y="6773"/>
                      <a:pt x="1108" y="6773"/>
                      <a:pt x="1108" y="6773"/>
                    </a:cubicBezTo>
                    <a:lnTo>
                      <a:pt x="1264" y="6542"/>
                    </a:lnTo>
                    <a:close/>
                    <a:moveTo>
                      <a:pt x="4873" y="8576"/>
                    </a:moveTo>
                    <a:cubicBezTo>
                      <a:pt x="4766" y="8561"/>
                      <a:pt x="4766" y="8561"/>
                      <a:pt x="4766" y="8561"/>
                    </a:cubicBezTo>
                    <a:cubicBezTo>
                      <a:pt x="4726" y="8338"/>
                      <a:pt x="4726" y="8338"/>
                      <a:pt x="4726" y="8338"/>
                    </a:cubicBezTo>
                    <a:cubicBezTo>
                      <a:pt x="4932" y="8243"/>
                      <a:pt x="4932" y="8243"/>
                      <a:pt x="4932" y="8243"/>
                    </a:cubicBezTo>
                    <a:cubicBezTo>
                      <a:pt x="4963" y="8371"/>
                      <a:pt x="4963" y="8371"/>
                      <a:pt x="4963" y="8371"/>
                    </a:cubicBezTo>
                    <a:cubicBezTo>
                      <a:pt x="5076" y="8345"/>
                      <a:pt x="5076" y="8345"/>
                      <a:pt x="5076" y="8345"/>
                    </a:cubicBezTo>
                    <a:cubicBezTo>
                      <a:pt x="5075" y="8355"/>
                      <a:pt x="5075" y="8355"/>
                      <a:pt x="5075" y="8355"/>
                    </a:cubicBezTo>
                    <a:cubicBezTo>
                      <a:pt x="5052" y="8845"/>
                      <a:pt x="5052" y="8845"/>
                      <a:pt x="5052" y="8845"/>
                    </a:cubicBezTo>
                    <a:cubicBezTo>
                      <a:pt x="4875" y="8847"/>
                      <a:pt x="4875" y="8847"/>
                      <a:pt x="4875" y="8847"/>
                    </a:cubicBezTo>
                    <a:lnTo>
                      <a:pt x="4873" y="8576"/>
                    </a:lnTo>
                    <a:close/>
                    <a:moveTo>
                      <a:pt x="4779" y="8548"/>
                    </a:moveTo>
                    <a:cubicBezTo>
                      <a:pt x="4888" y="8563"/>
                      <a:pt x="4888" y="8563"/>
                      <a:pt x="4888" y="8563"/>
                    </a:cubicBezTo>
                    <a:cubicBezTo>
                      <a:pt x="4890" y="8832"/>
                      <a:pt x="4890" y="8832"/>
                      <a:pt x="4890" y="8832"/>
                    </a:cubicBezTo>
                    <a:cubicBezTo>
                      <a:pt x="5038" y="8831"/>
                      <a:pt x="5038" y="8831"/>
                      <a:pt x="5038" y="8831"/>
                    </a:cubicBezTo>
                    <a:cubicBezTo>
                      <a:pt x="5060" y="8364"/>
                      <a:pt x="5060" y="8364"/>
                      <a:pt x="5060" y="8364"/>
                    </a:cubicBezTo>
                    <a:cubicBezTo>
                      <a:pt x="4952" y="8389"/>
                      <a:pt x="4952" y="8389"/>
                      <a:pt x="4952" y="8389"/>
                    </a:cubicBezTo>
                    <a:cubicBezTo>
                      <a:pt x="4922" y="8264"/>
                      <a:pt x="4922" y="8264"/>
                      <a:pt x="4922" y="8264"/>
                    </a:cubicBezTo>
                    <a:cubicBezTo>
                      <a:pt x="4742" y="8347"/>
                      <a:pt x="4742" y="8347"/>
                      <a:pt x="4742" y="8347"/>
                    </a:cubicBezTo>
                    <a:lnTo>
                      <a:pt x="4779" y="8548"/>
                    </a:lnTo>
                    <a:close/>
                    <a:moveTo>
                      <a:pt x="650" y="7984"/>
                    </a:moveTo>
                    <a:cubicBezTo>
                      <a:pt x="659" y="7995"/>
                      <a:pt x="664" y="8007"/>
                      <a:pt x="664" y="8021"/>
                    </a:cubicBezTo>
                    <a:cubicBezTo>
                      <a:pt x="664" y="8042"/>
                      <a:pt x="652" y="8065"/>
                      <a:pt x="621" y="8094"/>
                    </a:cubicBezTo>
                    <a:cubicBezTo>
                      <a:pt x="590" y="8122"/>
                      <a:pt x="552" y="8135"/>
                      <a:pt x="517" y="8135"/>
                    </a:cubicBezTo>
                    <a:cubicBezTo>
                      <a:pt x="494" y="8135"/>
                      <a:pt x="472" y="8129"/>
                      <a:pt x="456" y="8116"/>
                    </a:cubicBezTo>
                    <a:cubicBezTo>
                      <a:pt x="445" y="8108"/>
                      <a:pt x="441" y="8097"/>
                      <a:pt x="441" y="8085"/>
                    </a:cubicBezTo>
                    <a:cubicBezTo>
                      <a:pt x="441" y="8049"/>
                      <a:pt x="476" y="8004"/>
                      <a:pt x="503" y="7985"/>
                    </a:cubicBezTo>
                    <a:cubicBezTo>
                      <a:pt x="524" y="7970"/>
                      <a:pt x="557" y="7959"/>
                      <a:pt x="589" y="7959"/>
                    </a:cubicBezTo>
                    <a:cubicBezTo>
                      <a:pt x="613" y="7959"/>
                      <a:pt x="636" y="7966"/>
                      <a:pt x="650" y="7984"/>
                    </a:cubicBezTo>
                    <a:close/>
                    <a:moveTo>
                      <a:pt x="656" y="8021"/>
                    </a:moveTo>
                    <a:cubicBezTo>
                      <a:pt x="656" y="8009"/>
                      <a:pt x="651" y="7999"/>
                      <a:pt x="643" y="7989"/>
                    </a:cubicBezTo>
                    <a:cubicBezTo>
                      <a:pt x="647" y="7986"/>
                      <a:pt x="647" y="7986"/>
                      <a:pt x="647" y="7986"/>
                    </a:cubicBezTo>
                    <a:cubicBezTo>
                      <a:pt x="643" y="7988"/>
                      <a:pt x="643" y="7988"/>
                      <a:pt x="643" y="7988"/>
                    </a:cubicBezTo>
                    <a:cubicBezTo>
                      <a:pt x="632" y="7974"/>
                      <a:pt x="612" y="7967"/>
                      <a:pt x="589" y="7967"/>
                    </a:cubicBezTo>
                    <a:cubicBezTo>
                      <a:pt x="559" y="7967"/>
                      <a:pt x="526" y="7978"/>
                      <a:pt x="508" y="7991"/>
                    </a:cubicBezTo>
                    <a:cubicBezTo>
                      <a:pt x="482" y="8009"/>
                      <a:pt x="449" y="8054"/>
                      <a:pt x="449" y="8085"/>
                    </a:cubicBezTo>
                    <a:cubicBezTo>
                      <a:pt x="449" y="8095"/>
                      <a:pt x="452" y="8103"/>
                      <a:pt x="461" y="8110"/>
                    </a:cubicBezTo>
                    <a:cubicBezTo>
                      <a:pt x="475" y="8121"/>
                      <a:pt x="495" y="8127"/>
                      <a:pt x="517" y="8127"/>
                    </a:cubicBezTo>
                    <a:cubicBezTo>
                      <a:pt x="549" y="8127"/>
                      <a:pt x="586" y="8115"/>
                      <a:pt x="615" y="8087"/>
                    </a:cubicBezTo>
                    <a:cubicBezTo>
                      <a:pt x="645" y="8060"/>
                      <a:pt x="656" y="8038"/>
                      <a:pt x="656" y="8021"/>
                    </a:cubicBezTo>
                    <a:close/>
                    <a:moveTo>
                      <a:pt x="1363" y="9391"/>
                    </a:moveTo>
                    <a:cubicBezTo>
                      <a:pt x="1260" y="9299"/>
                      <a:pt x="1260" y="9299"/>
                      <a:pt x="1260" y="9299"/>
                    </a:cubicBezTo>
                    <a:cubicBezTo>
                      <a:pt x="1351" y="9196"/>
                      <a:pt x="1351" y="9196"/>
                      <a:pt x="1351" y="9196"/>
                    </a:cubicBezTo>
                    <a:cubicBezTo>
                      <a:pt x="1356" y="9200"/>
                      <a:pt x="1356" y="9200"/>
                      <a:pt x="1356" y="9200"/>
                    </a:cubicBezTo>
                    <a:cubicBezTo>
                      <a:pt x="1454" y="9287"/>
                      <a:pt x="1454" y="9287"/>
                      <a:pt x="1454" y="9287"/>
                    </a:cubicBezTo>
                    <a:lnTo>
                      <a:pt x="1363" y="9391"/>
                    </a:lnTo>
                    <a:close/>
                    <a:moveTo>
                      <a:pt x="1362" y="9372"/>
                    </a:moveTo>
                    <a:cubicBezTo>
                      <a:pt x="1436" y="9288"/>
                      <a:pt x="1436" y="9288"/>
                      <a:pt x="1436" y="9288"/>
                    </a:cubicBezTo>
                    <a:cubicBezTo>
                      <a:pt x="1352" y="9214"/>
                      <a:pt x="1352" y="9214"/>
                      <a:pt x="1352" y="9214"/>
                    </a:cubicBezTo>
                    <a:cubicBezTo>
                      <a:pt x="1278" y="9298"/>
                      <a:pt x="1278" y="9298"/>
                      <a:pt x="1278" y="9298"/>
                    </a:cubicBezTo>
                    <a:lnTo>
                      <a:pt x="1362" y="9372"/>
                    </a:lnTo>
                    <a:close/>
                    <a:moveTo>
                      <a:pt x="1047" y="9318"/>
                    </a:moveTo>
                    <a:cubicBezTo>
                      <a:pt x="1177" y="9334"/>
                      <a:pt x="1177" y="9334"/>
                      <a:pt x="1177" y="9334"/>
                    </a:cubicBezTo>
                    <a:cubicBezTo>
                      <a:pt x="1160" y="9471"/>
                      <a:pt x="1160" y="9471"/>
                      <a:pt x="1160" y="9471"/>
                    </a:cubicBezTo>
                    <a:cubicBezTo>
                      <a:pt x="1023" y="9454"/>
                      <a:pt x="1023" y="9454"/>
                      <a:pt x="1023" y="9454"/>
                    </a:cubicBezTo>
                    <a:cubicBezTo>
                      <a:pt x="1040" y="9317"/>
                      <a:pt x="1040" y="9317"/>
                      <a:pt x="1040" y="9317"/>
                    </a:cubicBezTo>
                    <a:lnTo>
                      <a:pt x="1047" y="9318"/>
                    </a:lnTo>
                    <a:close/>
                    <a:moveTo>
                      <a:pt x="1052" y="9332"/>
                    </a:moveTo>
                    <a:cubicBezTo>
                      <a:pt x="1038" y="9442"/>
                      <a:pt x="1038" y="9442"/>
                      <a:pt x="1038" y="9442"/>
                    </a:cubicBezTo>
                    <a:cubicBezTo>
                      <a:pt x="1149" y="9456"/>
                      <a:pt x="1149" y="9456"/>
                      <a:pt x="1149" y="9456"/>
                    </a:cubicBezTo>
                    <a:cubicBezTo>
                      <a:pt x="1162" y="9345"/>
                      <a:pt x="1162" y="9345"/>
                      <a:pt x="1162" y="9345"/>
                    </a:cubicBezTo>
                    <a:lnTo>
                      <a:pt x="1052" y="9332"/>
                    </a:lnTo>
                    <a:close/>
                    <a:moveTo>
                      <a:pt x="3295" y="9725"/>
                    </a:moveTo>
                    <a:cubicBezTo>
                      <a:pt x="3295" y="9725"/>
                      <a:pt x="3295" y="9725"/>
                      <a:pt x="3295" y="9725"/>
                    </a:cubicBezTo>
                    <a:cubicBezTo>
                      <a:pt x="3295" y="9725"/>
                      <a:pt x="3295" y="9725"/>
                      <a:pt x="3295" y="9725"/>
                    </a:cubicBezTo>
                    <a:close/>
                    <a:moveTo>
                      <a:pt x="1216" y="2694"/>
                    </a:moveTo>
                    <a:cubicBezTo>
                      <a:pt x="1572" y="3002"/>
                      <a:pt x="1572" y="3002"/>
                      <a:pt x="1572" y="3002"/>
                    </a:cubicBezTo>
                    <a:cubicBezTo>
                      <a:pt x="1562" y="3125"/>
                      <a:pt x="1562" y="3125"/>
                      <a:pt x="1562" y="3125"/>
                    </a:cubicBezTo>
                    <a:cubicBezTo>
                      <a:pt x="1415" y="3112"/>
                      <a:pt x="1415" y="3112"/>
                      <a:pt x="1415" y="3112"/>
                    </a:cubicBezTo>
                    <a:cubicBezTo>
                      <a:pt x="1308" y="3007"/>
                      <a:pt x="1308" y="3007"/>
                      <a:pt x="1308" y="3007"/>
                    </a:cubicBezTo>
                    <a:cubicBezTo>
                      <a:pt x="1328" y="2991"/>
                      <a:pt x="1328" y="2991"/>
                      <a:pt x="1328" y="2991"/>
                    </a:cubicBezTo>
                    <a:cubicBezTo>
                      <a:pt x="1157" y="2826"/>
                      <a:pt x="1157" y="2826"/>
                      <a:pt x="1157" y="2826"/>
                    </a:cubicBezTo>
                    <a:cubicBezTo>
                      <a:pt x="1108" y="2853"/>
                      <a:pt x="1108" y="2853"/>
                      <a:pt x="1108" y="2853"/>
                    </a:cubicBezTo>
                    <a:cubicBezTo>
                      <a:pt x="1128" y="2888"/>
                      <a:pt x="1128" y="2888"/>
                      <a:pt x="1128" y="2888"/>
                    </a:cubicBezTo>
                    <a:cubicBezTo>
                      <a:pt x="1002" y="2948"/>
                      <a:pt x="1002" y="2948"/>
                      <a:pt x="1002" y="2948"/>
                    </a:cubicBezTo>
                    <a:cubicBezTo>
                      <a:pt x="936" y="2844"/>
                      <a:pt x="936" y="2844"/>
                      <a:pt x="936" y="2844"/>
                    </a:cubicBezTo>
                    <a:lnTo>
                      <a:pt x="1216" y="2694"/>
                    </a:lnTo>
                    <a:close/>
                    <a:moveTo>
                      <a:pt x="1557" y="3008"/>
                    </a:moveTo>
                    <a:cubicBezTo>
                      <a:pt x="1215" y="2711"/>
                      <a:pt x="1215" y="2711"/>
                      <a:pt x="1215" y="2711"/>
                    </a:cubicBezTo>
                    <a:cubicBezTo>
                      <a:pt x="956" y="2849"/>
                      <a:pt x="956" y="2849"/>
                      <a:pt x="956" y="2849"/>
                    </a:cubicBezTo>
                    <a:cubicBezTo>
                      <a:pt x="1007" y="2931"/>
                      <a:pt x="1007" y="2931"/>
                      <a:pt x="1007" y="2931"/>
                    </a:cubicBezTo>
                    <a:cubicBezTo>
                      <a:pt x="1109" y="2882"/>
                      <a:pt x="1109" y="2882"/>
                      <a:pt x="1109" y="2882"/>
                    </a:cubicBezTo>
                    <a:cubicBezTo>
                      <a:pt x="1096" y="2860"/>
                      <a:pt x="1096" y="2860"/>
                      <a:pt x="1096" y="2860"/>
                    </a:cubicBezTo>
                    <a:cubicBezTo>
                      <a:pt x="1089" y="2847"/>
                      <a:pt x="1089" y="2847"/>
                      <a:pt x="1089" y="2847"/>
                    </a:cubicBezTo>
                    <a:cubicBezTo>
                      <a:pt x="1102" y="2841"/>
                      <a:pt x="1102" y="2841"/>
                      <a:pt x="1102" y="2841"/>
                    </a:cubicBezTo>
                    <a:cubicBezTo>
                      <a:pt x="1150" y="2814"/>
                      <a:pt x="1150" y="2814"/>
                      <a:pt x="1150" y="2814"/>
                    </a:cubicBezTo>
                    <a:cubicBezTo>
                      <a:pt x="1159" y="2809"/>
                      <a:pt x="1159" y="2809"/>
                      <a:pt x="1159" y="2809"/>
                    </a:cubicBezTo>
                    <a:cubicBezTo>
                      <a:pt x="1167" y="2816"/>
                      <a:pt x="1167" y="2816"/>
                      <a:pt x="1167" y="2816"/>
                    </a:cubicBezTo>
                    <a:cubicBezTo>
                      <a:pt x="1338" y="2981"/>
                      <a:pt x="1338" y="2981"/>
                      <a:pt x="1338" y="2981"/>
                    </a:cubicBezTo>
                    <a:cubicBezTo>
                      <a:pt x="1350" y="2992"/>
                      <a:pt x="1350" y="2992"/>
                      <a:pt x="1350" y="2992"/>
                    </a:cubicBezTo>
                    <a:cubicBezTo>
                      <a:pt x="1337" y="3002"/>
                      <a:pt x="1337" y="3002"/>
                      <a:pt x="1337" y="3002"/>
                    </a:cubicBezTo>
                    <a:cubicBezTo>
                      <a:pt x="1329" y="3008"/>
                      <a:pt x="1329" y="3008"/>
                      <a:pt x="1329" y="3008"/>
                    </a:cubicBezTo>
                    <a:cubicBezTo>
                      <a:pt x="1421" y="3098"/>
                      <a:pt x="1421" y="3098"/>
                      <a:pt x="1421" y="3098"/>
                    </a:cubicBezTo>
                    <a:cubicBezTo>
                      <a:pt x="1549" y="3110"/>
                      <a:pt x="1549" y="3110"/>
                      <a:pt x="1549" y="3110"/>
                    </a:cubicBezTo>
                    <a:lnTo>
                      <a:pt x="1557" y="3008"/>
                    </a:lnTo>
                    <a:close/>
                    <a:moveTo>
                      <a:pt x="5003" y="8314"/>
                    </a:moveTo>
                    <a:cubicBezTo>
                      <a:pt x="4997" y="8094"/>
                      <a:pt x="4997" y="8094"/>
                      <a:pt x="4997" y="8094"/>
                    </a:cubicBezTo>
                    <a:cubicBezTo>
                      <a:pt x="5094" y="7965"/>
                      <a:pt x="5094" y="7965"/>
                      <a:pt x="5094" y="7965"/>
                    </a:cubicBezTo>
                    <a:cubicBezTo>
                      <a:pt x="5367" y="7952"/>
                      <a:pt x="5367" y="7952"/>
                      <a:pt x="5367" y="7952"/>
                    </a:cubicBezTo>
                    <a:cubicBezTo>
                      <a:pt x="5368" y="7959"/>
                      <a:pt x="5368" y="7959"/>
                      <a:pt x="5368" y="7959"/>
                    </a:cubicBezTo>
                    <a:cubicBezTo>
                      <a:pt x="5433" y="8317"/>
                      <a:pt x="5433" y="8317"/>
                      <a:pt x="5433" y="8317"/>
                    </a:cubicBezTo>
                    <a:cubicBezTo>
                      <a:pt x="5120" y="8407"/>
                      <a:pt x="5120" y="8407"/>
                      <a:pt x="5120" y="8407"/>
                    </a:cubicBezTo>
                    <a:cubicBezTo>
                      <a:pt x="5119" y="8287"/>
                      <a:pt x="5119" y="8287"/>
                      <a:pt x="5119" y="8287"/>
                    </a:cubicBezTo>
                    <a:lnTo>
                      <a:pt x="5003" y="8314"/>
                    </a:lnTo>
                    <a:close/>
                    <a:moveTo>
                      <a:pt x="5012" y="8099"/>
                    </a:moveTo>
                    <a:cubicBezTo>
                      <a:pt x="5017" y="8296"/>
                      <a:pt x="5017" y="8296"/>
                      <a:pt x="5017" y="8296"/>
                    </a:cubicBezTo>
                    <a:cubicBezTo>
                      <a:pt x="5134" y="8268"/>
                      <a:pt x="5134" y="8268"/>
                      <a:pt x="5134" y="8268"/>
                    </a:cubicBezTo>
                    <a:cubicBezTo>
                      <a:pt x="5135" y="8387"/>
                      <a:pt x="5135" y="8387"/>
                      <a:pt x="5135" y="8387"/>
                    </a:cubicBezTo>
                    <a:cubicBezTo>
                      <a:pt x="5416" y="8306"/>
                      <a:pt x="5416" y="8306"/>
                      <a:pt x="5416" y="8306"/>
                    </a:cubicBezTo>
                    <a:cubicBezTo>
                      <a:pt x="5355" y="7968"/>
                      <a:pt x="5355" y="7968"/>
                      <a:pt x="5355" y="7968"/>
                    </a:cubicBezTo>
                    <a:cubicBezTo>
                      <a:pt x="5102" y="7979"/>
                      <a:pt x="5102" y="7979"/>
                      <a:pt x="5102" y="7979"/>
                    </a:cubicBezTo>
                    <a:lnTo>
                      <a:pt x="5012" y="8099"/>
                    </a:lnTo>
                    <a:close/>
                    <a:moveTo>
                      <a:pt x="10540" y="8870"/>
                    </a:moveTo>
                    <a:cubicBezTo>
                      <a:pt x="10438" y="8927"/>
                      <a:pt x="10438" y="8927"/>
                      <a:pt x="10438" y="8927"/>
                    </a:cubicBezTo>
                    <a:cubicBezTo>
                      <a:pt x="10383" y="8823"/>
                      <a:pt x="10383" y="8823"/>
                      <a:pt x="10383" y="8823"/>
                    </a:cubicBezTo>
                    <a:cubicBezTo>
                      <a:pt x="10393" y="8818"/>
                      <a:pt x="10393" y="8818"/>
                      <a:pt x="10393" y="8818"/>
                    </a:cubicBezTo>
                    <a:cubicBezTo>
                      <a:pt x="10368" y="8772"/>
                      <a:pt x="10368" y="8772"/>
                      <a:pt x="10368" y="8772"/>
                    </a:cubicBezTo>
                    <a:cubicBezTo>
                      <a:pt x="10532" y="8685"/>
                      <a:pt x="10532" y="8685"/>
                      <a:pt x="10532" y="8685"/>
                    </a:cubicBezTo>
                    <a:cubicBezTo>
                      <a:pt x="10583" y="8782"/>
                      <a:pt x="10583" y="8782"/>
                      <a:pt x="10583" y="8782"/>
                    </a:cubicBezTo>
                    <a:cubicBezTo>
                      <a:pt x="10519" y="8816"/>
                      <a:pt x="10519" y="8816"/>
                      <a:pt x="10519" y="8816"/>
                    </a:cubicBezTo>
                    <a:cubicBezTo>
                      <a:pt x="10546" y="8867"/>
                      <a:pt x="10546" y="8867"/>
                      <a:pt x="10546" y="8867"/>
                    </a:cubicBezTo>
                    <a:lnTo>
                      <a:pt x="10540" y="8870"/>
                    </a:lnTo>
                    <a:close/>
                    <a:moveTo>
                      <a:pt x="10528" y="8861"/>
                    </a:moveTo>
                    <a:cubicBezTo>
                      <a:pt x="10501" y="8811"/>
                      <a:pt x="10501" y="8811"/>
                      <a:pt x="10501" y="8811"/>
                    </a:cubicBezTo>
                    <a:cubicBezTo>
                      <a:pt x="10566" y="8776"/>
                      <a:pt x="10566" y="8776"/>
                      <a:pt x="10566" y="8776"/>
                    </a:cubicBezTo>
                    <a:cubicBezTo>
                      <a:pt x="10526" y="8703"/>
                      <a:pt x="10526" y="8703"/>
                      <a:pt x="10526" y="8703"/>
                    </a:cubicBezTo>
                    <a:cubicBezTo>
                      <a:pt x="10386" y="8777"/>
                      <a:pt x="10386" y="8777"/>
                      <a:pt x="10386" y="8777"/>
                    </a:cubicBezTo>
                    <a:cubicBezTo>
                      <a:pt x="10410" y="8823"/>
                      <a:pt x="10410" y="8823"/>
                      <a:pt x="10410" y="8823"/>
                    </a:cubicBezTo>
                    <a:cubicBezTo>
                      <a:pt x="10401" y="8828"/>
                      <a:pt x="10401" y="8828"/>
                      <a:pt x="10401" y="8828"/>
                    </a:cubicBezTo>
                    <a:cubicBezTo>
                      <a:pt x="10444" y="8909"/>
                      <a:pt x="10444" y="8909"/>
                      <a:pt x="10444" y="8909"/>
                    </a:cubicBezTo>
                    <a:lnTo>
                      <a:pt x="10528" y="8861"/>
                    </a:lnTo>
                    <a:close/>
                    <a:moveTo>
                      <a:pt x="792" y="7718"/>
                    </a:moveTo>
                    <a:cubicBezTo>
                      <a:pt x="767" y="7706"/>
                      <a:pt x="767" y="7706"/>
                      <a:pt x="767" y="7706"/>
                    </a:cubicBezTo>
                    <a:cubicBezTo>
                      <a:pt x="798" y="7581"/>
                      <a:pt x="798" y="7581"/>
                      <a:pt x="798" y="7581"/>
                    </a:cubicBezTo>
                    <a:cubicBezTo>
                      <a:pt x="803" y="7559"/>
                      <a:pt x="803" y="7559"/>
                      <a:pt x="803" y="7559"/>
                    </a:cubicBezTo>
                    <a:cubicBezTo>
                      <a:pt x="821" y="7574"/>
                      <a:pt x="821" y="7574"/>
                      <a:pt x="821" y="7574"/>
                    </a:cubicBezTo>
                    <a:cubicBezTo>
                      <a:pt x="865" y="7610"/>
                      <a:pt x="865" y="7610"/>
                      <a:pt x="865" y="7610"/>
                    </a:cubicBezTo>
                    <a:cubicBezTo>
                      <a:pt x="875" y="7620"/>
                      <a:pt x="875" y="7620"/>
                      <a:pt x="875" y="7620"/>
                    </a:cubicBezTo>
                    <a:cubicBezTo>
                      <a:pt x="866" y="7630"/>
                      <a:pt x="866" y="7630"/>
                      <a:pt x="866" y="7630"/>
                    </a:cubicBezTo>
                    <a:lnTo>
                      <a:pt x="792" y="7718"/>
                    </a:lnTo>
                    <a:close/>
                    <a:moveTo>
                      <a:pt x="781" y="7709"/>
                    </a:moveTo>
                    <a:cubicBezTo>
                      <a:pt x="856" y="7621"/>
                      <a:pt x="856" y="7621"/>
                      <a:pt x="856" y="7621"/>
                    </a:cubicBezTo>
                    <a:cubicBezTo>
                      <a:pt x="812" y="7584"/>
                      <a:pt x="812" y="7584"/>
                      <a:pt x="812" y="7584"/>
                    </a:cubicBezTo>
                    <a:lnTo>
                      <a:pt x="781" y="7709"/>
                    </a:lnTo>
                    <a:close/>
                    <a:moveTo>
                      <a:pt x="713" y="7593"/>
                    </a:moveTo>
                    <a:cubicBezTo>
                      <a:pt x="737" y="7534"/>
                      <a:pt x="746" y="7445"/>
                      <a:pt x="746" y="7445"/>
                    </a:cubicBezTo>
                    <a:cubicBezTo>
                      <a:pt x="993" y="7625"/>
                      <a:pt x="993" y="7625"/>
                      <a:pt x="993" y="7625"/>
                    </a:cubicBezTo>
                    <a:cubicBezTo>
                      <a:pt x="895" y="7717"/>
                      <a:pt x="895" y="7717"/>
                      <a:pt x="895" y="7717"/>
                    </a:cubicBezTo>
                    <a:cubicBezTo>
                      <a:pt x="884" y="7871"/>
                      <a:pt x="884" y="7871"/>
                      <a:pt x="884" y="7871"/>
                    </a:cubicBezTo>
                    <a:cubicBezTo>
                      <a:pt x="654" y="7714"/>
                      <a:pt x="654" y="7714"/>
                      <a:pt x="654" y="7714"/>
                    </a:cubicBezTo>
                    <a:cubicBezTo>
                      <a:pt x="654" y="7714"/>
                      <a:pt x="690" y="7653"/>
                      <a:pt x="713" y="7593"/>
                    </a:cubicBezTo>
                    <a:close/>
                    <a:moveTo>
                      <a:pt x="726" y="7599"/>
                    </a:moveTo>
                    <a:cubicBezTo>
                      <a:pt x="708" y="7644"/>
                      <a:pt x="684" y="7689"/>
                      <a:pt x="672" y="7710"/>
                    </a:cubicBezTo>
                    <a:cubicBezTo>
                      <a:pt x="872" y="7846"/>
                      <a:pt x="872" y="7846"/>
                      <a:pt x="872" y="7846"/>
                    </a:cubicBezTo>
                    <a:cubicBezTo>
                      <a:pt x="881" y="7717"/>
                      <a:pt x="881" y="7717"/>
                      <a:pt x="881" y="7717"/>
                    </a:cubicBezTo>
                    <a:cubicBezTo>
                      <a:pt x="881" y="7711"/>
                      <a:pt x="881" y="7711"/>
                      <a:pt x="881" y="7711"/>
                    </a:cubicBezTo>
                    <a:cubicBezTo>
                      <a:pt x="885" y="7707"/>
                      <a:pt x="885" y="7707"/>
                      <a:pt x="885" y="7707"/>
                    </a:cubicBezTo>
                    <a:cubicBezTo>
                      <a:pt x="971" y="7627"/>
                      <a:pt x="971" y="7627"/>
                      <a:pt x="971" y="7627"/>
                    </a:cubicBezTo>
                    <a:cubicBezTo>
                      <a:pt x="757" y="7470"/>
                      <a:pt x="757" y="7470"/>
                      <a:pt x="757" y="7470"/>
                    </a:cubicBezTo>
                    <a:cubicBezTo>
                      <a:pt x="752" y="7501"/>
                      <a:pt x="743" y="7557"/>
                      <a:pt x="726" y="7599"/>
                    </a:cubicBezTo>
                    <a:close/>
                    <a:moveTo>
                      <a:pt x="8337" y="6777"/>
                    </a:moveTo>
                    <a:cubicBezTo>
                      <a:pt x="8775" y="6777"/>
                      <a:pt x="8775" y="6777"/>
                      <a:pt x="8775" y="6777"/>
                    </a:cubicBezTo>
                    <a:cubicBezTo>
                      <a:pt x="8777" y="6742"/>
                      <a:pt x="8777" y="6742"/>
                      <a:pt x="8777" y="6742"/>
                    </a:cubicBezTo>
                    <a:cubicBezTo>
                      <a:pt x="8787" y="6747"/>
                      <a:pt x="8787" y="6747"/>
                      <a:pt x="8787" y="6747"/>
                    </a:cubicBezTo>
                    <a:cubicBezTo>
                      <a:pt x="8787" y="6748"/>
                      <a:pt x="8879" y="6788"/>
                      <a:pt x="8882" y="6846"/>
                    </a:cubicBezTo>
                    <a:cubicBezTo>
                      <a:pt x="8881" y="6875"/>
                      <a:pt x="8856" y="6898"/>
                      <a:pt x="8832" y="6916"/>
                    </a:cubicBezTo>
                    <a:cubicBezTo>
                      <a:pt x="8809" y="6933"/>
                      <a:pt x="8785" y="6944"/>
                      <a:pt x="8785" y="6944"/>
                    </a:cubicBezTo>
                    <a:cubicBezTo>
                      <a:pt x="8775" y="6949"/>
                      <a:pt x="8775" y="6949"/>
                      <a:pt x="8775" y="6949"/>
                    </a:cubicBezTo>
                    <a:cubicBezTo>
                      <a:pt x="8775" y="6917"/>
                      <a:pt x="8775" y="6917"/>
                      <a:pt x="8775" y="6917"/>
                    </a:cubicBezTo>
                    <a:cubicBezTo>
                      <a:pt x="8333" y="6917"/>
                      <a:pt x="8333" y="6917"/>
                      <a:pt x="8333" y="6917"/>
                    </a:cubicBezTo>
                    <a:cubicBezTo>
                      <a:pt x="8333" y="6957"/>
                      <a:pt x="8333" y="6957"/>
                      <a:pt x="8333" y="6957"/>
                    </a:cubicBezTo>
                    <a:cubicBezTo>
                      <a:pt x="8324" y="6954"/>
                      <a:pt x="8324" y="6954"/>
                      <a:pt x="8324" y="6954"/>
                    </a:cubicBezTo>
                    <a:cubicBezTo>
                      <a:pt x="8324" y="6953"/>
                      <a:pt x="8213" y="6926"/>
                      <a:pt x="8211" y="6850"/>
                    </a:cubicBezTo>
                    <a:cubicBezTo>
                      <a:pt x="8213" y="6774"/>
                      <a:pt x="8327" y="6736"/>
                      <a:pt x="8327" y="6735"/>
                    </a:cubicBezTo>
                    <a:cubicBezTo>
                      <a:pt x="8337" y="6732"/>
                      <a:pt x="8337" y="6732"/>
                      <a:pt x="8337" y="6732"/>
                    </a:cubicBezTo>
                    <a:lnTo>
                      <a:pt x="8337" y="6777"/>
                    </a:lnTo>
                    <a:close/>
                    <a:moveTo>
                      <a:pt x="8322" y="6792"/>
                    </a:moveTo>
                    <a:cubicBezTo>
                      <a:pt x="8322" y="6753"/>
                      <a:pt x="8322" y="6753"/>
                      <a:pt x="8322" y="6753"/>
                    </a:cubicBezTo>
                    <a:cubicBezTo>
                      <a:pt x="8312" y="6757"/>
                      <a:pt x="8295" y="6765"/>
                      <a:pt x="8278" y="6777"/>
                    </a:cubicBezTo>
                    <a:cubicBezTo>
                      <a:pt x="8251" y="6795"/>
                      <a:pt x="8225" y="6820"/>
                      <a:pt x="8226" y="6850"/>
                    </a:cubicBezTo>
                    <a:cubicBezTo>
                      <a:pt x="8226" y="6879"/>
                      <a:pt x="8250" y="6902"/>
                      <a:pt x="8276" y="6917"/>
                    </a:cubicBezTo>
                    <a:cubicBezTo>
                      <a:pt x="8292" y="6927"/>
                      <a:pt x="8309" y="6933"/>
                      <a:pt x="8319" y="6937"/>
                    </a:cubicBezTo>
                    <a:cubicBezTo>
                      <a:pt x="8319" y="6902"/>
                      <a:pt x="8319" y="6902"/>
                      <a:pt x="8319" y="6902"/>
                    </a:cubicBezTo>
                    <a:cubicBezTo>
                      <a:pt x="8789" y="6902"/>
                      <a:pt x="8789" y="6902"/>
                      <a:pt x="8789" y="6902"/>
                    </a:cubicBezTo>
                    <a:cubicBezTo>
                      <a:pt x="8789" y="6926"/>
                      <a:pt x="8789" y="6926"/>
                      <a:pt x="8789" y="6926"/>
                    </a:cubicBezTo>
                    <a:cubicBezTo>
                      <a:pt x="8798" y="6921"/>
                      <a:pt x="8811" y="6913"/>
                      <a:pt x="8824" y="6904"/>
                    </a:cubicBezTo>
                    <a:cubicBezTo>
                      <a:pt x="8846" y="6888"/>
                      <a:pt x="8867" y="6865"/>
                      <a:pt x="8867" y="6846"/>
                    </a:cubicBezTo>
                    <a:cubicBezTo>
                      <a:pt x="8867" y="6826"/>
                      <a:pt x="8847" y="6804"/>
                      <a:pt x="8825" y="6787"/>
                    </a:cubicBezTo>
                    <a:cubicBezTo>
                      <a:pt x="8812" y="6778"/>
                      <a:pt x="8799" y="6770"/>
                      <a:pt x="8791" y="6766"/>
                    </a:cubicBezTo>
                    <a:cubicBezTo>
                      <a:pt x="8790" y="6792"/>
                      <a:pt x="8790" y="6792"/>
                      <a:pt x="8790" y="6792"/>
                    </a:cubicBezTo>
                    <a:cubicBezTo>
                      <a:pt x="8783" y="6792"/>
                      <a:pt x="8783" y="6792"/>
                      <a:pt x="8783" y="6792"/>
                    </a:cubicBezTo>
                    <a:lnTo>
                      <a:pt x="8322" y="6792"/>
                    </a:lnTo>
                    <a:close/>
                    <a:moveTo>
                      <a:pt x="5188" y="8239"/>
                    </a:moveTo>
                    <a:cubicBezTo>
                      <a:pt x="5188" y="8238"/>
                      <a:pt x="5160" y="8107"/>
                      <a:pt x="5160" y="8097"/>
                    </a:cubicBezTo>
                    <a:cubicBezTo>
                      <a:pt x="5160" y="8096"/>
                      <a:pt x="5160" y="8096"/>
                      <a:pt x="5160" y="8095"/>
                    </a:cubicBezTo>
                    <a:cubicBezTo>
                      <a:pt x="5160" y="8095"/>
                      <a:pt x="5160" y="8091"/>
                      <a:pt x="5165" y="8089"/>
                    </a:cubicBezTo>
                    <a:cubicBezTo>
                      <a:pt x="5165" y="8089"/>
                      <a:pt x="5165" y="8089"/>
                      <a:pt x="5165" y="8089"/>
                    </a:cubicBezTo>
                    <a:cubicBezTo>
                      <a:pt x="5168" y="8089"/>
                      <a:pt x="5168" y="8089"/>
                      <a:pt x="5169" y="8089"/>
                    </a:cubicBezTo>
                    <a:cubicBezTo>
                      <a:pt x="5170" y="8089"/>
                      <a:pt x="5171" y="8089"/>
                      <a:pt x="5172" y="8089"/>
                    </a:cubicBezTo>
                    <a:cubicBezTo>
                      <a:pt x="5193" y="8088"/>
                      <a:pt x="5270" y="8088"/>
                      <a:pt x="5270" y="8088"/>
                    </a:cubicBezTo>
                    <a:cubicBezTo>
                      <a:pt x="5277" y="8088"/>
                      <a:pt x="5277" y="8088"/>
                      <a:pt x="5277" y="8088"/>
                    </a:cubicBezTo>
                    <a:cubicBezTo>
                      <a:pt x="5278" y="8094"/>
                      <a:pt x="5278" y="8094"/>
                      <a:pt x="5278" y="8094"/>
                    </a:cubicBezTo>
                    <a:cubicBezTo>
                      <a:pt x="5293" y="8223"/>
                      <a:pt x="5293" y="8223"/>
                      <a:pt x="5293" y="8223"/>
                    </a:cubicBezTo>
                    <a:cubicBezTo>
                      <a:pt x="5190" y="8246"/>
                      <a:pt x="5190" y="8246"/>
                      <a:pt x="5190" y="8246"/>
                    </a:cubicBezTo>
                    <a:lnTo>
                      <a:pt x="5188" y="8239"/>
                    </a:lnTo>
                    <a:close/>
                    <a:moveTo>
                      <a:pt x="5176" y="8103"/>
                    </a:moveTo>
                    <a:cubicBezTo>
                      <a:pt x="5178" y="8116"/>
                      <a:pt x="5183" y="8143"/>
                      <a:pt x="5189" y="8168"/>
                    </a:cubicBezTo>
                    <a:cubicBezTo>
                      <a:pt x="5194" y="8193"/>
                      <a:pt x="5199" y="8217"/>
                      <a:pt x="5201" y="8228"/>
                    </a:cubicBezTo>
                    <a:cubicBezTo>
                      <a:pt x="5277" y="8211"/>
                      <a:pt x="5277" y="8211"/>
                      <a:pt x="5277" y="8211"/>
                    </a:cubicBezTo>
                    <a:cubicBezTo>
                      <a:pt x="5264" y="8103"/>
                      <a:pt x="5264" y="8103"/>
                      <a:pt x="5264" y="8103"/>
                    </a:cubicBezTo>
                    <a:cubicBezTo>
                      <a:pt x="5255" y="8103"/>
                      <a:pt x="5237" y="8103"/>
                      <a:pt x="5220" y="8103"/>
                    </a:cubicBezTo>
                    <a:cubicBezTo>
                      <a:pt x="5207" y="8103"/>
                      <a:pt x="5194" y="8103"/>
                      <a:pt x="5184" y="8103"/>
                    </a:cubicBezTo>
                    <a:cubicBezTo>
                      <a:pt x="5181" y="8103"/>
                      <a:pt x="5178" y="8103"/>
                      <a:pt x="5176" y="8103"/>
                    </a:cubicBezTo>
                    <a:close/>
                    <a:moveTo>
                      <a:pt x="1183" y="7106"/>
                    </a:moveTo>
                    <a:cubicBezTo>
                      <a:pt x="1044" y="7030"/>
                      <a:pt x="1044" y="7030"/>
                      <a:pt x="1044" y="7030"/>
                    </a:cubicBezTo>
                    <a:cubicBezTo>
                      <a:pt x="1125" y="6932"/>
                      <a:pt x="1125" y="6932"/>
                      <a:pt x="1125" y="6932"/>
                    </a:cubicBezTo>
                    <a:cubicBezTo>
                      <a:pt x="1193" y="6911"/>
                      <a:pt x="1193" y="6911"/>
                      <a:pt x="1193" y="6911"/>
                    </a:cubicBezTo>
                    <a:cubicBezTo>
                      <a:pt x="1256" y="6961"/>
                      <a:pt x="1256" y="6961"/>
                      <a:pt x="1256" y="6961"/>
                    </a:cubicBezTo>
                    <a:lnTo>
                      <a:pt x="1183" y="7106"/>
                    </a:lnTo>
                    <a:close/>
                    <a:moveTo>
                      <a:pt x="1177" y="7087"/>
                    </a:moveTo>
                    <a:cubicBezTo>
                      <a:pt x="1239" y="6965"/>
                      <a:pt x="1239" y="6965"/>
                      <a:pt x="1239" y="6965"/>
                    </a:cubicBezTo>
                    <a:cubicBezTo>
                      <a:pt x="1190" y="6926"/>
                      <a:pt x="1190" y="6926"/>
                      <a:pt x="1190" y="6926"/>
                    </a:cubicBezTo>
                    <a:cubicBezTo>
                      <a:pt x="1133" y="6944"/>
                      <a:pt x="1133" y="6944"/>
                      <a:pt x="1133" y="6944"/>
                    </a:cubicBezTo>
                    <a:cubicBezTo>
                      <a:pt x="1066" y="7026"/>
                      <a:pt x="1066" y="7026"/>
                      <a:pt x="1066" y="7026"/>
                    </a:cubicBezTo>
                    <a:lnTo>
                      <a:pt x="1177" y="7087"/>
                    </a:lnTo>
                    <a:close/>
                    <a:moveTo>
                      <a:pt x="6190" y="9532"/>
                    </a:moveTo>
                    <a:cubicBezTo>
                      <a:pt x="6306" y="9619"/>
                      <a:pt x="6306" y="9619"/>
                      <a:pt x="6306" y="9619"/>
                    </a:cubicBezTo>
                    <a:cubicBezTo>
                      <a:pt x="6261" y="9680"/>
                      <a:pt x="6261" y="9680"/>
                      <a:pt x="6261" y="9680"/>
                    </a:cubicBezTo>
                    <a:cubicBezTo>
                      <a:pt x="6140" y="9589"/>
                      <a:pt x="6140" y="9589"/>
                      <a:pt x="6140" y="9589"/>
                    </a:cubicBezTo>
                    <a:cubicBezTo>
                      <a:pt x="6185" y="9528"/>
                      <a:pt x="6185" y="9528"/>
                      <a:pt x="6185" y="9528"/>
                    </a:cubicBezTo>
                    <a:lnTo>
                      <a:pt x="6190" y="9532"/>
                    </a:lnTo>
                    <a:close/>
                    <a:moveTo>
                      <a:pt x="6288" y="9622"/>
                    </a:moveTo>
                    <a:cubicBezTo>
                      <a:pt x="6188" y="9547"/>
                      <a:pt x="6188" y="9547"/>
                      <a:pt x="6188" y="9547"/>
                    </a:cubicBezTo>
                    <a:cubicBezTo>
                      <a:pt x="6158" y="9586"/>
                      <a:pt x="6158" y="9586"/>
                      <a:pt x="6158" y="9586"/>
                    </a:cubicBezTo>
                    <a:cubicBezTo>
                      <a:pt x="6258" y="9662"/>
                      <a:pt x="6258" y="9662"/>
                      <a:pt x="6258" y="9662"/>
                    </a:cubicBezTo>
                    <a:lnTo>
                      <a:pt x="6288" y="9622"/>
                    </a:lnTo>
                    <a:close/>
                    <a:moveTo>
                      <a:pt x="924" y="7166"/>
                    </a:moveTo>
                    <a:cubicBezTo>
                      <a:pt x="998" y="7087"/>
                      <a:pt x="998" y="7087"/>
                      <a:pt x="998" y="7087"/>
                    </a:cubicBezTo>
                    <a:cubicBezTo>
                      <a:pt x="1151" y="7171"/>
                      <a:pt x="1151" y="7171"/>
                      <a:pt x="1151" y="7171"/>
                    </a:cubicBezTo>
                    <a:cubicBezTo>
                      <a:pt x="1000" y="7477"/>
                      <a:pt x="1000" y="7477"/>
                      <a:pt x="1000" y="7477"/>
                    </a:cubicBezTo>
                    <a:cubicBezTo>
                      <a:pt x="787" y="7324"/>
                      <a:pt x="787" y="7324"/>
                      <a:pt x="787" y="7324"/>
                    </a:cubicBezTo>
                    <a:cubicBezTo>
                      <a:pt x="886" y="7219"/>
                      <a:pt x="886" y="7219"/>
                      <a:pt x="886" y="7219"/>
                    </a:cubicBezTo>
                    <a:cubicBezTo>
                      <a:pt x="956" y="7354"/>
                      <a:pt x="956" y="7354"/>
                      <a:pt x="956" y="7354"/>
                    </a:cubicBezTo>
                    <a:cubicBezTo>
                      <a:pt x="1018" y="7228"/>
                      <a:pt x="1018" y="7228"/>
                      <a:pt x="1018" y="7228"/>
                    </a:cubicBezTo>
                    <a:lnTo>
                      <a:pt x="924" y="7166"/>
                    </a:lnTo>
                    <a:close/>
                    <a:moveTo>
                      <a:pt x="946" y="7164"/>
                    </a:moveTo>
                    <a:cubicBezTo>
                      <a:pt x="1025" y="7216"/>
                      <a:pt x="1025" y="7216"/>
                      <a:pt x="1025" y="7216"/>
                    </a:cubicBezTo>
                    <a:cubicBezTo>
                      <a:pt x="1036" y="7223"/>
                      <a:pt x="1036" y="7223"/>
                      <a:pt x="1036" y="7223"/>
                    </a:cubicBezTo>
                    <a:cubicBezTo>
                      <a:pt x="1030" y="7234"/>
                      <a:pt x="1030" y="7234"/>
                      <a:pt x="1030" y="7234"/>
                    </a:cubicBezTo>
                    <a:cubicBezTo>
                      <a:pt x="969" y="7360"/>
                      <a:pt x="969" y="7360"/>
                      <a:pt x="969" y="7360"/>
                    </a:cubicBezTo>
                    <a:cubicBezTo>
                      <a:pt x="957" y="7385"/>
                      <a:pt x="957" y="7385"/>
                      <a:pt x="957" y="7385"/>
                    </a:cubicBezTo>
                    <a:cubicBezTo>
                      <a:pt x="944" y="7360"/>
                      <a:pt x="944" y="7360"/>
                      <a:pt x="944" y="7360"/>
                    </a:cubicBezTo>
                    <a:cubicBezTo>
                      <a:pt x="883" y="7243"/>
                      <a:pt x="883" y="7243"/>
                      <a:pt x="883" y="7243"/>
                    </a:cubicBezTo>
                    <a:cubicBezTo>
                      <a:pt x="808" y="7322"/>
                      <a:pt x="808" y="7322"/>
                      <a:pt x="808" y="7322"/>
                    </a:cubicBezTo>
                    <a:cubicBezTo>
                      <a:pt x="995" y="7456"/>
                      <a:pt x="995" y="7456"/>
                      <a:pt x="995" y="7456"/>
                    </a:cubicBezTo>
                    <a:cubicBezTo>
                      <a:pt x="1132" y="7177"/>
                      <a:pt x="1132" y="7177"/>
                      <a:pt x="1132" y="7177"/>
                    </a:cubicBezTo>
                    <a:cubicBezTo>
                      <a:pt x="1001" y="7105"/>
                      <a:pt x="1001" y="7105"/>
                      <a:pt x="1001" y="7105"/>
                    </a:cubicBezTo>
                    <a:lnTo>
                      <a:pt x="946" y="7164"/>
                    </a:lnTo>
                    <a:close/>
                    <a:moveTo>
                      <a:pt x="1613" y="2605"/>
                    </a:moveTo>
                    <a:cubicBezTo>
                      <a:pt x="1582" y="2564"/>
                      <a:pt x="1582" y="2564"/>
                      <a:pt x="1582" y="2564"/>
                    </a:cubicBezTo>
                    <a:cubicBezTo>
                      <a:pt x="1585" y="2505"/>
                      <a:pt x="1585" y="2505"/>
                      <a:pt x="1585" y="2505"/>
                    </a:cubicBezTo>
                    <a:cubicBezTo>
                      <a:pt x="1807" y="2384"/>
                      <a:pt x="1807" y="2384"/>
                      <a:pt x="1807" y="2384"/>
                    </a:cubicBezTo>
                    <a:cubicBezTo>
                      <a:pt x="1831" y="2428"/>
                      <a:pt x="1831" y="2428"/>
                      <a:pt x="1831" y="2428"/>
                    </a:cubicBezTo>
                    <a:cubicBezTo>
                      <a:pt x="1824" y="2493"/>
                      <a:pt x="1824" y="2493"/>
                      <a:pt x="1824" y="2493"/>
                    </a:cubicBezTo>
                    <a:lnTo>
                      <a:pt x="1613" y="2605"/>
                    </a:lnTo>
                    <a:close/>
                    <a:moveTo>
                      <a:pt x="1596" y="2560"/>
                    </a:moveTo>
                    <a:cubicBezTo>
                      <a:pt x="1617" y="2587"/>
                      <a:pt x="1617" y="2587"/>
                      <a:pt x="1617" y="2587"/>
                    </a:cubicBezTo>
                    <a:cubicBezTo>
                      <a:pt x="1811" y="2484"/>
                      <a:pt x="1811" y="2484"/>
                      <a:pt x="1811" y="2484"/>
                    </a:cubicBezTo>
                    <a:cubicBezTo>
                      <a:pt x="1817" y="2431"/>
                      <a:pt x="1817" y="2431"/>
                      <a:pt x="1817" y="2431"/>
                    </a:cubicBezTo>
                    <a:cubicBezTo>
                      <a:pt x="1802" y="2403"/>
                      <a:pt x="1802" y="2403"/>
                      <a:pt x="1802" y="2403"/>
                    </a:cubicBezTo>
                    <a:cubicBezTo>
                      <a:pt x="1598" y="2513"/>
                      <a:pt x="1598" y="2513"/>
                      <a:pt x="1598" y="2513"/>
                    </a:cubicBezTo>
                    <a:lnTo>
                      <a:pt x="1596" y="2560"/>
                    </a:lnTo>
                    <a:close/>
                    <a:moveTo>
                      <a:pt x="2641" y="1926"/>
                    </a:moveTo>
                    <a:cubicBezTo>
                      <a:pt x="3164" y="2672"/>
                      <a:pt x="3164" y="2672"/>
                      <a:pt x="3164" y="2672"/>
                    </a:cubicBezTo>
                    <a:cubicBezTo>
                      <a:pt x="3158" y="2676"/>
                      <a:pt x="3158" y="2676"/>
                      <a:pt x="3158" y="2676"/>
                    </a:cubicBezTo>
                    <a:cubicBezTo>
                      <a:pt x="3023" y="2769"/>
                      <a:pt x="3023" y="2769"/>
                      <a:pt x="3023" y="2769"/>
                    </a:cubicBezTo>
                    <a:cubicBezTo>
                      <a:pt x="2874" y="2569"/>
                      <a:pt x="2874" y="2569"/>
                      <a:pt x="2874" y="2569"/>
                    </a:cubicBezTo>
                    <a:cubicBezTo>
                      <a:pt x="2932" y="2563"/>
                      <a:pt x="2932" y="2563"/>
                      <a:pt x="2932" y="2563"/>
                    </a:cubicBezTo>
                    <a:cubicBezTo>
                      <a:pt x="2645" y="2157"/>
                      <a:pt x="2645" y="2157"/>
                      <a:pt x="2645" y="2157"/>
                    </a:cubicBezTo>
                    <a:cubicBezTo>
                      <a:pt x="2642" y="2159"/>
                      <a:pt x="2642" y="2159"/>
                      <a:pt x="2642" y="2159"/>
                    </a:cubicBezTo>
                    <a:cubicBezTo>
                      <a:pt x="2838" y="2716"/>
                      <a:pt x="2838" y="2716"/>
                      <a:pt x="2838" y="2716"/>
                    </a:cubicBezTo>
                    <a:cubicBezTo>
                      <a:pt x="2897" y="2659"/>
                      <a:pt x="2897" y="2659"/>
                      <a:pt x="2897" y="2659"/>
                    </a:cubicBezTo>
                    <a:cubicBezTo>
                      <a:pt x="2942" y="2814"/>
                      <a:pt x="2942" y="2814"/>
                      <a:pt x="2942" y="2814"/>
                    </a:cubicBezTo>
                    <a:cubicBezTo>
                      <a:pt x="2800" y="2879"/>
                      <a:pt x="2800" y="2879"/>
                      <a:pt x="2800" y="2879"/>
                    </a:cubicBezTo>
                    <a:cubicBezTo>
                      <a:pt x="2469" y="2026"/>
                      <a:pt x="2469" y="2026"/>
                      <a:pt x="2469" y="2026"/>
                    </a:cubicBezTo>
                    <a:lnTo>
                      <a:pt x="2641" y="1926"/>
                    </a:lnTo>
                    <a:close/>
                    <a:moveTo>
                      <a:pt x="3144" y="2668"/>
                    </a:moveTo>
                    <a:cubicBezTo>
                      <a:pt x="2637" y="1946"/>
                      <a:pt x="2637" y="1946"/>
                      <a:pt x="2637" y="1946"/>
                    </a:cubicBezTo>
                    <a:cubicBezTo>
                      <a:pt x="2487" y="2033"/>
                      <a:pt x="2487" y="2033"/>
                      <a:pt x="2487" y="2033"/>
                    </a:cubicBezTo>
                    <a:cubicBezTo>
                      <a:pt x="2808" y="2859"/>
                      <a:pt x="2808" y="2859"/>
                      <a:pt x="2808" y="2859"/>
                    </a:cubicBezTo>
                    <a:cubicBezTo>
                      <a:pt x="2924" y="2806"/>
                      <a:pt x="2924" y="2806"/>
                      <a:pt x="2924" y="2806"/>
                    </a:cubicBezTo>
                    <a:cubicBezTo>
                      <a:pt x="2889" y="2687"/>
                      <a:pt x="2889" y="2687"/>
                      <a:pt x="2889" y="2687"/>
                    </a:cubicBezTo>
                    <a:cubicBezTo>
                      <a:pt x="2831" y="2742"/>
                      <a:pt x="2831" y="2742"/>
                      <a:pt x="2831" y="2742"/>
                    </a:cubicBezTo>
                    <a:cubicBezTo>
                      <a:pt x="2625" y="2154"/>
                      <a:pt x="2625" y="2154"/>
                      <a:pt x="2625" y="2154"/>
                    </a:cubicBezTo>
                    <a:cubicBezTo>
                      <a:pt x="2649" y="2137"/>
                      <a:pt x="2649" y="2137"/>
                      <a:pt x="2649" y="2137"/>
                    </a:cubicBezTo>
                    <a:cubicBezTo>
                      <a:pt x="2958" y="2575"/>
                      <a:pt x="2958" y="2575"/>
                      <a:pt x="2958" y="2575"/>
                    </a:cubicBezTo>
                    <a:cubicBezTo>
                      <a:pt x="2901" y="2581"/>
                      <a:pt x="2901" y="2581"/>
                      <a:pt x="2901" y="2581"/>
                    </a:cubicBezTo>
                    <a:cubicBezTo>
                      <a:pt x="3026" y="2749"/>
                      <a:pt x="3026" y="2749"/>
                      <a:pt x="3026" y="2749"/>
                    </a:cubicBezTo>
                    <a:lnTo>
                      <a:pt x="3144" y="2668"/>
                    </a:lnTo>
                    <a:close/>
                    <a:moveTo>
                      <a:pt x="2401" y="2082"/>
                    </a:moveTo>
                    <a:cubicBezTo>
                      <a:pt x="2641" y="2726"/>
                      <a:pt x="2641" y="2726"/>
                      <a:pt x="2641" y="2726"/>
                    </a:cubicBezTo>
                    <a:cubicBezTo>
                      <a:pt x="2628" y="2724"/>
                      <a:pt x="2628" y="2724"/>
                      <a:pt x="2628" y="2724"/>
                    </a:cubicBezTo>
                    <a:cubicBezTo>
                      <a:pt x="2628" y="2724"/>
                      <a:pt x="2518" y="2706"/>
                      <a:pt x="2477" y="2651"/>
                    </a:cubicBezTo>
                    <a:cubicBezTo>
                      <a:pt x="2477" y="2651"/>
                      <a:pt x="2477" y="2651"/>
                      <a:pt x="2477" y="2651"/>
                    </a:cubicBezTo>
                    <a:cubicBezTo>
                      <a:pt x="2476" y="2650"/>
                      <a:pt x="2476" y="2650"/>
                      <a:pt x="2476" y="2650"/>
                    </a:cubicBezTo>
                    <a:cubicBezTo>
                      <a:pt x="2476" y="2648"/>
                      <a:pt x="2365" y="2312"/>
                      <a:pt x="2352" y="2272"/>
                    </a:cubicBezTo>
                    <a:cubicBezTo>
                      <a:pt x="2271" y="2251"/>
                      <a:pt x="2271" y="2251"/>
                      <a:pt x="2271" y="2251"/>
                    </a:cubicBezTo>
                    <a:cubicBezTo>
                      <a:pt x="2244" y="2153"/>
                      <a:pt x="2244" y="2153"/>
                      <a:pt x="2244" y="2153"/>
                    </a:cubicBezTo>
                    <a:lnTo>
                      <a:pt x="2401" y="2082"/>
                    </a:lnTo>
                    <a:close/>
                    <a:moveTo>
                      <a:pt x="2618" y="2707"/>
                    </a:moveTo>
                    <a:cubicBezTo>
                      <a:pt x="2393" y="2102"/>
                      <a:pt x="2393" y="2102"/>
                      <a:pt x="2393" y="2102"/>
                    </a:cubicBezTo>
                    <a:cubicBezTo>
                      <a:pt x="2262" y="2162"/>
                      <a:pt x="2262" y="2162"/>
                      <a:pt x="2262" y="2162"/>
                    </a:cubicBezTo>
                    <a:cubicBezTo>
                      <a:pt x="2283" y="2239"/>
                      <a:pt x="2283" y="2239"/>
                      <a:pt x="2283" y="2239"/>
                    </a:cubicBezTo>
                    <a:cubicBezTo>
                      <a:pt x="2363" y="2260"/>
                      <a:pt x="2363" y="2260"/>
                      <a:pt x="2363" y="2260"/>
                    </a:cubicBezTo>
                    <a:cubicBezTo>
                      <a:pt x="2365" y="2264"/>
                      <a:pt x="2365" y="2264"/>
                      <a:pt x="2365" y="2264"/>
                    </a:cubicBezTo>
                    <a:cubicBezTo>
                      <a:pt x="2365" y="2264"/>
                      <a:pt x="2483" y="2623"/>
                      <a:pt x="2490" y="2644"/>
                    </a:cubicBezTo>
                    <a:cubicBezTo>
                      <a:pt x="2507" y="2667"/>
                      <a:pt x="2542" y="2684"/>
                      <a:pt x="2573" y="2694"/>
                    </a:cubicBezTo>
                    <a:cubicBezTo>
                      <a:pt x="2591" y="2700"/>
                      <a:pt x="2607" y="2705"/>
                      <a:pt x="2618" y="2707"/>
                    </a:cubicBezTo>
                    <a:close/>
                    <a:moveTo>
                      <a:pt x="1567" y="608"/>
                    </a:moveTo>
                    <a:cubicBezTo>
                      <a:pt x="1567" y="608"/>
                      <a:pt x="1769" y="621"/>
                      <a:pt x="1773" y="621"/>
                    </a:cubicBezTo>
                    <a:cubicBezTo>
                      <a:pt x="1767" y="674"/>
                      <a:pt x="1767" y="674"/>
                      <a:pt x="1767" y="674"/>
                    </a:cubicBezTo>
                    <a:cubicBezTo>
                      <a:pt x="1767" y="674"/>
                      <a:pt x="1720" y="713"/>
                      <a:pt x="1723" y="713"/>
                    </a:cubicBezTo>
                    <a:cubicBezTo>
                      <a:pt x="1726" y="713"/>
                      <a:pt x="1616" y="709"/>
                      <a:pt x="1616" y="709"/>
                    </a:cubicBezTo>
                    <a:cubicBezTo>
                      <a:pt x="1584" y="732"/>
                      <a:pt x="1584" y="732"/>
                      <a:pt x="1584" y="732"/>
                    </a:cubicBezTo>
                    <a:cubicBezTo>
                      <a:pt x="1632" y="788"/>
                      <a:pt x="1632" y="788"/>
                      <a:pt x="1632" y="788"/>
                    </a:cubicBezTo>
                    <a:cubicBezTo>
                      <a:pt x="1534" y="873"/>
                      <a:pt x="1534" y="873"/>
                      <a:pt x="1534" y="873"/>
                    </a:cubicBezTo>
                    <a:cubicBezTo>
                      <a:pt x="1376" y="687"/>
                      <a:pt x="1376" y="687"/>
                      <a:pt x="1376" y="687"/>
                    </a:cubicBezTo>
                    <a:cubicBezTo>
                      <a:pt x="1491" y="520"/>
                      <a:pt x="1491" y="520"/>
                      <a:pt x="1491" y="520"/>
                    </a:cubicBezTo>
                    <a:lnTo>
                      <a:pt x="1567" y="608"/>
                    </a:lnTo>
                    <a:close/>
                    <a:moveTo>
                      <a:pt x="1757" y="634"/>
                    </a:moveTo>
                    <a:cubicBezTo>
                      <a:pt x="1718" y="632"/>
                      <a:pt x="1615" y="625"/>
                      <a:pt x="1566" y="622"/>
                    </a:cubicBezTo>
                    <a:cubicBezTo>
                      <a:pt x="1560" y="621"/>
                      <a:pt x="1560" y="621"/>
                      <a:pt x="1560" y="621"/>
                    </a:cubicBezTo>
                    <a:cubicBezTo>
                      <a:pt x="1556" y="617"/>
                      <a:pt x="1556" y="617"/>
                      <a:pt x="1556" y="617"/>
                    </a:cubicBezTo>
                    <a:cubicBezTo>
                      <a:pt x="1492" y="543"/>
                      <a:pt x="1492" y="543"/>
                      <a:pt x="1492" y="543"/>
                    </a:cubicBezTo>
                    <a:cubicBezTo>
                      <a:pt x="1394" y="686"/>
                      <a:pt x="1394" y="686"/>
                      <a:pt x="1394" y="686"/>
                    </a:cubicBezTo>
                    <a:cubicBezTo>
                      <a:pt x="1536" y="854"/>
                      <a:pt x="1536" y="854"/>
                      <a:pt x="1536" y="854"/>
                    </a:cubicBezTo>
                    <a:cubicBezTo>
                      <a:pt x="1612" y="787"/>
                      <a:pt x="1612" y="787"/>
                      <a:pt x="1612" y="787"/>
                    </a:cubicBezTo>
                    <a:cubicBezTo>
                      <a:pt x="1574" y="741"/>
                      <a:pt x="1574" y="741"/>
                      <a:pt x="1574" y="741"/>
                    </a:cubicBezTo>
                    <a:cubicBezTo>
                      <a:pt x="1564" y="729"/>
                      <a:pt x="1564" y="729"/>
                      <a:pt x="1564" y="729"/>
                    </a:cubicBezTo>
                    <a:cubicBezTo>
                      <a:pt x="1576" y="721"/>
                      <a:pt x="1576" y="721"/>
                      <a:pt x="1576" y="721"/>
                    </a:cubicBezTo>
                    <a:cubicBezTo>
                      <a:pt x="1608" y="698"/>
                      <a:pt x="1608" y="698"/>
                      <a:pt x="1608" y="698"/>
                    </a:cubicBezTo>
                    <a:cubicBezTo>
                      <a:pt x="1612" y="695"/>
                      <a:pt x="1612" y="695"/>
                      <a:pt x="1612" y="695"/>
                    </a:cubicBezTo>
                    <a:cubicBezTo>
                      <a:pt x="1617" y="696"/>
                      <a:pt x="1617" y="696"/>
                      <a:pt x="1617" y="696"/>
                    </a:cubicBezTo>
                    <a:cubicBezTo>
                      <a:pt x="1617" y="696"/>
                      <a:pt x="1693" y="698"/>
                      <a:pt x="1716" y="698"/>
                    </a:cubicBezTo>
                    <a:cubicBezTo>
                      <a:pt x="1723" y="692"/>
                      <a:pt x="1734" y="682"/>
                      <a:pt x="1754" y="666"/>
                    </a:cubicBezTo>
                    <a:lnTo>
                      <a:pt x="1757" y="634"/>
                    </a:lnTo>
                    <a:close/>
                    <a:moveTo>
                      <a:pt x="1079" y="1204"/>
                    </a:moveTo>
                    <a:cubicBezTo>
                      <a:pt x="1316" y="1381"/>
                      <a:pt x="1316" y="1381"/>
                      <a:pt x="1316" y="1381"/>
                    </a:cubicBezTo>
                    <a:cubicBezTo>
                      <a:pt x="1341" y="1342"/>
                      <a:pt x="1341" y="1342"/>
                      <a:pt x="1341" y="1342"/>
                    </a:cubicBezTo>
                    <a:cubicBezTo>
                      <a:pt x="1428" y="1402"/>
                      <a:pt x="1428" y="1402"/>
                      <a:pt x="1428" y="1402"/>
                    </a:cubicBezTo>
                    <a:cubicBezTo>
                      <a:pt x="1363" y="1507"/>
                      <a:pt x="1363" y="1507"/>
                      <a:pt x="1363" y="1507"/>
                    </a:cubicBezTo>
                    <a:cubicBezTo>
                      <a:pt x="1041" y="1266"/>
                      <a:pt x="1041" y="1266"/>
                      <a:pt x="1041" y="1266"/>
                    </a:cubicBezTo>
                    <a:lnTo>
                      <a:pt x="1079" y="1204"/>
                    </a:lnTo>
                    <a:close/>
                    <a:moveTo>
                      <a:pt x="1083" y="1224"/>
                    </a:moveTo>
                    <a:cubicBezTo>
                      <a:pt x="1060" y="1262"/>
                      <a:pt x="1060" y="1262"/>
                      <a:pt x="1060" y="1262"/>
                    </a:cubicBezTo>
                    <a:cubicBezTo>
                      <a:pt x="1359" y="1487"/>
                      <a:pt x="1359" y="1487"/>
                      <a:pt x="1359" y="1487"/>
                    </a:cubicBezTo>
                    <a:cubicBezTo>
                      <a:pt x="1409" y="1406"/>
                      <a:pt x="1409" y="1406"/>
                      <a:pt x="1409" y="1406"/>
                    </a:cubicBezTo>
                    <a:cubicBezTo>
                      <a:pt x="1345" y="1361"/>
                      <a:pt x="1345" y="1361"/>
                      <a:pt x="1345" y="1361"/>
                    </a:cubicBezTo>
                    <a:cubicBezTo>
                      <a:pt x="1328" y="1389"/>
                      <a:pt x="1328" y="1389"/>
                      <a:pt x="1328" y="1389"/>
                    </a:cubicBezTo>
                    <a:cubicBezTo>
                      <a:pt x="1320" y="1402"/>
                      <a:pt x="1320" y="1402"/>
                      <a:pt x="1320" y="1402"/>
                    </a:cubicBezTo>
                    <a:cubicBezTo>
                      <a:pt x="1308" y="1392"/>
                      <a:pt x="1308" y="1392"/>
                      <a:pt x="1308" y="1392"/>
                    </a:cubicBezTo>
                    <a:lnTo>
                      <a:pt x="1083" y="1224"/>
                    </a:lnTo>
                    <a:close/>
                    <a:moveTo>
                      <a:pt x="2613" y="2821"/>
                    </a:moveTo>
                    <a:cubicBezTo>
                      <a:pt x="2616" y="2822"/>
                      <a:pt x="2688" y="2870"/>
                      <a:pt x="2688" y="2870"/>
                    </a:cubicBezTo>
                    <a:cubicBezTo>
                      <a:pt x="2700" y="2878"/>
                      <a:pt x="2700" y="2878"/>
                      <a:pt x="2700" y="2878"/>
                    </a:cubicBezTo>
                    <a:cubicBezTo>
                      <a:pt x="2686" y="2883"/>
                      <a:pt x="2686" y="2883"/>
                      <a:pt x="2686" y="2883"/>
                    </a:cubicBezTo>
                    <a:cubicBezTo>
                      <a:pt x="2686" y="2883"/>
                      <a:pt x="2582" y="2919"/>
                      <a:pt x="2466" y="2919"/>
                    </a:cubicBezTo>
                    <a:cubicBezTo>
                      <a:pt x="2460" y="2919"/>
                      <a:pt x="2454" y="2919"/>
                      <a:pt x="2448" y="2919"/>
                    </a:cubicBezTo>
                    <a:cubicBezTo>
                      <a:pt x="2325" y="2915"/>
                      <a:pt x="2225" y="2886"/>
                      <a:pt x="2225" y="2886"/>
                    </a:cubicBezTo>
                    <a:cubicBezTo>
                      <a:pt x="2219" y="2885"/>
                      <a:pt x="2219" y="2885"/>
                      <a:pt x="2219" y="2885"/>
                    </a:cubicBezTo>
                    <a:cubicBezTo>
                      <a:pt x="2266" y="2326"/>
                      <a:pt x="2266" y="2326"/>
                      <a:pt x="2266" y="2326"/>
                    </a:cubicBezTo>
                    <a:cubicBezTo>
                      <a:pt x="2314" y="2338"/>
                      <a:pt x="2314" y="2338"/>
                      <a:pt x="2314" y="2338"/>
                    </a:cubicBezTo>
                    <a:cubicBezTo>
                      <a:pt x="2450" y="2749"/>
                      <a:pt x="2450" y="2749"/>
                      <a:pt x="2450" y="2749"/>
                    </a:cubicBezTo>
                    <a:cubicBezTo>
                      <a:pt x="2455" y="2754"/>
                      <a:pt x="2472" y="2767"/>
                      <a:pt x="2497" y="2781"/>
                    </a:cubicBezTo>
                    <a:cubicBezTo>
                      <a:pt x="2526" y="2798"/>
                      <a:pt x="2567" y="2816"/>
                      <a:pt x="2610" y="2820"/>
                    </a:cubicBezTo>
                    <a:cubicBezTo>
                      <a:pt x="2610" y="2820"/>
                      <a:pt x="2610" y="2820"/>
                      <a:pt x="2610" y="2820"/>
                    </a:cubicBezTo>
                    <a:cubicBezTo>
                      <a:pt x="2613" y="2820"/>
                      <a:pt x="2613" y="2821"/>
                      <a:pt x="2613" y="2821"/>
                    </a:cubicBezTo>
                    <a:close/>
                    <a:moveTo>
                      <a:pt x="2618" y="2841"/>
                    </a:moveTo>
                    <a:cubicBezTo>
                      <a:pt x="2614" y="2839"/>
                      <a:pt x="2611" y="2837"/>
                      <a:pt x="2609" y="2836"/>
                    </a:cubicBezTo>
                    <a:cubicBezTo>
                      <a:pt x="2609" y="2835"/>
                      <a:pt x="2608" y="2835"/>
                      <a:pt x="2608" y="2835"/>
                    </a:cubicBezTo>
                    <a:cubicBezTo>
                      <a:pt x="2515" y="2825"/>
                      <a:pt x="2439" y="2760"/>
                      <a:pt x="2439" y="2759"/>
                    </a:cubicBezTo>
                    <a:cubicBezTo>
                      <a:pt x="2437" y="2758"/>
                      <a:pt x="2437" y="2758"/>
                      <a:pt x="2437" y="2758"/>
                    </a:cubicBezTo>
                    <a:cubicBezTo>
                      <a:pt x="2303" y="2350"/>
                      <a:pt x="2303" y="2350"/>
                      <a:pt x="2303" y="2350"/>
                    </a:cubicBezTo>
                    <a:cubicBezTo>
                      <a:pt x="2279" y="2344"/>
                      <a:pt x="2279" y="2344"/>
                      <a:pt x="2279" y="2344"/>
                    </a:cubicBezTo>
                    <a:cubicBezTo>
                      <a:pt x="2235" y="2874"/>
                      <a:pt x="2235" y="2874"/>
                      <a:pt x="2235" y="2874"/>
                    </a:cubicBezTo>
                    <a:cubicBezTo>
                      <a:pt x="2258" y="2880"/>
                      <a:pt x="2345" y="2901"/>
                      <a:pt x="2449" y="2904"/>
                    </a:cubicBezTo>
                    <a:cubicBezTo>
                      <a:pt x="2454" y="2904"/>
                      <a:pt x="2460" y="2904"/>
                      <a:pt x="2466" y="2904"/>
                    </a:cubicBezTo>
                    <a:cubicBezTo>
                      <a:pt x="2522" y="2904"/>
                      <a:pt x="2576" y="2896"/>
                      <a:pt x="2616" y="2887"/>
                    </a:cubicBezTo>
                    <a:cubicBezTo>
                      <a:pt x="2638" y="2882"/>
                      <a:pt x="2656" y="2877"/>
                      <a:pt x="2667" y="2874"/>
                    </a:cubicBezTo>
                    <a:cubicBezTo>
                      <a:pt x="2660" y="2869"/>
                      <a:pt x="2652" y="2864"/>
                      <a:pt x="2643" y="2858"/>
                    </a:cubicBezTo>
                    <a:cubicBezTo>
                      <a:pt x="2634" y="2852"/>
                      <a:pt x="2625" y="2846"/>
                      <a:pt x="2618" y="2841"/>
                    </a:cubicBezTo>
                    <a:close/>
                    <a:moveTo>
                      <a:pt x="2964" y="625"/>
                    </a:moveTo>
                    <a:cubicBezTo>
                      <a:pt x="2964" y="625"/>
                      <a:pt x="3317" y="960"/>
                      <a:pt x="3319" y="961"/>
                    </a:cubicBezTo>
                    <a:cubicBezTo>
                      <a:pt x="3214" y="1114"/>
                      <a:pt x="3214" y="1114"/>
                      <a:pt x="3214" y="1114"/>
                    </a:cubicBezTo>
                    <a:cubicBezTo>
                      <a:pt x="3149" y="995"/>
                      <a:pt x="3149" y="995"/>
                      <a:pt x="3149" y="995"/>
                    </a:cubicBezTo>
                    <a:cubicBezTo>
                      <a:pt x="3203" y="970"/>
                      <a:pt x="3203" y="970"/>
                      <a:pt x="3203" y="970"/>
                    </a:cubicBezTo>
                    <a:cubicBezTo>
                      <a:pt x="2972" y="740"/>
                      <a:pt x="2972" y="740"/>
                      <a:pt x="2972" y="740"/>
                    </a:cubicBezTo>
                    <a:cubicBezTo>
                      <a:pt x="2842" y="837"/>
                      <a:pt x="2842" y="837"/>
                      <a:pt x="2842" y="837"/>
                    </a:cubicBezTo>
                    <a:cubicBezTo>
                      <a:pt x="3050" y="1095"/>
                      <a:pt x="3050" y="1095"/>
                      <a:pt x="3050" y="1095"/>
                    </a:cubicBezTo>
                    <a:cubicBezTo>
                      <a:pt x="3089" y="1028"/>
                      <a:pt x="3089" y="1028"/>
                      <a:pt x="3089" y="1028"/>
                    </a:cubicBezTo>
                    <a:cubicBezTo>
                      <a:pt x="3160" y="1160"/>
                      <a:pt x="3160" y="1160"/>
                      <a:pt x="3160" y="1160"/>
                    </a:cubicBezTo>
                    <a:cubicBezTo>
                      <a:pt x="3160" y="1160"/>
                      <a:pt x="3036" y="1244"/>
                      <a:pt x="3037" y="1244"/>
                    </a:cubicBezTo>
                    <a:cubicBezTo>
                      <a:pt x="3038" y="1244"/>
                      <a:pt x="2705" y="810"/>
                      <a:pt x="2705" y="810"/>
                    </a:cubicBezTo>
                    <a:lnTo>
                      <a:pt x="2964" y="625"/>
                    </a:lnTo>
                    <a:close/>
                    <a:moveTo>
                      <a:pt x="3301" y="963"/>
                    </a:moveTo>
                    <a:cubicBezTo>
                      <a:pt x="3277" y="940"/>
                      <a:pt x="3203" y="870"/>
                      <a:pt x="2963" y="643"/>
                    </a:cubicBezTo>
                    <a:cubicBezTo>
                      <a:pt x="2724" y="813"/>
                      <a:pt x="2724" y="813"/>
                      <a:pt x="2724" y="813"/>
                    </a:cubicBezTo>
                    <a:cubicBezTo>
                      <a:pt x="2949" y="1106"/>
                      <a:pt x="3018" y="1197"/>
                      <a:pt x="3040" y="1225"/>
                    </a:cubicBezTo>
                    <a:cubicBezTo>
                      <a:pt x="3054" y="1215"/>
                      <a:pt x="3082" y="1196"/>
                      <a:pt x="3141" y="1156"/>
                    </a:cubicBezTo>
                    <a:cubicBezTo>
                      <a:pt x="3088" y="1057"/>
                      <a:pt x="3088" y="1057"/>
                      <a:pt x="3088" y="1057"/>
                    </a:cubicBezTo>
                    <a:cubicBezTo>
                      <a:pt x="3062" y="1102"/>
                      <a:pt x="3062" y="1102"/>
                      <a:pt x="3062" y="1102"/>
                    </a:cubicBezTo>
                    <a:cubicBezTo>
                      <a:pt x="3052" y="1119"/>
                      <a:pt x="3052" y="1119"/>
                      <a:pt x="3052" y="1119"/>
                    </a:cubicBezTo>
                    <a:cubicBezTo>
                      <a:pt x="3039" y="1104"/>
                      <a:pt x="3039" y="1104"/>
                      <a:pt x="3039" y="1104"/>
                    </a:cubicBezTo>
                    <a:cubicBezTo>
                      <a:pt x="2831" y="845"/>
                      <a:pt x="2831" y="845"/>
                      <a:pt x="2831" y="845"/>
                    </a:cubicBezTo>
                    <a:cubicBezTo>
                      <a:pt x="2822" y="834"/>
                      <a:pt x="2822" y="834"/>
                      <a:pt x="2822" y="834"/>
                    </a:cubicBezTo>
                    <a:cubicBezTo>
                      <a:pt x="2834" y="825"/>
                      <a:pt x="2834" y="825"/>
                      <a:pt x="2834" y="825"/>
                    </a:cubicBezTo>
                    <a:cubicBezTo>
                      <a:pt x="2964" y="729"/>
                      <a:pt x="2964" y="729"/>
                      <a:pt x="2964" y="729"/>
                    </a:cubicBezTo>
                    <a:cubicBezTo>
                      <a:pt x="2973" y="722"/>
                      <a:pt x="2973" y="722"/>
                      <a:pt x="2973" y="722"/>
                    </a:cubicBezTo>
                    <a:cubicBezTo>
                      <a:pt x="2982" y="730"/>
                      <a:pt x="2982" y="730"/>
                      <a:pt x="2982" y="730"/>
                    </a:cubicBezTo>
                    <a:cubicBezTo>
                      <a:pt x="3212" y="960"/>
                      <a:pt x="3212" y="960"/>
                      <a:pt x="3212" y="960"/>
                    </a:cubicBezTo>
                    <a:cubicBezTo>
                      <a:pt x="3226" y="974"/>
                      <a:pt x="3226" y="974"/>
                      <a:pt x="3226" y="974"/>
                    </a:cubicBezTo>
                    <a:cubicBezTo>
                      <a:pt x="3209" y="982"/>
                      <a:pt x="3209" y="982"/>
                      <a:pt x="3209" y="982"/>
                    </a:cubicBezTo>
                    <a:cubicBezTo>
                      <a:pt x="3169" y="1002"/>
                      <a:pt x="3169" y="1002"/>
                      <a:pt x="3169" y="1002"/>
                    </a:cubicBezTo>
                    <a:cubicBezTo>
                      <a:pt x="3215" y="1088"/>
                      <a:pt x="3215" y="1088"/>
                      <a:pt x="3215" y="1088"/>
                    </a:cubicBezTo>
                    <a:lnTo>
                      <a:pt x="3301" y="963"/>
                    </a:lnTo>
                    <a:close/>
                    <a:moveTo>
                      <a:pt x="2924" y="1883"/>
                    </a:moveTo>
                    <a:cubicBezTo>
                      <a:pt x="3092" y="1795"/>
                      <a:pt x="3092" y="1795"/>
                      <a:pt x="3092" y="1795"/>
                    </a:cubicBezTo>
                    <a:cubicBezTo>
                      <a:pt x="3345" y="2280"/>
                      <a:pt x="3345" y="2280"/>
                      <a:pt x="3345" y="2280"/>
                    </a:cubicBezTo>
                    <a:cubicBezTo>
                      <a:pt x="3344" y="2282"/>
                      <a:pt x="3344" y="2282"/>
                      <a:pt x="3344" y="2282"/>
                    </a:cubicBezTo>
                    <a:cubicBezTo>
                      <a:pt x="3344" y="2283"/>
                      <a:pt x="3317" y="2439"/>
                      <a:pt x="3285" y="2507"/>
                    </a:cubicBezTo>
                    <a:cubicBezTo>
                      <a:pt x="3284" y="2509"/>
                      <a:pt x="3281" y="2511"/>
                      <a:pt x="3278" y="2511"/>
                    </a:cubicBezTo>
                    <a:cubicBezTo>
                      <a:pt x="3273" y="2510"/>
                      <a:pt x="3274" y="2509"/>
                      <a:pt x="3273" y="2509"/>
                    </a:cubicBezTo>
                    <a:cubicBezTo>
                      <a:pt x="3265" y="2501"/>
                      <a:pt x="3238" y="2459"/>
                      <a:pt x="3210" y="2415"/>
                    </a:cubicBezTo>
                    <a:cubicBezTo>
                      <a:pt x="3183" y="2373"/>
                      <a:pt x="3157" y="2331"/>
                      <a:pt x="3157" y="2331"/>
                    </a:cubicBezTo>
                    <a:cubicBezTo>
                      <a:pt x="3155" y="2328"/>
                      <a:pt x="3155" y="2328"/>
                      <a:pt x="3155" y="2328"/>
                    </a:cubicBezTo>
                    <a:cubicBezTo>
                      <a:pt x="3157" y="2325"/>
                      <a:pt x="3157" y="2325"/>
                      <a:pt x="3157" y="2325"/>
                    </a:cubicBezTo>
                    <a:cubicBezTo>
                      <a:pt x="3157" y="2325"/>
                      <a:pt x="3181" y="2266"/>
                      <a:pt x="3184" y="2240"/>
                    </a:cubicBezTo>
                    <a:cubicBezTo>
                      <a:pt x="3179" y="2230"/>
                      <a:pt x="3145" y="2168"/>
                      <a:pt x="3112" y="2108"/>
                    </a:cubicBezTo>
                    <a:cubicBezTo>
                      <a:pt x="3084" y="2057"/>
                      <a:pt x="3056" y="2006"/>
                      <a:pt x="3046" y="1989"/>
                    </a:cubicBezTo>
                    <a:cubicBezTo>
                      <a:pt x="2988" y="2020"/>
                      <a:pt x="2988" y="2020"/>
                      <a:pt x="2988" y="2020"/>
                    </a:cubicBezTo>
                    <a:cubicBezTo>
                      <a:pt x="3101" y="2255"/>
                      <a:pt x="3101" y="2255"/>
                      <a:pt x="3101" y="2255"/>
                    </a:cubicBezTo>
                    <a:cubicBezTo>
                      <a:pt x="3071" y="2301"/>
                      <a:pt x="3071" y="2301"/>
                      <a:pt x="3071" y="2301"/>
                    </a:cubicBezTo>
                    <a:cubicBezTo>
                      <a:pt x="3256" y="2569"/>
                      <a:pt x="3256" y="2569"/>
                      <a:pt x="3256" y="2569"/>
                    </a:cubicBezTo>
                    <a:cubicBezTo>
                      <a:pt x="3213" y="2629"/>
                      <a:pt x="3213" y="2629"/>
                      <a:pt x="3213" y="2629"/>
                    </a:cubicBezTo>
                    <a:cubicBezTo>
                      <a:pt x="2736" y="1903"/>
                      <a:pt x="2736" y="1903"/>
                      <a:pt x="2736" y="1903"/>
                    </a:cubicBezTo>
                    <a:cubicBezTo>
                      <a:pt x="2893" y="1818"/>
                      <a:pt x="2893" y="1818"/>
                      <a:pt x="2893" y="1818"/>
                    </a:cubicBezTo>
                    <a:lnTo>
                      <a:pt x="2924" y="1883"/>
                    </a:lnTo>
                    <a:close/>
                    <a:moveTo>
                      <a:pt x="3085" y="1815"/>
                    </a:moveTo>
                    <a:cubicBezTo>
                      <a:pt x="2917" y="1904"/>
                      <a:pt x="2917" y="1904"/>
                      <a:pt x="2917" y="1904"/>
                    </a:cubicBezTo>
                    <a:cubicBezTo>
                      <a:pt x="2887" y="1839"/>
                      <a:pt x="2887" y="1839"/>
                      <a:pt x="2887" y="1839"/>
                    </a:cubicBezTo>
                    <a:cubicBezTo>
                      <a:pt x="2758" y="1909"/>
                      <a:pt x="2758" y="1909"/>
                      <a:pt x="2758" y="1909"/>
                    </a:cubicBezTo>
                    <a:cubicBezTo>
                      <a:pt x="3213" y="2603"/>
                      <a:pt x="3213" y="2603"/>
                      <a:pt x="3213" y="2603"/>
                    </a:cubicBezTo>
                    <a:cubicBezTo>
                      <a:pt x="3238" y="2569"/>
                      <a:pt x="3238" y="2569"/>
                      <a:pt x="3238" y="2569"/>
                    </a:cubicBezTo>
                    <a:cubicBezTo>
                      <a:pt x="3054" y="2302"/>
                      <a:pt x="3054" y="2302"/>
                      <a:pt x="3054" y="2302"/>
                    </a:cubicBezTo>
                    <a:cubicBezTo>
                      <a:pt x="3084" y="2254"/>
                      <a:pt x="3084" y="2254"/>
                      <a:pt x="3084" y="2254"/>
                    </a:cubicBezTo>
                    <a:cubicBezTo>
                      <a:pt x="2968" y="2014"/>
                      <a:pt x="2968" y="2014"/>
                      <a:pt x="2968" y="2014"/>
                    </a:cubicBezTo>
                    <a:cubicBezTo>
                      <a:pt x="3052" y="1969"/>
                      <a:pt x="3052" y="1969"/>
                      <a:pt x="3052" y="1969"/>
                    </a:cubicBezTo>
                    <a:cubicBezTo>
                      <a:pt x="3055" y="1975"/>
                      <a:pt x="3055" y="1975"/>
                      <a:pt x="3055" y="1975"/>
                    </a:cubicBezTo>
                    <a:cubicBezTo>
                      <a:pt x="3055" y="1975"/>
                      <a:pt x="3091" y="2039"/>
                      <a:pt x="3126" y="2104"/>
                    </a:cubicBezTo>
                    <a:cubicBezTo>
                      <a:pt x="3144" y="2136"/>
                      <a:pt x="3162" y="2169"/>
                      <a:pt x="3175" y="2193"/>
                    </a:cubicBezTo>
                    <a:cubicBezTo>
                      <a:pt x="3182" y="2205"/>
                      <a:pt x="3188" y="2216"/>
                      <a:pt x="3191" y="2223"/>
                    </a:cubicBezTo>
                    <a:cubicBezTo>
                      <a:pt x="3193" y="2227"/>
                      <a:pt x="3195" y="2230"/>
                      <a:pt x="3196" y="2232"/>
                    </a:cubicBezTo>
                    <a:cubicBezTo>
                      <a:pt x="3197" y="2233"/>
                      <a:pt x="3197" y="2234"/>
                      <a:pt x="3197" y="2234"/>
                    </a:cubicBezTo>
                    <a:cubicBezTo>
                      <a:pt x="3198" y="2236"/>
                      <a:pt x="3198" y="2234"/>
                      <a:pt x="3198" y="2239"/>
                    </a:cubicBezTo>
                    <a:cubicBezTo>
                      <a:pt x="3198" y="2239"/>
                      <a:pt x="3198" y="2239"/>
                      <a:pt x="3198" y="2239"/>
                    </a:cubicBezTo>
                    <a:cubicBezTo>
                      <a:pt x="3198" y="2239"/>
                      <a:pt x="3198" y="2239"/>
                      <a:pt x="3198" y="2239"/>
                    </a:cubicBezTo>
                    <a:cubicBezTo>
                      <a:pt x="3196" y="2265"/>
                      <a:pt x="3177" y="2313"/>
                      <a:pt x="3172" y="2327"/>
                    </a:cubicBezTo>
                    <a:cubicBezTo>
                      <a:pt x="3179" y="2337"/>
                      <a:pt x="3202" y="2375"/>
                      <a:pt x="3225" y="2412"/>
                    </a:cubicBezTo>
                    <a:cubicBezTo>
                      <a:pt x="3239" y="2434"/>
                      <a:pt x="3254" y="2456"/>
                      <a:pt x="3264" y="2472"/>
                    </a:cubicBezTo>
                    <a:cubicBezTo>
                      <a:pt x="3269" y="2479"/>
                      <a:pt x="3273" y="2485"/>
                      <a:pt x="3277" y="2490"/>
                    </a:cubicBezTo>
                    <a:cubicBezTo>
                      <a:pt x="3302" y="2426"/>
                      <a:pt x="3326" y="2301"/>
                      <a:pt x="3329" y="2282"/>
                    </a:cubicBezTo>
                    <a:lnTo>
                      <a:pt x="3085" y="1815"/>
                    </a:lnTo>
                    <a:close/>
                    <a:moveTo>
                      <a:pt x="3850" y="581"/>
                    </a:moveTo>
                    <a:cubicBezTo>
                      <a:pt x="3775" y="593"/>
                      <a:pt x="3775" y="593"/>
                      <a:pt x="3775" y="593"/>
                    </a:cubicBezTo>
                    <a:cubicBezTo>
                      <a:pt x="3790" y="674"/>
                      <a:pt x="3790" y="674"/>
                      <a:pt x="3790" y="674"/>
                    </a:cubicBezTo>
                    <a:cubicBezTo>
                      <a:pt x="3708" y="685"/>
                      <a:pt x="3708" y="685"/>
                      <a:pt x="3708" y="685"/>
                    </a:cubicBezTo>
                    <a:cubicBezTo>
                      <a:pt x="3690" y="607"/>
                      <a:pt x="3690" y="607"/>
                      <a:pt x="3690" y="607"/>
                    </a:cubicBezTo>
                    <a:cubicBezTo>
                      <a:pt x="3690" y="607"/>
                      <a:pt x="3669" y="611"/>
                      <a:pt x="3671" y="609"/>
                    </a:cubicBezTo>
                    <a:cubicBezTo>
                      <a:pt x="3672" y="607"/>
                      <a:pt x="3656" y="533"/>
                      <a:pt x="3656" y="533"/>
                    </a:cubicBezTo>
                    <a:cubicBezTo>
                      <a:pt x="3836" y="497"/>
                      <a:pt x="3836" y="497"/>
                      <a:pt x="3836" y="497"/>
                    </a:cubicBezTo>
                    <a:lnTo>
                      <a:pt x="3850" y="581"/>
                    </a:lnTo>
                    <a:close/>
                    <a:moveTo>
                      <a:pt x="3834" y="570"/>
                    </a:moveTo>
                    <a:cubicBezTo>
                      <a:pt x="3824" y="513"/>
                      <a:pt x="3824" y="513"/>
                      <a:pt x="3824" y="513"/>
                    </a:cubicBezTo>
                    <a:cubicBezTo>
                      <a:pt x="3673" y="544"/>
                      <a:pt x="3673" y="544"/>
                      <a:pt x="3673" y="544"/>
                    </a:cubicBezTo>
                    <a:cubicBezTo>
                      <a:pt x="3678" y="568"/>
                      <a:pt x="3681" y="584"/>
                      <a:pt x="3683" y="594"/>
                    </a:cubicBezTo>
                    <a:cubicBezTo>
                      <a:pt x="3685" y="594"/>
                      <a:pt x="3686" y="593"/>
                      <a:pt x="3688" y="593"/>
                    </a:cubicBezTo>
                    <a:cubicBezTo>
                      <a:pt x="3701" y="591"/>
                      <a:pt x="3701" y="591"/>
                      <a:pt x="3701" y="591"/>
                    </a:cubicBezTo>
                    <a:cubicBezTo>
                      <a:pt x="3704" y="604"/>
                      <a:pt x="3704" y="604"/>
                      <a:pt x="3704" y="604"/>
                    </a:cubicBezTo>
                    <a:cubicBezTo>
                      <a:pt x="3718" y="670"/>
                      <a:pt x="3718" y="670"/>
                      <a:pt x="3718" y="670"/>
                    </a:cubicBezTo>
                    <a:cubicBezTo>
                      <a:pt x="3773" y="663"/>
                      <a:pt x="3773" y="663"/>
                      <a:pt x="3773" y="663"/>
                    </a:cubicBezTo>
                    <a:cubicBezTo>
                      <a:pt x="3761" y="595"/>
                      <a:pt x="3761" y="595"/>
                      <a:pt x="3761" y="595"/>
                    </a:cubicBezTo>
                    <a:cubicBezTo>
                      <a:pt x="3759" y="581"/>
                      <a:pt x="3759" y="581"/>
                      <a:pt x="3759" y="581"/>
                    </a:cubicBezTo>
                    <a:cubicBezTo>
                      <a:pt x="3773" y="579"/>
                      <a:pt x="3773" y="579"/>
                      <a:pt x="3773" y="579"/>
                    </a:cubicBezTo>
                    <a:lnTo>
                      <a:pt x="3834" y="570"/>
                    </a:lnTo>
                    <a:close/>
                    <a:moveTo>
                      <a:pt x="1413" y="3155"/>
                    </a:moveTo>
                    <a:cubicBezTo>
                      <a:pt x="1551" y="3167"/>
                      <a:pt x="1551" y="3167"/>
                      <a:pt x="1551" y="3167"/>
                    </a:cubicBezTo>
                    <a:cubicBezTo>
                      <a:pt x="1546" y="3247"/>
                      <a:pt x="1546" y="3247"/>
                      <a:pt x="1546" y="3247"/>
                    </a:cubicBezTo>
                    <a:cubicBezTo>
                      <a:pt x="1306" y="3367"/>
                      <a:pt x="1306" y="3367"/>
                      <a:pt x="1306" y="3367"/>
                    </a:cubicBezTo>
                    <a:cubicBezTo>
                      <a:pt x="1275" y="3318"/>
                      <a:pt x="1275" y="3318"/>
                      <a:pt x="1275" y="3318"/>
                    </a:cubicBezTo>
                    <a:cubicBezTo>
                      <a:pt x="1223" y="3346"/>
                      <a:pt x="1223" y="3346"/>
                      <a:pt x="1223" y="3346"/>
                    </a:cubicBezTo>
                    <a:cubicBezTo>
                      <a:pt x="1020" y="2989"/>
                      <a:pt x="1020" y="2989"/>
                      <a:pt x="1020" y="2989"/>
                    </a:cubicBezTo>
                    <a:cubicBezTo>
                      <a:pt x="1133" y="2931"/>
                      <a:pt x="1133" y="2931"/>
                      <a:pt x="1133" y="2931"/>
                    </a:cubicBezTo>
                    <a:cubicBezTo>
                      <a:pt x="1240" y="3041"/>
                      <a:pt x="1240" y="3041"/>
                      <a:pt x="1240" y="3041"/>
                    </a:cubicBezTo>
                    <a:cubicBezTo>
                      <a:pt x="1279" y="3024"/>
                      <a:pt x="1279" y="3024"/>
                      <a:pt x="1279" y="3024"/>
                    </a:cubicBezTo>
                    <a:lnTo>
                      <a:pt x="1413" y="3155"/>
                    </a:lnTo>
                    <a:close/>
                    <a:moveTo>
                      <a:pt x="1536" y="3180"/>
                    </a:moveTo>
                    <a:cubicBezTo>
                      <a:pt x="1412" y="3169"/>
                      <a:pt x="1412" y="3169"/>
                      <a:pt x="1412" y="3169"/>
                    </a:cubicBezTo>
                    <a:cubicBezTo>
                      <a:pt x="1407" y="3169"/>
                      <a:pt x="1407" y="3169"/>
                      <a:pt x="1407" y="3169"/>
                    </a:cubicBezTo>
                    <a:cubicBezTo>
                      <a:pt x="1403" y="3165"/>
                      <a:pt x="1403" y="3165"/>
                      <a:pt x="1403" y="3165"/>
                    </a:cubicBezTo>
                    <a:cubicBezTo>
                      <a:pt x="1276" y="3041"/>
                      <a:pt x="1276" y="3041"/>
                      <a:pt x="1276" y="3041"/>
                    </a:cubicBezTo>
                    <a:cubicBezTo>
                      <a:pt x="1245" y="3054"/>
                      <a:pt x="1245" y="3054"/>
                      <a:pt x="1245" y="3054"/>
                    </a:cubicBezTo>
                    <a:cubicBezTo>
                      <a:pt x="1236" y="3058"/>
                      <a:pt x="1236" y="3058"/>
                      <a:pt x="1236" y="3058"/>
                    </a:cubicBezTo>
                    <a:cubicBezTo>
                      <a:pt x="1230" y="3051"/>
                      <a:pt x="1230" y="3051"/>
                      <a:pt x="1230" y="3051"/>
                    </a:cubicBezTo>
                    <a:cubicBezTo>
                      <a:pt x="1130" y="2948"/>
                      <a:pt x="1130" y="2948"/>
                      <a:pt x="1130" y="2948"/>
                    </a:cubicBezTo>
                    <a:cubicBezTo>
                      <a:pt x="1039" y="2994"/>
                      <a:pt x="1039" y="2994"/>
                      <a:pt x="1039" y="2994"/>
                    </a:cubicBezTo>
                    <a:cubicBezTo>
                      <a:pt x="1229" y="3327"/>
                      <a:pt x="1229" y="3327"/>
                      <a:pt x="1229" y="3327"/>
                    </a:cubicBezTo>
                    <a:cubicBezTo>
                      <a:pt x="1268" y="3306"/>
                      <a:pt x="1268" y="3306"/>
                      <a:pt x="1268" y="3306"/>
                    </a:cubicBezTo>
                    <a:cubicBezTo>
                      <a:pt x="1279" y="3300"/>
                      <a:pt x="1279" y="3300"/>
                      <a:pt x="1279" y="3300"/>
                    </a:cubicBezTo>
                    <a:cubicBezTo>
                      <a:pt x="1286" y="3311"/>
                      <a:pt x="1286" y="3311"/>
                      <a:pt x="1286" y="3311"/>
                    </a:cubicBezTo>
                    <a:cubicBezTo>
                      <a:pt x="1311" y="3349"/>
                      <a:pt x="1311" y="3349"/>
                      <a:pt x="1311" y="3349"/>
                    </a:cubicBezTo>
                    <a:cubicBezTo>
                      <a:pt x="1533" y="3238"/>
                      <a:pt x="1533" y="3238"/>
                      <a:pt x="1533" y="3238"/>
                    </a:cubicBezTo>
                    <a:lnTo>
                      <a:pt x="1536" y="3180"/>
                    </a:lnTo>
                    <a:close/>
                    <a:moveTo>
                      <a:pt x="3527" y="722"/>
                    </a:moveTo>
                    <a:cubicBezTo>
                      <a:pt x="3527" y="728"/>
                      <a:pt x="3526" y="734"/>
                      <a:pt x="3524" y="739"/>
                    </a:cubicBezTo>
                    <a:cubicBezTo>
                      <a:pt x="3514" y="773"/>
                      <a:pt x="3470" y="789"/>
                      <a:pt x="3423" y="789"/>
                    </a:cubicBezTo>
                    <a:cubicBezTo>
                      <a:pt x="3404" y="789"/>
                      <a:pt x="3384" y="786"/>
                      <a:pt x="3366" y="781"/>
                    </a:cubicBezTo>
                    <a:cubicBezTo>
                      <a:pt x="3309" y="764"/>
                      <a:pt x="3263" y="714"/>
                      <a:pt x="3263" y="671"/>
                    </a:cubicBezTo>
                    <a:cubicBezTo>
                      <a:pt x="3263" y="665"/>
                      <a:pt x="3264" y="658"/>
                      <a:pt x="3267" y="653"/>
                    </a:cubicBezTo>
                    <a:cubicBezTo>
                      <a:pt x="3278" y="623"/>
                      <a:pt x="3311" y="606"/>
                      <a:pt x="3356" y="606"/>
                    </a:cubicBezTo>
                    <a:cubicBezTo>
                      <a:pt x="3378" y="606"/>
                      <a:pt x="3404" y="610"/>
                      <a:pt x="3431" y="619"/>
                    </a:cubicBezTo>
                    <a:cubicBezTo>
                      <a:pt x="3488" y="638"/>
                      <a:pt x="3527" y="680"/>
                      <a:pt x="3527" y="722"/>
                    </a:cubicBezTo>
                    <a:close/>
                    <a:moveTo>
                      <a:pt x="3519" y="722"/>
                    </a:moveTo>
                    <a:cubicBezTo>
                      <a:pt x="3519" y="685"/>
                      <a:pt x="3483" y="645"/>
                      <a:pt x="3429" y="627"/>
                    </a:cubicBezTo>
                    <a:cubicBezTo>
                      <a:pt x="3402" y="619"/>
                      <a:pt x="3377" y="615"/>
                      <a:pt x="3356" y="615"/>
                    </a:cubicBezTo>
                    <a:cubicBezTo>
                      <a:pt x="3313" y="615"/>
                      <a:pt x="3284" y="630"/>
                      <a:pt x="3274" y="656"/>
                    </a:cubicBezTo>
                    <a:cubicBezTo>
                      <a:pt x="3272" y="660"/>
                      <a:pt x="3271" y="666"/>
                      <a:pt x="3271" y="671"/>
                    </a:cubicBezTo>
                    <a:cubicBezTo>
                      <a:pt x="3271" y="708"/>
                      <a:pt x="3314" y="758"/>
                      <a:pt x="3368" y="773"/>
                    </a:cubicBezTo>
                    <a:cubicBezTo>
                      <a:pt x="3386" y="778"/>
                      <a:pt x="3405" y="781"/>
                      <a:pt x="3423" y="781"/>
                    </a:cubicBezTo>
                    <a:cubicBezTo>
                      <a:pt x="3469" y="781"/>
                      <a:pt x="3509" y="765"/>
                      <a:pt x="3516" y="737"/>
                    </a:cubicBezTo>
                    <a:cubicBezTo>
                      <a:pt x="3518" y="732"/>
                      <a:pt x="3519" y="727"/>
                      <a:pt x="3519" y="722"/>
                    </a:cubicBezTo>
                    <a:close/>
                    <a:moveTo>
                      <a:pt x="1848" y="2363"/>
                    </a:moveTo>
                    <a:cubicBezTo>
                      <a:pt x="2127" y="2215"/>
                      <a:pt x="2127" y="2215"/>
                      <a:pt x="2127" y="2215"/>
                    </a:cubicBezTo>
                    <a:cubicBezTo>
                      <a:pt x="2066" y="2732"/>
                      <a:pt x="2066" y="2732"/>
                      <a:pt x="2066" y="2732"/>
                    </a:cubicBezTo>
                    <a:cubicBezTo>
                      <a:pt x="2008" y="2757"/>
                      <a:pt x="2008" y="2757"/>
                      <a:pt x="2008" y="2757"/>
                    </a:cubicBezTo>
                    <a:cubicBezTo>
                      <a:pt x="1827" y="2684"/>
                      <a:pt x="1827" y="2684"/>
                      <a:pt x="1827" y="2684"/>
                    </a:cubicBezTo>
                    <a:cubicBezTo>
                      <a:pt x="1903" y="2651"/>
                      <a:pt x="1903" y="2651"/>
                      <a:pt x="1903" y="2651"/>
                    </a:cubicBezTo>
                    <a:cubicBezTo>
                      <a:pt x="1935" y="2376"/>
                      <a:pt x="1935" y="2376"/>
                      <a:pt x="1935" y="2376"/>
                    </a:cubicBezTo>
                    <a:cubicBezTo>
                      <a:pt x="1872" y="2407"/>
                      <a:pt x="1872" y="2407"/>
                      <a:pt x="1872" y="2407"/>
                    </a:cubicBezTo>
                    <a:lnTo>
                      <a:pt x="1848" y="2363"/>
                    </a:lnTo>
                    <a:close/>
                    <a:moveTo>
                      <a:pt x="2110" y="2239"/>
                    </a:moveTo>
                    <a:cubicBezTo>
                      <a:pt x="1867" y="2368"/>
                      <a:pt x="1867" y="2368"/>
                      <a:pt x="1867" y="2368"/>
                    </a:cubicBezTo>
                    <a:cubicBezTo>
                      <a:pt x="1878" y="2389"/>
                      <a:pt x="1878" y="2389"/>
                      <a:pt x="1878" y="2389"/>
                    </a:cubicBezTo>
                    <a:cubicBezTo>
                      <a:pt x="1929" y="2364"/>
                      <a:pt x="1929" y="2364"/>
                      <a:pt x="1929" y="2364"/>
                    </a:cubicBezTo>
                    <a:cubicBezTo>
                      <a:pt x="1952" y="2353"/>
                      <a:pt x="1952" y="2353"/>
                      <a:pt x="1952" y="2353"/>
                    </a:cubicBezTo>
                    <a:cubicBezTo>
                      <a:pt x="1949" y="2378"/>
                      <a:pt x="1949" y="2378"/>
                      <a:pt x="1949" y="2378"/>
                    </a:cubicBezTo>
                    <a:cubicBezTo>
                      <a:pt x="1917" y="2653"/>
                      <a:pt x="1917" y="2653"/>
                      <a:pt x="1917" y="2653"/>
                    </a:cubicBezTo>
                    <a:cubicBezTo>
                      <a:pt x="1916" y="2661"/>
                      <a:pt x="1916" y="2661"/>
                      <a:pt x="1916" y="2661"/>
                    </a:cubicBezTo>
                    <a:cubicBezTo>
                      <a:pt x="1908" y="2664"/>
                      <a:pt x="1908" y="2664"/>
                      <a:pt x="1908" y="2664"/>
                    </a:cubicBezTo>
                    <a:cubicBezTo>
                      <a:pt x="1863" y="2683"/>
                      <a:pt x="1863" y="2683"/>
                      <a:pt x="1863" y="2683"/>
                    </a:cubicBezTo>
                    <a:cubicBezTo>
                      <a:pt x="2007" y="2742"/>
                      <a:pt x="2007" y="2742"/>
                      <a:pt x="2007" y="2742"/>
                    </a:cubicBezTo>
                    <a:cubicBezTo>
                      <a:pt x="2053" y="2722"/>
                      <a:pt x="2053" y="2722"/>
                      <a:pt x="2053" y="2722"/>
                    </a:cubicBezTo>
                    <a:lnTo>
                      <a:pt x="2110" y="2239"/>
                    </a:lnTo>
                    <a:close/>
                    <a:moveTo>
                      <a:pt x="1292" y="1321"/>
                    </a:moveTo>
                    <a:cubicBezTo>
                      <a:pt x="1206" y="1259"/>
                      <a:pt x="1206" y="1259"/>
                      <a:pt x="1206" y="1259"/>
                    </a:cubicBezTo>
                    <a:cubicBezTo>
                      <a:pt x="1336" y="1178"/>
                      <a:pt x="1336" y="1178"/>
                      <a:pt x="1336" y="1178"/>
                    </a:cubicBezTo>
                    <a:cubicBezTo>
                      <a:pt x="1488" y="1292"/>
                      <a:pt x="1488" y="1292"/>
                      <a:pt x="1488" y="1292"/>
                    </a:cubicBezTo>
                    <a:cubicBezTo>
                      <a:pt x="1448" y="1360"/>
                      <a:pt x="1448" y="1360"/>
                      <a:pt x="1448" y="1360"/>
                    </a:cubicBezTo>
                    <a:cubicBezTo>
                      <a:pt x="1346" y="1287"/>
                      <a:pt x="1346" y="1287"/>
                      <a:pt x="1346" y="1287"/>
                    </a:cubicBezTo>
                    <a:lnTo>
                      <a:pt x="1292" y="1321"/>
                    </a:lnTo>
                    <a:close/>
                    <a:moveTo>
                      <a:pt x="1231" y="1260"/>
                    </a:moveTo>
                    <a:cubicBezTo>
                      <a:pt x="1292" y="1304"/>
                      <a:pt x="1292" y="1304"/>
                      <a:pt x="1292" y="1304"/>
                    </a:cubicBezTo>
                    <a:cubicBezTo>
                      <a:pt x="1338" y="1275"/>
                      <a:pt x="1338" y="1275"/>
                      <a:pt x="1338" y="1275"/>
                    </a:cubicBezTo>
                    <a:cubicBezTo>
                      <a:pt x="1346" y="1270"/>
                      <a:pt x="1346" y="1270"/>
                      <a:pt x="1346" y="1270"/>
                    </a:cubicBezTo>
                    <a:cubicBezTo>
                      <a:pt x="1354" y="1275"/>
                      <a:pt x="1354" y="1275"/>
                      <a:pt x="1354" y="1275"/>
                    </a:cubicBezTo>
                    <a:cubicBezTo>
                      <a:pt x="1443" y="1340"/>
                      <a:pt x="1443" y="1340"/>
                      <a:pt x="1443" y="1340"/>
                    </a:cubicBezTo>
                    <a:cubicBezTo>
                      <a:pt x="1470" y="1296"/>
                      <a:pt x="1470" y="1296"/>
                      <a:pt x="1470" y="1296"/>
                    </a:cubicBezTo>
                    <a:cubicBezTo>
                      <a:pt x="1335" y="1195"/>
                      <a:pt x="1335" y="1195"/>
                      <a:pt x="1335" y="1195"/>
                    </a:cubicBezTo>
                    <a:lnTo>
                      <a:pt x="1231" y="1260"/>
                    </a:lnTo>
                    <a:close/>
                    <a:moveTo>
                      <a:pt x="450" y="5694"/>
                    </a:moveTo>
                    <a:cubicBezTo>
                      <a:pt x="581" y="5696"/>
                      <a:pt x="581" y="5696"/>
                      <a:pt x="581" y="5696"/>
                    </a:cubicBezTo>
                    <a:cubicBezTo>
                      <a:pt x="579" y="5834"/>
                      <a:pt x="579" y="5834"/>
                      <a:pt x="579" y="5834"/>
                    </a:cubicBezTo>
                    <a:cubicBezTo>
                      <a:pt x="441" y="5832"/>
                      <a:pt x="441" y="5832"/>
                      <a:pt x="441" y="5832"/>
                    </a:cubicBezTo>
                    <a:cubicBezTo>
                      <a:pt x="443" y="5694"/>
                      <a:pt x="443" y="5694"/>
                      <a:pt x="443" y="5694"/>
                    </a:cubicBezTo>
                    <a:lnTo>
                      <a:pt x="450" y="5694"/>
                    </a:lnTo>
                    <a:close/>
                    <a:moveTo>
                      <a:pt x="454" y="5819"/>
                    </a:moveTo>
                    <a:cubicBezTo>
                      <a:pt x="566" y="5821"/>
                      <a:pt x="566" y="5821"/>
                      <a:pt x="566" y="5821"/>
                    </a:cubicBezTo>
                    <a:cubicBezTo>
                      <a:pt x="568" y="5709"/>
                      <a:pt x="568" y="5709"/>
                      <a:pt x="568" y="5709"/>
                    </a:cubicBezTo>
                    <a:cubicBezTo>
                      <a:pt x="456" y="5707"/>
                      <a:pt x="456" y="5707"/>
                      <a:pt x="456" y="5707"/>
                    </a:cubicBezTo>
                    <a:lnTo>
                      <a:pt x="454" y="5819"/>
                    </a:lnTo>
                    <a:close/>
                    <a:moveTo>
                      <a:pt x="689" y="673"/>
                    </a:moveTo>
                    <a:cubicBezTo>
                      <a:pt x="868" y="841"/>
                      <a:pt x="868" y="841"/>
                      <a:pt x="868" y="841"/>
                    </a:cubicBezTo>
                    <a:cubicBezTo>
                      <a:pt x="863" y="846"/>
                      <a:pt x="863" y="846"/>
                      <a:pt x="863" y="846"/>
                    </a:cubicBezTo>
                    <a:cubicBezTo>
                      <a:pt x="815" y="897"/>
                      <a:pt x="815" y="897"/>
                      <a:pt x="815" y="897"/>
                    </a:cubicBezTo>
                    <a:cubicBezTo>
                      <a:pt x="759" y="841"/>
                      <a:pt x="759" y="841"/>
                      <a:pt x="759" y="841"/>
                    </a:cubicBezTo>
                    <a:cubicBezTo>
                      <a:pt x="722" y="962"/>
                      <a:pt x="722" y="962"/>
                      <a:pt x="722" y="962"/>
                    </a:cubicBezTo>
                    <a:cubicBezTo>
                      <a:pt x="707" y="961"/>
                      <a:pt x="707" y="961"/>
                      <a:pt x="707" y="961"/>
                    </a:cubicBezTo>
                    <a:cubicBezTo>
                      <a:pt x="686" y="833"/>
                      <a:pt x="686" y="833"/>
                      <a:pt x="686" y="833"/>
                    </a:cubicBezTo>
                    <a:cubicBezTo>
                      <a:pt x="617" y="932"/>
                      <a:pt x="617" y="932"/>
                      <a:pt x="617" y="932"/>
                    </a:cubicBezTo>
                    <a:cubicBezTo>
                      <a:pt x="536" y="846"/>
                      <a:pt x="536" y="846"/>
                      <a:pt x="536" y="846"/>
                    </a:cubicBezTo>
                    <a:lnTo>
                      <a:pt x="689" y="673"/>
                    </a:lnTo>
                    <a:close/>
                    <a:moveTo>
                      <a:pt x="690" y="694"/>
                    </a:moveTo>
                    <a:cubicBezTo>
                      <a:pt x="556" y="845"/>
                      <a:pt x="556" y="845"/>
                      <a:pt x="556" y="845"/>
                    </a:cubicBezTo>
                    <a:cubicBezTo>
                      <a:pt x="615" y="909"/>
                      <a:pt x="615" y="909"/>
                      <a:pt x="615" y="909"/>
                    </a:cubicBezTo>
                    <a:cubicBezTo>
                      <a:pt x="695" y="794"/>
                      <a:pt x="695" y="794"/>
                      <a:pt x="695" y="794"/>
                    </a:cubicBezTo>
                    <a:cubicBezTo>
                      <a:pt x="717" y="928"/>
                      <a:pt x="717" y="928"/>
                      <a:pt x="717" y="928"/>
                    </a:cubicBezTo>
                    <a:cubicBezTo>
                      <a:pt x="752" y="813"/>
                      <a:pt x="752" y="813"/>
                      <a:pt x="752" y="813"/>
                    </a:cubicBezTo>
                    <a:cubicBezTo>
                      <a:pt x="814" y="875"/>
                      <a:pt x="814" y="875"/>
                      <a:pt x="814" y="875"/>
                    </a:cubicBezTo>
                    <a:cubicBezTo>
                      <a:pt x="847" y="841"/>
                      <a:pt x="847" y="841"/>
                      <a:pt x="847" y="841"/>
                    </a:cubicBezTo>
                    <a:lnTo>
                      <a:pt x="690" y="694"/>
                    </a:lnTo>
                    <a:close/>
                    <a:moveTo>
                      <a:pt x="465" y="6109"/>
                    </a:moveTo>
                    <a:cubicBezTo>
                      <a:pt x="330" y="6079"/>
                      <a:pt x="330" y="6079"/>
                      <a:pt x="330" y="6079"/>
                    </a:cubicBezTo>
                    <a:cubicBezTo>
                      <a:pt x="360" y="5944"/>
                      <a:pt x="360" y="5944"/>
                      <a:pt x="360" y="5944"/>
                    </a:cubicBezTo>
                    <a:cubicBezTo>
                      <a:pt x="366" y="5946"/>
                      <a:pt x="366" y="5946"/>
                      <a:pt x="366" y="5946"/>
                    </a:cubicBezTo>
                    <a:cubicBezTo>
                      <a:pt x="494" y="5974"/>
                      <a:pt x="494" y="5974"/>
                      <a:pt x="494" y="5974"/>
                    </a:cubicBezTo>
                    <a:lnTo>
                      <a:pt x="465" y="6109"/>
                    </a:lnTo>
                    <a:close/>
                    <a:moveTo>
                      <a:pt x="455" y="6093"/>
                    </a:moveTo>
                    <a:cubicBezTo>
                      <a:pt x="479" y="5984"/>
                      <a:pt x="479" y="5984"/>
                      <a:pt x="479" y="5984"/>
                    </a:cubicBezTo>
                    <a:cubicBezTo>
                      <a:pt x="370" y="5960"/>
                      <a:pt x="370" y="5960"/>
                      <a:pt x="370" y="5960"/>
                    </a:cubicBezTo>
                    <a:cubicBezTo>
                      <a:pt x="346" y="6069"/>
                      <a:pt x="346" y="6069"/>
                      <a:pt x="346" y="6069"/>
                    </a:cubicBezTo>
                    <a:lnTo>
                      <a:pt x="455" y="6093"/>
                    </a:lnTo>
                    <a:close/>
                    <a:moveTo>
                      <a:pt x="725" y="1209"/>
                    </a:moveTo>
                    <a:cubicBezTo>
                      <a:pt x="804" y="1163"/>
                      <a:pt x="804" y="1163"/>
                      <a:pt x="804" y="1163"/>
                    </a:cubicBezTo>
                    <a:cubicBezTo>
                      <a:pt x="935" y="1290"/>
                      <a:pt x="935" y="1290"/>
                      <a:pt x="935" y="1290"/>
                    </a:cubicBezTo>
                    <a:cubicBezTo>
                      <a:pt x="932" y="1295"/>
                      <a:pt x="932" y="1295"/>
                      <a:pt x="932" y="1295"/>
                    </a:cubicBezTo>
                    <a:cubicBezTo>
                      <a:pt x="903" y="1350"/>
                      <a:pt x="903" y="1350"/>
                      <a:pt x="903" y="1350"/>
                    </a:cubicBezTo>
                    <a:cubicBezTo>
                      <a:pt x="846" y="1354"/>
                      <a:pt x="846" y="1354"/>
                      <a:pt x="846" y="1354"/>
                    </a:cubicBezTo>
                    <a:lnTo>
                      <a:pt x="725" y="1209"/>
                    </a:lnTo>
                    <a:close/>
                    <a:moveTo>
                      <a:pt x="802" y="1181"/>
                    </a:moveTo>
                    <a:cubicBezTo>
                      <a:pt x="748" y="1213"/>
                      <a:pt x="748" y="1213"/>
                      <a:pt x="748" y="1213"/>
                    </a:cubicBezTo>
                    <a:cubicBezTo>
                      <a:pt x="852" y="1339"/>
                      <a:pt x="852" y="1339"/>
                      <a:pt x="852" y="1339"/>
                    </a:cubicBezTo>
                    <a:cubicBezTo>
                      <a:pt x="894" y="1336"/>
                      <a:pt x="894" y="1336"/>
                      <a:pt x="894" y="1336"/>
                    </a:cubicBezTo>
                    <a:cubicBezTo>
                      <a:pt x="917" y="1293"/>
                      <a:pt x="917" y="1293"/>
                      <a:pt x="917" y="1293"/>
                    </a:cubicBezTo>
                    <a:lnTo>
                      <a:pt x="802" y="1181"/>
                    </a:lnTo>
                    <a:close/>
                    <a:moveTo>
                      <a:pt x="1717" y="2729"/>
                    </a:moveTo>
                    <a:cubicBezTo>
                      <a:pt x="1952" y="2779"/>
                      <a:pt x="1952" y="2779"/>
                      <a:pt x="1952" y="2779"/>
                    </a:cubicBezTo>
                    <a:cubicBezTo>
                      <a:pt x="1641" y="2910"/>
                      <a:pt x="1641" y="2910"/>
                      <a:pt x="1641" y="2910"/>
                    </a:cubicBezTo>
                    <a:cubicBezTo>
                      <a:pt x="1302" y="2653"/>
                      <a:pt x="1302" y="2653"/>
                      <a:pt x="1302" y="2653"/>
                    </a:cubicBezTo>
                    <a:cubicBezTo>
                      <a:pt x="1519" y="2537"/>
                      <a:pt x="1519" y="2537"/>
                      <a:pt x="1519" y="2537"/>
                    </a:cubicBezTo>
                    <a:cubicBezTo>
                      <a:pt x="1541" y="2582"/>
                      <a:pt x="1541" y="2582"/>
                      <a:pt x="1541" y="2582"/>
                    </a:cubicBezTo>
                    <a:cubicBezTo>
                      <a:pt x="1497" y="2607"/>
                      <a:pt x="1497" y="2607"/>
                      <a:pt x="1497" y="2607"/>
                    </a:cubicBezTo>
                    <a:cubicBezTo>
                      <a:pt x="1672" y="2746"/>
                      <a:pt x="1672" y="2746"/>
                      <a:pt x="1672" y="2746"/>
                    </a:cubicBezTo>
                    <a:lnTo>
                      <a:pt x="1717" y="2729"/>
                    </a:lnTo>
                    <a:close/>
                    <a:moveTo>
                      <a:pt x="1719" y="2743"/>
                    </a:moveTo>
                    <a:cubicBezTo>
                      <a:pt x="1677" y="2759"/>
                      <a:pt x="1677" y="2759"/>
                      <a:pt x="1677" y="2759"/>
                    </a:cubicBezTo>
                    <a:cubicBezTo>
                      <a:pt x="1670" y="2762"/>
                      <a:pt x="1670" y="2762"/>
                      <a:pt x="1670" y="2762"/>
                    </a:cubicBezTo>
                    <a:cubicBezTo>
                      <a:pt x="1664" y="2757"/>
                      <a:pt x="1664" y="2757"/>
                      <a:pt x="1664" y="2757"/>
                    </a:cubicBezTo>
                    <a:cubicBezTo>
                      <a:pt x="1489" y="2618"/>
                      <a:pt x="1489" y="2618"/>
                      <a:pt x="1489" y="2618"/>
                    </a:cubicBezTo>
                    <a:cubicBezTo>
                      <a:pt x="1473" y="2606"/>
                      <a:pt x="1473" y="2606"/>
                      <a:pt x="1473" y="2606"/>
                    </a:cubicBezTo>
                    <a:cubicBezTo>
                      <a:pt x="1490" y="2595"/>
                      <a:pt x="1490" y="2595"/>
                      <a:pt x="1490" y="2595"/>
                    </a:cubicBezTo>
                    <a:cubicBezTo>
                      <a:pt x="1522" y="2576"/>
                      <a:pt x="1522" y="2576"/>
                      <a:pt x="1522" y="2576"/>
                    </a:cubicBezTo>
                    <a:cubicBezTo>
                      <a:pt x="1513" y="2556"/>
                      <a:pt x="1513" y="2556"/>
                      <a:pt x="1513" y="2556"/>
                    </a:cubicBezTo>
                    <a:cubicBezTo>
                      <a:pt x="1328" y="2655"/>
                      <a:pt x="1328" y="2655"/>
                      <a:pt x="1328" y="2655"/>
                    </a:cubicBezTo>
                    <a:cubicBezTo>
                      <a:pt x="1643" y="2894"/>
                      <a:pt x="1643" y="2894"/>
                      <a:pt x="1643" y="2894"/>
                    </a:cubicBezTo>
                    <a:cubicBezTo>
                      <a:pt x="1906" y="2784"/>
                      <a:pt x="1906" y="2784"/>
                      <a:pt x="1906" y="2784"/>
                    </a:cubicBezTo>
                    <a:lnTo>
                      <a:pt x="1719" y="2743"/>
                    </a:lnTo>
                    <a:close/>
                    <a:moveTo>
                      <a:pt x="10812" y="8982"/>
                    </a:moveTo>
                    <a:cubicBezTo>
                      <a:pt x="10788" y="8936"/>
                      <a:pt x="10788" y="8936"/>
                      <a:pt x="10788" y="8936"/>
                    </a:cubicBezTo>
                    <a:cubicBezTo>
                      <a:pt x="10952" y="8849"/>
                      <a:pt x="10952" y="8849"/>
                      <a:pt x="10952" y="8849"/>
                    </a:cubicBezTo>
                    <a:cubicBezTo>
                      <a:pt x="11003" y="8946"/>
                      <a:pt x="11003" y="8946"/>
                      <a:pt x="11003" y="8946"/>
                    </a:cubicBezTo>
                    <a:cubicBezTo>
                      <a:pt x="10938" y="8980"/>
                      <a:pt x="10938" y="8980"/>
                      <a:pt x="10938" y="8980"/>
                    </a:cubicBezTo>
                    <a:cubicBezTo>
                      <a:pt x="10965" y="9031"/>
                      <a:pt x="10965" y="9031"/>
                      <a:pt x="10965" y="9031"/>
                    </a:cubicBezTo>
                    <a:cubicBezTo>
                      <a:pt x="10960" y="9034"/>
                      <a:pt x="10960" y="9034"/>
                      <a:pt x="10960" y="9034"/>
                    </a:cubicBezTo>
                    <a:cubicBezTo>
                      <a:pt x="10858" y="9091"/>
                      <a:pt x="10858" y="9091"/>
                      <a:pt x="10858" y="9091"/>
                    </a:cubicBezTo>
                    <a:cubicBezTo>
                      <a:pt x="10803" y="8987"/>
                      <a:pt x="10803" y="8987"/>
                      <a:pt x="10803" y="8987"/>
                    </a:cubicBezTo>
                    <a:lnTo>
                      <a:pt x="10812" y="8982"/>
                    </a:lnTo>
                    <a:close/>
                    <a:moveTo>
                      <a:pt x="10830" y="8988"/>
                    </a:moveTo>
                    <a:cubicBezTo>
                      <a:pt x="10821" y="8993"/>
                      <a:pt x="10821" y="8993"/>
                      <a:pt x="10821" y="8993"/>
                    </a:cubicBezTo>
                    <a:cubicBezTo>
                      <a:pt x="10863" y="9073"/>
                      <a:pt x="10863" y="9073"/>
                      <a:pt x="10863" y="9073"/>
                    </a:cubicBezTo>
                    <a:cubicBezTo>
                      <a:pt x="10948" y="9026"/>
                      <a:pt x="10948" y="9026"/>
                      <a:pt x="10948" y="9026"/>
                    </a:cubicBezTo>
                    <a:cubicBezTo>
                      <a:pt x="10921" y="8975"/>
                      <a:pt x="10921" y="8975"/>
                      <a:pt x="10921" y="8975"/>
                    </a:cubicBezTo>
                    <a:cubicBezTo>
                      <a:pt x="10985" y="8941"/>
                      <a:pt x="10985" y="8941"/>
                      <a:pt x="10985" y="8941"/>
                    </a:cubicBezTo>
                    <a:cubicBezTo>
                      <a:pt x="10946" y="8867"/>
                      <a:pt x="10946" y="8867"/>
                      <a:pt x="10946" y="8867"/>
                    </a:cubicBezTo>
                    <a:cubicBezTo>
                      <a:pt x="10806" y="8942"/>
                      <a:pt x="10806" y="8942"/>
                      <a:pt x="10806" y="8942"/>
                    </a:cubicBezTo>
                    <a:lnTo>
                      <a:pt x="10830" y="8988"/>
                    </a:lnTo>
                    <a:close/>
                    <a:moveTo>
                      <a:pt x="969" y="1254"/>
                    </a:moveTo>
                    <a:cubicBezTo>
                      <a:pt x="838" y="1126"/>
                      <a:pt x="838" y="1126"/>
                      <a:pt x="838" y="1126"/>
                    </a:cubicBezTo>
                    <a:cubicBezTo>
                      <a:pt x="943" y="1041"/>
                      <a:pt x="943" y="1041"/>
                      <a:pt x="943" y="1041"/>
                    </a:cubicBezTo>
                    <a:cubicBezTo>
                      <a:pt x="1020" y="1144"/>
                      <a:pt x="1020" y="1144"/>
                      <a:pt x="1020" y="1144"/>
                    </a:cubicBezTo>
                    <a:cubicBezTo>
                      <a:pt x="1018" y="1148"/>
                      <a:pt x="1018" y="1148"/>
                      <a:pt x="1018" y="1148"/>
                    </a:cubicBezTo>
                    <a:lnTo>
                      <a:pt x="969" y="1254"/>
                    </a:lnTo>
                    <a:close/>
                    <a:moveTo>
                      <a:pt x="964" y="1229"/>
                    </a:moveTo>
                    <a:cubicBezTo>
                      <a:pt x="1003" y="1145"/>
                      <a:pt x="1003" y="1145"/>
                      <a:pt x="1003" y="1145"/>
                    </a:cubicBezTo>
                    <a:cubicBezTo>
                      <a:pt x="940" y="1062"/>
                      <a:pt x="940" y="1062"/>
                      <a:pt x="940" y="1062"/>
                    </a:cubicBezTo>
                    <a:cubicBezTo>
                      <a:pt x="860" y="1127"/>
                      <a:pt x="860" y="1127"/>
                      <a:pt x="860" y="1127"/>
                    </a:cubicBezTo>
                    <a:lnTo>
                      <a:pt x="964" y="1229"/>
                    </a:lnTo>
                    <a:close/>
                    <a:moveTo>
                      <a:pt x="2340" y="8068"/>
                    </a:moveTo>
                    <a:cubicBezTo>
                      <a:pt x="2337" y="7952"/>
                      <a:pt x="2337" y="7952"/>
                      <a:pt x="2337" y="7952"/>
                    </a:cubicBezTo>
                    <a:cubicBezTo>
                      <a:pt x="2454" y="7951"/>
                      <a:pt x="2454" y="7951"/>
                      <a:pt x="2454" y="7951"/>
                    </a:cubicBezTo>
                    <a:cubicBezTo>
                      <a:pt x="2454" y="7961"/>
                      <a:pt x="2454" y="7961"/>
                      <a:pt x="2454" y="7961"/>
                    </a:cubicBezTo>
                    <a:cubicBezTo>
                      <a:pt x="2506" y="7961"/>
                      <a:pt x="2506" y="7961"/>
                      <a:pt x="2506" y="7961"/>
                    </a:cubicBezTo>
                    <a:cubicBezTo>
                      <a:pt x="2508" y="8146"/>
                      <a:pt x="2508" y="8146"/>
                      <a:pt x="2508" y="8146"/>
                    </a:cubicBezTo>
                    <a:cubicBezTo>
                      <a:pt x="2398" y="8147"/>
                      <a:pt x="2398" y="8147"/>
                      <a:pt x="2398" y="8147"/>
                    </a:cubicBezTo>
                    <a:cubicBezTo>
                      <a:pt x="2398" y="8074"/>
                      <a:pt x="2398" y="8074"/>
                      <a:pt x="2398" y="8074"/>
                    </a:cubicBezTo>
                    <a:cubicBezTo>
                      <a:pt x="2340" y="8074"/>
                      <a:pt x="2340" y="8074"/>
                      <a:pt x="2340" y="8074"/>
                    </a:cubicBezTo>
                    <a:lnTo>
                      <a:pt x="2340" y="8068"/>
                    </a:lnTo>
                    <a:close/>
                    <a:moveTo>
                      <a:pt x="2350" y="7965"/>
                    </a:moveTo>
                    <a:cubicBezTo>
                      <a:pt x="2353" y="8061"/>
                      <a:pt x="2353" y="8061"/>
                      <a:pt x="2353" y="8061"/>
                    </a:cubicBezTo>
                    <a:cubicBezTo>
                      <a:pt x="2411" y="8061"/>
                      <a:pt x="2411" y="8061"/>
                      <a:pt x="2411" y="8061"/>
                    </a:cubicBezTo>
                    <a:cubicBezTo>
                      <a:pt x="2411" y="8134"/>
                      <a:pt x="2411" y="8134"/>
                      <a:pt x="2411" y="8134"/>
                    </a:cubicBezTo>
                    <a:cubicBezTo>
                      <a:pt x="2495" y="8133"/>
                      <a:pt x="2495" y="8133"/>
                      <a:pt x="2495" y="8133"/>
                    </a:cubicBezTo>
                    <a:cubicBezTo>
                      <a:pt x="2493" y="7974"/>
                      <a:pt x="2493" y="7974"/>
                      <a:pt x="2493" y="7974"/>
                    </a:cubicBezTo>
                    <a:cubicBezTo>
                      <a:pt x="2441" y="7974"/>
                      <a:pt x="2441" y="7974"/>
                      <a:pt x="2441" y="7974"/>
                    </a:cubicBezTo>
                    <a:cubicBezTo>
                      <a:pt x="2441" y="7964"/>
                      <a:pt x="2441" y="7964"/>
                      <a:pt x="2441" y="7964"/>
                    </a:cubicBezTo>
                    <a:lnTo>
                      <a:pt x="2350" y="7965"/>
                    </a:lnTo>
                    <a:close/>
                    <a:moveTo>
                      <a:pt x="2778" y="8437"/>
                    </a:moveTo>
                    <a:cubicBezTo>
                      <a:pt x="2729" y="8353"/>
                      <a:pt x="2729" y="8353"/>
                      <a:pt x="2729" y="8353"/>
                    </a:cubicBezTo>
                    <a:cubicBezTo>
                      <a:pt x="2857" y="8279"/>
                      <a:pt x="2857" y="8279"/>
                      <a:pt x="2857" y="8279"/>
                    </a:cubicBezTo>
                    <a:cubicBezTo>
                      <a:pt x="2909" y="8369"/>
                      <a:pt x="2909" y="8369"/>
                      <a:pt x="2909" y="8369"/>
                    </a:cubicBezTo>
                    <a:cubicBezTo>
                      <a:pt x="2781" y="8443"/>
                      <a:pt x="2781" y="8443"/>
                      <a:pt x="2781" y="8443"/>
                    </a:cubicBezTo>
                    <a:lnTo>
                      <a:pt x="2778" y="8437"/>
                    </a:lnTo>
                    <a:close/>
                    <a:moveTo>
                      <a:pt x="2747" y="8357"/>
                    </a:moveTo>
                    <a:cubicBezTo>
                      <a:pt x="2786" y="8425"/>
                      <a:pt x="2786" y="8425"/>
                      <a:pt x="2786" y="8425"/>
                    </a:cubicBezTo>
                    <a:cubicBezTo>
                      <a:pt x="2892" y="8364"/>
                      <a:pt x="2892" y="8364"/>
                      <a:pt x="2892" y="8364"/>
                    </a:cubicBezTo>
                    <a:cubicBezTo>
                      <a:pt x="2852" y="8296"/>
                      <a:pt x="2852" y="8296"/>
                      <a:pt x="2852" y="8296"/>
                    </a:cubicBezTo>
                    <a:lnTo>
                      <a:pt x="2747" y="8357"/>
                    </a:lnTo>
                    <a:close/>
                    <a:moveTo>
                      <a:pt x="3105" y="8740"/>
                    </a:moveTo>
                    <a:cubicBezTo>
                      <a:pt x="2954" y="8726"/>
                      <a:pt x="2954" y="8726"/>
                      <a:pt x="2954" y="8726"/>
                    </a:cubicBezTo>
                    <a:cubicBezTo>
                      <a:pt x="2962" y="8650"/>
                      <a:pt x="2962" y="8650"/>
                      <a:pt x="2962" y="8650"/>
                    </a:cubicBezTo>
                    <a:cubicBezTo>
                      <a:pt x="2968" y="8651"/>
                      <a:pt x="2968" y="8651"/>
                      <a:pt x="2968" y="8651"/>
                    </a:cubicBezTo>
                    <a:cubicBezTo>
                      <a:pt x="3112" y="8665"/>
                      <a:pt x="3112" y="8665"/>
                      <a:pt x="3112" y="8665"/>
                    </a:cubicBezTo>
                    <a:lnTo>
                      <a:pt x="3105" y="8740"/>
                    </a:lnTo>
                    <a:close/>
                    <a:moveTo>
                      <a:pt x="3098" y="8677"/>
                    </a:moveTo>
                    <a:cubicBezTo>
                      <a:pt x="2973" y="8665"/>
                      <a:pt x="2973" y="8665"/>
                      <a:pt x="2973" y="8665"/>
                    </a:cubicBezTo>
                    <a:cubicBezTo>
                      <a:pt x="2969" y="8714"/>
                      <a:pt x="2969" y="8714"/>
                      <a:pt x="2969" y="8714"/>
                    </a:cubicBezTo>
                    <a:cubicBezTo>
                      <a:pt x="3093" y="8726"/>
                      <a:pt x="3093" y="8726"/>
                      <a:pt x="3093" y="8726"/>
                    </a:cubicBezTo>
                    <a:lnTo>
                      <a:pt x="3098" y="8677"/>
                    </a:lnTo>
                    <a:close/>
                    <a:moveTo>
                      <a:pt x="4525" y="1851"/>
                    </a:moveTo>
                    <a:cubicBezTo>
                      <a:pt x="4669" y="1816"/>
                      <a:pt x="4669" y="1816"/>
                      <a:pt x="4669" y="1816"/>
                    </a:cubicBezTo>
                    <a:cubicBezTo>
                      <a:pt x="4693" y="1918"/>
                      <a:pt x="4693" y="1918"/>
                      <a:pt x="4693" y="1918"/>
                    </a:cubicBezTo>
                    <a:cubicBezTo>
                      <a:pt x="4549" y="1952"/>
                      <a:pt x="4549" y="1952"/>
                      <a:pt x="4549" y="1952"/>
                    </a:cubicBezTo>
                    <a:cubicBezTo>
                      <a:pt x="4548" y="1946"/>
                      <a:pt x="4548" y="1946"/>
                      <a:pt x="4548" y="1946"/>
                    </a:cubicBezTo>
                    <a:lnTo>
                      <a:pt x="4525" y="1851"/>
                    </a:lnTo>
                    <a:close/>
                    <a:moveTo>
                      <a:pt x="4659" y="1832"/>
                    </a:moveTo>
                    <a:cubicBezTo>
                      <a:pt x="4541" y="1860"/>
                      <a:pt x="4541" y="1860"/>
                      <a:pt x="4541" y="1860"/>
                    </a:cubicBezTo>
                    <a:cubicBezTo>
                      <a:pt x="4559" y="1936"/>
                      <a:pt x="4559" y="1936"/>
                      <a:pt x="4559" y="1936"/>
                    </a:cubicBezTo>
                    <a:cubicBezTo>
                      <a:pt x="4678" y="1908"/>
                      <a:pt x="4678" y="1908"/>
                      <a:pt x="4678" y="1908"/>
                    </a:cubicBezTo>
                    <a:lnTo>
                      <a:pt x="4659" y="1832"/>
                    </a:lnTo>
                    <a:close/>
                    <a:moveTo>
                      <a:pt x="1821" y="3902"/>
                    </a:moveTo>
                    <a:cubicBezTo>
                      <a:pt x="1947" y="4033"/>
                      <a:pt x="1947" y="4033"/>
                      <a:pt x="1947" y="4033"/>
                    </a:cubicBezTo>
                    <a:cubicBezTo>
                      <a:pt x="1863" y="4110"/>
                      <a:pt x="1863" y="4110"/>
                      <a:pt x="1863" y="4110"/>
                    </a:cubicBezTo>
                    <a:cubicBezTo>
                      <a:pt x="1705" y="3943"/>
                      <a:pt x="1705" y="3943"/>
                      <a:pt x="1705" y="3943"/>
                    </a:cubicBezTo>
                    <a:lnTo>
                      <a:pt x="1821" y="3902"/>
                    </a:lnTo>
                    <a:close/>
                    <a:moveTo>
                      <a:pt x="1927" y="4032"/>
                    </a:moveTo>
                    <a:cubicBezTo>
                      <a:pt x="1817" y="3918"/>
                      <a:pt x="1817" y="3918"/>
                      <a:pt x="1817" y="3918"/>
                    </a:cubicBezTo>
                    <a:cubicBezTo>
                      <a:pt x="1730" y="3949"/>
                      <a:pt x="1730" y="3949"/>
                      <a:pt x="1730" y="3949"/>
                    </a:cubicBezTo>
                    <a:cubicBezTo>
                      <a:pt x="1863" y="4090"/>
                      <a:pt x="1863" y="4090"/>
                      <a:pt x="1863" y="4090"/>
                    </a:cubicBezTo>
                    <a:lnTo>
                      <a:pt x="1927" y="4032"/>
                    </a:lnTo>
                    <a:close/>
                    <a:moveTo>
                      <a:pt x="9927" y="5114"/>
                    </a:moveTo>
                    <a:cubicBezTo>
                      <a:pt x="9972" y="5259"/>
                      <a:pt x="9972" y="5259"/>
                      <a:pt x="9972" y="5259"/>
                    </a:cubicBezTo>
                    <a:cubicBezTo>
                      <a:pt x="9900" y="5281"/>
                      <a:pt x="9900" y="5281"/>
                      <a:pt x="9900" y="5281"/>
                    </a:cubicBezTo>
                    <a:cubicBezTo>
                      <a:pt x="9898" y="5275"/>
                      <a:pt x="9898" y="5275"/>
                      <a:pt x="9898" y="5275"/>
                    </a:cubicBezTo>
                    <a:cubicBezTo>
                      <a:pt x="9855" y="5137"/>
                      <a:pt x="9855" y="5137"/>
                      <a:pt x="9855" y="5137"/>
                    </a:cubicBezTo>
                    <a:lnTo>
                      <a:pt x="9927" y="5114"/>
                    </a:lnTo>
                    <a:close/>
                    <a:moveTo>
                      <a:pt x="9956" y="5250"/>
                    </a:moveTo>
                    <a:cubicBezTo>
                      <a:pt x="9919" y="5131"/>
                      <a:pt x="9919" y="5131"/>
                      <a:pt x="9919" y="5131"/>
                    </a:cubicBezTo>
                    <a:cubicBezTo>
                      <a:pt x="9871" y="5145"/>
                      <a:pt x="9871" y="5145"/>
                      <a:pt x="9871" y="5145"/>
                    </a:cubicBezTo>
                    <a:cubicBezTo>
                      <a:pt x="9908" y="5265"/>
                      <a:pt x="9908" y="5265"/>
                      <a:pt x="9908" y="5265"/>
                    </a:cubicBezTo>
                    <a:lnTo>
                      <a:pt x="9956" y="5250"/>
                    </a:lnTo>
                    <a:close/>
                    <a:moveTo>
                      <a:pt x="2150" y="8533"/>
                    </a:moveTo>
                    <a:cubicBezTo>
                      <a:pt x="2241" y="8635"/>
                      <a:pt x="2241" y="8635"/>
                      <a:pt x="2241" y="8635"/>
                    </a:cubicBezTo>
                    <a:cubicBezTo>
                      <a:pt x="1956" y="8715"/>
                      <a:pt x="1956" y="8715"/>
                      <a:pt x="1956" y="8715"/>
                    </a:cubicBezTo>
                    <a:cubicBezTo>
                      <a:pt x="1833" y="8699"/>
                      <a:pt x="1833" y="8699"/>
                      <a:pt x="1833" y="8699"/>
                    </a:cubicBezTo>
                    <a:cubicBezTo>
                      <a:pt x="1756" y="8794"/>
                      <a:pt x="1756" y="8794"/>
                      <a:pt x="1756" y="8794"/>
                    </a:cubicBezTo>
                    <a:cubicBezTo>
                      <a:pt x="1878" y="8903"/>
                      <a:pt x="1878" y="8903"/>
                      <a:pt x="1878" y="8903"/>
                    </a:cubicBezTo>
                    <a:cubicBezTo>
                      <a:pt x="1781" y="8994"/>
                      <a:pt x="1781" y="8994"/>
                      <a:pt x="1781" y="8994"/>
                    </a:cubicBezTo>
                    <a:cubicBezTo>
                      <a:pt x="1610" y="8834"/>
                      <a:pt x="1610" y="8834"/>
                      <a:pt x="1610" y="8834"/>
                    </a:cubicBezTo>
                    <a:cubicBezTo>
                      <a:pt x="1799" y="8553"/>
                      <a:pt x="1799" y="8553"/>
                      <a:pt x="1799" y="8553"/>
                    </a:cubicBezTo>
                    <a:cubicBezTo>
                      <a:pt x="1899" y="8620"/>
                      <a:pt x="1899" y="8620"/>
                      <a:pt x="1899" y="8620"/>
                    </a:cubicBezTo>
                    <a:cubicBezTo>
                      <a:pt x="2023" y="8413"/>
                      <a:pt x="2023" y="8413"/>
                      <a:pt x="2023" y="8413"/>
                    </a:cubicBezTo>
                    <a:cubicBezTo>
                      <a:pt x="2029" y="8419"/>
                      <a:pt x="2029" y="8419"/>
                      <a:pt x="2029" y="8419"/>
                    </a:cubicBezTo>
                    <a:lnTo>
                      <a:pt x="2150" y="8533"/>
                    </a:lnTo>
                    <a:close/>
                    <a:moveTo>
                      <a:pt x="2214" y="8627"/>
                    </a:moveTo>
                    <a:cubicBezTo>
                      <a:pt x="2140" y="8544"/>
                      <a:pt x="2140" y="8544"/>
                      <a:pt x="2140" y="8544"/>
                    </a:cubicBezTo>
                    <a:cubicBezTo>
                      <a:pt x="2026" y="8436"/>
                      <a:pt x="2026" y="8436"/>
                      <a:pt x="2026" y="8436"/>
                    </a:cubicBezTo>
                    <a:cubicBezTo>
                      <a:pt x="1904" y="8641"/>
                      <a:pt x="1904" y="8641"/>
                      <a:pt x="1904" y="8641"/>
                    </a:cubicBezTo>
                    <a:cubicBezTo>
                      <a:pt x="1803" y="8573"/>
                      <a:pt x="1803" y="8573"/>
                      <a:pt x="1803" y="8573"/>
                    </a:cubicBezTo>
                    <a:cubicBezTo>
                      <a:pt x="1629" y="8832"/>
                      <a:pt x="1629" y="8832"/>
                      <a:pt x="1629" y="8832"/>
                    </a:cubicBezTo>
                    <a:cubicBezTo>
                      <a:pt x="1781" y="8973"/>
                      <a:pt x="1781" y="8973"/>
                      <a:pt x="1781" y="8973"/>
                    </a:cubicBezTo>
                    <a:cubicBezTo>
                      <a:pt x="1856" y="8903"/>
                      <a:pt x="1856" y="8903"/>
                      <a:pt x="1856" y="8903"/>
                    </a:cubicBezTo>
                    <a:cubicBezTo>
                      <a:pt x="1735" y="8796"/>
                      <a:pt x="1735" y="8796"/>
                      <a:pt x="1735" y="8796"/>
                    </a:cubicBezTo>
                    <a:cubicBezTo>
                      <a:pt x="1827" y="8684"/>
                      <a:pt x="1827" y="8684"/>
                      <a:pt x="1827" y="8684"/>
                    </a:cubicBezTo>
                    <a:cubicBezTo>
                      <a:pt x="1954" y="8700"/>
                      <a:pt x="1954" y="8700"/>
                      <a:pt x="1954" y="8700"/>
                    </a:cubicBezTo>
                    <a:lnTo>
                      <a:pt x="2214" y="8627"/>
                    </a:lnTo>
                    <a:close/>
                    <a:moveTo>
                      <a:pt x="5604" y="8643"/>
                    </a:moveTo>
                    <a:cubicBezTo>
                      <a:pt x="5603" y="8472"/>
                      <a:pt x="5603" y="8472"/>
                      <a:pt x="5603" y="8472"/>
                    </a:cubicBezTo>
                    <a:cubicBezTo>
                      <a:pt x="5733" y="8473"/>
                      <a:pt x="5733" y="8473"/>
                      <a:pt x="5733" y="8473"/>
                    </a:cubicBezTo>
                    <a:cubicBezTo>
                      <a:pt x="5730" y="8558"/>
                      <a:pt x="5730" y="8558"/>
                      <a:pt x="5730" y="8558"/>
                    </a:cubicBezTo>
                    <a:cubicBezTo>
                      <a:pt x="5814" y="8559"/>
                      <a:pt x="5814" y="8559"/>
                      <a:pt x="5814" y="8559"/>
                    </a:cubicBezTo>
                    <a:cubicBezTo>
                      <a:pt x="5812" y="8741"/>
                      <a:pt x="5812" y="8741"/>
                      <a:pt x="5812" y="8741"/>
                    </a:cubicBezTo>
                    <a:cubicBezTo>
                      <a:pt x="5689" y="8741"/>
                      <a:pt x="5689" y="8741"/>
                      <a:pt x="5689" y="8741"/>
                    </a:cubicBezTo>
                    <a:cubicBezTo>
                      <a:pt x="5688" y="8644"/>
                      <a:pt x="5688" y="8644"/>
                      <a:pt x="5688" y="8644"/>
                    </a:cubicBezTo>
                    <a:lnTo>
                      <a:pt x="5604" y="8643"/>
                    </a:lnTo>
                    <a:close/>
                    <a:moveTo>
                      <a:pt x="5616" y="8486"/>
                    </a:moveTo>
                    <a:cubicBezTo>
                      <a:pt x="5617" y="8630"/>
                      <a:pt x="5617" y="8630"/>
                      <a:pt x="5617" y="8630"/>
                    </a:cubicBezTo>
                    <a:cubicBezTo>
                      <a:pt x="5701" y="8631"/>
                      <a:pt x="5701" y="8631"/>
                      <a:pt x="5701" y="8631"/>
                    </a:cubicBezTo>
                    <a:cubicBezTo>
                      <a:pt x="5701" y="8637"/>
                      <a:pt x="5701" y="8637"/>
                      <a:pt x="5701" y="8637"/>
                    </a:cubicBezTo>
                    <a:cubicBezTo>
                      <a:pt x="5702" y="8728"/>
                      <a:pt x="5702" y="8728"/>
                      <a:pt x="5702" y="8728"/>
                    </a:cubicBezTo>
                    <a:cubicBezTo>
                      <a:pt x="5799" y="8728"/>
                      <a:pt x="5799" y="8728"/>
                      <a:pt x="5799" y="8728"/>
                    </a:cubicBezTo>
                    <a:cubicBezTo>
                      <a:pt x="5801" y="8572"/>
                      <a:pt x="5801" y="8572"/>
                      <a:pt x="5801" y="8572"/>
                    </a:cubicBezTo>
                    <a:cubicBezTo>
                      <a:pt x="5717" y="8571"/>
                      <a:pt x="5717" y="8571"/>
                      <a:pt x="5717" y="8571"/>
                    </a:cubicBezTo>
                    <a:cubicBezTo>
                      <a:pt x="5720" y="8486"/>
                      <a:pt x="5720" y="8486"/>
                      <a:pt x="5720" y="8486"/>
                    </a:cubicBezTo>
                    <a:lnTo>
                      <a:pt x="5616" y="8486"/>
                    </a:lnTo>
                    <a:close/>
                    <a:moveTo>
                      <a:pt x="10218" y="5031"/>
                    </a:moveTo>
                    <a:cubicBezTo>
                      <a:pt x="10262" y="5176"/>
                      <a:pt x="10262" y="5176"/>
                      <a:pt x="10262" y="5176"/>
                    </a:cubicBezTo>
                    <a:cubicBezTo>
                      <a:pt x="10190" y="5198"/>
                      <a:pt x="10190" y="5198"/>
                      <a:pt x="10190" y="5198"/>
                    </a:cubicBezTo>
                    <a:cubicBezTo>
                      <a:pt x="10188" y="5192"/>
                      <a:pt x="10188" y="5192"/>
                      <a:pt x="10188" y="5192"/>
                    </a:cubicBezTo>
                    <a:cubicBezTo>
                      <a:pt x="10145" y="5053"/>
                      <a:pt x="10145" y="5053"/>
                      <a:pt x="10145" y="5053"/>
                    </a:cubicBezTo>
                    <a:lnTo>
                      <a:pt x="10218" y="5031"/>
                    </a:lnTo>
                    <a:close/>
                    <a:moveTo>
                      <a:pt x="10246" y="5167"/>
                    </a:moveTo>
                    <a:cubicBezTo>
                      <a:pt x="10209" y="5047"/>
                      <a:pt x="10209" y="5047"/>
                      <a:pt x="10209" y="5047"/>
                    </a:cubicBezTo>
                    <a:cubicBezTo>
                      <a:pt x="10162" y="5062"/>
                      <a:pt x="10162" y="5062"/>
                      <a:pt x="10162" y="5062"/>
                    </a:cubicBezTo>
                    <a:cubicBezTo>
                      <a:pt x="10199" y="5182"/>
                      <a:pt x="10199" y="5182"/>
                      <a:pt x="10199" y="5182"/>
                    </a:cubicBezTo>
                    <a:lnTo>
                      <a:pt x="10246" y="5167"/>
                    </a:lnTo>
                    <a:close/>
                    <a:moveTo>
                      <a:pt x="10114" y="5064"/>
                    </a:moveTo>
                    <a:cubicBezTo>
                      <a:pt x="10158" y="5208"/>
                      <a:pt x="10158" y="5208"/>
                      <a:pt x="10158" y="5208"/>
                    </a:cubicBezTo>
                    <a:cubicBezTo>
                      <a:pt x="10086" y="5231"/>
                      <a:pt x="10086" y="5231"/>
                      <a:pt x="10086" y="5231"/>
                    </a:cubicBezTo>
                    <a:cubicBezTo>
                      <a:pt x="10084" y="5224"/>
                      <a:pt x="10084" y="5224"/>
                      <a:pt x="10084" y="5224"/>
                    </a:cubicBezTo>
                    <a:cubicBezTo>
                      <a:pt x="10041" y="5086"/>
                      <a:pt x="10041" y="5086"/>
                      <a:pt x="10041" y="5086"/>
                    </a:cubicBezTo>
                    <a:lnTo>
                      <a:pt x="10114" y="5064"/>
                    </a:lnTo>
                    <a:close/>
                    <a:moveTo>
                      <a:pt x="10142" y="5200"/>
                    </a:moveTo>
                    <a:cubicBezTo>
                      <a:pt x="10105" y="5080"/>
                      <a:pt x="10105" y="5080"/>
                      <a:pt x="10105" y="5080"/>
                    </a:cubicBezTo>
                    <a:cubicBezTo>
                      <a:pt x="10058" y="5095"/>
                      <a:pt x="10058" y="5095"/>
                      <a:pt x="10058" y="5095"/>
                    </a:cubicBezTo>
                    <a:cubicBezTo>
                      <a:pt x="10095" y="5214"/>
                      <a:pt x="10095" y="5214"/>
                      <a:pt x="10095" y="5214"/>
                    </a:cubicBezTo>
                    <a:lnTo>
                      <a:pt x="10142" y="5200"/>
                    </a:lnTo>
                    <a:close/>
                    <a:moveTo>
                      <a:pt x="10505" y="4364"/>
                    </a:moveTo>
                    <a:cubicBezTo>
                      <a:pt x="10553" y="4510"/>
                      <a:pt x="10553" y="4510"/>
                      <a:pt x="10553" y="4510"/>
                    </a:cubicBezTo>
                    <a:cubicBezTo>
                      <a:pt x="10601" y="4497"/>
                      <a:pt x="10601" y="4497"/>
                      <a:pt x="10601" y="4497"/>
                    </a:cubicBezTo>
                    <a:cubicBezTo>
                      <a:pt x="10678" y="4743"/>
                      <a:pt x="10678" y="4743"/>
                      <a:pt x="10678" y="4743"/>
                    </a:cubicBezTo>
                    <a:cubicBezTo>
                      <a:pt x="10680" y="4750"/>
                      <a:pt x="10680" y="4750"/>
                      <a:pt x="10680" y="4750"/>
                    </a:cubicBezTo>
                    <a:cubicBezTo>
                      <a:pt x="10466" y="4817"/>
                      <a:pt x="10466" y="4817"/>
                      <a:pt x="10466" y="4817"/>
                    </a:cubicBezTo>
                    <a:cubicBezTo>
                      <a:pt x="10438" y="4727"/>
                      <a:pt x="10438" y="4727"/>
                      <a:pt x="10438" y="4727"/>
                    </a:cubicBezTo>
                    <a:cubicBezTo>
                      <a:pt x="10295" y="4770"/>
                      <a:pt x="10295" y="4770"/>
                      <a:pt x="10295" y="4770"/>
                    </a:cubicBezTo>
                    <a:cubicBezTo>
                      <a:pt x="10322" y="4860"/>
                      <a:pt x="10322" y="4860"/>
                      <a:pt x="10322" y="4860"/>
                    </a:cubicBezTo>
                    <a:cubicBezTo>
                      <a:pt x="10120" y="4926"/>
                      <a:pt x="10120" y="4926"/>
                      <a:pt x="10120" y="4926"/>
                    </a:cubicBezTo>
                    <a:cubicBezTo>
                      <a:pt x="10103" y="4875"/>
                      <a:pt x="10103" y="4875"/>
                      <a:pt x="10103" y="4875"/>
                    </a:cubicBezTo>
                    <a:cubicBezTo>
                      <a:pt x="10179" y="4850"/>
                      <a:pt x="10179" y="4850"/>
                      <a:pt x="10179" y="4850"/>
                    </a:cubicBezTo>
                    <a:cubicBezTo>
                      <a:pt x="10146" y="4745"/>
                      <a:pt x="10146" y="4745"/>
                      <a:pt x="10146" y="4745"/>
                    </a:cubicBezTo>
                    <a:cubicBezTo>
                      <a:pt x="10074" y="4766"/>
                      <a:pt x="10074" y="4766"/>
                      <a:pt x="10074" y="4766"/>
                    </a:cubicBezTo>
                    <a:cubicBezTo>
                      <a:pt x="10043" y="4667"/>
                      <a:pt x="10043" y="4667"/>
                      <a:pt x="10043" y="4667"/>
                    </a:cubicBezTo>
                    <a:cubicBezTo>
                      <a:pt x="10396" y="4557"/>
                      <a:pt x="10396" y="4557"/>
                      <a:pt x="10396" y="4557"/>
                    </a:cubicBezTo>
                    <a:cubicBezTo>
                      <a:pt x="10353" y="4413"/>
                      <a:pt x="10353" y="4413"/>
                      <a:pt x="10353" y="4413"/>
                    </a:cubicBezTo>
                    <a:lnTo>
                      <a:pt x="10505" y="4364"/>
                    </a:lnTo>
                    <a:close/>
                    <a:moveTo>
                      <a:pt x="10543" y="4528"/>
                    </a:moveTo>
                    <a:cubicBezTo>
                      <a:pt x="10496" y="4383"/>
                      <a:pt x="10496" y="4383"/>
                      <a:pt x="10496" y="4383"/>
                    </a:cubicBezTo>
                    <a:cubicBezTo>
                      <a:pt x="10372" y="4423"/>
                      <a:pt x="10372" y="4423"/>
                      <a:pt x="10372" y="4423"/>
                    </a:cubicBezTo>
                    <a:cubicBezTo>
                      <a:pt x="10415" y="4567"/>
                      <a:pt x="10415" y="4567"/>
                      <a:pt x="10415" y="4567"/>
                    </a:cubicBezTo>
                    <a:cubicBezTo>
                      <a:pt x="10061" y="4677"/>
                      <a:pt x="10061" y="4677"/>
                      <a:pt x="10061" y="4677"/>
                    </a:cubicBezTo>
                    <a:cubicBezTo>
                      <a:pt x="10084" y="4748"/>
                      <a:pt x="10084" y="4748"/>
                      <a:pt x="10084" y="4748"/>
                    </a:cubicBezTo>
                    <a:cubicBezTo>
                      <a:pt x="10156" y="4727"/>
                      <a:pt x="10156" y="4727"/>
                      <a:pt x="10156" y="4727"/>
                    </a:cubicBezTo>
                    <a:cubicBezTo>
                      <a:pt x="10197" y="4859"/>
                      <a:pt x="10197" y="4859"/>
                      <a:pt x="10197" y="4859"/>
                    </a:cubicBezTo>
                    <a:cubicBezTo>
                      <a:pt x="10122" y="4884"/>
                      <a:pt x="10122" y="4884"/>
                      <a:pt x="10122" y="4884"/>
                    </a:cubicBezTo>
                    <a:cubicBezTo>
                      <a:pt x="10129" y="4908"/>
                      <a:pt x="10129" y="4908"/>
                      <a:pt x="10129" y="4908"/>
                    </a:cubicBezTo>
                    <a:cubicBezTo>
                      <a:pt x="10303" y="4850"/>
                      <a:pt x="10303" y="4850"/>
                      <a:pt x="10303" y="4850"/>
                    </a:cubicBezTo>
                    <a:cubicBezTo>
                      <a:pt x="10276" y="4760"/>
                      <a:pt x="10276" y="4760"/>
                      <a:pt x="10276" y="4760"/>
                    </a:cubicBezTo>
                    <a:cubicBezTo>
                      <a:pt x="10447" y="4708"/>
                      <a:pt x="10447" y="4708"/>
                      <a:pt x="10447" y="4708"/>
                    </a:cubicBezTo>
                    <a:cubicBezTo>
                      <a:pt x="10476" y="4798"/>
                      <a:pt x="10476" y="4798"/>
                      <a:pt x="10476" y="4798"/>
                    </a:cubicBezTo>
                    <a:cubicBezTo>
                      <a:pt x="10661" y="4740"/>
                      <a:pt x="10661" y="4740"/>
                      <a:pt x="10661" y="4740"/>
                    </a:cubicBezTo>
                    <a:cubicBezTo>
                      <a:pt x="10591" y="4515"/>
                      <a:pt x="10591" y="4515"/>
                      <a:pt x="10591" y="4515"/>
                    </a:cubicBezTo>
                    <a:lnTo>
                      <a:pt x="10543" y="4528"/>
                    </a:lnTo>
                    <a:close/>
                    <a:moveTo>
                      <a:pt x="9360" y="5948"/>
                    </a:moveTo>
                    <a:cubicBezTo>
                      <a:pt x="9360" y="5948"/>
                      <a:pt x="9360" y="5948"/>
                      <a:pt x="9360" y="5948"/>
                    </a:cubicBezTo>
                    <a:cubicBezTo>
                      <a:pt x="9360" y="5948"/>
                      <a:pt x="9360" y="5948"/>
                      <a:pt x="9360" y="5948"/>
                    </a:cubicBezTo>
                    <a:close/>
                    <a:moveTo>
                      <a:pt x="9861" y="8322"/>
                    </a:moveTo>
                    <a:cubicBezTo>
                      <a:pt x="9775" y="8322"/>
                      <a:pt x="9775" y="8322"/>
                      <a:pt x="9775" y="8322"/>
                    </a:cubicBezTo>
                    <a:cubicBezTo>
                      <a:pt x="9775" y="8153"/>
                      <a:pt x="9775" y="8153"/>
                      <a:pt x="9775" y="8153"/>
                    </a:cubicBezTo>
                    <a:cubicBezTo>
                      <a:pt x="9909" y="8153"/>
                      <a:pt x="9909" y="8153"/>
                      <a:pt x="9909" y="8153"/>
                    </a:cubicBezTo>
                    <a:cubicBezTo>
                      <a:pt x="9909" y="8242"/>
                      <a:pt x="9909" y="8242"/>
                      <a:pt x="9909" y="8242"/>
                    </a:cubicBezTo>
                    <a:cubicBezTo>
                      <a:pt x="9989" y="8242"/>
                      <a:pt x="9989" y="8242"/>
                      <a:pt x="9989" y="8242"/>
                    </a:cubicBezTo>
                    <a:cubicBezTo>
                      <a:pt x="9989" y="8424"/>
                      <a:pt x="9989" y="8424"/>
                      <a:pt x="9989" y="8424"/>
                    </a:cubicBezTo>
                    <a:cubicBezTo>
                      <a:pt x="9861" y="8424"/>
                      <a:pt x="9861" y="8424"/>
                      <a:pt x="9861" y="8424"/>
                    </a:cubicBezTo>
                    <a:lnTo>
                      <a:pt x="9861" y="8322"/>
                    </a:lnTo>
                    <a:close/>
                    <a:moveTo>
                      <a:pt x="9873" y="8311"/>
                    </a:moveTo>
                    <a:cubicBezTo>
                      <a:pt x="9873" y="8317"/>
                      <a:pt x="9873" y="8317"/>
                      <a:pt x="9873" y="8317"/>
                    </a:cubicBezTo>
                    <a:cubicBezTo>
                      <a:pt x="9873" y="8412"/>
                      <a:pt x="9873" y="8412"/>
                      <a:pt x="9873" y="8412"/>
                    </a:cubicBezTo>
                    <a:cubicBezTo>
                      <a:pt x="9977" y="8412"/>
                      <a:pt x="9977" y="8412"/>
                      <a:pt x="9977" y="8412"/>
                    </a:cubicBezTo>
                    <a:cubicBezTo>
                      <a:pt x="9977" y="8253"/>
                      <a:pt x="9977" y="8253"/>
                      <a:pt x="9977" y="8253"/>
                    </a:cubicBezTo>
                    <a:cubicBezTo>
                      <a:pt x="9897" y="8253"/>
                      <a:pt x="9897" y="8253"/>
                      <a:pt x="9897" y="8253"/>
                    </a:cubicBezTo>
                    <a:cubicBezTo>
                      <a:pt x="9897" y="8165"/>
                      <a:pt x="9897" y="8165"/>
                      <a:pt x="9897" y="8165"/>
                    </a:cubicBezTo>
                    <a:cubicBezTo>
                      <a:pt x="9787" y="8165"/>
                      <a:pt x="9787" y="8165"/>
                      <a:pt x="9787" y="8165"/>
                    </a:cubicBezTo>
                    <a:cubicBezTo>
                      <a:pt x="9787" y="8311"/>
                      <a:pt x="9787" y="8311"/>
                      <a:pt x="9787" y="8311"/>
                    </a:cubicBezTo>
                    <a:lnTo>
                      <a:pt x="9873" y="8311"/>
                    </a:lnTo>
                    <a:close/>
                    <a:moveTo>
                      <a:pt x="9515" y="5187"/>
                    </a:moveTo>
                    <a:cubicBezTo>
                      <a:pt x="9560" y="5332"/>
                      <a:pt x="9560" y="5332"/>
                      <a:pt x="9560" y="5332"/>
                    </a:cubicBezTo>
                    <a:cubicBezTo>
                      <a:pt x="9487" y="5354"/>
                      <a:pt x="9487" y="5354"/>
                      <a:pt x="9487" y="5354"/>
                    </a:cubicBezTo>
                    <a:cubicBezTo>
                      <a:pt x="9485" y="5348"/>
                      <a:pt x="9485" y="5348"/>
                      <a:pt x="9485" y="5348"/>
                    </a:cubicBezTo>
                    <a:cubicBezTo>
                      <a:pt x="9442" y="5210"/>
                      <a:pt x="9442" y="5210"/>
                      <a:pt x="9442" y="5210"/>
                    </a:cubicBezTo>
                    <a:lnTo>
                      <a:pt x="9515" y="5187"/>
                    </a:lnTo>
                    <a:close/>
                    <a:moveTo>
                      <a:pt x="9543" y="5323"/>
                    </a:moveTo>
                    <a:cubicBezTo>
                      <a:pt x="9506" y="5204"/>
                      <a:pt x="9506" y="5204"/>
                      <a:pt x="9506" y="5204"/>
                    </a:cubicBezTo>
                    <a:cubicBezTo>
                      <a:pt x="9459" y="5218"/>
                      <a:pt x="9459" y="5218"/>
                      <a:pt x="9459" y="5218"/>
                    </a:cubicBezTo>
                    <a:cubicBezTo>
                      <a:pt x="9496" y="5338"/>
                      <a:pt x="9496" y="5338"/>
                      <a:pt x="9496" y="5338"/>
                    </a:cubicBezTo>
                    <a:lnTo>
                      <a:pt x="9543" y="5323"/>
                    </a:lnTo>
                    <a:close/>
                    <a:moveTo>
                      <a:pt x="4460" y="2233"/>
                    </a:moveTo>
                    <a:cubicBezTo>
                      <a:pt x="4390" y="2256"/>
                      <a:pt x="4390" y="2256"/>
                      <a:pt x="4390" y="2256"/>
                    </a:cubicBezTo>
                    <a:cubicBezTo>
                      <a:pt x="4414" y="2328"/>
                      <a:pt x="4414" y="2328"/>
                      <a:pt x="4414" y="2328"/>
                    </a:cubicBezTo>
                    <a:cubicBezTo>
                      <a:pt x="4342" y="2352"/>
                      <a:pt x="4342" y="2352"/>
                      <a:pt x="4342" y="2352"/>
                    </a:cubicBezTo>
                    <a:cubicBezTo>
                      <a:pt x="4340" y="2345"/>
                      <a:pt x="4340" y="2345"/>
                      <a:pt x="4340" y="2345"/>
                    </a:cubicBezTo>
                    <a:cubicBezTo>
                      <a:pt x="4282" y="2162"/>
                      <a:pt x="4282" y="2162"/>
                      <a:pt x="4282" y="2162"/>
                    </a:cubicBezTo>
                    <a:cubicBezTo>
                      <a:pt x="4329" y="2147"/>
                      <a:pt x="4329" y="2147"/>
                      <a:pt x="4329" y="2147"/>
                    </a:cubicBezTo>
                    <a:cubicBezTo>
                      <a:pt x="4326" y="2136"/>
                      <a:pt x="4326" y="2136"/>
                      <a:pt x="4326" y="2136"/>
                    </a:cubicBezTo>
                    <a:cubicBezTo>
                      <a:pt x="4323" y="2130"/>
                      <a:pt x="4323" y="2130"/>
                      <a:pt x="4323" y="2130"/>
                    </a:cubicBezTo>
                    <a:cubicBezTo>
                      <a:pt x="4415" y="2099"/>
                      <a:pt x="4415" y="2099"/>
                      <a:pt x="4415" y="2099"/>
                    </a:cubicBezTo>
                    <a:lnTo>
                      <a:pt x="4460" y="2233"/>
                    </a:lnTo>
                    <a:close/>
                    <a:moveTo>
                      <a:pt x="4374" y="2248"/>
                    </a:moveTo>
                    <a:cubicBezTo>
                      <a:pt x="4443" y="2225"/>
                      <a:pt x="4443" y="2225"/>
                      <a:pt x="4443" y="2225"/>
                    </a:cubicBezTo>
                    <a:cubicBezTo>
                      <a:pt x="4407" y="2116"/>
                      <a:pt x="4407" y="2116"/>
                      <a:pt x="4407" y="2116"/>
                    </a:cubicBezTo>
                    <a:cubicBezTo>
                      <a:pt x="4340" y="2138"/>
                      <a:pt x="4340" y="2138"/>
                      <a:pt x="4340" y="2138"/>
                    </a:cubicBezTo>
                    <a:cubicBezTo>
                      <a:pt x="4344" y="2149"/>
                      <a:pt x="4344" y="2149"/>
                      <a:pt x="4344" y="2149"/>
                    </a:cubicBezTo>
                    <a:cubicBezTo>
                      <a:pt x="4346" y="2155"/>
                      <a:pt x="4346" y="2155"/>
                      <a:pt x="4346" y="2155"/>
                    </a:cubicBezTo>
                    <a:cubicBezTo>
                      <a:pt x="4299" y="2171"/>
                      <a:pt x="4299" y="2171"/>
                      <a:pt x="4299" y="2171"/>
                    </a:cubicBezTo>
                    <a:cubicBezTo>
                      <a:pt x="4350" y="2335"/>
                      <a:pt x="4350" y="2335"/>
                      <a:pt x="4350" y="2335"/>
                    </a:cubicBezTo>
                    <a:cubicBezTo>
                      <a:pt x="4397" y="2320"/>
                      <a:pt x="4397" y="2320"/>
                      <a:pt x="4397" y="2320"/>
                    </a:cubicBezTo>
                    <a:lnTo>
                      <a:pt x="4374" y="2248"/>
                    </a:lnTo>
                    <a:close/>
                    <a:moveTo>
                      <a:pt x="6905" y="9334"/>
                    </a:moveTo>
                    <a:cubicBezTo>
                      <a:pt x="7023" y="9335"/>
                      <a:pt x="7023" y="9335"/>
                      <a:pt x="7023" y="9335"/>
                    </a:cubicBezTo>
                    <a:cubicBezTo>
                      <a:pt x="7019" y="9457"/>
                      <a:pt x="7019" y="9457"/>
                      <a:pt x="7019" y="9457"/>
                    </a:cubicBezTo>
                    <a:cubicBezTo>
                      <a:pt x="7013" y="9457"/>
                      <a:pt x="7013" y="9457"/>
                      <a:pt x="7013" y="9457"/>
                    </a:cubicBezTo>
                    <a:cubicBezTo>
                      <a:pt x="6962" y="9457"/>
                      <a:pt x="6962" y="9457"/>
                      <a:pt x="6962" y="9457"/>
                    </a:cubicBezTo>
                    <a:cubicBezTo>
                      <a:pt x="6962" y="9530"/>
                      <a:pt x="6962" y="9530"/>
                      <a:pt x="6962" y="9530"/>
                    </a:cubicBezTo>
                    <a:cubicBezTo>
                      <a:pt x="6852" y="9529"/>
                      <a:pt x="6852" y="9529"/>
                      <a:pt x="6852" y="9529"/>
                    </a:cubicBezTo>
                    <a:cubicBezTo>
                      <a:pt x="6853" y="9344"/>
                      <a:pt x="6853" y="9344"/>
                      <a:pt x="6853" y="9344"/>
                    </a:cubicBezTo>
                    <a:cubicBezTo>
                      <a:pt x="6905" y="9344"/>
                      <a:pt x="6905" y="9344"/>
                      <a:pt x="6905" y="9344"/>
                    </a:cubicBezTo>
                    <a:cubicBezTo>
                      <a:pt x="6905" y="9340"/>
                      <a:pt x="6905" y="9340"/>
                      <a:pt x="6905" y="9340"/>
                    </a:cubicBezTo>
                    <a:lnTo>
                      <a:pt x="6905" y="9334"/>
                    </a:lnTo>
                    <a:close/>
                    <a:moveTo>
                      <a:pt x="6918" y="9358"/>
                    </a:moveTo>
                    <a:cubicBezTo>
                      <a:pt x="6866" y="9357"/>
                      <a:pt x="6866" y="9357"/>
                      <a:pt x="6866" y="9357"/>
                    </a:cubicBezTo>
                    <a:cubicBezTo>
                      <a:pt x="6865" y="9516"/>
                      <a:pt x="6865" y="9516"/>
                      <a:pt x="6865" y="9516"/>
                    </a:cubicBezTo>
                    <a:cubicBezTo>
                      <a:pt x="6948" y="9517"/>
                      <a:pt x="6948" y="9517"/>
                      <a:pt x="6948" y="9517"/>
                    </a:cubicBezTo>
                    <a:cubicBezTo>
                      <a:pt x="6949" y="9444"/>
                      <a:pt x="6949" y="9444"/>
                      <a:pt x="6949" y="9444"/>
                    </a:cubicBezTo>
                    <a:cubicBezTo>
                      <a:pt x="7007" y="9444"/>
                      <a:pt x="7007" y="9444"/>
                      <a:pt x="7007" y="9444"/>
                    </a:cubicBezTo>
                    <a:cubicBezTo>
                      <a:pt x="7009" y="9348"/>
                      <a:pt x="7009" y="9348"/>
                      <a:pt x="7009" y="9348"/>
                    </a:cubicBezTo>
                    <a:cubicBezTo>
                      <a:pt x="6918" y="9347"/>
                      <a:pt x="6918" y="9347"/>
                      <a:pt x="6918" y="9347"/>
                    </a:cubicBezTo>
                    <a:cubicBezTo>
                      <a:pt x="6918" y="9351"/>
                      <a:pt x="6918" y="9351"/>
                      <a:pt x="6918" y="9351"/>
                    </a:cubicBezTo>
                    <a:lnTo>
                      <a:pt x="6918" y="9358"/>
                    </a:lnTo>
                    <a:close/>
                    <a:moveTo>
                      <a:pt x="10447" y="5115"/>
                    </a:moveTo>
                    <a:cubicBezTo>
                      <a:pt x="10375" y="5137"/>
                      <a:pt x="10375" y="5137"/>
                      <a:pt x="10375" y="5137"/>
                    </a:cubicBezTo>
                    <a:cubicBezTo>
                      <a:pt x="10373" y="5131"/>
                      <a:pt x="10373" y="5131"/>
                      <a:pt x="10373" y="5131"/>
                    </a:cubicBezTo>
                    <a:cubicBezTo>
                      <a:pt x="10330" y="4992"/>
                      <a:pt x="10330" y="4992"/>
                      <a:pt x="10330" y="4992"/>
                    </a:cubicBezTo>
                    <a:cubicBezTo>
                      <a:pt x="10403" y="4970"/>
                      <a:pt x="10403" y="4970"/>
                      <a:pt x="10403" y="4970"/>
                    </a:cubicBezTo>
                    <a:lnTo>
                      <a:pt x="10447" y="5115"/>
                    </a:lnTo>
                    <a:close/>
                    <a:moveTo>
                      <a:pt x="10383" y="5121"/>
                    </a:moveTo>
                    <a:cubicBezTo>
                      <a:pt x="10431" y="5106"/>
                      <a:pt x="10431" y="5106"/>
                      <a:pt x="10431" y="5106"/>
                    </a:cubicBezTo>
                    <a:cubicBezTo>
                      <a:pt x="10394" y="4986"/>
                      <a:pt x="10394" y="4986"/>
                      <a:pt x="10394" y="4986"/>
                    </a:cubicBezTo>
                    <a:cubicBezTo>
                      <a:pt x="10346" y="5001"/>
                      <a:pt x="10346" y="5001"/>
                      <a:pt x="10346" y="5001"/>
                    </a:cubicBezTo>
                    <a:lnTo>
                      <a:pt x="10383" y="5121"/>
                    </a:lnTo>
                    <a:close/>
                    <a:moveTo>
                      <a:pt x="9619" y="5155"/>
                    </a:moveTo>
                    <a:cubicBezTo>
                      <a:pt x="9664" y="5299"/>
                      <a:pt x="9664" y="5299"/>
                      <a:pt x="9664" y="5299"/>
                    </a:cubicBezTo>
                    <a:cubicBezTo>
                      <a:pt x="9591" y="5322"/>
                      <a:pt x="9591" y="5322"/>
                      <a:pt x="9591" y="5322"/>
                    </a:cubicBezTo>
                    <a:cubicBezTo>
                      <a:pt x="9589" y="5316"/>
                      <a:pt x="9589" y="5316"/>
                      <a:pt x="9589" y="5316"/>
                    </a:cubicBezTo>
                    <a:cubicBezTo>
                      <a:pt x="9547" y="5177"/>
                      <a:pt x="9547" y="5177"/>
                      <a:pt x="9547" y="5177"/>
                    </a:cubicBezTo>
                    <a:lnTo>
                      <a:pt x="9619" y="5155"/>
                    </a:lnTo>
                    <a:close/>
                    <a:moveTo>
                      <a:pt x="9647" y="5291"/>
                    </a:moveTo>
                    <a:cubicBezTo>
                      <a:pt x="9610" y="5171"/>
                      <a:pt x="9610" y="5171"/>
                      <a:pt x="9610" y="5171"/>
                    </a:cubicBezTo>
                    <a:cubicBezTo>
                      <a:pt x="9563" y="5186"/>
                      <a:pt x="9563" y="5186"/>
                      <a:pt x="9563" y="5186"/>
                    </a:cubicBezTo>
                    <a:cubicBezTo>
                      <a:pt x="9600" y="5305"/>
                      <a:pt x="9600" y="5305"/>
                      <a:pt x="9600" y="5305"/>
                    </a:cubicBezTo>
                    <a:lnTo>
                      <a:pt x="9647" y="5291"/>
                    </a:lnTo>
                    <a:close/>
                    <a:moveTo>
                      <a:pt x="6887" y="9908"/>
                    </a:moveTo>
                    <a:cubicBezTo>
                      <a:pt x="6777" y="9909"/>
                      <a:pt x="6777" y="9909"/>
                      <a:pt x="6777" y="9909"/>
                    </a:cubicBezTo>
                    <a:cubicBezTo>
                      <a:pt x="6777" y="9835"/>
                      <a:pt x="6777" y="9835"/>
                      <a:pt x="6777" y="9835"/>
                    </a:cubicBezTo>
                    <a:cubicBezTo>
                      <a:pt x="6720" y="9836"/>
                      <a:pt x="6720" y="9836"/>
                      <a:pt x="6720" y="9836"/>
                    </a:cubicBezTo>
                    <a:cubicBezTo>
                      <a:pt x="6720" y="9829"/>
                      <a:pt x="6720" y="9829"/>
                      <a:pt x="6720" y="9829"/>
                    </a:cubicBezTo>
                    <a:cubicBezTo>
                      <a:pt x="6716" y="9713"/>
                      <a:pt x="6716" y="9713"/>
                      <a:pt x="6716" y="9713"/>
                    </a:cubicBezTo>
                    <a:cubicBezTo>
                      <a:pt x="6834" y="9712"/>
                      <a:pt x="6834" y="9712"/>
                      <a:pt x="6834" y="9712"/>
                    </a:cubicBezTo>
                    <a:cubicBezTo>
                      <a:pt x="6834" y="9723"/>
                      <a:pt x="6834" y="9723"/>
                      <a:pt x="6834" y="9723"/>
                    </a:cubicBezTo>
                    <a:cubicBezTo>
                      <a:pt x="6886" y="9722"/>
                      <a:pt x="6886" y="9722"/>
                      <a:pt x="6886" y="9722"/>
                    </a:cubicBezTo>
                    <a:lnTo>
                      <a:pt x="6887" y="9908"/>
                    </a:lnTo>
                    <a:close/>
                    <a:moveTo>
                      <a:pt x="6874" y="9895"/>
                    </a:moveTo>
                    <a:cubicBezTo>
                      <a:pt x="6873" y="9736"/>
                      <a:pt x="6873" y="9736"/>
                      <a:pt x="6873" y="9736"/>
                    </a:cubicBezTo>
                    <a:cubicBezTo>
                      <a:pt x="6821" y="9736"/>
                      <a:pt x="6821" y="9736"/>
                      <a:pt x="6821" y="9736"/>
                    </a:cubicBezTo>
                    <a:cubicBezTo>
                      <a:pt x="6821" y="9726"/>
                      <a:pt x="6821" y="9726"/>
                      <a:pt x="6821" y="9726"/>
                    </a:cubicBezTo>
                    <a:cubicBezTo>
                      <a:pt x="6729" y="9726"/>
                      <a:pt x="6729" y="9726"/>
                      <a:pt x="6729" y="9726"/>
                    </a:cubicBezTo>
                    <a:cubicBezTo>
                      <a:pt x="6732" y="9823"/>
                      <a:pt x="6732" y="9823"/>
                      <a:pt x="6732" y="9823"/>
                    </a:cubicBezTo>
                    <a:cubicBezTo>
                      <a:pt x="6790" y="9822"/>
                      <a:pt x="6790" y="9822"/>
                      <a:pt x="6790" y="9822"/>
                    </a:cubicBezTo>
                    <a:cubicBezTo>
                      <a:pt x="6791" y="9895"/>
                      <a:pt x="6791" y="9895"/>
                      <a:pt x="6791" y="9895"/>
                    </a:cubicBezTo>
                    <a:lnTo>
                      <a:pt x="6874" y="9895"/>
                    </a:lnTo>
                    <a:close/>
                    <a:moveTo>
                      <a:pt x="10740" y="5017"/>
                    </a:moveTo>
                    <a:cubicBezTo>
                      <a:pt x="10668" y="5039"/>
                      <a:pt x="10668" y="5039"/>
                      <a:pt x="10668" y="5039"/>
                    </a:cubicBezTo>
                    <a:cubicBezTo>
                      <a:pt x="10666" y="5033"/>
                      <a:pt x="10666" y="5033"/>
                      <a:pt x="10666" y="5033"/>
                    </a:cubicBezTo>
                    <a:cubicBezTo>
                      <a:pt x="10623" y="4895"/>
                      <a:pt x="10623" y="4895"/>
                      <a:pt x="10623" y="4895"/>
                    </a:cubicBezTo>
                    <a:cubicBezTo>
                      <a:pt x="10695" y="4872"/>
                      <a:pt x="10695" y="4872"/>
                      <a:pt x="10695" y="4872"/>
                    </a:cubicBezTo>
                    <a:lnTo>
                      <a:pt x="10740" y="5017"/>
                    </a:lnTo>
                    <a:close/>
                    <a:moveTo>
                      <a:pt x="10676" y="5023"/>
                    </a:moveTo>
                    <a:cubicBezTo>
                      <a:pt x="10724" y="5008"/>
                      <a:pt x="10724" y="5008"/>
                      <a:pt x="10724" y="5008"/>
                    </a:cubicBezTo>
                    <a:cubicBezTo>
                      <a:pt x="10687" y="4889"/>
                      <a:pt x="10687" y="4889"/>
                      <a:pt x="10687" y="4889"/>
                    </a:cubicBezTo>
                    <a:cubicBezTo>
                      <a:pt x="10639" y="4903"/>
                      <a:pt x="10639" y="4903"/>
                      <a:pt x="10639" y="4903"/>
                    </a:cubicBezTo>
                    <a:lnTo>
                      <a:pt x="10676" y="5023"/>
                    </a:lnTo>
                    <a:close/>
                    <a:moveTo>
                      <a:pt x="7366" y="9072"/>
                    </a:moveTo>
                    <a:cubicBezTo>
                      <a:pt x="7257" y="9073"/>
                      <a:pt x="7257" y="9073"/>
                      <a:pt x="7257" y="9073"/>
                    </a:cubicBezTo>
                    <a:cubicBezTo>
                      <a:pt x="7256" y="9000"/>
                      <a:pt x="7256" y="9000"/>
                      <a:pt x="7256" y="9000"/>
                    </a:cubicBezTo>
                    <a:cubicBezTo>
                      <a:pt x="7199" y="9000"/>
                      <a:pt x="7199" y="9000"/>
                      <a:pt x="7199" y="9000"/>
                    </a:cubicBezTo>
                    <a:cubicBezTo>
                      <a:pt x="7199" y="8994"/>
                      <a:pt x="7199" y="8994"/>
                      <a:pt x="7199" y="8994"/>
                    </a:cubicBezTo>
                    <a:cubicBezTo>
                      <a:pt x="7195" y="8878"/>
                      <a:pt x="7195" y="8878"/>
                      <a:pt x="7195" y="8878"/>
                    </a:cubicBezTo>
                    <a:cubicBezTo>
                      <a:pt x="7313" y="8877"/>
                      <a:pt x="7313" y="8877"/>
                      <a:pt x="7313" y="8877"/>
                    </a:cubicBezTo>
                    <a:cubicBezTo>
                      <a:pt x="7313" y="8887"/>
                      <a:pt x="7313" y="8887"/>
                      <a:pt x="7313" y="8887"/>
                    </a:cubicBezTo>
                    <a:cubicBezTo>
                      <a:pt x="7365" y="8887"/>
                      <a:pt x="7365" y="8887"/>
                      <a:pt x="7365" y="8887"/>
                    </a:cubicBezTo>
                    <a:lnTo>
                      <a:pt x="7366" y="9072"/>
                    </a:lnTo>
                    <a:close/>
                    <a:moveTo>
                      <a:pt x="7353" y="9059"/>
                    </a:moveTo>
                    <a:cubicBezTo>
                      <a:pt x="7352" y="8900"/>
                      <a:pt x="7352" y="8900"/>
                      <a:pt x="7352" y="8900"/>
                    </a:cubicBezTo>
                    <a:cubicBezTo>
                      <a:pt x="7300" y="8900"/>
                      <a:pt x="7300" y="8900"/>
                      <a:pt x="7300" y="8900"/>
                    </a:cubicBezTo>
                    <a:cubicBezTo>
                      <a:pt x="7300" y="8890"/>
                      <a:pt x="7300" y="8890"/>
                      <a:pt x="7300" y="8890"/>
                    </a:cubicBezTo>
                    <a:cubicBezTo>
                      <a:pt x="7209" y="8891"/>
                      <a:pt x="7209" y="8891"/>
                      <a:pt x="7209" y="8891"/>
                    </a:cubicBezTo>
                    <a:cubicBezTo>
                      <a:pt x="7212" y="8987"/>
                      <a:pt x="7212" y="8987"/>
                      <a:pt x="7212" y="8987"/>
                    </a:cubicBezTo>
                    <a:cubicBezTo>
                      <a:pt x="7269" y="8987"/>
                      <a:pt x="7269" y="8987"/>
                      <a:pt x="7269" y="8987"/>
                    </a:cubicBezTo>
                    <a:cubicBezTo>
                      <a:pt x="7270" y="9060"/>
                      <a:pt x="7270" y="9060"/>
                      <a:pt x="7270" y="9060"/>
                    </a:cubicBezTo>
                    <a:lnTo>
                      <a:pt x="7353" y="9059"/>
                    </a:lnTo>
                    <a:close/>
                    <a:moveTo>
                      <a:pt x="12057" y="4651"/>
                    </a:moveTo>
                    <a:cubicBezTo>
                      <a:pt x="12066" y="4646"/>
                      <a:pt x="12066" y="4646"/>
                      <a:pt x="12066" y="4646"/>
                    </a:cubicBezTo>
                    <a:cubicBezTo>
                      <a:pt x="12043" y="4600"/>
                      <a:pt x="12043" y="4600"/>
                      <a:pt x="12043" y="4600"/>
                    </a:cubicBezTo>
                    <a:cubicBezTo>
                      <a:pt x="12208" y="4515"/>
                      <a:pt x="12208" y="4515"/>
                      <a:pt x="12208" y="4515"/>
                    </a:cubicBezTo>
                    <a:cubicBezTo>
                      <a:pt x="12258" y="4613"/>
                      <a:pt x="12258" y="4613"/>
                      <a:pt x="12258" y="4613"/>
                    </a:cubicBezTo>
                    <a:cubicBezTo>
                      <a:pt x="12193" y="4646"/>
                      <a:pt x="12193" y="4646"/>
                      <a:pt x="12193" y="4646"/>
                    </a:cubicBezTo>
                    <a:cubicBezTo>
                      <a:pt x="12219" y="4697"/>
                      <a:pt x="12219" y="4697"/>
                      <a:pt x="12219" y="4697"/>
                    </a:cubicBezTo>
                    <a:cubicBezTo>
                      <a:pt x="12213" y="4701"/>
                      <a:pt x="12213" y="4701"/>
                      <a:pt x="12213" y="4701"/>
                    </a:cubicBezTo>
                    <a:cubicBezTo>
                      <a:pt x="12110" y="4756"/>
                      <a:pt x="12110" y="4756"/>
                      <a:pt x="12110" y="4756"/>
                    </a:cubicBezTo>
                    <a:lnTo>
                      <a:pt x="12057" y="4651"/>
                    </a:lnTo>
                    <a:close/>
                    <a:moveTo>
                      <a:pt x="12084" y="4652"/>
                    </a:moveTo>
                    <a:cubicBezTo>
                      <a:pt x="12075" y="4657"/>
                      <a:pt x="12075" y="4657"/>
                      <a:pt x="12075" y="4657"/>
                    </a:cubicBezTo>
                    <a:cubicBezTo>
                      <a:pt x="12116" y="4738"/>
                      <a:pt x="12116" y="4738"/>
                      <a:pt x="12116" y="4738"/>
                    </a:cubicBezTo>
                    <a:cubicBezTo>
                      <a:pt x="12201" y="4692"/>
                      <a:pt x="12201" y="4692"/>
                      <a:pt x="12201" y="4692"/>
                    </a:cubicBezTo>
                    <a:cubicBezTo>
                      <a:pt x="12175" y="4641"/>
                      <a:pt x="12175" y="4641"/>
                      <a:pt x="12175" y="4641"/>
                    </a:cubicBezTo>
                    <a:cubicBezTo>
                      <a:pt x="12240" y="4608"/>
                      <a:pt x="12240" y="4608"/>
                      <a:pt x="12240" y="4608"/>
                    </a:cubicBezTo>
                    <a:cubicBezTo>
                      <a:pt x="12202" y="4533"/>
                      <a:pt x="12202" y="4533"/>
                      <a:pt x="12202" y="4533"/>
                    </a:cubicBezTo>
                    <a:cubicBezTo>
                      <a:pt x="12060" y="4605"/>
                      <a:pt x="12060" y="4605"/>
                      <a:pt x="12060" y="4605"/>
                    </a:cubicBezTo>
                    <a:lnTo>
                      <a:pt x="12084" y="4652"/>
                    </a:lnTo>
                    <a:close/>
                    <a:moveTo>
                      <a:pt x="11717" y="4754"/>
                    </a:moveTo>
                    <a:cubicBezTo>
                      <a:pt x="11667" y="4738"/>
                      <a:pt x="11667" y="4738"/>
                      <a:pt x="11667" y="4738"/>
                    </a:cubicBezTo>
                    <a:cubicBezTo>
                      <a:pt x="11725" y="4562"/>
                      <a:pt x="11725" y="4562"/>
                      <a:pt x="11725" y="4562"/>
                    </a:cubicBezTo>
                    <a:cubicBezTo>
                      <a:pt x="11829" y="4596"/>
                      <a:pt x="11829" y="4596"/>
                      <a:pt x="11829" y="4596"/>
                    </a:cubicBezTo>
                    <a:cubicBezTo>
                      <a:pt x="11806" y="4665"/>
                      <a:pt x="11806" y="4665"/>
                      <a:pt x="11806" y="4665"/>
                    </a:cubicBezTo>
                    <a:cubicBezTo>
                      <a:pt x="11861" y="4683"/>
                      <a:pt x="11861" y="4683"/>
                      <a:pt x="11861" y="4683"/>
                    </a:cubicBezTo>
                    <a:cubicBezTo>
                      <a:pt x="11859" y="4689"/>
                      <a:pt x="11859" y="4689"/>
                      <a:pt x="11859" y="4689"/>
                    </a:cubicBezTo>
                    <a:cubicBezTo>
                      <a:pt x="11826" y="4801"/>
                      <a:pt x="11826" y="4801"/>
                      <a:pt x="11826" y="4801"/>
                    </a:cubicBezTo>
                    <a:cubicBezTo>
                      <a:pt x="11714" y="4764"/>
                      <a:pt x="11714" y="4764"/>
                      <a:pt x="11714" y="4764"/>
                    </a:cubicBezTo>
                    <a:lnTo>
                      <a:pt x="11717" y="4754"/>
                    </a:lnTo>
                    <a:close/>
                    <a:moveTo>
                      <a:pt x="11734" y="4746"/>
                    </a:moveTo>
                    <a:cubicBezTo>
                      <a:pt x="11730" y="4756"/>
                      <a:pt x="11730" y="4756"/>
                      <a:pt x="11730" y="4756"/>
                    </a:cubicBezTo>
                    <a:cubicBezTo>
                      <a:pt x="11817" y="4784"/>
                      <a:pt x="11817" y="4784"/>
                      <a:pt x="11817" y="4784"/>
                    </a:cubicBezTo>
                    <a:cubicBezTo>
                      <a:pt x="11845" y="4691"/>
                      <a:pt x="11845" y="4691"/>
                      <a:pt x="11845" y="4691"/>
                    </a:cubicBezTo>
                    <a:cubicBezTo>
                      <a:pt x="11790" y="4674"/>
                      <a:pt x="11790" y="4674"/>
                      <a:pt x="11790" y="4674"/>
                    </a:cubicBezTo>
                    <a:cubicBezTo>
                      <a:pt x="11812" y="4604"/>
                      <a:pt x="11812" y="4604"/>
                      <a:pt x="11812" y="4604"/>
                    </a:cubicBezTo>
                    <a:cubicBezTo>
                      <a:pt x="11733" y="4578"/>
                      <a:pt x="11733" y="4578"/>
                      <a:pt x="11733" y="4578"/>
                    </a:cubicBezTo>
                    <a:cubicBezTo>
                      <a:pt x="11684" y="4730"/>
                      <a:pt x="11684" y="4730"/>
                      <a:pt x="11684" y="4730"/>
                    </a:cubicBezTo>
                    <a:lnTo>
                      <a:pt x="11734" y="4746"/>
                    </a:lnTo>
                    <a:close/>
                    <a:moveTo>
                      <a:pt x="2452" y="9042"/>
                    </a:moveTo>
                    <a:cubicBezTo>
                      <a:pt x="2301" y="9027"/>
                      <a:pt x="2301" y="9027"/>
                      <a:pt x="2301" y="9027"/>
                    </a:cubicBezTo>
                    <a:cubicBezTo>
                      <a:pt x="2308" y="8952"/>
                      <a:pt x="2308" y="8952"/>
                      <a:pt x="2308" y="8952"/>
                    </a:cubicBezTo>
                    <a:cubicBezTo>
                      <a:pt x="2315" y="8953"/>
                      <a:pt x="2315" y="8953"/>
                      <a:pt x="2315" y="8953"/>
                    </a:cubicBezTo>
                    <a:cubicBezTo>
                      <a:pt x="2459" y="8967"/>
                      <a:pt x="2459" y="8967"/>
                      <a:pt x="2459" y="8967"/>
                    </a:cubicBezTo>
                    <a:lnTo>
                      <a:pt x="2452" y="9042"/>
                    </a:lnTo>
                    <a:close/>
                    <a:moveTo>
                      <a:pt x="2445" y="8978"/>
                    </a:moveTo>
                    <a:cubicBezTo>
                      <a:pt x="2320" y="8966"/>
                      <a:pt x="2320" y="8966"/>
                      <a:pt x="2320" y="8966"/>
                    </a:cubicBezTo>
                    <a:cubicBezTo>
                      <a:pt x="2315" y="9016"/>
                      <a:pt x="2315" y="9016"/>
                      <a:pt x="2315" y="9016"/>
                    </a:cubicBezTo>
                    <a:cubicBezTo>
                      <a:pt x="2440" y="9028"/>
                      <a:pt x="2440" y="9028"/>
                      <a:pt x="2440" y="9028"/>
                    </a:cubicBezTo>
                    <a:lnTo>
                      <a:pt x="2445" y="8978"/>
                    </a:lnTo>
                    <a:close/>
                    <a:moveTo>
                      <a:pt x="2504" y="9182"/>
                    </a:moveTo>
                    <a:cubicBezTo>
                      <a:pt x="2516" y="9285"/>
                      <a:pt x="2516" y="9285"/>
                      <a:pt x="2516" y="9285"/>
                    </a:cubicBezTo>
                    <a:cubicBezTo>
                      <a:pt x="2370" y="9303"/>
                      <a:pt x="2370" y="9303"/>
                      <a:pt x="2370" y="9303"/>
                    </a:cubicBezTo>
                    <a:cubicBezTo>
                      <a:pt x="2369" y="9297"/>
                      <a:pt x="2369" y="9297"/>
                      <a:pt x="2369" y="9297"/>
                    </a:cubicBezTo>
                    <a:cubicBezTo>
                      <a:pt x="2357" y="9200"/>
                      <a:pt x="2357" y="9200"/>
                      <a:pt x="2357" y="9200"/>
                    </a:cubicBezTo>
                    <a:lnTo>
                      <a:pt x="2504" y="9182"/>
                    </a:lnTo>
                    <a:close/>
                    <a:moveTo>
                      <a:pt x="2502" y="9274"/>
                    </a:moveTo>
                    <a:cubicBezTo>
                      <a:pt x="2492" y="9196"/>
                      <a:pt x="2492" y="9196"/>
                      <a:pt x="2492" y="9196"/>
                    </a:cubicBezTo>
                    <a:cubicBezTo>
                      <a:pt x="2371" y="9211"/>
                      <a:pt x="2371" y="9211"/>
                      <a:pt x="2371" y="9211"/>
                    </a:cubicBezTo>
                    <a:cubicBezTo>
                      <a:pt x="2381" y="9289"/>
                      <a:pt x="2381" y="9289"/>
                      <a:pt x="2381" y="9289"/>
                    </a:cubicBezTo>
                    <a:lnTo>
                      <a:pt x="2502" y="9274"/>
                    </a:lnTo>
                    <a:close/>
                    <a:moveTo>
                      <a:pt x="11407" y="4866"/>
                    </a:moveTo>
                    <a:cubicBezTo>
                      <a:pt x="11358" y="4850"/>
                      <a:pt x="11358" y="4850"/>
                      <a:pt x="11358" y="4850"/>
                    </a:cubicBezTo>
                    <a:cubicBezTo>
                      <a:pt x="11415" y="4674"/>
                      <a:pt x="11415" y="4674"/>
                      <a:pt x="11415" y="4674"/>
                    </a:cubicBezTo>
                    <a:cubicBezTo>
                      <a:pt x="11519" y="4708"/>
                      <a:pt x="11519" y="4708"/>
                      <a:pt x="11519" y="4708"/>
                    </a:cubicBezTo>
                    <a:cubicBezTo>
                      <a:pt x="11497" y="4777"/>
                      <a:pt x="11497" y="4777"/>
                      <a:pt x="11497" y="4777"/>
                    </a:cubicBezTo>
                    <a:cubicBezTo>
                      <a:pt x="11551" y="4795"/>
                      <a:pt x="11551" y="4795"/>
                      <a:pt x="11551" y="4795"/>
                    </a:cubicBezTo>
                    <a:cubicBezTo>
                      <a:pt x="11549" y="4801"/>
                      <a:pt x="11549" y="4801"/>
                      <a:pt x="11549" y="4801"/>
                    </a:cubicBezTo>
                    <a:cubicBezTo>
                      <a:pt x="11516" y="4913"/>
                      <a:pt x="11516" y="4913"/>
                      <a:pt x="11516" y="4913"/>
                    </a:cubicBezTo>
                    <a:cubicBezTo>
                      <a:pt x="11404" y="4876"/>
                      <a:pt x="11404" y="4876"/>
                      <a:pt x="11404" y="4876"/>
                    </a:cubicBezTo>
                    <a:lnTo>
                      <a:pt x="11407" y="4866"/>
                    </a:lnTo>
                    <a:close/>
                    <a:moveTo>
                      <a:pt x="11424" y="4858"/>
                    </a:moveTo>
                    <a:cubicBezTo>
                      <a:pt x="11421" y="4868"/>
                      <a:pt x="11421" y="4868"/>
                      <a:pt x="11421" y="4868"/>
                    </a:cubicBezTo>
                    <a:cubicBezTo>
                      <a:pt x="11507" y="4896"/>
                      <a:pt x="11507" y="4896"/>
                      <a:pt x="11507" y="4896"/>
                    </a:cubicBezTo>
                    <a:cubicBezTo>
                      <a:pt x="11535" y="4803"/>
                      <a:pt x="11535" y="4803"/>
                      <a:pt x="11535" y="4803"/>
                    </a:cubicBezTo>
                    <a:cubicBezTo>
                      <a:pt x="11480" y="4786"/>
                      <a:pt x="11480" y="4786"/>
                      <a:pt x="11480" y="4786"/>
                    </a:cubicBezTo>
                    <a:cubicBezTo>
                      <a:pt x="11503" y="4716"/>
                      <a:pt x="11503" y="4716"/>
                      <a:pt x="11503" y="4716"/>
                    </a:cubicBezTo>
                    <a:cubicBezTo>
                      <a:pt x="11423" y="4690"/>
                      <a:pt x="11423" y="4690"/>
                      <a:pt x="11423" y="4690"/>
                    </a:cubicBezTo>
                    <a:cubicBezTo>
                      <a:pt x="11374" y="4842"/>
                      <a:pt x="11374" y="4842"/>
                      <a:pt x="11374" y="4842"/>
                    </a:cubicBezTo>
                    <a:lnTo>
                      <a:pt x="11424" y="4858"/>
                    </a:lnTo>
                    <a:close/>
                    <a:moveTo>
                      <a:pt x="9302" y="8444"/>
                    </a:moveTo>
                    <a:cubicBezTo>
                      <a:pt x="9108" y="8506"/>
                      <a:pt x="9108" y="8506"/>
                      <a:pt x="9108" y="8506"/>
                    </a:cubicBezTo>
                    <a:cubicBezTo>
                      <a:pt x="9092" y="8454"/>
                      <a:pt x="9092" y="8454"/>
                      <a:pt x="9092" y="8454"/>
                    </a:cubicBezTo>
                    <a:cubicBezTo>
                      <a:pt x="9085" y="8456"/>
                      <a:pt x="9085" y="8456"/>
                      <a:pt x="9085" y="8456"/>
                    </a:cubicBezTo>
                    <a:cubicBezTo>
                      <a:pt x="9079" y="8458"/>
                      <a:pt x="9079" y="8458"/>
                      <a:pt x="9079" y="8458"/>
                    </a:cubicBezTo>
                    <a:cubicBezTo>
                      <a:pt x="9049" y="8364"/>
                      <a:pt x="9049" y="8364"/>
                      <a:pt x="9049" y="8364"/>
                    </a:cubicBezTo>
                    <a:cubicBezTo>
                      <a:pt x="9055" y="8362"/>
                      <a:pt x="9055" y="8362"/>
                      <a:pt x="9055" y="8362"/>
                    </a:cubicBezTo>
                    <a:cubicBezTo>
                      <a:pt x="9148" y="8332"/>
                      <a:pt x="9148" y="8332"/>
                      <a:pt x="9148" y="8332"/>
                    </a:cubicBezTo>
                    <a:cubicBezTo>
                      <a:pt x="9120" y="8245"/>
                      <a:pt x="9120" y="8245"/>
                      <a:pt x="9120" y="8245"/>
                    </a:cubicBezTo>
                    <a:cubicBezTo>
                      <a:pt x="9257" y="8201"/>
                      <a:pt x="9257" y="8201"/>
                      <a:pt x="9257" y="8201"/>
                    </a:cubicBezTo>
                    <a:cubicBezTo>
                      <a:pt x="9280" y="8273"/>
                      <a:pt x="9280" y="8273"/>
                      <a:pt x="9280" y="8273"/>
                    </a:cubicBezTo>
                    <a:cubicBezTo>
                      <a:pt x="9345" y="8252"/>
                      <a:pt x="9345" y="8252"/>
                      <a:pt x="9345" y="8252"/>
                    </a:cubicBezTo>
                    <a:cubicBezTo>
                      <a:pt x="9368" y="8324"/>
                      <a:pt x="9368" y="8324"/>
                      <a:pt x="9368" y="8324"/>
                    </a:cubicBezTo>
                    <a:cubicBezTo>
                      <a:pt x="9194" y="8380"/>
                      <a:pt x="9194" y="8380"/>
                      <a:pt x="9194" y="8380"/>
                    </a:cubicBezTo>
                    <a:cubicBezTo>
                      <a:pt x="9199" y="8395"/>
                      <a:pt x="9199" y="8395"/>
                      <a:pt x="9199" y="8395"/>
                    </a:cubicBezTo>
                    <a:cubicBezTo>
                      <a:pt x="9278" y="8369"/>
                      <a:pt x="9278" y="8369"/>
                      <a:pt x="9278" y="8369"/>
                    </a:cubicBezTo>
                    <a:lnTo>
                      <a:pt x="9302" y="8444"/>
                    </a:lnTo>
                    <a:close/>
                    <a:moveTo>
                      <a:pt x="9117" y="8490"/>
                    </a:moveTo>
                    <a:cubicBezTo>
                      <a:pt x="9286" y="8435"/>
                      <a:pt x="9286" y="8435"/>
                      <a:pt x="9286" y="8435"/>
                    </a:cubicBezTo>
                    <a:cubicBezTo>
                      <a:pt x="9270" y="8386"/>
                      <a:pt x="9270" y="8386"/>
                      <a:pt x="9270" y="8386"/>
                    </a:cubicBezTo>
                    <a:cubicBezTo>
                      <a:pt x="9190" y="8411"/>
                      <a:pt x="9190" y="8411"/>
                      <a:pt x="9190" y="8411"/>
                    </a:cubicBezTo>
                    <a:cubicBezTo>
                      <a:pt x="9177" y="8372"/>
                      <a:pt x="9177" y="8372"/>
                      <a:pt x="9177" y="8372"/>
                    </a:cubicBezTo>
                    <a:cubicBezTo>
                      <a:pt x="9351" y="8316"/>
                      <a:pt x="9351" y="8316"/>
                      <a:pt x="9351" y="8316"/>
                    </a:cubicBezTo>
                    <a:cubicBezTo>
                      <a:pt x="9336" y="8268"/>
                      <a:pt x="9336" y="8268"/>
                      <a:pt x="9336" y="8268"/>
                    </a:cubicBezTo>
                    <a:cubicBezTo>
                      <a:pt x="9271" y="8289"/>
                      <a:pt x="9271" y="8289"/>
                      <a:pt x="9271" y="8289"/>
                    </a:cubicBezTo>
                    <a:cubicBezTo>
                      <a:pt x="9248" y="8217"/>
                      <a:pt x="9248" y="8217"/>
                      <a:pt x="9248" y="8217"/>
                    </a:cubicBezTo>
                    <a:cubicBezTo>
                      <a:pt x="9136" y="8253"/>
                      <a:pt x="9136" y="8253"/>
                      <a:pt x="9136" y="8253"/>
                    </a:cubicBezTo>
                    <a:cubicBezTo>
                      <a:pt x="9165" y="8340"/>
                      <a:pt x="9165" y="8340"/>
                      <a:pt x="9165" y="8340"/>
                    </a:cubicBezTo>
                    <a:cubicBezTo>
                      <a:pt x="9065" y="8372"/>
                      <a:pt x="9065" y="8372"/>
                      <a:pt x="9065" y="8372"/>
                    </a:cubicBezTo>
                    <a:cubicBezTo>
                      <a:pt x="9088" y="8442"/>
                      <a:pt x="9088" y="8442"/>
                      <a:pt x="9088" y="8442"/>
                    </a:cubicBezTo>
                    <a:cubicBezTo>
                      <a:pt x="9094" y="8440"/>
                      <a:pt x="9094" y="8440"/>
                      <a:pt x="9094" y="8440"/>
                    </a:cubicBezTo>
                    <a:cubicBezTo>
                      <a:pt x="9100" y="8438"/>
                      <a:pt x="9100" y="8438"/>
                      <a:pt x="9100" y="8438"/>
                    </a:cubicBezTo>
                    <a:lnTo>
                      <a:pt x="9117" y="8490"/>
                    </a:lnTo>
                    <a:close/>
                    <a:moveTo>
                      <a:pt x="1602" y="8481"/>
                    </a:moveTo>
                    <a:cubicBezTo>
                      <a:pt x="1499" y="8720"/>
                      <a:pt x="1499" y="8720"/>
                      <a:pt x="1499" y="8720"/>
                    </a:cubicBezTo>
                    <a:cubicBezTo>
                      <a:pt x="1390" y="8615"/>
                      <a:pt x="1390" y="8615"/>
                      <a:pt x="1390" y="8615"/>
                    </a:cubicBezTo>
                    <a:cubicBezTo>
                      <a:pt x="1443" y="8527"/>
                      <a:pt x="1443" y="8527"/>
                      <a:pt x="1443" y="8527"/>
                    </a:cubicBezTo>
                    <a:cubicBezTo>
                      <a:pt x="1249" y="8363"/>
                      <a:pt x="1249" y="8363"/>
                      <a:pt x="1249" y="8363"/>
                    </a:cubicBezTo>
                    <a:cubicBezTo>
                      <a:pt x="1505" y="8048"/>
                      <a:pt x="1505" y="8048"/>
                      <a:pt x="1505" y="8048"/>
                    </a:cubicBezTo>
                    <a:cubicBezTo>
                      <a:pt x="1895" y="8347"/>
                      <a:pt x="1895" y="8347"/>
                      <a:pt x="1895" y="8347"/>
                    </a:cubicBezTo>
                    <a:cubicBezTo>
                      <a:pt x="1893" y="8352"/>
                      <a:pt x="1893" y="8352"/>
                      <a:pt x="1893" y="8352"/>
                    </a:cubicBezTo>
                    <a:cubicBezTo>
                      <a:pt x="1838" y="8469"/>
                      <a:pt x="1838" y="8469"/>
                      <a:pt x="1838" y="8469"/>
                    </a:cubicBezTo>
                    <a:cubicBezTo>
                      <a:pt x="1604" y="8338"/>
                      <a:pt x="1604" y="8338"/>
                      <a:pt x="1604" y="8338"/>
                    </a:cubicBezTo>
                    <a:cubicBezTo>
                      <a:pt x="1640" y="8285"/>
                      <a:pt x="1640" y="8285"/>
                      <a:pt x="1640" y="8285"/>
                    </a:cubicBezTo>
                    <a:cubicBezTo>
                      <a:pt x="1540" y="8221"/>
                      <a:pt x="1540" y="8221"/>
                      <a:pt x="1540" y="8221"/>
                    </a:cubicBezTo>
                    <a:cubicBezTo>
                      <a:pt x="1434" y="8355"/>
                      <a:pt x="1434" y="8355"/>
                      <a:pt x="1434" y="8355"/>
                    </a:cubicBezTo>
                    <a:lnTo>
                      <a:pt x="1602" y="8481"/>
                    </a:lnTo>
                    <a:close/>
                    <a:moveTo>
                      <a:pt x="1583" y="8486"/>
                    </a:moveTo>
                    <a:cubicBezTo>
                      <a:pt x="1413" y="8358"/>
                      <a:pt x="1413" y="8358"/>
                      <a:pt x="1413" y="8358"/>
                    </a:cubicBezTo>
                    <a:cubicBezTo>
                      <a:pt x="1536" y="8201"/>
                      <a:pt x="1536" y="8201"/>
                      <a:pt x="1536" y="8201"/>
                    </a:cubicBezTo>
                    <a:cubicBezTo>
                      <a:pt x="1660" y="8281"/>
                      <a:pt x="1660" y="8281"/>
                      <a:pt x="1660" y="8281"/>
                    </a:cubicBezTo>
                    <a:cubicBezTo>
                      <a:pt x="1625" y="8333"/>
                      <a:pt x="1625" y="8333"/>
                      <a:pt x="1625" y="8333"/>
                    </a:cubicBezTo>
                    <a:cubicBezTo>
                      <a:pt x="1831" y="8449"/>
                      <a:pt x="1831" y="8449"/>
                      <a:pt x="1831" y="8449"/>
                    </a:cubicBezTo>
                    <a:cubicBezTo>
                      <a:pt x="1877" y="8351"/>
                      <a:pt x="1877" y="8351"/>
                      <a:pt x="1877" y="8351"/>
                    </a:cubicBezTo>
                    <a:cubicBezTo>
                      <a:pt x="1507" y="8068"/>
                      <a:pt x="1507" y="8068"/>
                      <a:pt x="1507" y="8068"/>
                    </a:cubicBezTo>
                    <a:cubicBezTo>
                      <a:pt x="1269" y="8361"/>
                      <a:pt x="1269" y="8361"/>
                      <a:pt x="1269" y="8361"/>
                    </a:cubicBezTo>
                    <a:cubicBezTo>
                      <a:pt x="1462" y="8524"/>
                      <a:pt x="1462" y="8524"/>
                      <a:pt x="1462" y="8524"/>
                    </a:cubicBezTo>
                    <a:cubicBezTo>
                      <a:pt x="1409" y="8613"/>
                      <a:pt x="1409" y="8613"/>
                      <a:pt x="1409" y="8613"/>
                    </a:cubicBezTo>
                    <a:cubicBezTo>
                      <a:pt x="1494" y="8694"/>
                      <a:pt x="1494" y="8694"/>
                      <a:pt x="1494" y="8694"/>
                    </a:cubicBezTo>
                    <a:lnTo>
                      <a:pt x="1583" y="8486"/>
                    </a:lnTo>
                    <a:close/>
                    <a:moveTo>
                      <a:pt x="1867" y="9102"/>
                    </a:moveTo>
                    <a:cubicBezTo>
                      <a:pt x="1953" y="8982"/>
                      <a:pt x="1953" y="8982"/>
                      <a:pt x="1953" y="8982"/>
                    </a:cubicBezTo>
                    <a:cubicBezTo>
                      <a:pt x="2038" y="9043"/>
                      <a:pt x="2038" y="9043"/>
                      <a:pt x="2038" y="9043"/>
                    </a:cubicBezTo>
                    <a:cubicBezTo>
                      <a:pt x="1952" y="9163"/>
                      <a:pt x="1952" y="9163"/>
                      <a:pt x="1952" y="9163"/>
                    </a:cubicBezTo>
                    <a:cubicBezTo>
                      <a:pt x="1947" y="9159"/>
                      <a:pt x="1947" y="9159"/>
                      <a:pt x="1947" y="9159"/>
                    </a:cubicBezTo>
                    <a:lnTo>
                      <a:pt x="1867" y="9102"/>
                    </a:lnTo>
                    <a:close/>
                    <a:moveTo>
                      <a:pt x="1885" y="9100"/>
                    </a:moveTo>
                    <a:cubicBezTo>
                      <a:pt x="1949" y="9145"/>
                      <a:pt x="1949" y="9145"/>
                      <a:pt x="1949" y="9145"/>
                    </a:cubicBezTo>
                    <a:cubicBezTo>
                      <a:pt x="2020" y="9046"/>
                      <a:pt x="2020" y="9046"/>
                      <a:pt x="2020" y="9046"/>
                    </a:cubicBezTo>
                    <a:cubicBezTo>
                      <a:pt x="1956" y="9000"/>
                      <a:pt x="1956" y="9000"/>
                      <a:pt x="1956" y="9000"/>
                    </a:cubicBezTo>
                    <a:lnTo>
                      <a:pt x="1885" y="9100"/>
                    </a:lnTo>
                    <a:close/>
                    <a:moveTo>
                      <a:pt x="12363" y="4313"/>
                    </a:moveTo>
                    <a:cubicBezTo>
                      <a:pt x="12439" y="4313"/>
                      <a:pt x="12439" y="4313"/>
                      <a:pt x="12439" y="4313"/>
                    </a:cubicBezTo>
                    <a:cubicBezTo>
                      <a:pt x="12439" y="4404"/>
                      <a:pt x="12439" y="4404"/>
                      <a:pt x="12439" y="4404"/>
                    </a:cubicBezTo>
                    <a:cubicBezTo>
                      <a:pt x="12363" y="4404"/>
                      <a:pt x="12363" y="4404"/>
                      <a:pt x="12363" y="4404"/>
                    </a:cubicBezTo>
                    <a:cubicBezTo>
                      <a:pt x="12363" y="4397"/>
                      <a:pt x="12363" y="4397"/>
                      <a:pt x="12363" y="4397"/>
                    </a:cubicBezTo>
                    <a:lnTo>
                      <a:pt x="12363" y="4313"/>
                    </a:lnTo>
                    <a:close/>
                    <a:moveTo>
                      <a:pt x="12376" y="4391"/>
                    </a:moveTo>
                    <a:cubicBezTo>
                      <a:pt x="12426" y="4391"/>
                      <a:pt x="12426" y="4391"/>
                      <a:pt x="12426" y="4391"/>
                    </a:cubicBezTo>
                    <a:cubicBezTo>
                      <a:pt x="12426" y="4326"/>
                      <a:pt x="12426" y="4326"/>
                      <a:pt x="12426" y="4326"/>
                    </a:cubicBezTo>
                    <a:cubicBezTo>
                      <a:pt x="12376" y="4326"/>
                      <a:pt x="12376" y="4326"/>
                      <a:pt x="12376" y="4326"/>
                    </a:cubicBezTo>
                    <a:lnTo>
                      <a:pt x="12376" y="4391"/>
                    </a:lnTo>
                    <a:close/>
                    <a:moveTo>
                      <a:pt x="10844" y="4984"/>
                    </a:moveTo>
                    <a:cubicBezTo>
                      <a:pt x="10772" y="5007"/>
                      <a:pt x="10772" y="5007"/>
                      <a:pt x="10772" y="5007"/>
                    </a:cubicBezTo>
                    <a:cubicBezTo>
                      <a:pt x="10770" y="5001"/>
                      <a:pt x="10770" y="5001"/>
                      <a:pt x="10770" y="5001"/>
                    </a:cubicBezTo>
                    <a:cubicBezTo>
                      <a:pt x="10727" y="4862"/>
                      <a:pt x="10727" y="4862"/>
                      <a:pt x="10727" y="4862"/>
                    </a:cubicBezTo>
                    <a:cubicBezTo>
                      <a:pt x="10799" y="4840"/>
                      <a:pt x="10799" y="4840"/>
                      <a:pt x="10799" y="4840"/>
                    </a:cubicBezTo>
                    <a:lnTo>
                      <a:pt x="10844" y="4984"/>
                    </a:lnTo>
                    <a:close/>
                    <a:moveTo>
                      <a:pt x="10780" y="4990"/>
                    </a:moveTo>
                    <a:cubicBezTo>
                      <a:pt x="10828" y="4976"/>
                      <a:pt x="10828" y="4976"/>
                      <a:pt x="10828" y="4976"/>
                    </a:cubicBezTo>
                    <a:cubicBezTo>
                      <a:pt x="10791" y="4856"/>
                      <a:pt x="10791" y="4856"/>
                      <a:pt x="10791" y="4856"/>
                    </a:cubicBezTo>
                    <a:cubicBezTo>
                      <a:pt x="10743" y="4871"/>
                      <a:pt x="10743" y="4871"/>
                      <a:pt x="10743" y="4871"/>
                    </a:cubicBezTo>
                    <a:lnTo>
                      <a:pt x="10780" y="4990"/>
                    </a:lnTo>
                    <a:close/>
                    <a:moveTo>
                      <a:pt x="9342" y="5441"/>
                    </a:moveTo>
                    <a:cubicBezTo>
                      <a:pt x="9415" y="5419"/>
                      <a:pt x="9415" y="5419"/>
                      <a:pt x="9415" y="5419"/>
                    </a:cubicBezTo>
                    <a:cubicBezTo>
                      <a:pt x="9459" y="5564"/>
                      <a:pt x="9459" y="5564"/>
                      <a:pt x="9459" y="5564"/>
                    </a:cubicBezTo>
                    <a:cubicBezTo>
                      <a:pt x="9387" y="5586"/>
                      <a:pt x="9387" y="5586"/>
                      <a:pt x="9387" y="5586"/>
                    </a:cubicBezTo>
                    <a:cubicBezTo>
                      <a:pt x="9385" y="5580"/>
                      <a:pt x="9385" y="5580"/>
                      <a:pt x="9385" y="5580"/>
                    </a:cubicBezTo>
                    <a:lnTo>
                      <a:pt x="9342" y="5441"/>
                    </a:lnTo>
                    <a:close/>
                    <a:moveTo>
                      <a:pt x="9406" y="5435"/>
                    </a:moveTo>
                    <a:cubicBezTo>
                      <a:pt x="9359" y="5450"/>
                      <a:pt x="9359" y="5450"/>
                      <a:pt x="9359" y="5450"/>
                    </a:cubicBezTo>
                    <a:cubicBezTo>
                      <a:pt x="9396" y="5570"/>
                      <a:pt x="9396" y="5570"/>
                      <a:pt x="9396" y="5570"/>
                    </a:cubicBezTo>
                    <a:cubicBezTo>
                      <a:pt x="9443" y="5555"/>
                      <a:pt x="9443" y="5555"/>
                      <a:pt x="9443" y="5555"/>
                    </a:cubicBezTo>
                    <a:lnTo>
                      <a:pt x="9406" y="5435"/>
                    </a:lnTo>
                    <a:close/>
                    <a:moveTo>
                      <a:pt x="2146" y="8754"/>
                    </a:moveTo>
                    <a:cubicBezTo>
                      <a:pt x="2291" y="8768"/>
                      <a:pt x="2291" y="8768"/>
                      <a:pt x="2291" y="8768"/>
                    </a:cubicBezTo>
                    <a:cubicBezTo>
                      <a:pt x="2283" y="8844"/>
                      <a:pt x="2283" y="8844"/>
                      <a:pt x="2283" y="8844"/>
                    </a:cubicBezTo>
                    <a:cubicBezTo>
                      <a:pt x="2132" y="8829"/>
                      <a:pt x="2132" y="8829"/>
                      <a:pt x="2132" y="8829"/>
                    </a:cubicBezTo>
                    <a:cubicBezTo>
                      <a:pt x="2140" y="8754"/>
                      <a:pt x="2140" y="8754"/>
                      <a:pt x="2140" y="8754"/>
                    </a:cubicBezTo>
                    <a:lnTo>
                      <a:pt x="2146" y="8754"/>
                    </a:lnTo>
                    <a:close/>
                    <a:moveTo>
                      <a:pt x="2147" y="8817"/>
                    </a:moveTo>
                    <a:cubicBezTo>
                      <a:pt x="2272" y="8829"/>
                      <a:pt x="2272" y="8829"/>
                      <a:pt x="2272" y="8829"/>
                    </a:cubicBezTo>
                    <a:cubicBezTo>
                      <a:pt x="2276" y="8780"/>
                      <a:pt x="2276" y="8780"/>
                      <a:pt x="2276" y="8780"/>
                    </a:cubicBezTo>
                    <a:cubicBezTo>
                      <a:pt x="2152" y="8768"/>
                      <a:pt x="2152" y="8768"/>
                      <a:pt x="2152" y="8768"/>
                    </a:cubicBezTo>
                    <a:lnTo>
                      <a:pt x="2147" y="8817"/>
                    </a:lnTo>
                    <a:close/>
                    <a:moveTo>
                      <a:pt x="9751" y="5169"/>
                    </a:moveTo>
                    <a:cubicBezTo>
                      <a:pt x="9823" y="5147"/>
                      <a:pt x="9823" y="5147"/>
                      <a:pt x="9823" y="5147"/>
                    </a:cubicBezTo>
                    <a:cubicBezTo>
                      <a:pt x="9868" y="5292"/>
                      <a:pt x="9868" y="5292"/>
                      <a:pt x="9868" y="5292"/>
                    </a:cubicBezTo>
                    <a:cubicBezTo>
                      <a:pt x="9796" y="5314"/>
                      <a:pt x="9796" y="5314"/>
                      <a:pt x="9796" y="5314"/>
                    </a:cubicBezTo>
                    <a:cubicBezTo>
                      <a:pt x="9794" y="5308"/>
                      <a:pt x="9794" y="5308"/>
                      <a:pt x="9794" y="5308"/>
                    </a:cubicBezTo>
                    <a:lnTo>
                      <a:pt x="9751" y="5169"/>
                    </a:lnTo>
                    <a:close/>
                    <a:moveTo>
                      <a:pt x="9815" y="5163"/>
                    </a:moveTo>
                    <a:cubicBezTo>
                      <a:pt x="9767" y="5178"/>
                      <a:pt x="9767" y="5178"/>
                      <a:pt x="9767" y="5178"/>
                    </a:cubicBezTo>
                    <a:cubicBezTo>
                      <a:pt x="9804" y="5298"/>
                      <a:pt x="9804" y="5298"/>
                      <a:pt x="9804" y="5298"/>
                    </a:cubicBezTo>
                    <a:cubicBezTo>
                      <a:pt x="9852" y="5283"/>
                      <a:pt x="9852" y="5283"/>
                      <a:pt x="9852" y="5283"/>
                    </a:cubicBezTo>
                    <a:lnTo>
                      <a:pt x="9815" y="5163"/>
                    </a:lnTo>
                    <a:close/>
                    <a:moveTo>
                      <a:pt x="10551" y="5082"/>
                    </a:moveTo>
                    <a:cubicBezTo>
                      <a:pt x="10479" y="5104"/>
                      <a:pt x="10479" y="5104"/>
                      <a:pt x="10479" y="5104"/>
                    </a:cubicBezTo>
                    <a:cubicBezTo>
                      <a:pt x="10477" y="5098"/>
                      <a:pt x="10477" y="5098"/>
                      <a:pt x="10477" y="5098"/>
                    </a:cubicBezTo>
                    <a:cubicBezTo>
                      <a:pt x="10434" y="4960"/>
                      <a:pt x="10434" y="4960"/>
                      <a:pt x="10434" y="4960"/>
                    </a:cubicBezTo>
                    <a:cubicBezTo>
                      <a:pt x="10507" y="4937"/>
                      <a:pt x="10507" y="4937"/>
                      <a:pt x="10507" y="4937"/>
                    </a:cubicBezTo>
                    <a:lnTo>
                      <a:pt x="10551" y="5082"/>
                    </a:lnTo>
                    <a:close/>
                    <a:moveTo>
                      <a:pt x="10488" y="5088"/>
                    </a:moveTo>
                    <a:cubicBezTo>
                      <a:pt x="10535" y="5073"/>
                      <a:pt x="10535" y="5073"/>
                      <a:pt x="10535" y="5073"/>
                    </a:cubicBezTo>
                    <a:cubicBezTo>
                      <a:pt x="10498" y="4954"/>
                      <a:pt x="10498" y="4954"/>
                      <a:pt x="10498" y="4954"/>
                    </a:cubicBezTo>
                    <a:cubicBezTo>
                      <a:pt x="10451" y="4968"/>
                      <a:pt x="10451" y="4968"/>
                      <a:pt x="10451" y="4968"/>
                    </a:cubicBezTo>
                    <a:lnTo>
                      <a:pt x="10488" y="5088"/>
                    </a:lnTo>
                    <a:close/>
                    <a:moveTo>
                      <a:pt x="11223" y="4898"/>
                    </a:moveTo>
                    <a:cubicBezTo>
                      <a:pt x="11221" y="4904"/>
                      <a:pt x="11221" y="4904"/>
                      <a:pt x="11221" y="4904"/>
                    </a:cubicBezTo>
                    <a:cubicBezTo>
                      <a:pt x="11188" y="5015"/>
                      <a:pt x="11188" y="5015"/>
                      <a:pt x="11188" y="5015"/>
                    </a:cubicBezTo>
                    <a:cubicBezTo>
                      <a:pt x="11076" y="4979"/>
                      <a:pt x="11076" y="4979"/>
                      <a:pt x="11076" y="4979"/>
                    </a:cubicBezTo>
                    <a:cubicBezTo>
                      <a:pt x="11079" y="4969"/>
                      <a:pt x="11079" y="4969"/>
                      <a:pt x="11079" y="4969"/>
                    </a:cubicBezTo>
                    <a:cubicBezTo>
                      <a:pt x="11030" y="4953"/>
                      <a:pt x="11030" y="4953"/>
                      <a:pt x="11030" y="4953"/>
                    </a:cubicBezTo>
                    <a:cubicBezTo>
                      <a:pt x="11087" y="4777"/>
                      <a:pt x="11087" y="4777"/>
                      <a:pt x="11087" y="4777"/>
                    </a:cubicBezTo>
                    <a:cubicBezTo>
                      <a:pt x="11191" y="4810"/>
                      <a:pt x="11191" y="4810"/>
                      <a:pt x="11191" y="4810"/>
                    </a:cubicBezTo>
                    <a:cubicBezTo>
                      <a:pt x="11169" y="4880"/>
                      <a:pt x="11169" y="4880"/>
                      <a:pt x="11169" y="4880"/>
                    </a:cubicBezTo>
                    <a:lnTo>
                      <a:pt x="11223" y="4898"/>
                    </a:lnTo>
                    <a:close/>
                    <a:moveTo>
                      <a:pt x="11207" y="4906"/>
                    </a:moveTo>
                    <a:cubicBezTo>
                      <a:pt x="11152" y="4888"/>
                      <a:pt x="11152" y="4888"/>
                      <a:pt x="11152" y="4888"/>
                    </a:cubicBezTo>
                    <a:cubicBezTo>
                      <a:pt x="11175" y="4819"/>
                      <a:pt x="11175" y="4819"/>
                      <a:pt x="11175" y="4819"/>
                    </a:cubicBezTo>
                    <a:cubicBezTo>
                      <a:pt x="11095" y="4793"/>
                      <a:pt x="11095" y="4793"/>
                      <a:pt x="11095" y="4793"/>
                    </a:cubicBezTo>
                    <a:cubicBezTo>
                      <a:pt x="11046" y="4945"/>
                      <a:pt x="11046" y="4945"/>
                      <a:pt x="11046" y="4945"/>
                    </a:cubicBezTo>
                    <a:cubicBezTo>
                      <a:pt x="11096" y="4961"/>
                      <a:pt x="11096" y="4961"/>
                      <a:pt x="11096" y="4961"/>
                    </a:cubicBezTo>
                    <a:cubicBezTo>
                      <a:pt x="11093" y="4971"/>
                      <a:pt x="11093" y="4971"/>
                      <a:pt x="11093" y="4971"/>
                    </a:cubicBezTo>
                    <a:cubicBezTo>
                      <a:pt x="11179" y="4999"/>
                      <a:pt x="11179" y="4999"/>
                      <a:pt x="11179" y="4999"/>
                    </a:cubicBezTo>
                    <a:lnTo>
                      <a:pt x="11207" y="4906"/>
                    </a:lnTo>
                    <a:close/>
                    <a:moveTo>
                      <a:pt x="2216" y="9161"/>
                    </a:moveTo>
                    <a:cubicBezTo>
                      <a:pt x="2130" y="9282"/>
                      <a:pt x="2130" y="9282"/>
                      <a:pt x="2130" y="9282"/>
                    </a:cubicBezTo>
                    <a:cubicBezTo>
                      <a:pt x="2125" y="9278"/>
                      <a:pt x="2125" y="9278"/>
                      <a:pt x="2125" y="9278"/>
                    </a:cubicBezTo>
                    <a:cubicBezTo>
                      <a:pt x="2045" y="9221"/>
                      <a:pt x="2045" y="9221"/>
                      <a:pt x="2045" y="9221"/>
                    </a:cubicBezTo>
                    <a:cubicBezTo>
                      <a:pt x="2131" y="9100"/>
                      <a:pt x="2131" y="9100"/>
                      <a:pt x="2131" y="9100"/>
                    </a:cubicBezTo>
                    <a:lnTo>
                      <a:pt x="2216" y="9161"/>
                    </a:lnTo>
                    <a:close/>
                    <a:moveTo>
                      <a:pt x="2198" y="9164"/>
                    </a:moveTo>
                    <a:cubicBezTo>
                      <a:pt x="2134" y="9119"/>
                      <a:pt x="2134" y="9119"/>
                      <a:pt x="2134" y="9119"/>
                    </a:cubicBezTo>
                    <a:cubicBezTo>
                      <a:pt x="2063" y="9218"/>
                      <a:pt x="2063" y="9218"/>
                      <a:pt x="2063" y="9218"/>
                    </a:cubicBezTo>
                    <a:cubicBezTo>
                      <a:pt x="2127" y="9264"/>
                      <a:pt x="2127" y="9264"/>
                      <a:pt x="2127" y="9264"/>
                    </a:cubicBezTo>
                    <a:lnTo>
                      <a:pt x="2198" y="9164"/>
                    </a:lnTo>
                    <a:close/>
                    <a:moveTo>
                      <a:pt x="1024" y="9719"/>
                    </a:moveTo>
                    <a:cubicBezTo>
                      <a:pt x="1007" y="9582"/>
                      <a:pt x="1007" y="9582"/>
                      <a:pt x="1007" y="9582"/>
                    </a:cubicBezTo>
                    <a:cubicBezTo>
                      <a:pt x="1013" y="9581"/>
                      <a:pt x="1013" y="9581"/>
                      <a:pt x="1013" y="9581"/>
                    </a:cubicBezTo>
                    <a:cubicBezTo>
                      <a:pt x="1144" y="9564"/>
                      <a:pt x="1144" y="9564"/>
                      <a:pt x="1144" y="9564"/>
                    </a:cubicBezTo>
                    <a:cubicBezTo>
                      <a:pt x="1161" y="9701"/>
                      <a:pt x="1161" y="9701"/>
                      <a:pt x="1161" y="9701"/>
                    </a:cubicBezTo>
                    <a:lnTo>
                      <a:pt x="1024" y="9719"/>
                    </a:lnTo>
                    <a:close/>
                    <a:moveTo>
                      <a:pt x="1022" y="9593"/>
                    </a:moveTo>
                    <a:cubicBezTo>
                      <a:pt x="1036" y="9704"/>
                      <a:pt x="1036" y="9704"/>
                      <a:pt x="1036" y="9704"/>
                    </a:cubicBezTo>
                    <a:cubicBezTo>
                      <a:pt x="1147" y="9690"/>
                      <a:pt x="1147" y="9690"/>
                      <a:pt x="1147" y="9690"/>
                    </a:cubicBezTo>
                    <a:cubicBezTo>
                      <a:pt x="1132" y="9579"/>
                      <a:pt x="1132" y="9579"/>
                      <a:pt x="1132" y="9579"/>
                    </a:cubicBezTo>
                    <a:lnTo>
                      <a:pt x="1022" y="9593"/>
                    </a:lnTo>
                    <a:close/>
                    <a:moveTo>
                      <a:pt x="1516" y="9980"/>
                    </a:moveTo>
                    <a:cubicBezTo>
                      <a:pt x="1397" y="9911"/>
                      <a:pt x="1397" y="9911"/>
                      <a:pt x="1397" y="9911"/>
                    </a:cubicBezTo>
                    <a:cubicBezTo>
                      <a:pt x="1467" y="9792"/>
                      <a:pt x="1467" y="9792"/>
                      <a:pt x="1467" y="9792"/>
                    </a:cubicBezTo>
                    <a:cubicBezTo>
                      <a:pt x="1472" y="9795"/>
                      <a:pt x="1472" y="9795"/>
                      <a:pt x="1472" y="9795"/>
                    </a:cubicBezTo>
                    <a:cubicBezTo>
                      <a:pt x="1586" y="9861"/>
                      <a:pt x="1586" y="9861"/>
                      <a:pt x="1586" y="9861"/>
                    </a:cubicBezTo>
                    <a:lnTo>
                      <a:pt x="1516" y="9980"/>
                    </a:lnTo>
                    <a:close/>
                    <a:moveTo>
                      <a:pt x="1512" y="9962"/>
                    </a:moveTo>
                    <a:cubicBezTo>
                      <a:pt x="1568" y="9866"/>
                      <a:pt x="1568" y="9866"/>
                      <a:pt x="1568" y="9866"/>
                    </a:cubicBezTo>
                    <a:cubicBezTo>
                      <a:pt x="1471" y="9809"/>
                      <a:pt x="1471" y="9809"/>
                      <a:pt x="1471" y="9809"/>
                    </a:cubicBezTo>
                    <a:cubicBezTo>
                      <a:pt x="1415" y="9906"/>
                      <a:pt x="1415" y="9906"/>
                      <a:pt x="1415" y="9906"/>
                    </a:cubicBezTo>
                    <a:lnTo>
                      <a:pt x="1512" y="9962"/>
                    </a:lnTo>
                    <a:close/>
                    <a:moveTo>
                      <a:pt x="1674" y="9935"/>
                    </a:moveTo>
                    <a:cubicBezTo>
                      <a:pt x="1787" y="10001"/>
                      <a:pt x="1787" y="10001"/>
                      <a:pt x="1787" y="10001"/>
                    </a:cubicBezTo>
                    <a:cubicBezTo>
                      <a:pt x="1717" y="10120"/>
                      <a:pt x="1717" y="10120"/>
                      <a:pt x="1717" y="10120"/>
                    </a:cubicBezTo>
                    <a:cubicBezTo>
                      <a:pt x="1598" y="10051"/>
                      <a:pt x="1598" y="10051"/>
                      <a:pt x="1598" y="10051"/>
                    </a:cubicBezTo>
                    <a:cubicBezTo>
                      <a:pt x="1668" y="9932"/>
                      <a:pt x="1668" y="9932"/>
                      <a:pt x="1668" y="9932"/>
                    </a:cubicBezTo>
                    <a:lnTo>
                      <a:pt x="1674" y="9935"/>
                    </a:lnTo>
                    <a:close/>
                    <a:moveTo>
                      <a:pt x="1769" y="10006"/>
                    </a:moveTo>
                    <a:cubicBezTo>
                      <a:pt x="1673" y="9949"/>
                      <a:pt x="1673" y="9949"/>
                      <a:pt x="1673" y="9949"/>
                    </a:cubicBezTo>
                    <a:cubicBezTo>
                      <a:pt x="1616" y="10046"/>
                      <a:pt x="1616" y="10046"/>
                      <a:pt x="1616" y="10046"/>
                    </a:cubicBezTo>
                    <a:cubicBezTo>
                      <a:pt x="1713" y="10102"/>
                      <a:pt x="1713" y="10102"/>
                      <a:pt x="1713" y="10102"/>
                    </a:cubicBezTo>
                    <a:lnTo>
                      <a:pt x="1769" y="10006"/>
                    </a:lnTo>
                    <a:close/>
                    <a:moveTo>
                      <a:pt x="8436" y="6418"/>
                    </a:moveTo>
                    <a:cubicBezTo>
                      <a:pt x="8438" y="6488"/>
                      <a:pt x="8438" y="6488"/>
                      <a:pt x="8438" y="6488"/>
                    </a:cubicBezTo>
                    <a:cubicBezTo>
                      <a:pt x="8286" y="6492"/>
                      <a:pt x="8286" y="6492"/>
                      <a:pt x="8286" y="6492"/>
                    </a:cubicBezTo>
                    <a:cubicBezTo>
                      <a:pt x="8285" y="6421"/>
                      <a:pt x="8285" y="6421"/>
                      <a:pt x="8285" y="6421"/>
                    </a:cubicBezTo>
                    <a:cubicBezTo>
                      <a:pt x="8291" y="6421"/>
                      <a:pt x="8291" y="6421"/>
                      <a:pt x="8291" y="6421"/>
                    </a:cubicBezTo>
                    <a:lnTo>
                      <a:pt x="8436" y="6418"/>
                    </a:lnTo>
                    <a:close/>
                    <a:moveTo>
                      <a:pt x="8424" y="6476"/>
                    </a:moveTo>
                    <a:cubicBezTo>
                      <a:pt x="8423" y="6431"/>
                      <a:pt x="8423" y="6431"/>
                      <a:pt x="8423" y="6431"/>
                    </a:cubicBezTo>
                    <a:cubicBezTo>
                      <a:pt x="8298" y="6434"/>
                      <a:pt x="8298" y="6434"/>
                      <a:pt x="8298" y="6434"/>
                    </a:cubicBezTo>
                    <a:cubicBezTo>
                      <a:pt x="8299" y="6478"/>
                      <a:pt x="8299" y="6478"/>
                      <a:pt x="8299" y="6478"/>
                    </a:cubicBezTo>
                    <a:lnTo>
                      <a:pt x="8424" y="6476"/>
                    </a:lnTo>
                    <a:close/>
                    <a:moveTo>
                      <a:pt x="5857" y="8190"/>
                    </a:moveTo>
                    <a:cubicBezTo>
                      <a:pt x="5853" y="8073"/>
                      <a:pt x="5853" y="8073"/>
                      <a:pt x="5853" y="8073"/>
                    </a:cubicBezTo>
                    <a:cubicBezTo>
                      <a:pt x="5971" y="8073"/>
                      <a:pt x="5971" y="8073"/>
                      <a:pt x="5971" y="8073"/>
                    </a:cubicBezTo>
                    <a:cubicBezTo>
                      <a:pt x="5971" y="8083"/>
                      <a:pt x="5971" y="8083"/>
                      <a:pt x="5971" y="8083"/>
                    </a:cubicBezTo>
                    <a:cubicBezTo>
                      <a:pt x="6023" y="8083"/>
                      <a:pt x="6023" y="8083"/>
                      <a:pt x="6023" y="8083"/>
                    </a:cubicBezTo>
                    <a:cubicBezTo>
                      <a:pt x="6025" y="8268"/>
                      <a:pt x="6025" y="8268"/>
                      <a:pt x="6025" y="8268"/>
                    </a:cubicBezTo>
                    <a:cubicBezTo>
                      <a:pt x="5915" y="8269"/>
                      <a:pt x="5915" y="8269"/>
                      <a:pt x="5915" y="8269"/>
                    </a:cubicBezTo>
                    <a:cubicBezTo>
                      <a:pt x="5914" y="8196"/>
                      <a:pt x="5914" y="8196"/>
                      <a:pt x="5914" y="8196"/>
                    </a:cubicBezTo>
                    <a:cubicBezTo>
                      <a:pt x="5857" y="8196"/>
                      <a:pt x="5857" y="8196"/>
                      <a:pt x="5857" y="8196"/>
                    </a:cubicBezTo>
                    <a:lnTo>
                      <a:pt x="5857" y="8190"/>
                    </a:lnTo>
                    <a:close/>
                    <a:moveTo>
                      <a:pt x="5867" y="8086"/>
                    </a:moveTo>
                    <a:cubicBezTo>
                      <a:pt x="5870" y="8183"/>
                      <a:pt x="5870" y="8183"/>
                      <a:pt x="5870" y="8183"/>
                    </a:cubicBezTo>
                    <a:cubicBezTo>
                      <a:pt x="5927" y="8183"/>
                      <a:pt x="5927" y="8183"/>
                      <a:pt x="5927" y="8183"/>
                    </a:cubicBezTo>
                    <a:cubicBezTo>
                      <a:pt x="5928" y="8256"/>
                      <a:pt x="5928" y="8256"/>
                      <a:pt x="5928" y="8256"/>
                    </a:cubicBezTo>
                    <a:cubicBezTo>
                      <a:pt x="6011" y="8255"/>
                      <a:pt x="6011" y="8255"/>
                      <a:pt x="6011" y="8255"/>
                    </a:cubicBezTo>
                    <a:cubicBezTo>
                      <a:pt x="6010" y="8096"/>
                      <a:pt x="6010" y="8096"/>
                      <a:pt x="6010" y="8096"/>
                    </a:cubicBezTo>
                    <a:cubicBezTo>
                      <a:pt x="5958" y="8096"/>
                      <a:pt x="5958" y="8096"/>
                      <a:pt x="5958" y="8096"/>
                    </a:cubicBezTo>
                    <a:cubicBezTo>
                      <a:pt x="5958" y="8086"/>
                      <a:pt x="5958" y="8086"/>
                      <a:pt x="5958" y="8086"/>
                    </a:cubicBezTo>
                    <a:lnTo>
                      <a:pt x="5867" y="8086"/>
                    </a:lnTo>
                    <a:close/>
                    <a:moveTo>
                      <a:pt x="6652" y="7664"/>
                    </a:moveTo>
                    <a:cubicBezTo>
                      <a:pt x="6651" y="7513"/>
                      <a:pt x="6651" y="7513"/>
                      <a:pt x="6651" y="7513"/>
                    </a:cubicBezTo>
                    <a:cubicBezTo>
                      <a:pt x="6721" y="7512"/>
                      <a:pt x="6721" y="7512"/>
                      <a:pt x="6721" y="7512"/>
                    </a:cubicBezTo>
                    <a:cubicBezTo>
                      <a:pt x="6721" y="7519"/>
                      <a:pt x="6721" y="7519"/>
                      <a:pt x="6721" y="7519"/>
                    </a:cubicBezTo>
                    <a:cubicBezTo>
                      <a:pt x="6723" y="7664"/>
                      <a:pt x="6723" y="7664"/>
                      <a:pt x="6723" y="7664"/>
                    </a:cubicBezTo>
                    <a:lnTo>
                      <a:pt x="6652" y="7664"/>
                    </a:lnTo>
                    <a:close/>
                    <a:moveTo>
                      <a:pt x="6664" y="7526"/>
                    </a:moveTo>
                    <a:cubicBezTo>
                      <a:pt x="6665" y="7651"/>
                      <a:pt x="6665" y="7651"/>
                      <a:pt x="6665" y="7651"/>
                    </a:cubicBezTo>
                    <a:cubicBezTo>
                      <a:pt x="6709" y="7651"/>
                      <a:pt x="6709" y="7651"/>
                      <a:pt x="6709" y="7651"/>
                    </a:cubicBezTo>
                    <a:cubicBezTo>
                      <a:pt x="6708" y="7525"/>
                      <a:pt x="6708" y="7525"/>
                      <a:pt x="6708" y="7525"/>
                    </a:cubicBezTo>
                    <a:lnTo>
                      <a:pt x="6664" y="7526"/>
                    </a:lnTo>
                    <a:close/>
                    <a:moveTo>
                      <a:pt x="6408" y="8386"/>
                    </a:moveTo>
                    <a:cubicBezTo>
                      <a:pt x="6408" y="8315"/>
                      <a:pt x="6408" y="8315"/>
                      <a:pt x="6408" y="8315"/>
                    </a:cubicBezTo>
                    <a:cubicBezTo>
                      <a:pt x="6415" y="8315"/>
                      <a:pt x="6415" y="8315"/>
                      <a:pt x="6415" y="8315"/>
                    </a:cubicBezTo>
                    <a:cubicBezTo>
                      <a:pt x="6560" y="8315"/>
                      <a:pt x="6560" y="8315"/>
                      <a:pt x="6560" y="8315"/>
                    </a:cubicBezTo>
                    <a:cubicBezTo>
                      <a:pt x="6560" y="8385"/>
                      <a:pt x="6560" y="8385"/>
                      <a:pt x="6560" y="8385"/>
                    </a:cubicBezTo>
                    <a:lnTo>
                      <a:pt x="6408" y="8386"/>
                    </a:lnTo>
                    <a:close/>
                    <a:moveTo>
                      <a:pt x="6421" y="8328"/>
                    </a:moveTo>
                    <a:cubicBezTo>
                      <a:pt x="6421" y="8373"/>
                      <a:pt x="6421" y="8373"/>
                      <a:pt x="6421" y="8373"/>
                    </a:cubicBezTo>
                    <a:cubicBezTo>
                      <a:pt x="6547" y="8372"/>
                      <a:pt x="6547" y="8372"/>
                      <a:pt x="6547" y="8372"/>
                    </a:cubicBezTo>
                    <a:cubicBezTo>
                      <a:pt x="6546" y="8328"/>
                      <a:pt x="6546" y="8328"/>
                      <a:pt x="6546" y="8328"/>
                    </a:cubicBezTo>
                    <a:lnTo>
                      <a:pt x="6421" y="8328"/>
                    </a:lnTo>
                    <a:close/>
                    <a:moveTo>
                      <a:pt x="5487" y="7425"/>
                    </a:moveTo>
                    <a:cubicBezTo>
                      <a:pt x="5324" y="7216"/>
                      <a:pt x="5324" y="7216"/>
                      <a:pt x="5324" y="7216"/>
                    </a:cubicBezTo>
                    <a:cubicBezTo>
                      <a:pt x="5457" y="7120"/>
                      <a:pt x="5457" y="7120"/>
                      <a:pt x="5457" y="7120"/>
                    </a:cubicBezTo>
                    <a:cubicBezTo>
                      <a:pt x="5648" y="7304"/>
                      <a:pt x="5648" y="7304"/>
                      <a:pt x="5648" y="7304"/>
                    </a:cubicBezTo>
                    <a:cubicBezTo>
                      <a:pt x="5641" y="7309"/>
                      <a:pt x="5641" y="7309"/>
                      <a:pt x="5641" y="7309"/>
                    </a:cubicBezTo>
                    <a:lnTo>
                      <a:pt x="5487" y="7425"/>
                    </a:lnTo>
                    <a:close/>
                    <a:moveTo>
                      <a:pt x="5345" y="7219"/>
                    </a:moveTo>
                    <a:cubicBezTo>
                      <a:pt x="5490" y="7404"/>
                      <a:pt x="5490" y="7404"/>
                      <a:pt x="5490" y="7404"/>
                    </a:cubicBezTo>
                    <a:cubicBezTo>
                      <a:pt x="5626" y="7302"/>
                      <a:pt x="5626" y="7302"/>
                      <a:pt x="5626" y="7302"/>
                    </a:cubicBezTo>
                    <a:cubicBezTo>
                      <a:pt x="5456" y="7139"/>
                      <a:pt x="5456" y="7139"/>
                      <a:pt x="5456" y="7139"/>
                    </a:cubicBezTo>
                    <a:lnTo>
                      <a:pt x="5345" y="7219"/>
                    </a:lnTo>
                    <a:close/>
                    <a:moveTo>
                      <a:pt x="5089" y="7707"/>
                    </a:moveTo>
                    <a:cubicBezTo>
                      <a:pt x="4930" y="7469"/>
                      <a:pt x="4930" y="7469"/>
                      <a:pt x="4930" y="7469"/>
                    </a:cubicBezTo>
                    <a:cubicBezTo>
                      <a:pt x="5104" y="7379"/>
                      <a:pt x="5104" y="7379"/>
                      <a:pt x="5104" y="7379"/>
                    </a:cubicBezTo>
                    <a:cubicBezTo>
                      <a:pt x="5108" y="7385"/>
                      <a:pt x="5108" y="7385"/>
                      <a:pt x="5108" y="7385"/>
                    </a:cubicBezTo>
                    <a:cubicBezTo>
                      <a:pt x="5244" y="7606"/>
                      <a:pt x="5244" y="7606"/>
                      <a:pt x="5244" y="7606"/>
                    </a:cubicBezTo>
                    <a:lnTo>
                      <a:pt x="5089" y="7707"/>
                    </a:lnTo>
                    <a:close/>
                    <a:moveTo>
                      <a:pt x="4951" y="7475"/>
                    </a:moveTo>
                    <a:cubicBezTo>
                      <a:pt x="5093" y="7687"/>
                      <a:pt x="5093" y="7687"/>
                      <a:pt x="5093" y="7687"/>
                    </a:cubicBezTo>
                    <a:cubicBezTo>
                      <a:pt x="5224" y="7602"/>
                      <a:pt x="5224" y="7602"/>
                      <a:pt x="5224" y="7602"/>
                    </a:cubicBezTo>
                    <a:cubicBezTo>
                      <a:pt x="5099" y="7399"/>
                      <a:pt x="5099" y="7399"/>
                      <a:pt x="5099" y="7399"/>
                    </a:cubicBezTo>
                    <a:lnTo>
                      <a:pt x="4951" y="7475"/>
                    </a:lnTo>
                    <a:close/>
                    <a:moveTo>
                      <a:pt x="3741" y="8980"/>
                    </a:moveTo>
                    <a:cubicBezTo>
                      <a:pt x="3885" y="8994"/>
                      <a:pt x="3885" y="8994"/>
                      <a:pt x="3885" y="8994"/>
                    </a:cubicBezTo>
                    <a:cubicBezTo>
                      <a:pt x="3878" y="9069"/>
                      <a:pt x="3878" y="9069"/>
                      <a:pt x="3878" y="9069"/>
                    </a:cubicBezTo>
                    <a:cubicBezTo>
                      <a:pt x="3727" y="9055"/>
                      <a:pt x="3727" y="9055"/>
                      <a:pt x="3727" y="9055"/>
                    </a:cubicBezTo>
                    <a:cubicBezTo>
                      <a:pt x="3735" y="8979"/>
                      <a:pt x="3735" y="8979"/>
                      <a:pt x="3735" y="8979"/>
                    </a:cubicBezTo>
                    <a:lnTo>
                      <a:pt x="3741" y="8980"/>
                    </a:lnTo>
                    <a:close/>
                    <a:moveTo>
                      <a:pt x="3742" y="9043"/>
                    </a:moveTo>
                    <a:cubicBezTo>
                      <a:pt x="3866" y="9055"/>
                      <a:pt x="3866" y="9055"/>
                      <a:pt x="3866" y="9055"/>
                    </a:cubicBezTo>
                    <a:cubicBezTo>
                      <a:pt x="3871" y="9006"/>
                      <a:pt x="3871" y="9006"/>
                      <a:pt x="3871" y="9006"/>
                    </a:cubicBezTo>
                    <a:cubicBezTo>
                      <a:pt x="3746" y="8994"/>
                      <a:pt x="3746" y="8994"/>
                      <a:pt x="3746" y="8994"/>
                    </a:cubicBezTo>
                    <a:lnTo>
                      <a:pt x="3742" y="9043"/>
                    </a:lnTo>
                    <a:close/>
                    <a:moveTo>
                      <a:pt x="8404" y="4966"/>
                    </a:moveTo>
                    <a:cubicBezTo>
                      <a:pt x="8404" y="5030"/>
                      <a:pt x="8392" y="5085"/>
                      <a:pt x="8388" y="5099"/>
                    </a:cubicBezTo>
                    <a:cubicBezTo>
                      <a:pt x="8384" y="5113"/>
                      <a:pt x="8363" y="5180"/>
                      <a:pt x="8326" y="5243"/>
                    </a:cubicBezTo>
                    <a:cubicBezTo>
                      <a:pt x="8289" y="5307"/>
                      <a:pt x="8237" y="5369"/>
                      <a:pt x="8167" y="5369"/>
                    </a:cubicBezTo>
                    <a:cubicBezTo>
                      <a:pt x="8156" y="5369"/>
                      <a:pt x="8145" y="5368"/>
                      <a:pt x="8134" y="5364"/>
                    </a:cubicBezTo>
                    <a:cubicBezTo>
                      <a:pt x="8030" y="5335"/>
                      <a:pt x="8001" y="5229"/>
                      <a:pt x="8001" y="5131"/>
                    </a:cubicBezTo>
                    <a:cubicBezTo>
                      <a:pt x="8001" y="5082"/>
                      <a:pt x="8009" y="5034"/>
                      <a:pt x="8018" y="4997"/>
                    </a:cubicBezTo>
                    <a:cubicBezTo>
                      <a:pt x="8044" y="4898"/>
                      <a:pt x="8134" y="4739"/>
                      <a:pt x="8244" y="4737"/>
                    </a:cubicBezTo>
                    <a:cubicBezTo>
                      <a:pt x="8254" y="4737"/>
                      <a:pt x="8265" y="4739"/>
                      <a:pt x="8275" y="4742"/>
                    </a:cubicBezTo>
                    <a:cubicBezTo>
                      <a:pt x="8381" y="4773"/>
                      <a:pt x="8404" y="4879"/>
                      <a:pt x="8404" y="4966"/>
                    </a:cubicBezTo>
                    <a:close/>
                    <a:moveTo>
                      <a:pt x="8389" y="4966"/>
                    </a:moveTo>
                    <a:cubicBezTo>
                      <a:pt x="8389" y="4880"/>
                      <a:pt x="8367" y="4783"/>
                      <a:pt x="8271" y="4756"/>
                    </a:cubicBezTo>
                    <a:cubicBezTo>
                      <a:pt x="8273" y="4749"/>
                      <a:pt x="8273" y="4749"/>
                      <a:pt x="8273" y="4749"/>
                    </a:cubicBezTo>
                    <a:cubicBezTo>
                      <a:pt x="8271" y="4756"/>
                      <a:pt x="8271" y="4756"/>
                      <a:pt x="8271" y="4756"/>
                    </a:cubicBezTo>
                    <a:cubicBezTo>
                      <a:pt x="8262" y="4753"/>
                      <a:pt x="8253" y="4752"/>
                      <a:pt x="8244" y="4752"/>
                    </a:cubicBezTo>
                    <a:cubicBezTo>
                      <a:pt x="8149" y="4750"/>
                      <a:pt x="8056" y="4904"/>
                      <a:pt x="8032" y="5001"/>
                    </a:cubicBezTo>
                    <a:cubicBezTo>
                      <a:pt x="8023" y="5036"/>
                      <a:pt x="8016" y="5083"/>
                      <a:pt x="8016" y="5131"/>
                    </a:cubicBezTo>
                    <a:cubicBezTo>
                      <a:pt x="8016" y="5227"/>
                      <a:pt x="8044" y="5324"/>
                      <a:pt x="8138" y="5350"/>
                    </a:cubicBezTo>
                    <a:cubicBezTo>
                      <a:pt x="8148" y="5353"/>
                      <a:pt x="8157" y="5354"/>
                      <a:pt x="8167" y="5354"/>
                    </a:cubicBezTo>
                    <a:cubicBezTo>
                      <a:pt x="8227" y="5355"/>
                      <a:pt x="8278" y="5298"/>
                      <a:pt x="8313" y="5236"/>
                    </a:cubicBezTo>
                    <a:cubicBezTo>
                      <a:pt x="8349" y="5174"/>
                      <a:pt x="8370" y="5108"/>
                      <a:pt x="8374" y="5095"/>
                    </a:cubicBezTo>
                    <a:cubicBezTo>
                      <a:pt x="8377" y="5083"/>
                      <a:pt x="8389" y="5028"/>
                      <a:pt x="8389" y="4966"/>
                    </a:cubicBezTo>
                    <a:close/>
                    <a:moveTo>
                      <a:pt x="4051" y="8918"/>
                    </a:moveTo>
                    <a:cubicBezTo>
                      <a:pt x="3900" y="8903"/>
                      <a:pt x="3900" y="8903"/>
                      <a:pt x="3900" y="8903"/>
                    </a:cubicBezTo>
                    <a:cubicBezTo>
                      <a:pt x="3907" y="8828"/>
                      <a:pt x="3907" y="8828"/>
                      <a:pt x="3907" y="8828"/>
                    </a:cubicBezTo>
                    <a:cubicBezTo>
                      <a:pt x="3914" y="8828"/>
                      <a:pt x="3914" y="8828"/>
                      <a:pt x="3914" y="8828"/>
                    </a:cubicBezTo>
                    <a:cubicBezTo>
                      <a:pt x="4058" y="8842"/>
                      <a:pt x="4058" y="8842"/>
                      <a:pt x="4058" y="8842"/>
                    </a:cubicBezTo>
                    <a:lnTo>
                      <a:pt x="4051" y="8918"/>
                    </a:lnTo>
                    <a:close/>
                    <a:moveTo>
                      <a:pt x="4044" y="8854"/>
                    </a:moveTo>
                    <a:cubicBezTo>
                      <a:pt x="3919" y="8842"/>
                      <a:pt x="3919" y="8842"/>
                      <a:pt x="3919" y="8842"/>
                    </a:cubicBezTo>
                    <a:cubicBezTo>
                      <a:pt x="3914" y="8891"/>
                      <a:pt x="3914" y="8891"/>
                      <a:pt x="3914" y="8891"/>
                    </a:cubicBezTo>
                    <a:cubicBezTo>
                      <a:pt x="4039" y="8903"/>
                      <a:pt x="4039" y="8903"/>
                      <a:pt x="4039" y="8903"/>
                    </a:cubicBezTo>
                    <a:lnTo>
                      <a:pt x="4044" y="8854"/>
                    </a:lnTo>
                    <a:close/>
                    <a:moveTo>
                      <a:pt x="6588" y="8542"/>
                    </a:moveTo>
                    <a:cubicBezTo>
                      <a:pt x="6590" y="8687"/>
                      <a:pt x="6590" y="8687"/>
                      <a:pt x="6590" y="8687"/>
                    </a:cubicBezTo>
                    <a:cubicBezTo>
                      <a:pt x="6519" y="8687"/>
                      <a:pt x="6519" y="8687"/>
                      <a:pt x="6519" y="8687"/>
                    </a:cubicBezTo>
                    <a:cubicBezTo>
                      <a:pt x="6518" y="8536"/>
                      <a:pt x="6518" y="8536"/>
                      <a:pt x="6518" y="8536"/>
                    </a:cubicBezTo>
                    <a:cubicBezTo>
                      <a:pt x="6588" y="8535"/>
                      <a:pt x="6588" y="8535"/>
                      <a:pt x="6588" y="8535"/>
                    </a:cubicBezTo>
                    <a:lnTo>
                      <a:pt x="6588" y="8542"/>
                    </a:lnTo>
                    <a:close/>
                    <a:moveTo>
                      <a:pt x="6576" y="8674"/>
                    </a:moveTo>
                    <a:cubicBezTo>
                      <a:pt x="6575" y="8548"/>
                      <a:pt x="6575" y="8548"/>
                      <a:pt x="6575" y="8548"/>
                    </a:cubicBezTo>
                    <a:cubicBezTo>
                      <a:pt x="6531" y="8549"/>
                      <a:pt x="6531" y="8549"/>
                      <a:pt x="6531" y="8549"/>
                    </a:cubicBezTo>
                    <a:cubicBezTo>
                      <a:pt x="6532" y="8674"/>
                      <a:pt x="6532" y="8674"/>
                      <a:pt x="6532" y="8674"/>
                    </a:cubicBezTo>
                    <a:lnTo>
                      <a:pt x="6576" y="8674"/>
                    </a:lnTo>
                    <a:close/>
                    <a:moveTo>
                      <a:pt x="7551" y="6455"/>
                    </a:moveTo>
                    <a:cubicBezTo>
                      <a:pt x="7552" y="6525"/>
                      <a:pt x="7552" y="6525"/>
                      <a:pt x="7552" y="6525"/>
                    </a:cubicBezTo>
                    <a:cubicBezTo>
                      <a:pt x="7401" y="6529"/>
                      <a:pt x="7401" y="6529"/>
                      <a:pt x="7401" y="6529"/>
                    </a:cubicBezTo>
                    <a:cubicBezTo>
                      <a:pt x="7399" y="6458"/>
                      <a:pt x="7399" y="6458"/>
                      <a:pt x="7399" y="6458"/>
                    </a:cubicBezTo>
                    <a:cubicBezTo>
                      <a:pt x="7406" y="6458"/>
                      <a:pt x="7406" y="6458"/>
                      <a:pt x="7406" y="6458"/>
                    </a:cubicBezTo>
                    <a:lnTo>
                      <a:pt x="7551" y="6455"/>
                    </a:lnTo>
                    <a:close/>
                    <a:moveTo>
                      <a:pt x="7539" y="6513"/>
                    </a:moveTo>
                    <a:cubicBezTo>
                      <a:pt x="7538" y="6468"/>
                      <a:pt x="7538" y="6468"/>
                      <a:pt x="7538" y="6468"/>
                    </a:cubicBezTo>
                    <a:cubicBezTo>
                      <a:pt x="7413" y="6471"/>
                      <a:pt x="7413" y="6471"/>
                      <a:pt x="7413" y="6471"/>
                    </a:cubicBezTo>
                    <a:cubicBezTo>
                      <a:pt x="7414" y="6515"/>
                      <a:pt x="7414" y="6515"/>
                      <a:pt x="7414" y="6515"/>
                    </a:cubicBezTo>
                    <a:lnTo>
                      <a:pt x="7539" y="6513"/>
                    </a:lnTo>
                    <a:close/>
                    <a:moveTo>
                      <a:pt x="7730" y="6453"/>
                    </a:moveTo>
                    <a:cubicBezTo>
                      <a:pt x="7732" y="6523"/>
                      <a:pt x="7732" y="6523"/>
                      <a:pt x="7732" y="6523"/>
                    </a:cubicBezTo>
                    <a:cubicBezTo>
                      <a:pt x="7580" y="6527"/>
                      <a:pt x="7580" y="6527"/>
                      <a:pt x="7580" y="6527"/>
                    </a:cubicBezTo>
                    <a:cubicBezTo>
                      <a:pt x="7579" y="6456"/>
                      <a:pt x="7579" y="6456"/>
                      <a:pt x="7579" y="6456"/>
                    </a:cubicBezTo>
                    <a:cubicBezTo>
                      <a:pt x="7585" y="6456"/>
                      <a:pt x="7585" y="6456"/>
                      <a:pt x="7585" y="6456"/>
                    </a:cubicBezTo>
                    <a:lnTo>
                      <a:pt x="7730" y="6453"/>
                    </a:lnTo>
                    <a:close/>
                    <a:moveTo>
                      <a:pt x="7718" y="6510"/>
                    </a:moveTo>
                    <a:cubicBezTo>
                      <a:pt x="7717" y="6466"/>
                      <a:pt x="7717" y="6466"/>
                      <a:pt x="7717" y="6466"/>
                    </a:cubicBezTo>
                    <a:cubicBezTo>
                      <a:pt x="7592" y="6469"/>
                      <a:pt x="7592" y="6469"/>
                      <a:pt x="7592" y="6469"/>
                    </a:cubicBezTo>
                    <a:cubicBezTo>
                      <a:pt x="7593" y="6513"/>
                      <a:pt x="7593" y="6513"/>
                      <a:pt x="7593" y="6513"/>
                    </a:cubicBezTo>
                    <a:lnTo>
                      <a:pt x="7718" y="6510"/>
                    </a:lnTo>
                    <a:close/>
                    <a:moveTo>
                      <a:pt x="7917" y="6446"/>
                    </a:moveTo>
                    <a:cubicBezTo>
                      <a:pt x="7918" y="6516"/>
                      <a:pt x="7918" y="6516"/>
                      <a:pt x="7918" y="6516"/>
                    </a:cubicBezTo>
                    <a:cubicBezTo>
                      <a:pt x="7767" y="6519"/>
                      <a:pt x="7767" y="6519"/>
                      <a:pt x="7767" y="6519"/>
                    </a:cubicBezTo>
                    <a:cubicBezTo>
                      <a:pt x="7765" y="6449"/>
                      <a:pt x="7765" y="6449"/>
                      <a:pt x="7765" y="6449"/>
                    </a:cubicBezTo>
                    <a:cubicBezTo>
                      <a:pt x="7772" y="6449"/>
                      <a:pt x="7772" y="6449"/>
                      <a:pt x="7772" y="6449"/>
                    </a:cubicBezTo>
                    <a:lnTo>
                      <a:pt x="7917" y="6446"/>
                    </a:lnTo>
                    <a:close/>
                    <a:moveTo>
                      <a:pt x="7905" y="6503"/>
                    </a:moveTo>
                    <a:cubicBezTo>
                      <a:pt x="7904" y="6459"/>
                      <a:pt x="7904" y="6459"/>
                      <a:pt x="7904" y="6459"/>
                    </a:cubicBezTo>
                    <a:cubicBezTo>
                      <a:pt x="7779" y="6462"/>
                      <a:pt x="7779" y="6462"/>
                      <a:pt x="7779" y="6462"/>
                    </a:cubicBezTo>
                    <a:cubicBezTo>
                      <a:pt x="7780" y="6506"/>
                      <a:pt x="7780" y="6506"/>
                      <a:pt x="7780" y="6506"/>
                    </a:cubicBezTo>
                    <a:lnTo>
                      <a:pt x="7905" y="6503"/>
                    </a:lnTo>
                    <a:close/>
                    <a:moveTo>
                      <a:pt x="5456" y="7580"/>
                    </a:moveTo>
                    <a:cubicBezTo>
                      <a:pt x="5195" y="7189"/>
                      <a:pt x="5195" y="7189"/>
                      <a:pt x="5195" y="7189"/>
                    </a:cubicBezTo>
                    <a:cubicBezTo>
                      <a:pt x="5484" y="6998"/>
                      <a:pt x="5484" y="6998"/>
                      <a:pt x="5484" y="6998"/>
                    </a:cubicBezTo>
                    <a:cubicBezTo>
                      <a:pt x="5511" y="7039"/>
                      <a:pt x="5511" y="7039"/>
                      <a:pt x="5511" y="7039"/>
                    </a:cubicBezTo>
                    <a:cubicBezTo>
                      <a:pt x="5805" y="7298"/>
                      <a:pt x="5805" y="7298"/>
                      <a:pt x="5805" y="7298"/>
                    </a:cubicBezTo>
                    <a:cubicBezTo>
                      <a:pt x="5798" y="7304"/>
                      <a:pt x="5798" y="7304"/>
                      <a:pt x="5798" y="7304"/>
                    </a:cubicBezTo>
                    <a:lnTo>
                      <a:pt x="5456" y="7580"/>
                    </a:lnTo>
                    <a:close/>
                    <a:moveTo>
                      <a:pt x="5215" y="7193"/>
                    </a:moveTo>
                    <a:cubicBezTo>
                      <a:pt x="5459" y="7558"/>
                      <a:pt x="5459" y="7558"/>
                      <a:pt x="5459" y="7558"/>
                    </a:cubicBezTo>
                    <a:cubicBezTo>
                      <a:pt x="5782" y="7298"/>
                      <a:pt x="5782" y="7298"/>
                      <a:pt x="5782" y="7298"/>
                    </a:cubicBezTo>
                    <a:cubicBezTo>
                      <a:pt x="5499" y="7049"/>
                      <a:pt x="5499" y="7049"/>
                      <a:pt x="5499" y="7049"/>
                    </a:cubicBezTo>
                    <a:cubicBezTo>
                      <a:pt x="5480" y="7019"/>
                      <a:pt x="5480" y="7019"/>
                      <a:pt x="5480" y="7019"/>
                    </a:cubicBezTo>
                    <a:lnTo>
                      <a:pt x="5215" y="7193"/>
                    </a:lnTo>
                    <a:close/>
                    <a:moveTo>
                      <a:pt x="4995" y="7906"/>
                    </a:moveTo>
                    <a:cubicBezTo>
                      <a:pt x="4988" y="7910"/>
                      <a:pt x="4988" y="7910"/>
                      <a:pt x="4988" y="7910"/>
                    </a:cubicBezTo>
                    <a:cubicBezTo>
                      <a:pt x="4581" y="8140"/>
                      <a:pt x="4581" y="8140"/>
                      <a:pt x="4581" y="8140"/>
                    </a:cubicBezTo>
                    <a:cubicBezTo>
                      <a:pt x="4327" y="7699"/>
                      <a:pt x="4327" y="7699"/>
                      <a:pt x="4327" y="7699"/>
                    </a:cubicBezTo>
                    <a:cubicBezTo>
                      <a:pt x="4713" y="7482"/>
                      <a:pt x="4713" y="7482"/>
                      <a:pt x="4713" y="7482"/>
                    </a:cubicBezTo>
                    <a:lnTo>
                      <a:pt x="4995" y="7906"/>
                    </a:lnTo>
                    <a:close/>
                    <a:moveTo>
                      <a:pt x="4974" y="7901"/>
                    </a:moveTo>
                    <a:cubicBezTo>
                      <a:pt x="4708" y="7501"/>
                      <a:pt x="4708" y="7501"/>
                      <a:pt x="4708" y="7501"/>
                    </a:cubicBezTo>
                    <a:cubicBezTo>
                      <a:pt x="4347" y="7704"/>
                      <a:pt x="4347" y="7704"/>
                      <a:pt x="4347" y="7704"/>
                    </a:cubicBezTo>
                    <a:cubicBezTo>
                      <a:pt x="4586" y="8120"/>
                      <a:pt x="4586" y="8120"/>
                      <a:pt x="4586" y="8120"/>
                    </a:cubicBezTo>
                    <a:lnTo>
                      <a:pt x="4974" y="7901"/>
                    </a:lnTo>
                    <a:close/>
                    <a:moveTo>
                      <a:pt x="7943" y="6510"/>
                    </a:moveTo>
                    <a:cubicBezTo>
                      <a:pt x="7941" y="6439"/>
                      <a:pt x="7941" y="6439"/>
                      <a:pt x="7941" y="6439"/>
                    </a:cubicBezTo>
                    <a:cubicBezTo>
                      <a:pt x="7948" y="6439"/>
                      <a:pt x="7948" y="6439"/>
                      <a:pt x="7948" y="6439"/>
                    </a:cubicBezTo>
                    <a:cubicBezTo>
                      <a:pt x="8093" y="6436"/>
                      <a:pt x="8093" y="6436"/>
                      <a:pt x="8093" y="6436"/>
                    </a:cubicBezTo>
                    <a:cubicBezTo>
                      <a:pt x="8094" y="6507"/>
                      <a:pt x="8094" y="6507"/>
                      <a:pt x="8094" y="6507"/>
                    </a:cubicBezTo>
                    <a:lnTo>
                      <a:pt x="7943" y="6510"/>
                    </a:lnTo>
                    <a:close/>
                    <a:moveTo>
                      <a:pt x="7955" y="6452"/>
                    </a:moveTo>
                    <a:cubicBezTo>
                      <a:pt x="7956" y="6497"/>
                      <a:pt x="7956" y="6497"/>
                      <a:pt x="7956" y="6497"/>
                    </a:cubicBezTo>
                    <a:cubicBezTo>
                      <a:pt x="8081" y="6494"/>
                      <a:pt x="8081" y="6494"/>
                      <a:pt x="8081" y="6494"/>
                    </a:cubicBezTo>
                    <a:cubicBezTo>
                      <a:pt x="8080" y="6450"/>
                      <a:pt x="8080" y="6450"/>
                      <a:pt x="8080" y="6450"/>
                    </a:cubicBezTo>
                    <a:lnTo>
                      <a:pt x="7955" y="6452"/>
                    </a:lnTo>
                    <a:close/>
                    <a:moveTo>
                      <a:pt x="5872" y="7734"/>
                    </a:moveTo>
                    <a:cubicBezTo>
                      <a:pt x="5931" y="7733"/>
                      <a:pt x="5931" y="7733"/>
                      <a:pt x="5931" y="7733"/>
                    </a:cubicBezTo>
                    <a:cubicBezTo>
                      <a:pt x="5930" y="7603"/>
                      <a:pt x="5930" y="7603"/>
                      <a:pt x="5930" y="7603"/>
                    </a:cubicBezTo>
                    <a:cubicBezTo>
                      <a:pt x="6001" y="7603"/>
                      <a:pt x="6001" y="7603"/>
                      <a:pt x="6001" y="7603"/>
                    </a:cubicBezTo>
                    <a:cubicBezTo>
                      <a:pt x="6001" y="7609"/>
                      <a:pt x="6001" y="7609"/>
                      <a:pt x="6001" y="7609"/>
                    </a:cubicBezTo>
                    <a:cubicBezTo>
                      <a:pt x="6002" y="7754"/>
                      <a:pt x="6002" y="7754"/>
                      <a:pt x="6002" y="7754"/>
                    </a:cubicBezTo>
                    <a:cubicBezTo>
                      <a:pt x="5943" y="7755"/>
                      <a:pt x="5943" y="7755"/>
                      <a:pt x="5943" y="7755"/>
                    </a:cubicBezTo>
                    <a:cubicBezTo>
                      <a:pt x="5944" y="7885"/>
                      <a:pt x="5944" y="7885"/>
                      <a:pt x="5944" y="7885"/>
                    </a:cubicBezTo>
                    <a:cubicBezTo>
                      <a:pt x="5873" y="7885"/>
                      <a:pt x="5873" y="7885"/>
                      <a:pt x="5873" y="7885"/>
                    </a:cubicBezTo>
                    <a:lnTo>
                      <a:pt x="5872" y="7734"/>
                    </a:lnTo>
                    <a:close/>
                    <a:moveTo>
                      <a:pt x="5943" y="7616"/>
                    </a:moveTo>
                    <a:cubicBezTo>
                      <a:pt x="5944" y="7741"/>
                      <a:pt x="5944" y="7741"/>
                      <a:pt x="5944" y="7741"/>
                    </a:cubicBezTo>
                    <a:cubicBezTo>
                      <a:pt x="5989" y="7741"/>
                      <a:pt x="5989" y="7741"/>
                      <a:pt x="5989" y="7741"/>
                    </a:cubicBezTo>
                    <a:cubicBezTo>
                      <a:pt x="5988" y="7616"/>
                      <a:pt x="5988" y="7616"/>
                      <a:pt x="5988" y="7616"/>
                    </a:cubicBezTo>
                    <a:lnTo>
                      <a:pt x="5943" y="7616"/>
                    </a:lnTo>
                    <a:close/>
                    <a:moveTo>
                      <a:pt x="5885" y="7747"/>
                    </a:moveTo>
                    <a:cubicBezTo>
                      <a:pt x="5886" y="7872"/>
                      <a:pt x="5886" y="7872"/>
                      <a:pt x="5886" y="7872"/>
                    </a:cubicBezTo>
                    <a:cubicBezTo>
                      <a:pt x="5931" y="7872"/>
                      <a:pt x="5931" y="7872"/>
                      <a:pt x="5931" y="7872"/>
                    </a:cubicBezTo>
                    <a:cubicBezTo>
                      <a:pt x="5930" y="7746"/>
                      <a:pt x="5930" y="7746"/>
                      <a:pt x="5930" y="7746"/>
                    </a:cubicBezTo>
                    <a:lnTo>
                      <a:pt x="5885" y="7747"/>
                    </a:lnTo>
                    <a:close/>
                    <a:moveTo>
                      <a:pt x="6858" y="8374"/>
                    </a:moveTo>
                    <a:cubicBezTo>
                      <a:pt x="6918" y="8459"/>
                      <a:pt x="6918" y="8459"/>
                      <a:pt x="6918" y="8459"/>
                    </a:cubicBezTo>
                    <a:cubicBezTo>
                      <a:pt x="6798" y="8545"/>
                      <a:pt x="6798" y="8545"/>
                      <a:pt x="6798" y="8545"/>
                    </a:cubicBezTo>
                    <a:cubicBezTo>
                      <a:pt x="6794" y="8539"/>
                      <a:pt x="6794" y="8539"/>
                      <a:pt x="6794" y="8539"/>
                    </a:cubicBezTo>
                    <a:cubicBezTo>
                      <a:pt x="6737" y="8460"/>
                      <a:pt x="6737" y="8460"/>
                      <a:pt x="6737" y="8460"/>
                    </a:cubicBezTo>
                    <a:lnTo>
                      <a:pt x="6858" y="8374"/>
                    </a:lnTo>
                    <a:close/>
                    <a:moveTo>
                      <a:pt x="6900" y="8456"/>
                    </a:moveTo>
                    <a:cubicBezTo>
                      <a:pt x="6855" y="8392"/>
                      <a:pt x="6855" y="8392"/>
                      <a:pt x="6855" y="8392"/>
                    </a:cubicBezTo>
                    <a:cubicBezTo>
                      <a:pt x="6755" y="8463"/>
                      <a:pt x="6755" y="8463"/>
                      <a:pt x="6755" y="8463"/>
                    </a:cubicBezTo>
                    <a:cubicBezTo>
                      <a:pt x="6801" y="8527"/>
                      <a:pt x="6801" y="8527"/>
                      <a:pt x="6801" y="8527"/>
                    </a:cubicBezTo>
                    <a:lnTo>
                      <a:pt x="6900" y="8456"/>
                    </a:lnTo>
                    <a:close/>
                    <a:moveTo>
                      <a:pt x="5811" y="7532"/>
                    </a:moveTo>
                    <a:cubicBezTo>
                      <a:pt x="5754" y="7452"/>
                      <a:pt x="5754" y="7452"/>
                      <a:pt x="5754" y="7452"/>
                    </a:cubicBezTo>
                    <a:cubicBezTo>
                      <a:pt x="5875" y="7366"/>
                      <a:pt x="5875" y="7366"/>
                      <a:pt x="5875" y="7366"/>
                    </a:cubicBezTo>
                    <a:cubicBezTo>
                      <a:pt x="5935" y="7451"/>
                      <a:pt x="5935" y="7451"/>
                      <a:pt x="5935" y="7451"/>
                    </a:cubicBezTo>
                    <a:cubicBezTo>
                      <a:pt x="5815" y="7537"/>
                      <a:pt x="5815" y="7537"/>
                      <a:pt x="5815" y="7537"/>
                    </a:cubicBezTo>
                    <a:lnTo>
                      <a:pt x="5811" y="7532"/>
                    </a:lnTo>
                    <a:close/>
                    <a:moveTo>
                      <a:pt x="5772" y="7455"/>
                    </a:moveTo>
                    <a:cubicBezTo>
                      <a:pt x="5818" y="7519"/>
                      <a:pt x="5818" y="7519"/>
                      <a:pt x="5818" y="7519"/>
                    </a:cubicBezTo>
                    <a:cubicBezTo>
                      <a:pt x="5917" y="7448"/>
                      <a:pt x="5917" y="7448"/>
                      <a:pt x="5917" y="7448"/>
                    </a:cubicBezTo>
                    <a:cubicBezTo>
                      <a:pt x="5872" y="7384"/>
                      <a:pt x="5872" y="7384"/>
                      <a:pt x="5872" y="7384"/>
                    </a:cubicBezTo>
                    <a:lnTo>
                      <a:pt x="5772" y="7455"/>
                    </a:lnTo>
                    <a:close/>
                    <a:moveTo>
                      <a:pt x="7338" y="7192"/>
                    </a:moveTo>
                    <a:cubicBezTo>
                      <a:pt x="7287" y="7188"/>
                      <a:pt x="7287" y="7188"/>
                      <a:pt x="7287" y="7188"/>
                    </a:cubicBezTo>
                    <a:cubicBezTo>
                      <a:pt x="7280" y="7260"/>
                      <a:pt x="7280" y="7260"/>
                      <a:pt x="7280" y="7260"/>
                    </a:cubicBezTo>
                    <a:cubicBezTo>
                      <a:pt x="7171" y="7250"/>
                      <a:pt x="7171" y="7250"/>
                      <a:pt x="7171" y="7250"/>
                    </a:cubicBezTo>
                    <a:cubicBezTo>
                      <a:pt x="7188" y="7065"/>
                      <a:pt x="7188" y="7065"/>
                      <a:pt x="7188" y="7065"/>
                    </a:cubicBezTo>
                    <a:cubicBezTo>
                      <a:pt x="7240" y="7070"/>
                      <a:pt x="7240" y="7070"/>
                      <a:pt x="7240" y="7070"/>
                    </a:cubicBezTo>
                    <a:cubicBezTo>
                      <a:pt x="7241" y="7066"/>
                      <a:pt x="7241" y="7066"/>
                      <a:pt x="7241" y="7066"/>
                    </a:cubicBezTo>
                    <a:cubicBezTo>
                      <a:pt x="7241" y="7060"/>
                      <a:pt x="7241" y="7060"/>
                      <a:pt x="7241" y="7060"/>
                    </a:cubicBezTo>
                    <a:cubicBezTo>
                      <a:pt x="7358" y="7071"/>
                      <a:pt x="7358" y="7071"/>
                      <a:pt x="7358" y="7071"/>
                    </a:cubicBezTo>
                    <a:cubicBezTo>
                      <a:pt x="7344" y="7193"/>
                      <a:pt x="7344" y="7193"/>
                      <a:pt x="7344" y="7193"/>
                    </a:cubicBezTo>
                    <a:lnTo>
                      <a:pt x="7338" y="7192"/>
                    </a:lnTo>
                    <a:close/>
                    <a:moveTo>
                      <a:pt x="7333" y="7179"/>
                    </a:moveTo>
                    <a:cubicBezTo>
                      <a:pt x="7344" y="7083"/>
                      <a:pt x="7344" y="7083"/>
                      <a:pt x="7344" y="7083"/>
                    </a:cubicBezTo>
                    <a:cubicBezTo>
                      <a:pt x="7253" y="7074"/>
                      <a:pt x="7253" y="7074"/>
                      <a:pt x="7253" y="7074"/>
                    </a:cubicBezTo>
                    <a:cubicBezTo>
                      <a:pt x="7253" y="7078"/>
                      <a:pt x="7253" y="7078"/>
                      <a:pt x="7253" y="7078"/>
                    </a:cubicBezTo>
                    <a:cubicBezTo>
                      <a:pt x="7252" y="7085"/>
                      <a:pt x="7252" y="7085"/>
                      <a:pt x="7252" y="7085"/>
                    </a:cubicBezTo>
                    <a:cubicBezTo>
                      <a:pt x="7200" y="7080"/>
                      <a:pt x="7200" y="7080"/>
                      <a:pt x="7200" y="7080"/>
                    </a:cubicBezTo>
                    <a:cubicBezTo>
                      <a:pt x="7185" y="7238"/>
                      <a:pt x="7185" y="7238"/>
                      <a:pt x="7185" y="7238"/>
                    </a:cubicBezTo>
                    <a:cubicBezTo>
                      <a:pt x="7268" y="7246"/>
                      <a:pt x="7268" y="7246"/>
                      <a:pt x="7268" y="7246"/>
                    </a:cubicBezTo>
                    <a:cubicBezTo>
                      <a:pt x="7275" y="7173"/>
                      <a:pt x="7275" y="7173"/>
                      <a:pt x="7275" y="7173"/>
                    </a:cubicBezTo>
                    <a:lnTo>
                      <a:pt x="7333" y="7179"/>
                    </a:lnTo>
                    <a:close/>
                    <a:moveTo>
                      <a:pt x="5057" y="7879"/>
                    </a:moveTo>
                    <a:cubicBezTo>
                      <a:pt x="4758" y="7450"/>
                      <a:pt x="4758" y="7450"/>
                      <a:pt x="4758" y="7450"/>
                    </a:cubicBezTo>
                    <a:cubicBezTo>
                      <a:pt x="5161" y="7236"/>
                      <a:pt x="5161" y="7236"/>
                      <a:pt x="5161" y="7236"/>
                    </a:cubicBezTo>
                    <a:cubicBezTo>
                      <a:pt x="5404" y="7618"/>
                      <a:pt x="5404" y="7618"/>
                      <a:pt x="5404" y="7618"/>
                    </a:cubicBezTo>
                    <a:cubicBezTo>
                      <a:pt x="5398" y="7622"/>
                      <a:pt x="5398" y="7622"/>
                      <a:pt x="5398" y="7622"/>
                    </a:cubicBezTo>
                    <a:lnTo>
                      <a:pt x="5057" y="7879"/>
                    </a:lnTo>
                    <a:close/>
                    <a:moveTo>
                      <a:pt x="4779" y="7455"/>
                    </a:moveTo>
                    <a:cubicBezTo>
                      <a:pt x="5060" y="7858"/>
                      <a:pt x="5060" y="7858"/>
                      <a:pt x="5060" y="7858"/>
                    </a:cubicBezTo>
                    <a:cubicBezTo>
                      <a:pt x="5384" y="7614"/>
                      <a:pt x="5384" y="7614"/>
                      <a:pt x="5384" y="7614"/>
                    </a:cubicBezTo>
                    <a:cubicBezTo>
                      <a:pt x="5156" y="7256"/>
                      <a:pt x="5156" y="7256"/>
                      <a:pt x="5156" y="7256"/>
                    </a:cubicBezTo>
                    <a:lnTo>
                      <a:pt x="4779" y="7455"/>
                    </a:lnTo>
                    <a:close/>
                    <a:moveTo>
                      <a:pt x="2420" y="3160"/>
                    </a:moveTo>
                    <a:cubicBezTo>
                      <a:pt x="2501" y="3216"/>
                      <a:pt x="2501" y="3216"/>
                      <a:pt x="2501" y="3216"/>
                    </a:cubicBezTo>
                    <a:cubicBezTo>
                      <a:pt x="2561" y="3326"/>
                      <a:pt x="2561" y="3326"/>
                      <a:pt x="2561" y="3326"/>
                    </a:cubicBezTo>
                    <a:cubicBezTo>
                      <a:pt x="2304" y="3318"/>
                      <a:pt x="2304" y="3318"/>
                      <a:pt x="2304" y="3318"/>
                    </a:cubicBezTo>
                    <a:cubicBezTo>
                      <a:pt x="2343" y="3050"/>
                      <a:pt x="2343" y="3050"/>
                      <a:pt x="2343" y="3050"/>
                    </a:cubicBezTo>
                    <a:cubicBezTo>
                      <a:pt x="2428" y="3048"/>
                      <a:pt x="2428" y="3048"/>
                      <a:pt x="2428" y="3048"/>
                    </a:cubicBezTo>
                    <a:cubicBezTo>
                      <a:pt x="2428" y="3056"/>
                      <a:pt x="2428" y="3056"/>
                      <a:pt x="2428" y="3056"/>
                    </a:cubicBezTo>
                    <a:lnTo>
                      <a:pt x="2420" y="3160"/>
                    </a:lnTo>
                    <a:close/>
                    <a:moveTo>
                      <a:pt x="2404" y="3167"/>
                    </a:moveTo>
                    <a:cubicBezTo>
                      <a:pt x="2412" y="3063"/>
                      <a:pt x="2412" y="3063"/>
                      <a:pt x="2412" y="3063"/>
                    </a:cubicBezTo>
                    <a:cubicBezTo>
                      <a:pt x="2356" y="3064"/>
                      <a:pt x="2356" y="3064"/>
                      <a:pt x="2356" y="3064"/>
                    </a:cubicBezTo>
                    <a:cubicBezTo>
                      <a:pt x="2321" y="3304"/>
                      <a:pt x="2321" y="3304"/>
                      <a:pt x="2321" y="3304"/>
                    </a:cubicBezTo>
                    <a:cubicBezTo>
                      <a:pt x="2536" y="3310"/>
                      <a:pt x="2536" y="3310"/>
                      <a:pt x="2536" y="3310"/>
                    </a:cubicBezTo>
                    <a:cubicBezTo>
                      <a:pt x="2490" y="3226"/>
                      <a:pt x="2490" y="3226"/>
                      <a:pt x="2490" y="3226"/>
                    </a:cubicBezTo>
                    <a:lnTo>
                      <a:pt x="2404" y="3167"/>
                    </a:lnTo>
                    <a:close/>
                    <a:moveTo>
                      <a:pt x="3172" y="8375"/>
                    </a:moveTo>
                    <a:cubicBezTo>
                      <a:pt x="3224" y="8466"/>
                      <a:pt x="3224" y="8466"/>
                      <a:pt x="3224" y="8466"/>
                    </a:cubicBezTo>
                    <a:cubicBezTo>
                      <a:pt x="3096" y="8540"/>
                      <a:pt x="3096" y="8540"/>
                      <a:pt x="3096" y="8540"/>
                    </a:cubicBezTo>
                    <a:cubicBezTo>
                      <a:pt x="3093" y="8534"/>
                      <a:pt x="3093" y="8534"/>
                      <a:pt x="3093" y="8534"/>
                    </a:cubicBezTo>
                    <a:cubicBezTo>
                      <a:pt x="3044" y="8450"/>
                      <a:pt x="3044" y="8450"/>
                      <a:pt x="3044" y="8450"/>
                    </a:cubicBezTo>
                    <a:lnTo>
                      <a:pt x="3172" y="8375"/>
                    </a:lnTo>
                    <a:close/>
                    <a:moveTo>
                      <a:pt x="3206" y="8461"/>
                    </a:moveTo>
                    <a:cubicBezTo>
                      <a:pt x="3167" y="8393"/>
                      <a:pt x="3167" y="8393"/>
                      <a:pt x="3167" y="8393"/>
                    </a:cubicBezTo>
                    <a:cubicBezTo>
                      <a:pt x="3061" y="8454"/>
                      <a:pt x="3061" y="8454"/>
                      <a:pt x="3061" y="8454"/>
                    </a:cubicBezTo>
                    <a:cubicBezTo>
                      <a:pt x="3101" y="8522"/>
                      <a:pt x="3101" y="8522"/>
                      <a:pt x="3101" y="8522"/>
                    </a:cubicBezTo>
                    <a:lnTo>
                      <a:pt x="3206" y="8461"/>
                    </a:lnTo>
                    <a:close/>
                    <a:moveTo>
                      <a:pt x="1913" y="3015"/>
                    </a:moveTo>
                    <a:cubicBezTo>
                      <a:pt x="2074" y="2965"/>
                      <a:pt x="2074" y="2965"/>
                      <a:pt x="2074" y="2965"/>
                    </a:cubicBezTo>
                    <a:cubicBezTo>
                      <a:pt x="2042" y="3132"/>
                      <a:pt x="2042" y="3132"/>
                      <a:pt x="2042" y="3132"/>
                    </a:cubicBezTo>
                    <a:cubicBezTo>
                      <a:pt x="1915" y="3178"/>
                      <a:pt x="1915" y="3178"/>
                      <a:pt x="1915" y="3178"/>
                    </a:cubicBezTo>
                    <a:cubicBezTo>
                      <a:pt x="1779" y="3315"/>
                      <a:pt x="1779" y="3315"/>
                      <a:pt x="1779" y="3315"/>
                    </a:cubicBezTo>
                    <a:cubicBezTo>
                      <a:pt x="1654" y="3242"/>
                      <a:pt x="1654" y="3242"/>
                      <a:pt x="1654" y="3242"/>
                    </a:cubicBezTo>
                    <a:cubicBezTo>
                      <a:pt x="1669" y="3012"/>
                      <a:pt x="1669" y="3012"/>
                      <a:pt x="1669" y="3012"/>
                    </a:cubicBezTo>
                    <a:cubicBezTo>
                      <a:pt x="1811" y="2955"/>
                      <a:pt x="1811" y="2955"/>
                      <a:pt x="1811" y="2955"/>
                    </a:cubicBezTo>
                    <a:cubicBezTo>
                      <a:pt x="1799" y="3097"/>
                      <a:pt x="1799" y="3097"/>
                      <a:pt x="1799" y="3097"/>
                    </a:cubicBezTo>
                    <a:lnTo>
                      <a:pt x="1913" y="3015"/>
                    </a:lnTo>
                    <a:close/>
                    <a:moveTo>
                      <a:pt x="1919" y="3028"/>
                    </a:moveTo>
                    <a:cubicBezTo>
                      <a:pt x="1807" y="3108"/>
                      <a:pt x="1807" y="3108"/>
                      <a:pt x="1807" y="3108"/>
                    </a:cubicBezTo>
                    <a:cubicBezTo>
                      <a:pt x="1782" y="3126"/>
                      <a:pt x="1782" y="3126"/>
                      <a:pt x="1782" y="3126"/>
                    </a:cubicBezTo>
                    <a:cubicBezTo>
                      <a:pt x="1785" y="3096"/>
                      <a:pt x="1785" y="3096"/>
                      <a:pt x="1785" y="3096"/>
                    </a:cubicBezTo>
                    <a:cubicBezTo>
                      <a:pt x="1795" y="2976"/>
                      <a:pt x="1795" y="2976"/>
                      <a:pt x="1795" y="2976"/>
                    </a:cubicBezTo>
                    <a:cubicBezTo>
                      <a:pt x="1682" y="3021"/>
                      <a:pt x="1682" y="3021"/>
                      <a:pt x="1682" y="3021"/>
                    </a:cubicBezTo>
                    <a:cubicBezTo>
                      <a:pt x="1669" y="3234"/>
                      <a:pt x="1669" y="3234"/>
                      <a:pt x="1669" y="3234"/>
                    </a:cubicBezTo>
                    <a:cubicBezTo>
                      <a:pt x="1777" y="3298"/>
                      <a:pt x="1777" y="3298"/>
                      <a:pt x="1777" y="3298"/>
                    </a:cubicBezTo>
                    <a:cubicBezTo>
                      <a:pt x="1905" y="3168"/>
                      <a:pt x="1905" y="3168"/>
                      <a:pt x="1905" y="3168"/>
                    </a:cubicBezTo>
                    <a:cubicBezTo>
                      <a:pt x="1907" y="3166"/>
                      <a:pt x="1907" y="3166"/>
                      <a:pt x="1907" y="3166"/>
                    </a:cubicBezTo>
                    <a:cubicBezTo>
                      <a:pt x="1910" y="3165"/>
                      <a:pt x="1910" y="3165"/>
                      <a:pt x="1910" y="3165"/>
                    </a:cubicBezTo>
                    <a:cubicBezTo>
                      <a:pt x="2029" y="3121"/>
                      <a:pt x="2029" y="3121"/>
                      <a:pt x="2029" y="3121"/>
                    </a:cubicBezTo>
                    <a:cubicBezTo>
                      <a:pt x="2056" y="2985"/>
                      <a:pt x="2056" y="2985"/>
                      <a:pt x="2056" y="2985"/>
                    </a:cubicBezTo>
                    <a:lnTo>
                      <a:pt x="1919" y="3028"/>
                    </a:lnTo>
                    <a:close/>
                    <a:moveTo>
                      <a:pt x="993" y="7762"/>
                    </a:moveTo>
                    <a:cubicBezTo>
                      <a:pt x="1059" y="7688"/>
                      <a:pt x="1059" y="7688"/>
                      <a:pt x="1059" y="7688"/>
                    </a:cubicBezTo>
                    <a:cubicBezTo>
                      <a:pt x="1440" y="7980"/>
                      <a:pt x="1440" y="7980"/>
                      <a:pt x="1440" y="7980"/>
                    </a:cubicBezTo>
                    <a:cubicBezTo>
                      <a:pt x="1435" y="7986"/>
                      <a:pt x="1435" y="7986"/>
                      <a:pt x="1435" y="7986"/>
                    </a:cubicBezTo>
                    <a:cubicBezTo>
                      <a:pt x="1194" y="8301"/>
                      <a:pt x="1194" y="8301"/>
                      <a:pt x="1194" y="8301"/>
                    </a:cubicBezTo>
                    <a:cubicBezTo>
                      <a:pt x="1078" y="8200"/>
                      <a:pt x="1078" y="8200"/>
                      <a:pt x="1078" y="8200"/>
                    </a:cubicBezTo>
                    <a:cubicBezTo>
                      <a:pt x="1133" y="8095"/>
                      <a:pt x="1133" y="8095"/>
                      <a:pt x="1133" y="8095"/>
                    </a:cubicBezTo>
                    <a:cubicBezTo>
                      <a:pt x="1029" y="8013"/>
                      <a:pt x="1029" y="8013"/>
                      <a:pt x="1029" y="8013"/>
                    </a:cubicBezTo>
                    <a:cubicBezTo>
                      <a:pt x="1058" y="7899"/>
                      <a:pt x="1058" y="7899"/>
                      <a:pt x="1058" y="7899"/>
                    </a:cubicBezTo>
                    <a:lnTo>
                      <a:pt x="993" y="7762"/>
                    </a:lnTo>
                    <a:close/>
                    <a:moveTo>
                      <a:pt x="1011" y="7764"/>
                    </a:moveTo>
                    <a:cubicBezTo>
                      <a:pt x="1073" y="7897"/>
                      <a:pt x="1073" y="7897"/>
                      <a:pt x="1073" y="7897"/>
                    </a:cubicBezTo>
                    <a:cubicBezTo>
                      <a:pt x="1046" y="8007"/>
                      <a:pt x="1046" y="8007"/>
                      <a:pt x="1046" y="8007"/>
                    </a:cubicBezTo>
                    <a:cubicBezTo>
                      <a:pt x="1152" y="8091"/>
                      <a:pt x="1152" y="8091"/>
                      <a:pt x="1152" y="8091"/>
                    </a:cubicBezTo>
                    <a:cubicBezTo>
                      <a:pt x="1097" y="8196"/>
                      <a:pt x="1097" y="8196"/>
                      <a:pt x="1097" y="8196"/>
                    </a:cubicBezTo>
                    <a:cubicBezTo>
                      <a:pt x="1192" y="8279"/>
                      <a:pt x="1192" y="8279"/>
                      <a:pt x="1192" y="8279"/>
                    </a:cubicBezTo>
                    <a:cubicBezTo>
                      <a:pt x="1419" y="7983"/>
                      <a:pt x="1419" y="7983"/>
                      <a:pt x="1419" y="7983"/>
                    </a:cubicBezTo>
                    <a:cubicBezTo>
                      <a:pt x="1060" y="7708"/>
                      <a:pt x="1060" y="7708"/>
                      <a:pt x="1060" y="7708"/>
                    </a:cubicBezTo>
                    <a:lnTo>
                      <a:pt x="1011" y="7764"/>
                    </a:lnTo>
                    <a:close/>
                    <a:moveTo>
                      <a:pt x="1207" y="8024"/>
                    </a:moveTo>
                    <a:cubicBezTo>
                      <a:pt x="1124" y="7943"/>
                      <a:pt x="1124" y="7943"/>
                      <a:pt x="1124" y="7943"/>
                    </a:cubicBezTo>
                    <a:cubicBezTo>
                      <a:pt x="1131" y="7843"/>
                      <a:pt x="1131" y="7843"/>
                      <a:pt x="1131" y="7843"/>
                    </a:cubicBezTo>
                    <a:cubicBezTo>
                      <a:pt x="1257" y="7972"/>
                      <a:pt x="1257" y="7972"/>
                      <a:pt x="1257" y="7972"/>
                    </a:cubicBezTo>
                    <a:cubicBezTo>
                      <a:pt x="1252" y="7977"/>
                      <a:pt x="1252" y="7977"/>
                      <a:pt x="1252" y="7977"/>
                    </a:cubicBezTo>
                    <a:lnTo>
                      <a:pt x="1207" y="8024"/>
                    </a:lnTo>
                    <a:close/>
                    <a:moveTo>
                      <a:pt x="1207" y="8003"/>
                    </a:moveTo>
                    <a:cubicBezTo>
                      <a:pt x="1236" y="7972"/>
                      <a:pt x="1236" y="7972"/>
                      <a:pt x="1236" y="7972"/>
                    </a:cubicBezTo>
                    <a:cubicBezTo>
                      <a:pt x="1143" y="7877"/>
                      <a:pt x="1143" y="7877"/>
                      <a:pt x="1143" y="7877"/>
                    </a:cubicBezTo>
                    <a:cubicBezTo>
                      <a:pt x="1140" y="7937"/>
                      <a:pt x="1140" y="7937"/>
                      <a:pt x="1140" y="7937"/>
                    </a:cubicBezTo>
                    <a:lnTo>
                      <a:pt x="1207" y="8003"/>
                    </a:lnTo>
                    <a:close/>
                    <a:moveTo>
                      <a:pt x="4361" y="1895"/>
                    </a:moveTo>
                    <a:cubicBezTo>
                      <a:pt x="4263" y="1895"/>
                      <a:pt x="4263" y="1895"/>
                      <a:pt x="4263" y="1895"/>
                    </a:cubicBezTo>
                    <a:cubicBezTo>
                      <a:pt x="4264" y="1747"/>
                      <a:pt x="4264" y="1747"/>
                      <a:pt x="4264" y="1747"/>
                    </a:cubicBezTo>
                    <a:cubicBezTo>
                      <a:pt x="4368" y="1747"/>
                      <a:pt x="4368" y="1747"/>
                      <a:pt x="4368" y="1747"/>
                    </a:cubicBezTo>
                    <a:cubicBezTo>
                      <a:pt x="4367" y="1895"/>
                      <a:pt x="4367" y="1895"/>
                      <a:pt x="4367" y="1895"/>
                    </a:cubicBezTo>
                    <a:lnTo>
                      <a:pt x="4361" y="1895"/>
                    </a:lnTo>
                    <a:close/>
                    <a:moveTo>
                      <a:pt x="4355" y="1760"/>
                    </a:moveTo>
                    <a:cubicBezTo>
                      <a:pt x="4277" y="1760"/>
                      <a:pt x="4277" y="1760"/>
                      <a:pt x="4277" y="1760"/>
                    </a:cubicBezTo>
                    <a:cubicBezTo>
                      <a:pt x="4276" y="1882"/>
                      <a:pt x="4276" y="1882"/>
                      <a:pt x="4276" y="1882"/>
                    </a:cubicBezTo>
                    <a:cubicBezTo>
                      <a:pt x="4354" y="1882"/>
                      <a:pt x="4354" y="1882"/>
                      <a:pt x="4354" y="1882"/>
                    </a:cubicBezTo>
                    <a:lnTo>
                      <a:pt x="4355" y="1760"/>
                    </a:lnTo>
                    <a:close/>
                    <a:moveTo>
                      <a:pt x="2208" y="7767"/>
                    </a:moveTo>
                    <a:cubicBezTo>
                      <a:pt x="2134" y="7702"/>
                      <a:pt x="2134" y="7702"/>
                      <a:pt x="2134" y="7702"/>
                    </a:cubicBezTo>
                    <a:cubicBezTo>
                      <a:pt x="2231" y="7591"/>
                      <a:pt x="2231" y="7591"/>
                      <a:pt x="2231" y="7591"/>
                    </a:cubicBezTo>
                    <a:cubicBezTo>
                      <a:pt x="2309" y="7659"/>
                      <a:pt x="2309" y="7659"/>
                      <a:pt x="2309" y="7659"/>
                    </a:cubicBezTo>
                    <a:cubicBezTo>
                      <a:pt x="2212" y="7771"/>
                      <a:pt x="2212" y="7771"/>
                      <a:pt x="2212" y="7771"/>
                    </a:cubicBezTo>
                    <a:lnTo>
                      <a:pt x="2208" y="7767"/>
                    </a:lnTo>
                    <a:close/>
                    <a:moveTo>
                      <a:pt x="2152" y="7701"/>
                    </a:moveTo>
                    <a:cubicBezTo>
                      <a:pt x="2211" y="7753"/>
                      <a:pt x="2211" y="7753"/>
                      <a:pt x="2211" y="7753"/>
                    </a:cubicBezTo>
                    <a:cubicBezTo>
                      <a:pt x="2291" y="7660"/>
                      <a:pt x="2291" y="7660"/>
                      <a:pt x="2291" y="7660"/>
                    </a:cubicBezTo>
                    <a:cubicBezTo>
                      <a:pt x="2232" y="7609"/>
                      <a:pt x="2232" y="7609"/>
                      <a:pt x="2232" y="7609"/>
                    </a:cubicBezTo>
                    <a:lnTo>
                      <a:pt x="2152" y="7701"/>
                    </a:lnTo>
                    <a:close/>
                    <a:moveTo>
                      <a:pt x="2690" y="7686"/>
                    </a:moveTo>
                    <a:cubicBezTo>
                      <a:pt x="2672" y="7670"/>
                      <a:pt x="2613" y="7654"/>
                      <a:pt x="2565" y="7619"/>
                    </a:cubicBezTo>
                    <a:cubicBezTo>
                      <a:pt x="2517" y="7583"/>
                      <a:pt x="2442" y="7450"/>
                      <a:pt x="2406" y="7424"/>
                    </a:cubicBezTo>
                    <a:cubicBezTo>
                      <a:pt x="2370" y="7398"/>
                      <a:pt x="2229" y="7360"/>
                      <a:pt x="2156" y="7320"/>
                    </a:cubicBezTo>
                    <a:cubicBezTo>
                      <a:pt x="2082" y="7278"/>
                      <a:pt x="1995" y="7129"/>
                      <a:pt x="1995" y="7128"/>
                    </a:cubicBezTo>
                    <a:cubicBezTo>
                      <a:pt x="2002" y="7123"/>
                      <a:pt x="2002" y="7123"/>
                      <a:pt x="2002" y="7123"/>
                    </a:cubicBezTo>
                    <a:cubicBezTo>
                      <a:pt x="2002" y="7124"/>
                      <a:pt x="2132" y="7251"/>
                      <a:pt x="2178" y="7278"/>
                    </a:cubicBezTo>
                    <a:cubicBezTo>
                      <a:pt x="2224" y="7304"/>
                      <a:pt x="2379" y="7342"/>
                      <a:pt x="2449" y="7367"/>
                    </a:cubicBezTo>
                    <a:cubicBezTo>
                      <a:pt x="2522" y="7394"/>
                      <a:pt x="2607" y="7562"/>
                      <a:pt x="2640" y="7582"/>
                    </a:cubicBezTo>
                    <a:cubicBezTo>
                      <a:pt x="2672" y="7603"/>
                      <a:pt x="2775" y="7604"/>
                      <a:pt x="2813" y="7614"/>
                    </a:cubicBezTo>
                    <a:cubicBezTo>
                      <a:pt x="2829" y="7618"/>
                      <a:pt x="2834" y="7636"/>
                      <a:pt x="2834" y="7654"/>
                    </a:cubicBezTo>
                    <a:cubicBezTo>
                      <a:pt x="2833" y="7691"/>
                      <a:pt x="2816" y="7740"/>
                      <a:pt x="2792" y="7742"/>
                    </a:cubicBezTo>
                    <a:cubicBezTo>
                      <a:pt x="2762" y="7741"/>
                      <a:pt x="2710" y="7704"/>
                      <a:pt x="2690" y="7686"/>
                    </a:cubicBezTo>
                    <a:close/>
                    <a:moveTo>
                      <a:pt x="2570" y="7612"/>
                    </a:moveTo>
                    <a:cubicBezTo>
                      <a:pt x="2617" y="7647"/>
                      <a:pt x="2673" y="7661"/>
                      <a:pt x="2695" y="7680"/>
                    </a:cubicBezTo>
                    <a:cubicBezTo>
                      <a:pt x="2714" y="7697"/>
                      <a:pt x="2768" y="7734"/>
                      <a:pt x="2792" y="7734"/>
                    </a:cubicBezTo>
                    <a:cubicBezTo>
                      <a:pt x="2798" y="7734"/>
                      <a:pt x="2807" y="7724"/>
                      <a:pt x="2814" y="7708"/>
                    </a:cubicBezTo>
                    <a:cubicBezTo>
                      <a:pt x="2821" y="7692"/>
                      <a:pt x="2826" y="7671"/>
                      <a:pt x="2826" y="7654"/>
                    </a:cubicBezTo>
                    <a:cubicBezTo>
                      <a:pt x="2826" y="7636"/>
                      <a:pt x="2821" y="7624"/>
                      <a:pt x="2811" y="7622"/>
                    </a:cubicBezTo>
                    <a:cubicBezTo>
                      <a:pt x="2775" y="7612"/>
                      <a:pt x="2672" y="7613"/>
                      <a:pt x="2635" y="7589"/>
                    </a:cubicBezTo>
                    <a:cubicBezTo>
                      <a:pt x="2598" y="7564"/>
                      <a:pt x="2514" y="7398"/>
                      <a:pt x="2446" y="7375"/>
                    </a:cubicBezTo>
                    <a:cubicBezTo>
                      <a:pt x="2377" y="7350"/>
                      <a:pt x="2223" y="7313"/>
                      <a:pt x="2174" y="7285"/>
                    </a:cubicBezTo>
                    <a:cubicBezTo>
                      <a:pt x="2138" y="7264"/>
                      <a:pt x="2059" y="7190"/>
                      <a:pt x="2019" y="7152"/>
                    </a:cubicBezTo>
                    <a:cubicBezTo>
                      <a:pt x="2048" y="7197"/>
                      <a:pt x="2109" y="7284"/>
                      <a:pt x="2160" y="7312"/>
                    </a:cubicBezTo>
                    <a:cubicBezTo>
                      <a:pt x="2232" y="7352"/>
                      <a:pt x="2371" y="7389"/>
                      <a:pt x="2410" y="7418"/>
                    </a:cubicBezTo>
                    <a:cubicBezTo>
                      <a:pt x="2449" y="7446"/>
                      <a:pt x="2524" y="7578"/>
                      <a:pt x="2570" y="7612"/>
                    </a:cubicBezTo>
                    <a:close/>
                    <a:moveTo>
                      <a:pt x="2130" y="8085"/>
                    </a:moveTo>
                    <a:cubicBezTo>
                      <a:pt x="2033" y="8197"/>
                      <a:pt x="2033" y="8197"/>
                      <a:pt x="2033" y="8197"/>
                    </a:cubicBezTo>
                    <a:cubicBezTo>
                      <a:pt x="2028" y="8193"/>
                      <a:pt x="2028" y="8193"/>
                      <a:pt x="2028" y="8193"/>
                    </a:cubicBezTo>
                    <a:cubicBezTo>
                      <a:pt x="1954" y="8129"/>
                      <a:pt x="1954" y="8129"/>
                      <a:pt x="1954" y="8129"/>
                    </a:cubicBezTo>
                    <a:cubicBezTo>
                      <a:pt x="2051" y="8017"/>
                      <a:pt x="2051" y="8017"/>
                      <a:pt x="2051" y="8017"/>
                    </a:cubicBezTo>
                    <a:lnTo>
                      <a:pt x="2130" y="8085"/>
                    </a:lnTo>
                    <a:close/>
                    <a:moveTo>
                      <a:pt x="2112" y="8087"/>
                    </a:moveTo>
                    <a:cubicBezTo>
                      <a:pt x="2053" y="8035"/>
                      <a:pt x="2053" y="8035"/>
                      <a:pt x="2053" y="8035"/>
                    </a:cubicBezTo>
                    <a:cubicBezTo>
                      <a:pt x="1973" y="8127"/>
                      <a:pt x="1973" y="8127"/>
                      <a:pt x="1973" y="8127"/>
                    </a:cubicBezTo>
                    <a:cubicBezTo>
                      <a:pt x="2032" y="8179"/>
                      <a:pt x="2032" y="8179"/>
                      <a:pt x="2032" y="8179"/>
                    </a:cubicBezTo>
                    <a:lnTo>
                      <a:pt x="2112" y="8087"/>
                    </a:lnTo>
                    <a:close/>
                    <a:moveTo>
                      <a:pt x="3084" y="2864"/>
                    </a:moveTo>
                    <a:cubicBezTo>
                      <a:pt x="3120" y="3092"/>
                      <a:pt x="3120" y="3092"/>
                      <a:pt x="3120" y="3092"/>
                    </a:cubicBezTo>
                    <a:cubicBezTo>
                      <a:pt x="3083" y="3106"/>
                      <a:pt x="3083" y="3106"/>
                      <a:pt x="3083" y="3106"/>
                    </a:cubicBezTo>
                    <a:cubicBezTo>
                      <a:pt x="3027" y="3056"/>
                      <a:pt x="3027" y="3056"/>
                      <a:pt x="3027" y="3056"/>
                    </a:cubicBezTo>
                    <a:cubicBezTo>
                      <a:pt x="3018" y="3139"/>
                      <a:pt x="3018" y="3139"/>
                      <a:pt x="3018" y="3139"/>
                    </a:cubicBezTo>
                    <a:cubicBezTo>
                      <a:pt x="2833" y="3239"/>
                      <a:pt x="2833" y="3239"/>
                      <a:pt x="2833" y="3239"/>
                    </a:cubicBezTo>
                    <a:cubicBezTo>
                      <a:pt x="2651" y="3024"/>
                      <a:pt x="2651" y="3024"/>
                      <a:pt x="2651" y="3024"/>
                    </a:cubicBezTo>
                    <a:cubicBezTo>
                      <a:pt x="2796" y="3002"/>
                      <a:pt x="2796" y="3002"/>
                      <a:pt x="2796" y="3002"/>
                    </a:cubicBezTo>
                    <a:cubicBezTo>
                      <a:pt x="2899" y="3050"/>
                      <a:pt x="2899" y="3050"/>
                      <a:pt x="2899" y="3050"/>
                    </a:cubicBezTo>
                    <a:cubicBezTo>
                      <a:pt x="2911" y="2947"/>
                      <a:pt x="2911" y="2947"/>
                      <a:pt x="2911" y="2947"/>
                    </a:cubicBezTo>
                    <a:cubicBezTo>
                      <a:pt x="3082" y="2854"/>
                      <a:pt x="3082" y="2854"/>
                      <a:pt x="3082" y="2854"/>
                    </a:cubicBezTo>
                    <a:lnTo>
                      <a:pt x="3084" y="2864"/>
                    </a:lnTo>
                    <a:close/>
                    <a:moveTo>
                      <a:pt x="3104" y="3082"/>
                    </a:moveTo>
                    <a:cubicBezTo>
                      <a:pt x="3071" y="2877"/>
                      <a:pt x="3071" y="2877"/>
                      <a:pt x="3071" y="2877"/>
                    </a:cubicBezTo>
                    <a:cubicBezTo>
                      <a:pt x="2925" y="2956"/>
                      <a:pt x="2925" y="2956"/>
                      <a:pt x="2925" y="2956"/>
                    </a:cubicBezTo>
                    <a:cubicBezTo>
                      <a:pt x="2912" y="3072"/>
                      <a:pt x="2912" y="3072"/>
                      <a:pt x="2912" y="3072"/>
                    </a:cubicBezTo>
                    <a:cubicBezTo>
                      <a:pt x="2794" y="3017"/>
                      <a:pt x="2794" y="3017"/>
                      <a:pt x="2794" y="3017"/>
                    </a:cubicBezTo>
                    <a:cubicBezTo>
                      <a:pt x="2679" y="3035"/>
                      <a:pt x="2679" y="3035"/>
                      <a:pt x="2679" y="3035"/>
                    </a:cubicBezTo>
                    <a:cubicBezTo>
                      <a:pt x="2836" y="3220"/>
                      <a:pt x="2836" y="3220"/>
                      <a:pt x="2836" y="3220"/>
                    </a:cubicBezTo>
                    <a:cubicBezTo>
                      <a:pt x="3004" y="3130"/>
                      <a:pt x="3004" y="3130"/>
                      <a:pt x="3004" y="3130"/>
                    </a:cubicBezTo>
                    <a:cubicBezTo>
                      <a:pt x="3015" y="3026"/>
                      <a:pt x="3015" y="3026"/>
                      <a:pt x="3015" y="3026"/>
                    </a:cubicBezTo>
                    <a:cubicBezTo>
                      <a:pt x="3086" y="3089"/>
                      <a:pt x="3086" y="3089"/>
                      <a:pt x="3086" y="3089"/>
                    </a:cubicBezTo>
                    <a:lnTo>
                      <a:pt x="3104" y="3082"/>
                    </a:lnTo>
                    <a:close/>
                    <a:moveTo>
                      <a:pt x="4345" y="8787"/>
                    </a:moveTo>
                    <a:cubicBezTo>
                      <a:pt x="4272" y="8784"/>
                      <a:pt x="4272" y="8784"/>
                      <a:pt x="4272" y="8784"/>
                    </a:cubicBezTo>
                    <a:cubicBezTo>
                      <a:pt x="4269" y="8841"/>
                      <a:pt x="4269" y="8841"/>
                      <a:pt x="4269" y="8841"/>
                    </a:cubicBezTo>
                    <a:cubicBezTo>
                      <a:pt x="4263" y="8841"/>
                      <a:pt x="4263" y="8841"/>
                      <a:pt x="4263" y="8841"/>
                    </a:cubicBezTo>
                    <a:cubicBezTo>
                      <a:pt x="4146" y="8838"/>
                      <a:pt x="4146" y="8838"/>
                      <a:pt x="4146" y="8838"/>
                    </a:cubicBezTo>
                    <a:cubicBezTo>
                      <a:pt x="4152" y="8720"/>
                      <a:pt x="4152" y="8720"/>
                      <a:pt x="4152" y="8720"/>
                    </a:cubicBezTo>
                    <a:cubicBezTo>
                      <a:pt x="4163" y="8721"/>
                      <a:pt x="4163" y="8721"/>
                      <a:pt x="4163" y="8721"/>
                    </a:cubicBezTo>
                    <a:cubicBezTo>
                      <a:pt x="4165" y="8668"/>
                      <a:pt x="4165" y="8668"/>
                      <a:pt x="4165" y="8668"/>
                    </a:cubicBezTo>
                    <a:cubicBezTo>
                      <a:pt x="4350" y="8678"/>
                      <a:pt x="4350" y="8678"/>
                      <a:pt x="4350" y="8678"/>
                    </a:cubicBezTo>
                    <a:lnTo>
                      <a:pt x="4345" y="8787"/>
                    </a:lnTo>
                    <a:close/>
                    <a:moveTo>
                      <a:pt x="4337" y="8690"/>
                    </a:moveTo>
                    <a:cubicBezTo>
                      <a:pt x="4178" y="8682"/>
                      <a:pt x="4178" y="8682"/>
                      <a:pt x="4178" y="8682"/>
                    </a:cubicBezTo>
                    <a:cubicBezTo>
                      <a:pt x="4175" y="8734"/>
                      <a:pt x="4175" y="8734"/>
                      <a:pt x="4175" y="8734"/>
                    </a:cubicBezTo>
                    <a:cubicBezTo>
                      <a:pt x="4165" y="8734"/>
                      <a:pt x="4165" y="8734"/>
                      <a:pt x="4165" y="8734"/>
                    </a:cubicBezTo>
                    <a:cubicBezTo>
                      <a:pt x="4160" y="8825"/>
                      <a:pt x="4160" y="8825"/>
                      <a:pt x="4160" y="8825"/>
                    </a:cubicBezTo>
                    <a:cubicBezTo>
                      <a:pt x="4257" y="8827"/>
                      <a:pt x="4257" y="8827"/>
                      <a:pt x="4257" y="8827"/>
                    </a:cubicBezTo>
                    <a:cubicBezTo>
                      <a:pt x="4259" y="8770"/>
                      <a:pt x="4259" y="8770"/>
                      <a:pt x="4259" y="8770"/>
                    </a:cubicBezTo>
                    <a:cubicBezTo>
                      <a:pt x="4333" y="8774"/>
                      <a:pt x="4333" y="8774"/>
                      <a:pt x="4333" y="8774"/>
                    </a:cubicBezTo>
                    <a:lnTo>
                      <a:pt x="4337" y="8690"/>
                    </a:lnTo>
                    <a:close/>
                    <a:moveTo>
                      <a:pt x="3741" y="8740"/>
                    </a:moveTo>
                    <a:cubicBezTo>
                      <a:pt x="3678" y="8703"/>
                      <a:pt x="3678" y="8703"/>
                      <a:pt x="3678" y="8703"/>
                    </a:cubicBezTo>
                    <a:cubicBezTo>
                      <a:pt x="3748" y="8581"/>
                      <a:pt x="3748" y="8581"/>
                      <a:pt x="3748" y="8581"/>
                    </a:cubicBezTo>
                    <a:cubicBezTo>
                      <a:pt x="3832" y="8629"/>
                      <a:pt x="3832" y="8629"/>
                      <a:pt x="3832" y="8629"/>
                    </a:cubicBezTo>
                    <a:cubicBezTo>
                      <a:pt x="3823" y="8645"/>
                      <a:pt x="3823" y="8645"/>
                      <a:pt x="3823" y="8645"/>
                    </a:cubicBezTo>
                    <a:cubicBezTo>
                      <a:pt x="3866" y="8670"/>
                      <a:pt x="3866" y="8670"/>
                      <a:pt x="3866" y="8670"/>
                    </a:cubicBezTo>
                    <a:cubicBezTo>
                      <a:pt x="3769" y="8843"/>
                      <a:pt x="3769" y="8843"/>
                      <a:pt x="3769" y="8843"/>
                    </a:cubicBezTo>
                    <a:cubicBezTo>
                      <a:pt x="3763" y="8840"/>
                      <a:pt x="3763" y="8840"/>
                      <a:pt x="3763" y="8840"/>
                    </a:cubicBezTo>
                    <a:cubicBezTo>
                      <a:pt x="3703" y="8805"/>
                      <a:pt x="3703" y="8805"/>
                      <a:pt x="3703" y="8805"/>
                    </a:cubicBezTo>
                    <a:lnTo>
                      <a:pt x="3741" y="8740"/>
                    </a:lnTo>
                    <a:close/>
                    <a:moveTo>
                      <a:pt x="3759" y="8735"/>
                    </a:moveTo>
                    <a:cubicBezTo>
                      <a:pt x="3721" y="8801"/>
                      <a:pt x="3721" y="8801"/>
                      <a:pt x="3721" y="8801"/>
                    </a:cubicBezTo>
                    <a:cubicBezTo>
                      <a:pt x="3764" y="8825"/>
                      <a:pt x="3764" y="8825"/>
                      <a:pt x="3764" y="8825"/>
                    </a:cubicBezTo>
                    <a:cubicBezTo>
                      <a:pt x="3848" y="8675"/>
                      <a:pt x="3848" y="8675"/>
                      <a:pt x="3848" y="8675"/>
                    </a:cubicBezTo>
                    <a:cubicBezTo>
                      <a:pt x="3805" y="8650"/>
                      <a:pt x="3805" y="8650"/>
                      <a:pt x="3805" y="8650"/>
                    </a:cubicBezTo>
                    <a:cubicBezTo>
                      <a:pt x="3814" y="8634"/>
                      <a:pt x="3814" y="8634"/>
                      <a:pt x="3814" y="8634"/>
                    </a:cubicBezTo>
                    <a:cubicBezTo>
                      <a:pt x="3753" y="8599"/>
                      <a:pt x="3753" y="8599"/>
                      <a:pt x="3753" y="8599"/>
                    </a:cubicBezTo>
                    <a:cubicBezTo>
                      <a:pt x="3696" y="8699"/>
                      <a:pt x="3696" y="8699"/>
                      <a:pt x="3696" y="8699"/>
                    </a:cubicBezTo>
                    <a:lnTo>
                      <a:pt x="3759" y="8735"/>
                    </a:lnTo>
                    <a:close/>
                    <a:moveTo>
                      <a:pt x="4673" y="7646"/>
                    </a:moveTo>
                    <a:cubicBezTo>
                      <a:pt x="4810" y="7869"/>
                      <a:pt x="4810" y="7869"/>
                      <a:pt x="4810" y="7869"/>
                    </a:cubicBezTo>
                    <a:cubicBezTo>
                      <a:pt x="4633" y="7963"/>
                      <a:pt x="4633" y="7963"/>
                      <a:pt x="4633" y="7963"/>
                    </a:cubicBezTo>
                    <a:cubicBezTo>
                      <a:pt x="4494" y="7730"/>
                      <a:pt x="4494" y="7730"/>
                      <a:pt x="4494" y="7730"/>
                    </a:cubicBezTo>
                    <a:cubicBezTo>
                      <a:pt x="4669" y="7641"/>
                      <a:pt x="4669" y="7641"/>
                      <a:pt x="4669" y="7641"/>
                    </a:cubicBezTo>
                    <a:lnTo>
                      <a:pt x="4673" y="7646"/>
                    </a:lnTo>
                    <a:close/>
                    <a:moveTo>
                      <a:pt x="4789" y="7863"/>
                    </a:moveTo>
                    <a:cubicBezTo>
                      <a:pt x="4664" y="7660"/>
                      <a:pt x="4664" y="7660"/>
                      <a:pt x="4664" y="7660"/>
                    </a:cubicBezTo>
                    <a:cubicBezTo>
                      <a:pt x="4515" y="7736"/>
                      <a:pt x="4515" y="7736"/>
                      <a:pt x="4515" y="7736"/>
                    </a:cubicBezTo>
                    <a:cubicBezTo>
                      <a:pt x="4639" y="7943"/>
                      <a:pt x="4639" y="7943"/>
                      <a:pt x="4639" y="7943"/>
                    </a:cubicBezTo>
                    <a:lnTo>
                      <a:pt x="4789" y="7863"/>
                    </a:lnTo>
                    <a:close/>
                    <a:moveTo>
                      <a:pt x="3145" y="8212"/>
                    </a:moveTo>
                    <a:cubicBezTo>
                      <a:pt x="3096" y="8127"/>
                      <a:pt x="3096" y="8127"/>
                      <a:pt x="3096" y="8127"/>
                    </a:cubicBezTo>
                    <a:cubicBezTo>
                      <a:pt x="3224" y="8053"/>
                      <a:pt x="3224" y="8053"/>
                      <a:pt x="3224" y="8053"/>
                    </a:cubicBezTo>
                    <a:cubicBezTo>
                      <a:pt x="3276" y="8143"/>
                      <a:pt x="3276" y="8143"/>
                      <a:pt x="3276" y="8143"/>
                    </a:cubicBezTo>
                    <a:cubicBezTo>
                      <a:pt x="3148" y="8217"/>
                      <a:pt x="3148" y="8217"/>
                      <a:pt x="3148" y="8217"/>
                    </a:cubicBezTo>
                    <a:lnTo>
                      <a:pt x="3145" y="8212"/>
                    </a:lnTo>
                    <a:close/>
                    <a:moveTo>
                      <a:pt x="3113" y="8132"/>
                    </a:moveTo>
                    <a:cubicBezTo>
                      <a:pt x="3153" y="8199"/>
                      <a:pt x="3153" y="8199"/>
                      <a:pt x="3153" y="8199"/>
                    </a:cubicBezTo>
                    <a:cubicBezTo>
                      <a:pt x="3258" y="8138"/>
                      <a:pt x="3258" y="8138"/>
                      <a:pt x="3258" y="8138"/>
                    </a:cubicBezTo>
                    <a:cubicBezTo>
                      <a:pt x="3219" y="8070"/>
                      <a:pt x="3219" y="8070"/>
                      <a:pt x="3219" y="8070"/>
                    </a:cubicBezTo>
                    <a:lnTo>
                      <a:pt x="3113" y="8132"/>
                    </a:lnTo>
                    <a:close/>
                    <a:moveTo>
                      <a:pt x="864" y="5804"/>
                    </a:moveTo>
                    <a:cubicBezTo>
                      <a:pt x="1016" y="5881"/>
                      <a:pt x="1016" y="5881"/>
                      <a:pt x="1016" y="5881"/>
                    </a:cubicBezTo>
                    <a:cubicBezTo>
                      <a:pt x="1011" y="5983"/>
                      <a:pt x="1011" y="5983"/>
                      <a:pt x="1011" y="5983"/>
                    </a:cubicBezTo>
                    <a:cubicBezTo>
                      <a:pt x="697" y="5986"/>
                      <a:pt x="697" y="5986"/>
                      <a:pt x="697" y="5986"/>
                    </a:cubicBezTo>
                    <a:cubicBezTo>
                      <a:pt x="709" y="5744"/>
                      <a:pt x="709" y="5744"/>
                      <a:pt x="709" y="5744"/>
                    </a:cubicBezTo>
                    <a:cubicBezTo>
                      <a:pt x="926" y="5697"/>
                      <a:pt x="926" y="5697"/>
                      <a:pt x="926" y="5697"/>
                    </a:cubicBezTo>
                    <a:cubicBezTo>
                      <a:pt x="926" y="5707"/>
                      <a:pt x="926" y="5707"/>
                      <a:pt x="926" y="5707"/>
                    </a:cubicBezTo>
                    <a:cubicBezTo>
                      <a:pt x="925" y="5751"/>
                      <a:pt x="925" y="5751"/>
                      <a:pt x="925" y="5751"/>
                    </a:cubicBezTo>
                    <a:lnTo>
                      <a:pt x="864" y="5804"/>
                    </a:lnTo>
                    <a:close/>
                    <a:moveTo>
                      <a:pt x="838" y="5807"/>
                    </a:moveTo>
                    <a:cubicBezTo>
                      <a:pt x="910" y="5745"/>
                      <a:pt x="910" y="5745"/>
                      <a:pt x="910" y="5745"/>
                    </a:cubicBezTo>
                    <a:cubicBezTo>
                      <a:pt x="911" y="5716"/>
                      <a:pt x="911" y="5716"/>
                      <a:pt x="911" y="5716"/>
                    </a:cubicBezTo>
                    <a:cubicBezTo>
                      <a:pt x="723" y="5756"/>
                      <a:pt x="723" y="5756"/>
                      <a:pt x="723" y="5756"/>
                    </a:cubicBezTo>
                    <a:cubicBezTo>
                      <a:pt x="713" y="5972"/>
                      <a:pt x="713" y="5972"/>
                      <a:pt x="713" y="5972"/>
                    </a:cubicBezTo>
                    <a:cubicBezTo>
                      <a:pt x="997" y="5969"/>
                      <a:pt x="997" y="5969"/>
                      <a:pt x="997" y="5969"/>
                    </a:cubicBezTo>
                    <a:cubicBezTo>
                      <a:pt x="1000" y="5890"/>
                      <a:pt x="1000" y="5890"/>
                      <a:pt x="1000" y="5890"/>
                    </a:cubicBezTo>
                    <a:lnTo>
                      <a:pt x="838" y="5807"/>
                    </a:lnTo>
                    <a:close/>
                    <a:moveTo>
                      <a:pt x="1391" y="6963"/>
                    </a:moveTo>
                    <a:cubicBezTo>
                      <a:pt x="1443" y="6852"/>
                      <a:pt x="1443" y="6852"/>
                      <a:pt x="1443" y="6852"/>
                    </a:cubicBezTo>
                    <a:cubicBezTo>
                      <a:pt x="1504" y="6909"/>
                      <a:pt x="1504" y="6909"/>
                      <a:pt x="1504" y="6909"/>
                    </a:cubicBezTo>
                    <a:cubicBezTo>
                      <a:pt x="1453" y="7015"/>
                      <a:pt x="1453" y="7015"/>
                      <a:pt x="1453" y="7015"/>
                    </a:cubicBezTo>
                    <a:cubicBezTo>
                      <a:pt x="1456" y="7018"/>
                      <a:pt x="1456" y="7018"/>
                      <a:pt x="1456" y="7018"/>
                    </a:cubicBezTo>
                    <a:cubicBezTo>
                      <a:pt x="1450" y="7024"/>
                      <a:pt x="1450" y="7024"/>
                      <a:pt x="1450" y="7024"/>
                    </a:cubicBezTo>
                    <a:cubicBezTo>
                      <a:pt x="1449" y="7023"/>
                      <a:pt x="1449" y="7023"/>
                      <a:pt x="1449" y="7023"/>
                    </a:cubicBezTo>
                    <a:cubicBezTo>
                      <a:pt x="1399" y="7128"/>
                      <a:pt x="1399" y="7128"/>
                      <a:pt x="1399" y="7128"/>
                    </a:cubicBezTo>
                    <a:cubicBezTo>
                      <a:pt x="1401" y="7130"/>
                      <a:pt x="1401" y="7130"/>
                      <a:pt x="1401" y="7130"/>
                    </a:cubicBezTo>
                    <a:cubicBezTo>
                      <a:pt x="1396" y="7136"/>
                      <a:pt x="1396" y="7136"/>
                      <a:pt x="1396" y="7136"/>
                    </a:cubicBezTo>
                    <a:cubicBezTo>
                      <a:pt x="1395" y="7135"/>
                      <a:pt x="1395" y="7135"/>
                      <a:pt x="1395" y="7135"/>
                    </a:cubicBezTo>
                    <a:cubicBezTo>
                      <a:pt x="1344" y="7241"/>
                      <a:pt x="1344" y="7241"/>
                      <a:pt x="1344" y="7241"/>
                    </a:cubicBezTo>
                    <a:cubicBezTo>
                      <a:pt x="1347" y="7243"/>
                      <a:pt x="1347" y="7243"/>
                      <a:pt x="1347" y="7243"/>
                    </a:cubicBezTo>
                    <a:cubicBezTo>
                      <a:pt x="1342" y="7249"/>
                      <a:pt x="1342" y="7249"/>
                      <a:pt x="1342" y="7249"/>
                    </a:cubicBezTo>
                    <a:cubicBezTo>
                      <a:pt x="1341" y="7248"/>
                      <a:pt x="1341" y="7248"/>
                      <a:pt x="1341" y="7248"/>
                    </a:cubicBezTo>
                    <a:cubicBezTo>
                      <a:pt x="1285" y="7365"/>
                      <a:pt x="1285" y="7365"/>
                      <a:pt x="1285" y="7365"/>
                    </a:cubicBezTo>
                    <a:cubicBezTo>
                      <a:pt x="1287" y="7367"/>
                      <a:pt x="1287" y="7367"/>
                      <a:pt x="1287" y="7367"/>
                    </a:cubicBezTo>
                    <a:cubicBezTo>
                      <a:pt x="1282" y="7373"/>
                      <a:pt x="1282" y="7373"/>
                      <a:pt x="1282" y="7373"/>
                    </a:cubicBezTo>
                    <a:cubicBezTo>
                      <a:pt x="1281" y="7373"/>
                      <a:pt x="1281" y="7373"/>
                      <a:pt x="1281" y="7373"/>
                    </a:cubicBezTo>
                    <a:cubicBezTo>
                      <a:pt x="1227" y="7487"/>
                      <a:pt x="1227" y="7487"/>
                      <a:pt x="1227" y="7487"/>
                    </a:cubicBezTo>
                    <a:cubicBezTo>
                      <a:pt x="1230" y="7490"/>
                      <a:pt x="1230" y="7490"/>
                      <a:pt x="1230" y="7490"/>
                    </a:cubicBezTo>
                    <a:cubicBezTo>
                      <a:pt x="1225" y="7496"/>
                      <a:pt x="1225" y="7496"/>
                      <a:pt x="1225" y="7496"/>
                    </a:cubicBezTo>
                    <a:cubicBezTo>
                      <a:pt x="1223" y="7494"/>
                      <a:pt x="1223" y="7494"/>
                      <a:pt x="1223" y="7494"/>
                    </a:cubicBezTo>
                    <a:cubicBezTo>
                      <a:pt x="1168" y="7609"/>
                      <a:pt x="1168" y="7609"/>
                      <a:pt x="1168" y="7609"/>
                    </a:cubicBezTo>
                    <a:cubicBezTo>
                      <a:pt x="1104" y="7564"/>
                      <a:pt x="1104" y="7564"/>
                      <a:pt x="1104" y="7564"/>
                    </a:cubicBezTo>
                    <a:cubicBezTo>
                      <a:pt x="1162" y="7442"/>
                      <a:pt x="1162" y="7442"/>
                      <a:pt x="1162" y="7442"/>
                    </a:cubicBezTo>
                    <a:cubicBezTo>
                      <a:pt x="1159" y="7440"/>
                      <a:pt x="1159" y="7440"/>
                      <a:pt x="1159" y="7440"/>
                    </a:cubicBezTo>
                    <a:cubicBezTo>
                      <a:pt x="1164" y="7434"/>
                      <a:pt x="1164" y="7434"/>
                      <a:pt x="1164" y="7434"/>
                    </a:cubicBezTo>
                    <a:cubicBezTo>
                      <a:pt x="1166" y="7435"/>
                      <a:pt x="1166" y="7435"/>
                      <a:pt x="1166" y="7435"/>
                    </a:cubicBezTo>
                    <a:cubicBezTo>
                      <a:pt x="1220" y="7320"/>
                      <a:pt x="1220" y="7320"/>
                      <a:pt x="1220" y="7320"/>
                    </a:cubicBezTo>
                    <a:cubicBezTo>
                      <a:pt x="1216" y="7317"/>
                      <a:pt x="1216" y="7317"/>
                      <a:pt x="1216" y="7317"/>
                    </a:cubicBezTo>
                    <a:cubicBezTo>
                      <a:pt x="1222" y="7311"/>
                      <a:pt x="1222" y="7311"/>
                      <a:pt x="1222" y="7311"/>
                    </a:cubicBezTo>
                    <a:cubicBezTo>
                      <a:pt x="1224" y="7313"/>
                      <a:pt x="1224" y="7313"/>
                      <a:pt x="1224" y="7313"/>
                    </a:cubicBezTo>
                    <a:cubicBezTo>
                      <a:pt x="1279" y="7196"/>
                      <a:pt x="1279" y="7196"/>
                      <a:pt x="1279" y="7196"/>
                    </a:cubicBezTo>
                    <a:cubicBezTo>
                      <a:pt x="1276" y="7193"/>
                      <a:pt x="1276" y="7193"/>
                      <a:pt x="1276" y="7193"/>
                    </a:cubicBezTo>
                    <a:cubicBezTo>
                      <a:pt x="1281" y="7187"/>
                      <a:pt x="1281" y="7187"/>
                      <a:pt x="1281" y="7187"/>
                    </a:cubicBezTo>
                    <a:cubicBezTo>
                      <a:pt x="1283" y="7188"/>
                      <a:pt x="1283" y="7188"/>
                      <a:pt x="1283" y="7188"/>
                    </a:cubicBezTo>
                    <a:cubicBezTo>
                      <a:pt x="1333" y="7083"/>
                      <a:pt x="1333" y="7083"/>
                      <a:pt x="1333" y="7083"/>
                    </a:cubicBezTo>
                    <a:cubicBezTo>
                      <a:pt x="1330" y="7080"/>
                      <a:pt x="1330" y="7080"/>
                      <a:pt x="1330" y="7080"/>
                    </a:cubicBezTo>
                    <a:cubicBezTo>
                      <a:pt x="1336" y="7074"/>
                      <a:pt x="1336" y="7074"/>
                      <a:pt x="1336" y="7074"/>
                    </a:cubicBezTo>
                    <a:cubicBezTo>
                      <a:pt x="1337" y="7075"/>
                      <a:pt x="1337" y="7075"/>
                      <a:pt x="1337" y="7075"/>
                    </a:cubicBezTo>
                    <a:cubicBezTo>
                      <a:pt x="1387" y="6970"/>
                      <a:pt x="1387" y="6970"/>
                      <a:pt x="1387" y="6970"/>
                    </a:cubicBezTo>
                    <a:cubicBezTo>
                      <a:pt x="1384" y="6968"/>
                      <a:pt x="1384" y="6968"/>
                      <a:pt x="1384" y="6968"/>
                    </a:cubicBezTo>
                    <a:cubicBezTo>
                      <a:pt x="1390" y="6962"/>
                      <a:pt x="1390" y="6962"/>
                      <a:pt x="1390" y="6962"/>
                    </a:cubicBezTo>
                    <a:lnTo>
                      <a:pt x="1391" y="6963"/>
                    </a:lnTo>
                    <a:close/>
                    <a:moveTo>
                      <a:pt x="1212" y="7485"/>
                    </a:moveTo>
                    <a:cubicBezTo>
                      <a:pt x="1173" y="7452"/>
                      <a:pt x="1173" y="7452"/>
                      <a:pt x="1173" y="7452"/>
                    </a:cubicBezTo>
                    <a:cubicBezTo>
                      <a:pt x="1121" y="7560"/>
                      <a:pt x="1121" y="7560"/>
                      <a:pt x="1121" y="7560"/>
                    </a:cubicBezTo>
                    <a:cubicBezTo>
                      <a:pt x="1162" y="7588"/>
                      <a:pt x="1162" y="7588"/>
                      <a:pt x="1162" y="7588"/>
                    </a:cubicBezTo>
                    <a:lnTo>
                      <a:pt x="1212" y="7485"/>
                    </a:lnTo>
                    <a:close/>
                    <a:moveTo>
                      <a:pt x="1270" y="7363"/>
                    </a:moveTo>
                    <a:cubicBezTo>
                      <a:pt x="1231" y="7330"/>
                      <a:pt x="1231" y="7330"/>
                      <a:pt x="1231" y="7330"/>
                    </a:cubicBezTo>
                    <a:cubicBezTo>
                      <a:pt x="1177" y="7444"/>
                      <a:pt x="1177" y="7444"/>
                      <a:pt x="1177" y="7444"/>
                    </a:cubicBezTo>
                    <a:cubicBezTo>
                      <a:pt x="1216" y="7477"/>
                      <a:pt x="1216" y="7477"/>
                      <a:pt x="1216" y="7477"/>
                    </a:cubicBezTo>
                    <a:lnTo>
                      <a:pt x="1270" y="7363"/>
                    </a:lnTo>
                    <a:close/>
                    <a:moveTo>
                      <a:pt x="1330" y="7239"/>
                    </a:moveTo>
                    <a:cubicBezTo>
                      <a:pt x="1290" y="7205"/>
                      <a:pt x="1290" y="7205"/>
                      <a:pt x="1290" y="7205"/>
                    </a:cubicBezTo>
                    <a:cubicBezTo>
                      <a:pt x="1235" y="7322"/>
                      <a:pt x="1235" y="7322"/>
                      <a:pt x="1235" y="7322"/>
                    </a:cubicBezTo>
                    <a:cubicBezTo>
                      <a:pt x="1274" y="7356"/>
                      <a:pt x="1274" y="7356"/>
                      <a:pt x="1274" y="7356"/>
                    </a:cubicBezTo>
                    <a:lnTo>
                      <a:pt x="1330" y="7239"/>
                    </a:lnTo>
                    <a:close/>
                    <a:moveTo>
                      <a:pt x="1384" y="7126"/>
                    </a:moveTo>
                    <a:cubicBezTo>
                      <a:pt x="1344" y="7092"/>
                      <a:pt x="1344" y="7092"/>
                      <a:pt x="1344" y="7092"/>
                    </a:cubicBezTo>
                    <a:cubicBezTo>
                      <a:pt x="1294" y="7198"/>
                      <a:pt x="1294" y="7198"/>
                      <a:pt x="1294" y="7198"/>
                    </a:cubicBezTo>
                    <a:cubicBezTo>
                      <a:pt x="1334" y="7231"/>
                      <a:pt x="1334" y="7231"/>
                      <a:pt x="1334" y="7231"/>
                    </a:cubicBezTo>
                    <a:lnTo>
                      <a:pt x="1384" y="7126"/>
                    </a:lnTo>
                    <a:close/>
                    <a:moveTo>
                      <a:pt x="1402" y="6972"/>
                    </a:moveTo>
                    <a:cubicBezTo>
                      <a:pt x="1442" y="7006"/>
                      <a:pt x="1442" y="7006"/>
                      <a:pt x="1442" y="7006"/>
                    </a:cubicBezTo>
                    <a:cubicBezTo>
                      <a:pt x="1487" y="6912"/>
                      <a:pt x="1487" y="6912"/>
                      <a:pt x="1487" y="6912"/>
                    </a:cubicBezTo>
                    <a:cubicBezTo>
                      <a:pt x="1448" y="6876"/>
                      <a:pt x="1448" y="6876"/>
                      <a:pt x="1448" y="6876"/>
                    </a:cubicBezTo>
                    <a:lnTo>
                      <a:pt x="1402" y="6972"/>
                    </a:lnTo>
                    <a:close/>
                    <a:moveTo>
                      <a:pt x="1398" y="6980"/>
                    </a:moveTo>
                    <a:cubicBezTo>
                      <a:pt x="1348" y="7084"/>
                      <a:pt x="1348" y="7084"/>
                      <a:pt x="1348" y="7084"/>
                    </a:cubicBezTo>
                    <a:cubicBezTo>
                      <a:pt x="1388" y="7118"/>
                      <a:pt x="1388" y="7118"/>
                      <a:pt x="1388" y="7118"/>
                    </a:cubicBezTo>
                    <a:cubicBezTo>
                      <a:pt x="1438" y="7014"/>
                      <a:pt x="1438" y="7014"/>
                      <a:pt x="1438" y="7014"/>
                    </a:cubicBezTo>
                    <a:lnTo>
                      <a:pt x="1398" y="6980"/>
                    </a:lnTo>
                    <a:close/>
                    <a:moveTo>
                      <a:pt x="1198" y="5733"/>
                    </a:moveTo>
                    <a:cubicBezTo>
                      <a:pt x="1187" y="5716"/>
                      <a:pt x="1187" y="5716"/>
                      <a:pt x="1187" y="5716"/>
                    </a:cubicBezTo>
                    <a:cubicBezTo>
                      <a:pt x="1207" y="5712"/>
                      <a:pt x="1207" y="5712"/>
                      <a:pt x="1207" y="5712"/>
                    </a:cubicBezTo>
                    <a:cubicBezTo>
                      <a:pt x="1301" y="5692"/>
                      <a:pt x="1301" y="5692"/>
                      <a:pt x="1301" y="5692"/>
                    </a:cubicBezTo>
                    <a:cubicBezTo>
                      <a:pt x="1306" y="5691"/>
                      <a:pt x="1306" y="5691"/>
                      <a:pt x="1306" y="5691"/>
                    </a:cubicBezTo>
                    <a:cubicBezTo>
                      <a:pt x="1310" y="5693"/>
                      <a:pt x="1310" y="5693"/>
                      <a:pt x="1310" y="5693"/>
                    </a:cubicBezTo>
                    <a:cubicBezTo>
                      <a:pt x="1421" y="5757"/>
                      <a:pt x="1421" y="5757"/>
                      <a:pt x="1421" y="5757"/>
                    </a:cubicBezTo>
                    <a:cubicBezTo>
                      <a:pt x="1428" y="5760"/>
                      <a:pt x="1428" y="5760"/>
                      <a:pt x="1428" y="5760"/>
                    </a:cubicBezTo>
                    <a:cubicBezTo>
                      <a:pt x="1428" y="5767"/>
                      <a:pt x="1428" y="5767"/>
                      <a:pt x="1428" y="5767"/>
                    </a:cubicBezTo>
                    <a:cubicBezTo>
                      <a:pt x="1465" y="6064"/>
                      <a:pt x="1465" y="6064"/>
                      <a:pt x="1465" y="6064"/>
                    </a:cubicBezTo>
                    <a:cubicBezTo>
                      <a:pt x="1465" y="6069"/>
                      <a:pt x="1465" y="6069"/>
                      <a:pt x="1465" y="6069"/>
                    </a:cubicBezTo>
                    <a:cubicBezTo>
                      <a:pt x="1462" y="6073"/>
                      <a:pt x="1462" y="6073"/>
                      <a:pt x="1462" y="6073"/>
                    </a:cubicBezTo>
                    <a:cubicBezTo>
                      <a:pt x="1420" y="6135"/>
                      <a:pt x="1420" y="6135"/>
                      <a:pt x="1420" y="6135"/>
                    </a:cubicBezTo>
                    <a:cubicBezTo>
                      <a:pt x="1412" y="6147"/>
                      <a:pt x="1412" y="6147"/>
                      <a:pt x="1412" y="6147"/>
                    </a:cubicBezTo>
                    <a:cubicBezTo>
                      <a:pt x="1400" y="6138"/>
                      <a:pt x="1400" y="6138"/>
                      <a:pt x="1400" y="6138"/>
                    </a:cubicBezTo>
                    <a:cubicBezTo>
                      <a:pt x="1285" y="6049"/>
                      <a:pt x="1285" y="6049"/>
                      <a:pt x="1285" y="6049"/>
                    </a:cubicBezTo>
                    <a:cubicBezTo>
                      <a:pt x="1279" y="6045"/>
                      <a:pt x="1279" y="6045"/>
                      <a:pt x="1279" y="6045"/>
                    </a:cubicBezTo>
                    <a:cubicBezTo>
                      <a:pt x="1279" y="6039"/>
                      <a:pt x="1279" y="6039"/>
                      <a:pt x="1279" y="6039"/>
                    </a:cubicBezTo>
                    <a:cubicBezTo>
                      <a:pt x="1272" y="5846"/>
                      <a:pt x="1272" y="5846"/>
                      <a:pt x="1272" y="5846"/>
                    </a:cubicBezTo>
                    <a:lnTo>
                      <a:pt x="1198" y="5733"/>
                    </a:lnTo>
                    <a:close/>
                    <a:moveTo>
                      <a:pt x="1210" y="5725"/>
                    </a:moveTo>
                    <a:cubicBezTo>
                      <a:pt x="1285" y="5842"/>
                      <a:pt x="1285" y="5842"/>
                      <a:pt x="1285" y="5842"/>
                    </a:cubicBezTo>
                    <a:cubicBezTo>
                      <a:pt x="1293" y="6038"/>
                      <a:pt x="1293" y="6038"/>
                      <a:pt x="1293" y="6038"/>
                    </a:cubicBezTo>
                    <a:cubicBezTo>
                      <a:pt x="1409" y="6127"/>
                      <a:pt x="1409" y="6127"/>
                      <a:pt x="1409" y="6127"/>
                    </a:cubicBezTo>
                    <a:cubicBezTo>
                      <a:pt x="1451" y="6066"/>
                      <a:pt x="1451" y="6066"/>
                      <a:pt x="1451" y="6066"/>
                    </a:cubicBezTo>
                    <a:cubicBezTo>
                      <a:pt x="1415" y="5769"/>
                      <a:pt x="1415" y="5769"/>
                      <a:pt x="1415" y="5769"/>
                    </a:cubicBezTo>
                    <a:cubicBezTo>
                      <a:pt x="1304" y="5706"/>
                      <a:pt x="1304" y="5706"/>
                      <a:pt x="1304" y="5706"/>
                    </a:cubicBezTo>
                    <a:lnTo>
                      <a:pt x="1210" y="5725"/>
                    </a:lnTo>
                    <a:close/>
                    <a:moveTo>
                      <a:pt x="1696" y="6446"/>
                    </a:moveTo>
                    <a:cubicBezTo>
                      <a:pt x="1581" y="6407"/>
                      <a:pt x="1581" y="6407"/>
                      <a:pt x="1581" y="6407"/>
                    </a:cubicBezTo>
                    <a:cubicBezTo>
                      <a:pt x="1694" y="6233"/>
                      <a:pt x="1694" y="6233"/>
                      <a:pt x="1694" y="6233"/>
                    </a:cubicBezTo>
                    <a:cubicBezTo>
                      <a:pt x="1801" y="6274"/>
                      <a:pt x="1801" y="6274"/>
                      <a:pt x="1801" y="6274"/>
                    </a:cubicBezTo>
                    <a:lnTo>
                      <a:pt x="1696" y="6446"/>
                    </a:lnTo>
                    <a:close/>
                    <a:moveTo>
                      <a:pt x="1690" y="6429"/>
                    </a:moveTo>
                    <a:cubicBezTo>
                      <a:pt x="1780" y="6281"/>
                      <a:pt x="1780" y="6281"/>
                      <a:pt x="1780" y="6281"/>
                    </a:cubicBezTo>
                    <a:cubicBezTo>
                      <a:pt x="1700" y="6251"/>
                      <a:pt x="1700" y="6251"/>
                      <a:pt x="1700" y="6251"/>
                    </a:cubicBezTo>
                    <a:cubicBezTo>
                      <a:pt x="1603" y="6399"/>
                      <a:pt x="1603" y="6399"/>
                      <a:pt x="1603" y="6399"/>
                    </a:cubicBezTo>
                    <a:lnTo>
                      <a:pt x="1690" y="6429"/>
                    </a:lnTo>
                    <a:close/>
                    <a:moveTo>
                      <a:pt x="1409" y="6598"/>
                    </a:moveTo>
                    <a:cubicBezTo>
                      <a:pt x="1522" y="6425"/>
                      <a:pt x="1522" y="6425"/>
                      <a:pt x="1522" y="6425"/>
                    </a:cubicBezTo>
                    <a:cubicBezTo>
                      <a:pt x="1637" y="6470"/>
                      <a:pt x="1637" y="6470"/>
                      <a:pt x="1637" y="6470"/>
                    </a:cubicBezTo>
                    <a:cubicBezTo>
                      <a:pt x="1532" y="6641"/>
                      <a:pt x="1532" y="6641"/>
                      <a:pt x="1532" y="6641"/>
                    </a:cubicBezTo>
                    <a:lnTo>
                      <a:pt x="1409" y="6598"/>
                    </a:lnTo>
                    <a:close/>
                    <a:moveTo>
                      <a:pt x="1431" y="6591"/>
                    </a:moveTo>
                    <a:cubicBezTo>
                      <a:pt x="1526" y="6624"/>
                      <a:pt x="1526" y="6624"/>
                      <a:pt x="1526" y="6624"/>
                    </a:cubicBezTo>
                    <a:cubicBezTo>
                      <a:pt x="1616" y="6477"/>
                      <a:pt x="1616" y="6477"/>
                      <a:pt x="1616" y="6477"/>
                    </a:cubicBezTo>
                    <a:cubicBezTo>
                      <a:pt x="1527" y="6442"/>
                      <a:pt x="1527" y="6442"/>
                      <a:pt x="1527" y="6442"/>
                    </a:cubicBezTo>
                    <a:lnTo>
                      <a:pt x="1431" y="6591"/>
                    </a:lnTo>
                    <a:close/>
                    <a:moveTo>
                      <a:pt x="8011" y="3596"/>
                    </a:moveTo>
                    <a:cubicBezTo>
                      <a:pt x="8111" y="3643"/>
                      <a:pt x="8111" y="3643"/>
                      <a:pt x="8111" y="3643"/>
                    </a:cubicBezTo>
                    <a:cubicBezTo>
                      <a:pt x="7990" y="3878"/>
                      <a:pt x="7990" y="3878"/>
                      <a:pt x="7990" y="3878"/>
                    </a:cubicBezTo>
                    <a:cubicBezTo>
                      <a:pt x="7886" y="3824"/>
                      <a:pt x="7886" y="3824"/>
                      <a:pt x="7886" y="3824"/>
                    </a:cubicBezTo>
                    <a:cubicBezTo>
                      <a:pt x="8005" y="3593"/>
                      <a:pt x="8005" y="3593"/>
                      <a:pt x="8005" y="3593"/>
                    </a:cubicBezTo>
                    <a:lnTo>
                      <a:pt x="8011" y="3596"/>
                    </a:lnTo>
                    <a:close/>
                    <a:moveTo>
                      <a:pt x="8011" y="3613"/>
                    </a:moveTo>
                    <a:cubicBezTo>
                      <a:pt x="7906" y="3818"/>
                      <a:pt x="7906" y="3818"/>
                      <a:pt x="7906" y="3818"/>
                    </a:cubicBezTo>
                    <a:cubicBezTo>
                      <a:pt x="7984" y="3858"/>
                      <a:pt x="7984" y="3858"/>
                      <a:pt x="7984" y="3858"/>
                    </a:cubicBezTo>
                    <a:cubicBezTo>
                      <a:pt x="8091" y="3650"/>
                      <a:pt x="8091" y="3650"/>
                      <a:pt x="8091" y="3650"/>
                    </a:cubicBezTo>
                    <a:lnTo>
                      <a:pt x="8011" y="3613"/>
                    </a:lnTo>
                    <a:close/>
                    <a:moveTo>
                      <a:pt x="435" y="1447"/>
                    </a:moveTo>
                    <a:cubicBezTo>
                      <a:pt x="676" y="1253"/>
                      <a:pt x="676" y="1253"/>
                      <a:pt x="676" y="1253"/>
                    </a:cubicBezTo>
                    <a:cubicBezTo>
                      <a:pt x="676" y="1269"/>
                      <a:pt x="676" y="1269"/>
                      <a:pt x="676" y="1269"/>
                    </a:cubicBezTo>
                    <a:cubicBezTo>
                      <a:pt x="672" y="1460"/>
                      <a:pt x="672" y="1460"/>
                      <a:pt x="672" y="1460"/>
                    </a:cubicBezTo>
                    <a:cubicBezTo>
                      <a:pt x="538" y="1554"/>
                      <a:pt x="538" y="1554"/>
                      <a:pt x="538" y="1554"/>
                    </a:cubicBezTo>
                    <a:lnTo>
                      <a:pt x="435" y="1447"/>
                    </a:lnTo>
                    <a:close/>
                    <a:moveTo>
                      <a:pt x="661" y="1285"/>
                    </a:moveTo>
                    <a:cubicBezTo>
                      <a:pt x="457" y="1449"/>
                      <a:pt x="457" y="1449"/>
                      <a:pt x="457" y="1449"/>
                    </a:cubicBezTo>
                    <a:cubicBezTo>
                      <a:pt x="540" y="1535"/>
                      <a:pt x="540" y="1535"/>
                      <a:pt x="540" y="1535"/>
                    </a:cubicBezTo>
                    <a:cubicBezTo>
                      <a:pt x="657" y="1452"/>
                      <a:pt x="657" y="1452"/>
                      <a:pt x="657" y="1452"/>
                    </a:cubicBezTo>
                    <a:lnTo>
                      <a:pt x="661" y="1285"/>
                    </a:lnTo>
                    <a:close/>
                    <a:moveTo>
                      <a:pt x="8280" y="3575"/>
                    </a:moveTo>
                    <a:cubicBezTo>
                      <a:pt x="8031" y="4058"/>
                      <a:pt x="8031" y="4058"/>
                      <a:pt x="8031" y="4058"/>
                    </a:cubicBezTo>
                    <a:cubicBezTo>
                      <a:pt x="7915" y="3999"/>
                      <a:pt x="7915" y="3999"/>
                      <a:pt x="7915" y="3999"/>
                    </a:cubicBezTo>
                    <a:cubicBezTo>
                      <a:pt x="7944" y="3942"/>
                      <a:pt x="7944" y="3942"/>
                      <a:pt x="7944" y="3942"/>
                    </a:cubicBezTo>
                    <a:cubicBezTo>
                      <a:pt x="7863" y="3900"/>
                      <a:pt x="7863" y="3900"/>
                      <a:pt x="7863" y="3900"/>
                    </a:cubicBezTo>
                    <a:cubicBezTo>
                      <a:pt x="7833" y="3958"/>
                      <a:pt x="7833" y="3958"/>
                      <a:pt x="7833" y="3958"/>
                    </a:cubicBezTo>
                    <a:cubicBezTo>
                      <a:pt x="7717" y="3898"/>
                      <a:pt x="7717" y="3898"/>
                      <a:pt x="7717" y="3898"/>
                    </a:cubicBezTo>
                    <a:cubicBezTo>
                      <a:pt x="7966" y="3415"/>
                      <a:pt x="7966" y="3415"/>
                      <a:pt x="7966" y="3415"/>
                    </a:cubicBezTo>
                    <a:cubicBezTo>
                      <a:pt x="7972" y="3418"/>
                      <a:pt x="7972" y="3418"/>
                      <a:pt x="7972" y="3418"/>
                    </a:cubicBezTo>
                    <a:cubicBezTo>
                      <a:pt x="8080" y="3472"/>
                      <a:pt x="8080" y="3472"/>
                      <a:pt x="8080" y="3472"/>
                    </a:cubicBezTo>
                    <a:cubicBezTo>
                      <a:pt x="8051" y="3530"/>
                      <a:pt x="8051" y="3530"/>
                      <a:pt x="8051" y="3530"/>
                    </a:cubicBezTo>
                    <a:cubicBezTo>
                      <a:pt x="8133" y="3572"/>
                      <a:pt x="8133" y="3572"/>
                      <a:pt x="8133" y="3572"/>
                    </a:cubicBezTo>
                    <a:cubicBezTo>
                      <a:pt x="8162" y="3514"/>
                      <a:pt x="8162" y="3514"/>
                      <a:pt x="8162" y="3514"/>
                    </a:cubicBezTo>
                    <a:lnTo>
                      <a:pt x="8280" y="3575"/>
                    </a:lnTo>
                    <a:close/>
                    <a:moveTo>
                      <a:pt x="8260" y="3581"/>
                    </a:moveTo>
                    <a:cubicBezTo>
                      <a:pt x="8169" y="3534"/>
                      <a:pt x="8169" y="3534"/>
                      <a:pt x="8169" y="3534"/>
                    </a:cubicBezTo>
                    <a:cubicBezTo>
                      <a:pt x="8139" y="3592"/>
                      <a:pt x="8139" y="3592"/>
                      <a:pt x="8139" y="3592"/>
                    </a:cubicBezTo>
                    <a:cubicBezTo>
                      <a:pt x="8031" y="3537"/>
                      <a:pt x="8031" y="3537"/>
                      <a:pt x="8031" y="3537"/>
                    </a:cubicBezTo>
                    <a:cubicBezTo>
                      <a:pt x="8061" y="3479"/>
                      <a:pt x="8061" y="3479"/>
                      <a:pt x="8061" y="3479"/>
                    </a:cubicBezTo>
                    <a:cubicBezTo>
                      <a:pt x="7972" y="3435"/>
                      <a:pt x="7972" y="3435"/>
                      <a:pt x="7972" y="3435"/>
                    </a:cubicBezTo>
                    <a:cubicBezTo>
                      <a:pt x="7737" y="3892"/>
                      <a:pt x="7737" y="3892"/>
                      <a:pt x="7737" y="3892"/>
                    </a:cubicBezTo>
                    <a:cubicBezTo>
                      <a:pt x="7827" y="3938"/>
                      <a:pt x="7827" y="3938"/>
                      <a:pt x="7827" y="3938"/>
                    </a:cubicBezTo>
                    <a:cubicBezTo>
                      <a:pt x="7857" y="3880"/>
                      <a:pt x="7857" y="3880"/>
                      <a:pt x="7857" y="3880"/>
                    </a:cubicBezTo>
                    <a:cubicBezTo>
                      <a:pt x="7964" y="3935"/>
                      <a:pt x="7964" y="3935"/>
                      <a:pt x="7964" y="3935"/>
                    </a:cubicBezTo>
                    <a:cubicBezTo>
                      <a:pt x="7934" y="3992"/>
                      <a:pt x="7934" y="3992"/>
                      <a:pt x="7934" y="3992"/>
                    </a:cubicBezTo>
                    <a:cubicBezTo>
                      <a:pt x="8024" y="4039"/>
                      <a:pt x="8024" y="4039"/>
                      <a:pt x="8024" y="4039"/>
                    </a:cubicBezTo>
                    <a:lnTo>
                      <a:pt x="8260" y="3581"/>
                    </a:lnTo>
                    <a:close/>
                    <a:moveTo>
                      <a:pt x="8633" y="2713"/>
                    </a:moveTo>
                    <a:cubicBezTo>
                      <a:pt x="8531" y="2894"/>
                      <a:pt x="8531" y="2894"/>
                      <a:pt x="8531" y="2894"/>
                    </a:cubicBezTo>
                    <a:cubicBezTo>
                      <a:pt x="8411" y="2828"/>
                      <a:pt x="8411" y="2828"/>
                      <a:pt x="8411" y="2828"/>
                    </a:cubicBezTo>
                    <a:cubicBezTo>
                      <a:pt x="8545" y="2595"/>
                      <a:pt x="8545" y="2595"/>
                      <a:pt x="8545" y="2595"/>
                    </a:cubicBezTo>
                    <a:cubicBezTo>
                      <a:pt x="8422" y="2523"/>
                      <a:pt x="8422" y="2523"/>
                      <a:pt x="8422" y="2523"/>
                    </a:cubicBezTo>
                    <a:cubicBezTo>
                      <a:pt x="8288" y="2756"/>
                      <a:pt x="8288" y="2756"/>
                      <a:pt x="8288" y="2756"/>
                    </a:cubicBezTo>
                    <a:cubicBezTo>
                      <a:pt x="8210" y="2709"/>
                      <a:pt x="8210" y="2709"/>
                      <a:pt x="8210" y="2709"/>
                    </a:cubicBezTo>
                    <a:cubicBezTo>
                      <a:pt x="8371" y="2435"/>
                      <a:pt x="8371" y="2435"/>
                      <a:pt x="8371" y="2435"/>
                    </a:cubicBezTo>
                    <a:cubicBezTo>
                      <a:pt x="8309" y="2400"/>
                      <a:pt x="8309" y="2400"/>
                      <a:pt x="8309" y="2400"/>
                    </a:cubicBezTo>
                    <a:cubicBezTo>
                      <a:pt x="8229" y="2537"/>
                      <a:pt x="8229" y="2537"/>
                      <a:pt x="8229" y="2537"/>
                    </a:cubicBezTo>
                    <a:cubicBezTo>
                      <a:pt x="8162" y="2499"/>
                      <a:pt x="8162" y="2499"/>
                      <a:pt x="8162" y="2499"/>
                    </a:cubicBezTo>
                    <a:cubicBezTo>
                      <a:pt x="8241" y="2355"/>
                      <a:pt x="8241" y="2355"/>
                      <a:pt x="8241" y="2355"/>
                    </a:cubicBezTo>
                    <a:cubicBezTo>
                      <a:pt x="8183" y="2324"/>
                      <a:pt x="8183" y="2324"/>
                      <a:pt x="8183" y="2324"/>
                    </a:cubicBezTo>
                    <a:cubicBezTo>
                      <a:pt x="8241" y="2234"/>
                      <a:pt x="8241" y="2234"/>
                      <a:pt x="8241" y="2234"/>
                    </a:cubicBezTo>
                    <a:cubicBezTo>
                      <a:pt x="8247" y="2237"/>
                      <a:pt x="8247" y="2237"/>
                      <a:pt x="8247" y="2237"/>
                    </a:cubicBezTo>
                    <a:cubicBezTo>
                      <a:pt x="8423" y="2333"/>
                      <a:pt x="8423" y="2333"/>
                      <a:pt x="8423" y="2333"/>
                    </a:cubicBezTo>
                    <a:cubicBezTo>
                      <a:pt x="8481" y="2245"/>
                      <a:pt x="8481" y="2245"/>
                      <a:pt x="8481" y="2245"/>
                    </a:cubicBezTo>
                    <a:cubicBezTo>
                      <a:pt x="8797" y="2429"/>
                      <a:pt x="8797" y="2429"/>
                      <a:pt x="8797" y="2429"/>
                    </a:cubicBezTo>
                    <a:cubicBezTo>
                      <a:pt x="8741" y="2524"/>
                      <a:pt x="8741" y="2524"/>
                      <a:pt x="8741" y="2524"/>
                    </a:cubicBezTo>
                    <a:cubicBezTo>
                      <a:pt x="8680" y="2488"/>
                      <a:pt x="8680" y="2488"/>
                      <a:pt x="8680" y="2488"/>
                    </a:cubicBezTo>
                    <a:cubicBezTo>
                      <a:pt x="8579" y="2678"/>
                      <a:pt x="8579" y="2678"/>
                      <a:pt x="8579" y="2678"/>
                    </a:cubicBezTo>
                    <a:lnTo>
                      <a:pt x="8633" y="2713"/>
                    </a:lnTo>
                    <a:close/>
                    <a:moveTo>
                      <a:pt x="8613" y="2718"/>
                    </a:moveTo>
                    <a:cubicBezTo>
                      <a:pt x="8559" y="2683"/>
                      <a:pt x="8559" y="2683"/>
                      <a:pt x="8559" y="2683"/>
                    </a:cubicBezTo>
                    <a:cubicBezTo>
                      <a:pt x="8674" y="2467"/>
                      <a:pt x="8674" y="2467"/>
                      <a:pt x="8674" y="2467"/>
                    </a:cubicBezTo>
                    <a:cubicBezTo>
                      <a:pt x="8736" y="2504"/>
                      <a:pt x="8736" y="2504"/>
                      <a:pt x="8736" y="2504"/>
                    </a:cubicBezTo>
                    <a:cubicBezTo>
                      <a:pt x="8777" y="2434"/>
                      <a:pt x="8777" y="2434"/>
                      <a:pt x="8777" y="2434"/>
                    </a:cubicBezTo>
                    <a:cubicBezTo>
                      <a:pt x="8486" y="2265"/>
                      <a:pt x="8486" y="2265"/>
                      <a:pt x="8486" y="2265"/>
                    </a:cubicBezTo>
                    <a:cubicBezTo>
                      <a:pt x="8428" y="2353"/>
                      <a:pt x="8428" y="2353"/>
                      <a:pt x="8428" y="2353"/>
                    </a:cubicBezTo>
                    <a:cubicBezTo>
                      <a:pt x="8246" y="2254"/>
                      <a:pt x="8246" y="2254"/>
                      <a:pt x="8246" y="2254"/>
                    </a:cubicBezTo>
                    <a:cubicBezTo>
                      <a:pt x="8204" y="2318"/>
                      <a:pt x="8204" y="2318"/>
                      <a:pt x="8204" y="2318"/>
                    </a:cubicBezTo>
                    <a:cubicBezTo>
                      <a:pt x="8261" y="2349"/>
                      <a:pt x="8261" y="2349"/>
                      <a:pt x="8261" y="2349"/>
                    </a:cubicBezTo>
                    <a:cubicBezTo>
                      <a:pt x="8182" y="2494"/>
                      <a:pt x="8182" y="2494"/>
                      <a:pt x="8182" y="2494"/>
                    </a:cubicBezTo>
                    <a:cubicBezTo>
                      <a:pt x="8223" y="2517"/>
                      <a:pt x="8223" y="2517"/>
                      <a:pt x="8223" y="2517"/>
                    </a:cubicBezTo>
                    <a:cubicBezTo>
                      <a:pt x="8304" y="2380"/>
                      <a:pt x="8304" y="2380"/>
                      <a:pt x="8304" y="2380"/>
                    </a:cubicBezTo>
                    <a:cubicBezTo>
                      <a:pt x="8391" y="2429"/>
                      <a:pt x="8391" y="2429"/>
                      <a:pt x="8391" y="2429"/>
                    </a:cubicBezTo>
                    <a:cubicBezTo>
                      <a:pt x="8230" y="2704"/>
                      <a:pt x="8230" y="2704"/>
                      <a:pt x="8230" y="2704"/>
                    </a:cubicBezTo>
                    <a:cubicBezTo>
                      <a:pt x="8282" y="2736"/>
                      <a:pt x="8282" y="2736"/>
                      <a:pt x="8282" y="2736"/>
                    </a:cubicBezTo>
                    <a:cubicBezTo>
                      <a:pt x="8417" y="2502"/>
                      <a:pt x="8417" y="2502"/>
                      <a:pt x="8417" y="2502"/>
                    </a:cubicBezTo>
                    <a:cubicBezTo>
                      <a:pt x="8565" y="2589"/>
                      <a:pt x="8565" y="2589"/>
                      <a:pt x="8565" y="2589"/>
                    </a:cubicBezTo>
                    <a:cubicBezTo>
                      <a:pt x="8431" y="2822"/>
                      <a:pt x="8431" y="2822"/>
                      <a:pt x="8431" y="2822"/>
                    </a:cubicBezTo>
                    <a:cubicBezTo>
                      <a:pt x="8525" y="2874"/>
                      <a:pt x="8525" y="2874"/>
                      <a:pt x="8525" y="2874"/>
                    </a:cubicBezTo>
                    <a:lnTo>
                      <a:pt x="8613" y="2718"/>
                    </a:lnTo>
                    <a:close/>
                    <a:moveTo>
                      <a:pt x="1197" y="834"/>
                    </a:moveTo>
                    <a:cubicBezTo>
                      <a:pt x="1292" y="973"/>
                      <a:pt x="1292" y="973"/>
                      <a:pt x="1292" y="973"/>
                    </a:cubicBezTo>
                    <a:cubicBezTo>
                      <a:pt x="1275" y="1085"/>
                      <a:pt x="1275" y="1085"/>
                      <a:pt x="1275" y="1085"/>
                    </a:cubicBezTo>
                    <a:cubicBezTo>
                      <a:pt x="1120" y="1086"/>
                      <a:pt x="1120" y="1086"/>
                      <a:pt x="1120" y="1086"/>
                    </a:cubicBezTo>
                    <a:cubicBezTo>
                      <a:pt x="1128" y="892"/>
                      <a:pt x="1128" y="892"/>
                      <a:pt x="1128" y="892"/>
                    </a:cubicBezTo>
                    <a:lnTo>
                      <a:pt x="1197" y="834"/>
                    </a:lnTo>
                    <a:close/>
                    <a:moveTo>
                      <a:pt x="1278" y="976"/>
                    </a:moveTo>
                    <a:cubicBezTo>
                      <a:pt x="1195" y="855"/>
                      <a:pt x="1195" y="855"/>
                      <a:pt x="1195" y="855"/>
                    </a:cubicBezTo>
                    <a:cubicBezTo>
                      <a:pt x="1142" y="899"/>
                      <a:pt x="1142" y="899"/>
                      <a:pt x="1142" y="899"/>
                    </a:cubicBezTo>
                    <a:cubicBezTo>
                      <a:pt x="1134" y="1072"/>
                      <a:pt x="1134" y="1072"/>
                      <a:pt x="1134" y="1072"/>
                    </a:cubicBezTo>
                    <a:cubicBezTo>
                      <a:pt x="1263" y="1071"/>
                      <a:pt x="1263" y="1071"/>
                      <a:pt x="1263" y="1071"/>
                    </a:cubicBezTo>
                    <a:lnTo>
                      <a:pt x="1278" y="976"/>
                    </a:lnTo>
                    <a:close/>
                    <a:moveTo>
                      <a:pt x="659" y="1788"/>
                    </a:moveTo>
                    <a:cubicBezTo>
                      <a:pt x="591" y="1726"/>
                      <a:pt x="591" y="1726"/>
                      <a:pt x="591" y="1726"/>
                    </a:cubicBezTo>
                    <a:cubicBezTo>
                      <a:pt x="696" y="1661"/>
                      <a:pt x="696" y="1661"/>
                      <a:pt x="696" y="1661"/>
                    </a:cubicBezTo>
                    <a:cubicBezTo>
                      <a:pt x="766" y="1725"/>
                      <a:pt x="766" y="1725"/>
                      <a:pt x="766" y="1725"/>
                    </a:cubicBezTo>
                    <a:lnTo>
                      <a:pt x="659" y="1788"/>
                    </a:lnTo>
                    <a:close/>
                    <a:moveTo>
                      <a:pt x="614" y="1728"/>
                    </a:moveTo>
                    <a:cubicBezTo>
                      <a:pt x="660" y="1771"/>
                      <a:pt x="660" y="1771"/>
                      <a:pt x="660" y="1771"/>
                    </a:cubicBezTo>
                    <a:cubicBezTo>
                      <a:pt x="743" y="1723"/>
                      <a:pt x="743" y="1723"/>
                      <a:pt x="743" y="1723"/>
                    </a:cubicBezTo>
                    <a:cubicBezTo>
                      <a:pt x="694" y="1678"/>
                      <a:pt x="694" y="1678"/>
                      <a:pt x="694" y="1678"/>
                    </a:cubicBezTo>
                    <a:lnTo>
                      <a:pt x="614" y="1728"/>
                    </a:lnTo>
                    <a:close/>
                    <a:moveTo>
                      <a:pt x="597" y="2055"/>
                    </a:moveTo>
                    <a:cubicBezTo>
                      <a:pt x="643" y="1880"/>
                      <a:pt x="643" y="1880"/>
                      <a:pt x="643" y="1880"/>
                    </a:cubicBezTo>
                    <a:cubicBezTo>
                      <a:pt x="804" y="2043"/>
                      <a:pt x="804" y="2043"/>
                      <a:pt x="804" y="2043"/>
                    </a:cubicBezTo>
                    <a:lnTo>
                      <a:pt x="597" y="2055"/>
                    </a:lnTo>
                    <a:close/>
                    <a:moveTo>
                      <a:pt x="616" y="2040"/>
                    </a:moveTo>
                    <a:cubicBezTo>
                      <a:pt x="772" y="2031"/>
                      <a:pt x="772" y="2031"/>
                      <a:pt x="772" y="2031"/>
                    </a:cubicBezTo>
                    <a:cubicBezTo>
                      <a:pt x="651" y="1908"/>
                      <a:pt x="651" y="1908"/>
                      <a:pt x="651" y="1908"/>
                    </a:cubicBezTo>
                    <a:lnTo>
                      <a:pt x="616" y="2040"/>
                    </a:lnTo>
                    <a:close/>
                    <a:moveTo>
                      <a:pt x="1782" y="1352"/>
                    </a:moveTo>
                    <a:cubicBezTo>
                      <a:pt x="1798" y="1358"/>
                      <a:pt x="1855" y="1354"/>
                      <a:pt x="1882" y="1369"/>
                    </a:cubicBezTo>
                    <a:cubicBezTo>
                      <a:pt x="1893" y="1374"/>
                      <a:pt x="1899" y="1381"/>
                      <a:pt x="1899" y="1390"/>
                    </a:cubicBezTo>
                    <a:cubicBezTo>
                      <a:pt x="1898" y="1405"/>
                      <a:pt x="1883" y="1418"/>
                      <a:pt x="1855" y="1433"/>
                    </a:cubicBezTo>
                    <a:cubicBezTo>
                      <a:pt x="1811" y="1457"/>
                      <a:pt x="1762" y="1460"/>
                      <a:pt x="1740" y="1468"/>
                    </a:cubicBezTo>
                    <a:cubicBezTo>
                      <a:pt x="1717" y="1476"/>
                      <a:pt x="1707" y="1484"/>
                      <a:pt x="1696" y="1510"/>
                    </a:cubicBezTo>
                    <a:cubicBezTo>
                      <a:pt x="1684" y="1539"/>
                      <a:pt x="1656" y="1557"/>
                      <a:pt x="1656" y="1557"/>
                    </a:cubicBezTo>
                    <a:cubicBezTo>
                      <a:pt x="1654" y="1558"/>
                      <a:pt x="1654" y="1558"/>
                      <a:pt x="1654" y="1558"/>
                    </a:cubicBezTo>
                    <a:cubicBezTo>
                      <a:pt x="1653" y="1558"/>
                      <a:pt x="1653" y="1558"/>
                      <a:pt x="1653" y="1558"/>
                    </a:cubicBezTo>
                    <a:cubicBezTo>
                      <a:pt x="1636" y="1553"/>
                      <a:pt x="1631" y="1535"/>
                      <a:pt x="1631" y="1516"/>
                    </a:cubicBezTo>
                    <a:cubicBezTo>
                      <a:pt x="1631" y="1496"/>
                      <a:pt x="1636" y="1474"/>
                      <a:pt x="1643" y="1455"/>
                    </a:cubicBezTo>
                    <a:cubicBezTo>
                      <a:pt x="1657" y="1418"/>
                      <a:pt x="1683" y="1411"/>
                      <a:pt x="1691" y="1394"/>
                    </a:cubicBezTo>
                    <a:cubicBezTo>
                      <a:pt x="1693" y="1389"/>
                      <a:pt x="1694" y="1385"/>
                      <a:pt x="1694" y="1380"/>
                    </a:cubicBezTo>
                    <a:cubicBezTo>
                      <a:pt x="1694" y="1366"/>
                      <a:pt x="1685" y="1350"/>
                      <a:pt x="1677" y="1341"/>
                    </a:cubicBezTo>
                    <a:cubicBezTo>
                      <a:pt x="1673" y="1336"/>
                      <a:pt x="1670" y="1331"/>
                      <a:pt x="1671" y="1326"/>
                    </a:cubicBezTo>
                    <a:cubicBezTo>
                      <a:pt x="1671" y="1314"/>
                      <a:pt x="1680" y="1304"/>
                      <a:pt x="1689" y="1293"/>
                    </a:cubicBezTo>
                    <a:cubicBezTo>
                      <a:pt x="1703" y="1277"/>
                      <a:pt x="1741" y="1262"/>
                      <a:pt x="1744" y="1248"/>
                    </a:cubicBezTo>
                    <a:cubicBezTo>
                      <a:pt x="1749" y="1231"/>
                      <a:pt x="1754" y="1193"/>
                      <a:pt x="1798" y="1189"/>
                    </a:cubicBezTo>
                    <a:cubicBezTo>
                      <a:pt x="1800" y="1189"/>
                      <a:pt x="1801" y="1189"/>
                      <a:pt x="1802" y="1189"/>
                    </a:cubicBezTo>
                    <a:cubicBezTo>
                      <a:pt x="1836" y="1190"/>
                      <a:pt x="1844" y="1230"/>
                      <a:pt x="1844" y="1254"/>
                    </a:cubicBezTo>
                    <a:cubicBezTo>
                      <a:pt x="1844" y="1261"/>
                      <a:pt x="1843" y="1267"/>
                      <a:pt x="1842" y="1271"/>
                    </a:cubicBezTo>
                    <a:cubicBezTo>
                      <a:pt x="1835" y="1294"/>
                      <a:pt x="1788" y="1291"/>
                      <a:pt x="1768" y="1306"/>
                    </a:cubicBezTo>
                    <a:cubicBezTo>
                      <a:pt x="1762" y="1310"/>
                      <a:pt x="1760" y="1315"/>
                      <a:pt x="1760" y="1321"/>
                    </a:cubicBezTo>
                    <a:cubicBezTo>
                      <a:pt x="1760" y="1333"/>
                      <a:pt x="1772" y="1348"/>
                      <a:pt x="1782" y="1352"/>
                    </a:cubicBezTo>
                    <a:close/>
                    <a:moveTo>
                      <a:pt x="1879" y="1376"/>
                    </a:moveTo>
                    <a:cubicBezTo>
                      <a:pt x="1855" y="1363"/>
                      <a:pt x="1799" y="1367"/>
                      <a:pt x="1779" y="1360"/>
                    </a:cubicBezTo>
                    <a:cubicBezTo>
                      <a:pt x="1765" y="1354"/>
                      <a:pt x="1752" y="1337"/>
                      <a:pt x="1752" y="1321"/>
                    </a:cubicBezTo>
                    <a:cubicBezTo>
                      <a:pt x="1752" y="1313"/>
                      <a:pt x="1755" y="1305"/>
                      <a:pt x="1763" y="1299"/>
                    </a:cubicBezTo>
                    <a:cubicBezTo>
                      <a:pt x="1787" y="1284"/>
                      <a:pt x="1834" y="1281"/>
                      <a:pt x="1834" y="1269"/>
                    </a:cubicBezTo>
                    <a:cubicBezTo>
                      <a:pt x="1835" y="1266"/>
                      <a:pt x="1836" y="1260"/>
                      <a:pt x="1836" y="1254"/>
                    </a:cubicBezTo>
                    <a:cubicBezTo>
                      <a:pt x="1836" y="1243"/>
                      <a:pt x="1834" y="1228"/>
                      <a:pt x="1828" y="1216"/>
                    </a:cubicBezTo>
                    <a:cubicBezTo>
                      <a:pt x="1823" y="1205"/>
                      <a:pt x="1815" y="1197"/>
                      <a:pt x="1802" y="1197"/>
                    </a:cubicBezTo>
                    <a:cubicBezTo>
                      <a:pt x="1801" y="1197"/>
                      <a:pt x="1800" y="1197"/>
                      <a:pt x="1799" y="1197"/>
                    </a:cubicBezTo>
                    <a:cubicBezTo>
                      <a:pt x="1761" y="1201"/>
                      <a:pt x="1758" y="1232"/>
                      <a:pt x="1752" y="1250"/>
                    </a:cubicBezTo>
                    <a:cubicBezTo>
                      <a:pt x="1744" y="1272"/>
                      <a:pt x="1706" y="1284"/>
                      <a:pt x="1695" y="1298"/>
                    </a:cubicBezTo>
                    <a:cubicBezTo>
                      <a:pt x="1686" y="1309"/>
                      <a:pt x="1678" y="1319"/>
                      <a:pt x="1679" y="1326"/>
                    </a:cubicBezTo>
                    <a:cubicBezTo>
                      <a:pt x="1679" y="1329"/>
                      <a:pt x="1680" y="1332"/>
                      <a:pt x="1683" y="1335"/>
                    </a:cubicBezTo>
                    <a:cubicBezTo>
                      <a:pt x="1692" y="1346"/>
                      <a:pt x="1702" y="1363"/>
                      <a:pt x="1702" y="1380"/>
                    </a:cubicBezTo>
                    <a:cubicBezTo>
                      <a:pt x="1702" y="1386"/>
                      <a:pt x="1701" y="1392"/>
                      <a:pt x="1698" y="1397"/>
                    </a:cubicBezTo>
                    <a:cubicBezTo>
                      <a:pt x="1687" y="1419"/>
                      <a:pt x="1664" y="1424"/>
                      <a:pt x="1651" y="1458"/>
                    </a:cubicBezTo>
                    <a:cubicBezTo>
                      <a:pt x="1644" y="1476"/>
                      <a:pt x="1639" y="1498"/>
                      <a:pt x="1639" y="1516"/>
                    </a:cubicBezTo>
                    <a:cubicBezTo>
                      <a:pt x="1639" y="1534"/>
                      <a:pt x="1644" y="1546"/>
                      <a:pt x="1653" y="1549"/>
                    </a:cubicBezTo>
                    <a:cubicBezTo>
                      <a:pt x="1659" y="1545"/>
                      <a:pt x="1679" y="1529"/>
                      <a:pt x="1688" y="1507"/>
                    </a:cubicBezTo>
                    <a:cubicBezTo>
                      <a:pt x="1699" y="1479"/>
                      <a:pt x="1713" y="1468"/>
                      <a:pt x="1737" y="1460"/>
                    </a:cubicBezTo>
                    <a:cubicBezTo>
                      <a:pt x="1761" y="1451"/>
                      <a:pt x="1808" y="1449"/>
                      <a:pt x="1851" y="1426"/>
                    </a:cubicBezTo>
                    <a:cubicBezTo>
                      <a:pt x="1879" y="1412"/>
                      <a:pt x="1891" y="1398"/>
                      <a:pt x="1891" y="1390"/>
                    </a:cubicBezTo>
                    <a:cubicBezTo>
                      <a:pt x="1891" y="1385"/>
                      <a:pt x="1888" y="1381"/>
                      <a:pt x="1879" y="1376"/>
                    </a:cubicBezTo>
                    <a:close/>
                    <a:moveTo>
                      <a:pt x="716" y="1846"/>
                    </a:moveTo>
                    <a:cubicBezTo>
                      <a:pt x="817" y="1776"/>
                      <a:pt x="817" y="1776"/>
                      <a:pt x="817" y="1776"/>
                    </a:cubicBezTo>
                    <a:cubicBezTo>
                      <a:pt x="890" y="1844"/>
                      <a:pt x="890" y="1844"/>
                      <a:pt x="890" y="1844"/>
                    </a:cubicBezTo>
                    <a:cubicBezTo>
                      <a:pt x="966" y="1778"/>
                      <a:pt x="966" y="1778"/>
                      <a:pt x="966" y="1778"/>
                    </a:cubicBezTo>
                    <a:cubicBezTo>
                      <a:pt x="1029" y="1860"/>
                      <a:pt x="1029" y="1860"/>
                      <a:pt x="1029" y="1860"/>
                    </a:cubicBezTo>
                    <a:cubicBezTo>
                      <a:pt x="878" y="2003"/>
                      <a:pt x="878" y="2003"/>
                      <a:pt x="878" y="2003"/>
                    </a:cubicBezTo>
                    <a:lnTo>
                      <a:pt x="716" y="1846"/>
                    </a:lnTo>
                    <a:close/>
                    <a:moveTo>
                      <a:pt x="815" y="1794"/>
                    </a:moveTo>
                    <a:cubicBezTo>
                      <a:pt x="738" y="1848"/>
                      <a:pt x="738" y="1848"/>
                      <a:pt x="738" y="1848"/>
                    </a:cubicBezTo>
                    <a:cubicBezTo>
                      <a:pt x="878" y="1984"/>
                      <a:pt x="878" y="1984"/>
                      <a:pt x="878" y="1984"/>
                    </a:cubicBezTo>
                    <a:cubicBezTo>
                      <a:pt x="1010" y="1859"/>
                      <a:pt x="1010" y="1859"/>
                      <a:pt x="1010" y="1859"/>
                    </a:cubicBezTo>
                    <a:cubicBezTo>
                      <a:pt x="964" y="1799"/>
                      <a:pt x="964" y="1799"/>
                      <a:pt x="964" y="1799"/>
                    </a:cubicBezTo>
                    <a:cubicBezTo>
                      <a:pt x="899" y="1854"/>
                      <a:pt x="899" y="1854"/>
                      <a:pt x="899" y="1854"/>
                    </a:cubicBezTo>
                    <a:cubicBezTo>
                      <a:pt x="890" y="1862"/>
                      <a:pt x="890" y="1862"/>
                      <a:pt x="890" y="1862"/>
                    </a:cubicBezTo>
                    <a:cubicBezTo>
                      <a:pt x="881" y="1854"/>
                      <a:pt x="881" y="1854"/>
                      <a:pt x="881" y="1854"/>
                    </a:cubicBezTo>
                    <a:lnTo>
                      <a:pt x="815" y="1794"/>
                    </a:lnTo>
                    <a:close/>
                    <a:moveTo>
                      <a:pt x="2595" y="1023"/>
                    </a:moveTo>
                    <a:cubicBezTo>
                      <a:pt x="2621" y="1104"/>
                      <a:pt x="2621" y="1104"/>
                      <a:pt x="2621" y="1104"/>
                    </a:cubicBezTo>
                    <a:cubicBezTo>
                      <a:pt x="2443" y="1174"/>
                      <a:pt x="2443" y="1174"/>
                      <a:pt x="2443" y="1174"/>
                    </a:cubicBezTo>
                    <a:cubicBezTo>
                      <a:pt x="2310" y="912"/>
                      <a:pt x="2310" y="912"/>
                      <a:pt x="2310" y="912"/>
                    </a:cubicBezTo>
                    <a:cubicBezTo>
                      <a:pt x="2369" y="869"/>
                      <a:pt x="2369" y="869"/>
                      <a:pt x="2369" y="869"/>
                    </a:cubicBezTo>
                    <a:cubicBezTo>
                      <a:pt x="2511" y="1048"/>
                      <a:pt x="2511" y="1048"/>
                      <a:pt x="2511" y="1048"/>
                    </a:cubicBezTo>
                    <a:lnTo>
                      <a:pt x="2595" y="1023"/>
                    </a:lnTo>
                    <a:close/>
                    <a:moveTo>
                      <a:pt x="2603" y="1096"/>
                    </a:moveTo>
                    <a:cubicBezTo>
                      <a:pt x="2586" y="1040"/>
                      <a:pt x="2586" y="1040"/>
                      <a:pt x="2586" y="1040"/>
                    </a:cubicBezTo>
                    <a:cubicBezTo>
                      <a:pt x="2515" y="1061"/>
                      <a:pt x="2515" y="1061"/>
                      <a:pt x="2515" y="1061"/>
                    </a:cubicBezTo>
                    <a:cubicBezTo>
                      <a:pt x="2506" y="1064"/>
                      <a:pt x="2506" y="1064"/>
                      <a:pt x="2506" y="1064"/>
                    </a:cubicBezTo>
                    <a:cubicBezTo>
                      <a:pt x="2500" y="1056"/>
                      <a:pt x="2500" y="1056"/>
                      <a:pt x="2500" y="1056"/>
                    </a:cubicBezTo>
                    <a:cubicBezTo>
                      <a:pt x="2367" y="888"/>
                      <a:pt x="2367" y="888"/>
                      <a:pt x="2367" y="888"/>
                    </a:cubicBezTo>
                    <a:cubicBezTo>
                      <a:pt x="2328" y="917"/>
                      <a:pt x="2328" y="917"/>
                      <a:pt x="2328" y="917"/>
                    </a:cubicBezTo>
                    <a:cubicBezTo>
                      <a:pt x="2450" y="1156"/>
                      <a:pt x="2450" y="1156"/>
                      <a:pt x="2450" y="1156"/>
                    </a:cubicBezTo>
                    <a:lnTo>
                      <a:pt x="2603" y="1096"/>
                    </a:lnTo>
                    <a:close/>
                    <a:moveTo>
                      <a:pt x="1155" y="1491"/>
                    </a:moveTo>
                    <a:cubicBezTo>
                      <a:pt x="1295" y="1602"/>
                      <a:pt x="1295" y="1602"/>
                      <a:pt x="1295" y="1602"/>
                    </a:cubicBezTo>
                    <a:cubicBezTo>
                      <a:pt x="1241" y="1670"/>
                      <a:pt x="1241" y="1670"/>
                      <a:pt x="1241" y="1670"/>
                    </a:cubicBezTo>
                    <a:cubicBezTo>
                      <a:pt x="1103" y="1559"/>
                      <a:pt x="1103" y="1559"/>
                      <a:pt x="1103" y="1559"/>
                    </a:cubicBezTo>
                    <a:lnTo>
                      <a:pt x="1155" y="1491"/>
                    </a:lnTo>
                    <a:close/>
                    <a:moveTo>
                      <a:pt x="1157" y="1511"/>
                    </a:moveTo>
                    <a:cubicBezTo>
                      <a:pt x="1123" y="1556"/>
                      <a:pt x="1123" y="1556"/>
                      <a:pt x="1123" y="1556"/>
                    </a:cubicBezTo>
                    <a:cubicBezTo>
                      <a:pt x="1238" y="1650"/>
                      <a:pt x="1238" y="1650"/>
                      <a:pt x="1238" y="1650"/>
                    </a:cubicBezTo>
                    <a:cubicBezTo>
                      <a:pt x="1275" y="1604"/>
                      <a:pt x="1275" y="1604"/>
                      <a:pt x="1275" y="1604"/>
                    </a:cubicBezTo>
                    <a:lnTo>
                      <a:pt x="1157" y="1511"/>
                    </a:lnTo>
                    <a:close/>
                    <a:moveTo>
                      <a:pt x="1063" y="1960"/>
                    </a:moveTo>
                    <a:cubicBezTo>
                      <a:pt x="1479" y="1564"/>
                      <a:pt x="1479" y="1564"/>
                      <a:pt x="1479" y="1564"/>
                    </a:cubicBezTo>
                    <a:cubicBezTo>
                      <a:pt x="1542" y="1697"/>
                      <a:pt x="1542" y="1697"/>
                      <a:pt x="1542" y="1697"/>
                    </a:cubicBezTo>
                    <a:cubicBezTo>
                      <a:pt x="1052" y="2024"/>
                      <a:pt x="1052" y="2024"/>
                      <a:pt x="1052" y="2024"/>
                    </a:cubicBezTo>
                    <a:lnTo>
                      <a:pt x="1063" y="1960"/>
                    </a:lnTo>
                    <a:close/>
                    <a:moveTo>
                      <a:pt x="1071" y="1994"/>
                    </a:moveTo>
                    <a:cubicBezTo>
                      <a:pt x="1524" y="1692"/>
                      <a:pt x="1524" y="1692"/>
                      <a:pt x="1524" y="1692"/>
                    </a:cubicBezTo>
                    <a:cubicBezTo>
                      <a:pt x="1475" y="1588"/>
                      <a:pt x="1475" y="1588"/>
                      <a:pt x="1475" y="1588"/>
                    </a:cubicBezTo>
                    <a:cubicBezTo>
                      <a:pt x="1076" y="1967"/>
                      <a:pt x="1076" y="1967"/>
                      <a:pt x="1076" y="1967"/>
                    </a:cubicBezTo>
                    <a:lnTo>
                      <a:pt x="1071" y="1994"/>
                    </a:lnTo>
                    <a:close/>
                    <a:moveTo>
                      <a:pt x="7645" y="4923"/>
                    </a:moveTo>
                    <a:cubicBezTo>
                      <a:pt x="7447" y="4908"/>
                      <a:pt x="7447" y="4908"/>
                      <a:pt x="7447" y="4908"/>
                    </a:cubicBezTo>
                    <a:cubicBezTo>
                      <a:pt x="7448" y="4902"/>
                      <a:pt x="7448" y="4902"/>
                      <a:pt x="7448" y="4902"/>
                    </a:cubicBezTo>
                    <a:cubicBezTo>
                      <a:pt x="7453" y="4833"/>
                      <a:pt x="7453" y="4833"/>
                      <a:pt x="7453" y="4833"/>
                    </a:cubicBezTo>
                    <a:cubicBezTo>
                      <a:pt x="7529" y="4839"/>
                      <a:pt x="7529" y="4839"/>
                      <a:pt x="7529" y="4839"/>
                    </a:cubicBezTo>
                    <a:cubicBezTo>
                      <a:pt x="7535" y="4766"/>
                      <a:pt x="7535" y="4766"/>
                      <a:pt x="7535" y="4766"/>
                    </a:cubicBezTo>
                    <a:cubicBezTo>
                      <a:pt x="7676" y="4779"/>
                      <a:pt x="7676" y="4779"/>
                      <a:pt x="7676" y="4779"/>
                    </a:cubicBezTo>
                    <a:cubicBezTo>
                      <a:pt x="7667" y="4875"/>
                      <a:pt x="7667" y="4875"/>
                      <a:pt x="7667" y="4875"/>
                    </a:cubicBezTo>
                    <a:cubicBezTo>
                      <a:pt x="7649" y="4873"/>
                      <a:pt x="7649" y="4873"/>
                      <a:pt x="7649" y="4873"/>
                    </a:cubicBezTo>
                    <a:lnTo>
                      <a:pt x="7645" y="4923"/>
                    </a:lnTo>
                    <a:close/>
                    <a:moveTo>
                      <a:pt x="7637" y="4859"/>
                    </a:moveTo>
                    <a:cubicBezTo>
                      <a:pt x="7655" y="4861"/>
                      <a:pt x="7655" y="4861"/>
                      <a:pt x="7655" y="4861"/>
                    </a:cubicBezTo>
                    <a:cubicBezTo>
                      <a:pt x="7662" y="4790"/>
                      <a:pt x="7662" y="4790"/>
                      <a:pt x="7662" y="4790"/>
                    </a:cubicBezTo>
                    <a:cubicBezTo>
                      <a:pt x="7547" y="4781"/>
                      <a:pt x="7547" y="4781"/>
                      <a:pt x="7547" y="4781"/>
                    </a:cubicBezTo>
                    <a:cubicBezTo>
                      <a:pt x="7541" y="4853"/>
                      <a:pt x="7541" y="4853"/>
                      <a:pt x="7541" y="4853"/>
                    </a:cubicBezTo>
                    <a:cubicBezTo>
                      <a:pt x="7465" y="4847"/>
                      <a:pt x="7465" y="4847"/>
                      <a:pt x="7465" y="4847"/>
                    </a:cubicBezTo>
                    <a:cubicBezTo>
                      <a:pt x="7461" y="4896"/>
                      <a:pt x="7461" y="4896"/>
                      <a:pt x="7461" y="4896"/>
                    </a:cubicBezTo>
                    <a:cubicBezTo>
                      <a:pt x="7633" y="4909"/>
                      <a:pt x="7633" y="4909"/>
                      <a:pt x="7633" y="4909"/>
                    </a:cubicBezTo>
                    <a:lnTo>
                      <a:pt x="7637" y="4859"/>
                    </a:lnTo>
                    <a:close/>
                    <a:moveTo>
                      <a:pt x="5039" y="1260"/>
                    </a:moveTo>
                    <a:cubicBezTo>
                      <a:pt x="4941" y="1260"/>
                      <a:pt x="4941" y="1260"/>
                      <a:pt x="4941" y="1260"/>
                    </a:cubicBezTo>
                    <a:cubicBezTo>
                      <a:pt x="4942" y="1112"/>
                      <a:pt x="4942" y="1112"/>
                      <a:pt x="4942" y="1112"/>
                    </a:cubicBezTo>
                    <a:cubicBezTo>
                      <a:pt x="5047" y="1112"/>
                      <a:pt x="5047" y="1112"/>
                      <a:pt x="5047" y="1112"/>
                    </a:cubicBezTo>
                    <a:cubicBezTo>
                      <a:pt x="5046" y="1260"/>
                      <a:pt x="5046" y="1260"/>
                      <a:pt x="5046" y="1260"/>
                    </a:cubicBezTo>
                    <a:lnTo>
                      <a:pt x="5039" y="1260"/>
                    </a:lnTo>
                    <a:close/>
                    <a:moveTo>
                      <a:pt x="5034" y="1125"/>
                    </a:moveTo>
                    <a:cubicBezTo>
                      <a:pt x="4955" y="1125"/>
                      <a:pt x="4955" y="1125"/>
                      <a:pt x="4955" y="1125"/>
                    </a:cubicBezTo>
                    <a:cubicBezTo>
                      <a:pt x="4954" y="1247"/>
                      <a:pt x="4954" y="1247"/>
                      <a:pt x="4954" y="1247"/>
                    </a:cubicBezTo>
                    <a:cubicBezTo>
                      <a:pt x="5033" y="1247"/>
                      <a:pt x="5033" y="1247"/>
                      <a:pt x="5033" y="1247"/>
                    </a:cubicBezTo>
                    <a:lnTo>
                      <a:pt x="5034" y="1125"/>
                    </a:lnTo>
                    <a:close/>
                    <a:moveTo>
                      <a:pt x="2476" y="915"/>
                    </a:moveTo>
                    <a:cubicBezTo>
                      <a:pt x="2662" y="864"/>
                      <a:pt x="2662" y="864"/>
                      <a:pt x="2662" y="864"/>
                    </a:cubicBezTo>
                    <a:cubicBezTo>
                      <a:pt x="2927" y="1239"/>
                      <a:pt x="2927" y="1239"/>
                      <a:pt x="2927" y="1239"/>
                    </a:cubicBezTo>
                    <a:cubicBezTo>
                      <a:pt x="2928" y="1239"/>
                      <a:pt x="2711" y="1197"/>
                      <a:pt x="2711" y="1197"/>
                    </a:cubicBezTo>
                    <a:cubicBezTo>
                      <a:pt x="2630" y="975"/>
                      <a:pt x="2630" y="975"/>
                      <a:pt x="2630" y="975"/>
                    </a:cubicBezTo>
                    <a:cubicBezTo>
                      <a:pt x="2542" y="996"/>
                      <a:pt x="2542" y="996"/>
                      <a:pt x="2542" y="996"/>
                    </a:cubicBezTo>
                    <a:lnTo>
                      <a:pt x="2476" y="915"/>
                    </a:lnTo>
                    <a:close/>
                    <a:moveTo>
                      <a:pt x="2656" y="880"/>
                    </a:moveTo>
                    <a:cubicBezTo>
                      <a:pt x="2500" y="923"/>
                      <a:pt x="2500" y="923"/>
                      <a:pt x="2500" y="923"/>
                    </a:cubicBezTo>
                    <a:cubicBezTo>
                      <a:pt x="2547" y="981"/>
                      <a:pt x="2547" y="981"/>
                      <a:pt x="2547" y="981"/>
                    </a:cubicBezTo>
                    <a:cubicBezTo>
                      <a:pt x="2626" y="961"/>
                      <a:pt x="2626" y="961"/>
                      <a:pt x="2626" y="961"/>
                    </a:cubicBezTo>
                    <a:cubicBezTo>
                      <a:pt x="2639" y="958"/>
                      <a:pt x="2639" y="958"/>
                      <a:pt x="2639" y="958"/>
                    </a:cubicBezTo>
                    <a:cubicBezTo>
                      <a:pt x="2643" y="970"/>
                      <a:pt x="2643" y="970"/>
                      <a:pt x="2643" y="970"/>
                    </a:cubicBezTo>
                    <a:cubicBezTo>
                      <a:pt x="2721" y="1185"/>
                      <a:pt x="2721" y="1185"/>
                      <a:pt x="2721" y="1185"/>
                    </a:cubicBezTo>
                    <a:cubicBezTo>
                      <a:pt x="2815" y="1203"/>
                      <a:pt x="2867" y="1213"/>
                      <a:pt x="2895" y="1219"/>
                    </a:cubicBezTo>
                    <a:lnTo>
                      <a:pt x="2656" y="880"/>
                    </a:lnTo>
                    <a:close/>
                    <a:moveTo>
                      <a:pt x="5442" y="1129"/>
                    </a:moveTo>
                    <a:cubicBezTo>
                      <a:pt x="5591" y="1155"/>
                      <a:pt x="5591" y="1155"/>
                      <a:pt x="5591" y="1155"/>
                    </a:cubicBezTo>
                    <a:cubicBezTo>
                      <a:pt x="5579" y="1225"/>
                      <a:pt x="5579" y="1225"/>
                      <a:pt x="5579" y="1225"/>
                    </a:cubicBezTo>
                    <a:cubicBezTo>
                      <a:pt x="5572" y="1224"/>
                      <a:pt x="5572" y="1224"/>
                      <a:pt x="5572" y="1224"/>
                    </a:cubicBezTo>
                    <a:cubicBezTo>
                      <a:pt x="5430" y="1199"/>
                      <a:pt x="5430" y="1199"/>
                      <a:pt x="5430" y="1199"/>
                    </a:cubicBezTo>
                    <a:lnTo>
                      <a:pt x="5442" y="1129"/>
                    </a:lnTo>
                    <a:close/>
                    <a:moveTo>
                      <a:pt x="5445" y="1189"/>
                    </a:moveTo>
                    <a:cubicBezTo>
                      <a:pt x="5568" y="1210"/>
                      <a:pt x="5568" y="1210"/>
                      <a:pt x="5568" y="1210"/>
                    </a:cubicBezTo>
                    <a:cubicBezTo>
                      <a:pt x="5576" y="1165"/>
                      <a:pt x="5576" y="1165"/>
                      <a:pt x="5576" y="1165"/>
                    </a:cubicBezTo>
                    <a:cubicBezTo>
                      <a:pt x="5452" y="1143"/>
                      <a:pt x="5452" y="1143"/>
                      <a:pt x="5452" y="1143"/>
                    </a:cubicBezTo>
                    <a:lnTo>
                      <a:pt x="5445" y="1189"/>
                    </a:lnTo>
                    <a:close/>
                    <a:moveTo>
                      <a:pt x="2247" y="1071"/>
                    </a:moveTo>
                    <a:cubicBezTo>
                      <a:pt x="2270" y="1115"/>
                      <a:pt x="2270" y="1115"/>
                      <a:pt x="2270" y="1115"/>
                    </a:cubicBezTo>
                    <a:cubicBezTo>
                      <a:pt x="2294" y="1106"/>
                      <a:pt x="2294" y="1106"/>
                      <a:pt x="2294" y="1106"/>
                    </a:cubicBezTo>
                    <a:cubicBezTo>
                      <a:pt x="2347" y="1213"/>
                      <a:pt x="2347" y="1213"/>
                      <a:pt x="2347" y="1213"/>
                    </a:cubicBezTo>
                    <a:cubicBezTo>
                      <a:pt x="2072" y="1347"/>
                      <a:pt x="2072" y="1347"/>
                      <a:pt x="2072" y="1347"/>
                    </a:cubicBezTo>
                    <a:cubicBezTo>
                      <a:pt x="2019" y="1235"/>
                      <a:pt x="2019" y="1235"/>
                      <a:pt x="2019" y="1235"/>
                    </a:cubicBezTo>
                    <a:cubicBezTo>
                      <a:pt x="2136" y="1181"/>
                      <a:pt x="2136" y="1181"/>
                      <a:pt x="2136" y="1181"/>
                    </a:cubicBezTo>
                    <a:cubicBezTo>
                      <a:pt x="2129" y="1152"/>
                      <a:pt x="2129" y="1152"/>
                      <a:pt x="2129" y="1152"/>
                    </a:cubicBezTo>
                    <a:cubicBezTo>
                      <a:pt x="2143" y="1142"/>
                      <a:pt x="2143" y="1142"/>
                      <a:pt x="2143" y="1142"/>
                    </a:cubicBezTo>
                    <a:cubicBezTo>
                      <a:pt x="2117" y="1094"/>
                      <a:pt x="2117" y="1094"/>
                      <a:pt x="2117" y="1094"/>
                    </a:cubicBezTo>
                    <a:cubicBezTo>
                      <a:pt x="2147" y="1075"/>
                      <a:pt x="2147" y="1075"/>
                      <a:pt x="2147" y="1075"/>
                    </a:cubicBezTo>
                    <a:cubicBezTo>
                      <a:pt x="2163" y="1110"/>
                      <a:pt x="2163" y="1110"/>
                      <a:pt x="2163" y="1110"/>
                    </a:cubicBezTo>
                    <a:lnTo>
                      <a:pt x="2247" y="1071"/>
                    </a:lnTo>
                    <a:close/>
                    <a:moveTo>
                      <a:pt x="2258" y="1122"/>
                    </a:moveTo>
                    <a:cubicBezTo>
                      <a:pt x="2241" y="1089"/>
                      <a:pt x="2241" y="1089"/>
                      <a:pt x="2241" y="1089"/>
                    </a:cubicBezTo>
                    <a:cubicBezTo>
                      <a:pt x="2169" y="1123"/>
                      <a:pt x="2169" y="1123"/>
                      <a:pt x="2169" y="1123"/>
                    </a:cubicBezTo>
                    <a:cubicBezTo>
                      <a:pt x="2157" y="1129"/>
                      <a:pt x="2157" y="1129"/>
                      <a:pt x="2157" y="1129"/>
                    </a:cubicBezTo>
                    <a:cubicBezTo>
                      <a:pt x="2151" y="1116"/>
                      <a:pt x="2151" y="1116"/>
                      <a:pt x="2151" y="1116"/>
                    </a:cubicBezTo>
                    <a:cubicBezTo>
                      <a:pt x="2141" y="1095"/>
                      <a:pt x="2141" y="1095"/>
                      <a:pt x="2141" y="1095"/>
                    </a:cubicBezTo>
                    <a:cubicBezTo>
                      <a:pt x="2136" y="1099"/>
                      <a:pt x="2136" y="1099"/>
                      <a:pt x="2136" y="1099"/>
                    </a:cubicBezTo>
                    <a:cubicBezTo>
                      <a:pt x="2155" y="1135"/>
                      <a:pt x="2155" y="1135"/>
                      <a:pt x="2155" y="1135"/>
                    </a:cubicBezTo>
                    <a:cubicBezTo>
                      <a:pt x="2161" y="1146"/>
                      <a:pt x="2161" y="1146"/>
                      <a:pt x="2161" y="1146"/>
                    </a:cubicBezTo>
                    <a:cubicBezTo>
                      <a:pt x="2151" y="1153"/>
                      <a:pt x="2151" y="1153"/>
                      <a:pt x="2151" y="1153"/>
                    </a:cubicBezTo>
                    <a:cubicBezTo>
                      <a:pt x="2144" y="1158"/>
                      <a:pt x="2144" y="1158"/>
                      <a:pt x="2144" y="1158"/>
                    </a:cubicBezTo>
                    <a:cubicBezTo>
                      <a:pt x="2149" y="1178"/>
                      <a:pt x="2149" y="1178"/>
                      <a:pt x="2149" y="1178"/>
                    </a:cubicBezTo>
                    <a:cubicBezTo>
                      <a:pt x="2152" y="1189"/>
                      <a:pt x="2152" y="1189"/>
                      <a:pt x="2152" y="1189"/>
                    </a:cubicBezTo>
                    <a:cubicBezTo>
                      <a:pt x="2142" y="1194"/>
                      <a:pt x="2142" y="1194"/>
                      <a:pt x="2142" y="1194"/>
                    </a:cubicBezTo>
                    <a:cubicBezTo>
                      <a:pt x="2038" y="1242"/>
                      <a:pt x="2038" y="1242"/>
                      <a:pt x="2038" y="1242"/>
                    </a:cubicBezTo>
                    <a:cubicBezTo>
                      <a:pt x="2079" y="1328"/>
                      <a:pt x="2079" y="1328"/>
                      <a:pt x="2079" y="1328"/>
                    </a:cubicBezTo>
                    <a:cubicBezTo>
                      <a:pt x="2328" y="1206"/>
                      <a:pt x="2328" y="1206"/>
                      <a:pt x="2328" y="1206"/>
                    </a:cubicBezTo>
                    <a:cubicBezTo>
                      <a:pt x="2287" y="1124"/>
                      <a:pt x="2287" y="1124"/>
                      <a:pt x="2287" y="1124"/>
                    </a:cubicBezTo>
                    <a:cubicBezTo>
                      <a:pt x="2275" y="1128"/>
                      <a:pt x="2275" y="1128"/>
                      <a:pt x="2275" y="1128"/>
                    </a:cubicBezTo>
                    <a:cubicBezTo>
                      <a:pt x="2263" y="1133"/>
                      <a:pt x="2263" y="1133"/>
                      <a:pt x="2263" y="1133"/>
                    </a:cubicBezTo>
                    <a:lnTo>
                      <a:pt x="2258" y="1122"/>
                    </a:lnTo>
                    <a:close/>
                    <a:moveTo>
                      <a:pt x="1147" y="1434"/>
                    </a:moveTo>
                    <a:cubicBezTo>
                      <a:pt x="1092" y="1502"/>
                      <a:pt x="1092" y="1502"/>
                      <a:pt x="1092" y="1502"/>
                    </a:cubicBezTo>
                    <a:cubicBezTo>
                      <a:pt x="955" y="1391"/>
                      <a:pt x="955" y="1391"/>
                      <a:pt x="955" y="1391"/>
                    </a:cubicBezTo>
                    <a:cubicBezTo>
                      <a:pt x="1007" y="1324"/>
                      <a:pt x="1007" y="1324"/>
                      <a:pt x="1007" y="1324"/>
                    </a:cubicBezTo>
                    <a:lnTo>
                      <a:pt x="1147" y="1434"/>
                    </a:lnTo>
                    <a:close/>
                    <a:moveTo>
                      <a:pt x="1127" y="1436"/>
                    </a:moveTo>
                    <a:cubicBezTo>
                      <a:pt x="1009" y="1343"/>
                      <a:pt x="1009" y="1343"/>
                      <a:pt x="1009" y="1343"/>
                    </a:cubicBezTo>
                    <a:cubicBezTo>
                      <a:pt x="975" y="1388"/>
                      <a:pt x="975" y="1388"/>
                      <a:pt x="975" y="1388"/>
                    </a:cubicBezTo>
                    <a:cubicBezTo>
                      <a:pt x="1090" y="1482"/>
                      <a:pt x="1090" y="1482"/>
                      <a:pt x="1090" y="1482"/>
                    </a:cubicBezTo>
                    <a:lnTo>
                      <a:pt x="1127" y="1436"/>
                    </a:lnTo>
                    <a:close/>
                    <a:moveTo>
                      <a:pt x="5348" y="1432"/>
                    </a:moveTo>
                    <a:cubicBezTo>
                      <a:pt x="5392" y="1577"/>
                      <a:pt x="5392" y="1577"/>
                      <a:pt x="5392" y="1577"/>
                    </a:cubicBezTo>
                    <a:cubicBezTo>
                      <a:pt x="5324" y="1598"/>
                      <a:pt x="5324" y="1598"/>
                      <a:pt x="5324" y="1598"/>
                    </a:cubicBezTo>
                    <a:cubicBezTo>
                      <a:pt x="5322" y="1592"/>
                      <a:pt x="5322" y="1592"/>
                      <a:pt x="5322" y="1592"/>
                    </a:cubicBezTo>
                    <a:cubicBezTo>
                      <a:pt x="5280" y="1453"/>
                      <a:pt x="5280" y="1453"/>
                      <a:pt x="5280" y="1453"/>
                    </a:cubicBezTo>
                    <a:lnTo>
                      <a:pt x="5348" y="1432"/>
                    </a:lnTo>
                    <a:close/>
                    <a:moveTo>
                      <a:pt x="5376" y="1569"/>
                    </a:moveTo>
                    <a:cubicBezTo>
                      <a:pt x="5340" y="1448"/>
                      <a:pt x="5340" y="1448"/>
                      <a:pt x="5340" y="1448"/>
                    </a:cubicBezTo>
                    <a:cubicBezTo>
                      <a:pt x="5296" y="1462"/>
                      <a:pt x="5296" y="1462"/>
                      <a:pt x="5296" y="1462"/>
                    </a:cubicBezTo>
                    <a:cubicBezTo>
                      <a:pt x="5332" y="1582"/>
                      <a:pt x="5332" y="1582"/>
                      <a:pt x="5332" y="1582"/>
                    </a:cubicBezTo>
                    <a:lnTo>
                      <a:pt x="5376" y="1569"/>
                    </a:lnTo>
                    <a:close/>
                    <a:moveTo>
                      <a:pt x="7727" y="4149"/>
                    </a:moveTo>
                    <a:cubicBezTo>
                      <a:pt x="7713" y="4202"/>
                      <a:pt x="7713" y="4202"/>
                      <a:pt x="7713" y="4202"/>
                    </a:cubicBezTo>
                    <a:cubicBezTo>
                      <a:pt x="7720" y="4204"/>
                      <a:pt x="7720" y="4204"/>
                      <a:pt x="7720" y="4204"/>
                    </a:cubicBezTo>
                    <a:cubicBezTo>
                      <a:pt x="7726" y="4206"/>
                      <a:pt x="7726" y="4206"/>
                      <a:pt x="7726" y="4206"/>
                    </a:cubicBezTo>
                    <a:cubicBezTo>
                      <a:pt x="7701" y="4302"/>
                      <a:pt x="7701" y="4302"/>
                      <a:pt x="7701" y="4302"/>
                    </a:cubicBezTo>
                    <a:cubicBezTo>
                      <a:pt x="7695" y="4300"/>
                      <a:pt x="7695" y="4300"/>
                      <a:pt x="7695" y="4300"/>
                    </a:cubicBezTo>
                    <a:cubicBezTo>
                      <a:pt x="7596" y="4275"/>
                      <a:pt x="7596" y="4275"/>
                      <a:pt x="7596" y="4275"/>
                    </a:cubicBezTo>
                    <a:cubicBezTo>
                      <a:pt x="7573" y="4363"/>
                      <a:pt x="7573" y="4363"/>
                      <a:pt x="7573" y="4363"/>
                    </a:cubicBezTo>
                    <a:cubicBezTo>
                      <a:pt x="7429" y="4326"/>
                      <a:pt x="7429" y="4326"/>
                      <a:pt x="7429" y="4326"/>
                    </a:cubicBezTo>
                    <a:cubicBezTo>
                      <a:pt x="7448" y="4252"/>
                      <a:pt x="7448" y="4252"/>
                      <a:pt x="7448" y="4252"/>
                    </a:cubicBezTo>
                    <a:cubicBezTo>
                      <a:pt x="7380" y="4235"/>
                      <a:pt x="7380" y="4235"/>
                      <a:pt x="7380" y="4235"/>
                    </a:cubicBezTo>
                    <a:cubicBezTo>
                      <a:pt x="7399" y="4161"/>
                      <a:pt x="7399" y="4161"/>
                      <a:pt x="7399" y="4161"/>
                    </a:cubicBezTo>
                    <a:cubicBezTo>
                      <a:pt x="7583" y="4209"/>
                      <a:pt x="7583" y="4209"/>
                      <a:pt x="7583" y="4209"/>
                    </a:cubicBezTo>
                    <a:cubicBezTo>
                      <a:pt x="7587" y="4194"/>
                      <a:pt x="7587" y="4194"/>
                      <a:pt x="7587" y="4194"/>
                    </a:cubicBezTo>
                    <a:cubicBezTo>
                      <a:pt x="7503" y="4172"/>
                      <a:pt x="7503" y="4172"/>
                      <a:pt x="7503" y="4172"/>
                    </a:cubicBezTo>
                    <a:cubicBezTo>
                      <a:pt x="7523" y="4096"/>
                      <a:pt x="7523" y="4096"/>
                      <a:pt x="7523" y="4096"/>
                    </a:cubicBezTo>
                    <a:lnTo>
                      <a:pt x="7727" y="4149"/>
                    </a:lnTo>
                    <a:close/>
                    <a:moveTo>
                      <a:pt x="7697" y="4212"/>
                    </a:moveTo>
                    <a:cubicBezTo>
                      <a:pt x="7711" y="4159"/>
                      <a:pt x="7711" y="4159"/>
                      <a:pt x="7711" y="4159"/>
                    </a:cubicBezTo>
                    <a:cubicBezTo>
                      <a:pt x="7532" y="4112"/>
                      <a:pt x="7532" y="4112"/>
                      <a:pt x="7532" y="4112"/>
                    </a:cubicBezTo>
                    <a:cubicBezTo>
                      <a:pt x="7519" y="4163"/>
                      <a:pt x="7519" y="4163"/>
                      <a:pt x="7519" y="4163"/>
                    </a:cubicBezTo>
                    <a:cubicBezTo>
                      <a:pt x="7603" y="4184"/>
                      <a:pt x="7603" y="4184"/>
                      <a:pt x="7603" y="4184"/>
                    </a:cubicBezTo>
                    <a:cubicBezTo>
                      <a:pt x="7592" y="4225"/>
                      <a:pt x="7592" y="4225"/>
                      <a:pt x="7592" y="4225"/>
                    </a:cubicBezTo>
                    <a:cubicBezTo>
                      <a:pt x="7409" y="4177"/>
                      <a:pt x="7409" y="4177"/>
                      <a:pt x="7409" y="4177"/>
                    </a:cubicBezTo>
                    <a:cubicBezTo>
                      <a:pt x="7396" y="4225"/>
                      <a:pt x="7396" y="4225"/>
                      <a:pt x="7396" y="4225"/>
                    </a:cubicBezTo>
                    <a:cubicBezTo>
                      <a:pt x="7465" y="4243"/>
                      <a:pt x="7465" y="4243"/>
                      <a:pt x="7465" y="4243"/>
                    </a:cubicBezTo>
                    <a:cubicBezTo>
                      <a:pt x="7446" y="4316"/>
                      <a:pt x="7446" y="4316"/>
                      <a:pt x="7446" y="4316"/>
                    </a:cubicBezTo>
                    <a:cubicBezTo>
                      <a:pt x="7564" y="4347"/>
                      <a:pt x="7564" y="4347"/>
                      <a:pt x="7564" y="4347"/>
                    </a:cubicBezTo>
                    <a:cubicBezTo>
                      <a:pt x="7587" y="4258"/>
                      <a:pt x="7587" y="4258"/>
                      <a:pt x="7587" y="4258"/>
                    </a:cubicBezTo>
                    <a:cubicBezTo>
                      <a:pt x="7692" y="4286"/>
                      <a:pt x="7692" y="4286"/>
                      <a:pt x="7692" y="4286"/>
                    </a:cubicBezTo>
                    <a:cubicBezTo>
                      <a:pt x="7710" y="4215"/>
                      <a:pt x="7710" y="4215"/>
                      <a:pt x="7710" y="4215"/>
                    </a:cubicBezTo>
                    <a:cubicBezTo>
                      <a:pt x="7703" y="4214"/>
                      <a:pt x="7703" y="4214"/>
                      <a:pt x="7703" y="4214"/>
                    </a:cubicBezTo>
                    <a:lnTo>
                      <a:pt x="7697" y="4212"/>
                    </a:lnTo>
                    <a:close/>
                    <a:moveTo>
                      <a:pt x="5229" y="1122"/>
                    </a:moveTo>
                    <a:cubicBezTo>
                      <a:pt x="5333" y="1123"/>
                      <a:pt x="5333" y="1123"/>
                      <a:pt x="5333" y="1123"/>
                    </a:cubicBezTo>
                    <a:cubicBezTo>
                      <a:pt x="5332" y="1271"/>
                      <a:pt x="5332" y="1271"/>
                      <a:pt x="5332" y="1271"/>
                    </a:cubicBezTo>
                    <a:cubicBezTo>
                      <a:pt x="5325" y="1271"/>
                      <a:pt x="5325" y="1271"/>
                      <a:pt x="5325" y="1271"/>
                    </a:cubicBezTo>
                    <a:cubicBezTo>
                      <a:pt x="5227" y="1270"/>
                      <a:pt x="5227" y="1270"/>
                      <a:pt x="5227" y="1270"/>
                    </a:cubicBezTo>
                    <a:lnTo>
                      <a:pt x="5229" y="1122"/>
                    </a:lnTo>
                    <a:close/>
                    <a:moveTo>
                      <a:pt x="5240" y="1257"/>
                    </a:moveTo>
                    <a:cubicBezTo>
                      <a:pt x="5319" y="1258"/>
                      <a:pt x="5319" y="1258"/>
                      <a:pt x="5319" y="1258"/>
                    </a:cubicBezTo>
                    <a:cubicBezTo>
                      <a:pt x="5320" y="1136"/>
                      <a:pt x="5320" y="1136"/>
                      <a:pt x="5320" y="1136"/>
                    </a:cubicBezTo>
                    <a:cubicBezTo>
                      <a:pt x="5241" y="1135"/>
                      <a:pt x="5241" y="1135"/>
                      <a:pt x="5241" y="1135"/>
                    </a:cubicBezTo>
                    <a:lnTo>
                      <a:pt x="5240" y="1257"/>
                    </a:lnTo>
                    <a:close/>
                    <a:moveTo>
                      <a:pt x="4400" y="1456"/>
                    </a:moveTo>
                    <a:cubicBezTo>
                      <a:pt x="4417" y="1516"/>
                      <a:pt x="4417" y="1516"/>
                      <a:pt x="4417" y="1516"/>
                    </a:cubicBezTo>
                    <a:cubicBezTo>
                      <a:pt x="4093" y="1720"/>
                      <a:pt x="4093" y="1720"/>
                      <a:pt x="4093" y="1720"/>
                    </a:cubicBezTo>
                    <a:cubicBezTo>
                      <a:pt x="4015" y="1557"/>
                      <a:pt x="4015" y="1557"/>
                      <a:pt x="4015" y="1557"/>
                    </a:cubicBezTo>
                    <a:cubicBezTo>
                      <a:pt x="4072" y="1525"/>
                      <a:pt x="4072" y="1525"/>
                      <a:pt x="4072" y="1525"/>
                    </a:cubicBezTo>
                    <a:cubicBezTo>
                      <a:pt x="4063" y="1505"/>
                      <a:pt x="4063" y="1505"/>
                      <a:pt x="4063" y="1505"/>
                    </a:cubicBezTo>
                    <a:cubicBezTo>
                      <a:pt x="3981" y="1485"/>
                      <a:pt x="3981" y="1485"/>
                      <a:pt x="3981" y="1485"/>
                    </a:cubicBezTo>
                    <a:cubicBezTo>
                      <a:pt x="3889" y="1262"/>
                      <a:pt x="3889" y="1262"/>
                      <a:pt x="3889" y="1262"/>
                    </a:cubicBezTo>
                    <a:cubicBezTo>
                      <a:pt x="4018" y="1212"/>
                      <a:pt x="4018" y="1212"/>
                      <a:pt x="4018" y="1212"/>
                    </a:cubicBezTo>
                    <a:cubicBezTo>
                      <a:pt x="4123" y="1240"/>
                      <a:pt x="4123" y="1240"/>
                      <a:pt x="4123" y="1240"/>
                    </a:cubicBezTo>
                    <a:cubicBezTo>
                      <a:pt x="4154" y="1232"/>
                      <a:pt x="4154" y="1232"/>
                      <a:pt x="4154" y="1232"/>
                    </a:cubicBezTo>
                    <a:cubicBezTo>
                      <a:pt x="4137" y="1178"/>
                      <a:pt x="4137" y="1178"/>
                      <a:pt x="4137" y="1178"/>
                    </a:cubicBezTo>
                    <a:cubicBezTo>
                      <a:pt x="4313" y="1139"/>
                      <a:pt x="4313" y="1139"/>
                      <a:pt x="4313" y="1139"/>
                    </a:cubicBezTo>
                    <a:cubicBezTo>
                      <a:pt x="4314" y="1147"/>
                      <a:pt x="4314" y="1147"/>
                      <a:pt x="4314" y="1147"/>
                    </a:cubicBezTo>
                    <a:cubicBezTo>
                      <a:pt x="4336" y="1258"/>
                      <a:pt x="4336" y="1258"/>
                      <a:pt x="4336" y="1258"/>
                    </a:cubicBezTo>
                    <a:cubicBezTo>
                      <a:pt x="4357" y="1457"/>
                      <a:pt x="4357" y="1457"/>
                      <a:pt x="4357" y="1457"/>
                    </a:cubicBezTo>
                    <a:lnTo>
                      <a:pt x="4400" y="1456"/>
                    </a:lnTo>
                    <a:close/>
                    <a:moveTo>
                      <a:pt x="4400" y="1509"/>
                    </a:moveTo>
                    <a:cubicBezTo>
                      <a:pt x="4389" y="1471"/>
                      <a:pt x="4389" y="1471"/>
                      <a:pt x="4389" y="1471"/>
                    </a:cubicBezTo>
                    <a:cubicBezTo>
                      <a:pt x="4344" y="1472"/>
                      <a:pt x="4344" y="1472"/>
                      <a:pt x="4344" y="1472"/>
                    </a:cubicBezTo>
                    <a:cubicBezTo>
                      <a:pt x="4321" y="1261"/>
                      <a:pt x="4321" y="1261"/>
                      <a:pt x="4321" y="1261"/>
                    </a:cubicBezTo>
                    <a:cubicBezTo>
                      <a:pt x="4301" y="1157"/>
                      <a:pt x="4301" y="1157"/>
                      <a:pt x="4301" y="1157"/>
                    </a:cubicBezTo>
                    <a:cubicBezTo>
                      <a:pt x="4156" y="1189"/>
                      <a:pt x="4156" y="1189"/>
                      <a:pt x="4156" y="1189"/>
                    </a:cubicBezTo>
                    <a:cubicBezTo>
                      <a:pt x="4172" y="1242"/>
                      <a:pt x="4172" y="1242"/>
                      <a:pt x="4172" y="1242"/>
                    </a:cubicBezTo>
                    <a:cubicBezTo>
                      <a:pt x="4123" y="1255"/>
                      <a:pt x="4123" y="1255"/>
                      <a:pt x="4123" y="1255"/>
                    </a:cubicBezTo>
                    <a:cubicBezTo>
                      <a:pt x="4018" y="1228"/>
                      <a:pt x="4018" y="1228"/>
                      <a:pt x="4018" y="1228"/>
                    </a:cubicBezTo>
                    <a:cubicBezTo>
                      <a:pt x="3908" y="1270"/>
                      <a:pt x="3908" y="1270"/>
                      <a:pt x="3908" y="1270"/>
                    </a:cubicBezTo>
                    <a:cubicBezTo>
                      <a:pt x="3991" y="1472"/>
                      <a:pt x="3991" y="1472"/>
                      <a:pt x="3991" y="1472"/>
                    </a:cubicBezTo>
                    <a:cubicBezTo>
                      <a:pt x="4074" y="1492"/>
                      <a:pt x="4074" y="1492"/>
                      <a:pt x="4074" y="1492"/>
                    </a:cubicBezTo>
                    <a:cubicBezTo>
                      <a:pt x="4091" y="1531"/>
                      <a:pt x="4091" y="1531"/>
                      <a:pt x="4091" y="1531"/>
                    </a:cubicBezTo>
                    <a:cubicBezTo>
                      <a:pt x="4035" y="1563"/>
                      <a:pt x="4035" y="1563"/>
                      <a:pt x="4035" y="1563"/>
                    </a:cubicBezTo>
                    <a:cubicBezTo>
                      <a:pt x="4099" y="1699"/>
                      <a:pt x="4099" y="1699"/>
                      <a:pt x="4099" y="1699"/>
                    </a:cubicBezTo>
                    <a:lnTo>
                      <a:pt x="4400" y="1509"/>
                    </a:lnTo>
                    <a:close/>
                    <a:moveTo>
                      <a:pt x="6473" y="9029"/>
                    </a:moveTo>
                    <a:cubicBezTo>
                      <a:pt x="6473" y="9104"/>
                      <a:pt x="6473" y="9104"/>
                      <a:pt x="6473" y="9104"/>
                    </a:cubicBezTo>
                    <a:cubicBezTo>
                      <a:pt x="6322" y="9105"/>
                      <a:pt x="6322" y="9105"/>
                      <a:pt x="6322" y="9105"/>
                    </a:cubicBezTo>
                    <a:cubicBezTo>
                      <a:pt x="6321" y="9030"/>
                      <a:pt x="6321" y="9030"/>
                      <a:pt x="6321" y="9030"/>
                    </a:cubicBezTo>
                    <a:cubicBezTo>
                      <a:pt x="6328" y="9030"/>
                      <a:pt x="6328" y="9030"/>
                      <a:pt x="6328" y="9030"/>
                    </a:cubicBezTo>
                    <a:lnTo>
                      <a:pt x="6473" y="9029"/>
                    </a:lnTo>
                    <a:close/>
                    <a:moveTo>
                      <a:pt x="6460" y="9091"/>
                    </a:moveTo>
                    <a:cubicBezTo>
                      <a:pt x="6460" y="9042"/>
                      <a:pt x="6460" y="9042"/>
                      <a:pt x="6460" y="9042"/>
                    </a:cubicBezTo>
                    <a:cubicBezTo>
                      <a:pt x="6335" y="9043"/>
                      <a:pt x="6335" y="9043"/>
                      <a:pt x="6335" y="9043"/>
                    </a:cubicBezTo>
                    <a:cubicBezTo>
                      <a:pt x="6335" y="9092"/>
                      <a:pt x="6335" y="9092"/>
                      <a:pt x="6335" y="9092"/>
                    </a:cubicBezTo>
                    <a:lnTo>
                      <a:pt x="6460" y="9091"/>
                    </a:lnTo>
                    <a:close/>
                    <a:moveTo>
                      <a:pt x="8428" y="720"/>
                    </a:moveTo>
                    <a:cubicBezTo>
                      <a:pt x="8325" y="608"/>
                      <a:pt x="8325" y="608"/>
                      <a:pt x="8325" y="608"/>
                    </a:cubicBezTo>
                    <a:cubicBezTo>
                      <a:pt x="8380" y="557"/>
                      <a:pt x="8380" y="557"/>
                      <a:pt x="8380" y="557"/>
                    </a:cubicBezTo>
                    <a:cubicBezTo>
                      <a:pt x="8385" y="562"/>
                      <a:pt x="8385" y="562"/>
                      <a:pt x="8385" y="562"/>
                    </a:cubicBezTo>
                    <a:cubicBezTo>
                      <a:pt x="8483" y="668"/>
                      <a:pt x="8483" y="668"/>
                      <a:pt x="8483" y="668"/>
                    </a:cubicBezTo>
                    <a:lnTo>
                      <a:pt x="8428" y="720"/>
                    </a:lnTo>
                    <a:close/>
                    <a:moveTo>
                      <a:pt x="8343" y="609"/>
                    </a:moveTo>
                    <a:cubicBezTo>
                      <a:pt x="8428" y="701"/>
                      <a:pt x="8428" y="701"/>
                      <a:pt x="8428" y="701"/>
                    </a:cubicBezTo>
                    <a:cubicBezTo>
                      <a:pt x="8465" y="667"/>
                      <a:pt x="8465" y="667"/>
                      <a:pt x="8465" y="667"/>
                    </a:cubicBezTo>
                    <a:cubicBezTo>
                      <a:pt x="8380" y="575"/>
                      <a:pt x="8380" y="575"/>
                      <a:pt x="8380" y="575"/>
                    </a:cubicBezTo>
                    <a:lnTo>
                      <a:pt x="8343" y="609"/>
                    </a:lnTo>
                    <a:close/>
                    <a:moveTo>
                      <a:pt x="4509" y="1260"/>
                    </a:moveTo>
                    <a:cubicBezTo>
                      <a:pt x="4412" y="1270"/>
                      <a:pt x="4412" y="1270"/>
                      <a:pt x="4412" y="1270"/>
                    </a:cubicBezTo>
                    <a:cubicBezTo>
                      <a:pt x="4398" y="1122"/>
                      <a:pt x="4398" y="1122"/>
                      <a:pt x="4398" y="1122"/>
                    </a:cubicBezTo>
                    <a:cubicBezTo>
                      <a:pt x="4502" y="1113"/>
                      <a:pt x="4502" y="1113"/>
                      <a:pt x="4502" y="1113"/>
                    </a:cubicBezTo>
                    <a:cubicBezTo>
                      <a:pt x="4516" y="1260"/>
                      <a:pt x="4516" y="1260"/>
                      <a:pt x="4516" y="1260"/>
                    </a:cubicBezTo>
                    <a:lnTo>
                      <a:pt x="4509" y="1260"/>
                    </a:lnTo>
                    <a:close/>
                    <a:moveTo>
                      <a:pt x="4502" y="1248"/>
                    </a:moveTo>
                    <a:cubicBezTo>
                      <a:pt x="4490" y="1127"/>
                      <a:pt x="4490" y="1127"/>
                      <a:pt x="4490" y="1127"/>
                    </a:cubicBezTo>
                    <a:cubicBezTo>
                      <a:pt x="4412" y="1134"/>
                      <a:pt x="4412" y="1134"/>
                      <a:pt x="4412" y="1134"/>
                    </a:cubicBezTo>
                    <a:cubicBezTo>
                      <a:pt x="4423" y="1256"/>
                      <a:pt x="4423" y="1256"/>
                      <a:pt x="4423" y="1256"/>
                    </a:cubicBezTo>
                    <a:lnTo>
                      <a:pt x="4502" y="1248"/>
                    </a:lnTo>
                    <a:close/>
                    <a:moveTo>
                      <a:pt x="6468" y="9247"/>
                    </a:moveTo>
                    <a:cubicBezTo>
                      <a:pt x="6468" y="9322"/>
                      <a:pt x="6468" y="9322"/>
                      <a:pt x="6468" y="9322"/>
                    </a:cubicBezTo>
                    <a:cubicBezTo>
                      <a:pt x="6317" y="9324"/>
                      <a:pt x="6317" y="9324"/>
                      <a:pt x="6317" y="9324"/>
                    </a:cubicBezTo>
                    <a:cubicBezTo>
                      <a:pt x="6316" y="9248"/>
                      <a:pt x="6316" y="9248"/>
                      <a:pt x="6316" y="9248"/>
                    </a:cubicBezTo>
                    <a:cubicBezTo>
                      <a:pt x="6323" y="9248"/>
                      <a:pt x="6323" y="9248"/>
                      <a:pt x="6323" y="9248"/>
                    </a:cubicBezTo>
                    <a:lnTo>
                      <a:pt x="6468" y="9247"/>
                    </a:lnTo>
                    <a:close/>
                    <a:moveTo>
                      <a:pt x="6455" y="9310"/>
                    </a:moveTo>
                    <a:cubicBezTo>
                      <a:pt x="6455" y="9260"/>
                      <a:pt x="6455" y="9260"/>
                      <a:pt x="6455" y="9260"/>
                    </a:cubicBezTo>
                    <a:cubicBezTo>
                      <a:pt x="6329" y="9261"/>
                      <a:pt x="6329" y="9261"/>
                      <a:pt x="6329" y="9261"/>
                    </a:cubicBezTo>
                    <a:cubicBezTo>
                      <a:pt x="6330" y="9310"/>
                      <a:pt x="6330" y="9310"/>
                      <a:pt x="6330" y="9310"/>
                    </a:cubicBezTo>
                    <a:lnTo>
                      <a:pt x="6455" y="9310"/>
                    </a:lnTo>
                    <a:close/>
                    <a:moveTo>
                      <a:pt x="6224" y="8642"/>
                    </a:moveTo>
                    <a:cubicBezTo>
                      <a:pt x="6223" y="8490"/>
                      <a:pt x="6223" y="8490"/>
                      <a:pt x="6223" y="8490"/>
                    </a:cubicBezTo>
                    <a:cubicBezTo>
                      <a:pt x="6294" y="8490"/>
                      <a:pt x="6294" y="8490"/>
                      <a:pt x="6294" y="8490"/>
                    </a:cubicBezTo>
                    <a:cubicBezTo>
                      <a:pt x="6294" y="8496"/>
                      <a:pt x="6294" y="8496"/>
                      <a:pt x="6294" y="8496"/>
                    </a:cubicBezTo>
                    <a:cubicBezTo>
                      <a:pt x="6295" y="8641"/>
                      <a:pt x="6295" y="8641"/>
                      <a:pt x="6295" y="8641"/>
                    </a:cubicBezTo>
                    <a:lnTo>
                      <a:pt x="6224" y="8642"/>
                    </a:lnTo>
                    <a:close/>
                    <a:moveTo>
                      <a:pt x="6237" y="8503"/>
                    </a:moveTo>
                    <a:cubicBezTo>
                      <a:pt x="6237" y="8629"/>
                      <a:pt x="6237" y="8629"/>
                      <a:pt x="6237" y="8629"/>
                    </a:cubicBezTo>
                    <a:cubicBezTo>
                      <a:pt x="6282" y="8628"/>
                      <a:pt x="6282" y="8628"/>
                      <a:pt x="6282" y="8628"/>
                    </a:cubicBezTo>
                    <a:cubicBezTo>
                      <a:pt x="6281" y="8503"/>
                      <a:pt x="6281" y="8503"/>
                      <a:pt x="6281" y="8503"/>
                    </a:cubicBezTo>
                    <a:lnTo>
                      <a:pt x="6237" y="8503"/>
                    </a:lnTo>
                    <a:close/>
                    <a:moveTo>
                      <a:pt x="7458" y="5255"/>
                    </a:moveTo>
                    <a:cubicBezTo>
                      <a:pt x="7260" y="5240"/>
                      <a:pt x="7260" y="5240"/>
                      <a:pt x="7260" y="5240"/>
                    </a:cubicBezTo>
                    <a:cubicBezTo>
                      <a:pt x="7261" y="5234"/>
                      <a:pt x="7261" y="5234"/>
                      <a:pt x="7261" y="5234"/>
                    </a:cubicBezTo>
                    <a:cubicBezTo>
                      <a:pt x="7267" y="5165"/>
                      <a:pt x="7267" y="5165"/>
                      <a:pt x="7267" y="5165"/>
                    </a:cubicBezTo>
                    <a:cubicBezTo>
                      <a:pt x="7342" y="5171"/>
                      <a:pt x="7342" y="5171"/>
                      <a:pt x="7342" y="5171"/>
                    </a:cubicBezTo>
                    <a:cubicBezTo>
                      <a:pt x="7349" y="5098"/>
                      <a:pt x="7349" y="5098"/>
                      <a:pt x="7349" y="5098"/>
                    </a:cubicBezTo>
                    <a:cubicBezTo>
                      <a:pt x="7489" y="5111"/>
                      <a:pt x="7489" y="5111"/>
                      <a:pt x="7489" y="5111"/>
                    </a:cubicBezTo>
                    <a:cubicBezTo>
                      <a:pt x="7481" y="5207"/>
                      <a:pt x="7481" y="5207"/>
                      <a:pt x="7481" y="5207"/>
                    </a:cubicBezTo>
                    <a:cubicBezTo>
                      <a:pt x="7463" y="5205"/>
                      <a:pt x="7463" y="5205"/>
                      <a:pt x="7463" y="5205"/>
                    </a:cubicBezTo>
                    <a:lnTo>
                      <a:pt x="7458" y="5255"/>
                    </a:lnTo>
                    <a:close/>
                    <a:moveTo>
                      <a:pt x="7451" y="5191"/>
                    </a:moveTo>
                    <a:cubicBezTo>
                      <a:pt x="7469" y="5193"/>
                      <a:pt x="7469" y="5193"/>
                      <a:pt x="7469" y="5193"/>
                    </a:cubicBezTo>
                    <a:cubicBezTo>
                      <a:pt x="7475" y="5123"/>
                      <a:pt x="7475" y="5123"/>
                      <a:pt x="7475" y="5123"/>
                    </a:cubicBezTo>
                    <a:cubicBezTo>
                      <a:pt x="7361" y="5113"/>
                      <a:pt x="7361" y="5113"/>
                      <a:pt x="7361" y="5113"/>
                    </a:cubicBezTo>
                    <a:cubicBezTo>
                      <a:pt x="7354" y="5185"/>
                      <a:pt x="7354" y="5185"/>
                      <a:pt x="7354" y="5185"/>
                    </a:cubicBezTo>
                    <a:cubicBezTo>
                      <a:pt x="7279" y="5179"/>
                      <a:pt x="7279" y="5179"/>
                      <a:pt x="7279" y="5179"/>
                    </a:cubicBezTo>
                    <a:cubicBezTo>
                      <a:pt x="7275" y="5228"/>
                      <a:pt x="7275" y="5228"/>
                      <a:pt x="7275" y="5228"/>
                    </a:cubicBezTo>
                    <a:cubicBezTo>
                      <a:pt x="7446" y="5241"/>
                      <a:pt x="7446" y="5241"/>
                      <a:pt x="7446" y="5241"/>
                    </a:cubicBezTo>
                    <a:lnTo>
                      <a:pt x="7451" y="5191"/>
                    </a:lnTo>
                    <a:close/>
                    <a:moveTo>
                      <a:pt x="7754" y="4627"/>
                    </a:moveTo>
                    <a:cubicBezTo>
                      <a:pt x="7556" y="4613"/>
                      <a:pt x="7556" y="4613"/>
                      <a:pt x="7556" y="4613"/>
                    </a:cubicBezTo>
                    <a:cubicBezTo>
                      <a:pt x="7556" y="4607"/>
                      <a:pt x="7556" y="4607"/>
                      <a:pt x="7556" y="4607"/>
                    </a:cubicBezTo>
                    <a:cubicBezTo>
                      <a:pt x="7562" y="4538"/>
                      <a:pt x="7562" y="4538"/>
                      <a:pt x="7562" y="4538"/>
                    </a:cubicBezTo>
                    <a:cubicBezTo>
                      <a:pt x="7638" y="4544"/>
                      <a:pt x="7638" y="4544"/>
                      <a:pt x="7638" y="4544"/>
                    </a:cubicBezTo>
                    <a:cubicBezTo>
                      <a:pt x="7644" y="4471"/>
                      <a:pt x="7644" y="4471"/>
                      <a:pt x="7644" y="4471"/>
                    </a:cubicBezTo>
                    <a:cubicBezTo>
                      <a:pt x="7784" y="4483"/>
                      <a:pt x="7784" y="4483"/>
                      <a:pt x="7784" y="4483"/>
                    </a:cubicBezTo>
                    <a:cubicBezTo>
                      <a:pt x="7776" y="4580"/>
                      <a:pt x="7776" y="4580"/>
                      <a:pt x="7776" y="4580"/>
                    </a:cubicBezTo>
                    <a:cubicBezTo>
                      <a:pt x="7758" y="4578"/>
                      <a:pt x="7758" y="4578"/>
                      <a:pt x="7758" y="4578"/>
                    </a:cubicBezTo>
                    <a:lnTo>
                      <a:pt x="7754" y="4627"/>
                    </a:lnTo>
                    <a:close/>
                    <a:moveTo>
                      <a:pt x="7746" y="4564"/>
                    </a:moveTo>
                    <a:cubicBezTo>
                      <a:pt x="7764" y="4565"/>
                      <a:pt x="7764" y="4565"/>
                      <a:pt x="7764" y="4565"/>
                    </a:cubicBezTo>
                    <a:cubicBezTo>
                      <a:pt x="7770" y="4495"/>
                      <a:pt x="7770" y="4495"/>
                      <a:pt x="7770" y="4495"/>
                    </a:cubicBezTo>
                    <a:cubicBezTo>
                      <a:pt x="7656" y="4485"/>
                      <a:pt x="7656" y="4485"/>
                      <a:pt x="7656" y="4485"/>
                    </a:cubicBezTo>
                    <a:cubicBezTo>
                      <a:pt x="7649" y="4558"/>
                      <a:pt x="7649" y="4558"/>
                      <a:pt x="7649" y="4558"/>
                    </a:cubicBezTo>
                    <a:cubicBezTo>
                      <a:pt x="7574" y="4552"/>
                      <a:pt x="7574" y="4552"/>
                      <a:pt x="7574" y="4552"/>
                    </a:cubicBezTo>
                    <a:cubicBezTo>
                      <a:pt x="7570" y="4601"/>
                      <a:pt x="7570" y="4601"/>
                      <a:pt x="7570" y="4601"/>
                    </a:cubicBezTo>
                    <a:cubicBezTo>
                      <a:pt x="7742" y="4613"/>
                      <a:pt x="7742" y="4613"/>
                      <a:pt x="7742" y="4613"/>
                    </a:cubicBezTo>
                    <a:lnTo>
                      <a:pt x="7746" y="4564"/>
                    </a:lnTo>
                    <a:close/>
                    <a:moveTo>
                      <a:pt x="8039" y="1191"/>
                    </a:moveTo>
                    <a:cubicBezTo>
                      <a:pt x="8215" y="1287"/>
                      <a:pt x="8215" y="1287"/>
                      <a:pt x="8215" y="1287"/>
                    </a:cubicBezTo>
                    <a:cubicBezTo>
                      <a:pt x="8274" y="1199"/>
                      <a:pt x="8274" y="1199"/>
                      <a:pt x="8274" y="1199"/>
                    </a:cubicBezTo>
                    <a:cubicBezTo>
                      <a:pt x="8589" y="1383"/>
                      <a:pt x="8589" y="1383"/>
                      <a:pt x="8589" y="1383"/>
                    </a:cubicBezTo>
                    <a:cubicBezTo>
                      <a:pt x="8533" y="1477"/>
                      <a:pt x="8533" y="1477"/>
                      <a:pt x="8533" y="1477"/>
                    </a:cubicBezTo>
                    <a:cubicBezTo>
                      <a:pt x="8472" y="1442"/>
                      <a:pt x="8472" y="1442"/>
                      <a:pt x="8472" y="1442"/>
                    </a:cubicBezTo>
                    <a:cubicBezTo>
                      <a:pt x="8371" y="1632"/>
                      <a:pt x="8371" y="1632"/>
                      <a:pt x="8371" y="1632"/>
                    </a:cubicBezTo>
                    <a:cubicBezTo>
                      <a:pt x="8425" y="1667"/>
                      <a:pt x="8425" y="1667"/>
                      <a:pt x="8425" y="1667"/>
                    </a:cubicBezTo>
                    <a:cubicBezTo>
                      <a:pt x="8323" y="1848"/>
                      <a:pt x="8323" y="1848"/>
                      <a:pt x="8323" y="1848"/>
                    </a:cubicBezTo>
                    <a:cubicBezTo>
                      <a:pt x="8203" y="1782"/>
                      <a:pt x="8203" y="1782"/>
                      <a:pt x="8203" y="1782"/>
                    </a:cubicBezTo>
                    <a:cubicBezTo>
                      <a:pt x="8337" y="1548"/>
                      <a:pt x="8337" y="1548"/>
                      <a:pt x="8337" y="1548"/>
                    </a:cubicBezTo>
                    <a:cubicBezTo>
                      <a:pt x="8215" y="1476"/>
                      <a:pt x="8215" y="1476"/>
                      <a:pt x="8215" y="1476"/>
                    </a:cubicBezTo>
                    <a:cubicBezTo>
                      <a:pt x="8080" y="1710"/>
                      <a:pt x="8080" y="1710"/>
                      <a:pt x="8080" y="1710"/>
                    </a:cubicBezTo>
                    <a:cubicBezTo>
                      <a:pt x="8002" y="1662"/>
                      <a:pt x="8002" y="1662"/>
                      <a:pt x="8002" y="1662"/>
                    </a:cubicBezTo>
                    <a:cubicBezTo>
                      <a:pt x="8163" y="1388"/>
                      <a:pt x="8163" y="1388"/>
                      <a:pt x="8163" y="1388"/>
                    </a:cubicBezTo>
                    <a:cubicBezTo>
                      <a:pt x="8102" y="1353"/>
                      <a:pt x="8102" y="1353"/>
                      <a:pt x="8102" y="1353"/>
                    </a:cubicBezTo>
                    <a:cubicBezTo>
                      <a:pt x="8021" y="1491"/>
                      <a:pt x="8021" y="1491"/>
                      <a:pt x="8021" y="1491"/>
                    </a:cubicBezTo>
                    <a:cubicBezTo>
                      <a:pt x="7955" y="1453"/>
                      <a:pt x="7955" y="1453"/>
                      <a:pt x="7955" y="1453"/>
                    </a:cubicBezTo>
                    <a:cubicBezTo>
                      <a:pt x="8033" y="1309"/>
                      <a:pt x="8033" y="1309"/>
                      <a:pt x="8033" y="1309"/>
                    </a:cubicBezTo>
                    <a:cubicBezTo>
                      <a:pt x="7975" y="1277"/>
                      <a:pt x="7975" y="1277"/>
                      <a:pt x="7975" y="1277"/>
                    </a:cubicBezTo>
                    <a:cubicBezTo>
                      <a:pt x="8033" y="1188"/>
                      <a:pt x="8033" y="1188"/>
                      <a:pt x="8033" y="1188"/>
                    </a:cubicBezTo>
                    <a:lnTo>
                      <a:pt x="8039" y="1191"/>
                    </a:lnTo>
                    <a:close/>
                    <a:moveTo>
                      <a:pt x="8038" y="1207"/>
                    </a:moveTo>
                    <a:cubicBezTo>
                      <a:pt x="7996" y="1272"/>
                      <a:pt x="7996" y="1272"/>
                      <a:pt x="7996" y="1272"/>
                    </a:cubicBezTo>
                    <a:cubicBezTo>
                      <a:pt x="8054" y="1303"/>
                      <a:pt x="8054" y="1303"/>
                      <a:pt x="8054" y="1303"/>
                    </a:cubicBezTo>
                    <a:cubicBezTo>
                      <a:pt x="7975" y="1447"/>
                      <a:pt x="7975" y="1447"/>
                      <a:pt x="7975" y="1447"/>
                    </a:cubicBezTo>
                    <a:cubicBezTo>
                      <a:pt x="8016" y="1471"/>
                      <a:pt x="8016" y="1471"/>
                      <a:pt x="8016" y="1471"/>
                    </a:cubicBezTo>
                    <a:cubicBezTo>
                      <a:pt x="8096" y="1333"/>
                      <a:pt x="8096" y="1333"/>
                      <a:pt x="8096" y="1333"/>
                    </a:cubicBezTo>
                    <a:cubicBezTo>
                      <a:pt x="8184" y="1383"/>
                      <a:pt x="8184" y="1383"/>
                      <a:pt x="8184" y="1383"/>
                    </a:cubicBezTo>
                    <a:cubicBezTo>
                      <a:pt x="8022" y="1657"/>
                      <a:pt x="8022" y="1657"/>
                      <a:pt x="8022" y="1657"/>
                    </a:cubicBezTo>
                    <a:cubicBezTo>
                      <a:pt x="8075" y="1689"/>
                      <a:pt x="8075" y="1689"/>
                      <a:pt x="8075" y="1689"/>
                    </a:cubicBezTo>
                    <a:cubicBezTo>
                      <a:pt x="8209" y="1456"/>
                      <a:pt x="8209" y="1456"/>
                      <a:pt x="8209" y="1456"/>
                    </a:cubicBezTo>
                    <a:cubicBezTo>
                      <a:pt x="8357" y="1543"/>
                      <a:pt x="8357" y="1543"/>
                      <a:pt x="8357" y="1543"/>
                    </a:cubicBezTo>
                    <a:cubicBezTo>
                      <a:pt x="8223" y="1776"/>
                      <a:pt x="8223" y="1776"/>
                      <a:pt x="8223" y="1776"/>
                    </a:cubicBezTo>
                    <a:cubicBezTo>
                      <a:pt x="8317" y="1828"/>
                      <a:pt x="8317" y="1828"/>
                      <a:pt x="8317" y="1828"/>
                    </a:cubicBezTo>
                    <a:cubicBezTo>
                      <a:pt x="8405" y="1672"/>
                      <a:pt x="8405" y="1672"/>
                      <a:pt x="8405" y="1672"/>
                    </a:cubicBezTo>
                    <a:cubicBezTo>
                      <a:pt x="8351" y="1637"/>
                      <a:pt x="8351" y="1637"/>
                      <a:pt x="8351" y="1637"/>
                    </a:cubicBezTo>
                    <a:cubicBezTo>
                      <a:pt x="8467" y="1421"/>
                      <a:pt x="8467" y="1421"/>
                      <a:pt x="8467" y="1421"/>
                    </a:cubicBezTo>
                    <a:cubicBezTo>
                      <a:pt x="8528" y="1457"/>
                      <a:pt x="8528" y="1457"/>
                      <a:pt x="8528" y="1457"/>
                    </a:cubicBezTo>
                    <a:cubicBezTo>
                      <a:pt x="8569" y="1388"/>
                      <a:pt x="8569" y="1388"/>
                      <a:pt x="8569" y="1388"/>
                    </a:cubicBezTo>
                    <a:cubicBezTo>
                      <a:pt x="8278" y="1219"/>
                      <a:pt x="8278" y="1219"/>
                      <a:pt x="8278" y="1219"/>
                    </a:cubicBezTo>
                    <a:cubicBezTo>
                      <a:pt x="8220" y="1306"/>
                      <a:pt x="8220" y="1306"/>
                      <a:pt x="8220" y="1306"/>
                    </a:cubicBezTo>
                    <a:lnTo>
                      <a:pt x="8038" y="1207"/>
                    </a:lnTo>
                    <a:close/>
                    <a:moveTo>
                      <a:pt x="7534" y="6641"/>
                    </a:moveTo>
                    <a:cubicBezTo>
                      <a:pt x="7718" y="6669"/>
                      <a:pt x="7718" y="6669"/>
                      <a:pt x="7718" y="6669"/>
                    </a:cubicBezTo>
                    <a:cubicBezTo>
                      <a:pt x="7701" y="6777"/>
                      <a:pt x="7701" y="6777"/>
                      <a:pt x="7701" y="6777"/>
                    </a:cubicBezTo>
                    <a:cubicBezTo>
                      <a:pt x="7629" y="6766"/>
                      <a:pt x="7629" y="6766"/>
                      <a:pt x="7629" y="6766"/>
                    </a:cubicBezTo>
                    <a:cubicBezTo>
                      <a:pt x="7621" y="6823"/>
                      <a:pt x="7621" y="6823"/>
                      <a:pt x="7621" y="6823"/>
                    </a:cubicBezTo>
                    <a:cubicBezTo>
                      <a:pt x="7614" y="6822"/>
                      <a:pt x="7614" y="6822"/>
                      <a:pt x="7614" y="6822"/>
                    </a:cubicBezTo>
                    <a:cubicBezTo>
                      <a:pt x="7499" y="6808"/>
                      <a:pt x="7499" y="6808"/>
                      <a:pt x="7499" y="6808"/>
                    </a:cubicBezTo>
                    <a:cubicBezTo>
                      <a:pt x="7516" y="6691"/>
                      <a:pt x="7516" y="6691"/>
                      <a:pt x="7516" y="6691"/>
                    </a:cubicBezTo>
                    <a:cubicBezTo>
                      <a:pt x="7527" y="6693"/>
                      <a:pt x="7527" y="6693"/>
                      <a:pt x="7527" y="6693"/>
                    </a:cubicBezTo>
                    <a:lnTo>
                      <a:pt x="7534" y="6641"/>
                    </a:lnTo>
                    <a:close/>
                    <a:moveTo>
                      <a:pt x="7538" y="6708"/>
                    </a:moveTo>
                    <a:cubicBezTo>
                      <a:pt x="7527" y="6706"/>
                      <a:pt x="7527" y="6706"/>
                      <a:pt x="7527" y="6706"/>
                    </a:cubicBezTo>
                    <a:cubicBezTo>
                      <a:pt x="7514" y="6796"/>
                      <a:pt x="7514" y="6796"/>
                      <a:pt x="7514" y="6796"/>
                    </a:cubicBezTo>
                    <a:cubicBezTo>
                      <a:pt x="7609" y="6808"/>
                      <a:pt x="7609" y="6808"/>
                      <a:pt x="7609" y="6808"/>
                    </a:cubicBezTo>
                    <a:cubicBezTo>
                      <a:pt x="7618" y="6752"/>
                      <a:pt x="7618" y="6752"/>
                      <a:pt x="7618" y="6752"/>
                    </a:cubicBezTo>
                    <a:cubicBezTo>
                      <a:pt x="7690" y="6762"/>
                      <a:pt x="7690" y="6762"/>
                      <a:pt x="7690" y="6762"/>
                    </a:cubicBezTo>
                    <a:cubicBezTo>
                      <a:pt x="7703" y="6680"/>
                      <a:pt x="7703" y="6680"/>
                      <a:pt x="7703" y="6680"/>
                    </a:cubicBezTo>
                    <a:cubicBezTo>
                      <a:pt x="7545" y="6656"/>
                      <a:pt x="7545" y="6656"/>
                      <a:pt x="7545" y="6656"/>
                    </a:cubicBezTo>
                    <a:lnTo>
                      <a:pt x="7538" y="6708"/>
                    </a:lnTo>
                    <a:close/>
                    <a:moveTo>
                      <a:pt x="3345" y="1815"/>
                    </a:moveTo>
                    <a:cubicBezTo>
                      <a:pt x="3302" y="1733"/>
                      <a:pt x="3302" y="1733"/>
                      <a:pt x="3302" y="1733"/>
                    </a:cubicBezTo>
                    <a:cubicBezTo>
                      <a:pt x="3684" y="1547"/>
                      <a:pt x="3684" y="1547"/>
                      <a:pt x="3684" y="1547"/>
                    </a:cubicBezTo>
                    <a:cubicBezTo>
                      <a:pt x="3704" y="1589"/>
                      <a:pt x="3704" y="1589"/>
                      <a:pt x="3704" y="1589"/>
                    </a:cubicBezTo>
                    <a:cubicBezTo>
                      <a:pt x="3699" y="1593"/>
                      <a:pt x="3699" y="1593"/>
                      <a:pt x="3699" y="1593"/>
                    </a:cubicBezTo>
                    <a:cubicBezTo>
                      <a:pt x="3699" y="1593"/>
                      <a:pt x="3658" y="1618"/>
                      <a:pt x="3603" y="1651"/>
                    </a:cubicBezTo>
                    <a:cubicBezTo>
                      <a:pt x="3601" y="1652"/>
                      <a:pt x="3600" y="1654"/>
                      <a:pt x="3600" y="1659"/>
                    </a:cubicBezTo>
                    <a:cubicBezTo>
                      <a:pt x="3600" y="1670"/>
                      <a:pt x="3608" y="1689"/>
                      <a:pt x="3616" y="1705"/>
                    </a:cubicBezTo>
                    <a:cubicBezTo>
                      <a:pt x="3624" y="1720"/>
                      <a:pt x="3632" y="1732"/>
                      <a:pt x="3632" y="1732"/>
                    </a:cubicBezTo>
                    <a:cubicBezTo>
                      <a:pt x="3637" y="1740"/>
                      <a:pt x="3637" y="1740"/>
                      <a:pt x="3637" y="1740"/>
                    </a:cubicBezTo>
                    <a:cubicBezTo>
                      <a:pt x="3511" y="1797"/>
                      <a:pt x="3511" y="1797"/>
                      <a:pt x="3511" y="1797"/>
                    </a:cubicBezTo>
                    <a:cubicBezTo>
                      <a:pt x="3508" y="1793"/>
                      <a:pt x="3508" y="1793"/>
                      <a:pt x="3508" y="1793"/>
                    </a:cubicBezTo>
                    <a:cubicBezTo>
                      <a:pt x="3508" y="1793"/>
                      <a:pt x="3498" y="1783"/>
                      <a:pt x="3485" y="1772"/>
                    </a:cubicBezTo>
                    <a:cubicBezTo>
                      <a:pt x="3471" y="1762"/>
                      <a:pt x="3454" y="1752"/>
                      <a:pt x="3443" y="1753"/>
                    </a:cubicBezTo>
                    <a:cubicBezTo>
                      <a:pt x="3440" y="1753"/>
                      <a:pt x="3437" y="1753"/>
                      <a:pt x="3435" y="1755"/>
                    </a:cubicBezTo>
                    <a:cubicBezTo>
                      <a:pt x="3382" y="1787"/>
                      <a:pt x="3352" y="1810"/>
                      <a:pt x="3352" y="1810"/>
                    </a:cubicBezTo>
                    <a:lnTo>
                      <a:pt x="3345" y="1815"/>
                    </a:lnTo>
                    <a:close/>
                    <a:moveTo>
                      <a:pt x="3322" y="1740"/>
                    </a:moveTo>
                    <a:cubicBezTo>
                      <a:pt x="3350" y="1793"/>
                      <a:pt x="3350" y="1793"/>
                      <a:pt x="3350" y="1793"/>
                    </a:cubicBezTo>
                    <a:cubicBezTo>
                      <a:pt x="3362" y="1784"/>
                      <a:pt x="3389" y="1766"/>
                      <a:pt x="3427" y="1742"/>
                    </a:cubicBezTo>
                    <a:cubicBezTo>
                      <a:pt x="3432" y="1739"/>
                      <a:pt x="3438" y="1738"/>
                      <a:pt x="3443" y="1738"/>
                    </a:cubicBezTo>
                    <a:cubicBezTo>
                      <a:pt x="3472" y="1739"/>
                      <a:pt x="3504" y="1769"/>
                      <a:pt x="3515" y="1779"/>
                    </a:cubicBezTo>
                    <a:cubicBezTo>
                      <a:pt x="3615" y="1733"/>
                      <a:pt x="3615" y="1733"/>
                      <a:pt x="3615" y="1733"/>
                    </a:cubicBezTo>
                    <a:cubicBezTo>
                      <a:pt x="3606" y="1718"/>
                      <a:pt x="3586" y="1684"/>
                      <a:pt x="3585" y="1659"/>
                    </a:cubicBezTo>
                    <a:cubicBezTo>
                      <a:pt x="3585" y="1652"/>
                      <a:pt x="3588" y="1643"/>
                      <a:pt x="3595" y="1639"/>
                    </a:cubicBezTo>
                    <a:cubicBezTo>
                      <a:pt x="3638" y="1613"/>
                      <a:pt x="3672" y="1592"/>
                      <a:pt x="3685" y="1584"/>
                    </a:cubicBezTo>
                    <a:cubicBezTo>
                      <a:pt x="3677" y="1566"/>
                      <a:pt x="3677" y="1566"/>
                      <a:pt x="3677" y="1566"/>
                    </a:cubicBezTo>
                    <a:lnTo>
                      <a:pt x="3322" y="1740"/>
                    </a:lnTo>
                    <a:close/>
                    <a:moveTo>
                      <a:pt x="7590" y="7202"/>
                    </a:moveTo>
                    <a:cubicBezTo>
                      <a:pt x="7481" y="7192"/>
                      <a:pt x="7481" y="7192"/>
                      <a:pt x="7481" y="7192"/>
                    </a:cubicBezTo>
                    <a:cubicBezTo>
                      <a:pt x="7498" y="7007"/>
                      <a:pt x="7498" y="7007"/>
                      <a:pt x="7498" y="7007"/>
                    </a:cubicBezTo>
                    <a:cubicBezTo>
                      <a:pt x="7550" y="7012"/>
                      <a:pt x="7550" y="7012"/>
                      <a:pt x="7550" y="7012"/>
                    </a:cubicBezTo>
                    <a:cubicBezTo>
                      <a:pt x="7551" y="7008"/>
                      <a:pt x="7551" y="7008"/>
                      <a:pt x="7551" y="7008"/>
                    </a:cubicBezTo>
                    <a:cubicBezTo>
                      <a:pt x="7551" y="7002"/>
                      <a:pt x="7551" y="7002"/>
                      <a:pt x="7551" y="7002"/>
                    </a:cubicBezTo>
                    <a:cubicBezTo>
                      <a:pt x="7668" y="7013"/>
                      <a:pt x="7668" y="7013"/>
                      <a:pt x="7668" y="7013"/>
                    </a:cubicBezTo>
                    <a:cubicBezTo>
                      <a:pt x="7654" y="7135"/>
                      <a:pt x="7654" y="7135"/>
                      <a:pt x="7654" y="7135"/>
                    </a:cubicBezTo>
                    <a:cubicBezTo>
                      <a:pt x="7648" y="7134"/>
                      <a:pt x="7648" y="7134"/>
                      <a:pt x="7648" y="7134"/>
                    </a:cubicBezTo>
                    <a:cubicBezTo>
                      <a:pt x="7597" y="7129"/>
                      <a:pt x="7597" y="7129"/>
                      <a:pt x="7597" y="7129"/>
                    </a:cubicBezTo>
                    <a:lnTo>
                      <a:pt x="7590" y="7202"/>
                    </a:lnTo>
                    <a:close/>
                    <a:moveTo>
                      <a:pt x="7585" y="7115"/>
                    </a:moveTo>
                    <a:cubicBezTo>
                      <a:pt x="7643" y="7121"/>
                      <a:pt x="7643" y="7121"/>
                      <a:pt x="7643" y="7121"/>
                    </a:cubicBezTo>
                    <a:cubicBezTo>
                      <a:pt x="7654" y="7025"/>
                      <a:pt x="7654" y="7025"/>
                      <a:pt x="7654" y="7025"/>
                    </a:cubicBezTo>
                    <a:cubicBezTo>
                      <a:pt x="7563" y="7016"/>
                      <a:pt x="7563" y="7016"/>
                      <a:pt x="7563" y="7016"/>
                    </a:cubicBezTo>
                    <a:cubicBezTo>
                      <a:pt x="7563" y="7020"/>
                      <a:pt x="7563" y="7020"/>
                      <a:pt x="7563" y="7020"/>
                    </a:cubicBezTo>
                    <a:cubicBezTo>
                      <a:pt x="7562" y="7026"/>
                      <a:pt x="7562" y="7026"/>
                      <a:pt x="7562" y="7026"/>
                    </a:cubicBezTo>
                    <a:cubicBezTo>
                      <a:pt x="7510" y="7022"/>
                      <a:pt x="7510" y="7022"/>
                      <a:pt x="7510" y="7022"/>
                    </a:cubicBezTo>
                    <a:cubicBezTo>
                      <a:pt x="7495" y="7180"/>
                      <a:pt x="7495" y="7180"/>
                      <a:pt x="7495" y="7180"/>
                    </a:cubicBezTo>
                    <a:cubicBezTo>
                      <a:pt x="7578" y="7188"/>
                      <a:pt x="7578" y="7188"/>
                      <a:pt x="7578" y="7188"/>
                    </a:cubicBezTo>
                    <a:lnTo>
                      <a:pt x="7585" y="7115"/>
                    </a:lnTo>
                    <a:close/>
                    <a:moveTo>
                      <a:pt x="533" y="2229"/>
                    </a:moveTo>
                    <a:cubicBezTo>
                      <a:pt x="533" y="2217"/>
                      <a:pt x="539" y="2205"/>
                      <a:pt x="540" y="2201"/>
                    </a:cubicBezTo>
                    <a:cubicBezTo>
                      <a:pt x="540" y="2201"/>
                      <a:pt x="540" y="2200"/>
                      <a:pt x="540" y="2199"/>
                    </a:cubicBezTo>
                    <a:cubicBezTo>
                      <a:pt x="540" y="2195"/>
                      <a:pt x="544" y="2195"/>
                      <a:pt x="544" y="2195"/>
                    </a:cubicBezTo>
                    <a:cubicBezTo>
                      <a:pt x="545" y="2195"/>
                      <a:pt x="547" y="2195"/>
                      <a:pt x="548" y="2196"/>
                    </a:cubicBezTo>
                    <a:cubicBezTo>
                      <a:pt x="548" y="2197"/>
                      <a:pt x="548" y="2197"/>
                      <a:pt x="549" y="2198"/>
                    </a:cubicBezTo>
                    <a:cubicBezTo>
                      <a:pt x="557" y="2203"/>
                      <a:pt x="591" y="2220"/>
                      <a:pt x="599" y="2224"/>
                    </a:cubicBezTo>
                    <a:cubicBezTo>
                      <a:pt x="608" y="2229"/>
                      <a:pt x="649" y="2232"/>
                      <a:pt x="685" y="2241"/>
                    </a:cubicBezTo>
                    <a:cubicBezTo>
                      <a:pt x="722" y="2252"/>
                      <a:pt x="733" y="2283"/>
                      <a:pt x="738" y="2313"/>
                    </a:cubicBezTo>
                    <a:cubicBezTo>
                      <a:pt x="744" y="2342"/>
                      <a:pt x="752" y="2345"/>
                      <a:pt x="776" y="2361"/>
                    </a:cubicBezTo>
                    <a:cubicBezTo>
                      <a:pt x="780" y="2364"/>
                      <a:pt x="785" y="2365"/>
                      <a:pt x="791" y="2365"/>
                    </a:cubicBezTo>
                    <a:cubicBezTo>
                      <a:pt x="813" y="2365"/>
                      <a:pt x="847" y="2347"/>
                      <a:pt x="884" y="2328"/>
                    </a:cubicBezTo>
                    <a:cubicBezTo>
                      <a:pt x="899" y="2320"/>
                      <a:pt x="910" y="2317"/>
                      <a:pt x="919" y="2317"/>
                    </a:cubicBezTo>
                    <a:cubicBezTo>
                      <a:pt x="941" y="2317"/>
                      <a:pt x="947" y="2334"/>
                      <a:pt x="947" y="2334"/>
                    </a:cubicBezTo>
                    <a:cubicBezTo>
                      <a:pt x="948" y="2338"/>
                      <a:pt x="948" y="2338"/>
                      <a:pt x="948" y="2338"/>
                    </a:cubicBezTo>
                    <a:cubicBezTo>
                      <a:pt x="945" y="2339"/>
                      <a:pt x="945" y="2339"/>
                      <a:pt x="945" y="2339"/>
                    </a:cubicBezTo>
                    <a:cubicBezTo>
                      <a:pt x="940" y="2341"/>
                      <a:pt x="926" y="2366"/>
                      <a:pt x="913" y="2391"/>
                    </a:cubicBezTo>
                    <a:cubicBezTo>
                      <a:pt x="898" y="2416"/>
                      <a:pt x="866" y="2447"/>
                      <a:pt x="822" y="2476"/>
                    </a:cubicBezTo>
                    <a:cubicBezTo>
                      <a:pt x="794" y="2494"/>
                      <a:pt x="760" y="2501"/>
                      <a:pt x="734" y="2501"/>
                    </a:cubicBezTo>
                    <a:cubicBezTo>
                      <a:pt x="718" y="2501"/>
                      <a:pt x="705" y="2498"/>
                      <a:pt x="697" y="2495"/>
                    </a:cubicBezTo>
                    <a:cubicBezTo>
                      <a:pt x="676" y="2487"/>
                      <a:pt x="616" y="2460"/>
                      <a:pt x="616" y="2460"/>
                    </a:cubicBezTo>
                    <a:cubicBezTo>
                      <a:pt x="611" y="2457"/>
                      <a:pt x="611" y="2457"/>
                      <a:pt x="611" y="2457"/>
                    </a:cubicBezTo>
                    <a:cubicBezTo>
                      <a:pt x="615" y="2453"/>
                      <a:pt x="615" y="2453"/>
                      <a:pt x="615" y="2453"/>
                    </a:cubicBezTo>
                    <a:cubicBezTo>
                      <a:pt x="615" y="2453"/>
                      <a:pt x="646" y="2417"/>
                      <a:pt x="646" y="2376"/>
                    </a:cubicBezTo>
                    <a:cubicBezTo>
                      <a:pt x="646" y="2371"/>
                      <a:pt x="645" y="2365"/>
                      <a:pt x="644" y="2360"/>
                    </a:cubicBezTo>
                    <a:cubicBezTo>
                      <a:pt x="634" y="2313"/>
                      <a:pt x="583" y="2286"/>
                      <a:pt x="550" y="2261"/>
                    </a:cubicBezTo>
                    <a:cubicBezTo>
                      <a:pt x="537" y="2251"/>
                      <a:pt x="533" y="2239"/>
                      <a:pt x="533" y="2229"/>
                    </a:cubicBezTo>
                    <a:close/>
                    <a:moveTo>
                      <a:pt x="541" y="2229"/>
                    </a:moveTo>
                    <a:cubicBezTo>
                      <a:pt x="541" y="2237"/>
                      <a:pt x="544" y="2246"/>
                      <a:pt x="555" y="2254"/>
                    </a:cubicBezTo>
                    <a:cubicBezTo>
                      <a:pt x="587" y="2279"/>
                      <a:pt x="640" y="2306"/>
                      <a:pt x="652" y="2358"/>
                    </a:cubicBezTo>
                    <a:cubicBezTo>
                      <a:pt x="653" y="2364"/>
                      <a:pt x="654" y="2370"/>
                      <a:pt x="654" y="2376"/>
                    </a:cubicBezTo>
                    <a:cubicBezTo>
                      <a:pt x="654" y="2412"/>
                      <a:pt x="633" y="2443"/>
                      <a:pt x="624" y="2454"/>
                    </a:cubicBezTo>
                    <a:cubicBezTo>
                      <a:pt x="639" y="2461"/>
                      <a:pt x="683" y="2481"/>
                      <a:pt x="700" y="2488"/>
                    </a:cubicBezTo>
                    <a:cubicBezTo>
                      <a:pt x="707" y="2490"/>
                      <a:pt x="719" y="2492"/>
                      <a:pt x="734" y="2492"/>
                    </a:cubicBezTo>
                    <a:cubicBezTo>
                      <a:pt x="759" y="2492"/>
                      <a:pt x="791" y="2486"/>
                      <a:pt x="818" y="2469"/>
                    </a:cubicBezTo>
                    <a:cubicBezTo>
                      <a:pt x="861" y="2440"/>
                      <a:pt x="892" y="2410"/>
                      <a:pt x="905" y="2387"/>
                    </a:cubicBezTo>
                    <a:cubicBezTo>
                      <a:pt x="918" y="2365"/>
                      <a:pt x="928" y="2343"/>
                      <a:pt x="938" y="2334"/>
                    </a:cubicBezTo>
                    <a:cubicBezTo>
                      <a:pt x="936" y="2331"/>
                      <a:pt x="931" y="2326"/>
                      <a:pt x="919" y="2326"/>
                    </a:cubicBezTo>
                    <a:cubicBezTo>
                      <a:pt x="912" y="2326"/>
                      <a:pt x="902" y="2328"/>
                      <a:pt x="888" y="2335"/>
                    </a:cubicBezTo>
                    <a:cubicBezTo>
                      <a:pt x="850" y="2354"/>
                      <a:pt x="817" y="2373"/>
                      <a:pt x="791" y="2373"/>
                    </a:cubicBezTo>
                    <a:cubicBezTo>
                      <a:pt x="784" y="2373"/>
                      <a:pt x="777" y="2371"/>
                      <a:pt x="771" y="2368"/>
                    </a:cubicBezTo>
                    <a:cubicBezTo>
                      <a:pt x="749" y="2353"/>
                      <a:pt x="735" y="2346"/>
                      <a:pt x="730" y="2314"/>
                    </a:cubicBezTo>
                    <a:cubicBezTo>
                      <a:pt x="724" y="2284"/>
                      <a:pt x="716" y="2258"/>
                      <a:pt x="682" y="2249"/>
                    </a:cubicBezTo>
                    <a:cubicBezTo>
                      <a:pt x="647" y="2240"/>
                      <a:pt x="609" y="2237"/>
                      <a:pt x="596" y="2231"/>
                    </a:cubicBezTo>
                    <a:cubicBezTo>
                      <a:pt x="590" y="2229"/>
                      <a:pt x="577" y="2222"/>
                      <a:pt x="565" y="2216"/>
                    </a:cubicBezTo>
                    <a:cubicBezTo>
                      <a:pt x="559" y="2213"/>
                      <a:pt x="553" y="2210"/>
                      <a:pt x="549" y="2207"/>
                    </a:cubicBezTo>
                    <a:cubicBezTo>
                      <a:pt x="548" y="2207"/>
                      <a:pt x="547" y="2207"/>
                      <a:pt x="547" y="2206"/>
                    </a:cubicBezTo>
                    <a:cubicBezTo>
                      <a:pt x="544" y="2212"/>
                      <a:pt x="541" y="2220"/>
                      <a:pt x="541" y="2229"/>
                    </a:cubicBezTo>
                    <a:close/>
                    <a:moveTo>
                      <a:pt x="7337" y="5445"/>
                    </a:moveTo>
                    <a:cubicBezTo>
                      <a:pt x="7328" y="5541"/>
                      <a:pt x="7328" y="5541"/>
                      <a:pt x="7328" y="5541"/>
                    </a:cubicBezTo>
                    <a:cubicBezTo>
                      <a:pt x="7310" y="5539"/>
                      <a:pt x="7310" y="5539"/>
                      <a:pt x="7310" y="5539"/>
                    </a:cubicBezTo>
                    <a:cubicBezTo>
                      <a:pt x="7306" y="5589"/>
                      <a:pt x="7306" y="5589"/>
                      <a:pt x="7306" y="5589"/>
                    </a:cubicBezTo>
                    <a:cubicBezTo>
                      <a:pt x="7108" y="5574"/>
                      <a:pt x="7108" y="5574"/>
                      <a:pt x="7108" y="5574"/>
                    </a:cubicBezTo>
                    <a:cubicBezTo>
                      <a:pt x="7108" y="5568"/>
                      <a:pt x="7108" y="5568"/>
                      <a:pt x="7108" y="5568"/>
                    </a:cubicBezTo>
                    <a:cubicBezTo>
                      <a:pt x="7114" y="5499"/>
                      <a:pt x="7114" y="5499"/>
                      <a:pt x="7114" y="5499"/>
                    </a:cubicBezTo>
                    <a:cubicBezTo>
                      <a:pt x="7190" y="5505"/>
                      <a:pt x="7190" y="5505"/>
                      <a:pt x="7190" y="5505"/>
                    </a:cubicBezTo>
                    <a:cubicBezTo>
                      <a:pt x="7196" y="5433"/>
                      <a:pt x="7196" y="5433"/>
                      <a:pt x="7196" y="5433"/>
                    </a:cubicBezTo>
                    <a:lnTo>
                      <a:pt x="7337" y="5445"/>
                    </a:lnTo>
                    <a:close/>
                    <a:moveTo>
                      <a:pt x="7322" y="5457"/>
                    </a:moveTo>
                    <a:cubicBezTo>
                      <a:pt x="7208" y="5447"/>
                      <a:pt x="7208" y="5447"/>
                      <a:pt x="7208" y="5447"/>
                    </a:cubicBezTo>
                    <a:cubicBezTo>
                      <a:pt x="7202" y="5520"/>
                      <a:pt x="7202" y="5520"/>
                      <a:pt x="7202" y="5520"/>
                    </a:cubicBezTo>
                    <a:cubicBezTo>
                      <a:pt x="7126" y="5513"/>
                      <a:pt x="7126" y="5513"/>
                      <a:pt x="7126" y="5513"/>
                    </a:cubicBezTo>
                    <a:cubicBezTo>
                      <a:pt x="7122" y="5562"/>
                      <a:pt x="7122" y="5562"/>
                      <a:pt x="7122" y="5562"/>
                    </a:cubicBezTo>
                    <a:cubicBezTo>
                      <a:pt x="7294" y="5575"/>
                      <a:pt x="7294" y="5575"/>
                      <a:pt x="7294" y="5575"/>
                    </a:cubicBezTo>
                    <a:cubicBezTo>
                      <a:pt x="7298" y="5525"/>
                      <a:pt x="7298" y="5525"/>
                      <a:pt x="7298" y="5525"/>
                    </a:cubicBezTo>
                    <a:cubicBezTo>
                      <a:pt x="7316" y="5527"/>
                      <a:pt x="7316" y="5527"/>
                      <a:pt x="7316" y="5527"/>
                    </a:cubicBezTo>
                    <a:lnTo>
                      <a:pt x="7322" y="5457"/>
                    </a:lnTo>
                    <a:close/>
                    <a:moveTo>
                      <a:pt x="3259" y="1636"/>
                    </a:moveTo>
                    <a:cubicBezTo>
                      <a:pt x="3244" y="1604"/>
                      <a:pt x="3244" y="1604"/>
                      <a:pt x="3244" y="1604"/>
                    </a:cubicBezTo>
                    <a:cubicBezTo>
                      <a:pt x="3524" y="1462"/>
                      <a:pt x="3524" y="1462"/>
                      <a:pt x="3524" y="1462"/>
                    </a:cubicBezTo>
                    <a:cubicBezTo>
                      <a:pt x="3548" y="1517"/>
                      <a:pt x="3548" y="1517"/>
                      <a:pt x="3548" y="1517"/>
                    </a:cubicBezTo>
                    <a:cubicBezTo>
                      <a:pt x="3796" y="1402"/>
                      <a:pt x="3796" y="1402"/>
                      <a:pt x="3796" y="1402"/>
                    </a:cubicBezTo>
                    <a:cubicBezTo>
                      <a:pt x="3799" y="1409"/>
                      <a:pt x="3799" y="1409"/>
                      <a:pt x="3799" y="1409"/>
                    </a:cubicBezTo>
                    <a:cubicBezTo>
                      <a:pt x="3918" y="1686"/>
                      <a:pt x="3918" y="1686"/>
                      <a:pt x="3918" y="1686"/>
                    </a:cubicBezTo>
                    <a:cubicBezTo>
                      <a:pt x="3803" y="1730"/>
                      <a:pt x="3803" y="1730"/>
                      <a:pt x="3803" y="1730"/>
                    </a:cubicBezTo>
                    <a:cubicBezTo>
                      <a:pt x="3825" y="1779"/>
                      <a:pt x="3825" y="1779"/>
                      <a:pt x="3825" y="1779"/>
                    </a:cubicBezTo>
                    <a:cubicBezTo>
                      <a:pt x="3816" y="1781"/>
                      <a:pt x="3816" y="1781"/>
                      <a:pt x="3816" y="1781"/>
                    </a:cubicBezTo>
                    <a:cubicBezTo>
                      <a:pt x="3816" y="1781"/>
                      <a:pt x="3732" y="1802"/>
                      <a:pt x="3675" y="1828"/>
                    </a:cubicBezTo>
                    <a:cubicBezTo>
                      <a:pt x="3617" y="1854"/>
                      <a:pt x="3552" y="1897"/>
                      <a:pt x="3552" y="1897"/>
                    </a:cubicBezTo>
                    <a:cubicBezTo>
                      <a:pt x="3546" y="1901"/>
                      <a:pt x="3546" y="1901"/>
                      <a:pt x="3546" y="1901"/>
                    </a:cubicBezTo>
                    <a:cubicBezTo>
                      <a:pt x="3516" y="1856"/>
                      <a:pt x="3516" y="1856"/>
                      <a:pt x="3516" y="1856"/>
                    </a:cubicBezTo>
                    <a:cubicBezTo>
                      <a:pt x="3507" y="1863"/>
                      <a:pt x="3484" y="1880"/>
                      <a:pt x="3436" y="1914"/>
                    </a:cubicBezTo>
                    <a:cubicBezTo>
                      <a:pt x="3373" y="1956"/>
                      <a:pt x="3369" y="2088"/>
                      <a:pt x="3370" y="2102"/>
                    </a:cubicBezTo>
                    <a:cubicBezTo>
                      <a:pt x="3370" y="2103"/>
                      <a:pt x="3370" y="2103"/>
                      <a:pt x="3370" y="2103"/>
                    </a:cubicBezTo>
                    <a:cubicBezTo>
                      <a:pt x="3356" y="2106"/>
                      <a:pt x="3356" y="2106"/>
                      <a:pt x="3356" y="2106"/>
                    </a:cubicBezTo>
                    <a:cubicBezTo>
                      <a:pt x="3162" y="1685"/>
                      <a:pt x="3162" y="1685"/>
                      <a:pt x="3162" y="1685"/>
                    </a:cubicBezTo>
                    <a:lnTo>
                      <a:pt x="3259" y="1636"/>
                    </a:lnTo>
                    <a:close/>
                    <a:moveTo>
                      <a:pt x="3263" y="1610"/>
                    </a:moveTo>
                    <a:cubicBezTo>
                      <a:pt x="3278" y="1643"/>
                      <a:pt x="3278" y="1643"/>
                      <a:pt x="3278" y="1643"/>
                    </a:cubicBezTo>
                    <a:cubicBezTo>
                      <a:pt x="3181" y="1692"/>
                      <a:pt x="3181" y="1692"/>
                      <a:pt x="3181" y="1692"/>
                    </a:cubicBezTo>
                    <a:cubicBezTo>
                      <a:pt x="3356" y="2072"/>
                      <a:pt x="3356" y="2072"/>
                      <a:pt x="3356" y="2072"/>
                    </a:cubicBezTo>
                    <a:cubicBezTo>
                      <a:pt x="3360" y="2026"/>
                      <a:pt x="3373" y="1940"/>
                      <a:pt x="3427" y="1902"/>
                    </a:cubicBezTo>
                    <a:cubicBezTo>
                      <a:pt x="3498" y="1852"/>
                      <a:pt x="3513" y="1840"/>
                      <a:pt x="3514" y="1840"/>
                    </a:cubicBezTo>
                    <a:cubicBezTo>
                      <a:pt x="3520" y="1835"/>
                      <a:pt x="3520" y="1835"/>
                      <a:pt x="3520" y="1835"/>
                    </a:cubicBezTo>
                    <a:cubicBezTo>
                      <a:pt x="3550" y="1881"/>
                      <a:pt x="3550" y="1881"/>
                      <a:pt x="3550" y="1881"/>
                    </a:cubicBezTo>
                    <a:cubicBezTo>
                      <a:pt x="3568" y="1870"/>
                      <a:pt x="3620" y="1837"/>
                      <a:pt x="3668" y="1815"/>
                    </a:cubicBezTo>
                    <a:cubicBezTo>
                      <a:pt x="3716" y="1793"/>
                      <a:pt x="3781" y="1775"/>
                      <a:pt x="3804" y="1769"/>
                    </a:cubicBezTo>
                    <a:cubicBezTo>
                      <a:pt x="3783" y="1722"/>
                      <a:pt x="3783" y="1722"/>
                      <a:pt x="3783" y="1722"/>
                    </a:cubicBezTo>
                    <a:cubicBezTo>
                      <a:pt x="3898" y="1678"/>
                      <a:pt x="3898" y="1678"/>
                      <a:pt x="3898" y="1678"/>
                    </a:cubicBezTo>
                    <a:cubicBezTo>
                      <a:pt x="3788" y="1422"/>
                      <a:pt x="3788" y="1422"/>
                      <a:pt x="3788" y="1422"/>
                    </a:cubicBezTo>
                    <a:cubicBezTo>
                      <a:pt x="3540" y="1536"/>
                      <a:pt x="3540" y="1536"/>
                      <a:pt x="3540" y="1536"/>
                    </a:cubicBezTo>
                    <a:cubicBezTo>
                      <a:pt x="3517" y="1482"/>
                      <a:pt x="3517" y="1482"/>
                      <a:pt x="3517" y="1482"/>
                    </a:cubicBezTo>
                    <a:lnTo>
                      <a:pt x="3263" y="1610"/>
                    </a:lnTo>
                    <a:close/>
                    <a:moveTo>
                      <a:pt x="4181" y="1284"/>
                    </a:moveTo>
                    <a:cubicBezTo>
                      <a:pt x="4222" y="1498"/>
                      <a:pt x="4222" y="1498"/>
                      <a:pt x="4222" y="1498"/>
                    </a:cubicBezTo>
                    <a:cubicBezTo>
                      <a:pt x="4190" y="1512"/>
                      <a:pt x="4190" y="1512"/>
                      <a:pt x="4190" y="1512"/>
                    </a:cubicBezTo>
                    <a:cubicBezTo>
                      <a:pt x="4107" y="1308"/>
                      <a:pt x="4107" y="1308"/>
                      <a:pt x="4107" y="1308"/>
                    </a:cubicBezTo>
                    <a:cubicBezTo>
                      <a:pt x="4179" y="1275"/>
                      <a:pt x="4179" y="1275"/>
                      <a:pt x="4179" y="1275"/>
                    </a:cubicBezTo>
                    <a:lnTo>
                      <a:pt x="4181" y="1284"/>
                    </a:lnTo>
                    <a:close/>
                    <a:moveTo>
                      <a:pt x="4205" y="1489"/>
                    </a:moveTo>
                    <a:cubicBezTo>
                      <a:pt x="4168" y="1296"/>
                      <a:pt x="4168" y="1296"/>
                      <a:pt x="4168" y="1296"/>
                    </a:cubicBezTo>
                    <a:cubicBezTo>
                      <a:pt x="4126" y="1316"/>
                      <a:pt x="4126" y="1316"/>
                      <a:pt x="4126" y="1316"/>
                    </a:cubicBezTo>
                    <a:cubicBezTo>
                      <a:pt x="4198" y="1492"/>
                      <a:pt x="4198" y="1492"/>
                      <a:pt x="4198" y="1492"/>
                    </a:cubicBezTo>
                    <a:lnTo>
                      <a:pt x="4205" y="1489"/>
                    </a:lnTo>
                    <a:close/>
                    <a:moveTo>
                      <a:pt x="6996" y="8606"/>
                    </a:moveTo>
                    <a:cubicBezTo>
                      <a:pt x="6992" y="8489"/>
                      <a:pt x="6992" y="8489"/>
                      <a:pt x="6992" y="8489"/>
                    </a:cubicBezTo>
                    <a:cubicBezTo>
                      <a:pt x="7110" y="8488"/>
                      <a:pt x="7110" y="8488"/>
                      <a:pt x="7110" y="8488"/>
                    </a:cubicBezTo>
                    <a:cubicBezTo>
                      <a:pt x="7110" y="8499"/>
                      <a:pt x="7110" y="8499"/>
                      <a:pt x="7110" y="8499"/>
                    </a:cubicBezTo>
                    <a:cubicBezTo>
                      <a:pt x="7162" y="8499"/>
                      <a:pt x="7162" y="8499"/>
                      <a:pt x="7162" y="8499"/>
                    </a:cubicBezTo>
                    <a:cubicBezTo>
                      <a:pt x="7164" y="8684"/>
                      <a:pt x="7164" y="8684"/>
                      <a:pt x="7164" y="8684"/>
                    </a:cubicBezTo>
                    <a:cubicBezTo>
                      <a:pt x="7054" y="8685"/>
                      <a:pt x="7054" y="8685"/>
                      <a:pt x="7054" y="8685"/>
                    </a:cubicBezTo>
                    <a:cubicBezTo>
                      <a:pt x="7053" y="8612"/>
                      <a:pt x="7053" y="8612"/>
                      <a:pt x="7053" y="8612"/>
                    </a:cubicBezTo>
                    <a:cubicBezTo>
                      <a:pt x="6996" y="8612"/>
                      <a:pt x="6996" y="8612"/>
                      <a:pt x="6996" y="8612"/>
                    </a:cubicBezTo>
                    <a:lnTo>
                      <a:pt x="6996" y="8606"/>
                    </a:lnTo>
                    <a:close/>
                    <a:moveTo>
                      <a:pt x="7006" y="8502"/>
                    </a:moveTo>
                    <a:cubicBezTo>
                      <a:pt x="7009" y="8599"/>
                      <a:pt x="7009" y="8599"/>
                      <a:pt x="7009" y="8599"/>
                    </a:cubicBezTo>
                    <a:cubicBezTo>
                      <a:pt x="7066" y="8598"/>
                      <a:pt x="7066" y="8598"/>
                      <a:pt x="7066" y="8598"/>
                    </a:cubicBezTo>
                    <a:cubicBezTo>
                      <a:pt x="7067" y="8672"/>
                      <a:pt x="7067" y="8672"/>
                      <a:pt x="7067" y="8672"/>
                    </a:cubicBezTo>
                    <a:cubicBezTo>
                      <a:pt x="7150" y="8671"/>
                      <a:pt x="7150" y="8671"/>
                      <a:pt x="7150" y="8671"/>
                    </a:cubicBezTo>
                    <a:cubicBezTo>
                      <a:pt x="7149" y="8512"/>
                      <a:pt x="7149" y="8512"/>
                      <a:pt x="7149" y="8512"/>
                    </a:cubicBezTo>
                    <a:cubicBezTo>
                      <a:pt x="7097" y="8512"/>
                      <a:pt x="7097" y="8512"/>
                      <a:pt x="7097" y="8512"/>
                    </a:cubicBezTo>
                    <a:cubicBezTo>
                      <a:pt x="7097" y="8502"/>
                      <a:pt x="7097" y="8502"/>
                      <a:pt x="7097" y="8502"/>
                    </a:cubicBezTo>
                    <a:lnTo>
                      <a:pt x="7006" y="8502"/>
                    </a:lnTo>
                    <a:close/>
                    <a:moveTo>
                      <a:pt x="6486" y="8816"/>
                    </a:moveTo>
                    <a:cubicBezTo>
                      <a:pt x="6486" y="8891"/>
                      <a:pt x="6486" y="8891"/>
                      <a:pt x="6486" y="8891"/>
                    </a:cubicBezTo>
                    <a:cubicBezTo>
                      <a:pt x="6335" y="8893"/>
                      <a:pt x="6335" y="8893"/>
                      <a:pt x="6335" y="8893"/>
                    </a:cubicBezTo>
                    <a:cubicBezTo>
                      <a:pt x="6334" y="8817"/>
                      <a:pt x="6334" y="8817"/>
                      <a:pt x="6334" y="8817"/>
                    </a:cubicBezTo>
                    <a:cubicBezTo>
                      <a:pt x="6341" y="8817"/>
                      <a:pt x="6341" y="8817"/>
                      <a:pt x="6341" y="8817"/>
                    </a:cubicBezTo>
                    <a:lnTo>
                      <a:pt x="6486" y="8816"/>
                    </a:lnTo>
                    <a:close/>
                    <a:moveTo>
                      <a:pt x="6473" y="8878"/>
                    </a:moveTo>
                    <a:cubicBezTo>
                      <a:pt x="6472" y="8829"/>
                      <a:pt x="6472" y="8829"/>
                      <a:pt x="6472" y="8829"/>
                    </a:cubicBezTo>
                    <a:cubicBezTo>
                      <a:pt x="6347" y="8830"/>
                      <a:pt x="6347" y="8830"/>
                      <a:pt x="6347" y="8830"/>
                    </a:cubicBezTo>
                    <a:cubicBezTo>
                      <a:pt x="6348" y="8879"/>
                      <a:pt x="6348" y="8879"/>
                      <a:pt x="6348" y="8879"/>
                    </a:cubicBezTo>
                    <a:lnTo>
                      <a:pt x="6473" y="8878"/>
                    </a:lnTo>
                    <a:close/>
                  </a:path>
                </a:pathLst>
              </a:custGeom>
              <a:gradFill>
                <a:gsLst>
                  <a:gs pos="33000">
                    <a:srgbClr val="BFD037">
                      <a:alpha val="0"/>
                    </a:srgbClr>
                  </a:gs>
                  <a:gs pos="100000">
                    <a:srgbClr val="848B26"/>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6" name="Freeform 27">
                <a:extLst>
                  <a:ext uri="{FF2B5EF4-FFF2-40B4-BE49-F238E27FC236}">
                    <a16:creationId xmlns:a16="http://schemas.microsoft.com/office/drawing/2014/main" id="{2453E3AF-2DA6-4F04-BFC9-22062AA083A3}"/>
                  </a:ext>
                </a:extLst>
              </p:cNvPr>
              <p:cNvSpPr>
                <a:spLocks noSelect="1"/>
              </p:cNvSpPr>
              <p:nvPr userDrawn="1"/>
            </p:nvSpPr>
            <p:spPr bwMode="gray">
              <a:xfrm>
                <a:off x="4079" y="1437"/>
                <a:ext cx="3603" cy="2160"/>
              </a:xfrm>
              <a:custGeom>
                <a:avLst/>
                <a:gdLst>
                  <a:gd name="T0" fmla="*/ 12533 w 18011"/>
                  <a:gd name="T1" fmla="*/ 1549 h 10812"/>
                  <a:gd name="T2" fmla="*/ 6978 w 18011"/>
                  <a:gd name="T3" fmla="*/ 550 h 10812"/>
                  <a:gd name="T4" fmla="*/ 3914 w 18011"/>
                  <a:gd name="T5" fmla="*/ 521 h 10812"/>
                  <a:gd name="T6" fmla="*/ 2472 w 18011"/>
                  <a:gd name="T7" fmla="*/ 763 h 10812"/>
                  <a:gd name="T8" fmla="*/ 347 w 18011"/>
                  <a:gd name="T9" fmla="*/ 2094 h 10812"/>
                  <a:gd name="T10" fmla="*/ 2541 w 18011"/>
                  <a:gd name="T11" fmla="*/ 1464 h 10812"/>
                  <a:gd name="T12" fmla="*/ 3586 w 18011"/>
                  <a:gd name="T13" fmla="*/ 1080 h 10812"/>
                  <a:gd name="T14" fmla="*/ 1944 w 18011"/>
                  <a:gd name="T15" fmla="*/ 5115 h 10812"/>
                  <a:gd name="T16" fmla="*/ 405 w 18011"/>
                  <a:gd name="T17" fmla="*/ 4215 h 10812"/>
                  <a:gd name="T18" fmla="*/ 612 w 18011"/>
                  <a:gd name="T19" fmla="*/ 6186 h 10812"/>
                  <a:gd name="T20" fmla="*/ 142 w 18011"/>
                  <a:gd name="T21" fmla="*/ 5466 h 10812"/>
                  <a:gd name="T22" fmla="*/ 227 w 18011"/>
                  <a:gd name="T23" fmla="*/ 8170 h 10812"/>
                  <a:gd name="T24" fmla="*/ 1860 w 18011"/>
                  <a:gd name="T25" fmla="*/ 9979 h 10812"/>
                  <a:gd name="T26" fmla="*/ 573 w 18011"/>
                  <a:gd name="T27" fmla="*/ 10351 h 10812"/>
                  <a:gd name="T28" fmla="*/ 4500 w 18011"/>
                  <a:gd name="T29" fmla="*/ 10001 h 10812"/>
                  <a:gd name="T30" fmla="*/ 9190 w 18011"/>
                  <a:gd name="T31" fmla="*/ 10812 h 10812"/>
                  <a:gd name="T32" fmla="*/ 12509 w 18011"/>
                  <a:gd name="T33" fmla="*/ 9090 h 10812"/>
                  <a:gd name="T34" fmla="*/ 17308 w 18011"/>
                  <a:gd name="T35" fmla="*/ 8363 h 10812"/>
                  <a:gd name="T36" fmla="*/ 14995 w 18011"/>
                  <a:gd name="T37" fmla="*/ 3640 h 10812"/>
                  <a:gd name="T38" fmla="*/ 10797 w 18011"/>
                  <a:gd name="T39" fmla="*/ 2250 h 10812"/>
                  <a:gd name="T40" fmla="*/ 11711 w 18011"/>
                  <a:gd name="T41" fmla="*/ 3255 h 10812"/>
                  <a:gd name="T42" fmla="*/ 7739 w 18011"/>
                  <a:gd name="T43" fmla="*/ 7137 h 10812"/>
                  <a:gd name="T44" fmla="*/ 4650 w 18011"/>
                  <a:gd name="T45" fmla="*/ 5879 h 10812"/>
                  <a:gd name="T46" fmla="*/ 4223 w 18011"/>
                  <a:gd name="T47" fmla="*/ 4876 h 10812"/>
                  <a:gd name="T48" fmla="*/ 4022 w 18011"/>
                  <a:gd name="T49" fmla="*/ 5157 h 10812"/>
                  <a:gd name="T50" fmla="*/ 8468 w 18011"/>
                  <a:gd name="T51" fmla="*/ 3093 h 10812"/>
                  <a:gd name="T52" fmla="*/ 5942 w 18011"/>
                  <a:gd name="T53" fmla="*/ 4455 h 10812"/>
                  <a:gd name="T54" fmla="*/ 4250 w 18011"/>
                  <a:gd name="T55" fmla="*/ 5633 h 10812"/>
                  <a:gd name="T56" fmla="*/ 4752 w 18011"/>
                  <a:gd name="T57" fmla="*/ 5501 h 10812"/>
                  <a:gd name="T58" fmla="*/ 6082 w 18011"/>
                  <a:gd name="T59" fmla="*/ 3729 h 10812"/>
                  <a:gd name="T60" fmla="*/ 5353 w 18011"/>
                  <a:gd name="T61" fmla="*/ 2880 h 10812"/>
                  <a:gd name="T62" fmla="*/ 5016 w 18011"/>
                  <a:gd name="T63" fmla="*/ 6132 h 10812"/>
                  <a:gd name="T64" fmla="*/ 4072 w 18011"/>
                  <a:gd name="T65" fmla="*/ 7813 h 10812"/>
                  <a:gd name="T66" fmla="*/ 8682 w 18011"/>
                  <a:gd name="T67" fmla="*/ 1361 h 10812"/>
                  <a:gd name="T68" fmla="*/ 6714 w 18011"/>
                  <a:gd name="T69" fmla="*/ 3702 h 10812"/>
                  <a:gd name="T70" fmla="*/ 5316 w 18011"/>
                  <a:gd name="T71" fmla="*/ 1990 h 10812"/>
                  <a:gd name="T72" fmla="*/ 3788 w 18011"/>
                  <a:gd name="T73" fmla="*/ 1115 h 10812"/>
                  <a:gd name="T74" fmla="*/ 3764 w 18011"/>
                  <a:gd name="T75" fmla="*/ 1152 h 10812"/>
                  <a:gd name="T76" fmla="*/ 2308 w 18011"/>
                  <a:gd name="T77" fmla="*/ 3003 h 10812"/>
                  <a:gd name="T78" fmla="*/ 1166 w 18011"/>
                  <a:gd name="T79" fmla="*/ 3415 h 10812"/>
                  <a:gd name="T80" fmla="*/ 2303 w 18011"/>
                  <a:gd name="T81" fmla="*/ 4613 h 10812"/>
                  <a:gd name="T82" fmla="*/ 2709 w 18011"/>
                  <a:gd name="T83" fmla="*/ 6522 h 10812"/>
                  <a:gd name="T84" fmla="*/ 1185 w 18011"/>
                  <a:gd name="T85" fmla="*/ 4393 h 10812"/>
                  <a:gd name="T86" fmla="*/ 611 w 18011"/>
                  <a:gd name="T87" fmla="*/ 5580 h 10812"/>
                  <a:gd name="T88" fmla="*/ 1147 w 18011"/>
                  <a:gd name="T89" fmla="*/ 6881 h 10812"/>
                  <a:gd name="T90" fmla="*/ 1266 w 18011"/>
                  <a:gd name="T91" fmla="*/ 8597 h 10812"/>
                  <a:gd name="T92" fmla="*/ 2608 w 18011"/>
                  <a:gd name="T93" fmla="*/ 8718 h 10812"/>
                  <a:gd name="T94" fmla="*/ 4160 w 18011"/>
                  <a:gd name="T95" fmla="*/ 8117 h 10812"/>
                  <a:gd name="T96" fmla="*/ 6000 w 18011"/>
                  <a:gd name="T97" fmla="*/ 9983 h 10812"/>
                  <a:gd name="T98" fmla="*/ 7466 w 18011"/>
                  <a:gd name="T99" fmla="*/ 8988 h 10812"/>
                  <a:gd name="T100" fmla="*/ 11316 w 18011"/>
                  <a:gd name="T101" fmla="*/ 9017 h 10812"/>
                  <a:gd name="T102" fmla="*/ 12550 w 18011"/>
                  <a:gd name="T103" fmla="*/ 6987 h 10812"/>
                  <a:gd name="T104" fmla="*/ 16680 w 18011"/>
                  <a:gd name="T105" fmla="*/ 9055 h 10812"/>
                  <a:gd name="T106" fmla="*/ 13766 w 18011"/>
                  <a:gd name="T107" fmla="*/ 8833 h 10812"/>
                  <a:gd name="T108" fmla="*/ 12291 w 18011"/>
                  <a:gd name="T109" fmla="*/ 7169 h 10812"/>
                  <a:gd name="T110" fmla="*/ 8796 w 18011"/>
                  <a:gd name="T111" fmla="*/ 6507 h 10812"/>
                  <a:gd name="T112" fmla="*/ 11080 w 18011"/>
                  <a:gd name="T113" fmla="*/ 2632 h 10812"/>
                  <a:gd name="T114" fmla="*/ 2827 w 18011"/>
                  <a:gd name="T115" fmla="*/ 3987 h 10812"/>
                  <a:gd name="T116" fmla="*/ 702 w 18011"/>
                  <a:gd name="T117" fmla="*/ 2502 h 10812"/>
                  <a:gd name="T118" fmla="*/ 1043 w 18011"/>
                  <a:gd name="T119" fmla="*/ 11 h 10812"/>
                  <a:gd name="T120" fmla="*/ 1562 w 18011"/>
                  <a:gd name="T121" fmla="*/ 274 h 10812"/>
                  <a:gd name="T122" fmla="*/ 1698 w 18011"/>
                  <a:gd name="T123" fmla="*/ 1406 h 10812"/>
                  <a:gd name="T124" fmla="*/ 2172 w 18011"/>
                  <a:gd name="T125" fmla="*/ 3389 h 10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11" h="10812">
                    <a:moveTo>
                      <a:pt x="17155" y="911"/>
                    </a:moveTo>
                    <a:cubicBezTo>
                      <a:pt x="17181" y="908"/>
                      <a:pt x="17403" y="881"/>
                      <a:pt x="17631" y="854"/>
                    </a:cubicBezTo>
                    <a:cubicBezTo>
                      <a:pt x="17770" y="838"/>
                      <a:pt x="17911" y="822"/>
                      <a:pt x="18011" y="810"/>
                    </a:cubicBezTo>
                    <a:cubicBezTo>
                      <a:pt x="18011" y="694"/>
                      <a:pt x="18011" y="694"/>
                      <a:pt x="18011" y="694"/>
                    </a:cubicBezTo>
                    <a:cubicBezTo>
                      <a:pt x="18001" y="696"/>
                      <a:pt x="17990" y="697"/>
                      <a:pt x="17978" y="698"/>
                    </a:cubicBezTo>
                    <a:cubicBezTo>
                      <a:pt x="17884" y="709"/>
                      <a:pt x="17760" y="724"/>
                      <a:pt x="17635" y="738"/>
                    </a:cubicBezTo>
                    <a:cubicBezTo>
                      <a:pt x="17387" y="768"/>
                      <a:pt x="17140" y="797"/>
                      <a:pt x="17140" y="797"/>
                    </a:cubicBezTo>
                    <a:cubicBezTo>
                      <a:pt x="17137" y="797"/>
                      <a:pt x="17137" y="797"/>
                      <a:pt x="17137" y="797"/>
                    </a:cubicBezTo>
                    <a:cubicBezTo>
                      <a:pt x="15704" y="1091"/>
                      <a:pt x="15704" y="1091"/>
                      <a:pt x="15704" y="1091"/>
                    </a:cubicBezTo>
                    <a:cubicBezTo>
                      <a:pt x="15698" y="1093"/>
                      <a:pt x="15698" y="1093"/>
                      <a:pt x="15698" y="1093"/>
                    </a:cubicBezTo>
                    <a:cubicBezTo>
                      <a:pt x="15698" y="1093"/>
                      <a:pt x="15685" y="1099"/>
                      <a:pt x="15667" y="1107"/>
                    </a:cubicBezTo>
                    <a:cubicBezTo>
                      <a:pt x="15665" y="1099"/>
                      <a:pt x="15662" y="1087"/>
                      <a:pt x="15662" y="1087"/>
                    </a:cubicBezTo>
                    <a:cubicBezTo>
                      <a:pt x="15662" y="1087"/>
                      <a:pt x="15662" y="1087"/>
                      <a:pt x="15662" y="1087"/>
                    </a:cubicBezTo>
                    <a:cubicBezTo>
                      <a:pt x="15639" y="904"/>
                      <a:pt x="15576" y="398"/>
                      <a:pt x="15527" y="11"/>
                    </a:cubicBezTo>
                    <a:cubicBezTo>
                      <a:pt x="15491" y="11"/>
                      <a:pt x="15491" y="11"/>
                      <a:pt x="15491" y="11"/>
                    </a:cubicBezTo>
                    <a:cubicBezTo>
                      <a:pt x="15514" y="198"/>
                      <a:pt x="15541" y="413"/>
                      <a:pt x="15566" y="607"/>
                    </a:cubicBezTo>
                    <a:cubicBezTo>
                      <a:pt x="15593" y="828"/>
                      <a:pt x="15617" y="1019"/>
                      <a:pt x="15628" y="1108"/>
                    </a:cubicBezTo>
                    <a:cubicBezTo>
                      <a:pt x="15628" y="1114"/>
                      <a:pt x="15629" y="1121"/>
                      <a:pt x="15629" y="1123"/>
                    </a:cubicBezTo>
                    <a:cubicBezTo>
                      <a:pt x="15594" y="1138"/>
                      <a:pt x="15555" y="1154"/>
                      <a:pt x="15541" y="1161"/>
                    </a:cubicBezTo>
                    <a:cubicBezTo>
                      <a:pt x="15535" y="1164"/>
                      <a:pt x="15532" y="1165"/>
                      <a:pt x="15524" y="1169"/>
                    </a:cubicBezTo>
                    <a:cubicBezTo>
                      <a:pt x="15518" y="1173"/>
                      <a:pt x="15509" y="1178"/>
                      <a:pt x="15498" y="1184"/>
                    </a:cubicBezTo>
                    <a:cubicBezTo>
                      <a:pt x="15477" y="1196"/>
                      <a:pt x="15448" y="1212"/>
                      <a:pt x="15414" y="1231"/>
                    </a:cubicBezTo>
                    <a:cubicBezTo>
                      <a:pt x="15344" y="1270"/>
                      <a:pt x="15252" y="1321"/>
                      <a:pt x="15153" y="1375"/>
                    </a:cubicBezTo>
                    <a:cubicBezTo>
                      <a:pt x="14956" y="1482"/>
                      <a:pt x="14729" y="1600"/>
                      <a:pt x="14614" y="1642"/>
                    </a:cubicBezTo>
                    <a:cubicBezTo>
                      <a:pt x="14499" y="1683"/>
                      <a:pt x="14391" y="1720"/>
                      <a:pt x="14306" y="1747"/>
                    </a:cubicBezTo>
                    <a:cubicBezTo>
                      <a:pt x="14224" y="1774"/>
                      <a:pt x="14161" y="1793"/>
                      <a:pt x="14148" y="1795"/>
                    </a:cubicBezTo>
                    <a:cubicBezTo>
                      <a:pt x="14143" y="1795"/>
                      <a:pt x="14143" y="1796"/>
                      <a:pt x="14140" y="1796"/>
                    </a:cubicBezTo>
                    <a:cubicBezTo>
                      <a:pt x="14138" y="1797"/>
                      <a:pt x="14135" y="1797"/>
                      <a:pt x="14132" y="1798"/>
                    </a:cubicBezTo>
                    <a:cubicBezTo>
                      <a:pt x="14125" y="1799"/>
                      <a:pt x="14116" y="1801"/>
                      <a:pt x="14105" y="1804"/>
                    </a:cubicBezTo>
                    <a:cubicBezTo>
                      <a:pt x="14083" y="1809"/>
                      <a:pt x="14053" y="1816"/>
                      <a:pt x="14018" y="1824"/>
                    </a:cubicBezTo>
                    <a:cubicBezTo>
                      <a:pt x="13947" y="1841"/>
                      <a:pt x="13854" y="1863"/>
                      <a:pt x="13762" y="1885"/>
                    </a:cubicBezTo>
                    <a:cubicBezTo>
                      <a:pt x="13629" y="1918"/>
                      <a:pt x="13497" y="1949"/>
                      <a:pt x="13434" y="1965"/>
                    </a:cubicBezTo>
                    <a:cubicBezTo>
                      <a:pt x="13401" y="1894"/>
                      <a:pt x="13348" y="1832"/>
                      <a:pt x="13273" y="1781"/>
                    </a:cubicBezTo>
                    <a:cubicBezTo>
                      <a:pt x="13184" y="1720"/>
                      <a:pt x="13066" y="1673"/>
                      <a:pt x="12914" y="1637"/>
                    </a:cubicBezTo>
                    <a:cubicBezTo>
                      <a:pt x="12783" y="1605"/>
                      <a:pt x="12658" y="1586"/>
                      <a:pt x="12541" y="1573"/>
                    </a:cubicBezTo>
                    <a:cubicBezTo>
                      <a:pt x="12533" y="1549"/>
                      <a:pt x="12533" y="1549"/>
                      <a:pt x="12533" y="1549"/>
                    </a:cubicBezTo>
                    <a:cubicBezTo>
                      <a:pt x="12533" y="1549"/>
                      <a:pt x="12532" y="1548"/>
                      <a:pt x="12532" y="1548"/>
                    </a:cubicBezTo>
                    <a:cubicBezTo>
                      <a:pt x="12067" y="36"/>
                      <a:pt x="12067" y="36"/>
                      <a:pt x="12067" y="36"/>
                    </a:cubicBezTo>
                    <a:cubicBezTo>
                      <a:pt x="12067" y="36"/>
                      <a:pt x="12064" y="26"/>
                      <a:pt x="12058" y="11"/>
                    </a:cubicBezTo>
                    <a:cubicBezTo>
                      <a:pt x="12019" y="11"/>
                      <a:pt x="12019" y="11"/>
                      <a:pt x="12019" y="11"/>
                    </a:cubicBezTo>
                    <a:cubicBezTo>
                      <a:pt x="12022" y="17"/>
                      <a:pt x="12024" y="23"/>
                      <a:pt x="12026" y="28"/>
                    </a:cubicBezTo>
                    <a:cubicBezTo>
                      <a:pt x="12031" y="39"/>
                      <a:pt x="12033" y="46"/>
                      <a:pt x="12033" y="46"/>
                    </a:cubicBezTo>
                    <a:cubicBezTo>
                      <a:pt x="12495" y="1550"/>
                      <a:pt x="12495" y="1550"/>
                      <a:pt x="12495" y="1550"/>
                    </a:cubicBezTo>
                    <a:cubicBezTo>
                      <a:pt x="12495" y="1553"/>
                      <a:pt x="12495" y="1562"/>
                      <a:pt x="12494" y="1568"/>
                    </a:cubicBezTo>
                    <a:cubicBezTo>
                      <a:pt x="12361" y="1555"/>
                      <a:pt x="12241" y="1551"/>
                      <a:pt x="12136" y="1546"/>
                    </a:cubicBezTo>
                    <a:cubicBezTo>
                      <a:pt x="11938" y="1537"/>
                      <a:pt x="11272" y="1492"/>
                      <a:pt x="11225" y="1488"/>
                    </a:cubicBezTo>
                    <a:cubicBezTo>
                      <a:pt x="11219" y="1487"/>
                      <a:pt x="11193" y="1483"/>
                      <a:pt x="11152" y="1474"/>
                    </a:cubicBezTo>
                    <a:cubicBezTo>
                      <a:pt x="11103" y="1465"/>
                      <a:pt x="11032" y="1451"/>
                      <a:pt x="10946" y="1431"/>
                    </a:cubicBezTo>
                    <a:cubicBezTo>
                      <a:pt x="10774" y="1393"/>
                      <a:pt x="10539" y="1333"/>
                      <a:pt x="10290" y="1251"/>
                    </a:cubicBezTo>
                    <a:cubicBezTo>
                      <a:pt x="10282" y="1248"/>
                      <a:pt x="10275" y="1246"/>
                      <a:pt x="10268" y="1244"/>
                    </a:cubicBezTo>
                    <a:cubicBezTo>
                      <a:pt x="10269" y="1220"/>
                      <a:pt x="10269" y="1220"/>
                      <a:pt x="10269" y="1220"/>
                    </a:cubicBezTo>
                    <a:cubicBezTo>
                      <a:pt x="10696" y="11"/>
                      <a:pt x="10696" y="11"/>
                      <a:pt x="10696" y="11"/>
                    </a:cubicBezTo>
                    <a:cubicBezTo>
                      <a:pt x="10658" y="11"/>
                      <a:pt x="10658" y="11"/>
                      <a:pt x="10658" y="11"/>
                    </a:cubicBezTo>
                    <a:cubicBezTo>
                      <a:pt x="10235" y="1206"/>
                      <a:pt x="10235" y="1206"/>
                      <a:pt x="10235" y="1206"/>
                    </a:cubicBezTo>
                    <a:cubicBezTo>
                      <a:pt x="10230" y="1213"/>
                      <a:pt x="10224" y="1222"/>
                      <a:pt x="10219" y="1227"/>
                    </a:cubicBezTo>
                    <a:cubicBezTo>
                      <a:pt x="9735" y="1062"/>
                      <a:pt x="9178" y="810"/>
                      <a:pt x="9023" y="743"/>
                    </a:cubicBezTo>
                    <a:cubicBezTo>
                      <a:pt x="8872" y="678"/>
                      <a:pt x="8729" y="547"/>
                      <a:pt x="8681" y="434"/>
                    </a:cubicBezTo>
                    <a:cubicBezTo>
                      <a:pt x="8651" y="367"/>
                      <a:pt x="8642" y="286"/>
                      <a:pt x="8642" y="203"/>
                    </a:cubicBezTo>
                    <a:cubicBezTo>
                      <a:pt x="8642" y="147"/>
                      <a:pt x="8646" y="91"/>
                      <a:pt x="8649" y="39"/>
                    </a:cubicBezTo>
                    <a:cubicBezTo>
                      <a:pt x="8649" y="32"/>
                      <a:pt x="8649" y="22"/>
                      <a:pt x="8650" y="11"/>
                    </a:cubicBezTo>
                    <a:cubicBezTo>
                      <a:pt x="8535" y="11"/>
                      <a:pt x="8535" y="11"/>
                      <a:pt x="8535" y="11"/>
                    </a:cubicBezTo>
                    <a:cubicBezTo>
                      <a:pt x="8535" y="20"/>
                      <a:pt x="8534" y="28"/>
                      <a:pt x="8534" y="34"/>
                    </a:cubicBezTo>
                    <a:cubicBezTo>
                      <a:pt x="8532" y="84"/>
                      <a:pt x="8527" y="142"/>
                      <a:pt x="8527" y="203"/>
                    </a:cubicBezTo>
                    <a:cubicBezTo>
                      <a:pt x="8528" y="293"/>
                      <a:pt x="8536" y="390"/>
                      <a:pt x="8576" y="481"/>
                    </a:cubicBezTo>
                    <a:cubicBezTo>
                      <a:pt x="8598" y="530"/>
                      <a:pt x="8631" y="578"/>
                      <a:pt x="8670" y="624"/>
                    </a:cubicBezTo>
                    <a:cubicBezTo>
                      <a:pt x="8653" y="638"/>
                      <a:pt x="8632" y="655"/>
                      <a:pt x="8607" y="672"/>
                    </a:cubicBezTo>
                    <a:cubicBezTo>
                      <a:pt x="8549" y="714"/>
                      <a:pt x="8474" y="757"/>
                      <a:pt x="8413" y="771"/>
                    </a:cubicBezTo>
                    <a:cubicBezTo>
                      <a:pt x="8343" y="787"/>
                      <a:pt x="8253" y="800"/>
                      <a:pt x="8181" y="809"/>
                    </a:cubicBezTo>
                    <a:cubicBezTo>
                      <a:pt x="8135" y="814"/>
                      <a:pt x="8096" y="818"/>
                      <a:pt x="8075" y="820"/>
                    </a:cubicBezTo>
                    <a:cubicBezTo>
                      <a:pt x="8008" y="777"/>
                      <a:pt x="7766" y="622"/>
                      <a:pt x="7562" y="571"/>
                    </a:cubicBezTo>
                    <a:cubicBezTo>
                      <a:pt x="7438" y="540"/>
                      <a:pt x="7323" y="528"/>
                      <a:pt x="7218" y="528"/>
                    </a:cubicBezTo>
                    <a:cubicBezTo>
                      <a:pt x="7130" y="528"/>
                      <a:pt x="7050" y="537"/>
                      <a:pt x="6978" y="550"/>
                    </a:cubicBezTo>
                    <a:cubicBezTo>
                      <a:pt x="6804" y="582"/>
                      <a:pt x="6732" y="702"/>
                      <a:pt x="6728" y="709"/>
                    </a:cubicBezTo>
                    <a:cubicBezTo>
                      <a:pt x="6727" y="710"/>
                      <a:pt x="6727" y="710"/>
                      <a:pt x="6727" y="710"/>
                    </a:cubicBezTo>
                    <a:cubicBezTo>
                      <a:pt x="6727" y="711"/>
                      <a:pt x="6727" y="711"/>
                      <a:pt x="6727" y="711"/>
                    </a:cubicBezTo>
                    <a:cubicBezTo>
                      <a:pt x="6696" y="766"/>
                      <a:pt x="6668" y="827"/>
                      <a:pt x="6654" y="857"/>
                    </a:cubicBezTo>
                    <a:cubicBezTo>
                      <a:pt x="6647" y="858"/>
                      <a:pt x="6636" y="859"/>
                      <a:pt x="6623" y="859"/>
                    </a:cubicBezTo>
                    <a:cubicBezTo>
                      <a:pt x="6613" y="859"/>
                      <a:pt x="6603" y="859"/>
                      <a:pt x="6591" y="858"/>
                    </a:cubicBezTo>
                    <a:cubicBezTo>
                      <a:pt x="6587" y="858"/>
                      <a:pt x="6570" y="857"/>
                      <a:pt x="6543" y="855"/>
                    </a:cubicBezTo>
                    <a:cubicBezTo>
                      <a:pt x="6566" y="767"/>
                      <a:pt x="6591" y="681"/>
                      <a:pt x="6632" y="627"/>
                    </a:cubicBezTo>
                    <a:cubicBezTo>
                      <a:pt x="6661" y="587"/>
                      <a:pt x="6682" y="559"/>
                      <a:pt x="6703" y="539"/>
                    </a:cubicBezTo>
                    <a:cubicBezTo>
                      <a:pt x="6724" y="520"/>
                      <a:pt x="6746" y="505"/>
                      <a:pt x="6785" y="489"/>
                    </a:cubicBezTo>
                    <a:cubicBezTo>
                      <a:pt x="6863" y="456"/>
                      <a:pt x="7008" y="424"/>
                      <a:pt x="7290" y="370"/>
                    </a:cubicBezTo>
                    <a:cubicBezTo>
                      <a:pt x="7654" y="300"/>
                      <a:pt x="7917" y="163"/>
                      <a:pt x="8098" y="11"/>
                    </a:cubicBezTo>
                    <a:cubicBezTo>
                      <a:pt x="7860" y="11"/>
                      <a:pt x="7860" y="11"/>
                      <a:pt x="7860" y="11"/>
                    </a:cubicBezTo>
                    <a:cubicBezTo>
                      <a:pt x="7709" y="104"/>
                      <a:pt x="7514" y="185"/>
                      <a:pt x="7263" y="233"/>
                    </a:cubicBezTo>
                    <a:cubicBezTo>
                      <a:pt x="7051" y="274"/>
                      <a:pt x="6915" y="302"/>
                      <a:pt x="6818" y="330"/>
                    </a:cubicBezTo>
                    <a:cubicBezTo>
                      <a:pt x="6721" y="358"/>
                      <a:pt x="6657" y="390"/>
                      <a:pt x="6607" y="438"/>
                    </a:cubicBezTo>
                    <a:cubicBezTo>
                      <a:pt x="6574" y="470"/>
                      <a:pt x="6549" y="504"/>
                      <a:pt x="6520" y="544"/>
                    </a:cubicBezTo>
                    <a:cubicBezTo>
                      <a:pt x="6466" y="617"/>
                      <a:pt x="6440" y="702"/>
                      <a:pt x="6419" y="780"/>
                    </a:cubicBezTo>
                    <a:cubicBezTo>
                      <a:pt x="6413" y="802"/>
                      <a:pt x="6407" y="824"/>
                      <a:pt x="6401" y="845"/>
                    </a:cubicBezTo>
                    <a:cubicBezTo>
                      <a:pt x="6256" y="835"/>
                      <a:pt x="6047" y="820"/>
                      <a:pt x="5840" y="805"/>
                    </a:cubicBezTo>
                    <a:cubicBezTo>
                      <a:pt x="5477" y="779"/>
                      <a:pt x="5122" y="754"/>
                      <a:pt x="5121" y="754"/>
                    </a:cubicBezTo>
                    <a:cubicBezTo>
                      <a:pt x="5113" y="753"/>
                      <a:pt x="5113" y="753"/>
                      <a:pt x="5113" y="753"/>
                    </a:cubicBezTo>
                    <a:cubicBezTo>
                      <a:pt x="5105" y="755"/>
                      <a:pt x="5105" y="755"/>
                      <a:pt x="5105" y="755"/>
                    </a:cubicBezTo>
                    <a:cubicBezTo>
                      <a:pt x="5105" y="755"/>
                      <a:pt x="4987" y="780"/>
                      <a:pt x="4844" y="806"/>
                    </a:cubicBezTo>
                    <a:cubicBezTo>
                      <a:pt x="4700" y="833"/>
                      <a:pt x="4530" y="862"/>
                      <a:pt x="4430" y="870"/>
                    </a:cubicBezTo>
                    <a:cubicBezTo>
                      <a:pt x="4401" y="872"/>
                      <a:pt x="4374" y="873"/>
                      <a:pt x="4348" y="873"/>
                    </a:cubicBezTo>
                    <a:cubicBezTo>
                      <a:pt x="4244" y="873"/>
                      <a:pt x="4157" y="858"/>
                      <a:pt x="4069" y="858"/>
                    </a:cubicBezTo>
                    <a:cubicBezTo>
                      <a:pt x="4042" y="858"/>
                      <a:pt x="4015" y="860"/>
                      <a:pt x="3987" y="864"/>
                    </a:cubicBezTo>
                    <a:cubicBezTo>
                      <a:pt x="3980" y="848"/>
                      <a:pt x="3980" y="848"/>
                      <a:pt x="3980" y="848"/>
                    </a:cubicBezTo>
                    <a:cubicBezTo>
                      <a:pt x="3979" y="847"/>
                      <a:pt x="3979" y="846"/>
                      <a:pt x="3978" y="844"/>
                    </a:cubicBezTo>
                    <a:cubicBezTo>
                      <a:pt x="3977" y="842"/>
                      <a:pt x="3975" y="838"/>
                      <a:pt x="3974" y="835"/>
                    </a:cubicBezTo>
                    <a:cubicBezTo>
                      <a:pt x="3970" y="827"/>
                      <a:pt x="3965" y="816"/>
                      <a:pt x="3960" y="804"/>
                    </a:cubicBezTo>
                    <a:cubicBezTo>
                      <a:pt x="3950" y="779"/>
                      <a:pt x="3942" y="750"/>
                      <a:pt x="3938" y="720"/>
                    </a:cubicBezTo>
                    <a:cubicBezTo>
                      <a:pt x="3939" y="716"/>
                      <a:pt x="3939" y="716"/>
                      <a:pt x="3939" y="716"/>
                    </a:cubicBezTo>
                    <a:cubicBezTo>
                      <a:pt x="3937" y="717"/>
                      <a:pt x="3937" y="717"/>
                      <a:pt x="3937" y="717"/>
                    </a:cubicBezTo>
                    <a:cubicBezTo>
                      <a:pt x="3932" y="686"/>
                      <a:pt x="3914" y="577"/>
                      <a:pt x="3914" y="521"/>
                    </a:cubicBezTo>
                    <a:cubicBezTo>
                      <a:pt x="4060" y="457"/>
                      <a:pt x="4060" y="457"/>
                      <a:pt x="4060" y="457"/>
                    </a:cubicBezTo>
                    <a:cubicBezTo>
                      <a:pt x="4213" y="381"/>
                      <a:pt x="4213" y="381"/>
                      <a:pt x="4213" y="381"/>
                    </a:cubicBezTo>
                    <a:cubicBezTo>
                      <a:pt x="4213" y="380"/>
                      <a:pt x="4213" y="380"/>
                      <a:pt x="4213" y="380"/>
                    </a:cubicBezTo>
                    <a:cubicBezTo>
                      <a:pt x="4258" y="358"/>
                      <a:pt x="4331" y="319"/>
                      <a:pt x="4377" y="277"/>
                    </a:cubicBezTo>
                    <a:cubicBezTo>
                      <a:pt x="4424" y="232"/>
                      <a:pt x="4469" y="136"/>
                      <a:pt x="4504" y="11"/>
                    </a:cubicBezTo>
                    <a:cubicBezTo>
                      <a:pt x="4467" y="11"/>
                      <a:pt x="4467" y="11"/>
                      <a:pt x="4467" y="11"/>
                    </a:cubicBezTo>
                    <a:cubicBezTo>
                      <a:pt x="4433" y="129"/>
                      <a:pt x="4390" y="216"/>
                      <a:pt x="4353" y="250"/>
                    </a:cubicBezTo>
                    <a:cubicBezTo>
                      <a:pt x="4322" y="279"/>
                      <a:pt x="4278" y="306"/>
                      <a:pt x="4235" y="327"/>
                    </a:cubicBezTo>
                    <a:cubicBezTo>
                      <a:pt x="4227" y="332"/>
                      <a:pt x="4227" y="332"/>
                      <a:pt x="4227" y="332"/>
                    </a:cubicBezTo>
                    <a:cubicBezTo>
                      <a:pt x="4218" y="337"/>
                      <a:pt x="4211" y="340"/>
                      <a:pt x="4206" y="343"/>
                    </a:cubicBezTo>
                    <a:cubicBezTo>
                      <a:pt x="4206" y="343"/>
                      <a:pt x="4206" y="343"/>
                      <a:pt x="4206" y="343"/>
                    </a:cubicBezTo>
                    <a:cubicBezTo>
                      <a:pt x="4173" y="359"/>
                      <a:pt x="4173" y="359"/>
                      <a:pt x="4173" y="359"/>
                    </a:cubicBezTo>
                    <a:cubicBezTo>
                      <a:pt x="4152" y="365"/>
                      <a:pt x="4152" y="365"/>
                      <a:pt x="4152" y="365"/>
                    </a:cubicBezTo>
                    <a:cubicBezTo>
                      <a:pt x="4154" y="368"/>
                      <a:pt x="4154" y="368"/>
                      <a:pt x="4154" y="368"/>
                    </a:cubicBezTo>
                    <a:cubicBezTo>
                      <a:pt x="4044" y="423"/>
                      <a:pt x="4044" y="423"/>
                      <a:pt x="4044" y="423"/>
                    </a:cubicBezTo>
                    <a:cubicBezTo>
                      <a:pt x="3911" y="481"/>
                      <a:pt x="3911" y="481"/>
                      <a:pt x="3911" y="481"/>
                    </a:cubicBezTo>
                    <a:cubicBezTo>
                      <a:pt x="3910" y="471"/>
                      <a:pt x="3909" y="459"/>
                      <a:pt x="3907" y="449"/>
                    </a:cubicBezTo>
                    <a:cubicBezTo>
                      <a:pt x="3904" y="430"/>
                      <a:pt x="3898" y="420"/>
                      <a:pt x="3897" y="418"/>
                    </a:cubicBezTo>
                    <a:cubicBezTo>
                      <a:pt x="3896" y="417"/>
                      <a:pt x="3896" y="417"/>
                      <a:pt x="3896" y="417"/>
                    </a:cubicBezTo>
                    <a:cubicBezTo>
                      <a:pt x="3708" y="199"/>
                      <a:pt x="3708" y="199"/>
                      <a:pt x="3708" y="199"/>
                    </a:cubicBezTo>
                    <a:cubicBezTo>
                      <a:pt x="3708" y="199"/>
                      <a:pt x="3708" y="199"/>
                      <a:pt x="3708" y="199"/>
                    </a:cubicBezTo>
                    <a:cubicBezTo>
                      <a:pt x="3708" y="199"/>
                      <a:pt x="3624" y="99"/>
                      <a:pt x="3532" y="11"/>
                    </a:cubicBezTo>
                    <a:cubicBezTo>
                      <a:pt x="3479" y="11"/>
                      <a:pt x="3479" y="11"/>
                      <a:pt x="3479" y="11"/>
                    </a:cubicBezTo>
                    <a:cubicBezTo>
                      <a:pt x="3489" y="20"/>
                      <a:pt x="3499" y="30"/>
                      <a:pt x="3510" y="39"/>
                    </a:cubicBezTo>
                    <a:cubicBezTo>
                      <a:pt x="3486" y="43"/>
                      <a:pt x="3452" y="48"/>
                      <a:pt x="3415" y="56"/>
                    </a:cubicBezTo>
                    <a:cubicBezTo>
                      <a:pt x="3346" y="70"/>
                      <a:pt x="3266" y="90"/>
                      <a:pt x="3220" y="121"/>
                    </a:cubicBezTo>
                    <a:cubicBezTo>
                      <a:pt x="3142" y="175"/>
                      <a:pt x="3000" y="288"/>
                      <a:pt x="2852" y="287"/>
                    </a:cubicBezTo>
                    <a:cubicBezTo>
                      <a:pt x="2840" y="287"/>
                      <a:pt x="2828" y="286"/>
                      <a:pt x="2816" y="285"/>
                    </a:cubicBezTo>
                    <a:cubicBezTo>
                      <a:pt x="2651" y="264"/>
                      <a:pt x="2540" y="171"/>
                      <a:pt x="2451" y="108"/>
                    </a:cubicBezTo>
                    <a:cubicBezTo>
                      <a:pt x="2421" y="87"/>
                      <a:pt x="2371" y="51"/>
                      <a:pt x="2316" y="11"/>
                    </a:cubicBezTo>
                    <a:cubicBezTo>
                      <a:pt x="2255" y="11"/>
                      <a:pt x="2255" y="11"/>
                      <a:pt x="2255" y="11"/>
                    </a:cubicBezTo>
                    <a:cubicBezTo>
                      <a:pt x="2325" y="62"/>
                      <a:pt x="2393" y="111"/>
                      <a:pt x="2431" y="138"/>
                    </a:cubicBezTo>
                    <a:cubicBezTo>
                      <a:pt x="2494" y="182"/>
                      <a:pt x="2573" y="246"/>
                      <a:pt x="2680" y="287"/>
                    </a:cubicBezTo>
                    <a:cubicBezTo>
                      <a:pt x="2675" y="304"/>
                      <a:pt x="2675" y="304"/>
                      <a:pt x="2675" y="304"/>
                    </a:cubicBezTo>
                    <a:cubicBezTo>
                      <a:pt x="2675" y="304"/>
                      <a:pt x="2675" y="304"/>
                      <a:pt x="2675" y="304"/>
                    </a:cubicBezTo>
                    <a:cubicBezTo>
                      <a:pt x="2472" y="763"/>
                      <a:pt x="2472" y="763"/>
                      <a:pt x="2472" y="763"/>
                    </a:cubicBezTo>
                    <a:cubicBezTo>
                      <a:pt x="1997" y="1085"/>
                      <a:pt x="1997" y="1085"/>
                      <a:pt x="1997" y="1085"/>
                    </a:cubicBezTo>
                    <a:cubicBezTo>
                      <a:pt x="1664" y="1111"/>
                      <a:pt x="1664" y="1111"/>
                      <a:pt x="1664" y="1111"/>
                    </a:cubicBezTo>
                    <a:cubicBezTo>
                      <a:pt x="1333" y="700"/>
                      <a:pt x="1333" y="700"/>
                      <a:pt x="1333" y="700"/>
                    </a:cubicBezTo>
                    <a:cubicBezTo>
                      <a:pt x="1314" y="716"/>
                      <a:pt x="1314" y="716"/>
                      <a:pt x="1314" y="716"/>
                    </a:cubicBezTo>
                    <a:cubicBezTo>
                      <a:pt x="1643" y="1125"/>
                      <a:pt x="1643" y="1125"/>
                      <a:pt x="1643" y="1125"/>
                    </a:cubicBezTo>
                    <a:cubicBezTo>
                      <a:pt x="1610" y="1182"/>
                      <a:pt x="1386" y="1567"/>
                      <a:pt x="1364" y="1605"/>
                    </a:cubicBezTo>
                    <a:cubicBezTo>
                      <a:pt x="1360" y="1609"/>
                      <a:pt x="1360" y="1609"/>
                      <a:pt x="1360" y="1609"/>
                    </a:cubicBezTo>
                    <a:cubicBezTo>
                      <a:pt x="1359" y="1610"/>
                      <a:pt x="1359" y="1610"/>
                      <a:pt x="1358" y="1611"/>
                    </a:cubicBezTo>
                    <a:cubicBezTo>
                      <a:pt x="1354" y="1615"/>
                      <a:pt x="1348" y="1620"/>
                      <a:pt x="1341" y="1627"/>
                    </a:cubicBezTo>
                    <a:cubicBezTo>
                      <a:pt x="1327" y="1640"/>
                      <a:pt x="1306" y="1660"/>
                      <a:pt x="1282" y="1683"/>
                    </a:cubicBezTo>
                    <a:cubicBezTo>
                      <a:pt x="1233" y="1729"/>
                      <a:pt x="1168" y="1791"/>
                      <a:pt x="1102" y="1853"/>
                    </a:cubicBezTo>
                    <a:cubicBezTo>
                      <a:pt x="972" y="1977"/>
                      <a:pt x="843" y="2100"/>
                      <a:pt x="843" y="2100"/>
                    </a:cubicBezTo>
                    <a:cubicBezTo>
                      <a:pt x="858" y="2116"/>
                      <a:pt x="858" y="2116"/>
                      <a:pt x="858" y="2116"/>
                    </a:cubicBezTo>
                    <a:cubicBezTo>
                      <a:pt x="847" y="2114"/>
                      <a:pt x="838" y="2113"/>
                      <a:pt x="829" y="2113"/>
                    </a:cubicBezTo>
                    <a:cubicBezTo>
                      <a:pt x="821" y="2112"/>
                      <a:pt x="814" y="2112"/>
                      <a:pt x="807" y="2112"/>
                    </a:cubicBezTo>
                    <a:cubicBezTo>
                      <a:pt x="779" y="2112"/>
                      <a:pt x="758" y="2116"/>
                      <a:pt x="740" y="2118"/>
                    </a:cubicBezTo>
                    <a:cubicBezTo>
                      <a:pt x="697" y="2124"/>
                      <a:pt x="672" y="2138"/>
                      <a:pt x="644" y="2138"/>
                    </a:cubicBezTo>
                    <a:cubicBezTo>
                      <a:pt x="617" y="2138"/>
                      <a:pt x="569" y="2118"/>
                      <a:pt x="527" y="2105"/>
                    </a:cubicBezTo>
                    <a:cubicBezTo>
                      <a:pt x="489" y="2093"/>
                      <a:pt x="411" y="2057"/>
                      <a:pt x="351" y="2056"/>
                    </a:cubicBezTo>
                    <a:cubicBezTo>
                      <a:pt x="349" y="2056"/>
                      <a:pt x="347" y="2057"/>
                      <a:pt x="345" y="2057"/>
                    </a:cubicBezTo>
                    <a:cubicBezTo>
                      <a:pt x="288" y="2059"/>
                      <a:pt x="257" y="2079"/>
                      <a:pt x="236" y="2086"/>
                    </a:cubicBezTo>
                    <a:cubicBezTo>
                      <a:pt x="215" y="2094"/>
                      <a:pt x="144" y="2127"/>
                      <a:pt x="107" y="2144"/>
                    </a:cubicBezTo>
                    <a:cubicBezTo>
                      <a:pt x="102" y="2144"/>
                      <a:pt x="95" y="2144"/>
                      <a:pt x="90" y="2141"/>
                    </a:cubicBezTo>
                    <a:cubicBezTo>
                      <a:pt x="88" y="2135"/>
                      <a:pt x="88" y="2135"/>
                      <a:pt x="88" y="2135"/>
                    </a:cubicBezTo>
                    <a:cubicBezTo>
                      <a:pt x="88" y="2135"/>
                      <a:pt x="88" y="2135"/>
                      <a:pt x="88" y="2135"/>
                    </a:cubicBezTo>
                    <a:cubicBezTo>
                      <a:pt x="7" y="1977"/>
                      <a:pt x="7" y="1977"/>
                      <a:pt x="7" y="1977"/>
                    </a:cubicBezTo>
                    <a:cubicBezTo>
                      <a:pt x="7" y="2057"/>
                      <a:pt x="7" y="2057"/>
                      <a:pt x="7" y="2057"/>
                    </a:cubicBezTo>
                    <a:cubicBezTo>
                      <a:pt x="55" y="2151"/>
                      <a:pt x="55" y="2151"/>
                      <a:pt x="55" y="2151"/>
                    </a:cubicBezTo>
                    <a:cubicBezTo>
                      <a:pt x="55" y="2151"/>
                      <a:pt x="55" y="2151"/>
                      <a:pt x="55" y="2151"/>
                    </a:cubicBezTo>
                    <a:cubicBezTo>
                      <a:pt x="389" y="2772"/>
                      <a:pt x="389" y="2772"/>
                      <a:pt x="389" y="2772"/>
                    </a:cubicBezTo>
                    <a:cubicBezTo>
                      <a:pt x="422" y="2754"/>
                      <a:pt x="422" y="2754"/>
                      <a:pt x="422" y="2754"/>
                    </a:cubicBezTo>
                    <a:cubicBezTo>
                      <a:pt x="117" y="2189"/>
                      <a:pt x="117" y="2189"/>
                      <a:pt x="117" y="2189"/>
                    </a:cubicBezTo>
                    <a:cubicBezTo>
                      <a:pt x="117" y="2186"/>
                      <a:pt x="118" y="2182"/>
                      <a:pt x="122" y="2179"/>
                    </a:cubicBezTo>
                    <a:cubicBezTo>
                      <a:pt x="133" y="2173"/>
                      <a:pt x="149" y="2166"/>
                      <a:pt x="166" y="2158"/>
                    </a:cubicBezTo>
                    <a:cubicBezTo>
                      <a:pt x="199" y="2143"/>
                      <a:pt x="237" y="2126"/>
                      <a:pt x="248" y="2122"/>
                    </a:cubicBezTo>
                    <a:cubicBezTo>
                      <a:pt x="277" y="2112"/>
                      <a:pt x="298" y="2097"/>
                      <a:pt x="347" y="2094"/>
                    </a:cubicBezTo>
                    <a:cubicBezTo>
                      <a:pt x="348" y="2094"/>
                      <a:pt x="349" y="2094"/>
                      <a:pt x="351" y="2094"/>
                    </a:cubicBezTo>
                    <a:cubicBezTo>
                      <a:pt x="396" y="2094"/>
                      <a:pt x="474" y="2127"/>
                      <a:pt x="515" y="2141"/>
                    </a:cubicBezTo>
                    <a:cubicBezTo>
                      <a:pt x="555" y="2153"/>
                      <a:pt x="603" y="2175"/>
                      <a:pt x="644" y="2176"/>
                    </a:cubicBezTo>
                    <a:cubicBezTo>
                      <a:pt x="684" y="2175"/>
                      <a:pt x="710" y="2160"/>
                      <a:pt x="745" y="2155"/>
                    </a:cubicBezTo>
                    <a:cubicBezTo>
                      <a:pt x="764" y="2153"/>
                      <a:pt x="783" y="2149"/>
                      <a:pt x="807" y="2149"/>
                    </a:cubicBezTo>
                    <a:cubicBezTo>
                      <a:pt x="813" y="2149"/>
                      <a:pt x="819" y="2150"/>
                      <a:pt x="826" y="2150"/>
                    </a:cubicBezTo>
                    <a:cubicBezTo>
                      <a:pt x="852" y="2152"/>
                      <a:pt x="881" y="2156"/>
                      <a:pt x="913" y="2175"/>
                    </a:cubicBezTo>
                    <a:cubicBezTo>
                      <a:pt x="946" y="2195"/>
                      <a:pt x="981" y="2257"/>
                      <a:pt x="1004" y="2313"/>
                    </a:cubicBezTo>
                    <a:cubicBezTo>
                      <a:pt x="1028" y="2370"/>
                      <a:pt x="1041" y="2420"/>
                      <a:pt x="1041" y="2421"/>
                    </a:cubicBezTo>
                    <a:cubicBezTo>
                      <a:pt x="1078" y="2411"/>
                      <a:pt x="1078" y="2411"/>
                      <a:pt x="1078" y="2411"/>
                    </a:cubicBezTo>
                    <a:cubicBezTo>
                      <a:pt x="1078" y="2410"/>
                      <a:pt x="1063" y="2358"/>
                      <a:pt x="1039" y="2299"/>
                    </a:cubicBezTo>
                    <a:cubicBezTo>
                      <a:pt x="1014" y="2240"/>
                      <a:pt x="980" y="2174"/>
                      <a:pt x="932" y="2143"/>
                    </a:cubicBezTo>
                    <a:cubicBezTo>
                      <a:pt x="907" y="2128"/>
                      <a:pt x="883" y="2121"/>
                      <a:pt x="861" y="2117"/>
                    </a:cubicBezTo>
                    <a:cubicBezTo>
                      <a:pt x="874" y="2104"/>
                      <a:pt x="993" y="1991"/>
                      <a:pt x="1115" y="1875"/>
                    </a:cubicBezTo>
                    <a:cubicBezTo>
                      <a:pt x="1239" y="1757"/>
                      <a:pt x="1366" y="1637"/>
                      <a:pt x="1379" y="1625"/>
                    </a:cubicBezTo>
                    <a:cubicBezTo>
                      <a:pt x="1379" y="1625"/>
                      <a:pt x="1379" y="1625"/>
                      <a:pt x="1379" y="1625"/>
                    </a:cubicBezTo>
                    <a:cubicBezTo>
                      <a:pt x="1380" y="1624"/>
                      <a:pt x="1380" y="1624"/>
                      <a:pt x="1381" y="1623"/>
                    </a:cubicBezTo>
                    <a:cubicBezTo>
                      <a:pt x="1381" y="1623"/>
                      <a:pt x="1382" y="1623"/>
                      <a:pt x="1382" y="1623"/>
                    </a:cubicBezTo>
                    <a:cubicBezTo>
                      <a:pt x="1382" y="1622"/>
                      <a:pt x="1382" y="1622"/>
                      <a:pt x="1382" y="1622"/>
                    </a:cubicBezTo>
                    <a:cubicBezTo>
                      <a:pt x="1382" y="1622"/>
                      <a:pt x="1383" y="1621"/>
                      <a:pt x="1383" y="1621"/>
                    </a:cubicBezTo>
                    <a:cubicBezTo>
                      <a:pt x="1383" y="1621"/>
                      <a:pt x="1383" y="1621"/>
                      <a:pt x="1383" y="1621"/>
                    </a:cubicBezTo>
                    <a:cubicBezTo>
                      <a:pt x="1383" y="1621"/>
                      <a:pt x="1383" y="1621"/>
                      <a:pt x="1383" y="1621"/>
                    </a:cubicBezTo>
                    <a:cubicBezTo>
                      <a:pt x="1383" y="1621"/>
                      <a:pt x="1383" y="1621"/>
                      <a:pt x="1383" y="1621"/>
                    </a:cubicBezTo>
                    <a:cubicBezTo>
                      <a:pt x="1383" y="1620"/>
                      <a:pt x="1383" y="1620"/>
                      <a:pt x="1384" y="1620"/>
                    </a:cubicBezTo>
                    <a:cubicBezTo>
                      <a:pt x="1384" y="1619"/>
                      <a:pt x="1385" y="1617"/>
                      <a:pt x="1386" y="1615"/>
                    </a:cubicBezTo>
                    <a:cubicBezTo>
                      <a:pt x="1388" y="1612"/>
                      <a:pt x="1391" y="1606"/>
                      <a:pt x="1395" y="1600"/>
                    </a:cubicBezTo>
                    <a:cubicBezTo>
                      <a:pt x="1403" y="1586"/>
                      <a:pt x="1414" y="1567"/>
                      <a:pt x="1428" y="1544"/>
                    </a:cubicBezTo>
                    <a:cubicBezTo>
                      <a:pt x="1454" y="1498"/>
                      <a:pt x="1490" y="1437"/>
                      <a:pt x="1526" y="1375"/>
                    </a:cubicBezTo>
                    <a:cubicBezTo>
                      <a:pt x="1588" y="1268"/>
                      <a:pt x="1651" y="1161"/>
                      <a:pt x="1665" y="1135"/>
                    </a:cubicBezTo>
                    <a:cubicBezTo>
                      <a:pt x="2005" y="1109"/>
                      <a:pt x="2005" y="1109"/>
                      <a:pt x="2005" y="1109"/>
                    </a:cubicBezTo>
                    <a:cubicBezTo>
                      <a:pt x="2258" y="937"/>
                      <a:pt x="2258" y="937"/>
                      <a:pt x="2258" y="937"/>
                    </a:cubicBezTo>
                    <a:cubicBezTo>
                      <a:pt x="2526" y="1497"/>
                      <a:pt x="2526" y="1497"/>
                      <a:pt x="2526" y="1497"/>
                    </a:cubicBezTo>
                    <a:cubicBezTo>
                      <a:pt x="2527" y="1496"/>
                      <a:pt x="2527" y="1496"/>
                      <a:pt x="2527" y="1496"/>
                    </a:cubicBezTo>
                    <a:cubicBezTo>
                      <a:pt x="2576" y="1599"/>
                      <a:pt x="2576" y="1599"/>
                      <a:pt x="2576" y="1599"/>
                    </a:cubicBezTo>
                    <a:cubicBezTo>
                      <a:pt x="2599" y="1588"/>
                      <a:pt x="2599" y="1588"/>
                      <a:pt x="2599" y="1588"/>
                    </a:cubicBezTo>
                    <a:cubicBezTo>
                      <a:pt x="2541" y="1464"/>
                      <a:pt x="2541" y="1464"/>
                      <a:pt x="2541" y="1464"/>
                    </a:cubicBezTo>
                    <a:cubicBezTo>
                      <a:pt x="2539" y="1466"/>
                      <a:pt x="2539" y="1466"/>
                      <a:pt x="2539" y="1466"/>
                    </a:cubicBezTo>
                    <a:cubicBezTo>
                      <a:pt x="2278" y="923"/>
                      <a:pt x="2278" y="923"/>
                      <a:pt x="2278" y="923"/>
                    </a:cubicBezTo>
                    <a:cubicBezTo>
                      <a:pt x="2500" y="773"/>
                      <a:pt x="2500" y="773"/>
                      <a:pt x="2500" y="773"/>
                    </a:cubicBezTo>
                    <a:cubicBezTo>
                      <a:pt x="2502" y="774"/>
                      <a:pt x="2502" y="774"/>
                      <a:pt x="2502" y="774"/>
                    </a:cubicBezTo>
                    <a:cubicBezTo>
                      <a:pt x="2504" y="771"/>
                      <a:pt x="2504" y="771"/>
                      <a:pt x="2504" y="771"/>
                    </a:cubicBezTo>
                    <a:cubicBezTo>
                      <a:pt x="2504" y="771"/>
                      <a:pt x="2504" y="771"/>
                      <a:pt x="2504" y="771"/>
                    </a:cubicBezTo>
                    <a:cubicBezTo>
                      <a:pt x="2504" y="770"/>
                      <a:pt x="2504" y="770"/>
                      <a:pt x="2504" y="770"/>
                    </a:cubicBezTo>
                    <a:cubicBezTo>
                      <a:pt x="2707" y="312"/>
                      <a:pt x="2707" y="312"/>
                      <a:pt x="2707" y="312"/>
                    </a:cubicBezTo>
                    <a:cubicBezTo>
                      <a:pt x="2714" y="299"/>
                      <a:pt x="2714" y="299"/>
                      <a:pt x="2714" y="299"/>
                    </a:cubicBezTo>
                    <a:cubicBezTo>
                      <a:pt x="2745" y="308"/>
                      <a:pt x="2777" y="316"/>
                      <a:pt x="2811" y="321"/>
                    </a:cubicBezTo>
                    <a:cubicBezTo>
                      <a:pt x="2825" y="322"/>
                      <a:pt x="2839" y="323"/>
                      <a:pt x="2852" y="323"/>
                    </a:cubicBezTo>
                    <a:cubicBezTo>
                      <a:pt x="3018" y="323"/>
                      <a:pt x="3164" y="203"/>
                      <a:pt x="3240" y="151"/>
                    </a:cubicBezTo>
                    <a:cubicBezTo>
                      <a:pt x="3277" y="126"/>
                      <a:pt x="3355" y="104"/>
                      <a:pt x="3423" y="91"/>
                    </a:cubicBezTo>
                    <a:cubicBezTo>
                      <a:pt x="3479" y="80"/>
                      <a:pt x="3527" y="73"/>
                      <a:pt x="3542" y="72"/>
                    </a:cubicBezTo>
                    <a:cubicBezTo>
                      <a:pt x="3556" y="86"/>
                      <a:pt x="3570" y="100"/>
                      <a:pt x="3583" y="114"/>
                    </a:cubicBezTo>
                    <a:cubicBezTo>
                      <a:pt x="3639" y="173"/>
                      <a:pt x="3676" y="220"/>
                      <a:pt x="3676" y="220"/>
                    </a:cubicBezTo>
                    <a:cubicBezTo>
                      <a:pt x="3678" y="221"/>
                      <a:pt x="3678" y="221"/>
                      <a:pt x="3678" y="221"/>
                    </a:cubicBezTo>
                    <a:cubicBezTo>
                      <a:pt x="3865" y="438"/>
                      <a:pt x="3865" y="438"/>
                      <a:pt x="3865" y="438"/>
                    </a:cubicBezTo>
                    <a:cubicBezTo>
                      <a:pt x="3865" y="439"/>
                      <a:pt x="3865" y="440"/>
                      <a:pt x="3866" y="441"/>
                    </a:cubicBezTo>
                    <a:cubicBezTo>
                      <a:pt x="3867" y="444"/>
                      <a:pt x="3868" y="449"/>
                      <a:pt x="3870" y="455"/>
                    </a:cubicBezTo>
                    <a:cubicBezTo>
                      <a:pt x="3873" y="475"/>
                      <a:pt x="3875" y="503"/>
                      <a:pt x="3876" y="512"/>
                    </a:cubicBezTo>
                    <a:cubicBezTo>
                      <a:pt x="3876" y="514"/>
                      <a:pt x="3876" y="517"/>
                      <a:pt x="3876" y="520"/>
                    </a:cubicBezTo>
                    <a:cubicBezTo>
                      <a:pt x="3876" y="581"/>
                      <a:pt x="3893" y="695"/>
                      <a:pt x="3898" y="728"/>
                    </a:cubicBezTo>
                    <a:cubicBezTo>
                      <a:pt x="3898" y="728"/>
                      <a:pt x="3898" y="728"/>
                      <a:pt x="3898" y="728"/>
                    </a:cubicBezTo>
                    <a:cubicBezTo>
                      <a:pt x="3898" y="729"/>
                      <a:pt x="3899" y="731"/>
                      <a:pt x="3899" y="733"/>
                    </a:cubicBezTo>
                    <a:cubicBezTo>
                      <a:pt x="3899" y="735"/>
                      <a:pt x="3900" y="737"/>
                      <a:pt x="3900" y="737"/>
                    </a:cubicBezTo>
                    <a:cubicBezTo>
                      <a:pt x="3900" y="743"/>
                      <a:pt x="3900" y="743"/>
                      <a:pt x="3900" y="743"/>
                    </a:cubicBezTo>
                    <a:cubicBezTo>
                      <a:pt x="3901" y="743"/>
                      <a:pt x="3901" y="743"/>
                      <a:pt x="3901" y="743"/>
                    </a:cubicBezTo>
                    <a:cubicBezTo>
                      <a:pt x="3911" y="793"/>
                      <a:pt x="3935" y="838"/>
                      <a:pt x="3943" y="855"/>
                    </a:cubicBezTo>
                    <a:cubicBezTo>
                      <a:pt x="3949" y="871"/>
                      <a:pt x="3949" y="871"/>
                      <a:pt x="3949" y="871"/>
                    </a:cubicBezTo>
                    <a:cubicBezTo>
                      <a:pt x="3946" y="872"/>
                      <a:pt x="3943" y="873"/>
                      <a:pt x="3940" y="874"/>
                    </a:cubicBezTo>
                    <a:cubicBezTo>
                      <a:pt x="3863" y="895"/>
                      <a:pt x="3795" y="934"/>
                      <a:pt x="3740" y="972"/>
                    </a:cubicBezTo>
                    <a:cubicBezTo>
                      <a:pt x="3686" y="1009"/>
                      <a:pt x="3643" y="1045"/>
                      <a:pt x="3626" y="1057"/>
                    </a:cubicBezTo>
                    <a:cubicBezTo>
                      <a:pt x="3626" y="1057"/>
                      <a:pt x="3625" y="1058"/>
                      <a:pt x="3624" y="1058"/>
                    </a:cubicBezTo>
                    <a:cubicBezTo>
                      <a:pt x="3622" y="1059"/>
                      <a:pt x="3620" y="1061"/>
                      <a:pt x="3616" y="1063"/>
                    </a:cubicBezTo>
                    <a:cubicBezTo>
                      <a:pt x="3609" y="1067"/>
                      <a:pt x="3599" y="1073"/>
                      <a:pt x="3586" y="1080"/>
                    </a:cubicBezTo>
                    <a:cubicBezTo>
                      <a:pt x="3561" y="1094"/>
                      <a:pt x="3525" y="1113"/>
                      <a:pt x="3482" y="1136"/>
                    </a:cubicBezTo>
                    <a:cubicBezTo>
                      <a:pt x="3397" y="1182"/>
                      <a:pt x="3281" y="1244"/>
                      <a:pt x="3154" y="1312"/>
                    </a:cubicBezTo>
                    <a:cubicBezTo>
                      <a:pt x="2900" y="1447"/>
                      <a:pt x="2600" y="1606"/>
                      <a:pt x="2400" y="1712"/>
                    </a:cubicBezTo>
                    <a:cubicBezTo>
                      <a:pt x="2267" y="1782"/>
                      <a:pt x="2208" y="1811"/>
                      <a:pt x="2208" y="1811"/>
                    </a:cubicBezTo>
                    <a:cubicBezTo>
                      <a:pt x="2204" y="1813"/>
                      <a:pt x="2204" y="1813"/>
                      <a:pt x="2204" y="1813"/>
                    </a:cubicBezTo>
                    <a:cubicBezTo>
                      <a:pt x="1283" y="2303"/>
                      <a:pt x="1283" y="2303"/>
                      <a:pt x="1283" y="2303"/>
                    </a:cubicBezTo>
                    <a:cubicBezTo>
                      <a:pt x="451" y="2749"/>
                      <a:pt x="451" y="2749"/>
                      <a:pt x="451" y="2749"/>
                    </a:cubicBezTo>
                    <a:cubicBezTo>
                      <a:pt x="445" y="2752"/>
                      <a:pt x="421" y="2764"/>
                      <a:pt x="399" y="2778"/>
                    </a:cubicBezTo>
                    <a:cubicBezTo>
                      <a:pt x="380" y="2791"/>
                      <a:pt x="358" y="2806"/>
                      <a:pt x="339" y="2826"/>
                    </a:cubicBezTo>
                    <a:cubicBezTo>
                      <a:pt x="334" y="2831"/>
                      <a:pt x="317" y="2849"/>
                      <a:pt x="292" y="2876"/>
                    </a:cubicBezTo>
                    <a:cubicBezTo>
                      <a:pt x="232" y="2866"/>
                      <a:pt x="169" y="2859"/>
                      <a:pt x="119" y="2864"/>
                    </a:cubicBezTo>
                    <a:cubicBezTo>
                      <a:pt x="78" y="2867"/>
                      <a:pt x="39" y="2882"/>
                      <a:pt x="7" y="2900"/>
                    </a:cubicBezTo>
                    <a:cubicBezTo>
                      <a:pt x="7" y="3164"/>
                      <a:pt x="7" y="3164"/>
                      <a:pt x="7" y="3164"/>
                    </a:cubicBezTo>
                    <a:cubicBezTo>
                      <a:pt x="14" y="3164"/>
                      <a:pt x="20" y="3163"/>
                      <a:pt x="26" y="3163"/>
                    </a:cubicBezTo>
                    <a:cubicBezTo>
                      <a:pt x="20" y="3169"/>
                      <a:pt x="14" y="3176"/>
                      <a:pt x="7" y="3183"/>
                    </a:cubicBezTo>
                    <a:cubicBezTo>
                      <a:pt x="7" y="3364"/>
                      <a:pt x="7" y="3364"/>
                      <a:pt x="7" y="3364"/>
                    </a:cubicBezTo>
                    <a:cubicBezTo>
                      <a:pt x="35" y="3334"/>
                      <a:pt x="63" y="3304"/>
                      <a:pt x="92" y="3273"/>
                    </a:cubicBezTo>
                    <a:cubicBezTo>
                      <a:pt x="132" y="3229"/>
                      <a:pt x="173" y="3186"/>
                      <a:pt x="211" y="3144"/>
                    </a:cubicBezTo>
                    <a:cubicBezTo>
                      <a:pt x="244" y="3141"/>
                      <a:pt x="277" y="3137"/>
                      <a:pt x="305" y="3132"/>
                    </a:cubicBezTo>
                    <a:cubicBezTo>
                      <a:pt x="391" y="3117"/>
                      <a:pt x="391" y="3117"/>
                      <a:pt x="391" y="3117"/>
                    </a:cubicBezTo>
                    <a:cubicBezTo>
                      <a:pt x="403" y="3116"/>
                      <a:pt x="476" y="3093"/>
                      <a:pt x="476" y="3093"/>
                    </a:cubicBezTo>
                    <a:cubicBezTo>
                      <a:pt x="518" y="3066"/>
                      <a:pt x="550" y="3045"/>
                      <a:pt x="593" y="3019"/>
                    </a:cubicBezTo>
                    <a:cubicBezTo>
                      <a:pt x="601" y="3029"/>
                      <a:pt x="609" y="3038"/>
                      <a:pt x="617" y="3048"/>
                    </a:cubicBezTo>
                    <a:cubicBezTo>
                      <a:pt x="696" y="3140"/>
                      <a:pt x="802" y="3262"/>
                      <a:pt x="908" y="3384"/>
                    </a:cubicBezTo>
                    <a:cubicBezTo>
                      <a:pt x="1119" y="3629"/>
                      <a:pt x="1331" y="3873"/>
                      <a:pt x="1331" y="3873"/>
                    </a:cubicBezTo>
                    <a:cubicBezTo>
                      <a:pt x="1799" y="4411"/>
                      <a:pt x="1799" y="4411"/>
                      <a:pt x="1799" y="4411"/>
                    </a:cubicBezTo>
                    <a:cubicBezTo>
                      <a:pt x="1800" y="4411"/>
                      <a:pt x="1800" y="4411"/>
                      <a:pt x="1800" y="4411"/>
                    </a:cubicBezTo>
                    <a:cubicBezTo>
                      <a:pt x="1800" y="4412"/>
                      <a:pt x="1888" y="4499"/>
                      <a:pt x="1999" y="4547"/>
                    </a:cubicBezTo>
                    <a:cubicBezTo>
                      <a:pt x="2091" y="4586"/>
                      <a:pt x="2188" y="4590"/>
                      <a:pt x="2227" y="4590"/>
                    </a:cubicBezTo>
                    <a:cubicBezTo>
                      <a:pt x="2241" y="4590"/>
                      <a:pt x="2256" y="4590"/>
                      <a:pt x="2271" y="4590"/>
                    </a:cubicBezTo>
                    <a:cubicBezTo>
                      <a:pt x="2270" y="4594"/>
                      <a:pt x="2268" y="4597"/>
                      <a:pt x="2267" y="4600"/>
                    </a:cubicBezTo>
                    <a:cubicBezTo>
                      <a:pt x="2239" y="4680"/>
                      <a:pt x="2232" y="4709"/>
                      <a:pt x="2230" y="4719"/>
                    </a:cubicBezTo>
                    <a:cubicBezTo>
                      <a:pt x="2224" y="4729"/>
                      <a:pt x="2203" y="4764"/>
                      <a:pt x="2171" y="4813"/>
                    </a:cubicBezTo>
                    <a:cubicBezTo>
                      <a:pt x="2134" y="4871"/>
                      <a:pt x="2081" y="4949"/>
                      <a:pt x="2023" y="5027"/>
                    </a:cubicBezTo>
                    <a:cubicBezTo>
                      <a:pt x="2001" y="5056"/>
                      <a:pt x="1978" y="5090"/>
                      <a:pt x="1957" y="5116"/>
                    </a:cubicBezTo>
                    <a:cubicBezTo>
                      <a:pt x="1952" y="5115"/>
                      <a:pt x="1947" y="5115"/>
                      <a:pt x="1944" y="5115"/>
                    </a:cubicBezTo>
                    <a:cubicBezTo>
                      <a:pt x="1918" y="5109"/>
                      <a:pt x="1886" y="5104"/>
                      <a:pt x="1846" y="5094"/>
                    </a:cubicBezTo>
                    <a:cubicBezTo>
                      <a:pt x="1742" y="5069"/>
                      <a:pt x="1601" y="5027"/>
                      <a:pt x="1523" y="4975"/>
                    </a:cubicBezTo>
                    <a:cubicBezTo>
                      <a:pt x="1414" y="4901"/>
                      <a:pt x="1403" y="4839"/>
                      <a:pt x="1392" y="4805"/>
                    </a:cubicBezTo>
                    <a:cubicBezTo>
                      <a:pt x="1382" y="4771"/>
                      <a:pt x="1355" y="4665"/>
                      <a:pt x="1338" y="4601"/>
                    </a:cubicBezTo>
                    <a:cubicBezTo>
                      <a:pt x="1319" y="4534"/>
                      <a:pt x="1257" y="4434"/>
                      <a:pt x="1203" y="4376"/>
                    </a:cubicBezTo>
                    <a:cubicBezTo>
                      <a:pt x="1167" y="4336"/>
                      <a:pt x="1101" y="4279"/>
                      <a:pt x="1046" y="4237"/>
                    </a:cubicBezTo>
                    <a:cubicBezTo>
                      <a:pt x="1052" y="4220"/>
                      <a:pt x="1065" y="4181"/>
                      <a:pt x="1086" y="4141"/>
                    </a:cubicBezTo>
                    <a:cubicBezTo>
                      <a:pt x="1107" y="4101"/>
                      <a:pt x="1137" y="4059"/>
                      <a:pt x="1162" y="4029"/>
                    </a:cubicBezTo>
                    <a:cubicBezTo>
                      <a:pt x="1181" y="4007"/>
                      <a:pt x="1204" y="3982"/>
                      <a:pt x="1228" y="3961"/>
                    </a:cubicBezTo>
                    <a:cubicBezTo>
                      <a:pt x="1277" y="3917"/>
                      <a:pt x="1328" y="3883"/>
                      <a:pt x="1328" y="3883"/>
                    </a:cubicBezTo>
                    <a:cubicBezTo>
                      <a:pt x="1328" y="3883"/>
                      <a:pt x="1328" y="3883"/>
                      <a:pt x="1328" y="3883"/>
                    </a:cubicBezTo>
                    <a:cubicBezTo>
                      <a:pt x="1314" y="3863"/>
                      <a:pt x="1314" y="3863"/>
                      <a:pt x="1314" y="3863"/>
                    </a:cubicBezTo>
                    <a:cubicBezTo>
                      <a:pt x="1314" y="3863"/>
                      <a:pt x="1262" y="3897"/>
                      <a:pt x="1211" y="3942"/>
                    </a:cubicBezTo>
                    <a:cubicBezTo>
                      <a:pt x="1186" y="3965"/>
                      <a:pt x="1163" y="3991"/>
                      <a:pt x="1144" y="4014"/>
                    </a:cubicBezTo>
                    <a:cubicBezTo>
                      <a:pt x="1117" y="4045"/>
                      <a:pt x="1087" y="4087"/>
                      <a:pt x="1064" y="4130"/>
                    </a:cubicBezTo>
                    <a:cubicBezTo>
                      <a:pt x="1045" y="4166"/>
                      <a:pt x="1032" y="4201"/>
                      <a:pt x="1026" y="4221"/>
                    </a:cubicBezTo>
                    <a:cubicBezTo>
                      <a:pt x="1009" y="4209"/>
                      <a:pt x="994" y="4198"/>
                      <a:pt x="983" y="4191"/>
                    </a:cubicBezTo>
                    <a:cubicBezTo>
                      <a:pt x="934" y="4161"/>
                      <a:pt x="829" y="4103"/>
                      <a:pt x="753" y="4053"/>
                    </a:cubicBezTo>
                    <a:cubicBezTo>
                      <a:pt x="716" y="4029"/>
                      <a:pt x="684" y="3996"/>
                      <a:pt x="661" y="3970"/>
                    </a:cubicBezTo>
                    <a:cubicBezTo>
                      <a:pt x="654" y="3962"/>
                      <a:pt x="647" y="3953"/>
                      <a:pt x="641" y="3945"/>
                    </a:cubicBezTo>
                    <a:cubicBezTo>
                      <a:pt x="644" y="3943"/>
                      <a:pt x="644" y="3943"/>
                      <a:pt x="644" y="3943"/>
                    </a:cubicBezTo>
                    <a:cubicBezTo>
                      <a:pt x="644" y="3943"/>
                      <a:pt x="634" y="3939"/>
                      <a:pt x="618" y="3914"/>
                    </a:cubicBezTo>
                    <a:cubicBezTo>
                      <a:pt x="587" y="3867"/>
                      <a:pt x="535" y="3772"/>
                      <a:pt x="498" y="3691"/>
                    </a:cubicBezTo>
                    <a:cubicBezTo>
                      <a:pt x="440" y="3569"/>
                      <a:pt x="350" y="3344"/>
                      <a:pt x="350" y="3343"/>
                    </a:cubicBezTo>
                    <a:cubicBezTo>
                      <a:pt x="328" y="3358"/>
                      <a:pt x="328" y="3358"/>
                      <a:pt x="328" y="3358"/>
                    </a:cubicBezTo>
                    <a:cubicBezTo>
                      <a:pt x="328" y="3359"/>
                      <a:pt x="416" y="3579"/>
                      <a:pt x="474" y="3702"/>
                    </a:cubicBezTo>
                    <a:cubicBezTo>
                      <a:pt x="515" y="3791"/>
                      <a:pt x="573" y="3888"/>
                      <a:pt x="602" y="3934"/>
                    </a:cubicBezTo>
                    <a:cubicBezTo>
                      <a:pt x="602" y="3934"/>
                      <a:pt x="602" y="3934"/>
                      <a:pt x="602" y="3934"/>
                    </a:cubicBezTo>
                    <a:cubicBezTo>
                      <a:pt x="603" y="3935"/>
                      <a:pt x="660" y="4022"/>
                      <a:pt x="739" y="4074"/>
                    </a:cubicBezTo>
                    <a:cubicBezTo>
                      <a:pt x="785" y="4103"/>
                      <a:pt x="839" y="4136"/>
                      <a:pt x="887" y="4163"/>
                    </a:cubicBezTo>
                    <a:cubicBezTo>
                      <a:pt x="885" y="4178"/>
                      <a:pt x="879" y="4212"/>
                      <a:pt x="868" y="4254"/>
                    </a:cubicBezTo>
                    <a:cubicBezTo>
                      <a:pt x="853" y="4309"/>
                      <a:pt x="829" y="4375"/>
                      <a:pt x="794" y="4420"/>
                    </a:cubicBezTo>
                    <a:cubicBezTo>
                      <a:pt x="726" y="4507"/>
                      <a:pt x="664" y="4532"/>
                      <a:pt x="657" y="4534"/>
                    </a:cubicBezTo>
                    <a:cubicBezTo>
                      <a:pt x="637" y="4540"/>
                      <a:pt x="637" y="4540"/>
                      <a:pt x="637" y="4540"/>
                    </a:cubicBezTo>
                    <a:cubicBezTo>
                      <a:pt x="635" y="4541"/>
                      <a:pt x="635" y="4541"/>
                      <a:pt x="635" y="4541"/>
                    </a:cubicBezTo>
                    <a:cubicBezTo>
                      <a:pt x="563" y="4440"/>
                      <a:pt x="483" y="4326"/>
                      <a:pt x="405" y="4215"/>
                    </a:cubicBezTo>
                    <a:cubicBezTo>
                      <a:pt x="222" y="3953"/>
                      <a:pt x="45" y="3699"/>
                      <a:pt x="32" y="3677"/>
                    </a:cubicBezTo>
                    <a:cubicBezTo>
                      <a:pt x="34" y="3677"/>
                      <a:pt x="34" y="3677"/>
                      <a:pt x="34" y="3677"/>
                    </a:cubicBezTo>
                    <a:cubicBezTo>
                      <a:pt x="33" y="3673"/>
                      <a:pt x="30" y="3670"/>
                      <a:pt x="26" y="3668"/>
                    </a:cubicBezTo>
                    <a:cubicBezTo>
                      <a:pt x="7" y="3639"/>
                      <a:pt x="7" y="3639"/>
                      <a:pt x="7" y="3639"/>
                    </a:cubicBezTo>
                    <a:cubicBezTo>
                      <a:pt x="7" y="3669"/>
                      <a:pt x="7" y="3669"/>
                      <a:pt x="7" y="3669"/>
                    </a:cubicBezTo>
                    <a:cubicBezTo>
                      <a:pt x="7" y="3670"/>
                      <a:pt x="6" y="3670"/>
                      <a:pt x="6" y="3670"/>
                    </a:cubicBezTo>
                    <a:cubicBezTo>
                      <a:pt x="1" y="3674"/>
                      <a:pt x="0" y="3680"/>
                      <a:pt x="0" y="3684"/>
                    </a:cubicBezTo>
                    <a:cubicBezTo>
                      <a:pt x="1" y="3692"/>
                      <a:pt x="1" y="3690"/>
                      <a:pt x="2" y="3692"/>
                    </a:cubicBezTo>
                    <a:cubicBezTo>
                      <a:pt x="2" y="3693"/>
                      <a:pt x="2" y="3693"/>
                      <a:pt x="3" y="3693"/>
                    </a:cubicBezTo>
                    <a:cubicBezTo>
                      <a:pt x="3" y="3694"/>
                      <a:pt x="4" y="3695"/>
                      <a:pt x="4" y="3697"/>
                    </a:cubicBezTo>
                    <a:cubicBezTo>
                      <a:pt x="5" y="3698"/>
                      <a:pt x="6" y="3700"/>
                      <a:pt x="7" y="3701"/>
                    </a:cubicBezTo>
                    <a:cubicBezTo>
                      <a:pt x="7" y="3705"/>
                      <a:pt x="7" y="3705"/>
                      <a:pt x="7" y="3705"/>
                    </a:cubicBezTo>
                    <a:cubicBezTo>
                      <a:pt x="32" y="3743"/>
                      <a:pt x="32" y="3743"/>
                      <a:pt x="32" y="3743"/>
                    </a:cubicBezTo>
                    <a:cubicBezTo>
                      <a:pt x="33" y="3745"/>
                      <a:pt x="33" y="3745"/>
                      <a:pt x="33" y="3745"/>
                    </a:cubicBezTo>
                    <a:cubicBezTo>
                      <a:pt x="35" y="3748"/>
                      <a:pt x="37" y="3751"/>
                      <a:pt x="39" y="3753"/>
                    </a:cubicBezTo>
                    <a:cubicBezTo>
                      <a:pt x="40" y="3756"/>
                      <a:pt x="40" y="3756"/>
                      <a:pt x="40" y="3756"/>
                    </a:cubicBezTo>
                    <a:cubicBezTo>
                      <a:pt x="40" y="3755"/>
                      <a:pt x="40" y="3755"/>
                      <a:pt x="40" y="3755"/>
                    </a:cubicBezTo>
                    <a:cubicBezTo>
                      <a:pt x="60" y="3783"/>
                      <a:pt x="89" y="3818"/>
                      <a:pt x="119" y="3863"/>
                    </a:cubicBezTo>
                    <a:cubicBezTo>
                      <a:pt x="187" y="3963"/>
                      <a:pt x="279" y="4098"/>
                      <a:pt x="375" y="4235"/>
                    </a:cubicBezTo>
                    <a:cubicBezTo>
                      <a:pt x="452" y="4346"/>
                      <a:pt x="532" y="4458"/>
                      <a:pt x="603" y="4558"/>
                    </a:cubicBezTo>
                    <a:cubicBezTo>
                      <a:pt x="603" y="4558"/>
                      <a:pt x="603" y="4558"/>
                      <a:pt x="602" y="4558"/>
                    </a:cubicBezTo>
                    <a:cubicBezTo>
                      <a:pt x="134" y="4785"/>
                      <a:pt x="134" y="4785"/>
                      <a:pt x="134" y="4785"/>
                    </a:cubicBezTo>
                    <a:cubicBezTo>
                      <a:pt x="7" y="4711"/>
                      <a:pt x="7" y="4711"/>
                      <a:pt x="7" y="4711"/>
                    </a:cubicBezTo>
                    <a:cubicBezTo>
                      <a:pt x="7" y="4741"/>
                      <a:pt x="7" y="4741"/>
                      <a:pt x="7" y="4741"/>
                    </a:cubicBezTo>
                    <a:cubicBezTo>
                      <a:pt x="118" y="4806"/>
                      <a:pt x="118" y="4806"/>
                      <a:pt x="118" y="4806"/>
                    </a:cubicBezTo>
                    <a:cubicBezTo>
                      <a:pt x="86" y="4941"/>
                      <a:pt x="86" y="4941"/>
                      <a:pt x="86" y="4941"/>
                    </a:cubicBezTo>
                    <a:cubicBezTo>
                      <a:pt x="73" y="4965"/>
                      <a:pt x="73" y="4965"/>
                      <a:pt x="73" y="4965"/>
                    </a:cubicBezTo>
                    <a:cubicBezTo>
                      <a:pt x="51" y="4961"/>
                      <a:pt x="28" y="4958"/>
                      <a:pt x="7" y="4957"/>
                    </a:cubicBezTo>
                    <a:cubicBezTo>
                      <a:pt x="7" y="4993"/>
                      <a:pt x="7" y="4993"/>
                      <a:pt x="7" y="4993"/>
                    </a:cubicBezTo>
                    <a:cubicBezTo>
                      <a:pt x="63" y="4997"/>
                      <a:pt x="131" y="5010"/>
                      <a:pt x="163" y="5030"/>
                    </a:cubicBezTo>
                    <a:cubicBezTo>
                      <a:pt x="185" y="5043"/>
                      <a:pt x="228" y="5088"/>
                      <a:pt x="268" y="5137"/>
                    </a:cubicBezTo>
                    <a:cubicBezTo>
                      <a:pt x="308" y="5186"/>
                      <a:pt x="347" y="5239"/>
                      <a:pt x="369" y="5269"/>
                    </a:cubicBezTo>
                    <a:cubicBezTo>
                      <a:pt x="411" y="5329"/>
                      <a:pt x="535" y="5510"/>
                      <a:pt x="579" y="5596"/>
                    </a:cubicBezTo>
                    <a:cubicBezTo>
                      <a:pt x="623" y="5683"/>
                      <a:pt x="632" y="5732"/>
                      <a:pt x="635" y="5778"/>
                    </a:cubicBezTo>
                    <a:cubicBezTo>
                      <a:pt x="635" y="5783"/>
                      <a:pt x="635" y="5793"/>
                      <a:pt x="635" y="5805"/>
                    </a:cubicBezTo>
                    <a:cubicBezTo>
                      <a:pt x="635" y="5892"/>
                      <a:pt x="627" y="6125"/>
                      <a:pt x="612" y="6186"/>
                    </a:cubicBezTo>
                    <a:cubicBezTo>
                      <a:pt x="595" y="6262"/>
                      <a:pt x="572" y="6393"/>
                      <a:pt x="567" y="6424"/>
                    </a:cubicBezTo>
                    <a:cubicBezTo>
                      <a:pt x="566" y="6428"/>
                      <a:pt x="566" y="6432"/>
                      <a:pt x="566" y="6436"/>
                    </a:cubicBezTo>
                    <a:cubicBezTo>
                      <a:pt x="567" y="6475"/>
                      <a:pt x="588" y="6530"/>
                      <a:pt x="616" y="6566"/>
                    </a:cubicBezTo>
                    <a:cubicBezTo>
                      <a:pt x="617" y="6567"/>
                      <a:pt x="617" y="6567"/>
                      <a:pt x="617" y="6567"/>
                    </a:cubicBezTo>
                    <a:cubicBezTo>
                      <a:pt x="617" y="6568"/>
                      <a:pt x="617" y="6568"/>
                      <a:pt x="617" y="6568"/>
                    </a:cubicBezTo>
                    <a:cubicBezTo>
                      <a:pt x="629" y="6579"/>
                      <a:pt x="655" y="6597"/>
                      <a:pt x="693" y="6622"/>
                    </a:cubicBezTo>
                    <a:cubicBezTo>
                      <a:pt x="702" y="6628"/>
                      <a:pt x="702" y="6628"/>
                      <a:pt x="702" y="6628"/>
                    </a:cubicBezTo>
                    <a:cubicBezTo>
                      <a:pt x="737" y="6650"/>
                      <a:pt x="757" y="6665"/>
                      <a:pt x="772" y="6674"/>
                    </a:cubicBezTo>
                    <a:cubicBezTo>
                      <a:pt x="771" y="6674"/>
                      <a:pt x="771" y="6674"/>
                      <a:pt x="771" y="6674"/>
                    </a:cubicBezTo>
                    <a:cubicBezTo>
                      <a:pt x="1097" y="6879"/>
                      <a:pt x="1097" y="6879"/>
                      <a:pt x="1097" y="6879"/>
                    </a:cubicBezTo>
                    <a:cubicBezTo>
                      <a:pt x="1093" y="6883"/>
                      <a:pt x="1089" y="6887"/>
                      <a:pt x="1085" y="6891"/>
                    </a:cubicBezTo>
                    <a:cubicBezTo>
                      <a:pt x="1054" y="6923"/>
                      <a:pt x="1013" y="6966"/>
                      <a:pt x="972" y="7008"/>
                    </a:cubicBezTo>
                    <a:cubicBezTo>
                      <a:pt x="892" y="7090"/>
                      <a:pt x="810" y="7175"/>
                      <a:pt x="804" y="7181"/>
                    </a:cubicBezTo>
                    <a:cubicBezTo>
                      <a:pt x="804" y="7181"/>
                      <a:pt x="804" y="7181"/>
                      <a:pt x="804" y="7181"/>
                    </a:cubicBezTo>
                    <a:cubicBezTo>
                      <a:pt x="802" y="7182"/>
                      <a:pt x="803" y="7182"/>
                      <a:pt x="802" y="7183"/>
                    </a:cubicBezTo>
                    <a:cubicBezTo>
                      <a:pt x="801" y="7184"/>
                      <a:pt x="800" y="7184"/>
                      <a:pt x="799" y="7185"/>
                    </a:cubicBezTo>
                    <a:cubicBezTo>
                      <a:pt x="798" y="7187"/>
                      <a:pt x="795" y="7190"/>
                      <a:pt x="792" y="7193"/>
                    </a:cubicBezTo>
                    <a:cubicBezTo>
                      <a:pt x="786" y="7199"/>
                      <a:pt x="778" y="7208"/>
                      <a:pt x="769" y="7218"/>
                    </a:cubicBezTo>
                    <a:cubicBezTo>
                      <a:pt x="751" y="7239"/>
                      <a:pt x="729" y="7264"/>
                      <a:pt x="713" y="7285"/>
                    </a:cubicBezTo>
                    <a:cubicBezTo>
                      <a:pt x="702" y="7300"/>
                      <a:pt x="694" y="7311"/>
                      <a:pt x="690" y="7323"/>
                    </a:cubicBezTo>
                    <a:cubicBezTo>
                      <a:pt x="680" y="7354"/>
                      <a:pt x="683" y="7371"/>
                      <a:pt x="681" y="7381"/>
                    </a:cubicBezTo>
                    <a:cubicBezTo>
                      <a:pt x="679" y="7392"/>
                      <a:pt x="666" y="7440"/>
                      <a:pt x="652" y="7485"/>
                    </a:cubicBezTo>
                    <a:cubicBezTo>
                      <a:pt x="649" y="7482"/>
                      <a:pt x="646" y="7480"/>
                      <a:pt x="642" y="7477"/>
                    </a:cubicBezTo>
                    <a:cubicBezTo>
                      <a:pt x="625" y="7463"/>
                      <a:pt x="601" y="7445"/>
                      <a:pt x="578" y="7427"/>
                    </a:cubicBezTo>
                    <a:cubicBezTo>
                      <a:pt x="540" y="7398"/>
                      <a:pt x="491" y="7362"/>
                      <a:pt x="474" y="7349"/>
                    </a:cubicBezTo>
                    <a:cubicBezTo>
                      <a:pt x="32" y="6999"/>
                      <a:pt x="32" y="6999"/>
                      <a:pt x="32" y="6999"/>
                    </a:cubicBezTo>
                    <a:cubicBezTo>
                      <a:pt x="35" y="6982"/>
                      <a:pt x="35" y="6982"/>
                      <a:pt x="35" y="6982"/>
                    </a:cubicBezTo>
                    <a:cubicBezTo>
                      <a:pt x="240" y="6462"/>
                      <a:pt x="240" y="6462"/>
                      <a:pt x="240" y="6462"/>
                    </a:cubicBezTo>
                    <a:cubicBezTo>
                      <a:pt x="153" y="6304"/>
                      <a:pt x="153" y="6304"/>
                      <a:pt x="153" y="6304"/>
                    </a:cubicBezTo>
                    <a:cubicBezTo>
                      <a:pt x="268" y="6127"/>
                      <a:pt x="268" y="6127"/>
                      <a:pt x="268" y="6127"/>
                    </a:cubicBezTo>
                    <a:cubicBezTo>
                      <a:pt x="268" y="6123"/>
                      <a:pt x="268" y="6123"/>
                      <a:pt x="268" y="6123"/>
                    </a:cubicBezTo>
                    <a:cubicBezTo>
                      <a:pt x="268" y="6123"/>
                      <a:pt x="268" y="6121"/>
                      <a:pt x="268" y="6118"/>
                    </a:cubicBezTo>
                    <a:cubicBezTo>
                      <a:pt x="268" y="6090"/>
                      <a:pt x="269" y="5961"/>
                      <a:pt x="291" y="5843"/>
                    </a:cubicBezTo>
                    <a:cubicBezTo>
                      <a:pt x="295" y="5821"/>
                      <a:pt x="297" y="5800"/>
                      <a:pt x="297" y="5779"/>
                    </a:cubicBezTo>
                    <a:cubicBezTo>
                      <a:pt x="296" y="5667"/>
                      <a:pt x="245" y="5576"/>
                      <a:pt x="209" y="5529"/>
                    </a:cubicBezTo>
                    <a:cubicBezTo>
                      <a:pt x="188" y="5501"/>
                      <a:pt x="163" y="5480"/>
                      <a:pt x="142" y="5466"/>
                    </a:cubicBezTo>
                    <a:cubicBezTo>
                      <a:pt x="120" y="5451"/>
                      <a:pt x="106" y="5443"/>
                      <a:pt x="92" y="5442"/>
                    </a:cubicBezTo>
                    <a:cubicBezTo>
                      <a:pt x="92" y="5442"/>
                      <a:pt x="92" y="5442"/>
                      <a:pt x="92" y="5442"/>
                    </a:cubicBezTo>
                    <a:cubicBezTo>
                      <a:pt x="91" y="5442"/>
                      <a:pt x="90" y="5442"/>
                      <a:pt x="89" y="5442"/>
                    </a:cubicBezTo>
                    <a:cubicBezTo>
                      <a:pt x="86" y="5441"/>
                      <a:pt x="82" y="5441"/>
                      <a:pt x="78" y="5440"/>
                    </a:cubicBezTo>
                    <a:cubicBezTo>
                      <a:pt x="69" y="5439"/>
                      <a:pt x="57" y="5437"/>
                      <a:pt x="44" y="5435"/>
                    </a:cubicBezTo>
                    <a:cubicBezTo>
                      <a:pt x="33" y="5433"/>
                      <a:pt x="20" y="5431"/>
                      <a:pt x="7" y="5429"/>
                    </a:cubicBezTo>
                    <a:cubicBezTo>
                      <a:pt x="7" y="5455"/>
                      <a:pt x="7" y="5455"/>
                      <a:pt x="7" y="5455"/>
                    </a:cubicBezTo>
                    <a:cubicBezTo>
                      <a:pt x="19" y="5457"/>
                      <a:pt x="30" y="5459"/>
                      <a:pt x="39" y="5461"/>
                    </a:cubicBezTo>
                    <a:cubicBezTo>
                      <a:pt x="68" y="5465"/>
                      <a:pt x="86" y="5468"/>
                      <a:pt x="92" y="5468"/>
                    </a:cubicBezTo>
                    <a:cubicBezTo>
                      <a:pt x="92" y="5468"/>
                      <a:pt x="92" y="5468"/>
                      <a:pt x="92" y="5468"/>
                    </a:cubicBezTo>
                    <a:cubicBezTo>
                      <a:pt x="93" y="5469"/>
                      <a:pt x="93" y="5469"/>
                      <a:pt x="94" y="5469"/>
                    </a:cubicBezTo>
                    <a:cubicBezTo>
                      <a:pt x="96" y="5470"/>
                      <a:pt x="99" y="5471"/>
                      <a:pt x="103" y="5472"/>
                    </a:cubicBezTo>
                    <a:cubicBezTo>
                      <a:pt x="109" y="5476"/>
                      <a:pt x="118" y="5481"/>
                      <a:pt x="127" y="5487"/>
                    </a:cubicBezTo>
                    <a:cubicBezTo>
                      <a:pt x="146" y="5500"/>
                      <a:pt x="169" y="5520"/>
                      <a:pt x="188" y="5545"/>
                    </a:cubicBezTo>
                    <a:cubicBezTo>
                      <a:pt x="222" y="5589"/>
                      <a:pt x="270" y="5675"/>
                      <a:pt x="270" y="5779"/>
                    </a:cubicBezTo>
                    <a:cubicBezTo>
                      <a:pt x="270" y="5798"/>
                      <a:pt x="269" y="5818"/>
                      <a:pt x="265" y="5838"/>
                    </a:cubicBezTo>
                    <a:cubicBezTo>
                      <a:pt x="243" y="5959"/>
                      <a:pt x="242" y="6089"/>
                      <a:pt x="242" y="6118"/>
                    </a:cubicBezTo>
                    <a:cubicBezTo>
                      <a:pt x="242" y="6120"/>
                      <a:pt x="242" y="6120"/>
                      <a:pt x="242" y="6120"/>
                    </a:cubicBezTo>
                    <a:cubicBezTo>
                      <a:pt x="122" y="6303"/>
                      <a:pt x="122" y="6303"/>
                      <a:pt x="122" y="6303"/>
                    </a:cubicBezTo>
                    <a:cubicBezTo>
                      <a:pt x="211" y="6464"/>
                      <a:pt x="211" y="6464"/>
                      <a:pt x="211" y="6464"/>
                    </a:cubicBezTo>
                    <a:cubicBezTo>
                      <a:pt x="15" y="6962"/>
                      <a:pt x="15" y="6962"/>
                      <a:pt x="15" y="6962"/>
                    </a:cubicBezTo>
                    <a:cubicBezTo>
                      <a:pt x="7" y="6970"/>
                      <a:pt x="7" y="6970"/>
                      <a:pt x="7" y="6970"/>
                    </a:cubicBezTo>
                    <a:cubicBezTo>
                      <a:pt x="2" y="6976"/>
                      <a:pt x="2" y="6976"/>
                      <a:pt x="2" y="6976"/>
                    </a:cubicBezTo>
                    <a:cubicBezTo>
                      <a:pt x="0" y="6978"/>
                      <a:pt x="0" y="6978"/>
                      <a:pt x="0" y="6978"/>
                    </a:cubicBezTo>
                    <a:cubicBezTo>
                      <a:pt x="6" y="6986"/>
                      <a:pt x="6" y="6986"/>
                      <a:pt x="6" y="6986"/>
                    </a:cubicBezTo>
                    <a:cubicBezTo>
                      <a:pt x="5" y="6988"/>
                      <a:pt x="5" y="6988"/>
                      <a:pt x="5" y="6988"/>
                    </a:cubicBezTo>
                    <a:cubicBezTo>
                      <a:pt x="5" y="6988"/>
                      <a:pt x="5" y="6988"/>
                      <a:pt x="5" y="6988"/>
                    </a:cubicBezTo>
                    <a:cubicBezTo>
                      <a:pt x="7" y="6989"/>
                      <a:pt x="7" y="6989"/>
                      <a:pt x="7" y="6989"/>
                    </a:cubicBezTo>
                    <a:cubicBezTo>
                      <a:pt x="7" y="7025"/>
                      <a:pt x="7" y="7025"/>
                      <a:pt x="7" y="7025"/>
                    </a:cubicBezTo>
                    <a:cubicBezTo>
                      <a:pt x="470" y="7392"/>
                      <a:pt x="470" y="7392"/>
                      <a:pt x="470" y="7392"/>
                    </a:cubicBezTo>
                    <a:cubicBezTo>
                      <a:pt x="470" y="7393"/>
                      <a:pt x="470" y="7393"/>
                      <a:pt x="470" y="7393"/>
                    </a:cubicBezTo>
                    <a:cubicBezTo>
                      <a:pt x="470" y="7394"/>
                      <a:pt x="560" y="7461"/>
                      <a:pt x="614" y="7503"/>
                    </a:cubicBezTo>
                    <a:cubicBezTo>
                      <a:pt x="625" y="7511"/>
                      <a:pt x="634" y="7518"/>
                      <a:pt x="640" y="7523"/>
                    </a:cubicBezTo>
                    <a:cubicBezTo>
                      <a:pt x="620" y="7582"/>
                      <a:pt x="581" y="7697"/>
                      <a:pt x="542" y="7753"/>
                    </a:cubicBezTo>
                    <a:cubicBezTo>
                      <a:pt x="520" y="7784"/>
                      <a:pt x="401" y="7941"/>
                      <a:pt x="288" y="8090"/>
                    </a:cubicBezTo>
                    <a:cubicBezTo>
                      <a:pt x="268" y="8117"/>
                      <a:pt x="247" y="8144"/>
                      <a:pt x="227" y="8170"/>
                    </a:cubicBezTo>
                    <a:cubicBezTo>
                      <a:pt x="200" y="8147"/>
                      <a:pt x="117" y="8075"/>
                      <a:pt x="7" y="7982"/>
                    </a:cubicBezTo>
                    <a:cubicBezTo>
                      <a:pt x="7" y="8029"/>
                      <a:pt x="7" y="8029"/>
                      <a:pt x="7" y="8029"/>
                    </a:cubicBezTo>
                    <a:cubicBezTo>
                      <a:pt x="108" y="8115"/>
                      <a:pt x="182" y="8179"/>
                      <a:pt x="205" y="8199"/>
                    </a:cubicBezTo>
                    <a:cubicBezTo>
                      <a:pt x="125" y="8303"/>
                      <a:pt x="60" y="8386"/>
                      <a:pt x="60" y="8386"/>
                    </a:cubicBezTo>
                    <a:cubicBezTo>
                      <a:pt x="61" y="8386"/>
                      <a:pt x="61" y="8386"/>
                      <a:pt x="61" y="8386"/>
                    </a:cubicBezTo>
                    <a:cubicBezTo>
                      <a:pt x="7" y="8455"/>
                      <a:pt x="7" y="8455"/>
                      <a:pt x="7" y="8455"/>
                    </a:cubicBezTo>
                    <a:cubicBezTo>
                      <a:pt x="7" y="8514"/>
                      <a:pt x="7" y="8514"/>
                      <a:pt x="7" y="8514"/>
                    </a:cubicBezTo>
                    <a:cubicBezTo>
                      <a:pt x="98" y="8397"/>
                      <a:pt x="98" y="8397"/>
                      <a:pt x="98" y="8397"/>
                    </a:cubicBezTo>
                    <a:cubicBezTo>
                      <a:pt x="98" y="8397"/>
                      <a:pt x="98" y="8397"/>
                      <a:pt x="98" y="8397"/>
                    </a:cubicBezTo>
                    <a:cubicBezTo>
                      <a:pt x="98" y="8397"/>
                      <a:pt x="151" y="8331"/>
                      <a:pt x="227" y="8231"/>
                    </a:cubicBezTo>
                    <a:cubicBezTo>
                      <a:pt x="228" y="8230"/>
                      <a:pt x="230" y="8229"/>
                      <a:pt x="232" y="8229"/>
                    </a:cubicBezTo>
                    <a:cubicBezTo>
                      <a:pt x="232" y="8229"/>
                      <a:pt x="233" y="8229"/>
                      <a:pt x="234" y="8229"/>
                    </a:cubicBezTo>
                    <a:cubicBezTo>
                      <a:pt x="241" y="8230"/>
                      <a:pt x="251" y="8232"/>
                      <a:pt x="265" y="8233"/>
                    </a:cubicBezTo>
                    <a:cubicBezTo>
                      <a:pt x="293" y="8237"/>
                      <a:pt x="335" y="8243"/>
                      <a:pt x="390" y="8251"/>
                    </a:cubicBezTo>
                    <a:cubicBezTo>
                      <a:pt x="504" y="8266"/>
                      <a:pt x="645" y="8300"/>
                      <a:pt x="752" y="8330"/>
                    </a:cubicBezTo>
                    <a:cubicBezTo>
                      <a:pt x="858" y="8359"/>
                      <a:pt x="921" y="8395"/>
                      <a:pt x="1005" y="8438"/>
                    </a:cubicBezTo>
                    <a:cubicBezTo>
                      <a:pt x="1043" y="8458"/>
                      <a:pt x="1102" y="8504"/>
                      <a:pt x="1150" y="8544"/>
                    </a:cubicBezTo>
                    <a:cubicBezTo>
                      <a:pt x="1199" y="8585"/>
                      <a:pt x="1236" y="8620"/>
                      <a:pt x="1236" y="8620"/>
                    </a:cubicBezTo>
                    <a:cubicBezTo>
                      <a:pt x="1241" y="8624"/>
                      <a:pt x="1241" y="8624"/>
                      <a:pt x="1241" y="8624"/>
                    </a:cubicBezTo>
                    <a:cubicBezTo>
                      <a:pt x="1241" y="8624"/>
                      <a:pt x="1241" y="8624"/>
                      <a:pt x="1241" y="8624"/>
                    </a:cubicBezTo>
                    <a:cubicBezTo>
                      <a:pt x="1262" y="8643"/>
                      <a:pt x="1306" y="8682"/>
                      <a:pt x="1354" y="8723"/>
                    </a:cubicBezTo>
                    <a:cubicBezTo>
                      <a:pt x="1422" y="8781"/>
                      <a:pt x="1500" y="8849"/>
                      <a:pt x="1537" y="8885"/>
                    </a:cubicBezTo>
                    <a:cubicBezTo>
                      <a:pt x="1566" y="8913"/>
                      <a:pt x="1636" y="8979"/>
                      <a:pt x="1709" y="9048"/>
                    </a:cubicBezTo>
                    <a:cubicBezTo>
                      <a:pt x="1332" y="9511"/>
                      <a:pt x="1332" y="9511"/>
                      <a:pt x="1332" y="9511"/>
                    </a:cubicBezTo>
                    <a:cubicBezTo>
                      <a:pt x="1325" y="9518"/>
                      <a:pt x="1299" y="9542"/>
                      <a:pt x="1299" y="9581"/>
                    </a:cubicBezTo>
                    <a:cubicBezTo>
                      <a:pt x="1299" y="9610"/>
                      <a:pt x="1314" y="9643"/>
                      <a:pt x="1354" y="9674"/>
                    </a:cubicBezTo>
                    <a:cubicBezTo>
                      <a:pt x="1452" y="9752"/>
                      <a:pt x="1627" y="9835"/>
                      <a:pt x="1688" y="9874"/>
                    </a:cubicBezTo>
                    <a:cubicBezTo>
                      <a:pt x="1752" y="9914"/>
                      <a:pt x="1803" y="9946"/>
                      <a:pt x="1828" y="9995"/>
                    </a:cubicBezTo>
                    <a:cubicBezTo>
                      <a:pt x="1847" y="10035"/>
                      <a:pt x="1858" y="10079"/>
                      <a:pt x="1867" y="10103"/>
                    </a:cubicBezTo>
                    <a:cubicBezTo>
                      <a:pt x="1871" y="10112"/>
                      <a:pt x="1870" y="10118"/>
                      <a:pt x="1883" y="10127"/>
                    </a:cubicBezTo>
                    <a:cubicBezTo>
                      <a:pt x="1894" y="10105"/>
                      <a:pt x="1894" y="10105"/>
                      <a:pt x="1894" y="10105"/>
                    </a:cubicBezTo>
                    <a:cubicBezTo>
                      <a:pt x="1903" y="10097"/>
                      <a:pt x="1903" y="10097"/>
                      <a:pt x="1903" y="10097"/>
                    </a:cubicBezTo>
                    <a:cubicBezTo>
                      <a:pt x="1903" y="10097"/>
                      <a:pt x="1903" y="10097"/>
                      <a:pt x="1903" y="10097"/>
                    </a:cubicBezTo>
                    <a:cubicBezTo>
                      <a:pt x="1903" y="10096"/>
                      <a:pt x="1902" y="10094"/>
                      <a:pt x="1901" y="10091"/>
                    </a:cubicBezTo>
                    <a:cubicBezTo>
                      <a:pt x="1898" y="10084"/>
                      <a:pt x="1895" y="10074"/>
                      <a:pt x="1891" y="10062"/>
                    </a:cubicBezTo>
                    <a:cubicBezTo>
                      <a:pt x="1884" y="10039"/>
                      <a:pt x="1874" y="10008"/>
                      <a:pt x="1860" y="9979"/>
                    </a:cubicBezTo>
                    <a:cubicBezTo>
                      <a:pt x="1829" y="9917"/>
                      <a:pt x="1770" y="9884"/>
                      <a:pt x="1707" y="9844"/>
                    </a:cubicBezTo>
                    <a:cubicBezTo>
                      <a:pt x="1642" y="9802"/>
                      <a:pt x="1470" y="9719"/>
                      <a:pt x="1376" y="9646"/>
                    </a:cubicBezTo>
                    <a:cubicBezTo>
                      <a:pt x="1342" y="9618"/>
                      <a:pt x="1335" y="9597"/>
                      <a:pt x="1335" y="9581"/>
                    </a:cubicBezTo>
                    <a:cubicBezTo>
                      <a:pt x="1335" y="9563"/>
                      <a:pt x="1347" y="9547"/>
                      <a:pt x="1354" y="9541"/>
                    </a:cubicBezTo>
                    <a:cubicBezTo>
                      <a:pt x="1356" y="9539"/>
                      <a:pt x="1356" y="9538"/>
                      <a:pt x="1356" y="9538"/>
                    </a:cubicBezTo>
                    <a:cubicBezTo>
                      <a:pt x="1358" y="9537"/>
                      <a:pt x="1358" y="9537"/>
                      <a:pt x="1358" y="9537"/>
                    </a:cubicBezTo>
                    <a:cubicBezTo>
                      <a:pt x="1735" y="9073"/>
                      <a:pt x="1735" y="9073"/>
                      <a:pt x="1735" y="9073"/>
                    </a:cubicBezTo>
                    <a:cubicBezTo>
                      <a:pt x="1839" y="9171"/>
                      <a:pt x="1942" y="9268"/>
                      <a:pt x="1943" y="9268"/>
                    </a:cubicBezTo>
                    <a:cubicBezTo>
                      <a:pt x="1990" y="9307"/>
                      <a:pt x="2143" y="9461"/>
                      <a:pt x="2239" y="9505"/>
                    </a:cubicBezTo>
                    <a:cubicBezTo>
                      <a:pt x="2290" y="9527"/>
                      <a:pt x="2380" y="9536"/>
                      <a:pt x="2461" y="9542"/>
                    </a:cubicBezTo>
                    <a:cubicBezTo>
                      <a:pt x="2516" y="9545"/>
                      <a:pt x="2564" y="9546"/>
                      <a:pt x="2590" y="9547"/>
                    </a:cubicBezTo>
                    <a:cubicBezTo>
                      <a:pt x="2590" y="9611"/>
                      <a:pt x="2591" y="9675"/>
                      <a:pt x="2591" y="9740"/>
                    </a:cubicBezTo>
                    <a:cubicBezTo>
                      <a:pt x="2595" y="10088"/>
                      <a:pt x="2605" y="10423"/>
                      <a:pt x="2608" y="10534"/>
                    </a:cubicBezTo>
                    <a:cubicBezTo>
                      <a:pt x="2608" y="10534"/>
                      <a:pt x="2607" y="10534"/>
                      <a:pt x="2607" y="10534"/>
                    </a:cubicBezTo>
                    <a:cubicBezTo>
                      <a:pt x="2606" y="10533"/>
                      <a:pt x="2605" y="10560"/>
                      <a:pt x="2605" y="10560"/>
                    </a:cubicBezTo>
                    <a:cubicBezTo>
                      <a:pt x="2605" y="10560"/>
                      <a:pt x="2605" y="10561"/>
                      <a:pt x="2604" y="10561"/>
                    </a:cubicBezTo>
                    <a:cubicBezTo>
                      <a:pt x="2514" y="10573"/>
                      <a:pt x="2435" y="10620"/>
                      <a:pt x="2381" y="10687"/>
                    </a:cubicBezTo>
                    <a:cubicBezTo>
                      <a:pt x="2339" y="10673"/>
                      <a:pt x="2257" y="10648"/>
                      <a:pt x="2138" y="10623"/>
                    </a:cubicBezTo>
                    <a:cubicBezTo>
                      <a:pt x="1963" y="10587"/>
                      <a:pt x="1790" y="10575"/>
                      <a:pt x="1626" y="10543"/>
                    </a:cubicBezTo>
                    <a:cubicBezTo>
                      <a:pt x="1457" y="10510"/>
                      <a:pt x="1224" y="10433"/>
                      <a:pt x="947" y="10328"/>
                    </a:cubicBezTo>
                    <a:cubicBezTo>
                      <a:pt x="868" y="10298"/>
                      <a:pt x="752" y="10226"/>
                      <a:pt x="628" y="10133"/>
                    </a:cubicBezTo>
                    <a:cubicBezTo>
                      <a:pt x="503" y="10041"/>
                      <a:pt x="367" y="9929"/>
                      <a:pt x="240" y="9817"/>
                    </a:cubicBezTo>
                    <a:cubicBezTo>
                      <a:pt x="157" y="9745"/>
                      <a:pt x="78" y="9674"/>
                      <a:pt x="7" y="9608"/>
                    </a:cubicBezTo>
                    <a:cubicBezTo>
                      <a:pt x="7" y="9673"/>
                      <a:pt x="7" y="9673"/>
                      <a:pt x="7" y="9673"/>
                    </a:cubicBezTo>
                    <a:cubicBezTo>
                      <a:pt x="7" y="9764"/>
                      <a:pt x="7" y="9764"/>
                      <a:pt x="7" y="9764"/>
                    </a:cubicBezTo>
                    <a:cubicBezTo>
                      <a:pt x="7" y="9844"/>
                      <a:pt x="7" y="9844"/>
                      <a:pt x="7" y="9844"/>
                    </a:cubicBezTo>
                    <a:cubicBezTo>
                      <a:pt x="21" y="9859"/>
                      <a:pt x="34" y="9872"/>
                      <a:pt x="44" y="9883"/>
                    </a:cubicBezTo>
                    <a:cubicBezTo>
                      <a:pt x="105" y="9943"/>
                      <a:pt x="201" y="10051"/>
                      <a:pt x="302" y="10141"/>
                    </a:cubicBezTo>
                    <a:cubicBezTo>
                      <a:pt x="320" y="10229"/>
                      <a:pt x="361" y="10435"/>
                      <a:pt x="370" y="10589"/>
                    </a:cubicBezTo>
                    <a:cubicBezTo>
                      <a:pt x="375" y="10672"/>
                      <a:pt x="382" y="10745"/>
                      <a:pt x="388" y="10812"/>
                    </a:cubicBezTo>
                    <a:cubicBezTo>
                      <a:pt x="414" y="10812"/>
                      <a:pt x="414" y="10812"/>
                      <a:pt x="414" y="10812"/>
                    </a:cubicBezTo>
                    <a:cubicBezTo>
                      <a:pt x="409" y="10744"/>
                      <a:pt x="401" y="10670"/>
                      <a:pt x="396" y="10587"/>
                    </a:cubicBezTo>
                    <a:cubicBezTo>
                      <a:pt x="388" y="10460"/>
                      <a:pt x="360" y="10298"/>
                      <a:pt x="339" y="10195"/>
                    </a:cubicBezTo>
                    <a:cubicBezTo>
                      <a:pt x="345" y="10179"/>
                      <a:pt x="345" y="10179"/>
                      <a:pt x="345" y="10179"/>
                    </a:cubicBezTo>
                    <a:cubicBezTo>
                      <a:pt x="394" y="10220"/>
                      <a:pt x="442" y="10256"/>
                      <a:pt x="481" y="10285"/>
                    </a:cubicBezTo>
                    <a:cubicBezTo>
                      <a:pt x="528" y="10319"/>
                      <a:pt x="565" y="10344"/>
                      <a:pt x="573" y="10351"/>
                    </a:cubicBezTo>
                    <a:cubicBezTo>
                      <a:pt x="612" y="10381"/>
                      <a:pt x="712" y="10450"/>
                      <a:pt x="827" y="10526"/>
                    </a:cubicBezTo>
                    <a:cubicBezTo>
                      <a:pt x="941" y="10602"/>
                      <a:pt x="1066" y="10682"/>
                      <a:pt x="1151" y="10731"/>
                    </a:cubicBezTo>
                    <a:cubicBezTo>
                      <a:pt x="1199" y="10759"/>
                      <a:pt x="1244" y="10786"/>
                      <a:pt x="1288" y="10812"/>
                    </a:cubicBezTo>
                    <a:cubicBezTo>
                      <a:pt x="1544" y="10812"/>
                      <a:pt x="1544" y="10812"/>
                      <a:pt x="1544" y="10812"/>
                    </a:cubicBezTo>
                    <a:cubicBezTo>
                      <a:pt x="1432" y="10768"/>
                      <a:pt x="1336" y="10705"/>
                      <a:pt x="1208" y="10632"/>
                    </a:cubicBezTo>
                    <a:cubicBezTo>
                      <a:pt x="1128" y="10585"/>
                      <a:pt x="1003" y="10505"/>
                      <a:pt x="890" y="10431"/>
                    </a:cubicBezTo>
                    <a:cubicBezTo>
                      <a:pt x="887" y="10428"/>
                      <a:pt x="883" y="10426"/>
                      <a:pt x="880" y="10424"/>
                    </a:cubicBezTo>
                    <a:cubicBezTo>
                      <a:pt x="889" y="10428"/>
                      <a:pt x="897" y="10432"/>
                      <a:pt x="906" y="10435"/>
                    </a:cubicBezTo>
                    <a:cubicBezTo>
                      <a:pt x="1186" y="10541"/>
                      <a:pt x="1422" y="10620"/>
                      <a:pt x="1604" y="10656"/>
                    </a:cubicBezTo>
                    <a:cubicBezTo>
                      <a:pt x="1777" y="10689"/>
                      <a:pt x="1949" y="10701"/>
                      <a:pt x="2115" y="10736"/>
                    </a:cubicBezTo>
                    <a:cubicBezTo>
                      <a:pt x="2211" y="10755"/>
                      <a:pt x="2282" y="10776"/>
                      <a:pt x="2325" y="10790"/>
                    </a:cubicBezTo>
                    <a:cubicBezTo>
                      <a:pt x="2322" y="10797"/>
                      <a:pt x="2320" y="10804"/>
                      <a:pt x="2318" y="10812"/>
                    </a:cubicBezTo>
                    <a:cubicBezTo>
                      <a:pt x="2446" y="10812"/>
                      <a:pt x="2446" y="10812"/>
                      <a:pt x="2446" y="10812"/>
                    </a:cubicBezTo>
                    <a:cubicBezTo>
                      <a:pt x="2481" y="10733"/>
                      <a:pt x="2559" y="10678"/>
                      <a:pt x="2651" y="10678"/>
                    </a:cubicBezTo>
                    <a:cubicBezTo>
                      <a:pt x="2742" y="10678"/>
                      <a:pt x="2821" y="10733"/>
                      <a:pt x="2856" y="10812"/>
                    </a:cubicBezTo>
                    <a:cubicBezTo>
                      <a:pt x="2983" y="10812"/>
                      <a:pt x="2983" y="10812"/>
                      <a:pt x="2983" y="10812"/>
                    </a:cubicBezTo>
                    <a:cubicBezTo>
                      <a:pt x="2943" y="10665"/>
                      <a:pt x="2810" y="10557"/>
                      <a:pt x="2651" y="10557"/>
                    </a:cubicBezTo>
                    <a:cubicBezTo>
                      <a:pt x="2650" y="10557"/>
                      <a:pt x="2648" y="10558"/>
                      <a:pt x="2647" y="10558"/>
                    </a:cubicBezTo>
                    <a:cubicBezTo>
                      <a:pt x="2645" y="10545"/>
                      <a:pt x="2645" y="10545"/>
                      <a:pt x="2645" y="10545"/>
                    </a:cubicBezTo>
                    <a:cubicBezTo>
                      <a:pt x="2642" y="10466"/>
                      <a:pt x="2634" y="10216"/>
                      <a:pt x="2630" y="9928"/>
                    </a:cubicBezTo>
                    <a:cubicBezTo>
                      <a:pt x="3672" y="9749"/>
                      <a:pt x="3672" y="9749"/>
                      <a:pt x="3672" y="9749"/>
                    </a:cubicBezTo>
                    <a:cubicBezTo>
                      <a:pt x="3820" y="10583"/>
                      <a:pt x="3820" y="10583"/>
                      <a:pt x="3820" y="10583"/>
                    </a:cubicBezTo>
                    <a:cubicBezTo>
                      <a:pt x="4296" y="10636"/>
                      <a:pt x="4296" y="10636"/>
                      <a:pt x="4296" y="10636"/>
                    </a:cubicBezTo>
                    <a:cubicBezTo>
                      <a:pt x="4279" y="10812"/>
                      <a:pt x="4279" y="10812"/>
                      <a:pt x="4279" y="10812"/>
                    </a:cubicBezTo>
                    <a:cubicBezTo>
                      <a:pt x="4305" y="10812"/>
                      <a:pt x="4305" y="10812"/>
                      <a:pt x="4305" y="10812"/>
                    </a:cubicBezTo>
                    <a:cubicBezTo>
                      <a:pt x="4325" y="10613"/>
                      <a:pt x="4325" y="10613"/>
                      <a:pt x="4325" y="10613"/>
                    </a:cubicBezTo>
                    <a:cubicBezTo>
                      <a:pt x="3842" y="10560"/>
                      <a:pt x="3842" y="10560"/>
                      <a:pt x="3842" y="10560"/>
                    </a:cubicBezTo>
                    <a:cubicBezTo>
                      <a:pt x="3698" y="9744"/>
                      <a:pt x="3698" y="9744"/>
                      <a:pt x="3698" y="9744"/>
                    </a:cubicBezTo>
                    <a:cubicBezTo>
                      <a:pt x="3973" y="9697"/>
                      <a:pt x="3973" y="9697"/>
                      <a:pt x="3973" y="9697"/>
                    </a:cubicBezTo>
                    <a:cubicBezTo>
                      <a:pt x="3985" y="9697"/>
                      <a:pt x="3985" y="9697"/>
                      <a:pt x="3985" y="9697"/>
                    </a:cubicBezTo>
                    <a:cubicBezTo>
                      <a:pt x="3996" y="9796"/>
                      <a:pt x="4028" y="9861"/>
                      <a:pt x="4073" y="9904"/>
                    </a:cubicBezTo>
                    <a:cubicBezTo>
                      <a:pt x="4130" y="9957"/>
                      <a:pt x="4204" y="9974"/>
                      <a:pt x="4273" y="9986"/>
                    </a:cubicBezTo>
                    <a:cubicBezTo>
                      <a:pt x="4332" y="9996"/>
                      <a:pt x="4403" y="10000"/>
                      <a:pt x="4475" y="10001"/>
                    </a:cubicBezTo>
                    <a:cubicBezTo>
                      <a:pt x="4478" y="10002"/>
                      <a:pt x="4481" y="10002"/>
                      <a:pt x="4484" y="10002"/>
                    </a:cubicBezTo>
                    <a:cubicBezTo>
                      <a:pt x="4484" y="10001"/>
                      <a:pt x="4484" y="10001"/>
                      <a:pt x="4484" y="10001"/>
                    </a:cubicBezTo>
                    <a:cubicBezTo>
                      <a:pt x="4489" y="10001"/>
                      <a:pt x="4495" y="10001"/>
                      <a:pt x="4500" y="10001"/>
                    </a:cubicBezTo>
                    <a:cubicBezTo>
                      <a:pt x="4592" y="10001"/>
                      <a:pt x="4684" y="9996"/>
                      <a:pt x="4754" y="9994"/>
                    </a:cubicBezTo>
                    <a:cubicBezTo>
                      <a:pt x="4790" y="9993"/>
                      <a:pt x="4823" y="9991"/>
                      <a:pt x="4854" y="9991"/>
                    </a:cubicBezTo>
                    <a:cubicBezTo>
                      <a:pt x="4896" y="9991"/>
                      <a:pt x="4932" y="9995"/>
                      <a:pt x="4960" y="10012"/>
                    </a:cubicBezTo>
                    <a:cubicBezTo>
                      <a:pt x="4989" y="10029"/>
                      <a:pt x="5013" y="10059"/>
                      <a:pt x="5030" y="10116"/>
                    </a:cubicBezTo>
                    <a:cubicBezTo>
                      <a:pt x="5047" y="10171"/>
                      <a:pt x="5053" y="10353"/>
                      <a:pt x="5053" y="10552"/>
                    </a:cubicBezTo>
                    <a:cubicBezTo>
                      <a:pt x="5053" y="10637"/>
                      <a:pt x="5052" y="10726"/>
                      <a:pt x="5051" y="10812"/>
                    </a:cubicBezTo>
                    <a:cubicBezTo>
                      <a:pt x="5087" y="10812"/>
                      <a:pt x="5087" y="10812"/>
                      <a:pt x="5087" y="10812"/>
                    </a:cubicBezTo>
                    <a:cubicBezTo>
                      <a:pt x="5088" y="10726"/>
                      <a:pt x="5089" y="10637"/>
                      <a:pt x="5089" y="10552"/>
                    </a:cubicBezTo>
                    <a:cubicBezTo>
                      <a:pt x="5089" y="10396"/>
                      <a:pt x="5086" y="10254"/>
                      <a:pt x="5076" y="10167"/>
                    </a:cubicBezTo>
                    <a:cubicBezTo>
                      <a:pt x="5108" y="10172"/>
                      <a:pt x="5211" y="10189"/>
                      <a:pt x="5327" y="10208"/>
                    </a:cubicBezTo>
                    <a:cubicBezTo>
                      <a:pt x="5468" y="10232"/>
                      <a:pt x="5630" y="10259"/>
                      <a:pt x="5709" y="10275"/>
                    </a:cubicBezTo>
                    <a:cubicBezTo>
                      <a:pt x="5867" y="10308"/>
                      <a:pt x="6075" y="10361"/>
                      <a:pt x="6185" y="10389"/>
                    </a:cubicBezTo>
                    <a:cubicBezTo>
                      <a:pt x="6292" y="10417"/>
                      <a:pt x="6379" y="10472"/>
                      <a:pt x="6759" y="10508"/>
                    </a:cubicBezTo>
                    <a:cubicBezTo>
                      <a:pt x="6772" y="10510"/>
                      <a:pt x="6785" y="10511"/>
                      <a:pt x="6797" y="10513"/>
                    </a:cubicBezTo>
                    <a:cubicBezTo>
                      <a:pt x="6796" y="10518"/>
                      <a:pt x="6795" y="10525"/>
                      <a:pt x="6794" y="10533"/>
                    </a:cubicBezTo>
                    <a:cubicBezTo>
                      <a:pt x="6790" y="10554"/>
                      <a:pt x="6785" y="10584"/>
                      <a:pt x="6779" y="10620"/>
                    </a:cubicBezTo>
                    <a:cubicBezTo>
                      <a:pt x="6770" y="10674"/>
                      <a:pt x="6758" y="10741"/>
                      <a:pt x="6747" y="10812"/>
                    </a:cubicBezTo>
                    <a:cubicBezTo>
                      <a:pt x="6783" y="10812"/>
                      <a:pt x="6783" y="10812"/>
                      <a:pt x="6783" y="10812"/>
                    </a:cubicBezTo>
                    <a:cubicBezTo>
                      <a:pt x="6806" y="10677"/>
                      <a:pt x="6826" y="10554"/>
                      <a:pt x="6833" y="10518"/>
                    </a:cubicBezTo>
                    <a:cubicBezTo>
                      <a:pt x="7097" y="10560"/>
                      <a:pt x="7392" y="10688"/>
                      <a:pt x="7530" y="10753"/>
                    </a:cubicBezTo>
                    <a:cubicBezTo>
                      <a:pt x="7579" y="10776"/>
                      <a:pt x="7608" y="10791"/>
                      <a:pt x="7609" y="10792"/>
                    </a:cubicBezTo>
                    <a:cubicBezTo>
                      <a:pt x="7628" y="10803"/>
                      <a:pt x="7628" y="10803"/>
                      <a:pt x="7628" y="10803"/>
                    </a:cubicBezTo>
                    <a:cubicBezTo>
                      <a:pt x="7624" y="10812"/>
                      <a:pt x="7624" y="10812"/>
                      <a:pt x="7624" y="10812"/>
                    </a:cubicBezTo>
                    <a:cubicBezTo>
                      <a:pt x="7713" y="10812"/>
                      <a:pt x="7713" y="10812"/>
                      <a:pt x="7713" y="10812"/>
                    </a:cubicBezTo>
                    <a:cubicBezTo>
                      <a:pt x="7677" y="10790"/>
                      <a:pt x="7677" y="10790"/>
                      <a:pt x="7677" y="10790"/>
                    </a:cubicBezTo>
                    <a:cubicBezTo>
                      <a:pt x="8584" y="9144"/>
                      <a:pt x="8584" y="9144"/>
                      <a:pt x="8584" y="9144"/>
                    </a:cubicBezTo>
                    <a:cubicBezTo>
                      <a:pt x="8665" y="9194"/>
                      <a:pt x="9041" y="9421"/>
                      <a:pt x="9184" y="9463"/>
                    </a:cubicBezTo>
                    <a:cubicBezTo>
                      <a:pt x="9340" y="9508"/>
                      <a:pt x="9527" y="9549"/>
                      <a:pt x="9672" y="9609"/>
                    </a:cubicBezTo>
                    <a:cubicBezTo>
                      <a:pt x="9713" y="9627"/>
                      <a:pt x="9765" y="9655"/>
                      <a:pt x="9818" y="9687"/>
                    </a:cubicBezTo>
                    <a:cubicBezTo>
                      <a:pt x="9815" y="9691"/>
                      <a:pt x="9813" y="9695"/>
                      <a:pt x="9809" y="9700"/>
                    </a:cubicBezTo>
                    <a:cubicBezTo>
                      <a:pt x="9801" y="9713"/>
                      <a:pt x="9790" y="9731"/>
                      <a:pt x="9776" y="9754"/>
                    </a:cubicBezTo>
                    <a:cubicBezTo>
                      <a:pt x="9748" y="9799"/>
                      <a:pt x="9710" y="9861"/>
                      <a:pt x="9665" y="9932"/>
                    </a:cubicBezTo>
                    <a:cubicBezTo>
                      <a:pt x="9576" y="10074"/>
                      <a:pt x="9463" y="10247"/>
                      <a:pt x="9366" y="10373"/>
                    </a:cubicBezTo>
                    <a:cubicBezTo>
                      <a:pt x="9203" y="10588"/>
                      <a:pt x="9187" y="10707"/>
                      <a:pt x="9187" y="10745"/>
                    </a:cubicBezTo>
                    <a:cubicBezTo>
                      <a:pt x="9187" y="10751"/>
                      <a:pt x="9187" y="10756"/>
                      <a:pt x="9187" y="10758"/>
                    </a:cubicBezTo>
                    <a:cubicBezTo>
                      <a:pt x="9190" y="10812"/>
                      <a:pt x="9190" y="10812"/>
                      <a:pt x="9190" y="10812"/>
                    </a:cubicBezTo>
                    <a:cubicBezTo>
                      <a:pt x="9227" y="10812"/>
                      <a:pt x="9227" y="10812"/>
                      <a:pt x="9227" y="10812"/>
                    </a:cubicBezTo>
                    <a:cubicBezTo>
                      <a:pt x="9223" y="10754"/>
                      <a:pt x="9223" y="10754"/>
                      <a:pt x="9223" y="10754"/>
                    </a:cubicBezTo>
                    <a:cubicBezTo>
                      <a:pt x="9223" y="10752"/>
                      <a:pt x="9223" y="10752"/>
                      <a:pt x="9223" y="10752"/>
                    </a:cubicBezTo>
                    <a:cubicBezTo>
                      <a:pt x="9223" y="10752"/>
                      <a:pt x="9223" y="10752"/>
                      <a:pt x="9223" y="10751"/>
                    </a:cubicBezTo>
                    <a:cubicBezTo>
                      <a:pt x="9223" y="10750"/>
                      <a:pt x="9223" y="10748"/>
                      <a:pt x="9223" y="10745"/>
                    </a:cubicBezTo>
                    <a:cubicBezTo>
                      <a:pt x="9223" y="10717"/>
                      <a:pt x="9235" y="10606"/>
                      <a:pt x="9395" y="10395"/>
                    </a:cubicBezTo>
                    <a:cubicBezTo>
                      <a:pt x="9538" y="10207"/>
                      <a:pt x="9715" y="9922"/>
                      <a:pt x="9801" y="9782"/>
                    </a:cubicBezTo>
                    <a:cubicBezTo>
                      <a:pt x="9824" y="9745"/>
                      <a:pt x="9842" y="9716"/>
                      <a:pt x="9848" y="9706"/>
                    </a:cubicBezTo>
                    <a:cubicBezTo>
                      <a:pt x="9876" y="9724"/>
                      <a:pt x="9903" y="9742"/>
                      <a:pt x="9929" y="9761"/>
                    </a:cubicBezTo>
                    <a:cubicBezTo>
                      <a:pt x="10016" y="9822"/>
                      <a:pt x="10092" y="9885"/>
                      <a:pt x="10113" y="9914"/>
                    </a:cubicBezTo>
                    <a:cubicBezTo>
                      <a:pt x="10122" y="9925"/>
                      <a:pt x="10139" y="9966"/>
                      <a:pt x="10157" y="10022"/>
                    </a:cubicBezTo>
                    <a:cubicBezTo>
                      <a:pt x="10175" y="10078"/>
                      <a:pt x="10195" y="10150"/>
                      <a:pt x="10216" y="10229"/>
                    </a:cubicBezTo>
                    <a:cubicBezTo>
                      <a:pt x="10258" y="10387"/>
                      <a:pt x="10302" y="10574"/>
                      <a:pt x="10334" y="10719"/>
                    </a:cubicBezTo>
                    <a:cubicBezTo>
                      <a:pt x="10342" y="10752"/>
                      <a:pt x="10345" y="10783"/>
                      <a:pt x="10346" y="10812"/>
                    </a:cubicBezTo>
                    <a:cubicBezTo>
                      <a:pt x="10382" y="10812"/>
                      <a:pt x="10382" y="10812"/>
                      <a:pt x="10382" y="10812"/>
                    </a:cubicBezTo>
                    <a:cubicBezTo>
                      <a:pt x="10381" y="10780"/>
                      <a:pt x="10378" y="10747"/>
                      <a:pt x="10370" y="10711"/>
                    </a:cubicBezTo>
                    <a:cubicBezTo>
                      <a:pt x="10320" y="10493"/>
                      <a:pt x="10246" y="10182"/>
                      <a:pt x="10191" y="10011"/>
                    </a:cubicBezTo>
                    <a:cubicBezTo>
                      <a:pt x="10183" y="9986"/>
                      <a:pt x="10175" y="9964"/>
                      <a:pt x="10168" y="9946"/>
                    </a:cubicBezTo>
                    <a:cubicBezTo>
                      <a:pt x="10193" y="9926"/>
                      <a:pt x="10349" y="9804"/>
                      <a:pt x="10543" y="9652"/>
                    </a:cubicBezTo>
                    <a:cubicBezTo>
                      <a:pt x="10754" y="9487"/>
                      <a:pt x="11009" y="9288"/>
                      <a:pt x="11183" y="9153"/>
                    </a:cubicBezTo>
                    <a:cubicBezTo>
                      <a:pt x="11275" y="9081"/>
                      <a:pt x="11345" y="9027"/>
                      <a:pt x="11373" y="9006"/>
                    </a:cubicBezTo>
                    <a:cubicBezTo>
                      <a:pt x="11556" y="9150"/>
                      <a:pt x="11651" y="9291"/>
                      <a:pt x="11688" y="9356"/>
                    </a:cubicBezTo>
                    <a:cubicBezTo>
                      <a:pt x="11701" y="9379"/>
                      <a:pt x="11707" y="9392"/>
                      <a:pt x="11706" y="9392"/>
                    </a:cubicBezTo>
                    <a:cubicBezTo>
                      <a:pt x="12119" y="10354"/>
                      <a:pt x="12119" y="10354"/>
                      <a:pt x="12119" y="10354"/>
                    </a:cubicBezTo>
                    <a:cubicBezTo>
                      <a:pt x="11800" y="10812"/>
                      <a:pt x="11800" y="10812"/>
                      <a:pt x="11800" y="10812"/>
                    </a:cubicBezTo>
                    <a:cubicBezTo>
                      <a:pt x="11844" y="10812"/>
                      <a:pt x="11844" y="10812"/>
                      <a:pt x="11844" y="10812"/>
                    </a:cubicBezTo>
                    <a:cubicBezTo>
                      <a:pt x="12137" y="10392"/>
                      <a:pt x="12137" y="10392"/>
                      <a:pt x="12137" y="10392"/>
                    </a:cubicBezTo>
                    <a:cubicBezTo>
                      <a:pt x="12886" y="10812"/>
                      <a:pt x="12886" y="10812"/>
                      <a:pt x="12886" y="10812"/>
                    </a:cubicBezTo>
                    <a:cubicBezTo>
                      <a:pt x="12960" y="10812"/>
                      <a:pt x="12960" y="10812"/>
                      <a:pt x="12960" y="10812"/>
                    </a:cubicBezTo>
                    <a:cubicBezTo>
                      <a:pt x="12143" y="10354"/>
                      <a:pt x="12143" y="10354"/>
                      <a:pt x="12143" y="10354"/>
                    </a:cubicBezTo>
                    <a:cubicBezTo>
                      <a:pt x="12156" y="10349"/>
                      <a:pt x="12156" y="10349"/>
                      <a:pt x="12156" y="10349"/>
                    </a:cubicBezTo>
                    <a:cubicBezTo>
                      <a:pt x="11810" y="9542"/>
                      <a:pt x="11810" y="9542"/>
                      <a:pt x="11810" y="9542"/>
                    </a:cubicBezTo>
                    <a:cubicBezTo>
                      <a:pt x="11860" y="9523"/>
                      <a:pt x="12236" y="9380"/>
                      <a:pt x="12354" y="9321"/>
                    </a:cubicBezTo>
                    <a:cubicBezTo>
                      <a:pt x="12411" y="9292"/>
                      <a:pt x="12449" y="9274"/>
                      <a:pt x="12475" y="9244"/>
                    </a:cubicBezTo>
                    <a:cubicBezTo>
                      <a:pt x="12501" y="9214"/>
                      <a:pt x="12509" y="9175"/>
                      <a:pt x="12509" y="9117"/>
                    </a:cubicBezTo>
                    <a:cubicBezTo>
                      <a:pt x="12509" y="9108"/>
                      <a:pt x="12509" y="9099"/>
                      <a:pt x="12509" y="9090"/>
                    </a:cubicBezTo>
                    <a:cubicBezTo>
                      <a:pt x="12509" y="9088"/>
                      <a:pt x="12509" y="9086"/>
                      <a:pt x="12509" y="9084"/>
                    </a:cubicBezTo>
                    <a:cubicBezTo>
                      <a:pt x="12508" y="8994"/>
                      <a:pt x="12578" y="8957"/>
                      <a:pt x="12615" y="8943"/>
                    </a:cubicBezTo>
                    <a:cubicBezTo>
                      <a:pt x="12624" y="8940"/>
                      <a:pt x="12630" y="8938"/>
                      <a:pt x="12633" y="8937"/>
                    </a:cubicBezTo>
                    <a:cubicBezTo>
                      <a:pt x="13641" y="8904"/>
                      <a:pt x="13641" y="8904"/>
                      <a:pt x="13641" y="8904"/>
                    </a:cubicBezTo>
                    <a:cubicBezTo>
                      <a:pt x="13656" y="8907"/>
                      <a:pt x="13656" y="8907"/>
                      <a:pt x="13656" y="8907"/>
                    </a:cubicBezTo>
                    <a:cubicBezTo>
                      <a:pt x="13658" y="8925"/>
                      <a:pt x="13660" y="8948"/>
                      <a:pt x="13662" y="8976"/>
                    </a:cubicBezTo>
                    <a:cubicBezTo>
                      <a:pt x="13667" y="9044"/>
                      <a:pt x="13676" y="9136"/>
                      <a:pt x="13685" y="9244"/>
                    </a:cubicBezTo>
                    <a:cubicBezTo>
                      <a:pt x="13705" y="9460"/>
                      <a:pt x="13731" y="9741"/>
                      <a:pt x="13757" y="10019"/>
                    </a:cubicBezTo>
                    <a:cubicBezTo>
                      <a:pt x="13784" y="10312"/>
                      <a:pt x="13812" y="10603"/>
                      <a:pt x="13831" y="10812"/>
                    </a:cubicBezTo>
                    <a:cubicBezTo>
                      <a:pt x="13947" y="10812"/>
                      <a:pt x="13947" y="10812"/>
                      <a:pt x="13947" y="10812"/>
                    </a:cubicBezTo>
                    <a:cubicBezTo>
                      <a:pt x="13932" y="10651"/>
                      <a:pt x="13912" y="10440"/>
                      <a:pt x="13890" y="10215"/>
                    </a:cubicBezTo>
                    <a:cubicBezTo>
                      <a:pt x="13854" y="9831"/>
                      <a:pt x="13815" y="9410"/>
                      <a:pt x="13791" y="9137"/>
                    </a:cubicBezTo>
                    <a:cubicBezTo>
                      <a:pt x="13803" y="9134"/>
                      <a:pt x="13803" y="9134"/>
                      <a:pt x="13803" y="9134"/>
                    </a:cubicBezTo>
                    <a:cubicBezTo>
                      <a:pt x="13851" y="9133"/>
                      <a:pt x="14003" y="9130"/>
                      <a:pt x="14213" y="9127"/>
                    </a:cubicBezTo>
                    <a:cubicBezTo>
                      <a:pt x="14303" y="9126"/>
                      <a:pt x="14405" y="9124"/>
                      <a:pt x="14513" y="9123"/>
                    </a:cubicBezTo>
                    <a:cubicBezTo>
                      <a:pt x="14544" y="9251"/>
                      <a:pt x="14687" y="9852"/>
                      <a:pt x="14818" y="10346"/>
                    </a:cubicBezTo>
                    <a:cubicBezTo>
                      <a:pt x="14853" y="10478"/>
                      <a:pt x="14898" y="10645"/>
                      <a:pt x="14944" y="10812"/>
                    </a:cubicBezTo>
                    <a:cubicBezTo>
                      <a:pt x="14982" y="10812"/>
                      <a:pt x="14982" y="10812"/>
                      <a:pt x="14982" y="10812"/>
                    </a:cubicBezTo>
                    <a:cubicBezTo>
                      <a:pt x="14935" y="10642"/>
                      <a:pt x="14888" y="10471"/>
                      <a:pt x="14853" y="10337"/>
                    </a:cubicBezTo>
                    <a:cubicBezTo>
                      <a:pt x="14779" y="10059"/>
                      <a:pt x="14701" y="9747"/>
                      <a:pt x="14642" y="9504"/>
                    </a:cubicBezTo>
                    <a:cubicBezTo>
                      <a:pt x="14598" y="9324"/>
                      <a:pt x="14565" y="9183"/>
                      <a:pt x="14550" y="9122"/>
                    </a:cubicBezTo>
                    <a:cubicBezTo>
                      <a:pt x="14741" y="9119"/>
                      <a:pt x="14952" y="9116"/>
                      <a:pt x="15166" y="9113"/>
                    </a:cubicBezTo>
                    <a:cubicBezTo>
                      <a:pt x="15867" y="9102"/>
                      <a:pt x="16590" y="9091"/>
                      <a:pt x="16680" y="9091"/>
                    </a:cubicBezTo>
                    <a:cubicBezTo>
                      <a:pt x="16682" y="9091"/>
                      <a:pt x="16684" y="9091"/>
                      <a:pt x="16685" y="9091"/>
                    </a:cubicBezTo>
                    <a:cubicBezTo>
                      <a:pt x="16686" y="9091"/>
                      <a:pt x="16686" y="9091"/>
                      <a:pt x="16686" y="9091"/>
                    </a:cubicBezTo>
                    <a:cubicBezTo>
                      <a:pt x="16688" y="9092"/>
                      <a:pt x="16688" y="9092"/>
                      <a:pt x="16689" y="9092"/>
                    </a:cubicBezTo>
                    <a:cubicBezTo>
                      <a:pt x="16690" y="9092"/>
                      <a:pt x="16691" y="9092"/>
                      <a:pt x="16692" y="9092"/>
                    </a:cubicBezTo>
                    <a:cubicBezTo>
                      <a:pt x="16696" y="9092"/>
                      <a:pt x="16702" y="9091"/>
                      <a:pt x="16711" y="9091"/>
                    </a:cubicBezTo>
                    <a:cubicBezTo>
                      <a:pt x="16799" y="9091"/>
                      <a:pt x="17144" y="9101"/>
                      <a:pt x="17476" y="9327"/>
                    </a:cubicBezTo>
                    <a:cubicBezTo>
                      <a:pt x="17686" y="9469"/>
                      <a:pt x="17851" y="9599"/>
                      <a:pt x="18008" y="9720"/>
                    </a:cubicBezTo>
                    <a:cubicBezTo>
                      <a:pt x="18009" y="9720"/>
                      <a:pt x="18010" y="9721"/>
                      <a:pt x="18011" y="9722"/>
                    </a:cubicBezTo>
                    <a:cubicBezTo>
                      <a:pt x="18011" y="9677"/>
                      <a:pt x="18011" y="9677"/>
                      <a:pt x="18011" y="9677"/>
                    </a:cubicBezTo>
                    <a:cubicBezTo>
                      <a:pt x="18010" y="9676"/>
                      <a:pt x="18009" y="9675"/>
                      <a:pt x="18008" y="9674"/>
                    </a:cubicBezTo>
                    <a:cubicBezTo>
                      <a:pt x="17858" y="9558"/>
                      <a:pt x="17697" y="9433"/>
                      <a:pt x="17497" y="9297"/>
                    </a:cubicBezTo>
                    <a:cubicBezTo>
                      <a:pt x="17365" y="9208"/>
                      <a:pt x="17231" y="9152"/>
                      <a:pt x="17112" y="9116"/>
                    </a:cubicBezTo>
                    <a:cubicBezTo>
                      <a:pt x="17144" y="9063"/>
                      <a:pt x="17308" y="8772"/>
                      <a:pt x="17308" y="8363"/>
                    </a:cubicBezTo>
                    <a:cubicBezTo>
                      <a:pt x="17308" y="8222"/>
                      <a:pt x="17288" y="8066"/>
                      <a:pt x="17236" y="7902"/>
                    </a:cubicBezTo>
                    <a:cubicBezTo>
                      <a:pt x="17229" y="7868"/>
                      <a:pt x="17083" y="7132"/>
                      <a:pt x="16502" y="6560"/>
                    </a:cubicBezTo>
                    <a:cubicBezTo>
                      <a:pt x="16130" y="6193"/>
                      <a:pt x="15667" y="6053"/>
                      <a:pt x="15476" y="6007"/>
                    </a:cubicBezTo>
                    <a:cubicBezTo>
                      <a:pt x="15477" y="6004"/>
                      <a:pt x="15477" y="6003"/>
                      <a:pt x="15477" y="6000"/>
                    </a:cubicBezTo>
                    <a:cubicBezTo>
                      <a:pt x="15527" y="5723"/>
                      <a:pt x="15683" y="5396"/>
                      <a:pt x="16223" y="5246"/>
                    </a:cubicBezTo>
                    <a:cubicBezTo>
                      <a:pt x="16630" y="5134"/>
                      <a:pt x="17137" y="5104"/>
                      <a:pt x="17399" y="5088"/>
                    </a:cubicBezTo>
                    <a:cubicBezTo>
                      <a:pt x="17487" y="5082"/>
                      <a:pt x="17545" y="5079"/>
                      <a:pt x="17569" y="5073"/>
                    </a:cubicBezTo>
                    <a:cubicBezTo>
                      <a:pt x="17622" y="5060"/>
                      <a:pt x="17799" y="5006"/>
                      <a:pt x="18008" y="4891"/>
                    </a:cubicBezTo>
                    <a:cubicBezTo>
                      <a:pt x="18009" y="4890"/>
                      <a:pt x="18010" y="4890"/>
                      <a:pt x="18011" y="4889"/>
                    </a:cubicBezTo>
                    <a:cubicBezTo>
                      <a:pt x="18011" y="4848"/>
                      <a:pt x="18011" y="4848"/>
                      <a:pt x="18011" y="4848"/>
                    </a:cubicBezTo>
                    <a:cubicBezTo>
                      <a:pt x="18010" y="4848"/>
                      <a:pt x="18009" y="4849"/>
                      <a:pt x="18008" y="4850"/>
                    </a:cubicBezTo>
                    <a:cubicBezTo>
                      <a:pt x="17795" y="4970"/>
                      <a:pt x="17612" y="5026"/>
                      <a:pt x="17560" y="5038"/>
                    </a:cubicBezTo>
                    <a:cubicBezTo>
                      <a:pt x="17545" y="5042"/>
                      <a:pt x="17484" y="5047"/>
                      <a:pt x="17397" y="5052"/>
                    </a:cubicBezTo>
                    <a:cubicBezTo>
                      <a:pt x="17310" y="5057"/>
                      <a:pt x="17195" y="5064"/>
                      <a:pt x="17065" y="5075"/>
                    </a:cubicBezTo>
                    <a:cubicBezTo>
                      <a:pt x="16806" y="5097"/>
                      <a:pt x="16488" y="5136"/>
                      <a:pt x="16213" y="5212"/>
                    </a:cubicBezTo>
                    <a:cubicBezTo>
                      <a:pt x="15661" y="5363"/>
                      <a:pt x="15491" y="5709"/>
                      <a:pt x="15442" y="5994"/>
                    </a:cubicBezTo>
                    <a:cubicBezTo>
                      <a:pt x="15442" y="5996"/>
                      <a:pt x="15441" y="5997"/>
                      <a:pt x="15441" y="5998"/>
                    </a:cubicBezTo>
                    <a:cubicBezTo>
                      <a:pt x="15422" y="5994"/>
                      <a:pt x="15407" y="5991"/>
                      <a:pt x="15398" y="5989"/>
                    </a:cubicBezTo>
                    <a:cubicBezTo>
                      <a:pt x="14206" y="5755"/>
                      <a:pt x="14206" y="5755"/>
                      <a:pt x="14206" y="5755"/>
                    </a:cubicBezTo>
                    <a:cubicBezTo>
                      <a:pt x="14200" y="5752"/>
                      <a:pt x="14192" y="5749"/>
                      <a:pt x="14186" y="5746"/>
                    </a:cubicBezTo>
                    <a:cubicBezTo>
                      <a:pt x="14212" y="5587"/>
                      <a:pt x="14236" y="5441"/>
                      <a:pt x="14256" y="5318"/>
                    </a:cubicBezTo>
                    <a:cubicBezTo>
                      <a:pt x="14289" y="5123"/>
                      <a:pt x="14312" y="4983"/>
                      <a:pt x="14321" y="4929"/>
                    </a:cubicBezTo>
                    <a:cubicBezTo>
                      <a:pt x="14374" y="4891"/>
                      <a:pt x="14519" y="4780"/>
                      <a:pt x="14625" y="4635"/>
                    </a:cubicBezTo>
                    <a:cubicBezTo>
                      <a:pt x="14739" y="4477"/>
                      <a:pt x="14808" y="4297"/>
                      <a:pt x="14823" y="4257"/>
                    </a:cubicBezTo>
                    <a:cubicBezTo>
                      <a:pt x="15130" y="3836"/>
                      <a:pt x="15130" y="3836"/>
                      <a:pt x="15130" y="3836"/>
                    </a:cubicBezTo>
                    <a:cubicBezTo>
                      <a:pt x="15317" y="3879"/>
                      <a:pt x="15767" y="3983"/>
                      <a:pt x="16050" y="4040"/>
                    </a:cubicBezTo>
                    <a:cubicBezTo>
                      <a:pt x="16228" y="4076"/>
                      <a:pt x="16770" y="4214"/>
                      <a:pt x="17266" y="4342"/>
                    </a:cubicBezTo>
                    <a:cubicBezTo>
                      <a:pt x="17556" y="4417"/>
                      <a:pt x="17830" y="4488"/>
                      <a:pt x="18008" y="4535"/>
                    </a:cubicBezTo>
                    <a:cubicBezTo>
                      <a:pt x="18009" y="4536"/>
                      <a:pt x="18010" y="4536"/>
                      <a:pt x="18011" y="4536"/>
                    </a:cubicBezTo>
                    <a:cubicBezTo>
                      <a:pt x="18011" y="4417"/>
                      <a:pt x="18011" y="4417"/>
                      <a:pt x="18011" y="4417"/>
                    </a:cubicBezTo>
                    <a:cubicBezTo>
                      <a:pt x="18010" y="4417"/>
                      <a:pt x="18009" y="4417"/>
                      <a:pt x="18008" y="4417"/>
                    </a:cubicBezTo>
                    <a:cubicBezTo>
                      <a:pt x="17508" y="4285"/>
                      <a:pt x="16358" y="3986"/>
                      <a:pt x="16073" y="3928"/>
                    </a:cubicBezTo>
                    <a:cubicBezTo>
                      <a:pt x="15893" y="3891"/>
                      <a:pt x="15642" y="3835"/>
                      <a:pt x="15436" y="3788"/>
                    </a:cubicBezTo>
                    <a:cubicBezTo>
                      <a:pt x="15256" y="3747"/>
                      <a:pt x="15111" y="3713"/>
                      <a:pt x="15078" y="3706"/>
                    </a:cubicBezTo>
                    <a:cubicBezTo>
                      <a:pt x="15075" y="3704"/>
                      <a:pt x="15070" y="3701"/>
                      <a:pt x="15064" y="3697"/>
                    </a:cubicBezTo>
                    <a:cubicBezTo>
                      <a:pt x="15050" y="3687"/>
                      <a:pt x="15027" y="3670"/>
                      <a:pt x="14995" y="3640"/>
                    </a:cubicBezTo>
                    <a:cubicBezTo>
                      <a:pt x="14983" y="3630"/>
                      <a:pt x="14943" y="3587"/>
                      <a:pt x="14896" y="3532"/>
                    </a:cubicBezTo>
                    <a:cubicBezTo>
                      <a:pt x="14849" y="3478"/>
                      <a:pt x="14792" y="3410"/>
                      <a:pt x="14737" y="3345"/>
                    </a:cubicBezTo>
                    <a:cubicBezTo>
                      <a:pt x="14638" y="3228"/>
                      <a:pt x="14547" y="3118"/>
                      <a:pt x="14528" y="3095"/>
                    </a:cubicBezTo>
                    <a:cubicBezTo>
                      <a:pt x="14510" y="3061"/>
                      <a:pt x="14429" y="2916"/>
                      <a:pt x="14280" y="2820"/>
                    </a:cubicBezTo>
                    <a:cubicBezTo>
                      <a:pt x="14196" y="2768"/>
                      <a:pt x="14104" y="2739"/>
                      <a:pt x="14019" y="2718"/>
                    </a:cubicBezTo>
                    <a:cubicBezTo>
                      <a:pt x="13934" y="2697"/>
                      <a:pt x="13856" y="2683"/>
                      <a:pt x="13804" y="2665"/>
                    </a:cubicBezTo>
                    <a:cubicBezTo>
                      <a:pt x="13757" y="2649"/>
                      <a:pt x="13675" y="2602"/>
                      <a:pt x="13603" y="2545"/>
                    </a:cubicBezTo>
                    <a:cubicBezTo>
                      <a:pt x="13540" y="2496"/>
                      <a:pt x="13483" y="2439"/>
                      <a:pt x="13452" y="2393"/>
                    </a:cubicBezTo>
                    <a:cubicBezTo>
                      <a:pt x="13456" y="2380"/>
                      <a:pt x="13459" y="2363"/>
                      <a:pt x="13462" y="2343"/>
                    </a:cubicBezTo>
                    <a:cubicBezTo>
                      <a:pt x="13469" y="2302"/>
                      <a:pt x="13475" y="2246"/>
                      <a:pt x="13475" y="2186"/>
                    </a:cubicBezTo>
                    <a:cubicBezTo>
                      <a:pt x="13475" y="2150"/>
                      <a:pt x="13472" y="2112"/>
                      <a:pt x="13466" y="2075"/>
                    </a:cubicBezTo>
                    <a:cubicBezTo>
                      <a:pt x="13573" y="2049"/>
                      <a:pt x="13852" y="1981"/>
                      <a:pt x="14024" y="1941"/>
                    </a:cubicBezTo>
                    <a:cubicBezTo>
                      <a:pt x="14094" y="1924"/>
                      <a:pt x="14149" y="1911"/>
                      <a:pt x="14161" y="1909"/>
                    </a:cubicBezTo>
                    <a:cubicBezTo>
                      <a:pt x="14166" y="1909"/>
                      <a:pt x="14168" y="1908"/>
                      <a:pt x="14171" y="1908"/>
                    </a:cubicBezTo>
                    <a:cubicBezTo>
                      <a:pt x="14175" y="1907"/>
                      <a:pt x="14179" y="1906"/>
                      <a:pt x="14183" y="1905"/>
                    </a:cubicBezTo>
                    <a:cubicBezTo>
                      <a:pt x="14192" y="1902"/>
                      <a:pt x="14204" y="1899"/>
                      <a:pt x="14217" y="1895"/>
                    </a:cubicBezTo>
                    <a:cubicBezTo>
                      <a:pt x="14244" y="1887"/>
                      <a:pt x="14281" y="1876"/>
                      <a:pt x="14325" y="1862"/>
                    </a:cubicBezTo>
                    <a:cubicBezTo>
                      <a:pt x="14413" y="1834"/>
                      <a:pt x="14529" y="1794"/>
                      <a:pt x="14653" y="1749"/>
                    </a:cubicBezTo>
                    <a:cubicBezTo>
                      <a:pt x="14750" y="1714"/>
                      <a:pt x="14897" y="1641"/>
                      <a:pt x="15048" y="1562"/>
                    </a:cubicBezTo>
                    <a:cubicBezTo>
                      <a:pt x="15200" y="1482"/>
                      <a:pt x="15354" y="1396"/>
                      <a:pt x="15460" y="1337"/>
                    </a:cubicBezTo>
                    <a:cubicBezTo>
                      <a:pt x="15530" y="1298"/>
                      <a:pt x="15580" y="1269"/>
                      <a:pt x="15588" y="1265"/>
                    </a:cubicBezTo>
                    <a:cubicBezTo>
                      <a:pt x="15588" y="1265"/>
                      <a:pt x="15588" y="1265"/>
                      <a:pt x="15588" y="1265"/>
                    </a:cubicBezTo>
                    <a:cubicBezTo>
                      <a:pt x="15613" y="1254"/>
                      <a:pt x="15714" y="1211"/>
                      <a:pt x="15738" y="1201"/>
                    </a:cubicBezTo>
                    <a:lnTo>
                      <a:pt x="17155" y="911"/>
                    </a:lnTo>
                    <a:close/>
                    <a:moveTo>
                      <a:pt x="8439" y="883"/>
                    </a:moveTo>
                    <a:cubicBezTo>
                      <a:pt x="8516" y="865"/>
                      <a:pt x="8588" y="823"/>
                      <a:pt x="8648" y="783"/>
                    </a:cubicBezTo>
                    <a:cubicBezTo>
                      <a:pt x="8691" y="754"/>
                      <a:pt x="8727" y="726"/>
                      <a:pt x="8752" y="705"/>
                    </a:cubicBezTo>
                    <a:cubicBezTo>
                      <a:pt x="8818" y="763"/>
                      <a:pt x="8896" y="812"/>
                      <a:pt x="8977" y="848"/>
                    </a:cubicBezTo>
                    <a:cubicBezTo>
                      <a:pt x="9139" y="918"/>
                      <a:pt x="9746" y="1193"/>
                      <a:pt x="10254" y="1360"/>
                    </a:cubicBezTo>
                    <a:cubicBezTo>
                      <a:pt x="10717" y="1512"/>
                      <a:pt x="11127" y="1587"/>
                      <a:pt x="11197" y="1600"/>
                    </a:cubicBezTo>
                    <a:cubicBezTo>
                      <a:pt x="11198" y="1603"/>
                      <a:pt x="11198" y="1608"/>
                      <a:pt x="11198" y="1612"/>
                    </a:cubicBezTo>
                    <a:cubicBezTo>
                      <a:pt x="11198" y="1618"/>
                      <a:pt x="11197" y="1624"/>
                      <a:pt x="11196" y="1632"/>
                    </a:cubicBezTo>
                    <a:cubicBezTo>
                      <a:pt x="11196" y="1632"/>
                      <a:pt x="11196" y="1632"/>
                      <a:pt x="11196" y="1632"/>
                    </a:cubicBezTo>
                    <a:cubicBezTo>
                      <a:pt x="11196" y="1632"/>
                      <a:pt x="11197" y="1632"/>
                      <a:pt x="11196" y="1632"/>
                    </a:cubicBezTo>
                    <a:cubicBezTo>
                      <a:pt x="11189" y="1720"/>
                      <a:pt x="11161" y="1890"/>
                      <a:pt x="11061" y="1994"/>
                    </a:cubicBezTo>
                    <a:cubicBezTo>
                      <a:pt x="10988" y="2071"/>
                      <a:pt x="10883" y="2170"/>
                      <a:pt x="10797" y="2250"/>
                    </a:cubicBezTo>
                    <a:cubicBezTo>
                      <a:pt x="10745" y="2297"/>
                      <a:pt x="10700" y="2338"/>
                      <a:pt x="10672" y="2363"/>
                    </a:cubicBezTo>
                    <a:cubicBezTo>
                      <a:pt x="10671" y="2362"/>
                      <a:pt x="10671" y="2362"/>
                      <a:pt x="10671" y="2362"/>
                    </a:cubicBezTo>
                    <a:cubicBezTo>
                      <a:pt x="10670" y="2362"/>
                      <a:pt x="10670" y="2362"/>
                      <a:pt x="10670" y="2362"/>
                    </a:cubicBezTo>
                    <a:cubicBezTo>
                      <a:pt x="10670" y="2362"/>
                      <a:pt x="10209" y="2146"/>
                      <a:pt x="10045" y="2076"/>
                    </a:cubicBezTo>
                    <a:cubicBezTo>
                      <a:pt x="9884" y="2007"/>
                      <a:pt x="9463" y="1779"/>
                      <a:pt x="9304" y="1693"/>
                    </a:cubicBezTo>
                    <a:cubicBezTo>
                      <a:pt x="9146" y="1608"/>
                      <a:pt x="8803" y="1392"/>
                      <a:pt x="8700" y="1330"/>
                    </a:cubicBezTo>
                    <a:cubicBezTo>
                      <a:pt x="8651" y="1301"/>
                      <a:pt x="8500" y="1191"/>
                      <a:pt x="8362" y="1090"/>
                    </a:cubicBezTo>
                    <a:cubicBezTo>
                      <a:pt x="8287" y="1035"/>
                      <a:pt x="8215" y="982"/>
                      <a:pt x="8166" y="945"/>
                    </a:cubicBezTo>
                    <a:cubicBezTo>
                      <a:pt x="8159" y="927"/>
                      <a:pt x="8159" y="927"/>
                      <a:pt x="8159" y="927"/>
                    </a:cubicBezTo>
                    <a:cubicBezTo>
                      <a:pt x="8237" y="918"/>
                      <a:pt x="8349" y="903"/>
                      <a:pt x="8439" y="883"/>
                    </a:cubicBezTo>
                    <a:close/>
                    <a:moveTo>
                      <a:pt x="12309" y="4066"/>
                    </a:moveTo>
                    <a:cubicBezTo>
                      <a:pt x="12177" y="4194"/>
                      <a:pt x="12049" y="4317"/>
                      <a:pt x="12010" y="4347"/>
                    </a:cubicBezTo>
                    <a:cubicBezTo>
                      <a:pt x="11941" y="4401"/>
                      <a:pt x="11890" y="4426"/>
                      <a:pt x="11870" y="4434"/>
                    </a:cubicBezTo>
                    <a:cubicBezTo>
                      <a:pt x="11863" y="4437"/>
                      <a:pt x="11860" y="4438"/>
                      <a:pt x="11860" y="4438"/>
                    </a:cubicBezTo>
                    <a:cubicBezTo>
                      <a:pt x="11860" y="4438"/>
                      <a:pt x="11762" y="4470"/>
                      <a:pt x="11609" y="4520"/>
                    </a:cubicBezTo>
                    <a:cubicBezTo>
                      <a:pt x="11457" y="4570"/>
                      <a:pt x="11251" y="4638"/>
                      <a:pt x="11036" y="4708"/>
                    </a:cubicBezTo>
                    <a:cubicBezTo>
                      <a:pt x="10607" y="4848"/>
                      <a:pt x="10142" y="4999"/>
                      <a:pt x="10004" y="5042"/>
                    </a:cubicBezTo>
                    <a:cubicBezTo>
                      <a:pt x="9952" y="5058"/>
                      <a:pt x="9901" y="5064"/>
                      <a:pt x="9850" y="5064"/>
                    </a:cubicBezTo>
                    <a:cubicBezTo>
                      <a:pt x="9693" y="5064"/>
                      <a:pt x="9551" y="5000"/>
                      <a:pt x="9491" y="4968"/>
                    </a:cubicBezTo>
                    <a:cubicBezTo>
                      <a:pt x="9481" y="4963"/>
                      <a:pt x="9474" y="4958"/>
                      <a:pt x="9469" y="4955"/>
                    </a:cubicBezTo>
                    <a:cubicBezTo>
                      <a:pt x="10669" y="2414"/>
                      <a:pt x="10669" y="2414"/>
                      <a:pt x="10669" y="2414"/>
                    </a:cubicBezTo>
                    <a:cubicBezTo>
                      <a:pt x="10670" y="2412"/>
                      <a:pt x="10672" y="2410"/>
                      <a:pt x="10675" y="2408"/>
                    </a:cubicBezTo>
                    <a:cubicBezTo>
                      <a:pt x="10734" y="2447"/>
                      <a:pt x="10899" y="2557"/>
                      <a:pt x="11060" y="2663"/>
                    </a:cubicBezTo>
                    <a:cubicBezTo>
                      <a:pt x="11160" y="2728"/>
                      <a:pt x="11240" y="2786"/>
                      <a:pt x="11295" y="2829"/>
                    </a:cubicBezTo>
                    <a:cubicBezTo>
                      <a:pt x="11344" y="2867"/>
                      <a:pt x="11373" y="2891"/>
                      <a:pt x="11379" y="2897"/>
                    </a:cubicBezTo>
                    <a:lnTo>
                      <a:pt x="12309" y="4066"/>
                    </a:lnTo>
                    <a:close/>
                    <a:moveTo>
                      <a:pt x="11711" y="3255"/>
                    </a:moveTo>
                    <a:cubicBezTo>
                      <a:pt x="11713" y="3254"/>
                      <a:pt x="11714" y="3253"/>
                      <a:pt x="11717" y="3252"/>
                    </a:cubicBezTo>
                    <a:cubicBezTo>
                      <a:pt x="11734" y="3240"/>
                      <a:pt x="11763" y="3218"/>
                      <a:pt x="11812" y="3175"/>
                    </a:cubicBezTo>
                    <a:cubicBezTo>
                      <a:pt x="11850" y="3143"/>
                      <a:pt x="11885" y="3134"/>
                      <a:pt x="11915" y="3134"/>
                    </a:cubicBezTo>
                    <a:cubicBezTo>
                      <a:pt x="11947" y="3134"/>
                      <a:pt x="11972" y="3145"/>
                      <a:pt x="11982" y="3150"/>
                    </a:cubicBezTo>
                    <a:cubicBezTo>
                      <a:pt x="11984" y="3151"/>
                      <a:pt x="11985" y="3151"/>
                      <a:pt x="11986" y="3152"/>
                    </a:cubicBezTo>
                    <a:cubicBezTo>
                      <a:pt x="12660" y="3721"/>
                      <a:pt x="12660" y="3721"/>
                      <a:pt x="12660" y="3721"/>
                    </a:cubicBezTo>
                    <a:cubicBezTo>
                      <a:pt x="12636" y="3745"/>
                      <a:pt x="12509" y="3871"/>
                      <a:pt x="12372" y="4005"/>
                    </a:cubicBezTo>
                    <a:cubicBezTo>
                      <a:pt x="12360" y="4017"/>
                      <a:pt x="12347" y="4029"/>
                      <a:pt x="12335" y="4041"/>
                    </a:cubicBezTo>
                    <a:lnTo>
                      <a:pt x="11711" y="3255"/>
                    </a:lnTo>
                    <a:close/>
                    <a:moveTo>
                      <a:pt x="8380" y="7672"/>
                    </a:moveTo>
                    <a:cubicBezTo>
                      <a:pt x="8161" y="7520"/>
                      <a:pt x="7915" y="7348"/>
                      <a:pt x="7809" y="7272"/>
                    </a:cubicBezTo>
                    <a:cubicBezTo>
                      <a:pt x="7790" y="7258"/>
                      <a:pt x="7775" y="7247"/>
                      <a:pt x="7766" y="7241"/>
                    </a:cubicBezTo>
                    <a:cubicBezTo>
                      <a:pt x="7767" y="7237"/>
                      <a:pt x="7767" y="7232"/>
                      <a:pt x="7768" y="7227"/>
                    </a:cubicBezTo>
                    <a:cubicBezTo>
                      <a:pt x="7770" y="7212"/>
                      <a:pt x="7772" y="7192"/>
                      <a:pt x="7773" y="7168"/>
                    </a:cubicBezTo>
                    <a:cubicBezTo>
                      <a:pt x="7776" y="7119"/>
                      <a:pt x="7780" y="7052"/>
                      <a:pt x="7783" y="6980"/>
                    </a:cubicBezTo>
                    <a:cubicBezTo>
                      <a:pt x="7791" y="6836"/>
                      <a:pt x="7802" y="6671"/>
                      <a:pt x="7819" y="6593"/>
                    </a:cubicBezTo>
                    <a:cubicBezTo>
                      <a:pt x="7816" y="6593"/>
                      <a:pt x="7816" y="6593"/>
                      <a:pt x="7816" y="6593"/>
                    </a:cubicBezTo>
                    <a:cubicBezTo>
                      <a:pt x="8672" y="6558"/>
                      <a:pt x="8672" y="6558"/>
                      <a:pt x="8672" y="6558"/>
                    </a:cubicBezTo>
                    <a:cubicBezTo>
                      <a:pt x="8762" y="6546"/>
                      <a:pt x="8762" y="6546"/>
                      <a:pt x="8762" y="6546"/>
                    </a:cubicBezTo>
                    <a:cubicBezTo>
                      <a:pt x="8793" y="6547"/>
                      <a:pt x="9258" y="6564"/>
                      <a:pt x="9596" y="6564"/>
                    </a:cubicBezTo>
                    <a:cubicBezTo>
                      <a:pt x="9654" y="6564"/>
                      <a:pt x="9709" y="6564"/>
                      <a:pt x="9757" y="6562"/>
                    </a:cubicBezTo>
                    <a:cubicBezTo>
                      <a:pt x="9762" y="6562"/>
                      <a:pt x="9766" y="6562"/>
                      <a:pt x="9771" y="6562"/>
                    </a:cubicBezTo>
                    <a:cubicBezTo>
                      <a:pt x="9907" y="6562"/>
                      <a:pt x="9984" y="6609"/>
                      <a:pt x="10029" y="6659"/>
                    </a:cubicBezTo>
                    <a:cubicBezTo>
                      <a:pt x="10074" y="6710"/>
                      <a:pt x="10088" y="6767"/>
                      <a:pt x="10092" y="6790"/>
                    </a:cubicBezTo>
                    <a:cubicBezTo>
                      <a:pt x="10093" y="6794"/>
                      <a:pt x="10093" y="6797"/>
                      <a:pt x="10093" y="6798"/>
                    </a:cubicBezTo>
                    <a:cubicBezTo>
                      <a:pt x="10093" y="6810"/>
                      <a:pt x="10095" y="6980"/>
                      <a:pt x="10097" y="7191"/>
                    </a:cubicBezTo>
                    <a:cubicBezTo>
                      <a:pt x="10098" y="7410"/>
                      <a:pt x="10100" y="7672"/>
                      <a:pt x="10100" y="7846"/>
                    </a:cubicBezTo>
                    <a:cubicBezTo>
                      <a:pt x="10100" y="7945"/>
                      <a:pt x="10099" y="8019"/>
                      <a:pt x="10098" y="8032"/>
                    </a:cubicBezTo>
                    <a:cubicBezTo>
                      <a:pt x="8892" y="7951"/>
                      <a:pt x="8892" y="7951"/>
                      <a:pt x="8892" y="7951"/>
                    </a:cubicBezTo>
                    <a:cubicBezTo>
                      <a:pt x="8892" y="7951"/>
                      <a:pt x="8891" y="7951"/>
                      <a:pt x="8890" y="7951"/>
                    </a:cubicBezTo>
                    <a:cubicBezTo>
                      <a:pt x="8883" y="7951"/>
                      <a:pt x="8838" y="7951"/>
                      <a:pt x="8784" y="7969"/>
                    </a:cubicBezTo>
                    <a:cubicBezTo>
                      <a:pt x="8791" y="7958"/>
                      <a:pt x="8791" y="7958"/>
                      <a:pt x="8791" y="7958"/>
                    </a:cubicBezTo>
                    <a:cubicBezTo>
                      <a:pt x="8791" y="7958"/>
                      <a:pt x="8599" y="7824"/>
                      <a:pt x="8380" y="7672"/>
                    </a:cubicBezTo>
                    <a:close/>
                    <a:moveTo>
                      <a:pt x="6194" y="8739"/>
                    </a:moveTo>
                    <a:cubicBezTo>
                      <a:pt x="6093" y="7454"/>
                      <a:pt x="6093" y="7454"/>
                      <a:pt x="6093" y="7454"/>
                    </a:cubicBezTo>
                    <a:cubicBezTo>
                      <a:pt x="5591" y="7013"/>
                      <a:pt x="5591" y="7013"/>
                      <a:pt x="5591" y="7013"/>
                    </a:cubicBezTo>
                    <a:cubicBezTo>
                      <a:pt x="5656" y="6844"/>
                      <a:pt x="5656" y="6844"/>
                      <a:pt x="5656" y="6844"/>
                    </a:cubicBezTo>
                    <a:cubicBezTo>
                      <a:pt x="5658" y="6835"/>
                      <a:pt x="5658" y="6835"/>
                      <a:pt x="5658" y="6835"/>
                    </a:cubicBezTo>
                    <a:cubicBezTo>
                      <a:pt x="5788" y="6742"/>
                      <a:pt x="5788" y="6742"/>
                      <a:pt x="5788" y="6742"/>
                    </a:cubicBezTo>
                    <a:cubicBezTo>
                      <a:pt x="5839" y="6742"/>
                      <a:pt x="6213" y="6741"/>
                      <a:pt x="6367" y="6726"/>
                    </a:cubicBezTo>
                    <a:cubicBezTo>
                      <a:pt x="6531" y="6709"/>
                      <a:pt x="6694" y="6689"/>
                      <a:pt x="6854" y="6656"/>
                    </a:cubicBezTo>
                    <a:cubicBezTo>
                      <a:pt x="6932" y="6640"/>
                      <a:pt x="7055" y="6629"/>
                      <a:pt x="7159" y="6622"/>
                    </a:cubicBezTo>
                    <a:cubicBezTo>
                      <a:pt x="7262" y="6614"/>
                      <a:pt x="7345" y="6611"/>
                      <a:pt x="7345" y="6611"/>
                    </a:cubicBezTo>
                    <a:cubicBezTo>
                      <a:pt x="7782" y="6594"/>
                      <a:pt x="7782" y="6594"/>
                      <a:pt x="7782" y="6594"/>
                    </a:cubicBezTo>
                    <a:cubicBezTo>
                      <a:pt x="7757" y="6716"/>
                      <a:pt x="7748" y="6985"/>
                      <a:pt x="7739" y="7137"/>
                    </a:cubicBezTo>
                    <a:cubicBezTo>
                      <a:pt x="7736" y="7185"/>
                      <a:pt x="7733" y="7223"/>
                      <a:pt x="7730" y="7235"/>
                    </a:cubicBezTo>
                    <a:cubicBezTo>
                      <a:pt x="7730" y="7235"/>
                      <a:pt x="7730" y="7235"/>
                      <a:pt x="7730" y="7235"/>
                    </a:cubicBezTo>
                    <a:cubicBezTo>
                      <a:pt x="7729" y="7236"/>
                      <a:pt x="7720" y="7248"/>
                      <a:pt x="7702" y="7266"/>
                    </a:cubicBezTo>
                    <a:cubicBezTo>
                      <a:pt x="7682" y="7285"/>
                      <a:pt x="7654" y="7311"/>
                      <a:pt x="7618" y="7336"/>
                    </a:cubicBezTo>
                    <a:cubicBezTo>
                      <a:pt x="7545" y="7387"/>
                      <a:pt x="7441" y="7438"/>
                      <a:pt x="7316" y="7440"/>
                    </a:cubicBezTo>
                    <a:cubicBezTo>
                      <a:pt x="7185" y="7442"/>
                      <a:pt x="6880" y="7443"/>
                      <a:pt x="6608" y="7444"/>
                    </a:cubicBezTo>
                    <a:cubicBezTo>
                      <a:pt x="6336" y="7444"/>
                      <a:pt x="6096" y="7444"/>
                      <a:pt x="6096" y="7445"/>
                    </a:cubicBezTo>
                    <a:cubicBezTo>
                      <a:pt x="6096" y="7481"/>
                      <a:pt x="6096" y="7481"/>
                      <a:pt x="6096" y="7481"/>
                    </a:cubicBezTo>
                    <a:cubicBezTo>
                      <a:pt x="6096" y="7481"/>
                      <a:pt x="7055" y="7481"/>
                      <a:pt x="7316" y="7477"/>
                    </a:cubicBezTo>
                    <a:cubicBezTo>
                      <a:pt x="7547" y="7472"/>
                      <a:pt x="7704" y="7318"/>
                      <a:pt x="7747" y="7271"/>
                    </a:cubicBezTo>
                    <a:cubicBezTo>
                      <a:pt x="7754" y="7277"/>
                      <a:pt x="7765" y="7284"/>
                      <a:pt x="7778" y="7294"/>
                    </a:cubicBezTo>
                    <a:cubicBezTo>
                      <a:pt x="7791" y="7303"/>
                      <a:pt x="7807" y="7315"/>
                      <a:pt x="7824" y="7327"/>
                    </a:cubicBezTo>
                    <a:cubicBezTo>
                      <a:pt x="7812" y="7325"/>
                      <a:pt x="7812" y="7325"/>
                      <a:pt x="7812" y="7325"/>
                    </a:cubicBezTo>
                    <a:cubicBezTo>
                      <a:pt x="7584" y="8718"/>
                      <a:pt x="7584" y="8718"/>
                      <a:pt x="7584" y="8718"/>
                    </a:cubicBezTo>
                    <a:cubicBezTo>
                      <a:pt x="7581" y="8727"/>
                      <a:pt x="7566" y="8759"/>
                      <a:pt x="7544" y="8810"/>
                    </a:cubicBezTo>
                    <a:cubicBezTo>
                      <a:pt x="7545" y="8779"/>
                      <a:pt x="7545" y="8779"/>
                      <a:pt x="7545" y="8779"/>
                    </a:cubicBezTo>
                    <a:lnTo>
                      <a:pt x="6194" y="8739"/>
                    </a:lnTo>
                    <a:close/>
                    <a:moveTo>
                      <a:pt x="3617" y="5610"/>
                    </a:moveTo>
                    <a:cubicBezTo>
                      <a:pt x="3651" y="5601"/>
                      <a:pt x="3823" y="5558"/>
                      <a:pt x="3892" y="5500"/>
                    </a:cubicBezTo>
                    <a:cubicBezTo>
                      <a:pt x="3930" y="5467"/>
                      <a:pt x="3951" y="5437"/>
                      <a:pt x="3965" y="5411"/>
                    </a:cubicBezTo>
                    <a:cubicBezTo>
                      <a:pt x="3988" y="5433"/>
                      <a:pt x="4083" y="5520"/>
                      <a:pt x="4153" y="5582"/>
                    </a:cubicBezTo>
                    <a:cubicBezTo>
                      <a:pt x="4191" y="5616"/>
                      <a:pt x="4222" y="5641"/>
                      <a:pt x="4230" y="5648"/>
                    </a:cubicBezTo>
                    <a:cubicBezTo>
                      <a:pt x="4230" y="5648"/>
                      <a:pt x="4230" y="5648"/>
                      <a:pt x="4230" y="5648"/>
                    </a:cubicBezTo>
                    <a:cubicBezTo>
                      <a:pt x="4230" y="5648"/>
                      <a:pt x="4230" y="5648"/>
                      <a:pt x="4230" y="5648"/>
                    </a:cubicBezTo>
                    <a:cubicBezTo>
                      <a:pt x="4231" y="5649"/>
                      <a:pt x="4232" y="5650"/>
                      <a:pt x="4232" y="5651"/>
                    </a:cubicBezTo>
                    <a:cubicBezTo>
                      <a:pt x="4234" y="5653"/>
                      <a:pt x="4236" y="5655"/>
                      <a:pt x="4239" y="5659"/>
                    </a:cubicBezTo>
                    <a:cubicBezTo>
                      <a:pt x="4244" y="5665"/>
                      <a:pt x="4251" y="5674"/>
                      <a:pt x="4258" y="5684"/>
                    </a:cubicBezTo>
                    <a:cubicBezTo>
                      <a:pt x="4271" y="5704"/>
                      <a:pt x="4284" y="5729"/>
                      <a:pt x="4284" y="5748"/>
                    </a:cubicBezTo>
                    <a:cubicBezTo>
                      <a:pt x="4284" y="5753"/>
                      <a:pt x="4283" y="5758"/>
                      <a:pt x="4281" y="5762"/>
                    </a:cubicBezTo>
                    <a:cubicBezTo>
                      <a:pt x="4282" y="5762"/>
                      <a:pt x="4282" y="5762"/>
                      <a:pt x="4282" y="5762"/>
                    </a:cubicBezTo>
                    <a:cubicBezTo>
                      <a:pt x="4282" y="5763"/>
                      <a:pt x="4281" y="5764"/>
                      <a:pt x="4281" y="5765"/>
                    </a:cubicBezTo>
                    <a:cubicBezTo>
                      <a:pt x="4281" y="5773"/>
                      <a:pt x="4286" y="5773"/>
                      <a:pt x="4286" y="5773"/>
                    </a:cubicBezTo>
                    <a:cubicBezTo>
                      <a:pt x="4291" y="5774"/>
                      <a:pt x="4291" y="5774"/>
                      <a:pt x="4291" y="5774"/>
                    </a:cubicBezTo>
                    <a:cubicBezTo>
                      <a:pt x="4637" y="5873"/>
                      <a:pt x="4637" y="5873"/>
                      <a:pt x="4637" y="5873"/>
                    </a:cubicBezTo>
                    <a:cubicBezTo>
                      <a:pt x="4637" y="5873"/>
                      <a:pt x="4637" y="5873"/>
                      <a:pt x="4637" y="5873"/>
                    </a:cubicBezTo>
                    <a:cubicBezTo>
                      <a:pt x="4637" y="5873"/>
                      <a:pt x="4646" y="5877"/>
                      <a:pt x="4650" y="5879"/>
                    </a:cubicBezTo>
                    <a:cubicBezTo>
                      <a:pt x="4654" y="5881"/>
                      <a:pt x="4653" y="5882"/>
                      <a:pt x="4653" y="5882"/>
                    </a:cubicBezTo>
                    <a:cubicBezTo>
                      <a:pt x="4653" y="5882"/>
                      <a:pt x="4653" y="5882"/>
                      <a:pt x="4653" y="5882"/>
                    </a:cubicBezTo>
                    <a:cubicBezTo>
                      <a:pt x="4653" y="5882"/>
                      <a:pt x="4623" y="5957"/>
                      <a:pt x="4608" y="5996"/>
                    </a:cubicBezTo>
                    <a:cubicBezTo>
                      <a:pt x="4578" y="6075"/>
                      <a:pt x="4546" y="6157"/>
                      <a:pt x="4541" y="6186"/>
                    </a:cubicBezTo>
                    <a:cubicBezTo>
                      <a:pt x="4531" y="6235"/>
                      <a:pt x="4512" y="6347"/>
                      <a:pt x="4506" y="6397"/>
                    </a:cubicBezTo>
                    <a:cubicBezTo>
                      <a:pt x="4501" y="6445"/>
                      <a:pt x="4446" y="6822"/>
                      <a:pt x="4434" y="6869"/>
                    </a:cubicBezTo>
                    <a:cubicBezTo>
                      <a:pt x="4422" y="6919"/>
                      <a:pt x="4409" y="6954"/>
                      <a:pt x="4384" y="6993"/>
                    </a:cubicBezTo>
                    <a:cubicBezTo>
                      <a:pt x="4359" y="7030"/>
                      <a:pt x="4312" y="7092"/>
                      <a:pt x="4305" y="7101"/>
                    </a:cubicBezTo>
                    <a:cubicBezTo>
                      <a:pt x="2739" y="6533"/>
                      <a:pt x="2739" y="6533"/>
                      <a:pt x="2739" y="6533"/>
                    </a:cubicBezTo>
                    <a:cubicBezTo>
                      <a:pt x="2738" y="6527"/>
                      <a:pt x="2737" y="6522"/>
                      <a:pt x="2737" y="6517"/>
                    </a:cubicBezTo>
                    <a:cubicBezTo>
                      <a:pt x="2741" y="6497"/>
                      <a:pt x="2747" y="6469"/>
                      <a:pt x="2755" y="6437"/>
                    </a:cubicBezTo>
                    <a:cubicBezTo>
                      <a:pt x="2772" y="6373"/>
                      <a:pt x="2798" y="6295"/>
                      <a:pt x="2834" y="6239"/>
                    </a:cubicBezTo>
                    <a:cubicBezTo>
                      <a:pt x="2857" y="6201"/>
                      <a:pt x="2902" y="6183"/>
                      <a:pt x="2965" y="6162"/>
                    </a:cubicBezTo>
                    <a:cubicBezTo>
                      <a:pt x="3069" y="6125"/>
                      <a:pt x="3271" y="6109"/>
                      <a:pt x="3367" y="6074"/>
                    </a:cubicBezTo>
                    <a:cubicBezTo>
                      <a:pt x="3367" y="6074"/>
                      <a:pt x="3367" y="6074"/>
                      <a:pt x="3367" y="6074"/>
                    </a:cubicBezTo>
                    <a:cubicBezTo>
                      <a:pt x="3368" y="6074"/>
                      <a:pt x="3368" y="6074"/>
                      <a:pt x="3368" y="6074"/>
                    </a:cubicBezTo>
                    <a:cubicBezTo>
                      <a:pt x="3369" y="6073"/>
                      <a:pt x="3580" y="5974"/>
                      <a:pt x="3631" y="5834"/>
                    </a:cubicBezTo>
                    <a:cubicBezTo>
                      <a:pt x="3645" y="5794"/>
                      <a:pt x="3651" y="5759"/>
                      <a:pt x="3651" y="5727"/>
                    </a:cubicBezTo>
                    <a:cubicBezTo>
                      <a:pt x="3651" y="5682"/>
                      <a:pt x="3638" y="5644"/>
                      <a:pt x="3617" y="5610"/>
                    </a:cubicBezTo>
                    <a:close/>
                    <a:moveTo>
                      <a:pt x="2871" y="4226"/>
                    </a:moveTo>
                    <a:cubicBezTo>
                      <a:pt x="2902" y="4083"/>
                      <a:pt x="2902" y="4083"/>
                      <a:pt x="2902" y="4083"/>
                    </a:cubicBezTo>
                    <a:cubicBezTo>
                      <a:pt x="2902" y="4081"/>
                      <a:pt x="2902" y="4081"/>
                      <a:pt x="2902" y="4081"/>
                    </a:cubicBezTo>
                    <a:cubicBezTo>
                      <a:pt x="2902" y="4081"/>
                      <a:pt x="2904" y="4002"/>
                      <a:pt x="2904" y="3966"/>
                    </a:cubicBezTo>
                    <a:cubicBezTo>
                      <a:pt x="2904" y="3958"/>
                      <a:pt x="2904" y="3952"/>
                      <a:pt x="2903" y="3948"/>
                    </a:cubicBezTo>
                    <a:cubicBezTo>
                      <a:pt x="2903" y="3947"/>
                      <a:pt x="2904" y="3947"/>
                      <a:pt x="2902" y="3942"/>
                    </a:cubicBezTo>
                    <a:cubicBezTo>
                      <a:pt x="2901" y="3941"/>
                      <a:pt x="2901" y="3939"/>
                      <a:pt x="2898" y="3938"/>
                    </a:cubicBezTo>
                    <a:cubicBezTo>
                      <a:pt x="2897" y="3936"/>
                      <a:pt x="2895" y="3934"/>
                      <a:pt x="2892" y="3932"/>
                    </a:cubicBezTo>
                    <a:cubicBezTo>
                      <a:pt x="2886" y="3927"/>
                      <a:pt x="2875" y="3922"/>
                      <a:pt x="2854" y="3916"/>
                    </a:cubicBezTo>
                    <a:cubicBezTo>
                      <a:pt x="2826" y="3907"/>
                      <a:pt x="2746" y="3882"/>
                      <a:pt x="2703" y="3869"/>
                    </a:cubicBezTo>
                    <a:cubicBezTo>
                      <a:pt x="2703" y="3869"/>
                      <a:pt x="2704" y="3868"/>
                      <a:pt x="2705" y="3867"/>
                    </a:cubicBezTo>
                    <a:cubicBezTo>
                      <a:pt x="2751" y="3808"/>
                      <a:pt x="2804" y="3755"/>
                      <a:pt x="2844" y="3716"/>
                    </a:cubicBezTo>
                    <a:cubicBezTo>
                      <a:pt x="2868" y="3693"/>
                      <a:pt x="2885" y="3678"/>
                      <a:pt x="2895" y="3668"/>
                    </a:cubicBezTo>
                    <a:cubicBezTo>
                      <a:pt x="2993" y="3578"/>
                      <a:pt x="3122" y="3526"/>
                      <a:pt x="3173" y="3506"/>
                    </a:cubicBezTo>
                    <a:cubicBezTo>
                      <a:pt x="3414" y="3818"/>
                      <a:pt x="3414" y="3818"/>
                      <a:pt x="3414" y="3818"/>
                    </a:cubicBezTo>
                    <a:cubicBezTo>
                      <a:pt x="3414" y="3818"/>
                      <a:pt x="3414" y="3818"/>
                      <a:pt x="3414" y="3818"/>
                    </a:cubicBezTo>
                    <a:cubicBezTo>
                      <a:pt x="4223" y="4876"/>
                      <a:pt x="4223" y="4876"/>
                      <a:pt x="4223" y="4876"/>
                    </a:cubicBezTo>
                    <a:cubicBezTo>
                      <a:pt x="4223" y="4879"/>
                      <a:pt x="4223" y="4879"/>
                      <a:pt x="4223" y="4879"/>
                    </a:cubicBezTo>
                    <a:cubicBezTo>
                      <a:pt x="4223" y="4879"/>
                      <a:pt x="4224" y="4880"/>
                      <a:pt x="4226" y="4883"/>
                    </a:cubicBezTo>
                    <a:cubicBezTo>
                      <a:pt x="4217" y="4896"/>
                      <a:pt x="4217" y="4896"/>
                      <a:pt x="4217" y="4896"/>
                    </a:cubicBezTo>
                    <a:cubicBezTo>
                      <a:pt x="4222" y="4902"/>
                      <a:pt x="4222" y="4902"/>
                      <a:pt x="4222" y="4902"/>
                    </a:cubicBezTo>
                    <a:cubicBezTo>
                      <a:pt x="4217" y="4896"/>
                      <a:pt x="4217" y="4896"/>
                      <a:pt x="4217" y="4896"/>
                    </a:cubicBezTo>
                    <a:cubicBezTo>
                      <a:pt x="4216" y="4897"/>
                      <a:pt x="4184" y="4922"/>
                      <a:pt x="4151" y="4953"/>
                    </a:cubicBezTo>
                    <a:cubicBezTo>
                      <a:pt x="4128" y="4973"/>
                      <a:pt x="4106" y="4997"/>
                      <a:pt x="4089" y="5016"/>
                    </a:cubicBezTo>
                    <a:cubicBezTo>
                      <a:pt x="4076" y="5031"/>
                      <a:pt x="4066" y="5047"/>
                      <a:pt x="4058" y="5063"/>
                    </a:cubicBezTo>
                    <a:cubicBezTo>
                      <a:pt x="4053" y="5059"/>
                      <a:pt x="4047" y="5054"/>
                      <a:pt x="4040" y="5047"/>
                    </a:cubicBezTo>
                    <a:cubicBezTo>
                      <a:pt x="4023" y="5033"/>
                      <a:pt x="4002" y="5014"/>
                      <a:pt x="3980" y="4995"/>
                    </a:cubicBezTo>
                    <a:cubicBezTo>
                      <a:pt x="3942" y="4962"/>
                      <a:pt x="3904" y="4929"/>
                      <a:pt x="3896" y="4922"/>
                    </a:cubicBezTo>
                    <a:cubicBezTo>
                      <a:pt x="3756" y="4628"/>
                      <a:pt x="3756" y="4628"/>
                      <a:pt x="3756" y="4628"/>
                    </a:cubicBezTo>
                    <a:cubicBezTo>
                      <a:pt x="3754" y="4627"/>
                      <a:pt x="3754" y="4627"/>
                      <a:pt x="3754" y="4627"/>
                    </a:cubicBezTo>
                    <a:cubicBezTo>
                      <a:pt x="3754" y="4627"/>
                      <a:pt x="3708" y="4593"/>
                      <a:pt x="3662" y="4559"/>
                    </a:cubicBezTo>
                    <a:cubicBezTo>
                      <a:pt x="3619" y="4528"/>
                      <a:pt x="3578" y="4498"/>
                      <a:pt x="3566" y="4490"/>
                    </a:cubicBezTo>
                    <a:cubicBezTo>
                      <a:pt x="3565" y="4489"/>
                      <a:pt x="3564" y="4487"/>
                      <a:pt x="3563" y="4484"/>
                    </a:cubicBezTo>
                    <a:cubicBezTo>
                      <a:pt x="3560" y="4479"/>
                      <a:pt x="3556" y="4470"/>
                      <a:pt x="3552" y="4460"/>
                    </a:cubicBezTo>
                    <a:cubicBezTo>
                      <a:pt x="3543" y="4440"/>
                      <a:pt x="3530" y="4414"/>
                      <a:pt x="3518" y="4387"/>
                    </a:cubicBezTo>
                    <a:cubicBezTo>
                      <a:pt x="3494" y="4334"/>
                      <a:pt x="3470" y="4281"/>
                      <a:pt x="3470" y="4281"/>
                    </a:cubicBezTo>
                    <a:cubicBezTo>
                      <a:pt x="3469" y="4277"/>
                      <a:pt x="3469" y="4277"/>
                      <a:pt x="3469" y="4277"/>
                    </a:cubicBezTo>
                    <a:cubicBezTo>
                      <a:pt x="3164" y="4114"/>
                      <a:pt x="3164" y="4114"/>
                      <a:pt x="3164" y="4114"/>
                    </a:cubicBezTo>
                    <a:cubicBezTo>
                      <a:pt x="3152" y="4135"/>
                      <a:pt x="3152" y="4135"/>
                      <a:pt x="3152" y="4135"/>
                    </a:cubicBezTo>
                    <a:cubicBezTo>
                      <a:pt x="3450" y="4295"/>
                      <a:pt x="3450" y="4295"/>
                      <a:pt x="3450" y="4295"/>
                    </a:cubicBezTo>
                    <a:cubicBezTo>
                      <a:pt x="3462" y="4322"/>
                      <a:pt x="3536" y="4488"/>
                      <a:pt x="3545" y="4504"/>
                    </a:cubicBezTo>
                    <a:cubicBezTo>
                      <a:pt x="3546" y="4505"/>
                      <a:pt x="3546" y="4505"/>
                      <a:pt x="3548" y="4508"/>
                    </a:cubicBezTo>
                    <a:cubicBezTo>
                      <a:pt x="3549" y="4508"/>
                      <a:pt x="3549" y="4509"/>
                      <a:pt x="3551" y="4510"/>
                    </a:cubicBezTo>
                    <a:cubicBezTo>
                      <a:pt x="3552" y="4510"/>
                      <a:pt x="3552" y="4510"/>
                      <a:pt x="3552" y="4511"/>
                    </a:cubicBezTo>
                    <a:cubicBezTo>
                      <a:pt x="3554" y="4511"/>
                      <a:pt x="3556" y="4513"/>
                      <a:pt x="3558" y="4515"/>
                    </a:cubicBezTo>
                    <a:cubicBezTo>
                      <a:pt x="3564" y="4518"/>
                      <a:pt x="3571" y="4524"/>
                      <a:pt x="3580" y="4530"/>
                    </a:cubicBezTo>
                    <a:cubicBezTo>
                      <a:pt x="3598" y="4543"/>
                      <a:pt x="3622" y="4560"/>
                      <a:pt x="3645" y="4578"/>
                    </a:cubicBezTo>
                    <a:cubicBezTo>
                      <a:pt x="3686" y="4607"/>
                      <a:pt x="3726" y="4637"/>
                      <a:pt x="3737" y="4644"/>
                    </a:cubicBezTo>
                    <a:cubicBezTo>
                      <a:pt x="3876" y="4937"/>
                      <a:pt x="3876" y="4937"/>
                      <a:pt x="3876" y="4937"/>
                    </a:cubicBezTo>
                    <a:cubicBezTo>
                      <a:pt x="3877" y="4939"/>
                      <a:pt x="3877" y="4939"/>
                      <a:pt x="3877" y="4939"/>
                    </a:cubicBezTo>
                    <a:cubicBezTo>
                      <a:pt x="3877" y="4939"/>
                      <a:pt x="3971" y="5021"/>
                      <a:pt x="4021" y="5064"/>
                    </a:cubicBezTo>
                    <a:cubicBezTo>
                      <a:pt x="4033" y="5074"/>
                      <a:pt x="4042" y="5081"/>
                      <a:pt x="4047" y="5086"/>
                    </a:cubicBezTo>
                    <a:cubicBezTo>
                      <a:pt x="4035" y="5114"/>
                      <a:pt x="4028" y="5140"/>
                      <a:pt x="4022" y="5157"/>
                    </a:cubicBezTo>
                    <a:cubicBezTo>
                      <a:pt x="4011" y="5190"/>
                      <a:pt x="3980" y="5305"/>
                      <a:pt x="3966" y="5342"/>
                    </a:cubicBezTo>
                    <a:cubicBezTo>
                      <a:pt x="3953" y="5378"/>
                      <a:pt x="3945" y="5415"/>
                      <a:pt x="3892" y="5466"/>
                    </a:cubicBezTo>
                    <a:cubicBezTo>
                      <a:pt x="3811" y="5198"/>
                      <a:pt x="3811" y="5198"/>
                      <a:pt x="3811" y="5198"/>
                    </a:cubicBezTo>
                    <a:cubicBezTo>
                      <a:pt x="3611" y="4996"/>
                      <a:pt x="3611" y="4996"/>
                      <a:pt x="3611" y="4996"/>
                    </a:cubicBezTo>
                    <a:cubicBezTo>
                      <a:pt x="3391" y="4716"/>
                      <a:pt x="3391" y="4716"/>
                      <a:pt x="3391" y="4716"/>
                    </a:cubicBezTo>
                    <a:cubicBezTo>
                      <a:pt x="3242" y="4640"/>
                      <a:pt x="3242" y="4640"/>
                      <a:pt x="3242" y="4640"/>
                    </a:cubicBezTo>
                    <a:cubicBezTo>
                      <a:pt x="2899" y="4521"/>
                      <a:pt x="2899" y="4521"/>
                      <a:pt x="2899" y="4521"/>
                    </a:cubicBezTo>
                    <a:cubicBezTo>
                      <a:pt x="2801" y="4410"/>
                      <a:pt x="2801" y="4410"/>
                      <a:pt x="2801" y="4410"/>
                    </a:cubicBezTo>
                    <a:lnTo>
                      <a:pt x="2871" y="4226"/>
                    </a:lnTo>
                    <a:close/>
                    <a:moveTo>
                      <a:pt x="2777" y="4404"/>
                    </a:moveTo>
                    <a:cubicBezTo>
                      <a:pt x="2681" y="4497"/>
                      <a:pt x="2681" y="4497"/>
                      <a:pt x="2681" y="4497"/>
                    </a:cubicBezTo>
                    <a:cubicBezTo>
                      <a:pt x="2509" y="4547"/>
                      <a:pt x="2509" y="4547"/>
                      <a:pt x="2509" y="4547"/>
                    </a:cubicBezTo>
                    <a:cubicBezTo>
                      <a:pt x="2335" y="4561"/>
                      <a:pt x="2335" y="4561"/>
                      <a:pt x="2335" y="4561"/>
                    </a:cubicBezTo>
                    <a:cubicBezTo>
                      <a:pt x="2330" y="4560"/>
                      <a:pt x="2322" y="4560"/>
                      <a:pt x="2322" y="4560"/>
                    </a:cubicBezTo>
                    <a:cubicBezTo>
                      <a:pt x="2360" y="4462"/>
                      <a:pt x="2418" y="4332"/>
                      <a:pt x="2482" y="4209"/>
                    </a:cubicBezTo>
                    <a:cubicBezTo>
                      <a:pt x="2517" y="4143"/>
                      <a:pt x="2546" y="4095"/>
                      <a:pt x="2577" y="4047"/>
                    </a:cubicBezTo>
                    <a:cubicBezTo>
                      <a:pt x="2609" y="3995"/>
                      <a:pt x="2644" y="3946"/>
                      <a:pt x="2686" y="3890"/>
                    </a:cubicBezTo>
                    <a:cubicBezTo>
                      <a:pt x="2688" y="3891"/>
                      <a:pt x="2690" y="3891"/>
                      <a:pt x="2693" y="3892"/>
                    </a:cubicBezTo>
                    <a:cubicBezTo>
                      <a:pt x="2707" y="3896"/>
                      <a:pt x="2725" y="3902"/>
                      <a:pt x="2745" y="3908"/>
                    </a:cubicBezTo>
                    <a:cubicBezTo>
                      <a:pt x="2784" y="3920"/>
                      <a:pt x="2828" y="3933"/>
                      <a:pt x="2847" y="3939"/>
                    </a:cubicBezTo>
                    <a:cubicBezTo>
                      <a:pt x="2864" y="3944"/>
                      <a:pt x="2872" y="3948"/>
                      <a:pt x="2876" y="3951"/>
                    </a:cubicBezTo>
                    <a:cubicBezTo>
                      <a:pt x="2878" y="3952"/>
                      <a:pt x="2879" y="3953"/>
                      <a:pt x="2879" y="3953"/>
                    </a:cubicBezTo>
                    <a:cubicBezTo>
                      <a:pt x="2879" y="3956"/>
                      <a:pt x="2879" y="3960"/>
                      <a:pt x="2879" y="3966"/>
                    </a:cubicBezTo>
                    <a:cubicBezTo>
                      <a:pt x="2879" y="3999"/>
                      <a:pt x="2877" y="4070"/>
                      <a:pt x="2877" y="4080"/>
                    </a:cubicBezTo>
                    <a:cubicBezTo>
                      <a:pt x="2847" y="4219"/>
                      <a:pt x="2847" y="4219"/>
                      <a:pt x="2847" y="4219"/>
                    </a:cubicBezTo>
                    <a:lnTo>
                      <a:pt x="2777" y="4404"/>
                    </a:lnTo>
                    <a:close/>
                    <a:moveTo>
                      <a:pt x="8468" y="3093"/>
                    </a:moveTo>
                    <a:cubicBezTo>
                      <a:pt x="8499" y="3113"/>
                      <a:pt x="8525" y="3130"/>
                      <a:pt x="8546" y="3144"/>
                    </a:cubicBezTo>
                    <a:cubicBezTo>
                      <a:pt x="8568" y="3161"/>
                      <a:pt x="8568" y="3161"/>
                      <a:pt x="8568" y="3161"/>
                    </a:cubicBezTo>
                    <a:cubicBezTo>
                      <a:pt x="8047" y="4229"/>
                      <a:pt x="8047" y="4229"/>
                      <a:pt x="8047" y="4229"/>
                    </a:cubicBezTo>
                    <a:cubicBezTo>
                      <a:pt x="8004" y="4206"/>
                      <a:pt x="7837" y="4120"/>
                      <a:pt x="7514" y="3964"/>
                    </a:cubicBezTo>
                    <a:cubicBezTo>
                      <a:pt x="7515" y="3958"/>
                      <a:pt x="7515" y="3958"/>
                      <a:pt x="7515" y="3958"/>
                    </a:cubicBezTo>
                    <a:cubicBezTo>
                      <a:pt x="7526" y="3916"/>
                      <a:pt x="7587" y="3701"/>
                      <a:pt x="7656" y="3457"/>
                    </a:cubicBezTo>
                    <a:cubicBezTo>
                      <a:pt x="7732" y="3187"/>
                      <a:pt x="7820" y="2883"/>
                      <a:pt x="7861" y="2751"/>
                    </a:cubicBezTo>
                    <a:cubicBezTo>
                      <a:pt x="7868" y="2729"/>
                      <a:pt x="7874" y="2711"/>
                      <a:pt x="7878" y="2700"/>
                    </a:cubicBezTo>
                    <a:cubicBezTo>
                      <a:pt x="7947" y="2746"/>
                      <a:pt x="8280" y="2970"/>
                      <a:pt x="8468" y="3093"/>
                    </a:cubicBezTo>
                    <a:close/>
                    <a:moveTo>
                      <a:pt x="7892" y="2677"/>
                    </a:moveTo>
                    <a:cubicBezTo>
                      <a:pt x="7893" y="2676"/>
                      <a:pt x="7894" y="2675"/>
                      <a:pt x="7895" y="2673"/>
                    </a:cubicBezTo>
                    <a:cubicBezTo>
                      <a:pt x="7902" y="2663"/>
                      <a:pt x="7912" y="2649"/>
                      <a:pt x="7924" y="2631"/>
                    </a:cubicBezTo>
                    <a:cubicBezTo>
                      <a:pt x="7948" y="2596"/>
                      <a:pt x="7982" y="2545"/>
                      <a:pt x="8023" y="2483"/>
                    </a:cubicBezTo>
                    <a:cubicBezTo>
                      <a:pt x="8103" y="2361"/>
                      <a:pt x="8209" y="2197"/>
                      <a:pt x="8315" y="2034"/>
                    </a:cubicBezTo>
                    <a:cubicBezTo>
                      <a:pt x="8497" y="1753"/>
                      <a:pt x="8677" y="1472"/>
                      <a:pt x="8723" y="1399"/>
                    </a:cubicBezTo>
                    <a:cubicBezTo>
                      <a:pt x="8734" y="1393"/>
                      <a:pt x="8734" y="1393"/>
                      <a:pt x="8734" y="1393"/>
                    </a:cubicBezTo>
                    <a:cubicBezTo>
                      <a:pt x="8866" y="1474"/>
                      <a:pt x="9128" y="1638"/>
                      <a:pt x="9271" y="1716"/>
                    </a:cubicBezTo>
                    <a:cubicBezTo>
                      <a:pt x="8585" y="3125"/>
                      <a:pt x="8585" y="3125"/>
                      <a:pt x="8585" y="3125"/>
                    </a:cubicBezTo>
                    <a:cubicBezTo>
                      <a:pt x="8578" y="3125"/>
                      <a:pt x="8570" y="3124"/>
                      <a:pt x="8562" y="3123"/>
                    </a:cubicBezTo>
                    <a:cubicBezTo>
                      <a:pt x="8543" y="3111"/>
                      <a:pt x="8520" y="3096"/>
                      <a:pt x="8492" y="3077"/>
                    </a:cubicBezTo>
                    <a:cubicBezTo>
                      <a:pt x="8423" y="3032"/>
                      <a:pt x="8332" y="2972"/>
                      <a:pt x="8241" y="2911"/>
                    </a:cubicBezTo>
                    <a:cubicBezTo>
                      <a:pt x="8087" y="2808"/>
                      <a:pt x="7935" y="2706"/>
                      <a:pt x="7892" y="2677"/>
                    </a:cubicBezTo>
                    <a:close/>
                    <a:moveTo>
                      <a:pt x="7904" y="4196"/>
                    </a:moveTo>
                    <a:cubicBezTo>
                      <a:pt x="7972" y="4230"/>
                      <a:pt x="8013" y="4252"/>
                      <a:pt x="8031" y="4261"/>
                    </a:cubicBezTo>
                    <a:cubicBezTo>
                      <a:pt x="7339" y="5683"/>
                      <a:pt x="7339" y="5683"/>
                      <a:pt x="7339" y="5683"/>
                    </a:cubicBezTo>
                    <a:cubicBezTo>
                      <a:pt x="7294" y="6250"/>
                      <a:pt x="7294" y="6250"/>
                      <a:pt x="7294" y="6250"/>
                    </a:cubicBezTo>
                    <a:cubicBezTo>
                      <a:pt x="7294" y="6251"/>
                      <a:pt x="7294" y="6251"/>
                      <a:pt x="7294" y="6251"/>
                    </a:cubicBezTo>
                    <a:cubicBezTo>
                      <a:pt x="7294" y="6251"/>
                      <a:pt x="7294" y="6395"/>
                      <a:pt x="7329" y="6576"/>
                    </a:cubicBezTo>
                    <a:cubicBezTo>
                      <a:pt x="7261" y="6579"/>
                      <a:pt x="6989" y="6592"/>
                      <a:pt x="6847" y="6621"/>
                    </a:cubicBezTo>
                    <a:cubicBezTo>
                      <a:pt x="6711" y="6648"/>
                      <a:pt x="6572" y="6667"/>
                      <a:pt x="6433" y="6682"/>
                    </a:cubicBezTo>
                    <a:cubicBezTo>
                      <a:pt x="6746" y="3741"/>
                      <a:pt x="6746" y="3741"/>
                      <a:pt x="6746" y="3741"/>
                    </a:cubicBezTo>
                    <a:cubicBezTo>
                      <a:pt x="6755" y="3743"/>
                      <a:pt x="6769" y="3745"/>
                      <a:pt x="6786" y="3748"/>
                    </a:cubicBezTo>
                    <a:cubicBezTo>
                      <a:pt x="6823" y="3756"/>
                      <a:pt x="6876" y="3767"/>
                      <a:pt x="6942" y="3785"/>
                    </a:cubicBezTo>
                    <a:cubicBezTo>
                      <a:pt x="7074" y="3820"/>
                      <a:pt x="7256" y="3880"/>
                      <a:pt x="7459" y="3978"/>
                    </a:cubicBezTo>
                    <a:cubicBezTo>
                      <a:pt x="7663" y="4076"/>
                      <a:pt x="7809" y="4148"/>
                      <a:pt x="7904" y="4196"/>
                    </a:cubicBezTo>
                    <a:close/>
                    <a:moveTo>
                      <a:pt x="6396" y="6685"/>
                    </a:moveTo>
                    <a:cubicBezTo>
                      <a:pt x="6396" y="6685"/>
                      <a:pt x="6396" y="6685"/>
                      <a:pt x="6396" y="6685"/>
                    </a:cubicBezTo>
                    <a:cubicBezTo>
                      <a:pt x="6400" y="6686"/>
                      <a:pt x="6400" y="6686"/>
                      <a:pt x="6400" y="6686"/>
                    </a:cubicBezTo>
                    <a:cubicBezTo>
                      <a:pt x="6388" y="6687"/>
                      <a:pt x="6376" y="6688"/>
                      <a:pt x="6363" y="6690"/>
                    </a:cubicBezTo>
                    <a:cubicBezTo>
                      <a:pt x="6283" y="6698"/>
                      <a:pt x="6137" y="6702"/>
                      <a:pt x="6012" y="6704"/>
                    </a:cubicBezTo>
                    <a:cubicBezTo>
                      <a:pt x="5887" y="6706"/>
                      <a:pt x="5782" y="6706"/>
                      <a:pt x="5782" y="6706"/>
                    </a:cubicBezTo>
                    <a:cubicBezTo>
                      <a:pt x="5776" y="6706"/>
                      <a:pt x="5776" y="6706"/>
                      <a:pt x="5776" y="6706"/>
                    </a:cubicBezTo>
                    <a:cubicBezTo>
                      <a:pt x="5671" y="6782"/>
                      <a:pt x="5671" y="6782"/>
                      <a:pt x="5671" y="6782"/>
                    </a:cubicBezTo>
                    <a:cubicBezTo>
                      <a:pt x="5685" y="6723"/>
                      <a:pt x="5685" y="6723"/>
                      <a:pt x="5685" y="6723"/>
                    </a:cubicBezTo>
                    <a:cubicBezTo>
                      <a:pt x="5942" y="4455"/>
                      <a:pt x="5942" y="4455"/>
                      <a:pt x="5942" y="4455"/>
                    </a:cubicBezTo>
                    <a:cubicBezTo>
                      <a:pt x="6020" y="4227"/>
                      <a:pt x="6020" y="4227"/>
                      <a:pt x="6020" y="4227"/>
                    </a:cubicBezTo>
                    <a:cubicBezTo>
                      <a:pt x="6118" y="3736"/>
                      <a:pt x="6118" y="3736"/>
                      <a:pt x="6118" y="3736"/>
                    </a:cubicBezTo>
                    <a:cubicBezTo>
                      <a:pt x="6119" y="3731"/>
                      <a:pt x="6119" y="3731"/>
                      <a:pt x="6119" y="3731"/>
                    </a:cubicBezTo>
                    <a:cubicBezTo>
                      <a:pt x="6710" y="3738"/>
                      <a:pt x="6710" y="3738"/>
                      <a:pt x="6710" y="3738"/>
                    </a:cubicBezTo>
                    <a:lnTo>
                      <a:pt x="6396" y="6685"/>
                    </a:lnTo>
                    <a:close/>
                    <a:moveTo>
                      <a:pt x="4859" y="5634"/>
                    </a:moveTo>
                    <a:cubicBezTo>
                      <a:pt x="4859" y="5633"/>
                      <a:pt x="4860" y="5631"/>
                      <a:pt x="4861" y="5630"/>
                    </a:cubicBezTo>
                    <a:cubicBezTo>
                      <a:pt x="4907" y="5575"/>
                      <a:pt x="4953" y="5509"/>
                      <a:pt x="4953" y="5408"/>
                    </a:cubicBezTo>
                    <a:cubicBezTo>
                      <a:pt x="4953" y="5372"/>
                      <a:pt x="4947" y="5332"/>
                      <a:pt x="4935" y="5286"/>
                    </a:cubicBezTo>
                    <a:cubicBezTo>
                      <a:pt x="4916" y="5221"/>
                      <a:pt x="4900" y="5168"/>
                      <a:pt x="4900" y="5120"/>
                    </a:cubicBezTo>
                    <a:cubicBezTo>
                      <a:pt x="4900" y="5082"/>
                      <a:pt x="4909" y="5047"/>
                      <a:pt x="4937" y="5007"/>
                    </a:cubicBezTo>
                    <a:cubicBezTo>
                      <a:pt x="5002" y="4911"/>
                      <a:pt x="5091" y="4801"/>
                      <a:pt x="5115" y="4698"/>
                    </a:cubicBezTo>
                    <a:cubicBezTo>
                      <a:pt x="5115" y="4696"/>
                      <a:pt x="5115" y="4694"/>
                      <a:pt x="5116" y="4693"/>
                    </a:cubicBezTo>
                    <a:cubicBezTo>
                      <a:pt x="5126" y="4689"/>
                      <a:pt x="5126" y="4689"/>
                      <a:pt x="5126" y="4689"/>
                    </a:cubicBezTo>
                    <a:cubicBezTo>
                      <a:pt x="5856" y="4753"/>
                      <a:pt x="5856" y="4753"/>
                      <a:pt x="5856" y="4753"/>
                    </a:cubicBezTo>
                    <a:cubicBezTo>
                      <a:pt x="5862" y="4756"/>
                      <a:pt x="5868" y="4759"/>
                      <a:pt x="5871" y="4759"/>
                    </a:cubicBezTo>
                    <a:cubicBezTo>
                      <a:pt x="5650" y="6717"/>
                      <a:pt x="5650" y="6717"/>
                      <a:pt x="5650" y="6717"/>
                    </a:cubicBezTo>
                    <a:cubicBezTo>
                      <a:pt x="5626" y="6814"/>
                      <a:pt x="5626" y="6814"/>
                      <a:pt x="5626" y="6814"/>
                    </a:cubicBezTo>
                    <a:cubicBezTo>
                      <a:pt x="5149" y="7158"/>
                      <a:pt x="5149" y="7158"/>
                      <a:pt x="5149" y="7158"/>
                    </a:cubicBezTo>
                    <a:cubicBezTo>
                      <a:pt x="5146" y="7154"/>
                      <a:pt x="5142" y="7150"/>
                      <a:pt x="5139" y="7146"/>
                    </a:cubicBezTo>
                    <a:cubicBezTo>
                      <a:pt x="5124" y="7109"/>
                      <a:pt x="5098" y="7048"/>
                      <a:pt x="5058" y="6980"/>
                    </a:cubicBezTo>
                    <a:cubicBezTo>
                      <a:pt x="5027" y="6928"/>
                      <a:pt x="5007" y="6879"/>
                      <a:pt x="4994" y="6843"/>
                    </a:cubicBezTo>
                    <a:cubicBezTo>
                      <a:pt x="4992" y="6837"/>
                      <a:pt x="4991" y="6833"/>
                      <a:pt x="4989" y="6828"/>
                    </a:cubicBezTo>
                    <a:cubicBezTo>
                      <a:pt x="4989" y="6826"/>
                      <a:pt x="4989" y="6826"/>
                      <a:pt x="4989" y="6826"/>
                    </a:cubicBezTo>
                    <a:cubicBezTo>
                      <a:pt x="4989" y="6826"/>
                      <a:pt x="4982" y="6796"/>
                      <a:pt x="4981" y="6783"/>
                    </a:cubicBezTo>
                    <a:cubicBezTo>
                      <a:pt x="4979" y="6770"/>
                      <a:pt x="4978" y="6748"/>
                      <a:pt x="4978" y="6728"/>
                    </a:cubicBezTo>
                    <a:cubicBezTo>
                      <a:pt x="4978" y="6707"/>
                      <a:pt x="4979" y="6687"/>
                      <a:pt x="4979" y="6679"/>
                    </a:cubicBezTo>
                    <a:cubicBezTo>
                      <a:pt x="4987" y="6589"/>
                      <a:pt x="5004" y="6472"/>
                      <a:pt x="5009" y="6437"/>
                    </a:cubicBezTo>
                    <a:cubicBezTo>
                      <a:pt x="5014" y="6405"/>
                      <a:pt x="5024" y="6332"/>
                      <a:pt x="5031" y="6266"/>
                    </a:cubicBezTo>
                    <a:cubicBezTo>
                      <a:pt x="5035" y="6231"/>
                      <a:pt x="5038" y="6197"/>
                      <a:pt x="5040" y="6179"/>
                    </a:cubicBezTo>
                    <a:cubicBezTo>
                      <a:pt x="5041" y="6176"/>
                      <a:pt x="5042" y="6159"/>
                      <a:pt x="5042" y="6132"/>
                    </a:cubicBezTo>
                    <a:cubicBezTo>
                      <a:pt x="5042" y="6034"/>
                      <a:pt x="5027" y="5805"/>
                      <a:pt x="4859" y="5634"/>
                    </a:cubicBezTo>
                    <a:close/>
                    <a:moveTo>
                      <a:pt x="4308" y="5754"/>
                    </a:moveTo>
                    <a:cubicBezTo>
                      <a:pt x="4308" y="5752"/>
                      <a:pt x="4308" y="5750"/>
                      <a:pt x="4308" y="5748"/>
                    </a:cubicBezTo>
                    <a:cubicBezTo>
                      <a:pt x="4307" y="5698"/>
                      <a:pt x="4259" y="5646"/>
                      <a:pt x="4251" y="5634"/>
                    </a:cubicBezTo>
                    <a:cubicBezTo>
                      <a:pt x="4250" y="5634"/>
                      <a:pt x="4250" y="5633"/>
                      <a:pt x="4250" y="5633"/>
                    </a:cubicBezTo>
                    <a:cubicBezTo>
                      <a:pt x="4250" y="5633"/>
                      <a:pt x="4249" y="5633"/>
                      <a:pt x="4249" y="5633"/>
                    </a:cubicBezTo>
                    <a:cubicBezTo>
                      <a:pt x="4249" y="5633"/>
                      <a:pt x="4249" y="5633"/>
                      <a:pt x="4249" y="5632"/>
                    </a:cubicBezTo>
                    <a:cubicBezTo>
                      <a:pt x="4249" y="5632"/>
                      <a:pt x="4249" y="5632"/>
                      <a:pt x="4248" y="5631"/>
                    </a:cubicBezTo>
                    <a:cubicBezTo>
                      <a:pt x="4248" y="5631"/>
                      <a:pt x="4248" y="5631"/>
                      <a:pt x="4247" y="5630"/>
                    </a:cubicBezTo>
                    <a:cubicBezTo>
                      <a:pt x="4247" y="5630"/>
                      <a:pt x="4246" y="5630"/>
                      <a:pt x="4246" y="5629"/>
                    </a:cubicBezTo>
                    <a:cubicBezTo>
                      <a:pt x="4245" y="5628"/>
                      <a:pt x="4243" y="5627"/>
                      <a:pt x="4241" y="5625"/>
                    </a:cubicBezTo>
                    <a:cubicBezTo>
                      <a:pt x="4237" y="5622"/>
                      <a:pt x="4232" y="5617"/>
                      <a:pt x="4225" y="5612"/>
                    </a:cubicBezTo>
                    <a:cubicBezTo>
                      <a:pt x="4211" y="5600"/>
                      <a:pt x="4191" y="5583"/>
                      <a:pt x="4169" y="5564"/>
                    </a:cubicBezTo>
                    <a:cubicBezTo>
                      <a:pt x="4089" y="5492"/>
                      <a:pt x="3976" y="5388"/>
                      <a:pt x="3976" y="5388"/>
                    </a:cubicBezTo>
                    <a:cubicBezTo>
                      <a:pt x="3976" y="5388"/>
                      <a:pt x="3976" y="5388"/>
                      <a:pt x="3976" y="5388"/>
                    </a:cubicBezTo>
                    <a:cubicBezTo>
                      <a:pt x="3975" y="5389"/>
                      <a:pt x="3975" y="5389"/>
                      <a:pt x="3975" y="5389"/>
                    </a:cubicBezTo>
                    <a:cubicBezTo>
                      <a:pt x="3981" y="5375"/>
                      <a:pt x="3985" y="5362"/>
                      <a:pt x="3989" y="5351"/>
                    </a:cubicBezTo>
                    <a:cubicBezTo>
                      <a:pt x="4004" y="5311"/>
                      <a:pt x="4035" y="5196"/>
                      <a:pt x="4046" y="5165"/>
                    </a:cubicBezTo>
                    <a:cubicBezTo>
                      <a:pt x="4057" y="5132"/>
                      <a:pt x="4069" y="5078"/>
                      <a:pt x="4108" y="5032"/>
                    </a:cubicBezTo>
                    <a:cubicBezTo>
                      <a:pt x="4124" y="5013"/>
                      <a:pt x="4145" y="4991"/>
                      <a:pt x="4167" y="4971"/>
                    </a:cubicBezTo>
                    <a:cubicBezTo>
                      <a:pt x="4200" y="4941"/>
                      <a:pt x="4230" y="4918"/>
                      <a:pt x="4230" y="4918"/>
                    </a:cubicBezTo>
                    <a:cubicBezTo>
                      <a:pt x="4233" y="4915"/>
                      <a:pt x="4233" y="4915"/>
                      <a:pt x="4233" y="4915"/>
                    </a:cubicBezTo>
                    <a:cubicBezTo>
                      <a:pt x="4240" y="4923"/>
                      <a:pt x="4240" y="4923"/>
                      <a:pt x="4240" y="4923"/>
                    </a:cubicBezTo>
                    <a:cubicBezTo>
                      <a:pt x="4242" y="4903"/>
                      <a:pt x="4242" y="4903"/>
                      <a:pt x="4242" y="4903"/>
                    </a:cubicBezTo>
                    <a:cubicBezTo>
                      <a:pt x="4271" y="4941"/>
                      <a:pt x="4333" y="5020"/>
                      <a:pt x="4406" y="5113"/>
                    </a:cubicBezTo>
                    <a:cubicBezTo>
                      <a:pt x="4508" y="5244"/>
                      <a:pt x="4631" y="5403"/>
                      <a:pt x="4716" y="5513"/>
                    </a:cubicBezTo>
                    <a:cubicBezTo>
                      <a:pt x="4763" y="5574"/>
                      <a:pt x="4798" y="5621"/>
                      <a:pt x="4810" y="5637"/>
                    </a:cubicBezTo>
                    <a:cubicBezTo>
                      <a:pt x="4760" y="5704"/>
                      <a:pt x="4695" y="5806"/>
                      <a:pt x="4669" y="5848"/>
                    </a:cubicBezTo>
                    <a:cubicBezTo>
                      <a:pt x="4667" y="5849"/>
                      <a:pt x="4664" y="5857"/>
                      <a:pt x="4664" y="5857"/>
                    </a:cubicBezTo>
                    <a:cubicBezTo>
                      <a:pt x="4647" y="5851"/>
                      <a:pt x="4647" y="5851"/>
                      <a:pt x="4647" y="5851"/>
                    </a:cubicBezTo>
                    <a:cubicBezTo>
                      <a:pt x="4643" y="5859"/>
                      <a:pt x="4643" y="5859"/>
                      <a:pt x="4643" y="5859"/>
                    </a:cubicBezTo>
                    <a:cubicBezTo>
                      <a:pt x="4647" y="5851"/>
                      <a:pt x="4647" y="5851"/>
                      <a:pt x="4647" y="5851"/>
                    </a:cubicBezTo>
                    <a:lnTo>
                      <a:pt x="4308" y="5754"/>
                    </a:lnTo>
                    <a:close/>
                    <a:moveTo>
                      <a:pt x="4228" y="5637"/>
                    </a:moveTo>
                    <a:cubicBezTo>
                      <a:pt x="4227" y="5637"/>
                      <a:pt x="4227" y="5638"/>
                      <a:pt x="4227" y="5638"/>
                    </a:cubicBezTo>
                    <a:cubicBezTo>
                      <a:pt x="4227" y="5637"/>
                      <a:pt x="4227" y="5637"/>
                      <a:pt x="4228" y="5637"/>
                    </a:cubicBezTo>
                    <a:close/>
                    <a:moveTo>
                      <a:pt x="4227" y="5640"/>
                    </a:moveTo>
                    <a:cubicBezTo>
                      <a:pt x="4227" y="5640"/>
                      <a:pt x="4227" y="5640"/>
                      <a:pt x="4227" y="5640"/>
                    </a:cubicBezTo>
                    <a:cubicBezTo>
                      <a:pt x="4227" y="5640"/>
                      <a:pt x="4227" y="5640"/>
                      <a:pt x="4227" y="5640"/>
                    </a:cubicBezTo>
                    <a:cubicBezTo>
                      <a:pt x="4227" y="5640"/>
                      <a:pt x="4227" y="5640"/>
                      <a:pt x="4227" y="5640"/>
                    </a:cubicBezTo>
                    <a:close/>
                    <a:moveTo>
                      <a:pt x="4752" y="5501"/>
                    </a:moveTo>
                    <a:cubicBezTo>
                      <a:pt x="4696" y="5429"/>
                      <a:pt x="4622" y="5333"/>
                      <a:pt x="4548" y="5237"/>
                    </a:cubicBezTo>
                    <a:cubicBezTo>
                      <a:pt x="4427" y="5082"/>
                      <a:pt x="4292" y="4905"/>
                      <a:pt x="4247" y="4846"/>
                    </a:cubicBezTo>
                    <a:cubicBezTo>
                      <a:pt x="4247" y="4846"/>
                      <a:pt x="4247" y="4846"/>
                      <a:pt x="4247" y="4846"/>
                    </a:cubicBezTo>
                    <a:cubicBezTo>
                      <a:pt x="4247" y="4845"/>
                      <a:pt x="4247" y="4845"/>
                      <a:pt x="4247" y="4845"/>
                    </a:cubicBezTo>
                    <a:cubicBezTo>
                      <a:pt x="4237" y="4832"/>
                      <a:pt x="4231" y="4825"/>
                      <a:pt x="4231" y="4825"/>
                    </a:cubicBezTo>
                    <a:cubicBezTo>
                      <a:pt x="4231" y="4825"/>
                      <a:pt x="4231" y="4825"/>
                      <a:pt x="4231" y="4825"/>
                    </a:cubicBezTo>
                    <a:cubicBezTo>
                      <a:pt x="3618" y="4023"/>
                      <a:pt x="3618" y="4023"/>
                      <a:pt x="3618" y="4023"/>
                    </a:cubicBezTo>
                    <a:cubicBezTo>
                      <a:pt x="3631" y="4016"/>
                      <a:pt x="3631" y="4016"/>
                      <a:pt x="3631" y="4016"/>
                    </a:cubicBezTo>
                    <a:cubicBezTo>
                      <a:pt x="3965" y="3901"/>
                      <a:pt x="3965" y="3901"/>
                      <a:pt x="3965" y="3901"/>
                    </a:cubicBezTo>
                    <a:cubicBezTo>
                      <a:pt x="3964" y="3900"/>
                      <a:pt x="3964" y="3900"/>
                      <a:pt x="3964" y="3900"/>
                    </a:cubicBezTo>
                    <a:cubicBezTo>
                      <a:pt x="4135" y="3849"/>
                      <a:pt x="4135" y="3849"/>
                      <a:pt x="4135" y="3849"/>
                    </a:cubicBezTo>
                    <a:cubicBezTo>
                      <a:pt x="4536" y="3924"/>
                      <a:pt x="4536" y="3924"/>
                      <a:pt x="4536" y="3924"/>
                    </a:cubicBezTo>
                    <a:cubicBezTo>
                      <a:pt x="4535" y="3930"/>
                      <a:pt x="4533" y="3935"/>
                      <a:pt x="4533" y="3942"/>
                    </a:cubicBezTo>
                    <a:cubicBezTo>
                      <a:pt x="4533" y="3968"/>
                      <a:pt x="4543" y="3997"/>
                      <a:pt x="4565" y="4029"/>
                    </a:cubicBezTo>
                    <a:cubicBezTo>
                      <a:pt x="4636" y="4133"/>
                      <a:pt x="5026" y="4632"/>
                      <a:pt x="5077" y="4698"/>
                    </a:cubicBezTo>
                    <a:cubicBezTo>
                      <a:pt x="5054" y="4786"/>
                      <a:pt x="4971" y="4892"/>
                      <a:pt x="4907" y="4986"/>
                    </a:cubicBezTo>
                    <a:cubicBezTo>
                      <a:pt x="4876" y="5032"/>
                      <a:pt x="4864" y="5076"/>
                      <a:pt x="4864" y="5120"/>
                    </a:cubicBezTo>
                    <a:cubicBezTo>
                      <a:pt x="4864" y="5176"/>
                      <a:pt x="4882" y="5231"/>
                      <a:pt x="4900" y="5296"/>
                    </a:cubicBezTo>
                    <a:cubicBezTo>
                      <a:pt x="4912" y="5339"/>
                      <a:pt x="4917" y="5376"/>
                      <a:pt x="4917" y="5408"/>
                    </a:cubicBezTo>
                    <a:cubicBezTo>
                      <a:pt x="4917" y="5498"/>
                      <a:pt x="4878" y="5553"/>
                      <a:pt x="4833" y="5607"/>
                    </a:cubicBezTo>
                    <a:cubicBezTo>
                      <a:pt x="4833" y="5607"/>
                      <a:pt x="4833" y="5608"/>
                      <a:pt x="4833" y="5608"/>
                    </a:cubicBezTo>
                    <a:cubicBezTo>
                      <a:pt x="4829" y="5602"/>
                      <a:pt x="4825" y="5596"/>
                      <a:pt x="4819" y="5589"/>
                    </a:cubicBezTo>
                    <a:cubicBezTo>
                      <a:pt x="4803" y="5567"/>
                      <a:pt x="4780" y="5537"/>
                      <a:pt x="4752" y="5501"/>
                    </a:cubicBezTo>
                    <a:close/>
                    <a:moveTo>
                      <a:pt x="4570" y="3942"/>
                    </a:moveTo>
                    <a:cubicBezTo>
                      <a:pt x="4570" y="3919"/>
                      <a:pt x="4580" y="3902"/>
                      <a:pt x="4595" y="3888"/>
                    </a:cubicBezTo>
                    <a:cubicBezTo>
                      <a:pt x="4609" y="3874"/>
                      <a:pt x="4628" y="3865"/>
                      <a:pt x="4639" y="3861"/>
                    </a:cubicBezTo>
                    <a:cubicBezTo>
                      <a:pt x="4644" y="3859"/>
                      <a:pt x="4675" y="3852"/>
                      <a:pt x="4715" y="3845"/>
                    </a:cubicBezTo>
                    <a:cubicBezTo>
                      <a:pt x="4756" y="3838"/>
                      <a:pt x="4807" y="3830"/>
                      <a:pt x="4857" y="3822"/>
                    </a:cubicBezTo>
                    <a:cubicBezTo>
                      <a:pt x="4940" y="3809"/>
                      <a:pt x="5019" y="3797"/>
                      <a:pt x="5043" y="3793"/>
                    </a:cubicBezTo>
                    <a:cubicBezTo>
                      <a:pt x="5075" y="4061"/>
                      <a:pt x="5105" y="4303"/>
                      <a:pt x="5114" y="4351"/>
                    </a:cubicBezTo>
                    <a:cubicBezTo>
                      <a:pt x="5119" y="4375"/>
                      <a:pt x="5121" y="4401"/>
                      <a:pt x="5121" y="4427"/>
                    </a:cubicBezTo>
                    <a:cubicBezTo>
                      <a:pt x="5121" y="4503"/>
                      <a:pt x="5104" y="4585"/>
                      <a:pt x="5088" y="4653"/>
                    </a:cubicBezTo>
                    <a:cubicBezTo>
                      <a:pt x="5049" y="4604"/>
                      <a:pt x="4968" y="4499"/>
                      <a:pt x="4881" y="4387"/>
                    </a:cubicBezTo>
                    <a:cubicBezTo>
                      <a:pt x="4761" y="4232"/>
                      <a:pt x="4631" y="4063"/>
                      <a:pt x="4595" y="4009"/>
                    </a:cubicBezTo>
                    <a:cubicBezTo>
                      <a:pt x="4576" y="3981"/>
                      <a:pt x="4570" y="3959"/>
                      <a:pt x="4570" y="3942"/>
                    </a:cubicBezTo>
                    <a:close/>
                    <a:moveTo>
                      <a:pt x="6082" y="3729"/>
                    </a:moveTo>
                    <a:cubicBezTo>
                      <a:pt x="5985" y="4218"/>
                      <a:pt x="5985" y="4218"/>
                      <a:pt x="5985" y="4218"/>
                    </a:cubicBezTo>
                    <a:cubicBezTo>
                      <a:pt x="5922" y="4402"/>
                      <a:pt x="5922" y="4402"/>
                      <a:pt x="5922" y="4402"/>
                    </a:cubicBezTo>
                    <a:cubicBezTo>
                      <a:pt x="5895" y="4341"/>
                      <a:pt x="5895" y="4341"/>
                      <a:pt x="5895" y="4341"/>
                    </a:cubicBezTo>
                    <a:cubicBezTo>
                      <a:pt x="6007" y="2855"/>
                      <a:pt x="6007" y="2855"/>
                      <a:pt x="6007" y="2855"/>
                    </a:cubicBezTo>
                    <a:cubicBezTo>
                      <a:pt x="6144" y="2847"/>
                      <a:pt x="6235" y="2846"/>
                      <a:pt x="6254" y="2845"/>
                    </a:cubicBezTo>
                    <a:cubicBezTo>
                      <a:pt x="6254" y="2845"/>
                      <a:pt x="6254" y="2846"/>
                      <a:pt x="6254" y="2846"/>
                    </a:cubicBezTo>
                    <a:cubicBezTo>
                      <a:pt x="6254" y="2847"/>
                      <a:pt x="6254" y="2847"/>
                      <a:pt x="6254" y="2847"/>
                    </a:cubicBezTo>
                    <a:lnTo>
                      <a:pt x="6082" y="3729"/>
                    </a:lnTo>
                    <a:close/>
                    <a:moveTo>
                      <a:pt x="5858" y="4348"/>
                    </a:moveTo>
                    <a:cubicBezTo>
                      <a:pt x="5906" y="4454"/>
                      <a:pt x="5906" y="4454"/>
                      <a:pt x="5906" y="4454"/>
                    </a:cubicBezTo>
                    <a:cubicBezTo>
                      <a:pt x="5875" y="4729"/>
                      <a:pt x="5875" y="4729"/>
                      <a:pt x="5875" y="4729"/>
                    </a:cubicBezTo>
                    <a:cubicBezTo>
                      <a:pt x="5870" y="4729"/>
                      <a:pt x="5870" y="4729"/>
                      <a:pt x="5870" y="4729"/>
                    </a:cubicBezTo>
                    <a:cubicBezTo>
                      <a:pt x="5870" y="4728"/>
                      <a:pt x="5870" y="4728"/>
                      <a:pt x="5870" y="4728"/>
                    </a:cubicBezTo>
                    <a:cubicBezTo>
                      <a:pt x="5130" y="4663"/>
                      <a:pt x="5130" y="4663"/>
                      <a:pt x="5130" y="4663"/>
                    </a:cubicBezTo>
                    <a:cubicBezTo>
                      <a:pt x="5123" y="4661"/>
                      <a:pt x="5123" y="4661"/>
                      <a:pt x="5123" y="4661"/>
                    </a:cubicBezTo>
                    <a:cubicBezTo>
                      <a:pt x="5139" y="4592"/>
                      <a:pt x="5157" y="4508"/>
                      <a:pt x="5157" y="4427"/>
                    </a:cubicBezTo>
                    <a:cubicBezTo>
                      <a:pt x="5157" y="4399"/>
                      <a:pt x="5155" y="4371"/>
                      <a:pt x="5150" y="4345"/>
                    </a:cubicBezTo>
                    <a:cubicBezTo>
                      <a:pt x="5139" y="4290"/>
                      <a:pt x="5097" y="3945"/>
                      <a:pt x="5059" y="3617"/>
                    </a:cubicBezTo>
                    <a:cubicBezTo>
                      <a:pt x="5022" y="3307"/>
                      <a:pt x="4988" y="3010"/>
                      <a:pt x="4984" y="2977"/>
                    </a:cubicBezTo>
                    <a:cubicBezTo>
                      <a:pt x="5270" y="2920"/>
                      <a:pt x="5565" y="2887"/>
                      <a:pt x="5799" y="2869"/>
                    </a:cubicBezTo>
                    <a:cubicBezTo>
                      <a:pt x="5861" y="2864"/>
                      <a:pt x="5918" y="2860"/>
                      <a:pt x="5971" y="2857"/>
                    </a:cubicBezTo>
                    <a:lnTo>
                      <a:pt x="5858" y="4348"/>
                    </a:lnTo>
                    <a:close/>
                    <a:moveTo>
                      <a:pt x="5353" y="2880"/>
                    </a:moveTo>
                    <a:cubicBezTo>
                      <a:pt x="5185" y="2902"/>
                      <a:pt x="5008" y="2932"/>
                      <a:pt x="4839" y="2972"/>
                    </a:cubicBezTo>
                    <a:cubicBezTo>
                      <a:pt x="4770" y="2988"/>
                      <a:pt x="4697" y="3006"/>
                      <a:pt x="4623" y="3025"/>
                    </a:cubicBezTo>
                    <a:cubicBezTo>
                      <a:pt x="4197" y="2097"/>
                      <a:pt x="4197" y="2097"/>
                      <a:pt x="4197" y="2097"/>
                    </a:cubicBezTo>
                    <a:cubicBezTo>
                      <a:pt x="4197" y="2096"/>
                      <a:pt x="4197" y="2096"/>
                      <a:pt x="4197" y="2096"/>
                    </a:cubicBezTo>
                    <a:cubicBezTo>
                      <a:pt x="4323" y="2090"/>
                      <a:pt x="4752" y="2064"/>
                      <a:pt x="4962" y="2030"/>
                    </a:cubicBezTo>
                    <a:cubicBezTo>
                      <a:pt x="5075" y="2012"/>
                      <a:pt x="5166" y="1965"/>
                      <a:pt x="5237" y="1913"/>
                    </a:cubicBezTo>
                    <a:cubicBezTo>
                      <a:pt x="5243" y="1919"/>
                      <a:pt x="5250" y="1928"/>
                      <a:pt x="5258" y="1938"/>
                    </a:cubicBezTo>
                    <a:cubicBezTo>
                      <a:pt x="5272" y="1957"/>
                      <a:pt x="5287" y="1981"/>
                      <a:pt x="5291" y="1996"/>
                    </a:cubicBezTo>
                    <a:cubicBezTo>
                      <a:pt x="5297" y="2019"/>
                      <a:pt x="5320" y="2066"/>
                      <a:pt x="5344" y="2125"/>
                    </a:cubicBezTo>
                    <a:cubicBezTo>
                      <a:pt x="5368" y="2184"/>
                      <a:pt x="5392" y="2253"/>
                      <a:pt x="5397" y="2313"/>
                    </a:cubicBezTo>
                    <a:cubicBezTo>
                      <a:pt x="5397" y="2325"/>
                      <a:pt x="5398" y="2341"/>
                      <a:pt x="5398" y="2359"/>
                    </a:cubicBezTo>
                    <a:cubicBezTo>
                      <a:pt x="5398" y="2497"/>
                      <a:pt x="5373" y="2778"/>
                      <a:pt x="5365" y="2862"/>
                    </a:cubicBezTo>
                    <a:lnTo>
                      <a:pt x="5353" y="2880"/>
                    </a:lnTo>
                    <a:close/>
                    <a:moveTo>
                      <a:pt x="4847" y="3007"/>
                    </a:moveTo>
                    <a:cubicBezTo>
                      <a:pt x="4880" y="2999"/>
                      <a:pt x="4914" y="2992"/>
                      <a:pt x="4948" y="2985"/>
                    </a:cubicBezTo>
                    <a:cubicBezTo>
                      <a:pt x="4954" y="3036"/>
                      <a:pt x="4997" y="3411"/>
                      <a:pt x="5039" y="3757"/>
                    </a:cubicBezTo>
                    <a:cubicBezTo>
                      <a:pt x="5001" y="3763"/>
                      <a:pt x="4819" y="3790"/>
                      <a:pt x="4709" y="3810"/>
                    </a:cubicBezTo>
                    <a:cubicBezTo>
                      <a:pt x="4668" y="3817"/>
                      <a:pt x="4639" y="3823"/>
                      <a:pt x="4626" y="3827"/>
                    </a:cubicBezTo>
                    <a:cubicBezTo>
                      <a:pt x="4612" y="3833"/>
                      <a:pt x="4590" y="3843"/>
                      <a:pt x="4570" y="3862"/>
                    </a:cubicBezTo>
                    <a:cubicBezTo>
                      <a:pt x="4560" y="3871"/>
                      <a:pt x="4550" y="3884"/>
                      <a:pt x="4543" y="3899"/>
                    </a:cubicBezTo>
                    <a:cubicBezTo>
                      <a:pt x="4535" y="3897"/>
                      <a:pt x="4535" y="3897"/>
                      <a:pt x="4535" y="3897"/>
                    </a:cubicBezTo>
                    <a:cubicBezTo>
                      <a:pt x="4134" y="3823"/>
                      <a:pt x="4134" y="3823"/>
                      <a:pt x="4134" y="3823"/>
                    </a:cubicBezTo>
                    <a:cubicBezTo>
                      <a:pt x="3938" y="3880"/>
                      <a:pt x="3938" y="3880"/>
                      <a:pt x="3938" y="3880"/>
                    </a:cubicBezTo>
                    <a:cubicBezTo>
                      <a:pt x="3938" y="3881"/>
                      <a:pt x="3938" y="3881"/>
                      <a:pt x="3938" y="3881"/>
                    </a:cubicBezTo>
                    <a:cubicBezTo>
                      <a:pt x="3609" y="3988"/>
                      <a:pt x="3609" y="3988"/>
                      <a:pt x="3609" y="3988"/>
                    </a:cubicBezTo>
                    <a:cubicBezTo>
                      <a:pt x="3609" y="3989"/>
                      <a:pt x="3609" y="3989"/>
                      <a:pt x="3609" y="3989"/>
                    </a:cubicBezTo>
                    <a:cubicBezTo>
                      <a:pt x="3594" y="3992"/>
                      <a:pt x="3594" y="3992"/>
                      <a:pt x="3594" y="3992"/>
                    </a:cubicBezTo>
                    <a:cubicBezTo>
                      <a:pt x="3444" y="3796"/>
                      <a:pt x="3444" y="3796"/>
                      <a:pt x="3444" y="3796"/>
                    </a:cubicBezTo>
                    <a:cubicBezTo>
                      <a:pt x="3443" y="3797"/>
                      <a:pt x="3443" y="3797"/>
                      <a:pt x="3443" y="3797"/>
                    </a:cubicBezTo>
                    <a:cubicBezTo>
                      <a:pt x="3211" y="3489"/>
                      <a:pt x="3211" y="3489"/>
                      <a:pt x="3211" y="3489"/>
                    </a:cubicBezTo>
                    <a:cubicBezTo>
                      <a:pt x="3218" y="3487"/>
                      <a:pt x="3226" y="3484"/>
                      <a:pt x="3236" y="3480"/>
                    </a:cubicBezTo>
                    <a:cubicBezTo>
                      <a:pt x="3265" y="3470"/>
                      <a:pt x="3307" y="3456"/>
                      <a:pt x="3359" y="3439"/>
                    </a:cubicBezTo>
                    <a:cubicBezTo>
                      <a:pt x="3463" y="3405"/>
                      <a:pt x="3608" y="3358"/>
                      <a:pt x="3774" y="3307"/>
                    </a:cubicBezTo>
                    <a:cubicBezTo>
                      <a:pt x="4106" y="3204"/>
                      <a:pt x="4520" y="3083"/>
                      <a:pt x="4847" y="3007"/>
                    </a:cubicBezTo>
                    <a:close/>
                    <a:moveTo>
                      <a:pt x="4349" y="7106"/>
                    </a:moveTo>
                    <a:cubicBezTo>
                      <a:pt x="4367" y="7082"/>
                      <a:pt x="4396" y="7042"/>
                      <a:pt x="4415" y="7014"/>
                    </a:cubicBezTo>
                    <a:cubicBezTo>
                      <a:pt x="4444" y="6971"/>
                      <a:pt x="4458" y="6930"/>
                      <a:pt x="4471" y="6878"/>
                    </a:cubicBezTo>
                    <a:cubicBezTo>
                      <a:pt x="4484" y="6824"/>
                      <a:pt x="4538" y="6453"/>
                      <a:pt x="4544" y="6402"/>
                    </a:cubicBezTo>
                    <a:cubicBezTo>
                      <a:pt x="4549" y="6354"/>
                      <a:pt x="4568" y="6241"/>
                      <a:pt x="4578" y="6193"/>
                    </a:cubicBezTo>
                    <a:cubicBezTo>
                      <a:pt x="4581" y="6172"/>
                      <a:pt x="4613" y="6087"/>
                      <a:pt x="4643" y="6010"/>
                    </a:cubicBezTo>
                    <a:cubicBezTo>
                      <a:pt x="4667" y="5949"/>
                      <a:pt x="4690" y="5891"/>
                      <a:pt x="4699" y="5870"/>
                    </a:cubicBezTo>
                    <a:cubicBezTo>
                      <a:pt x="4700" y="5868"/>
                      <a:pt x="4701" y="5866"/>
                      <a:pt x="4701" y="5865"/>
                    </a:cubicBezTo>
                    <a:cubicBezTo>
                      <a:pt x="4702" y="5864"/>
                      <a:pt x="4702" y="5863"/>
                      <a:pt x="4703" y="5862"/>
                    </a:cubicBezTo>
                    <a:cubicBezTo>
                      <a:pt x="4703" y="5862"/>
                      <a:pt x="4703" y="5862"/>
                      <a:pt x="4703" y="5862"/>
                    </a:cubicBezTo>
                    <a:cubicBezTo>
                      <a:pt x="4703" y="5862"/>
                      <a:pt x="4703" y="5862"/>
                      <a:pt x="4703" y="5862"/>
                    </a:cubicBezTo>
                    <a:cubicBezTo>
                      <a:pt x="4715" y="5843"/>
                      <a:pt x="4732" y="5816"/>
                      <a:pt x="4752" y="5786"/>
                    </a:cubicBezTo>
                    <a:cubicBezTo>
                      <a:pt x="4780" y="5742"/>
                      <a:pt x="4814" y="5693"/>
                      <a:pt x="4841" y="5656"/>
                    </a:cubicBezTo>
                    <a:cubicBezTo>
                      <a:pt x="4848" y="5661"/>
                      <a:pt x="4848" y="5661"/>
                      <a:pt x="4848" y="5661"/>
                    </a:cubicBezTo>
                    <a:cubicBezTo>
                      <a:pt x="5001" y="5822"/>
                      <a:pt x="5016" y="6039"/>
                      <a:pt x="5016" y="6132"/>
                    </a:cubicBezTo>
                    <a:cubicBezTo>
                      <a:pt x="5016" y="6147"/>
                      <a:pt x="5016" y="6159"/>
                      <a:pt x="5016" y="6167"/>
                    </a:cubicBezTo>
                    <a:cubicBezTo>
                      <a:pt x="5016" y="6170"/>
                      <a:pt x="5015" y="6173"/>
                      <a:pt x="5015" y="6177"/>
                    </a:cubicBezTo>
                    <a:cubicBezTo>
                      <a:pt x="5013" y="6177"/>
                      <a:pt x="5013" y="6177"/>
                      <a:pt x="5013" y="6177"/>
                    </a:cubicBezTo>
                    <a:cubicBezTo>
                      <a:pt x="5015" y="6177"/>
                      <a:pt x="5015" y="6177"/>
                      <a:pt x="5015" y="6177"/>
                    </a:cubicBezTo>
                    <a:cubicBezTo>
                      <a:pt x="5014" y="6197"/>
                      <a:pt x="5011" y="6229"/>
                      <a:pt x="5007" y="6264"/>
                    </a:cubicBezTo>
                    <a:cubicBezTo>
                      <a:pt x="5000" y="6328"/>
                      <a:pt x="4989" y="6402"/>
                      <a:pt x="4985" y="6433"/>
                    </a:cubicBezTo>
                    <a:cubicBezTo>
                      <a:pt x="4979" y="6469"/>
                      <a:pt x="4963" y="6586"/>
                      <a:pt x="4955" y="6677"/>
                    </a:cubicBezTo>
                    <a:cubicBezTo>
                      <a:pt x="4954" y="6686"/>
                      <a:pt x="4953" y="6706"/>
                      <a:pt x="4953" y="6728"/>
                    </a:cubicBezTo>
                    <a:cubicBezTo>
                      <a:pt x="4953" y="6749"/>
                      <a:pt x="4952" y="6763"/>
                      <a:pt x="4954" y="6786"/>
                    </a:cubicBezTo>
                    <a:cubicBezTo>
                      <a:pt x="4954" y="6787"/>
                      <a:pt x="4954" y="6789"/>
                      <a:pt x="4955" y="6790"/>
                    </a:cubicBezTo>
                    <a:cubicBezTo>
                      <a:pt x="4952" y="6791"/>
                      <a:pt x="4952" y="6791"/>
                      <a:pt x="4952" y="6791"/>
                    </a:cubicBezTo>
                    <a:cubicBezTo>
                      <a:pt x="4952" y="6791"/>
                      <a:pt x="4955" y="6807"/>
                      <a:pt x="4963" y="6831"/>
                    </a:cubicBezTo>
                    <a:cubicBezTo>
                      <a:pt x="4964" y="6836"/>
                      <a:pt x="4965" y="6840"/>
                      <a:pt x="4965" y="6840"/>
                    </a:cubicBezTo>
                    <a:cubicBezTo>
                      <a:pt x="4966" y="6842"/>
                      <a:pt x="4966" y="6842"/>
                      <a:pt x="4966" y="6842"/>
                    </a:cubicBezTo>
                    <a:cubicBezTo>
                      <a:pt x="4979" y="6879"/>
                      <a:pt x="5000" y="6934"/>
                      <a:pt x="5035" y="6993"/>
                    </a:cubicBezTo>
                    <a:cubicBezTo>
                      <a:pt x="5066" y="7046"/>
                      <a:pt x="5089" y="7095"/>
                      <a:pt x="5104" y="7131"/>
                    </a:cubicBezTo>
                    <a:cubicBezTo>
                      <a:pt x="5111" y="7146"/>
                      <a:pt x="5115" y="7158"/>
                      <a:pt x="5119" y="7168"/>
                    </a:cubicBezTo>
                    <a:cubicBezTo>
                      <a:pt x="5119" y="7171"/>
                      <a:pt x="5119" y="7173"/>
                      <a:pt x="5120" y="7175"/>
                    </a:cubicBezTo>
                    <a:cubicBezTo>
                      <a:pt x="4054" y="7782"/>
                      <a:pt x="4054" y="7782"/>
                      <a:pt x="4054" y="7782"/>
                    </a:cubicBezTo>
                    <a:cubicBezTo>
                      <a:pt x="4011" y="7806"/>
                      <a:pt x="4011" y="7806"/>
                      <a:pt x="4011" y="7806"/>
                    </a:cubicBezTo>
                    <a:cubicBezTo>
                      <a:pt x="3942" y="7641"/>
                      <a:pt x="3942" y="7641"/>
                      <a:pt x="3942" y="7641"/>
                    </a:cubicBezTo>
                    <a:cubicBezTo>
                      <a:pt x="4349" y="7106"/>
                      <a:pt x="4349" y="7106"/>
                      <a:pt x="4349" y="7106"/>
                    </a:cubicBezTo>
                    <a:close/>
                    <a:moveTo>
                      <a:pt x="4072" y="7813"/>
                    </a:moveTo>
                    <a:cubicBezTo>
                      <a:pt x="5167" y="7190"/>
                      <a:pt x="5167" y="7190"/>
                      <a:pt x="5167" y="7190"/>
                    </a:cubicBezTo>
                    <a:cubicBezTo>
                      <a:pt x="5606" y="6873"/>
                      <a:pt x="5606" y="6873"/>
                      <a:pt x="5606" y="6873"/>
                    </a:cubicBezTo>
                    <a:cubicBezTo>
                      <a:pt x="5548" y="7023"/>
                      <a:pt x="5548" y="7023"/>
                      <a:pt x="5548" y="7023"/>
                    </a:cubicBezTo>
                    <a:cubicBezTo>
                      <a:pt x="6058" y="7471"/>
                      <a:pt x="6058" y="7471"/>
                      <a:pt x="6058" y="7471"/>
                    </a:cubicBezTo>
                    <a:cubicBezTo>
                      <a:pt x="6159" y="8748"/>
                      <a:pt x="6159" y="8748"/>
                      <a:pt x="6159" y="8748"/>
                    </a:cubicBezTo>
                    <a:cubicBezTo>
                      <a:pt x="5923" y="8922"/>
                      <a:pt x="5923" y="8922"/>
                      <a:pt x="5923" y="8922"/>
                    </a:cubicBezTo>
                    <a:cubicBezTo>
                      <a:pt x="4477" y="8934"/>
                      <a:pt x="4477" y="8934"/>
                      <a:pt x="4477" y="8934"/>
                    </a:cubicBezTo>
                    <a:cubicBezTo>
                      <a:pt x="4461" y="8847"/>
                      <a:pt x="4403" y="8529"/>
                      <a:pt x="4370" y="8431"/>
                    </a:cubicBezTo>
                    <a:cubicBezTo>
                      <a:pt x="4353" y="8379"/>
                      <a:pt x="4271" y="8234"/>
                      <a:pt x="4192" y="8099"/>
                    </a:cubicBezTo>
                    <a:cubicBezTo>
                      <a:pt x="4113" y="7964"/>
                      <a:pt x="4038" y="7841"/>
                      <a:pt x="4038" y="7841"/>
                    </a:cubicBezTo>
                    <a:cubicBezTo>
                      <a:pt x="4037" y="7838"/>
                      <a:pt x="4037" y="7838"/>
                      <a:pt x="4037" y="7838"/>
                    </a:cubicBezTo>
                    <a:cubicBezTo>
                      <a:pt x="4033" y="7835"/>
                      <a:pt x="4033" y="7835"/>
                      <a:pt x="4033" y="7835"/>
                    </a:cubicBezTo>
                    <a:lnTo>
                      <a:pt x="4072" y="7813"/>
                    </a:lnTo>
                    <a:close/>
                    <a:moveTo>
                      <a:pt x="6183" y="8774"/>
                    </a:moveTo>
                    <a:cubicBezTo>
                      <a:pt x="6274" y="8777"/>
                      <a:pt x="6274" y="8777"/>
                      <a:pt x="6274" y="8777"/>
                    </a:cubicBezTo>
                    <a:cubicBezTo>
                      <a:pt x="6274" y="8828"/>
                      <a:pt x="6273" y="9110"/>
                      <a:pt x="6266" y="9306"/>
                    </a:cubicBezTo>
                    <a:cubicBezTo>
                      <a:pt x="6263" y="9370"/>
                      <a:pt x="6247" y="9418"/>
                      <a:pt x="6219" y="9443"/>
                    </a:cubicBezTo>
                    <a:cubicBezTo>
                      <a:pt x="6175" y="9487"/>
                      <a:pt x="6104" y="9497"/>
                      <a:pt x="6061" y="9497"/>
                    </a:cubicBezTo>
                    <a:cubicBezTo>
                      <a:pt x="6052" y="9497"/>
                      <a:pt x="6044" y="9497"/>
                      <a:pt x="6038" y="9496"/>
                    </a:cubicBezTo>
                    <a:cubicBezTo>
                      <a:pt x="6026" y="9322"/>
                      <a:pt x="5962" y="9010"/>
                      <a:pt x="5949" y="8947"/>
                    </a:cubicBezTo>
                    <a:lnTo>
                      <a:pt x="6183" y="8774"/>
                    </a:lnTo>
                    <a:close/>
                    <a:moveTo>
                      <a:pt x="8669" y="6522"/>
                    </a:moveTo>
                    <a:cubicBezTo>
                      <a:pt x="7344" y="6575"/>
                      <a:pt x="7344" y="6575"/>
                      <a:pt x="7344" y="6575"/>
                    </a:cubicBezTo>
                    <a:cubicBezTo>
                      <a:pt x="7344" y="6575"/>
                      <a:pt x="7339" y="6576"/>
                      <a:pt x="7331" y="6576"/>
                    </a:cubicBezTo>
                    <a:cubicBezTo>
                      <a:pt x="7364" y="6570"/>
                      <a:pt x="7364" y="6570"/>
                      <a:pt x="7364" y="6570"/>
                    </a:cubicBezTo>
                    <a:cubicBezTo>
                      <a:pt x="7347" y="6481"/>
                      <a:pt x="7338" y="6401"/>
                      <a:pt x="7334" y="6343"/>
                    </a:cubicBezTo>
                    <a:cubicBezTo>
                      <a:pt x="7330" y="6290"/>
                      <a:pt x="7330" y="6256"/>
                      <a:pt x="7330" y="6251"/>
                    </a:cubicBezTo>
                    <a:cubicBezTo>
                      <a:pt x="7375" y="5692"/>
                      <a:pt x="7375" y="5692"/>
                      <a:pt x="7375" y="5692"/>
                    </a:cubicBezTo>
                    <a:cubicBezTo>
                      <a:pt x="8064" y="4278"/>
                      <a:pt x="8064" y="4278"/>
                      <a:pt x="8064" y="4278"/>
                    </a:cubicBezTo>
                    <a:cubicBezTo>
                      <a:pt x="9422" y="4971"/>
                      <a:pt x="9422" y="4971"/>
                      <a:pt x="9422" y="4971"/>
                    </a:cubicBezTo>
                    <a:cubicBezTo>
                      <a:pt x="9364" y="5092"/>
                      <a:pt x="9364" y="5092"/>
                      <a:pt x="9364" y="5092"/>
                    </a:cubicBezTo>
                    <a:cubicBezTo>
                      <a:pt x="8707" y="6517"/>
                      <a:pt x="8707" y="6517"/>
                      <a:pt x="8707" y="6517"/>
                    </a:cubicBezTo>
                    <a:lnTo>
                      <a:pt x="8669" y="6522"/>
                    </a:lnTo>
                    <a:close/>
                    <a:moveTo>
                      <a:pt x="8079" y="4246"/>
                    </a:moveTo>
                    <a:cubicBezTo>
                      <a:pt x="8600" y="3177"/>
                      <a:pt x="8600" y="3177"/>
                      <a:pt x="8600" y="3177"/>
                    </a:cubicBezTo>
                    <a:cubicBezTo>
                      <a:pt x="8601" y="3177"/>
                      <a:pt x="8602" y="3177"/>
                      <a:pt x="8603" y="3177"/>
                    </a:cubicBezTo>
                    <a:cubicBezTo>
                      <a:pt x="8603" y="3170"/>
                      <a:pt x="8603" y="3170"/>
                      <a:pt x="8603" y="3170"/>
                    </a:cubicBezTo>
                    <a:cubicBezTo>
                      <a:pt x="9303" y="1734"/>
                      <a:pt x="9303" y="1734"/>
                      <a:pt x="9303" y="1734"/>
                    </a:cubicBezTo>
                    <a:cubicBezTo>
                      <a:pt x="9473" y="1825"/>
                      <a:pt x="9871" y="2041"/>
                      <a:pt x="10031" y="2109"/>
                    </a:cubicBezTo>
                    <a:cubicBezTo>
                      <a:pt x="10112" y="2144"/>
                      <a:pt x="10268" y="2215"/>
                      <a:pt x="10404" y="2278"/>
                    </a:cubicBezTo>
                    <a:cubicBezTo>
                      <a:pt x="10513" y="2329"/>
                      <a:pt x="10610" y="2373"/>
                      <a:pt x="10642" y="2389"/>
                    </a:cubicBezTo>
                    <a:cubicBezTo>
                      <a:pt x="10642" y="2389"/>
                      <a:pt x="10642" y="2389"/>
                      <a:pt x="10642" y="2389"/>
                    </a:cubicBezTo>
                    <a:cubicBezTo>
                      <a:pt x="10639" y="2392"/>
                      <a:pt x="10639" y="2392"/>
                      <a:pt x="10639" y="2392"/>
                    </a:cubicBezTo>
                    <a:cubicBezTo>
                      <a:pt x="9437" y="4938"/>
                      <a:pt x="9437" y="4938"/>
                      <a:pt x="9437" y="4938"/>
                    </a:cubicBezTo>
                    <a:lnTo>
                      <a:pt x="8079" y="4246"/>
                    </a:lnTo>
                    <a:close/>
                    <a:moveTo>
                      <a:pt x="8064" y="936"/>
                    </a:moveTo>
                    <a:cubicBezTo>
                      <a:pt x="8065" y="936"/>
                      <a:pt x="8065" y="936"/>
                      <a:pt x="8065" y="936"/>
                    </a:cubicBezTo>
                    <a:cubicBezTo>
                      <a:pt x="8065" y="936"/>
                      <a:pt x="8074" y="935"/>
                      <a:pt x="8090" y="934"/>
                    </a:cubicBezTo>
                    <a:cubicBezTo>
                      <a:pt x="8171" y="994"/>
                      <a:pt x="8588" y="1305"/>
                      <a:pt x="8682" y="1361"/>
                    </a:cubicBezTo>
                    <a:cubicBezTo>
                      <a:pt x="8688" y="1365"/>
                      <a:pt x="8695" y="1369"/>
                      <a:pt x="8702" y="1374"/>
                    </a:cubicBezTo>
                    <a:cubicBezTo>
                      <a:pt x="8703" y="1382"/>
                      <a:pt x="8703" y="1382"/>
                      <a:pt x="8703" y="1382"/>
                    </a:cubicBezTo>
                    <a:cubicBezTo>
                      <a:pt x="8673" y="1430"/>
                      <a:pt x="8576" y="1581"/>
                      <a:pt x="8458" y="1764"/>
                    </a:cubicBezTo>
                    <a:cubicBezTo>
                      <a:pt x="8315" y="1986"/>
                      <a:pt x="8141" y="2255"/>
                      <a:pt x="8018" y="2443"/>
                    </a:cubicBezTo>
                    <a:cubicBezTo>
                      <a:pt x="7937" y="2567"/>
                      <a:pt x="7877" y="2656"/>
                      <a:pt x="7865" y="2669"/>
                    </a:cubicBezTo>
                    <a:cubicBezTo>
                      <a:pt x="7861" y="2671"/>
                      <a:pt x="7862" y="2673"/>
                      <a:pt x="7860" y="2674"/>
                    </a:cubicBezTo>
                    <a:cubicBezTo>
                      <a:pt x="7860" y="2676"/>
                      <a:pt x="7859" y="2677"/>
                      <a:pt x="7858" y="2678"/>
                    </a:cubicBezTo>
                    <a:cubicBezTo>
                      <a:pt x="7857" y="2681"/>
                      <a:pt x="7855" y="2685"/>
                      <a:pt x="7854" y="2690"/>
                    </a:cubicBezTo>
                    <a:cubicBezTo>
                      <a:pt x="7850" y="2700"/>
                      <a:pt x="7845" y="2714"/>
                      <a:pt x="7840" y="2731"/>
                    </a:cubicBezTo>
                    <a:cubicBezTo>
                      <a:pt x="7829" y="2767"/>
                      <a:pt x="7813" y="2817"/>
                      <a:pt x="7796" y="2877"/>
                    </a:cubicBezTo>
                    <a:cubicBezTo>
                      <a:pt x="7760" y="2997"/>
                      <a:pt x="7714" y="3157"/>
                      <a:pt x="7668" y="3318"/>
                    </a:cubicBezTo>
                    <a:cubicBezTo>
                      <a:pt x="7590" y="3591"/>
                      <a:pt x="7514" y="3863"/>
                      <a:pt x="7493" y="3938"/>
                    </a:cubicBezTo>
                    <a:cubicBezTo>
                      <a:pt x="7490" y="3940"/>
                      <a:pt x="7484" y="3944"/>
                      <a:pt x="7479" y="3947"/>
                    </a:cubicBezTo>
                    <a:cubicBezTo>
                      <a:pt x="7478" y="3947"/>
                      <a:pt x="7476" y="3946"/>
                      <a:pt x="7475" y="3945"/>
                    </a:cubicBezTo>
                    <a:cubicBezTo>
                      <a:pt x="7114" y="3772"/>
                      <a:pt x="6818" y="3716"/>
                      <a:pt x="6750" y="3705"/>
                    </a:cubicBezTo>
                    <a:cubicBezTo>
                      <a:pt x="6844" y="2818"/>
                      <a:pt x="6844" y="2818"/>
                      <a:pt x="6844" y="2818"/>
                    </a:cubicBezTo>
                    <a:cubicBezTo>
                      <a:pt x="6847" y="2810"/>
                      <a:pt x="6847" y="2810"/>
                      <a:pt x="6847" y="2810"/>
                    </a:cubicBezTo>
                    <a:cubicBezTo>
                      <a:pt x="6849" y="2813"/>
                      <a:pt x="6849" y="2813"/>
                      <a:pt x="6849" y="2813"/>
                    </a:cubicBezTo>
                    <a:cubicBezTo>
                      <a:pt x="7248" y="2537"/>
                      <a:pt x="7248" y="2537"/>
                      <a:pt x="7248" y="2537"/>
                    </a:cubicBezTo>
                    <a:cubicBezTo>
                      <a:pt x="8054" y="950"/>
                      <a:pt x="8054" y="950"/>
                      <a:pt x="8054" y="950"/>
                    </a:cubicBezTo>
                    <a:lnTo>
                      <a:pt x="8064" y="936"/>
                    </a:lnTo>
                    <a:close/>
                    <a:moveTo>
                      <a:pt x="7532" y="682"/>
                    </a:moveTo>
                    <a:cubicBezTo>
                      <a:pt x="7533" y="682"/>
                      <a:pt x="7534" y="682"/>
                      <a:pt x="7534" y="682"/>
                    </a:cubicBezTo>
                    <a:cubicBezTo>
                      <a:pt x="7686" y="719"/>
                      <a:pt x="7891" y="839"/>
                      <a:pt x="7980" y="896"/>
                    </a:cubicBezTo>
                    <a:cubicBezTo>
                      <a:pt x="8005" y="912"/>
                      <a:pt x="8021" y="922"/>
                      <a:pt x="8025" y="925"/>
                    </a:cubicBezTo>
                    <a:cubicBezTo>
                      <a:pt x="8024" y="928"/>
                      <a:pt x="8023" y="930"/>
                      <a:pt x="8022" y="933"/>
                    </a:cubicBezTo>
                    <a:cubicBezTo>
                      <a:pt x="7220" y="2513"/>
                      <a:pt x="7220" y="2513"/>
                      <a:pt x="7220" y="2513"/>
                    </a:cubicBezTo>
                    <a:cubicBezTo>
                      <a:pt x="6863" y="2760"/>
                      <a:pt x="6863" y="2760"/>
                      <a:pt x="6863" y="2760"/>
                    </a:cubicBezTo>
                    <a:cubicBezTo>
                      <a:pt x="7524" y="693"/>
                      <a:pt x="7524" y="693"/>
                      <a:pt x="7524" y="693"/>
                    </a:cubicBezTo>
                    <a:cubicBezTo>
                      <a:pt x="7527" y="689"/>
                      <a:pt x="7530" y="685"/>
                      <a:pt x="7532" y="682"/>
                    </a:cubicBezTo>
                    <a:close/>
                    <a:moveTo>
                      <a:pt x="7037" y="656"/>
                    </a:moveTo>
                    <a:cubicBezTo>
                      <a:pt x="7093" y="648"/>
                      <a:pt x="7153" y="643"/>
                      <a:pt x="7218" y="643"/>
                    </a:cubicBezTo>
                    <a:cubicBezTo>
                      <a:pt x="7301" y="643"/>
                      <a:pt x="7392" y="652"/>
                      <a:pt x="7489" y="673"/>
                    </a:cubicBezTo>
                    <a:cubicBezTo>
                      <a:pt x="7488" y="680"/>
                      <a:pt x="7487" y="690"/>
                      <a:pt x="7486" y="693"/>
                    </a:cubicBezTo>
                    <a:cubicBezTo>
                      <a:pt x="6809" y="2811"/>
                      <a:pt x="6809" y="2811"/>
                      <a:pt x="6809" y="2811"/>
                    </a:cubicBezTo>
                    <a:cubicBezTo>
                      <a:pt x="6714" y="3702"/>
                      <a:pt x="6714" y="3702"/>
                      <a:pt x="6714" y="3702"/>
                    </a:cubicBezTo>
                    <a:cubicBezTo>
                      <a:pt x="6126" y="3695"/>
                      <a:pt x="6126" y="3695"/>
                      <a:pt x="6126" y="3695"/>
                    </a:cubicBezTo>
                    <a:cubicBezTo>
                      <a:pt x="6289" y="2856"/>
                      <a:pt x="6289" y="2856"/>
                      <a:pt x="6289" y="2856"/>
                    </a:cubicBezTo>
                    <a:cubicBezTo>
                      <a:pt x="6306" y="2806"/>
                      <a:pt x="6951" y="907"/>
                      <a:pt x="7031" y="666"/>
                    </a:cubicBezTo>
                    <a:lnTo>
                      <a:pt x="7037" y="656"/>
                    </a:lnTo>
                    <a:close/>
                    <a:moveTo>
                      <a:pt x="6672" y="970"/>
                    </a:moveTo>
                    <a:cubicBezTo>
                      <a:pt x="6692" y="967"/>
                      <a:pt x="6713" y="960"/>
                      <a:pt x="6733" y="944"/>
                    </a:cubicBezTo>
                    <a:cubicBezTo>
                      <a:pt x="6744" y="936"/>
                      <a:pt x="6744" y="936"/>
                      <a:pt x="6744" y="936"/>
                    </a:cubicBezTo>
                    <a:cubicBezTo>
                      <a:pt x="6750" y="923"/>
                      <a:pt x="6750" y="923"/>
                      <a:pt x="6750" y="923"/>
                    </a:cubicBezTo>
                    <a:cubicBezTo>
                      <a:pt x="6750" y="923"/>
                      <a:pt x="6759" y="902"/>
                      <a:pt x="6774" y="872"/>
                    </a:cubicBezTo>
                    <a:cubicBezTo>
                      <a:pt x="6788" y="842"/>
                      <a:pt x="6807" y="803"/>
                      <a:pt x="6827" y="767"/>
                    </a:cubicBezTo>
                    <a:cubicBezTo>
                      <a:pt x="6827" y="766"/>
                      <a:pt x="6827" y="766"/>
                      <a:pt x="6828" y="766"/>
                    </a:cubicBezTo>
                    <a:cubicBezTo>
                      <a:pt x="6829" y="764"/>
                      <a:pt x="6831" y="761"/>
                      <a:pt x="6834" y="757"/>
                    </a:cubicBezTo>
                    <a:cubicBezTo>
                      <a:pt x="6840" y="749"/>
                      <a:pt x="6850" y="738"/>
                      <a:pt x="6864" y="726"/>
                    </a:cubicBezTo>
                    <a:cubicBezTo>
                      <a:pt x="6890" y="703"/>
                      <a:pt x="6929" y="679"/>
                      <a:pt x="6985" y="666"/>
                    </a:cubicBezTo>
                    <a:cubicBezTo>
                      <a:pt x="6986" y="688"/>
                      <a:pt x="6986" y="688"/>
                      <a:pt x="6986" y="688"/>
                    </a:cubicBezTo>
                    <a:cubicBezTo>
                      <a:pt x="6974" y="723"/>
                      <a:pt x="6957" y="774"/>
                      <a:pt x="6936" y="836"/>
                    </a:cubicBezTo>
                    <a:cubicBezTo>
                      <a:pt x="6893" y="963"/>
                      <a:pt x="6834" y="1138"/>
                      <a:pt x="6768" y="1333"/>
                    </a:cubicBezTo>
                    <a:cubicBezTo>
                      <a:pt x="6636" y="1722"/>
                      <a:pt x="6477" y="2189"/>
                      <a:pt x="6372" y="2500"/>
                    </a:cubicBezTo>
                    <a:cubicBezTo>
                      <a:pt x="6313" y="2671"/>
                      <a:pt x="6271" y="2795"/>
                      <a:pt x="6258" y="2833"/>
                    </a:cubicBezTo>
                    <a:cubicBezTo>
                      <a:pt x="6258" y="2809"/>
                      <a:pt x="6258" y="2809"/>
                      <a:pt x="6258" y="2809"/>
                    </a:cubicBezTo>
                    <a:cubicBezTo>
                      <a:pt x="6258" y="2809"/>
                      <a:pt x="6166" y="2810"/>
                      <a:pt x="6018" y="2818"/>
                    </a:cubicBezTo>
                    <a:lnTo>
                      <a:pt x="6672" y="970"/>
                    </a:lnTo>
                    <a:close/>
                    <a:moveTo>
                      <a:pt x="6484" y="1034"/>
                    </a:moveTo>
                    <a:cubicBezTo>
                      <a:pt x="6495" y="1013"/>
                      <a:pt x="6503" y="990"/>
                      <a:pt x="6511" y="968"/>
                    </a:cubicBezTo>
                    <a:cubicBezTo>
                      <a:pt x="6553" y="971"/>
                      <a:pt x="6580" y="972"/>
                      <a:pt x="6586" y="973"/>
                    </a:cubicBezTo>
                    <a:cubicBezTo>
                      <a:pt x="6598" y="973"/>
                      <a:pt x="6610" y="974"/>
                      <a:pt x="6623" y="974"/>
                    </a:cubicBezTo>
                    <a:cubicBezTo>
                      <a:pt x="6625" y="974"/>
                      <a:pt x="6626" y="974"/>
                      <a:pt x="6628" y="974"/>
                    </a:cubicBezTo>
                    <a:cubicBezTo>
                      <a:pt x="6623" y="993"/>
                      <a:pt x="6623" y="993"/>
                      <a:pt x="6623" y="993"/>
                    </a:cubicBezTo>
                    <a:cubicBezTo>
                      <a:pt x="6626" y="994"/>
                      <a:pt x="6626" y="994"/>
                      <a:pt x="6626" y="994"/>
                    </a:cubicBezTo>
                    <a:cubicBezTo>
                      <a:pt x="5979" y="2820"/>
                      <a:pt x="5979" y="2820"/>
                      <a:pt x="5979" y="2820"/>
                    </a:cubicBezTo>
                    <a:cubicBezTo>
                      <a:pt x="5824" y="2829"/>
                      <a:pt x="5619" y="2845"/>
                      <a:pt x="5397" y="2874"/>
                    </a:cubicBezTo>
                    <a:cubicBezTo>
                      <a:pt x="5392" y="2856"/>
                      <a:pt x="5392" y="2856"/>
                      <a:pt x="5392" y="2856"/>
                    </a:cubicBezTo>
                    <a:cubicBezTo>
                      <a:pt x="5401" y="2763"/>
                      <a:pt x="5424" y="2495"/>
                      <a:pt x="5424" y="2359"/>
                    </a:cubicBezTo>
                    <a:cubicBezTo>
                      <a:pt x="5424" y="2341"/>
                      <a:pt x="5424" y="2325"/>
                      <a:pt x="5423" y="2311"/>
                    </a:cubicBezTo>
                    <a:cubicBezTo>
                      <a:pt x="5418" y="2246"/>
                      <a:pt x="5393" y="2175"/>
                      <a:pt x="5369" y="2115"/>
                    </a:cubicBezTo>
                    <a:cubicBezTo>
                      <a:pt x="5344" y="2056"/>
                      <a:pt x="5320" y="2006"/>
                      <a:pt x="5316" y="1990"/>
                    </a:cubicBezTo>
                    <a:cubicBezTo>
                      <a:pt x="5307" y="1956"/>
                      <a:pt x="5274" y="1916"/>
                      <a:pt x="5259" y="1897"/>
                    </a:cubicBezTo>
                    <a:cubicBezTo>
                      <a:pt x="5331" y="1841"/>
                      <a:pt x="5381" y="1781"/>
                      <a:pt x="5410" y="1750"/>
                    </a:cubicBezTo>
                    <a:cubicBezTo>
                      <a:pt x="5449" y="1707"/>
                      <a:pt x="5461" y="1648"/>
                      <a:pt x="5461" y="1583"/>
                    </a:cubicBezTo>
                    <a:cubicBezTo>
                      <a:pt x="5461" y="1544"/>
                      <a:pt x="5457" y="1502"/>
                      <a:pt x="5452" y="1459"/>
                    </a:cubicBezTo>
                    <a:cubicBezTo>
                      <a:pt x="5441" y="1373"/>
                      <a:pt x="5409" y="1202"/>
                      <a:pt x="5393" y="1119"/>
                    </a:cubicBezTo>
                    <a:cubicBezTo>
                      <a:pt x="5645" y="1140"/>
                      <a:pt x="5967" y="1170"/>
                      <a:pt x="6174" y="1170"/>
                    </a:cubicBezTo>
                    <a:cubicBezTo>
                      <a:pt x="6217" y="1170"/>
                      <a:pt x="6255" y="1169"/>
                      <a:pt x="6288" y="1165"/>
                    </a:cubicBezTo>
                    <a:cubicBezTo>
                      <a:pt x="6322" y="1162"/>
                      <a:pt x="6349" y="1158"/>
                      <a:pt x="6377" y="1146"/>
                    </a:cubicBezTo>
                    <a:cubicBezTo>
                      <a:pt x="6430" y="1122"/>
                      <a:pt x="6463" y="1078"/>
                      <a:pt x="6484" y="1034"/>
                    </a:cubicBezTo>
                    <a:close/>
                    <a:moveTo>
                      <a:pt x="5121" y="869"/>
                    </a:moveTo>
                    <a:cubicBezTo>
                      <a:pt x="5207" y="875"/>
                      <a:pt x="5978" y="930"/>
                      <a:pt x="6366" y="958"/>
                    </a:cubicBezTo>
                    <a:cubicBezTo>
                      <a:pt x="6364" y="963"/>
                      <a:pt x="6361" y="968"/>
                      <a:pt x="6359" y="973"/>
                    </a:cubicBezTo>
                    <a:cubicBezTo>
                      <a:pt x="6345" y="1002"/>
                      <a:pt x="6332" y="1014"/>
                      <a:pt x="6321" y="1018"/>
                    </a:cubicBezTo>
                    <a:cubicBezTo>
                      <a:pt x="6320" y="1019"/>
                      <a:pt x="6301" y="1024"/>
                      <a:pt x="6275" y="1027"/>
                    </a:cubicBezTo>
                    <a:cubicBezTo>
                      <a:pt x="6249" y="1029"/>
                      <a:pt x="6214" y="1030"/>
                      <a:pt x="6174" y="1030"/>
                    </a:cubicBezTo>
                    <a:cubicBezTo>
                      <a:pt x="5906" y="1031"/>
                      <a:pt x="5406" y="975"/>
                      <a:pt x="5158" y="963"/>
                    </a:cubicBezTo>
                    <a:cubicBezTo>
                      <a:pt x="5079" y="960"/>
                      <a:pt x="4979" y="956"/>
                      <a:pt x="4868" y="956"/>
                    </a:cubicBezTo>
                    <a:cubicBezTo>
                      <a:pt x="4786" y="957"/>
                      <a:pt x="4697" y="958"/>
                      <a:pt x="4606" y="964"/>
                    </a:cubicBezTo>
                    <a:cubicBezTo>
                      <a:pt x="4814" y="932"/>
                      <a:pt x="5072" y="879"/>
                      <a:pt x="5121" y="869"/>
                    </a:cubicBezTo>
                    <a:close/>
                    <a:moveTo>
                      <a:pt x="4868" y="1096"/>
                    </a:moveTo>
                    <a:cubicBezTo>
                      <a:pt x="4976" y="1096"/>
                      <a:pt x="5074" y="1099"/>
                      <a:pt x="5152" y="1103"/>
                    </a:cubicBezTo>
                    <a:cubicBezTo>
                      <a:pt x="5210" y="1105"/>
                      <a:pt x="5284" y="1111"/>
                      <a:pt x="5366" y="1117"/>
                    </a:cubicBezTo>
                    <a:cubicBezTo>
                      <a:pt x="5381" y="1197"/>
                      <a:pt x="5415" y="1375"/>
                      <a:pt x="5426" y="1462"/>
                    </a:cubicBezTo>
                    <a:cubicBezTo>
                      <a:pt x="5431" y="1505"/>
                      <a:pt x="5435" y="1546"/>
                      <a:pt x="5435" y="1583"/>
                    </a:cubicBezTo>
                    <a:cubicBezTo>
                      <a:pt x="5435" y="1646"/>
                      <a:pt x="5423" y="1697"/>
                      <a:pt x="5390" y="1733"/>
                    </a:cubicBezTo>
                    <a:cubicBezTo>
                      <a:pt x="5332" y="1796"/>
                      <a:pt x="5194" y="1966"/>
                      <a:pt x="4958" y="2004"/>
                    </a:cubicBezTo>
                    <a:cubicBezTo>
                      <a:pt x="4747" y="2038"/>
                      <a:pt x="4301" y="2065"/>
                      <a:pt x="4188" y="2071"/>
                    </a:cubicBezTo>
                    <a:cubicBezTo>
                      <a:pt x="4185" y="2070"/>
                      <a:pt x="4185" y="2070"/>
                      <a:pt x="4185" y="2070"/>
                    </a:cubicBezTo>
                    <a:cubicBezTo>
                      <a:pt x="3850" y="1265"/>
                      <a:pt x="3850" y="1265"/>
                      <a:pt x="3850" y="1265"/>
                    </a:cubicBezTo>
                    <a:cubicBezTo>
                      <a:pt x="4128" y="1128"/>
                      <a:pt x="4546" y="1095"/>
                      <a:pt x="4868" y="1096"/>
                    </a:cubicBezTo>
                    <a:close/>
                    <a:moveTo>
                      <a:pt x="3804" y="1067"/>
                    </a:moveTo>
                    <a:cubicBezTo>
                      <a:pt x="3853" y="1033"/>
                      <a:pt x="3912" y="1000"/>
                      <a:pt x="3970" y="984"/>
                    </a:cubicBezTo>
                    <a:cubicBezTo>
                      <a:pt x="4001" y="976"/>
                      <a:pt x="4033" y="973"/>
                      <a:pt x="4069" y="973"/>
                    </a:cubicBezTo>
                    <a:cubicBezTo>
                      <a:pt x="4143" y="973"/>
                      <a:pt x="4233" y="987"/>
                      <a:pt x="4346" y="987"/>
                    </a:cubicBezTo>
                    <a:cubicBezTo>
                      <a:pt x="4152" y="1013"/>
                      <a:pt x="3960" y="1058"/>
                      <a:pt x="3796" y="1136"/>
                    </a:cubicBezTo>
                    <a:cubicBezTo>
                      <a:pt x="3788" y="1115"/>
                      <a:pt x="3788" y="1115"/>
                      <a:pt x="3788" y="1115"/>
                    </a:cubicBezTo>
                    <a:cubicBezTo>
                      <a:pt x="3779" y="1085"/>
                      <a:pt x="3779" y="1085"/>
                      <a:pt x="3779" y="1085"/>
                    </a:cubicBezTo>
                    <a:cubicBezTo>
                      <a:pt x="3787" y="1079"/>
                      <a:pt x="3795" y="1073"/>
                      <a:pt x="3804" y="1067"/>
                    </a:cubicBezTo>
                    <a:close/>
                    <a:moveTo>
                      <a:pt x="483" y="2919"/>
                    </a:moveTo>
                    <a:cubicBezTo>
                      <a:pt x="479" y="2918"/>
                      <a:pt x="460" y="2913"/>
                      <a:pt x="433" y="2906"/>
                    </a:cubicBezTo>
                    <a:cubicBezTo>
                      <a:pt x="441" y="2899"/>
                      <a:pt x="454" y="2889"/>
                      <a:pt x="466" y="2882"/>
                    </a:cubicBezTo>
                    <a:cubicBezTo>
                      <a:pt x="471" y="2878"/>
                      <a:pt x="477" y="2874"/>
                      <a:pt x="484" y="2871"/>
                    </a:cubicBezTo>
                    <a:cubicBezTo>
                      <a:pt x="483" y="2873"/>
                      <a:pt x="482" y="2874"/>
                      <a:pt x="481" y="2876"/>
                    </a:cubicBezTo>
                    <a:cubicBezTo>
                      <a:pt x="481" y="2877"/>
                      <a:pt x="480" y="2879"/>
                      <a:pt x="480" y="2881"/>
                    </a:cubicBezTo>
                    <a:cubicBezTo>
                      <a:pt x="481" y="2888"/>
                      <a:pt x="482" y="2888"/>
                      <a:pt x="482" y="2889"/>
                    </a:cubicBezTo>
                    <a:cubicBezTo>
                      <a:pt x="483" y="2890"/>
                      <a:pt x="483" y="2891"/>
                      <a:pt x="483" y="2891"/>
                    </a:cubicBezTo>
                    <a:cubicBezTo>
                      <a:pt x="484" y="2892"/>
                      <a:pt x="484" y="2892"/>
                      <a:pt x="484" y="2892"/>
                    </a:cubicBezTo>
                    <a:cubicBezTo>
                      <a:pt x="484" y="2893"/>
                      <a:pt x="485" y="2893"/>
                      <a:pt x="485" y="2894"/>
                    </a:cubicBezTo>
                    <a:cubicBezTo>
                      <a:pt x="486" y="2894"/>
                      <a:pt x="486" y="2895"/>
                      <a:pt x="487" y="2896"/>
                    </a:cubicBezTo>
                    <a:cubicBezTo>
                      <a:pt x="489" y="2898"/>
                      <a:pt x="491" y="2901"/>
                      <a:pt x="494" y="2905"/>
                    </a:cubicBezTo>
                    <a:cubicBezTo>
                      <a:pt x="496" y="2906"/>
                      <a:pt x="498" y="2909"/>
                      <a:pt x="499" y="2910"/>
                    </a:cubicBezTo>
                    <a:cubicBezTo>
                      <a:pt x="494" y="2913"/>
                      <a:pt x="489" y="2916"/>
                      <a:pt x="483" y="2919"/>
                    </a:cubicBezTo>
                    <a:close/>
                    <a:moveTo>
                      <a:pt x="609" y="2848"/>
                    </a:moveTo>
                    <a:cubicBezTo>
                      <a:pt x="608" y="2848"/>
                      <a:pt x="608" y="2848"/>
                      <a:pt x="608" y="2848"/>
                    </a:cubicBezTo>
                    <a:cubicBezTo>
                      <a:pt x="607" y="2849"/>
                      <a:pt x="607" y="2849"/>
                      <a:pt x="607" y="2849"/>
                    </a:cubicBezTo>
                    <a:cubicBezTo>
                      <a:pt x="600" y="2854"/>
                      <a:pt x="599" y="2854"/>
                      <a:pt x="533" y="2891"/>
                    </a:cubicBezTo>
                    <a:cubicBezTo>
                      <a:pt x="523" y="2880"/>
                      <a:pt x="516" y="2873"/>
                      <a:pt x="515" y="2871"/>
                    </a:cubicBezTo>
                    <a:cubicBezTo>
                      <a:pt x="514" y="2870"/>
                      <a:pt x="513" y="2869"/>
                      <a:pt x="513" y="2868"/>
                    </a:cubicBezTo>
                    <a:cubicBezTo>
                      <a:pt x="509" y="2864"/>
                      <a:pt x="505" y="2862"/>
                      <a:pt x="500" y="2862"/>
                    </a:cubicBezTo>
                    <a:cubicBezTo>
                      <a:pt x="503" y="2860"/>
                      <a:pt x="506" y="2859"/>
                      <a:pt x="506" y="2859"/>
                    </a:cubicBezTo>
                    <a:cubicBezTo>
                      <a:pt x="507" y="2859"/>
                      <a:pt x="507" y="2859"/>
                      <a:pt x="507" y="2859"/>
                    </a:cubicBezTo>
                    <a:cubicBezTo>
                      <a:pt x="1341" y="2412"/>
                      <a:pt x="1341" y="2412"/>
                      <a:pt x="1341" y="2412"/>
                    </a:cubicBezTo>
                    <a:cubicBezTo>
                      <a:pt x="2234" y="1929"/>
                      <a:pt x="2234" y="1929"/>
                      <a:pt x="2234" y="1929"/>
                    </a:cubicBezTo>
                    <a:cubicBezTo>
                      <a:pt x="2235" y="1930"/>
                      <a:pt x="2235" y="1930"/>
                      <a:pt x="2235" y="1930"/>
                    </a:cubicBezTo>
                    <a:cubicBezTo>
                      <a:pt x="2234" y="1929"/>
                      <a:pt x="2244" y="1924"/>
                      <a:pt x="2261" y="1915"/>
                    </a:cubicBezTo>
                    <a:cubicBezTo>
                      <a:pt x="2263" y="1913"/>
                      <a:pt x="2263" y="1913"/>
                      <a:pt x="2263" y="1913"/>
                    </a:cubicBezTo>
                    <a:cubicBezTo>
                      <a:pt x="2263" y="1913"/>
                      <a:pt x="2263" y="1913"/>
                      <a:pt x="2263" y="1913"/>
                    </a:cubicBezTo>
                    <a:cubicBezTo>
                      <a:pt x="2449" y="1812"/>
                      <a:pt x="3491" y="1265"/>
                      <a:pt x="3664" y="1168"/>
                    </a:cubicBezTo>
                    <a:cubicBezTo>
                      <a:pt x="3678" y="1160"/>
                      <a:pt x="3684" y="1157"/>
                      <a:pt x="3693" y="1151"/>
                    </a:cubicBezTo>
                    <a:cubicBezTo>
                      <a:pt x="3706" y="1141"/>
                      <a:pt x="3723" y="1127"/>
                      <a:pt x="3744" y="1111"/>
                    </a:cubicBezTo>
                    <a:cubicBezTo>
                      <a:pt x="3745" y="1112"/>
                      <a:pt x="3747" y="1113"/>
                      <a:pt x="3748" y="1115"/>
                    </a:cubicBezTo>
                    <a:cubicBezTo>
                      <a:pt x="3764" y="1152"/>
                      <a:pt x="3764" y="1152"/>
                      <a:pt x="3764" y="1152"/>
                    </a:cubicBezTo>
                    <a:cubicBezTo>
                      <a:pt x="3567" y="1252"/>
                      <a:pt x="2920" y="1610"/>
                      <a:pt x="2275" y="1958"/>
                    </a:cubicBezTo>
                    <a:cubicBezTo>
                      <a:pt x="1446" y="2405"/>
                      <a:pt x="609" y="2848"/>
                      <a:pt x="609" y="2848"/>
                    </a:cubicBezTo>
                    <a:close/>
                    <a:moveTo>
                      <a:pt x="1096" y="3544"/>
                    </a:moveTo>
                    <a:cubicBezTo>
                      <a:pt x="949" y="3375"/>
                      <a:pt x="773" y="3170"/>
                      <a:pt x="653" y="3031"/>
                    </a:cubicBezTo>
                    <a:cubicBezTo>
                      <a:pt x="643" y="3020"/>
                      <a:pt x="634" y="3010"/>
                      <a:pt x="626" y="3000"/>
                    </a:cubicBezTo>
                    <a:cubicBezTo>
                      <a:pt x="652" y="2984"/>
                      <a:pt x="672" y="2972"/>
                      <a:pt x="676" y="2970"/>
                    </a:cubicBezTo>
                    <a:cubicBezTo>
                      <a:pt x="690" y="2962"/>
                      <a:pt x="859" y="2870"/>
                      <a:pt x="1114" y="2732"/>
                    </a:cubicBezTo>
                    <a:cubicBezTo>
                      <a:pt x="1380" y="2589"/>
                      <a:pt x="1721" y="2405"/>
                      <a:pt x="2092" y="2204"/>
                    </a:cubicBezTo>
                    <a:cubicBezTo>
                      <a:pt x="2114" y="2184"/>
                      <a:pt x="2114" y="2184"/>
                      <a:pt x="2114" y="2184"/>
                    </a:cubicBezTo>
                    <a:cubicBezTo>
                      <a:pt x="2829" y="1797"/>
                      <a:pt x="3589" y="1397"/>
                      <a:pt x="3817" y="1281"/>
                    </a:cubicBezTo>
                    <a:cubicBezTo>
                      <a:pt x="4025" y="1781"/>
                      <a:pt x="4025" y="1781"/>
                      <a:pt x="4025" y="1781"/>
                    </a:cubicBezTo>
                    <a:cubicBezTo>
                      <a:pt x="4018" y="1786"/>
                      <a:pt x="4010" y="1792"/>
                      <a:pt x="4006" y="1796"/>
                    </a:cubicBezTo>
                    <a:cubicBezTo>
                      <a:pt x="3952" y="1810"/>
                      <a:pt x="3845" y="1839"/>
                      <a:pt x="3741" y="1872"/>
                    </a:cubicBezTo>
                    <a:cubicBezTo>
                      <a:pt x="3597" y="1917"/>
                      <a:pt x="3520" y="1971"/>
                      <a:pt x="3476" y="2028"/>
                    </a:cubicBezTo>
                    <a:cubicBezTo>
                      <a:pt x="3432" y="2086"/>
                      <a:pt x="3422" y="2146"/>
                      <a:pt x="3408" y="2198"/>
                    </a:cubicBezTo>
                    <a:cubicBezTo>
                      <a:pt x="3379" y="2307"/>
                      <a:pt x="3368" y="2528"/>
                      <a:pt x="3284" y="2643"/>
                    </a:cubicBezTo>
                    <a:cubicBezTo>
                      <a:pt x="3241" y="2704"/>
                      <a:pt x="3223" y="2721"/>
                      <a:pt x="3177" y="2746"/>
                    </a:cubicBezTo>
                    <a:cubicBezTo>
                      <a:pt x="3131" y="2771"/>
                      <a:pt x="3056" y="2803"/>
                      <a:pt x="2906" y="2886"/>
                    </a:cubicBezTo>
                    <a:cubicBezTo>
                      <a:pt x="2748" y="2974"/>
                      <a:pt x="2580" y="2993"/>
                      <a:pt x="2465" y="2993"/>
                    </a:cubicBezTo>
                    <a:cubicBezTo>
                      <a:pt x="2376" y="2993"/>
                      <a:pt x="2335" y="2982"/>
                      <a:pt x="2336" y="2982"/>
                    </a:cubicBezTo>
                    <a:cubicBezTo>
                      <a:pt x="2334" y="2982"/>
                      <a:pt x="2334" y="2982"/>
                      <a:pt x="2334" y="2982"/>
                    </a:cubicBezTo>
                    <a:cubicBezTo>
                      <a:pt x="2298" y="2976"/>
                      <a:pt x="2210" y="2958"/>
                      <a:pt x="2155" y="2935"/>
                    </a:cubicBezTo>
                    <a:cubicBezTo>
                      <a:pt x="2118" y="2919"/>
                      <a:pt x="2082" y="2892"/>
                      <a:pt x="2055" y="2868"/>
                    </a:cubicBezTo>
                    <a:cubicBezTo>
                      <a:pt x="2029" y="2845"/>
                      <a:pt x="2012" y="2826"/>
                      <a:pt x="2012" y="2826"/>
                    </a:cubicBezTo>
                    <a:cubicBezTo>
                      <a:pt x="2006" y="2819"/>
                      <a:pt x="2006" y="2819"/>
                      <a:pt x="2006" y="2819"/>
                    </a:cubicBezTo>
                    <a:cubicBezTo>
                      <a:pt x="1624" y="2980"/>
                      <a:pt x="1624" y="2980"/>
                      <a:pt x="1624" y="2980"/>
                    </a:cubicBezTo>
                    <a:cubicBezTo>
                      <a:pt x="1366" y="2761"/>
                      <a:pt x="1366" y="2761"/>
                      <a:pt x="1366" y="2761"/>
                    </a:cubicBezTo>
                    <a:cubicBezTo>
                      <a:pt x="1351" y="2780"/>
                      <a:pt x="1351" y="2780"/>
                      <a:pt x="1351" y="2780"/>
                    </a:cubicBezTo>
                    <a:cubicBezTo>
                      <a:pt x="1610" y="3000"/>
                      <a:pt x="1610" y="3000"/>
                      <a:pt x="1610" y="3000"/>
                    </a:cubicBezTo>
                    <a:cubicBezTo>
                      <a:pt x="1608" y="3032"/>
                      <a:pt x="1592" y="3200"/>
                      <a:pt x="1592" y="3201"/>
                    </a:cubicBezTo>
                    <a:cubicBezTo>
                      <a:pt x="1592" y="3201"/>
                      <a:pt x="1592" y="3201"/>
                      <a:pt x="1592" y="3201"/>
                    </a:cubicBezTo>
                    <a:cubicBezTo>
                      <a:pt x="1616" y="3203"/>
                      <a:pt x="1616" y="3203"/>
                      <a:pt x="1616" y="3203"/>
                    </a:cubicBezTo>
                    <a:cubicBezTo>
                      <a:pt x="1616" y="3202"/>
                      <a:pt x="1632" y="3041"/>
                      <a:pt x="1634" y="3003"/>
                    </a:cubicBezTo>
                    <a:cubicBezTo>
                      <a:pt x="1999" y="2848"/>
                      <a:pt x="1999" y="2848"/>
                      <a:pt x="1999" y="2848"/>
                    </a:cubicBezTo>
                    <a:cubicBezTo>
                      <a:pt x="2018" y="2868"/>
                      <a:pt x="2077" y="2929"/>
                      <a:pt x="2146" y="2957"/>
                    </a:cubicBezTo>
                    <a:cubicBezTo>
                      <a:pt x="2196" y="2978"/>
                      <a:pt x="2268" y="2994"/>
                      <a:pt x="2308" y="3003"/>
                    </a:cubicBezTo>
                    <a:cubicBezTo>
                      <a:pt x="2199" y="3546"/>
                      <a:pt x="2199" y="3546"/>
                      <a:pt x="2199" y="3546"/>
                    </a:cubicBezTo>
                    <a:cubicBezTo>
                      <a:pt x="2223" y="3551"/>
                      <a:pt x="2223" y="3551"/>
                      <a:pt x="2223" y="3551"/>
                    </a:cubicBezTo>
                    <a:cubicBezTo>
                      <a:pt x="2332" y="3007"/>
                      <a:pt x="2332" y="3007"/>
                      <a:pt x="2332" y="3007"/>
                    </a:cubicBezTo>
                    <a:cubicBezTo>
                      <a:pt x="2336" y="3008"/>
                      <a:pt x="2339" y="3008"/>
                      <a:pt x="2339" y="3008"/>
                    </a:cubicBezTo>
                    <a:cubicBezTo>
                      <a:pt x="2339" y="3009"/>
                      <a:pt x="2339" y="3009"/>
                      <a:pt x="2339" y="3009"/>
                    </a:cubicBezTo>
                    <a:cubicBezTo>
                      <a:pt x="2362" y="3013"/>
                      <a:pt x="2405" y="3019"/>
                      <a:pt x="2465" y="3019"/>
                    </a:cubicBezTo>
                    <a:cubicBezTo>
                      <a:pt x="2583" y="3019"/>
                      <a:pt x="2755" y="2999"/>
                      <a:pt x="2919" y="2909"/>
                    </a:cubicBezTo>
                    <a:cubicBezTo>
                      <a:pt x="3069" y="2826"/>
                      <a:pt x="3141" y="2795"/>
                      <a:pt x="3190" y="2769"/>
                    </a:cubicBezTo>
                    <a:cubicBezTo>
                      <a:pt x="3238" y="2743"/>
                      <a:pt x="3262" y="2719"/>
                      <a:pt x="3306" y="2659"/>
                    </a:cubicBezTo>
                    <a:cubicBezTo>
                      <a:pt x="3396" y="2532"/>
                      <a:pt x="3405" y="2309"/>
                      <a:pt x="3433" y="2205"/>
                    </a:cubicBezTo>
                    <a:cubicBezTo>
                      <a:pt x="3448" y="2151"/>
                      <a:pt x="3457" y="2096"/>
                      <a:pt x="3497" y="2044"/>
                    </a:cubicBezTo>
                    <a:cubicBezTo>
                      <a:pt x="3537" y="1992"/>
                      <a:pt x="3608" y="1941"/>
                      <a:pt x="3749" y="1897"/>
                    </a:cubicBezTo>
                    <a:cubicBezTo>
                      <a:pt x="3863" y="1861"/>
                      <a:pt x="3981" y="1830"/>
                      <a:pt x="4027" y="1818"/>
                    </a:cubicBezTo>
                    <a:cubicBezTo>
                      <a:pt x="4032" y="1818"/>
                      <a:pt x="4037" y="1819"/>
                      <a:pt x="4042" y="1819"/>
                    </a:cubicBezTo>
                    <a:cubicBezTo>
                      <a:pt x="4156" y="2094"/>
                      <a:pt x="4156" y="2094"/>
                      <a:pt x="4156" y="2094"/>
                    </a:cubicBezTo>
                    <a:cubicBezTo>
                      <a:pt x="4587" y="3034"/>
                      <a:pt x="4587" y="3034"/>
                      <a:pt x="4587" y="3034"/>
                    </a:cubicBezTo>
                    <a:cubicBezTo>
                      <a:pt x="3982" y="3193"/>
                      <a:pt x="3250" y="3434"/>
                      <a:pt x="3184" y="3461"/>
                    </a:cubicBezTo>
                    <a:cubicBezTo>
                      <a:pt x="3181" y="3463"/>
                      <a:pt x="3180" y="3462"/>
                      <a:pt x="3175" y="3466"/>
                    </a:cubicBezTo>
                    <a:cubicBezTo>
                      <a:pt x="3175" y="3466"/>
                      <a:pt x="3174" y="3467"/>
                      <a:pt x="3173" y="3468"/>
                    </a:cubicBezTo>
                    <a:cubicBezTo>
                      <a:pt x="3172" y="3468"/>
                      <a:pt x="3172" y="3468"/>
                      <a:pt x="3171" y="3468"/>
                    </a:cubicBezTo>
                    <a:cubicBezTo>
                      <a:pt x="3166" y="3471"/>
                      <a:pt x="3158" y="3474"/>
                      <a:pt x="3148" y="3477"/>
                    </a:cubicBezTo>
                    <a:cubicBezTo>
                      <a:pt x="3127" y="3485"/>
                      <a:pt x="3098" y="3496"/>
                      <a:pt x="3066" y="3510"/>
                    </a:cubicBezTo>
                    <a:cubicBezTo>
                      <a:pt x="3010" y="3535"/>
                      <a:pt x="2954" y="3571"/>
                      <a:pt x="2899" y="3618"/>
                    </a:cubicBezTo>
                    <a:cubicBezTo>
                      <a:pt x="2898" y="3616"/>
                      <a:pt x="2898" y="3616"/>
                      <a:pt x="2898" y="3616"/>
                    </a:cubicBezTo>
                    <a:cubicBezTo>
                      <a:pt x="2898" y="3616"/>
                      <a:pt x="2892" y="3621"/>
                      <a:pt x="2883" y="3629"/>
                    </a:cubicBezTo>
                    <a:cubicBezTo>
                      <a:pt x="2849" y="3621"/>
                      <a:pt x="2677" y="3581"/>
                      <a:pt x="2462" y="3569"/>
                    </a:cubicBezTo>
                    <a:cubicBezTo>
                      <a:pt x="2365" y="3563"/>
                      <a:pt x="2282" y="3560"/>
                      <a:pt x="2211" y="3560"/>
                    </a:cubicBezTo>
                    <a:cubicBezTo>
                      <a:pt x="2108" y="3560"/>
                      <a:pt x="2029" y="3566"/>
                      <a:pt x="1966" y="3580"/>
                    </a:cubicBezTo>
                    <a:cubicBezTo>
                      <a:pt x="1860" y="3604"/>
                      <a:pt x="1626" y="3699"/>
                      <a:pt x="1543" y="3735"/>
                    </a:cubicBezTo>
                    <a:cubicBezTo>
                      <a:pt x="1527" y="3742"/>
                      <a:pt x="1510" y="3750"/>
                      <a:pt x="1493" y="3758"/>
                    </a:cubicBezTo>
                    <a:cubicBezTo>
                      <a:pt x="1473" y="3737"/>
                      <a:pt x="1351" y="3603"/>
                      <a:pt x="1301" y="3545"/>
                    </a:cubicBezTo>
                    <a:cubicBezTo>
                      <a:pt x="1247" y="3481"/>
                      <a:pt x="1227" y="3444"/>
                      <a:pt x="1198" y="3395"/>
                    </a:cubicBezTo>
                    <a:cubicBezTo>
                      <a:pt x="1184" y="3372"/>
                      <a:pt x="1111" y="3242"/>
                      <a:pt x="1041" y="3119"/>
                    </a:cubicBezTo>
                    <a:cubicBezTo>
                      <a:pt x="991" y="3031"/>
                      <a:pt x="928" y="2920"/>
                      <a:pt x="910" y="2887"/>
                    </a:cubicBezTo>
                    <a:cubicBezTo>
                      <a:pt x="876" y="2905"/>
                      <a:pt x="876" y="2905"/>
                      <a:pt x="876" y="2905"/>
                    </a:cubicBezTo>
                    <a:cubicBezTo>
                      <a:pt x="919" y="2981"/>
                      <a:pt x="1139" y="3370"/>
                      <a:pt x="1166" y="3415"/>
                    </a:cubicBezTo>
                    <a:cubicBezTo>
                      <a:pt x="1194" y="3463"/>
                      <a:pt x="1216" y="3504"/>
                      <a:pt x="1272" y="3569"/>
                    </a:cubicBezTo>
                    <a:cubicBezTo>
                      <a:pt x="1318" y="3624"/>
                      <a:pt x="1424" y="3739"/>
                      <a:pt x="1457" y="3775"/>
                    </a:cubicBezTo>
                    <a:cubicBezTo>
                      <a:pt x="1403" y="3802"/>
                      <a:pt x="1354" y="3827"/>
                      <a:pt x="1345" y="3831"/>
                    </a:cubicBezTo>
                    <a:cubicBezTo>
                      <a:pt x="1310" y="3791"/>
                      <a:pt x="1212" y="3679"/>
                      <a:pt x="1096" y="3544"/>
                    </a:cubicBezTo>
                    <a:close/>
                    <a:moveTo>
                      <a:pt x="2227" y="4552"/>
                    </a:moveTo>
                    <a:cubicBezTo>
                      <a:pt x="2190" y="4552"/>
                      <a:pt x="2097" y="4548"/>
                      <a:pt x="2014" y="4512"/>
                    </a:cubicBezTo>
                    <a:cubicBezTo>
                      <a:pt x="1963" y="4490"/>
                      <a:pt x="1915" y="4458"/>
                      <a:pt x="1881" y="4432"/>
                    </a:cubicBezTo>
                    <a:cubicBezTo>
                      <a:pt x="1849" y="4407"/>
                      <a:pt x="1829" y="4387"/>
                      <a:pt x="1826" y="4385"/>
                    </a:cubicBezTo>
                    <a:cubicBezTo>
                      <a:pt x="1370" y="3861"/>
                      <a:pt x="1370" y="3861"/>
                      <a:pt x="1370" y="3861"/>
                    </a:cubicBezTo>
                    <a:cubicBezTo>
                      <a:pt x="1373" y="3859"/>
                      <a:pt x="1376" y="3858"/>
                      <a:pt x="1380" y="3856"/>
                    </a:cubicBezTo>
                    <a:cubicBezTo>
                      <a:pt x="1393" y="3850"/>
                      <a:pt x="1410" y="3841"/>
                      <a:pt x="1430" y="3831"/>
                    </a:cubicBezTo>
                    <a:cubicBezTo>
                      <a:pt x="1469" y="3812"/>
                      <a:pt x="1518" y="3788"/>
                      <a:pt x="1558" y="3770"/>
                    </a:cubicBezTo>
                    <a:cubicBezTo>
                      <a:pt x="1638" y="3734"/>
                      <a:pt x="1875" y="3639"/>
                      <a:pt x="1974" y="3617"/>
                    </a:cubicBezTo>
                    <a:cubicBezTo>
                      <a:pt x="2033" y="3604"/>
                      <a:pt x="2109" y="3598"/>
                      <a:pt x="2211" y="3598"/>
                    </a:cubicBezTo>
                    <a:cubicBezTo>
                      <a:pt x="2281" y="3598"/>
                      <a:pt x="2363" y="3601"/>
                      <a:pt x="2460" y="3606"/>
                    </a:cubicBezTo>
                    <a:cubicBezTo>
                      <a:pt x="2578" y="3613"/>
                      <a:pt x="2681" y="3627"/>
                      <a:pt x="2754" y="3640"/>
                    </a:cubicBezTo>
                    <a:cubicBezTo>
                      <a:pt x="2797" y="3648"/>
                      <a:pt x="2830" y="3655"/>
                      <a:pt x="2849" y="3660"/>
                    </a:cubicBezTo>
                    <a:cubicBezTo>
                      <a:pt x="2804" y="3701"/>
                      <a:pt x="2734" y="3769"/>
                      <a:pt x="2675" y="3843"/>
                    </a:cubicBezTo>
                    <a:cubicBezTo>
                      <a:pt x="2670" y="3850"/>
                      <a:pt x="2666" y="3856"/>
                      <a:pt x="2661" y="3862"/>
                    </a:cubicBezTo>
                    <a:cubicBezTo>
                      <a:pt x="2656" y="3862"/>
                      <a:pt x="2649" y="3862"/>
                      <a:pt x="2640" y="3862"/>
                    </a:cubicBezTo>
                    <a:cubicBezTo>
                      <a:pt x="2622" y="3862"/>
                      <a:pt x="2599" y="3862"/>
                      <a:pt x="2575" y="3862"/>
                    </a:cubicBezTo>
                    <a:cubicBezTo>
                      <a:pt x="2527" y="3862"/>
                      <a:pt x="2482" y="3862"/>
                      <a:pt x="2482" y="3862"/>
                    </a:cubicBezTo>
                    <a:cubicBezTo>
                      <a:pt x="2482" y="3887"/>
                      <a:pt x="2482" y="3887"/>
                      <a:pt x="2482" y="3887"/>
                    </a:cubicBezTo>
                    <a:cubicBezTo>
                      <a:pt x="2482" y="3887"/>
                      <a:pt x="2527" y="3887"/>
                      <a:pt x="2575" y="3887"/>
                    </a:cubicBezTo>
                    <a:cubicBezTo>
                      <a:pt x="2600" y="3887"/>
                      <a:pt x="2624" y="3887"/>
                      <a:pt x="2642" y="3887"/>
                    </a:cubicBezTo>
                    <a:cubicBezTo>
                      <a:pt x="2605" y="3935"/>
                      <a:pt x="2574" y="3980"/>
                      <a:pt x="2545" y="4027"/>
                    </a:cubicBezTo>
                    <a:cubicBezTo>
                      <a:pt x="2514" y="4075"/>
                      <a:pt x="2484" y="4125"/>
                      <a:pt x="2449" y="4191"/>
                    </a:cubicBezTo>
                    <a:cubicBezTo>
                      <a:pt x="2382" y="4318"/>
                      <a:pt x="2322" y="4453"/>
                      <a:pt x="2284" y="4553"/>
                    </a:cubicBezTo>
                    <a:cubicBezTo>
                      <a:pt x="2266" y="4553"/>
                      <a:pt x="2245" y="4552"/>
                      <a:pt x="2227" y="4552"/>
                    </a:cubicBezTo>
                    <a:close/>
                    <a:moveTo>
                      <a:pt x="2053" y="5050"/>
                    </a:moveTo>
                    <a:cubicBezTo>
                      <a:pt x="2172" y="4892"/>
                      <a:pt x="2264" y="4735"/>
                      <a:pt x="2265" y="4735"/>
                    </a:cubicBezTo>
                    <a:cubicBezTo>
                      <a:pt x="2267" y="4731"/>
                      <a:pt x="2267" y="4731"/>
                      <a:pt x="2267" y="4731"/>
                    </a:cubicBezTo>
                    <a:cubicBezTo>
                      <a:pt x="2267" y="4727"/>
                      <a:pt x="2267" y="4727"/>
                      <a:pt x="2267" y="4727"/>
                    </a:cubicBezTo>
                    <a:cubicBezTo>
                      <a:pt x="2267" y="4727"/>
                      <a:pt x="2267" y="4726"/>
                      <a:pt x="2268" y="4725"/>
                    </a:cubicBezTo>
                    <a:cubicBezTo>
                      <a:pt x="2268" y="4722"/>
                      <a:pt x="2269" y="4717"/>
                      <a:pt x="2272" y="4709"/>
                    </a:cubicBezTo>
                    <a:cubicBezTo>
                      <a:pt x="2276" y="4692"/>
                      <a:pt x="2285" y="4663"/>
                      <a:pt x="2303" y="4613"/>
                    </a:cubicBezTo>
                    <a:cubicBezTo>
                      <a:pt x="2306" y="4604"/>
                      <a:pt x="2309" y="4595"/>
                      <a:pt x="2312" y="4586"/>
                    </a:cubicBezTo>
                    <a:cubicBezTo>
                      <a:pt x="2313" y="4586"/>
                      <a:pt x="2313" y="4586"/>
                      <a:pt x="2313" y="4586"/>
                    </a:cubicBezTo>
                    <a:cubicBezTo>
                      <a:pt x="2313" y="4587"/>
                      <a:pt x="2313" y="4587"/>
                      <a:pt x="2313" y="4587"/>
                    </a:cubicBezTo>
                    <a:cubicBezTo>
                      <a:pt x="2513" y="4571"/>
                      <a:pt x="2513" y="4571"/>
                      <a:pt x="2513" y="4571"/>
                    </a:cubicBezTo>
                    <a:cubicBezTo>
                      <a:pt x="2694" y="4519"/>
                      <a:pt x="2694" y="4519"/>
                      <a:pt x="2694" y="4519"/>
                    </a:cubicBezTo>
                    <a:cubicBezTo>
                      <a:pt x="2785" y="4430"/>
                      <a:pt x="2785" y="4430"/>
                      <a:pt x="2785" y="4430"/>
                    </a:cubicBezTo>
                    <a:cubicBezTo>
                      <a:pt x="2885" y="4542"/>
                      <a:pt x="2885" y="4542"/>
                      <a:pt x="2885" y="4542"/>
                    </a:cubicBezTo>
                    <a:cubicBezTo>
                      <a:pt x="3232" y="4663"/>
                      <a:pt x="3232" y="4663"/>
                      <a:pt x="3232" y="4663"/>
                    </a:cubicBezTo>
                    <a:cubicBezTo>
                      <a:pt x="3375" y="4736"/>
                      <a:pt x="3375" y="4736"/>
                      <a:pt x="3375" y="4736"/>
                    </a:cubicBezTo>
                    <a:cubicBezTo>
                      <a:pt x="3593" y="5012"/>
                      <a:pt x="3593" y="5012"/>
                      <a:pt x="3593" y="5012"/>
                    </a:cubicBezTo>
                    <a:cubicBezTo>
                      <a:pt x="3789" y="5211"/>
                      <a:pt x="3789" y="5211"/>
                      <a:pt x="3789" y="5211"/>
                    </a:cubicBezTo>
                    <a:cubicBezTo>
                      <a:pt x="3872" y="5484"/>
                      <a:pt x="3872" y="5484"/>
                      <a:pt x="3872" y="5484"/>
                    </a:cubicBezTo>
                    <a:cubicBezTo>
                      <a:pt x="3838" y="5511"/>
                      <a:pt x="3774" y="5537"/>
                      <a:pt x="3718" y="5555"/>
                    </a:cubicBezTo>
                    <a:cubicBezTo>
                      <a:pt x="3666" y="5572"/>
                      <a:pt x="3614" y="5586"/>
                      <a:pt x="3603" y="5589"/>
                    </a:cubicBezTo>
                    <a:cubicBezTo>
                      <a:pt x="3590" y="5571"/>
                      <a:pt x="3575" y="5554"/>
                      <a:pt x="3558" y="5538"/>
                    </a:cubicBezTo>
                    <a:cubicBezTo>
                      <a:pt x="3481" y="5463"/>
                      <a:pt x="3304" y="5339"/>
                      <a:pt x="3152" y="5293"/>
                    </a:cubicBezTo>
                    <a:cubicBezTo>
                      <a:pt x="3004" y="5249"/>
                      <a:pt x="2870" y="5204"/>
                      <a:pt x="2628" y="5180"/>
                    </a:cubicBezTo>
                    <a:cubicBezTo>
                      <a:pt x="2473" y="5165"/>
                      <a:pt x="2378" y="5155"/>
                      <a:pt x="2328" y="5150"/>
                    </a:cubicBezTo>
                    <a:cubicBezTo>
                      <a:pt x="2319" y="5149"/>
                      <a:pt x="2319" y="5149"/>
                      <a:pt x="2319" y="5149"/>
                    </a:cubicBezTo>
                    <a:cubicBezTo>
                      <a:pt x="2319" y="5149"/>
                      <a:pt x="2112" y="5129"/>
                      <a:pt x="2002" y="5119"/>
                    </a:cubicBezTo>
                    <a:cubicBezTo>
                      <a:pt x="2020" y="5096"/>
                      <a:pt x="2037" y="5071"/>
                      <a:pt x="2053" y="5050"/>
                    </a:cubicBezTo>
                    <a:close/>
                    <a:moveTo>
                      <a:pt x="1984" y="5142"/>
                    </a:moveTo>
                    <a:cubicBezTo>
                      <a:pt x="2071" y="5150"/>
                      <a:pt x="2246" y="5166"/>
                      <a:pt x="2300" y="5172"/>
                    </a:cubicBezTo>
                    <a:cubicBezTo>
                      <a:pt x="2337" y="5176"/>
                      <a:pt x="2438" y="5187"/>
                      <a:pt x="2625" y="5206"/>
                    </a:cubicBezTo>
                    <a:cubicBezTo>
                      <a:pt x="2865" y="5230"/>
                      <a:pt x="2995" y="5274"/>
                      <a:pt x="3145" y="5318"/>
                    </a:cubicBezTo>
                    <a:cubicBezTo>
                      <a:pt x="3290" y="5362"/>
                      <a:pt x="3466" y="5485"/>
                      <a:pt x="3539" y="5556"/>
                    </a:cubicBezTo>
                    <a:cubicBezTo>
                      <a:pt x="3592" y="5608"/>
                      <a:pt x="3625" y="5658"/>
                      <a:pt x="3625" y="5727"/>
                    </a:cubicBezTo>
                    <a:cubicBezTo>
                      <a:pt x="3625" y="5756"/>
                      <a:pt x="3619" y="5788"/>
                      <a:pt x="3606" y="5825"/>
                    </a:cubicBezTo>
                    <a:cubicBezTo>
                      <a:pt x="3585" y="5886"/>
                      <a:pt x="3523" y="5943"/>
                      <a:pt x="3465" y="5984"/>
                    </a:cubicBezTo>
                    <a:cubicBezTo>
                      <a:pt x="3411" y="6023"/>
                      <a:pt x="3363" y="6047"/>
                      <a:pt x="3357" y="6050"/>
                    </a:cubicBezTo>
                    <a:cubicBezTo>
                      <a:pt x="3268" y="6083"/>
                      <a:pt x="3066" y="6098"/>
                      <a:pt x="2956" y="6137"/>
                    </a:cubicBezTo>
                    <a:cubicBezTo>
                      <a:pt x="2894" y="6159"/>
                      <a:pt x="2842" y="6177"/>
                      <a:pt x="2811" y="6225"/>
                    </a:cubicBezTo>
                    <a:cubicBezTo>
                      <a:pt x="2759" y="6308"/>
                      <a:pt x="2728" y="6431"/>
                      <a:pt x="2714" y="6499"/>
                    </a:cubicBezTo>
                    <a:cubicBezTo>
                      <a:pt x="2713" y="6498"/>
                      <a:pt x="2713" y="6498"/>
                      <a:pt x="2713" y="6498"/>
                    </a:cubicBezTo>
                    <a:cubicBezTo>
                      <a:pt x="2713" y="6498"/>
                      <a:pt x="2713" y="6501"/>
                      <a:pt x="2713" y="6504"/>
                    </a:cubicBezTo>
                    <a:cubicBezTo>
                      <a:pt x="2711" y="6510"/>
                      <a:pt x="2710" y="6516"/>
                      <a:pt x="2709" y="6522"/>
                    </a:cubicBezTo>
                    <a:cubicBezTo>
                      <a:pt x="2709" y="6522"/>
                      <a:pt x="2709" y="6522"/>
                      <a:pt x="2709" y="6522"/>
                    </a:cubicBezTo>
                    <a:cubicBezTo>
                      <a:pt x="1908" y="6231"/>
                      <a:pt x="1908" y="6231"/>
                      <a:pt x="1908" y="6231"/>
                    </a:cubicBezTo>
                    <a:cubicBezTo>
                      <a:pt x="1908" y="6231"/>
                      <a:pt x="1908" y="6231"/>
                      <a:pt x="1908" y="6231"/>
                    </a:cubicBezTo>
                    <a:cubicBezTo>
                      <a:pt x="1662" y="6143"/>
                      <a:pt x="1662" y="6143"/>
                      <a:pt x="1662" y="6143"/>
                    </a:cubicBezTo>
                    <a:cubicBezTo>
                      <a:pt x="1595" y="5667"/>
                      <a:pt x="1595" y="5667"/>
                      <a:pt x="1595" y="5667"/>
                    </a:cubicBezTo>
                    <a:cubicBezTo>
                      <a:pt x="1562" y="5650"/>
                      <a:pt x="1562" y="5650"/>
                      <a:pt x="1562" y="5650"/>
                    </a:cubicBezTo>
                    <a:cubicBezTo>
                      <a:pt x="1601" y="5604"/>
                      <a:pt x="1721" y="5463"/>
                      <a:pt x="1833" y="5328"/>
                    </a:cubicBezTo>
                    <a:cubicBezTo>
                      <a:pt x="1890" y="5261"/>
                      <a:pt x="1941" y="5193"/>
                      <a:pt x="1984" y="5142"/>
                    </a:cubicBezTo>
                    <a:close/>
                    <a:moveTo>
                      <a:pt x="671" y="5776"/>
                    </a:moveTo>
                    <a:cubicBezTo>
                      <a:pt x="670" y="5759"/>
                      <a:pt x="668" y="5742"/>
                      <a:pt x="664" y="5723"/>
                    </a:cubicBezTo>
                    <a:cubicBezTo>
                      <a:pt x="673" y="5721"/>
                      <a:pt x="686" y="5718"/>
                      <a:pt x="702" y="5714"/>
                    </a:cubicBezTo>
                    <a:cubicBezTo>
                      <a:pt x="733" y="5707"/>
                      <a:pt x="772" y="5699"/>
                      <a:pt x="815" y="5690"/>
                    </a:cubicBezTo>
                    <a:cubicBezTo>
                      <a:pt x="815" y="5690"/>
                      <a:pt x="931" y="5666"/>
                      <a:pt x="969" y="5658"/>
                    </a:cubicBezTo>
                    <a:cubicBezTo>
                      <a:pt x="969" y="5658"/>
                      <a:pt x="969" y="5658"/>
                      <a:pt x="969" y="5658"/>
                    </a:cubicBezTo>
                    <a:cubicBezTo>
                      <a:pt x="969" y="5658"/>
                      <a:pt x="980" y="5656"/>
                      <a:pt x="985" y="5654"/>
                    </a:cubicBezTo>
                    <a:cubicBezTo>
                      <a:pt x="995" y="5652"/>
                      <a:pt x="1010" y="5649"/>
                      <a:pt x="1027" y="5645"/>
                    </a:cubicBezTo>
                    <a:cubicBezTo>
                      <a:pt x="1061" y="5637"/>
                      <a:pt x="1107" y="5627"/>
                      <a:pt x="1153" y="5617"/>
                    </a:cubicBezTo>
                    <a:cubicBezTo>
                      <a:pt x="1230" y="5599"/>
                      <a:pt x="1307" y="5583"/>
                      <a:pt x="1329" y="5578"/>
                    </a:cubicBezTo>
                    <a:cubicBezTo>
                      <a:pt x="1561" y="5692"/>
                      <a:pt x="1561" y="5692"/>
                      <a:pt x="1561" y="5692"/>
                    </a:cubicBezTo>
                    <a:cubicBezTo>
                      <a:pt x="1625" y="6152"/>
                      <a:pt x="1625" y="6152"/>
                      <a:pt x="1625" y="6152"/>
                    </a:cubicBezTo>
                    <a:cubicBezTo>
                      <a:pt x="1625" y="6153"/>
                      <a:pt x="1624" y="6154"/>
                      <a:pt x="1623" y="6155"/>
                    </a:cubicBezTo>
                    <a:cubicBezTo>
                      <a:pt x="1620" y="6160"/>
                      <a:pt x="1615" y="6168"/>
                      <a:pt x="1609" y="6177"/>
                    </a:cubicBezTo>
                    <a:cubicBezTo>
                      <a:pt x="1597" y="6196"/>
                      <a:pt x="1581" y="6220"/>
                      <a:pt x="1565" y="6245"/>
                    </a:cubicBezTo>
                    <a:cubicBezTo>
                      <a:pt x="1534" y="6293"/>
                      <a:pt x="1503" y="6341"/>
                      <a:pt x="1503" y="6341"/>
                    </a:cubicBezTo>
                    <a:cubicBezTo>
                      <a:pt x="1456" y="6407"/>
                      <a:pt x="1456" y="6407"/>
                      <a:pt x="1456" y="6407"/>
                    </a:cubicBezTo>
                    <a:cubicBezTo>
                      <a:pt x="1126" y="6118"/>
                      <a:pt x="1126" y="6118"/>
                      <a:pt x="1126" y="6118"/>
                    </a:cubicBezTo>
                    <a:cubicBezTo>
                      <a:pt x="1024" y="6024"/>
                      <a:pt x="1024" y="6024"/>
                      <a:pt x="1024" y="6024"/>
                    </a:cubicBezTo>
                    <a:cubicBezTo>
                      <a:pt x="664" y="6028"/>
                      <a:pt x="664" y="6028"/>
                      <a:pt x="664" y="6028"/>
                    </a:cubicBezTo>
                    <a:cubicBezTo>
                      <a:pt x="669" y="5945"/>
                      <a:pt x="671" y="5854"/>
                      <a:pt x="671" y="5805"/>
                    </a:cubicBezTo>
                    <a:cubicBezTo>
                      <a:pt x="671" y="5792"/>
                      <a:pt x="671" y="5783"/>
                      <a:pt x="671" y="5776"/>
                    </a:cubicBezTo>
                    <a:close/>
                    <a:moveTo>
                      <a:pt x="678" y="4552"/>
                    </a:moveTo>
                    <a:cubicBezTo>
                      <a:pt x="686" y="4548"/>
                      <a:pt x="698" y="4542"/>
                      <a:pt x="712" y="4533"/>
                    </a:cubicBezTo>
                    <a:cubicBezTo>
                      <a:pt x="739" y="4514"/>
                      <a:pt x="775" y="4484"/>
                      <a:pt x="813" y="4435"/>
                    </a:cubicBezTo>
                    <a:cubicBezTo>
                      <a:pt x="876" y="4354"/>
                      <a:pt x="902" y="4223"/>
                      <a:pt x="909" y="4176"/>
                    </a:cubicBezTo>
                    <a:cubicBezTo>
                      <a:pt x="934" y="4190"/>
                      <a:pt x="955" y="4203"/>
                      <a:pt x="970" y="4212"/>
                    </a:cubicBezTo>
                    <a:cubicBezTo>
                      <a:pt x="1017" y="4241"/>
                      <a:pt x="1135" y="4338"/>
                      <a:pt x="1185" y="4393"/>
                    </a:cubicBezTo>
                    <a:cubicBezTo>
                      <a:pt x="1236" y="4447"/>
                      <a:pt x="1298" y="4548"/>
                      <a:pt x="1314" y="4608"/>
                    </a:cubicBezTo>
                    <a:cubicBezTo>
                      <a:pt x="1332" y="4671"/>
                      <a:pt x="1358" y="4776"/>
                      <a:pt x="1368" y="4811"/>
                    </a:cubicBezTo>
                    <a:cubicBezTo>
                      <a:pt x="1378" y="4846"/>
                      <a:pt x="1395" y="4920"/>
                      <a:pt x="1510" y="4995"/>
                    </a:cubicBezTo>
                    <a:cubicBezTo>
                      <a:pt x="1593" y="5051"/>
                      <a:pt x="1735" y="5093"/>
                      <a:pt x="1840" y="5118"/>
                    </a:cubicBezTo>
                    <a:cubicBezTo>
                      <a:pt x="1881" y="5128"/>
                      <a:pt x="1914" y="5133"/>
                      <a:pt x="1938" y="5139"/>
                    </a:cubicBezTo>
                    <a:cubicBezTo>
                      <a:pt x="1899" y="5187"/>
                      <a:pt x="1853" y="5245"/>
                      <a:pt x="1804" y="5304"/>
                    </a:cubicBezTo>
                    <a:cubicBezTo>
                      <a:pt x="1685" y="5447"/>
                      <a:pt x="1558" y="5596"/>
                      <a:pt x="1527" y="5633"/>
                    </a:cubicBezTo>
                    <a:cubicBezTo>
                      <a:pt x="1344" y="5543"/>
                      <a:pt x="1344" y="5543"/>
                      <a:pt x="1344" y="5543"/>
                    </a:cubicBezTo>
                    <a:cubicBezTo>
                      <a:pt x="875" y="4878"/>
                      <a:pt x="875" y="4878"/>
                      <a:pt x="875" y="4878"/>
                    </a:cubicBezTo>
                    <a:cubicBezTo>
                      <a:pt x="874" y="4875"/>
                      <a:pt x="874" y="4876"/>
                      <a:pt x="873" y="4875"/>
                    </a:cubicBezTo>
                    <a:cubicBezTo>
                      <a:pt x="873" y="4874"/>
                      <a:pt x="873" y="4874"/>
                      <a:pt x="873" y="4874"/>
                    </a:cubicBezTo>
                    <a:cubicBezTo>
                      <a:pt x="872" y="4873"/>
                      <a:pt x="872" y="4873"/>
                      <a:pt x="872" y="4872"/>
                    </a:cubicBezTo>
                    <a:cubicBezTo>
                      <a:pt x="871" y="4872"/>
                      <a:pt x="871" y="4870"/>
                      <a:pt x="870" y="4869"/>
                    </a:cubicBezTo>
                    <a:cubicBezTo>
                      <a:pt x="868" y="4866"/>
                      <a:pt x="865" y="4862"/>
                      <a:pt x="861" y="4857"/>
                    </a:cubicBezTo>
                    <a:cubicBezTo>
                      <a:pt x="854" y="4847"/>
                      <a:pt x="844" y="4833"/>
                      <a:pt x="831" y="4814"/>
                    </a:cubicBezTo>
                    <a:cubicBezTo>
                      <a:pt x="804" y="4777"/>
                      <a:pt x="767" y="4725"/>
                      <a:pt x="722" y="4663"/>
                    </a:cubicBezTo>
                    <a:cubicBezTo>
                      <a:pt x="700" y="4632"/>
                      <a:pt x="676" y="4598"/>
                      <a:pt x="650" y="4562"/>
                    </a:cubicBezTo>
                    <a:cubicBezTo>
                      <a:pt x="665" y="4558"/>
                      <a:pt x="669" y="4556"/>
                      <a:pt x="678" y="4552"/>
                    </a:cubicBezTo>
                    <a:close/>
                    <a:moveTo>
                      <a:pt x="611" y="5580"/>
                    </a:moveTo>
                    <a:cubicBezTo>
                      <a:pt x="564" y="5490"/>
                      <a:pt x="441" y="5309"/>
                      <a:pt x="398" y="5248"/>
                    </a:cubicBezTo>
                    <a:cubicBezTo>
                      <a:pt x="376" y="5217"/>
                      <a:pt x="337" y="5164"/>
                      <a:pt x="296" y="5114"/>
                    </a:cubicBezTo>
                    <a:cubicBezTo>
                      <a:pt x="255" y="5064"/>
                      <a:pt x="213" y="5018"/>
                      <a:pt x="181" y="4999"/>
                    </a:cubicBezTo>
                    <a:cubicBezTo>
                      <a:pt x="161" y="4987"/>
                      <a:pt x="134" y="4978"/>
                      <a:pt x="106" y="4971"/>
                    </a:cubicBezTo>
                    <a:cubicBezTo>
                      <a:pt x="144" y="4809"/>
                      <a:pt x="144" y="4809"/>
                      <a:pt x="144" y="4809"/>
                    </a:cubicBezTo>
                    <a:cubicBezTo>
                      <a:pt x="608" y="4584"/>
                      <a:pt x="608" y="4584"/>
                      <a:pt x="608" y="4584"/>
                    </a:cubicBezTo>
                    <a:cubicBezTo>
                      <a:pt x="621" y="4583"/>
                      <a:pt x="621" y="4583"/>
                      <a:pt x="621" y="4583"/>
                    </a:cubicBezTo>
                    <a:cubicBezTo>
                      <a:pt x="721" y="4724"/>
                      <a:pt x="802" y="4836"/>
                      <a:pt x="831" y="4877"/>
                    </a:cubicBezTo>
                    <a:cubicBezTo>
                      <a:pt x="830" y="4877"/>
                      <a:pt x="830" y="4877"/>
                      <a:pt x="830" y="4877"/>
                    </a:cubicBezTo>
                    <a:cubicBezTo>
                      <a:pt x="1299" y="5546"/>
                      <a:pt x="1299" y="5546"/>
                      <a:pt x="1299" y="5546"/>
                    </a:cubicBezTo>
                    <a:cubicBezTo>
                      <a:pt x="1232" y="5561"/>
                      <a:pt x="1060" y="5599"/>
                      <a:pt x="995" y="5613"/>
                    </a:cubicBezTo>
                    <a:cubicBezTo>
                      <a:pt x="993" y="5613"/>
                      <a:pt x="992" y="5614"/>
                      <a:pt x="989" y="5614"/>
                    </a:cubicBezTo>
                    <a:cubicBezTo>
                      <a:pt x="986" y="5615"/>
                      <a:pt x="982" y="5615"/>
                      <a:pt x="977" y="5616"/>
                    </a:cubicBezTo>
                    <a:cubicBezTo>
                      <a:pt x="967" y="5618"/>
                      <a:pt x="953" y="5621"/>
                      <a:pt x="937" y="5625"/>
                    </a:cubicBezTo>
                    <a:cubicBezTo>
                      <a:pt x="905" y="5632"/>
                      <a:pt x="862" y="5641"/>
                      <a:pt x="819" y="5651"/>
                    </a:cubicBezTo>
                    <a:cubicBezTo>
                      <a:pt x="751" y="5666"/>
                      <a:pt x="685" y="5681"/>
                      <a:pt x="656" y="5688"/>
                    </a:cubicBezTo>
                    <a:cubicBezTo>
                      <a:pt x="647" y="5657"/>
                      <a:pt x="633" y="5622"/>
                      <a:pt x="611" y="5580"/>
                    </a:cubicBezTo>
                    <a:close/>
                    <a:moveTo>
                      <a:pt x="825" y="6662"/>
                    </a:moveTo>
                    <a:cubicBezTo>
                      <a:pt x="824" y="6662"/>
                      <a:pt x="824" y="6662"/>
                      <a:pt x="824" y="6662"/>
                    </a:cubicBezTo>
                    <a:cubicBezTo>
                      <a:pt x="814" y="6656"/>
                      <a:pt x="811" y="6654"/>
                      <a:pt x="796" y="6645"/>
                    </a:cubicBezTo>
                    <a:cubicBezTo>
                      <a:pt x="790" y="6641"/>
                      <a:pt x="790" y="6641"/>
                      <a:pt x="790" y="6641"/>
                    </a:cubicBezTo>
                    <a:cubicBezTo>
                      <a:pt x="760" y="6623"/>
                      <a:pt x="700" y="6583"/>
                      <a:pt x="675" y="6566"/>
                    </a:cubicBezTo>
                    <a:cubicBezTo>
                      <a:pt x="659" y="6555"/>
                      <a:pt x="647" y="6546"/>
                      <a:pt x="643" y="6543"/>
                    </a:cubicBezTo>
                    <a:cubicBezTo>
                      <a:pt x="621" y="6515"/>
                      <a:pt x="601" y="6461"/>
                      <a:pt x="602" y="6436"/>
                    </a:cubicBezTo>
                    <a:cubicBezTo>
                      <a:pt x="602" y="6433"/>
                      <a:pt x="602" y="6431"/>
                      <a:pt x="602" y="6430"/>
                    </a:cubicBezTo>
                    <a:cubicBezTo>
                      <a:pt x="607" y="6400"/>
                      <a:pt x="630" y="6269"/>
                      <a:pt x="648" y="6194"/>
                    </a:cubicBezTo>
                    <a:cubicBezTo>
                      <a:pt x="654" y="6166"/>
                      <a:pt x="659" y="6113"/>
                      <a:pt x="663" y="6055"/>
                    </a:cubicBezTo>
                    <a:cubicBezTo>
                      <a:pt x="663" y="6054"/>
                      <a:pt x="663" y="6054"/>
                      <a:pt x="663" y="6054"/>
                    </a:cubicBezTo>
                    <a:cubicBezTo>
                      <a:pt x="1014" y="6051"/>
                      <a:pt x="1014" y="6051"/>
                      <a:pt x="1014" y="6051"/>
                    </a:cubicBezTo>
                    <a:cubicBezTo>
                      <a:pt x="1113" y="6142"/>
                      <a:pt x="1113" y="6142"/>
                      <a:pt x="1113" y="6142"/>
                    </a:cubicBezTo>
                    <a:cubicBezTo>
                      <a:pt x="1113" y="6142"/>
                      <a:pt x="1113" y="6142"/>
                      <a:pt x="1113" y="6142"/>
                    </a:cubicBezTo>
                    <a:cubicBezTo>
                      <a:pt x="1121" y="6149"/>
                      <a:pt x="1121" y="6149"/>
                      <a:pt x="1121" y="6149"/>
                    </a:cubicBezTo>
                    <a:cubicBezTo>
                      <a:pt x="1153" y="6178"/>
                      <a:pt x="1153" y="6178"/>
                      <a:pt x="1153" y="6178"/>
                    </a:cubicBezTo>
                    <a:cubicBezTo>
                      <a:pt x="1153" y="6178"/>
                      <a:pt x="1153" y="6178"/>
                      <a:pt x="1153" y="6178"/>
                    </a:cubicBezTo>
                    <a:cubicBezTo>
                      <a:pt x="1154" y="6177"/>
                      <a:pt x="1154" y="6177"/>
                      <a:pt x="1154" y="6177"/>
                    </a:cubicBezTo>
                    <a:cubicBezTo>
                      <a:pt x="1441" y="6427"/>
                      <a:pt x="1441" y="6427"/>
                      <a:pt x="1441" y="6427"/>
                    </a:cubicBezTo>
                    <a:cubicBezTo>
                      <a:pt x="1255" y="6682"/>
                      <a:pt x="1255" y="6682"/>
                      <a:pt x="1255" y="6682"/>
                    </a:cubicBezTo>
                    <a:cubicBezTo>
                      <a:pt x="1255" y="6682"/>
                      <a:pt x="1143" y="6826"/>
                      <a:pt x="1134" y="6839"/>
                    </a:cubicBezTo>
                    <a:cubicBezTo>
                      <a:pt x="1134" y="6839"/>
                      <a:pt x="1134" y="6839"/>
                      <a:pt x="1134" y="6839"/>
                    </a:cubicBezTo>
                    <a:cubicBezTo>
                      <a:pt x="1134" y="6840"/>
                      <a:pt x="1133" y="6841"/>
                      <a:pt x="1132" y="6842"/>
                    </a:cubicBezTo>
                    <a:cubicBezTo>
                      <a:pt x="1130" y="6844"/>
                      <a:pt x="1127" y="6847"/>
                      <a:pt x="1124" y="6851"/>
                    </a:cubicBezTo>
                    <a:lnTo>
                      <a:pt x="825" y="6662"/>
                    </a:lnTo>
                    <a:close/>
                    <a:moveTo>
                      <a:pt x="726" y="7334"/>
                    </a:moveTo>
                    <a:cubicBezTo>
                      <a:pt x="726" y="7333"/>
                      <a:pt x="733" y="7321"/>
                      <a:pt x="742" y="7309"/>
                    </a:cubicBezTo>
                    <a:cubicBezTo>
                      <a:pt x="752" y="7296"/>
                      <a:pt x="764" y="7282"/>
                      <a:pt x="776" y="7267"/>
                    </a:cubicBezTo>
                    <a:cubicBezTo>
                      <a:pt x="800" y="7240"/>
                      <a:pt x="824" y="7213"/>
                      <a:pt x="828" y="7210"/>
                    </a:cubicBezTo>
                    <a:cubicBezTo>
                      <a:pt x="829" y="7209"/>
                      <a:pt x="829" y="7209"/>
                      <a:pt x="829" y="7209"/>
                    </a:cubicBezTo>
                    <a:cubicBezTo>
                      <a:pt x="830" y="7208"/>
                      <a:pt x="830" y="7208"/>
                      <a:pt x="830" y="7208"/>
                    </a:cubicBezTo>
                    <a:cubicBezTo>
                      <a:pt x="831" y="7207"/>
                      <a:pt x="832" y="7206"/>
                      <a:pt x="833" y="7205"/>
                    </a:cubicBezTo>
                    <a:cubicBezTo>
                      <a:pt x="835" y="7203"/>
                      <a:pt x="838" y="7201"/>
                      <a:pt x="841" y="7197"/>
                    </a:cubicBezTo>
                    <a:cubicBezTo>
                      <a:pt x="848" y="7190"/>
                      <a:pt x="858" y="7179"/>
                      <a:pt x="871" y="7166"/>
                    </a:cubicBezTo>
                    <a:cubicBezTo>
                      <a:pt x="896" y="7141"/>
                      <a:pt x="929" y="7107"/>
                      <a:pt x="964" y="7070"/>
                    </a:cubicBezTo>
                    <a:cubicBezTo>
                      <a:pt x="1035" y="6997"/>
                      <a:pt x="1114" y="6915"/>
                      <a:pt x="1147" y="6881"/>
                    </a:cubicBezTo>
                    <a:cubicBezTo>
                      <a:pt x="1157" y="6870"/>
                      <a:pt x="1161" y="6866"/>
                      <a:pt x="1164" y="6862"/>
                    </a:cubicBezTo>
                    <a:cubicBezTo>
                      <a:pt x="1165" y="6861"/>
                      <a:pt x="1165" y="6862"/>
                      <a:pt x="1166" y="6860"/>
                    </a:cubicBezTo>
                    <a:cubicBezTo>
                      <a:pt x="1166" y="6860"/>
                      <a:pt x="1166" y="6860"/>
                      <a:pt x="1166" y="6859"/>
                    </a:cubicBezTo>
                    <a:cubicBezTo>
                      <a:pt x="1167" y="6858"/>
                      <a:pt x="1168" y="6857"/>
                      <a:pt x="1170" y="6854"/>
                    </a:cubicBezTo>
                    <a:cubicBezTo>
                      <a:pt x="1173" y="6850"/>
                      <a:pt x="1178" y="6844"/>
                      <a:pt x="1184" y="6836"/>
                    </a:cubicBezTo>
                    <a:cubicBezTo>
                      <a:pt x="1195" y="6822"/>
                      <a:pt x="1210" y="6802"/>
                      <a:pt x="1225" y="6783"/>
                    </a:cubicBezTo>
                    <a:cubicBezTo>
                      <a:pt x="1255" y="6744"/>
                      <a:pt x="1285" y="6705"/>
                      <a:pt x="1285" y="6705"/>
                    </a:cubicBezTo>
                    <a:cubicBezTo>
                      <a:pt x="1535" y="6362"/>
                      <a:pt x="1535" y="6362"/>
                      <a:pt x="1535" y="6362"/>
                    </a:cubicBezTo>
                    <a:cubicBezTo>
                      <a:pt x="1535" y="6362"/>
                      <a:pt x="1564" y="6317"/>
                      <a:pt x="1594" y="6269"/>
                    </a:cubicBezTo>
                    <a:cubicBezTo>
                      <a:pt x="1617" y="6234"/>
                      <a:pt x="1641" y="6197"/>
                      <a:pt x="1652" y="6179"/>
                    </a:cubicBezTo>
                    <a:cubicBezTo>
                      <a:pt x="1911" y="6271"/>
                      <a:pt x="1911" y="6271"/>
                      <a:pt x="1911" y="6271"/>
                    </a:cubicBezTo>
                    <a:cubicBezTo>
                      <a:pt x="1911" y="6271"/>
                      <a:pt x="1911" y="6271"/>
                      <a:pt x="1911" y="6271"/>
                    </a:cubicBezTo>
                    <a:cubicBezTo>
                      <a:pt x="4286" y="7132"/>
                      <a:pt x="4286" y="7132"/>
                      <a:pt x="4286" y="7132"/>
                    </a:cubicBezTo>
                    <a:cubicBezTo>
                      <a:pt x="3912" y="7620"/>
                      <a:pt x="3912" y="7620"/>
                      <a:pt x="3912" y="7620"/>
                    </a:cubicBezTo>
                    <a:cubicBezTo>
                      <a:pt x="3887" y="7618"/>
                      <a:pt x="3809" y="7615"/>
                      <a:pt x="3716" y="7615"/>
                    </a:cubicBezTo>
                    <a:cubicBezTo>
                      <a:pt x="3606" y="7615"/>
                      <a:pt x="3478" y="7620"/>
                      <a:pt x="3397" y="7640"/>
                    </a:cubicBezTo>
                    <a:cubicBezTo>
                      <a:pt x="3381" y="7642"/>
                      <a:pt x="3246" y="7658"/>
                      <a:pt x="3111" y="7778"/>
                    </a:cubicBezTo>
                    <a:cubicBezTo>
                      <a:pt x="3058" y="7825"/>
                      <a:pt x="2962" y="7893"/>
                      <a:pt x="2869" y="7974"/>
                    </a:cubicBezTo>
                    <a:cubicBezTo>
                      <a:pt x="2729" y="8097"/>
                      <a:pt x="2591" y="8234"/>
                      <a:pt x="2566" y="8258"/>
                    </a:cubicBezTo>
                    <a:cubicBezTo>
                      <a:pt x="2558" y="8262"/>
                      <a:pt x="2526" y="8280"/>
                      <a:pt x="2481" y="8301"/>
                    </a:cubicBezTo>
                    <a:cubicBezTo>
                      <a:pt x="2429" y="8325"/>
                      <a:pt x="2362" y="8352"/>
                      <a:pt x="2298" y="8365"/>
                    </a:cubicBezTo>
                    <a:cubicBezTo>
                      <a:pt x="2203" y="8386"/>
                      <a:pt x="2161" y="8398"/>
                      <a:pt x="2144" y="8403"/>
                    </a:cubicBezTo>
                    <a:cubicBezTo>
                      <a:pt x="2049" y="8333"/>
                      <a:pt x="1792" y="8139"/>
                      <a:pt x="1554" y="7961"/>
                    </a:cubicBezTo>
                    <a:cubicBezTo>
                      <a:pt x="1311" y="7778"/>
                      <a:pt x="1091" y="7614"/>
                      <a:pt x="1090" y="7614"/>
                    </a:cubicBezTo>
                    <a:cubicBezTo>
                      <a:pt x="1089" y="7611"/>
                      <a:pt x="1089" y="7611"/>
                      <a:pt x="1089" y="7611"/>
                    </a:cubicBezTo>
                    <a:cubicBezTo>
                      <a:pt x="1088" y="7612"/>
                      <a:pt x="1088" y="7612"/>
                      <a:pt x="1088" y="7612"/>
                    </a:cubicBezTo>
                    <a:cubicBezTo>
                      <a:pt x="725" y="7339"/>
                      <a:pt x="725" y="7339"/>
                      <a:pt x="725" y="7339"/>
                    </a:cubicBezTo>
                    <a:cubicBezTo>
                      <a:pt x="725" y="7337"/>
                      <a:pt x="725" y="7336"/>
                      <a:pt x="726" y="7334"/>
                    </a:cubicBezTo>
                    <a:close/>
                    <a:moveTo>
                      <a:pt x="2593" y="8825"/>
                    </a:moveTo>
                    <a:cubicBezTo>
                      <a:pt x="2593" y="8924"/>
                      <a:pt x="2590" y="9171"/>
                      <a:pt x="2590" y="9449"/>
                    </a:cubicBezTo>
                    <a:cubicBezTo>
                      <a:pt x="2590" y="9469"/>
                      <a:pt x="2590" y="9490"/>
                      <a:pt x="2590" y="9511"/>
                    </a:cubicBezTo>
                    <a:cubicBezTo>
                      <a:pt x="2565" y="9510"/>
                      <a:pt x="2517" y="9509"/>
                      <a:pt x="2463" y="9506"/>
                    </a:cubicBezTo>
                    <a:cubicBezTo>
                      <a:pt x="2385" y="9501"/>
                      <a:pt x="2294" y="9490"/>
                      <a:pt x="2254" y="9472"/>
                    </a:cubicBezTo>
                    <a:cubicBezTo>
                      <a:pt x="2169" y="9435"/>
                      <a:pt x="2015" y="9282"/>
                      <a:pt x="1967" y="9241"/>
                    </a:cubicBezTo>
                    <a:cubicBezTo>
                      <a:pt x="1966" y="9241"/>
                      <a:pt x="1637" y="8931"/>
                      <a:pt x="1562" y="8859"/>
                    </a:cubicBezTo>
                    <a:cubicBezTo>
                      <a:pt x="1497" y="8796"/>
                      <a:pt x="1319" y="8642"/>
                      <a:pt x="1266" y="8597"/>
                    </a:cubicBezTo>
                    <a:cubicBezTo>
                      <a:pt x="1266" y="8597"/>
                      <a:pt x="1266" y="8597"/>
                      <a:pt x="1266" y="8597"/>
                    </a:cubicBezTo>
                    <a:cubicBezTo>
                      <a:pt x="1262" y="8593"/>
                      <a:pt x="1262" y="8593"/>
                      <a:pt x="1262" y="8593"/>
                    </a:cubicBezTo>
                    <a:cubicBezTo>
                      <a:pt x="1261" y="8592"/>
                      <a:pt x="1110" y="8450"/>
                      <a:pt x="1022" y="8404"/>
                    </a:cubicBezTo>
                    <a:cubicBezTo>
                      <a:pt x="939" y="8362"/>
                      <a:pt x="872" y="8324"/>
                      <a:pt x="762" y="8294"/>
                    </a:cubicBezTo>
                    <a:cubicBezTo>
                      <a:pt x="654" y="8264"/>
                      <a:pt x="512" y="8229"/>
                      <a:pt x="396" y="8213"/>
                    </a:cubicBezTo>
                    <a:cubicBezTo>
                      <a:pt x="330" y="8204"/>
                      <a:pt x="283" y="8198"/>
                      <a:pt x="256" y="8194"/>
                    </a:cubicBezTo>
                    <a:cubicBezTo>
                      <a:pt x="383" y="8027"/>
                      <a:pt x="546" y="7814"/>
                      <a:pt x="573" y="7774"/>
                    </a:cubicBezTo>
                    <a:cubicBezTo>
                      <a:pt x="621" y="7704"/>
                      <a:pt x="663" y="7571"/>
                      <a:pt x="680" y="7520"/>
                    </a:cubicBezTo>
                    <a:cubicBezTo>
                      <a:pt x="698" y="7467"/>
                      <a:pt x="715" y="7405"/>
                      <a:pt x="718" y="7388"/>
                    </a:cubicBezTo>
                    <a:cubicBezTo>
                      <a:pt x="718" y="7385"/>
                      <a:pt x="718" y="7383"/>
                      <a:pt x="718" y="7381"/>
                    </a:cubicBezTo>
                    <a:cubicBezTo>
                      <a:pt x="1061" y="7640"/>
                      <a:pt x="1061" y="7640"/>
                      <a:pt x="1061" y="7640"/>
                    </a:cubicBezTo>
                    <a:cubicBezTo>
                      <a:pt x="1061" y="7640"/>
                      <a:pt x="1061" y="7640"/>
                      <a:pt x="1061" y="7640"/>
                    </a:cubicBezTo>
                    <a:cubicBezTo>
                      <a:pt x="1075" y="7650"/>
                      <a:pt x="1955" y="8308"/>
                      <a:pt x="2130" y="8438"/>
                    </a:cubicBezTo>
                    <a:cubicBezTo>
                      <a:pt x="2259" y="8534"/>
                      <a:pt x="2321" y="8639"/>
                      <a:pt x="2343" y="8685"/>
                    </a:cubicBezTo>
                    <a:cubicBezTo>
                      <a:pt x="2350" y="8701"/>
                      <a:pt x="2353" y="8709"/>
                      <a:pt x="2353" y="8709"/>
                    </a:cubicBezTo>
                    <a:cubicBezTo>
                      <a:pt x="2357" y="8719"/>
                      <a:pt x="2357" y="8719"/>
                      <a:pt x="2357" y="8719"/>
                    </a:cubicBezTo>
                    <a:cubicBezTo>
                      <a:pt x="2600" y="8754"/>
                      <a:pt x="2600" y="8754"/>
                      <a:pt x="2600" y="8754"/>
                    </a:cubicBezTo>
                    <a:cubicBezTo>
                      <a:pt x="2596" y="8776"/>
                      <a:pt x="2593" y="8800"/>
                      <a:pt x="2593" y="8825"/>
                    </a:cubicBezTo>
                    <a:close/>
                    <a:moveTo>
                      <a:pt x="2383" y="8686"/>
                    </a:moveTo>
                    <a:cubicBezTo>
                      <a:pt x="2368" y="8652"/>
                      <a:pt x="2312" y="8539"/>
                      <a:pt x="2178" y="8431"/>
                    </a:cubicBezTo>
                    <a:cubicBezTo>
                      <a:pt x="2202" y="8424"/>
                      <a:pt x="2242" y="8414"/>
                      <a:pt x="2306" y="8401"/>
                    </a:cubicBezTo>
                    <a:cubicBezTo>
                      <a:pt x="2441" y="8372"/>
                      <a:pt x="2585" y="8288"/>
                      <a:pt x="2586" y="8288"/>
                    </a:cubicBezTo>
                    <a:cubicBezTo>
                      <a:pt x="2587" y="8287"/>
                      <a:pt x="2587" y="8287"/>
                      <a:pt x="2587" y="8287"/>
                    </a:cubicBezTo>
                    <a:cubicBezTo>
                      <a:pt x="2589" y="8286"/>
                      <a:pt x="2589" y="8286"/>
                      <a:pt x="2589" y="8286"/>
                    </a:cubicBezTo>
                    <a:cubicBezTo>
                      <a:pt x="2611" y="8265"/>
                      <a:pt x="2751" y="8126"/>
                      <a:pt x="2893" y="8001"/>
                    </a:cubicBezTo>
                    <a:cubicBezTo>
                      <a:pt x="2984" y="7922"/>
                      <a:pt x="3079" y="7854"/>
                      <a:pt x="3135" y="7805"/>
                    </a:cubicBezTo>
                    <a:cubicBezTo>
                      <a:pt x="3236" y="7715"/>
                      <a:pt x="3336" y="7687"/>
                      <a:pt x="3379" y="7679"/>
                    </a:cubicBezTo>
                    <a:cubicBezTo>
                      <a:pt x="3394" y="7676"/>
                      <a:pt x="3401" y="7676"/>
                      <a:pt x="3401" y="7676"/>
                    </a:cubicBezTo>
                    <a:cubicBezTo>
                      <a:pt x="3403" y="7676"/>
                      <a:pt x="3403" y="7676"/>
                      <a:pt x="3403" y="7676"/>
                    </a:cubicBezTo>
                    <a:cubicBezTo>
                      <a:pt x="3404" y="7675"/>
                      <a:pt x="3404" y="7675"/>
                      <a:pt x="3404" y="7675"/>
                    </a:cubicBezTo>
                    <a:cubicBezTo>
                      <a:pt x="3478" y="7656"/>
                      <a:pt x="3607" y="7651"/>
                      <a:pt x="3716" y="7651"/>
                    </a:cubicBezTo>
                    <a:cubicBezTo>
                      <a:pt x="3806" y="7651"/>
                      <a:pt x="3882" y="7654"/>
                      <a:pt x="3909" y="7655"/>
                    </a:cubicBezTo>
                    <a:cubicBezTo>
                      <a:pt x="3979" y="7824"/>
                      <a:pt x="3979" y="7824"/>
                      <a:pt x="3979" y="7824"/>
                    </a:cubicBezTo>
                    <a:cubicBezTo>
                      <a:pt x="2901" y="8425"/>
                      <a:pt x="2901" y="8425"/>
                      <a:pt x="2901" y="8425"/>
                    </a:cubicBezTo>
                    <a:cubicBezTo>
                      <a:pt x="2889" y="8430"/>
                      <a:pt x="2819" y="8456"/>
                      <a:pt x="2749" y="8514"/>
                    </a:cubicBezTo>
                    <a:cubicBezTo>
                      <a:pt x="2692" y="8560"/>
                      <a:pt x="2635" y="8627"/>
                      <a:pt x="2608" y="8718"/>
                    </a:cubicBezTo>
                    <a:lnTo>
                      <a:pt x="2383" y="8686"/>
                    </a:lnTo>
                    <a:close/>
                    <a:moveTo>
                      <a:pt x="3982" y="9669"/>
                    </a:moveTo>
                    <a:cubicBezTo>
                      <a:pt x="2641" y="9900"/>
                      <a:pt x="2641" y="9900"/>
                      <a:pt x="2641" y="9900"/>
                    </a:cubicBezTo>
                    <a:cubicBezTo>
                      <a:pt x="2637" y="9899"/>
                      <a:pt x="2633" y="9898"/>
                      <a:pt x="2629" y="9897"/>
                    </a:cubicBezTo>
                    <a:cubicBezTo>
                      <a:pt x="2629" y="9845"/>
                      <a:pt x="2628" y="9793"/>
                      <a:pt x="2627" y="9739"/>
                    </a:cubicBezTo>
                    <a:cubicBezTo>
                      <a:pt x="2627" y="9671"/>
                      <a:pt x="2626" y="9603"/>
                      <a:pt x="2626" y="9535"/>
                    </a:cubicBezTo>
                    <a:cubicBezTo>
                      <a:pt x="2637" y="9532"/>
                      <a:pt x="2637" y="9532"/>
                      <a:pt x="2637" y="9532"/>
                    </a:cubicBezTo>
                    <a:cubicBezTo>
                      <a:pt x="2766" y="9518"/>
                      <a:pt x="3264" y="9464"/>
                      <a:pt x="3356" y="9445"/>
                    </a:cubicBezTo>
                    <a:cubicBezTo>
                      <a:pt x="3360" y="9475"/>
                      <a:pt x="3370" y="9538"/>
                      <a:pt x="3379" y="9603"/>
                    </a:cubicBezTo>
                    <a:cubicBezTo>
                      <a:pt x="3391" y="9685"/>
                      <a:pt x="3404" y="9766"/>
                      <a:pt x="3404" y="9766"/>
                    </a:cubicBezTo>
                    <a:cubicBezTo>
                      <a:pt x="3404" y="9766"/>
                      <a:pt x="3404" y="9766"/>
                      <a:pt x="3404" y="9766"/>
                    </a:cubicBezTo>
                    <a:cubicBezTo>
                      <a:pt x="3430" y="9762"/>
                      <a:pt x="3430" y="9762"/>
                      <a:pt x="3430" y="9762"/>
                    </a:cubicBezTo>
                    <a:cubicBezTo>
                      <a:pt x="3430" y="9762"/>
                      <a:pt x="3417" y="9681"/>
                      <a:pt x="3405" y="9599"/>
                    </a:cubicBezTo>
                    <a:cubicBezTo>
                      <a:pt x="3394" y="9522"/>
                      <a:pt x="3382" y="9441"/>
                      <a:pt x="3381" y="9429"/>
                    </a:cubicBezTo>
                    <a:cubicBezTo>
                      <a:pt x="3381" y="9429"/>
                      <a:pt x="3381" y="9428"/>
                      <a:pt x="3381" y="9428"/>
                    </a:cubicBezTo>
                    <a:cubicBezTo>
                      <a:pt x="3381" y="9427"/>
                      <a:pt x="3381" y="9427"/>
                      <a:pt x="3381" y="9426"/>
                    </a:cubicBezTo>
                    <a:cubicBezTo>
                      <a:pt x="3381" y="9426"/>
                      <a:pt x="3381" y="9426"/>
                      <a:pt x="3381" y="9426"/>
                    </a:cubicBezTo>
                    <a:cubicBezTo>
                      <a:pt x="3380" y="9425"/>
                      <a:pt x="3380" y="9424"/>
                      <a:pt x="3380" y="9423"/>
                    </a:cubicBezTo>
                    <a:cubicBezTo>
                      <a:pt x="3379" y="9421"/>
                      <a:pt x="3379" y="9421"/>
                      <a:pt x="3379" y="9421"/>
                    </a:cubicBezTo>
                    <a:cubicBezTo>
                      <a:pt x="3379" y="9421"/>
                      <a:pt x="3379" y="9421"/>
                      <a:pt x="3379" y="9421"/>
                    </a:cubicBezTo>
                    <a:cubicBezTo>
                      <a:pt x="3378" y="9419"/>
                      <a:pt x="3376" y="9415"/>
                      <a:pt x="3367" y="9414"/>
                    </a:cubicBezTo>
                    <a:cubicBezTo>
                      <a:pt x="3363" y="9414"/>
                      <a:pt x="3361" y="9416"/>
                      <a:pt x="3359" y="9417"/>
                    </a:cubicBezTo>
                    <a:cubicBezTo>
                      <a:pt x="3358" y="9418"/>
                      <a:pt x="3357" y="9418"/>
                      <a:pt x="3356" y="9418"/>
                    </a:cubicBezTo>
                    <a:cubicBezTo>
                      <a:pt x="3351" y="9419"/>
                      <a:pt x="3343" y="9421"/>
                      <a:pt x="3333" y="9423"/>
                    </a:cubicBezTo>
                    <a:cubicBezTo>
                      <a:pt x="3312" y="9426"/>
                      <a:pt x="3282" y="9430"/>
                      <a:pt x="3247" y="9435"/>
                    </a:cubicBezTo>
                    <a:cubicBezTo>
                      <a:pt x="3175" y="9444"/>
                      <a:pt x="3080" y="9456"/>
                      <a:pt x="2985" y="9467"/>
                    </a:cubicBezTo>
                    <a:cubicBezTo>
                      <a:pt x="2838" y="9483"/>
                      <a:pt x="2692" y="9499"/>
                      <a:pt x="2632" y="9506"/>
                    </a:cubicBezTo>
                    <a:cubicBezTo>
                      <a:pt x="2630" y="9506"/>
                      <a:pt x="2628" y="9505"/>
                      <a:pt x="2626" y="9505"/>
                    </a:cubicBezTo>
                    <a:cubicBezTo>
                      <a:pt x="2626" y="9486"/>
                      <a:pt x="2626" y="9467"/>
                      <a:pt x="2626" y="9449"/>
                    </a:cubicBezTo>
                    <a:cubicBezTo>
                      <a:pt x="2626" y="9171"/>
                      <a:pt x="2629" y="8925"/>
                      <a:pt x="2629" y="8825"/>
                    </a:cubicBezTo>
                    <a:cubicBezTo>
                      <a:pt x="2629" y="8625"/>
                      <a:pt x="2789" y="8519"/>
                      <a:pt x="2870" y="8478"/>
                    </a:cubicBezTo>
                    <a:cubicBezTo>
                      <a:pt x="2897" y="8465"/>
                      <a:pt x="2915" y="8459"/>
                      <a:pt x="2915" y="8459"/>
                    </a:cubicBezTo>
                    <a:cubicBezTo>
                      <a:pt x="2916" y="8458"/>
                      <a:pt x="2916" y="8458"/>
                      <a:pt x="2916" y="8458"/>
                    </a:cubicBezTo>
                    <a:cubicBezTo>
                      <a:pt x="3999" y="7854"/>
                      <a:pt x="3999" y="7854"/>
                      <a:pt x="3999" y="7854"/>
                    </a:cubicBezTo>
                    <a:cubicBezTo>
                      <a:pt x="4009" y="7862"/>
                      <a:pt x="4009" y="7862"/>
                      <a:pt x="4009" y="7862"/>
                    </a:cubicBezTo>
                    <a:cubicBezTo>
                      <a:pt x="4020" y="7881"/>
                      <a:pt x="4089" y="7994"/>
                      <a:pt x="4160" y="8117"/>
                    </a:cubicBezTo>
                    <a:cubicBezTo>
                      <a:pt x="4239" y="8251"/>
                      <a:pt x="4322" y="8399"/>
                      <a:pt x="4336" y="8443"/>
                    </a:cubicBezTo>
                    <a:cubicBezTo>
                      <a:pt x="4354" y="8496"/>
                      <a:pt x="4381" y="8627"/>
                      <a:pt x="4404" y="8743"/>
                    </a:cubicBezTo>
                    <a:cubicBezTo>
                      <a:pt x="4423" y="8838"/>
                      <a:pt x="4438" y="8923"/>
                      <a:pt x="4444" y="8953"/>
                    </a:cubicBezTo>
                    <a:cubicBezTo>
                      <a:pt x="4411" y="8976"/>
                      <a:pt x="4345" y="9022"/>
                      <a:pt x="4276" y="9070"/>
                    </a:cubicBezTo>
                    <a:cubicBezTo>
                      <a:pt x="4180" y="9139"/>
                      <a:pt x="4081" y="9209"/>
                      <a:pt x="4066" y="9223"/>
                    </a:cubicBezTo>
                    <a:cubicBezTo>
                      <a:pt x="4064" y="9224"/>
                      <a:pt x="4064" y="9223"/>
                      <a:pt x="4061" y="9228"/>
                    </a:cubicBezTo>
                    <a:cubicBezTo>
                      <a:pt x="4061" y="9228"/>
                      <a:pt x="4061" y="9228"/>
                      <a:pt x="4061" y="9228"/>
                    </a:cubicBezTo>
                    <a:cubicBezTo>
                      <a:pt x="4061" y="9228"/>
                      <a:pt x="4061" y="9228"/>
                      <a:pt x="4061" y="9228"/>
                    </a:cubicBezTo>
                    <a:cubicBezTo>
                      <a:pt x="4061" y="9228"/>
                      <a:pt x="4060" y="9228"/>
                      <a:pt x="4060" y="9228"/>
                    </a:cubicBezTo>
                    <a:cubicBezTo>
                      <a:pt x="4060" y="9229"/>
                      <a:pt x="4059" y="9230"/>
                      <a:pt x="4058" y="9232"/>
                    </a:cubicBezTo>
                    <a:cubicBezTo>
                      <a:pt x="4055" y="9235"/>
                      <a:pt x="4052" y="9239"/>
                      <a:pt x="4048" y="9245"/>
                    </a:cubicBezTo>
                    <a:cubicBezTo>
                      <a:pt x="4040" y="9258"/>
                      <a:pt x="4030" y="9276"/>
                      <a:pt x="4020" y="9303"/>
                    </a:cubicBezTo>
                    <a:cubicBezTo>
                      <a:pt x="4001" y="9358"/>
                      <a:pt x="3982" y="9448"/>
                      <a:pt x="3980" y="9601"/>
                    </a:cubicBezTo>
                    <a:cubicBezTo>
                      <a:pt x="3980" y="9605"/>
                      <a:pt x="3980" y="9609"/>
                      <a:pt x="3980" y="9613"/>
                    </a:cubicBezTo>
                    <a:cubicBezTo>
                      <a:pt x="3980" y="9633"/>
                      <a:pt x="3981" y="9651"/>
                      <a:pt x="3982" y="9669"/>
                    </a:cubicBezTo>
                    <a:close/>
                    <a:moveTo>
                      <a:pt x="4444" y="9778"/>
                    </a:moveTo>
                    <a:cubicBezTo>
                      <a:pt x="4448" y="9815"/>
                      <a:pt x="4448" y="9859"/>
                      <a:pt x="4450" y="9897"/>
                    </a:cubicBezTo>
                    <a:cubicBezTo>
                      <a:pt x="4451" y="9924"/>
                      <a:pt x="4452" y="9946"/>
                      <a:pt x="4455" y="9964"/>
                    </a:cubicBezTo>
                    <a:cubicBezTo>
                      <a:pt x="4391" y="9963"/>
                      <a:pt x="4330" y="9959"/>
                      <a:pt x="4279" y="9950"/>
                    </a:cubicBezTo>
                    <a:cubicBezTo>
                      <a:pt x="4211" y="9938"/>
                      <a:pt x="4146" y="9923"/>
                      <a:pt x="4098" y="9877"/>
                    </a:cubicBezTo>
                    <a:cubicBezTo>
                      <a:pt x="4051" y="9833"/>
                      <a:pt x="4016" y="9756"/>
                      <a:pt x="4016" y="9613"/>
                    </a:cubicBezTo>
                    <a:cubicBezTo>
                      <a:pt x="4016" y="9609"/>
                      <a:pt x="4016" y="9605"/>
                      <a:pt x="4016" y="9601"/>
                    </a:cubicBezTo>
                    <a:cubicBezTo>
                      <a:pt x="4020" y="9339"/>
                      <a:pt x="4073" y="9271"/>
                      <a:pt x="4086" y="9255"/>
                    </a:cubicBezTo>
                    <a:cubicBezTo>
                      <a:pt x="4087" y="9252"/>
                      <a:pt x="4088" y="9252"/>
                      <a:pt x="4090" y="9249"/>
                    </a:cubicBezTo>
                    <a:cubicBezTo>
                      <a:pt x="4091" y="9249"/>
                      <a:pt x="4091" y="9248"/>
                      <a:pt x="4092" y="9247"/>
                    </a:cubicBezTo>
                    <a:cubicBezTo>
                      <a:pt x="4095" y="9245"/>
                      <a:pt x="4100" y="9242"/>
                      <a:pt x="4105" y="9237"/>
                    </a:cubicBezTo>
                    <a:cubicBezTo>
                      <a:pt x="4116" y="9229"/>
                      <a:pt x="4132" y="9218"/>
                      <a:pt x="4151" y="9204"/>
                    </a:cubicBezTo>
                    <a:cubicBezTo>
                      <a:pt x="4188" y="9177"/>
                      <a:pt x="4238" y="9142"/>
                      <a:pt x="4288" y="9106"/>
                    </a:cubicBezTo>
                    <a:cubicBezTo>
                      <a:pt x="4357" y="9058"/>
                      <a:pt x="4425" y="9010"/>
                      <a:pt x="4461" y="8985"/>
                    </a:cubicBezTo>
                    <a:cubicBezTo>
                      <a:pt x="4461" y="8986"/>
                      <a:pt x="4462" y="8986"/>
                      <a:pt x="4462" y="8987"/>
                    </a:cubicBezTo>
                    <a:cubicBezTo>
                      <a:pt x="4470" y="8997"/>
                      <a:pt x="4480" y="9012"/>
                      <a:pt x="4490" y="9032"/>
                    </a:cubicBezTo>
                    <a:cubicBezTo>
                      <a:pt x="4510" y="9072"/>
                      <a:pt x="4531" y="9132"/>
                      <a:pt x="4531" y="9212"/>
                    </a:cubicBezTo>
                    <a:cubicBezTo>
                      <a:pt x="4531" y="9253"/>
                      <a:pt x="4525" y="9299"/>
                      <a:pt x="4511" y="9351"/>
                    </a:cubicBezTo>
                    <a:cubicBezTo>
                      <a:pt x="4457" y="9558"/>
                      <a:pt x="4442" y="9649"/>
                      <a:pt x="4442" y="9722"/>
                    </a:cubicBezTo>
                    <a:cubicBezTo>
                      <a:pt x="4442" y="9741"/>
                      <a:pt x="4443" y="9759"/>
                      <a:pt x="4444" y="9778"/>
                    </a:cubicBezTo>
                    <a:close/>
                    <a:moveTo>
                      <a:pt x="6000" y="9983"/>
                    </a:moveTo>
                    <a:cubicBezTo>
                      <a:pt x="5992" y="10129"/>
                      <a:pt x="5978" y="10258"/>
                      <a:pt x="5973" y="10299"/>
                    </a:cubicBezTo>
                    <a:cubicBezTo>
                      <a:pt x="5888" y="10278"/>
                      <a:pt x="5796" y="10256"/>
                      <a:pt x="5716" y="10240"/>
                    </a:cubicBezTo>
                    <a:cubicBezTo>
                      <a:pt x="5556" y="10207"/>
                      <a:pt x="5071" y="10130"/>
                      <a:pt x="5070" y="10130"/>
                    </a:cubicBezTo>
                    <a:cubicBezTo>
                      <a:pt x="5070" y="10131"/>
                      <a:pt x="5070" y="10131"/>
                      <a:pt x="5070" y="10131"/>
                    </a:cubicBezTo>
                    <a:cubicBezTo>
                      <a:pt x="5068" y="10121"/>
                      <a:pt x="5066" y="10113"/>
                      <a:pt x="5064" y="10106"/>
                    </a:cubicBezTo>
                    <a:cubicBezTo>
                      <a:pt x="5046" y="10043"/>
                      <a:pt x="5016" y="10004"/>
                      <a:pt x="4979" y="9981"/>
                    </a:cubicBezTo>
                    <a:cubicBezTo>
                      <a:pt x="4941" y="9959"/>
                      <a:pt x="4899" y="9955"/>
                      <a:pt x="4854" y="9954"/>
                    </a:cubicBezTo>
                    <a:cubicBezTo>
                      <a:pt x="4821" y="9954"/>
                      <a:pt x="4787" y="9957"/>
                      <a:pt x="4753" y="9958"/>
                    </a:cubicBezTo>
                    <a:cubicBezTo>
                      <a:pt x="4683" y="9960"/>
                      <a:pt x="4591" y="9965"/>
                      <a:pt x="4500" y="9965"/>
                    </a:cubicBezTo>
                    <a:cubicBezTo>
                      <a:pt x="4497" y="9965"/>
                      <a:pt x="4495" y="9965"/>
                      <a:pt x="4492" y="9965"/>
                    </a:cubicBezTo>
                    <a:cubicBezTo>
                      <a:pt x="4491" y="9963"/>
                      <a:pt x="4491" y="9962"/>
                      <a:pt x="4491" y="9961"/>
                    </a:cubicBezTo>
                    <a:cubicBezTo>
                      <a:pt x="4489" y="9950"/>
                      <a:pt x="4487" y="9932"/>
                      <a:pt x="4486" y="9912"/>
                    </a:cubicBezTo>
                    <a:cubicBezTo>
                      <a:pt x="4484" y="9871"/>
                      <a:pt x="4484" y="9819"/>
                      <a:pt x="4480" y="9775"/>
                    </a:cubicBezTo>
                    <a:cubicBezTo>
                      <a:pt x="4479" y="9757"/>
                      <a:pt x="4478" y="9740"/>
                      <a:pt x="4478" y="9722"/>
                    </a:cubicBezTo>
                    <a:cubicBezTo>
                      <a:pt x="4478" y="9654"/>
                      <a:pt x="4492" y="9567"/>
                      <a:pt x="4546" y="9361"/>
                    </a:cubicBezTo>
                    <a:cubicBezTo>
                      <a:pt x="4561" y="9306"/>
                      <a:pt x="4567" y="9256"/>
                      <a:pt x="4567" y="9212"/>
                    </a:cubicBezTo>
                    <a:cubicBezTo>
                      <a:pt x="4567" y="9087"/>
                      <a:pt x="4521" y="9006"/>
                      <a:pt x="4494" y="8970"/>
                    </a:cubicBezTo>
                    <a:cubicBezTo>
                      <a:pt x="5914" y="8958"/>
                      <a:pt x="5914" y="8958"/>
                      <a:pt x="5914" y="8958"/>
                    </a:cubicBezTo>
                    <a:cubicBezTo>
                      <a:pt x="5921" y="8991"/>
                      <a:pt x="5938" y="9076"/>
                      <a:pt x="5956" y="9175"/>
                    </a:cubicBezTo>
                    <a:cubicBezTo>
                      <a:pt x="5979" y="9302"/>
                      <a:pt x="6002" y="9451"/>
                      <a:pt x="6004" y="9536"/>
                    </a:cubicBezTo>
                    <a:cubicBezTo>
                      <a:pt x="6005" y="9575"/>
                      <a:pt x="6006" y="9643"/>
                      <a:pt x="6006" y="9720"/>
                    </a:cubicBezTo>
                    <a:cubicBezTo>
                      <a:pt x="6006" y="9804"/>
                      <a:pt x="6005" y="9901"/>
                      <a:pt x="6000" y="9983"/>
                    </a:cubicBezTo>
                    <a:close/>
                    <a:moveTo>
                      <a:pt x="6810" y="10478"/>
                    </a:moveTo>
                    <a:cubicBezTo>
                      <a:pt x="6794" y="10476"/>
                      <a:pt x="6778" y="10474"/>
                      <a:pt x="6763" y="10472"/>
                    </a:cubicBezTo>
                    <a:cubicBezTo>
                      <a:pt x="6384" y="10436"/>
                      <a:pt x="6308" y="10384"/>
                      <a:pt x="6194" y="10355"/>
                    </a:cubicBezTo>
                    <a:cubicBezTo>
                      <a:pt x="6147" y="10342"/>
                      <a:pt x="6081" y="10325"/>
                      <a:pt x="6009" y="10308"/>
                    </a:cubicBezTo>
                    <a:cubicBezTo>
                      <a:pt x="6013" y="10272"/>
                      <a:pt x="6028" y="10138"/>
                      <a:pt x="6036" y="9985"/>
                    </a:cubicBezTo>
                    <a:cubicBezTo>
                      <a:pt x="6041" y="9902"/>
                      <a:pt x="6043" y="9805"/>
                      <a:pt x="6043" y="9720"/>
                    </a:cubicBezTo>
                    <a:cubicBezTo>
                      <a:pt x="6043" y="9642"/>
                      <a:pt x="6041" y="9574"/>
                      <a:pt x="6040" y="9535"/>
                    </a:cubicBezTo>
                    <a:cubicBezTo>
                      <a:pt x="6040" y="9534"/>
                      <a:pt x="6040" y="9533"/>
                      <a:pt x="6040" y="9532"/>
                    </a:cubicBezTo>
                    <a:cubicBezTo>
                      <a:pt x="6047" y="9533"/>
                      <a:pt x="6053" y="9533"/>
                      <a:pt x="6061" y="9533"/>
                    </a:cubicBezTo>
                    <a:cubicBezTo>
                      <a:pt x="6109" y="9533"/>
                      <a:pt x="6188" y="9523"/>
                      <a:pt x="6244" y="9469"/>
                    </a:cubicBezTo>
                    <a:cubicBezTo>
                      <a:pt x="6282" y="9433"/>
                      <a:pt x="6299" y="9376"/>
                      <a:pt x="6302" y="9308"/>
                    </a:cubicBezTo>
                    <a:cubicBezTo>
                      <a:pt x="6309" y="9112"/>
                      <a:pt x="6310" y="8832"/>
                      <a:pt x="6310" y="8778"/>
                    </a:cubicBezTo>
                    <a:cubicBezTo>
                      <a:pt x="7542" y="8815"/>
                      <a:pt x="7542" y="8815"/>
                      <a:pt x="7542" y="8815"/>
                    </a:cubicBezTo>
                    <a:cubicBezTo>
                      <a:pt x="7522" y="8860"/>
                      <a:pt x="7496" y="8919"/>
                      <a:pt x="7466" y="8988"/>
                    </a:cubicBezTo>
                    <a:cubicBezTo>
                      <a:pt x="7394" y="9151"/>
                      <a:pt x="7298" y="9369"/>
                      <a:pt x="7202" y="9589"/>
                    </a:cubicBezTo>
                    <a:cubicBezTo>
                      <a:pt x="7026" y="9988"/>
                      <a:pt x="6848" y="10393"/>
                      <a:pt x="6810" y="10478"/>
                    </a:cubicBezTo>
                    <a:close/>
                    <a:moveTo>
                      <a:pt x="8579" y="8220"/>
                    </a:moveTo>
                    <a:cubicBezTo>
                      <a:pt x="8575" y="8270"/>
                      <a:pt x="8560" y="9045"/>
                      <a:pt x="8559" y="9115"/>
                    </a:cubicBezTo>
                    <a:cubicBezTo>
                      <a:pt x="7646" y="10772"/>
                      <a:pt x="7646" y="10772"/>
                      <a:pt x="7646" y="10772"/>
                    </a:cubicBezTo>
                    <a:cubicBezTo>
                      <a:pt x="7626" y="10760"/>
                      <a:pt x="7626" y="10760"/>
                      <a:pt x="7626" y="10760"/>
                    </a:cubicBezTo>
                    <a:cubicBezTo>
                      <a:pt x="7625" y="10760"/>
                      <a:pt x="7214" y="10545"/>
                      <a:pt x="6847" y="10484"/>
                    </a:cubicBezTo>
                    <a:cubicBezTo>
                      <a:pt x="6852" y="10471"/>
                      <a:pt x="6860" y="10454"/>
                      <a:pt x="6869" y="10432"/>
                    </a:cubicBezTo>
                    <a:cubicBezTo>
                      <a:pt x="6891" y="10383"/>
                      <a:pt x="6922" y="10314"/>
                      <a:pt x="6959" y="10230"/>
                    </a:cubicBezTo>
                    <a:cubicBezTo>
                      <a:pt x="7032" y="10063"/>
                      <a:pt x="7130" y="9841"/>
                      <a:pt x="7228" y="9619"/>
                    </a:cubicBezTo>
                    <a:cubicBezTo>
                      <a:pt x="7423" y="9175"/>
                      <a:pt x="7618" y="8731"/>
                      <a:pt x="7618" y="8731"/>
                    </a:cubicBezTo>
                    <a:cubicBezTo>
                      <a:pt x="7619" y="8729"/>
                      <a:pt x="7619" y="8729"/>
                      <a:pt x="7619" y="8729"/>
                    </a:cubicBezTo>
                    <a:cubicBezTo>
                      <a:pt x="7846" y="7342"/>
                      <a:pt x="7846" y="7342"/>
                      <a:pt x="7846" y="7342"/>
                    </a:cubicBezTo>
                    <a:cubicBezTo>
                      <a:pt x="7862" y="7353"/>
                      <a:pt x="7878" y="7365"/>
                      <a:pt x="7896" y="7378"/>
                    </a:cubicBezTo>
                    <a:cubicBezTo>
                      <a:pt x="7993" y="7446"/>
                      <a:pt x="8123" y="7537"/>
                      <a:pt x="8252" y="7627"/>
                    </a:cubicBezTo>
                    <a:cubicBezTo>
                      <a:pt x="8477" y="7784"/>
                      <a:pt x="8702" y="7940"/>
                      <a:pt x="8757" y="7978"/>
                    </a:cubicBezTo>
                    <a:cubicBezTo>
                      <a:pt x="8752" y="7981"/>
                      <a:pt x="8746" y="7983"/>
                      <a:pt x="8741" y="7985"/>
                    </a:cubicBezTo>
                    <a:cubicBezTo>
                      <a:pt x="8669" y="8019"/>
                      <a:pt x="8594" y="8089"/>
                      <a:pt x="8579" y="8220"/>
                    </a:cubicBezTo>
                    <a:close/>
                    <a:moveTo>
                      <a:pt x="11316" y="9017"/>
                    </a:moveTo>
                    <a:cubicBezTo>
                      <a:pt x="11281" y="9043"/>
                      <a:pt x="11233" y="9081"/>
                      <a:pt x="11175" y="9126"/>
                    </a:cubicBezTo>
                    <a:cubicBezTo>
                      <a:pt x="11060" y="9215"/>
                      <a:pt x="10907" y="9334"/>
                      <a:pt x="10755" y="9453"/>
                    </a:cubicBezTo>
                    <a:cubicBezTo>
                      <a:pt x="10481" y="9667"/>
                      <a:pt x="10209" y="9880"/>
                      <a:pt x="10158" y="9921"/>
                    </a:cubicBezTo>
                    <a:cubicBezTo>
                      <a:pt x="10152" y="9909"/>
                      <a:pt x="10147" y="9899"/>
                      <a:pt x="10142" y="9892"/>
                    </a:cubicBezTo>
                    <a:cubicBezTo>
                      <a:pt x="10114" y="9855"/>
                      <a:pt x="10039" y="9794"/>
                      <a:pt x="9950" y="9731"/>
                    </a:cubicBezTo>
                    <a:cubicBezTo>
                      <a:pt x="9862" y="9669"/>
                      <a:pt x="9761" y="9608"/>
                      <a:pt x="9686" y="9576"/>
                    </a:cubicBezTo>
                    <a:cubicBezTo>
                      <a:pt x="9536" y="9514"/>
                      <a:pt x="9348" y="9473"/>
                      <a:pt x="9194" y="9428"/>
                    </a:cubicBezTo>
                    <a:cubicBezTo>
                      <a:pt x="9120" y="9407"/>
                      <a:pt x="8967" y="9326"/>
                      <a:pt x="8834" y="9250"/>
                    </a:cubicBezTo>
                    <a:cubicBezTo>
                      <a:pt x="8722" y="9186"/>
                      <a:pt x="8624" y="9127"/>
                      <a:pt x="8595" y="9109"/>
                    </a:cubicBezTo>
                    <a:cubicBezTo>
                      <a:pt x="8597" y="9015"/>
                      <a:pt x="8612" y="8267"/>
                      <a:pt x="8615" y="8224"/>
                    </a:cubicBezTo>
                    <a:cubicBezTo>
                      <a:pt x="8629" y="8105"/>
                      <a:pt x="8692" y="8049"/>
                      <a:pt x="8756" y="8018"/>
                    </a:cubicBezTo>
                    <a:cubicBezTo>
                      <a:pt x="8820" y="7988"/>
                      <a:pt x="8884" y="7986"/>
                      <a:pt x="8890" y="7987"/>
                    </a:cubicBezTo>
                    <a:cubicBezTo>
                      <a:pt x="10096" y="8068"/>
                      <a:pt x="10096" y="8068"/>
                      <a:pt x="10096" y="8068"/>
                    </a:cubicBezTo>
                    <a:cubicBezTo>
                      <a:pt x="10132" y="8095"/>
                      <a:pt x="10377" y="8282"/>
                      <a:pt x="10525" y="8395"/>
                    </a:cubicBezTo>
                    <a:cubicBezTo>
                      <a:pt x="10685" y="8518"/>
                      <a:pt x="11027" y="8755"/>
                      <a:pt x="11321" y="8967"/>
                    </a:cubicBezTo>
                    <a:cubicBezTo>
                      <a:pt x="11331" y="8974"/>
                      <a:pt x="11342" y="8982"/>
                      <a:pt x="11352" y="8990"/>
                    </a:cubicBezTo>
                    <a:cubicBezTo>
                      <a:pt x="11342" y="8997"/>
                      <a:pt x="11331" y="9006"/>
                      <a:pt x="11316" y="9017"/>
                    </a:cubicBezTo>
                    <a:close/>
                    <a:moveTo>
                      <a:pt x="10102" y="8026"/>
                    </a:moveTo>
                    <a:cubicBezTo>
                      <a:pt x="10109" y="8032"/>
                      <a:pt x="10109" y="8032"/>
                      <a:pt x="10109" y="8032"/>
                    </a:cubicBezTo>
                    <a:cubicBezTo>
                      <a:pt x="10109" y="8032"/>
                      <a:pt x="10109" y="8032"/>
                      <a:pt x="10109" y="8032"/>
                    </a:cubicBezTo>
                    <a:lnTo>
                      <a:pt x="10102" y="8026"/>
                    </a:lnTo>
                    <a:close/>
                    <a:moveTo>
                      <a:pt x="11342" y="8937"/>
                    </a:moveTo>
                    <a:cubicBezTo>
                      <a:pt x="11048" y="8725"/>
                      <a:pt x="10705" y="8488"/>
                      <a:pt x="10547" y="8366"/>
                    </a:cubicBezTo>
                    <a:cubicBezTo>
                      <a:pt x="10410" y="8261"/>
                      <a:pt x="10190" y="8094"/>
                      <a:pt x="10130" y="8048"/>
                    </a:cubicBezTo>
                    <a:cubicBezTo>
                      <a:pt x="10131" y="8047"/>
                      <a:pt x="10132" y="8045"/>
                      <a:pt x="10132" y="8044"/>
                    </a:cubicBezTo>
                    <a:cubicBezTo>
                      <a:pt x="10133" y="8042"/>
                      <a:pt x="10133" y="8041"/>
                      <a:pt x="10133" y="8041"/>
                    </a:cubicBezTo>
                    <a:cubicBezTo>
                      <a:pt x="10134" y="8039"/>
                      <a:pt x="10134" y="8038"/>
                      <a:pt x="10134" y="8036"/>
                    </a:cubicBezTo>
                    <a:cubicBezTo>
                      <a:pt x="10134" y="8033"/>
                      <a:pt x="10134" y="8030"/>
                      <a:pt x="10135" y="8025"/>
                    </a:cubicBezTo>
                    <a:cubicBezTo>
                      <a:pt x="10135" y="8016"/>
                      <a:pt x="10135" y="8002"/>
                      <a:pt x="10136" y="7985"/>
                    </a:cubicBezTo>
                    <a:cubicBezTo>
                      <a:pt x="10136" y="7952"/>
                      <a:pt x="10136" y="7904"/>
                      <a:pt x="10136" y="7846"/>
                    </a:cubicBezTo>
                    <a:cubicBezTo>
                      <a:pt x="10136" y="7498"/>
                      <a:pt x="10129" y="6797"/>
                      <a:pt x="10129" y="6797"/>
                    </a:cubicBezTo>
                    <a:cubicBezTo>
                      <a:pt x="10129" y="6797"/>
                      <a:pt x="10129" y="6797"/>
                      <a:pt x="10129" y="6797"/>
                    </a:cubicBezTo>
                    <a:cubicBezTo>
                      <a:pt x="10129" y="6796"/>
                      <a:pt x="10129" y="6796"/>
                      <a:pt x="10129" y="6796"/>
                    </a:cubicBezTo>
                    <a:cubicBezTo>
                      <a:pt x="10129" y="6794"/>
                      <a:pt x="10124" y="6728"/>
                      <a:pt x="10076" y="6660"/>
                    </a:cubicBezTo>
                    <a:cubicBezTo>
                      <a:pt x="10028" y="6593"/>
                      <a:pt x="9936" y="6526"/>
                      <a:pt x="9771" y="6526"/>
                    </a:cubicBezTo>
                    <a:cubicBezTo>
                      <a:pt x="9766" y="6526"/>
                      <a:pt x="9761" y="6526"/>
                      <a:pt x="9756" y="6526"/>
                    </a:cubicBezTo>
                    <a:cubicBezTo>
                      <a:pt x="9708" y="6528"/>
                      <a:pt x="9654" y="6528"/>
                      <a:pt x="9596" y="6528"/>
                    </a:cubicBezTo>
                    <a:cubicBezTo>
                      <a:pt x="9421" y="6528"/>
                      <a:pt x="9213" y="6524"/>
                      <a:pt x="9048" y="6519"/>
                    </a:cubicBezTo>
                    <a:cubicBezTo>
                      <a:pt x="8986" y="6517"/>
                      <a:pt x="8931" y="6516"/>
                      <a:pt x="8886" y="6514"/>
                    </a:cubicBezTo>
                    <a:cubicBezTo>
                      <a:pt x="9697" y="6239"/>
                      <a:pt x="9697" y="6239"/>
                      <a:pt x="9697" y="6239"/>
                    </a:cubicBezTo>
                    <a:cubicBezTo>
                      <a:pt x="11002" y="5811"/>
                      <a:pt x="11002" y="5811"/>
                      <a:pt x="11002" y="5811"/>
                    </a:cubicBezTo>
                    <a:cubicBezTo>
                      <a:pt x="11668" y="5625"/>
                      <a:pt x="11668" y="5625"/>
                      <a:pt x="11668" y="5625"/>
                    </a:cubicBezTo>
                    <a:cubicBezTo>
                      <a:pt x="11772" y="5745"/>
                      <a:pt x="12018" y="5978"/>
                      <a:pt x="12018" y="5978"/>
                    </a:cubicBezTo>
                    <a:cubicBezTo>
                      <a:pt x="12019" y="5980"/>
                      <a:pt x="12019" y="5980"/>
                      <a:pt x="12019" y="5980"/>
                    </a:cubicBezTo>
                    <a:cubicBezTo>
                      <a:pt x="12021" y="5981"/>
                      <a:pt x="12021" y="5981"/>
                      <a:pt x="12021" y="5981"/>
                    </a:cubicBezTo>
                    <a:cubicBezTo>
                      <a:pt x="12021" y="5981"/>
                      <a:pt x="12173" y="6076"/>
                      <a:pt x="12339" y="6177"/>
                    </a:cubicBezTo>
                    <a:cubicBezTo>
                      <a:pt x="12506" y="6279"/>
                      <a:pt x="12684" y="6386"/>
                      <a:pt x="12742" y="6411"/>
                    </a:cubicBezTo>
                    <a:cubicBezTo>
                      <a:pt x="12809" y="6441"/>
                      <a:pt x="12813" y="6468"/>
                      <a:pt x="12814" y="6481"/>
                    </a:cubicBezTo>
                    <a:cubicBezTo>
                      <a:pt x="12814" y="6487"/>
                      <a:pt x="12812" y="6491"/>
                      <a:pt x="12812" y="6492"/>
                    </a:cubicBezTo>
                    <a:cubicBezTo>
                      <a:pt x="12812" y="6492"/>
                      <a:pt x="12812" y="6492"/>
                      <a:pt x="12812" y="6492"/>
                    </a:cubicBezTo>
                    <a:cubicBezTo>
                      <a:pt x="12811" y="6493"/>
                      <a:pt x="12811" y="6493"/>
                      <a:pt x="12811" y="6493"/>
                    </a:cubicBezTo>
                    <a:cubicBezTo>
                      <a:pt x="12742" y="6694"/>
                      <a:pt x="12742" y="6694"/>
                      <a:pt x="12742" y="6694"/>
                    </a:cubicBezTo>
                    <a:cubicBezTo>
                      <a:pt x="12550" y="6987"/>
                      <a:pt x="12550" y="6987"/>
                      <a:pt x="12550" y="6987"/>
                    </a:cubicBezTo>
                    <a:cubicBezTo>
                      <a:pt x="12594" y="7187"/>
                      <a:pt x="12594" y="7187"/>
                      <a:pt x="12594" y="7187"/>
                    </a:cubicBezTo>
                    <a:cubicBezTo>
                      <a:pt x="12476" y="7166"/>
                      <a:pt x="11999" y="7079"/>
                      <a:pt x="11823" y="7052"/>
                    </a:cubicBezTo>
                    <a:cubicBezTo>
                      <a:pt x="11811" y="7050"/>
                      <a:pt x="11800" y="7049"/>
                      <a:pt x="11790" y="7049"/>
                    </a:cubicBezTo>
                    <a:cubicBezTo>
                      <a:pt x="11693" y="7049"/>
                      <a:pt x="11641" y="7120"/>
                      <a:pt x="11616" y="7185"/>
                    </a:cubicBezTo>
                    <a:cubicBezTo>
                      <a:pt x="11590" y="7250"/>
                      <a:pt x="11587" y="7313"/>
                      <a:pt x="11587" y="7314"/>
                    </a:cubicBezTo>
                    <a:cubicBezTo>
                      <a:pt x="11587" y="7315"/>
                      <a:pt x="11587" y="7315"/>
                      <a:pt x="11587" y="7315"/>
                    </a:cubicBezTo>
                    <a:cubicBezTo>
                      <a:pt x="11610" y="7721"/>
                      <a:pt x="11610" y="7721"/>
                      <a:pt x="11610" y="7721"/>
                    </a:cubicBezTo>
                    <a:cubicBezTo>
                      <a:pt x="11620" y="7726"/>
                      <a:pt x="11620" y="7726"/>
                      <a:pt x="11620" y="7726"/>
                    </a:cubicBezTo>
                    <a:cubicBezTo>
                      <a:pt x="11801" y="7809"/>
                      <a:pt x="11841" y="7921"/>
                      <a:pt x="11841" y="8014"/>
                    </a:cubicBezTo>
                    <a:cubicBezTo>
                      <a:pt x="11842" y="8083"/>
                      <a:pt x="11818" y="8142"/>
                      <a:pt x="11806" y="8166"/>
                    </a:cubicBezTo>
                    <a:cubicBezTo>
                      <a:pt x="11802" y="8174"/>
                      <a:pt x="11800" y="8178"/>
                      <a:pt x="11800" y="8179"/>
                    </a:cubicBezTo>
                    <a:cubicBezTo>
                      <a:pt x="11386" y="8971"/>
                      <a:pt x="11386" y="8971"/>
                      <a:pt x="11386" y="8971"/>
                    </a:cubicBezTo>
                    <a:cubicBezTo>
                      <a:pt x="11372" y="8960"/>
                      <a:pt x="11357" y="8949"/>
                      <a:pt x="11342" y="8937"/>
                    </a:cubicBezTo>
                    <a:close/>
                    <a:moveTo>
                      <a:pt x="13766" y="8856"/>
                    </a:moveTo>
                    <a:cubicBezTo>
                      <a:pt x="13766" y="8856"/>
                      <a:pt x="13766" y="8856"/>
                      <a:pt x="13766" y="8856"/>
                    </a:cubicBezTo>
                    <a:cubicBezTo>
                      <a:pt x="13767" y="8856"/>
                      <a:pt x="13767" y="8856"/>
                      <a:pt x="13767" y="8856"/>
                    </a:cubicBezTo>
                    <a:lnTo>
                      <a:pt x="13766" y="8856"/>
                    </a:lnTo>
                    <a:close/>
                    <a:moveTo>
                      <a:pt x="15445" y="6085"/>
                    </a:moveTo>
                    <a:cubicBezTo>
                      <a:pt x="15448" y="6084"/>
                      <a:pt x="15451" y="6082"/>
                      <a:pt x="15453" y="6080"/>
                    </a:cubicBezTo>
                    <a:cubicBezTo>
                      <a:pt x="15456" y="6076"/>
                      <a:pt x="15459" y="6071"/>
                      <a:pt x="15461" y="6065"/>
                    </a:cubicBezTo>
                    <a:cubicBezTo>
                      <a:pt x="15464" y="6059"/>
                      <a:pt x="15466" y="6051"/>
                      <a:pt x="15469" y="6042"/>
                    </a:cubicBezTo>
                    <a:cubicBezTo>
                      <a:pt x="15657" y="6087"/>
                      <a:pt x="16112" y="6226"/>
                      <a:pt x="16477" y="6585"/>
                    </a:cubicBezTo>
                    <a:cubicBezTo>
                      <a:pt x="16916" y="7018"/>
                      <a:pt x="17104" y="7547"/>
                      <a:pt x="17170" y="7785"/>
                    </a:cubicBezTo>
                    <a:cubicBezTo>
                      <a:pt x="17192" y="7864"/>
                      <a:pt x="17201" y="7910"/>
                      <a:pt x="17201" y="7910"/>
                    </a:cubicBezTo>
                    <a:cubicBezTo>
                      <a:pt x="17201" y="7911"/>
                      <a:pt x="17201" y="7911"/>
                      <a:pt x="17201" y="7911"/>
                    </a:cubicBezTo>
                    <a:cubicBezTo>
                      <a:pt x="17201" y="7912"/>
                      <a:pt x="17201" y="7912"/>
                      <a:pt x="17201" y="7912"/>
                    </a:cubicBezTo>
                    <a:cubicBezTo>
                      <a:pt x="17252" y="8073"/>
                      <a:pt x="17272" y="8225"/>
                      <a:pt x="17272" y="8363"/>
                    </a:cubicBezTo>
                    <a:cubicBezTo>
                      <a:pt x="17272" y="8694"/>
                      <a:pt x="17161" y="8947"/>
                      <a:pt x="17106" y="9053"/>
                    </a:cubicBezTo>
                    <a:cubicBezTo>
                      <a:pt x="17088" y="9087"/>
                      <a:pt x="17076" y="9105"/>
                      <a:pt x="17076" y="9106"/>
                    </a:cubicBezTo>
                    <a:cubicBezTo>
                      <a:pt x="16902" y="9059"/>
                      <a:pt x="16763" y="9055"/>
                      <a:pt x="16711" y="9055"/>
                    </a:cubicBezTo>
                    <a:cubicBezTo>
                      <a:pt x="16702" y="9055"/>
                      <a:pt x="16695" y="9056"/>
                      <a:pt x="16692" y="9056"/>
                    </a:cubicBezTo>
                    <a:cubicBezTo>
                      <a:pt x="16692" y="9056"/>
                      <a:pt x="16692" y="9056"/>
                      <a:pt x="16692" y="9056"/>
                    </a:cubicBezTo>
                    <a:cubicBezTo>
                      <a:pt x="16691" y="9055"/>
                      <a:pt x="16691" y="9055"/>
                      <a:pt x="16690" y="9055"/>
                    </a:cubicBezTo>
                    <a:cubicBezTo>
                      <a:pt x="16690" y="9055"/>
                      <a:pt x="16689" y="9055"/>
                      <a:pt x="16689" y="9055"/>
                    </a:cubicBezTo>
                    <a:cubicBezTo>
                      <a:pt x="16688" y="9055"/>
                      <a:pt x="16688" y="9055"/>
                      <a:pt x="16687" y="9055"/>
                    </a:cubicBezTo>
                    <a:cubicBezTo>
                      <a:pt x="16685" y="9055"/>
                      <a:pt x="16683" y="9055"/>
                      <a:pt x="16680" y="9055"/>
                    </a:cubicBezTo>
                    <a:cubicBezTo>
                      <a:pt x="16562" y="9055"/>
                      <a:pt x="15359" y="9073"/>
                      <a:pt x="14542" y="9086"/>
                    </a:cubicBezTo>
                    <a:cubicBezTo>
                      <a:pt x="14539" y="9070"/>
                      <a:pt x="14529" y="8997"/>
                      <a:pt x="14529" y="8898"/>
                    </a:cubicBezTo>
                    <a:cubicBezTo>
                      <a:pt x="14529" y="8776"/>
                      <a:pt x="14546" y="8616"/>
                      <a:pt x="14616" y="8490"/>
                    </a:cubicBezTo>
                    <a:cubicBezTo>
                      <a:pt x="14755" y="8239"/>
                      <a:pt x="14784" y="8008"/>
                      <a:pt x="14784" y="8007"/>
                    </a:cubicBezTo>
                    <a:cubicBezTo>
                      <a:pt x="14785" y="8006"/>
                      <a:pt x="14785" y="8006"/>
                      <a:pt x="14785" y="8006"/>
                    </a:cubicBezTo>
                    <a:cubicBezTo>
                      <a:pt x="14785" y="8006"/>
                      <a:pt x="14785" y="8006"/>
                      <a:pt x="14785" y="8006"/>
                    </a:cubicBezTo>
                    <a:cubicBezTo>
                      <a:pt x="14785" y="8005"/>
                      <a:pt x="14793" y="7886"/>
                      <a:pt x="14807" y="7722"/>
                    </a:cubicBezTo>
                    <a:cubicBezTo>
                      <a:pt x="14820" y="7557"/>
                      <a:pt x="14840" y="7349"/>
                      <a:pt x="14863" y="7173"/>
                    </a:cubicBezTo>
                    <a:cubicBezTo>
                      <a:pt x="14903" y="6866"/>
                      <a:pt x="14972" y="6761"/>
                      <a:pt x="14986" y="6742"/>
                    </a:cubicBezTo>
                    <a:cubicBezTo>
                      <a:pt x="14988" y="6739"/>
                      <a:pt x="14989" y="6738"/>
                      <a:pt x="14989" y="6738"/>
                    </a:cubicBezTo>
                    <a:cubicBezTo>
                      <a:pt x="14991" y="6737"/>
                      <a:pt x="14991" y="6737"/>
                      <a:pt x="14991" y="6737"/>
                    </a:cubicBezTo>
                    <a:cubicBezTo>
                      <a:pt x="14992" y="6735"/>
                      <a:pt x="14992" y="6735"/>
                      <a:pt x="14992" y="6735"/>
                    </a:cubicBezTo>
                    <a:cubicBezTo>
                      <a:pt x="15048" y="6628"/>
                      <a:pt x="15216" y="6407"/>
                      <a:pt x="15324" y="6266"/>
                    </a:cubicBezTo>
                    <a:cubicBezTo>
                      <a:pt x="15397" y="6171"/>
                      <a:pt x="15434" y="6107"/>
                      <a:pt x="15445" y="6085"/>
                    </a:cubicBezTo>
                    <a:close/>
                    <a:moveTo>
                      <a:pt x="14189" y="5789"/>
                    </a:moveTo>
                    <a:cubicBezTo>
                      <a:pt x="15391" y="6025"/>
                      <a:pt x="15391" y="6025"/>
                      <a:pt x="15391" y="6025"/>
                    </a:cubicBezTo>
                    <a:cubicBezTo>
                      <a:pt x="15399" y="6026"/>
                      <a:pt x="15414" y="6029"/>
                      <a:pt x="15433" y="6034"/>
                    </a:cubicBezTo>
                    <a:cubicBezTo>
                      <a:pt x="15433" y="6036"/>
                      <a:pt x="15432" y="6038"/>
                      <a:pt x="15432" y="6040"/>
                    </a:cubicBezTo>
                    <a:cubicBezTo>
                      <a:pt x="15429" y="6037"/>
                      <a:pt x="15429" y="6037"/>
                      <a:pt x="15429" y="6037"/>
                    </a:cubicBezTo>
                    <a:cubicBezTo>
                      <a:pt x="15417" y="6061"/>
                      <a:pt x="15417" y="6061"/>
                      <a:pt x="15417" y="6061"/>
                    </a:cubicBezTo>
                    <a:cubicBezTo>
                      <a:pt x="15417" y="6061"/>
                      <a:pt x="15409" y="6077"/>
                      <a:pt x="15390" y="6109"/>
                    </a:cubicBezTo>
                    <a:cubicBezTo>
                      <a:pt x="15371" y="6140"/>
                      <a:pt x="15340" y="6186"/>
                      <a:pt x="15295" y="6244"/>
                    </a:cubicBezTo>
                    <a:cubicBezTo>
                      <a:pt x="15187" y="6385"/>
                      <a:pt x="15021" y="6604"/>
                      <a:pt x="14961" y="6716"/>
                    </a:cubicBezTo>
                    <a:cubicBezTo>
                      <a:pt x="14948" y="6732"/>
                      <a:pt x="14870" y="6837"/>
                      <a:pt x="14827" y="7168"/>
                    </a:cubicBezTo>
                    <a:cubicBezTo>
                      <a:pt x="14783" y="7513"/>
                      <a:pt x="14750" y="7977"/>
                      <a:pt x="14749" y="8002"/>
                    </a:cubicBezTo>
                    <a:cubicBezTo>
                      <a:pt x="14749" y="8002"/>
                      <a:pt x="14747" y="8016"/>
                      <a:pt x="14742" y="8041"/>
                    </a:cubicBezTo>
                    <a:cubicBezTo>
                      <a:pt x="14737" y="8066"/>
                      <a:pt x="14729" y="8101"/>
                      <a:pt x="14717" y="8145"/>
                    </a:cubicBezTo>
                    <a:cubicBezTo>
                      <a:pt x="14693" y="8232"/>
                      <a:pt x="14652" y="8350"/>
                      <a:pt x="14584" y="8473"/>
                    </a:cubicBezTo>
                    <a:cubicBezTo>
                      <a:pt x="14510" y="8608"/>
                      <a:pt x="14493" y="8772"/>
                      <a:pt x="14493" y="8898"/>
                    </a:cubicBezTo>
                    <a:cubicBezTo>
                      <a:pt x="14493" y="8991"/>
                      <a:pt x="14502" y="9063"/>
                      <a:pt x="14505" y="9087"/>
                    </a:cubicBezTo>
                    <a:cubicBezTo>
                      <a:pt x="14153" y="9092"/>
                      <a:pt x="13879" y="9096"/>
                      <a:pt x="13805" y="9098"/>
                    </a:cubicBezTo>
                    <a:cubicBezTo>
                      <a:pt x="13787" y="9095"/>
                      <a:pt x="13787" y="9095"/>
                      <a:pt x="13787" y="9095"/>
                    </a:cubicBezTo>
                    <a:cubicBezTo>
                      <a:pt x="13783" y="9046"/>
                      <a:pt x="13779" y="9002"/>
                      <a:pt x="13776" y="8966"/>
                    </a:cubicBezTo>
                    <a:cubicBezTo>
                      <a:pt x="13771" y="8906"/>
                      <a:pt x="13768" y="8863"/>
                      <a:pt x="13767" y="8852"/>
                    </a:cubicBezTo>
                    <a:cubicBezTo>
                      <a:pt x="13768" y="8849"/>
                      <a:pt x="13768" y="8845"/>
                      <a:pt x="13767" y="8840"/>
                    </a:cubicBezTo>
                    <a:cubicBezTo>
                      <a:pt x="13767" y="8838"/>
                      <a:pt x="13767" y="8835"/>
                      <a:pt x="13766" y="8833"/>
                    </a:cubicBezTo>
                    <a:cubicBezTo>
                      <a:pt x="13766" y="8832"/>
                      <a:pt x="13766" y="8832"/>
                      <a:pt x="13766" y="8832"/>
                    </a:cubicBezTo>
                    <a:cubicBezTo>
                      <a:pt x="13766" y="8832"/>
                      <a:pt x="13766" y="8832"/>
                      <a:pt x="13766" y="8832"/>
                    </a:cubicBezTo>
                    <a:cubicBezTo>
                      <a:pt x="13766" y="8832"/>
                      <a:pt x="13766" y="8832"/>
                      <a:pt x="13766" y="8831"/>
                    </a:cubicBezTo>
                    <a:cubicBezTo>
                      <a:pt x="13765" y="8830"/>
                      <a:pt x="13765" y="8828"/>
                      <a:pt x="13764" y="8825"/>
                    </a:cubicBezTo>
                    <a:cubicBezTo>
                      <a:pt x="13763" y="8818"/>
                      <a:pt x="13761" y="8807"/>
                      <a:pt x="13760" y="8791"/>
                    </a:cubicBezTo>
                    <a:cubicBezTo>
                      <a:pt x="13756" y="8760"/>
                      <a:pt x="13752" y="8711"/>
                      <a:pt x="13752" y="8640"/>
                    </a:cubicBezTo>
                    <a:cubicBezTo>
                      <a:pt x="13752" y="8518"/>
                      <a:pt x="13763" y="8332"/>
                      <a:pt x="13806" y="8066"/>
                    </a:cubicBezTo>
                    <a:cubicBezTo>
                      <a:pt x="13862" y="7709"/>
                      <a:pt x="14046" y="6593"/>
                      <a:pt x="14179" y="5788"/>
                    </a:cubicBezTo>
                    <a:lnTo>
                      <a:pt x="14189" y="5789"/>
                    </a:lnTo>
                    <a:close/>
                    <a:moveTo>
                      <a:pt x="13692" y="8048"/>
                    </a:moveTo>
                    <a:cubicBezTo>
                      <a:pt x="13649" y="8319"/>
                      <a:pt x="13637" y="8511"/>
                      <a:pt x="13637" y="8640"/>
                    </a:cubicBezTo>
                    <a:cubicBezTo>
                      <a:pt x="13637" y="8763"/>
                      <a:pt x="13648" y="8829"/>
                      <a:pt x="13653" y="8852"/>
                    </a:cubicBezTo>
                    <a:cubicBezTo>
                      <a:pt x="13653" y="8855"/>
                      <a:pt x="13653" y="8859"/>
                      <a:pt x="13653" y="8864"/>
                    </a:cubicBezTo>
                    <a:cubicBezTo>
                      <a:pt x="13648" y="8865"/>
                      <a:pt x="13642" y="8867"/>
                      <a:pt x="13637" y="8868"/>
                    </a:cubicBezTo>
                    <a:cubicBezTo>
                      <a:pt x="12629" y="8901"/>
                      <a:pt x="12629" y="8901"/>
                      <a:pt x="12629" y="8901"/>
                    </a:cubicBezTo>
                    <a:cubicBezTo>
                      <a:pt x="12627" y="8902"/>
                      <a:pt x="12627" y="8902"/>
                      <a:pt x="12627" y="8902"/>
                    </a:cubicBezTo>
                    <a:cubicBezTo>
                      <a:pt x="12626" y="8902"/>
                      <a:pt x="12589" y="8910"/>
                      <a:pt x="12550" y="8936"/>
                    </a:cubicBezTo>
                    <a:cubicBezTo>
                      <a:pt x="12512" y="8962"/>
                      <a:pt x="12472" y="9010"/>
                      <a:pt x="12472" y="9084"/>
                    </a:cubicBezTo>
                    <a:cubicBezTo>
                      <a:pt x="12472" y="9086"/>
                      <a:pt x="12473" y="9088"/>
                      <a:pt x="12473" y="9091"/>
                    </a:cubicBezTo>
                    <a:cubicBezTo>
                      <a:pt x="12473" y="9100"/>
                      <a:pt x="12473" y="9108"/>
                      <a:pt x="12473" y="9117"/>
                    </a:cubicBezTo>
                    <a:cubicBezTo>
                      <a:pt x="12473" y="9173"/>
                      <a:pt x="12466" y="9200"/>
                      <a:pt x="12448" y="9221"/>
                    </a:cubicBezTo>
                    <a:cubicBezTo>
                      <a:pt x="12430" y="9242"/>
                      <a:pt x="12395" y="9260"/>
                      <a:pt x="12338" y="9289"/>
                    </a:cubicBezTo>
                    <a:cubicBezTo>
                      <a:pt x="12278" y="9319"/>
                      <a:pt x="12143" y="9374"/>
                      <a:pt x="12024" y="9421"/>
                    </a:cubicBezTo>
                    <a:cubicBezTo>
                      <a:pt x="11904" y="9468"/>
                      <a:pt x="11801" y="9507"/>
                      <a:pt x="11800" y="9507"/>
                    </a:cubicBezTo>
                    <a:cubicBezTo>
                      <a:pt x="11796" y="9509"/>
                      <a:pt x="11796" y="9509"/>
                      <a:pt x="11796" y="9509"/>
                    </a:cubicBezTo>
                    <a:cubicBezTo>
                      <a:pt x="11740" y="9377"/>
                      <a:pt x="11740" y="9377"/>
                      <a:pt x="11740" y="9377"/>
                    </a:cubicBezTo>
                    <a:cubicBezTo>
                      <a:pt x="11739" y="9375"/>
                      <a:pt x="11655" y="9189"/>
                      <a:pt x="11415" y="8994"/>
                    </a:cubicBezTo>
                    <a:cubicBezTo>
                      <a:pt x="11831" y="8196"/>
                      <a:pt x="11831" y="8196"/>
                      <a:pt x="11831" y="8196"/>
                    </a:cubicBezTo>
                    <a:cubicBezTo>
                      <a:pt x="11832" y="8195"/>
                      <a:pt x="11877" y="8117"/>
                      <a:pt x="11878" y="8014"/>
                    </a:cubicBezTo>
                    <a:cubicBezTo>
                      <a:pt x="11878" y="7911"/>
                      <a:pt x="11828" y="7783"/>
                      <a:pt x="11645" y="7698"/>
                    </a:cubicBezTo>
                    <a:cubicBezTo>
                      <a:pt x="11623" y="7315"/>
                      <a:pt x="11623" y="7315"/>
                      <a:pt x="11623" y="7315"/>
                    </a:cubicBezTo>
                    <a:cubicBezTo>
                      <a:pt x="11624" y="7312"/>
                      <a:pt x="11624" y="7299"/>
                      <a:pt x="11628" y="7279"/>
                    </a:cubicBezTo>
                    <a:cubicBezTo>
                      <a:pt x="11631" y="7257"/>
                      <a:pt x="11638" y="7227"/>
                      <a:pt x="11650" y="7198"/>
                    </a:cubicBezTo>
                    <a:cubicBezTo>
                      <a:pt x="11674" y="7139"/>
                      <a:pt x="11714" y="7085"/>
                      <a:pt x="11790" y="7085"/>
                    </a:cubicBezTo>
                    <a:cubicBezTo>
                      <a:pt x="11798" y="7085"/>
                      <a:pt x="11808" y="7086"/>
                      <a:pt x="11817" y="7088"/>
                    </a:cubicBezTo>
                    <a:cubicBezTo>
                      <a:pt x="11918" y="7103"/>
                      <a:pt x="12117" y="7138"/>
                      <a:pt x="12291" y="7169"/>
                    </a:cubicBezTo>
                    <a:cubicBezTo>
                      <a:pt x="12465" y="7200"/>
                      <a:pt x="12614" y="7228"/>
                      <a:pt x="12614" y="7228"/>
                    </a:cubicBezTo>
                    <a:cubicBezTo>
                      <a:pt x="12641" y="7233"/>
                      <a:pt x="12641" y="7233"/>
                      <a:pt x="12641" y="7233"/>
                    </a:cubicBezTo>
                    <a:cubicBezTo>
                      <a:pt x="12589" y="6994"/>
                      <a:pt x="12589" y="6994"/>
                      <a:pt x="12589" y="6994"/>
                    </a:cubicBezTo>
                    <a:cubicBezTo>
                      <a:pt x="12774" y="6710"/>
                      <a:pt x="12774" y="6710"/>
                      <a:pt x="12774" y="6710"/>
                    </a:cubicBezTo>
                    <a:cubicBezTo>
                      <a:pt x="12845" y="6507"/>
                      <a:pt x="12845" y="6507"/>
                      <a:pt x="12845" y="6507"/>
                    </a:cubicBezTo>
                    <a:cubicBezTo>
                      <a:pt x="12847" y="6503"/>
                      <a:pt x="12850" y="6494"/>
                      <a:pt x="12850" y="6481"/>
                    </a:cubicBezTo>
                    <a:cubicBezTo>
                      <a:pt x="12851" y="6452"/>
                      <a:pt x="12830" y="6410"/>
                      <a:pt x="12756" y="6378"/>
                    </a:cubicBezTo>
                    <a:cubicBezTo>
                      <a:pt x="12704" y="6356"/>
                      <a:pt x="12524" y="6248"/>
                      <a:pt x="12358" y="6147"/>
                    </a:cubicBezTo>
                    <a:cubicBezTo>
                      <a:pt x="12202" y="6051"/>
                      <a:pt x="12058" y="5961"/>
                      <a:pt x="12042" y="5951"/>
                    </a:cubicBezTo>
                    <a:cubicBezTo>
                      <a:pt x="12032" y="5942"/>
                      <a:pt x="11974" y="5887"/>
                      <a:pt x="11906" y="5819"/>
                    </a:cubicBezTo>
                    <a:cubicBezTo>
                      <a:pt x="11837" y="5752"/>
                      <a:pt x="11758" y="5672"/>
                      <a:pt x="11707" y="5614"/>
                    </a:cubicBezTo>
                    <a:cubicBezTo>
                      <a:pt x="14189" y="4920"/>
                      <a:pt x="14189" y="4920"/>
                      <a:pt x="14189" y="4920"/>
                    </a:cubicBezTo>
                    <a:cubicBezTo>
                      <a:pt x="14206" y="4918"/>
                      <a:pt x="14206" y="4918"/>
                      <a:pt x="14206" y="4918"/>
                    </a:cubicBezTo>
                    <a:cubicBezTo>
                      <a:pt x="14158" y="5212"/>
                      <a:pt x="13778" y="7505"/>
                      <a:pt x="13692" y="8048"/>
                    </a:cubicBezTo>
                    <a:close/>
                    <a:moveTo>
                      <a:pt x="13846" y="2795"/>
                    </a:moveTo>
                    <a:cubicBezTo>
                      <a:pt x="13892" y="2806"/>
                      <a:pt x="13941" y="2816"/>
                      <a:pt x="13991" y="2829"/>
                    </a:cubicBezTo>
                    <a:cubicBezTo>
                      <a:pt x="14071" y="2849"/>
                      <a:pt x="14152" y="2875"/>
                      <a:pt x="14219" y="2917"/>
                    </a:cubicBezTo>
                    <a:cubicBezTo>
                      <a:pt x="14336" y="2991"/>
                      <a:pt x="14411" y="3119"/>
                      <a:pt x="14426" y="3147"/>
                    </a:cubicBezTo>
                    <a:cubicBezTo>
                      <a:pt x="14428" y="3151"/>
                      <a:pt x="14428" y="3152"/>
                      <a:pt x="14428" y="3152"/>
                    </a:cubicBezTo>
                    <a:cubicBezTo>
                      <a:pt x="14431" y="3158"/>
                      <a:pt x="14431" y="3158"/>
                      <a:pt x="14431" y="3158"/>
                    </a:cubicBezTo>
                    <a:cubicBezTo>
                      <a:pt x="14436" y="3163"/>
                      <a:pt x="14436" y="3163"/>
                      <a:pt x="14436" y="3163"/>
                    </a:cubicBezTo>
                    <a:cubicBezTo>
                      <a:pt x="14436" y="3164"/>
                      <a:pt x="14666" y="3442"/>
                      <a:pt x="14810" y="3608"/>
                    </a:cubicBezTo>
                    <a:cubicBezTo>
                      <a:pt x="14859" y="3664"/>
                      <a:pt x="14895" y="3705"/>
                      <a:pt x="14917" y="3725"/>
                    </a:cubicBezTo>
                    <a:cubicBezTo>
                      <a:pt x="14962" y="3766"/>
                      <a:pt x="14994" y="3789"/>
                      <a:pt x="15013" y="3801"/>
                    </a:cubicBezTo>
                    <a:cubicBezTo>
                      <a:pt x="14720" y="4203"/>
                      <a:pt x="14720" y="4203"/>
                      <a:pt x="14720" y="4203"/>
                    </a:cubicBezTo>
                    <a:cubicBezTo>
                      <a:pt x="14718" y="4211"/>
                      <a:pt x="14718" y="4211"/>
                      <a:pt x="14718" y="4211"/>
                    </a:cubicBezTo>
                    <a:cubicBezTo>
                      <a:pt x="14718" y="4211"/>
                      <a:pt x="14714" y="4222"/>
                      <a:pt x="14705" y="4243"/>
                    </a:cubicBezTo>
                    <a:cubicBezTo>
                      <a:pt x="14697" y="4264"/>
                      <a:pt x="14685" y="4293"/>
                      <a:pt x="14669" y="4328"/>
                    </a:cubicBezTo>
                    <a:cubicBezTo>
                      <a:pt x="14637" y="4398"/>
                      <a:pt x="14590" y="4488"/>
                      <a:pt x="14532" y="4568"/>
                    </a:cubicBezTo>
                    <a:cubicBezTo>
                      <a:pt x="14432" y="4706"/>
                      <a:pt x="14278" y="4819"/>
                      <a:pt x="14243" y="4844"/>
                    </a:cubicBezTo>
                    <a:cubicBezTo>
                      <a:pt x="14238" y="4847"/>
                      <a:pt x="14236" y="4849"/>
                      <a:pt x="14236" y="4849"/>
                    </a:cubicBezTo>
                    <a:cubicBezTo>
                      <a:pt x="14215" y="4862"/>
                      <a:pt x="14215" y="4862"/>
                      <a:pt x="14215" y="4862"/>
                    </a:cubicBezTo>
                    <a:cubicBezTo>
                      <a:pt x="14213" y="4876"/>
                      <a:pt x="14213" y="4876"/>
                      <a:pt x="14213" y="4876"/>
                    </a:cubicBezTo>
                    <a:cubicBezTo>
                      <a:pt x="10991" y="5776"/>
                      <a:pt x="10991" y="5776"/>
                      <a:pt x="10991" y="5776"/>
                    </a:cubicBezTo>
                    <a:cubicBezTo>
                      <a:pt x="9685" y="6205"/>
                      <a:pt x="9685" y="6205"/>
                      <a:pt x="9685" y="6205"/>
                    </a:cubicBezTo>
                    <a:cubicBezTo>
                      <a:pt x="8796" y="6507"/>
                      <a:pt x="8796" y="6507"/>
                      <a:pt x="8796" y="6507"/>
                    </a:cubicBezTo>
                    <a:cubicBezTo>
                      <a:pt x="8796" y="6507"/>
                      <a:pt x="8796" y="6507"/>
                      <a:pt x="8796" y="6507"/>
                    </a:cubicBezTo>
                    <a:cubicBezTo>
                      <a:pt x="8797" y="6511"/>
                      <a:pt x="8797" y="6511"/>
                      <a:pt x="8797" y="6511"/>
                    </a:cubicBezTo>
                    <a:cubicBezTo>
                      <a:pt x="8774" y="6511"/>
                      <a:pt x="8761" y="6510"/>
                      <a:pt x="8761" y="6510"/>
                    </a:cubicBezTo>
                    <a:cubicBezTo>
                      <a:pt x="8760" y="6510"/>
                      <a:pt x="8760" y="6510"/>
                      <a:pt x="8760" y="6510"/>
                    </a:cubicBezTo>
                    <a:cubicBezTo>
                      <a:pt x="8749" y="6511"/>
                      <a:pt x="8749" y="6511"/>
                      <a:pt x="8749" y="6511"/>
                    </a:cubicBezTo>
                    <a:cubicBezTo>
                      <a:pt x="9397" y="5108"/>
                      <a:pt x="9397" y="5108"/>
                      <a:pt x="9397" y="5108"/>
                    </a:cubicBezTo>
                    <a:cubicBezTo>
                      <a:pt x="9453" y="4988"/>
                      <a:pt x="9453" y="4988"/>
                      <a:pt x="9453" y="4988"/>
                    </a:cubicBezTo>
                    <a:cubicBezTo>
                      <a:pt x="9499" y="5015"/>
                      <a:pt x="9661" y="5100"/>
                      <a:pt x="9850" y="5100"/>
                    </a:cubicBezTo>
                    <a:cubicBezTo>
                      <a:pt x="9904" y="5100"/>
                      <a:pt x="9959" y="5093"/>
                      <a:pt x="10015" y="5076"/>
                    </a:cubicBezTo>
                    <a:cubicBezTo>
                      <a:pt x="10133" y="5040"/>
                      <a:pt x="10486" y="4925"/>
                      <a:pt x="10853" y="4806"/>
                    </a:cubicBezTo>
                    <a:cubicBezTo>
                      <a:pt x="11131" y="5608"/>
                      <a:pt x="11131" y="5608"/>
                      <a:pt x="11131" y="5608"/>
                    </a:cubicBezTo>
                    <a:cubicBezTo>
                      <a:pt x="11165" y="5596"/>
                      <a:pt x="11165" y="5596"/>
                      <a:pt x="11165" y="5596"/>
                    </a:cubicBezTo>
                    <a:cubicBezTo>
                      <a:pt x="10887" y="4794"/>
                      <a:pt x="10887" y="4794"/>
                      <a:pt x="10887" y="4794"/>
                    </a:cubicBezTo>
                    <a:cubicBezTo>
                      <a:pt x="11324" y="4652"/>
                      <a:pt x="11770" y="4506"/>
                      <a:pt x="11856" y="4477"/>
                    </a:cubicBezTo>
                    <a:cubicBezTo>
                      <a:pt x="11898" y="4565"/>
                      <a:pt x="12119" y="5031"/>
                      <a:pt x="12241" y="5285"/>
                    </a:cubicBezTo>
                    <a:cubicBezTo>
                      <a:pt x="12274" y="5272"/>
                      <a:pt x="12274" y="5272"/>
                      <a:pt x="12274" y="5272"/>
                    </a:cubicBezTo>
                    <a:cubicBezTo>
                      <a:pt x="12230" y="5177"/>
                      <a:pt x="12220" y="5157"/>
                      <a:pt x="12209" y="5134"/>
                    </a:cubicBezTo>
                    <a:cubicBezTo>
                      <a:pt x="12172" y="5058"/>
                      <a:pt x="12123" y="4956"/>
                      <a:pt x="12075" y="4854"/>
                    </a:cubicBezTo>
                    <a:cubicBezTo>
                      <a:pt x="11995" y="4685"/>
                      <a:pt x="11915" y="4517"/>
                      <a:pt x="11890" y="4465"/>
                    </a:cubicBezTo>
                    <a:cubicBezTo>
                      <a:pt x="11916" y="4453"/>
                      <a:pt x="11966" y="4427"/>
                      <a:pt x="12032" y="4376"/>
                    </a:cubicBezTo>
                    <a:cubicBezTo>
                      <a:pt x="12127" y="4301"/>
                      <a:pt x="12666" y="3766"/>
                      <a:pt x="12690" y="3742"/>
                    </a:cubicBezTo>
                    <a:lnTo>
                      <a:pt x="13846" y="2795"/>
                    </a:lnTo>
                    <a:close/>
                    <a:moveTo>
                      <a:pt x="13533" y="2635"/>
                    </a:moveTo>
                    <a:cubicBezTo>
                      <a:pt x="13613" y="2698"/>
                      <a:pt x="13698" y="2749"/>
                      <a:pt x="13767" y="2773"/>
                    </a:cubicBezTo>
                    <a:cubicBezTo>
                      <a:pt x="13774" y="2776"/>
                      <a:pt x="13782" y="2778"/>
                      <a:pt x="13789" y="2780"/>
                    </a:cubicBezTo>
                    <a:cubicBezTo>
                      <a:pt x="13788" y="2787"/>
                      <a:pt x="13785" y="2795"/>
                      <a:pt x="13784" y="2800"/>
                    </a:cubicBezTo>
                    <a:cubicBezTo>
                      <a:pt x="12673" y="3710"/>
                      <a:pt x="12673" y="3710"/>
                      <a:pt x="12673" y="3710"/>
                    </a:cubicBezTo>
                    <a:cubicBezTo>
                      <a:pt x="12685" y="3695"/>
                      <a:pt x="12685" y="3695"/>
                      <a:pt x="12685" y="3695"/>
                    </a:cubicBezTo>
                    <a:cubicBezTo>
                      <a:pt x="12007" y="3123"/>
                      <a:pt x="12007" y="3123"/>
                      <a:pt x="12007" y="3123"/>
                    </a:cubicBezTo>
                    <a:cubicBezTo>
                      <a:pt x="12006" y="3122"/>
                      <a:pt x="12006" y="3122"/>
                      <a:pt x="12006" y="3122"/>
                    </a:cubicBezTo>
                    <a:cubicBezTo>
                      <a:pt x="12004" y="3121"/>
                      <a:pt x="11968" y="3098"/>
                      <a:pt x="11915" y="3098"/>
                    </a:cubicBezTo>
                    <a:cubicBezTo>
                      <a:pt x="11878" y="3098"/>
                      <a:pt x="11832" y="3110"/>
                      <a:pt x="11789" y="3148"/>
                    </a:cubicBezTo>
                    <a:cubicBezTo>
                      <a:pt x="11728" y="3201"/>
                      <a:pt x="11699" y="3221"/>
                      <a:pt x="11688" y="3227"/>
                    </a:cubicBezTo>
                    <a:cubicBezTo>
                      <a:pt x="11406" y="2872"/>
                      <a:pt x="11406" y="2872"/>
                      <a:pt x="11406" y="2872"/>
                    </a:cubicBezTo>
                    <a:cubicBezTo>
                      <a:pt x="11404" y="2870"/>
                      <a:pt x="11404" y="2870"/>
                      <a:pt x="11404" y="2870"/>
                    </a:cubicBezTo>
                    <a:cubicBezTo>
                      <a:pt x="11404" y="2870"/>
                      <a:pt x="11281" y="2764"/>
                      <a:pt x="11080" y="2632"/>
                    </a:cubicBezTo>
                    <a:cubicBezTo>
                      <a:pt x="10926" y="2532"/>
                      <a:pt x="10767" y="2426"/>
                      <a:pt x="10703" y="2383"/>
                    </a:cubicBezTo>
                    <a:cubicBezTo>
                      <a:pt x="10782" y="2313"/>
                      <a:pt x="10972" y="2141"/>
                      <a:pt x="11087" y="2019"/>
                    </a:cubicBezTo>
                    <a:cubicBezTo>
                      <a:pt x="11201" y="1898"/>
                      <a:pt x="11227" y="1714"/>
                      <a:pt x="11233" y="1626"/>
                    </a:cubicBezTo>
                    <a:cubicBezTo>
                      <a:pt x="11243" y="1604"/>
                      <a:pt x="11243" y="1604"/>
                      <a:pt x="11243" y="1604"/>
                    </a:cubicBezTo>
                    <a:cubicBezTo>
                      <a:pt x="11243" y="1604"/>
                      <a:pt x="11244" y="1604"/>
                      <a:pt x="11244" y="1605"/>
                    </a:cubicBezTo>
                    <a:cubicBezTo>
                      <a:pt x="11264" y="1606"/>
                      <a:pt x="11293" y="1608"/>
                      <a:pt x="11328" y="1610"/>
                    </a:cubicBezTo>
                    <a:cubicBezTo>
                      <a:pt x="11397" y="1615"/>
                      <a:pt x="11492" y="1622"/>
                      <a:pt x="11594" y="1628"/>
                    </a:cubicBezTo>
                    <a:cubicBezTo>
                      <a:pt x="11797" y="1642"/>
                      <a:pt x="12026" y="1656"/>
                      <a:pt x="12131" y="1661"/>
                    </a:cubicBezTo>
                    <a:cubicBezTo>
                      <a:pt x="12340" y="1670"/>
                      <a:pt x="12599" y="1679"/>
                      <a:pt x="12888" y="1748"/>
                    </a:cubicBezTo>
                    <a:cubicBezTo>
                      <a:pt x="13031" y="1782"/>
                      <a:pt x="13136" y="1826"/>
                      <a:pt x="13208" y="1876"/>
                    </a:cubicBezTo>
                    <a:cubicBezTo>
                      <a:pt x="13280" y="1926"/>
                      <a:pt x="13320" y="1980"/>
                      <a:pt x="13341" y="2042"/>
                    </a:cubicBezTo>
                    <a:cubicBezTo>
                      <a:pt x="13354" y="2082"/>
                      <a:pt x="13360" y="2135"/>
                      <a:pt x="13360" y="2186"/>
                    </a:cubicBezTo>
                    <a:cubicBezTo>
                      <a:pt x="13360" y="2232"/>
                      <a:pt x="13356" y="2277"/>
                      <a:pt x="13351" y="2312"/>
                    </a:cubicBezTo>
                    <a:cubicBezTo>
                      <a:pt x="13346" y="2343"/>
                      <a:pt x="13340" y="2369"/>
                      <a:pt x="13339" y="2374"/>
                    </a:cubicBezTo>
                    <a:cubicBezTo>
                      <a:pt x="13338" y="2375"/>
                      <a:pt x="13338" y="2375"/>
                      <a:pt x="13338" y="2375"/>
                    </a:cubicBezTo>
                    <a:cubicBezTo>
                      <a:pt x="13337" y="2401"/>
                      <a:pt x="13337" y="2401"/>
                      <a:pt x="13337" y="2401"/>
                    </a:cubicBezTo>
                    <a:cubicBezTo>
                      <a:pt x="13339" y="2426"/>
                      <a:pt x="13339" y="2426"/>
                      <a:pt x="13339" y="2426"/>
                    </a:cubicBezTo>
                    <a:cubicBezTo>
                      <a:pt x="13379" y="2500"/>
                      <a:pt x="13452" y="2572"/>
                      <a:pt x="13533" y="2635"/>
                    </a:cubicBezTo>
                    <a:close/>
                    <a:moveTo>
                      <a:pt x="11670" y="10633"/>
                    </a:moveTo>
                    <a:cubicBezTo>
                      <a:pt x="11716" y="10723"/>
                      <a:pt x="11753" y="10778"/>
                      <a:pt x="11781" y="10812"/>
                    </a:cubicBezTo>
                    <a:cubicBezTo>
                      <a:pt x="11735" y="10812"/>
                      <a:pt x="11735" y="10812"/>
                      <a:pt x="11735" y="10812"/>
                    </a:cubicBezTo>
                    <a:cubicBezTo>
                      <a:pt x="11709" y="10775"/>
                      <a:pt x="11676" y="10724"/>
                      <a:pt x="11638" y="10650"/>
                    </a:cubicBezTo>
                    <a:cubicBezTo>
                      <a:pt x="11540" y="10459"/>
                      <a:pt x="11508" y="9998"/>
                      <a:pt x="11508" y="9897"/>
                    </a:cubicBezTo>
                    <a:cubicBezTo>
                      <a:pt x="11507" y="9876"/>
                      <a:pt x="11507" y="9876"/>
                      <a:pt x="11507" y="9876"/>
                    </a:cubicBezTo>
                    <a:cubicBezTo>
                      <a:pt x="11544" y="9876"/>
                      <a:pt x="11544" y="9876"/>
                      <a:pt x="11544" y="9876"/>
                    </a:cubicBezTo>
                    <a:cubicBezTo>
                      <a:pt x="11544" y="9897"/>
                      <a:pt x="11544" y="9897"/>
                      <a:pt x="11544" y="9897"/>
                    </a:cubicBezTo>
                    <a:cubicBezTo>
                      <a:pt x="11543" y="9992"/>
                      <a:pt x="11578" y="10458"/>
                      <a:pt x="11670" y="10633"/>
                    </a:cubicBezTo>
                    <a:close/>
                    <a:moveTo>
                      <a:pt x="2848" y="4042"/>
                    </a:moveTo>
                    <a:cubicBezTo>
                      <a:pt x="2850" y="4082"/>
                      <a:pt x="2806" y="4119"/>
                      <a:pt x="2794" y="4159"/>
                    </a:cubicBezTo>
                    <a:cubicBezTo>
                      <a:pt x="2783" y="4200"/>
                      <a:pt x="2789" y="4277"/>
                      <a:pt x="2789" y="4277"/>
                    </a:cubicBezTo>
                    <a:cubicBezTo>
                      <a:pt x="2777" y="4348"/>
                      <a:pt x="2712" y="4368"/>
                      <a:pt x="2655" y="4393"/>
                    </a:cubicBezTo>
                    <a:cubicBezTo>
                      <a:pt x="2597" y="4418"/>
                      <a:pt x="2546" y="4421"/>
                      <a:pt x="2546" y="4421"/>
                    </a:cubicBezTo>
                    <a:cubicBezTo>
                      <a:pt x="2546" y="4421"/>
                      <a:pt x="2549" y="4413"/>
                      <a:pt x="2578" y="4386"/>
                    </a:cubicBezTo>
                    <a:cubicBezTo>
                      <a:pt x="2633" y="4335"/>
                      <a:pt x="2623" y="4244"/>
                      <a:pt x="2627" y="4229"/>
                    </a:cubicBezTo>
                    <a:cubicBezTo>
                      <a:pt x="2631" y="4213"/>
                      <a:pt x="2611" y="4167"/>
                      <a:pt x="2628" y="4127"/>
                    </a:cubicBezTo>
                    <a:cubicBezTo>
                      <a:pt x="2713" y="3981"/>
                      <a:pt x="2802" y="3971"/>
                      <a:pt x="2827" y="3987"/>
                    </a:cubicBezTo>
                    <a:cubicBezTo>
                      <a:pt x="2840" y="3995"/>
                      <a:pt x="2847" y="4002"/>
                      <a:pt x="2848" y="4042"/>
                    </a:cubicBezTo>
                    <a:close/>
                    <a:moveTo>
                      <a:pt x="650" y="7997"/>
                    </a:moveTo>
                    <a:cubicBezTo>
                      <a:pt x="670" y="8024"/>
                      <a:pt x="672" y="8054"/>
                      <a:pt x="621" y="8102"/>
                    </a:cubicBezTo>
                    <a:cubicBezTo>
                      <a:pt x="570" y="8149"/>
                      <a:pt x="498" y="8153"/>
                      <a:pt x="461" y="8124"/>
                    </a:cubicBezTo>
                    <a:cubicBezTo>
                      <a:pt x="424" y="8095"/>
                      <a:pt x="473" y="8024"/>
                      <a:pt x="508" y="7999"/>
                    </a:cubicBezTo>
                    <a:cubicBezTo>
                      <a:pt x="543" y="7974"/>
                      <a:pt x="620" y="7959"/>
                      <a:pt x="650" y="7997"/>
                    </a:cubicBezTo>
                    <a:close/>
                    <a:moveTo>
                      <a:pt x="7023" y="252"/>
                    </a:moveTo>
                    <a:cubicBezTo>
                      <a:pt x="6987" y="247"/>
                      <a:pt x="6987" y="247"/>
                      <a:pt x="6987" y="247"/>
                    </a:cubicBezTo>
                    <a:cubicBezTo>
                      <a:pt x="7021" y="11"/>
                      <a:pt x="7021" y="11"/>
                      <a:pt x="7021" y="11"/>
                    </a:cubicBezTo>
                    <a:cubicBezTo>
                      <a:pt x="7058" y="11"/>
                      <a:pt x="7058" y="11"/>
                      <a:pt x="7058" y="11"/>
                    </a:cubicBezTo>
                    <a:lnTo>
                      <a:pt x="7023" y="252"/>
                    </a:lnTo>
                    <a:close/>
                    <a:moveTo>
                      <a:pt x="11057" y="16"/>
                    </a:moveTo>
                    <a:cubicBezTo>
                      <a:pt x="11034" y="14"/>
                      <a:pt x="11010" y="12"/>
                      <a:pt x="10987" y="11"/>
                    </a:cubicBezTo>
                    <a:cubicBezTo>
                      <a:pt x="11571" y="11"/>
                      <a:pt x="11571" y="11"/>
                      <a:pt x="11571" y="11"/>
                    </a:cubicBezTo>
                    <a:cubicBezTo>
                      <a:pt x="11599" y="11"/>
                      <a:pt x="11625" y="12"/>
                      <a:pt x="11646" y="12"/>
                    </a:cubicBezTo>
                    <a:cubicBezTo>
                      <a:pt x="11661" y="12"/>
                      <a:pt x="11673" y="12"/>
                      <a:pt x="11683" y="11"/>
                    </a:cubicBezTo>
                    <a:cubicBezTo>
                      <a:pt x="11686" y="11"/>
                      <a:pt x="11688" y="11"/>
                      <a:pt x="11690" y="11"/>
                    </a:cubicBezTo>
                    <a:cubicBezTo>
                      <a:pt x="11788" y="11"/>
                      <a:pt x="11788" y="11"/>
                      <a:pt x="11788" y="11"/>
                    </a:cubicBezTo>
                    <a:cubicBezTo>
                      <a:pt x="11764" y="26"/>
                      <a:pt x="11737" y="38"/>
                      <a:pt x="11708" y="44"/>
                    </a:cubicBezTo>
                    <a:cubicBezTo>
                      <a:pt x="11701" y="46"/>
                      <a:pt x="11695" y="47"/>
                      <a:pt x="11685" y="47"/>
                    </a:cubicBezTo>
                    <a:cubicBezTo>
                      <a:pt x="11674" y="48"/>
                      <a:pt x="11661" y="48"/>
                      <a:pt x="11646" y="48"/>
                    </a:cubicBezTo>
                    <a:cubicBezTo>
                      <a:pt x="11547" y="48"/>
                      <a:pt x="11360" y="38"/>
                      <a:pt x="11360" y="38"/>
                    </a:cubicBezTo>
                    <a:cubicBezTo>
                      <a:pt x="11359" y="38"/>
                      <a:pt x="11208" y="27"/>
                      <a:pt x="11057" y="16"/>
                    </a:cubicBezTo>
                    <a:close/>
                    <a:moveTo>
                      <a:pt x="621" y="2467"/>
                    </a:moveTo>
                    <a:cubicBezTo>
                      <a:pt x="621" y="2467"/>
                      <a:pt x="662" y="2419"/>
                      <a:pt x="651" y="2370"/>
                    </a:cubicBezTo>
                    <a:cubicBezTo>
                      <a:pt x="640" y="2321"/>
                      <a:pt x="588" y="2293"/>
                      <a:pt x="555" y="2269"/>
                    </a:cubicBezTo>
                    <a:cubicBezTo>
                      <a:pt x="526" y="2246"/>
                      <a:pt x="547" y="2216"/>
                      <a:pt x="548" y="2211"/>
                    </a:cubicBezTo>
                    <a:cubicBezTo>
                      <a:pt x="553" y="2216"/>
                      <a:pt x="591" y="2234"/>
                      <a:pt x="600" y="2239"/>
                    </a:cubicBezTo>
                    <a:cubicBezTo>
                      <a:pt x="611" y="2244"/>
                      <a:pt x="651" y="2247"/>
                      <a:pt x="687" y="2256"/>
                    </a:cubicBezTo>
                    <a:cubicBezTo>
                      <a:pt x="722" y="2266"/>
                      <a:pt x="732" y="2295"/>
                      <a:pt x="737" y="2325"/>
                    </a:cubicBezTo>
                    <a:cubicBezTo>
                      <a:pt x="743" y="2355"/>
                      <a:pt x="753" y="2360"/>
                      <a:pt x="777" y="2375"/>
                    </a:cubicBezTo>
                    <a:cubicBezTo>
                      <a:pt x="800" y="2390"/>
                      <a:pt x="841" y="2367"/>
                      <a:pt x="889" y="2342"/>
                    </a:cubicBezTo>
                    <a:cubicBezTo>
                      <a:pt x="937" y="2318"/>
                      <a:pt x="946" y="2347"/>
                      <a:pt x="946" y="2347"/>
                    </a:cubicBezTo>
                    <a:cubicBezTo>
                      <a:pt x="938" y="2351"/>
                      <a:pt x="926" y="2375"/>
                      <a:pt x="912" y="2400"/>
                    </a:cubicBezTo>
                    <a:cubicBezTo>
                      <a:pt x="898" y="2424"/>
                      <a:pt x="867" y="2455"/>
                      <a:pt x="823" y="2483"/>
                    </a:cubicBezTo>
                    <a:cubicBezTo>
                      <a:pt x="779" y="2512"/>
                      <a:pt x="722" y="2511"/>
                      <a:pt x="702" y="2502"/>
                    </a:cubicBezTo>
                    <a:cubicBezTo>
                      <a:pt x="681" y="2494"/>
                      <a:pt x="621" y="2467"/>
                      <a:pt x="621" y="2467"/>
                    </a:cubicBezTo>
                    <a:close/>
                    <a:moveTo>
                      <a:pt x="5733" y="183"/>
                    </a:moveTo>
                    <a:cubicBezTo>
                      <a:pt x="5697" y="177"/>
                      <a:pt x="5697" y="177"/>
                      <a:pt x="5697" y="177"/>
                    </a:cubicBezTo>
                    <a:cubicBezTo>
                      <a:pt x="5726" y="11"/>
                      <a:pt x="5726" y="11"/>
                      <a:pt x="5726" y="11"/>
                    </a:cubicBezTo>
                    <a:cubicBezTo>
                      <a:pt x="5763" y="11"/>
                      <a:pt x="5763" y="11"/>
                      <a:pt x="5763" y="11"/>
                    </a:cubicBezTo>
                    <a:lnTo>
                      <a:pt x="5733" y="183"/>
                    </a:lnTo>
                    <a:close/>
                    <a:moveTo>
                      <a:pt x="3370" y="788"/>
                    </a:moveTo>
                    <a:cubicBezTo>
                      <a:pt x="3306" y="770"/>
                      <a:pt x="3257" y="706"/>
                      <a:pt x="3273" y="665"/>
                    </a:cubicBezTo>
                    <a:cubicBezTo>
                      <a:pt x="3290" y="624"/>
                      <a:pt x="3351" y="608"/>
                      <a:pt x="3433" y="634"/>
                    </a:cubicBezTo>
                    <a:cubicBezTo>
                      <a:pt x="3497" y="655"/>
                      <a:pt x="3536" y="706"/>
                      <a:pt x="3523" y="749"/>
                    </a:cubicBezTo>
                    <a:cubicBezTo>
                      <a:pt x="3511" y="792"/>
                      <a:pt x="3433" y="807"/>
                      <a:pt x="3370" y="788"/>
                    </a:cubicBezTo>
                    <a:close/>
                    <a:moveTo>
                      <a:pt x="7" y="1274"/>
                    </a:moveTo>
                    <a:cubicBezTo>
                      <a:pt x="7" y="1235"/>
                      <a:pt x="7" y="1235"/>
                      <a:pt x="7" y="1235"/>
                    </a:cubicBezTo>
                    <a:cubicBezTo>
                      <a:pt x="117" y="1186"/>
                      <a:pt x="182" y="1122"/>
                      <a:pt x="230" y="1072"/>
                    </a:cubicBezTo>
                    <a:cubicBezTo>
                      <a:pt x="222" y="1064"/>
                      <a:pt x="206" y="1051"/>
                      <a:pt x="183" y="1032"/>
                    </a:cubicBezTo>
                    <a:cubicBezTo>
                      <a:pt x="142" y="999"/>
                      <a:pt x="80" y="952"/>
                      <a:pt x="7" y="908"/>
                    </a:cubicBezTo>
                    <a:cubicBezTo>
                      <a:pt x="7" y="866"/>
                      <a:pt x="7" y="866"/>
                      <a:pt x="7" y="866"/>
                    </a:cubicBezTo>
                    <a:cubicBezTo>
                      <a:pt x="133" y="940"/>
                      <a:pt x="230" y="1024"/>
                      <a:pt x="255" y="1046"/>
                    </a:cubicBezTo>
                    <a:cubicBezTo>
                      <a:pt x="259" y="1042"/>
                      <a:pt x="262" y="1039"/>
                      <a:pt x="266" y="1035"/>
                    </a:cubicBezTo>
                    <a:cubicBezTo>
                      <a:pt x="603" y="676"/>
                      <a:pt x="603" y="676"/>
                      <a:pt x="603" y="676"/>
                    </a:cubicBezTo>
                    <a:cubicBezTo>
                      <a:pt x="601" y="673"/>
                      <a:pt x="601" y="673"/>
                      <a:pt x="601" y="673"/>
                    </a:cubicBezTo>
                    <a:cubicBezTo>
                      <a:pt x="599" y="675"/>
                      <a:pt x="599" y="675"/>
                      <a:pt x="599" y="675"/>
                    </a:cubicBezTo>
                    <a:cubicBezTo>
                      <a:pt x="180" y="93"/>
                      <a:pt x="180" y="93"/>
                      <a:pt x="180" y="93"/>
                    </a:cubicBezTo>
                    <a:cubicBezTo>
                      <a:pt x="7" y="28"/>
                      <a:pt x="7" y="28"/>
                      <a:pt x="7" y="28"/>
                    </a:cubicBezTo>
                    <a:cubicBezTo>
                      <a:pt x="7" y="11"/>
                      <a:pt x="7" y="11"/>
                      <a:pt x="7" y="11"/>
                    </a:cubicBezTo>
                    <a:cubicBezTo>
                      <a:pt x="7" y="0"/>
                      <a:pt x="7" y="0"/>
                      <a:pt x="7" y="0"/>
                    </a:cubicBezTo>
                    <a:cubicBezTo>
                      <a:pt x="37" y="11"/>
                      <a:pt x="37" y="11"/>
                      <a:pt x="37" y="11"/>
                    </a:cubicBezTo>
                    <a:cubicBezTo>
                      <a:pt x="197" y="71"/>
                      <a:pt x="197" y="71"/>
                      <a:pt x="197" y="71"/>
                    </a:cubicBezTo>
                    <a:cubicBezTo>
                      <a:pt x="615" y="653"/>
                      <a:pt x="615" y="653"/>
                      <a:pt x="615" y="653"/>
                    </a:cubicBezTo>
                    <a:cubicBezTo>
                      <a:pt x="617" y="654"/>
                      <a:pt x="619" y="656"/>
                      <a:pt x="621" y="657"/>
                    </a:cubicBezTo>
                    <a:cubicBezTo>
                      <a:pt x="871" y="390"/>
                      <a:pt x="871" y="390"/>
                      <a:pt x="871" y="390"/>
                    </a:cubicBezTo>
                    <a:cubicBezTo>
                      <a:pt x="871" y="392"/>
                      <a:pt x="871" y="392"/>
                      <a:pt x="871" y="392"/>
                    </a:cubicBezTo>
                    <a:cubicBezTo>
                      <a:pt x="901" y="364"/>
                      <a:pt x="901" y="364"/>
                      <a:pt x="901" y="364"/>
                    </a:cubicBezTo>
                    <a:cubicBezTo>
                      <a:pt x="1030" y="46"/>
                      <a:pt x="1030" y="46"/>
                      <a:pt x="1030" y="46"/>
                    </a:cubicBezTo>
                    <a:cubicBezTo>
                      <a:pt x="1030" y="46"/>
                      <a:pt x="1030" y="46"/>
                      <a:pt x="1030" y="46"/>
                    </a:cubicBezTo>
                    <a:cubicBezTo>
                      <a:pt x="1043" y="11"/>
                      <a:pt x="1043" y="11"/>
                      <a:pt x="1043" y="11"/>
                    </a:cubicBezTo>
                    <a:cubicBezTo>
                      <a:pt x="1082" y="11"/>
                      <a:pt x="1082" y="11"/>
                      <a:pt x="1082" y="11"/>
                    </a:cubicBezTo>
                    <a:cubicBezTo>
                      <a:pt x="1056" y="81"/>
                      <a:pt x="1056" y="81"/>
                      <a:pt x="1056" y="81"/>
                    </a:cubicBezTo>
                    <a:cubicBezTo>
                      <a:pt x="1054" y="81"/>
                      <a:pt x="1054" y="81"/>
                      <a:pt x="1054" y="81"/>
                    </a:cubicBezTo>
                    <a:cubicBezTo>
                      <a:pt x="933" y="386"/>
                      <a:pt x="933" y="386"/>
                      <a:pt x="933" y="386"/>
                    </a:cubicBezTo>
                    <a:cubicBezTo>
                      <a:pt x="931" y="390"/>
                      <a:pt x="931" y="390"/>
                      <a:pt x="931" y="390"/>
                    </a:cubicBezTo>
                    <a:cubicBezTo>
                      <a:pt x="866" y="445"/>
                      <a:pt x="866" y="445"/>
                      <a:pt x="866" y="445"/>
                    </a:cubicBezTo>
                    <a:cubicBezTo>
                      <a:pt x="292" y="1060"/>
                      <a:pt x="292" y="1060"/>
                      <a:pt x="292" y="1060"/>
                    </a:cubicBezTo>
                    <a:cubicBezTo>
                      <a:pt x="240" y="1112"/>
                      <a:pt x="164" y="1208"/>
                      <a:pt x="7" y="1274"/>
                    </a:cubicBezTo>
                    <a:close/>
                    <a:moveTo>
                      <a:pt x="4350" y="7106"/>
                    </a:moveTo>
                    <a:cubicBezTo>
                      <a:pt x="4349" y="7106"/>
                      <a:pt x="4349" y="7106"/>
                      <a:pt x="4349" y="7106"/>
                    </a:cubicBezTo>
                    <a:cubicBezTo>
                      <a:pt x="4350" y="7106"/>
                      <a:pt x="4350" y="7106"/>
                      <a:pt x="4350" y="7106"/>
                    </a:cubicBezTo>
                    <a:close/>
                    <a:moveTo>
                      <a:pt x="949" y="1001"/>
                    </a:moveTo>
                    <a:cubicBezTo>
                      <a:pt x="7" y="1784"/>
                      <a:pt x="7" y="1784"/>
                      <a:pt x="7" y="1784"/>
                    </a:cubicBezTo>
                    <a:cubicBezTo>
                      <a:pt x="7" y="1737"/>
                      <a:pt x="7" y="1737"/>
                      <a:pt x="7" y="1737"/>
                    </a:cubicBezTo>
                    <a:cubicBezTo>
                      <a:pt x="931" y="968"/>
                      <a:pt x="931" y="968"/>
                      <a:pt x="931" y="968"/>
                    </a:cubicBezTo>
                    <a:cubicBezTo>
                      <a:pt x="931" y="968"/>
                      <a:pt x="931" y="968"/>
                      <a:pt x="931" y="968"/>
                    </a:cubicBezTo>
                    <a:cubicBezTo>
                      <a:pt x="934" y="966"/>
                      <a:pt x="934" y="966"/>
                      <a:pt x="934" y="966"/>
                    </a:cubicBezTo>
                    <a:cubicBezTo>
                      <a:pt x="940" y="961"/>
                      <a:pt x="940" y="961"/>
                      <a:pt x="940" y="961"/>
                    </a:cubicBezTo>
                    <a:cubicBezTo>
                      <a:pt x="940" y="961"/>
                      <a:pt x="940" y="961"/>
                      <a:pt x="940" y="961"/>
                    </a:cubicBezTo>
                    <a:cubicBezTo>
                      <a:pt x="1289" y="676"/>
                      <a:pt x="1289" y="676"/>
                      <a:pt x="1289" y="676"/>
                    </a:cubicBezTo>
                    <a:cubicBezTo>
                      <a:pt x="1560" y="298"/>
                      <a:pt x="1560" y="298"/>
                      <a:pt x="1560" y="298"/>
                    </a:cubicBezTo>
                    <a:cubicBezTo>
                      <a:pt x="1556" y="298"/>
                      <a:pt x="1555" y="297"/>
                      <a:pt x="1553" y="296"/>
                    </a:cubicBezTo>
                    <a:cubicBezTo>
                      <a:pt x="1524" y="282"/>
                      <a:pt x="1369" y="182"/>
                      <a:pt x="1369" y="181"/>
                    </a:cubicBezTo>
                    <a:cubicBezTo>
                      <a:pt x="1362" y="177"/>
                      <a:pt x="1362" y="177"/>
                      <a:pt x="1362" y="177"/>
                    </a:cubicBezTo>
                    <a:cubicBezTo>
                      <a:pt x="1395" y="15"/>
                      <a:pt x="1395" y="15"/>
                      <a:pt x="1395" y="15"/>
                    </a:cubicBezTo>
                    <a:cubicBezTo>
                      <a:pt x="1392" y="11"/>
                      <a:pt x="1392" y="11"/>
                      <a:pt x="1392" y="11"/>
                    </a:cubicBezTo>
                    <a:cubicBezTo>
                      <a:pt x="1421" y="11"/>
                      <a:pt x="1421" y="11"/>
                      <a:pt x="1421" y="11"/>
                    </a:cubicBezTo>
                    <a:cubicBezTo>
                      <a:pt x="1422" y="11"/>
                      <a:pt x="1422" y="11"/>
                      <a:pt x="1422" y="11"/>
                    </a:cubicBezTo>
                    <a:cubicBezTo>
                      <a:pt x="1389" y="165"/>
                      <a:pt x="1389" y="165"/>
                      <a:pt x="1389" y="165"/>
                    </a:cubicBezTo>
                    <a:cubicBezTo>
                      <a:pt x="1403" y="175"/>
                      <a:pt x="1437" y="196"/>
                      <a:pt x="1472" y="218"/>
                    </a:cubicBezTo>
                    <a:cubicBezTo>
                      <a:pt x="1495" y="233"/>
                      <a:pt x="1518" y="247"/>
                      <a:pt x="1535" y="258"/>
                    </a:cubicBezTo>
                    <a:cubicBezTo>
                      <a:pt x="1544" y="263"/>
                      <a:pt x="1552" y="268"/>
                      <a:pt x="1557" y="271"/>
                    </a:cubicBezTo>
                    <a:cubicBezTo>
                      <a:pt x="1560" y="272"/>
                      <a:pt x="1562" y="273"/>
                      <a:pt x="1563" y="274"/>
                    </a:cubicBezTo>
                    <a:cubicBezTo>
                      <a:pt x="1564" y="274"/>
                      <a:pt x="1565" y="274"/>
                      <a:pt x="1565" y="274"/>
                    </a:cubicBezTo>
                    <a:cubicBezTo>
                      <a:pt x="1562" y="283"/>
                      <a:pt x="1562" y="283"/>
                      <a:pt x="1562" y="283"/>
                    </a:cubicBezTo>
                    <a:cubicBezTo>
                      <a:pt x="1562" y="274"/>
                      <a:pt x="1562" y="274"/>
                      <a:pt x="1562" y="274"/>
                    </a:cubicBezTo>
                    <a:cubicBezTo>
                      <a:pt x="1562" y="286"/>
                      <a:pt x="1562" y="286"/>
                      <a:pt x="1562" y="286"/>
                    </a:cubicBezTo>
                    <a:cubicBezTo>
                      <a:pt x="1563" y="293"/>
                      <a:pt x="1563" y="293"/>
                      <a:pt x="1563" y="293"/>
                    </a:cubicBezTo>
                    <a:cubicBezTo>
                      <a:pt x="1650" y="172"/>
                      <a:pt x="1650" y="172"/>
                      <a:pt x="1650" y="172"/>
                    </a:cubicBezTo>
                    <a:cubicBezTo>
                      <a:pt x="1647" y="169"/>
                      <a:pt x="1647" y="169"/>
                      <a:pt x="1647" y="169"/>
                    </a:cubicBezTo>
                    <a:cubicBezTo>
                      <a:pt x="1647" y="169"/>
                      <a:pt x="1647" y="169"/>
                      <a:pt x="1647" y="169"/>
                    </a:cubicBezTo>
                    <a:cubicBezTo>
                      <a:pt x="1647" y="169"/>
                      <a:pt x="1647" y="169"/>
                      <a:pt x="1647" y="169"/>
                    </a:cubicBezTo>
                    <a:cubicBezTo>
                      <a:pt x="1652" y="165"/>
                      <a:pt x="1673" y="136"/>
                      <a:pt x="1698" y="101"/>
                    </a:cubicBezTo>
                    <a:cubicBezTo>
                      <a:pt x="1698" y="104"/>
                      <a:pt x="1698" y="104"/>
                      <a:pt x="1698" y="104"/>
                    </a:cubicBezTo>
                    <a:cubicBezTo>
                      <a:pt x="1716" y="79"/>
                      <a:pt x="1716" y="79"/>
                      <a:pt x="1716" y="79"/>
                    </a:cubicBezTo>
                    <a:cubicBezTo>
                      <a:pt x="1731" y="58"/>
                      <a:pt x="1746" y="35"/>
                      <a:pt x="1761" y="11"/>
                    </a:cubicBezTo>
                    <a:cubicBezTo>
                      <a:pt x="1803" y="11"/>
                      <a:pt x="1803" y="11"/>
                      <a:pt x="1803" y="11"/>
                    </a:cubicBezTo>
                    <a:cubicBezTo>
                      <a:pt x="1788" y="33"/>
                      <a:pt x="1773" y="55"/>
                      <a:pt x="1759" y="75"/>
                    </a:cubicBezTo>
                    <a:cubicBezTo>
                      <a:pt x="1738" y="106"/>
                      <a:pt x="1719" y="132"/>
                      <a:pt x="1704" y="153"/>
                    </a:cubicBezTo>
                    <a:cubicBezTo>
                      <a:pt x="1317" y="702"/>
                      <a:pt x="1317" y="702"/>
                      <a:pt x="1317" y="702"/>
                    </a:cubicBezTo>
                    <a:cubicBezTo>
                      <a:pt x="1319" y="703"/>
                      <a:pt x="1319" y="703"/>
                      <a:pt x="1319" y="703"/>
                    </a:cubicBezTo>
                    <a:lnTo>
                      <a:pt x="949" y="1001"/>
                    </a:lnTo>
                    <a:close/>
                    <a:moveTo>
                      <a:pt x="3813" y="5629"/>
                    </a:moveTo>
                    <a:cubicBezTo>
                      <a:pt x="3820" y="5618"/>
                      <a:pt x="3850" y="5636"/>
                      <a:pt x="3850" y="5636"/>
                    </a:cubicBezTo>
                    <a:cubicBezTo>
                      <a:pt x="3850" y="5636"/>
                      <a:pt x="4042" y="5629"/>
                      <a:pt x="4084" y="5631"/>
                    </a:cubicBezTo>
                    <a:cubicBezTo>
                      <a:pt x="4126" y="5632"/>
                      <a:pt x="4151" y="5651"/>
                      <a:pt x="4151" y="5651"/>
                    </a:cubicBezTo>
                    <a:cubicBezTo>
                      <a:pt x="4162" y="5665"/>
                      <a:pt x="4147" y="5701"/>
                      <a:pt x="4141" y="5708"/>
                    </a:cubicBezTo>
                    <a:cubicBezTo>
                      <a:pt x="4136" y="5716"/>
                      <a:pt x="4043" y="5773"/>
                      <a:pt x="4026" y="5792"/>
                    </a:cubicBezTo>
                    <a:cubicBezTo>
                      <a:pt x="4009" y="5810"/>
                      <a:pt x="4012" y="5863"/>
                      <a:pt x="4008" y="5877"/>
                    </a:cubicBezTo>
                    <a:cubicBezTo>
                      <a:pt x="4005" y="5892"/>
                      <a:pt x="3993" y="5890"/>
                      <a:pt x="3974" y="5887"/>
                    </a:cubicBezTo>
                    <a:cubicBezTo>
                      <a:pt x="3956" y="5883"/>
                      <a:pt x="3941" y="5824"/>
                      <a:pt x="3947" y="5797"/>
                    </a:cubicBezTo>
                    <a:cubicBezTo>
                      <a:pt x="3949" y="5787"/>
                      <a:pt x="3907" y="5806"/>
                      <a:pt x="3890" y="5817"/>
                    </a:cubicBezTo>
                    <a:cubicBezTo>
                      <a:pt x="3873" y="5828"/>
                      <a:pt x="3857" y="5834"/>
                      <a:pt x="3836" y="5817"/>
                    </a:cubicBezTo>
                    <a:cubicBezTo>
                      <a:pt x="3816" y="5800"/>
                      <a:pt x="3834" y="5770"/>
                      <a:pt x="3857" y="5758"/>
                    </a:cubicBezTo>
                    <a:cubicBezTo>
                      <a:pt x="3880" y="5746"/>
                      <a:pt x="3915" y="5744"/>
                      <a:pt x="3944" y="5741"/>
                    </a:cubicBezTo>
                    <a:cubicBezTo>
                      <a:pt x="3973" y="5738"/>
                      <a:pt x="4017" y="5731"/>
                      <a:pt x="4027" y="5707"/>
                    </a:cubicBezTo>
                    <a:cubicBezTo>
                      <a:pt x="4037" y="5684"/>
                      <a:pt x="3872" y="5674"/>
                      <a:pt x="3844" y="5669"/>
                    </a:cubicBezTo>
                    <a:cubicBezTo>
                      <a:pt x="3817" y="5663"/>
                      <a:pt x="3806" y="5640"/>
                      <a:pt x="3813" y="5629"/>
                    </a:cubicBezTo>
                    <a:close/>
                    <a:moveTo>
                      <a:pt x="1041" y="2421"/>
                    </a:moveTo>
                    <a:cubicBezTo>
                      <a:pt x="1041" y="2421"/>
                      <a:pt x="1041" y="2421"/>
                      <a:pt x="1041" y="2421"/>
                    </a:cubicBezTo>
                    <a:cubicBezTo>
                      <a:pt x="1041" y="2421"/>
                      <a:pt x="1041" y="2421"/>
                      <a:pt x="1041" y="2421"/>
                    </a:cubicBezTo>
                    <a:close/>
                    <a:moveTo>
                      <a:pt x="1698" y="1406"/>
                    </a:moveTo>
                    <a:cubicBezTo>
                      <a:pt x="1707" y="1387"/>
                      <a:pt x="1695" y="1363"/>
                      <a:pt x="1683" y="1349"/>
                    </a:cubicBezTo>
                    <a:cubicBezTo>
                      <a:pt x="1670" y="1335"/>
                      <a:pt x="1683" y="1322"/>
                      <a:pt x="1695" y="1307"/>
                    </a:cubicBezTo>
                    <a:cubicBezTo>
                      <a:pt x="1707" y="1292"/>
                      <a:pt x="1746" y="1278"/>
                      <a:pt x="1751" y="1260"/>
                    </a:cubicBezTo>
                    <a:cubicBezTo>
                      <a:pt x="1756" y="1242"/>
                      <a:pt x="1761" y="1208"/>
                      <a:pt x="1802" y="1204"/>
                    </a:cubicBezTo>
                    <a:cubicBezTo>
                      <a:pt x="1843" y="1200"/>
                      <a:pt x="1845" y="1263"/>
                      <a:pt x="1841" y="1281"/>
                    </a:cubicBezTo>
                    <a:cubicBezTo>
                      <a:pt x="1837" y="1298"/>
                      <a:pt x="1791" y="1298"/>
                      <a:pt x="1769" y="1314"/>
                    </a:cubicBezTo>
                    <a:cubicBezTo>
                      <a:pt x="1747" y="1329"/>
                      <a:pt x="1766" y="1360"/>
                      <a:pt x="1784" y="1367"/>
                    </a:cubicBezTo>
                    <a:cubicBezTo>
                      <a:pt x="1802" y="1374"/>
                      <a:pt x="1858" y="1370"/>
                      <a:pt x="1884" y="1383"/>
                    </a:cubicBezTo>
                    <a:cubicBezTo>
                      <a:pt x="1909" y="1397"/>
                      <a:pt x="1900" y="1417"/>
                      <a:pt x="1856" y="1441"/>
                    </a:cubicBezTo>
                    <a:cubicBezTo>
                      <a:pt x="1812" y="1464"/>
                      <a:pt x="1765" y="1467"/>
                      <a:pt x="1741" y="1475"/>
                    </a:cubicBezTo>
                    <a:cubicBezTo>
                      <a:pt x="1718" y="1483"/>
                      <a:pt x="1706" y="1493"/>
                      <a:pt x="1695" y="1520"/>
                    </a:cubicBezTo>
                    <a:cubicBezTo>
                      <a:pt x="1684" y="1547"/>
                      <a:pt x="1657" y="1565"/>
                      <a:pt x="1657" y="1565"/>
                    </a:cubicBezTo>
                    <a:cubicBezTo>
                      <a:pt x="1629" y="1558"/>
                      <a:pt x="1636" y="1503"/>
                      <a:pt x="1650" y="1468"/>
                    </a:cubicBezTo>
                    <a:cubicBezTo>
                      <a:pt x="1664" y="1432"/>
                      <a:pt x="1688" y="1426"/>
                      <a:pt x="1698" y="1406"/>
                    </a:cubicBezTo>
                    <a:close/>
                    <a:moveTo>
                      <a:pt x="2429" y="4229"/>
                    </a:moveTo>
                    <a:cubicBezTo>
                      <a:pt x="2256" y="4147"/>
                      <a:pt x="2256" y="4147"/>
                      <a:pt x="2256" y="4147"/>
                    </a:cubicBezTo>
                    <a:cubicBezTo>
                      <a:pt x="2249" y="4144"/>
                      <a:pt x="2194" y="4126"/>
                      <a:pt x="2139" y="4108"/>
                    </a:cubicBezTo>
                    <a:cubicBezTo>
                      <a:pt x="2110" y="4098"/>
                      <a:pt x="2080" y="4089"/>
                      <a:pt x="2058" y="4081"/>
                    </a:cubicBezTo>
                    <a:cubicBezTo>
                      <a:pt x="2047" y="4078"/>
                      <a:pt x="2037" y="4075"/>
                      <a:pt x="2031" y="4072"/>
                    </a:cubicBezTo>
                    <a:cubicBezTo>
                      <a:pt x="2030" y="4072"/>
                      <a:pt x="2030" y="4072"/>
                      <a:pt x="2029" y="4072"/>
                    </a:cubicBezTo>
                    <a:cubicBezTo>
                      <a:pt x="1992" y="4175"/>
                      <a:pt x="1992" y="4175"/>
                      <a:pt x="1992" y="4175"/>
                    </a:cubicBezTo>
                    <a:cubicBezTo>
                      <a:pt x="1800" y="4331"/>
                      <a:pt x="1800" y="4331"/>
                      <a:pt x="1800" y="4331"/>
                    </a:cubicBezTo>
                    <a:cubicBezTo>
                      <a:pt x="1783" y="4313"/>
                      <a:pt x="1783" y="4313"/>
                      <a:pt x="1783" y="4313"/>
                    </a:cubicBezTo>
                    <a:cubicBezTo>
                      <a:pt x="1971" y="4160"/>
                      <a:pt x="1971" y="4160"/>
                      <a:pt x="1971" y="4160"/>
                    </a:cubicBezTo>
                    <a:cubicBezTo>
                      <a:pt x="2071" y="3885"/>
                      <a:pt x="2071" y="3885"/>
                      <a:pt x="2071" y="3885"/>
                    </a:cubicBezTo>
                    <a:cubicBezTo>
                      <a:pt x="2094" y="3893"/>
                      <a:pt x="2094" y="3893"/>
                      <a:pt x="2094" y="3893"/>
                    </a:cubicBezTo>
                    <a:cubicBezTo>
                      <a:pt x="2038" y="4049"/>
                      <a:pt x="2038" y="4049"/>
                      <a:pt x="2038" y="4049"/>
                    </a:cubicBezTo>
                    <a:cubicBezTo>
                      <a:pt x="2083" y="4064"/>
                      <a:pt x="2265" y="4124"/>
                      <a:pt x="2265" y="4124"/>
                    </a:cubicBezTo>
                    <a:cubicBezTo>
                      <a:pt x="2266" y="4124"/>
                      <a:pt x="2266" y="4124"/>
                      <a:pt x="2266" y="4124"/>
                    </a:cubicBezTo>
                    <a:cubicBezTo>
                      <a:pt x="2439" y="4207"/>
                      <a:pt x="2439" y="4207"/>
                      <a:pt x="2439" y="4207"/>
                    </a:cubicBezTo>
                    <a:cubicBezTo>
                      <a:pt x="2429" y="4229"/>
                      <a:pt x="2429" y="4229"/>
                      <a:pt x="2429" y="4229"/>
                    </a:cubicBezTo>
                    <a:close/>
                    <a:moveTo>
                      <a:pt x="1662" y="3616"/>
                    </a:moveTo>
                    <a:cubicBezTo>
                      <a:pt x="1661" y="3606"/>
                      <a:pt x="1756" y="3549"/>
                      <a:pt x="1807" y="3529"/>
                    </a:cubicBezTo>
                    <a:cubicBezTo>
                      <a:pt x="1858" y="3508"/>
                      <a:pt x="1918" y="3467"/>
                      <a:pt x="1978" y="3399"/>
                    </a:cubicBezTo>
                    <a:cubicBezTo>
                      <a:pt x="2038" y="3330"/>
                      <a:pt x="2100" y="3308"/>
                      <a:pt x="2127" y="3320"/>
                    </a:cubicBezTo>
                    <a:cubicBezTo>
                      <a:pt x="2162" y="3335"/>
                      <a:pt x="2180" y="3367"/>
                      <a:pt x="2172" y="3389"/>
                    </a:cubicBezTo>
                    <a:cubicBezTo>
                      <a:pt x="2164" y="3411"/>
                      <a:pt x="2124" y="3393"/>
                      <a:pt x="2075" y="3393"/>
                    </a:cubicBezTo>
                    <a:cubicBezTo>
                      <a:pt x="2026" y="3393"/>
                      <a:pt x="2011" y="3433"/>
                      <a:pt x="1987" y="3474"/>
                    </a:cubicBezTo>
                    <a:cubicBezTo>
                      <a:pt x="1964" y="3515"/>
                      <a:pt x="1933" y="3516"/>
                      <a:pt x="1896" y="3530"/>
                    </a:cubicBezTo>
                    <a:cubicBezTo>
                      <a:pt x="1859" y="3544"/>
                      <a:pt x="1800" y="3567"/>
                      <a:pt x="1759" y="3593"/>
                    </a:cubicBezTo>
                    <a:cubicBezTo>
                      <a:pt x="1718" y="3619"/>
                      <a:pt x="1664" y="3626"/>
                      <a:pt x="1662" y="3616"/>
                    </a:cubicBezTo>
                    <a:close/>
                  </a:path>
                </a:pathLst>
              </a:custGeom>
              <a:solidFill>
                <a:srgbClr val="C0CF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grpSp>
        <p:sp>
          <p:nvSpPr>
            <p:cNvPr id="15" name="---Onder grijs">
              <a:extLst>
                <a:ext uri="{FF2B5EF4-FFF2-40B4-BE49-F238E27FC236}">
                  <a16:creationId xmlns:a16="http://schemas.microsoft.com/office/drawing/2014/main" id="{5AED442C-5379-4E8F-9487-B56DA1942F9A}"/>
                </a:ext>
              </a:extLst>
            </p:cNvPr>
            <p:cNvSpPr>
              <a:spLocks noSelect="1"/>
            </p:cNvSpPr>
            <p:nvPr userDrawn="1"/>
          </p:nvSpPr>
          <p:spPr bwMode="gray">
            <a:xfrm>
              <a:off x="6478588" y="5713200"/>
              <a:ext cx="5716588" cy="1146175"/>
            </a:xfrm>
            <a:custGeom>
              <a:avLst/>
              <a:gdLst>
                <a:gd name="T0" fmla="*/ 4081 w 18004"/>
                <a:gd name="T1" fmla="*/ 69 h 3615"/>
                <a:gd name="T2" fmla="*/ 4999 w 18004"/>
                <a:gd name="T3" fmla="*/ 0 h 3615"/>
                <a:gd name="T4" fmla="*/ 4922 w 18004"/>
                <a:gd name="T5" fmla="*/ 564 h 3615"/>
                <a:gd name="T6" fmla="*/ 5139 w 18004"/>
                <a:gd name="T7" fmla="*/ 3404 h 3615"/>
                <a:gd name="T8" fmla="*/ 5117 w 18004"/>
                <a:gd name="T9" fmla="*/ 3600 h 3615"/>
                <a:gd name="T10" fmla="*/ 4520 w 18004"/>
                <a:gd name="T11" fmla="*/ 3310 h 3615"/>
                <a:gd name="T12" fmla="*/ 3509 w 18004"/>
                <a:gd name="T13" fmla="*/ 3411 h 3615"/>
                <a:gd name="T14" fmla="*/ 3318 w 18004"/>
                <a:gd name="T15" fmla="*/ 3258 h 3615"/>
                <a:gd name="T16" fmla="*/ 3293 w 18004"/>
                <a:gd name="T17" fmla="*/ 3107 h 3615"/>
                <a:gd name="T18" fmla="*/ 4189 w 18004"/>
                <a:gd name="T19" fmla="*/ 2929 h 3615"/>
                <a:gd name="T20" fmla="*/ 5553 w 18004"/>
                <a:gd name="T21" fmla="*/ 2498 h 3615"/>
                <a:gd name="T22" fmla="*/ 5134 w 18004"/>
                <a:gd name="T23" fmla="*/ 2164 h 3615"/>
                <a:gd name="T24" fmla="*/ 131 w 18004"/>
                <a:gd name="T25" fmla="*/ 2201 h 3615"/>
                <a:gd name="T26" fmla="*/ 191 w 18004"/>
                <a:gd name="T27" fmla="*/ 1972 h 3615"/>
                <a:gd name="T28" fmla="*/ 5445 w 18004"/>
                <a:gd name="T29" fmla="*/ 2827 h 3615"/>
                <a:gd name="T30" fmla="*/ 5083 w 18004"/>
                <a:gd name="T31" fmla="*/ 2970 h 3615"/>
                <a:gd name="T32" fmla="*/ 1260 w 18004"/>
                <a:gd name="T33" fmla="*/ 967 h 3615"/>
                <a:gd name="T34" fmla="*/ 1850 w 18004"/>
                <a:gd name="T35" fmla="*/ 455 h 3615"/>
                <a:gd name="T36" fmla="*/ 2989 w 18004"/>
                <a:gd name="T37" fmla="*/ 761 h 3615"/>
                <a:gd name="T38" fmla="*/ 2974 w 18004"/>
                <a:gd name="T39" fmla="*/ 832 h 3615"/>
                <a:gd name="T40" fmla="*/ 14992 w 18004"/>
                <a:gd name="T41" fmla="*/ 0 h 3615"/>
                <a:gd name="T42" fmla="*/ 13818 w 18004"/>
                <a:gd name="T43" fmla="*/ 328 h 3615"/>
                <a:gd name="T44" fmla="*/ 11201 w 18004"/>
                <a:gd name="T45" fmla="*/ 553 h 3615"/>
                <a:gd name="T46" fmla="*/ 10915 w 18004"/>
                <a:gd name="T47" fmla="*/ 574 h 3615"/>
                <a:gd name="T48" fmla="*/ 9185 w 18004"/>
                <a:gd name="T49" fmla="*/ 270 h 3615"/>
                <a:gd name="T50" fmla="*/ 7684 w 18004"/>
                <a:gd name="T51" fmla="*/ 1941 h 3615"/>
                <a:gd name="T52" fmla="*/ 5023 w 18004"/>
                <a:gd name="T53" fmla="*/ 219 h 3615"/>
                <a:gd name="T54" fmla="*/ 4581 w 18004"/>
                <a:gd name="T55" fmla="*/ 160 h 3615"/>
                <a:gd name="T56" fmla="*/ 3894 w 18004"/>
                <a:gd name="T57" fmla="*/ 0 h 3615"/>
                <a:gd name="T58" fmla="*/ 3629 w 18004"/>
                <a:gd name="T59" fmla="*/ 130 h 3615"/>
                <a:gd name="T60" fmla="*/ 3932 w 18004"/>
                <a:gd name="T61" fmla="*/ 1715 h 3615"/>
                <a:gd name="T62" fmla="*/ 2644 w 18004"/>
                <a:gd name="T63" fmla="*/ 291 h 3615"/>
                <a:gd name="T64" fmla="*/ 2031 w 18004"/>
                <a:gd name="T65" fmla="*/ 788 h 3615"/>
                <a:gd name="T66" fmla="*/ 1231 w 18004"/>
                <a:gd name="T67" fmla="*/ 3438 h 3615"/>
                <a:gd name="T68" fmla="*/ 2824 w 18004"/>
                <a:gd name="T69" fmla="*/ 2477 h 3615"/>
                <a:gd name="T70" fmla="*/ 3349 w 18004"/>
                <a:gd name="T71" fmla="*/ 3566 h 3615"/>
                <a:gd name="T72" fmla="*/ 4923 w 18004"/>
                <a:gd name="T73" fmla="*/ 1907 h 3615"/>
                <a:gd name="T74" fmla="*/ 5580 w 18004"/>
                <a:gd name="T75" fmla="*/ 3534 h 3615"/>
                <a:gd name="T76" fmla="*/ 7546 w 18004"/>
                <a:gd name="T77" fmla="*/ 3600 h 3615"/>
                <a:gd name="T78" fmla="*/ 11144 w 18004"/>
                <a:gd name="T79" fmla="*/ 2799 h 3615"/>
                <a:gd name="T80" fmla="*/ 15308 w 18004"/>
                <a:gd name="T81" fmla="*/ 3532 h 3615"/>
                <a:gd name="T82" fmla="*/ 17257 w 18004"/>
                <a:gd name="T83" fmla="*/ 2238 h 3615"/>
                <a:gd name="T84" fmla="*/ 17477 w 18004"/>
                <a:gd name="T85" fmla="*/ 2376 h 3615"/>
                <a:gd name="T86" fmla="*/ 3078 w 18004"/>
                <a:gd name="T87" fmla="*/ 342 h 3615"/>
                <a:gd name="T88" fmla="*/ 2516 w 18004"/>
                <a:gd name="T89" fmla="*/ 425 h 3615"/>
                <a:gd name="T90" fmla="*/ 3403 w 18004"/>
                <a:gd name="T91" fmla="*/ 1858 h 3615"/>
                <a:gd name="T92" fmla="*/ 2351 w 18004"/>
                <a:gd name="T93" fmla="*/ 1567 h 3615"/>
                <a:gd name="T94" fmla="*/ 3095 w 18004"/>
                <a:gd name="T95" fmla="*/ 1820 h 3615"/>
                <a:gd name="T96" fmla="*/ 4144 w 18004"/>
                <a:gd name="T97" fmla="*/ 1955 h 3615"/>
                <a:gd name="T98" fmla="*/ 3814 w 18004"/>
                <a:gd name="T99" fmla="*/ 2784 h 3615"/>
                <a:gd name="T100" fmla="*/ 3970 w 18004"/>
                <a:gd name="T101" fmla="*/ 2899 h 3615"/>
                <a:gd name="T102" fmla="*/ 3602 w 18004"/>
                <a:gd name="T103" fmla="*/ 3224 h 3615"/>
                <a:gd name="T104" fmla="*/ 4289 w 18004"/>
                <a:gd name="T105" fmla="*/ 3336 h 3615"/>
                <a:gd name="T106" fmla="*/ 3844 w 18004"/>
                <a:gd name="T107" fmla="*/ 2396 h 3615"/>
                <a:gd name="T108" fmla="*/ 4974 w 18004"/>
                <a:gd name="T109" fmla="*/ 3218 h 3615"/>
                <a:gd name="T110" fmla="*/ 6695 w 18004"/>
                <a:gd name="T111" fmla="*/ 1906 h 3615"/>
                <a:gd name="T112" fmla="*/ 10817 w 18004"/>
                <a:gd name="T113" fmla="*/ 606 h 3615"/>
                <a:gd name="T114" fmla="*/ 11184 w 18004"/>
                <a:gd name="T115" fmla="*/ 541 h 3615"/>
                <a:gd name="T116" fmla="*/ 7822 w 18004"/>
                <a:gd name="T117" fmla="*/ 958 h 3615"/>
                <a:gd name="T118" fmla="*/ 9048 w 18004"/>
                <a:gd name="T119" fmla="*/ 1695 h 3615"/>
                <a:gd name="T120" fmla="*/ 12939 w 18004"/>
                <a:gd name="T121" fmla="*/ 2718 h 3615"/>
                <a:gd name="T122" fmla="*/ 101 w 18004"/>
                <a:gd name="T123" fmla="*/ 552 h 3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04" h="3615">
                  <a:moveTo>
                    <a:pt x="3946" y="222"/>
                  </a:moveTo>
                  <a:cubicBezTo>
                    <a:pt x="3999" y="168"/>
                    <a:pt x="3999" y="168"/>
                    <a:pt x="3999" y="168"/>
                  </a:cubicBezTo>
                  <a:cubicBezTo>
                    <a:pt x="4051" y="219"/>
                    <a:pt x="4051" y="219"/>
                    <a:pt x="4051" y="219"/>
                  </a:cubicBezTo>
                  <a:cubicBezTo>
                    <a:pt x="4150" y="118"/>
                    <a:pt x="4150" y="118"/>
                    <a:pt x="4150" y="118"/>
                  </a:cubicBezTo>
                  <a:cubicBezTo>
                    <a:pt x="4081" y="51"/>
                    <a:pt x="4081" y="51"/>
                    <a:pt x="4081" y="51"/>
                  </a:cubicBezTo>
                  <a:cubicBezTo>
                    <a:pt x="4076" y="55"/>
                    <a:pt x="4076" y="55"/>
                    <a:pt x="4076" y="55"/>
                  </a:cubicBezTo>
                  <a:cubicBezTo>
                    <a:pt x="4068" y="64"/>
                    <a:pt x="4068" y="64"/>
                    <a:pt x="4068" y="64"/>
                  </a:cubicBezTo>
                  <a:cubicBezTo>
                    <a:pt x="4033" y="29"/>
                    <a:pt x="4033" y="29"/>
                    <a:pt x="4033" y="29"/>
                  </a:cubicBezTo>
                  <a:cubicBezTo>
                    <a:pt x="3896" y="164"/>
                    <a:pt x="3896" y="164"/>
                    <a:pt x="3896" y="164"/>
                  </a:cubicBezTo>
                  <a:cubicBezTo>
                    <a:pt x="3892" y="169"/>
                    <a:pt x="3892" y="169"/>
                    <a:pt x="3892" y="169"/>
                  </a:cubicBezTo>
                  <a:lnTo>
                    <a:pt x="3946" y="222"/>
                  </a:lnTo>
                  <a:close/>
                  <a:moveTo>
                    <a:pt x="4033" y="47"/>
                  </a:moveTo>
                  <a:cubicBezTo>
                    <a:pt x="4068" y="82"/>
                    <a:pt x="4068" y="82"/>
                    <a:pt x="4068" y="82"/>
                  </a:cubicBezTo>
                  <a:cubicBezTo>
                    <a:pt x="4073" y="78"/>
                    <a:pt x="4073" y="78"/>
                    <a:pt x="4073" y="78"/>
                  </a:cubicBezTo>
                  <a:cubicBezTo>
                    <a:pt x="4081" y="69"/>
                    <a:pt x="4081" y="69"/>
                    <a:pt x="4081" y="69"/>
                  </a:cubicBezTo>
                  <a:cubicBezTo>
                    <a:pt x="4131" y="119"/>
                    <a:pt x="4131" y="119"/>
                    <a:pt x="4131" y="119"/>
                  </a:cubicBezTo>
                  <a:cubicBezTo>
                    <a:pt x="4051" y="200"/>
                    <a:pt x="4051" y="200"/>
                    <a:pt x="4051" y="200"/>
                  </a:cubicBezTo>
                  <a:cubicBezTo>
                    <a:pt x="3999" y="149"/>
                    <a:pt x="3999" y="149"/>
                    <a:pt x="3999" y="149"/>
                  </a:cubicBezTo>
                  <a:cubicBezTo>
                    <a:pt x="3946" y="203"/>
                    <a:pt x="3946" y="203"/>
                    <a:pt x="3946" y="203"/>
                  </a:cubicBezTo>
                  <a:cubicBezTo>
                    <a:pt x="3910" y="169"/>
                    <a:pt x="3910" y="169"/>
                    <a:pt x="3910" y="169"/>
                  </a:cubicBezTo>
                  <a:lnTo>
                    <a:pt x="4033" y="47"/>
                  </a:lnTo>
                  <a:close/>
                  <a:moveTo>
                    <a:pt x="4831" y="23"/>
                  </a:moveTo>
                  <a:cubicBezTo>
                    <a:pt x="4831" y="0"/>
                    <a:pt x="4831" y="0"/>
                    <a:pt x="4831" y="0"/>
                  </a:cubicBezTo>
                  <a:cubicBezTo>
                    <a:pt x="4844" y="0"/>
                    <a:pt x="4844" y="0"/>
                    <a:pt x="4844" y="0"/>
                  </a:cubicBezTo>
                  <a:cubicBezTo>
                    <a:pt x="4844" y="16"/>
                    <a:pt x="4844" y="16"/>
                    <a:pt x="4844" y="16"/>
                  </a:cubicBezTo>
                  <a:cubicBezTo>
                    <a:pt x="4902" y="16"/>
                    <a:pt x="4902" y="16"/>
                    <a:pt x="4902" y="16"/>
                  </a:cubicBezTo>
                  <a:cubicBezTo>
                    <a:pt x="4902" y="89"/>
                    <a:pt x="4902" y="89"/>
                    <a:pt x="4902" y="89"/>
                  </a:cubicBezTo>
                  <a:cubicBezTo>
                    <a:pt x="4986" y="88"/>
                    <a:pt x="4986" y="88"/>
                    <a:pt x="4986" y="88"/>
                  </a:cubicBezTo>
                  <a:cubicBezTo>
                    <a:pt x="4985" y="0"/>
                    <a:pt x="4985" y="0"/>
                    <a:pt x="4985" y="0"/>
                  </a:cubicBezTo>
                  <a:cubicBezTo>
                    <a:pt x="4999" y="0"/>
                    <a:pt x="4999" y="0"/>
                    <a:pt x="4999" y="0"/>
                  </a:cubicBezTo>
                  <a:cubicBezTo>
                    <a:pt x="4999" y="101"/>
                    <a:pt x="4999" y="101"/>
                    <a:pt x="4999" y="101"/>
                  </a:cubicBezTo>
                  <a:cubicBezTo>
                    <a:pt x="4889" y="102"/>
                    <a:pt x="4889" y="102"/>
                    <a:pt x="4889" y="102"/>
                  </a:cubicBezTo>
                  <a:cubicBezTo>
                    <a:pt x="4889" y="29"/>
                    <a:pt x="4889" y="29"/>
                    <a:pt x="4889" y="29"/>
                  </a:cubicBezTo>
                  <a:cubicBezTo>
                    <a:pt x="4832" y="29"/>
                    <a:pt x="4832" y="29"/>
                    <a:pt x="4832" y="29"/>
                  </a:cubicBezTo>
                  <a:lnTo>
                    <a:pt x="4831" y="23"/>
                  </a:lnTo>
                  <a:close/>
                  <a:moveTo>
                    <a:pt x="4724" y="465"/>
                  </a:moveTo>
                  <a:cubicBezTo>
                    <a:pt x="4725" y="635"/>
                    <a:pt x="4725" y="635"/>
                    <a:pt x="4725" y="635"/>
                  </a:cubicBezTo>
                  <a:cubicBezTo>
                    <a:pt x="4810" y="636"/>
                    <a:pt x="4810" y="636"/>
                    <a:pt x="4810" y="636"/>
                  </a:cubicBezTo>
                  <a:cubicBezTo>
                    <a:pt x="4811" y="733"/>
                    <a:pt x="4811" y="733"/>
                    <a:pt x="4811" y="733"/>
                  </a:cubicBezTo>
                  <a:cubicBezTo>
                    <a:pt x="4933" y="733"/>
                    <a:pt x="4933" y="733"/>
                    <a:pt x="4933" y="733"/>
                  </a:cubicBezTo>
                  <a:cubicBezTo>
                    <a:pt x="4936" y="551"/>
                    <a:pt x="4936" y="551"/>
                    <a:pt x="4936" y="551"/>
                  </a:cubicBezTo>
                  <a:cubicBezTo>
                    <a:pt x="4852" y="550"/>
                    <a:pt x="4852" y="550"/>
                    <a:pt x="4852" y="550"/>
                  </a:cubicBezTo>
                  <a:cubicBezTo>
                    <a:pt x="4855" y="466"/>
                    <a:pt x="4855" y="466"/>
                    <a:pt x="4855" y="466"/>
                  </a:cubicBezTo>
                  <a:lnTo>
                    <a:pt x="4724" y="465"/>
                  </a:lnTo>
                  <a:close/>
                  <a:moveTo>
                    <a:pt x="4922" y="564"/>
                  </a:moveTo>
                  <a:cubicBezTo>
                    <a:pt x="4920" y="720"/>
                    <a:pt x="4920" y="720"/>
                    <a:pt x="4920" y="720"/>
                  </a:cubicBezTo>
                  <a:cubicBezTo>
                    <a:pt x="4824" y="720"/>
                    <a:pt x="4824" y="720"/>
                    <a:pt x="4824" y="720"/>
                  </a:cubicBezTo>
                  <a:cubicBezTo>
                    <a:pt x="4823" y="630"/>
                    <a:pt x="4823" y="630"/>
                    <a:pt x="4823" y="630"/>
                  </a:cubicBezTo>
                  <a:cubicBezTo>
                    <a:pt x="4823" y="623"/>
                    <a:pt x="4823" y="623"/>
                    <a:pt x="4823" y="623"/>
                  </a:cubicBezTo>
                  <a:cubicBezTo>
                    <a:pt x="4738" y="622"/>
                    <a:pt x="4738" y="622"/>
                    <a:pt x="4738" y="622"/>
                  </a:cubicBezTo>
                  <a:cubicBezTo>
                    <a:pt x="4737" y="478"/>
                    <a:pt x="4737" y="478"/>
                    <a:pt x="4737" y="478"/>
                  </a:cubicBezTo>
                  <a:cubicBezTo>
                    <a:pt x="4841" y="479"/>
                    <a:pt x="4841" y="479"/>
                    <a:pt x="4841" y="479"/>
                  </a:cubicBezTo>
                  <a:cubicBezTo>
                    <a:pt x="4838" y="563"/>
                    <a:pt x="4838" y="563"/>
                    <a:pt x="4838" y="563"/>
                  </a:cubicBezTo>
                  <a:lnTo>
                    <a:pt x="4922" y="564"/>
                  </a:lnTo>
                  <a:close/>
                  <a:moveTo>
                    <a:pt x="5139" y="3404"/>
                  </a:moveTo>
                  <a:cubicBezTo>
                    <a:pt x="5156" y="3294"/>
                    <a:pt x="5156" y="3294"/>
                    <a:pt x="5156" y="3294"/>
                  </a:cubicBezTo>
                  <a:cubicBezTo>
                    <a:pt x="5002" y="3271"/>
                    <a:pt x="5002" y="3271"/>
                    <a:pt x="5002" y="3271"/>
                  </a:cubicBezTo>
                  <a:cubicBezTo>
                    <a:pt x="4986" y="3381"/>
                    <a:pt x="4986" y="3381"/>
                    <a:pt x="4986" y="3381"/>
                  </a:cubicBezTo>
                  <a:cubicBezTo>
                    <a:pt x="5133" y="3403"/>
                    <a:pt x="5133" y="3403"/>
                    <a:pt x="5133" y="3403"/>
                  </a:cubicBezTo>
                  <a:lnTo>
                    <a:pt x="5139" y="3404"/>
                  </a:lnTo>
                  <a:close/>
                  <a:moveTo>
                    <a:pt x="5001" y="3370"/>
                  </a:moveTo>
                  <a:cubicBezTo>
                    <a:pt x="5013" y="3286"/>
                    <a:pt x="5013" y="3286"/>
                    <a:pt x="5013" y="3286"/>
                  </a:cubicBezTo>
                  <a:cubicBezTo>
                    <a:pt x="5141" y="3305"/>
                    <a:pt x="5141" y="3305"/>
                    <a:pt x="5141" y="3305"/>
                  </a:cubicBezTo>
                  <a:cubicBezTo>
                    <a:pt x="5128" y="3389"/>
                    <a:pt x="5128" y="3389"/>
                    <a:pt x="5128" y="3389"/>
                  </a:cubicBezTo>
                  <a:lnTo>
                    <a:pt x="5001" y="3370"/>
                  </a:lnTo>
                  <a:close/>
                  <a:moveTo>
                    <a:pt x="4974" y="3592"/>
                  </a:moveTo>
                  <a:cubicBezTo>
                    <a:pt x="5028" y="3600"/>
                    <a:pt x="5028" y="3600"/>
                    <a:pt x="5028" y="3600"/>
                  </a:cubicBezTo>
                  <a:cubicBezTo>
                    <a:pt x="5121" y="3614"/>
                    <a:pt x="5121" y="3614"/>
                    <a:pt x="5121" y="3614"/>
                  </a:cubicBezTo>
                  <a:cubicBezTo>
                    <a:pt x="5128" y="3615"/>
                    <a:pt x="5128" y="3615"/>
                    <a:pt x="5128" y="3615"/>
                  </a:cubicBezTo>
                  <a:cubicBezTo>
                    <a:pt x="5130" y="3600"/>
                    <a:pt x="5130" y="3600"/>
                    <a:pt x="5130" y="3600"/>
                  </a:cubicBezTo>
                  <a:cubicBezTo>
                    <a:pt x="5144" y="3505"/>
                    <a:pt x="5144" y="3505"/>
                    <a:pt x="5144" y="3505"/>
                  </a:cubicBezTo>
                  <a:cubicBezTo>
                    <a:pt x="4991" y="3482"/>
                    <a:pt x="4991" y="3482"/>
                    <a:pt x="4991" y="3482"/>
                  </a:cubicBezTo>
                  <a:lnTo>
                    <a:pt x="4974" y="3592"/>
                  </a:lnTo>
                  <a:close/>
                  <a:moveTo>
                    <a:pt x="5129" y="3516"/>
                  </a:moveTo>
                  <a:cubicBezTo>
                    <a:pt x="5117" y="3600"/>
                    <a:pt x="5117" y="3600"/>
                    <a:pt x="5117" y="3600"/>
                  </a:cubicBezTo>
                  <a:cubicBezTo>
                    <a:pt x="5117" y="3600"/>
                    <a:pt x="5117" y="3600"/>
                    <a:pt x="5117" y="3600"/>
                  </a:cubicBezTo>
                  <a:cubicBezTo>
                    <a:pt x="5116" y="3600"/>
                    <a:pt x="5116" y="3600"/>
                    <a:pt x="5116" y="3600"/>
                  </a:cubicBezTo>
                  <a:cubicBezTo>
                    <a:pt x="4989" y="3581"/>
                    <a:pt x="4989" y="3581"/>
                    <a:pt x="4989" y="3581"/>
                  </a:cubicBezTo>
                  <a:cubicBezTo>
                    <a:pt x="5002" y="3497"/>
                    <a:pt x="5002" y="3497"/>
                    <a:pt x="5002" y="3497"/>
                  </a:cubicBezTo>
                  <a:lnTo>
                    <a:pt x="5129" y="3516"/>
                  </a:lnTo>
                  <a:close/>
                  <a:moveTo>
                    <a:pt x="4531" y="3325"/>
                  </a:moveTo>
                  <a:cubicBezTo>
                    <a:pt x="4548" y="3215"/>
                    <a:pt x="4548" y="3215"/>
                    <a:pt x="4548" y="3215"/>
                  </a:cubicBezTo>
                  <a:cubicBezTo>
                    <a:pt x="4394" y="3192"/>
                    <a:pt x="4394" y="3192"/>
                    <a:pt x="4394" y="3192"/>
                  </a:cubicBezTo>
                  <a:cubicBezTo>
                    <a:pt x="4378" y="3302"/>
                    <a:pt x="4378" y="3302"/>
                    <a:pt x="4378" y="3302"/>
                  </a:cubicBezTo>
                  <a:cubicBezTo>
                    <a:pt x="4525" y="3324"/>
                    <a:pt x="4525" y="3324"/>
                    <a:pt x="4525" y="3324"/>
                  </a:cubicBezTo>
                  <a:lnTo>
                    <a:pt x="4531" y="3325"/>
                  </a:lnTo>
                  <a:close/>
                  <a:moveTo>
                    <a:pt x="4393" y="3291"/>
                  </a:moveTo>
                  <a:cubicBezTo>
                    <a:pt x="4405" y="3207"/>
                    <a:pt x="4405" y="3207"/>
                    <a:pt x="4405" y="3207"/>
                  </a:cubicBezTo>
                  <a:cubicBezTo>
                    <a:pt x="4533" y="3226"/>
                    <a:pt x="4533" y="3226"/>
                    <a:pt x="4533" y="3226"/>
                  </a:cubicBezTo>
                  <a:cubicBezTo>
                    <a:pt x="4520" y="3310"/>
                    <a:pt x="4520" y="3310"/>
                    <a:pt x="4520" y="3310"/>
                  </a:cubicBezTo>
                  <a:lnTo>
                    <a:pt x="4393" y="3291"/>
                  </a:lnTo>
                  <a:close/>
                  <a:moveTo>
                    <a:pt x="4508" y="3529"/>
                  </a:moveTo>
                  <a:cubicBezTo>
                    <a:pt x="4524" y="3419"/>
                    <a:pt x="4524" y="3419"/>
                    <a:pt x="4524" y="3419"/>
                  </a:cubicBezTo>
                  <a:cubicBezTo>
                    <a:pt x="4371" y="3396"/>
                    <a:pt x="4371" y="3396"/>
                    <a:pt x="4371" y="3396"/>
                  </a:cubicBezTo>
                  <a:cubicBezTo>
                    <a:pt x="4354" y="3506"/>
                    <a:pt x="4354" y="3506"/>
                    <a:pt x="4354" y="3506"/>
                  </a:cubicBezTo>
                  <a:cubicBezTo>
                    <a:pt x="4501" y="3528"/>
                    <a:pt x="4501" y="3528"/>
                    <a:pt x="4501" y="3528"/>
                  </a:cubicBezTo>
                  <a:lnTo>
                    <a:pt x="4508" y="3529"/>
                  </a:lnTo>
                  <a:close/>
                  <a:moveTo>
                    <a:pt x="4369" y="3495"/>
                  </a:moveTo>
                  <a:cubicBezTo>
                    <a:pt x="4382" y="3411"/>
                    <a:pt x="4382" y="3411"/>
                    <a:pt x="4382" y="3411"/>
                  </a:cubicBezTo>
                  <a:cubicBezTo>
                    <a:pt x="4509" y="3430"/>
                    <a:pt x="4509" y="3430"/>
                    <a:pt x="4509" y="3430"/>
                  </a:cubicBezTo>
                  <a:cubicBezTo>
                    <a:pt x="4497" y="3514"/>
                    <a:pt x="4497" y="3514"/>
                    <a:pt x="4497" y="3514"/>
                  </a:cubicBezTo>
                  <a:lnTo>
                    <a:pt x="4369" y="3495"/>
                  </a:lnTo>
                  <a:close/>
                  <a:moveTo>
                    <a:pt x="3356" y="3514"/>
                  </a:moveTo>
                  <a:cubicBezTo>
                    <a:pt x="3507" y="3517"/>
                    <a:pt x="3507" y="3517"/>
                    <a:pt x="3507" y="3517"/>
                  </a:cubicBezTo>
                  <a:cubicBezTo>
                    <a:pt x="3509" y="3411"/>
                    <a:pt x="3509" y="3411"/>
                    <a:pt x="3509" y="3411"/>
                  </a:cubicBezTo>
                  <a:cubicBezTo>
                    <a:pt x="3365" y="3409"/>
                    <a:pt x="3365" y="3409"/>
                    <a:pt x="3365" y="3409"/>
                  </a:cubicBezTo>
                  <a:cubicBezTo>
                    <a:pt x="3358" y="3408"/>
                    <a:pt x="3358" y="3408"/>
                    <a:pt x="3358" y="3408"/>
                  </a:cubicBezTo>
                  <a:lnTo>
                    <a:pt x="3356" y="3514"/>
                  </a:lnTo>
                  <a:close/>
                  <a:moveTo>
                    <a:pt x="3371" y="3421"/>
                  </a:moveTo>
                  <a:cubicBezTo>
                    <a:pt x="3497" y="3424"/>
                    <a:pt x="3497" y="3424"/>
                    <a:pt x="3497" y="3424"/>
                  </a:cubicBezTo>
                  <a:cubicBezTo>
                    <a:pt x="3495" y="3504"/>
                    <a:pt x="3495" y="3504"/>
                    <a:pt x="3495" y="3504"/>
                  </a:cubicBezTo>
                  <a:cubicBezTo>
                    <a:pt x="3369" y="3502"/>
                    <a:pt x="3369" y="3502"/>
                    <a:pt x="3369" y="3502"/>
                  </a:cubicBezTo>
                  <a:lnTo>
                    <a:pt x="3371" y="3421"/>
                  </a:lnTo>
                  <a:close/>
                  <a:moveTo>
                    <a:pt x="3305" y="3246"/>
                  </a:moveTo>
                  <a:cubicBezTo>
                    <a:pt x="3303" y="3351"/>
                    <a:pt x="3303" y="3351"/>
                    <a:pt x="3303" y="3351"/>
                  </a:cubicBezTo>
                  <a:cubicBezTo>
                    <a:pt x="3454" y="3354"/>
                    <a:pt x="3454" y="3354"/>
                    <a:pt x="3454" y="3354"/>
                  </a:cubicBezTo>
                  <a:cubicBezTo>
                    <a:pt x="3457" y="3249"/>
                    <a:pt x="3457" y="3249"/>
                    <a:pt x="3457" y="3249"/>
                  </a:cubicBezTo>
                  <a:cubicBezTo>
                    <a:pt x="3312" y="3246"/>
                    <a:pt x="3312" y="3246"/>
                    <a:pt x="3312" y="3246"/>
                  </a:cubicBezTo>
                  <a:lnTo>
                    <a:pt x="3305" y="3246"/>
                  </a:lnTo>
                  <a:close/>
                  <a:moveTo>
                    <a:pt x="3318" y="3258"/>
                  </a:moveTo>
                  <a:cubicBezTo>
                    <a:pt x="3444" y="3261"/>
                    <a:pt x="3444" y="3261"/>
                    <a:pt x="3444" y="3261"/>
                  </a:cubicBezTo>
                  <a:cubicBezTo>
                    <a:pt x="3442" y="3341"/>
                    <a:pt x="3442" y="3341"/>
                    <a:pt x="3442" y="3341"/>
                  </a:cubicBezTo>
                  <a:cubicBezTo>
                    <a:pt x="3316" y="3339"/>
                    <a:pt x="3316" y="3339"/>
                    <a:pt x="3316" y="3339"/>
                  </a:cubicBezTo>
                  <a:lnTo>
                    <a:pt x="3318" y="3258"/>
                  </a:lnTo>
                  <a:close/>
                  <a:moveTo>
                    <a:pt x="3281" y="3094"/>
                  </a:moveTo>
                  <a:cubicBezTo>
                    <a:pt x="3278" y="3200"/>
                    <a:pt x="3278" y="3200"/>
                    <a:pt x="3278" y="3200"/>
                  </a:cubicBezTo>
                  <a:cubicBezTo>
                    <a:pt x="3430" y="3203"/>
                    <a:pt x="3430" y="3203"/>
                    <a:pt x="3430" y="3203"/>
                  </a:cubicBezTo>
                  <a:cubicBezTo>
                    <a:pt x="3432" y="3097"/>
                    <a:pt x="3432" y="3097"/>
                    <a:pt x="3432" y="3097"/>
                  </a:cubicBezTo>
                  <a:cubicBezTo>
                    <a:pt x="3287" y="3094"/>
                    <a:pt x="3287" y="3094"/>
                    <a:pt x="3287" y="3094"/>
                  </a:cubicBezTo>
                  <a:lnTo>
                    <a:pt x="3281" y="3094"/>
                  </a:lnTo>
                  <a:close/>
                  <a:moveTo>
                    <a:pt x="3293" y="3107"/>
                  </a:moveTo>
                  <a:cubicBezTo>
                    <a:pt x="3419" y="3110"/>
                    <a:pt x="3419" y="3110"/>
                    <a:pt x="3419" y="3110"/>
                  </a:cubicBezTo>
                  <a:cubicBezTo>
                    <a:pt x="3417" y="3190"/>
                    <a:pt x="3417" y="3190"/>
                    <a:pt x="3417" y="3190"/>
                  </a:cubicBezTo>
                  <a:cubicBezTo>
                    <a:pt x="3291" y="3187"/>
                    <a:pt x="3291" y="3187"/>
                    <a:pt x="3291" y="3187"/>
                  </a:cubicBezTo>
                  <a:lnTo>
                    <a:pt x="3293" y="3107"/>
                  </a:lnTo>
                  <a:close/>
                  <a:moveTo>
                    <a:pt x="3896" y="2899"/>
                  </a:moveTo>
                  <a:cubicBezTo>
                    <a:pt x="3752" y="2896"/>
                    <a:pt x="3752" y="2896"/>
                    <a:pt x="3752" y="2896"/>
                  </a:cubicBezTo>
                  <a:cubicBezTo>
                    <a:pt x="3745" y="2896"/>
                    <a:pt x="3745" y="2896"/>
                    <a:pt x="3745" y="2896"/>
                  </a:cubicBezTo>
                  <a:cubicBezTo>
                    <a:pt x="3743" y="3001"/>
                    <a:pt x="3743" y="3001"/>
                    <a:pt x="3743" y="3001"/>
                  </a:cubicBezTo>
                  <a:cubicBezTo>
                    <a:pt x="3894" y="3004"/>
                    <a:pt x="3894" y="3004"/>
                    <a:pt x="3894" y="3004"/>
                  </a:cubicBezTo>
                  <a:lnTo>
                    <a:pt x="3896" y="2899"/>
                  </a:lnTo>
                  <a:close/>
                  <a:moveTo>
                    <a:pt x="3882" y="2992"/>
                  </a:moveTo>
                  <a:cubicBezTo>
                    <a:pt x="3756" y="2989"/>
                    <a:pt x="3756" y="2989"/>
                    <a:pt x="3756" y="2989"/>
                  </a:cubicBezTo>
                  <a:cubicBezTo>
                    <a:pt x="3758" y="2909"/>
                    <a:pt x="3758" y="2909"/>
                    <a:pt x="3758" y="2909"/>
                  </a:cubicBezTo>
                  <a:cubicBezTo>
                    <a:pt x="3884" y="2911"/>
                    <a:pt x="3884" y="2911"/>
                    <a:pt x="3884" y="2911"/>
                  </a:cubicBezTo>
                  <a:lnTo>
                    <a:pt x="3882" y="2992"/>
                  </a:lnTo>
                  <a:close/>
                  <a:moveTo>
                    <a:pt x="4038" y="2926"/>
                  </a:moveTo>
                  <a:cubicBezTo>
                    <a:pt x="4036" y="3032"/>
                    <a:pt x="4036" y="3032"/>
                    <a:pt x="4036" y="3032"/>
                  </a:cubicBezTo>
                  <a:cubicBezTo>
                    <a:pt x="4187" y="3035"/>
                    <a:pt x="4187" y="3035"/>
                    <a:pt x="4187" y="3035"/>
                  </a:cubicBezTo>
                  <a:cubicBezTo>
                    <a:pt x="4189" y="2929"/>
                    <a:pt x="4189" y="2929"/>
                    <a:pt x="4189" y="2929"/>
                  </a:cubicBezTo>
                  <a:cubicBezTo>
                    <a:pt x="4044" y="2926"/>
                    <a:pt x="4044" y="2926"/>
                    <a:pt x="4044" y="2926"/>
                  </a:cubicBezTo>
                  <a:lnTo>
                    <a:pt x="4038" y="2926"/>
                  </a:lnTo>
                  <a:close/>
                  <a:moveTo>
                    <a:pt x="4050" y="2939"/>
                  </a:moveTo>
                  <a:cubicBezTo>
                    <a:pt x="4176" y="2942"/>
                    <a:pt x="4176" y="2942"/>
                    <a:pt x="4176" y="2942"/>
                  </a:cubicBezTo>
                  <a:cubicBezTo>
                    <a:pt x="4174" y="3022"/>
                    <a:pt x="4174" y="3022"/>
                    <a:pt x="4174" y="3022"/>
                  </a:cubicBezTo>
                  <a:cubicBezTo>
                    <a:pt x="4048" y="3019"/>
                    <a:pt x="4048" y="3019"/>
                    <a:pt x="4048" y="3019"/>
                  </a:cubicBezTo>
                  <a:lnTo>
                    <a:pt x="4050" y="2939"/>
                  </a:lnTo>
                  <a:close/>
                  <a:moveTo>
                    <a:pt x="5368" y="2474"/>
                  </a:moveTo>
                  <a:cubicBezTo>
                    <a:pt x="5367" y="2481"/>
                    <a:pt x="5367" y="2481"/>
                    <a:pt x="5367" y="2481"/>
                  </a:cubicBezTo>
                  <a:cubicBezTo>
                    <a:pt x="5563" y="2513"/>
                    <a:pt x="5563" y="2513"/>
                    <a:pt x="5563" y="2513"/>
                  </a:cubicBezTo>
                  <a:cubicBezTo>
                    <a:pt x="5579" y="2417"/>
                    <a:pt x="5579" y="2417"/>
                    <a:pt x="5579" y="2417"/>
                  </a:cubicBezTo>
                  <a:cubicBezTo>
                    <a:pt x="5383" y="2385"/>
                    <a:pt x="5383" y="2385"/>
                    <a:pt x="5383" y="2385"/>
                  </a:cubicBezTo>
                  <a:lnTo>
                    <a:pt x="5368" y="2474"/>
                  </a:lnTo>
                  <a:close/>
                  <a:moveTo>
                    <a:pt x="5564" y="2428"/>
                  </a:moveTo>
                  <a:cubicBezTo>
                    <a:pt x="5553" y="2498"/>
                    <a:pt x="5553" y="2498"/>
                    <a:pt x="5553" y="2498"/>
                  </a:cubicBezTo>
                  <a:cubicBezTo>
                    <a:pt x="5382" y="2470"/>
                    <a:pt x="5382" y="2470"/>
                    <a:pt x="5382" y="2470"/>
                  </a:cubicBezTo>
                  <a:cubicBezTo>
                    <a:pt x="5394" y="2400"/>
                    <a:pt x="5394" y="2400"/>
                    <a:pt x="5394" y="2400"/>
                  </a:cubicBezTo>
                  <a:lnTo>
                    <a:pt x="5564" y="2428"/>
                  </a:lnTo>
                  <a:close/>
                  <a:moveTo>
                    <a:pt x="5460" y="2333"/>
                  </a:moveTo>
                  <a:cubicBezTo>
                    <a:pt x="5487" y="2144"/>
                    <a:pt x="5487" y="2144"/>
                    <a:pt x="5487" y="2144"/>
                  </a:cubicBezTo>
                  <a:cubicBezTo>
                    <a:pt x="5488" y="2137"/>
                    <a:pt x="5488" y="2137"/>
                    <a:pt x="5488" y="2137"/>
                  </a:cubicBezTo>
                  <a:cubicBezTo>
                    <a:pt x="5166" y="2091"/>
                    <a:pt x="5166" y="2091"/>
                    <a:pt x="5166" y="2091"/>
                  </a:cubicBezTo>
                  <a:cubicBezTo>
                    <a:pt x="5158" y="2153"/>
                    <a:pt x="5158" y="2153"/>
                    <a:pt x="5158" y="2153"/>
                  </a:cubicBezTo>
                  <a:cubicBezTo>
                    <a:pt x="5123" y="2150"/>
                    <a:pt x="5123" y="2150"/>
                    <a:pt x="5123" y="2150"/>
                  </a:cubicBezTo>
                  <a:cubicBezTo>
                    <a:pt x="5110" y="2235"/>
                    <a:pt x="5110" y="2235"/>
                    <a:pt x="5110" y="2235"/>
                  </a:cubicBezTo>
                  <a:cubicBezTo>
                    <a:pt x="5143" y="2241"/>
                    <a:pt x="5143" y="2241"/>
                    <a:pt x="5143" y="2241"/>
                  </a:cubicBezTo>
                  <a:cubicBezTo>
                    <a:pt x="5138" y="2288"/>
                    <a:pt x="5138" y="2288"/>
                    <a:pt x="5138" y="2288"/>
                  </a:cubicBezTo>
                  <a:lnTo>
                    <a:pt x="5460" y="2333"/>
                  </a:lnTo>
                  <a:close/>
                  <a:moveTo>
                    <a:pt x="5125" y="2224"/>
                  </a:moveTo>
                  <a:cubicBezTo>
                    <a:pt x="5134" y="2164"/>
                    <a:pt x="5134" y="2164"/>
                    <a:pt x="5134" y="2164"/>
                  </a:cubicBezTo>
                  <a:cubicBezTo>
                    <a:pt x="5169" y="2167"/>
                    <a:pt x="5169" y="2167"/>
                    <a:pt x="5169" y="2167"/>
                  </a:cubicBezTo>
                  <a:cubicBezTo>
                    <a:pt x="5178" y="2105"/>
                    <a:pt x="5178" y="2105"/>
                    <a:pt x="5178" y="2105"/>
                  </a:cubicBezTo>
                  <a:cubicBezTo>
                    <a:pt x="5473" y="2148"/>
                    <a:pt x="5473" y="2148"/>
                    <a:pt x="5473" y="2148"/>
                  </a:cubicBezTo>
                  <a:cubicBezTo>
                    <a:pt x="5449" y="2318"/>
                    <a:pt x="5449" y="2318"/>
                    <a:pt x="5449" y="2318"/>
                  </a:cubicBezTo>
                  <a:cubicBezTo>
                    <a:pt x="5152" y="2277"/>
                    <a:pt x="5152" y="2277"/>
                    <a:pt x="5152" y="2277"/>
                  </a:cubicBezTo>
                  <a:cubicBezTo>
                    <a:pt x="5157" y="2230"/>
                    <a:pt x="5157" y="2230"/>
                    <a:pt x="5157" y="2230"/>
                  </a:cubicBezTo>
                  <a:lnTo>
                    <a:pt x="5125" y="2224"/>
                  </a:lnTo>
                  <a:close/>
                  <a:moveTo>
                    <a:pt x="215" y="1986"/>
                  </a:moveTo>
                  <a:cubicBezTo>
                    <a:pt x="196" y="1955"/>
                    <a:pt x="196" y="1955"/>
                    <a:pt x="196" y="1955"/>
                  </a:cubicBezTo>
                  <a:cubicBezTo>
                    <a:pt x="121" y="1990"/>
                    <a:pt x="121" y="1990"/>
                    <a:pt x="121" y="1990"/>
                  </a:cubicBezTo>
                  <a:cubicBezTo>
                    <a:pt x="138" y="2026"/>
                    <a:pt x="138" y="2026"/>
                    <a:pt x="138" y="2026"/>
                  </a:cubicBezTo>
                  <a:cubicBezTo>
                    <a:pt x="84" y="2049"/>
                    <a:pt x="84" y="2049"/>
                    <a:pt x="84" y="2049"/>
                  </a:cubicBezTo>
                  <a:cubicBezTo>
                    <a:pt x="105" y="2093"/>
                    <a:pt x="105" y="2093"/>
                    <a:pt x="105" y="2093"/>
                  </a:cubicBezTo>
                  <a:cubicBezTo>
                    <a:pt x="88" y="2099"/>
                    <a:pt x="88" y="2099"/>
                    <a:pt x="88" y="2099"/>
                  </a:cubicBezTo>
                  <a:cubicBezTo>
                    <a:pt x="131" y="2201"/>
                    <a:pt x="131" y="2201"/>
                    <a:pt x="131" y="2201"/>
                  </a:cubicBezTo>
                  <a:cubicBezTo>
                    <a:pt x="158" y="2191"/>
                    <a:pt x="158" y="2191"/>
                    <a:pt x="158" y="2191"/>
                  </a:cubicBezTo>
                  <a:cubicBezTo>
                    <a:pt x="236" y="2366"/>
                    <a:pt x="236" y="2366"/>
                    <a:pt x="236" y="2366"/>
                  </a:cubicBezTo>
                  <a:cubicBezTo>
                    <a:pt x="404" y="2288"/>
                    <a:pt x="404" y="2288"/>
                    <a:pt x="404" y="2288"/>
                  </a:cubicBezTo>
                  <a:cubicBezTo>
                    <a:pt x="410" y="2286"/>
                    <a:pt x="410" y="2286"/>
                    <a:pt x="410" y="2286"/>
                  </a:cubicBezTo>
                  <a:cubicBezTo>
                    <a:pt x="267" y="1964"/>
                    <a:pt x="267" y="1964"/>
                    <a:pt x="267" y="1964"/>
                  </a:cubicBezTo>
                  <a:lnTo>
                    <a:pt x="215" y="1986"/>
                  </a:lnTo>
                  <a:close/>
                  <a:moveTo>
                    <a:pt x="243" y="2348"/>
                  </a:moveTo>
                  <a:cubicBezTo>
                    <a:pt x="165" y="2174"/>
                    <a:pt x="165" y="2174"/>
                    <a:pt x="165" y="2174"/>
                  </a:cubicBezTo>
                  <a:cubicBezTo>
                    <a:pt x="138" y="2184"/>
                    <a:pt x="138" y="2184"/>
                    <a:pt x="138" y="2184"/>
                  </a:cubicBezTo>
                  <a:cubicBezTo>
                    <a:pt x="105" y="2107"/>
                    <a:pt x="105" y="2107"/>
                    <a:pt x="105" y="2107"/>
                  </a:cubicBezTo>
                  <a:cubicBezTo>
                    <a:pt x="122" y="2100"/>
                    <a:pt x="122" y="2100"/>
                    <a:pt x="122" y="2100"/>
                  </a:cubicBezTo>
                  <a:cubicBezTo>
                    <a:pt x="102" y="2056"/>
                    <a:pt x="102" y="2056"/>
                    <a:pt x="102" y="2056"/>
                  </a:cubicBezTo>
                  <a:cubicBezTo>
                    <a:pt x="155" y="2033"/>
                    <a:pt x="155" y="2033"/>
                    <a:pt x="155" y="2033"/>
                  </a:cubicBezTo>
                  <a:cubicBezTo>
                    <a:pt x="139" y="1996"/>
                    <a:pt x="139" y="1996"/>
                    <a:pt x="139" y="1996"/>
                  </a:cubicBezTo>
                  <a:cubicBezTo>
                    <a:pt x="191" y="1972"/>
                    <a:pt x="191" y="1972"/>
                    <a:pt x="191" y="1972"/>
                  </a:cubicBezTo>
                  <a:cubicBezTo>
                    <a:pt x="209" y="2002"/>
                    <a:pt x="209" y="2002"/>
                    <a:pt x="209" y="2002"/>
                  </a:cubicBezTo>
                  <a:cubicBezTo>
                    <a:pt x="260" y="1981"/>
                    <a:pt x="260" y="1981"/>
                    <a:pt x="260" y="1981"/>
                  </a:cubicBezTo>
                  <a:cubicBezTo>
                    <a:pt x="393" y="2279"/>
                    <a:pt x="393" y="2279"/>
                    <a:pt x="393" y="2279"/>
                  </a:cubicBezTo>
                  <a:lnTo>
                    <a:pt x="243" y="2348"/>
                  </a:lnTo>
                  <a:close/>
                  <a:moveTo>
                    <a:pt x="5037" y="2921"/>
                  </a:moveTo>
                  <a:cubicBezTo>
                    <a:pt x="5077" y="2925"/>
                    <a:pt x="5077" y="2925"/>
                    <a:pt x="5077" y="2925"/>
                  </a:cubicBezTo>
                  <a:cubicBezTo>
                    <a:pt x="5068" y="2982"/>
                    <a:pt x="5068" y="2982"/>
                    <a:pt x="5068" y="2982"/>
                  </a:cubicBezTo>
                  <a:cubicBezTo>
                    <a:pt x="5111" y="2986"/>
                    <a:pt x="5111" y="2986"/>
                    <a:pt x="5111" y="2986"/>
                  </a:cubicBezTo>
                  <a:cubicBezTo>
                    <a:pt x="5109" y="3006"/>
                    <a:pt x="5109" y="3006"/>
                    <a:pt x="5109" y="3006"/>
                  </a:cubicBezTo>
                  <a:cubicBezTo>
                    <a:pt x="5215" y="3020"/>
                    <a:pt x="5215" y="3020"/>
                    <a:pt x="5215" y="3020"/>
                  </a:cubicBezTo>
                  <a:cubicBezTo>
                    <a:pt x="5216" y="3015"/>
                    <a:pt x="5216" y="3015"/>
                    <a:pt x="5216" y="3015"/>
                  </a:cubicBezTo>
                  <a:cubicBezTo>
                    <a:pt x="5220" y="3002"/>
                    <a:pt x="5220" y="3002"/>
                    <a:pt x="5220" y="3002"/>
                  </a:cubicBezTo>
                  <a:cubicBezTo>
                    <a:pt x="5415" y="3027"/>
                    <a:pt x="5415" y="3027"/>
                    <a:pt x="5415" y="3027"/>
                  </a:cubicBezTo>
                  <a:cubicBezTo>
                    <a:pt x="5444" y="2834"/>
                    <a:pt x="5444" y="2834"/>
                    <a:pt x="5444" y="2834"/>
                  </a:cubicBezTo>
                  <a:cubicBezTo>
                    <a:pt x="5445" y="2827"/>
                    <a:pt x="5445" y="2827"/>
                    <a:pt x="5445" y="2827"/>
                  </a:cubicBezTo>
                  <a:cubicBezTo>
                    <a:pt x="5091" y="2782"/>
                    <a:pt x="5091" y="2782"/>
                    <a:pt x="5091" y="2782"/>
                  </a:cubicBezTo>
                  <a:cubicBezTo>
                    <a:pt x="5082" y="2837"/>
                    <a:pt x="5082" y="2837"/>
                    <a:pt x="5082" y="2837"/>
                  </a:cubicBezTo>
                  <a:cubicBezTo>
                    <a:pt x="5049" y="2833"/>
                    <a:pt x="5049" y="2833"/>
                    <a:pt x="5049" y="2833"/>
                  </a:cubicBezTo>
                  <a:lnTo>
                    <a:pt x="5037" y="2921"/>
                  </a:lnTo>
                  <a:close/>
                  <a:moveTo>
                    <a:pt x="5060" y="2848"/>
                  </a:moveTo>
                  <a:cubicBezTo>
                    <a:pt x="5093" y="2851"/>
                    <a:pt x="5093" y="2851"/>
                    <a:pt x="5093" y="2851"/>
                  </a:cubicBezTo>
                  <a:cubicBezTo>
                    <a:pt x="5102" y="2796"/>
                    <a:pt x="5102" y="2796"/>
                    <a:pt x="5102" y="2796"/>
                  </a:cubicBezTo>
                  <a:cubicBezTo>
                    <a:pt x="5430" y="2838"/>
                    <a:pt x="5430" y="2838"/>
                    <a:pt x="5430" y="2838"/>
                  </a:cubicBezTo>
                  <a:cubicBezTo>
                    <a:pt x="5404" y="3013"/>
                    <a:pt x="5404" y="3013"/>
                    <a:pt x="5404" y="3013"/>
                  </a:cubicBezTo>
                  <a:cubicBezTo>
                    <a:pt x="5211" y="2988"/>
                    <a:pt x="5211" y="2988"/>
                    <a:pt x="5211" y="2988"/>
                  </a:cubicBezTo>
                  <a:cubicBezTo>
                    <a:pt x="5209" y="2993"/>
                    <a:pt x="5209" y="2993"/>
                    <a:pt x="5209" y="2993"/>
                  </a:cubicBezTo>
                  <a:cubicBezTo>
                    <a:pt x="5205" y="3006"/>
                    <a:pt x="5205" y="3006"/>
                    <a:pt x="5205" y="3006"/>
                  </a:cubicBezTo>
                  <a:cubicBezTo>
                    <a:pt x="5123" y="2995"/>
                    <a:pt x="5123" y="2995"/>
                    <a:pt x="5123" y="2995"/>
                  </a:cubicBezTo>
                  <a:cubicBezTo>
                    <a:pt x="5126" y="2974"/>
                    <a:pt x="5126" y="2974"/>
                    <a:pt x="5126" y="2974"/>
                  </a:cubicBezTo>
                  <a:cubicBezTo>
                    <a:pt x="5083" y="2970"/>
                    <a:pt x="5083" y="2970"/>
                    <a:pt x="5083" y="2970"/>
                  </a:cubicBezTo>
                  <a:cubicBezTo>
                    <a:pt x="5092" y="2913"/>
                    <a:pt x="5092" y="2913"/>
                    <a:pt x="5092" y="2913"/>
                  </a:cubicBezTo>
                  <a:cubicBezTo>
                    <a:pt x="5052" y="2909"/>
                    <a:pt x="5052" y="2909"/>
                    <a:pt x="5052" y="2909"/>
                  </a:cubicBezTo>
                  <a:lnTo>
                    <a:pt x="5060" y="2848"/>
                  </a:lnTo>
                  <a:close/>
                  <a:moveTo>
                    <a:pt x="4495" y="20"/>
                  </a:moveTo>
                  <a:cubicBezTo>
                    <a:pt x="4347" y="9"/>
                    <a:pt x="4347" y="9"/>
                    <a:pt x="4347" y="9"/>
                  </a:cubicBezTo>
                  <a:cubicBezTo>
                    <a:pt x="4348" y="2"/>
                    <a:pt x="4348" y="2"/>
                    <a:pt x="4348" y="2"/>
                  </a:cubicBezTo>
                  <a:cubicBezTo>
                    <a:pt x="4348" y="0"/>
                    <a:pt x="4348" y="0"/>
                    <a:pt x="4348" y="0"/>
                  </a:cubicBezTo>
                  <a:cubicBezTo>
                    <a:pt x="4405" y="0"/>
                    <a:pt x="4405" y="0"/>
                    <a:pt x="4405" y="0"/>
                  </a:cubicBezTo>
                  <a:cubicBezTo>
                    <a:pt x="4483" y="6"/>
                    <a:pt x="4483" y="6"/>
                    <a:pt x="4483" y="6"/>
                  </a:cubicBezTo>
                  <a:cubicBezTo>
                    <a:pt x="4483" y="0"/>
                    <a:pt x="4483" y="0"/>
                    <a:pt x="4483" y="0"/>
                  </a:cubicBezTo>
                  <a:cubicBezTo>
                    <a:pt x="4496" y="0"/>
                    <a:pt x="4496" y="0"/>
                    <a:pt x="4496" y="0"/>
                  </a:cubicBezTo>
                  <a:lnTo>
                    <a:pt x="4495" y="20"/>
                  </a:lnTo>
                  <a:close/>
                  <a:moveTo>
                    <a:pt x="485" y="380"/>
                  </a:moveTo>
                  <a:cubicBezTo>
                    <a:pt x="384" y="676"/>
                    <a:pt x="384" y="676"/>
                    <a:pt x="384" y="676"/>
                  </a:cubicBezTo>
                  <a:cubicBezTo>
                    <a:pt x="1260" y="967"/>
                    <a:pt x="1260" y="967"/>
                    <a:pt x="1260" y="967"/>
                  </a:cubicBezTo>
                  <a:cubicBezTo>
                    <a:pt x="1342" y="718"/>
                    <a:pt x="1342" y="718"/>
                    <a:pt x="1342" y="718"/>
                  </a:cubicBezTo>
                  <a:cubicBezTo>
                    <a:pt x="1558" y="787"/>
                    <a:pt x="1558" y="787"/>
                    <a:pt x="1558" y="787"/>
                  </a:cubicBezTo>
                  <a:cubicBezTo>
                    <a:pt x="1594" y="678"/>
                    <a:pt x="1594" y="678"/>
                    <a:pt x="1594" y="678"/>
                  </a:cubicBezTo>
                  <a:cubicBezTo>
                    <a:pt x="1774" y="739"/>
                    <a:pt x="1774" y="739"/>
                    <a:pt x="1774" y="739"/>
                  </a:cubicBezTo>
                  <a:cubicBezTo>
                    <a:pt x="1866" y="453"/>
                    <a:pt x="1866" y="453"/>
                    <a:pt x="1866" y="453"/>
                  </a:cubicBezTo>
                  <a:cubicBezTo>
                    <a:pt x="1868" y="446"/>
                    <a:pt x="1868" y="446"/>
                    <a:pt x="1868" y="446"/>
                  </a:cubicBezTo>
                  <a:cubicBezTo>
                    <a:pt x="996" y="154"/>
                    <a:pt x="996" y="154"/>
                    <a:pt x="996" y="154"/>
                  </a:cubicBezTo>
                  <a:cubicBezTo>
                    <a:pt x="903" y="449"/>
                    <a:pt x="903" y="449"/>
                    <a:pt x="903" y="449"/>
                  </a:cubicBezTo>
                  <a:cubicBezTo>
                    <a:pt x="1129" y="525"/>
                    <a:pt x="1129" y="525"/>
                    <a:pt x="1129" y="525"/>
                  </a:cubicBezTo>
                  <a:cubicBezTo>
                    <a:pt x="1106" y="589"/>
                    <a:pt x="1106" y="589"/>
                    <a:pt x="1106" y="589"/>
                  </a:cubicBezTo>
                  <a:lnTo>
                    <a:pt x="485" y="380"/>
                  </a:lnTo>
                  <a:close/>
                  <a:moveTo>
                    <a:pt x="1148" y="516"/>
                  </a:moveTo>
                  <a:cubicBezTo>
                    <a:pt x="922" y="440"/>
                    <a:pt x="922" y="440"/>
                    <a:pt x="922" y="440"/>
                  </a:cubicBezTo>
                  <a:cubicBezTo>
                    <a:pt x="1005" y="173"/>
                    <a:pt x="1005" y="173"/>
                    <a:pt x="1005" y="173"/>
                  </a:cubicBezTo>
                  <a:cubicBezTo>
                    <a:pt x="1850" y="455"/>
                    <a:pt x="1850" y="455"/>
                    <a:pt x="1850" y="455"/>
                  </a:cubicBezTo>
                  <a:cubicBezTo>
                    <a:pt x="1764" y="720"/>
                    <a:pt x="1764" y="720"/>
                    <a:pt x="1764" y="720"/>
                  </a:cubicBezTo>
                  <a:cubicBezTo>
                    <a:pt x="1585" y="660"/>
                    <a:pt x="1585" y="660"/>
                    <a:pt x="1585" y="660"/>
                  </a:cubicBezTo>
                  <a:cubicBezTo>
                    <a:pt x="1549" y="769"/>
                    <a:pt x="1549" y="769"/>
                    <a:pt x="1549" y="769"/>
                  </a:cubicBezTo>
                  <a:cubicBezTo>
                    <a:pt x="1332" y="699"/>
                    <a:pt x="1332" y="699"/>
                    <a:pt x="1332" y="699"/>
                  </a:cubicBezTo>
                  <a:cubicBezTo>
                    <a:pt x="1251" y="948"/>
                    <a:pt x="1251" y="948"/>
                    <a:pt x="1251" y="948"/>
                  </a:cubicBezTo>
                  <a:cubicBezTo>
                    <a:pt x="403" y="667"/>
                    <a:pt x="403" y="667"/>
                    <a:pt x="403" y="667"/>
                  </a:cubicBezTo>
                  <a:cubicBezTo>
                    <a:pt x="495" y="399"/>
                    <a:pt x="495" y="399"/>
                    <a:pt x="495" y="399"/>
                  </a:cubicBezTo>
                  <a:cubicBezTo>
                    <a:pt x="1115" y="608"/>
                    <a:pt x="1115" y="608"/>
                    <a:pt x="1115" y="608"/>
                  </a:cubicBezTo>
                  <a:lnTo>
                    <a:pt x="1148" y="516"/>
                  </a:lnTo>
                  <a:close/>
                  <a:moveTo>
                    <a:pt x="3004" y="922"/>
                  </a:moveTo>
                  <a:cubicBezTo>
                    <a:pt x="3142" y="921"/>
                    <a:pt x="3142" y="921"/>
                    <a:pt x="3142" y="921"/>
                  </a:cubicBezTo>
                  <a:cubicBezTo>
                    <a:pt x="3142" y="827"/>
                    <a:pt x="3142" y="827"/>
                    <a:pt x="3142" y="827"/>
                  </a:cubicBezTo>
                  <a:cubicBezTo>
                    <a:pt x="3142" y="819"/>
                    <a:pt x="3142" y="819"/>
                    <a:pt x="3142" y="819"/>
                  </a:cubicBezTo>
                  <a:cubicBezTo>
                    <a:pt x="2989" y="817"/>
                    <a:pt x="2989" y="817"/>
                    <a:pt x="2989" y="817"/>
                  </a:cubicBezTo>
                  <a:cubicBezTo>
                    <a:pt x="2989" y="761"/>
                    <a:pt x="2989" y="761"/>
                    <a:pt x="2989" y="761"/>
                  </a:cubicBezTo>
                  <a:cubicBezTo>
                    <a:pt x="2841" y="763"/>
                    <a:pt x="2841" y="763"/>
                    <a:pt x="2841" y="763"/>
                  </a:cubicBezTo>
                  <a:cubicBezTo>
                    <a:pt x="2840" y="770"/>
                    <a:pt x="2840" y="770"/>
                    <a:pt x="2840" y="770"/>
                  </a:cubicBezTo>
                  <a:cubicBezTo>
                    <a:pt x="2839" y="784"/>
                    <a:pt x="2839" y="784"/>
                    <a:pt x="2839" y="784"/>
                  </a:cubicBezTo>
                  <a:cubicBezTo>
                    <a:pt x="2487" y="784"/>
                    <a:pt x="2487" y="784"/>
                    <a:pt x="2487" y="784"/>
                  </a:cubicBezTo>
                  <a:cubicBezTo>
                    <a:pt x="2486" y="1056"/>
                    <a:pt x="2486" y="1056"/>
                    <a:pt x="2486" y="1056"/>
                  </a:cubicBezTo>
                  <a:cubicBezTo>
                    <a:pt x="2999" y="975"/>
                    <a:pt x="2999" y="975"/>
                    <a:pt x="2999" y="975"/>
                  </a:cubicBezTo>
                  <a:lnTo>
                    <a:pt x="3004" y="922"/>
                  </a:lnTo>
                  <a:close/>
                  <a:moveTo>
                    <a:pt x="2986" y="962"/>
                  </a:moveTo>
                  <a:cubicBezTo>
                    <a:pt x="2501" y="1038"/>
                    <a:pt x="2501" y="1038"/>
                    <a:pt x="2501" y="1038"/>
                  </a:cubicBezTo>
                  <a:cubicBezTo>
                    <a:pt x="2502" y="798"/>
                    <a:pt x="2502" y="798"/>
                    <a:pt x="2502" y="798"/>
                  </a:cubicBezTo>
                  <a:cubicBezTo>
                    <a:pt x="2853" y="799"/>
                    <a:pt x="2853" y="799"/>
                    <a:pt x="2853" y="799"/>
                  </a:cubicBezTo>
                  <a:cubicBezTo>
                    <a:pt x="2853" y="792"/>
                    <a:pt x="2853" y="792"/>
                    <a:pt x="2853" y="792"/>
                  </a:cubicBezTo>
                  <a:cubicBezTo>
                    <a:pt x="2854" y="778"/>
                    <a:pt x="2854" y="778"/>
                    <a:pt x="2854" y="778"/>
                  </a:cubicBezTo>
                  <a:cubicBezTo>
                    <a:pt x="2974" y="776"/>
                    <a:pt x="2974" y="776"/>
                    <a:pt x="2974" y="776"/>
                  </a:cubicBezTo>
                  <a:cubicBezTo>
                    <a:pt x="2974" y="832"/>
                    <a:pt x="2974" y="832"/>
                    <a:pt x="2974" y="832"/>
                  </a:cubicBezTo>
                  <a:cubicBezTo>
                    <a:pt x="3127" y="834"/>
                    <a:pt x="3127" y="834"/>
                    <a:pt x="3127" y="834"/>
                  </a:cubicBezTo>
                  <a:cubicBezTo>
                    <a:pt x="3128" y="906"/>
                    <a:pt x="3128" y="906"/>
                    <a:pt x="3128" y="906"/>
                  </a:cubicBezTo>
                  <a:cubicBezTo>
                    <a:pt x="2991" y="908"/>
                    <a:pt x="2991" y="908"/>
                    <a:pt x="2991" y="908"/>
                  </a:cubicBezTo>
                  <a:lnTo>
                    <a:pt x="2986" y="962"/>
                  </a:lnTo>
                  <a:close/>
                  <a:moveTo>
                    <a:pt x="18004" y="1864"/>
                  </a:moveTo>
                  <a:cubicBezTo>
                    <a:pt x="17944" y="1913"/>
                    <a:pt x="17882" y="1964"/>
                    <a:pt x="17823" y="2012"/>
                  </a:cubicBezTo>
                  <a:cubicBezTo>
                    <a:pt x="17654" y="2149"/>
                    <a:pt x="17502" y="2272"/>
                    <a:pt x="17430" y="2329"/>
                  </a:cubicBezTo>
                  <a:cubicBezTo>
                    <a:pt x="17380" y="2277"/>
                    <a:pt x="17340" y="2230"/>
                    <a:pt x="17306" y="2195"/>
                  </a:cubicBezTo>
                  <a:cubicBezTo>
                    <a:pt x="17288" y="2173"/>
                    <a:pt x="16823" y="1638"/>
                    <a:pt x="16201" y="1271"/>
                  </a:cubicBezTo>
                  <a:cubicBezTo>
                    <a:pt x="16011" y="1158"/>
                    <a:pt x="15772" y="1016"/>
                    <a:pt x="15532" y="888"/>
                  </a:cubicBezTo>
                  <a:cubicBezTo>
                    <a:pt x="15407" y="822"/>
                    <a:pt x="15282" y="757"/>
                    <a:pt x="15163" y="696"/>
                  </a:cubicBezTo>
                  <a:cubicBezTo>
                    <a:pt x="15178" y="694"/>
                    <a:pt x="15178" y="694"/>
                    <a:pt x="15178" y="694"/>
                  </a:cubicBezTo>
                  <a:cubicBezTo>
                    <a:pt x="15174" y="672"/>
                    <a:pt x="15160" y="617"/>
                    <a:pt x="15138" y="533"/>
                  </a:cubicBezTo>
                  <a:cubicBezTo>
                    <a:pt x="15116" y="450"/>
                    <a:pt x="15086" y="342"/>
                    <a:pt x="15054" y="223"/>
                  </a:cubicBezTo>
                  <a:cubicBezTo>
                    <a:pt x="15034" y="152"/>
                    <a:pt x="15013" y="76"/>
                    <a:pt x="14992" y="0"/>
                  </a:cubicBezTo>
                  <a:cubicBezTo>
                    <a:pt x="14924" y="0"/>
                    <a:pt x="14924" y="0"/>
                    <a:pt x="14924" y="0"/>
                  </a:cubicBezTo>
                  <a:cubicBezTo>
                    <a:pt x="14981" y="207"/>
                    <a:pt x="15038" y="413"/>
                    <a:pt x="15075" y="550"/>
                  </a:cubicBezTo>
                  <a:cubicBezTo>
                    <a:pt x="15088" y="598"/>
                    <a:pt x="15098" y="639"/>
                    <a:pt x="15105" y="666"/>
                  </a:cubicBezTo>
                  <a:cubicBezTo>
                    <a:pt x="14874" y="549"/>
                    <a:pt x="14672" y="449"/>
                    <a:pt x="14552" y="390"/>
                  </a:cubicBezTo>
                  <a:cubicBezTo>
                    <a:pt x="14494" y="361"/>
                    <a:pt x="14454" y="341"/>
                    <a:pt x="14442" y="335"/>
                  </a:cubicBezTo>
                  <a:cubicBezTo>
                    <a:pt x="14435" y="329"/>
                    <a:pt x="14427" y="328"/>
                    <a:pt x="14423" y="327"/>
                  </a:cubicBezTo>
                  <a:cubicBezTo>
                    <a:pt x="13986" y="280"/>
                    <a:pt x="13986" y="280"/>
                    <a:pt x="13986" y="280"/>
                  </a:cubicBezTo>
                  <a:cubicBezTo>
                    <a:pt x="13984" y="254"/>
                    <a:pt x="13974" y="150"/>
                    <a:pt x="13959" y="0"/>
                  </a:cubicBezTo>
                  <a:cubicBezTo>
                    <a:pt x="13806" y="0"/>
                    <a:pt x="13806" y="0"/>
                    <a:pt x="13806" y="0"/>
                  </a:cubicBezTo>
                  <a:cubicBezTo>
                    <a:pt x="13818" y="121"/>
                    <a:pt x="13827" y="215"/>
                    <a:pt x="13831" y="263"/>
                  </a:cubicBezTo>
                  <a:cubicBezTo>
                    <a:pt x="13379" y="214"/>
                    <a:pt x="13379" y="214"/>
                    <a:pt x="13379" y="214"/>
                  </a:cubicBezTo>
                  <a:cubicBezTo>
                    <a:pt x="12998" y="0"/>
                    <a:pt x="12998" y="0"/>
                    <a:pt x="12998" y="0"/>
                  </a:cubicBezTo>
                  <a:cubicBezTo>
                    <a:pt x="12863" y="0"/>
                    <a:pt x="12863" y="0"/>
                    <a:pt x="12863" y="0"/>
                  </a:cubicBezTo>
                  <a:cubicBezTo>
                    <a:pt x="13359" y="278"/>
                    <a:pt x="13359" y="278"/>
                    <a:pt x="13359" y="278"/>
                  </a:cubicBezTo>
                  <a:cubicBezTo>
                    <a:pt x="13818" y="328"/>
                    <a:pt x="13818" y="328"/>
                    <a:pt x="13818" y="328"/>
                  </a:cubicBezTo>
                  <a:cubicBezTo>
                    <a:pt x="13134" y="2295"/>
                    <a:pt x="13134" y="2295"/>
                    <a:pt x="13134" y="2295"/>
                  </a:cubicBezTo>
                  <a:cubicBezTo>
                    <a:pt x="12166" y="1912"/>
                    <a:pt x="12166" y="1912"/>
                    <a:pt x="12166" y="1912"/>
                  </a:cubicBezTo>
                  <a:cubicBezTo>
                    <a:pt x="11973" y="640"/>
                    <a:pt x="11973" y="640"/>
                    <a:pt x="11973" y="640"/>
                  </a:cubicBezTo>
                  <a:cubicBezTo>
                    <a:pt x="11843" y="36"/>
                    <a:pt x="11843" y="36"/>
                    <a:pt x="11843" y="36"/>
                  </a:cubicBezTo>
                  <a:cubicBezTo>
                    <a:pt x="11830" y="29"/>
                    <a:pt x="11830" y="29"/>
                    <a:pt x="11830" y="29"/>
                  </a:cubicBezTo>
                  <a:cubicBezTo>
                    <a:pt x="11830" y="29"/>
                    <a:pt x="11830" y="29"/>
                    <a:pt x="11830" y="29"/>
                  </a:cubicBezTo>
                  <a:cubicBezTo>
                    <a:pt x="11830" y="29"/>
                    <a:pt x="11829" y="29"/>
                    <a:pt x="11829" y="29"/>
                  </a:cubicBezTo>
                  <a:cubicBezTo>
                    <a:pt x="11849" y="0"/>
                    <a:pt x="11849" y="0"/>
                    <a:pt x="11849" y="0"/>
                  </a:cubicBezTo>
                  <a:cubicBezTo>
                    <a:pt x="11716" y="0"/>
                    <a:pt x="11716" y="0"/>
                    <a:pt x="11716" y="0"/>
                  </a:cubicBezTo>
                  <a:cubicBezTo>
                    <a:pt x="11748" y="44"/>
                    <a:pt x="11771" y="66"/>
                    <a:pt x="11784" y="77"/>
                  </a:cubicBezTo>
                  <a:cubicBezTo>
                    <a:pt x="11899" y="610"/>
                    <a:pt x="11899" y="610"/>
                    <a:pt x="11899" y="610"/>
                  </a:cubicBezTo>
                  <a:cubicBezTo>
                    <a:pt x="11002" y="771"/>
                    <a:pt x="11002" y="771"/>
                    <a:pt x="11002" y="771"/>
                  </a:cubicBezTo>
                  <a:cubicBezTo>
                    <a:pt x="10980" y="642"/>
                    <a:pt x="10980" y="642"/>
                    <a:pt x="10980" y="642"/>
                  </a:cubicBezTo>
                  <a:cubicBezTo>
                    <a:pt x="11209" y="603"/>
                    <a:pt x="11209" y="603"/>
                    <a:pt x="11209" y="603"/>
                  </a:cubicBezTo>
                  <a:cubicBezTo>
                    <a:pt x="11201" y="553"/>
                    <a:pt x="11201" y="553"/>
                    <a:pt x="11201" y="553"/>
                  </a:cubicBezTo>
                  <a:cubicBezTo>
                    <a:pt x="11295" y="537"/>
                    <a:pt x="11295" y="537"/>
                    <a:pt x="11295" y="537"/>
                  </a:cubicBezTo>
                  <a:cubicBezTo>
                    <a:pt x="11273" y="406"/>
                    <a:pt x="11273" y="406"/>
                    <a:pt x="11273" y="406"/>
                  </a:cubicBezTo>
                  <a:cubicBezTo>
                    <a:pt x="11178" y="422"/>
                    <a:pt x="11178" y="422"/>
                    <a:pt x="11178" y="422"/>
                  </a:cubicBezTo>
                  <a:cubicBezTo>
                    <a:pt x="11149" y="254"/>
                    <a:pt x="11149" y="254"/>
                    <a:pt x="11149" y="254"/>
                  </a:cubicBezTo>
                  <a:cubicBezTo>
                    <a:pt x="11108" y="261"/>
                    <a:pt x="11108" y="261"/>
                    <a:pt x="11108" y="261"/>
                  </a:cubicBezTo>
                  <a:cubicBezTo>
                    <a:pt x="11090" y="170"/>
                    <a:pt x="11090" y="170"/>
                    <a:pt x="11090" y="170"/>
                  </a:cubicBezTo>
                  <a:cubicBezTo>
                    <a:pt x="11089" y="163"/>
                    <a:pt x="11089" y="163"/>
                    <a:pt x="11089" y="163"/>
                  </a:cubicBezTo>
                  <a:cubicBezTo>
                    <a:pt x="11005" y="177"/>
                    <a:pt x="11005" y="177"/>
                    <a:pt x="11005" y="177"/>
                  </a:cubicBezTo>
                  <a:cubicBezTo>
                    <a:pt x="11022" y="275"/>
                    <a:pt x="11022" y="275"/>
                    <a:pt x="11022" y="275"/>
                  </a:cubicBezTo>
                  <a:cubicBezTo>
                    <a:pt x="10872" y="300"/>
                    <a:pt x="10872" y="300"/>
                    <a:pt x="10872" y="300"/>
                  </a:cubicBezTo>
                  <a:cubicBezTo>
                    <a:pt x="10880" y="348"/>
                    <a:pt x="10880" y="348"/>
                    <a:pt x="10880" y="348"/>
                  </a:cubicBezTo>
                  <a:cubicBezTo>
                    <a:pt x="10721" y="375"/>
                    <a:pt x="10721" y="375"/>
                    <a:pt x="10721" y="375"/>
                  </a:cubicBezTo>
                  <a:cubicBezTo>
                    <a:pt x="10740" y="484"/>
                    <a:pt x="10740" y="484"/>
                    <a:pt x="10740" y="484"/>
                  </a:cubicBezTo>
                  <a:cubicBezTo>
                    <a:pt x="10895" y="458"/>
                    <a:pt x="10895" y="458"/>
                    <a:pt x="10895" y="458"/>
                  </a:cubicBezTo>
                  <a:cubicBezTo>
                    <a:pt x="10915" y="574"/>
                    <a:pt x="10915" y="574"/>
                    <a:pt x="10915" y="574"/>
                  </a:cubicBezTo>
                  <a:cubicBezTo>
                    <a:pt x="10800" y="594"/>
                    <a:pt x="10800" y="594"/>
                    <a:pt x="10800" y="594"/>
                  </a:cubicBezTo>
                  <a:cubicBezTo>
                    <a:pt x="10835" y="801"/>
                    <a:pt x="10835" y="801"/>
                    <a:pt x="10835" y="801"/>
                  </a:cubicBezTo>
                  <a:cubicBezTo>
                    <a:pt x="10313" y="894"/>
                    <a:pt x="10313" y="894"/>
                    <a:pt x="10313" y="894"/>
                  </a:cubicBezTo>
                  <a:cubicBezTo>
                    <a:pt x="10311" y="878"/>
                    <a:pt x="10309" y="856"/>
                    <a:pt x="10307" y="831"/>
                  </a:cubicBezTo>
                  <a:cubicBezTo>
                    <a:pt x="10301" y="773"/>
                    <a:pt x="10294" y="697"/>
                    <a:pt x="10286" y="620"/>
                  </a:cubicBezTo>
                  <a:cubicBezTo>
                    <a:pt x="10274" y="498"/>
                    <a:pt x="10262" y="376"/>
                    <a:pt x="10257" y="332"/>
                  </a:cubicBezTo>
                  <a:cubicBezTo>
                    <a:pt x="10296" y="298"/>
                    <a:pt x="10391" y="195"/>
                    <a:pt x="10392" y="14"/>
                  </a:cubicBezTo>
                  <a:cubicBezTo>
                    <a:pt x="10392" y="9"/>
                    <a:pt x="10391" y="5"/>
                    <a:pt x="10391" y="0"/>
                  </a:cubicBezTo>
                  <a:cubicBezTo>
                    <a:pt x="10325" y="0"/>
                    <a:pt x="10325" y="0"/>
                    <a:pt x="10325" y="0"/>
                  </a:cubicBezTo>
                  <a:cubicBezTo>
                    <a:pt x="10325" y="5"/>
                    <a:pt x="10326" y="10"/>
                    <a:pt x="10326" y="14"/>
                  </a:cubicBezTo>
                  <a:cubicBezTo>
                    <a:pt x="10326" y="174"/>
                    <a:pt x="10238" y="262"/>
                    <a:pt x="10212" y="285"/>
                  </a:cubicBezTo>
                  <a:cubicBezTo>
                    <a:pt x="9251" y="271"/>
                    <a:pt x="9251" y="271"/>
                    <a:pt x="9251" y="271"/>
                  </a:cubicBezTo>
                  <a:cubicBezTo>
                    <a:pt x="9235" y="0"/>
                    <a:pt x="9235" y="0"/>
                    <a:pt x="9235" y="0"/>
                  </a:cubicBezTo>
                  <a:cubicBezTo>
                    <a:pt x="9169" y="0"/>
                    <a:pt x="9169" y="0"/>
                    <a:pt x="9169" y="0"/>
                  </a:cubicBezTo>
                  <a:cubicBezTo>
                    <a:pt x="9185" y="270"/>
                    <a:pt x="9185" y="270"/>
                    <a:pt x="9185" y="270"/>
                  </a:cubicBezTo>
                  <a:cubicBezTo>
                    <a:pt x="9160" y="270"/>
                    <a:pt x="9160" y="270"/>
                    <a:pt x="9160" y="270"/>
                  </a:cubicBezTo>
                  <a:cubicBezTo>
                    <a:pt x="9150" y="285"/>
                    <a:pt x="9150" y="285"/>
                    <a:pt x="9150" y="285"/>
                  </a:cubicBezTo>
                  <a:cubicBezTo>
                    <a:pt x="9150" y="285"/>
                    <a:pt x="9102" y="360"/>
                    <a:pt x="9045" y="446"/>
                  </a:cubicBezTo>
                  <a:cubicBezTo>
                    <a:pt x="8989" y="533"/>
                    <a:pt x="8924" y="631"/>
                    <a:pt x="8891" y="677"/>
                  </a:cubicBezTo>
                  <a:cubicBezTo>
                    <a:pt x="8891" y="677"/>
                    <a:pt x="8891" y="678"/>
                    <a:pt x="8890" y="678"/>
                  </a:cubicBezTo>
                  <a:cubicBezTo>
                    <a:pt x="7749" y="0"/>
                    <a:pt x="7749" y="0"/>
                    <a:pt x="7749" y="0"/>
                  </a:cubicBezTo>
                  <a:cubicBezTo>
                    <a:pt x="7595" y="0"/>
                    <a:pt x="7595" y="0"/>
                    <a:pt x="7595" y="0"/>
                  </a:cubicBezTo>
                  <a:cubicBezTo>
                    <a:pt x="7528" y="121"/>
                    <a:pt x="7528" y="121"/>
                    <a:pt x="7528" y="121"/>
                  </a:cubicBezTo>
                  <a:cubicBezTo>
                    <a:pt x="7528" y="123"/>
                    <a:pt x="7528" y="123"/>
                    <a:pt x="7528" y="123"/>
                  </a:cubicBezTo>
                  <a:cubicBezTo>
                    <a:pt x="7526" y="126"/>
                    <a:pt x="7503" y="181"/>
                    <a:pt x="7503" y="275"/>
                  </a:cubicBezTo>
                  <a:cubicBezTo>
                    <a:pt x="7503" y="343"/>
                    <a:pt x="7515" y="430"/>
                    <a:pt x="7556" y="532"/>
                  </a:cubicBezTo>
                  <a:cubicBezTo>
                    <a:pt x="7642" y="746"/>
                    <a:pt x="7752" y="965"/>
                    <a:pt x="7771" y="1002"/>
                  </a:cubicBezTo>
                  <a:cubicBezTo>
                    <a:pt x="7847" y="1703"/>
                    <a:pt x="7847" y="1703"/>
                    <a:pt x="7847" y="1703"/>
                  </a:cubicBezTo>
                  <a:cubicBezTo>
                    <a:pt x="7759" y="1945"/>
                    <a:pt x="7759" y="1945"/>
                    <a:pt x="7759" y="1945"/>
                  </a:cubicBezTo>
                  <a:cubicBezTo>
                    <a:pt x="7722" y="1943"/>
                    <a:pt x="7694" y="1942"/>
                    <a:pt x="7684" y="1941"/>
                  </a:cubicBezTo>
                  <a:cubicBezTo>
                    <a:pt x="7683" y="1941"/>
                    <a:pt x="7682" y="1941"/>
                    <a:pt x="7681" y="1941"/>
                  </a:cubicBezTo>
                  <a:cubicBezTo>
                    <a:pt x="7681" y="1941"/>
                    <a:pt x="7557" y="1936"/>
                    <a:pt x="7373" y="1930"/>
                  </a:cubicBezTo>
                  <a:cubicBezTo>
                    <a:pt x="7331" y="1928"/>
                    <a:pt x="7286" y="1927"/>
                    <a:pt x="7239" y="1925"/>
                  </a:cubicBezTo>
                  <a:cubicBezTo>
                    <a:pt x="6718" y="439"/>
                    <a:pt x="6718" y="439"/>
                    <a:pt x="6718" y="439"/>
                  </a:cubicBezTo>
                  <a:cubicBezTo>
                    <a:pt x="6725" y="395"/>
                    <a:pt x="6759" y="187"/>
                    <a:pt x="6790" y="0"/>
                  </a:cubicBezTo>
                  <a:cubicBezTo>
                    <a:pt x="6723" y="0"/>
                    <a:pt x="6723" y="0"/>
                    <a:pt x="6723" y="0"/>
                  </a:cubicBezTo>
                  <a:cubicBezTo>
                    <a:pt x="6720" y="20"/>
                    <a:pt x="6717" y="39"/>
                    <a:pt x="6714" y="59"/>
                  </a:cubicBezTo>
                  <a:cubicBezTo>
                    <a:pt x="6689" y="209"/>
                    <a:pt x="6664" y="359"/>
                    <a:pt x="6655" y="414"/>
                  </a:cubicBezTo>
                  <a:cubicBezTo>
                    <a:pt x="6562" y="433"/>
                    <a:pt x="6481" y="441"/>
                    <a:pt x="6411" y="441"/>
                  </a:cubicBezTo>
                  <a:cubicBezTo>
                    <a:pt x="6259" y="441"/>
                    <a:pt x="6151" y="408"/>
                    <a:pt x="6051" y="385"/>
                  </a:cubicBezTo>
                  <a:cubicBezTo>
                    <a:pt x="5979" y="369"/>
                    <a:pt x="5736" y="306"/>
                    <a:pt x="5512" y="247"/>
                  </a:cubicBezTo>
                  <a:cubicBezTo>
                    <a:pt x="5316" y="195"/>
                    <a:pt x="5135" y="147"/>
                    <a:pt x="5091" y="135"/>
                  </a:cubicBezTo>
                  <a:cubicBezTo>
                    <a:pt x="5092" y="92"/>
                    <a:pt x="5093" y="47"/>
                    <a:pt x="5094" y="0"/>
                  </a:cubicBezTo>
                  <a:cubicBezTo>
                    <a:pt x="5029" y="0"/>
                    <a:pt x="5029" y="0"/>
                    <a:pt x="5029" y="0"/>
                  </a:cubicBezTo>
                  <a:cubicBezTo>
                    <a:pt x="5027" y="79"/>
                    <a:pt x="5025" y="154"/>
                    <a:pt x="5023" y="219"/>
                  </a:cubicBezTo>
                  <a:cubicBezTo>
                    <a:pt x="5020" y="325"/>
                    <a:pt x="5017" y="406"/>
                    <a:pt x="5016" y="440"/>
                  </a:cubicBezTo>
                  <a:cubicBezTo>
                    <a:pt x="4598" y="162"/>
                    <a:pt x="4598" y="162"/>
                    <a:pt x="4598" y="162"/>
                  </a:cubicBezTo>
                  <a:cubicBezTo>
                    <a:pt x="4591" y="174"/>
                    <a:pt x="4591" y="174"/>
                    <a:pt x="4591" y="174"/>
                  </a:cubicBezTo>
                  <a:cubicBezTo>
                    <a:pt x="5016" y="456"/>
                    <a:pt x="5016" y="456"/>
                    <a:pt x="5016" y="456"/>
                  </a:cubicBezTo>
                  <a:cubicBezTo>
                    <a:pt x="5016" y="456"/>
                    <a:pt x="5016" y="457"/>
                    <a:pt x="5016" y="457"/>
                  </a:cubicBezTo>
                  <a:cubicBezTo>
                    <a:pt x="5015" y="459"/>
                    <a:pt x="5015" y="459"/>
                    <a:pt x="5015" y="459"/>
                  </a:cubicBezTo>
                  <a:cubicBezTo>
                    <a:pt x="5080" y="1026"/>
                    <a:pt x="5080" y="1026"/>
                    <a:pt x="5080" y="1026"/>
                  </a:cubicBezTo>
                  <a:cubicBezTo>
                    <a:pt x="4608" y="716"/>
                    <a:pt x="4608" y="716"/>
                    <a:pt x="4608" y="716"/>
                  </a:cubicBezTo>
                  <a:cubicBezTo>
                    <a:pt x="4354" y="244"/>
                    <a:pt x="4354" y="244"/>
                    <a:pt x="4354" y="244"/>
                  </a:cubicBezTo>
                  <a:cubicBezTo>
                    <a:pt x="4381" y="237"/>
                    <a:pt x="4419" y="225"/>
                    <a:pt x="4457" y="213"/>
                  </a:cubicBezTo>
                  <a:cubicBezTo>
                    <a:pt x="4523" y="193"/>
                    <a:pt x="4588" y="172"/>
                    <a:pt x="4588" y="172"/>
                  </a:cubicBezTo>
                  <a:cubicBezTo>
                    <a:pt x="4592" y="171"/>
                    <a:pt x="4592" y="171"/>
                    <a:pt x="4592" y="171"/>
                  </a:cubicBezTo>
                  <a:cubicBezTo>
                    <a:pt x="4646" y="0"/>
                    <a:pt x="4646" y="0"/>
                    <a:pt x="4646" y="0"/>
                  </a:cubicBezTo>
                  <a:cubicBezTo>
                    <a:pt x="4632" y="0"/>
                    <a:pt x="4632" y="0"/>
                    <a:pt x="4632" y="0"/>
                  </a:cubicBezTo>
                  <a:cubicBezTo>
                    <a:pt x="4581" y="160"/>
                    <a:pt x="4581" y="160"/>
                    <a:pt x="4581" y="160"/>
                  </a:cubicBezTo>
                  <a:cubicBezTo>
                    <a:pt x="4566" y="165"/>
                    <a:pt x="4510" y="182"/>
                    <a:pt x="4453" y="200"/>
                  </a:cubicBezTo>
                  <a:cubicBezTo>
                    <a:pt x="4414" y="212"/>
                    <a:pt x="4374" y="224"/>
                    <a:pt x="4347" y="232"/>
                  </a:cubicBezTo>
                  <a:cubicBezTo>
                    <a:pt x="4294" y="132"/>
                    <a:pt x="4294" y="132"/>
                    <a:pt x="4294" y="132"/>
                  </a:cubicBezTo>
                  <a:cubicBezTo>
                    <a:pt x="4307" y="0"/>
                    <a:pt x="4307" y="0"/>
                    <a:pt x="4307" y="0"/>
                  </a:cubicBezTo>
                  <a:cubicBezTo>
                    <a:pt x="4262" y="0"/>
                    <a:pt x="4262" y="0"/>
                    <a:pt x="4262" y="0"/>
                  </a:cubicBezTo>
                  <a:cubicBezTo>
                    <a:pt x="4248" y="142"/>
                    <a:pt x="4248" y="142"/>
                    <a:pt x="4248" y="142"/>
                  </a:cubicBezTo>
                  <a:cubicBezTo>
                    <a:pt x="4390" y="407"/>
                    <a:pt x="4390" y="407"/>
                    <a:pt x="4390" y="407"/>
                  </a:cubicBezTo>
                  <a:cubicBezTo>
                    <a:pt x="4374" y="417"/>
                    <a:pt x="4346" y="435"/>
                    <a:pt x="4317" y="453"/>
                  </a:cubicBezTo>
                  <a:cubicBezTo>
                    <a:pt x="4278" y="479"/>
                    <a:pt x="4239" y="504"/>
                    <a:pt x="4225" y="515"/>
                  </a:cubicBezTo>
                  <a:cubicBezTo>
                    <a:pt x="4224" y="514"/>
                    <a:pt x="4223" y="514"/>
                    <a:pt x="4222" y="513"/>
                  </a:cubicBezTo>
                  <a:cubicBezTo>
                    <a:pt x="4217" y="509"/>
                    <a:pt x="4210" y="504"/>
                    <a:pt x="4201" y="498"/>
                  </a:cubicBezTo>
                  <a:cubicBezTo>
                    <a:pt x="4182" y="485"/>
                    <a:pt x="4156" y="467"/>
                    <a:pt x="4124" y="446"/>
                  </a:cubicBezTo>
                  <a:cubicBezTo>
                    <a:pt x="4061" y="403"/>
                    <a:pt x="3977" y="346"/>
                    <a:pt x="3891" y="289"/>
                  </a:cubicBezTo>
                  <a:cubicBezTo>
                    <a:pt x="3859" y="267"/>
                    <a:pt x="3826" y="245"/>
                    <a:pt x="3795" y="224"/>
                  </a:cubicBezTo>
                  <a:cubicBezTo>
                    <a:pt x="3894" y="0"/>
                    <a:pt x="3894" y="0"/>
                    <a:pt x="3894" y="0"/>
                  </a:cubicBezTo>
                  <a:cubicBezTo>
                    <a:pt x="3878" y="0"/>
                    <a:pt x="3878" y="0"/>
                    <a:pt x="3878" y="0"/>
                  </a:cubicBezTo>
                  <a:cubicBezTo>
                    <a:pt x="3783" y="216"/>
                    <a:pt x="3783" y="216"/>
                    <a:pt x="3783" y="216"/>
                  </a:cubicBezTo>
                  <a:cubicBezTo>
                    <a:pt x="3663" y="135"/>
                    <a:pt x="3559" y="66"/>
                    <a:pt x="3537" y="50"/>
                  </a:cubicBezTo>
                  <a:cubicBezTo>
                    <a:pt x="3537" y="49"/>
                    <a:pt x="3537" y="48"/>
                    <a:pt x="3538" y="46"/>
                  </a:cubicBezTo>
                  <a:cubicBezTo>
                    <a:pt x="3538" y="40"/>
                    <a:pt x="3539" y="33"/>
                    <a:pt x="3539" y="24"/>
                  </a:cubicBezTo>
                  <a:cubicBezTo>
                    <a:pt x="3540" y="17"/>
                    <a:pt x="3540" y="9"/>
                    <a:pt x="3540" y="0"/>
                  </a:cubicBezTo>
                  <a:cubicBezTo>
                    <a:pt x="3526" y="0"/>
                    <a:pt x="3526" y="0"/>
                    <a:pt x="3526" y="0"/>
                  </a:cubicBezTo>
                  <a:cubicBezTo>
                    <a:pt x="3525" y="24"/>
                    <a:pt x="3524" y="43"/>
                    <a:pt x="3523" y="49"/>
                  </a:cubicBezTo>
                  <a:cubicBezTo>
                    <a:pt x="3522" y="50"/>
                    <a:pt x="3522" y="51"/>
                    <a:pt x="3522" y="52"/>
                  </a:cubicBezTo>
                  <a:cubicBezTo>
                    <a:pt x="3520" y="60"/>
                    <a:pt x="3520" y="60"/>
                    <a:pt x="3520" y="60"/>
                  </a:cubicBezTo>
                  <a:cubicBezTo>
                    <a:pt x="3526" y="60"/>
                    <a:pt x="3526" y="60"/>
                    <a:pt x="3526" y="60"/>
                  </a:cubicBezTo>
                  <a:cubicBezTo>
                    <a:pt x="3526" y="60"/>
                    <a:pt x="3526" y="60"/>
                    <a:pt x="3526" y="60"/>
                  </a:cubicBezTo>
                  <a:cubicBezTo>
                    <a:pt x="3528" y="61"/>
                    <a:pt x="3530" y="62"/>
                    <a:pt x="3532" y="64"/>
                  </a:cubicBezTo>
                  <a:cubicBezTo>
                    <a:pt x="3537" y="67"/>
                    <a:pt x="3544" y="72"/>
                    <a:pt x="3553" y="78"/>
                  </a:cubicBezTo>
                  <a:cubicBezTo>
                    <a:pt x="3572" y="91"/>
                    <a:pt x="3598" y="108"/>
                    <a:pt x="3629" y="130"/>
                  </a:cubicBezTo>
                  <a:cubicBezTo>
                    <a:pt x="3692" y="172"/>
                    <a:pt x="3776" y="228"/>
                    <a:pt x="3861" y="285"/>
                  </a:cubicBezTo>
                  <a:cubicBezTo>
                    <a:pt x="4029" y="398"/>
                    <a:pt x="4202" y="514"/>
                    <a:pt x="4220" y="528"/>
                  </a:cubicBezTo>
                  <a:cubicBezTo>
                    <a:pt x="4221" y="531"/>
                    <a:pt x="4224" y="531"/>
                    <a:pt x="4226" y="531"/>
                  </a:cubicBezTo>
                  <a:cubicBezTo>
                    <a:pt x="4226" y="531"/>
                    <a:pt x="4230" y="532"/>
                    <a:pt x="4232" y="528"/>
                  </a:cubicBezTo>
                  <a:cubicBezTo>
                    <a:pt x="4232" y="528"/>
                    <a:pt x="4232" y="528"/>
                    <a:pt x="4232" y="527"/>
                  </a:cubicBezTo>
                  <a:cubicBezTo>
                    <a:pt x="4233" y="527"/>
                    <a:pt x="4235" y="525"/>
                    <a:pt x="4237" y="523"/>
                  </a:cubicBezTo>
                  <a:cubicBezTo>
                    <a:pt x="4242" y="520"/>
                    <a:pt x="4249" y="515"/>
                    <a:pt x="4258" y="509"/>
                  </a:cubicBezTo>
                  <a:cubicBezTo>
                    <a:pt x="4275" y="498"/>
                    <a:pt x="4298" y="483"/>
                    <a:pt x="4320" y="468"/>
                  </a:cubicBezTo>
                  <a:cubicBezTo>
                    <a:pt x="4350" y="449"/>
                    <a:pt x="4380" y="430"/>
                    <a:pt x="4397" y="419"/>
                  </a:cubicBezTo>
                  <a:cubicBezTo>
                    <a:pt x="4566" y="734"/>
                    <a:pt x="4566" y="734"/>
                    <a:pt x="4566" y="734"/>
                  </a:cubicBezTo>
                  <a:cubicBezTo>
                    <a:pt x="4206" y="1801"/>
                    <a:pt x="4206" y="1801"/>
                    <a:pt x="4206" y="1801"/>
                  </a:cubicBezTo>
                  <a:cubicBezTo>
                    <a:pt x="4188" y="1802"/>
                    <a:pt x="4167" y="1803"/>
                    <a:pt x="4144" y="1803"/>
                  </a:cubicBezTo>
                  <a:cubicBezTo>
                    <a:pt x="4113" y="1803"/>
                    <a:pt x="4080" y="1801"/>
                    <a:pt x="4053" y="1798"/>
                  </a:cubicBezTo>
                  <a:cubicBezTo>
                    <a:pt x="4025" y="1794"/>
                    <a:pt x="4003" y="1787"/>
                    <a:pt x="3997" y="1784"/>
                  </a:cubicBezTo>
                  <a:cubicBezTo>
                    <a:pt x="3989" y="1781"/>
                    <a:pt x="3959" y="1752"/>
                    <a:pt x="3932" y="1715"/>
                  </a:cubicBezTo>
                  <a:cubicBezTo>
                    <a:pt x="3905" y="1677"/>
                    <a:pt x="3878" y="1631"/>
                    <a:pt x="3855" y="1592"/>
                  </a:cubicBezTo>
                  <a:cubicBezTo>
                    <a:pt x="3848" y="1579"/>
                    <a:pt x="3826" y="1534"/>
                    <a:pt x="3802" y="1479"/>
                  </a:cubicBezTo>
                  <a:cubicBezTo>
                    <a:pt x="3783" y="1433"/>
                    <a:pt x="3760" y="1379"/>
                    <a:pt x="3737" y="1324"/>
                  </a:cubicBezTo>
                  <a:cubicBezTo>
                    <a:pt x="3739" y="1289"/>
                    <a:pt x="3749" y="1110"/>
                    <a:pt x="3755" y="1038"/>
                  </a:cubicBezTo>
                  <a:cubicBezTo>
                    <a:pt x="3756" y="1026"/>
                    <a:pt x="3756" y="1014"/>
                    <a:pt x="3756" y="1000"/>
                  </a:cubicBezTo>
                  <a:cubicBezTo>
                    <a:pt x="3756" y="945"/>
                    <a:pt x="3750" y="864"/>
                    <a:pt x="3733" y="777"/>
                  </a:cubicBezTo>
                  <a:cubicBezTo>
                    <a:pt x="3716" y="691"/>
                    <a:pt x="3690" y="600"/>
                    <a:pt x="3641" y="525"/>
                  </a:cubicBezTo>
                  <a:cubicBezTo>
                    <a:pt x="3607" y="475"/>
                    <a:pt x="3554" y="432"/>
                    <a:pt x="3490" y="384"/>
                  </a:cubicBezTo>
                  <a:cubicBezTo>
                    <a:pt x="3426" y="337"/>
                    <a:pt x="3351" y="289"/>
                    <a:pt x="3280" y="244"/>
                  </a:cubicBezTo>
                  <a:cubicBezTo>
                    <a:pt x="3150" y="164"/>
                    <a:pt x="3030" y="99"/>
                    <a:pt x="3009" y="88"/>
                  </a:cubicBezTo>
                  <a:cubicBezTo>
                    <a:pt x="3009" y="86"/>
                    <a:pt x="3009" y="85"/>
                    <a:pt x="3009" y="83"/>
                  </a:cubicBezTo>
                  <a:cubicBezTo>
                    <a:pt x="3009" y="55"/>
                    <a:pt x="3005" y="27"/>
                    <a:pt x="2999" y="0"/>
                  </a:cubicBezTo>
                  <a:cubicBezTo>
                    <a:pt x="2834" y="0"/>
                    <a:pt x="2834" y="0"/>
                    <a:pt x="2834" y="0"/>
                  </a:cubicBezTo>
                  <a:cubicBezTo>
                    <a:pt x="2845" y="26"/>
                    <a:pt x="2851" y="54"/>
                    <a:pt x="2851" y="83"/>
                  </a:cubicBezTo>
                  <a:cubicBezTo>
                    <a:pt x="2851" y="198"/>
                    <a:pt x="2758" y="291"/>
                    <a:pt x="2644" y="291"/>
                  </a:cubicBezTo>
                  <a:cubicBezTo>
                    <a:pt x="2529" y="291"/>
                    <a:pt x="2436" y="198"/>
                    <a:pt x="2436" y="83"/>
                  </a:cubicBezTo>
                  <a:cubicBezTo>
                    <a:pt x="2436" y="54"/>
                    <a:pt x="2442" y="26"/>
                    <a:pt x="2454" y="0"/>
                  </a:cubicBezTo>
                  <a:cubicBezTo>
                    <a:pt x="2289" y="0"/>
                    <a:pt x="2289" y="0"/>
                    <a:pt x="2289" y="0"/>
                  </a:cubicBezTo>
                  <a:cubicBezTo>
                    <a:pt x="2283" y="27"/>
                    <a:pt x="2278" y="55"/>
                    <a:pt x="2278" y="83"/>
                  </a:cubicBezTo>
                  <a:cubicBezTo>
                    <a:pt x="2278" y="95"/>
                    <a:pt x="2279" y="106"/>
                    <a:pt x="2280" y="118"/>
                  </a:cubicBezTo>
                  <a:cubicBezTo>
                    <a:pt x="2227" y="110"/>
                    <a:pt x="2153" y="98"/>
                    <a:pt x="2073" y="86"/>
                  </a:cubicBezTo>
                  <a:cubicBezTo>
                    <a:pt x="1919" y="61"/>
                    <a:pt x="1741" y="31"/>
                    <a:pt x="1656" y="11"/>
                  </a:cubicBezTo>
                  <a:cubicBezTo>
                    <a:pt x="1643" y="8"/>
                    <a:pt x="1631" y="4"/>
                    <a:pt x="1619" y="0"/>
                  </a:cubicBezTo>
                  <a:cubicBezTo>
                    <a:pt x="1258" y="0"/>
                    <a:pt x="1258" y="0"/>
                    <a:pt x="1258" y="0"/>
                  </a:cubicBezTo>
                  <a:cubicBezTo>
                    <a:pt x="1369" y="66"/>
                    <a:pt x="1477" y="125"/>
                    <a:pt x="1621" y="159"/>
                  </a:cubicBezTo>
                  <a:cubicBezTo>
                    <a:pt x="1717" y="181"/>
                    <a:pt x="1893" y="211"/>
                    <a:pt x="2049" y="236"/>
                  </a:cubicBezTo>
                  <a:cubicBezTo>
                    <a:pt x="2170" y="255"/>
                    <a:pt x="2290" y="274"/>
                    <a:pt x="2337" y="281"/>
                  </a:cubicBezTo>
                  <a:cubicBezTo>
                    <a:pt x="2351" y="304"/>
                    <a:pt x="2368" y="325"/>
                    <a:pt x="2387" y="343"/>
                  </a:cubicBezTo>
                  <a:cubicBezTo>
                    <a:pt x="2367" y="370"/>
                    <a:pt x="2325" y="424"/>
                    <a:pt x="2274" y="490"/>
                  </a:cubicBezTo>
                  <a:cubicBezTo>
                    <a:pt x="2200" y="584"/>
                    <a:pt x="2108" y="701"/>
                    <a:pt x="2031" y="788"/>
                  </a:cubicBezTo>
                  <a:cubicBezTo>
                    <a:pt x="1982" y="846"/>
                    <a:pt x="1935" y="894"/>
                    <a:pt x="1919" y="906"/>
                  </a:cubicBezTo>
                  <a:cubicBezTo>
                    <a:pt x="1912" y="911"/>
                    <a:pt x="1891" y="923"/>
                    <a:pt x="1864" y="937"/>
                  </a:cubicBezTo>
                  <a:cubicBezTo>
                    <a:pt x="1836" y="952"/>
                    <a:pt x="1801" y="968"/>
                    <a:pt x="1760" y="987"/>
                  </a:cubicBezTo>
                  <a:cubicBezTo>
                    <a:pt x="1679" y="1023"/>
                    <a:pt x="1577" y="1066"/>
                    <a:pt x="1472" y="1109"/>
                  </a:cubicBezTo>
                  <a:cubicBezTo>
                    <a:pt x="1261" y="1195"/>
                    <a:pt x="1034" y="1282"/>
                    <a:pt x="917" y="1329"/>
                  </a:cubicBezTo>
                  <a:cubicBezTo>
                    <a:pt x="680" y="1422"/>
                    <a:pt x="342" y="1579"/>
                    <a:pt x="340" y="1580"/>
                  </a:cubicBezTo>
                  <a:cubicBezTo>
                    <a:pt x="340" y="1580"/>
                    <a:pt x="204" y="1645"/>
                    <a:pt x="0" y="1743"/>
                  </a:cubicBezTo>
                  <a:cubicBezTo>
                    <a:pt x="0" y="1913"/>
                    <a:pt x="0" y="1913"/>
                    <a:pt x="0" y="1913"/>
                  </a:cubicBezTo>
                  <a:cubicBezTo>
                    <a:pt x="24" y="1901"/>
                    <a:pt x="47" y="1890"/>
                    <a:pt x="69" y="1880"/>
                  </a:cubicBezTo>
                  <a:cubicBezTo>
                    <a:pt x="271" y="1782"/>
                    <a:pt x="405" y="1718"/>
                    <a:pt x="405" y="1718"/>
                  </a:cubicBezTo>
                  <a:cubicBezTo>
                    <a:pt x="406" y="1718"/>
                    <a:pt x="441" y="1701"/>
                    <a:pt x="496" y="1676"/>
                  </a:cubicBezTo>
                  <a:cubicBezTo>
                    <a:pt x="513" y="1711"/>
                    <a:pt x="542" y="1775"/>
                    <a:pt x="579" y="1857"/>
                  </a:cubicBezTo>
                  <a:cubicBezTo>
                    <a:pt x="637" y="1984"/>
                    <a:pt x="715" y="2155"/>
                    <a:pt x="793" y="2329"/>
                  </a:cubicBezTo>
                  <a:cubicBezTo>
                    <a:pt x="951" y="2675"/>
                    <a:pt x="1113" y="3033"/>
                    <a:pt x="1128" y="3071"/>
                  </a:cubicBezTo>
                  <a:cubicBezTo>
                    <a:pt x="1142" y="3105"/>
                    <a:pt x="1187" y="3265"/>
                    <a:pt x="1231" y="3438"/>
                  </a:cubicBezTo>
                  <a:cubicBezTo>
                    <a:pt x="1244" y="3491"/>
                    <a:pt x="1257" y="3546"/>
                    <a:pt x="1270" y="3600"/>
                  </a:cubicBezTo>
                  <a:cubicBezTo>
                    <a:pt x="1337" y="3600"/>
                    <a:pt x="1337" y="3600"/>
                    <a:pt x="1337" y="3600"/>
                  </a:cubicBezTo>
                  <a:cubicBezTo>
                    <a:pt x="1324" y="3541"/>
                    <a:pt x="1309" y="3481"/>
                    <a:pt x="1294" y="3422"/>
                  </a:cubicBezTo>
                  <a:cubicBezTo>
                    <a:pt x="1250" y="3246"/>
                    <a:pt x="1206" y="3091"/>
                    <a:pt x="1189" y="3046"/>
                  </a:cubicBezTo>
                  <a:cubicBezTo>
                    <a:pt x="1172" y="3004"/>
                    <a:pt x="1011" y="2649"/>
                    <a:pt x="853" y="2301"/>
                  </a:cubicBezTo>
                  <a:cubicBezTo>
                    <a:pt x="831" y="2252"/>
                    <a:pt x="809" y="2204"/>
                    <a:pt x="787" y="2156"/>
                  </a:cubicBezTo>
                  <a:cubicBezTo>
                    <a:pt x="2314" y="1770"/>
                    <a:pt x="2314" y="1770"/>
                    <a:pt x="2314" y="1770"/>
                  </a:cubicBezTo>
                  <a:cubicBezTo>
                    <a:pt x="2322" y="1811"/>
                    <a:pt x="2331" y="1847"/>
                    <a:pt x="2342" y="1872"/>
                  </a:cubicBezTo>
                  <a:cubicBezTo>
                    <a:pt x="2373" y="1937"/>
                    <a:pt x="2446" y="1969"/>
                    <a:pt x="2530" y="1969"/>
                  </a:cubicBezTo>
                  <a:cubicBezTo>
                    <a:pt x="2530" y="1969"/>
                    <a:pt x="2531" y="1969"/>
                    <a:pt x="2531" y="1969"/>
                  </a:cubicBezTo>
                  <a:cubicBezTo>
                    <a:pt x="2537" y="1969"/>
                    <a:pt x="2542" y="1968"/>
                    <a:pt x="2548" y="1968"/>
                  </a:cubicBezTo>
                  <a:cubicBezTo>
                    <a:pt x="2586" y="1966"/>
                    <a:pt x="2648" y="1965"/>
                    <a:pt x="2715" y="1962"/>
                  </a:cubicBezTo>
                  <a:cubicBezTo>
                    <a:pt x="2820" y="2460"/>
                    <a:pt x="2820" y="2460"/>
                    <a:pt x="2820" y="2460"/>
                  </a:cubicBezTo>
                  <a:cubicBezTo>
                    <a:pt x="2820" y="2461"/>
                    <a:pt x="2820" y="2461"/>
                    <a:pt x="2820" y="2462"/>
                  </a:cubicBezTo>
                  <a:cubicBezTo>
                    <a:pt x="2820" y="2468"/>
                    <a:pt x="2821" y="2473"/>
                    <a:pt x="2824" y="2477"/>
                  </a:cubicBezTo>
                  <a:cubicBezTo>
                    <a:pt x="3044" y="3519"/>
                    <a:pt x="3044" y="3519"/>
                    <a:pt x="3044" y="3519"/>
                  </a:cubicBezTo>
                  <a:cubicBezTo>
                    <a:pt x="1522" y="3600"/>
                    <a:pt x="1522" y="3600"/>
                    <a:pt x="1522" y="3600"/>
                  </a:cubicBezTo>
                  <a:cubicBezTo>
                    <a:pt x="2367" y="3600"/>
                    <a:pt x="2367" y="3600"/>
                    <a:pt x="2367" y="3600"/>
                  </a:cubicBezTo>
                  <a:cubicBezTo>
                    <a:pt x="3053" y="3564"/>
                    <a:pt x="3053" y="3564"/>
                    <a:pt x="3053" y="3564"/>
                  </a:cubicBezTo>
                  <a:cubicBezTo>
                    <a:pt x="3061" y="3600"/>
                    <a:pt x="3061" y="3600"/>
                    <a:pt x="3061" y="3600"/>
                  </a:cubicBezTo>
                  <a:cubicBezTo>
                    <a:pt x="3128" y="3600"/>
                    <a:pt x="3128" y="3600"/>
                    <a:pt x="3128" y="3600"/>
                  </a:cubicBezTo>
                  <a:cubicBezTo>
                    <a:pt x="3123" y="3577"/>
                    <a:pt x="3123" y="3577"/>
                    <a:pt x="3123" y="3577"/>
                  </a:cubicBezTo>
                  <a:cubicBezTo>
                    <a:pt x="3170" y="3578"/>
                    <a:pt x="3256" y="3579"/>
                    <a:pt x="3343" y="3580"/>
                  </a:cubicBezTo>
                  <a:cubicBezTo>
                    <a:pt x="3472" y="3581"/>
                    <a:pt x="3605" y="3583"/>
                    <a:pt x="3616" y="3585"/>
                  </a:cubicBezTo>
                  <a:cubicBezTo>
                    <a:pt x="3620" y="3586"/>
                    <a:pt x="3644" y="3592"/>
                    <a:pt x="3676" y="3600"/>
                  </a:cubicBezTo>
                  <a:cubicBezTo>
                    <a:pt x="3734" y="3600"/>
                    <a:pt x="3734" y="3600"/>
                    <a:pt x="3734" y="3600"/>
                  </a:cubicBezTo>
                  <a:cubicBezTo>
                    <a:pt x="3673" y="3585"/>
                    <a:pt x="3622" y="3572"/>
                    <a:pt x="3620" y="3571"/>
                  </a:cubicBezTo>
                  <a:cubicBezTo>
                    <a:pt x="3615" y="3570"/>
                    <a:pt x="3608" y="3570"/>
                    <a:pt x="3593" y="3570"/>
                  </a:cubicBezTo>
                  <a:cubicBezTo>
                    <a:pt x="3577" y="3569"/>
                    <a:pt x="3556" y="3569"/>
                    <a:pt x="3531" y="3569"/>
                  </a:cubicBezTo>
                  <a:cubicBezTo>
                    <a:pt x="3481" y="3568"/>
                    <a:pt x="3415" y="3567"/>
                    <a:pt x="3349" y="3566"/>
                  </a:cubicBezTo>
                  <a:cubicBezTo>
                    <a:pt x="3258" y="3565"/>
                    <a:pt x="3167" y="3564"/>
                    <a:pt x="3120" y="3563"/>
                  </a:cubicBezTo>
                  <a:cubicBezTo>
                    <a:pt x="3080" y="3374"/>
                    <a:pt x="3080" y="3374"/>
                    <a:pt x="3080" y="3374"/>
                  </a:cubicBezTo>
                  <a:cubicBezTo>
                    <a:pt x="3581" y="3366"/>
                    <a:pt x="3581" y="3366"/>
                    <a:pt x="3581" y="3366"/>
                  </a:cubicBezTo>
                  <a:cubicBezTo>
                    <a:pt x="3604" y="3376"/>
                    <a:pt x="3929" y="3505"/>
                    <a:pt x="3969" y="3520"/>
                  </a:cubicBezTo>
                  <a:cubicBezTo>
                    <a:pt x="3969" y="3539"/>
                    <a:pt x="3969" y="3552"/>
                    <a:pt x="3969" y="3555"/>
                  </a:cubicBezTo>
                  <a:cubicBezTo>
                    <a:pt x="3958" y="3600"/>
                    <a:pt x="3958" y="3600"/>
                    <a:pt x="3958" y="3600"/>
                  </a:cubicBezTo>
                  <a:cubicBezTo>
                    <a:pt x="3972" y="3600"/>
                    <a:pt x="3972" y="3600"/>
                    <a:pt x="3972" y="3600"/>
                  </a:cubicBezTo>
                  <a:cubicBezTo>
                    <a:pt x="3982" y="3557"/>
                    <a:pt x="3982" y="3557"/>
                    <a:pt x="3982" y="3557"/>
                  </a:cubicBezTo>
                  <a:cubicBezTo>
                    <a:pt x="3982" y="3556"/>
                    <a:pt x="3982" y="3556"/>
                    <a:pt x="3982" y="3556"/>
                  </a:cubicBezTo>
                  <a:cubicBezTo>
                    <a:pt x="3982" y="3556"/>
                    <a:pt x="3983" y="3544"/>
                    <a:pt x="3983" y="3523"/>
                  </a:cubicBezTo>
                  <a:cubicBezTo>
                    <a:pt x="4018" y="3529"/>
                    <a:pt x="4146" y="3546"/>
                    <a:pt x="4274" y="3563"/>
                  </a:cubicBezTo>
                  <a:cubicBezTo>
                    <a:pt x="4394" y="3578"/>
                    <a:pt x="4514" y="3594"/>
                    <a:pt x="4554" y="3599"/>
                  </a:cubicBezTo>
                  <a:cubicBezTo>
                    <a:pt x="4554" y="3600"/>
                    <a:pt x="4554" y="3600"/>
                    <a:pt x="4554" y="3600"/>
                  </a:cubicBezTo>
                  <a:cubicBezTo>
                    <a:pt x="4707" y="3600"/>
                    <a:pt x="4707" y="3600"/>
                    <a:pt x="4707" y="3600"/>
                  </a:cubicBezTo>
                  <a:cubicBezTo>
                    <a:pt x="4923" y="1907"/>
                    <a:pt x="4923" y="1907"/>
                    <a:pt x="4923" y="1907"/>
                  </a:cubicBezTo>
                  <a:cubicBezTo>
                    <a:pt x="4987" y="1895"/>
                    <a:pt x="4987" y="1895"/>
                    <a:pt x="4987" y="1895"/>
                  </a:cubicBezTo>
                  <a:cubicBezTo>
                    <a:pt x="4976" y="1986"/>
                    <a:pt x="4955" y="2149"/>
                    <a:pt x="4928" y="2362"/>
                  </a:cubicBezTo>
                  <a:cubicBezTo>
                    <a:pt x="4887" y="2688"/>
                    <a:pt x="4831" y="3129"/>
                    <a:pt x="4771" y="3600"/>
                  </a:cubicBezTo>
                  <a:cubicBezTo>
                    <a:pt x="4925" y="3600"/>
                    <a:pt x="4925" y="3600"/>
                    <a:pt x="4925" y="3600"/>
                  </a:cubicBezTo>
                  <a:cubicBezTo>
                    <a:pt x="4932" y="3547"/>
                    <a:pt x="4938" y="3495"/>
                    <a:pt x="4945" y="3443"/>
                  </a:cubicBezTo>
                  <a:cubicBezTo>
                    <a:pt x="5515" y="3527"/>
                    <a:pt x="5515" y="3527"/>
                    <a:pt x="5515" y="3527"/>
                  </a:cubicBezTo>
                  <a:cubicBezTo>
                    <a:pt x="5507" y="3600"/>
                    <a:pt x="5507" y="3600"/>
                    <a:pt x="5507" y="3600"/>
                  </a:cubicBezTo>
                  <a:cubicBezTo>
                    <a:pt x="5573" y="3600"/>
                    <a:pt x="5573" y="3600"/>
                    <a:pt x="5573" y="3600"/>
                  </a:cubicBezTo>
                  <a:cubicBezTo>
                    <a:pt x="5575" y="3579"/>
                    <a:pt x="5575" y="3579"/>
                    <a:pt x="5575" y="3579"/>
                  </a:cubicBezTo>
                  <a:cubicBezTo>
                    <a:pt x="5579" y="3580"/>
                    <a:pt x="5582" y="3580"/>
                    <a:pt x="5586" y="3581"/>
                  </a:cubicBezTo>
                  <a:cubicBezTo>
                    <a:pt x="5607" y="3584"/>
                    <a:pt x="5636" y="3589"/>
                    <a:pt x="5670" y="3594"/>
                  </a:cubicBezTo>
                  <a:cubicBezTo>
                    <a:pt x="5684" y="3596"/>
                    <a:pt x="5700" y="3598"/>
                    <a:pt x="5715" y="3600"/>
                  </a:cubicBezTo>
                  <a:cubicBezTo>
                    <a:pt x="6043" y="3600"/>
                    <a:pt x="6043" y="3600"/>
                    <a:pt x="6043" y="3600"/>
                  </a:cubicBezTo>
                  <a:cubicBezTo>
                    <a:pt x="5925" y="3584"/>
                    <a:pt x="5786" y="3565"/>
                    <a:pt x="5686" y="3551"/>
                  </a:cubicBezTo>
                  <a:cubicBezTo>
                    <a:pt x="5640" y="3544"/>
                    <a:pt x="5602" y="3538"/>
                    <a:pt x="5580" y="3534"/>
                  </a:cubicBezTo>
                  <a:cubicBezTo>
                    <a:pt x="5733" y="2024"/>
                    <a:pt x="5733" y="2024"/>
                    <a:pt x="5733" y="2024"/>
                  </a:cubicBezTo>
                  <a:cubicBezTo>
                    <a:pt x="5860" y="2028"/>
                    <a:pt x="6366" y="2046"/>
                    <a:pt x="6830" y="2063"/>
                  </a:cubicBezTo>
                  <a:cubicBezTo>
                    <a:pt x="6291" y="3600"/>
                    <a:pt x="6291" y="3600"/>
                    <a:pt x="6291" y="3600"/>
                  </a:cubicBezTo>
                  <a:cubicBezTo>
                    <a:pt x="6339" y="3600"/>
                    <a:pt x="6339" y="3600"/>
                    <a:pt x="6339" y="3600"/>
                  </a:cubicBezTo>
                  <a:cubicBezTo>
                    <a:pt x="6878" y="2065"/>
                    <a:pt x="6878" y="2065"/>
                    <a:pt x="6878" y="2065"/>
                  </a:cubicBezTo>
                  <a:cubicBezTo>
                    <a:pt x="7276" y="2079"/>
                    <a:pt x="7632" y="2092"/>
                    <a:pt x="7672" y="2093"/>
                  </a:cubicBezTo>
                  <a:cubicBezTo>
                    <a:pt x="7672" y="2093"/>
                    <a:pt x="7673" y="2093"/>
                    <a:pt x="7673" y="2093"/>
                  </a:cubicBezTo>
                  <a:cubicBezTo>
                    <a:pt x="7674" y="2093"/>
                    <a:pt x="7675" y="2093"/>
                    <a:pt x="7675" y="2093"/>
                  </a:cubicBezTo>
                  <a:cubicBezTo>
                    <a:pt x="7676" y="2094"/>
                    <a:pt x="7678" y="2094"/>
                    <a:pt x="7679" y="2094"/>
                  </a:cubicBezTo>
                  <a:cubicBezTo>
                    <a:pt x="7683" y="2094"/>
                    <a:pt x="7687" y="2094"/>
                    <a:pt x="7693" y="2094"/>
                  </a:cubicBezTo>
                  <a:cubicBezTo>
                    <a:pt x="7698" y="2094"/>
                    <a:pt x="7704" y="2095"/>
                    <a:pt x="7710" y="2095"/>
                  </a:cubicBezTo>
                  <a:cubicBezTo>
                    <a:pt x="7412" y="3445"/>
                    <a:pt x="7412" y="3445"/>
                    <a:pt x="7412" y="3445"/>
                  </a:cubicBezTo>
                  <a:cubicBezTo>
                    <a:pt x="7411" y="3447"/>
                    <a:pt x="7408" y="3460"/>
                    <a:pt x="7408" y="3479"/>
                  </a:cubicBezTo>
                  <a:cubicBezTo>
                    <a:pt x="7408" y="3508"/>
                    <a:pt x="7416" y="3555"/>
                    <a:pt x="7451" y="3600"/>
                  </a:cubicBezTo>
                  <a:cubicBezTo>
                    <a:pt x="7546" y="3600"/>
                    <a:pt x="7546" y="3600"/>
                    <a:pt x="7546" y="3600"/>
                  </a:cubicBezTo>
                  <a:cubicBezTo>
                    <a:pt x="7532" y="3591"/>
                    <a:pt x="7521" y="3581"/>
                    <a:pt x="7512" y="3571"/>
                  </a:cubicBezTo>
                  <a:cubicBezTo>
                    <a:pt x="7479" y="3535"/>
                    <a:pt x="7474" y="3500"/>
                    <a:pt x="7474" y="3479"/>
                  </a:cubicBezTo>
                  <a:cubicBezTo>
                    <a:pt x="7474" y="3470"/>
                    <a:pt x="7475" y="3463"/>
                    <a:pt x="7475" y="3462"/>
                  </a:cubicBezTo>
                  <a:cubicBezTo>
                    <a:pt x="7475" y="3462"/>
                    <a:pt x="7475" y="3461"/>
                    <a:pt x="7476" y="3460"/>
                  </a:cubicBezTo>
                  <a:cubicBezTo>
                    <a:pt x="7776" y="2099"/>
                    <a:pt x="7776" y="2099"/>
                    <a:pt x="7776" y="2099"/>
                  </a:cubicBezTo>
                  <a:cubicBezTo>
                    <a:pt x="7806" y="2101"/>
                    <a:pt x="7837" y="2104"/>
                    <a:pt x="7864" y="2108"/>
                  </a:cubicBezTo>
                  <a:cubicBezTo>
                    <a:pt x="7929" y="2117"/>
                    <a:pt x="9328" y="2325"/>
                    <a:pt x="10022" y="2429"/>
                  </a:cubicBezTo>
                  <a:cubicBezTo>
                    <a:pt x="10254" y="2463"/>
                    <a:pt x="10407" y="2486"/>
                    <a:pt x="10407" y="2486"/>
                  </a:cubicBezTo>
                  <a:cubicBezTo>
                    <a:pt x="10408" y="2486"/>
                    <a:pt x="10408" y="2486"/>
                    <a:pt x="10408" y="2486"/>
                  </a:cubicBezTo>
                  <a:cubicBezTo>
                    <a:pt x="10410" y="2486"/>
                    <a:pt x="10410" y="2486"/>
                    <a:pt x="10410" y="2486"/>
                  </a:cubicBezTo>
                  <a:cubicBezTo>
                    <a:pt x="10410" y="2486"/>
                    <a:pt x="10411" y="2486"/>
                    <a:pt x="10416" y="2487"/>
                  </a:cubicBezTo>
                  <a:cubicBezTo>
                    <a:pt x="10420" y="2488"/>
                    <a:pt x="10426" y="2488"/>
                    <a:pt x="10435" y="2490"/>
                  </a:cubicBezTo>
                  <a:cubicBezTo>
                    <a:pt x="10451" y="2492"/>
                    <a:pt x="10476" y="2497"/>
                    <a:pt x="10504" y="2503"/>
                  </a:cubicBezTo>
                  <a:cubicBezTo>
                    <a:pt x="10562" y="2516"/>
                    <a:pt x="10638" y="2537"/>
                    <a:pt x="10709" y="2569"/>
                  </a:cubicBezTo>
                  <a:cubicBezTo>
                    <a:pt x="10782" y="2602"/>
                    <a:pt x="10965" y="2699"/>
                    <a:pt x="11144" y="2799"/>
                  </a:cubicBezTo>
                  <a:cubicBezTo>
                    <a:pt x="11323" y="2899"/>
                    <a:pt x="11503" y="3002"/>
                    <a:pt x="11575" y="3047"/>
                  </a:cubicBezTo>
                  <a:cubicBezTo>
                    <a:pt x="12437" y="3600"/>
                    <a:pt x="12437" y="3600"/>
                    <a:pt x="12437" y="3600"/>
                  </a:cubicBezTo>
                  <a:cubicBezTo>
                    <a:pt x="12714" y="3600"/>
                    <a:pt x="12714" y="3600"/>
                    <a:pt x="12714" y="3600"/>
                  </a:cubicBezTo>
                  <a:cubicBezTo>
                    <a:pt x="12695" y="3587"/>
                    <a:pt x="12695" y="3587"/>
                    <a:pt x="12695" y="3587"/>
                  </a:cubicBezTo>
                  <a:cubicBezTo>
                    <a:pt x="12956" y="3043"/>
                    <a:pt x="13187" y="2549"/>
                    <a:pt x="13248" y="2418"/>
                  </a:cubicBezTo>
                  <a:cubicBezTo>
                    <a:pt x="13253" y="2421"/>
                    <a:pt x="13258" y="2424"/>
                    <a:pt x="13262" y="2427"/>
                  </a:cubicBezTo>
                  <a:cubicBezTo>
                    <a:pt x="13322" y="2464"/>
                    <a:pt x="13393" y="2523"/>
                    <a:pt x="13442" y="2609"/>
                  </a:cubicBezTo>
                  <a:cubicBezTo>
                    <a:pt x="13495" y="2701"/>
                    <a:pt x="13534" y="2766"/>
                    <a:pt x="13588" y="2822"/>
                  </a:cubicBezTo>
                  <a:cubicBezTo>
                    <a:pt x="13643" y="2878"/>
                    <a:pt x="13710" y="2921"/>
                    <a:pt x="13816" y="2969"/>
                  </a:cubicBezTo>
                  <a:cubicBezTo>
                    <a:pt x="14023" y="3062"/>
                    <a:pt x="15214" y="3563"/>
                    <a:pt x="15269" y="3585"/>
                  </a:cubicBezTo>
                  <a:cubicBezTo>
                    <a:pt x="15269" y="3585"/>
                    <a:pt x="15270" y="3586"/>
                    <a:pt x="15271" y="3587"/>
                  </a:cubicBezTo>
                  <a:cubicBezTo>
                    <a:pt x="15274" y="3588"/>
                    <a:pt x="15277" y="3591"/>
                    <a:pt x="15282" y="3594"/>
                  </a:cubicBezTo>
                  <a:cubicBezTo>
                    <a:pt x="15285" y="3596"/>
                    <a:pt x="15288" y="3598"/>
                    <a:pt x="15291" y="3600"/>
                  </a:cubicBezTo>
                  <a:cubicBezTo>
                    <a:pt x="15404" y="3600"/>
                    <a:pt x="15404" y="3600"/>
                    <a:pt x="15404" y="3600"/>
                  </a:cubicBezTo>
                  <a:cubicBezTo>
                    <a:pt x="15360" y="3568"/>
                    <a:pt x="15325" y="3543"/>
                    <a:pt x="15308" y="3532"/>
                  </a:cubicBezTo>
                  <a:cubicBezTo>
                    <a:pt x="15303" y="3529"/>
                    <a:pt x="15301" y="3528"/>
                    <a:pt x="15295" y="3525"/>
                  </a:cubicBezTo>
                  <a:cubicBezTo>
                    <a:pt x="15276" y="3517"/>
                    <a:pt x="14050" y="3002"/>
                    <a:pt x="13843" y="2909"/>
                  </a:cubicBezTo>
                  <a:cubicBezTo>
                    <a:pt x="13741" y="2863"/>
                    <a:pt x="13682" y="2825"/>
                    <a:pt x="13635" y="2777"/>
                  </a:cubicBezTo>
                  <a:cubicBezTo>
                    <a:pt x="13589" y="2729"/>
                    <a:pt x="13552" y="2668"/>
                    <a:pt x="13499" y="2576"/>
                  </a:cubicBezTo>
                  <a:cubicBezTo>
                    <a:pt x="13435" y="2466"/>
                    <a:pt x="13343" y="2397"/>
                    <a:pt x="13274" y="2357"/>
                  </a:cubicBezTo>
                  <a:cubicBezTo>
                    <a:pt x="13974" y="345"/>
                    <a:pt x="13974" y="345"/>
                    <a:pt x="13974" y="345"/>
                  </a:cubicBezTo>
                  <a:cubicBezTo>
                    <a:pt x="14410" y="392"/>
                    <a:pt x="14410" y="392"/>
                    <a:pt x="14410" y="392"/>
                  </a:cubicBezTo>
                  <a:cubicBezTo>
                    <a:pt x="14410" y="392"/>
                    <a:pt x="14411" y="393"/>
                    <a:pt x="14412" y="393"/>
                  </a:cubicBezTo>
                  <a:cubicBezTo>
                    <a:pt x="14416" y="396"/>
                    <a:pt x="14423" y="399"/>
                    <a:pt x="14431" y="403"/>
                  </a:cubicBezTo>
                  <a:cubicBezTo>
                    <a:pt x="14447" y="411"/>
                    <a:pt x="14471" y="423"/>
                    <a:pt x="14501" y="438"/>
                  </a:cubicBezTo>
                  <a:cubicBezTo>
                    <a:pt x="14561" y="468"/>
                    <a:pt x="14647" y="510"/>
                    <a:pt x="14750" y="561"/>
                  </a:cubicBezTo>
                  <a:cubicBezTo>
                    <a:pt x="14956" y="664"/>
                    <a:pt x="15229" y="801"/>
                    <a:pt x="15501" y="946"/>
                  </a:cubicBezTo>
                  <a:cubicBezTo>
                    <a:pt x="15740" y="1073"/>
                    <a:pt x="15978" y="1215"/>
                    <a:pt x="16168" y="1327"/>
                  </a:cubicBezTo>
                  <a:cubicBezTo>
                    <a:pt x="16635" y="1603"/>
                    <a:pt x="17015" y="1978"/>
                    <a:pt x="17175" y="2148"/>
                  </a:cubicBezTo>
                  <a:cubicBezTo>
                    <a:pt x="17228" y="2205"/>
                    <a:pt x="17257" y="2238"/>
                    <a:pt x="17257" y="2238"/>
                  </a:cubicBezTo>
                  <a:cubicBezTo>
                    <a:pt x="17258" y="2239"/>
                    <a:pt x="17258" y="2239"/>
                    <a:pt x="17258" y="2239"/>
                  </a:cubicBezTo>
                  <a:cubicBezTo>
                    <a:pt x="17258" y="2239"/>
                    <a:pt x="17258" y="2239"/>
                    <a:pt x="17258" y="2239"/>
                  </a:cubicBezTo>
                  <a:cubicBezTo>
                    <a:pt x="17290" y="2273"/>
                    <a:pt x="17330" y="2319"/>
                    <a:pt x="17379" y="2370"/>
                  </a:cubicBezTo>
                  <a:cubicBezTo>
                    <a:pt x="17353" y="2394"/>
                    <a:pt x="17260" y="2479"/>
                    <a:pt x="17160" y="2592"/>
                  </a:cubicBezTo>
                  <a:cubicBezTo>
                    <a:pt x="17042" y="2726"/>
                    <a:pt x="16913" y="2896"/>
                    <a:pt x="16871" y="3058"/>
                  </a:cubicBezTo>
                  <a:cubicBezTo>
                    <a:pt x="16831" y="3214"/>
                    <a:pt x="16836" y="3342"/>
                    <a:pt x="16806" y="3455"/>
                  </a:cubicBezTo>
                  <a:cubicBezTo>
                    <a:pt x="16793" y="3505"/>
                    <a:pt x="16775" y="3552"/>
                    <a:pt x="16743" y="3600"/>
                  </a:cubicBezTo>
                  <a:cubicBezTo>
                    <a:pt x="16819" y="3600"/>
                    <a:pt x="16819" y="3600"/>
                    <a:pt x="16819" y="3600"/>
                  </a:cubicBezTo>
                  <a:cubicBezTo>
                    <a:pt x="16843" y="3558"/>
                    <a:pt x="16859" y="3515"/>
                    <a:pt x="16870" y="3471"/>
                  </a:cubicBezTo>
                  <a:cubicBezTo>
                    <a:pt x="16902" y="3345"/>
                    <a:pt x="16897" y="3220"/>
                    <a:pt x="16934" y="3074"/>
                  </a:cubicBezTo>
                  <a:cubicBezTo>
                    <a:pt x="16987" y="2862"/>
                    <a:pt x="17240" y="2593"/>
                    <a:pt x="17363" y="2475"/>
                  </a:cubicBezTo>
                  <a:cubicBezTo>
                    <a:pt x="17395" y="2445"/>
                    <a:pt x="17417" y="2425"/>
                    <a:pt x="17425" y="2417"/>
                  </a:cubicBezTo>
                  <a:cubicBezTo>
                    <a:pt x="17555" y="2545"/>
                    <a:pt x="17740" y="2698"/>
                    <a:pt x="18004" y="2813"/>
                  </a:cubicBezTo>
                  <a:cubicBezTo>
                    <a:pt x="18004" y="2741"/>
                    <a:pt x="18004" y="2741"/>
                    <a:pt x="18004" y="2741"/>
                  </a:cubicBezTo>
                  <a:cubicBezTo>
                    <a:pt x="17767" y="2633"/>
                    <a:pt x="17598" y="2495"/>
                    <a:pt x="17477" y="2376"/>
                  </a:cubicBezTo>
                  <a:cubicBezTo>
                    <a:pt x="17571" y="2300"/>
                    <a:pt x="17789" y="2125"/>
                    <a:pt x="18004" y="1949"/>
                  </a:cubicBezTo>
                  <a:lnTo>
                    <a:pt x="18004" y="1864"/>
                  </a:lnTo>
                  <a:close/>
                  <a:moveTo>
                    <a:pt x="2973" y="242"/>
                  </a:moveTo>
                  <a:cubicBezTo>
                    <a:pt x="2975" y="243"/>
                    <a:pt x="2978" y="244"/>
                    <a:pt x="2980" y="246"/>
                  </a:cubicBezTo>
                  <a:cubicBezTo>
                    <a:pt x="3010" y="263"/>
                    <a:pt x="3052" y="286"/>
                    <a:pt x="3099" y="314"/>
                  </a:cubicBezTo>
                  <a:cubicBezTo>
                    <a:pt x="3194" y="370"/>
                    <a:pt x="3312" y="442"/>
                    <a:pt x="3399" y="507"/>
                  </a:cubicBezTo>
                  <a:cubicBezTo>
                    <a:pt x="3457" y="549"/>
                    <a:pt x="3503" y="592"/>
                    <a:pt x="3514" y="609"/>
                  </a:cubicBezTo>
                  <a:cubicBezTo>
                    <a:pt x="3544" y="655"/>
                    <a:pt x="3569" y="731"/>
                    <a:pt x="3583" y="806"/>
                  </a:cubicBezTo>
                  <a:cubicBezTo>
                    <a:pt x="3597" y="876"/>
                    <a:pt x="3603" y="946"/>
                    <a:pt x="3603" y="991"/>
                  </a:cubicBezTo>
                  <a:cubicBezTo>
                    <a:pt x="3602" y="987"/>
                    <a:pt x="3601" y="984"/>
                    <a:pt x="3600" y="982"/>
                  </a:cubicBezTo>
                  <a:cubicBezTo>
                    <a:pt x="3587" y="945"/>
                    <a:pt x="3563" y="880"/>
                    <a:pt x="3538" y="815"/>
                  </a:cubicBezTo>
                  <a:cubicBezTo>
                    <a:pt x="3512" y="749"/>
                    <a:pt x="3485" y="685"/>
                    <a:pt x="3463" y="645"/>
                  </a:cubicBezTo>
                  <a:cubicBezTo>
                    <a:pt x="3423" y="571"/>
                    <a:pt x="3373" y="504"/>
                    <a:pt x="3303" y="458"/>
                  </a:cubicBezTo>
                  <a:cubicBezTo>
                    <a:pt x="3282" y="444"/>
                    <a:pt x="3252" y="428"/>
                    <a:pt x="3211" y="408"/>
                  </a:cubicBezTo>
                  <a:cubicBezTo>
                    <a:pt x="3171" y="387"/>
                    <a:pt x="3124" y="364"/>
                    <a:pt x="3078" y="342"/>
                  </a:cubicBezTo>
                  <a:cubicBezTo>
                    <a:pt x="3030" y="319"/>
                    <a:pt x="2983" y="297"/>
                    <a:pt x="2951" y="281"/>
                  </a:cubicBezTo>
                  <a:cubicBezTo>
                    <a:pt x="2959" y="268"/>
                    <a:pt x="2966" y="255"/>
                    <a:pt x="2973" y="242"/>
                  </a:cubicBezTo>
                  <a:close/>
                  <a:moveTo>
                    <a:pt x="2285" y="1567"/>
                  </a:moveTo>
                  <a:cubicBezTo>
                    <a:pt x="2285" y="1570"/>
                    <a:pt x="2285" y="1575"/>
                    <a:pt x="2286" y="1579"/>
                  </a:cubicBezTo>
                  <a:cubicBezTo>
                    <a:pt x="2288" y="1604"/>
                    <a:pt x="2294" y="1654"/>
                    <a:pt x="2302" y="1706"/>
                  </a:cubicBezTo>
                  <a:cubicBezTo>
                    <a:pt x="759" y="2095"/>
                    <a:pt x="759" y="2095"/>
                    <a:pt x="759" y="2095"/>
                  </a:cubicBezTo>
                  <a:cubicBezTo>
                    <a:pt x="667" y="1892"/>
                    <a:pt x="588" y="1718"/>
                    <a:pt x="556" y="1649"/>
                  </a:cubicBezTo>
                  <a:cubicBezTo>
                    <a:pt x="571" y="1642"/>
                    <a:pt x="586" y="1635"/>
                    <a:pt x="603" y="1628"/>
                  </a:cubicBezTo>
                  <a:cubicBezTo>
                    <a:pt x="716" y="1578"/>
                    <a:pt x="858" y="1516"/>
                    <a:pt x="973" y="1471"/>
                  </a:cubicBezTo>
                  <a:cubicBezTo>
                    <a:pt x="1074" y="1430"/>
                    <a:pt x="1262" y="1358"/>
                    <a:pt x="1449" y="1283"/>
                  </a:cubicBezTo>
                  <a:cubicBezTo>
                    <a:pt x="1637" y="1207"/>
                    <a:pt x="1825" y="1129"/>
                    <a:pt x="1933" y="1073"/>
                  </a:cubicBezTo>
                  <a:cubicBezTo>
                    <a:pt x="1965" y="1057"/>
                    <a:pt x="1989" y="1043"/>
                    <a:pt x="2010" y="1028"/>
                  </a:cubicBezTo>
                  <a:cubicBezTo>
                    <a:pt x="2049" y="998"/>
                    <a:pt x="2093" y="950"/>
                    <a:pt x="2147" y="888"/>
                  </a:cubicBezTo>
                  <a:cubicBezTo>
                    <a:pt x="2200" y="827"/>
                    <a:pt x="2259" y="755"/>
                    <a:pt x="2314" y="685"/>
                  </a:cubicBezTo>
                  <a:cubicBezTo>
                    <a:pt x="2409" y="567"/>
                    <a:pt x="2493" y="456"/>
                    <a:pt x="2516" y="425"/>
                  </a:cubicBezTo>
                  <a:cubicBezTo>
                    <a:pt x="2556" y="440"/>
                    <a:pt x="2599" y="449"/>
                    <a:pt x="2644" y="449"/>
                  </a:cubicBezTo>
                  <a:cubicBezTo>
                    <a:pt x="2714" y="449"/>
                    <a:pt x="2779" y="429"/>
                    <a:pt x="2834" y="395"/>
                  </a:cubicBezTo>
                  <a:cubicBezTo>
                    <a:pt x="2855" y="405"/>
                    <a:pt x="2904" y="428"/>
                    <a:pt x="2947" y="448"/>
                  </a:cubicBezTo>
                  <a:cubicBezTo>
                    <a:pt x="3008" y="477"/>
                    <a:pt x="3084" y="514"/>
                    <a:pt x="3142" y="544"/>
                  </a:cubicBezTo>
                  <a:cubicBezTo>
                    <a:pt x="3180" y="563"/>
                    <a:pt x="3212" y="580"/>
                    <a:pt x="3219" y="585"/>
                  </a:cubicBezTo>
                  <a:cubicBezTo>
                    <a:pt x="3260" y="612"/>
                    <a:pt x="3296" y="656"/>
                    <a:pt x="3329" y="718"/>
                  </a:cubicBezTo>
                  <a:cubicBezTo>
                    <a:pt x="3344" y="744"/>
                    <a:pt x="3371" y="808"/>
                    <a:pt x="3396" y="871"/>
                  </a:cubicBezTo>
                  <a:cubicBezTo>
                    <a:pt x="3421" y="934"/>
                    <a:pt x="3444" y="998"/>
                    <a:pt x="3456" y="1032"/>
                  </a:cubicBezTo>
                  <a:cubicBezTo>
                    <a:pt x="3467" y="1062"/>
                    <a:pt x="3499" y="1144"/>
                    <a:pt x="3539" y="1243"/>
                  </a:cubicBezTo>
                  <a:cubicBezTo>
                    <a:pt x="3578" y="1341"/>
                    <a:pt x="3625" y="1453"/>
                    <a:pt x="3663" y="1540"/>
                  </a:cubicBezTo>
                  <a:cubicBezTo>
                    <a:pt x="3688" y="1598"/>
                    <a:pt x="3708" y="1641"/>
                    <a:pt x="3723" y="1668"/>
                  </a:cubicBezTo>
                  <a:cubicBezTo>
                    <a:pt x="3742" y="1700"/>
                    <a:pt x="3764" y="1737"/>
                    <a:pt x="3788" y="1774"/>
                  </a:cubicBezTo>
                  <a:cubicBezTo>
                    <a:pt x="3758" y="1783"/>
                    <a:pt x="3718" y="1796"/>
                    <a:pt x="3673" y="1808"/>
                  </a:cubicBezTo>
                  <a:cubicBezTo>
                    <a:pt x="3583" y="1834"/>
                    <a:pt x="3475" y="1859"/>
                    <a:pt x="3419" y="1859"/>
                  </a:cubicBezTo>
                  <a:cubicBezTo>
                    <a:pt x="3413" y="1859"/>
                    <a:pt x="3408" y="1858"/>
                    <a:pt x="3403" y="1858"/>
                  </a:cubicBezTo>
                  <a:cubicBezTo>
                    <a:pt x="3357" y="1853"/>
                    <a:pt x="3287" y="1835"/>
                    <a:pt x="3227" y="1817"/>
                  </a:cubicBezTo>
                  <a:cubicBezTo>
                    <a:pt x="3183" y="1803"/>
                    <a:pt x="3141" y="1788"/>
                    <a:pt x="3120" y="1780"/>
                  </a:cubicBezTo>
                  <a:cubicBezTo>
                    <a:pt x="3127" y="1767"/>
                    <a:pt x="3132" y="1753"/>
                    <a:pt x="3134" y="1740"/>
                  </a:cubicBezTo>
                  <a:cubicBezTo>
                    <a:pt x="3137" y="1723"/>
                    <a:pt x="3138" y="1703"/>
                    <a:pt x="3138" y="1682"/>
                  </a:cubicBezTo>
                  <a:cubicBezTo>
                    <a:pt x="3137" y="1615"/>
                    <a:pt x="3129" y="1533"/>
                    <a:pt x="3103" y="1480"/>
                  </a:cubicBezTo>
                  <a:cubicBezTo>
                    <a:pt x="3073" y="1418"/>
                    <a:pt x="3013" y="1351"/>
                    <a:pt x="2896" y="1344"/>
                  </a:cubicBezTo>
                  <a:cubicBezTo>
                    <a:pt x="2883" y="1343"/>
                    <a:pt x="2867" y="1342"/>
                    <a:pt x="2851" y="1342"/>
                  </a:cubicBezTo>
                  <a:cubicBezTo>
                    <a:pt x="2728" y="1342"/>
                    <a:pt x="2531" y="1367"/>
                    <a:pt x="2436" y="1394"/>
                  </a:cubicBezTo>
                  <a:cubicBezTo>
                    <a:pt x="2328" y="1422"/>
                    <a:pt x="2284" y="1502"/>
                    <a:pt x="2285" y="1567"/>
                  </a:cubicBezTo>
                  <a:close/>
                  <a:moveTo>
                    <a:pt x="2545" y="1903"/>
                  </a:moveTo>
                  <a:cubicBezTo>
                    <a:pt x="2540" y="1903"/>
                    <a:pt x="2536" y="1903"/>
                    <a:pt x="2531" y="1903"/>
                  </a:cubicBezTo>
                  <a:cubicBezTo>
                    <a:pt x="2460" y="1903"/>
                    <a:pt x="2416" y="1878"/>
                    <a:pt x="2401" y="1844"/>
                  </a:cubicBezTo>
                  <a:cubicBezTo>
                    <a:pt x="2392" y="1825"/>
                    <a:pt x="2379" y="1767"/>
                    <a:pt x="2370" y="1712"/>
                  </a:cubicBezTo>
                  <a:cubicBezTo>
                    <a:pt x="2360" y="1655"/>
                    <a:pt x="2353" y="1598"/>
                    <a:pt x="2351" y="1574"/>
                  </a:cubicBezTo>
                  <a:cubicBezTo>
                    <a:pt x="2351" y="1572"/>
                    <a:pt x="2351" y="1569"/>
                    <a:pt x="2351" y="1567"/>
                  </a:cubicBezTo>
                  <a:cubicBezTo>
                    <a:pt x="2352" y="1528"/>
                    <a:pt x="2370" y="1482"/>
                    <a:pt x="2454" y="1457"/>
                  </a:cubicBezTo>
                  <a:cubicBezTo>
                    <a:pt x="2538" y="1433"/>
                    <a:pt x="2737" y="1407"/>
                    <a:pt x="2851" y="1408"/>
                  </a:cubicBezTo>
                  <a:cubicBezTo>
                    <a:pt x="2866" y="1408"/>
                    <a:pt x="2880" y="1408"/>
                    <a:pt x="2891" y="1409"/>
                  </a:cubicBezTo>
                  <a:cubicBezTo>
                    <a:pt x="2986" y="1418"/>
                    <a:pt x="3016" y="1457"/>
                    <a:pt x="3044" y="1509"/>
                  </a:cubicBezTo>
                  <a:cubicBezTo>
                    <a:pt x="3061" y="1542"/>
                    <a:pt x="3073" y="1622"/>
                    <a:pt x="3072" y="1682"/>
                  </a:cubicBezTo>
                  <a:cubicBezTo>
                    <a:pt x="3072" y="1701"/>
                    <a:pt x="3071" y="1718"/>
                    <a:pt x="3069" y="1731"/>
                  </a:cubicBezTo>
                  <a:cubicBezTo>
                    <a:pt x="3102" y="1735"/>
                    <a:pt x="3102" y="1735"/>
                    <a:pt x="3102" y="1735"/>
                  </a:cubicBezTo>
                  <a:cubicBezTo>
                    <a:pt x="3069" y="1731"/>
                    <a:pt x="3069" y="1731"/>
                    <a:pt x="3069" y="1731"/>
                  </a:cubicBezTo>
                  <a:cubicBezTo>
                    <a:pt x="3069" y="1741"/>
                    <a:pt x="3054" y="1772"/>
                    <a:pt x="3027" y="1799"/>
                  </a:cubicBezTo>
                  <a:cubicBezTo>
                    <a:pt x="3001" y="1827"/>
                    <a:pt x="2965" y="1854"/>
                    <a:pt x="2924" y="1868"/>
                  </a:cubicBezTo>
                  <a:cubicBezTo>
                    <a:pt x="2883" y="1882"/>
                    <a:pt x="2809" y="1891"/>
                    <a:pt x="2736" y="1895"/>
                  </a:cubicBezTo>
                  <a:cubicBezTo>
                    <a:pt x="2662" y="1900"/>
                    <a:pt x="2589" y="1900"/>
                    <a:pt x="2545" y="1903"/>
                  </a:cubicBezTo>
                  <a:close/>
                  <a:moveTo>
                    <a:pt x="3099" y="1832"/>
                  </a:moveTo>
                  <a:cubicBezTo>
                    <a:pt x="3095" y="1820"/>
                    <a:pt x="3095" y="1820"/>
                    <a:pt x="3095" y="1820"/>
                  </a:cubicBezTo>
                  <a:cubicBezTo>
                    <a:pt x="3095" y="1820"/>
                    <a:pt x="3095" y="1820"/>
                    <a:pt x="3095" y="1820"/>
                  </a:cubicBezTo>
                  <a:lnTo>
                    <a:pt x="3099" y="1832"/>
                  </a:lnTo>
                  <a:close/>
                  <a:moveTo>
                    <a:pt x="2781" y="1957"/>
                  </a:moveTo>
                  <a:cubicBezTo>
                    <a:pt x="2842" y="1952"/>
                    <a:pt x="2901" y="1945"/>
                    <a:pt x="2945" y="1930"/>
                  </a:cubicBezTo>
                  <a:cubicBezTo>
                    <a:pt x="2998" y="1911"/>
                    <a:pt x="3043" y="1878"/>
                    <a:pt x="3075" y="1844"/>
                  </a:cubicBezTo>
                  <a:cubicBezTo>
                    <a:pt x="3078" y="1841"/>
                    <a:pt x="3080" y="1838"/>
                    <a:pt x="3083" y="1835"/>
                  </a:cubicBezTo>
                  <a:cubicBezTo>
                    <a:pt x="3083" y="1835"/>
                    <a:pt x="3084" y="1836"/>
                    <a:pt x="3084" y="1836"/>
                  </a:cubicBezTo>
                  <a:cubicBezTo>
                    <a:pt x="3091" y="1839"/>
                    <a:pt x="3100" y="1842"/>
                    <a:pt x="3110" y="1846"/>
                  </a:cubicBezTo>
                  <a:cubicBezTo>
                    <a:pt x="3132" y="1854"/>
                    <a:pt x="3161" y="1864"/>
                    <a:pt x="3193" y="1875"/>
                  </a:cubicBezTo>
                  <a:cubicBezTo>
                    <a:pt x="3258" y="1895"/>
                    <a:pt x="3337" y="1917"/>
                    <a:pt x="3396" y="1923"/>
                  </a:cubicBezTo>
                  <a:cubicBezTo>
                    <a:pt x="3403" y="1924"/>
                    <a:pt x="3411" y="1924"/>
                    <a:pt x="3419" y="1924"/>
                  </a:cubicBezTo>
                  <a:cubicBezTo>
                    <a:pt x="3491" y="1924"/>
                    <a:pt x="3598" y="1897"/>
                    <a:pt x="3691" y="1871"/>
                  </a:cubicBezTo>
                  <a:cubicBezTo>
                    <a:pt x="3748" y="1855"/>
                    <a:pt x="3798" y="1840"/>
                    <a:pt x="3829" y="1830"/>
                  </a:cubicBezTo>
                  <a:cubicBezTo>
                    <a:pt x="3856" y="1865"/>
                    <a:pt x="3885" y="1896"/>
                    <a:pt x="3926" y="1919"/>
                  </a:cubicBezTo>
                  <a:cubicBezTo>
                    <a:pt x="3960" y="1937"/>
                    <a:pt x="3995" y="1944"/>
                    <a:pt x="4033" y="1949"/>
                  </a:cubicBezTo>
                  <a:cubicBezTo>
                    <a:pt x="4070" y="1954"/>
                    <a:pt x="4108" y="1955"/>
                    <a:pt x="4144" y="1955"/>
                  </a:cubicBezTo>
                  <a:cubicBezTo>
                    <a:pt x="4177" y="1955"/>
                    <a:pt x="4207" y="1954"/>
                    <a:pt x="4232" y="1952"/>
                  </a:cubicBezTo>
                  <a:cubicBezTo>
                    <a:pt x="4255" y="1950"/>
                    <a:pt x="4338" y="1946"/>
                    <a:pt x="4435" y="1941"/>
                  </a:cubicBezTo>
                  <a:cubicBezTo>
                    <a:pt x="4400" y="1976"/>
                    <a:pt x="4354" y="2021"/>
                    <a:pt x="4298" y="2068"/>
                  </a:cubicBezTo>
                  <a:cubicBezTo>
                    <a:pt x="4172" y="2175"/>
                    <a:pt x="4002" y="2291"/>
                    <a:pt x="3829" y="2332"/>
                  </a:cubicBezTo>
                  <a:cubicBezTo>
                    <a:pt x="3704" y="2361"/>
                    <a:pt x="3639" y="2361"/>
                    <a:pt x="3482" y="2376"/>
                  </a:cubicBezTo>
                  <a:cubicBezTo>
                    <a:pt x="3345" y="2389"/>
                    <a:pt x="3190" y="2402"/>
                    <a:pt x="3069" y="2411"/>
                  </a:cubicBezTo>
                  <a:cubicBezTo>
                    <a:pt x="2984" y="2418"/>
                    <a:pt x="2917" y="2423"/>
                    <a:pt x="2880" y="2426"/>
                  </a:cubicBezTo>
                  <a:lnTo>
                    <a:pt x="2781" y="1957"/>
                  </a:lnTo>
                  <a:close/>
                  <a:moveTo>
                    <a:pt x="2894" y="2491"/>
                  </a:moveTo>
                  <a:cubicBezTo>
                    <a:pt x="2900" y="2491"/>
                    <a:pt x="2907" y="2490"/>
                    <a:pt x="2914" y="2489"/>
                  </a:cubicBezTo>
                  <a:cubicBezTo>
                    <a:pt x="2952" y="2487"/>
                    <a:pt x="3004" y="2482"/>
                    <a:pt x="3066" y="2478"/>
                  </a:cubicBezTo>
                  <a:cubicBezTo>
                    <a:pt x="3189" y="2468"/>
                    <a:pt x="3347" y="2455"/>
                    <a:pt x="3488" y="2441"/>
                  </a:cubicBezTo>
                  <a:cubicBezTo>
                    <a:pt x="3596" y="2431"/>
                    <a:pt x="3663" y="2428"/>
                    <a:pt x="3739" y="2416"/>
                  </a:cubicBezTo>
                  <a:cubicBezTo>
                    <a:pt x="3821" y="2784"/>
                    <a:pt x="3821" y="2784"/>
                    <a:pt x="3821" y="2784"/>
                  </a:cubicBezTo>
                  <a:cubicBezTo>
                    <a:pt x="3819" y="2784"/>
                    <a:pt x="3816" y="2784"/>
                    <a:pt x="3814" y="2784"/>
                  </a:cubicBezTo>
                  <a:cubicBezTo>
                    <a:pt x="3446" y="2804"/>
                    <a:pt x="3306" y="2825"/>
                    <a:pt x="3305" y="2825"/>
                  </a:cubicBezTo>
                  <a:cubicBezTo>
                    <a:pt x="3291" y="2827"/>
                    <a:pt x="3291" y="2827"/>
                    <a:pt x="3291" y="2827"/>
                  </a:cubicBezTo>
                  <a:cubicBezTo>
                    <a:pt x="3295" y="2854"/>
                    <a:pt x="3295" y="2854"/>
                    <a:pt x="3295" y="2854"/>
                  </a:cubicBezTo>
                  <a:cubicBezTo>
                    <a:pt x="3285" y="2855"/>
                    <a:pt x="3270" y="2856"/>
                    <a:pt x="3253" y="2858"/>
                  </a:cubicBezTo>
                  <a:cubicBezTo>
                    <a:pt x="3219" y="2861"/>
                    <a:pt x="3172" y="2866"/>
                    <a:pt x="3126" y="2870"/>
                  </a:cubicBezTo>
                  <a:cubicBezTo>
                    <a:pt x="3069" y="2876"/>
                    <a:pt x="3012" y="2881"/>
                    <a:pt x="2977" y="2884"/>
                  </a:cubicBezTo>
                  <a:lnTo>
                    <a:pt x="2894" y="2491"/>
                  </a:lnTo>
                  <a:close/>
                  <a:moveTo>
                    <a:pt x="2980" y="2898"/>
                  </a:moveTo>
                  <a:cubicBezTo>
                    <a:pt x="3058" y="2891"/>
                    <a:pt x="3242" y="2873"/>
                    <a:pt x="3297" y="2868"/>
                  </a:cubicBezTo>
                  <a:cubicBezTo>
                    <a:pt x="3300" y="2892"/>
                    <a:pt x="3300" y="2892"/>
                    <a:pt x="3300" y="2892"/>
                  </a:cubicBezTo>
                  <a:cubicBezTo>
                    <a:pt x="3315" y="2890"/>
                    <a:pt x="3348" y="2885"/>
                    <a:pt x="3428" y="2877"/>
                  </a:cubicBezTo>
                  <a:cubicBezTo>
                    <a:pt x="3508" y="2870"/>
                    <a:pt x="3634" y="2860"/>
                    <a:pt x="3818" y="2850"/>
                  </a:cubicBezTo>
                  <a:cubicBezTo>
                    <a:pt x="3831" y="2849"/>
                    <a:pt x="3845" y="2848"/>
                    <a:pt x="3859" y="2848"/>
                  </a:cubicBezTo>
                  <a:cubicBezTo>
                    <a:pt x="3895" y="2848"/>
                    <a:pt x="3932" y="2851"/>
                    <a:pt x="3969" y="2855"/>
                  </a:cubicBezTo>
                  <a:cubicBezTo>
                    <a:pt x="3970" y="2867"/>
                    <a:pt x="3970" y="2881"/>
                    <a:pt x="3970" y="2899"/>
                  </a:cubicBezTo>
                  <a:cubicBezTo>
                    <a:pt x="3971" y="2941"/>
                    <a:pt x="3971" y="2998"/>
                    <a:pt x="3971" y="3060"/>
                  </a:cubicBezTo>
                  <a:cubicBezTo>
                    <a:pt x="3928" y="3058"/>
                    <a:pt x="3544" y="3046"/>
                    <a:pt x="3533" y="3046"/>
                  </a:cubicBezTo>
                  <a:cubicBezTo>
                    <a:pt x="3521" y="3046"/>
                    <a:pt x="3191" y="3054"/>
                    <a:pt x="3191" y="3054"/>
                  </a:cubicBezTo>
                  <a:cubicBezTo>
                    <a:pt x="3015" y="3064"/>
                    <a:pt x="3015" y="3064"/>
                    <a:pt x="3015" y="3064"/>
                  </a:cubicBezTo>
                  <a:lnTo>
                    <a:pt x="2980" y="2898"/>
                  </a:lnTo>
                  <a:close/>
                  <a:moveTo>
                    <a:pt x="3969" y="3505"/>
                  </a:moveTo>
                  <a:cubicBezTo>
                    <a:pt x="3913" y="3483"/>
                    <a:pt x="3585" y="3353"/>
                    <a:pt x="3585" y="3353"/>
                  </a:cubicBezTo>
                  <a:cubicBezTo>
                    <a:pt x="3583" y="3352"/>
                    <a:pt x="3583" y="3352"/>
                    <a:pt x="3583" y="3352"/>
                  </a:cubicBezTo>
                  <a:cubicBezTo>
                    <a:pt x="3077" y="3360"/>
                    <a:pt x="3077" y="3360"/>
                    <a:pt x="3077" y="3360"/>
                  </a:cubicBezTo>
                  <a:cubicBezTo>
                    <a:pt x="3051" y="3235"/>
                    <a:pt x="3051" y="3235"/>
                    <a:pt x="3051" y="3235"/>
                  </a:cubicBezTo>
                  <a:cubicBezTo>
                    <a:pt x="3600" y="3238"/>
                    <a:pt x="3600" y="3238"/>
                    <a:pt x="3600" y="3238"/>
                  </a:cubicBezTo>
                  <a:cubicBezTo>
                    <a:pt x="3971" y="3305"/>
                    <a:pt x="3971" y="3305"/>
                    <a:pt x="3971" y="3305"/>
                  </a:cubicBezTo>
                  <a:cubicBezTo>
                    <a:pt x="3970" y="3387"/>
                    <a:pt x="3970" y="3459"/>
                    <a:pt x="3969" y="3505"/>
                  </a:cubicBezTo>
                  <a:close/>
                  <a:moveTo>
                    <a:pt x="3971" y="3291"/>
                  </a:moveTo>
                  <a:cubicBezTo>
                    <a:pt x="3602" y="3224"/>
                    <a:pt x="3602" y="3224"/>
                    <a:pt x="3602" y="3224"/>
                  </a:cubicBezTo>
                  <a:cubicBezTo>
                    <a:pt x="3048" y="3221"/>
                    <a:pt x="3048" y="3221"/>
                    <a:pt x="3048" y="3221"/>
                  </a:cubicBezTo>
                  <a:cubicBezTo>
                    <a:pt x="3018" y="3078"/>
                    <a:pt x="3018" y="3078"/>
                    <a:pt x="3018" y="3078"/>
                  </a:cubicBezTo>
                  <a:cubicBezTo>
                    <a:pt x="3191" y="3068"/>
                    <a:pt x="3191" y="3068"/>
                    <a:pt x="3191" y="3068"/>
                  </a:cubicBezTo>
                  <a:cubicBezTo>
                    <a:pt x="3192" y="3068"/>
                    <a:pt x="3522" y="3060"/>
                    <a:pt x="3533" y="3060"/>
                  </a:cubicBezTo>
                  <a:cubicBezTo>
                    <a:pt x="3543" y="3060"/>
                    <a:pt x="3935" y="3073"/>
                    <a:pt x="3971" y="3074"/>
                  </a:cubicBezTo>
                  <a:cubicBezTo>
                    <a:pt x="3971" y="3075"/>
                    <a:pt x="3972" y="3077"/>
                    <a:pt x="3972" y="3079"/>
                  </a:cubicBezTo>
                  <a:cubicBezTo>
                    <a:pt x="3972" y="3148"/>
                    <a:pt x="3971" y="3222"/>
                    <a:pt x="3971" y="3291"/>
                  </a:cubicBezTo>
                  <a:close/>
                  <a:moveTo>
                    <a:pt x="4555" y="3586"/>
                  </a:moveTo>
                  <a:cubicBezTo>
                    <a:pt x="4516" y="3580"/>
                    <a:pt x="4396" y="3565"/>
                    <a:pt x="4276" y="3549"/>
                  </a:cubicBezTo>
                  <a:cubicBezTo>
                    <a:pt x="4144" y="3531"/>
                    <a:pt x="4010" y="3513"/>
                    <a:pt x="3983" y="3509"/>
                  </a:cubicBezTo>
                  <a:cubicBezTo>
                    <a:pt x="3983" y="3464"/>
                    <a:pt x="3984" y="3390"/>
                    <a:pt x="3985" y="3307"/>
                  </a:cubicBezTo>
                  <a:cubicBezTo>
                    <a:pt x="4054" y="3317"/>
                    <a:pt x="4471" y="3376"/>
                    <a:pt x="4580" y="3390"/>
                  </a:cubicBezTo>
                  <a:lnTo>
                    <a:pt x="4555" y="3586"/>
                  </a:lnTo>
                  <a:close/>
                  <a:moveTo>
                    <a:pt x="4582" y="3376"/>
                  </a:moveTo>
                  <a:cubicBezTo>
                    <a:pt x="4531" y="3370"/>
                    <a:pt x="4409" y="3353"/>
                    <a:pt x="4289" y="3336"/>
                  </a:cubicBezTo>
                  <a:cubicBezTo>
                    <a:pt x="4153" y="3317"/>
                    <a:pt x="4018" y="3298"/>
                    <a:pt x="3985" y="3293"/>
                  </a:cubicBezTo>
                  <a:cubicBezTo>
                    <a:pt x="3985" y="3224"/>
                    <a:pt x="3985" y="3148"/>
                    <a:pt x="3985" y="3079"/>
                  </a:cubicBezTo>
                  <a:cubicBezTo>
                    <a:pt x="3985" y="3078"/>
                    <a:pt x="3985" y="3077"/>
                    <a:pt x="3985" y="3075"/>
                  </a:cubicBezTo>
                  <a:cubicBezTo>
                    <a:pt x="4609" y="3169"/>
                    <a:pt x="4609" y="3169"/>
                    <a:pt x="4609" y="3169"/>
                  </a:cubicBezTo>
                  <a:lnTo>
                    <a:pt x="4582" y="3376"/>
                  </a:lnTo>
                  <a:close/>
                  <a:moveTo>
                    <a:pt x="4610" y="3156"/>
                  </a:moveTo>
                  <a:cubicBezTo>
                    <a:pt x="3985" y="3061"/>
                    <a:pt x="3985" y="3061"/>
                    <a:pt x="3985" y="3061"/>
                  </a:cubicBezTo>
                  <a:cubicBezTo>
                    <a:pt x="3985" y="2974"/>
                    <a:pt x="3985" y="2899"/>
                    <a:pt x="3983" y="2857"/>
                  </a:cubicBezTo>
                  <a:cubicBezTo>
                    <a:pt x="4212" y="2887"/>
                    <a:pt x="4452" y="2988"/>
                    <a:pt x="4569" y="3043"/>
                  </a:cubicBezTo>
                  <a:cubicBezTo>
                    <a:pt x="4591" y="3053"/>
                    <a:pt x="4609" y="3062"/>
                    <a:pt x="4621" y="3068"/>
                  </a:cubicBezTo>
                  <a:lnTo>
                    <a:pt x="4610" y="3156"/>
                  </a:lnTo>
                  <a:close/>
                  <a:moveTo>
                    <a:pt x="4630" y="2999"/>
                  </a:moveTo>
                  <a:cubicBezTo>
                    <a:pt x="4516" y="2943"/>
                    <a:pt x="4186" y="2793"/>
                    <a:pt x="3888" y="2783"/>
                  </a:cubicBezTo>
                  <a:cubicBezTo>
                    <a:pt x="3803" y="2405"/>
                    <a:pt x="3803" y="2405"/>
                    <a:pt x="3803" y="2405"/>
                  </a:cubicBezTo>
                  <a:cubicBezTo>
                    <a:pt x="3816" y="2402"/>
                    <a:pt x="3830" y="2399"/>
                    <a:pt x="3844" y="2396"/>
                  </a:cubicBezTo>
                  <a:cubicBezTo>
                    <a:pt x="4162" y="2319"/>
                    <a:pt x="4445" y="2029"/>
                    <a:pt x="4530" y="1936"/>
                  </a:cubicBezTo>
                  <a:cubicBezTo>
                    <a:pt x="4541" y="1936"/>
                    <a:pt x="4551" y="1935"/>
                    <a:pt x="4562" y="1934"/>
                  </a:cubicBezTo>
                  <a:cubicBezTo>
                    <a:pt x="4640" y="1931"/>
                    <a:pt x="4715" y="1927"/>
                    <a:pt x="4767" y="1925"/>
                  </a:cubicBezTo>
                  <a:lnTo>
                    <a:pt x="4630" y="2999"/>
                  </a:lnTo>
                  <a:close/>
                  <a:moveTo>
                    <a:pt x="4828" y="1769"/>
                  </a:moveTo>
                  <a:cubicBezTo>
                    <a:pt x="4803" y="1770"/>
                    <a:pt x="4683" y="1776"/>
                    <a:pt x="4555" y="1782"/>
                  </a:cubicBezTo>
                  <a:cubicBezTo>
                    <a:pt x="4439" y="1788"/>
                    <a:pt x="4319" y="1794"/>
                    <a:pt x="4255" y="1798"/>
                  </a:cubicBezTo>
                  <a:cubicBezTo>
                    <a:pt x="4602" y="766"/>
                    <a:pt x="4602" y="766"/>
                    <a:pt x="4602" y="766"/>
                  </a:cubicBezTo>
                  <a:cubicBezTo>
                    <a:pt x="5087" y="1084"/>
                    <a:pt x="5087" y="1084"/>
                    <a:pt x="5087" y="1084"/>
                  </a:cubicBezTo>
                  <a:cubicBezTo>
                    <a:pt x="5093" y="1136"/>
                    <a:pt x="5093" y="1136"/>
                    <a:pt x="5093" y="1136"/>
                  </a:cubicBezTo>
                  <a:cubicBezTo>
                    <a:pt x="5054" y="1728"/>
                    <a:pt x="5054" y="1728"/>
                    <a:pt x="5054" y="1728"/>
                  </a:cubicBezTo>
                  <a:lnTo>
                    <a:pt x="4828" y="1769"/>
                  </a:lnTo>
                  <a:close/>
                  <a:moveTo>
                    <a:pt x="5516" y="3513"/>
                  </a:moveTo>
                  <a:cubicBezTo>
                    <a:pt x="4947" y="3429"/>
                    <a:pt x="4947" y="3429"/>
                    <a:pt x="4947" y="3429"/>
                  </a:cubicBezTo>
                  <a:cubicBezTo>
                    <a:pt x="4956" y="3357"/>
                    <a:pt x="4965" y="3287"/>
                    <a:pt x="4974" y="3218"/>
                  </a:cubicBezTo>
                  <a:cubicBezTo>
                    <a:pt x="5538" y="3302"/>
                    <a:pt x="5538" y="3302"/>
                    <a:pt x="5538" y="3302"/>
                  </a:cubicBezTo>
                  <a:lnTo>
                    <a:pt x="5516" y="3513"/>
                  </a:lnTo>
                  <a:close/>
                  <a:moveTo>
                    <a:pt x="5539" y="3288"/>
                  </a:moveTo>
                  <a:cubicBezTo>
                    <a:pt x="4975" y="3204"/>
                    <a:pt x="4975" y="3204"/>
                    <a:pt x="4975" y="3204"/>
                  </a:cubicBezTo>
                  <a:cubicBezTo>
                    <a:pt x="5005" y="2972"/>
                    <a:pt x="5032" y="2755"/>
                    <a:pt x="5056" y="2566"/>
                  </a:cubicBezTo>
                  <a:cubicBezTo>
                    <a:pt x="5603" y="2656"/>
                    <a:pt x="5603" y="2656"/>
                    <a:pt x="5603" y="2656"/>
                  </a:cubicBezTo>
                  <a:lnTo>
                    <a:pt x="5539" y="3288"/>
                  </a:lnTo>
                  <a:close/>
                  <a:moveTo>
                    <a:pt x="5605" y="2642"/>
                  </a:moveTo>
                  <a:cubicBezTo>
                    <a:pt x="5058" y="2552"/>
                    <a:pt x="5058" y="2552"/>
                    <a:pt x="5058" y="2552"/>
                  </a:cubicBezTo>
                  <a:cubicBezTo>
                    <a:pt x="5098" y="2239"/>
                    <a:pt x="5127" y="2003"/>
                    <a:pt x="5141" y="1896"/>
                  </a:cubicBezTo>
                  <a:cubicBezTo>
                    <a:pt x="5202" y="1910"/>
                    <a:pt x="5288" y="1929"/>
                    <a:pt x="5374" y="1948"/>
                  </a:cubicBezTo>
                  <a:cubicBezTo>
                    <a:pt x="5497" y="1976"/>
                    <a:pt x="5621" y="2004"/>
                    <a:pt x="5667" y="2015"/>
                  </a:cubicBezTo>
                  <a:cubicBezTo>
                    <a:pt x="5668" y="2017"/>
                    <a:pt x="5668" y="2017"/>
                    <a:pt x="5668" y="2017"/>
                  </a:cubicBezTo>
                  <a:lnTo>
                    <a:pt x="5605" y="2642"/>
                  </a:lnTo>
                  <a:close/>
                  <a:moveTo>
                    <a:pt x="6695" y="1906"/>
                  </a:moveTo>
                  <a:cubicBezTo>
                    <a:pt x="6241" y="1889"/>
                    <a:pt x="5787" y="1873"/>
                    <a:pt x="5718" y="1871"/>
                  </a:cubicBezTo>
                  <a:cubicBezTo>
                    <a:pt x="5713" y="1870"/>
                    <a:pt x="5706" y="1868"/>
                    <a:pt x="5698" y="1866"/>
                  </a:cubicBezTo>
                  <a:cubicBezTo>
                    <a:pt x="5682" y="1862"/>
                    <a:pt x="5659" y="1857"/>
                    <a:pt x="5632" y="1851"/>
                  </a:cubicBezTo>
                  <a:cubicBezTo>
                    <a:pt x="5577" y="1838"/>
                    <a:pt x="5505" y="1822"/>
                    <a:pt x="5430" y="1805"/>
                  </a:cubicBezTo>
                  <a:cubicBezTo>
                    <a:pt x="5306" y="1777"/>
                    <a:pt x="5178" y="1748"/>
                    <a:pt x="5119" y="1735"/>
                  </a:cubicBezTo>
                  <a:cubicBezTo>
                    <a:pt x="5159" y="1135"/>
                    <a:pt x="5159" y="1135"/>
                    <a:pt x="5159" y="1135"/>
                  </a:cubicBezTo>
                  <a:cubicBezTo>
                    <a:pt x="5081" y="457"/>
                    <a:pt x="5081" y="457"/>
                    <a:pt x="5081" y="457"/>
                  </a:cubicBezTo>
                  <a:cubicBezTo>
                    <a:pt x="5082" y="440"/>
                    <a:pt x="5086" y="339"/>
                    <a:pt x="5090" y="203"/>
                  </a:cubicBezTo>
                  <a:cubicBezTo>
                    <a:pt x="5228" y="240"/>
                    <a:pt x="5903" y="420"/>
                    <a:pt x="6037" y="449"/>
                  </a:cubicBezTo>
                  <a:cubicBezTo>
                    <a:pt x="6133" y="471"/>
                    <a:pt x="6249" y="506"/>
                    <a:pt x="6410" y="506"/>
                  </a:cubicBezTo>
                  <a:cubicBezTo>
                    <a:pt x="6411" y="506"/>
                    <a:pt x="6411" y="506"/>
                    <a:pt x="6411" y="506"/>
                  </a:cubicBezTo>
                  <a:cubicBezTo>
                    <a:pt x="6484" y="506"/>
                    <a:pt x="6568" y="498"/>
                    <a:pt x="6662" y="479"/>
                  </a:cubicBezTo>
                  <a:cubicBezTo>
                    <a:pt x="7169" y="1923"/>
                    <a:pt x="7169" y="1923"/>
                    <a:pt x="7169" y="1923"/>
                  </a:cubicBezTo>
                  <a:cubicBezTo>
                    <a:pt x="7023" y="1917"/>
                    <a:pt x="6859" y="1911"/>
                    <a:pt x="6695" y="1906"/>
                  </a:cubicBezTo>
                  <a:close/>
                  <a:moveTo>
                    <a:pt x="10817" y="606"/>
                  </a:moveTo>
                  <a:cubicBezTo>
                    <a:pt x="10932" y="586"/>
                    <a:pt x="10932" y="586"/>
                    <a:pt x="10932" y="586"/>
                  </a:cubicBezTo>
                  <a:cubicBezTo>
                    <a:pt x="10907" y="441"/>
                    <a:pt x="10907" y="441"/>
                    <a:pt x="10907" y="441"/>
                  </a:cubicBezTo>
                  <a:cubicBezTo>
                    <a:pt x="10752" y="467"/>
                    <a:pt x="10752" y="467"/>
                    <a:pt x="10752" y="467"/>
                  </a:cubicBezTo>
                  <a:cubicBezTo>
                    <a:pt x="10738" y="387"/>
                    <a:pt x="10738" y="387"/>
                    <a:pt x="10738" y="387"/>
                  </a:cubicBezTo>
                  <a:cubicBezTo>
                    <a:pt x="10897" y="360"/>
                    <a:pt x="10897" y="360"/>
                    <a:pt x="10897" y="360"/>
                  </a:cubicBezTo>
                  <a:cubicBezTo>
                    <a:pt x="10889" y="313"/>
                    <a:pt x="10889" y="313"/>
                    <a:pt x="10889" y="313"/>
                  </a:cubicBezTo>
                  <a:cubicBezTo>
                    <a:pt x="11039" y="287"/>
                    <a:pt x="11039" y="287"/>
                    <a:pt x="11039" y="287"/>
                  </a:cubicBezTo>
                  <a:cubicBezTo>
                    <a:pt x="11022" y="189"/>
                    <a:pt x="11022" y="189"/>
                    <a:pt x="11022" y="189"/>
                  </a:cubicBezTo>
                  <a:cubicBezTo>
                    <a:pt x="11077" y="180"/>
                    <a:pt x="11077" y="180"/>
                    <a:pt x="11077" y="180"/>
                  </a:cubicBezTo>
                  <a:cubicBezTo>
                    <a:pt x="11096" y="278"/>
                    <a:pt x="11096" y="278"/>
                    <a:pt x="11096" y="278"/>
                  </a:cubicBezTo>
                  <a:cubicBezTo>
                    <a:pt x="11137" y="271"/>
                    <a:pt x="11137" y="271"/>
                    <a:pt x="11137" y="271"/>
                  </a:cubicBezTo>
                  <a:cubicBezTo>
                    <a:pt x="11165" y="439"/>
                    <a:pt x="11165" y="439"/>
                    <a:pt x="11165" y="439"/>
                  </a:cubicBezTo>
                  <a:cubicBezTo>
                    <a:pt x="11260" y="423"/>
                    <a:pt x="11260" y="423"/>
                    <a:pt x="11260" y="423"/>
                  </a:cubicBezTo>
                  <a:cubicBezTo>
                    <a:pt x="11278" y="525"/>
                    <a:pt x="11278" y="525"/>
                    <a:pt x="11278" y="525"/>
                  </a:cubicBezTo>
                  <a:cubicBezTo>
                    <a:pt x="11184" y="541"/>
                    <a:pt x="11184" y="541"/>
                    <a:pt x="11184" y="541"/>
                  </a:cubicBezTo>
                  <a:cubicBezTo>
                    <a:pt x="11192" y="591"/>
                    <a:pt x="11192" y="591"/>
                    <a:pt x="11192" y="591"/>
                  </a:cubicBezTo>
                  <a:cubicBezTo>
                    <a:pt x="10963" y="630"/>
                    <a:pt x="10963" y="630"/>
                    <a:pt x="10963" y="630"/>
                  </a:cubicBezTo>
                  <a:cubicBezTo>
                    <a:pt x="10986" y="764"/>
                    <a:pt x="10986" y="764"/>
                    <a:pt x="10986" y="764"/>
                  </a:cubicBezTo>
                  <a:cubicBezTo>
                    <a:pt x="10847" y="788"/>
                    <a:pt x="10847" y="788"/>
                    <a:pt x="10847" y="788"/>
                  </a:cubicBezTo>
                  <a:lnTo>
                    <a:pt x="10817" y="606"/>
                  </a:lnTo>
                  <a:close/>
                  <a:moveTo>
                    <a:pt x="7759" y="829"/>
                  </a:moveTo>
                  <a:cubicBezTo>
                    <a:pt x="7717" y="740"/>
                    <a:pt x="7663" y="622"/>
                    <a:pt x="7617" y="507"/>
                  </a:cubicBezTo>
                  <a:cubicBezTo>
                    <a:pt x="7579" y="414"/>
                    <a:pt x="7569" y="335"/>
                    <a:pt x="7569" y="275"/>
                  </a:cubicBezTo>
                  <a:cubicBezTo>
                    <a:pt x="7569" y="203"/>
                    <a:pt x="7584" y="158"/>
                    <a:pt x="7587" y="150"/>
                  </a:cubicBezTo>
                  <a:cubicBezTo>
                    <a:pt x="7658" y="22"/>
                    <a:pt x="7658" y="22"/>
                    <a:pt x="7658" y="22"/>
                  </a:cubicBezTo>
                  <a:cubicBezTo>
                    <a:pt x="8871" y="743"/>
                    <a:pt x="8871" y="743"/>
                    <a:pt x="8871" y="743"/>
                  </a:cubicBezTo>
                  <a:cubicBezTo>
                    <a:pt x="8874" y="765"/>
                    <a:pt x="8879" y="807"/>
                    <a:pt x="8886" y="863"/>
                  </a:cubicBezTo>
                  <a:cubicBezTo>
                    <a:pt x="8850" y="865"/>
                    <a:pt x="8788" y="870"/>
                    <a:pt x="8709" y="877"/>
                  </a:cubicBezTo>
                  <a:cubicBezTo>
                    <a:pt x="8601" y="886"/>
                    <a:pt x="8464" y="899"/>
                    <a:pt x="8329" y="911"/>
                  </a:cubicBezTo>
                  <a:cubicBezTo>
                    <a:pt x="8106" y="931"/>
                    <a:pt x="7890" y="952"/>
                    <a:pt x="7822" y="958"/>
                  </a:cubicBezTo>
                  <a:cubicBezTo>
                    <a:pt x="7810" y="934"/>
                    <a:pt x="7787" y="888"/>
                    <a:pt x="7759" y="829"/>
                  </a:cubicBezTo>
                  <a:close/>
                  <a:moveTo>
                    <a:pt x="7885" y="1957"/>
                  </a:moveTo>
                  <a:cubicBezTo>
                    <a:pt x="7866" y="1954"/>
                    <a:pt x="7846" y="1952"/>
                    <a:pt x="7827" y="1950"/>
                  </a:cubicBezTo>
                  <a:cubicBezTo>
                    <a:pt x="7914" y="1711"/>
                    <a:pt x="7914" y="1711"/>
                    <a:pt x="7914" y="1711"/>
                  </a:cubicBezTo>
                  <a:cubicBezTo>
                    <a:pt x="7839" y="1022"/>
                    <a:pt x="7839" y="1022"/>
                    <a:pt x="7839" y="1022"/>
                  </a:cubicBezTo>
                  <a:cubicBezTo>
                    <a:pt x="7892" y="1017"/>
                    <a:pt x="8005" y="1007"/>
                    <a:pt x="8139" y="994"/>
                  </a:cubicBezTo>
                  <a:cubicBezTo>
                    <a:pt x="8326" y="977"/>
                    <a:pt x="8553" y="956"/>
                    <a:pt x="8714" y="942"/>
                  </a:cubicBezTo>
                  <a:cubicBezTo>
                    <a:pt x="8795" y="935"/>
                    <a:pt x="8861" y="930"/>
                    <a:pt x="8895" y="928"/>
                  </a:cubicBezTo>
                  <a:cubicBezTo>
                    <a:pt x="8900" y="969"/>
                    <a:pt x="8905" y="1013"/>
                    <a:pt x="8911" y="1060"/>
                  </a:cubicBezTo>
                  <a:cubicBezTo>
                    <a:pt x="8934" y="1245"/>
                    <a:pt x="8962" y="1466"/>
                    <a:pt x="8978" y="1613"/>
                  </a:cubicBezTo>
                  <a:cubicBezTo>
                    <a:pt x="8981" y="1641"/>
                    <a:pt x="8983" y="1668"/>
                    <a:pt x="8983" y="1695"/>
                  </a:cubicBezTo>
                  <a:cubicBezTo>
                    <a:pt x="8983" y="1901"/>
                    <a:pt x="8898" y="2064"/>
                    <a:pt x="8875" y="2104"/>
                  </a:cubicBezTo>
                  <a:cubicBezTo>
                    <a:pt x="8367" y="2028"/>
                    <a:pt x="7923" y="1962"/>
                    <a:pt x="7885" y="1957"/>
                  </a:cubicBezTo>
                  <a:close/>
                  <a:moveTo>
                    <a:pt x="8944" y="2114"/>
                  </a:moveTo>
                  <a:cubicBezTo>
                    <a:pt x="8979" y="2047"/>
                    <a:pt x="9048" y="1891"/>
                    <a:pt x="9048" y="1695"/>
                  </a:cubicBezTo>
                  <a:cubicBezTo>
                    <a:pt x="9048" y="1666"/>
                    <a:pt x="9047" y="1636"/>
                    <a:pt x="9043" y="1605"/>
                  </a:cubicBezTo>
                  <a:cubicBezTo>
                    <a:pt x="9013" y="1332"/>
                    <a:pt x="8945" y="802"/>
                    <a:pt x="8935" y="728"/>
                  </a:cubicBezTo>
                  <a:cubicBezTo>
                    <a:pt x="8936" y="726"/>
                    <a:pt x="8937" y="725"/>
                    <a:pt x="8938" y="723"/>
                  </a:cubicBezTo>
                  <a:cubicBezTo>
                    <a:pt x="8947" y="711"/>
                    <a:pt x="8959" y="694"/>
                    <a:pt x="8973" y="674"/>
                  </a:cubicBezTo>
                  <a:cubicBezTo>
                    <a:pt x="9000" y="635"/>
                    <a:pt x="9035" y="582"/>
                    <a:pt x="9069" y="530"/>
                  </a:cubicBezTo>
                  <a:cubicBezTo>
                    <a:pt x="9122" y="449"/>
                    <a:pt x="9174" y="369"/>
                    <a:pt x="9196" y="336"/>
                  </a:cubicBezTo>
                  <a:cubicBezTo>
                    <a:pt x="10193" y="350"/>
                    <a:pt x="10193" y="350"/>
                    <a:pt x="10193" y="350"/>
                  </a:cubicBezTo>
                  <a:cubicBezTo>
                    <a:pt x="10198" y="400"/>
                    <a:pt x="10209" y="509"/>
                    <a:pt x="10220" y="619"/>
                  </a:cubicBezTo>
                  <a:cubicBezTo>
                    <a:pt x="10233" y="749"/>
                    <a:pt x="10246" y="882"/>
                    <a:pt x="10250" y="923"/>
                  </a:cubicBezTo>
                  <a:cubicBezTo>
                    <a:pt x="10116" y="1096"/>
                    <a:pt x="10116" y="1096"/>
                    <a:pt x="10116" y="1096"/>
                  </a:cubicBezTo>
                  <a:cubicBezTo>
                    <a:pt x="10140" y="1765"/>
                    <a:pt x="10140" y="1765"/>
                    <a:pt x="10140" y="1765"/>
                  </a:cubicBezTo>
                  <a:cubicBezTo>
                    <a:pt x="9986" y="1891"/>
                    <a:pt x="9986" y="1891"/>
                    <a:pt x="9986" y="1891"/>
                  </a:cubicBezTo>
                  <a:cubicBezTo>
                    <a:pt x="9864" y="2251"/>
                    <a:pt x="9864" y="2251"/>
                    <a:pt x="9864" y="2251"/>
                  </a:cubicBezTo>
                  <a:cubicBezTo>
                    <a:pt x="9593" y="2210"/>
                    <a:pt x="9260" y="2161"/>
                    <a:pt x="8944" y="2114"/>
                  </a:cubicBezTo>
                  <a:close/>
                  <a:moveTo>
                    <a:pt x="12939" y="2718"/>
                  </a:moveTo>
                  <a:cubicBezTo>
                    <a:pt x="12838" y="2931"/>
                    <a:pt x="12707" y="3209"/>
                    <a:pt x="12566" y="3502"/>
                  </a:cubicBezTo>
                  <a:cubicBezTo>
                    <a:pt x="11657" y="2919"/>
                    <a:pt x="11657" y="2919"/>
                    <a:pt x="11657" y="2919"/>
                  </a:cubicBezTo>
                  <a:cubicBezTo>
                    <a:pt x="11578" y="2869"/>
                    <a:pt x="11399" y="2766"/>
                    <a:pt x="11218" y="2666"/>
                  </a:cubicBezTo>
                  <a:cubicBezTo>
                    <a:pt x="11036" y="2565"/>
                    <a:pt x="10856" y="2468"/>
                    <a:pt x="10772" y="2430"/>
                  </a:cubicBezTo>
                  <a:cubicBezTo>
                    <a:pt x="10612" y="2358"/>
                    <a:pt x="10452" y="2338"/>
                    <a:pt x="10429" y="2335"/>
                  </a:cubicBezTo>
                  <a:cubicBezTo>
                    <a:pt x="10424" y="2334"/>
                    <a:pt x="10220" y="2304"/>
                    <a:pt x="9930" y="2261"/>
                  </a:cubicBezTo>
                  <a:cubicBezTo>
                    <a:pt x="10042" y="1930"/>
                    <a:pt x="10042" y="1930"/>
                    <a:pt x="10042" y="1930"/>
                  </a:cubicBezTo>
                  <a:cubicBezTo>
                    <a:pt x="10207" y="1795"/>
                    <a:pt x="10207" y="1795"/>
                    <a:pt x="10207" y="1795"/>
                  </a:cubicBezTo>
                  <a:cubicBezTo>
                    <a:pt x="10182" y="1118"/>
                    <a:pt x="10182" y="1118"/>
                    <a:pt x="10182" y="1118"/>
                  </a:cubicBezTo>
                  <a:cubicBezTo>
                    <a:pt x="10302" y="963"/>
                    <a:pt x="10302" y="963"/>
                    <a:pt x="10302" y="963"/>
                  </a:cubicBezTo>
                  <a:cubicBezTo>
                    <a:pt x="11912" y="675"/>
                    <a:pt x="11912" y="675"/>
                    <a:pt x="11912" y="675"/>
                  </a:cubicBezTo>
                  <a:cubicBezTo>
                    <a:pt x="12107" y="1959"/>
                    <a:pt x="12107" y="1959"/>
                    <a:pt x="12107" y="1959"/>
                  </a:cubicBezTo>
                  <a:cubicBezTo>
                    <a:pt x="13109" y="2355"/>
                    <a:pt x="13109" y="2355"/>
                    <a:pt x="13109" y="2355"/>
                  </a:cubicBezTo>
                  <a:cubicBezTo>
                    <a:pt x="13082" y="2414"/>
                    <a:pt x="13021" y="2544"/>
                    <a:pt x="12939" y="2718"/>
                  </a:cubicBezTo>
                  <a:close/>
                  <a:moveTo>
                    <a:pt x="101" y="552"/>
                  </a:moveTo>
                  <a:cubicBezTo>
                    <a:pt x="66" y="564"/>
                    <a:pt x="33" y="576"/>
                    <a:pt x="0" y="587"/>
                  </a:cubicBezTo>
                  <a:cubicBezTo>
                    <a:pt x="0" y="539"/>
                    <a:pt x="0" y="539"/>
                    <a:pt x="0" y="539"/>
                  </a:cubicBezTo>
                  <a:cubicBezTo>
                    <a:pt x="28" y="529"/>
                    <a:pt x="57" y="519"/>
                    <a:pt x="86" y="509"/>
                  </a:cubicBezTo>
                  <a:cubicBezTo>
                    <a:pt x="211" y="466"/>
                    <a:pt x="283" y="418"/>
                    <a:pt x="325" y="361"/>
                  </a:cubicBezTo>
                  <a:cubicBezTo>
                    <a:pt x="366" y="305"/>
                    <a:pt x="380" y="236"/>
                    <a:pt x="380" y="146"/>
                  </a:cubicBezTo>
                  <a:cubicBezTo>
                    <a:pt x="380" y="102"/>
                    <a:pt x="376" y="54"/>
                    <a:pt x="372" y="0"/>
                  </a:cubicBezTo>
                  <a:cubicBezTo>
                    <a:pt x="417" y="0"/>
                    <a:pt x="417" y="0"/>
                    <a:pt x="417" y="0"/>
                  </a:cubicBezTo>
                  <a:cubicBezTo>
                    <a:pt x="422" y="53"/>
                    <a:pt x="425" y="101"/>
                    <a:pt x="425" y="146"/>
                  </a:cubicBezTo>
                  <a:cubicBezTo>
                    <a:pt x="425" y="240"/>
                    <a:pt x="411" y="320"/>
                    <a:pt x="361" y="388"/>
                  </a:cubicBezTo>
                  <a:cubicBezTo>
                    <a:pt x="312" y="456"/>
                    <a:pt x="230" y="508"/>
                    <a:pt x="101" y="552"/>
                  </a:cubicBezTo>
                  <a:close/>
                </a:path>
              </a:pathLst>
            </a:custGeom>
            <a:gradFill>
              <a:gsLst>
                <a:gs pos="40000">
                  <a:srgbClr val="FFFFFF"/>
                </a:gs>
                <a:gs pos="100000">
                  <a:srgbClr val="B0AAB2"/>
                </a:gs>
              </a:gsLst>
              <a:lin ang="0" scaled="1"/>
            </a:gradFill>
            <a:ln>
              <a:noFill/>
            </a:ln>
          </p:spPr>
          <p:txBody>
            <a:bodyPr vert="horz" wrap="square" lIns="91440" tIns="45720" rIns="91440" bIns="45720" numCol="1" anchor="t" anchorCtr="0" compatLnSpc="1">
              <a:prstTxWarp prst="textNoShape">
                <a:avLst/>
              </a:prstTxWarp>
            </a:bodyPr>
            <a:lstStyle/>
            <a:p>
              <a:endParaRPr lang="nl-NL" dirty="0"/>
            </a:p>
          </p:txBody>
        </p:sp>
        <p:sp>
          <p:nvSpPr>
            <p:cNvPr id="16" name="---Onder wit">
              <a:extLst>
                <a:ext uri="{FF2B5EF4-FFF2-40B4-BE49-F238E27FC236}">
                  <a16:creationId xmlns:a16="http://schemas.microsoft.com/office/drawing/2014/main" id="{838E86C7-F680-45B8-8899-C873153ADD52}"/>
                </a:ext>
              </a:extLst>
            </p:cNvPr>
            <p:cNvSpPr>
              <a:spLocks noSelect="1"/>
            </p:cNvSpPr>
            <p:nvPr userDrawn="1"/>
          </p:nvSpPr>
          <p:spPr bwMode="gray">
            <a:xfrm>
              <a:off x="6478588" y="5713200"/>
              <a:ext cx="5716588" cy="1141413"/>
            </a:xfrm>
            <a:custGeom>
              <a:avLst/>
              <a:gdLst>
                <a:gd name="T0" fmla="*/ 98 w 18004"/>
                <a:gd name="T1" fmla="*/ 543 h 3600"/>
                <a:gd name="T2" fmla="*/ 16855 w 18004"/>
                <a:gd name="T3" fmla="*/ 3468 h 3600"/>
                <a:gd name="T4" fmla="*/ 16175 w 18004"/>
                <a:gd name="T5" fmla="*/ 1314 h 3600"/>
                <a:gd name="T6" fmla="*/ 13264 w 18004"/>
                <a:gd name="T7" fmla="*/ 2369 h 3600"/>
                <a:gd name="T8" fmla="*/ 15276 w 18004"/>
                <a:gd name="T9" fmla="*/ 3572 h 3600"/>
                <a:gd name="T10" fmla="*/ 12667 w 18004"/>
                <a:gd name="T11" fmla="*/ 3600 h 3600"/>
                <a:gd name="T12" fmla="*/ 10410 w 18004"/>
                <a:gd name="T13" fmla="*/ 2467 h 3600"/>
                <a:gd name="T14" fmla="*/ 7522 w 18004"/>
                <a:gd name="T15" fmla="*/ 3600 h 3600"/>
                <a:gd name="T16" fmla="*/ 7674 w 18004"/>
                <a:gd name="T17" fmla="*/ 2075 h 3600"/>
                <a:gd name="T18" fmla="*/ 5720 w 18004"/>
                <a:gd name="T19" fmla="*/ 2014 h 3600"/>
                <a:gd name="T20" fmla="*/ 5562 w 18004"/>
                <a:gd name="T21" fmla="*/ 3568 h 3600"/>
                <a:gd name="T22" fmla="*/ 4906 w 18004"/>
                <a:gd name="T23" fmla="*/ 3600 h 3600"/>
                <a:gd name="T24" fmla="*/ 4575 w 18004"/>
                <a:gd name="T25" fmla="*/ 3029 h 3600"/>
                <a:gd name="T26" fmla="*/ 3487 w 18004"/>
                <a:gd name="T27" fmla="*/ 2427 h 3600"/>
                <a:gd name="T28" fmla="*/ 1699 w 18004"/>
                <a:gd name="T29" fmla="*/ 3600 h 3600"/>
                <a:gd name="T30" fmla="*/ 2530 w 18004"/>
                <a:gd name="T31" fmla="*/ 1954 h 3600"/>
                <a:gd name="T32" fmla="*/ 592 w 18004"/>
                <a:gd name="T33" fmla="*/ 1850 h 3600"/>
                <a:gd name="T34" fmla="*/ 1479 w 18004"/>
                <a:gd name="T35" fmla="*/ 1127 h 3600"/>
                <a:gd name="T36" fmla="*/ 2348 w 18004"/>
                <a:gd name="T37" fmla="*/ 261 h 3600"/>
                <a:gd name="T38" fmla="*/ 2303 w 18004"/>
                <a:gd name="T39" fmla="*/ 140 h 3600"/>
                <a:gd name="T40" fmla="*/ 2989 w 18004"/>
                <a:gd name="T41" fmla="*/ 83 h 3600"/>
                <a:gd name="T42" fmla="*/ 3479 w 18004"/>
                <a:gd name="T43" fmla="*/ 399 h 3600"/>
                <a:gd name="T44" fmla="*/ 4050 w 18004"/>
                <a:gd name="T45" fmla="*/ 1816 h 3600"/>
                <a:gd name="T46" fmla="*/ 4600 w 18004"/>
                <a:gd name="T47" fmla="*/ 722 h 3600"/>
                <a:gd name="T48" fmla="*/ 5077 w 18004"/>
                <a:gd name="T49" fmla="*/ 147 h 3600"/>
                <a:gd name="T50" fmla="*/ 6703 w 18004"/>
                <a:gd name="T51" fmla="*/ 440 h 3600"/>
                <a:gd name="T52" fmla="*/ 7785 w 18004"/>
                <a:gd name="T53" fmla="*/ 998 h 3600"/>
                <a:gd name="T54" fmla="*/ 8894 w 18004"/>
                <a:gd name="T55" fmla="*/ 698 h 3600"/>
                <a:gd name="T56" fmla="*/ 10217 w 18004"/>
                <a:gd name="T57" fmla="*/ 300 h 3600"/>
                <a:gd name="T58" fmla="*/ 10299 w 18004"/>
                <a:gd name="T59" fmla="*/ 903 h 3600"/>
                <a:gd name="T60" fmla="*/ 11809 w 18004"/>
                <a:gd name="T61" fmla="*/ 31 h 3600"/>
                <a:gd name="T62" fmla="*/ 13842 w 18004"/>
                <a:gd name="T63" fmla="*/ 315 h 3600"/>
                <a:gd name="T64" fmla="*/ 13942 w 18004"/>
                <a:gd name="T65" fmla="*/ 20 h 3600"/>
                <a:gd name="T66" fmla="*/ 14940 w 18004"/>
                <a:gd name="T67" fmla="*/ 0 h 3600"/>
                <a:gd name="T68" fmla="*/ 17832 w 18004"/>
                <a:gd name="T69" fmla="*/ 2023 h 3600"/>
                <a:gd name="T70" fmla="*/ 3446 w 18004"/>
                <a:gd name="T71" fmla="*/ 654 h 3600"/>
                <a:gd name="T72" fmla="*/ 2963 w 18004"/>
                <a:gd name="T73" fmla="*/ 215 h 3600"/>
                <a:gd name="T74" fmla="*/ 3123 w 18004"/>
                <a:gd name="T75" fmla="*/ 1682 h 3600"/>
                <a:gd name="T76" fmla="*/ 3740 w 18004"/>
                <a:gd name="T77" fmla="*/ 1659 h 3600"/>
                <a:gd name="T78" fmla="*/ 2835 w 18004"/>
                <a:gd name="T79" fmla="*/ 372 h 3600"/>
                <a:gd name="T80" fmla="*/ 1815 w 18004"/>
                <a:gd name="T81" fmla="*/ 1109 h 3600"/>
                <a:gd name="T82" fmla="*/ 3094 w 18004"/>
                <a:gd name="T83" fmla="*/ 1818 h 3600"/>
                <a:gd name="T84" fmla="*/ 2892 w 18004"/>
                <a:gd name="T85" fmla="*/ 1394 h 3600"/>
                <a:gd name="T86" fmla="*/ 3832 w 18004"/>
                <a:gd name="T87" fmla="*/ 2346 h 3600"/>
                <a:gd name="T88" fmla="*/ 3826 w 18004"/>
                <a:gd name="T89" fmla="*/ 1815 h 3600"/>
                <a:gd name="T90" fmla="*/ 2940 w 18004"/>
                <a:gd name="T91" fmla="*/ 1916 h 3600"/>
                <a:gd name="T92" fmla="*/ 4516 w 18004"/>
                <a:gd name="T93" fmla="*/ 1929 h 3600"/>
                <a:gd name="T94" fmla="*/ 5108 w 18004"/>
                <a:gd name="T95" fmla="*/ 1136 h 3600"/>
                <a:gd name="T96" fmla="*/ 6672 w 18004"/>
                <a:gd name="T97" fmla="*/ 463 h 3600"/>
                <a:gd name="T98" fmla="*/ 5426 w 18004"/>
                <a:gd name="T99" fmla="*/ 1823 h 3600"/>
                <a:gd name="T100" fmla="*/ 8905 w 18004"/>
                <a:gd name="T101" fmla="*/ 889 h 3600"/>
                <a:gd name="T102" fmla="*/ 7652 w 18004"/>
                <a:gd name="T103" fmla="*/ 2 h 3600"/>
                <a:gd name="T104" fmla="*/ 8891 w 18004"/>
                <a:gd name="T105" fmla="*/ 2104 h 3600"/>
                <a:gd name="T106" fmla="*/ 7810 w 18004"/>
                <a:gd name="T107" fmla="*/ 1952 h 3600"/>
                <a:gd name="T108" fmla="*/ 10265 w 18004"/>
                <a:gd name="T109" fmla="*/ 927 h 3600"/>
                <a:gd name="T110" fmla="*/ 8931 w 18004"/>
                <a:gd name="T111" fmla="*/ 2107 h 3600"/>
                <a:gd name="T112" fmla="*/ 9916 w 18004"/>
                <a:gd name="T113" fmla="*/ 2256 h 3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004" h="3600">
                  <a:moveTo>
                    <a:pt x="98" y="543"/>
                  </a:moveTo>
                  <a:cubicBezTo>
                    <a:pt x="64" y="555"/>
                    <a:pt x="32" y="566"/>
                    <a:pt x="0" y="577"/>
                  </a:cubicBezTo>
                  <a:cubicBezTo>
                    <a:pt x="0" y="549"/>
                    <a:pt x="0" y="549"/>
                    <a:pt x="0" y="549"/>
                  </a:cubicBezTo>
                  <a:cubicBezTo>
                    <a:pt x="29" y="539"/>
                    <a:pt x="58" y="529"/>
                    <a:pt x="89" y="518"/>
                  </a:cubicBezTo>
                  <a:cubicBezTo>
                    <a:pt x="340" y="430"/>
                    <a:pt x="387" y="327"/>
                    <a:pt x="389" y="146"/>
                  </a:cubicBezTo>
                  <a:cubicBezTo>
                    <a:pt x="389" y="102"/>
                    <a:pt x="386" y="53"/>
                    <a:pt x="382" y="0"/>
                  </a:cubicBezTo>
                  <a:cubicBezTo>
                    <a:pt x="408" y="0"/>
                    <a:pt x="408" y="0"/>
                    <a:pt x="408" y="0"/>
                  </a:cubicBezTo>
                  <a:cubicBezTo>
                    <a:pt x="412" y="53"/>
                    <a:pt x="415" y="101"/>
                    <a:pt x="415" y="146"/>
                  </a:cubicBezTo>
                  <a:cubicBezTo>
                    <a:pt x="417" y="333"/>
                    <a:pt x="354" y="457"/>
                    <a:pt x="98" y="543"/>
                  </a:cubicBezTo>
                  <a:close/>
                  <a:moveTo>
                    <a:pt x="18004" y="1930"/>
                  </a:moveTo>
                  <a:cubicBezTo>
                    <a:pt x="17776" y="2116"/>
                    <a:pt x="17541" y="2305"/>
                    <a:pt x="17455" y="2374"/>
                  </a:cubicBezTo>
                  <a:cubicBezTo>
                    <a:pt x="17578" y="2498"/>
                    <a:pt x="17753" y="2645"/>
                    <a:pt x="18004" y="2758"/>
                  </a:cubicBezTo>
                  <a:cubicBezTo>
                    <a:pt x="18004" y="2797"/>
                    <a:pt x="18004" y="2797"/>
                    <a:pt x="18004" y="2797"/>
                  </a:cubicBezTo>
                  <a:cubicBezTo>
                    <a:pt x="17739" y="2681"/>
                    <a:pt x="17554" y="2525"/>
                    <a:pt x="17426" y="2397"/>
                  </a:cubicBezTo>
                  <a:cubicBezTo>
                    <a:pt x="17422" y="2400"/>
                    <a:pt x="17420" y="2402"/>
                    <a:pt x="17420" y="2402"/>
                  </a:cubicBezTo>
                  <a:cubicBezTo>
                    <a:pt x="17420" y="2402"/>
                    <a:pt x="17394" y="2425"/>
                    <a:pt x="17353" y="2465"/>
                  </a:cubicBezTo>
                  <a:cubicBezTo>
                    <a:pt x="17229" y="2583"/>
                    <a:pt x="16975" y="2852"/>
                    <a:pt x="16920" y="3070"/>
                  </a:cubicBezTo>
                  <a:cubicBezTo>
                    <a:pt x="16882" y="3218"/>
                    <a:pt x="16887" y="3344"/>
                    <a:pt x="16855" y="3468"/>
                  </a:cubicBezTo>
                  <a:cubicBezTo>
                    <a:pt x="16844" y="3512"/>
                    <a:pt x="16828" y="3556"/>
                    <a:pt x="16803" y="3600"/>
                  </a:cubicBezTo>
                  <a:cubicBezTo>
                    <a:pt x="16761" y="3600"/>
                    <a:pt x="16761" y="3600"/>
                    <a:pt x="16761" y="3600"/>
                  </a:cubicBezTo>
                  <a:cubicBezTo>
                    <a:pt x="16790" y="3553"/>
                    <a:pt x="16808" y="3507"/>
                    <a:pt x="16820" y="3459"/>
                  </a:cubicBezTo>
                  <a:cubicBezTo>
                    <a:pt x="16850" y="3342"/>
                    <a:pt x="16846" y="3215"/>
                    <a:pt x="16885" y="3061"/>
                  </a:cubicBezTo>
                  <a:cubicBezTo>
                    <a:pt x="16966" y="2749"/>
                    <a:pt x="17396" y="2376"/>
                    <a:pt x="17397" y="2375"/>
                  </a:cubicBezTo>
                  <a:cubicBezTo>
                    <a:pt x="17397" y="2375"/>
                    <a:pt x="17398" y="2373"/>
                    <a:pt x="17401" y="2371"/>
                  </a:cubicBezTo>
                  <a:cubicBezTo>
                    <a:pt x="17347" y="2315"/>
                    <a:pt x="17303" y="2266"/>
                    <a:pt x="17269" y="2229"/>
                  </a:cubicBezTo>
                  <a:cubicBezTo>
                    <a:pt x="17268" y="2229"/>
                    <a:pt x="17239" y="2195"/>
                    <a:pt x="17186" y="2138"/>
                  </a:cubicBezTo>
                  <a:cubicBezTo>
                    <a:pt x="17025" y="1968"/>
                    <a:pt x="16644" y="1591"/>
                    <a:pt x="16175" y="1314"/>
                  </a:cubicBezTo>
                  <a:cubicBezTo>
                    <a:pt x="15985" y="1202"/>
                    <a:pt x="15747" y="1060"/>
                    <a:pt x="15508" y="933"/>
                  </a:cubicBezTo>
                  <a:cubicBezTo>
                    <a:pt x="15236" y="788"/>
                    <a:pt x="14962" y="650"/>
                    <a:pt x="14756" y="548"/>
                  </a:cubicBezTo>
                  <a:cubicBezTo>
                    <a:pt x="14654" y="497"/>
                    <a:pt x="14568" y="455"/>
                    <a:pt x="14508" y="425"/>
                  </a:cubicBezTo>
                  <a:cubicBezTo>
                    <a:pt x="14478" y="410"/>
                    <a:pt x="14454" y="398"/>
                    <a:pt x="14438" y="390"/>
                  </a:cubicBezTo>
                  <a:cubicBezTo>
                    <a:pt x="14430" y="386"/>
                    <a:pt x="14423" y="382"/>
                    <a:pt x="14419" y="380"/>
                  </a:cubicBezTo>
                  <a:cubicBezTo>
                    <a:pt x="14417" y="379"/>
                    <a:pt x="14416" y="378"/>
                    <a:pt x="14415" y="378"/>
                  </a:cubicBezTo>
                  <a:cubicBezTo>
                    <a:pt x="13960" y="328"/>
                    <a:pt x="13960" y="328"/>
                    <a:pt x="13960" y="328"/>
                  </a:cubicBezTo>
                  <a:cubicBezTo>
                    <a:pt x="13254" y="2358"/>
                    <a:pt x="13254" y="2358"/>
                    <a:pt x="13254" y="2358"/>
                  </a:cubicBezTo>
                  <a:cubicBezTo>
                    <a:pt x="13257" y="2361"/>
                    <a:pt x="13260" y="2365"/>
                    <a:pt x="13264" y="2369"/>
                  </a:cubicBezTo>
                  <a:cubicBezTo>
                    <a:pt x="13332" y="2407"/>
                    <a:pt x="13423" y="2475"/>
                    <a:pt x="13486" y="2583"/>
                  </a:cubicBezTo>
                  <a:cubicBezTo>
                    <a:pt x="13593" y="2767"/>
                    <a:pt x="13631" y="2829"/>
                    <a:pt x="13837" y="2923"/>
                  </a:cubicBezTo>
                  <a:cubicBezTo>
                    <a:pt x="14044" y="3016"/>
                    <a:pt x="15269" y="3531"/>
                    <a:pt x="15289" y="3539"/>
                  </a:cubicBezTo>
                  <a:cubicBezTo>
                    <a:pt x="15296" y="3542"/>
                    <a:pt x="15302" y="3546"/>
                    <a:pt x="15316" y="3555"/>
                  </a:cubicBezTo>
                  <a:cubicBezTo>
                    <a:pt x="15331" y="3566"/>
                    <a:pt x="15353" y="3582"/>
                    <a:pt x="15379" y="3600"/>
                  </a:cubicBezTo>
                  <a:cubicBezTo>
                    <a:pt x="15317" y="3600"/>
                    <a:pt x="15317" y="3600"/>
                    <a:pt x="15317" y="3600"/>
                  </a:cubicBezTo>
                  <a:cubicBezTo>
                    <a:pt x="15308" y="3594"/>
                    <a:pt x="15299" y="3588"/>
                    <a:pt x="15293" y="3583"/>
                  </a:cubicBezTo>
                  <a:cubicBezTo>
                    <a:pt x="15288" y="3580"/>
                    <a:pt x="15283" y="3577"/>
                    <a:pt x="15280" y="3575"/>
                  </a:cubicBezTo>
                  <a:cubicBezTo>
                    <a:pt x="15278" y="3574"/>
                    <a:pt x="15277" y="3573"/>
                    <a:pt x="15276" y="3572"/>
                  </a:cubicBezTo>
                  <a:cubicBezTo>
                    <a:pt x="15276" y="3572"/>
                    <a:pt x="15276" y="3572"/>
                    <a:pt x="15275" y="3572"/>
                  </a:cubicBezTo>
                  <a:cubicBezTo>
                    <a:pt x="15245" y="3560"/>
                    <a:pt x="14031" y="3049"/>
                    <a:pt x="13822" y="2956"/>
                  </a:cubicBezTo>
                  <a:cubicBezTo>
                    <a:pt x="13612" y="2862"/>
                    <a:pt x="13560" y="2785"/>
                    <a:pt x="13455" y="2601"/>
                  </a:cubicBezTo>
                  <a:cubicBezTo>
                    <a:pt x="13404" y="2513"/>
                    <a:pt x="13331" y="2452"/>
                    <a:pt x="13270" y="2414"/>
                  </a:cubicBezTo>
                  <a:cubicBezTo>
                    <a:pt x="13262" y="2409"/>
                    <a:pt x="13253" y="2404"/>
                    <a:pt x="13245" y="2399"/>
                  </a:cubicBezTo>
                  <a:cubicBezTo>
                    <a:pt x="13238" y="2397"/>
                    <a:pt x="13238" y="2397"/>
                    <a:pt x="13238" y="2397"/>
                  </a:cubicBezTo>
                  <a:cubicBezTo>
                    <a:pt x="13188" y="2503"/>
                    <a:pt x="12945" y="3022"/>
                    <a:pt x="12671" y="3593"/>
                  </a:cubicBezTo>
                  <a:cubicBezTo>
                    <a:pt x="12681" y="3600"/>
                    <a:pt x="12681" y="3600"/>
                    <a:pt x="12681" y="3600"/>
                  </a:cubicBezTo>
                  <a:cubicBezTo>
                    <a:pt x="12667" y="3600"/>
                    <a:pt x="12667" y="3600"/>
                    <a:pt x="12667" y="3600"/>
                  </a:cubicBezTo>
                  <a:cubicBezTo>
                    <a:pt x="12540" y="3600"/>
                    <a:pt x="12540" y="3600"/>
                    <a:pt x="12540" y="3600"/>
                  </a:cubicBezTo>
                  <a:cubicBezTo>
                    <a:pt x="12472" y="3600"/>
                    <a:pt x="12472" y="3600"/>
                    <a:pt x="12472" y="3600"/>
                  </a:cubicBezTo>
                  <a:cubicBezTo>
                    <a:pt x="11585" y="3032"/>
                    <a:pt x="11585" y="3032"/>
                    <a:pt x="11585" y="3032"/>
                  </a:cubicBezTo>
                  <a:cubicBezTo>
                    <a:pt x="11440" y="2939"/>
                    <a:pt x="10867" y="2619"/>
                    <a:pt x="10717" y="2552"/>
                  </a:cubicBezTo>
                  <a:cubicBezTo>
                    <a:pt x="10644" y="2519"/>
                    <a:pt x="10567" y="2497"/>
                    <a:pt x="10508" y="2485"/>
                  </a:cubicBezTo>
                  <a:cubicBezTo>
                    <a:pt x="10479" y="2478"/>
                    <a:pt x="10455" y="2474"/>
                    <a:pt x="10438" y="2471"/>
                  </a:cubicBezTo>
                  <a:cubicBezTo>
                    <a:pt x="10421" y="2468"/>
                    <a:pt x="10412" y="2468"/>
                    <a:pt x="10412" y="2467"/>
                  </a:cubicBezTo>
                  <a:cubicBezTo>
                    <a:pt x="10411" y="2467"/>
                    <a:pt x="10411" y="2467"/>
                    <a:pt x="10411" y="2467"/>
                  </a:cubicBezTo>
                  <a:cubicBezTo>
                    <a:pt x="10410" y="2467"/>
                    <a:pt x="10410" y="2467"/>
                    <a:pt x="10410" y="2467"/>
                  </a:cubicBezTo>
                  <a:cubicBezTo>
                    <a:pt x="10409" y="2467"/>
                    <a:pt x="10256" y="2444"/>
                    <a:pt x="10025" y="2410"/>
                  </a:cubicBezTo>
                  <a:cubicBezTo>
                    <a:pt x="9331" y="2307"/>
                    <a:pt x="7932" y="2098"/>
                    <a:pt x="7867" y="2089"/>
                  </a:cubicBezTo>
                  <a:cubicBezTo>
                    <a:pt x="7836" y="2085"/>
                    <a:pt x="7800" y="2082"/>
                    <a:pt x="7768" y="2080"/>
                  </a:cubicBezTo>
                  <a:cubicBezTo>
                    <a:pt x="7761" y="2098"/>
                    <a:pt x="7761" y="2098"/>
                    <a:pt x="7761" y="2098"/>
                  </a:cubicBezTo>
                  <a:cubicBezTo>
                    <a:pt x="7461" y="3457"/>
                    <a:pt x="7461" y="3457"/>
                    <a:pt x="7461" y="3457"/>
                  </a:cubicBezTo>
                  <a:cubicBezTo>
                    <a:pt x="7461" y="3458"/>
                    <a:pt x="7461" y="3459"/>
                    <a:pt x="7460" y="3463"/>
                  </a:cubicBezTo>
                  <a:cubicBezTo>
                    <a:pt x="7460" y="3466"/>
                    <a:pt x="7459" y="3472"/>
                    <a:pt x="7459" y="3479"/>
                  </a:cubicBezTo>
                  <a:cubicBezTo>
                    <a:pt x="7459" y="3503"/>
                    <a:pt x="7465" y="3542"/>
                    <a:pt x="7501" y="3581"/>
                  </a:cubicBezTo>
                  <a:cubicBezTo>
                    <a:pt x="7507" y="3588"/>
                    <a:pt x="7514" y="3594"/>
                    <a:pt x="7522" y="3600"/>
                  </a:cubicBezTo>
                  <a:cubicBezTo>
                    <a:pt x="7470" y="3600"/>
                    <a:pt x="7470" y="3600"/>
                    <a:pt x="7470" y="3600"/>
                  </a:cubicBezTo>
                  <a:cubicBezTo>
                    <a:pt x="7431" y="3555"/>
                    <a:pt x="7423" y="3508"/>
                    <a:pt x="7423" y="3479"/>
                  </a:cubicBezTo>
                  <a:cubicBezTo>
                    <a:pt x="7423" y="3461"/>
                    <a:pt x="7426" y="3450"/>
                    <a:pt x="7426" y="3449"/>
                  </a:cubicBezTo>
                  <a:cubicBezTo>
                    <a:pt x="7727" y="2088"/>
                    <a:pt x="7727" y="2088"/>
                    <a:pt x="7727" y="2088"/>
                  </a:cubicBezTo>
                  <a:cubicBezTo>
                    <a:pt x="7727" y="2077"/>
                    <a:pt x="7727" y="2077"/>
                    <a:pt x="7727" y="2077"/>
                  </a:cubicBezTo>
                  <a:cubicBezTo>
                    <a:pt x="7714" y="2076"/>
                    <a:pt x="7702" y="2076"/>
                    <a:pt x="7694" y="2075"/>
                  </a:cubicBezTo>
                  <a:cubicBezTo>
                    <a:pt x="7688" y="2075"/>
                    <a:pt x="7683" y="2075"/>
                    <a:pt x="7680" y="2075"/>
                  </a:cubicBezTo>
                  <a:cubicBezTo>
                    <a:pt x="7679" y="2075"/>
                    <a:pt x="7677" y="2075"/>
                    <a:pt x="7676" y="2075"/>
                  </a:cubicBezTo>
                  <a:cubicBezTo>
                    <a:pt x="7676" y="2075"/>
                    <a:pt x="7675" y="2075"/>
                    <a:pt x="7674" y="2075"/>
                  </a:cubicBezTo>
                  <a:cubicBezTo>
                    <a:pt x="7674" y="2075"/>
                    <a:pt x="7674" y="2075"/>
                    <a:pt x="7673" y="2074"/>
                  </a:cubicBezTo>
                  <a:cubicBezTo>
                    <a:pt x="7635" y="2073"/>
                    <a:pt x="7276" y="2060"/>
                    <a:pt x="6875" y="2046"/>
                  </a:cubicBezTo>
                  <a:cubicBezTo>
                    <a:pt x="6874" y="2048"/>
                    <a:pt x="6873" y="2051"/>
                    <a:pt x="6872" y="2053"/>
                  </a:cubicBezTo>
                  <a:cubicBezTo>
                    <a:pt x="6329" y="3600"/>
                    <a:pt x="6329" y="3600"/>
                    <a:pt x="6329" y="3600"/>
                  </a:cubicBezTo>
                  <a:cubicBezTo>
                    <a:pt x="6301" y="3600"/>
                    <a:pt x="6301" y="3600"/>
                    <a:pt x="6301" y="3600"/>
                  </a:cubicBezTo>
                  <a:cubicBezTo>
                    <a:pt x="6843" y="2057"/>
                    <a:pt x="6843" y="2057"/>
                    <a:pt x="6843" y="2057"/>
                  </a:cubicBezTo>
                  <a:cubicBezTo>
                    <a:pt x="6842" y="2045"/>
                    <a:pt x="6842" y="2045"/>
                    <a:pt x="6842" y="2045"/>
                  </a:cubicBezTo>
                  <a:cubicBezTo>
                    <a:pt x="6358" y="2027"/>
                    <a:pt x="5825" y="2008"/>
                    <a:pt x="5722" y="2005"/>
                  </a:cubicBezTo>
                  <a:cubicBezTo>
                    <a:pt x="5721" y="2008"/>
                    <a:pt x="5720" y="2011"/>
                    <a:pt x="5720" y="2014"/>
                  </a:cubicBezTo>
                  <a:cubicBezTo>
                    <a:pt x="5565" y="3540"/>
                    <a:pt x="5565" y="3540"/>
                    <a:pt x="5565" y="3540"/>
                  </a:cubicBezTo>
                  <a:cubicBezTo>
                    <a:pt x="5572" y="3542"/>
                    <a:pt x="5572" y="3542"/>
                    <a:pt x="5572" y="3542"/>
                  </a:cubicBezTo>
                  <a:cubicBezTo>
                    <a:pt x="5619" y="3551"/>
                    <a:pt x="5778" y="3573"/>
                    <a:pt x="5931" y="3594"/>
                  </a:cubicBezTo>
                  <a:cubicBezTo>
                    <a:pt x="5945" y="3596"/>
                    <a:pt x="5959" y="3598"/>
                    <a:pt x="5973" y="3600"/>
                  </a:cubicBezTo>
                  <a:cubicBezTo>
                    <a:pt x="5783" y="3600"/>
                    <a:pt x="5783" y="3600"/>
                    <a:pt x="5783" y="3600"/>
                  </a:cubicBezTo>
                  <a:cubicBezTo>
                    <a:pt x="5742" y="3595"/>
                    <a:pt x="5704" y="3589"/>
                    <a:pt x="5672" y="3584"/>
                  </a:cubicBezTo>
                  <a:cubicBezTo>
                    <a:pt x="5637" y="3579"/>
                    <a:pt x="5608" y="3575"/>
                    <a:pt x="5587" y="3572"/>
                  </a:cubicBezTo>
                  <a:cubicBezTo>
                    <a:pt x="5580" y="3570"/>
                    <a:pt x="5573" y="3569"/>
                    <a:pt x="5568" y="3568"/>
                  </a:cubicBezTo>
                  <a:cubicBezTo>
                    <a:pt x="5562" y="3568"/>
                    <a:pt x="5562" y="3568"/>
                    <a:pt x="5562" y="3568"/>
                  </a:cubicBezTo>
                  <a:cubicBezTo>
                    <a:pt x="5558" y="3600"/>
                    <a:pt x="5558" y="3600"/>
                    <a:pt x="5558" y="3600"/>
                  </a:cubicBezTo>
                  <a:cubicBezTo>
                    <a:pt x="5522" y="3600"/>
                    <a:pt x="5522" y="3600"/>
                    <a:pt x="5522" y="3600"/>
                  </a:cubicBezTo>
                  <a:cubicBezTo>
                    <a:pt x="5682" y="2029"/>
                    <a:pt x="5682" y="2029"/>
                    <a:pt x="5682" y="2029"/>
                  </a:cubicBezTo>
                  <a:cubicBezTo>
                    <a:pt x="5681" y="2029"/>
                    <a:pt x="5681" y="2029"/>
                    <a:pt x="5681" y="2029"/>
                  </a:cubicBezTo>
                  <a:cubicBezTo>
                    <a:pt x="5680" y="2002"/>
                    <a:pt x="5680" y="2002"/>
                    <a:pt x="5680" y="2002"/>
                  </a:cubicBezTo>
                  <a:cubicBezTo>
                    <a:pt x="5677" y="1998"/>
                    <a:pt x="5677" y="1998"/>
                    <a:pt x="5677" y="1998"/>
                  </a:cubicBezTo>
                  <a:cubicBezTo>
                    <a:pt x="5659" y="1994"/>
                    <a:pt x="5626" y="1986"/>
                    <a:pt x="5585" y="1977"/>
                  </a:cubicBezTo>
                  <a:cubicBezTo>
                    <a:pt x="5453" y="1947"/>
                    <a:pt x="5234" y="1898"/>
                    <a:pt x="5125" y="1873"/>
                  </a:cubicBezTo>
                  <a:cubicBezTo>
                    <a:pt x="5102" y="2051"/>
                    <a:pt x="5011" y="2777"/>
                    <a:pt x="4906" y="3600"/>
                  </a:cubicBezTo>
                  <a:cubicBezTo>
                    <a:pt x="4790" y="3600"/>
                    <a:pt x="4790" y="3600"/>
                    <a:pt x="4790" y="3600"/>
                  </a:cubicBezTo>
                  <a:cubicBezTo>
                    <a:pt x="4845" y="3168"/>
                    <a:pt x="4897" y="2762"/>
                    <a:pt x="4937" y="2447"/>
                  </a:cubicBezTo>
                  <a:cubicBezTo>
                    <a:pt x="4972" y="2170"/>
                    <a:pt x="4998" y="1965"/>
                    <a:pt x="5009" y="1872"/>
                  </a:cubicBezTo>
                  <a:cubicBezTo>
                    <a:pt x="4906" y="1891"/>
                    <a:pt x="4906" y="1891"/>
                    <a:pt x="4906" y="1891"/>
                  </a:cubicBezTo>
                  <a:cubicBezTo>
                    <a:pt x="4688" y="3600"/>
                    <a:pt x="4688" y="3600"/>
                    <a:pt x="4688" y="3600"/>
                  </a:cubicBezTo>
                  <a:cubicBezTo>
                    <a:pt x="4573" y="3600"/>
                    <a:pt x="4573" y="3600"/>
                    <a:pt x="4573" y="3600"/>
                  </a:cubicBezTo>
                  <a:cubicBezTo>
                    <a:pt x="4641" y="3064"/>
                    <a:pt x="4641" y="3064"/>
                    <a:pt x="4641" y="3064"/>
                  </a:cubicBezTo>
                  <a:cubicBezTo>
                    <a:pt x="4637" y="3062"/>
                    <a:pt x="4633" y="3058"/>
                    <a:pt x="4629" y="3055"/>
                  </a:cubicBezTo>
                  <a:cubicBezTo>
                    <a:pt x="4616" y="3049"/>
                    <a:pt x="4598" y="3040"/>
                    <a:pt x="4575" y="3029"/>
                  </a:cubicBezTo>
                  <a:cubicBezTo>
                    <a:pt x="4436" y="2964"/>
                    <a:pt x="4124" y="2833"/>
                    <a:pt x="3859" y="2834"/>
                  </a:cubicBezTo>
                  <a:cubicBezTo>
                    <a:pt x="3845" y="2834"/>
                    <a:pt x="3831" y="2834"/>
                    <a:pt x="3817" y="2835"/>
                  </a:cubicBezTo>
                  <a:cubicBezTo>
                    <a:pt x="3634" y="2845"/>
                    <a:pt x="3507" y="2855"/>
                    <a:pt x="3427" y="2863"/>
                  </a:cubicBezTo>
                  <a:cubicBezTo>
                    <a:pt x="3347" y="2870"/>
                    <a:pt x="3313" y="2875"/>
                    <a:pt x="3313" y="2875"/>
                  </a:cubicBezTo>
                  <a:cubicBezTo>
                    <a:pt x="3307" y="2840"/>
                    <a:pt x="3307" y="2840"/>
                    <a:pt x="3307" y="2840"/>
                  </a:cubicBezTo>
                  <a:cubicBezTo>
                    <a:pt x="3308" y="2840"/>
                    <a:pt x="3447" y="2819"/>
                    <a:pt x="3815" y="2799"/>
                  </a:cubicBezTo>
                  <a:cubicBezTo>
                    <a:pt x="3823" y="2798"/>
                    <a:pt x="3831" y="2798"/>
                    <a:pt x="3839" y="2798"/>
                  </a:cubicBezTo>
                  <a:cubicBezTo>
                    <a:pt x="3750" y="2400"/>
                    <a:pt x="3750" y="2400"/>
                    <a:pt x="3750" y="2400"/>
                  </a:cubicBezTo>
                  <a:cubicBezTo>
                    <a:pt x="3670" y="2413"/>
                    <a:pt x="3602" y="2416"/>
                    <a:pt x="3487" y="2427"/>
                  </a:cubicBezTo>
                  <a:cubicBezTo>
                    <a:pt x="3346" y="2440"/>
                    <a:pt x="3188" y="2453"/>
                    <a:pt x="3065" y="2463"/>
                  </a:cubicBezTo>
                  <a:cubicBezTo>
                    <a:pt x="3003" y="2468"/>
                    <a:pt x="2951" y="2472"/>
                    <a:pt x="2913" y="2475"/>
                  </a:cubicBezTo>
                  <a:cubicBezTo>
                    <a:pt x="2898" y="2476"/>
                    <a:pt x="2885" y="2477"/>
                    <a:pt x="2876" y="2478"/>
                  </a:cubicBezTo>
                  <a:cubicBezTo>
                    <a:pt x="3113" y="3600"/>
                    <a:pt x="3113" y="3600"/>
                    <a:pt x="3113" y="3600"/>
                  </a:cubicBezTo>
                  <a:cubicBezTo>
                    <a:pt x="3076" y="3600"/>
                    <a:pt x="3076" y="3600"/>
                    <a:pt x="3076" y="3600"/>
                  </a:cubicBezTo>
                  <a:cubicBezTo>
                    <a:pt x="3066" y="3554"/>
                    <a:pt x="3066" y="3554"/>
                    <a:pt x="3066" y="3554"/>
                  </a:cubicBezTo>
                  <a:cubicBezTo>
                    <a:pt x="3063" y="3554"/>
                    <a:pt x="3063" y="3554"/>
                    <a:pt x="3063" y="3554"/>
                  </a:cubicBezTo>
                  <a:cubicBezTo>
                    <a:pt x="2190" y="3600"/>
                    <a:pt x="2190" y="3600"/>
                    <a:pt x="2190" y="3600"/>
                  </a:cubicBezTo>
                  <a:cubicBezTo>
                    <a:pt x="1699" y="3600"/>
                    <a:pt x="1699" y="3600"/>
                    <a:pt x="1699" y="3600"/>
                  </a:cubicBezTo>
                  <a:cubicBezTo>
                    <a:pt x="3042" y="3528"/>
                    <a:pt x="3042" y="3528"/>
                    <a:pt x="3042" y="3528"/>
                  </a:cubicBezTo>
                  <a:cubicBezTo>
                    <a:pt x="3060" y="3525"/>
                    <a:pt x="3060" y="3525"/>
                    <a:pt x="3060" y="3525"/>
                  </a:cubicBezTo>
                  <a:cubicBezTo>
                    <a:pt x="2837" y="2471"/>
                    <a:pt x="2837" y="2471"/>
                    <a:pt x="2837" y="2471"/>
                  </a:cubicBezTo>
                  <a:cubicBezTo>
                    <a:pt x="2836" y="2469"/>
                    <a:pt x="2835" y="2466"/>
                    <a:pt x="2835" y="2462"/>
                  </a:cubicBezTo>
                  <a:cubicBezTo>
                    <a:pt x="2835" y="2461"/>
                    <a:pt x="2835" y="2460"/>
                    <a:pt x="2835" y="2459"/>
                  </a:cubicBezTo>
                  <a:cubicBezTo>
                    <a:pt x="2727" y="1946"/>
                    <a:pt x="2727" y="1946"/>
                    <a:pt x="2727" y="1946"/>
                  </a:cubicBezTo>
                  <a:cubicBezTo>
                    <a:pt x="2656" y="1950"/>
                    <a:pt x="2588" y="1951"/>
                    <a:pt x="2548" y="1953"/>
                  </a:cubicBezTo>
                  <a:cubicBezTo>
                    <a:pt x="2542" y="1954"/>
                    <a:pt x="2536" y="1954"/>
                    <a:pt x="2531" y="1954"/>
                  </a:cubicBezTo>
                  <a:cubicBezTo>
                    <a:pt x="2530" y="1954"/>
                    <a:pt x="2530" y="1954"/>
                    <a:pt x="2530" y="1954"/>
                  </a:cubicBezTo>
                  <a:cubicBezTo>
                    <a:pt x="2449" y="1954"/>
                    <a:pt x="2382" y="1924"/>
                    <a:pt x="2355" y="1865"/>
                  </a:cubicBezTo>
                  <a:cubicBezTo>
                    <a:pt x="2344" y="1841"/>
                    <a:pt x="2334" y="1798"/>
                    <a:pt x="2325" y="1752"/>
                  </a:cubicBezTo>
                  <a:cubicBezTo>
                    <a:pt x="766" y="2146"/>
                    <a:pt x="766" y="2146"/>
                    <a:pt x="766" y="2146"/>
                  </a:cubicBezTo>
                  <a:cubicBezTo>
                    <a:pt x="943" y="2534"/>
                    <a:pt x="1156" y="3005"/>
                    <a:pt x="1175" y="3052"/>
                  </a:cubicBezTo>
                  <a:cubicBezTo>
                    <a:pt x="1197" y="3107"/>
                    <a:pt x="1269" y="3369"/>
                    <a:pt x="1322" y="3600"/>
                  </a:cubicBezTo>
                  <a:cubicBezTo>
                    <a:pt x="1285" y="3600"/>
                    <a:pt x="1285" y="3600"/>
                    <a:pt x="1285" y="3600"/>
                  </a:cubicBezTo>
                  <a:cubicBezTo>
                    <a:pt x="1232" y="3372"/>
                    <a:pt x="1162" y="3115"/>
                    <a:pt x="1142" y="3065"/>
                  </a:cubicBezTo>
                  <a:cubicBezTo>
                    <a:pt x="1126" y="3027"/>
                    <a:pt x="964" y="2669"/>
                    <a:pt x="807" y="2322"/>
                  </a:cubicBezTo>
                  <a:cubicBezTo>
                    <a:pt x="728" y="2149"/>
                    <a:pt x="650" y="1978"/>
                    <a:pt x="592" y="1850"/>
                  </a:cubicBezTo>
                  <a:cubicBezTo>
                    <a:pt x="554" y="1766"/>
                    <a:pt x="524" y="1702"/>
                    <a:pt x="509" y="1667"/>
                  </a:cubicBezTo>
                  <a:cubicBezTo>
                    <a:pt x="498" y="1655"/>
                    <a:pt x="498" y="1655"/>
                    <a:pt x="498" y="1655"/>
                  </a:cubicBezTo>
                  <a:cubicBezTo>
                    <a:pt x="437" y="1682"/>
                    <a:pt x="398" y="1701"/>
                    <a:pt x="398" y="1701"/>
                  </a:cubicBezTo>
                  <a:cubicBezTo>
                    <a:pt x="398" y="1700"/>
                    <a:pt x="264" y="1765"/>
                    <a:pt x="61" y="1862"/>
                  </a:cubicBezTo>
                  <a:cubicBezTo>
                    <a:pt x="41" y="1872"/>
                    <a:pt x="21" y="1882"/>
                    <a:pt x="0" y="1892"/>
                  </a:cubicBezTo>
                  <a:cubicBezTo>
                    <a:pt x="0" y="1764"/>
                    <a:pt x="0" y="1764"/>
                    <a:pt x="0" y="1764"/>
                  </a:cubicBezTo>
                  <a:cubicBezTo>
                    <a:pt x="209" y="1664"/>
                    <a:pt x="348" y="1597"/>
                    <a:pt x="349" y="1597"/>
                  </a:cubicBezTo>
                  <a:cubicBezTo>
                    <a:pt x="350" y="1596"/>
                    <a:pt x="688" y="1439"/>
                    <a:pt x="924" y="1346"/>
                  </a:cubicBezTo>
                  <a:cubicBezTo>
                    <a:pt x="1041" y="1300"/>
                    <a:pt x="1268" y="1213"/>
                    <a:pt x="1479" y="1127"/>
                  </a:cubicBezTo>
                  <a:cubicBezTo>
                    <a:pt x="1585" y="1083"/>
                    <a:pt x="1686" y="1041"/>
                    <a:pt x="1768" y="1004"/>
                  </a:cubicBezTo>
                  <a:cubicBezTo>
                    <a:pt x="1849" y="968"/>
                    <a:pt x="1912" y="935"/>
                    <a:pt x="1930" y="921"/>
                  </a:cubicBezTo>
                  <a:cubicBezTo>
                    <a:pt x="1950" y="907"/>
                    <a:pt x="1995" y="859"/>
                    <a:pt x="2046" y="801"/>
                  </a:cubicBezTo>
                  <a:cubicBezTo>
                    <a:pt x="2122" y="713"/>
                    <a:pt x="2215" y="596"/>
                    <a:pt x="2289" y="502"/>
                  </a:cubicBezTo>
                  <a:cubicBezTo>
                    <a:pt x="2339" y="438"/>
                    <a:pt x="2379" y="385"/>
                    <a:pt x="2400" y="357"/>
                  </a:cubicBezTo>
                  <a:cubicBezTo>
                    <a:pt x="2400" y="357"/>
                    <a:pt x="2400" y="357"/>
                    <a:pt x="2400" y="357"/>
                  </a:cubicBezTo>
                  <a:cubicBezTo>
                    <a:pt x="2400" y="357"/>
                    <a:pt x="2402" y="355"/>
                    <a:pt x="2405" y="352"/>
                  </a:cubicBezTo>
                  <a:cubicBezTo>
                    <a:pt x="2408" y="347"/>
                    <a:pt x="2411" y="343"/>
                    <a:pt x="2413" y="340"/>
                  </a:cubicBezTo>
                  <a:cubicBezTo>
                    <a:pt x="2388" y="317"/>
                    <a:pt x="2366" y="291"/>
                    <a:pt x="2348" y="261"/>
                  </a:cubicBezTo>
                  <a:cubicBezTo>
                    <a:pt x="2346" y="261"/>
                    <a:pt x="2343" y="261"/>
                    <a:pt x="2340" y="260"/>
                  </a:cubicBezTo>
                  <a:cubicBezTo>
                    <a:pt x="2339" y="262"/>
                    <a:pt x="2339" y="262"/>
                    <a:pt x="2339" y="262"/>
                  </a:cubicBezTo>
                  <a:cubicBezTo>
                    <a:pt x="2335" y="261"/>
                    <a:pt x="1811" y="184"/>
                    <a:pt x="1626" y="141"/>
                  </a:cubicBezTo>
                  <a:cubicBezTo>
                    <a:pt x="1496" y="110"/>
                    <a:pt x="1396" y="59"/>
                    <a:pt x="1295" y="0"/>
                  </a:cubicBezTo>
                  <a:cubicBezTo>
                    <a:pt x="1558" y="0"/>
                    <a:pt x="1558" y="0"/>
                    <a:pt x="1558" y="0"/>
                  </a:cubicBezTo>
                  <a:cubicBezTo>
                    <a:pt x="1588" y="11"/>
                    <a:pt x="1619" y="21"/>
                    <a:pt x="1652" y="29"/>
                  </a:cubicBezTo>
                  <a:cubicBezTo>
                    <a:pt x="1738" y="49"/>
                    <a:pt x="1916" y="80"/>
                    <a:pt x="2070" y="104"/>
                  </a:cubicBezTo>
                  <a:cubicBezTo>
                    <a:pt x="2154" y="118"/>
                    <a:pt x="2231" y="129"/>
                    <a:pt x="2284" y="137"/>
                  </a:cubicBezTo>
                  <a:cubicBezTo>
                    <a:pt x="2286" y="138"/>
                    <a:pt x="2295" y="139"/>
                    <a:pt x="2303" y="140"/>
                  </a:cubicBezTo>
                  <a:cubicBezTo>
                    <a:pt x="2300" y="121"/>
                    <a:pt x="2298" y="103"/>
                    <a:pt x="2298" y="83"/>
                  </a:cubicBezTo>
                  <a:cubicBezTo>
                    <a:pt x="2298" y="55"/>
                    <a:pt x="2302" y="27"/>
                    <a:pt x="2309" y="0"/>
                  </a:cubicBezTo>
                  <a:cubicBezTo>
                    <a:pt x="2435" y="0"/>
                    <a:pt x="2435" y="0"/>
                    <a:pt x="2435" y="0"/>
                  </a:cubicBezTo>
                  <a:cubicBezTo>
                    <a:pt x="2424" y="26"/>
                    <a:pt x="2419" y="54"/>
                    <a:pt x="2419" y="83"/>
                  </a:cubicBezTo>
                  <a:cubicBezTo>
                    <a:pt x="2419" y="207"/>
                    <a:pt x="2519" y="308"/>
                    <a:pt x="2644" y="308"/>
                  </a:cubicBezTo>
                  <a:cubicBezTo>
                    <a:pt x="2768" y="308"/>
                    <a:pt x="2869" y="207"/>
                    <a:pt x="2869" y="83"/>
                  </a:cubicBezTo>
                  <a:cubicBezTo>
                    <a:pt x="2869" y="54"/>
                    <a:pt x="2863" y="26"/>
                    <a:pt x="2853" y="0"/>
                  </a:cubicBezTo>
                  <a:cubicBezTo>
                    <a:pt x="2979" y="0"/>
                    <a:pt x="2979" y="0"/>
                    <a:pt x="2979" y="0"/>
                  </a:cubicBezTo>
                  <a:cubicBezTo>
                    <a:pt x="2985" y="27"/>
                    <a:pt x="2989" y="55"/>
                    <a:pt x="2989" y="83"/>
                  </a:cubicBezTo>
                  <a:cubicBezTo>
                    <a:pt x="2989" y="88"/>
                    <a:pt x="2989" y="93"/>
                    <a:pt x="2988" y="98"/>
                  </a:cubicBezTo>
                  <a:cubicBezTo>
                    <a:pt x="2991" y="99"/>
                    <a:pt x="2994" y="101"/>
                    <a:pt x="2996" y="102"/>
                  </a:cubicBezTo>
                  <a:cubicBezTo>
                    <a:pt x="2996" y="102"/>
                    <a:pt x="2996" y="102"/>
                    <a:pt x="2996" y="102"/>
                  </a:cubicBezTo>
                  <a:cubicBezTo>
                    <a:pt x="2996" y="102"/>
                    <a:pt x="2996" y="102"/>
                    <a:pt x="2996" y="102"/>
                  </a:cubicBezTo>
                  <a:cubicBezTo>
                    <a:pt x="2996" y="102"/>
                    <a:pt x="2997" y="103"/>
                    <a:pt x="2998" y="103"/>
                  </a:cubicBezTo>
                  <a:cubicBezTo>
                    <a:pt x="3004" y="106"/>
                    <a:pt x="3009" y="109"/>
                    <a:pt x="3008" y="108"/>
                  </a:cubicBezTo>
                  <a:cubicBezTo>
                    <a:pt x="3008" y="108"/>
                    <a:pt x="3009" y="109"/>
                    <a:pt x="3009" y="109"/>
                  </a:cubicBezTo>
                  <a:cubicBezTo>
                    <a:pt x="3045" y="129"/>
                    <a:pt x="3153" y="189"/>
                    <a:pt x="3270" y="260"/>
                  </a:cubicBezTo>
                  <a:cubicBezTo>
                    <a:pt x="3341" y="304"/>
                    <a:pt x="3416" y="353"/>
                    <a:pt x="3479" y="399"/>
                  </a:cubicBezTo>
                  <a:cubicBezTo>
                    <a:pt x="3542" y="447"/>
                    <a:pt x="3594" y="490"/>
                    <a:pt x="3625" y="536"/>
                  </a:cubicBezTo>
                  <a:cubicBezTo>
                    <a:pt x="3716" y="677"/>
                    <a:pt x="3736" y="893"/>
                    <a:pt x="3737" y="1000"/>
                  </a:cubicBezTo>
                  <a:cubicBezTo>
                    <a:pt x="3737" y="1013"/>
                    <a:pt x="3737" y="1025"/>
                    <a:pt x="3736" y="1036"/>
                  </a:cubicBezTo>
                  <a:cubicBezTo>
                    <a:pt x="3730" y="1103"/>
                    <a:pt x="3721" y="1280"/>
                    <a:pt x="3719" y="1330"/>
                  </a:cubicBezTo>
                  <a:cubicBezTo>
                    <a:pt x="3742" y="1386"/>
                    <a:pt x="3765" y="1440"/>
                    <a:pt x="3785" y="1486"/>
                  </a:cubicBezTo>
                  <a:cubicBezTo>
                    <a:pt x="3809" y="1542"/>
                    <a:pt x="3830" y="1587"/>
                    <a:pt x="3839" y="1602"/>
                  </a:cubicBezTo>
                  <a:cubicBezTo>
                    <a:pt x="3862" y="1641"/>
                    <a:pt x="3889" y="1687"/>
                    <a:pt x="3917" y="1726"/>
                  </a:cubicBezTo>
                  <a:cubicBezTo>
                    <a:pt x="3944" y="1764"/>
                    <a:pt x="3975" y="1795"/>
                    <a:pt x="3988" y="1801"/>
                  </a:cubicBezTo>
                  <a:cubicBezTo>
                    <a:pt x="3997" y="1806"/>
                    <a:pt x="4022" y="1813"/>
                    <a:pt x="4050" y="1816"/>
                  </a:cubicBezTo>
                  <a:cubicBezTo>
                    <a:pt x="4079" y="1820"/>
                    <a:pt x="4113" y="1822"/>
                    <a:pt x="4144" y="1822"/>
                  </a:cubicBezTo>
                  <a:cubicBezTo>
                    <a:pt x="4167" y="1822"/>
                    <a:pt x="4189" y="1821"/>
                    <a:pt x="4208" y="1820"/>
                  </a:cubicBezTo>
                  <a:cubicBezTo>
                    <a:pt x="4210" y="1816"/>
                    <a:pt x="4211" y="1812"/>
                    <a:pt x="4213" y="1809"/>
                  </a:cubicBezTo>
                  <a:cubicBezTo>
                    <a:pt x="4576" y="733"/>
                    <a:pt x="4576" y="733"/>
                    <a:pt x="4576" y="733"/>
                  </a:cubicBezTo>
                  <a:cubicBezTo>
                    <a:pt x="4257" y="140"/>
                    <a:pt x="4257" y="140"/>
                    <a:pt x="4257" y="140"/>
                  </a:cubicBezTo>
                  <a:cubicBezTo>
                    <a:pt x="4271" y="0"/>
                    <a:pt x="4271" y="0"/>
                    <a:pt x="4271" y="0"/>
                  </a:cubicBezTo>
                  <a:cubicBezTo>
                    <a:pt x="4297" y="0"/>
                    <a:pt x="4297" y="0"/>
                    <a:pt x="4297" y="0"/>
                  </a:cubicBezTo>
                  <a:cubicBezTo>
                    <a:pt x="4284" y="134"/>
                    <a:pt x="4284" y="134"/>
                    <a:pt x="4284" y="134"/>
                  </a:cubicBezTo>
                  <a:cubicBezTo>
                    <a:pt x="4600" y="722"/>
                    <a:pt x="4600" y="722"/>
                    <a:pt x="4600" y="722"/>
                  </a:cubicBezTo>
                  <a:cubicBezTo>
                    <a:pt x="5081" y="1038"/>
                    <a:pt x="5081" y="1038"/>
                    <a:pt x="5081" y="1038"/>
                  </a:cubicBezTo>
                  <a:cubicBezTo>
                    <a:pt x="5086" y="1039"/>
                    <a:pt x="5092" y="1040"/>
                    <a:pt x="5097" y="1041"/>
                  </a:cubicBezTo>
                  <a:cubicBezTo>
                    <a:pt x="5030" y="459"/>
                    <a:pt x="5030" y="459"/>
                    <a:pt x="5030" y="459"/>
                  </a:cubicBezTo>
                  <a:cubicBezTo>
                    <a:pt x="5030" y="457"/>
                    <a:pt x="5030" y="457"/>
                    <a:pt x="5030" y="457"/>
                  </a:cubicBezTo>
                  <a:cubicBezTo>
                    <a:pt x="5030" y="457"/>
                    <a:pt x="5039" y="245"/>
                    <a:pt x="5043" y="0"/>
                  </a:cubicBezTo>
                  <a:cubicBezTo>
                    <a:pt x="5079" y="0"/>
                    <a:pt x="5079" y="0"/>
                    <a:pt x="5079" y="0"/>
                  </a:cubicBezTo>
                  <a:cubicBezTo>
                    <a:pt x="5078" y="53"/>
                    <a:pt x="5077" y="104"/>
                    <a:pt x="5076" y="152"/>
                  </a:cubicBezTo>
                  <a:cubicBezTo>
                    <a:pt x="5077" y="147"/>
                    <a:pt x="5077" y="147"/>
                    <a:pt x="5077" y="147"/>
                  </a:cubicBezTo>
                  <a:cubicBezTo>
                    <a:pt x="5077" y="147"/>
                    <a:pt x="5077" y="147"/>
                    <a:pt x="5077" y="147"/>
                  </a:cubicBezTo>
                  <a:cubicBezTo>
                    <a:pt x="5078" y="147"/>
                    <a:pt x="5283" y="202"/>
                    <a:pt x="5508" y="261"/>
                  </a:cubicBezTo>
                  <a:cubicBezTo>
                    <a:pt x="5732" y="320"/>
                    <a:pt x="5975" y="384"/>
                    <a:pt x="6048" y="400"/>
                  </a:cubicBezTo>
                  <a:cubicBezTo>
                    <a:pt x="6147" y="422"/>
                    <a:pt x="6256" y="456"/>
                    <a:pt x="6411" y="456"/>
                  </a:cubicBezTo>
                  <a:cubicBezTo>
                    <a:pt x="6485" y="456"/>
                    <a:pt x="6570" y="447"/>
                    <a:pt x="6668" y="427"/>
                  </a:cubicBezTo>
                  <a:cubicBezTo>
                    <a:pt x="6675" y="382"/>
                    <a:pt x="6702" y="222"/>
                    <a:pt x="6728" y="61"/>
                  </a:cubicBezTo>
                  <a:cubicBezTo>
                    <a:pt x="6732" y="41"/>
                    <a:pt x="6735" y="20"/>
                    <a:pt x="6738" y="0"/>
                  </a:cubicBezTo>
                  <a:cubicBezTo>
                    <a:pt x="6775" y="0"/>
                    <a:pt x="6775" y="0"/>
                    <a:pt x="6775" y="0"/>
                  </a:cubicBezTo>
                  <a:cubicBezTo>
                    <a:pt x="6770" y="27"/>
                    <a:pt x="6766" y="53"/>
                    <a:pt x="6762" y="80"/>
                  </a:cubicBezTo>
                  <a:cubicBezTo>
                    <a:pt x="6734" y="248"/>
                    <a:pt x="6707" y="411"/>
                    <a:pt x="6703" y="440"/>
                  </a:cubicBezTo>
                  <a:cubicBezTo>
                    <a:pt x="7225" y="1931"/>
                    <a:pt x="7225" y="1931"/>
                    <a:pt x="7225" y="1931"/>
                  </a:cubicBezTo>
                  <a:cubicBezTo>
                    <a:pt x="7232" y="1944"/>
                    <a:pt x="7232" y="1944"/>
                    <a:pt x="7232" y="1944"/>
                  </a:cubicBezTo>
                  <a:cubicBezTo>
                    <a:pt x="7282" y="1945"/>
                    <a:pt x="7329" y="1947"/>
                    <a:pt x="7372" y="1949"/>
                  </a:cubicBezTo>
                  <a:cubicBezTo>
                    <a:pt x="7557" y="1955"/>
                    <a:pt x="7680" y="1960"/>
                    <a:pt x="7680" y="1960"/>
                  </a:cubicBezTo>
                  <a:cubicBezTo>
                    <a:pt x="7681" y="1960"/>
                    <a:pt x="7682" y="1960"/>
                    <a:pt x="7683" y="1960"/>
                  </a:cubicBezTo>
                  <a:cubicBezTo>
                    <a:pt x="7692" y="1960"/>
                    <a:pt x="7725" y="1962"/>
                    <a:pt x="7765" y="1964"/>
                  </a:cubicBezTo>
                  <a:cubicBezTo>
                    <a:pt x="7771" y="1953"/>
                    <a:pt x="7771" y="1953"/>
                    <a:pt x="7771" y="1953"/>
                  </a:cubicBezTo>
                  <a:cubicBezTo>
                    <a:pt x="7862" y="1705"/>
                    <a:pt x="7862" y="1705"/>
                    <a:pt x="7862" y="1705"/>
                  </a:cubicBezTo>
                  <a:cubicBezTo>
                    <a:pt x="7785" y="998"/>
                    <a:pt x="7785" y="998"/>
                    <a:pt x="7785" y="998"/>
                  </a:cubicBezTo>
                  <a:cubicBezTo>
                    <a:pt x="7771" y="970"/>
                    <a:pt x="7658" y="745"/>
                    <a:pt x="7570" y="526"/>
                  </a:cubicBezTo>
                  <a:cubicBezTo>
                    <a:pt x="7530" y="427"/>
                    <a:pt x="7518" y="341"/>
                    <a:pt x="7518" y="275"/>
                  </a:cubicBezTo>
                  <a:cubicBezTo>
                    <a:pt x="7518" y="184"/>
                    <a:pt x="7541" y="130"/>
                    <a:pt x="7541" y="129"/>
                  </a:cubicBezTo>
                  <a:cubicBezTo>
                    <a:pt x="7542" y="128"/>
                    <a:pt x="7542" y="128"/>
                    <a:pt x="7542" y="128"/>
                  </a:cubicBezTo>
                  <a:cubicBezTo>
                    <a:pt x="7612" y="0"/>
                    <a:pt x="7612" y="0"/>
                    <a:pt x="7612" y="0"/>
                  </a:cubicBezTo>
                  <a:cubicBezTo>
                    <a:pt x="7650" y="0"/>
                    <a:pt x="7650" y="0"/>
                    <a:pt x="7650" y="0"/>
                  </a:cubicBezTo>
                  <a:cubicBezTo>
                    <a:pt x="7653" y="0"/>
                    <a:pt x="7653" y="0"/>
                    <a:pt x="7653" y="0"/>
                  </a:cubicBezTo>
                  <a:cubicBezTo>
                    <a:pt x="7720" y="0"/>
                    <a:pt x="7720" y="0"/>
                    <a:pt x="7720" y="0"/>
                  </a:cubicBezTo>
                  <a:cubicBezTo>
                    <a:pt x="8894" y="698"/>
                    <a:pt x="8894" y="698"/>
                    <a:pt x="8894" y="698"/>
                  </a:cubicBezTo>
                  <a:cubicBezTo>
                    <a:pt x="8904" y="684"/>
                    <a:pt x="8920" y="662"/>
                    <a:pt x="8938" y="635"/>
                  </a:cubicBezTo>
                  <a:cubicBezTo>
                    <a:pt x="9020" y="513"/>
                    <a:pt x="9162" y="294"/>
                    <a:pt x="9163" y="293"/>
                  </a:cubicBezTo>
                  <a:cubicBezTo>
                    <a:pt x="9168" y="285"/>
                    <a:pt x="9168" y="285"/>
                    <a:pt x="9168" y="285"/>
                  </a:cubicBezTo>
                  <a:cubicBezTo>
                    <a:pt x="9201" y="285"/>
                    <a:pt x="9201" y="285"/>
                    <a:pt x="9201" y="285"/>
                  </a:cubicBezTo>
                  <a:cubicBezTo>
                    <a:pt x="9184" y="0"/>
                    <a:pt x="9184" y="0"/>
                    <a:pt x="9184" y="0"/>
                  </a:cubicBezTo>
                  <a:cubicBezTo>
                    <a:pt x="9220" y="0"/>
                    <a:pt x="9220" y="0"/>
                    <a:pt x="9220" y="0"/>
                  </a:cubicBezTo>
                  <a:cubicBezTo>
                    <a:pt x="9237" y="286"/>
                    <a:pt x="9237" y="286"/>
                    <a:pt x="9237" y="286"/>
                  </a:cubicBezTo>
                  <a:cubicBezTo>
                    <a:pt x="9235" y="286"/>
                    <a:pt x="9235" y="286"/>
                    <a:pt x="9235" y="286"/>
                  </a:cubicBezTo>
                  <a:cubicBezTo>
                    <a:pt x="10217" y="300"/>
                    <a:pt x="10217" y="300"/>
                    <a:pt x="10217" y="300"/>
                  </a:cubicBezTo>
                  <a:cubicBezTo>
                    <a:pt x="10217" y="299"/>
                    <a:pt x="10217" y="299"/>
                    <a:pt x="10217" y="299"/>
                  </a:cubicBezTo>
                  <a:cubicBezTo>
                    <a:pt x="10241" y="280"/>
                    <a:pt x="10341" y="188"/>
                    <a:pt x="10341" y="14"/>
                  </a:cubicBezTo>
                  <a:cubicBezTo>
                    <a:pt x="10341" y="10"/>
                    <a:pt x="10340" y="5"/>
                    <a:pt x="10340" y="0"/>
                  </a:cubicBezTo>
                  <a:cubicBezTo>
                    <a:pt x="10376" y="0"/>
                    <a:pt x="10376" y="0"/>
                    <a:pt x="10376" y="0"/>
                  </a:cubicBezTo>
                  <a:cubicBezTo>
                    <a:pt x="10376" y="5"/>
                    <a:pt x="10377" y="10"/>
                    <a:pt x="10377" y="14"/>
                  </a:cubicBezTo>
                  <a:cubicBezTo>
                    <a:pt x="10377" y="200"/>
                    <a:pt x="10273" y="300"/>
                    <a:pt x="10242" y="326"/>
                  </a:cubicBezTo>
                  <a:cubicBezTo>
                    <a:pt x="10246" y="361"/>
                    <a:pt x="10258" y="491"/>
                    <a:pt x="10271" y="621"/>
                  </a:cubicBezTo>
                  <a:cubicBezTo>
                    <a:pt x="10279" y="698"/>
                    <a:pt x="10287" y="775"/>
                    <a:pt x="10292" y="833"/>
                  </a:cubicBezTo>
                  <a:cubicBezTo>
                    <a:pt x="10295" y="862"/>
                    <a:pt x="10297" y="886"/>
                    <a:pt x="10299" y="903"/>
                  </a:cubicBezTo>
                  <a:cubicBezTo>
                    <a:pt x="10299" y="906"/>
                    <a:pt x="10300" y="909"/>
                    <a:pt x="10300" y="911"/>
                  </a:cubicBezTo>
                  <a:cubicBezTo>
                    <a:pt x="11917" y="622"/>
                    <a:pt x="11917" y="622"/>
                    <a:pt x="11917" y="622"/>
                  </a:cubicBezTo>
                  <a:cubicBezTo>
                    <a:pt x="11798" y="69"/>
                    <a:pt x="11798" y="69"/>
                    <a:pt x="11798" y="69"/>
                  </a:cubicBezTo>
                  <a:cubicBezTo>
                    <a:pt x="11787" y="61"/>
                    <a:pt x="11765" y="42"/>
                    <a:pt x="11734" y="0"/>
                  </a:cubicBezTo>
                  <a:cubicBezTo>
                    <a:pt x="11780" y="0"/>
                    <a:pt x="11780" y="0"/>
                    <a:pt x="11780" y="0"/>
                  </a:cubicBezTo>
                  <a:cubicBezTo>
                    <a:pt x="11781" y="2"/>
                    <a:pt x="11783" y="3"/>
                    <a:pt x="11784" y="5"/>
                  </a:cubicBezTo>
                  <a:cubicBezTo>
                    <a:pt x="11787" y="0"/>
                    <a:pt x="11787" y="0"/>
                    <a:pt x="11787" y="0"/>
                  </a:cubicBezTo>
                  <a:cubicBezTo>
                    <a:pt x="11831" y="0"/>
                    <a:pt x="11831" y="0"/>
                    <a:pt x="11831" y="0"/>
                  </a:cubicBezTo>
                  <a:cubicBezTo>
                    <a:pt x="11809" y="31"/>
                    <a:pt x="11809" y="31"/>
                    <a:pt x="11809" y="31"/>
                  </a:cubicBezTo>
                  <a:cubicBezTo>
                    <a:pt x="11811" y="33"/>
                    <a:pt x="11813" y="35"/>
                    <a:pt x="11814" y="36"/>
                  </a:cubicBezTo>
                  <a:cubicBezTo>
                    <a:pt x="11818" y="39"/>
                    <a:pt x="11820" y="41"/>
                    <a:pt x="11821" y="42"/>
                  </a:cubicBezTo>
                  <a:cubicBezTo>
                    <a:pt x="11822" y="42"/>
                    <a:pt x="11822" y="42"/>
                    <a:pt x="11823" y="42"/>
                  </a:cubicBezTo>
                  <a:cubicBezTo>
                    <a:pt x="11823" y="42"/>
                    <a:pt x="11823" y="42"/>
                    <a:pt x="11823" y="42"/>
                  </a:cubicBezTo>
                  <a:cubicBezTo>
                    <a:pt x="11830" y="46"/>
                    <a:pt x="11830" y="46"/>
                    <a:pt x="11830" y="46"/>
                  </a:cubicBezTo>
                  <a:cubicBezTo>
                    <a:pt x="11958" y="643"/>
                    <a:pt x="11958" y="643"/>
                    <a:pt x="11958" y="643"/>
                  </a:cubicBezTo>
                  <a:cubicBezTo>
                    <a:pt x="12153" y="1922"/>
                    <a:pt x="12153" y="1922"/>
                    <a:pt x="12153" y="1922"/>
                  </a:cubicBezTo>
                  <a:cubicBezTo>
                    <a:pt x="13147" y="2315"/>
                    <a:pt x="13147" y="2315"/>
                    <a:pt x="13147" y="2315"/>
                  </a:cubicBezTo>
                  <a:cubicBezTo>
                    <a:pt x="13842" y="315"/>
                    <a:pt x="13842" y="315"/>
                    <a:pt x="13842" y="315"/>
                  </a:cubicBezTo>
                  <a:cubicBezTo>
                    <a:pt x="13363" y="263"/>
                    <a:pt x="13363" y="263"/>
                    <a:pt x="13363" y="263"/>
                  </a:cubicBezTo>
                  <a:cubicBezTo>
                    <a:pt x="12894" y="0"/>
                    <a:pt x="12894" y="0"/>
                    <a:pt x="12894" y="0"/>
                  </a:cubicBezTo>
                  <a:cubicBezTo>
                    <a:pt x="12967" y="0"/>
                    <a:pt x="12967" y="0"/>
                    <a:pt x="12967" y="0"/>
                  </a:cubicBezTo>
                  <a:cubicBezTo>
                    <a:pt x="13374" y="228"/>
                    <a:pt x="13374" y="228"/>
                    <a:pt x="13374" y="228"/>
                  </a:cubicBezTo>
                  <a:cubicBezTo>
                    <a:pt x="13842" y="279"/>
                    <a:pt x="13842" y="279"/>
                    <a:pt x="13842" y="279"/>
                  </a:cubicBezTo>
                  <a:cubicBezTo>
                    <a:pt x="13852" y="280"/>
                    <a:pt x="13852" y="280"/>
                    <a:pt x="13852" y="280"/>
                  </a:cubicBezTo>
                  <a:cubicBezTo>
                    <a:pt x="13848" y="240"/>
                    <a:pt x="13838" y="139"/>
                    <a:pt x="13825" y="0"/>
                  </a:cubicBezTo>
                  <a:cubicBezTo>
                    <a:pt x="13941" y="0"/>
                    <a:pt x="13941" y="0"/>
                    <a:pt x="13941" y="0"/>
                  </a:cubicBezTo>
                  <a:cubicBezTo>
                    <a:pt x="13941" y="7"/>
                    <a:pt x="13942" y="14"/>
                    <a:pt x="13942" y="20"/>
                  </a:cubicBezTo>
                  <a:cubicBezTo>
                    <a:pt x="13958" y="184"/>
                    <a:pt x="13968" y="288"/>
                    <a:pt x="13968" y="288"/>
                  </a:cubicBezTo>
                  <a:cubicBezTo>
                    <a:pt x="13968" y="292"/>
                    <a:pt x="13968" y="292"/>
                    <a:pt x="13968" y="292"/>
                  </a:cubicBezTo>
                  <a:cubicBezTo>
                    <a:pt x="13970" y="292"/>
                    <a:pt x="13973" y="293"/>
                    <a:pt x="13975" y="294"/>
                  </a:cubicBezTo>
                  <a:cubicBezTo>
                    <a:pt x="14422" y="342"/>
                    <a:pt x="14422" y="342"/>
                    <a:pt x="14422" y="342"/>
                  </a:cubicBezTo>
                  <a:cubicBezTo>
                    <a:pt x="14423" y="342"/>
                    <a:pt x="14429" y="342"/>
                    <a:pt x="14434" y="347"/>
                  </a:cubicBezTo>
                  <a:cubicBezTo>
                    <a:pt x="14443" y="352"/>
                    <a:pt x="14481" y="372"/>
                    <a:pt x="14537" y="399"/>
                  </a:cubicBezTo>
                  <a:cubicBezTo>
                    <a:pt x="14660" y="460"/>
                    <a:pt x="14878" y="567"/>
                    <a:pt x="15126" y="694"/>
                  </a:cubicBezTo>
                  <a:cubicBezTo>
                    <a:pt x="15116" y="646"/>
                    <a:pt x="15066" y="458"/>
                    <a:pt x="15005" y="237"/>
                  </a:cubicBezTo>
                  <a:cubicBezTo>
                    <a:pt x="14984" y="161"/>
                    <a:pt x="14962" y="81"/>
                    <a:pt x="14940" y="0"/>
                  </a:cubicBezTo>
                  <a:cubicBezTo>
                    <a:pt x="14977" y="0"/>
                    <a:pt x="14977" y="0"/>
                    <a:pt x="14977" y="0"/>
                  </a:cubicBezTo>
                  <a:cubicBezTo>
                    <a:pt x="14998" y="77"/>
                    <a:pt x="15020" y="154"/>
                    <a:pt x="15040" y="227"/>
                  </a:cubicBezTo>
                  <a:cubicBezTo>
                    <a:pt x="15105" y="465"/>
                    <a:pt x="15158" y="658"/>
                    <a:pt x="15163" y="696"/>
                  </a:cubicBezTo>
                  <a:cubicBezTo>
                    <a:pt x="15138" y="700"/>
                    <a:pt x="15138" y="700"/>
                    <a:pt x="15138" y="700"/>
                  </a:cubicBezTo>
                  <a:cubicBezTo>
                    <a:pt x="15262" y="763"/>
                    <a:pt x="15394" y="831"/>
                    <a:pt x="15525" y="901"/>
                  </a:cubicBezTo>
                  <a:cubicBezTo>
                    <a:pt x="15765" y="1029"/>
                    <a:pt x="16004" y="1171"/>
                    <a:pt x="16193" y="1283"/>
                  </a:cubicBezTo>
                  <a:cubicBezTo>
                    <a:pt x="16825" y="1657"/>
                    <a:pt x="17295" y="2204"/>
                    <a:pt x="17296" y="2205"/>
                  </a:cubicBezTo>
                  <a:cubicBezTo>
                    <a:pt x="17331" y="2243"/>
                    <a:pt x="17374" y="2293"/>
                    <a:pt x="17429" y="2349"/>
                  </a:cubicBezTo>
                  <a:cubicBezTo>
                    <a:pt x="17495" y="2296"/>
                    <a:pt x="17655" y="2168"/>
                    <a:pt x="17832" y="2023"/>
                  </a:cubicBezTo>
                  <a:cubicBezTo>
                    <a:pt x="17889" y="1977"/>
                    <a:pt x="17947" y="1930"/>
                    <a:pt x="18004" y="1883"/>
                  </a:cubicBezTo>
                  <a:lnTo>
                    <a:pt x="18004" y="1930"/>
                  </a:lnTo>
                  <a:close/>
                  <a:moveTo>
                    <a:pt x="2922" y="287"/>
                  </a:moveTo>
                  <a:cubicBezTo>
                    <a:pt x="2941" y="297"/>
                    <a:pt x="2941" y="297"/>
                    <a:pt x="2941" y="297"/>
                  </a:cubicBezTo>
                  <a:cubicBezTo>
                    <a:pt x="2941" y="297"/>
                    <a:pt x="2941" y="297"/>
                    <a:pt x="2941" y="297"/>
                  </a:cubicBezTo>
                  <a:cubicBezTo>
                    <a:pt x="2974" y="313"/>
                    <a:pt x="3021" y="335"/>
                    <a:pt x="3070" y="359"/>
                  </a:cubicBezTo>
                  <a:cubicBezTo>
                    <a:pt x="3116" y="381"/>
                    <a:pt x="3163" y="404"/>
                    <a:pt x="3203" y="424"/>
                  </a:cubicBezTo>
                  <a:cubicBezTo>
                    <a:pt x="3243" y="445"/>
                    <a:pt x="3273" y="461"/>
                    <a:pt x="3293" y="474"/>
                  </a:cubicBezTo>
                  <a:cubicBezTo>
                    <a:pt x="3359" y="518"/>
                    <a:pt x="3407" y="581"/>
                    <a:pt x="3446" y="654"/>
                  </a:cubicBezTo>
                  <a:cubicBezTo>
                    <a:pt x="3468" y="693"/>
                    <a:pt x="3494" y="756"/>
                    <a:pt x="3520" y="822"/>
                  </a:cubicBezTo>
                  <a:cubicBezTo>
                    <a:pt x="3546" y="887"/>
                    <a:pt x="3570" y="951"/>
                    <a:pt x="3582" y="988"/>
                  </a:cubicBezTo>
                  <a:cubicBezTo>
                    <a:pt x="3587" y="1001"/>
                    <a:pt x="3599" y="1033"/>
                    <a:pt x="3616" y="1076"/>
                  </a:cubicBezTo>
                  <a:cubicBezTo>
                    <a:pt x="3618" y="1057"/>
                    <a:pt x="3620" y="1040"/>
                    <a:pt x="3621" y="1026"/>
                  </a:cubicBezTo>
                  <a:cubicBezTo>
                    <a:pt x="3622" y="1020"/>
                    <a:pt x="3622" y="1011"/>
                    <a:pt x="3622" y="1000"/>
                  </a:cubicBezTo>
                  <a:cubicBezTo>
                    <a:pt x="3624" y="910"/>
                    <a:pt x="3597" y="697"/>
                    <a:pt x="3529" y="599"/>
                  </a:cubicBezTo>
                  <a:cubicBezTo>
                    <a:pt x="3516" y="578"/>
                    <a:pt x="3469" y="535"/>
                    <a:pt x="3411" y="492"/>
                  </a:cubicBezTo>
                  <a:cubicBezTo>
                    <a:pt x="3322" y="426"/>
                    <a:pt x="3204" y="353"/>
                    <a:pt x="3109" y="298"/>
                  </a:cubicBezTo>
                  <a:cubicBezTo>
                    <a:pt x="3044" y="260"/>
                    <a:pt x="2991" y="230"/>
                    <a:pt x="2963" y="215"/>
                  </a:cubicBezTo>
                  <a:cubicBezTo>
                    <a:pt x="2952" y="241"/>
                    <a:pt x="2938" y="265"/>
                    <a:pt x="2922" y="287"/>
                  </a:cubicBezTo>
                  <a:close/>
                  <a:moveTo>
                    <a:pt x="2319" y="1717"/>
                  </a:moveTo>
                  <a:cubicBezTo>
                    <a:pt x="2309" y="1660"/>
                    <a:pt x="2303" y="1605"/>
                    <a:pt x="2300" y="1578"/>
                  </a:cubicBezTo>
                  <a:cubicBezTo>
                    <a:pt x="2300" y="1574"/>
                    <a:pt x="2300" y="1570"/>
                    <a:pt x="2300" y="1566"/>
                  </a:cubicBezTo>
                  <a:cubicBezTo>
                    <a:pt x="2299" y="1508"/>
                    <a:pt x="2338" y="1436"/>
                    <a:pt x="2440" y="1408"/>
                  </a:cubicBezTo>
                  <a:cubicBezTo>
                    <a:pt x="2533" y="1382"/>
                    <a:pt x="2730" y="1357"/>
                    <a:pt x="2851" y="1357"/>
                  </a:cubicBezTo>
                  <a:cubicBezTo>
                    <a:pt x="2867" y="1357"/>
                    <a:pt x="2882" y="1357"/>
                    <a:pt x="2895" y="1358"/>
                  </a:cubicBezTo>
                  <a:cubicBezTo>
                    <a:pt x="3007" y="1366"/>
                    <a:pt x="3060" y="1427"/>
                    <a:pt x="3089" y="1487"/>
                  </a:cubicBezTo>
                  <a:cubicBezTo>
                    <a:pt x="3113" y="1535"/>
                    <a:pt x="3123" y="1617"/>
                    <a:pt x="3123" y="1682"/>
                  </a:cubicBezTo>
                  <a:cubicBezTo>
                    <a:pt x="3123" y="1703"/>
                    <a:pt x="3122" y="1722"/>
                    <a:pt x="3120" y="1738"/>
                  </a:cubicBezTo>
                  <a:cubicBezTo>
                    <a:pt x="3117" y="1753"/>
                    <a:pt x="3110" y="1770"/>
                    <a:pt x="3100" y="1787"/>
                  </a:cubicBezTo>
                  <a:cubicBezTo>
                    <a:pt x="3108" y="1792"/>
                    <a:pt x="3160" y="1811"/>
                    <a:pt x="3220" y="1830"/>
                  </a:cubicBezTo>
                  <a:cubicBezTo>
                    <a:pt x="3281" y="1849"/>
                    <a:pt x="3352" y="1867"/>
                    <a:pt x="3402" y="1873"/>
                  </a:cubicBezTo>
                  <a:cubicBezTo>
                    <a:pt x="3407" y="1873"/>
                    <a:pt x="3412" y="1873"/>
                    <a:pt x="3419" y="1873"/>
                  </a:cubicBezTo>
                  <a:cubicBezTo>
                    <a:pt x="3479" y="1874"/>
                    <a:pt x="3586" y="1848"/>
                    <a:pt x="3677" y="1823"/>
                  </a:cubicBezTo>
                  <a:cubicBezTo>
                    <a:pt x="3724" y="1809"/>
                    <a:pt x="3766" y="1796"/>
                    <a:pt x="3796" y="1787"/>
                  </a:cubicBezTo>
                  <a:cubicBezTo>
                    <a:pt x="3812" y="1775"/>
                    <a:pt x="3812" y="1775"/>
                    <a:pt x="3812" y="1775"/>
                  </a:cubicBezTo>
                  <a:cubicBezTo>
                    <a:pt x="3785" y="1736"/>
                    <a:pt x="3760" y="1694"/>
                    <a:pt x="3740" y="1659"/>
                  </a:cubicBezTo>
                  <a:cubicBezTo>
                    <a:pt x="3725" y="1634"/>
                    <a:pt x="3705" y="1590"/>
                    <a:pt x="3680" y="1532"/>
                  </a:cubicBezTo>
                  <a:cubicBezTo>
                    <a:pt x="3605" y="1360"/>
                    <a:pt x="3494" y="1083"/>
                    <a:pt x="3474" y="1026"/>
                  </a:cubicBezTo>
                  <a:cubicBezTo>
                    <a:pt x="3462" y="991"/>
                    <a:pt x="3438" y="927"/>
                    <a:pt x="3413" y="864"/>
                  </a:cubicBezTo>
                  <a:cubicBezTo>
                    <a:pt x="3389" y="801"/>
                    <a:pt x="3361" y="737"/>
                    <a:pt x="3346" y="709"/>
                  </a:cubicBezTo>
                  <a:cubicBezTo>
                    <a:pt x="3311" y="646"/>
                    <a:pt x="3274" y="599"/>
                    <a:pt x="3229" y="569"/>
                  </a:cubicBezTo>
                  <a:cubicBezTo>
                    <a:pt x="3221" y="563"/>
                    <a:pt x="3189" y="546"/>
                    <a:pt x="3151" y="527"/>
                  </a:cubicBezTo>
                  <a:cubicBezTo>
                    <a:pt x="3035" y="468"/>
                    <a:pt x="2847" y="380"/>
                    <a:pt x="2846" y="380"/>
                  </a:cubicBezTo>
                  <a:cubicBezTo>
                    <a:pt x="2847" y="378"/>
                    <a:pt x="2847" y="378"/>
                    <a:pt x="2847" y="378"/>
                  </a:cubicBezTo>
                  <a:cubicBezTo>
                    <a:pt x="2835" y="372"/>
                    <a:pt x="2835" y="372"/>
                    <a:pt x="2835" y="372"/>
                  </a:cubicBezTo>
                  <a:cubicBezTo>
                    <a:pt x="2834" y="371"/>
                    <a:pt x="2834" y="371"/>
                    <a:pt x="2834" y="371"/>
                  </a:cubicBezTo>
                  <a:cubicBezTo>
                    <a:pt x="2780" y="407"/>
                    <a:pt x="2714" y="429"/>
                    <a:pt x="2644" y="429"/>
                  </a:cubicBezTo>
                  <a:cubicBezTo>
                    <a:pt x="2597" y="429"/>
                    <a:pt x="2552" y="419"/>
                    <a:pt x="2511" y="402"/>
                  </a:cubicBezTo>
                  <a:cubicBezTo>
                    <a:pt x="2505" y="409"/>
                    <a:pt x="2499" y="418"/>
                    <a:pt x="2499" y="418"/>
                  </a:cubicBezTo>
                  <a:cubicBezTo>
                    <a:pt x="2499" y="418"/>
                    <a:pt x="2499" y="418"/>
                    <a:pt x="2498" y="418"/>
                  </a:cubicBezTo>
                  <a:cubicBezTo>
                    <a:pt x="2470" y="455"/>
                    <a:pt x="2390" y="560"/>
                    <a:pt x="2300" y="673"/>
                  </a:cubicBezTo>
                  <a:cubicBezTo>
                    <a:pt x="2244" y="743"/>
                    <a:pt x="2185" y="815"/>
                    <a:pt x="2132" y="876"/>
                  </a:cubicBezTo>
                  <a:cubicBezTo>
                    <a:pt x="2079" y="937"/>
                    <a:pt x="2035" y="985"/>
                    <a:pt x="1999" y="1012"/>
                  </a:cubicBezTo>
                  <a:cubicBezTo>
                    <a:pt x="1962" y="1040"/>
                    <a:pt x="1899" y="1070"/>
                    <a:pt x="1815" y="1109"/>
                  </a:cubicBezTo>
                  <a:cubicBezTo>
                    <a:pt x="1565" y="1222"/>
                    <a:pt x="1141" y="1384"/>
                    <a:pt x="966" y="1453"/>
                  </a:cubicBezTo>
                  <a:cubicBezTo>
                    <a:pt x="851" y="1499"/>
                    <a:pt x="708" y="1561"/>
                    <a:pt x="595" y="1611"/>
                  </a:cubicBezTo>
                  <a:cubicBezTo>
                    <a:pt x="576" y="1620"/>
                    <a:pt x="558" y="1628"/>
                    <a:pt x="540" y="1635"/>
                  </a:cubicBezTo>
                  <a:cubicBezTo>
                    <a:pt x="542" y="1654"/>
                    <a:pt x="542" y="1654"/>
                    <a:pt x="542" y="1654"/>
                  </a:cubicBezTo>
                  <a:cubicBezTo>
                    <a:pt x="574" y="1723"/>
                    <a:pt x="656" y="1903"/>
                    <a:pt x="751" y="2113"/>
                  </a:cubicBezTo>
                  <a:lnTo>
                    <a:pt x="2319" y="1717"/>
                  </a:lnTo>
                  <a:close/>
                  <a:moveTo>
                    <a:pt x="3090" y="1803"/>
                  </a:moveTo>
                  <a:cubicBezTo>
                    <a:pt x="3090" y="1803"/>
                    <a:pt x="3090" y="1803"/>
                    <a:pt x="3090" y="1803"/>
                  </a:cubicBezTo>
                  <a:cubicBezTo>
                    <a:pt x="3094" y="1818"/>
                    <a:pt x="3094" y="1818"/>
                    <a:pt x="3094" y="1818"/>
                  </a:cubicBezTo>
                  <a:lnTo>
                    <a:pt x="3090" y="1803"/>
                  </a:lnTo>
                  <a:close/>
                  <a:moveTo>
                    <a:pt x="2929" y="1882"/>
                  </a:moveTo>
                  <a:cubicBezTo>
                    <a:pt x="2972" y="1866"/>
                    <a:pt x="3010" y="1839"/>
                    <a:pt x="3038" y="1809"/>
                  </a:cubicBezTo>
                  <a:cubicBezTo>
                    <a:pt x="3066" y="1780"/>
                    <a:pt x="3082" y="1749"/>
                    <a:pt x="3084" y="1733"/>
                  </a:cubicBezTo>
                  <a:cubicBezTo>
                    <a:pt x="3102" y="1735"/>
                    <a:pt x="3102" y="1735"/>
                    <a:pt x="3102" y="1735"/>
                  </a:cubicBezTo>
                  <a:cubicBezTo>
                    <a:pt x="3084" y="1733"/>
                    <a:pt x="3084" y="1733"/>
                    <a:pt x="3084" y="1733"/>
                  </a:cubicBezTo>
                  <a:cubicBezTo>
                    <a:pt x="3086" y="1719"/>
                    <a:pt x="3087" y="1701"/>
                    <a:pt x="3087" y="1682"/>
                  </a:cubicBezTo>
                  <a:cubicBezTo>
                    <a:pt x="3087" y="1621"/>
                    <a:pt x="3076" y="1540"/>
                    <a:pt x="3057" y="1503"/>
                  </a:cubicBezTo>
                  <a:cubicBezTo>
                    <a:pt x="3029" y="1448"/>
                    <a:pt x="2992" y="1403"/>
                    <a:pt x="2892" y="1394"/>
                  </a:cubicBezTo>
                  <a:cubicBezTo>
                    <a:pt x="2880" y="1393"/>
                    <a:pt x="2866" y="1393"/>
                    <a:pt x="2851" y="1393"/>
                  </a:cubicBezTo>
                  <a:cubicBezTo>
                    <a:pt x="2735" y="1393"/>
                    <a:pt x="2537" y="1418"/>
                    <a:pt x="2450" y="1443"/>
                  </a:cubicBezTo>
                  <a:cubicBezTo>
                    <a:pt x="2360" y="1468"/>
                    <a:pt x="2337" y="1522"/>
                    <a:pt x="2336" y="1566"/>
                  </a:cubicBezTo>
                  <a:cubicBezTo>
                    <a:pt x="2336" y="1570"/>
                    <a:pt x="2336" y="1572"/>
                    <a:pt x="2336" y="1575"/>
                  </a:cubicBezTo>
                  <a:cubicBezTo>
                    <a:pt x="2340" y="1626"/>
                    <a:pt x="2366" y="1804"/>
                    <a:pt x="2388" y="1850"/>
                  </a:cubicBezTo>
                  <a:cubicBezTo>
                    <a:pt x="2406" y="1891"/>
                    <a:pt x="2457" y="1918"/>
                    <a:pt x="2531" y="1918"/>
                  </a:cubicBezTo>
                  <a:cubicBezTo>
                    <a:pt x="2536" y="1918"/>
                    <a:pt x="2541" y="1918"/>
                    <a:pt x="2546" y="1917"/>
                  </a:cubicBezTo>
                  <a:cubicBezTo>
                    <a:pt x="2632" y="1913"/>
                    <a:pt x="2841" y="1913"/>
                    <a:pt x="2929" y="1882"/>
                  </a:cubicBezTo>
                  <a:close/>
                  <a:moveTo>
                    <a:pt x="3832" y="2346"/>
                  </a:moveTo>
                  <a:cubicBezTo>
                    <a:pt x="4009" y="2305"/>
                    <a:pt x="4181" y="2187"/>
                    <a:pt x="4308" y="2079"/>
                  </a:cubicBezTo>
                  <a:cubicBezTo>
                    <a:pt x="4370" y="2027"/>
                    <a:pt x="4420" y="1977"/>
                    <a:pt x="4457" y="1939"/>
                  </a:cubicBezTo>
                  <a:cubicBezTo>
                    <a:pt x="4459" y="1921"/>
                    <a:pt x="4459" y="1921"/>
                    <a:pt x="4459" y="1921"/>
                  </a:cubicBezTo>
                  <a:cubicBezTo>
                    <a:pt x="4352" y="1926"/>
                    <a:pt x="4256" y="1931"/>
                    <a:pt x="4230" y="1933"/>
                  </a:cubicBezTo>
                  <a:cubicBezTo>
                    <a:pt x="4206" y="1935"/>
                    <a:pt x="4176" y="1937"/>
                    <a:pt x="4144" y="1937"/>
                  </a:cubicBezTo>
                  <a:cubicBezTo>
                    <a:pt x="4109" y="1937"/>
                    <a:pt x="4071" y="1935"/>
                    <a:pt x="4035" y="1930"/>
                  </a:cubicBezTo>
                  <a:cubicBezTo>
                    <a:pt x="3999" y="1925"/>
                    <a:pt x="3966" y="1918"/>
                    <a:pt x="3935" y="1902"/>
                  </a:cubicBezTo>
                  <a:cubicBezTo>
                    <a:pt x="3896" y="1881"/>
                    <a:pt x="3867" y="1849"/>
                    <a:pt x="3839" y="1813"/>
                  </a:cubicBezTo>
                  <a:cubicBezTo>
                    <a:pt x="3835" y="1813"/>
                    <a:pt x="3831" y="1814"/>
                    <a:pt x="3826" y="1815"/>
                  </a:cubicBezTo>
                  <a:cubicBezTo>
                    <a:pt x="3748" y="1840"/>
                    <a:pt x="3529" y="1909"/>
                    <a:pt x="3419" y="1909"/>
                  </a:cubicBezTo>
                  <a:cubicBezTo>
                    <a:pt x="3411" y="1909"/>
                    <a:pt x="3404" y="1909"/>
                    <a:pt x="3398" y="1908"/>
                  </a:cubicBezTo>
                  <a:cubicBezTo>
                    <a:pt x="3340" y="1902"/>
                    <a:pt x="3262" y="1881"/>
                    <a:pt x="3197" y="1861"/>
                  </a:cubicBezTo>
                  <a:cubicBezTo>
                    <a:pt x="3165" y="1850"/>
                    <a:pt x="3136" y="1840"/>
                    <a:pt x="3115" y="1832"/>
                  </a:cubicBezTo>
                  <a:cubicBezTo>
                    <a:pt x="3105" y="1829"/>
                    <a:pt x="3097" y="1825"/>
                    <a:pt x="3090" y="1822"/>
                  </a:cubicBezTo>
                  <a:cubicBezTo>
                    <a:pt x="3087" y="1821"/>
                    <a:pt x="3085" y="1820"/>
                    <a:pt x="3082" y="1819"/>
                  </a:cubicBezTo>
                  <a:cubicBezTo>
                    <a:pt x="3081" y="1818"/>
                    <a:pt x="3080" y="1817"/>
                    <a:pt x="3079" y="1816"/>
                  </a:cubicBezTo>
                  <a:cubicBezTo>
                    <a:pt x="3074" y="1822"/>
                    <a:pt x="3070" y="1828"/>
                    <a:pt x="3064" y="1834"/>
                  </a:cubicBezTo>
                  <a:cubicBezTo>
                    <a:pt x="3033" y="1867"/>
                    <a:pt x="2991" y="1898"/>
                    <a:pt x="2940" y="1916"/>
                  </a:cubicBezTo>
                  <a:cubicBezTo>
                    <a:pt x="2896" y="1931"/>
                    <a:pt x="2830" y="1939"/>
                    <a:pt x="2763" y="1944"/>
                  </a:cubicBezTo>
                  <a:cubicBezTo>
                    <a:pt x="2868" y="2442"/>
                    <a:pt x="2868" y="2442"/>
                    <a:pt x="2868" y="2442"/>
                  </a:cubicBezTo>
                  <a:cubicBezTo>
                    <a:pt x="2868" y="2442"/>
                    <a:pt x="2869" y="2442"/>
                    <a:pt x="2869" y="2442"/>
                  </a:cubicBezTo>
                  <a:cubicBezTo>
                    <a:pt x="2944" y="2436"/>
                    <a:pt x="3240" y="2414"/>
                    <a:pt x="3484" y="2391"/>
                  </a:cubicBezTo>
                  <a:cubicBezTo>
                    <a:pt x="3640" y="2376"/>
                    <a:pt x="3706" y="2376"/>
                    <a:pt x="3832" y="2346"/>
                  </a:cubicBezTo>
                  <a:close/>
                  <a:moveTo>
                    <a:pt x="4789" y="1905"/>
                  </a:moveTo>
                  <a:cubicBezTo>
                    <a:pt x="4737" y="1907"/>
                    <a:pt x="4651" y="1911"/>
                    <a:pt x="4562" y="1916"/>
                  </a:cubicBezTo>
                  <a:cubicBezTo>
                    <a:pt x="4551" y="1916"/>
                    <a:pt x="4541" y="1917"/>
                    <a:pt x="4530" y="1917"/>
                  </a:cubicBezTo>
                  <a:cubicBezTo>
                    <a:pt x="4516" y="1929"/>
                    <a:pt x="4516" y="1929"/>
                    <a:pt x="4516" y="1929"/>
                  </a:cubicBezTo>
                  <a:cubicBezTo>
                    <a:pt x="4429" y="2023"/>
                    <a:pt x="4150" y="2308"/>
                    <a:pt x="3840" y="2381"/>
                  </a:cubicBezTo>
                  <a:cubicBezTo>
                    <a:pt x="3821" y="2386"/>
                    <a:pt x="3803" y="2390"/>
                    <a:pt x="3786" y="2393"/>
                  </a:cubicBezTo>
                  <a:cubicBezTo>
                    <a:pt x="3876" y="2798"/>
                    <a:pt x="3876" y="2798"/>
                    <a:pt x="3876" y="2798"/>
                  </a:cubicBezTo>
                  <a:cubicBezTo>
                    <a:pt x="4176" y="2804"/>
                    <a:pt x="4517" y="2960"/>
                    <a:pt x="4628" y="3015"/>
                  </a:cubicBezTo>
                  <a:cubicBezTo>
                    <a:pt x="4647" y="3019"/>
                    <a:pt x="4647" y="3019"/>
                    <a:pt x="4647" y="3019"/>
                  </a:cubicBezTo>
                  <a:lnTo>
                    <a:pt x="4789" y="1905"/>
                  </a:lnTo>
                  <a:close/>
                  <a:moveTo>
                    <a:pt x="5064" y="1745"/>
                  </a:moveTo>
                  <a:cubicBezTo>
                    <a:pt x="5066" y="1737"/>
                    <a:pt x="5068" y="1724"/>
                    <a:pt x="5069" y="1718"/>
                  </a:cubicBezTo>
                  <a:cubicBezTo>
                    <a:pt x="5108" y="1136"/>
                    <a:pt x="5108" y="1136"/>
                    <a:pt x="5108" y="1136"/>
                  </a:cubicBezTo>
                  <a:cubicBezTo>
                    <a:pt x="5102" y="1083"/>
                    <a:pt x="5102" y="1083"/>
                    <a:pt x="5102" y="1083"/>
                  </a:cubicBezTo>
                  <a:cubicBezTo>
                    <a:pt x="4597" y="752"/>
                    <a:pt x="4597" y="752"/>
                    <a:pt x="4597" y="752"/>
                  </a:cubicBezTo>
                  <a:cubicBezTo>
                    <a:pt x="4244" y="1801"/>
                    <a:pt x="4244" y="1801"/>
                    <a:pt x="4244" y="1801"/>
                  </a:cubicBezTo>
                  <a:cubicBezTo>
                    <a:pt x="4242" y="1817"/>
                    <a:pt x="4242" y="1817"/>
                    <a:pt x="4242" y="1817"/>
                  </a:cubicBezTo>
                  <a:cubicBezTo>
                    <a:pt x="4360" y="1810"/>
                    <a:pt x="4786" y="1790"/>
                    <a:pt x="4830" y="1788"/>
                  </a:cubicBezTo>
                  <a:lnTo>
                    <a:pt x="5064" y="1745"/>
                  </a:lnTo>
                  <a:close/>
                  <a:moveTo>
                    <a:pt x="7186" y="1942"/>
                  </a:moveTo>
                  <a:cubicBezTo>
                    <a:pt x="7185" y="1926"/>
                    <a:pt x="7185" y="1926"/>
                    <a:pt x="7185" y="1926"/>
                  </a:cubicBezTo>
                  <a:cubicBezTo>
                    <a:pt x="6672" y="463"/>
                    <a:pt x="6672" y="463"/>
                    <a:pt x="6672" y="463"/>
                  </a:cubicBezTo>
                  <a:cubicBezTo>
                    <a:pt x="6573" y="483"/>
                    <a:pt x="6487" y="492"/>
                    <a:pt x="6411" y="492"/>
                  </a:cubicBezTo>
                  <a:cubicBezTo>
                    <a:pt x="6411" y="492"/>
                    <a:pt x="6411" y="492"/>
                    <a:pt x="6411" y="492"/>
                  </a:cubicBezTo>
                  <a:cubicBezTo>
                    <a:pt x="6251" y="492"/>
                    <a:pt x="6137" y="456"/>
                    <a:pt x="6040" y="435"/>
                  </a:cubicBezTo>
                  <a:cubicBezTo>
                    <a:pt x="5900" y="404"/>
                    <a:pt x="5154" y="205"/>
                    <a:pt x="5075" y="184"/>
                  </a:cubicBezTo>
                  <a:cubicBezTo>
                    <a:pt x="5071" y="333"/>
                    <a:pt x="5067" y="444"/>
                    <a:pt x="5066" y="458"/>
                  </a:cubicBezTo>
                  <a:cubicBezTo>
                    <a:pt x="5144" y="1135"/>
                    <a:pt x="5144" y="1135"/>
                    <a:pt x="5144" y="1135"/>
                  </a:cubicBezTo>
                  <a:cubicBezTo>
                    <a:pt x="5105" y="1731"/>
                    <a:pt x="5105" y="1731"/>
                    <a:pt x="5105" y="1731"/>
                  </a:cubicBezTo>
                  <a:cubicBezTo>
                    <a:pt x="5108" y="1752"/>
                    <a:pt x="5108" y="1752"/>
                    <a:pt x="5108" y="1752"/>
                  </a:cubicBezTo>
                  <a:cubicBezTo>
                    <a:pt x="5163" y="1764"/>
                    <a:pt x="5297" y="1794"/>
                    <a:pt x="5426" y="1823"/>
                  </a:cubicBezTo>
                  <a:cubicBezTo>
                    <a:pt x="5500" y="1840"/>
                    <a:pt x="5573" y="1857"/>
                    <a:pt x="5628" y="1869"/>
                  </a:cubicBezTo>
                  <a:cubicBezTo>
                    <a:pt x="5655" y="1875"/>
                    <a:pt x="5678" y="1881"/>
                    <a:pt x="5694" y="1884"/>
                  </a:cubicBezTo>
                  <a:cubicBezTo>
                    <a:pt x="5702" y="1886"/>
                    <a:pt x="5708" y="1888"/>
                    <a:pt x="5713" y="1889"/>
                  </a:cubicBezTo>
                  <a:cubicBezTo>
                    <a:pt x="5714" y="1889"/>
                    <a:pt x="5715" y="1889"/>
                    <a:pt x="5715" y="1890"/>
                  </a:cubicBezTo>
                  <a:cubicBezTo>
                    <a:pt x="5777" y="1892"/>
                    <a:pt x="6235" y="1908"/>
                    <a:pt x="6694" y="1924"/>
                  </a:cubicBezTo>
                  <a:cubicBezTo>
                    <a:pt x="6865" y="1931"/>
                    <a:pt x="7036" y="1937"/>
                    <a:pt x="7186" y="1942"/>
                  </a:cubicBezTo>
                  <a:close/>
                  <a:moveTo>
                    <a:pt x="8904" y="889"/>
                  </a:moveTo>
                  <a:cubicBezTo>
                    <a:pt x="8905" y="889"/>
                    <a:pt x="8905" y="889"/>
                    <a:pt x="8905" y="889"/>
                  </a:cubicBezTo>
                  <a:cubicBezTo>
                    <a:pt x="8905" y="889"/>
                    <a:pt x="8905" y="889"/>
                    <a:pt x="8905" y="889"/>
                  </a:cubicBezTo>
                  <a:lnTo>
                    <a:pt x="8904" y="889"/>
                  </a:lnTo>
                  <a:close/>
                  <a:moveTo>
                    <a:pt x="8903" y="895"/>
                  </a:moveTo>
                  <a:cubicBezTo>
                    <a:pt x="8905" y="895"/>
                    <a:pt x="8905" y="895"/>
                    <a:pt x="8905" y="895"/>
                  </a:cubicBezTo>
                  <a:cubicBezTo>
                    <a:pt x="8905" y="895"/>
                    <a:pt x="8905" y="895"/>
                    <a:pt x="8905" y="895"/>
                  </a:cubicBezTo>
                  <a:lnTo>
                    <a:pt x="8903" y="895"/>
                  </a:lnTo>
                  <a:close/>
                  <a:moveTo>
                    <a:pt x="7813" y="974"/>
                  </a:moveTo>
                  <a:cubicBezTo>
                    <a:pt x="7925" y="963"/>
                    <a:pt x="8770" y="883"/>
                    <a:pt x="8903" y="877"/>
                  </a:cubicBezTo>
                  <a:cubicBezTo>
                    <a:pt x="8894" y="806"/>
                    <a:pt x="8887" y="754"/>
                    <a:pt x="8885" y="734"/>
                  </a:cubicBezTo>
                  <a:cubicBezTo>
                    <a:pt x="7652" y="2"/>
                    <a:pt x="7652" y="2"/>
                    <a:pt x="7652" y="2"/>
                  </a:cubicBezTo>
                  <a:cubicBezTo>
                    <a:pt x="7574" y="144"/>
                    <a:pt x="7574" y="144"/>
                    <a:pt x="7574" y="144"/>
                  </a:cubicBezTo>
                  <a:cubicBezTo>
                    <a:pt x="7574" y="145"/>
                    <a:pt x="7573" y="147"/>
                    <a:pt x="7571" y="151"/>
                  </a:cubicBezTo>
                  <a:cubicBezTo>
                    <a:pt x="7566" y="168"/>
                    <a:pt x="7554" y="211"/>
                    <a:pt x="7554" y="275"/>
                  </a:cubicBezTo>
                  <a:cubicBezTo>
                    <a:pt x="7554" y="337"/>
                    <a:pt x="7565" y="417"/>
                    <a:pt x="7603" y="513"/>
                  </a:cubicBezTo>
                  <a:cubicBezTo>
                    <a:pt x="7650" y="628"/>
                    <a:pt x="7704" y="746"/>
                    <a:pt x="7746" y="836"/>
                  </a:cubicBezTo>
                  <a:cubicBezTo>
                    <a:pt x="7778" y="902"/>
                    <a:pt x="7803" y="953"/>
                    <a:pt x="7813" y="974"/>
                  </a:cubicBezTo>
                  <a:close/>
                  <a:moveTo>
                    <a:pt x="7883" y="1976"/>
                  </a:moveTo>
                  <a:cubicBezTo>
                    <a:pt x="7920" y="1981"/>
                    <a:pt x="8367" y="2047"/>
                    <a:pt x="8875" y="2123"/>
                  </a:cubicBezTo>
                  <a:cubicBezTo>
                    <a:pt x="8877" y="2121"/>
                    <a:pt x="8885" y="2110"/>
                    <a:pt x="8891" y="2104"/>
                  </a:cubicBezTo>
                  <a:cubicBezTo>
                    <a:pt x="8894" y="2100"/>
                    <a:pt x="8896" y="2095"/>
                    <a:pt x="8899" y="2090"/>
                  </a:cubicBezTo>
                  <a:cubicBezTo>
                    <a:pt x="8932" y="2028"/>
                    <a:pt x="8997" y="1879"/>
                    <a:pt x="8997" y="1695"/>
                  </a:cubicBezTo>
                  <a:cubicBezTo>
                    <a:pt x="8997" y="1668"/>
                    <a:pt x="8996" y="1640"/>
                    <a:pt x="8993" y="1611"/>
                  </a:cubicBezTo>
                  <a:cubicBezTo>
                    <a:pt x="8976" y="1464"/>
                    <a:pt x="8949" y="1243"/>
                    <a:pt x="8926" y="1058"/>
                  </a:cubicBezTo>
                  <a:cubicBezTo>
                    <a:pt x="8919" y="1006"/>
                    <a:pt x="8913" y="956"/>
                    <a:pt x="8908" y="913"/>
                  </a:cubicBezTo>
                  <a:cubicBezTo>
                    <a:pt x="8848" y="915"/>
                    <a:pt x="8586" y="938"/>
                    <a:pt x="8334" y="961"/>
                  </a:cubicBezTo>
                  <a:cubicBezTo>
                    <a:pt x="8106" y="982"/>
                    <a:pt x="7885" y="1003"/>
                    <a:pt x="7823" y="1009"/>
                  </a:cubicBezTo>
                  <a:cubicBezTo>
                    <a:pt x="7899" y="1709"/>
                    <a:pt x="7899" y="1709"/>
                    <a:pt x="7899" y="1709"/>
                  </a:cubicBezTo>
                  <a:cubicBezTo>
                    <a:pt x="7810" y="1952"/>
                    <a:pt x="7810" y="1952"/>
                    <a:pt x="7810" y="1952"/>
                  </a:cubicBezTo>
                  <a:cubicBezTo>
                    <a:pt x="7811" y="1968"/>
                    <a:pt x="7811" y="1968"/>
                    <a:pt x="7811" y="1968"/>
                  </a:cubicBezTo>
                  <a:cubicBezTo>
                    <a:pt x="7835" y="1970"/>
                    <a:pt x="7859" y="1973"/>
                    <a:pt x="7883" y="1976"/>
                  </a:cubicBezTo>
                  <a:close/>
                  <a:moveTo>
                    <a:pt x="8925" y="2130"/>
                  </a:moveTo>
                  <a:cubicBezTo>
                    <a:pt x="9249" y="2178"/>
                    <a:pt x="9593" y="2230"/>
                    <a:pt x="9870" y="2271"/>
                  </a:cubicBezTo>
                  <a:cubicBezTo>
                    <a:pt x="9877" y="2258"/>
                    <a:pt x="9877" y="2258"/>
                    <a:pt x="9877" y="2258"/>
                  </a:cubicBezTo>
                  <a:cubicBezTo>
                    <a:pt x="9999" y="1900"/>
                    <a:pt x="9999" y="1900"/>
                    <a:pt x="9999" y="1900"/>
                  </a:cubicBezTo>
                  <a:cubicBezTo>
                    <a:pt x="10155" y="1772"/>
                    <a:pt x="10155" y="1772"/>
                    <a:pt x="10155" y="1772"/>
                  </a:cubicBezTo>
                  <a:cubicBezTo>
                    <a:pt x="10131" y="1101"/>
                    <a:pt x="10131" y="1101"/>
                    <a:pt x="10131" y="1101"/>
                  </a:cubicBezTo>
                  <a:cubicBezTo>
                    <a:pt x="10265" y="927"/>
                    <a:pt x="10265" y="927"/>
                    <a:pt x="10265" y="927"/>
                  </a:cubicBezTo>
                  <a:cubicBezTo>
                    <a:pt x="10260" y="868"/>
                    <a:pt x="10216" y="426"/>
                    <a:pt x="10207" y="336"/>
                  </a:cubicBezTo>
                  <a:cubicBezTo>
                    <a:pt x="9188" y="321"/>
                    <a:pt x="9188" y="321"/>
                    <a:pt x="9188" y="321"/>
                  </a:cubicBezTo>
                  <a:cubicBezTo>
                    <a:pt x="9170" y="348"/>
                    <a:pt x="9114" y="435"/>
                    <a:pt x="9057" y="522"/>
                  </a:cubicBezTo>
                  <a:cubicBezTo>
                    <a:pt x="9022" y="574"/>
                    <a:pt x="8987" y="626"/>
                    <a:pt x="8960" y="666"/>
                  </a:cubicBezTo>
                  <a:cubicBezTo>
                    <a:pt x="8947" y="686"/>
                    <a:pt x="8935" y="703"/>
                    <a:pt x="8927" y="715"/>
                  </a:cubicBezTo>
                  <a:cubicBezTo>
                    <a:pt x="8924" y="718"/>
                    <a:pt x="8922" y="721"/>
                    <a:pt x="8920" y="724"/>
                  </a:cubicBezTo>
                  <a:cubicBezTo>
                    <a:pt x="8925" y="767"/>
                    <a:pt x="8997" y="1324"/>
                    <a:pt x="9028" y="1607"/>
                  </a:cubicBezTo>
                  <a:cubicBezTo>
                    <a:pt x="9032" y="1637"/>
                    <a:pt x="9033" y="1666"/>
                    <a:pt x="9033" y="1695"/>
                  </a:cubicBezTo>
                  <a:cubicBezTo>
                    <a:pt x="9033" y="1887"/>
                    <a:pt x="8965" y="2041"/>
                    <a:pt x="8931" y="2107"/>
                  </a:cubicBezTo>
                  <a:lnTo>
                    <a:pt x="8925" y="2130"/>
                  </a:lnTo>
                  <a:close/>
                  <a:moveTo>
                    <a:pt x="13133" y="2349"/>
                  </a:moveTo>
                  <a:cubicBezTo>
                    <a:pt x="12120" y="1948"/>
                    <a:pt x="12120" y="1948"/>
                    <a:pt x="12120" y="1948"/>
                  </a:cubicBezTo>
                  <a:cubicBezTo>
                    <a:pt x="11924" y="657"/>
                    <a:pt x="11924" y="657"/>
                    <a:pt x="11924" y="657"/>
                  </a:cubicBezTo>
                  <a:cubicBezTo>
                    <a:pt x="10294" y="949"/>
                    <a:pt x="10294" y="949"/>
                    <a:pt x="10294" y="949"/>
                  </a:cubicBezTo>
                  <a:cubicBezTo>
                    <a:pt x="10167" y="1113"/>
                    <a:pt x="10167" y="1113"/>
                    <a:pt x="10167" y="1113"/>
                  </a:cubicBezTo>
                  <a:cubicBezTo>
                    <a:pt x="10192" y="1789"/>
                    <a:pt x="10192" y="1789"/>
                    <a:pt x="10192" y="1789"/>
                  </a:cubicBezTo>
                  <a:cubicBezTo>
                    <a:pt x="10030" y="1922"/>
                    <a:pt x="10030" y="1922"/>
                    <a:pt x="10030" y="1922"/>
                  </a:cubicBezTo>
                  <a:cubicBezTo>
                    <a:pt x="9916" y="2256"/>
                    <a:pt x="9916" y="2256"/>
                    <a:pt x="9916" y="2256"/>
                  </a:cubicBezTo>
                  <a:cubicBezTo>
                    <a:pt x="9914" y="2277"/>
                    <a:pt x="9914" y="2277"/>
                    <a:pt x="9914" y="2277"/>
                  </a:cubicBezTo>
                  <a:cubicBezTo>
                    <a:pt x="10204" y="2321"/>
                    <a:pt x="10411" y="2351"/>
                    <a:pt x="10426" y="2354"/>
                  </a:cubicBezTo>
                  <a:cubicBezTo>
                    <a:pt x="10442" y="2356"/>
                    <a:pt x="10604" y="2375"/>
                    <a:pt x="10764" y="2447"/>
                  </a:cubicBezTo>
                  <a:cubicBezTo>
                    <a:pt x="10928" y="2521"/>
                    <a:pt x="11492" y="2837"/>
                    <a:pt x="11647" y="2935"/>
                  </a:cubicBezTo>
                  <a:cubicBezTo>
                    <a:pt x="12574" y="3529"/>
                    <a:pt x="12574" y="3529"/>
                    <a:pt x="12574" y="3529"/>
                  </a:cubicBezTo>
                  <a:cubicBezTo>
                    <a:pt x="12718" y="3229"/>
                    <a:pt x="12853" y="2944"/>
                    <a:pt x="12956" y="2726"/>
                  </a:cubicBezTo>
                  <a:cubicBezTo>
                    <a:pt x="13045" y="2536"/>
                    <a:pt x="13110" y="2399"/>
                    <a:pt x="13133" y="23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grpSp>
      <p:sp>
        <p:nvSpPr>
          <p:cNvPr id="2" name="***Titel 1"/>
          <p:cNvSpPr>
            <a:spLocks noGrp="1" noSelect="1"/>
          </p:cNvSpPr>
          <p:nvPr>
            <p:ph type="ctrTitle" hasCustomPrompt="1"/>
          </p:nvPr>
        </p:nvSpPr>
        <p:spPr bwMode="gray">
          <a:xfrm>
            <a:off x="1152000" y="3831183"/>
            <a:ext cx="10404000" cy="1470025"/>
          </a:xfrm>
        </p:spPr>
        <p:txBody>
          <a:bodyPr anchor="t" anchorCtr="0"/>
          <a:lstStyle>
            <a:lvl1pPr algn="l">
              <a:lnSpc>
                <a:spcPct val="96000"/>
              </a:lnSpc>
              <a:defRPr sz="4700" b="0" spc="-180" baseline="0">
                <a:latin typeface="Univers" panose="020B0603020202030204" pitchFamily="34" charset="0"/>
              </a:defRPr>
            </a:lvl1pPr>
          </a:lstStyle>
          <a:p>
            <a:r>
              <a:rPr lang="nl-NL" noProof="1"/>
              <a:t>[Titel,</a:t>
            </a:r>
            <a:br>
              <a:rPr lang="nl-NL" noProof="1"/>
            </a:br>
            <a:r>
              <a:rPr lang="nl-NL" noProof="1"/>
              <a:t>maximaal 2 regels]</a:t>
            </a:r>
          </a:p>
        </p:txBody>
      </p:sp>
      <p:grpSp>
        <p:nvGrpSpPr>
          <p:cNvPr id="17" name="logo">
            <a:extLst>
              <a:ext uri="{FF2B5EF4-FFF2-40B4-BE49-F238E27FC236}">
                <a16:creationId xmlns:a16="http://schemas.microsoft.com/office/drawing/2014/main" id="{3D914ECC-8068-414F-AA0F-262DD3112D62}"/>
              </a:ext>
            </a:extLst>
          </p:cNvPr>
          <p:cNvGrpSpPr>
            <a:grpSpLocks noSelect="1" noChangeAspect="1"/>
          </p:cNvGrpSpPr>
          <p:nvPr userDrawn="1"/>
        </p:nvGrpSpPr>
        <p:grpSpPr bwMode="gray">
          <a:xfrm>
            <a:off x="638175" y="6030913"/>
            <a:ext cx="2481263" cy="508000"/>
            <a:chOff x="402" y="3799"/>
            <a:chExt cx="1563" cy="320"/>
          </a:xfrm>
        </p:grpSpPr>
        <p:sp>
          <p:nvSpPr>
            <p:cNvPr id="18" name="Freeform 21">
              <a:extLst>
                <a:ext uri="{FF2B5EF4-FFF2-40B4-BE49-F238E27FC236}">
                  <a16:creationId xmlns:a16="http://schemas.microsoft.com/office/drawing/2014/main" id="{B89CFD78-1671-45B4-A5BB-E8CDF8C13424}"/>
                </a:ext>
              </a:extLst>
            </p:cNvPr>
            <p:cNvSpPr>
              <a:spLocks noSelect="1"/>
            </p:cNvSpPr>
            <p:nvPr userDrawn="1"/>
          </p:nvSpPr>
          <p:spPr bwMode="gray">
            <a:xfrm>
              <a:off x="722" y="3799"/>
              <a:ext cx="1243" cy="320"/>
            </a:xfrm>
            <a:custGeom>
              <a:avLst/>
              <a:gdLst>
                <a:gd name="T0" fmla="*/ 92 w 6217"/>
                <a:gd name="T1" fmla="*/ 0 h 1604"/>
                <a:gd name="T2" fmla="*/ 92 w 6217"/>
                <a:gd name="T3" fmla="*/ 525 h 1604"/>
                <a:gd name="T4" fmla="*/ 762 w 6217"/>
                <a:gd name="T5" fmla="*/ 330 h 1604"/>
                <a:gd name="T6" fmla="*/ 957 w 6217"/>
                <a:gd name="T7" fmla="*/ 729 h 1604"/>
                <a:gd name="T8" fmla="*/ 1912 w 6217"/>
                <a:gd name="T9" fmla="*/ 0 h 1604"/>
                <a:gd name="T10" fmla="*/ 1821 w 6217"/>
                <a:gd name="T11" fmla="*/ 525 h 1604"/>
                <a:gd name="T12" fmla="*/ 3952 w 6217"/>
                <a:gd name="T13" fmla="*/ 1512 h 1604"/>
                <a:gd name="T14" fmla="*/ 3958 w 6217"/>
                <a:gd name="T15" fmla="*/ 1482 h 1604"/>
                <a:gd name="T16" fmla="*/ 4276 w 6217"/>
                <a:gd name="T17" fmla="*/ 1472 h 1604"/>
                <a:gd name="T18" fmla="*/ 4192 w 6217"/>
                <a:gd name="T19" fmla="*/ 1341 h 1604"/>
                <a:gd name="T20" fmla="*/ 4342 w 6217"/>
                <a:gd name="T21" fmla="*/ 1317 h 1604"/>
                <a:gd name="T22" fmla="*/ 4671 w 6217"/>
                <a:gd name="T23" fmla="*/ 1454 h 1604"/>
                <a:gd name="T24" fmla="*/ 4667 w 6217"/>
                <a:gd name="T25" fmla="*/ 1395 h 1604"/>
                <a:gd name="T26" fmla="*/ 4833 w 6217"/>
                <a:gd name="T27" fmla="*/ 1412 h 1604"/>
                <a:gd name="T28" fmla="*/ 4934 w 6217"/>
                <a:gd name="T29" fmla="*/ 1482 h 1604"/>
                <a:gd name="T30" fmla="*/ 5113 w 6217"/>
                <a:gd name="T31" fmla="*/ 1473 h 1604"/>
                <a:gd name="T32" fmla="*/ 5247 w 6217"/>
                <a:gd name="T33" fmla="*/ 1412 h 1604"/>
                <a:gd name="T34" fmla="*/ 5486 w 6217"/>
                <a:gd name="T35" fmla="*/ 1507 h 1604"/>
                <a:gd name="T36" fmla="*/ 5325 w 6217"/>
                <a:gd name="T37" fmla="*/ 1317 h 1604"/>
                <a:gd name="T38" fmla="*/ 5756 w 6217"/>
                <a:gd name="T39" fmla="*/ 1312 h 1604"/>
                <a:gd name="T40" fmla="*/ 5846 w 6217"/>
                <a:gd name="T41" fmla="*/ 1411 h 1604"/>
                <a:gd name="T42" fmla="*/ 6025 w 6217"/>
                <a:gd name="T43" fmla="*/ 1507 h 1604"/>
                <a:gd name="T44" fmla="*/ 5919 w 6217"/>
                <a:gd name="T45" fmla="*/ 1317 h 1604"/>
                <a:gd name="T46" fmla="*/ 6128 w 6217"/>
                <a:gd name="T47" fmla="*/ 1343 h 1604"/>
                <a:gd name="T48" fmla="*/ 6215 w 6217"/>
                <a:gd name="T49" fmla="*/ 1343 h 1604"/>
                <a:gd name="T50" fmla="*/ 2173 w 6217"/>
                <a:gd name="T51" fmla="*/ 1344 h 1604"/>
                <a:gd name="T52" fmla="*/ 2342 w 6217"/>
                <a:gd name="T53" fmla="*/ 1412 h 1604"/>
                <a:gd name="T54" fmla="*/ 2491 w 6217"/>
                <a:gd name="T55" fmla="*/ 1314 h 1604"/>
                <a:gd name="T56" fmla="*/ 2413 w 6217"/>
                <a:gd name="T57" fmla="*/ 1317 h 1604"/>
                <a:gd name="T58" fmla="*/ 2606 w 6217"/>
                <a:gd name="T59" fmla="*/ 1312 h 1604"/>
                <a:gd name="T60" fmla="*/ 2784 w 6217"/>
                <a:gd name="T61" fmla="*/ 1344 h 1604"/>
                <a:gd name="T62" fmla="*/ 2953 w 6217"/>
                <a:gd name="T63" fmla="*/ 1412 h 1604"/>
                <a:gd name="T64" fmla="*/ 2988 w 6217"/>
                <a:gd name="T65" fmla="*/ 1412 h 1604"/>
                <a:gd name="T66" fmla="*/ 3086 w 6217"/>
                <a:gd name="T67" fmla="*/ 1312 h 1604"/>
                <a:gd name="T68" fmla="*/ 3316 w 6217"/>
                <a:gd name="T69" fmla="*/ 1343 h 1604"/>
                <a:gd name="T70" fmla="*/ 3258 w 6217"/>
                <a:gd name="T71" fmla="*/ 1348 h 1604"/>
                <a:gd name="T72" fmla="*/ 3363 w 6217"/>
                <a:gd name="T73" fmla="*/ 1317 h 1604"/>
                <a:gd name="T74" fmla="*/ 3436 w 6217"/>
                <a:gd name="T75" fmla="*/ 1439 h 1604"/>
                <a:gd name="T76" fmla="*/ 3529 w 6217"/>
                <a:gd name="T77" fmla="*/ 1572 h 1604"/>
                <a:gd name="T78" fmla="*/ 3674 w 6217"/>
                <a:gd name="T79" fmla="*/ 1317 h 1604"/>
                <a:gd name="T80" fmla="*/ 32 w 6217"/>
                <a:gd name="T81" fmla="*/ 1473 h 1604"/>
                <a:gd name="T82" fmla="*/ 167 w 6217"/>
                <a:gd name="T83" fmla="*/ 1412 h 1604"/>
                <a:gd name="T84" fmla="*/ 266 w 6217"/>
                <a:gd name="T85" fmla="*/ 1412 h 1604"/>
                <a:gd name="T86" fmla="*/ 608 w 6217"/>
                <a:gd name="T87" fmla="*/ 1476 h 1604"/>
                <a:gd name="T88" fmla="*/ 606 w 6217"/>
                <a:gd name="T89" fmla="*/ 1317 h 1604"/>
                <a:gd name="T90" fmla="*/ 1032 w 6217"/>
                <a:gd name="T91" fmla="*/ 1507 h 1604"/>
                <a:gd name="T92" fmla="*/ 814 w 6217"/>
                <a:gd name="T93" fmla="*/ 1361 h 1604"/>
                <a:gd name="T94" fmla="*/ 833 w 6217"/>
                <a:gd name="T95" fmla="*/ 1317 h 1604"/>
                <a:gd name="T96" fmla="*/ 1068 w 6217"/>
                <a:gd name="T97" fmla="*/ 1195 h 1604"/>
                <a:gd name="T98" fmla="*/ 1293 w 6217"/>
                <a:gd name="T99" fmla="*/ 1412 h 1604"/>
                <a:gd name="T100" fmla="*/ 1497 w 6217"/>
                <a:gd name="T101" fmla="*/ 1507 h 1604"/>
                <a:gd name="T102" fmla="*/ 1330 w 6217"/>
                <a:gd name="T103" fmla="*/ 1317 h 1604"/>
                <a:gd name="T104" fmla="*/ 1638 w 6217"/>
                <a:gd name="T105" fmla="*/ 1312 h 1604"/>
                <a:gd name="T106" fmla="*/ 1707 w 6217"/>
                <a:gd name="T107" fmla="*/ 1200 h 1604"/>
                <a:gd name="T108" fmla="*/ 1854 w 6217"/>
                <a:gd name="T109" fmla="*/ 1512 h 1604"/>
                <a:gd name="T110" fmla="*/ 1923 w 6217"/>
                <a:gd name="T111" fmla="*/ 1346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17" h="1604">
                  <a:moveTo>
                    <a:pt x="92" y="702"/>
                  </a:moveTo>
                  <a:cubicBezTo>
                    <a:pt x="94" y="702"/>
                    <a:pt x="94" y="702"/>
                    <a:pt x="94" y="702"/>
                  </a:cubicBezTo>
                  <a:cubicBezTo>
                    <a:pt x="128" y="764"/>
                    <a:pt x="207" y="814"/>
                    <a:pt x="305" y="814"/>
                  </a:cubicBezTo>
                  <a:cubicBezTo>
                    <a:pt x="459" y="814"/>
                    <a:pt x="580" y="689"/>
                    <a:pt x="580" y="525"/>
                  </a:cubicBezTo>
                  <a:cubicBezTo>
                    <a:pt x="580" y="358"/>
                    <a:pt x="464" y="236"/>
                    <a:pt x="291" y="236"/>
                  </a:cubicBezTo>
                  <a:cubicBezTo>
                    <a:pt x="212" y="236"/>
                    <a:pt x="145" y="271"/>
                    <a:pt x="94" y="330"/>
                  </a:cubicBezTo>
                  <a:cubicBezTo>
                    <a:pt x="92" y="330"/>
                    <a:pt x="92" y="330"/>
                    <a:pt x="92" y="330"/>
                  </a:cubicBezTo>
                  <a:cubicBezTo>
                    <a:pt x="92" y="0"/>
                    <a:pt x="92" y="0"/>
                    <a:pt x="92" y="0"/>
                  </a:cubicBezTo>
                  <a:cubicBezTo>
                    <a:pt x="0" y="0"/>
                    <a:pt x="0" y="0"/>
                    <a:pt x="0" y="0"/>
                  </a:cubicBezTo>
                  <a:cubicBezTo>
                    <a:pt x="0" y="799"/>
                    <a:pt x="0" y="799"/>
                    <a:pt x="0" y="799"/>
                  </a:cubicBezTo>
                  <a:cubicBezTo>
                    <a:pt x="92" y="799"/>
                    <a:pt x="92" y="799"/>
                    <a:pt x="92" y="799"/>
                  </a:cubicBezTo>
                  <a:lnTo>
                    <a:pt x="92" y="702"/>
                  </a:lnTo>
                  <a:close/>
                  <a:moveTo>
                    <a:pt x="287" y="320"/>
                  </a:moveTo>
                  <a:cubicBezTo>
                    <a:pt x="405" y="320"/>
                    <a:pt x="482" y="410"/>
                    <a:pt x="482" y="525"/>
                  </a:cubicBezTo>
                  <a:cubicBezTo>
                    <a:pt x="482" y="640"/>
                    <a:pt x="405" y="729"/>
                    <a:pt x="287" y="729"/>
                  </a:cubicBezTo>
                  <a:cubicBezTo>
                    <a:pt x="168" y="729"/>
                    <a:pt x="92" y="640"/>
                    <a:pt x="92" y="525"/>
                  </a:cubicBezTo>
                  <a:cubicBezTo>
                    <a:pt x="92" y="410"/>
                    <a:pt x="168" y="320"/>
                    <a:pt x="287" y="320"/>
                  </a:cubicBezTo>
                  <a:close/>
                  <a:moveTo>
                    <a:pt x="762" y="702"/>
                  </a:moveTo>
                  <a:cubicBezTo>
                    <a:pt x="765" y="702"/>
                    <a:pt x="765" y="702"/>
                    <a:pt x="765" y="702"/>
                  </a:cubicBezTo>
                  <a:cubicBezTo>
                    <a:pt x="799" y="764"/>
                    <a:pt x="877" y="813"/>
                    <a:pt x="976" y="813"/>
                  </a:cubicBezTo>
                  <a:cubicBezTo>
                    <a:pt x="1130" y="813"/>
                    <a:pt x="1251" y="689"/>
                    <a:pt x="1251" y="525"/>
                  </a:cubicBezTo>
                  <a:cubicBezTo>
                    <a:pt x="1251" y="358"/>
                    <a:pt x="1135" y="236"/>
                    <a:pt x="962" y="236"/>
                  </a:cubicBezTo>
                  <a:cubicBezTo>
                    <a:pt x="882" y="236"/>
                    <a:pt x="815" y="271"/>
                    <a:pt x="765" y="330"/>
                  </a:cubicBezTo>
                  <a:cubicBezTo>
                    <a:pt x="762" y="330"/>
                    <a:pt x="762" y="330"/>
                    <a:pt x="762" y="330"/>
                  </a:cubicBezTo>
                  <a:cubicBezTo>
                    <a:pt x="762" y="250"/>
                    <a:pt x="762" y="250"/>
                    <a:pt x="762" y="250"/>
                  </a:cubicBezTo>
                  <a:cubicBezTo>
                    <a:pt x="671" y="250"/>
                    <a:pt x="671" y="250"/>
                    <a:pt x="671" y="250"/>
                  </a:cubicBezTo>
                  <a:cubicBezTo>
                    <a:pt x="671" y="1057"/>
                    <a:pt x="671" y="1057"/>
                    <a:pt x="671" y="1057"/>
                  </a:cubicBezTo>
                  <a:cubicBezTo>
                    <a:pt x="762" y="1057"/>
                    <a:pt x="762" y="1057"/>
                    <a:pt x="762" y="1057"/>
                  </a:cubicBezTo>
                  <a:lnTo>
                    <a:pt x="762" y="702"/>
                  </a:lnTo>
                  <a:close/>
                  <a:moveTo>
                    <a:pt x="957" y="320"/>
                  </a:moveTo>
                  <a:cubicBezTo>
                    <a:pt x="1076" y="320"/>
                    <a:pt x="1152" y="410"/>
                    <a:pt x="1152" y="525"/>
                  </a:cubicBezTo>
                  <a:cubicBezTo>
                    <a:pt x="1152" y="640"/>
                    <a:pt x="1076" y="729"/>
                    <a:pt x="957" y="729"/>
                  </a:cubicBezTo>
                  <a:cubicBezTo>
                    <a:pt x="839" y="729"/>
                    <a:pt x="762" y="640"/>
                    <a:pt x="762" y="525"/>
                  </a:cubicBezTo>
                  <a:cubicBezTo>
                    <a:pt x="762" y="410"/>
                    <a:pt x="839" y="320"/>
                    <a:pt x="957" y="320"/>
                  </a:cubicBezTo>
                  <a:close/>
                  <a:moveTo>
                    <a:pt x="1607" y="813"/>
                  </a:moveTo>
                  <a:cubicBezTo>
                    <a:pt x="1706" y="813"/>
                    <a:pt x="1785" y="764"/>
                    <a:pt x="1819" y="702"/>
                  </a:cubicBezTo>
                  <a:cubicBezTo>
                    <a:pt x="1821" y="702"/>
                    <a:pt x="1821" y="702"/>
                    <a:pt x="1821" y="702"/>
                  </a:cubicBezTo>
                  <a:cubicBezTo>
                    <a:pt x="1821" y="799"/>
                    <a:pt x="1821" y="799"/>
                    <a:pt x="1821" y="799"/>
                  </a:cubicBezTo>
                  <a:cubicBezTo>
                    <a:pt x="1912" y="799"/>
                    <a:pt x="1912" y="799"/>
                    <a:pt x="1912" y="799"/>
                  </a:cubicBezTo>
                  <a:cubicBezTo>
                    <a:pt x="1912" y="0"/>
                    <a:pt x="1912" y="0"/>
                    <a:pt x="1912" y="0"/>
                  </a:cubicBezTo>
                  <a:cubicBezTo>
                    <a:pt x="1821" y="0"/>
                    <a:pt x="1821" y="0"/>
                    <a:pt x="1821" y="0"/>
                  </a:cubicBezTo>
                  <a:cubicBezTo>
                    <a:pt x="1821" y="330"/>
                    <a:pt x="1821" y="330"/>
                    <a:pt x="1821" y="330"/>
                  </a:cubicBezTo>
                  <a:cubicBezTo>
                    <a:pt x="1819" y="330"/>
                    <a:pt x="1819" y="330"/>
                    <a:pt x="1819" y="330"/>
                  </a:cubicBezTo>
                  <a:cubicBezTo>
                    <a:pt x="1768" y="271"/>
                    <a:pt x="1701" y="236"/>
                    <a:pt x="1621" y="236"/>
                  </a:cubicBezTo>
                  <a:cubicBezTo>
                    <a:pt x="1449" y="236"/>
                    <a:pt x="1333" y="358"/>
                    <a:pt x="1333" y="525"/>
                  </a:cubicBezTo>
                  <a:cubicBezTo>
                    <a:pt x="1333" y="689"/>
                    <a:pt x="1454" y="813"/>
                    <a:pt x="1607" y="813"/>
                  </a:cubicBezTo>
                  <a:close/>
                  <a:moveTo>
                    <a:pt x="1626" y="320"/>
                  </a:moveTo>
                  <a:cubicBezTo>
                    <a:pt x="1745" y="320"/>
                    <a:pt x="1821" y="410"/>
                    <a:pt x="1821" y="525"/>
                  </a:cubicBezTo>
                  <a:cubicBezTo>
                    <a:pt x="1821" y="640"/>
                    <a:pt x="1745" y="729"/>
                    <a:pt x="1626" y="729"/>
                  </a:cubicBezTo>
                  <a:cubicBezTo>
                    <a:pt x="1507" y="729"/>
                    <a:pt x="1431" y="640"/>
                    <a:pt x="1431" y="525"/>
                  </a:cubicBezTo>
                  <a:cubicBezTo>
                    <a:pt x="1431" y="410"/>
                    <a:pt x="1507" y="320"/>
                    <a:pt x="1626" y="320"/>
                  </a:cubicBezTo>
                  <a:close/>
                  <a:moveTo>
                    <a:pt x="4026" y="1344"/>
                  </a:moveTo>
                  <a:cubicBezTo>
                    <a:pt x="4025" y="1344"/>
                    <a:pt x="4025" y="1344"/>
                    <a:pt x="4025" y="1344"/>
                  </a:cubicBezTo>
                  <a:cubicBezTo>
                    <a:pt x="4007" y="1324"/>
                    <a:pt x="3984" y="1312"/>
                    <a:pt x="3957" y="1312"/>
                  </a:cubicBezTo>
                  <a:cubicBezTo>
                    <a:pt x="3897" y="1312"/>
                    <a:pt x="3857" y="1354"/>
                    <a:pt x="3857" y="1412"/>
                  </a:cubicBezTo>
                  <a:cubicBezTo>
                    <a:pt x="3857" y="1469"/>
                    <a:pt x="3898" y="1512"/>
                    <a:pt x="3952" y="1512"/>
                  </a:cubicBezTo>
                  <a:cubicBezTo>
                    <a:pt x="3986" y="1512"/>
                    <a:pt x="4013" y="1495"/>
                    <a:pt x="4025" y="1473"/>
                  </a:cubicBezTo>
                  <a:cubicBezTo>
                    <a:pt x="4026" y="1473"/>
                    <a:pt x="4026" y="1473"/>
                    <a:pt x="4026" y="1473"/>
                  </a:cubicBezTo>
                  <a:cubicBezTo>
                    <a:pt x="4026" y="1507"/>
                    <a:pt x="4026" y="1507"/>
                    <a:pt x="4026" y="1507"/>
                  </a:cubicBezTo>
                  <a:cubicBezTo>
                    <a:pt x="4057" y="1507"/>
                    <a:pt x="4057" y="1507"/>
                    <a:pt x="4057" y="1507"/>
                  </a:cubicBezTo>
                  <a:cubicBezTo>
                    <a:pt x="4057" y="1200"/>
                    <a:pt x="4057" y="1200"/>
                    <a:pt x="4057" y="1200"/>
                  </a:cubicBezTo>
                  <a:cubicBezTo>
                    <a:pt x="4026" y="1200"/>
                    <a:pt x="4026" y="1200"/>
                    <a:pt x="4026" y="1200"/>
                  </a:cubicBezTo>
                  <a:lnTo>
                    <a:pt x="4026" y="1344"/>
                  </a:lnTo>
                  <a:close/>
                  <a:moveTo>
                    <a:pt x="3958" y="1482"/>
                  </a:moveTo>
                  <a:cubicBezTo>
                    <a:pt x="3917" y="1482"/>
                    <a:pt x="3891" y="1452"/>
                    <a:pt x="3891" y="1412"/>
                  </a:cubicBezTo>
                  <a:cubicBezTo>
                    <a:pt x="3891" y="1372"/>
                    <a:pt x="3917" y="1341"/>
                    <a:pt x="3958" y="1341"/>
                  </a:cubicBezTo>
                  <a:cubicBezTo>
                    <a:pt x="3999" y="1341"/>
                    <a:pt x="4026" y="1372"/>
                    <a:pt x="4026" y="1412"/>
                  </a:cubicBezTo>
                  <a:cubicBezTo>
                    <a:pt x="4026" y="1452"/>
                    <a:pt x="3999" y="1482"/>
                    <a:pt x="3958" y="1482"/>
                  </a:cubicBezTo>
                  <a:close/>
                  <a:moveTo>
                    <a:pt x="4193" y="1312"/>
                  </a:moveTo>
                  <a:cubicBezTo>
                    <a:pt x="4137" y="1312"/>
                    <a:pt x="4095" y="1353"/>
                    <a:pt x="4095" y="1412"/>
                  </a:cubicBezTo>
                  <a:cubicBezTo>
                    <a:pt x="4095" y="1467"/>
                    <a:pt x="4132" y="1512"/>
                    <a:pt x="4192" y="1512"/>
                  </a:cubicBezTo>
                  <a:cubicBezTo>
                    <a:pt x="4227" y="1512"/>
                    <a:pt x="4254" y="1501"/>
                    <a:pt x="4276" y="1472"/>
                  </a:cubicBezTo>
                  <a:cubicBezTo>
                    <a:pt x="4252" y="1454"/>
                    <a:pt x="4252" y="1454"/>
                    <a:pt x="4252" y="1454"/>
                  </a:cubicBezTo>
                  <a:cubicBezTo>
                    <a:pt x="4237" y="1473"/>
                    <a:pt x="4219" y="1482"/>
                    <a:pt x="4192" y="1482"/>
                  </a:cubicBezTo>
                  <a:cubicBezTo>
                    <a:pt x="4157" y="1482"/>
                    <a:pt x="4132" y="1454"/>
                    <a:pt x="4129" y="1421"/>
                  </a:cubicBezTo>
                  <a:cubicBezTo>
                    <a:pt x="4283" y="1421"/>
                    <a:pt x="4283" y="1421"/>
                    <a:pt x="4283" y="1421"/>
                  </a:cubicBezTo>
                  <a:cubicBezTo>
                    <a:pt x="4283" y="1411"/>
                    <a:pt x="4283" y="1411"/>
                    <a:pt x="4283" y="1411"/>
                  </a:cubicBezTo>
                  <a:cubicBezTo>
                    <a:pt x="4283" y="1348"/>
                    <a:pt x="4246" y="1312"/>
                    <a:pt x="4193" y="1312"/>
                  </a:cubicBezTo>
                  <a:close/>
                  <a:moveTo>
                    <a:pt x="4129" y="1395"/>
                  </a:moveTo>
                  <a:cubicBezTo>
                    <a:pt x="4133" y="1363"/>
                    <a:pt x="4157" y="1341"/>
                    <a:pt x="4192" y="1341"/>
                  </a:cubicBezTo>
                  <a:cubicBezTo>
                    <a:pt x="4227" y="1341"/>
                    <a:pt x="4248" y="1363"/>
                    <a:pt x="4249" y="1395"/>
                  </a:cubicBezTo>
                  <a:lnTo>
                    <a:pt x="4129" y="1395"/>
                  </a:lnTo>
                  <a:close/>
                  <a:moveTo>
                    <a:pt x="4459" y="1317"/>
                  </a:moveTo>
                  <a:cubicBezTo>
                    <a:pt x="4493" y="1317"/>
                    <a:pt x="4493" y="1317"/>
                    <a:pt x="4493" y="1317"/>
                  </a:cubicBezTo>
                  <a:cubicBezTo>
                    <a:pt x="4418" y="1507"/>
                    <a:pt x="4418" y="1507"/>
                    <a:pt x="4418" y="1507"/>
                  </a:cubicBezTo>
                  <a:cubicBezTo>
                    <a:pt x="4383" y="1507"/>
                    <a:pt x="4383" y="1507"/>
                    <a:pt x="4383" y="1507"/>
                  </a:cubicBezTo>
                  <a:cubicBezTo>
                    <a:pt x="4305" y="1317"/>
                    <a:pt x="4305" y="1317"/>
                    <a:pt x="4305" y="1317"/>
                  </a:cubicBezTo>
                  <a:cubicBezTo>
                    <a:pt x="4342" y="1317"/>
                    <a:pt x="4342" y="1317"/>
                    <a:pt x="4342" y="1317"/>
                  </a:cubicBezTo>
                  <a:cubicBezTo>
                    <a:pt x="4401" y="1466"/>
                    <a:pt x="4401" y="1466"/>
                    <a:pt x="4401" y="1466"/>
                  </a:cubicBezTo>
                  <a:cubicBezTo>
                    <a:pt x="4402" y="1466"/>
                    <a:pt x="4402" y="1466"/>
                    <a:pt x="4402" y="1466"/>
                  </a:cubicBezTo>
                  <a:lnTo>
                    <a:pt x="4459" y="1317"/>
                  </a:lnTo>
                  <a:close/>
                  <a:moveTo>
                    <a:pt x="4611" y="1312"/>
                  </a:moveTo>
                  <a:cubicBezTo>
                    <a:pt x="4555" y="1312"/>
                    <a:pt x="4514" y="1353"/>
                    <a:pt x="4514" y="1412"/>
                  </a:cubicBezTo>
                  <a:cubicBezTo>
                    <a:pt x="4514" y="1467"/>
                    <a:pt x="4550" y="1512"/>
                    <a:pt x="4610" y="1512"/>
                  </a:cubicBezTo>
                  <a:cubicBezTo>
                    <a:pt x="4645" y="1512"/>
                    <a:pt x="4672" y="1501"/>
                    <a:pt x="4695" y="1472"/>
                  </a:cubicBezTo>
                  <a:cubicBezTo>
                    <a:pt x="4671" y="1454"/>
                    <a:pt x="4671" y="1454"/>
                    <a:pt x="4671" y="1454"/>
                  </a:cubicBezTo>
                  <a:cubicBezTo>
                    <a:pt x="4656" y="1473"/>
                    <a:pt x="4637" y="1482"/>
                    <a:pt x="4610" y="1482"/>
                  </a:cubicBezTo>
                  <a:cubicBezTo>
                    <a:pt x="4576" y="1482"/>
                    <a:pt x="4550" y="1454"/>
                    <a:pt x="4548" y="1421"/>
                  </a:cubicBezTo>
                  <a:cubicBezTo>
                    <a:pt x="4702" y="1421"/>
                    <a:pt x="4702" y="1421"/>
                    <a:pt x="4702" y="1421"/>
                  </a:cubicBezTo>
                  <a:cubicBezTo>
                    <a:pt x="4702" y="1411"/>
                    <a:pt x="4702" y="1411"/>
                    <a:pt x="4702" y="1411"/>
                  </a:cubicBezTo>
                  <a:cubicBezTo>
                    <a:pt x="4702" y="1348"/>
                    <a:pt x="4665" y="1312"/>
                    <a:pt x="4611" y="1312"/>
                  </a:cubicBezTo>
                  <a:close/>
                  <a:moveTo>
                    <a:pt x="4548" y="1395"/>
                  </a:moveTo>
                  <a:cubicBezTo>
                    <a:pt x="4552" y="1363"/>
                    <a:pt x="4575" y="1341"/>
                    <a:pt x="4610" y="1341"/>
                  </a:cubicBezTo>
                  <a:cubicBezTo>
                    <a:pt x="4645" y="1341"/>
                    <a:pt x="4666" y="1363"/>
                    <a:pt x="4667" y="1395"/>
                  </a:cubicBezTo>
                  <a:lnTo>
                    <a:pt x="4548" y="1395"/>
                  </a:lnTo>
                  <a:close/>
                  <a:moveTo>
                    <a:pt x="4754" y="1200"/>
                  </a:moveTo>
                  <a:cubicBezTo>
                    <a:pt x="4786" y="1200"/>
                    <a:pt x="4786" y="1200"/>
                    <a:pt x="4786" y="1200"/>
                  </a:cubicBezTo>
                  <a:cubicBezTo>
                    <a:pt x="4786" y="1507"/>
                    <a:pt x="4786" y="1507"/>
                    <a:pt x="4786" y="1507"/>
                  </a:cubicBezTo>
                  <a:cubicBezTo>
                    <a:pt x="4754" y="1507"/>
                    <a:pt x="4754" y="1507"/>
                    <a:pt x="4754" y="1507"/>
                  </a:cubicBezTo>
                  <a:lnTo>
                    <a:pt x="4754" y="1200"/>
                  </a:lnTo>
                  <a:close/>
                  <a:moveTo>
                    <a:pt x="4934" y="1312"/>
                  </a:moveTo>
                  <a:cubicBezTo>
                    <a:pt x="4876" y="1312"/>
                    <a:pt x="4833" y="1352"/>
                    <a:pt x="4833" y="1412"/>
                  </a:cubicBezTo>
                  <a:cubicBezTo>
                    <a:pt x="4833" y="1471"/>
                    <a:pt x="4876" y="1512"/>
                    <a:pt x="4934" y="1512"/>
                  </a:cubicBezTo>
                  <a:cubicBezTo>
                    <a:pt x="4993" y="1512"/>
                    <a:pt x="5036" y="1471"/>
                    <a:pt x="5036" y="1412"/>
                  </a:cubicBezTo>
                  <a:cubicBezTo>
                    <a:pt x="5036" y="1352"/>
                    <a:pt x="4993" y="1312"/>
                    <a:pt x="4934" y="1312"/>
                  </a:cubicBezTo>
                  <a:close/>
                  <a:moveTo>
                    <a:pt x="4934" y="1482"/>
                  </a:moveTo>
                  <a:cubicBezTo>
                    <a:pt x="4893" y="1482"/>
                    <a:pt x="4867" y="1452"/>
                    <a:pt x="4867" y="1412"/>
                  </a:cubicBezTo>
                  <a:cubicBezTo>
                    <a:pt x="4867" y="1372"/>
                    <a:pt x="4893" y="1341"/>
                    <a:pt x="4934" y="1341"/>
                  </a:cubicBezTo>
                  <a:cubicBezTo>
                    <a:pt x="4975" y="1341"/>
                    <a:pt x="5002" y="1372"/>
                    <a:pt x="5002" y="1412"/>
                  </a:cubicBezTo>
                  <a:cubicBezTo>
                    <a:pt x="5002" y="1452"/>
                    <a:pt x="4975" y="1482"/>
                    <a:pt x="4934" y="1482"/>
                  </a:cubicBezTo>
                  <a:close/>
                  <a:moveTo>
                    <a:pt x="5182" y="1312"/>
                  </a:moveTo>
                  <a:cubicBezTo>
                    <a:pt x="5154" y="1312"/>
                    <a:pt x="5131" y="1324"/>
                    <a:pt x="5113" y="1344"/>
                  </a:cubicBezTo>
                  <a:cubicBezTo>
                    <a:pt x="5113" y="1344"/>
                    <a:pt x="5113" y="1344"/>
                    <a:pt x="5113" y="1344"/>
                  </a:cubicBezTo>
                  <a:cubicBezTo>
                    <a:pt x="5113" y="1317"/>
                    <a:pt x="5113" y="1317"/>
                    <a:pt x="5113" y="1317"/>
                  </a:cubicBezTo>
                  <a:cubicBezTo>
                    <a:pt x="5081" y="1317"/>
                    <a:pt x="5081" y="1317"/>
                    <a:pt x="5081" y="1317"/>
                  </a:cubicBezTo>
                  <a:cubicBezTo>
                    <a:pt x="5081" y="1600"/>
                    <a:pt x="5081" y="1600"/>
                    <a:pt x="5081" y="1600"/>
                  </a:cubicBezTo>
                  <a:cubicBezTo>
                    <a:pt x="5113" y="1600"/>
                    <a:pt x="5113" y="1600"/>
                    <a:pt x="5113" y="1600"/>
                  </a:cubicBezTo>
                  <a:cubicBezTo>
                    <a:pt x="5113" y="1473"/>
                    <a:pt x="5113" y="1473"/>
                    <a:pt x="5113" y="1473"/>
                  </a:cubicBezTo>
                  <a:cubicBezTo>
                    <a:pt x="5113" y="1473"/>
                    <a:pt x="5113" y="1473"/>
                    <a:pt x="5113" y="1473"/>
                  </a:cubicBezTo>
                  <a:cubicBezTo>
                    <a:pt x="5125" y="1495"/>
                    <a:pt x="5152" y="1512"/>
                    <a:pt x="5186" y="1512"/>
                  </a:cubicBezTo>
                  <a:cubicBezTo>
                    <a:pt x="5240" y="1512"/>
                    <a:pt x="5282" y="1469"/>
                    <a:pt x="5282" y="1412"/>
                  </a:cubicBezTo>
                  <a:cubicBezTo>
                    <a:pt x="5282" y="1354"/>
                    <a:pt x="5241" y="1312"/>
                    <a:pt x="5182" y="1312"/>
                  </a:cubicBezTo>
                  <a:close/>
                  <a:moveTo>
                    <a:pt x="5180" y="1482"/>
                  </a:moveTo>
                  <a:cubicBezTo>
                    <a:pt x="5139" y="1482"/>
                    <a:pt x="5113" y="1452"/>
                    <a:pt x="5113" y="1412"/>
                  </a:cubicBezTo>
                  <a:cubicBezTo>
                    <a:pt x="5113" y="1372"/>
                    <a:pt x="5139" y="1341"/>
                    <a:pt x="5180" y="1341"/>
                  </a:cubicBezTo>
                  <a:cubicBezTo>
                    <a:pt x="5221" y="1341"/>
                    <a:pt x="5247" y="1372"/>
                    <a:pt x="5247" y="1412"/>
                  </a:cubicBezTo>
                  <a:cubicBezTo>
                    <a:pt x="5247" y="1452"/>
                    <a:pt x="5221" y="1482"/>
                    <a:pt x="5180" y="1482"/>
                  </a:cubicBezTo>
                  <a:close/>
                  <a:moveTo>
                    <a:pt x="5613" y="1391"/>
                  </a:moveTo>
                  <a:cubicBezTo>
                    <a:pt x="5613" y="1507"/>
                    <a:pt x="5613" y="1507"/>
                    <a:pt x="5613" y="1507"/>
                  </a:cubicBezTo>
                  <a:cubicBezTo>
                    <a:pt x="5581" y="1507"/>
                    <a:pt x="5581" y="1507"/>
                    <a:pt x="5581" y="1507"/>
                  </a:cubicBezTo>
                  <a:cubicBezTo>
                    <a:pt x="5581" y="1393"/>
                    <a:pt x="5581" y="1393"/>
                    <a:pt x="5581" y="1393"/>
                  </a:cubicBezTo>
                  <a:cubicBezTo>
                    <a:pt x="5581" y="1367"/>
                    <a:pt x="5572" y="1341"/>
                    <a:pt x="5535" y="1341"/>
                  </a:cubicBezTo>
                  <a:cubicBezTo>
                    <a:pt x="5508" y="1341"/>
                    <a:pt x="5486" y="1363"/>
                    <a:pt x="5486" y="1397"/>
                  </a:cubicBezTo>
                  <a:cubicBezTo>
                    <a:pt x="5486" y="1507"/>
                    <a:pt x="5486" y="1507"/>
                    <a:pt x="5486" y="1507"/>
                  </a:cubicBezTo>
                  <a:cubicBezTo>
                    <a:pt x="5454" y="1507"/>
                    <a:pt x="5454" y="1507"/>
                    <a:pt x="5454" y="1507"/>
                  </a:cubicBezTo>
                  <a:cubicBezTo>
                    <a:pt x="5454" y="1399"/>
                    <a:pt x="5454" y="1399"/>
                    <a:pt x="5454" y="1399"/>
                  </a:cubicBezTo>
                  <a:cubicBezTo>
                    <a:pt x="5454" y="1357"/>
                    <a:pt x="5443" y="1341"/>
                    <a:pt x="5417" y="1341"/>
                  </a:cubicBezTo>
                  <a:cubicBezTo>
                    <a:pt x="5376" y="1341"/>
                    <a:pt x="5358" y="1371"/>
                    <a:pt x="5358" y="1414"/>
                  </a:cubicBezTo>
                  <a:cubicBezTo>
                    <a:pt x="5358" y="1507"/>
                    <a:pt x="5358" y="1507"/>
                    <a:pt x="5358" y="1507"/>
                  </a:cubicBezTo>
                  <a:cubicBezTo>
                    <a:pt x="5327" y="1507"/>
                    <a:pt x="5327" y="1507"/>
                    <a:pt x="5327" y="1507"/>
                  </a:cubicBezTo>
                  <a:cubicBezTo>
                    <a:pt x="5327" y="1362"/>
                    <a:pt x="5327" y="1362"/>
                    <a:pt x="5327" y="1362"/>
                  </a:cubicBezTo>
                  <a:cubicBezTo>
                    <a:pt x="5327" y="1344"/>
                    <a:pt x="5325" y="1329"/>
                    <a:pt x="5325" y="1317"/>
                  </a:cubicBezTo>
                  <a:cubicBezTo>
                    <a:pt x="5355" y="1317"/>
                    <a:pt x="5355" y="1317"/>
                    <a:pt x="5355" y="1317"/>
                  </a:cubicBezTo>
                  <a:cubicBezTo>
                    <a:pt x="5355" y="1327"/>
                    <a:pt x="5356" y="1337"/>
                    <a:pt x="5356" y="1348"/>
                  </a:cubicBezTo>
                  <a:cubicBezTo>
                    <a:pt x="5357" y="1348"/>
                    <a:pt x="5357" y="1348"/>
                    <a:pt x="5357" y="1348"/>
                  </a:cubicBezTo>
                  <a:cubicBezTo>
                    <a:pt x="5365" y="1329"/>
                    <a:pt x="5389" y="1312"/>
                    <a:pt x="5420" y="1312"/>
                  </a:cubicBezTo>
                  <a:cubicBezTo>
                    <a:pt x="5461" y="1312"/>
                    <a:pt x="5474" y="1335"/>
                    <a:pt x="5480" y="1348"/>
                  </a:cubicBezTo>
                  <a:cubicBezTo>
                    <a:pt x="5494" y="1326"/>
                    <a:pt x="5512" y="1312"/>
                    <a:pt x="5540" y="1312"/>
                  </a:cubicBezTo>
                  <a:cubicBezTo>
                    <a:pt x="5595" y="1312"/>
                    <a:pt x="5613" y="1342"/>
                    <a:pt x="5613" y="1391"/>
                  </a:cubicBezTo>
                  <a:close/>
                  <a:moveTo>
                    <a:pt x="5756" y="1312"/>
                  </a:moveTo>
                  <a:cubicBezTo>
                    <a:pt x="5700" y="1312"/>
                    <a:pt x="5658" y="1353"/>
                    <a:pt x="5658" y="1412"/>
                  </a:cubicBezTo>
                  <a:cubicBezTo>
                    <a:pt x="5658" y="1467"/>
                    <a:pt x="5695" y="1512"/>
                    <a:pt x="5754" y="1512"/>
                  </a:cubicBezTo>
                  <a:cubicBezTo>
                    <a:pt x="5790" y="1512"/>
                    <a:pt x="5817" y="1501"/>
                    <a:pt x="5839" y="1472"/>
                  </a:cubicBezTo>
                  <a:cubicBezTo>
                    <a:pt x="5815" y="1454"/>
                    <a:pt x="5815" y="1454"/>
                    <a:pt x="5815" y="1454"/>
                  </a:cubicBezTo>
                  <a:cubicBezTo>
                    <a:pt x="5800" y="1473"/>
                    <a:pt x="5782" y="1482"/>
                    <a:pt x="5754" y="1482"/>
                  </a:cubicBezTo>
                  <a:cubicBezTo>
                    <a:pt x="5720" y="1482"/>
                    <a:pt x="5695" y="1454"/>
                    <a:pt x="5692" y="1421"/>
                  </a:cubicBezTo>
                  <a:cubicBezTo>
                    <a:pt x="5846" y="1421"/>
                    <a:pt x="5846" y="1421"/>
                    <a:pt x="5846" y="1421"/>
                  </a:cubicBezTo>
                  <a:cubicBezTo>
                    <a:pt x="5846" y="1411"/>
                    <a:pt x="5846" y="1411"/>
                    <a:pt x="5846" y="1411"/>
                  </a:cubicBezTo>
                  <a:cubicBezTo>
                    <a:pt x="5846" y="1348"/>
                    <a:pt x="5809" y="1312"/>
                    <a:pt x="5756" y="1312"/>
                  </a:cubicBezTo>
                  <a:close/>
                  <a:moveTo>
                    <a:pt x="5692" y="1395"/>
                  </a:moveTo>
                  <a:cubicBezTo>
                    <a:pt x="5696" y="1363"/>
                    <a:pt x="5720" y="1341"/>
                    <a:pt x="5754" y="1341"/>
                  </a:cubicBezTo>
                  <a:cubicBezTo>
                    <a:pt x="5789" y="1341"/>
                    <a:pt x="5811" y="1363"/>
                    <a:pt x="5812" y="1395"/>
                  </a:cubicBezTo>
                  <a:lnTo>
                    <a:pt x="5692" y="1395"/>
                  </a:lnTo>
                  <a:close/>
                  <a:moveTo>
                    <a:pt x="6057" y="1389"/>
                  </a:moveTo>
                  <a:cubicBezTo>
                    <a:pt x="6057" y="1507"/>
                    <a:pt x="6057" y="1507"/>
                    <a:pt x="6057" y="1507"/>
                  </a:cubicBezTo>
                  <a:cubicBezTo>
                    <a:pt x="6025" y="1507"/>
                    <a:pt x="6025" y="1507"/>
                    <a:pt x="6025" y="1507"/>
                  </a:cubicBezTo>
                  <a:cubicBezTo>
                    <a:pt x="6025" y="1393"/>
                    <a:pt x="6025" y="1393"/>
                    <a:pt x="6025" y="1393"/>
                  </a:cubicBezTo>
                  <a:cubicBezTo>
                    <a:pt x="6025" y="1361"/>
                    <a:pt x="6011" y="1341"/>
                    <a:pt x="5982" y="1341"/>
                  </a:cubicBezTo>
                  <a:cubicBezTo>
                    <a:pt x="5941" y="1341"/>
                    <a:pt x="5923" y="1371"/>
                    <a:pt x="5923" y="1414"/>
                  </a:cubicBezTo>
                  <a:cubicBezTo>
                    <a:pt x="5923" y="1507"/>
                    <a:pt x="5923" y="1507"/>
                    <a:pt x="5923" y="1507"/>
                  </a:cubicBezTo>
                  <a:cubicBezTo>
                    <a:pt x="5891" y="1507"/>
                    <a:pt x="5891" y="1507"/>
                    <a:pt x="5891" y="1507"/>
                  </a:cubicBezTo>
                  <a:cubicBezTo>
                    <a:pt x="5891" y="1362"/>
                    <a:pt x="5891" y="1362"/>
                    <a:pt x="5891" y="1362"/>
                  </a:cubicBezTo>
                  <a:cubicBezTo>
                    <a:pt x="5891" y="1344"/>
                    <a:pt x="5889" y="1329"/>
                    <a:pt x="5889" y="1317"/>
                  </a:cubicBezTo>
                  <a:cubicBezTo>
                    <a:pt x="5919" y="1317"/>
                    <a:pt x="5919" y="1317"/>
                    <a:pt x="5919" y="1317"/>
                  </a:cubicBezTo>
                  <a:cubicBezTo>
                    <a:pt x="5919" y="1327"/>
                    <a:pt x="5920" y="1337"/>
                    <a:pt x="5920" y="1348"/>
                  </a:cubicBezTo>
                  <a:cubicBezTo>
                    <a:pt x="5921" y="1348"/>
                    <a:pt x="5921" y="1348"/>
                    <a:pt x="5921" y="1348"/>
                  </a:cubicBezTo>
                  <a:cubicBezTo>
                    <a:pt x="5930" y="1329"/>
                    <a:pt x="5953" y="1312"/>
                    <a:pt x="5984" y="1312"/>
                  </a:cubicBezTo>
                  <a:cubicBezTo>
                    <a:pt x="6034" y="1312"/>
                    <a:pt x="6057" y="1343"/>
                    <a:pt x="6057" y="1389"/>
                  </a:cubicBezTo>
                  <a:close/>
                  <a:moveTo>
                    <a:pt x="6217" y="1505"/>
                  </a:moveTo>
                  <a:cubicBezTo>
                    <a:pt x="6206" y="1510"/>
                    <a:pt x="6192" y="1512"/>
                    <a:pt x="6180" y="1512"/>
                  </a:cubicBezTo>
                  <a:cubicBezTo>
                    <a:pt x="6135" y="1512"/>
                    <a:pt x="6128" y="1487"/>
                    <a:pt x="6128" y="1448"/>
                  </a:cubicBezTo>
                  <a:cubicBezTo>
                    <a:pt x="6128" y="1343"/>
                    <a:pt x="6128" y="1343"/>
                    <a:pt x="6128" y="1343"/>
                  </a:cubicBezTo>
                  <a:cubicBezTo>
                    <a:pt x="6086" y="1343"/>
                    <a:pt x="6086" y="1343"/>
                    <a:pt x="6086" y="1343"/>
                  </a:cubicBezTo>
                  <a:cubicBezTo>
                    <a:pt x="6086" y="1317"/>
                    <a:pt x="6086" y="1317"/>
                    <a:pt x="6086" y="1317"/>
                  </a:cubicBezTo>
                  <a:cubicBezTo>
                    <a:pt x="6128" y="1317"/>
                    <a:pt x="6128" y="1317"/>
                    <a:pt x="6128" y="1317"/>
                  </a:cubicBezTo>
                  <a:cubicBezTo>
                    <a:pt x="6128" y="1263"/>
                    <a:pt x="6128" y="1263"/>
                    <a:pt x="6128" y="1263"/>
                  </a:cubicBezTo>
                  <a:cubicBezTo>
                    <a:pt x="6159" y="1263"/>
                    <a:pt x="6159" y="1263"/>
                    <a:pt x="6159" y="1263"/>
                  </a:cubicBezTo>
                  <a:cubicBezTo>
                    <a:pt x="6159" y="1317"/>
                    <a:pt x="6159" y="1317"/>
                    <a:pt x="6159" y="1317"/>
                  </a:cubicBezTo>
                  <a:cubicBezTo>
                    <a:pt x="6215" y="1317"/>
                    <a:pt x="6215" y="1317"/>
                    <a:pt x="6215" y="1317"/>
                  </a:cubicBezTo>
                  <a:cubicBezTo>
                    <a:pt x="6215" y="1343"/>
                    <a:pt x="6215" y="1343"/>
                    <a:pt x="6215" y="1343"/>
                  </a:cubicBezTo>
                  <a:cubicBezTo>
                    <a:pt x="6159" y="1343"/>
                    <a:pt x="6159" y="1343"/>
                    <a:pt x="6159" y="1343"/>
                  </a:cubicBezTo>
                  <a:cubicBezTo>
                    <a:pt x="6159" y="1439"/>
                    <a:pt x="6159" y="1439"/>
                    <a:pt x="6159" y="1439"/>
                  </a:cubicBezTo>
                  <a:cubicBezTo>
                    <a:pt x="6159" y="1463"/>
                    <a:pt x="6160" y="1482"/>
                    <a:pt x="6188" y="1482"/>
                  </a:cubicBezTo>
                  <a:cubicBezTo>
                    <a:pt x="6197" y="1482"/>
                    <a:pt x="6207" y="1480"/>
                    <a:pt x="6216" y="1476"/>
                  </a:cubicBezTo>
                  <a:lnTo>
                    <a:pt x="6217" y="1505"/>
                  </a:lnTo>
                  <a:close/>
                  <a:moveTo>
                    <a:pt x="2242" y="1312"/>
                  </a:moveTo>
                  <a:cubicBezTo>
                    <a:pt x="2215" y="1312"/>
                    <a:pt x="2191" y="1324"/>
                    <a:pt x="2174" y="1344"/>
                  </a:cubicBezTo>
                  <a:cubicBezTo>
                    <a:pt x="2173" y="1344"/>
                    <a:pt x="2173" y="1344"/>
                    <a:pt x="2173" y="1344"/>
                  </a:cubicBezTo>
                  <a:cubicBezTo>
                    <a:pt x="2173" y="1317"/>
                    <a:pt x="2173" y="1317"/>
                    <a:pt x="2173" y="1317"/>
                  </a:cubicBezTo>
                  <a:cubicBezTo>
                    <a:pt x="2141" y="1317"/>
                    <a:pt x="2141" y="1317"/>
                    <a:pt x="2141" y="1317"/>
                  </a:cubicBezTo>
                  <a:cubicBezTo>
                    <a:pt x="2141" y="1600"/>
                    <a:pt x="2141" y="1600"/>
                    <a:pt x="2141" y="1600"/>
                  </a:cubicBezTo>
                  <a:cubicBezTo>
                    <a:pt x="2173" y="1600"/>
                    <a:pt x="2173" y="1600"/>
                    <a:pt x="2173" y="1600"/>
                  </a:cubicBezTo>
                  <a:cubicBezTo>
                    <a:pt x="2173" y="1473"/>
                    <a:pt x="2173" y="1473"/>
                    <a:pt x="2173" y="1473"/>
                  </a:cubicBezTo>
                  <a:cubicBezTo>
                    <a:pt x="2174" y="1473"/>
                    <a:pt x="2174" y="1473"/>
                    <a:pt x="2174" y="1473"/>
                  </a:cubicBezTo>
                  <a:cubicBezTo>
                    <a:pt x="2186" y="1495"/>
                    <a:pt x="2213" y="1512"/>
                    <a:pt x="2247" y="1512"/>
                  </a:cubicBezTo>
                  <a:cubicBezTo>
                    <a:pt x="2300" y="1512"/>
                    <a:pt x="2342" y="1469"/>
                    <a:pt x="2342" y="1412"/>
                  </a:cubicBezTo>
                  <a:cubicBezTo>
                    <a:pt x="2342" y="1354"/>
                    <a:pt x="2302" y="1312"/>
                    <a:pt x="2242" y="1312"/>
                  </a:cubicBezTo>
                  <a:close/>
                  <a:moveTo>
                    <a:pt x="2241" y="1482"/>
                  </a:moveTo>
                  <a:cubicBezTo>
                    <a:pt x="2200" y="1482"/>
                    <a:pt x="2173" y="1452"/>
                    <a:pt x="2173" y="1412"/>
                  </a:cubicBezTo>
                  <a:cubicBezTo>
                    <a:pt x="2173" y="1372"/>
                    <a:pt x="2200" y="1341"/>
                    <a:pt x="2241" y="1341"/>
                  </a:cubicBezTo>
                  <a:cubicBezTo>
                    <a:pt x="2282" y="1341"/>
                    <a:pt x="2308" y="1372"/>
                    <a:pt x="2308" y="1412"/>
                  </a:cubicBezTo>
                  <a:cubicBezTo>
                    <a:pt x="2308" y="1452"/>
                    <a:pt x="2282" y="1482"/>
                    <a:pt x="2241" y="1482"/>
                  </a:cubicBezTo>
                  <a:close/>
                  <a:moveTo>
                    <a:pt x="2478" y="1312"/>
                  </a:moveTo>
                  <a:cubicBezTo>
                    <a:pt x="2482" y="1312"/>
                    <a:pt x="2487" y="1312"/>
                    <a:pt x="2491" y="1314"/>
                  </a:cubicBezTo>
                  <a:cubicBezTo>
                    <a:pt x="2489" y="1346"/>
                    <a:pt x="2489" y="1346"/>
                    <a:pt x="2489" y="1346"/>
                  </a:cubicBezTo>
                  <a:cubicBezTo>
                    <a:pt x="2484" y="1344"/>
                    <a:pt x="2478" y="1343"/>
                    <a:pt x="2472" y="1343"/>
                  </a:cubicBezTo>
                  <a:cubicBezTo>
                    <a:pt x="2433" y="1343"/>
                    <a:pt x="2416" y="1371"/>
                    <a:pt x="2416" y="1414"/>
                  </a:cubicBezTo>
                  <a:cubicBezTo>
                    <a:pt x="2416" y="1507"/>
                    <a:pt x="2416" y="1507"/>
                    <a:pt x="2416" y="1507"/>
                  </a:cubicBezTo>
                  <a:cubicBezTo>
                    <a:pt x="2385" y="1507"/>
                    <a:pt x="2385" y="1507"/>
                    <a:pt x="2385" y="1507"/>
                  </a:cubicBezTo>
                  <a:cubicBezTo>
                    <a:pt x="2385" y="1362"/>
                    <a:pt x="2385" y="1362"/>
                    <a:pt x="2385" y="1362"/>
                  </a:cubicBezTo>
                  <a:cubicBezTo>
                    <a:pt x="2385" y="1344"/>
                    <a:pt x="2383" y="1329"/>
                    <a:pt x="2383" y="1317"/>
                  </a:cubicBezTo>
                  <a:cubicBezTo>
                    <a:pt x="2413" y="1317"/>
                    <a:pt x="2413" y="1317"/>
                    <a:pt x="2413" y="1317"/>
                  </a:cubicBezTo>
                  <a:cubicBezTo>
                    <a:pt x="2413" y="1327"/>
                    <a:pt x="2414" y="1337"/>
                    <a:pt x="2414" y="1348"/>
                  </a:cubicBezTo>
                  <a:cubicBezTo>
                    <a:pt x="2415" y="1348"/>
                    <a:pt x="2415" y="1348"/>
                    <a:pt x="2415" y="1348"/>
                  </a:cubicBezTo>
                  <a:cubicBezTo>
                    <a:pt x="2423" y="1329"/>
                    <a:pt x="2447" y="1312"/>
                    <a:pt x="2478" y="1312"/>
                  </a:cubicBezTo>
                  <a:close/>
                  <a:moveTo>
                    <a:pt x="2606" y="1312"/>
                  </a:moveTo>
                  <a:cubicBezTo>
                    <a:pt x="2547" y="1312"/>
                    <a:pt x="2504" y="1352"/>
                    <a:pt x="2504" y="1412"/>
                  </a:cubicBezTo>
                  <a:cubicBezTo>
                    <a:pt x="2504" y="1471"/>
                    <a:pt x="2547" y="1512"/>
                    <a:pt x="2606" y="1512"/>
                  </a:cubicBezTo>
                  <a:cubicBezTo>
                    <a:pt x="2664" y="1512"/>
                    <a:pt x="2707" y="1471"/>
                    <a:pt x="2707" y="1412"/>
                  </a:cubicBezTo>
                  <a:cubicBezTo>
                    <a:pt x="2707" y="1352"/>
                    <a:pt x="2664" y="1312"/>
                    <a:pt x="2606" y="1312"/>
                  </a:cubicBezTo>
                  <a:close/>
                  <a:moveTo>
                    <a:pt x="2606" y="1482"/>
                  </a:moveTo>
                  <a:cubicBezTo>
                    <a:pt x="2565" y="1482"/>
                    <a:pt x="2538" y="1452"/>
                    <a:pt x="2538" y="1412"/>
                  </a:cubicBezTo>
                  <a:cubicBezTo>
                    <a:pt x="2538" y="1372"/>
                    <a:pt x="2565" y="1341"/>
                    <a:pt x="2606" y="1341"/>
                  </a:cubicBezTo>
                  <a:cubicBezTo>
                    <a:pt x="2647" y="1341"/>
                    <a:pt x="2673" y="1372"/>
                    <a:pt x="2673" y="1412"/>
                  </a:cubicBezTo>
                  <a:cubicBezTo>
                    <a:pt x="2673" y="1452"/>
                    <a:pt x="2647" y="1482"/>
                    <a:pt x="2606" y="1482"/>
                  </a:cubicBezTo>
                  <a:close/>
                  <a:moveTo>
                    <a:pt x="2853" y="1312"/>
                  </a:moveTo>
                  <a:cubicBezTo>
                    <a:pt x="2825" y="1312"/>
                    <a:pt x="2802" y="1324"/>
                    <a:pt x="2785" y="1344"/>
                  </a:cubicBezTo>
                  <a:cubicBezTo>
                    <a:pt x="2784" y="1344"/>
                    <a:pt x="2784" y="1344"/>
                    <a:pt x="2784" y="1344"/>
                  </a:cubicBezTo>
                  <a:cubicBezTo>
                    <a:pt x="2784" y="1317"/>
                    <a:pt x="2784" y="1317"/>
                    <a:pt x="2784" y="1317"/>
                  </a:cubicBezTo>
                  <a:cubicBezTo>
                    <a:pt x="2752" y="1317"/>
                    <a:pt x="2752" y="1317"/>
                    <a:pt x="2752" y="1317"/>
                  </a:cubicBezTo>
                  <a:cubicBezTo>
                    <a:pt x="2752" y="1600"/>
                    <a:pt x="2752" y="1600"/>
                    <a:pt x="2752" y="1600"/>
                  </a:cubicBezTo>
                  <a:cubicBezTo>
                    <a:pt x="2784" y="1600"/>
                    <a:pt x="2784" y="1600"/>
                    <a:pt x="2784" y="1600"/>
                  </a:cubicBezTo>
                  <a:cubicBezTo>
                    <a:pt x="2784" y="1473"/>
                    <a:pt x="2784" y="1473"/>
                    <a:pt x="2784" y="1473"/>
                  </a:cubicBezTo>
                  <a:cubicBezTo>
                    <a:pt x="2785" y="1473"/>
                    <a:pt x="2785" y="1473"/>
                    <a:pt x="2785" y="1473"/>
                  </a:cubicBezTo>
                  <a:cubicBezTo>
                    <a:pt x="2796" y="1495"/>
                    <a:pt x="2824" y="1512"/>
                    <a:pt x="2858" y="1512"/>
                  </a:cubicBezTo>
                  <a:cubicBezTo>
                    <a:pt x="2911" y="1512"/>
                    <a:pt x="2953" y="1469"/>
                    <a:pt x="2953" y="1412"/>
                  </a:cubicBezTo>
                  <a:cubicBezTo>
                    <a:pt x="2953" y="1354"/>
                    <a:pt x="2913" y="1312"/>
                    <a:pt x="2853" y="1312"/>
                  </a:cubicBezTo>
                  <a:close/>
                  <a:moveTo>
                    <a:pt x="2851" y="1482"/>
                  </a:moveTo>
                  <a:cubicBezTo>
                    <a:pt x="2810" y="1482"/>
                    <a:pt x="2784" y="1452"/>
                    <a:pt x="2784" y="1412"/>
                  </a:cubicBezTo>
                  <a:cubicBezTo>
                    <a:pt x="2784" y="1372"/>
                    <a:pt x="2810" y="1341"/>
                    <a:pt x="2851" y="1341"/>
                  </a:cubicBezTo>
                  <a:cubicBezTo>
                    <a:pt x="2892" y="1341"/>
                    <a:pt x="2919" y="1372"/>
                    <a:pt x="2919" y="1412"/>
                  </a:cubicBezTo>
                  <a:cubicBezTo>
                    <a:pt x="2919" y="1452"/>
                    <a:pt x="2892" y="1482"/>
                    <a:pt x="2851" y="1482"/>
                  </a:cubicBezTo>
                  <a:close/>
                  <a:moveTo>
                    <a:pt x="3086" y="1312"/>
                  </a:moveTo>
                  <a:cubicBezTo>
                    <a:pt x="3030" y="1312"/>
                    <a:pt x="2988" y="1353"/>
                    <a:pt x="2988" y="1412"/>
                  </a:cubicBezTo>
                  <a:cubicBezTo>
                    <a:pt x="2988" y="1467"/>
                    <a:pt x="3025" y="1512"/>
                    <a:pt x="3085" y="1512"/>
                  </a:cubicBezTo>
                  <a:cubicBezTo>
                    <a:pt x="3120" y="1512"/>
                    <a:pt x="3147" y="1501"/>
                    <a:pt x="3169" y="1472"/>
                  </a:cubicBezTo>
                  <a:cubicBezTo>
                    <a:pt x="3145" y="1454"/>
                    <a:pt x="3145" y="1454"/>
                    <a:pt x="3145" y="1454"/>
                  </a:cubicBezTo>
                  <a:cubicBezTo>
                    <a:pt x="3130" y="1473"/>
                    <a:pt x="3112" y="1482"/>
                    <a:pt x="3085" y="1482"/>
                  </a:cubicBezTo>
                  <a:cubicBezTo>
                    <a:pt x="3050" y="1482"/>
                    <a:pt x="3025" y="1454"/>
                    <a:pt x="3023" y="1421"/>
                  </a:cubicBezTo>
                  <a:cubicBezTo>
                    <a:pt x="3176" y="1421"/>
                    <a:pt x="3176" y="1421"/>
                    <a:pt x="3176" y="1421"/>
                  </a:cubicBezTo>
                  <a:cubicBezTo>
                    <a:pt x="3176" y="1411"/>
                    <a:pt x="3176" y="1411"/>
                    <a:pt x="3176" y="1411"/>
                  </a:cubicBezTo>
                  <a:cubicBezTo>
                    <a:pt x="3176" y="1348"/>
                    <a:pt x="3140" y="1312"/>
                    <a:pt x="3086" y="1312"/>
                  </a:cubicBezTo>
                  <a:close/>
                  <a:moveTo>
                    <a:pt x="3023" y="1395"/>
                  </a:moveTo>
                  <a:cubicBezTo>
                    <a:pt x="3027" y="1363"/>
                    <a:pt x="3050" y="1341"/>
                    <a:pt x="3085" y="1341"/>
                  </a:cubicBezTo>
                  <a:cubicBezTo>
                    <a:pt x="3120" y="1341"/>
                    <a:pt x="3141" y="1363"/>
                    <a:pt x="3142" y="1395"/>
                  </a:cubicBezTo>
                  <a:lnTo>
                    <a:pt x="3023" y="1395"/>
                  </a:lnTo>
                  <a:close/>
                  <a:moveTo>
                    <a:pt x="3322" y="1312"/>
                  </a:moveTo>
                  <a:cubicBezTo>
                    <a:pt x="3326" y="1312"/>
                    <a:pt x="3330" y="1312"/>
                    <a:pt x="3335" y="1314"/>
                  </a:cubicBezTo>
                  <a:cubicBezTo>
                    <a:pt x="3333" y="1346"/>
                    <a:pt x="3333" y="1346"/>
                    <a:pt x="3333" y="1346"/>
                  </a:cubicBezTo>
                  <a:cubicBezTo>
                    <a:pt x="3327" y="1344"/>
                    <a:pt x="3321" y="1343"/>
                    <a:pt x="3316" y="1343"/>
                  </a:cubicBezTo>
                  <a:cubicBezTo>
                    <a:pt x="3277" y="1343"/>
                    <a:pt x="3260" y="1371"/>
                    <a:pt x="3260" y="1414"/>
                  </a:cubicBezTo>
                  <a:cubicBezTo>
                    <a:pt x="3260" y="1507"/>
                    <a:pt x="3260" y="1507"/>
                    <a:pt x="3260" y="1507"/>
                  </a:cubicBezTo>
                  <a:cubicBezTo>
                    <a:pt x="3228" y="1507"/>
                    <a:pt x="3228" y="1507"/>
                    <a:pt x="3228" y="1507"/>
                  </a:cubicBezTo>
                  <a:cubicBezTo>
                    <a:pt x="3228" y="1362"/>
                    <a:pt x="3228" y="1362"/>
                    <a:pt x="3228" y="1362"/>
                  </a:cubicBezTo>
                  <a:cubicBezTo>
                    <a:pt x="3228" y="1344"/>
                    <a:pt x="3227" y="1329"/>
                    <a:pt x="3227" y="1317"/>
                  </a:cubicBezTo>
                  <a:cubicBezTo>
                    <a:pt x="3257" y="1317"/>
                    <a:pt x="3257" y="1317"/>
                    <a:pt x="3257" y="1317"/>
                  </a:cubicBezTo>
                  <a:cubicBezTo>
                    <a:pt x="3257" y="1327"/>
                    <a:pt x="3258" y="1337"/>
                    <a:pt x="3258" y="1348"/>
                  </a:cubicBezTo>
                  <a:cubicBezTo>
                    <a:pt x="3258" y="1348"/>
                    <a:pt x="3258" y="1348"/>
                    <a:pt x="3258" y="1348"/>
                  </a:cubicBezTo>
                  <a:cubicBezTo>
                    <a:pt x="3267" y="1329"/>
                    <a:pt x="3290" y="1312"/>
                    <a:pt x="3322" y="1312"/>
                  </a:cubicBezTo>
                  <a:close/>
                  <a:moveTo>
                    <a:pt x="3492" y="1476"/>
                  </a:moveTo>
                  <a:cubicBezTo>
                    <a:pt x="3494" y="1505"/>
                    <a:pt x="3494" y="1505"/>
                    <a:pt x="3494" y="1505"/>
                  </a:cubicBezTo>
                  <a:cubicBezTo>
                    <a:pt x="3483" y="1510"/>
                    <a:pt x="3468" y="1512"/>
                    <a:pt x="3457" y="1512"/>
                  </a:cubicBezTo>
                  <a:cubicBezTo>
                    <a:pt x="3412" y="1512"/>
                    <a:pt x="3404" y="1487"/>
                    <a:pt x="3404" y="1448"/>
                  </a:cubicBezTo>
                  <a:cubicBezTo>
                    <a:pt x="3404" y="1343"/>
                    <a:pt x="3404" y="1343"/>
                    <a:pt x="3404" y="1343"/>
                  </a:cubicBezTo>
                  <a:cubicBezTo>
                    <a:pt x="3363" y="1343"/>
                    <a:pt x="3363" y="1343"/>
                    <a:pt x="3363" y="1343"/>
                  </a:cubicBezTo>
                  <a:cubicBezTo>
                    <a:pt x="3363" y="1317"/>
                    <a:pt x="3363" y="1317"/>
                    <a:pt x="3363" y="1317"/>
                  </a:cubicBezTo>
                  <a:cubicBezTo>
                    <a:pt x="3404" y="1317"/>
                    <a:pt x="3404" y="1317"/>
                    <a:pt x="3404" y="1317"/>
                  </a:cubicBezTo>
                  <a:cubicBezTo>
                    <a:pt x="3404" y="1263"/>
                    <a:pt x="3404" y="1263"/>
                    <a:pt x="3404" y="1263"/>
                  </a:cubicBezTo>
                  <a:cubicBezTo>
                    <a:pt x="3436" y="1263"/>
                    <a:pt x="3436" y="1263"/>
                    <a:pt x="3436" y="1263"/>
                  </a:cubicBezTo>
                  <a:cubicBezTo>
                    <a:pt x="3436" y="1317"/>
                    <a:pt x="3436" y="1317"/>
                    <a:pt x="3436" y="1317"/>
                  </a:cubicBezTo>
                  <a:cubicBezTo>
                    <a:pt x="3492" y="1317"/>
                    <a:pt x="3492" y="1317"/>
                    <a:pt x="3492" y="1317"/>
                  </a:cubicBezTo>
                  <a:cubicBezTo>
                    <a:pt x="3492" y="1343"/>
                    <a:pt x="3492" y="1343"/>
                    <a:pt x="3492" y="1343"/>
                  </a:cubicBezTo>
                  <a:cubicBezTo>
                    <a:pt x="3436" y="1343"/>
                    <a:pt x="3436" y="1343"/>
                    <a:pt x="3436" y="1343"/>
                  </a:cubicBezTo>
                  <a:cubicBezTo>
                    <a:pt x="3436" y="1439"/>
                    <a:pt x="3436" y="1439"/>
                    <a:pt x="3436" y="1439"/>
                  </a:cubicBezTo>
                  <a:cubicBezTo>
                    <a:pt x="3436" y="1463"/>
                    <a:pt x="3436" y="1482"/>
                    <a:pt x="3464" y="1482"/>
                  </a:cubicBezTo>
                  <a:cubicBezTo>
                    <a:pt x="3474" y="1482"/>
                    <a:pt x="3484" y="1480"/>
                    <a:pt x="3492" y="1476"/>
                  </a:cubicBezTo>
                  <a:close/>
                  <a:moveTo>
                    <a:pt x="3674" y="1317"/>
                  </a:moveTo>
                  <a:cubicBezTo>
                    <a:pt x="3709" y="1317"/>
                    <a:pt x="3709" y="1317"/>
                    <a:pt x="3709" y="1317"/>
                  </a:cubicBezTo>
                  <a:cubicBezTo>
                    <a:pt x="3617" y="1550"/>
                    <a:pt x="3617" y="1550"/>
                    <a:pt x="3617" y="1550"/>
                  </a:cubicBezTo>
                  <a:cubicBezTo>
                    <a:pt x="3604" y="1582"/>
                    <a:pt x="3592" y="1604"/>
                    <a:pt x="3553" y="1604"/>
                  </a:cubicBezTo>
                  <a:cubicBezTo>
                    <a:pt x="3545" y="1604"/>
                    <a:pt x="3533" y="1604"/>
                    <a:pt x="3525" y="1600"/>
                  </a:cubicBezTo>
                  <a:cubicBezTo>
                    <a:pt x="3529" y="1572"/>
                    <a:pt x="3529" y="1572"/>
                    <a:pt x="3529" y="1572"/>
                  </a:cubicBezTo>
                  <a:cubicBezTo>
                    <a:pt x="3536" y="1574"/>
                    <a:pt x="3542" y="1575"/>
                    <a:pt x="3551" y="1575"/>
                  </a:cubicBezTo>
                  <a:cubicBezTo>
                    <a:pt x="3572" y="1575"/>
                    <a:pt x="3580" y="1563"/>
                    <a:pt x="3587" y="1544"/>
                  </a:cubicBezTo>
                  <a:cubicBezTo>
                    <a:pt x="3600" y="1508"/>
                    <a:pt x="3600" y="1508"/>
                    <a:pt x="3600" y="1508"/>
                  </a:cubicBezTo>
                  <a:cubicBezTo>
                    <a:pt x="3521" y="1317"/>
                    <a:pt x="3521" y="1317"/>
                    <a:pt x="3521" y="1317"/>
                  </a:cubicBezTo>
                  <a:cubicBezTo>
                    <a:pt x="3558" y="1317"/>
                    <a:pt x="3558" y="1317"/>
                    <a:pt x="3558" y="1317"/>
                  </a:cubicBezTo>
                  <a:cubicBezTo>
                    <a:pt x="3617" y="1466"/>
                    <a:pt x="3617" y="1466"/>
                    <a:pt x="3617" y="1466"/>
                  </a:cubicBezTo>
                  <a:cubicBezTo>
                    <a:pt x="3618" y="1466"/>
                    <a:pt x="3618" y="1466"/>
                    <a:pt x="3618" y="1466"/>
                  </a:cubicBezTo>
                  <a:lnTo>
                    <a:pt x="3674" y="1317"/>
                  </a:lnTo>
                  <a:close/>
                  <a:moveTo>
                    <a:pt x="101" y="1312"/>
                  </a:moveTo>
                  <a:cubicBezTo>
                    <a:pt x="73" y="1312"/>
                    <a:pt x="50" y="1324"/>
                    <a:pt x="33" y="1344"/>
                  </a:cubicBezTo>
                  <a:cubicBezTo>
                    <a:pt x="32" y="1344"/>
                    <a:pt x="32" y="1344"/>
                    <a:pt x="32" y="1344"/>
                  </a:cubicBezTo>
                  <a:cubicBezTo>
                    <a:pt x="32" y="1200"/>
                    <a:pt x="32" y="1200"/>
                    <a:pt x="32" y="1200"/>
                  </a:cubicBezTo>
                  <a:cubicBezTo>
                    <a:pt x="0" y="1200"/>
                    <a:pt x="0" y="1200"/>
                    <a:pt x="0" y="1200"/>
                  </a:cubicBezTo>
                  <a:cubicBezTo>
                    <a:pt x="0" y="1507"/>
                    <a:pt x="0" y="1507"/>
                    <a:pt x="0" y="1507"/>
                  </a:cubicBezTo>
                  <a:cubicBezTo>
                    <a:pt x="32" y="1507"/>
                    <a:pt x="32" y="1507"/>
                    <a:pt x="32" y="1507"/>
                  </a:cubicBezTo>
                  <a:cubicBezTo>
                    <a:pt x="32" y="1473"/>
                    <a:pt x="32" y="1473"/>
                    <a:pt x="32" y="1473"/>
                  </a:cubicBezTo>
                  <a:cubicBezTo>
                    <a:pt x="33" y="1473"/>
                    <a:pt x="33" y="1473"/>
                    <a:pt x="33" y="1473"/>
                  </a:cubicBezTo>
                  <a:cubicBezTo>
                    <a:pt x="45" y="1495"/>
                    <a:pt x="72" y="1512"/>
                    <a:pt x="106" y="1512"/>
                  </a:cubicBezTo>
                  <a:cubicBezTo>
                    <a:pt x="159" y="1512"/>
                    <a:pt x="201" y="1469"/>
                    <a:pt x="201" y="1412"/>
                  </a:cubicBezTo>
                  <a:cubicBezTo>
                    <a:pt x="201" y="1354"/>
                    <a:pt x="161" y="1312"/>
                    <a:pt x="101" y="1312"/>
                  </a:cubicBezTo>
                  <a:close/>
                  <a:moveTo>
                    <a:pt x="99" y="1482"/>
                  </a:moveTo>
                  <a:cubicBezTo>
                    <a:pt x="58" y="1482"/>
                    <a:pt x="32" y="1452"/>
                    <a:pt x="32" y="1412"/>
                  </a:cubicBezTo>
                  <a:cubicBezTo>
                    <a:pt x="32" y="1372"/>
                    <a:pt x="58" y="1341"/>
                    <a:pt x="99" y="1341"/>
                  </a:cubicBezTo>
                  <a:cubicBezTo>
                    <a:pt x="140" y="1341"/>
                    <a:pt x="167" y="1372"/>
                    <a:pt x="167" y="1412"/>
                  </a:cubicBezTo>
                  <a:cubicBezTo>
                    <a:pt x="167" y="1452"/>
                    <a:pt x="140" y="1482"/>
                    <a:pt x="99" y="1482"/>
                  </a:cubicBezTo>
                  <a:close/>
                  <a:moveTo>
                    <a:pt x="333" y="1312"/>
                  </a:moveTo>
                  <a:cubicBezTo>
                    <a:pt x="275" y="1312"/>
                    <a:pt x="232" y="1352"/>
                    <a:pt x="232" y="1412"/>
                  </a:cubicBezTo>
                  <a:cubicBezTo>
                    <a:pt x="232" y="1471"/>
                    <a:pt x="275" y="1512"/>
                    <a:pt x="333" y="1512"/>
                  </a:cubicBezTo>
                  <a:cubicBezTo>
                    <a:pt x="392" y="1512"/>
                    <a:pt x="435" y="1471"/>
                    <a:pt x="435" y="1412"/>
                  </a:cubicBezTo>
                  <a:cubicBezTo>
                    <a:pt x="435" y="1352"/>
                    <a:pt x="392" y="1312"/>
                    <a:pt x="333" y="1312"/>
                  </a:cubicBezTo>
                  <a:close/>
                  <a:moveTo>
                    <a:pt x="333" y="1482"/>
                  </a:moveTo>
                  <a:cubicBezTo>
                    <a:pt x="292" y="1482"/>
                    <a:pt x="266" y="1452"/>
                    <a:pt x="266" y="1412"/>
                  </a:cubicBezTo>
                  <a:cubicBezTo>
                    <a:pt x="266" y="1372"/>
                    <a:pt x="292" y="1341"/>
                    <a:pt x="333" y="1341"/>
                  </a:cubicBezTo>
                  <a:cubicBezTo>
                    <a:pt x="374" y="1341"/>
                    <a:pt x="401" y="1372"/>
                    <a:pt x="401" y="1412"/>
                  </a:cubicBezTo>
                  <a:cubicBezTo>
                    <a:pt x="401" y="1452"/>
                    <a:pt x="374" y="1482"/>
                    <a:pt x="333" y="1482"/>
                  </a:cubicBezTo>
                  <a:close/>
                  <a:moveTo>
                    <a:pt x="638" y="1462"/>
                  </a:moveTo>
                  <a:cubicBezTo>
                    <a:pt x="638" y="1479"/>
                    <a:pt x="640" y="1494"/>
                    <a:pt x="640" y="1507"/>
                  </a:cubicBezTo>
                  <a:cubicBezTo>
                    <a:pt x="610" y="1507"/>
                    <a:pt x="610" y="1507"/>
                    <a:pt x="610" y="1507"/>
                  </a:cubicBezTo>
                  <a:cubicBezTo>
                    <a:pt x="610" y="1497"/>
                    <a:pt x="609" y="1486"/>
                    <a:pt x="609" y="1476"/>
                  </a:cubicBezTo>
                  <a:cubicBezTo>
                    <a:pt x="608" y="1476"/>
                    <a:pt x="608" y="1476"/>
                    <a:pt x="608" y="1476"/>
                  </a:cubicBezTo>
                  <a:cubicBezTo>
                    <a:pt x="599" y="1494"/>
                    <a:pt x="576" y="1512"/>
                    <a:pt x="545" y="1512"/>
                  </a:cubicBezTo>
                  <a:cubicBezTo>
                    <a:pt x="495" y="1512"/>
                    <a:pt x="472" y="1480"/>
                    <a:pt x="472" y="1434"/>
                  </a:cubicBezTo>
                  <a:cubicBezTo>
                    <a:pt x="472" y="1317"/>
                    <a:pt x="472" y="1317"/>
                    <a:pt x="472" y="1317"/>
                  </a:cubicBezTo>
                  <a:cubicBezTo>
                    <a:pt x="504" y="1317"/>
                    <a:pt x="504" y="1317"/>
                    <a:pt x="504" y="1317"/>
                  </a:cubicBezTo>
                  <a:cubicBezTo>
                    <a:pt x="504" y="1431"/>
                    <a:pt x="504" y="1431"/>
                    <a:pt x="504" y="1431"/>
                  </a:cubicBezTo>
                  <a:cubicBezTo>
                    <a:pt x="504" y="1462"/>
                    <a:pt x="518" y="1482"/>
                    <a:pt x="547" y="1482"/>
                  </a:cubicBezTo>
                  <a:cubicBezTo>
                    <a:pt x="588" y="1482"/>
                    <a:pt x="606" y="1453"/>
                    <a:pt x="606" y="1409"/>
                  </a:cubicBezTo>
                  <a:cubicBezTo>
                    <a:pt x="606" y="1317"/>
                    <a:pt x="606" y="1317"/>
                    <a:pt x="606" y="1317"/>
                  </a:cubicBezTo>
                  <a:cubicBezTo>
                    <a:pt x="638" y="1317"/>
                    <a:pt x="638" y="1317"/>
                    <a:pt x="638" y="1317"/>
                  </a:cubicBezTo>
                  <a:lnTo>
                    <a:pt x="638" y="1462"/>
                  </a:lnTo>
                  <a:close/>
                  <a:moveTo>
                    <a:pt x="1032" y="1281"/>
                  </a:moveTo>
                  <a:cubicBezTo>
                    <a:pt x="1032" y="1317"/>
                    <a:pt x="1032" y="1317"/>
                    <a:pt x="1032" y="1317"/>
                  </a:cubicBezTo>
                  <a:cubicBezTo>
                    <a:pt x="1078" y="1317"/>
                    <a:pt x="1078" y="1317"/>
                    <a:pt x="1078" y="1317"/>
                  </a:cubicBezTo>
                  <a:cubicBezTo>
                    <a:pt x="1078" y="1343"/>
                    <a:pt x="1078" y="1343"/>
                    <a:pt x="1078" y="1343"/>
                  </a:cubicBezTo>
                  <a:cubicBezTo>
                    <a:pt x="1032" y="1343"/>
                    <a:pt x="1032" y="1343"/>
                    <a:pt x="1032" y="1343"/>
                  </a:cubicBezTo>
                  <a:cubicBezTo>
                    <a:pt x="1032" y="1507"/>
                    <a:pt x="1032" y="1507"/>
                    <a:pt x="1032" y="1507"/>
                  </a:cubicBezTo>
                  <a:cubicBezTo>
                    <a:pt x="1000" y="1507"/>
                    <a:pt x="1000" y="1507"/>
                    <a:pt x="1000" y="1507"/>
                  </a:cubicBezTo>
                  <a:cubicBezTo>
                    <a:pt x="1000" y="1343"/>
                    <a:pt x="1000" y="1343"/>
                    <a:pt x="1000" y="1343"/>
                  </a:cubicBezTo>
                  <a:cubicBezTo>
                    <a:pt x="953" y="1343"/>
                    <a:pt x="953" y="1343"/>
                    <a:pt x="953" y="1343"/>
                  </a:cubicBezTo>
                  <a:cubicBezTo>
                    <a:pt x="953" y="1343"/>
                    <a:pt x="953" y="1343"/>
                    <a:pt x="953" y="1343"/>
                  </a:cubicBezTo>
                  <a:cubicBezTo>
                    <a:pt x="900" y="1507"/>
                    <a:pt x="900" y="1507"/>
                    <a:pt x="900" y="1507"/>
                  </a:cubicBezTo>
                  <a:cubicBezTo>
                    <a:pt x="869" y="1507"/>
                    <a:pt x="869" y="1507"/>
                    <a:pt x="869" y="1507"/>
                  </a:cubicBezTo>
                  <a:cubicBezTo>
                    <a:pt x="815" y="1361"/>
                    <a:pt x="815" y="1361"/>
                    <a:pt x="815" y="1361"/>
                  </a:cubicBezTo>
                  <a:cubicBezTo>
                    <a:pt x="814" y="1361"/>
                    <a:pt x="814" y="1361"/>
                    <a:pt x="814" y="1361"/>
                  </a:cubicBezTo>
                  <a:cubicBezTo>
                    <a:pt x="766" y="1507"/>
                    <a:pt x="766" y="1507"/>
                    <a:pt x="766" y="1507"/>
                  </a:cubicBezTo>
                  <a:cubicBezTo>
                    <a:pt x="733" y="1507"/>
                    <a:pt x="733" y="1507"/>
                    <a:pt x="733" y="1507"/>
                  </a:cubicBezTo>
                  <a:cubicBezTo>
                    <a:pt x="671" y="1317"/>
                    <a:pt x="671" y="1317"/>
                    <a:pt x="671" y="1317"/>
                  </a:cubicBezTo>
                  <a:cubicBezTo>
                    <a:pt x="706" y="1317"/>
                    <a:pt x="706" y="1317"/>
                    <a:pt x="706" y="1317"/>
                  </a:cubicBezTo>
                  <a:cubicBezTo>
                    <a:pt x="750" y="1463"/>
                    <a:pt x="750" y="1463"/>
                    <a:pt x="750" y="1463"/>
                  </a:cubicBezTo>
                  <a:cubicBezTo>
                    <a:pt x="751" y="1463"/>
                    <a:pt x="751" y="1463"/>
                    <a:pt x="751" y="1463"/>
                  </a:cubicBezTo>
                  <a:cubicBezTo>
                    <a:pt x="800" y="1317"/>
                    <a:pt x="800" y="1317"/>
                    <a:pt x="800" y="1317"/>
                  </a:cubicBezTo>
                  <a:cubicBezTo>
                    <a:pt x="833" y="1317"/>
                    <a:pt x="833" y="1317"/>
                    <a:pt x="833" y="1317"/>
                  </a:cubicBezTo>
                  <a:cubicBezTo>
                    <a:pt x="883" y="1463"/>
                    <a:pt x="883" y="1463"/>
                    <a:pt x="883" y="1463"/>
                  </a:cubicBezTo>
                  <a:cubicBezTo>
                    <a:pt x="884" y="1463"/>
                    <a:pt x="884" y="1463"/>
                    <a:pt x="884" y="1463"/>
                  </a:cubicBezTo>
                  <a:cubicBezTo>
                    <a:pt x="927" y="1317"/>
                    <a:pt x="927" y="1317"/>
                    <a:pt x="927" y="1317"/>
                  </a:cubicBezTo>
                  <a:cubicBezTo>
                    <a:pt x="953" y="1317"/>
                    <a:pt x="953" y="1317"/>
                    <a:pt x="953" y="1317"/>
                  </a:cubicBezTo>
                  <a:cubicBezTo>
                    <a:pt x="961" y="1317"/>
                    <a:pt x="961" y="1317"/>
                    <a:pt x="961" y="1317"/>
                  </a:cubicBezTo>
                  <a:cubicBezTo>
                    <a:pt x="1000" y="1317"/>
                    <a:pt x="1000" y="1317"/>
                    <a:pt x="1000" y="1317"/>
                  </a:cubicBezTo>
                  <a:cubicBezTo>
                    <a:pt x="1000" y="1274"/>
                    <a:pt x="1000" y="1274"/>
                    <a:pt x="1000" y="1274"/>
                  </a:cubicBezTo>
                  <a:cubicBezTo>
                    <a:pt x="1000" y="1228"/>
                    <a:pt x="1016" y="1195"/>
                    <a:pt x="1068" y="1195"/>
                  </a:cubicBezTo>
                  <a:cubicBezTo>
                    <a:pt x="1076" y="1195"/>
                    <a:pt x="1086" y="1196"/>
                    <a:pt x="1092" y="1200"/>
                  </a:cubicBezTo>
                  <a:cubicBezTo>
                    <a:pt x="1088" y="1228"/>
                    <a:pt x="1088" y="1228"/>
                    <a:pt x="1088" y="1228"/>
                  </a:cubicBezTo>
                  <a:cubicBezTo>
                    <a:pt x="1081" y="1226"/>
                    <a:pt x="1073" y="1224"/>
                    <a:pt x="1066" y="1224"/>
                  </a:cubicBezTo>
                  <a:cubicBezTo>
                    <a:pt x="1033" y="1224"/>
                    <a:pt x="1032" y="1248"/>
                    <a:pt x="1032" y="1281"/>
                  </a:cubicBezTo>
                  <a:close/>
                  <a:moveTo>
                    <a:pt x="1191" y="1312"/>
                  </a:moveTo>
                  <a:cubicBezTo>
                    <a:pt x="1133" y="1312"/>
                    <a:pt x="1090" y="1352"/>
                    <a:pt x="1090" y="1412"/>
                  </a:cubicBezTo>
                  <a:cubicBezTo>
                    <a:pt x="1090" y="1471"/>
                    <a:pt x="1133" y="1512"/>
                    <a:pt x="1191" y="1512"/>
                  </a:cubicBezTo>
                  <a:cubicBezTo>
                    <a:pt x="1250" y="1512"/>
                    <a:pt x="1293" y="1471"/>
                    <a:pt x="1293" y="1412"/>
                  </a:cubicBezTo>
                  <a:cubicBezTo>
                    <a:pt x="1293" y="1352"/>
                    <a:pt x="1250" y="1312"/>
                    <a:pt x="1191" y="1312"/>
                  </a:cubicBezTo>
                  <a:close/>
                  <a:moveTo>
                    <a:pt x="1191" y="1482"/>
                  </a:moveTo>
                  <a:cubicBezTo>
                    <a:pt x="1150" y="1482"/>
                    <a:pt x="1124" y="1452"/>
                    <a:pt x="1124" y="1412"/>
                  </a:cubicBezTo>
                  <a:cubicBezTo>
                    <a:pt x="1124" y="1372"/>
                    <a:pt x="1150" y="1341"/>
                    <a:pt x="1191" y="1341"/>
                  </a:cubicBezTo>
                  <a:cubicBezTo>
                    <a:pt x="1233" y="1341"/>
                    <a:pt x="1259" y="1372"/>
                    <a:pt x="1259" y="1412"/>
                  </a:cubicBezTo>
                  <a:cubicBezTo>
                    <a:pt x="1259" y="1452"/>
                    <a:pt x="1233" y="1482"/>
                    <a:pt x="1191" y="1482"/>
                  </a:cubicBezTo>
                  <a:close/>
                  <a:moveTo>
                    <a:pt x="1497" y="1389"/>
                  </a:moveTo>
                  <a:cubicBezTo>
                    <a:pt x="1497" y="1507"/>
                    <a:pt x="1497" y="1507"/>
                    <a:pt x="1497" y="1507"/>
                  </a:cubicBezTo>
                  <a:cubicBezTo>
                    <a:pt x="1465" y="1507"/>
                    <a:pt x="1465" y="1507"/>
                    <a:pt x="1465" y="1507"/>
                  </a:cubicBezTo>
                  <a:cubicBezTo>
                    <a:pt x="1465" y="1393"/>
                    <a:pt x="1465" y="1393"/>
                    <a:pt x="1465" y="1393"/>
                  </a:cubicBezTo>
                  <a:cubicBezTo>
                    <a:pt x="1465" y="1361"/>
                    <a:pt x="1452" y="1341"/>
                    <a:pt x="1422" y="1341"/>
                  </a:cubicBezTo>
                  <a:cubicBezTo>
                    <a:pt x="1381" y="1341"/>
                    <a:pt x="1363" y="1371"/>
                    <a:pt x="1363" y="1414"/>
                  </a:cubicBezTo>
                  <a:cubicBezTo>
                    <a:pt x="1363" y="1507"/>
                    <a:pt x="1363" y="1507"/>
                    <a:pt x="1363" y="1507"/>
                  </a:cubicBezTo>
                  <a:cubicBezTo>
                    <a:pt x="1331" y="1507"/>
                    <a:pt x="1331" y="1507"/>
                    <a:pt x="1331" y="1507"/>
                  </a:cubicBezTo>
                  <a:cubicBezTo>
                    <a:pt x="1331" y="1362"/>
                    <a:pt x="1331" y="1362"/>
                    <a:pt x="1331" y="1362"/>
                  </a:cubicBezTo>
                  <a:cubicBezTo>
                    <a:pt x="1331" y="1344"/>
                    <a:pt x="1330" y="1329"/>
                    <a:pt x="1330" y="1317"/>
                  </a:cubicBezTo>
                  <a:cubicBezTo>
                    <a:pt x="1360" y="1317"/>
                    <a:pt x="1360" y="1317"/>
                    <a:pt x="1360" y="1317"/>
                  </a:cubicBezTo>
                  <a:cubicBezTo>
                    <a:pt x="1360" y="1327"/>
                    <a:pt x="1360" y="1337"/>
                    <a:pt x="1360" y="1348"/>
                  </a:cubicBezTo>
                  <a:cubicBezTo>
                    <a:pt x="1361" y="1348"/>
                    <a:pt x="1361" y="1348"/>
                    <a:pt x="1361" y="1348"/>
                  </a:cubicBezTo>
                  <a:cubicBezTo>
                    <a:pt x="1370" y="1329"/>
                    <a:pt x="1393" y="1312"/>
                    <a:pt x="1425" y="1312"/>
                  </a:cubicBezTo>
                  <a:cubicBezTo>
                    <a:pt x="1475" y="1312"/>
                    <a:pt x="1497" y="1343"/>
                    <a:pt x="1497" y="1389"/>
                  </a:cubicBezTo>
                  <a:close/>
                  <a:moveTo>
                    <a:pt x="1707" y="1344"/>
                  </a:moveTo>
                  <a:cubicBezTo>
                    <a:pt x="1706" y="1344"/>
                    <a:pt x="1706" y="1344"/>
                    <a:pt x="1706" y="1344"/>
                  </a:cubicBezTo>
                  <a:cubicBezTo>
                    <a:pt x="1689" y="1324"/>
                    <a:pt x="1666" y="1312"/>
                    <a:pt x="1638" y="1312"/>
                  </a:cubicBezTo>
                  <a:cubicBezTo>
                    <a:pt x="1578" y="1312"/>
                    <a:pt x="1538" y="1354"/>
                    <a:pt x="1538" y="1412"/>
                  </a:cubicBezTo>
                  <a:cubicBezTo>
                    <a:pt x="1538" y="1469"/>
                    <a:pt x="1580" y="1512"/>
                    <a:pt x="1633" y="1512"/>
                  </a:cubicBezTo>
                  <a:cubicBezTo>
                    <a:pt x="1667" y="1512"/>
                    <a:pt x="1695" y="1495"/>
                    <a:pt x="1706" y="1473"/>
                  </a:cubicBezTo>
                  <a:cubicBezTo>
                    <a:pt x="1707" y="1473"/>
                    <a:pt x="1707" y="1473"/>
                    <a:pt x="1707" y="1473"/>
                  </a:cubicBezTo>
                  <a:cubicBezTo>
                    <a:pt x="1707" y="1507"/>
                    <a:pt x="1707" y="1507"/>
                    <a:pt x="1707" y="1507"/>
                  </a:cubicBezTo>
                  <a:cubicBezTo>
                    <a:pt x="1739" y="1507"/>
                    <a:pt x="1739" y="1507"/>
                    <a:pt x="1739" y="1507"/>
                  </a:cubicBezTo>
                  <a:cubicBezTo>
                    <a:pt x="1739" y="1200"/>
                    <a:pt x="1739" y="1200"/>
                    <a:pt x="1739" y="1200"/>
                  </a:cubicBezTo>
                  <a:cubicBezTo>
                    <a:pt x="1707" y="1200"/>
                    <a:pt x="1707" y="1200"/>
                    <a:pt x="1707" y="1200"/>
                  </a:cubicBezTo>
                  <a:lnTo>
                    <a:pt x="1707" y="1344"/>
                  </a:lnTo>
                  <a:close/>
                  <a:moveTo>
                    <a:pt x="1640" y="1482"/>
                  </a:moveTo>
                  <a:cubicBezTo>
                    <a:pt x="1599" y="1482"/>
                    <a:pt x="1572" y="1452"/>
                    <a:pt x="1572" y="1412"/>
                  </a:cubicBezTo>
                  <a:cubicBezTo>
                    <a:pt x="1572" y="1372"/>
                    <a:pt x="1599" y="1341"/>
                    <a:pt x="1640" y="1341"/>
                  </a:cubicBezTo>
                  <a:cubicBezTo>
                    <a:pt x="1681" y="1341"/>
                    <a:pt x="1707" y="1372"/>
                    <a:pt x="1707" y="1412"/>
                  </a:cubicBezTo>
                  <a:cubicBezTo>
                    <a:pt x="1707" y="1452"/>
                    <a:pt x="1681" y="1482"/>
                    <a:pt x="1640" y="1482"/>
                  </a:cubicBezTo>
                  <a:close/>
                  <a:moveTo>
                    <a:pt x="1930" y="1452"/>
                  </a:moveTo>
                  <a:cubicBezTo>
                    <a:pt x="1930" y="1495"/>
                    <a:pt x="1891" y="1512"/>
                    <a:pt x="1854" y="1512"/>
                  </a:cubicBezTo>
                  <a:cubicBezTo>
                    <a:pt x="1821" y="1512"/>
                    <a:pt x="1798" y="1503"/>
                    <a:pt x="1780" y="1476"/>
                  </a:cubicBezTo>
                  <a:cubicBezTo>
                    <a:pt x="1805" y="1457"/>
                    <a:pt x="1805" y="1457"/>
                    <a:pt x="1805" y="1457"/>
                  </a:cubicBezTo>
                  <a:cubicBezTo>
                    <a:pt x="1817" y="1472"/>
                    <a:pt x="1831" y="1482"/>
                    <a:pt x="1854" y="1482"/>
                  </a:cubicBezTo>
                  <a:cubicBezTo>
                    <a:pt x="1873" y="1482"/>
                    <a:pt x="1895" y="1474"/>
                    <a:pt x="1895" y="1453"/>
                  </a:cubicBezTo>
                  <a:cubicBezTo>
                    <a:pt x="1895" y="1433"/>
                    <a:pt x="1875" y="1428"/>
                    <a:pt x="1855" y="1423"/>
                  </a:cubicBezTo>
                  <a:cubicBezTo>
                    <a:pt x="1819" y="1415"/>
                    <a:pt x="1788" y="1407"/>
                    <a:pt x="1788" y="1368"/>
                  </a:cubicBezTo>
                  <a:cubicBezTo>
                    <a:pt x="1788" y="1331"/>
                    <a:pt x="1823" y="1312"/>
                    <a:pt x="1859" y="1312"/>
                  </a:cubicBezTo>
                  <a:cubicBezTo>
                    <a:pt x="1886" y="1312"/>
                    <a:pt x="1910" y="1322"/>
                    <a:pt x="1923" y="1346"/>
                  </a:cubicBezTo>
                  <a:cubicBezTo>
                    <a:pt x="1897" y="1364"/>
                    <a:pt x="1897" y="1364"/>
                    <a:pt x="1897" y="1364"/>
                  </a:cubicBezTo>
                  <a:cubicBezTo>
                    <a:pt x="1889" y="1350"/>
                    <a:pt x="1875" y="1341"/>
                    <a:pt x="1857" y="1341"/>
                  </a:cubicBezTo>
                  <a:cubicBezTo>
                    <a:pt x="1839" y="1341"/>
                    <a:pt x="1819" y="1350"/>
                    <a:pt x="1819" y="1367"/>
                  </a:cubicBezTo>
                  <a:cubicBezTo>
                    <a:pt x="1819" y="1383"/>
                    <a:pt x="1842" y="1390"/>
                    <a:pt x="1867" y="1395"/>
                  </a:cubicBezTo>
                  <a:cubicBezTo>
                    <a:pt x="1901" y="1402"/>
                    <a:pt x="1930" y="1414"/>
                    <a:pt x="1930" y="14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19" name="Freeform 22">
              <a:extLst>
                <a:ext uri="{FF2B5EF4-FFF2-40B4-BE49-F238E27FC236}">
                  <a16:creationId xmlns:a16="http://schemas.microsoft.com/office/drawing/2014/main" id="{056F825F-F1D7-4C48-9C9A-4621405E9A59}"/>
                </a:ext>
              </a:extLst>
            </p:cNvPr>
            <p:cNvSpPr>
              <a:spLocks noSelect="1"/>
            </p:cNvSpPr>
            <p:nvPr userDrawn="1"/>
          </p:nvSpPr>
          <p:spPr bwMode="gray">
            <a:xfrm>
              <a:off x="402" y="3915"/>
              <a:ext cx="124" cy="124"/>
            </a:xfrm>
            <a:custGeom>
              <a:avLst/>
              <a:gdLst>
                <a:gd name="T0" fmla="*/ 124 w 124"/>
                <a:gd name="T1" fmla="*/ 80 h 124"/>
                <a:gd name="T2" fmla="*/ 80 w 124"/>
                <a:gd name="T3" fmla="*/ 124 h 124"/>
                <a:gd name="T4" fmla="*/ 0 w 124"/>
                <a:gd name="T5" fmla="*/ 44 h 124"/>
                <a:gd name="T6" fmla="*/ 43 w 124"/>
                <a:gd name="T7" fmla="*/ 0 h 124"/>
                <a:gd name="T8" fmla="*/ 84 w 124"/>
                <a:gd name="T9" fmla="*/ 40 h 124"/>
                <a:gd name="T10" fmla="*/ 124 w 124"/>
                <a:gd name="T11" fmla="*/ 80 h 124"/>
              </a:gdLst>
              <a:ahLst/>
              <a:cxnLst>
                <a:cxn ang="0">
                  <a:pos x="T0" y="T1"/>
                </a:cxn>
                <a:cxn ang="0">
                  <a:pos x="T2" y="T3"/>
                </a:cxn>
                <a:cxn ang="0">
                  <a:pos x="T4" y="T5"/>
                </a:cxn>
                <a:cxn ang="0">
                  <a:pos x="T6" y="T7"/>
                </a:cxn>
                <a:cxn ang="0">
                  <a:pos x="T8" y="T9"/>
                </a:cxn>
                <a:cxn ang="0">
                  <a:pos x="T10" y="T11"/>
                </a:cxn>
              </a:cxnLst>
              <a:rect l="0" t="0" r="r" b="b"/>
              <a:pathLst>
                <a:path w="124" h="124">
                  <a:moveTo>
                    <a:pt x="124" y="80"/>
                  </a:moveTo>
                  <a:lnTo>
                    <a:pt x="80" y="124"/>
                  </a:lnTo>
                  <a:lnTo>
                    <a:pt x="0" y="44"/>
                  </a:lnTo>
                  <a:lnTo>
                    <a:pt x="43" y="0"/>
                  </a:lnTo>
                  <a:lnTo>
                    <a:pt x="84" y="40"/>
                  </a:lnTo>
                  <a:lnTo>
                    <a:pt x="124" y="80"/>
                  </a:lnTo>
                  <a:close/>
                </a:path>
              </a:pathLst>
            </a:custGeom>
            <a:solidFill>
              <a:srgbClr val="C737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0" name="Freeform 23">
              <a:extLst>
                <a:ext uri="{FF2B5EF4-FFF2-40B4-BE49-F238E27FC236}">
                  <a16:creationId xmlns:a16="http://schemas.microsoft.com/office/drawing/2014/main" id="{20761D69-0BF0-4357-8229-0996157BCDCD}"/>
                </a:ext>
              </a:extLst>
            </p:cNvPr>
            <p:cNvSpPr>
              <a:spLocks noSelect="1"/>
            </p:cNvSpPr>
            <p:nvPr userDrawn="1"/>
          </p:nvSpPr>
          <p:spPr bwMode="gray">
            <a:xfrm>
              <a:off x="438" y="3873"/>
              <a:ext cx="124" cy="89"/>
            </a:xfrm>
            <a:custGeom>
              <a:avLst/>
              <a:gdLst>
                <a:gd name="T0" fmla="*/ 124 w 124"/>
                <a:gd name="T1" fmla="*/ 6 h 89"/>
                <a:gd name="T2" fmla="*/ 120 w 124"/>
                <a:gd name="T3" fmla="*/ 14 h 89"/>
                <a:gd name="T4" fmla="*/ 47 w 124"/>
                <a:gd name="T5" fmla="*/ 89 h 89"/>
                <a:gd name="T6" fmla="*/ 0 w 124"/>
                <a:gd name="T7" fmla="*/ 41 h 89"/>
                <a:gd name="T8" fmla="*/ 44 w 124"/>
                <a:gd name="T9" fmla="*/ 0 h 89"/>
                <a:gd name="T10" fmla="*/ 124 w 124"/>
                <a:gd name="T11" fmla="*/ 6 h 89"/>
              </a:gdLst>
              <a:ahLst/>
              <a:cxnLst>
                <a:cxn ang="0">
                  <a:pos x="T0" y="T1"/>
                </a:cxn>
                <a:cxn ang="0">
                  <a:pos x="T2" y="T3"/>
                </a:cxn>
                <a:cxn ang="0">
                  <a:pos x="T4" y="T5"/>
                </a:cxn>
                <a:cxn ang="0">
                  <a:pos x="T6" y="T7"/>
                </a:cxn>
                <a:cxn ang="0">
                  <a:pos x="T8" y="T9"/>
                </a:cxn>
                <a:cxn ang="0">
                  <a:pos x="T10" y="T11"/>
                </a:cxn>
              </a:cxnLst>
              <a:rect l="0" t="0" r="r" b="b"/>
              <a:pathLst>
                <a:path w="124" h="89">
                  <a:moveTo>
                    <a:pt x="124" y="6"/>
                  </a:moveTo>
                  <a:lnTo>
                    <a:pt x="120" y="14"/>
                  </a:lnTo>
                  <a:lnTo>
                    <a:pt x="47" y="89"/>
                  </a:lnTo>
                  <a:lnTo>
                    <a:pt x="0" y="41"/>
                  </a:lnTo>
                  <a:lnTo>
                    <a:pt x="44" y="0"/>
                  </a:lnTo>
                  <a:lnTo>
                    <a:pt x="124" y="6"/>
                  </a:lnTo>
                  <a:close/>
                </a:path>
              </a:pathLst>
            </a:custGeom>
            <a:solidFill>
              <a:srgbClr val="9C1E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1" name="Freeform 24">
              <a:extLst>
                <a:ext uri="{FF2B5EF4-FFF2-40B4-BE49-F238E27FC236}">
                  <a16:creationId xmlns:a16="http://schemas.microsoft.com/office/drawing/2014/main" id="{4C3FBA13-5216-47D4-9895-D18AEC111867}"/>
                </a:ext>
              </a:extLst>
            </p:cNvPr>
            <p:cNvSpPr>
              <a:spLocks noSelect="1"/>
            </p:cNvSpPr>
            <p:nvPr userDrawn="1"/>
          </p:nvSpPr>
          <p:spPr bwMode="gray">
            <a:xfrm>
              <a:off x="482" y="3879"/>
              <a:ext cx="83" cy="122"/>
            </a:xfrm>
            <a:custGeom>
              <a:avLst/>
              <a:gdLst>
                <a:gd name="T0" fmla="*/ 80 w 83"/>
                <a:gd name="T1" fmla="*/ 0 h 122"/>
                <a:gd name="T2" fmla="*/ 83 w 83"/>
                <a:gd name="T3" fmla="*/ 80 h 122"/>
                <a:gd name="T4" fmla="*/ 42 w 83"/>
                <a:gd name="T5" fmla="*/ 122 h 122"/>
                <a:gd name="T6" fmla="*/ 0 w 83"/>
                <a:gd name="T7" fmla="*/ 80 h 122"/>
                <a:gd name="T8" fmla="*/ 80 w 83"/>
                <a:gd name="T9" fmla="*/ 0 h 122"/>
              </a:gdLst>
              <a:ahLst/>
              <a:cxnLst>
                <a:cxn ang="0">
                  <a:pos x="T0" y="T1"/>
                </a:cxn>
                <a:cxn ang="0">
                  <a:pos x="T2" y="T3"/>
                </a:cxn>
                <a:cxn ang="0">
                  <a:pos x="T4" y="T5"/>
                </a:cxn>
                <a:cxn ang="0">
                  <a:pos x="T6" y="T7"/>
                </a:cxn>
                <a:cxn ang="0">
                  <a:pos x="T8" y="T9"/>
                </a:cxn>
              </a:cxnLst>
              <a:rect l="0" t="0" r="r" b="b"/>
              <a:pathLst>
                <a:path w="83" h="122">
                  <a:moveTo>
                    <a:pt x="80" y="0"/>
                  </a:moveTo>
                  <a:lnTo>
                    <a:pt x="83" y="80"/>
                  </a:lnTo>
                  <a:lnTo>
                    <a:pt x="42" y="122"/>
                  </a:lnTo>
                  <a:lnTo>
                    <a:pt x="0" y="80"/>
                  </a:lnTo>
                  <a:lnTo>
                    <a:pt x="80" y="0"/>
                  </a:lnTo>
                  <a:close/>
                </a:path>
              </a:pathLst>
            </a:custGeom>
            <a:solidFill>
              <a:srgbClr val="C816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2" name="Freeform 25">
              <a:extLst>
                <a:ext uri="{FF2B5EF4-FFF2-40B4-BE49-F238E27FC236}">
                  <a16:creationId xmlns:a16="http://schemas.microsoft.com/office/drawing/2014/main" id="{63FE74A7-7D46-4DDA-9223-2CC2BBEA887D}"/>
                </a:ext>
              </a:extLst>
            </p:cNvPr>
            <p:cNvSpPr>
              <a:spLocks noSelect="1"/>
            </p:cNvSpPr>
            <p:nvPr userDrawn="1"/>
          </p:nvSpPr>
          <p:spPr bwMode="gray">
            <a:xfrm>
              <a:off x="522" y="3879"/>
              <a:ext cx="120" cy="160"/>
            </a:xfrm>
            <a:custGeom>
              <a:avLst/>
              <a:gdLst>
                <a:gd name="T0" fmla="*/ 120 w 120"/>
                <a:gd name="T1" fmla="*/ 0 h 160"/>
                <a:gd name="T2" fmla="*/ 120 w 120"/>
                <a:gd name="T3" fmla="*/ 80 h 160"/>
                <a:gd name="T4" fmla="*/ 40 w 120"/>
                <a:gd name="T5" fmla="*/ 160 h 160"/>
                <a:gd name="T6" fmla="*/ 0 w 120"/>
                <a:gd name="T7" fmla="*/ 120 h 160"/>
                <a:gd name="T8" fmla="*/ 40 w 120"/>
                <a:gd name="T9" fmla="*/ 80 h 160"/>
                <a:gd name="T10" fmla="*/ 40 w 120"/>
                <a:gd name="T11" fmla="*/ 0 h 160"/>
                <a:gd name="T12" fmla="*/ 120 w 120"/>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20" h="160">
                  <a:moveTo>
                    <a:pt x="120" y="0"/>
                  </a:moveTo>
                  <a:lnTo>
                    <a:pt x="120" y="80"/>
                  </a:lnTo>
                  <a:lnTo>
                    <a:pt x="40" y="160"/>
                  </a:lnTo>
                  <a:lnTo>
                    <a:pt x="0" y="120"/>
                  </a:lnTo>
                  <a:lnTo>
                    <a:pt x="40" y="80"/>
                  </a:lnTo>
                  <a:lnTo>
                    <a:pt x="40" y="0"/>
                  </a:lnTo>
                  <a:lnTo>
                    <a:pt x="120" y="0"/>
                  </a:lnTo>
                  <a:close/>
                </a:path>
              </a:pathLst>
            </a:custGeom>
            <a:solidFill>
              <a:srgbClr val="BFCE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3" name="Freeform 26">
              <a:extLst>
                <a:ext uri="{FF2B5EF4-FFF2-40B4-BE49-F238E27FC236}">
                  <a16:creationId xmlns:a16="http://schemas.microsoft.com/office/drawing/2014/main" id="{AE6F7C02-17F5-4A71-95E5-AB7D4FD984E8}"/>
                </a:ext>
              </a:extLst>
            </p:cNvPr>
            <p:cNvSpPr>
              <a:spLocks noSelect="1"/>
            </p:cNvSpPr>
            <p:nvPr userDrawn="1"/>
          </p:nvSpPr>
          <p:spPr bwMode="gray">
            <a:xfrm>
              <a:off x="402" y="3799"/>
              <a:ext cx="160" cy="120"/>
            </a:xfrm>
            <a:custGeom>
              <a:avLst/>
              <a:gdLst>
                <a:gd name="T0" fmla="*/ 160 w 160"/>
                <a:gd name="T1" fmla="*/ 0 h 120"/>
                <a:gd name="T2" fmla="*/ 160 w 160"/>
                <a:gd name="T3" fmla="*/ 80 h 120"/>
                <a:gd name="T4" fmla="*/ 80 w 160"/>
                <a:gd name="T5" fmla="*/ 80 h 120"/>
                <a:gd name="T6" fmla="*/ 40 w 160"/>
                <a:gd name="T7" fmla="*/ 120 h 120"/>
                <a:gd name="T8" fmla="*/ 0 w 160"/>
                <a:gd name="T9" fmla="*/ 80 h 120"/>
                <a:gd name="T10" fmla="*/ 80 w 160"/>
                <a:gd name="T11" fmla="*/ 0 h 120"/>
                <a:gd name="T12" fmla="*/ 160 w 160"/>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60" h="120">
                  <a:moveTo>
                    <a:pt x="160" y="0"/>
                  </a:moveTo>
                  <a:lnTo>
                    <a:pt x="160" y="80"/>
                  </a:lnTo>
                  <a:lnTo>
                    <a:pt x="80" y="80"/>
                  </a:lnTo>
                  <a:lnTo>
                    <a:pt x="40" y="120"/>
                  </a:lnTo>
                  <a:lnTo>
                    <a:pt x="0" y="80"/>
                  </a:lnTo>
                  <a:lnTo>
                    <a:pt x="80" y="0"/>
                  </a:lnTo>
                  <a:lnTo>
                    <a:pt x="160" y="0"/>
                  </a:lnTo>
                  <a:close/>
                </a:path>
              </a:pathLst>
            </a:custGeom>
            <a:solidFill>
              <a:srgbClr val="78BC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grpSp>
      <p:sp>
        <p:nvSpPr>
          <p:cNvPr id="27" name="Tijdelijke aanduiding voor afbeelding 18">
            <a:extLst>
              <a:ext uri="{FF2B5EF4-FFF2-40B4-BE49-F238E27FC236}">
                <a16:creationId xmlns:a16="http://schemas.microsoft.com/office/drawing/2014/main" id="{723EA62C-02CD-4C68-B68D-DEC4F61E0C2F}"/>
              </a:ext>
            </a:extLst>
          </p:cNvPr>
          <p:cNvSpPr>
            <a:spLocks noGrp="1" noSelect="1"/>
          </p:cNvSpPr>
          <p:nvPr>
            <p:ph type="pic" idx="1002" hasCustomPrompt="1"/>
          </p:nvPr>
        </p:nvSpPr>
        <p:spPr bwMode="gray">
          <a:xfrm>
            <a:off x="0" y="1588"/>
            <a:ext cx="12195001" cy="3424172"/>
          </a:xfrm>
          <a:custGeom>
            <a:avLst/>
            <a:gdLst>
              <a:gd name="connsiteX0" fmla="*/ 0 w 12195001"/>
              <a:gd name="connsiteY0" fmla="*/ 0 h 3424172"/>
              <a:gd name="connsiteX1" fmla="*/ 12195001 w 12195001"/>
              <a:gd name="connsiteY1" fmla="*/ 0 h 3424172"/>
              <a:gd name="connsiteX2" fmla="*/ 12195001 w 12195001"/>
              <a:gd name="connsiteY2" fmla="*/ 3424172 h 3424172"/>
              <a:gd name="connsiteX3" fmla="*/ 1144522 w 12195001"/>
              <a:gd name="connsiteY3" fmla="*/ 3424172 h 3424172"/>
              <a:gd name="connsiteX4" fmla="*/ 0 w 12195001"/>
              <a:gd name="connsiteY4" fmla="*/ 2282825 h 3424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5001" h="3424172">
                <a:moveTo>
                  <a:pt x="0" y="0"/>
                </a:moveTo>
                <a:lnTo>
                  <a:pt x="12195001" y="0"/>
                </a:lnTo>
                <a:lnTo>
                  <a:pt x="12195001" y="3424172"/>
                </a:lnTo>
                <a:lnTo>
                  <a:pt x="1144522" y="3424172"/>
                </a:lnTo>
                <a:lnTo>
                  <a:pt x="0" y="2282825"/>
                </a:lnTo>
                <a:close/>
              </a:path>
            </a:pathLst>
          </a:custGeom>
          <a:noFill/>
        </p:spPr>
        <p:txBody>
          <a:bodyPr wrap="square" anchor="ctr" anchorCtr="0">
            <a:noAutofit/>
          </a:bodyPr>
          <a:lstStyle>
            <a:lvl1pPr marL="270108" indent="-270108" algn="l" defTabSz="1088937" rtl="0" eaLnBrk="1" latinLnBrk="0" hangingPunct="1">
              <a:spcBef>
                <a:spcPts val="0"/>
              </a:spcBef>
              <a:buFont typeface="Arial" pitchFamily="34" charset="0"/>
              <a:buNone/>
              <a:defRPr/>
            </a:lvl1pPr>
          </a:lstStyle>
          <a:p>
            <a:r>
              <a:rPr lang="nl-NL" dirty="0"/>
              <a:t>[Klik op icoon en voeg afbeelding in&gt;&gt;]</a:t>
            </a:r>
          </a:p>
        </p:txBody>
      </p:sp>
      <p:sp>
        <p:nvSpPr>
          <p:cNvPr id="28" name="+++Freeform 7 (PHJU)">
            <a:extLst>
              <a:ext uri="{FF2B5EF4-FFF2-40B4-BE49-F238E27FC236}">
                <a16:creationId xmlns:a16="http://schemas.microsoft.com/office/drawing/2014/main" id="{A0A06089-3BC5-4754-BE2B-DA06BCF70FED}"/>
              </a:ext>
            </a:extLst>
          </p:cNvPr>
          <p:cNvSpPr>
            <a:spLocks noGrp="1" noSelect="1"/>
          </p:cNvSpPr>
          <p:nvPr>
            <p:ph type="body" idx="1001" hasCustomPrompt="1"/>
            <p:custDataLst>
              <p:custData r:id="rId1"/>
            </p:custDataLst>
          </p:nvPr>
        </p:nvSpPr>
        <p:spPr bwMode="gray">
          <a:xfrm>
            <a:off x="572400" y="2282760"/>
            <a:ext cx="11626921" cy="1147680"/>
          </a:xfrm>
          <a:custGeom>
            <a:avLst/>
            <a:gdLst>
              <a:gd name="T0" fmla="*/ 363 w 7324"/>
              <a:gd name="T1" fmla="*/ 723 h 723"/>
              <a:gd name="T2" fmla="*/ 7324 w 7324"/>
              <a:gd name="T3" fmla="*/ 723 h 723"/>
              <a:gd name="T4" fmla="*/ 7324 w 7324"/>
              <a:gd name="T5" fmla="*/ 0 h 723"/>
              <a:gd name="T6" fmla="*/ 363 w 7324"/>
              <a:gd name="T7" fmla="*/ 0 h 723"/>
              <a:gd name="T8" fmla="*/ 0 w 7324"/>
              <a:gd name="T9" fmla="*/ 362 h 723"/>
              <a:gd name="T10" fmla="*/ 363 w 7324"/>
              <a:gd name="T11" fmla="*/ 723 h 723"/>
            </a:gdLst>
            <a:ahLst/>
            <a:cxnLst>
              <a:cxn ang="0">
                <a:pos x="T0" y="T1"/>
              </a:cxn>
              <a:cxn ang="0">
                <a:pos x="T2" y="T3"/>
              </a:cxn>
              <a:cxn ang="0">
                <a:pos x="T4" y="T5"/>
              </a:cxn>
              <a:cxn ang="0">
                <a:pos x="T6" y="T7"/>
              </a:cxn>
              <a:cxn ang="0">
                <a:pos x="T8" y="T9"/>
              </a:cxn>
              <a:cxn ang="0">
                <a:pos x="T10" y="T11"/>
              </a:cxn>
            </a:cxnLst>
            <a:rect l="0" t="0" r="r" b="b"/>
            <a:pathLst>
              <a:path w="7324" h="723">
                <a:moveTo>
                  <a:pt x="363" y="723"/>
                </a:moveTo>
                <a:lnTo>
                  <a:pt x="7324" y="723"/>
                </a:lnTo>
                <a:lnTo>
                  <a:pt x="7324" y="0"/>
                </a:lnTo>
                <a:lnTo>
                  <a:pt x="363" y="0"/>
                </a:lnTo>
                <a:lnTo>
                  <a:pt x="0" y="362"/>
                </a:lnTo>
                <a:lnTo>
                  <a:pt x="363" y="723"/>
                </a:lnTo>
                <a:close/>
              </a:path>
            </a:pathLst>
          </a:custGeom>
          <a:solidFill>
            <a:srgbClr val="58525A">
              <a:alpha val="80000"/>
            </a:srgbClr>
          </a:solidFill>
          <a:ln>
            <a:noFill/>
          </a:ln>
        </p:spPr>
        <p:txBody>
          <a:bodyPr vert="horz" wrap="square" lIns="91440" tIns="45720" rIns="91440" bIns="45720" numCol="1" anchor="t" anchorCtr="0" compatLnSpc="1">
            <a:prstTxWarp prst="textNoShape">
              <a:avLst/>
            </a:prstTxWarp>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30" name="+++Freeform 7 (PHJU) 2">
            <a:extLst>
              <a:ext uri="{FF2B5EF4-FFF2-40B4-BE49-F238E27FC236}">
                <a16:creationId xmlns:a16="http://schemas.microsoft.com/office/drawing/2014/main" id="{4D30EF7A-44E1-4333-9930-C8A2A790F71F}"/>
              </a:ext>
            </a:extLst>
          </p:cNvPr>
          <p:cNvSpPr>
            <a:spLocks noGrp="1" noSelect="1"/>
          </p:cNvSpPr>
          <p:nvPr>
            <p:ph type="body" idx="1003" hasCustomPrompt="1"/>
            <p:custDataLst>
              <p:custData r:id="rId2"/>
            </p:custDataLst>
          </p:nvPr>
        </p:nvSpPr>
        <p:spPr bwMode="gray">
          <a:xfrm>
            <a:off x="560519" y="2282760"/>
            <a:ext cx="11636640" cy="1147680"/>
          </a:xfrm>
          <a:custGeom>
            <a:avLst/>
            <a:gdLst>
              <a:gd name="T0" fmla="*/ 363 w 7324"/>
              <a:gd name="T1" fmla="*/ 723 h 723"/>
              <a:gd name="T2" fmla="*/ 7324 w 7324"/>
              <a:gd name="T3" fmla="*/ 723 h 723"/>
              <a:gd name="T4" fmla="*/ 7324 w 7324"/>
              <a:gd name="T5" fmla="*/ 0 h 723"/>
              <a:gd name="T6" fmla="*/ 363 w 7324"/>
              <a:gd name="T7" fmla="*/ 0 h 723"/>
              <a:gd name="T8" fmla="*/ 0 w 7324"/>
              <a:gd name="T9" fmla="*/ 362 h 723"/>
              <a:gd name="T10" fmla="*/ 363 w 7324"/>
              <a:gd name="T11" fmla="*/ 723 h 723"/>
            </a:gdLst>
            <a:ahLst/>
            <a:cxnLst>
              <a:cxn ang="0">
                <a:pos x="T0" y="T1"/>
              </a:cxn>
              <a:cxn ang="0">
                <a:pos x="T2" y="T3"/>
              </a:cxn>
              <a:cxn ang="0">
                <a:pos x="T4" y="T5"/>
              </a:cxn>
              <a:cxn ang="0">
                <a:pos x="T6" y="T7"/>
              </a:cxn>
              <a:cxn ang="0">
                <a:pos x="T8" y="T9"/>
              </a:cxn>
              <a:cxn ang="0">
                <a:pos x="T10" y="T11"/>
              </a:cxn>
            </a:cxnLst>
            <a:rect l="0" t="0" r="r" b="b"/>
            <a:pathLst>
              <a:path w="7324" h="723">
                <a:moveTo>
                  <a:pt x="363" y="723"/>
                </a:moveTo>
                <a:lnTo>
                  <a:pt x="7324" y="723"/>
                </a:lnTo>
                <a:lnTo>
                  <a:pt x="7324" y="0"/>
                </a:lnTo>
                <a:lnTo>
                  <a:pt x="363" y="0"/>
                </a:lnTo>
                <a:lnTo>
                  <a:pt x="0" y="362"/>
                </a:lnTo>
                <a:lnTo>
                  <a:pt x="363" y="723"/>
                </a:lnTo>
                <a:close/>
              </a:path>
            </a:pathLst>
          </a:custGeom>
          <a:solidFill>
            <a:srgbClr val="C0CF47">
              <a:alpha val="80000"/>
            </a:srgbClr>
          </a:solidFill>
          <a:ln>
            <a:noFill/>
          </a:ln>
        </p:spPr>
        <p:txBody>
          <a:bodyPr vert="horz" wrap="square" lIns="91440" tIns="45720" rIns="91440" bIns="45720" numCol="1" anchor="t" anchorCtr="0" compatLnSpc="1">
            <a:prstTxWarp prst="textNoShape">
              <a:avLst/>
            </a:prstTxWarp>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3" name="Ondertitel 2"/>
          <p:cNvSpPr>
            <a:spLocks noGrp="1" noSelect="1"/>
          </p:cNvSpPr>
          <p:nvPr>
            <p:ph type="subTitle" idx="1" hasCustomPrompt="1"/>
          </p:nvPr>
        </p:nvSpPr>
        <p:spPr bwMode="gray">
          <a:xfrm>
            <a:off x="1152000" y="2697840"/>
            <a:ext cx="10404000" cy="324000"/>
          </a:xfrm>
        </p:spPr>
        <p:txBody>
          <a:bodyPr anchor="ctr" anchorCtr="0">
            <a:noAutofit/>
          </a:bodyPr>
          <a:lstStyle>
            <a:lvl1pPr marL="0" indent="0" algn="l">
              <a:lnSpc>
                <a:spcPct val="100000"/>
              </a:lnSpc>
              <a:buNone/>
              <a:defRPr sz="1800" b="1" i="0" cap="all" spc="70" baseline="0">
                <a:solidFill>
                  <a:schemeClr val="bg1"/>
                </a:solidFill>
                <a:latin typeface="Univers" panose="020B0603020202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noProof="1"/>
              <a:t>[presentator en/of datum]</a:t>
            </a:r>
          </a:p>
        </p:txBody>
      </p:sp>
      <p:sp>
        <p:nvSpPr>
          <p:cNvPr id="8" name="witdriehoek">
            <a:extLst>
              <a:ext uri="{FF2B5EF4-FFF2-40B4-BE49-F238E27FC236}">
                <a16:creationId xmlns:a16="http://schemas.microsoft.com/office/drawing/2014/main" id="{18C95774-AF52-41D4-8A63-4E4ADC5D0611}"/>
              </a:ext>
            </a:extLst>
          </p:cNvPr>
          <p:cNvSpPr>
            <a:spLocks noSelect="1"/>
          </p:cNvSpPr>
          <p:nvPr userDrawn="1"/>
        </p:nvSpPr>
        <p:spPr bwMode="auto">
          <a:xfrm>
            <a:off x="0" y="2287588"/>
            <a:ext cx="571500" cy="1141413"/>
          </a:xfrm>
          <a:custGeom>
            <a:avLst/>
            <a:gdLst>
              <a:gd name="T0" fmla="*/ 360 w 360"/>
              <a:gd name="T1" fmla="*/ 360 h 719"/>
              <a:gd name="T2" fmla="*/ 0 w 360"/>
              <a:gd name="T3" fmla="*/ 719 h 719"/>
              <a:gd name="T4" fmla="*/ 0 w 360"/>
              <a:gd name="T5" fmla="*/ 0 h 719"/>
              <a:gd name="T6" fmla="*/ 360 w 360"/>
              <a:gd name="T7" fmla="*/ 360 h 719"/>
            </a:gdLst>
            <a:ahLst/>
            <a:cxnLst>
              <a:cxn ang="0">
                <a:pos x="T0" y="T1"/>
              </a:cxn>
              <a:cxn ang="0">
                <a:pos x="T2" y="T3"/>
              </a:cxn>
              <a:cxn ang="0">
                <a:pos x="T4" y="T5"/>
              </a:cxn>
              <a:cxn ang="0">
                <a:pos x="T6" y="T7"/>
              </a:cxn>
            </a:cxnLst>
            <a:rect l="0" t="0" r="r" b="b"/>
            <a:pathLst>
              <a:path w="360" h="719">
                <a:moveTo>
                  <a:pt x="360" y="360"/>
                </a:moveTo>
                <a:lnTo>
                  <a:pt x="0" y="719"/>
                </a:lnTo>
                <a:lnTo>
                  <a:pt x="0" y="0"/>
                </a:lnTo>
                <a:lnTo>
                  <a:pt x="360" y="3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x-none"/>
          </a:p>
        </p:txBody>
      </p:sp>
      <p:sp>
        <p:nvSpPr>
          <p:cNvPr id="9" name="kleurdriehoek">
            <a:extLst>
              <a:ext uri="{FF2B5EF4-FFF2-40B4-BE49-F238E27FC236}">
                <a16:creationId xmlns:a16="http://schemas.microsoft.com/office/drawing/2014/main" id="{6AA8DD94-0640-4ABA-88EB-140100B8E60C}"/>
              </a:ext>
            </a:extLst>
          </p:cNvPr>
          <p:cNvSpPr>
            <a:spLocks noSelect="1"/>
          </p:cNvSpPr>
          <p:nvPr userDrawn="1"/>
        </p:nvSpPr>
        <p:spPr bwMode="auto">
          <a:xfrm>
            <a:off x="0" y="2859088"/>
            <a:ext cx="1144588" cy="569913"/>
          </a:xfrm>
          <a:custGeom>
            <a:avLst/>
            <a:gdLst>
              <a:gd name="T0" fmla="*/ 360 w 721"/>
              <a:gd name="T1" fmla="*/ 0 h 359"/>
              <a:gd name="T2" fmla="*/ 721 w 721"/>
              <a:gd name="T3" fmla="*/ 359 h 359"/>
              <a:gd name="T4" fmla="*/ 0 w 721"/>
              <a:gd name="T5" fmla="*/ 359 h 359"/>
              <a:gd name="T6" fmla="*/ 360 w 721"/>
              <a:gd name="T7" fmla="*/ 0 h 359"/>
            </a:gdLst>
            <a:ahLst/>
            <a:cxnLst>
              <a:cxn ang="0">
                <a:pos x="T0" y="T1"/>
              </a:cxn>
              <a:cxn ang="0">
                <a:pos x="T2" y="T3"/>
              </a:cxn>
              <a:cxn ang="0">
                <a:pos x="T4" y="T5"/>
              </a:cxn>
              <a:cxn ang="0">
                <a:pos x="T6" y="T7"/>
              </a:cxn>
            </a:cxnLst>
            <a:rect l="0" t="0" r="r" b="b"/>
            <a:pathLst>
              <a:path w="721" h="359">
                <a:moveTo>
                  <a:pt x="360" y="0"/>
                </a:moveTo>
                <a:lnTo>
                  <a:pt x="721" y="359"/>
                </a:lnTo>
                <a:lnTo>
                  <a:pt x="0" y="359"/>
                </a:lnTo>
                <a:lnTo>
                  <a:pt x="36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x-none"/>
          </a:p>
        </p:txBody>
      </p:sp>
    </p:spTree>
    <p:extLst>
      <p:ext uri="{BB962C8B-B14F-4D97-AF65-F5344CB8AC3E}">
        <p14:creationId xmlns:p14="http://schemas.microsoft.com/office/powerpoint/2010/main" val="22013388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5000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700" fill="hold"/>
                                        <p:tgtEl>
                                          <p:spTgt spid="27"/>
                                        </p:tgtEl>
                                        <p:attrNameLst>
                                          <p:attrName>ppt_x</p:attrName>
                                        </p:attrNameLst>
                                      </p:cBhvr>
                                      <p:tavLst>
                                        <p:tav tm="0">
                                          <p:val>
                                            <p:strVal val="#ppt_x"/>
                                          </p:val>
                                        </p:tav>
                                        <p:tav tm="100000">
                                          <p:val>
                                            <p:strVal val="#ppt_x"/>
                                          </p:val>
                                        </p:tav>
                                      </p:tavLst>
                                    </p:anim>
                                    <p:anim calcmode="lin" valueType="num">
                                      <p:cBhvr additive="base">
                                        <p:cTn id="8" dur="700" fill="hold"/>
                                        <p:tgtEl>
                                          <p:spTgt spid="27"/>
                                        </p:tgtEl>
                                        <p:attrNameLst>
                                          <p:attrName>ppt_y</p:attrName>
                                        </p:attrNameLst>
                                      </p:cBhvr>
                                      <p:tavLst>
                                        <p:tav tm="0">
                                          <p:val>
                                            <p:strVal val="0-#ppt_h/2"/>
                                          </p:val>
                                        </p:tav>
                                        <p:tav tm="100000">
                                          <p:val>
                                            <p:strVal val="#ppt_y"/>
                                          </p:val>
                                        </p:tav>
                                      </p:tavLst>
                                    </p:anim>
                                  </p:childTnLst>
                                </p:cTn>
                              </p:par>
                              <p:par>
                                <p:cTn id="9" presetID="2" presetClass="entr" presetSubtype="4" decel="50000" fill="hold" nodeType="withEffect">
                                  <p:stCondLst>
                                    <p:cond delay="0"/>
                                  </p:stCondLst>
                                  <p:childTnLst>
                                    <p:set>
                                      <p:cBhvr>
                                        <p:cTn id="10" dur="1" fill="hold">
                                          <p:stCondLst>
                                            <p:cond delay="0"/>
                                          </p:stCondLst>
                                        </p:cTn>
                                        <p:tgtEl>
                                          <p:spTgt spid="12"/>
                                        </p:tgtEl>
                                        <p:attrNameLst>
                                          <p:attrName>style.visibility</p:attrName>
                                        </p:attrNameLst>
                                      </p:cBhvr>
                                      <p:to>
                                        <p:strVal val="visible"/>
                                      </p:to>
                                    </p:set>
                                    <p:anim calcmode="lin" valueType="num">
                                      <p:cBhvr additive="base">
                                        <p:cTn id="11" dur="700" fill="hold"/>
                                        <p:tgtEl>
                                          <p:spTgt spid="12"/>
                                        </p:tgtEl>
                                        <p:attrNameLst>
                                          <p:attrName>ppt_x</p:attrName>
                                        </p:attrNameLst>
                                      </p:cBhvr>
                                      <p:tavLst>
                                        <p:tav tm="0">
                                          <p:val>
                                            <p:strVal val="#ppt_x"/>
                                          </p:val>
                                        </p:tav>
                                        <p:tav tm="100000">
                                          <p:val>
                                            <p:strVal val="#ppt_x"/>
                                          </p:val>
                                        </p:tav>
                                      </p:tavLst>
                                    </p:anim>
                                    <p:anim calcmode="lin" valueType="num">
                                      <p:cBhvr additive="base">
                                        <p:cTn id="12" dur="700" fill="hold"/>
                                        <p:tgtEl>
                                          <p:spTgt spid="12"/>
                                        </p:tgtEl>
                                        <p:attrNameLst>
                                          <p:attrName>ppt_y</p:attrName>
                                        </p:attrNameLst>
                                      </p:cBhvr>
                                      <p:tavLst>
                                        <p:tav tm="0">
                                          <p:val>
                                            <p:strVal val="1+#ppt_h/2"/>
                                          </p:val>
                                        </p:tav>
                                        <p:tav tm="100000">
                                          <p:val>
                                            <p:strVal val="#ppt_y"/>
                                          </p:val>
                                        </p:tav>
                                      </p:tavLst>
                                    </p:anim>
                                  </p:childTnLst>
                                </p:cTn>
                              </p:par>
                              <p:par>
                                <p:cTn id="13" presetID="64" presetClass="path" presetSubtype="0" decel="62500" fill="hold" grpId="0" nodeType="withEffect">
                                  <p:stCondLst>
                                    <p:cond delay="0"/>
                                  </p:stCondLst>
                                  <p:childTnLst>
                                    <p:animMotion origin="layout" path="M 1.91617E-6 -0.57523 L 1.91617E-6 -7.40741E-7 " pathEditMode="relative" rAng="0" ptsTypes="AA">
                                      <p:cBhvr>
                                        <p:cTn id="14" dur="800" fill="hold"/>
                                        <p:tgtEl>
                                          <p:spTgt spid="2"/>
                                        </p:tgtEl>
                                        <p:attrNameLst>
                                          <p:attrName>ppt_x</p:attrName>
                                          <p:attrName>ppt_y</p:attrName>
                                        </p:attrNameLst>
                                      </p:cBhvr>
                                      <p:rCtr x="0" y="28750"/>
                                    </p:animMotion>
                                  </p:childTnLst>
                                </p:cTn>
                              </p:par>
                              <p:par>
                                <p:cTn id="15" presetID="10" presetClass="entr" presetSubtype="0" fill="hold" grpId="0" nodeType="withEffect">
                                  <p:stCondLst>
                                    <p:cond delay="500"/>
                                  </p:stCondLst>
                                  <p:childTnLst>
                                    <p:set>
                                      <p:cBhvr>
                                        <p:cTn id="16" dur="1" fill="hold">
                                          <p:stCondLst>
                                            <p:cond delay="0"/>
                                          </p:stCondLst>
                                        </p:cTn>
                                        <p:tgtEl>
                                          <p:spTgt spid="28">
                                            <p:bg/>
                                          </p:spTgt>
                                        </p:tgtEl>
                                        <p:attrNameLst>
                                          <p:attrName>style.visibility</p:attrName>
                                        </p:attrNameLst>
                                      </p:cBhvr>
                                      <p:to>
                                        <p:strVal val="visible"/>
                                      </p:to>
                                    </p:set>
                                    <p:animEffect transition="in" filter="fade">
                                      <p:cBhvr>
                                        <p:cTn id="17" dur="200"/>
                                        <p:tgtEl>
                                          <p:spTgt spid="28">
                                            <p:bg/>
                                          </p:spTgt>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28">
                                            <p:txEl>
                                              <p:pRg st="0" end="0"/>
                                            </p:txEl>
                                          </p:spTgt>
                                        </p:tgtEl>
                                        <p:attrNameLst>
                                          <p:attrName>style.visibility</p:attrName>
                                        </p:attrNameLst>
                                      </p:cBhvr>
                                      <p:to>
                                        <p:strVal val="visible"/>
                                      </p:to>
                                    </p:set>
                                    <p:animEffect transition="in" filter="fade">
                                      <p:cBhvr>
                                        <p:cTn id="20" dur="200"/>
                                        <p:tgtEl>
                                          <p:spTgt spid="28">
                                            <p:txEl>
                                              <p:pRg st="0" end="0"/>
                                            </p:txEl>
                                          </p:spTgt>
                                        </p:tgtEl>
                                      </p:cBhvr>
                                    </p:animEffect>
                                  </p:childTnLst>
                                </p:cTn>
                              </p:par>
                              <p:par>
                                <p:cTn id="21" presetID="10" presetClass="entr" presetSubtype="0" fill="hold" grpId="0" nodeType="withEffect">
                                  <p:stCondLst>
                                    <p:cond delay="500"/>
                                  </p:stCondLst>
                                  <p:childTnLst>
                                    <p:set>
                                      <p:cBhvr>
                                        <p:cTn id="22" dur="1" fill="hold">
                                          <p:stCondLst>
                                            <p:cond delay="0"/>
                                          </p:stCondLst>
                                        </p:cTn>
                                        <p:tgtEl>
                                          <p:spTgt spid="30">
                                            <p:bg/>
                                          </p:spTgt>
                                        </p:tgtEl>
                                        <p:attrNameLst>
                                          <p:attrName>style.visibility</p:attrName>
                                        </p:attrNameLst>
                                      </p:cBhvr>
                                      <p:to>
                                        <p:strVal val="visible"/>
                                      </p:to>
                                    </p:set>
                                    <p:animEffect transition="in" filter="fade">
                                      <p:cBhvr>
                                        <p:cTn id="23" dur="200"/>
                                        <p:tgtEl>
                                          <p:spTgt spid="30">
                                            <p:bg/>
                                          </p:spTgt>
                                        </p:tgtEl>
                                      </p:cBhvr>
                                    </p:animEffect>
                                  </p:childTnLst>
                                </p:cTn>
                              </p:par>
                              <p:par>
                                <p:cTn id="24" presetID="10" presetClass="entr" presetSubtype="0" fill="hold" grpId="0" nodeType="withEffect">
                                  <p:stCondLst>
                                    <p:cond delay="500"/>
                                  </p:stCondLst>
                                  <p:childTnLst>
                                    <p:set>
                                      <p:cBhvr>
                                        <p:cTn id="25" dur="1" fill="hold">
                                          <p:stCondLst>
                                            <p:cond delay="0"/>
                                          </p:stCondLst>
                                        </p:cTn>
                                        <p:tgtEl>
                                          <p:spTgt spid="30">
                                            <p:txEl>
                                              <p:pRg st="0" end="0"/>
                                            </p:txEl>
                                          </p:spTgt>
                                        </p:tgtEl>
                                        <p:attrNameLst>
                                          <p:attrName>style.visibility</p:attrName>
                                        </p:attrNameLst>
                                      </p:cBhvr>
                                      <p:to>
                                        <p:strVal val="visible"/>
                                      </p:to>
                                    </p:set>
                                    <p:animEffect transition="in" filter="fade">
                                      <p:cBhvr>
                                        <p:cTn id="26" dur="200"/>
                                        <p:tgtEl>
                                          <p:spTgt spid="30">
                                            <p:txEl>
                                              <p:pRg st="0" end="0"/>
                                            </p:txEl>
                                          </p:spTgt>
                                        </p:tgtEl>
                                      </p:cBhvr>
                                    </p:animEffect>
                                  </p:childTnLst>
                                </p:cTn>
                              </p:par>
                            </p:childTnLst>
                          </p:cTn>
                        </p:par>
                        <p:par>
                          <p:cTn id="27" fill="hold">
                            <p:stCondLst>
                              <p:cond delay="800"/>
                            </p:stCondLst>
                            <p:childTnLst>
                              <p:par>
                                <p:cTn id="28" presetID="10" presetClass="entr" presetSubtype="0" fill="hold" grpId="0" nodeType="afterEffect">
                                  <p:stCondLst>
                                    <p:cond delay="0"/>
                                  </p:stCondLst>
                                  <p:childTnLst>
                                    <p:set>
                                      <p:cBhvr>
                                        <p:cTn id="29" dur="1" fill="hold">
                                          <p:stCondLst>
                                            <p:cond delay="0"/>
                                          </p:stCondLst>
                                        </p:cTn>
                                        <p:tgtEl>
                                          <p:spTgt spid="3">
                                            <p:txEl>
                                              <p:pRg st="0" end="0"/>
                                            </p:txEl>
                                          </p:spTgt>
                                        </p:tgtEl>
                                        <p:attrNameLst>
                                          <p:attrName>style.visibility</p:attrName>
                                        </p:attrNameLst>
                                      </p:cBhvr>
                                      <p:to>
                                        <p:strVal val="visible"/>
                                      </p:to>
                                    </p:set>
                                    <p:animEffect transition="in" filter="fade">
                                      <p:cBhvr>
                                        <p:cTn id="30" dur="500"/>
                                        <p:tgtEl>
                                          <p:spTgt spid="3">
                                            <p:txEl>
                                              <p:pRg st="0" end="0"/>
                                            </p:txEl>
                                          </p:spTgt>
                                        </p:tgtEl>
                                      </p:cBhvr>
                                    </p:animEffect>
                                  </p:childTnLst>
                                </p:cTn>
                              </p:par>
                            </p:childTnLst>
                          </p:cTn>
                        </p:par>
                        <p:par>
                          <p:cTn id="31" fill="hold">
                            <p:stCondLst>
                              <p:cond delay="1300"/>
                            </p:stCondLst>
                            <p:childTnLst>
                              <p:par>
                                <p:cTn id="32" presetID="1" presetClass="entr" presetSubtype="0" fill="hold" grpId="0" nodeType="afterEffect">
                                  <p:stCondLst>
                                    <p:cond delay="0"/>
                                  </p:stCondLst>
                                  <p:childTnLst>
                                    <p:set>
                                      <p:cBhvr>
                                        <p:cTn id="33"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7" grpId="0"/>
      <p:bldP spid="28" grpId="0" uiExpand="1" build="p" animBg="1">
        <p:tmplLst>
          <p:tmpl>
            <p:tnLst>
              <p:par>
                <p:cTn presetID="10" presetClass="entr" presetSubtype="0" fill="hold" nodeType="withEffect">
                  <p:stCondLst>
                    <p:cond delay="500"/>
                  </p:stCondLst>
                  <p:childTnLst>
                    <p:set>
                      <p:cBhvr>
                        <p:cTn dur="1" fill="hold">
                          <p:stCondLst>
                            <p:cond delay="0"/>
                          </p:stCondLst>
                        </p:cTn>
                        <p:tgtEl>
                          <p:spTgt spid="28"/>
                        </p:tgtEl>
                        <p:attrNameLst>
                          <p:attrName>style.visibility</p:attrName>
                        </p:attrNameLst>
                      </p:cBhvr>
                      <p:to>
                        <p:strVal val="visible"/>
                      </p:to>
                    </p:set>
                    <p:animEffect transition="in" filter="fade">
                      <p:cBhvr>
                        <p:cTn dur="200"/>
                        <p:tgtEl>
                          <p:spTgt spid="28"/>
                        </p:tgtEl>
                      </p:cBhvr>
                    </p:animEffect>
                  </p:childTnLst>
                </p:cTn>
              </p:par>
            </p:tnLst>
          </p:tmpl>
          <p:tmpl lvl="1">
            <p:tnLst>
              <p:par>
                <p:cTn presetID="10" presetClass="entr" presetSubtype="0" fill="hold" nodeType="withEffect">
                  <p:stCondLst>
                    <p:cond delay="500"/>
                  </p:stCondLst>
                  <p:childTnLst>
                    <p:set>
                      <p:cBhvr>
                        <p:cTn dur="1" fill="hold">
                          <p:stCondLst>
                            <p:cond delay="0"/>
                          </p:stCondLst>
                        </p:cTn>
                        <p:tgtEl>
                          <p:spTgt spid="28"/>
                        </p:tgtEl>
                        <p:attrNameLst>
                          <p:attrName>style.visibility</p:attrName>
                        </p:attrNameLst>
                      </p:cBhvr>
                      <p:to>
                        <p:strVal val="visible"/>
                      </p:to>
                    </p:set>
                    <p:animEffect transition="in" filter="fade">
                      <p:cBhvr>
                        <p:cTn dur="200"/>
                        <p:tgtEl>
                          <p:spTgt spid="28"/>
                        </p:tgtEl>
                      </p:cBhvr>
                    </p:animEffect>
                  </p:childTnLst>
                </p:cTn>
              </p:par>
            </p:tnLst>
          </p:tmpl>
        </p:tmplLst>
      </p:bldP>
      <p:bldP spid="30" grpId="0" uiExpand="1" build="p" animBg="1">
        <p:tmplLst>
          <p:tmpl>
            <p:tnLst>
              <p:par>
                <p:cTn presetID="10" presetClass="entr" presetSubtype="0" fill="hold" nodeType="withEffect">
                  <p:stCondLst>
                    <p:cond delay="500"/>
                  </p:stCondLst>
                  <p:childTnLst>
                    <p:set>
                      <p:cBhvr>
                        <p:cTn dur="1" fill="hold">
                          <p:stCondLst>
                            <p:cond delay="0"/>
                          </p:stCondLst>
                        </p:cTn>
                        <p:tgtEl>
                          <p:spTgt spid="30"/>
                        </p:tgtEl>
                        <p:attrNameLst>
                          <p:attrName>style.visibility</p:attrName>
                        </p:attrNameLst>
                      </p:cBhvr>
                      <p:to>
                        <p:strVal val="visible"/>
                      </p:to>
                    </p:set>
                    <p:animEffect transition="in" filter="fade">
                      <p:cBhvr>
                        <p:cTn dur="200"/>
                        <p:tgtEl>
                          <p:spTgt spid="30"/>
                        </p:tgtEl>
                      </p:cBhvr>
                    </p:animEffect>
                  </p:childTnLst>
                </p:cTn>
              </p:par>
            </p:tnLst>
          </p:tmpl>
          <p:tmpl lvl="1">
            <p:tnLst>
              <p:par>
                <p:cTn presetID="10" presetClass="entr" presetSubtype="0" fill="hold" nodeType="withEffect">
                  <p:stCondLst>
                    <p:cond delay="500"/>
                  </p:stCondLst>
                  <p:childTnLst>
                    <p:set>
                      <p:cBhvr>
                        <p:cTn dur="1" fill="hold">
                          <p:stCondLst>
                            <p:cond delay="0"/>
                          </p:stCondLst>
                        </p:cTn>
                        <p:tgtEl>
                          <p:spTgt spid="30"/>
                        </p:tgtEl>
                        <p:attrNameLst>
                          <p:attrName>style.visibility</p:attrName>
                        </p:attrNameLst>
                      </p:cBhvr>
                      <p:to>
                        <p:strVal val="visible"/>
                      </p:to>
                    </p:set>
                    <p:animEffect transition="in" filter="fade">
                      <p:cBhvr>
                        <p:cTn dur="200"/>
                        <p:tgtEl>
                          <p:spTgt spid="30"/>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9" grpId="0" animBg="1"/>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dia (donker blauw)">
    <p:spTree>
      <p:nvGrpSpPr>
        <p:cNvPr id="1" name=""/>
        <p:cNvGrpSpPr/>
        <p:nvPr/>
      </p:nvGrpSpPr>
      <p:grpSpPr>
        <a:xfrm>
          <a:off x="0" y="0"/>
          <a:ext cx="0" cy="0"/>
          <a:chOff x="0" y="0"/>
          <a:chExt cx="0" cy="0"/>
        </a:xfrm>
      </p:grpSpPr>
      <p:sp>
        <p:nvSpPr>
          <p:cNvPr id="34" name="Rechthoek 33">
            <a:extLst>
              <a:ext uri="{FF2B5EF4-FFF2-40B4-BE49-F238E27FC236}">
                <a16:creationId xmlns:a16="http://schemas.microsoft.com/office/drawing/2014/main" id="{A7E015B2-8451-4AAD-9CC7-03F19D35768B}"/>
              </a:ext>
            </a:extLst>
          </p:cNvPr>
          <p:cNvSpPr>
            <a:spLocks noSelect="1"/>
          </p:cNvSpPr>
          <p:nvPr userDrawn="1"/>
        </p:nvSpPr>
        <p:spPr>
          <a:xfrm>
            <a:off x="568800" y="5913276"/>
            <a:ext cx="2648467" cy="79208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29" name="Groep 28"/>
          <p:cNvGrpSpPr>
            <a:grpSpLocks noSelect="1"/>
          </p:cNvGrpSpPr>
          <p:nvPr userDrawn="1"/>
        </p:nvGrpSpPr>
        <p:grpSpPr bwMode="gray">
          <a:xfrm>
            <a:off x="0" y="0"/>
            <a:ext cx="12195361" cy="3430800"/>
            <a:chOff x="0" y="0"/>
            <a:chExt cx="12195361" cy="3430800"/>
          </a:xfrm>
        </p:grpSpPr>
        <p:sp>
          <p:nvSpPr>
            <p:cNvPr id="30" name="Vrije vorm: vorm 21">
              <a:extLst>
                <a:ext uri="{FF2B5EF4-FFF2-40B4-BE49-F238E27FC236}">
                  <a16:creationId xmlns:a16="http://schemas.microsoft.com/office/drawing/2014/main" id="{42B59DBA-BA95-45B7-ADE2-AE5D47A19F6A}"/>
                </a:ext>
              </a:extLst>
            </p:cNvPr>
            <p:cNvSpPr>
              <a:spLocks noSelect="1"/>
            </p:cNvSpPr>
            <p:nvPr userDrawn="1"/>
          </p:nvSpPr>
          <p:spPr bwMode="gray">
            <a:xfrm>
              <a:off x="0" y="1588"/>
              <a:ext cx="12195361" cy="3428492"/>
            </a:xfrm>
            <a:custGeom>
              <a:avLst/>
              <a:gdLst>
                <a:gd name="connsiteX0" fmla="*/ 0 w 12195361"/>
                <a:gd name="connsiteY0" fmla="*/ 0 h 3428492"/>
                <a:gd name="connsiteX1" fmla="*/ 12195175 w 12195361"/>
                <a:gd name="connsiteY1" fmla="*/ 0 h 3428492"/>
                <a:gd name="connsiteX2" fmla="*/ 12195175 w 12195361"/>
                <a:gd name="connsiteY2" fmla="*/ 2280812 h 3428492"/>
                <a:gd name="connsiteX3" fmla="*/ 12195361 w 12195361"/>
                <a:gd name="connsiteY3" fmla="*/ 2280812 h 3428492"/>
                <a:gd name="connsiteX4" fmla="*/ 12195361 w 12195361"/>
                <a:gd name="connsiteY4" fmla="*/ 3428492 h 3428492"/>
                <a:gd name="connsiteX5" fmla="*/ 1144706 w 12195361"/>
                <a:gd name="connsiteY5" fmla="*/ 3428492 h 3428492"/>
                <a:gd name="connsiteX6" fmla="*/ 568440 w 12195361"/>
                <a:gd name="connsiteY6" fmla="*/ 2855446 h 3428492"/>
                <a:gd name="connsiteX7" fmla="*/ 571327 w 12195361"/>
                <a:gd name="connsiteY7" fmla="*/ 2852567 h 3428492"/>
                <a:gd name="connsiteX8" fmla="*/ 0 w 12195361"/>
                <a:gd name="connsiteY8" fmla="*/ 2282825 h 3428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5361" h="3428492">
                  <a:moveTo>
                    <a:pt x="0" y="0"/>
                  </a:moveTo>
                  <a:lnTo>
                    <a:pt x="12195175" y="0"/>
                  </a:lnTo>
                  <a:lnTo>
                    <a:pt x="12195175" y="2280812"/>
                  </a:lnTo>
                  <a:lnTo>
                    <a:pt x="12195361" y="2280812"/>
                  </a:lnTo>
                  <a:lnTo>
                    <a:pt x="12195361" y="3428492"/>
                  </a:lnTo>
                  <a:lnTo>
                    <a:pt x="1144706" y="3428492"/>
                  </a:lnTo>
                  <a:lnTo>
                    <a:pt x="568440" y="2855446"/>
                  </a:lnTo>
                  <a:lnTo>
                    <a:pt x="571327" y="2852567"/>
                  </a:lnTo>
                  <a:lnTo>
                    <a:pt x="0" y="2282825"/>
                  </a:lnTo>
                  <a:close/>
                </a:path>
              </a:pathLst>
            </a:custGeom>
            <a:solidFill>
              <a:srgbClr val="4BA0B9"/>
            </a:solidFill>
            <a:ln>
              <a:noFill/>
            </a:ln>
          </p:spPr>
          <p:txBody>
            <a:bodyPr vert="horz" wrap="square" lIns="91440" tIns="45720" rIns="91440" bIns="45720" numCol="1" anchor="t" anchorCtr="0" compatLnSpc="1">
              <a:prstTxWarp prst="textNoShape">
                <a:avLst/>
              </a:prstTxWarp>
              <a:noAutofit/>
            </a:bodyPr>
            <a:lstStyle/>
            <a:p>
              <a:endParaRPr lang="nl-NL" dirty="0"/>
            </a:p>
          </p:txBody>
        </p:sp>
        <p:grpSp>
          <p:nvGrpSpPr>
            <p:cNvPr id="31" name="Groep 30">
              <a:extLst>
                <a:ext uri="{FF2B5EF4-FFF2-40B4-BE49-F238E27FC236}">
                  <a16:creationId xmlns:a16="http://schemas.microsoft.com/office/drawing/2014/main" id="{3873E23E-2AA0-4882-B53A-EBC2D14DD876}"/>
                </a:ext>
              </a:extLst>
            </p:cNvPr>
            <p:cNvGrpSpPr>
              <a:grpSpLocks noSelect="1"/>
            </p:cNvGrpSpPr>
            <p:nvPr userDrawn="1"/>
          </p:nvGrpSpPr>
          <p:grpSpPr bwMode="gray">
            <a:xfrm>
              <a:off x="6477000" y="0"/>
              <a:ext cx="5718176" cy="3430800"/>
              <a:chOff x="6477000" y="0"/>
              <a:chExt cx="5718176" cy="3433763"/>
            </a:xfrm>
          </p:grpSpPr>
          <p:sp>
            <p:nvSpPr>
              <p:cNvPr id="32" name="Freeform 11">
                <a:extLst>
                  <a:ext uri="{FF2B5EF4-FFF2-40B4-BE49-F238E27FC236}">
                    <a16:creationId xmlns:a16="http://schemas.microsoft.com/office/drawing/2014/main" id="{3C3E3EA2-EE28-49B3-BD2C-C03B459A331A}"/>
                  </a:ext>
                </a:extLst>
              </p:cNvPr>
              <p:cNvSpPr>
                <a:spLocks noSelect="1"/>
              </p:cNvSpPr>
              <p:nvPr userDrawn="1"/>
            </p:nvSpPr>
            <p:spPr bwMode="gray">
              <a:xfrm>
                <a:off x="6477000" y="0"/>
                <a:ext cx="5718175" cy="3433763"/>
              </a:xfrm>
              <a:custGeom>
                <a:avLst/>
                <a:gdLst>
                  <a:gd name="T0" fmla="*/ 6507 w 18007"/>
                  <a:gd name="T1" fmla="*/ 10581 h 10826"/>
                  <a:gd name="T2" fmla="*/ 649 w 18007"/>
                  <a:gd name="T3" fmla="*/ 10821 h 10826"/>
                  <a:gd name="T4" fmla="*/ 341 w 18007"/>
                  <a:gd name="T5" fmla="*/ 6929 h 10826"/>
                  <a:gd name="T6" fmla="*/ 11206 w 18007"/>
                  <a:gd name="T7" fmla="*/ 0 h 10826"/>
                  <a:gd name="T8" fmla="*/ 12553 w 18007"/>
                  <a:gd name="T9" fmla="*/ 1161 h 10826"/>
                  <a:gd name="T10" fmla="*/ 851 w 18007"/>
                  <a:gd name="T11" fmla="*/ 7565 h 10826"/>
                  <a:gd name="T12" fmla="*/ 5780 w 18007"/>
                  <a:gd name="T13" fmla="*/ 8936 h 10826"/>
                  <a:gd name="T14" fmla="*/ 4332 w 18007"/>
                  <a:gd name="T15" fmla="*/ 8301 h 10826"/>
                  <a:gd name="T16" fmla="*/ 7549 w 18007"/>
                  <a:gd name="T17" fmla="*/ 7278 h 10826"/>
                  <a:gd name="T18" fmla="*/ 2858 w 18007"/>
                  <a:gd name="T19" fmla="*/ 4471 h 10826"/>
                  <a:gd name="T20" fmla="*/ 6022 w 18007"/>
                  <a:gd name="T21" fmla="*/ 7243 h 10826"/>
                  <a:gd name="T22" fmla="*/ 2192 w 18007"/>
                  <a:gd name="T23" fmla="*/ 5715 h 10826"/>
                  <a:gd name="T24" fmla="*/ 5080 w 18007"/>
                  <a:gd name="T25" fmla="*/ 6914 h 10826"/>
                  <a:gd name="T26" fmla="*/ 5807 w 18007"/>
                  <a:gd name="T27" fmla="*/ 6996 h 10826"/>
                  <a:gd name="T28" fmla="*/ 6220 w 18007"/>
                  <a:gd name="T29" fmla="*/ 6242 h 10826"/>
                  <a:gd name="T30" fmla="*/ 4024 w 18007"/>
                  <a:gd name="T31" fmla="*/ 5405 h 10826"/>
                  <a:gd name="T32" fmla="*/ 2887 w 18007"/>
                  <a:gd name="T33" fmla="*/ 6684 h 10826"/>
                  <a:gd name="T34" fmla="*/ 3064 w 18007"/>
                  <a:gd name="T35" fmla="*/ 6526 h 10826"/>
                  <a:gd name="T36" fmla="*/ 5105 w 18007"/>
                  <a:gd name="T37" fmla="*/ 7252 h 10826"/>
                  <a:gd name="T38" fmla="*/ 7524 w 18007"/>
                  <a:gd name="T39" fmla="*/ 6421 h 10826"/>
                  <a:gd name="T40" fmla="*/ 2318 w 18007"/>
                  <a:gd name="T41" fmla="*/ 5443 h 10826"/>
                  <a:gd name="T42" fmla="*/ 1668 w 18007"/>
                  <a:gd name="T43" fmla="*/ 8325 h 10826"/>
                  <a:gd name="T44" fmla="*/ 2265 w 18007"/>
                  <a:gd name="T45" fmla="*/ 8625 h 10826"/>
                  <a:gd name="T46" fmla="*/ 7826 w 18007"/>
                  <a:gd name="T47" fmla="*/ 4965 h 10826"/>
                  <a:gd name="T48" fmla="*/ 2021 w 18007"/>
                  <a:gd name="T49" fmla="*/ 5129 h 10826"/>
                  <a:gd name="T50" fmla="*/ 1149 w 18007"/>
                  <a:gd name="T51" fmla="*/ 9500 h 10826"/>
                  <a:gd name="T52" fmla="*/ 4117 w 18007"/>
                  <a:gd name="T53" fmla="*/ 7990 h 10826"/>
                  <a:gd name="T54" fmla="*/ 4155 w 18007"/>
                  <a:gd name="T55" fmla="*/ 3711 h 10826"/>
                  <a:gd name="T56" fmla="*/ 924 w 18007"/>
                  <a:gd name="T57" fmla="*/ 8131 h 10826"/>
                  <a:gd name="T58" fmla="*/ 1765 w 18007"/>
                  <a:gd name="T59" fmla="*/ 10564 h 10826"/>
                  <a:gd name="T60" fmla="*/ 6634 w 18007"/>
                  <a:gd name="T61" fmla="*/ 7811 h 10826"/>
                  <a:gd name="T62" fmla="*/ 6911 w 18007"/>
                  <a:gd name="T63" fmla="*/ 8325 h 10826"/>
                  <a:gd name="T64" fmla="*/ 6457 w 18007"/>
                  <a:gd name="T65" fmla="*/ 9575 h 10826"/>
                  <a:gd name="T66" fmla="*/ 13236 w 18007"/>
                  <a:gd name="T67" fmla="*/ 4171 h 10826"/>
                  <a:gd name="T68" fmla="*/ 7287 w 18007"/>
                  <a:gd name="T69" fmla="*/ 1281 h 10826"/>
                  <a:gd name="T70" fmla="*/ 370 w 18007"/>
                  <a:gd name="T71" fmla="*/ 5948 h 10826"/>
                  <a:gd name="T72" fmla="*/ 3070 w 18007"/>
                  <a:gd name="T73" fmla="*/ 8838 h 10826"/>
                  <a:gd name="T74" fmla="*/ 4979 w 18007"/>
                  <a:gd name="T75" fmla="*/ 10591 h 10826"/>
                  <a:gd name="T76" fmla="*/ 11900 w 18007"/>
                  <a:gd name="T77" fmla="*/ 7091 h 10826"/>
                  <a:gd name="T78" fmla="*/ 7434 w 18007"/>
                  <a:gd name="T79" fmla="*/ 9745 h 10826"/>
                  <a:gd name="T80" fmla="*/ 5078 w 18007"/>
                  <a:gd name="T81" fmla="*/ 8904 h 10826"/>
                  <a:gd name="T82" fmla="*/ 6309 w 18007"/>
                  <a:gd name="T83" fmla="*/ 3223 h 10826"/>
                  <a:gd name="T84" fmla="*/ 3211 w 18007"/>
                  <a:gd name="T85" fmla="*/ 8151 h 10826"/>
                  <a:gd name="T86" fmla="*/ 4954 w 18007"/>
                  <a:gd name="T87" fmla="*/ 8316 h 10826"/>
                  <a:gd name="T88" fmla="*/ 7486 w 18007"/>
                  <a:gd name="T89" fmla="*/ 10720 h 10826"/>
                  <a:gd name="T90" fmla="*/ 3759 w 18007"/>
                  <a:gd name="T91" fmla="*/ 6843 h 10826"/>
                  <a:gd name="T92" fmla="*/ 1305 w 18007"/>
                  <a:gd name="T93" fmla="*/ 10558 h 10826"/>
                  <a:gd name="T94" fmla="*/ 4051 w 18007"/>
                  <a:gd name="T95" fmla="*/ 6831 h 10826"/>
                  <a:gd name="T96" fmla="*/ 2660 w 18007"/>
                  <a:gd name="T97" fmla="*/ 4348 h 10826"/>
                  <a:gd name="T98" fmla="*/ 8588 w 18007"/>
                  <a:gd name="T99" fmla="*/ 8574 h 10826"/>
                  <a:gd name="T100" fmla="*/ 344 w 18007"/>
                  <a:gd name="T101" fmla="*/ 7849 h 10826"/>
                  <a:gd name="T102" fmla="*/ 4888 w 18007"/>
                  <a:gd name="T103" fmla="*/ 5007 h 10826"/>
                  <a:gd name="T104" fmla="*/ 7659 w 18007"/>
                  <a:gd name="T105" fmla="*/ 9164 h 10826"/>
                  <a:gd name="T106" fmla="*/ 7948 w 18007"/>
                  <a:gd name="T107" fmla="*/ 7440 h 10826"/>
                  <a:gd name="T108" fmla="*/ 1008 w 18007"/>
                  <a:gd name="T109" fmla="*/ 7766 h 10826"/>
                  <a:gd name="T110" fmla="*/ 3513 w 18007"/>
                  <a:gd name="T111" fmla="*/ 9031 h 10826"/>
                  <a:gd name="T112" fmla="*/ 5580 w 18007"/>
                  <a:gd name="T113" fmla="*/ 9553 h 10826"/>
                  <a:gd name="T114" fmla="*/ 483 w 18007"/>
                  <a:gd name="T115" fmla="*/ 3708 h 10826"/>
                  <a:gd name="T116" fmla="*/ 1778 w 18007"/>
                  <a:gd name="T117" fmla="*/ 8551 h 10826"/>
                  <a:gd name="T118" fmla="*/ 3379 w 18007"/>
                  <a:gd name="T119" fmla="*/ 5194 h 10826"/>
                  <a:gd name="T120" fmla="*/ 1669 w 18007"/>
                  <a:gd name="T121" fmla="*/ 9953 h 10826"/>
                  <a:gd name="T122" fmla="*/ 212 w 18007"/>
                  <a:gd name="T123" fmla="*/ 9450 h 10826"/>
                  <a:gd name="T124" fmla="*/ 3295 w 18007"/>
                  <a:gd name="T125" fmla="*/ 10451 h 10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07" h="10826">
                    <a:moveTo>
                      <a:pt x="6493" y="10821"/>
                    </a:moveTo>
                    <a:cubicBezTo>
                      <a:pt x="6492" y="10821"/>
                      <a:pt x="6492" y="10821"/>
                      <a:pt x="6492" y="10821"/>
                    </a:cubicBezTo>
                    <a:cubicBezTo>
                      <a:pt x="6493" y="10821"/>
                      <a:pt x="6493" y="10821"/>
                      <a:pt x="6493" y="10821"/>
                    </a:cubicBezTo>
                    <a:close/>
                    <a:moveTo>
                      <a:pt x="3819" y="10821"/>
                    </a:moveTo>
                    <a:cubicBezTo>
                      <a:pt x="3791" y="10821"/>
                      <a:pt x="3791" y="10821"/>
                      <a:pt x="3791" y="10821"/>
                    </a:cubicBezTo>
                    <a:cubicBezTo>
                      <a:pt x="3799" y="10826"/>
                      <a:pt x="3799" y="10826"/>
                      <a:pt x="3799" y="10826"/>
                    </a:cubicBezTo>
                    <a:lnTo>
                      <a:pt x="3819" y="10821"/>
                    </a:lnTo>
                    <a:close/>
                    <a:moveTo>
                      <a:pt x="17889" y="692"/>
                    </a:moveTo>
                    <a:cubicBezTo>
                      <a:pt x="17927" y="666"/>
                      <a:pt x="17967" y="639"/>
                      <a:pt x="18007" y="610"/>
                    </a:cubicBezTo>
                    <a:cubicBezTo>
                      <a:pt x="18007" y="690"/>
                      <a:pt x="18007" y="690"/>
                      <a:pt x="18007" y="690"/>
                    </a:cubicBezTo>
                    <a:cubicBezTo>
                      <a:pt x="17980" y="709"/>
                      <a:pt x="17954" y="727"/>
                      <a:pt x="17929" y="744"/>
                    </a:cubicBezTo>
                    <a:cubicBezTo>
                      <a:pt x="17955" y="783"/>
                      <a:pt x="17981" y="825"/>
                      <a:pt x="18007" y="871"/>
                    </a:cubicBezTo>
                    <a:cubicBezTo>
                      <a:pt x="18007" y="1015"/>
                      <a:pt x="18007" y="1015"/>
                      <a:pt x="18007" y="1015"/>
                    </a:cubicBezTo>
                    <a:cubicBezTo>
                      <a:pt x="17965" y="924"/>
                      <a:pt x="17920" y="846"/>
                      <a:pt x="17874" y="781"/>
                    </a:cubicBezTo>
                    <a:cubicBezTo>
                      <a:pt x="17427" y="1074"/>
                      <a:pt x="16722" y="1603"/>
                      <a:pt x="16212" y="1739"/>
                    </a:cubicBezTo>
                    <a:cubicBezTo>
                      <a:pt x="16181" y="1747"/>
                      <a:pt x="16150" y="1755"/>
                      <a:pt x="16118" y="1763"/>
                    </a:cubicBezTo>
                    <a:cubicBezTo>
                      <a:pt x="16119" y="1764"/>
                      <a:pt x="16119" y="1764"/>
                      <a:pt x="16119" y="1764"/>
                    </a:cubicBezTo>
                    <a:cubicBezTo>
                      <a:pt x="16123" y="1768"/>
                      <a:pt x="16123" y="1768"/>
                      <a:pt x="16123" y="1768"/>
                    </a:cubicBezTo>
                    <a:cubicBezTo>
                      <a:pt x="16118" y="1772"/>
                      <a:pt x="16091" y="1801"/>
                      <a:pt x="16056" y="1842"/>
                    </a:cubicBezTo>
                    <a:cubicBezTo>
                      <a:pt x="15950" y="1964"/>
                      <a:pt x="15758" y="2210"/>
                      <a:pt x="15723" y="2346"/>
                    </a:cubicBezTo>
                    <a:cubicBezTo>
                      <a:pt x="15691" y="2461"/>
                      <a:pt x="15660" y="2677"/>
                      <a:pt x="15660" y="2932"/>
                    </a:cubicBezTo>
                    <a:cubicBezTo>
                      <a:pt x="15660" y="3115"/>
                      <a:pt x="15676" y="3319"/>
                      <a:pt x="15719" y="3523"/>
                    </a:cubicBezTo>
                    <a:cubicBezTo>
                      <a:pt x="15770" y="3765"/>
                      <a:pt x="15847" y="4048"/>
                      <a:pt x="15911" y="4273"/>
                    </a:cubicBezTo>
                    <a:cubicBezTo>
                      <a:pt x="15943" y="4385"/>
                      <a:pt x="15972" y="4483"/>
                      <a:pt x="15993" y="4554"/>
                    </a:cubicBezTo>
                    <a:cubicBezTo>
                      <a:pt x="16003" y="4590"/>
                      <a:pt x="16012" y="4619"/>
                      <a:pt x="16018" y="4640"/>
                    </a:cubicBezTo>
                    <a:cubicBezTo>
                      <a:pt x="16020" y="4648"/>
                      <a:pt x="16022" y="4654"/>
                      <a:pt x="16023" y="4660"/>
                    </a:cubicBezTo>
                    <a:cubicBezTo>
                      <a:pt x="16097" y="4645"/>
                      <a:pt x="16097" y="4645"/>
                      <a:pt x="16097" y="4645"/>
                    </a:cubicBezTo>
                    <a:cubicBezTo>
                      <a:pt x="16099" y="4645"/>
                      <a:pt x="16570" y="4556"/>
                      <a:pt x="16970" y="4556"/>
                    </a:cubicBezTo>
                    <a:cubicBezTo>
                      <a:pt x="17009" y="4556"/>
                      <a:pt x="17047" y="4556"/>
                      <a:pt x="17084" y="4558"/>
                    </a:cubicBezTo>
                    <a:cubicBezTo>
                      <a:pt x="17429" y="4576"/>
                      <a:pt x="17809" y="4624"/>
                      <a:pt x="18007" y="4651"/>
                    </a:cubicBezTo>
                    <a:cubicBezTo>
                      <a:pt x="18007" y="4717"/>
                      <a:pt x="18007" y="4717"/>
                      <a:pt x="18007" y="4717"/>
                    </a:cubicBezTo>
                    <a:cubicBezTo>
                      <a:pt x="17813" y="4690"/>
                      <a:pt x="17427" y="4641"/>
                      <a:pt x="17081" y="4624"/>
                    </a:cubicBezTo>
                    <a:cubicBezTo>
                      <a:pt x="17045" y="4622"/>
                      <a:pt x="17008" y="4621"/>
                      <a:pt x="16970" y="4621"/>
                    </a:cubicBezTo>
                    <a:cubicBezTo>
                      <a:pt x="16775" y="4621"/>
                      <a:pt x="16559" y="4643"/>
                      <a:pt x="16393" y="4665"/>
                    </a:cubicBezTo>
                    <a:cubicBezTo>
                      <a:pt x="16227" y="4687"/>
                      <a:pt x="16110" y="4709"/>
                      <a:pt x="16110" y="4709"/>
                    </a:cubicBezTo>
                    <a:cubicBezTo>
                      <a:pt x="16049" y="4722"/>
                      <a:pt x="16049" y="4722"/>
                      <a:pt x="16049" y="4722"/>
                    </a:cubicBezTo>
                    <a:cubicBezTo>
                      <a:pt x="16068" y="4782"/>
                      <a:pt x="16094" y="4892"/>
                      <a:pt x="16094" y="5035"/>
                    </a:cubicBezTo>
                    <a:cubicBezTo>
                      <a:pt x="16094" y="5114"/>
                      <a:pt x="16086" y="5204"/>
                      <a:pt x="16063" y="5300"/>
                    </a:cubicBezTo>
                    <a:cubicBezTo>
                      <a:pt x="15977" y="5658"/>
                      <a:pt x="15708" y="5879"/>
                      <a:pt x="15617" y="6106"/>
                    </a:cubicBezTo>
                    <a:cubicBezTo>
                      <a:pt x="15541" y="6290"/>
                      <a:pt x="15483" y="6405"/>
                      <a:pt x="15483" y="6641"/>
                    </a:cubicBezTo>
                    <a:cubicBezTo>
                      <a:pt x="15483" y="6714"/>
                      <a:pt x="15488" y="6798"/>
                      <a:pt x="15501" y="6900"/>
                    </a:cubicBezTo>
                    <a:cubicBezTo>
                      <a:pt x="15548" y="7264"/>
                      <a:pt x="15642" y="8024"/>
                      <a:pt x="15672" y="8262"/>
                    </a:cubicBezTo>
                    <a:cubicBezTo>
                      <a:pt x="15681" y="8258"/>
                      <a:pt x="15687" y="8256"/>
                      <a:pt x="15687" y="8256"/>
                    </a:cubicBezTo>
                    <a:cubicBezTo>
                      <a:pt x="15694" y="8253"/>
                      <a:pt x="15694" y="8253"/>
                      <a:pt x="15694" y="8253"/>
                    </a:cubicBezTo>
                    <a:cubicBezTo>
                      <a:pt x="17130" y="7958"/>
                      <a:pt x="17130" y="7958"/>
                      <a:pt x="17130" y="7958"/>
                    </a:cubicBezTo>
                    <a:cubicBezTo>
                      <a:pt x="17133" y="7958"/>
                      <a:pt x="17133" y="7958"/>
                      <a:pt x="17133" y="7958"/>
                    </a:cubicBezTo>
                    <a:cubicBezTo>
                      <a:pt x="17133" y="7958"/>
                      <a:pt x="17381" y="7929"/>
                      <a:pt x="17629" y="7900"/>
                    </a:cubicBezTo>
                    <a:cubicBezTo>
                      <a:pt x="17753" y="7885"/>
                      <a:pt x="17878" y="7871"/>
                      <a:pt x="17972" y="7860"/>
                    </a:cubicBezTo>
                    <a:cubicBezTo>
                      <a:pt x="17984" y="7858"/>
                      <a:pt x="17996" y="7857"/>
                      <a:pt x="18007" y="7855"/>
                    </a:cubicBezTo>
                    <a:cubicBezTo>
                      <a:pt x="18007" y="8009"/>
                      <a:pt x="18007" y="8009"/>
                      <a:pt x="18007" y="8009"/>
                    </a:cubicBezTo>
                    <a:cubicBezTo>
                      <a:pt x="17909" y="8020"/>
                      <a:pt x="17771" y="8037"/>
                      <a:pt x="17635" y="8053"/>
                    </a:cubicBezTo>
                    <a:cubicBezTo>
                      <a:pt x="17407" y="8079"/>
                      <a:pt x="17184" y="8106"/>
                      <a:pt x="17154" y="8109"/>
                    </a:cubicBezTo>
                    <a:cubicBezTo>
                      <a:pt x="15740" y="8399"/>
                      <a:pt x="15740" y="8399"/>
                      <a:pt x="15740" y="8399"/>
                    </a:cubicBezTo>
                    <a:cubicBezTo>
                      <a:pt x="15713" y="8410"/>
                      <a:pt x="15614" y="8453"/>
                      <a:pt x="15591" y="8463"/>
                    </a:cubicBezTo>
                    <a:cubicBezTo>
                      <a:pt x="15591" y="8463"/>
                      <a:pt x="15591" y="8463"/>
                      <a:pt x="15591" y="8463"/>
                    </a:cubicBezTo>
                    <a:cubicBezTo>
                      <a:pt x="15578" y="8470"/>
                      <a:pt x="15526" y="8499"/>
                      <a:pt x="15455" y="8539"/>
                    </a:cubicBezTo>
                    <a:cubicBezTo>
                      <a:pt x="15348" y="8599"/>
                      <a:pt x="15195" y="8684"/>
                      <a:pt x="15046" y="8762"/>
                    </a:cubicBezTo>
                    <a:cubicBezTo>
                      <a:pt x="14896" y="8840"/>
                      <a:pt x="14753" y="8912"/>
                      <a:pt x="14655" y="8947"/>
                    </a:cubicBezTo>
                    <a:cubicBezTo>
                      <a:pt x="14532" y="8992"/>
                      <a:pt x="14415" y="9031"/>
                      <a:pt x="14327" y="9060"/>
                    </a:cubicBezTo>
                    <a:cubicBezTo>
                      <a:pt x="14283" y="9074"/>
                      <a:pt x="14246" y="9085"/>
                      <a:pt x="14218" y="9093"/>
                    </a:cubicBezTo>
                    <a:cubicBezTo>
                      <a:pt x="14205" y="9097"/>
                      <a:pt x="14193" y="9101"/>
                      <a:pt x="14184" y="9103"/>
                    </a:cubicBezTo>
                    <a:cubicBezTo>
                      <a:pt x="14179" y="9104"/>
                      <a:pt x="14175" y="9105"/>
                      <a:pt x="14171" y="9106"/>
                    </a:cubicBezTo>
                    <a:cubicBezTo>
                      <a:pt x="14167" y="9107"/>
                      <a:pt x="14165" y="9107"/>
                      <a:pt x="14159" y="9108"/>
                    </a:cubicBezTo>
                    <a:cubicBezTo>
                      <a:pt x="14147" y="9110"/>
                      <a:pt x="14093" y="9123"/>
                      <a:pt x="14025" y="9139"/>
                    </a:cubicBezTo>
                    <a:cubicBezTo>
                      <a:pt x="13861" y="9178"/>
                      <a:pt x="13601" y="9241"/>
                      <a:pt x="13483" y="9269"/>
                    </a:cubicBezTo>
                    <a:cubicBezTo>
                      <a:pt x="13488" y="9302"/>
                      <a:pt x="13489" y="9335"/>
                      <a:pt x="13489" y="9366"/>
                    </a:cubicBezTo>
                    <a:cubicBezTo>
                      <a:pt x="13489" y="9427"/>
                      <a:pt x="13483" y="9484"/>
                      <a:pt x="13477" y="9526"/>
                    </a:cubicBezTo>
                    <a:cubicBezTo>
                      <a:pt x="13474" y="9543"/>
                      <a:pt x="13471" y="9557"/>
                      <a:pt x="13469" y="9569"/>
                    </a:cubicBezTo>
                    <a:cubicBezTo>
                      <a:pt x="13498" y="9611"/>
                      <a:pt x="13552" y="9665"/>
                      <a:pt x="13611" y="9710"/>
                    </a:cubicBezTo>
                    <a:cubicBezTo>
                      <a:pt x="13682" y="9766"/>
                      <a:pt x="13762" y="9812"/>
                      <a:pt x="13806" y="9827"/>
                    </a:cubicBezTo>
                    <a:cubicBezTo>
                      <a:pt x="13855" y="9844"/>
                      <a:pt x="13934" y="9858"/>
                      <a:pt x="14019" y="9879"/>
                    </a:cubicBezTo>
                    <a:cubicBezTo>
                      <a:pt x="14105" y="9901"/>
                      <a:pt x="14200" y="9930"/>
                      <a:pt x="14286" y="9984"/>
                    </a:cubicBezTo>
                    <a:cubicBezTo>
                      <a:pt x="14437" y="10081"/>
                      <a:pt x="14519" y="10226"/>
                      <a:pt x="14539" y="10264"/>
                    </a:cubicBezTo>
                    <a:cubicBezTo>
                      <a:pt x="14560" y="10289"/>
                      <a:pt x="14650" y="10398"/>
                      <a:pt x="14747" y="10513"/>
                    </a:cubicBezTo>
                    <a:cubicBezTo>
                      <a:pt x="14802" y="10578"/>
                      <a:pt x="14859" y="10646"/>
                      <a:pt x="14907" y="10700"/>
                    </a:cubicBezTo>
                    <a:cubicBezTo>
                      <a:pt x="14930" y="10727"/>
                      <a:pt x="14952" y="10751"/>
                      <a:pt x="14969" y="10770"/>
                    </a:cubicBezTo>
                    <a:cubicBezTo>
                      <a:pt x="14985" y="10789"/>
                      <a:pt x="14999" y="10803"/>
                      <a:pt x="15003" y="10806"/>
                    </a:cubicBezTo>
                    <a:cubicBezTo>
                      <a:pt x="15009" y="10812"/>
                      <a:pt x="15015" y="10816"/>
                      <a:pt x="15020" y="10821"/>
                    </a:cubicBezTo>
                    <a:cubicBezTo>
                      <a:pt x="14810" y="10821"/>
                      <a:pt x="14810" y="10821"/>
                      <a:pt x="14810" y="10821"/>
                    </a:cubicBezTo>
                    <a:cubicBezTo>
                      <a:pt x="14667" y="10658"/>
                      <a:pt x="14418" y="10356"/>
                      <a:pt x="14417" y="10355"/>
                    </a:cubicBezTo>
                    <a:cubicBezTo>
                      <a:pt x="14411" y="10349"/>
                      <a:pt x="14411" y="10349"/>
                      <a:pt x="14411" y="10349"/>
                    </a:cubicBezTo>
                    <a:cubicBezTo>
                      <a:pt x="14407" y="10341"/>
                      <a:pt x="14407" y="10341"/>
                      <a:pt x="14407" y="10341"/>
                    </a:cubicBezTo>
                    <a:cubicBezTo>
                      <a:pt x="14407" y="10340"/>
                      <a:pt x="14407" y="10340"/>
                      <a:pt x="14407" y="10340"/>
                    </a:cubicBezTo>
                    <a:cubicBezTo>
                      <a:pt x="14401" y="10327"/>
                      <a:pt x="14325" y="10188"/>
                      <a:pt x="14205" y="10113"/>
                    </a:cubicBezTo>
                    <a:cubicBezTo>
                      <a:pt x="14141" y="10073"/>
                      <a:pt x="14062" y="10047"/>
                      <a:pt x="13983" y="10027"/>
                    </a:cubicBezTo>
                    <a:cubicBezTo>
                      <a:pt x="13934" y="10015"/>
                      <a:pt x="13887" y="10005"/>
                      <a:pt x="13842" y="9995"/>
                    </a:cubicBezTo>
                    <a:cubicBezTo>
                      <a:pt x="12833" y="10821"/>
                      <a:pt x="12833" y="10821"/>
                      <a:pt x="12833" y="10821"/>
                    </a:cubicBezTo>
                    <a:cubicBezTo>
                      <a:pt x="12729" y="10821"/>
                      <a:pt x="12729" y="10821"/>
                      <a:pt x="12729" y="10821"/>
                    </a:cubicBezTo>
                    <a:cubicBezTo>
                      <a:pt x="13765" y="9973"/>
                      <a:pt x="13765" y="9973"/>
                      <a:pt x="13765" y="9973"/>
                    </a:cubicBezTo>
                    <a:cubicBezTo>
                      <a:pt x="13762" y="9973"/>
                      <a:pt x="13759" y="9972"/>
                      <a:pt x="13757" y="9971"/>
                    </a:cubicBezTo>
                    <a:cubicBezTo>
                      <a:pt x="13685" y="9946"/>
                      <a:pt x="13599" y="9894"/>
                      <a:pt x="13517" y="9830"/>
                    </a:cubicBezTo>
                    <a:cubicBezTo>
                      <a:pt x="13436" y="9766"/>
                      <a:pt x="13360" y="9694"/>
                      <a:pt x="13318" y="9614"/>
                    </a:cubicBezTo>
                    <a:cubicBezTo>
                      <a:pt x="13314" y="9579"/>
                      <a:pt x="13314" y="9579"/>
                      <a:pt x="13314" y="9579"/>
                    </a:cubicBezTo>
                    <a:cubicBezTo>
                      <a:pt x="13317" y="9548"/>
                      <a:pt x="13317" y="9548"/>
                      <a:pt x="13317" y="9548"/>
                    </a:cubicBezTo>
                    <a:cubicBezTo>
                      <a:pt x="13317" y="9549"/>
                      <a:pt x="13317" y="9549"/>
                      <a:pt x="13317" y="9549"/>
                    </a:cubicBezTo>
                    <a:cubicBezTo>
                      <a:pt x="13317" y="9549"/>
                      <a:pt x="13317" y="9549"/>
                      <a:pt x="13317" y="9549"/>
                    </a:cubicBezTo>
                    <a:cubicBezTo>
                      <a:pt x="13318" y="9544"/>
                      <a:pt x="13324" y="9517"/>
                      <a:pt x="13329" y="9484"/>
                    </a:cubicBezTo>
                    <a:cubicBezTo>
                      <a:pt x="13333" y="9450"/>
                      <a:pt x="13337" y="9409"/>
                      <a:pt x="13337" y="9366"/>
                    </a:cubicBezTo>
                    <a:cubicBezTo>
                      <a:pt x="13337" y="9316"/>
                      <a:pt x="13332" y="9265"/>
                      <a:pt x="13319" y="9228"/>
                    </a:cubicBezTo>
                    <a:cubicBezTo>
                      <a:pt x="13300" y="9170"/>
                      <a:pt x="13263" y="9119"/>
                      <a:pt x="13193" y="9071"/>
                    </a:cubicBezTo>
                    <a:cubicBezTo>
                      <a:pt x="13124" y="9023"/>
                      <a:pt x="13021" y="8980"/>
                      <a:pt x="12879" y="8947"/>
                    </a:cubicBezTo>
                    <a:cubicBezTo>
                      <a:pt x="12593" y="8878"/>
                      <a:pt x="12335" y="8869"/>
                      <a:pt x="12126" y="8859"/>
                    </a:cubicBezTo>
                    <a:cubicBezTo>
                      <a:pt x="12020" y="8855"/>
                      <a:pt x="11792" y="8840"/>
                      <a:pt x="11588" y="8827"/>
                    </a:cubicBezTo>
                    <a:cubicBezTo>
                      <a:pt x="11487" y="8820"/>
                      <a:pt x="11392" y="8814"/>
                      <a:pt x="11322" y="8809"/>
                    </a:cubicBezTo>
                    <a:cubicBezTo>
                      <a:pt x="11290" y="8807"/>
                      <a:pt x="11263" y="8805"/>
                      <a:pt x="11244" y="8804"/>
                    </a:cubicBezTo>
                    <a:cubicBezTo>
                      <a:pt x="11238" y="8893"/>
                      <a:pt x="11213" y="9082"/>
                      <a:pt x="11094" y="9209"/>
                    </a:cubicBezTo>
                    <a:cubicBezTo>
                      <a:pt x="10985" y="9325"/>
                      <a:pt x="10809" y="9484"/>
                      <a:pt x="10723" y="9562"/>
                    </a:cubicBezTo>
                    <a:cubicBezTo>
                      <a:pt x="10795" y="9610"/>
                      <a:pt x="10941" y="9707"/>
                      <a:pt x="11084" y="9800"/>
                    </a:cubicBezTo>
                    <a:cubicBezTo>
                      <a:pt x="11286" y="9932"/>
                      <a:pt x="11409" y="10039"/>
                      <a:pt x="11410" y="10039"/>
                    </a:cubicBezTo>
                    <a:cubicBezTo>
                      <a:pt x="11412" y="10041"/>
                      <a:pt x="11412" y="10041"/>
                      <a:pt x="11412" y="10041"/>
                    </a:cubicBezTo>
                    <a:cubicBezTo>
                      <a:pt x="11687" y="10387"/>
                      <a:pt x="11687" y="10387"/>
                      <a:pt x="11687" y="10387"/>
                    </a:cubicBezTo>
                    <a:cubicBezTo>
                      <a:pt x="11702" y="10377"/>
                      <a:pt x="11730" y="10357"/>
                      <a:pt x="11775" y="10317"/>
                    </a:cubicBezTo>
                    <a:cubicBezTo>
                      <a:pt x="11821" y="10276"/>
                      <a:pt x="11871" y="10263"/>
                      <a:pt x="11911" y="10263"/>
                    </a:cubicBezTo>
                    <a:cubicBezTo>
                      <a:pt x="11968" y="10263"/>
                      <a:pt x="12007" y="10288"/>
                      <a:pt x="12010" y="10289"/>
                    </a:cubicBezTo>
                    <a:cubicBezTo>
                      <a:pt x="12012" y="10291"/>
                      <a:pt x="12012" y="10291"/>
                      <a:pt x="12012" y="10291"/>
                    </a:cubicBezTo>
                    <a:cubicBezTo>
                      <a:pt x="12641" y="10821"/>
                      <a:pt x="12641" y="10821"/>
                      <a:pt x="12641" y="10821"/>
                    </a:cubicBezTo>
                    <a:cubicBezTo>
                      <a:pt x="12539" y="10821"/>
                      <a:pt x="12539" y="10821"/>
                      <a:pt x="12539" y="10821"/>
                    </a:cubicBezTo>
                    <a:cubicBezTo>
                      <a:pt x="11974" y="10344"/>
                      <a:pt x="11974" y="10344"/>
                      <a:pt x="11974" y="10344"/>
                    </a:cubicBezTo>
                    <a:cubicBezTo>
                      <a:pt x="11967" y="10340"/>
                      <a:pt x="11942" y="10329"/>
                      <a:pt x="11911" y="10329"/>
                    </a:cubicBezTo>
                    <a:cubicBezTo>
                      <a:pt x="11884" y="10329"/>
                      <a:pt x="11853" y="10336"/>
                      <a:pt x="11818" y="10366"/>
                    </a:cubicBezTo>
                    <a:cubicBezTo>
                      <a:pt x="11774" y="10405"/>
                      <a:pt x="11747" y="10426"/>
                      <a:pt x="11728" y="10439"/>
                    </a:cubicBezTo>
                    <a:cubicBezTo>
                      <a:pt x="12032" y="10821"/>
                      <a:pt x="12032" y="10821"/>
                      <a:pt x="12032" y="10821"/>
                    </a:cubicBezTo>
                    <a:cubicBezTo>
                      <a:pt x="11948" y="10821"/>
                      <a:pt x="11948" y="10821"/>
                      <a:pt x="11948" y="10821"/>
                    </a:cubicBezTo>
                    <a:cubicBezTo>
                      <a:pt x="11365" y="10087"/>
                      <a:pt x="11365" y="10087"/>
                      <a:pt x="11365" y="10087"/>
                    </a:cubicBezTo>
                    <a:cubicBezTo>
                      <a:pt x="11357" y="10080"/>
                      <a:pt x="11328" y="10056"/>
                      <a:pt x="11282" y="10021"/>
                    </a:cubicBezTo>
                    <a:cubicBezTo>
                      <a:pt x="11227" y="9978"/>
                      <a:pt x="11147" y="9920"/>
                      <a:pt x="11048" y="9855"/>
                    </a:cubicBezTo>
                    <a:cubicBezTo>
                      <a:pt x="10897" y="9756"/>
                      <a:pt x="10741" y="9653"/>
                      <a:pt x="10674" y="9608"/>
                    </a:cubicBezTo>
                    <a:cubicBezTo>
                      <a:pt x="10102" y="10821"/>
                      <a:pt x="10102" y="10821"/>
                      <a:pt x="10102" y="10821"/>
                    </a:cubicBezTo>
                    <a:cubicBezTo>
                      <a:pt x="10029" y="10821"/>
                      <a:pt x="10029" y="10821"/>
                      <a:pt x="10029" y="10821"/>
                    </a:cubicBezTo>
                    <a:cubicBezTo>
                      <a:pt x="10617" y="9575"/>
                      <a:pt x="10617" y="9575"/>
                      <a:pt x="10617" y="9575"/>
                    </a:cubicBezTo>
                    <a:cubicBezTo>
                      <a:pt x="10576" y="9556"/>
                      <a:pt x="10490" y="9516"/>
                      <a:pt x="10393" y="9471"/>
                    </a:cubicBezTo>
                    <a:cubicBezTo>
                      <a:pt x="10258" y="9408"/>
                      <a:pt x="10102" y="9337"/>
                      <a:pt x="10021" y="9303"/>
                    </a:cubicBezTo>
                    <a:cubicBezTo>
                      <a:pt x="9864" y="9236"/>
                      <a:pt x="9482" y="9029"/>
                      <a:pt x="9306" y="8934"/>
                    </a:cubicBezTo>
                    <a:cubicBezTo>
                      <a:pt x="8386" y="10821"/>
                      <a:pt x="8386" y="10821"/>
                      <a:pt x="8386" y="10821"/>
                    </a:cubicBezTo>
                    <a:cubicBezTo>
                      <a:pt x="8313" y="10821"/>
                      <a:pt x="8313" y="10821"/>
                      <a:pt x="8313" y="10821"/>
                    </a:cubicBezTo>
                    <a:cubicBezTo>
                      <a:pt x="8548" y="10339"/>
                      <a:pt x="8548" y="10339"/>
                      <a:pt x="8548" y="10339"/>
                    </a:cubicBezTo>
                    <a:cubicBezTo>
                      <a:pt x="8547" y="10339"/>
                      <a:pt x="8547" y="10338"/>
                      <a:pt x="8546" y="10338"/>
                    </a:cubicBezTo>
                    <a:cubicBezTo>
                      <a:pt x="8410" y="10250"/>
                      <a:pt x="7983" y="9964"/>
                      <a:pt x="7879" y="9894"/>
                    </a:cubicBezTo>
                    <a:cubicBezTo>
                      <a:pt x="7875" y="9906"/>
                      <a:pt x="7870" y="9922"/>
                      <a:pt x="7864" y="9940"/>
                    </a:cubicBezTo>
                    <a:cubicBezTo>
                      <a:pt x="7822" y="10076"/>
                      <a:pt x="7735" y="10378"/>
                      <a:pt x="7659" y="10646"/>
                    </a:cubicBezTo>
                    <a:cubicBezTo>
                      <a:pt x="7642" y="10707"/>
                      <a:pt x="7625" y="10766"/>
                      <a:pt x="7610" y="10821"/>
                    </a:cubicBezTo>
                    <a:cubicBezTo>
                      <a:pt x="7563" y="10821"/>
                      <a:pt x="7563" y="10821"/>
                      <a:pt x="7563" y="10821"/>
                    </a:cubicBezTo>
                    <a:cubicBezTo>
                      <a:pt x="7580" y="10760"/>
                      <a:pt x="7599" y="10694"/>
                      <a:pt x="7618" y="10625"/>
                    </a:cubicBezTo>
                    <a:cubicBezTo>
                      <a:pt x="7612" y="10623"/>
                      <a:pt x="7604" y="10620"/>
                      <a:pt x="7595" y="10616"/>
                    </a:cubicBezTo>
                    <a:cubicBezTo>
                      <a:pt x="7544" y="10595"/>
                      <a:pt x="7452" y="10554"/>
                      <a:pt x="7348" y="10509"/>
                    </a:cubicBezTo>
                    <a:cubicBezTo>
                      <a:pt x="7299" y="10821"/>
                      <a:pt x="7299" y="10821"/>
                      <a:pt x="7299" y="10821"/>
                    </a:cubicBezTo>
                    <a:cubicBezTo>
                      <a:pt x="7285" y="10821"/>
                      <a:pt x="7285" y="10821"/>
                      <a:pt x="7285" y="10821"/>
                    </a:cubicBezTo>
                    <a:cubicBezTo>
                      <a:pt x="7335" y="10503"/>
                      <a:pt x="7335" y="10503"/>
                      <a:pt x="7335" y="10503"/>
                    </a:cubicBezTo>
                    <a:cubicBezTo>
                      <a:pt x="7249" y="10465"/>
                      <a:pt x="7157" y="10423"/>
                      <a:pt x="7073" y="10385"/>
                    </a:cubicBezTo>
                    <a:cubicBezTo>
                      <a:pt x="6991" y="10821"/>
                      <a:pt x="6991" y="10821"/>
                      <a:pt x="6991" y="10821"/>
                    </a:cubicBezTo>
                    <a:cubicBezTo>
                      <a:pt x="6977" y="10821"/>
                      <a:pt x="6977" y="10821"/>
                      <a:pt x="6977" y="10821"/>
                    </a:cubicBezTo>
                    <a:cubicBezTo>
                      <a:pt x="7059" y="10381"/>
                      <a:pt x="7059" y="10381"/>
                      <a:pt x="7059" y="10381"/>
                    </a:cubicBezTo>
                    <a:cubicBezTo>
                      <a:pt x="7064" y="10382"/>
                      <a:pt x="7064" y="10382"/>
                      <a:pt x="7064" y="10382"/>
                    </a:cubicBezTo>
                    <a:cubicBezTo>
                      <a:pt x="6959" y="10335"/>
                      <a:pt x="6869" y="10294"/>
                      <a:pt x="6826" y="10274"/>
                    </a:cubicBezTo>
                    <a:cubicBezTo>
                      <a:pt x="6767" y="10821"/>
                      <a:pt x="6767" y="10821"/>
                      <a:pt x="6767" y="10821"/>
                    </a:cubicBezTo>
                    <a:cubicBezTo>
                      <a:pt x="6701" y="10821"/>
                      <a:pt x="6701" y="10821"/>
                      <a:pt x="6701" y="10821"/>
                    </a:cubicBezTo>
                    <a:cubicBezTo>
                      <a:pt x="6731" y="10539"/>
                      <a:pt x="6731" y="10539"/>
                      <a:pt x="6731" y="10539"/>
                    </a:cubicBezTo>
                    <a:cubicBezTo>
                      <a:pt x="6683" y="10536"/>
                      <a:pt x="6575" y="10528"/>
                      <a:pt x="6468" y="10520"/>
                    </a:cubicBezTo>
                    <a:cubicBezTo>
                      <a:pt x="6452" y="10624"/>
                      <a:pt x="6452" y="10624"/>
                      <a:pt x="6452" y="10624"/>
                    </a:cubicBezTo>
                    <a:cubicBezTo>
                      <a:pt x="6507" y="10581"/>
                      <a:pt x="6507" y="10581"/>
                      <a:pt x="6507" y="10581"/>
                    </a:cubicBezTo>
                    <a:cubicBezTo>
                      <a:pt x="6624" y="10715"/>
                      <a:pt x="6624" y="10715"/>
                      <a:pt x="6624" y="10715"/>
                    </a:cubicBezTo>
                    <a:cubicBezTo>
                      <a:pt x="6493" y="10821"/>
                      <a:pt x="6493" y="10821"/>
                      <a:pt x="6493" y="10821"/>
                    </a:cubicBezTo>
                    <a:cubicBezTo>
                      <a:pt x="6492" y="10821"/>
                      <a:pt x="6492" y="10821"/>
                      <a:pt x="6492" y="10821"/>
                    </a:cubicBezTo>
                    <a:cubicBezTo>
                      <a:pt x="6433" y="10752"/>
                      <a:pt x="6433" y="10752"/>
                      <a:pt x="6433" y="10752"/>
                    </a:cubicBezTo>
                    <a:cubicBezTo>
                      <a:pt x="6422" y="10821"/>
                      <a:pt x="6422" y="10821"/>
                      <a:pt x="6422" y="10821"/>
                    </a:cubicBezTo>
                    <a:cubicBezTo>
                      <a:pt x="6408" y="10821"/>
                      <a:pt x="6408" y="10821"/>
                      <a:pt x="6408" y="10821"/>
                    </a:cubicBezTo>
                    <a:cubicBezTo>
                      <a:pt x="6419" y="10747"/>
                      <a:pt x="6419" y="10747"/>
                      <a:pt x="6419" y="10747"/>
                    </a:cubicBezTo>
                    <a:cubicBezTo>
                      <a:pt x="6350" y="10808"/>
                      <a:pt x="6350" y="10808"/>
                      <a:pt x="6350" y="10808"/>
                    </a:cubicBezTo>
                    <a:cubicBezTo>
                      <a:pt x="6240" y="10682"/>
                      <a:pt x="6240" y="10682"/>
                      <a:pt x="6240" y="10682"/>
                    </a:cubicBezTo>
                    <a:cubicBezTo>
                      <a:pt x="6366" y="10572"/>
                      <a:pt x="6366" y="10572"/>
                      <a:pt x="6366" y="10572"/>
                    </a:cubicBezTo>
                    <a:cubicBezTo>
                      <a:pt x="6428" y="10643"/>
                      <a:pt x="6428" y="10643"/>
                      <a:pt x="6428" y="10643"/>
                    </a:cubicBezTo>
                    <a:cubicBezTo>
                      <a:pt x="6436" y="10636"/>
                      <a:pt x="6436" y="10636"/>
                      <a:pt x="6436" y="10636"/>
                    </a:cubicBezTo>
                    <a:cubicBezTo>
                      <a:pt x="6454" y="10519"/>
                      <a:pt x="6454" y="10519"/>
                      <a:pt x="6454" y="10519"/>
                    </a:cubicBezTo>
                    <a:cubicBezTo>
                      <a:pt x="6354" y="10511"/>
                      <a:pt x="6256" y="10503"/>
                      <a:pt x="6210" y="10499"/>
                    </a:cubicBezTo>
                    <a:cubicBezTo>
                      <a:pt x="6147" y="10821"/>
                      <a:pt x="6147" y="10821"/>
                      <a:pt x="6147" y="10821"/>
                    </a:cubicBezTo>
                    <a:cubicBezTo>
                      <a:pt x="6080" y="10821"/>
                      <a:pt x="6080" y="10821"/>
                      <a:pt x="6080" y="10821"/>
                    </a:cubicBezTo>
                    <a:cubicBezTo>
                      <a:pt x="6232" y="10040"/>
                      <a:pt x="6232" y="10040"/>
                      <a:pt x="6232" y="10040"/>
                    </a:cubicBezTo>
                    <a:cubicBezTo>
                      <a:pt x="6211" y="10041"/>
                      <a:pt x="6175" y="10042"/>
                      <a:pt x="6127" y="10044"/>
                    </a:cubicBezTo>
                    <a:cubicBezTo>
                      <a:pt x="6095" y="10045"/>
                      <a:pt x="6058" y="10047"/>
                      <a:pt x="6017" y="10049"/>
                    </a:cubicBezTo>
                    <a:cubicBezTo>
                      <a:pt x="5958" y="10821"/>
                      <a:pt x="5958" y="10821"/>
                      <a:pt x="5958" y="10821"/>
                    </a:cubicBezTo>
                    <a:cubicBezTo>
                      <a:pt x="5893" y="10821"/>
                      <a:pt x="5893" y="10821"/>
                      <a:pt x="5893" y="10821"/>
                    </a:cubicBezTo>
                    <a:cubicBezTo>
                      <a:pt x="5910" y="10590"/>
                      <a:pt x="5910" y="10590"/>
                      <a:pt x="5910" y="10590"/>
                    </a:cubicBezTo>
                    <a:cubicBezTo>
                      <a:pt x="5901" y="10590"/>
                      <a:pt x="5888" y="10590"/>
                      <a:pt x="5873" y="10590"/>
                    </a:cubicBezTo>
                    <a:cubicBezTo>
                      <a:pt x="5738" y="10590"/>
                      <a:pt x="5412" y="10592"/>
                      <a:pt x="5396" y="10593"/>
                    </a:cubicBezTo>
                    <a:cubicBezTo>
                      <a:pt x="5053" y="10661"/>
                      <a:pt x="5053" y="10661"/>
                      <a:pt x="5053" y="10661"/>
                    </a:cubicBezTo>
                    <a:cubicBezTo>
                      <a:pt x="5058" y="10705"/>
                      <a:pt x="5064" y="10750"/>
                      <a:pt x="5069" y="10795"/>
                    </a:cubicBezTo>
                    <a:cubicBezTo>
                      <a:pt x="5070" y="10804"/>
                      <a:pt x="5071" y="10813"/>
                      <a:pt x="5072" y="10821"/>
                    </a:cubicBezTo>
                    <a:cubicBezTo>
                      <a:pt x="5006" y="10821"/>
                      <a:pt x="5006" y="10821"/>
                      <a:pt x="5006" y="10821"/>
                    </a:cubicBezTo>
                    <a:cubicBezTo>
                      <a:pt x="5005" y="10815"/>
                      <a:pt x="5005" y="10809"/>
                      <a:pt x="5004" y="10803"/>
                    </a:cubicBezTo>
                    <a:cubicBezTo>
                      <a:pt x="4996" y="10735"/>
                      <a:pt x="4988" y="10668"/>
                      <a:pt x="4981" y="10604"/>
                    </a:cubicBezTo>
                    <a:cubicBezTo>
                      <a:pt x="4951" y="10607"/>
                      <a:pt x="4890" y="10612"/>
                      <a:pt x="4817" y="10619"/>
                    </a:cubicBezTo>
                    <a:cubicBezTo>
                      <a:pt x="4852" y="10821"/>
                      <a:pt x="4852" y="10821"/>
                      <a:pt x="4852" y="10821"/>
                    </a:cubicBezTo>
                    <a:cubicBezTo>
                      <a:pt x="4838" y="10821"/>
                      <a:pt x="4838" y="10821"/>
                      <a:pt x="4838" y="10821"/>
                    </a:cubicBezTo>
                    <a:cubicBezTo>
                      <a:pt x="4803" y="10620"/>
                      <a:pt x="4803" y="10620"/>
                      <a:pt x="4803" y="10620"/>
                    </a:cubicBezTo>
                    <a:cubicBezTo>
                      <a:pt x="4758" y="10624"/>
                      <a:pt x="4709" y="10628"/>
                      <a:pt x="4660" y="10633"/>
                    </a:cubicBezTo>
                    <a:cubicBezTo>
                      <a:pt x="4633" y="10635"/>
                      <a:pt x="4606" y="10638"/>
                      <a:pt x="4580" y="10640"/>
                    </a:cubicBezTo>
                    <a:cubicBezTo>
                      <a:pt x="4641" y="10821"/>
                      <a:pt x="4641" y="10821"/>
                      <a:pt x="4641" y="10821"/>
                    </a:cubicBezTo>
                    <a:cubicBezTo>
                      <a:pt x="4626" y="10821"/>
                      <a:pt x="4626" y="10821"/>
                      <a:pt x="4626" y="10821"/>
                    </a:cubicBezTo>
                    <a:cubicBezTo>
                      <a:pt x="4566" y="10641"/>
                      <a:pt x="4566" y="10641"/>
                      <a:pt x="4566" y="10641"/>
                    </a:cubicBezTo>
                    <a:cubicBezTo>
                      <a:pt x="4514" y="10646"/>
                      <a:pt x="4465" y="10650"/>
                      <a:pt x="4425" y="10654"/>
                    </a:cubicBezTo>
                    <a:cubicBezTo>
                      <a:pt x="4393" y="10657"/>
                      <a:pt x="4366" y="10659"/>
                      <a:pt x="4347" y="10661"/>
                    </a:cubicBezTo>
                    <a:cubicBezTo>
                      <a:pt x="4337" y="10662"/>
                      <a:pt x="4329" y="10663"/>
                      <a:pt x="4324" y="10663"/>
                    </a:cubicBezTo>
                    <a:cubicBezTo>
                      <a:pt x="4321" y="10663"/>
                      <a:pt x="4319" y="10664"/>
                      <a:pt x="4318" y="10664"/>
                    </a:cubicBezTo>
                    <a:cubicBezTo>
                      <a:pt x="4317" y="10664"/>
                      <a:pt x="4317" y="10664"/>
                      <a:pt x="4316" y="10664"/>
                    </a:cubicBezTo>
                    <a:cubicBezTo>
                      <a:pt x="4316" y="10664"/>
                      <a:pt x="4316" y="10664"/>
                      <a:pt x="4316" y="10664"/>
                    </a:cubicBezTo>
                    <a:cubicBezTo>
                      <a:pt x="4309" y="10667"/>
                      <a:pt x="4254" y="10690"/>
                      <a:pt x="4240" y="10695"/>
                    </a:cubicBezTo>
                    <a:cubicBezTo>
                      <a:pt x="4196" y="10821"/>
                      <a:pt x="4196" y="10821"/>
                      <a:pt x="4196" y="10821"/>
                    </a:cubicBezTo>
                    <a:cubicBezTo>
                      <a:pt x="4181" y="10821"/>
                      <a:pt x="4181" y="10821"/>
                      <a:pt x="4181" y="10821"/>
                    </a:cubicBezTo>
                    <a:cubicBezTo>
                      <a:pt x="4229" y="10685"/>
                      <a:pt x="4229" y="10685"/>
                      <a:pt x="4229" y="10685"/>
                    </a:cubicBezTo>
                    <a:cubicBezTo>
                      <a:pt x="4232" y="10684"/>
                      <a:pt x="4232" y="10684"/>
                      <a:pt x="4232" y="10684"/>
                    </a:cubicBezTo>
                    <a:cubicBezTo>
                      <a:pt x="4232" y="10684"/>
                      <a:pt x="4238" y="10681"/>
                      <a:pt x="4246" y="10678"/>
                    </a:cubicBezTo>
                    <a:cubicBezTo>
                      <a:pt x="4245" y="10675"/>
                      <a:pt x="4217" y="10603"/>
                      <a:pt x="4189" y="10530"/>
                    </a:cubicBezTo>
                    <a:cubicBezTo>
                      <a:pt x="4175" y="10492"/>
                      <a:pt x="4160" y="10454"/>
                      <a:pt x="4150" y="10425"/>
                    </a:cubicBezTo>
                    <a:cubicBezTo>
                      <a:pt x="4145" y="10411"/>
                      <a:pt x="4140" y="10400"/>
                      <a:pt x="4137" y="10392"/>
                    </a:cubicBezTo>
                    <a:cubicBezTo>
                      <a:pt x="4012" y="10428"/>
                      <a:pt x="3888" y="10466"/>
                      <a:pt x="3775" y="10501"/>
                    </a:cubicBezTo>
                    <a:cubicBezTo>
                      <a:pt x="3609" y="10552"/>
                      <a:pt x="3463" y="10599"/>
                      <a:pt x="3359" y="10633"/>
                    </a:cubicBezTo>
                    <a:cubicBezTo>
                      <a:pt x="3307" y="10650"/>
                      <a:pt x="3266" y="10664"/>
                      <a:pt x="3237" y="10674"/>
                    </a:cubicBezTo>
                    <a:cubicBezTo>
                      <a:pt x="3235" y="10675"/>
                      <a:pt x="3233" y="10676"/>
                      <a:pt x="3231" y="10676"/>
                    </a:cubicBezTo>
                    <a:cubicBezTo>
                      <a:pt x="3340" y="10821"/>
                      <a:pt x="3340" y="10821"/>
                      <a:pt x="3340" y="10821"/>
                    </a:cubicBezTo>
                    <a:cubicBezTo>
                      <a:pt x="3258" y="10821"/>
                      <a:pt x="3258" y="10821"/>
                      <a:pt x="3258" y="10821"/>
                    </a:cubicBezTo>
                    <a:cubicBezTo>
                      <a:pt x="3168" y="10702"/>
                      <a:pt x="3168" y="10702"/>
                      <a:pt x="3168" y="10702"/>
                    </a:cubicBezTo>
                    <a:cubicBezTo>
                      <a:pt x="3144" y="10711"/>
                      <a:pt x="3108" y="10725"/>
                      <a:pt x="3065" y="10745"/>
                    </a:cubicBezTo>
                    <a:cubicBezTo>
                      <a:pt x="3022" y="10764"/>
                      <a:pt x="2983" y="10790"/>
                      <a:pt x="2945" y="10821"/>
                    </a:cubicBezTo>
                    <a:cubicBezTo>
                      <a:pt x="2653" y="10821"/>
                      <a:pt x="2653" y="10821"/>
                      <a:pt x="2653" y="10821"/>
                    </a:cubicBezTo>
                    <a:cubicBezTo>
                      <a:pt x="2596" y="10813"/>
                      <a:pt x="2529" y="10806"/>
                      <a:pt x="2455" y="10802"/>
                    </a:cubicBezTo>
                    <a:cubicBezTo>
                      <a:pt x="2359" y="10796"/>
                      <a:pt x="2277" y="10793"/>
                      <a:pt x="2207" y="10793"/>
                    </a:cubicBezTo>
                    <a:cubicBezTo>
                      <a:pt x="2118" y="10793"/>
                      <a:pt x="2049" y="10798"/>
                      <a:pt x="1995" y="10808"/>
                    </a:cubicBezTo>
                    <a:cubicBezTo>
                      <a:pt x="2000" y="10821"/>
                      <a:pt x="2000" y="10821"/>
                      <a:pt x="2000" y="10821"/>
                    </a:cubicBezTo>
                    <a:cubicBezTo>
                      <a:pt x="1982" y="10821"/>
                      <a:pt x="1982" y="10821"/>
                      <a:pt x="1982" y="10821"/>
                    </a:cubicBezTo>
                    <a:cubicBezTo>
                      <a:pt x="1979" y="10811"/>
                      <a:pt x="1979" y="10811"/>
                      <a:pt x="1979" y="10811"/>
                    </a:cubicBezTo>
                    <a:cubicBezTo>
                      <a:pt x="1977" y="10812"/>
                      <a:pt x="1975" y="10812"/>
                      <a:pt x="1974" y="10812"/>
                    </a:cubicBezTo>
                    <a:cubicBezTo>
                      <a:pt x="1964" y="10815"/>
                      <a:pt x="1952" y="10818"/>
                      <a:pt x="1940" y="10821"/>
                    </a:cubicBezTo>
                    <a:cubicBezTo>
                      <a:pt x="1729" y="10821"/>
                      <a:pt x="1729" y="10821"/>
                      <a:pt x="1729" y="10821"/>
                    </a:cubicBezTo>
                    <a:cubicBezTo>
                      <a:pt x="1814" y="10789"/>
                      <a:pt x="1903" y="10758"/>
                      <a:pt x="1959" y="10745"/>
                    </a:cubicBezTo>
                    <a:cubicBezTo>
                      <a:pt x="2019" y="10732"/>
                      <a:pt x="2093" y="10726"/>
                      <a:pt x="2186" y="10725"/>
                    </a:cubicBezTo>
                    <a:cubicBezTo>
                      <a:pt x="2185" y="10724"/>
                      <a:pt x="2185" y="10724"/>
                      <a:pt x="2185" y="10724"/>
                    </a:cubicBezTo>
                    <a:cubicBezTo>
                      <a:pt x="2212" y="10590"/>
                      <a:pt x="2212" y="10590"/>
                      <a:pt x="2212" y="10590"/>
                    </a:cubicBezTo>
                    <a:cubicBezTo>
                      <a:pt x="2198" y="10571"/>
                      <a:pt x="2188" y="10547"/>
                      <a:pt x="2183" y="10515"/>
                    </a:cubicBezTo>
                    <a:cubicBezTo>
                      <a:pt x="2162" y="10503"/>
                      <a:pt x="2141" y="10497"/>
                      <a:pt x="2121" y="10495"/>
                    </a:cubicBezTo>
                    <a:cubicBezTo>
                      <a:pt x="2122" y="10496"/>
                      <a:pt x="2124" y="10495"/>
                      <a:pt x="2124" y="10496"/>
                    </a:cubicBezTo>
                    <a:cubicBezTo>
                      <a:pt x="2155" y="10509"/>
                      <a:pt x="2174" y="10535"/>
                      <a:pt x="2174" y="10558"/>
                    </a:cubicBezTo>
                    <a:cubicBezTo>
                      <a:pt x="2174" y="10562"/>
                      <a:pt x="2173" y="10567"/>
                      <a:pt x="2172" y="10571"/>
                    </a:cubicBezTo>
                    <a:cubicBezTo>
                      <a:pt x="2168" y="10581"/>
                      <a:pt x="2157" y="10584"/>
                      <a:pt x="2146" y="10584"/>
                    </a:cubicBezTo>
                    <a:cubicBezTo>
                      <a:pt x="2127" y="10584"/>
                      <a:pt x="2101" y="10577"/>
                      <a:pt x="2071" y="10577"/>
                    </a:cubicBezTo>
                    <a:cubicBezTo>
                      <a:pt x="2025" y="10577"/>
                      <a:pt x="2011" y="10614"/>
                      <a:pt x="1987" y="10656"/>
                    </a:cubicBezTo>
                    <a:cubicBezTo>
                      <a:pt x="1963" y="10699"/>
                      <a:pt x="1929" y="10700"/>
                      <a:pt x="1893" y="10714"/>
                    </a:cubicBezTo>
                    <a:cubicBezTo>
                      <a:pt x="1857" y="10727"/>
                      <a:pt x="1798" y="10751"/>
                      <a:pt x="1757" y="10776"/>
                    </a:cubicBezTo>
                    <a:cubicBezTo>
                      <a:pt x="1727" y="10795"/>
                      <a:pt x="1691" y="10804"/>
                      <a:pt x="1671" y="10804"/>
                    </a:cubicBezTo>
                    <a:cubicBezTo>
                      <a:pt x="1663" y="10804"/>
                      <a:pt x="1657" y="10804"/>
                      <a:pt x="1654" y="10797"/>
                    </a:cubicBezTo>
                    <a:cubicBezTo>
                      <a:pt x="1654" y="10796"/>
                      <a:pt x="1654" y="10796"/>
                      <a:pt x="1654" y="10796"/>
                    </a:cubicBezTo>
                    <a:cubicBezTo>
                      <a:pt x="1654" y="10796"/>
                      <a:pt x="1654" y="10796"/>
                      <a:pt x="1654" y="10796"/>
                    </a:cubicBezTo>
                    <a:cubicBezTo>
                      <a:pt x="1654" y="10795"/>
                      <a:pt x="1654" y="10795"/>
                      <a:pt x="1654" y="10795"/>
                    </a:cubicBezTo>
                    <a:cubicBezTo>
                      <a:pt x="1654" y="10795"/>
                      <a:pt x="1654" y="10795"/>
                      <a:pt x="1654" y="10795"/>
                    </a:cubicBezTo>
                    <a:cubicBezTo>
                      <a:pt x="1656" y="10788"/>
                      <a:pt x="1662" y="10785"/>
                      <a:pt x="1671" y="10777"/>
                    </a:cubicBezTo>
                    <a:cubicBezTo>
                      <a:pt x="1701" y="10756"/>
                      <a:pt x="1763" y="10720"/>
                      <a:pt x="1801" y="10705"/>
                    </a:cubicBezTo>
                    <a:cubicBezTo>
                      <a:pt x="1851" y="10685"/>
                      <a:pt x="1911" y="10644"/>
                      <a:pt x="1971" y="10576"/>
                    </a:cubicBezTo>
                    <a:cubicBezTo>
                      <a:pt x="2007" y="10534"/>
                      <a:pt x="2045" y="10510"/>
                      <a:pt x="2075" y="10499"/>
                    </a:cubicBezTo>
                    <a:cubicBezTo>
                      <a:pt x="2015" y="10514"/>
                      <a:pt x="1962" y="10563"/>
                      <a:pt x="1936" y="10590"/>
                    </a:cubicBezTo>
                    <a:cubicBezTo>
                      <a:pt x="1892" y="10635"/>
                      <a:pt x="1811" y="10697"/>
                      <a:pt x="1760" y="10721"/>
                    </a:cubicBezTo>
                    <a:cubicBezTo>
                      <a:pt x="1732" y="10733"/>
                      <a:pt x="1676" y="10740"/>
                      <a:pt x="1619" y="10749"/>
                    </a:cubicBezTo>
                    <a:cubicBezTo>
                      <a:pt x="1561" y="10758"/>
                      <a:pt x="1503" y="10769"/>
                      <a:pt x="1479" y="10783"/>
                    </a:cubicBezTo>
                    <a:cubicBezTo>
                      <a:pt x="1463" y="10792"/>
                      <a:pt x="1435" y="10805"/>
                      <a:pt x="1402" y="10820"/>
                    </a:cubicBezTo>
                    <a:cubicBezTo>
                      <a:pt x="1403" y="10821"/>
                      <a:pt x="1403" y="10821"/>
                      <a:pt x="1403" y="10821"/>
                    </a:cubicBezTo>
                    <a:cubicBezTo>
                      <a:pt x="1310" y="10821"/>
                      <a:pt x="1310" y="10821"/>
                      <a:pt x="1310" y="10821"/>
                    </a:cubicBezTo>
                    <a:cubicBezTo>
                      <a:pt x="1289" y="10798"/>
                      <a:pt x="1270" y="10776"/>
                      <a:pt x="1256" y="10759"/>
                    </a:cubicBezTo>
                    <a:cubicBezTo>
                      <a:pt x="1199" y="10693"/>
                      <a:pt x="1176" y="10650"/>
                      <a:pt x="1148" y="10602"/>
                    </a:cubicBezTo>
                    <a:cubicBezTo>
                      <a:pt x="1119" y="10553"/>
                      <a:pt x="855" y="10085"/>
                      <a:pt x="851" y="10080"/>
                    </a:cubicBezTo>
                    <a:cubicBezTo>
                      <a:pt x="911" y="10046"/>
                      <a:pt x="911" y="10046"/>
                      <a:pt x="911" y="10046"/>
                    </a:cubicBezTo>
                    <a:cubicBezTo>
                      <a:pt x="914" y="10051"/>
                      <a:pt x="914" y="10051"/>
                      <a:pt x="914" y="10051"/>
                    </a:cubicBezTo>
                    <a:cubicBezTo>
                      <a:pt x="915" y="10051"/>
                      <a:pt x="981" y="10168"/>
                      <a:pt x="1050" y="10291"/>
                    </a:cubicBezTo>
                    <a:cubicBezTo>
                      <a:pt x="1120" y="10414"/>
                      <a:pt x="1194" y="10544"/>
                      <a:pt x="1208" y="10568"/>
                    </a:cubicBezTo>
                    <a:cubicBezTo>
                      <a:pt x="1222" y="10593"/>
                      <a:pt x="1234" y="10614"/>
                      <a:pt x="1250" y="10637"/>
                    </a:cubicBezTo>
                    <a:cubicBezTo>
                      <a:pt x="1582" y="10456"/>
                      <a:pt x="1582" y="10456"/>
                      <a:pt x="1582" y="10456"/>
                    </a:cubicBezTo>
                    <a:cubicBezTo>
                      <a:pt x="1588" y="10384"/>
                      <a:pt x="1588" y="10384"/>
                      <a:pt x="1588" y="10384"/>
                    </a:cubicBezTo>
                    <a:cubicBezTo>
                      <a:pt x="1577" y="10383"/>
                      <a:pt x="1577" y="10383"/>
                      <a:pt x="1577" y="10383"/>
                    </a:cubicBezTo>
                    <a:cubicBezTo>
                      <a:pt x="1577" y="10380"/>
                      <a:pt x="1577" y="10380"/>
                      <a:pt x="1577" y="10380"/>
                    </a:cubicBezTo>
                    <a:cubicBezTo>
                      <a:pt x="1577" y="10380"/>
                      <a:pt x="1582" y="10331"/>
                      <a:pt x="1587" y="10281"/>
                    </a:cubicBezTo>
                    <a:cubicBezTo>
                      <a:pt x="1590" y="10243"/>
                      <a:pt x="1594" y="10202"/>
                      <a:pt x="1595" y="10184"/>
                    </a:cubicBezTo>
                    <a:cubicBezTo>
                      <a:pt x="1336" y="9965"/>
                      <a:pt x="1336" y="9965"/>
                      <a:pt x="1336" y="9965"/>
                    </a:cubicBezTo>
                    <a:cubicBezTo>
                      <a:pt x="1346" y="9952"/>
                      <a:pt x="1346" y="9952"/>
                      <a:pt x="1346" y="9952"/>
                    </a:cubicBezTo>
                    <a:cubicBezTo>
                      <a:pt x="1337" y="9944"/>
                      <a:pt x="1310" y="9922"/>
                      <a:pt x="1284" y="9900"/>
                    </a:cubicBezTo>
                    <a:cubicBezTo>
                      <a:pt x="1267" y="9886"/>
                      <a:pt x="1251" y="9872"/>
                      <a:pt x="1238" y="9861"/>
                    </a:cubicBezTo>
                    <a:cubicBezTo>
                      <a:pt x="1236" y="9859"/>
                      <a:pt x="1235" y="9857"/>
                      <a:pt x="1232" y="9856"/>
                    </a:cubicBezTo>
                    <a:cubicBezTo>
                      <a:pt x="1192" y="9878"/>
                      <a:pt x="1152" y="9899"/>
                      <a:pt x="1114" y="9920"/>
                    </a:cubicBezTo>
                    <a:cubicBezTo>
                      <a:pt x="859" y="10058"/>
                      <a:pt x="690" y="10149"/>
                      <a:pt x="676" y="10157"/>
                    </a:cubicBezTo>
                    <a:cubicBezTo>
                      <a:pt x="673" y="10159"/>
                      <a:pt x="660" y="10167"/>
                      <a:pt x="641" y="10178"/>
                    </a:cubicBezTo>
                    <a:cubicBezTo>
                      <a:pt x="655" y="10195"/>
                      <a:pt x="671" y="10213"/>
                      <a:pt x="687" y="10232"/>
                    </a:cubicBezTo>
                    <a:cubicBezTo>
                      <a:pt x="738" y="10212"/>
                      <a:pt x="781" y="10198"/>
                      <a:pt x="806" y="10197"/>
                    </a:cubicBezTo>
                    <a:cubicBezTo>
                      <a:pt x="807" y="10197"/>
                      <a:pt x="807" y="10197"/>
                      <a:pt x="807" y="10197"/>
                    </a:cubicBezTo>
                    <a:cubicBezTo>
                      <a:pt x="807" y="10197"/>
                      <a:pt x="807" y="10197"/>
                      <a:pt x="809" y="10198"/>
                    </a:cubicBezTo>
                    <a:cubicBezTo>
                      <a:pt x="831" y="10200"/>
                      <a:pt x="848" y="10217"/>
                      <a:pt x="869" y="10241"/>
                    </a:cubicBezTo>
                    <a:cubicBezTo>
                      <a:pt x="932" y="10316"/>
                      <a:pt x="1010" y="10467"/>
                      <a:pt x="1039" y="10532"/>
                    </a:cubicBezTo>
                    <a:cubicBezTo>
                      <a:pt x="1056" y="10570"/>
                      <a:pt x="1121" y="10651"/>
                      <a:pt x="1181" y="10721"/>
                    </a:cubicBezTo>
                    <a:cubicBezTo>
                      <a:pt x="1216" y="10761"/>
                      <a:pt x="1249" y="10797"/>
                      <a:pt x="1271" y="10821"/>
                    </a:cubicBezTo>
                    <a:cubicBezTo>
                      <a:pt x="1237" y="10821"/>
                      <a:pt x="1237" y="10821"/>
                      <a:pt x="1237" y="10821"/>
                    </a:cubicBezTo>
                    <a:cubicBezTo>
                      <a:pt x="1171" y="10749"/>
                      <a:pt x="1046" y="10607"/>
                      <a:pt x="1016" y="10542"/>
                    </a:cubicBezTo>
                    <a:cubicBezTo>
                      <a:pt x="998" y="10500"/>
                      <a:pt x="957" y="10419"/>
                      <a:pt x="914" y="10348"/>
                    </a:cubicBezTo>
                    <a:cubicBezTo>
                      <a:pt x="892" y="10313"/>
                      <a:pt x="870" y="10280"/>
                      <a:pt x="850" y="10257"/>
                    </a:cubicBezTo>
                    <a:cubicBezTo>
                      <a:pt x="831" y="10233"/>
                      <a:pt x="812" y="10221"/>
                      <a:pt x="807" y="10222"/>
                    </a:cubicBezTo>
                    <a:cubicBezTo>
                      <a:pt x="807" y="10222"/>
                      <a:pt x="807" y="10222"/>
                      <a:pt x="807" y="10222"/>
                    </a:cubicBezTo>
                    <a:cubicBezTo>
                      <a:pt x="806" y="10222"/>
                      <a:pt x="806" y="10222"/>
                      <a:pt x="806" y="10222"/>
                    </a:cubicBezTo>
                    <a:cubicBezTo>
                      <a:pt x="805" y="10222"/>
                      <a:pt x="805" y="10222"/>
                      <a:pt x="805" y="10222"/>
                    </a:cubicBezTo>
                    <a:cubicBezTo>
                      <a:pt x="788" y="10222"/>
                      <a:pt x="750" y="10234"/>
                      <a:pt x="704" y="10252"/>
                    </a:cubicBezTo>
                    <a:cubicBezTo>
                      <a:pt x="778" y="10338"/>
                      <a:pt x="867" y="10440"/>
                      <a:pt x="955" y="10542"/>
                    </a:cubicBezTo>
                    <a:cubicBezTo>
                      <a:pt x="1041" y="10641"/>
                      <a:pt x="1126" y="10740"/>
                      <a:pt x="1197" y="10821"/>
                    </a:cubicBezTo>
                    <a:cubicBezTo>
                      <a:pt x="1105" y="10821"/>
                      <a:pt x="1105" y="10821"/>
                      <a:pt x="1105" y="10821"/>
                    </a:cubicBezTo>
                    <a:cubicBezTo>
                      <a:pt x="1040" y="10746"/>
                      <a:pt x="966" y="10660"/>
                      <a:pt x="892" y="10574"/>
                    </a:cubicBezTo>
                    <a:cubicBezTo>
                      <a:pt x="801" y="10470"/>
                      <a:pt x="711" y="10365"/>
                      <a:pt x="637" y="10279"/>
                    </a:cubicBezTo>
                    <a:cubicBezTo>
                      <a:pt x="589" y="10300"/>
                      <a:pt x="540" y="10323"/>
                      <a:pt x="498" y="10344"/>
                    </a:cubicBezTo>
                    <a:cubicBezTo>
                      <a:pt x="587" y="10502"/>
                      <a:pt x="587" y="10502"/>
                      <a:pt x="587" y="10502"/>
                    </a:cubicBezTo>
                    <a:cubicBezTo>
                      <a:pt x="706" y="10434"/>
                      <a:pt x="706" y="10434"/>
                      <a:pt x="706" y="10434"/>
                    </a:cubicBezTo>
                    <a:cubicBezTo>
                      <a:pt x="710" y="10441"/>
                      <a:pt x="710" y="10441"/>
                      <a:pt x="710" y="10441"/>
                    </a:cubicBezTo>
                    <a:cubicBezTo>
                      <a:pt x="710" y="10441"/>
                      <a:pt x="787" y="10562"/>
                      <a:pt x="864" y="10683"/>
                    </a:cubicBezTo>
                    <a:cubicBezTo>
                      <a:pt x="895" y="10732"/>
                      <a:pt x="926" y="10780"/>
                      <a:pt x="952" y="10821"/>
                    </a:cubicBezTo>
                    <a:cubicBezTo>
                      <a:pt x="932" y="10821"/>
                      <a:pt x="932" y="10821"/>
                      <a:pt x="932" y="10821"/>
                    </a:cubicBezTo>
                    <a:cubicBezTo>
                      <a:pt x="907" y="10781"/>
                      <a:pt x="878" y="10735"/>
                      <a:pt x="849" y="10689"/>
                    </a:cubicBezTo>
                    <a:cubicBezTo>
                      <a:pt x="783" y="10585"/>
                      <a:pt x="718" y="10483"/>
                      <a:pt x="701" y="10456"/>
                    </a:cubicBezTo>
                    <a:cubicBezTo>
                      <a:pt x="595" y="10516"/>
                      <a:pt x="595" y="10516"/>
                      <a:pt x="595" y="10516"/>
                    </a:cubicBezTo>
                    <a:cubicBezTo>
                      <a:pt x="740" y="10776"/>
                      <a:pt x="740" y="10776"/>
                      <a:pt x="740" y="10776"/>
                    </a:cubicBezTo>
                    <a:cubicBezTo>
                      <a:pt x="649" y="10821"/>
                      <a:pt x="649" y="10821"/>
                      <a:pt x="649" y="10821"/>
                    </a:cubicBezTo>
                    <a:cubicBezTo>
                      <a:pt x="612" y="10821"/>
                      <a:pt x="612" y="10821"/>
                      <a:pt x="612" y="10821"/>
                    </a:cubicBezTo>
                    <a:cubicBezTo>
                      <a:pt x="717" y="10769"/>
                      <a:pt x="717" y="10769"/>
                      <a:pt x="717" y="10769"/>
                    </a:cubicBezTo>
                    <a:cubicBezTo>
                      <a:pt x="492" y="10365"/>
                      <a:pt x="492" y="10365"/>
                      <a:pt x="492" y="10365"/>
                    </a:cubicBezTo>
                    <a:cubicBezTo>
                      <a:pt x="324" y="10453"/>
                      <a:pt x="324" y="10453"/>
                      <a:pt x="324" y="10453"/>
                    </a:cubicBezTo>
                    <a:cubicBezTo>
                      <a:pt x="351" y="10512"/>
                      <a:pt x="351" y="10512"/>
                      <a:pt x="351" y="10512"/>
                    </a:cubicBezTo>
                    <a:cubicBezTo>
                      <a:pt x="351" y="10511"/>
                      <a:pt x="351" y="10511"/>
                      <a:pt x="351" y="10511"/>
                    </a:cubicBezTo>
                    <a:cubicBezTo>
                      <a:pt x="357" y="10524"/>
                      <a:pt x="357" y="10524"/>
                      <a:pt x="357" y="10524"/>
                    </a:cubicBezTo>
                    <a:cubicBezTo>
                      <a:pt x="357" y="10524"/>
                      <a:pt x="426" y="10697"/>
                      <a:pt x="481" y="10821"/>
                    </a:cubicBezTo>
                    <a:cubicBezTo>
                      <a:pt x="432" y="10821"/>
                      <a:pt x="432" y="10821"/>
                      <a:pt x="432" y="10821"/>
                    </a:cubicBezTo>
                    <a:cubicBezTo>
                      <a:pt x="402" y="10753"/>
                      <a:pt x="369" y="10675"/>
                      <a:pt x="346" y="10618"/>
                    </a:cubicBezTo>
                    <a:cubicBezTo>
                      <a:pt x="344" y="10619"/>
                      <a:pt x="344" y="10619"/>
                      <a:pt x="344" y="10619"/>
                    </a:cubicBezTo>
                    <a:cubicBezTo>
                      <a:pt x="344" y="10619"/>
                      <a:pt x="329" y="10630"/>
                      <a:pt x="306" y="10646"/>
                    </a:cubicBezTo>
                    <a:cubicBezTo>
                      <a:pt x="379" y="10795"/>
                      <a:pt x="379" y="10795"/>
                      <a:pt x="379" y="10795"/>
                    </a:cubicBezTo>
                    <a:cubicBezTo>
                      <a:pt x="372" y="10798"/>
                      <a:pt x="372" y="10798"/>
                      <a:pt x="372" y="10798"/>
                    </a:cubicBezTo>
                    <a:cubicBezTo>
                      <a:pt x="317" y="10821"/>
                      <a:pt x="317" y="10821"/>
                      <a:pt x="317" y="10821"/>
                    </a:cubicBezTo>
                    <a:cubicBezTo>
                      <a:pt x="278" y="10821"/>
                      <a:pt x="278" y="10821"/>
                      <a:pt x="278" y="10821"/>
                    </a:cubicBezTo>
                    <a:cubicBezTo>
                      <a:pt x="359" y="10788"/>
                      <a:pt x="359" y="10788"/>
                      <a:pt x="359" y="10788"/>
                    </a:cubicBezTo>
                    <a:cubicBezTo>
                      <a:pt x="301" y="10669"/>
                      <a:pt x="301" y="10669"/>
                      <a:pt x="301" y="10669"/>
                    </a:cubicBezTo>
                    <a:cubicBezTo>
                      <a:pt x="185" y="10808"/>
                      <a:pt x="185" y="10808"/>
                      <a:pt x="185" y="10808"/>
                    </a:cubicBezTo>
                    <a:cubicBezTo>
                      <a:pt x="189" y="10821"/>
                      <a:pt x="189" y="10821"/>
                      <a:pt x="189" y="10821"/>
                    </a:cubicBezTo>
                    <a:cubicBezTo>
                      <a:pt x="174" y="10821"/>
                      <a:pt x="174" y="10821"/>
                      <a:pt x="174" y="10821"/>
                    </a:cubicBezTo>
                    <a:cubicBezTo>
                      <a:pt x="169" y="10804"/>
                      <a:pt x="169" y="10804"/>
                      <a:pt x="169" y="10804"/>
                    </a:cubicBezTo>
                    <a:cubicBezTo>
                      <a:pt x="294" y="10654"/>
                      <a:pt x="294" y="10654"/>
                      <a:pt x="294" y="10654"/>
                    </a:cubicBezTo>
                    <a:cubicBezTo>
                      <a:pt x="265" y="10674"/>
                      <a:pt x="228" y="10700"/>
                      <a:pt x="190" y="10727"/>
                    </a:cubicBezTo>
                    <a:cubicBezTo>
                      <a:pt x="151" y="10754"/>
                      <a:pt x="112" y="10781"/>
                      <a:pt x="84" y="10802"/>
                    </a:cubicBezTo>
                    <a:cubicBezTo>
                      <a:pt x="76" y="10807"/>
                      <a:pt x="69" y="10813"/>
                      <a:pt x="57" y="10821"/>
                    </a:cubicBezTo>
                    <a:cubicBezTo>
                      <a:pt x="30" y="10821"/>
                      <a:pt x="30" y="10821"/>
                      <a:pt x="30" y="10821"/>
                    </a:cubicBezTo>
                    <a:cubicBezTo>
                      <a:pt x="54" y="10803"/>
                      <a:pt x="66" y="10795"/>
                      <a:pt x="78" y="10786"/>
                    </a:cubicBezTo>
                    <a:cubicBezTo>
                      <a:pt x="166" y="10723"/>
                      <a:pt x="336" y="10605"/>
                      <a:pt x="340" y="10602"/>
                    </a:cubicBezTo>
                    <a:cubicBezTo>
                      <a:pt x="324" y="10563"/>
                      <a:pt x="313" y="10537"/>
                      <a:pt x="313" y="10537"/>
                    </a:cubicBezTo>
                    <a:cubicBezTo>
                      <a:pt x="345" y="10515"/>
                      <a:pt x="345" y="10515"/>
                      <a:pt x="345" y="10515"/>
                    </a:cubicBezTo>
                    <a:cubicBezTo>
                      <a:pt x="337" y="10521"/>
                      <a:pt x="337" y="10521"/>
                      <a:pt x="337" y="10521"/>
                    </a:cubicBezTo>
                    <a:cubicBezTo>
                      <a:pt x="302" y="10446"/>
                      <a:pt x="302" y="10446"/>
                      <a:pt x="302" y="10446"/>
                    </a:cubicBezTo>
                    <a:cubicBezTo>
                      <a:pt x="248" y="10476"/>
                      <a:pt x="197" y="10510"/>
                      <a:pt x="157" y="10554"/>
                    </a:cubicBezTo>
                    <a:cubicBezTo>
                      <a:pt x="102" y="10615"/>
                      <a:pt x="37" y="10696"/>
                      <a:pt x="3" y="10737"/>
                    </a:cubicBezTo>
                    <a:cubicBezTo>
                      <a:pt x="3" y="10698"/>
                      <a:pt x="3" y="10698"/>
                      <a:pt x="3" y="10698"/>
                    </a:cubicBezTo>
                    <a:cubicBezTo>
                      <a:pt x="39" y="10654"/>
                      <a:pt x="92" y="10589"/>
                      <a:pt x="139" y="10538"/>
                    </a:cubicBezTo>
                    <a:cubicBezTo>
                      <a:pt x="220" y="10449"/>
                      <a:pt x="341" y="10400"/>
                      <a:pt x="436" y="10348"/>
                    </a:cubicBezTo>
                    <a:cubicBezTo>
                      <a:pt x="481" y="10324"/>
                      <a:pt x="552" y="10289"/>
                      <a:pt x="620" y="10260"/>
                    </a:cubicBezTo>
                    <a:cubicBezTo>
                      <a:pt x="614" y="10252"/>
                      <a:pt x="607" y="10245"/>
                      <a:pt x="601" y="10238"/>
                    </a:cubicBezTo>
                    <a:cubicBezTo>
                      <a:pt x="594" y="10230"/>
                      <a:pt x="587" y="10222"/>
                      <a:pt x="581" y="10214"/>
                    </a:cubicBezTo>
                    <a:cubicBezTo>
                      <a:pt x="544" y="10236"/>
                      <a:pt x="514" y="10255"/>
                      <a:pt x="477" y="10280"/>
                    </a:cubicBezTo>
                    <a:cubicBezTo>
                      <a:pt x="476" y="10280"/>
                      <a:pt x="476" y="10280"/>
                      <a:pt x="476" y="10280"/>
                    </a:cubicBezTo>
                    <a:cubicBezTo>
                      <a:pt x="475" y="10281"/>
                      <a:pt x="475" y="10281"/>
                      <a:pt x="475" y="10281"/>
                    </a:cubicBezTo>
                    <a:cubicBezTo>
                      <a:pt x="474" y="10281"/>
                      <a:pt x="405" y="10304"/>
                      <a:pt x="388" y="10305"/>
                    </a:cubicBezTo>
                    <a:cubicBezTo>
                      <a:pt x="303" y="10320"/>
                      <a:pt x="303" y="10320"/>
                      <a:pt x="303" y="10320"/>
                    </a:cubicBezTo>
                    <a:cubicBezTo>
                      <a:pt x="278" y="10324"/>
                      <a:pt x="250" y="10328"/>
                      <a:pt x="221" y="10331"/>
                    </a:cubicBezTo>
                    <a:cubicBezTo>
                      <a:pt x="182" y="10373"/>
                      <a:pt x="140" y="10418"/>
                      <a:pt x="99" y="10463"/>
                    </a:cubicBezTo>
                    <a:cubicBezTo>
                      <a:pt x="66" y="10498"/>
                      <a:pt x="34" y="10533"/>
                      <a:pt x="3" y="10566"/>
                    </a:cubicBezTo>
                    <a:cubicBezTo>
                      <a:pt x="3" y="10336"/>
                      <a:pt x="3" y="10336"/>
                      <a:pt x="3" y="10336"/>
                    </a:cubicBezTo>
                    <a:cubicBezTo>
                      <a:pt x="5" y="10336"/>
                      <a:pt x="7" y="10336"/>
                      <a:pt x="9" y="10336"/>
                    </a:cubicBezTo>
                    <a:cubicBezTo>
                      <a:pt x="107" y="10229"/>
                      <a:pt x="204" y="10125"/>
                      <a:pt x="264" y="10061"/>
                    </a:cubicBezTo>
                    <a:cubicBezTo>
                      <a:pt x="224" y="10055"/>
                      <a:pt x="184" y="10050"/>
                      <a:pt x="148" y="10050"/>
                    </a:cubicBezTo>
                    <a:cubicBezTo>
                      <a:pt x="136" y="10050"/>
                      <a:pt x="126" y="10051"/>
                      <a:pt x="116" y="10052"/>
                    </a:cubicBezTo>
                    <a:cubicBezTo>
                      <a:pt x="74" y="10055"/>
                      <a:pt x="35" y="10071"/>
                      <a:pt x="3" y="10089"/>
                    </a:cubicBezTo>
                    <a:cubicBezTo>
                      <a:pt x="3" y="10070"/>
                      <a:pt x="3" y="10070"/>
                      <a:pt x="3" y="10070"/>
                    </a:cubicBezTo>
                    <a:cubicBezTo>
                      <a:pt x="35" y="10054"/>
                      <a:pt x="73" y="10039"/>
                      <a:pt x="114" y="10035"/>
                    </a:cubicBezTo>
                    <a:cubicBezTo>
                      <a:pt x="125" y="10034"/>
                      <a:pt x="136" y="10034"/>
                      <a:pt x="148" y="10034"/>
                    </a:cubicBezTo>
                    <a:cubicBezTo>
                      <a:pt x="188" y="10034"/>
                      <a:pt x="233" y="10039"/>
                      <a:pt x="277" y="10046"/>
                    </a:cubicBezTo>
                    <a:cubicBezTo>
                      <a:pt x="302" y="10019"/>
                      <a:pt x="319" y="10001"/>
                      <a:pt x="324" y="9996"/>
                    </a:cubicBezTo>
                    <a:cubicBezTo>
                      <a:pt x="336" y="9984"/>
                      <a:pt x="355" y="9968"/>
                      <a:pt x="370" y="9957"/>
                    </a:cubicBezTo>
                    <a:cubicBezTo>
                      <a:pt x="280" y="9788"/>
                      <a:pt x="280" y="9788"/>
                      <a:pt x="280" y="9788"/>
                    </a:cubicBezTo>
                    <a:cubicBezTo>
                      <a:pt x="268" y="9795"/>
                      <a:pt x="244" y="9808"/>
                      <a:pt x="220" y="9822"/>
                    </a:cubicBezTo>
                    <a:cubicBezTo>
                      <a:pt x="203" y="9832"/>
                      <a:pt x="185" y="9842"/>
                      <a:pt x="172" y="9849"/>
                    </a:cubicBezTo>
                    <a:cubicBezTo>
                      <a:pt x="165" y="9852"/>
                      <a:pt x="159" y="9856"/>
                      <a:pt x="155" y="9858"/>
                    </a:cubicBezTo>
                    <a:cubicBezTo>
                      <a:pt x="149" y="9860"/>
                      <a:pt x="149" y="9861"/>
                      <a:pt x="143" y="9862"/>
                    </a:cubicBezTo>
                    <a:cubicBezTo>
                      <a:pt x="143" y="9862"/>
                      <a:pt x="143" y="9862"/>
                      <a:pt x="143" y="9862"/>
                    </a:cubicBezTo>
                    <a:cubicBezTo>
                      <a:pt x="143" y="9862"/>
                      <a:pt x="142" y="9862"/>
                      <a:pt x="142" y="9862"/>
                    </a:cubicBezTo>
                    <a:cubicBezTo>
                      <a:pt x="141" y="9862"/>
                      <a:pt x="141" y="9862"/>
                      <a:pt x="141" y="9862"/>
                    </a:cubicBezTo>
                    <a:cubicBezTo>
                      <a:pt x="140" y="9861"/>
                      <a:pt x="140" y="9861"/>
                      <a:pt x="140" y="9861"/>
                    </a:cubicBezTo>
                    <a:cubicBezTo>
                      <a:pt x="137" y="9860"/>
                      <a:pt x="137" y="9860"/>
                      <a:pt x="135" y="9858"/>
                    </a:cubicBezTo>
                    <a:cubicBezTo>
                      <a:pt x="130" y="9854"/>
                      <a:pt x="117" y="9841"/>
                      <a:pt x="101" y="9827"/>
                    </a:cubicBezTo>
                    <a:cubicBezTo>
                      <a:pt x="86" y="9851"/>
                      <a:pt x="45" y="9914"/>
                      <a:pt x="3" y="9980"/>
                    </a:cubicBezTo>
                    <a:cubicBezTo>
                      <a:pt x="3" y="9949"/>
                      <a:pt x="3" y="9949"/>
                      <a:pt x="3" y="9949"/>
                    </a:cubicBezTo>
                    <a:cubicBezTo>
                      <a:pt x="42" y="9889"/>
                      <a:pt x="77" y="9834"/>
                      <a:pt x="89" y="9815"/>
                    </a:cubicBezTo>
                    <a:cubicBezTo>
                      <a:pt x="81" y="9807"/>
                      <a:pt x="72" y="9800"/>
                      <a:pt x="64" y="9792"/>
                    </a:cubicBezTo>
                    <a:cubicBezTo>
                      <a:pt x="49" y="9777"/>
                      <a:pt x="34" y="9763"/>
                      <a:pt x="22" y="9753"/>
                    </a:cubicBezTo>
                    <a:cubicBezTo>
                      <a:pt x="17" y="9748"/>
                      <a:pt x="12" y="9744"/>
                      <a:pt x="9" y="9741"/>
                    </a:cubicBezTo>
                    <a:cubicBezTo>
                      <a:pt x="7" y="9740"/>
                      <a:pt x="6" y="9738"/>
                      <a:pt x="5" y="9738"/>
                    </a:cubicBezTo>
                    <a:cubicBezTo>
                      <a:pt x="5" y="9738"/>
                      <a:pt x="4" y="9737"/>
                      <a:pt x="4" y="9737"/>
                    </a:cubicBezTo>
                    <a:cubicBezTo>
                      <a:pt x="4" y="9737"/>
                      <a:pt x="4" y="9737"/>
                      <a:pt x="4" y="9737"/>
                    </a:cubicBezTo>
                    <a:cubicBezTo>
                      <a:pt x="4" y="9737"/>
                      <a:pt x="4" y="9737"/>
                      <a:pt x="3" y="9736"/>
                    </a:cubicBezTo>
                    <a:cubicBezTo>
                      <a:pt x="0" y="9734"/>
                      <a:pt x="0" y="9732"/>
                      <a:pt x="0" y="9731"/>
                    </a:cubicBezTo>
                    <a:cubicBezTo>
                      <a:pt x="0" y="9730"/>
                      <a:pt x="0" y="9729"/>
                      <a:pt x="0" y="9728"/>
                    </a:cubicBezTo>
                    <a:cubicBezTo>
                      <a:pt x="0" y="9724"/>
                      <a:pt x="1" y="9713"/>
                      <a:pt x="3" y="9699"/>
                    </a:cubicBezTo>
                    <a:cubicBezTo>
                      <a:pt x="10" y="9655"/>
                      <a:pt x="25" y="9577"/>
                      <a:pt x="30" y="9550"/>
                    </a:cubicBezTo>
                    <a:cubicBezTo>
                      <a:pt x="3" y="9557"/>
                      <a:pt x="3" y="9557"/>
                      <a:pt x="3" y="9557"/>
                    </a:cubicBezTo>
                    <a:cubicBezTo>
                      <a:pt x="3" y="9543"/>
                      <a:pt x="3" y="9543"/>
                      <a:pt x="3" y="9543"/>
                    </a:cubicBezTo>
                    <a:cubicBezTo>
                      <a:pt x="33" y="9534"/>
                      <a:pt x="33" y="9534"/>
                      <a:pt x="33" y="9534"/>
                    </a:cubicBezTo>
                    <a:cubicBezTo>
                      <a:pt x="33" y="9534"/>
                      <a:pt x="33" y="9534"/>
                      <a:pt x="33" y="9534"/>
                    </a:cubicBezTo>
                    <a:cubicBezTo>
                      <a:pt x="130" y="9508"/>
                      <a:pt x="130" y="9508"/>
                      <a:pt x="130" y="9508"/>
                    </a:cubicBezTo>
                    <a:cubicBezTo>
                      <a:pt x="38" y="9337"/>
                      <a:pt x="38" y="9337"/>
                      <a:pt x="38" y="9337"/>
                    </a:cubicBezTo>
                    <a:cubicBezTo>
                      <a:pt x="38" y="9337"/>
                      <a:pt x="38" y="9337"/>
                      <a:pt x="38" y="9337"/>
                    </a:cubicBezTo>
                    <a:cubicBezTo>
                      <a:pt x="3" y="9268"/>
                      <a:pt x="3" y="9268"/>
                      <a:pt x="3" y="9268"/>
                    </a:cubicBezTo>
                    <a:cubicBezTo>
                      <a:pt x="3" y="9125"/>
                      <a:pt x="3" y="9125"/>
                      <a:pt x="3" y="9125"/>
                    </a:cubicBezTo>
                    <a:cubicBezTo>
                      <a:pt x="97" y="9309"/>
                      <a:pt x="97" y="9309"/>
                      <a:pt x="97" y="9309"/>
                    </a:cubicBezTo>
                    <a:cubicBezTo>
                      <a:pt x="109" y="9304"/>
                      <a:pt x="124" y="9297"/>
                      <a:pt x="139" y="9290"/>
                    </a:cubicBezTo>
                    <a:cubicBezTo>
                      <a:pt x="174" y="9274"/>
                      <a:pt x="210" y="9258"/>
                      <a:pt x="226" y="9252"/>
                    </a:cubicBezTo>
                    <a:cubicBezTo>
                      <a:pt x="229" y="9251"/>
                      <a:pt x="232" y="9249"/>
                      <a:pt x="235" y="9248"/>
                    </a:cubicBezTo>
                    <a:cubicBezTo>
                      <a:pt x="330" y="9020"/>
                      <a:pt x="330" y="9020"/>
                      <a:pt x="330" y="9020"/>
                    </a:cubicBezTo>
                    <a:cubicBezTo>
                      <a:pt x="144" y="8866"/>
                      <a:pt x="144" y="8866"/>
                      <a:pt x="144" y="8866"/>
                    </a:cubicBezTo>
                    <a:cubicBezTo>
                      <a:pt x="3" y="8983"/>
                      <a:pt x="3" y="8983"/>
                      <a:pt x="3" y="8983"/>
                    </a:cubicBezTo>
                    <a:cubicBezTo>
                      <a:pt x="3" y="8897"/>
                      <a:pt x="3" y="8897"/>
                      <a:pt x="3" y="8897"/>
                    </a:cubicBezTo>
                    <a:cubicBezTo>
                      <a:pt x="318" y="8636"/>
                      <a:pt x="318" y="8636"/>
                      <a:pt x="318" y="8636"/>
                    </a:cubicBezTo>
                    <a:cubicBezTo>
                      <a:pt x="196" y="8510"/>
                      <a:pt x="196" y="8510"/>
                      <a:pt x="196" y="8510"/>
                    </a:cubicBezTo>
                    <a:cubicBezTo>
                      <a:pt x="196" y="8510"/>
                      <a:pt x="196" y="8510"/>
                      <a:pt x="196" y="8510"/>
                    </a:cubicBezTo>
                    <a:cubicBezTo>
                      <a:pt x="185" y="8501"/>
                      <a:pt x="185" y="8501"/>
                      <a:pt x="185" y="8501"/>
                    </a:cubicBezTo>
                    <a:cubicBezTo>
                      <a:pt x="185" y="8501"/>
                      <a:pt x="185" y="8501"/>
                      <a:pt x="185" y="8501"/>
                    </a:cubicBezTo>
                    <a:cubicBezTo>
                      <a:pt x="224" y="8461"/>
                      <a:pt x="224" y="8461"/>
                      <a:pt x="224" y="8461"/>
                    </a:cubicBezTo>
                    <a:cubicBezTo>
                      <a:pt x="153" y="8386"/>
                      <a:pt x="153" y="8386"/>
                      <a:pt x="153" y="8386"/>
                    </a:cubicBezTo>
                    <a:cubicBezTo>
                      <a:pt x="113" y="8416"/>
                      <a:pt x="63" y="8445"/>
                      <a:pt x="3" y="8470"/>
                    </a:cubicBezTo>
                    <a:cubicBezTo>
                      <a:pt x="3" y="8399"/>
                      <a:pt x="3" y="8399"/>
                      <a:pt x="3" y="8399"/>
                    </a:cubicBezTo>
                    <a:cubicBezTo>
                      <a:pt x="99" y="8355"/>
                      <a:pt x="159" y="8300"/>
                      <a:pt x="205" y="8253"/>
                    </a:cubicBezTo>
                    <a:cubicBezTo>
                      <a:pt x="196" y="8245"/>
                      <a:pt x="184" y="8235"/>
                      <a:pt x="170" y="8223"/>
                    </a:cubicBezTo>
                    <a:cubicBezTo>
                      <a:pt x="130" y="8191"/>
                      <a:pt x="72" y="8147"/>
                      <a:pt x="3" y="8105"/>
                    </a:cubicBezTo>
                    <a:cubicBezTo>
                      <a:pt x="3" y="8029"/>
                      <a:pt x="3" y="8029"/>
                      <a:pt x="3" y="8029"/>
                    </a:cubicBezTo>
                    <a:cubicBezTo>
                      <a:pt x="4" y="8029"/>
                      <a:pt x="4" y="8030"/>
                      <a:pt x="5" y="8030"/>
                    </a:cubicBezTo>
                    <a:cubicBezTo>
                      <a:pt x="16" y="8007"/>
                      <a:pt x="35" y="7966"/>
                      <a:pt x="55" y="7924"/>
                    </a:cubicBezTo>
                    <a:cubicBezTo>
                      <a:pt x="70" y="7893"/>
                      <a:pt x="85" y="7862"/>
                      <a:pt x="97" y="7839"/>
                    </a:cubicBezTo>
                    <a:cubicBezTo>
                      <a:pt x="103" y="7827"/>
                      <a:pt x="109" y="7817"/>
                      <a:pt x="113" y="7810"/>
                    </a:cubicBezTo>
                    <a:cubicBezTo>
                      <a:pt x="115" y="7807"/>
                      <a:pt x="117" y="7804"/>
                      <a:pt x="118" y="7802"/>
                    </a:cubicBezTo>
                    <a:cubicBezTo>
                      <a:pt x="121" y="7800"/>
                      <a:pt x="119" y="7798"/>
                      <a:pt x="127" y="7796"/>
                    </a:cubicBezTo>
                    <a:cubicBezTo>
                      <a:pt x="136" y="7796"/>
                      <a:pt x="196" y="7804"/>
                      <a:pt x="212" y="7805"/>
                    </a:cubicBezTo>
                    <a:cubicBezTo>
                      <a:pt x="220" y="7791"/>
                      <a:pt x="252" y="7713"/>
                      <a:pt x="280" y="7640"/>
                    </a:cubicBezTo>
                    <a:cubicBezTo>
                      <a:pt x="301" y="7585"/>
                      <a:pt x="321" y="7532"/>
                      <a:pt x="331" y="7504"/>
                    </a:cubicBezTo>
                    <a:cubicBezTo>
                      <a:pt x="170" y="7280"/>
                      <a:pt x="170" y="7280"/>
                      <a:pt x="170" y="7280"/>
                    </a:cubicBezTo>
                    <a:cubicBezTo>
                      <a:pt x="169" y="7280"/>
                      <a:pt x="169" y="7280"/>
                      <a:pt x="169" y="7280"/>
                    </a:cubicBezTo>
                    <a:cubicBezTo>
                      <a:pt x="147" y="7294"/>
                      <a:pt x="106" y="7321"/>
                      <a:pt x="67" y="7348"/>
                    </a:cubicBezTo>
                    <a:cubicBezTo>
                      <a:pt x="44" y="7363"/>
                      <a:pt x="22" y="7379"/>
                      <a:pt x="3" y="7391"/>
                    </a:cubicBezTo>
                    <a:cubicBezTo>
                      <a:pt x="3" y="7374"/>
                      <a:pt x="3" y="7374"/>
                      <a:pt x="3" y="7374"/>
                    </a:cubicBezTo>
                    <a:cubicBezTo>
                      <a:pt x="22" y="7362"/>
                      <a:pt x="43" y="7347"/>
                      <a:pt x="65" y="7333"/>
                    </a:cubicBezTo>
                    <a:cubicBezTo>
                      <a:pt x="93" y="7314"/>
                      <a:pt x="121" y="7295"/>
                      <a:pt x="143" y="7281"/>
                    </a:cubicBezTo>
                    <a:cubicBezTo>
                      <a:pt x="146" y="7278"/>
                      <a:pt x="150" y="7276"/>
                      <a:pt x="153" y="7274"/>
                    </a:cubicBezTo>
                    <a:cubicBezTo>
                      <a:pt x="3" y="7218"/>
                      <a:pt x="3" y="7218"/>
                      <a:pt x="3" y="7218"/>
                    </a:cubicBezTo>
                    <a:cubicBezTo>
                      <a:pt x="3" y="7170"/>
                      <a:pt x="3" y="7170"/>
                      <a:pt x="3" y="7170"/>
                    </a:cubicBezTo>
                    <a:cubicBezTo>
                      <a:pt x="191" y="7240"/>
                      <a:pt x="191" y="7240"/>
                      <a:pt x="191" y="7240"/>
                    </a:cubicBezTo>
                    <a:cubicBezTo>
                      <a:pt x="204" y="7211"/>
                      <a:pt x="229" y="7152"/>
                      <a:pt x="253" y="7095"/>
                    </a:cubicBezTo>
                    <a:cubicBezTo>
                      <a:pt x="269" y="7057"/>
                      <a:pt x="285" y="7019"/>
                      <a:pt x="298" y="6991"/>
                    </a:cubicBezTo>
                    <a:cubicBezTo>
                      <a:pt x="305" y="6977"/>
                      <a:pt x="310" y="6965"/>
                      <a:pt x="315" y="6957"/>
                    </a:cubicBezTo>
                    <a:cubicBezTo>
                      <a:pt x="317" y="6952"/>
                      <a:pt x="319" y="6949"/>
                      <a:pt x="321" y="6947"/>
                    </a:cubicBezTo>
                    <a:cubicBezTo>
                      <a:pt x="323" y="6944"/>
                      <a:pt x="323" y="6942"/>
                      <a:pt x="328" y="6941"/>
                    </a:cubicBezTo>
                    <a:cubicBezTo>
                      <a:pt x="329" y="6940"/>
                      <a:pt x="329" y="6940"/>
                      <a:pt x="330" y="6940"/>
                    </a:cubicBezTo>
                    <a:cubicBezTo>
                      <a:pt x="327" y="6938"/>
                      <a:pt x="324" y="6937"/>
                      <a:pt x="320" y="6935"/>
                    </a:cubicBezTo>
                    <a:cubicBezTo>
                      <a:pt x="285" y="6920"/>
                      <a:pt x="206" y="6884"/>
                      <a:pt x="134" y="6851"/>
                    </a:cubicBezTo>
                    <a:cubicBezTo>
                      <a:pt x="98" y="6834"/>
                      <a:pt x="64" y="6819"/>
                      <a:pt x="38" y="6807"/>
                    </a:cubicBezTo>
                    <a:cubicBezTo>
                      <a:pt x="26" y="6801"/>
                      <a:pt x="15" y="6797"/>
                      <a:pt x="8" y="6794"/>
                    </a:cubicBezTo>
                    <a:cubicBezTo>
                      <a:pt x="7" y="6793"/>
                      <a:pt x="6" y="6793"/>
                      <a:pt x="5" y="6793"/>
                    </a:cubicBezTo>
                    <a:cubicBezTo>
                      <a:pt x="5" y="6793"/>
                      <a:pt x="5" y="6793"/>
                      <a:pt x="5" y="6794"/>
                    </a:cubicBezTo>
                    <a:cubicBezTo>
                      <a:pt x="5" y="6804"/>
                      <a:pt x="4" y="6820"/>
                      <a:pt x="3" y="6837"/>
                    </a:cubicBezTo>
                    <a:cubicBezTo>
                      <a:pt x="3" y="6777"/>
                      <a:pt x="3" y="6777"/>
                      <a:pt x="3" y="6777"/>
                    </a:cubicBezTo>
                    <a:cubicBezTo>
                      <a:pt x="6" y="6778"/>
                      <a:pt x="10" y="6780"/>
                      <a:pt x="16" y="6782"/>
                    </a:cubicBezTo>
                    <a:cubicBezTo>
                      <a:pt x="51" y="6797"/>
                      <a:pt x="130" y="6834"/>
                      <a:pt x="202" y="6867"/>
                    </a:cubicBezTo>
                    <a:cubicBezTo>
                      <a:pt x="238" y="6883"/>
                      <a:pt x="272" y="6899"/>
                      <a:pt x="297" y="6910"/>
                    </a:cubicBezTo>
                    <a:cubicBezTo>
                      <a:pt x="310" y="6916"/>
                      <a:pt x="321" y="6921"/>
                      <a:pt x="328" y="6924"/>
                    </a:cubicBezTo>
                    <a:cubicBezTo>
                      <a:pt x="332" y="6926"/>
                      <a:pt x="335" y="6927"/>
                      <a:pt x="337" y="6928"/>
                    </a:cubicBezTo>
                    <a:cubicBezTo>
                      <a:pt x="339" y="6928"/>
                      <a:pt x="339" y="6928"/>
                      <a:pt x="340" y="6928"/>
                    </a:cubicBezTo>
                    <a:cubicBezTo>
                      <a:pt x="340" y="6929"/>
                      <a:pt x="340" y="6929"/>
                      <a:pt x="340" y="6929"/>
                    </a:cubicBezTo>
                    <a:cubicBezTo>
                      <a:pt x="340" y="6929"/>
                      <a:pt x="340" y="6929"/>
                      <a:pt x="340" y="6929"/>
                    </a:cubicBezTo>
                    <a:cubicBezTo>
                      <a:pt x="340" y="6929"/>
                      <a:pt x="340" y="6929"/>
                      <a:pt x="340" y="6929"/>
                    </a:cubicBezTo>
                    <a:cubicBezTo>
                      <a:pt x="341" y="6929"/>
                      <a:pt x="341" y="6929"/>
                      <a:pt x="341" y="6929"/>
                    </a:cubicBezTo>
                    <a:cubicBezTo>
                      <a:pt x="357" y="6913"/>
                      <a:pt x="385" y="6884"/>
                      <a:pt x="418" y="6847"/>
                    </a:cubicBezTo>
                    <a:cubicBezTo>
                      <a:pt x="485" y="6774"/>
                      <a:pt x="577" y="6672"/>
                      <a:pt x="658" y="6581"/>
                    </a:cubicBezTo>
                    <a:cubicBezTo>
                      <a:pt x="499" y="6451"/>
                      <a:pt x="315" y="6338"/>
                      <a:pt x="186" y="6279"/>
                    </a:cubicBezTo>
                    <a:cubicBezTo>
                      <a:pt x="158" y="6312"/>
                      <a:pt x="116" y="6388"/>
                      <a:pt x="13" y="6450"/>
                    </a:cubicBezTo>
                    <a:cubicBezTo>
                      <a:pt x="10" y="6452"/>
                      <a:pt x="6" y="6454"/>
                      <a:pt x="3" y="6456"/>
                    </a:cubicBezTo>
                    <a:cubicBezTo>
                      <a:pt x="3" y="6378"/>
                      <a:pt x="3" y="6378"/>
                      <a:pt x="3" y="6378"/>
                    </a:cubicBezTo>
                    <a:cubicBezTo>
                      <a:pt x="65" y="6334"/>
                      <a:pt x="95" y="6289"/>
                      <a:pt x="123" y="6252"/>
                    </a:cubicBezTo>
                    <a:cubicBezTo>
                      <a:pt x="114" y="6249"/>
                      <a:pt x="105" y="6246"/>
                      <a:pt x="96" y="6243"/>
                    </a:cubicBezTo>
                    <a:cubicBezTo>
                      <a:pt x="69" y="6235"/>
                      <a:pt x="38" y="6226"/>
                      <a:pt x="3" y="6218"/>
                    </a:cubicBezTo>
                    <a:cubicBezTo>
                      <a:pt x="3" y="6151"/>
                      <a:pt x="3" y="6151"/>
                      <a:pt x="3" y="6151"/>
                    </a:cubicBezTo>
                    <a:cubicBezTo>
                      <a:pt x="45" y="6161"/>
                      <a:pt x="83" y="6171"/>
                      <a:pt x="115" y="6180"/>
                    </a:cubicBezTo>
                    <a:cubicBezTo>
                      <a:pt x="129" y="6185"/>
                      <a:pt x="144" y="6190"/>
                      <a:pt x="159" y="6196"/>
                    </a:cubicBezTo>
                    <a:cubicBezTo>
                      <a:pt x="1258" y="4186"/>
                      <a:pt x="1258" y="4186"/>
                      <a:pt x="1258" y="4186"/>
                    </a:cubicBezTo>
                    <a:cubicBezTo>
                      <a:pt x="1257" y="4185"/>
                      <a:pt x="1257" y="4185"/>
                      <a:pt x="1256" y="4184"/>
                    </a:cubicBezTo>
                    <a:cubicBezTo>
                      <a:pt x="1236" y="4163"/>
                      <a:pt x="1182" y="4096"/>
                      <a:pt x="1109" y="4003"/>
                    </a:cubicBezTo>
                    <a:cubicBezTo>
                      <a:pt x="924" y="3768"/>
                      <a:pt x="625" y="3377"/>
                      <a:pt x="535" y="3260"/>
                    </a:cubicBezTo>
                    <a:cubicBezTo>
                      <a:pt x="3" y="3829"/>
                      <a:pt x="3" y="3829"/>
                      <a:pt x="3" y="3829"/>
                    </a:cubicBezTo>
                    <a:cubicBezTo>
                      <a:pt x="3" y="3733"/>
                      <a:pt x="3" y="3733"/>
                      <a:pt x="3" y="3733"/>
                    </a:cubicBezTo>
                    <a:cubicBezTo>
                      <a:pt x="1226" y="2425"/>
                      <a:pt x="1226" y="2425"/>
                      <a:pt x="1226" y="2425"/>
                    </a:cubicBezTo>
                    <a:cubicBezTo>
                      <a:pt x="796" y="2093"/>
                      <a:pt x="796" y="2093"/>
                      <a:pt x="796" y="2093"/>
                    </a:cubicBezTo>
                    <a:cubicBezTo>
                      <a:pt x="793" y="2089"/>
                      <a:pt x="793" y="2089"/>
                      <a:pt x="793" y="2089"/>
                    </a:cubicBezTo>
                    <a:cubicBezTo>
                      <a:pt x="792" y="2088"/>
                      <a:pt x="728" y="1999"/>
                      <a:pt x="695" y="1899"/>
                    </a:cubicBezTo>
                    <a:cubicBezTo>
                      <a:pt x="686" y="1890"/>
                      <a:pt x="661" y="1869"/>
                      <a:pt x="627" y="1840"/>
                    </a:cubicBezTo>
                    <a:cubicBezTo>
                      <a:pt x="505" y="1738"/>
                      <a:pt x="254" y="1532"/>
                      <a:pt x="3" y="1328"/>
                    </a:cubicBezTo>
                    <a:cubicBezTo>
                      <a:pt x="3" y="1243"/>
                      <a:pt x="3" y="1243"/>
                      <a:pt x="3" y="1243"/>
                    </a:cubicBezTo>
                    <a:cubicBezTo>
                      <a:pt x="18" y="1255"/>
                      <a:pt x="32" y="1267"/>
                      <a:pt x="46" y="1278"/>
                    </a:cubicBezTo>
                    <a:cubicBezTo>
                      <a:pt x="219" y="1419"/>
                      <a:pt x="393" y="1561"/>
                      <a:pt x="524" y="1669"/>
                    </a:cubicBezTo>
                    <a:cubicBezTo>
                      <a:pt x="589" y="1723"/>
                      <a:pt x="644" y="1769"/>
                      <a:pt x="682" y="1801"/>
                    </a:cubicBezTo>
                    <a:cubicBezTo>
                      <a:pt x="702" y="1818"/>
                      <a:pt x="717" y="1831"/>
                      <a:pt x="728" y="1841"/>
                    </a:cubicBezTo>
                    <a:cubicBezTo>
                      <a:pt x="734" y="1846"/>
                      <a:pt x="738" y="1850"/>
                      <a:pt x="741" y="1853"/>
                    </a:cubicBezTo>
                    <a:cubicBezTo>
                      <a:pt x="743" y="1855"/>
                      <a:pt x="745" y="1856"/>
                      <a:pt x="746" y="1858"/>
                    </a:cubicBezTo>
                    <a:cubicBezTo>
                      <a:pt x="748" y="1860"/>
                      <a:pt x="749" y="1859"/>
                      <a:pt x="754" y="1870"/>
                    </a:cubicBezTo>
                    <a:cubicBezTo>
                      <a:pt x="754" y="1871"/>
                      <a:pt x="754" y="1871"/>
                      <a:pt x="754" y="1871"/>
                    </a:cubicBezTo>
                    <a:cubicBezTo>
                      <a:pt x="755" y="1872"/>
                      <a:pt x="755" y="1872"/>
                      <a:pt x="755" y="1872"/>
                    </a:cubicBezTo>
                    <a:cubicBezTo>
                      <a:pt x="769" y="1916"/>
                      <a:pt x="792" y="1962"/>
                      <a:pt x="812" y="1996"/>
                    </a:cubicBezTo>
                    <a:cubicBezTo>
                      <a:pt x="821" y="2013"/>
                      <a:pt x="830" y="2027"/>
                      <a:pt x="837" y="2036"/>
                    </a:cubicBezTo>
                    <a:cubicBezTo>
                      <a:pt x="840" y="2041"/>
                      <a:pt x="842" y="2045"/>
                      <a:pt x="844" y="2047"/>
                    </a:cubicBezTo>
                    <a:cubicBezTo>
                      <a:pt x="1275" y="2380"/>
                      <a:pt x="1275" y="2380"/>
                      <a:pt x="1275" y="2380"/>
                    </a:cubicBezTo>
                    <a:cubicBezTo>
                      <a:pt x="1364" y="2302"/>
                      <a:pt x="1622" y="2078"/>
                      <a:pt x="1880" y="1855"/>
                    </a:cubicBezTo>
                    <a:cubicBezTo>
                      <a:pt x="2041" y="1716"/>
                      <a:pt x="2201" y="1577"/>
                      <a:pt x="2323" y="1473"/>
                    </a:cubicBezTo>
                    <a:cubicBezTo>
                      <a:pt x="2384" y="1421"/>
                      <a:pt x="2435" y="1378"/>
                      <a:pt x="2471" y="1348"/>
                    </a:cubicBezTo>
                    <a:cubicBezTo>
                      <a:pt x="2489" y="1332"/>
                      <a:pt x="2503" y="1320"/>
                      <a:pt x="2514" y="1312"/>
                    </a:cubicBezTo>
                    <a:cubicBezTo>
                      <a:pt x="2516" y="1310"/>
                      <a:pt x="2518" y="1309"/>
                      <a:pt x="2520" y="1307"/>
                    </a:cubicBezTo>
                    <a:cubicBezTo>
                      <a:pt x="2518" y="1304"/>
                      <a:pt x="2515" y="1300"/>
                      <a:pt x="2513" y="1297"/>
                    </a:cubicBezTo>
                    <a:cubicBezTo>
                      <a:pt x="2489" y="1246"/>
                      <a:pt x="2473" y="1180"/>
                      <a:pt x="2460" y="1122"/>
                    </a:cubicBezTo>
                    <a:cubicBezTo>
                      <a:pt x="2448" y="1071"/>
                      <a:pt x="2441" y="1028"/>
                      <a:pt x="2439" y="1020"/>
                    </a:cubicBezTo>
                    <a:cubicBezTo>
                      <a:pt x="2230" y="0"/>
                      <a:pt x="2230" y="0"/>
                      <a:pt x="2230" y="0"/>
                    </a:cubicBezTo>
                    <a:cubicBezTo>
                      <a:pt x="2386" y="0"/>
                      <a:pt x="2386" y="0"/>
                      <a:pt x="2386" y="0"/>
                    </a:cubicBezTo>
                    <a:cubicBezTo>
                      <a:pt x="2589" y="991"/>
                      <a:pt x="2589" y="991"/>
                      <a:pt x="2589" y="991"/>
                    </a:cubicBezTo>
                    <a:cubicBezTo>
                      <a:pt x="2590" y="993"/>
                      <a:pt x="2590" y="993"/>
                      <a:pt x="2590" y="993"/>
                    </a:cubicBezTo>
                    <a:cubicBezTo>
                      <a:pt x="2590" y="993"/>
                      <a:pt x="2591" y="1003"/>
                      <a:pt x="2595" y="1021"/>
                    </a:cubicBezTo>
                    <a:cubicBezTo>
                      <a:pt x="2600" y="1047"/>
                      <a:pt x="2608" y="1089"/>
                      <a:pt x="2618" y="1130"/>
                    </a:cubicBezTo>
                    <a:cubicBezTo>
                      <a:pt x="2628" y="1170"/>
                      <a:pt x="2641" y="1211"/>
                      <a:pt x="2651" y="1231"/>
                    </a:cubicBezTo>
                    <a:cubicBezTo>
                      <a:pt x="2660" y="1250"/>
                      <a:pt x="2680" y="1269"/>
                      <a:pt x="2708" y="1287"/>
                    </a:cubicBezTo>
                    <a:cubicBezTo>
                      <a:pt x="2737" y="1304"/>
                      <a:pt x="2770" y="1317"/>
                      <a:pt x="2799" y="1327"/>
                    </a:cubicBezTo>
                    <a:cubicBezTo>
                      <a:pt x="2856" y="1348"/>
                      <a:pt x="3625" y="1625"/>
                      <a:pt x="3902" y="1716"/>
                    </a:cubicBezTo>
                    <a:cubicBezTo>
                      <a:pt x="3923" y="1723"/>
                      <a:pt x="3943" y="1731"/>
                      <a:pt x="3964" y="1739"/>
                    </a:cubicBezTo>
                    <a:cubicBezTo>
                      <a:pt x="4031" y="1405"/>
                      <a:pt x="4031" y="1405"/>
                      <a:pt x="4031" y="1405"/>
                    </a:cubicBezTo>
                    <a:cubicBezTo>
                      <a:pt x="4033" y="1400"/>
                      <a:pt x="4033" y="1400"/>
                      <a:pt x="4033" y="1400"/>
                    </a:cubicBezTo>
                    <a:cubicBezTo>
                      <a:pt x="4033" y="1400"/>
                      <a:pt x="4061" y="1348"/>
                      <a:pt x="4103" y="1279"/>
                    </a:cubicBezTo>
                    <a:cubicBezTo>
                      <a:pt x="4121" y="1249"/>
                      <a:pt x="4140" y="1199"/>
                      <a:pt x="4153" y="1157"/>
                    </a:cubicBezTo>
                    <a:cubicBezTo>
                      <a:pt x="4166" y="1115"/>
                      <a:pt x="4175" y="1082"/>
                      <a:pt x="4175" y="1082"/>
                    </a:cubicBezTo>
                    <a:cubicBezTo>
                      <a:pt x="4175" y="1078"/>
                      <a:pt x="4175" y="1078"/>
                      <a:pt x="4175" y="1078"/>
                    </a:cubicBezTo>
                    <a:cubicBezTo>
                      <a:pt x="4414" y="616"/>
                      <a:pt x="4414" y="616"/>
                      <a:pt x="4414" y="616"/>
                    </a:cubicBezTo>
                    <a:cubicBezTo>
                      <a:pt x="4390" y="59"/>
                      <a:pt x="4390" y="59"/>
                      <a:pt x="4390" y="59"/>
                    </a:cubicBezTo>
                    <a:cubicBezTo>
                      <a:pt x="4338" y="0"/>
                      <a:pt x="4338" y="0"/>
                      <a:pt x="4338" y="0"/>
                    </a:cubicBezTo>
                    <a:cubicBezTo>
                      <a:pt x="4426" y="0"/>
                      <a:pt x="4426" y="0"/>
                      <a:pt x="4426" y="0"/>
                    </a:cubicBezTo>
                    <a:cubicBezTo>
                      <a:pt x="4437" y="13"/>
                      <a:pt x="4437" y="13"/>
                      <a:pt x="4437" y="13"/>
                    </a:cubicBezTo>
                    <a:cubicBezTo>
                      <a:pt x="4505" y="10"/>
                      <a:pt x="4566" y="5"/>
                      <a:pt x="4623" y="0"/>
                    </a:cubicBezTo>
                    <a:cubicBezTo>
                      <a:pt x="5023" y="0"/>
                      <a:pt x="5023" y="0"/>
                      <a:pt x="5023" y="0"/>
                    </a:cubicBezTo>
                    <a:cubicBezTo>
                      <a:pt x="4940" y="23"/>
                      <a:pt x="4754" y="63"/>
                      <a:pt x="4457" y="77"/>
                    </a:cubicBezTo>
                    <a:cubicBezTo>
                      <a:pt x="4478" y="594"/>
                      <a:pt x="4478" y="594"/>
                      <a:pt x="4478" y="594"/>
                    </a:cubicBezTo>
                    <a:cubicBezTo>
                      <a:pt x="4483" y="596"/>
                      <a:pt x="4492" y="601"/>
                      <a:pt x="4504" y="607"/>
                    </a:cubicBezTo>
                    <a:cubicBezTo>
                      <a:pt x="4568" y="638"/>
                      <a:pt x="4723" y="710"/>
                      <a:pt x="4937" y="773"/>
                    </a:cubicBezTo>
                    <a:cubicBezTo>
                      <a:pt x="5094" y="820"/>
                      <a:pt x="5255" y="868"/>
                      <a:pt x="5387" y="903"/>
                    </a:cubicBezTo>
                    <a:cubicBezTo>
                      <a:pt x="5394" y="880"/>
                      <a:pt x="5404" y="844"/>
                      <a:pt x="5414" y="805"/>
                    </a:cubicBezTo>
                    <a:cubicBezTo>
                      <a:pt x="5432" y="739"/>
                      <a:pt x="5450" y="662"/>
                      <a:pt x="5451" y="635"/>
                    </a:cubicBezTo>
                    <a:cubicBezTo>
                      <a:pt x="5454" y="562"/>
                      <a:pt x="5471" y="532"/>
                      <a:pt x="5490" y="481"/>
                    </a:cubicBezTo>
                    <a:cubicBezTo>
                      <a:pt x="5498" y="462"/>
                      <a:pt x="5509" y="453"/>
                      <a:pt x="5524" y="439"/>
                    </a:cubicBezTo>
                    <a:cubicBezTo>
                      <a:pt x="5574" y="394"/>
                      <a:pt x="5677" y="326"/>
                      <a:pt x="5770" y="268"/>
                    </a:cubicBezTo>
                    <a:cubicBezTo>
                      <a:pt x="5817" y="239"/>
                      <a:pt x="5860" y="212"/>
                      <a:pt x="5892" y="193"/>
                    </a:cubicBezTo>
                    <a:cubicBezTo>
                      <a:pt x="5905" y="186"/>
                      <a:pt x="5916" y="179"/>
                      <a:pt x="5954" y="156"/>
                    </a:cubicBezTo>
                    <a:cubicBezTo>
                      <a:pt x="5989" y="212"/>
                      <a:pt x="5989" y="212"/>
                      <a:pt x="5989" y="212"/>
                    </a:cubicBezTo>
                    <a:cubicBezTo>
                      <a:pt x="5923" y="251"/>
                      <a:pt x="5835" y="303"/>
                      <a:pt x="5750" y="358"/>
                    </a:cubicBezTo>
                    <a:cubicBezTo>
                      <a:pt x="5700" y="391"/>
                      <a:pt x="5650" y="424"/>
                      <a:pt x="5612" y="453"/>
                    </a:cubicBezTo>
                    <a:cubicBezTo>
                      <a:pt x="5593" y="467"/>
                      <a:pt x="5577" y="479"/>
                      <a:pt x="5566" y="489"/>
                    </a:cubicBezTo>
                    <a:cubicBezTo>
                      <a:pt x="5561" y="494"/>
                      <a:pt x="5556" y="499"/>
                      <a:pt x="5554" y="502"/>
                    </a:cubicBezTo>
                    <a:cubicBezTo>
                      <a:pt x="5553" y="503"/>
                      <a:pt x="5552" y="504"/>
                      <a:pt x="5551" y="505"/>
                    </a:cubicBezTo>
                    <a:cubicBezTo>
                      <a:pt x="5530" y="563"/>
                      <a:pt x="5520" y="574"/>
                      <a:pt x="5516" y="638"/>
                    </a:cubicBezTo>
                    <a:cubicBezTo>
                      <a:pt x="5514" y="680"/>
                      <a:pt x="5495" y="753"/>
                      <a:pt x="5478" y="822"/>
                    </a:cubicBezTo>
                    <a:cubicBezTo>
                      <a:pt x="5468" y="860"/>
                      <a:pt x="5458" y="896"/>
                      <a:pt x="5451" y="919"/>
                    </a:cubicBezTo>
                    <a:cubicBezTo>
                      <a:pt x="5530" y="939"/>
                      <a:pt x="5595" y="952"/>
                      <a:pt x="5636" y="954"/>
                    </a:cubicBezTo>
                    <a:cubicBezTo>
                      <a:pt x="5648" y="955"/>
                      <a:pt x="5659" y="955"/>
                      <a:pt x="5670" y="955"/>
                    </a:cubicBezTo>
                    <a:cubicBezTo>
                      <a:pt x="5765" y="955"/>
                      <a:pt x="5819" y="931"/>
                      <a:pt x="5921" y="876"/>
                    </a:cubicBezTo>
                    <a:cubicBezTo>
                      <a:pt x="6033" y="814"/>
                      <a:pt x="6263" y="680"/>
                      <a:pt x="6263" y="680"/>
                    </a:cubicBezTo>
                    <a:cubicBezTo>
                      <a:pt x="6264" y="680"/>
                      <a:pt x="6264" y="680"/>
                      <a:pt x="6264" y="680"/>
                    </a:cubicBezTo>
                    <a:cubicBezTo>
                      <a:pt x="6265" y="679"/>
                      <a:pt x="6265" y="679"/>
                      <a:pt x="6265" y="679"/>
                    </a:cubicBezTo>
                    <a:cubicBezTo>
                      <a:pt x="6268" y="678"/>
                      <a:pt x="6320" y="652"/>
                      <a:pt x="6391" y="652"/>
                    </a:cubicBezTo>
                    <a:cubicBezTo>
                      <a:pt x="6465" y="651"/>
                      <a:pt x="6562" y="684"/>
                      <a:pt x="6627" y="798"/>
                    </a:cubicBezTo>
                    <a:cubicBezTo>
                      <a:pt x="6906" y="1300"/>
                      <a:pt x="6906" y="1300"/>
                      <a:pt x="6906" y="1300"/>
                    </a:cubicBezTo>
                    <a:cubicBezTo>
                      <a:pt x="6906" y="1300"/>
                      <a:pt x="6907" y="1303"/>
                      <a:pt x="6911" y="1309"/>
                    </a:cubicBezTo>
                    <a:cubicBezTo>
                      <a:pt x="6922" y="1327"/>
                      <a:pt x="6949" y="1369"/>
                      <a:pt x="6986" y="1406"/>
                    </a:cubicBezTo>
                    <a:cubicBezTo>
                      <a:pt x="7002" y="1423"/>
                      <a:pt x="7025" y="1438"/>
                      <a:pt x="7050" y="1455"/>
                    </a:cubicBezTo>
                    <a:cubicBezTo>
                      <a:pt x="7051" y="1447"/>
                      <a:pt x="7053" y="1440"/>
                      <a:pt x="7054" y="1432"/>
                    </a:cubicBezTo>
                    <a:cubicBezTo>
                      <a:pt x="7058" y="1413"/>
                      <a:pt x="7061" y="1393"/>
                      <a:pt x="7064" y="1377"/>
                    </a:cubicBezTo>
                    <a:cubicBezTo>
                      <a:pt x="7066" y="1368"/>
                      <a:pt x="7067" y="1359"/>
                      <a:pt x="7068" y="1354"/>
                    </a:cubicBezTo>
                    <a:cubicBezTo>
                      <a:pt x="7067" y="1351"/>
                      <a:pt x="7066" y="1349"/>
                      <a:pt x="7066" y="1347"/>
                    </a:cubicBezTo>
                    <a:cubicBezTo>
                      <a:pt x="7065" y="1343"/>
                      <a:pt x="7065" y="1340"/>
                      <a:pt x="7065" y="1338"/>
                    </a:cubicBezTo>
                    <a:cubicBezTo>
                      <a:pt x="7065" y="1323"/>
                      <a:pt x="7069" y="1306"/>
                      <a:pt x="7078" y="1287"/>
                    </a:cubicBezTo>
                    <a:cubicBezTo>
                      <a:pt x="7088" y="1269"/>
                      <a:pt x="7106" y="1248"/>
                      <a:pt x="7136" y="1243"/>
                    </a:cubicBezTo>
                    <a:cubicBezTo>
                      <a:pt x="7156" y="1239"/>
                      <a:pt x="7214" y="1229"/>
                      <a:pt x="7274" y="1217"/>
                    </a:cubicBezTo>
                    <a:cubicBezTo>
                      <a:pt x="7334" y="1205"/>
                      <a:pt x="7397" y="1189"/>
                      <a:pt x="7421" y="1179"/>
                    </a:cubicBezTo>
                    <a:cubicBezTo>
                      <a:pt x="7479" y="1156"/>
                      <a:pt x="7641" y="1121"/>
                      <a:pt x="7740" y="1109"/>
                    </a:cubicBezTo>
                    <a:cubicBezTo>
                      <a:pt x="7750" y="593"/>
                      <a:pt x="7750" y="593"/>
                      <a:pt x="7750" y="593"/>
                    </a:cubicBezTo>
                    <a:cubicBezTo>
                      <a:pt x="7588" y="275"/>
                      <a:pt x="7588" y="275"/>
                      <a:pt x="7588" y="275"/>
                    </a:cubicBezTo>
                    <a:cubicBezTo>
                      <a:pt x="7581" y="262"/>
                      <a:pt x="7511" y="146"/>
                      <a:pt x="7441" y="28"/>
                    </a:cubicBezTo>
                    <a:cubicBezTo>
                      <a:pt x="7436" y="19"/>
                      <a:pt x="7430" y="9"/>
                      <a:pt x="7425" y="0"/>
                    </a:cubicBezTo>
                    <a:cubicBezTo>
                      <a:pt x="7501" y="0"/>
                      <a:pt x="7501" y="0"/>
                      <a:pt x="7501" y="0"/>
                    </a:cubicBezTo>
                    <a:cubicBezTo>
                      <a:pt x="7574" y="122"/>
                      <a:pt x="7645" y="242"/>
                      <a:pt x="7645" y="242"/>
                    </a:cubicBezTo>
                    <a:cubicBezTo>
                      <a:pt x="7646" y="243"/>
                      <a:pt x="7646" y="243"/>
                      <a:pt x="7646" y="243"/>
                    </a:cubicBezTo>
                    <a:cubicBezTo>
                      <a:pt x="7816" y="578"/>
                      <a:pt x="7816" y="578"/>
                      <a:pt x="7816" y="578"/>
                    </a:cubicBezTo>
                    <a:cubicBezTo>
                      <a:pt x="7806" y="1105"/>
                      <a:pt x="7806" y="1105"/>
                      <a:pt x="7806" y="1105"/>
                    </a:cubicBezTo>
                    <a:cubicBezTo>
                      <a:pt x="7923" y="1105"/>
                      <a:pt x="8280" y="1126"/>
                      <a:pt x="8461" y="1132"/>
                    </a:cubicBezTo>
                    <a:cubicBezTo>
                      <a:pt x="8485" y="1133"/>
                      <a:pt x="8517" y="1134"/>
                      <a:pt x="8555" y="1134"/>
                    </a:cubicBezTo>
                    <a:cubicBezTo>
                      <a:pt x="8800" y="1134"/>
                      <a:pt x="9274" y="1118"/>
                      <a:pt x="9355" y="1118"/>
                    </a:cubicBezTo>
                    <a:cubicBezTo>
                      <a:pt x="9356" y="1118"/>
                      <a:pt x="9358" y="1118"/>
                      <a:pt x="9360" y="1118"/>
                    </a:cubicBezTo>
                    <a:cubicBezTo>
                      <a:pt x="9383" y="1105"/>
                      <a:pt x="9463" y="1049"/>
                      <a:pt x="9535" y="997"/>
                    </a:cubicBezTo>
                    <a:cubicBezTo>
                      <a:pt x="9574" y="970"/>
                      <a:pt x="9612" y="943"/>
                      <a:pt x="9640" y="924"/>
                    </a:cubicBezTo>
                    <a:cubicBezTo>
                      <a:pt x="9655" y="914"/>
                      <a:pt x="9667" y="905"/>
                      <a:pt x="9676" y="899"/>
                    </a:cubicBezTo>
                    <a:cubicBezTo>
                      <a:pt x="9680" y="896"/>
                      <a:pt x="9684" y="894"/>
                      <a:pt x="9688" y="892"/>
                    </a:cubicBezTo>
                    <a:cubicBezTo>
                      <a:pt x="9689" y="891"/>
                      <a:pt x="9691" y="890"/>
                      <a:pt x="9693" y="889"/>
                    </a:cubicBezTo>
                    <a:cubicBezTo>
                      <a:pt x="9696" y="888"/>
                      <a:pt x="9696" y="886"/>
                      <a:pt x="9709" y="885"/>
                    </a:cubicBezTo>
                    <a:cubicBezTo>
                      <a:pt x="9797" y="885"/>
                      <a:pt x="9797" y="885"/>
                      <a:pt x="9797" y="885"/>
                    </a:cubicBezTo>
                    <a:cubicBezTo>
                      <a:pt x="9795" y="793"/>
                      <a:pt x="9784" y="510"/>
                      <a:pt x="9773" y="241"/>
                    </a:cubicBezTo>
                    <a:cubicBezTo>
                      <a:pt x="9769" y="157"/>
                      <a:pt x="9766" y="75"/>
                      <a:pt x="9762" y="0"/>
                    </a:cubicBezTo>
                    <a:cubicBezTo>
                      <a:pt x="9828" y="0"/>
                      <a:pt x="9828" y="0"/>
                      <a:pt x="9828" y="0"/>
                    </a:cubicBezTo>
                    <a:cubicBezTo>
                      <a:pt x="9831" y="71"/>
                      <a:pt x="9834" y="149"/>
                      <a:pt x="9838" y="228"/>
                    </a:cubicBezTo>
                    <a:cubicBezTo>
                      <a:pt x="9993" y="225"/>
                      <a:pt x="9993" y="225"/>
                      <a:pt x="9993" y="225"/>
                    </a:cubicBezTo>
                    <a:cubicBezTo>
                      <a:pt x="9980" y="0"/>
                      <a:pt x="9980" y="0"/>
                      <a:pt x="9980" y="0"/>
                    </a:cubicBezTo>
                    <a:cubicBezTo>
                      <a:pt x="9994" y="0"/>
                      <a:pt x="9994" y="0"/>
                      <a:pt x="9994" y="0"/>
                    </a:cubicBezTo>
                    <a:cubicBezTo>
                      <a:pt x="10007" y="224"/>
                      <a:pt x="10007" y="224"/>
                      <a:pt x="10007" y="224"/>
                    </a:cubicBezTo>
                    <a:cubicBezTo>
                      <a:pt x="10196" y="220"/>
                      <a:pt x="10196" y="220"/>
                      <a:pt x="10196" y="220"/>
                    </a:cubicBezTo>
                    <a:cubicBezTo>
                      <a:pt x="10181" y="0"/>
                      <a:pt x="10181" y="0"/>
                      <a:pt x="10181" y="0"/>
                    </a:cubicBezTo>
                    <a:cubicBezTo>
                      <a:pt x="10195" y="0"/>
                      <a:pt x="10195" y="0"/>
                      <a:pt x="10195" y="0"/>
                    </a:cubicBezTo>
                    <a:cubicBezTo>
                      <a:pt x="10210" y="220"/>
                      <a:pt x="10210" y="220"/>
                      <a:pt x="10210" y="220"/>
                    </a:cubicBezTo>
                    <a:cubicBezTo>
                      <a:pt x="10591" y="212"/>
                      <a:pt x="10591" y="212"/>
                      <a:pt x="10591" y="212"/>
                    </a:cubicBezTo>
                    <a:cubicBezTo>
                      <a:pt x="10602" y="208"/>
                      <a:pt x="10715" y="167"/>
                      <a:pt x="10739" y="158"/>
                    </a:cubicBezTo>
                    <a:cubicBezTo>
                      <a:pt x="10714" y="0"/>
                      <a:pt x="10714" y="0"/>
                      <a:pt x="10714" y="0"/>
                    </a:cubicBezTo>
                    <a:cubicBezTo>
                      <a:pt x="10728" y="0"/>
                      <a:pt x="10728" y="0"/>
                      <a:pt x="10728" y="0"/>
                    </a:cubicBezTo>
                    <a:cubicBezTo>
                      <a:pt x="10753" y="156"/>
                      <a:pt x="10753" y="156"/>
                      <a:pt x="10753" y="156"/>
                    </a:cubicBezTo>
                    <a:cubicBezTo>
                      <a:pt x="10886" y="157"/>
                      <a:pt x="10886" y="157"/>
                      <a:pt x="10886" y="157"/>
                    </a:cubicBezTo>
                    <a:cubicBezTo>
                      <a:pt x="10877" y="0"/>
                      <a:pt x="10877" y="0"/>
                      <a:pt x="10877" y="0"/>
                    </a:cubicBezTo>
                    <a:cubicBezTo>
                      <a:pt x="10891" y="0"/>
                      <a:pt x="10891" y="0"/>
                      <a:pt x="10891" y="0"/>
                    </a:cubicBezTo>
                    <a:cubicBezTo>
                      <a:pt x="10900" y="158"/>
                      <a:pt x="10900" y="158"/>
                      <a:pt x="10900" y="158"/>
                    </a:cubicBezTo>
                    <a:cubicBezTo>
                      <a:pt x="11075" y="160"/>
                      <a:pt x="11075" y="160"/>
                      <a:pt x="11075" y="160"/>
                    </a:cubicBezTo>
                    <a:cubicBezTo>
                      <a:pt x="11063" y="0"/>
                      <a:pt x="11063" y="0"/>
                      <a:pt x="11063" y="0"/>
                    </a:cubicBezTo>
                    <a:cubicBezTo>
                      <a:pt x="11077" y="0"/>
                      <a:pt x="11077" y="0"/>
                      <a:pt x="11077" y="0"/>
                    </a:cubicBezTo>
                    <a:cubicBezTo>
                      <a:pt x="11089" y="160"/>
                      <a:pt x="11089" y="160"/>
                      <a:pt x="11089" y="160"/>
                    </a:cubicBezTo>
                    <a:cubicBezTo>
                      <a:pt x="11217" y="162"/>
                      <a:pt x="11217" y="162"/>
                      <a:pt x="11217" y="162"/>
                    </a:cubicBezTo>
                    <a:cubicBezTo>
                      <a:pt x="11206" y="0"/>
                      <a:pt x="11206" y="0"/>
                      <a:pt x="11206" y="0"/>
                    </a:cubicBezTo>
                    <a:cubicBezTo>
                      <a:pt x="11220" y="0"/>
                      <a:pt x="11220" y="0"/>
                      <a:pt x="11220" y="0"/>
                    </a:cubicBezTo>
                    <a:cubicBezTo>
                      <a:pt x="11231" y="162"/>
                      <a:pt x="11231" y="162"/>
                      <a:pt x="11231" y="162"/>
                    </a:cubicBezTo>
                    <a:cubicBezTo>
                      <a:pt x="11393" y="165"/>
                      <a:pt x="11393" y="165"/>
                      <a:pt x="11393" y="165"/>
                    </a:cubicBezTo>
                    <a:cubicBezTo>
                      <a:pt x="11384" y="0"/>
                      <a:pt x="11384" y="0"/>
                      <a:pt x="11384" y="0"/>
                    </a:cubicBezTo>
                    <a:cubicBezTo>
                      <a:pt x="11398" y="0"/>
                      <a:pt x="11398" y="0"/>
                      <a:pt x="11398" y="0"/>
                    </a:cubicBezTo>
                    <a:cubicBezTo>
                      <a:pt x="11407" y="165"/>
                      <a:pt x="11407" y="165"/>
                      <a:pt x="11407" y="165"/>
                    </a:cubicBezTo>
                    <a:cubicBezTo>
                      <a:pt x="11563" y="167"/>
                      <a:pt x="11563" y="167"/>
                      <a:pt x="11563" y="167"/>
                    </a:cubicBezTo>
                    <a:cubicBezTo>
                      <a:pt x="11563" y="108"/>
                      <a:pt x="11562" y="53"/>
                      <a:pt x="11561" y="0"/>
                    </a:cubicBezTo>
                    <a:cubicBezTo>
                      <a:pt x="11662" y="0"/>
                      <a:pt x="11662" y="0"/>
                      <a:pt x="11662" y="0"/>
                    </a:cubicBezTo>
                    <a:cubicBezTo>
                      <a:pt x="11626" y="4"/>
                      <a:pt x="11626" y="4"/>
                      <a:pt x="11626" y="4"/>
                    </a:cubicBezTo>
                    <a:cubicBezTo>
                      <a:pt x="11628" y="80"/>
                      <a:pt x="11629" y="163"/>
                      <a:pt x="11630" y="252"/>
                    </a:cubicBezTo>
                    <a:cubicBezTo>
                      <a:pt x="11631" y="492"/>
                      <a:pt x="11677" y="672"/>
                      <a:pt x="11722" y="792"/>
                    </a:cubicBezTo>
                    <a:cubicBezTo>
                      <a:pt x="11744" y="853"/>
                      <a:pt x="11766" y="898"/>
                      <a:pt x="11783" y="928"/>
                    </a:cubicBezTo>
                    <a:cubicBezTo>
                      <a:pt x="11784" y="931"/>
                      <a:pt x="11786" y="933"/>
                      <a:pt x="11787" y="936"/>
                    </a:cubicBezTo>
                    <a:cubicBezTo>
                      <a:pt x="11811" y="903"/>
                      <a:pt x="11846" y="863"/>
                      <a:pt x="11889" y="821"/>
                    </a:cubicBezTo>
                    <a:cubicBezTo>
                      <a:pt x="11938" y="774"/>
                      <a:pt x="11994" y="727"/>
                      <a:pt x="12057" y="698"/>
                    </a:cubicBezTo>
                    <a:cubicBezTo>
                      <a:pt x="12175" y="646"/>
                      <a:pt x="12296" y="645"/>
                      <a:pt x="12417" y="640"/>
                    </a:cubicBezTo>
                    <a:cubicBezTo>
                      <a:pt x="12483" y="638"/>
                      <a:pt x="12922" y="636"/>
                      <a:pt x="13365" y="633"/>
                    </a:cubicBezTo>
                    <a:cubicBezTo>
                      <a:pt x="13587" y="632"/>
                      <a:pt x="13808" y="631"/>
                      <a:pt x="13982" y="629"/>
                    </a:cubicBezTo>
                    <a:cubicBezTo>
                      <a:pt x="13987" y="629"/>
                      <a:pt x="13992" y="629"/>
                      <a:pt x="13998" y="629"/>
                    </a:cubicBezTo>
                    <a:cubicBezTo>
                      <a:pt x="14004" y="613"/>
                      <a:pt x="14015" y="583"/>
                      <a:pt x="14028" y="546"/>
                    </a:cubicBezTo>
                    <a:cubicBezTo>
                      <a:pt x="14070" y="424"/>
                      <a:pt x="14135" y="226"/>
                      <a:pt x="14155" y="165"/>
                    </a:cubicBezTo>
                    <a:cubicBezTo>
                      <a:pt x="13995" y="0"/>
                      <a:pt x="13995" y="0"/>
                      <a:pt x="13995" y="0"/>
                    </a:cubicBezTo>
                    <a:cubicBezTo>
                      <a:pt x="14087" y="0"/>
                      <a:pt x="14087" y="0"/>
                      <a:pt x="14087" y="0"/>
                    </a:cubicBezTo>
                    <a:cubicBezTo>
                      <a:pt x="14098" y="11"/>
                      <a:pt x="14098" y="11"/>
                      <a:pt x="14098" y="11"/>
                    </a:cubicBezTo>
                    <a:cubicBezTo>
                      <a:pt x="14228" y="143"/>
                      <a:pt x="14228" y="143"/>
                      <a:pt x="14228" y="143"/>
                    </a:cubicBezTo>
                    <a:cubicBezTo>
                      <a:pt x="14227" y="145"/>
                      <a:pt x="14227" y="145"/>
                      <a:pt x="14227" y="145"/>
                    </a:cubicBezTo>
                    <a:cubicBezTo>
                      <a:pt x="14229" y="147"/>
                      <a:pt x="14229" y="147"/>
                      <a:pt x="14229" y="147"/>
                    </a:cubicBezTo>
                    <a:cubicBezTo>
                      <a:pt x="14223" y="166"/>
                      <a:pt x="14223" y="166"/>
                      <a:pt x="14223" y="166"/>
                    </a:cubicBezTo>
                    <a:cubicBezTo>
                      <a:pt x="14223" y="166"/>
                      <a:pt x="14194" y="256"/>
                      <a:pt x="14160" y="360"/>
                    </a:cubicBezTo>
                    <a:cubicBezTo>
                      <a:pt x="14154" y="377"/>
                      <a:pt x="14149" y="395"/>
                      <a:pt x="14143" y="412"/>
                    </a:cubicBezTo>
                    <a:cubicBezTo>
                      <a:pt x="14122" y="476"/>
                      <a:pt x="14101" y="541"/>
                      <a:pt x="14084" y="589"/>
                    </a:cubicBezTo>
                    <a:cubicBezTo>
                      <a:pt x="14078" y="604"/>
                      <a:pt x="14074" y="617"/>
                      <a:pt x="14069" y="628"/>
                    </a:cubicBezTo>
                    <a:cubicBezTo>
                      <a:pt x="14197" y="627"/>
                      <a:pt x="14289" y="625"/>
                      <a:pt x="14309" y="623"/>
                    </a:cubicBezTo>
                    <a:cubicBezTo>
                      <a:pt x="14373" y="618"/>
                      <a:pt x="14454" y="612"/>
                      <a:pt x="14526" y="598"/>
                    </a:cubicBezTo>
                    <a:cubicBezTo>
                      <a:pt x="14599" y="585"/>
                      <a:pt x="14663" y="560"/>
                      <a:pt x="14684" y="539"/>
                    </a:cubicBezTo>
                    <a:cubicBezTo>
                      <a:pt x="14755" y="477"/>
                      <a:pt x="14814" y="365"/>
                      <a:pt x="14825" y="338"/>
                    </a:cubicBezTo>
                    <a:cubicBezTo>
                      <a:pt x="14830" y="328"/>
                      <a:pt x="14896" y="185"/>
                      <a:pt x="14982" y="0"/>
                    </a:cubicBezTo>
                    <a:cubicBezTo>
                      <a:pt x="15149" y="0"/>
                      <a:pt x="15149" y="0"/>
                      <a:pt x="15149" y="0"/>
                    </a:cubicBezTo>
                    <a:cubicBezTo>
                      <a:pt x="15050" y="215"/>
                      <a:pt x="14969" y="390"/>
                      <a:pt x="14964" y="402"/>
                    </a:cubicBezTo>
                    <a:cubicBezTo>
                      <a:pt x="14946" y="439"/>
                      <a:pt x="14887" y="562"/>
                      <a:pt x="14785" y="653"/>
                    </a:cubicBezTo>
                    <a:cubicBezTo>
                      <a:pt x="14721" y="708"/>
                      <a:pt x="14639" y="730"/>
                      <a:pt x="14555" y="747"/>
                    </a:cubicBezTo>
                    <a:cubicBezTo>
                      <a:pt x="14471" y="763"/>
                      <a:pt x="14385" y="770"/>
                      <a:pt x="14321" y="775"/>
                    </a:cubicBezTo>
                    <a:cubicBezTo>
                      <a:pt x="14282" y="778"/>
                      <a:pt x="14159" y="780"/>
                      <a:pt x="13983" y="782"/>
                    </a:cubicBezTo>
                    <a:cubicBezTo>
                      <a:pt x="13722" y="784"/>
                      <a:pt x="13354" y="786"/>
                      <a:pt x="13040" y="788"/>
                    </a:cubicBezTo>
                    <a:cubicBezTo>
                      <a:pt x="12981" y="788"/>
                      <a:pt x="12923" y="788"/>
                      <a:pt x="12868" y="789"/>
                    </a:cubicBezTo>
                    <a:cubicBezTo>
                      <a:pt x="12872" y="809"/>
                      <a:pt x="12878" y="837"/>
                      <a:pt x="12886" y="871"/>
                    </a:cubicBezTo>
                    <a:cubicBezTo>
                      <a:pt x="12989" y="868"/>
                      <a:pt x="13100" y="866"/>
                      <a:pt x="13217" y="866"/>
                    </a:cubicBezTo>
                    <a:cubicBezTo>
                      <a:pt x="13440" y="866"/>
                      <a:pt x="13684" y="871"/>
                      <a:pt x="13930" y="871"/>
                    </a:cubicBezTo>
                    <a:cubicBezTo>
                      <a:pt x="13952" y="871"/>
                      <a:pt x="13975" y="871"/>
                      <a:pt x="13998" y="871"/>
                    </a:cubicBezTo>
                    <a:cubicBezTo>
                      <a:pt x="14327" y="869"/>
                      <a:pt x="14534" y="848"/>
                      <a:pt x="14676" y="815"/>
                    </a:cubicBezTo>
                    <a:cubicBezTo>
                      <a:pt x="14817" y="781"/>
                      <a:pt x="14893" y="739"/>
                      <a:pt x="14975" y="686"/>
                    </a:cubicBezTo>
                    <a:cubicBezTo>
                      <a:pt x="14975" y="686"/>
                      <a:pt x="14975" y="686"/>
                      <a:pt x="14975" y="686"/>
                    </a:cubicBezTo>
                    <a:cubicBezTo>
                      <a:pt x="14976" y="686"/>
                      <a:pt x="14978" y="684"/>
                      <a:pt x="14980" y="681"/>
                    </a:cubicBezTo>
                    <a:cubicBezTo>
                      <a:pt x="14996" y="666"/>
                      <a:pt x="15029" y="623"/>
                      <a:pt x="15065" y="564"/>
                    </a:cubicBezTo>
                    <a:cubicBezTo>
                      <a:pt x="15148" y="433"/>
                      <a:pt x="15260" y="224"/>
                      <a:pt x="15374" y="0"/>
                    </a:cubicBezTo>
                    <a:cubicBezTo>
                      <a:pt x="15392" y="0"/>
                      <a:pt x="15392" y="0"/>
                      <a:pt x="15392" y="0"/>
                    </a:cubicBezTo>
                    <a:cubicBezTo>
                      <a:pt x="15277" y="227"/>
                      <a:pt x="15163" y="440"/>
                      <a:pt x="15079" y="573"/>
                    </a:cubicBezTo>
                    <a:cubicBezTo>
                      <a:pt x="15042" y="632"/>
                      <a:pt x="15010" y="676"/>
                      <a:pt x="14992" y="693"/>
                    </a:cubicBezTo>
                    <a:cubicBezTo>
                      <a:pt x="14990" y="695"/>
                      <a:pt x="14988" y="697"/>
                      <a:pt x="14986" y="698"/>
                    </a:cubicBezTo>
                    <a:cubicBezTo>
                      <a:pt x="14986" y="698"/>
                      <a:pt x="14986" y="698"/>
                      <a:pt x="14986" y="698"/>
                    </a:cubicBezTo>
                    <a:cubicBezTo>
                      <a:pt x="14986" y="699"/>
                      <a:pt x="14986" y="699"/>
                      <a:pt x="14986" y="699"/>
                    </a:cubicBezTo>
                    <a:cubicBezTo>
                      <a:pt x="14984" y="700"/>
                      <a:pt x="14984" y="700"/>
                      <a:pt x="14984" y="700"/>
                    </a:cubicBezTo>
                    <a:cubicBezTo>
                      <a:pt x="14985" y="699"/>
                      <a:pt x="14985" y="699"/>
                      <a:pt x="14985" y="699"/>
                    </a:cubicBezTo>
                    <a:cubicBezTo>
                      <a:pt x="14985" y="699"/>
                      <a:pt x="14984" y="700"/>
                      <a:pt x="14984" y="700"/>
                    </a:cubicBezTo>
                    <a:cubicBezTo>
                      <a:pt x="14984" y="700"/>
                      <a:pt x="14984" y="700"/>
                      <a:pt x="14984" y="700"/>
                    </a:cubicBezTo>
                    <a:cubicBezTo>
                      <a:pt x="14984" y="700"/>
                      <a:pt x="14984" y="700"/>
                      <a:pt x="14984" y="700"/>
                    </a:cubicBezTo>
                    <a:cubicBezTo>
                      <a:pt x="14983" y="700"/>
                      <a:pt x="14983" y="700"/>
                      <a:pt x="14983" y="700"/>
                    </a:cubicBezTo>
                    <a:cubicBezTo>
                      <a:pt x="14983" y="700"/>
                      <a:pt x="14983" y="700"/>
                      <a:pt x="14983" y="700"/>
                    </a:cubicBezTo>
                    <a:cubicBezTo>
                      <a:pt x="14983" y="700"/>
                      <a:pt x="14983" y="700"/>
                      <a:pt x="14983" y="700"/>
                    </a:cubicBezTo>
                    <a:cubicBezTo>
                      <a:pt x="14983" y="700"/>
                      <a:pt x="14983" y="700"/>
                      <a:pt x="14983" y="701"/>
                    </a:cubicBezTo>
                    <a:cubicBezTo>
                      <a:pt x="14901" y="754"/>
                      <a:pt x="14822" y="797"/>
                      <a:pt x="14679" y="831"/>
                    </a:cubicBezTo>
                    <a:cubicBezTo>
                      <a:pt x="14536" y="864"/>
                      <a:pt x="14328" y="886"/>
                      <a:pt x="13998" y="887"/>
                    </a:cubicBezTo>
                    <a:cubicBezTo>
                      <a:pt x="13975" y="887"/>
                      <a:pt x="13952" y="887"/>
                      <a:pt x="13930" y="887"/>
                    </a:cubicBezTo>
                    <a:cubicBezTo>
                      <a:pt x="13684" y="887"/>
                      <a:pt x="13440" y="883"/>
                      <a:pt x="13217" y="883"/>
                    </a:cubicBezTo>
                    <a:cubicBezTo>
                      <a:pt x="13101" y="883"/>
                      <a:pt x="12992" y="884"/>
                      <a:pt x="12890" y="888"/>
                    </a:cubicBezTo>
                    <a:cubicBezTo>
                      <a:pt x="12901" y="931"/>
                      <a:pt x="12916" y="982"/>
                      <a:pt x="12936" y="1034"/>
                    </a:cubicBezTo>
                    <a:cubicBezTo>
                      <a:pt x="12940" y="1043"/>
                      <a:pt x="12944" y="1054"/>
                      <a:pt x="12948" y="1065"/>
                    </a:cubicBezTo>
                    <a:cubicBezTo>
                      <a:pt x="13057" y="1042"/>
                      <a:pt x="13152" y="1020"/>
                      <a:pt x="13217" y="1012"/>
                    </a:cubicBezTo>
                    <a:cubicBezTo>
                      <a:pt x="13217" y="1006"/>
                      <a:pt x="13217" y="1006"/>
                      <a:pt x="13217" y="1006"/>
                    </a:cubicBezTo>
                    <a:cubicBezTo>
                      <a:pt x="13217" y="1006"/>
                      <a:pt x="13217" y="1006"/>
                      <a:pt x="13217" y="1006"/>
                    </a:cubicBezTo>
                    <a:cubicBezTo>
                      <a:pt x="13439" y="1006"/>
                      <a:pt x="13683" y="1010"/>
                      <a:pt x="13930" y="1010"/>
                    </a:cubicBezTo>
                    <a:cubicBezTo>
                      <a:pt x="13953" y="1010"/>
                      <a:pt x="13975" y="1010"/>
                      <a:pt x="13998" y="1010"/>
                    </a:cubicBezTo>
                    <a:cubicBezTo>
                      <a:pt x="14333" y="1009"/>
                      <a:pt x="14550" y="987"/>
                      <a:pt x="14707" y="951"/>
                    </a:cubicBezTo>
                    <a:cubicBezTo>
                      <a:pt x="14865" y="914"/>
                      <a:pt x="14964" y="860"/>
                      <a:pt x="15051" y="803"/>
                    </a:cubicBezTo>
                    <a:cubicBezTo>
                      <a:pt x="15071" y="789"/>
                      <a:pt x="15086" y="773"/>
                      <a:pt x="15103" y="753"/>
                    </a:cubicBezTo>
                    <a:cubicBezTo>
                      <a:pt x="15120" y="732"/>
                      <a:pt x="15138" y="708"/>
                      <a:pt x="15157" y="679"/>
                    </a:cubicBezTo>
                    <a:cubicBezTo>
                      <a:pt x="15195" y="621"/>
                      <a:pt x="15239" y="548"/>
                      <a:pt x="15287" y="462"/>
                    </a:cubicBezTo>
                    <a:cubicBezTo>
                      <a:pt x="15362" y="328"/>
                      <a:pt x="15446" y="166"/>
                      <a:pt x="15530" y="0"/>
                    </a:cubicBezTo>
                    <a:cubicBezTo>
                      <a:pt x="15548" y="0"/>
                      <a:pt x="15548" y="0"/>
                      <a:pt x="15548" y="0"/>
                    </a:cubicBezTo>
                    <a:cubicBezTo>
                      <a:pt x="15463" y="169"/>
                      <a:pt x="15377" y="334"/>
                      <a:pt x="15301" y="470"/>
                    </a:cubicBezTo>
                    <a:cubicBezTo>
                      <a:pt x="15253" y="556"/>
                      <a:pt x="15209" y="630"/>
                      <a:pt x="15171" y="688"/>
                    </a:cubicBezTo>
                    <a:cubicBezTo>
                      <a:pt x="15151" y="717"/>
                      <a:pt x="15133" y="742"/>
                      <a:pt x="15116" y="763"/>
                    </a:cubicBezTo>
                    <a:cubicBezTo>
                      <a:pt x="15098" y="784"/>
                      <a:pt x="15082" y="802"/>
                      <a:pt x="15060" y="817"/>
                    </a:cubicBezTo>
                    <a:cubicBezTo>
                      <a:pt x="14972" y="874"/>
                      <a:pt x="14870" y="930"/>
                      <a:pt x="14711" y="967"/>
                    </a:cubicBezTo>
                    <a:cubicBezTo>
                      <a:pt x="14551" y="1004"/>
                      <a:pt x="14334" y="1025"/>
                      <a:pt x="13998" y="1026"/>
                    </a:cubicBezTo>
                    <a:cubicBezTo>
                      <a:pt x="13975" y="1026"/>
                      <a:pt x="13953" y="1026"/>
                      <a:pt x="13930" y="1026"/>
                    </a:cubicBezTo>
                    <a:cubicBezTo>
                      <a:pt x="13701" y="1026"/>
                      <a:pt x="13475" y="1023"/>
                      <a:pt x="13267" y="1022"/>
                    </a:cubicBezTo>
                    <a:cubicBezTo>
                      <a:pt x="13267" y="1024"/>
                      <a:pt x="13267" y="1024"/>
                      <a:pt x="13267" y="1024"/>
                    </a:cubicBezTo>
                    <a:cubicBezTo>
                      <a:pt x="13267" y="1024"/>
                      <a:pt x="13267" y="1024"/>
                      <a:pt x="13267" y="1024"/>
                    </a:cubicBezTo>
                    <a:cubicBezTo>
                      <a:pt x="13213" y="1024"/>
                      <a:pt x="13095" y="1050"/>
                      <a:pt x="12954" y="1080"/>
                    </a:cubicBezTo>
                    <a:cubicBezTo>
                      <a:pt x="13018" y="1247"/>
                      <a:pt x="13122" y="1545"/>
                      <a:pt x="13150" y="1652"/>
                    </a:cubicBezTo>
                    <a:cubicBezTo>
                      <a:pt x="13172" y="1739"/>
                      <a:pt x="13192" y="1855"/>
                      <a:pt x="13201" y="1909"/>
                    </a:cubicBezTo>
                    <a:cubicBezTo>
                      <a:pt x="13263" y="1887"/>
                      <a:pt x="13323" y="1886"/>
                      <a:pt x="13367" y="1884"/>
                    </a:cubicBezTo>
                    <a:cubicBezTo>
                      <a:pt x="13368" y="1884"/>
                      <a:pt x="13368" y="1884"/>
                      <a:pt x="13368" y="1884"/>
                    </a:cubicBezTo>
                    <a:cubicBezTo>
                      <a:pt x="13369" y="1884"/>
                      <a:pt x="13369" y="1884"/>
                      <a:pt x="13369" y="1884"/>
                    </a:cubicBezTo>
                    <a:cubicBezTo>
                      <a:pt x="13369" y="1884"/>
                      <a:pt x="13524" y="1888"/>
                      <a:pt x="13738" y="1891"/>
                    </a:cubicBezTo>
                    <a:cubicBezTo>
                      <a:pt x="13952" y="1894"/>
                      <a:pt x="14224" y="1898"/>
                      <a:pt x="14458" y="1898"/>
                    </a:cubicBezTo>
                    <a:cubicBezTo>
                      <a:pt x="14690" y="1898"/>
                      <a:pt x="14887" y="1894"/>
                      <a:pt x="14938" y="1885"/>
                    </a:cubicBezTo>
                    <a:cubicBezTo>
                      <a:pt x="15117" y="1853"/>
                      <a:pt x="15694" y="1809"/>
                      <a:pt x="16195" y="1676"/>
                    </a:cubicBezTo>
                    <a:cubicBezTo>
                      <a:pt x="16682" y="1548"/>
                      <a:pt x="17387" y="1023"/>
                      <a:pt x="17835" y="728"/>
                    </a:cubicBezTo>
                    <a:cubicBezTo>
                      <a:pt x="17831" y="723"/>
                      <a:pt x="17827" y="717"/>
                      <a:pt x="17822" y="712"/>
                    </a:cubicBezTo>
                    <a:cubicBezTo>
                      <a:pt x="17691" y="551"/>
                      <a:pt x="17471" y="305"/>
                      <a:pt x="16993" y="0"/>
                    </a:cubicBezTo>
                    <a:cubicBezTo>
                      <a:pt x="17113" y="0"/>
                      <a:pt x="17113" y="0"/>
                      <a:pt x="17113" y="0"/>
                    </a:cubicBezTo>
                    <a:cubicBezTo>
                      <a:pt x="17539" y="284"/>
                      <a:pt x="17748" y="516"/>
                      <a:pt x="17873" y="671"/>
                    </a:cubicBezTo>
                    <a:cubicBezTo>
                      <a:pt x="17879" y="677"/>
                      <a:pt x="17884" y="685"/>
                      <a:pt x="17889" y="692"/>
                    </a:cubicBezTo>
                    <a:close/>
                    <a:moveTo>
                      <a:pt x="14971" y="695"/>
                    </a:moveTo>
                    <a:cubicBezTo>
                      <a:pt x="14971" y="695"/>
                      <a:pt x="14971" y="695"/>
                      <a:pt x="14971" y="695"/>
                    </a:cubicBezTo>
                    <a:cubicBezTo>
                      <a:pt x="14971" y="695"/>
                      <a:pt x="14971" y="695"/>
                      <a:pt x="14971" y="695"/>
                    </a:cubicBezTo>
                    <a:close/>
                    <a:moveTo>
                      <a:pt x="492" y="10347"/>
                    </a:moveTo>
                    <a:cubicBezTo>
                      <a:pt x="475" y="10355"/>
                      <a:pt x="460" y="10363"/>
                      <a:pt x="448" y="10370"/>
                    </a:cubicBezTo>
                    <a:cubicBezTo>
                      <a:pt x="447" y="10370"/>
                      <a:pt x="447" y="10370"/>
                      <a:pt x="446" y="10371"/>
                    </a:cubicBezTo>
                    <a:lnTo>
                      <a:pt x="492" y="10347"/>
                    </a:lnTo>
                    <a:close/>
                    <a:moveTo>
                      <a:pt x="6433" y="10655"/>
                    </a:moveTo>
                    <a:cubicBezTo>
                      <a:pt x="6426" y="10661"/>
                      <a:pt x="6426" y="10661"/>
                      <a:pt x="6426" y="10661"/>
                    </a:cubicBezTo>
                    <a:cubicBezTo>
                      <a:pt x="6365" y="10590"/>
                      <a:pt x="6365" y="10590"/>
                      <a:pt x="6365" y="10590"/>
                    </a:cubicBezTo>
                    <a:cubicBezTo>
                      <a:pt x="6259" y="10683"/>
                      <a:pt x="6259" y="10683"/>
                      <a:pt x="6259" y="10683"/>
                    </a:cubicBezTo>
                    <a:cubicBezTo>
                      <a:pt x="6352" y="10789"/>
                      <a:pt x="6352" y="10789"/>
                      <a:pt x="6352" y="10789"/>
                    </a:cubicBezTo>
                    <a:cubicBezTo>
                      <a:pt x="6423" y="10727"/>
                      <a:pt x="6423" y="10727"/>
                      <a:pt x="6423" y="10727"/>
                    </a:cubicBezTo>
                    <a:lnTo>
                      <a:pt x="6433" y="10655"/>
                    </a:lnTo>
                    <a:close/>
                    <a:moveTo>
                      <a:pt x="6449" y="10643"/>
                    </a:moveTo>
                    <a:cubicBezTo>
                      <a:pt x="6435" y="10735"/>
                      <a:pt x="6435" y="10735"/>
                      <a:pt x="6435" y="10735"/>
                    </a:cubicBezTo>
                    <a:cubicBezTo>
                      <a:pt x="6494" y="10803"/>
                      <a:pt x="6494" y="10803"/>
                      <a:pt x="6494" y="10803"/>
                    </a:cubicBezTo>
                    <a:cubicBezTo>
                      <a:pt x="6605" y="10713"/>
                      <a:pt x="6605" y="10713"/>
                      <a:pt x="6605" y="10713"/>
                    </a:cubicBezTo>
                    <a:cubicBezTo>
                      <a:pt x="6506" y="10599"/>
                      <a:pt x="6506" y="10599"/>
                      <a:pt x="6506" y="10599"/>
                    </a:cubicBezTo>
                    <a:lnTo>
                      <a:pt x="6449" y="10643"/>
                    </a:lnTo>
                    <a:close/>
                    <a:moveTo>
                      <a:pt x="12553" y="1161"/>
                    </a:moveTo>
                    <a:cubicBezTo>
                      <a:pt x="12380" y="1208"/>
                      <a:pt x="12268" y="1262"/>
                      <a:pt x="12241" y="1277"/>
                    </a:cubicBezTo>
                    <a:cubicBezTo>
                      <a:pt x="12173" y="1315"/>
                      <a:pt x="11806" y="1612"/>
                      <a:pt x="11626" y="1737"/>
                    </a:cubicBezTo>
                    <a:cubicBezTo>
                      <a:pt x="11580" y="1780"/>
                      <a:pt x="11533" y="1824"/>
                      <a:pt x="11487" y="1867"/>
                    </a:cubicBezTo>
                    <a:cubicBezTo>
                      <a:pt x="11342" y="2003"/>
                      <a:pt x="11204" y="2133"/>
                      <a:pt x="11093" y="2236"/>
                    </a:cubicBezTo>
                    <a:cubicBezTo>
                      <a:pt x="11038" y="2287"/>
                      <a:pt x="10989" y="2331"/>
                      <a:pt x="10948" y="2366"/>
                    </a:cubicBezTo>
                    <a:cubicBezTo>
                      <a:pt x="10908" y="2401"/>
                      <a:pt x="10877" y="2425"/>
                      <a:pt x="10850" y="2442"/>
                    </a:cubicBezTo>
                    <a:cubicBezTo>
                      <a:pt x="10829" y="2454"/>
                      <a:pt x="10807" y="2463"/>
                      <a:pt x="10775" y="2475"/>
                    </a:cubicBezTo>
                    <a:cubicBezTo>
                      <a:pt x="10731" y="2491"/>
                      <a:pt x="10670" y="2511"/>
                      <a:pt x="10596" y="2534"/>
                    </a:cubicBezTo>
                    <a:cubicBezTo>
                      <a:pt x="10627" y="2650"/>
                      <a:pt x="10666" y="2794"/>
                      <a:pt x="10703" y="2941"/>
                    </a:cubicBezTo>
                    <a:cubicBezTo>
                      <a:pt x="10754" y="2940"/>
                      <a:pt x="11122" y="2932"/>
                      <a:pt x="11492" y="2924"/>
                    </a:cubicBezTo>
                    <a:cubicBezTo>
                      <a:pt x="11889" y="2916"/>
                      <a:pt x="12286" y="2907"/>
                      <a:pt x="12286" y="2907"/>
                    </a:cubicBezTo>
                    <a:cubicBezTo>
                      <a:pt x="12286" y="2907"/>
                      <a:pt x="12286" y="2907"/>
                      <a:pt x="12286" y="2907"/>
                    </a:cubicBezTo>
                    <a:cubicBezTo>
                      <a:pt x="12288" y="2907"/>
                      <a:pt x="12290" y="2907"/>
                      <a:pt x="12294" y="2907"/>
                    </a:cubicBezTo>
                    <a:cubicBezTo>
                      <a:pt x="12313" y="2907"/>
                      <a:pt x="12358" y="2909"/>
                      <a:pt x="12410" y="2924"/>
                    </a:cubicBezTo>
                    <a:cubicBezTo>
                      <a:pt x="12426" y="2886"/>
                      <a:pt x="12461" y="2806"/>
                      <a:pt x="12477" y="2772"/>
                    </a:cubicBezTo>
                    <a:cubicBezTo>
                      <a:pt x="12482" y="2760"/>
                      <a:pt x="12490" y="2749"/>
                      <a:pt x="12503" y="2731"/>
                    </a:cubicBezTo>
                    <a:cubicBezTo>
                      <a:pt x="12589" y="2613"/>
                      <a:pt x="12867" y="2274"/>
                      <a:pt x="12885" y="2251"/>
                    </a:cubicBezTo>
                    <a:cubicBezTo>
                      <a:pt x="12896" y="2235"/>
                      <a:pt x="12999" y="2082"/>
                      <a:pt x="13079" y="1991"/>
                    </a:cubicBezTo>
                    <a:cubicBezTo>
                      <a:pt x="13098" y="1970"/>
                      <a:pt x="13119" y="1953"/>
                      <a:pt x="13140" y="1939"/>
                    </a:cubicBezTo>
                    <a:cubicBezTo>
                      <a:pt x="13137" y="1924"/>
                      <a:pt x="13132" y="1891"/>
                      <a:pt x="13125" y="1851"/>
                    </a:cubicBezTo>
                    <a:cubicBezTo>
                      <a:pt x="13115" y="1795"/>
                      <a:pt x="13101" y="1724"/>
                      <a:pt x="13086" y="1668"/>
                    </a:cubicBezTo>
                    <a:cubicBezTo>
                      <a:pt x="13060" y="1566"/>
                      <a:pt x="12951" y="1257"/>
                      <a:pt x="12889" y="1094"/>
                    </a:cubicBezTo>
                    <a:cubicBezTo>
                      <a:pt x="12778" y="1116"/>
                      <a:pt x="12653" y="1133"/>
                      <a:pt x="12553" y="1161"/>
                    </a:cubicBezTo>
                    <a:close/>
                    <a:moveTo>
                      <a:pt x="8677" y="6528"/>
                    </a:moveTo>
                    <a:cubicBezTo>
                      <a:pt x="8677" y="6822"/>
                      <a:pt x="8668" y="7133"/>
                      <a:pt x="8663" y="7220"/>
                    </a:cubicBezTo>
                    <a:cubicBezTo>
                      <a:pt x="8661" y="7273"/>
                      <a:pt x="8657" y="7328"/>
                      <a:pt x="8657" y="7383"/>
                    </a:cubicBezTo>
                    <a:cubicBezTo>
                      <a:pt x="8657" y="7465"/>
                      <a:pt x="8666" y="7544"/>
                      <a:pt x="8694" y="7607"/>
                    </a:cubicBezTo>
                    <a:cubicBezTo>
                      <a:pt x="8739" y="7714"/>
                      <a:pt x="8880" y="7843"/>
                      <a:pt x="9026" y="7905"/>
                    </a:cubicBezTo>
                    <a:cubicBezTo>
                      <a:pt x="9182" y="7973"/>
                      <a:pt x="9734" y="8222"/>
                      <a:pt x="10215" y="8387"/>
                    </a:cubicBezTo>
                    <a:cubicBezTo>
                      <a:pt x="10658" y="7134"/>
                      <a:pt x="10658" y="7134"/>
                      <a:pt x="10658" y="7134"/>
                    </a:cubicBezTo>
                    <a:cubicBezTo>
                      <a:pt x="10575" y="7084"/>
                      <a:pt x="10436" y="7001"/>
                      <a:pt x="10309" y="6926"/>
                    </a:cubicBezTo>
                    <a:cubicBezTo>
                      <a:pt x="10236" y="6883"/>
                      <a:pt x="10166" y="6842"/>
                      <a:pt x="10114" y="6812"/>
                    </a:cubicBezTo>
                    <a:cubicBezTo>
                      <a:pt x="10088" y="6797"/>
                      <a:pt x="10067" y="6784"/>
                      <a:pt x="10052" y="6776"/>
                    </a:cubicBezTo>
                    <a:cubicBezTo>
                      <a:pt x="10044" y="6771"/>
                      <a:pt x="10038" y="6768"/>
                      <a:pt x="10034" y="6766"/>
                    </a:cubicBezTo>
                    <a:cubicBezTo>
                      <a:pt x="10032" y="6765"/>
                      <a:pt x="10031" y="6764"/>
                      <a:pt x="10030" y="6763"/>
                    </a:cubicBezTo>
                    <a:cubicBezTo>
                      <a:pt x="10029" y="6763"/>
                      <a:pt x="10029" y="6763"/>
                      <a:pt x="10029" y="6763"/>
                    </a:cubicBezTo>
                    <a:cubicBezTo>
                      <a:pt x="10029" y="6763"/>
                      <a:pt x="10029" y="6763"/>
                      <a:pt x="10029" y="6763"/>
                    </a:cubicBezTo>
                    <a:cubicBezTo>
                      <a:pt x="10014" y="6757"/>
                      <a:pt x="10009" y="6749"/>
                      <a:pt x="10000" y="6738"/>
                    </a:cubicBezTo>
                    <a:cubicBezTo>
                      <a:pt x="9975" y="6704"/>
                      <a:pt x="9947" y="6633"/>
                      <a:pt x="9947" y="6504"/>
                    </a:cubicBezTo>
                    <a:cubicBezTo>
                      <a:pt x="9947" y="6493"/>
                      <a:pt x="9947" y="6482"/>
                      <a:pt x="9947" y="6471"/>
                    </a:cubicBezTo>
                    <a:cubicBezTo>
                      <a:pt x="9952" y="6336"/>
                      <a:pt x="9976" y="6021"/>
                      <a:pt x="9976" y="5765"/>
                    </a:cubicBezTo>
                    <a:cubicBezTo>
                      <a:pt x="9976" y="5661"/>
                      <a:pt x="9972" y="5566"/>
                      <a:pt x="9961" y="5499"/>
                    </a:cubicBezTo>
                    <a:cubicBezTo>
                      <a:pt x="9943" y="5383"/>
                      <a:pt x="9856" y="5033"/>
                      <a:pt x="9773" y="4715"/>
                    </a:cubicBezTo>
                    <a:cubicBezTo>
                      <a:pt x="9700" y="4435"/>
                      <a:pt x="9631" y="4179"/>
                      <a:pt x="9615" y="4121"/>
                    </a:cubicBezTo>
                    <a:cubicBezTo>
                      <a:pt x="8039" y="4576"/>
                      <a:pt x="8039" y="4576"/>
                      <a:pt x="8039" y="4576"/>
                    </a:cubicBezTo>
                    <a:cubicBezTo>
                      <a:pt x="8348" y="5106"/>
                      <a:pt x="8348" y="5106"/>
                      <a:pt x="8348" y="5106"/>
                    </a:cubicBezTo>
                    <a:cubicBezTo>
                      <a:pt x="8348" y="5108"/>
                      <a:pt x="8348" y="5108"/>
                      <a:pt x="8348" y="5108"/>
                    </a:cubicBezTo>
                    <a:cubicBezTo>
                      <a:pt x="8469" y="5339"/>
                      <a:pt x="8648" y="5796"/>
                      <a:pt x="8669" y="6140"/>
                    </a:cubicBezTo>
                    <a:cubicBezTo>
                      <a:pt x="8675" y="6248"/>
                      <a:pt x="8677" y="6386"/>
                      <a:pt x="8677" y="6528"/>
                    </a:cubicBezTo>
                    <a:close/>
                    <a:moveTo>
                      <a:pt x="8203" y="7966"/>
                    </a:moveTo>
                    <a:cubicBezTo>
                      <a:pt x="8252" y="7960"/>
                      <a:pt x="8306" y="7952"/>
                      <a:pt x="8356" y="7943"/>
                    </a:cubicBezTo>
                    <a:cubicBezTo>
                      <a:pt x="8318" y="7909"/>
                      <a:pt x="8197" y="7787"/>
                      <a:pt x="8083" y="7672"/>
                    </a:cubicBezTo>
                    <a:cubicBezTo>
                      <a:pt x="8006" y="7700"/>
                      <a:pt x="7933" y="7728"/>
                      <a:pt x="7909" y="7737"/>
                    </a:cubicBezTo>
                    <a:cubicBezTo>
                      <a:pt x="8133" y="7975"/>
                      <a:pt x="8133" y="7975"/>
                      <a:pt x="8133" y="7975"/>
                    </a:cubicBezTo>
                    <a:cubicBezTo>
                      <a:pt x="8146" y="7973"/>
                      <a:pt x="8160" y="7972"/>
                      <a:pt x="8174" y="7970"/>
                    </a:cubicBezTo>
                    <a:cubicBezTo>
                      <a:pt x="8179" y="7969"/>
                      <a:pt x="8184" y="7969"/>
                      <a:pt x="8188" y="7968"/>
                    </a:cubicBezTo>
                    <a:cubicBezTo>
                      <a:pt x="8091" y="7863"/>
                      <a:pt x="8091" y="7863"/>
                      <a:pt x="8091" y="7863"/>
                    </a:cubicBezTo>
                    <a:cubicBezTo>
                      <a:pt x="8147" y="7812"/>
                      <a:pt x="8147" y="7812"/>
                      <a:pt x="8147" y="7812"/>
                    </a:cubicBezTo>
                    <a:cubicBezTo>
                      <a:pt x="8151" y="7817"/>
                      <a:pt x="8151" y="7817"/>
                      <a:pt x="8151" y="7817"/>
                    </a:cubicBezTo>
                    <a:cubicBezTo>
                      <a:pt x="8250" y="7923"/>
                      <a:pt x="8250" y="7923"/>
                      <a:pt x="8250" y="7923"/>
                    </a:cubicBezTo>
                    <a:lnTo>
                      <a:pt x="8203" y="7966"/>
                    </a:lnTo>
                    <a:close/>
                    <a:moveTo>
                      <a:pt x="8231" y="7922"/>
                    </a:moveTo>
                    <a:cubicBezTo>
                      <a:pt x="8146" y="7830"/>
                      <a:pt x="8146" y="7830"/>
                      <a:pt x="8146" y="7830"/>
                    </a:cubicBezTo>
                    <a:cubicBezTo>
                      <a:pt x="8110" y="7864"/>
                      <a:pt x="8110" y="7864"/>
                      <a:pt x="8110" y="7864"/>
                    </a:cubicBezTo>
                    <a:cubicBezTo>
                      <a:pt x="8195" y="7956"/>
                      <a:pt x="8195" y="7956"/>
                      <a:pt x="8195" y="7956"/>
                    </a:cubicBezTo>
                    <a:lnTo>
                      <a:pt x="8231" y="7922"/>
                    </a:lnTo>
                    <a:close/>
                    <a:moveTo>
                      <a:pt x="5957" y="9750"/>
                    </a:moveTo>
                    <a:cubicBezTo>
                      <a:pt x="5998" y="9636"/>
                      <a:pt x="5998" y="9636"/>
                      <a:pt x="5998" y="9636"/>
                    </a:cubicBezTo>
                    <a:cubicBezTo>
                      <a:pt x="5871" y="9616"/>
                      <a:pt x="5871" y="9616"/>
                      <a:pt x="5871" y="9616"/>
                    </a:cubicBezTo>
                    <a:cubicBezTo>
                      <a:pt x="5824" y="9745"/>
                      <a:pt x="5824" y="9745"/>
                      <a:pt x="5824" y="9745"/>
                    </a:cubicBezTo>
                    <a:cubicBezTo>
                      <a:pt x="5869" y="9747"/>
                      <a:pt x="5916" y="9749"/>
                      <a:pt x="5957" y="9750"/>
                    </a:cubicBezTo>
                    <a:close/>
                    <a:moveTo>
                      <a:pt x="5819" y="9759"/>
                    </a:moveTo>
                    <a:cubicBezTo>
                      <a:pt x="5775" y="9881"/>
                      <a:pt x="5775" y="9881"/>
                      <a:pt x="5775" y="9881"/>
                    </a:cubicBezTo>
                    <a:cubicBezTo>
                      <a:pt x="5893" y="9926"/>
                      <a:pt x="5893" y="9926"/>
                      <a:pt x="5893" y="9926"/>
                    </a:cubicBezTo>
                    <a:cubicBezTo>
                      <a:pt x="5952" y="9764"/>
                      <a:pt x="5952" y="9764"/>
                      <a:pt x="5952" y="9764"/>
                    </a:cubicBezTo>
                    <a:cubicBezTo>
                      <a:pt x="5911" y="9762"/>
                      <a:pt x="5863" y="9761"/>
                      <a:pt x="5819" y="9759"/>
                    </a:cubicBezTo>
                    <a:close/>
                    <a:moveTo>
                      <a:pt x="5380" y="9668"/>
                    </a:moveTo>
                    <a:cubicBezTo>
                      <a:pt x="5383" y="9620"/>
                      <a:pt x="5384" y="9574"/>
                      <a:pt x="5384" y="9539"/>
                    </a:cubicBezTo>
                    <a:cubicBezTo>
                      <a:pt x="5384" y="9521"/>
                      <a:pt x="5384" y="9506"/>
                      <a:pt x="5383" y="9494"/>
                    </a:cubicBezTo>
                    <a:cubicBezTo>
                      <a:pt x="5379" y="9436"/>
                      <a:pt x="5355" y="9367"/>
                      <a:pt x="5332" y="9309"/>
                    </a:cubicBezTo>
                    <a:cubicBezTo>
                      <a:pt x="5308" y="9249"/>
                      <a:pt x="5284" y="9204"/>
                      <a:pt x="5278" y="9179"/>
                    </a:cubicBezTo>
                    <a:cubicBezTo>
                      <a:pt x="5275" y="9166"/>
                      <a:pt x="5260" y="9142"/>
                      <a:pt x="5246" y="9124"/>
                    </a:cubicBezTo>
                    <a:cubicBezTo>
                      <a:pt x="5241" y="9117"/>
                      <a:pt x="5236" y="9111"/>
                      <a:pt x="5232" y="9106"/>
                    </a:cubicBezTo>
                    <a:cubicBezTo>
                      <a:pt x="5162" y="9155"/>
                      <a:pt x="5075" y="9199"/>
                      <a:pt x="4967" y="9218"/>
                    </a:cubicBezTo>
                    <a:cubicBezTo>
                      <a:pt x="5123" y="9674"/>
                      <a:pt x="5123" y="9674"/>
                      <a:pt x="5123" y="9674"/>
                    </a:cubicBezTo>
                    <a:cubicBezTo>
                      <a:pt x="5250" y="9671"/>
                      <a:pt x="5349" y="9669"/>
                      <a:pt x="5380" y="9668"/>
                    </a:cubicBezTo>
                    <a:close/>
                    <a:moveTo>
                      <a:pt x="5184" y="9686"/>
                    </a:moveTo>
                    <a:cubicBezTo>
                      <a:pt x="5171" y="10071"/>
                      <a:pt x="5171" y="10071"/>
                      <a:pt x="5171" y="10071"/>
                    </a:cubicBezTo>
                    <a:cubicBezTo>
                      <a:pt x="5232" y="10061"/>
                      <a:pt x="5292" y="10052"/>
                      <a:pt x="5351" y="10044"/>
                    </a:cubicBezTo>
                    <a:cubicBezTo>
                      <a:pt x="5354" y="10011"/>
                      <a:pt x="5361" y="9943"/>
                      <a:pt x="5367" y="9864"/>
                    </a:cubicBezTo>
                    <a:cubicBezTo>
                      <a:pt x="5371" y="9805"/>
                      <a:pt x="5376" y="9742"/>
                      <a:pt x="5379" y="9682"/>
                    </a:cubicBezTo>
                    <a:cubicBezTo>
                      <a:pt x="5353" y="9683"/>
                      <a:pt x="5280" y="9684"/>
                      <a:pt x="5184" y="9686"/>
                    </a:cubicBezTo>
                    <a:close/>
                    <a:moveTo>
                      <a:pt x="4530" y="9774"/>
                    </a:moveTo>
                    <a:cubicBezTo>
                      <a:pt x="4483" y="9790"/>
                      <a:pt x="4483" y="9790"/>
                      <a:pt x="4483" y="9790"/>
                    </a:cubicBezTo>
                    <a:cubicBezTo>
                      <a:pt x="4535" y="9954"/>
                      <a:pt x="4535" y="9954"/>
                      <a:pt x="4535" y="9954"/>
                    </a:cubicBezTo>
                    <a:cubicBezTo>
                      <a:pt x="4582" y="9939"/>
                      <a:pt x="4582" y="9939"/>
                      <a:pt x="4582" y="9939"/>
                    </a:cubicBezTo>
                    <a:cubicBezTo>
                      <a:pt x="4558" y="9867"/>
                      <a:pt x="4558" y="9867"/>
                      <a:pt x="4558" y="9867"/>
                    </a:cubicBezTo>
                    <a:cubicBezTo>
                      <a:pt x="4628" y="9844"/>
                      <a:pt x="4628" y="9844"/>
                      <a:pt x="4628" y="9844"/>
                    </a:cubicBezTo>
                    <a:cubicBezTo>
                      <a:pt x="4592" y="9735"/>
                      <a:pt x="4592" y="9735"/>
                      <a:pt x="4592" y="9735"/>
                    </a:cubicBezTo>
                    <a:cubicBezTo>
                      <a:pt x="4525" y="9757"/>
                      <a:pt x="4525" y="9757"/>
                      <a:pt x="4525" y="9757"/>
                    </a:cubicBezTo>
                    <a:cubicBezTo>
                      <a:pt x="4528" y="9768"/>
                      <a:pt x="4528" y="9768"/>
                      <a:pt x="4528" y="9768"/>
                    </a:cubicBezTo>
                    <a:lnTo>
                      <a:pt x="4530" y="9774"/>
                    </a:lnTo>
                    <a:close/>
                    <a:moveTo>
                      <a:pt x="4527" y="9971"/>
                    </a:moveTo>
                    <a:cubicBezTo>
                      <a:pt x="4627" y="10188"/>
                      <a:pt x="4627" y="10188"/>
                      <a:pt x="4627" y="10188"/>
                    </a:cubicBezTo>
                    <a:cubicBezTo>
                      <a:pt x="4661" y="10179"/>
                      <a:pt x="4694" y="10171"/>
                      <a:pt x="4727" y="10163"/>
                    </a:cubicBezTo>
                    <a:cubicBezTo>
                      <a:pt x="4641" y="9698"/>
                      <a:pt x="4641" y="9698"/>
                      <a:pt x="4641" y="9698"/>
                    </a:cubicBezTo>
                    <a:cubicBezTo>
                      <a:pt x="4545" y="9700"/>
                      <a:pt x="4460" y="9702"/>
                      <a:pt x="4405" y="9703"/>
                    </a:cubicBezTo>
                    <a:cubicBezTo>
                      <a:pt x="4524" y="9964"/>
                      <a:pt x="4524" y="9964"/>
                      <a:pt x="4524" y="9964"/>
                    </a:cubicBezTo>
                    <a:cubicBezTo>
                      <a:pt x="4467" y="9781"/>
                      <a:pt x="4467" y="9781"/>
                      <a:pt x="4467" y="9781"/>
                    </a:cubicBezTo>
                    <a:cubicBezTo>
                      <a:pt x="4514" y="9766"/>
                      <a:pt x="4514" y="9766"/>
                      <a:pt x="4514" y="9766"/>
                    </a:cubicBezTo>
                    <a:cubicBezTo>
                      <a:pt x="4510" y="9755"/>
                      <a:pt x="4510" y="9755"/>
                      <a:pt x="4510" y="9755"/>
                    </a:cubicBezTo>
                    <a:cubicBezTo>
                      <a:pt x="4508" y="9749"/>
                      <a:pt x="4508" y="9749"/>
                      <a:pt x="4508" y="9749"/>
                    </a:cubicBezTo>
                    <a:cubicBezTo>
                      <a:pt x="4600" y="9718"/>
                      <a:pt x="4600" y="9718"/>
                      <a:pt x="4600" y="9718"/>
                    </a:cubicBezTo>
                    <a:cubicBezTo>
                      <a:pt x="4644" y="9852"/>
                      <a:pt x="4644" y="9852"/>
                      <a:pt x="4644" y="9852"/>
                    </a:cubicBezTo>
                    <a:cubicBezTo>
                      <a:pt x="4575" y="9875"/>
                      <a:pt x="4575" y="9875"/>
                      <a:pt x="4575" y="9875"/>
                    </a:cubicBezTo>
                    <a:cubicBezTo>
                      <a:pt x="4598" y="9947"/>
                      <a:pt x="4598" y="9947"/>
                      <a:pt x="4598" y="9947"/>
                    </a:cubicBezTo>
                    <a:lnTo>
                      <a:pt x="4527" y="9971"/>
                    </a:lnTo>
                    <a:close/>
                    <a:moveTo>
                      <a:pt x="3556" y="10129"/>
                    </a:moveTo>
                    <a:cubicBezTo>
                      <a:pt x="3558" y="10126"/>
                      <a:pt x="3558" y="10126"/>
                      <a:pt x="3558" y="10126"/>
                    </a:cubicBezTo>
                    <a:cubicBezTo>
                      <a:pt x="3558" y="10126"/>
                      <a:pt x="3558" y="10126"/>
                      <a:pt x="3558" y="10126"/>
                    </a:cubicBezTo>
                    <a:cubicBezTo>
                      <a:pt x="3554" y="10130"/>
                      <a:pt x="3554" y="10130"/>
                      <a:pt x="3554" y="10130"/>
                    </a:cubicBezTo>
                    <a:cubicBezTo>
                      <a:pt x="3554" y="10133"/>
                      <a:pt x="3554" y="10133"/>
                      <a:pt x="3554" y="10133"/>
                    </a:cubicBezTo>
                    <a:cubicBezTo>
                      <a:pt x="3558" y="10127"/>
                      <a:pt x="3558" y="10127"/>
                      <a:pt x="3558" y="10127"/>
                    </a:cubicBezTo>
                    <a:lnTo>
                      <a:pt x="3556" y="10129"/>
                    </a:lnTo>
                    <a:close/>
                    <a:moveTo>
                      <a:pt x="3559" y="10125"/>
                    </a:moveTo>
                    <a:cubicBezTo>
                      <a:pt x="3695" y="9904"/>
                      <a:pt x="3695" y="9904"/>
                      <a:pt x="3695" y="9904"/>
                    </a:cubicBezTo>
                    <a:cubicBezTo>
                      <a:pt x="3696" y="9903"/>
                      <a:pt x="3696" y="9903"/>
                      <a:pt x="3696" y="9903"/>
                    </a:cubicBezTo>
                    <a:cubicBezTo>
                      <a:pt x="3696" y="9903"/>
                      <a:pt x="4166" y="9598"/>
                      <a:pt x="4257" y="9539"/>
                    </a:cubicBezTo>
                    <a:cubicBezTo>
                      <a:pt x="4138" y="9280"/>
                      <a:pt x="4138" y="9280"/>
                      <a:pt x="4138" y="9280"/>
                    </a:cubicBezTo>
                    <a:cubicBezTo>
                      <a:pt x="4025" y="9007"/>
                      <a:pt x="4025" y="9007"/>
                      <a:pt x="4025" y="9007"/>
                    </a:cubicBezTo>
                    <a:cubicBezTo>
                      <a:pt x="3977" y="9019"/>
                      <a:pt x="3860" y="9051"/>
                      <a:pt x="3748" y="9086"/>
                    </a:cubicBezTo>
                    <a:cubicBezTo>
                      <a:pt x="3637" y="9121"/>
                      <a:pt x="3571" y="9160"/>
                      <a:pt x="3529" y="9199"/>
                    </a:cubicBezTo>
                    <a:cubicBezTo>
                      <a:pt x="3610" y="9299"/>
                      <a:pt x="3945" y="9737"/>
                      <a:pt x="3945" y="9737"/>
                    </a:cubicBezTo>
                    <a:cubicBezTo>
                      <a:pt x="3934" y="9745"/>
                      <a:pt x="3934" y="9745"/>
                      <a:pt x="3934" y="9745"/>
                    </a:cubicBezTo>
                    <a:cubicBezTo>
                      <a:pt x="3933" y="9744"/>
                      <a:pt x="3827" y="9605"/>
                      <a:pt x="3720" y="9467"/>
                    </a:cubicBezTo>
                    <a:cubicBezTo>
                      <a:pt x="3666" y="9397"/>
                      <a:pt x="3612" y="9327"/>
                      <a:pt x="3571" y="9275"/>
                    </a:cubicBezTo>
                    <a:cubicBezTo>
                      <a:pt x="3551" y="9249"/>
                      <a:pt x="3534" y="9227"/>
                      <a:pt x="3522" y="9212"/>
                    </a:cubicBezTo>
                    <a:cubicBezTo>
                      <a:pt x="3521" y="9211"/>
                      <a:pt x="3520" y="9210"/>
                      <a:pt x="3519" y="9209"/>
                    </a:cubicBezTo>
                    <a:cubicBezTo>
                      <a:pt x="3512" y="9216"/>
                      <a:pt x="3506" y="9223"/>
                      <a:pt x="3501" y="9230"/>
                    </a:cubicBezTo>
                    <a:cubicBezTo>
                      <a:pt x="3463" y="9280"/>
                      <a:pt x="3453" y="9332"/>
                      <a:pt x="3438" y="9387"/>
                    </a:cubicBezTo>
                    <a:cubicBezTo>
                      <a:pt x="3414" y="9476"/>
                      <a:pt x="3404" y="9657"/>
                      <a:pt x="3342" y="9788"/>
                    </a:cubicBezTo>
                    <a:cubicBezTo>
                      <a:pt x="3356" y="9807"/>
                      <a:pt x="3406" y="9885"/>
                      <a:pt x="3456" y="9964"/>
                    </a:cubicBezTo>
                    <a:cubicBezTo>
                      <a:pt x="3482" y="10005"/>
                      <a:pt x="3508" y="10046"/>
                      <a:pt x="3527" y="10076"/>
                    </a:cubicBezTo>
                    <a:cubicBezTo>
                      <a:pt x="3537" y="10091"/>
                      <a:pt x="3545" y="10104"/>
                      <a:pt x="3551" y="10113"/>
                    </a:cubicBezTo>
                    <a:cubicBezTo>
                      <a:pt x="3554" y="10117"/>
                      <a:pt x="3556" y="10121"/>
                      <a:pt x="3557" y="10123"/>
                    </a:cubicBezTo>
                    <a:cubicBezTo>
                      <a:pt x="3558" y="10124"/>
                      <a:pt x="3559" y="10125"/>
                      <a:pt x="3559" y="10125"/>
                    </a:cubicBezTo>
                    <a:close/>
                    <a:moveTo>
                      <a:pt x="3151" y="10298"/>
                    </a:moveTo>
                    <a:cubicBezTo>
                      <a:pt x="3153" y="10298"/>
                      <a:pt x="3159" y="10295"/>
                      <a:pt x="3168" y="10292"/>
                    </a:cubicBezTo>
                    <a:cubicBezTo>
                      <a:pt x="3098" y="10003"/>
                      <a:pt x="3098" y="10003"/>
                      <a:pt x="3098" y="10003"/>
                    </a:cubicBezTo>
                    <a:cubicBezTo>
                      <a:pt x="3055" y="10025"/>
                      <a:pt x="2998" y="10054"/>
                      <a:pt x="2919" y="10097"/>
                    </a:cubicBezTo>
                    <a:cubicBezTo>
                      <a:pt x="2809" y="10158"/>
                      <a:pt x="2695" y="10187"/>
                      <a:pt x="2595" y="10200"/>
                    </a:cubicBezTo>
                    <a:cubicBezTo>
                      <a:pt x="2814" y="10490"/>
                      <a:pt x="2814" y="10490"/>
                      <a:pt x="2814" y="10490"/>
                    </a:cubicBezTo>
                    <a:cubicBezTo>
                      <a:pt x="2834" y="10479"/>
                      <a:pt x="2905" y="10437"/>
                      <a:pt x="2977" y="10396"/>
                    </a:cubicBezTo>
                    <a:cubicBezTo>
                      <a:pt x="3019" y="10372"/>
                      <a:pt x="3061" y="10347"/>
                      <a:pt x="3093" y="10329"/>
                    </a:cubicBezTo>
                    <a:cubicBezTo>
                      <a:pt x="3109" y="10320"/>
                      <a:pt x="3123" y="10312"/>
                      <a:pt x="3133" y="10307"/>
                    </a:cubicBezTo>
                    <a:cubicBezTo>
                      <a:pt x="3138" y="10304"/>
                      <a:pt x="3142" y="10302"/>
                      <a:pt x="3144" y="10301"/>
                    </a:cubicBezTo>
                    <a:cubicBezTo>
                      <a:pt x="3148" y="10299"/>
                      <a:pt x="3147" y="10299"/>
                      <a:pt x="3151" y="10298"/>
                    </a:cubicBezTo>
                    <a:close/>
                    <a:moveTo>
                      <a:pt x="2746" y="10510"/>
                    </a:moveTo>
                    <a:cubicBezTo>
                      <a:pt x="2801" y="10496"/>
                      <a:pt x="2801" y="10496"/>
                      <a:pt x="2801" y="10496"/>
                    </a:cubicBezTo>
                    <a:cubicBezTo>
                      <a:pt x="2580" y="10202"/>
                      <a:pt x="2580" y="10202"/>
                      <a:pt x="2580" y="10202"/>
                    </a:cubicBezTo>
                    <a:cubicBezTo>
                      <a:pt x="2536" y="10206"/>
                      <a:pt x="2496" y="10208"/>
                      <a:pt x="2461" y="10208"/>
                    </a:cubicBezTo>
                    <a:cubicBezTo>
                      <a:pt x="2403" y="10208"/>
                      <a:pt x="2361" y="10203"/>
                      <a:pt x="2336" y="10199"/>
                    </a:cubicBezTo>
                    <a:cubicBezTo>
                      <a:pt x="2269" y="10536"/>
                      <a:pt x="2269" y="10536"/>
                      <a:pt x="2269" y="10536"/>
                    </a:cubicBezTo>
                    <a:cubicBezTo>
                      <a:pt x="2493" y="10576"/>
                      <a:pt x="2493" y="10576"/>
                      <a:pt x="2493" y="10576"/>
                    </a:cubicBezTo>
                    <a:cubicBezTo>
                      <a:pt x="2540" y="10564"/>
                      <a:pt x="2540" y="10564"/>
                      <a:pt x="2540" y="10564"/>
                    </a:cubicBezTo>
                    <a:cubicBezTo>
                      <a:pt x="2534" y="10560"/>
                      <a:pt x="2534" y="10560"/>
                      <a:pt x="2534" y="10560"/>
                    </a:cubicBezTo>
                    <a:cubicBezTo>
                      <a:pt x="2555" y="10560"/>
                      <a:pt x="2555" y="10560"/>
                      <a:pt x="2555" y="10560"/>
                    </a:cubicBezTo>
                    <a:cubicBezTo>
                      <a:pt x="2743" y="10511"/>
                      <a:pt x="2743" y="10511"/>
                      <a:pt x="2743" y="10511"/>
                    </a:cubicBezTo>
                    <a:cubicBezTo>
                      <a:pt x="2733" y="10511"/>
                      <a:pt x="2733" y="10511"/>
                      <a:pt x="2733" y="10511"/>
                    </a:cubicBezTo>
                    <a:cubicBezTo>
                      <a:pt x="2652" y="10515"/>
                      <a:pt x="2652" y="10515"/>
                      <a:pt x="2652" y="10515"/>
                    </a:cubicBezTo>
                    <a:cubicBezTo>
                      <a:pt x="2467" y="10240"/>
                      <a:pt x="2467" y="10240"/>
                      <a:pt x="2467" y="10240"/>
                    </a:cubicBezTo>
                    <a:cubicBezTo>
                      <a:pt x="2549" y="10236"/>
                      <a:pt x="2549" y="10236"/>
                      <a:pt x="2549" y="10236"/>
                    </a:cubicBezTo>
                    <a:lnTo>
                      <a:pt x="2746" y="10510"/>
                    </a:lnTo>
                    <a:close/>
                    <a:moveTo>
                      <a:pt x="2542" y="10251"/>
                    </a:moveTo>
                    <a:cubicBezTo>
                      <a:pt x="2494" y="10253"/>
                      <a:pt x="2494" y="10253"/>
                      <a:pt x="2494" y="10253"/>
                    </a:cubicBezTo>
                    <a:cubicBezTo>
                      <a:pt x="2660" y="10500"/>
                      <a:pt x="2660" y="10500"/>
                      <a:pt x="2660" y="10500"/>
                    </a:cubicBezTo>
                    <a:cubicBezTo>
                      <a:pt x="2719" y="10497"/>
                      <a:pt x="2719" y="10497"/>
                      <a:pt x="2719" y="10497"/>
                    </a:cubicBezTo>
                    <a:lnTo>
                      <a:pt x="2542" y="10251"/>
                    </a:lnTo>
                    <a:close/>
                    <a:moveTo>
                      <a:pt x="637" y="7202"/>
                    </a:moveTo>
                    <a:cubicBezTo>
                      <a:pt x="635" y="7202"/>
                      <a:pt x="614" y="7222"/>
                      <a:pt x="586" y="7250"/>
                    </a:cubicBezTo>
                    <a:cubicBezTo>
                      <a:pt x="519" y="7317"/>
                      <a:pt x="407" y="7433"/>
                      <a:pt x="366" y="7476"/>
                    </a:cubicBezTo>
                    <a:cubicBezTo>
                      <a:pt x="613" y="7819"/>
                      <a:pt x="613" y="7819"/>
                      <a:pt x="613" y="7819"/>
                    </a:cubicBezTo>
                    <a:cubicBezTo>
                      <a:pt x="851" y="7565"/>
                      <a:pt x="851" y="7565"/>
                      <a:pt x="851" y="7565"/>
                    </a:cubicBezTo>
                    <a:cubicBezTo>
                      <a:pt x="851" y="7565"/>
                      <a:pt x="851" y="7565"/>
                      <a:pt x="851" y="7565"/>
                    </a:cubicBezTo>
                    <a:cubicBezTo>
                      <a:pt x="854" y="7563"/>
                      <a:pt x="854" y="7563"/>
                      <a:pt x="854" y="7563"/>
                    </a:cubicBezTo>
                    <a:cubicBezTo>
                      <a:pt x="856" y="7560"/>
                      <a:pt x="856" y="7560"/>
                      <a:pt x="856" y="7560"/>
                    </a:cubicBezTo>
                    <a:cubicBezTo>
                      <a:pt x="856" y="7560"/>
                      <a:pt x="856" y="7560"/>
                      <a:pt x="856" y="7560"/>
                    </a:cubicBezTo>
                    <a:cubicBezTo>
                      <a:pt x="884" y="7535"/>
                      <a:pt x="884" y="7535"/>
                      <a:pt x="884" y="7535"/>
                    </a:cubicBezTo>
                    <a:cubicBezTo>
                      <a:pt x="920" y="7448"/>
                      <a:pt x="920" y="7448"/>
                      <a:pt x="920" y="7448"/>
                    </a:cubicBezTo>
                    <a:cubicBezTo>
                      <a:pt x="880" y="7413"/>
                      <a:pt x="759" y="7307"/>
                      <a:pt x="637" y="7200"/>
                    </a:cubicBezTo>
                    <a:cubicBezTo>
                      <a:pt x="637" y="7200"/>
                      <a:pt x="636" y="7199"/>
                      <a:pt x="635" y="7199"/>
                    </a:cubicBezTo>
                    <a:lnTo>
                      <a:pt x="637" y="7202"/>
                    </a:lnTo>
                    <a:close/>
                    <a:moveTo>
                      <a:pt x="537" y="6042"/>
                    </a:moveTo>
                    <a:cubicBezTo>
                      <a:pt x="589" y="5946"/>
                      <a:pt x="589" y="5946"/>
                      <a:pt x="589" y="5946"/>
                    </a:cubicBezTo>
                    <a:cubicBezTo>
                      <a:pt x="475" y="5881"/>
                      <a:pt x="475" y="5881"/>
                      <a:pt x="475" y="5881"/>
                    </a:cubicBezTo>
                    <a:cubicBezTo>
                      <a:pt x="423" y="5977"/>
                      <a:pt x="423" y="5977"/>
                      <a:pt x="423" y="5977"/>
                    </a:cubicBezTo>
                    <a:lnTo>
                      <a:pt x="537" y="6042"/>
                    </a:lnTo>
                    <a:close/>
                    <a:moveTo>
                      <a:pt x="416" y="5990"/>
                    </a:moveTo>
                    <a:cubicBezTo>
                      <a:pt x="380" y="6056"/>
                      <a:pt x="380" y="6056"/>
                      <a:pt x="380" y="6056"/>
                    </a:cubicBezTo>
                    <a:cubicBezTo>
                      <a:pt x="495" y="6119"/>
                      <a:pt x="495" y="6119"/>
                      <a:pt x="495" y="6119"/>
                    </a:cubicBezTo>
                    <a:cubicBezTo>
                      <a:pt x="530" y="6055"/>
                      <a:pt x="530" y="6055"/>
                      <a:pt x="530" y="6055"/>
                    </a:cubicBezTo>
                    <a:lnTo>
                      <a:pt x="416" y="5990"/>
                    </a:lnTo>
                    <a:close/>
                    <a:moveTo>
                      <a:pt x="5209" y="3369"/>
                    </a:moveTo>
                    <a:cubicBezTo>
                      <a:pt x="5051" y="3735"/>
                      <a:pt x="5051" y="3735"/>
                      <a:pt x="5051" y="3735"/>
                    </a:cubicBezTo>
                    <a:cubicBezTo>
                      <a:pt x="5172" y="3771"/>
                      <a:pt x="5292" y="3810"/>
                      <a:pt x="5395" y="3854"/>
                    </a:cubicBezTo>
                    <a:cubicBezTo>
                      <a:pt x="5588" y="3938"/>
                      <a:pt x="5696" y="4065"/>
                      <a:pt x="5959" y="4211"/>
                    </a:cubicBezTo>
                    <a:cubicBezTo>
                      <a:pt x="6054" y="4264"/>
                      <a:pt x="6109" y="4353"/>
                      <a:pt x="6140" y="4446"/>
                    </a:cubicBezTo>
                    <a:cubicBezTo>
                      <a:pt x="6171" y="4538"/>
                      <a:pt x="6178" y="4636"/>
                      <a:pt x="6178" y="4713"/>
                    </a:cubicBezTo>
                    <a:cubicBezTo>
                      <a:pt x="6178" y="4761"/>
                      <a:pt x="6176" y="4800"/>
                      <a:pt x="6173" y="4826"/>
                    </a:cubicBezTo>
                    <a:cubicBezTo>
                      <a:pt x="7756" y="4896"/>
                      <a:pt x="7756" y="4896"/>
                      <a:pt x="7756" y="4896"/>
                    </a:cubicBezTo>
                    <a:cubicBezTo>
                      <a:pt x="7644" y="4747"/>
                      <a:pt x="7514" y="4605"/>
                      <a:pt x="7393" y="4471"/>
                    </a:cubicBezTo>
                    <a:cubicBezTo>
                      <a:pt x="7287" y="4354"/>
                      <a:pt x="7188" y="4242"/>
                      <a:pt x="7113" y="4132"/>
                    </a:cubicBezTo>
                    <a:cubicBezTo>
                      <a:pt x="7038" y="4022"/>
                      <a:pt x="6984" y="3911"/>
                      <a:pt x="6984" y="3791"/>
                    </a:cubicBezTo>
                    <a:cubicBezTo>
                      <a:pt x="6984" y="3774"/>
                      <a:pt x="6985" y="3756"/>
                      <a:pt x="6988" y="3738"/>
                    </a:cubicBezTo>
                    <a:cubicBezTo>
                      <a:pt x="7004" y="3625"/>
                      <a:pt x="7055" y="3533"/>
                      <a:pt x="7120" y="3462"/>
                    </a:cubicBezTo>
                    <a:cubicBezTo>
                      <a:pt x="7182" y="3395"/>
                      <a:pt x="7256" y="3346"/>
                      <a:pt x="7329" y="3308"/>
                    </a:cubicBezTo>
                    <a:cubicBezTo>
                      <a:pt x="7319" y="3287"/>
                      <a:pt x="7307" y="3263"/>
                      <a:pt x="7293" y="3240"/>
                    </a:cubicBezTo>
                    <a:cubicBezTo>
                      <a:pt x="7259" y="3176"/>
                      <a:pt x="7212" y="3111"/>
                      <a:pt x="7180" y="3087"/>
                    </a:cubicBezTo>
                    <a:cubicBezTo>
                      <a:pt x="7089" y="3015"/>
                      <a:pt x="6968" y="2994"/>
                      <a:pt x="6856" y="2969"/>
                    </a:cubicBezTo>
                    <a:cubicBezTo>
                      <a:pt x="6745" y="2944"/>
                      <a:pt x="6183" y="2800"/>
                      <a:pt x="6004" y="2747"/>
                    </a:cubicBezTo>
                    <a:cubicBezTo>
                      <a:pt x="5916" y="2720"/>
                      <a:pt x="5738" y="2667"/>
                      <a:pt x="5582" y="2621"/>
                    </a:cubicBezTo>
                    <a:cubicBezTo>
                      <a:pt x="5482" y="2591"/>
                      <a:pt x="5391" y="2564"/>
                      <a:pt x="5338" y="2549"/>
                    </a:cubicBezTo>
                    <a:cubicBezTo>
                      <a:pt x="5303" y="2675"/>
                      <a:pt x="5214" y="2949"/>
                      <a:pt x="5200" y="2991"/>
                    </a:cubicBezTo>
                    <a:lnTo>
                      <a:pt x="5209" y="3369"/>
                    </a:lnTo>
                    <a:close/>
                    <a:moveTo>
                      <a:pt x="10644" y="2975"/>
                    </a:moveTo>
                    <a:cubicBezTo>
                      <a:pt x="10605" y="2823"/>
                      <a:pt x="10566" y="2673"/>
                      <a:pt x="10533" y="2553"/>
                    </a:cubicBezTo>
                    <a:cubicBezTo>
                      <a:pt x="10417" y="2588"/>
                      <a:pt x="10274" y="2630"/>
                      <a:pt x="10114" y="2675"/>
                    </a:cubicBezTo>
                    <a:cubicBezTo>
                      <a:pt x="9663" y="2803"/>
                      <a:pt x="9082" y="2961"/>
                      <a:pt x="8606" y="3090"/>
                    </a:cubicBezTo>
                    <a:cubicBezTo>
                      <a:pt x="8368" y="3154"/>
                      <a:pt x="8156" y="3211"/>
                      <a:pt x="8000" y="3254"/>
                    </a:cubicBezTo>
                    <a:cubicBezTo>
                      <a:pt x="7922" y="3275"/>
                      <a:pt x="7858" y="3292"/>
                      <a:pt x="7812" y="3305"/>
                    </a:cubicBezTo>
                    <a:cubicBezTo>
                      <a:pt x="7789" y="3312"/>
                      <a:pt x="7771" y="3317"/>
                      <a:pt x="7758" y="3321"/>
                    </a:cubicBezTo>
                    <a:cubicBezTo>
                      <a:pt x="7751" y="3323"/>
                      <a:pt x="7746" y="3325"/>
                      <a:pt x="7742" y="3326"/>
                    </a:cubicBezTo>
                    <a:cubicBezTo>
                      <a:pt x="7740" y="3327"/>
                      <a:pt x="7739" y="3327"/>
                      <a:pt x="7738" y="3327"/>
                    </a:cubicBezTo>
                    <a:cubicBezTo>
                      <a:pt x="7721" y="3334"/>
                      <a:pt x="7703" y="3339"/>
                      <a:pt x="7680" y="3346"/>
                    </a:cubicBezTo>
                    <a:cubicBezTo>
                      <a:pt x="7641" y="3357"/>
                      <a:pt x="7589" y="3371"/>
                      <a:pt x="7532" y="3391"/>
                    </a:cubicBezTo>
                    <a:cubicBezTo>
                      <a:pt x="7934" y="4397"/>
                      <a:pt x="7934" y="4397"/>
                      <a:pt x="7934" y="4397"/>
                    </a:cubicBezTo>
                    <a:cubicBezTo>
                      <a:pt x="8004" y="4518"/>
                      <a:pt x="8004" y="4518"/>
                      <a:pt x="8004" y="4518"/>
                    </a:cubicBezTo>
                    <a:cubicBezTo>
                      <a:pt x="10822" y="3705"/>
                      <a:pt x="10822" y="3705"/>
                      <a:pt x="10822" y="3705"/>
                    </a:cubicBezTo>
                    <a:cubicBezTo>
                      <a:pt x="10821" y="3699"/>
                      <a:pt x="10820" y="3693"/>
                      <a:pt x="10818" y="3687"/>
                    </a:cubicBezTo>
                    <a:cubicBezTo>
                      <a:pt x="10783" y="3544"/>
                      <a:pt x="10715" y="3256"/>
                      <a:pt x="10644" y="2975"/>
                    </a:cubicBezTo>
                    <a:close/>
                    <a:moveTo>
                      <a:pt x="10708" y="2959"/>
                    </a:moveTo>
                    <a:cubicBezTo>
                      <a:pt x="10716" y="2947"/>
                      <a:pt x="10716" y="2947"/>
                      <a:pt x="10716" y="2947"/>
                    </a:cubicBezTo>
                    <a:cubicBezTo>
                      <a:pt x="10708" y="2959"/>
                      <a:pt x="10708" y="2959"/>
                      <a:pt x="10708" y="2959"/>
                    </a:cubicBezTo>
                    <a:cubicBezTo>
                      <a:pt x="10708" y="2959"/>
                      <a:pt x="10708" y="2959"/>
                      <a:pt x="10708" y="2959"/>
                    </a:cubicBezTo>
                    <a:close/>
                    <a:moveTo>
                      <a:pt x="6257" y="8540"/>
                    </a:moveTo>
                    <a:cubicBezTo>
                      <a:pt x="6209" y="8675"/>
                      <a:pt x="6209" y="8675"/>
                      <a:pt x="6209" y="8675"/>
                    </a:cubicBezTo>
                    <a:cubicBezTo>
                      <a:pt x="6338" y="8689"/>
                      <a:pt x="6338" y="8689"/>
                      <a:pt x="6338" y="8689"/>
                    </a:cubicBezTo>
                    <a:cubicBezTo>
                      <a:pt x="6391" y="8542"/>
                      <a:pt x="6391" y="8542"/>
                      <a:pt x="6391" y="8542"/>
                    </a:cubicBezTo>
                    <a:lnTo>
                      <a:pt x="6257" y="8540"/>
                    </a:lnTo>
                    <a:close/>
                    <a:moveTo>
                      <a:pt x="6396" y="8528"/>
                    </a:moveTo>
                    <a:cubicBezTo>
                      <a:pt x="6429" y="8437"/>
                      <a:pt x="6429" y="8437"/>
                      <a:pt x="6429" y="8437"/>
                    </a:cubicBezTo>
                    <a:cubicBezTo>
                      <a:pt x="6311" y="8392"/>
                      <a:pt x="6311" y="8392"/>
                      <a:pt x="6311" y="8392"/>
                    </a:cubicBezTo>
                    <a:cubicBezTo>
                      <a:pt x="6262" y="8526"/>
                      <a:pt x="6262" y="8526"/>
                      <a:pt x="6262" y="8526"/>
                    </a:cubicBezTo>
                    <a:lnTo>
                      <a:pt x="6396" y="8528"/>
                    </a:lnTo>
                    <a:close/>
                    <a:moveTo>
                      <a:pt x="6053" y="9483"/>
                    </a:moveTo>
                    <a:cubicBezTo>
                      <a:pt x="6098" y="9357"/>
                      <a:pt x="6098" y="9357"/>
                      <a:pt x="6098" y="9357"/>
                    </a:cubicBezTo>
                    <a:cubicBezTo>
                      <a:pt x="5972" y="9335"/>
                      <a:pt x="5972" y="9335"/>
                      <a:pt x="5972" y="9335"/>
                    </a:cubicBezTo>
                    <a:cubicBezTo>
                      <a:pt x="5926" y="9463"/>
                      <a:pt x="5926" y="9463"/>
                      <a:pt x="5926" y="9463"/>
                    </a:cubicBezTo>
                    <a:lnTo>
                      <a:pt x="6053" y="9483"/>
                    </a:lnTo>
                    <a:close/>
                    <a:moveTo>
                      <a:pt x="5921" y="9477"/>
                    </a:moveTo>
                    <a:cubicBezTo>
                      <a:pt x="5876" y="9602"/>
                      <a:pt x="5876" y="9602"/>
                      <a:pt x="5876" y="9602"/>
                    </a:cubicBezTo>
                    <a:cubicBezTo>
                      <a:pt x="6002" y="9623"/>
                      <a:pt x="6002" y="9623"/>
                      <a:pt x="6002" y="9623"/>
                    </a:cubicBezTo>
                    <a:cubicBezTo>
                      <a:pt x="6048" y="9496"/>
                      <a:pt x="6048" y="9496"/>
                      <a:pt x="6048" y="9496"/>
                    </a:cubicBezTo>
                    <a:lnTo>
                      <a:pt x="5921" y="9477"/>
                    </a:lnTo>
                    <a:close/>
                    <a:moveTo>
                      <a:pt x="4568" y="8625"/>
                    </a:moveTo>
                    <a:cubicBezTo>
                      <a:pt x="4568" y="8594"/>
                      <a:pt x="4572" y="8363"/>
                      <a:pt x="4573" y="8293"/>
                    </a:cubicBezTo>
                    <a:cubicBezTo>
                      <a:pt x="4494" y="8298"/>
                      <a:pt x="4415" y="8306"/>
                      <a:pt x="4337" y="8317"/>
                    </a:cubicBezTo>
                    <a:cubicBezTo>
                      <a:pt x="4441" y="8711"/>
                      <a:pt x="4441" y="8711"/>
                      <a:pt x="4441" y="8711"/>
                    </a:cubicBezTo>
                    <a:cubicBezTo>
                      <a:pt x="4428" y="8714"/>
                      <a:pt x="4428" y="8714"/>
                      <a:pt x="4428" y="8714"/>
                    </a:cubicBezTo>
                    <a:cubicBezTo>
                      <a:pt x="4323" y="8319"/>
                      <a:pt x="4323" y="8319"/>
                      <a:pt x="4323" y="8319"/>
                    </a:cubicBezTo>
                    <a:cubicBezTo>
                      <a:pt x="4155" y="8344"/>
                      <a:pt x="3994" y="8384"/>
                      <a:pt x="3862" y="8446"/>
                    </a:cubicBezTo>
                    <a:cubicBezTo>
                      <a:pt x="4076" y="8960"/>
                      <a:pt x="4076" y="8960"/>
                      <a:pt x="4076" y="8960"/>
                    </a:cubicBezTo>
                    <a:lnTo>
                      <a:pt x="4568" y="8625"/>
                    </a:lnTo>
                    <a:close/>
                    <a:moveTo>
                      <a:pt x="4082" y="8973"/>
                    </a:moveTo>
                    <a:cubicBezTo>
                      <a:pt x="4193" y="9241"/>
                      <a:pt x="4193" y="9241"/>
                      <a:pt x="4193" y="9241"/>
                    </a:cubicBezTo>
                    <a:cubicBezTo>
                      <a:pt x="4246" y="9238"/>
                      <a:pt x="4351" y="9232"/>
                      <a:pt x="4471" y="9223"/>
                    </a:cubicBezTo>
                    <a:cubicBezTo>
                      <a:pt x="4480" y="8701"/>
                      <a:pt x="4480" y="8701"/>
                      <a:pt x="4480" y="8701"/>
                    </a:cubicBezTo>
                    <a:lnTo>
                      <a:pt x="4082" y="8973"/>
                    </a:lnTo>
                    <a:close/>
                    <a:moveTo>
                      <a:pt x="4485" y="9222"/>
                    </a:moveTo>
                    <a:cubicBezTo>
                      <a:pt x="4577" y="9215"/>
                      <a:pt x="4677" y="9207"/>
                      <a:pt x="4768" y="9198"/>
                    </a:cubicBezTo>
                    <a:cubicBezTo>
                      <a:pt x="4667" y="8654"/>
                      <a:pt x="4667" y="8654"/>
                      <a:pt x="4667" y="8654"/>
                    </a:cubicBezTo>
                    <a:cubicBezTo>
                      <a:pt x="4621" y="8645"/>
                      <a:pt x="4586" y="8638"/>
                      <a:pt x="4576" y="8636"/>
                    </a:cubicBezTo>
                    <a:cubicBezTo>
                      <a:pt x="4495" y="8692"/>
                      <a:pt x="4495" y="8692"/>
                      <a:pt x="4495" y="8692"/>
                    </a:cubicBezTo>
                    <a:lnTo>
                      <a:pt x="4485" y="9222"/>
                    </a:lnTo>
                    <a:close/>
                    <a:moveTo>
                      <a:pt x="4755" y="8297"/>
                    </a:moveTo>
                    <a:cubicBezTo>
                      <a:pt x="4753" y="8285"/>
                      <a:pt x="4753" y="8285"/>
                      <a:pt x="4753" y="8285"/>
                    </a:cubicBezTo>
                    <a:cubicBezTo>
                      <a:pt x="4699" y="8286"/>
                      <a:pt x="4643" y="8289"/>
                      <a:pt x="4587" y="8292"/>
                    </a:cubicBezTo>
                    <a:cubicBezTo>
                      <a:pt x="4586" y="8359"/>
                      <a:pt x="4582" y="8585"/>
                      <a:pt x="4582" y="8623"/>
                    </a:cubicBezTo>
                    <a:cubicBezTo>
                      <a:pt x="4606" y="8628"/>
                      <a:pt x="4705" y="8647"/>
                      <a:pt x="4806" y="8666"/>
                    </a:cubicBezTo>
                    <a:cubicBezTo>
                      <a:pt x="4811" y="8667"/>
                      <a:pt x="4816" y="8668"/>
                      <a:pt x="4821" y="8669"/>
                    </a:cubicBezTo>
                    <a:cubicBezTo>
                      <a:pt x="4761" y="8328"/>
                      <a:pt x="4761" y="8328"/>
                      <a:pt x="4761" y="8328"/>
                    </a:cubicBezTo>
                    <a:cubicBezTo>
                      <a:pt x="4760" y="8445"/>
                      <a:pt x="4760" y="8445"/>
                      <a:pt x="4760" y="8445"/>
                    </a:cubicBezTo>
                    <a:cubicBezTo>
                      <a:pt x="4753" y="8445"/>
                      <a:pt x="4753" y="8445"/>
                      <a:pt x="4753" y="8445"/>
                    </a:cubicBezTo>
                    <a:cubicBezTo>
                      <a:pt x="4655" y="8444"/>
                      <a:pt x="4655" y="8444"/>
                      <a:pt x="4655" y="8444"/>
                    </a:cubicBezTo>
                    <a:cubicBezTo>
                      <a:pt x="4657" y="8296"/>
                      <a:pt x="4657" y="8296"/>
                      <a:pt x="4657" y="8296"/>
                    </a:cubicBezTo>
                    <a:lnTo>
                      <a:pt x="4755" y="8297"/>
                    </a:lnTo>
                    <a:close/>
                    <a:moveTo>
                      <a:pt x="4669" y="8309"/>
                    </a:moveTo>
                    <a:cubicBezTo>
                      <a:pt x="4668" y="8431"/>
                      <a:pt x="4668" y="8431"/>
                      <a:pt x="4668" y="8431"/>
                    </a:cubicBezTo>
                    <a:cubicBezTo>
                      <a:pt x="4747" y="8432"/>
                      <a:pt x="4747" y="8432"/>
                      <a:pt x="4747" y="8432"/>
                    </a:cubicBezTo>
                    <a:cubicBezTo>
                      <a:pt x="4748" y="8310"/>
                      <a:pt x="4748" y="8310"/>
                      <a:pt x="4748" y="8310"/>
                    </a:cubicBezTo>
                    <a:lnTo>
                      <a:pt x="4669" y="8309"/>
                    </a:lnTo>
                    <a:close/>
                    <a:moveTo>
                      <a:pt x="4782" y="9196"/>
                    </a:moveTo>
                    <a:cubicBezTo>
                      <a:pt x="4844" y="9190"/>
                      <a:pt x="4902" y="9183"/>
                      <a:pt x="4948" y="9176"/>
                    </a:cubicBezTo>
                    <a:cubicBezTo>
                      <a:pt x="4958" y="8709"/>
                      <a:pt x="4958" y="8709"/>
                      <a:pt x="4958" y="8709"/>
                    </a:cubicBezTo>
                    <a:cubicBezTo>
                      <a:pt x="4880" y="8695"/>
                      <a:pt x="4765" y="8673"/>
                      <a:pt x="4682" y="8657"/>
                    </a:cubicBezTo>
                    <a:lnTo>
                      <a:pt x="4782" y="9196"/>
                    </a:lnTo>
                    <a:close/>
                    <a:moveTo>
                      <a:pt x="5045" y="8711"/>
                    </a:moveTo>
                    <a:cubicBezTo>
                      <a:pt x="5045" y="8710"/>
                      <a:pt x="5045" y="8710"/>
                      <a:pt x="5045" y="8710"/>
                    </a:cubicBezTo>
                    <a:cubicBezTo>
                      <a:pt x="5045" y="8710"/>
                      <a:pt x="5045" y="8710"/>
                      <a:pt x="5045" y="8710"/>
                    </a:cubicBezTo>
                    <a:cubicBezTo>
                      <a:pt x="5045" y="8710"/>
                      <a:pt x="5045" y="8710"/>
                      <a:pt x="5045" y="8710"/>
                    </a:cubicBezTo>
                    <a:cubicBezTo>
                      <a:pt x="5071" y="8288"/>
                      <a:pt x="5071" y="8288"/>
                      <a:pt x="5071" y="8288"/>
                    </a:cubicBezTo>
                    <a:cubicBezTo>
                      <a:pt x="5009" y="8286"/>
                      <a:pt x="4939" y="8284"/>
                      <a:pt x="4864" y="8284"/>
                    </a:cubicBezTo>
                    <a:cubicBezTo>
                      <a:pt x="4861" y="8284"/>
                      <a:pt x="4857" y="8284"/>
                      <a:pt x="4854" y="8284"/>
                    </a:cubicBezTo>
                    <a:cubicBezTo>
                      <a:pt x="4826" y="8284"/>
                      <a:pt x="4797" y="8284"/>
                      <a:pt x="4767" y="8285"/>
                    </a:cubicBezTo>
                    <a:cubicBezTo>
                      <a:pt x="4836" y="8672"/>
                      <a:pt x="4836" y="8672"/>
                      <a:pt x="4836" y="8672"/>
                    </a:cubicBezTo>
                    <a:cubicBezTo>
                      <a:pt x="4940" y="8692"/>
                      <a:pt x="5040" y="8711"/>
                      <a:pt x="5045" y="8711"/>
                    </a:cubicBezTo>
                    <a:close/>
                    <a:moveTo>
                      <a:pt x="5879" y="8535"/>
                    </a:moveTo>
                    <a:cubicBezTo>
                      <a:pt x="5880" y="8521"/>
                      <a:pt x="5880" y="8521"/>
                      <a:pt x="5880" y="8521"/>
                    </a:cubicBezTo>
                    <a:cubicBezTo>
                      <a:pt x="5885" y="8521"/>
                      <a:pt x="5885" y="8521"/>
                      <a:pt x="5885" y="8521"/>
                    </a:cubicBezTo>
                    <a:cubicBezTo>
                      <a:pt x="5888" y="8509"/>
                      <a:pt x="5891" y="8498"/>
                      <a:pt x="5894" y="8487"/>
                    </a:cubicBezTo>
                    <a:cubicBezTo>
                      <a:pt x="5870" y="8484"/>
                      <a:pt x="5501" y="8423"/>
                      <a:pt x="5419" y="8409"/>
                    </a:cubicBezTo>
                    <a:cubicBezTo>
                      <a:pt x="5425" y="8442"/>
                      <a:pt x="5432" y="8477"/>
                      <a:pt x="5437" y="8511"/>
                    </a:cubicBezTo>
                    <a:cubicBezTo>
                      <a:pt x="5503" y="8519"/>
                      <a:pt x="5834" y="8579"/>
                      <a:pt x="5869" y="8585"/>
                    </a:cubicBezTo>
                    <a:cubicBezTo>
                      <a:pt x="5873" y="8570"/>
                      <a:pt x="5877" y="8555"/>
                      <a:pt x="5880" y="8540"/>
                    </a:cubicBezTo>
                    <a:cubicBezTo>
                      <a:pt x="5881" y="8538"/>
                      <a:pt x="5881" y="8537"/>
                      <a:pt x="5882" y="8535"/>
                    </a:cubicBezTo>
                    <a:lnTo>
                      <a:pt x="5879" y="8535"/>
                    </a:lnTo>
                    <a:close/>
                    <a:moveTo>
                      <a:pt x="5808" y="8892"/>
                    </a:moveTo>
                    <a:cubicBezTo>
                      <a:pt x="5811" y="8878"/>
                      <a:pt x="5811" y="8878"/>
                      <a:pt x="5811" y="8878"/>
                    </a:cubicBezTo>
                    <a:cubicBezTo>
                      <a:pt x="6103" y="8931"/>
                      <a:pt x="6103" y="8931"/>
                      <a:pt x="6103" y="8931"/>
                    </a:cubicBezTo>
                    <a:cubicBezTo>
                      <a:pt x="6139" y="8830"/>
                      <a:pt x="6139" y="8830"/>
                      <a:pt x="6139" y="8830"/>
                    </a:cubicBezTo>
                    <a:cubicBezTo>
                      <a:pt x="5833" y="8786"/>
                      <a:pt x="5833" y="8786"/>
                      <a:pt x="5833" y="8786"/>
                    </a:cubicBezTo>
                    <a:cubicBezTo>
                      <a:pt x="5832" y="8789"/>
                      <a:pt x="5832" y="8793"/>
                      <a:pt x="5831" y="8796"/>
                    </a:cubicBezTo>
                    <a:cubicBezTo>
                      <a:pt x="5816" y="8854"/>
                      <a:pt x="5803" y="8905"/>
                      <a:pt x="5793" y="8943"/>
                    </a:cubicBezTo>
                    <a:cubicBezTo>
                      <a:pt x="5788" y="8962"/>
                      <a:pt x="5784" y="8977"/>
                      <a:pt x="5781" y="8987"/>
                    </a:cubicBezTo>
                    <a:cubicBezTo>
                      <a:pt x="5779" y="8993"/>
                      <a:pt x="5778" y="8997"/>
                      <a:pt x="5777" y="9000"/>
                    </a:cubicBezTo>
                    <a:cubicBezTo>
                      <a:pt x="5776" y="9001"/>
                      <a:pt x="5776" y="9002"/>
                      <a:pt x="5775" y="9003"/>
                    </a:cubicBezTo>
                    <a:cubicBezTo>
                      <a:pt x="5775" y="9004"/>
                      <a:pt x="5775" y="9004"/>
                      <a:pt x="5775" y="9004"/>
                    </a:cubicBezTo>
                    <a:cubicBezTo>
                      <a:pt x="5775" y="9006"/>
                      <a:pt x="5776" y="9008"/>
                      <a:pt x="5776" y="9010"/>
                    </a:cubicBezTo>
                    <a:cubicBezTo>
                      <a:pt x="5778" y="9000"/>
                      <a:pt x="5778" y="9000"/>
                      <a:pt x="5778" y="9000"/>
                    </a:cubicBezTo>
                    <a:cubicBezTo>
                      <a:pt x="6056" y="9062"/>
                      <a:pt x="6056" y="9062"/>
                      <a:pt x="6056" y="9062"/>
                    </a:cubicBezTo>
                    <a:cubicBezTo>
                      <a:pt x="6098" y="8944"/>
                      <a:pt x="6098" y="8944"/>
                      <a:pt x="6098" y="8944"/>
                    </a:cubicBezTo>
                    <a:lnTo>
                      <a:pt x="5808" y="8892"/>
                    </a:lnTo>
                    <a:close/>
                    <a:moveTo>
                      <a:pt x="5780" y="8936"/>
                    </a:moveTo>
                    <a:cubicBezTo>
                      <a:pt x="5779" y="8941"/>
                      <a:pt x="5779" y="8941"/>
                      <a:pt x="5779" y="8941"/>
                    </a:cubicBezTo>
                    <a:cubicBezTo>
                      <a:pt x="5783" y="8925"/>
                      <a:pt x="5788" y="8907"/>
                      <a:pt x="5793" y="8887"/>
                    </a:cubicBezTo>
                    <a:cubicBezTo>
                      <a:pt x="5797" y="8870"/>
                      <a:pt x="5802" y="8852"/>
                      <a:pt x="5807" y="8833"/>
                    </a:cubicBezTo>
                    <a:cubicBezTo>
                      <a:pt x="5792" y="8831"/>
                      <a:pt x="5714" y="8817"/>
                      <a:pt x="5635" y="8802"/>
                    </a:cubicBezTo>
                    <a:cubicBezTo>
                      <a:pt x="5592" y="8794"/>
                      <a:pt x="5548" y="8786"/>
                      <a:pt x="5516" y="8780"/>
                    </a:cubicBezTo>
                    <a:cubicBezTo>
                      <a:pt x="5499" y="8777"/>
                      <a:pt x="5486" y="8774"/>
                      <a:pt x="5476" y="8772"/>
                    </a:cubicBezTo>
                    <a:cubicBezTo>
                      <a:pt x="5472" y="8771"/>
                      <a:pt x="5469" y="8771"/>
                      <a:pt x="5466" y="8770"/>
                    </a:cubicBezTo>
                    <a:cubicBezTo>
                      <a:pt x="5466" y="8810"/>
                      <a:pt x="5461" y="8848"/>
                      <a:pt x="5447" y="8881"/>
                    </a:cubicBezTo>
                    <a:cubicBezTo>
                      <a:pt x="5520" y="8893"/>
                      <a:pt x="5779" y="8936"/>
                      <a:pt x="5780" y="8936"/>
                    </a:cubicBezTo>
                    <a:close/>
                    <a:moveTo>
                      <a:pt x="5810" y="8820"/>
                    </a:moveTo>
                    <a:cubicBezTo>
                      <a:pt x="5817" y="8792"/>
                      <a:pt x="5825" y="8762"/>
                      <a:pt x="5833" y="8731"/>
                    </a:cubicBezTo>
                    <a:cubicBezTo>
                      <a:pt x="5461" y="8674"/>
                      <a:pt x="5461" y="8674"/>
                      <a:pt x="5461" y="8674"/>
                    </a:cubicBezTo>
                    <a:cubicBezTo>
                      <a:pt x="5464" y="8702"/>
                      <a:pt x="5466" y="8729"/>
                      <a:pt x="5466" y="8756"/>
                    </a:cubicBezTo>
                    <a:cubicBezTo>
                      <a:pt x="5493" y="8762"/>
                      <a:pt x="5788" y="8816"/>
                      <a:pt x="5810" y="8820"/>
                    </a:cubicBezTo>
                    <a:close/>
                    <a:moveTo>
                      <a:pt x="5836" y="8717"/>
                    </a:moveTo>
                    <a:cubicBezTo>
                      <a:pt x="5846" y="8678"/>
                      <a:pt x="5856" y="8638"/>
                      <a:pt x="5866" y="8599"/>
                    </a:cubicBezTo>
                    <a:cubicBezTo>
                      <a:pt x="5846" y="8595"/>
                      <a:pt x="5753" y="8579"/>
                      <a:pt x="5658" y="8562"/>
                    </a:cubicBezTo>
                    <a:cubicBezTo>
                      <a:pt x="5568" y="8546"/>
                      <a:pt x="5473" y="8530"/>
                      <a:pt x="5440" y="8526"/>
                    </a:cubicBezTo>
                    <a:cubicBezTo>
                      <a:pt x="5447" y="8568"/>
                      <a:pt x="5453" y="8608"/>
                      <a:pt x="5457" y="8638"/>
                    </a:cubicBezTo>
                    <a:cubicBezTo>
                      <a:pt x="5458" y="8645"/>
                      <a:pt x="5458" y="8652"/>
                      <a:pt x="5459" y="8659"/>
                    </a:cubicBezTo>
                    <a:lnTo>
                      <a:pt x="5836" y="8717"/>
                    </a:lnTo>
                    <a:close/>
                    <a:moveTo>
                      <a:pt x="5413" y="8937"/>
                    </a:moveTo>
                    <a:cubicBezTo>
                      <a:pt x="5400" y="8950"/>
                      <a:pt x="5383" y="8970"/>
                      <a:pt x="5361" y="8992"/>
                    </a:cubicBezTo>
                    <a:cubicBezTo>
                      <a:pt x="5406" y="9000"/>
                      <a:pt x="5480" y="9013"/>
                      <a:pt x="5555" y="9025"/>
                    </a:cubicBezTo>
                    <a:cubicBezTo>
                      <a:pt x="5652" y="9042"/>
                      <a:pt x="5750" y="9059"/>
                      <a:pt x="5778" y="9063"/>
                    </a:cubicBezTo>
                    <a:cubicBezTo>
                      <a:pt x="5769" y="9036"/>
                      <a:pt x="5761" y="9012"/>
                      <a:pt x="5761" y="9003"/>
                    </a:cubicBezTo>
                    <a:cubicBezTo>
                      <a:pt x="5761" y="9002"/>
                      <a:pt x="5761" y="9001"/>
                      <a:pt x="5761" y="8999"/>
                    </a:cubicBezTo>
                    <a:cubicBezTo>
                      <a:pt x="5762" y="8999"/>
                      <a:pt x="5762" y="8998"/>
                      <a:pt x="5763" y="8997"/>
                    </a:cubicBezTo>
                    <a:cubicBezTo>
                      <a:pt x="5765" y="8993"/>
                      <a:pt x="5770" y="8976"/>
                      <a:pt x="5777" y="8950"/>
                    </a:cubicBezTo>
                    <a:cubicBezTo>
                      <a:pt x="5772" y="8949"/>
                      <a:pt x="5689" y="8935"/>
                      <a:pt x="5604" y="8921"/>
                    </a:cubicBezTo>
                    <a:cubicBezTo>
                      <a:pt x="5537" y="8910"/>
                      <a:pt x="5469" y="8899"/>
                      <a:pt x="5441" y="8894"/>
                    </a:cubicBezTo>
                    <a:cubicBezTo>
                      <a:pt x="5434" y="8909"/>
                      <a:pt x="5424" y="8924"/>
                      <a:pt x="5413" y="8937"/>
                    </a:cubicBezTo>
                    <a:close/>
                    <a:moveTo>
                      <a:pt x="5800" y="9086"/>
                    </a:moveTo>
                    <a:cubicBezTo>
                      <a:pt x="5810" y="9116"/>
                      <a:pt x="5820" y="9145"/>
                      <a:pt x="5823" y="9154"/>
                    </a:cubicBezTo>
                    <a:cubicBezTo>
                      <a:pt x="6010" y="9189"/>
                      <a:pt x="6010" y="9189"/>
                      <a:pt x="6010" y="9189"/>
                    </a:cubicBezTo>
                    <a:cubicBezTo>
                      <a:pt x="6051" y="9075"/>
                      <a:pt x="6051" y="9075"/>
                      <a:pt x="6051" y="9075"/>
                    </a:cubicBezTo>
                    <a:cubicBezTo>
                      <a:pt x="5777" y="9014"/>
                      <a:pt x="5777" y="9014"/>
                      <a:pt x="5777" y="9014"/>
                    </a:cubicBezTo>
                    <a:cubicBezTo>
                      <a:pt x="5781" y="9029"/>
                      <a:pt x="5790" y="9059"/>
                      <a:pt x="5800" y="9086"/>
                    </a:cubicBezTo>
                    <a:close/>
                    <a:moveTo>
                      <a:pt x="6144" y="8817"/>
                    </a:moveTo>
                    <a:cubicBezTo>
                      <a:pt x="6191" y="8687"/>
                      <a:pt x="6191" y="8687"/>
                      <a:pt x="6191" y="8687"/>
                    </a:cubicBezTo>
                    <a:cubicBezTo>
                      <a:pt x="5866" y="8653"/>
                      <a:pt x="5866" y="8653"/>
                      <a:pt x="5866" y="8653"/>
                    </a:cubicBezTo>
                    <a:cubicBezTo>
                      <a:pt x="5856" y="8693"/>
                      <a:pt x="5846" y="8734"/>
                      <a:pt x="5837" y="8772"/>
                    </a:cubicBezTo>
                    <a:lnTo>
                      <a:pt x="6144" y="8817"/>
                    </a:lnTo>
                    <a:close/>
                    <a:moveTo>
                      <a:pt x="5412" y="8644"/>
                    </a:moveTo>
                    <a:cubicBezTo>
                      <a:pt x="5409" y="8614"/>
                      <a:pt x="5402" y="8574"/>
                      <a:pt x="5395" y="8530"/>
                    </a:cubicBezTo>
                    <a:cubicBezTo>
                      <a:pt x="5367" y="8547"/>
                      <a:pt x="5301" y="8585"/>
                      <a:pt x="5235" y="8623"/>
                    </a:cubicBezTo>
                    <a:cubicBezTo>
                      <a:pt x="5226" y="8628"/>
                      <a:pt x="5217" y="8633"/>
                      <a:pt x="5208" y="8638"/>
                    </a:cubicBezTo>
                    <a:cubicBezTo>
                      <a:pt x="5211" y="8646"/>
                      <a:pt x="5240" y="8723"/>
                      <a:pt x="5271" y="8800"/>
                    </a:cubicBezTo>
                    <a:cubicBezTo>
                      <a:pt x="5287" y="8840"/>
                      <a:pt x="5303" y="8881"/>
                      <a:pt x="5316" y="8912"/>
                    </a:cubicBezTo>
                    <a:cubicBezTo>
                      <a:pt x="5322" y="8927"/>
                      <a:pt x="5327" y="8940"/>
                      <a:pt x="5331" y="8949"/>
                    </a:cubicBezTo>
                    <a:cubicBezTo>
                      <a:pt x="5333" y="8952"/>
                      <a:pt x="5333" y="8953"/>
                      <a:pt x="5334" y="8955"/>
                    </a:cubicBezTo>
                    <a:cubicBezTo>
                      <a:pt x="5353" y="8936"/>
                      <a:pt x="5368" y="8919"/>
                      <a:pt x="5379" y="8906"/>
                    </a:cubicBezTo>
                    <a:cubicBezTo>
                      <a:pt x="5410" y="8873"/>
                      <a:pt x="5422" y="8825"/>
                      <a:pt x="5422" y="8763"/>
                    </a:cubicBezTo>
                    <a:cubicBezTo>
                      <a:pt x="5422" y="8727"/>
                      <a:pt x="5418" y="8686"/>
                      <a:pt x="5412" y="8644"/>
                    </a:cubicBezTo>
                    <a:close/>
                    <a:moveTo>
                      <a:pt x="5329" y="8960"/>
                    </a:moveTo>
                    <a:cubicBezTo>
                      <a:pt x="5329" y="8961"/>
                      <a:pt x="5329" y="8961"/>
                      <a:pt x="5329" y="8961"/>
                    </a:cubicBezTo>
                    <a:cubicBezTo>
                      <a:pt x="5329" y="8961"/>
                      <a:pt x="5329" y="8961"/>
                      <a:pt x="5329" y="8961"/>
                    </a:cubicBezTo>
                    <a:lnTo>
                      <a:pt x="5329" y="8960"/>
                    </a:lnTo>
                    <a:close/>
                    <a:moveTo>
                      <a:pt x="5392" y="8516"/>
                    </a:moveTo>
                    <a:cubicBezTo>
                      <a:pt x="5379" y="8439"/>
                      <a:pt x="5363" y="8355"/>
                      <a:pt x="5354" y="8305"/>
                    </a:cubicBezTo>
                    <a:cubicBezTo>
                      <a:pt x="5275" y="8298"/>
                      <a:pt x="5204" y="8293"/>
                      <a:pt x="5148" y="8291"/>
                    </a:cubicBezTo>
                    <a:cubicBezTo>
                      <a:pt x="5128" y="8290"/>
                      <a:pt x="5107" y="8289"/>
                      <a:pt x="5085" y="8288"/>
                    </a:cubicBezTo>
                    <a:cubicBezTo>
                      <a:pt x="5059" y="8704"/>
                      <a:pt x="5059" y="8704"/>
                      <a:pt x="5059" y="8704"/>
                    </a:cubicBezTo>
                    <a:cubicBezTo>
                      <a:pt x="5091" y="8688"/>
                      <a:pt x="5165" y="8646"/>
                      <a:pt x="5236" y="8606"/>
                    </a:cubicBezTo>
                    <a:cubicBezTo>
                      <a:pt x="5304" y="8567"/>
                      <a:pt x="5369" y="8529"/>
                      <a:pt x="5392" y="8516"/>
                    </a:cubicBezTo>
                    <a:close/>
                    <a:moveTo>
                      <a:pt x="4962" y="9173"/>
                    </a:moveTo>
                    <a:cubicBezTo>
                      <a:pt x="5134" y="9142"/>
                      <a:pt x="5252" y="9041"/>
                      <a:pt x="5324" y="8966"/>
                    </a:cubicBezTo>
                    <a:cubicBezTo>
                      <a:pt x="5315" y="8949"/>
                      <a:pt x="5285" y="8873"/>
                      <a:pt x="5255" y="8797"/>
                    </a:cubicBezTo>
                    <a:cubicBezTo>
                      <a:pt x="5228" y="8728"/>
                      <a:pt x="5202" y="8661"/>
                      <a:pt x="5196" y="8645"/>
                    </a:cubicBezTo>
                    <a:cubicBezTo>
                      <a:pt x="5165" y="8662"/>
                      <a:pt x="5136" y="8679"/>
                      <a:pt x="5111" y="8692"/>
                    </a:cubicBezTo>
                    <a:cubicBezTo>
                      <a:pt x="5094" y="8702"/>
                      <a:pt x="5079" y="8710"/>
                      <a:pt x="5068" y="8715"/>
                    </a:cubicBezTo>
                    <a:cubicBezTo>
                      <a:pt x="5056" y="8721"/>
                      <a:pt x="5051" y="8724"/>
                      <a:pt x="5045" y="8725"/>
                    </a:cubicBezTo>
                    <a:cubicBezTo>
                      <a:pt x="5041" y="8725"/>
                      <a:pt x="5012" y="8720"/>
                      <a:pt x="4972" y="8712"/>
                    </a:cubicBezTo>
                    <a:lnTo>
                      <a:pt x="4962" y="9173"/>
                    </a:lnTo>
                    <a:close/>
                    <a:moveTo>
                      <a:pt x="5268" y="9079"/>
                    </a:moveTo>
                    <a:cubicBezTo>
                      <a:pt x="5279" y="9092"/>
                      <a:pt x="5294" y="9111"/>
                      <a:pt x="5306" y="9133"/>
                    </a:cubicBezTo>
                    <a:cubicBezTo>
                      <a:pt x="5353" y="9142"/>
                      <a:pt x="5440" y="9158"/>
                      <a:pt x="5528" y="9175"/>
                    </a:cubicBezTo>
                    <a:cubicBezTo>
                      <a:pt x="5654" y="9199"/>
                      <a:pt x="5785" y="9223"/>
                      <a:pt x="5792" y="9224"/>
                    </a:cubicBezTo>
                    <a:cubicBezTo>
                      <a:pt x="5792" y="9224"/>
                      <a:pt x="5792" y="9224"/>
                      <a:pt x="5792" y="9224"/>
                    </a:cubicBezTo>
                    <a:cubicBezTo>
                      <a:pt x="5792" y="9225"/>
                      <a:pt x="5792" y="9225"/>
                      <a:pt x="5792" y="9225"/>
                    </a:cubicBezTo>
                    <a:cubicBezTo>
                      <a:pt x="5811" y="9161"/>
                      <a:pt x="5811" y="9161"/>
                      <a:pt x="5811" y="9161"/>
                    </a:cubicBezTo>
                    <a:cubicBezTo>
                      <a:pt x="5808" y="9153"/>
                      <a:pt x="5797" y="9122"/>
                      <a:pt x="5786" y="9090"/>
                    </a:cubicBezTo>
                    <a:cubicBezTo>
                      <a:pt x="5785" y="9086"/>
                      <a:pt x="5784" y="9082"/>
                      <a:pt x="5782" y="9078"/>
                    </a:cubicBezTo>
                    <a:cubicBezTo>
                      <a:pt x="5763" y="9075"/>
                      <a:pt x="5659" y="9057"/>
                      <a:pt x="5552" y="9039"/>
                    </a:cubicBezTo>
                    <a:cubicBezTo>
                      <a:pt x="5473" y="9025"/>
                      <a:pt x="5391" y="9012"/>
                      <a:pt x="5350" y="9005"/>
                    </a:cubicBezTo>
                    <a:cubicBezTo>
                      <a:pt x="5327" y="9028"/>
                      <a:pt x="5300" y="9053"/>
                      <a:pt x="5268" y="9079"/>
                    </a:cubicBezTo>
                    <a:close/>
                    <a:moveTo>
                      <a:pt x="5791" y="9224"/>
                    </a:moveTo>
                    <a:cubicBezTo>
                      <a:pt x="5792" y="9227"/>
                      <a:pt x="5792" y="9227"/>
                      <a:pt x="5792" y="9227"/>
                    </a:cubicBezTo>
                    <a:cubicBezTo>
                      <a:pt x="5792" y="9227"/>
                      <a:pt x="5792" y="9227"/>
                      <a:pt x="5792" y="9227"/>
                    </a:cubicBezTo>
                    <a:lnTo>
                      <a:pt x="5791" y="9224"/>
                    </a:lnTo>
                    <a:close/>
                    <a:moveTo>
                      <a:pt x="5788" y="9290"/>
                    </a:moveTo>
                    <a:cubicBezTo>
                      <a:pt x="5963" y="9320"/>
                      <a:pt x="5963" y="9320"/>
                      <a:pt x="5963" y="9320"/>
                    </a:cubicBezTo>
                    <a:cubicBezTo>
                      <a:pt x="6006" y="9202"/>
                      <a:pt x="6006" y="9202"/>
                      <a:pt x="6006" y="9202"/>
                    </a:cubicBezTo>
                    <a:cubicBezTo>
                      <a:pt x="5823" y="9168"/>
                      <a:pt x="5823" y="9168"/>
                      <a:pt x="5823" y="9168"/>
                    </a:cubicBezTo>
                    <a:lnTo>
                      <a:pt x="5788" y="9290"/>
                    </a:lnTo>
                    <a:close/>
                    <a:moveTo>
                      <a:pt x="6103" y="9344"/>
                    </a:moveTo>
                    <a:cubicBezTo>
                      <a:pt x="6144" y="9228"/>
                      <a:pt x="6144" y="9228"/>
                      <a:pt x="6144" y="9228"/>
                    </a:cubicBezTo>
                    <a:cubicBezTo>
                      <a:pt x="6019" y="9204"/>
                      <a:pt x="6019" y="9204"/>
                      <a:pt x="6019" y="9204"/>
                    </a:cubicBezTo>
                    <a:cubicBezTo>
                      <a:pt x="5976" y="9322"/>
                      <a:pt x="5976" y="9322"/>
                      <a:pt x="5976" y="9322"/>
                    </a:cubicBezTo>
                    <a:lnTo>
                      <a:pt x="6103" y="9344"/>
                    </a:lnTo>
                    <a:close/>
                    <a:moveTo>
                      <a:pt x="6149" y="9214"/>
                    </a:moveTo>
                    <a:cubicBezTo>
                      <a:pt x="6188" y="9106"/>
                      <a:pt x="6188" y="9106"/>
                      <a:pt x="6188" y="9106"/>
                    </a:cubicBezTo>
                    <a:cubicBezTo>
                      <a:pt x="6064" y="9078"/>
                      <a:pt x="6064" y="9078"/>
                      <a:pt x="6064" y="9078"/>
                    </a:cubicBezTo>
                    <a:cubicBezTo>
                      <a:pt x="6023" y="9191"/>
                      <a:pt x="6023" y="9191"/>
                      <a:pt x="6023" y="9191"/>
                    </a:cubicBezTo>
                    <a:lnTo>
                      <a:pt x="6149" y="9214"/>
                    </a:lnTo>
                    <a:close/>
                    <a:moveTo>
                      <a:pt x="6193" y="9092"/>
                    </a:moveTo>
                    <a:cubicBezTo>
                      <a:pt x="6237" y="8969"/>
                      <a:pt x="6237" y="8969"/>
                      <a:pt x="6237" y="8969"/>
                    </a:cubicBezTo>
                    <a:cubicBezTo>
                      <a:pt x="6111" y="8947"/>
                      <a:pt x="6111" y="8947"/>
                      <a:pt x="6111" y="8947"/>
                    </a:cubicBezTo>
                    <a:cubicBezTo>
                      <a:pt x="6069" y="9065"/>
                      <a:pt x="6069" y="9065"/>
                      <a:pt x="6069" y="9065"/>
                    </a:cubicBezTo>
                    <a:lnTo>
                      <a:pt x="6193" y="9092"/>
                    </a:lnTo>
                    <a:close/>
                    <a:moveTo>
                      <a:pt x="6242" y="8956"/>
                    </a:moveTo>
                    <a:cubicBezTo>
                      <a:pt x="6280" y="8851"/>
                      <a:pt x="6280" y="8851"/>
                      <a:pt x="6280" y="8851"/>
                    </a:cubicBezTo>
                    <a:cubicBezTo>
                      <a:pt x="6153" y="8832"/>
                      <a:pt x="6153" y="8832"/>
                      <a:pt x="6153" y="8832"/>
                    </a:cubicBezTo>
                    <a:cubicBezTo>
                      <a:pt x="6116" y="8933"/>
                      <a:pt x="6116" y="8933"/>
                      <a:pt x="6116" y="8933"/>
                    </a:cubicBezTo>
                    <a:lnTo>
                      <a:pt x="6242" y="8956"/>
                    </a:lnTo>
                    <a:close/>
                    <a:moveTo>
                      <a:pt x="6285" y="8837"/>
                    </a:moveTo>
                    <a:cubicBezTo>
                      <a:pt x="6333" y="8703"/>
                      <a:pt x="6333" y="8703"/>
                      <a:pt x="6333" y="8703"/>
                    </a:cubicBezTo>
                    <a:cubicBezTo>
                      <a:pt x="6204" y="8689"/>
                      <a:pt x="6204" y="8689"/>
                      <a:pt x="6204" y="8689"/>
                    </a:cubicBezTo>
                    <a:cubicBezTo>
                      <a:pt x="6157" y="8819"/>
                      <a:pt x="6157" y="8819"/>
                      <a:pt x="6157" y="8819"/>
                    </a:cubicBezTo>
                    <a:lnTo>
                      <a:pt x="6285" y="8837"/>
                    </a:lnTo>
                    <a:close/>
                    <a:moveTo>
                      <a:pt x="6244" y="8540"/>
                    </a:moveTo>
                    <a:cubicBezTo>
                      <a:pt x="5896" y="8535"/>
                      <a:pt x="5896" y="8535"/>
                      <a:pt x="5896" y="8535"/>
                    </a:cubicBezTo>
                    <a:cubicBezTo>
                      <a:pt x="5888" y="8568"/>
                      <a:pt x="5879" y="8603"/>
                      <a:pt x="5870" y="8639"/>
                    </a:cubicBezTo>
                    <a:cubicBezTo>
                      <a:pt x="6195" y="8674"/>
                      <a:pt x="6195" y="8674"/>
                      <a:pt x="6195" y="8674"/>
                    </a:cubicBezTo>
                    <a:lnTo>
                      <a:pt x="6244" y="8540"/>
                    </a:lnTo>
                    <a:close/>
                    <a:moveTo>
                      <a:pt x="5917" y="8395"/>
                    </a:moveTo>
                    <a:cubicBezTo>
                      <a:pt x="5921" y="8376"/>
                      <a:pt x="5925" y="8361"/>
                      <a:pt x="5928" y="8351"/>
                    </a:cubicBezTo>
                    <a:cubicBezTo>
                      <a:pt x="5928" y="8350"/>
                      <a:pt x="5928" y="8350"/>
                      <a:pt x="5928" y="8349"/>
                    </a:cubicBezTo>
                    <a:cubicBezTo>
                      <a:pt x="5757" y="8339"/>
                      <a:pt x="5565" y="8322"/>
                      <a:pt x="5400" y="8308"/>
                    </a:cubicBezTo>
                    <a:cubicBezTo>
                      <a:pt x="5405" y="8332"/>
                      <a:pt x="5411" y="8362"/>
                      <a:pt x="5417" y="8395"/>
                    </a:cubicBezTo>
                    <a:cubicBezTo>
                      <a:pt x="5449" y="8400"/>
                      <a:pt x="5548" y="8416"/>
                      <a:pt x="5648" y="8433"/>
                    </a:cubicBezTo>
                    <a:cubicBezTo>
                      <a:pt x="5769" y="8453"/>
                      <a:pt x="5894" y="8473"/>
                      <a:pt x="5895" y="8473"/>
                    </a:cubicBezTo>
                    <a:cubicBezTo>
                      <a:pt x="5895" y="8481"/>
                      <a:pt x="5895" y="8481"/>
                      <a:pt x="5895" y="8481"/>
                    </a:cubicBezTo>
                    <a:cubicBezTo>
                      <a:pt x="5903" y="8448"/>
                      <a:pt x="5911" y="8418"/>
                      <a:pt x="5917" y="8395"/>
                    </a:cubicBezTo>
                    <a:close/>
                    <a:moveTo>
                      <a:pt x="5933" y="8333"/>
                    </a:moveTo>
                    <a:cubicBezTo>
                      <a:pt x="5933" y="8333"/>
                      <a:pt x="5934" y="8332"/>
                      <a:pt x="5936" y="8330"/>
                    </a:cubicBezTo>
                    <a:cubicBezTo>
                      <a:pt x="5938" y="8333"/>
                      <a:pt x="5938" y="8333"/>
                      <a:pt x="5938" y="8333"/>
                    </a:cubicBezTo>
                    <a:cubicBezTo>
                      <a:pt x="6023" y="8338"/>
                      <a:pt x="6103" y="8342"/>
                      <a:pt x="6170" y="8342"/>
                    </a:cubicBezTo>
                    <a:cubicBezTo>
                      <a:pt x="6213" y="8342"/>
                      <a:pt x="6251" y="8340"/>
                      <a:pt x="6284" y="8337"/>
                    </a:cubicBezTo>
                    <a:cubicBezTo>
                      <a:pt x="6317" y="8334"/>
                      <a:pt x="6343" y="8330"/>
                      <a:pt x="6370" y="8318"/>
                    </a:cubicBezTo>
                    <a:cubicBezTo>
                      <a:pt x="6420" y="8296"/>
                      <a:pt x="6452" y="8254"/>
                      <a:pt x="6473" y="8210"/>
                    </a:cubicBezTo>
                    <a:cubicBezTo>
                      <a:pt x="6480" y="8196"/>
                      <a:pt x="6486" y="8181"/>
                      <a:pt x="6492" y="8166"/>
                    </a:cubicBezTo>
                    <a:cubicBezTo>
                      <a:pt x="6456" y="8163"/>
                      <a:pt x="6413" y="8160"/>
                      <a:pt x="6362" y="8156"/>
                    </a:cubicBezTo>
                    <a:cubicBezTo>
                      <a:pt x="6347" y="8186"/>
                      <a:pt x="6333" y="8200"/>
                      <a:pt x="6320" y="8206"/>
                    </a:cubicBezTo>
                    <a:cubicBezTo>
                      <a:pt x="6318" y="8207"/>
                      <a:pt x="6317" y="8207"/>
                      <a:pt x="6315" y="8208"/>
                    </a:cubicBezTo>
                    <a:cubicBezTo>
                      <a:pt x="6307" y="8210"/>
                      <a:pt x="6292" y="8213"/>
                      <a:pt x="6272" y="8215"/>
                    </a:cubicBezTo>
                    <a:cubicBezTo>
                      <a:pt x="6245" y="8217"/>
                      <a:pt x="6210" y="8219"/>
                      <a:pt x="6170" y="8219"/>
                    </a:cubicBezTo>
                    <a:cubicBezTo>
                      <a:pt x="6170" y="8219"/>
                      <a:pt x="6169" y="8219"/>
                      <a:pt x="6169" y="8219"/>
                    </a:cubicBezTo>
                    <a:cubicBezTo>
                      <a:pt x="5899" y="8219"/>
                      <a:pt x="5401" y="8163"/>
                      <a:pt x="5154" y="8152"/>
                    </a:cubicBezTo>
                    <a:cubicBezTo>
                      <a:pt x="5075" y="8148"/>
                      <a:pt x="4975" y="8145"/>
                      <a:pt x="4864" y="8145"/>
                    </a:cubicBezTo>
                    <a:cubicBezTo>
                      <a:pt x="4811" y="8145"/>
                      <a:pt x="4754" y="8146"/>
                      <a:pt x="4696" y="8148"/>
                    </a:cubicBezTo>
                    <a:cubicBezTo>
                      <a:pt x="4600" y="8164"/>
                      <a:pt x="4506" y="8177"/>
                      <a:pt x="4436" y="8183"/>
                    </a:cubicBezTo>
                    <a:cubicBezTo>
                      <a:pt x="4404" y="8185"/>
                      <a:pt x="4373" y="8186"/>
                      <a:pt x="4344" y="8186"/>
                    </a:cubicBezTo>
                    <a:cubicBezTo>
                      <a:pt x="4321" y="8186"/>
                      <a:pt x="4300" y="8186"/>
                      <a:pt x="4279" y="8185"/>
                    </a:cubicBezTo>
                    <a:cubicBezTo>
                      <a:pt x="4113" y="8210"/>
                      <a:pt x="3950" y="8252"/>
                      <a:pt x="3809" y="8317"/>
                    </a:cubicBezTo>
                    <a:cubicBezTo>
                      <a:pt x="3856" y="8431"/>
                      <a:pt x="3856" y="8431"/>
                      <a:pt x="3856" y="8431"/>
                    </a:cubicBezTo>
                    <a:cubicBezTo>
                      <a:pt x="3989" y="8368"/>
                      <a:pt x="4151" y="8328"/>
                      <a:pt x="4318" y="8303"/>
                    </a:cubicBezTo>
                    <a:cubicBezTo>
                      <a:pt x="4317" y="8297"/>
                      <a:pt x="4317" y="8297"/>
                      <a:pt x="4317" y="8297"/>
                    </a:cubicBezTo>
                    <a:cubicBezTo>
                      <a:pt x="4330" y="8293"/>
                      <a:pt x="4330" y="8293"/>
                      <a:pt x="4330" y="8293"/>
                    </a:cubicBezTo>
                    <a:cubicBezTo>
                      <a:pt x="4332" y="8301"/>
                      <a:pt x="4332" y="8301"/>
                      <a:pt x="4332" y="8301"/>
                    </a:cubicBezTo>
                    <a:cubicBezTo>
                      <a:pt x="4412" y="8290"/>
                      <a:pt x="4493" y="8282"/>
                      <a:pt x="4573" y="8277"/>
                    </a:cubicBezTo>
                    <a:cubicBezTo>
                      <a:pt x="4573" y="8275"/>
                      <a:pt x="4573" y="8273"/>
                      <a:pt x="4573" y="8273"/>
                    </a:cubicBezTo>
                    <a:cubicBezTo>
                      <a:pt x="4587" y="8273"/>
                      <a:pt x="4587" y="8273"/>
                      <a:pt x="4587" y="8273"/>
                    </a:cubicBezTo>
                    <a:cubicBezTo>
                      <a:pt x="4587" y="8273"/>
                      <a:pt x="4587" y="8275"/>
                      <a:pt x="4587" y="8276"/>
                    </a:cubicBezTo>
                    <a:cubicBezTo>
                      <a:pt x="4642" y="8272"/>
                      <a:pt x="4697" y="8270"/>
                      <a:pt x="4750" y="8269"/>
                    </a:cubicBezTo>
                    <a:cubicBezTo>
                      <a:pt x="4749" y="8264"/>
                      <a:pt x="4749" y="8264"/>
                      <a:pt x="4749" y="8264"/>
                    </a:cubicBezTo>
                    <a:cubicBezTo>
                      <a:pt x="4763" y="8262"/>
                      <a:pt x="4763" y="8262"/>
                      <a:pt x="4763" y="8262"/>
                    </a:cubicBezTo>
                    <a:cubicBezTo>
                      <a:pt x="4764" y="8269"/>
                      <a:pt x="4764" y="8269"/>
                      <a:pt x="4764" y="8269"/>
                    </a:cubicBezTo>
                    <a:cubicBezTo>
                      <a:pt x="4795" y="8268"/>
                      <a:pt x="4825" y="8268"/>
                      <a:pt x="4854" y="8268"/>
                    </a:cubicBezTo>
                    <a:cubicBezTo>
                      <a:pt x="4857" y="8268"/>
                      <a:pt x="4861" y="8268"/>
                      <a:pt x="4864" y="8268"/>
                    </a:cubicBezTo>
                    <a:cubicBezTo>
                      <a:pt x="4940" y="8268"/>
                      <a:pt x="5010" y="8269"/>
                      <a:pt x="5072" y="8271"/>
                    </a:cubicBezTo>
                    <a:cubicBezTo>
                      <a:pt x="5072" y="8264"/>
                      <a:pt x="5072" y="8264"/>
                      <a:pt x="5072" y="8264"/>
                    </a:cubicBezTo>
                    <a:cubicBezTo>
                      <a:pt x="5086" y="8265"/>
                      <a:pt x="5086" y="8265"/>
                      <a:pt x="5086" y="8265"/>
                    </a:cubicBezTo>
                    <a:cubicBezTo>
                      <a:pt x="5086" y="8272"/>
                      <a:pt x="5086" y="8272"/>
                      <a:pt x="5086" y="8272"/>
                    </a:cubicBezTo>
                    <a:cubicBezTo>
                      <a:pt x="5108" y="8273"/>
                      <a:pt x="5129" y="8274"/>
                      <a:pt x="5149" y="8274"/>
                    </a:cubicBezTo>
                    <a:cubicBezTo>
                      <a:pt x="5330" y="8283"/>
                      <a:pt x="5661" y="8317"/>
                      <a:pt x="5933" y="8333"/>
                    </a:cubicBezTo>
                    <a:close/>
                    <a:moveTo>
                      <a:pt x="3970" y="7978"/>
                    </a:moveTo>
                    <a:cubicBezTo>
                      <a:pt x="3975" y="7990"/>
                      <a:pt x="3979" y="8001"/>
                      <a:pt x="3983" y="8008"/>
                    </a:cubicBezTo>
                    <a:cubicBezTo>
                      <a:pt x="3985" y="8012"/>
                      <a:pt x="3986" y="8016"/>
                      <a:pt x="3988" y="8018"/>
                    </a:cubicBezTo>
                    <a:cubicBezTo>
                      <a:pt x="3988" y="8020"/>
                      <a:pt x="3989" y="8021"/>
                      <a:pt x="3989" y="8023"/>
                    </a:cubicBezTo>
                    <a:cubicBezTo>
                      <a:pt x="3990" y="8023"/>
                      <a:pt x="3990" y="8024"/>
                      <a:pt x="3990" y="8024"/>
                    </a:cubicBezTo>
                    <a:cubicBezTo>
                      <a:pt x="4015" y="8021"/>
                      <a:pt x="4040" y="8019"/>
                      <a:pt x="4065" y="8019"/>
                    </a:cubicBezTo>
                    <a:cubicBezTo>
                      <a:pt x="4072" y="8019"/>
                      <a:pt x="4079" y="8020"/>
                      <a:pt x="4086" y="8020"/>
                    </a:cubicBezTo>
                    <a:cubicBezTo>
                      <a:pt x="4002" y="7678"/>
                      <a:pt x="4002" y="7678"/>
                      <a:pt x="4002" y="7678"/>
                    </a:cubicBezTo>
                    <a:cubicBezTo>
                      <a:pt x="3926" y="7711"/>
                      <a:pt x="3926" y="7711"/>
                      <a:pt x="3926" y="7711"/>
                    </a:cubicBezTo>
                    <a:cubicBezTo>
                      <a:pt x="3927" y="7742"/>
                      <a:pt x="3932" y="7787"/>
                      <a:pt x="3938" y="7826"/>
                    </a:cubicBezTo>
                    <a:cubicBezTo>
                      <a:pt x="3943" y="7858"/>
                      <a:pt x="3947" y="7886"/>
                      <a:pt x="3949" y="7898"/>
                    </a:cubicBezTo>
                    <a:cubicBezTo>
                      <a:pt x="3950" y="7898"/>
                      <a:pt x="3950" y="7898"/>
                      <a:pt x="3950" y="7898"/>
                    </a:cubicBezTo>
                    <a:cubicBezTo>
                      <a:pt x="3953" y="7926"/>
                      <a:pt x="3960" y="7954"/>
                      <a:pt x="3970" y="7978"/>
                    </a:cubicBezTo>
                    <a:close/>
                    <a:moveTo>
                      <a:pt x="3931" y="8020"/>
                    </a:moveTo>
                    <a:cubicBezTo>
                      <a:pt x="3950" y="8031"/>
                      <a:pt x="3950" y="8031"/>
                      <a:pt x="3950" y="8031"/>
                    </a:cubicBezTo>
                    <a:cubicBezTo>
                      <a:pt x="3950" y="8031"/>
                      <a:pt x="3950" y="8031"/>
                      <a:pt x="3950" y="8031"/>
                    </a:cubicBezTo>
                    <a:lnTo>
                      <a:pt x="3931" y="8020"/>
                    </a:lnTo>
                    <a:close/>
                    <a:moveTo>
                      <a:pt x="3230" y="8421"/>
                    </a:moveTo>
                    <a:cubicBezTo>
                      <a:pt x="3342" y="8150"/>
                      <a:pt x="3342" y="8150"/>
                      <a:pt x="3342" y="8150"/>
                    </a:cubicBezTo>
                    <a:cubicBezTo>
                      <a:pt x="3307" y="8116"/>
                      <a:pt x="3014" y="7827"/>
                      <a:pt x="2972" y="7785"/>
                    </a:cubicBezTo>
                    <a:cubicBezTo>
                      <a:pt x="2676" y="8005"/>
                      <a:pt x="2676" y="8005"/>
                      <a:pt x="2676" y="8005"/>
                    </a:cubicBezTo>
                    <a:cubicBezTo>
                      <a:pt x="3046" y="8526"/>
                      <a:pt x="3046" y="8526"/>
                      <a:pt x="3046" y="8526"/>
                    </a:cubicBezTo>
                    <a:cubicBezTo>
                      <a:pt x="3078" y="8509"/>
                      <a:pt x="3110" y="8492"/>
                      <a:pt x="3141" y="8475"/>
                    </a:cubicBezTo>
                    <a:cubicBezTo>
                      <a:pt x="3174" y="8458"/>
                      <a:pt x="3207" y="8440"/>
                      <a:pt x="3238" y="8424"/>
                    </a:cubicBezTo>
                    <a:lnTo>
                      <a:pt x="3230" y="8421"/>
                    </a:lnTo>
                    <a:close/>
                    <a:moveTo>
                      <a:pt x="2872" y="8618"/>
                    </a:moveTo>
                    <a:cubicBezTo>
                      <a:pt x="2870" y="8620"/>
                      <a:pt x="2870" y="8620"/>
                      <a:pt x="2870" y="8620"/>
                    </a:cubicBezTo>
                    <a:cubicBezTo>
                      <a:pt x="2924" y="8591"/>
                      <a:pt x="2978" y="8562"/>
                      <a:pt x="3031" y="8534"/>
                    </a:cubicBezTo>
                    <a:cubicBezTo>
                      <a:pt x="2660" y="8011"/>
                      <a:pt x="2660" y="8011"/>
                      <a:pt x="2660" y="8011"/>
                    </a:cubicBezTo>
                    <a:cubicBezTo>
                      <a:pt x="2641" y="8006"/>
                      <a:pt x="2514" y="7973"/>
                      <a:pt x="2498" y="7968"/>
                    </a:cubicBezTo>
                    <a:cubicBezTo>
                      <a:pt x="2496" y="7968"/>
                      <a:pt x="2494" y="7967"/>
                      <a:pt x="2492" y="7967"/>
                    </a:cubicBezTo>
                    <a:cubicBezTo>
                      <a:pt x="2287" y="8106"/>
                      <a:pt x="2287" y="8106"/>
                      <a:pt x="2287" y="8106"/>
                    </a:cubicBezTo>
                    <a:cubicBezTo>
                      <a:pt x="2435" y="8413"/>
                      <a:pt x="2435" y="8413"/>
                      <a:pt x="2435" y="8413"/>
                    </a:cubicBezTo>
                    <a:cubicBezTo>
                      <a:pt x="2449" y="8407"/>
                      <a:pt x="2483" y="8394"/>
                      <a:pt x="2518" y="8381"/>
                    </a:cubicBezTo>
                    <a:cubicBezTo>
                      <a:pt x="2559" y="8366"/>
                      <a:pt x="2599" y="8351"/>
                      <a:pt x="2599" y="8351"/>
                    </a:cubicBezTo>
                    <a:cubicBezTo>
                      <a:pt x="2604" y="8349"/>
                      <a:pt x="2604" y="8349"/>
                      <a:pt x="2604" y="8349"/>
                    </a:cubicBezTo>
                    <a:lnTo>
                      <a:pt x="2872" y="8618"/>
                    </a:lnTo>
                    <a:close/>
                    <a:moveTo>
                      <a:pt x="2161" y="8990"/>
                    </a:moveTo>
                    <a:cubicBezTo>
                      <a:pt x="2161" y="8990"/>
                      <a:pt x="2168" y="8987"/>
                      <a:pt x="2179" y="8981"/>
                    </a:cubicBezTo>
                    <a:cubicBezTo>
                      <a:pt x="2154" y="8926"/>
                      <a:pt x="2154" y="8926"/>
                      <a:pt x="2154" y="8926"/>
                    </a:cubicBezTo>
                    <a:cubicBezTo>
                      <a:pt x="2074" y="8966"/>
                      <a:pt x="2074" y="8966"/>
                      <a:pt x="2074" y="8966"/>
                    </a:cubicBezTo>
                    <a:cubicBezTo>
                      <a:pt x="2101" y="9023"/>
                      <a:pt x="2101" y="9023"/>
                      <a:pt x="2101" y="9023"/>
                    </a:cubicBezTo>
                    <a:cubicBezTo>
                      <a:pt x="2162" y="8990"/>
                      <a:pt x="2162" y="8990"/>
                      <a:pt x="2162" y="8990"/>
                    </a:cubicBezTo>
                    <a:lnTo>
                      <a:pt x="2161" y="8990"/>
                    </a:lnTo>
                    <a:close/>
                    <a:moveTo>
                      <a:pt x="1090" y="8331"/>
                    </a:moveTo>
                    <a:cubicBezTo>
                      <a:pt x="1089" y="8336"/>
                      <a:pt x="1089" y="8334"/>
                      <a:pt x="1088" y="8336"/>
                    </a:cubicBezTo>
                    <a:cubicBezTo>
                      <a:pt x="1083" y="8346"/>
                      <a:pt x="1039" y="8413"/>
                      <a:pt x="999" y="8475"/>
                    </a:cubicBezTo>
                    <a:cubicBezTo>
                      <a:pt x="1018" y="8490"/>
                      <a:pt x="1100" y="8552"/>
                      <a:pt x="1182" y="8615"/>
                    </a:cubicBezTo>
                    <a:cubicBezTo>
                      <a:pt x="1229" y="8650"/>
                      <a:pt x="1276" y="8686"/>
                      <a:pt x="1311" y="8713"/>
                    </a:cubicBezTo>
                    <a:cubicBezTo>
                      <a:pt x="1326" y="8725"/>
                      <a:pt x="1339" y="8735"/>
                      <a:pt x="1365" y="8755"/>
                    </a:cubicBezTo>
                    <a:cubicBezTo>
                      <a:pt x="1391" y="8711"/>
                      <a:pt x="1442" y="8622"/>
                      <a:pt x="1494" y="8534"/>
                    </a:cubicBezTo>
                    <a:cubicBezTo>
                      <a:pt x="1505" y="8514"/>
                      <a:pt x="1517" y="8495"/>
                      <a:pt x="1528" y="8475"/>
                    </a:cubicBezTo>
                    <a:cubicBezTo>
                      <a:pt x="1315" y="8318"/>
                      <a:pt x="1315" y="8318"/>
                      <a:pt x="1315" y="8318"/>
                    </a:cubicBezTo>
                    <a:cubicBezTo>
                      <a:pt x="1090" y="8330"/>
                      <a:pt x="1090" y="8330"/>
                      <a:pt x="1090" y="8330"/>
                    </a:cubicBezTo>
                    <a:cubicBezTo>
                      <a:pt x="1090" y="8331"/>
                      <a:pt x="1090" y="8331"/>
                      <a:pt x="1090" y="8331"/>
                    </a:cubicBezTo>
                    <a:close/>
                    <a:moveTo>
                      <a:pt x="1402" y="7149"/>
                    </a:moveTo>
                    <a:cubicBezTo>
                      <a:pt x="1537" y="7145"/>
                      <a:pt x="1537" y="7145"/>
                      <a:pt x="1537" y="7145"/>
                    </a:cubicBezTo>
                    <a:cubicBezTo>
                      <a:pt x="1538" y="7146"/>
                      <a:pt x="1538" y="7146"/>
                      <a:pt x="1538" y="7146"/>
                    </a:cubicBezTo>
                    <a:cubicBezTo>
                      <a:pt x="1538" y="7146"/>
                      <a:pt x="1582" y="7162"/>
                      <a:pt x="1626" y="7179"/>
                    </a:cubicBezTo>
                    <a:cubicBezTo>
                      <a:pt x="1648" y="7187"/>
                      <a:pt x="1670" y="7195"/>
                      <a:pt x="1686" y="7202"/>
                    </a:cubicBezTo>
                    <a:cubicBezTo>
                      <a:pt x="1689" y="7203"/>
                      <a:pt x="1692" y="7204"/>
                      <a:pt x="1721" y="7216"/>
                    </a:cubicBezTo>
                    <a:cubicBezTo>
                      <a:pt x="1721" y="7218"/>
                      <a:pt x="1721" y="7218"/>
                      <a:pt x="1721" y="7218"/>
                    </a:cubicBezTo>
                    <a:cubicBezTo>
                      <a:pt x="1753" y="7169"/>
                      <a:pt x="1789" y="7114"/>
                      <a:pt x="1821" y="7068"/>
                    </a:cubicBezTo>
                    <a:cubicBezTo>
                      <a:pt x="1843" y="7035"/>
                      <a:pt x="1862" y="7007"/>
                      <a:pt x="1878" y="6985"/>
                    </a:cubicBezTo>
                    <a:cubicBezTo>
                      <a:pt x="1881" y="6981"/>
                      <a:pt x="1884" y="6978"/>
                      <a:pt x="1886" y="6974"/>
                    </a:cubicBezTo>
                    <a:cubicBezTo>
                      <a:pt x="1744" y="6891"/>
                      <a:pt x="1532" y="6766"/>
                      <a:pt x="1453" y="6719"/>
                    </a:cubicBezTo>
                    <a:cubicBezTo>
                      <a:pt x="1440" y="6746"/>
                      <a:pt x="1421" y="6786"/>
                      <a:pt x="1398" y="6829"/>
                    </a:cubicBezTo>
                    <a:cubicBezTo>
                      <a:pt x="1379" y="6867"/>
                      <a:pt x="1356" y="6906"/>
                      <a:pt x="1334" y="6940"/>
                    </a:cubicBezTo>
                    <a:cubicBezTo>
                      <a:pt x="1322" y="6958"/>
                      <a:pt x="1310" y="6974"/>
                      <a:pt x="1297" y="6988"/>
                    </a:cubicBezTo>
                    <a:lnTo>
                      <a:pt x="1402" y="7149"/>
                    </a:lnTo>
                    <a:close/>
                    <a:moveTo>
                      <a:pt x="1264" y="7018"/>
                    </a:moveTo>
                    <a:cubicBezTo>
                      <a:pt x="1264" y="7019"/>
                      <a:pt x="1263" y="7019"/>
                      <a:pt x="1263" y="7019"/>
                    </a:cubicBezTo>
                    <a:cubicBezTo>
                      <a:pt x="1215" y="7050"/>
                      <a:pt x="1170" y="7064"/>
                      <a:pt x="1138" y="7071"/>
                    </a:cubicBezTo>
                    <a:cubicBezTo>
                      <a:pt x="1086" y="7212"/>
                      <a:pt x="1086" y="7212"/>
                      <a:pt x="1086" y="7212"/>
                    </a:cubicBezTo>
                    <a:cubicBezTo>
                      <a:pt x="1149" y="7197"/>
                      <a:pt x="1320" y="7158"/>
                      <a:pt x="1351" y="7151"/>
                    </a:cubicBezTo>
                    <a:lnTo>
                      <a:pt x="1264" y="7018"/>
                    </a:lnTo>
                    <a:close/>
                    <a:moveTo>
                      <a:pt x="2087" y="4841"/>
                    </a:moveTo>
                    <a:cubicBezTo>
                      <a:pt x="2344" y="4987"/>
                      <a:pt x="2344" y="4987"/>
                      <a:pt x="2344" y="4987"/>
                    </a:cubicBezTo>
                    <a:cubicBezTo>
                      <a:pt x="2399" y="4889"/>
                      <a:pt x="2399" y="4889"/>
                      <a:pt x="2399" y="4889"/>
                    </a:cubicBezTo>
                    <a:cubicBezTo>
                      <a:pt x="2198" y="4743"/>
                      <a:pt x="2198" y="4743"/>
                      <a:pt x="2198" y="4743"/>
                    </a:cubicBezTo>
                    <a:lnTo>
                      <a:pt x="2087" y="4841"/>
                    </a:lnTo>
                    <a:close/>
                    <a:moveTo>
                      <a:pt x="2186" y="4735"/>
                    </a:moveTo>
                    <a:cubicBezTo>
                      <a:pt x="1921" y="4542"/>
                      <a:pt x="1921" y="4542"/>
                      <a:pt x="1921" y="4542"/>
                    </a:cubicBezTo>
                    <a:cubicBezTo>
                      <a:pt x="1796" y="4674"/>
                      <a:pt x="1796" y="4674"/>
                      <a:pt x="1796" y="4674"/>
                    </a:cubicBezTo>
                    <a:cubicBezTo>
                      <a:pt x="2075" y="4834"/>
                      <a:pt x="2075" y="4834"/>
                      <a:pt x="2075" y="4834"/>
                    </a:cubicBezTo>
                    <a:lnTo>
                      <a:pt x="2186" y="4735"/>
                    </a:lnTo>
                    <a:close/>
                    <a:moveTo>
                      <a:pt x="4153" y="4235"/>
                    </a:moveTo>
                    <a:cubicBezTo>
                      <a:pt x="4153" y="4317"/>
                      <a:pt x="4150" y="4396"/>
                      <a:pt x="4139" y="4456"/>
                    </a:cubicBezTo>
                    <a:cubicBezTo>
                      <a:pt x="4138" y="4462"/>
                      <a:pt x="4137" y="4468"/>
                      <a:pt x="4136" y="4474"/>
                    </a:cubicBezTo>
                    <a:cubicBezTo>
                      <a:pt x="4303" y="4506"/>
                      <a:pt x="4472" y="4537"/>
                      <a:pt x="4485" y="4538"/>
                    </a:cubicBezTo>
                    <a:cubicBezTo>
                      <a:pt x="4485" y="4538"/>
                      <a:pt x="4485" y="4538"/>
                      <a:pt x="4485" y="4538"/>
                    </a:cubicBezTo>
                    <a:cubicBezTo>
                      <a:pt x="4485" y="4538"/>
                      <a:pt x="4485" y="4538"/>
                      <a:pt x="4485" y="4538"/>
                    </a:cubicBezTo>
                    <a:cubicBezTo>
                      <a:pt x="4485" y="4543"/>
                      <a:pt x="4485" y="4543"/>
                      <a:pt x="4485" y="4543"/>
                    </a:cubicBezTo>
                    <a:cubicBezTo>
                      <a:pt x="4484" y="4538"/>
                      <a:pt x="4484" y="4538"/>
                      <a:pt x="4484" y="4538"/>
                    </a:cubicBezTo>
                    <a:cubicBezTo>
                      <a:pt x="4486" y="4547"/>
                      <a:pt x="4486" y="4547"/>
                      <a:pt x="4486" y="4547"/>
                    </a:cubicBezTo>
                    <a:cubicBezTo>
                      <a:pt x="4647" y="4219"/>
                      <a:pt x="4647" y="4219"/>
                      <a:pt x="4647" y="4219"/>
                    </a:cubicBezTo>
                    <a:cubicBezTo>
                      <a:pt x="4151" y="4111"/>
                      <a:pt x="4151" y="4111"/>
                      <a:pt x="4151" y="4111"/>
                    </a:cubicBezTo>
                    <a:cubicBezTo>
                      <a:pt x="4152" y="4151"/>
                      <a:pt x="4153" y="4193"/>
                      <a:pt x="4153" y="4235"/>
                    </a:cubicBezTo>
                    <a:close/>
                    <a:moveTo>
                      <a:pt x="7123" y="3793"/>
                    </a:moveTo>
                    <a:cubicBezTo>
                      <a:pt x="7123" y="3791"/>
                      <a:pt x="7123" y="3791"/>
                      <a:pt x="7123" y="3791"/>
                    </a:cubicBezTo>
                    <a:cubicBezTo>
                      <a:pt x="7123" y="3780"/>
                      <a:pt x="7124" y="3769"/>
                      <a:pt x="7126" y="3758"/>
                    </a:cubicBezTo>
                    <a:cubicBezTo>
                      <a:pt x="7147" y="3614"/>
                      <a:pt x="7240" y="3521"/>
                      <a:pt x="7355" y="3453"/>
                    </a:cubicBezTo>
                    <a:cubicBezTo>
                      <a:pt x="7365" y="3447"/>
                      <a:pt x="7375" y="3442"/>
                      <a:pt x="7386" y="3436"/>
                    </a:cubicBezTo>
                    <a:cubicBezTo>
                      <a:pt x="7371" y="3399"/>
                      <a:pt x="7371" y="3399"/>
                      <a:pt x="7371" y="3399"/>
                    </a:cubicBezTo>
                    <a:cubicBezTo>
                      <a:pt x="7371" y="3399"/>
                      <a:pt x="7370" y="3396"/>
                      <a:pt x="7367" y="3389"/>
                    </a:cubicBezTo>
                    <a:cubicBezTo>
                      <a:pt x="7361" y="3377"/>
                      <a:pt x="7351" y="3352"/>
                      <a:pt x="7336" y="3323"/>
                    </a:cubicBezTo>
                    <a:cubicBezTo>
                      <a:pt x="7264" y="3360"/>
                      <a:pt x="7192" y="3408"/>
                      <a:pt x="7132" y="3473"/>
                    </a:cubicBezTo>
                    <a:cubicBezTo>
                      <a:pt x="7069" y="3542"/>
                      <a:pt x="7020" y="3631"/>
                      <a:pt x="7004" y="3740"/>
                    </a:cubicBezTo>
                    <a:cubicBezTo>
                      <a:pt x="7001" y="3757"/>
                      <a:pt x="7000" y="3774"/>
                      <a:pt x="7000" y="3791"/>
                    </a:cubicBezTo>
                    <a:cubicBezTo>
                      <a:pt x="7001" y="3905"/>
                      <a:pt x="7052" y="4013"/>
                      <a:pt x="7126" y="4122"/>
                    </a:cubicBezTo>
                    <a:cubicBezTo>
                      <a:pt x="7200" y="4231"/>
                      <a:pt x="7299" y="4343"/>
                      <a:pt x="7405" y="4460"/>
                    </a:cubicBezTo>
                    <a:cubicBezTo>
                      <a:pt x="7529" y="4597"/>
                      <a:pt x="7663" y="4743"/>
                      <a:pt x="7777" y="4897"/>
                    </a:cubicBezTo>
                    <a:cubicBezTo>
                      <a:pt x="7933" y="4904"/>
                      <a:pt x="7933" y="4904"/>
                      <a:pt x="7933" y="4904"/>
                    </a:cubicBezTo>
                    <a:cubicBezTo>
                      <a:pt x="7849" y="4782"/>
                      <a:pt x="7754" y="4667"/>
                      <a:pt x="7659" y="4558"/>
                    </a:cubicBezTo>
                    <a:cubicBezTo>
                      <a:pt x="7494" y="4371"/>
                      <a:pt x="7329" y="4202"/>
                      <a:pt x="7228" y="4053"/>
                    </a:cubicBezTo>
                    <a:cubicBezTo>
                      <a:pt x="7160" y="3955"/>
                      <a:pt x="7123" y="3867"/>
                      <a:pt x="7123" y="3793"/>
                    </a:cubicBezTo>
                    <a:close/>
                    <a:moveTo>
                      <a:pt x="6273" y="7417"/>
                    </a:moveTo>
                    <a:cubicBezTo>
                      <a:pt x="6276" y="7404"/>
                      <a:pt x="6276" y="7404"/>
                      <a:pt x="6276" y="7404"/>
                    </a:cubicBezTo>
                    <a:cubicBezTo>
                      <a:pt x="6276" y="7404"/>
                      <a:pt x="6323" y="7414"/>
                      <a:pt x="6370" y="7424"/>
                    </a:cubicBezTo>
                    <a:cubicBezTo>
                      <a:pt x="6394" y="7430"/>
                      <a:pt x="6417" y="7435"/>
                      <a:pt x="6435" y="7439"/>
                    </a:cubicBezTo>
                    <a:cubicBezTo>
                      <a:pt x="6444" y="7441"/>
                      <a:pt x="6451" y="7443"/>
                      <a:pt x="6457" y="7444"/>
                    </a:cubicBezTo>
                    <a:cubicBezTo>
                      <a:pt x="6459" y="7445"/>
                      <a:pt x="6461" y="7446"/>
                      <a:pt x="6463" y="7446"/>
                    </a:cubicBezTo>
                    <a:cubicBezTo>
                      <a:pt x="6464" y="7446"/>
                      <a:pt x="6464" y="7446"/>
                      <a:pt x="6465" y="7447"/>
                    </a:cubicBezTo>
                    <a:cubicBezTo>
                      <a:pt x="6465" y="7447"/>
                      <a:pt x="6466" y="7447"/>
                      <a:pt x="6466" y="7447"/>
                    </a:cubicBezTo>
                    <a:cubicBezTo>
                      <a:pt x="6466" y="7448"/>
                      <a:pt x="6468" y="7447"/>
                      <a:pt x="6469" y="7451"/>
                    </a:cubicBezTo>
                    <a:cubicBezTo>
                      <a:pt x="6478" y="7458"/>
                      <a:pt x="6521" y="7486"/>
                      <a:pt x="6561" y="7511"/>
                    </a:cubicBezTo>
                    <a:cubicBezTo>
                      <a:pt x="6583" y="7525"/>
                      <a:pt x="6605" y="7539"/>
                      <a:pt x="6621" y="7549"/>
                    </a:cubicBezTo>
                    <a:cubicBezTo>
                      <a:pt x="6629" y="7555"/>
                      <a:pt x="6636" y="7559"/>
                      <a:pt x="6641" y="7562"/>
                    </a:cubicBezTo>
                    <a:cubicBezTo>
                      <a:pt x="6643" y="7564"/>
                      <a:pt x="6645" y="7565"/>
                      <a:pt x="6647" y="7566"/>
                    </a:cubicBezTo>
                    <a:cubicBezTo>
                      <a:pt x="6647" y="7567"/>
                      <a:pt x="6648" y="7567"/>
                      <a:pt x="6649" y="7568"/>
                    </a:cubicBezTo>
                    <a:cubicBezTo>
                      <a:pt x="6649" y="7569"/>
                      <a:pt x="6650" y="7568"/>
                      <a:pt x="6651" y="7571"/>
                    </a:cubicBezTo>
                    <a:cubicBezTo>
                      <a:pt x="6693" y="7543"/>
                      <a:pt x="6745" y="7522"/>
                      <a:pt x="6811" y="7502"/>
                    </a:cubicBezTo>
                    <a:cubicBezTo>
                      <a:pt x="6909" y="7474"/>
                      <a:pt x="7045" y="7446"/>
                      <a:pt x="7258" y="7405"/>
                    </a:cubicBezTo>
                    <a:cubicBezTo>
                      <a:pt x="7805" y="7300"/>
                      <a:pt x="8090" y="7037"/>
                      <a:pt x="8205" y="6839"/>
                    </a:cubicBezTo>
                    <a:cubicBezTo>
                      <a:pt x="8229" y="6800"/>
                      <a:pt x="8252" y="6689"/>
                      <a:pt x="8251" y="6546"/>
                    </a:cubicBezTo>
                    <a:cubicBezTo>
                      <a:pt x="8251" y="6543"/>
                      <a:pt x="8251" y="6540"/>
                      <a:pt x="8251" y="6536"/>
                    </a:cubicBezTo>
                    <a:cubicBezTo>
                      <a:pt x="8251" y="6534"/>
                      <a:pt x="8251" y="6534"/>
                      <a:pt x="8251" y="6534"/>
                    </a:cubicBezTo>
                    <a:cubicBezTo>
                      <a:pt x="8251" y="6515"/>
                      <a:pt x="8251" y="6496"/>
                      <a:pt x="8250" y="6476"/>
                    </a:cubicBezTo>
                    <a:cubicBezTo>
                      <a:pt x="8234" y="6474"/>
                      <a:pt x="8218" y="6473"/>
                      <a:pt x="8201" y="6471"/>
                    </a:cubicBezTo>
                    <a:cubicBezTo>
                      <a:pt x="8185" y="6660"/>
                      <a:pt x="8185" y="6660"/>
                      <a:pt x="8185" y="6660"/>
                    </a:cubicBezTo>
                    <a:cubicBezTo>
                      <a:pt x="8144" y="6840"/>
                      <a:pt x="8144" y="6840"/>
                      <a:pt x="8144" y="6840"/>
                    </a:cubicBezTo>
                    <a:cubicBezTo>
                      <a:pt x="8066" y="6975"/>
                      <a:pt x="8066" y="6975"/>
                      <a:pt x="8066" y="6975"/>
                    </a:cubicBezTo>
                    <a:cubicBezTo>
                      <a:pt x="7812" y="7145"/>
                      <a:pt x="7812" y="7145"/>
                      <a:pt x="7812" y="7145"/>
                    </a:cubicBezTo>
                    <a:cubicBezTo>
                      <a:pt x="7549" y="7278"/>
                      <a:pt x="7549" y="7278"/>
                      <a:pt x="7549" y="7278"/>
                    </a:cubicBezTo>
                    <a:cubicBezTo>
                      <a:pt x="7038" y="7396"/>
                      <a:pt x="7038" y="7396"/>
                      <a:pt x="7038" y="7396"/>
                    </a:cubicBezTo>
                    <a:cubicBezTo>
                      <a:pt x="7030" y="7449"/>
                      <a:pt x="7030" y="7449"/>
                      <a:pt x="7030" y="7449"/>
                    </a:cubicBezTo>
                    <a:cubicBezTo>
                      <a:pt x="6965" y="7440"/>
                      <a:pt x="6965" y="7440"/>
                      <a:pt x="6965" y="7440"/>
                    </a:cubicBezTo>
                    <a:cubicBezTo>
                      <a:pt x="6973" y="7389"/>
                      <a:pt x="6973" y="7389"/>
                      <a:pt x="6973" y="7389"/>
                    </a:cubicBezTo>
                    <a:cubicBezTo>
                      <a:pt x="6888" y="7371"/>
                      <a:pt x="6888" y="7371"/>
                      <a:pt x="6888" y="7371"/>
                    </a:cubicBezTo>
                    <a:cubicBezTo>
                      <a:pt x="6877" y="7432"/>
                      <a:pt x="6877" y="7432"/>
                      <a:pt x="6877" y="7432"/>
                    </a:cubicBezTo>
                    <a:cubicBezTo>
                      <a:pt x="6723" y="7406"/>
                      <a:pt x="6723" y="7406"/>
                      <a:pt x="6723" y="7406"/>
                    </a:cubicBezTo>
                    <a:cubicBezTo>
                      <a:pt x="6735" y="7340"/>
                      <a:pt x="6735" y="7340"/>
                      <a:pt x="6735" y="7340"/>
                    </a:cubicBezTo>
                    <a:cubicBezTo>
                      <a:pt x="6606" y="7313"/>
                      <a:pt x="6606" y="7313"/>
                      <a:pt x="6606" y="7313"/>
                    </a:cubicBezTo>
                    <a:cubicBezTo>
                      <a:pt x="6603" y="7316"/>
                      <a:pt x="6596" y="7321"/>
                      <a:pt x="6590" y="7327"/>
                    </a:cubicBezTo>
                    <a:cubicBezTo>
                      <a:pt x="6585" y="7331"/>
                      <a:pt x="6581" y="7335"/>
                      <a:pt x="6578" y="7338"/>
                    </a:cubicBezTo>
                    <a:cubicBezTo>
                      <a:pt x="6576" y="7340"/>
                      <a:pt x="6575" y="7341"/>
                      <a:pt x="6574" y="7342"/>
                    </a:cubicBezTo>
                    <a:cubicBezTo>
                      <a:pt x="6574" y="7342"/>
                      <a:pt x="6574" y="7343"/>
                      <a:pt x="6574" y="7343"/>
                    </a:cubicBezTo>
                    <a:cubicBezTo>
                      <a:pt x="6575" y="7345"/>
                      <a:pt x="6573" y="7347"/>
                      <a:pt x="6572" y="7348"/>
                    </a:cubicBezTo>
                    <a:cubicBezTo>
                      <a:pt x="6568" y="7350"/>
                      <a:pt x="6568" y="7350"/>
                      <a:pt x="6568" y="7350"/>
                    </a:cubicBezTo>
                    <a:cubicBezTo>
                      <a:pt x="6567" y="7350"/>
                      <a:pt x="6567" y="7350"/>
                      <a:pt x="6567" y="7350"/>
                    </a:cubicBezTo>
                    <a:cubicBezTo>
                      <a:pt x="6561" y="7349"/>
                      <a:pt x="6512" y="7337"/>
                      <a:pt x="6461" y="7323"/>
                    </a:cubicBezTo>
                    <a:cubicBezTo>
                      <a:pt x="6415" y="7312"/>
                      <a:pt x="6371" y="7300"/>
                      <a:pt x="6361" y="7298"/>
                    </a:cubicBezTo>
                    <a:cubicBezTo>
                      <a:pt x="6284" y="7321"/>
                      <a:pt x="6284" y="7321"/>
                      <a:pt x="6284" y="7321"/>
                    </a:cubicBezTo>
                    <a:cubicBezTo>
                      <a:pt x="6281" y="7334"/>
                      <a:pt x="6274" y="7388"/>
                      <a:pt x="6268" y="7439"/>
                    </a:cubicBezTo>
                    <a:cubicBezTo>
                      <a:pt x="6262" y="7487"/>
                      <a:pt x="6256" y="7533"/>
                      <a:pt x="6255" y="7548"/>
                    </a:cubicBezTo>
                    <a:cubicBezTo>
                      <a:pt x="6262" y="7554"/>
                      <a:pt x="6262" y="7554"/>
                      <a:pt x="6262" y="7554"/>
                    </a:cubicBezTo>
                    <a:cubicBezTo>
                      <a:pt x="6502" y="7730"/>
                      <a:pt x="6502" y="7730"/>
                      <a:pt x="6502" y="7730"/>
                    </a:cubicBezTo>
                    <a:cubicBezTo>
                      <a:pt x="6504" y="7726"/>
                      <a:pt x="6506" y="7723"/>
                      <a:pt x="6509" y="7719"/>
                    </a:cubicBezTo>
                    <a:cubicBezTo>
                      <a:pt x="6538" y="7679"/>
                      <a:pt x="6564" y="7644"/>
                      <a:pt x="6598" y="7612"/>
                    </a:cubicBezTo>
                    <a:cubicBezTo>
                      <a:pt x="6612" y="7599"/>
                      <a:pt x="6627" y="7586"/>
                      <a:pt x="6644" y="7575"/>
                    </a:cubicBezTo>
                    <a:cubicBezTo>
                      <a:pt x="6644" y="7574"/>
                      <a:pt x="6644" y="7574"/>
                      <a:pt x="6644" y="7574"/>
                    </a:cubicBezTo>
                    <a:cubicBezTo>
                      <a:pt x="6644" y="7574"/>
                      <a:pt x="6644" y="7574"/>
                      <a:pt x="6644" y="7574"/>
                    </a:cubicBezTo>
                    <a:cubicBezTo>
                      <a:pt x="6639" y="7578"/>
                      <a:pt x="6639" y="7578"/>
                      <a:pt x="6639" y="7578"/>
                    </a:cubicBezTo>
                    <a:cubicBezTo>
                      <a:pt x="6639" y="7578"/>
                      <a:pt x="6639" y="7578"/>
                      <a:pt x="6639" y="7578"/>
                    </a:cubicBezTo>
                    <a:cubicBezTo>
                      <a:pt x="6632" y="7572"/>
                      <a:pt x="6587" y="7544"/>
                      <a:pt x="6543" y="7516"/>
                    </a:cubicBezTo>
                    <a:cubicBezTo>
                      <a:pt x="6522" y="7502"/>
                      <a:pt x="6500" y="7489"/>
                      <a:pt x="6485" y="7478"/>
                    </a:cubicBezTo>
                    <a:cubicBezTo>
                      <a:pt x="6477" y="7473"/>
                      <a:pt x="6470" y="7469"/>
                      <a:pt x="6465" y="7465"/>
                    </a:cubicBezTo>
                    <a:cubicBezTo>
                      <a:pt x="6463" y="7464"/>
                      <a:pt x="6461" y="7462"/>
                      <a:pt x="6460" y="7461"/>
                    </a:cubicBezTo>
                    <a:cubicBezTo>
                      <a:pt x="6459" y="7460"/>
                      <a:pt x="6458" y="7460"/>
                      <a:pt x="6457" y="7459"/>
                    </a:cubicBezTo>
                    <a:cubicBezTo>
                      <a:pt x="6432" y="7452"/>
                      <a:pt x="6273" y="7417"/>
                      <a:pt x="6273" y="7417"/>
                    </a:cubicBezTo>
                    <a:close/>
                    <a:moveTo>
                      <a:pt x="4470" y="8025"/>
                    </a:moveTo>
                    <a:cubicBezTo>
                      <a:pt x="4456" y="8028"/>
                      <a:pt x="4456" y="8028"/>
                      <a:pt x="4456" y="8028"/>
                    </a:cubicBezTo>
                    <a:cubicBezTo>
                      <a:pt x="4523" y="8021"/>
                      <a:pt x="4611" y="8007"/>
                      <a:pt x="4702" y="7992"/>
                    </a:cubicBezTo>
                    <a:cubicBezTo>
                      <a:pt x="4688" y="7910"/>
                      <a:pt x="4688" y="7910"/>
                      <a:pt x="4688" y="7910"/>
                    </a:cubicBezTo>
                    <a:cubicBezTo>
                      <a:pt x="4452" y="7943"/>
                      <a:pt x="4452" y="7943"/>
                      <a:pt x="4452" y="7943"/>
                    </a:cubicBezTo>
                    <a:lnTo>
                      <a:pt x="4470" y="8025"/>
                    </a:lnTo>
                    <a:close/>
                    <a:moveTo>
                      <a:pt x="4086" y="7402"/>
                    </a:moveTo>
                    <a:cubicBezTo>
                      <a:pt x="4104" y="7391"/>
                      <a:pt x="4158" y="7354"/>
                      <a:pt x="4169" y="7346"/>
                    </a:cubicBezTo>
                    <a:cubicBezTo>
                      <a:pt x="4250" y="7107"/>
                      <a:pt x="4250" y="7107"/>
                      <a:pt x="4250" y="7107"/>
                    </a:cubicBezTo>
                    <a:cubicBezTo>
                      <a:pt x="4245" y="7106"/>
                      <a:pt x="4245" y="7106"/>
                      <a:pt x="4245" y="7106"/>
                    </a:cubicBezTo>
                    <a:cubicBezTo>
                      <a:pt x="4246" y="7098"/>
                      <a:pt x="4246" y="7098"/>
                      <a:pt x="4246" y="7098"/>
                    </a:cubicBezTo>
                    <a:cubicBezTo>
                      <a:pt x="4181" y="6998"/>
                      <a:pt x="4181" y="6998"/>
                      <a:pt x="4181" y="6998"/>
                    </a:cubicBezTo>
                    <a:cubicBezTo>
                      <a:pt x="4357" y="6630"/>
                      <a:pt x="4357" y="6630"/>
                      <a:pt x="4357" y="6630"/>
                    </a:cubicBezTo>
                    <a:cubicBezTo>
                      <a:pt x="4319" y="6556"/>
                      <a:pt x="4319" y="6556"/>
                      <a:pt x="4319" y="6556"/>
                    </a:cubicBezTo>
                    <a:cubicBezTo>
                      <a:pt x="4222" y="6513"/>
                      <a:pt x="4222" y="6513"/>
                      <a:pt x="4222" y="6513"/>
                    </a:cubicBezTo>
                    <a:cubicBezTo>
                      <a:pt x="3916" y="6912"/>
                      <a:pt x="3916" y="6912"/>
                      <a:pt x="3916" y="6912"/>
                    </a:cubicBezTo>
                    <a:cubicBezTo>
                      <a:pt x="3889" y="7077"/>
                      <a:pt x="3889" y="7077"/>
                      <a:pt x="3889" y="7077"/>
                    </a:cubicBezTo>
                    <a:cubicBezTo>
                      <a:pt x="3902" y="7231"/>
                      <a:pt x="3902" y="7231"/>
                      <a:pt x="3902" y="7231"/>
                    </a:cubicBezTo>
                    <a:cubicBezTo>
                      <a:pt x="3902" y="7231"/>
                      <a:pt x="3903" y="7231"/>
                      <a:pt x="3904" y="7232"/>
                    </a:cubicBezTo>
                    <a:cubicBezTo>
                      <a:pt x="3904" y="7232"/>
                      <a:pt x="3905" y="7233"/>
                      <a:pt x="3905" y="7233"/>
                    </a:cubicBezTo>
                    <a:cubicBezTo>
                      <a:pt x="3916" y="7244"/>
                      <a:pt x="4008" y="7330"/>
                      <a:pt x="4086" y="7402"/>
                    </a:cubicBezTo>
                    <a:close/>
                    <a:moveTo>
                      <a:pt x="3906" y="7239"/>
                    </a:moveTo>
                    <a:cubicBezTo>
                      <a:pt x="3906" y="7239"/>
                      <a:pt x="3906" y="7239"/>
                      <a:pt x="3906" y="7239"/>
                    </a:cubicBezTo>
                    <a:cubicBezTo>
                      <a:pt x="3906" y="7239"/>
                      <a:pt x="3906" y="7239"/>
                      <a:pt x="3906" y="7239"/>
                    </a:cubicBezTo>
                    <a:cubicBezTo>
                      <a:pt x="3906" y="7239"/>
                      <a:pt x="3906" y="7239"/>
                      <a:pt x="3906" y="7239"/>
                    </a:cubicBezTo>
                    <a:close/>
                    <a:moveTo>
                      <a:pt x="3902" y="7245"/>
                    </a:moveTo>
                    <a:cubicBezTo>
                      <a:pt x="3902" y="7245"/>
                      <a:pt x="3902" y="7245"/>
                      <a:pt x="3902" y="7245"/>
                    </a:cubicBezTo>
                    <a:cubicBezTo>
                      <a:pt x="3902" y="7245"/>
                      <a:pt x="3902" y="7245"/>
                      <a:pt x="3903" y="7245"/>
                    </a:cubicBezTo>
                    <a:cubicBezTo>
                      <a:pt x="3903" y="7245"/>
                      <a:pt x="3903" y="7245"/>
                      <a:pt x="3903" y="7244"/>
                    </a:cubicBezTo>
                    <a:cubicBezTo>
                      <a:pt x="3903" y="7245"/>
                      <a:pt x="3902" y="7245"/>
                      <a:pt x="3902" y="7245"/>
                    </a:cubicBezTo>
                    <a:close/>
                    <a:moveTo>
                      <a:pt x="3873" y="7076"/>
                    </a:moveTo>
                    <a:cubicBezTo>
                      <a:pt x="3898" y="6920"/>
                      <a:pt x="3898" y="6920"/>
                      <a:pt x="3898" y="6920"/>
                    </a:cubicBezTo>
                    <a:cubicBezTo>
                      <a:pt x="3701" y="6884"/>
                      <a:pt x="3701" y="6884"/>
                      <a:pt x="3701" y="6884"/>
                    </a:cubicBezTo>
                    <a:cubicBezTo>
                      <a:pt x="3700" y="6878"/>
                      <a:pt x="3700" y="6878"/>
                      <a:pt x="3700" y="6878"/>
                    </a:cubicBezTo>
                    <a:cubicBezTo>
                      <a:pt x="3700" y="6878"/>
                      <a:pt x="3699" y="6867"/>
                      <a:pt x="3698" y="6856"/>
                    </a:cubicBezTo>
                    <a:cubicBezTo>
                      <a:pt x="3697" y="6851"/>
                      <a:pt x="3696" y="6845"/>
                      <a:pt x="3695" y="6841"/>
                    </a:cubicBezTo>
                    <a:cubicBezTo>
                      <a:pt x="3695" y="6841"/>
                      <a:pt x="3695" y="6841"/>
                      <a:pt x="3695" y="6841"/>
                    </a:cubicBezTo>
                    <a:cubicBezTo>
                      <a:pt x="3681" y="6838"/>
                      <a:pt x="3647" y="6832"/>
                      <a:pt x="3612" y="6825"/>
                    </a:cubicBezTo>
                    <a:cubicBezTo>
                      <a:pt x="3591" y="6821"/>
                      <a:pt x="3570" y="6817"/>
                      <a:pt x="3554" y="6814"/>
                    </a:cubicBezTo>
                    <a:cubicBezTo>
                      <a:pt x="3547" y="6812"/>
                      <a:pt x="3540" y="6811"/>
                      <a:pt x="3536" y="6810"/>
                    </a:cubicBezTo>
                    <a:cubicBezTo>
                      <a:pt x="3535" y="6810"/>
                      <a:pt x="3535" y="6810"/>
                      <a:pt x="3535" y="6810"/>
                    </a:cubicBezTo>
                    <a:cubicBezTo>
                      <a:pt x="3441" y="7096"/>
                      <a:pt x="3441" y="7096"/>
                      <a:pt x="3441" y="7096"/>
                    </a:cubicBezTo>
                    <a:cubicBezTo>
                      <a:pt x="3559" y="7184"/>
                      <a:pt x="3691" y="7339"/>
                      <a:pt x="3699" y="7349"/>
                    </a:cubicBezTo>
                    <a:cubicBezTo>
                      <a:pt x="3854" y="7224"/>
                      <a:pt x="3854" y="7224"/>
                      <a:pt x="3854" y="7224"/>
                    </a:cubicBezTo>
                    <a:cubicBezTo>
                      <a:pt x="3857" y="7224"/>
                      <a:pt x="3857" y="7224"/>
                      <a:pt x="3857" y="7224"/>
                    </a:cubicBezTo>
                    <a:cubicBezTo>
                      <a:pt x="3857" y="7224"/>
                      <a:pt x="3873" y="7227"/>
                      <a:pt x="3885" y="7228"/>
                    </a:cubicBezTo>
                    <a:lnTo>
                      <a:pt x="3873" y="7076"/>
                    </a:lnTo>
                    <a:close/>
                    <a:moveTo>
                      <a:pt x="2512" y="7954"/>
                    </a:moveTo>
                    <a:cubicBezTo>
                      <a:pt x="2511" y="7954"/>
                      <a:pt x="2511" y="7954"/>
                      <a:pt x="2511" y="7954"/>
                    </a:cubicBezTo>
                    <a:cubicBezTo>
                      <a:pt x="2561" y="7967"/>
                      <a:pt x="2645" y="7989"/>
                      <a:pt x="2663" y="7995"/>
                    </a:cubicBezTo>
                    <a:cubicBezTo>
                      <a:pt x="2961" y="7773"/>
                      <a:pt x="2961" y="7773"/>
                      <a:pt x="2961" y="7773"/>
                    </a:cubicBezTo>
                    <a:cubicBezTo>
                      <a:pt x="2875" y="7517"/>
                      <a:pt x="2875" y="7517"/>
                      <a:pt x="2875" y="7517"/>
                    </a:cubicBezTo>
                    <a:cubicBezTo>
                      <a:pt x="2866" y="7517"/>
                      <a:pt x="2857" y="7518"/>
                      <a:pt x="2848" y="7518"/>
                    </a:cubicBezTo>
                    <a:cubicBezTo>
                      <a:pt x="2834" y="7518"/>
                      <a:pt x="2820" y="7517"/>
                      <a:pt x="2806" y="7515"/>
                    </a:cubicBezTo>
                    <a:cubicBezTo>
                      <a:pt x="2772" y="7511"/>
                      <a:pt x="2742" y="7504"/>
                      <a:pt x="2713" y="7495"/>
                    </a:cubicBezTo>
                    <a:cubicBezTo>
                      <a:pt x="2510" y="7953"/>
                      <a:pt x="2510" y="7953"/>
                      <a:pt x="2510" y="7953"/>
                    </a:cubicBezTo>
                    <a:lnTo>
                      <a:pt x="2512" y="7954"/>
                    </a:lnTo>
                    <a:close/>
                    <a:moveTo>
                      <a:pt x="1189" y="9306"/>
                    </a:moveTo>
                    <a:cubicBezTo>
                      <a:pt x="1190" y="9306"/>
                      <a:pt x="1190" y="9306"/>
                      <a:pt x="1190" y="9306"/>
                    </a:cubicBezTo>
                    <a:cubicBezTo>
                      <a:pt x="1146" y="9215"/>
                      <a:pt x="1146" y="9215"/>
                      <a:pt x="1146" y="9215"/>
                    </a:cubicBezTo>
                    <a:cubicBezTo>
                      <a:pt x="1065" y="9265"/>
                      <a:pt x="1065" y="9265"/>
                      <a:pt x="1065" y="9265"/>
                    </a:cubicBezTo>
                    <a:cubicBezTo>
                      <a:pt x="1071" y="9279"/>
                      <a:pt x="1085" y="9311"/>
                      <a:pt x="1102" y="9348"/>
                    </a:cubicBezTo>
                    <a:cubicBezTo>
                      <a:pt x="1189" y="9306"/>
                      <a:pt x="1189" y="9306"/>
                      <a:pt x="1189" y="9306"/>
                    </a:cubicBezTo>
                    <a:close/>
                    <a:moveTo>
                      <a:pt x="1198" y="9286"/>
                    </a:moveTo>
                    <a:cubicBezTo>
                      <a:pt x="1293" y="9239"/>
                      <a:pt x="1293" y="9239"/>
                      <a:pt x="1293" y="9239"/>
                    </a:cubicBezTo>
                    <a:cubicBezTo>
                      <a:pt x="1293" y="9238"/>
                      <a:pt x="1293" y="9238"/>
                      <a:pt x="1293" y="9238"/>
                    </a:cubicBezTo>
                    <a:cubicBezTo>
                      <a:pt x="1298" y="9235"/>
                      <a:pt x="1298" y="9235"/>
                      <a:pt x="1298" y="9235"/>
                    </a:cubicBezTo>
                    <a:cubicBezTo>
                      <a:pt x="1292" y="9222"/>
                      <a:pt x="1292" y="9222"/>
                      <a:pt x="1292" y="9222"/>
                    </a:cubicBezTo>
                    <a:cubicBezTo>
                      <a:pt x="1294" y="9221"/>
                      <a:pt x="1294" y="9221"/>
                      <a:pt x="1294" y="9221"/>
                    </a:cubicBezTo>
                    <a:cubicBezTo>
                      <a:pt x="1259" y="9144"/>
                      <a:pt x="1259" y="9144"/>
                      <a:pt x="1259" y="9144"/>
                    </a:cubicBezTo>
                    <a:cubicBezTo>
                      <a:pt x="1160" y="9207"/>
                      <a:pt x="1160" y="9207"/>
                      <a:pt x="1160" y="9207"/>
                    </a:cubicBezTo>
                    <a:lnTo>
                      <a:pt x="1198" y="9286"/>
                    </a:lnTo>
                    <a:close/>
                    <a:moveTo>
                      <a:pt x="2397" y="5317"/>
                    </a:moveTo>
                    <a:cubicBezTo>
                      <a:pt x="2413" y="5326"/>
                      <a:pt x="2430" y="5335"/>
                      <a:pt x="2447" y="5345"/>
                    </a:cubicBezTo>
                    <a:cubicBezTo>
                      <a:pt x="2497" y="5373"/>
                      <a:pt x="2547" y="5401"/>
                      <a:pt x="2586" y="5422"/>
                    </a:cubicBezTo>
                    <a:cubicBezTo>
                      <a:pt x="2605" y="5432"/>
                      <a:pt x="2622" y="5441"/>
                      <a:pt x="2633" y="5447"/>
                    </a:cubicBezTo>
                    <a:cubicBezTo>
                      <a:pt x="2638" y="5449"/>
                      <a:pt x="2642" y="5451"/>
                      <a:pt x="2645" y="5453"/>
                    </a:cubicBezTo>
                    <a:cubicBezTo>
                      <a:pt x="2648" y="5445"/>
                      <a:pt x="2652" y="5437"/>
                      <a:pt x="2655" y="5429"/>
                    </a:cubicBezTo>
                    <a:cubicBezTo>
                      <a:pt x="2668" y="5400"/>
                      <a:pt x="2681" y="5370"/>
                      <a:pt x="2693" y="5342"/>
                    </a:cubicBezTo>
                    <a:cubicBezTo>
                      <a:pt x="2444" y="5224"/>
                      <a:pt x="2444" y="5224"/>
                      <a:pt x="2444" y="5224"/>
                    </a:cubicBezTo>
                    <a:lnTo>
                      <a:pt x="2397" y="5317"/>
                    </a:lnTo>
                    <a:close/>
                    <a:moveTo>
                      <a:pt x="2450" y="5184"/>
                    </a:moveTo>
                    <a:cubicBezTo>
                      <a:pt x="2354" y="5138"/>
                      <a:pt x="2354" y="5138"/>
                      <a:pt x="2354" y="5138"/>
                    </a:cubicBezTo>
                    <a:cubicBezTo>
                      <a:pt x="2343" y="5160"/>
                      <a:pt x="2343" y="5160"/>
                      <a:pt x="2343" y="5160"/>
                    </a:cubicBezTo>
                    <a:cubicBezTo>
                      <a:pt x="2439" y="5205"/>
                      <a:pt x="2439" y="5205"/>
                      <a:pt x="2439" y="5205"/>
                    </a:cubicBezTo>
                    <a:lnTo>
                      <a:pt x="2450" y="5184"/>
                    </a:lnTo>
                    <a:close/>
                    <a:moveTo>
                      <a:pt x="2540" y="5066"/>
                    </a:moveTo>
                    <a:cubicBezTo>
                      <a:pt x="2563" y="5025"/>
                      <a:pt x="2563" y="5025"/>
                      <a:pt x="2563" y="5025"/>
                    </a:cubicBezTo>
                    <a:cubicBezTo>
                      <a:pt x="2467" y="4978"/>
                      <a:pt x="2467" y="4978"/>
                      <a:pt x="2467" y="4978"/>
                    </a:cubicBezTo>
                    <a:cubicBezTo>
                      <a:pt x="2442" y="5024"/>
                      <a:pt x="2442" y="5024"/>
                      <a:pt x="2442" y="5024"/>
                    </a:cubicBezTo>
                    <a:lnTo>
                      <a:pt x="2540" y="5066"/>
                    </a:lnTo>
                    <a:close/>
                    <a:moveTo>
                      <a:pt x="2436" y="5036"/>
                    </a:moveTo>
                    <a:cubicBezTo>
                      <a:pt x="2414" y="5077"/>
                      <a:pt x="2414" y="5077"/>
                      <a:pt x="2414" y="5077"/>
                    </a:cubicBezTo>
                    <a:cubicBezTo>
                      <a:pt x="2508" y="5123"/>
                      <a:pt x="2508" y="5123"/>
                      <a:pt x="2508" y="5123"/>
                    </a:cubicBezTo>
                    <a:cubicBezTo>
                      <a:pt x="2533" y="5078"/>
                      <a:pt x="2533" y="5078"/>
                      <a:pt x="2533" y="5078"/>
                    </a:cubicBezTo>
                    <a:lnTo>
                      <a:pt x="2436" y="5036"/>
                    </a:lnTo>
                    <a:close/>
                    <a:moveTo>
                      <a:pt x="2552" y="5071"/>
                    </a:moveTo>
                    <a:cubicBezTo>
                      <a:pt x="2771" y="5166"/>
                      <a:pt x="2771" y="5166"/>
                      <a:pt x="2771" y="5166"/>
                    </a:cubicBezTo>
                    <a:cubicBezTo>
                      <a:pt x="2775" y="5159"/>
                      <a:pt x="2778" y="5152"/>
                      <a:pt x="2781" y="5146"/>
                    </a:cubicBezTo>
                    <a:cubicBezTo>
                      <a:pt x="2798" y="5107"/>
                      <a:pt x="2813" y="5075"/>
                      <a:pt x="2823" y="5052"/>
                    </a:cubicBezTo>
                    <a:cubicBezTo>
                      <a:pt x="2826" y="5047"/>
                      <a:pt x="2828" y="5041"/>
                      <a:pt x="2831" y="5037"/>
                    </a:cubicBezTo>
                    <a:cubicBezTo>
                      <a:pt x="2457" y="4919"/>
                      <a:pt x="2457" y="4919"/>
                      <a:pt x="2457" y="4919"/>
                    </a:cubicBezTo>
                    <a:cubicBezTo>
                      <a:pt x="2407" y="5009"/>
                      <a:pt x="2407" y="5009"/>
                      <a:pt x="2407" y="5009"/>
                    </a:cubicBezTo>
                    <a:cubicBezTo>
                      <a:pt x="2430" y="5019"/>
                      <a:pt x="2430" y="5019"/>
                      <a:pt x="2430" y="5019"/>
                    </a:cubicBezTo>
                    <a:cubicBezTo>
                      <a:pt x="2461" y="4961"/>
                      <a:pt x="2461" y="4961"/>
                      <a:pt x="2461" y="4961"/>
                    </a:cubicBezTo>
                    <a:cubicBezTo>
                      <a:pt x="2581" y="5019"/>
                      <a:pt x="2581" y="5019"/>
                      <a:pt x="2581" y="5019"/>
                    </a:cubicBezTo>
                    <a:cubicBezTo>
                      <a:pt x="2578" y="5025"/>
                      <a:pt x="2578" y="5025"/>
                      <a:pt x="2578" y="5025"/>
                    </a:cubicBezTo>
                    <a:lnTo>
                      <a:pt x="2552" y="5071"/>
                    </a:lnTo>
                    <a:close/>
                    <a:moveTo>
                      <a:pt x="2976" y="4623"/>
                    </a:moveTo>
                    <a:cubicBezTo>
                      <a:pt x="2940" y="4648"/>
                      <a:pt x="2940" y="4648"/>
                      <a:pt x="2940" y="4648"/>
                    </a:cubicBezTo>
                    <a:cubicBezTo>
                      <a:pt x="2964" y="4683"/>
                      <a:pt x="2964" y="4683"/>
                      <a:pt x="2964" y="4683"/>
                    </a:cubicBezTo>
                    <a:cubicBezTo>
                      <a:pt x="2926" y="4710"/>
                      <a:pt x="2926" y="4710"/>
                      <a:pt x="2926" y="4710"/>
                    </a:cubicBezTo>
                    <a:cubicBezTo>
                      <a:pt x="2960" y="4759"/>
                      <a:pt x="2960" y="4759"/>
                      <a:pt x="2960" y="4759"/>
                    </a:cubicBezTo>
                    <a:cubicBezTo>
                      <a:pt x="3039" y="4704"/>
                      <a:pt x="3039" y="4704"/>
                      <a:pt x="3039" y="4704"/>
                    </a:cubicBezTo>
                    <a:lnTo>
                      <a:pt x="2976" y="4623"/>
                    </a:lnTo>
                    <a:close/>
                    <a:moveTo>
                      <a:pt x="3051" y="4696"/>
                    </a:moveTo>
                    <a:cubicBezTo>
                      <a:pt x="3112" y="4654"/>
                      <a:pt x="3112" y="4654"/>
                      <a:pt x="3112" y="4654"/>
                    </a:cubicBezTo>
                    <a:cubicBezTo>
                      <a:pt x="3077" y="4605"/>
                      <a:pt x="3077" y="4605"/>
                      <a:pt x="3077" y="4605"/>
                    </a:cubicBezTo>
                    <a:cubicBezTo>
                      <a:pt x="3039" y="4632"/>
                      <a:pt x="3039" y="4632"/>
                      <a:pt x="3039" y="4632"/>
                    </a:cubicBezTo>
                    <a:cubicBezTo>
                      <a:pt x="3014" y="4596"/>
                      <a:pt x="3014" y="4596"/>
                      <a:pt x="3014" y="4596"/>
                    </a:cubicBezTo>
                    <a:cubicBezTo>
                      <a:pt x="2987" y="4615"/>
                      <a:pt x="2987" y="4615"/>
                      <a:pt x="2987" y="4615"/>
                    </a:cubicBezTo>
                    <a:lnTo>
                      <a:pt x="3051" y="4696"/>
                    </a:lnTo>
                    <a:close/>
                    <a:moveTo>
                      <a:pt x="2968" y="4612"/>
                    </a:moveTo>
                    <a:cubicBezTo>
                      <a:pt x="2858" y="4471"/>
                      <a:pt x="2858" y="4471"/>
                      <a:pt x="2858" y="4471"/>
                    </a:cubicBezTo>
                    <a:cubicBezTo>
                      <a:pt x="2840" y="4492"/>
                      <a:pt x="2763" y="4583"/>
                      <a:pt x="2684" y="4675"/>
                    </a:cubicBezTo>
                    <a:cubicBezTo>
                      <a:pt x="2639" y="4727"/>
                      <a:pt x="2594" y="4779"/>
                      <a:pt x="2559" y="4818"/>
                    </a:cubicBezTo>
                    <a:cubicBezTo>
                      <a:pt x="2542" y="4838"/>
                      <a:pt x="2528" y="4854"/>
                      <a:pt x="2517" y="4865"/>
                    </a:cubicBezTo>
                    <a:cubicBezTo>
                      <a:pt x="2516" y="4866"/>
                      <a:pt x="2515" y="4867"/>
                      <a:pt x="2514" y="4868"/>
                    </a:cubicBezTo>
                    <a:cubicBezTo>
                      <a:pt x="2904" y="4991"/>
                      <a:pt x="2904" y="4991"/>
                      <a:pt x="2904" y="4991"/>
                    </a:cubicBezTo>
                    <a:cubicBezTo>
                      <a:pt x="2914" y="4967"/>
                      <a:pt x="2934" y="4918"/>
                      <a:pt x="2950" y="4880"/>
                    </a:cubicBezTo>
                    <a:cubicBezTo>
                      <a:pt x="2967" y="4840"/>
                      <a:pt x="2996" y="4782"/>
                      <a:pt x="3059" y="4730"/>
                    </a:cubicBezTo>
                    <a:cubicBezTo>
                      <a:pt x="3047" y="4715"/>
                      <a:pt x="3047" y="4715"/>
                      <a:pt x="3047" y="4715"/>
                    </a:cubicBezTo>
                    <a:cubicBezTo>
                      <a:pt x="2957" y="4777"/>
                      <a:pt x="2957" y="4777"/>
                      <a:pt x="2957" y="4777"/>
                    </a:cubicBezTo>
                    <a:cubicBezTo>
                      <a:pt x="2953" y="4772"/>
                      <a:pt x="2953" y="4772"/>
                      <a:pt x="2953" y="4772"/>
                    </a:cubicBezTo>
                    <a:cubicBezTo>
                      <a:pt x="2908" y="4706"/>
                      <a:pt x="2908" y="4706"/>
                      <a:pt x="2908" y="4706"/>
                    </a:cubicBezTo>
                    <a:cubicBezTo>
                      <a:pt x="2946" y="4680"/>
                      <a:pt x="2946" y="4680"/>
                      <a:pt x="2946" y="4680"/>
                    </a:cubicBezTo>
                    <a:cubicBezTo>
                      <a:pt x="2922" y="4644"/>
                      <a:pt x="2922" y="4644"/>
                      <a:pt x="2922" y="4644"/>
                    </a:cubicBezTo>
                    <a:lnTo>
                      <a:pt x="2968" y="4612"/>
                    </a:lnTo>
                    <a:close/>
                    <a:moveTo>
                      <a:pt x="3468" y="4736"/>
                    </a:moveTo>
                    <a:cubicBezTo>
                      <a:pt x="3393" y="4721"/>
                      <a:pt x="3334" y="4710"/>
                      <a:pt x="3285" y="4710"/>
                    </a:cubicBezTo>
                    <a:cubicBezTo>
                      <a:pt x="3244" y="4710"/>
                      <a:pt x="3210" y="4717"/>
                      <a:pt x="3174" y="4734"/>
                    </a:cubicBezTo>
                    <a:cubicBezTo>
                      <a:pt x="3079" y="4780"/>
                      <a:pt x="3042" y="4837"/>
                      <a:pt x="3020" y="4884"/>
                    </a:cubicBezTo>
                    <a:cubicBezTo>
                      <a:pt x="3264" y="4966"/>
                      <a:pt x="3264" y="4966"/>
                      <a:pt x="3264" y="4966"/>
                    </a:cubicBezTo>
                    <a:cubicBezTo>
                      <a:pt x="3418" y="5052"/>
                      <a:pt x="3418" y="5052"/>
                      <a:pt x="3418" y="5052"/>
                    </a:cubicBezTo>
                    <a:cubicBezTo>
                      <a:pt x="3411" y="5064"/>
                      <a:pt x="3411" y="5064"/>
                      <a:pt x="3411" y="5064"/>
                    </a:cubicBezTo>
                    <a:cubicBezTo>
                      <a:pt x="3258" y="4979"/>
                      <a:pt x="3258" y="4979"/>
                      <a:pt x="3258" y="4979"/>
                    </a:cubicBezTo>
                    <a:cubicBezTo>
                      <a:pt x="3014" y="4897"/>
                      <a:pt x="3014" y="4897"/>
                      <a:pt x="3014" y="4897"/>
                    </a:cubicBezTo>
                    <a:cubicBezTo>
                      <a:pt x="3013" y="4900"/>
                      <a:pt x="3012" y="4903"/>
                      <a:pt x="3011" y="4905"/>
                    </a:cubicBezTo>
                    <a:cubicBezTo>
                      <a:pt x="2996" y="4941"/>
                      <a:pt x="2978" y="4985"/>
                      <a:pt x="2967" y="5011"/>
                    </a:cubicBezTo>
                    <a:cubicBezTo>
                      <a:pt x="2970" y="5012"/>
                      <a:pt x="2970" y="5012"/>
                      <a:pt x="2970" y="5012"/>
                    </a:cubicBezTo>
                    <a:cubicBezTo>
                      <a:pt x="3262" y="5237"/>
                      <a:pt x="3262" y="5237"/>
                      <a:pt x="3262" y="5237"/>
                    </a:cubicBezTo>
                    <a:cubicBezTo>
                      <a:pt x="3462" y="5011"/>
                      <a:pt x="3462" y="5011"/>
                      <a:pt x="3462" y="5011"/>
                    </a:cubicBezTo>
                    <a:cubicBezTo>
                      <a:pt x="3558" y="4755"/>
                      <a:pt x="3558" y="4755"/>
                      <a:pt x="3558" y="4755"/>
                    </a:cubicBezTo>
                    <a:cubicBezTo>
                      <a:pt x="3526" y="4748"/>
                      <a:pt x="3497" y="4742"/>
                      <a:pt x="3470" y="4736"/>
                    </a:cubicBezTo>
                    <a:cubicBezTo>
                      <a:pt x="3542" y="4756"/>
                      <a:pt x="3542" y="4756"/>
                      <a:pt x="3542" y="4756"/>
                    </a:cubicBezTo>
                    <a:cubicBezTo>
                      <a:pt x="3502" y="4902"/>
                      <a:pt x="3502" y="4902"/>
                      <a:pt x="3502" y="4902"/>
                    </a:cubicBezTo>
                    <a:cubicBezTo>
                      <a:pt x="3429" y="4882"/>
                      <a:pt x="3429" y="4882"/>
                      <a:pt x="3429" y="4882"/>
                    </a:cubicBezTo>
                    <a:cubicBezTo>
                      <a:pt x="3431" y="4876"/>
                      <a:pt x="3431" y="4876"/>
                      <a:pt x="3431" y="4876"/>
                    </a:cubicBezTo>
                    <a:lnTo>
                      <a:pt x="3468" y="4736"/>
                    </a:lnTo>
                    <a:close/>
                    <a:moveTo>
                      <a:pt x="3445" y="4873"/>
                    </a:moveTo>
                    <a:cubicBezTo>
                      <a:pt x="3493" y="4886"/>
                      <a:pt x="3493" y="4886"/>
                      <a:pt x="3493" y="4886"/>
                    </a:cubicBezTo>
                    <a:cubicBezTo>
                      <a:pt x="3525" y="4765"/>
                      <a:pt x="3525" y="4765"/>
                      <a:pt x="3525" y="4765"/>
                    </a:cubicBezTo>
                    <a:cubicBezTo>
                      <a:pt x="3478" y="4752"/>
                      <a:pt x="3478" y="4752"/>
                      <a:pt x="3478" y="4752"/>
                    </a:cubicBezTo>
                    <a:lnTo>
                      <a:pt x="3445" y="4873"/>
                    </a:lnTo>
                    <a:close/>
                    <a:moveTo>
                      <a:pt x="3576" y="4586"/>
                    </a:moveTo>
                    <a:cubicBezTo>
                      <a:pt x="3585" y="4544"/>
                      <a:pt x="3585" y="4544"/>
                      <a:pt x="3585" y="4544"/>
                    </a:cubicBezTo>
                    <a:cubicBezTo>
                      <a:pt x="3523" y="4532"/>
                      <a:pt x="3523" y="4532"/>
                      <a:pt x="3523" y="4532"/>
                    </a:cubicBezTo>
                    <a:cubicBezTo>
                      <a:pt x="3533" y="4639"/>
                      <a:pt x="3533" y="4639"/>
                      <a:pt x="3533" y="4639"/>
                    </a:cubicBezTo>
                    <a:cubicBezTo>
                      <a:pt x="3611" y="4654"/>
                      <a:pt x="3611" y="4654"/>
                      <a:pt x="3611" y="4654"/>
                    </a:cubicBezTo>
                    <a:cubicBezTo>
                      <a:pt x="3623" y="4595"/>
                      <a:pt x="3623" y="4595"/>
                      <a:pt x="3623" y="4595"/>
                    </a:cubicBezTo>
                    <a:lnTo>
                      <a:pt x="3576" y="4586"/>
                    </a:lnTo>
                    <a:close/>
                    <a:moveTo>
                      <a:pt x="4850" y="5431"/>
                    </a:moveTo>
                    <a:cubicBezTo>
                      <a:pt x="4850" y="5483"/>
                      <a:pt x="4845" y="5518"/>
                      <a:pt x="4845" y="5519"/>
                    </a:cubicBezTo>
                    <a:cubicBezTo>
                      <a:pt x="4845" y="5521"/>
                      <a:pt x="4845" y="5521"/>
                      <a:pt x="4845" y="5521"/>
                    </a:cubicBezTo>
                    <a:cubicBezTo>
                      <a:pt x="4845" y="5522"/>
                      <a:pt x="4845" y="5522"/>
                      <a:pt x="4845" y="5522"/>
                    </a:cubicBezTo>
                    <a:cubicBezTo>
                      <a:pt x="4845" y="5522"/>
                      <a:pt x="4835" y="5568"/>
                      <a:pt x="4819" y="5643"/>
                    </a:cubicBezTo>
                    <a:cubicBezTo>
                      <a:pt x="5372" y="5660"/>
                      <a:pt x="5372" y="5660"/>
                      <a:pt x="5372" y="5660"/>
                    </a:cubicBezTo>
                    <a:cubicBezTo>
                      <a:pt x="5423" y="5229"/>
                      <a:pt x="5423" y="5229"/>
                      <a:pt x="5423" y="5229"/>
                    </a:cubicBezTo>
                    <a:cubicBezTo>
                      <a:pt x="4844" y="5330"/>
                      <a:pt x="4844" y="5330"/>
                      <a:pt x="4844" y="5330"/>
                    </a:cubicBezTo>
                    <a:cubicBezTo>
                      <a:pt x="4848" y="5367"/>
                      <a:pt x="4850" y="5402"/>
                      <a:pt x="4850" y="5431"/>
                    </a:cubicBezTo>
                    <a:close/>
                    <a:moveTo>
                      <a:pt x="5738" y="5720"/>
                    </a:moveTo>
                    <a:cubicBezTo>
                      <a:pt x="5668" y="5782"/>
                      <a:pt x="5668" y="5782"/>
                      <a:pt x="5668" y="5782"/>
                    </a:cubicBezTo>
                    <a:cubicBezTo>
                      <a:pt x="5762" y="5888"/>
                      <a:pt x="5762" y="5888"/>
                      <a:pt x="5762" y="5888"/>
                    </a:cubicBezTo>
                    <a:cubicBezTo>
                      <a:pt x="5867" y="5794"/>
                      <a:pt x="5867" y="5794"/>
                      <a:pt x="5867" y="5794"/>
                    </a:cubicBezTo>
                    <a:cubicBezTo>
                      <a:pt x="5809" y="5728"/>
                      <a:pt x="5809" y="5728"/>
                      <a:pt x="5809" y="5728"/>
                    </a:cubicBezTo>
                    <a:cubicBezTo>
                      <a:pt x="5738" y="5720"/>
                      <a:pt x="5738" y="5720"/>
                      <a:pt x="5738" y="5720"/>
                    </a:cubicBezTo>
                    <a:close/>
                    <a:moveTo>
                      <a:pt x="5880" y="5651"/>
                    </a:moveTo>
                    <a:cubicBezTo>
                      <a:pt x="5789" y="5541"/>
                      <a:pt x="5789" y="5541"/>
                      <a:pt x="5789" y="5541"/>
                    </a:cubicBezTo>
                    <a:cubicBezTo>
                      <a:pt x="5675" y="5641"/>
                      <a:pt x="5675" y="5641"/>
                      <a:pt x="5675" y="5641"/>
                    </a:cubicBezTo>
                    <a:cubicBezTo>
                      <a:pt x="5725" y="5704"/>
                      <a:pt x="5725" y="5704"/>
                      <a:pt x="5725" y="5704"/>
                    </a:cubicBezTo>
                    <a:cubicBezTo>
                      <a:pt x="5807" y="5714"/>
                      <a:pt x="5807" y="5714"/>
                      <a:pt x="5807" y="5714"/>
                    </a:cubicBezTo>
                    <a:lnTo>
                      <a:pt x="5880" y="5651"/>
                    </a:lnTo>
                    <a:close/>
                    <a:moveTo>
                      <a:pt x="5719" y="5717"/>
                    </a:moveTo>
                    <a:cubicBezTo>
                      <a:pt x="5385" y="5676"/>
                      <a:pt x="5385" y="5676"/>
                      <a:pt x="5385" y="5676"/>
                    </a:cubicBezTo>
                    <a:cubicBezTo>
                      <a:pt x="5343" y="6032"/>
                      <a:pt x="5343" y="6032"/>
                      <a:pt x="5343" y="6032"/>
                    </a:cubicBezTo>
                    <a:cubicBezTo>
                      <a:pt x="5890" y="6134"/>
                      <a:pt x="5890" y="6134"/>
                      <a:pt x="5890" y="6134"/>
                    </a:cubicBezTo>
                    <a:cubicBezTo>
                      <a:pt x="5955" y="5747"/>
                      <a:pt x="5955" y="5747"/>
                      <a:pt x="5955" y="5747"/>
                    </a:cubicBezTo>
                    <a:cubicBezTo>
                      <a:pt x="5829" y="5731"/>
                      <a:pt x="5829" y="5731"/>
                      <a:pt x="5829" y="5731"/>
                    </a:cubicBezTo>
                    <a:cubicBezTo>
                      <a:pt x="5886" y="5795"/>
                      <a:pt x="5886" y="5795"/>
                      <a:pt x="5886" y="5795"/>
                    </a:cubicBezTo>
                    <a:cubicBezTo>
                      <a:pt x="5761" y="5906"/>
                      <a:pt x="5761" y="5906"/>
                      <a:pt x="5761" y="5906"/>
                    </a:cubicBezTo>
                    <a:cubicBezTo>
                      <a:pt x="5650" y="5781"/>
                      <a:pt x="5650" y="5781"/>
                      <a:pt x="5650" y="5781"/>
                    </a:cubicBezTo>
                    <a:cubicBezTo>
                      <a:pt x="5720" y="5719"/>
                      <a:pt x="5720" y="5719"/>
                      <a:pt x="5720" y="5719"/>
                    </a:cubicBezTo>
                    <a:lnTo>
                      <a:pt x="5719" y="5717"/>
                    </a:lnTo>
                    <a:close/>
                    <a:moveTo>
                      <a:pt x="7799" y="6595"/>
                    </a:moveTo>
                    <a:cubicBezTo>
                      <a:pt x="7799" y="6595"/>
                      <a:pt x="7853" y="6479"/>
                      <a:pt x="7874" y="6433"/>
                    </a:cubicBezTo>
                    <a:cubicBezTo>
                      <a:pt x="7820" y="6427"/>
                      <a:pt x="7766" y="6421"/>
                      <a:pt x="7714" y="6416"/>
                    </a:cubicBezTo>
                    <a:cubicBezTo>
                      <a:pt x="7661" y="6410"/>
                      <a:pt x="7609" y="6404"/>
                      <a:pt x="7559" y="6398"/>
                    </a:cubicBezTo>
                    <a:cubicBezTo>
                      <a:pt x="7560" y="6402"/>
                      <a:pt x="7561" y="6406"/>
                      <a:pt x="7562" y="6411"/>
                    </a:cubicBezTo>
                    <a:cubicBezTo>
                      <a:pt x="7628" y="6416"/>
                      <a:pt x="7628" y="6416"/>
                      <a:pt x="7628" y="6416"/>
                    </a:cubicBezTo>
                    <a:cubicBezTo>
                      <a:pt x="7625" y="6459"/>
                      <a:pt x="7625" y="6459"/>
                      <a:pt x="7625" y="6459"/>
                    </a:cubicBezTo>
                    <a:cubicBezTo>
                      <a:pt x="7672" y="6462"/>
                      <a:pt x="7672" y="6462"/>
                      <a:pt x="7672" y="6462"/>
                    </a:cubicBezTo>
                    <a:cubicBezTo>
                      <a:pt x="7666" y="6548"/>
                      <a:pt x="7666" y="6548"/>
                      <a:pt x="7666" y="6548"/>
                    </a:cubicBezTo>
                    <a:cubicBezTo>
                      <a:pt x="7592" y="6543"/>
                      <a:pt x="7592" y="6543"/>
                      <a:pt x="7592" y="6543"/>
                    </a:cubicBezTo>
                    <a:cubicBezTo>
                      <a:pt x="7595" y="6556"/>
                      <a:pt x="7598" y="6569"/>
                      <a:pt x="7601" y="6581"/>
                    </a:cubicBezTo>
                    <a:cubicBezTo>
                      <a:pt x="7603" y="6581"/>
                      <a:pt x="7605" y="6581"/>
                      <a:pt x="7607" y="6581"/>
                    </a:cubicBezTo>
                    <a:cubicBezTo>
                      <a:pt x="7639" y="6581"/>
                      <a:pt x="7790" y="6597"/>
                      <a:pt x="7791" y="6597"/>
                    </a:cubicBezTo>
                    <a:cubicBezTo>
                      <a:pt x="7791" y="6597"/>
                      <a:pt x="7791" y="6597"/>
                      <a:pt x="7791" y="6597"/>
                    </a:cubicBezTo>
                    <a:cubicBezTo>
                      <a:pt x="7991" y="6647"/>
                      <a:pt x="7991" y="6647"/>
                      <a:pt x="7991" y="6647"/>
                    </a:cubicBezTo>
                    <a:cubicBezTo>
                      <a:pt x="8003" y="6589"/>
                      <a:pt x="8003" y="6589"/>
                      <a:pt x="8003" y="6589"/>
                    </a:cubicBezTo>
                    <a:cubicBezTo>
                      <a:pt x="7911" y="6583"/>
                      <a:pt x="7911" y="6583"/>
                      <a:pt x="7911" y="6583"/>
                    </a:cubicBezTo>
                    <a:cubicBezTo>
                      <a:pt x="7911" y="6576"/>
                      <a:pt x="7911" y="6576"/>
                      <a:pt x="7911" y="6576"/>
                    </a:cubicBezTo>
                    <a:cubicBezTo>
                      <a:pt x="7917" y="6497"/>
                      <a:pt x="7917" y="6497"/>
                      <a:pt x="7917" y="6497"/>
                    </a:cubicBezTo>
                    <a:cubicBezTo>
                      <a:pt x="7964" y="6500"/>
                      <a:pt x="7964" y="6500"/>
                      <a:pt x="7964" y="6500"/>
                    </a:cubicBezTo>
                    <a:cubicBezTo>
                      <a:pt x="7967" y="6457"/>
                      <a:pt x="7967" y="6457"/>
                      <a:pt x="7967" y="6457"/>
                    </a:cubicBezTo>
                    <a:cubicBezTo>
                      <a:pt x="8031" y="6462"/>
                      <a:pt x="8031" y="6462"/>
                      <a:pt x="8031" y="6462"/>
                    </a:cubicBezTo>
                    <a:cubicBezTo>
                      <a:pt x="8032" y="6454"/>
                      <a:pt x="8032" y="6454"/>
                      <a:pt x="8032" y="6454"/>
                    </a:cubicBezTo>
                    <a:cubicBezTo>
                      <a:pt x="8046" y="6457"/>
                      <a:pt x="8046" y="6457"/>
                      <a:pt x="8046" y="6457"/>
                    </a:cubicBezTo>
                    <a:cubicBezTo>
                      <a:pt x="8045" y="6463"/>
                      <a:pt x="8045" y="6463"/>
                      <a:pt x="8045" y="6463"/>
                    </a:cubicBezTo>
                    <a:cubicBezTo>
                      <a:pt x="8083" y="6465"/>
                      <a:pt x="8083" y="6465"/>
                      <a:pt x="8083" y="6465"/>
                    </a:cubicBezTo>
                    <a:cubicBezTo>
                      <a:pt x="8080" y="6508"/>
                      <a:pt x="8080" y="6508"/>
                      <a:pt x="8080" y="6508"/>
                    </a:cubicBezTo>
                    <a:cubicBezTo>
                      <a:pt x="8127" y="6512"/>
                      <a:pt x="8127" y="6512"/>
                      <a:pt x="8127" y="6512"/>
                    </a:cubicBezTo>
                    <a:cubicBezTo>
                      <a:pt x="8121" y="6598"/>
                      <a:pt x="8121" y="6598"/>
                      <a:pt x="8121" y="6598"/>
                    </a:cubicBezTo>
                    <a:cubicBezTo>
                      <a:pt x="8017" y="6590"/>
                      <a:pt x="8017" y="6590"/>
                      <a:pt x="8017" y="6590"/>
                    </a:cubicBezTo>
                    <a:cubicBezTo>
                      <a:pt x="8005" y="6649"/>
                      <a:pt x="8005" y="6649"/>
                      <a:pt x="8005" y="6649"/>
                    </a:cubicBezTo>
                    <a:cubicBezTo>
                      <a:pt x="8163" y="6655"/>
                      <a:pt x="8163" y="6655"/>
                      <a:pt x="8163" y="6655"/>
                    </a:cubicBezTo>
                    <a:cubicBezTo>
                      <a:pt x="8162" y="6669"/>
                      <a:pt x="8162" y="6669"/>
                      <a:pt x="8162" y="6669"/>
                    </a:cubicBezTo>
                    <a:cubicBezTo>
                      <a:pt x="7995" y="6663"/>
                      <a:pt x="7995" y="6663"/>
                      <a:pt x="7995" y="6663"/>
                    </a:cubicBezTo>
                    <a:cubicBezTo>
                      <a:pt x="7789" y="6611"/>
                      <a:pt x="7789" y="6611"/>
                      <a:pt x="7789" y="6611"/>
                    </a:cubicBezTo>
                    <a:cubicBezTo>
                      <a:pt x="7780" y="6610"/>
                      <a:pt x="7636" y="6595"/>
                      <a:pt x="7607" y="6595"/>
                    </a:cubicBezTo>
                    <a:cubicBezTo>
                      <a:pt x="7606" y="6595"/>
                      <a:pt x="7605" y="6595"/>
                      <a:pt x="7604" y="6595"/>
                    </a:cubicBezTo>
                    <a:cubicBezTo>
                      <a:pt x="7604" y="6595"/>
                      <a:pt x="7604" y="6595"/>
                      <a:pt x="7604" y="6595"/>
                    </a:cubicBezTo>
                    <a:cubicBezTo>
                      <a:pt x="7603" y="6591"/>
                      <a:pt x="7603" y="6591"/>
                      <a:pt x="7603" y="6591"/>
                    </a:cubicBezTo>
                    <a:cubicBezTo>
                      <a:pt x="7613" y="6636"/>
                      <a:pt x="7620" y="6673"/>
                      <a:pt x="7621" y="6685"/>
                    </a:cubicBezTo>
                    <a:cubicBezTo>
                      <a:pt x="7751" y="6780"/>
                      <a:pt x="7751" y="6780"/>
                      <a:pt x="7751" y="6780"/>
                    </a:cubicBezTo>
                    <a:cubicBezTo>
                      <a:pt x="7743" y="6791"/>
                      <a:pt x="7743" y="6791"/>
                      <a:pt x="7743" y="6791"/>
                    </a:cubicBezTo>
                    <a:cubicBezTo>
                      <a:pt x="7614" y="6697"/>
                      <a:pt x="7614" y="6697"/>
                      <a:pt x="7614" y="6697"/>
                    </a:cubicBezTo>
                    <a:cubicBezTo>
                      <a:pt x="7605" y="6697"/>
                      <a:pt x="7511" y="6704"/>
                      <a:pt x="7488" y="6706"/>
                    </a:cubicBezTo>
                    <a:cubicBezTo>
                      <a:pt x="7457" y="6858"/>
                      <a:pt x="7457" y="6858"/>
                      <a:pt x="7457" y="6858"/>
                    </a:cubicBezTo>
                    <a:cubicBezTo>
                      <a:pt x="7515" y="6897"/>
                      <a:pt x="7780" y="7094"/>
                      <a:pt x="7819" y="7124"/>
                    </a:cubicBezTo>
                    <a:cubicBezTo>
                      <a:pt x="7884" y="7081"/>
                      <a:pt x="7884" y="7081"/>
                      <a:pt x="7884" y="7081"/>
                    </a:cubicBezTo>
                    <a:cubicBezTo>
                      <a:pt x="7879" y="7077"/>
                      <a:pt x="7879" y="7077"/>
                      <a:pt x="7879" y="7077"/>
                    </a:cubicBezTo>
                    <a:cubicBezTo>
                      <a:pt x="7760" y="6994"/>
                      <a:pt x="7760" y="6994"/>
                      <a:pt x="7760" y="6994"/>
                    </a:cubicBezTo>
                    <a:cubicBezTo>
                      <a:pt x="7804" y="6932"/>
                      <a:pt x="7804" y="6932"/>
                      <a:pt x="7804" y="6932"/>
                    </a:cubicBezTo>
                    <a:cubicBezTo>
                      <a:pt x="7928" y="7019"/>
                      <a:pt x="7928" y="7019"/>
                      <a:pt x="7928" y="7019"/>
                    </a:cubicBezTo>
                    <a:cubicBezTo>
                      <a:pt x="7886" y="7079"/>
                      <a:pt x="7886" y="7079"/>
                      <a:pt x="7886" y="7079"/>
                    </a:cubicBezTo>
                    <a:cubicBezTo>
                      <a:pt x="8011" y="6995"/>
                      <a:pt x="8011" y="6995"/>
                      <a:pt x="8011" y="6995"/>
                    </a:cubicBezTo>
                    <a:cubicBezTo>
                      <a:pt x="7702" y="6859"/>
                      <a:pt x="7702" y="6859"/>
                      <a:pt x="7702" y="6859"/>
                    </a:cubicBezTo>
                    <a:cubicBezTo>
                      <a:pt x="7780" y="6741"/>
                      <a:pt x="7780" y="6741"/>
                      <a:pt x="7780" y="6741"/>
                    </a:cubicBezTo>
                    <a:cubicBezTo>
                      <a:pt x="8135" y="6818"/>
                      <a:pt x="8135" y="6818"/>
                      <a:pt x="8135" y="6818"/>
                    </a:cubicBezTo>
                    <a:cubicBezTo>
                      <a:pt x="8171" y="6658"/>
                      <a:pt x="8171" y="6658"/>
                      <a:pt x="8171" y="6658"/>
                    </a:cubicBezTo>
                    <a:cubicBezTo>
                      <a:pt x="8187" y="6469"/>
                      <a:pt x="8187" y="6469"/>
                      <a:pt x="8187" y="6469"/>
                    </a:cubicBezTo>
                    <a:cubicBezTo>
                      <a:pt x="8094" y="6458"/>
                      <a:pt x="7992" y="6447"/>
                      <a:pt x="7888" y="6435"/>
                    </a:cubicBezTo>
                    <a:cubicBezTo>
                      <a:pt x="7869" y="6476"/>
                      <a:pt x="7812" y="6600"/>
                      <a:pt x="7812" y="6600"/>
                    </a:cubicBezTo>
                    <a:lnTo>
                      <a:pt x="7799" y="6595"/>
                    </a:lnTo>
                    <a:close/>
                    <a:moveTo>
                      <a:pt x="8024" y="6985"/>
                    </a:moveTo>
                    <a:cubicBezTo>
                      <a:pt x="8023" y="6987"/>
                      <a:pt x="8023" y="6987"/>
                      <a:pt x="8023" y="6987"/>
                    </a:cubicBezTo>
                    <a:cubicBezTo>
                      <a:pt x="8056" y="6965"/>
                      <a:pt x="8056" y="6965"/>
                      <a:pt x="8056" y="6965"/>
                    </a:cubicBezTo>
                    <a:cubicBezTo>
                      <a:pt x="8131" y="6835"/>
                      <a:pt x="8131" y="6835"/>
                      <a:pt x="8131" y="6835"/>
                    </a:cubicBezTo>
                    <a:cubicBezTo>
                      <a:pt x="8132" y="6831"/>
                      <a:pt x="8132" y="6831"/>
                      <a:pt x="8132" y="6831"/>
                    </a:cubicBezTo>
                    <a:cubicBezTo>
                      <a:pt x="7787" y="6756"/>
                      <a:pt x="7787" y="6756"/>
                      <a:pt x="7787" y="6756"/>
                    </a:cubicBezTo>
                    <a:cubicBezTo>
                      <a:pt x="7723" y="6853"/>
                      <a:pt x="7723" y="6853"/>
                      <a:pt x="7723" y="6853"/>
                    </a:cubicBezTo>
                    <a:lnTo>
                      <a:pt x="8024" y="6985"/>
                    </a:lnTo>
                    <a:close/>
                    <a:moveTo>
                      <a:pt x="7910" y="7022"/>
                    </a:moveTo>
                    <a:cubicBezTo>
                      <a:pt x="7807" y="6950"/>
                      <a:pt x="7807" y="6950"/>
                      <a:pt x="7807" y="6950"/>
                    </a:cubicBezTo>
                    <a:cubicBezTo>
                      <a:pt x="7779" y="6991"/>
                      <a:pt x="7779" y="6991"/>
                      <a:pt x="7779" y="6991"/>
                    </a:cubicBezTo>
                    <a:cubicBezTo>
                      <a:pt x="7881" y="7063"/>
                      <a:pt x="7881" y="7063"/>
                      <a:pt x="7881" y="7063"/>
                    </a:cubicBezTo>
                    <a:lnTo>
                      <a:pt x="7910" y="7022"/>
                    </a:lnTo>
                    <a:close/>
                    <a:moveTo>
                      <a:pt x="6240" y="7555"/>
                    </a:moveTo>
                    <a:cubicBezTo>
                      <a:pt x="6240" y="7551"/>
                      <a:pt x="6240" y="7551"/>
                      <a:pt x="6240" y="7551"/>
                    </a:cubicBezTo>
                    <a:cubicBezTo>
                      <a:pt x="6240" y="7551"/>
                      <a:pt x="6247" y="7494"/>
                      <a:pt x="6254" y="7435"/>
                    </a:cubicBezTo>
                    <a:cubicBezTo>
                      <a:pt x="6258" y="7406"/>
                      <a:pt x="6262" y="7376"/>
                      <a:pt x="6265" y="7354"/>
                    </a:cubicBezTo>
                    <a:cubicBezTo>
                      <a:pt x="6266" y="7342"/>
                      <a:pt x="6268" y="7333"/>
                      <a:pt x="6269" y="7326"/>
                    </a:cubicBezTo>
                    <a:cubicBezTo>
                      <a:pt x="6269" y="7323"/>
                      <a:pt x="6269" y="7322"/>
                      <a:pt x="6270" y="7320"/>
                    </a:cubicBezTo>
                    <a:cubicBezTo>
                      <a:pt x="6243" y="7312"/>
                      <a:pt x="6132" y="7277"/>
                      <a:pt x="6022" y="7243"/>
                    </a:cubicBezTo>
                    <a:cubicBezTo>
                      <a:pt x="5958" y="7223"/>
                      <a:pt x="5895" y="7203"/>
                      <a:pt x="5847" y="7188"/>
                    </a:cubicBezTo>
                    <a:cubicBezTo>
                      <a:pt x="5823" y="7180"/>
                      <a:pt x="5803" y="7174"/>
                      <a:pt x="5789" y="7169"/>
                    </a:cubicBezTo>
                    <a:cubicBezTo>
                      <a:pt x="5785" y="7168"/>
                      <a:pt x="5781" y="7166"/>
                      <a:pt x="5777" y="7165"/>
                    </a:cubicBezTo>
                    <a:cubicBezTo>
                      <a:pt x="5742" y="7366"/>
                      <a:pt x="5742" y="7366"/>
                      <a:pt x="5742" y="7366"/>
                    </a:cubicBezTo>
                    <a:cubicBezTo>
                      <a:pt x="5953" y="7488"/>
                      <a:pt x="5953" y="7488"/>
                      <a:pt x="5953" y="7488"/>
                    </a:cubicBezTo>
                    <a:cubicBezTo>
                      <a:pt x="6000" y="7441"/>
                      <a:pt x="6000" y="7441"/>
                      <a:pt x="6000" y="7441"/>
                    </a:cubicBezTo>
                    <a:cubicBezTo>
                      <a:pt x="6005" y="7445"/>
                      <a:pt x="6005" y="7445"/>
                      <a:pt x="6005" y="7445"/>
                    </a:cubicBezTo>
                    <a:cubicBezTo>
                      <a:pt x="6005" y="7445"/>
                      <a:pt x="6054" y="7485"/>
                      <a:pt x="6102" y="7526"/>
                    </a:cubicBezTo>
                    <a:cubicBezTo>
                      <a:pt x="6127" y="7546"/>
                      <a:pt x="6151" y="7567"/>
                      <a:pt x="6169" y="7582"/>
                    </a:cubicBezTo>
                    <a:cubicBezTo>
                      <a:pt x="6178" y="7590"/>
                      <a:pt x="6186" y="7596"/>
                      <a:pt x="6191" y="7601"/>
                    </a:cubicBezTo>
                    <a:cubicBezTo>
                      <a:pt x="6194" y="7603"/>
                      <a:pt x="6196" y="7605"/>
                      <a:pt x="6197" y="7606"/>
                    </a:cubicBezTo>
                    <a:cubicBezTo>
                      <a:pt x="6198" y="7607"/>
                      <a:pt x="6199" y="7608"/>
                      <a:pt x="6199" y="7608"/>
                    </a:cubicBezTo>
                    <a:cubicBezTo>
                      <a:pt x="6199" y="7608"/>
                      <a:pt x="6200" y="7609"/>
                      <a:pt x="6200" y="7609"/>
                    </a:cubicBezTo>
                    <a:cubicBezTo>
                      <a:pt x="6200" y="7609"/>
                      <a:pt x="6200" y="7609"/>
                      <a:pt x="6200" y="7609"/>
                    </a:cubicBezTo>
                    <a:cubicBezTo>
                      <a:pt x="6244" y="7559"/>
                      <a:pt x="6244" y="7559"/>
                      <a:pt x="6244" y="7559"/>
                    </a:cubicBezTo>
                    <a:lnTo>
                      <a:pt x="6240" y="7555"/>
                    </a:lnTo>
                    <a:close/>
                    <a:moveTo>
                      <a:pt x="6297" y="7993"/>
                    </a:moveTo>
                    <a:cubicBezTo>
                      <a:pt x="6296" y="7993"/>
                      <a:pt x="6296" y="7993"/>
                      <a:pt x="6296" y="7993"/>
                    </a:cubicBezTo>
                    <a:cubicBezTo>
                      <a:pt x="6300" y="7986"/>
                      <a:pt x="6308" y="7938"/>
                      <a:pt x="6312" y="7894"/>
                    </a:cubicBezTo>
                    <a:cubicBezTo>
                      <a:pt x="6316" y="7858"/>
                      <a:pt x="6319" y="7824"/>
                      <a:pt x="6320" y="7812"/>
                    </a:cubicBezTo>
                    <a:cubicBezTo>
                      <a:pt x="6191" y="7742"/>
                      <a:pt x="6191" y="7742"/>
                      <a:pt x="6191" y="7742"/>
                    </a:cubicBezTo>
                    <a:cubicBezTo>
                      <a:pt x="6186" y="7796"/>
                      <a:pt x="6186" y="7796"/>
                      <a:pt x="6186" y="7796"/>
                    </a:cubicBezTo>
                    <a:cubicBezTo>
                      <a:pt x="6256" y="7802"/>
                      <a:pt x="6256" y="7802"/>
                      <a:pt x="6256" y="7802"/>
                    </a:cubicBezTo>
                    <a:cubicBezTo>
                      <a:pt x="6246" y="7959"/>
                      <a:pt x="6246" y="7959"/>
                      <a:pt x="6246" y="7959"/>
                    </a:cubicBezTo>
                    <a:cubicBezTo>
                      <a:pt x="6239" y="7959"/>
                      <a:pt x="6239" y="7959"/>
                      <a:pt x="6239" y="7959"/>
                    </a:cubicBezTo>
                    <a:cubicBezTo>
                      <a:pt x="6171" y="7953"/>
                      <a:pt x="6171" y="7953"/>
                      <a:pt x="6171" y="7953"/>
                    </a:cubicBezTo>
                    <a:cubicBezTo>
                      <a:pt x="6168" y="7990"/>
                      <a:pt x="6168" y="7990"/>
                      <a:pt x="6168" y="7990"/>
                    </a:cubicBezTo>
                    <a:cubicBezTo>
                      <a:pt x="6214" y="7993"/>
                      <a:pt x="6258" y="7996"/>
                      <a:pt x="6299" y="7999"/>
                    </a:cubicBezTo>
                    <a:cubicBezTo>
                      <a:pt x="6301" y="7992"/>
                      <a:pt x="6301" y="7992"/>
                      <a:pt x="6301" y="7992"/>
                    </a:cubicBezTo>
                    <a:cubicBezTo>
                      <a:pt x="6300" y="7997"/>
                      <a:pt x="6300" y="7997"/>
                      <a:pt x="6300" y="7997"/>
                    </a:cubicBezTo>
                    <a:cubicBezTo>
                      <a:pt x="6300" y="7997"/>
                      <a:pt x="6300" y="7997"/>
                      <a:pt x="6300" y="7997"/>
                    </a:cubicBezTo>
                    <a:cubicBezTo>
                      <a:pt x="6296" y="7993"/>
                      <a:pt x="6296" y="7993"/>
                      <a:pt x="6296" y="7993"/>
                    </a:cubicBezTo>
                    <a:lnTo>
                      <a:pt x="6297" y="7993"/>
                    </a:lnTo>
                    <a:close/>
                    <a:moveTo>
                      <a:pt x="6158" y="7939"/>
                    </a:moveTo>
                    <a:cubicBezTo>
                      <a:pt x="6171" y="7808"/>
                      <a:pt x="6171" y="7808"/>
                      <a:pt x="6171" y="7808"/>
                    </a:cubicBezTo>
                    <a:cubicBezTo>
                      <a:pt x="5933" y="7788"/>
                      <a:pt x="5933" y="7788"/>
                      <a:pt x="5933" y="7788"/>
                    </a:cubicBezTo>
                    <a:cubicBezTo>
                      <a:pt x="5943" y="7830"/>
                      <a:pt x="5956" y="7881"/>
                      <a:pt x="5965" y="7922"/>
                    </a:cubicBezTo>
                    <a:lnTo>
                      <a:pt x="6158" y="7939"/>
                    </a:lnTo>
                    <a:close/>
                    <a:moveTo>
                      <a:pt x="5967" y="7935"/>
                    </a:moveTo>
                    <a:cubicBezTo>
                      <a:pt x="5971" y="7953"/>
                      <a:pt x="5973" y="7967"/>
                      <a:pt x="5974" y="7976"/>
                    </a:cubicBezTo>
                    <a:cubicBezTo>
                      <a:pt x="6036" y="7980"/>
                      <a:pt x="6096" y="7985"/>
                      <a:pt x="6154" y="7989"/>
                    </a:cubicBezTo>
                    <a:cubicBezTo>
                      <a:pt x="6157" y="7952"/>
                      <a:pt x="6157" y="7952"/>
                      <a:pt x="6157" y="7952"/>
                    </a:cubicBezTo>
                    <a:lnTo>
                      <a:pt x="5967" y="7935"/>
                    </a:lnTo>
                    <a:close/>
                    <a:moveTo>
                      <a:pt x="5386" y="7729"/>
                    </a:moveTo>
                    <a:cubicBezTo>
                      <a:pt x="5390" y="7367"/>
                      <a:pt x="5390" y="7367"/>
                      <a:pt x="5390" y="7367"/>
                    </a:cubicBezTo>
                    <a:cubicBezTo>
                      <a:pt x="5404" y="7367"/>
                      <a:pt x="5404" y="7367"/>
                      <a:pt x="5404" y="7367"/>
                    </a:cubicBezTo>
                    <a:cubicBezTo>
                      <a:pt x="5400" y="7730"/>
                      <a:pt x="5400" y="7730"/>
                      <a:pt x="5400" y="7730"/>
                    </a:cubicBezTo>
                    <a:cubicBezTo>
                      <a:pt x="5588" y="7746"/>
                      <a:pt x="5588" y="7746"/>
                      <a:pt x="5588" y="7746"/>
                    </a:cubicBezTo>
                    <a:cubicBezTo>
                      <a:pt x="5584" y="7363"/>
                      <a:pt x="5584" y="7363"/>
                      <a:pt x="5584" y="7363"/>
                    </a:cubicBezTo>
                    <a:cubicBezTo>
                      <a:pt x="5257" y="7359"/>
                      <a:pt x="5257" y="7359"/>
                      <a:pt x="5257" y="7359"/>
                    </a:cubicBezTo>
                    <a:cubicBezTo>
                      <a:pt x="5180" y="7407"/>
                      <a:pt x="5180" y="7407"/>
                      <a:pt x="5180" y="7407"/>
                    </a:cubicBezTo>
                    <a:cubicBezTo>
                      <a:pt x="5182" y="7412"/>
                      <a:pt x="5182" y="7412"/>
                      <a:pt x="5182" y="7412"/>
                    </a:cubicBezTo>
                    <a:cubicBezTo>
                      <a:pt x="5242" y="7924"/>
                      <a:pt x="5242" y="7924"/>
                      <a:pt x="5242" y="7924"/>
                    </a:cubicBezTo>
                    <a:cubicBezTo>
                      <a:pt x="5282" y="7926"/>
                      <a:pt x="5330" y="7930"/>
                      <a:pt x="5384" y="7934"/>
                    </a:cubicBezTo>
                    <a:cubicBezTo>
                      <a:pt x="5385" y="7886"/>
                      <a:pt x="5385" y="7886"/>
                      <a:pt x="5385" y="7886"/>
                    </a:cubicBezTo>
                    <a:cubicBezTo>
                      <a:pt x="5288" y="7877"/>
                      <a:pt x="5288" y="7877"/>
                      <a:pt x="5288" y="7877"/>
                    </a:cubicBezTo>
                    <a:cubicBezTo>
                      <a:pt x="5299" y="7721"/>
                      <a:pt x="5299" y="7721"/>
                      <a:pt x="5299" y="7721"/>
                    </a:cubicBezTo>
                    <a:lnTo>
                      <a:pt x="5386" y="7729"/>
                    </a:lnTo>
                    <a:close/>
                    <a:moveTo>
                      <a:pt x="5311" y="7736"/>
                    </a:moveTo>
                    <a:cubicBezTo>
                      <a:pt x="5302" y="7865"/>
                      <a:pt x="5302" y="7865"/>
                      <a:pt x="5302" y="7865"/>
                    </a:cubicBezTo>
                    <a:cubicBezTo>
                      <a:pt x="5385" y="7872"/>
                      <a:pt x="5385" y="7872"/>
                      <a:pt x="5385" y="7872"/>
                    </a:cubicBezTo>
                    <a:cubicBezTo>
                      <a:pt x="5386" y="7742"/>
                      <a:pt x="5386" y="7742"/>
                      <a:pt x="5386" y="7742"/>
                    </a:cubicBezTo>
                    <a:lnTo>
                      <a:pt x="5311" y="7736"/>
                    </a:lnTo>
                    <a:close/>
                    <a:moveTo>
                      <a:pt x="4407" y="7735"/>
                    </a:moveTo>
                    <a:cubicBezTo>
                      <a:pt x="4753" y="7517"/>
                      <a:pt x="4753" y="7517"/>
                      <a:pt x="4753" y="7517"/>
                    </a:cubicBezTo>
                    <a:cubicBezTo>
                      <a:pt x="4894" y="7569"/>
                      <a:pt x="4894" y="7569"/>
                      <a:pt x="4894" y="7569"/>
                    </a:cubicBezTo>
                    <a:cubicBezTo>
                      <a:pt x="5162" y="7402"/>
                      <a:pt x="5162" y="7402"/>
                      <a:pt x="5162" y="7402"/>
                    </a:cubicBezTo>
                    <a:cubicBezTo>
                      <a:pt x="5092" y="7255"/>
                      <a:pt x="5092" y="7255"/>
                      <a:pt x="5092" y="7255"/>
                    </a:cubicBezTo>
                    <a:cubicBezTo>
                      <a:pt x="5091" y="7254"/>
                      <a:pt x="5091" y="7254"/>
                      <a:pt x="5091" y="7254"/>
                    </a:cubicBezTo>
                    <a:cubicBezTo>
                      <a:pt x="5091" y="7254"/>
                      <a:pt x="5091" y="7249"/>
                      <a:pt x="5091" y="7240"/>
                    </a:cubicBezTo>
                    <a:cubicBezTo>
                      <a:pt x="5091" y="7242"/>
                      <a:pt x="5091" y="7242"/>
                      <a:pt x="5091" y="7242"/>
                    </a:cubicBezTo>
                    <a:cubicBezTo>
                      <a:pt x="4718" y="7167"/>
                      <a:pt x="4718" y="7167"/>
                      <a:pt x="4718" y="7167"/>
                    </a:cubicBezTo>
                    <a:cubicBezTo>
                      <a:pt x="4700" y="7265"/>
                      <a:pt x="4700" y="7265"/>
                      <a:pt x="4700" y="7265"/>
                    </a:cubicBezTo>
                    <a:cubicBezTo>
                      <a:pt x="4546" y="7240"/>
                      <a:pt x="4546" y="7240"/>
                      <a:pt x="4546" y="7240"/>
                    </a:cubicBezTo>
                    <a:cubicBezTo>
                      <a:pt x="4565" y="7137"/>
                      <a:pt x="4565" y="7137"/>
                      <a:pt x="4565" y="7137"/>
                    </a:cubicBezTo>
                    <a:cubicBezTo>
                      <a:pt x="4531" y="7130"/>
                      <a:pt x="4531" y="7130"/>
                      <a:pt x="4531" y="7130"/>
                    </a:cubicBezTo>
                    <a:cubicBezTo>
                      <a:pt x="4518" y="7183"/>
                      <a:pt x="4504" y="7233"/>
                      <a:pt x="4488" y="7277"/>
                    </a:cubicBezTo>
                    <a:cubicBezTo>
                      <a:pt x="4458" y="7364"/>
                      <a:pt x="4424" y="7429"/>
                      <a:pt x="4383" y="7467"/>
                    </a:cubicBezTo>
                    <a:cubicBezTo>
                      <a:pt x="4375" y="7476"/>
                      <a:pt x="4365" y="7484"/>
                      <a:pt x="4354" y="7491"/>
                    </a:cubicBezTo>
                    <a:lnTo>
                      <a:pt x="4407" y="7735"/>
                    </a:lnTo>
                    <a:close/>
                    <a:moveTo>
                      <a:pt x="4340" y="7502"/>
                    </a:moveTo>
                    <a:cubicBezTo>
                      <a:pt x="4312" y="7521"/>
                      <a:pt x="4282" y="7539"/>
                      <a:pt x="4255" y="7553"/>
                    </a:cubicBezTo>
                    <a:cubicBezTo>
                      <a:pt x="4307" y="7805"/>
                      <a:pt x="4307" y="7805"/>
                      <a:pt x="4307" y="7805"/>
                    </a:cubicBezTo>
                    <a:cubicBezTo>
                      <a:pt x="4403" y="7791"/>
                      <a:pt x="4403" y="7791"/>
                      <a:pt x="4403" y="7791"/>
                    </a:cubicBezTo>
                    <a:lnTo>
                      <a:pt x="4340" y="7502"/>
                    </a:lnTo>
                    <a:close/>
                    <a:moveTo>
                      <a:pt x="3702" y="6825"/>
                    </a:moveTo>
                    <a:cubicBezTo>
                      <a:pt x="3702" y="6825"/>
                      <a:pt x="3702" y="6825"/>
                      <a:pt x="3702" y="6825"/>
                    </a:cubicBezTo>
                    <a:cubicBezTo>
                      <a:pt x="3708" y="6826"/>
                      <a:pt x="3708" y="6829"/>
                      <a:pt x="3709" y="6830"/>
                    </a:cubicBezTo>
                    <a:cubicBezTo>
                      <a:pt x="3712" y="6836"/>
                      <a:pt x="3712" y="6845"/>
                      <a:pt x="3714" y="6856"/>
                    </a:cubicBezTo>
                    <a:cubicBezTo>
                      <a:pt x="3715" y="6861"/>
                      <a:pt x="3715" y="6866"/>
                      <a:pt x="3716" y="6870"/>
                    </a:cubicBezTo>
                    <a:cubicBezTo>
                      <a:pt x="3901" y="6904"/>
                      <a:pt x="3901" y="6904"/>
                      <a:pt x="3901" y="6904"/>
                    </a:cubicBezTo>
                    <a:cubicBezTo>
                      <a:pt x="4062" y="6694"/>
                      <a:pt x="4062" y="6694"/>
                      <a:pt x="4062" y="6694"/>
                    </a:cubicBezTo>
                    <a:cubicBezTo>
                      <a:pt x="3797" y="6541"/>
                      <a:pt x="3797" y="6541"/>
                      <a:pt x="3797" y="6541"/>
                    </a:cubicBezTo>
                    <a:cubicBezTo>
                      <a:pt x="3552" y="6755"/>
                      <a:pt x="3552" y="6755"/>
                      <a:pt x="3552" y="6755"/>
                    </a:cubicBezTo>
                    <a:cubicBezTo>
                      <a:pt x="3540" y="6794"/>
                      <a:pt x="3540" y="6794"/>
                      <a:pt x="3540" y="6794"/>
                    </a:cubicBezTo>
                    <a:cubicBezTo>
                      <a:pt x="3544" y="6795"/>
                      <a:pt x="3550" y="6796"/>
                      <a:pt x="3558" y="6798"/>
                    </a:cubicBezTo>
                    <a:cubicBezTo>
                      <a:pt x="3603" y="6807"/>
                      <a:pt x="3695" y="6824"/>
                      <a:pt x="3701" y="6825"/>
                    </a:cubicBezTo>
                    <a:cubicBezTo>
                      <a:pt x="3701" y="6825"/>
                      <a:pt x="3701" y="6825"/>
                      <a:pt x="3701" y="6825"/>
                    </a:cubicBezTo>
                    <a:cubicBezTo>
                      <a:pt x="3701" y="6825"/>
                      <a:pt x="3702" y="6825"/>
                      <a:pt x="3702" y="6825"/>
                    </a:cubicBezTo>
                    <a:close/>
                    <a:moveTo>
                      <a:pt x="2592" y="6730"/>
                    </a:moveTo>
                    <a:cubicBezTo>
                      <a:pt x="2468" y="7285"/>
                      <a:pt x="2468" y="7285"/>
                      <a:pt x="2468" y="7285"/>
                    </a:cubicBezTo>
                    <a:cubicBezTo>
                      <a:pt x="2555" y="7347"/>
                      <a:pt x="2660" y="7431"/>
                      <a:pt x="2814" y="7450"/>
                    </a:cubicBezTo>
                    <a:cubicBezTo>
                      <a:pt x="2825" y="7452"/>
                      <a:pt x="2837" y="7452"/>
                      <a:pt x="2848" y="7452"/>
                    </a:cubicBezTo>
                    <a:cubicBezTo>
                      <a:pt x="2921" y="7453"/>
                      <a:pt x="2994" y="7424"/>
                      <a:pt x="3058" y="7388"/>
                    </a:cubicBezTo>
                    <a:cubicBezTo>
                      <a:pt x="3049" y="7371"/>
                      <a:pt x="3035" y="7340"/>
                      <a:pt x="3017" y="7300"/>
                    </a:cubicBezTo>
                    <a:cubicBezTo>
                      <a:pt x="2979" y="7215"/>
                      <a:pt x="2925" y="7091"/>
                      <a:pt x="2881" y="6988"/>
                    </a:cubicBezTo>
                    <a:cubicBezTo>
                      <a:pt x="2859" y="6937"/>
                      <a:pt x="2839" y="6891"/>
                      <a:pt x="2824" y="6857"/>
                    </a:cubicBezTo>
                    <a:cubicBezTo>
                      <a:pt x="2817" y="6841"/>
                      <a:pt x="2811" y="6827"/>
                      <a:pt x="2807" y="6818"/>
                    </a:cubicBezTo>
                    <a:cubicBezTo>
                      <a:pt x="2805" y="6813"/>
                      <a:pt x="2803" y="6809"/>
                      <a:pt x="2802" y="6807"/>
                    </a:cubicBezTo>
                    <a:cubicBezTo>
                      <a:pt x="2802" y="6806"/>
                      <a:pt x="2802" y="6806"/>
                      <a:pt x="2801" y="6805"/>
                    </a:cubicBezTo>
                    <a:cubicBezTo>
                      <a:pt x="2568" y="6720"/>
                      <a:pt x="2568" y="6720"/>
                      <a:pt x="2568" y="6720"/>
                    </a:cubicBezTo>
                    <a:cubicBezTo>
                      <a:pt x="2277" y="6555"/>
                      <a:pt x="2277" y="6555"/>
                      <a:pt x="2277" y="6555"/>
                    </a:cubicBezTo>
                    <a:cubicBezTo>
                      <a:pt x="2254" y="6591"/>
                      <a:pt x="2229" y="6629"/>
                      <a:pt x="2205" y="6667"/>
                    </a:cubicBezTo>
                    <a:cubicBezTo>
                      <a:pt x="2151" y="6749"/>
                      <a:pt x="2098" y="6832"/>
                      <a:pt x="2057" y="6894"/>
                    </a:cubicBezTo>
                    <a:cubicBezTo>
                      <a:pt x="2037" y="6924"/>
                      <a:pt x="2020" y="6950"/>
                      <a:pt x="2007" y="6968"/>
                    </a:cubicBezTo>
                    <a:cubicBezTo>
                      <a:pt x="2024" y="6978"/>
                      <a:pt x="2037" y="6985"/>
                      <a:pt x="2045" y="6989"/>
                    </a:cubicBezTo>
                    <a:cubicBezTo>
                      <a:pt x="2086" y="7011"/>
                      <a:pt x="2165" y="7067"/>
                      <a:pt x="2247" y="7126"/>
                    </a:cubicBezTo>
                    <a:cubicBezTo>
                      <a:pt x="2329" y="7184"/>
                      <a:pt x="2412" y="7246"/>
                      <a:pt x="2456" y="7276"/>
                    </a:cubicBezTo>
                    <a:cubicBezTo>
                      <a:pt x="2578" y="6727"/>
                      <a:pt x="2578" y="6727"/>
                      <a:pt x="2578" y="6727"/>
                    </a:cubicBezTo>
                    <a:lnTo>
                      <a:pt x="2592" y="6730"/>
                    </a:lnTo>
                    <a:close/>
                    <a:moveTo>
                      <a:pt x="2184" y="5689"/>
                    </a:moveTo>
                    <a:cubicBezTo>
                      <a:pt x="2184" y="5689"/>
                      <a:pt x="2184" y="5689"/>
                      <a:pt x="2184" y="5689"/>
                    </a:cubicBezTo>
                    <a:cubicBezTo>
                      <a:pt x="2187" y="5689"/>
                      <a:pt x="2188" y="5690"/>
                      <a:pt x="2189" y="5691"/>
                    </a:cubicBezTo>
                    <a:cubicBezTo>
                      <a:pt x="2247" y="5577"/>
                      <a:pt x="2247" y="5577"/>
                      <a:pt x="2247" y="5577"/>
                    </a:cubicBezTo>
                    <a:cubicBezTo>
                      <a:pt x="2151" y="5531"/>
                      <a:pt x="2151" y="5531"/>
                      <a:pt x="2151" y="5531"/>
                    </a:cubicBezTo>
                    <a:cubicBezTo>
                      <a:pt x="2095" y="5644"/>
                      <a:pt x="2095" y="5644"/>
                      <a:pt x="2095" y="5644"/>
                    </a:cubicBezTo>
                    <a:cubicBezTo>
                      <a:pt x="2100" y="5647"/>
                      <a:pt x="2106" y="5650"/>
                      <a:pt x="2111" y="5653"/>
                    </a:cubicBezTo>
                    <a:cubicBezTo>
                      <a:pt x="2129" y="5662"/>
                      <a:pt x="2147" y="5671"/>
                      <a:pt x="2161" y="5678"/>
                    </a:cubicBezTo>
                    <a:cubicBezTo>
                      <a:pt x="2167" y="5682"/>
                      <a:pt x="2173" y="5684"/>
                      <a:pt x="2178" y="5686"/>
                    </a:cubicBezTo>
                    <a:cubicBezTo>
                      <a:pt x="2180" y="5687"/>
                      <a:pt x="2182" y="5688"/>
                      <a:pt x="2183" y="5689"/>
                    </a:cubicBezTo>
                    <a:cubicBezTo>
                      <a:pt x="2184" y="5689"/>
                      <a:pt x="2184" y="5689"/>
                      <a:pt x="2184" y="5689"/>
                    </a:cubicBezTo>
                    <a:cubicBezTo>
                      <a:pt x="2184" y="5689"/>
                      <a:pt x="2184" y="5689"/>
                      <a:pt x="2184" y="5689"/>
                    </a:cubicBezTo>
                    <a:cubicBezTo>
                      <a:pt x="2184" y="5689"/>
                      <a:pt x="2184" y="5689"/>
                      <a:pt x="2184" y="5689"/>
                    </a:cubicBezTo>
                    <a:close/>
                    <a:moveTo>
                      <a:pt x="2088" y="5656"/>
                    </a:moveTo>
                    <a:cubicBezTo>
                      <a:pt x="2009" y="5815"/>
                      <a:pt x="2009" y="5815"/>
                      <a:pt x="2009" y="5815"/>
                    </a:cubicBezTo>
                    <a:cubicBezTo>
                      <a:pt x="2103" y="5860"/>
                      <a:pt x="2103" y="5860"/>
                      <a:pt x="2103" y="5860"/>
                    </a:cubicBezTo>
                    <a:cubicBezTo>
                      <a:pt x="2183" y="5704"/>
                      <a:pt x="2183" y="5704"/>
                      <a:pt x="2183" y="5704"/>
                    </a:cubicBezTo>
                    <a:cubicBezTo>
                      <a:pt x="2182" y="5703"/>
                      <a:pt x="2182" y="5703"/>
                      <a:pt x="2182" y="5703"/>
                    </a:cubicBezTo>
                    <a:cubicBezTo>
                      <a:pt x="2175" y="5701"/>
                      <a:pt x="2168" y="5697"/>
                      <a:pt x="2154" y="5691"/>
                    </a:cubicBezTo>
                    <a:cubicBezTo>
                      <a:pt x="2136" y="5681"/>
                      <a:pt x="2111" y="5668"/>
                      <a:pt x="2088" y="5656"/>
                    </a:cubicBezTo>
                    <a:close/>
                    <a:moveTo>
                      <a:pt x="2077" y="5650"/>
                    </a:moveTo>
                    <a:cubicBezTo>
                      <a:pt x="2068" y="5646"/>
                      <a:pt x="2061" y="5642"/>
                      <a:pt x="2054" y="5638"/>
                    </a:cubicBezTo>
                    <a:cubicBezTo>
                      <a:pt x="1929" y="5863"/>
                      <a:pt x="1929" y="5863"/>
                      <a:pt x="1929" y="5863"/>
                    </a:cubicBezTo>
                    <a:cubicBezTo>
                      <a:pt x="1949" y="5877"/>
                      <a:pt x="1983" y="5901"/>
                      <a:pt x="2018" y="5925"/>
                    </a:cubicBezTo>
                    <a:cubicBezTo>
                      <a:pt x="2045" y="5944"/>
                      <a:pt x="2072" y="5962"/>
                      <a:pt x="2093" y="5976"/>
                    </a:cubicBezTo>
                    <a:cubicBezTo>
                      <a:pt x="2104" y="5983"/>
                      <a:pt x="2113" y="5989"/>
                      <a:pt x="2119" y="5993"/>
                    </a:cubicBezTo>
                    <a:cubicBezTo>
                      <a:pt x="2123" y="5995"/>
                      <a:pt x="2125" y="5997"/>
                      <a:pt x="2127" y="5998"/>
                    </a:cubicBezTo>
                    <a:cubicBezTo>
                      <a:pt x="2128" y="5998"/>
                      <a:pt x="2128" y="5999"/>
                      <a:pt x="2129" y="5999"/>
                    </a:cubicBezTo>
                    <a:cubicBezTo>
                      <a:pt x="2151" y="6000"/>
                      <a:pt x="2426" y="6029"/>
                      <a:pt x="2454" y="6034"/>
                    </a:cubicBezTo>
                    <a:cubicBezTo>
                      <a:pt x="2470" y="6012"/>
                      <a:pt x="2485" y="5991"/>
                      <a:pt x="2498" y="5974"/>
                    </a:cubicBezTo>
                    <a:cubicBezTo>
                      <a:pt x="2507" y="5962"/>
                      <a:pt x="2514" y="5953"/>
                      <a:pt x="2520" y="5946"/>
                    </a:cubicBezTo>
                    <a:cubicBezTo>
                      <a:pt x="2524" y="5943"/>
                      <a:pt x="2526" y="5940"/>
                      <a:pt x="2528" y="5938"/>
                    </a:cubicBezTo>
                    <a:cubicBezTo>
                      <a:pt x="2477" y="5849"/>
                      <a:pt x="2477" y="5849"/>
                      <a:pt x="2477" y="5849"/>
                    </a:cubicBezTo>
                    <a:cubicBezTo>
                      <a:pt x="2467" y="5845"/>
                      <a:pt x="2412" y="5836"/>
                      <a:pt x="2361" y="5828"/>
                    </a:cubicBezTo>
                    <a:cubicBezTo>
                      <a:pt x="2306" y="5819"/>
                      <a:pt x="2254" y="5812"/>
                      <a:pt x="2254" y="5812"/>
                    </a:cubicBezTo>
                    <a:cubicBezTo>
                      <a:pt x="2250" y="5812"/>
                      <a:pt x="2250" y="5812"/>
                      <a:pt x="2250" y="5812"/>
                    </a:cubicBezTo>
                    <a:cubicBezTo>
                      <a:pt x="2249" y="5809"/>
                      <a:pt x="2249" y="5809"/>
                      <a:pt x="2249" y="5809"/>
                    </a:cubicBezTo>
                    <a:cubicBezTo>
                      <a:pt x="2248" y="5808"/>
                      <a:pt x="2233" y="5781"/>
                      <a:pt x="2217" y="5754"/>
                    </a:cubicBezTo>
                    <a:cubicBezTo>
                      <a:pt x="2208" y="5741"/>
                      <a:pt x="2200" y="5727"/>
                      <a:pt x="2193" y="5717"/>
                    </a:cubicBezTo>
                    <a:cubicBezTo>
                      <a:pt x="2192" y="5716"/>
                      <a:pt x="2192" y="5716"/>
                      <a:pt x="2192" y="5715"/>
                    </a:cubicBezTo>
                    <a:cubicBezTo>
                      <a:pt x="2109" y="5878"/>
                      <a:pt x="2109" y="5878"/>
                      <a:pt x="2109" y="5878"/>
                    </a:cubicBezTo>
                    <a:cubicBezTo>
                      <a:pt x="1992" y="5821"/>
                      <a:pt x="1992" y="5821"/>
                      <a:pt x="1992" y="5821"/>
                    </a:cubicBezTo>
                    <a:lnTo>
                      <a:pt x="2077" y="5650"/>
                    </a:lnTo>
                    <a:close/>
                    <a:moveTo>
                      <a:pt x="6113" y="6300"/>
                    </a:moveTo>
                    <a:cubicBezTo>
                      <a:pt x="6116" y="6257"/>
                      <a:pt x="6116" y="6257"/>
                      <a:pt x="6116" y="6257"/>
                    </a:cubicBezTo>
                    <a:cubicBezTo>
                      <a:pt x="6065" y="6253"/>
                      <a:pt x="6065" y="6253"/>
                      <a:pt x="6065" y="6253"/>
                    </a:cubicBezTo>
                    <a:cubicBezTo>
                      <a:pt x="6044" y="6355"/>
                      <a:pt x="6044" y="6355"/>
                      <a:pt x="6044" y="6355"/>
                    </a:cubicBezTo>
                    <a:cubicBezTo>
                      <a:pt x="6155" y="6363"/>
                      <a:pt x="6155" y="6363"/>
                      <a:pt x="6155" y="6363"/>
                    </a:cubicBezTo>
                    <a:cubicBezTo>
                      <a:pt x="6159" y="6304"/>
                      <a:pt x="6159" y="6304"/>
                      <a:pt x="6159" y="6304"/>
                    </a:cubicBezTo>
                    <a:lnTo>
                      <a:pt x="6113" y="6300"/>
                    </a:lnTo>
                    <a:close/>
                    <a:moveTo>
                      <a:pt x="6051" y="6252"/>
                    </a:moveTo>
                    <a:cubicBezTo>
                      <a:pt x="6026" y="6250"/>
                      <a:pt x="6026" y="6250"/>
                      <a:pt x="6026" y="6250"/>
                    </a:cubicBezTo>
                    <a:cubicBezTo>
                      <a:pt x="6022" y="6293"/>
                      <a:pt x="6022" y="6293"/>
                      <a:pt x="6022" y="6293"/>
                    </a:cubicBezTo>
                    <a:cubicBezTo>
                      <a:pt x="5976" y="6289"/>
                      <a:pt x="5976" y="6289"/>
                      <a:pt x="5976" y="6289"/>
                    </a:cubicBezTo>
                    <a:cubicBezTo>
                      <a:pt x="5971" y="6349"/>
                      <a:pt x="5971" y="6349"/>
                      <a:pt x="5971" y="6349"/>
                    </a:cubicBezTo>
                    <a:cubicBezTo>
                      <a:pt x="6030" y="6354"/>
                      <a:pt x="6030" y="6354"/>
                      <a:pt x="6030" y="6354"/>
                    </a:cubicBezTo>
                    <a:lnTo>
                      <a:pt x="6051" y="6252"/>
                    </a:lnTo>
                    <a:close/>
                    <a:moveTo>
                      <a:pt x="6024" y="6457"/>
                    </a:moveTo>
                    <a:cubicBezTo>
                      <a:pt x="6145" y="6471"/>
                      <a:pt x="6145" y="6471"/>
                      <a:pt x="6145" y="6471"/>
                    </a:cubicBezTo>
                    <a:cubicBezTo>
                      <a:pt x="6151" y="6508"/>
                      <a:pt x="6151" y="6508"/>
                      <a:pt x="6151" y="6508"/>
                    </a:cubicBezTo>
                    <a:cubicBezTo>
                      <a:pt x="6201" y="6513"/>
                      <a:pt x="6201" y="6513"/>
                      <a:pt x="6201" y="6513"/>
                    </a:cubicBezTo>
                    <a:cubicBezTo>
                      <a:pt x="6196" y="6510"/>
                      <a:pt x="6196" y="6510"/>
                      <a:pt x="6196" y="6510"/>
                    </a:cubicBezTo>
                    <a:cubicBezTo>
                      <a:pt x="6196" y="6510"/>
                      <a:pt x="6199" y="6488"/>
                      <a:pt x="6200" y="6460"/>
                    </a:cubicBezTo>
                    <a:cubicBezTo>
                      <a:pt x="6204" y="6394"/>
                      <a:pt x="6205" y="6285"/>
                      <a:pt x="6206" y="6240"/>
                    </a:cubicBezTo>
                    <a:cubicBezTo>
                      <a:pt x="6071" y="6224"/>
                      <a:pt x="6071" y="6224"/>
                      <a:pt x="6071" y="6224"/>
                    </a:cubicBezTo>
                    <a:cubicBezTo>
                      <a:pt x="6067" y="6240"/>
                      <a:pt x="6067" y="6240"/>
                      <a:pt x="6067" y="6240"/>
                    </a:cubicBezTo>
                    <a:cubicBezTo>
                      <a:pt x="6130" y="6245"/>
                      <a:pt x="6130" y="6245"/>
                      <a:pt x="6130" y="6245"/>
                    </a:cubicBezTo>
                    <a:cubicBezTo>
                      <a:pt x="6127" y="6288"/>
                      <a:pt x="6127" y="6288"/>
                      <a:pt x="6127" y="6288"/>
                    </a:cubicBezTo>
                    <a:cubicBezTo>
                      <a:pt x="6174" y="6292"/>
                      <a:pt x="6174" y="6292"/>
                      <a:pt x="6174" y="6292"/>
                    </a:cubicBezTo>
                    <a:cubicBezTo>
                      <a:pt x="6167" y="6378"/>
                      <a:pt x="6167" y="6378"/>
                      <a:pt x="6167" y="6378"/>
                    </a:cubicBezTo>
                    <a:cubicBezTo>
                      <a:pt x="6042" y="6368"/>
                      <a:pt x="6042" y="6368"/>
                      <a:pt x="6042" y="6368"/>
                    </a:cubicBezTo>
                    <a:lnTo>
                      <a:pt x="6024" y="6457"/>
                    </a:lnTo>
                    <a:close/>
                    <a:moveTo>
                      <a:pt x="7040" y="6401"/>
                    </a:moveTo>
                    <a:cubicBezTo>
                      <a:pt x="7044" y="6358"/>
                      <a:pt x="7044" y="6358"/>
                      <a:pt x="7044" y="6358"/>
                    </a:cubicBezTo>
                    <a:cubicBezTo>
                      <a:pt x="7014" y="6355"/>
                      <a:pt x="7014" y="6355"/>
                      <a:pt x="7014" y="6355"/>
                    </a:cubicBezTo>
                    <a:cubicBezTo>
                      <a:pt x="6997" y="6457"/>
                      <a:pt x="6997" y="6457"/>
                      <a:pt x="6997" y="6457"/>
                    </a:cubicBezTo>
                    <a:cubicBezTo>
                      <a:pt x="7082" y="6464"/>
                      <a:pt x="7082" y="6464"/>
                      <a:pt x="7082" y="6464"/>
                    </a:cubicBezTo>
                    <a:cubicBezTo>
                      <a:pt x="7087" y="6404"/>
                      <a:pt x="7087" y="6404"/>
                      <a:pt x="7087" y="6404"/>
                    </a:cubicBezTo>
                    <a:lnTo>
                      <a:pt x="7040" y="6401"/>
                    </a:lnTo>
                    <a:close/>
                    <a:moveTo>
                      <a:pt x="7000" y="6354"/>
                    </a:moveTo>
                    <a:cubicBezTo>
                      <a:pt x="6953" y="6351"/>
                      <a:pt x="6953" y="6351"/>
                      <a:pt x="6953" y="6351"/>
                    </a:cubicBezTo>
                    <a:cubicBezTo>
                      <a:pt x="6950" y="6394"/>
                      <a:pt x="6950" y="6394"/>
                      <a:pt x="6950" y="6394"/>
                    </a:cubicBezTo>
                    <a:cubicBezTo>
                      <a:pt x="6903" y="6390"/>
                      <a:pt x="6903" y="6390"/>
                      <a:pt x="6903" y="6390"/>
                    </a:cubicBezTo>
                    <a:cubicBezTo>
                      <a:pt x="6899" y="6450"/>
                      <a:pt x="6899" y="6450"/>
                      <a:pt x="6899" y="6450"/>
                    </a:cubicBezTo>
                    <a:cubicBezTo>
                      <a:pt x="6983" y="6456"/>
                      <a:pt x="6983" y="6456"/>
                      <a:pt x="6983" y="6456"/>
                    </a:cubicBezTo>
                    <a:lnTo>
                      <a:pt x="7000" y="6354"/>
                    </a:lnTo>
                    <a:close/>
                    <a:moveTo>
                      <a:pt x="7004" y="6335"/>
                    </a:moveTo>
                    <a:cubicBezTo>
                      <a:pt x="6869" y="6319"/>
                      <a:pt x="6869" y="6319"/>
                      <a:pt x="6869" y="6319"/>
                    </a:cubicBezTo>
                    <a:cubicBezTo>
                      <a:pt x="6866" y="6339"/>
                      <a:pt x="6860" y="6371"/>
                      <a:pt x="6854" y="6403"/>
                    </a:cubicBezTo>
                    <a:cubicBezTo>
                      <a:pt x="6849" y="6429"/>
                      <a:pt x="6843" y="6455"/>
                      <a:pt x="6838" y="6475"/>
                    </a:cubicBezTo>
                    <a:cubicBezTo>
                      <a:pt x="6836" y="6484"/>
                      <a:pt x="6834" y="6493"/>
                      <a:pt x="6832" y="6499"/>
                    </a:cubicBezTo>
                    <a:cubicBezTo>
                      <a:pt x="6831" y="6502"/>
                      <a:pt x="6830" y="6504"/>
                      <a:pt x="6829" y="6506"/>
                    </a:cubicBezTo>
                    <a:cubicBezTo>
                      <a:pt x="6828" y="6507"/>
                      <a:pt x="6827" y="6509"/>
                      <a:pt x="6825" y="6511"/>
                    </a:cubicBezTo>
                    <a:cubicBezTo>
                      <a:pt x="6895" y="6522"/>
                      <a:pt x="6964" y="6533"/>
                      <a:pt x="7017" y="6541"/>
                    </a:cubicBezTo>
                    <a:cubicBezTo>
                      <a:pt x="7045" y="6546"/>
                      <a:pt x="7068" y="6549"/>
                      <a:pt x="7085" y="6552"/>
                    </a:cubicBezTo>
                    <a:cubicBezTo>
                      <a:pt x="7088" y="6553"/>
                      <a:pt x="7092" y="6553"/>
                      <a:pt x="7095" y="6554"/>
                    </a:cubicBezTo>
                    <a:cubicBezTo>
                      <a:pt x="7124" y="6350"/>
                      <a:pt x="7124" y="6350"/>
                      <a:pt x="7124" y="6350"/>
                    </a:cubicBezTo>
                    <a:cubicBezTo>
                      <a:pt x="7017" y="6337"/>
                      <a:pt x="7017" y="6337"/>
                      <a:pt x="7017" y="6337"/>
                    </a:cubicBezTo>
                    <a:cubicBezTo>
                      <a:pt x="7017" y="6342"/>
                      <a:pt x="7017" y="6342"/>
                      <a:pt x="7017" y="6342"/>
                    </a:cubicBezTo>
                    <a:cubicBezTo>
                      <a:pt x="7058" y="6346"/>
                      <a:pt x="7058" y="6346"/>
                      <a:pt x="7058" y="6346"/>
                    </a:cubicBezTo>
                    <a:cubicBezTo>
                      <a:pt x="7054" y="6389"/>
                      <a:pt x="7054" y="6389"/>
                      <a:pt x="7054" y="6389"/>
                    </a:cubicBezTo>
                    <a:cubicBezTo>
                      <a:pt x="7101" y="6392"/>
                      <a:pt x="7101" y="6392"/>
                      <a:pt x="7101" y="6392"/>
                    </a:cubicBezTo>
                    <a:cubicBezTo>
                      <a:pt x="7094" y="6478"/>
                      <a:pt x="7094" y="6478"/>
                      <a:pt x="7094" y="6478"/>
                    </a:cubicBezTo>
                    <a:cubicBezTo>
                      <a:pt x="6994" y="6470"/>
                      <a:pt x="6994" y="6470"/>
                      <a:pt x="6994" y="6470"/>
                    </a:cubicBezTo>
                    <a:cubicBezTo>
                      <a:pt x="6984" y="6531"/>
                      <a:pt x="6984" y="6531"/>
                      <a:pt x="6984" y="6531"/>
                    </a:cubicBezTo>
                    <a:cubicBezTo>
                      <a:pt x="6970" y="6529"/>
                      <a:pt x="6970" y="6529"/>
                      <a:pt x="6970" y="6529"/>
                    </a:cubicBezTo>
                    <a:cubicBezTo>
                      <a:pt x="6980" y="6469"/>
                      <a:pt x="6980" y="6469"/>
                      <a:pt x="6980" y="6469"/>
                    </a:cubicBezTo>
                    <a:cubicBezTo>
                      <a:pt x="6884" y="6462"/>
                      <a:pt x="6884" y="6462"/>
                      <a:pt x="6884" y="6462"/>
                    </a:cubicBezTo>
                    <a:cubicBezTo>
                      <a:pt x="6885" y="6455"/>
                      <a:pt x="6885" y="6455"/>
                      <a:pt x="6885" y="6455"/>
                    </a:cubicBezTo>
                    <a:cubicBezTo>
                      <a:pt x="6891" y="6376"/>
                      <a:pt x="6891" y="6376"/>
                      <a:pt x="6891" y="6376"/>
                    </a:cubicBezTo>
                    <a:cubicBezTo>
                      <a:pt x="6938" y="6379"/>
                      <a:pt x="6938" y="6379"/>
                      <a:pt x="6938" y="6379"/>
                    </a:cubicBezTo>
                    <a:cubicBezTo>
                      <a:pt x="6941" y="6337"/>
                      <a:pt x="6941" y="6337"/>
                      <a:pt x="6941" y="6337"/>
                    </a:cubicBezTo>
                    <a:cubicBezTo>
                      <a:pt x="7003" y="6341"/>
                      <a:pt x="7003" y="6341"/>
                      <a:pt x="7003" y="6341"/>
                    </a:cubicBezTo>
                    <a:lnTo>
                      <a:pt x="7004" y="6335"/>
                    </a:lnTo>
                    <a:close/>
                    <a:moveTo>
                      <a:pt x="7158" y="6789"/>
                    </a:moveTo>
                    <a:cubicBezTo>
                      <a:pt x="7170" y="6729"/>
                      <a:pt x="7170" y="6729"/>
                      <a:pt x="7170" y="6729"/>
                    </a:cubicBezTo>
                    <a:cubicBezTo>
                      <a:pt x="7137" y="6718"/>
                      <a:pt x="7137" y="6718"/>
                      <a:pt x="7137" y="6718"/>
                    </a:cubicBezTo>
                    <a:cubicBezTo>
                      <a:pt x="7107" y="6926"/>
                      <a:pt x="7107" y="6926"/>
                      <a:pt x="7107" y="6926"/>
                    </a:cubicBezTo>
                    <a:cubicBezTo>
                      <a:pt x="7182" y="6940"/>
                      <a:pt x="7380" y="6977"/>
                      <a:pt x="7418" y="6984"/>
                    </a:cubicBezTo>
                    <a:cubicBezTo>
                      <a:pt x="7442" y="6864"/>
                      <a:pt x="7442" y="6864"/>
                      <a:pt x="7442" y="6864"/>
                    </a:cubicBezTo>
                    <a:cubicBezTo>
                      <a:pt x="7441" y="6864"/>
                      <a:pt x="7441" y="6863"/>
                      <a:pt x="7440" y="6863"/>
                    </a:cubicBezTo>
                    <a:cubicBezTo>
                      <a:pt x="7436" y="6862"/>
                      <a:pt x="7435" y="6861"/>
                      <a:pt x="7430" y="6858"/>
                    </a:cubicBezTo>
                    <a:cubicBezTo>
                      <a:pt x="7400" y="6841"/>
                      <a:pt x="7307" y="6777"/>
                      <a:pt x="7297" y="6770"/>
                    </a:cubicBezTo>
                    <a:cubicBezTo>
                      <a:pt x="7294" y="6769"/>
                      <a:pt x="7294" y="6769"/>
                      <a:pt x="7294" y="6769"/>
                    </a:cubicBezTo>
                    <a:cubicBezTo>
                      <a:pt x="7276" y="6860"/>
                      <a:pt x="7276" y="6860"/>
                      <a:pt x="7276" y="6860"/>
                    </a:cubicBezTo>
                    <a:cubicBezTo>
                      <a:pt x="7270" y="6859"/>
                      <a:pt x="7270" y="6859"/>
                      <a:pt x="7270" y="6859"/>
                    </a:cubicBezTo>
                    <a:cubicBezTo>
                      <a:pt x="7191" y="6843"/>
                      <a:pt x="7191" y="6843"/>
                      <a:pt x="7191" y="6843"/>
                    </a:cubicBezTo>
                    <a:cubicBezTo>
                      <a:pt x="7201" y="6797"/>
                      <a:pt x="7201" y="6797"/>
                      <a:pt x="7201" y="6797"/>
                    </a:cubicBezTo>
                    <a:lnTo>
                      <a:pt x="7158" y="6789"/>
                    </a:lnTo>
                    <a:close/>
                    <a:moveTo>
                      <a:pt x="7183" y="6733"/>
                    </a:moveTo>
                    <a:cubicBezTo>
                      <a:pt x="7174" y="6778"/>
                      <a:pt x="7174" y="6778"/>
                      <a:pt x="7174" y="6778"/>
                    </a:cubicBezTo>
                    <a:cubicBezTo>
                      <a:pt x="7216" y="6787"/>
                      <a:pt x="7216" y="6787"/>
                      <a:pt x="7216" y="6787"/>
                    </a:cubicBezTo>
                    <a:cubicBezTo>
                      <a:pt x="7207" y="6833"/>
                      <a:pt x="7207" y="6833"/>
                      <a:pt x="7207" y="6833"/>
                    </a:cubicBezTo>
                    <a:cubicBezTo>
                      <a:pt x="7266" y="6845"/>
                      <a:pt x="7266" y="6845"/>
                      <a:pt x="7266" y="6845"/>
                    </a:cubicBezTo>
                    <a:cubicBezTo>
                      <a:pt x="7281" y="6765"/>
                      <a:pt x="7281" y="6765"/>
                      <a:pt x="7281" y="6765"/>
                    </a:cubicBezTo>
                    <a:lnTo>
                      <a:pt x="7183" y="6733"/>
                    </a:lnTo>
                    <a:close/>
                    <a:moveTo>
                      <a:pt x="7284" y="6751"/>
                    </a:moveTo>
                    <a:cubicBezTo>
                      <a:pt x="7302" y="6664"/>
                      <a:pt x="7302" y="6664"/>
                      <a:pt x="7302" y="6664"/>
                    </a:cubicBezTo>
                    <a:cubicBezTo>
                      <a:pt x="7243" y="6652"/>
                      <a:pt x="7243" y="6652"/>
                      <a:pt x="7243" y="6652"/>
                    </a:cubicBezTo>
                    <a:cubicBezTo>
                      <a:pt x="7234" y="6698"/>
                      <a:pt x="7234" y="6698"/>
                      <a:pt x="7234" y="6698"/>
                    </a:cubicBezTo>
                    <a:cubicBezTo>
                      <a:pt x="7191" y="6690"/>
                      <a:pt x="7191" y="6690"/>
                      <a:pt x="7191" y="6690"/>
                    </a:cubicBezTo>
                    <a:cubicBezTo>
                      <a:pt x="7185" y="6719"/>
                      <a:pt x="7185" y="6719"/>
                      <a:pt x="7185" y="6719"/>
                    </a:cubicBezTo>
                    <a:lnTo>
                      <a:pt x="7284" y="6751"/>
                    </a:lnTo>
                    <a:close/>
                    <a:moveTo>
                      <a:pt x="7203" y="7103"/>
                    </a:moveTo>
                    <a:cubicBezTo>
                      <a:pt x="7349" y="7084"/>
                      <a:pt x="7349" y="7084"/>
                      <a:pt x="7349" y="7084"/>
                    </a:cubicBezTo>
                    <a:cubicBezTo>
                      <a:pt x="7411" y="6997"/>
                      <a:pt x="7411" y="6997"/>
                      <a:pt x="7411" y="6997"/>
                    </a:cubicBezTo>
                    <a:cubicBezTo>
                      <a:pt x="7366" y="6988"/>
                      <a:pt x="7179" y="6954"/>
                      <a:pt x="7105" y="6940"/>
                    </a:cubicBezTo>
                    <a:cubicBezTo>
                      <a:pt x="7075" y="7140"/>
                      <a:pt x="7075" y="7140"/>
                      <a:pt x="7075" y="7140"/>
                    </a:cubicBezTo>
                    <a:cubicBezTo>
                      <a:pt x="7209" y="7159"/>
                      <a:pt x="7209" y="7159"/>
                      <a:pt x="7209" y="7159"/>
                    </a:cubicBezTo>
                    <a:cubicBezTo>
                      <a:pt x="7206" y="7130"/>
                      <a:pt x="7204" y="7110"/>
                      <a:pt x="7204" y="7109"/>
                    </a:cubicBezTo>
                    <a:lnTo>
                      <a:pt x="7203" y="7103"/>
                    </a:lnTo>
                    <a:close/>
                    <a:moveTo>
                      <a:pt x="6433" y="7115"/>
                    </a:moveTo>
                    <a:cubicBezTo>
                      <a:pt x="6431" y="7123"/>
                      <a:pt x="6431" y="7123"/>
                      <a:pt x="6431" y="7123"/>
                    </a:cubicBezTo>
                    <a:cubicBezTo>
                      <a:pt x="6766" y="7166"/>
                      <a:pt x="6766" y="7166"/>
                      <a:pt x="6766" y="7166"/>
                    </a:cubicBezTo>
                    <a:cubicBezTo>
                      <a:pt x="6799" y="6985"/>
                      <a:pt x="6799" y="6985"/>
                      <a:pt x="6799" y="6985"/>
                    </a:cubicBezTo>
                    <a:cubicBezTo>
                      <a:pt x="6769" y="6980"/>
                      <a:pt x="6738" y="6975"/>
                      <a:pt x="6706" y="6971"/>
                    </a:cubicBezTo>
                    <a:cubicBezTo>
                      <a:pt x="6568" y="6950"/>
                      <a:pt x="6428" y="6930"/>
                      <a:pt x="6369" y="6922"/>
                    </a:cubicBezTo>
                    <a:cubicBezTo>
                      <a:pt x="6368" y="6924"/>
                      <a:pt x="6368" y="6924"/>
                      <a:pt x="6368" y="6924"/>
                    </a:cubicBezTo>
                    <a:lnTo>
                      <a:pt x="6433" y="7115"/>
                    </a:lnTo>
                    <a:close/>
                    <a:moveTo>
                      <a:pt x="5118" y="6838"/>
                    </a:moveTo>
                    <a:cubicBezTo>
                      <a:pt x="5122" y="6825"/>
                      <a:pt x="5122" y="6825"/>
                      <a:pt x="5122" y="6825"/>
                    </a:cubicBezTo>
                    <a:cubicBezTo>
                      <a:pt x="5742" y="6987"/>
                      <a:pt x="5742" y="6987"/>
                      <a:pt x="5742" y="6987"/>
                    </a:cubicBezTo>
                    <a:cubicBezTo>
                      <a:pt x="5772" y="6818"/>
                      <a:pt x="5772" y="6818"/>
                      <a:pt x="5772" y="6818"/>
                    </a:cubicBezTo>
                    <a:cubicBezTo>
                      <a:pt x="5211" y="6703"/>
                      <a:pt x="5211" y="6703"/>
                      <a:pt x="5211" y="6703"/>
                    </a:cubicBezTo>
                    <a:cubicBezTo>
                      <a:pt x="5165" y="6711"/>
                      <a:pt x="5165" y="6711"/>
                      <a:pt x="5165" y="6711"/>
                    </a:cubicBezTo>
                    <a:cubicBezTo>
                      <a:pt x="5160" y="6723"/>
                      <a:pt x="5145" y="6762"/>
                      <a:pt x="5129" y="6802"/>
                    </a:cubicBezTo>
                    <a:cubicBezTo>
                      <a:pt x="5111" y="6849"/>
                      <a:pt x="5093" y="6901"/>
                      <a:pt x="5093" y="6909"/>
                    </a:cubicBezTo>
                    <a:cubicBezTo>
                      <a:pt x="5094" y="6912"/>
                      <a:pt x="5094" y="6913"/>
                      <a:pt x="5094" y="6916"/>
                    </a:cubicBezTo>
                    <a:cubicBezTo>
                      <a:pt x="5097" y="6936"/>
                      <a:pt x="5099" y="7006"/>
                      <a:pt x="5101" y="7077"/>
                    </a:cubicBezTo>
                    <a:cubicBezTo>
                      <a:pt x="5101" y="7077"/>
                      <a:pt x="5102" y="7077"/>
                      <a:pt x="5102" y="7077"/>
                    </a:cubicBezTo>
                    <a:cubicBezTo>
                      <a:pt x="5102" y="7077"/>
                      <a:pt x="5102" y="7077"/>
                      <a:pt x="5102" y="7077"/>
                    </a:cubicBezTo>
                    <a:cubicBezTo>
                      <a:pt x="5112" y="7077"/>
                      <a:pt x="5278" y="7094"/>
                      <a:pt x="5443" y="7112"/>
                    </a:cubicBezTo>
                    <a:cubicBezTo>
                      <a:pt x="5526" y="7121"/>
                      <a:pt x="5608" y="7130"/>
                      <a:pt x="5669" y="7136"/>
                    </a:cubicBezTo>
                    <a:cubicBezTo>
                      <a:pt x="5686" y="7138"/>
                      <a:pt x="5702" y="7140"/>
                      <a:pt x="5716" y="7142"/>
                    </a:cubicBezTo>
                    <a:cubicBezTo>
                      <a:pt x="5740" y="7001"/>
                      <a:pt x="5740" y="7001"/>
                      <a:pt x="5740" y="7001"/>
                    </a:cubicBezTo>
                    <a:lnTo>
                      <a:pt x="5118" y="6838"/>
                    </a:lnTo>
                    <a:close/>
                    <a:moveTo>
                      <a:pt x="5102" y="7084"/>
                    </a:moveTo>
                    <a:cubicBezTo>
                      <a:pt x="5102" y="7084"/>
                      <a:pt x="5102" y="7084"/>
                      <a:pt x="5102" y="7084"/>
                    </a:cubicBezTo>
                    <a:cubicBezTo>
                      <a:pt x="5106" y="7078"/>
                      <a:pt x="5106" y="7078"/>
                      <a:pt x="5106" y="7078"/>
                    </a:cubicBezTo>
                    <a:lnTo>
                      <a:pt x="5102" y="7084"/>
                    </a:lnTo>
                    <a:close/>
                    <a:moveTo>
                      <a:pt x="5079" y="6910"/>
                    </a:moveTo>
                    <a:cubicBezTo>
                      <a:pt x="5079" y="6895"/>
                      <a:pt x="5098" y="6846"/>
                      <a:pt x="5116" y="6797"/>
                    </a:cubicBezTo>
                    <a:cubicBezTo>
                      <a:pt x="5135" y="6748"/>
                      <a:pt x="5154" y="6703"/>
                      <a:pt x="5154" y="6703"/>
                    </a:cubicBezTo>
                    <a:cubicBezTo>
                      <a:pt x="5155" y="6699"/>
                      <a:pt x="5155" y="6699"/>
                      <a:pt x="5155" y="6699"/>
                    </a:cubicBezTo>
                    <a:cubicBezTo>
                      <a:pt x="5220" y="6688"/>
                      <a:pt x="5220" y="6688"/>
                      <a:pt x="5220" y="6688"/>
                    </a:cubicBezTo>
                    <a:cubicBezTo>
                      <a:pt x="5224" y="6659"/>
                      <a:pt x="5233" y="6563"/>
                      <a:pt x="5243" y="6455"/>
                    </a:cubicBezTo>
                    <a:cubicBezTo>
                      <a:pt x="4860" y="6404"/>
                      <a:pt x="4860" y="6404"/>
                      <a:pt x="4860" y="6404"/>
                    </a:cubicBezTo>
                    <a:cubicBezTo>
                      <a:pt x="4810" y="6671"/>
                      <a:pt x="4810" y="6671"/>
                      <a:pt x="4810" y="6671"/>
                    </a:cubicBezTo>
                    <a:cubicBezTo>
                      <a:pt x="5134" y="6742"/>
                      <a:pt x="5134" y="6742"/>
                      <a:pt x="5134" y="6742"/>
                    </a:cubicBezTo>
                    <a:cubicBezTo>
                      <a:pt x="5131" y="6755"/>
                      <a:pt x="5131" y="6755"/>
                      <a:pt x="5131" y="6755"/>
                    </a:cubicBezTo>
                    <a:cubicBezTo>
                      <a:pt x="4808" y="6684"/>
                      <a:pt x="4808" y="6684"/>
                      <a:pt x="4808" y="6684"/>
                    </a:cubicBezTo>
                    <a:cubicBezTo>
                      <a:pt x="4721" y="7154"/>
                      <a:pt x="4721" y="7154"/>
                      <a:pt x="4721" y="7154"/>
                    </a:cubicBezTo>
                    <a:cubicBezTo>
                      <a:pt x="5091" y="7228"/>
                      <a:pt x="5091" y="7228"/>
                      <a:pt x="5091" y="7228"/>
                    </a:cubicBezTo>
                    <a:cubicBezTo>
                      <a:pt x="5090" y="7197"/>
                      <a:pt x="5089" y="7142"/>
                      <a:pt x="5088" y="7086"/>
                    </a:cubicBezTo>
                    <a:cubicBezTo>
                      <a:pt x="5086" y="7044"/>
                      <a:pt x="5085" y="7002"/>
                      <a:pt x="5084" y="6969"/>
                    </a:cubicBezTo>
                    <a:cubicBezTo>
                      <a:pt x="5083" y="6953"/>
                      <a:pt x="5082" y="6939"/>
                      <a:pt x="5081" y="6929"/>
                    </a:cubicBezTo>
                    <a:cubicBezTo>
                      <a:pt x="5081" y="6925"/>
                      <a:pt x="5081" y="6921"/>
                      <a:pt x="5080" y="6918"/>
                    </a:cubicBezTo>
                    <a:cubicBezTo>
                      <a:pt x="5080" y="6917"/>
                      <a:pt x="5080" y="6915"/>
                      <a:pt x="5080" y="6915"/>
                    </a:cubicBezTo>
                    <a:cubicBezTo>
                      <a:pt x="5080" y="6915"/>
                      <a:pt x="5080" y="6914"/>
                      <a:pt x="5080" y="6914"/>
                    </a:cubicBezTo>
                    <a:cubicBezTo>
                      <a:pt x="5080" y="6914"/>
                      <a:pt x="5080" y="6914"/>
                      <a:pt x="5080" y="6914"/>
                    </a:cubicBezTo>
                    <a:cubicBezTo>
                      <a:pt x="5079" y="6912"/>
                      <a:pt x="5079" y="6911"/>
                      <a:pt x="5079" y="6910"/>
                    </a:cubicBezTo>
                    <a:close/>
                    <a:moveTo>
                      <a:pt x="4875" y="6320"/>
                    </a:moveTo>
                    <a:cubicBezTo>
                      <a:pt x="4874" y="6327"/>
                      <a:pt x="4874" y="6327"/>
                      <a:pt x="4874" y="6327"/>
                    </a:cubicBezTo>
                    <a:cubicBezTo>
                      <a:pt x="4862" y="6390"/>
                      <a:pt x="4862" y="6390"/>
                      <a:pt x="4862" y="6390"/>
                    </a:cubicBezTo>
                    <a:cubicBezTo>
                      <a:pt x="5244" y="6442"/>
                      <a:pt x="5244" y="6442"/>
                      <a:pt x="5244" y="6442"/>
                    </a:cubicBezTo>
                    <a:cubicBezTo>
                      <a:pt x="5246" y="6419"/>
                      <a:pt x="5248" y="6396"/>
                      <a:pt x="5250" y="6373"/>
                    </a:cubicBezTo>
                    <a:cubicBezTo>
                      <a:pt x="5252" y="6355"/>
                      <a:pt x="5253" y="6338"/>
                      <a:pt x="5255" y="6320"/>
                    </a:cubicBezTo>
                    <a:cubicBezTo>
                      <a:pt x="4699" y="6231"/>
                      <a:pt x="4699" y="6231"/>
                      <a:pt x="4699" y="6231"/>
                    </a:cubicBezTo>
                    <a:cubicBezTo>
                      <a:pt x="4690" y="6275"/>
                      <a:pt x="4681" y="6320"/>
                      <a:pt x="4672" y="6364"/>
                    </a:cubicBezTo>
                    <a:cubicBezTo>
                      <a:pt x="4706" y="6369"/>
                      <a:pt x="4706" y="6369"/>
                      <a:pt x="4706" y="6369"/>
                    </a:cubicBezTo>
                    <a:cubicBezTo>
                      <a:pt x="4720" y="6294"/>
                      <a:pt x="4720" y="6294"/>
                      <a:pt x="4720" y="6294"/>
                    </a:cubicBezTo>
                    <a:lnTo>
                      <a:pt x="4875" y="6320"/>
                    </a:lnTo>
                    <a:close/>
                    <a:moveTo>
                      <a:pt x="4670" y="6640"/>
                    </a:moveTo>
                    <a:cubicBezTo>
                      <a:pt x="4798" y="6668"/>
                      <a:pt x="4798" y="6668"/>
                      <a:pt x="4798" y="6668"/>
                    </a:cubicBezTo>
                    <a:cubicBezTo>
                      <a:pt x="4847" y="6402"/>
                      <a:pt x="4847" y="6402"/>
                      <a:pt x="4847" y="6402"/>
                    </a:cubicBezTo>
                    <a:cubicBezTo>
                      <a:pt x="4717" y="6384"/>
                      <a:pt x="4717" y="6384"/>
                      <a:pt x="4717" y="6384"/>
                    </a:cubicBezTo>
                    <a:lnTo>
                      <a:pt x="4670" y="6640"/>
                    </a:lnTo>
                    <a:close/>
                    <a:moveTo>
                      <a:pt x="4704" y="6383"/>
                    </a:moveTo>
                    <a:cubicBezTo>
                      <a:pt x="4669" y="6378"/>
                      <a:pt x="4669" y="6378"/>
                      <a:pt x="4669" y="6378"/>
                    </a:cubicBezTo>
                    <a:cubicBezTo>
                      <a:pt x="4652" y="6466"/>
                      <a:pt x="4635" y="6551"/>
                      <a:pt x="4620" y="6629"/>
                    </a:cubicBezTo>
                    <a:cubicBezTo>
                      <a:pt x="4657" y="6637"/>
                      <a:pt x="4657" y="6637"/>
                      <a:pt x="4657" y="6637"/>
                    </a:cubicBezTo>
                    <a:lnTo>
                      <a:pt x="4704" y="6383"/>
                    </a:lnTo>
                    <a:close/>
                    <a:moveTo>
                      <a:pt x="4849" y="6388"/>
                    </a:moveTo>
                    <a:cubicBezTo>
                      <a:pt x="4860" y="6331"/>
                      <a:pt x="4860" y="6331"/>
                      <a:pt x="4860" y="6331"/>
                    </a:cubicBezTo>
                    <a:cubicBezTo>
                      <a:pt x="4730" y="6310"/>
                      <a:pt x="4730" y="6310"/>
                      <a:pt x="4730" y="6310"/>
                    </a:cubicBezTo>
                    <a:cubicBezTo>
                      <a:pt x="4719" y="6371"/>
                      <a:pt x="4719" y="6371"/>
                      <a:pt x="4719" y="6371"/>
                    </a:cubicBezTo>
                    <a:lnTo>
                      <a:pt x="4849" y="6388"/>
                    </a:lnTo>
                    <a:close/>
                    <a:moveTo>
                      <a:pt x="4740" y="5705"/>
                    </a:moveTo>
                    <a:cubicBezTo>
                      <a:pt x="4679" y="5699"/>
                      <a:pt x="4679" y="5699"/>
                      <a:pt x="4679" y="5699"/>
                    </a:cubicBezTo>
                    <a:cubicBezTo>
                      <a:pt x="4626" y="5986"/>
                      <a:pt x="4626" y="5986"/>
                      <a:pt x="4626" y="5986"/>
                    </a:cubicBezTo>
                    <a:cubicBezTo>
                      <a:pt x="4680" y="5996"/>
                      <a:pt x="4680" y="5996"/>
                      <a:pt x="4680" y="5996"/>
                    </a:cubicBezTo>
                    <a:cubicBezTo>
                      <a:pt x="4702" y="5887"/>
                      <a:pt x="4723" y="5786"/>
                      <a:pt x="4740" y="5705"/>
                    </a:cubicBezTo>
                    <a:close/>
                    <a:moveTo>
                      <a:pt x="4700" y="5514"/>
                    </a:moveTo>
                    <a:cubicBezTo>
                      <a:pt x="4570" y="5492"/>
                      <a:pt x="4570" y="5492"/>
                      <a:pt x="4570" y="5492"/>
                    </a:cubicBezTo>
                    <a:cubicBezTo>
                      <a:pt x="4537" y="5673"/>
                      <a:pt x="4537" y="5673"/>
                      <a:pt x="4537" y="5673"/>
                    </a:cubicBezTo>
                    <a:cubicBezTo>
                      <a:pt x="4668" y="5685"/>
                      <a:pt x="4668" y="5685"/>
                      <a:pt x="4668" y="5685"/>
                    </a:cubicBezTo>
                    <a:lnTo>
                      <a:pt x="4700" y="5514"/>
                    </a:lnTo>
                    <a:close/>
                    <a:moveTo>
                      <a:pt x="4534" y="5687"/>
                    </a:moveTo>
                    <a:cubicBezTo>
                      <a:pt x="4484" y="5960"/>
                      <a:pt x="4484" y="5960"/>
                      <a:pt x="4484" y="5960"/>
                    </a:cubicBezTo>
                    <a:cubicBezTo>
                      <a:pt x="4613" y="5984"/>
                      <a:pt x="4613" y="5984"/>
                      <a:pt x="4613" y="5984"/>
                    </a:cubicBezTo>
                    <a:cubicBezTo>
                      <a:pt x="4666" y="5698"/>
                      <a:pt x="4666" y="5698"/>
                      <a:pt x="4666" y="5698"/>
                    </a:cubicBezTo>
                    <a:lnTo>
                      <a:pt x="4534" y="5687"/>
                    </a:lnTo>
                    <a:close/>
                    <a:moveTo>
                      <a:pt x="4521" y="5685"/>
                    </a:moveTo>
                    <a:cubicBezTo>
                      <a:pt x="4019" y="5641"/>
                      <a:pt x="4019" y="5641"/>
                      <a:pt x="4019" y="5641"/>
                    </a:cubicBezTo>
                    <a:cubicBezTo>
                      <a:pt x="3991" y="5999"/>
                      <a:pt x="3991" y="5999"/>
                      <a:pt x="3991" y="5999"/>
                    </a:cubicBezTo>
                    <a:cubicBezTo>
                      <a:pt x="3886" y="6187"/>
                      <a:pt x="3886" y="6187"/>
                      <a:pt x="3886" y="6187"/>
                    </a:cubicBezTo>
                    <a:cubicBezTo>
                      <a:pt x="4244" y="6301"/>
                      <a:pt x="4244" y="6301"/>
                      <a:pt x="4244" y="6301"/>
                    </a:cubicBezTo>
                    <a:cubicBezTo>
                      <a:pt x="4404" y="6325"/>
                      <a:pt x="4404" y="6325"/>
                      <a:pt x="4404" y="6325"/>
                    </a:cubicBezTo>
                    <a:cubicBezTo>
                      <a:pt x="4469" y="5971"/>
                      <a:pt x="4469" y="5971"/>
                      <a:pt x="4469" y="5971"/>
                    </a:cubicBezTo>
                    <a:cubicBezTo>
                      <a:pt x="4001" y="5884"/>
                      <a:pt x="4001" y="5884"/>
                      <a:pt x="4001" y="5884"/>
                    </a:cubicBezTo>
                    <a:cubicBezTo>
                      <a:pt x="4003" y="5870"/>
                      <a:pt x="4003" y="5870"/>
                      <a:pt x="4003" y="5870"/>
                    </a:cubicBezTo>
                    <a:cubicBezTo>
                      <a:pt x="4471" y="5957"/>
                      <a:pt x="4471" y="5957"/>
                      <a:pt x="4471" y="5957"/>
                    </a:cubicBezTo>
                    <a:lnTo>
                      <a:pt x="4521" y="5685"/>
                    </a:lnTo>
                    <a:close/>
                    <a:moveTo>
                      <a:pt x="4401" y="6412"/>
                    </a:moveTo>
                    <a:cubicBezTo>
                      <a:pt x="4529" y="6433"/>
                      <a:pt x="4529" y="6433"/>
                      <a:pt x="4529" y="6433"/>
                    </a:cubicBezTo>
                    <a:cubicBezTo>
                      <a:pt x="4543" y="6360"/>
                      <a:pt x="4543" y="6360"/>
                      <a:pt x="4543" y="6360"/>
                    </a:cubicBezTo>
                    <a:cubicBezTo>
                      <a:pt x="4414" y="6341"/>
                      <a:pt x="4414" y="6341"/>
                      <a:pt x="4414" y="6341"/>
                    </a:cubicBezTo>
                    <a:lnTo>
                      <a:pt x="4401" y="6412"/>
                    </a:lnTo>
                    <a:close/>
                    <a:moveTo>
                      <a:pt x="4545" y="6346"/>
                    </a:moveTo>
                    <a:cubicBezTo>
                      <a:pt x="4610" y="5998"/>
                      <a:pt x="4610" y="5998"/>
                      <a:pt x="4610" y="5998"/>
                    </a:cubicBezTo>
                    <a:cubicBezTo>
                      <a:pt x="4482" y="5974"/>
                      <a:pt x="4482" y="5974"/>
                      <a:pt x="4482" y="5974"/>
                    </a:cubicBezTo>
                    <a:cubicBezTo>
                      <a:pt x="4417" y="6327"/>
                      <a:pt x="4417" y="6327"/>
                      <a:pt x="4417" y="6327"/>
                    </a:cubicBezTo>
                    <a:lnTo>
                      <a:pt x="4545" y="6346"/>
                    </a:lnTo>
                    <a:close/>
                    <a:moveTo>
                      <a:pt x="4558" y="6348"/>
                    </a:moveTo>
                    <a:cubicBezTo>
                      <a:pt x="4607" y="6355"/>
                      <a:pt x="4607" y="6355"/>
                      <a:pt x="4607" y="6355"/>
                    </a:cubicBezTo>
                    <a:cubicBezTo>
                      <a:pt x="4630" y="6240"/>
                      <a:pt x="4654" y="6121"/>
                      <a:pt x="4677" y="6010"/>
                    </a:cubicBezTo>
                    <a:cubicBezTo>
                      <a:pt x="4623" y="6000"/>
                      <a:pt x="4623" y="6000"/>
                      <a:pt x="4623" y="6000"/>
                    </a:cubicBezTo>
                    <a:lnTo>
                      <a:pt x="4558" y="6348"/>
                    </a:lnTo>
                    <a:close/>
                    <a:moveTo>
                      <a:pt x="4560" y="6966"/>
                    </a:moveTo>
                    <a:cubicBezTo>
                      <a:pt x="4553" y="7018"/>
                      <a:pt x="4544" y="7069"/>
                      <a:pt x="4533" y="7116"/>
                    </a:cubicBezTo>
                    <a:cubicBezTo>
                      <a:pt x="4567" y="7123"/>
                      <a:pt x="4567" y="7123"/>
                      <a:pt x="4567" y="7123"/>
                    </a:cubicBezTo>
                    <a:cubicBezTo>
                      <a:pt x="4654" y="6651"/>
                      <a:pt x="4654" y="6651"/>
                      <a:pt x="4654" y="6651"/>
                    </a:cubicBezTo>
                    <a:cubicBezTo>
                      <a:pt x="4617" y="6643"/>
                      <a:pt x="4617" y="6643"/>
                      <a:pt x="4617" y="6643"/>
                    </a:cubicBezTo>
                    <a:cubicBezTo>
                      <a:pt x="4589" y="6789"/>
                      <a:pt x="4568" y="6909"/>
                      <a:pt x="4560" y="6966"/>
                    </a:cubicBezTo>
                    <a:close/>
                    <a:moveTo>
                      <a:pt x="4561" y="7229"/>
                    </a:moveTo>
                    <a:cubicBezTo>
                      <a:pt x="4690" y="7250"/>
                      <a:pt x="4690" y="7250"/>
                      <a:pt x="4690" y="7250"/>
                    </a:cubicBezTo>
                    <a:cubicBezTo>
                      <a:pt x="4706" y="7165"/>
                      <a:pt x="4706" y="7165"/>
                      <a:pt x="4706" y="7165"/>
                    </a:cubicBezTo>
                    <a:cubicBezTo>
                      <a:pt x="4578" y="7139"/>
                      <a:pt x="4578" y="7139"/>
                      <a:pt x="4578" y="7139"/>
                    </a:cubicBezTo>
                    <a:lnTo>
                      <a:pt x="4561" y="7229"/>
                    </a:lnTo>
                    <a:close/>
                    <a:moveTo>
                      <a:pt x="4708" y="7151"/>
                    </a:moveTo>
                    <a:cubicBezTo>
                      <a:pt x="4795" y="6682"/>
                      <a:pt x="4795" y="6682"/>
                      <a:pt x="4795" y="6682"/>
                    </a:cubicBezTo>
                    <a:cubicBezTo>
                      <a:pt x="4667" y="6654"/>
                      <a:pt x="4667" y="6654"/>
                      <a:pt x="4667" y="6654"/>
                    </a:cubicBezTo>
                    <a:cubicBezTo>
                      <a:pt x="4580" y="7125"/>
                      <a:pt x="4580" y="7125"/>
                      <a:pt x="4580" y="7125"/>
                    </a:cubicBezTo>
                    <a:lnTo>
                      <a:pt x="4708" y="7151"/>
                    </a:lnTo>
                    <a:close/>
                    <a:moveTo>
                      <a:pt x="5774" y="6804"/>
                    </a:moveTo>
                    <a:cubicBezTo>
                      <a:pt x="5806" y="6619"/>
                      <a:pt x="5806" y="6619"/>
                      <a:pt x="5806" y="6619"/>
                    </a:cubicBezTo>
                    <a:cubicBezTo>
                      <a:pt x="5249" y="6537"/>
                      <a:pt x="5249" y="6537"/>
                      <a:pt x="5249" y="6537"/>
                    </a:cubicBezTo>
                    <a:cubicBezTo>
                      <a:pt x="5247" y="6559"/>
                      <a:pt x="5245" y="6580"/>
                      <a:pt x="5243" y="6599"/>
                    </a:cubicBezTo>
                    <a:cubicBezTo>
                      <a:pt x="5240" y="6628"/>
                      <a:pt x="5238" y="6653"/>
                      <a:pt x="5236" y="6671"/>
                    </a:cubicBezTo>
                    <a:cubicBezTo>
                      <a:pt x="5235" y="6680"/>
                      <a:pt x="5234" y="6687"/>
                      <a:pt x="5233" y="6692"/>
                    </a:cubicBezTo>
                    <a:cubicBezTo>
                      <a:pt x="5233" y="6693"/>
                      <a:pt x="5233" y="6693"/>
                      <a:pt x="5233" y="6694"/>
                    </a:cubicBezTo>
                    <a:lnTo>
                      <a:pt x="5774" y="6804"/>
                    </a:lnTo>
                    <a:close/>
                    <a:moveTo>
                      <a:pt x="5809" y="6606"/>
                    </a:moveTo>
                    <a:cubicBezTo>
                      <a:pt x="5836" y="6447"/>
                      <a:pt x="5836" y="6447"/>
                      <a:pt x="5836" y="6447"/>
                    </a:cubicBezTo>
                    <a:cubicBezTo>
                      <a:pt x="5619" y="6411"/>
                      <a:pt x="5619" y="6411"/>
                      <a:pt x="5619" y="6411"/>
                    </a:cubicBezTo>
                    <a:cubicBezTo>
                      <a:pt x="5618" y="6412"/>
                      <a:pt x="5616" y="6413"/>
                      <a:pt x="5613" y="6414"/>
                    </a:cubicBezTo>
                    <a:cubicBezTo>
                      <a:pt x="5613" y="6414"/>
                      <a:pt x="5613" y="6414"/>
                      <a:pt x="5613" y="6414"/>
                    </a:cubicBezTo>
                    <a:cubicBezTo>
                      <a:pt x="5612" y="6414"/>
                      <a:pt x="5612" y="6414"/>
                      <a:pt x="5611" y="6413"/>
                    </a:cubicBezTo>
                    <a:cubicBezTo>
                      <a:pt x="5612" y="6410"/>
                      <a:pt x="5612" y="6410"/>
                      <a:pt x="5612" y="6410"/>
                    </a:cubicBezTo>
                    <a:cubicBezTo>
                      <a:pt x="5503" y="6391"/>
                      <a:pt x="5503" y="6391"/>
                      <a:pt x="5503" y="6391"/>
                    </a:cubicBezTo>
                    <a:cubicBezTo>
                      <a:pt x="5502" y="6393"/>
                      <a:pt x="5500" y="6394"/>
                      <a:pt x="5496" y="6395"/>
                    </a:cubicBezTo>
                    <a:cubicBezTo>
                      <a:pt x="5496" y="6395"/>
                      <a:pt x="5495" y="6395"/>
                      <a:pt x="5494" y="6395"/>
                    </a:cubicBezTo>
                    <a:cubicBezTo>
                      <a:pt x="5495" y="6390"/>
                      <a:pt x="5495" y="6390"/>
                      <a:pt x="5495" y="6390"/>
                    </a:cubicBezTo>
                    <a:cubicBezTo>
                      <a:pt x="5381" y="6371"/>
                      <a:pt x="5381" y="6371"/>
                      <a:pt x="5381" y="6371"/>
                    </a:cubicBezTo>
                    <a:cubicBezTo>
                      <a:pt x="5380" y="6372"/>
                      <a:pt x="5379" y="6373"/>
                      <a:pt x="5376" y="6374"/>
                    </a:cubicBezTo>
                    <a:cubicBezTo>
                      <a:pt x="5376" y="6374"/>
                      <a:pt x="5376" y="6374"/>
                      <a:pt x="5376" y="6374"/>
                    </a:cubicBezTo>
                    <a:cubicBezTo>
                      <a:pt x="5375" y="6374"/>
                      <a:pt x="5375" y="6373"/>
                      <a:pt x="5374" y="6373"/>
                    </a:cubicBezTo>
                    <a:cubicBezTo>
                      <a:pt x="5375" y="6370"/>
                      <a:pt x="5375" y="6370"/>
                      <a:pt x="5375" y="6370"/>
                    </a:cubicBezTo>
                    <a:cubicBezTo>
                      <a:pt x="5267" y="6352"/>
                      <a:pt x="5267" y="6352"/>
                      <a:pt x="5267" y="6352"/>
                    </a:cubicBezTo>
                    <a:cubicBezTo>
                      <a:pt x="5269" y="6338"/>
                      <a:pt x="5269" y="6338"/>
                      <a:pt x="5269" y="6338"/>
                    </a:cubicBezTo>
                    <a:cubicBezTo>
                      <a:pt x="5373" y="6356"/>
                      <a:pt x="5373" y="6356"/>
                      <a:pt x="5373" y="6356"/>
                    </a:cubicBezTo>
                    <a:cubicBezTo>
                      <a:pt x="5375" y="6348"/>
                      <a:pt x="5378" y="6334"/>
                      <a:pt x="5381" y="6318"/>
                    </a:cubicBezTo>
                    <a:cubicBezTo>
                      <a:pt x="5382" y="6311"/>
                      <a:pt x="5383" y="6304"/>
                      <a:pt x="5384" y="6297"/>
                    </a:cubicBezTo>
                    <a:cubicBezTo>
                      <a:pt x="5272" y="6277"/>
                      <a:pt x="5272" y="6277"/>
                      <a:pt x="5272" y="6277"/>
                    </a:cubicBezTo>
                    <a:cubicBezTo>
                      <a:pt x="5269" y="6311"/>
                      <a:pt x="5266" y="6346"/>
                      <a:pt x="5263" y="6382"/>
                    </a:cubicBezTo>
                    <a:cubicBezTo>
                      <a:pt x="5259" y="6431"/>
                      <a:pt x="5255" y="6479"/>
                      <a:pt x="5250" y="6523"/>
                    </a:cubicBezTo>
                    <a:lnTo>
                      <a:pt x="5809" y="6606"/>
                    </a:lnTo>
                    <a:close/>
                    <a:moveTo>
                      <a:pt x="5271" y="6131"/>
                    </a:moveTo>
                    <a:cubicBezTo>
                      <a:pt x="4899" y="6065"/>
                      <a:pt x="4899" y="6065"/>
                      <a:pt x="4899" y="6065"/>
                    </a:cubicBezTo>
                    <a:cubicBezTo>
                      <a:pt x="4877" y="6194"/>
                      <a:pt x="4877" y="6194"/>
                      <a:pt x="4877" y="6194"/>
                    </a:cubicBezTo>
                    <a:cubicBezTo>
                      <a:pt x="5260" y="6262"/>
                      <a:pt x="5260" y="6262"/>
                      <a:pt x="5260" y="6262"/>
                    </a:cubicBezTo>
                    <a:cubicBezTo>
                      <a:pt x="5264" y="6211"/>
                      <a:pt x="5268" y="6165"/>
                      <a:pt x="5271" y="6131"/>
                    </a:cubicBezTo>
                    <a:close/>
                    <a:moveTo>
                      <a:pt x="5493" y="6376"/>
                    </a:moveTo>
                    <a:cubicBezTo>
                      <a:pt x="5496" y="6368"/>
                      <a:pt x="5498" y="6355"/>
                      <a:pt x="5501" y="6339"/>
                    </a:cubicBezTo>
                    <a:cubicBezTo>
                      <a:pt x="5502" y="6333"/>
                      <a:pt x="5503" y="6326"/>
                      <a:pt x="5505" y="6318"/>
                    </a:cubicBezTo>
                    <a:cubicBezTo>
                      <a:pt x="5398" y="6300"/>
                      <a:pt x="5398" y="6300"/>
                      <a:pt x="5398" y="6300"/>
                    </a:cubicBezTo>
                    <a:cubicBezTo>
                      <a:pt x="5397" y="6309"/>
                      <a:pt x="5395" y="6319"/>
                      <a:pt x="5393" y="6327"/>
                    </a:cubicBezTo>
                    <a:cubicBezTo>
                      <a:pt x="5391" y="6340"/>
                      <a:pt x="5389" y="6350"/>
                      <a:pt x="5387" y="6357"/>
                    </a:cubicBezTo>
                    <a:cubicBezTo>
                      <a:pt x="5387" y="6357"/>
                      <a:pt x="5387" y="6358"/>
                      <a:pt x="5387" y="6358"/>
                    </a:cubicBezTo>
                    <a:lnTo>
                      <a:pt x="5493" y="6376"/>
                    </a:lnTo>
                    <a:close/>
                    <a:moveTo>
                      <a:pt x="5610" y="6395"/>
                    </a:moveTo>
                    <a:cubicBezTo>
                      <a:pt x="5612" y="6388"/>
                      <a:pt x="5615" y="6374"/>
                      <a:pt x="5618" y="6358"/>
                    </a:cubicBezTo>
                    <a:cubicBezTo>
                      <a:pt x="5619" y="6352"/>
                      <a:pt x="5620" y="6346"/>
                      <a:pt x="5621" y="6339"/>
                    </a:cubicBezTo>
                    <a:cubicBezTo>
                      <a:pt x="5518" y="6321"/>
                      <a:pt x="5518" y="6321"/>
                      <a:pt x="5518" y="6321"/>
                    </a:cubicBezTo>
                    <a:cubicBezTo>
                      <a:pt x="5517" y="6331"/>
                      <a:pt x="5515" y="6340"/>
                      <a:pt x="5513" y="6349"/>
                    </a:cubicBezTo>
                    <a:cubicBezTo>
                      <a:pt x="5511" y="6361"/>
                      <a:pt x="5509" y="6371"/>
                      <a:pt x="5507" y="6378"/>
                    </a:cubicBezTo>
                    <a:lnTo>
                      <a:pt x="5610" y="6395"/>
                    </a:lnTo>
                    <a:close/>
                    <a:moveTo>
                      <a:pt x="5728" y="6414"/>
                    </a:moveTo>
                    <a:cubicBezTo>
                      <a:pt x="5728" y="6414"/>
                      <a:pt x="5728" y="6414"/>
                      <a:pt x="5728" y="6414"/>
                    </a:cubicBezTo>
                    <a:cubicBezTo>
                      <a:pt x="5728" y="6414"/>
                      <a:pt x="5728" y="6414"/>
                      <a:pt x="5728" y="6414"/>
                    </a:cubicBezTo>
                    <a:cubicBezTo>
                      <a:pt x="5729" y="6412"/>
                      <a:pt x="5734" y="6393"/>
                      <a:pt x="5738" y="6370"/>
                    </a:cubicBezTo>
                    <a:cubicBezTo>
                      <a:pt x="5739" y="6367"/>
                      <a:pt x="5739" y="6363"/>
                      <a:pt x="5740" y="6360"/>
                    </a:cubicBezTo>
                    <a:cubicBezTo>
                      <a:pt x="5635" y="6341"/>
                      <a:pt x="5635" y="6341"/>
                      <a:pt x="5635" y="6341"/>
                    </a:cubicBezTo>
                    <a:cubicBezTo>
                      <a:pt x="5633" y="6351"/>
                      <a:pt x="5632" y="6360"/>
                      <a:pt x="5630" y="6367"/>
                    </a:cubicBezTo>
                    <a:cubicBezTo>
                      <a:pt x="5628" y="6380"/>
                      <a:pt x="5626" y="6390"/>
                      <a:pt x="5624" y="6397"/>
                    </a:cubicBezTo>
                    <a:cubicBezTo>
                      <a:pt x="5624" y="6397"/>
                      <a:pt x="5624" y="6397"/>
                      <a:pt x="5624" y="6398"/>
                    </a:cubicBezTo>
                    <a:cubicBezTo>
                      <a:pt x="5730" y="6415"/>
                      <a:pt x="5730" y="6415"/>
                      <a:pt x="5730" y="6415"/>
                    </a:cubicBezTo>
                    <a:lnTo>
                      <a:pt x="5728" y="6414"/>
                    </a:lnTo>
                    <a:close/>
                    <a:moveTo>
                      <a:pt x="5807" y="6996"/>
                    </a:moveTo>
                    <a:cubicBezTo>
                      <a:pt x="6097" y="7022"/>
                      <a:pt x="6097" y="7022"/>
                      <a:pt x="6097" y="7022"/>
                    </a:cubicBezTo>
                    <a:cubicBezTo>
                      <a:pt x="6412" y="7120"/>
                      <a:pt x="6412" y="7120"/>
                      <a:pt x="6412" y="7120"/>
                    </a:cubicBezTo>
                    <a:cubicBezTo>
                      <a:pt x="6417" y="7121"/>
                      <a:pt x="6417" y="7121"/>
                      <a:pt x="6417" y="7121"/>
                    </a:cubicBezTo>
                    <a:cubicBezTo>
                      <a:pt x="6418" y="7115"/>
                      <a:pt x="6418" y="7115"/>
                      <a:pt x="6418" y="7115"/>
                    </a:cubicBezTo>
                    <a:cubicBezTo>
                      <a:pt x="6354" y="6924"/>
                      <a:pt x="6354" y="6924"/>
                      <a:pt x="6354" y="6924"/>
                    </a:cubicBezTo>
                    <a:cubicBezTo>
                      <a:pt x="6355" y="6920"/>
                      <a:pt x="6355" y="6920"/>
                      <a:pt x="6355" y="6920"/>
                    </a:cubicBezTo>
                    <a:cubicBezTo>
                      <a:pt x="6347" y="6919"/>
                      <a:pt x="6342" y="6919"/>
                      <a:pt x="6340" y="6919"/>
                    </a:cubicBezTo>
                    <a:cubicBezTo>
                      <a:pt x="6340" y="6919"/>
                      <a:pt x="6340" y="6919"/>
                      <a:pt x="6340" y="6919"/>
                    </a:cubicBezTo>
                    <a:cubicBezTo>
                      <a:pt x="6340" y="6919"/>
                      <a:pt x="6339" y="6919"/>
                      <a:pt x="6339" y="6919"/>
                    </a:cubicBezTo>
                    <a:cubicBezTo>
                      <a:pt x="6322" y="6918"/>
                      <a:pt x="5917" y="6846"/>
                      <a:pt x="5835" y="6832"/>
                    </a:cubicBezTo>
                    <a:lnTo>
                      <a:pt x="5807" y="6996"/>
                    </a:lnTo>
                    <a:close/>
                    <a:moveTo>
                      <a:pt x="6423" y="6335"/>
                    </a:moveTo>
                    <a:cubicBezTo>
                      <a:pt x="6427" y="6293"/>
                      <a:pt x="6427" y="6293"/>
                      <a:pt x="6427" y="6293"/>
                    </a:cubicBezTo>
                    <a:cubicBezTo>
                      <a:pt x="6374" y="6288"/>
                      <a:pt x="6374" y="6288"/>
                      <a:pt x="6374" y="6288"/>
                    </a:cubicBezTo>
                    <a:cubicBezTo>
                      <a:pt x="6369" y="6391"/>
                      <a:pt x="6369" y="6391"/>
                      <a:pt x="6369" y="6391"/>
                    </a:cubicBezTo>
                    <a:cubicBezTo>
                      <a:pt x="6465" y="6399"/>
                      <a:pt x="6465" y="6399"/>
                      <a:pt x="6465" y="6399"/>
                    </a:cubicBezTo>
                    <a:cubicBezTo>
                      <a:pt x="6470" y="6339"/>
                      <a:pt x="6470" y="6339"/>
                      <a:pt x="6470" y="6339"/>
                    </a:cubicBezTo>
                    <a:lnTo>
                      <a:pt x="6423" y="6335"/>
                    </a:lnTo>
                    <a:close/>
                    <a:moveTo>
                      <a:pt x="6368" y="6404"/>
                    </a:moveTo>
                    <a:cubicBezTo>
                      <a:pt x="6362" y="6530"/>
                      <a:pt x="6362" y="6530"/>
                      <a:pt x="6362" y="6530"/>
                    </a:cubicBezTo>
                    <a:cubicBezTo>
                      <a:pt x="6498" y="6543"/>
                      <a:pt x="6498" y="6543"/>
                      <a:pt x="6498" y="6543"/>
                    </a:cubicBezTo>
                    <a:cubicBezTo>
                      <a:pt x="6528" y="6279"/>
                      <a:pt x="6528" y="6279"/>
                      <a:pt x="6528" y="6279"/>
                    </a:cubicBezTo>
                    <a:cubicBezTo>
                      <a:pt x="6375" y="6260"/>
                      <a:pt x="6375" y="6260"/>
                      <a:pt x="6375" y="6260"/>
                    </a:cubicBezTo>
                    <a:cubicBezTo>
                      <a:pt x="6375" y="6275"/>
                      <a:pt x="6375" y="6275"/>
                      <a:pt x="6375" y="6275"/>
                    </a:cubicBezTo>
                    <a:cubicBezTo>
                      <a:pt x="6441" y="6280"/>
                      <a:pt x="6441" y="6280"/>
                      <a:pt x="6441" y="6280"/>
                    </a:cubicBezTo>
                    <a:cubicBezTo>
                      <a:pt x="6437" y="6323"/>
                      <a:pt x="6437" y="6323"/>
                      <a:pt x="6437" y="6323"/>
                    </a:cubicBezTo>
                    <a:cubicBezTo>
                      <a:pt x="6484" y="6327"/>
                      <a:pt x="6484" y="6327"/>
                      <a:pt x="6484" y="6327"/>
                    </a:cubicBezTo>
                    <a:cubicBezTo>
                      <a:pt x="6477" y="6413"/>
                      <a:pt x="6477" y="6413"/>
                      <a:pt x="6477" y="6413"/>
                    </a:cubicBezTo>
                    <a:lnTo>
                      <a:pt x="6368" y="6404"/>
                    </a:lnTo>
                    <a:close/>
                    <a:moveTo>
                      <a:pt x="6745" y="6371"/>
                    </a:moveTo>
                    <a:cubicBezTo>
                      <a:pt x="6749" y="6328"/>
                      <a:pt x="6749" y="6328"/>
                      <a:pt x="6749" y="6328"/>
                    </a:cubicBezTo>
                    <a:cubicBezTo>
                      <a:pt x="6709" y="6325"/>
                      <a:pt x="6709" y="6325"/>
                      <a:pt x="6709" y="6325"/>
                    </a:cubicBezTo>
                    <a:cubicBezTo>
                      <a:pt x="6696" y="6427"/>
                      <a:pt x="6696" y="6427"/>
                      <a:pt x="6696" y="6427"/>
                    </a:cubicBezTo>
                    <a:cubicBezTo>
                      <a:pt x="6787" y="6434"/>
                      <a:pt x="6787" y="6434"/>
                      <a:pt x="6787" y="6434"/>
                    </a:cubicBezTo>
                    <a:cubicBezTo>
                      <a:pt x="6792" y="6375"/>
                      <a:pt x="6792" y="6375"/>
                      <a:pt x="6792" y="6375"/>
                    </a:cubicBezTo>
                    <a:lnTo>
                      <a:pt x="6745" y="6371"/>
                    </a:lnTo>
                    <a:close/>
                    <a:moveTo>
                      <a:pt x="6699" y="6299"/>
                    </a:moveTo>
                    <a:cubicBezTo>
                      <a:pt x="6542" y="6280"/>
                      <a:pt x="6542" y="6280"/>
                      <a:pt x="6542" y="6280"/>
                    </a:cubicBezTo>
                    <a:cubicBezTo>
                      <a:pt x="6521" y="6463"/>
                      <a:pt x="6521" y="6463"/>
                      <a:pt x="6521" y="6463"/>
                    </a:cubicBezTo>
                    <a:cubicBezTo>
                      <a:pt x="6558" y="6469"/>
                      <a:pt x="6684" y="6488"/>
                      <a:pt x="6810" y="6508"/>
                    </a:cubicBezTo>
                    <a:cubicBezTo>
                      <a:pt x="6813" y="6509"/>
                      <a:pt x="6815" y="6509"/>
                      <a:pt x="6817" y="6509"/>
                    </a:cubicBezTo>
                    <a:cubicBezTo>
                      <a:pt x="6820" y="6504"/>
                      <a:pt x="6820" y="6504"/>
                      <a:pt x="6820" y="6504"/>
                    </a:cubicBezTo>
                    <a:cubicBezTo>
                      <a:pt x="6820" y="6498"/>
                      <a:pt x="6820" y="6498"/>
                      <a:pt x="6820" y="6498"/>
                    </a:cubicBezTo>
                    <a:cubicBezTo>
                      <a:pt x="6820" y="6504"/>
                      <a:pt x="6820" y="6504"/>
                      <a:pt x="6820" y="6504"/>
                    </a:cubicBezTo>
                    <a:cubicBezTo>
                      <a:pt x="6816" y="6500"/>
                      <a:pt x="6816" y="6500"/>
                      <a:pt x="6816" y="6500"/>
                    </a:cubicBezTo>
                    <a:cubicBezTo>
                      <a:pt x="6816" y="6500"/>
                      <a:pt x="6816" y="6500"/>
                      <a:pt x="6816" y="6500"/>
                    </a:cubicBezTo>
                    <a:cubicBezTo>
                      <a:pt x="6821" y="6491"/>
                      <a:pt x="6833" y="6439"/>
                      <a:pt x="6842" y="6391"/>
                    </a:cubicBezTo>
                    <a:cubicBezTo>
                      <a:pt x="6847" y="6363"/>
                      <a:pt x="6852" y="6335"/>
                      <a:pt x="6856" y="6318"/>
                    </a:cubicBezTo>
                    <a:cubicBezTo>
                      <a:pt x="6713" y="6301"/>
                      <a:pt x="6713" y="6301"/>
                      <a:pt x="6713" y="6301"/>
                    </a:cubicBezTo>
                    <a:cubicBezTo>
                      <a:pt x="6711" y="6312"/>
                      <a:pt x="6711" y="6312"/>
                      <a:pt x="6711" y="6312"/>
                    </a:cubicBezTo>
                    <a:cubicBezTo>
                      <a:pt x="6763" y="6316"/>
                      <a:pt x="6763" y="6316"/>
                      <a:pt x="6763" y="6316"/>
                    </a:cubicBezTo>
                    <a:cubicBezTo>
                      <a:pt x="6759" y="6359"/>
                      <a:pt x="6759" y="6359"/>
                      <a:pt x="6759" y="6359"/>
                    </a:cubicBezTo>
                    <a:cubicBezTo>
                      <a:pt x="6806" y="6363"/>
                      <a:pt x="6806" y="6363"/>
                      <a:pt x="6806" y="6363"/>
                    </a:cubicBezTo>
                    <a:cubicBezTo>
                      <a:pt x="6799" y="6448"/>
                      <a:pt x="6799" y="6448"/>
                      <a:pt x="6799" y="6448"/>
                    </a:cubicBezTo>
                    <a:cubicBezTo>
                      <a:pt x="6694" y="6440"/>
                      <a:pt x="6694" y="6440"/>
                      <a:pt x="6694" y="6440"/>
                    </a:cubicBezTo>
                    <a:cubicBezTo>
                      <a:pt x="6688" y="6484"/>
                      <a:pt x="6688" y="6484"/>
                      <a:pt x="6688" y="6484"/>
                    </a:cubicBezTo>
                    <a:cubicBezTo>
                      <a:pt x="6674" y="6483"/>
                      <a:pt x="6674" y="6483"/>
                      <a:pt x="6674" y="6483"/>
                    </a:cubicBezTo>
                    <a:cubicBezTo>
                      <a:pt x="6680" y="6439"/>
                      <a:pt x="6680" y="6439"/>
                      <a:pt x="6680" y="6439"/>
                    </a:cubicBezTo>
                    <a:cubicBezTo>
                      <a:pt x="6589" y="6432"/>
                      <a:pt x="6589" y="6432"/>
                      <a:pt x="6589" y="6432"/>
                    </a:cubicBezTo>
                    <a:cubicBezTo>
                      <a:pt x="6590" y="6425"/>
                      <a:pt x="6590" y="6425"/>
                      <a:pt x="6590" y="6425"/>
                    </a:cubicBezTo>
                    <a:cubicBezTo>
                      <a:pt x="6596" y="6346"/>
                      <a:pt x="6596" y="6346"/>
                      <a:pt x="6596" y="6346"/>
                    </a:cubicBezTo>
                    <a:cubicBezTo>
                      <a:pt x="6643" y="6350"/>
                      <a:pt x="6643" y="6350"/>
                      <a:pt x="6643" y="6350"/>
                    </a:cubicBezTo>
                    <a:cubicBezTo>
                      <a:pt x="6646" y="6307"/>
                      <a:pt x="6646" y="6307"/>
                      <a:pt x="6646" y="6307"/>
                    </a:cubicBezTo>
                    <a:cubicBezTo>
                      <a:pt x="6697" y="6311"/>
                      <a:pt x="6697" y="6311"/>
                      <a:pt x="6697" y="6311"/>
                    </a:cubicBezTo>
                    <a:lnTo>
                      <a:pt x="6699" y="6299"/>
                    </a:lnTo>
                    <a:close/>
                    <a:moveTo>
                      <a:pt x="6658" y="6321"/>
                    </a:moveTo>
                    <a:cubicBezTo>
                      <a:pt x="6655" y="6364"/>
                      <a:pt x="6655" y="6364"/>
                      <a:pt x="6655" y="6364"/>
                    </a:cubicBezTo>
                    <a:cubicBezTo>
                      <a:pt x="6608" y="6360"/>
                      <a:pt x="6608" y="6360"/>
                      <a:pt x="6608" y="6360"/>
                    </a:cubicBezTo>
                    <a:cubicBezTo>
                      <a:pt x="6604" y="6420"/>
                      <a:pt x="6604" y="6420"/>
                      <a:pt x="6604" y="6420"/>
                    </a:cubicBezTo>
                    <a:cubicBezTo>
                      <a:pt x="6682" y="6426"/>
                      <a:pt x="6682" y="6426"/>
                      <a:pt x="6682" y="6426"/>
                    </a:cubicBezTo>
                    <a:cubicBezTo>
                      <a:pt x="6695" y="6324"/>
                      <a:pt x="6695" y="6324"/>
                      <a:pt x="6695" y="6324"/>
                    </a:cubicBezTo>
                    <a:lnTo>
                      <a:pt x="6658" y="6321"/>
                    </a:lnTo>
                    <a:close/>
                    <a:moveTo>
                      <a:pt x="6486" y="6769"/>
                    </a:moveTo>
                    <a:cubicBezTo>
                      <a:pt x="6828" y="6825"/>
                      <a:pt x="6828" y="6825"/>
                      <a:pt x="6828" y="6825"/>
                    </a:cubicBezTo>
                    <a:cubicBezTo>
                      <a:pt x="6853" y="6690"/>
                      <a:pt x="6853" y="6690"/>
                      <a:pt x="6853" y="6690"/>
                    </a:cubicBezTo>
                    <a:cubicBezTo>
                      <a:pt x="6501" y="6632"/>
                      <a:pt x="6501" y="6632"/>
                      <a:pt x="6501" y="6632"/>
                    </a:cubicBezTo>
                    <a:lnTo>
                      <a:pt x="6486" y="6769"/>
                    </a:lnTo>
                    <a:close/>
                    <a:moveTo>
                      <a:pt x="6469" y="6780"/>
                    </a:moveTo>
                    <a:cubicBezTo>
                      <a:pt x="6404" y="6789"/>
                      <a:pt x="6404" y="6789"/>
                      <a:pt x="6404" y="6789"/>
                    </a:cubicBezTo>
                    <a:cubicBezTo>
                      <a:pt x="6372" y="6908"/>
                      <a:pt x="6372" y="6908"/>
                      <a:pt x="6372" y="6908"/>
                    </a:cubicBezTo>
                    <a:cubicBezTo>
                      <a:pt x="6448" y="6919"/>
                      <a:pt x="6639" y="6947"/>
                      <a:pt x="6802" y="6971"/>
                    </a:cubicBezTo>
                    <a:cubicBezTo>
                      <a:pt x="6826" y="6839"/>
                      <a:pt x="6826" y="6839"/>
                      <a:pt x="6826" y="6839"/>
                    </a:cubicBezTo>
                    <a:lnTo>
                      <a:pt x="6469" y="6780"/>
                    </a:lnTo>
                    <a:close/>
                    <a:moveTo>
                      <a:pt x="6779" y="7168"/>
                    </a:moveTo>
                    <a:cubicBezTo>
                      <a:pt x="6909" y="7185"/>
                      <a:pt x="6909" y="7185"/>
                      <a:pt x="6909" y="7185"/>
                    </a:cubicBezTo>
                    <a:cubicBezTo>
                      <a:pt x="6942" y="7006"/>
                      <a:pt x="6942" y="7006"/>
                      <a:pt x="6942" y="7006"/>
                    </a:cubicBezTo>
                    <a:cubicBezTo>
                      <a:pt x="6904" y="7000"/>
                      <a:pt x="6860" y="6994"/>
                      <a:pt x="6812" y="6986"/>
                    </a:cubicBezTo>
                    <a:lnTo>
                      <a:pt x="6779" y="7168"/>
                    </a:lnTo>
                    <a:close/>
                    <a:moveTo>
                      <a:pt x="6944" y="6992"/>
                    </a:moveTo>
                    <a:cubicBezTo>
                      <a:pt x="6968" y="6862"/>
                      <a:pt x="6968" y="6862"/>
                      <a:pt x="6968" y="6862"/>
                    </a:cubicBezTo>
                    <a:cubicBezTo>
                      <a:pt x="6839" y="6841"/>
                      <a:pt x="6839" y="6841"/>
                      <a:pt x="6839" y="6841"/>
                    </a:cubicBezTo>
                    <a:cubicBezTo>
                      <a:pt x="6815" y="6973"/>
                      <a:pt x="6815" y="6973"/>
                      <a:pt x="6815" y="6973"/>
                    </a:cubicBezTo>
                    <a:cubicBezTo>
                      <a:pt x="6862" y="6980"/>
                      <a:pt x="6907" y="6986"/>
                      <a:pt x="6944" y="6992"/>
                    </a:cubicBezTo>
                    <a:close/>
                    <a:moveTo>
                      <a:pt x="6971" y="6848"/>
                    </a:moveTo>
                    <a:cubicBezTo>
                      <a:pt x="6995" y="6714"/>
                      <a:pt x="6995" y="6714"/>
                      <a:pt x="6995" y="6714"/>
                    </a:cubicBezTo>
                    <a:cubicBezTo>
                      <a:pt x="6866" y="6693"/>
                      <a:pt x="6866" y="6693"/>
                      <a:pt x="6866" y="6693"/>
                    </a:cubicBezTo>
                    <a:cubicBezTo>
                      <a:pt x="6841" y="6827"/>
                      <a:pt x="6841" y="6827"/>
                      <a:pt x="6841" y="6827"/>
                    </a:cubicBezTo>
                    <a:lnTo>
                      <a:pt x="6971" y="6848"/>
                    </a:lnTo>
                    <a:close/>
                    <a:moveTo>
                      <a:pt x="6998" y="6701"/>
                    </a:moveTo>
                    <a:cubicBezTo>
                      <a:pt x="7005" y="6658"/>
                      <a:pt x="7005" y="6658"/>
                      <a:pt x="7005" y="6658"/>
                    </a:cubicBezTo>
                    <a:cubicBezTo>
                      <a:pt x="6876" y="6636"/>
                      <a:pt x="6876" y="6636"/>
                      <a:pt x="6876" y="6636"/>
                    </a:cubicBezTo>
                    <a:cubicBezTo>
                      <a:pt x="6868" y="6679"/>
                      <a:pt x="6868" y="6679"/>
                      <a:pt x="6868" y="6679"/>
                    </a:cubicBezTo>
                    <a:lnTo>
                      <a:pt x="6998" y="6701"/>
                    </a:lnTo>
                    <a:close/>
                    <a:moveTo>
                      <a:pt x="6984" y="6850"/>
                    </a:moveTo>
                    <a:cubicBezTo>
                      <a:pt x="7050" y="6861"/>
                      <a:pt x="7050" y="6861"/>
                      <a:pt x="7050" y="6861"/>
                    </a:cubicBezTo>
                    <a:cubicBezTo>
                      <a:pt x="7069" y="6727"/>
                      <a:pt x="7069" y="6727"/>
                      <a:pt x="7069" y="6727"/>
                    </a:cubicBezTo>
                    <a:cubicBezTo>
                      <a:pt x="7008" y="6716"/>
                      <a:pt x="7008" y="6716"/>
                      <a:pt x="7008" y="6716"/>
                    </a:cubicBezTo>
                    <a:lnTo>
                      <a:pt x="6984" y="6850"/>
                    </a:lnTo>
                    <a:close/>
                    <a:moveTo>
                      <a:pt x="7071" y="6713"/>
                    </a:moveTo>
                    <a:cubicBezTo>
                      <a:pt x="7093" y="6568"/>
                      <a:pt x="7093" y="6568"/>
                      <a:pt x="7093" y="6568"/>
                    </a:cubicBezTo>
                    <a:cubicBezTo>
                      <a:pt x="7007" y="6553"/>
                      <a:pt x="6593" y="6488"/>
                      <a:pt x="6519" y="6477"/>
                    </a:cubicBezTo>
                    <a:cubicBezTo>
                      <a:pt x="6503" y="6618"/>
                      <a:pt x="6503" y="6618"/>
                      <a:pt x="6503" y="6618"/>
                    </a:cubicBezTo>
                    <a:cubicBezTo>
                      <a:pt x="6855" y="6677"/>
                      <a:pt x="6855" y="6677"/>
                      <a:pt x="6855" y="6677"/>
                    </a:cubicBezTo>
                    <a:cubicBezTo>
                      <a:pt x="6865" y="6621"/>
                      <a:pt x="6865" y="6621"/>
                      <a:pt x="6865" y="6621"/>
                    </a:cubicBezTo>
                    <a:cubicBezTo>
                      <a:pt x="7021" y="6647"/>
                      <a:pt x="7021" y="6647"/>
                      <a:pt x="7021" y="6647"/>
                    </a:cubicBezTo>
                    <a:cubicBezTo>
                      <a:pt x="7020" y="6653"/>
                      <a:pt x="7020" y="6653"/>
                      <a:pt x="7020" y="6653"/>
                    </a:cubicBezTo>
                    <a:cubicBezTo>
                      <a:pt x="7011" y="6703"/>
                      <a:pt x="7011" y="6703"/>
                      <a:pt x="7011" y="6703"/>
                    </a:cubicBezTo>
                    <a:lnTo>
                      <a:pt x="7071" y="6713"/>
                    </a:lnTo>
                    <a:close/>
                    <a:moveTo>
                      <a:pt x="7013" y="6104"/>
                    </a:moveTo>
                    <a:cubicBezTo>
                      <a:pt x="6882" y="6090"/>
                      <a:pt x="6882" y="6090"/>
                      <a:pt x="6882" y="6090"/>
                    </a:cubicBezTo>
                    <a:cubicBezTo>
                      <a:pt x="6869" y="6216"/>
                      <a:pt x="6869" y="6216"/>
                      <a:pt x="6869" y="6216"/>
                    </a:cubicBezTo>
                    <a:cubicBezTo>
                      <a:pt x="7000" y="6230"/>
                      <a:pt x="7000" y="6230"/>
                      <a:pt x="7000" y="6230"/>
                    </a:cubicBezTo>
                    <a:lnTo>
                      <a:pt x="7013" y="6104"/>
                    </a:lnTo>
                    <a:close/>
                    <a:moveTo>
                      <a:pt x="6868" y="6229"/>
                    </a:moveTo>
                    <a:cubicBezTo>
                      <a:pt x="6866" y="6253"/>
                      <a:pt x="6866" y="6253"/>
                      <a:pt x="6866" y="6253"/>
                    </a:cubicBezTo>
                    <a:cubicBezTo>
                      <a:pt x="6997" y="6269"/>
                      <a:pt x="6997" y="6269"/>
                      <a:pt x="6997" y="6269"/>
                    </a:cubicBezTo>
                    <a:cubicBezTo>
                      <a:pt x="6999" y="6243"/>
                      <a:pt x="6999" y="6243"/>
                      <a:pt x="6999" y="6243"/>
                    </a:cubicBezTo>
                    <a:lnTo>
                      <a:pt x="6868" y="6229"/>
                    </a:lnTo>
                    <a:close/>
                    <a:moveTo>
                      <a:pt x="6868" y="6089"/>
                    </a:moveTo>
                    <a:cubicBezTo>
                      <a:pt x="6725" y="6073"/>
                      <a:pt x="6725" y="6073"/>
                      <a:pt x="6725" y="6073"/>
                    </a:cubicBezTo>
                    <a:cubicBezTo>
                      <a:pt x="6713" y="6199"/>
                      <a:pt x="6713" y="6199"/>
                      <a:pt x="6713" y="6199"/>
                    </a:cubicBezTo>
                    <a:cubicBezTo>
                      <a:pt x="6855" y="6215"/>
                      <a:pt x="6855" y="6215"/>
                      <a:pt x="6855" y="6215"/>
                    </a:cubicBezTo>
                    <a:lnTo>
                      <a:pt x="6868" y="6089"/>
                    </a:lnTo>
                    <a:close/>
                    <a:moveTo>
                      <a:pt x="6711" y="6212"/>
                    </a:moveTo>
                    <a:cubicBezTo>
                      <a:pt x="6709" y="6234"/>
                      <a:pt x="6709" y="6234"/>
                      <a:pt x="6709" y="6234"/>
                    </a:cubicBezTo>
                    <a:cubicBezTo>
                      <a:pt x="6852" y="6251"/>
                      <a:pt x="6852" y="6251"/>
                      <a:pt x="6852" y="6251"/>
                    </a:cubicBezTo>
                    <a:cubicBezTo>
                      <a:pt x="6854" y="6228"/>
                      <a:pt x="6854" y="6228"/>
                      <a:pt x="6854" y="6228"/>
                    </a:cubicBezTo>
                    <a:lnTo>
                      <a:pt x="6711" y="6212"/>
                    </a:lnTo>
                    <a:close/>
                    <a:moveTo>
                      <a:pt x="6711" y="6072"/>
                    </a:moveTo>
                    <a:cubicBezTo>
                      <a:pt x="6572" y="6057"/>
                      <a:pt x="6572" y="6057"/>
                      <a:pt x="6572" y="6057"/>
                    </a:cubicBezTo>
                    <a:cubicBezTo>
                      <a:pt x="6559" y="6183"/>
                      <a:pt x="6559" y="6183"/>
                      <a:pt x="6559" y="6183"/>
                    </a:cubicBezTo>
                    <a:cubicBezTo>
                      <a:pt x="6699" y="6198"/>
                      <a:pt x="6699" y="6198"/>
                      <a:pt x="6699" y="6198"/>
                    </a:cubicBezTo>
                    <a:lnTo>
                      <a:pt x="6711" y="6072"/>
                    </a:lnTo>
                    <a:close/>
                    <a:moveTo>
                      <a:pt x="6558" y="6196"/>
                    </a:moveTo>
                    <a:cubicBezTo>
                      <a:pt x="6556" y="6216"/>
                      <a:pt x="6556" y="6216"/>
                      <a:pt x="6556" y="6216"/>
                    </a:cubicBezTo>
                    <a:cubicBezTo>
                      <a:pt x="6695" y="6232"/>
                      <a:pt x="6695" y="6232"/>
                      <a:pt x="6695" y="6232"/>
                    </a:cubicBezTo>
                    <a:cubicBezTo>
                      <a:pt x="6697" y="6211"/>
                      <a:pt x="6697" y="6211"/>
                      <a:pt x="6697" y="6211"/>
                    </a:cubicBezTo>
                    <a:lnTo>
                      <a:pt x="6558" y="6196"/>
                    </a:lnTo>
                    <a:close/>
                    <a:moveTo>
                      <a:pt x="6558" y="6055"/>
                    </a:moveTo>
                    <a:cubicBezTo>
                      <a:pt x="6427" y="6041"/>
                      <a:pt x="6427" y="6041"/>
                      <a:pt x="6427" y="6041"/>
                    </a:cubicBezTo>
                    <a:cubicBezTo>
                      <a:pt x="6414" y="6167"/>
                      <a:pt x="6414" y="6167"/>
                      <a:pt x="6414" y="6167"/>
                    </a:cubicBezTo>
                    <a:cubicBezTo>
                      <a:pt x="6545" y="6181"/>
                      <a:pt x="6545" y="6181"/>
                      <a:pt x="6545" y="6181"/>
                    </a:cubicBezTo>
                    <a:lnTo>
                      <a:pt x="6558" y="6055"/>
                    </a:lnTo>
                    <a:close/>
                    <a:moveTo>
                      <a:pt x="6413" y="6180"/>
                    </a:moveTo>
                    <a:cubicBezTo>
                      <a:pt x="6411" y="6198"/>
                      <a:pt x="6411" y="6198"/>
                      <a:pt x="6411" y="6198"/>
                    </a:cubicBezTo>
                    <a:cubicBezTo>
                      <a:pt x="6542" y="6214"/>
                      <a:pt x="6542" y="6214"/>
                      <a:pt x="6542" y="6214"/>
                    </a:cubicBezTo>
                    <a:cubicBezTo>
                      <a:pt x="6544" y="6195"/>
                      <a:pt x="6544" y="6195"/>
                      <a:pt x="6544" y="6195"/>
                    </a:cubicBezTo>
                    <a:lnTo>
                      <a:pt x="6413" y="6180"/>
                    </a:lnTo>
                    <a:close/>
                    <a:moveTo>
                      <a:pt x="6413" y="6040"/>
                    </a:moveTo>
                    <a:cubicBezTo>
                      <a:pt x="6282" y="6026"/>
                      <a:pt x="6282" y="6026"/>
                      <a:pt x="6282" y="6026"/>
                    </a:cubicBezTo>
                    <a:cubicBezTo>
                      <a:pt x="6270" y="6152"/>
                      <a:pt x="6270" y="6152"/>
                      <a:pt x="6270" y="6152"/>
                    </a:cubicBezTo>
                    <a:cubicBezTo>
                      <a:pt x="6400" y="6166"/>
                      <a:pt x="6400" y="6166"/>
                      <a:pt x="6400" y="6166"/>
                    </a:cubicBezTo>
                    <a:lnTo>
                      <a:pt x="6413" y="6040"/>
                    </a:lnTo>
                    <a:close/>
                    <a:moveTo>
                      <a:pt x="6268" y="6165"/>
                    </a:moveTo>
                    <a:cubicBezTo>
                      <a:pt x="6267" y="6181"/>
                      <a:pt x="6267" y="6181"/>
                      <a:pt x="6267" y="6181"/>
                    </a:cubicBezTo>
                    <a:cubicBezTo>
                      <a:pt x="6397" y="6197"/>
                      <a:pt x="6397" y="6197"/>
                      <a:pt x="6397" y="6197"/>
                    </a:cubicBezTo>
                    <a:cubicBezTo>
                      <a:pt x="6399" y="6179"/>
                      <a:pt x="6399" y="6179"/>
                      <a:pt x="6399" y="6179"/>
                    </a:cubicBezTo>
                    <a:lnTo>
                      <a:pt x="6268" y="6165"/>
                    </a:lnTo>
                    <a:close/>
                    <a:moveTo>
                      <a:pt x="6361" y="6274"/>
                    </a:moveTo>
                    <a:cubicBezTo>
                      <a:pt x="6362" y="6259"/>
                      <a:pt x="6362" y="6259"/>
                      <a:pt x="6362" y="6259"/>
                    </a:cubicBezTo>
                    <a:cubicBezTo>
                      <a:pt x="6220" y="6242"/>
                      <a:pt x="6220" y="6242"/>
                      <a:pt x="6220" y="6242"/>
                    </a:cubicBezTo>
                    <a:cubicBezTo>
                      <a:pt x="6219" y="6269"/>
                      <a:pt x="6219" y="6318"/>
                      <a:pt x="6218" y="6367"/>
                    </a:cubicBezTo>
                    <a:cubicBezTo>
                      <a:pt x="6217" y="6404"/>
                      <a:pt x="6215" y="6441"/>
                      <a:pt x="6214" y="6469"/>
                    </a:cubicBezTo>
                    <a:cubicBezTo>
                      <a:pt x="6213" y="6483"/>
                      <a:pt x="6212" y="6494"/>
                      <a:pt x="6211" y="6502"/>
                    </a:cubicBezTo>
                    <a:cubicBezTo>
                      <a:pt x="6211" y="6507"/>
                      <a:pt x="6210" y="6510"/>
                      <a:pt x="6209" y="6513"/>
                    </a:cubicBezTo>
                    <a:cubicBezTo>
                      <a:pt x="6209" y="6513"/>
                      <a:pt x="6209" y="6513"/>
                      <a:pt x="6209" y="6514"/>
                    </a:cubicBezTo>
                    <a:cubicBezTo>
                      <a:pt x="6348" y="6528"/>
                      <a:pt x="6348" y="6528"/>
                      <a:pt x="6348" y="6528"/>
                    </a:cubicBezTo>
                    <a:cubicBezTo>
                      <a:pt x="6354" y="6403"/>
                      <a:pt x="6354" y="6403"/>
                      <a:pt x="6354" y="6403"/>
                    </a:cubicBezTo>
                    <a:cubicBezTo>
                      <a:pt x="6267" y="6397"/>
                      <a:pt x="6267" y="6397"/>
                      <a:pt x="6267" y="6397"/>
                    </a:cubicBezTo>
                    <a:cubicBezTo>
                      <a:pt x="6268" y="6390"/>
                      <a:pt x="6268" y="6390"/>
                      <a:pt x="6268" y="6390"/>
                    </a:cubicBezTo>
                    <a:cubicBezTo>
                      <a:pt x="6274" y="6311"/>
                      <a:pt x="6274" y="6311"/>
                      <a:pt x="6274" y="6311"/>
                    </a:cubicBezTo>
                    <a:cubicBezTo>
                      <a:pt x="6321" y="6314"/>
                      <a:pt x="6321" y="6314"/>
                      <a:pt x="6321" y="6314"/>
                    </a:cubicBezTo>
                    <a:cubicBezTo>
                      <a:pt x="6324" y="6271"/>
                      <a:pt x="6324" y="6271"/>
                      <a:pt x="6324" y="6271"/>
                    </a:cubicBezTo>
                    <a:lnTo>
                      <a:pt x="6361" y="6274"/>
                    </a:lnTo>
                    <a:close/>
                    <a:moveTo>
                      <a:pt x="6336" y="6285"/>
                    </a:moveTo>
                    <a:cubicBezTo>
                      <a:pt x="6333" y="6328"/>
                      <a:pt x="6333" y="6328"/>
                      <a:pt x="6333" y="6328"/>
                    </a:cubicBezTo>
                    <a:cubicBezTo>
                      <a:pt x="6286" y="6325"/>
                      <a:pt x="6286" y="6325"/>
                      <a:pt x="6286" y="6325"/>
                    </a:cubicBezTo>
                    <a:cubicBezTo>
                      <a:pt x="6282" y="6384"/>
                      <a:pt x="6282" y="6384"/>
                      <a:pt x="6282" y="6384"/>
                    </a:cubicBezTo>
                    <a:cubicBezTo>
                      <a:pt x="6355" y="6390"/>
                      <a:pt x="6355" y="6390"/>
                      <a:pt x="6355" y="6390"/>
                    </a:cubicBezTo>
                    <a:cubicBezTo>
                      <a:pt x="6360" y="6287"/>
                      <a:pt x="6360" y="6287"/>
                      <a:pt x="6360" y="6287"/>
                    </a:cubicBezTo>
                    <a:lnTo>
                      <a:pt x="6336" y="6285"/>
                    </a:lnTo>
                    <a:close/>
                    <a:moveTo>
                      <a:pt x="6268" y="6024"/>
                    </a:moveTo>
                    <a:cubicBezTo>
                      <a:pt x="6132" y="6010"/>
                      <a:pt x="6132" y="6010"/>
                      <a:pt x="6132" y="6010"/>
                    </a:cubicBezTo>
                    <a:cubicBezTo>
                      <a:pt x="6119" y="6136"/>
                      <a:pt x="6119" y="6136"/>
                      <a:pt x="6119" y="6136"/>
                    </a:cubicBezTo>
                    <a:cubicBezTo>
                      <a:pt x="6256" y="6150"/>
                      <a:pt x="6256" y="6150"/>
                      <a:pt x="6256" y="6150"/>
                    </a:cubicBezTo>
                    <a:lnTo>
                      <a:pt x="6268" y="6024"/>
                    </a:lnTo>
                    <a:close/>
                    <a:moveTo>
                      <a:pt x="6118" y="6149"/>
                    </a:moveTo>
                    <a:cubicBezTo>
                      <a:pt x="6116" y="6163"/>
                      <a:pt x="6116" y="6163"/>
                      <a:pt x="6116" y="6163"/>
                    </a:cubicBezTo>
                    <a:cubicBezTo>
                      <a:pt x="6253" y="6180"/>
                      <a:pt x="6253" y="6180"/>
                      <a:pt x="6253" y="6180"/>
                    </a:cubicBezTo>
                    <a:cubicBezTo>
                      <a:pt x="6254" y="6163"/>
                      <a:pt x="6254" y="6163"/>
                      <a:pt x="6254" y="6163"/>
                    </a:cubicBezTo>
                    <a:lnTo>
                      <a:pt x="6118" y="6149"/>
                    </a:lnTo>
                    <a:close/>
                    <a:moveTo>
                      <a:pt x="6118" y="6008"/>
                    </a:moveTo>
                    <a:cubicBezTo>
                      <a:pt x="6005" y="5996"/>
                      <a:pt x="6005" y="5996"/>
                      <a:pt x="6005" y="5996"/>
                    </a:cubicBezTo>
                    <a:cubicBezTo>
                      <a:pt x="5990" y="6122"/>
                      <a:pt x="5990" y="6122"/>
                      <a:pt x="5990" y="6122"/>
                    </a:cubicBezTo>
                    <a:cubicBezTo>
                      <a:pt x="6105" y="6134"/>
                      <a:pt x="6105" y="6134"/>
                      <a:pt x="6105" y="6134"/>
                    </a:cubicBezTo>
                    <a:lnTo>
                      <a:pt x="6118" y="6008"/>
                    </a:lnTo>
                    <a:close/>
                    <a:moveTo>
                      <a:pt x="6202" y="6510"/>
                    </a:moveTo>
                    <a:cubicBezTo>
                      <a:pt x="6202" y="6508"/>
                      <a:pt x="6202" y="6508"/>
                      <a:pt x="6202" y="6508"/>
                    </a:cubicBezTo>
                    <a:cubicBezTo>
                      <a:pt x="6202" y="6507"/>
                      <a:pt x="6202" y="6507"/>
                      <a:pt x="6202" y="6507"/>
                    </a:cubicBezTo>
                    <a:lnTo>
                      <a:pt x="6202" y="6510"/>
                    </a:lnTo>
                    <a:close/>
                    <a:moveTo>
                      <a:pt x="5901" y="6456"/>
                    </a:moveTo>
                    <a:cubicBezTo>
                      <a:pt x="5873" y="6615"/>
                      <a:pt x="5873" y="6615"/>
                      <a:pt x="5873" y="6615"/>
                    </a:cubicBezTo>
                    <a:cubicBezTo>
                      <a:pt x="6467" y="6695"/>
                      <a:pt x="6467" y="6695"/>
                      <a:pt x="6467" y="6695"/>
                    </a:cubicBezTo>
                    <a:cubicBezTo>
                      <a:pt x="6465" y="6709"/>
                      <a:pt x="6465" y="6709"/>
                      <a:pt x="6465" y="6709"/>
                    </a:cubicBezTo>
                    <a:cubicBezTo>
                      <a:pt x="5871" y="6628"/>
                      <a:pt x="5871" y="6628"/>
                      <a:pt x="5871" y="6628"/>
                    </a:cubicBezTo>
                    <a:cubicBezTo>
                      <a:pt x="5838" y="6817"/>
                      <a:pt x="5838" y="6817"/>
                      <a:pt x="5838" y="6817"/>
                    </a:cubicBezTo>
                    <a:cubicBezTo>
                      <a:pt x="5845" y="6819"/>
                      <a:pt x="5845" y="6819"/>
                      <a:pt x="5845" y="6819"/>
                    </a:cubicBezTo>
                    <a:cubicBezTo>
                      <a:pt x="5845" y="6819"/>
                      <a:pt x="5845" y="6819"/>
                      <a:pt x="5845" y="6819"/>
                    </a:cubicBezTo>
                    <a:cubicBezTo>
                      <a:pt x="5886" y="6827"/>
                      <a:pt x="5980" y="6843"/>
                      <a:pt x="6076" y="6860"/>
                    </a:cubicBezTo>
                    <a:cubicBezTo>
                      <a:pt x="6199" y="6882"/>
                      <a:pt x="6326" y="6904"/>
                      <a:pt x="6338" y="6905"/>
                    </a:cubicBezTo>
                    <a:cubicBezTo>
                      <a:pt x="6339" y="6904"/>
                      <a:pt x="6339" y="6905"/>
                      <a:pt x="6339" y="6905"/>
                    </a:cubicBezTo>
                    <a:cubicBezTo>
                      <a:pt x="6340" y="6905"/>
                      <a:pt x="6340" y="6905"/>
                      <a:pt x="6340" y="6905"/>
                    </a:cubicBezTo>
                    <a:cubicBezTo>
                      <a:pt x="6342" y="6905"/>
                      <a:pt x="6348" y="6905"/>
                      <a:pt x="6358" y="6907"/>
                    </a:cubicBezTo>
                    <a:cubicBezTo>
                      <a:pt x="6392" y="6776"/>
                      <a:pt x="6392" y="6776"/>
                      <a:pt x="6392" y="6776"/>
                    </a:cubicBezTo>
                    <a:cubicBezTo>
                      <a:pt x="6469" y="6766"/>
                      <a:pt x="6469" y="6766"/>
                      <a:pt x="6469" y="6766"/>
                    </a:cubicBezTo>
                    <a:cubicBezTo>
                      <a:pt x="6472" y="6766"/>
                      <a:pt x="6472" y="6766"/>
                      <a:pt x="6472" y="6766"/>
                    </a:cubicBezTo>
                    <a:cubicBezTo>
                      <a:pt x="6488" y="6629"/>
                      <a:pt x="6488" y="6629"/>
                      <a:pt x="6488" y="6629"/>
                    </a:cubicBezTo>
                    <a:cubicBezTo>
                      <a:pt x="6486" y="6629"/>
                      <a:pt x="6486" y="6629"/>
                      <a:pt x="6486" y="6629"/>
                    </a:cubicBezTo>
                    <a:cubicBezTo>
                      <a:pt x="6488" y="6615"/>
                      <a:pt x="6488" y="6615"/>
                      <a:pt x="6488" y="6615"/>
                    </a:cubicBezTo>
                    <a:cubicBezTo>
                      <a:pt x="6489" y="6615"/>
                      <a:pt x="6489" y="6615"/>
                      <a:pt x="6489" y="6615"/>
                    </a:cubicBezTo>
                    <a:cubicBezTo>
                      <a:pt x="6496" y="6557"/>
                      <a:pt x="6496" y="6557"/>
                      <a:pt x="6496" y="6557"/>
                    </a:cubicBezTo>
                    <a:cubicBezTo>
                      <a:pt x="6139" y="6521"/>
                      <a:pt x="6139" y="6521"/>
                      <a:pt x="6139" y="6521"/>
                    </a:cubicBezTo>
                    <a:cubicBezTo>
                      <a:pt x="6133" y="6484"/>
                      <a:pt x="6133" y="6484"/>
                      <a:pt x="6133" y="6484"/>
                    </a:cubicBezTo>
                    <a:lnTo>
                      <a:pt x="5901" y="6456"/>
                    </a:lnTo>
                    <a:close/>
                    <a:moveTo>
                      <a:pt x="5879" y="6199"/>
                    </a:moveTo>
                    <a:cubicBezTo>
                      <a:pt x="5780" y="6180"/>
                      <a:pt x="5780" y="6180"/>
                      <a:pt x="5780" y="6180"/>
                    </a:cubicBezTo>
                    <a:cubicBezTo>
                      <a:pt x="5779" y="6188"/>
                      <a:pt x="5778" y="6197"/>
                      <a:pt x="5777" y="6207"/>
                    </a:cubicBezTo>
                    <a:cubicBezTo>
                      <a:pt x="5834" y="6218"/>
                      <a:pt x="5834" y="6218"/>
                      <a:pt x="5834" y="6218"/>
                    </a:cubicBezTo>
                    <a:cubicBezTo>
                      <a:pt x="5809" y="6372"/>
                      <a:pt x="5809" y="6372"/>
                      <a:pt x="5809" y="6372"/>
                    </a:cubicBezTo>
                    <a:cubicBezTo>
                      <a:pt x="5754" y="6362"/>
                      <a:pt x="5754" y="6362"/>
                      <a:pt x="5754" y="6362"/>
                    </a:cubicBezTo>
                    <a:cubicBezTo>
                      <a:pt x="5753" y="6368"/>
                      <a:pt x="5752" y="6374"/>
                      <a:pt x="5751" y="6380"/>
                    </a:cubicBezTo>
                    <a:cubicBezTo>
                      <a:pt x="5748" y="6392"/>
                      <a:pt x="5746" y="6402"/>
                      <a:pt x="5744" y="6410"/>
                    </a:cubicBezTo>
                    <a:cubicBezTo>
                      <a:pt x="5743" y="6413"/>
                      <a:pt x="5743" y="6415"/>
                      <a:pt x="5742" y="6417"/>
                    </a:cubicBezTo>
                    <a:cubicBezTo>
                      <a:pt x="5838" y="6434"/>
                      <a:pt x="5838" y="6434"/>
                      <a:pt x="5838" y="6434"/>
                    </a:cubicBezTo>
                    <a:lnTo>
                      <a:pt x="5879" y="6199"/>
                    </a:lnTo>
                    <a:close/>
                    <a:moveTo>
                      <a:pt x="5775" y="6220"/>
                    </a:moveTo>
                    <a:cubicBezTo>
                      <a:pt x="5772" y="6241"/>
                      <a:pt x="5769" y="6266"/>
                      <a:pt x="5765" y="6291"/>
                    </a:cubicBezTo>
                    <a:cubicBezTo>
                      <a:pt x="5762" y="6311"/>
                      <a:pt x="5759" y="6331"/>
                      <a:pt x="5756" y="6349"/>
                    </a:cubicBezTo>
                    <a:cubicBezTo>
                      <a:pt x="5798" y="6357"/>
                      <a:pt x="5798" y="6357"/>
                      <a:pt x="5798" y="6357"/>
                    </a:cubicBezTo>
                    <a:cubicBezTo>
                      <a:pt x="5819" y="6228"/>
                      <a:pt x="5819" y="6228"/>
                      <a:pt x="5819" y="6228"/>
                    </a:cubicBezTo>
                    <a:lnTo>
                      <a:pt x="5775" y="6220"/>
                    </a:lnTo>
                    <a:close/>
                    <a:moveTo>
                      <a:pt x="5767" y="6178"/>
                    </a:moveTo>
                    <a:cubicBezTo>
                      <a:pt x="5662" y="6158"/>
                      <a:pt x="5662" y="6158"/>
                      <a:pt x="5662" y="6158"/>
                    </a:cubicBezTo>
                    <a:cubicBezTo>
                      <a:pt x="5661" y="6165"/>
                      <a:pt x="5659" y="6174"/>
                      <a:pt x="5658" y="6186"/>
                    </a:cubicBezTo>
                    <a:cubicBezTo>
                      <a:pt x="5763" y="6205"/>
                      <a:pt x="5763" y="6205"/>
                      <a:pt x="5763" y="6205"/>
                    </a:cubicBezTo>
                    <a:cubicBezTo>
                      <a:pt x="5764" y="6194"/>
                      <a:pt x="5766" y="6185"/>
                      <a:pt x="5767" y="6178"/>
                    </a:cubicBezTo>
                    <a:close/>
                    <a:moveTo>
                      <a:pt x="5656" y="6199"/>
                    </a:moveTo>
                    <a:cubicBezTo>
                      <a:pt x="5653" y="6222"/>
                      <a:pt x="5649" y="6250"/>
                      <a:pt x="5645" y="6278"/>
                    </a:cubicBezTo>
                    <a:cubicBezTo>
                      <a:pt x="5642" y="6295"/>
                      <a:pt x="5640" y="6312"/>
                      <a:pt x="5637" y="6328"/>
                    </a:cubicBezTo>
                    <a:cubicBezTo>
                      <a:pt x="5742" y="6347"/>
                      <a:pt x="5742" y="6347"/>
                      <a:pt x="5742" y="6347"/>
                    </a:cubicBezTo>
                    <a:cubicBezTo>
                      <a:pt x="5749" y="6306"/>
                      <a:pt x="5756" y="6256"/>
                      <a:pt x="5761" y="6218"/>
                    </a:cubicBezTo>
                    <a:lnTo>
                      <a:pt x="5656" y="6199"/>
                    </a:lnTo>
                    <a:close/>
                    <a:moveTo>
                      <a:pt x="5648" y="6155"/>
                    </a:moveTo>
                    <a:cubicBezTo>
                      <a:pt x="5545" y="6136"/>
                      <a:pt x="5545" y="6136"/>
                      <a:pt x="5545" y="6136"/>
                    </a:cubicBezTo>
                    <a:cubicBezTo>
                      <a:pt x="5544" y="6142"/>
                      <a:pt x="5543" y="6152"/>
                      <a:pt x="5541" y="6166"/>
                    </a:cubicBezTo>
                    <a:cubicBezTo>
                      <a:pt x="5644" y="6184"/>
                      <a:pt x="5644" y="6184"/>
                      <a:pt x="5644" y="6184"/>
                    </a:cubicBezTo>
                    <a:cubicBezTo>
                      <a:pt x="5646" y="6172"/>
                      <a:pt x="5647" y="6162"/>
                      <a:pt x="5648" y="6155"/>
                    </a:cubicBezTo>
                    <a:close/>
                    <a:moveTo>
                      <a:pt x="5539" y="6179"/>
                    </a:moveTo>
                    <a:cubicBezTo>
                      <a:pt x="5536" y="6202"/>
                      <a:pt x="5532" y="6231"/>
                      <a:pt x="5528" y="6260"/>
                    </a:cubicBezTo>
                    <a:cubicBezTo>
                      <a:pt x="5525" y="6276"/>
                      <a:pt x="5523" y="6292"/>
                      <a:pt x="5520" y="6308"/>
                    </a:cubicBezTo>
                    <a:cubicBezTo>
                      <a:pt x="5623" y="6326"/>
                      <a:pt x="5623" y="6326"/>
                      <a:pt x="5623" y="6326"/>
                    </a:cubicBezTo>
                    <a:cubicBezTo>
                      <a:pt x="5630" y="6284"/>
                      <a:pt x="5637" y="6234"/>
                      <a:pt x="5642" y="6197"/>
                    </a:cubicBezTo>
                    <a:lnTo>
                      <a:pt x="5539" y="6179"/>
                    </a:lnTo>
                    <a:close/>
                    <a:moveTo>
                      <a:pt x="5531" y="6134"/>
                    </a:moveTo>
                    <a:cubicBezTo>
                      <a:pt x="5425" y="6114"/>
                      <a:pt x="5425" y="6114"/>
                      <a:pt x="5425" y="6114"/>
                    </a:cubicBezTo>
                    <a:cubicBezTo>
                      <a:pt x="5424" y="6120"/>
                      <a:pt x="5423" y="6130"/>
                      <a:pt x="5421" y="6144"/>
                    </a:cubicBezTo>
                    <a:cubicBezTo>
                      <a:pt x="5527" y="6163"/>
                      <a:pt x="5527" y="6163"/>
                      <a:pt x="5527" y="6163"/>
                    </a:cubicBezTo>
                    <a:cubicBezTo>
                      <a:pt x="5529" y="6150"/>
                      <a:pt x="5530" y="6139"/>
                      <a:pt x="5531" y="6134"/>
                    </a:cubicBezTo>
                    <a:close/>
                    <a:moveTo>
                      <a:pt x="5419" y="6157"/>
                    </a:moveTo>
                    <a:cubicBezTo>
                      <a:pt x="5416" y="6180"/>
                      <a:pt x="5412" y="6209"/>
                      <a:pt x="5408" y="6238"/>
                    </a:cubicBezTo>
                    <a:cubicBezTo>
                      <a:pt x="5405" y="6255"/>
                      <a:pt x="5403" y="6271"/>
                      <a:pt x="5400" y="6287"/>
                    </a:cubicBezTo>
                    <a:cubicBezTo>
                      <a:pt x="5507" y="6305"/>
                      <a:pt x="5507" y="6305"/>
                      <a:pt x="5507" y="6305"/>
                    </a:cubicBezTo>
                    <a:cubicBezTo>
                      <a:pt x="5513" y="6263"/>
                      <a:pt x="5521" y="6212"/>
                      <a:pt x="5526" y="6176"/>
                    </a:cubicBezTo>
                    <a:lnTo>
                      <a:pt x="5419" y="6157"/>
                    </a:lnTo>
                    <a:close/>
                    <a:moveTo>
                      <a:pt x="5411" y="6111"/>
                    </a:moveTo>
                    <a:cubicBezTo>
                      <a:pt x="5288" y="6088"/>
                      <a:pt x="5288" y="6088"/>
                      <a:pt x="5288" y="6088"/>
                    </a:cubicBezTo>
                    <a:cubicBezTo>
                      <a:pt x="5288" y="6097"/>
                      <a:pt x="5287" y="6108"/>
                      <a:pt x="5286" y="6120"/>
                    </a:cubicBezTo>
                    <a:cubicBezTo>
                      <a:pt x="5407" y="6142"/>
                      <a:pt x="5407" y="6142"/>
                      <a:pt x="5407" y="6142"/>
                    </a:cubicBezTo>
                    <a:cubicBezTo>
                      <a:pt x="5409" y="6128"/>
                      <a:pt x="5410" y="6117"/>
                      <a:pt x="5411" y="6111"/>
                    </a:cubicBezTo>
                    <a:close/>
                    <a:moveTo>
                      <a:pt x="5285" y="6133"/>
                    </a:moveTo>
                    <a:cubicBezTo>
                      <a:pt x="5282" y="6168"/>
                      <a:pt x="5278" y="6214"/>
                      <a:pt x="5273" y="6264"/>
                    </a:cubicBezTo>
                    <a:cubicBezTo>
                      <a:pt x="5387" y="6284"/>
                      <a:pt x="5387" y="6284"/>
                      <a:pt x="5387" y="6284"/>
                    </a:cubicBezTo>
                    <a:cubicBezTo>
                      <a:pt x="5393" y="6242"/>
                      <a:pt x="5400" y="6191"/>
                      <a:pt x="5405" y="6155"/>
                    </a:cubicBezTo>
                    <a:lnTo>
                      <a:pt x="5285" y="6133"/>
                    </a:lnTo>
                    <a:close/>
                    <a:moveTo>
                      <a:pt x="5275" y="6086"/>
                    </a:moveTo>
                    <a:cubicBezTo>
                      <a:pt x="4748" y="5988"/>
                      <a:pt x="4748" y="5988"/>
                      <a:pt x="4748" y="5988"/>
                    </a:cubicBezTo>
                    <a:cubicBezTo>
                      <a:pt x="4737" y="6042"/>
                      <a:pt x="4725" y="6099"/>
                      <a:pt x="4714" y="6158"/>
                    </a:cubicBezTo>
                    <a:cubicBezTo>
                      <a:pt x="4710" y="6177"/>
                      <a:pt x="4706" y="6197"/>
                      <a:pt x="4702" y="6217"/>
                    </a:cubicBezTo>
                    <a:cubicBezTo>
                      <a:pt x="5256" y="6306"/>
                      <a:pt x="5256" y="6306"/>
                      <a:pt x="5256" y="6306"/>
                    </a:cubicBezTo>
                    <a:cubicBezTo>
                      <a:pt x="5257" y="6296"/>
                      <a:pt x="5258" y="6285"/>
                      <a:pt x="5259" y="6275"/>
                    </a:cubicBezTo>
                    <a:cubicBezTo>
                      <a:pt x="4862" y="6205"/>
                      <a:pt x="4862" y="6205"/>
                      <a:pt x="4862" y="6205"/>
                    </a:cubicBezTo>
                    <a:cubicBezTo>
                      <a:pt x="4888" y="6049"/>
                      <a:pt x="4888" y="6049"/>
                      <a:pt x="4888" y="6049"/>
                    </a:cubicBezTo>
                    <a:cubicBezTo>
                      <a:pt x="4894" y="6051"/>
                      <a:pt x="4894" y="6051"/>
                      <a:pt x="4894" y="6051"/>
                    </a:cubicBezTo>
                    <a:cubicBezTo>
                      <a:pt x="5272" y="6118"/>
                      <a:pt x="5272" y="6118"/>
                      <a:pt x="5272" y="6118"/>
                    </a:cubicBezTo>
                    <a:cubicBezTo>
                      <a:pt x="5273" y="6105"/>
                      <a:pt x="5274" y="6094"/>
                      <a:pt x="5275" y="6086"/>
                    </a:cubicBezTo>
                    <a:close/>
                    <a:moveTo>
                      <a:pt x="4780" y="5509"/>
                    </a:moveTo>
                    <a:cubicBezTo>
                      <a:pt x="4780" y="5507"/>
                      <a:pt x="4781" y="5500"/>
                      <a:pt x="4782" y="5489"/>
                    </a:cubicBezTo>
                    <a:cubicBezTo>
                      <a:pt x="4783" y="5480"/>
                      <a:pt x="4783" y="5468"/>
                      <a:pt x="4784" y="5455"/>
                    </a:cubicBezTo>
                    <a:cubicBezTo>
                      <a:pt x="4036" y="5419"/>
                      <a:pt x="4036" y="5419"/>
                      <a:pt x="4036" y="5419"/>
                    </a:cubicBezTo>
                    <a:cubicBezTo>
                      <a:pt x="4020" y="5627"/>
                      <a:pt x="4020" y="5627"/>
                      <a:pt x="4020" y="5627"/>
                    </a:cubicBezTo>
                    <a:cubicBezTo>
                      <a:pt x="4524" y="5672"/>
                      <a:pt x="4524" y="5672"/>
                      <a:pt x="4524" y="5672"/>
                    </a:cubicBezTo>
                    <a:cubicBezTo>
                      <a:pt x="4560" y="5477"/>
                      <a:pt x="4560" y="5477"/>
                      <a:pt x="4560" y="5477"/>
                    </a:cubicBezTo>
                    <a:cubicBezTo>
                      <a:pt x="4715" y="5503"/>
                      <a:pt x="4715" y="5503"/>
                      <a:pt x="4715" y="5503"/>
                    </a:cubicBezTo>
                    <a:cubicBezTo>
                      <a:pt x="4714" y="5510"/>
                      <a:pt x="4714" y="5510"/>
                      <a:pt x="4714" y="5510"/>
                    </a:cubicBezTo>
                    <a:cubicBezTo>
                      <a:pt x="4681" y="5686"/>
                      <a:pt x="4681" y="5686"/>
                      <a:pt x="4681" y="5686"/>
                    </a:cubicBezTo>
                    <a:cubicBezTo>
                      <a:pt x="4742" y="5691"/>
                      <a:pt x="4742" y="5691"/>
                      <a:pt x="4742" y="5691"/>
                    </a:cubicBezTo>
                    <a:cubicBezTo>
                      <a:pt x="4764" y="5588"/>
                      <a:pt x="4778" y="5519"/>
                      <a:pt x="4780" y="5509"/>
                    </a:cubicBezTo>
                    <a:close/>
                    <a:moveTo>
                      <a:pt x="4094" y="5408"/>
                    </a:moveTo>
                    <a:cubicBezTo>
                      <a:pt x="4154" y="5313"/>
                      <a:pt x="4154" y="5313"/>
                      <a:pt x="4154" y="5313"/>
                    </a:cubicBezTo>
                    <a:cubicBezTo>
                      <a:pt x="4153" y="5313"/>
                      <a:pt x="4153" y="5313"/>
                      <a:pt x="4152" y="5312"/>
                    </a:cubicBezTo>
                    <a:cubicBezTo>
                      <a:pt x="4122" y="5301"/>
                      <a:pt x="4022" y="5259"/>
                      <a:pt x="3907" y="5210"/>
                    </a:cubicBezTo>
                    <a:cubicBezTo>
                      <a:pt x="3743" y="5457"/>
                      <a:pt x="3743" y="5457"/>
                      <a:pt x="3743" y="5457"/>
                    </a:cubicBezTo>
                    <a:cubicBezTo>
                      <a:pt x="3586" y="5487"/>
                      <a:pt x="3586" y="5487"/>
                      <a:pt x="3586" y="5487"/>
                    </a:cubicBezTo>
                    <a:cubicBezTo>
                      <a:pt x="3588" y="5488"/>
                      <a:pt x="3588" y="5488"/>
                      <a:pt x="3588" y="5488"/>
                    </a:cubicBezTo>
                    <a:cubicBezTo>
                      <a:pt x="3575" y="5512"/>
                      <a:pt x="3575" y="5512"/>
                      <a:pt x="3575" y="5512"/>
                    </a:cubicBezTo>
                    <a:cubicBezTo>
                      <a:pt x="3575" y="5513"/>
                      <a:pt x="3560" y="5542"/>
                      <a:pt x="3535" y="5591"/>
                    </a:cubicBezTo>
                    <a:cubicBezTo>
                      <a:pt x="3595" y="5604"/>
                      <a:pt x="3736" y="5639"/>
                      <a:pt x="3767" y="5646"/>
                    </a:cubicBezTo>
                    <a:cubicBezTo>
                      <a:pt x="3796" y="5569"/>
                      <a:pt x="3796" y="5569"/>
                      <a:pt x="3796" y="5569"/>
                    </a:cubicBezTo>
                    <a:cubicBezTo>
                      <a:pt x="3800" y="5568"/>
                      <a:pt x="3800" y="5568"/>
                      <a:pt x="3800" y="5568"/>
                    </a:cubicBezTo>
                    <a:cubicBezTo>
                      <a:pt x="3801" y="5568"/>
                      <a:pt x="3977" y="5546"/>
                      <a:pt x="4013" y="5542"/>
                    </a:cubicBezTo>
                    <a:cubicBezTo>
                      <a:pt x="4024" y="5405"/>
                      <a:pt x="4024" y="5405"/>
                      <a:pt x="4024" y="5405"/>
                    </a:cubicBezTo>
                    <a:lnTo>
                      <a:pt x="4094" y="5408"/>
                    </a:lnTo>
                    <a:close/>
                    <a:moveTo>
                      <a:pt x="3894" y="5205"/>
                    </a:moveTo>
                    <a:cubicBezTo>
                      <a:pt x="3856" y="5189"/>
                      <a:pt x="3816" y="5172"/>
                      <a:pt x="3777" y="5156"/>
                    </a:cubicBezTo>
                    <a:cubicBezTo>
                      <a:pt x="3737" y="5139"/>
                      <a:pt x="3698" y="5122"/>
                      <a:pt x="3661" y="5106"/>
                    </a:cubicBezTo>
                    <a:cubicBezTo>
                      <a:pt x="3504" y="5424"/>
                      <a:pt x="3504" y="5424"/>
                      <a:pt x="3504" y="5424"/>
                    </a:cubicBezTo>
                    <a:cubicBezTo>
                      <a:pt x="3571" y="5475"/>
                      <a:pt x="3571" y="5475"/>
                      <a:pt x="3571" y="5475"/>
                    </a:cubicBezTo>
                    <a:cubicBezTo>
                      <a:pt x="3607" y="5469"/>
                      <a:pt x="3607" y="5469"/>
                      <a:pt x="3607" y="5469"/>
                    </a:cubicBezTo>
                    <a:cubicBezTo>
                      <a:pt x="3552" y="5439"/>
                      <a:pt x="3552" y="5439"/>
                      <a:pt x="3552" y="5439"/>
                    </a:cubicBezTo>
                    <a:cubicBezTo>
                      <a:pt x="3555" y="5434"/>
                      <a:pt x="3555" y="5434"/>
                      <a:pt x="3555" y="5434"/>
                    </a:cubicBezTo>
                    <a:cubicBezTo>
                      <a:pt x="3622" y="5305"/>
                      <a:pt x="3622" y="5305"/>
                      <a:pt x="3622" y="5305"/>
                    </a:cubicBezTo>
                    <a:cubicBezTo>
                      <a:pt x="3689" y="5341"/>
                      <a:pt x="3689" y="5341"/>
                      <a:pt x="3689" y="5341"/>
                    </a:cubicBezTo>
                    <a:cubicBezTo>
                      <a:pt x="3623" y="5466"/>
                      <a:pt x="3623" y="5466"/>
                      <a:pt x="3623" y="5466"/>
                    </a:cubicBezTo>
                    <a:cubicBezTo>
                      <a:pt x="3735" y="5445"/>
                      <a:pt x="3735" y="5445"/>
                      <a:pt x="3735" y="5445"/>
                    </a:cubicBezTo>
                    <a:lnTo>
                      <a:pt x="3894" y="5205"/>
                    </a:lnTo>
                    <a:close/>
                    <a:moveTo>
                      <a:pt x="3672" y="5346"/>
                    </a:moveTo>
                    <a:cubicBezTo>
                      <a:pt x="3628" y="5323"/>
                      <a:pt x="3628" y="5323"/>
                      <a:pt x="3628" y="5323"/>
                    </a:cubicBezTo>
                    <a:cubicBezTo>
                      <a:pt x="3569" y="5434"/>
                      <a:pt x="3569" y="5434"/>
                      <a:pt x="3569" y="5434"/>
                    </a:cubicBezTo>
                    <a:cubicBezTo>
                      <a:pt x="3613" y="5457"/>
                      <a:pt x="3613" y="5457"/>
                      <a:pt x="3613" y="5457"/>
                    </a:cubicBezTo>
                    <a:lnTo>
                      <a:pt x="3672" y="5346"/>
                    </a:lnTo>
                    <a:close/>
                    <a:moveTo>
                      <a:pt x="3648" y="5101"/>
                    </a:moveTo>
                    <a:cubicBezTo>
                      <a:pt x="3616" y="5087"/>
                      <a:pt x="3586" y="5074"/>
                      <a:pt x="3560" y="5063"/>
                    </a:cubicBezTo>
                    <a:cubicBezTo>
                      <a:pt x="3532" y="5051"/>
                      <a:pt x="3508" y="5040"/>
                      <a:pt x="3491" y="5033"/>
                    </a:cubicBezTo>
                    <a:cubicBezTo>
                      <a:pt x="3482" y="5029"/>
                      <a:pt x="3476" y="5026"/>
                      <a:pt x="3471" y="5024"/>
                    </a:cubicBezTo>
                    <a:cubicBezTo>
                      <a:pt x="3470" y="5024"/>
                      <a:pt x="3470" y="5023"/>
                      <a:pt x="3469" y="5023"/>
                    </a:cubicBezTo>
                    <a:cubicBezTo>
                      <a:pt x="3273" y="5246"/>
                      <a:pt x="3273" y="5246"/>
                      <a:pt x="3273" y="5246"/>
                    </a:cubicBezTo>
                    <a:cubicBezTo>
                      <a:pt x="3492" y="5415"/>
                      <a:pt x="3492" y="5415"/>
                      <a:pt x="3492" y="5415"/>
                    </a:cubicBezTo>
                    <a:lnTo>
                      <a:pt x="3648" y="5101"/>
                    </a:lnTo>
                    <a:close/>
                    <a:moveTo>
                      <a:pt x="3081" y="5180"/>
                    </a:moveTo>
                    <a:cubicBezTo>
                      <a:pt x="3019" y="5298"/>
                      <a:pt x="3019" y="5298"/>
                      <a:pt x="3019" y="5298"/>
                    </a:cubicBezTo>
                    <a:cubicBezTo>
                      <a:pt x="3332" y="5501"/>
                      <a:pt x="3332" y="5501"/>
                      <a:pt x="3332" y="5501"/>
                    </a:cubicBezTo>
                    <a:cubicBezTo>
                      <a:pt x="3352" y="5461"/>
                      <a:pt x="3352" y="5461"/>
                      <a:pt x="3352" y="5461"/>
                    </a:cubicBezTo>
                    <a:cubicBezTo>
                      <a:pt x="3472" y="5520"/>
                      <a:pt x="3472" y="5520"/>
                      <a:pt x="3472" y="5520"/>
                    </a:cubicBezTo>
                    <a:cubicBezTo>
                      <a:pt x="3469" y="5526"/>
                      <a:pt x="3469" y="5526"/>
                      <a:pt x="3469" y="5526"/>
                    </a:cubicBezTo>
                    <a:cubicBezTo>
                      <a:pt x="3444" y="5574"/>
                      <a:pt x="3444" y="5574"/>
                      <a:pt x="3444" y="5574"/>
                    </a:cubicBezTo>
                    <a:cubicBezTo>
                      <a:pt x="3460" y="5584"/>
                      <a:pt x="3460" y="5584"/>
                      <a:pt x="3460" y="5584"/>
                    </a:cubicBezTo>
                    <a:cubicBezTo>
                      <a:pt x="3452" y="5595"/>
                      <a:pt x="3452" y="5595"/>
                      <a:pt x="3452" y="5595"/>
                    </a:cubicBezTo>
                    <a:cubicBezTo>
                      <a:pt x="3438" y="5586"/>
                      <a:pt x="3438" y="5586"/>
                      <a:pt x="3438" y="5586"/>
                    </a:cubicBezTo>
                    <a:cubicBezTo>
                      <a:pt x="3390" y="5681"/>
                      <a:pt x="3390" y="5681"/>
                      <a:pt x="3390" y="5681"/>
                    </a:cubicBezTo>
                    <a:cubicBezTo>
                      <a:pt x="3393" y="5682"/>
                      <a:pt x="3396" y="5684"/>
                      <a:pt x="3399" y="5685"/>
                    </a:cubicBezTo>
                    <a:cubicBezTo>
                      <a:pt x="3403" y="5688"/>
                      <a:pt x="3407" y="5689"/>
                      <a:pt x="3410" y="5691"/>
                    </a:cubicBezTo>
                    <a:cubicBezTo>
                      <a:pt x="3453" y="5607"/>
                      <a:pt x="3487" y="5540"/>
                      <a:pt x="3504" y="5507"/>
                    </a:cubicBezTo>
                    <a:lnTo>
                      <a:pt x="3081" y="5180"/>
                    </a:lnTo>
                    <a:close/>
                    <a:moveTo>
                      <a:pt x="3326" y="5777"/>
                    </a:moveTo>
                    <a:cubicBezTo>
                      <a:pt x="3372" y="5687"/>
                      <a:pt x="3372" y="5687"/>
                      <a:pt x="3372" y="5687"/>
                    </a:cubicBezTo>
                    <a:cubicBezTo>
                      <a:pt x="3348" y="5674"/>
                      <a:pt x="3315" y="5657"/>
                      <a:pt x="3279" y="5638"/>
                    </a:cubicBezTo>
                    <a:cubicBezTo>
                      <a:pt x="3233" y="5730"/>
                      <a:pt x="3233" y="5730"/>
                      <a:pt x="3233" y="5730"/>
                    </a:cubicBezTo>
                    <a:cubicBezTo>
                      <a:pt x="3268" y="5748"/>
                      <a:pt x="3301" y="5764"/>
                      <a:pt x="3326" y="5777"/>
                    </a:cubicBezTo>
                    <a:close/>
                    <a:moveTo>
                      <a:pt x="3226" y="5743"/>
                    </a:moveTo>
                    <a:cubicBezTo>
                      <a:pt x="3216" y="5763"/>
                      <a:pt x="3216" y="5763"/>
                      <a:pt x="3216" y="5763"/>
                    </a:cubicBezTo>
                    <a:cubicBezTo>
                      <a:pt x="3310" y="5809"/>
                      <a:pt x="3310" y="5809"/>
                      <a:pt x="3310" y="5809"/>
                    </a:cubicBezTo>
                    <a:cubicBezTo>
                      <a:pt x="3320" y="5789"/>
                      <a:pt x="3320" y="5789"/>
                      <a:pt x="3320" y="5789"/>
                    </a:cubicBezTo>
                    <a:cubicBezTo>
                      <a:pt x="3294" y="5777"/>
                      <a:pt x="3262" y="5761"/>
                      <a:pt x="3226" y="5743"/>
                    </a:cubicBezTo>
                    <a:close/>
                    <a:moveTo>
                      <a:pt x="3337" y="5521"/>
                    </a:moveTo>
                    <a:cubicBezTo>
                      <a:pt x="3285" y="5625"/>
                      <a:pt x="3285" y="5625"/>
                      <a:pt x="3285" y="5625"/>
                    </a:cubicBezTo>
                    <a:cubicBezTo>
                      <a:pt x="3307" y="5637"/>
                      <a:pt x="3328" y="5648"/>
                      <a:pt x="3346" y="5658"/>
                    </a:cubicBezTo>
                    <a:cubicBezTo>
                      <a:pt x="3358" y="5664"/>
                      <a:pt x="3369" y="5670"/>
                      <a:pt x="3378" y="5675"/>
                    </a:cubicBezTo>
                    <a:cubicBezTo>
                      <a:pt x="3427" y="5579"/>
                      <a:pt x="3427" y="5579"/>
                      <a:pt x="3427" y="5579"/>
                    </a:cubicBezTo>
                    <a:lnTo>
                      <a:pt x="3337" y="5521"/>
                    </a:lnTo>
                    <a:close/>
                    <a:moveTo>
                      <a:pt x="3433" y="5567"/>
                    </a:moveTo>
                    <a:cubicBezTo>
                      <a:pt x="3454" y="5526"/>
                      <a:pt x="3454" y="5526"/>
                      <a:pt x="3454" y="5526"/>
                    </a:cubicBezTo>
                    <a:cubicBezTo>
                      <a:pt x="3358" y="5479"/>
                      <a:pt x="3358" y="5479"/>
                      <a:pt x="3358" y="5479"/>
                    </a:cubicBezTo>
                    <a:cubicBezTo>
                      <a:pt x="3343" y="5508"/>
                      <a:pt x="3343" y="5508"/>
                      <a:pt x="3343" y="5508"/>
                    </a:cubicBezTo>
                    <a:lnTo>
                      <a:pt x="3433" y="5567"/>
                    </a:lnTo>
                    <a:close/>
                    <a:moveTo>
                      <a:pt x="3338" y="5783"/>
                    </a:moveTo>
                    <a:cubicBezTo>
                      <a:pt x="3345" y="5787"/>
                      <a:pt x="3352" y="5790"/>
                      <a:pt x="3358" y="5793"/>
                    </a:cubicBezTo>
                    <a:cubicBezTo>
                      <a:pt x="3374" y="5761"/>
                      <a:pt x="3389" y="5731"/>
                      <a:pt x="3404" y="5703"/>
                    </a:cubicBezTo>
                    <a:cubicBezTo>
                      <a:pt x="3399" y="5701"/>
                      <a:pt x="3392" y="5697"/>
                      <a:pt x="3384" y="5693"/>
                    </a:cubicBezTo>
                    <a:lnTo>
                      <a:pt x="3338" y="5783"/>
                    </a:lnTo>
                    <a:close/>
                    <a:moveTo>
                      <a:pt x="3012" y="5310"/>
                    </a:moveTo>
                    <a:cubicBezTo>
                      <a:pt x="2943" y="5442"/>
                      <a:pt x="2943" y="5442"/>
                      <a:pt x="2943" y="5442"/>
                    </a:cubicBezTo>
                    <a:cubicBezTo>
                      <a:pt x="2971" y="5456"/>
                      <a:pt x="3081" y="5515"/>
                      <a:pt x="3189" y="5573"/>
                    </a:cubicBezTo>
                    <a:cubicBezTo>
                      <a:pt x="3218" y="5589"/>
                      <a:pt x="3246" y="5604"/>
                      <a:pt x="3273" y="5619"/>
                    </a:cubicBezTo>
                    <a:cubicBezTo>
                      <a:pt x="3326" y="5514"/>
                      <a:pt x="3326" y="5514"/>
                      <a:pt x="3326" y="5514"/>
                    </a:cubicBezTo>
                    <a:lnTo>
                      <a:pt x="3012" y="5310"/>
                    </a:lnTo>
                    <a:close/>
                    <a:moveTo>
                      <a:pt x="2936" y="5454"/>
                    </a:moveTo>
                    <a:cubicBezTo>
                      <a:pt x="2883" y="5555"/>
                      <a:pt x="2883" y="5555"/>
                      <a:pt x="2883" y="5555"/>
                    </a:cubicBezTo>
                    <a:cubicBezTo>
                      <a:pt x="2899" y="5564"/>
                      <a:pt x="3018" y="5623"/>
                      <a:pt x="3135" y="5682"/>
                    </a:cubicBezTo>
                    <a:cubicBezTo>
                      <a:pt x="3164" y="5696"/>
                      <a:pt x="3193" y="5711"/>
                      <a:pt x="3221" y="5724"/>
                    </a:cubicBezTo>
                    <a:cubicBezTo>
                      <a:pt x="3267" y="5631"/>
                      <a:pt x="3267" y="5631"/>
                      <a:pt x="3267" y="5631"/>
                    </a:cubicBezTo>
                    <a:cubicBezTo>
                      <a:pt x="3230" y="5611"/>
                      <a:pt x="3189" y="5589"/>
                      <a:pt x="3149" y="5568"/>
                    </a:cubicBezTo>
                    <a:cubicBezTo>
                      <a:pt x="3093" y="5538"/>
                      <a:pt x="3039" y="5508"/>
                      <a:pt x="2999" y="5487"/>
                    </a:cubicBezTo>
                    <a:cubicBezTo>
                      <a:pt x="2978" y="5476"/>
                      <a:pt x="2962" y="5467"/>
                      <a:pt x="2950" y="5461"/>
                    </a:cubicBezTo>
                    <a:cubicBezTo>
                      <a:pt x="2944" y="5458"/>
                      <a:pt x="2940" y="5456"/>
                      <a:pt x="2936" y="5454"/>
                    </a:cubicBezTo>
                    <a:close/>
                    <a:moveTo>
                      <a:pt x="2877" y="5568"/>
                    </a:moveTo>
                    <a:cubicBezTo>
                      <a:pt x="2658" y="5982"/>
                      <a:pt x="2658" y="5982"/>
                      <a:pt x="2658" y="5982"/>
                    </a:cubicBezTo>
                    <a:cubicBezTo>
                      <a:pt x="2887" y="6075"/>
                      <a:pt x="2887" y="6075"/>
                      <a:pt x="2887" y="6075"/>
                    </a:cubicBezTo>
                    <a:cubicBezTo>
                      <a:pt x="2987" y="6046"/>
                      <a:pt x="2987" y="6046"/>
                      <a:pt x="2987" y="6046"/>
                    </a:cubicBezTo>
                    <a:cubicBezTo>
                      <a:pt x="3043" y="6071"/>
                      <a:pt x="3043" y="6071"/>
                      <a:pt x="3043" y="6071"/>
                    </a:cubicBezTo>
                    <a:cubicBezTo>
                      <a:pt x="3130" y="5896"/>
                      <a:pt x="3130" y="5896"/>
                      <a:pt x="3130" y="5896"/>
                    </a:cubicBezTo>
                    <a:cubicBezTo>
                      <a:pt x="3063" y="5863"/>
                      <a:pt x="3063" y="5863"/>
                      <a:pt x="3063" y="5863"/>
                    </a:cubicBezTo>
                    <a:cubicBezTo>
                      <a:pt x="3019" y="5887"/>
                      <a:pt x="3019" y="5887"/>
                      <a:pt x="3019" y="5887"/>
                    </a:cubicBezTo>
                    <a:cubicBezTo>
                      <a:pt x="2774" y="5764"/>
                      <a:pt x="2774" y="5764"/>
                      <a:pt x="2774" y="5764"/>
                    </a:cubicBezTo>
                    <a:cubicBezTo>
                      <a:pt x="2780" y="5752"/>
                      <a:pt x="2780" y="5752"/>
                      <a:pt x="2780" y="5752"/>
                    </a:cubicBezTo>
                    <a:cubicBezTo>
                      <a:pt x="3019" y="5871"/>
                      <a:pt x="3019" y="5871"/>
                      <a:pt x="3019" y="5871"/>
                    </a:cubicBezTo>
                    <a:cubicBezTo>
                      <a:pt x="3063" y="5847"/>
                      <a:pt x="3063" y="5847"/>
                      <a:pt x="3063" y="5847"/>
                    </a:cubicBezTo>
                    <a:cubicBezTo>
                      <a:pt x="3136" y="5884"/>
                      <a:pt x="3136" y="5884"/>
                      <a:pt x="3136" y="5884"/>
                    </a:cubicBezTo>
                    <a:cubicBezTo>
                      <a:pt x="3156" y="5844"/>
                      <a:pt x="3156" y="5844"/>
                      <a:pt x="3156" y="5844"/>
                    </a:cubicBezTo>
                    <a:cubicBezTo>
                      <a:pt x="3276" y="5902"/>
                      <a:pt x="3276" y="5902"/>
                      <a:pt x="3276" y="5902"/>
                    </a:cubicBezTo>
                    <a:cubicBezTo>
                      <a:pt x="3273" y="5908"/>
                      <a:pt x="3273" y="5908"/>
                      <a:pt x="3273" y="5908"/>
                    </a:cubicBezTo>
                    <a:cubicBezTo>
                      <a:pt x="3255" y="5943"/>
                      <a:pt x="3255" y="5943"/>
                      <a:pt x="3255" y="5943"/>
                    </a:cubicBezTo>
                    <a:cubicBezTo>
                      <a:pt x="3276" y="5954"/>
                      <a:pt x="3276" y="5954"/>
                      <a:pt x="3276" y="5954"/>
                    </a:cubicBezTo>
                    <a:cubicBezTo>
                      <a:pt x="3302" y="5903"/>
                      <a:pt x="3327" y="5853"/>
                      <a:pt x="3352" y="5805"/>
                    </a:cubicBezTo>
                    <a:cubicBezTo>
                      <a:pt x="3346" y="5802"/>
                      <a:pt x="3339" y="5799"/>
                      <a:pt x="3332" y="5795"/>
                    </a:cubicBezTo>
                    <a:cubicBezTo>
                      <a:pt x="3316" y="5826"/>
                      <a:pt x="3316" y="5826"/>
                      <a:pt x="3316" y="5826"/>
                    </a:cubicBezTo>
                    <a:cubicBezTo>
                      <a:pt x="3199" y="5769"/>
                      <a:pt x="3199" y="5769"/>
                      <a:pt x="3199" y="5769"/>
                    </a:cubicBezTo>
                    <a:cubicBezTo>
                      <a:pt x="3215" y="5737"/>
                      <a:pt x="3215" y="5737"/>
                      <a:pt x="3215" y="5737"/>
                    </a:cubicBezTo>
                    <a:cubicBezTo>
                      <a:pt x="3078" y="5669"/>
                      <a:pt x="2902" y="5581"/>
                      <a:pt x="2877" y="5568"/>
                    </a:cubicBezTo>
                    <a:close/>
                    <a:moveTo>
                      <a:pt x="3151" y="6119"/>
                    </a:moveTo>
                    <a:cubicBezTo>
                      <a:pt x="3237" y="5950"/>
                      <a:pt x="3237" y="5950"/>
                      <a:pt x="3237" y="5950"/>
                    </a:cubicBezTo>
                    <a:cubicBezTo>
                      <a:pt x="3142" y="5902"/>
                      <a:pt x="3142" y="5902"/>
                      <a:pt x="3142" y="5902"/>
                    </a:cubicBezTo>
                    <a:cubicBezTo>
                      <a:pt x="3055" y="6076"/>
                      <a:pt x="3055" y="6076"/>
                      <a:pt x="3055" y="6076"/>
                    </a:cubicBezTo>
                    <a:lnTo>
                      <a:pt x="3151" y="6119"/>
                    </a:lnTo>
                    <a:close/>
                    <a:moveTo>
                      <a:pt x="3049" y="6088"/>
                    </a:moveTo>
                    <a:cubicBezTo>
                      <a:pt x="3021" y="6145"/>
                      <a:pt x="3021" y="6145"/>
                      <a:pt x="3021" y="6145"/>
                    </a:cubicBezTo>
                    <a:cubicBezTo>
                      <a:pt x="3114" y="6191"/>
                      <a:pt x="3114" y="6191"/>
                      <a:pt x="3114" y="6191"/>
                    </a:cubicBezTo>
                    <a:cubicBezTo>
                      <a:pt x="3145" y="6131"/>
                      <a:pt x="3145" y="6131"/>
                      <a:pt x="3145" y="6131"/>
                    </a:cubicBezTo>
                    <a:lnTo>
                      <a:pt x="3049" y="6088"/>
                    </a:lnTo>
                    <a:close/>
                    <a:moveTo>
                      <a:pt x="3243" y="5937"/>
                    </a:moveTo>
                    <a:cubicBezTo>
                      <a:pt x="3258" y="5908"/>
                      <a:pt x="3258" y="5908"/>
                      <a:pt x="3258" y="5908"/>
                    </a:cubicBezTo>
                    <a:cubicBezTo>
                      <a:pt x="3162" y="5862"/>
                      <a:pt x="3162" y="5862"/>
                      <a:pt x="3162" y="5862"/>
                    </a:cubicBezTo>
                    <a:cubicBezTo>
                      <a:pt x="3148" y="5890"/>
                      <a:pt x="3148" y="5890"/>
                      <a:pt x="3148" y="5890"/>
                    </a:cubicBezTo>
                    <a:lnTo>
                      <a:pt x="3243" y="5937"/>
                    </a:lnTo>
                    <a:close/>
                    <a:moveTo>
                      <a:pt x="3163" y="6124"/>
                    </a:moveTo>
                    <a:cubicBezTo>
                      <a:pt x="3185" y="6134"/>
                      <a:pt x="3185" y="6134"/>
                      <a:pt x="3185" y="6134"/>
                    </a:cubicBezTo>
                    <a:cubicBezTo>
                      <a:pt x="3213" y="6078"/>
                      <a:pt x="3242" y="6022"/>
                      <a:pt x="3270" y="5966"/>
                    </a:cubicBezTo>
                    <a:cubicBezTo>
                      <a:pt x="3249" y="5956"/>
                      <a:pt x="3249" y="5956"/>
                      <a:pt x="3249" y="5956"/>
                    </a:cubicBezTo>
                    <a:lnTo>
                      <a:pt x="3163" y="6124"/>
                    </a:lnTo>
                    <a:close/>
                    <a:moveTo>
                      <a:pt x="2538" y="5948"/>
                    </a:moveTo>
                    <a:cubicBezTo>
                      <a:pt x="2534" y="5951"/>
                      <a:pt x="2520" y="5967"/>
                      <a:pt x="2504" y="5988"/>
                    </a:cubicBezTo>
                    <a:cubicBezTo>
                      <a:pt x="2493" y="6003"/>
                      <a:pt x="2481" y="6021"/>
                      <a:pt x="2468" y="6039"/>
                    </a:cubicBezTo>
                    <a:cubicBezTo>
                      <a:pt x="2508" y="6056"/>
                      <a:pt x="2645" y="6120"/>
                      <a:pt x="2784" y="6185"/>
                    </a:cubicBezTo>
                    <a:cubicBezTo>
                      <a:pt x="2917" y="6247"/>
                      <a:pt x="3048" y="6308"/>
                      <a:pt x="3089" y="6327"/>
                    </a:cubicBezTo>
                    <a:cubicBezTo>
                      <a:pt x="3116" y="6271"/>
                      <a:pt x="3147" y="6209"/>
                      <a:pt x="3179" y="6146"/>
                    </a:cubicBezTo>
                    <a:cubicBezTo>
                      <a:pt x="3157" y="6136"/>
                      <a:pt x="3157" y="6136"/>
                      <a:pt x="3157" y="6136"/>
                    </a:cubicBezTo>
                    <a:cubicBezTo>
                      <a:pt x="3120" y="6209"/>
                      <a:pt x="3120" y="6209"/>
                      <a:pt x="3120" y="6209"/>
                    </a:cubicBezTo>
                    <a:cubicBezTo>
                      <a:pt x="3003" y="6151"/>
                      <a:pt x="3003" y="6151"/>
                      <a:pt x="3003" y="6151"/>
                    </a:cubicBezTo>
                    <a:cubicBezTo>
                      <a:pt x="3037" y="6083"/>
                      <a:pt x="3037" y="6083"/>
                      <a:pt x="3037" y="6083"/>
                    </a:cubicBezTo>
                    <a:cubicBezTo>
                      <a:pt x="2986" y="6060"/>
                      <a:pt x="2986" y="6060"/>
                      <a:pt x="2986" y="6060"/>
                    </a:cubicBezTo>
                    <a:cubicBezTo>
                      <a:pt x="2886" y="6090"/>
                      <a:pt x="2886" y="6090"/>
                      <a:pt x="2886" y="6090"/>
                    </a:cubicBezTo>
                    <a:lnTo>
                      <a:pt x="2538" y="5948"/>
                    </a:lnTo>
                    <a:close/>
                    <a:moveTo>
                      <a:pt x="2825" y="6545"/>
                    </a:moveTo>
                    <a:cubicBezTo>
                      <a:pt x="2787" y="6621"/>
                      <a:pt x="2787" y="6621"/>
                      <a:pt x="2787" y="6621"/>
                    </a:cubicBezTo>
                    <a:cubicBezTo>
                      <a:pt x="2881" y="6667"/>
                      <a:pt x="2881" y="6667"/>
                      <a:pt x="2881" y="6667"/>
                    </a:cubicBezTo>
                    <a:cubicBezTo>
                      <a:pt x="2919" y="6591"/>
                      <a:pt x="2919" y="6591"/>
                      <a:pt x="2919" y="6591"/>
                    </a:cubicBezTo>
                    <a:lnTo>
                      <a:pt x="2825" y="6545"/>
                    </a:lnTo>
                    <a:close/>
                    <a:moveTo>
                      <a:pt x="2925" y="6579"/>
                    </a:moveTo>
                    <a:cubicBezTo>
                      <a:pt x="3025" y="6384"/>
                      <a:pt x="3025" y="6384"/>
                      <a:pt x="3025" y="6384"/>
                    </a:cubicBezTo>
                    <a:cubicBezTo>
                      <a:pt x="2928" y="6337"/>
                      <a:pt x="2928" y="6337"/>
                      <a:pt x="2928" y="6337"/>
                    </a:cubicBezTo>
                    <a:cubicBezTo>
                      <a:pt x="2831" y="6532"/>
                      <a:pt x="2831" y="6532"/>
                      <a:pt x="2831" y="6532"/>
                    </a:cubicBezTo>
                    <a:lnTo>
                      <a:pt x="2925" y="6579"/>
                    </a:lnTo>
                    <a:close/>
                    <a:moveTo>
                      <a:pt x="2813" y="6539"/>
                    </a:moveTo>
                    <a:cubicBezTo>
                      <a:pt x="2414" y="6342"/>
                      <a:pt x="2414" y="6342"/>
                      <a:pt x="2414" y="6342"/>
                    </a:cubicBezTo>
                    <a:cubicBezTo>
                      <a:pt x="2401" y="6363"/>
                      <a:pt x="2348" y="6444"/>
                      <a:pt x="2284" y="6544"/>
                    </a:cubicBezTo>
                    <a:cubicBezTo>
                      <a:pt x="2573" y="6708"/>
                      <a:pt x="2573" y="6708"/>
                      <a:pt x="2573" y="6708"/>
                    </a:cubicBezTo>
                    <a:cubicBezTo>
                      <a:pt x="2807" y="6792"/>
                      <a:pt x="2807" y="6792"/>
                      <a:pt x="2807" y="6792"/>
                    </a:cubicBezTo>
                    <a:cubicBezTo>
                      <a:pt x="2971" y="6736"/>
                      <a:pt x="2971" y="6736"/>
                      <a:pt x="2971" y="6736"/>
                    </a:cubicBezTo>
                    <a:cubicBezTo>
                      <a:pt x="2960" y="6702"/>
                      <a:pt x="2954" y="6670"/>
                      <a:pt x="2954" y="6641"/>
                    </a:cubicBezTo>
                    <a:cubicBezTo>
                      <a:pt x="2954" y="6630"/>
                      <a:pt x="2955" y="6620"/>
                      <a:pt x="2957" y="6610"/>
                    </a:cubicBezTo>
                    <a:cubicBezTo>
                      <a:pt x="2931" y="6597"/>
                      <a:pt x="2931" y="6597"/>
                      <a:pt x="2931" y="6597"/>
                    </a:cubicBezTo>
                    <a:cubicBezTo>
                      <a:pt x="2887" y="6684"/>
                      <a:pt x="2887" y="6684"/>
                      <a:pt x="2887" y="6684"/>
                    </a:cubicBezTo>
                    <a:cubicBezTo>
                      <a:pt x="2769" y="6627"/>
                      <a:pt x="2769" y="6627"/>
                      <a:pt x="2769" y="6627"/>
                    </a:cubicBezTo>
                    <a:lnTo>
                      <a:pt x="2813" y="6539"/>
                    </a:lnTo>
                    <a:close/>
                    <a:moveTo>
                      <a:pt x="3082" y="6339"/>
                    </a:moveTo>
                    <a:cubicBezTo>
                      <a:pt x="3041" y="6320"/>
                      <a:pt x="2911" y="6259"/>
                      <a:pt x="2778" y="6198"/>
                    </a:cubicBezTo>
                    <a:cubicBezTo>
                      <a:pt x="2636" y="6131"/>
                      <a:pt x="2491" y="6064"/>
                      <a:pt x="2460" y="6051"/>
                    </a:cubicBezTo>
                    <a:cubicBezTo>
                      <a:pt x="2422" y="6106"/>
                      <a:pt x="2383" y="6165"/>
                      <a:pt x="2374" y="6178"/>
                    </a:cubicBezTo>
                    <a:cubicBezTo>
                      <a:pt x="2417" y="6329"/>
                      <a:pt x="2417" y="6329"/>
                      <a:pt x="2417" y="6329"/>
                    </a:cubicBezTo>
                    <a:cubicBezTo>
                      <a:pt x="2819" y="6527"/>
                      <a:pt x="2819" y="6527"/>
                      <a:pt x="2819" y="6527"/>
                    </a:cubicBezTo>
                    <a:cubicBezTo>
                      <a:pt x="2923" y="6320"/>
                      <a:pt x="2923" y="6320"/>
                      <a:pt x="2923" y="6320"/>
                    </a:cubicBezTo>
                    <a:cubicBezTo>
                      <a:pt x="3042" y="6378"/>
                      <a:pt x="3042" y="6378"/>
                      <a:pt x="3042" y="6378"/>
                    </a:cubicBezTo>
                    <a:cubicBezTo>
                      <a:pt x="3039" y="6384"/>
                      <a:pt x="3039" y="6384"/>
                      <a:pt x="3039" y="6384"/>
                    </a:cubicBezTo>
                    <a:cubicBezTo>
                      <a:pt x="2937" y="6585"/>
                      <a:pt x="2937" y="6585"/>
                      <a:pt x="2937" y="6585"/>
                    </a:cubicBezTo>
                    <a:cubicBezTo>
                      <a:pt x="2961" y="6596"/>
                      <a:pt x="2961" y="6596"/>
                      <a:pt x="2961" y="6596"/>
                    </a:cubicBezTo>
                    <a:cubicBezTo>
                      <a:pt x="2963" y="6591"/>
                      <a:pt x="2965" y="6586"/>
                      <a:pt x="2968" y="6580"/>
                    </a:cubicBezTo>
                    <a:cubicBezTo>
                      <a:pt x="2985" y="6537"/>
                      <a:pt x="3028" y="6449"/>
                      <a:pt x="3082" y="6339"/>
                    </a:cubicBezTo>
                    <a:close/>
                    <a:moveTo>
                      <a:pt x="1834" y="5897"/>
                    </a:moveTo>
                    <a:cubicBezTo>
                      <a:pt x="1900" y="5780"/>
                      <a:pt x="1900" y="5780"/>
                      <a:pt x="1900" y="5780"/>
                    </a:cubicBezTo>
                    <a:cubicBezTo>
                      <a:pt x="1849" y="5751"/>
                      <a:pt x="1849" y="5751"/>
                      <a:pt x="1849" y="5751"/>
                    </a:cubicBezTo>
                    <a:cubicBezTo>
                      <a:pt x="1782" y="5868"/>
                      <a:pt x="1782" y="5868"/>
                      <a:pt x="1782" y="5868"/>
                    </a:cubicBezTo>
                    <a:lnTo>
                      <a:pt x="1834" y="5897"/>
                    </a:lnTo>
                    <a:close/>
                    <a:moveTo>
                      <a:pt x="1776" y="5880"/>
                    </a:moveTo>
                    <a:cubicBezTo>
                      <a:pt x="1722" y="5974"/>
                      <a:pt x="1722" y="5974"/>
                      <a:pt x="1722" y="5974"/>
                    </a:cubicBezTo>
                    <a:cubicBezTo>
                      <a:pt x="1774" y="6004"/>
                      <a:pt x="1774" y="6004"/>
                      <a:pt x="1774" y="6004"/>
                    </a:cubicBezTo>
                    <a:cubicBezTo>
                      <a:pt x="1827" y="5909"/>
                      <a:pt x="1827" y="5909"/>
                      <a:pt x="1827" y="5909"/>
                    </a:cubicBezTo>
                    <a:lnTo>
                      <a:pt x="1776" y="5880"/>
                    </a:lnTo>
                    <a:close/>
                    <a:moveTo>
                      <a:pt x="1907" y="5768"/>
                    </a:moveTo>
                    <a:cubicBezTo>
                      <a:pt x="1960" y="5672"/>
                      <a:pt x="1960" y="5672"/>
                      <a:pt x="1960" y="5672"/>
                    </a:cubicBezTo>
                    <a:cubicBezTo>
                      <a:pt x="1910" y="5643"/>
                      <a:pt x="1910" y="5643"/>
                      <a:pt x="1910" y="5643"/>
                    </a:cubicBezTo>
                    <a:cubicBezTo>
                      <a:pt x="1856" y="5739"/>
                      <a:pt x="1856" y="5739"/>
                      <a:pt x="1856" y="5739"/>
                    </a:cubicBezTo>
                    <a:lnTo>
                      <a:pt x="1907" y="5768"/>
                    </a:lnTo>
                    <a:close/>
                    <a:moveTo>
                      <a:pt x="2091" y="5438"/>
                    </a:moveTo>
                    <a:cubicBezTo>
                      <a:pt x="2042" y="5410"/>
                      <a:pt x="2042" y="5410"/>
                      <a:pt x="2042" y="5410"/>
                    </a:cubicBezTo>
                    <a:cubicBezTo>
                      <a:pt x="1982" y="5516"/>
                      <a:pt x="1982" y="5516"/>
                      <a:pt x="1982" y="5516"/>
                    </a:cubicBezTo>
                    <a:cubicBezTo>
                      <a:pt x="2028" y="5542"/>
                      <a:pt x="2028" y="5542"/>
                      <a:pt x="2028" y="5542"/>
                    </a:cubicBezTo>
                    <a:cubicBezTo>
                      <a:pt x="2021" y="5554"/>
                      <a:pt x="2021" y="5554"/>
                      <a:pt x="2021" y="5554"/>
                    </a:cubicBezTo>
                    <a:cubicBezTo>
                      <a:pt x="1975" y="5528"/>
                      <a:pt x="1975" y="5528"/>
                      <a:pt x="1975" y="5528"/>
                    </a:cubicBezTo>
                    <a:cubicBezTo>
                      <a:pt x="1916" y="5631"/>
                      <a:pt x="1916" y="5631"/>
                      <a:pt x="1916" y="5631"/>
                    </a:cubicBezTo>
                    <a:cubicBezTo>
                      <a:pt x="1967" y="5660"/>
                      <a:pt x="1967" y="5660"/>
                      <a:pt x="1967" y="5660"/>
                    </a:cubicBezTo>
                    <a:lnTo>
                      <a:pt x="2091" y="5438"/>
                    </a:lnTo>
                    <a:close/>
                    <a:moveTo>
                      <a:pt x="2031" y="5403"/>
                    </a:moveTo>
                    <a:cubicBezTo>
                      <a:pt x="1917" y="5338"/>
                      <a:pt x="1917" y="5338"/>
                      <a:pt x="1917" y="5338"/>
                    </a:cubicBezTo>
                    <a:cubicBezTo>
                      <a:pt x="1856" y="5444"/>
                      <a:pt x="1856" y="5444"/>
                      <a:pt x="1856" y="5444"/>
                    </a:cubicBezTo>
                    <a:cubicBezTo>
                      <a:pt x="1970" y="5510"/>
                      <a:pt x="1970" y="5510"/>
                      <a:pt x="1970" y="5510"/>
                    </a:cubicBezTo>
                    <a:lnTo>
                      <a:pt x="2031" y="5403"/>
                    </a:lnTo>
                    <a:close/>
                    <a:moveTo>
                      <a:pt x="1850" y="5457"/>
                    </a:moveTo>
                    <a:cubicBezTo>
                      <a:pt x="1791" y="5560"/>
                      <a:pt x="1791" y="5560"/>
                      <a:pt x="1791" y="5560"/>
                    </a:cubicBezTo>
                    <a:cubicBezTo>
                      <a:pt x="1905" y="5625"/>
                      <a:pt x="1905" y="5625"/>
                      <a:pt x="1905" y="5625"/>
                    </a:cubicBezTo>
                    <a:cubicBezTo>
                      <a:pt x="1964" y="5522"/>
                      <a:pt x="1964" y="5522"/>
                      <a:pt x="1964" y="5522"/>
                    </a:cubicBezTo>
                    <a:lnTo>
                      <a:pt x="1850" y="5457"/>
                    </a:lnTo>
                    <a:close/>
                    <a:moveTo>
                      <a:pt x="1784" y="5572"/>
                    </a:moveTo>
                    <a:cubicBezTo>
                      <a:pt x="1730" y="5667"/>
                      <a:pt x="1730" y="5667"/>
                      <a:pt x="1730" y="5667"/>
                    </a:cubicBezTo>
                    <a:cubicBezTo>
                      <a:pt x="1844" y="5732"/>
                      <a:pt x="1844" y="5732"/>
                      <a:pt x="1844" y="5732"/>
                    </a:cubicBezTo>
                    <a:cubicBezTo>
                      <a:pt x="1898" y="5637"/>
                      <a:pt x="1898" y="5637"/>
                      <a:pt x="1898" y="5637"/>
                    </a:cubicBezTo>
                    <a:lnTo>
                      <a:pt x="1784" y="5572"/>
                    </a:lnTo>
                    <a:close/>
                    <a:moveTo>
                      <a:pt x="1723" y="5679"/>
                    </a:moveTo>
                    <a:cubicBezTo>
                      <a:pt x="1657" y="5796"/>
                      <a:pt x="1657" y="5796"/>
                      <a:pt x="1657" y="5796"/>
                    </a:cubicBezTo>
                    <a:cubicBezTo>
                      <a:pt x="1771" y="5861"/>
                      <a:pt x="1771" y="5861"/>
                      <a:pt x="1771" y="5861"/>
                    </a:cubicBezTo>
                    <a:cubicBezTo>
                      <a:pt x="1837" y="5744"/>
                      <a:pt x="1837" y="5744"/>
                      <a:pt x="1837" y="5744"/>
                    </a:cubicBezTo>
                    <a:lnTo>
                      <a:pt x="1723" y="5679"/>
                    </a:lnTo>
                    <a:close/>
                    <a:moveTo>
                      <a:pt x="1650" y="5808"/>
                    </a:moveTo>
                    <a:cubicBezTo>
                      <a:pt x="1596" y="5903"/>
                      <a:pt x="1596" y="5903"/>
                      <a:pt x="1596" y="5903"/>
                    </a:cubicBezTo>
                    <a:cubicBezTo>
                      <a:pt x="1710" y="5968"/>
                      <a:pt x="1710" y="5968"/>
                      <a:pt x="1710" y="5968"/>
                    </a:cubicBezTo>
                    <a:cubicBezTo>
                      <a:pt x="1764" y="5873"/>
                      <a:pt x="1764" y="5873"/>
                      <a:pt x="1764" y="5873"/>
                    </a:cubicBezTo>
                    <a:lnTo>
                      <a:pt x="1650" y="5808"/>
                    </a:lnTo>
                    <a:close/>
                    <a:moveTo>
                      <a:pt x="1590" y="5915"/>
                    </a:moveTo>
                    <a:cubicBezTo>
                      <a:pt x="1530" y="6020"/>
                      <a:pt x="1530" y="6020"/>
                      <a:pt x="1530" y="6020"/>
                    </a:cubicBezTo>
                    <a:cubicBezTo>
                      <a:pt x="1644" y="6085"/>
                      <a:pt x="1644" y="6085"/>
                      <a:pt x="1644" y="6085"/>
                    </a:cubicBezTo>
                    <a:cubicBezTo>
                      <a:pt x="1704" y="5980"/>
                      <a:pt x="1704" y="5980"/>
                      <a:pt x="1704" y="5980"/>
                    </a:cubicBezTo>
                    <a:lnTo>
                      <a:pt x="1590" y="5915"/>
                    </a:lnTo>
                    <a:close/>
                    <a:moveTo>
                      <a:pt x="1523" y="6032"/>
                    </a:moveTo>
                    <a:cubicBezTo>
                      <a:pt x="1471" y="6124"/>
                      <a:pt x="1471" y="6124"/>
                      <a:pt x="1471" y="6124"/>
                    </a:cubicBezTo>
                    <a:cubicBezTo>
                      <a:pt x="1585" y="6189"/>
                      <a:pt x="1585" y="6189"/>
                      <a:pt x="1585" y="6189"/>
                    </a:cubicBezTo>
                    <a:cubicBezTo>
                      <a:pt x="1637" y="6097"/>
                      <a:pt x="1637" y="6097"/>
                      <a:pt x="1637" y="6097"/>
                    </a:cubicBezTo>
                    <a:lnTo>
                      <a:pt x="1523" y="6032"/>
                    </a:lnTo>
                    <a:close/>
                    <a:moveTo>
                      <a:pt x="1464" y="6136"/>
                    </a:moveTo>
                    <a:cubicBezTo>
                      <a:pt x="1404" y="6243"/>
                      <a:pt x="1404" y="6243"/>
                      <a:pt x="1404" y="6243"/>
                    </a:cubicBezTo>
                    <a:cubicBezTo>
                      <a:pt x="1518" y="6308"/>
                      <a:pt x="1518" y="6308"/>
                      <a:pt x="1518" y="6308"/>
                    </a:cubicBezTo>
                    <a:cubicBezTo>
                      <a:pt x="1578" y="6201"/>
                      <a:pt x="1578" y="6201"/>
                      <a:pt x="1578" y="6201"/>
                    </a:cubicBezTo>
                    <a:lnTo>
                      <a:pt x="1464" y="6136"/>
                    </a:lnTo>
                    <a:close/>
                    <a:moveTo>
                      <a:pt x="1529" y="6314"/>
                    </a:moveTo>
                    <a:cubicBezTo>
                      <a:pt x="1583" y="6345"/>
                      <a:pt x="1583" y="6345"/>
                      <a:pt x="1583" y="6345"/>
                    </a:cubicBezTo>
                    <a:cubicBezTo>
                      <a:pt x="1643" y="6239"/>
                      <a:pt x="1643" y="6239"/>
                      <a:pt x="1643" y="6239"/>
                    </a:cubicBezTo>
                    <a:cubicBezTo>
                      <a:pt x="1589" y="6208"/>
                      <a:pt x="1589" y="6208"/>
                      <a:pt x="1589" y="6208"/>
                    </a:cubicBezTo>
                    <a:lnTo>
                      <a:pt x="1529" y="6314"/>
                    </a:lnTo>
                    <a:close/>
                    <a:moveTo>
                      <a:pt x="1650" y="6226"/>
                    </a:moveTo>
                    <a:cubicBezTo>
                      <a:pt x="1701" y="6134"/>
                      <a:pt x="1701" y="6134"/>
                      <a:pt x="1701" y="6134"/>
                    </a:cubicBezTo>
                    <a:cubicBezTo>
                      <a:pt x="1648" y="6104"/>
                      <a:pt x="1648" y="6104"/>
                      <a:pt x="1648" y="6104"/>
                    </a:cubicBezTo>
                    <a:cubicBezTo>
                      <a:pt x="1596" y="6196"/>
                      <a:pt x="1596" y="6196"/>
                      <a:pt x="1596" y="6196"/>
                    </a:cubicBezTo>
                    <a:lnTo>
                      <a:pt x="1650" y="6226"/>
                    </a:lnTo>
                    <a:close/>
                    <a:moveTo>
                      <a:pt x="1708" y="6122"/>
                    </a:moveTo>
                    <a:cubicBezTo>
                      <a:pt x="1767" y="6016"/>
                      <a:pt x="1767" y="6016"/>
                      <a:pt x="1767" y="6016"/>
                    </a:cubicBezTo>
                    <a:cubicBezTo>
                      <a:pt x="1715" y="5986"/>
                      <a:pt x="1715" y="5986"/>
                      <a:pt x="1715" y="5986"/>
                    </a:cubicBezTo>
                    <a:cubicBezTo>
                      <a:pt x="1655" y="6092"/>
                      <a:pt x="1655" y="6092"/>
                      <a:pt x="1655" y="6092"/>
                    </a:cubicBezTo>
                    <a:lnTo>
                      <a:pt x="1708" y="6122"/>
                    </a:lnTo>
                    <a:close/>
                    <a:moveTo>
                      <a:pt x="1725" y="6226"/>
                    </a:moveTo>
                    <a:cubicBezTo>
                      <a:pt x="2004" y="6385"/>
                      <a:pt x="2004" y="6385"/>
                      <a:pt x="2004" y="6385"/>
                    </a:cubicBezTo>
                    <a:cubicBezTo>
                      <a:pt x="2016" y="6368"/>
                      <a:pt x="2039" y="6337"/>
                      <a:pt x="2062" y="6305"/>
                    </a:cubicBezTo>
                    <a:cubicBezTo>
                      <a:pt x="2078" y="6282"/>
                      <a:pt x="2095" y="6259"/>
                      <a:pt x="2107" y="6241"/>
                    </a:cubicBezTo>
                    <a:cubicBezTo>
                      <a:pt x="2113" y="6232"/>
                      <a:pt x="2119" y="6224"/>
                      <a:pt x="2122" y="6219"/>
                    </a:cubicBezTo>
                    <a:cubicBezTo>
                      <a:pt x="2123" y="6217"/>
                      <a:pt x="2124" y="6216"/>
                      <a:pt x="2125" y="6214"/>
                    </a:cubicBezTo>
                    <a:cubicBezTo>
                      <a:pt x="2125" y="6214"/>
                      <a:pt x="2125" y="6214"/>
                      <a:pt x="2125" y="6214"/>
                    </a:cubicBezTo>
                    <a:cubicBezTo>
                      <a:pt x="2127" y="6210"/>
                      <a:pt x="2127" y="6210"/>
                      <a:pt x="2127" y="6210"/>
                    </a:cubicBezTo>
                    <a:cubicBezTo>
                      <a:pt x="2127" y="6210"/>
                      <a:pt x="2127" y="6209"/>
                      <a:pt x="2127" y="6209"/>
                    </a:cubicBezTo>
                    <a:cubicBezTo>
                      <a:pt x="2128" y="6207"/>
                      <a:pt x="2130" y="6207"/>
                      <a:pt x="2130" y="6206"/>
                    </a:cubicBezTo>
                    <a:cubicBezTo>
                      <a:pt x="2134" y="6204"/>
                      <a:pt x="2137" y="6204"/>
                      <a:pt x="2145" y="6203"/>
                    </a:cubicBezTo>
                    <a:cubicBezTo>
                      <a:pt x="2189" y="6194"/>
                      <a:pt x="2340" y="6174"/>
                      <a:pt x="2363" y="6171"/>
                    </a:cubicBezTo>
                    <a:cubicBezTo>
                      <a:pt x="2371" y="6158"/>
                      <a:pt x="2404" y="6107"/>
                      <a:pt x="2440" y="6055"/>
                    </a:cubicBezTo>
                    <a:cubicBezTo>
                      <a:pt x="2442" y="6052"/>
                      <a:pt x="2444" y="6050"/>
                      <a:pt x="2446" y="6047"/>
                    </a:cubicBezTo>
                    <a:cubicBezTo>
                      <a:pt x="2397" y="6040"/>
                      <a:pt x="2134" y="6013"/>
                      <a:pt x="2128" y="6013"/>
                    </a:cubicBezTo>
                    <a:cubicBezTo>
                      <a:pt x="2121" y="6012"/>
                      <a:pt x="2120" y="6009"/>
                      <a:pt x="2112" y="6005"/>
                    </a:cubicBezTo>
                    <a:cubicBezTo>
                      <a:pt x="2075" y="5982"/>
                      <a:pt x="1966" y="5906"/>
                      <a:pt x="1922" y="5875"/>
                    </a:cubicBezTo>
                    <a:cubicBezTo>
                      <a:pt x="1825" y="6048"/>
                      <a:pt x="1825" y="6048"/>
                      <a:pt x="1825" y="6048"/>
                    </a:cubicBezTo>
                    <a:cubicBezTo>
                      <a:pt x="1836" y="6056"/>
                      <a:pt x="1836" y="6056"/>
                      <a:pt x="1836" y="6056"/>
                    </a:cubicBezTo>
                    <a:cubicBezTo>
                      <a:pt x="1911" y="5904"/>
                      <a:pt x="1911" y="5904"/>
                      <a:pt x="1911" y="5904"/>
                    </a:cubicBezTo>
                    <a:cubicBezTo>
                      <a:pt x="2031" y="5962"/>
                      <a:pt x="2031" y="5962"/>
                      <a:pt x="2031" y="5962"/>
                    </a:cubicBezTo>
                    <a:cubicBezTo>
                      <a:pt x="2028" y="5968"/>
                      <a:pt x="2028" y="5968"/>
                      <a:pt x="2028" y="5968"/>
                    </a:cubicBezTo>
                    <a:cubicBezTo>
                      <a:pt x="1943" y="6135"/>
                      <a:pt x="1943" y="6135"/>
                      <a:pt x="1943" y="6135"/>
                    </a:cubicBezTo>
                    <a:cubicBezTo>
                      <a:pt x="2099" y="6251"/>
                      <a:pt x="2099" y="6251"/>
                      <a:pt x="2099" y="6251"/>
                    </a:cubicBezTo>
                    <a:cubicBezTo>
                      <a:pt x="2091" y="6262"/>
                      <a:pt x="2091" y="6262"/>
                      <a:pt x="2091" y="6262"/>
                    </a:cubicBezTo>
                    <a:cubicBezTo>
                      <a:pt x="1937" y="6148"/>
                      <a:pt x="1937" y="6148"/>
                      <a:pt x="1937" y="6148"/>
                    </a:cubicBezTo>
                    <a:cubicBezTo>
                      <a:pt x="1875" y="6269"/>
                      <a:pt x="1875" y="6269"/>
                      <a:pt x="1875" y="6269"/>
                    </a:cubicBezTo>
                    <a:cubicBezTo>
                      <a:pt x="1758" y="6211"/>
                      <a:pt x="1758" y="6211"/>
                      <a:pt x="1758" y="6211"/>
                    </a:cubicBezTo>
                    <a:cubicBezTo>
                      <a:pt x="1829" y="6069"/>
                      <a:pt x="1829" y="6069"/>
                      <a:pt x="1829" y="6069"/>
                    </a:cubicBezTo>
                    <a:cubicBezTo>
                      <a:pt x="1818" y="6060"/>
                      <a:pt x="1818" y="6060"/>
                      <a:pt x="1818" y="6060"/>
                    </a:cubicBezTo>
                    <a:lnTo>
                      <a:pt x="1725" y="6226"/>
                    </a:lnTo>
                    <a:close/>
                    <a:moveTo>
                      <a:pt x="1840" y="6076"/>
                    </a:moveTo>
                    <a:cubicBezTo>
                      <a:pt x="1776" y="6205"/>
                      <a:pt x="1776" y="6205"/>
                      <a:pt x="1776" y="6205"/>
                    </a:cubicBezTo>
                    <a:cubicBezTo>
                      <a:pt x="1870" y="6251"/>
                      <a:pt x="1870" y="6251"/>
                      <a:pt x="1870" y="6251"/>
                    </a:cubicBezTo>
                    <a:cubicBezTo>
                      <a:pt x="1926" y="6140"/>
                      <a:pt x="1926" y="6140"/>
                      <a:pt x="1926" y="6140"/>
                    </a:cubicBezTo>
                    <a:lnTo>
                      <a:pt x="1840" y="6076"/>
                    </a:lnTo>
                    <a:close/>
                    <a:moveTo>
                      <a:pt x="1932" y="6127"/>
                    </a:moveTo>
                    <a:cubicBezTo>
                      <a:pt x="2013" y="5968"/>
                      <a:pt x="2013" y="5968"/>
                      <a:pt x="2013" y="5968"/>
                    </a:cubicBezTo>
                    <a:cubicBezTo>
                      <a:pt x="1917" y="5922"/>
                      <a:pt x="1917" y="5922"/>
                      <a:pt x="1917" y="5922"/>
                    </a:cubicBezTo>
                    <a:cubicBezTo>
                      <a:pt x="1846" y="6064"/>
                      <a:pt x="1846" y="6064"/>
                      <a:pt x="1846" y="6064"/>
                    </a:cubicBezTo>
                    <a:lnTo>
                      <a:pt x="1932" y="6127"/>
                    </a:lnTo>
                    <a:close/>
                    <a:moveTo>
                      <a:pt x="2017" y="6392"/>
                    </a:moveTo>
                    <a:cubicBezTo>
                      <a:pt x="2272" y="6537"/>
                      <a:pt x="2272" y="6537"/>
                      <a:pt x="2272" y="6537"/>
                    </a:cubicBezTo>
                    <a:cubicBezTo>
                      <a:pt x="2339" y="6433"/>
                      <a:pt x="2393" y="6348"/>
                      <a:pt x="2403" y="6332"/>
                    </a:cubicBezTo>
                    <a:cubicBezTo>
                      <a:pt x="2362" y="6185"/>
                      <a:pt x="2362" y="6185"/>
                      <a:pt x="2362" y="6185"/>
                    </a:cubicBezTo>
                    <a:cubicBezTo>
                      <a:pt x="2346" y="6187"/>
                      <a:pt x="2299" y="6193"/>
                      <a:pt x="2251" y="6200"/>
                    </a:cubicBezTo>
                    <a:cubicBezTo>
                      <a:pt x="2222" y="6205"/>
                      <a:pt x="2193" y="6209"/>
                      <a:pt x="2171" y="6212"/>
                    </a:cubicBezTo>
                    <a:cubicBezTo>
                      <a:pt x="2160" y="6214"/>
                      <a:pt x="2151" y="6216"/>
                      <a:pt x="2145" y="6217"/>
                    </a:cubicBezTo>
                    <a:cubicBezTo>
                      <a:pt x="2143" y="6217"/>
                      <a:pt x="2141" y="6218"/>
                      <a:pt x="2139" y="6218"/>
                    </a:cubicBezTo>
                    <a:cubicBezTo>
                      <a:pt x="2138" y="6220"/>
                      <a:pt x="2136" y="6222"/>
                      <a:pt x="2134" y="6226"/>
                    </a:cubicBezTo>
                    <a:cubicBezTo>
                      <a:pt x="2113" y="6259"/>
                      <a:pt x="2043" y="6355"/>
                      <a:pt x="2017" y="6392"/>
                    </a:cubicBezTo>
                    <a:close/>
                    <a:moveTo>
                      <a:pt x="3065" y="7372"/>
                    </a:moveTo>
                    <a:cubicBezTo>
                      <a:pt x="3067" y="7375"/>
                      <a:pt x="3068" y="7378"/>
                      <a:pt x="3070" y="7381"/>
                    </a:cubicBezTo>
                    <a:cubicBezTo>
                      <a:pt x="3124" y="7349"/>
                      <a:pt x="3172" y="7314"/>
                      <a:pt x="3207" y="7289"/>
                    </a:cubicBezTo>
                    <a:cubicBezTo>
                      <a:pt x="3258" y="7255"/>
                      <a:pt x="3338" y="7236"/>
                      <a:pt x="3409" y="7221"/>
                    </a:cubicBezTo>
                    <a:cubicBezTo>
                      <a:pt x="3432" y="7216"/>
                      <a:pt x="3454" y="7213"/>
                      <a:pt x="3474" y="7209"/>
                    </a:cubicBezTo>
                    <a:cubicBezTo>
                      <a:pt x="3443" y="7181"/>
                      <a:pt x="3413" y="7156"/>
                      <a:pt x="3387" y="7137"/>
                    </a:cubicBezTo>
                    <a:cubicBezTo>
                      <a:pt x="3270" y="7055"/>
                      <a:pt x="3163" y="6993"/>
                      <a:pt x="3076" y="6906"/>
                    </a:cubicBezTo>
                    <a:cubicBezTo>
                      <a:pt x="3029" y="6859"/>
                      <a:pt x="2996" y="6803"/>
                      <a:pt x="2976" y="6749"/>
                    </a:cubicBezTo>
                    <a:cubicBezTo>
                      <a:pt x="2816" y="6804"/>
                      <a:pt x="2816" y="6804"/>
                      <a:pt x="2816" y="6804"/>
                    </a:cubicBezTo>
                    <a:cubicBezTo>
                      <a:pt x="2831" y="6836"/>
                      <a:pt x="2891" y="6976"/>
                      <a:pt x="2950" y="7112"/>
                    </a:cubicBezTo>
                    <a:cubicBezTo>
                      <a:pt x="2981" y="7184"/>
                      <a:pt x="3012" y="7255"/>
                      <a:pt x="3036" y="7308"/>
                    </a:cubicBezTo>
                    <a:cubicBezTo>
                      <a:pt x="3048" y="7334"/>
                      <a:pt x="3058" y="7356"/>
                      <a:pt x="3065" y="7372"/>
                    </a:cubicBezTo>
                    <a:close/>
                    <a:moveTo>
                      <a:pt x="3429" y="7087"/>
                    </a:moveTo>
                    <a:cubicBezTo>
                      <a:pt x="3538" y="6755"/>
                      <a:pt x="3538" y="6755"/>
                      <a:pt x="3538" y="6755"/>
                    </a:cubicBezTo>
                    <a:cubicBezTo>
                      <a:pt x="3064" y="6526"/>
                      <a:pt x="3064" y="6526"/>
                      <a:pt x="3064" y="6526"/>
                    </a:cubicBezTo>
                    <a:cubicBezTo>
                      <a:pt x="3058" y="6539"/>
                      <a:pt x="3052" y="6552"/>
                      <a:pt x="3047" y="6563"/>
                    </a:cubicBezTo>
                    <a:cubicBezTo>
                      <a:pt x="3039" y="6580"/>
                      <a:pt x="3032" y="6595"/>
                      <a:pt x="3028" y="6605"/>
                    </a:cubicBezTo>
                    <a:cubicBezTo>
                      <a:pt x="3026" y="6610"/>
                      <a:pt x="3024" y="6615"/>
                      <a:pt x="3023" y="6618"/>
                    </a:cubicBezTo>
                    <a:cubicBezTo>
                      <a:pt x="3022" y="6619"/>
                      <a:pt x="3022" y="6621"/>
                      <a:pt x="3022" y="6621"/>
                    </a:cubicBezTo>
                    <a:cubicBezTo>
                      <a:pt x="3021" y="6622"/>
                      <a:pt x="3021" y="6622"/>
                      <a:pt x="3021" y="6622"/>
                    </a:cubicBezTo>
                    <a:cubicBezTo>
                      <a:pt x="3021" y="6622"/>
                      <a:pt x="3021" y="6622"/>
                      <a:pt x="3021" y="6622"/>
                    </a:cubicBezTo>
                    <a:cubicBezTo>
                      <a:pt x="3020" y="6627"/>
                      <a:pt x="3020" y="6634"/>
                      <a:pt x="3020" y="6641"/>
                    </a:cubicBezTo>
                    <a:cubicBezTo>
                      <a:pt x="3019" y="6695"/>
                      <a:pt x="3056" y="6794"/>
                      <a:pt x="3122" y="6859"/>
                    </a:cubicBezTo>
                    <a:cubicBezTo>
                      <a:pt x="3201" y="6938"/>
                      <a:pt x="3305" y="6999"/>
                      <a:pt x="3425" y="7083"/>
                    </a:cubicBezTo>
                    <a:cubicBezTo>
                      <a:pt x="3426" y="7085"/>
                      <a:pt x="3428" y="7086"/>
                      <a:pt x="3429" y="7087"/>
                    </a:cubicBezTo>
                    <a:close/>
                    <a:moveTo>
                      <a:pt x="3545" y="6743"/>
                    </a:moveTo>
                    <a:cubicBezTo>
                      <a:pt x="3790" y="6529"/>
                      <a:pt x="3790" y="6529"/>
                      <a:pt x="3790" y="6529"/>
                    </a:cubicBezTo>
                    <a:cubicBezTo>
                      <a:pt x="3864" y="6347"/>
                      <a:pt x="3864" y="6347"/>
                      <a:pt x="3864" y="6347"/>
                    </a:cubicBezTo>
                    <a:cubicBezTo>
                      <a:pt x="3863" y="6347"/>
                      <a:pt x="3863" y="6346"/>
                      <a:pt x="3862" y="6346"/>
                    </a:cubicBezTo>
                    <a:cubicBezTo>
                      <a:pt x="3861" y="6345"/>
                      <a:pt x="3859" y="6346"/>
                      <a:pt x="3858" y="6339"/>
                    </a:cubicBezTo>
                    <a:cubicBezTo>
                      <a:pt x="3858" y="6335"/>
                      <a:pt x="3863" y="6332"/>
                      <a:pt x="3864" y="6332"/>
                    </a:cubicBezTo>
                    <a:cubicBezTo>
                      <a:pt x="3866" y="6339"/>
                      <a:pt x="3866" y="6339"/>
                      <a:pt x="3866" y="6339"/>
                    </a:cubicBezTo>
                    <a:cubicBezTo>
                      <a:pt x="3866" y="6339"/>
                      <a:pt x="3866" y="6339"/>
                      <a:pt x="3866" y="6339"/>
                    </a:cubicBezTo>
                    <a:cubicBezTo>
                      <a:pt x="3867" y="6338"/>
                      <a:pt x="3867" y="6338"/>
                      <a:pt x="3867" y="6338"/>
                    </a:cubicBezTo>
                    <a:cubicBezTo>
                      <a:pt x="3869" y="6334"/>
                      <a:pt x="3869" y="6334"/>
                      <a:pt x="3869" y="6334"/>
                    </a:cubicBezTo>
                    <a:cubicBezTo>
                      <a:pt x="3870" y="6326"/>
                      <a:pt x="3874" y="6270"/>
                      <a:pt x="3874" y="6231"/>
                    </a:cubicBezTo>
                    <a:cubicBezTo>
                      <a:pt x="3874" y="6221"/>
                      <a:pt x="3874" y="6211"/>
                      <a:pt x="3873" y="6205"/>
                    </a:cubicBezTo>
                    <a:cubicBezTo>
                      <a:pt x="3873" y="6201"/>
                      <a:pt x="3872" y="6199"/>
                      <a:pt x="3872" y="6197"/>
                    </a:cubicBezTo>
                    <a:cubicBezTo>
                      <a:pt x="3872" y="6197"/>
                      <a:pt x="3872" y="6197"/>
                      <a:pt x="3872" y="6197"/>
                    </a:cubicBezTo>
                    <a:cubicBezTo>
                      <a:pt x="3866" y="6195"/>
                      <a:pt x="3866" y="6195"/>
                      <a:pt x="3866" y="6195"/>
                    </a:cubicBezTo>
                    <a:cubicBezTo>
                      <a:pt x="3977" y="5995"/>
                      <a:pt x="3977" y="5995"/>
                      <a:pt x="3977" y="5995"/>
                    </a:cubicBezTo>
                    <a:cubicBezTo>
                      <a:pt x="4012" y="5556"/>
                      <a:pt x="4012" y="5556"/>
                      <a:pt x="4012" y="5556"/>
                    </a:cubicBezTo>
                    <a:cubicBezTo>
                      <a:pt x="3995" y="5558"/>
                      <a:pt x="3953" y="5563"/>
                      <a:pt x="3910" y="5569"/>
                    </a:cubicBezTo>
                    <a:cubicBezTo>
                      <a:pt x="3865" y="5574"/>
                      <a:pt x="3820" y="5580"/>
                      <a:pt x="3806" y="5581"/>
                    </a:cubicBezTo>
                    <a:cubicBezTo>
                      <a:pt x="3776" y="5663"/>
                      <a:pt x="3776" y="5663"/>
                      <a:pt x="3776" y="5663"/>
                    </a:cubicBezTo>
                    <a:cubicBezTo>
                      <a:pt x="3770" y="5661"/>
                      <a:pt x="3770" y="5661"/>
                      <a:pt x="3770" y="5661"/>
                    </a:cubicBezTo>
                    <a:cubicBezTo>
                      <a:pt x="3770" y="5661"/>
                      <a:pt x="3707" y="5646"/>
                      <a:pt x="3643" y="5630"/>
                    </a:cubicBezTo>
                    <a:cubicBezTo>
                      <a:pt x="3599" y="5620"/>
                      <a:pt x="3553" y="5609"/>
                      <a:pt x="3528" y="5603"/>
                    </a:cubicBezTo>
                    <a:cubicBezTo>
                      <a:pt x="3499" y="5661"/>
                      <a:pt x="3457" y="5742"/>
                      <a:pt x="3411" y="5834"/>
                    </a:cubicBezTo>
                    <a:cubicBezTo>
                      <a:pt x="3974" y="5990"/>
                      <a:pt x="3974" y="5990"/>
                      <a:pt x="3974" y="5990"/>
                    </a:cubicBezTo>
                    <a:cubicBezTo>
                      <a:pt x="3970" y="6004"/>
                      <a:pt x="3970" y="6004"/>
                      <a:pt x="3970" y="6004"/>
                    </a:cubicBezTo>
                    <a:cubicBezTo>
                      <a:pt x="3404" y="5847"/>
                      <a:pt x="3404" y="5847"/>
                      <a:pt x="3404" y="5847"/>
                    </a:cubicBezTo>
                    <a:cubicBezTo>
                      <a:pt x="3372" y="5910"/>
                      <a:pt x="3337" y="5979"/>
                      <a:pt x="3302" y="6048"/>
                    </a:cubicBezTo>
                    <a:cubicBezTo>
                      <a:pt x="3277" y="6097"/>
                      <a:pt x="3252" y="6146"/>
                      <a:pt x="3228" y="6195"/>
                    </a:cubicBezTo>
                    <a:cubicBezTo>
                      <a:pt x="3827" y="6433"/>
                      <a:pt x="3827" y="6433"/>
                      <a:pt x="3827" y="6433"/>
                    </a:cubicBezTo>
                    <a:cubicBezTo>
                      <a:pt x="3822" y="6446"/>
                      <a:pt x="3822" y="6446"/>
                      <a:pt x="3822" y="6446"/>
                    </a:cubicBezTo>
                    <a:cubicBezTo>
                      <a:pt x="3222" y="6207"/>
                      <a:pt x="3222" y="6207"/>
                      <a:pt x="3222" y="6207"/>
                    </a:cubicBezTo>
                    <a:cubicBezTo>
                      <a:pt x="3181" y="6287"/>
                      <a:pt x="3143" y="6364"/>
                      <a:pt x="3111" y="6429"/>
                    </a:cubicBezTo>
                    <a:cubicBezTo>
                      <a:pt x="3096" y="6460"/>
                      <a:pt x="3082" y="6488"/>
                      <a:pt x="3070" y="6513"/>
                    </a:cubicBezTo>
                    <a:lnTo>
                      <a:pt x="3545" y="6743"/>
                    </a:lnTo>
                    <a:close/>
                    <a:moveTo>
                      <a:pt x="4071" y="6683"/>
                    </a:moveTo>
                    <a:cubicBezTo>
                      <a:pt x="4207" y="6506"/>
                      <a:pt x="4207" y="6506"/>
                      <a:pt x="4207" y="6506"/>
                    </a:cubicBezTo>
                    <a:cubicBezTo>
                      <a:pt x="4186" y="6497"/>
                      <a:pt x="4112" y="6464"/>
                      <a:pt x="4038" y="6430"/>
                    </a:cubicBezTo>
                    <a:cubicBezTo>
                      <a:pt x="3994" y="6410"/>
                      <a:pt x="3950" y="6390"/>
                      <a:pt x="3917" y="6375"/>
                    </a:cubicBezTo>
                    <a:cubicBezTo>
                      <a:pt x="3901" y="6367"/>
                      <a:pt x="3887" y="6360"/>
                      <a:pt x="3877" y="6355"/>
                    </a:cubicBezTo>
                    <a:cubicBezTo>
                      <a:pt x="3877" y="6355"/>
                      <a:pt x="3876" y="6354"/>
                      <a:pt x="3876" y="6354"/>
                    </a:cubicBezTo>
                    <a:cubicBezTo>
                      <a:pt x="3805" y="6530"/>
                      <a:pt x="3805" y="6530"/>
                      <a:pt x="3805" y="6530"/>
                    </a:cubicBezTo>
                    <a:lnTo>
                      <a:pt x="4071" y="6683"/>
                    </a:lnTo>
                    <a:close/>
                    <a:moveTo>
                      <a:pt x="4216" y="6494"/>
                    </a:moveTo>
                    <a:cubicBezTo>
                      <a:pt x="4217" y="6493"/>
                      <a:pt x="4217" y="6493"/>
                      <a:pt x="4217" y="6493"/>
                    </a:cubicBezTo>
                    <a:cubicBezTo>
                      <a:pt x="4331" y="6543"/>
                      <a:pt x="4331" y="6543"/>
                      <a:pt x="4331" y="6543"/>
                    </a:cubicBezTo>
                    <a:cubicBezTo>
                      <a:pt x="4375" y="6629"/>
                      <a:pt x="4375" y="6629"/>
                      <a:pt x="4375" y="6629"/>
                    </a:cubicBezTo>
                    <a:cubicBezTo>
                      <a:pt x="4375" y="6629"/>
                      <a:pt x="4375" y="6629"/>
                      <a:pt x="4375" y="6629"/>
                    </a:cubicBezTo>
                    <a:cubicBezTo>
                      <a:pt x="4538" y="6710"/>
                      <a:pt x="4538" y="6710"/>
                      <a:pt x="4538" y="6710"/>
                    </a:cubicBezTo>
                    <a:cubicBezTo>
                      <a:pt x="4557" y="6610"/>
                      <a:pt x="4580" y="6492"/>
                      <a:pt x="4604" y="6369"/>
                    </a:cubicBezTo>
                    <a:cubicBezTo>
                      <a:pt x="4556" y="6362"/>
                      <a:pt x="4556" y="6362"/>
                      <a:pt x="4556" y="6362"/>
                    </a:cubicBezTo>
                    <a:cubicBezTo>
                      <a:pt x="4540" y="6448"/>
                      <a:pt x="4540" y="6448"/>
                      <a:pt x="4540" y="6448"/>
                    </a:cubicBezTo>
                    <a:cubicBezTo>
                      <a:pt x="4386" y="6422"/>
                      <a:pt x="4386" y="6422"/>
                      <a:pt x="4386" y="6422"/>
                    </a:cubicBezTo>
                    <a:cubicBezTo>
                      <a:pt x="4401" y="6339"/>
                      <a:pt x="4401" y="6339"/>
                      <a:pt x="4401" y="6339"/>
                    </a:cubicBezTo>
                    <a:cubicBezTo>
                      <a:pt x="4241" y="6315"/>
                      <a:pt x="4241" y="6315"/>
                      <a:pt x="4241" y="6315"/>
                    </a:cubicBezTo>
                    <a:cubicBezTo>
                      <a:pt x="3887" y="6202"/>
                      <a:pt x="3887" y="6202"/>
                      <a:pt x="3887" y="6202"/>
                    </a:cubicBezTo>
                    <a:cubicBezTo>
                      <a:pt x="3887" y="6202"/>
                      <a:pt x="3887" y="6203"/>
                      <a:pt x="3887" y="6203"/>
                    </a:cubicBezTo>
                    <a:cubicBezTo>
                      <a:pt x="3888" y="6211"/>
                      <a:pt x="3888" y="6220"/>
                      <a:pt x="3888" y="6231"/>
                    </a:cubicBezTo>
                    <a:cubicBezTo>
                      <a:pt x="3888" y="6275"/>
                      <a:pt x="3883" y="6336"/>
                      <a:pt x="3883" y="6336"/>
                    </a:cubicBezTo>
                    <a:cubicBezTo>
                      <a:pt x="3883" y="6337"/>
                      <a:pt x="3883" y="6337"/>
                      <a:pt x="3883" y="6337"/>
                    </a:cubicBezTo>
                    <a:cubicBezTo>
                      <a:pt x="3881" y="6341"/>
                      <a:pt x="3881" y="6341"/>
                      <a:pt x="3881" y="6341"/>
                    </a:cubicBezTo>
                    <a:cubicBezTo>
                      <a:pt x="3908" y="6355"/>
                      <a:pt x="3981" y="6389"/>
                      <a:pt x="4052" y="6421"/>
                    </a:cubicBezTo>
                    <a:cubicBezTo>
                      <a:pt x="4127" y="6455"/>
                      <a:pt x="4200" y="6488"/>
                      <a:pt x="4216" y="6494"/>
                    </a:cubicBezTo>
                    <a:close/>
                    <a:moveTo>
                      <a:pt x="4369" y="6642"/>
                    </a:moveTo>
                    <a:cubicBezTo>
                      <a:pt x="4200" y="6997"/>
                      <a:pt x="4200" y="6997"/>
                      <a:pt x="4200" y="6997"/>
                    </a:cubicBezTo>
                    <a:cubicBezTo>
                      <a:pt x="4262" y="7094"/>
                      <a:pt x="4262" y="7094"/>
                      <a:pt x="4262" y="7094"/>
                    </a:cubicBezTo>
                    <a:cubicBezTo>
                      <a:pt x="4468" y="7108"/>
                      <a:pt x="4468" y="7108"/>
                      <a:pt x="4468" y="7108"/>
                    </a:cubicBezTo>
                    <a:cubicBezTo>
                      <a:pt x="4479" y="7061"/>
                      <a:pt x="4488" y="7010"/>
                      <a:pt x="4495" y="6957"/>
                    </a:cubicBezTo>
                    <a:cubicBezTo>
                      <a:pt x="4501" y="6911"/>
                      <a:pt x="4516" y="6828"/>
                      <a:pt x="4535" y="6724"/>
                    </a:cubicBezTo>
                    <a:lnTo>
                      <a:pt x="4369" y="6642"/>
                    </a:lnTo>
                    <a:close/>
                    <a:moveTo>
                      <a:pt x="4410" y="7749"/>
                    </a:moveTo>
                    <a:cubicBezTo>
                      <a:pt x="4419" y="7789"/>
                      <a:pt x="4419" y="7789"/>
                      <a:pt x="4419" y="7789"/>
                    </a:cubicBezTo>
                    <a:cubicBezTo>
                      <a:pt x="4663" y="7754"/>
                      <a:pt x="4663" y="7754"/>
                      <a:pt x="4663" y="7754"/>
                    </a:cubicBezTo>
                    <a:cubicBezTo>
                      <a:pt x="4639" y="7605"/>
                      <a:pt x="4639" y="7605"/>
                      <a:pt x="4639" y="7605"/>
                    </a:cubicBezTo>
                    <a:lnTo>
                      <a:pt x="4410" y="7749"/>
                    </a:lnTo>
                    <a:close/>
                    <a:moveTo>
                      <a:pt x="4422" y="7802"/>
                    </a:moveTo>
                    <a:cubicBezTo>
                      <a:pt x="4450" y="7930"/>
                      <a:pt x="4450" y="7930"/>
                      <a:pt x="4450" y="7930"/>
                    </a:cubicBezTo>
                    <a:cubicBezTo>
                      <a:pt x="4686" y="7897"/>
                      <a:pt x="4686" y="7897"/>
                      <a:pt x="4686" y="7897"/>
                    </a:cubicBezTo>
                    <a:cubicBezTo>
                      <a:pt x="4666" y="7767"/>
                      <a:pt x="4666" y="7767"/>
                      <a:pt x="4666" y="7767"/>
                    </a:cubicBezTo>
                    <a:lnTo>
                      <a:pt x="4422" y="7802"/>
                    </a:lnTo>
                    <a:close/>
                    <a:moveTo>
                      <a:pt x="4677" y="7753"/>
                    </a:moveTo>
                    <a:cubicBezTo>
                      <a:pt x="4784" y="7737"/>
                      <a:pt x="4784" y="7737"/>
                      <a:pt x="4784" y="7737"/>
                    </a:cubicBezTo>
                    <a:cubicBezTo>
                      <a:pt x="4776" y="7686"/>
                      <a:pt x="4768" y="7635"/>
                      <a:pt x="4761" y="7597"/>
                    </a:cubicBezTo>
                    <a:cubicBezTo>
                      <a:pt x="4758" y="7575"/>
                      <a:pt x="4754" y="7558"/>
                      <a:pt x="4752" y="7545"/>
                    </a:cubicBezTo>
                    <a:cubicBezTo>
                      <a:pt x="4751" y="7541"/>
                      <a:pt x="4750" y="7538"/>
                      <a:pt x="4750" y="7535"/>
                    </a:cubicBezTo>
                    <a:cubicBezTo>
                      <a:pt x="4644" y="7602"/>
                      <a:pt x="4644" y="7602"/>
                      <a:pt x="4644" y="7602"/>
                    </a:cubicBezTo>
                    <a:cubicBezTo>
                      <a:pt x="4653" y="7600"/>
                      <a:pt x="4653" y="7600"/>
                      <a:pt x="4653" y="7600"/>
                    </a:cubicBezTo>
                    <a:lnTo>
                      <a:pt x="4677" y="7753"/>
                    </a:lnTo>
                    <a:close/>
                    <a:moveTo>
                      <a:pt x="4798" y="7736"/>
                    </a:moveTo>
                    <a:cubicBezTo>
                      <a:pt x="4911" y="7719"/>
                      <a:pt x="4911" y="7719"/>
                      <a:pt x="4911" y="7719"/>
                    </a:cubicBezTo>
                    <a:cubicBezTo>
                      <a:pt x="4889" y="7582"/>
                      <a:pt x="4889" y="7582"/>
                      <a:pt x="4889" y="7582"/>
                    </a:cubicBezTo>
                    <a:cubicBezTo>
                      <a:pt x="4764" y="7536"/>
                      <a:pt x="4764" y="7536"/>
                      <a:pt x="4764" y="7536"/>
                    </a:cubicBezTo>
                    <a:cubicBezTo>
                      <a:pt x="4765" y="7539"/>
                      <a:pt x="4766" y="7542"/>
                      <a:pt x="4767" y="7547"/>
                    </a:cubicBezTo>
                    <a:cubicBezTo>
                      <a:pt x="4774" y="7584"/>
                      <a:pt x="4786" y="7659"/>
                      <a:pt x="4798" y="7736"/>
                    </a:cubicBezTo>
                    <a:close/>
                    <a:moveTo>
                      <a:pt x="4800" y="7749"/>
                    </a:moveTo>
                    <a:cubicBezTo>
                      <a:pt x="4807" y="7794"/>
                      <a:pt x="4814" y="7839"/>
                      <a:pt x="4819" y="7878"/>
                    </a:cubicBezTo>
                    <a:cubicBezTo>
                      <a:pt x="4935" y="7862"/>
                      <a:pt x="4935" y="7862"/>
                      <a:pt x="4935" y="7862"/>
                    </a:cubicBezTo>
                    <a:cubicBezTo>
                      <a:pt x="4913" y="7732"/>
                      <a:pt x="4913" y="7732"/>
                      <a:pt x="4913" y="7732"/>
                    </a:cubicBezTo>
                    <a:lnTo>
                      <a:pt x="4800" y="7749"/>
                    </a:lnTo>
                    <a:close/>
                    <a:moveTo>
                      <a:pt x="4821" y="7891"/>
                    </a:moveTo>
                    <a:cubicBezTo>
                      <a:pt x="4827" y="7927"/>
                      <a:pt x="4831" y="7954"/>
                      <a:pt x="4833" y="7968"/>
                    </a:cubicBezTo>
                    <a:cubicBezTo>
                      <a:pt x="4834" y="7968"/>
                      <a:pt x="4835" y="7968"/>
                      <a:pt x="4836" y="7968"/>
                    </a:cubicBezTo>
                    <a:cubicBezTo>
                      <a:pt x="4876" y="7960"/>
                      <a:pt x="4914" y="7953"/>
                      <a:pt x="4948" y="7946"/>
                    </a:cubicBezTo>
                    <a:cubicBezTo>
                      <a:pt x="4937" y="7875"/>
                      <a:pt x="4937" y="7875"/>
                      <a:pt x="4937" y="7875"/>
                    </a:cubicBezTo>
                    <a:lnTo>
                      <a:pt x="4821" y="7891"/>
                    </a:lnTo>
                    <a:close/>
                    <a:moveTo>
                      <a:pt x="4948" y="7860"/>
                    </a:moveTo>
                    <a:cubicBezTo>
                      <a:pt x="5054" y="7845"/>
                      <a:pt x="5054" y="7845"/>
                      <a:pt x="5054" y="7845"/>
                    </a:cubicBezTo>
                    <a:cubicBezTo>
                      <a:pt x="5033" y="7715"/>
                      <a:pt x="5033" y="7715"/>
                      <a:pt x="5033" y="7715"/>
                    </a:cubicBezTo>
                    <a:cubicBezTo>
                      <a:pt x="4927" y="7730"/>
                      <a:pt x="4927" y="7730"/>
                      <a:pt x="4927" y="7730"/>
                    </a:cubicBezTo>
                    <a:lnTo>
                      <a:pt x="4948" y="7860"/>
                    </a:lnTo>
                    <a:close/>
                    <a:moveTo>
                      <a:pt x="4950" y="7873"/>
                    </a:moveTo>
                    <a:cubicBezTo>
                      <a:pt x="4962" y="7944"/>
                      <a:pt x="4962" y="7944"/>
                      <a:pt x="4962" y="7944"/>
                    </a:cubicBezTo>
                    <a:cubicBezTo>
                      <a:pt x="5026" y="7931"/>
                      <a:pt x="5074" y="7921"/>
                      <a:pt x="5090" y="7918"/>
                    </a:cubicBezTo>
                    <a:cubicBezTo>
                      <a:pt x="5027" y="7503"/>
                      <a:pt x="5027" y="7503"/>
                      <a:pt x="5027" y="7503"/>
                    </a:cubicBezTo>
                    <a:cubicBezTo>
                      <a:pt x="4903" y="7580"/>
                      <a:pt x="4903" y="7580"/>
                      <a:pt x="4903" y="7580"/>
                    </a:cubicBezTo>
                    <a:cubicBezTo>
                      <a:pt x="4925" y="7718"/>
                      <a:pt x="4925" y="7718"/>
                      <a:pt x="4925" y="7718"/>
                    </a:cubicBezTo>
                    <a:cubicBezTo>
                      <a:pt x="5044" y="7701"/>
                      <a:pt x="5044" y="7701"/>
                      <a:pt x="5044" y="7701"/>
                    </a:cubicBezTo>
                    <a:cubicBezTo>
                      <a:pt x="5069" y="7856"/>
                      <a:pt x="5069" y="7856"/>
                      <a:pt x="5069" y="7856"/>
                    </a:cubicBezTo>
                    <a:cubicBezTo>
                      <a:pt x="5062" y="7857"/>
                      <a:pt x="5062" y="7857"/>
                      <a:pt x="5062" y="7857"/>
                    </a:cubicBezTo>
                    <a:lnTo>
                      <a:pt x="4950" y="7873"/>
                    </a:lnTo>
                    <a:close/>
                    <a:moveTo>
                      <a:pt x="5104" y="7915"/>
                    </a:moveTo>
                    <a:cubicBezTo>
                      <a:pt x="5108" y="7914"/>
                      <a:pt x="5108" y="7914"/>
                      <a:pt x="5108" y="7914"/>
                    </a:cubicBezTo>
                    <a:cubicBezTo>
                      <a:pt x="5118" y="7915"/>
                      <a:pt x="5118" y="7915"/>
                      <a:pt x="5118" y="7915"/>
                    </a:cubicBezTo>
                    <a:cubicBezTo>
                      <a:pt x="5119" y="7915"/>
                      <a:pt x="5160" y="7918"/>
                      <a:pt x="5228" y="7923"/>
                    </a:cubicBezTo>
                    <a:cubicBezTo>
                      <a:pt x="5169" y="7415"/>
                      <a:pt x="5169" y="7415"/>
                      <a:pt x="5169" y="7415"/>
                    </a:cubicBezTo>
                    <a:cubicBezTo>
                      <a:pt x="5168" y="7415"/>
                      <a:pt x="5168" y="7415"/>
                      <a:pt x="5168" y="7415"/>
                    </a:cubicBezTo>
                    <a:cubicBezTo>
                      <a:pt x="5031" y="7500"/>
                      <a:pt x="5031" y="7500"/>
                      <a:pt x="5031" y="7500"/>
                    </a:cubicBezTo>
                    <a:cubicBezTo>
                      <a:pt x="5041" y="7499"/>
                      <a:pt x="5041" y="7499"/>
                      <a:pt x="5041" y="7499"/>
                    </a:cubicBezTo>
                    <a:lnTo>
                      <a:pt x="5104" y="7915"/>
                    </a:lnTo>
                    <a:close/>
                    <a:moveTo>
                      <a:pt x="5400" y="7743"/>
                    </a:moveTo>
                    <a:cubicBezTo>
                      <a:pt x="5399" y="7874"/>
                      <a:pt x="5399" y="7874"/>
                      <a:pt x="5399" y="7874"/>
                    </a:cubicBezTo>
                    <a:cubicBezTo>
                      <a:pt x="5589" y="7890"/>
                      <a:pt x="5589" y="7890"/>
                      <a:pt x="5589" y="7890"/>
                    </a:cubicBezTo>
                    <a:cubicBezTo>
                      <a:pt x="5588" y="7759"/>
                      <a:pt x="5588" y="7759"/>
                      <a:pt x="5588" y="7759"/>
                    </a:cubicBezTo>
                    <a:lnTo>
                      <a:pt x="5400" y="7743"/>
                    </a:lnTo>
                    <a:close/>
                    <a:moveTo>
                      <a:pt x="5398" y="7935"/>
                    </a:moveTo>
                    <a:cubicBezTo>
                      <a:pt x="5457" y="7939"/>
                      <a:pt x="5522" y="7944"/>
                      <a:pt x="5590" y="7949"/>
                    </a:cubicBezTo>
                    <a:cubicBezTo>
                      <a:pt x="5590" y="7903"/>
                      <a:pt x="5590" y="7903"/>
                      <a:pt x="5590" y="7903"/>
                    </a:cubicBezTo>
                    <a:cubicBezTo>
                      <a:pt x="5399" y="7887"/>
                      <a:pt x="5399" y="7887"/>
                      <a:pt x="5399" y="7887"/>
                    </a:cubicBezTo>
                    <a:lnTo>
                      <a:pt x="5398" y="7935"/>
                    </a:lnTo>
                    <a:close/>
                    <a:moveTo>
                      <a:pt x="5679" y="7351"/>
                    </a:moveTo>
                    <a:cubicBezTo>
                      <a:pt x="5713" y="7155"/>
                      <a:pt x="5713" y="7155"/>
                      <a:pt x="5713" y="7155"/>
                    </a:cubicBezTo>
                    <a:cubicBezTo>
                      <a:pt x="5555" y="7138"/>
                      <a:pt x="5116" y="7091"/>
                      <a:pt x="5102" y="7091"/>
                    </a:cubicBezTo>
                    <a:cubicBezTo>
                      <a:pt x="5102" y="7091"/>
                      <a:pt x="5102" y="7091"/>
                      <a:pt x="5102" y="7091"/>
                    </a:cubicBezTo>
                    <a:cubicBezTo>
                      <a:pt x="5102" y="7087"/>
                      <a:pt x="5102" y="7087"/>
                      <a:pt x="5102" y="7087"/>
                    </a:cubicBezTo>
                    <a:cubicBezTo>
                      <a:pt x="5102" y="7091"/>
                      <a:pt x="5102" y="7091"/>
                      <a:pt x="5102" y="7091"/>
                    </a:cubicBezTo>
                    <a:cubicBezTo>
                      <a:pt x="5102" y="7084"/>
                      <a:pt x="5102" y="7084"/>
                      <a:pt x="5102" y="7084"/>
                    </a:cubicBezTo>
                    <a:cubicBezTo>
                      <a:pt x="5104" y="7091"/>
                      <a:pt x="5104" y="7091"/>
                      <a:pt x="5104" y="7091"/>
                    </a:cubicBezTo>
                    <a:cubicBezTo>
                      <a:pt x="5102" y="7084"/>
                      <a:pt x="5102" y="7084"/>
                      <a:pt x="5102" y="7084"/>
                    </a:cubicBezTo>
                    <a:cubicBezTo>
                      <a:pt x="5102" y="7084"/>
                      <a:pt x="5102" y="7084"/>
                      <a:pt x="5102" y="7084"/>
                    </a:cubicBezTo>
                    <a:cubicBezTo>
                      <a:pt x="5104" y="7162"/>
                      <a:pt x="5105" y="7240"/>
                      <a:pt x="5105" y="7252"/>
                    </a:cubicBezTo>
                    <a:cubicBezTo>
                      <a:pt x="5174" y="7395"/>
                      <a:pt x="5174" y="7395"/>
                      <a:pt x="5174" y="7395"/>
                    </a:cubicBezTo>
                    <a:cubicBezTo>
                      <a:pt x="5254" y="7345"/>
                      <a:pt x="5254" y="7345"/>
                      <a:pt x="5254" y="7345"/>
                    </a:cubicBezTo>
                    <a:lnTo>
                      <a:pt x="5679" y="7351"/>
                    </a:lnTo>
                    <a:close/>
                    <a:moveTo>
                      <a:pt x="5598" y="7364"/>
                    </a:moveTo>
                    <a:cubicBezTo>
                      <a:pt x="5602" y="7747"/>
                      <a:pt x="5602" y="7747"/>
                      <a:pt x="5602" y="7747"/>
                    </a:cubicBezTo>
                    <a:cubicBezTo>
                      <a:pt x="5792" y="7763"/>
                      <a:pt x="5792" y="7763"/>
                      <a:pt x="5792" y="7763"/>
                    </a:cubicBezTo>
                    <a:cubicBezTo>
                      <a:pt x="5778" y="7644"/>
                      <a:pt x="5778" y="7644"/>
                      <a:pt x="5778" y="7644"/>
                    </a:cubicBezTo>
                    <a:cubicBezTo>
                      <a:pt x="5815" y="7424"/>
                      <a:pt x="5815" y="7424"/>
                      <a:pt x="5815" y="7424"/>
                    </a:cubicBezTo>
                    <a:cubicBezTo>
                      <a:pt x="5740" y="7381"/>
                      <a:pt x="5740" y="7381"/>
                      <a:pt x="5740" y="7381"/>
                    </a:cubicBezTo>
                    <a:cubicBezTo>
                      <a:pt x="5739" y="7383"/>
                      <a:pt x="5739" y="7383"/>
                      <a:pt x="5739" y="7383"/>
                    </a:cubicBezTo>
                    <a:cubicBezTo>
                      <a:pt x="5675" y="7372"/>
                      <a:pt x="5675" y="7372"/>
                      <a:pt x="5675" y="7372"/>
                    </a:cubicBezTo>
                    <a:cubicBezTo>
                      <a:pt x="5676" y="7365"/>
                      <a:pt x="5676" y="7365"/>
                      <a:pt x="5676" y="7365"/>
                    </a:cubicBezTo>
                    <a:lnTo>
                      <a:pt x="5598" y="7364"/>
                    </a:lnTo>
                    <a:close/>
                    <a:moveTo>
                      <a:pt x="5901" y="7719"/>
                    </a:moveTo>
                    <a:cubicBezTo>
                      <a:pt x="5947" y="7500"/>
                      <a:pt x="5947" y="7500"/>
                      <a:pt x="5947" y="7500"/>
                    </a:cubicBezTo>
                    <a:cubicBezTo>
                      <a:pt x="5828" y="7432"/>
                      <a:pt x="5828" y="7432"/>
                      <a:pt x="5828" y="7432"/>
                    </a:cubicBezTo>
                    <a:cubicBezTo>
                      <a:pt x="5792" y="7645"/>
                      <a:pt x="5792" y="7645"/>
                      <a:pt x="5792" y="7645"/>
                    </a:cubicBezTo>
                    <a:cubicBezTo>
                      <a:pt x="5806" y="7764"/>
                      <a:pt x="5806" y="7764"/>
                      <a:pt x="5806" y="7764"/>
                    </a:cubicBezTo>
                    <a:cubicBezTo>
                      <a:pt x="5915" y="7773"/>
                      <a:pt x="5915" y="7773"/>
                      <a:pt x="5915" y="7773"/>
                    </a:cubicBezTo>
                    <a:cubicBezTo>
                      <a:pt x="5907" y="7742"/>
                      <a:pt x="5902" y="7720"/>
                      <a:pt x="5902" y="7720"/>
                    </a:cubicBezTo>
                    <a:lnTo>
                      <a:pt x="5901" y="7719"/>
                    </a:lnTo>
                    <a:close/>
                    <a:moveTo>
                      <a:pt x="5602" y="7760"/>
                    </a:moveTo>
                    <a:cubicBezTo>
                      <a:pt x="5603" y="7891"/>
                      <a:pt x="5603" y="7891"/>
                      <a:pt x="5603" y="7891"/>
                    </a:cubicBezTo>
                    <a:cubicBezTo>
                      <a:pt x="5809" y="7909"/>
                      <a:pt x="5809" y="7909"/>
                      <a:pt x="5809" y="7909"/>
                    </a:cubicBezTo>
                    <a:cubicBezTo>
                      <a:pt x="5794" y="7776"/>
                      <a:pt x="5794" y="7776"/>
                      <a:pt x="5794" y="7776"/>
                    </a:cubicBezTo>
                    <a:lnTo>
                      <a:pt x="5602" y="7760"/>
                    </a:lnTo>
                    <a:close/>
                    <a:moveTo>
                      <a:pt x="5604" y="7904"/>
                    </a:moveTo>
                    <a:cubicBezTo>
                      <a:pt x="5604" y="7950"/>
                      <a:pt x="5604" y="7950"/>
                      <a:pt x="5604" y="7950"/>
                    </a:cubicBezTo>
                    <a:cubicBezTo>
                      <a:pt x="5672" y="7954"/>
                      <a:pt x="5744" y="7960"/>
                      <a:pt x="5816" y="7965"/>
                    </a:cubicBezTo>
                    <a:cubicBezTo>
                      <a:pt x="5811" y="7922"/>
                      <a:pt x="5811" y="7922"/>
                      <a:pt x="5811" y="7922"/>
                    </a:cubicBezTo>
                    <a:lnTo>
                      <a:pt x="5604" y="7904"/>
                    </a:lnTo>
                    <a:close/>
                    <a:moveTo>
                      <a:pt x="5824" y="7910"/>
                    </a:moveTo>
                    <a:cubicBezTo>
                      <a:pt x="5950" y="7921"/>
                      <a:pt x="5950" y="7921"/>
                      <a:pt x="5950" y="7921"/>
                    </a:cubicBezTo>
                    <a:cubicBezTo>
                      <a:pt x="5945" y="7896"/>
                      <a:pt x="5938" y="7867"/>
                      <a:pt x="5931" y="7839"/>
                    </a:cubicBezTo>
                    <a:cubicBezTo>
                      <a:pt x="5927" y="7821"/>
                      <a:pt x="5922" y="7803"/>
                      <a:pt x="5918" y="7787"/>
                    </a:cubicBezTo>
                    <a:cubicBezTo>
                      <a:pt x="5808" y="7777"/>
                      <a:pt x="5808" y="7777"/>
                      <a:pt x="5808" y="7777"/>
                    </a:cubicBezTo>
                    <a:lnTo>
                      <a:pt x="5824" y="7910"/>
                    </a:lnTo>
                    <a:close/>
                    <a:moveTo>
                      <a:pt x="5825" y="7923"/>
                    </a:moveTo>
                    <a:cubicBezTo>
                      <a:pt x="5830" y="7966"/>
                      <a:pt x="5830" y="7966"/>
                      <a:pt x="5830" y="7966"/>
                    </a:cubicBezTo>
                    <a:cubicBezTo>
                      <a:pt x="5832" y="7966"/>
                      <a:pt x="5835" y="7966"/>
                      <a:pt x="5837" y="7966"/>
                    </a:cubicBezTo>
                    <a:cubicBezTo>
                      <a:pt x="5878" y="7969"/>
                      <a:pt x="5919" y="7972"/>
                      <a:pt x="5960" y="7975"/>
                    </a:cubicBezTo>
                    <a:cubicBezTo>
                      <a:pt x="5959" y="7966"/>
                      <a:pt x="5956" y="7952"/>
                      <a:pt x="5953" y="7934"/>
                    </a:cubicBezTo>
                    <a:lnTo>
                      <a:pt x="5825" y="7923"/>
                    </a:lnTo>
                    <a:close/>
                    <a:moveTo>
                      <a:pt x="6234" y="7945"/>
                    </a:moveTo>
                    <a:cubicBezTo>
                      <a:pt x="6243" y="7814"/>
                      <a:pt x="6243" y="7814"/>
                      <a:pt x="6243" y="7814"/>
                    </a:cubicBezTo>
                    <a:cubicBezTo>
                      <a:pt x="6185" y="7809"/>
                      <a:pt x="6185" y="7809"/>
                      <a:pt x="6185" y="7809"/>
                    </a:cubicBezTo>
                    <a:cubicBezTo>
                      <a:pt x="6172" y="7940"/>
                      <a:pt x="6172" y="7940"/>
                      <a:pt x="6172" y="7940"/>
                    </a:cubicBezTo>
                    <a:lnTo>
                      <a:pt x="6234" y="7945"/>
                    </a:lnTo>
                    <a:close/>
                    <a:moveTo>
                      <a:pt x="6194" y="7617"/>
                    </a:moveTo>
                    <a:cubicBezTo>
                      <a:pt x="6195" y="7614"/>
                      <a:pt x="6195" y="7614"/>
                      <a:pt x="6195" y="7614"/>
                    </a:cubicBezTo>
                    <a:cubicBezTo>
                      <a:pt x="6195" y="7614"/>
                      <a:pt x="6195" y="7614"/>
                      <a:pt x="6195" y="7614"/>
                    </a:cubicBezTo>
                    <a:cubicBezTo>
                      <a:pt x="6190" y="7618"/>
                      <a:pt x="6190" y="7618"/>
                      <a:pt x="6190" y="7618"/>
                    </a:cubicBezTo>
                    <a:cubicBezTo>
                      <a:pt x="6189" y="7618"/>
                      <a:pt x="6189" y="7618"/>
                      <a:pt x="6189" y="7618"/>
                    </a:cubicBezTo>
                    <a:cubicBezTo>
                      <a:pt x="6189" y="7618"/>
                      <a:pt x="6189" y="7618"/>
                      <a:pt x="6189" y="7618"/>
                    </a:cubicBezTo>
                    <a:cubicBezTo>
                      <a:pt x="6184" y="7612"/>
                      <a:pt x="6136" y="7573"/>
                      <a:pt x="6091" y="7535"/>
                    </a:cubicBezTo>
                    <a:cubicBezTo>
                      <a:pt x="6052" y="7503"/>
                      <a:pt x="6014" y="7471"/>
                      <a:pt x="6001" y="7460"/>
                    </a:cubicBezTo>
                    <a:cubicBezTo>
                      <a:pt x="5961" y="7500"/>
                      <a:pt x="5961" y="7500"/>
                      <a:pt x="5961" y="7500"/>
                    </a:cubicBezTo>
                    <a:cubicBezTo>
                      <a:pt x="5915" y="7718"/>
                      <a:pt x="5915" y="7718"/>
                      <a:pt x="5915" y="7718"/>
                    </a:cubicBezTo>
                    <a:cubicBezTo>
                      <a:pt x="5917" y="7724"/>
                      <a:pt x="5923" y="7746"/>
                      <a:pt x="5930" y="7774"/>
                    </a:cubicBezTo>
                    <a:cubicBezTo>
                      <a:pt x="6172" y="7795"/>
                      <a:pt x="6172" y="7795"/>
                      <a:pt x="6172" y="7795"/>
                    </a:cubicBezTo>
                    <a:cubicBezTo>
                      <a:pt x="6188" y="7623"/>
                      <a:pt x="6188" y="7623"/>
                      <a:pt x="6188" y="7623"/>
                    </a:cubicBezTo>
                    <a:lnTo>
                      <a:pt x="6194" y="7617"/>
                    </a:lnTo>
                    <a:close/>
                    <a:moveTo>
                      <a:pt x="6278" y="7308"/>
                    </a:moveTo>
                    <a:cubicBezTo>
                      <a:pt x="6361" y="7283"/>
                      <a:pt x="6361" y="7283"/>
                      <a:pt x="6361" y="7283"/>
                    </a:cubicBezTo>
                    <a:cubicBezTo>
                      <a:pt x="6363" y="7284"/>
                      <a:pt x="6363" y="7284"/>
                      <a:pt x="6363" y="7284"/>
                    </a:cubicBezTo>
                    <a:cubicBezTo>
                      <a:pt x="6363" y="7284"/>
                      <a:pt x="6413" y="7297"/>
                      <a:pt x="6464" y="7310"/>
                    </a:cubicBezTo>
                    <a:cubicBezTo>
                      <a:pt x="6489" y="7316"/>
                      <a:pt x="6515" y="7323"/>
                      <a:pt x="6535" y="7328"/>
                    </a:cubicBezTo>
                    <a:cubicBezTo>
                      <a:pt x="6544" y="7330"/>
                      <a:pt x="6553" y="7332"/>
                      <a:pt x="6559" y="7334"/>
                    </a:cubicBezTo>
                    <a:cubicBezTo>
                      <a:pt x="6560" y="7334"/>
                      <a:pt x="6561" y="7334"/>
                      <a:pt x="6562" y="7335"/>
                    </a:cubicBezTo>
                    <a:cubicBezTo>
                      <a:pt x="6564" y="7333"/>
                      <a:pt x="6566" y="7331"/>
                      <a:pt x="6568" y="7329"/>
                    </a:cubicBezTo>
                    <a:cubicBezTo>
                      <a:pt x="6579" y="7317"/>
                      <a:pt x="6600" y="7300"/>
                      <a:pt x="6600" y="7300"/>
                    </a:cubicBezTo>
                    <a:cubicBezTo>
                      <a:pt x="6603" y="7298"/>
                      <a:pt x="6603" y="7298"/>
                      <a:pt x="6603" y="7298"/>
                    </a:cubicBezTo>
                    <a:cubicBezTo>
                      <a:pt x="6737" y="7326"/>
                      <a:pt x="6737" y="7326"/>
                      <a:pt x="6737" y="7326"/>
                    </a:cubicBezTo>
                    <a:cubicBezTo>
                      <a:pt x="6764" y="7180"/>
                      <a:pt x="6764" y="7180"/>
                      <a:pt x="6764" y="7180"/>
                    </a:cubicBezTo>
                    <a:cubicBezTo>
                      <a:pt x="6427" y="7136"/>
                      <a:pt x="6427" y="7136"/>
                      <a:pt x="6427" y="7136"/>
                    </a:cubicBezTo>
                    <a:cubicBezTo>
                      <a:pt x="6389" y="7286"/>
                      <a:pt x="6389" y="7286"/>
                      <a:pt x="6389" y="7286"/>
                    </a:cubicBezTo>
                    <a:cubicBezTo>
                      <a:pt x="6376" y="7283"/>
                      <a:pt x="6376" y="7283"/>
                      <a:pt x="6376" y="7283"/>
                    </a:cubicBezTo>
                    <a:cubicBezTo>
                      <a:pt x="6413" y="7135"/>
                      <a:pt x="6413" y="7135"/>
                      <a:pt x="6413" y="7135"/>
                    </a:cubicBezTo>
                    <a:cubicBezTo>
                      <a:pt x="6409" y="7134"/>
                      <a:pt x="6409" y="7134"/>
                      <a:pt x="6409" y="7134"/>
                    </a:cubicBezTo>
                    <a:cubicBezTo>
                      <a:pt x="6095" y="7035"/>
                      <a:pt x="6095" y="7035"/>
                      <a:pt x="6095" y="7035"/>
                    </a:cubicBezTo>
                    <a:cubicBezTo>
                      <a:pt x="5804" y="7009"/>
                      <a:pt x="5804" y="7009"/>
                      <a:pt x="5804" y="7009"/>
                    </a:cubicBezTo>
                    <a:cubicBezTo>
                      <a:pt x="5780" y="7151"/>
                      <a:pt x="5780" y="7151"/>
                      <a:pt x="5780" y="7151"/>
                    </a:cubicBezTo>
                    <a:cubicBezTo>
                      <a:pt x="5809" y="7161"/>
                      <a:pt x="5923" y="7197"/>
                      <a:pt x="6035" y="7232"/>
                    </a:cubicBezTo>
                    <a:cubicBezTo>
                      <a:pt x="6149" y="7268"/>
                      <a:pt x="6262" y="7303"/>
                      <a:pt x="6278" y="7308"/>
                    </a:cubicBezTo>
                    <a:close/>
                    <a:moveTo>
                      <a:pt x="6738" y="7396"/>
                    </a:moveTo>
                    <a:cubicBezTo>
                      <a:pt x="6867" y="7417"/>
                      <a:pt x="6867" y="7417"/>
                      <a:pt x="6867" y="7417"/>
                    </a:cubicBezTo>
                    <a:cubicBezTo>
                      <a:pt x="6875" y="7369"/>
                      <a:pt x="6875" y="7369"/>
                      <a:pt x="6875" y="7369"/>
                    </a:cubicBezTo>
                    <a:cubicBezTo>
                      <a:pt x="6748" y="7342"/>
                      <a:pt x="6748" y="7342"/>
                      <a:pt x="6748" y="7342"/>
                    </a:cubicBezTo>
                    <a:lnTo>
                      <a:pt x="6738" y="7396"/>
                    </a:lnTo>
                    <a:close/>
                    <a:moveTo>
                      <a:pt x="6878" y="7355"/>
                    </a:moveTo>
                    <a:cubicBezTo>
                      <a:pt x="6906" y="7199"/>
                      <a:pt x="6906" y="7199"/>
                      <a:pt x="6906" y="7199"/>
                    </a:cubicBezTo>
                    <a:cubicBezTo>
                      <a:pt x="6777" y="7182"/>
                      <a:pt x="6777" y="7182"/>
                      <a:pt x="6777" y="7182"/>
                    </a:cubicBezTo>
                    <a:cubicBezTo>
                      <a:pt x="6750" y="7329"/>
                      <a:pt x="6750" y="7329"/>
                      <a:pt x="6750" y="7329"/>
                    </a:cubicBezTo>
                    <a:lnTo>
                      <a:pt x="6878" y="7355"/>
                    </a:lnTo>
                    <a:close/>
                    <a:moveTo>
                      <a:pt x="6891" y="7358"/>
                    </a:moveTo>
                    <a:cubicBezTo>
                      <a:pt x="6975" y="7375"/>
                      <a:pt x="6975" y="7375"/>
                      <a:pt x="6975" y="7375"/>
                    </a:cubicBezTo>
                    <a:cubicBezTo>
                      <a:pt x="6999" y="7211"/>
                      <a:pt x="6999" y="7211"/>
                      <a:pt x="6999" y="7211"/>
                    </a:cubicBezTo>
                    <a:cubicBezTo>
                      <a:pt x="6920" y="7200"/>
                      <a:pt x="6920" y="7200"/>
                      <a:pt x="6920" y="7200"/>
                    </a:cubicBezTo>
                    <a:lnTo>
                      <a:pt x="6891" y="7358"/>
                    </a:lnTo>
                    <a:close/>
                    <a:moveTo>
                      <a:pt x="7001" y="7197"/>
                    </a:moveTo>
                    <a:cubicBezTo>
                      <a:pt x="7027" y="7018"/>
                      <a:pt x="7027" y="7018"/>
                      <a:pt x="7027" y="7018"/>
                    </a:cubicBezTo>
                    <a:cubicBezTo>
                      <a:pt x="7009" y="7016"/>
                      <a:pt x="6984" y="7012"/>
                      <a:pt x="6955" y="7008"/>
                    </a:cubicBezTo>
                    <a:cubicBezTo>
                      <a:pt x="6922" y="7187"/>
                      <a:pt x="6922" y="7187"/>
                      <a:pt x="6922" y="7187"/>
                    </a:cubicBezTo>
                    <a:lnTo>
                      <a:pt x="7001" y="7197"/>
                    </a:lnTo>
                    <a:close/>
                    <a:moveTo>
                      <a:pt x="7029" y="7005"/>
                    </a:moveTo>
                    <a:cubicBezTo>
                      <a:pt x="7048" y="6875"/>
                      <a:pt x="7048" y="6875"/>
                      <a:pt x="7048" y="6875"/>
                    </a:cubicBezTo>
                    <a:cubicBezTo>
                      <a:pt x="6981" y="6864"/>
                      <a:pt x="6981" y="6864"/>
                      <a:pt x="6981" y="6864"/>
                    </a:cubicBezTo>
                    <a:cubicBezTo>
                      <a:pt x="6957" y="6994"/>
                      <a:pt x="6957" y="6994"/>
                      <a:pt x="6957" y="6994"/>
                    </a:cubicBezTo>
                    <a:cubicBezTo>
                      <a:pt x="6986" y="6998"/>
                      <a:pt x="7011" y="7002"/>
                      <a:pt x="7029" y="7005"/>
                    </a:cubicBezTo>
                    <a:close/>
                    <a:moveTo>
                      <a:pt x="7040" y="7381"/>
                    </a:moveTo>
                    <a:cubicBezTo>
                      <a:pt x="7233" y="7337"/>
                      <a:pt x="7233" y="7337"/>
                      <a:pt x="7233" y="7337"/>
                    </a:cubicBezTo>
                    <a:cubicBezTo>
                      <a:pt x="7226" y="7315"/>
                      <a:pt x="7217" y="7233"/>
                      <a:pt x="7210" y="7174"/>
                    </a:cubicBezTo>
                    <a:cubicBezTo>
                      <a:pt x="7073" y="7154"/>
                      <a:pt x="7073" y="7154"/>
                      <a:pt x="7073" y="7154"/>
                    </a:cubicBezTo>
                    <a:lnTo>
                      <a:pt x="7040" y="7381"/>
                    </a:lnTo>
                    <a:close/>
                    <a:moveTo>
                      <a:pt x="7240" y="7303"/>
                    </a:moveTo>
                    <a:cubicBezTo>
                      <a:pt x="7242" y="7313"/>
                      <a:pt x="7243" y="7322"/>
                      <a:pt x="7245" y="7328"/>
                    </a:cubicBezTo>
                    <a:cubicBezTo>
                      <a:pt x="7245" y="7331"/>
                      <a:pt x="7246" y="7332"/>
                      <a:pt x="7246" y="7334"/>
                    </a:cubicBezTo>
                    <a:cubicBezTo>
                      <a:pt x="7536" y="7267"/>
                      <a:pt x="7536" y="7267"/>
                      <a:pt x="7536" y="7267"/>
                    </a:cubicBezTo>
                    <a:cubicBezTo>
                      <a:pt x="7524" y="7251"/>
                      <a:pt x="7482" y="7209"/>
                      <a:pt x="7442" y="7170"/>
                    </a:cubicBezTo>
                    <a:cubicBezTo>
                      <a:pt x="7408" y="7137"/>
                      <a:pt x="7376" y="7106"/>
                      <a:pt x="7360" y="7092"/>
                    </a:cubicBezTo>
                    <a:cubicBezTo>
                      <a:pt x="7356" y="7097"/>
                      <a:pt x="7356" y="7097"/>
                      <a:pt x="7356" y="7097"/>
                    </a:cubicBezTo>
                    <a:cubicBezTo>
                      <a:pt x="7218" y="7115"/>
                      <a:pt x="7218" y="7115"/>
                      <a:pt x="7218" y="7115"/>
                    </a:cubicBezTo>
                    <a:cubicBezTo>
                      <a:pt x="7220" y="7132"/>
                      <a:pt x="7225" y="7177"/>
                      <a:pt x="7230" y="7223"/>
                    </a:cubicBezTo>
                    <a:cubicBezTo>
                      <a:pt x="7233" y="7252"/>
                      <a:pt x="7237" y="7281"/>
                      <a:pt x="7240" y="7303"/>
                    </a:cubicBezTo>
                    <a:close/>
                    <a:moveTo>
                      <a:pt x="7544" y="7254"/>
                    </a:moveTo>
                    <a:cubicBezTo>
                      <a:pt x="7547" y="7258"/>
                      <a:pt x="7549" y="7260"/>
                      <a:pt x="7550" y="7262"/>
                    </a:cubicBezTo>
                    <a:cubicBezTo>
                      <a:pt x="7805" y="7133"/>
                      <a:pt x="7805" y="7133"/>
                      <a:pt x="7805" y="7133"/>
                    </a:cubicBezTo>
                    <a:cubicBezTo>
                      <a:pt x="7807" y="7132"/>
                      <a:pt x="7807" y="7132"/>
                      <a:pt x="7807" y="7132"/>
                    </a:cubicBezTo>
                    <a:cubicBezTo>
                      <a:pt x="7782" y="7113"/>
                      <a:pt x="7707" y="7057"/>
                      <a:pt x="7630" y="7000"/>
                    </a:cubicBezTo>
                    <a:cubicBezTo>
                      <a:pt x="7583" y="6966"/>
                      <a:pt x="7536" y="6931"/>
                      <a:pt x="7500" y="6905"/>
                    </a:cubicBezTo>
                    <a:cubicBezTo>
                      <a:pt x="7482" y="6892"/>
                      <a:pt x="7467" y="6881"/>
                      <a:pt x="7456" y="6874"/>
                    </a:cubicBezTo>
                    <a:cubicBezTo>
                      <a:pt x="7455" y="6873"/>
                      <a:pt x="7455" y="6873"/>
                      <a:pt x="7454" y="6872"/>
                    </a:cubicBezTo>
                    <a:cubicBezTo>
                      <a:pt x="7430" y="6994"/>
                      <a:pt x="7430" y="6994"/>
                      <a:pt x="7430" y="6994"/>
                    </a:cubicBezTo>
                    <a:cubicBezTo>
                      <a:pt x="7368" y="7080"/>
                      <a:pt x="7368" y="7080"/>
                      <a:pt x="7368" y="7080"/>
                    </a:cubicBezTo>
                    <a:cubicBezTo>
                      <a:pt x="7384" y="7095"/>
                      <a:pt x="7420" y="7129"/>
                      <a:pt x="7456" y="7164"/>
                    </a:cubicBezTo>
                    <a:cubicBezTo>
                      <a:pt x="7480" y="7188"/>
                      <a:pt x="7504" y="7211"/>
                      <a:pt x="7522" y="7230"/>
                    </a:cubicBezTo>
                    <a:cubicBezTo>
                      <a:pt x="7531" y="7240"/>
                      <a:pt x="7539" y="7248"/>
                      <a:pt x="7544" y="7254"/>
                    </a:cubicBezTo>
                    <a:close/>
                    <a:moveTo>
                      <a:pt x="8066" y="6520"/>
                    </a:moveTo>
                    <a:cubicBezTo>
                      <a:pt x="8069" y="6477"/>
                      <a:pt x="8069" y="6477"/>
                      <a:pt x="8069" y="6477"/>
                    </a:cubicBezTo>
                    <a:cubicBezTo>
                      <a:pt x="8042" y="6476"/>
                      <a:pt x="8042" y="6476"/>
                      <a:pt x="8042" y="6476"/>
                    </a:cubicBezTo>
                    <a:cubicBezTo>
                      <a:pt x="8020" y="6577"/>
                      <a:pt x="8020" y="6577"/>
                      <a:pt x="8020" y="6577"/>
                    </a:cubicBezTo>
                    <a:cubicBezTo>
                      <a:pt x="8109" y="6584"/>
                      <a:pt x="8109" y="6584"/>
                      <a:pt x="8109" y="6584"/>
                    </a:cubicBezTo>
                    <a:cubicBezTo>
                      <a:pt x="8113" y="6524"/>
                      <a:pt x="8113" y="6524"/>
                      <a:pt x="8113" y="6524"/>
                    </a:cubicBezTo>
                    <a:lnTo>
                      <a:pt x="8066" y="6520"/>
                    </a:lnTo>
                    <a:close/>
                    <a:moveTo>
                      <a:pt x="8028" y="6475"/>
                    </a:moveTo>
                    <a:cubicBezTo>
                      <a:pt x="7979" y="6471"/>
                      <a:pt x="7979" y="6471"/>
                      <a:pt x="7979" y="6471"/>
                    </a:cubicBezTo>
                    <a:cubicBezTo>
                      <a:pt x="7976" y="6514"/>
                      <a:pt x="7976" y="6514"/>
                      <a:pt x="7976" y="6514"/>
                    </a:cubicBezTo>
                    <a:cubicBezTo>
                      <a:pt x="7929" y="6511"/>
                      <a:pt x="7929" y="6511"/>
                      <a:pt x="7929" y="6511"/>
                    </a:cubicBezTo>
                    <a:cubicBezTo>
                      <a:pt x="7925" y="6570"/>
                      <a:pt x="7925" y="6570"/>
                      <a:pt x="7925" y="6570"/>
                    </a:cubicBezTo>
                    <a:cubicBezTo>
                      <a:pt x="8006" y="6576"/>
                      <a:pt x="8006" y="6576"/>
                      <a:pt x="8006" y="6576"/>
                    </a:cubicBezTo>
                    <a:lnTo>
                      <a:pt x="8028" y="6475"/>
                    </a:lnTo>
                    <a:close/>
                    <a:moveTo>
                      <a:pt x="7611" y="6471"/>
                    </a:moveTo>
                    <a:cubicBezTo>
                      <a:pt x="7614" y="6428"/>
                      <a:pt x="7614" y="6428"/>
                      <a:pt x="7614" y="6428"/>
                    </a:cubicBezTo>
                    <a:cubicBezTo>
                      <a:pt x="7565" y="6424"/>
                      <a:pt x="7565" y="6424"/>
                      <a:pt x="7565" y="6424"/>
                    </a:cubicBezTo>
                    <a:cubicBezTo>
                      <a:pt x="7572" y="6451"/>
                      <a:pt x="7580" y="6490"/>
                      <a:pt x="7589" y="6529"/>
                    </a:cubicBezTo>
                    <a:cubicBezTo>
                      <a:pt x="7653" y="6534"/>
                      <a:pt x="7653" y="6534"/>
                      <a:pt x="7653" y="6534"/>
                    </a:cubicBezTo>
                    <a:cubicBezTo>
                      <a:pt x="7658" y="6474"/>
                      <a:pt x="7658" y="6474"/>
                      <a:pt x="7658" y="6474"/>
                    </a:cubicBezTo>
                    <a:lnTo>
                      <a:pt x="7611" y="6471"/>
                    </a:lnTo>
                    <a:close/>
                    <a:moveTo>
                      <a:pt x="7551" y="6423"/>
                    </a:moveTo>
                    <a:cubicBezTo>
                      <a:pt x="7524" y="6421"/>
                      <a:pt x="7524" y="6421"/>
                      <a:pt x="7524" y="6421"/>
                    </a:cubicBezTo>
                    <a:cubicBezTo>
                      <a:pt x="7521" y="6464"/>
                      <a:pt x="7521" y="6464"/>
                      <a:pt x="7521" y="6464"/>
                    </a:cubicBezTo>
                    <a:cubicBezTo>
                      <a:pt x="7474" y="6461"/>
                      <a:pt x="7474" y="6461"/>
                      <a:pt x="7474" y="6461"/>
                    </a:cubicBezTo>
                    <a:cubicBezTo>
                      <a:pt x="7469" y="6521"/>
                      <a:pt x="7469" y="6521"/>
                      <a:pt x="7469" y="6521"/>
                    </a:cubicBezTo>
                    <a:cubicBezTo>
                      <a:pt x="7575" y="6528"/>
                      <a:pt x="7575" y="6528"/>
                      <a:pt x="7575" y="6528"/>
                    </a:cubicBezTo>
                    <a:cubicBezTo>
                      <a:pt x="7566" y="6488"/>
                      <a:pt x="7557" y="6450"/>
                      <a:pt x="7551" y="6423"/>
                    </a:cubicBezTo>
                    <a:close/>
                    <a:moveTo>
                      <a:pt x="7548" y="6410"/>
                    </a:moveTo>
                    <a:cubicBezTo>
                      <a:pt x="7546" y="6404"/>
                      <a:pt x="7545" y="6400"/>
                      <a:pt x="7545" y="6397"/>
                    </a:cubicBezTo>
                    <a:cubicBezTo>
                      <a:pt x="7396" y="6380"/>
                      <a:pt x="7271" y="6366"/>
                      <a:pt x="7206" y="6359"/>
                    </a:cubicBezTo>
                    <a:cubicBezTo>
                      <a:pt x="7485" y="6692"/>
                      <a:pt x="7485" y="6692"/>
                      <a:pt x="7485" y="6692"/>
                    </a:cubicBezTo>
                    <a:cubicBezTo>
                      <a:pt x="7501" y="6691"/>
                      <a:pt x="7564" y="6686"/>
                      <a:pt x="7596" y="6684"/>
                    </a:cubicBezTo>
                    <a:cubicBezTo>
                      <a:pt x="7595" y="6683"/>
                      <a:pt x="7595" y="6683"/>
                      <a:pt x="7595" y="6683"/>
                    </a:cubicBezTo>
                    <a:cubicBezTo>
                      <a:pt x="7603" y="6672"/>
                      <a:pt x="7603" y="6672"/>
                      <a:pt x="7603" y="6672"/>
                    </a:cubicBezTo>
                    <a:cubicBezTo>
                      <a:pt x="7606" y="6674"/>
                      <a:pt x="7606" y="6674"/>
                      <a:pt x="7606" y="6674"/>
                    </a:cubicBezTo>
                    <a:cubicBezTo>
                      <a:pt x="7601" y="6648"/>
                      <a:pt x="7590" y="6595"/>
                      <a:pt x="7578" y="6542"/>
                    </a:cubicBezTo>
                    <a:cubicBezTo>
                      <a:pt x="7455" y="6533"/>
                      <a:pt x="7455" y="6533"/>
                      <a:pt x="7455" y="6533"/>
                    </a:cubicBezTo>
                    <a:cubicBezTo>
                      <a:pt x="7456" y="6526"/>
                      <a:pt x="7456" y="6526"/>
                      <a:pt x="7456" y="6526"/>
                    </a:cubicBezTo>
                    <a:cubicBezTo>
                      <a:pt x="7462" y="6447"/>
                      <a:pt x="7462" y="6447"/>
                      <a:pt x="7462" y="6447"/>
                    </a:cubicBezTo>
                    <a:cubicBezTo>
                      <a:pt x="7508" y="6450"/>
                      <a:pt x="7508" y="6450"/>
                      <a:pt x="7508" y="6450"/>
                    </a:cubicBezTo>
                    <a:cubicBezTo>
                      <a:pt x="7512" y="6407"/>
                      <a:pt x="7512" y="6407"/>
                      <a:pt x="7512" y="6407"/>
                    </a:cubicBezTo>
                    <a:lnTo>
                      <a:pt x="7548" y="6410"/>
                    </a:lnTo>
                    <a:close/>
                    <a:moveTo>
                      <a:pt x="7189" y="6360"/>
                    </a:moveTo>
                    <a:cubicBezTo>
                      <a:pt x="7139" y="6704"/>
                      <a:pt x="7139" y="6704"/>
                      <a:pt x="7139" y="6704"/>
                    </a:cubicBezTo>
                    <a:cubicBezTo>
                      <a:pt x="7173" y="6715"/>
                      <a:pt x="7173" y="6715"/>
                      <a:pt x="7173" y="6715"/>
                    </a:cubicBezTo>
                    <a:cubicBezTo>
                      <a:pt x="7181" y="6674"/>
                      <a:pt x="7181" y="6674"/>
                      <a:pt x="7181" y="6674"/>
                    </a:cubicBezTo>
                    <a:cubicBezTo>
                      <a:pt x="7223" y="6683"/>
                      <a:pt x="7223" y="6683"/>
                      <a:pt x="7223" y="6683"/>
                    </a:cubicBezTo>
                    <a:cubicBezTo>
                      <a:pt x="7232" y="6637"/>
                      <a:pt x="7232" y="6637"/>
                      <a:pt x="7232" y="6637"/>
                    </a:cubicBezTo>
                    <a:cubicBezTo>
                      <a:pt x="7317" y="6653"/>
                      <a:pt x="7317" y="6653"/>
                      <a:pt x="7317" y="6653"/>
                    </a:cubicBezTo>
                    <a:cubicBezTo>
                      <a:pt x="7297" y="6755"/>
                      <a:pt x="7297" y="6755"/>
                      <a:pt x="7297" y="6755"/>
                    </a:cubicBezTo>
                    <a:cubicBezTo>
                      <a:pt x="7303" y="6757"/>
                      <a:pt x="7303" y="6757"/>
                      <a:pt x="7303" y="6757"/>
                    </a:cubicBezTo>
                    <a:cubicBezTo>
                      <a:pt x="7304" y="6758"/>
                      <a:pt x="7304" y="6758"/>
                      <a:pt x="7304" y="6758"/>
                    </a:cubicBezTo>
                    <a:cubicBezTo>
                      <a:pt x="7304" y="6758"/>
                      <a:pt x="7338" y="6781"/>
                      <a:pt x="7372" y="6804"/>
                    </a:cubicBezTo>
                    <a:cubicBezTo>
                      <a:pt x="7389" y="6816"/>
                      <a:pt x="7407" y="6827"/>
                      <a:pt x="7420" y="6836"/>
                    </a:cubicBezTo>
                    <a:cubicBezTo>
                      <a:pt x="7427" y="6840"/>
                      <a:pt x="7433" y="6844"/>
                      <a:pt x="7437" y="6846"/>
                    </a:cubicBezTo>
                    <a:cubicBezTo>
                      <a:pt x="7439" y="6847"/>
                      <a:pt x="7441" y="6848"/>
                      <a:pt x="7442" y="6849"/>
                    </a:cubicBezTo>
                    <a:cubicBezTo>
                      <a:pt x="7442" y="6849"/>
                      <a:pt x="7443" y="6849"/>
                      <a:pt x="7443" y="6849"/>
                    </a:cubicBezTo>
                    <a:cubicBezTo>
                      <a:pt x="7444" y="6849"/>
                      <a:pt x="7444" y="6850"/>
                      <a:pt x="7445" y="6850"/>
                    </a:cubicBezTo>
                    <a:cubicBezTo>
                      <a:pt x="7474" y="6701"/>
                      <a:pt x="7474" y="6701"/>
                      <a:pt x="7474" y="6701"/>
                    </a:cubicBezTo>
                    <a:lnTo>
                      <a:pt x="7189" y="6360"/>
                    </a:lnTo>
                    <a:close/>
                    <a:moveTo>
                      <a:pt x="7176" y="6196"/>
                    </a:moveTo>
                    <a:cubicBezTo>
                      <a:pt x="7191" y="6045"/>
                      <a:pt x="7215" y="5767"/>
                      <a:pt x="7219" y="5720"/>
                    </a:cubicBezTo>
                    <a:cubicBezTo>
                      <a:pt x="7067" y="5704"/>
                      <a:pt x="7067" y="5704"/>
                      <a:pt x="7067" y="5704"/>
                    </a:cubicBezTo>
                    <a:cubicBezTo>
                      <a:pt x="7028" y="6093"/>
                      <a:pt x="7028" y="6093"/>
                      <a:pt x="7028" y="6093"/>
                    </a:cubicBezTo>
                    <a:cubicBezTo>
                      <a:pt x="7163" y="6107"/>
                      <a:pt x="7163" y="6107"/>
                      <a:pt x="7163" y="6107"/>
                    </a:cubicBezTo>
                    <a:cubicBezTo>
                      <a:pt x="7145" y="6259"/>
                      <a:pt x="7145" y="6259"/>
                      <a:pt x="7145" y="6259"/>
                    </a:cubicBezTo>
                    <a:cubicBezTo>
                      <a:pt x="7139" y="6258"/>
                      <a:pt x="7139" y="6258"/>
                      <a:pt x="7139" y="6258"/>
                    </a:cubicBezTo>
                    <a:cubicBezTo>
                      <a:pt x="7013" y="6245"/>
                      <a:pt x="7013" y="6245"/>
                      <a:pt x="7013" y="6245"/>
                    </a:cubicBezTo>
                    <a:cubicBezTo>
                      <a:pt x="7010" y="6270"/>
                      <a:pt x="7010" y="6270"/>
                      <a:pt x="7010" y="6270"/>
                    </a:cubicBezTo>
                    <a:cubicBezTo>
                      <a:pt x="7166" y="6289"/>
                      <a:pt x="7166" y="6289"/>
                      <a:pt x="7166" y="6289"/>
                    </a:cubicBezTo>
                    <a:cubicBezTo>
                      <a:pt x="7166" y="6289"/>
                      <a:pt x="7166" y="6289"/>
                      <a:pt x="7166" y="6289"/>
                    </a:cubicBezTo>
                    <a:cubicBezTo>
                      <a:pt x="7168" y="6278"/>
                      <a:pt x="7172" y="6242"/>
                      <a:pt x="7176" y="6196"/>
                    </a:cubicBezTo>
                    <a:close/>
                    <a:moveTo>
                      <a:pt x="7134" y="6245"/>
                    </a:moveTo>
                    <a:cubicBezTo>
                      <a:pt x="7148" y="6119"/>
                      <a:pt x="7148" y="6119"/>
                      <a:pt x="7148" y="6119"/>
                    </a:cubicBezTo>
                    <a:cubicBezTo>
                      <a:pt x="7027" y="6106"/>
                      <a:pt x="7027" y="6106"/>
                      <a:pt x="7027" y="6106"/>
                    </a:cubicBezTo>
                    <a:cubicBezTo>
                      <a:pt x="7014" y="6232"/>
                      <a:pt x="7014" y="6232"/>
                      <a:pt x="7014" y="6232"/>
                    </a:cubicBezTo>
                    <a:lnTo>
                      <a:pt x="7134" y="6245"/>
                    </a:lnTo>
                    <a:close/>
                    <a:moveTo>
                      <a:pt x="7053" y="5702"/>
                    </a:moveTo>
                    <a:cubicBezTo>
                      <a:pt x="6921" y="5688"/>
                      <a:pt x="6921" y="5688"/>
                      <a:pt x="6921" y="5688"/>
                    </a:cubicBezTo>
                    <a:cubicBezTo>
                      <a:pt x="6883" y="6077"/>
                      <a:pt x="6883" y="6077"/>
                      <a:pt x="6883" y="6077"/>
                    </a:cubicBezTo>
                    <a:cubicBezTo>
                      <a:pt x="7014" y="6091"/>
                      <a:pt x="7014" y="6091"/>
                      <a:pt x="7014" y="6091"/>
                    </a:cubicBezTo>
                    <a:lnTo>
                      <a:pt x="7053" y="5702"/>
                    </a:lnTo>
                    <a:close/>
                    <a:moveTo>
                      <a:pt x="6908" y="5687"/>
                    </a:moveTo>
                    <a:cubicBezTo>
                      <a:pt x="6765" y="5672"/>
                      <a:pt x="6765" y="5672"/>
                      <a:pt x="6765" y="5672"/>
                    </a:cubicBezTo>
                    <a:cubicBezTo>
                      <a:pt x="6726" y="6060"/>
                      <a:pt x="6726" y="6060"/>
                      <a:pt x="6726" y="6060"/>
                    </a:cubicBezTo>
                    <a:cubicBezTo>
                      <a:pt x="6869" y="6076"/>
                      <a:pt x="6869" y="6076"/>
                      <a:pt x="6869" y="6076"/>
                    </a:cubicBezTo>
                    <a:lnTo>
                      <a:pt x="6908" y="5687"/>
                    </a:lnTo>
                    <a:close/>
                    <a:moveTo>
                      <a:pt x="6751" y="5670"/>
                    </a:moveTo>
                    <a:cubicBezTo>
                      <a:pt x="6466" y="5640"/>
                      <a:pt x="6466" y="5640"/>
                      <a:pt x="6466" y="5640"/>
                    </a:cubicBezTo>
                    <a:cubicBezTo>
                      <a:pt x="6428" y="6028"/>
                      <a:pt x="6428" y="6028"/>
                      <a:pt x="6428" y="6028"/>
                    </a:cubicBezTo>
                    <a:cubicBezTo>
                      <a:pt x="6559" y="6042"/>
                      <a:pt x="6559" y="6042"/>
                      <a:pt x="6559" y="6042"/>
                    </a:cubicBezTo>
                    <a:cubicBezTo>
                      <a:pt x="6597" y="5658"/>
                      <a:pt x="6597" y="5658"/>
                      <a:pt x="6597" y="5658"/>
                    </a:cubicBezTo>
                    <a:cubicBezTo>
                      <a:pt x="6611" y="5659"/>
                      <a:pt x="6611" y="5659"/>
                      <a:pt x="6611" y="5659"/>
                    </a:cubicBezTo>
                    <a:cubicBezTo>
                      <a:pt x="6573" y="6044"/>
                      <a:pt x="6573" y="6044"/>
                      <a:pt x="6573" y="6044"/>
                    </a:cubicBezTo>
                    <a:cubicBezTo>
                      <a:pt x="6713" y="6059"/>
                      <a:pt x="6713" y="6059"/>
                      <a:pt x="6713" y="6059"/>
                    </a:cubicBezTo>
                    <a:lnTo>
                      <a:pt x="6751" y="5670"/>
                    </a:lnTo>
                    <a:close/>
                    <a:moveTo>
                      <a:pt x="6452" y="5639"/>
                    </a:moveTo>
                    <a:cubicBezTo>
                      <a:pt x="6046" y="5595"/>
                      <a:pt x="6046" y="5595"/>
                      <a:pt x="6046" y="5595"/>
                    </a:cubicBezTo>
                    <a:cubicBezTo>
                      <a:pt x="5955" y="6144"/>
                      <a:pt x="5955" y="6144"/>
                      <a:pt x="5955" y="6144"/>
                    </a:cubicBezTo>
                    <a:cubicBezTo>
                      <a:pt x="6103" y="6162"/>
                      <a:pt x="6103" y="6162"/>
                      <a:pt x="6103" y="6162"/>
                    </a:cubicBezTo>
                    <a:cubicBezTo>
                      <a:pt x="6104" y="6147"/>
                      <a:pt x="6104" y="6147"/>
                      <a:pt x="6104" y="6147"/>
                    </a:cubicBezTo>
                    <a:cubicBezTo>
                      <a:pt x="5976" y="6134"/>
                      <a:pt x="5976" y="6134"/>
                      <a:pt x="5976" y="6134"/>
                    </a:cubicBezTo>
                    <a:cubicBezTo>
                      <a:pt x="5993" y="5982"/>
                      <a:pt x="5993" y="5982"/>
                      <a:pt x="5993" y="5982"/>
                    </a:cubicBezTo>
                    <a:cubicBezTo>
                      <a:pt x="6119" y="5995"/>
                      <a:pt x="6119" y="5995"/>
                      <a:pt x="6119" y="5995"/>
                    </a:cubicBezTo>
                    <a:cubicBezTo>
                      <a:pt x="6157" y="5611"/>
                      <a:pt x="6157" y="5611"/>
                      <a:pt x="6157" y="5611"/>
                    </a:cubicBezTo>
                    <a:cubicBezTo>
                      <a:pt x="6171" y="5613"/>
                      <a:pt x="6171" y="5613"/>
                      <a:pt x="6171" y="5613"/>
                    </a:cubicBezTo>
                    <a:cubicBezTo>
                      <a:pt x="6133" y="5997"/>
                      <a:pt x="6133" y="5997"/>
                      <a:pt x="6133" y="5997"/>
                    </a:cubicBezTo>
                    <a:cubicBezTo>
                      <a:pt x="6270" y="6011"/>
                      <a:pt x="6270" y="6011"/>
                      <a:pt x="6270" y="6011"/>
                    </a:cubicBezTo>
                    <a:cubicBezTo>
                      <a:pt x="6308" y="5624"/>
                      <a:pt x="6308" y="5624"/>
                      <a:pt x="6308" y="5624"/>
                    </a:cubicBezTo>
                    <a:cubicBezTo>
                      <a:pt x="6322" y="5625"/>
                      <a:pt x="6322" y="5625"/>
                      <a:pt x="6322" y="5625"/>
                    </a:cubicBezTo>
                    <a:cubicBezTo>
                      <a:pt x="6283" y="6013"/>
                      <a:pt x="6283" y="6013"/>
                      <a:pt x="6283" y="6013"/>
                    </a:cubicBezTo>
                    <a:cubicBezTo>
                      <a:pt x="6414" y="6027"/>
                      <a:pt x="6414" y="6027"/>
                      <a:pt x="6414" y="6027"/>
                    </a:cubicBezTo>
                    <a:lnTo>
                      <a:pt x="6452" y="5639"/>
                    </a:lnTo>
                    <a:close/>
                    <a:moveTo>
                      <a:pt x="5944" y="6209"/>
                    </a:moveTo>
                    <a:cubicBezTo>
                      <a:pt x="5903" y="6442"/>
                      <a:pt x="5903" y="6442"/>
                      <a:pt x="5903" y="6442"/>
                    </a:cubicBezTo>
                    <a:cubicBezTo>
                      <a:pt x="6010" y="6455"/>
                      <a:pt x="6010" y="6455"/>
                      <a:pt x="6010" y="6455"/>
                    </a:cubicBezTo>
                    <a:cubicBezTo>
                      <a:pt x="6028" y="6367"/>
                      <a:pt x="6028" y="6367"/>
                      <a:pt x="6028" y="6367"/>
                    </a:cubicBezTo>
                    <a:cubicBezTo>
                      <a:pt x="5957" y="6361"/>
                      <a:pt x="5957" y="6361"/>
                      <a:pt x="5957" y="6361"/>
                    </a:cubicBezTo>
                    <a:cubicBezTo>
                      <a:pt x="5957" y="6355"/>
                      <a:pt x="5957" y="6355"/>
                      <a:pt x="5957" y="6355"/>
                    </a:cubicBezTo>
                    <a:cubicBezTo>
                      <a:pt x="5964" y="6275"/>
                      <a:pt x="5964" y="6275"/>
                      <a:pt x="5964" y="6275"/>
                    </a:cubicBezTo>
                    <a:cubicBezTo>
                      <a:pt x="6010" y="6279"/>
                      <a:pt x="6010" y="6279"/>
                      <a:pt x="6010" y="6279"/>
                    </a:cubicBezTo>
                    <a:cubicBezTo>
                      <a:pt x="6014" y="6236"/>
                      <a:pt x="6014" y="6236"/>
                      <a:pt x="6014" y="6236"/>
                    </a:cubicBezTo>
                    <a:cubicBezTo>
                      <a:pt x="6053" y="6239"/>
                      <a:pt x="6053" y="6239"/>
                      <a:pt x="6053" y="6239"/>
                    </a:cubicBezTo>
                    <a:cubicBezTo>
                      <a:pt x="6057" y="6222"/>
                      <a:pt x="6057" y="6222"/>
                      <a:pt x="6057" y="6222"/>
                    </a:cubicBezTo>
                    <a:lnTo>
                      <a:pt x="5944" y="6209"/>
                    </a:lnTo>
                    <a:close/>
                    <a:moveTo>
                      <a:pt x="4817" y="5657"/>
                    </a:moveTo>
                    <a:cubicBezTo>
                      <a:pt x="4802" y="5727"/>
                      <a:pt x="4783" y="5819"/>
                      <a:pt x="4761" y="5923"/>
                    </a:cubicBezTo>
                    <a:cubicBezTo>
                      <a:pt x="5329" y="6029"/>
                      <a:pt x="5329" y="6029"/>
                      <a:pt x="5329" y="6029"/>
                    </a:cubicBezTo>
                    <a:cubicBezTo>
                      <a:pt x="5371" y="5674"/>
                      <a:pt x="5371" y="5674"/>
                      <a:pt x="5371" y="5674"/>
                    </a:cubicBezTo>
                    <a:lnTo>
                      <a:pt x="4817" y="5657"/>
                    </a:lnTo>
                    <a:close/>
                    <a:moveTo>
                      <a:pt x="4784" y="5431"/>
                    </a:moveTo>
                    <a:cubicBezTo>
                      <a:pt x="4784" y="5367"/>
                      <a:pt x="4777" y="5275"/>
                      <a:pt x="4745" y="5194"/>
                    </a:cubicBezTo>
                    <a:cubicBezTo>
                      <a:pt x="4720" y="5132"/>
                      <a:pt x="4682" y="5077"/>
                      <a:pt x="4623" y="5040"/>
                    </a:cubicBezTo>
                    <a:cubicBezTo>
                      <a:pt x="4427" y="5310"/>
                      <a:pt x="4427" y="5310"/>
                      <a:pt x="4427" y="5310"/>
                    </a:cubicBezTo>
                    <a:cubicBezTo>
                      <a:pt x="4424" y="5310"/>
                      <a:pt x="4424" y="5310"/>
                      <a:pt x="4424" y="5310"/>
                    </a:cubicBezTo>
                    <a:cubicBezTo>
                      <a:pt x="4424" y="5310"/>
                      <a:pt x="4201" y="5316"/>
                      <a:pt x="4168" y="5316"/>
                    </a:cubicBezTo>
                    <a:cubicBezTo>
                      <a:pt x="4110" y="5409"/>
                      <a:pt x="4110" y="5409"/>
                      <a:pt x="4110" y="5409"/>
                    </a:cubicBezTo>
                    <a:cubicBezTo>
                      <a:pt x="4784" y="5441"/>
                      <a:pt x="4784" y="5441"/>
                      <a:pt x="4784" y="5441"/>
                    </a:cubicBezTo>
                    <a:cubicBezTo>
                      <a:pt x="4784" y="5437"/>
                      <a:pt x="4784" y="5434"/>
                      <a:pt x="4784" y="5431"/>
                    </a:cubicBezTo>
                    <a:close/>
                    <a:moveTo>
                      <a:pt x="4611" y="5034"/>
                    </a:moveTo>
                    <a:cubicBezTo>
                      <a:pt x="4596" y="5025"/>
                      <a:pt x="4580" y="5017"/>
                      <a:pt x="4561" y="5011"/>
                    </a:cubicBezTo>
                    <a:cubicBezTo>
                      <a:pt x="4311" y="4930"/>
                      <a:pt x="4003" y="4849"/>
                      <a:pt x="3764" y="4797"/>
                    </a:cubicBezTo>
                    <a:cubicBezTo>
                      <a:pt x="3667" y="5094"/>
                      <a:pt x="3667" y="5094"/>
                      <a:pt x="3667" y="5094"/>
                    </a:cubicBezTo>
                    <a:cubicBezTo>
                      <a:pt x="3717" y="5115"/>
                      <a:pt x="3772" y="5139"/>
                      <a:pt x="3827" y="5162"/>
                    </a:cubicBezTo>
                    <a:cubicBezTo>
                      <a:pt x="3912" y="5198"/>
                      <a:pt x="3996" y="5233"/>
                      <a:pt x="4059" y="5259"/>
                    </a:cubicBezTo>
                    <a:cubicBezTo>
                      <a:pt x="4090" y="5272"/>
                      <a:pt x="4117" y="5283"/>
                      <a:pt x="4136" y="5291"/>
                    </a:cubicBezTo>
                    <a:cubicBezTo>
                      <a:pt x="4145" y="5295"/>
                      <a:pt x="4153" y="5298"/>
                      <a:pt x="4158" y="5300"/>
                    </a:cubicBezTo>
                    <a:cubicBezTo>
                      <a:pt x="4160" y="5301"/>
                      <a:pt x="4162" y="5301"/>
                      <a:pt x="4164" y="5302"/>
                    </a:cubicBezTo>
                    <a:cubicBezTo>
                      <a:pt x="4164" y="5302"/>
                      <a:pt x="4165" y="5302"/>
                      <a:pt x="4165" y="5302"/>
                    </a:cubicBezTo>
                    <a:cubicBezTo>
                      <a:pt x="4181" y="5302"/>
                      <a:pt x="4391" y="5297"/>
                      <a:pt x="4420" y="5296"/>
                    </a:cubicBezTo>
                    <a:lnTo>
                      <a:pt x="4611" y="5034"/>
                    </a:lnTo>
                    <a:close/>
                    <a:moveTo>
                      <a:pt x="3750" y="4794"/>
                    </a:moveTo>
                    <a:cubicBezTo>
                      <a:pt x="3712" y="4786"/>
                      <a:pt x="3675" y="4778"/>
                      <a:pt x="3640" y="4771"/>
                    </a:cubicBezTo>
                    <a:cubicBezTo>
                      <a:pt x="3616" y="4767"/>
                      <a:pt x="3593" y="4762"/>
                      <a:pt x="3572" y="4758"/>
                    </a:cubicBezTo>
                    <a:cubicBezTo>
                      <a:pt x="3476" y="5011"/>
                      <a:pt x="3476" y="5011"/>
                      <a:pt x="3476" y="5011"/>
                    </a:cubicBezTo>
                    <a:cubicBezTo>
                      <a:pt x="3496" y="5020"/>
                      <a:pt x="3566" y="5050"/>
                      <a:pt x="3654" y="5088"/>
                    </a:cubicBezTo>
                    <a:lnTo>
                      <a:pt x="3750" y="4794"/>
                    </a:lnTo>
                    <a:close/>
                    <a:moveTo>
                      <a:pt x="2599" y="5592"/>
                    </a:moveTo>
                    <a:cubicBezTo>
                      <a:pt x="2543" y="5720"/>
                      <a:pt x="2498" y="5824"/>
                      <a:pt x="2490" y="5843"/>
                    </a:cubicBezTo>
                    <a:cubicBezTo>
                      <a:pt x="2543" y="5935"/>
                      <a:pt x="2543" y="5935"/>
                      <a:pt x="2543" y="5935"/>
                    </a:cubicBezTo>
                    <a:cubicBezTo>
                      <a:pt x="2645" y="5977"/>
                      <a:pt x="2645" y="5977"/>
                      <a:pt x="2645" y="5977"/>
                    </a:cubicBezTo>
                    <a:cubicBezTo>
                      <a:pt x="3069" y="5172"/>
                      <a:pt x="3069" y="5172"/>
                      <a:pt x="3069" y="5172"/>
                    </a:cubicBezTo>
                    <a:cubicBezTo>
                      <a:pt x="2939" y="5071"/>
                      <a:pt x="2939" y="5071"/>
                      <a:pt x="2939" y="5071"/>
                    </a:cubicBezTo>
                    <a:cubicBezTo>
                      <a:pt x="2844" y="5041"/>
                      <a:pt x="2844" y="5041"/>
                      <a:pt x="2844" y="5041"/>
                    </a:cubicBezTo>
                    <a:cubicBezTo>
                      <a:pt x="2833" y="5064"/>
                      <a:pt x="2813" y="5107"/>
                      <a:pt x="2788" y="5163"/>
                    </a:cubicBezTo>
                    <a:cubicBezTo>
                      <a:pt x="2736" y="5280"/>
                      <a:pt x="2661" y="5451"/>
                      <a:pt x="2599" y="5592"/>
                    </a:cubicBezTo>
                    <a:close/>
                    <a:moveTo>
                      <a:pt x="2391" y="5329"/>
                    </a:moveTo>
                    <a:cubicBezTo>
                      <a:pt x="2335" y="5439"/>
                      <a:pt x="2335" y="5439"/>
                      <a:pt x="2335" y="5439"/>
                    </a:cubicBezTo>
                    <a:cubicBezTo>
                      <a:pt x="2363" y="5460"/>
                      <a:pt x="2363" y="5460"/>
                      <a:pt x="2363" y="5460"/>
                    </a:cubicBezTo>
                    <a:cubicBezTo>
                      <a:pt x="2348" y="5536"/>
                      <a:pt x="2348" y="5536"/>
                      <a:pt x="2348" y="5536"/>
                    </a:cubicBezTo>
                    <a:cubicBezTo>
                      <a:pt x="2561" y="5645"/>
                      <a:pt x="2561" y="5645"/>
                      <a:pt x="2561" y="5645"/>
                    </a:cubicBezTo>
                    <a:cubicBezTo>
                      <a:pt x="2585" y="5590"/>
                      <a:pt x="2611" y="5528"/>
                      <a:pt x="2639" y="5466"/>
                    </a:cubicBezTo>
                    <a:cubicBezTo>
                      <a:pt x="2608" y="5450"/>
                      <a:pt x="2491" y="5385"/>
                      <a:pt x="2391" y="5329"/>
                    </a:cubicBezTo>
                    <a:close/>
                    <a:moveTo>
                      <a:pt x="2379" y="5323"/>
                    </a:moveTo>
                    <a:cubicBezTo>
                      <a:pt x="2344" y="5303"/>
                      <a:pt x="2312" y="5285"/>
                      <a:pt x="2287" y="5271"/>
                    </a:cubicBezTo>
                    <a:cubicBezTo>
                      <a:pt x="2240" y="5366"/>
                      <a:pt x="2240" y="5366"/>
                      <a:pt x="2240" y="5366"/>
                    </a:cubicBezTo>
                    <a:cubicBezTo>
                      <a:pt x="2324" y="5431"/>
                      <a:pt x="2324" y="5431"/>
                      <a:pt x="2324" y="5431"/>
                    </a:cubicBezTo>
                    <a:lnTo>
                      <a:pt x="2379" y="5323"/>
                    </a:lnTo>
                    <a:close/>
                    <a:moveTo>
                      <a:pt x="2233" y="5379"/>
                    </a:moveTo>
                    <a:cubicBezTo>
                      <a:pt x="2212" y="5422"/>
                      <a:pt x="2212" y="5422"/>
                      <a:pt x="2212" y="5422"/>
                    </a:cubicBezTo>
                    <a:cubicBezTo>
                      <a:pt x="2306" y="5468"/>
                      <a:pt x="2306" y="5468"/>
                      <a:pt x="2306" y="5468"/>
                    </a:cubicBezTo>
                    <a:cubicBezTo>
                      <a:pt x="2318" y="5443"/>
                      <a:pt x="2318" y="5443"/>
                      <a:pt x="2318" y="5443"/>
                    </a:cubicBezTo>
                    <a:lnTo>
                      <a:pt x="2233" y="5379"/>
                    </a:lnTo>
                    <a:close/>
                    <a:moveTo>
                      <a:pt x="2223" y="5371"/>
                    </a:moveTo>
                    <a:cubicBezTo>
                      <a:pt x="2209" y="5361"/>
                      <a:pt x="2209" y="5361"/>
                      <a:pt x="2209" y="5361"/>
                    </a:cubicBezTo>
                    <a:cubicBezTo>
                      <a:pt x="2061" y="5626"/>
                      <a:pt x="2061" y="5626"/>
                      <a:pt x="2061" y="5626"/>
                    </a:cubicBezTo>
                    <a:cubicBezTo>
                      <a:pt x="2067" y="5629"/>
                      <a:pt x="2075" y="5633"/>
                      <a:pt x="2083" y="5638"/>
                    </a:cubicBezTo>
                    <a:cubicBezTo>
                      <a:pt x="2145" y="5513"/>
                      <a:pt x="2145" y="5513"/>
                      <a:pt x="2145" y="5513"/>
                    </a:cubicBezTo>
                    <a:cubicBezTo>
                      <a:pt x="2265" y="5571"/>
                      <a:pt x="2265" y="5571"/>
                      <a:pt x="2265" y="5571"/>
                    </a:cubicBezTo>
                    <a:cubicBezTo>
                      <a:pt x="2262" y="5577"/>
                      <a:pt x="2262" y="5577"/>
                      <a:pt x="2262" y="5577"/>
                    </a:cubicBezTo>
                    <a:cubicBezTo>
                      <a:pt x="2199" y="5701"/>
                      <a:pt x="2199" y="5701"/>
                      <a:pt x="2199" y="5701"/>
                    </a:cubicBezTo>
                    <a:cubicBezTo>
                      <a:pt x="2217" y="5726"/>
                      <a:pt x="2251" y="5785"/>
                      <a:pt x="2259" y="5799"/>
                    </a:cubicBezTo>
                    <a:cubicBezTo>
                      <a:pt x="2271" y="5800"/>
                      <a:pt x="2316" y="5807"/>
                      <a:pt x="2363" y="5814"/>
                    </a:cubicBezTo>
                    <a:cubicBezTo>
                      <a:pt x="2411" y="5822"/>
                      <a:pt x="2458" y="5829"/>
                      <a:pt x="2478" y="5835"/>
                    </a:cubicBezTo>
                    <a:cubicBezTo>
                      <a:pt x="2486" y="5816"/>
                      <a:pt x="2516" y="5748"/>
                      <a:pt x="2555" y="5658"/>
                    </a:cubicBezTo>
                    <a:cubicBezTo>
                      <a:pt x="2332" y="5543"/>
                      <a:pt x="2332" y="5543"/>
                      <a:pt x="2332" y="5543"/>
                    </a:cubicBezTo>
                    <a:cubicBezTo>
                      <a:pt x="2347" y="5466"/>
                      <a:pt x="2347" y="5466"/>
                      <a:pt x="2347" y="5466"/>
                    </a:cubicBezTo>
                    <a:cubicBezTo>
                      <a:pt x="2329" y="5452"/>
                      <a:pt x="2329" y="5452"/>
                      <a:pt x="2329" y="5452"/>
                    </a:cubicBezTo>
                    <a:cubicBezTo>
                      <a:pt x="2312" y="5485"/>
                      <a:pt x="2312" y="5485"/>
                      <a:pt x="2312" y="5485"/>
                    </a:cubicBezTo>
                    <a:cubicBezTo>
                      <a:pt x="2194" y="5428"/>
                      <a:pt x="2194" y="5428"/>
                      <a:pt x="2194" y="5428"/>
                    </a:cubicBezTo>
                    <a:lnTo>
                      <a:pt x="2223" y="5371"/>
                    </a:lnTo>
                    <a:close/>
                    <a:moveTo>
                      <a:pt x="2205" y="5234"/>
                    </a:moveTo>
                    <a:cubicBezTo>
                      <a:pt x="2157" y="5207"/>
                      <a:pt x="2157" y="5207"/>
                      <a:pt x="2157" y="5207"/>
                    </a:cubicBezTo>
                    <a:cubicBezTo>
                      <a:pt x="2108" y="5294"/>
                      <a:pt x="2108" y="5294"/>
                      <a:pt x="2108" y="5294"/>
                    </a:cubicBezTo>
                    <a:cubicBezTo>
                      <a:pt x="2157" y="5321"/>
                      <a:pt x="2157" y="5321"/>
                      <a:pt x="2157" y="5321"/>
                    </a:cubicBezTo>
                    <a:lnTo>
                      <a:pt x="2205" y="5234"/>
                    </a:lnTo>
                    <a:close/>
                    <a:moveTo>
                      <a:pt x="2101" y="5306"/>
                    </a:moveTo>
                    <a:cubicBezTo>
                      <a:pt x="2049" y="5398"/>
                      <a:pt x="2049" y="5398"/>
                      <a:pt x="2049" y="5398"/>
                    </a:cubicBezTo>
                    <a:cubicBezTo>
                      <a:pt x="2098" y="5426"/>
                      <a:pt x="2098" y="5426"/>
                      <a:pt x="2098" y="5426"/>
                    </a:cubicBezTo>
                    <a:cubicBezTo>
                      <a:pt x="2150" y="5333"/>
                      <a:pt x="2150" y="5333"/>
                      <a:pt x="2150" y="5333"/>
                    </a:cubicBezTo>
                    <a:lnTo>
                      <a:pt x="2101" y="5306"/>
                    </a:lnTo>
                    <a:close/>
                    <a:moveTo>
                      <a:pt x="2090" y="5299"/>
                    </a:moveTo>
                    <a:cubicBezTo>
                      <a:pt x="1976" y="5234"/>
                      <a:pt x="1976" y="5234"/>
                      <a:pt x="1976" y="5234"/>
                    </a:cubicBezTo>
                    <a:cubicBezTo>
                      <a:pt x="1924" y="5326"/>
                      <a:pt x="1924" y="5326"/>
                      <a:pt x="1924" y="5326"/>
                    </a:cubicBezTo>
                    <a:cubicBezTo>
                      <a:pt x="2038" y="5391"/>
                      <a:pt x="2038" y="5391"/>
                      <a:pt x="2038" y="5391"/>
                    </a:cubicBezTo>
                    <a:lnTo>
                      <a:pt x="2090" y="5299"/>
                    </a:lnTo>
                    <a:close/>
                    <a:moveTo>
                      <a:pt x="1964" y="5228"/>
                    </a:moveTo>
                    <a:cubicBezTo>
                      <a:pt x="1585" y="5011"/>
                      <a:pt x="1585" y="5011"/>
                      <a:pt x="1585" y="5011"/>
                    </a:cubicBezTo>
                    <a:cubicBezTo>
                      <a:pt x="1550" y="5113"/>
                      <a:pt x="1550" y="5113"/>
                      <a:pt x="1550" y="5113"/>
                    </a:cubicBezTo>
                    <a:cubicBezTo>
                      <a:pt x="1912" y="5320"/>
                      <a:pt x="1912" y="5320"/>
                      <a:pt x="1912" y="5320"/>
                    </a:cubicBezTo>
                    <a:lnTo>
                      <a:pt x="1964" y="5228"/>
                    </a:lnTo>
                    <a:close/>
                    <a:moveTo>
                      <a:pt x="1545" y="5126"/>
                    </a:moveTo>
                    <a:cubicBezTo>
                      <a:pt x="1504" y="5243"/>
                      <a:pt x="1504" y="5243"/>
                      <a:pt x="1504" y="5243"/>
                    </a:cubicBezTo>
                    <a:cubicBezTo>
                      <a:pt x="1845" y="5438"/>
                      <a:pt x="1845" y="5438"/>
                      <a:pt x="1845" y="5438"/>
                    </a:cubicBezTo>
                    <a:cubicBezTo>
                      <a:pt x="1905" y="5332"/>
                      <a:pt x="1905" y="5332"/>
                      <a:pt x="1905" y="5332"/>
                    </a:cubicBezTo>
                    <a:lnTo>
                      <a:pt x="1545" y="5126"/>
                    </a:lnTo>
                    <a:close/>
                    <a:moveTo>
                      <a:pt x="1499" y="5257"/>
                    </a:moveTo>
                    <a:cubicBezTo>
                      <a:pt x="1499" y="5257"/>
                      <a:pt x="1499" y="5257"/>
                      <a:pt x="1499" y="5257"/>
                    </a:cubicBezTo>
                    <a:cubicBezTo>
                      <a:pt x="1420" y="5348"/>
                      <a:pt x="1420" y="5348"/>
                      <a:pt x="1420" y="5348"/>
                    </a:cubicBezTo>
                    <a:cubicBezTo>
                      <a:pt x="1780" y="5553"/>
                      <a:pt x="1780" y="5553"/>
                      <a:pt x="1780" y="5553"/>
                    </a:cubicBezTo>
                    <a:cubicBezTo>
                      <a:pt x="1838" y="5450"/>
                      <a:pt x="1838" y="5450"/>
                      <a:pt x="1838" y="5450"/>
                    </a:cubicBezTo>
                    <a:lnTo>
                      <a:pt x="1499" y="5257"/>
                    </a:lnTo>
                    <a:close/>
                    <a:moveTo>
                      <a:pt x="1416" y="5362"/>
                    </a:moveTo>
                    <a:cubicBezTo>
                      <a:pt x="1386" y="5470"/>
                      <a:pt x="1386" y="5470"/>
                      <a:pt x="1386" y="5470"/>
                    </a:cubicBezTo>
                    <a:cubicBezTo>
                      <a:pt x="1719" y="5660"/>
                      <a:pt x="1719" y="5660"/>
                      <a:pt x="1719" y="5660"/>
                    </a:cubicBezTo>
                    <a:cubicBezTo>
                      <a:pt x="1773" y="5565"/>
                      <a:pt x="1773" y="5565"/>
                      <a:pt x="1773" y="5565"/>
                    </a:cubicBezTo>
                    <a:lnTo>
                      <a:pt x="1416" y="5362"/>
                    </a:lnTo>
                    <a:close/>
                    <a:moveTo>
                      <a:pt x="1382" y="5484"/>
                    </a:moveTo>
                    <a:cubicBezTo>
                      <a:pt x="1344" y="5618"/>
                      <a:pt x="1344" y="5618"/>
                      <a:pt x="1344" y="5618"/>
                    </a:cubicBezTo>
                    <a:cubicBezTo>
                      <a:pt x="1646" y="5789"/>
                      <a:pt x="1646" y="5789"/>
                      <a:pt x="1646" y="5789"/>
                    </a:cubicBezTo>
                    <a:cubicBezTo>
                      <a:pt x="1712" y="5673"/>
                      <a:pt x="1712" y="5673"/>
                      <a:pt x="1712" y="5673"/>
                    </a:cubicBezTo>
                    <a:lnTo>
                      <a:pt x="1382" y="5484"/>
                    </a:lnTo>
                    <a:close/>
                    <a:moveTo>
                      <a:pt x="1335" y="5628"/>
                    </a:moveTo>
                    <a:cubicBezTo>
                      <a:pt x="1225" y="5691"/>
                      <a:pt x="1225" y="5691"/>
                      <a:pt x="1225" y="5691"/>
                    </a:cubicBezTo>
                    <a:cubicBezTo>
                      <a:pt x="1585" y="5896"/>
                      <a:pt x="1585" y="5896"/>
                      <a:pt x="1585" y="5896"/>
                    </a:cubicBezTo>
                    <a:cubicBezTo>
                      <a:pt x="1639" y="5802"/>
                      <a:pt x="1639" y="5802"/>
                      <a:pt x="1639" y="5802"/>
                    </a:cubicBezTo>
                    <a:lnTo>
                      <a:pt x="1335" y="5628"/>
                    </a:lnTo>
                    <a:close/>
                    <a:moveTo>
                      <a:pt x="1211" y="5699"/>
                    </a:moveTo>
                    <a:cubicBezTo>
                      <a:pt x="1198" y="5706"/>
                      <a:pt x="1198" y="5706"/>
                      <a:pt x="1198" y="5706"/>
                    </a:cubicBezTo>
                    <a:cubicBezTo>
                      <a:pt x="1164" y="5811"/>
                      <a:pt x="1164" y="5811"/>
                      <a:pt x="1164" y="5811"/>
                    </a:cubicBezTo>
                    <a:cubicBezTo>
                      <a:pt x="1518" y="6014"/>
                      <a:pt x="1518" y="6014"/>
                      <a:pt x="1518" y="6014"/>
                    </a:cubicBezTo>
                    <a:cubicBezTo>
                      <a:pt x="1578" y="5908"/>
                      <a:pt x="1578" y="5908"/>
                      <a:pt x="1578" y="5908"/>
                    </a:cubicBezTo>
                    <a:lnTo>
                      <a:pt x="1211" y="5699"/>
                    </a:lnTo>
                    <a:close/>
                    <a:moveTo>
                      <a:pt x="1160" y="5825"/>
                    </a:moveTo>
                    <a:cubicBezTo>
                      <a:pt x="1127" y="5928"/>
                      <a:pt x="1127" y="5928"/>
                      <a:pt x="1127" y="5928"/>
                    </a:cubicBezTo>
                    <a:cubicBezTo>
                      <a:pt x="1459" y="6118"/>
                      <a:pt x="1459" y="6118"/>
                      <a:pt x="1459" y="6118"/>
                    </a:cubicBezTo>
                    <a:cubicBezTo>
                      <a:pt x="1512" y="6026"/>
                      <a:pt x="1512" y="6026"/>
                      <a:pt x="1512" y="6026"/>
                    </a:cubicBezTo>
                    <a:lnTo>
                      <a:pt x="1160" y="5825"/>
                    </a:lnTo>
                    <a:close/>
                    <a:moveTo>
                      <a:pt x="1122" y="5941"/>
                    </a:moveTo>
                    <a:cubicBezTo>
                      <a:pt x="1086" y="6055"/>
                      <a:pt x="1086" y="6055"/>
                      <a:pt x="1086" y="6055"/>
                    </a:cubicBezTo>
                    <a:cubicBezTo>
                      <a:pt x="1080" y="6058"/>
                      <a:pt x="1080" y="6058"/>
                      <a:pt x="1080" y="6058"/>
                    </a:cubicBezTo>
                    <a:cubicBezTo>
                      <a:pt x="1392" y="6236"/>
                      <a:pt x="1392" y="6236"/>
                      <a:pt x="1392" y="6236"/>
                    </a:cubicBezTo>
                    <a:cubicBezTo>
                      <a:pt x="1452" y="6130"/>
                      <a:pt x="1452" y="6130"/>
                      <a:pt x="1452" y="6130"/>
                    </a:cubicBezTo>
                    <a:lnTo>
                      <a:pt x="1122" y="5941"/>
                    </a:lnTo>
                    <a:close/>
                    <a:moveTo>
                      <a:pt x="1067" y="6066"/>
                    </a:moveTo>
                    <a:cubicBezTo>
                      <a:pt x="956" y="6134"/>
                      <a:pt x="956" y="6134"/>
                      <a:pt x="956" y="6134"/>
                    </a:cubicBezTo>
                    <a:cubicBezTo>
                      <a:pt x="954" y="6139"/>
                      <a:pt x="954" y="6139"/>
                      <a:pt x="954" y="6139"/>
                    </a:cubicBezTo>
                    <a:cubicBezTo>
                      <a:pt x="1327" y="6351"/>
                      <a:pt x="1327" y="6351"/>
                      <a:pt x="1327" y="6351"/>
                    </a:cubicBezTo>
                    <a:cubicBezTo>
                      <a:pt x="1385" y="6248"/>
                      <a:pt x="1385" y="6248"/>
                      <a:pt x="1385" y="6248"/>
                    </a:cubicBezTo>
                    <a:lnTo>
                      <a:pt x="1067" y="6066"/>
                    </a:lnTo>
                    <a:close/>
                    <a:moveTo>
                      <a:pt x="1338" y="6358"/>
                    </a:moveTo>
                    <a:cubicBezTo>
                      <a:pt x="1452" y="6423"/>
                      <a:pt x="1452" y="6423"/>
                      <a:pt x="1452" y="6423"/>
                    </a:cubicBezTo>
                    <a:cubicBezTo>
                      <a:pt x="1511" y="6320"/>
                      <a:pt x="1511" y="6320"/>
                      <a:pt x="1511" y="6320"/>
                    </a:cubicBezTo>
                    <a:cubicBezTo>
                      <a:pt x="1397" y="6255"/>
                      <a:pt x="1397" y="6255"/>
                      <a:pt x="1397" y="6255"/>
                    </a:cubicBezTo>
                    <a:lnTo>
                      <a:pt x="1338" y="6358"/>
                    </a:lnTo>
                    <a:close/>
                    <a:moveTo>
                      <a:pt x="1464" y="6430"/>
                    </a:moveTo>
                    <a:cubicBezTo>
                      <a:pt x="1518" y="6461"/>
                      <a:pt x="1518" y="6461"/>
                      <a:pt x="1518" y="6461"/>
                    </a:cubicBezTo>
                    <a:cubicBezTo>
                      <a:pt x="1576" y="6357"/>
                      <a:pt x="1576" y="6357"/>
                      <a:pt x="1576" y="6357"/>
                    </a:cubicBezTo>
                    <a:cubicBezTo>
                      <a:pt x="1522" y="6326"/>
                      <a:pt x="1522" y="6326"/>
                      <a:pt x="1522" y="6326"/>
                    </a:cubicBezTo>
                    <a:lnTo>
                      <a:pt x="1464" y="6430"/>
                    </a:lnTo>
                    <a:close/>
                    <a:moveTo>
                      <a:pt x="1482" y="6660"/>
                    </a:moveTo>
                    <a:cubicBezTo>
                      <a:pt x="1527" y="6687"/>
                      <a:pt x="1622" y="6743"/>
                      <a:pt x="1722" y="6802"/>
                    </a:cubicBezTo>
                    <a:cubicBezTo>
                      <a:pt x="1824" y="6862"/>
                      <a:pt x="1932" y="6925"/>
                      <a:pt x="1995" y="6961"/>
                    </a:cubicBezTo>
                    <a:cubicBezTo>
                      <a:pt x="2033" y="6906"/>
                      <a:pt x="2116" y="6778"/>
                      <a:pt x="2198" y="6651"/>
                    </a:cubicBezTo>
                    <a:cubicBezTo>
                      <a:pt x="2221" y="6616"/>
                      <a:pt x="2243" y="6581"/>
                      <a:pt x="2264" y="6548"/>
                    </a:cubicBezTo>
                    <a:cubicBezTo>
                      <a:pt x="2008" y="6403"/>
                      <a:pt x="2008" y="6403"/>
                      <a:pt x="2008" y="6403"/>
                    </a:cubicBezTo>
                    <a:cubicBezTo>
                      <a:pt x="2007" y="6404"/>
                      <a:pt x="2006" y="6405"/>
                      <a:pt x="2006" y="6405"/>
                    </a:cubicBezTo>
                    <a:cubicBezTo>
                      <a:pt x="1995" y="6397"/>
                      <a:pt x="1995" y="6397"/>
                      <a:pt x="1995" y="6397"/>
                    </a:cubicBezTo>
                    <a:cubicBezTo>
                      <a:pt x="1995" y="6397"/>
                      <a:pt x="1996" y="6396"/>
                      <a:pt x="1996" y="6396"/>
                    </a:cubicBezTo>
                    <a:cubicBezTo>
                      <a:pt x="1718" y="6238"/>
                      <a:pt x="1718" y="6238"/>
                      <a:pt x="1718" y="6238"/>
                    </a:cubicBezTo>
                    <a:lnTo>
                      <a:pt x="1482" y="6660"/>
                    </a:lnTo>
                    <a:close/>
                    <a:moveTo>
                      <a:pt x="1900" y="7068"/>
                    </a:moveTo>
                    <a:cubicBezTo>
                      <a:pt x="1861" y="7124"/>
                      <a:pt x="1809" y="7202"/>
                      <a:pt x="1765" y="7267"/>
                    </a:cubicBezTo>
                    <a:cubicBezTo>
                      <a:pt x="1743" y="7299"/>
                      <a:pt x="1723" y="7328"/>
                      <a:pt x="1708" y="7349"/>
                    </a:cubicBezTo>
                    <a:cubicBezTo>
                      <a:pt x="1706" y="7351"/>
                      <a:pt x="1705" y="7353"/>
                      <a:pt x="1703" y="7355"/>
                    </a:cubicBezTo>
                    <a:cubicBezTo>
                      <a:pt x="1703" y="7356"/>
                      <a:pt x="1704" y="7355"/>
                      <a:pt x="1704" y="7356"/>
                    </a:cubicBezTo>
                    <a:cubicBezTo>
                      <a:pt x="1705" y="7357"/>
                      <a:pt x="1705" y="7358"/>
                      <a:pt x="1706" y="7359"/>
                    </a:cubicBezTo>
                    <a:cubicBezTo>
                      <a:pt x="1710" y="7365"/>
                      <a:pt x="1751" y="7417"/>
                      <a:pt x="1791" y="7465"/>
                    </a:cubicBezTo>
                    <a:cubicBezTo>
                      <a:pt x="1822" y="7503"/>
                      <a:pt x="1853" y="7541"/>
                      <a:pt x="1866" y="7557"/>
                    </a:cubicBezTo>
                    <a:cubicBezTo>
                      <a:pt x="2211" y="7180"/>
                      <a:pt x="2211" y="7180"/>
                      <a:pt x="2211" y="7180"/>
                    </a:cubicBezTo>
                    <a:cubicBezTo>
                      <a:pt x="2210" y="7180"/>
                      <a:pt x="2210" y="7179"/>
                      <a:pt x="2209" y="7179"/>
                    </a:cubicBezTo>
                    <a:cubicBezTo>
                      <a:pt x="2128" y="7121"/>
                      <a:pt x="2047" y="7065"/>
                      <a:pt x="2014" y="7047"/>
                    </a:cubicBezTo>
                    <a:cubicBezTo>
                      <a:pt x="2001" y="7040"/>
                      <a:pt x="1976" y="7026"/>
                      <a:pt x="1943" y="7007"/>
                    </a:cubicBezTo>
                    <a:cubicBezTo>
                      <a:pt x="1934" y="7020"/>
                      <a:pt x="1918" y="7042"/>
                      <a:pt x="1900" y="7068"/>
                    </a:cubicBezTo>
                    <a:close/>
                    <a:moveTo>
                      <a:pt x="1857" y="7725"/>
                    </a:moveTo>
                    <a:cubicBezTo>
                      <a:pt x="1852" y="7763"/>
                      <a:pt x="1847" y="7802"/>
                      <a:pt x="1843" y="7830"/>
                    </a:cubicBezTo>
                    <a:cubicBezTo>
                      <a:pt x="1841" y="7845"/>
                      <a:pt x="1840" y="7857"/>
                      <a:pt x="1838" y="7865"/>
                    </a:cubicBezTo>
                    <a:cubicBezTo>
                      <a:pt x="1838" y="7868"/>
                      <a:pt x="1837" y="7871"/>
                      <a:pt x="1837" y="7873"/>
                    </a:cubicBezTo>
                    <a:cubicBezTo>
                      <a:pt x="1845" y="7877"/>
                      <a:pt x="1862" y="7884"/>
                      <a:pt x="1878" y="7891"/>
                    </a:cubicBezTo>
                    <a:cubicBezTo>
                      <a:pt x="1894" y="7898"/>
                      <a:pt x="1910" y="7904"/>
                      <a:pt x="1917" y="7907"/>
                    </a:cubicBezTo>
                    <a:cubicBezTo>
                      <a:pt x="1944" y="7894"/>
                      <a:pt x="2010" y="7859"/>
                      <a:pt x="2074" y="7826"/>
                    </a:cubicBezTo>
                    <a:cubicBezTo>
                      <a:pt x="2145" y="7789"/>
                      <a:pt x="2215" y="7752"/>
                      <a:pt x="2228" y="7745"/>
                    </a:cubicBezTo>
                    <a:cubicBezTo>
                      <a:pt x="2235" y="7728"/>
                      <a:pt x="2272" y="7625"/>
                      <a:pt x="2310" y="7521"/>
                    </a:cubicBezTo>
                    <a:cubicBezTo>
                      <a:pt x="2330" y="7465"/>
                      <a:pt x="2352" y="7408"/>
                      <a:pt x="2368" y="7365"/>
                    </a:cubicBezTo>
                    <a:cubicBezTo>
                      <a:pt x="2376" y="7344"/>
                      <a:pt x="2383" y="7326"/>
                      <a:pt x="2389" y="7313"/>
                    </a:cubicBezTo>
                    <a:cubicBezTo>
                      <a:pt x="2389" y="7312"/>
                      <a:pt x="2390" y="7311"/>
                      <a:pt x="2390" y="7310"/>
                    </a:cubicBezTo>
                    <a:cubicBezTo>
                      <a:pt x="2346" y="7279"/>
                      <a:pt x="2285" y="7233"/>
                      <a:pt x="2222" y="7188"/>
                    </a:cubicBezTo>
                    <a:cubicBezTo>
                      <a:pt x="1875" y="7568"/>
                      <a:pt x="1875" y="7568"/>
                      <a:pt x="1875" y="7568"/>
                    </a:cubicBezTo>
                    <a:cubicBezTo>
                      <a:pt x="1875" y="7568"/>
                      <a:pt x="1875" y="7568"/>
                      <a:pt x="1875" y="7568"/>
                    </a:cubicBezTo>
                    <a:cubicBezTo>
                      <a:pt x="1875" y="7572"/>
                      <a:pt x="1875" y="7572"/>
                      <a:pt x="1875" y="7572"/>
                    </a:cubicBezTo>
                    <a:cubicBezTo>
                      <a:pt x="1875" y="7572"/>
                      <a:pt x="1866" y="7648"/>
                      <a:pt x="1857" y="7725"/>
                    </a:cubicBezTo>
                    <a:close/>
                    <a:moveTo>
                      <a:pt x="1828" y="7887"/>
                    </a:moveTo>
                    <a:cubicBezTo>
                      <a:pt x="1811" y="7900"/>
                      <a:pt x="1744" y="7954"/>
                      <a:pt x="1677" y="8008"/>
                    </a:cubicBezTo>
                    <a:cubicBezTo>
                      <a:pt x="1638" y="8039"/>
                      <a:pt x="1600" y="8070"/>
                      <a:pt x="1570" y="8094"/>
                    </a:cubicBezTo>
                    <a:cubicBezTo>
                      <a:pt x="1557" y="8106"/>
                      <a:pt x="1546" y="8115"/>
                      <a:pt x="1537" y="8123"/>
                    </a:cubicBezTo>
                    <a:cubicBezTo>
                      <a:pt x="1664" y="8280"/>
                      <a:pt x="1664" y="8280"/>
                      <a:pt x="1664" y="8280"/>
                    </a:cubicBezTo>
                    <a:cubicBezTo>
                      <a:pt x="1989" y="8255"/>
                      <a:pt x="1989" y="8255"/>
                      <a:pt x="1989" y="8255"/>
                    </a:cubicBezTo>
                    <a:cubicBezTo>
                      <a:pt x="2102" y="8179"/>
                      <a:pt x="2102" y="8179"/>
                      <a:pt x="2102" y="8179"/>
                    </a:cubicBezTo>
                    <a:cubicBezTo>
                      <a:pt x="1864" y="8067"/>
                      <a:pt x="1864" y="8067"/>
                      <a:pt x="1864" y="8067"/>
                    </a:cubicBezTo>
                    <a:cubicBezTo>
                      <a:pt x="1906" y="7927"/>
                      <a:pt x="1906" y="7927"/>
                      <a:pt x="1906" y="7927"/>
                    </a:cubicBezTo>
                    <a:cubicBezTo>
                      <a:pt x="1905" y="7927"/>
                      <a:pt x="1905" y="7927"/>
                      <a:pt x="1905" y="7927"/>
                    </a:cubicBezTo>
                    <a:cubicBezTo>
                      <a:pt x="1905" y="7920"/>
                      <a:pt x="1905" y="7920"/>
                      <a:pt x="1905" y="7920"/>
                    </a:cubicBezTo>
                    <a:cubicBezTo>
                      <a:pt x="1896" y="7917"/>
                      <a:pt x="1883" y="7911"/>
                      <a:pt x="1869" y="7905"/>
                    </a:cubicBezTo>
                    <a:cubicBezTo>
                      <a:pt x="1858" y="7900"/>
                      <a:pt x="1846" y="7895"/>
                      <a:pt x="1838" y="7891"/>
                    </a:cubicBezTo>
                    <a:cubicBezTo>
                      <a:pt x="1834" y="7890"/>
                      <a:pt x="1831" y="7888"/>
                      <a:pt x="1828" y="7887"/>
                    </a:cubicBezTo>
                    <a:close/>
                    <a:moveTo>
                      <a:pt x="1531" y="8560"/>
                    </a:moveTo>
                    <a:cubicBezTo>
                      <a:pt x="1515" y="8587"/>
                      <a:pt x="1500" y="8613"/>
                      <a:pt x="1486" y="8638"/>
                    </a:cubicBezTo>
                    <a:cubicBezTo>
                      <a:pt x="1496" y="8662"/>
                      <a:pt x="1550" y="8780"/>
                      <a:pt x="1607" y="8903"/>
                    </a:cubicBezTo>
                    <a:cubicBezTo>
                      <a:pt x="1694" y="8796"/>
                      <a:pt x="1694" y="8796"/>
                      <a:pt x="1694" y="8796"/>
                    </a:cubicBezTo>
                    <a:cubicBezTo>
                      <a:pt x="2029" y="8655"/>
                      <a:pt x="2029" y="8655"/>
                      <a:pt x="2029" y="8655"/>
                    </a:cubicBezTo>
                    <a:cubicBezTo>
                      <a:pt x="1870" y="8309"/>
                      <a:pt x="1870" y="8309"/>
                      <a:pt x="1870" y="8309"/>
                    </a:cubicBezTo>
                    <a:cubicBezTo>
                      <a:pt x="1668" y="8325"/>
                      <a:pt x="1668" y="8325"/>
                      <a:pt x="1668" y="8325"/>
                    </a:cubicBezTo>
                    <a:cubicBezTo>
                      <a:pt x="1649" y="8357"/>
                      <a:pt x="1590" y="8459"/>
                      <a:pt x="1531" y="8560"/>
                    </a:cubicBezTo>
                    <a:close/>
                    <a:moveTo>
                      <a:pt x="1995" y="8849"/>
                    </a:moveTo>
                    <a:cubicBezTo>
                      <a:pt x="1998" y="8847"/>
                      <a:pt x="1998" y="8847"/>
                      <a:pt x="1998" y="8847"/>
                    </a:cubicBezTo>
                    <a:cubicBezTo>
                      <a:pt x="1934" y="8713"/>
                      <a:pt x="1934" y="8713"/>
                      <a:pt x="1934" y="8713"/>
                    </a:cubicBezTo>
                    <a:cubicBezTo>
                      <a:pt x="1833" y="8755"/>
                      <a:pt x="1833" y="8755"/>
                      <a:pt x="1833" y="8755"/>
                    </a:cubicBezTo>
                    <a:cubicBezTo>
                      <a:pt x="1839" y="8767"/>
                      <a:pt x="1869" y="8829"/>
                      <a:pt x="1902" y="8897"/>
                    </a:cubicBezTo>
                    <a:cubicBezTo>
                      <a:pt x="1995" y="8849"/>
                      <a:pt x="1995" y="8849"/>
                      <a:pt x="1995" y="8849"/>
                    </a:cubicBezTo>
                    <a:close/>
                    <a:moveTo>
                      <a:pt x="1788" y="8972"/>
                    </a:moveTo>
                    <a:cubicBezTo>
                      <a:pt x="1895" y="8920"/>
                      <a:pt x="1895" y="8920"/>
                      <a:pt x="1895" y="8920"/>
                    </a:cubicBezTo>
                    <a:cubicBezTo>
                      <a:pt x="1858" y="8844"/>
                      <a:pt x="1822" y="8771"/>
                      <a:pt x="1818" y="8762"/>
                    </a:cubicBezTo>
                    <a:cubicBezTo>
                      <a:pt x="1711" y="8807"/>
                      <a:pt x="1711" y="8807"/>
                      <a:pt x="1711" y="8807"/>
                    </a:cubicBezTo>
                    <a:lnTo>
                      <a:pt x="1788" y="8972"/>
                    </a:lnTo>
                    <a:close/>
                    <a:moveTo>
                      <a:pt x="1698" y="8818"/>
                    </a:moveTo>
                    <a:cubicBezTo>
                      <a:pt x="1615" y="8919"/>
                      <a:pt x="1615" y="8919"/>
                      <a:pt x="1615" y="8919"/>
                    </a:cubicBezTo>
                    <a:cubicBezTo>
                      <a:pt x="1617" y="8924"/>
                      <a:pt x="1620" y="8930"/>
                      <a:pt x="1622" y="8935"/>
                    </a:cubicBezTo>
                    <a:cubicBezTo>
                      <a:pt x="1631" y="8954"/>
                      <a:pt x="1640" y="8974"/>
                      <a:pt x="1649" y="8993"/>
                    </a:cubicBezTo>
                    <a:cubicBezTo>
                      <a:pt x="1755" y="8943"/>
                      <a:pt x="1755" y="8943"/>
                      <a:pt x="1755" y="8943"/>
                    </a:cubicBezTo>
                    <a:cubicBezTo>
                      <a:pt x="1761" y="8952"/>
                      <a:pt x="1761" y="8952"/>
                      <a:pt x="1761" y="8952"/>
                    </a:cubicBezTo>
                    <a:lnTo>
                      <a:pt x="1698" y="8818"/>
                    </a:lnTo>
                    <a:close/>
                    <a:moveTo>
                      <a:pt x="2008" y="8829"/>
                    </a:moveTo>
                    <a:cubicBezTo>
                      <a:pt x="2090" y="8787"/>
                      <a:pt x="2090" y="8787"/>
                      <a:pt x="2090" y="8787"/>
                    </a:cubicBezTo>
                    <a:cubicBezTo>
                      <a:pt x="2036" y="8670"/>
                      <a:pt x="2036" y="8670"/>
                      <a:pt x="2036" y="8670"/>
                    </a:cubicBezTo>
                    <a:cubicBezTo>
                      <a:pt x="1949" y="8707"/>
                      <a:pt x="1949" y="8707"/>
                      <a:pt x="1949" y="8707"/>
                    </a:cubicBezTo>
                    <a:lnTo>
                      <a:pt x="2008" y="8829"/>
                    </a:lnTo>
                    <a:close/>
                    <a:moveTo>
                      <a:pt x="1602" y="8930"/>
                    </a:moveTo>
                    <a:cubicBezTo>
                      <a:pt x="1511" y="8987"/>
                      <a:pt x="1511" y="8987"/>
                      <a:pt x="1511" y="8987"/>
                    </a:cubicBezTo>
                    <a:cubicBezTo>
                      <a:pt x="1546" y="9062"/>
                      <a:pt x="1546" y="9062"/>
                      <a:pt x="1546" y="9062"/>
                    </a:cubicBezTo>
                    <a:cubicBezTo>
                      <a:pt x="1641" y="9015"/>
                      <a:pt x="1641" y="9015"/>
                      <a:pt x="1641" y="9015"/>
                    </a:cubicBezTo>
                    <a:cubicBezTo>
                      <a:pt x="1629" y="8989"/>
                      <a:pt x="1617" y="8962"/>
                      <a:pt x="1604" y="8935"/>
                    </a:cubicBezTo>
                    <a:cubicBezTo>
                      <a:pt x="1604" y="8933"/>
                      <a:pt x="1603" y="8932"/>
                      <a:pt x="1602" y="8930"/>
                    </a:cubicBezTo>
                    <a:close/>
                    <a:moveTo>
                      <a:pt x="1497" y="8996"/>
                    </a:moveTo>
                    <a:cubicBezTo>
                      <a:pt x="1390" y="9063"/>
                      <a:pt x="1390" y="9063"/>
                      <a:pt x="1390" y="9063"/>
                    </a:cubicBezTo>
                    <a:cubicBezTo>
                      <a:pt x="1426" y="9139"/>
                      <a:pt x="1426" y="9139"/>
                      <a:pt x="1426" y="9139"/>
                    </a:cubicBezTo>
                    <a:cubicBezTo>
                      <a:pt x="1532" y="9088"/>
                      <a:pt x="1532" y="9088"/>
                      <a:pt x="1532" y="9088"/>
                    </a:cubicBezTo>
                    <a:cubicBezTo>
                      <a:pt x="1532" y="9087"/>
                      <a:pt x="1532" y="9087"/>
                      <a:pt x="1532" y="9087"/>
                    </a:cubicBezTo>
                    <a:cubicBezTo>
                      <a:pt x="1535" y="9086"/>
                      <a:pt x="1535" y="9086"/>
                      <a:pt x="1535" y="9086"/>
                    </a:cubicBezTo>
                    <a:cubicBezTo>
                      <a:pt x="1530" y="9070"/>
                      <a:pt x="1530" y="9070"/>
                      <a:pt x="1530" y="9070"/>
                    </a:cubicBezTo>
                    <a:cubicBezTo>
                      <a:pt x="1531" y="9070"/>
                      <a:pt x="1531" y="9070"/>
                      <a:pt x="1531" y="9070"/>
                    </a:cubicBezTo>
                    <a:lnTo>
                      <a:pt x="1497" y="8996"/>
                    </a:lnTo>
                    <a:close/>
                    <a:moveTo>
                      <a:pt x="1376" y="9071"/>
                    </a:moveTo>
                    <a:cubicBezTo>
                      <a:pt x="1273" y="9136"/>
                      <a:pt x="1273" y="9136"/>
                      <a:pt x="1273" y="9136"/>
                    </a:cubicBezTo>
                    <a:cubicBezTo>
                      <a:pt x="1309" y="9214"/>
                      <a:pt x="1309" y="9214"/>
                      <a:pt x="1309" y="9214"/>
                    </a:cubicBezTo>
                    <a:cubicBezTo>
                      <a:pt x="1418" y="9161"/>
                      <a:pt x="1418" y="9161"/>
                      <a:pt x="1418" y="9161"/>
                    </a:cubicBezTo>
                    <a:lnTo>
                      <a:pt x="1376" y="9071"/>
                    </a:lnTo>
                    <a:close/>
                    <a:moveTo>
                      <a:pt x="1205" y="9299"/>
                    </a:moveTo>
                    <a:cubicBezTo>
                      <a:pt x="1259" y="9411"/>
                      <a:pt x="1259" y="9411"/>
                      <a:pt x="1259" y="9411"/>
                    </a:cubicBezTo>
                    <a:cubicBezTo>
                      <a:pt x="1353" y="9364"/>
                      <a:pt x="1353" y="9364"/>
                      <a:pt x="1353" y="9364"/>
                    </a:cubicBezTo>
                    <a:cubicBezTo>
                      <a:pt x="1352" y="9362"/>
                      <a:pt x="1352" y="9362"/>
                      <a:pt x="1352" y="9362"/>
                    </a:cubicBezTo>
                    <a:cubicBezTo>
                      <a:pt x="1346" y="9350"/>
                      <a:pt x="1346" y="9350"/>
                      <a:pt x="1346" y="9350"/>
                    </a:cubicBezTo>
                    <a:cubicBezTo>
                      <a:pt x="1351" y="9348"/>
                      <a:pt x="1351" y="9348"/>
                      <a:pt x="1351" y="9348"/>
                    </a:cubicBezTo>
                    <a:cubicBezTo>
                      <a:pt x="1340" y="9322"/>
                      <a:pt x="1340" y="9322"/>
                      <a:pt x="1340" y="9322"/>
                    </a:cubicBezTo>
                    <a:cubicBezTo>
                      <a:pt x="1300" y="9251"/>
                      <a:pt x="1300" y="9251"/>
                      <a:pt x="1300" y="9251"/>
                    </a:cubicBezTo>
                    <a:lnTo>
                      <a:pt x="1205" y="9299"/>
                    </a:lnTo>
                    <a:close/>
                    <a:moveTo>
                      <a:pt x="1366" y="9340"/>
                    </a:moveTo>
                    <a:cubicBezTo>
                      <a:pt x="1476" y="9287"/>
                      <a:pt x="1476" y="9287"/>
                      <a:pt x="1476" y="9287"/>
                    </a:cubicBezTo>
                    <a:cubicBezTo>
                      <a:pt x="1424" y="9174"/>
                      <a:pt x="1424" y="9174"/>
                      <a:pt x="1424" y="9174"/>
                    </a:cubicBezTo>
                    <a:cubicBezTo>
                      <a:pt x="1315" y="9227"/>
                      <a:pt x="1315" y="9227"/>
                      <a:pt x="1315" y="9227"/>
                    </a:cubicBezTo>
                    <a:lnTo>
                      <a:pt x="1366" y="9340"/>
                    </a:lnTo>
                    <a:close/>
                    <a:moveTo>
                      <a:pt x="1483" y="9262"/>
                    </a:moveTo>
                    <a:cubicBezTo>
                      <a:pt x="1484" y="9265"/>
                      <a:pt x="1484" y="9265"/>
                      <a:pt x="1484" y="9265"/>
                    </a:cubicBezTo>
                    <a:cubicBezTo>
                      <a:pt x="1485" y="9264"/>
                      <a:pt x="1485" y="9264"/>
                      <a:pt x="1485" y="9264"/>
                    </a:cubicBezTo>
                    <a:cubicBezTo>
                      <a:pt x="1591" y="9213"/>
                      <a:pt x="1591" y="9213"/>
                      <a:pt x="1591" y="9213"/>
                    </a:cubicBezTo>
                    <a:cubicBezTo>
                      <a:pt x="1589" y="9209"/>
                      <a:pt x="1589" y="9209"/>
                      <a:pt x="1589" y="9209"/>
                    </a:cubicBezTo>
                    <a:cubicBezTo>
                      <a:pt x="1586" y="9197"/>
                      <a:pt x="1586" y="9197"/>
                      <a:pt x="1586" y="9197"/>
                    </a:cubicBezTo>
                    <a:cubicBezTo>
                      <a:pt x="1590" y="9195"/>
                      <a:pt x="1590" y="9195"/>
                      <a:pt x="1590" y="9195"/>
                    </a:cubicBezTo>
                    <a:cubicBezTo>
                      <a:pt x="1576" y="9166"/>
                      <a:pt x="1576" y="9166"/>
                      <a:pt x="1576" y="9166"/>
                    </a:cubicBezTo>
                    <a:cubicBezTo>
                      <a:pt x="1539" y="9100"/>
                      <a:pt x="1539" y="9100"/>
                      <a:pt x="1539" y="9100"/>
                    </a:cubicBezTo>
                    <a:cubicBezTo>
                      <a:pt x="1435" y="9150"/>
                      <a:pt x="1435" y="9150"/>
                      <a:pt x="1435" y="9150"/>
                    </a:cubicBezTo>
                    <a:cubicBezTo>
                      <a:pt x="1436" y="9155"/>
                      <a:pt x="1436" y="9155"/>
                      <a:pt x="1436" y="9155"/>
                    </a:cubicBezTo>
                    <a:cubicBezTo>
                      <a:pt x="1439" y="9166"/>
                      <a:pt x="1439" y="9166"/>
                      <a:pt x="1439" y="9166"/>
                    </a:cubicBezTo>
                    <a:cubicBezTo>
                      <a:pt x="1438" y="9167"/>
                      <a:pt x="1438" y="9167"/>
                      <a:pt x="1438" y="9167"/>
                    </a:cubicBezTo>
                    <a:lnTo>
                      <a:pt x="1483" y="9262"/>
                    </a:lnTo>
                    <a:close/>
                    <a:moveTo>
                      <a:pt x="1604" y="9188"/>
                    </a:moveTo>
                    <a:cubicBezTo>
                      <a:pt x="1698" y="9141"/>
                      <a:pt x="1698" y="9141"/>
                      <a:pt x="1698" y="9141"/>
                    </a:cubicBezTo>
                    <a:cubicBezTo>
                      <a:pt x="1697" y="9139"/>
                      <a:pt x="1697" y="9139"/>
                      <a:pt x="1697" y="9139"/>
                    </a:cubicBezTo>
                    <a:cubicBezTo>
                      <a:pt x="1690" y="9126"/>
                      <a:pt x="1690" y="9126"/>
                      <a:pt x="1690" y="9126"/>
                    </a:cubicBezTo>
                    <a:cubicBezTo>
                      <a:pt x="1693" y="9125"/>
                      <a:pt x="1693" y="9125"/>
                      <a:pt x="1693" y="9125"/>
                    </a:cubicBezTo>
                    <a:cubicBezTo>
                      <a:pt x="1679" y="9096"/>
                      <a:pt x="1664" y="9063"/>
                      <a:pt x="1647" y="9027"/>
                    </a:cubicBezTo>
                    <a:cubicBezTo>
                      <a:pt x="1552" y="9075"/>
                      <a:pt x="1552" y="9075"/>
                      <a:pt x="1552" y="9075"/>
                    </a:cubicBezTo>
                    <a:lnTo>
                      <a:pt x="1604" y="9188"/>
                    </a:lnTo>
                    <a:close/>
                    <a:moveTo>
                      <a:pt x="1708" y="9118"/>
                    </a:moveTo>
                    <a:cubicBezTo>
                      <a:pt x="1815" y="9067"/>
                      <a:pt x="1815" y="9067"/>
                      <a:pt x="1815" y="9067"/>
                    </a:cubicBezTo>
                    <a:cubicBezTo>
                      <a:pt x="1801" y="9039"/>
                      <a:pt x="1801" y="9039"/>
                      <a:pt x="1801" y="9039"/>
                    </a:cubicBezTo>
                    <a:cubicBezTo>
                      <a:pt x="1777" y="8993"/>
                      <a:pt x="1777" y="8993"/>
                      <a:pt x="1777" y="8993"/>
                    </a:cubicBezTo>
                    <a:cubicBezTo>
                      <a:pt x="1770" y="8996"/>
                      <a:pt x="1770" y="8996"/>
                      <a:pt x="1770" y="8996"/>
                    </a:cubicBezTo>
                    <a:cubicBezTo>
                      <a:pt x="1764" y="8985"/>
                      <a:pt x="1764" y="8985"/>
                      <a:pt x="1764" y="8985"/>
                    </a:cubicBezTo>
                    <a:cubicBezTo>
                      <a:pt x="1749" y="8961"/>
                      <a:pt x="1749" y="8961"/>
                      <a:pt x="1749" y="8961"/>
                    </a:cubicBezTo>
                    <a:cubicBezTo>
                      <a:pt x="1656" y="9005"/>
                      <a:pt x="1656" y="9005"/>
                      <a:pt x="1656" y="9005"/>
                    </a:cubicBezTo>
                    <a:cubicBezTo>
                      <a:pt x="1657" y="9006"/>
                      <a:pt x="1657" y="9006"/>
                      <a:pt x="1657" y="9006"/>
                    </a:cubicBezTo>
                    <a:cubicBezTo>
                      <a:pt x="1664" y="9019"/>
                      <a:pt x="1664" y="9019"/>
                      <a:pt x="1664" y="9019"/>
                    </a:cubicBezTo>
                    <a:cubicBezTo>
                      <a:pt x="1662" y="9020"/>
                      <a:pt x="1662" y="9020"/>
                      <a:pt x="1662" y="9020"/>
                    </a:cubicBezTo>
                    <a:cubicBezTo>
                      <a:pt x="1679" y="9056"/>
                      <a:pt x="1694" y="9089"/>
                      <a:pt x="1708" y="9118"/>
                    </a:cubicBezTo>
                    <a:close/>
                    <a:moveTo>
                      <a:pt x="1830" y="9060"/>
                    </a:moveTo>
                    <a:cubicBezTo>
                      <a:pt x="1833" y="9059"/>
                      <a:pt x="1833" y="9059"/>
                      <a:pt x="1833" y="9059"/>
                    </a:cubicBezTo>
                    <a:cubicBezTo>
                      <a:pt x="1840" y="9070"/>
                      <a:pt x="1840" y="9070"/>
                      <a:pt x="1840" y="9070"/>
                    </a:cubicBezTo>
                    <a:cubicBezTo>
                      <a:pt x="1854" y="9094"/>
                      <a:pt x="1854" y="9094"/>
                      <a:pt x="1854" y="9094"/>
                    </a:cubicBezTo>
                    <a:cubicBezTo>
                      <a:pt x="1954" y="9045"/>
                      <a:pt x="1954" y="9045"/>
                      <a:pt x="1954" y="9045"/>
                    </a:cubicBezTo>
                    <a:cubicBezTo>
                      <a:pt x="1953" y="9042"/>
                      <a:pt x="1951" y="9039"/>
                      <a:pt x="1949" y="9035"/>
                    </a:cubicBezTo>
                    <a:cubicBezTo>
                      <a:pt x="1947" y="9030"/>
                      <a:pt x="1947" y="9030"/>
                      <a:pt x="1947" y="9030"/>
                    </a:cubicBezTo>
                    <a:cubicBezTo>
                      <a:pt x="1947" y="9030"/>
                      <a:pt x="1947" y="9030"/>
                      <a:pt x="1947" y="9030"/>
                    </a:cubicBezTo>
                    <a:cubicBezTo>
                      <a:pt x="1934" y="9002"/>
                      <a:pt x="1917" y="8967"/>
                      <a:pt x="1901" y="8933"/>
                    </a:cubicBezTo>
                    <a:cubicBezTo>
                      <a:pt x="1794" y="8985"/>
                      <a:pt x="1794" y="8985"/>
                      <a:pt x="1794" y="8985"/>
                    </a:cubicBezTo>
                    <a:lnTo>
                      <a:pt x="1830" y="9060"/>
                    </a:lnTo>
                    <a:close/>
                    <a:moveTo>
                      <a:pt x="1962" y="9022"/>
                    </a:moveTo>
                    <a:cubicBezTo>
                      <a:pt x="2055" y="8974"/>
                      <a:pt x="2055" y="8974"/>
                      <a:pt x="2055" y="8974"/>
                    </a:cubicBezTo>
                    <a:cubicBezTo>
                      <a:pt x="2055" y="8974"/>
                      <a:pt x="2055" y="8974"/>
                      <a:pt x="2055" y="8974"/>
                    </a:cubicBezTo>
                    <a:cubicBezTo>
                      <a:pt x="2051" y="8962"/>
                      <a:pt x="2051" y="8962"/>
                      <a:pt x="2051" y="8962"/>
                    </a:cubicBezTo>
                    <a:cubicBezTo>
                      <a:pt x="2053" y="8961"/>
                      <a:pt x="2053" y="8961"/>
                      <a:pt x="2053" y="8961"/>
                    </a:cubicBezTo>
                    <a:cubicBezTo>
                      <a:pt x="2021" y="8895"/>
                      <a:pt x="2021" y="8895"/>
                      <a:pt x="2021" y="8895"/>
                    </a:cubicBezTo>
                    <a:cubicBezTo>
                      <a:pt x="2002" y="8861"/>
                      <a:pt x="2002" y="8861"/>
                      <a:pt x="2002" y="8861"/>
                    </a:cubicBezTo>
                    <a:cubicBezTo>
                      <a:pt x="1912" y="8908"/>
                      <a:pt x="1912" y="8908"/>
                      <a:pt x="1912" y="8908"/>
                    </a:cubicBezTo>
                    <a:cubicBezTo>
                      <a:pt x="1913" y="8911"/>
                      <a:pt x="1913" y="8911"/>
                      <a:pt x="1913" y="8911"/>
                    </a:cubicBezTo>
                    <a:cubicBezTo>
                      <a:pt x="1920" y="8924"/>
                      <a:pt x="1920" y="8924"/>
                      <a:pt x="1920" y="8924"/>
                    </a:cubicBezTo>
                    <a:cubicBezTo>
                      <a:pt x="1915" y="8926"/>
                      <a:pt x="1915" y="8926"/>
                      <a:pt x="1915" y="8926"/>
                    </a:cubicBezTo>
                    <a:cubicBezTo>
                      <a:pt x="1928" y="8953"/>
                      <a:pt x="1941" y="8979"/>
                      <a:pt x="1952" y="9003"/>
                    </a:cubicBezTo>
                    <a:lnTo>
                      <a:pt x="1962" y="9022"/>
                    </a:lnTo>
                    <a:close/>
                    <a:moveTo>
                      <a:pt x="2068" y="8953"/>
                    </a:moveTo>
                    <a:cubicBezTo>
                      <a:pt x="2148" y="8913"/>
                      <a:pt x="2148" y="8913"/>
                      <a:pt x="2148" y="8913"/>
                    </a:cubicBezTo>
                    <a:cubicBezTo>
                      <a:pt x="2109" y="8829"/>
                      <a:pt x="2109" y="8829"/>
                      <a:pt x="2109" y="8829"/>
                    </a:cubicBezTo>
                    <a:cubicBezTo>
                      <a:pt x="2094" y="8801"/>
                      <a:pt x="2094" y="8801"/>
                      <a:pt x="2094" y="8801"/>
                    </a:cubicBezTo>
                    <a:cubicBezTo>
                      <a:pt x="2014" y="8841"/>
                      <a:pt x="2014" y="8841"/>
                      <a:pt x="2014" y="8841"/>
                    </a:cubicBezTo>
                    <a:lnTo>
                      <a:pt x="2068" y="8953"/>
                    </a:lnTo>
                    <a:close/>
                    <a:moveTo>
                      <a:pt x="2149" y="8874"/>
                    </a:moveTo>
                    <a:cubicBezTo>
                      <a:pt x="2158" y="8868"/>
                      <a:pt x="2178" y="8856"/>
                      <a:pt x="2208" y="8838"/>
                    </a:cubicBezTo>
                    <a:cubicBezTo>
                      <a:pt x="2304" y="8781"/>
                      <a:pt x="2481" y="8680"/>
                      <a:pt x="2506" y="8666"/>
                    </a:cubicBezTo>
                    <a:cubicBezTo>
                      <a:pt x="2388" y="8422"/>
                      <a:pt x="2388" y="8422"/>
                      <a:pt x="2388" y="8422"/>
                    </a:cubicBezTo>
                    <a:cubicBezTo>
                      <a:pt x="2388" y="8421"/>
                      <a:pt x="2387" y="8421"/>
                      <a:pt x="2387" y="8421"/>
                    </a:cubicBezTo>
                    <a:cubicBezTo>
                      <a:pt x="2382" y="8424"/>
                      <a:pt x="2372" y="8429"/>
                      <a:pt x="2359" y="8435"/>
                    </a:cubicBezTo>
                    <a:cubicBezTo>
                      <a:pt x="2407" y="8536"/>
                      <a:pt x="2407" y="8536"/>
                      <a:pt x="2407" y="8536"/>
                    </a:cubicBezTo>
                    <a:cubicBezTo>
                      <a:pt x="2291" y="8590"/>
                      <a:pt x="2291" y="8590"/>
                      <a:pt x="2291" y="8590"/>
                    </a:cubicBezTo>
                    <a:cubicBezTo>
                      <a:pt x="2298" y="8619"/>
                      <a:pt x="2298" y="8619"/>
                      <a:pt x="2298" y="8619"/>
                    </a:cubicBezTo>
                    <a:cubicBezTo>
                      <a:pt x="2283" y="8629"/>
                      <a:pt x="2283" y="8629"/>
                      <a:pt x="2283" y="8629"/>
                    </a:cubicBezTo>
                    <a:cubicBezTo>
                      <a:pt x="2309" y="8677"/>
                      <a:pt x="2309" y="8677"/>
                      <a:pt x="2309" y="8677"/>
                    </a:cubicBezTo>
                    <a:cubicBezTo>
                      <a:pt x="2279" y="8696"/>
                      <a:pt x="2279" y="8696"/>
                      <a:pt x="2279" y="8696"/>
                    </a:cubicBezTo>
                    <a:cubicBezTo>
                      <a:pt x="2263" y="8661"/>
                      <a:pt x="2263" y="8661"/>
                      <a:pt x="2263" y="8661"/>
                    </a:cubicBezTo>
                    <a:cubicBezTo>
                      <a:pt x="2179" y="8700"/>
                      <a:pt x="2179" y="8700"/>
                      <a:pt x="2179" y="8700"/>
                    </a:cubicBezTo>
                    <a:cubicBezTo>
                      <a:pt x="2156" y="8656"/>
                      <a:pt x="2156" y="8656"/>
                      <a:pt x="2156" y="8656"/>
                    </a:cubicBezTo>
                    <a:cubicBezTo>
                      <a:pt x="2133" y="8665"/>
                      <a:pt x="2133" y="8665"/>
                      <a:pt x="2133" y="8665"/>
                    </a:cubicBezTo>
                    <a:cubicBezTo>
                      <a:pt x="2084" y="8568"/>
                      <a:pt x="2084" y="8568"/>
                      <a:pt x="2084" y="8568"/>
                    </a:cubicBezTo>
                    <a:cubicBezTo>
                      <a:pt x="2069" y="8575"/>
                      <a:pt x="2055" y="8582"/>
                      <a:pt x="2043" y="8588"/>
                    </a:cubicBezTo>
                    <a:cubicBezTo>
                      <a:pt x="2034" y="8592"/>
                      <a:pt x="2027" y="8596"/>
                      <a:pt x="2021" y="8599"/>
                    </a:cubicBezTo>
                    <a:cubicBezTo>
                      <a:pt x="2140" y="8857"/>
                      <a:pt x="2140" y="8857"/>
                      <a:pt x="2140" y="8857"/>
                    </a:cubicBezTo>
                    <a:lnTo>
                      <a:pt x="2149" y="8874"/>
                    </a:lnTo>
                    <a:close/>
                    <a:moveTo>
                      <a:pt x="2274" y="8582"/>
                    </a:moveTo>
                    <a:cubicBezTo>
                      <a:pt x="2285" y="8578"/>
                      <a:pt x="2285" y="8578"/>
                      <a:pt x="2285" y="8578"/>
                    </a:cubicBezTo>
                    <a:cubicBezTo>
                      <a:pt x="2389" y="8529"/>
                      <a:pt x="2389" y="8529"/>
                      <a:pt x="2389" y="8529"/>
                    </a:cubicBezTo>
                    <a:cubicBezTo>
                      <a:pt x="2348" y="8443"/>
                      <a:pt x="2348" y="8443"/>
                      <a:pt x="2348" y="8443"/>
                    </a:cubicBezTo>
                    <a:cubicBezTo>
                      <a:pt x="2098" y="8565"/>
                      <a:pt x="2098" y="8565"/>
                      <a:pt x="2098" y="8565"/>
                    </a:cubicBezTo>
                    <a:cubicBezTo>
                      <a:pt x="2139" y="8647"/>
                      <a:pt x="2139" y="8647"/>
                      <a:pt x="2139" y="8647"/>
                    </a:cubicBezTo>
                    <a:cubicBezTo>
                      <a:pt x="2151" y="8643"/>
                      <a:pt x="2151" y="8643"/>
                      <a:pt x="2151" y="8643"/>
                    </a:cubicBezTo>
                    <a:cubicBezTo>
                      <a:pt x="2163" y="8638"/>
                      <a:pt x="2163" y="8638"/>
                      <a:pt x="2163" y="8638"/>
                    </a:cubicBezTo>
                    <a:cubicBezTo>
                      <a:pt x="2169" y="8649"/>
                      <a:pt x="2169" y="8649"/>
                      <a:pt x="2169" y="8649"/>
                    </a:cubicBezTo>
                    <a:cubicBezTo>
                      <a:pt x="2185" y="8682"/>
                      <a:pt x="2185" y="8682"/>
                      <a:pt x="2185" y="8682"/>
                    </a:cubicBezTo>
                    <a:cubicBezTo>
                      <a:pt x="2257" y="8648"/>
                      <a:pt x="2257" y="8648"/>
                      <a:pt x="2257" y="8648"/>
                    </a:cubicBezTo>
                    <a:cubicBezTo>
                      <a:pt x="2270" y="8642"/>
                      <a:pt x="2270" y="8642"/>
                      <a:pt x="2270" y="8642"/>
                    </a:cubicBezTo>
                    <a:cubicBezTo>
                      <a:pt x="2275" y="8655"/>
                      <a:pt x="2275" y="8655"/>
                      <a:pt x="2275" y="8655"/>
                    </a:cubicBezTo>
                    <a:cubicBezTo>
                      <a:pt x="2285" y="8676"/>
                      <a:pt x="2285" y="8676"/>
                      <a:pt x="2285" y="8676"/>
                    </a:cubicBezTo>
                    <a:cubicBezTo>
                      <a:pt x="2291" y="8672"/>
                      <a:pt x="2291" y="8672"/>
                      <a:pt x="2291" y="8672"/>
                    </a:cubicBezTo>
                    <a:cubicBezTo>
                      <a:pt x="2271" y="8636"/>
                      <a:pt x="2271" y="8636"/>
                      <a:pt x="2271" y="8636"/>
                    </a:cubicBezTo>
                    <a:cubicBezTo>
                      <a:pt x="2265" y="8625"/>
                      <a:pt x="2265" y="8625"/>
                      <a:pt x="2265" y="8625"/>
                    </a:cubicBezTo>
                    <a:cubicBezTo>
                      <a:pt x="2275" y="8618"/>
                      <a:pt x="2275" y="8618"/>
                      <a:pt x="2275" y="8618"/>
                    </a:cubicBezTo>
                    <a:cubicBezTo>
                      <a:pt x="2282" y="8613"/>
                      <a:pt x="2282" y="8613"/>
                      <a:pt x="2282" y="8613"/>
                    </a:cubicBezTo>
                    <a:cubicBezTo>
                      <a:pt x="2277" y="8594"/>
                      <a:pt x="2277" y="8594"/>
                      <a:pt x="2277" y="8594"/>
                    </a:cubicBezTo>
                    <a:lnTo>
                      <a:pt x="2274" y="8582"/>
                    </a:lnTo>
                    <a:close/>
                    <a:moveTo>
                      <a:pt x="2381" y="8405"/>
                    </a:moveTo>
                    <a:cubicBezTo>
                      <a:pt x="2249" y="8132"/>
                      <a:pt x="2249" y="8132"/>
                      <a:pt x="2249" y="8132"/>
                    </a:cubicBezTo>
                    <a:cubicBezTo>
                      <a:pt x="2003" y="8299"/>
                      <a:pt x="2003" y="8299"/>
                      <a:pt x="2003" y="8299"/>
                    </a:cubicBezTo>
                    <a:cubicBezTo>
                      <a:pt x="1887" y="8308"/>
                      <a:pt x="1887" y="8308"/>
                      <a:pt x="1887" y="8308"/>
                    </a:cubicBezTo>
                    <a:cubicBezTo>
                      <a:pt x="2014" y="8584"/>
                      <a:pt x="2014" y="8584"/>
                      <a:pt x="2014" y="8584"/>
                    </a:cubicBezTo>
                    <a:cubicBezTo>
                      <a:pt x="2026" y="8578"/>
                      <a:pt x="2043" y="8569"/>
                      <a:pt x="2067" y="8558"/>
                    </a:cubicBezTo>
                    <a:cubicBezTo>
                      <a:pt x="2121" y="8532"/>
                      <a:pt x="2199" y="8494"/>
                      <a:pt x="2265" y="8463"/>
                    </a:cubicBezTo>
                    <a:cubicBezTo>
                      <a:pt x="2297" y="8447"/>
                      <a:pt x="2327" y="8433"/>
                      <a:pt x="2348" y="8423"/>
                    </a:cubicBezTo>
                    <a:cubicBezTo>
                      <a:pt x="2358" y="8418"/>
                      <a:pt x="2367" y="8413"/>
                      <a:pt x="2372" y="8410"/>
                    </a:cubicBezTo>
                    <a:cubicBezTo>
                      <a:pt x="2375" y="8409"/>
                      <a:pt x="2377" y="8408"/>
                      <a:pt x="2379" y="8407"/>
                    </a:cubicBezTo>
                    <a:cubicBezTo>
                      <a:pt x="2379" y="8406"/>
                      <a:pt x="2380" y="8406"/>
                      <a:pt x="2381" y="8405"/>
                    </a:cubicBezTo>
                    <a:close/>
                    <a:moveTo>
                      <a:pt x="2458" y="7940"/>
                    </a:moveTo>
                    <a:cubicBezTo>
                      <a:pt x="2663" y="7478"/>
                      <a:pt x="2663" y="7478"/>
                      <a:pt x="2663" y="7478"/>
                    </a:cubicBezTo>
                    <a:cubicBezTo>
                      <a:pt x="2558" y="7436"/>
                      <a:pt x="2479" y="7372"/>
                      <a:pt x="2418" y="7330"/>
                    </a:cubicBezTo>
                    <a:cubicBezTo>
                      <a:pt x="2413" y="7326"/>
                      <a:pt x="2408" y="7322"/>
                      <a:pt x="2402" y="7318"/>
                    </a:cubicBezTo>
                    <a:cubicBezTo>
                      <a:pt x="2396" y="7332"/>
                      <a:pt x="2388" y="7352"/>
                      <a:pt x="2379" y="7376"/>
                    </a:cubicBezTo>
                    <a:cubicBezTo>
                      <a:pt x="2329" y="7506"/>
                      <a:pt x="2241" y="7752"/>
                      <a:pt x="2241" y="7752"/>
                    </a:cubicBezTo>
                    <a:cubicBezTo>
                      <a:pt x="2240" y="7755"/>
                      <a:pt x="2240" y="7755"/>
                      <a:pt x="2240" y="7755"/>
                    </a:cubicBezTo>
                    <a:cubicBezTo>
                      <a:pt x="2237" y="7756"/>
                      <a:pt x="2237" y="7756"/>
                      <a:pt x="2237" y="7756"/>
                    </a:cubicBezTo>
                    <a:cubicBezTo>
                      <a:pt x="2237" y="7756"/>
                      <a:pt x="2157" y="7798"/>
                      <a:pt x="2077" y="7840"/>
                    </a:cubicBezTo>
                    <a:cubicBezTo>
                      <a:pt x="2036" y="7861"/>
                      <a:pt x="1994" y="7884"/>
                      <a:pt x="1963" y="7900"/>
                    </a:cubicBezTo>
                    <a:cubicBezTo>
                      <a:pt x="1948" y="7908"/>
                      <a:pt x="1935" y="7914"/>
                      <a:pt x="1925" y="7919"/>
                    </a:cubicBezTo>
                    <a:cubicBezTo>
                      <a:pt x="1884" y="8058"/>
                      <a:pt x="1884" y="8058"/>
                      <a:pt x="1884" y="8058"/>
                    </a:cubicBezTo>
                    <a:cubicBezTo>
                      <a:pt x="2118" y="8168"/>
                      <a:pt x="2118" y="8168"/>
                      <a:pt x="2118" y="8168"/>
                    </a:cubicBezTo>
                    <a:lnTo>
                      <a:pt x="2458" y="7940"/>
                    </a:lnTo>
                    <a:close/>
                    <a:moveTo>
                      <a:pt x="2973" y="7764"/>
                    </a:moveTo>
                    <a:cubicBezTo>
                      <a:pt x="2973" y="7764"/>
                      <a:pt x="2973" y="7764"/>
                      <a:pt x="2973" y="7764"/>
                    </a:cubicBezTo>
                    <a:cubicBezTo>
                      <a:pt x="2978" y="7769"/>
                      <a:pt x="2978" y="7769"/>
                      <a:pt x="2978" y="7769"/>
                    </a:cubicBezTo>
                    <a:cubicBezTo>
                      <a:pt x="2978" y="7769"/>
                      <a:pt x="3005" y="7795"/>
                      <a:pt x="3044" y="7834"/>
                    </a:cubicBezTo>
                    <a:cubicBezTo>
                      <a:pt x="3418" y="7543"/>
                      <a:pt x="3418" y="7543"/>
                      <a:pt x="3418" y="7543"/>
                    </a:cubicBezTo>
                    <a:cubicBezTo>
                      <a:pt x="3247" y="7342"/>
                      <a:pt x="3247" y="7342"/>
                      <a:pt x="3247" y="7342"/>
                    </a:cubicBezTo>
                    <a:cubicBezTo>
                      <a:pt x="3246" y="7342"/>
                      <a:pt x="3245" y="7343"/>
                      <a:pt x="3244" y="7343"/>
                    </a:cubicBezTo>
                    <a:cubicBezTo>
                      <a:pt x="3175" y="7390"/>
                      <a:pt x="3044" y="7498"/>
                      <a:pt x="2889" y="7515"/>
                    </a:cubicBezTo>
                    <a:lnTo>
                      <a:pt x="2973" y="7764"/>
                    </a:lnTo>
                    <a:close/>
                    <a:moveTo>
                      <a:pt x="3429" y="7533"/>
                    </a:moveTo>
                    <a:cubicBezTo>
                      <a:pt x="3429" y="7534"/>
                      <a:pt x="3429" y="7534"/>
                      <a:pt x="3429" y="7534"/>
                    </a:cubicBezTo>
                    <a:cubicBezTo>
                      <a:pt x="3430" y="7534"/>
                      <a:pt x="3430" y="7534"/>
                      <a:pt x="3430" y="7534"/>
                    </a:cubicBezTo>
                    <a:cubicBezTo>
                      <a:pt x="3511" y="7553"/>
                      <a:pt x="3511" y="7553"/>
                      <a:pt x="3511" y="7553"/>
                    </a:cubicBezTo>
                    <a:cubicBezTo>
                      <a:pt x="3543" y="7428"/>
                      <a:pt x="3543" y="7428"/>
                      <a:pt x="3543" y="7428"/>
                    </a:cubicBezTo>
                    <a:cubicBezTo>
                      <a:pt x="3635" y="7382"/>
                      <a:pt x="3635" y="7382"/>
                      <a:pt x="3635" y="7382"/>
                    </a:cubicBezTo>
                    <a:cubicBezTo>
                      <a:pt x="3635" y="7382"/>
                      <a:pt x="3635" y="7382"/>
                      <a:pt x="3635" y="7382"/>
                    </a:cubicBezTo>
                    <a:cubicBezTo>
                      <a:pt x="3636" y="7382"/>
                      <a:pt x="3636" y="7382"/>
                      <a:pt x="3636" y="7382"/>
                    </a:cubicBezTo>
                    <a:cubicBezTo>
                      <a:pt x="3631" y="7375"/>
                      <a:pt x="3614" y="7352"/>
                      <a:pt x="3569" y="7304"/>
                    </a:cubicBezTo>
                    <a:cubicBezTo>
                      <a:pt x="3557" y="7292"/>
                      <a:pt x="3545" y="7280"/>
                      <a:pt x="3533" y="7267"/>
                    </a:cubicBezTo>
                    <a:cubicBezTo>
                      <a:pt x="3513" y="7270"/>
                      <a:pt x="3470" y="7276"/>
                      <a:pt x="3421" y="7285"/>
                    </a:cubicBezTo>
                    <a:cubicBezTo>
                      <a:pt x="3364" y="7297"/>
                      <a:pt x="3297" y="7315"/>
                      <a:pt x="3260" y="7334"/>
                    </a:cubicBezTo>
                    <a:lnTo>
                      <a:pt x="3429" y="7533"/>
                    </a:lnTo>
                    <a:close/>
                    <a:moveTo>
                      <a:pt x="3526" y="7562"/>
                    </a:moveTo>
                    <a:cubicBezTo>
                      <a:pt x="3584" y="7717"/>
                      <a:pt x="3584" y="7717"/>
                      <a:pt x="3584" y="7717"/>
                    </a:cubicBezTo>
                    <a:cubicBezTo>
                      <a:pt x="3854" y="7662"/>
                      <a:pt x="3854" y="7662"/>
                      <a:pt x="3854" y="7662"/>
                    </a:cubicBezTo>
                    <a:cubicBezTo>
                      <a:pt x="3853" y="7654"/>
                      <a:pt x="3852" y="7645"/>
                      <a:pt x="3850" y="7638"/>
                    </a:cubicBezTo>
                    <a:cubicBezTo>
                      <a:pt x="3849" y="7633"/>
                      <a:pt x="3848" y="7629"/>
                      <a:pt x="3847" y="7627"/>
                    </a:cubicBezTo>
                    <a:cubicBezTo>
                      <a:pt x="3647" y="7395"/>
                      <a:pt x="3647" y="7395"/>
                      <a:pt x="3647" y="7395"/>
                    </a:cubicBezTo>
                    <a:cubicBezTo>
                      <a:pt x="3557" y="7439"/>
                      <a:pt x="3557" y="7439"/>
                      <a:pt x="3557" y="7439"/>
                    </a:cubicBezTo>
                    <a:lnTo>
                      <a:pt x="3526" y="7562"/>
                    </a:lnTo>
                    <a:close/>
                    <a:moveTo>
                      <a:pt x="4098" y="7414"/>
                    </a:moveTo>
                    <a:cubicBezTo>
                      <a:pt x="4149" y="7461"/>
                      <a:pt x="4191" y="7501"/>
                      <a:pt x="4198" y="7507"/>
                    </a:cubicBezTo>
                    <a:cubicBezTo>
                      <a:pt x="4204" y="7503"/>
                      <a:pt x="4211" y="7500"/>
                      <a:pt x="4219" y="7496"/>
                    </a:cubicBezTo>
                    <a:cubicBezTo>
                      <a:pt x="4261" y="7475"/>
                      <a:pt x="4311" y="7446"/>
                      <a:pt x="4339" y="7419"/>
                    </a:cubicBezTo>
                    <a:cubicBezTo>
                      <a:pt x="4364" y="7396"/>
                      <a:pt x="4398" y="7337"/>
                      <a:pt x="4427" y="7255"/>
                    </a:cubicBezTo>
                    <a:cubicBezTo>
                      <a:pt x="4441" y="7216"/>
                      <a:pt x="4454" y="7171"/>
                      <a:pt x="4465" y="7122"/>
                    </a:cubicBezTo>
                    <a:cubicBezTo>
                      <a:pt x="4267" y="7108"/>
                      <a:pt x="4267" y="7108"/>
                      <a:pt x="4267" y="7108"/>
                    </a:cubicBezTo>
                    <a:cubicBezTo>
                      <a:pt x="4183" y="7357"/>
                      <a:pt x="4183" y="7357"/>
                      <a:pt x="4183" y="7357"/>
                    </a:cubicBezTo>
                    <a:cubicBezTo>
                      <a:pt x="4181" y="7358"/>
                      <a:pt x="4181" y="7358"/>
                      <a:pt x="4181" y="7358"/>
                    </a:cubicBezTo>
                    <a:cubicBezTo>
                      <a:pt x="4181" y="7358"/>
                      <a:pt x="4159" y="7374"/>
                      <a:pt x="4136" y="7389"/>
                    </a:cubicBezTo>
                    <a:cubicBezTo>
                      <a:pt x="4125" y="7396"/>
                      <a:pt x="4113" y="7404"/>
                      <a:pt x="4104" y="7410"/>
                    </a:cubicBezTo>
                    <a:cubicBezTo>
                      <a:pt x="4102" y="7412"/>
                      <a:pt x="4100" y="7413"/>
                      <a:pt x="4098" y="7414"/>
                    </a:cubicBezTo>
                    <a:close/>
                    <a:moveTo>
                      <a:pt x="4139" y="7612"/>
                    </a:moveTo>
                    <a:cubicBezTo>
                      <a:pt x="4186" y="7822"/>
                      <a:pt x="4186" y="7822"/>
                      <a:pt x="4186" y="7822"/>
                    </a:cubicBezTo>
                    <a:cubicBezTo>
                      <a:pt x="4291" y="7807"/>
                      <a:pt x="4291" y="7807"/>
                      <a:pt x="4291" y="7807"/>
                    </a:cubicBezTo>
                    <a:cubicBezTo>
                      <a:pt x="4240" y="7561"/>
                      <a:pt x="4240" y="7561"/>
                      <a:pt x="4240" y="7561"/>
                    </a:cubicBezTo>
                    <a:cubicBezTo>
                      <a:pt x="4224" y="7569"/>
                      <a:pt x="4211" y="7576"/>
                      <a:pt x="4199" y="7581"/>
                    </a:cubicBezTo>
                    <a:lnTo>
                      <a:pt x="4139" y="7612"/>
                    </a:lnTo>
                    <a:close/>
                    <a:moveTo>
                      <a:pt x="4172" y="7837"/>
                    </a:moveTo>
                    <a:cubicBezTo>
                      <a:pt x="4108" y="7846"/>
                      <a:pt x="4108" y="7846"/>
                      <a:pt x="4108" y="7846"/>
                    </a:cubicBezTo>
                    <a:cubicBezTo>
                      <a:pt x="4128" y="7975"/>
                      <a:pt x="4128" y="7975"/>
                      <a:pt x="4128" y="7975"/>
                    </a:cubicBezTo>
                    <a:cubicBezTo>
                      <a:pt x="4201" y="7965"/>
                      <a:pt x="4201" y="7965"/>
                      <a:pt x="4201" y="7965"/>
                    </a:cubicBezTo>
                    <a:lnTo>
                      <a:pt x="4172" y="7837"/>
                    </a:lnTo>
                    <a:close/>
                    <a:moveTo>
                      <a:pt x="4217" y="7962"/>
                    </a:moveTo>
                    <a:cubicBezTo>
                      <a:pt x="4320" y="7948"/>
                      <a:pt x="4320" y="7948"/>
                      <a:pt x="4320" y="7948"/>
                    </a:cubicBezTo>
                    <a:cubicBezTo>
                      <a:pt x="4293" y="7820"/>
                      <a:pt x="4293" y="7820"/>
                      <a:pt x="4293" y="7820"/>
                    </a:cubicBezTo>
                    <a:cubicBezTo>
                      <a:pt x="4189" y="7835"/>
                      <a:pt x="4189" y="7835"/>
                      <a:pt x="4189" y="7835"/>
                    </a:cubicBezTo>
                    <a:lnTo>
                      <a:pt x="4217" y="7962"/>
                    </a:lnTo>
                    <a:close/>
                    <a:moveTo>
                      <a:pt x="4220" y="7975"/>
                    </a:moveTo>
                    <a:cubicBezTo>
                      <a:pt x="4232" y="8029"/>
                      <a:pt x="4232" y="8029"/>
                      <a:pt x="4232" y="8029"/>
                    </a:cubicBezTo>
                    <a:cubicBezTo>
                      <a:pt x="4266" y="8031"/>
                      <a:pt x="4301" y="8033"/>
                      <a:pt x="4337" y="8034"/>
                    </a:cubicBezTo>
                    <a:cubicBezTo>
                      <a:pt x="4322" y="7961"/>
                      <a:pt x="4322" y="7961"/>
                      <a:pt x="4322" y="7961"/>
                    </a:cubicBezTo>
                    <a:lnTo>
                      <a:pt x="4220" y="7975"/>
                    </a:lnTo>
                    <a:close/>
                    <a:moveTo>
                      <a:pt x="4433" y="7932"/>
                    </a:moveTo>
                    <a:cubicBezTo>
                      <a:pt x="4405" y="7804"/>
                      <a:pt x="4405" y="7804"/>
                      <a:pt x="4405" y="7804"/>
                    </a:cubicBezTo>
                    <a:cubicBezTo>
                      <a:pt x="4310" y="7818"/>
                      <a:pt x="4310" y="7818"/>
                      <a:pt x="4310" y="7818"/>
                    </a:cubicBezTo>
                    <a:cubicBezTo>
                      <a:pt x="4336" y="7946"/>
                      <a:pt x="4336" y="7946"/>
                      <a:pt x="4336" y="7946"/>
                    </a:cubicBezTo>
                    <a:lnTo>
                      <a:pt x="4433" y="7932"/>
                    </a:lnTo>
                    <a:close/>
                    <a:moveTo>
                      <a:pt x="4339" y="7959"/>
                    </a:moveTo>
                    <a:cubicBezTo>
                      <a:pt x="4354" y="8033"/>
                      <a:pt x="4354" y="8033"/>
                      <a:pt x="4354" y="8033"/>
                    </a:cubicBezTo>
                    <a:cubicBezTo>
                      <a:pt x="4377" y="8033"/>
                      <a:pt x="4400" y="8033"/>
                      <a:pt x="4425" y="8031"/>
                    </a:cubicBezTo>
                    <a:cubicBezTo>
                      <a:pt x="4434" y="8030"/>
                      <a:pt x="4444" y="8029"/>
                      <a:pt x="4454" y="8028"/>
                    </a:cubicBezTo>
                    <a:cubicBezTo>
                      <a:pt x="4436" y="7945"/>
                      <a:pt x="4436" y="7945"/>
                      <a:pt x="4436" y="7945"/>
                    </a:cubicBezTo>
                    <a:lnTo>
                      <a:pt x="4339" y="7959"/>
                    </a:lnTo>
                    <a:close/>
                    <a:moveTo>
                      <a:pt x="4806" y="7880"/>
                    </a:moveTo>
                    <a:cubicBezTo>
                      <a:pt x="4800" y="7842"/>
                      <a:pt x="4793" y="7798"/>
                      <a:pt x="4786" y="7753"/>
                    </a:cubicBezTo>
                    <a:cubicBezTo>
                      <a:pt x="4786" y="7752"/>
                      <a:pt x="4786" y="7751"/>
                      <a:pt x="4786" y="7750"/>
                    </a:cubicBezTo>
                    <a:cubicBezTo>
                      <a:pt x="4679" y="7766"/>
                      <a:pt x="4679" y="7766"/>
                      <a:pt x="4679" y="7766"/>
                    </a:cubicBezTo>
                    <a:cubicBezTo>
                      <a:pt x="4700" y="7895"/>
                      <a:pt x="4700" y="7895"/>
                      <a:pt x="4700" y="7895"/>
                    </a:cubicBezTo>
                    <a:lnTo>
                      <a:pt x="4806" y="7880"/>
                    </a:lnTo>
                    <a:close/>
                    <a:moveTo>
                      <a:pt x="4702" y="7908"/>
                    </a:moveTo>
                    <a:cubicBezTo>
                      <a:pt x="4716" y="7990"/>
                      <a:pt x="4716" y="7990"/>
                      <a:pt x="4716" y="7990"/>
                    </a:cubicBezTo>
                    <a:cubicBezTo>
                      <a:pt x="4751" y="7984"/>
                      <a:pt x="4785" y="7977"/>
                      <a:pt x="4819" y="7971"/>
                    </a:cubicBezTo>
                    <a:cubicBezTo>
                      <a:pt x="4817" y="7957"/>
                      <a:pt x="4813" y="7929"/>
                      <a:pt x="4807" y="7893"/>
                    </a:cubicBezTo>
                    <a:lnTo>
                      <a:pt x="4702" y="7908"/>
                    </a:lnTo>
                    <a:close/>
                    <a:moveTo>
                      <a:pt x="4805" y="8129"/>
                    </a:moveTo>
                    <a:cubicBezTo>
                      <a:pt x="4825" y="8128"/>
                      <a:pt x="4845" y="8128"/>
                      <a:pt x="4864" y="8128"/>
                    </a:cubicBezTo>
                    <a:cubicBezTo>
                      <a:pt x="4975" y="8128"/>
                      <a:pt x="5075" y="8132"/>
                      <a:pt x="5155" y="8135"/>
                    </a:cubicBezTo>
                    <a:cubicBezTo>
                      <a:pt x="5403" y="8146"/>
                      <a:pt x="5901" y="8202"/>
                      <a:pt x="6169" y="8202"/>
                    </a:cubicBezTo>
                    <a:cubicBezTo>
                      <a:pt x="6170" y="8202"/>
                      <a:pt x="6170" y="8202"/>
                      <a:pt x="6170" y="8202"/>
                    </a:cubicBezTo>
                    <a:cubicBezTo>
                      <a:pt x="6210" y="8202"/>
                      <a:pt x="6244" y="8201"/>
                      <a:pt x="6270" y="8198"/>
                    </a:cubicBezTo>
                    <a:cubicBezTo>
                      <a:pt x="6283" y="8197"/>
                      <a:pt x="6294" y="8196"/>
                      <a:pt x="6302" y="8194"/>
                    </a:cubicBezTo>
                    <a:cubicBezTo>
                      <a:pt x="6305" y="8193"/>
                      <a:pt x="6309" y="8192"/>
                      <a:pt x="6311" y="8192"/>
                    </a:cubicBezTo>
                    <a:cubicBezTo>
                      <a:pt x="6312" y="8192"/>
                      <a:pt x="6312" y="8191"/>
                      <a:pt x="6313" y="8191"/>
                    </a:cubicBezTo>
                    <a:cubicBezTo>
                      <a:pt x="6313" y="8191"/>
                      <a:pt x="6313" y="8191"/>
                      <a:pt x="6313" y="8191"/>
                    </a:cubicBezTo>
                    <a:cubicBezTo>
                      <a:pt x="6314" y="8191"/>
                      <a:pt x="6314" y="8191"/>
                      <a:pt x="6314" y="8191"/>
                    </a:cubicBezTo>
                    <a:cubicBezTo>
                      <a:pt x="6321" y="8188"/>
                      <a:pt x="6332" y="8178"/>
                      <a:pt x="6344" y="8155"/>
                    </a:cubicBezTo>
                    <a:cubicBezTo>
                      <a:pt x="5955" y="8128"/>
                      <a:pt x="5215" y="8075"/>
                      <a:pt x="5118" y="8068"/>
                    </a:cubicBezTo>
                    <a:cubicBezTo>
                      <a:pt x="5080" y="8075"/>
                      <a:pt x="4950" y="8102"/>
                      <a:pt x="4805" y="8129"/>
                    </a:cubicBezTo>
                    <a:close/>
                    <a:moveTo>
                      <a:pt x="6394" y="8006"/>
                    </a:moveTo>
                    <a:cubicBezTo>
                      <a:pt x="6398" y="7990"/>
                      <a:pt x="6402" y="7974"/>
                      <a:pt x="6407" y="7957"/>
                    </a:cubicBezTo>
                    <a:cubicBezTo>
                      <a:pt x="6414" y="7930"/>
                      <a:pt x="6423" y="7902"/>
                      <a:pt x="6432" y="7873"/>
                    </a:cubicBezTo>
                    <a:cubicBezTo>
                      <a:pt x="6333" y="7819"/>
                      <a:pt x="6333" y="7819"/>
                      <a:pt x="6333" y="7819"/>
                    </a:cubicBezTo>
                    <a:cubicBezTo>
                      <a:pt x="6332" y="7836"/>
                      <a:pt x="6329" y="7870"/>
                      <a:pt x="6325" y="7904"/>
                    </a:cubicBezTo>
                    <a:cubicBezTo>
                      <a:pt x="6322" y="7928"/>
                      <a:pt x="6319" y="7952"/>
                      <a:pt x="6316" y="7970"/>
                    </a:cubicBezTo>
                    <a:cubicBezTo>
                      <a:pt x="6314" y="7979"/>
                      <a:pt x="6313" y="7987"/>
                      <a:pt x="6311" y="7992"/>
                    </a:cubicBezTo>
                    <a:cubicBezTo>
                      <a:pt x="6310" y="7995"/>
                      <a:pt x="6309" y="7998"/>
                      <a:pt x="6308" y="8000"/>
                    </a:cubicBezTo>
                    <a:cubicBezTo>
                      <a:pt x="6338" y="8002"/>
                      <a:pt x="6367" y="8004"/>
                      <a:pt x="6394" y="8006"/>
                    </a:cubicBezTo>
                    <a:close/>
                    <a:moveTo>
                      <a:pt x="6437" y="7860"/>
                    </a:moveTo>
                    <a:cubicBezTo>
                      <a:pt x="6451" y="7820"/>
                      <a:pt x="6470" y="7780"/>
                      <a:pt x="6494" y="7742"/>
                    </a:cubicBezTo>
                    <a:cubicBezTo>
                      <a:pt x="6399" y="7672"/>
                      <a:pt x="6399" y="7672"/>
                      <a:pt x="6399" y="7672"/>
                    </a:cubicBezTo>
                    <a:cubicBezTo>
                      <a:pt x="6385" y="7742"/>
                      <a:pt x="6385" y="7742"/>
                      <a:pt x="6385" y="7742"/>
                    </a:cubicBezTo>
                    <a:cubicBezTo>
                      <a:pt x="6379" y="7740"/>
                      <a:pt x="6379" y="7740"/>
                      <a:pt x="6379" y="7740"/>
                    </a:cubicBezTo>
                    <a:cubicBezTo>
                      <a:pt x="6237" y="7713"/>
                      <a:pt x="6237" y="7713"/>
                      <a:pt x="6237" y="7713"/>
                    </a:cubicBezTo>
                    <a:cubicBezTo>
                      <a:pt x="6251" y="7639"/>
                      <a:pt x="6251" y="7639"/>
                      <a:pt x="6251" y="7639"/>
                    </a:cubicBezTo>
                    <a:cubicBezTo>
                      <a:pt x="6390" y="7665"/>
                      <a:pt x="6390" y="7665"/>
                      <a:pt x="6390" y="7665"/>
                    </a:cubicBezTo>
                    <a:cubicBezTo>
                      <a:pt x="6256" y="7567"/>
                      <a:pt x="6256" y="7567"/>
                      <a:pt x="6256" y="7567"/>
                    </a:cubicBezTo>
                    <a:cubicBezTo>
                      <a:pt x="6201" y="7629"/>
                      <a:pt x="6201" y="7629"/>
                      <a:pt x="6201" y="7629"/>
                    </a:cubicBezTo>
                    <a:cubicBezTo>
                      <a:pt x="6192" y="7727"/>
                      <a:pt x="6192" y="7727"/>
                      <a:pt x="6192" y="7727"/>
                    </a:cubicBezTo>
                    <a:lnTo>
                      <a:pt x="6437" y="7860"/>
                    </a:lnTo>
                    <a:close/>
                    <a:moveTo>
                      <a:pt x="6261" y="7654"/>
                    </a:moveTo>
                    <a:cubicBezTo>
                      <a:pt x="6252" y="7703"/>
                      <a:pt x="6252" y="7703"/>
                      <a:pt x="6252" y="7703"/>
                    </a:cubicBezTo>
                    <a:cubicBezTo>
                      <a:pt x="6375" y="7726"/>
                      <a:pt x="6375" y="7726"/>
                      <a:pt x="6375" y="7726"/>
                    </a:cubicBezTo>
                    <a:cubicBezTo>
                      <a:pt x="6384" y="7678"/>
                      <a:pt x="6384" y="7678"/>
                      <a:pt x="6384" y="7678"/>
                    </a:cubicBezTo>
                    <a:lnTo>
                      <a:pt x="6261" y="7654"/>
                    </a:lnTo>
                    <a:close/>
                    <a:moveTo>
                      <a:pt x="8264" y="6412"/>
                    </a:moveTo>
                    <a:cubicBezTo>
                      <a:pt x="8294" y="6415"/>
                      <a:pt x="8323" y="6419"/>
                      <a:pt x="8351" y="6422"/>
                    </a:cubicBezTo>
                    <a:cubicBezTo>
                      <a:pt x="8363" y="6423"/>
                      <a:pt x="8375" y="6425"/>
                      <a:pt x="8387" y="6426"/>
                    </a:cubicBezTo>
                    <a:cubicBezTo>
                      <a:pt x="8370" y="6065"/>
                      <a:pt x="8270" y="5586"/>
                      <a:pt x="8093" y="5186"/>
                    </a:cubicBezTo>
                    <a:cubicBezTo>
                      <a:pt x="8061" y="5112"/>
                      <a:pt x="8021" y="5041"/>
                      <a:pt x="7977" y="4972"/>
                    </a:cubicBezTo>
                    <a:cubicBezTo>
                      <a:pt x="7826" y="4965"/>
                      <a:pt x="7826" y="4965"/>
                      <a:pt x="7826" y="4965"/>
                    </a:cubicBezTo>
                    <a:cubicBezTo>
                      <a:pt x="7886" y="5053"/>
                      <a:pt x="7940" y="5143"/>
                      <a:pt x="7981" y="5236"/>
                    </a:cubicBezTo>
                    <a:cubicBezTo>
                      <a:pt x="8147" y="5610"/>
                      <a:pt x="8244" y="6070"/>
                      <a:pt x="8264" y="6412"/>
                    </a:cubicBezTo>
                    <a:close/>
                    <a:moveTo>
                      <a:pt x="6164" y="4892"/>
                    </a:moveTo>
                    <a:cubicBezTo>
                      <a:pt x="6049" y="5582"/>
                      <a:pt x="6049" y="5582"/>
                      <a:pt x="6049" y="5582"/>
                    </a:cubicBezTo>
                    <a:cubicBezTo>
                      <a:pt x="7234" y="5708"/>
                      <a:pt x="7234" y="5708"/>
                      <a:pt x="7234" y="5708"/>
                    </a:cubicBezTo>
                    <a:cubicBezTo>
                      <a:pt x="7233" y="5714"/>
                      <a:pt x="7233" y="5714"/>
                      <a:pt x="7233" y="5714"/>
                    </a:cubicBezTo>
                    <a:cubicBezTo>
                      <a:pt x="7233" y="5714"/>
                      <a:pt x="7221" y="5860"/>
                      <a:pt x="7208" y="6005"/>
                    </a:cubicBezTo>
                    <a:cubicBezTo>
                      <a:pt x="7202" y="6078"/>
                      <a:pt x="7195" y="6151"/>
                      <a:pt x="7189" y="6205"/>
                    </a:cubicBezTo>
                    <a:cubicBezTo>
                      <a:pt x="7187" y="6233"/>
                      <a:pt x="7184" y="6256"/>
                      <a:pt x="7182" y="6272"/>
                    </a:cubicBezTo>
                    <a:cubicBezTo>
                      <a:pt x="7181" y="6280"/>
                      <a:pt x="7180" y="6286"/>
                      <a:pt x="7180" y="6290"/>
                    </a:cubicBezTo>
                    <a:cubicBezTo>
                      <a:pt x="7247" y="6298"/>
                      <a:pt x="7556" y="6332"/>
                      <a:pt x="7866" y="6367"/>
                    </a:cubicBezTo>
                    <a:cubicBezTo>
                      <a:pt x="7999" y="6382"/>
                      <a:pt x="8133" y="6397"/>
                      <a:pt x="8247" y="6410"/>
                    </a:cubicBezTo>
                    <a:cubicBezTo>
                      <a:pt x="8228" y="6071"/>
                      <a:pt x="8131" y="5614"/>
                      <a:pt x="7966" y="5243"/>
                    </a:cubicBezTo>
                    <a:cubicBezTo>
                      <a:pt x="7924" y="5147"/>
                      <a:pt x="7868" y="5054"/>
                      <a:pt x="7805" y="4964"/>
                    </a:cubicBezTo>
                    <a:lnTo>
                      <a:pt x="6164" y="4892"/>
                    </a:lnTo>
                    <a:close/>
                    <a:moveTo>
                      <a:pt x="6058" y="5124"/>
                    </a:moveTo>
                    <a:cubicBezTo>
                      <a:pt x="5437" y="5227"/>
                      <a:pt x="5437" y="5227"/>
                      <a:pt x="5437" y="5227"/>
                    </a:cubicBezTo>
                    <a:cubicBezTo>
                      <a:pt x="5386" y="5662"/>
                      <a:pt x="5386" y="5662"/>
                      <a:pt x="5386" y="5662"/>
                    </a:cubicBezTo>
                    <a:cubicBezTo>
                      <a:pt x="5706" y="5702"/>
                      <a:pt x="5706" y="5702"/>
                      <a:pt x="5706" y="5702"/>
                    </a:cubicBezTo>
                    <a:cubicBezTo>
                      <a:pt x="5657" y="5640"/>
                      <a:pt x="5657" y="5640"/>
                      <a:pt x="5657" y="5640"/>
                    </a:cubicBezTo>
                    <a:cubicBezTo>
                      <a:pt x="5790" y="5522"/>
                      <a:pt x="5790" y="5522"/>
                      <a:pt x="5790" y="5522"/>
                    </a:cubicBezTo>
                    <a:cubicBezTo>
                      <a:pt x="5898" y="5652"/>
                      <a:pt x="5898" y="5652"/>
                      <a:pt x="5898" y="5652"/>
                    </a:cubicBezTo>
                    <a:cubicBezTo>
                      <a:pt x="5825" y="5716"/>
                      <a:pt x="5825" y="5716"/>
                      <a:pt x="5825" y="5716"/>
                    </a:cubicBezTo>
                    <a:cubicBezTo>
                      <a:pt x="5957" y="5733"/>
                      <a:pt x="5957" y="5733"/>
                      <a:pt x="5957" y="5733"/>
                    </a:cubicBezTo>
                    <a:lnTo>
                      <a:pt x="6058" y="5124"/>
                    </a:lnTo>
                    <a:close/>
                    <a:moveTo>
                      <a:pt x="5424" y="5215"/>
                    </a:moveTo>
                    <a:cubicBezTo>
                      <a:pt x="5406" y="4671"/>
                      <a:pt x="5406" y="4671"/>
                      <a:pt x="5406" y="4671"/>
                    </a:cubicBezTo>
                    <a:cubicBezTo>
                      <a:pt x="5366" y="4659"/>
                      <a:pt x="5085" y="4570"/>
                      <a:pt x="5041" y="4556"/>
                    </a:cubicBezTo>
                    <a:cubicBezTo>
                      <a:pt x="4899" y="4821"/>
                      <a:pt x="4899" y="4821"/>
                      <a:pt x="4899" y="4821"/>
                    </a:cubicBezTo>
                    <a:cubicBezTo>
                      <a:pt x="4671" y="4994"/>
                      <a:pt x="4671" y="4994"/>
                      <a:pt x="4671" y="4994"/>
                    </a:cubicBezTo>
                    <a:cubicBezTo>
                      <a:pt x="4737" y="5039"/>
                      <a:pt x="4780" y="5104"/>
                      <a:pt x="4806" y="5170"/>
                    </a:cubicBezTo>
                    <a:cubicBezTo>
                      <a:pt x="4825" y="5219"/>
                      <a:pt x="4836" y="5269"/>
                      <a:pt x="4842" y="5316"/>
                    </a:cubicBezTo>
                    <a:lnTo>
                      <a:pt x="5424" y="5215"/>
                    </a:lnTo>
                    <a:close/>
                    <a:moveTo>
                      <a:pt x="5029" y="4550"/>
                    </a:moveTo>
                    <a:cubicBezTo>
                      <a:pt x="5028" y="4550"/>
                      <a:pt x="5028" y="4549"/>
                      <a:pt x="5028" y="4549"/>
                    </a:cubicBezTo>
                    <a:cubicBezTo>
                      <a:pt x="4983" y="4513"/>
                      <a:pt x="4705" y="4266"/>
                      <a:pt x="4659" y="4226"/>
                    </a:cubicBezTo>
                    <a:cubicBezTo>
                      <a:pt x="4341" y="4876"/>
                      <a:pt x="4341" y="4876"/>
                      <a:pt x="4341" y="4876"/>
                    </a:cubicBezTo>
                    <a:cubicBezTo>
                      <a:pt x="4424" y="4900"/>
                      <a:pt x="4505" y="4924"/>
                      <a:pt x="4582" y="4949"/>
                    </a:cubicBezTo>
                    <a:cubicBezTo>
                      <a:pt x="4610" y="4958"/>
                      <a:pt x="4636" y="4971"/>
                      <a:pt x="4659" y="4985"/>
                    </a:cubicBezTo>
                    <a:cubicBezTo>
                      <a:pt x="4888" y="4812"/>
                      <a:pt x="4888" y="4812"/>
                      <a:pt x="4888" y="4812"/>
                    </a:cubicBezTo>
                    <a:lnTo>
                      <a:pt x="5029" y="4550"/>
                    </a:lnTo>
                    <a:close/>
                    <a:moveTo>
                      <a:pt x="4133" y="4487"/>
                    </a:moveTo>
                    <a:cubicBezTo>
                      <a:pt x="4106" y="4611"/>
                      <a:pt x="4059" y="4740"/>
                      <a:pt x="4038" y="4794"/>
                    </a:cubicBezTo>
                    <a:cubicBezTo>
                      <a:pt x="4133" y="4818"/>
                      <a:pt x="4231" y="4845"/>
                      <a:pt x="4327" y="4872"/>
                    </a:cubicBezTo>
                    <a:cubicBezTo>
                      <a:pt x="4484" y="4552"/>
                      <a:pt x="4484" y="4552"/>
                      <a:pt x="4484" y="4552"/>
                    </a:cubicBezTo>
                    <a:cubicBezTo>
                      <a:pt x="4466" y="4551"/>
                      <a:pt x="4300" y="4519"/>
                      <a:pt x="4133" y="4487"/>
                    </a:cubicBezTo>
                    <a:close/>
                    <a:moveTo>
                      <a:pt x="4088" y="4235"/>
                    </a:moveTo>
                    <a:cubicBezTo>
                      <a:pt x="4088" y="4189"/>
                      <a:pt x="4087" y="4143"/>
                      <a:pt x="4085" y="4100"/>
                    </a:cubicBezTo>
                    <a:cubicBezTo>
                      <a:pt x="3790" y="4070"/>
                      <a:pt x="3790" y="4070"/>
                      <a:pt x="3790" y="4070"/>
                    </a:cubicBezTo>
                    <a:cubicBezTo>
                      <a:pt x="3783" y="4405"/>
                      <a:pt x="3783" y="4405"/>
                      <a:pt x="3783" y="4405"/>
                    </a:cubicBezTo>
                    <a:cubicBezTo>
                      <a:pt x="3795" y="4408"/>
                      <a:pt x="3925" y="4433"/>
                      <a:pt x="4071" y="4461"/>
                    </a:cubicBezTo>
                    <a:cubicBezTo>
                      <a:pt x="4072" y="4455"/>
                      <a:pt x="4074" y="4450"/>
                      <a:pt x="4075" y="4444"/>
                    </a:cubicBezTo>
                    <a:cubicBezTo>
                      <a:pt x="4084" y="4392"/>
                      <a:pt x="4088" y="4314"/>
                      <a:pt x="4088" y="4235"/>
                    </a:cubicBezTo>
                    <a:close/>
                    <a:moveTo>
                      <a:pt x="3783" y="4420"/>
                    </a:moveTo>
                    <a:cubicBezTo>
                      <a:pt x="3776" y="4732"/>
                      <a:pt x="3776" y="4732"/>
                      <a:pt x="3776" y="4732"/>
                    </a:cubicBezTo>
                    <a:cubicBezTo>
                      <a:pt x="3838" y="4746"/>
                      <a:pt x="3905" y="4761"/>
                      <a:pt x="3974" y="4778"/>
                    </a:cubicBezTo>
                    <a:cubicBezTo>
                      <a:pt x="3982" y="4759"/>
                      <a:pt x="3995" y="4724"/>
                      <a:pt x="4010" y="4681"/>
                    </a:cubicBezTo>
                    <a:cubicBezTo>
                      <a:pt x="4030" y="4622"/>
                      <a:pt x="4053" y="4547"/>
                      <a:pt x="4068" y="4475"/>
                    </a:cubicBezTo>
                    <a:cubicBezTo>
                      <a:pt x="3929" y="4448"/>
                      <a:pt x="3805" y="4424"/>
                      <a:pt x="3783" y="4420"/>
                    </a:cubicBezTo>
                    <a:close/>
                    <a:moveTo>
                      <a:pt x="3776" y="4069"/>
                    </a:moveTo>
                    <a:cubicBezTo>
                      <a:pt x="3710" y="4062"/>
                      <a:pt x="3710" y="4062"/>
                      <a:pt x="3710" y="4062"/>
                    </a:cubicBezTo>
                    <a:cubicBezTo>
                      <a:pt x="3113" y="4135"/>
                      <a:pt x="3113" y="4135"/>
                      <a:pt x="3113" y="4135"/>
                    </a:cubicBezTo>
                    <a:cubicBezTo>
                      <a:pt x="3270" y="4645"/>
                      <a:pt x="3270" y="4645"/>
                      <a:pt x="3270" y="4645"/>
                    </a:cubicBezTo>
                    <a:cubicBezTo>
                      <a:pt x="3275" y="4645"/>
                      <a:pt x="3280" y="4644"/>
                      <a:pt x="3285" y="4644"/>
                    </a:cubicBezTo>
                    <a:cubicBezTo>
                      <a:pt x="3353" y="4645"/>
                      <a:pt x="3427" y="4660"/>
                      <a:pt x="3523" y="4681"/>
                    </a:cubicBezTo>
                    <a:cubicBezTo>
                      <a:pt x="3520" y="4650"/>
                      <a:pt x="3520" y="4650"/>
                      <a:pt x="3520" y="4650"/>
                    </a:cubicBezTo>
                    <a:cubicBezTo>
                      <a:pt x="3415" y="4630"/>
                      <a:pt x="3415" y="4630"/>
                      <a:pt x="3415" y="4630"/>
                    </a:cubicBezTo>
                    <a:cubicBezTo>
                      <a:pt x="3416" y="4623"/>
                      <a:pt x="3416" y="4623"/>
                      <a:pt x="3416" y="4623"/>
                    </a:cubicBezTo>
                    <a:cubicBezTo>
                      <a:pt x="3431" y="4545"/>
                      <a:pt x="3431" y="4545"/>
                      <a:pt x="3431" y="4545"/>
                    </a:cubicBezTo>
                    <a:cubicBezTo>
                      <a:pt x="3477" y="4554"/>
                      <a:pt x="3477" y="4554"/>
                      <a:pt x="3477" y="4554"/>
                    </a:cubicBezTo>
                    <a:cubicBezTo>
                      <a:pt x="3485" y="4512"/>
                      <a:pt x="3485" y="4512"/>
                      <a:pt x="3485" y="4512"/>
                    </a:cubicBezTo>
                    <a:cubicBezTo>
                      <a:pt x="3507" y="4516"/>
                      <a:pt x="3507" y="4516"/>
                      <a:pt x="3507" y="4516"/>
                    </a:cubicBezTo>
                    <a:cubicBezTo>
                      <a:pt x="3467" y="4094"/>
                      <a:pt x="3467" y="4094"/>
                      <a:pt x="3467" y="4094"/>
                    </a:cubicBezTo>
                    <a:cubicBezTo>
                      <a:pt x="3480" y="4093"/>
                      <a:pt x="3480" y="4093"/>
                      <a:pt x="3480" y="4093"/>
                    </a:cubicBezTo>
                    <a:cubicBezTo>
                      <a:pt x="3522" y="4519"/>
                      <a:pt x="3522" y="4519"/>
                      <a:pt x="3522" y="4519"/>
                    </a:cubicBezTo>
                    <a:cubicBezTo>
                      <a:pt x="3600" y="4534"/>
                      <a:pt x="3600" y="4534"/>
                      <a:pt x="3600" y="4534"/>
                    </a:cubicBezTo>
                    <a:cubicBezTo>
                      <a:pt x="3592" y="4576"/>
                      <a:pt x="3592" y="4576"/>
                      <a:pt x="3592" y="4576"/>
                    </a:cubicBezTo>
                    <a:cubicBezTo>
                      <a:pt x="3638" y="4585"/>
                      <a:pt x="3638" y="4585"/>
                      <a:pt x="3638" y="4585"/>
                    </a:cubicBezTo>
                    <a:cubicBezTo>
                      <a:pt x="3622" y="4669"/>
                      <a:pt x="3622" y="4669"/>
                      <a:pt x="3622" y="4669"/>
                    </a:cubicBezTo>
                    <a:cubicBezTo>
                      <a:pt x="3535" y="4653"/>
                      <a:pt x="3535" y="4653"/>
                      <a:pt x="3535" y="4653"/>
                    </a:cubicBezTo>
                    <a:cubicBezTo>
                      <a:pt x="3538" y="4684"/>
                      <a:pt x="3538" y="4684"/>
                      <a:pt x="3538" y="4684"/>
                    </a:cubicBezTo>
                    <a:cubicBezTo>
                      <a:pt x="3573" y="4691"/>
                      <a:pt x="3611" y="4699"/>
                      <a:pt x="3653" y="4707"/>
                    </a:cubicBezTo>
                    <a:cubicBezTo>
                      <a:pt x="3687" y="4714"/>
                      <a:pt x="3724" y="4721"/>
                      <a:pt x="3762" y="4729"/>
                    </a:cubicBezTo>
                    <a:lnTo>
                      <a:pt x="3776" y="4069"/>
                    </a:lnTo>
                    <a:close/>
                    <a:moveTo>
                      <a:pt x="3509" y="4529"/>
                    </a:moveTo>
                    <a:cubicBezTo>
                      <a:pt x="3496" y="4527"/>
                      <a:pt x="3496" y="4527"/>
                      <a:pt x="3496" y="4527"/>
                    </a:cubicBezTo>
                    <a:cubicBezTo>
                      <a:pt x="3488" y="4569"/>
                      <a:pt x="3488" y="4569"/>
                      <a:pt x="3488" y="4569"/>
                    </a:cubicBezTo>
                    <a:cubicBezTo>
                      <a:pt x="3442" y="4560"/>
                      <a:pt x="3442" y="4560"/>
                      <a:pt x="3442" y="4560"/>
                    </a:cubicBezTo>
                    <a:cubicBezTo>
                      <a:pt x="3430" y="4619"/>
                      <a:pt x="3430" y="4619"/>
                      <a:pt x="3430" y="4619"/>
                    </a:cubicBezTo>
                    <a:cubicBezTo>
                      <a:pt x="3519" y="4636"/>
                      <a:pt x="3519" y="4636"/>
                      <a:pt x="3519" y="4636"/>
                    </a:cubicBezTo>
                    <a:lnTo>
                      <a:pt x="3509" y="4529"/>
                    </a:lnTo>
                    <a:close/>
                    <a:moveTo>
                      <a:pt x="3099" y="4136"/>
                    </a:moveTo>
                    <a:cubicBezTo>
                      <a:pt x="2657" y="4190"/>
                      <a:pt x="2657" y="4190"/>
                      <a:pt x="2657" y="4190"/>
                    </a:cubicBezTo>
                    <a:cubicBezTo>
                      <a:pt x="2979" y="4604"/>
                      <a:pt x="2979" y="4604"/>
                      <a:pt x="2979" y="4604"/>
                    </a:cubicBezTo>
                    <a:cubicBezTo>
                      <a:pt x="3018" y="4578"/>
                      <a:pt x="3018" y="4578"/>
                      <a:pt x="3018" y="4578"/>
                    </a:cubicBezTo>
                    <a:cubicBezTo>
                      <a:pt x="3042" y="4613"/>
                      <a:pt x="3042" y="4613"/>
                      <a:pt x="3042" y="4613"/>
                    </a:cubicBezTo>
                    <a:cubicBezTo>
                      <a:pt x="3081" y="4587"/>
                      <a:pt x="3081" y="4587"/>
                      <a:pt x="3081" y="4587"/>
                    </a:cubicBezTo>
                    <a:cubicBezTo>
                      <a:pt x="3130" y="4658"/>
                      <a:pt x="3130" y="4658"/>
                      <a:pt x="3130" y="4658"/>
                    </a:cubicBezTo>
                    <a:cubicBezTo>
                      <a:pt x="3059" y="4707"/>
                      <a:pt x="3059" y="4707"/>
                      <a:pt x="3059" y="4707"/>
                    </a:cubicBezTo>
                    <a:cubicBezTo>
                      <a:pt x="3070" y="4721"/>
                      <a:pt x="3070" y="4721"/>
                      <a:pt x="3070" y="4721"/>
                    </a:cubicBezTo>
                    <a:cubicBezTo>
                      <a:pt x="3092" y="4704"/>
                      <a:pt x="3116" y="4689"/>
                      <a:pt x="3146" y="4675"/>
                    </a:cubicBezTo>
                    <a:cubicBezTo>
                      <a:pt x="3181" y="4657"/>
                      <a:pt x="3218" y="4649"/>
                      <a:pt x="3255" y="4646"/>
                    </a:cubicBezTo>
                    <a:lnTo>
                      <a:pt x="3099" y="4136"/>
                    </a:lnTo>
                    <a:close/>
                    <a:moveTo>
                      <a:pt x="2644" y="4196"/>
                    </a:moveTo>
                    <a:cubicBezTo>
                      <a:pt x="2219" y="4677"/>
                      <a:pt x="2219" y="4677"/>
                      <a:pt x="2219" y="4677"/>
                    </a:cubicBezTo>
                    <a:cubicBezTo>
                      <a:pt x="2456" y="4850"/>
                      <a:pt x="2456" y="4850"/>
                      <a:pt x="2456" y="4850"/>
                    </a:cubicBezTo>
                    <a:cubicBezTo>
                      <a:pt x="2499" y="4863"/>
                      <a:pt x="2499" y="4863"/>
                      <a:pt x="2499" y="4863"/>
                    </a:cubicBezTo>
                    <a:cubicBezTo>
                      <a:pt x="2510" y="4852"/>
                      <a:pt x="2530" y="4830"/>
                      <a:pt x="2554" y="4803"/>
                    </a:cubicBezTo>
                    <a:cubicBezTo>
                      <a:pt x="2653" y="4691"/>
                      <a:pt x="2830" y="4483"/>
                      <a:pt x="2849" y="4460"/>
                    </a:cubicBezTo>
                    <a:lnTo>
                      <a:pt x="2644" y="4196"/>
                    </a:lnTo>
                    <a:close/>
                    <a:moveTo>
                      <a:pt x="2326" y="5152"/>
                    </a:moveTo>
                    <a:cubicBezTo>
                      <a:pt x="2331" y="5154"/>
                      <a:pt x="2331" y="5154"/>
                      <a:pt x="2331" y="5154"/>
                    </a:cubicBezTo>
                    <a:cubicBezTo>
                      <a:pt x="2348" y="5120"/>
                      <a:pt x="2348" y="5120"/>
                      <a:pt x="2348" y="5120"/>
                    </a:cubicBezTo>
                    <a:cubicBezTo>
                      <a:pt x="2467" y="5179"/>
                      <a:pt x="2467" y="5179"/>
                      <a:pt x="2467" y="5179"/>
                    </a:cubicBezTo>
                    <a:cubicBezTo>
                      <a:pt x="2464" y="5184"/>
                      <a:pt x="2464" y="5184"/>
                      <a:pt x="2464" y="5184"/>
                    </a:cubicBezTo>
                    <a:cubicBezTo>
                      <a:pt x="2451" y="5211"/>
                      <a:pt x="2451" y="5211"/>
                      <a:pt x="2451" y="5211"/>
                    </a:cubicBezTo>
                    <a:cubicBezTo>
                      <a:pt x="2699" y="5329"/>
                      <a:pt x="2699" y="5329"/>
                      <a:pt x="2699" y="5329"/>
                    </a:cubicBezTo>
                    <a:cubicBezTo>
                      <a:pt x="2723" y="5275"/>
                      <a:pt x="2746" y="5224"/>
                      <a:pt x="2766" y="5179"/>
                    </a:cubicBezTo>
                    <a:cubicBezTo>
                      <a:pt x="2545" y="5084"/>
                      <a:pt x="2545" y="5084"/>
                      <a:pt x="2545" y="5084"/>
                    </a:cubicBezTo>
                    <a:cubicBezTo>
                      <a:pt x="2514" y="5141"/>
                      <a:pt x="2514" y="5141"/>
                      <a:pt x="2514" y="5141"/>
                    </a:cubicBezTo>
                    <a:cubicBezTo>
                      <a:pt x="2396" y="5083"/>
                      <a:pt x="2396" y="5083"/>
                      <a:pt x="2396" y="5083"/>
                    </a:cubicBezTo>
                    <a:cubicBezTo>
                      <a:pt x="2424" y="5031"/>
                      <a:pt x="2424" y="5031"/>
                      <a:pt x="2424" y="5031"/>
                    </a:cubicBezTo>
                    <a:cubicBezTo>
                      <a:pt x="2400" y="5021"/>
                      <a:pt x="2400" y="5021"/>
                      <a:pt x="2400" y="5021"/>
                    </a:cubicBezTo>
                    <a:lnTo>
                      <a:pt x="2326" y="5152"/>
                    </a:lnTo>
                    <a:close/>
                    <a:moveTo>
                      <a:pt x="2293" y="5259"/>
                    </a:moveTo>
                    <a:cubicBezTo>
                      <a:pt x="2318" y="5273"/>
                      <a:pt x="2350" y="5291"/>
                      <a:pt x="2386" y="5310"/>
                    </a:cubicBezTo>
                    <a:cubicBezTo>
                      <a:pt x="2433" y="5218"/>
                      <a:pt x="2433" y="5218"/>
                      <a:pt x="2433" y="5218"/>
                    </a:cubicBezTo>
                    <a:cubicBezTo>
                      <a:pt x="2336" y="5172"/>
                      <a:pt x="2336" y="5172"/>
                      <a:pt x="2336" y="5172"/>
                    </a:cubicBezTo>
                    <a:lnTo>
                      <a:pt x="2293" y="5259"/>
                    </a:lnTo>
                    <a:close/>
                    <a:moveTo>
                      <a:pt x="2325" y="5167"/>
                    </a:moveTo>
                    <a:cubicBezTo>
                      <a:pt x="2320" y="5164"/>
                      <a:pt x="2320" y="5164"/>
                      <a:pt x="2320" y="5164"/>
                    </a:cubicBezTo>
                    <a:cubicBezTo>
                      <a:pt x="2273" y="5247"/>
                      <a:pt x="2273" y="5247"/>
                      <a:pt x="2273" y="5247"/>
                    </a:cubicBezTo>
                    <a:cubicBezTo>
                      <a:pt x="2276" y="5249"/>
                      <a:pt x="2279" y="5251"/>
                      <a:pt x="2282" y="5252"/>
                    </a:cubicBezTo>
                    <a:lnTo>
                      <a:pt x="2325" y="5167"/>
                    </a:lnTo>
                    <a:close/>
                    <a:moveTo>
                      <a:pt x="2266" y="5260"/>
                    </a:moveTo>
                    <a:cubicBezTo>
                      <a:pt x="2216" y="5349"/>
                      <a:pt x="2216" y="5349"/>
                      <a:pt x="2216" y="5349"/>
                    </a:cubicBezTo>
                    <a:cubicBezTo>
                      <a:pt x="2229" y="5358"/>
                      <a:pt x="2229" y="5358"/>
                      <a:pt x="2229" y="5358"/>
                    </a:cubicBezTo>
                    <a:cubicBezTo>
                      <a:pt x="2276" y="5265"/>
                      <a:pt x="2276" y="5265"/>
                      <a:pt x="2276" y="5265"/>
                    </a:cubicBezTo>
                    <a:cubicBezTo>
                      <a:pt x="2272" y="5263"/>
                      <a:pt x="2269" y="5261"/>
                      <a:pt x="2266" y="5260"/>
                    </a:cubicBezTo>
                    <a:close/>
                    <a:moveTo>
                      <a:pt x="2265" y="5127"/>
                    </a:moveTo>
                    <a:cubicBezTo>
                      <a:pt x="2218" y="5100"/>
                      <a:pt x="2218" y="5100"/>
                      <a:pt x="2218" y="5100"/>
                    </a:cubicBezTo>
                    <a:cubicBezTo>
                      <a:pt x="2164" y="5195"/>
                      <a:pt x="2164" y="5195"/>
                      <a:pt x="2164" y="5195"/>
                    </a:cubicBezTo>
                    <a:cubicBezTo>
                      <a:pt x="2212" y="5222"/>
                      <a:pt x="2212" y="5222"/>
                      <a:pt x="2212" y="5222"/>
                    </a:cubicBezTo>
                    <a:lnTo>
                      <a:pt x="2265" y="5127"/>
                    </a:lnTo>
                    <a:close/>
                    <a:moveTo>
                      <a:pt x="2266" y="4990"/>
                    </a:moveTo>
                    <a:cubicBezTo>
                      <a:pt x="2151" y="4925"/>
                      <a:pt x="2151" y="4925"/>
                      <a:pt x="2151" y="4925"/>
                    </a:cubicBezTo>
                    <a:cubicBezTo>
                      <a:pt x="2099" y="5017"/>
                      <a:pt x="2099" y="5017"/>
                      <a:pt x="2099" y="5017"/>
                    </a:cubicBezTo>
                    <a:cubicBezTo>
                      <a:pt x="2213" y="5082"/>
                      <a:pt x="2213" y="5082"/>
                      <a:pt x="2213" y="5082"/>
                    </a:cubicBezTo>
                    <a:lnTo>
                      <a:pt x="2266" y="4990"/>
                    </a:lnTo>
                    <a:close/>
                    <a:moveTo>
                      <a:pt x="2092" y="5029"/>
                    </a:moveTo>
                    <a:cubicBezTo>
                      <a:pt x="2039" y="5123"/>
                      <a:pt x="2039" y="5123"/>
                      <a:pt x="2039" y="5123"/>
                    </a:cubicBezTo>
                    <a:cubicBezTo>
                      <a:pt x="2153" y="5188"/>
                      <a:pt x="2153" y="5188"/>
                      <a:pt x="2153" y="5188"/>
                    </a:cubicBezTo>
                    <a:cubicBezTo>
                      <a:pt x="2206" y="5094"/>
                      <a:pt x="2206" y="5094"/>
                      <a:pt x="2206" y="5094"/>
                    </a:cubicBezTo>
                    <a:lnTo>
                      <a:pt x="2092" y="5029"/>
                    </a:lnTo>
                    <a:close/>
                    <a:moveTo>
                      <a:pt x="2032" y="5135"/>
                    </a:moveTo>
                    <a:cubicBezTo>
                      <a:pt x="1983" y="5222"/>
                      <a:pt x="1983" y="5222"/>
                      <a:pt x="1983" y="5222"/>
                    </a:cubicBezTo>
                    <a:cubicBezTo>
                      <a:pt x="2097" y="5287"/>
                      <a:pt x="2097" y="5287"/>
                      <a:pt x="2097" y="5287"/>
                    </a:cubicBezTo>
                    <a:cubicBezTo>
                      <a:pt x="2146" y="5200"/>
                      <a:pt x="2146" y="5200"/>
                      <a:pt x="2146" y="5200"/>
                    </a:cubicBezTo>
                    <a:lnTo>
                      <a:pt x="2032" y="5135"/>
                    </a:lnTo>
                    <a:close/>
                    <a:moveTo>
                      <a:pt x="2021" y="5129"/>
                    </a:moveTo>
                    <a:cubicBezTo>
                      <a:pt x="1665" y="4926"/>
                      <a:pt x="1665" y="4926"/>
                      <a:pt x="1665" y="4926"/>
                    </a:cubicBezTo>
                    <a:cubicBezTo>
                      <a:pt x="1592" y="4999"/>
                      <a:pt x="1592" y="4999"/>
                      <a:pt x="1592" y="4999"/>
                    </a:cubicBezTo>
                    <a:cubicBezTo>
                      <a:pt x="1971" y="5215"/>
                      <a:pt x="1971" y="5215"/>
                      <a:pt x="1971" y="5215"/>
                    </a:cubicBezTo>
                    <a:lnTo>
                      <a:pt x="2021" y="5129"/>
                    </a:lnTo>
                    <a:close/>
                    <a:moveTo>
                      <a:pt x="1652" y="4919"/>
                    </a:moveTo>
                    <a:cubicBezTo>
                      <a:pt x="1279" y="4706"/>
                      <a:pt x="1279" y="4706"/>
                      <a:pt x="1279" y="4706"/>
                    </a:cubicBezTo>
                    <a:cubicBezTo>
                      <a:pt x="1231" y="4793"/>
                      <a:pt x="1231" y="4793"/>
                      <a:pt x="1231" y="4793"/>
                    </a:cubicBezTo>
                    <a:cubicBezTo>
                      <a:pt x="1579" y="4992"/>
                      <a:pt x="1579" y="4992"/>
                      <a:pt x="1579" y="4992"/>
                    </a:cubicBezTo>
                    <a:lnTo>
                      <a:pt x="1652" y="4919"/>
                    </a:lnTo>
                    <a:close/>
                    <a:moveTo>
                      <a:pt x="1225" y="4805"/>
                    </a:moveTo>
                    <a:cubicBezTo>
                      <a:pt x="1174" y="4898"/>
                      <a:pt x="1174" y="4898"/>
                      <a:pt x="1174" y="4898"/>
                    </a:cubicBezTo>
                    <a:cubicBezTo>
                      <a:pt x="1537" y="5106"/>
                      <a:pt x="1537" y="5106"/>
                      <a:pt x="1537" y="5106"/>
                    </a:cubicBezTo>
                    <a:cubicBezTo>
                      <a:pt x="1573" y="5004"/>
                      <a:pt x="1573" y="5004"/>
                      <a:pt x="1573" y="5004"/>
                    </a:cubicBezTo>
                    <a:lnTo>
                      <a:pt x="1225" y="4805"/>
                    </a:lnTo>
                    <a:close/>
                    <a:moveTo>
                      <a:pt x="1168" y="4911"/>
                    </a:moveTo>
                    <a:cubicBezTo>
                      <a:pt x="1109" y="5018"/>
                      <a:pt x="1109" y="5018"/>
                      <a:pt x="1109" y="5018"/>
                    </a:cubicBezTo>
                    <a:cubicBezTo>
                      <a:pt x="1492" y="5236"/>
                      <a:pt x="1492" y="5236"/>
                      <a:pt x="1492" y="5236"/>
                    </a:cubicBezTo>
                    <a:cubicBezTo>
                      <a:pt x="1533" y="5119"/>
                      <a:pt x="1533" y="5119"/>
                      <a:pt x="1533" y="5119"/>
                    </a:cubicBezTo>
                    <a:lnTo>
                      <a:pt x="1168" y="4911"/>
                    </a:lnTo>
                    <a:close/>
                    <a:moveTo>
                      <a:pt x="1102" y="5030"/>
                    </a:moveTo>
                    <a:cubicBezTo>
                      <a:pt x="1046" y="5134"/>
                      <a:pt x="1046" y="5134"/>
                      <a:pt x="1046" y="5134"/>
                    </a:cubicBezTo>
                    <a:cubicBezTo>
                      <a:pt x="1408" y="5341"/>
                      <a:pt x="1408" y="5341"/>
                      <a:pt x="1408" y="5341"/>
                    </a:cubicBezTo>
                    <a:cubicBezTo>
                      <a:pt x="1487" y="5250"/>
                      <a:pt x="1487" y="5250"/>
                      <a:pt x="1487" y="5250"/>
                    </a:cubicBezTo>
                    <a:lnTo>
                      <a:pt x="1102" y="5030"/>
                    </a:lnTo>
                    <a:close/>
                    <a:moveTo>
                      <a:pt x="1039" y="5147"/>
                    </a:moveTo>
                    <a:cubicBezTo>
                      <a:pt x="987" y="5243"/>
                      <a:pt x="987" y="5243"/>
                      <a:pt x="987" y="5243"/>
                    </a:cubicBezTo>
                    <a:cubicBezTo>
                      <a:pt x="1373" y="5463"/>
                      <a:pt x="1373" y="5463"/>
                      <a:pt x="1373" y="5463"/>
                    </a:cubicBezTo>
                    <a:cubicBezTo>
                      <a:pt x="1403" y="5355"/>
                      <a:pt x="1403" y="5355"/>
                      <a:pt x="1403" y="5355"/>
                    </a:cubicBezTo>
                    <a:lnTo>
                      <a:pt x="1039" y="5147"/>
                    </a:lnTo>
                    <a:close/>
                    <a:moveTo>
                      <a:pt x="980" y="5255"/>
                    </a:moveTo>
                    <a:cubicBezTo>
                      <a:pt x="916" y="5373"/>
                      <a:pt x="916" y="5373"/>
                      <a:pt x="916" y="5373"/>
                    </a:cubicBezTo>
                    <a:cubicBezTo>
                      <a:pt x="1332" y="5610"/>
                      <a:pt x="1332" y="5610"/>
                      <a:pt x="1332" y="5610"/>
                    </a:cubicBezTo>
                    <a:cubicBezTo>
                      <a:pt x="1369" y="5477"/>
                      <a:pt x="1369" y="5477"/>
                      <a:pt x="1369" y="5477"/>
                    </a:cubicBezTo>
                    <a:lnTo>
                      <a:pt x="980" y="5255"/>
                    </a:lnTo>
                    <a:close/>
                    <a:moveTo>
                      <a:pt x="909" y="5385"/>
                    </a:moveTo>
                    <a:cubicBezTo>
                      <a:pt x="857" y="5481"/>
                      <a:pt x="857" y="5481"/>
                      <a:pt x="857" y="5481"/>
                    </a:cubicBezTo>
                    <a:cubicBezTo>
                      <a:pt x="1211" y="5683"/>
                      <a:pt x="1211" y="5683"/>
                      <a:pt x="1211" y="5683"/>
                    </a:cubicBezTo>
                    <a:cubicBezTo>
                      <a:pt x="1321" y="5620"/>
                      <a:pt x="1321" y="5620"/>
                      <a:pt x="1321" y="5620"/>
                    </a:cubicBezTo>
                    <a:lnTo>
                      <a:pt x="909" y="5385"/>
                    </a:lnTo>
                    <a:close/>
                    <a:moveTo>
                      <a:pt x="851" y="5493"/>
                    </a:moveTo>
                    <a:cubicBezTo>
                      <a:pt x="793" y="5599"/>
                      <a:pt x="793" y="5599"/>
                      <a:pt x="793" y="5599"/>
                    </a:cubicBezTo>
                    <a:cubicBezTo>
                      <a:pt x="1152" y="5804"/>
                      <a:pt x="1152" y="5804"/>
                      <a:pt x="1152" y="5804"/>
                    </a:cubicBezTo>
                    <a:cubicBezTo>
                      <a:pt x="1186" y="5697"/>
                      <a:pt x="1186" y="5697"/>
                      <a:pt x="1186" y="5697"/>
                    </a:cubicBezTo>
                    <a:cubicBezTo>
                      <a:pt x="1197" y="5691"/>
                      <a:pt x="1197" y="5691"/>
                      <a:pt x="1197" y="5691"/>
                    </a:cubicBezTo>
                    <a:lnTo>
                      <a:pt x="851" y="5493"/>
                    </a:lnTo>
                    <a:close/>
                    <a:moveTo>
                      <a:pt x="786" y="5612"/>
                    </a:moveTo>
                    <a:cubicBezTo>
                      <a:pt x="735" y="5705"/>
                      <a:pt x="735" y="5705"/>
                      <a:pt x="735" y="5705"/>
                    </a:cubicBezTo>
                    <a:cubicBezTo>
                      <a:pt x="1114" y="5921"/>
                      <a:pt x="1114" y="5921"/>
                      <a:pt x="1114" y="5921"/>
                    </a:cubicBezTo>
                    <a:cubicBezTo>
                      <a:pt x="1147" y="5818"/>
                      <a:pt x="1147" y="5818"/>
                      <a:pt x="1147" y="5818"/>
                    </a:cubicBezTo>
                    <a:lnTo>
                      <a:pt x="786" y="5612"/>
                    </a:lnTo>
                    <a:close/>
                    <a:moveTo>
                      <a:pt x="729" y="5717"/>
                    </a:moveTo>
                    <a:cubicBezTo>
                      <a:pt x="670" y="5824"/>
                      <a:pt x="670" y="5824"/>
                      <a:pt x="670" y="5824"/>
                    </a:cubicBezTo>
                    <a:cubicBezTo>
                      <a:pt x="1066" y="6050"/>
                      <a:pt x="1066" y="6050"/>
                      <a:pt x="1066" y="6050"/>
                    </a:cubicBezTo>
                    <a:cubicBezTo>
                      <a:pt x="1074" y="6045"/>
                      <a:pt x="1074" y="6045"/>
                      <a:pt x="1074" y="6045"/>
                    </a:cubicBezTo>
                    <a:cubicBezTo>
                      <a:pt x="1110" y="5934"/>
                      <a:pt x="1110" y="5934"/>
                      <a:pt x="1110" y="5934"/>
                    </a:cubicBezTo>
                    <a:lnTo>
                      <a:pt x="729" y="5717"/>
                    </a:lnTo>
                    <a:close/>
                    <a:moveTo>
                      <a:pt x="664" y="5836"/>
                    </a:moveTo>
                    <a:cubicBezTo>
                      <a:pt x="607" y="5941"/>
                      <a:pt x="607" y="5941"/>
                      <a:pt x="607" y="5941"/>
                    </a:cubicBezTo>
                    <a:cubicBezTo>
                      <a:pt x="942" y="6132"/>
                      <a:pt x="942" y="6132"/>
                      <a:pt x="942" y="6132"/>
                    </a:cubicBezTo>
                    <a:cubicBezTo>
                      <a:pt x="945" y="6125"/>
                      <a:pt x="945" y="6125"/>
                      <a:pt x="945" y="6125"/>
                    </a:cubicBezTo>
                    <a:cubicBezTo>
                      <a:pt x="1053" y="6059"/>
                      <a:pt x="1053" y="6059"/>
                      <a:pt x="1053" y="6059"/>
                    </a:cubicBezTo>
                    <a:lnTo>
                      <a:pt x="664" y="5836"/>
                    </a:lnTo>
                    <a:close/>
                    <a:moveTo>
                      <a:pt x="906" y="6253"/>
                    </a:moveTo>
                    <a:cubicBezTo>
                      <a:pt x="1266" y="6459"/>
                      <a:pt x="1266" y="6459"/>
                      <a:pt x="1266" y="6459"/>
                    </a:cubicBezTo>
                    <a:cubicBezTo>
                      <a:pt x="1320" y="6364"/>
                      <a:pt x="1320" y="6364"/>
                      <a:pt x="1320" y="6364"/>
                    </a:cubicBezTo>
                    <a:cubicBezTo>
                      <a:pt x="949" y="6152"/>
                      <a:pt x="949" y="6152"/>
                      <a:pt x="949" y="6152"/>
                    </a:cubicBezTo>
                    <a:lnTo>
                      <a:pt x="906" y="6253"/>
                    </a:lnTo>
                    <a:close/>
                    <a:moveTo>
                      <a:pt x="1238" y="6534"/>
                    </a:moveTo>
                    <a:cubicBezTo>
                      <a:pt x="1352" y="6599"/>
                      <a:pt x="1352" y="6599"/>
                      <a:pt x="1352" y="6599"/>
                    </a:cubicBezTo>
                    <a:cubicBezTo>
                      <a:pt x="1384" y="6542"/>
                      <a:pt x="1384" y="6542"/>
                      <a:pt x="1384" y="6542"/>
                    </a:cubicBezTo>
                    <a:cubicBezTo>
                      <a:pt x="1270" y="6477"/>
                      <a:pt x="1270" y="6477"/>
                      <a:pt x="1270" y="6477"/>
                    </a:cubicBezTo>
                    <a:lnTo>
                      <a:pt x="1238" y="6534"/>
                    </a:lnTo>
                    <a:close/>
                    <a:moveTo>
                      <a:pt x="1391" y="6530"/>
                    </a:moveTo>
                    <a:cubicBezTo>
                      <a:pt x="1445" y="6435"/>
                      <a:pt x="1445" y="6435"/>
                      <a:pt x="1445" y="6435"/>
                    </a:cubicBezTo>
                    <a:cubicBezTo>
                      <a:pt x="1331" y="6370"/>
                      <a:pt x="1331" y="6370"/>
                      <a:pt x="1331" y="6370"/>
                    </a:cubicBezTo>
                    <a:cubicBezTo>
                      <a:pt x="1277" y="6465"/>
                      <a:pt x="1277" y="6465"/>
                      <a:pt x="1277" y="6465"/>
                    </a:cubicBezTo>
                    <a:lnTo>
                      <a:pt x="1391" y="6530"/>
                    </a:lnTo>
                    <a:close/>
                    <a:moveTo>
                      <a:pt x="1403" y="6537"/>
                    </a:moveTo>
                    <a:cubicBezTo>
                      <a:pt x="1458" y="6568"/>
                      <a:pt x="1458" y="6568"/>
                      <a:pt x="1458" y="6568"/>
                    </a:cubicBezTo>
                    <a:cubicBezTo>
                      <a:pt x="1512" y="6473"/>
                      <a:pt x="1512" y="6473"/>
                      <a:pt x="1512" y="6473"/>
                    </a:cubicBezTo>
                    <a:cubicBezTo>
                      <a:pt x="1457" y="6442"/>
                      <a:pt x="1457" y="6442"/>
                      <a:pt x="1457" y="6442"/>
                    </a:cubicBezTo>
                    <a:lnTo>
                      <a:pt x="1403" y="6537"/>
                    </a:lnTo>
                    <a:close/>
                    <a:moveTo>
                      <a:pt x="1397" y="7341"/>
                    </a:moveTo>
                    <a:cubicBezTo>
                      <a:pt x="1413" y="7351"/>
                      <a:pt x="1443" y="7370"/>
                      <a:pt x="1473" y="7390"/>
                    </a:cubicBezTo>
                    <a:cubicBezTo>
                      <a:pt x="1496" y="7404"/>
                      <a:pt x="1519" y="7418"/>
                      <a:pt x="1537" y="7429"/>
                    </a:cubicBezTo>
                    <a:cubicBezTo>
                      <a:pt x="1545" y="7434"/>
                      <a:pt x="1553" y="7439"/>
                      <a:pt x="1558" y="7442"/>
                    </a:cubicBezTo>
                    <a:cubicBezTo>
                      <a:pt x="1560" y="7443"/>
                      <a:pt x="1561" y="7443"/>
                      <a:pt x="1563" y="7444"/>
                    </a:cubicBezTo>
                    <a:cubicBezTo>
                      <a:pt x="1635" y="7340"/>
                      <a:pt x="1635" y="7340"/>
                      <a:pt x="1635" y="7340"/>
                    </a:cubicBezTo>
                    <a:cubicBezTo>
                      <a:pt x="1635" y="7340"/>
                      <a:pt x="1635" y="7340"/>
                      <a:pt x="1635" y="7340"/>
                    </a:cubicBezTo>
                    <a:cubicBezTo>
                      <a:pt x="1633" y="7338"/>
                      <a:pt x="1633" y="7338"/>
                      <a:pt x="1633" y="7338"/>
                    </a:cubicBezTo>
                    <a:cubicBezTo>
                      <a:pt x="1638" y="7334"/>
                      <a:pt x="1660" y="7304"/>
                      <a:pt x="1686" y="7267"/>
                    </a:cubicBezTo>
                    <a:cubicBezTo>
                      <a:pt x="1686" y="7268"/>
                      <a:pt x="1686" y="7268"/>
                      <a:pt x="1686" y="7268"/>
                    </a:cubicBezTo>
                    <a:cubicBezTo>
                      <a:pt x="1702" y="7244"/>
                      <a:pt x="1702" y="7244"/>
                      <a:pt x="1702" y="7244"/>
                    </a:cubicBezTo>
                    <a:cubicBezTo>
                      <a:pt x="1706" y="7240"/>
                      <a:pt x="1709" y="7235"/>
                      <a:pt x="1712" y="7230"/>
                    </a:cubicBezTo>
                    <a:cubicBezTo>
                      <a:pt x="1645" y="7203"/>
                      <a:pt x="1547" y="7167"/>
                      <a:pt x="1534" y="7162"/>
                    </a:cubicBezTo>
                    <a:cubicBezTo>
                      <a:pt x="1413" y="7165"/>
                      <a:pt x="1413" y="7165"/>
                      <a:pt x="1413" y="7165"/>
                    </a:cubicBezTo>
                    <a:cubicBezTo>
                      <a:pt x="1423" y="7180"/>
                      <a:pt x="1423" y="7180"/>
                      <a:pt x="1423" y="7180"/>
                    </a:cubicBezTo>
                    <a:cubicBezTo>
                      <a:pt x="1422" y="7180"/>
                      <a:pt x="1422" y="7180"/>
                      <a:pt x="1422" y="7180"/>
                    </a:cubicBezTo>
                    <a:cubicBezTo>
                      <a:pt x="1428" y="7189"/>
                      <a:pt x="1428" y="7189"/>
                      <a:pt x="1428" y="7189"/>
                    </a:cubicBezTo>
                    <a:lnTo>
                      <a:pt x="1397" y="7341"/>
                    </a:lnTo>
                    <a:close/>
                    <a:moveTo>
                      <a:pt x="1497" y="7649"/>
                    </a:moveTo>
                    <a:cubicBezTo>
                      <a:pt x="1506" y="7660"/>
                      <a:pt x="1522" y="7678"/>
                      <a:pt x="1538" y="7697"/>
                    </a:cubicBezTo>
                    <a:cubicBezTo>
                      <a:pt x="1550" y="7712"/>
                      <a:pt x="1563" y="7727"/>
                      <a:pt x="1572" y="7738"/>
                    </a:cubicBezTo>
                    <a:cubicBezTo>
                      <a:pt x="1577" y="7744"/>
                      <a:pt x="1581" y="7748"/>
                      <a:pt x="1584" y="7752"/>
                    </a:cubicBezTo>
                    <a:cubicBezTo>
                      <a:pt x="1585" y="7753"/>
                      <a:pt x="1585" y="7754"/>
                      <a:pt x="1586" y="7755"/>
                    </a:cubicBezTo>
                    <a:cubicBezTo>
                      <a:pt x="1619" y="7756"/>
                      <a:pt x="1813" y="7764"/>
                      <a:pt x="1835" y="7765"/>
                    </a:cubicBezTo>
                    <a:cubicBezTo>
                      <a:pt x="1837" y="7748"/>
                      <a:pt x="1840" y="7730"/>
                      <a:pt x="1842" y="7712"/>
                    </a:cubicBezTo>
                    <a:cubicBezTo>
                      <a:pt x="1849" y="7649"/>
                      <a:pt x="1856" y="7588"/>
                      <a:pt x="1858" y="7573"/>
                    </a:cubicBezTo>
                    <a:cubicBezTo>
                      <a:pt x="1849" y="7562"/>
                      <a:pt x="1812" y="7518"/>
                      <a:pt x="1776" y="7473"/>
                    </a:cubicBezTo>
                    <a:cubicBezTo>
                      <a:pt x="1755" y="7447"/>
                      <a:pt x="1734" y="7421"/>
                      <a:pt x="1718" y="7401"/>
                    </a:cubicBezTo>
                    <a:cubicBezTo>
                      <a:pt x="1710" y="7391"/>
                      <a:pt x="1703" y="7383"/>
                      <a:pt x="1699" y="7377"/>
                    </a:cubicBezTo>
                    <a:cubicBezTo>
                      <a:pt x="1696" y="7374"/>
                      <a:pt x="1695" y="7371"/>
                      <a:pt x="1693" y="7369"/>
                    </a:cubicBezTo>
                    <a:lnTo>
                      <a:pt x="1497" y="7649"/>
                    </a:lnTo>
                    <a:close/>
                    <a:moveTo>
                      <a:pt x="1487" y="7663"/>
                    </a:moveTo>
                    <a:cubicBezTo>
                      <a:pt x="1337" y="7875"/>
                      <a:pt x="1337" y="7875"/>
                      <a:pt x="1337" y="7875"/>
                    </a:cubicBezTo>
                    <a:cubicBezTo>
                      <a:pt x="1527" y="8110"/>
                      <a:pt x="1527" y="8110"/>
                      <a:pt x="1527" y="8110"/>
                    </a:cubicBezTo>
                    <a:cubicBezTo>
                      <a:pt x="1555" y="8085"/>
                      <a:pt x="1615" y="8037"/>
                      <a:pt x="1674" y="7989"/>
                    </a:cubicBezTo>
                    <a:cubicBezTo>
                      <a:pt x="1744" y="7933"/>
                      <a:pt x="1811" y="7879"/>
                      <a:pt x="1820" y="7872"/>
                    </a:cubicBezTo>
                    <a:cubicBezTo>
                      <a:pt x="1823" y="7863"/>
                      <a:pt x="1828" y="7826"/>
                      <a:pt x="1833" y="7781"/>
                    </a:cubicBezTo>
                    <a:cubicBezTo>
                      <a:pt x="1805" y="7780"/>
                      <a:pt x="1605" y="7771"/>
                      <a:pt x="1583" y="7771"/>
                    </a:cubicBezTo>
                    <a:cubicBezTo>
                      <a:pt x="1583" y="7771"/>
                      <a:pt x="1583" y="7771"/>
                      <a:pt x="1583" y="7771"/>
                    </a:cubicBezTo>
                    <a:cubicBezTo>
                      <a:pt x="1583" y="7771"/>
                      <a:pt x="1582" y="7771"/>
                      <a:pt x="1582" y="7771"/>
                    </a:cubicBezTo>
                    <a:cubicBezTo>
                      <a:pt x="1582" y="7771"/>
                      <a:pt x="1581" y="7772"/>
                      <a:pt x="1579" y="7771"/>
                    </a:cubicBezTo>
                    <a:cubicBezTo>
                      <a:pt x="1573" y="7770"/>
                      <a:pt x="1573" y="7770"/>
                      <a:pt x="1573" y="7770"/>
                    </a:cubicBezTo>
                    <a:cubicBezTo>
                      <a:pt x="1573" y="7765"/>
                      <a:pt x="1573" y="7765"/>
                      <a:pt x="1573" y="7765"/>
                    </a:cubicBezTo>
                    <a:cubicBezTo>
                      <a:pt x="1568" y="7758"/>
                      <a:pt x="1545" y="7730"/>
                      <a:pt x="1523" y="7705"/>
                    </a:cubicBezTo>
                    <a:cubicBezTo>
                      <a:pt x="1509" y="7689"/>
                      <a:pt x="1496" y="7673"/>
                      <a:pt x="1487" y="7663"/>
                    </a:cubicBezTo>
                    <a:close/>
                    <a:moveTo>
                      <a:pt x="1306" y="7908"/>
                    </a:moveTo>
                    <a:cubicBezTo>
                      <a:pt x="1221" y="7977"/>
                      <a:pt x="1221" y="7977"/>
                      <a:pt x="1221" y="7977"/>
                    </a:cubicBezTo>
                    <a:cubicBezTo>
                      <a:pt x="1344" y="8162"/>
                      <a:pt x="1344" y="8162"/>
                      <a:pt x="1344" y="8162"/>
                    </a:cubicBezTo>
                    <a:cubicBezTo>
                      <a:pt x="1326" y="8306"/>
                      <a:pt x="1326" y="8306"/>
                      <a:pt x="1326" y="8306"/>
                    </a:cubicBezTo>
                    <a:cubicBezTo>
                      <a:pt x="1536" y="8461"/>
                      <a:pt x="1536" y="8461"/>
                      <a:pt x="1536" y="8461"/>
                    </a:cubicBezTo>
                    <a:cubicBezTo>
                      <a:pt x="1577" y="8392"/>
                      <a:pt x="1612" y="8331"/>
                      <a:pt x="1627" y="8306"/>
                    </a:cubicBezTo>
                    <a:lnTo>
                      <a:pt x="1306" y="7908"/>
                    </a:lnTo>
                    <a:close/>
                    <a:moveTo>
                      <a:pt x="1208" y="7987"/>
                    </a:moveTo>
                    <a:cubicBezTo>
                      <a:pt x="1096" y="8077"/>
                      <a:pt x="1096" y="8077"/>
                      <a:pt x="1096" y="8077"/>
                    </a:cubicBezTo>
                    <a:cubicBezTo>
                      <a:pt x="1096" y="8105"/>
                      <a:pt x="1090" y="8262"/>
                      <a:pt x="1090" y="8314"/>
                    </a:cubicBezTo>
                    <a:cubicBezTo>
                      <a:pt x="1310" y="8302"/>
                      <a:pt x="1310" y="8302"/>
                      <a:pt x="1310" y="8302"/>
                    </a:cubicBezTo>
                    <a:cubicBezTo>
                      <a:pt x="1327" y="8166"/>
                      <a:pt x="1327" y="8166"/>
                      <a:pt x="1327" y="8166"/>
                    </a:cubicBezTo>
                    <a:lnTo>
                      <a:pt x="1208" y="7987"/>
                    </a:lnTo>
                    <a:close/>
                    <a:moveTo>
                      <a:pt x="990" y="8489"/>
                    </a:moveTo>
                    <a:cubicBezTo>
                      <a:pt x="964" y="8529"/>
                      <a:pt x="942" y="8563"/>
                      <a:pt x="934" y="8575"/>
                    </a:cubicBezTo>
                    <a:cubicBezTo>
                      <a:pt x="948" y="8593"/>
                      <a:pt x="1013" y="8673"/>
                      <a:pt x="1077" y="8751"/>
                    </a:cubicBezTo>
                    <a:cubicBezTo>
                      <a:pt x="1136" y="8824"/>
                      <a:pt x="1194" y="8894"/>
                      <a:pt x="1210" y="8913"/>
                    </a:cubicBezTo>
                    <a:cubicBezTo>
                      <a:pt x="1232" y="8892"/>
                      <a:pt x="1252" y="8873"/>
                      <a:pt x="1271" y="8856"/>
                    </a:cubicBezTo>
                    <a:cubicBezTo>
                      <a:pt x="1295" y="8832"/>
                      <a:pt x="1315" y="8813"/>
                      <a:pt x="1330" y="8799"/>
                    </a:cubicBezTo>
                    <a:cubicBezTo>
                      <a:pt x="1336" y="8793"/>
                      <a:pt x="1342" y="8788"/>
                      <a:pt x="1346" y="8785"/>
                    </a:cubicBezTo>
                    <a:cubicBezTo>
                      <a:pt x="1352" y="8777"/>
                      <a:pt x="1352" y="8777"/>
                      <a:pt x="1352" y="8777"/>
                    </a:cubicBezTo>
                    <a:cubicBezTo>
                      <a:pt x="1353" y="8775"/>
                      <a:pt x="1355" y="8772"/>
                      <a:pt x="1357" y="8769"/>
                    </a:cubicBezTo>
                    <a:cubicBezTo>
                      <a:pt x="1305" y="8729"/>
                      <a:pt x="1234" y="8675"/>
                      <a:pt x="1166" y="8623"/>
                    </a:cubicBezTo>
                    <a:cubicBezTo>
                      <a:pt x="1087" y="8562"/>
                      <a:pt x="1010" y="8504"/>
                      <a:pt x="990" y="8489"/>
                    </a:cubicBezTo>
                    <a:close/>
                    <a:moveTo>
                      <a:pt x="1113" y="9068"/>
                    </a:moveTo>
                    <a:cubicBezTo>
                      <a:pt x="1016" y="9159"/>
                      <a:pt x="922" y="9249"/>
                      <a:pt x="882" y="9287"/>
                    </a:cubicBezTo>
                    <a:cubicBezTo>
                      <a:pt x="900" y="9291"/>
                      <a:pt x="918" y="9298"/>
                      <a:pt x="937" y="9310"/>
                    </a:cubicBezTo>
                    <a:cubicBezTo>
                      <a:pt x="991" y="9345"/>
                      <a:pt x="1023" y="9413"/>
                      <a:pt x="1049" y="9473"/>
                    </a:cubicBezTo>
                    <a:cubicBezTo>
                      <a:pt x="1066" y="9514"/>
                      <a:pt x="1078" y="9551"/>
                      <a:pt x="1084" y="9571"/>
                    </a:cubicBezTo>
                    <a:cubicBezTo>
                      <a:pt x="1165" y="9527"/>
                      <a:pt x="1165" y="9527"/>
                      <a:pt x="1165" y="9527"/>
                    </a:cubicBezTo>
                    <a:cubicBezTo>
                      <a:pt x="1164" y="9525"/>
                      <a:pt x="1163" y="9523"/>
                      <a:pt x="1162" y="9520"/>
                    </a:cubicBezTo>
                    <a:cubicBezTo>
                      <a:pt x="1159" y="9514"/>
                      <a:pt x="1155" y="9507"/>
                      <a:pt x="1151" y="9498"/>
                    </a:cubicBezTo>
                    <a:cubicBezTo>
                      <a:pt x="1149" y="9500"/>
                      <a:pt x="1149" y="9500"/>
                      <a:pt x="1149" y="9500"/>
                    </a:cubicBezTo>
                    <a:cubicBezTo>
                      <a:pt x="1078" y="9360"/>
                      <a:pt x="1078" y="9360"/>
                      <a:pt x="1078" y="9360"/>
                    </a:cubicBezTo>
                    <a:cubicBezTo>
                      <a:pt x="1087" y="9356"/>
                      <a:pt x="1087" y="9356"/>
                      <a:pt x="1087" y="9356"/>
                    </a:cubicBezTo>
                    <a:cubicBezTo>
                      <a:pt x="1065" y="9306"/>
                      <a:pt x="1047" y="9266"/>
                      <a:pt x="1047" y="9266"/>
                    </a:cubicBezTo>
                    <a:cubicBezTo>
                      <a:pt x="1044" y="9259"/>
                      <a:pt x="1044" y="9259"/>
                      <a:pt x="1044" y="9259"/>
                    </a:cubicBezTo>
                    <a:cubicBezTo>
                      <a:pt x="1595" y="8915"/>
                      <a:pt x="1595" y="8915"/>
                      <a:pt x="1595" y="8915"/>
                    </a:cubicBezTo>
                    <a:cubicBezTo>
                      <a:pt x="1564" y="8849"/>
                      <a:pt x="1534" y="8784"/>
                      <a:pt x="1511" y="8734"/>
                    </a:cubicBezTo>
                    <a:cubicBezTo>
                      <a:pt x="1498" y="8706"/>
                      <a:pt x="1488" y="8683"/>
                      <a:pt x="1480" y="8666"/>
                    </a:cubicBezTo>
                    <a:cubicBezTo>
                      <a:pt x="1478" y="8662"/>
                      <a:pt x="1477" y="8659"/>
                      <a:pt x="1475" y="8656"/>
                    </a:cubicBezTo>
                    <a:cubicBezTo>
                      <a:pt x="1460" y="8682"/>
                      <a:pt x="1445" y="8708"/>
                      <a:pt x="1432" y="8729"/>
                    </a:cubicBezTo>
                    <a:cubicBezTo>
                      <a:pt x="1419" y="8752"/>
                      <a:pt x="1408" y="8771"/>
                      <a:pt x="1400" y="8785"/>
                    </a:cubicBezTo>
                    <a:cubicBezTo>
                      <a:pt x="1396" y="8792"/>
                      <a:pt x="1393" y="8797"/>
                      <a:pt x="1391" y="8801"/>
                    </a:cubicBezTo>
                    <a:cubicBezTo>
                      <a:pt x="1390" y="8802"/>
                      <a:pt x="1389" y="8804"/>
                      <a:pt x="1388" y="8805"/>
                    </a:cubicBezTo>
                    <a:cubicBezTo>
                      <a:pt x="1388" y="8805"/>
                      <a:pt x="1388" y="8806"/>
                      <a:pt x="1388" y="8806"/>
                    </a:cubicBezTo>
                    <a:cubicBezTo>
                      <a:pt x="1388" y="8806"/>
                      <a:pt x="1388" y="8806"/>
                      <a:pt x="1388" y="8806"/>
                    </a:cubicBezTo>
                    <a:cubicBezTo>
                      <a:pt x="1387" y="8806"/>
                      <a:pt x="1387" y="8807"/>
                      <a:pt x="1387" y="8807"/>
                    </a:cubicBezTo>
                    <a:cubicBezTo>
                      <a:pt x="1387" y="8807"/>
                      <a:pt x="1387" y="8807"/>
                      <a:pt x="1387" y="8808"/>
                    </a:cubicBezTo>
                    <a:cubicBezTo>
                      <a:pt x="1386" y="8808"/>
                      <a:pt x="1386" y="8808"/>
                      <a:pt x="1386" y="8809"/>
                    </a:cubicBezTo>
                    <a:cubicBezTo>
                      <a:pt x="1385" y="8809"/>
                      <a:pt x="1385" y="8810"/>
                      <a:pt x="1384" y="8811"/>
                    </a:cubicBezTo>
                    <a:cubicBezTo>
                      <a:pt x="1383" y="8812"/>
                      <a:pt x="1382" y="8813"/>
                      <a:pt x="1381" y="8813"/>
                    </a:cubicBezTo>
                    <a:cubicBezTo>
                      <a:pt x="1381" y="8813"/>
                      <a:pt x="1381" y="8813"/>
                      <a:pt x="1381" y="8813"/>
                    </a:cubicBezTo>
                    <a:cubicBezTo>
                      <a:pt x="1364" y="8829"/>
                      <a:pt x="1236" y="8950"/>
                      <a:pt x="1113" y="9068"/>
                    </a:cubicBezTo>
                    <a:close/>
                    <a:moveTo>
                      <a:pt x="1248" y="9432"/>
                    </a:moveTo>
                    <a:cubicBezTo>
                      <a:pt x="1247" y="9429"/>
                      <a:pt x="1247" y="9429"/>
                      <a:pt x="1247" y="9429"/>
                    </a:cubicBezTo>
                    <a:cubicBezTo>
                      <a:pt x="1244" y="9418"/>
                      <a:pt x="1244" y="9418"/>
                      <a:pt x="1244" y="9418"/>
                    </a:cubicBezTo>
                    <a:cubicBezTo>
                      <a:pt x="1244" y="9418"/>
                      <a:pt x="1244" y="9418"/>
                      <a:pt x="1244" y="9418"/>
                    </a:cubicBezTo>
                    <a:cubicBezTo>
                      <a:pt x="1196" y="9319"/>
                      <a:pt x="1196" y="9319"/>
                      <a:pt x="1196" y="9319"/>
                    </a:cubicBezTo>
                    <a:cubicBezTo>
                      <a:pt x="1107" y="9361"/>
                      <a:pt x="1107" y="9361"/>
                      <a:pt x="1107" y="9361"/>
                    </a:cubicBezTo>
                    <a:cubicBezTo>
                      <a:pt x="1112" y="9372"/>
                      <a:pt x="1117" y="9382"/>
                      <a:pt x="1122" y="9393"/>
                    </a:cubicBezTo>
                    <a:cubicBezTo>
                      <a:pt x="1135" y="9424"/>
                      <a:pt x="1149" y="9454"/>
                      <a:pt x="1160" y="9478"/>
                    </a:cubicBezTo>
                    <a:lnTo>
                      <a:pt x="1248" y="9432"/>
                    </a:lnTo>
                    <a:close/>
                    <a:moveTo>
                      <a:pt x="1166" y="9491"/>
                    </a:moveTo>
                    <a:cubicBezTo>
                      <a:pt x="1171" y="9501"/>
                      <a:pt x="1175" y="9509"/>
                      <a:pt x="1178" y="9515"/>
                    </a:cubicBezTo>
                    <a:cubicBezTo>
                      <a:pt x="1179" y="9517"/>
                      <a:pt x="1179" y="9518"/>
                      <a:pt x="1180" y="9520"/>
                    </a:cubicBezTo>
                    <a:cubicBezTo>
                      <a:pt x="1270" y="9471"/>
                      <a:pt x="1270" y="9471"/>
                      <a:pt x="1270" y="9471"/>
                    </a:cubicBezTo>
                    <a:cubicBezTo>
                      <a:pt x="1257" y="9443"/>
                      <a:pt x="1257" y="9443"/>
                      <a:pt x="1257" y="9443"/>
                    </a:cubicBezTo>
                    <a:lnTo>
                      <a:pt x="1166" y="9491"/>
                    </a:lnTo>
                    <a:close/>
                    <a:moveTo>
                      <a:pt x="1285" y="9463"/>
                    </a:moveTo>
                    <a:cubicBezTo>
                      <a:pt x="1380" y="9412"/>
                      <a:pt x="1380" y="9412"/>
                      <a:pt x="1380" y="9412"/>
                    </a:cubicBezTo>
                    <a:cubicBezTo>
                      <a:pt x="1363" y="9374"/>
                      <a:pt x="1363" y="9374"/>
                      <a:pt x="1363" y="9374"/>
                    </a:cubicBezTo>
                    <a:cubicBezTo>
                      <a:pt x="1265" y="9423"/>
                      <a:pt x="1265" y="9423"/>
                      <a:pt x="1265" y="9423"/>
                    </a:cubicBezTo>
                    <a:lnTo>
                      <a:pt x="1285" y="9463"/>
                    </a:lnTo>
                    <a:close/>
                    <a:moveTo>
                      <a:pt x="1395" y="9404"/>
                    </a:moveTo>
                    <a:cubicBezTo>
                      <a:pt x="1503" y="9345"/>
                      <a:pt x="1503" y="9345"/>
                      <a:pt x="1503" y="9345"/>
                    </a:cubicBezTo>
                    <a:cubicBezTo>
                      <a:pt x="1482" y="9299"/>
                      <a:pt x="1482" y="9299"/>
                      <a:pt x="1482" y="9299"/>
                    </a:cubicBezTo>
                    <a:cubicBezTo>
                      <a:pt x="1372" y="9353"/>
                      <a:pt x="1372" y="9353"/>
                      <a:pt x="1372" y="9353"/>
                    </a:cubicBezTo>
                    <a:lnTo>
                      <a:pt x="1395" y="9404"/>
                    </a:lnTo>
                    <a:close/>
                    <a:moveTo>
                      <a:pt x="1518" y="9338"/>
                    </a:moveTo>
                    <a:cubicBezTo>
                      <a:pt x="1628" y="9278"/>
                      <a:pt x="1628" y="9278"/>
                      <a:pt x="1628" y="9278"/>
                    </a:cubicBezTo>
                    <a:cubicBezTo>
                      <a:pt x="1603" y="9223"/>
                      <a:pt x="1603" y="9223"/>
                      <a:pt x="1603" y="9223"/>
                    </a:cubicBezTo>
                    <a:cubicBezTo>
                      <a:pt x="1491" y="9277"/>
                      <a:pt x="1491" y="9277"/>
                      <a:pt x="1491" y="9277"/>
                    </a:cubicBezTo>
                    <a:cubicBezTo>
                      <a:pt x="1492" y="9282"/>
                      <a:pt x="1492" y="9282"/>
                      <a:pt x="1492" y="9282"/>
                    </a:cubicBezTo>
                    <a:lnTo>
                      <a:pt x="1518" y="9338"/>
                    </a:lnTo>
                    <a:close/>
                    <a:moveTo>
                      <a:pt x="1643" y="9270"/>
                    </a:moveTo>
                    <a:cubicBezTo>
                      <a:pt x="1737" y="9219"/>
                      <a:pt x="1737" y="9219"/>
                      <a:pt x="1737" y="9219"/>
                    </a:cubicBezTo>
                    <a:cubicBezTo>
                      <a:pt x="1732" y="9209"/>
                      <a:pt x="1721" y="9185"/>
                      <a:pt x="1706" y="9153"/>
                    </a:cubicBezTo>
                    <a:cubicBezTo>
                      <a:pt x="1610" y="9201"/>
                      <a:pt x="1610" y="9201"/>
                      <a:pt x="1610" y="9201"/>
                    </a:cubicBezTo>
                    <a:lnTo>
                      <a:pt x="1643" y="9270"/>
                    </a:lnTo>
                    <a:close/>
                    <a:moveTo>
                      <a:pt x="1752" y="9211"/>
                    </a:moveTo>
                    <a:cubicBezTo>
                      <a:pt x="1856" y="9155"/>
                      <a:pt x="1856" y="9155"/>
                      <a:pt x="1856" y="9155"/>
                    </a:cubicBezTo>
                    <a:cubicBezTo>
                      <a:pt x="1821" y="9080"/>
                      <a:pt x="1821" y="9080"/>
                      <a:pt x="1821" y="9080"/>
                    </a:cubicBezTo>
                    <a:cubicBezTo>
                      <a:pt x="1714" y="9131"/>
                      <a:pt x="1714" y="9131"/>
                      <a:pt x="1714" y="9131"/>
                    </a:cubicBezTo>
                    <a:cubicBezTo>
                      <a:pt x="1732" y="9170"/>
                      <a:pt x="1746" y="9199"/>
                      <a:pt x="1752" y="9211"/>
                    </a:cubicBezTo>
                    <a:close/>
                    <a:moveTo>
                      <a:pt x="1871" y="9147"/>
                    </a:moveTo>
                    <a:cubicBezTo>
                      <a:pt x="1975" y="9091"/>
                      <a:pt x="1975" y="9091"/>
                      <a:pt x="1975" y="9091"/>
                    </a:cubicBezTo>
                    <a:cubicBezTo>
                      <a:pt x="1973" y="9085"/>
                      <a:pt x="1967" y="9074"/>
                      <a:pt x="1960" y="9058"/>
                    </a:cubicBezTo>
                    <a:cubicBezTo>
                      <a:pt x="1853" y="9110"/>
                      <a:pt x="1853" y="9110"/>
                      <a:pt x="1853" y="9110"/>
                    </a:cubicBezTo>
                    <a:lnTo>
                      <a:pt x="1871" y="9147"/>
                    </a:lnTo>
                    <a:close/>
                    <a:moveTo>
                      <a:pt x="1985" y="9074"/>
                    </a:moveTo>
                    <a:cubicBezTo>
                      <a:pt x="1987" y="9078"/>
                      <a:pt x="1988" y="9080"/>
                      <a:pt x="1990" y="9083"/>
                    </a:cubicBezTo>
                    <a:cubicBezTo>
                      <a:pt x="2087" y="9031"/>
                      <a:pt x="2087" y="9031"/>
                      <a:pt x="2087" y="9031"/>
                    </a:cubicBezTo>
                    <a:cubicBezTo>
                      <a:pt x="2065" y="8984"/>
                      <a:pt x="2065" y="8984"/>
                      <a:pt x="2065" y="8984"/>
                    </a:cubicBezTo>
                    <a:cubicBezTo>
                      <a:pt x="1969" y="9034"/>
                      <a:pt x="1969" y="9034"/>
                      <a:pt x="1969" y="9034"/>
                    </a:cubicBezTo>
                    <a:cubicBezTo>
                      <a:pt x="1969" y="9035"/>
                      <a:pt x="1969" y="9035"/>
                      <a:pt x="1969" y="9035"/>
                    </a:cubicBezTo>
                    <a:cubicBezTo>
                      <a:pt x="1968" y="9035"/>
                      <a:pt x="1968" y="9035"/>
                      <a:pt x="1968" y="9035"/>
                    </a:cubicBezTo>
                    <a:cubicBezTo>
                      <a:pt x="1975" y="9051"/>
                      <a:pt x="1981" y="9064"/>
                      <a:pt x="1985" y="9074"/>
                    </a:cubicBezTo>
                    <a:close/>
                    <a:moveTo>
                      <a:pt x="2194" y="8974"/>
                    </a:moveTo>
                    <a:cubicBezTo>
                      <a:pt x="2232" y="8955"/>
                      <a:pt x="2301" y="8921"/>
                      <a:pt x="2387" y="8875"/>
                    </a:cubicBezTo>
                    <a:cubicBezTo>
                      <a:pt x="2440" y="8848"/>
                      <a:pt x="2499" y="8816"/>
                      <a:pt x="2563" y="8782"/>
                    </a:cubicBezTo>
                    <a:cubicBezTo>
                      <a:pt x="2514" y="8679"/>
                      <a:pt x="2514" y="8679"/>
                      <a:pt x="2514" y="8679"/>
                    </a:cubicBezTo>
                    <a:cubicBezTo>
                      <a:pt x="2501" y="8687"/>
                      <a:pt x="2419" y="8734"/>
                      <a:pt x="2336" y="8782"/>
                    </a:cubicBezTo>
                    <a:cubicBezTo>
                      <a:pt x="2290" y="8808"/>
                      <a:pt x="2245" y="8835"/>
                      <a:pt x="2211" y="8855"/>
                    </a:cubicBezTo>
                    <a:cubicBezTo>
                      <a:pt x="2194" y="8865"/>
                      <a:pt x="2180" y="8873"/>
                      <a:pt x="2170" y="8879"/>
                    </a:cubicBezTo>
                    <a:cubicBezTo>
                      <a:pt x="2165" y="8882"/>
                      <a:pt x="2162" y="8885"/>
                      <a:pt x="2159" y="8887"/>
                    </a:cubicBezTo>
                    <a:cubicBezTo>
                      <a:pt x="2158" y="8887"/>
                      <a:pt x="2157" y="8888"/>
                      <a:pt x="2157" y="8888"/>
                    </a:cubicBezTo>
                    <a:cubicBezTo>
                      <a:pt x="2172" y="8917"/>
                      <a:pt x="2172" y="8917"/>
                      <a:pt x="2172" y="8917"/>
                    </a:cubicBezTo>
                    <a:cubicBezTo>
                      <a:pt x="2168" y="8919"/>
                      <a:pt x="2168" y="8919"/>
                      <a:pt x="2168" y="8919"/>
                    </a:cubicBezTo>
                    <a:lnTo>
                      <a:pt x="2194" y="8974"/>
                    </a:lnTo>
                    <a:close/>
                    <a:moveTo>
                      <a:pt x="2603" y="8761"/>
                    </a:moveTo>
                    <a:cubicBezTo>
                      <a:pt x="2684" y="8718"/>
                      <a:pt x="2770" y="8672"/>
                      <a:pt x="2857" y="8626"/>
                    </a:cubicBezTo>
                    <a:cubicBezTo>
                      <a:pt x="2599" y="8368"/>
                      <a:pt x="2599" y="8368"/>
                      <a:pt x="2599" y="8368"/>
                    </a:cubicBezTo>
                    <a:cubicBezTo>
                      <a:pt x="2595" y="8370"/>
                      <a:pt x="2587" y="8373"/>
                      <a:pt x="2579" y="8376"/>
                    </a:cubicBezTo>
                    <a:cubicBezTo>
                      <a:pt x="2795" y="8585"/>
                      <a:pt x="2795" y="8585"/>
                      <a:pt x="2795" y="8585"/>
                    </a:cubicBezTo>
                    <a:cubicBezTo>
                      <a:pt x="2750" y="8594"/>
                      <a:pt x="2750" y="8594"/>
                      <a:pt x="2750" y="8594"/>
                    </a:cubicBezTo>
                    <a:cubicBezTo>
                      <a:pt x="2654" y="8501"/>
                      <a:pt x="2654" y="8501"/>
                      <a:pt x="2654" y="8501"/>
                    </a:cubicBezTo>
                    <a:cubicBezTo>
                      <a:pt x="2642" y="8619"/>
                      <a:pt x="2642" y="8619"/>
                      <a:pt x="2642" y="8619"/>
                    </a:cubicBezTo>
                    <a:cubicBezTo>
                      <a:pt x="2565" y="8639"/>
                      <a:pt x="2565" y="8639"/>
                      <a:pt x="2565" y="8639"/>
                    </a:cubicBezTo>
                    <a:cubicBezTo>
                      <a:pt x="2469" y="8419"/>
                      <a:pt x="2469" y="8419"/>
                      <a:pt x="2469" y="8419"/>
                    </a:cubicBezTo>
                    <a:cubicBezTo>
                      <a:pt x="2576" y="8377"/>
                      <a:pt x="2576" y="8377"/>
                      <a:pt x="2576" y="8377"/>
                    </a:cubicBezTo>
                    <a:cubicBezTo>
                      <a:pt x="2560" y="8383"/>
                      <a:pt x="2540" y="8390"/>
                      <a:pt x="2520" y="8398"/>
                    </a:cubicBezTo>
                    <a:cubicBezTo>
                      <a:pt x="2499" y="8406"/>
                      <a:pt x="2478" y="8413"/>
                      <a:pt x="2462" y="8420"/>
                    </a:cubicBezTo>
                    <a:cubicBezTo>
                      <a:pt x="2454" y="8423"/>
                      <a:pt x="2448" y="8425"/>
                      <a:pt x="2443" y="8427"/>
                    </a:cubicBezTo>
                    <a:cubicBezTo>
                      <a:pt x="2443" y="8428"/>
                      <a:pt x="2442" y="8428"/>
                      <a:pt x="2442" y="8428"/>
                    </a:cubicBezTo>
                    <a:cubicBezTo>
                      <a:pt x="2544" y="8641"/>
                      <a:pt x="2544" y="8641"/>
                      <a:pt x="2544" y="8641"/>
                    </a:cubicBezTo>
                    <a:cubicBezTo>
                      <a:pt x="2546" y="8640"/>
                      <a:pt x="2546" y="8640"/>
                      <a:pt x="2546" y="8640"/>
                    </a:cubicBezTo>
                    <a:lnTo>
                      <a:pt x="2603" y="8761"/>
                    </a:lnTo>
                    <a:close/>
                    <a:moveTo>
                      <a:pt x="2575" y="8392"/>
                    </a:moveTo>
                    <a:cubicBezTo>
                      <a:pt x="2487" y="8427"/>
                      <a:pt x="2487" y="8427"/>
                      <a:pt x="2487" y="8427"/>
                    </a:cubicBezTo>
                    <a:cubicBezTo>
                      <a:pt x="2573" y="8623"/>
                      <a:pt x="2573" y="8623"/>
                      <a:pt x="2573" y="8623"/>
                    </a:cubicBezTo>
                    <a:cubicBezTo>
                      <a:pt x="2629" y="8608"/>
                      <a:pt x="2629" y="8608"/>
                      <a:pt x="2629" y="8608"/>
                    </a:cubicBezTo>
                    <a:cubicBezTo>
                      <a:pt x="2641" y="8500"/>
                      <a:pt x="2641" y="8500"/>
                      <a:pt x="2641" y="8500"/>
                    </a:cubicBezTo>
                    <a:cubicBezTo>
                      <a:pt x="2644" y="8471"/>
                      <a:pt x="2644" y="8471"/>
                      <a:pt x="2644" y="8471"/>
                    </a:cubicBezTo>
                    <a:cubicBezTo>
                      <a:pt x="2664" y="8491"/>
                      <a:pt x="2664" y="8491"/>
                      <a:pt x="2664" y="8491"/>
                    </a:cubicBezTo>
                    <a:cubicBezTo>
                      <a:pt x="2754" y="8579"/>
                      <a:pt x="2754" y="8579"/>
                      <a:pt x="2754" y="8579"/>
                    </a:cubicBezTo>
                    <a:cubicBezTo>
                      <a:pt x="2766" y="8577"/>
                      <a:pt x="2766" y="8577"/>
                      <a:pt x="2766" y="8577"/>
                    </a:cubicBezTo>
                    <a:lnTo>
                      <a:pt x="2575" y="8392"/>
                    </a:lnTo>
                    <a:close/>
                    <a:moveTo>
                      <a:pt x="3353" y="8138"/>
                    </a:moveTo>
                    <a:cubicBezTo>
                      <a:pt x="3354" y="8139"/>
                      <a:pt x="3355" y="8140"/>
                      <a:pt x="3355" y="8140"/>
                    </a:cubicBezTo>
                    <a:cubicBezTo>
                      <a:pt x="3360" y="8141"/>
                      <a:pt x="3366" y="8143"/>
                      <a:pt x="3376" y="8146"/>
                    </a:cubicBezTo>
                    <a:cubicBezTo>
                      <a:pt x="3405" y="8155"/>
                      <a:pt x="3456" y="8170"/>
                      <a:pt x="3472" y="8175"/>
                    </a:cubicBezTo>
                    <a:cubicBezTo>
                      <a:pt x="3655" y="7957"/>
                      <a:pt x="3655" y="7957"/>
                      <a:pt x="3655" y="7957"/>
                    </a:cubicBezTo>
                    <a:cubicBezTo>
                      <a:pt x="3511" y="7569"/>
                      <a:pt x="3511" y="7569"/>
                      <a:pt x="3511" y="7569"/>
                    </a:cubicBezTo>
                    <a:cubicBezTo>
                      <a:pt x="3434" y="7552"/>
                      <a:pt x="3434" y="7552"/>
                      <a:pt x="3434" y="7552"/>
                    </a:cubicBezTo>
                    <a:cubicBezTo>
                      <a:pt x="3056" y="7846"/>
                      <a:pt x="3056" y="7846"/>
                      <a:pt x="3056" y="7846"/>
                    </a:cubicBezTo>
                    <a:cubicBezTo>
                      <a:pt x="3089" y="7878"/>
                      <a:pt x="3128" y="7916"/>
                      <a:pt x="3168" y="7956"/>
                    </a:cubicBezTo>
                    <a:cubicBezTo>
                      <a:pt x="3215" y="8002"/>
                      <a:pt x="3263" y="8049"/>
                      <a:pt x="3298" y="8084"/>
                    </a:cubicBezTo>
                    <a:cubicBezTo>
                      <a:pt x="3316" y="8102"/>
                      <a:pt x="3331" y="8116"/>
                      <a:pt x="3341" y="8126"/>
                    </a:cubicBezTo>
                    <a:cubicBezTo>
                      <a:pt x="3346" y="8131"/>
                      <a:pt x="3350" y="8135"/>
                      <a:pt x="3353" y="8138"/>
                    </a:cubicBezTo>
                    <a:close/>
                    <a:moveTo>
                      <a:pt x="3674" y="7961"/>
                    </a:moveTo>
                    <a:cubicBezTo>
                      <a:pt x="3726" y="7979"/>
                      <a:pt x="3726" y="7979"/>
                      <a:pt x="3726" y="7979"/>
                    </a:cubicBezTo>
                    <a:cubicBezTo>
                      <a:pt x="3881" y="7909"/>
                      <a:pt x="3881" y="7909"/>
                      <a:pt x="3881" y="7909"/>
                    </a:cubicBezTo>
                    <a:cubicBezTo>
                      <a:pt x="3881" y="7908"/>
                      <a:pt x="3881" y="7907"/>
                      <a:pt x="3881" y="7906"/>
                    </a:cubicBezTo>
                    <a:cubicBezTo>
                      <a:pt x="3881" y="7905"/>
                      <a:pt x="3880" y="7904"/>
                      <a:pt x="3880" y="7903"/>
                    </a:cubicBezTo>
                    <a:cubicBezTo>
                      <a:pt x="3880" y="7903"/>
                      <a:pt x="3880" y="7903"/>
                      <a:pt x="3880" y="7903"/>
                    </a:cubicBezTo>
                    <a:cubicBezTo>
                      <a:pt x="3874" y="7865"/>
                      <a:pt x="3857" y="7760"/>
                      <a:pt x="3857" y="7700"/>
                    </a:cubicBezTo>
                    <a:cubicBezTo>
                      <a:pt x="3857" y="7697"/>
                      <a:pt x="3857" y="7695"/>
                      <a:pt x="3857" y="7693"/>
                    </a:cubicBezTo>
                    <a:cubicBezTo>
                      <a:pt x="3857" y="7691"/>
                      <a:pt x="3856" y="7689"/>
                      <a:pt x="3856" y="7686"/>
                    </a:cubicBezTo>
                    <a:cubicBezTo>
                      <a:pt x="3856" y="7684"/>
                      <a:pt x="3856" y="7681"/>
                      <a:pt x="3855" y="7679"/>
                    </a:cubicBezTo>
                    <a:cubicBezTo>
                      <a:pt x="3589" y="7733"/>
                      <a:pt x="3589" y="7733"/>
                      <a:pt x="3589" y="7733"/>
                    </a:cubicBezTo>
                    <a:lnTo>
                      <a:pt x="3674" y="7961"/>
                    </a:lnTo>
                    <a:close/>
                    <a:moveTo>
                      <a:pt x="3904" y="7587"/>
                    </a:moveTo>
                    <a:cubicBezTo>
                      <a:pt x="3906" y="7590"/>
                      <a:pt x="3906" y="7590"/>
                      <a:pt x="3906" y="7590"/>
                    </a:cubicBezTo>
                    <a:cubicBezTo>
                      <a:pt x="3908" y="7593"/>
                      <a:pt x="3915" y="7605"/>
                      <a:pt x="3918" y="7626"/>
                    </a:cubicBezTo>
                    <a:cubicBezTo>
                      <a:pt x="3919" y="7630"/>
                      <a:pt x="3919" y="7634"/>
                      <a:pt x="3920" y="7638"/>
                    </a:cubicBezTo>
                    <a:cubicBezTo>
                      <a:pt x="4033" y="7589"/>
                      <a:pt x="4033" y="7589"/>
                      <a:pt x="4033" y="7589"/>
                    </a:cubicBezTo>
                    <a:cubicBezTo>
                      <a:pt x="4144" y="7534"/>
                      <a:pt x="4144" y="7534"/>
                      <a:pt x="4144" y="7534"/>
                    </a:cubicBezTo>
                    <a:cubicBezTo>
                      <a:pt x="4143" y="7531"/>
                      <a:pt x="4143" y="7531"/>
                      <a:pt x="4143" y="7531"/>
                    </a:cubicBezTo>
                    <a:cubicBezTo>
                      <a:pt x="4143" y="7531"/>
                      <a:pt x="4143" y="7531"/>
                      <a:pt x="4143" y="7531"/>
                    </a:cubicBezTo>
                    <a:cubicBezTo>
                      <a:pt x="4143" y="7531"/>
                      <a:pt x="4158" y="7525"/>
                      <a:pt x="4181" y="7514"/>
                    </a:cubicBezTo>
                    <a:cubicBezTo>
                      <a:pt x="4166" y="7500"/>
                      <a:pt x="4102" y="7441"/>
                      <a:pt x="4039" y="7381"/>
                    </a:cubicBezTo>
                    <a:cubicBezTo>
                      <a:pt x="4002" y="7347"/>
                      <a:pt x="3965" y="7313"/>
                      <a:pt x="3938" y="7287"/>
                    </a:cubicBezTo>
                    <a:cubicBezTo>
                      <a:pt x="3924" y="7274"/>
                      <a:pt x="3913" y="7264"/>
                      <a:pt x="3905" y="7256"/>
                    </a:cubicBezTo>
                    <a:cubicBezTo>
                      <a:pt x="3901" y="7252"/>
                      <a:pt x="3898" y="7249"/>
                      <a:pt x="3896" y="7247"/>
                    </a:cubicBezTo>
                    <a:cubicBezTo>
                      <a:pt x="3895" y="7247"/>
                      <a:pt x="3895" y="7246"/>
                      <a:pt x="3895" y="7246"/>
                    </a:cubicBezTo>
                    <a:cubicBezTo>
                      <a:pt x="3886" y="7245"/>
                      <a:pt x="3866" y="7242"/>
                      <a:pt x="3858" y="7241"/>
                    </a:cubicBezTo>
                    <a:cubicBezTo>
                      <a:pt x="3710" y="7361"/>
                      <a:pt x="3710" y="7361"/>
                      <a:pt x="3710" y="7361"/>
                    </a:cubicBezTo>
                    <a:lnTo>
                      <a:pt x="3904" y="7587"/>
                    </a:lnTo>
                    <a:close/>
                    <a:moveTo>
                      <a:pt x="4103" y="8021"/>
                    </a:moveTo>
                    <a:cubicBezTo>
                      <a:pt x="4140" y="8022"/>
                      <a:pt x="4177" y="8025"/>
                      <a:pt x="4215" y="8028"/>
                    </a:cubicBezTo>
                    <a:cubicBezTo>
                      <a:pt x="4204" y="7977"/>
                      <a:pt x="4204" y="7977"/>
                      <a:pt x="4204" y="7977"/>
                    </a:cubicBezTo>
                    <a:cubicBezTo>
                      <a:pt x="4117" y="7990"/>
                      <a:pt x="4117" y="7990"/>
                      <a:pt x="4117" y="7990"/>
                    </a:cubicBezTo>
                    <a:cubicBezTo>
                      <a:pt x="4093" y="7835"/>
                      <a:pt x="4093" y="7835"/>
                      <a:pt x="4093" y="7835"/>
                    </a:cubicBezTo>
                    <a:cubicBezTo>
                      <a:pt x="4170" y="7824"/>
                      <a:pt x="4170" y="7824"/>
                      <a:pt x="4170" y="7824"/>
                    </a:cubicBezTo>
                    <a:cubicBezTo>
                      <a:pt x="4124" y="7620"/>
                      <a:pt x="4124" y="7620"/>
                      <a:pt x="4124" y="7620"/>
                    </a:cubicBezTo>
                    <a:cubicBezTo>
                      <a:pt x="4062" y="7651"/>
                      <a:pt x="4062" y="7651"/>
                      <a:pt x="4062" y="7651"/>
                    </a:cubicBezTo>
                    <a:cubicBezTo>
                      <a:pt x="4017" y="7671"/>
                      <a:pt x="4017" y="7671"/>
                      <a:pt x="4017" y="7671"/>
                    </a:cubicBezTo>
                    <a:lnTo>
                      <a:pt x="4103" y="8021"/>
                    </a:lnTo>
                    <a:close/>
                    <a:moveTo>
                      <a:pt x="6535" y="8016"/>
                    </a:moveTo>
                    <a:cubicBezTo>
                      <a:pt x="6557" y="7934"/>
                      <a:pt x="6581" y="7855"/>
                      <a:pt x="6621" y="7802"/>
                    </a:cubicBezTo>
                    <a:cubicBezTo>
                      <a:pt x="6651" y="7762"/>
                      <a:pt x="6672" y="7734"/>
                      <a:pt x="6694" y="7714"/>
                    </a:cubicBezTo>
                    <a:cubicBezTo>
                      <a:pt x="6715" y="7693"/>
                      <a:pt x="6738" y="7678"/>
                      <a:pt x="6778" y="7661"/>
                    </a:cubicBezTo>
                    <a:cubicBezTo>
                      <a:pt x="6857" y="7628"/>
                      <a:pt x="7002" y="7596"/>
                      <a:pt x="7284" y="7542"/>
                    </a:cubicBezTo>
                    <a:cubicBezTo>
                      <a:pt x="7865" y="7431"/>
                      <a:pt x="8188" y="7146"/>
                      <a:pt x="8325" y="6909"/>
                    </a:cubicBezTo>
                    <a:cubicBezTo>
                      <a:pt x="8374" y="6822"/>
                      <a:pt x="8390" y="6696"/>
                      <a:pt x="8391" y="6536"/>
                    </a:cubicBezTo>
                    <a:cubicBezTo>
                      <a:pt x="8391" y="6522"/>
                      <a:pt x="8390" y="6507"/>
                      <a:pt x="8390" y="6493"/>
                    </a:cubicBezTo>
                    <a:cubicBezTo>
                      <a:pt x="8353" y="6488"/>
                      <a:pt x="8311" y="6483"/>
                      <a:pt x="8267" y="6478"/>
                    </a:cubicBezTo>
                    <a:cubicBezTo>
                      <a:pt x="8267" y="6497"/>
                      <a:pt x="8268" y="6516"/>
                      <a:pt x="8268" y="6534"/>
                    </a:cubicBezTo>
                    <a:cubicBezTo>
                      <a:pt x="8268" y="6536"/>
                      <a:pt x="8268" y="6536"/>
                      <a:pt x="8268" y="6536"/>
                    </a:cubicBezTo>
                    <a:cubicBezTo>
                      <a:pt x="8268" y="6540"/>
                      <a:pt x="8268" y="6543"/>
                      <a:pt x="8268" y="6546"/>
                    </a:cubicBezTo>
                    <a:cubicBezTo>
                      <a:pt x="8267" y="6691"/>
                      <a:pt x="8247" y="6802"/>
                      <a:pt x="8219" y="6848"/>
                    </a:cubicBezTo>
                    <a:cubicBezTo>
                      <a:pt x="8102" y="7050"/>
                      <a:pt x="7812" y="7315"/>
                      <a:pt x="7261" y="7421"/>
                    </a:cubicBezTo>
                    <a:cubicBezTo>
                      <a:pt x="7049" y="7462"/>
                      <a:pt x="6913" y="7490"/>
                      <a:pt x="6816" y="7518"/>
                    </a:cubicBezTo>
                    <a:cubicBezTo>
                      <a:pt x="6720" y="7546"/>
                      <a:pt x="6658" y="7578"/>
                      <a:pt x="6609" y="7624"/>
                    </a:cubicBezTo>
                    <a:cubicBezTo>
                      <a:pt x="6577" y="7655"/>
                      <a:pt x="6552" y="7689"/>
                      <a:pt x="6522" y="7729"/>
                    </a:cubicBezTo>
                    <a:cubicBezTo>
                      <a:pt x="6520" y="7732"/>
                      <a:pt x="6517" y="7736"/>
                      <a:pt x="6515" y="7740"/>
                    </a:cubicBezTo>
                    <a:cubicBezTo>
                      <a:pt x="6516" y="7741"/>
                      <a:pt x="6516" y="7741"/>
                      <a:pt x="6516" y="7741"/>
                    </a:cubicBezTo>
                    <a:cubicBezTo>
                      <a:pt x="6508" y="7752"/>
                      <a:pt x="6508" y="7752"/>
                      <a:pt x="6508" y="7752"/>
                    </a:cubicBezTo>
                    <a:cubicBezTo>
                      <a:pt x="6507" y="7751"/>
                      <a:pt x="6507" y="7751"/>
                      <a:pt x="6507" y="7751"/>
                    </a:cubicBezTo>
                    <a:cubicBezTo>
                      <a:pt x="6483" y="7788"/>
                      <a:pt x="6466" y="7828"/>
                      <a:pt x="6451" y="7868"/>
                    </a:cubicBezTo>
                    <a:cubicBezTo>
                      <a:pt x="6454" y="7869"/>
                      <a:pt x="6454" y="7869"/>
                      <a:pt x="6454" y="7869"/>
                    </a:cubicBezTo>
                    <a:cubicBezTo>
                      <a:pt x="6447" y="7882"/>
                      <a:pt x="6447" y="7882"/>
                      <a:pt x="6447" y="7882"/>
                    </a:cubicBezTo>
                    <a:cubicBezTo>
                      <a:pt x="6447" y="7881"/>
                      <a:pt x="6447" y="7881"/>
                      <a:pt x="6447" y="7881"/>
                    </a:cubicBezTo>
                    <a:cubicBezTo>
                      <a:pt x="6438" y="7908"/>
                      <a:pt x="6430" y="7935"/>
                      <a:pt x="6423" y="7962"/>
                    </a:cubicBezTo>
                    <a:cubicBezTo>
                      <a:pt x="6418" y="7977"/>
                      <a:pt x="6414" y="7992"/>
                      <a:pt x="6410" y="8007"/>
                    </a:cubicBezTo>
                    <a:cubicBezTo>
                      <a:pt x="6462" y="8011"/>
                      <a:pt x="6505" y="8014"/>
                      <a:pt x="6535" y="8016"/>
                    </a:cubicBezTo>
                    <a:close/>
                    <a:moveTo>
                      <a:pt x="8404" y="6428"/>
                    </a:moveTo>
                    <a:cubicBezTo>
                      <a:pt x="8447" y="6433"/>
                      <a:pt x="8484" y="6438"/>
                      <a:pt x="8513" y="6441"/>
                    </a:cubicBezTo>
                    <a:cubicBezTo>
                      <a:pt x="8517" y="6442"/>
                      <a:pt x="8520" y="6443"/>
                      <a:pt x="8524" y="6443"/>
                    </a:cubicBezTo>
                    <a:cubicBezTo>
                      <a:pt x="8524" y="6334"/>
                      <a:pt x="8521" y="6231"/>
                      <a:pt x="8516" y="6149"/>
                    </a:cubicBezTo>
                    <a:cubicBezTo>
                      <a:pt x="8501" y="5849"/>
                      <a:pt x="8327" y="5393"/>
                      <a:pt x="8215" y="5181"/>
                    </a:cubicBezTo>
                    <a:cubicBezTo>
                      <a:pt x="8096" y="4977"/>
                      <a:pt x="8096" y="4977"/>
                      <a:pt x="8096" y="4977"/>
                    </a:cubicBezTo>
                    <a:cubicBezTo>
                      <a:pt x="7997" y="4973"/>
                      <a:pt x="7997" y="4973"/>
                      <a:pt x="7997" y="4973"/>
                    </a:cubicBezTo>
                    <a:cubicBezTo>
                      <a:pt x="8039" y="5039"/>
                      <a:pt x="8077" y="5108"/>
                      <a:pt x="8108" y="5180"/>
                    </a:cubicBezTo>
                    <a:cubicBezTo>
                      <a:pt x="8287" y="5583"/>
                      <a:pt x="8387" y="6065"/>
                      <a:pt x="8404" y="6428"/>
                    </a:cubicBezTo>
                    <a:close/>
                    <a:moveTo>
                      <a:pt x="8056" y="4909"/>
                    </a:moveTo>
                    <a:cubicBezTo>
                      <a:pt x="7797" y="4464"/>
                      <a:pt x="7797" y="4464"/>
                      <a:pt x="7797" y="4464"/>
                    </a:cubicBezTo>
                    <a:cubicBezTo>
                      <a:pt x="7392" y="3451"/>
                      <a:pt x="7392" y="3451"/>
                      <a:pt x="7392" y="3451"/>
                    </a:cubicBezTo>
                    <a:cubicBezTo>
                      <a:pt x="7382" y="3457"/>
                      <a:pt x="7372" y="3462"/>
                      <a:pt x="7363" y="3467"/>
                    </a:cubicBezTo>
                    <a:cubicBezTo>
                      <a:pt x="7250" y="3534"/>
                      <a:pt x="7163" y="3623"/>
                      <a:pt x="7142" y="3761"/>
                    </a:cubicBezTo>
                    <a:cubicBezTo>
                      <a:pt x="7140" y="3771"/>
                      <a:pt x="7140" y="3781"/>
                      <a:pt x="7140" y="3791"/>
                    </a:cubicBezTo>
                    <a:cubicBezTo>
                      <a:pt x="7140" y="3792"/>
                      <a:pt x="7140" y="3793"/>
                      <a:pt x="7140" y="3793"/>
                    </a:cubicBezTo>
                    <a:cubicBezTo>
                      <a:pt x="7139" y="3861"/>
                      <a:pt x="7175" y="3947"/>
                      <a:pt x="7241" y="4044"/>
                    </a:cubicBezTo>
                    <a:cubicBezTo>
                      <a:pt x="7341" y="4191"/>
                      <a:pt x="7506" y="4360"/>
                      <a:pt x="7671" y="4548"/>
                    </a:cubicBezTo>
                    <a:cubicBezTo>
                      <a:pt x="7769" y="4659"/>
                      <a:pt x="7868" y="4778"/>
                      <a:pt x="7954" y="4905"/>
                    </a:cubicBezTo>
                    <a:lnTo>
                      <a:pt x="8056" y="4909"/>
                    </a:lnTo>
                    <a:close/>
                    <a:moveTo>
                      <a:pt x="10529" y="2537"/>
                    </a:moveTo>
                    <a:cubicBezTo>
                      <a:pt x="10526" y="2527"/>
                      <a:pt x="10524" y="2516"/>
                      <a:pt x="10521" y="2507"/>
                    </a:cubicBezTo>
                    <a:cubicBezTo>
                      <a:pt x="10512" y="2474"/>
                      <a:pt x="10504" y="2444"/>
                      <a:pt x="10497" y="2418"/>
                    </a:cubicBezTo>
                    <a:cubicBezTo>
                      <a:pt x="10487" y="2421"/>
                      <a:pt x="10477" y="2424"/>
                      <a:pt x="10467" y="2427"/>
                    </a:cubicBezTo>
                    <a:cubicBezTo>
                      <a:pt x="10293" y="2480"/>
                      <a:pt x="10062" y="2546"/>
                      <a:pt x="9809" y="2616"/>
                    </a:cubicBezTo>
                    <a:cubicBezTo>
                      <a:pt x="9302" y="2758"/>
                      <a:pt x="8702" y="2919"/>
                      <a:pt x="8270" y="3036"/>
                    </a:cubicBezTo>
                    <a:cubicBezTo>
                      <a:pt x="7982" y="3114"/>
                      <a:pt x="7770" y="3171"/>
                      <a:pt x="7706" y="3191"/>
                    </a:cubicBezTo>
                    <a:cubicBezTo>
                      <a:pt x="7697" y="3194"/>
                      <a:pt x="7693" y="3195"/>
                      <a:pt x="7685" y="3198"/>
                    </a:cubicBezTo>
                    <a:cubicBezTo>
                      <a:pt x="7677" y="3202"/>
                      <a:pt x="7646" y="3210"/>
                      <a:pt x="7606" y="3222"/>
                    </a:cubicBezTo>
                    <a:cubicBezTo>
                      <a:pt x="7570" y="3232"/>
                      <a:pt x="7525" y="3245"/>
                      <a:pt x="7477" y="3263"/>
                    </a:cubicBezTo>
                    <a:cubicBezTo>
                      <a:pt x="7499" y="3309"/>
                      <a:pt x="7512" y="3341"/>
                      <a:pt x="7512" y="3342"/>
                    </a:cubicBezTo>
                    <a:cubicBezTo>
                      <a:pt x="7526" y="3376"/>
                      <a:pt x="7526" y="3376"/>
                      <a:pt x="7526" y="3376"/>
                    </a:cubicBezTo>
                    <a:cubicBezTo>
                      <a:pt x="7583" y="3355"/>
                      <a:pt x="7637" y="3341"/>
                      <a:pt x="7676" y="3330"/>
                    </a:cubicBezTo>
                    <a:cubicBezTo>
                      <a:pt x="7699" y="3323"/>
                      <a:pt x="7716" y="3319"/>
                      <a:pt x="7732" y="3312"/>
                    </a:cubicBezTo>
                    <a:cubicBezTo>
                      <a:pt x="7741" y="3309"/>
                      <a:pt x="7741" y="3309"/>
                      <a:pt x="7741" y="3309"/>
                    </a:cubicBezTo>
                    <a:cubicBezTo>
                      <a:pt x="7741" y="3309"/>
                      <a:pt x="7741" y="3309"/>
                      <a:pt x="7741" y="3309"/>
                    </a:cubicBezTo>
                    <a:cubicBezTo>
                      <a:pt x="7744" y="3308"/>
                      <a:pt x="7748" y="3307"/>
                      <a:pt x="7753" y="3305"/>
                    </a:cubicBezTo>
                    <a:cubicBezTo>
                      <a:pt x="7766" y="3301"/>
                      <a:pt x="7785" y="3296"/>
                      <a:pt x="7808" y="3290"/>
                    </a:cubicBezTo>
                    <a:cubicBezTo>
                      <a:pt x="7854" y="3277"/>
                      <a:pt x="7918" y="3259"/>
                      <a:pt x="7996" y="3238"/>
                    </a:cubicBezTo>
                    <a:cubicBezTo>
                      <a:pt x="8152" y="3195"/>
                      <a:pt x="8363" y="3138"/>
                      <a:pt x="8601" y="3074"/>
                    </a:cubicBezTo>
                    <a:cubicBezTo>
                      <a:pt x="9078" y="2945"/>
                      <a:pt x="9659" y="2787"/>
                      <a:pt x="10110" y="2659"/>
                    </a:cubicBezTo>
                    <a:cubicBezTo>
                      <a:pt x="10270" y="2614"/>
                      <a:pt x="10413" y="2572"/>
                      <a:pt x="10529" y="2537"/>
                    </a:cubicBezTo>
                    <a:close/>
                    <a:moveTo>
                      <a:pt x="10493" y="2402"/>
                    </a:moveTo>
                    <a:cubicBezTo>
                      <a:pt x="10486" y="2377"/>
                      <a:pt x="10480" y="2355"/>
                      <a:pt x="10475" y="2338"/>
                    </a:cubicBezTo>
                    <a:cubicBezTo>
                      <a:pt x="10423" y="2351"/>
                      <a:pt x="10337" y="2373"/>
                      <a:pt x="10227" y="2401"/>
                    </a:cubicBezTo>
                    <a:cubicBezTo>
                      <a:pt x="9955" y="2469"/>
                      <a:pt x="9548" y="2573"/>
                      <a:pt x="9208" y="2658"/>
                    </a:cubicBezTo>
                    <a:cubicBezTo>
                      <a:pt x="9038" y="2701"/>
                      <a:pt x="8885" y="2740"/>
                      <a:pt x="8774" y="2768"/>
                    </a:cubicBezTo>
                    <a:cubicBezTo>
                      <a:pt x="8719" y="2782"/>
                      <a:pt x="8674" y="2793"/>
                      <a:pt x="8643" y="2801"/>
                    </a:cubicBezTo>
                    <a:cubicBezTo>
                      <a:pt x="8627" y="2805"/>
                      <a:pt x="8615" y="2808"/>
                      <a:pt x="8607" y="2810"/>
                    </a:cubicBezTo>
                    <a:cubicBezTo>
                      <a:pt x="8603" y="2811"/>
                      <a:pt x="8600" y="2812"/>
                      <a:pt x="8598" y="2812"/>
                    </a:cubicBezTo>
                    <a:cubicBezTo>
                      <a:pt x="8597" y="2812"/>
                      <a:pt x="8597" y="2812"/>
                      <a:pt x="8597" y="2812"/>
                    </a:cubicBezTo>
                    <a:cubicBezTo>
                      <a:pt x="8588" y="2815"/>
                      <a:pt x="8588" y="2815"/>
                      <a:pt x="8588" y="2815"/>
                    </a:cubicBezTo>
                    <a:cubicBezTo>
                      <a:pt x="8587" y="2815"/>
                      <a:pt x="8587" y="2815"/>
                      <a:pt x="8587" y="2815"/>
                    </a:cubicBezTo>
                    <a:cubicBezTo>
                      <a:pt x="8529" y="2833"/>
                      <a:pt x="8244" y="2921"/>
                      <a:pt x="7963" y="3008"/>
                    </a:cubicBezTo>
                    <a:cubicBezTo>
                      <a:pt x="7751" y="3073"/>
                      <a:pt x="7542" y="3137"/>
                      <a:pt x="7430" y="3172"/>
                    </a:cubicBezTo>
                    <a:cubicBezTo>
                      <a:pt x="7434" y="3180"/>
                      <a:pt x="7439" y="3187"/>
                      <a:pt x="7443" y="3195"/>
                    </a:cubicBezTo>
                    <a:cubicBezTo>
                      <a:pt x="7453" y="3214"/>
                      <a:pt x="7461" y="3231"/>
                      <a:pt x="7469" y="3248"/>
                    </a:cubicBezTo>
                    <a:cubicBezTo>
                      <a:pt x="7519" y="3230"/>
                      <a:pt x="7565" y="3216"/>
                      <a:pt x="7602" y="3206"/>
                    </a:cubicBezTo>
                    <a:cubicBezTo>
                      <a:pt x="7641" y="3195"/>
                      <a:pt x="7674" y="3185"/>
                      <a:pt x="7679" y="3183"/>
                    </a:cubicBezTo>
                    <a:cubicBezTo>
                      <a:pt x="7687" y="3180"/>
                      <a:pt x="7693" y="3178"/>
                      <a:pt x="7701" y="3175"/>
                    </a:cubicBezTo>
                    <a:cubicBezTo>
                      <a:pt x="7766" y="3155"/>
                      <a:pt x="7977" y="3098"/>
                      <a:pt x="8266" y="3020"/>
                    </a:cubicBezTo>
                    <a:cubicBezTo>
                      <a:pt x="8698" y="2903"/>
                      <a:pt x="9297" y="2742"/>
                      <a:pt x="9804" y="2600"/>
                    </a:cubicBezTo>
                    <a:cubicBezTo>
                      <a:pt x="10058" y="2530"/>
                      <a:pt x="10288" y="2464"/>
                      <a:pt x="10462" y="2412"/>
                    </a:cubicBezTo>
                    <a:cubicBezTo>
                      <a:pt x="10473" y="2408"/>
                      <a:pt x="10482" y="2405"/>
                      <a:pt x="10493" y="2402"/>
                    </a:cubicBezTo>
                    <a:close/>
                    <a:moveTo>
                      <a:pt x="8503" y="2717"/>
                    </a:moveTo>
                    <a:cubicBezTo>
                      <a:pt x="8505" y="2711"/>
                      <a:pt x="8507" y="2706"/>
                      <a:pt x="8510" y="2701"/>
                    </a:cubicBezTo>
                    <a:cubicBezTo>
                      <a:pt x="8510" y="2701"/>
                      <a:pt x="8509" y="2702"/>
                      <a:pt x="8509" y="2703"/>
                    </a:cubicBezTo>
                    <a:cubicBezTo>
                      <a:pt x="8506" y="2708"/>
                      <a:pt x="8504" y="2713"/>
                      <a:pt x="8503" y="2717"/>
                    </a:cubicBezTo>
                    <a:close/>
                    <a:moveTo>
                      <a:pt x="8526" y="2674"/>
                    </a:moveTo>
                    <a:cubicBezTo>
                      <a:pt x="8524" y="2625"/>
                      <a:pt x="8519" y="2536"/>
                      <a:pt x="8516" y="2458"/>
                    </a:cubicBezTo>
                    <a:cubicBezTo>
                      <a:pt x="7276" y="2482"/>
                      <a:pt x="7276" y="2482"/>
                      <a:pt x="7276" y="2482"/>
                    </a:cubicBezTo>
                    <a:cubicBezTo>
                      <a:pt x="7273" y="2481"/>
                      <a:pt x="7273" y="2481"/>
                      <a:pt x="7273" y="2481"/>
                    </a:cubicBezTo>
                    <a:cubicBezTo>
                      <a:pt x="7273" y="2481"/>
                      <a:pt x="7175" y="2465"/>
                      <a:pt x="7064" y="2449"/>
                    </a:cubicBezTo>
                    <a:cubicBezTo>
                      <a:pt x="6953" y="2433"/>
                      <a:pt x="6827" y="2416"/>
                      <a:pt x="6781" y="2417"/>
                    </a:cubicBezTo>
                    <a:cubicBezTo>
                      <a:pt x="6731" y="2417"/>
                      <a:pt x="6691" y="2421"/>
                      <a:pt x="6660" y="2432"/>
                    </a:cubicBezTo>
                    <a:cubicBezTo>
                      <a:pt x="6630" y="2443"/>
                      <a:pt x="6609" y="2458"/>
                      <a:pt x="6591" y="2482"/>
                    </a:cubicBezTo>
                    <a:cubicBezTo>
                      <a:pt x="6521" y="2728"/>
                      <a:pt x="6521" y="2728"/>
                      <a:pt x="6521" y="2728"/>
                    </a:cubicBezTo>
                    <a:cubicBezTo>
                      <a:pt x="6687" y="2770"/>
                      <a:pt x="6841" y="2809"/>
                      <a:pt x="6890" y="2820"/>
                    </a:cubicBezTo>
                    <a:cubicBezTo>
                      <a:pt x="6994" y="2845"/>
                      <a:pt x="7143" y="2866"/>
                      <a:pt x="7273" y="2967"/>
                    </a:cubicBezTo>
                    <a:cubicBezTo>
                      <a:pt x="7299" y="2987"/>
                      <a:pt x="7322" y="3012"/>
                      <a:pt x="7344" y="3039"/>
                    </a:cubicBezTo>
                    <a:cubicBezTo>
                      <a:pt x="7438" y="3009"/>
                      <a:pt x="7683" y="2934"/>
                      <a:pt x="7927" y="2859"/>
                    </a:cubicBezTo>
                    <a:cubicBezTo>
                      <a:pt x="8084" y="2811"/>
                      <a:pt x="8240" y="2762"/>
                      <a:pt x="8358" y="2726"/>
                    </a:cubicBezTo>
                    <a:cubicBezTo>
                      <a:pt x="8416" y="2708"/>
                      <a:pt x="8465" y="2693"/>
                      <a:pt x="8500" y="2683"/>
                    </a:cubicBezTo>
                    <a:cubicBezTo>
                      <a:pt x="8510" y="2679"/>
                      <a:pt x="8519" y="2677"/>
                      <a:pt x="8526" y="2674"/>
                    </a:cubicBezTo>
                    <a:close/>
                    <a:moveTo>
                      <a:pt x="4747" y="3719"/>
                    </a:moveTo>
                    <a:cubicBezTo>
                      <a:pt x="4623" y="3687"/>
                      <a:pt x="4465" y="3635"/>
                      <a:pt x="4287" y="3573"/>
                    </a:cubicBezTo>
                    <a:cubicBezTo>
                      <a:pt x="4272" y="3606"/>
                      <a:pt x="4238" y="3683"/>
                      <a:pt x="4208" y="3754"/>
                    </a:cubicBezTo>
                    <a:cubicBezTo>
                      <a:pt x="4177" y="3824"/>
                      <a:pt x="4149" y="3890"/>
                      <a:pt x="4140" y="3912"/>
                    </a:cubicBezTo>
                    <a:cubicBezTo>
                      <a:pt x="4142" y="3936"/>
                      <a:pt x="4147" y="4009"/>
                      <a:pt x="4151" y="4097"/>
                    </a:cubicBezTo>
                    <a:cubicBezTo>
                      <a:pt x="4660" y="4208"/>
                      <a:pt x="4660" y="4208"/>
                      <a:pt x="4660" y="4208"/>
                    </a:cubicBezTo>
                    <a:cubicBezTo>
                      <a:pt x="4662" y="4209"/>
                      <a:pt x="4662" y="4209"/>
                      <a:pt x="4662" y="4209"/>
                    </a:cubicBezTo>
                    <a:cubicBezTo>
                      <a:pt x="4662" y="4209"/>
                      <a:pt x="4755" y="4292"/>
                      <a:pt x="4849" y="4375"/>
                    </a:cubicBezTo>
                    <a:cubicBezTo>
                      <a:pt x="4896" y="4416"/>
                      <a:pt x="4943" y="4458"/>
                      <a:pt x="4979" y="4489"/>
                    </a:cubicBezTo>
                    <a:cubicBezTo>
                      <a:pt x="4997" y="4505"/>
                      <a:pt x="5012" y="4518"/>
                      <a:pt x="5023" y="4527"/>
                    </a:cubicBezTo>
                    <a:cubicBezTo>
                      <a:pt x="5029" y="4532"/>
                      <a:pt x="5033" y="4536"/>
                      <a:pt x="5036" y="4538"/>
                    </a:cubicBezTo>
                    <a:cubicBezTo>
                      <a:pt x="5038" y="4539"/>
                      <a:pt x="5039" y="4540"/>
                      <a:pt x="5040" y="4541"/>
                    </a:cubicBezTo>
                    <a:cubicBezTo>
                      <a:pt x="5040" y="4541"/>
                      <a:pt x="5040" y="4541"/>
                      <a:pt x="5040" y="4541"/>
                    </a:cubicBezTo>
                    <a:cubicBezTo>
                      <a:pt x="5049" y="4544"/>
                      <a:pt x="5414" y="4659"/>
                      <a:pt x="5415" y="4659"/>
                    </a:cubicBezTo>
                    <a:cubicBezTo>
                      <a:pt x="5419" y="4661"/>
                      <a:pt x="5419" y="4661"/>
                      <a:pt x="5419" y="4661"/>
                    </a:cubicBezTo>
                    <a:cubicBezTo>
                      <a:pt x="5438" y="5213"/>
                      <a:pt x="5438" y="5213"/>
                      <a:pt x="5438" y="5213"/>
                    </a:cubicBezTo>
                    <a:cubicBezTo>
                      <a:pt x="6061" y="5109"/>
                      <a:pt x="6061" y="5109"/>
                      <a:pt x="6061" y="5109"/>
                    </a:cubicBezTo>
                    <a:cubicBezTo>
                      <a:pt x="6104" y="4852"/>
                      <a:pt x="6104" y="4852"/>
                      <a:pt x="6104" y="4852"/>
                    </a:cubicBezTo>
                    <a:cubicBezTo>
                      <a:pt x="6104" y="4852"/>
                      <a:pt x="6106" y="4839"/>
                      <a:pt x="6108" y="4814"/>
                    </a:cubicBezTo>
                    <a:cubicBezTo>
                      <a:pt x="6111" y="4789"/>
                      <a:pt x="6113" y="4754"/>
                      <a:pt x="6113" y="4713"/>
                    </a:cubicBezTo>
                    <a:cubicBezTo>
                      <a:pt x="6113" y="4640"/>
                      <a:pt x="6105" y="4549"/>
                      <a:pt x="6078" y="4466"/>
                    </a:cubicBezTo>
                    <a:cubicBezTo>
                      <a:pt x="6050" y="4383"/>
                      <a:pt x="6004" y="4311"/>
                      <a:pt x="5927" y="4268"/>
                    </a:cubicBezTo>
                    <a:cubicBezTo>
                      <a:pt x="5656" y="4117"/>
                      <a:pt x="5545" y="3989"/>
                      <a:pt x="5369" y="3915"/>
                    </a:cubicBezTo>
                    <a:cubicBezTo>
                      <a:pt x="5189" y="3837"/>
                      <a:pt x="4948" y="3772"/>
                      <a:pt x="4747" y="3719"/>
                    </a:cubicBezTo>
                    <a:close/>
                    <a:moveTo>
                      <a:pt x="4225" y="3551"/>
                    </a:moveTo>
                    <a:cubicBezTo>
                      <a:pt x="4129" y="3517"/>
                      <a:pt x="4028" y="3480"/>
                      <a:pt x="3925" y="3442"/>
                    </a:cubicBezTo>
                    <a:cubicBezTo>
                      <a:pt x="3763" y="3382"/>
                      <a:pt x="3585" y="3305"/>
                      <a:pt x="3435" y="3240"/>
                    </a:cubicBezTo>
                    <a:cubicBezTo>
                      <a:pt x="3286" y="3175"/>
                      <a:pt x="3161" y="3121"/>
                      <a:pt x="3117" y="3110"/>
                    </a:cubicBezTo>
                    <a:cubicBezTo>
                      <a:pt x="3076" y="3099"/>
                      <a:pt x="3015" y="3085"/>
                      <a:pt x="2943" y="3085"/>
                    </a:cubicBezTo>
                    <a:cubicBezTo>
                      <a:pt x="2844" y="3085"/>
                      <a:pt x="2724" y="3111"/>
                      <a:pt x="2603" y="3213"/>
                    </a:cubicBezTo>
                    <a:cubicBezTo>
                      <a:pt x="2531" y="3273"/>
                      <a:pt x="2416" y="3404"/>
                      <a:pt x="2260" y="3574"/>
                    </a:cubicBezTo>
                    <a:cubicBezTo>
                      <a:pt x="2111" y="3735"/>
                      <a:pt x="1948" y="3912"/>
                      <a:pt x="1821" y="4049"/>
                    </a:cubicBezTo>
                    <a:cubicBezTo>
                      <a:pt x="1757" y="4118"/>
                      <a:pt x="1703" y="4177"/>
                      <a:pt x="1664" y="4218"/>
                    </a:cubicBezTo>
                    <a:cubicBezTo>
                      <a:pt x="1652" y="4231"/>
                      <a:pt x="1642" y="4242"/>
                      <a:pt x="1633" y="4252"/>
                    </a:cubicBezTo>
                    <a:cubicBezTo>
                      <a:pt x="2208" y="4669"/>
                      <a:pt x="2208" y="4669"/>
                      <a:pt x="2208" y="4669"/>
                    </a:cubicBezTo>
                    <a:cubicBezTo>
                      <a:pt x="2641" y="4178"/>
                      <a:pt x="2641" y="4178"/>
                      <a:pt x="2641" y="4178"/>
                    </a:cubicBezTo>
                    <a:cubicBezTo>
                      <a:pt x="3709" y="4048"/>
                      <a:pt x="3709" y="4048"/>
                      <a:pt x="3709" y="4048"/>
                    </a:cubicBezTo>
                    <a:cubicBezTo>
                      <a:pt x="4084" y="4086"/>
                      <a:pt x="4084" y="4086"/>
                      <a:pt x="4084" y="4086"/>
                    </a:cubicBezTo>
                    <a:cubicBezTo>
                      <a:pt x="4080" y="3987"/>
                      <a:pt x="4074" y="3909"/>
                      <a:pt x="4074" y="3909"/>
                    </a:cubicBezTo>
                    <a:cubicBezTo>
                      <a:pt x="4074" y="3901"/>
                      <a:pt x="4074" y="3901"/>
                      <a:pt x="4074" y="3901"/>
                    </a:cubicBezTo>
                    <a:cubicBezTo>
                      <a:pt x="4077" y="3894"/>
                      <a:pt x="4077" y="3894"/>
                      <a:pt x="4077" y="3894"/>
                    </a:cubicBezTo>
                    <a:cubicBezTo>
                      <a:pt x="4077" y="3894"/>
                      <a:pt x="4115" y="3803"/>
                      <a:pt x="4155" y="3711"/>
                    </a:cubicBezTo>
                    <a:cubicBezTo>
                      <a:pt x="4174" y="3665"/>
                      <a:pt x="4194" y="3619"/>
                      <a:pt x="4210" y="3584"/>
                    </a:cubicBezTo>
                    <a:cubicBezTo>
                      <a:pt x="4216" y="3571"/>
                      <a:pt x="4221" y="3561"/>
                      <a:pt x="4225" y="3551"/>
                    </a:cubicBezTo>
                    <a:close/>
                    <a:moveTo>
                      <a:pt x="1593" y="4304"/>
                    </a:moveTo>
                    <a:cubicBezTo>
                      <a:pt x="1593" y="4304"/>
                      <a:pt x="1592" y="4304"/>
                      <a:pt x="1592" y="4303"/>
                    </a:cubicBezTo>
                    <a:cubicBezTo>
                      <a:pt x="1589" y="4310"/>
                      <a:pt x="1585" y="4319"/>
                      <a:pt x="1581" y="4330"/>
                    </a:cubicBezTo>
                    <a:cubicBezTo>
                      <a:pt x="1559" y="4383"/>
                      <a:pt x="1523" y="4474"/>
                      <a:pt x="1509" y="4511"/>
                    </a:cubicBezTo>
                    <a:cubicBezTo>
                      <a:pt x="1783" y="4667"/>
                      <a:pt x="1783" y="4667"/>
                      <a:pt x="1783" y="4667"/>
                    </a:cubicBezTo>
                    <a:cubicBezTo>
                      <a:pt x="1909" y="4533"/>
                      <a:pt x="1909" y="4533"/>
                      <a:pt x="1909" y="4533"/>
                    </a:cubicBezTo>
                    <a:lnTo>
                      <a:pt x="1593" y="4304"/>
                    </a:lnTo>
                    <a:close/>
                    <a:moveTo>
                      <a:pt x="1763" y="4825"/>
                    </a:moveTo>
                    <a:cubicBezTo>
                      <a:pt x="2088" y="5010"/>
                      <a:pt x="2088" y="5010"/>
                      <a:pt x="2088" y="5010"/>
                    </a:cubicBezTo>
                    <a:cubicBezTo>
                      <a:pt x="2146" y="4907"/>
                      <a:pt x="2146" y="4907"/>
                      <a:pt x="2146" y="4907"/>
                    </a:cubicBezTo>
                    <a:cubicBezTo>
                      <a:pt x="2283" y="4985"/>
                      <a:pt x="2283" y="4985"/>
                      <a:pt x="2283" y="4985"/>
                    </a:cubicBezTo>
                    <a:cubicBezTo>
                      <a:pt x="2280" y="4990"/>
                      <a:pt x="2280" y="4990"/>
                      <a:pt x="2280" y="4990"/>
                    </a:cubicBezTo>
                    <a:cubicBezTo>
                      <a:pt x="2225" y="5088"/>
                      <a:pt x="2225" y="5088"/>
                      <a:pt x="2225" y="5088"/>
                    </a:cubicBezTo>
                    <a:cubicBezTo>
                      <a:pt x="2272" y="5115"/>
                      <a:pt x="2272" y="5115"/>
                      <a:pt x="2272" y="5115"/>
                    </a:cubicBezTo>
                    <a:cubicBezTo>
                      <a:pt x="2337" y="4999"/>
                      <a:pt x="2337" y="4999"/>
                      <a:pt x="2337" y="4999"/>
                    </a:cubicBezTo>
                    <a:cubicBezTo>
                      <a:pt x="1792" y="4688"/>
                      <a:pt x="1792" y="4688"/>
                      <a:pt x="1792" y="4688"/>
                    </a:cubicBezTo>
                    <a:lnTo>
                      <a:pt x="1763" y="4825"/>
                    </a:lnTo>
                    <a:close/>
                    <a:moveTo>
                      <a:pt x="1755" y="4836"/>
                    </a:moveTo>
                    <a:cubicBezTo>
                      <a:pt x="1675" y="4916"/>
                      <a:pt x="1675" y="4916"/>
                      <a:pt x="1675" y="4916"/>
                    </a:cubicBezTo>
                    <a:cubicBezTo>
                      <a:pt x="2027" y="5117"/>
                      <a:pt x="2027" y="5117"/>
                      <a:pt x="2027" y="5117"/>
                    </a:cubicBezTo>
                    <a:cubicBezTo>
                      <a:pt x="2081" y="5022"/>
                      <a:pt x="2081" y="5022"/>
                      <a:pt x="2081" y="5022"/>
                    </a:cubicBezTo>
                    <a:lnTo>
                      <a:pt x="1755" y="4836"/>
                    </a:lnTo>
                    <a:close/>
                    <a:moveTo>
                      <a:pt x="1742" y="4829"/>
                    </a:moveTo>
                    <a:cubicBezTo>
                      <a:pt x="1338" y="4598"/>
                      <a:pt x="1338" y="4598"/>
                      <a:pt x="1338" y="4598"/>
                    </a:cubicBezTo>
                    <a:cubicBezTo>
                      <a:pt x="1286" y="4693"/>
                      <a:pt x="1286" y="4693"/>
                      <a:pt x="1286" y="4693"/>
                    </a:cubicBezTo>
                    <a:cubicBezTo>
                      <a:pt x="1663" y="4909"/>
                      <a:pt x="1663" y="4909"/>
                      <a:pt x="1663" y="4909"/>
                    </a:cubicBezTo>
                    <a:lnTo>
                      <a:pt x="1742" y="4829"/>
                    </a:lnTo>
                    <a:close/>
                    <a:moveTo>
                      <a:pt x="1380" y="4493"/>
                    </a:moveTo>
                    <a:cubicBezTo>
                      <a:pt x="1264" y="4431"/>
                      <a:pt x="1264" y="4431"/>
                      <a:pt x="1264" y="4431"/>
                    </a:cubicBezTo>
                    <a:cubicBezTo>
                      <a:pt x="1219" y="4514"/>
                      <a:pt x="1219" y="4514"/>
                      <a:pt x="1219" y="4514"/>
                    </a:cubicBezTo>
                    <a:cubicBezTo>
                      <a:pt x="1333" y="4579"/>
                      <a:pt x="1333" y="4579"/>
                      <a:pt x="1333" y="4579"/>
                    </a:cubicBezTo>
                    <a:lnTo>
                      <a:pt x="1380" y="4493"/>
                    </a:lnTo>
                    <a:close/>
                    <a:moveTo>
                      <a:pt x="1212" y="4526"/>
                    </a:moveTo>
                    <a:cubicBezTo>
                      <a:pt x="1160" y="4622"/>
                      <a:pt x="1160" y="4622"/>
                      <a:pt x="1160" y="4622"/>
                    </a:cubicBezTo>
                    <a:cubicBezTo>
                      <a:pt x="1274" y="4687"/>
                      <a:pt x="1274" y="4687"/>
                      <a:pt x="1274" y="4687"/>
                    </a:cubicBezTo>
                    <a:cubicBezTo>
                      <a:pt x="1326" y="4592"/>
                      <a:pt x="1326" y="4592"/>
                      <a:pt x="1326" y="4592"/>
                    </a:cubicBezTo>
                    <a:lnTo>
                      <a:pt x="1212" y="4526"/>
                    </a:lnTo>
                    <a:close/>
                    <a:moveTo>
                      <a:pt x="1154" y="4634"/>
                    </a:moveTo>
                    <a:cubicBezTo>
                      <a:pt x="1106" y="4722"/>
                      <a:pt x="1106" y="4722"/>
                      <a:pt x="1106" y="4722"/>
                    </a:cubicBezTo>
                    <a:cubicBezTo>
                      <a:pt x="1220" y="4787"/>
                      <a:pt x="1220" y="4787"/>
                      <a:pt x="1220" y="4787"/>
                    </a:cubicBezTo>
                    <a:cubicBezTo>
                      <a:pt x="1268" y="4699"/>
                      <a:pt x="1268" y="4699"/>
                      <a:pt x="1268" y="4699"/>
                    </a:cubicBezTo>
                    <a:lnTo>
                      <a:pt x="1154" y="4634"/>
                    </a:lnTo>
                    <a:close/>
                    <a:moveTo>
                      <a:pt x="1099" y="4734"/>
                    </a:moveTo>
                    <a:cubicBezTo>
                      <a:pt x="1049" y="4827"/>
                      <a:pt x="1049" y="4827"/>
                      <a:pt x="1049" y="4827"/>
                    </a:cubicBezTo>
                    <a:cubicBezTo>
                      <a:pt x="1163" y="4892"/>
                      <a:pt x="1163" y="4892"/>
                      <a:pt x="1163" y="4892"/>
                    </a:cubicBezTo>
                    <a:cubicBezTo>
                      <a:pt x="1213" y="4799"/>
                      <a:pt x="1213" y="4799"/>
                      <a:pt x="1213" y="4799"/>
                    </a:cubicBezTo>
                    <a:lnTo>
                      <a:pt x="1099" y="4734"/>
                    </a:lnTo>
                    <a:close/>
                    <a:moveTo>
                      <a:pt x="1042" y="4839"/>
                    </a:moveTo>
                    <a:cubicBezTo>
                      <a:pt x="984" y="4946"/>
                      <a:pt x="984" y="4946"/>
                      <a:pt x="984" y="4946"/>
                    </a:cubicBezTo>
                    <a:cubicBezTo>
                      <a:pt x="1098" y="5011"/>
                      <a:pt x="1098" y="5011"/>
                      <a:pt x="1098" y="5011"/>
                    </a:cubicBezTo>
                    <a:cubicBezTo>
                      <a:pt x="1156" y="4904"/>
                      <a:pt x="1156" y="4904"/>
                      <a:pt x="1156" y="4904"/>
                    </a:cubicBezTo>
                    <a:lnTo>
                      <a:pt x="1042" y="4839"/>
                    </a:lnTo>
                    <a:close/>
                    <a:moveTo>
                      <a:pt x="977" y="4959"/>
                    </a:moveTo>
                    <a:cubicBezTo>
                      <a:pt x="920" y="5063"/>
                      <a:pt x="920" y="5063"/>
                      <a:pt x="920" y="5063"/>
                    </a:cubicBezTo>
                    <a:cubicBezTo>
                      <a:pt x="1034" y="5128"/>
                      <a:pt x="1034" y="5128"/>
                      <a:pt x="1034" y="5128"/>
                    </a:cubicBezTo>
                    <a:cubicBezTo>
                      <a:pt x="1091" y="5024"/>
                      <a:pt x="1091" y="5024"/>
                      <a:pt x="1091" y="5024"/>
                    </a:cubicBezTo>
                    <a:lnTo>
                      <a:pt x="977" y="4959"/>
                    </a:lnTo>
                    <a:close/>
                    <a:moveTo>
                      <a:pt x="914" y="5075"/>
                    </a:moveTo>
                    <a:cubicBezTo>
                      <a:pt x="861" y="5171"/>
                      <a:pt x="861" y="5171"/>
                      <a:pt x="861" y="5171"/>
                    </a:cubicBezTo>
                    <a:cubicBezTo>
                      <a:pt x="975" y="5236"/>
                      <a:pt x="975" y="5236"/>
                      <a:pt x="975" y="5236"/>
                    </a:cubicBezTo>
                    <a:cubicBezTo>
                      <a:pt x="1028" y="5140"/>
                      <a:pt x="1028" y="5140"/>
                      <a:pt x="1028" y="5140"/>
                    </a:cubicBezTo>
                    <a:lnTo>
                      <a:pt x="914" y="5075"/>
                    </a:lnTo>
                    <a:close/>
                    <a:moveTo>
                      <a:pt x="855" y="5183"/>
                    </a:moveTo>
                    <a:cubicBezTo>
                      <a:pt x="790" y="5301"/>
                      <a:pt x="790" y="5301"/>
                      <a:pt x="790" y="5301"/>
                    </a:cubicBezTo>
                    <a:cubicBezTo>
                      <a:pt x="905" y="5367"/>
                      <a:pt x="905" y="5367"/>
                      <a:pt x="905" y="5367"/>
                    </a:cubicBezTo>
                    <a:cubicBezTo>
                      <a:pt x="969" y="5248"/>
                      <a:pt x="969" y="5248"/>
                      <a:pt x="969" y="5248"/>
                    </a:cubicBezTo>
                    <a:lnTo>
                      <a:pt x="855" y="5183"/>
                    </a:lnTo>
                    <a:close/>
                    <a:moveTo>
                      <a:pt x="784" y="5314"/>
                    </a:moveTo>
                    <a:cubicBezTo>
                      <a:pt x="732" y="5409"/>
                      <a:pt x="732" y="5409"/>
                      <a:pt x="732" y="5409"/>
                    </a:cubicBezTo>
                    <a:cubicBezTo>
                      <a:pt x="846" y="5474"/>
                      <a:pt x="846" y="5474"/>
                      <a:pt x="846" y="5474"/>
                    </a:cubicBezTo>
                    <a:cubicBezTo>
                      <a:pt x="898" y="5379"/>
                      <a:pt x="898" y="5379"/>
                      <a:pt x="898" y="5379"/>
                    </a:cubicBezTo>
                    <a:lnTo>
                      <a:pt x="784" y="5314"/>
                    </a:lnTo>
                    <a:close/>
                    <a:moveTo>
                      <a:pt x="725" y="5421"/>
                    </a:moveTo>
                    <a:cubicBezTo>
                      <a:pt x="667" y="5528"/>
                      <a:pt x="667" y="5528"/>
                      <a:pt x="667" y="5528"/>
                    </a:cubicBezTo>
                    <a:cubicBezTo>
                      <a:pt x="781" y="5593"/>
                      <a:pt x="781" y="5593"/>
                      <a:pt x="781" y="5593"/>
                    </a:cubicBezTo>
                    <a:cubicBezTo>
                      <a:pt x="839" y="5487"/>
                      <a:pt x="839" y="5487"/>
                      <a:pt x="839" y="5487"/>
                    </a:cubicBezTo>
                    <a:lnTo>
                      <a:pt x="725" y="5421"/>
                    </a:lnTo>
                    <a:close/>
                    <a:moveTo>
                      <a:pt x="661" y="5540"/>
                    </a:moveTo>
                    <a:cubicBezTo>
                      <a:pt x="610" y="5633"/>
                      <a:pt x="610" y="5633"/>
                      <a:pt x="610" y="5633"/>
                    </a:cubicBezTo>
                    <a:cubicBezTo>
                      <a:pt x="724" y="5698"/>
                      <a:pt x="724" y="5698"/>
                      <a:pt x="724" y="5698"/>
                    </a:cubicBezTo>
                    <a:cubicBezTo>
                      <a:pt x="775" y="5605"/>
                      <a:pt x="775" y="5605"/>
                      <a:pt x="775" y="5605"/>
                    </a:cubicBezTo>
                    <a:lnTo>
                      <a:pt x="661" y="5540"/>
                    </a:lnTo>
                    <a:close/>
                    <a:moveTo>
                      <a:pt x="603" y="5645"/>
                    </a:moveTo>
                    <a:cubicBezTo>
                      <a:pt x="545" y="5753"/>
                      <a:pt x="545" y="5753"/>
                      <a:pt x="545" y="5753"/>
                    </a:cubicBezTo>
                    <a:cubicBezTo>
                      <a:pt x="659" y="5818"/>
                      <a:pt x="659" y="5818"/>
                      <a:pt x="659" y="5818"/>
                    </a:cubicBezTo>
                    <a:cubicBezTo>
                      <a:pt x="717" y="5710"/>
                      <a:pt x="717" y="5710"/>
                      <a:pt x="717" y="5710"/>
                    </a:cubicBezTo>
                    <a:lnTo>
                      <a:pt x="603" y="5645"/>
                    </a:lnTo>
                    <a:close/>
                    <a:moveTo>
                      <a:pt x="538" y="5765"/>
                    </a:moveTo>
                    <a:cubicBezTo>
                      <a:pt x="482" y="5869"/>
                      <a:pt x="482" y="5869"/>
                      <a:pt x="482" y="5869"/>
                    </a:cubicBezTo>
                    <a:cubicBezTo>
                      <a:pt x="596" y="5934"/>
                      <a:pt x="596" y="5934"/>
                      <a:pt x="596" y="5934"/>
                    </a:cubicBezTo>
                    <a:cubicBezTo>
                      <a:pt x="652" y="5830"/>
                      <a:pt x="652" y="5830"/>
                      <a:pt x="652" y="5830"/>
                    </a:cubicBezTo>
                    <a:lnTo>
                      <a:pt x="538" y="5765"/>
                    </a:lnTo>
                    <a:close/>
                    <a:moveTo>
                      <a:pt x="548" y="6049"/>
                    </a:moveTo>
                    <a:cubicBezTo>
                      <a:pt x="894" y="6246"/>
                      <a:pt x="894" y="6246"/>
                      <a:pt x="894" y="6246"/>
                    </a:cubicBezTo>
                    <a:cubicBezTo>
                      <a:pt x="936" y="6145"/>
                      <a:pt x="936" y="6145"/>
                      <a:pt x="936" y="6145"/>
                    </a:cubicBezTo>
                    <a:cubicBezTo>
                      <a:pt x="600" y="5953"/>
                      <a:pt x="600" y="5953"/>
                      <a:pt x="600" y="5953"/>
                    </a:cubicBezTo>
                    <a:lnTo>
                      <a:pt x="548" y="6049"/>
                    </a:lnTo>
                    <a:close/>
                    <a:moveTo>
                      <a:pt x="859" y="6366"/>
                    </a:moveTo>
                    <a:cubicBezTo>
                      <a:pt x="1401" y="6675"/>
                      <a:pt x="1401" y="6675"/>
                      <a:pt x="1401" y="6675"/>
                    </a:cubicBezTo>
                    <a:cubicBezTo>
                      <a:pt x="1405" y="6665"/>
                      <a:pt x="1408" y="6659"/>
                      <a:pt x="1408" y="6659"/>
                    </a:cubicBezTo>
                    <a:cubicBezTo>
                      <a:pt x="1408" y="6657"/>
                      <a:pt x="1408" y="6657"/>
                      <a:pt x="1408" y="6657"/>
                    </a:cubicBezTo>
                    <a:cubicBezTo>
                      <a:pt x="1451" y="6581"/>
                      <a:pt x="1451" y="6581"/>
                      <a:pt x="1451" y="6581"/>
                    </a:cubicBezTo>
                    <a:cubicBezTo>
                      <a:pt x="1396" y="6549"/>
                      <a:pt x="1396" y="6549"/>
                      <a:pt x="1396" y="6549"/>
                    </a:cubicBezTo>
                    <a:cubicBezTo>
                      <a:pt x="1357" y="6617"/>
                      <a:pt x="1357" y="6617"/>
                      <a:pt x="1357" y="6617"/>
                    </a:cubicBezTo>
                    <a:cubicBezTo>
                      <a:pt x="1220" y="6539"/>
                      <a:pt x="1220" y="6539"/>
                      <a:pt x="1220" y="6539"/>
                    </a:cubicBezTo>
                    <a:cubicBezTo>
                      <a:pt x="1259" y="6471"/>
                      <a:pt x="1259" y="6471"/>
                      <a:pt x="1259" y="6471"/>
                    </a:cubicBezTo>
                    <a:cubicBezTo>
                      <a:pt x="901" y="6266"/>
                      <a:pt x="901" y="6266"/>
                      <a:pt x="901" y="6266"/>
                    </a:cubicBezTo>
                    <a:lnTo>
                      <a:pt x="859" y="6366"/>
                    </a:lnTo>
                    <a:close/>
                    <a:moveTo>
                      <a:pt x="854" y="6378"/>
                    </a:moveTo>
                    <a:cubicBezTo>
                      <a:pt x="850" y="6387"/>
                      <a:pt x="850" y="6387"/>
                      <a:pt x="850" y="6387"/>
                    </a:cubicBezTo>
                    <a:cubicBezTo>
                      <a:pt x="849" y="6388"/>
                      <a:pt x="849" y="6388"/>
                      <a:pt x="849" y="6388"/>
                    </a:cubicBezTo>
                    <a:cubicBezTo>
                      <a:pt x="849" y="6388"/>
                      <a:pt x="790" y="6454"/>
                      <a:pt x="713" y="6542"/>
                    </a:cubicBezTo>
                    <a:cubicBezTo>
                      <a:pt x="739" y="6563"/>
                      <a:pt x="765" y="6586"/>
                      <a:pt x="789" y="6608"/>
                    </a:cubicBezTo>
                    <a:cubicBezTo>
                      <a:pt x="957" y="6762"/>
                      <a:pt x="1066" y="6933"/>
                      <a:pt x="1111" y="7010"/>
                    </a:cubicBezTo>
                    <a:cubicBezTo>
                      <a:pt x="1135" y="7006"/>
                      <a:pt x="1181" y="6994"/>
                      <a:pt x="1227" y="6964"/>
                    </a:cubicBezTo>
                    <a:cubicBezTo>
                      <a:pt x="1238" y="6958"/>
                      <a:pt x="1259" y="6934"/>
                      <a:pt x="1279" y="6903"/>
                    </a:cubicBezTo>
                    <a:cubicBezTo>
                      <a:pt x="1310" y="6857"/>
                      <a:pt x="1343" y="6796"/>
                      <a:pt x="1367" y="6746"/>
                    </a:cubicBezTo>
                    <a:cubicBezTo>
                      <a:pt x="1378" y="6723"/>
                      <a:pt x="1388" y="6703"/>
                      <a:pt x="1395" y="6687"/>
                    </a:cubicBezTo>
                    <a:lnTo>
                      <a:pt x="854" y="6378"/>
                    </a:lnTo>
                    <a:close/>
                    <a:moveTo>
                      <a:pt x="1079" y="7230"/>
                    </a:moveTo>
                    <a:cubicBezTo>
                      <a:pt x="1065" y="7266"/>
                      <a:pt x="1065" y="7266"/>
                      <a:pt x="1065" y="7266"/>
                    </a:cubicBezTo>
                    <a:cubicBezTo>
                      <a:pt x="1064" y="7266"/>
                      <a:pt x="1064" y="7266"/>
                      <a:pt x="1064" y="7266"/>
                    </a:cubicBezTo>
                    <a:cubicBezTo>
                      <a:pt x="1047" y="7310"/>
                      <a:pt x="1047" y="7310"/>
                      <a:pt x="1047" y="7310"/>
                    </a:cubicBezTo>
                    <a:cubicBezTo>
                      <a:pt x="1242" y="7485"/>
                      <a:pt x="1242" y="7485"/>
                      <a:pt x="1242" y="7485"/>
                    </a:cubicBezTo>
                    <a:cubicBezTo>
                      <a:pt x="1347" y="7358"/>
                      <a:pt x="1347" y="7358"/>
                      <a:pt x="1347" y="7358"/>
                    </a:cubicBezTo>
                    <a:cubicBezTo>
                      <a:pt x="1381" y="7197"/>
                      <a:pt x="1381" y="7197"/>
                      <a:pt x="1381" y="7197"/>
                    </a:cubicBezTo>
                    <a:cubicBezTo>
                      <a:pt x="1361" y="7166"/>
                      <a:pt x="1361" y="7166"/>
                      <a:pt x="1361" y="7166"/>
                    </a:cubicBezTo>
                    <a:cubicBezTo>
                      <a:pt x="1359" y="7166"/>
                      <a:pt x="1359" y="7166"/>
                      <a:pt x="1359" y="7166"/>
                    </a:cubicBezTo>
                    <a:cubicBezTo>
                      <a:pt x="1351" y="7168"/>
                      <a:pt x="1282" y="7183"/>
                      <a:pt x="1213" y="7199"/>
                    </a:cubicBezTo>
                    <a:cubicBezTo>
                      <a:pt x="1176" y="7207"/>
                      <a:pt x="1140" y="7216"/>
                      <a:pt x="1112" y="7222"/>
                    </a:cubicBezTo>
                    <a:cubicBezTo>
                      <a:pt x="1098" y="7225"/>
                      <a:pt x="1087" y="7228"/>
                      <a:pt x="1079" y="7230"/>
                    </a:cubicBezTo>
                    <a:cubicBezTo>
                      <a:pt x="1079" y="7230"/>
                      <a:pt x="1079" y="7230"/>
                      <a:pt x="1079" y="7230"/>
                    </a:cubicBezTo>
                    <a:close/>
                    <a:moveTo>
                      <a:pt x="1040" y="7326"/>
                    </a:moveTo>
                    <a:cubicBezTo>
                      <a:pt x="945" y="7569"/>
                      <a:pt x="945" y="7569"/>
                      <a:pt x="945" y="7569"/>
                    </a:cubicBezTo>
                    <a:cubicBezTo>
                      <a:pt x="1090" y="7661"/>
                      <a:pt x="1090" y="7661"/>
                      <a:pt x="1090" y="7661"/>
                    </a:cubicBezTo>
                    <a:cubicBezTo>
                      <a:pt x="1181" y="7923"/>
                      <a:pt x="1181" y="7923"/>
                      <a:pt x="1181" y="7923"/>
                    </a:cubicBezTo>
                    <a:cubicBezTo>
                      <a:pt x="1288" y="7837"/>
                      <a:pt x="1288" y="7837"/>
                      <a:pt x="1288" y="7837"/>
                    </a:cubicBezTo>
                    <a:cubicBezTo>
                      <a:pt x="1537" y="7481"/>
                      <a:pt x="1537" y="7481"/>
                      <a:pt x="1537" y="7481"/>
                    </a:cubicBezTo>
                    <a:cubicBezTo>
                      <a:pt x="1516" y="7470"/>
                      <a:pt x="1478" y="7446"/>
                      <a:pt x="1441" y="7422"/>
                    </a:cubicBezTo>
                    <a:cubicBezTo>
                      <a:pt x="1398" y="7395"/>
                      <a:pt x="1359" y="7370"/>
                      <a:pt x="1359" y="7370"/>
                    </a:cubicBezTo>
                    <a:cubicBezTo>
                      <a:pt x="1359" y="7370"/>
                      <a:pt x="1359" y="7370"/>
                      <a:pt x="1359" y="7370"/>
                    </a:cubicBezTo>
                    <a:cubicBezTo>
                      <a:pt x="1244" y="7508"/>
                      <a:pt x="1244" y="7508"/>
                      <a:pt x="1244" y="7508"/>
                    </a:cubicBezTo>
                    <a:lnTo>
                      <a:pt x="1040" y="7326"/>
                    </a:lnTo>
                    <a:close/>
                    <a:moveTo>
                      <a:pt x="934" y="7582"/>
                    </a:moveTo>
                    <a:cubicBezTo>
                      <a:pt x="880" y="7630"/>
                      <a:pt x="880" y="7630"/>
                      <a:pt x="880" y="7630"/>
                    </a:cubicBezTo>
                    <a:cubicBezTo>
                      <a:pt x="914" y="7791"/>
                      <a:pt x="914" y="7791"/>
                      <a:pt x="914" y="7791"/>
                    </a:cubicBezTo>
                    <a:cubicBezTo>
                      <a:pt x="871" y="7815"/>
                      <a:pt x="871" y="7815"/>
                      <a:pt x="871" y="7815"/>
                    </a:cubicBezTo>
                    <a:cubicBezTo>
                      <a:pt x="853" y="7964"/>
                      <a:pt x="853" y="7964"/>
                      <a:pt x="853" y="7964"/>
                    </a:cubicBezTo>
                    <a:cubicBezTo>
                      <a:pt x="916" y="8019"/>
                      <a:pt x="916" y="8019"/>
                      <a:pt x="916" y="8019"/>
                    </a:cubicBezTo>
                    <a:cubicBezTo>
                      <a:pt x="939" y="8120"/>
                      <a:pt x="939" y="8120"/>
                      <a:pt x="939" y="8120"/>
                    </a:cubicBezTo>
                    <a:cubicBezTo>
                      <a:pt x="1168" y="7934"/>
                      <a:pt x="1168" y="7934"/>
                      <a:pt x="1168" y="7934"/>
                    </a:cubicBezTo>
                    <a:cubicBezTo>
                      <a:pt x="1076" y="7672"/>
                      <a:pt x="1076" y="7672"/>
                      <a:pt x="1076" y="7672"/>
                    </a:cubicBezTo>
                    <a:lnTo>
                      <a:pt x="934" y="7582"/>
                    </a:lnTo>
                    <a:close/>
                    <a:moveTo>
                      <a:pt x="488" y="8047"/>
                    </a:moveTo>
                    <a:cubicBezTo>
                      <a:pt x="710" y="8310"/>
                      <a:pt x="710" y="8310"/>
                      <a:pt x="710" y="8310"/>
                    </a:cubicBezTo>
                    <a:cubicBezTo>
                      <a:pt x="924" y="8132"/>
                      <a:pt x="924" y="8132"/>
                      <a:pt x="924" y="8132"/>
                    </a:cubicBezTo>
                    <a:cubicBezTo>
                      <a:pt x="924" y="8132"/>
                      <a:pt x="924" y="8132"/>
                      <a:pt x="924" y="8132"/>
                    </a:cubicBezTo>
                    <a:cubicBezTo>
                      <a:pt x="924" y="8131"/>
                      <a:pt x="924" y="8131"/>
                      <a:pt x="924" y="8131"/>
                    </a:cubicBezTo>
                    <a:cubicBezTo>
                      <a:pt x="901" y="8028"/>
                      <a:pt x="901" y="8028"/>
                      <a:pt x="901" y="8028"/>
                    </a:cubicBezTo>
                    <a:cubicBezTo>
                      <a:pt x="835" y="7970"/>
                      <a:pt x="835" y="7970"/>
                      <a:pt x="835" y="7970"/>
                    </a:cubicBezTo>
                    <a:cubicBezTo>
                      <a:pt x="856" y="7804"/>
                      <a:pt x="856" y="7804"/>
                      <a:pt x="856" y="7804"/>
                    </a:cubicBezTo>
                    <a:cubicBezTo>
                      <a:pt x="895" y="7783"/>
                      <a:pt x="895" y="7783"/>
                      <a:pt x="895" y="7783"/>
                    </a:cubicBezTo>
                    <a:cubicBezTo>
                      <a:pt x="866" y="7643"/>
                      <a:pt x="866" y="7643"/>
                      <a:pt x="866" y="7643"/>
                    </a:cubicBezTo>
                    <a:lnTo>
                      <a:pt x="488" y="8047"/>
                    </a:lnTo>
                    <a:close/>
                    <a:moveTo>
                      <a:pt x="679" y="8421"/>
                    </a:moveTo>
                    <a:cubicBezTo>
                      <a:pt x="827" y="8620"/>
                      <a:pt x="827" y="8620"/>
                      <a:pt x="827" y="8620"/>
                    </a:cubicBezTo>
                    <a:cubicBezTo>
                      <a:pt x="874" y="8594"/>
                      <a:pt x="910" y="8574"/>
                      <a:pt x="918" y="8569"/>
                    </a:cubicBezTo>
                    <a:cubicBezTo>
                      <a:pt x="925" y="8559"/>
                      <a:pt x="960" y="8505"/>
                      <a:pt x="996" y="8450"/>
                    </a:cubicBezTo>
                    <a:cubicBezTo>
                      <a:pt x="1015" y="8420"/>
                      <a:pt x="1035" y="8389"/>
                      <a:pt x="1050" y="8366"/>
                    </a:cubicBezTo>
                    <a:cubicBezTo>
                      <a:pt x="1057" y="8355"/>
                      <a:pt x="1063" y="8345"/>
                      <a:pt x="1068" y="8338"/>
                    </a:cubicBezTo>
                    <a:cubicBezTo>
                      <a:pt x="1070" y="8335"/>
                      <a:pt x="1071" y="8332"/>
                      <a:pt x="1073" y="8330"/>
                    </a:cubicBezTo>
                    <a:cubicBezTo>
                      <a:pt x="1073" y="8330"/>
                      <a:pt x="1073" y="8329"/>
                      <a:pt x="1073" y="8329"/>
                    </a:cubicBezTo>
                    <a:cubicBezTo>
                      <a:pt x="1073" y="8328"/>
                      <a:pt x="1073" y="8327"/>
                      <a:pt x="1073" y="8326"/>
                    </a:cubicBezTo>
                    <a:cubicBezTo>
                      <a:pt x="1073" y="8297"/>
                      <a:pt x="1078" y="8144"/>
                      <a:pt x="1080" y="8091"/>
                    </a:cubicBezTo>
                    <a:cubicBezTo>
                      <a:pt x="951" y="8194"/>
                      <a:pt x="951" y="8194"/>
                      <a:pt x="951" y="8194"/>
                    </a:cubicBezTo>
                    <a:lnTo>
                      <a:pt x="679" y="8421"/>
                    </a:lnTo>
                    <a:close/>
                    <a:moveTo>
                      <a:pt x="668" y="8430"/>
                    </a:moveTo>
                    <a:cubicBezTo>
                      <a:pt x="409" y="8645"/>
                      <a:pt x="409" y="8645"/>
                      <a:pt x="409" y="8645"/>
                    </a:cubicBezTo>
                    <a:cubicBezTo>
                      <a:pt x="425" y="8661"/>
                      <a:pt x="446" y="8682"/>
                      <a:pt x="468" y="8703"/>
                    </a:cubicBezTo>
                    <a:cubicBezTo>
                      <a:pt x="488" y="8724"/>
                      <a:pt x="510" y="8744"/>
                      <a:pt x="526" y="8760"/>
                    </a:cubicBezTo>
                    <a:cubicBezTo>
                      <a:pt x="533" y="8767"/>
                      <a:pt x="540" y="8773"/>
                      <a:pt x="545" y="8777"/>
                    </a:cubicBezTo>
                    <a:cubicBezTo>
                      <a:pt x="578" y="8758"/>
                      <a:pt x="716" y="8681"/>
                      <a:pt x="815" y="8627"/>
                    </a:cubicBezTo>
                    <a:lnTo>
                      <a:pt x="668" y="8430"/>
                    </a:lnTo>
                    <a:close/>
                    <a:moveTo>
                      <a:pt x="814" y="8656"/>
                    </a:moveTo>
                    <a:cubicBezTo>
                      <a:pt x="1078" y="8991"/>
                      <a:pt x="1078" y="8991"/>
                      <a:pt x="1078" y="8991"/>
                    </a:cubicBezTo>
                    <a:cubicBezTo>
                      <a:pt x="1145" y="8927"/>
                      <a:pt x="1145" y="8927"/>
                      <a:pt x="1145" y="8927"/>
                    </a:cubicBezTo>
                    <a:cubicBezTo>
                      <a:pt x="920" y="8645"/>
                      <a:pt x="920" y="8645"/>
                      <a:pt x="920" y="8645"/>
                    </a:cubicBezTo>
                    <a:lnTo>
                      <a:pt x="814" y="8656"/>
                    </a:lnTo>
                    <a:close/>
                    <a:moveTo>
                      <a:pt x="550" y="8797"/>
                    </a:moveTo>
                    <a:cubicBezTo>
                      <a:pt x="550" y="8824"/>
                      <a:pt x="552" y="8903"/>
                      <a:pt x="553" y="8919"/>
                    </a:cubicBezTo>
                    <a:cubicBezTo>
                      <a:pt x="565" y="8930"/>
                      <a:pt x="642" y="9004"/>
                      <a:pt x="720" y="9078"/>
                    </a:cubicBezTo>
                    <a:cubicBezTo>
                      <a:pt x="763" y="9119"/>
                      <a:pt x="805" y="9159"/>
                      <a:pt x="837" y="9190"/>
                    </a:cubicBezTo>
                    <a:cubicBezTo>
                      <a:pt x="853" y="9205"/>
                      <a:pt x="867" y="9218"/>
                      <a:pt x="876" y="9227"/>
                    </a:cubicBezTo>
                    <a:cubicBezTo>
                      <a:pt x="877" y="9227"/>
                      <a:pt x="877" y="9228"/>
                      <a:pt x="878" y="9229"/>
                    </a:cubicBezTo>
                    <a:cubicBezTo>
                      <a:pt x="929" y="9180"/>
                      <a:pt x="1012" y="9101"/>
                      <a:pt x="1091" y="9025"/>
                    </a:cubicBezTo>
                    <a:cubicBezTo>
                      <a:pt x="1128" y="8991"/>
                      <a:pt x="1164" y="8956"/>
                      <a:pt x="1198" y="8924"/>
                    </a:cubicBezTo>
                    <a:cubicBezTo>
                      <a:pt x="1182" y="8906"/>
                      <a:pt x="1121" y="8831"/>
                      <a:pt x="1060" y="8756"/>
                    </a:cubicBezTo>
                    <a:cubicBezTo>
                      <a:pt x="1024" y="8712"/>
                      <a:pt x="989" y="8669"/>
                      <a:pt x="962" y="8636"/>
                    </a:cubicBezTo>
                    <a:cubicBezTo>
                      <a:pt x="949" y="8619"/>
                      <a:pt x="938" y="8606"/>
                      <a:pt x="930" y="8596"/>
                    </a:cubicBezTo>
                    <a:cubicBezTo>
                      <a:pt x="926" y="8592"/>
                      <a:pt x="924" y="8589"/>
                      <a:pt x="922" y="8586"/>
                    </a:cubicBezTo>
                    <a:cubicBezTo>
                      <a:pt x="908" y="8594"/>
                      <a:pt x="869" y="8615"/>
                      <a:pt x="822" y="8641"/>
                    </a:cubicBezTo>
                    <a:cubicBezTo>
                      <a:pt x="926" y="8631"/>
                      <a:pt x="926" y="8631"/>
                      <a:pt x="926" y="8631"/>
                    </a:cubicBezTo>
                    <a:cubicBezTo>
                      <a:pt x="1164" y="8929"/>
                      <a:pt x="1164" y="8929"/>
                      <a:pt x="1164" y="8929"/>
                    </a:cubicBezTo>
                    <a:cubicBezTo>
                      <a:pt x="1077" y="9012"/>
                      <a:pt x="1077" y="9012"/>
                      <a:pt x="1077" y="9012"/>
                    </a:cubicBezTo>
                    <a:cubicBezTo>
                      <a:pt x="796" y="8656"/>
                      <a:pt x="796" y="8656"/>
                      <a:pt x="796" y="8656"/>
                    </a:cubicBezTo>
                    <a:cubicBezTo>
                      <a:pt x="777" y="8666"/>
                      <a:pt x="757" y="8677"/>
                      <a:pt x="737" y="8688"/>
                    </a:cubicBezTo>
                    <a:cubicBezTo>
                      <a:pt x="690" y="8715"/>
                      <a:pt x="642" y="8741"/>
                      <a:pt x="606" y="8761"/>
                    </a:cubicBezTo>
                    <a:cubicBezTo>
                      <a:pt x="588" y="8771"/>
                      <a:pt x="573" y="8780"/>
                      <a:pt x="563" y="8786"/>
                    </a:cubicBezTo>
                    <a:cubicBezTo>
                      <a:pt x="558" y="8789"/>
                      <a:pt x="554" y="8791"/>
                      <a:pt x="551" y="8793"/>
                    </a:cubicBezTo>
                    <a:lnTo>
                      <a:pt x="550" y="8797"/>
                    </a:lnTo>
                    <a:close/>
                    <a:moveTo>
                      <a:pt x="608" y="9003"/>
                    </a:moveTo>
                    <a:cubicBezTo>
                      <a:pt x="595" y="9051"/>
                      <a:pt x="555" y="9199"/>
                      <a:pt x="534" y="9272"/>
                    </a:cubicBezTo>
                    <a:cubicBezTo>
                      <a:pt x="575" y="9286"/>
                      <a:pt x="620" y="9303"/>
                      <a:pt x="640" y="9302"/>
                    </a:cubicBezTo>
                    <a:cubicBezTo>
                      <a:pt x="663" y="9303"/>
                      <a:pt x="688" y="9289"/>
                      <a:pt x="734" y="9282"/>
                    </a:cubicBezTo>
                    <a:cubicBezTo>
                      <a:pt x="751" y="9280"/>
                      <a:pt x="774" y="9276"/>
                      <a:pt x="803" y="9276"/>
                    </a:cubicBezTo>
                    <a:cubicBezTo>
                      <a:pt x="810" y="9276"/>
                      <a:pt x="818" y="9276"/>
                      <a:pt x="826" y="9277"/>
                    </a:cubicBezTo>
                    <a:cubicBezTo>
                      <a:pt x="826" y="9277"/>
                      <a:pt x="827" y="9277"/>
                      <a:pt x="827" y="9277"/>
                    </a:cubicBezTo>
                    <a:cubicBezTo>
                      <a:pt x="832" y="9273"/>
                      <a:pt x="846" y="9259"/>
                      <a:pt x="866" y="9240"/>
                    </a:cubicBezTo>
                    <a:cubicBezTo>
                      <a:pt x="826" y="9201"/>
                      <a:pt x="693" y="9075"/>
                      <a:pt x="610" y="8995"/>
                    </a:cubicBezTo>
                    <a:cubicBezTo>
                      <a:pt x="609" y="8997"/>
                      <a:pt x="609" y="9000"/>
                      <a:pt x="608" y="9003"/>
                    </a:cubicBezTo>
                    <a:close/>
                    <a:moveTo>
                      <a:pt x="515" y="9338"/>
                    </a:moveTo>
                    <a:cubicBezTo>
                      <a:pt x="499" y="9387"/>
                      <a:pt x="463" y="9495"/>
                      <a:pt x="458" y="9511"/>
                    </a:cubicBezTo>
                    <a:cubicBezTo>
                      <a:pt x="461" y="9525"/>
                      <a:pt x="492" y="9611"/>
                      <a:pt x="521" y="9694"/>
                    </a:cubicBezTo>
                    <a:cubicBezTo>
                      <a:pt x="543" y="9755"/>
                      <a:pt x="564" y="9814"/>
                      <a:pt x="574" y="9844"/>
                    </a:cubicBezTo>
                    <a:cubicBezTo>
                      <a:pt x="1022" y="9604"/>
                      <a:pt x="1022" y="9604"/>
                      <a:pt x="1022" y="9604"/>
                    </a:cubicBezTo>
                    <a:cubicBezTo>
                      <a:pt x="1022" y="9602"/>
                      <a:pt x="1019" y="9591"/>
                      <a:pt x="1013" y="9573"/>
                    </a:cubicBezTo>
                    <a:cubicBezTo>
                      <a:pt x="1003" y="9544"/>
                      <a:pt x="987" y="9499"/>
                      <a:pt x="967" y="9458"/>
                    </a:cubicBezTo>
                    <a:cubicBezTo>
                      <a:pt x="947" y="9416"/>
                      <a:pt x="920" y="9380"/>
                      <a:pt x="901" y="9369"/>
                    </a:cubicBezTo>
                    <a:cubicBezTo>
                      <a:pt x="872" y="9351"/>
                      <a:pt x="846" y="9348"/>
                      <a:pt x="821" y="9346"/>
                    </a:cubicBezTo>
                    <a:cubicBezTo>
                      <a:pt x="815" y="9345"/>
                      <a:pt x="809" y="9345"/>
                      <a:pt x="803" y="9345"/>
                    </a:cubicBezTo>
                    <a:cubicBezTo>
                      <a:pt x="780" y="9345"/>
                      <a:pt x="762" y="9348"/>
                      <a:pt x="743" y="9351"/>
                    </a:cubicBezTo>
                    <a:cubicBezTo>
                      <a:pt x="711" y="9354"/>
                      <a:pt x="685" y="9370"/>
                      <a:pt x="640" y="9371"/>
                    </a:cubicBezTo>
                    <a:cubicBezTo>
                      <a:pt x="596" y="9370"/>
                      <a:pt x="553" y="9351"/>
                      <a:pt x="515" y="9338"/>
                    </a:cubicBezTo>
                    <a:close/>
                    <a:moveTo>
                      <a:pt x="525" y="10043"/>
                    </a:moveTo>
                    <a:cubicBezTo>
                      <a:pt x="528" y="10046"/>
                      <a:pt x="531" y="10051"/>
                      <a:pt x="537" y="10057"/>
                    </a:cubicBezTo>
                    <a:cubicBezTo>
                      <a:pt x="591" y="10027"/>
                      <a:pt x="592" y="10026"/>
                      <a:pt x="598" y="10022"/>
                    </a:cubicBezTo>
                    <a:cubicBezTo>
                      <a:pt x="600" y="10021"/>
                      <a:pt x="600" y="10021"/>
                      <a:pt x="600" y="10021"/>
                    </a:cubicBezTo>
                    <a:cubicBezTo>
                      <a:pt x="601" y="10021"/>
                      <a:pt x="601" y="10021"/>
                      <a:pt x="601" y="10021"/>
                    </a:cubicBezTo>
                    <a:cubicBezTo>
                      <a:pt x="601" y="10020"/>
                      <a:pt x="614" y="10014"/>
                      <a:pt x="639" y="10001"/>
                    </a:cubicBezTo>
                    <a:cubicBezTo>
                      <a:pt x="810" y="9910"/>
                      <a:pt x="1542" y="9522"/>
                      <a:pt x="2267" y="9131"/>
                    </a:cubicBezTo>
                    <a:cubicBezTo>
                      <a:pt x="2899" y="8790"/>
                      <a:pt x="3533" y="8439"/>
                      <a:pt x="3743" y="8331"/>
                    </a:cubicBezTo>
                    <a:cubicBezTo>
                      <a:pt x="3737" y="8317"/>
                      <a:pt x="3737" y="8317"/>
                      <a:pt x="3737" y="8317"/>
                    </a:cubicBezTo>
                    <a:cubicBezTo>
                      <a:pt x="3723" y="8328"/>
                      <a:pt x="3710" y="8338"/>
                      <a:pt x="3700" y="8346"/>
                    </a:cubicBezTo>
                    <a:cubicBezTo>
                      <a:pt x="3693" y="8350"/>
                      <a:pt x="3691" y="8352"/>
                      <a:pt x="3686" y="8355"/>
                    </a:cubicBezTo>
                    <a:cubicBezTo>
                      <a:pt x="3652" y="8374"/>
                      <a:pt x="3548" y="8430"/>
                      <a:pt x="3407" y="8506"/>
                    </a:cubicBezTo>
                    <a:cubicBezTo>
                      <a:pt x="2983" y="8733"/>
                      <a:pt x="2233" y="9125"/>
                      <a:pt x="2233" y="9125"/>
                    </a:cubicBezTo>
                    <a:cubicBezTo>
                      <a:pt x="2232" y="9124"/>
                      <a:pt x="2232" y="9124"/>
                      <a:pt x="2232" y="9124"/>
                    </a:cubicBezTo>
                    <a:cubicBezTo>
                      <a:pt x="2229" y="9126"/>
                      <a:pt x="2229" y="9126"/>
                      <a:pt x="2229" y="9126"/>
                    </a:cubicBezTo>
                    <a:cubicBezTo>
                      <a:pt x="1344" y="9605"/>
                      <a:pt x="1344" y="9605"/>
                      <a:pt x="1344" y="9605"/>
                    </a:cubicBezTo>
                    <a:lnTo>
                      <a:pt x="525" y="10043"/>
                    </a:lnTo>
                    <a:close/>
                    <a:moveTo>
                      <a:pt x="3924" y="8038"/>
                    </a:moveTo>
                    <a:cubicBezTo>
                      <a:pt x="3920" y="8029"/>
                      <a:pt x="3914" y="8014"/>
                      <a:pt x="3907" y="7998"/>
                    </a:cubicBezTo>
                    <a:cubicBezTo>
                      <a:pt x="3899" y="7977"/>
                      <a:pt x="3890" y="7952"/>
                      <a:pt x="3884" y="7926"/>
                    </a:cubicBezTo>
                    <a:cubicBezTo>
                      <a:pt x="3727" y="7997"/>
                      <a:pt x="3727" y="7997"/>
                      <a:pt x="3727" y="7997"/>
                    </a:cubicBezTo>
                    <a:cubicBezTo>
                      <a:pt x="3662" y="7974"/>
                      <a:pt x="3662" y="7974"/>
                      <a:pt x="3662" y="7974"/>
                    </a:cubicBezTo>
                    <a:cubicBezTo>
                      <a:pt x="3478" y="8194"/>
                      <a:pt x="3478" y="8194"/>
                      <a:pt x="3478" y="8194"/>
                    </a:cubicBezTo>
                    <a:cubicBezTo>
                      <a:pt x="3473" y="8193"/>
                      <a:pt x="3473" y="8193"/>
                      <a:pt x="3473" y="8193"/>
                    </a:cubicBezTo>
                    <a:cubicBezTo>
                      <a:pt x="3473" y="8193"/>
                      <a:pt x="3443" y="8183"/>
                      <a:pt x="3413" y="8174"/>
                    </a:cubicBezTo>
                    <a:cubicBezTo>
                      <a:pt x="3398" y="8170"/>
                      <a:pt x="3383" y="8165"/>
                      <a:pt x="3371" y="8162"/>
                    </a:cubicBezTo>
                    <a:cubicBezTo>
                      <a:pt x="3365" y="8160"/>
                      <a:pt x="3360" y="8159"/>
                      <a:pt x="3357" y="8158"/>
                    </a:cubicBezTo>
                    <a:cubicBezTo>
                      <a:pt x="3249" y="8418"/>
                      <a:pt x="3249" y="8418"/>
                      <a:pt x="3249" y="8418"/>
                    </a:cubicBezTo>
                    <a:cubicBezTo>
                      <a:pt x="3333" y="8373"/>
                      <a:pt x="3409" y="8332"/>
                      <a:pt x="3469" y="8300"/>
                    </a:cubicBezTo>
                    <a:cubicBezTo>
                      <a:pt x="3512" y="8277"/>
                      <a:pt x="3547" y="8257"/>
                      <a:pt x="3573" y="8243"/>
                    </a:cubicBezTo>
                    <a:cubicBezTo>
                      <a:pt x="3585" y="8236"/>
                      <a:pt x="3596" y="8231"/>
                      <a:pt x="3603" y="8227"/>
                    </a:cubicBezTo>
                    <a:cubicBezTo>
                      <a:pt x="3606" y="8225"/>
                      <a:pt x="3609" y="8223"/>
                      <a:pt x="3611" y="8222"/>
                    </a:cubicBezTo>
                    <a:cubicBezTo>
                      <a:pt x="3611" y="8222"/>
                      <a:pt x="3611" y="8222"/>
                      <a:pt x="3612" y="8221"/>
                    </a:cubicBezTo>
                    <a:cubicBezTo>
                      <a:pt x="3628" y="8210"/>
                      <a:pt x="3671" y="8173"/>
                      <a:pt x="3725" y="8136"/>
                    </a:cubicBezTo>
                    <a:cubicBezTo>
                      <a:pt x="3779" y="8099"/>
                      <a:pt x="3847" y="8060"/>
                      <a:pt x="3924" y="8038"/>
                    </a:cubicBezTo>
                    <a:close/>
                    <a:moveTo>
                      <a:pt x="3791" y="8276"/>
                    </a:moveTo>
                    <a:cubicBezTo>
                      <a:pt x="3802" y="8302"/>
                      <a:pt x="3802" y="8302"/>
                      <a:pt x="3802" y="8302"/>
                    </a:cubicBezTo>
                    <a:cubicBezTo>
                      <a:pt x="3926" y="8245"/>
                      <a:pt x="4064" y="8206"/>
                      <a:pt x="4207" y="8180"/>
                    </a:cubicBezTo>
                    <a:cubicBezTo>
                      <a:pt x="4153" y="8176"/>
                      <a:pt x="4106" y="8172"/>
                      <a:pt x="4065" y="8172"/>
                    </a:cubicBezTo>
                    <a:cubicBezTo>
                      <a:pt x="4030" y="8172"/>
                      <a:pt x="4000" y="8175"/>
                      <a:pt x="3971" y="8183"/>
                    </a:cubicBezTo>
                    <a:cubicBezTo>
                      <a:pt x="3916" y="8197"/>
                      <a:pt x="3859" y="8229"/>
                      <a:pt x="3811" y="8262"/>
                    </a:cubicBezTo>
                    <a:cubicBezTo>
                      <a:pt x="3804" y="8267"/>
                      <a:pt x="3798" y="8271"/>
                      <a:pt x="3791" y="8276"/>
                    </a:cubicBezTo>
                    <a:close/>
                    <a:moveTo>
                      <a:pt x="3091" y="8848"/>
                    </a:moveTo>
                    <a:cubicBezTo>
                      <a:pt x="3382" y="9437"/>
                      <a:pt x="3382" y="9437"/>
                      <a:pt x="3382" y="9437"/>
                    </a:cubicBezTo>
                    <a:cubicBezTo>
                      <a:pt x="3386" y="9415"/>
                      <a:pt x="3390" y="9394"/>
                      <a:pt x="3395" y="9375"/>
                    </a:cubicBezTo>
                    <a:cubicBezTo>
                      <a:pt x="3409" y="9324"/>
                      <a:pt x="3419" y="9262"/>
                      <a:pt x="3465" y="9203"/>
                    </a:cubicBezTo>
                    <a:cubicBezTo>
                      <a:pt x="3510" y="9143"/>
                      <a:pt x="3589" y="9088"/>
                      <a:pt x="3734" y="9043"/>
                    </a:cubicBezTo>
                    <a:cubicBezTo>
                      <a:pt x="3843" y="9009"/>
                      <a:pt x="3956" y="8978"/>
                      <a:pt x="4007" y="8965"/>
                    </a:cubicBezTo>
                    <a:cubicBezTo>
                      <a:pt x="3803" y="8475"/>
                      <a:pt x="3803" y="8475"/>
                      <a:pt x="3803" y="8475"/>
                    </a:cubicBezTo>
                    <a:cubicBezTo>
                      <a:pt x="3676" y="8540"/>
                      <a:pt x="3413" y="8677"/>
                      <a:pt x="3091" y="8848"/>
                    </a:cubicBezTo>
                    <a:close/>
                    <a:moveTo>
                      <a:pt x="3079" y="8855"/>
                    </a:moveTo>
                    <a:cubicBezTo>
                      <a:pt x="2945" y="8926"/>
                      <a:pt x="2802" y="9002"/>
                      <a:pt x="2654" y="9081"/>
                    </a:cubicBezTo>
                    <a:cubicBezTo>
                      <a:pt x="3223" y="9879"/>
                      <a:pt x="3223" y="9879"/>
                      <a:pt x="3223" y="9879"/>
                    </a:cubicBezTo>
                    <a:cubicBezTo>
                      <a:pt x="3238" y="9865"/>
                      <a:pt x="3252" y="9847"/>
                      <a:pt x="3273" y="9818"/>
                    </a:cubicBezTo>
                    <a:cubicBezTo>
                      <a:pt x="3313" y="9763"/>
                      <a:pt x="3337" y="9679"/>
                      <a:pt x="3354" y="9596"/>
                    </a:cubicBezTo>
                    <a:cubicBezTo>
                      <a:pt x="3363" y="9549"/>
                      <a:pt x="3370" y="9502"/>
                      <a:pt x="3377" y="9460"/>
                    </a:cubicBezTo>
                    <a:lnTo>
                      <a:pt x="3079" y="8855"/>
                    </a:lnTo>
                    <a:close/>
                    <a:moveTo>
                      <a:pt x="2642" y="9087"/>
                    </a:moveTo>
                    <a:cubicBezTo>
                      <a:pt x="2571" y="9125"/>
                      <a:pt x="2499" y="9164"/>
                      <a:pt x="2427" y="9202"/>
                    </a:cubicBezTo>
                    <a:cubicBezTo>
                      <a:pt x="2784" y="10109"/>
                      <a:pt x="2784" y="10109"/>
                      <a:pt x="2784" y="10109"/>
                    </a:cubicBezTo>
                    <a:cubicBezTo>
                      <a:pt x="2822" y="10095"/>
                      <a:pt x="2860" y="10078"/>
                      <a:pt x="2898" y="10058"/>
                    </a:cubicBezTo>
                    <a:cubicBezTo>
                      <a:pt x="3048" y="9974"/>
                      <a:pt x="3123" y="9942"/>
                      <a:pt x="3169" y="9917"/>
                    </a:cubicBezTo>
                    <a:cubicBezTo>
                      <a:pt x="3187" y="9907"/>
                      <a:pt x="3201" y="9899"/>
                      <a:pt x="3213" y="9888"/>
                    </a:cubicBezTo>
                    <a:lnTo>
                      <a:pt x="2642" y="9087"/>
                    </a:lnTo>
                    <a:close/>
                    <a:moveTo>
                      <a:pt x="2415" y="9209"/>
                    </a:moveTo>
                    <a:cubicBezTo>
                      <a:pt x="2351" y="9243"/>
                      <a:pt x="2286" y="9278"/>
                      <a:pt x="2222" y="9312"/>
                    </a:cubicBezTo>
                    <a:cubicBezTo>
                      <a:pt x="2218" y="9357"/>
                      <a:pt x="2200" y="9529"/>
                      <a:pt x="2182" y="9702"/>
                    </a:cubicBezTo>
                    <a:cubicBezTo>
                      <a:pt x="2171" y="9802"/>
                      <a:pt x="2161" y="9903"/>
                      <a:pt x="2152" y="9978"/>
                    </a:cubicBezTo>
                    <a:cubicBezTo>
                      <a:pt x="2148" y="10016"/>
                      <a:pt x="2144" y="10047"/>
                      <a:pt x="2142" y="10069"/>
                    </a:cubicBezTo>
                    <a:cubicBezTo>
                      <a:pt x="2140" y="10080"/>
                      <a:pt x="2139" y="10089"/>
                      <a:pt x="2138" y="10095"/>
                    </a:cubicBezTo>
                    <a:cubicBezTo>
                      <a:pt x="2138" y="10096"/>
                      <a:pt x="2138" y="10096"/>
                      <a:pt x="2138" y="10097"/>
                    </a:cubicBezTo>
                    <a:cubicBezTo>
                      <a:pt x="2143" y="10100"/>
                      <a:pt x="2149" y="10103"/>
                      <a:pt x="2155" y="10105"/>
                    </a:cubicBezTo>
                    <a:cubicBezTo>
                      <a:pt x="2188" y="10119"/>
                      <a:pt x="2235" y="10131"/>
                      <a:pt x="2273" y="10140"/>
                    </a:cubicBezTo>
                    <a:cubicBezTo>
                      <a:pt x="2311" y="10149"/>
                      <a:pt x="2340" y="10154"/>
                      <a:pt x="2341" y="10154"/>
                    </a:cubicBezTo>
                    <a:cubicBezTo>
                      <a:pt x="2346" y="10155"/>
                      <a:pt x="2353" y="10155"/>
                      <a:pt x="2361" y="10156"/>
                    </a:cubicBezTo>
                    <a:cubicBezTo>
                      <a:pt x="2386" y="10159"/>
                      <a:pt x="2417" y="10163"/>
                      <a:pt x="2461" y="10163"/>
                    </a:cubicBezTo>
                    <a:cubicBezTo>
                      <a:pt x="2544" y="10163"/>
                      <a:pt x="2656" y="10153"/>
                      <a:pt x="2771" y="10113"/>
                    </a:cubicBezTo>
                    <a:lnTo>
                      <a:pt x="2415" y="9209"/>
                    </a:lnTo>
                    <a:close/>
                    <a:moveTo>
                      <a:pt x="1993" y="10040"/>
                    </a:moveTo>
                    <a:cubicBezTo>
                      <a:pt x="1640" y="10190"/>
                      <a:pt x="1640" y="10190"/>
                      <a:pt x="1640" y="10190"/>
                    </a:cubicBezTo>
                    <a:cubicBezTo>
                      <a:pt x="1638" y="10210"/>
                      <a:pt x="1635" y="10247"/>
                      <a:pt x="1632" y="10285"/>
                    </a:cubicBezTo>
                    <a:cubicBezTo>
                      <a:pt x="1627" y="10336"/>
                      <a:pt x="1622" y="10384"/>
                      <a:pt x="1622" y="10387"/>
                    </a:cubicBezTo>
                    <a:cubicBezTo>
                      <a:pt x="1604" y="10386"/>
                      <a:pt x="1604" y="10386"/>
                      <a:pt x="1604" y="10386"/>
                    </a:cubicBezTo>
                    <a:cubicBezTo>
                      <a:pt x="1598" y="10456"/>
                      <a:pt x="1598" y="10456"/>
                      <a:pt x="1598" y="10456"/>
                    </a:cubicBezTo>
                    <a:cubicBezTo>
                      <a:pt x="1765" y="10564"/>
                      <a:pt x="1765" y="10564"/>
                      <a:pt x="1765" y="10564"/>
                    </a:cubicBezTo>
                    <a:cubicBezTo>
                      <a:pt x="1935" y="10410"/>
                      <a:pt x="1935" y="10410"/>
                      <a:pt x="1935" y="10410"/>
                    </a:cubicBezTo>
                    <a:cubicBezTo>
                      <a:pt x="2271" y="10294"/>
                      <a:pt x="2271" y="10294"/>
                      <a:pt x="2271" y="10294"/>
                    </a:cubicBezTo>
                    <a:cubicBezTo>
                      <a:pt x="2292" y="10191"/>
                      <a:pt x="2292" y="10191"/>
                      <a:pt x="2292" y="10191"/>
                    </a:cubicBezTo>
                    <a:cubicBezTo>
                      <a:pt x="2250" y="10182"/>
                      <a:pt x="2185" y="10166"/>
                      <a:pt x="2138" y="10147"/>
                    </a:cubicBezTo>
                    <a:cubicBezTo>
                      <a:pt x="2072" y="10119"/>
                      <a:pt x="2016" y="10065"/>
                      <a:pt x="1993" y="10040"/>
                    </a:cubicBezTo>
                    <a:close/>
                    <a:moveTo>
                      <a:pt x="3181" y="10287"/>
                    </a:moveTo>
                    <a:cubicBezTo>
                      <a:pt x="3220" y="10271"/>
                      <a:pt x="3290" y="10243"/>
                      <a:pt x="3359" y="10215"/>
                    </a:cubicBezTo>
                    <a:cubicBezTo>
                      <a:pt x="3449" y="10179"/>
                      <a:pt x="3537" y="10143"/>
                      <a:pt x="3552" y="10137"/>
                    </a:cubicBezTo>
                    <a:cubicBezTo>
                      <a:pt x="3552" y="10137"/>
                      <a:pt x="3552" y="10137"/>
                      <a:pt x="3552" y="10137"/>
                    </a:cubicBezTo>
                    <a:cubicBezTo>
                      <a:pt x="3549" y="10136"/>
                      <a:pt x="3550" y="10136"/>
                      <a:pt x="3549" y="10135"/>
                    </a:cubicBezTo>
                    <a:cubicBezTo>
                      <a:pt x="3547" y="10133"/>
                      <a:pt x="3544" y="10128"/>
                      <a:pt x="3537" y="10118"/>
                    </a:cubicBezTo>
                    <a:cubicBezTo>
                      <a:pt x="3516" y="10084"/>
                      <a:pt x="3464" y="10002"/>
                      <a:pt x="3418" y="9929"/>
                    </a:cubicBezTo>
                    <a:cubicBezTo>
                      <a:pt x="3395" y="9893"/>
                      <a:pt x="3373" y="9859"/>
                      <a:pt x="3356" y="9833"/>
                    </a:cubicBezTo>
                    <a:cubicBezTo>
                      <a:pt x="3348" y="9821"/>
                      <a:pt x="3341" y="9811"/>
                      <a:pt x="3336" y="9803"/>
                    </a:cubicBezTo>
                    <a:cubicBezTo>
                      <a:pt x="3335" y="9803"/>
                      <a:pt x="3335" y="9803"/>
                      <a:pt x="3335" y="9802"/>
                    </a:cubicBezTo>
                    <a:cubicBezTo>
                      <a:pt x="3327" y="9817"/>
                      <a:pt x="3319" y="9831"/>
                      <a:pt x="3309" y="9844"/>
                    </a:cubicBezTo>
                    <a:cubicBezTo>
                      <a:pt x="3266" y="9905"/>
                      <a:pt x="3240" y="9931"/>
                      <a:pt x="3190" y="9957"/>
                    </a:cubicBezTo>
                    <a:cubicBezTo>
                      <a:pt x="3170" y="9968"/>
                      <a:pt x="3144" y="9980"/>
                      <a:pt x="3111" y="9997"/>
                    </a:cubicBezTo>
                    <a:lnTo>
                      <a:pt x="3181" y="10287"/>
                    </a:lnTo>
                    <a:close/>
                    <a:moveTo>
                      <a:pt x="4398" y="9689"/>
                    </a:moveTo>
                    <a:cubicBezTo>
                      <a:pt x="4454" y="9688"/>
                      <a:pt x="4540" y="9686"/>
                      <a:pt x="4639" y="9684"/>
                    </a:cubicBezTo>
                    <a:cubicBezTo>
                      <a:pt x="4617" y="9257"/>
                      <a:pt x="4617" y="9257"/>
                      <a:pt x="4617" y="9257"/>
                    </a:cubicBezTo>
                    <a:cubicBezTo>
                      <a:pt x="4455" y="9270"/>
                      <a:pt x="4295" y="9280"/>
                      <a:pt x="4213" y="9285"/>
                    </a:cubicBezTo>
                    <a:lnTo>
                      <a:pt x="4398" y="9689"/>
                    </a:lnTo>
                    <a:close/>
                    <a:moveTo>
                      <a:pt x="4740" y="10159"/>
                    </a:moveTo>
                    <a:cubicBezTo>
                      <a:pt x="4771" y="10152"/>
                      <a:pt x="4802" y="10144"/>
                      <a:pt x="4831" y="10137"/>
                    </a:cubicBezTo>
                    <a:cubicBezTo>
                      <a:pt x="4861" y="10131"/>
                      <a:pt x="4890" y="10124"/>
                      <a:pt x="4919" y="10118"/>
                    </a:cubicBezTo>
                    <a:cubicBezTo>
                      <a:pt x="4900" y="9692"/>
                      <a:pt x="4900" y="9692"/>
                      <a:pt x="4900" y="9692"/>
                    </a:cubicBezTo>
                    <a:cubicBezTo>
                      <a:pt x="4886" y="9693"/>
                      <a:pt x="4873" y="9693"/>
                      <a:pt x="4859" y="9693"/>
                    </a:cubicBezTo>
                    <a:cubicBezTo>
                      <a:pt x="4789" y="9695"/>
                      <a:pt x="4720" y="9696"/>
                      <a:pt x="4655" y="9698"/>
                    </a:cubicBezTo>
                    <a:lnTo>
                      <a:pt x="4740" y="10159"/>
                    </a:lnTo>
                    <a:close/>
                    <a:moveTo>
                      <a:pt x="5109" y="9674"/>
                    </a:moveTo>
                    <a:cubicBezTo>
                      <a:pt x="4953" y="9220"/>
                      <a:pt x="4953" y="9220"/>
                      <a:pt x="4953" y="9220"/>
                    </a:cubicBezTo>
                    <a:cubicBezTo>
                      <a:pt x="4868" y="9234"/>
                      <a:pt x="4750" y="9246"/>
                      <a:pt x="4630" y="9256"/>
                    </a:cubicBezTo>
                    <a:cubicBezTo>
                      <a:pt x="4653" y="9684"/>
                      <a:pt x="4653" y="9684"/>
                      <a:pt x="4653" y="9684"/>
                    </a:cubicBezTo>
                    <a:cubicBezTo>
                      <a:pt x="4798" y="9681"/>
                      <a:pt x="4968" y="9677"/>
                      <a:pt x="5109" y="9674"/>
                    </a:cubicBezTo>
                    <a:close/>
                    <a:moveTo>
                      <a:pt x="5754" y="9357"/>
                    </a:moveTo>
                    <a:cubicBezTo>
                      <a:pt x="5789" y="9237"/>
                      <a:pt x="5789" y="9237"/>
                      <a:pt x="5789" y="9237"/>
                    </a:cubicBezTo>
                    <a:cubicBezTo>
                      <a:pt x="5751" y="9232"/>
                      <a:pt x="5433" y="9171"/>
                      <a:pt x="5314" y="9149"/>
                    </a:cubicBezTo>
                    <a:cubicBezTo>
                      <a:pt x="5317" y="9155"/>
                      <a:pt x="5320" y="9161"/>
                      <a:pt x="5321" y="9168"/>
                    </a:cubicBezTo>
                    <a:cubicBezTo>
                      <a:pt x="5324" y="9181"/>
                      <a:pt x="5349" y="9232"/>
                      <a:pt x="5373" y="9292"/>
                    </a:cubicBezTo>
                    <a:cubicBezTo>
                      <a:pt x="5376" y="9297"/>
                      <a:pt x="5378" y="9303"/>
                      <a:pt x="5380" y="9308"/>
                    </a:cubicBezTo>
                    <a:lnTo>
                      <a:pt x="5754" y="9357"/>
                    </a:lnTo>
                    <a:close/>
                    <a:moveTo>
                      <a:pt x="5386" y="9323"/>
                    </a:moveTo>
                    <a:cubicBezTo>
                      <a:pt x="5402" y="9366"/>
                      <a:pt x="5416" y="9413"/>
                      <a:pt x="5423" y="9459"/>
                    </a:cubicBezTo>
                    <a:cubicBezTo>
                      <a:pt x="5449" y="9463"/>
                      <a:pt x="5503" y="9472"/>
                      <a:pt x="5559" y="9481"/>
                    </a:cubicBezTo>
                    <a:cubicBezTo>
                      <a:pt x="5623" y="9492"/>
                      <a:pt x="5690" y="9502"/>
                      <a:pt x="5712" y="9505"/>
                    </a:cubicBezTo>
                    <a:cubicBezTo>
                      <a:pt x="5750" y="9370"/>
                      <a:pt x="5750" y="9370"/>
                      <a:pt x="5750" y="9370"/>
                    </a:cubicBezTo>
                    <a:lnTo>
                      <a:pt x="5386" y="9323"/>
                    </a:lnTo>
                    <a:close/>
                    <a:moveTo>
                      <a:pt x="5414" y="9843"/>
                    </a:moveTo>
                    <a:cubicBezTo>
                      <a:pt x="5674" y="9802"/>
                      <a:pt x="5674" y="9802"/>
                      <a:pt x="5674" y="9802"/>
                    </a:cubicBezTo>
                    <a:cubicBezTo>
                      <a:pt x="5671" y="9654"/>
                      <a:pt x="5671" y="9654"/>
                      <a:pt x="5671" y="9654"/>
                    </a:cubicBezTo>
                    <a:cubicBezTo>
                      <a:pt x="5427" y="9633"/>
                      <a:pt x="5427" y="9633"/>
                      <a:pt x="5427" y="9633"/>
                    </a:cubicBezTo>
                    <a:cubicBezTo>
                      <a:pt x="5424" y="9698"/>
                      <a:pt x="5419" y="9773"/>
                      <a:pt x="5414" y="9843"/>
                    </a:cubicBezTo>
                    <a:close/>
                    <a:moveTo>
                      <a:pt x="5397" y="10038"/>
                    </a:moveTo>
                    <a:cubicBezTo>
                      <a:pt x="5495" y="10026"/>
                      <a:pt x="5589" y="10016"/>
                      <a:pt x="5677" y="10008"/>
                    </a:cubicBezTo>
                    <a:cubicBezTo>
                      <a:pt x="5674" y="9816"/>
                      <a:pt x="5674" y="9816"/>
                      <a:pt x="5674" y="9816"/>
                    </a:cubicBezTo>
                    <a:cubicBezTo>
                      <a:pt x="5413" y="9857"/>
                      <a:pt x="5413" y="9857"/>
                      <a:pt x="5413" y="9857"/>
                    </a:cubicBezTo>
                    <a:cubicBezTo>
                      <a:pt x="5407" y="9933"/>
                      <a:pt x="5401" y="10001"/>
                      <a:pt x="5397" y="10038"/>
                    </a:cubicBezTo>
                    <a:close/>
                    <a:moveTo>
                      <a:pt x="5708" y="9519"/>
                    </a:moveTo>
                    <a:cubicBezTo>
                      <a:pt x="5662" y="9513"/>
                      <a:pt x="5484" y="9483"/>
                      <a:pt x="5426" y="9473"/>
                    </a:cubicBezTo>
                    <a:cubicBezTo>
                      <a:pt x="5426" y="9479"/>
                      <a:pt x="5428" y="9485"/>
                      <a:pt x="5428" y="9491"/>
                    </a:cubicBezTo>
                    <a:cubicBezTo>
                      <a:pt x="5429" y="9504"/>
                      <a:pt x="5430" y="9520"/>
                      <a:pt x="5430" y="9539"/>
                    </a:cubicBezTo>
                    <a:cubicBezTo>
                      <a:pt x="5430" y="9562"/>
                      <a:pt x="5429" y="9589"/>
                      <a:pt x="5428" y="9619"/>
                    </a:cubicBezTo>
                    <a:cubicBezTo>
                      <a:pt x="5673" y="9640"/>
                      <a:pt x="5673" y="9640"/>
                      <a:pt x="5673" y="9640"/>
                    </a:cubicBezTo>
                    <a:lnTo>
                      <a:pt x="5708" y="9519"/>
                    </a:lnTo>
                    <a:close/>
                    <a:moveTo>
                      <a:pt x="5706" y="9575"/>
                    </a:moveTo>
                    <a:cubicBezTo>
                      <a:pt x="5862" y="9600"/>
                      <a:pt x="5862" y="9600"/>
                      <a:pt x="5862" y="9600"/>
                    </a:cubicBezTo>
                    <a:cubicBezTo>
                      <a:pt x="5908" y="9475"/>
                      <a:pt x="5908" y="9475"/>
                      <a:pt x="5908" y="9475"/>
                    </a:cubicBezTo>
                    <a:cubicBezTo>
                      <a:pt x="5747" y="9449"/>
                      <a:pt x="5747" y="9449"/>
                      <a:pt x="5747" y="9449"/>
                    </a:cubicBezTo>
                    <a:cubicBezTo>
                      <a:pt x="5749" y="9436"/>
                      <a:pt x="5749" y="9436"/>
                      <a:pt x="5749" y="9436"/>
                    </a:cubicBezTo>
                    <a:cubicBezTo>
                      <a:pt x="5912" y="9461"/>
                      <a:pt x="5912" y="9461"/>
                      <a:pt x="5912" y="9461"/>
                    </a:cubicBezTo>
                    <a:cubicBezTo>
                      <a:pt x="5958" y="9333"/>
                      <a:pt x="5958" y="9333"/>
                      <a:pt x="5958" y="9333"/>
                    </a:cubicBezTo>
                    <a:cubicBezTo>
                      <a:pt x="5784" y="9304"/>
                      <a:pt x="5784" y="9304"/>
                      <a:pt x="5784" y="9304"/>
                    </a:cubicBezTo>
                    <a:lnTo>
                      <a:pt x="5706" y="9575"/>
                    </a:lnTo>
                    <a:close/>
                    <a:moveTo>
                      <a:pt x="5970" y="9751"/>
                    </a:moveTo>
                    <a:cubicBezTo>
                      <a:pt x="6013" y="9752"/>
                      <a:pt x="6043" y="9754"/>
                      <a:pt x="6046" y="9754"/>
                    </a:cubicBezTo>
                    <a:cubicBezTo>
                      <a:pt x="6083" y="9650"/>
                      <a:pt x="6083" y="9650"/>
                      <a:pt x="6083" y="9650"/>
                    </a:cubicBezTo>
                    <a:cubicBezTo>
                      <a:pt x="6011" y="9638"/>
                      <a:pt x="6011" y="9638"/>
                      <a:pt x="6011" y="9638"/>
                    </a:cubicBezTo>
                    <a:lnTo>
                      <a:pt x="5970" y="9751"/>
                    </a:lnTo>
                    <a:close/>
                    <a:moveTo>
                      <a:pt x="6088" y="9636"/>
                    </a:moveTo>
                    <a:cubicBezTo>
                      <a:pt x="6133" y="9510"/>
                      <a:pt x="6133" y="9510"/>
                      <a:pt x="6133" y="9510"/>
                    </a:cubicBezTo>
                    <a:cubicBezTo>
                      <a:pt x="6061" y="9498"/>
                      <a:pt x="6061" y="9498"/>
                      <a:pt x="6061" y="9498"/>
                    </a:cubicBezTo>
                    <a:cubicBezTo>
                      <a:pt x="6016" y="9625"/>
                      <a:pt x="6016" y="9625"/>
                      <a:pt x="6016" y="9625"/>
                    </a:cubicBezTo>
                    <a:lnTo>
                      <a:pt x="6088" y="9636"/>
                    </a:lnTo>
                    <a:close/>
                    <a:moveTo>
                      <a:pt x="6138" y="9496"/>
                    </a:moveTo>
                    <a:cubicBezTo>
                      <a:pt x="6269" y="9124"/>
                      <a:pt x="6269" y="9124"/>
                      <a:pt x="6269" y="9124"/>
                    </a:cubicBezTo>
                    <a:cubicBezTo>
                      <a:pt x="6201" y="9109"/>
                      <a:pt x="6201" y="9109"/>
                      <a:pt x="6201" y="9109"/>
                    </a:cubicBezTo>
                    <a:cubicBezTo>
                      <a:pt x="6162" y="9217"/>
                      <a:pt x="6162" y="9217"/>
                      <a:pt x="6162" y="9217"/>
                    </a:cubicBezTo>
                    <a:cubicBezTo>
                      <a:pt x="6228" y="9229"/>
                      <a:pt x="6228" y="9229"/>
                      <a:pt x="6228" y="9229"/>
                    </a:cubicBezTo>
                    <a:cubicBezTo>
                      <a:pt x="6225" y="9243"/>
                      <a:pt x="6225" y="9243"/>
                      <a:pt x="6225" y="9243"/>
                    </a:cubicBezTo>
                    <a:cubicBezTo>
                      <a:pt x="6158" y="9230"/>
                      <a:pt x="6158" y="9230"/>
                      <a:pt x="6158" y="9230"/>
                    </a:cubicBezTo>
                    <a:cubicBezTo>
                      <a:pt x="6116" y="9346"/>
                      <a:pt x="6116" y="9346"/>
                      <a:pt x="6116" y="9346"/>
                    </a:cubicBezTo>
                    <a:cubicBezTo>
                      <a:pt x="6182" y="9357"/>
                      <a:pt x="6182" y="9357"/>
                      <a:pt x="6182" y="9357"/>
                    </a:cubicBezTo>
                    <a:cubicBezTo>
                      <a:pt x="6179" y="9371"/>
                      <a:pt x="6179" y="9371"/>
                      <a:pt x="6179" y="9371"/>
                    </a:cubicBezTo>
                    <a:cubicBezTo>
                      <a:pt x="6111" y="9359"/>
                      <a:pt x="6111" y="9359"/>
                      <a:pt x="6111" y="9359"/>
                    </a:cubicBezTo>
                    <a:cubicBezTo>
                      <a:pt x="6066" y="9485"/>
                      <a:pt x="6066" y="9485"/>
                      <a:pt x="6066" y="9485"/>
                    </a:cubicBezTo>
                    <a:lnTo>
                      <a:pt x="6138" y="9496"/>
                    </a:lnTo>
                    <a:close/>
                    <a:moveTo>
                      <a:pt x="6274" y="9111"/>
                    </a:moveTo>
                    <a:cubicBezTo>
                      <a:pt x="6319" y="8984"/>
                      <a:pt x="6319" y="8984"/>
                      <a:pt x="6319" y="8984"/>
                    </a:cubicBezTo>
                    <a:cubicBezTo>
                      <a:pt x="6250" y="8972"/>
                      <a:pt x="6250" y="8972"/>
                      <a:pt x="6250" y="8972"/>
                    </a:cubicBezTo>
                    <a:cubicBezTo>
                      <a:pt x="6206" y="9095"/>
                      <a:pt x="6206" y="9095"/>
                      <a:pt x="6206" y="9095"/>
                    </a:cubicBezTo>
                    <a:lnTo>
                      <a:pt x="6274" y="9111"/>
                    </a:lnTo>
                    <a:close/>
                    <a:moveTo>
                      <a:pt x="6324" y="8971"/>
                    </a:moveTo>
                    <a:cubicBezTo>
                      <a:pt x="6362" y="8862"/>
                      <a:pt x="6362" y="8862"/>
                      <a:pt x="6362" y="8862"/>
                    </a:cubicBezTo>
                    <a:cubicBezTo>
                      <a:pt x="6293" y="8852"/>
                      <a:pt x="6293" y="8852"/>
                      <a:pt x="6293" y="8852"/>
                    </a:cubicBezTo>
                    <a:cubicBezTo>
                      <a:pt x="6255" y="8958"/>
                      <a:pt x="6255" y="8958"/>
                      <a:pt x="6255" y="8958"/>
                    </a:cubicBezTo>
                    <a:lnTo>
                      <a:pt x="6324" y="8971"/>
                    </a:lnTo>
                    <a:close/>
                    <a:moveTo>
                      <a:pt x="6367" y="8849"/>
                    </a:moveTo>
                    <a:cubicBezTo>
                      <a:pt x="6475" y="8543"/>
                      <a:pt x="6475" y="8543"/>
                      <a:pt x="6475" y="8543"/>
                    </a:cubicBezTo>
                    <a:cubicBezTo>
                      <a:pt x="6405" y="8542"/>
                      <a:pt x="6405" y="8542"/>
                      <a:pt x="6405" y="8542"/>
                    </a:cubicBezTo>
                    <a:cubicBezTo>
                      <a:pt x="6351" y="8691"/>
                      <a:pt x="6351" y="8691"/>
                      <a:pt x="6351" y="8691"/>
                    </a:cubicBezTo>
                    <a:cubicBezTo>
                      <a:pt x="6412" y="8697"/>
                      <a:pt x="6412" y="8697"/>
                      <a:pt x="6412" y="8697"/>
                    </a:cubicBezTo>
                    <a:cubicBezTo>
                      <a:pt x="6411" y="8711"/>
                      <a:pt x="6411" y="8711"/>
                      <a:pt x="6411" y="8711"/>
                    </a:cubicBezTo>
                    <a:cubicBezTo>
                      <a:pt x="6347" y="8704"/>
                      <a:pt x="6347" y="8704"/>
                      <a:pt x="6347" y="8704"/>
                    </a:cubicBezTo>
                    <a:cubicBezTo>
                      <a:pt x="6298" y="8839"/>
                      <a:pt x="6298" y="8839"/>
                      <a:pt x="6298" y="8839"/>
                    </a:cubicBezTo>
                    <a:lnTo>
                      <a:pt x="6367" y="8849"/>
                    </a:lnTo>
                    <a:close/>
                    <a:moveTo>
                      <a:pt x="6480" y="8529"/>
                    </a:moveTo>
                    <a:cubicBezTo>
                      <a:pt x="6606" y="8172"/>
                      <a:pt x="6606" y="8172"/>
                      <a:pt x="6606" y="8172"/>
                    </a:cubicBezTo>
                    <a:cubicBezTo>
                      <a:pt x="6598" y="8172"/>
                      <a:pt x="6589" y="8172"/>
                      <a:pt x="6581" y="8172"/>
                    </a:cubicBezTo>
                    <a:cubicBezTo>
                      <a:pt x="6575" y="8171"/>
                      <a:pt x="6549" y="8170"/>
                      <a:pt x="6508" y="8167"/>
                    </a:cubicBezTo>
                    <a:cubicBezTo>
                      <a:pt x="6502" y="8184"/>
                      <a:pt x="6496" y="8201"/>
                      <a:pt x="6487" y="8218"/>
                    </a:cubicBezTo>
                    <a:cubicBezTo>
                      <a:pt x="6465" y="8263"/>
                      <a:pt x="6432" y="8309"/>
                      <a:pt x="6377" y="8333"/>
                    </a:cubicBezTo>
                    <a:cubicBezTo>
                      <a:pt x="6347" y="8346"/>
                      <a:pt x="6319" y="8350"/>
                      <a:pt x="6285" y="8353"/>
                    </a:cubicBezTo>
                    <a:cubicBezTo>
                      <a:pt x="6252" y="8357"/>
                      <a:pt x="6213" y="8358"/>
                      <a:pt x="6170" y="8358"/>
                    </a:cubicBezTo>
                    <a:cubicBezTo>
                      <a:pt x="6104" y="8358"/>
                      <a:pt x="6026" y="8355"/>
                      <a:pt x="5943" y="8350"/>
                    </a:cubicBezTo>
                    <a:cubicBezTo>
                      <a:pt x="5938" y="8367"/>
                      <a:pt x="5929" y="8402"/>
                      <a:pt x="5918" y="8447"/>
                    </a:cubicBezTo>
                    <a:cubicBezTo>
                      <a:pt x="5912" y="8469"/>
                      <a:pt x="5906" y="8495"/>
                      <a:pt x="5899" y="8521"/>
                    </a:cubicBezTo>
                    <a:cubicBezTo>
                      <a:pt x="6249" y="8526"/>
                      <a:pt x="6249" y="8526"/>
                      <a:pt x="6249" y="8526"/>
                    </a:cubicBezTo>
                    <a:cubicBezTo>
                      <a:pt x="6303" y="8375"/>
                      <a:pt x="6303" y="8375"/>
                      <a:pt x="6303" y="8375"/>
                    </a:cubicBezTo>
                    <a:cubicBezTo>
                      <a:pt x="6445" y="8429"/>
                      <a:pt x="6445" y="8429"/>
                      <a:pt x="6445" y="8429"/>
                    </a:cubicBezTo>
                    <a:cubicBezTo>
                      <a:pt x="6410" y="8528"/>
                      <a:pt x="6410" y="8528"/>
                      <a:pt x="6410" y="8528"/>
                    </a:cubicBezTo>
                    <a:lnTo>
                      <a:pt x="6480" y="8529"/>
                    </a:lnTo>
                    <a:close/>
                    <a:moveTo>
                      <a:pt x="6619" y="8020"/>
                    </a:moveTo>
                    <a:cubicBezTo>
                      <a:pt x="6626" y="8020"/>
                      <a:pt x="6632" y="8020"/>
                      <a:pt x="6637" y="8019"/>
                    </a:cubicBezTo>
                    <a:cubicBezTo>
                      <a:pt x="6652" y="7987"/>
                      <a:pt x="6678" y="7933"/>
                      <a:pt x="6706" y="7882"/>
                    </a:cubicBezTo>
                    <a:cubicBezTo>
                      <a:pt x="6707" y="7880"/>
                      <a:pt x="6707" y="7880"/>
                      <a:pt x="6707" y="7880"/>
                    </a:cubicBezTo>
                    <a:cubicBezTo>
                      <a:pt x="6707" y="7879"/>
                      <a:pt x="6707" y="7879"/>
                      <a:pt x="6707" y="7879"/>
                    </a:cubicBezTo>
                    <a:cubicBezTo>
                      <a:pt x="6710" y="7874"/>
                      <a:pt x="6730" y="7841"/>
                      <a:pt x="6773" y="7805"/>
                    </a:cubicBezTo>
                    <a:cubicBezTo>
                      <a:pt x="6815" y="7768"/>
                      <a:pt x="6881" y="7727"/>
                      <a:pt x="6971" y="7711"/>
                    </a:cubicBezTo>
                    <a:cubicBezTo>
                      <a:pt x="7021" y="7702"/>
                      <a:pt x="7076" y="7695"/>
                      <a:pt x="7134" y="7692"/>
                    </a:cubicBezTo>
                    <a:cubicBezTo>
                      <a:pt x="7131" y="7674"/>
                      <a:pt x="7129" y="7654"/>
                      <a:pt x="7129" y="7643"/>
                    </a:cubicBezTo>
                    <a:cubicBezTo>
                      <a:pt x="7130" y="7638"/>
                      <a:pt x="7126" y="7635"/>
                      <a:pt x="7134" y="7629"/>
                    </a:cubicBezTo>
                    <a:cubicBezTo>
                      <a:pt x="7138" y="7627"/>
                      <a:pt x="7143" y="7627"/>
                      <a:pt x="7155" y="7624"/>
                    </a:cubicBezTo>
                    <a:cubicBezTo>
                      <a:pt x="7240" y="7609"/>
                      <a:pt x="7585" y="7543"/>
                      <a:pt x="7932" y="7380"/>
                    </a:cubicBezTo>
                    <a:cubicBezTo>
                      <a:pt x="8129" y="7286"/>
                      <a:pt x="8260" y="7139"/>
                      <a:pt x="8343" y="7014"/>
                    </a:cubicBezTo>
                    <a:cubicBezTo>
                      <a:pt x="8425" y="6890"/>
                      <a:pt x="8457" y="6789"/>
                      <a:pt x="8458" y="6789"/>
                    </a:cubicBezTo>
                    <a:cubicBezTo>
                      <a:pt x="8459" y="6784"/>
                      <a:pt x="8459" y="6784"/>
                      <a:pt x="8459" y="6784"/>
                    </a:cubicBezTo>
                    <a:cubicBezTo>
                      <a:pt x="8465" y="6785"/>
                      <a:pt x="8465" y="6785"/>
                      <a:pt x="8465" y="6785"/>
                    </a:cubicBezTo>
                    <a:cubicBezTo>
                      <a:pt x="8465" y="6785"/>
                      <a:pt x="8496" y="6786"/>
                      <a:pt x="8522" y="6788"/>
                    </a:cubicBezTo>
                    <a:cubicBezTo>
                      <a:pt x="8524" y="6704"/>
                      <a:pt x="8525" y="6615"/>
                      <a:pt x="8525" y="6528"/>
                    </a:cubicBezTo>
                    <a:cubicBezTo>
                      <a:pt x="8525" y="6522"/>
                      <a:pt x="8525" y="6515"/>
                      <a:pt x="8525" y="6509"/>
                    </a:cubicBezTo>
                    <a:cubicBezTo>
                      <a:pt x="8515" y="6508"/>
                      <a:pt x="8504" y="6506"/>
                      <a:pt x="8491" y="6505"/>
                    </a:cubicBezTo>
                    <a:cubicBezTo>
                      <a:pt x="8467" y="6502"/>
                      <a:pt x="8438" y="6498"/>
                      <a:pt x="8406" y="6495"/>
                    </a:cubicBezTo>
                    <a:cubicBezTo>
                      <a:pt x="8407" y="6509"/>
                      <a:pt x="8407" y="6523"/>
                      <a:pt x="8407" y="6536"/>
                    </a:cubicBezTo>
                    <a:cubicBezTo>
                      <a:pt x="8406" y="6697"/>
                      <a:pt x="8391" y="6826"/>
                      <a:pt x="8340" y="6917"/>
                    </a:cubicBezTo>
                    <a:cubicBezTo>
                      <a:pt x="8200" y="7159"/>
                      <a:pt x="7872" y="7446"/>
                      <a:pt x="7287" y="7558"/>
                    </a:cubicBezTo>
                    <a:cubicBezTo>
                      <a:pt x="7005" y="7612"/>
                      <a:pt x="6860" y="7644"/>
                      <a:pt x="6784" y="7676"/>
                    </a:cubicBezTo>
                    <a:cubicBezTo>
                      <a:pt x="6746" y="7693"/>
                      <a:pt x="6725" y="7706"/>
                      <a:pt x="6705" y="7725"/>
                    </a:cubicBezTo>
                    <a:cubicBezTo>
                      <a:pt x="6684" y="7744"/>
                      <a:pt x="6664" y="7772"/>
                      <a:pt x="6634" y="7811"/>
                    </a:cubicBezTo>
                    <a:cubicBezTo>
                      <a:pt x="6598" y="7860"/>
                      <a:pt x="6574" y="7937"/>
                      <a:pt x="6552" y="8017"/>
                    </a:cubicBezTo>
                    <a:cubicBezTo>
                      <a:pt x="6572" y="8018"/>
                      <a:pt x="6585" y="8019"/>
                      <a:pt x="6588" y="8019"/>
                    </a:cubicBezTo>
                    <a:cubicBezTo>
                      <a:pt x="6599" y="8020"/>
                      <a:pt x="6610" y="8020"/>
                      <a:pt x="6619" y="8020"/>
                    </a:cubicBezTo>
                    <a:close/>
                    <a:moveTo>
                      <a:pt x="8280" y="7131"/>
                    </a:moveTo>
                    <a:cubicBezTo>
                      <a:pt x="8285" y="7118"/>
                      <a:pt x="8285" y="7118"/>
                      <a:pt x="8285" y="7118"/>
                    </a:cubicBezTo>
                    <a:cubicBezTo>
                      <a:pt x="8512" y="7197"/>
                      <a:pt x="8512" y="7197"/>
                      <a:pt x="8512" y="7197"/>
                    </a:cubicBezTo>
                    <a:cubicBezTo>
                      <a:pt x="8515" y="7129"/>
                      <a:pt x="8519" y="6977"/>
                      <a:pt x="8522" y="6801"/>
                    </a:cubicBezTo>
                    <a:cubicBezTo>
                      <a:pt x="8502" y="6801"/>
                      <a:pt x="8479" y="6799"/>
                      <a:pt x="8469" y="6799"/>
                    </a:cubicBezTo>
                    <a:cubicBezTo>
                      <a:pt x="8456" y="6835"/>
                      <a:pt x="8372" y="7056"/>
                      <a:pt x="8168" y="7239"/>
                    </a:cubicBezTo>
                    <a:cubicBezTo>
                      <a:pt x="8186" y="7252"/>
                      <a:pt x="8264" y="7309"/>
                      <a:pt x="8343" y="7366"/>
                    </a:cubicBezTo>
                    <a:cubicBezTo>
                      <a:pt x="8389" y="7399"/>
                      <a:pt x="8434" y="7432"/>
                      <a:pt x="8469" y="7456"/>
                    </a:cubicBezTo>
                    <a:cubicBezTo>
                      <a:pt x="8485" y="7467"/>
                      <a:pt x="8499" y="7476"/>
                      <a:pt x="8509" y="7483"/>
                    </a:cubicBezTo>
                    <a:cubicBezTo>
                      <a:pt x="8506" y="7449"/>
                      <a:pt x="8505" y="7416"/>
                      <a:pt x="8505" y="7383"/>
                    </a:cubicBezTo>
                    <a:cubicBezTo>
                      <a:pt x="8505" y="7321"/>
                      <a:pt x="8509" y="7263"/>
                      <a:pt x="8511" y="7213"/>
                    </a:cubicBezTo>
                    <a:cubicBezTo>
                      <a:pt x="8511" y="7212"/>
                      <a:pt x="8511" y="7212"/>
                      <a:pt x="8511" y="7211"/>
                    </a:cubicBezTo>
                    <a:lnTo>
                      <a:pt x="8280" y="7131"/>
                    </a:lnTo>
                    <a:close/>
                    <a:moveTo>
                      <a:pt x="7853" y="7437"/>
                    </a:moveTo>
                    <a:cubicBezTo>
                      <a:pt x="7863" y="7427"/>
                      <a:pt x="7863" y="7427"/>
                      <a:pt x="7863" y="7427"/>
                    </a:cubicBezTo>
                    <a:cubicBezTo>
                      <a:pt x="7863" y="7427"/>
                      <a:pt x="7970" y="7537"/>
                      <a:pt x="8087" y="7656"/>
                    </a:cubicBezTo>
                    <a:cubicBezTo>
                      <a:pt x="8088" y="7655"/>
                      <a:pt x="8088" y="7655"/>
                      <a:pt x="8089" y="7655"/>
                    </a:cubicBezTo>
                    <a:cubicBezTo>
                      <a:pt x="8138" y="7637"/>
                      <a:pt x="8187" y="7619"/>
                      <a:pt x="8224" y="7605"/>
                    </a:cubicBezTo>
                    <a:cubicBezTo>
                      <a:pt x="8243" y="7598"/>
                      <a:pt x="8258" y="7593"/>
                      <a:pt x="8270" y="7589"/>
                    </a:cubicBezTo>
                    <a:cubicBezTo>
                      <a:pt x="8270" y="7589"/>
                      <a:pt x="8271" y="7588"/>
                      <a:pt x="8271" y="7588"/>
                    </a:cubicBezTo>
                    <a:cubicBezTo>
                      <a:pt x="8004" y="7360"/>
                      <a:pt x="8004" y="7360"/>
                      <a:pt x="8004" y="7360"/>
                    </a:cubicBezTo>
                    <a:cubicBezTo>
                      <a:pt x="8009" y="7354"/>
                      <a:pt x="8009" y="7354"/>
                      <a:pt x="8009" y="7354"/>
                    </a:cubicBezTo>
                    <a:cubicBezTo>
                      <a:pt x="7986" y="7368"/>
                      <a:pt x="7963" y="7380"/>
                      <a:pt x="7938" y="7392"/>
                    </a:cubicBezTo>
                    <a:cubicBezTo>
                      <a:pt x="7791" y="7461"/>
                      <a:pt x="7645" y="7513"/>
                      <a:pt x="7518" y="7551"/>
                    </a:cubicBezTo>
                    <a:cubicBezTo>
                      <a:pt x="7615" y="7748"/>
                      <a:pt x="7615" y="7748"/>
                      <a:pt x="7615" y="7748"/>
                    </a:cubicBezTo>
                    <a:cubicBezTo>
                      <a:pt x="7722" y="7782"/>
                      <a:pt x="7831" y="7837"/>
                      <a:pt x="7920" y="7887"/>
                    </a:cubicBezTo>
                    <a:cubicBezTo>
                      <a:pt x="7989" y="7926"/>
                      <a:pt x="8046" y="7961"/>
                      <a:pt x="8076" y="7981"/>
                    </a:cubicBezTo>
                    <a:cubicBezTo>
                      <a:pt x="8086" y="7980"/>
                      <a:pt x="8100" y="7978"/>
                      <a:pt x="8116" y="7977"/>
                    </a:cubicBezTo>
                    <a:cubicBezTo>
                      <a:pt x="7674" y="7508"/>
                      <a:pt x="7674" y="7508"/>
                      <a:pt x="7674" y="7508"/>
                    </a:cubicBezTo>
                    <a:cubicBezTo>
                      <a:pt x="7684" y="7498"/>
                      <a:pt x="7684" y="7498"/>
                      <a:pt x="7684" y="7498"/>
                    </a:cubicBezTo>
                    <a:cubicBezTo>
                      <a:pt x="7899" y="7726"/>
                      <a:pt x="7899" y="7726"/>
                      <a:pt x="7899" y="7726"/>
                    </a:cubicBezTo>
                    <a:cubicBezTo>
                      <a:pt x="7915" y="7720"/>
                      <a:pt x="7991" y="7691"/>
                      <a:pt x="8073" y="7661"/>
                    </a:cubicBezTo>
                    <a:cubicBezTo>
                      <a:pt x="7958" y="7544"/>
                      <a:pt x="7853" y="7437"/>
                      <a:pt x="7853" y="7437"/>
                    </a:cubicBezTo>
                    <a:close/>
                    <a:moveTo>
                      <a:pt x="7770" y="8224"/>
                    </a:moveTo>
                    <a:cubicBezTo>
                      <a:pt x="7699" y="8363"/>
                      <a:pt x="7699" y="8363"/>
                      <a:pt x="7699" y="8363"/>
                    </a:cubicBezTo>
                    <a:cubicBezTo>
                      <a:pt x="7813" y="8417"/>
                      <a:pt x="7813" y="8417"/>
                      <a:pt x="7813" y="8417"/>
                    </a:cubicBezTo>
                    <a:cubicBezTo>
                      <a:pt x="7883" y="8280"/>
                      <a:pt x="7883" y="8280"/>
                      <a:pt x="7883" y="8280"/>
                    </a:cubicBezTo>
                    <a:lnTo>
                      <a:pt x="7770" y="8224"/>
                    </a:lnTo>
                    <a:close/>
                    <a:moveTo>
                      <a:pt x="7889" y="8267"/>
                    </a:moveTo>
                    <a:cubicBezTo>
                      <a:pt x="7952" y="8145"/>
                      <a:pt x="7952" y="8145"/>
                      <a:pt x="7952" y="8145"/>
                    </a:cubicBezTo>
                    <a:cubicBezTo>
                      <a:pt x="7840" y="8086"/>
                      <a:pt x="7840" y="8086"/>
                      <a:pt x="7840" y="8086"/>
                    </a:cubicBezTo>
                    <a:cubicBezTo>
                      <a:pt x="7776" y="8211"/>
                      <a:pt x="7776" y="8211"/>
                      <a:pt x="7776" y="8211"/>
                    </a:cubicBezTo>
                    <a:lnTo>
                      <a:pt x="7889" y="8267"/>
                    </a:lnTo>
                    <a:close/>
                    <a:moveTo>
                      <a:pt x="7119" y="8162"/>
                    </a:moveTo>
                    <a:cubicBezTo>
                      <a:pt x="7210" y="8181"/>
                      <a:pt x="7309" y="8202"/>
                      <a:pt x="7358" y="8213"/>
                    </a:cubicBezTo>
                    <a:cubicBezTo>
                      <a:pt x="7407" y="8060"/>
                      <a:pt x="7407" y="8060"/>
                      <a:pt x="7407" y="8060"/>
                    </a:cubicBezTo>
                    <a:cubicBezTo>
                      <a:pt x="7169" y="8015"/>
                      <a:pt x="7169" y="8015"/>
                      <a:pt x="7169" y="8015"/>
                    </a:cubicBezTo>
                    <a:lnTo>
                      <a:pt x="7119" y="8162"/>
                    </a:lnTo>
                    <a:close/>
                    <a:moveTo>
                      <a:pt x="7190" y="7914"/>
                    </a:moveTo>
                    <a:cubicBezTo>
                      <a:pt x="7065" y="7872"/>
                      <a:pt x="7065" y="7872"/>
                      <a:pt x="7065" y="7872"/>
                    </a:cubicBezTo>
                    <a:cubicBezTo>
                      <a:pt x="7031" y="7974"/>
                      <a:pt x="7031" y="7974"/>
                      <a:pt x="7031" y="7974"/>
                    </a:cubicBezTo>
                    <a:cubicBezTo>
                      <a:pt x="7161" y="7999"/>
                      <a:pt x="7161" y="7999"/>
                      <a:pt x="7161" y="7999"/>
                    </a:cubicBezTo>
                    <a:lnTo>
                      <a:pt x="7190" y="7914"/>
                    </a:lnTo>
                    <a:close/>
                    <a:moveTo>
                      <a:pt x="7365" y="8408"/>
                    </a:moveTo>
                    <a:cubicBezTo>
                      <a:pt x="7602" y="8525"/>
                      <a:pt x="7602" y="8525"/>
                      <a:pt x="7602" y="8525"/>
                    </a:cubicBezTo>
                    <a:cubicBezTo>
                      <a:pt x="7681" y="8370"/>
                      <a:pt x="7681" y="8370"/>
                      <a:pt x="7681" y="8370"/>
                    </a:cubicBezTo>
                    <a:cubicBezTo>
                      <a:pt x="7416" y="8247"/>
                      <a:pt x="7416" y="8247"/>
                      <a:pt x="7416" y="8247"/>
                    </a:cubicBezTo>
                    <a:lnTo>
                      <a:pt x="7365" y="8408"/>
                    </a:lnTo>
                    <a:close/>
                    <a:moveTo>
                      <a:pt x="7115" y="8176"/>
                    </a:moveTo>
                    <a:cubicBezTo>
                      <a:pt x="7059" y="8340"/>
                      <a:pt x="7059" y="8340"/>
                      <a:pt x="7059" y="8340"/>
                    </a:cubicBezTo>
                    <a:cubicBezTo>
                      <a:pt x="7302" y="8388"/>
                      <a:pt x="7302" y="8388"/>
                      <a:pt x="7302" y="8388"/>
                    </a:cubicBezTo>
                    <a:cubicBezTo>
                      <a:pt x="7354" y="8226"/>
                      <a:pt x="7354" y="8226"/>
                      <a:pt x="7354" y="8226"/>
                    </a:cubicBezTo>
                    <a:cubicBezTo>
                      <a:pt x="7313" y="8217"/>
                      <a:pt x="7239" y="8201"/>
                      <a:pt x="7163" y="8186"/>
                    </a:cubicBezTo>
                    <a:cubicBezTo>
                      <a:pt x="7147" y="8182"/>
                      <a:pt x="7131" y="8179"/>
                      <a:pt x="7115" y="8176"/>
                    </a:cubicBezTo>
                    <a:close/>
                    <a:moveTo>
                      <a:pt x="7055" y="8354"/>
                    </a:moveTo>
                    <a:cubicBezTo>
                      <a:pt x="6997" y="8524"/>
                      <a:pt x="6997" y="8524"/>
                      <a:pt x="6997" y="8524"/>
                    </a:cubicBezTo>
                    <a:cubicBezTo>
                      <a:pt x="7091" y="8542"/>
                      <a:pt x="7193" y="8561"/>
                      <a:pt x="7244" y="8571"/>
                    </a:cubicBezTo>
                    <a:cubicBezTo>
                      <a:pt x="7298" y="8401"/>
                      <a:pt x="7298" y="8401"/>
                      <a:pt x="7298" y="8401"/>
                    </a:cubicBezTo>
                    <a:lnTo>
                      <a:pt x="7055" y="8354"/>
                    </a:lnTo>
                    <a:close/>
                    <a:moveTo>
                      <a:pt x="6992" y="8537"/>
                    </a:moveTo>
                    <a:cubicBezTo>
                      <a:pt x="6935" y="8706"/>
                      <a:pt x="6935" y="8706"/>
                      <a:pt x="6935" y="8706"/>
                    </a:cubicBezTo>
                    <a:cubicBezTo>
                      <a:pt x="7029" y="8723"/>
                      <a:pt x="7130" y="8743"/>
                      <a:pt x="7185" y="8753"/>
                    </a:cubicBezTo>
                    <a:cubicBezTo>
                      <a:pt x="7239" y="8584"/>
                      <a:pt x="7239" y="8584"/>
                      <a:pt x="7239" y="8584"/>
                    </a:cubicBezTo>
                    <a:cubicBezTo>
                      <a:pt x="7196" y="8576"/>
                      <a:pt x="7118" y="8561"/>
                      <a:pt x="7038" y="8546"/>
                    </a:cubicBezTo>
                    <a:cubicBezTo>
                      <a:pt x="7023" y="8543"/>
                      <a:pt x="7008" y="8540"/>
                      <a:pt x="6992" y="8537"/>
                    </a:cubicBezTo>
                    <a:close/>
                    <a:moveTo>
                      <a:pt x="6931" y="8719"/>
                    </a:moveTo>
                    <a:cubicBezTo>
                      <a:pt x="6872" y="8892"/>
                      <a:pt x="6872" y="8892"/>
                      <a:pt x="6872" y="8892"/>
                    </a:cubicBezTo>
                    <a:cubicBezTo>
                      <a:pt x="6881" y="8894"/>
                      <a:pt x="6890" y="8895"/>
                      <a:pt x="6899" y="8897"/>
                    </a:cubicBezTo>
                    <a:cubicBezTo>
                      <a:pt x="6989" y="8915"/>
                      <a:pt x="7083" y="8933"/>
                      <a:pt x="7125" y="8940"/>
                    </a:cubicBezTo>
                    <a:cubicBezTo>
                      <a:pt x="7181" y="8767"/>
                      <a:pt x="7181" y="8767"/>
                      <a:pt x="7181" y="8767"/>
                    </a:cubicBezTo>
                    <a:cubicBezTo>
                      <a:pt x="7134" y="8758"/>
                      <a:pt x="7055" y="8743"/>
                      <a:pt x="6976" y="8728"/>
                    </a:cubicBezTo>
                    <a:cubicBezTo>
                      <a:pt x="6961" y="8725"/>
                      <a:pt x="6946" y="8722"/>
                      <a:pt x="6931" y="8719"/>
                    </a:cubicBezTo>
                    <a:close/>
                    <a:moveTo>
                      <a:pt x="7134" y="9129"/>
                    </a:moveTo>
                    <a:cubicBezTo>
                      <a:pt x="7262" y="9192"/>
                      <a:pt x="7262" y="9192"/>
                      <a:pt x="7262" y="9192"/>
                    </a:cubicBezTo>
                    <a:cubicBezTo>
                      <a:pt x="7337" y="9044"/>
                      <a:pt x="7337" y="9044"/>
                      <a:pt x="7337" y="9044"/>
                    </a:cubicBezTo>
                    <a:cubicBezTo>
                      <a:pt x="7336" y="9044"/>
                      <a:pt x="7335" y="9043"/>
                      <a:pt x="7333" y="9043"/>
                    </a:cubicBezTo>
                    <a:cubicBezTo>
                      <a:pt x="7290" y="9021"/>
                      <a:pt x="7245" y="9000"/>
                      <a:pt x="7211" y="8983"/>
                    </a:cubicBezTo>
                    <a:cubicBezTo>
                      <a:pt x="7201" y="8979"/>
                      <a:pt x="7192" y="8975"/>
                      <a:pt x="7184" y="8971"/>
                    </a:cubicBezTo>
                    <a:lnTo>
                      <a:pt x="7134" y="9129"/>
                    </a:lnTo>
                    <a:close/>
                    <a:moveTo>
                      <a:pt x="7343" y="9032"/>
                    </a:moveTo>
                    <a:cubicBezTo>
                      <a:pt x="7422" y="8877"/>
                      <a:pt x="7422" y="8877"/>
                      <a:pt x="7422" y="8877"/>
                    </a:cubicBezTo>
                    <a:cubicBezTo>
                      <a:pt x="7244" y="8785"/>
                      <a:pt x="7244" y="8785"/>
                      <a:pt x="7244" y="8785"/>
                    </a:cubicBezTo>
                    <a:cubicBezTo>
                      <a:pt x="7189" y="8958"/>
                      <a:pt x="7189" y="8958"/>
                      <a:pt x="7189" y="8958"/>
                    </a:cubicBezTo>
                    <a:cubicBezTo>
                      <a:pt x="7197" y="8962"/>
                      <a:pt x="7206" y="8966"/>
                      <a:pt x="7216" y="8971"/>
                    </a:cubicBezTo>
                    <a:cubicBezTo>
                      <a:pt x="7252" y="8987"/>
                      <a:pt x="7298" y="9010"/>
                      <a:pt x="7343" y="9032"/>
                    </a:cubicBezTo>
                    <a:close/>
                    <a:moveTo>
                      <a:pt x="7429" y="8864"/>
                    </a:moveTo>
                    <a:cubicBezTo>
                      <a:pt x="7510" y="8706"/>
                      <a:pt x="7510" y="8706"/>
                      <a:pt x="7510" y="8706"/>
                    </a:cubicBezTo>
                    <a:cubicBezTo>
                      <a:pt x="7302" y="8604"/>
                      <a:pt x="7302" y="8604"/>
                      <a:pt x="7302" y="8604"/>
                    </a:cubicBezTo>
                    <a:cubicBezTo>
                      <a:pt x="7248" y="8772"/>
                      <a:pt x="7248" y="8772"/>
                      <a:pt x="7248" y="8772"/>
                    </a:cubicBezTo>
                    <a:lnTo>
                      <a:pt x="7429" y="8864"/>
                    </a:lnTo>
                    <a:close/>
                    <a:moveTo>
                      <a:pt x="7516" y="8693"/>
                    </a:moveTo>
                    <a:cubicBezTo>
                      <a:pt x="7596" y="8537"/>
                      <a:pt x="7596" y="8537"/>
                      <a:pt x="7596" y="8537"/>
                    </a:cubicBezTo>
                    <a:cubicBezTo>
                      <a:pt x="7360" y="8421"/>
                      <a:pt x="7360" y="8421"/>
                      <a:pt x="7360" y="8421"/>
                    </a:cubicBezTo>
                    <a:cubicBezTo>
                      <a:pt x="7306" y="8591"/>
                      <a:pt x="7306" y="8591"/>
                      <a:pt x="7306" y="8591"/>
                    </a:cubicBezTo>
                    <a:lnTo>
                      <a:pt x="7516" y="8693"/>
                    </a:lnTo>
                    <a:close/>
                    <a:moveTo>
                      <a:pt x="7528" y="8699"/>
                    </a:moveTo>
                    <a:cubicBezTo>
                      <a:pt x="7641" y="8755"/>
                      <a:pt x="7641" y="8755"/>
                      <a:pt x="7641" y="8755"/>
                    </a:cubicBezTo>
                    <a:cubicBezTo>
                      <a:pt x="7720" y="8599"/>
                      <a:pt x="7720" y="8599"/>
                      <a:pt x="7720" y="8599"/>
                    </a:cubicBezTo>
                    <a:cubicBezTo>
                      <a:pt x="7607" y="8543"/>
                      <a:pt x="7607" y="8543"/>
                      <a:pt x="7607" y="8543"/>
                    </a:cubicBezTo>
                    <a:lnTo>
                      <a:pt x="7528" y="8699"/>
                    </a:lnTo>
                    <a:close/>
                    <a:moveTo>
                      <a:pt x="7727" y="8586"/>
                    </a:moveTo>
                    <a:cubicBezTo>
                      <a:pt x="7807" y="8429"/>
                      <a:pt x="7807" y="8429"/>
                      <a:pt x="7807" y="8429"/>
                    </a:cubicBezTo>
                    <a:cubicBezTo>
                      <a:pt x="7692" y="8376"/>
                      <a:pt x="7692" y="8376"/>
                      <a:pt x="7692" y="8376"/>
                    </a:cubicBezTo>
                    <a:cubicBezTo>
                      <a:pt x="7614" y="8530"/>
                      <a:pt x="7614" y="8530"/>
                      <a:pt x="7614" y="8530"/>
                    </a:cubicBezTo>
                    <a:lnTo>
                      <a:pt x="7727" y="8586"/>
                    </a:lnTo>
                    <a:close/>
                    <a:moveTo>
                      <a:pt x="7758" y="8218"/>
                    </a:moveTo>
                    <a:cubicBezTo>
                      <a:pt x="7471" y="8076"/>
                      <a:pt x="7471" y="8076"/>
                      <a:pt x="7471" y="8076"/>
                    </a:cubicBezTo>
                    <a:cubicBezTo>
                      <a:pt x="7421" y="8233"/>
                      <a:pt x="7421" y="8233"/>
                      <a:pt x="7421" y="8233"/>
                    </a:cubicBezTo>
                    <a:cubicBezTo>
                      <a:pt x="7687" y="8358"/>
                      <a:pt x="7687" y="8358"/>
                      <a:pt x="7687" y="8358"/>
                    </a:cubicBezTo>
                    <a:lnTo>
                      <a:pt x="7758" y="8218"/>
                    </a:lnTo>
                    <a:close/>
                    <a:moveTo>
                      <a:pt x="7040" y="7854"/>
                    </a:moveTo>
                    <a:cubicBezTo>
                      <a:pt x="7032" y="7879"/>
                      <a:pt x="7019" y="7918"/>
                      <a:pt x="7002" y="7968"/>
                    </a:cubicBezTo>
                    <a:cubicBezTo>
                      <a:pt x="7018" y="7971"/>
                      <a:pt x="7018" y="7971"/>
                      <a:pt x="7018" y="7971"/>
                    </a:cubicBezTo>
                    <a:cubicBezTo>
                      <a:pt x="7057" y="7855"/>
                      <a:pt x="7057" y="7855"/>
                      <a:pt x="7057" y="7855"/>
                    </a:cubicBezTo>
                    <a:cubicBezTo>
                      <a:pt x="7206" y="7906"/>
                      <a:pt x="7206" y="7906"/>
                      <a:pt x="7206" y="7906"/>
                    </a:cubicBezTo>
                    <a:cubicBezTo>
                      <a:pt x="7174" y="8001"/>
                      <a:pt x="7174" y="8001"/>
                      <a:pt x="7174" y="8001"/>
                    </a:cubicBezTo>
                    <a:cubicBezTo>
                      <a:pt x="7411" y="8047"/>
                      <a:pt x="7411" y="8047"/>
                      <a:pt x="7411" y="8047"/>
                    </a:cubicBezTo>
                    <a:cubicBezTo>
                      <a:pt x="7469" y="7868"/>
                      <a:pt x="7469" y="7868"/>
                      <a:pt x="7469" y="7868"/>
                    </a:cubicBezTo>
                    <a:cubicBezTo>
                      <a:pt x="7377" y="7850"/>
                      <a:pt x="7292" y="7842"/>
                      <a:pt x="7214" y="7842"/>
                    </a:cubicBezTo>
                    <a:cubicBezTo>
                      <a:pt x="7152" y="7842"/>
                      <a:pt x="7094" y="7847"/>
                      <a:pt x="7040" y="7854"/>
                    </a:cubicBezTo>
                    <a:close/>
                    <a:moveTo>
                      <a:pt x="7148" y="7691"/>
                    </a:moveTo>
                    <a:cubicBezTo>
                      <a:pt x="7169" y="7690"/>
                      <a:pt x="7192" y="7689"/>
                      <a:pt x="7214" y="7689"/>
                    </a:cubicBezTo>
                    <a:cubicBezTo>
                      <a:pt x="7320" y="7689"/>
                      <a:pt x="7437" y="7701"/>
                      <a:pt x="7562" y="7733"/>
                    </a:cubicBezTo>
                    <a:cubicBezTo>
                      <a:pt x="7574" y="7735"/>
                      <a:pt x="7586" y="7739"/>
                      <a:pt x="7597" y="7742"/>
                    </a:cubicBezTo>
                    <a:cubicBezTo>
                      <a:pt x="7505" y="7555"/>
                      <a:pt x="7505" y="7555"/>
                      <a:pt x="7505" y="7555"/>
                    </a:cubicBezTo>
                    <a:cubicBezTo>
                      <a:pt x="7465" y="7567"/>
                      <a:pt x="7426" y="7577"/>
                      <a:pt x="7391" y="7587"/>
                    </a:cubicBezTo>
                    <a:cubicBezTo>
                      <a:pt x="7316" y="7606"/>
                      <a:pt x="7254" y="7619"/>
                      <a:pt x="7210" y="7628"/>
                    </a:cubicBezTo>
                    <a:cubicBezTo>
                      <a:pt x="7188" y="7633"/>
                      <a:pt x="7170" y="7636"/>
                      <a:pt x="7158" y="7638"/>
                    </a:cubicBezTo>
                    <a:cubicBezTo>
                      <a:pt x="7152" y="7639"/>
                      <a:pt x="7147" y="7640"/>
                      <a:pt x="7144" y="7641"/>
                    </a:cubicBezTo>
                    <a:cubicBezTo>
                      <a:pt x="7143" y="7641"/>
                      <a:pt x="7143" y="7641"/>
                      <a:pt x="7143" y="7641"/>
                    </a:cubicBezTo>
                    <a:cubicBezTo>
                      <a:pt x="7143" y="7642"/>
                      <a:pt x="7143" y="7642"/>
                      <a:pt x="7143" y="7643"/>
                    </a:cubicBezTo>
                    <a:cubicBezTo>
                      <a:pt x="7143" y="7653"/>
                      <a:pt x="7145" y="7673"/>
                      <a:pt x="7148" y="7691"/>
                    </a:cubicBezTo>
                    <a:close/>
                    <a:moveTo>
                      <a:pt x="6976" y="8133"/>
                    </a:moveTo>
                    <a:cubicBezTo>
                      <a:pt x="7010" y="8140"/>
                      <a:pt x="7057" y="8149"/>
                      <a:pt x="7106" y="8160"/>
                    </a:cubicBezTo>
                    <a:cubicBezTo>
                      <a:pt x="7156" y="8012"/>
                      <a:pt x="7156" y="8012"/>
                      <a:pt x="7156" y="8012"/>
                    </a:cubicBezTo>
                    <a:cubicBezTo>
                      <a:pt x="7026" y="7987"/>
                      <a:pt x="7026" y="7987"/>
                      <a:pt x="7026" y="7987"/>
                    </a:cubicBezTo>
                    <a:lnTo>
                      <a:pt x="6976" y="8133"/>
                    </a:lnTo>
                    <a:close/>
                    <a:moveTo>
                      <a:pt x="6972" y="8147"/>
                    </a:moveTo>
                    <a:cubicBezTo>
                      <a:pt x="6915" y="8312"/>
                      <a:pt x="6915" y="8312"/>
                      <a:pt x="6915" y="8312"/>
                    </a:cubicBezTo>
                    <a:cubicBezTo>
                      <a:pt x="7046" y="8338"/>
                      <a:pt x="7046" y="8338"/>
                      <a:pt x="7046" y="8338"/>
                    </a:cubicBezTo>
                    <a:cubicBezTo>
                      <a:pt x="7102" y="8173"/>
                      <a:pt x="7102" y="8173"/>
                      <a:pt x="7102" y="8173"/>
                    </a:cubicBezTo>
                    <a:cubicBezTo>
                      <a:pt x="7052" y="8163"/>
                      <a:pt x="7005" y="8153"/>
                      <a:pt x="6972" y="8147"/>
                    </a:cubicBezTo>
                    <a:close/>
                    <a:moveTo>
                      <a:pt x="6911" y="8325"/>
                    </a:moveTo>
                    <a:cubicBezTo>
                      <a:pt x="6852" y="8497"/>
                      <a:pt x="6852" y="8497"/>
                      <a:pt x="6852" y="8497"/>
                    </a:cubicBezTo>
                    <a:cubicBezTo>
                      <a:pt x="6887" y="8504"/>
                      <a:pt x="6934" y="8512"/>
                      <a:pt x="6984" y="8522"/>
                    </a:cubicBezTo>
                    <a:cubicBezTo>
                      <a:pt x="7042" y="8351"/>
                      <a:pt x="7042" y="8351"/>
                      <a:pt x="7042" y="8351"/>
                    </a:cubicBezTo>
                    <a:lnTo>
                      <a:pt x="6911" y="8325"/>
                    </a:lnTo>
                    <a:close/>
                    <a:moveTo>
                      <a:pt x="6848" y="8511"/>
                    </a:moveTo>
                    <a:cubicBezTo>
                      <a:pt x="6791" y="8678"/>
                      <a:pt x="6791" y="8678"/>
                      <a:pt x="6791" y="8678"/>
                    </a:cubicBezTo>
                    <a:cubicBezTo>
                      <a:pt x="6826" y="8685"/>
                      <a:pt x="6873" y="8694"/>
                      <a:pt x="6922" y="8703"/>
                    </a:cubicBezTo>
                    <a:cubicBezTo>
                      <a:pt x="6979" y="8535"/>
                      <a:pt x="6979" y="8535"/>
                      <a:pt x="6979" y="8535"/>
                    </a:cubicBezTo>
                    <a:cubicBezTo>
                      <a:pt x="6929" y="8526"/>
                      <a:pt x="6882" y="8517"/>
                      <a:pt x="6848" y="8511"/>
                    </a:cubicBezTo>
                    <a:close/>
                    <a:moveTo>
                      <a:pt x="6786" y="8691"/>
                    </a:moveTo>
                    <a:cubicBezTo>
                      <a:pt x="6727" y="8863"/>
                      <a:pt x="6727" y="8863"/>
                      <a:pt x="6727" y="8863"/>
                    </a:cubicBezTo>
                    <a:cubicBezTo>
                      <a:pt x="6762" y="8870"/>
                      <a:pt x="6809" y="8880"/>
                      <a:pt x="6859" y="8889"/>
                    </a:cubicBezTo>
                    <a:cubicBezTo>
                      <a:pt x="6918" y="8716"/>
                      <a:pt x="6918" y="8716"/>
                      <a:pt x="6918" y="8716"/>
                    </a:cubicBezTo>
                    <a:cubicBezTo>
                      <a:pt x="6868" y="8707"/>
                      <a:pt x="6821" y="8698"/>
                      <a:pt x="6786" y="8691"/>
                    </a:cubicBezTo>
                    <a:close/>
                    <a:moveTo>
                      <a:pt x="6723" y="8876"/>
                    </a:moveTo>
                    <a:cubicBezTo>
                      <a:pt x="6675" y="9016"/>
                      <a:pt x="6675" y="9016"/>
                      <a:pt x="6675" y="9016"/>
                    </a:cubicBezTo>
                    <a:cubicBezTo>
                      <a:pt x="6806" y="9046"/>
                      <a:pt x="6806" y="9046"/>
                      <a:pt x="6806" y="9046"/>
                    </a:cubicBezTo>
                    <a:cubicBezTo>
                      <a:pt x="6855" y="8903"/>
                      <a:pt x="6855" y="8903"/>
                      <a:pt x="6855" y="8903"/>
                    </a:cubicBezTo>
                    <a:cubicBezTo>
                      <a:pt x="6805" y="8893"/>
                      <a:pt x="6758" y="8883"/>
                      <a:pt x="6723" y="8876"/>
                    </a:cubicBezTo>
                    <a:close/>
                    <a:moveTo>
                      <a:pt x="6671" y="9029"/>
                    </a:moveTo>
                    <a:cubicBezTo>
                      <a:pt x="6615" y="9192"/>
                      <a:pt x="6615" y="9192"/>
                      <a:pt x="6615" y="9192"/>
                    </a:cubicBezTo>
                    <a:cubicBezTo>
                      <a:pt x="6746" y="9223"/>
                      <a:pt x="6746" y="9223"/>
                      <a:pt x="6746" y="9223"/>
                    </a:cubicBezTo>
                    <a:cubicBezTo>
                      <a:pt x="6802" y="9059"/>
                      <a:pt x="6802" y="9059"/>
                      <a:pt x="6802" y="9059"/>
                    </a:cubicBezTo>
                    <a:lnTo>
                      <a:pt x="6671" y="9029"/>
                    </a:lnTo>
                    <a:close/>
                    <a:moveTo>
                      <a:pt x="6611" y="9205"/>
                    </a:moveTo>
                    <a:cubicBezTo>
                      <a:pt x="6554" y="9371"/>
                      <a:pt x="6554" y="9371"/>
                      <a:pt x="6554" y="9371"/>
                    </a:cubicBezTo>
                    <a:cubicBezTo>
                      <a:pt x="6685" y="9403"/>
                      <a:pt x="6685" y="9403"/>
                      <a:pt x="6685" y="9403"/>
                    </a:cubicBezTo>
                    <a:cubicBezTo>
                      <a:pt x="6742" y="9236"/>
                      <a:pt x="6742" y="9236"/>
                      <a:pt x="6742" y="9236"/>
                    </a:cubicBezTo>
                    <a:lnTo>
                      <a:pt x="6611" y="9205"/>
                    </a:lnTo>
                    <a:close/>
                    <a:moveTo>
                      <a:pt x="6698" y="9406"/>
                    </a:moveTo>
                    <a:cubicBezTo>
                      <a:pt x="6956" y="9469"/>
                      <a:pt x="6956" y="9469"/>
                      <a:pt x="6956" y="9469"/>
                    </a:cubicBezTo>
                    <a:cubicBezTo>
                      <a:pt x="7010" y="9300"/>
                      <a:pt x="7010" y="9300"/>
                      <a:pt x="7010" y="9300"/>
                    </a:cubicBezTo>
                    <a:cubicBezTo>
                      <a:pt x="6755" y="9239"/>
                      <a:pt x="6755" y="9239"/>
                      <a:pt x="6755" y="9239"/>
                    </a:cubicBezTo>
                    <a:lnTo>
                      <a:pt x="6698" y="9406"/>
                    </a:lnTo>
                    <a:close/>
                    <a:moveTo>
                      <a:pt x="7015" y="9286"/>
                    </a:moveTo>
                    <a:cubicBezTo>
                      <a:pt x="7068" y="9121"/>
                      <a:pt x="7068" y="9121"/>
                      <a:pt x="7068" y="9121"/>
                    </a:cubicBezTo>
                    <a:cubicBezTo>
                      <a:pt x="6814" y="9062"/>
                      <a:pt x="6814" y="9062"/>
                      <a:pt x="6814" y="9062"/>
                    </a:cubicBezTo>
                    <a:cubicBezTo>
                      <a:pt x="6759" y="9226"/>
                      <a:pt x="6759" y="9226"/>
                      <a:pt x="6759" y="9226"/>
                    </a:cubicBezTo>
                    <a:lnTo>
                      <a:pt x="7015" y="9286"/>
                    </a:lnTo>
                    <a:close/>
                    <a:moveTo>
                      <a:pt x="7072" y="9108"/>
                    </a:moveTo>
                    <a:cubicBezTo>
                      <a:pt x="7121" y="8953"/>
                      <a:pt x="7121" y="8953"/>
                      <a:pt x="7121" y="8953"/>
                    </a:cubicBezTo>
                    <a:cubicBezTo>
                      <a:pt x="7072" y="8945"/>
                      <a:pt x="6965" y="8925"/>
                      <a:pt x="6868" y="8905"/>
                    </a:cubicBezTo>
                    <a:cubicBezTo>
                      <a:pt x="6819" y="9049"/>
                      <a:pt x="6819" y="9049"/>
                      <a:pt x="6819" y="9049"/>
                    </a:cubicBezTo>
                    <a:lnTo>
                      <a:pt x="7072" y="9108"/>
                    </a:lnTo>
                    <a:close/>
                    <a:moveTo>
                      <a:pt x="7077" y="9307"/>
                    </a:moveTo>
                    <a:cubicBezTo>
                      <a:pt x="7178" y="9356"/>
                      <a:pt x="7178" y="9356"/>
                      <a:pt x="7178" y="9356"/>
                    </a:cubicBezTo>
                    <a:cubicBezTo>
                      <a:pt x="7255" y="9204"/>
                      <a:pt x="7255" y="9204"/>
                      <a:pt x="7255" y="9204"/>
                    </a:cubicBezTo>
                    <a:cubicBezTo>
                      <a:pt x="7130" y="9142"/>
                      <a:pt x="7130" y="9142"/>
                      <a:pt x="7130" y="9142"/>
                    </a:cubicBezTo>
                    <a:lnTo>
                      <a:pt x="7077" y="9307"/>
                    </a:lnTo>
                    <a:close/>
                    <a:moveTo>
                      <a:pt x="7122" y="9495"/>
                    </a:moveTo>
                    <a:cubicBezTo>
                      <a:pt x="7233" y="9555"/>
                      <a:pt x="7233" y="9555"/>
                      <a:pt x="7233" y="9555"/>
                    </a:cubicBezTo>
                    <a:cubicBezTo>
                      <a:pt x="7298" y="9428"/>
                      <a:pt x="7298" y="9428"/>
                      <a:pt x="7298" y="9428"/>
                    </a:cubicBezTo>
                    <a:cubicBezTo>
                      <a:pt x="7184" y="9374"/>
                      <a:pt x="7184" y="9374"/>
                      <a:pt x="7184" y="9374"/>
                    </a:cubicBezTo>
                    <a:lnTo>
                      <a:pt x="7122" y="9495"/>
                    </a:lnTo>
                    <a:close/>
                    <a:moveTo>
                      <a:pt x="7304" y="9415"/>
                    </a:moveTo>
                    <a:cubicBezTo>
                      <a:pt x="7380" y="9266"/>
                      <a:pt x="7380" y="9266"/>
                      <a:pt x="7380" y="9266"/>
                    </a:cubicBezTo>
                    <a:cubicBezTo>
                      <a:pt x="7267" y="9210"/>
                      <a:pt x="7267" y="9210"/>
                      <a:pt x="7267" y="9210"/>
                    </a:cubicBezTo>
                    <a:cubicBezTo>
                      <a:pt x="7190" y="9361"/>
                      <a:pt x="7190" y="9361"/>
                      <a:pt x="7190" y="9361"/>
                    </a:cubicBezTo>
                    <a:lnTo>
                      <a:pt x="7304" y="9415"/>
                    </a:lnTo>
                    <a:close/>
                    <a:moveTo>
                      <a:pt x="7387" y="9254"/>
                    </a:moveTo>
                    <a:cubicBezTo>
                      <a:pt x="7462" y="9106"/>
                      <a:pt x="7462" y="9106"/>
                      <a:pt x="7462" y="9106"/>
                    </a:cubicBezTo>
                    <a:cubicBezTo>
                      <a:pt x="7432" y="9092"/>
                      <a:pt x="7392" y="9071"/>
                      <a:pt x="7349" y="9050"/>
                    </a:cubicBezTo>
                    <a:cubicBezTo>
                      <a:pt x="7274" y="9198"/>
                      <a:pt x="7274" y="9198"/>
                      <a:pt x="7274" y="9198"/>
                    </a:cubicBezTo>
                    <a:lnTo>
                      <a:pt x="7387" y="9254"/>
                    </a:lnTo>
                    <a:close/>
                    <a:moveTo>
                      <a:pt x="7468" y="9094"/>
                    </a:moveTo>
                    <a:cubicBezTo>
                      <a:pt x="7546" y="8940"/>
                      <a:pt x="7546" y="8940"/>
                      <a:pt x="7546" y="8940"/>
                    </a:cubicBezTo>
                    <a:cubicBezTo>
                      <a:pt x="7434" y="8883"/>
                      <a:pt x="7434" y="8883"/>
                      <a:pt x="7434" y="8883"/>
                    </a:cubicBezTo>
                    <a:cubicBezTo>
                      <a:pt x="7355" y="9038"/>
                      <a:pt x="7355" y="9038"/>
                      <a:pt x="7355" y="9038"/>
                    </a:cubicBezTo>
                    <a:cubicBezTo>
                      <a:pt x="7398" y="9059"/>
                      <a:pt x="7439" y="9079"/>
                      <a:pt x="7468" y="9094"/>
                    </a:cubicBezTo>
                    <a:close/>
                    <a:moveTo>
                      <a:pt x="7553" y="8928"/>
                    </a:moveTo>
                    <a:cubicBezTo>
                      <a:pt x="7635" y="8767"/>
                      <a:pt x="7635" y="8767"/>
                      <a:pt x="7635" y="8767"/>
                    </a:cubicBezTo>
                    <a:cubicBezTo>
                      <a:pt x="7521" y="8712"/>
                      <a:pt x="7521" y="8712"/>
                      <a:pt x="7521" y="8712"/>
                    </a:cubicBezTo>
                    <a:cubicBezTo>
                      <a:pt x="7440" y="8870"/>
                      <a:pt x="7440" y="8870"/>
                      <a:pt x="7440" y="8870"/>
                    </a:cubicBezTo>
                    <a:lnTo>
                      <a:pt x="7553" y="8928"/>
                    </a:lnTo>
                    <a:close/>
                    <a:moveTo>
                      <a:pt x="7564" y="8934"/>
                    </a:moveTo>
                    <a:cubicBezTo>
                      <a:pt x="7581" y="8942"/>
                      <a:pt x="7581" y="8942"/>
                      <a:pt x="7581" y="8942"/>
                    </a:cubicBezTo>
                    <a:cubicBezTo>
                      <a:pt x="7663" y="8781"/>
                      <a:pt x="7663" y="8781"/>
                      <a:pt x="7663" y="8781"/>
                    </a:cubicBezTo>
                    <a:cubicBezTo>
                      <a:pt x="7647" y="8773"/>
                      <a:pt x="7647" y="8773"/>
                      <a:pt x="7647" y="8773"/>
                    </a:cubicBezTo>
                    <a:lnTo>
                      <a:pt x="7564" y="8934"/>
                    </a:lnTo>
                    <a:close/>
                    <a:moveTo>
                      <a:pt x="7669" y="8768"/>
                    </a:moveTo>
                    <a:cubicBezTo>
                      <a:pt x="7748" y="8612"/>
                      <a:pt x="7748" y="8612"/>
                      <a:pt x="7748" y="8612"/>
                    </a:cubicBezTo>
                    <a:cubicBezTo>
                      <a:pt x="7732" y="8605"/>
                      <a:pt x="7732" y="8605"/>
                      <a:pt x="7732" y="8605"/>
                    </a:cubicBezTo>
                    <a:cubicBezTo>
                      <a:pt x="7653" y="8760"/>
                      <a:pt x="7653" y="8760"/>
                      <a:pt x="7653" y="8760"/>
                    </a:cubicBezTo>
                    <a:lnTo>
                      <a:pt x="7669" y="8768"/>
                    </a:lnTo>
                    <a:close/>
                    <a:moveTo>
                      <a:pt x="7755" y="8600"/>
                    </a:moveTo>
                    <a:cubicBezTo>
                      <a:pt x="7835" y="8442"/>
                      <a:pt x="7835" y="8442"/>
                      <a:pt x="7835" y="8442"/>
                    </a:cubicBezTo>
                    <a:cubicBezTo>
                      <a:pt x="7819" y="8435"/>
                      <a:pt x="7819" y="8435"/>
                      <a:pt x="7819" y="8435"/>
                    </a:cubicBezTo>
                    <a:cubicBezTo>
                      <a:pt x="7739" y="8592"/>
                      <a:pt x="7739" y="8592"/>
                      <a:pt x="7739" y="8592"/>
                    </a:cubicBezTo>
                    <a:lnTo>
                      <a:pt x="7755" y="8600"/>
                    </a:lnTo>
                    <a:close/>
                    <a:moveTo>
                      <a:pt x="7841" y="8430"/>
                    </a:moveTo>
                    <a:cubicBezTo>
                      <a:pt x="7910" y="8293"/>
                      <a:pt x="7910" y="8293"/>
                      <a:pt x="7910" y="8293"/>
                    </a:cubicBezTo>
                    <a:cubicBezTo>
                      <a:pt x="7895" y="8285"/>
                      <a:pt x="7895" y="8285"/>
                      <a:pt x="7895" y="8285"/>
                    </a:cubicBezTo>
                    <a:cubicBezTo>
                      <a:pt x="7825" y="8422"/>
                      <a:pt x="7825" y="8422"/>
                      <a:pt x="7825" y="8422"/>
                    </a:cubicBezTo>
                    <a:lnTo>
                      <a:pt x="7841" y="8430"/>
                    </a:lnTo>
                    <a:close/>
                    <a:moveTo>
                      <a:pt x="7917" y="8281"/>
                    </a:moveTo>
                    <a:cubicBezTo>
                      <a:pt x="8001" y="8114"/>
                      <a:pt x="8001" y="8114"/>
                      <a:pt x="8001" y="8114"/>
                    </a:cubicBezTo>
                    <a:cubicBezTo>
                      <a:pt x="8001" y="8114"/>
                      <a:pt x="8001" y="8114"/>
                      <a:pt x="8001" y="8114"/>
                    </a:cubicBezTo>
                    <a:cubicBezTo>
                      <a:pt x="7947" y="8078"/>
                      <a:pt x="7705" y="7926"/>
                      <a:pt x="7533" y="7882"/>
                    </a:cubicBezTo>
                    <a:cubicBezTo>
                      <a:pt x="7475" y="8063"/>
                      <a:pt x="7475" y="8063"/>
                      <a:pt x="7475" y="8063"/>
                    </a:cubicBezTo>
                    <a:cubicBezTo>
                      <a:pt x="7764" y="8206"/>
                      <a:pt x="7764" y="8206"/>
                      <a:pt x="7764" y="8206"/>
                    </a:cubicBezTo>
                    <a:cubicBezTo>
                      <a:pt x="7835" y="8068"/>
                      <a:pt x="7835" y="8068"/>
                      <a:pt x="7835" y="8068"/>
                    </a:cubicBezTo>
                    <a:cubicBezTo>
                      <a:pt x="7969" y="8140"/>
                      <a:pt x="7969" y="8140"/>
                      <a:pt x="7969" y="8140"/>
                    </a:cubicBezTo>
                    <a:cubicBezTo>
                      <a:pt x="7901" y="8273"/>
                      <a:pt x="7901" y="8273"/>
                      <a:pt x="7901" y="8273"/>
                    </a:cubicBezTo>
                    <a:lnTo>
                      <a:pt x="7917" y="8281"/>
                    </a:lnTo>
                    <a:close/>
                    <a:moveTo>
                      <a:pt x="8287" y="7583"/>
                    </a:moveTo>
                    <a:cubicBezTo>
                      <a:pt x="8287" y="7583"/>
                      <a:pt x="8288" y="7583"/>
                      <a:pt x="8289" y="7583"/>
                    </a:cubicBezTo>
                    <a:cubicBezTo>
                      <a:pt x="8291" y="7579"/>
                      <a:pt x="8296" y="7566"/>
                      <a:pt x="8302" y="7551"/>
                    </a:cubicBezTo>
                    <a:cubicBezTo>
                      <a:pt x="8312" y="7523"/>
                      <a:pt x="8325" y="7483"/>
                      <a:pt x="8337" y="7450"/>
                    </a:cubicBezTo>
                    <a:cubicBezTo>
                      <a:pt x="8342" y="7434"/>
                      <a:pt x="8347" y="7419"/>
                      <a:pt x="8351" y="7408"/>
                    </a:cubicBezTo>
                    <a:cubicBezTo>
                      <a:pt x="8353" y="7402"/>
                      <a:pt x="8355" y="7398"/>
                      <a:pt x="8356" y="7395"/>
                    </a:cubicBezTo>
                    <a:cubicBezTo>
                      <a:pt x="8357" y="7394"/>
                      <a:pt x="8357" y="7394"/>
                      <a:pt x="8357" y="7393"/>
                    </a:cubicBezTo>
                    <a:cubicBezTo>
                      <a:pt x="8264" y="7327"/>
                      <a:pt x="8167" y="7255"/>
                      <a:pt x="8157" y="7248"/>
                    </a:cubicBezTo>
                    <a:cubicBezTo>
                      <a:pt x="8114" y="7285"/>
                      <a:pt x="8067" y="7320"/>
                      <a:pt x="8014" y="7351"/>
                    </a:cubicBezTo>
                    <a:lnTo>
                      <a:pt x="8287" y="7583"/>
                    </a:lnTo>
                    <a:close/>
                    <a:moveTo>
                      <a:pt x="6948" y="8128"/>
                    </a:moveTo>
                    <a:cubicBezTo>
                      <a:pt x="6952" y="8129"/>
                      <a:pt x="6958" y="8130"/>
                      <a:pt x="6963" y="8131"/>
                    </a:cubicBezTo>
                    <a:cubicBezTo>
                      <a:pt x="7013" y="7985"/>
                      <a:pt x="7013" y="7985"/>
                      <a:pt x="7013" y="7985"/>
                    </a:cubicBezTo>
                    <a:cubicBezTo>
                      <a:pt x="6997" y="7982"/>
                      <a:pt x="6997" y="7982"/>
                      <a:pt x="6997" y="7982"/>
                    </a:cubicBezTo>
                    <a:cubicBezTo>
                      <a:pt x="6983" y="8024"/>
                      <a:pt x="6966" y="8073"/>
                      <a:pt x="6948" y="8128"/>
                    </a:cubicBezTo>
                    <a:close/>
                    <a:moveTo>
                      <a:pt x="6943" y="8141"/>
                    </a:moveTo>
                    <a:cubicBezTo>
                      <a:pt x="6926" y="8192"/>
                      <a:pt x="6907" y="8248"/>
                      <a:pt x="6887" y="8307"/>
                    </a:cubicBezTo>
                    <a:cubicBezTo>
                      <a:pt x="6902" y="8310"/>
                      <a:pt x="6902" y="8310"/>
                      <a:pt x="6902" y="8310"/>
                    </a:cubicBezTo>
                    <a:cubicBezTo>
                      <a:pt x="6959" y="8144"/>
                      <a:pt x="6959" y="8144"/>
                      <a:pt x="6959" y="8144"/>
                    </a:cubicBezTo>
                    <a:cubicBezTo>
                      <a:pt x="6953" y="8143"/>
                      <a:pt x="6948" y="8142"/>
                      <a:pt x="6943" y="8141"/>
                    </a:cubicBezTo>
                    <a:close/>
                    <a:moveTo>
                      <a:pt x="6883" y="8320"/>
                    </a:moveTo>
                    <a:cubicBezTo>
                      <a:pt x="6864" y="8375"/>
                      <a:pt x="6844" y="8433"/>
                      <a:pt x="6824" y="8493"/>
                    </a:cubicBezTo>
                    <a:cubicBezTo>
                      <a:pt x="6829" y="8493"/>
                      <a:pt x="6834" y="8494"/>
                      <a:pt x="6839" y="8495"/>
                    </a:cubicBezTo>
                    <a:cubicBezTo>
                      <a:pt x="6898" y="8323"/>
                      <a:pt x="6898" y="8323"/>
                      <a:pt x="6898" y="8323"/>
                    </a:cubicBezTo>
                    <a:lnTo>
                      <a:pt x="6883" y="8320"/>
                    </a:lnTo>
                    <a:close/>
                    <a:moveTo>
                      <a:pt x="6820" y="8506"/>
                    </a:moveTo>
                    <a:cubicBezTo>
                      <a:pt x="6801" y="8560"/>
                      <a:pt x="6782" y="8616"/>
                      <a:pt x="6763" y="8673"/>
                    </a:cubicBezTo>
                    <a:cubicBezTo>
                      <a:pt x="6767" y="8674"/>
                      <a:pt x="6772" y="8675"/>
                      <a:pt x="6778" y="8676"/>
                    </a:cubicBezTo>
                    <a:cubicBezTo>
                      <a:pt x="6835" y="8508"/>
                      <a:pt x="6835" y="8508"/>
                      <a:pt x="6835" y="8508"/>
                    </a:cubicBezTo>
                    <a:cubicBezTo>
                      <a:pt x="6829" y="8508"/>
                      <a:pt x="6824" y="8507"/>
                      <a:pt x="6820" y="8506"/>
                    </a:cubicBezTo>
                    <a:close/>
                    <a:moveTo>
                      <a:pt x="6758" y="8686"/>
                    </a:moveTo>
                    <a:cubicBezTo>
                      <a:pt x="6739" y="8743"/>
                      <a:pt x="6720" y="8800"/>
                      <a:pt x="6700" y="8858"/>
                    </a:cubicBezTo>
                    <a:cubicBezTo>
                      <a:pt x="6705" y="8859"/>
                      <a:pt x="6709" y="8859"/>
                      <a:pt x="6715" y="8861"/>
                    </a:cubicBezTo>
                    <a:cubicBezTo>
                      <a:pt x="6773" y="8689"/>
                      <a:pt x="6773" y="8689"/>
                      <a:pt x="6773" y="8689"/>
                    </a:cubicBezTo>
                    <a:cubicBezTo>
                      <a:pt x="6768" y="8688"/>
                      <a:pt x="6763" y="8687"/>
                      <a:pt x="6758" y="8686"/>
                    </a:cubicBezTo>
                    <a:close/>
                    <a:moveTo>
                      <a:pt x="6696" y="8871"/>
                    </a:moveTo>
                    <a:cubicBezTo>
                      <a:pt x="6680" y="8917"/>
                      <a:pt x="6664" y="8964"/>
                      <a:pt x="6649" y="9010"/>
                    </a:cubicBezTo>
                    <a:cubicBezTo>
                      <a:pt x="6663" y="9013"/>
                      <a:pt x="6663" y="9013"/>
                      <a:pt x="6663" y="9013"/>
                    </a:cubicBezTo>
                    <a:cubicBezTo>
                      <a:pt x="6710" y="8874"/>
                      <a:pt x="6710" y="8874"/>
                      <a:pt x="6710" y="8874"/>
                    </a:cubicBezTo>
                    <a:cubicBezTo>
                      <a:pt x="6705" y="8873"/>
                      <a:pt x="6700" y="8872"/>
                      <a:pt x="6696" y="8871"/>
                    </a:cubicBezTo>
                    <a:close/>
                    <a:moveTo>
                      <a:pt x="6644" y="9023"/>
                    </a:moveTo>
                    <a:cubicBezTo>
                      <a:pt x="6626" y="9078"/>
                      <a:pt x="6607" y="9132"/>
                      <a:pt x="6589" y="9186"/>
                    </a:cubicBezTo>
                    <a:cubicBezTo>
                      <a:pt x="6603" y="9189"/>
                      <a:pt x="6603" y="9189"/>
                      <a:pt x="6603" y="9189"/>
                    </a:cubicBezTo>
                    <a:cubicBezTo>
                      <a:pt x="6658" y="9026"/>
                      <a:pt x="6658" y="9026"/>
                      <a:pt x="6658" y="9026"/>
                    </a:cubicBezTo>
                    <a:lnTo>
                      <a:pt x="6644" y="9023"/>
                    </a:lnTo>
                    <a:close/>
                    <a:moveTo>
                      <a:pt x="6585" y="9199"/>
                    </a:moveTo>
                    <a:cubicBezTo>
                      <a:pt x="6565" y="9255"/>
                      <a:pt x="6547" y="9311"/>
                      <a:pt x="6528" y="9365"/>
                    </a:cubicBezTo>
                    <a:cubicBezTo>
                      <a:pt x="6542" y="9368"/>
                      <a:pt x="6542" y="9368"/>
                      <a:pt x="6542" y="9368"/>
                    </a:cubicBezTo>
                    <a:cubicBezTo>
                      <a:pt x="6598" y="9202"/>
                      <a:pt x="6598" y="9202"/>
                      <a:pt x="6598" y="9202"/>
                    </a:cubicBezTo>
                    <a:lnTo>
                      <a:pt x="6585" y="9199"/>
                    </a:lnTo>
                    <a:close/>
                    <a:moveTo>
                      <a:pt x="6524" y="9378"/>
                    </a:moveTo>
                    <a:cubicBezTo>
                      <a:pt x="6502" y="9442"/>
                      <a:pt x="6481" y="9504"/>
                      <a:pt x="6461" y="9562"/>
                    </a:cubicBezTo>
                    <a:cubicBezTo>
                      <a:pt x="6475" y="9565"/>
                      <a:pt x="6475" y="9565"/>
                      <a:pt x="6475" y="9565"/>
                    </a:cubicBezTo>
                    <a:cubicBezTo>
                      <a:pt x="6537" y="9381"/>
                      <a:pt x="6537" y="9381"/>
                      <a:pt x="6537" y="9381"/>
                    </a:cubicBezTo>
                    <a:lnTo>
                      <a:pt x="6524" y="9378"/>
                    </a:lnTo>
                    <a:close/>
                    <a:moveTo>
                      <a:pt x="6457" y="9575"/>
                    </a:moveTo>
                    <a:cubicBezTo>
                      <a:pt x="6432" y="9647"/>
                      <a:pt x="6410" y="9714"/>
                      <a:pt x="6390" y="9774"/>
                    </a:cubicBezTo>
                    <a:cubicBezTo>
                      <a:pt x="6402" y="9777"/>
                      <a:pt x="6402" y="9777"/>
                      <a:pt x="6402" y="9777"/>
                    </a:cubicBezTo>
                    <a:cubicBezTo>
                      <a:pt x="6470" y="9578"/>
                      <a:pt x="6470" y="9578"/>
                      <a:pt x="6470" y="9578"/>
                    </a:cubicBezTo>
                    <a:lnTo>
                      <a:pt x="6457" y="9575"/>
                    </a:lnTo>
                    <a:close/>
                    <a:moveTo>
                      <a:pt x="6385" y="9787"/>
                    </a:moveTo>
                    <a:cubicBezTo>
                      <a:pt x="6344" y="9907"/>
                      <a:pt x="6315" y="9994"/>
                      <a:pt x="6304" y="10027"/>
                    </a:cubicBezTo>
                    <a:cubicBezTo>
                      <a:pt x="6316" y="10029"/>
                      <a:pt x="6316" y="10029"/>
                      <a:pt x="6316" y="10029"/>
                    </a:cubicBezTo>
                    <a:cubicBezTo>
                      <a:pt x="6398" y="9790"/>
                      <a:pt x="6398" y="9790"/>
                      <a:pt x="6398" y="9790"/>
                    </a:cubicBezTo>
                    <a:lnTo>
                      <a:pt x="6385" y="9787"/>
                    </a:lnTo>
                    <a:close/>
                    <a:moveTo>
                      <a:pt x="6299" y="10040"/>
                    </a:moveTo>
                    <a:cubicBezTo>
                      <a:pt x="6254" y="10273"/>
                      <a:pt x="6254" y="10273"/>
                      <a:pt x="6254" y="10273"/>
                    </a:cubicBezTo>
                    <a:cubicBezTo>
                      <a:pt x="6269" y="10274"/>
                      <a:pt x="6269" y="10274"/>
                      <a:pt x="6269" y="10274"/>
                    </a:cubicBezTo>
                    <a:cubicBezTo>
                      <a:pt x="6313" y="10042"/>
                      <a:pt x="6313" y="10042"/>
                      <a:pt x="6313" y="10042"/>
                    </a:cubicBezTo>
                    <a:lnTo>
                      <a:pt x="6299" y="10040"/>
                    </a:lnTo>
                    <a:close/>
                    <a:moveTo>
                      <a:pt x="6252" y="10436"/>
                    </a:moveTo>
                    <a:cubicBezTo>
                      <a:pt x="6376" y="10468"/>
                      <a:pt x="6376" y="10468"/>
                      <a:pt x="6376" y="10468"/>
                    </a:cubicBezTo>
                    <a:cubicBezTo>
                      <a:pt x="6411" y="10300"/>
                      <a:pt x="6411" y="10300"/>
                      <a:pt x="6411" y="10300"/>
                    </a:cubicBezTo>
                    <a:cubicBezTo>
                      <a:pt x="6280" y="10289"/>
                      <a:pt x="6280" y="10289"/>
                      <a:pt x="6280" y="10289"/>
                    </a:cubicBezTo>
                    <a:lnTo>
                      <a:pt x="6252" y="10436"/>
                    </a:lnTo>
                    <a:close/>
                    <a:moveTo>
                      <a:pt x="6414" y="10286"/>
                    </a:moveTo>
                    <a:cubicBezTo>
                      <a:pt x="6462" y="10063"/>
                      <a:pt x="6462" y="10063"/>
                      <a:pt x="6462" y="10063"/>
                    </a:cubicBezTo>
                    <a:cubicBezTo>
                      <a:pt x="6326" y="10044"/>
                      <a:pt x="6326" y="10044"/>
                      <a:pt x="6326" y="10044"/>
                    </a:cubicBezTo>
                    <a:cubicBezTo>
                      <a:pt x="6282" y="10275"/>
                      <a:pt x="6282" y="10275"/>
                      <a:pt x="6282" y="10275"/>
                    </a:cubicBezTo>
                    <a:lnTo>
                      <a:pt x="6414" y="10286"/>
                    </a:lnTo>
                    <a:close/>
                    <a:moveTo>
                      <a:pt x="6466" y="10049"/>
                    </a:moveTo>
                    <a:cubicBezTo>
                      <a:pt x="6542" y="9825"/>
                      <a:pt x="6542" y="9825"/>
                      <a:pt x="6542" y="9825"/>
                    </a:cubicBezTo>
                    <a:cubicBezTo>
                      <a:pt x="6411" y="9793"/>
                      <a:pt x="6411" y="9793"/>
                      <a:pt x="6411" y="9793"/>
                    </a:cubicBezTo>
                    <a:cubicBezTo>
                      <a:pt x="6330" y="10030"/>
                      <a:pt x="6330" y="10030"/>
                      <a:pt x="6330" y="10030"/>
                    </a:cubicBezTo>
                    <a:lnTo>
                      <a:pt x="6466" y="10049"/>
                    </a:lnTo>
                    <a:close/>
                    <a:moveTo>
                      <a:pt x="6547" y="9811"/>
                    </a:moveTo>
                    <a:cubicBezTo>
                      <a:pt x="6615" y="9610"/>
                      <a:pt x="6615" y="9610"/>
                      <a:pt x="6615" y="9610"/>
                    </a:cubicBezTo>
                    <a:cubicBezTo>
                      <a:pt x="6483" y="9581"/>
                      <a:pt x="6483" y="9581"/>
                      <a:pt x="6483" y="9581"/>
                    </a:cubicBezTo>
                    <a:cubicBezTo>
                      <a:pt x="6415" y="9780"/>
                      <a:pt x="6415" y="9780"/>
                      <a:pt x="6415" y="9780"/>
                    </a:cubicBezTo>
                    <a:lnTo>
                      <a:pt x="6547" y="9811"/>
                    </a:lnTo>
                    <a:close/>
                    <a:moveTo>
                      <a:pt x="6620" y="9597"/>
                    </a:moveTo>
                    <a:cubicBezTo>
                      <a:pt x="6681" y="9416"/>
                      <a:pt x="6681" y="9416"/>
                      <a:pt x="6681" y="9416"/>
                    </a:cubicBezTo>
                    <a:cubicBezTo>
                      <a:pt x="6550" y="9384"/>
                      <a:pt x="6550" y="9384"/>
                      <a:pt x="6550" y="9384"/>
                    </a:cubicBezTo>
                    <a:cubicBezTo>
                      <a:pt x="6487" y="9567"/>
                      <a:pt x="6487" y="9567"/>
                      <a:pt x="6487" y="9567"/>
                    </a:cubicBezTo>
                    <a:lnTo>
                      <a:pt x="6620" y="9597"/>
                    </a:lnTo>
                    <a:close/>
                    <a:moveTo>
                      <a:pt x="6632" y="9599"/>
                    </a:moveTo>
                    <a:cubicBezTo>
                      <a:pt x="6896" y="9657"/>
                      <a:pt x="6896" y="9657"/>
                      <a:pt x="6896" y="9657"/>
                    </a:cubicBezTo>
                    <a:cubicBezTo>
                      <a:pt x="6952" y="9482"/>
                      <a:pt x="6952" y="9482"/>
                      <a:pt x="6952" y="9482"/>
                    </a:cubicBezTo>
                    <a:cubicBezTo>
                      <a:pt x="6693" y="9419"/>
                      <a:pt x="6693" y="9419"/>
                      <a:pt x="6693" y="9419"/>
                    </a:cubicBezTo>
                    <a:lnTo>
                      <a:pt x="6632" y="9599"/>
                    </a:lnTo>
                    <a:close/>
                    <a:moveTo>
                      <a:pt x="6886" y="9903"/>
                    </a:moveTo>
                    <a:cubicBezTo>
                      <a:pt x="7095" y="9758"/>
                      <a:pt x="7095" y="9758"/>
                      <a:pt x="7095" y="9758"/>
                    </a:cubicBezTo>
                    <a:cubicBezTo>
                      <a:pt x="6954" y="9692"/>
                      <a:pt x="6954" y="9692"/>
                      <a:pt x="6954" y="9692"/>
                    </a:cubicBezTo>
                    <a:lnTo>
                      <a:pt x="6886" y="9903"/>
                    </a:lnTo>
                    <a:close/>
                    <a:moveTo>
                      <a:pt x="7109" y="9749"/>
                    </a:moveTo>
                    <a:cubicBezTo>
                      <a:pt x="7205" y="9683"/>
                      <a:pt x="7205" y="9683"/>
                      <a:pt x="7205" y="9683"/>
                    </a:cubicBezTo>
                    <a:cubicBezTo>
                      <a:pt x="7244" y="9607"/>
                      <a:pt x="7244" y="9607"/>
                      <a:pt x="7244" y="9607"/>
                    </a:cubicBezTo>
                    <a:cubicBezTo>
                      <a:pt x="7014" y="9504"/>
                      <a:pt x="7014" y="9504"/>
                      <a:pt x="7014" y="9504"/>
                    </a:cubicBezTo>
                    <a:cubicBezTo>
                      <a:pt x="6958" y="9679"/>
                      <a:pt x="6958" y="9679"/>
                      <a:pt x="6958" y="9679"/>
                    </a:cubicBezTo>
                    <a:lnTo>
                      <a:pt x="7109" y="9749"/>
                    </a:lnTo>
                    <a:close/>
                    <a:moveTo>
                      <a:pt x="7250" y="9594"/>
                    </a:moveTo>
                    <a:cubicBezTo>
                      <a:pt x="7327" y="9442"/>
                      <a:pt x="7327" y="9442"/>
                      <a:pt x="7327" y="9442"/>
                    </a:cubicBezTo>
                    <a:cubicBezTo>
                      <a:pt x="7310" y="9434"/>
                      <a:pt x="7310" y="9434"/>
                      <a:pt x="7310" y="9434"/>
                    </a:cubicBezTo>
                    <a:cubicBezTo>
                      <a:pt x="7239" y="9572"/>
                      <a:pt x="7239" y="9572"/>
                      <a:pt x="7239" y="9572"/>
                    </a:cubicBezTo>
                    <a:cubicBezTo>
                      <a:pt x="7104" y="9501"/>
                      <a:pt x="7104" y="9501"/>
                      <a:pt x="7104" y="9501"/>
                    </a:cubicBezTo>
                    <a:cubicBezTo>
                      <a:pt x="7107" y="9495"/>
                      <a:pt x="7107" y="9495"/>
                      <a:pt x="7107" y="9495"/>
                    </a:cubicBezTo>
                    <a:cubicBezTo>
                      <a:pt x="7172" y="9368"/>
                      <a:pt x="7172" y="9368"/>
                      <a:pt x="7172" y="9368"/>
                    </a:cubicBezTo>
                    <a:cubicBezTo>
                      <a:pt x="7072" y="9321"/>
                      <a:pt x="7072" y="9321"/>
                      <a:pt x="7072" y="9321"/>
                    </a:cubicBezTo>
                    <a:cubicBezTo>
                      <a:pt x="7018" y="9491"/>
                      <a:pt x="7018" y="9491"/>
                      <a:pt x="7018" y="9491"/>
                    </a:cubicBezTo>
                    <a:lnTo>
                      <a:pt x="7250" y="9594"/>
                    </a:lnTo>
                    <a:close/>
                    <a:moveTo>
                      <a:pt x="7334" y="9429"/>
                    </a:moveTo>
                    <a:cubicBezTo>
                      <a:pt x="7409" y="9280"/>
                      <a:pt x="7409" y="9280"/>
                      <a:pt x="7409" y="9280"/>
                    </a:cubicBezTo>
                    <a:cubicBezTo>
                      <a:pt x="7392" y="9272"/>
                      <a:pt x="7392" y="9272"/>
                      <a:pt x="7392" y="9272"/>
                    </a:cubicBezTo>
                    <a:cubicBezTo>
                      <a:pt x="7316" y="9421"/>
                      <a:pt x="7316" y="9421"/>
                      <a:pt x="7316" y="9421"/>
                    </a:cubicBezTo>
                    <a:lnTo>
                      <a:pt x="7334" y="9429"/>
                    </a:lnTo>
                    <a:close/>
                    <a:moveTo>
                      <a:pt x="7415" y="9268"/>
                    </a:moveTo>
                    <a:cubicBezTo>
                      <a:pt x="7490" y="9121"/>
                      <a:pt x="7490" y="9121"/>
                      <a:pt x="7490" y="9121"/>
                    </a:cubicBezTo>
                    <a:cubicBezTo>
                      <a:pt x="7486" y="9118"/>
                      <a:pt x="7480" y="9116"/>
                      <a:pt x="7474" y="9112"/>
                    </a:cubicBezTo>
                    <a:cubicBezTo>
                      <a:pt x="7398" y="9260"/>
                      <a:pt x="7398" y="9260"/>
                      <a:pt x="7398" y="9260"/>
                    </a:cubicBezTo>
                    <a:lnTo>
                      <a:pt x="7415" y="9268"/>
                    </a:lnTo>
                    <a:close/>
                    <a:moveTo>
                      <a:pt x="7497" y="9108"/>
                    </a:moveTo>
                    <a:cubicBezTo>
                      <a:pt x="7574" y="8955"/>
                      <a:pt x="7574" y="8955"/>
                      <a:pt x="7574" y="8955"/>
                    </a:cubicBezTo>
                    <a:cubicBezTo>
                      <a:pt x="7558" y="8946"/>
                      <a:pt x="7558" y="8946"/>
                      <a:pt x="7558" y="8946"/>
                    </a:cubicBezTo>
                    <a:cubicBezTo>
                      <a:pt x="7480" y="9100"/>
                      <a:pt x="7480" y="9100"/>
                      <a:pt x="7480" y="9100"/>
                    </a:cubicBezTo>
                    <a:cubicBezTo>
                      <a:pt x="7486" y="9103"/>
                      <a:pt x="7492" y="9106"/>
                      <a:pt x="7497" y="9108"/>
                    </a:cubicBezTo>
                    <a:close/>
                    <a:moveTo>
                      <a:pt x="7511" y="9225"/>
                    </a:moveTo>
                    <a:cubicBezTo>
                      <a:pt x="8033" y="9577"/>
                      <a:pt x="8033" y="9577"/>
                      <a:pt x="8033" y="9577"/>
                    </a:cubicBezTo>
                    <a:cubicBezTo>
                      <a:pt x="8076" y="9510"/>
                      <a:pt x="8124" y="9437"/>
                      <a:pt x="8175" y="9359"/>
                    </a:cubicBezTo>
                    <a:cubicBezTo>
                      <a:pt x="7624" y="9002"/>
                      <a:pt x="7624" y="9002"/>
                      <a:pt x="7624" y="9002"/>
                    </a:cubicBezTo>
                    <a:lnTo>
                      <a:pt x="7511" y="9225"/>
                    </a:lnTo>
                    <a:close/>
                    <a:moveTo>
                      <a:pt x="8182" y="9347"/>
                    </a:moveTo>
                    <a:cubicBezTo>
                      <a:pt x="8271" y="9210"/>
                      <a:pt x="8365" y="9064"/>
                      <a:pt x="8449" y="8934"/>
                    </a:cubicBezTo>
                    <a:cubicBezTo>
                      <a:pt x="8561" y="8760"/>
                      <a:pt x="8653" y="8617"/>
                      <a:pt x="8687" y="8564"/>
                    </a:cubicBezTo>
                    <a:cubicBezTo>
                      <a:pt x="8681" y="8560"/>
                      <a:pt x="8675" y="8557"/>
                      <a:pt x="8670" y="8554"/>
                    </a:cubicBezTo>
                    <a:cubicBezTo>
                      <a:pt x="8616" y="8521"/>
                      <a:pt x="8466" y="8413"/>
                      <a:pt x="8328" y="8311"/>
                    </a:cubicBezTo>
                    <a:cubicBezTo>
                      <a:pt x="8225" y="8236"/>
                      <a:pt x="8129" y="8164"/>
                      <a:pt x="8087" y="8133"/>
                    </a:cubicBezTo>
                    <a:cubicBezTo>
                      <a:pt x="8075" y="8134"/>
                      <a:pt x="8068" y="8135"/>
                      <a:pt x="8064" y="8135"/>
                    </a:cubicBezTo>
                    <a:cubicBezTo>
                      <a:pt x="7630" y="8990"/>
                      <a:pt x="7630" y="8990"/>
                      <a:pt x="7630" y="8990"/>
                    </a:cubicBezTo>
                    <a:lnTo>
                      <a:pt x="8182" y="9347"/>
                    </a:lnTo>
                    <a:close/>
                    <a:moveTo>
                      <a:pt x="8369" y="7935"/>
                    </a:moveTo>
                    <a:cubicBezTo>
                      <a:pt x="8371" y="7937"/>
                      <a:pt x="8372" y="7938"/>
                      <a:pt x="8373" y="7939"/>
                    </a:cubicBezTo>
                    <a:cubicBezTo>
                      <a:pt x="8384" y="7937"/>
                      <a:pt x="8395" y="7935"/>
                      <a:pt x="8405" y="7932"/>
                    </a:cubicBezTo>
                    <a:cubicBezTo>
                      <a:pt x="8456" y="7921"/>
                      <a:pt x="8522" y="7885"/>
                      <a:pt x="8576" y="7848"/>
                    </a:cubicBezTo>
                    <a:cubicBezTo>
                      <a:pt x="8284" y="7599"/>
                      <a:pt x="8284" y="7599"/>
                      <a:pt x="8284" y="7599"/>
                    </a:cubicBezTo>
                    <a:cubicBezTo>
                      <a:pt x="8257" y="7608"/>
                      <a:pt x="8177" y="7637"/>
                      <a:pt x="8098" y="7667"/>
                    </a:cubicBezTo>
                    <a:cubicBezTo>
                      <a:pt x="8103" y="7672"/>
                      <a:pt x="8109" y="7678"/>
                      <a:pt x="8115" y="7684"/>
                    </a:cubicBezTo>
                    <a:cubicBezTo>
                      <a:pt x="8179" y="7749"/>
                      <a:pt x="8242" y="7813"/>
                      <a:pt x="8291" y="7861"/>
                    </a:cubicBezTo>
                    <a:cubicBezTo>
                      <a:pt x="8316" y="7885"/>
                      <a:pt x="8336" y="7905"/>
                      <a:pt x="8351" y="7919"/>
                    </a:cubicBezTo>
                    <a:cubicBezTo>
                      <a:pt x="8358" y="7926"/>
                      <a:pt x="8364" y="7932"/>
                      <a:pt x="8369" y="7935"/>
                    </a:cubicBezTo>
                    <a:close/>
                    <a:moveTo>
                      <a:pt x="8588" y="7840"/>
                    </a:moveTo>
                    <a:cubicBezTo>
                      <a:pt x="8589" y="7839"/>
                      <a:pt x="8591" y="7838"/>
                      <a:pt x="8592" y="7837"/>
                    </a:cubicBezTo>
                    <a:cubicBezTo>
                      <a:pt x="8610" y="7824"/>
                      <a:pt x="8625" y="7812"/>
                      <a:pt x="8639" y="7801"/>
                    </a:cubicBezTo>
                    <a:cubicBezTo>
                      <a:pt x="8605" y="7759"/>
                      <a:pt x="8575" y="7715"/>
                      <a:pt x="8554" y="7668"/>
                    </a:cubicBezTo>
                    <a:cubicBezTo>
                      <a:pt x="8530" y="7614"/>
                      <a:pt x="8518" y="7557"/>
                      <a:pt x="8511" y="7501"/>
                    </a:cubicBezTo>
                    <a:cubicBezTo>
                      <a:pt x="8509" y="7500"/>
                      <a:pt x="8508" y="7499"/>
                      <a:pt x="8505" y="7497"/>
                    </a:cubicBezTo>
                    <a:cubicBezTo>
                      <a:pt x="8478" y="7479"/>
                      <a:pt x="8425" y="7442"/>
                      <a:pt x="8368" y="7402"/>
                    </a:cubicBezTo>
                    <a:cubicBezTo>
                      <a:pt x="8363" y="7416"/>
                      <a:pt x="8348" y="7459"/>
                      <a:pt x="8335" y="7499"/>
                    </a:cubicBezTo>
                    <a:cubicBezTo>
                      <a:pt x="8327" y="7522"/>
                      <a:pt x="8319" y="7545"/>
                      <a:pt x="8312" y="7563"/>
                    </a:cubicBezTo>
                    <a:cubicBezTo>
                      <a:pt x="8309" y="7572"/>
                      <a:pt x="8306" y="7579"/>
                      <a:pt x="8303" y="7584"/>
                    </a:cubicBezTo>
                    <a:cubicBezTo>
                      <a:pt x="8302" y="7587"/>
                      <a:pt x="8301" y="7589"/>
                      <a:pt x="8300" y="7591"/>
                    </a:cubicBezTo>
                    <a:cubicBezTo>
                      <a:pt x="8299" y="7591"/>
                      <a:pt x="8299" y="7592"/>
                      <a:pt x="8298" y="7593"/>
                    </a:cubicBezTo>
                    <a:lnTo>
                      <a:pt x="8588" y="7840"/>
                    </a:lnTo>
                    <a:close/>
                    <a:moveTo>
                      <a:pt x="10667" y="7063"/>
                    </a:moveTo>
                    <a:cubicBezTo>
                      <a:pt x="10698" y="7082"/>
                      <a:pt x="10724" y="7097"/>
                      <a:pt x="10742" y="7109"/>
                    </a:cubicBezTo>
                    <a:cubicBezTo>
                      <a:pt x="10751" y="7114"/>
                      <a:pt x="10758" y="7119"/>
                      <a:pt x="10763" y="7122"/>
                    </a:cubicBezTo>
                    <a:cubicBezTo>
                      <a:pt x="10764" y="7123"/>
                      <a:pt x="10764" y="7123"/>
                      <a:pt x="10765" y="7123"/>
                    </a:cubicBezTo>
                    <a:cubicBezTo>
                      <a:pt x="10801" y="7126"/>
                      <a:pt x="10937" y="7136"/>
                      <a:pt x="11069" y="7146"/>
                    </a:cubicBezTo>
                    <a:cubicBezTo>
                      <a:pt x="11216" y="7157"/>
                      <a:pt x="11359" y="7167"/>
                      <a:pt x="11359" y="7167"/>
                    </a:cubicBezTo>
                    <a:cubicBezTo>
                      <a:pt x="11359" y="7167"/>
                      <a:pt x="11405" y="7170"/>
                      <a:pt x="11464" y="7172"/>
                    </a:cubicBezTo>
                    <a:cubicBezTo>
                      <a:pt x="11523" y="7175"/>
                      <a:pt x="11594" y="7177"/>
                      <a:pt x="11642" y="7177"/>
                    </a:cubicBezTo>
                    <a:cubicBezTo>
                      <a:pt x="11657" y="7177"/>
                      <a:pt x="11669" y="7177"/>
                      <a:pt x="11678" y="7177"/>
                    </a:cubicBezTo>
                    <a:cubicBezTo>
                      <a:pt x="11683" y="7176"/>
                      <a:pt x="11686" y="7176"/>
                      <a:pt x="11688" y="7176"/>
                    </a:cubicBezTo>
                    <a:cubicBezTo>
                      <a:pt x="11688" y="7176"/>
                      <a:pt x="11688" y="7176"/>
                      <a:pt x="11688" y="7176"/>
                    </a:cubicBezTo>
                    <a:cubicBezTo>
                      <a:pt x="11691" y="7175"/>
                      <a:pt x="11691" y="7175"/>
                      <a:pt x="11691" y="7175"/>
                    </a:cubicBezTo>
                    <a:cubicBezTo>
                      <a:pt x="11693" y="7175"/>
                      <a:pt x="11693" y="7175"/>
                      <a:pt x="11693" y="7175"/>
                    </a:cubicBezTo>
                    <a:cubicBezTo>
                      <a:pt x="11743" y="7165"/>
                      <a:pt x="11785" y="7133"/>
                      <a:pt x="11821" y="7088"/>
                    </a:cubicBezTo>
                    <a:cubicBezTo>
                      <a:pt x="11876" y="7020"/>
                      <a:pt x="11914" y="6922"/>
                      <a:pt x="11937" y="6842"/>
                    </a:cubicBezTo>
                    <a:cubicBezTo>
                      <a:pt x="11949" y="6802"/>
                      <a:pt x="11957" y="6767"/>
                      <a:pt x="11962" y="6741"/>
                    </a:cubicBezTo>
                    <a:cubicBezTo>
                      <a:pt x="11967" y="6716"/>
                      <a:pt x="11970" y="6701"/>
                      <a:pt x="11970" y="6701"/>
                    </a:cubicBezTo>
                    <a:cubicBezTo>
                      <a:pt x="12244" y="4823"/>
                      <a:pt x="12244" y="4823"/>
                      <a:pt x="12244" y="4823"/>
                    </a:cubicBezTo>
                    <a:cubicBezTo>
                      <a:pt x="12243" y="4809"/>
                      <a:pt x="12239" y="4755"/>
                      <a:pt x="12239" y="4729"/>
                    </a:cubicBezTo>
                    <a:cubicBezTo>
                      <a:pt x="12239" y="4725"/>
                      <a:pt x="12239" y="4722"/>
                      <a:pt x="12240" y="4718"/>
                    </a:cubicBezTo>
                    <a:cubicBezTo>
                      <a:pt x="12240" y="4718"/>
                      <a:pt x="12240" y="4718"/>
                      <a:pt x="12240" y="4718"/>
                    </a:cubicBezTo>
                    <a:cubicBezTo>
                      <a:pt x="12221" y="4617"/>
                      <a:pt x="12175" y="4573"/>
                      <a:pt x="12125" y="4548"/>
                    </a:cubicBezTo>
                    <a:cubicBezTo>
                      <a:pt x="12073" y="4522"/>
                      <a:pt x="12013" y="4521"/>
                      <a:pt x="11975" y="4521"/>
                    </a:cubicBezTo>
                    <a:cubicBezTo>
                      <a:pt x="11937" y="4521"/>
                      <a:pt x="11830" y="4534"/>
                      <a:pt x="11698" y="4534"/>
                    </a:cubicBezTo>
                    <a:cubicBezTo>
                      <a:pt x="11585" y="4534"/>
                      <a:pt x="11452" y="4524"/>
                      <a:pt x="11317" y="4489"/>
                    </a:cubicBezTo>
                    <a:cubicBezTo>
                      <a:pt x="11157" y="4445"/>
                      <a:pt x="11049" y="4282"/>
                      <a:pt x="10972" y="4125"/>
                    </a:cubicBezTo>
                    <a:cubicBezTo>
                      <a:pt x="10896" y="3968"/>
                      <a:pt x="10853" y="3812"/>
                      <a:pt x="10842" y="3778"/>
                    </a:cubicBezTo>
                    <a:cubicBezTo>
                      <a:pt x="10841" y="3775"/>
                      <a:pt x="10840" y="3772"/>
                      <a:pt x="10839" y="3768"/>
                    </a:cubicBezTo>
                    <a:cubicBezTo>
                      <a:pt x="9678" y="4103"/>
                      <a:pt x="9678" y="4103"/>
                      <a:pt x="9678" y="4103"/>
                    </a:cubicBezTo>
                    <a:cubicBezTo>
                      <a:pt x="9694" y="4159"/>
                      <a:pt x="9763" y="4417"/>
                      <a:pt x="9836" y="4699"/>
                    </a:cubicBezTo>
                    <a:cubicBezTo>
                      <a:pt x="9919" y="5018"/>
                      <a:pt x="10007" y="5365"/>
                      <a:pt x="10026" y="5489"/>
                    </a:cubicBezTo>
                    <a:cubicBezTo>
                      <a:pt x="10038" y="5562"/>
                      <a:pt x="10042" y="5659"/>
                      <a:pt x="10042" y="5765"/>
                    </a:cubicBezTo>
                    <a:cubicBezTo>
                      <a:pt x="10042" y="6025"/>
                      <a:pt x="10018" y="6341"/>
                      <a:pt x="10013" y="6473"/>
                    </a:cubicBezTo>
                    <a:cubicBezTo>
                      <a:pt x="10013" y="6484"/>
                      <a:pt x="10012" y="6494"/>
                      <a:pt x="10012" y="6504"/>
                    </a:cubicBezTo>
                    <a:cubicBezTo>
                      <a:pt x="10012" y="6583"/>
                      <a:pt x="10024" y="6636"/>
                      <a:pt x="10036" y="6667"/>
                    </a:cubicBezTo>
                    <a:cubicBezTo>
                      <a:pt x="10043" y="6683"/>
                      <a:pt x="10049" y="6694"/>
                      <a:pt x="10053" y="6700"/>
                    </a:cubicBezTo>
                    <a:cubicBezTo>
                      <a:pt x="10054" y="6701"/>
                      <a:pt x="10055" y="6703"/>
                      <a:pt x="10056" y="6703"/>
                    </a:cubicBezTo>
                    <a:cubicBezTo>
                      <a:pt x="10058" y="6704"/>
                      <a:pt x="10058" y="6705"/>
                      <a:pt x="10060" y="6705"/>
                    </a:cubicBezTo>
                    <a:cubicBezTo>
                      <a:pt x="10090" y="6721"/>
                      <a:pt x="10265" y="6823"/>
                      <a:pt x="10436" y="6925"/>
                    </a:cubicBezTo>
                    <a:cubicBezTo>
                      <a:pt x="10521" y="6975"/>
                      <a:pt x="10604" y="7025"/>
                      <a:pt x="10667" y="7063"/>
                    </a:cubicBezTo>
                    <a:close/>
                    <a:moveTo>
                      <a:pt x="12298" y="4680"/>
                    </a:moveTo>
                    <a:cubicBezTo>
                      <a:pt x="12388" y="4686"/>
                      <a:pt x="12716" y="4709"/>
                      <a:pt x="12896" y="4757"/>
                    </a:cubicBezTo>
                    <a:cubicBezTo>
                      <a:pt x="13055" y="4804"/>
                      <a:pt x="13055" y="4804"/>
                      <a:pt x="13055" y="4804"/>
                    </a:cubicBezTo>
                    <a:cubicBezTo>
                      <a:pt x="13055" y="4803"/>
                      <a:pt x="13056" y="4803"/>
                      <a:pt x="13056" y="4803"/>
                    </a:cubicBezTo>
                    <a:cubicBezTo>
                      <a:pt x="13082" y="4762"/>
                      <a:pt x="13145" y="4658"/>
                      <a:pt x="13222" y="4495"/>
                    </a:cubicBezTo>
                    <a:cubicBezTo>
                      <a:pt x="13256" y="4422"/>
                      <a:pt x="13266" y="4360"/>
                      <a:pt x="13266" y="4309"/>
                    </a:cubicBezTo>
                    <a:cubicBezTo>
                      <a:pt x="13266" y="4262"/>
                      <a:pt x="13257" y="4225"/>
                      <a:pt x="13248" y="4199"/>
                    </a:cubicBezTo>
                    <a:cubicBezTo>
                      <a:pt x="13243" y="4187"/>
                      <a:pt x="13239" y="4177"/>
                      <a:pt x="13236" y="4171"/>
                    </a:cubicBezTo>
                    <a:cubicBezTo>
                      <a:pt x="13234" y="4168"/>
                      <a:pt x="13233" y="4166"/>
                      <a:pt x="13232" y="4164"/>
                    </a:cubicBezTo>
                    <a:cubicBezTo>
                      <a:pt x="13231" y="4163"/>
                      <a:pt x="13231" y="4163"/>
                      <a:pt x="13231" y="4163"/>
                    </a:cubicBezTo>
                    <a:cubicBezTo>
                      <a:pt x="12493" y="3040"/>
                      <a:pt x="12493" y="3040"/>
                      <a:pt x="12493" y="3040"/>
                    </a:cubicBezTo>
                    <a:cubicBezTo>
                      <a:pt x="12425" y="2978"/>
                      <a:pt x="12321" y="2972"/>
                      <a:pt x="12294" y="2973"/>
                    </a:cubicBezTo>
                    <a:cubicBezTo>
                      <a:pt x="12290" y="2973"/>
                      <a:pt x="12289" y="2973"/>
                      <a:pt x="12289" y="2973"/>
                    </a:cubicBezTo>
                    <a:cubicBezTo>
                      <a:pt x="12288" y="2973"/>
                      <a:pt x="12288" y="2973"/>
                      <a:pt x="12288" y="2973"/>
                    </a:cubicBezTo>
                    <a:cubicBezTo>
                      <a:pt x="12288" y="2973"/>
                      <a:pt x="12288" y="2973"/>
                      <a:pt x="12288" y="2973"/>
                    </a:cubicBezTo>
                    <a:cubicBezTo>
                      <a:pt x="12288" y="2973"/>
                      <a:pt x="10907" y="3002"/>
                      <a:pt x="10719" y="3007"/>
                    </a:cubicBezTo>
                    <a:cubicBezTo>
                      <a:pt x="10763" y="3178"/>
                      <a:pt x="10804" y="3350"/>
                      <a:pt x="10837" y="3486"/>
                    </a:cubicBezTo>
                    <a:cubicBezTo>
                      <a:pt x="10855" y="3560"/>
                      <a:pt x="10870" y="3624"/>
                      <a:pt x="10882" y="3671"/>
                    </a:cubicBezTo>
                    <a:cubicBezTo>
                      <a:pt x="10893" y="3718"/>
                      <a:pt x="10902" y="3751"/>
                      <a:pt x="10904" y="3757"/>
                    </a:cubicBezTo>
                    <a:cubicBezTo>
                      <a:pt x="10916" y="3795"/>
                      <a:pt x="10958" y="3945"/>
                      <a:pt x="11031" y="4097"/>
                    </a:cubicBezTo>
                    <a:cubicBezTo>
                      <a:pt x="11103" y="4248"/>
                      <a:pt x="11210" y="4394"/>
                      <a:pt x="11334" y="4425"/>
                    </a:cubicBezTo>
                    <a:cubicBezTo>
                      <a:pt x="11461" y="4459"/>
                      <a:pt x="11589" y="4468"/>
                      <a:pt x="11698" y="4468"/>
                    </a:cubicBezTo>
                    <a:cubicBezTo>
                      <a:pt x="11827" y="4468"/>
                      <a:pt x="11927" y="4455"/>
                      <a:pt x="11975" y="4455"/>
                    </a:cubicBezTo>
                    <a:cubicBezTo>
                      <a:pt x="12015" y="4455"/>
                      <a:pt x="12085" y="4456"/>
                      <a:pt x="12154" y="4489"/>
                    </a:cubicBezTo>
                    <a:cubicBezTo>
                      <a:pt x="12216" y="4518"/>
                      <a:pt x="12274" y="4578"/>
                      <a:pt x="12298" y="4680"/>
                    </a:cubicBezTo>
                    <a:close/>
                    <a:moveTo>
                      <a:pt x="12823" y="890"/>
                    </a:moveTo>
                    <a:cubicBezTo>
                      <a:pt x="12791" y="892"/>
                      <a:pt x="12759" y="893"/>
                      <a:pt x="12729" y="896"/>
                    </a:cubicBezTo>
                    <a:cubicBezTo>
                      <a:pt x="12586" y="906"/>
                      <a:pt x="12466" y="923"/>
                      <a:pt x="12373" y="955"/>
                    </a:cubicBezTo>
                    <a:cubicBezTo>
                      <a:pt x="12332" y="969"/>
                      <a:pt x="12289" y="995"/>
                      <a:pt x="12238" y="1030"/>
                    </a:cubicBezTo>
                    <a:cubicBezTo>
                      <a:pt x="12187" y="1064"/>
                      <a:pt x="12129" y="1109"/>
                      <a:pt x="12067" y="1160"/>
                    </a:cubicBezTo>
                    <a:cubicBezTo>
                      <a:pt x="11941" y="1262"/>
                      <a:pt x="11795" y="1392"/>
                      <a:pt x="11646" y="1529"/>
                    </a:cubicBezTo>
                    <a:cubicBezTo>
                      <a:pt x="11348" y="1802"/>
                      <a:pt x="11039" y="2101"/>
                      <a:pt x="10875" y="2245"/>
                    </a:cubicBezTo>
                    <a:cubicBezTo>
                      <a:pt x="10828" y="2286"/>
                      <a:pt x="10792" y="2315"/>
                      <a:pt x="10778" y="2323"/>
                    </a:cubicBezTo>
                    <a:cubicBezTo>
                      <a:pt x="10778" y="2323"/>
                      <a:pt x="10778" y="2323"/>
                      <a:pt x="10778" y="2323"/>
                    </a:cubicBezTo>
                    <a:cubicBezTo>
                      <a:pt x="10776" y="2324"/>
                      <a:pt x="10774" y="2325"/>
                      <a:pt x="10769" y="2327"/>
                    </a:cubicBezTo>
                    <a:cubicBezTo>
                      <a:pt x="10764" y="2329"/>
                      <a:pt x="10756" y="2333"/>
                      <a:pt x="10748" y="2336"/>
                    </a:cubicBezTo>
                    <a:cubicBezTo>
                      <a:pt x="10731" y="2342"/>
                      <a:pt x="10709" y="2350"/>
                      <a:pt x="10681" y="2360"/>
                    </a:cubicBezTo>
                    <a:cubicBezTo>
                      <a:pt x="10648" y="2371"/>
                      <a:pt x="10606" y="2384"/>
                      <a:pt x="10560" y="2399"/>
                    </a:cubicBezTo>
                    <a:cubicBezTo>
                      <a:pt x="10569" y="2433"/>
                      <a:pt x="10580" y="2473"/>
                      <a:pt x="10592" y="2518"/>
                    </a:cubicBezTo>
                    <a:cubicBezTo>
                      <a:pt x="10665" y="2495"/>
                      <a:pt x="10726" y="2475"/>
                      <a:pt x="10769" y="2459"/>
                    </a:cubicBezTo>
                    <a:cubicBezTo>
                      <a:pt x="10801" y="2447"/>
                      <a:pt x="10822" y="2439"/>
                      <a:pt x="10841" y="2428"/>
                    </a:cubicBezTo>
                    <a:cubicBezTo>
                      <a:pt x="10867" y="2412"/>
                      <a:pt x="10897" y="2388"/>
                      <a:pt x="10938" y="2353"/>
                    </a:cubicBezTo>
                    <a:cubicBezTo>
                      <a:pt x="10978" y="2319"/>
                      <a:pt x="11027" y="2275"/>
                      <a:pt x="11082" y="2224"/>
                    </a:cubicBezTo>
                    <a:cubicBezTo>
                      <a:pt x="11193" y="2121"/>
                      <a:pt x="11330" y="1991"/>
                      <a:pt x="11476" y="1855"/>
                    </a:cubicBezTo>
                    <a:cubicBezTo>
                      <a:pt x="11522" y="1812"/>
                      <a:pt x="11568" y="1768"/>
                      <a:pt x="11615" y="1725"/>
                    </a:cubicBezTo>
                    <a:cubicBezTo>
                      <a:pt x="11797" y="1599"/>
                      <a:pt x="12161" y="1303"/>
                      <a:pt x="12233" y="1263"/>
                    </a:cubicBezTo>
                    <a:cubicBezTo>
                      <a:pt x="12262" y="1247"/>
                      <a:pt x="12375" y="1192"/>
                      <a:pt x="12548" y="1145"/>
                    </a:cubicBezTo>
                    <a:cubicBezTo>
                      <a:pt x="12650" y="1117"/>
                      <a:pt x="12773" y="1100"/>
                      <a:pt x="12883" y="1078"/>
                    </a:cubicBezTo>
                    <a:cubicBezTo>
                      <a:pt x="12880" y="1071"/>
                      <a:pt x="12878" y="1064"/>
                      <a:pt x="12875" y="1058"/>
                    </a:cubicBezTo>
                    <a:cubicBezTo>
                      <a:pt x="12851" y="997"/>
                      <a:pt x="12835" y="939"/>
                      <a:pt x="12823" y="890"/>
                    </a:cubicBezTo>
                    <a:close/>
                    <a:moveTo>
                      <a:pt x="11747" y="1209"/>
                    </a:moveTo>
                    <a:cubicBezTo>
                      <a:pt x="11731" y="1225"/>
                      <a:pt x="11717" y="1239"/>
                      <a:pt x="11708" y="1249"/>
                    </a:cubicBezTo>
                    <a:cubicBezTo>
                      <a:pt x="11705" y="1253"/>
                      <a:pt x="11702" y="1255"/>
                      <a:pt x="11700" y="1258"/>
                    </a:cubicBezTo>
                    <a:cubicBezTo>
                      <a:pt x="11699" y="1259"/>
                      <a:pt x="11699" y="1259"/>
                      <a:pt x="11698" y="1260"/>
                    </a:cubicBezTo>
                    <a:cubicBezTo>
                      <a:pt x="11693" y="1267"/>
                      <a:pt x="11693" y="1267"/>
                      <a:pt x="11691" y="1268"/>
                    </a:cubicBezTo>
                    <a:cubicBezTo>
                      <a:pt x="11683" y="1277"/>
                      <a:pt x="11665" y="1295"/>
                      <a:pt x="11634" y="1325"/>
                    </a:cubicBezTo>
                    <a:cubicBezTo>
                      <a:pt x="11528" y="1428"/>
                      <a:pt x="11290" y="1657"/>
                      <a:pt x="11076" y="1863"/>
                    </a:cubicBezTo>
                    <a:cubicBezTo>
                      <a:pt x="10969" y="1966"/>
                      <a:pt x="10867" y="2064"/>
                      <a:pt x="10791" y="2137"/>
                    </a:cubicBezTo>
                    <a:cubicBezTo>
                      <a:pt x="10753" y="2173"/>
                      <a:pt x="10721" y="2204"/>
                      <a:pt x="10697" y="2226"/>
                    </a:cubicBezTo>
                    <a:cubicBezTo>
                      <a:pt x="10686" y="2237"/>
                      <a:pt x="10676" y="2246"/>
                      <a:pt x="10669" y="2252"/>
                    </a:cubicBezTo>
                    <a:cubicBezTo>
                      <a:pt x="10661" y="2259"/>
                      <a:pt x="10658" y="2263"/>
                      <a:pt x="10653" y="2267"/>
                    </a:cubicBezTo>
                    <a:cubicBezTo>
                      <a:pt x="10624" y="2291"/>
                      <a:pt x="10596" y="2301"/>
                      <a:pt x="10572" y="2311"/>
                    </a:cubicBezTo>
                    <a:cubicBezTo>
                      <a:pt x="10562" y="2314"/>
                      <a:pt x="10553" y="2317"/>
                      <a:pt x="10546" y="2319"/>
                    </a:cubicBezTo>
                    <a:cubicBezTo>
                      <a:pt x="10545" y="2321"/>
                      <a:pt x="10545" y="2321"/>
                      <a:pt x="10545" y="2321"/>
                    </a:cubicBezTo>
                    <a:cubicBezTo>
                      <a:pt x="10539" y="2322"/>
                      <a:pt x="10539" y="2322"/>
                      <a:pt x="10539" y="2322"/>
                    </a:cubicBezTo>
                    <a:cubicBezTo>
                      <a:pt x="10543" y="2338"/>
                      <a:pt x="10549" y="2359"/>
                      <a:pt x="10555" y="2383"/>
                    </a:cubicBezTo>
                    <a:cubicBezTo>
                      <a:pt x="10602" y="2369"/>
                      <a:pt x="10643" y="2355"/>
                      <a:pt x="10676" y="2344"/>
                    </a:cubicBezTo>
                    <a:cubicBezTo>
                      <a:pt x="10703" y="2335"/>
                      <a:pt x="10726" y="2327"/>
                      <a:pt x="10742" y="2320"/>
                    </a:cubicBezTo>
                    <a:cubicBezTo>
                      <a:pt x="10750" y="2317"/>
                      <a:pt x="10757" y="2314"/>
                      <a:pt x="10762" y="2312"/>
                    </a:cubicBezTo>
                    <a:cubicBezTo>
                      <a:pt x="10764" y="2311"/>
                      <a:pt x="10766" y="2310"/>
                      <a:pt x="10768" y="2309"/>
                    </a:cubicBezTo>
                    <a:cubicBezTo>
                      <a:pt x="10768" y="2309"/>
                      <a:pt x="10769" y="2309"/>
                      <a:pt x="10769" y="2309"/>
                    </a:cubicBezTo>
                    <a:cubicBezTo>
                      <a:pt x="10770" y="2308"/>
                      <a:pt x="10770" y="2308"/>
                      <a:pt x="10770" y="2308"/>
                    </a:cubicBezTo>
                    <a:cubicBezTo>
                      <a:pt x="10781" y="2302"/>
                      <a:pt x="10818" y="2273"/>
                      <a:pt x="10864" y="2233"/>
                    </a:cubicBezTo>
                    <a:cubicBezTo>
                      <a:pt x="11028" y="2089"/>
                      <a:pt x="11337" y="1790"/>
                      <a:pt x="11635" y="1517"/>
                    </a:cubicBezTo>
                    <a:cubicBezTo>
                      <a:pt x="11784" y="1380"/>
                      <a:pt x="11930" y="1250"/>
                      <a:pt x="12056" y="1147"/>
                    </a:cubicBezTo>
                    <a:cubicBezTo>
                      <a:pt x="12119" y="1096"/>
                      <a:pt x="12177" y="1051"/>
                      <a:pt x="12229" y="1016"/>
                    </a:cubicBezTo>
                    <a:cubicBezTo>
                      <a:pt x="12280" y="981"/>
                      <a:pt x="12324" y="955"/>
                      <a:pt x="12367" y="939"/>
                    </a:cubicBezTo>
                    <a:cubicBezTo>
                      <a:pt x="12463" y="907"/>
                      <a:pt x="12584" y="890"/>
                      <a:pt x="12728" y="879"/>
                    </a:cubicBezTo>
                    <a:cubicBezTo>
                      <a:pt x="12757" y="877"/>
                      <a:pt x="12788" y="876"/>
                      <a:pt x="12819" y="874"/>
                    </a:cubicBezTo>
                    <a:cubicBezTo>
                      <a:pt x="12811" y="838"/>
                      <a:pt x="12805" y="809"/>
                      <a:pt x="12802" y="789"/>
                    </a:cubicBezTo>
                    <a:cubicBezTo>
                      <a:pt x="12602" y="790"/>
                      <a:pt x="12454" y="791"/>
                      <a:pt x="12423" y="793"/>
                    </a:cubicBezTo>
                    <a:cubicBezTo>
                      <a:pt x="12299" y="797"/>
                      <a:pt x="12199" y="801"/>
                      <a:pt x="12120" y="837"/>
                    </a:cubicBezTo>
                    <a:cubicBezTo>
                      <a:pt x="12085" y="853"/>
                      <a:pt x="12036" y="891"/>
                      <a:pt x="11995" y="931"/>
                    </a:cubicBezTo>
                    <a:cubicBezTo>
                      <a:pt x="11953" y="970"/>
                      <a:pt x="11918" y="1014"/>
                      <a:pt x="11904" y="1034"/>
                    </a:cubicBezTo>
                    <a:cubicBezTo>
                      <a:pt x="11890" y="1054"/>
                      <a:pt x="11872" y="1074"/>
                      <a:pt x="11850" y="1099"/>
                    </a:cubicBezTo>
                    <a:cubicBezTo>
                      <a:pt x="11818" y="1135"/>
                      <a:pt x="11778" y="1176"/>
                      <a:pt x="11747" y="1209"/>
                    </a:cubicBezTo>
                    <a:close/>
                    <a:moveTo>
                      <a:pt x="11611" y="1286"/>
                    </a:moveTo>
                    <a:cubicBezTo>
                      <a:pt x="11611" y="1286"/>
                      <a:pt x="11611" y="1286"/>
                      <a:pt x="11611" y="1286"/>
                    </a:cubicBezTo>
                    <a:cubicBezTo>
                      <a:pt x="11607" y="1285"/>
                      <a:pt x="11602" y="1282"/>
                      <a:pt x="11597" y="1280"/>
                    </a:cubicBezTo>
                    <a:cubicBezTo>
                      <a:pt x="11602" y="1283"/>
                      <a:pt x="11607" y="1285"/>
                      <a:pt x="11611" y="1286"/>
                    </a:cubicBezTo>
                    <a:close/>
                    <a:moveTo>
                      <a:pt x="9838" y="242"/>
                    </a:moveTo>
                    <a:cubicBezTo>
                      <a:pt x="9849" y="510"/>
                      <a:pt x="9861" y="791"/>
                      <a:pt x="9862" y="885"/>
                    </a:cubicBezTo>
                    <a:cubicBezTo>
                      <a:pt x="10598" y="885"/>
                      <a:pt x="10598" y="885"/>
                      <a:pt x="10598" y="885"/>
                    </a:cubicBezTo>
                    <a:cubicBezTo>
                      <a:pt x="10602" y="886"/>
                      <a:pt x="10750" y="885"/>
                      <a:pt x="10868" y="997"/>
                    </a:cubicBezTo>
                    <a:cubicBezTo>
                      <a:pt x="10920" y="1048"/>
                      <a:pt x="11041" y="1153"/>
                      <a:pt x="11148" y="1246"/>
                    </a:cubicBezTo>
                    <a:cubicBezTo>
                      <a:pt x="11229" y="1315"/>
                      <a:pt x="11302" y="1377"/>
                      <a:pt x="11333" y="1404"/>
                    </a:cubicBezTo>
                    <a:cubicBezTo>
                      <a:pt x="11382" y="1357"/>
                      <a:pt x="11426" y="1315"/>
                      <a:pt x="11463" y="1279"/>
                    </a:cubicBezTo>
                    <a:cubicBezTo>
                      <a:pt x="11500" y="1243"/>
                      <a:pt x="11530" y="1214"/>
                      <a:pt x="11551" y="1193"/>
                    </a:cubicBezTo>
                    <a:cubicBezTo>
                      <a:pt x="11561" y="1183"/>
                      <a:pt x="11569" y="1175"/>
                      <a:pt x="11575" y="1170"/>
                    </a:cubicBezTo>
                    <a:cubicBezTo>
                      <a:pt x="11575" y="1169"/>
                      <a:pt x="11576" y="1168"/>
                      <a:pt x="11577" y="1168"/>
                    </a:cubicBezTo>
                    <a:cubicBezTo>
                      <a:pt x="11577" y="1168"/>
                      <a:pt x="11577" y="1167"/>
                      <a:pt x="11577" y="1167"/>
                    </a:cubicBezTo>
                    <a:cubicBezTo>
                      <a:pt x="11583" y="1159"/>
                      <a:pt x="11586" y="1156"/>
                      <a:pt x="11593" y="1149"/>
                    </a:cubicBezTo>
                    <a:cubicBezTo>
                      <a:pt x="11613" y="1127"/>
                      <a:pt x="11653" y="1086"/>
                      <a:pt x="11692" y="1045"/>
                    </a:cubicBezTo>
                    <a:cubicBezTo>
                      <a:pt x="11710" y="1026"/>
                      <a:pt x="11728" y="1007"/>
                      <a:pt x="11743" y="990"/>
                    </a:cubicBezTo>
                    <a:cubicBezTo>
                      <a:pt x="11701" y="923"/>
                      <a:pt x="11567" y="674"/>
                      <a:pt x="11564" y="252"/>
                    </a:cubicBezTo>
                    <a:cubicBezTo>
                      <a:pt x="11564" y="228"/>
                      <a:pt x="11564" y="205"/>
                      <a:pt x="11563" y="181"/>
                    </a:cubicBezTo>
                    <a:cubicBezTo>
                      <a:pt x="10898" y="172"/>
                      <a:pt x="10898" y="172"/>
                      <a:pt x="10898" y="172"/>
                    </a:cubicBezTo>
                    <a:cubicBezTo>
                      <a:pt x="10887" y="172"/>
                      <a:pt x="10887" y="172"/>
                      <a:pt x="10887" y="172"/>
                    </a:cubicBezTo>
                    <a:cubicBezTo>
                      <a:pt x="10887" y="171"/>
                      <a:pt x="10887" y="171"/>
                      <a:pt x="10887" y="171"/>
                    </a:cubicBezTo>
                    <a:cubicBezTo>
                      <a:pt x="10748" y="169"/>
                      <a:pt x="10748" y="169"/>
                      <a:pt x="10748" y="169"/>
                    </a:cubicBezTo>
                    <a:cubicBezTo>
                      <a:pt x="10731" y="176"/>
                      <a:pt x="10595" y="225"/>
                      <a:pt x="10594" y="225"/>
                    </a:cubicBezTo>
                    <a:cubicBezTo>
                      <a:pt x="10593" y="226"/>
                      <a:pt x="10593" y="226"/>
                      <a:pt x="10593" y="226"/>
                    </a:cubicBezTo>
                    <a:lnTo>
                      <a:pt x="9838" y="242"/>
                    </a:lnTo>
                    <a:close/>
                    <a:moveTo>
                      <a:pt x="8680" y="1198"/>
                    </a:moveTo>
                    <a:cubicBezTo>
                      <a:pt x="8687" y="1275"/>
                      <a:pt x="8704" y="1470"/>
                      <a:pt x="8704" y="1565"/>
                    </a:cubicBezTo>
                    <a:cubicBezTo>
                      <a:pt x="8704" y="1583"/>
                      <a:pt x="8703" y="1598"/>
                      <a:pt x="8701" y="1610"/>
                    </a:cubicBezTo>
                    <a:cubicBezTo>
                      <a:pt x="8690" y="1680"/>
                      <a:pt x="8608" y="1986"/>
                      <a:pt x="8587" y="2063"/>
                    </a:cubicBezTo>
                    <a:cubicBezTo>
                      <a:pt x="8576" y="2104"/>
                      <a:pt x="8572" y="2168"/>
                      <a:pt x="8572" y="2227"/>
                    </a:cubicBezTo>
                    <a:cubicBezTo>
                      <a:pt x="8572" y="2263"/>
                      <a:pt x="8573" y="2297"/>
                      <a:pt x="8575" y="2324"/>
                    </a:cubicBezTo>
                    <a:cubicBezTo>
                      <a:pt x="8577" y="2378"/>
                      <a:pt x="8587" y="2565"/>
                      <a:pt x="8591" y="2657"/>
                    </a:cubicBezTo>
                    <a:cubicBezTo>
                      <a:pt x="8710" y="2627"/>
                      <a:pt x="9130" y="2521"/>
                      <a:pt x="9544" y="2416"/>
                    </a:cubicBezTo>
                    <a:cubicBezTo>
                      <a:pt x="10007" y="2299"/>
                      <a:pt x="10465" y="2183"/>
                      <a:pt x="10491" y="2177"/>
                    </a:cubicBezTo>
                    <a:cubicBezTo>
                      <a:pt x="10491" y="2177"/>
                      <a:pt x="10491" y="2177"/>
                      <a:pt x="10492" y="2176"/>
                    </a:cubicBezTo>
                    <a:cubicBezTo>
                      <a:pt x="10497" y="2175"/>
                      <a:pt x="10511" y="2171"/>
                      <a:pt x="10525" y="2165"/>
                    </a:cubicBezTo>
                    <a:cubicBezTo>
                      <a:pt x="10538" y="2161"/>
                      <a:pt x="10552" y="2153"/>
                      <a:pt x="10554" y="2151"/>
                    </a:cubicBezTo>
                    <a:cubicBezTo>
                      <a:pt x="10554" y="2151"/>
                      <a:pt x="10554" y="2151"/>
                      <a:pt x="10554" y="2151"/>
                    </a:cubicBezTo>
                    <a:cubicBezTo>
                      <a:pt x="10557" y="2148"/>
                      <a:pt x="10579" y="2128"/>
                      <a:pt x="10610" y="2098"/>
                    </a:cubicBezTo>
                    <a:cubicBezTo>
                      <a:pt x="10719" y="1994"/>
                      <a:pt x="10963" y="1760"/>
                      <a:pt x="11179" y="1552"/>
                    </a:cubicBezTo>
                    <a:cubicBezTo>
                      <a:pt x="11216" y="1517"/>
                      <a:pt x="11252" y="1483"/>
                      <a:pt x="11286" y="1450"/>
                    </a:cubicBezTo>
                    <a:cubicBezTo>
                      <a:pt x="11205" y="1381"/>
                      <a:pt x="10915" y="1135"/>
                      <a:pt x="10822" y="1045"/>
                    </a:cubicBezTo>
                    <a:cubicBezTo>
                      <a:pt x="10774" y="998"/>
                      <a:pt x="10718" y="974"/>
                      <a:pt x="10673" y="963"/>
                    </a:cubicBezTo>
                    <a:cubicBezTo>
                      <a:pt x="10651" y="957"/>
                      <a:pt x="10632" y="954"/>
                      <a:pt x="10618" y="952"/>
                    </a:cubicBezTo>
                    <a:cubicBezTo>
                      <a:pt x="10611" y="952"/>
                      <a:pt x="10606" y="951"/>
                      <a:pt x="10603" y="951"/>
                    </a:cubicBezTo>
                    <a:cubicBezTo>
                      <a:pt x="10601" y="951"/>
                      <a:pt x="10600" y="951"/>
                      <a:pt x="10599" y="951"/>
                    </a:cubicBezTo>
                    <a:cubicBezTo>
                      <a:pt x="10598" y="951"/>
                      <a:pt x="10598" y="951"/>
                      <a:pt x="10598" y="951"/>
                    </a:cubicBezTo>
                    <a:cubicBezTo>
                      <a:pt x="10598" y="951"/>
                      <a:pt x="10072" y="951"/>
                      <a:pt x="9829" y="951"/>
                    </a:cubicBezTo>
                    <a:cubicBezTo>
                      <a:pt x="9829" y="951"/>
                      <a:pt x="9829" y="951"/>
                      <a:pt x="9829" y="951"/>
                    </a:cubicBezTo>
                    <a:cubicBezTo>
                      <a:pt x="9829" y="951"/>
                      <a:pt x="9829" y="951"/>
                      <a:pt x="9829" y="951"/>
                    </a:cubicBezTo>
                    <a:cubicBezTo>
                      <a:pt x="9774" y="951"/>
                      <a:pt x="9734" y="951"/>
                      <a:pt x="9717" y="951"/>
                    </a:cubicBezTo>
                    <a:cubicBezTo>
                      <a:pt x="9717" y="951"/>
                      <a:pt x="9717" y="951"/>
                      <a:pt x="9716" y="951"/>
                    </a:cubicBezTo>
                    <a:cubicBezTo>
                      <a:pt x="9690" y="968"/>
                      <a:pt x="9610" y="1025"/>
                      <a:pt x="9535" y="1078"/>
                    </a:cubicBezTo>
                    <a:cubicBezTo>
                      <a:pt x="9498" y="1104"/>
                      <a:pt x="9462" y="1129"/>
                      <a:pt x="9434" y="1148"/>
                    </a:cubicBezTo>
                    <a:cubicBezTo>
                      <a:pt x="9420" y="1157"/>
                      <a:pt x="9408" y="1165"/>
                      <a:pt x="9399" y="1171"/>
                    </a:cubicBezTo>
                    <a:cubicBezTo>
                      <a:pt x="9394" y="1174"/>
                      <a:pt x="9390" y="1176"/>
                      <a:pt x="9387" y="1178"/>
                    </a:cubicBezTo>
                    <a:cubicBezTo>
                      <a:pt x="9385" y="1179"/>
                      <a:pt x="9383" y="1180"/>
                      <a:pt x="9380" y="1181"/>
                    </a:cubicBezTo>
                    <a:cubicBezTo>
                      <a:pt x="9378" y="1182"/>
                      <a:pt x="9376" y="1184"/>
                      <a:pt x="9366" y="1184"/>
                    </a:cubicBezTo>
                    <a:cubicBezTo>
                      <a:pt x="9365" y="1184"/>
                      <a:pt x="9363" y="1184"/>
                      <a:pt x="9361" y="1184"/>
                    </a:cubicBezTo>
                    <a:cubicBezTo>
                      <a:pt x="9360" y="1184"/>
                      <a:pt x="9358" y="1184"/>
                      <a:pt x="9355" y="1184"/>
                    </a:cubicBezTo>
                    <a:cubicBezTo>
                      <a:pt x="9289" y="1184"/>
                      <a:pt x="8936" y="1195"/>
                      <a:pt x="8680" y="1198"/>
                    </a:cubicBezTo>
                    <a:close/>
                    <a:moveTo>
                      <a:pt x="7105" y="1513"/>
                    </a:moveTo>
                    <a:cubicBezTo>
                      <a:pt x="7109" y="1545"/>
                      <a:pt x="7131" y="1737"/>
                      <a:pt x="7153" y="1936"/>
                    </a:cubicBezTo>
                    <a:cubicBezTo>
                      <a:pt x="7165" y="2046"/>
                      <a:pt x="7178" y="2157"/>
                      <a:pt x="7187" y="2246"/>
                    </a:cubicBezTo>
                    <a:cubicBezTo>
                      <a:pt x="7194" y="2317"/>
                      <a:pt x="7199" y="2372"/>
                      <a:pt x="7201" y="2403"/>
                    </a:cubicBezTo>
                    <a:cubicBezTo>
                      <a:pt x="7242" y="2410"/>
                      <a:pt x="7272" y="2415"/>
                      <a:pt x="7281" y="2416"/>
                    </a:cubicBezTo>
                    <a:cubicBezTo>
                      <a:pt x="8512" y="2393"/>
                      <a:pt x="8512" y="2393"/>
                      <a:pt x="8512" y="2393"/>
                    </a:cubicBezTo>
                    <a:cubicBezTo>
                      <a:pt x="8511" y="2364"/>
                      <a:pt x="8510" y="2341"/>
                      <a:pt x="8509" y="2327"/>
                    </a:cubicBezTo>
                    <a:cubicBezTo>
                      <a:pt x="8508" y="2299"/>
                      <a:pt x="8507" y="2264"/>
                      <a:pt x="8507" y="2227"/>
                    </a:cubicBezTo>
                    <a:cubicBezTo>
                      <a:pt x="8507" y="2165"/>
                      <a:pt x="8510" y="2098"/>
                      <a:pt x="8524" y="2046"/>
                    </a:cubicBezTo>
                    <a:cubicBezTo>
                      <a:pt x="8544" y="1971"/>
                      <a:pt x="8627" y="1660"/>
                      <a:pt x="8636" y="1599"/>
                    </a:cubicBezTo>
                    <a:cubicBezTo>
                      <a:pt x="8637" y="1595"/>
                      <a:pt x="8638" y="1582"/>
                      <a:pt x="8638" y="1565"/>
                    </a:cubicBezTo>
                    <a:cubicBezTo>
                      <a:pt x="8638" y="1509"/>
                      <a:pt x="8632" y="1410"/>
                      <a:pt x="8625" y="1326"/>
                    </a:cubicBezTo>
                    <a:cubicBezTo>
                      <a:pt x="8621" y="1273"/>
                      <a:pt x="8617" y="1227"/>
                      <a:pt x="8615" y="1199"/>
                    </a:cubicBezTo>
                    <a:cubicBezTo>
                      <a:pt x="8594" y="1199"/>
                      <a:pt x="8574" y="1199"/>
                      <a:pt x="8555" y="1199"/>
                    </a:cubicBezTo>
                    <a:cubicBezTo>
                      <a:pt x="8517" y="1199"/>
                      <a:pt x="8484" y="1199"/>
                      <a:pt x="8458" y="1198"/>
                    </a:cubicBezTo>
                    <a:cubicBezTo>
                      <a:pt x="8275" y="1191"/>
                      <a:pt x="7912" y="1170"/>
                      <a:pt x="7803" y="1170"/>
                    </a:cubicBezTo>
                    <a:cubicBezTo>
                      <a:pt x="7795" y="1170"/>
                      <a:pt x="7789" y="1170"/>
                      <a:pt x="7785" y="1171"/>
                    </a:cubicBezTo>
                    <a:cubicBezTo>
                      <a:pt x="7713" y="1173"/>
                      <a:pt x="7495" y="1219"/>
                      <a:pt x="7446" y="1240"/>
                    </a:cubicBezTo>
                    <a:cubicBezTo>
                      <a:pt x="7411" y="1254"/>
                      <a:pt x="7349" y="1268"/>
                      <a:pt x="7287" y="1281"/>
                    </a:cubicBezTo>
                    <a:cubicBezTo>
                      <a:pt x="7226" y="1294"/>
                      <a:pt x="7168" y="1304"/>
                      <a:pt x="7147" y="1307"/>
                    </a:cubicBezTo>
                    <a:cubicBezTo>
                      <a:pt x="7144" y="1308"/>
                      <a:pt x="7141" y="1310"/>
                      <a:pt x="7136" y="1318"/>
                    </a:cubicBezTo>
                    <a:cubicBezTo>
                      <a:pt x="7134" y="1322"/>
                      <a:pt x="7132" y="1328"/>
                      <a:pt x="7131" y="1332"/>
                    </a:cubicBezTo>
                    <a:cubicBezTo>
                      <a:pt x="7133" y="1336"/>
                      <a:pt x="7133" y="1339"/>
                      <a:pt x="7133" y="1341"/>
                    </a:cubicBezTo>
                    <a:cubicBezTo>
                      <a:pt x="7134" y="1343"/>
                      <a:pt x="7134" y="1345"/>
                      <a:pt x="7134" y="1347"/>
                    </a:cubicBezTo>
                    <a:cubicBezTo>
                      <a:pt x="7134" y="1358"/>
                      <a:pt x="7132" y="1370"/>
                      <a:pt x="7129" y="1387"/>
                    </a:cubicBezTo>
                    <a:cubicBezTo>
                      <a:pt x="7122" y="1431"/>
                      <a:pt x="7109" y="1495"/>
                      <a:pt x="7105" y="1513"/>
                    </a:cubicBezTo>
                    <a:close/>
                    <a:moveTo>
                      <a:pt x="4026" y="1765"/>
                    </a:moveTo>
                    <a:cubicBezTo>
                      <a:pt x="4251" y="1863"/>
                      <a:pt x="4453" y="2010"/>
                      <a:pt x="4496" y="2041"/>
                    </a:cubicBezTo>
                    <a:cubicBezTo>
                      <a:pt x="5339" y="2390"/>
                      <a:pt x="5339" y="2390"/>
                      <a:pt x="5339" y="2390"/>
                    </a:cubicBezTo>
                    <a:cubicBezTo>
                      <a:pt x="5389" y="2405"/>
                      <a:pt x="5881" y="2551"/>
                      <a:pt x="6047" y="2600"/>
                    </a:cubicBezTo>
                    <a:cubicBezTo>
                      <a:pt x="6127" y="2624"/>
                      <a:pt x="6292" y="2668"/>
                      <a:pt x="6457" y="2711"/>
                    </a:cubicBezTo>
                    <a:cubicBezTo>
                      <a:pt x="6531" y="2453"/>
                      <a:pt x="6531" y="2453"/>
                      <a:pt x="6531" y="2453"/>
                    </a:cubicBezTo>
                    <a:cubicBezTo>
                      <a:pt x="6534" y="2449"/>
                      <a:pt x="6534" y="2449"/>
                      <a:pt x="6534" y="2449"/>
                    </a:cubicBezTo>
                    <a:cubicBezTo>
                      <a:pt x="6560" y="2411"/>
                      <a:pt x="6596" y="2385"/>
                      <a:pt x="6638" y="2370"/>
                    </a:cubicBezTo>
                    <a:cubicBezTo>
                      <a:pt x="6680" y="2356"/>
                      <a:pt x="6727" y="2351"/>
                      <a:pt x="6781" y="2351"/>
                    </a:cubicBezTo>
                    <a:cubicBezTo>
                      <a:pt x="6838" y="2351"/>
                      <a:pt x="6961" y="2368"/>
                      <a:pt x="7073" y="2384"/>
                    </a:cubicBezTo>
                    <a:cubicBezTo>
                      <a:pt x="7094" y="2387"/>
                      <a:pt x="7115" y="2390"/>
                      <a:pt x="7135" y="2393"/>
                    </a:cubicBezTo>
                    <a:cubicBezTo>
                      <a:pt x="7133" y="2362"/>
                      <a:pt x="7128" y="2313"/>
                      <a:pt x="7122" y="2253"/>
                    </a:cubicBezTo>
                    <a:cubicBezTo>
                      <a:pt x="7097" y="2013"/>
                      <a:pt x="7050" y="1606"/>
                      <a:pt x="7041" y="1529"/>
                    </a:cubicBezTo>
                    <a:cubicBezTo>
                      <a:pt x="7013" y="1506"/>
                      <a:pt x="6973" y="1486"/>
                      <a:pt x="6939" y="1453"/>
                    </a:cubicBezTo>
                    <a:cubicBezTo>
                      <a:pt x="6883" y="1395"/>
                      <a:pt x="6849" y="1333"/>
                      <a:pt x="6848" y="1332"/>
                    </a:cubicBezTo>
                    <a:cubicBezTo>
                      <a:pt x="6570" y="830"/>
                      <a:pt x="6570" y="830"/>
                      <a:pt x="6570" y="830"/>
                    </a:cubicBezTo>
                    <a:cubicBezTo>
                      <a:pt x="6514" y="736"/>
                      <a:pt x="6448" y="718"/>
                      <a:pt x="6391" y="717"/>
                    </a:cubicBezTo>
                    <a:cubicBezTo>
                      <a:pt x="6364" y="717"/>
                      <a:pt x="6339" y="723"/>
                      <a:pt x="6321" y="728"/>
                    </a:cubicBezTo>
                    <a:cubicBezTo>
                      <a:pt x="6312" y="731"/>
                      <a:pt x="6305" y="733"/>
                      <a:pt x="6301" y="735"/>
                    </a:cubicBezTo>
                    <a:cubicBezTo>
                      <a:pt x="6298" y="736"/>
                      <a:pt x="6297" y="737"/>
                      <a:pt x="6296" y="737"/>
                    </a:cubicBezTo>
                    <a:cubicBezTo>
                      <a:pt x="6295" y="738"/>
                      <a:pt x="6295" y="738"/>
                      <a:pt x="6295" y="738"/>
                    </a:cubicBezTo>
                    <a:cubicBezTo>
                      <a:pt x="6277" y="748"/>
                      <a:pt x="6062" y="873"/>
                      <a:pt x="5952" y="933"/>
                    </a:cubicBezTo>
                    <a:cubicBezTo>
                      <a:pt x="5850" y="989"/>
                      <a:pt x="5778" y="1021"/>
                      <a:pt x="5670" y="1021"/>
                    </a:cubicBezTo>
                    <a:cubicBezTo>
                      <a:pt x="5658" y="1020"/>
                      <a:pt x="5646" y="1020"/>
                      <a:pt x="5633" y="1019"/>
                    </a:cubicBezTo>
                    <a:cubicBezTo>
                      <a:pt x="5500" y="1011"/>
                      <a:pt x="5207" y="922"/>
                      <a:pt x="4918" y="836"/>
                    </a:cubicBezTo>
                    <a:cubicBezTo>
                      <a:pt x="4686" y="767"/>
                      <a:pt x="4522" y="689"/>
                      <a:pt x="4464" y="660"/>
                    </a:cubicBezTo>
                    <a:cubicBezTo>
                      <a:pt x="4237" y="1102"/>
                      <a:pt x="4237" y="1102"/>
                      <a:pt x="4237" y="1102"/>
                    </a:cubicBezTo>
                    <a:cubicBezTo>
                      <a:pt x="4231" y="1125"/>
                      <a:pt x="4200" y="1243"/>
                      <a:pt x="4159" y="1313"/>
                    </a:cubicBezTo>
                    <a:cubicBezTo>
                      <a:pt x="4125" y="1369"/>
                      <a:pt x="4101" y="1414"/>
                      <a:pt x="4093" y="1427"/>
                    </a:cubicBezTo>
                    <a:lnTo>
                      <a:pt x="4026" y="1765"/>
                    </a:lnTo>
                    <a:close/>
                    <a:moveTo>
                      <a:pt x="3644" y="1789"/>
                    </a:moveTo>
                    <a:cubicBezTo>
                      <a:pt x="3226" y="3080"/>
                      <a:pt x="3226" y="3080"/>
                      <a:pt x="3226" y="3080"/>
                    </a:cubicBezTo>
                    <a:cubicBezTo>
                      <a:pt x="3288" y="3105"/>
                      <a:pt x="3369" y="3140"/>
                      <a:pt x="3461" y="3180"/>
                    </a:cubicBezTo>
                    <a:cubicBezTo>
                      <a:pt x="3611" y="3245"/>
                      <a:pt x="3789" y="3322"/>
                      <a:pt x="3947" y="3380"/>
                    </a:cubicBezTo>
                    <a:cubicBezTo>
                      <a:pt x="4267" y="3499"/>
                      <a:pt x="4565" y="3604"/>
                      <a:pt x="4764" y="3656"/>
                    </a:cubicBezTo>
                    <a:cubicBezTo>
                      <a:pt x="4835" y="3674"/>
                      <a:pt x="4911" y="3694"/>
                      <a:pt x="4988" y="3716"/>
                    </a:cubicBezTo>
                    <a:cubicBezTo>
                      <a:pt x="5143" y="3357"/>
                      <a:pt x="5143" y="3357"/>
                      <a:pt x="5143" y="3357"/>
                    </a:cubicBezTo>
                    <a:cubicBezTo>
                      <a:pt x="5135" y="2981"/>
                      <a:pt x="5135" y="2981"/>
                      <a:pt x="5135" y="2981"/>
                    </a:cubicBezTo>
                    <a:cubicBezTo>
                      <a:pt x="5136" y="2976"/>
                      <a:pt x="5136" y="2976"/>
                      <a:pt x="5136" y="2976"/>
                    </a:cubicBezTo>
                    <a:cubicBezTo>
                      <a:pt x="5136" y="2976"/>
                      <a:pt x="5175" y="2857"/>
                      <a:pt x="5213" y="2735"/>
                    </a:cubicBezTo>
                    <a:cubicBezTo>
                      <a:pt x="5233" y="2674"/>
                      <a:pt x="5252" y="2612"/>
                      <a:pt x="5266" y="2563"/>
                    </a:cubicBezTo>
                    <a:cubicBezTo>
                      <a:pt x="5270" y="2551"/>
                      <a:pt x="5273" y="2539"/>
                      <a:pt x="5276" y="2529"/>
                    </a:cubicBezTo>
                    <a:cubicBezTo>
                      <a:pt x="4421" y="2175"/>
                      <a:pt x="4421" y="2175"/>
                      <a:pt x="4421" y="2175"/>
                    </a:cubicBezTo>
                    <a:cubicBezTo>
                      <a:pt x="4413" y="2169"/>
                      <a:pt x="4413" y="2169"/>
                      <a:pt x="4413" y="2169"/>
                    </a:cubicBezTo>
                    <a:cubicBezTo>
                      <a:pt x="4413" y="2169"/>
                      <a:pt x="4409" y="2166"/>
                      <a:pt x="4400" y="2160"/>
                    </a:cubicBezTo>
                    <a:cubicBezTo>
                      <a:pt x="4342" y="2117"/>
                      <a:pt x="4083" y="1936"/>
                      <a:pt x="3854" y="1861"/>
                    </a:cubicBezTo>
                    <a:cubicBezTo>
                      <a:pt x="3800" y="1843"/>
                      <a:pt x="3726" y="1818"/>
                      <a:pt x="3644" y="1789"/>
                    </a:cubicBezTo>
                    <a:close/>
                    <a:moveTo>
                      <a:pt x="1273" y="4103"/>
                    </a:moveTo>
                    <a:cubicBezTo>
                      <a:pt x="1283" y="4116"/>
                      <a:pt x="1292" y="4126"/>
                      <a:pt x="1298" y="4133"/>
                    </a:cubicBezTo>
                    <a:cubicBezTo>
                      <a:pt x="1298" y="4133"/>
                      <a:pt x="1299" y="4133"/>
                      <a:pt x="1299" y="4134"/>
                    </a:cubicBezTo>
                    <a:cubicBezTo>
                      <a:pt x="1304" y="4135"/>
                      <a:pt x="1308" y="4136"/>
                      <a:pt x="1315" y="4138"/>
                    </a:cubicBezTo>
                    <a:cubicBezTo>
                      <a:pt x="1369" y="4153"/>
                      <a:pt x="1496" y="4199"/>
                      <a:pt x="1568" y="4225"/>
                    </a:cubicBezTo>
                    <a:cubicBezTo>
                      <a:pt x="1635" y="4155"/>
                      <a:pt x="1948" y="3815"/>
                      <a:pt x="2211" y="3529"/>
                    </a:cubicBezTo>
                    <a:cubicBezTo>
                      <a:pt x="2368" y="3360"/>
                      <a:pt x="2481" y="3230"/>
                      <a:pt x="2561" y="3163"/>
                    </a:cubicBezTo>
                    <a:cubicBezTo>
                      <a:pt x="2694" y="3050"/>
                      <a:pt x="2832" y="3019"/>
                      <a:pt x="2943" y="3019"/>
                    </a:cubicBezTo>
                    <a:cubicBezTo>
                      <a:pt x="3023" y="3019"/>
                      <a:pt x="3090" y="3035"/>
                      <a:pt x="3133" y="3046"/>
                    </a:cubicBezTo>
                    <a:cubicBezTo>
                      <a:pt x="3142" y="3049"/>
                      <a:pt x="3153" y="3052"/>
                      <a:pt x="3165" y="3056"/>
                    </a:cubicBezTo>
                    <a:cubicBezTo>
                      <a:pt x="3582" y="1768"/>
                      <a:pt x="3582" y="1768"/>
                      <a:pt x="3582" y="1768"/>
                    </a:cubicBezTo>
                    <a:cubicBezTo>
                      <a:pt x="3243" y="1650"/>
                      <a:pt x="2791" y="1487"/>
                      <a:pt x="2746" y="1470"/>
                    </a:cubicBezTo>
                    <a:cubicBezTo>
                      <a:pt x="2716" y="1459"/>
                      <a:pt x="2673" y="1443"/>
                      <a:pt x="2630" y="1417"/>
                    </a:cubicBezTo>
                    <a:cubicBezTo>
                      <a:pt x="2606" y="1402"/>
                      <a:pt x="2581" y="1384"/>
                      <a:pt x="2558" y="1360"/>
                    </a:cubicBezTo>
                    <a:cubicBezTo>
                      <a:pt x="2555" y="1363"/>
                      <a:pt x="2552" y="1366"/>
                      <a:pt x="2547" y="1369"/>
                    </a:cubicBezTo>
                    <a:cubicBezTo>
                      <a:pt x="2459" y="1441"/>
                      <a:pt x="2143" y="1714"/>
                      <a:pt x="1849" y="1968"/>
                    </a:cubicBezTo>
                    <a:cubicBezTo>
                      <a:pt x="1703" y="2095"/>
                      <a:pt x="1561" y="2218"/>
                      <a:pt x="1457" y="2309"/>
                    </a:cubicBezTo>
                    <a:cubicBezTo>
                      <a:pt x="1360" y="2392"/>
                      <a:pt x="1296" y="2449"/>
                      <a:pt x="1285" y="2457"/>
                    </a:cubicBezTo>
                    <a:cubicBezTo>
                      <a:pt x="581" y="3211"/>
                      <a:pt x="581" y="3211"/>
                      <a:pt x="581" y="3211"/>
                    </a:cubicBezTo>
                    <a:cubicBezTo>
                      <a:pt x="633" y="3279"/>
                      <a:pt x="780" y="3472"/>
                      <a:pt x="929" y="3665"/>
                    </a:cubicBezTo>
                    <a:cubicBezTo>
                      <a:pt x="1022" y="3785"/>
                      <a:pt x="1115" y="3905"/>
                      <a:pt x="1186" y="3995"/>
                    </a:cubicBezTo>
                    <a:cubicBezTo>
                      <a:pt x="1222" y="4040"/>
                      <a:pt x="1251" y="4077"/>
                      <a:pt x="1273" y="4103"/>
                    </a:cubicBezTo>
                    <a:close/>
                    <a:moveTo>
                      <a:pt x="1239" y="4357"/>
                    </a:moveTo>
                    <a:cubicBezTo>
                      <a:pt x="1497" y="4504"/>
                      <a:pt x="1497" y="4504"/>
                      <a:pt x="1497" y="4504"/>
                    </a:cubicBezTo>
                    <a:cubicBezTo>
                      <a:pt x="1505" y="4482"/>
                      <a:pt x="1520" y="4443"/>
                      <a:pt x="1536" y="4403"/>
                    </a:cubicBezTo>
                    <a:cubicBezTo>
                      <a:pt x="1548" y="4373"/>
                      <a:pt x="1560" y="4344"/>
                      <a:pt x="1569" y="4321"/>
                    </a:cubicBezTo>
                    <a:cubicBezTo>
                      <a:pt x="1573" y="4312"/>
                      <a:pt x="1576" y="4305"/>
                      <a:pt x="1579" y="4299"/>
                    </a:cubicBezTo>
                    <a:cubicBezTo>
                      <a:pt x="1552" y="4289"/>
                      <a:pt x="1500" y="4270"/>
                      <a:pt x="1445" y="4251"/>
                    </a:cubicBezTo>
                    <a:cubicBezTo>
                      <a:pt x="1406" y="4237"/>
                      <a:pt x="1367" y="4223"/>
                      <a:pt x="1336" y="4213"/>
                    </a:cubicBezTo>
                    <a:cubicBezTo>
                      <a:pt x="1330" y="4211"/>
                      <a:pt x="1325" y="4210"/>
                      <a:pt x="1320" y="4208"/>
                    </a:cubicBezTo>
                    <a:lnTo>
                      <a:pt x="1239" y="4357"/>
                    </a:lnTo>
                    <a:close/>
                    <a:moveTo>
                      <a:pt x="1169" y="4486"/>
                    </a:moveTo>
                    <a:cubicBezTo>
                      <a:pt x="1208" y="4508"/>
                      <a:pt x="1208" y="4508"/>
                      <a:pt x="1208" y="4508"/>
                    </a:cubicBezTo>
                    <a:cubicBezTo>
                      <a:pt x="1259" y="4413"/>
                      <a:pt x="1259" y="4413"/>
                      <a:pt x="1259" y="4413"/>
                    </a:cubicBezTo>
                    <a:cubicBezTo>
                      <a:pt x="1397" y="4488"/>
                      <a:pt x="1397" y="4488"/>
                      <a:pt x="1397" y="4488"/>
                    </a:cubicBezTo>
                    <a:cubicBezTo>
                      <a:pt x="1394" y="4494"/>
                      <a:pt x="1394" y="4494"/>
                      <a:pt x="1394" y="4494"/>
                    </a:cubicBezTo>
                    <a:cubicBezTo>
                      <a:pt x="1344" y="4586"/>
                      <a:pt x="1344" y="4586"/>
                      <a:pt x="1344" y="4586"/>
                    </a:cubicBezTo>
                    <a:cubicBezTo>
                      <a:pt x="1750" y="4817"/>
                      <a:pt x="1750" y="4817"/>
                      <a:pt x="1750" y="4817"/>
                    </a:cubicBezTo>
                    <a:cubicBezTo>
                      <a:pt x="1779" y="4681"/>
                      <a:pt x="1779" y="4681"/>
                      <a:pt x="1779" y="4681"/>
                    </a:cubicBezTo>
                    <a:cubicBezTo>
                      <a:pt x="1504" y="4524"/>
                      <a:pt x="1504" y="4524"/>
                      <a:pt x="1504" y="4524"/>
                    </a:cubicBezTo>
                    <a:cubicBezTo>
                      <a:pt x="1503" y="4525"/>
                      <a:pt x="1503" y="4527"/>
                      <a:pt x="1503" y="4527"/>
                    </a:cubicBezTo>
                    <a:cubicBezTo>
                      <a:pt x="1490" y="4522"/>
                      <a:pt x="1490" y="4522"/>
                      <a:pt x="1490" y="4522"/>
                    </a:cubicBezTo>
                    <a:cubicBezTo>
                      <a:pt x="1490" y="4522"/>
                      <a:pt x="1490" y="4520"/>
                      <a:pt x="1492" y="4517"/>
                    </a:cubicBezTo>
                    <a:cubicBezTo>
                      <a:pt x="1233" y="4369"/>
                      <a:pt x="1233" y="4369"/>
                      <a:pt x="1233" y="4369"/>
                    </a:cubicBezTo>
                    <a:lnTo>
                      <a:pt x="1169" y="4486"/>
                    </a:lnTo>
                    <a:close/>
                    <a:moveTo>
                      <a:pt x="1110" y="4593"/>
                    </a:moveTo>
                    <a:cubicBezTo>
                      <a:pt x="1149" y="4615"/>
                      <a:pt x="1149" y="4615"/>
                      <a:pt x="1149" y="4615"/>
                    </a:cubicBezTo>
                    <a:cubicBezTo>
                      <a:pt x="1201" y="4520"/>
                      <a:pt x="1201" y="4520"/>
                      <a:pt x="1201" y="4520"/>
                    </a:cubicBezTo>
                    <a:cubicBezTo>
                      <a:pt x="1162" y="4498"/>
                      <a:pt x="1162" y="4498"/>
                      <a:pt x="1162" y="4498"/>
                    </a:cubicBezTo>
                    <a:lnTo>
                      <a:pt x="1110" y="4593"/>
                    </a:lnTo>
                    <a:close/>
                    <a:moveTo>
                      <a:pt x="1056" y="4693"/>
                    </a:moveTo>
                    <a:cubicBezTo>
                      <a:pt x="1095" y="4715"/>
                      <a:pt x="1095" y="4715"/>
                      <a:pt x="1095" y="4715"/>
                    </a:cubicBezTo>
                    <a:cubicBezTo>
                      <a:pt x="1142" y="4628"/>
                      <a:pt x="1142" y="4628"/>
                      <a:pt x="1142" y="4628"/>
                    </a:cubicBezTo>
                    <a:cubicBezTo>
                      <a:pt x="1103" y="4606"/>
                      <a:pt x="1103" y="4606"/>
                      <a:pt x="1103" y="4606"/>
                    </a:cubicBezTo>
                    <a:lnTo>
                      <a:pt x="1056" y="4693"/>
                    </a:lnTo>
                    <a:close/>
                    <a:moveTo>
                      <a:pt x="998" y="4798"/>
                    </a:moveTo>
                    <a:cubicBezTo>
                      <a:pt x="1037" y="4820"/>
                      <a:pt x="1037" y="4820"/>
                      <a:pt x="1037" y="4820"/>
                    </a:cubicBezTo>
                    <a:cubicBezTo>
                      <a:pt x="1088" y="4727"/>
                      <a:pt x="1088" y="4727"/>
                      <a:pt x="1088" y="4727"/>
                    </a:cubicBezTo>
                    <a:cubicBezTo>
                      <a:pt x="1049" y="4705"/>
                      <a:pt x="1049" y="4705"/>
                      <a:pt x="1049" y="4705"/>
                    </a:cubicBezTo>
                    <a:lnTo>
                      <a:pt x="998" y="4798"/>
                    </a:lnTo>
                    <a:close/>
                    <a:moveTo>
                      <a:pt x="933" y="4917"/>
                    </a:moveTo>
                    <a:cubicBezTo>
                      <a:pt x="972" y="4940"/>
                      <a:pt x="972" y="4940"/>
                      <a:pt x="972" y="4940"/>
                    </a:cubicBezTo>
                    <a:cubicBezTo>
                      <a:pt x="1031" y="4833"/>
                      <a:pt x="1031" y="4833"/>
                      <a:pt x="1031" y="4833"/>
                    </a:cubicBezTo>
                    <a:cubicBezTo>
                      <a:pt x="992" y="4810"/>
                      <a:pt x="992" y="4810"/>
                      <a:pt x="992" y="4810"/>
                    </a:cubicBezTo>
                    <a:lnTo>
                      <a:pt x="933" y="4917"/>
                    </a:lnTo>
                    <a:close/>
                    <a:moveTo>
                      <a:pt x="869" y="5034"/>
                    </a:moveTo>
                    <a:cubicBezTo>
                      <a:pt x="909" y="5056"/>
                      <a:pt x="909" y="5056"/>
                      <a:pt x="909" y="5056"/>
                    </a:cubicBezTo>
                    <a:cubicBezTo>
                      <a:pt x="966" y="4952"/>
                      <a:pt x="966" y="4952"/>
                      <a:pt x="966" y="4952"/>
                    </a:cubicBezTo>
                    <a:cubicBezTo>
                      <a:pt x="926" y="4930"/>
                      <a:pt x="926" y="4930"/>
                      <a:pt x="926" y="4930"/>
                    </a:cubicBezTo>
                    <a:lnTo>
                      <a:pt x="869" y="5034"/>
                    </a:lnTo>
                    <a:close/>
                    <a:moveTo>
                      <a:pt x="810" y="5142"/>
                    </a:moveTo>
                    <a:cubicBezTo>
                      <a:pt x="850" y="5165"/>
                      <a:pt x="850" y="5165"/>
                      <a:pt x="850" y="5165"/>
                    </a:cubicBezTo>
                    <a:cubicBezTo>
                      <a:pt x="902" y="5069"/>
                      <a:pt x="902" y="5069"/>
                      <a:pt x="902" y="5069"/>
                    </a:cubicBezTo>
                    <a:cubicBezTo>
                      <a:pt x="863" y="5046"/>
                      <a:pt x="863" y="5046"/>
                      <a:pt x="863" y="5046"/>
                    </a:cubicBezTo>
                    <a:lnTo>
                      <a:pt x="810" y="5142"/>
                    </a:lnTo>
                    <a:close/>
                    <a:moveTo>
                      <a:pt x="739" y="5272"/>
                    </a:moveTo>
                    <a:cubicBezTo>
                      <a:pt x="779" y="5295"/>
                      <a:pt x="779" y="5295"/>
                      <a:pt x="779" y="5295"/>
                    </a:cubicBezTo>
                    <a:cubicBezTo>
                      <a:pt x="843" y="5177"/>
                      <a:pt x="843" y="5177"/>
                      <a:pt x="843" y="5177"/>
                    </a:cubicBezTo>
                    <a:cubicBezTo>
                      <a:pt x="804" y="5154"/>
                      <a:pt x="804" y="5154"/>
                      <a:pt x="804" y="5154"/>
                    </a:cubicBezTo>
                    <a:lnTo>
                      <a:pt x="739" y="5272"/>
                    </a:lnTo>
                    <a:close/>
                    <a:moveTo>
                      <a:pt x="680" y="5380"/>
                    </a:moveTo>
                    <a:cubicBezTo>
                      <a:pt x="720" y="5403"/>
                      <a:pt x="720" y="5403"/>
                      <a:pt x="720" y="5403"/>
                    </a:cubicBezTo>
                    <a:cubicBezTo>
                      <a:pt x="772" y="5307"/>
                      <a:pt x="772" y="5307"/>
                      <a:pt x="772" y="5307"/>
                    </a:cubicBezTo>
                    <a:cubicBezTo>
                      <a:pt x="733" y="5284"/>
                      <a:pt x="733" y="5284"/>
                      <a:pt x="733" y="5284"/>
                    </a:cubicBezTo>
                    <a:lnTo>
                      <a:pt x="680" y="5380"/>
                    </a:lnTo>
                    <a:close/>
                    <a:moveTo>
                      <a:pt x="616" y="5498"/>
                    </a:moveTo>
                    <a:cubicBezTo>
                      <a:pt x="656" y="5521"/>
                      <a:pt x="656" y="5521"/>
                      <a:pt x="656" y="5521"/>
                    </a:cubicBezTo>
                    <a:cubicBezTo>
                      <a:pt x="714" y="5415"/>
                      <a:pt x="714" y="5415"/>
                      <a:pt x="714" y="5415"/>
                    </a:cubicBezTo>
                    <a:cubicBezTo>
                      <a:pt x="674" y="5392"/>
                      <a:pt x="674" y="5392"/>
                      <a:pt x="674" y="5392"/>
                    </a:cubicBezTo>
                    <a:lnTo>
                      <a:pt x="616" y="5498"/>
                    </a:lnTo>
                    <a:close/>
                    <a:moveTo>
                      <a:pt x="558" y="5603"/>
                    </a:moveTo>
                    <a:cubicBezTo>
                      <a:pt x="599" y="5627"/>
                      <a:pt x="599" y="5627"/>
                      <a:pt x="599" y="5627"/>
                    </a:cubicBezTo>
                    <a:cubicBezTo>
                      <a:pt x="649" y="5534"/>
                      <a:pt x="649" y="5534"/>
                      <a:pt x="649" y="5534"/>
                    </a:cubicBezTo>
                    <a:cubicBezTo>
                      <a:pt x="609" y="5511"/>
                      <a:pt x="609" y="5511"/>
                      <a:pt x="609" y="5511"/>
                    </a:cubicBezTo>
                    <a:lnTo>
                      <a:pt x="558" y="5603"/>
                    </a:lnTo>
                    <a:close/>
                    <a:moveTo>
                      <a:pt x="493" y="5723"/>
                    </a:moveTo>
                    <a:cubicBezTo>
                      <a:pt x="534" y="5746"/>
                      <a:pt x="534" y="5746"/>
                      <a:pt x="534" y="5746"/>
                    </a:cubicBezTo>
                    <a:cubicBezTo>
                      <a:pt x="592" y="5639"/>
                      <a:pt x="592" y="5639"/>
                      <a:pt x="592" y="5639"/>
                    </a:cubicBezTo>
                    <a:cubicBezTo>
                      <a:pt x="551" y="5616"/>
                      <a:pt x="551" y="5616"/>
                      <a:pt x="551" y="5616"/>
                    </a:cubicBezTo>
                    <a:lnTo>
                      <a:pt x="493" y="5723"/>
                    </a:lnTo>
                    <a:close/>
                    <a:moveTo>
                      <a:pt x="429" y="5839"/>
                    </a:moveTo>
                    <a:cubicBezTo>
                      <a:pt x="470" y="5863"/>
                      <a:pt x="470" y="5863"/>
                      <a:pt x="470" y="5863"/>
                    </a:cubicBezTo>
                    <a:cubicBezTo>
                      <a:pt x="527" y="5758"/>
                      <a:pt x="527" y="5758"/>
                      <a:pt x="527" y="5758"/>
                    </a:cubicBezTo>
                    <a:cubicBezTo>
                      <a:pt x="486" y="5735"/>
                      <a:pt x="486" y="5735"/>
                      <a:pt x="486" y="5735"/>
                    </a:cubicBezTo>
                    <a:lnTo>
                      <a:pt x="429" y="5839"/>
                    </a:lnTo>
                    <a:close/>
                    <a:moveTo>
                      <a:pt x="370" y="5948"/>
                    </a:moveTo>
                    <a:cubicBezTo>
                      <a:pt x="411" y="5971"/>
                      <a:pt x="411" y="5971"/>
                      <a:pt x="411" y="5971"/>
                    </a:cubicBezTo>
                    <a:cubicBezTo>
                      <a:pt x="463" y="5875"/>
                      <a:pt x="463" y="5875"/>
                      <a:pt x="463" y="5875"/>
                    </a:cubicBezTo>
                    <a:cubicBezTo>
                      <a:pt x="423" y="5852"/>
                      <a:pt x="423" y="5852"/>
                      <a:pt x="423" y="5852"/>
                    </a:cubicBezTo>
                    <a:lnTo>
                      <a:pt x="370" y="5948"/>
                    </a:lnTo>
                    <a:close/>
                    <a:moveTo>
                      <a:pt x="312" y="6054"/>
                    </a:moveTo>
                    <a:cubicBezTo>
                      <a:pt x="847" y="6359"/>
                      <a:pt x="847" y="6359"/>
                      <a:pt x="847" y="6359"/>
                    </a:cubicBezTo>
                    <a:cubicBezTo>
                      <a:pt x="888" y="6259"/>
                      <a:pt x="888" y="6259"/>
                      <a:pt x="888" y="6259"/>
                    </a:cubicBezTo>
                    <a:cubicBezTo>
                      <a:pt x="541" y="6061"/>
                      <a:pt x="541" y="6061"/>
                      <a:pt x="541" y="6061"/>
                    </a:cubicBezTo>
                    <a:cubicBezTo>
                      <a:pt x="500" y="6136"/>
                      <a:pt x="500" y="6136"/>
                      <a:pt x="500" y="6136"/>
                    </a:cubicBezTo>
                    <a:cubicBezTo>
                      <a:pt x="362" y="6061"/>
                      <a:pt x="362" y="6061"/>
                      <a:pt x="362" y="6061"/>
                    </a:cubicBezTo>
                    <a:cubicBezTo>
                      <a:pt x="405" y="5983"/>
                      <a:pt x="405" y="5983"/>
                      <a:pt x="405" y="5983"/>
                    </a:cubicBezTo>
                    <a:cubicBezTo>
                      <a:pt x="364" y="5960"/>
                      <a:pt x="364" y="5960"/>
                      <a:pt x="364" y="5960"/>
                    </a:cubicBezTo>
                    <a:lnTo>
                      <a:pt x="312" y="6054"/>
                    </a:lnTo>
                    <a:close/>
                    <a:moveTo>
                      <a:pt x="702" y="6533"/>
                    </a:moveTo>
                    <a:cubicBezTo>
                      <a:pt x="775" y="6451"/>
                      <a:pt x="831" y="6388"/>
                      <a:pt x="838" y="6380"/>
                    </a:cubicBezTo>
                    <a:cubicBezTo>
                      <a:pt x="841" y="6372"/>
                      <a:pt x="841" y="6372"/>
                      <a:pt x="841" y="6372"/>
                    </a:cubicBezTo>
                    <a:cubicBezTo>
                      <a:pt x="306" y="6066"/>
                      <a:pt x="306" y="6066"/>
                      <a:pt x="306" y="6066"/>
                    </a:cubicBezTo>
                    <a:cubicBezTo>
                      <a:pt x="220" y="6222"/>
                      <a:pt x="220" y="6222"/>
                      <a:pt x="220" y="6222"/>
                    </a:cubicBezTo>
                    <a:cubicBezTo>
                      <a:pt x="357" y="6286"/>
                      <a:pt x="540" y="6399"/>
                      <a:pt x="702" y="6533"/>
                    </a:cubicBezTo>
                    <a:close/>
                    <a:moveTo>
                      <a:pt x="353" y="6937"/>
                    </a:moveTo>
                    <a:cubicBezTo>
                      <a:pt x="422" y="6991"/>
                      <a:pt x="836" y="7356"/>
                      <a:pt x="925" y="7434"/>
                    </a:cubicBezTo>
                    <a:cubicBezTo>
                      <a:pt x="1009" y="7231"/>
                      <a:pt x="1009" y="7231"/>
                      <a:pt x="1009" y="7231"/>
                    </a:cubicBezTo>
                    <a:cubicBezTo>
                      <a:pt x="1069" y="7069"/>
                      <a:pt x="1069" y="7069"/>
                      <a:pt x="1069" y="7069"/>
                    </a:cubicBezTo>
                    <a:cubicBezTo>
                      <a:pt x="1065" y="7063"/>
                      <a:pt x="1061" y="7054"/>
                      <a:pt x="1055" y="7043"/>
                    </a:cubicBezTo>
                    <a:cubicBezTo>
                      <a:pt x="1012" y="6970"/>
                      <a:pt x="906" y="6804"/>
                      <a:pt x="745" y="6657"/>
                    </a:cubicBezTo>
                    <a:cubicBezTo>
                      <a:pt x="721" y="6634"/>
                      <a:pt x="695" y="6612"/>
                      <a:pt x="669" y="6590"/>
                    </a:cubicBezTo>
                    <a:cubicBezTo>
                      <a:pt x="646" y="6616"/>
                      <a:pt x="622" y="6643"/>
                      <a:pt x="598" y="6670"/>
                    </a:cubicBezTo>
                    <a:cubicBezTo>
                      <a:pt x="534" y="6741"/>
                      <a:pt x="471" y="6811"/>
                      <a:pt x="422" y="6864"/>
                    </a:cubicBezTo>
                    <a:cubicBezTo>
                      <a:pt x="397" y="6890"/>
                      <a:pt x="377" y="6912"/>
                      <a:pt x="362" y="6928"/>
                    </a:cubicBezTo>
                    <a:cubicBezTo>
                      <a:pt x="358" y="6931"/>
                      <a:pt x="356" y="6934"/>
                      <a:pt x="353" y="6937"/>
                    </a:cubicBezTo>
                    <a:close/>
                    <a:moveTo>
                      <a:pt x="358" y="7464"/>
                    </a:moveTo>
                    <a:cubicBezTo>
                      <a:pt x="383" y="7438"/>
                      <a:pt x="432" y="7387"/>
                      <a:pt x="481" y="7336"/>
                    </a:cubicBezTo>
                    <a:cubicBezTo>
                      <a:pt x="517" y="7300"/>
                      <a:pt x="553" y="7263"/>
                      <a:pt x="580" y="7236"/>
                    </a:cubicBezTo>
                    <a:cubicBezTo>
                      <a:pt x="594" y="7222"/>
                      <a:pt x="606" y="7211"/>
                      <a:pt x="615" y="7203"/>
                    </a:cubicBezTo>
                    <a:cubicBezTo>
                      <a:pt x="619" y="7199"/>
                      <a:pt x="622" y="7195"/>
                      <a:pt x="625" y="7193"/>
                    </a:cubicBezTo>
                    <a:cubicBezTo>
                      <a:pt x="626" y="7193"/>
                      <a:pt x="627" y="7192"/>
                      <a:pt x="627" y="7192"/>
                    </a:cubicBezTo>
                    <a:cubicBezTo>
                      <a:pt x="556" y="7130"/>
                      <a:pt x="486" y="7068"/>
                      <a:pt x="432" y="7022"/>
                    </a:cubicBezTo>
                    <a:cubicBezTo>
                      <a:pt x="404" y="6998"/>
                      <a:pt x="380" y="6977"/>
                      <a:pt x="363" y="6963"/>
                    </a:cubicBezTo>
                    <a:cubicBezTo>
                      <a:pt x="355" y="6956"/>
                      <a:pt x="348" y="6951"/>
                      <a:pt x="343" y="6947"/>
                    </a:cubicBezTo>
                    <a:cubicBezTo>
                      <a:pt x="343" y="6947"/>
                      <a:pt x="343" y="6947"/>
                      <a:pt x="343" y="6947"/>
                    </a:cubicBezTo>
                    <a:cubicBezTo>
                      <a:pt x="341" y="6948"/>
                      <a:pt x="339" y="6950"/>
                      <a:pt x="337" y="6951"/>
                    </a:cubicBezTo>
                    <a:cubicBezTo>
                      <a:pt x="336" y="6952"/>
                      <a:pt x="336" y="6953"/>
                      <a:pt x="333" y="6954"/>
                    </a:cubicBezTo>
                    <a:cubicBezTo>
                      <a:pt x="329" y="6958"/>
                      <a:pt x="318" y="6980"/>
                      <a:pt x="306" y="7008"/>
                    </a:cubicBezTo>
                    <a:cubicBezTo>
                      <a:pt x="286" y="7053"/>
                      <a:pt x="259" y="7118"/>
                      <a:pt x="236" y="7171"/>
                    </a:cubicBezTo>
                    <a:cubicBezTo>
                      <a:pt x="225" y="7198"/>
                      <a:pt x="215" y="7221"/>
                      <a:pt x="207" y="7238"/>
                    </a:cubicBezTo>
                    <a:cubicBezTo>
                      <a:pt x="205" y="7242"/>
                      <a:pt x="204" y="7245"/>
                      <a:pt x="202" y="7248"/>
                    </a:cubicBezTo>
                    <a:lnTo>
                      <a:pt x="358" y="7464"/>
                    </a:lnTo>
                    <a:close/>
                    <a:moveTo>
                      <a:pt x="250" y="8206"/>
                    </a:moveTo>
                    <a:cubicBezTo>
                      <a:pt x="251" y="8205"/>
                      <a:pt x="251" y="8205"/>
                      <a:pt x="251" y="8205"/>
                    </a:cubicBezTo>
                    <a:cubicBezTo>
                      <a:pt x="582" y="7853"/>
                      <a:pt x="582" y="7853"/>
                      <a:pt x="582" y="7853"/>
                    </a:cubicBezTo>
                    <a:cubicBezTo>
                      <a:pt x="341" y="7518"/>
                      <a:pt x="341" y="7518"/>
                      <a:pt x="341" y="7518"/>
                    </a:cubicBezTo>
                    <a:cubicBezTo>
                      <a:pt x="330" y="7549"/>
                      <a:pt x="310" y="7600"/>
                      <a:pt x="290" y="7652"/>
                    </a:cubicBezTo>
                    <a:cubicBezTo>
                      <a:pt x="274" y="7693"/>
                      <a:pt x="258" y="7733"/>
                      <a:pt x="246" y="7764"/>
                    </a:cubicBezTo>
                    <a:cubicBezTo>
                      <a:pt x="239" y="7779"/>
                      <a:pt x="234" y="7792"/>
                      <a:pt x="230" y="7801"/>
                    </a:cubicBezTo>
                    <a:cubicBezTo>
                      <a:pt x="227" y="7806"/>
                      <a:pt x="226" y="7809"/>
                      <a:pt x="224" y="7812"/>
                    </a:cubicBezTo>
                    <a:cubicBezTo>
                      <a:pt x="223" y="7813"/>
                      <a:pt x="223" y="7814"/>
                      <a:pt x="222" y="7815"/>
                    </a:cubicBezTo>
                    <a:cubicBezTo>
                      <a:pt x="221" y="7816"/>
                      <a:pt x="221" y="7818"/>
                      <a:pt x="215" y="7819"/>
                    </a:cubicBezTo>
                    <a:cubicBezTo>
                      <a:pt x="206" y="7819"/>
                      <a:pt x="144" y="7811"/>
                      <a:pt x="129" y="7810"/>
                    </a:cubicBezTo>
                    <a:cubicBezTo>
                      <a:pt x="126" y="7815"/>
                      <a:pt x="117" y="7831"/>
                      <a:pt x="106" y="7852"/>
                    </a:cubicBezTo>
                    <a:cubicBezTo>
                      <a:pt x="78" y="7908"/>
                      <a:pt x="35" y="7999"/>
                      <a:pt x="17" y="8037"/>
                    </a:cubicBezTo>
                    <a:cubicBezTo>
                      <a:pt x="33" y="8047"/>
                      <a:pt x="49" y="8056"/>
                      <a:pt x="65" y="8066"/>
                    </a:cubicBezTo>
                    <a:cubicBezTo>
                      <a:pt x="152" y="8123"/>
                      <a:pt x="220" y="8179"/>
                      <a:pt x="250" y="8206"/>
                    </a:cubicBezTo>
                    <a:close/>
                    <a:moveTo>
                      <a:pt x="329" y="8627"/>
                    </a:moveTo>
                    <a:cubicBezTo>
                      <a:pt x="699" y="8319"/>
                      <a:pt x="699" y="8319"/>
                      <a:pt x="699" y="8319"/>
                    </a:cubicBezTo>
                    <a:cubicBezTo>
                      <a:pt x="479" y="8057"/>
                      <a:pt x="479" y="8057"/>
                      <a:pt x="479" y="8057"/>
                    </a:cubicBezTo>
                    <a:cubicBezTo>
                      <a:pt x="299" y="8250"/>
                      <a:pt x="299" y="8250"/>
                      <a:pt x="299" y="8250"/>
                    </a:cubicBezTo>
                    <a:cubicBezTo>
                      <a:pt x="268" y="8281"/>
                      <a:pt x="227" y="8329"/>
                      <a:pt x="164" y="8378"/>
                    </a:cubicBezTo>
                    <a:cubicBezTo>
                      <a:pt x="242" y="8461"/>
                      <a:pt x="242" y="8461"/>
                      <a:pt x="242" y="8461"/>
                    </a:cubicBezTo>
                    <a:cubicBezTo>
                      <a:pt x="199" y="8507"/>
                      <a:pt x="199" y="8507"/>
                      <a:pt x="199" y="8507"/>
                    </a:cubicBezTo>
                    <a:cubicBezTo>
                      <a:pt x="205" y="8501"/>
                      <a:pt x="205" y="8501"/>
                      <a:pt x="205" y="8501"/>
                    </a:cubicBezTo>
                    <a:lnTo>
                      <a:pt x="329" y="8627"/>
                    </a:lnTo>
                    <a:close/>
                    <a:moveTo>
                      <a:pt x="341" y="9012"/>
                    </a:moveTo>
                    <a:cubicBezTo>
                      <a:pt x="536" y="8917"/>
                      <a:pt x="536" y="8917"/>
                      <a:pt x="536" y="8917"/>
                    </a:cubicBezTo>
                    <a:cubicBezTo>
                      <a:pt x="536" y="8897"/>
                      <a:pt x="533" y="8823"/>
                      <a:pt x="533" y="8797"/>
                    </a:cubicBezTo>
                    <a:cubicBezTo>
                      <a:pt x="533" y="8795"/>
                      <a:pt x="533" y="8793"/>
                      <a:pt x="533" y="8791"/>
                    </a:cubicBezTo>
                    <a:cubicBezTo>
                      <a:pt x="534" y="8789"/>
                      <a:pt x="533" y="8789"/>
                      <a:pt x="534" y="8786"/>
                    </a:cubicBezTo>
                    <a:cubicBezTo>
                      <a:pt x="505" y="8760"/>
                      <a:pt x="435" y="8690"/>
                      <a:pt x="398" y="8654"/>
                    </a:cubicBezTo>
                    <a:cubicBezTo>
                      <a:pt x="155" y="8857"/>
                      <a:pt x="155" y="8857"/>
                      <a:pt x="155" y="8857"/>
                    </a:cubicBezTo>
                    <a:lnTo>
                      <a:pt x="341" y="9012"/>
                    </a:lnTo>
                    <a:close/>
                    <a:moveTo>
                      <a:pt x="257" y="9240"/>
                    </a:moveTo>
                    <a:cubicBezTo>
                      <a:pt x="277" y="9232"/>
                      <a:pt x="303" y="9223"/>
                      <a:pt x="340" y="9221"/>
                    </a:cubicBezTo>
                    <a:cubicBezTo>
                      <a:pt x="342" y="9221"/>
                      <a:pt x="345" y="9221"/>
                      <a:pt x="347" y="9221"/>
                    </a:cubicBezTo>
                    <a:cubicBezTo>
                      <a:pt x="408" y="9222"/>
                      <a:pt x="479" y="9254"/>
                      <a:pt x="519" y="9267"/>
                    </a:cubicBezTo>
                    <a:cubicBezTo>
                      <a:pt x="527" y="9236"/>
                      <a:pt x="539" y="9192"/>
                      <a:pt x="552" y="9148"/>
                    </a:cubicBezTo>
                    <a:cubicBezTo>
                      <a:pt x="563" y="9107"/>
                      <a:pt x="574" y="9067"/>
                      <a:pt x="582" y="9036"/>
                    </a:cubicBezTo>
                    <a:cubicBezTo>
                      <a:pt x="586" y="9021"/>
                      <a:pt x="590" y="9008"/>
                      <a:pt x="592" y="8999"/>
                    </a:cubicBezTo>
                    <a:cubicBezTo>
                      <a:pt x="593" y="8994"/>
                      <a:pt x="594" y="8990"/>
                      <a:pt x="595" y="8988"/>
                    </a:cubicBezTo>
                    <a:cubicBezTo>
                      <a:pt x="595" y="8987"/>
                      <a:pt x="595" y="8986"/>
                      <a:pt x="595" y="8985"/>
                    </a:cubicBezTo>
                    <a:cubicBezTo>
                      <a:pt x="596" y="8985"/>
                      <a:pt x="596" y="8984"/>
                      <a:pt x="596" y="8984"/>
                    </a:cubicBezTo>
                    <a:cubicBezTo>
                      <a:pt x="599" y="8985"/>
                      <a:pt x="599" y="8985"/>
                      <a:pt x="599" y="8985"/>
                    </a:cubicBezTo>
                    <a:cubicBezTo>
                      <a:pt x="572" y="8960"/>
                      <a:pt x="551" y="8940"/>
                      <a:pt x="543" y="8932"/>
                    </a:cubicBezTo>
                    <a:cubicBezTo>
                      <a:pt x="345" y="9028"/>
                      <a:pt x="345" y="9028"/>
                      <a:pt x="345" y="9028"/>
                    </a:cubicBezTo>
                    <a:lnTo>
                      <a:pt x="257" y="9240"/>
                    </a:lnTo>
                    <a:close/>
                    <a:moveTo>
                      <a:pt x="272" y="9774"/>
                    </a:moveTo>
                    <a:cubicBezTo>
                      <a:pt x="138" y="9523"/>
                      <a:pt x="138" y="9523"/>
                      <a:pt x="138" y="9523"/>
                    </a:cubicBezTo>
                    <a:cubicBezTo>
                      <a:pt x="47" y="9547"/>
                      <a:pt x="47" y="9547"/>
                      <a:pt x="47" y="9547"/>
                    </a:cubicBezTo>
                    <a:cubicBezTo>
                      <a:pt x="45" y="9560"/>
                      <a:pt x="39" y="9594"/>
                      <a:pt x="32" y="9629"/>
                    </a:cubicBezTo>
                    <a:cubicBezTo>
                      <a:pt x="25" y="9669"/>
                      <a:pt x="17" y="9713"/>
                      <a:pt x="16" y="9726"/>
                    </a:cubicBezTo>
                    <a:cubicBezTo>
                      <a:pt x="27" y="9734"/>
                      <a:pt x="57" y="9763"/>
                      <a:pt x="87" y="9791"/>
                    </a:cubicBezTo>
                    <a:cubicBezTo>
                      <a:pt x="102" y="9806"/>
                      <a:pt x="117" y="9819"/>
                      <a:pt x="129" y="9830"/>
                    </a:cubicBezTo>
                    <a:cubicBezTo>
                      <a:pt x="134" y="9835"/>
                      <a:pt x="139" y="9839"/>
                      <a:pt x="142" y="9842"/>
                    </a:cubicBezTo>
                    <a:cubicBezTo>
                      <a:pt x="143" y="9843"/>
                      <a:pt x="144" y="9844"/>
                      <a:pt x="144" y="9844"/>
                    </a:cubicBezTo>
                    <a:cubicBezTo>
                      <a:pt x="155" y="9840"/>
                      <a:pt x="186" y="9822"/>
                      <a:pt x="215" y="9806"/>
                    </a:cubicBezTo>
                    <a:cubicBezTo>
                      <a:pt x="238" y="9793"/>
                      <a:pt x="261" y="9780"/>
                      <a:pt x="272" y="9774"/>
                    </a:cubicBezTo>
                    <a:close/>
                    <a:moveTo>
                      <a:pt x="429" y="9921"/>
                    </a:moveTo>
                    <a:cubicBezTo>
                      <a:pt x="434" y="9919"/>
                      <a:pt x="438" y="9917"/>
                      <a:pt x="440" y="9916"/>
                    </a:cubicBezTo>
                    <a:cubicBezTo>
                      <a:pt x="560" y="9852"/>
                      <a:pt x="560" y="9852"/>
                      <a:pt x="560" y="9852"/>
                    </a:cubicBezTo>
                    <a:cubicBezTo>
                      <a:pt x="549" y="9822"/>
                      <a:pt x="527" y="9759"/>
                      <a:pt x="504" y="9695"/>
                    </a:cubicBezTo>
                    <a:cubicBezTo>
                      <a:pt x="488" y="9651"/>
                      <a:pt x="473" y="9607"/>
                      <a:pt x="461" y="9573"/>
                    </a:cubicBezTo>
                    <a:cubicBezTo>
                      <a:pt x="455" y="9556"/>
                      <a:pt x="450" y="9542"/>
                      <a:pt x="447" y="9531"/>
                    </a:cubicBezTo>
                    <a:cubicBezTo>
                      <a:pt x="443" y="9520"/>
                      <a:pt x="441" y="9516"/>
                      <a:pt x="441" y="9511"/>
                    </a:cubicBezTo>
                    <a:cubicBezTo>
                      <a:pt x="441" y="9511"/>
                      <a:pt x="441" y="9511"/>
                      <a:pt x="441" y="9511"/>
                    </a:cubicBezTo>
                    <a:cubicBezTo>
                      <a:pt x="441" y="9510"/>
                      <a:pt x="441" y="9510"/>
                      <a:pt x="441" y="9510"/>
                    </a:cubicBezTo>
                    <a:cubicBezTo>
                      <a:pt x="441" y="9508"/>
                      <a:pt x="441" y="9508"/>
                      <a:pt x="441" y="9508"/>
                    </a:cubicBezTo>
                    <a:cubicBezTo>
                      <a:pt x="442" y="9505"/>
                      <a:pt x="482" y="9385"/>
                      <a:pt x="499" y="9333"/>
                    </a:cubicBezTo>
                    <a:cubicBezTo>
                      <a:pt x="456" y="9318"/>
                      <a:pt x="385" y="9289"/>
                      <a:pt x="347" y="9290"/>
                    </a:cubicBezTo>
                    <a:cubicBezTo>
                      <a:pt x="346" y="9290"/>
                      <a:pt x="345" y="9290"/>
                      <a:pt x="344" y="9290"/>
                    </a:cubicBezTo>
                    <a:cubicBezTo>
                      <a:pt x="298" y="9292"/>
                      <a:pt x="281" y="9305"/>
                      <a:pt x="249" y="9317"/>
                    </a:cubicBezTo>
                    <a:cubicBezTo>
                      <a:pt x="240" y="9320"/>
                      <a:pt x="201" y="9337"/>
                      <a:pt x="168" y="9352"/>
                    </a:cubicBezTo>
                    <a:cubicBezTo>
                      <a:pt x="154" y="9359"/>
                      <a:pt x="141" y="9365"/>
                      <a:pt x="130" y="9370"/>
                    </a:cubicBezTo>
                    <a:lnTo>
                      <a:pt x="429" y="9921"/>
                    </a:lnTo>
                    <a:close/>
                    <a:moveTo>
                      <a:pt x="471" y="10086"/>
                    </a:moveTo>
                    <a:cubicBezTo>
                      <a:pt x="470" y="10085"/>
                      <a:pt x="470" y="10084"/>
                      <a:pt x="469" y="10083"/>
                    </a:cubicBezTo>
                    <a:cubicBezTo>
                      <a:pt x="468" y="10083"/>
                      <a:pt x="468" y="10082"/>
                      <a:pt x="467" y="10082"/>
                    </a:cubicBezTo>
                    <a:cubicBezTo>
                      <a:pt x="467" y="10081"/>
                      <a:pt x="467" y="10081"/>
                      <a:pt x="466" y="10079"/>
                    </a:cubicBezTo>
                    <a:cubicBezTo>
                      <a:pt x="466" y="10079"/>
                      <a:pt x="465" y="10078"/>
                      <a:pt x="465" y="10077"/>
                    </a:cubicBezTo>
                    <a:cubicBezTo>
                      <a:pt x="461" y="10080"/>
                      <a:pt x="458" y="10082"/>
                      <a:pt x="455" y="10084"/>
                    </a:cubicBezTo>
                    <a:cubicBezTo>
                      <a:pt x="463" y="10086"/>
                      <a:pt x="469" y="10088"/>
                      <a:pt x="474" y="10089"/>
                    </a:cubicBezTo>
                    <a:cubicBezTo>
                      <a:pt x="473" y="10088"/>
                      <a:pt x="472" y="10087"/>
                      <a:pt x="471" y="10086"/>
                    </a:cubicBezTo>
                    <a:close/>
                    <a:moveTo>
                      <a:pt x="570" y="10201"/>
                    </a:moveTo>
                    <a:cubicBezTo>
                      <a:pt x="544" y="10171"/>
                      <a:pt x="522" y="10146"/>
                      <a:pt x="505" y="10126"/>
                    </a:cubicBezTo>
                    <a:cubicBezTo>
                      <a:pt x="498" y="10118"/>
                      <a:pt x="492" y="10111"/>
                      <a:pt x="487" y="10105"/>
                    </a:cubicBezTo>
                    <a:cubicBezTo>
                      <a:pt x="486" y="10105"/>
                      <a:pt x="485" y="10106"/>
                      <a:pt x="483" y="10107"/>
                    </a:cubicBezTo>
                    <a:cubicBezTo>
                      <a:pt x="480" y="10108"/>
                      <a:pt x="480" y="10108"/>
                      <a:pt x="480" y="10108"/>
                    </a:cubicBezTo>
                    <a:cubicBezTo>
                      <a:pt x="477" y="10107"/>
                      <a:pt x="477" y="10107"/>
                      <a:pt x="477" y="10107"/>
                    </a:cubicBezTo>
                    <a:cubicBezTo>
                      <a:pt x="473" y="10106"/>
                      <a:pt x="459" y="10102"/>
                      <a:pt x="439" y="10097"/>
                    </a:cubicBezTo>
                    <a:cubicBezTo>
                      <a:pt x="437" y="10099"/>
                      <a:pt x="435" y="10100"/>
                      <a:pt x="434" y="10102"/>
                    </a:cubicBezTo>
                    <a:cubicBezTo>
                      <a:pt x="425" y="10111"/>
                      <a:pt x="342" y="10201"/>
                      <a:pt x="238" y="10312"/>
                    </a:cubicBezTo>
                    <a:cubicBezTo>
                      <a:pt x="260" y="10310"/>
                      <a:pt x="281" y="10307"/>
                      <a:pt x="300" y="10304"/>
                    </a:cubicBezTo>
                    <a:cubicBezTo>
                      <a:pt x="386" y="10289"/>
                      <a:pt x="386" y="10289"/>
                      <a:pt x="386" y="10289"/>
                    </a:cubicBezTo>
                    <a:cubicBezTo>
                      <a:pt x="387" y="10289"/>
                      <a:pt x="387" y="10289"/>
                      <a:pt x="387" y="10289"/>
                    </a:cubicBezTo>
                    <a:cubicBezTo>
                      <a:pt x="390" y="10289"/>
                      <a:pt x="413" y="10283"/>
                      <a:pt x="432" y="10277"/>
                    </a:cubicBezTo>
                    <a:cubicBezTo>
                      <a:pt x="449" y="10272"/>
                      <a:pt x="464" y="10267"/>
                      <a:pt x="469" y="10266"/>
                    </a:cubicBezTo>
                    <a:cubicBezTo>
                      <a:pt x="505" y="10242"/>
                      <a:pt x="534" y="10223"/>
                      <a:pt x="570" y="10201"/>
                    </a:cubicBezTo>
                    <a:close/>
                    <a:moveTo>
                      <a:pt x="2083" y="9378"/>
                    </a:moveTo>
                    <a:cubicBezTo>
                      <a:pt x="2105" y="9357"/>
                      <a:pt x="2105" y="9357"/>
                      <a:pt x="2105" y="9357"/>
                    </a:cubicBezTo>
                    <a:cubicBezTo>
                      <a:pt x="2106" y="9357"/>
                      <a:pt x="2106" y="9357"/>
                      <a:pt x="2106" y="9357"/>
                    </a:cubicBezTo>
                    <a:cubicBezTo>
                      <a:pt x="2139" y="9338"/>
                      <a:pt x="2173" y="9320"/>
                      <a:pt x="2207" y="9302"/>
                    </a:cubicBezTo>
                    <a:cubicBezTo>
                      <a:pt x="2207" y="9300"/>
                      <a:pt x="2207" y="9299"/>
                      <a:pt x="2207" y="9299"/>
                    </a:cubicBezTo>
                    <a:cubicBezTo>
                      <a:pt x="2211" y="9300"/>
                      <a:pt x="2211" y="9300"/>
                      <a:pt x="2211" y="9300"/>
                    </a:cubicBezTo>
                    <a:cubicBezTo>
                      <a:pt x="2277" y="9264"/>
                      <a:pt x="2343" y="9229"/>
                      <a:pt x="2409" y="9194"/>
                    </a:cubicBezTo>
                    <a:cubicBezTo>
                      <a:pt x="2404" y="9182"/>
                      <a:pt x="2404" y="9182"/>
                      <a:pt x="2404" y="9182"/>
                    </a:cubicBezTo>
                    <a:cubicBezTo>
                      <a:pt x="2417" y="9177"/>
                      <a:pt x="2417" y="9177"/>
                      <a:pt x="2417" y="9177"/>
                    </a:cubicBezTo>
                    <a:cubicBezTo>
                      <a:pt x="2421" y="9187"/>
                      <a:pt x="2421" y="9187"/>
                      <a:pt x="2421" y="9187"/>
                    </a:cubicBezTo>
                    <a:cubicBezTo>
                      <a:pt x="2492" y="9149"/>
                      <a:pt x="2563" y="9111"/>
                      <a:pt x="2632" y="9074"/>
                    </a:cubicBezTo>
                    <a:cubicBezTo>
                      <a:pt x="2624" y="9063"/>
                      <a:pt x="2624" y="9063"/>
                      <a:pt x="2624" y="9063"/>
                    </a:cubicBezTo>
                    <a:cubicBezTo>
                      <a:pt x="2635" y="9054"/>
                      <a:pt x="2635" y="9054"/>
                      <a:pt x="2635" y="9054"/>
                    </a:cubicBezTo>
                    <a:cubicBezTo>
                      <a:pt x="2645" y="9067"/>
                      <a:pt x="2645" y="9067"/>
                      <a:pt x="2645" y="9067"/>
                    </a:cubicBezTo>
                    <a:cubicBezTo>
                      <a:pt x="2793" y="8988"/>
                      <a:pt x="2937" y="8911"/>
                      <a:pt x="3071" y="8840"/>
                    </a:cubicBezTo>
                    <a:cubicBezTo>
                      <a:pt x="3070" y="8838"/>
                      <a:pt x="3070" y="8838"/>
                      <a:pt x="3070" y="8838"/>
                    </a:cubicBezTo>
                    <a:cubicBezTo>
                      <a:pt x="3083" y="8832"/>
                      <a:pt x="3083" y="8832"/>
                      <a:pt x="3083" y="8832"/>
                    </a:cubicBezTo>
                    <a:cubicBezTo>
                      <a:pt x="3084" y="8834"/>
                      <a:pt x="3084" y="8834"/>
                      <a:pt x="3084" y="8834"/>
                    </a:cubicBezTo>
                    <a:cubicBezTo>
                      <a:pt x="3407" y="8662"/>
                      <a:pt x="3670" y="8524"/>
                      <a:pt x="3797" y="8460"/>
                    </a:cubicBezTo>
                    <a:cubicBezTo>
                      <a:pt x="3750" y="8346"/>
                      <a:pt x="3750" y="8346"/>
                      <a:pt x="3750" y="8346"/>
                    </a:cubicBezTo>
                    <a:cubicBezTo>
                      <a:pt x="3539" y="8455"/>
                      <a:pt x="2906" y="8805"/>
                      <a:pt x="2275" y="9145"/>
                    </a:cubicBezTo>
                    <a:cubicBezTo>
                      <a:pt x="1446" y="9592"/>
                      <a:pt x="609" y="10035"/>
                      <a:pt x="608" y="10035"/>
                    </a:cubicBezTo>
                    <a:cubicBezTo>
                      <a:pt x="608" y="10036"/>
                      <a:pt x="608" y="10036"/>
                      <a:pt x="608" y="10036"/>
                    </a:cubicBezTo>
                    <a:cubicBezTo>
                      <a:pt x="607" y="10036"/>
                      <a:pt x="607" y="10036"/>
                      <a:pt x="607" y="10036"/>
                    </a:cubicBezTo>
                    <a:cubicBezTo>
                      <a:pt x="600" y="10040"/>
                      <a:pt x="599" y="10041"/>
                      <a:pt x="548" y="10070"/>
                    </a:cubicBezTo>
                    <a:cubicBezTo>
                      <a:pt x="566" y="10092"/>
                      <a:pt x="595" y="10125"/>
                      <a:pt x="630" y="10165"/>
                    </a:cubicBezTo>
                    <a:cubicBezTo>
                      <a:pt x="650" y="10153"/>
                      <a:pt x="664" y="10145"/>
                      <a:pt x="668" y="10143"/>
                    </a:cubicBezTo>
                    <a:cubicBezTo>
                      <a:pt x="682" y="10135"/>
                      <a:pt x="852" y="10043"/>
                      <a:pt x="1106" y="9905"/>
                    </a:cubicBezTo>
                    <a:cubicBezTo>
                      <a:pt x="1142" y="9886"/>
                      <a:pt x="1181" y="9865"/>
                      <a:pt x="1220" y="9844"/>
                    </a:cubicBezTo>
                    <a:cubicBezTo>
                      <a:pt x="1219" y="9844"/>
                      <a:pt x="1219" y="9843"/>
                      <a:pt x="1219" y="9843"/>
                    </a:cubicBezTo>
                    <a:cubicBezTo>
                      <a:pt x="1218" y="9842"/>
                      <a:pt x="1218" y="9842"/>
                      <a:pt x="1217" y="9841"/>
                    </a:cubicBezTo>
                    <a:cubicBezTo>
                      <a:pt x="1217" y="9840"/>
                      <a:pt x="1216" y="9842"/>
                      <a:pt x="1215" y="9836"/>
                    </a:cubicBezTo>
                    <a:cubicBezTo>
                      <a:pt x="1215" y="9833"/>
                      <a:pt x="1217" y="9829"/>
                      <a:pt x="1219" y="9828"/>
                    </a:cubicBezTo>
                    <a:cubicBezTo>
                      <a:pt x="1220" y="9828"/>
                      <a:pt x="1221" y="9827"/>
                      <a:pt x="1222" y="9827"/>
                    </a:cubicBezTo>
                    <a:cubicBezTo>
                      <a:pt x="1223" y="9827"/>
                      <a:pt x="1223" y="9827"/>
                      <a:pt x="1223" y="9827"/>
                    </a:cubicBezTo>
                    <a:cubicBezTo>
                      <a:pt x="1223" y="9827"/>
                      <a:pt x="1223" y="9827"/>
                      <a:pt x="1223" y="9827"/>
                    </a:cubicBezTo>
                    <a:cubicBezTo>
                      <a:pt x="1223" y="9827"/>
                      <a:pt x="1223" y="9827"/>
                      <a:pt x="1223" y="9827"/>
                    </a:cubicBezTo>
                    <a:cubicBezTo>
                      <a:pt x="1223" y="9827"/>
                      <a:pt x="1223" y="9827"/>
                      <a:pt x="1223" y="9827"/>
                    </a:cubicBezTo>
                    <a:cubicBezTo>
                      <a:pt x="1223" y="9827"/>
                      <a:pt x="1223" y="9827"/>
                      <a:pt x="1223" y="9827"/>
                    </a:cubicBezTo>
                    <a:cubicBezTo>
                      <a:pt x="1224" y="9827"/>
                      <a:pt x="1225" y="9827"/>
                      <a:pt x="1226" y="9828"/>
                    </a:cubicBezTo>
                    <a:cubicBezTo>
                      <a:pt x="1227" y="9828"/>
                      <a:pt x="1228" y="9828"/>
                      <a:pt x="1228" y="9829"/>
                    </a:cubicBezTo>
                    <a:cubicBezTo>
                      <a:pt x="1229" y="9829"/>
                      <a:pt x="1229" y="9829"/>
                      <a:pt x="1229" y="9830"/>
                    </a:cubicBezTo>
                    <a:cubicBezTo>
                      <a:pt x="1229" y="9830"/>
                      <a:pt x="1230" y="9830"/>
                      <a:pt x="1230" y="9831"/>
                    </a:cubicBezTo>
                    <a:cubicBezTo>
                      <a:pt x="1230" y="9831"/>
                      <a:pt x="1230" y="9831"/>
                      <a:pt x="1230" y="9832"/>
                    </a:cubicBezTo>
                    <a:cubicBezTo>
                      <a:pt x="1231" y="9833"/>
                      <a:pt x="1233" y="9834"/>
                      <a:pt x="1235" y="9836"/>
                    </a:cubicBezTo>
                    <a:cubicBezTo>
                      <a:pt x="1478" y="9704"/>
                      <a:pt x="1770" y="9547"/>
                      <a:pt x="2083" y="9378"/>
                    </a:cubicBezTo>
                    <a:close/>
                    <a:moveTo>
                      <a:pt x="1622" y="10148"/>
                    </a:moveTo>
                    <a:cubicBezTo>
                      <a:pt x="2005" y="9986"/>
                      <a:pt x="2005" y="9986"/>
                      <a:pt x="2005" y="9986"/>
                    </a:cubicBezTo>
                    <a:cubicBezTo>
                      <a:pt x="2016" y="9999"/>
                      <a:pt x="2016" y="9999"/>
                      <a:pt x="2016" y="9999"/>
                    </a:cubicBezTo>
                    <a:cubicBezTo>
                      <a:pt x="2016" y="9999"/>
                      <a:pt x="2020" y="10003"/>
                      <a:pt x="2027" y="10011"/>
                    </a:cubicBezTo>
                    <a:cubicBezTo>
                      <a:pt x="2044" y="10029"/>
                      <a:pt x="2081" y="10064"/>
                      <a:pt x="2122" y="10089"/>
                    </a:cubicBezTo>
                    <a:cubicBezTo>
                      <a:pt x="2129" y="10043"/>
                      <a:pt x="2149" y="9862"/>
                      <a:pt x="2167" y="9686"/>
                    </a:cubicBezTo>
                    <a:cubicBezTo>
                      <a:pt x="2183" y="9530"/>
                      <a:pt x="2199" y="9378"/>
                      <a:pt x="2205" y="9322"/>
                    </a:cubicBezTo>
                    <a:cubicBezTo>
                      <a:pt x="2175" y="9338"/>
                      <a:pt x="2145" y="9354"/>
                      <a:pt x="2115" y="9370"/>
                    </a:cubicBezTo>
                    <a:cubicBezTo>
                      <a:pt x="2093" y="9391"/>
                      <a:pt x="2093" y="9391"/>
                      <a:pt x="2093" y="9391"/>
                    </a:cubicBezTo>
                    <a:cubicBezTo>
                      <a:pt x="2092" y="9392"/>
                      <a:pt x="2092" y="9392"/>
                      <a:pt x="2092" y="9392"/>
                    </a:cubicBezTo>
                    <a:cubicBezTo>
                      <a:pt x="1780" y="9560"/>
                      <a:pt x="1490" y="9716"/>
                      <a:pt x="1248" y="9847"/>
                    </a:cubicBezTo>
                    <a:cubicBezTo>
                      <a:pt x="1261" y="9859"/>
                      <a:pt x="1280" y="9875"/>
                      <a:pt x="1298" y="9890"/>
                    </a:cubicBezTo>
                    <a:cubicBezTo>
                      <a:pt x="1323" y="9912"/>
                      <a:pt x="1348" y="9932"/>
                      <a:pt x="1357" y="9940"/>
                    </a:cubicBezTo>
                    <a:cubicBezTo>
                      <a:pt x="1365" y="9930"/>
                      <a:pt x="1365" y="9930"/>
                      <a:pt x="1365" y="9930"/>
                    </a:cubicBezTo>
                    <a:lnTo>
                      <a:pt x="1622" y="10148"/>
                    </a:lnTo>
                    <a:close/>
                    <a:moveTo>
                      <a:pt x="2121" y="10503"/>
                    </a:moveTo>
                    <a:cubicBezTo>
                      <a:pt x="2117" y="10502"/>
                      <a:pt x="2113" y="10501"/>
                      <a:pt x="2107" y="10501"/>
                    </a:cubicBezTo>
                    <a:cubicBezTo>
                      <a:pt x="2078" y="10501"/>
                      <a:pt x="2027" y="10525"/>
                      <a:pt x="1977" y="10581"/>
                    </a:cubicBezTo>
                    <a:cubicBezTo>
                      <a:pt x="1916" y="10650"/>
                      <a:pt x="1856" y="10692"/>
                      <a:pt x="1805" y="10712"/>
                    </a:cubicBezTo>
                    <a:cubicBezTo>
                      <a:pt x="1780" y="10722"/>
                      <a:pt x="1744" y="10742"/>
                      <a:pt x="1714" y="10760"/>
                    </a:cubicBezTo>
                    <a:cubicBezTo>
                      <a:pt x="1699" y="10768"/>
                      <a:pt x="1686" y="10777"/>
                      <a:pt x="1676" y="10784"/>
                    </a:cubicBezTo>
                    <a:cubicBezTo>
                      <a:pt x="1671" y="10788"/>
                      <a:pt x="1668" y="10791"/>
                      <a:pt x="1665" y="10793"/>
                    </a:cubicBezTo>
                    <a:cubicBezTo>
                      <a:pt x="1664" y="10794"/>
                      <a:pt x="1664" y="10795"/>
                      <a:pt x="1663" y="10795"/>
                    </a:cubicBezTo>
                    <a:cubicBezTo>
                      <a:pt x="1665" y="10796"/>
                      <a:pt x="1667" y="10796"/>
                      <a:pt x="1671" y="10796"/>
                    </a:cubicBezTo>
                    <a:cubicBezTo>
                      <a:pt x="1689" y="10796"/>
                      <a:pt x="1725" y="10787"/>
                      <a:pt x="1753" y="10769"/>
                    </a:cubicBezTo>
                    <a:cubicBezTo>
                      <a:pt x="1795" y="10743"/>
                      <a:pt x="1853" y="10720"/>
                      <a:pt x="1890" y="10706"/>
                    </a:cubicBezTo>
                    <a:cubicBezTo>
                      <a:pt x="1928" y="10692"/>
                      <a:pt x="1958" y="10691"/>
                      <a:pt x="1980" y="10652"/>
                    </a:cubicBezTo>
                    <a:cubicBezTo>
                      <a:pt x="2003" y="10612"/>
                      <a:pt x="2019" y="10569"/>
                      <a:pt x="2071" y="10569"/>
                    </a:cubicBezTo>
                    <a:cubicBezTo>
                      <a:pt x="2102" y="10569"/>
                      <a:pt x="2129" y="10576"/>
                      <a:pt x="2146" y="10576"/>
                    </a:cubicBezTo>
                    <a:cubicBezTo>
                      <a:pt x="2157" y="10576"/>
                      <a:pt x="2162" y="10574"/>
                      <a:pt x="2164" y="10568"/>
                    </a:cubicBezTo>
                    <a:cubicBezTo>
                      <a:pt x="2165" y="10565"/>
                      <a:pt x="2166" y="10561"/>
                      <a:pt x="2166" y="10558"/>
                    </a:cubicBezTo>
                    <a:cubicBezTo>
                      <a:pt x="2166" y="10539"/>
                      <a:pt x="2150" y="10515"/>
                      <a:pt x="2121" y="10503"/>
                    </a:cubicBezTo>
                    <a:cubicBezTo>
                      <a:pt x="2123" y="10500"/>
                      <a:pt x="2123" y="10500"/>
                      <a:pt x="2123" y="10500"/>
                    </a:cubicBezTo>
                    <a:lnTo>
                      <a:pt x="2121" y="10503"/>
                    </a:lnTo>
                    <a:close/>
                    <a:moveTo>
                      <a:pt x="2219" y="10553"/>
                    </a:moveTo>
                    <a:cubicBezTo>
                      <a:pt x="2268" y="10313"/>
                      <a:pt x="2268" y="10313"/>
                      <a:pt x="2268" y="10313"/>
                    </a:cubicBezTo>
                    <a:cubicBezTo>
                      <a:pt x="1944" y="10424"/>
                      <a:pt x="1944" y="10424"/>
                      <a:pt x="1944" y="10424"/>
                    </a:cubicBezTo>
                    <a:cubicBezTo>
                      <a:pt x="1766" y="10585"/>
                      <a:pt x="1766" y="10585"/>
                      <a:pt x="1766" y="10585"/>
                    </a:cubicBezTo>
                    <a:cubicBezTo>
                      <a:pt x="1590" y="10470"/>
                      <a:pt x="1590" y="10470"/>
                      <a:pt x="1590" y="10470"/>
                    </a:cubicBezTo>
                    <a:cubicBezTo>
                      <a:pt x="1259" y="10651"/>
                      <a:pt x="1259" y="10651"/>
                      <a:pt x="1259" y="10651"/>
                    </a:cubicBezTo>
                    <a:cubicBezTo>
                      <a:pt x="1272" y="10670"/>
                      <a:pt x="1288" y="10690"/>
                      <a:pt x="1309" y="10715"/>
                    </a:cubicBezTo>
                    <a:cubicBezTo>
                      <a:pt x="1327" y="10736"/>
                      <a:pt x="1356" y="10768"/>
                      <a:pt x="1385" y="10801"/>
                    </a:cubicBezTo>
                    <a:cubicBezTo>
                      <a:pt x="1421" y="10785"/>
                      <a:pt x="1451" y="10771"/>
                      <a:pt x="1466" y="10762"/>
                    </a:cubicBezTo>
                    <a:cubicBezTo>
                      <a:pt x="1499" y="10744"/>
                      <a:pt x="1557" y="10734"/>
                      <a:pt x="1615" y="10725"/>
                    </a:cubicBezTo>
                    <a:cubicBezTo>
                      <a:pt x="1672" y="10716"/>
                      <a:pt x="1729" y="10708"/>
                      <a:pt x="1750" y="10698"/>
                    </a:cubicBezTo>
                    <a:cubicBezTo>
                      <a:pt x="1795" y="10677"/>
                      <a:pt x="1877" y="10615"/>
                      <a:pt x="1918" y="10573"/>
                    </a:cubicBezTo>
                    <a:cubicBezTo>
                      <a:pt x="1951" y="10540"/>
                      <a:pt x="2021" y="10470"/>
                      <a:pt x="2110" y="10470"/>
                    </a:cubicBezTo>
                    <a:cubicBezTo>
                      <a:pt x="2139" y="10470"/>
                      <a:pt x="2170" y="10478"/>
                      <a:pt x="2201" y="10498"/>
                    </a:cubicBezTo>
                    <a:cubicBezTo>
                      <a:pt x="2206" y="10501"/>
                      <a:pt x="2206" y="10501"/>
                      <a:pt x="2206" y="10501"/>
                    </a:cubicBezTo>
                    <a:cubicBezTo>
                      <a:pt x="2207" y="10506"/>
                      <a:pt x="2207" y="10506"/>
                      <a:pt x="2207" y="10506"/>
                    </a:cubicBezTo>
                    <a:cubicBezTo>
                      <a:pt x="2209" y="10525"/>
                      <a:pt x="2214" y="10540"/>
                      <a:pt x="2219" y="10553"/>
                    </a:cubicBezTo>
                    <a:close/>
                    <a:moveTo>
                      <a:pt x="2567" y="10741"/>
                    </a:moveTo>
                    <a:cubicBezTo>
                      <a:pt x="2565" y="10726"/>
                      <a:pt x="2558" y="10699"/>
                      <a:pt x="2530" y="10684"/>
                    </a:cubicBezTo>
                    <a:cubicBezTo>
                      <a:pt x="2487" y="10661"/>
                      <a:pt x="2368" y="10652"/>
                      <a:pt x="2336" y="10649"/>
                    </a:cubicBezTo>
                    <a:cubicBezTo>
                      <a:pt x="2320" y="10648"/>
                      <a:pt x="2284" y="10645"/>
                      <a:pt x="2251" y="10625"/>
                    </a:cubicBezTo>
                    <a:cubicBezTo>
                      <a:pt x="2231" y="10725"/>
                      <a:pt x="2231" y="10725"/>
                      <a:pt x="2231" y="10725"/>
                    </a:cubicBezTo>
                    <a:cubicBezTo>
                      <a:pt x="2297" y="10725"/>
                      <a:pt x="2372" y="10728"/>
                      <a:pt x="2459" y="10733"/>
                    </a:cubicBezTo>
                    <a:cubicBezTo>
                      <a:pt x="2497" y="10735"/>
                      <a:pt x="2533" y="10738"/>
                      <a:pt x="2567" y="10741"/>
                    </a:cubicBezTo>
                    <a:close/>
                    <a:moveTo>
                      <a:pt x="2870" y="10791"/>
                    </a:moveTo>
                    <a:cubicBezTo>
                      <a:pt x="2811" y="10510"/>
                      <a:pt x="2811" y="10510"/>
                      <a:pt x="2811" y="10510"/>
                    </a:cubicBezTo>
                    <a:cubicBezTo>
                      <a:pt x="2621" y="10559"/>
                      <a:pt x="2621" y="10559"/>
                      <a:pt x="2621" y="10559"/>
                    </a:cubicBezTo>
                    <a:cubicBezTo>
                      <a:pt x="2782" y="10559"/>
                      <a:pt x="2782" y="10559"/>
                      <a:pt x="2782" y="10559"/>
                    </a:cubicBezTo>
                    <a:cubicBezTo>
                      <a:pt x="2784" y="10565"/>
                      <a:pt x="2784" y="10565"/>
                      <a:pt x="2784" y="10565"/>
                    </a:cubicBezTo>
                    <a:cubicBezTo>
                      <a:pt x="2827" y="10744"/>
                      <a:pt x="2827" y="10744"/>
                      <a:pt x="2827" y="10744"/>
                    </a:cubicBezTo>
                    <a:cubicBezTo>
                      <a:pt x="2749" y="10732"/>
                      <a:pt x="2749" y="10732"/>
                      <a:pt x="2749" y="10732"/>
                    </a:cubicBezTo>
                    <a:cubicBezTo>
                      <a:pt x="2716" y="10670"/>
                      <a:pt x="2716" y="10670"/>
                      <a:pt x="2716" y="10670"/>
                    </a:cubicBezTo>
                    <a:cubicBezTo>
                      <a:pt x="2560" y="10575"/>
                      <a:pt x="2560" y="10575"/>
                      <a:pt x="2560" y="10575"/>
                    </a:cubicBezTo>
                    <a:cubicBezTo>
                      <a:pt x="2494" y="10593"/>
                      <a:pt x="2494" y="10593"/>
                      <a:pt x="2494" y="10593"/>
                    </a:cubicBezTo>
                    <a:cubicBezTo>
                      <a:pt x="2265" y="10552"/>
                      <a:pt x="2265" y="10552"/>
                      <a:pt x="2265" y="10552"/>
                    </a:cubicBezTo>
                    <a:cubicBezTo>
                      <a:pt x="2256" y="10599"/>
                      <a:pt x="2256" y="10599"/>
                      <a:pt x="2256" y="10599"/>
                    </a:cubicBezTo>
                    <a:cubicBezTo>
                      <a:pt x="2285" y="10620"/>
                      <a:pt x="2320" y="10622"/>
                      <a:pt x="2338" y="10624"/>
                    </a:cubicBezTo>
                    <a:cubicBezTo>
                      <a:pt x="2370" y="10628"/>
                      <a:pt x="2488" y="10634"/>
                      <a:pt x="2541" y="10662"/>
                    </a:cubicBezTo>
                    <a:cubicBezTo>
                      <a:pt x="2583" y="10685"/>
                      <a:pt x="2590" y="10726"/>
                      <a:pt x="2592" y="10744"/>
                    </a:cubicBezTo>
                    <a:cubicBezTo>
                      <a:pt x="2735" y="10760"/>
                      <a:pt x="2839" y="10783"/>
                      <a:pt x="2870" y="10791"/>
                    </a:cubicBezTo>
                    <a:close/>
                    <a:moveTo>
                      <a:pt x="2727" y="10659"/>
                    </a:moveTo>
                    <a:cubicBezTo>
                      <a:pt x="2758" y="10719"/>
                      <a:pt x="2758" y="10719"/>
                      <a:pt x="2758" y="10719"/>
                    </a:cubicBezTo>
                    <a:cubicBezTo>
                      <a:pt x="2808" y="10726"/>
                      <a:pt x="2808" y="10726"/>
                      <a:pt x="2808" y="10726"/>
                    </a:cubicBezTo>
                    <a:cubicBezTo>
                      <a:pt x="2771" y="10574"/>
                      <a:pt x="2771" y="10574"/>
                      <a:pt x="2771" y="10574"/>
                    </a:cubicBezTo>
                    <a:cubicBezTo>
                      <a:pt x="2587" y="10574"/>
                      <a:pt x="2587" y="10574"/>
                      <a:pt x="2587" y="10574"/>
                    </a:cubicBezTo>
                    <a:lnTo>
                      <a:pt x="2727" y="10659"/>
                    </a:lnTo>
                    <a:close/>
                    <a:moveTo>
                      <a:pt x="4046" y="10350"/>
                    </a:moveTo>
                    <a:cubicBezTo>
                      <a:pt x="3807" y="10195"/>
                      <a:pt x="3807" y="10195"/>
                      <a:pt x="3807" y="10195"/>
                    </a:cubicBezTo>
                    <a:cubicBezTo>
                      <a:pt x="3707" y="9913"/>
                      <a:pt x="3707" y="9913"/>
                      <a:pt x="3707" y="9913"/>
                    </a:cubicBezTo>
                    <a:cubicBezTo>
                      <a:pt x="3706" y="9913"/>
                      <a:pt x="3705" y="9914"/>
                      <a:pt x="3705" y="9914"/>
                    </a:cubicBezTo>
                    <a:cubicBezTo>
                      <a:pt x="3561" y="10148"/>
                      <a:pt x="3561" y="10148"/>
                      <a:pt x="3561" y="10148"/>
                    </a:cubicBezTo>
                    <a:cubicBezTo>
                      <a:pt x="3559" y="10149"/>
                      <a:pt x="3559" y="10149"/>
                      <a:pt x="3559" y="10149"/>
                    </a:cubicBezTo>
                    <a:cubicBezTo>
                      <a:pt x="3559" y="10149"/>
                      <a:pt x="3459" y="10190"/>
                      <a:pt x="3359" y="10230"/>
                    </a:cubicBezTo>
                    <a:cubicBezTo>
                      <a:pt x="3309" y="10251"/>
                      <a:pt x="3259" y="10271"/>
                      <a:pt x="3221" y="10286"/>
                    </a:cubicBezTo>
                    <a:cubicBezTo>
                      <a:pt x="3202" y="10294"/>
                      <a:pt x="3186" y="10300"/>
                      <a:pt x="3174" y="10304"/>
                    </a:cubicBezTo>
                    <a:cubicBezTo>
                      <a:pt x="3168" y="10307"/>
                      <a:pt x="3164" y="10308"/>
                      <a:pt x="3160" y="10309"/>
                    </a:cubicBezTo>
                    <a:cubicBezTo>
                      <a:pt x="3157" y="10311"/>
                      <a:pt x="3157" y="10311"/>
                      <a:pt x="3154" y="10311"/>
                    </a:cubicBezTo>
                    <a:cubicBezTo>
                      <a:pt x="3148" y="10314"/>
                      <a:pt x="3062" y="10363"/>
                      <a:pt x="2980" y="10410"/>
                    </a:cubicBezTo>
                    <a:cubicBezTo>
                      <a:pt x="2914" y="10449"/>
                      <a:pt x="2850" y="10486"/>
                      <a:pt x="2826" y="10500"/>
                    </a:cubicBezTo>
                    <a:cubicBezTo>
                      <a:pt x="2886" y="10786"/>
                      <a:pt x="2886" y="10786"/>
                      <a:pt x="2886" y="10786"/>
                    </a:cubicBezTo>
                    <a:cubicBezTo>
                      <a:pt x="2942" y="10738"/>
                      <a:pt x="2999" y="10702"/>
                      <a:pt x="3056" y="10677"/>
                    </a:cubicBezTo>
                    <a:cubicBezTo>
                      <a:pt x="3089" y="10662"/>
                      <a:pt x="3118" y="10651"/>
                      <a:pt x="3138" y="10644"/>
                    </a:cubicBezTo>
                    <a:cubicBezTo>
                      <a:pt x="3148" y="10640"/>
                      <a:pt x="3157" y="10637"/>
                      <a:pt x="3161" y="10635"/>
                    </a:cubicBezTo>
                    <a:cubicBezTo>
                      <a:pt x="3166" y="10630"/>
                      <a:pt x="3167" y="10632"/>
                      <a:pt x="3168" y="10630"/>
                    </a:cubicBezTo>
                    <a:cubicBezTo>
                      <a:pt x="3174" y="10627"/>
                      <a:pt x="3180" y="10625"/>
                      <a:pt x="3190" y="10622"/>
                    </a:cubicBezTo>
                    <a:cubicBezTo>
                      <a:pt x="3231" y="10607"/>
                      <a:pt x="3333" y="10572"/>
                      <a:pt x="3472" y="10527"/>
                    </a:cubicBezTo>
                    <a:cubicBezTo>
                      <a:pt x="3276" y="10268"/>
                      <a:pt x="3276" y="10268"/>
                      <a:pt x="3276" y="10268"/>
                    </a:cubicBezTo>
                    <a:cubicBezTo>
                      <a:pt x="3287" y="10260"/>
                      <a:pt x="3287" y="10260"/>
                      <a:pt x="3287" y="10260"/>
                    </a:cubicBezTo>
                    <a:cubicBezTo>
                      <a:pt x="3486" y="10523"/>
                      <a:pt x="3486" y="10523"/>
                      <a:pt x="3486" y="10523"/>
                    </a:cubicBezTo>
                    <a:cubicBezTo>
                      <a:pt x="3640" y="10473"/>
                      <a:pt x="3837" y="10412"/>
                      <a:pt x="4046" y="10350"/>
                    </a:cubicBezTo>
                    <a:close/>
                    <a:moveTo>
                      <a:pt x="4563" y="10205"/>
                    </a:moveTo>
                    <a:cubicBezTo>
                      <a:pt x="4263" y="9552"/>
                      <a:pt x="4263" y="9552"/>
                      <a:pt x="4263" y="9552"/>
                    </a:cubicBezTo>
                    <a:cubicBezTo>
                      <a:pt x="4222" y="9579"/>
                      <a:pt x="4104" y="9655"/>
                      <a:pt x="3988" y="9730"/>
                    </a:cubicBezTo>
                    <a:cubicBezTo>
                      <a:pt x="3873" y="9805"/>
                      <a:pt x="3759" y="9879"/>
                      <a:pt x="3719" y="9905"/>
                    </a:cubicBezTo>
                    <a:cubicBezTo>
                      <a:pt x="3818" y="10185"/>
                      <a:pt x="3818" y="10185"/>
                      <a:pt x="3818" y="10185"/>
                    </a:cubicBezTo>
                    <a:cubicBezTo>
                      <a:pt x="4062" y="10344"/>
                      <a:pt x="4062" y="10344"/>
                      <a:pt x="4062" y="10344"/>
                    </a:cubicBezTo>
                    <a:cubicBezTo>
                      <a:pt x="4061" y="10345"/>
                      <a:pt x="4061" y="10345"/>
                      <a:pt x="4061" y="10345"/>
                    </a:cubicBezTo>
                    <a:cubicBezTo>
                      <a:pt x="4227" y="10297"/>
                      <a:pt x="4399" y="10248"/>
                      <a:pt x="4563" y="10205"/>
                    </a:cubicBezTo>
                    <a:close/>
                    <a:moveTo>
                      <a:pt x="4417" y="10640"/>
                    </a:moveTo>
                    <a:cubicBezTo>
                      <a:pt x="4332" y="10336"/>
                      <a:pt x="4332" y="10336"/>
                      <a:pt x="4332" y="10336"/>
                    </a:cubicBezTo>
                    <a:cubicBezTo>
                      <a:pt x="4272" y="10353"/>
                      <a:pt x="4211" y="10370"/>
                      <a:pt x="4151" y="10388"/>
                    </a:cubicBezTo>
                    <a:cubicBezTo>
                      <a:pt x="4173" y="10452"/>
                      <a:pt x="4256" y="10664"/>
                      <a:pt x="4259" y="10672"/>
                    </a:cubicBezTo>
                    <a:cubicBezTo>
                      <a:pt x="4281" y="10663"/>
                      <a:pt x="4308" y="10652"/>
                      <a:pt x="4312" y="10651"/>
                    </a:cubicBezTo>
                    <a:cubicBezTo>
                      <a:pt x="4316" y="10650"/>
                      <a:pt x="4325" y="10649"/>
                      <a:pt x="4345" y="10647"/>
                    </a:cubicBezTo>
                    <a:cubicBezTo>
                      <a:pt x="4363" y="10645"/>
                      <a:pt x="4388" y="10643"/>
                      <a:pt x="4417" y="10640"/>
                    </a:cubicBezTo>
                    <a:close/>
                    <a:moveTo>
                      <a:pt x="4609" y="10623"/>
                    </a:moveTo>
                    <a:cubicBezTo>
                      <a:pt x="4521" y="10284"/>
                      <a:pt x="4521" y="10284"/>
                      <a:pt x="4521" y="10284"/>
                    </a:cubicBezTo>
                    <a:cubicBezTo>
                      <a:pt x="4463" y="10299"/>
                      <a:pt x="4405" y="10315"/>
                      <a:pt x="4346" y="10332"/>
                    </a:cubicBezTo>
                    <a:cubicBezTo>
                      <a:pt x="4432" y="10639"/>
                      <a:pt x="4432" y="10639"/>
                      <a:pt x="4432" y="10639"/>
                    </a:cubicBezTo>
                    <a:cubicBezTo>
                      <a:pt x="4482" y="10635"/>
                      <a:pt x="4544" y="10629"/>
                      <a:pt x="4609" y="10623"/>
                    </a:cubicBezTo>
                    <a:close/>
                    <a:moveTo>
                      <a:pt x="4800" y="10606"/>
                    </a:moveTo>
                    <a:cubicBezTo>
                      <a:pt x="4708" y="10235"/>
                      <a:pt x="4708" y="10235"/>
                      <a:pt x="4708" y="10235"/>
                    </a:cubicBezTo>
                    <a:cubicBezTo>
                      <a:pt x="4651" y="10249"/>
                      <a:pt x="4593" y="10264"/>
                      <a:pt x="4534" y="10280"/>
                    </a:cubicBezTo>
                    <a:cubicBezTo>
                      <a:pt x="4623" y="10622"/>
                      <a:pt x="4623" y="10622"/>
                      <a:pt x="4623" y="10622"/>
                    </a:cubicBezTo>
                    <a:cubicBezTo>
                      <a:pt x="4683" y="10617"/>
                      <a:pt x="4745" y="10611"/>
                      <a:pt x="4800" y="10606"/>
                    </a:cubicBezTo>
                    <a:close/>
                    <a:moveTo>
                      <a:pt x="4979" y="10591"/>
                    </a:moveTo>
                    <a:cubicBezTo>
                      <a:pt x="4957" y="10399"/>
                      <a:pt x="4938" y="10239"/>
                      <a:pt x="4932" y="10182"/>
                    </a:cubicBezTo>
                    <a:cubicBezTo>
                      <a:pt x="4903" y="10188"/>
                      <a:pt x="4874" y="10195"/>
                      <a:pt x="4846" y="10201"/>
                    </a:cubicBezTo>
                    <a:cubicBezTo>
                      <a:pt x="4806" y="10211"/>
                      <a:pt x="4764" y="10221"/>
                      <a:pt x="4721" y="10232"/>
                    </a:cubicBezTo>
                    <a:cubicBezTo>
                      <a:pt x="4814" y="10605"/>
                      <a:pt x="4814" y="10605"/>
                      <a:pt x="4814" y="10605"/>
                    </a:cubicBezTo>
                    <a:cubicBezTo>
                      <a:pt x="4888" y="10599"/>
                      <a:pt x="4949" y="10593"/>
                      <a:pt x="4979" y="10591"/>
                    </a:cubicBezTo>
                    <a:close/>
                    <a:moveTo>
                      <a:pt x="5157" y="10073"/>
                    </a:moveTo>
                    <a:cubicBezTo>
                      <a:pt x="5170" y="9687"/>
                      <a:pt x="5170" y="9687"/>
                      <a:pt x="5170" y="9687"/>
                    </a:cubicBezTo>
                    <a:cubicBezTo>
                      <a:pt x="5094" y="9688"/>
                      <a:pt x="5005" y="9690"/>
                      <a:pt x="4914" y="9692"/>
                    </a:cubicBezTo>
                    <a:cubicBezTo>
                      <a:pt x="4933" y="10115"/>
                      <a:pt x="4933" y="10115"/>
                      <a:pt x="4933" y="10115"/>
                    </a:cubicBezTo>
                    <a:cubicBezTo>
                      <a:pt x="5008" y="10099"/>
                      <a:pt x="5082" y="10086"/>
                      <a:pt x="5157" y="10073"/>
                    </a:cubicBezTo>
                    <a:close/>
                    <a:moveTo>
                      <a:pt x="5933" y="10288"/>
                    </a:moveTo>
                    <a:cubicBezTo>
                      <a:pt x="5889" y="10288"/>
                      <a:pt x="5784" y="10290"/>
                      <a:pt x="5679" y="10293"/>
                    </a:cubicBezTo>
                    <a:cubicBezTo>
                      <a:pt x="5610" y="10294"/>
                      <a:pt x="5540" y="10295"/>
                      <a:pt x="5488" y="10297"/>
                    </a:cubicBezTo>
                    <a:cubicBezTo>
                      <a:pt x="5461" y="10297"/>
                      <a:pt x="5439" y="10298"/>
                      <a:pt x="5423" y="10298"/>
                    </a:cubicBezTo>
                    <a:cubicBezTo>
                      <a:pt x="5416" y="10299"/>
                      <a:pt x="5409" y="10299"/>
                      <a:pt x="5405" y="10299"/>
                    </a:cubicBezTo>
                    <a:cubicBezTo>
                      <a:pt x="5403" y="10299"/>
                      <a:pt x="5401" y="10299"/>
                      <a:pt x="5400" y="10299"/>
                    </a:cubicBezTo>
                    <a:cubicBezTo>
                      <a:pt x="5399" y="10299"/>
                      <a:pt x="5399" y="10299"/>
                      <a:pt x="5398" y="10299"/>
                    </a:cubicBezTo>
                    <a:cubicBezTo>
                      <a:pt x="5398" y="10299"/>
                      <a:pt x="5398" y="10299"/>
                      <a:pt x="5398" y="10299"/>
                    </a:cubicBezTo>
                    <a:cubicBezTo>
                      <a:pt x="5386" y="10302"/>
                      <a:pt x="5104" y="10361"/>
                      <a:pt x="5020" y="10378"/>
                    </a:cubicBezTo>
                    <a:cubicBezTo>
                      <a:pt x="5029" y="10456"/>
                      <a:pt x="5040" y="10549"/>
                      <a:pt x="5052" y="10647"/>
                    </a:cubicBezTo>
                    <a:cubicBezTo>
                      <a:pt x="5394" y="10579"/>
                      <a:pt x="5394" y="10579"/>
                      <a:pt x="5394" y="10579"/>
                    </a:cubicBezTo>
                    <a:cubicBezTo>
                      <a:pt x="5395" y="10579"/>
                      <a:pt x="5395" y="10579"/>
                      <a:pt x="5395" y="10579"/>
                    </a:cubicBezTo>
                    <a:cubicBezTo>
                      <a:pt x="5395" y="10579"/>
                      <a:pt x="5735" y="10576"/>
                      <a:pt x="5873" y="10576"/>
                    </a:cubicBezTo>
                    <a:cubicBezTo>
                      <a:pt x="5889" y="10576"/>
                      <a:pt x="5901" y="10576"/>
                      <a:pt x="5911" y="10576"/>
                    </a:cubicBezTo>
                    <a:lnTo>
                      <a:pt x="5933" y="10288"/>
                    </a:lnTo>
                    <a:close/>
                    <a:moveTo>
                      <a:pt x="5951" y="10053"/>
                    </a:moveTo>
                    <a:cubicBezTo>
                      <a:pt x="5706" y="10068"/>
                      <a:pt x="5346" y="10100"/>
                      <a:pt x="4996" y="10169"/>
                    </a:cubicBezTo>
                    <a:cubicBezTo>
                      <a:pt x="5000" y="10200"/>
                      <a:pt x="5008" y="10270"/>
                      <a:pt x="5019" y="10365"/>
                    </a:cubicBezTo>
                    <a:cubicBezTo>
                      <a:pt x="5105" y="10346"/>
                      <a:pt x="5389" y="10287"/>
                      <a:pt x="5395" y="10286"/>
                    </a:cubicBezTo>
                    <a:cubicBezTo>
                      <a:pt x="5400" y="10285"/>
                      <a:pt x="5434" y="10284"/>
                      <a:pt x="5487" y="10283"/>
                    </a:cubicBezTo>
                    <a:cubicBezTo>
                      <a:pt x="5621" y="10280"/>
                      <a:pt x="5864" y="10275"/>
                      <a:pt x="5934" y="10274"/>
                    </a:cubicBezTo>
                    <a:lnTo>
                      <a:pt x="5951" y="10053"/>
                    </a:lnTo>
                    <a:close/>
                    <a:moveTo>
                      <a:pt x="6042" y="9767"/>
                    </a:moveTo>
                    <a:cubicBezTo>
                      <a:pt x="6030" y="9767"/>
                      <a:pt x="6002" y="9766"/>
                      <a:pt x="5965" y="9765"/>
                    </a:cubicBezTo>
                    <a:cubicBezTo>
                      <a:pt x="5901" y="9943"/>
                      <a:pt x="5901" y="9943"/>
                      <a:pt x="5901" y="9943"/>
                    </a:cubicBezTo>
                    <a:cubicBezTo>
                      <a:pt x="5759" y="9889"/>
                      <a:pt x="5759" y="9889"/>
                      <a:pt x="5759" y="9889"/>
                    </a:cubicBezTo>
                    <a:cubicBezTo>
                      <a:pt x="5761" y="9882"/>
                      <a:pt x="5761" y="9882"/>
                      <a:pt x="5761" y="9882"/>
                    </a:cubicBezTo>
                    <a:cubicBezTo>
                      <a:pt x="5806" y="9758"/>
                      <a:pt x="5806" y="9758"/>
                      <a:pt x="5806" y="9758"/>
                    </a:cubicBezTo>
                    <a:cubicBezTo>
                      <a:pt x="5742" y="9756"/>
                      <a:pt x="5690" y="9754"/>
                      <a:pt x="5688" y="9754"/>
                    </a:cubicBezTo>
                    <a:cubicBezTo>
                      <a:pt x="5688" y="9740"/>
                      <a:pt x="5688" y="9740"/>
                      <a:pt x="5688" y="9740"/>
                    </a:cubicBezTo>
                    <a:cubicBezTo>
                      <a:pt x="5691" y="9740"/>
                      <a:pt x="5745" y="9742"/>
                      <a:pt x="5810" y="9745"/>
                    </a:cubicBezTo>
                    <a:cubicBezTo>
                      <a:pt x="5858" y="9613"/>
                      <a:pt x="5858" y="9613"/>
                      <a:pt x="5858" y="9613"/>
                    </a:cubicBezTo>
                    <a:cubicBezTo>
                      <a:pt x="5702" y="9588"/>
                      <a:pt x="5702" y="9588"/>
                      <a:pt x="5702" y="9588"/>
                    </a:cubicBezTo>
                    <a:cubicBezTo>
                      <a:pt x="5685" y="9649"/>
                      <a:pt x="5685" y="9649"/>
                      <a:pt x="5685" y="9649"/>
                    </a:cubicBezTo>
                    <a:cubicBezTo>
                      <a:pt x="5691" y="10006"/>
                      <a:pt x="5691" y="10006"/>
                      <a:pt x="5691" y="10006"/>
                    </a:cubicBezTo>
                    <a:cubicBezTo>
                      <a:pt x="5792" y="9997"/>
                      <a:pt x="5885" y="9991"/>
                      <a:pt x="5964" y="9986"/>
                    </a:cubicBezTo>
                    <a:lnTo>
                      <a:pt x="6042" y="9767"/>
                    </a:lnTo>
                    <a:close/>
                    <a:moveTo>
                      <a:pt x="6252" y="9974"/>
                    </a:moveTo>
                    <a:cubicBezTo>
                      <a:pt x="6257" y="9961"/>
                      <a:pt x="6262" y="9945"/>
                      <a:pt x="6269" y="9926"/>
                    </a:cubicBezTo>
                    <a:cubicBezTo>
                      <a:pt x="6340" y="9714"/>
                      <a:pt x="6520" y="9185"/>
                      <a:pt x="6682" y="8708"/>
                    </a:cubicBezTo>
                    <a:cubicBezTo>
                      <a:pt x="6763" y="8470"/>
                      <a:pt x="6839" y="8244"/>
                      <a:pt x="6895" y="8079"/>
                    </a:cubicBezTo>
                    <a:cubicBezTo>
                      <a:pt x="6923" y="7996"/>
                      <a:pt x="6946" y="7927"/>
                      <a:pt x="6962" y="7880"/>
                    </a:cubicBezTo>
                    <a:cubicBezTo>
                      <a:pt x="6963" y="7876"/>
                      <a:pt x="6964" y="7873"/>
                      <a:pt x="6966" y="7870"/>
                    </a:cubicBezTo>
                    <a:cubicBezTo>
                      <a:pt x="6924" y="7882"/>
                      <a:pt x="6893" y="7902"/>
                      <a:pt x="6873" y="7920"/>
                    </a:cubicBezTo>
                    <a:cubicBezTo>
                      <a:pt x="6860" y="7931"/>
                      <a:pt x="6850" y="7942"/>
                      <a:pt x="6845" y="7949"/>
                    </a:cubicBezTo>
                    <a:cubicBezTo>
                      <a:pt x="6842" y="7952"/>
                      <a:pt x="6840" y="7955"/>
                      <a:pt x="6839" y="7956"/>
                    </a:cubicBezTo>
                    <a:cubicBezTo>
                      <a:pt x="6839" y="7956"/>
                      <a:pt x="6839" y="7956"/>
                      <a:pt x="6839" y="7957"/>
                    </a:cubicBezTo>
                    <a:cubicBezTo>
                      <a:pt x="6820" y="7992"/>
                      <a:pt x="6801" y="8030"/>
                      <a:pt x="6787" y="8060"/>
                    </a:cubicBezTo>
                    <a:cubicBezTo>
                      <a:pt x="6772" y="8090"/>
                      <a:pt x="6763" y="8111"/>
                      <a:pt x="6763" y="8111"/>
                    </a:cubicBezTo>
                    <a:cubicBezTo>
                      <a:pt x="6756" y="8127"/>
                      <a:pt x="6756" y="8127"/>
                      <a:pt x="6756" y="8127"/>
                    </a:cubicBezTo>
                    <a:cubicBezTo>
                      <a:pt x="6741" y="8139"/>
                      <a:pt x="6741" y="8139"/>
                      <a:pt x="6741" y="8139"/>
                    </a:cubicBezTo>
                    <a:cubicBezTo>
                      <a:pt x="6720" y="8156"/>
                      <a:pt x="6698" y="8163"/>
                      <a:pt x="6678" y="8167"/>
                    </a:cubicBezTo>
                    <a:cubicBezTo>
                      <a:pt x="6035" y="9982"/>
                      <a:pt x="6035" y="9982"/>
                      <a:pt x="6035" y="9982"/>
                    </a:cubicBezTo>
                    <a:cubicBezTo>
                      <a:pt x="6160" y="9976"/>
                      <a:pt x="6240" y="9975"/>
                      <a:pt x="6252" y="9974"/>
                    </a:cubicBezTo>
                    <a:close/>
                    <a:moveTo>
                      <a:pt x="6754" y="10328"/>
                    </a:moveTo>
                    <a:cubicBezTo>
                      <a:pt x="6425" y="10301"/>
                      <a:pt x="6425" y="10301"/>
                      <a:pt x="6425" y="10301"/>
                    </a:cubicBezTo>
                    <a:cubicBezTo>
                      <a:pt x="6386" y="10484"/>
                      <a:pt x="6386" y="10484"/>
                      <a:pt x="6386" y="10484"/>
                    </a:cubicBezTo>
                    <a:cubicBezTo>
                      <a:pt x="6237" y="10446"/>
                      <a:pt x="6237" y="10446"/>
                      <a:pt x="6237" y="10446"/>
                    </a:cubicBezTo>
                    <a:cubicBezTo>
                      <a:pt x="6238" y="10440"/>
                      <a:pt x="6238" y="10440"/>
                      <a:pt x="6238" y="10440"/>
                    </a:cubicBezTo>
                    <a:cubicBezTo>
                      <a:pt x="6266" y="10288"/>
                      <a:pt x="6266" y="10288"/>
                      <a:pt x="6266" y="10288"/>
                    </a:cubicBezTo>
                    <a:cubicBezTo>
                      <a:pt x="6251" y="10287"/>
                      <a:pt x="6251" y="10287"/>
                      <a:pt x="6251" y="10287"/>
                    </a:cubicBezTo>
                    <a:cubicBezTo>
                      <a:pt x="6213" y="10485"/>
                      <a:pt x="6213" y="10485"/>
                      <a:pt x="6213" y="10485"/>
                    </a:cubicBezTo>
                    <a:cubicBezTo>
                      <a:pt x="6313" y="10493"/>
                      <a:pt x="6639" y="10520"/>
                      <a:pt x="6733" y="10525"/>
                    </a:cubicBezTo>
                    <a:lnTo>
                      <a:pt x="6754" y="10328"/>
                    </a:lnTo>
                    <a:close/>
                    <a:moveTo>
                      <a:pt x="6778" y="10106"/>
                    </a:moveTo>
                    <a:cubicBezTo>
                      <a:pt x="6475" y="10064"/>
                      <a:pt x="6475" y="10064"/>
                      <a:pt x="6475" y="10064"/>
                    </a:cubicBezTo>
                    <a:cubicBezTo>
                      <a:pt x="6474" y="10066"/>
                      <a:pt x="6474" y="10066"/>
                      <a:pt x="6474" y="10066"/>
                    </a:cubicBezTo>
                    <a:cubicBezTo>
                      <a:pt x="6428" y="10287"/>
                      <a:pt x="6428" y="10287"/>
                      <a:pt x="6428" y="10287"/>
                    </a:cubicBezTo>
                    <a:cubicBezTo>
                      <a:pt x="6755" y="10314"/>
                      <a:pt x="6755" y="10314"/>
                      <a:pt x="6755" y="10314"/>
                    </a:cubicBezTo>
                    <a:lnTo>
                      <a:pt x="6778" y="10106"/>
                    </a:lnTo>
                    <a:close/>
                    <a:moveTo>
                      <a:pt x="6821" y="9892"/>
                    </a:moveTo>
                    <a:cubicBezTo>
                      <a:pt x="6555" y="9828"/>
                      <a:pt x="6555" y="9828"/>
                      <a:pt x="6555" y="9828"/>
                    </a:cubicBezTo>
                    <a:cubicBezTo>
                      <a:pt x="6479" y="10051"/>
                      <a:pt x="6479" y="10051"/>
                      <a:pt x="6479" y="10051"/>
                    </a:cubicBezTo>
                    <a:cubicBezTo>
                      <a:pt x="6779" y="10092"/>
                      <a:pt x="6779" y="10092"/>
                      <a:pt x="6779" y="10092"/>
                    </a:cubicBezTo>
                    <a:cubicBezTo>
                      <a:pt x="6790" y="9988"/>
                      <a:pt x="6790" y="9988"/>
                      <a:pt x="6790" y="9988"/>
                    </a:cubicBezTo>
                    <a:lnTo>
                      <a:pt x="6821" y="9892"/>
                    </a:lnTo>
                    <a:close/>
                    <a:moveTo>
                      <a:pt x="6892" y="9671"/>
                    </a:moveTo>
                    <a:cubicBezTo>
                      <a:pt x="6628" y="9613"/>
                      <a:pt x="6628" y="9613"/>
                      <a:pt x="6628" y="9613"/>
                    </a:cubicBezTo>
                    <a:cubicBezTo>
                      <a:pt x="6560" y="9815"/>
                      <a:pt x="6560" y="9815"/>
                      <a:pt x="6560" y="9815"/>
                    </a:cubicBezTo>
                    <a:cubicBezTo>
                      <a:pt x="6825" y="9878"/>
                      <a:pt x="6825" y="9878"/>
                      <a:pt x="6825" y="9878"/>
                    </a:cubicBezTo>
                    <a:lnTo>
                      <a:pt x="6892" y="9671"/>
                    </a:lnTo>
                    <a:close/>
                    <a:moveTo>
                      <a:pt x="7685" y="10390"/>
                    </a:moveTo>
                    <a:cubicBezTo>
                      <a:pt x="6933" y="9950"/>
                      <a:pt x="6933" y="9950"/>
                      <a:pt x="6933" y="9950"/>
                    </a:cubicBezTo>
                    <a:cubicBezTo>
                      <a:pt x="6854" y="10005"/>
                      <a:pt x="6854" y="10005"/>
                      <a:pt x="6854" y="10005"/>
                    </a:cubicBezTo>
                    <a:cubicBezTo>
                      <a:pt x="6827" y="10260"/>
                      <a:pt x="6827" y="10260"/>
                      <a:pt x="6827" y="10260"/>
                    </a:cubicBezTo>
                    <a:cubicBezTo>
                      <a:pt x="6886" y="10286"/>
                      <a:pt x="7050" y="10360"/>
                      <a:pt x="7216" y="10434"/>
                    </a:cubicBezTo>
                    <a:cubicBezTo>
                      <a:pt x="7319" y="10480"/>
                      <a:pt x="7423" y="10527"/>
                      <a:pt x="7503" y="10561"/>
                    </a:cubicBezTo>
                    <a:cubicBezTo>
                      <a:pt x="7542" y="10579"/>
                      <a:pt x="7576" y="10593"/>
                      <a:pt x="7600" y="10603"/>
                    </a:cubicBezTo>
                    <a:cubicBezTo>
                      <a:pt x="7609" y="10607"/>
                      <a:pt x="7616" y="10610"/>
                      <a:pt x="7622" y="10612"/>
                    </a:cubicBezTo>
                    <a:cubicBezTo>
                      <a:pt x="7633" y="10573"/>
                      <a:pt x="7644" y="10534"/>
                      <a:pt x="7655" y="10495"/>
                    </a:cubicBezTo>
                    <a:cubicBezTo>
                      <a:pt x="7665" y="10460"/>
                      <a:pt x="7675" y="10425"/>
                      <a:pt x="7685" y="10390"/>
                    </a:cubicBezTo>
                    <a:close/>
                    <a:moveTo>
                      <a:pt x="7760" y="10130"/>
                    </a:moveTo>
                    <a:cubicBezTo>
                      <a:pt x="7756" y="10128"/>
                      <a:pt x="7752" y="10125"/>
                      <a:pt x="7746" y="10121"/>
                    </a:cubicBezTo>
                    <a:cubicBezTo>
                      <a:pt x="7644" y="10054"/>
                      <a:pt x="7294" y="9819"/>
                      <a:pt x="7208" y="9760"/>
                    </a:cubicBezTo>
                    <a:cubicBezTo>
                      <a:pt x="6946" y="9941"/>
                      <a:pt x="6946" y="9941"/>
                      <a:pt x="6946" y="9941"/>
                    </a:cubicBezTo>
                    <a:cubicBezTo>
                      <a:pt x="7689" y="10376"/>
                      <a:pt x="7689" y="10376"/>
                      <a:pt x="7689" y="10376"/>
                    </a:cubicBezTo>
                    <a:cubicBezTo>
                      <a:pt x="7714" y="10289"/>
                      <a:pt x="7738" y="10205"/>
                      <a:pt x="7760" y="10130"/>
                    </a:cubicBezTo>
                    <a:close/>
                    <a:moveTo>
                      <a:pt x="7858" y="9838"/>
                    </a:moveTo>
                    <a:cubicBezTo>
                      <a:pt x="7363" y="9516"/>
                      <a:pt x="7363" y="9516"/>
                      <a:pt x="7363" y="9516"/>
                    </a:cubicBezTo>
                    <a:cubicBezTo>
                      <a:pt x="7256" y="9727"/>
                      <a:pt x="7256" y="9727"/>
                      <a:pt x="7256" y="9727"/>
                    </a:cubicBezTo>
                    <a:cubicBezTo>
                      <a:pt x="7220" y="9752"/>
                      <a:pt x="7220" y="9752"/>
                      <a:pt x="7220" y="9752"/>
                    </a:cubicBezTo>
                    <a:cubicBezTo>
                      <a:pt x="7267" y="9783"/>
                      <a:pt x="7376" y="9857"/>
                      <a:pt x="7485" y="9930"/>
                    </a:cubicBezTo>
                    <a:cubicBezTo>
                      <a:pt x="7558" y="9979"/>
                      <a:pt x="7631" y="10028"/>
                      <a:pt x="7686" y="10064"/>
                    </a:cubicBezTo>
                    <a:cubicBezTo>
                      <a:pt x="7714" y="10083"/>
                      <a:pt x="7737" y="10098"/>
                      <a:pt x="7754" y="10109"/>
                    </a:cubicBezTo>
                    <a:cubicBezTo>
                      <a:pt x="7758" y="10112"/>
                      <a:pt x="7761" y="10114"/>
                      <a:pt x="7764" y="10116"/>
                    </a:cubicBezTo>
                    <a:cubicBezTo>
                      <a:pt x="7771" y="10095"/>
                      <a:pt x="7777" y="10074"/>
                      <a:pt x="7783" y="10054"/>
                    </a:cubicBezTo>
                    <a:cubicBezTo>
                      <a:pt x="7800" y="9994"/>
                      <a:pt x="7816" y="9944"/>
                      <a:pt x="7827" y="9908"/>
                    </a:cubicBezTo>
                    <a:cubicBezTo>
                      <a:pt x="7832" y="9891"/>
                      <a:pt x="7837" y="9877"/>
                      <a:pt x="7841" y="9867"/>
                    </a:cubicBezTo>
                    <a:cubicBezTo>
                      <a:pt x="7843" y="9862"/>
                      <a:pt x="7844" y="9858"/>
                      <a:pt x="7846" y="9855"/>
                    </a:cubicBezTo>
                    <a:cubicBezTo>
                      <a:pt x="7846" y="9853"/>
                      <a:pt x="7847" y="9851"/>
                      <a:pt x="7849" y="9849"/>
                    </a:cubicBezTo>
                    <a:cubicBezTo>
                      <a:pt x="7849" y="9848"/>
                      <a:pt x="7850" y="9847"/>
                      <a:pt x="7852" y="9845"/>
                    </a:cubicBezTo>
                    <a:cubicBezTo>
                      <a:pt x="7853" y="9844"/>
                      <a:pt x="7854" y="9843"/>
                      <a:pt x="7855" y="9842"/>
                    </a:cubicBezTo>
                    <a:cubicBezTo>
                      <a:pt x="7855" y="9842"/>
                      <a:pt x="7855" y="9842"/>
                      <a:pt x="7855" y="9842"/>
                    </a:cubicBezTo>
                    <a:cubicBezTo>
                      <a:pt x="7855" y="9841"/>
                      <a:pt x="7857" y="9839"/>
                      <a:pt x="7858" y="9838"/>
                    </a:cubicBezTo>
                    <a:close/>
                    <a:moveTo>
                      <a:pt x="8012" y="9609"/>
                    </a:moveTo>
                    <a:cubicBezTo>
                      <a:pt x="8016" y="9602"/>
                      <a:pt x="8021" y="9595"/>
                      <a:pt x="8025" y="9588"/>
                    </a:cubicBezTo>
                    <a:cubicBezTo>
                      <a:pt x="7504" y="9238"/>
                      <a:pt x="7504" y="9238"/>
                      <a:pt x="7504" y="9238"/>
                    </a:cubicBezTo>
                    <a:cubicBezTo>
                      <a:pt x="7369" y="9504"/>
                      <a:pt x="7369" y="9504"/>
                      <a:pt x="7369" y="9504"/>
                    </a:cubicBezTo>
                    <a:cubicBezTo>
                      <a:pt x="7866" y="9826"/>
                      <a:pt x="7866" y="9826"/>
                      <a:pt x="7866" y="9826"/>
                    </a:cubicBezTo>
                    <a:cubicBezTo>
                      <a:pt x="7891" y="9792"/>
                      <a:pt x="7944" y="9712"/>
                      <a:pt x="8012" y="9609"/>
                    </a:cubicBezTo>
                    <a:close/>
                    <a:moveTo>
                      <a:pt x="9248" y="8903"/>
                    </a:moveTo>
                    <a:cubicBezTo>
                      <a:pt x="9103" y="8822"/>
                      <a:pt x="8855" y="8667"/>
                      <a:pt x="8725" y="8587"/>
                    </a:cubicBezTo>
                    <a:cubicBezTo>
                      <a:pt x="8676" y="8664"/>
                      <a:pt x="8498" y="8941"/>
                      <a:pt x="8319" y="9219"/>
                    </a:cubicBezTo>
                    <a:cubicBezTo>
                      <a:pt x="8213" y="9383"/>
                      <a:pt x="8107" y="9546"/>
                      <a:pt x="8027" y="9668"/>
                    </a:cubicBezTo>
                    <a:cubicBezTo>
                      <a:pt x="7986" y="9730"/>
                      <a:pt x="7952" y="9781"/>
                      <a:pt x="7928" y="9817"/>
                    </a:cubicBezTo>
                    <a:cubicBezTo>
                      <a:pt x="7917" y="9833"/>
                      <a:pt x="7908" y="9845"/>
                      <a:pt x="7901" y="9855"/>
                    </a:cubicBezTo>
                    <a:cubicBezTo>
                      <a:pt x="7953" y="9890"/>
                      <a:pt x="8097" y="9986"/>
                      <a:pt x="8243" y="10083"/>
                    </a:cubicBezTo>
                    <a:cubicBezTo>
                      <a:pt x="8333" y="10144"/>
                      <a:pt x="8424" y="10204"/>
                      <a:pt x="8493" y="10250"/>
                    </a:cubicBezTo>
                    <a:cubicBezTo>
                      <a:pt x="8523" y="10269"/>
                      <a:pt x="8548" y="10286"/>
                      <a:pt x="8568" y="10298"/>
                    </a:cubicBezTo>
                    <a:lnTo>
                      <a:pt x="9248" y="8903"/>
                    </a:lnTo>
                    <a:close/>
                    <a:moveTo>
                      <a:pt x="11179" y="8796"/>
                    </a:moveTo>
                    <a:cubicBezTo>
                      <a:pt x="11083" y="8779"/>
                      <a:pt x="10688" y="8704"/>
                      <a:pt x="10244" y="8558"/>
                    </a:cubicBezTo>
                    <a:cubicBezTo>
                      <a:pt x="9734" y="8390"/>
                      <a:pt x="9128" y="8116"/>
                      <a:pt x="8966" y="8045"/>
                    </a:cubicBezTo>
                    <a:cubicBezTo>
                      <a:pt x="8887" y="8011"/>
                      <a:pt x="8813" y="7964"/>
                      <a:pt x="8748" y="7910"/>
                    </a:cubicBezTo>
                    <a:cubicBezTo>
                      <a:pt x="8724" y="7929"/>
                      <a:pt x="8692" y="7954"/>
                      <a:pt x="8655" y="7979"/>
                    </a:cubicBezTo>
                    <a:cubicBezTo>
                      <a:pt x="8593" y="8020"/>
                      <a:pt x="8520" y="8062"/>
                      <a:pt x="8439" y="8081"/>
                    </a:cubicBezTo>
                    <a:cubicBezTo>
                      <a:pt x="8357" y="8100"/>
                      <a:pt x="8259" y="8114"/>
                      <a:pt x="8183" y="8123"/>
                    </a:cubicBezTo>
                    <a:cubicBezTo>
                      <a:pt x="8232" y="8159"/>
                      <a:pt x="8297" y="8207"/>
                      <a:pt x="8366" y="8258"/>
                    </a:cubicBezTo>
                    <a:cubicBezTo>
                      <a:pt x="8504" y="8359"/>
                      <a:pt x="8656" y="8469"/>
                      <a:pt x="8704" y="8498"/>
                    </a:cubicBezTo>
                    <a:cubicBezTo>
                      <a:pt x="8807" y="8559"/>
                      <a:pt x="9150" y="8775"/>
                      <a:pt x="9307" y="8860"/>
                    </a:cubicBezTo>
                    <a:cubicBezTo>
                      <a:pt x="9465" y="8946"/>
                      <a:pt x="9887" y="9175"/>
                      <a:pt x="10047" y="9242"/>
                    </a:cubicBezTo>
                    <a:cubicBezTo>
                      <a:pt x="10200" y="9307"/>
                      <a:pt x="10608" y="9499"/>
                      <a:pt x="10665" y="9525"/>
                    </a:cubicBezTo>
                    <a:cubicBezTo>
                      <a:pt x="10693" y="9500"/>
                      <a:pt x="10735" y="9463"/>
                      <a:pt x="10783" y="9419"/>
                    </a:cubicBezTo>
                    <a:cubicBezTo>
                      <a:pt x="10869" y="9339"/>
                      <a:pt x="10974" y="9241"/>
                      <a:pt x="11046" y="9164"/>
                    </a:cubicBezTo>
                    <a:cubicBezTo>
                      <a:pt x="11148" y="9059"/>
                      <a:pt x="11173" y="8877"/>
                      <a:pt x="11179" y="8796"/>
                    </a:cubicBezTo>
                    <a:close/>
                    <a:moveTo>
                      <a:pt x="12475" y="8728"/>
                    </a:moveTo>
                    <a:cubicBezTo>
                      <a:pt x="12014" y="7230"/>
                      <a:pt x="12014" y="7230"/>
                      <a:pt x="12014" y="7230"/>
                    </a:cubicBezTo>
                    <a:cubicBezTo>
                      <a:pt x="12014" y="7229"/>
                      <a:pt x="12014" y="7229"/>
                      <a:pt x="12014" y="7229"/>
                    </a:cubicBezTo>
                    <a:cubicBezTo>
                      <a:pt x="12014" y="7229"/>
                      <a:pt x="12014" y="7228"/>
                      <a:pt x="12013" y="7226"/>
                    </a:cubicBezTo>
                    <a:cubicBezTo>
                      <a:pt x="12007" y="7206"/>
                      <a:pt x="11974" y="7125"/>
                      <a:pt x="11900" y="7091"/>
                    </a:cubicBezTo>
                    <a:cubicBezTo>
                      <a:pt x="11891" y="7104"/>
                      <a:pt x="11882" y="7117"/>
                      <a:pt x="11873" y="7129"/>
                    </a:cubicBezTo>
                    <a:cubicBezTo>
                      <a:pt x="11831" y="7181"/>
                      <a:pt x="11776" y="7224"/>
                      <a:pt x="11708" y="7239"/>
                    </a:cubicBezTo>
                    <a:cubicBezTo>
                      <a:pt x="11698" y="7241"/>
                      <a:pt x="11692" y="7241"/>
                      <a:pt x="11682" y="7242"/>
                    </a:cubicBezTo>
                    <a:cubicBezTo>
                      <a:pt x="11671" y="7243"/>
                      <a:pt x="11657" y="7243"/>
                      <a:pt x="11642" y="7243"/>
                    </a:cubicBezTo>
                    <a:cubicBezTo>
                      <a:pt x="11542" y="7243"/>
                      <a:pt x="11355" y="7233"/>
                      <a:pt x="11355" y="7233"/>
                    </a:cubicBezTo>
                    <a:cubicBezTo>
                      <a:pt x="11354" y="7233"/>
                      <a:pt x="11203" y="7222"/>
                      <a:pt x="11052" y="7211"/>
                    </a:cubicBezTo>
                    <a:cubicBezTo>
                      <a:pt x="10977" y="7205"/>
                      <a:pt x="10901" y="7199"/>
                      <a:pt x="10844" y="7195"/>
                    </a:cubicBezTo>
                    <a:cubicBezTo>
                      <a:pt x="10816" y="7193"/>
                      <a:pt x="10792" y="7191"/>
                      <a:pt x="10776" y="7190"/>
                    </a:cubicBezTo>
                    <a:cubicBezTo>
                      <a:pt x="10768" y="7189"/>
                      <a:pt x="10761" y="7189"/>
                      <a:pt x="10756" y="7189"/>
                    </a:cubicBezTo>
                    <a:cubicBezTo>
                      <a:pt x="10754" y="7188"/>
                      <a:pt x="10752" y="7188"/>
                      <a:pt x="10751" y="7188"/>
                    </a:cubicBezTo>
                    <a:cubicBezTo>
                      <a:pt x="10750" y="7188"/>
                      <a:pt x="10750" y="7188"/>
                      <a:pt x="10749" y="7188"/>
                    </a:cubicBezTo>
                    <a:cubicBezTo>
                      <a:pt x="10749" y="7188"/>
                      <a:pt x="10748" y="7188"/>
                      <a:pt x="10748" y="7188"/>
                    </a:cubicBezTo>
                    <a:cubicBezTo>
                      <a:pt x="10747" y="7188"/>
                      <a:pt x="10747" y="7188"/>
                      <a:pt x="10745" y="7187"/>
                    </a:cubicBezTo>
                    <a:cubicBezTo>
                      <a:pt x="10744" y="7187"/>
                      <a:pt x="10743" y="7187"/>
                      <a:pt x="10741" y="7186"/>
                    </a:cubicBezTo>
                    <a:cubicBezTo>
                      <a:pt x="10739" y="7185"/>
                      <a:pt x="10737" y="7185"/>
                      <a:pt x="10734" y="7182"/>
                    </a:cubicBezTo>
                    <a:cubicBezTo>
                      <a:pt x="10733" y="7181"/>
                      <a:pt x="10731" y="7180"/>
                      <a:pt x="10729" y="7179"/>
                    </a:cubicBezTo>
                    <a:cubicBezTo>
                      <a:pt x="10727" y="7177"/>
                      <a:pt x="10722" y="7174"/>
                      <a:pt x="10715" y="7170"/>
                    </a:cubicBezTo>
                    <a:cubicBezTo>
                      <a:pt x="10278" y="8408"/>
                      <a:pt x="10278" y="8408"/>
                      <a:pt x="10278" y="8408"/>
                    </a:cubicBezTo>
                    <a:cubicBezTo>
                      <a:pt x="10282" y="8410"/>
                      <a:pt x="10287" y="8411"/>
                      <a:pt x="10291" y="8413"/>
                    </a:cubicBezTo>
                    <a:cubicBezTo>
                      <a:pt x="10540" y="8495"/>
                      <a:pt x="10775" y="8554"/>
                      <a:pt x="10946" y="8593"/>
                    </a:cubicBezTo>
                    <a:cubicBezTo>
                      <a:pt x="11032" y="8612"/>
                      <a:pt x="11102" y="8627"/>
                      <a:pt x="11151" y="8636"/>
                    </a:cubicBezTo>
                    <a:cubicBezTo>
                      <a:pt x="11191" y="8644"/>
                      <a:pt x="11216" y="8648"/>
                      <a:pt x="11224" y="8649"/>
                    </a:cubicBezTo>
                    <a:cubicBezTo>
                      <a:pt x="11276" y="8653"/>
                      <a:pt x="11937" y="8699"/>
                      <a:pt x="12132" y="8707"/>
                    </a:cubicBezTo>
                    <a:cubicBezTo>
                      <a:pt x="12233" y="8712"/>
                      <a:pt x="12348" y="8716"/>
                      <a:pt x="12475" y="8728"/>
                    </a:cubicBezTo>
                    <a:close/>
                    <a:moveTo>
                      <a:pt x="15985" y="4735"/>
                    </a:moveTo>
                    <a:cubicBezTo>
                      <a:pt x="14054" y="5137"/>
                      <a:pt x="14054" y="5137"/>
                      <a:pt x="14054" y="5137"/>
                    </a:cubicBezTo>
                    <a:cubicBezTo>
                      <a:pt x="13566" y="5021"/>
                      <a:pt x="13566" y="5021"/>
                      <a:pt x="13566" y="5021"/>
                    </a:cubicBezTo>
                    <a:cubicBezTo>
                      <a:pt x="12878" y="4821"/>
                      <a:pt x="12878" y="4821"/>
                      <a:pt x="12878" y="4821"/>
                    </a:cubicBezTo>
                    <a:cubicBezTo>
                      <a:pt x="12782" y="4794"/>
                      <a:pt x="12629" y="4775"/>
                      <a:pt x="12501" y="4762"/>
                    </a:cubicBezTo>
                    <a:cubicBezTo>
                      <a:pt x="12422" y="4754"/>
                      <a:pt x="12352" y="4749"/>
                      <a:pt x="12311" y="4746"/>
                    </a:cubicBezTo>
                    <a:cubicBezTo>
                      <a:pt x="12312" y="4751"/>
                      <a:pt x="12312" y="4751"/>
                      <a:pt x="12312" y="4751"/>
                    </a:cubicBezTo>
                    <a:cubicBezTo>
                      <a:pt x="12306" y="4751"/>
                      <a:pt x="12306" y="4751"/>
                      <a:pt x="12306" y="4751"/>
                    </a:cubicBezTo>
                    <a:cubicBezTo>
                      <a:pt x="12307" y="4781"/>
                      <a:pt x="12309" y="4822"/>
                      <a:pt x="12309" y="4822"/>
                    </a:cubicBezTo>
                    <a:cubicBezTo>
                      <a:pt x="12310" y="4826"/>
                      <a:pt x="12310" y="4826"/>
                      <a:pt x="12310" y="4826"/>
                    </a:cubicBezTo>
                    <a:cubicBezTo>
                      <a:pt x="12034" y="6710"/>
                      <a:pt x="12034" y="6710"/>
                      <a:pt x="12034" y="6710"/>
                    </a:cubicBezTo>
                    <a:cubicBezTo>
                      <a:pt x="12034" y="6712"/>
                      <a:pt x="12018" y="6827"/>
                      <a:pt x="11970" y="6950"/>
                    </a:cubicBezTo>
                    <a:cubicBezTo>
                      <a:pt x="11960" y="6978"/>
                      <a:pt x="11947" y="7006"/>
                      <a:pt x="11933" y="7033"/>
                    </a:cubicBezTo>
                    <a:cubicBezTo>
                      <a:pt x="12041" y="7087"/>
                      <a:pt x="12073" y="7198"/>
                      <a:pt x="12077" y="7211"/>
                    </a:cubicBezTo>
                    <a:cubicBezTo>
                      <a:pt x="12077" y="7211"/>
                      <a:pt x="12077" y="7211"/>
                      <a:pt x="12077" y="7211"/>
                    </a:cubicBezTo>
                    <a:cubicBezTo>
                      <a:pt x="12545" y="8735"/>
                      <a:pt x="12545" y="8735"/>
                      <a:pt x="12545" y="8735"/>
                    </a:cubicBezTo>
                    <a:cubicBezTo>
                      <a:pt x="12661" y="8748"/>
                      <a:pt x="12785" y="8767"/>
                      <a:pt x="12915" y="8798"/>
                    </a:cubicBezTo>
                    <a:cubicBezTo>
                      <a:pt x="13068" y="8835"/>
                      <a:pt x="13188" y="8883"/>
                      <a:pt x="13280" y="8945"/>
                    </a:cubicBezTo>
                    <a:cubicBezTo>
                      <a:pt x="13352" y="8994"/>
                      <a:pt x="13406" y="9055"/>
                      <a:pt x="13440" y="9123"/>
                    </a:cubicBezTo>
                    <a:cubicBezTo>
                      <a:pt x="13508" y="9107"/>
                      <a:pt x="13630" y="9077"/>
                      <a:pt x="13753" y="9047"/>
                    </a:cubicBezTo>
                    <a:cubicBezTo>
                      <a:pt x="13846" y="9025"/>
                      <a:pt x="13939" y="9003"/>
                      <a:pt x="14010" y="8986"/>
                    </a:cubicBezTo>
                    <a:cubicBezTo>
                      <a:pt x="14045" y="8977"/>
                      <a:pt x="14075" y="8970"/>
                      <a:pt x="14097" y="8965"/>
                    </a:cubicBezTo>
                    <a:cubicBezTo>
                      <a:pt x="14108" y="8963"/>
                      <a:pt x="14117" y="8961"/>
                      <a:pt x="14124" y="8960"/>
                    </a:cubicBezTo>
                    <a:cubicBezTo>
                      <a:pt x="14127" y="8959"/>
                      <a:pt x="14130" y="8958"/>
                      <a:pt x="14133" y="8958"/>
                    </a:cubicBezTo>
                    <a:cubicBezTo>
                      <a:pt x="14135" y="8957"/>
                      <a:pt x="14136" y="8957"/>
                      <a:pt x="14138" y="8957"/>
                    </a:cubicBezTo>
                    <a:cubicBezTo>
                      <a:pt x="14139" y="8957"/>
                      <a:pt x="14140" y="8957"/>
                      <a:pt x="14142" y="8956"/>
                    </a:cubicBezTo>
                    <a:cubicBezTo>
                      <a:pt x="14148" y="8955"/>
                      <a:pt x="14167" y="8950"/>
                      <a:pt x="14191" y="8943"/>
                    </a:cubicBezTo>
                    <a:cubicBezTo>
                      <a:pt x="14273" y="8918"/>
                      <a:pt x="14432" y="8866"/>
                      <a:pt x="14604" y="8804"/>
                    </a:cubicBezTo>
                    <a:cubicBezTo>
                      <a:pt x="14716" y="8763"/>
                      <a:pt x="14943" y="8646"/>
                      <a:pt x="15140" y="8539"/>
                    </a:cubicBezTo>
                    <a:cubicBezTo>
                      <a:pt x="15239" y="8485"/>
                      <a:pt x="15331" y="8433"/>
                      <a:pt x="15400" y="8395"/>
                    </a:cubicBezTo>
                    <a:cubicBezTo>
                      <a:pt x="15435" y="8375"/>
                      <a:pt x="15464" y="8359"/>
                      <a:pt x="15485" y="8347"/>
                    </a:cubicBezTo>
                    <a:cubicBezTo>
                      <a:pt x="15496" y="8341"/>
                      <a:pt x="15505" y="8336"/>
                      <a:pt x="15511" y="8333"/>
                    </a:cubicBezTo>
                    <a:cubicBezTo>
                      <a:pt x="15519" y="8329"/>
                      <a:pt x="15522" y="8327"/>
                      <a:pt x="15529" y="8324"/>
                    </a:cubicBezTo>
                    <a:cubicBezTo>
                      <a:pt x="15543" y="8318"/>
                      <a:pt x="15576" y="8303"/>
                      <a:pt x="15609" y="8289"/>
                    </a:cubicBezTo>
                    <a:cubicBezTo>
                      <a:pt x="15598" y="8200"/>
                      <a:pt x="15574" y="8009"/>
                      <a:pt x="15547" y="7789"/>
                    </a:cubicBezTo>
                    <a:cubicBezTo>
                      <a:pt x="15509" y="7484"/>
                      <a:pt x="15464" y="7125"/>
                      <a:pt x="15436" y="6908"/>
                    </a:cubicBezTo>
                    <a:cubicBezTo>
                      <a:pt x="15423" y="6805"/>
                      <a:pt x="15417" y="6717"/>
                      <a:pt x="15417" y="6641"/>
                    </a:cubicBezTo>
                    <a:cubicBezTo>
                      <a:pt x="15417" y="6393"/>
                      <a:pt x="15482" y="6261"/>
                      <a:pt x="15556" y="6081"/>
                    </a:cubicBezTo>
                    <a:cubicBezTo>
                      <a:pt x="15661" y="5831"/>
                      <a:pt x="15921" y="5619"/>
                      <a:pt x="15999" y="5285"/>
                    </a:cubicBezTo>
                    <a:cubicBezTo>
                      <a:pt x="16020" y="5194"/>
                      <a:pt x="16028" y="5110"/>
                      <a:pt x="16028" y="5035"/>
                    </a:cubicBezTo>
                    <a:cubicBezTo>
                      <a:pt x="16028" y="4932"/>
                      <a:pt x="16014" y="4847"/>
                      <a:pt x="15999" y="4788"/>
                    </a:cubicBezTo>
                    <a:cubicBezTo>
                      <a:pt x="15994" y="4767"/>
                      <a:pt x="15989" y="4749"/>
                      <a:pt x="15985" y="4735"/>
                    </a:cubicBezTo>
                    <a:close/>
                    <a:moveTo>
                      <a:pt x="16018" y="1786"/>
                    </a:moveTo>
                    <a:cubicBezTo>
                      <a:pt x="15564" y="1885"/>
                      <a:pt x="15099" y="1923"/>
                      <a:pt x="14949" y="1949"/>
                    </a:cubicBezTo>
                    <a:cubicBezTo>
                      <a:pt x="14884" y="1960"/>
                      <a:pt x="14692" y="1963"/>
                      <a:pt x="14458" y="1963"/>
                    </a:cubicBezTo>
                    <a:cubicBezTo>
                      <a:pt x="14001" y="1963"/>
                      <a:pt x="13397" y="1950"/>
                      <a:pt x="13368" y="1950"/>
                    </a:cubicBezTo>
                    <a:cubicBezTo>
                      <a:pt x="13291" y="1953"/>
                      <a:pt x="13200" y="1954"/>
                      <a:pt x="13128" y="2035"/>
                    </a:cubicBezTo>
                    <a:cubicBezTo>
                      <a:pt x="13089" y="2079"/>
                      <a:pt x="13041" y="2143"/>
                      <a:pt x="13004" y="2196"/>
                    </a:cubicBezTo>
                    <a:cubicBezTo>
                      <a:pt x="12966" y="2248"/>
                      <a:pt x="12939" y="2289"/>
                      <a:pt x="12939" y="2289"/>
                    </a:cubicBezTo>
                    <a:cubicBezTo>
                      <a:pt x="12938" y="2290"/>
                      <a:pt x="12938" y="2290"/>
                      <a:pt x="12938" y="2290"/>
                    </a:cubicBezTo>
                    <a:cubicBezTo>
                      <a:pt x="12937" y="2291"/>
                      <a:pt x="12937" y="2291"/>
                      <a:pt x="12937" y="2291"/>
                    </a:cubicBezTo>
                    <a:cubicBezTo>
                      <a:pt x="12937" y="2292"/>
                      <a:pt x="12841" y="2409"/>
                      <a:pt x="12742" y="2532"/>
                    </a:cubicBezTo>
                    <a:cubicBezTo>
                      <a:pt x="12693" y="2593"/>
                      <a:pt x="12643" y="2656"/>
                      <a:pt x="12604" y="2706"/>
                    </a:cubicBezTo>
                    <a:cubicBezTo>
                      <a:pt x="12585" y="2731"/>
                      <a:pt x="12569" y="2753"/>
                      <a:pt x="12556" y="2770"/>
                    </a:cubicBezTo>
                    <a:cubicBezTo>
                      <a:pt x="12550" y="2778"/>
                      <a:pt x="12545" y="2785"/>
                      <a:pt x="12542" y="2791"/>
                    </a:cubicBezTo>
                    <a:cubicBezTo>
                      <a:pt x="12540" y="2793"/>
                      <a:pt x="12539" y="2795"/>
                      <a:pt x="12538" y="2797"/>
                    </a:cubicBezTo>
                    <a:cubicBezTo>
                      <a:pt x="12537" y="2799"/>
                      <a:pt x="12536" y="2799"/>
                      <a:pt x="12536" y="2799"/>
                    </a:cubicBezTo>
                    <a:cubicBezTo>
                      <a:pt x="12521" y="2831"/>
                      <a:pt x="12488" y="2909"/>
                      <a:pt x="12471" y="2947"/>
                    </a:cubicBezTo>
                    <a:cubicBezTo>
                      <a:pt x="12495" y="2959"/>
                      <a:pt x="12518" y="2975"/>
                      <a:pt x="12540" y="2995"/>
                    </a:cubicBezTo>
                    <a:cubicBezTo>
                      <a:pt x="12543" y="2998"/>
                      <a:pt x="12543" y="2998"/>
                      <a:pt x="12543" y="2998"/>
                    </a:cubicBezTo>
                    <a:cubicBezTo>
                      <a:pt x="13286" y="4127"/>
                      <a:pt x="13286" y="4127"/>
                      <a:pt x="13286" y="4127"/>
                    </a:cubicBezTo>
                    <a:cubicBezTo>
                      <a:pt x="13288" y="4130"/>
                      <a:pt x="13332" y="4197"/>
                      <a:pt x="13332" y="4309"/>
                    </a:cubicBezTo>
                    <a:cubicBezTo>
                      <a:pt x="13332" y="4369"/>
                      <a:pt x="13319" y="4442"/>
                      <a:pt x="13281" y="4523"/>
                    </a:cubicBezTo>
                    <a:cubicBezTo>
                      <a:pt x="13211" y="4672"/>
                      <a:pt x="13152" y="4773"/>
                      <a:pt x="13121" y="4823"/>
                    </a:cubicBezTo>
                    <a:cubicBezTo>
                      <a:pt x="13583" y="4958"/>
                      <a:pt x="13583" y="4958"/>
                      <a:pt x="13583" y="4958"/>
                    </a:cubicBezTo>
                    <a:cubicBezTo>
                      <a:pt x="14055" y="5070"/>
                      <a:pt x="14055" y="5070"/>
                      <a:pt x="14055" y="5070"/>
                    </a:cubicBezTo>
                    <a:cubicBezTo>
                      <a:pt x="15959" y="4674"/>
                      <a:pt x="15959" y="4674"/>
                      <a:pt x="15959" y="4674"/>
                    </a:cubicBezTo>
                    <a:cubicBezTo>
                      <a:pt x="15957" y="4667"/>
                      <a:pt x="15955" y="4659"/>
                      <a:pt x="15953" y="4650"/>
                    </a:cubicBezTo>
                    <a:cubicBezTo>
                      <a:pt x="15909" y="4497"/>
                      <a:pt x="15744" y="3957"/>
                      <a:pt x="15655" y="3537"/>
                    </a:cubicBezTo>
                    <a:cubicBezTo>
                      <a:pt x="15611" y="3328"/>
                      <a:pt x="15594" y="3119"/>
                      <a:pt x="15594" y="2932"/>
                    </a:cubicBezTo>
                    <a:cubicBezTo>
                      <a:pt x="15595" y="2671"/>
                      <a:pt x="15626" y="2452"/>
                      <a:pt x="15659" y="2328"/>
                    </a:cubicBezTo>
                    <a:cubicBezTo>
                      <a:pt x="15691" y="2215"/>
                      <a:pt x="15793" y="2067"/>
                      <a:pt x="15889" y="1942"/>
                    </a:cubicBezTo>
                    <a:cubicBezTo>
                      <a:pt x="15937" y="1881"/>
                      <a:pt x="15983" y="1826"/>
                      <a:pt x="16018" y="1786"/>
                    </a:cubicBezTo>
                    <a:close/>
                    <a:moveTo>
                      <a:pt x="16118" y="1771"/>
                    </a:moveTo>
                    <a:cubicBezTo>
                      <a:pt x="16114" y="1764"/>
                      <a:pt x="16114" y="1764"/>
                      <a:pt x="16114" y="1764"/>
                    </a:cubicBezTo>
                    <a:cubicBezTo>
                      <a:pt x="16114" y="1764"/>
                      <a:pt x="16114" y="1764"/>
                      <a:pt x="16114" y="1764"/>
                    </a:cubicBezTo>
                    <a:lnTo>
                      <a:pt x="16118" y="1771"/>
                    </a:lnTo>
                    <a:close/>
                    <a:moveTo>
                      <a:pt x="4860" y="10782"/>
                    </a:moveTo>
                    <a:cubicBezTo>
                      <a:pt x="4865" y="10821"/>
                      <a:pt x="4865" y="10821"/>
                      <a:pt x="4865" y="10821"/>
                    </a:cubicBezTo>
                    <a:cubicBezTo>
                      <a:pt x="4878" y="10821"/>
                      <a:pt x="4878" y="10821"/>
                      <a:pt x="4878" y="10821"/>
                    </a:cubicBezTo>
                    <a:cubicBezTo>
                      <a:pt x="4874" y="10793"/>
                      <a:pt x="4874" y="10793"/>
                      <a:pt x="4874" y="10793"/>
                    </a:cubicBezTo>
                    <a:cubicBezTo>
                      <a:pt x="4952" y="10783"/>
                      <a:pt x="4952" y="10783"/>
                      <a:pt x="4952" y="10783"/>
                    </a:cubicBezTo>
                    <a:cubicBezTo>
                      <a:pt x="4957" y="10821"/>
                      <a:pt x="4957" y="10821"/>
                      <a:pt x="4957" y="10821"/>
                    </a:cubicBezTo>
                    <a:cubicBezTo>
                      <a:pt x="4970" y="10821"/>
                      <a:pt x="4970" y="10821"/>
                      <a:pt x="4970" y="10821"/>
                    </a:cubicBezTo>
                    <a:cubicBezTo>
                      <a:pt x="4963" y="10768"/>
                      <a:pt x="4963" y="10768"/>
                      <a:pt x="4963" y="10768"/>
                    </a:cubicBezTo>
                    <a:lnTo>
                      <a:pt x="4860" y="10782"/>
                    </a:lnTo>
                    <a:close/>
                    <a:moveTo>
                      <a:pt x="7605" y="9494"/>
                    </a:moveTo>
                    <a:cubicBezTo>
                      <a:pt x="7658" y="9548"/>
                      <a:pt x="7658" y="9548"/>
                      <a:pt x="7658" y="9548"/>
                    </a:cubicBezTo>
                    <a:cubicBezTo>
                      <a:pt x="7604" y="9601"/>
                      <a:pt x="7604" y="9601"/>
                      <a:pt x="7604" y="9601"/>
                    </a:cubicBezTo>
                    <a:cubicBezTo>
                      <a:pt x="7599" y="9597"/>
                      <a:pt x="7599" y="9597"/>
                      <a:pt x="7599" y="9597"/>
                    </a:cubicBezTo>
                    <a:cubicBezTo>
                      <a:pt x="7467" y="9457"/>
                      <a:pt x="7467" y="9457"/>
                      <a:pt x="7467" y="9457"/>
                    </a:cubicBezTo>
                    <a:cubicBezTo>
                      <a:pt x="7503" y="9423"/>
                      <a:pt x="7503" y="9423"/>
                      <a:pt x="7503" y="9423"/>
                    </a:cubicBezTo>
                    <a:cubicBezTo>
                      <a:pt x="7495" y="9414"/>
                      <a:pt x="7495" y="9414"/>
                      <a:pt x="7495" y="9414"/>
                    </a:cubicBezTo>
                    <a:cubicBezTo>
                      <a:pt x="7490" y="9409"/>
                      <a:pt x="7490" y="9409"/>
                      <a:pt x="7490" y="9409"/>
                    </a:cubicBezTo>
                    <a:cubicBezTo>
                      <a:pt x="7560" y="9342"/>
                      <a:pt x="7560" y="9342"/>
                      <a:pt x="7560" y="9342"/>
                    </a:cubicBezTo>
                    <a:cubicBezTo>
                      <a:pt x="7658" y="9443"/>
                      <a:pt x="7658" y="9443"/>
                      <a:pt x="7658" y="9443"/>
                    </a:cubicBezTo>
                    <a:lnTo>
                      <a:pt x="7605" y="9494"/>
                    </a:lnTo>
                    <a:close/>
                    <a:moveTo>
                      <a:pt x="7587" y="9494"/>
                    </a:moveTo>
                    <a:cubicBezTo>
                      <a:pt x="7639" y="9443"/>
                      <a:pt x="7639" y="9443"/>
                      <a:pt x="7639" y="9443"/>
                    </a:cubicBezTo>
                    <a:cubicBezTo>
                      <a:pt x="7559" y="9361"/>
                      <a:pt x="7559" y="9361"/>
                      <a:pt x="7559" y="9361"/>
                    </a:cubicBezTo>
                    <a:cubicBezTo>
                      <a:pt x="7509" y="9410"/>
                      <a:pt x="7509" y="9410"/>
                      <a:pt x="7509" y="9410"/>
                    </a:cubicBezTo>
                    <a:cubicBezTo>
                      <a:pt x="7517" y="9418"/>
                      <a:pt x="7517" y="9418"/>
                      <a:pt x="7517" y="9418"/>
                    </a:cubicBezTo>
                    <a:cubicBezTo>
                      <a:pt x="7522" y="9423"/>
                      <a:pt x="7522" y="9423"/>
                      <a:pt x="7522" y="9423"/>
                    </a:cubicBezTo>
                    <a:cubicBezTo>
                      <a:pt x="7486" y="9457"/>
                      <a:pt x="7486" y="9457"/>
                      <a:pt x="7486" y="9457"/>
                    </a:cubicBezTo>
                    <a:cubicBezTo>
                      <a:pt x="7604" y="9583"/>
                      <a:pt x="7604" y="9583"/>
                      <a:pt x="7604" y="9583"/>
                    </a:cubicBezTo>
                    <a:cubicBezTo>
                      <a:pt x="7640" y="9548"/>
                      <a:pt x="7640" y="9548"/>
                      <a:pt x="7640" y="9548"/>
                    </a:cubicBezTo>
                    <a:lnTo>
                      <a:pt x="7587" y="9494"/>
                    </a:lnTo>
                    <a:close/>
                    <a:moveTo>
                      <a:pt x="7117" y="6976"/>
                    </a:moveTo>
                    <a:cubicBezTo>
                      <a:pt x="7267" y="6994"/>
                      <a:pt x="7267" y="6994"/>
                      <a:pt x="7267" y="6994"/>
                    </a:cubicBezTo>
                    <a:cubicBezTo>
                      <a:pt x="7258" y="7069"/>
                      <a:pt x="7258" y="7069"/>
                      <a:pt x="7258" y="7069"/>
                    </a:cubicBezTo>
                    <a:cubicBezTo>
                      <a:pt x="7252" y="7068"/>
                      <a:pt x="7252" y="7068"/>
                      <a:pt x="7252" y="7068"/>
                    </a:cubicBezTo>
                    <a:cubicBezTo>
                      <a:pt x="7108" y="7051"/>
                      <a:pt x="7108" y="7051"/>
                      <a:pt x="7108" y="7051"/>
                    </a:cubicBezTo>
                    <a:lnTo>
                      <a:pt x="7117" y="6976"/>
                    </a:lnTo>
                    <a:close/>
                    <a:moveTo>
                      <a:pt x="7122" y="7039"/>
                    </a:moveTo>
                    <a:cubicBezTo>
                      <a:pt x="7247" y="7054"/>
                      <a:pt x="7247" y="7054"/>
                      <a:pt x="7247" y="7054"/>
                    </a:cubicBezTo>
                    <a:cubicBezTo>
                      <a:pt x="7253" y="7005"/>
                      <a:pt x="7253" y="7005"/>
                      <a:pt x="7253" y="7005"/>
                    </a:cubicBezTo>
                    <a:cubicBezTo>
                      <a:pt x="7128" y="6990"/>
                      <a:pt x="7128" y="6990"/>
                      <a:pt x="7128" y="6990"/>
                    </a:cubicBezTo>
                    <a:lnTo>
                      <a:pt x="7122" y="7039"/>
                    </a:lnTo>
                    <a:close/>
                    <a:moveTo>
                      <a:pt x="7337" y="9661"/>
                    </a:moveTo>
                    <a:cubicBezTo>
                      <a:pt x="7406" y="9593"/>
                      <a:pt x="7406" y="9593"/>
                      <a:pt x="7406" y="9593"/>
                    </a:cubicBezTo>
                    <a:cubicBezTo>
                      <a:pt x="7505" y="9695"/>
                      <a:pt x="7505" y="9695"/>
                      <a:pt x="7505" y="9695"/>
                    </a:cubicBezTo>
                    <a:cubicBezTo>
                      <a:pt x="7452" y="9746"/>
                      <a:pt x="7452" y="9746"/>
                      <a:pt x="7452" y="9746"/>
                    </a:cubicBezTo>
                    <a:cubicBezTo>
                      <a:pt x="7505" y="9800"/>
                      <a:pt x="7505" y="9800"/>
                      <a:pt x="7505" y="9800"/>
                    </a:cubicBezTo>
                    <a:cubicBezTo>
                      <a:pt x="7451" y="9853"/>
                      <a:pt x="7451" y="9853"/>
                      <a:pt x="7451" y="9853"/>
                    </a:cubicBezTo>
                    <a:cubicBezTo>
                      <a:pt x="7446" y="9848"/>
                      <a:pt x="7446" y="9848"/>
                      <a:pt x="7446" y="9848"/>
                    </a:cubicBezTo>
                    <a:cubicBezTo>
                      <a:pt x="7314" y="9709"/>
                      <a:pt x="7314" y="9709"/>
                      <a:pt x="7314" y="9709"/>
                    </a:cubicBezTo>
                    <a:cubicBezTo>
                      <a:pt x="7350" y="9674"/>
                      <a:pt x="7350" y="9674"/>
                      <a:pt x="7350" y="9674"/>
                    </a:cubicBezTo>
                    <a:cubicBezTo>
                      <a:pt x="7342" y="9666"/>
                      <a:pt x="7342" y="9666"/>
                      <a:pt x="7342" y="9666"/>
                    </a:cubicBezTo>
                    <a:lnTo>
                      <a:pt x="7337" y="9661"/>
                    </a:lnTo>
                    <a:close/>
                    <a:moveTo>
                      <a:pt x="7356" y="9661"/>
                    </a:moveTo>
                    <a:cubicBezTo>
                      <a:pt x="7364" y="9670"/>
                      <a:pt x="7364" y="9670"/>
                      <a:pt x="7364" y="9670"/>
                    </a:cubicBezTo>
                    <a:cubicBezTo>
                      <a:pt x="7368" y="9674"/>
                      <a:pt x="7368" y="9674"/>
                      <a:pt x="7368" y="9674"/>
                    </a:cubicBezTo>
                    <a:cubicBezTo>
                      <a:pt x="7333" y="9709"/>
                      <a:pt x="7333" y="9709"/>
                      <a:pt x="7333" y="9709"/>
                    </a:cubicBezTo>
                    <a:cubicBezTo>
                      <a:pt x="7451" y="9834"/>
                      <a:pt x="7451" y="9834"/>
                      <a:pt x="7451" y="9834"/>
                    </a:cubicBezTo>
                    <a:cubicBezTo>
                      <a:pt x="7487" y="9800"/>
                      <a:pt x="7487" y="9800"/>
                      <a:pt x="7487" y="9800"/>
                    </a:cubicBezTo>
                    <a:cubicBezTo>
                      <a:pt x="7434" y="9745"/>
                      <a:pt x="7434" y="9745"/>
                      <a:pt x="7434" y="9745"/>
                    </a:cubicBezTo>
                    <a:cubicBezTo>
                      <a:pt x="7486" y="9694"/>
                      <a:pt x="7486" y="9694"/>
                      <a:pt x="7486" y="9694"/>
                    </a:cubicBezTo>
                    <a:cubicBezTo>
                      <a:pt x="7406" y="9612"/>
                      <a:pt x="7406" y="9612"/>
                      <a:pt x="7406" y="9612"/>
                    </a:cubicBezTo>
                    <a:lnTo>
                      <a:pt x="7356" y="9661"/>
                    </a:lnTo>
                    <a:close/>
                    <a:moveTo>
                      <a:pt x="8480" y="9436"/>
                    </a:moveTo>
                    <a:cubicBezTo>
                      <a:pt x="8796" y="9620"/>
                      <a:pt x="8796" y="9620"/>
                      <a:pt x="8796" y="9620"/>
                    </a:cubicBezTo>
                    <a:cubicBezTo>
                      <a:pt x="8740" y="9715"/>
                      <a:pt x="8740" y="9715"/>
                      <a:pt x="8740" y="9715"/>
                    </a:cubicBezTo>
                    <a:cubicBezTo>
                      <a:pt x="8679" y="9679"/>
                      <a:pt x="8679" y="9679"/>
                      <a:pt x="8679" y="9679"/>
                    </a:cubicBezTo>
                    <a:cubicBezTo>
                      <a:pt x="8578" y="9869"/>
                      <a:pt x="8578" y="9869"/>
                      <a:pt x="8578" y="9869"/>
                    </a:cubicBezTo>
                    <a:cubicBezTo>
                      <a:pt x="8632" y="9904"/>
                      <a:pt x="8632" y="9904"/>
                      <a:pt x="8632" y="9904"/>
                    </a:cubicBezTo>
                    <a:cubicBezTo>
                      <a:pt x="8530" y="10085"/>
                      <a:pt x="8530" y="10085"/>
                      <a:pt x="8530" y="10085"/>
                    </a:cubicBezTo>
                    <a:cubicBezTo>
                      <a:pt x="8410" y="10019"/>
                      <a:pt x="8410" y="10019"/>
                      <a:pt x="8410" y="10019"/>
                    </a:cubicBezTo>
                    <a:cubicBezTo>
                      <a:pt x="8544" y="9786"/>
                      <a:pt x="8544" y="9786"/>
                      <a:pt x="8544" y="9786"/>
                    </a:cubicBezTo>
                    <a:cubicBezTo>
                      <a:pt x="8421" y="9714"/>
                      <a:pt x="8421" y="9714"/>
                      <a:pt x="8421" y="9714"/>
                    </a:cubicBezTo>
                    <a:cubicBezTo>
                      <a:pt x="8287" y="9947"/>
                      <a:pt x="8287" y="9947"/>
                      <a:pt x="8287" y="9947"/>
                    </a:cubicBezTo>
                    <a:cubicBezTo>
                      <a:pt x="8209" y="9900"/>
                      <a:pt x="8209" y="9900"/>
                      <a:pt x="8209" y="9900"/>
                    </a:cubicBezTo>
                    <a:cubicBezTo>
                      <a:pt x="8370" y="9626"/>
                      <a:pt x="8370" y="9626"/>
                      <a:pt x="8370" y="9626"/>
                    </a:cubicBezTo>
                    <a:cubicBezTo>
                      <a:pt x="8308" y="9591"/>
                      <a:pt x="8308" y="9591"/>
                      <a:pt x="8308" y="9591"/>
                    </a:cubicBezTo>
                    <a:cubicBezTo>
                      <a:pt x="8228" y="9728"/>
                      <a:pt x="8228" y="9728"/>
                      <a:pt x="8228" y="9728"/>
                    </a:cubicBezTo>
                    <a:cubicBezTo>
                      <a:pt x="8161" y="9690"/>
                      <a:pt x="8161" y="9690"/>
                      <a:pt x="8161" y="9690"/>
                    </a:cubicBezTo>
                    <a:cubicBezTo>
                      <a:pt x="8240" y="9546"/>
                      <a:pt x="8240" y="9546"/>
                      <a:pt x="8240" y="9546"/>
                    </a:cubicBezTo>
                    <a:cubicBezTo>
                      <a:pt x="8182" y="9515"/>
                      <a:pt x="8182" y="9515"/>
                      <a:pt x="8182" y="9515"/>
                    </a:cubicBezTo>
                    <a:cubicBezTo>
                      <a:pt x="8240" y="9425"/>
                      <a:pt x="8240" y="9425"/>
                      <a:pt x="8240" y="9425"/>
                    </a:cubicBezTo>
                    <a:cubicBezTo>
                      <a:pt x="8246" y="9428"/>
                      <a:pt x="8246" y="9428"/>
                      <a:pt x="8246" y="9428"/>
                    </a:cubicBezTo>
                    <a:cubicBezTo>
                      <a:pt x="8422" y="9524"/>
                      <a:pt x="8422" y="9524"/>
                      <a:pt x="8422" y="9524"/>
                    </a:cubicBezTo>
                    <a:lnTo>
                      <a:pt x="8480" y="9436"/>
                    </a:lnTo>
                    <a:close/>
                    <a:moveTo>
                      <a:pt x="8485" y="9456"/>
                    </a:moveTo>
                    <a:cubicBezTo>
                      <a:pt x="8427" y="9544"/>
                      <a:pt x="8427" y="9544"/>
                      <a:pt x="8427" y="9544"/>
                    </a:cubicBezTo>
                    <a:cubicBezTo>
                      <a:pt x="8245" y="9445"/>
                      <a:pt x="8245" y="9445"/>
                      <a:pt x="8245" y="9445"/>
                    </a:cubicBezTo>
                    <a:cubicBezTo>
                      <a:pt x="8203" y="9509"/>
                      <a:pt x="8203" y="9509"/>
                      <a:pt x="8203" y="9509"/>
                    </a:cubicBezTo>
                    <a:cubicBezTo>
                      <a:pt x="8260" y="9540"/>
                      <a:pt x="8260" y="9540"/>
                      <a:pt x="8260" y="9540"/>
                    </a:cubicBezTo>
                    <a:cubicBezTo>
                      <a:pt x="8181" y="9685"/>
                      <a:pt x="8181" y="9685"/>
                      <a:pt x="8181" y="9685"/>
                    </a:cubicBezTo>
                    <a:cubicBezTo>
                      <a:pt x="8222" y="9708"/>
                      <a:pt x="8222" y="9708"/>
                      <a:pt x="8222" y="9708"/>
                    </a:cubicBezTo>
                    <a:cubicBezTo>
                      <a:pt x="8303" y="9571"/>
                      <a:pt x="8303" y="9571"/>
                      <a:pt x="8303" y="9571"/>
                    </a:cubicBezTo>
                    <a:cubicBezTo>
                      <a:pt x="8390" y="9620"/>
                      <a:pt x="8390" y="9620"/>
                      <a:pt x="8390" y="9620"/>
                    </a:cubicBezTo>
                    <a:cubicBezTo>
                      <a:pt x="8229" y="9895"/>
                      <a:pt x="8229" y="9895"/>
                      <a:pt x="8229" y="9895"/>
                    </a:cubicBezTo>
                    <a:cubicBezTo>
                      <a:pt x="8281" y="9927"/>
                      <a:pt x="8281" y="9927"/>
                      <a:pt x="8281" y="9927"/>
                    </a:cubicBezTo>
                    <a:cubicBezTo>
                      <a:pt x="8416" y="9693"/>
                      <a:pt x="8416" y="9693"/>
                      <a:pt x="8416" y="9693"/>
                    </a:cubicBezTo>
                    <a:cubicBezTo>
                      <a:pt x="8564" y="9780"/>
                      <a:pt x="8564" y="9780"/>
                      <a:pt x="8564" y="9780"/>
                    </a:cubicBezTo>
                    <a:cubicBezTo>
                      <a:pt x="8430" y="10013"/>
                      <a:pt x="8430" y="10013"/>
                      <a:pt x="8430" y="10013"/>
                    </a:cubicBezTo>
                    <a:cubicBezTo>
                      <a:pt x="8524" y="10065"/>
                      <a:pt x="8524" y="10065"/>
                      <a:pt x="8524" y="10065"/>
                    </a:cubicBezTo>
                    <a:cubicBezTo>
                      <a:pt x="8612" y="9909"/>
                      <a:pt x="8612" y="9909"/>
                      <a:pt x="8612" y="9909"/>
                    </a:cubicBezTo>
                    <a:cubicBezTo>
                      <a:pt x="8558" y="9874"/>
                      <a:pt x="8558" y="9874"/>
                      <a:pt x="8558" y="9874"/>
                    </a:cubicBezTo>
                    <a:cubicBezTo>
                      <a:pt x="8673" y="9658"/>
                      <a:pt x="8673" y="9658"/>
                      <a:pt x="8673" y="9658"/>
                    </a:cubicBezTo>
                    <a:cubicBezTo>
                      <a:pt x="8735" y="9695"/>
                      <a:pt x="8735" y="9695"/>
                      <a:pt x="8735" y="9695"/>
                    </a:cubicBezTo>
                    <a:cubicBezTo>
                      <a:pt x="8776" y="9625"/>
                      <a:pt x="8776" y="9625"/>
                      <a:pt x="8776" y="9625"/>
                    </a:cubicBezTo>
                    <a:lnTo>
                      <a:pt x="8485" y="9456"/>
                    </a:lnTo>
                    <a:close/>
                    <a:moveTo>
                      <a:pt x="5714" y="6915"/>
                    </a:moveTo>
                    <a:cubicBezTo>
                      <a:pt x="5570" y="6897"/>
                      <a:pt x="5570" y="6897"/>
                      <a:pt x="5570" y="6897"/>
                    </a:cubicBezTo>
                    <a:cubicBezTo>
                      <a:pt x="5579" y="6822"/>
                      <a:pt x="5579" y="6822"/>
                      <a:pt x="5579" y="6822"/>
                    </a:cubicBezTo>
                    <a:cubicBezTo>
                      <a:pt x="5730" y="6841"/>
                      <a:pt x="5730" y="6841"/>
                      <a:pt x="5730" y="6841"/>
                    </a:cubicBezTo>
                    <a:cubicBezTo>
                      <a:pt x="5721" y="6916"/>
                      <a:pt x="5721" y="6916"/>
                      <a:pt x="5721" y="6916"/>
                    </a:cubicBezTo>
                    <a:lnTo>
                      <a:pt x="5714" y="6915"/>
                    </a:lnTo>
                    <a:close/>
                    <a:moveTo>
                      <a:pt x="5709" y="6901"/>
                    </a:moveTo>
                    <a:cubicBezTo>
                      <a:pt x="5715" y="6852"/>
                      <a:pt x="5715" y="6852"/>
                      <a:pt x="5715" y="6852"/>
                    </a:cubicBezTo>
                    <a:cubicBezTo>
                      <a:pt x="5591" y="6837"/>
                      <a:pt x="5591" y="6837"/>
                      <a:pt x="5591" y="6837"/>
                    </a:cubicBezTo>
                    <a:cubicBezTo>
                      <a:pt x="5585" y="6886"/>
                      <a:pt x="5585" y="6886"/>
                      <a:pt x="5585" y="6886"/>
                    </a:cubicBezTo>
                    <a:lnTo>
                      <a:pt x="5709" y="6901"/>
                    </a:lnTo>
                    <a:close/>
                    <a:moveTo>
                      <a:pt x="4690" y="10804"/>
                    </a:moveTo>
                    <a:cubicBezTo>
                      <a:pt x="4692" y="10821"/>
                      <a:pt x="4692" y="10821"/>
                      <a:pt x="4692" y="10821"/>
                    </a:cubicBezTo>
                    <a:cubicBezTo>
                      <a:pt x="4705" y="10821"/>
                      <a:pt x="4705" y="10821"/>
                      <a:pt x="4705" y="10821"/>
                    </a:cubicBezTo>
                    <a:cubicBezTo>
                      <a:pt x="4705" y="10815"/>
                      <a:pt x="4705" y="10815"/>
                      <a:pt x="4705" y="10815"/>
                    </a:cubicBezTo>
                    <a:cubicBezTo>
                      <a:pt x="4782" y="10804"/>
                      <a:pt x="4782" y="10804"/>
                      <a:pt x="4782" y="10804"/>
                    </a:cubicBezTo>
                    <a:cubicBezTo>
                      <a:pt x="4785" y="10821"/>
                      <a:pt x="4785" y="10821"/>
                      <a:pt x="4785" y="10821"/>
                    </a:cubicBezTo>
                    <a:cubicBezTo>
                      <a:pt x="4798" y="10821"/>
                      <a:pt x="4798" y="10821"/>
                      <a:pt x="4798" y="10821"/>
                    </a:cubicBezTo>
                    <a:cubicBezTo>
                      <a:pt x="4793" y="10790"/>
                      <a:pt x="4793" y="10790"/>
                      <a:pt x="4793" y="10790"/>
                    </a:cubicBezTo>
                    <a:lnTo>
                      <a:pt x="4690" y="10804"/>
                    </a:lnTo>
                    <a:close/>
                    <a:moveTo>
                      <a:pt x="5650" y="6465"/>
                    </a:moveTo>
                    <a:cubicBezTo>
                      <a:pt x="5801" y="6483"/>
                      <a:pt x="5801" y="6483"/>
                      <a:pt x="5801" y="6483"/>
                    </a:cubicBezTo>
                    <a:cubicBezTo>
                      <a:pt x="5792" y="6558"/>
                      <a:pt x="5792" y="6558"/>
                      <a:pt x="5792" y="6558"/>
                    </a:cubicBezTo>
                    <a:cubicBezTo>
                      <a:pt x="5785" y="6558"/>
                      <a:pt x="5785" y="6558"/>
                      <a:pt x="5785" y="6558"/>
                    </a:cubicBezTo>
                    <a:cubicBezTo>
                      <a:pt x="5641" y="6540"/>
                      <a:pt x="5641" y="6540"/>
                      <a:pt x="5641" y="6540"/>
                    </a:cubicBezTo>
                    <a:lnTo>
                      <a:pt x="5650" y="6465"/>
                    </a:lnTo>
                    <a:close/>
                    <a:moveTo>
                      <a:pt x="5656" y="6529"/>
                    </a:moveTo>
                    <a:cubicBezTo>
                      <a:pt x="5780" y="6544"/>
                      <a:pt x="5780" y="6544"/>
                      <a:pt x="5780" y="6544"/>
                    </a:cubicBezTo>
                    <a:cubicBezTo>
                      <a:pt x="5786" y="6495"/>
                      <a:pt x="5786" y="6495"/>
                      <a:pt x="5786" y="6495"/>
                    </a:cubicBezTo>
                    <a:cubicBezTo>
                      <a:pt x="5662" y="6479"/>
                      <a:pt x="5662" y="6479"/>
                      <a:pt x="5662" y="6479"/>
                    </a:cubicBezTo>
                    <a:lnTo>
                      <a:pt x="5656" y="6529"/>
                    </a:lnTo>
                    <a:close/>
                    <a:moveTo>
                      <a:pt x="5614" y="6639"/>
                    </a:moveTo>
                    <a:cubicBezTo>
                      <a:pt x="5764" y="6658"/>
                      <a:pt x="5764" y="6658"/>
                      <a:pt x="5764" y="6658"/>
                    </a:cubicBezTo>
                    <a:cubicBezTo>
                      <a:pt x="5755" y="6733"/>
                      <a:pt x="5755" y="6733"/>
                      <a:pt x="5755" y="6733"/>
                    </a:cubicBezTo>
                    <a:cubicBezTo>
                      <a:pt x="5748" y="6732"/>
                      <a:pt x="5748" y="6732"/>
                      <a:pt x="5748" y="6732"/>
                    </a:cubicBezTo>
                    <a:cubicBezTo>
                      <a:pt x="5604" y="6714"/>
                      <a:pt x="5604" y="6714"/>
                      <a:pt x="5604" y="6714"/>
                    </a:cubicBezTo>
                    <a:lnTo>
                      <a:pt x="5614" y="6639"/>
                    </a:lnTo>
                    <a:close/>
                    <a:moveTo>
                      <a:pt x="5619" y="6703"/>
                    </a:moveTo>
                    <a:cubicBezTo>
                      <a:pt x="5743" y="6718"/>
                      <a:pt x="5743" y="6718"/>
                      <a:pt x="5743" y="6718"/>
                    </a:cubicBezTo>
                    <a:cubicBezTo>
                      <a:pt x="5749" y="6669"/>
                      <a:pt x="5749" y="6669"/>
                      <a:pt x="5749" y="6669"/>
                    </a:cubicBezTo>
                    <a:cubicBezTo>
                      <a:pt x="5625" y="6654"/>
                      <a:pt x="5625" y="6654"/>
                      <a:pt x="5625" y="6654"/>
                    </a:cubicBezTo>
                    <a:lnTo>
                      <a:pt x="5619" y="6703"/>
                    </a:lnTo>
                    <a:close/>
                    <a:moveTo>
                      <a:pt x="5317" y="10776"/>
                    </a:moveTo>
                    <a:cubicBezTo>
                      <a:pt x="5363" y="10767"/>
                      <a:pt x="5363" y="10767"/>
                      <a:pt x="5363" y="10767"/>
                    </a:cubicBezTo>
                    <a:cubicBezTo>
                      <a:pt x="5347" y="10689"/>
                      <a:pt x="5347" y="10689"/>
                      <a:pt x="5347" y="10689"/>
                    </a:cubicBezTo>
                    <a:cubicBezTo>
                      <a:pt x="5346" y="10682"/>
                      <a:pt x="5346" y="10682"/>
                      <a:pt x="5346" y="10682"/>
                    </a:cubicBezTo>
                    <a:cubicBezTo>
                      <a:pt x="5139" y="10723"/>
                      <a:pt x="5139" y="10723"/>
                      <a:pt x="5139" y="10723"/>
                    </a:cubicBezTo>
                    <a:cubicBezTo>
                      <a:pt x="5156" y="10808"/>
                      <a:pt x="5156" y="10808"/>
                      <a:pt x="5156" y="10808"/>
                    </a:cubicBezTo>
                    <a:cubicBezTo>
                      <a:pt x="5202" y="10799"/>
                      <a:pt x="5202" y="10799"/>
                      <a:pt x="5202" y="10799"/>
                    </a:cubicBezTo>
                    <a:cubicBezTo>
                      <a:pt x="5207" y="10821"/>
                      <a:pt x="5207" y="10821"/>
                      <a:pt x="5207" y="10821"/>
                    </a:cubicBezTo>
                    <a:cubicBezTo>
                      <a:pt x="5220" y="10821"/>
                      <a:pt x="5220" y="10821"/>
                      <a:pt x="5220" y="10821"/>
                    </a:cubicBezTo>
                    <a:cubicBezTo>
                      <a:pt x="5212" y="10783"/>
                      <a:pt x="5212" y="10783"/>
                      <a:pt x="5212" y="10783"/>
                    </a:cubicBezTo>
                    <a:cubicBezTo>
                      <a:pt x="5166" y="10793"/>
                      <a:pt x="5166" y="10793"/>
                      <a:pt x="5166" y="10793"/>
                    </a:cubicBezTo>
                    <a:cubicBezTo>
                      <a:pt x="5155" y="10734"/>
                      <a:pt x="5155" y="10734"/>
                      <a:pt x="5155" y="10734"/>
                    </a:cubicBezTo>
                    <a:cubicBezTo>
                      <a:pt x="5335" y="10698"/>
                      <a:pt x="5335" y="10698"/>
                      <a:pt x="5335" y="10698"/>
                    </a:cubicBezTo>
                    <a:cubicBezTo>
                      <a:pt x="5347" y="10756"/>
                      <a:pt x="5347" y="10756"/>
                      <a:pt x="5347" y="10756"/>
                    </a:cubicBezTo>
                    <a:cubicBezTo>
                      <a:pt x="5301" y="10766"/>
                      <a:pt x="5301" y="10766"/>
                      <a:pt x="5301" y="10766"/>
                    </a:cubicBezTo>
                    <a:cubicBezTo>
                      <a:pt x="5310" y="10808"/>
                      <a:pt x="5310" y="10808"/>
                      <a:pt x="5310" y="10808"/>
                    </a:cubicBezTo>
                    <a:cubicBezTo>
                      <a:pt x="5243" y="10821"/>
                      <a:pt x="5243" y="10821"/>
                      <a:pt x="5243" y="10821"/>
                    </a:cubicBezTo>
                    <a:cubicBezTo>
                      <a:pt x="5311" y="10821"/>
                      <a:pt x="5311" y="10821"/>
                      <a:pt x="5311" y="10821"/>
                    </a:cubicBezTo>
                    <a:cubicBezTo>
                      <a:pt x="5325" y="10818"/>
                      <a:pt x="5325" y="10818"/>
                      <a:pt x="5325" y="10818"/>
                    </a:cubicBezTo>
                    <a:lnTo>
                      <a:pt x="5317" y="10776"/>
                    </a:lnTo>
                    <a:close/>
                    <a:moveTo>
                      <a:pt x="7244" y="10806"/>
                    </a:moveTo>
                    <a:cubicBezTo>
                      <a:pt x="7189" y="10789"/>
                      <a:pt x="7189" y="10789"/>
                      <a:pt x="7189" y="10789"/>
                    </a:cubicBezTo>
                    <a:cubicBezTo>
                      <a:pt x="7210" y="10715"/>
                      <a:pt x="7210" y="10715"/>
                      <a:pt x="7210" y="10715"/>
                    </a:cubicBezTo>
                    <a:cubicBezTo>
                      <a:pt x="7105" y="10685"/>
                      <a:pt x="7105" y="10685"/>
                      <a:pt x="7105" y="10685"/>
                    </a:cubicBezTo>
                    <a:cubicBezTo>
                      <a:pt x="7067" y="10821"/>
                      <a:pt x="7067" y="10821"/>
                      <a:pt x="7067" y="10821"/>
                    </a:cubicBezTo>
                    <a:cubicBezTo>
                      <a:pt x="7081" y="10821"/>
                      <a:pt x="7081" y="10821"/>
                      <a:pt x="7081" y="10821"/>
                    </a:cubicBezTo>
                    <a:cubicBezTo>
                      <a:pt x="7114" y="10701"/>
                      <a:pt x="7114" y="10701"/>
                      <a:pt x="7114" y="10701"/>
                    </a:cubicBezTo>
                    <a:cubicBezTo>
                      <a:pt x="7194" y="10724"/>
                      <a:pt x="7194" y="10724"/>
                      <a:pt x="7194" y="10724"/>
                    </a:cubicBezTo>
                    <a:cubicBezTo>
                      <a:pt x="7172" y="10797"/>
                      <a:pt x="7172" y="10797"/>
                      <a:pt x="7172" y="10797"/>
                    </a:cubicBezTo>
                    <a:cubicBezTo>
                      <a:pt x="7228" y="10815"/>
                      <a:pt x="7228" y="10815"/>
                      <a:pt x="7228" y="10815"/>
                    </a:cubicBezTo>
                    <a:cubicBezTo>
                      <a:pt x="7226" y="10821"/>
                      <a:pt x="7226" y="10821"/>
                      <a:pt x="7226" y="10821"/>
                    </a:cubicBezTo>
                    <a:cubicBezTo>
                      <a:pt x="7240" y="10821"/>
                      <a:pt x="7240" y="10821"/>
                      <a:pt x="7240" y="10821"/>
                    </a:cubicBezTo>
                    <a:cubicBezTo>
                      <a:pt x="7242" y="10812"/>
                      <a:pt x="7242" y="10812"/>
                      <a:pt x="7242" y="10812"/>
                    </a:cubicBezTo>
                    <a:lnTo>
                      <a:pt x="7244" y="10806"/>
                    </a:lnTo>
                    <a:close/>
                    <a:moveTo>
                      <a:pt x="5856" y="6859"/>
                    </a:moveTo>
                    <a:cubicBezTo>
                      <a:pt x="6006" y="6878"/>
                      <a:pt x="6006" y="6878"/>
                      <a:pt x="6006" y="6878"/>
                    </a:cubicBezTo>
                    <a:cubicBezTo>
                      <a:pt x="5997" y="6953"/>
                      <a:pt x="5997" y="6953"/>
                      <a:pt x="5997" y="6953"/>
                    </a:cubicBezTo>
                    <a:cubicBezTo>
                      <a:pt x="5991" y="6952"/>
                      <a:pt x="5991" y="6952"/>
                      <a:pt x="5991" y="6952"/>
                    </a:cubicBezTo>
                    <a:cubicBezTo>
                      <a:pt x="5847" y="6934"/>
                      <a:pt x="5847" y="6934"/>
                      <a:pt x="5847" y="6934"/>
                    </a:cubicBezTo>
                    <a:lnTo>
                      <a:pt x="5856" y="6859"/>
                    </a:lnTo>
                    <a:close/>
                    <a:moveTo>
                      <a:pt x="5861" y="6923"/>
                    </a:moveTo>
                    <a:cubicBezTo>
                      <a:pt x="5986" y="6938"/>
                      <a:pt x="5986" y="6938"/>
                      <a:pt x="5986" y="6938"/>
                    </a:cubicBezTo>
                    <a:cubicBezTo>
                      <a:pt x="5992" y="6889"/>
                      <a:pt x="5992" y="6889"/>
                      <a:pt x="5992" y="6889"/>
                    </a:cubicBezTo>
                    <a:cubicBezTo>
                      <a:pt x="5867" y="6874"/>
                      <a:pt x="5867" y="6874"/>
                      <a:pt x="5867" y="6874"/>
                    </a:cubicBezTo>
                    <a:lnTo>
                      <a:pt x="5861" y="6923"/>
                    </a:lnTo>
                    <a:close/>
                    <a:moveTo>
                      <a:pt x="5456" y="10821"/>
                    </a:moveTo>
                    <a:cubicBezTo>
                      <a:pt x="5525" y="10821"/>
                      <a:pt x="5525" y="10821"/>
                      <a:pt x="5525" y="10821"/>
                    </a:cubicBezTo>
                    <a:cubicBezTo>
                      <a:pt x="5541" y="10818"/>
                      <a:pt x="5550" y="10816"/>
                      <a:pt x="5551" y="10816"/>
                    </a:cubicBezTo>
                    <a:cubicBezTo>
                      <a:pt x="5553" y="10816"/>
                      <a:pt x="5582" y="10818"/>
                      <a:pt x="5623" y="10821"/>
                    </a:cubicBezTo>
                    <a:cubicBezTo>
                      <a:pt x="5810" y="10821"/>
                      <a:pt x="5810" y="10821"/>
                      <a:pt x="5810" y="10821"/>
                    </a:cubicBezTo>
                    <a:cubicBezTo>
                      <a:pt x="5706" y="10813"/>
                      <a:pt x="5557" y="10802"/>
                      <a:pt x="5551" y="10802"/>
                    </a:cubicBezTo>
                    <a:cubicBezTo>
                      <a:pt x="5548" y="10802"/>
                      <a:pt x="5510" y="10810"/>
                      <a:pt x="5456" y="10821"/>
                    </a:cubicBezTo>
                    <a:close/>
                    <a:moveTo>
                      <a:pt x="5684" y="7087"/>
                    </a:moveTo>
                    <a:cubicBezTo>
                      <a:pt x="5540" y="7069"/>
                      <a:pt x="5540" y="7069"/>
                      <a:pt x="5540" y="7069"/>
                    </a:cubicBezTo>
                    <a:cubicBezTo>
                      <a:pt x="5550" y="6994"/>
                      <a:pt x="5550" y="6994"/>
                      <a:pt x="5550" y="6994"/>
                    </a:cubicBezTo>
                    <a:cubicBezTo>
                      <a:pt x="5700" y="7012"/>
                      <a:pt x="5700" y="7012"/>
                      <a:pt x="5700" y="7012"/>
                    </a:cubicBezTo>
                    <a:cubicBezTo>
                      <a:pt x="5691" y="7088"/>
                      <a:pt x="5691" y="7088"/>
                      <a:pt x="5691" y="7088"/>
                    </a:cubicBezTo>
                    <a:lnTo>
                      <a:pt x="5684" y="7087"/>
                    </a:lnTo>
                    <a:close/>
                    <a:moveTo>
                      <a:pt x="5679" y="7073"/>
                    </a:moveTo>
                    <a:cubicBezTo>
                      <a:pt x="5685" y="7024"/>
                      <a:pt x="5685" y="7024"/>
                      <a:pt x="5685" y="7024"/>
                    </a:cubicBezTo>
                    <a:cubicBezTo>
                      <a:pt x="5561" y="7008"/>
                      <a:pt x="5561" y="7008"/>
                      <a:pt x="5561" y="7008"/>
                    </a:cubicBezTo>
                    <a:cubicBezTo>
                      <a:pt x="5555" y="7058"/>
                      <a:pt x="5555" y="7058"/>
                      <a:pt x="5555" y="7058"/>
                    </a:cubicBezTo>
                    <a:lnTo>
                      <a:pt x="5679" y="7073"/>
                    </a:lnTo>
                    <a:close/>
                    <a:moveTo>
                      <a:pt x="5206" y="8860"/>
                    </a:moveTo>
                    <a:cubicBezTo>
                      <a:pt x="5230" y="8961"/>
                      <a:pt x="5230" y="8961"/>
                      <a:pt x="5230" y="8961"/>
                    </a:cubicBezTo>
                    <a:cubicBezTo>
                      <a:pt x="5086" y="8995"/>
                      <a:pt x="5086" y="8995"/>
                      <a:pt x="5086" y="8995"/>
                    </a:cubicBezTo>
                    <a:cubicBezTo>
                      <a:pt x="5085" y="8989"/>
                      <a:pt x="5085" y="8989"/>
                      <a:pt x="5085" y="8989"/>
                    </a:cubicBezTo>
                    <a:cubicBezTo>
                      <a:pt x="5062" y="8894"/>
                      <a:pt x="5062" y="8894"/>
                      <a:pt x="5062" y="8894"/>
                    </a:cubicBezTo>
                    <a:lnTo>
                      <a:pt x="5206" y="8860"/>
                    </a:lnTo>
                    <a:close/>
                    <a:moveTo>
                      <a:pt x="5215" y="8952"/>
                    </a:moveTo>
                    <a:cubicBezTo>
                      <a:pt x="5196" y="8875"/>
                      <a:pt x="5196" y="8875"/>
                      <a:pt x="5196" y="8875"/>
                    </a:cubicBezTo>
                    <a:cubicBezTo>
                      <a:pt x="5078" y="8904"/>
                      <a:pt x="5078" y="8904"/>
                      <a:pt x="5078" y="8904"/>
                    </a:cubicBezTo>
                    <a:cubicBezTo>
                      <a:pt x="5096" y="8980"/>
                      <a:pt x="5096" y="8980"/>
                      <a:pt x="5096" y="8980"/>
                    </a:cubicBezTo>
                    <a:lnTo>
                      <a:pt x="5215" y="8952"/>
                    </a:lnTo>
                    <a:close/>
                    <a:moveTo>
                      <a:pt x="4501" y="8304"/>
                    </a:moveTo>
                    <a:cubicBezTo>
                      <a:pt x="4515" y="8451"/>
                      <a:pt x="4515" y="8451"/>
                      <a:pt x="4515" y="8451"/>
                    </a:cubicBezTo>
                    <a:cubicBezTo>
                      <a:pt x="4508" y="8451"/>
                      <a:pt x="4508" y="8451"/>
                      <a:pt x="4508" y="8451"/>
                    </a:cubicBezTo>
                    <a:cubicBezTo>
                      <a:pt x="4411" y="8461"/>
                      <a:pt x="4411" y="8461"/>
                      <a:pt x="4411" y="8461"/>
                    </a:cubicBezTo>
                    <a:cubicBezTo>
                      <a:pt x="4397" y="8313"/>
                      <a:pt x="4397" y="8313"/>
                      <a:pt x="4397" y="8313"/>
                    </a:cubicBezTo>
                    <a:lnTo>
                      <a:pt x="4501" y="8304"/>
                    </a:lnTo>
                    <a:close/>
                    <a:moveTo>
                      <a:pt x="4501" y="8439"/>
                    </a:moveTo>
                    <a:cubicBezTo>
                      <a:pt x="4489" y="8318"/>
                      <a:pt x="4489" y="8318"/>
                      <a:pt x="4489" y="8318"/>
                    </a:cubicBezTo>
                    <a:cubicBezTo>
                      <a:pt x="4411" y="8325"/>
                      <a:pt x="4411" y="8325"/>
                      <a:pt x="4411" y="8325"/>
                    </a:cubicBezTo>
                    <a:cubicBezTo>
                      <a:pt x="4422" y="8447"/>
                      <a:pt x="4422" y="8447"/>
                      <a:pt x="4422" y="8447"/>
                    </a:cubicBezTo>
                    <a:lnTo>
                      <a:pt x="4501" y="8439"/>
                    </a:lnTo>
                    <a:close/>
                    <a:moveTo>
                      <a:pt x="4399" y="8647"/>
                    </a:moveTo>
                    <a:cubicBezTo>
                      <a:pt x="4416" y="8707"/>
                      <a:pt x="4416" y="8707"/>
                      <a:pt x="4416" y="8707"/>
                    </a:cubicBezTo>
                    <a:cubicBezTo>
                      <a:pt x="4092" y="8911"/>
                      <a:pt x="4092" y="8911"/>
                      <a:pt x="4092" y="8911"/>
                    </a:cubicBezTo>
                    <a:cubicBezTo>
                      <a:pt x="4014" y="8748"/>
                      <a:pt x="4014" y="8748"/>
                      <a:pt x="4014" y="8748"/>
                    </a:cubicBezTo>
                    <a:cubicBezTo>
                      <a:pt x="4071" y="8716"/>
                      <a:pt x="4071" y="8716"/>
                      <a:pt x="4071" y="8716"/>
                    </a:cubicBezTo>
                    <a:cubicBezTo>
                      <a:pt x="4062" y="8696"/>
                      <a:pt x="4062" y="8696"/>
                      <a:pt x="4062" y="8696"/>
                    </a:cubicBezTo>
                    <a:cubicBezTo>
                      <a:pt x="3980" y="8676"/>
                      <a:pt x="3980" y="8676"/>
                      <a:pt x="3980" y="8676"/>
                    </a:cubicBezTo>
                    <a:cubicBezTo>
                      <a:pt x="3888" y="8453"/>
                      <a:pt x="3888" y="8453"/>
                      <a:pt x="3888" y="8453"/>
                    </a:cubicBezTo>
                    <a:cubicBezTo>
                      <a:pt x="4017" y="8403"/>
                      <a:pt x="4017" y="8403"/>
                      <a:pt x="4017" y="8403"/>
                    </a:cubicBezTo>
                    <a:cubicBezTo>
                      <a:pt x="4122" y="8431"/>
                      <a:pt x="4122" y="8431"/>
                      <a:pt x="4122" y="8431"/>
                    </a:cubicBezTo>
                    <a:cubicBezTo>
                      <a:pt x="4153" y="8423"/>
                      <a:pt x="4153" y="8423"/>
                      <a:pt x="4153" y="8423"/>
                    </a:cubicBezTo>
                    <a:cubicBezTo>
                      <a:pt x="4136" y="8369"/>
                      <a:pt x="4136" y="8369"/>
                      <a:pt x="4136" y="8369"/>
                    </a:cubicBezTo>
                    <a:cubicBezTo>
                      <a:pt x="4312" y="8330"/>
                      <a:pt x="4312" y="8330"/>
                      <a:pt x="4312" y="8330"/>
                    </a:cubicBezTo>
                    <a:cubicBezTo>
                      <a:pt x="4313" y="8338"/>
                      <a:pt x="4313" y="8338"/>
                      <a:pt x="4313" y="8338"/>
                    </a:cubicBezTo>
                    <a:cubicBezTo>
                      <a:pt x="4335" y="8449"/>
                      <a:pt x="4335" y="8449"/>
                      <a:pt x="4335" y="8449"/>
                    </a:cubicBezTo>
                    <a:cubicBezTo>
                      <a:pt x="4356" y="8648"/>
                      <a:pt x="4356" y="8648"/>
                      <a:pt x="4356" y="8648"/>
                    </a:cubicBezTo>
                    <a:lnTo>
                      <a:pt x="4399" y="8647"/>
                    </a:lnTo>
                    <a:close/>
                    <a:moveTo>
                      <a:pt x="4399" y="8700"/>
                    </a:moveTo>
                    <a:cubicBezTo>
                      <a:pt x="4388" y="8662"/>
                      <a:pt x="4388" y="8662"/>
                      <a:pt x="4388" y="8662"/>
                    </a:cubicBezTo>
                    <a:cubicBezTo>
                      <a:pt x="4343" y="8663"/>
                      <a:pt x="4343" y="8663"/>
                      <a:pt x="4343" y="8663"/>
                    </a:cubicBezTo>
                    <a:cubicBezTo>
                      <a:pt x="4320" y="8452"/>
                      <a:pt x="4320" y="8452"/>
                      <a:pt x="4320" y="8452"/>
                    </a:cubicBezTo>
                    <a:cubicBezTo>
                      <a:pt x="4300" y="8348"/>
                      <a:pt x="4300" y="8348"/>
                      <a:pt x="4300" y="8348"/>
                    </a:cubicBezTo>
                    <a:cubicBezTo>
                      <a:pt x="4155" y="8380"/>
                      <a:pt x="4155" y="8380"/>
                      <a:pt x="4155" y="8380"/>
                    </a:cubicBezTo>
                    <a:cubicBezTo>
                      <a:pt x="4171" y="8433"/>
                      <a:pt x="4171" y="8433"/>
                      <a:pt x="4171" y="8433"/>
                    </a:cubicBezTo>
                    <a:cubicBezTo>
                      <a:pt x="4122" y="8446"/>
                      <a:pt x="4122" y="8446"/>
                      <a:pt x="4122" y="8446"/>
                    </a:cubicBezTo>
                    <a:cubicBezTo>
                      <a:pt x="4017" y="8419"/>
                      <a:pt x="4017" y="8419"/>
                      <a:pt x="4017" y="8419"/>
                    </a:cubicBezTo>
                    <a:cubicBezTo>
                      <a:pt x="3907" y="8461"/>
                      <a:pt x="3907" y="8461"/>
                      <a:pt x="3907" y="8461"/>
                    </a:cubicBezTo>
                    <a:cubicBezTo>
                      <a:pt x="3990" y="8663"/>
                      <a:pt x="3990" y="8663"/>
                      <a:pt x="3990" y="8663"/>
                    </a:cubicBezTo>
                    <a:cubicBezTo>
                      <a:pt x="4073" y="8683"/>
                      <a:pt x="4073" y="8683"/>
                      <a:pt x="4073" y="8683"/>
                    </a:cubicBezTo>
                    <a:cubicBezTo>
                      <a:pt x="4090" y="8722"/>
                      <a:pt x="4090" y="8722"/>
                      <a:pt x="4090" y="8722"/>
                    </a:cubicBezTo>
                    <a:cubicBezTo>
                      <a:pt x="4034" y="8754"/>
                      <a:pt x="4034" y="8754"/>
                      <a:pt x="4034" y="8754"/>
                    </a:cubicBezTo>
                    <a:cubicBezTo>
                      <a:pt x="4098" y="8890"/>
                      <a:pt x="4098" y="8890"/>
                      <a:pt x="4098" y="8890"/>
                    </a:cubicBezTo>
                    <a:lnTo>
                      <a:pt x="4399" y="8700"/>
                    </a:lnTo>
                    <a:close/>
                    <a:moveTo>
                      <a:pt x="4360" y="9086"/>
                    </a:moveTo>
                    <a:cubicBezTo>
                      <a:pt x="4262" y="9086"/>
                      <a:pt x="4262" y="9086"/>
                      <a:pt x="4262" y="9086"/>
                    </a:cubicBezTo>
                    <a:cubicBezTo>
                      <a:pt x="4263" y="8938"/>
                      <a:pt x="4263" y="8938"/>
                      <a:pt x="4263" y="8938"/>
                    </a:cubicBezTo>
                    <a:cubicBezTo>
                      <a:pt x="4367" y="8938"/>
                      <a:pt x="4367" y="8938"/>
                      <a:pt x="4367" y="8938"/>
                    </a:cubicBezTo>
                    <a:cubicBezTo>
                      <a:pt x="4366" y="9086"/>
                      <a:pt x="4366" y="9086"/>
                      <a:pt x="4366" y="9086"/>
                    </a:cubicBezTo>
                    <a:lnTo>
                      <a:pt x="4360" y="9086"/>
                    </a:lnTo>
                    <a:close/>
                    <a:moveTo>
                      <a:pt x="4354" y="8951"/>
                    </a:moveTo>
                    <a:cubicBezTo>
                      <a:pt x="4276" y="8951"/>
                      <a:pt x="4276" y="8951"/>
                      <a:pt x="4276" y="8951"/>
                    </a:cubicBezTo>
                    <a:cubicBezTo>
                      <a:pt x="4275" y="9073"/>
                      <a:pt x="4275" y="9073"/>
                      <a:pt x="4275" y="9073"/>
                    </a:cubicBezTo>
                    <a:cubicBezTo>
                      <a:pt x="4353" y="9073"/>
                      <a:pt x="4353" y="9073"/>
                      <a:pt x="4353" y="9073"/>
                    </a:cubicBezTo>
                    <a:lnTo>
                      <a:pt x="4354" y="8951"/>
                    </a:lnTo>
                    <a:close/>
                    <a:moveTo>
                      <a:pt x="4180" y="8475"/>
                    </a:moveTo>
                    <a:cubicBezTo>
                      <a:pt x="4221" y="8689"/>
                      <a:pt x="4221" y="8689"/>
                      <a:pt x="4221" y="8689"/>
                    </a:cubicBezTo>
                    <a:cubicBezTo>
                      <a:pt x="4189" y="8703"/>
                      <a:pt x="4189" y="8703"/>
                      <a:pt x="4189" y="8703"/>
                    </a:cubicBezTo>
                    <a:cubicBezTo>
                      <a:pt x="4106" y="8499"/>
                      <a:pt x="4106" y="8499"/>
                      <a:pt x="4106" y="8499"/>
                    </a:cubicBezTo>
                    <a:cubicBezTo>
                      <a:pt x="4178" y="8466"/>
                      <a:pt x="4178" y="8466"/>
                      <a:pt x="4178" y="8466"/>
                    </a:cubicBezTo>
                    <a:lnTo>
                      <a:pt x="4180" y="8475"/>
                    </a:lnTo>
                    <a:close/>
                    <a:moveTo>
                      <a:pt x="4204" y="8680"/>
                    </a:moveTo>
                    <a:cubicBezTo>
                      <a:pt x="4167" y="8487"/>
                      <a:pt x="4167" y="8487"/>
                      <a:pt x="4167" y="8487"/>
                    </a:cubicBezTo>
                    <a:cubicBezTo>
                      <a:pt x="4125" y="8507"/>
                      <a:pt x="4125" y="8507"/>
                      <a:pt x="4125" y="8507"/>
                    </a:cubicBezTo>
                    <a:cubicBezTo>
                      <a:pt x="4197" y="8683"/>
                      <a:pt x="4197" y="8683"/>
                      <a:pt x="4197" y="8683"/>
                    </a:cubicBezTo>
                    <a:lnTo>
                      <a:pt x="4204" y="8680"/>
                    </a:lnTo>
                    <a:close/>
                    <a:moveTo>
                      <a:pt x="4885" y="8905"/>
                    </a:moveTo>
                    <a:cubicBezTo>
                      <a:pt x="4787" y="8904"/>
                      <a:pt x="4787" y="8904"/>
                      <a:pt x="4787" y="8904"/>
                    </a:cubicBezTo>
                    <a:cubicBezTo>
                      <a:pt x="4788" y="8756"/>
                      <a:pt x="4788" y="8756"/>
                      <a:pt x="4788" y="8756"/>
                    </a:cubicBezTo>
                    <a:cubicBezTo>
                      <a:pt x="4892" y="8757"/>
                      <a:pt x="4892" y="8757"/>
                      <a:pt x="4892" y="8757"/>
                    </a:cubicBezTo>
                    <a:cubicBezTo>
                      <a:pt x="4891" y="8905"/>
                      <a:pt x="4891" y="8905"/>
                      <a:pt x="4891" y="8905"/>
                    </a:cubicBezTo>
                    <a:lnTo>
                      <a:pt x="4885" y="8905"/>
                    </a:lnTo>
                    <a:close/>
                    <a:moveTo>
                      <a:pt x="4879" y="8770"/>
                    </a:moveTo>
                    <a:cubicBezTo>
                      <a:pt x="4801" y="8769"/>
                      <a:pt x="4801" y="8769"/>
                      <a:pt x="4801" y="8769"/>
                    </a:cubicBezTo>
                    <a:cubicBezTo>
                      <a:pt x="4800" y="8892"/>
                      <a:pt x="4800" y="8892"/>
                      <a:pt x="4800" y="8892"/>
                    </a:cubicBezTo>
                    <a:cubicBezTo>
                      <a:pt x="4878" y="8892"/>
                      <a:pt x="4878" y="8892"/>
                      <a:pt x="4878" y="8892"/>
                    </a:cubicBezTo>
                    <a:lnTo>
                      <a:pt x="4879" y="8770"/>
                    </a:lnTo>
                    <a:close/>
                    <a:moveTo>
                      <a:pt x="14984" y="700"/>
                    </a:moveTo>
                    <a:cubicBezTo>
                      <a:pt x="14984" y="700"/>
                      <a:pt x="14984" y="700"/>
                      <a:pt x="14984" y="700"/>
                    </a:cubicBezTo>
                    <a:cubicBezTo>
                      <a:pt x="14984" y="700"/>
                      <a:pt x="14983" y="700"/>
                      <a:pt x="14983" y="700"/>
                    </a:cubicBezTo>
                    <a:cubicBezTo>
                      <a:pt x="14983" y="700"/>
                      <a:pt x="14983" y="700"/>
                      <a:pt x="14983" y="700"/>
                    </a:cubicBezTo>
                    <a:cubicBezTo>
                      <a:pt x="14984" y="700"/>
                      <a:pt x="14984" y="700"/>
                      <a:pt x="14984" y="700"/>
                    </a:cubicBezTo>
                    <a:cubicBezTo>
                      <a:pt x="14984" y="700"/>
                      <a:pt x="14984" y="700"/>
                      <a:pt x="14984" y="700"/>
                    </a:cubicBezTo>
                    <a:close/>
                    <a:moveTo>
                      <a:pt x="6520" y="3392"/>
                    </a:moveTo>
                    <a:cubicBezTo>
                      <a:pt x="6463" y="3631"/>
                      <a:pt x="6463" y="3631"/>
                      <a:pt x="6463" y="3631"/>
                    </a:cubicBezTo>
                    <a:cubicBezTo>
                      <a:pt x="6316" y="3596"/>
                      <a:pt x="6316" y="3596"/>
                      <a:pt x="6316" y="3596"/>
                    </a:cubicBezTo>
                    <a:cubicBezTo>
                      <a:pt x="6318" y="3589"/>
                      <a:pt x="6318" y="3589"/>
                      <a:pt x="6318" y="3589"/>
                    </a:cubicBezTo>
                    <a:cubicBezTo>
                      <a:pt x="6373" y="3357"/>
                      <a:pt x="6373" y="3357"/>
                      <a:pt x="6373" y="3357"/>
                    </a:cubicBezTo>
                    <a:lnTo>
                      <a:pt x="6520" y="3392"/>
                    </a:lnTo>
                    <a:close/>
                    <a:moveTo>
                      <a:pt x="6502" y="3403"/>
                    </a:moveTo>
                    <a:cubicBezTo>
                      <a:pt x="6384" y="3375"/>
                      <a:pt x="6384" y="3375"/>
                      <a:pt x="6384" y="3375"/>
                    </a:cubicBezTo>
                    <a:cubicBezTo>
                      <a:pt x="6334" y="3585"/>
                      <a:pt x="6334" y="3585"/>
                      <a:pt x="6334" y="3585"/>
                    </a:cubicBezTo>
                    <a:cubicBezTo>
                      <a:pt x="6452" y="3613"/>
                      <a:pt x="6452" y="3613"/>
                      <a:pt x="6452" y="3613"/>
                    </a:cubicBezTo>
                    <a:lnTo>
                      <a:pt x="6502" y="3403"/>
                    </a:lnTo>
                    <a:close/>
                    <a:moveTo>
                      <a:pt x="4692" y="9109"/>
                    </a:moveTo>
                    <a:cubicBezTo>
                      <a:pt x="4548" y="9143"/>
                      <a:pt x="4548" y="9143"/>
                      <a:pt x="4548" y="9143"/>
                    </a:cubicBezTo>
                    <a:cubicBezTo>
                      <a:pt x="4547" y="9137"/>
                      <a:pt x="4547" y="9137"/>
                      <a:pt x="4547" y="9137"/>
                    </a:cubicBezTo>
                    <a:cubicBezTo>
                      <a:pt x="4524" y="9042"/>
                      <a:pt x="4524" y="9042"/>
                      <a:pt x="4524" y="9042"/>
                    </a:cubicBezTo>
                    <a:cubicBezTo>
                      <a:pt x="4668" y="9007"/>
                      <a:pt x="4668" y="9007"/>
                      <a:pt x="4668" y="9007"/>
                    </a:cubicBezTo>
                    <a:lnTo>
                      <a:pt x="4692" y="9109"/>
                    </a:lnTo>
                    <a:close/>
                    <a:moveTo>
                      <a:pt x="4558" y="9127"/>
                    </a:moveTo>
                    <a:cubicBezTo>
                      <a:pt x="4677" y="9099"/>
                      <a:pt x="4677" y="9099"/>
                      <a:pt x="4677" y="9099"/>
                    </a:cubicBezTo>
                    <a:cubicBezTo>
                      <a:pt x="4658" y="9023"/>
                      <a:pt x="4658" y="9023"/>
                      <a:pt x="4658" y="9023"/>
                    </a:cubicBezTo>
                    <a:cubicBezTo>
                      <a:pt x="4540" y="9051"/>
                      <a:pt x="4540" y="9051"/>
                      <a:pt x="4540" y="9051"/>
                    </a:cubicBezTo>
                    <a:lnTo>
                      <a:pt x="4558" y="9127"/>
                    </a:lnTo>
                    <a:close/>
                    <a:moveTo>
                      <a:pt x="3083" y="10055"/>
                    </a:moveTo>
                    <a:cubicBezTo>
                      <a:pt x="3119" y="10283"/>
                      <a:pt x="3119" y="10283"/>
                      <a:pt x="3119" y="10283"/>
                    </a:cubicBezTo>
                    <a:cubicBezTo>
                      <a:pt x="3082" y="10297"/>
                      <a:pt x="3082" y="10297"/>
                      <a:pt x="3082" y="10297"/>
                    </a:cubicBezTo>
                    <a:cubicBezTo>
                      <a:pt x="3026" y="10247"/>
                      <a:pt x="3026" y="10247"/>
                      <a:pt x="3026" y="10247"/>
                    </a:cubicBezTo>
                    <a:cubicBezTo>
                      <a:pt x="3017" y="10330"/>
                      <a:pt x="3017" y="10330"/>
                      <a:pt x="3017" y="10330"/>
                    </a:cubicBezTo>
                    <a:cubicBezTo>
                      <a:pt x="2832" y="10430"/>
                      <a:pt x="2832" y="10430"/>
                      <a:pt x="2832" y="10430"/>
                    </a:cubicBezTo>
                    <a:cubicBezTo>
                      <a:pt x="2650" y="10215"/>
                      <a:pt x="2650" y="10215"/>
                      <a:pt x="2650" y="10215"/>
                    </a:cubicBezTo>
                    <a:cubicBezTo>
                      <a:pt x="2795" y="10193"/>
                      <a:pt x="2795" y="10193"/>
                      <a:pt x="2795" y="10193"/>
                    </a:cubicBezTo>
                    <a:cubicBezTo>
                      <a:pt x="2898" y="10241"/>
                      <a:pt x="2898" y="10241"/>
                      <a:pt x="2898" y="10241"/>
                    </a:cubicBezTo>
                    <a:cubicBezTo>
                      <a:pt x="2910" y="10138"/>
                      <a:pt x="2910" y="10138"/>
                      <a:pt x="2910" y="10138"/>
                    </a:cubicBezTo>
                    <a:cubicBezTo>
                      <a:pt x="3081" y="10045"/>
                      <a:pt x="3081" y="10045"/>
                      <a:pt x="3081" y="10045"/>
                    </a:cubicBezTo>
                    <a:lnTo>
                      <a:pt x="3083" y="10055"/>
                    </a:lnTo>
                    <a:close/>
                    <a:moveTo>
                      <a:pt x="3103" y="10273"/>
                    </a:moveTo>
                    <a:cubicBezTo>
                      <a:pt x="3070" y="10068"/>
                      <a:pt x="3070" y="10068"/>
                      <a:pt x="3070" y="10068"/>
                    </a:cubicBezTo>
                    <a:cubicBezTo>
                      <a:pt x="2924" y="10147"/>
                      <a:pt x="2924" y="10147"/>
                      <a:pt x="2924" y="10147"/>
                    </a:cubicBezTo>
                    <a:cubicBezTo>
                      <a:pt x="2911" y="10263"/>
                      <a:pt x="2911" y="10263"/>
                      <a:pt x="2911" y="10263"/>
                    </a:cubicBezTo>
                    <a:cubicBezTo>
                      <a:pt x="2793" y="10208"/>
                      <a:pt x="2793" y="10208"/>
                      <a:pt x="2793" y="10208"/>
                    </a:cubicBezTo>
                    <a:cubicBezTo>
                      <a:pt x="2678" y="10226"/>
                      <a:pt x="2678" y="10226"/>
                      <a:pt x="2678" y="10226"/>
                    </a:cubicBezTo>
                    <a:cubicBezTo>
                      <a:pt x="2835" y="10411"/>
                      <a:pt x="2835" y="10411"/>
                      <a:pt x="2835" y="10411"/>
                    </a:cubicBezTo>
                    <a:cubicBezTo>
                      <a:pt x="3003" y="10321"/>
                      <a:pt x="3003" y="10321"/>
                      <a:pt x="3003" y="10321"/>
                    </a:cubicBezTo>
                    <a:cubicBezTo>
                      <a:pt x="3014" y="10217"/>
                      <a:pt x="3014" y="10217"/>
                      <a:pt x="3014" y="10217"/>
                    </a:cubicBezTo>
                    <a:cubicBezTo>
                      <a:pt x="3085" y="10280"/>
                      <a:pt x="3085" y="10280"/>
                      <a:pt x="3085" y="10280"/>
                    </a:cubicBezTo>
                    <a:lnTo>
                      <a:pt x="3103" y="10273"/>
                    </a:lnTo>
                    <a:close/>
                    <a:moveTo>
                      <a:pt x="6109" y="3530"/>
                    </a:moveTo>
                    <a:cubicBezTo>
                      <a:pt x="5871" y="3474"/>
                      <a:pt x="5871" y="3474"/>
                      <a:pt x="5871" y="3474"/>
                    </a:cubicBezTo>
                    <a:cubicBezTo>
                      <a:pt x="5902" y="3351"/>
                      <a:pt x="5902" y="3351"/>
                      <a:pt x="5902" y="3351"/>
                    </a:cubicBezTo>
                    <a:cubicBezTo>
                      <a:pt x="6139" y="3406"/>
                      <a:pt x="6139" y="3406"/>
                      <a:pt x="6139" y="3406"/>
                    </a:cubicBezTo>
                    <a:cubicBezTo>
                      <a:pt x="6188" y="3208"/>
                      <a:pt x="6188" y="3208"/>
                      <a:pt x="6188" y="3208"/>
                    </a:cubicBezTo>
                    <a:cubicBezTo>
                      <a:pt x="6148" y="3198"/>
                      <a:pt x="6148" y="3198"/>
                      <a:pt x="6148" y="3198"/>
                    </a:cubicBezTo>
                    <a:cubicBezTo>
                      <a:pt x="6166" y="3126"/>
                      <a:pt x="6166" y="3126"/>
                      <a:pt x="6166" y="3126"/>
                    </a:cubicBezTo>
                    <a:cubicBezTo>
                      <a:pt x="6173" y="3128"/>
                      <a:pt x="6173" y="3128"/>
                      <a:pt x="6173" y="3128"/>
                    </a:cubicBezTo>
                    <a:cubicBezTo>
                      <a:pt x="6649" y="3241"/>
                      <a:pt x="6649" y="3241"/>
                      <a:pt x="6649" y="3241"/>
                    </a:cubicBezTo>
                    <a:cubicBezTo>
                      <a:pt x="6660" y="3188"/>
                      <a:pt x="6660" y="3188"/>
                      <a:pt x="6660" y="3188"/>
                    </a:cubicBezTo>
                    <a:cubicBezTo>
                      <a:pt x="6973" y="3262"/>
                      <a:pt x="6973" y="3262"/>
                      <a:pt x="6973" y="3262"/>
                    </a:cubicBezTo>
                    <a:cubicBezTo>
                      <a:pt x="6874" y="3679"/>
                      <a:pt x="6874" y="3679"/>
                      <a:pt x="6874" y="3679"/>
                    </a:cubicBezTo>
                    <a:cubicBezTo>
                      <a:pt x="6794" y="3659"/>
                      <a:pt x="6794" y="3659"/>
                      <a:pt x="6794" y="3659"/>
                    </a:cubicBezTo>
                    <a:cubicBezTo>
                      <a:pt x="6732" y="3938"/>
                      <a:pt x="6732" y="3938"/>
                      <a:pt x="6732" y="3938"/>
                    </a:cubicBezTo>
                    <a:cubicBezTo>
                      <a:pt x="6807" y="3957"/>
                      <a:pt x="6807" y="3957"/>
                      <a:pt x="6807" y="3957"/>
                    </a:cubicBezTo>
                    <a:cubicBezTo>
                      <a:pt x="6789" y="4051"/>
                      <a:pt x="6789" y="4051"/>
                      <a:pt x="6789" y="4051"/>
                    </a:cubicBezTo>
                    <a:cubicBezTo>
                      <a:pt x="6474" y="3976"/>
                      <a:pt x="6474" y="3976"/>
                      <a:pt x="6474" y="3976"/>
                    </a:cubicBezTo>
                    <a:cubicBezTo>
                      <a:pt x="6490" y="3894"/>
                      <a:pt x="6490" y="3894"/>
                      <a:pt x="6490" y="3894"/>
                    </a:cubicBezTo>
                    <a:cubicBezTo>
                      <a:pt x="6223" y="3830"/>
                      <a:pt x="6223" y="3830"/>
                      <a:pt x="6223" y="3830"/>
                    </a:cubicBezTo>
                    <a:cubicBezTo>
                      <a:pt x="6257" y="3679"/>
                      <a:pt x="6257" y="3679"/>
                      <a:pt x="6257" y="3679"/>
                    </a:cubicBezTo>
                    <a:cubicBezTo>
                      <a:pt x="6529" y="3741"/>
                      <a:pt x="6529" y="3741"/>
                      <a:pt x="6529" y="3741"/>
                    </a:cubicBezTo>
                    <a:cubicBezTo>
                      <a:pt x="6629" y="3311"/>
                      <a:pt x="6629" y="3311"/>
                      <a:pt x="6629" y="3311"/>
                    </a:cubicBezTo>
                    <a:cubicBezTo>
                      <a:pt x="6320" y="3240"/>
                      <a:pt x="6320" y="3240"/>
                      <a:pt x="6320" y="3240"/>
                    </a:cubicBezTo>
                    <a:cubicBezTo>
                      <a:pt x="6235" y="3596"/>
                      <a:pt x="6235" y="3596"/>
                      <a:pt x="6235" y="3596"/>
                    </a:cubicBezTo>
                    <a:cubicBezTo>
                      <a:pt x="6101" y="3566"/>
                      <a:pt x="6101" y="3566"/>
                      <a:pt x="6101" y="3566"/>
                    </a:cubicBezTo>
                    <a:lnTo>
                      <a:pt x="6109" y="3530"/>
                    </a:lnTo>
                    <a:close/>
                    <a:moveTo>
                      <a:pt x="6127" y="3519"/>
                    </a:moveTo>
                    <a:cubicBezTo>
                      <a:pt x="6119" y="3555"/>
                      <a:pt x="6119" y="3555"/>
                      <a:pt x="6119" y="3555"/>
                    </a:cubicBezTo>
                    <a:cubicBezTo>
                      <a:pt x="6224" y="3579"/>
                      <a:pt x="6224" y="3579"/>
                      <a:pt x="6224" y="3579"/>
                    </a:cubicBezTo>
                    <a:cubicBezTo>
                      <a:pt x="6309" y="3223"/>
                      <a:pt x="6309" y="3223"/>
                      <a:pt x="6309" y="3223"/>
                    </a:cubicBezTo>
                    <a:cubicBezTo>
                      <a:pt x="6647" y="3300"/>
                      <a:pt x="6647" y="3300"/>
                      <a:pt x="6647" y="3300"/>
                    </a:cubicBezTo>
                    <a:cubicBezTo>
                      <a:pt x="6540" y="3759"/>
                      <a:pt x="6540" y="3759"/>
                      <a:pt x="6540" y="3759"/>
                    </a:cubicBezTo>
                    <a:cubicBezTo>
                      <a:pt x="6268" y="3697"/>
                      <a:pt x="6268" y="3697"/>
                      <a:pt x="6268" y="3697"/>
                    </a:cubicBezTo>
                    <a:cubicBezTo>
                      <a:pt x="6241" y="3819"/>
                      <a:pt x="6241" y="3819"/>
                      <a:pt x="6241" y="3819"/>
                    </a:cubicBezTo>
                    <a:cubicBezTo>
                      <a:pt x="6507" y="3883"/>
                      <a:pt x="6507" y="3883"/>
                      <a:pt x="6507" y="3883"/>
                    </a:cubicBezTo>
                    <a:cubicBezTo>
                      <a:pt x="6491" y="3965"/>
                      <a:pt x="6491" y="3965"/>
                      <a:pt x="6491" y="3965"/>
                    </a:cubicBezTo>
                    <a:cubicBezTo>
                      <a:pt x="6778" y="4033"/>
                      <a:pt x="6778" y="4033"/>
                      <a:pt x="6778" y="4033"/>
                    </a:cubicBezTo>
                    <a:cubicBezTo>
                      <a:pt x="6790" y="3968"/>
                      <a:pt x="6790" y="3968"/>
                      <a:pt x="6790" y="3968"/>
                    </a:cubicBezTo>
                    <a:cubicBezTo>
                      <a:pt x="6714" y="3949"/>
                      <a:pt x="6714" y="3949"/>
                      <a:pt x="6714" y="3949"/>
                    </a:cubicBezTo>
                    <a:cubicBezTo>
                      <a:pt x="6783" y="3641"/>
                      <a:pt x="6783" y="3641"/>
                      <a:pt x="6783" y="3641"/>
                    </a:cubicBezTo>
                    <a:cubicBezTo>
                      <a:pt x="6863" y="3661"/>
                      <a:pt x="6863" y="3661"/>
                      <a:pt x="6863" y="3661"/>
                    </a:cubicBezTo>
                    <a:cubicBezTo>
                      <a:pt x="6955" y="3273"/>
                      <a:pt x="6955" y="3273"/>
                      <a:pt x="6955" y="3273"/>
                    </a:cubicBezTo>
                    <a:cubicBezTo>
                      <a:pt x="6671" y="3206"/>
                      <a:pt x="6671" y="3206"/>
                      <a:pt x="6671" y="3206"/>
                    </a:cubicBezTo>
                    <a:cubicBezTo>
                      <a:pt x="6660" y="3259"/>
                      <a:pt x="6660" y="3259"/>
                      <a:pt x="6660" y="3259"/>
                    </a:cubicBezTo>
                    <a:cubicBezTo>
                      <a:pt x="6177" y="3144"/>
                      <a:pt x="6177" y="3144"/>
                      <a:pt x="6177" y="3144"/>
                    </a:cubicBezTo>
                    <a:cubicBezTo>
                      <a:pt x="6166" y="3187"/>
                      <a:pt x="6166" y="3187"/>
                      <a:pt x="6166" y="3187"/>
                    </a:cubicBezTo>
                    <a:cubicBezTo>
                      <a:pt x="6205" y="3197"/>
                      <a:pt x="6205" y="3197"/>
                      <a:pt x="6205" y="3197"/>
                    </a:cubicBezTo>
                    <a:cubicBezTo>
                      <a:pt x="6150" y="3423"/>
                      <a:pt x="6150" y="3423"/>
                      <a:pt x="6150" y="3423"/>
                    </a:cubicBezTo>
                    <a:cubicBezTo>
                      <a:pt x="5913" y="3369"/>
                      <a:pt x="5913" y="3369"/>
                      <a:pt x="5913" y="3369"/>
                    </a:cubicBezTo>
                    <a:cubicBezTo>
                      <a:pt x="5889" y="3463"/>
                      <a:pt x="5889" y="3463"/>
                      <a:pt x="5889" y="3463"/>
                    </a:cubicBezTo>
                    <a:lnTo>
                      <a:pt x="6127" y="3519"/>
                    </a:lnTo>
                    <a:close/>
                    <a:moveTo>
                      <a:pt x="10371" y="216"/>
                    </a:moveTo>
                    <a:cubicBezTo>
                      <a:pt x="10363" y="0"/>
                      <a:pt x="10363" y="0"/>
                      <a:pt x="10363" y="0"/>
                    </a:cubicBezTo>
                    <a:cubicBezTo>
                      <a:pt x="10349" y="0"/>
                      <a:pt x="10349" y="0"/>
                      <a:pt x="10349" y="0"/>
                    </a:cubicBezTo>
                    <a:cubicBezTo>
                      <a:pt x="10358" y="217"/>
                      <a:pt x="10358" y="217"/>
                      <a:pt x="10358" y="217"/>
                    </a:cubicBezTo>
                    <a:lnTo>
                      <a:pt x="10371" y="216"/>
                    </a:lnTo>
                    <a:close/>
                    <a:moveTo>
                      <a:pt x="14984" y="700"/>
                    </a:moveTo>
                    <a:cubicBezTo>
                      <a:pt x="14984" y="700"/>
                      <a:pt x="14984" y="700"/>
                      <a:pt x="14984" y="700"/>
                    </a:cubicBezTo>
                    <a:cubicBezTo>
                      <a:pt x="14984" y="700"/>
                      <a:pt x="14984" y="700"/>
                      <a:pt x="14984" y="700"/>
                    </a:cubicBezTo>
                    <a:cubicBezTo>
                      <a:pt x="14984" y="700"/>
                      <a:pt x="14984" y="700"/>
                      <a:pt x="14984" y="700"/>
                    </a:cubicBezTo>
                    <a:close/>
                    <a:moveTo>
                      <a:pt x="3561" y="10059"/>
                    </a:moveTo>
                    <a:cubicBezTo>
                      <a:pt x="3556" y="10048"/>
                      <a:pt x="3518" y="9981"/>
                      <a:pt x="3482" y="9918"/>
                    </a:cubicBezTo>
                    <a:cubicBezTo>
                      <a:pt x="3444" y="9851"/>
                      <a:pt x="3406" y="9786"/>
                      <a:pt x="3406" y="9786"/>
                    </a:cubicBezTo>
                    <a:cubicBezTo>
                      <a:pt x="3404" y="9784"/>
                      <a:pt x="3404" y="9784"/>
                      <a:pt x="3404" y="9784"/>
                    </a:cubicBezTo>
                    <a:cubicBezTo>
                      <a:pt x="3521" y="9289"/>
                      <a:pt x="3521" y="9289"/>
                      <a:pt x="3521" y="9289"/>
                    </a:cubicBezTo>
                    <a:cubicBezTo>
                      <a:pt x="3875" y="9745"/>
                      <a:pt x="3875" y="9745"/>
                      <a:pt x="3875" y="9745"/>
                    </a:cubicBezTo>
                    <a:cubicBezTo>
                      <a:pt x="3877" y="9747"/>
                      <a:pt x="3877" y="9747"/>
                      <a:pt x="3877" y="9747"/>
                    </a:cubicBezTo>
                    <a:cubicBezTo>
                      <a:pt x="3882" y="9754"/>
                      <a:pt x="3882" y="9754"/>
                      <a:pt x="3882" y="9754"/>
                    </a:cubicBezTo>
                    <a:cubicBezTo>
                      <a:pt x="3875" y="9758"/>
                      <a:pt x="3875" y="9758"/>
                      <a:pt x="3875" y="9758"/>
                    </a:cubicBezTo>
                    <a:cubicBezTo>
                      <a:pt x="3874" y="9758"/>
                      <a:pt x="3826" y="9787"/>
                      <a:pt x="3778" y="9817"/>
                    </a:cubicBezTo>
                    <a:cubicBezTo>
                      <a:pt x="3754" y="9832"/>
                      <a:pt x="3729" y="9847"/>
                      <a:pt x="3711" y="9858"/>
                    </a:cubicBezTo>
                    <a:cubicBezTo>
                      <a:pt x="3702" y="9864"/>
                      <a:pt x="3695" y="9869"/>
                      <a:pt x="3690" y="9872"/>
                    </a:cubicBezTo>
                    <a:cubicBezTo>
                      <a:pt x="3687" y="9873"/>
                      <a:pt x="3685" y="9875"/>
                      <a:pt x="3684" y="9876"/>
                    </a:cubicBezTo>
                    <a:cubicBezTo>
                      <a:pt x="3683" y="9879"/>
                      <a:pt x="3682" y="9881"/>
                      <a:pt x="3679" y="9885"/>
                    </a:cubicBezTo>
                    <a:cubicBezTo>
                      <a:pt x="3669" y="9905"/>
                      <a:pt x="3642" y="9947"/>
                      <a:pt x="3619" y="9986"/>
                    </a:cubicBezTo>
                    <a:cubicBezTo>
                      <a:pt x="3607" y="10005"/>
                      <a:pt x="3596" y="10024"/>
                      <a:pt x="3588" y="10037"/>
                    </a:cubicBezTo>
                    <a:cubicBezTo>
                      <a:pt x="3584" y="10044"/>
                      <a:pt x="3581" y="10050"/>
                      <a:pt x="3578" y="10054"/>
                    </a:cubicBezTo>
                    <a:cubicBezTo>
                      <a:pt x="3577" y="10056"/>
                      <a:pt x="3576" y="10058"/>
                      <a:pt x="3576" y="10059"/>
                    </a:cubicBezTo>
                    <a:cubicBezTo>
                      <a:pt x="3576" y="10060"/>
                      <a:pt x="3576" y="10061"/>
                      <a:pt x="3575" y="10062"/>
                    </a:cubicBezTo>
                    <a:cubicBezTo>
                      <a:pt x="3574" y="10065"/>
                      <a:pt x="3570" y="10066"/>
                      <a:pt x="3568" y="10066"/>
                    </a:cubicBezTo>
                    <a:cubicBezTo>
                      <a:pt x="3568" y="10066"/>
                      <a:pt x="3568" y="10066"/>
                      <a:pt x="3568" y="10066"/>
                    </a:cubicBezTo>
                    <a:cubicBezTo>
                      <a:pt x="3566" y="10066"/>
                      <a:pt x="3563" y="10064"/>
                      <a:pt x="3562" y="10062"/>
                    </a:cubicBezTo>
                    <a:cubicBezTo>
                      <a:pt x="3561" y="10061"/>
                      <a:pt x="3561" y="10060"/>
                      <a:pt x="3561" y="10059"/>
                    </a:cubicBezTo>
                    <a:close/>
                    <a:moveTo>
                      <a:pt x="3551" y="10008"/>
                    </a:moveTo>
                    <a:cubicBezTo>
                      <a:pt x="3558" y="10022"/>
                      <a:pt x="3564" y="10033"/>
                      <a:pt x="3568" y="10041"/>
                    </a:cubicBezTo>
                    <a:cubicBezTo>
                      <a:pt x="3568" y="10041"/>
                      <a:pt x="3568" y="10041"/>
                      <a:pt x="3569" y="10041"/>
                    </a:cubicBezTo>
                    <a:cubicBezTo>
                      <a:pt x="3580" y="10021"/>
                      <a:pt x="3605" y="9981"/>
                      <a:pt x="3627" y="9945"/>
                    </a:cubicBezTo>
                    <a:cubicBezTo>
                      <a:pt x="3638" y="9925"/>
                      <a:pt x="3650" y="9907"/>
                      <a:pt x="3658" y="9893"/>
                    </a:cubicBezTo>
                    <a:cubicBezTo>
                      <a:pt x="3662" y="9886"/>
                      <a:pt x="3665" y="9880"/>
                      <a:pt x="3667" y="9876"/>
                    </a:cubicBezTo>
                    <a:cubicBezTo>
                      <a:pt x="3668" y="9874"/>
                      <a:pt x="3669" y="9873"/>
                      <a:pt x="3670" y="9871"/>
                    </a:cubicBezTo>
                    <a:cubicBezTo>
                      <a:pt x="3670" y="9871"/>
                      <a:pt x="3670" y="9871"/>
                      <a:pt x="3670" y="9871"/>
                    </a:cubicBezTo>
                    <a:cubicBezTo>
                      <a:pt x="3671" y="9867"/>
                      <a:pt x="3672" y="9867"/>
                      <a:pt x="3672" y="9867"/>
                    </a:cubicBezTo>
                    <a:cubicBezTo>
                      <a:pt x="3676" y="9863"/>
                      <a:pt x="3687" y="9856"/>
                      <a:pt x="3706" y="9844"/>
                    </a:cubicBezTo>
                    <a:cubicBezTo>
                      <a:pt x="3753" y="9815"/>
                      <a:pt x="3835" y="9764"/>
                      <a:pt x="3860" y="9750"/>
                    </a:cubicBezTo>
                    <a:cubicBezTo>
                      <a:pt x="3528" y="9323"/>
                      <a:pt x="3528" y="9323"/>
                      <a:pt x="3528" y="9323"/>
                    </a:cubicBezTo>
                    <a:cubicBezTo>
                      <a:pt x="3420" y="9781"/>
                      <a:pt x="3420" y="9781"/>
                      <a:pt x="3420" y="9781"/>
                    </a:cubicBezTo>
                    <a:cubicBezTo>
                      <a:pt x="3428" y="9794"/>
                      <a:pt x="3462" y="9854"/>
                      <a:pt x="3497" y="9914"/>
                    </a:cubicBezTo>
                    <a:cubicBezTo>
                      <a:pt x="3516" y="9948"/>
                      <a:pt x="3536" y="9982"/>
                      <a:pt x="3551" y="10008"/>
                    </a:cubicBezTo>
                    <a:close/>
                    <a:moveTo>
                      <a:pt x="10552" y="211"/>
                    </a:moveTo>
                    <a:cubicBezTo>
                      <a:pt x="10532" y="0"/>
                      <a:pt x="10532" y="0"/>
                      <a:pt x="10532" y="0"/>
                    </a:cubicBezTo>
                    <a:cubicBezTo>
                      <a:pt x="10518" y="0"/>
                      <a:pt x="10518" y="0"/>
                      <a:pt x="10518" y="0"/>
                    </a:cubicBezTo>
                    <a:cubicBezTo>
                      <a:pt x="10538" y="212"/>
                      <a:pt x="10538" y="212"/>
                      <a:pt x="10538" y="212"/>
                    </a:cubicBezTo>
                    <a:lnTo>
                      <a:pt x="10552" y="211"/>
                    </a:lnTo>
                    <a:close/>
                    <a:moveTo>
                      <a:pt x="6531" y="3142"/>
                    </a:moveTo>
                    <a:cubicBezTo>
                      <a:pt x="6060" y="3031"/>
                      <a:pt x="6060" y="3031"/>
                      <a:pt x="6060" y="3031"/>
                    </a:cubicBezTo>
                    <a:cubicBezTo>
                      <a:pt x="6102" y="2856"/>
                      <a:pt x="6102" y="2856"/>
                      <a:pt x="6102" y="2856"/>
                    </a:cubicBezTo>
                    <a:cubicBezTo>
                      <a:pt x="6579" y="2969"/>
                      <a:pt x="6579" y="2969"/>
                      <a:pt x="6579" y="2969"/>
                    </a:cubicBezTo>
                    <a:cubicBezTo>
                      <a:pt x="6538" y="3144"/>
                      <a:pt x="6538" y="3144"/>
                      <a:pt x="6538" y="3144"/>
                    </a:cubicBezTo>
                    <a:lnTo>
                      <a:pt x="6531" y="3142"/>
                    </a:lnTo>
                    <a:close/>
                    <a:moveTo>
                      <a:pt x="6527" y="3126"/>
                    </a:moveTo>
                    <a:cubicBezTo>
                      <a:pt x="6562" y="2980"/>
                      <a:pt x="6562" y="2980"/>
                      <a:pt x="6562" y="2980"/>
                    </a:cubicBezTo>
                    <a:cubicBezTo>
                      <a:pt x="6113" y="2873"/>
                      <a:pt x="6113" y="2873"/>
                      <a:pt x="6113" y="2873"/>
                    </a:cubicBezTo>
                    <a:cubicBezTo>
                      <a:pt x="6078" y="3020"/>
                      <a:pt x="6078" y="3020"/>
                      <a:pt x="6078" y="3020"/>
                    </a:cubicBezTo>
                    <a:lnTo>
                      <a:pt x="6527" y="3126"/>
                    </a:lnTo>
                    <a:close/>
                    <a:moveTo>
                      <a:pt x="2419" y="10351"/>
                    </a:moveTo>
                    <a:cubicBezTo>
                      <a:pt x="2500" y="10407"/>
                      <a:pt x="2500" y="10407"/>
                      <a:pt x="2500" y="10407"/>
                    </a:cubicBezTo>
                    <a:cubicBezTo>
                      <a:pt x="2560" y="10517"/>
                      <a:pt x="2560" y="10517"/>
                      <a:pt x="2560" y="10517"/>
                    </a:cubicBezTo>
                    <a:cubicBezTo>
                      <a:pt x="2303" y="10509"/>
                      <a:pt x="2303" y="10509"/>
                      <a:pt x="2303" y="10509"/>
                    </a:cubicBezTo>
                    <a:cubicBezTo>
                      <a:pt x="2342" y="10241"/>
                      <a:pt x="2342" y="10241"/>
                      <a:pt x="2342" y="10241"/>
                    </a:cubicBezTo>
                    <a:cubicBezTo>
                      <a:pt x="2427" y="10239"/>
                      <a:pt x="2427" y="10239"/>
                      <a:pt x="2427" y="10239"/>
                    </a:cubicBezTo>
                    <a:cubicBezTo>
                      <a:pt x="2427" y="10247"/>
                      <a:pt x="2427" y="10247"/>
                      <a:pt x="2427" y="10247"/>
                    </a:cubicBezTo>
                    <a:lnTo>
                      <a:pt x="2419" y="10351"/>
                    </a:lnTo>
                    <a:close/>
                    <a:moveTo>
                      <a:pt x="2403" y="10358"/>
                    </a:moveTo>
                    <a:cubicBezTo>
                      <a:pt x="2411" y="10254"/>
                      <a:pt x="2411" y="10254"/>
                      <a:pt x="2411" y="10254"/>
                    </a:cubicBezTo>
                    <a:cubicBezTo>
                      <a:pt x="2355" y="10255"/>
                      <a:pt x="2355" y="10255"/>
                      <a:pt x="2355" y="10255"/>
                    </a:cubicBezTo>
                    <a:cubicBezTo>
                      <a:pt x="2320" y="10495"/>
                      <a:pt x="2320" y="10495"/>
                      <a:pt x="2320" y="10495"/>
                    </a:cubicBezTo>
                    <a:cubicBezTo>
                      <a:pt x="2535" y="10501"/>
                      <a:pt x="2535" y="10501"/>
                      <a:pt x="2535" y="10501"/>
                    </a:cubicBezTo>
                    <a:cubicBezTo>
                      <a:pt x="2489" y="10417"/>
                      <a:pt x="2489" y="10417"/>
                      <a:pt x="2489" y="10417"/>
                    </a:cubicBezTo>
                    <a:lnTo>
                      <a:pt x="2403" y="10358"/>
                    </a:lnTo>
                    <a:close/>
                    <a:moveTo>
                      <a:pt x="478" y="7398"/>
                    </a:moveTo>
                    <a:cubicBezTo>
                      <a:pt x="642" y="7249"/>
                      <a:pt x="642" y="7249"/>
                      <a:pt x="642" y="7249"/>
                    </a:cubicBezTo>
                    <a:cubicBezTo>
                      <a:pt x="861" y="7452"/>
                      <a:pt x="861" y="7452"/>
                      <a:pt x="861" y="7452"/>
                    </a:cubicBezTo>
                    <a:cubicBezTo>
                      <a:pt x="856" y="7458"/>
                      <a:pt x="856" y="7458"/>
                      <a:pt x="856" y="7458"/>
                    </a:cubicBezTo>
                    <a:cubicBezTo>
                      <a:pt x="797" y="7519"/>
                      <a:pt x="797" y="7519"/>
                      <a:pt x="797" y="7519"/>
                    </a:cubicBezTo>
                    <a:cubicBezTo>
                      <a:pt x="752" y="7476"/>
                      <a:pt x="752" y="7476"/>
                      <a:pt x="752" y="7476"/>
                    </a:cubicBezTo>
                    <a:cubicBezTo>
                      <a:pt x="678" y="7539"/>
                      <a:pt x="678" y="7539"/>
                      <a:pt x="678" y="7539"/>
                    </a:cubicBezTo>
                    <a:cubicBezTo>
                      <a:pt x="609" y="7498"/>
                      <a:pt x="609" y="7498"/>
                      <a:pt x="609" y="7498"/>
                    </a:cubicBezTo>
                    <a:cubicBezTo>
                      <a:pt x="653" y="7455"/>
                      <a:pt x="653" y="7455"/>
                      <a:pt x="653" y="7455"/>
                    </a:cubicBezTo>
                    <a:cubicBezTo>
                      <a:pt x="633" y="7420"/>
                      <a:pt x="633" y="7420"/>
                      <a:pt x="633" y="7420"/>
                    </a:cubicBezTo>
                    <a:cubicBezTo>
                      <a:pt x="527" y="7498"/>
                      <a:pt x="527" y="7498"/>
                      <a:pt x="527" y="7498"/>
                    </a:cubicBezTo>
                    <a:cubicBezTo>
                      <a:pt x="506" y="7471"/>
                      <a:pt x="506" y="7471"/>
                      <a:pt x="506" y="7471"/>
                    </a:cubicBezTo>
                    <a:cubicBezTo>
                      <a:pt x="525" y="7442"/>
                      <a:pt x="525" y="7442"/>
                      <a:pt x="525" y="7442"/>
                    </a:cubicBezTo>
                    <a:lnTo>
                      <a:pt x="478" y="7398"/>
                    </a:lnTo>
                    <a:close/>
                    <a:moveTo>
                      <a:pt x="642" y="7269"/>
                    </a:moveTo>
                    <a:cubicBezTo>
                      <a:pt x="500" y="7398"/>
                      <a:pt x="500" y="7398"/>
                      <a:pt x="500" y="7398"/>
                    </a:cubicBezTo>
                    <a:cubicBezTo>
                      <a:pt x="544" y="7440"/>
                      <a:pt x="544" y="7440"/>
                      <a:pt x="544" y="7440"/>
                    </a:cubicBezTo>
                    <a:cubicBezTo>
                      <a:pt x="524" y="7471"/>
                      <a:pt x="524" y="7471"/>
                      <a:pt x="524" y="7471"/>
                    </a:cubicBezTo>
                    <a:cubicBezTo>
                      <a:pt x="530" y="7478"/>
                      <a:pt x="530" y="7478"/>
                      <a:pt x="530" y="7478"/>
                    </a:cubicBezTo>
                    <a:cubicBezTo>
                      <a:pt x="638" y="7398"/>
                      <a:pt x="638" y="7398"/>
                      <a:pt x="638" y="7398"/>
                    </a:cubicBezTo>
                    <a:cubicBezTo>
                      <a:pt x="671" y="7458"/>
                      <a:pt x="671" y="7458"/>
                      <a:pt x="671" y="7458"/>
                    </a:cubicBezTo>
                    <a:cubicBezTo>
                      <a:pt x="633" y="7495"/>
                      <a:pt x="633" y="7495"/>
                      <a:pt x="633" y="7495"/>
                    </a:cubicBezTo>
                    <a:cubicBezTo>
                      <a:pt x="676" y="7521"/>
                      <a:pt x="676" y="7521"/>
                      <a:pt x="676" y="7521"/>
                    </a:cubicBezTo>
                    <a:cubicBezTo>
                      <a:pt x="753" y="7456"/>
                      <a:pt x="753" y="7456"/>
                      <a:pt x="753" y="7456"/>
                    </a:cubicBezTo>
                    <a:cubicBezTo>
                      <a:pt x="797" y="7498"/>
                      <a:pt x="797" y="7498"/>
                      <a:pt x="797" y="7498"/>
                    </a:cubicBezTo>
                    <a:cubicBezTo>
                      <a:pt x="840" y="7453"/>
                      <a:pt x="840" y="7453"/>
                      <a:pt x="840" y="7453"/>
                    </a:cubicBezTo>
                    <a:lnTo>
                      <a:pt x="642" y="7269"/>
                    </a:lnTo>
                    <a:close/>
                    <a:moveTo>
                      <a:pt x="14984" y="700"/>
                    </a:moveTo>
                    <a:cubicBezTo>
                      <a:pt x="14984" y="700"/>
                      <a:pt x="14984" y="700"/>
                      <a:pt x="14984" y="700"/>
                    </a:cubicBezTo>
                    <a:cubicBezTo>
                      <a:pt x="14984" y="700"/>
                      <a:pt x="14984" y="700"/>
                      <a:pt x="14984" y="700"/>
                    </a:cubicBezTo>
                    <a:cubicBezTo>
                      <a:pt x="14984" y="700"/>
                      <a:pt x="14984" y="700"/>
                      <a:pt x="14984" y="700"/>
                    </a:cubicBezTo>
                    <a:close/>
                    <a:moveTo>
                      <a:pt x="3318" y="8152"/>
                    </a:moveTo>
                    <a:cubicBezTo>
                      <a:pt x="3213" y="8305"/>
                      <a:pt x="3213" y="8305"/>
                      <a:pt x="3213" y="8305"/>
                    </a:cubicBezTo>
                    <a:cubicBezTo>
                      <a:pt x="3148" y="8186"/>
                      <a:pt x="3148" y="8186"/>
                      <a:pt x="3148" y="8186"/>
                    </a:cubicBezTo>
                    <a:cubicBezTo>
                      <a:pt x="3202" y="8161"/>
                      <a:pt x="3202" y="8161"/>
                      <a:pt x="3202" y="8161"/>
                    </a:cubicBezTo>
                    <a:cubicBezTo>
                      <a:pt x="2971" y="7931"/>
                      <a:pt x="2971" y="7931"/>
                      <a:pt x="2971" y="7931"/>
                    </a:cubicBezTo>
                    <a:cubicBezTo>
                      <a:pt x="2841" y="8028"/>
                      <a:pt x="2841" y="8028"/>
                      <a:pt x="2841" y="8028"/>
                    </a:cubicBezTo>
                    <a:cubicBezTo>
                      <a:pt x="3049" y="8286"/>
                      <a:pt x="3049" y="8286"/>
                      <a:pt x="3049" y="8286"/>
                    </a:cubicBezTo>
                    <a:cubicBezTo>
                      <a:pt x="3088" y="8219"/>
                      <a:pt x="3088" y="8219"/>
                      <a:pt x="3088" y="8219"/>
                    </a:cubicBezTo>
                    <a:cubicBezTo>
                      <a:pt x="3159" y="8351"/>
                      <a:pt x="3159" y="8351"/>
                      <a:pt x="3159" y="8351"/>
                    </a:cubicBezTo>
                    <a:cubicBezTo>
                      <a:pt x="3159" y="8351"/>
                      <a:pt x="3035" y="8435"/>
                      <a:pt x="3036" y="8435"/>
                    </a:cubicBezTo>
                    <a:cubicBezTo>
                      <a:pt x="3037" y="8435"/>
                      <a:pt x="2704" y="8001"/>
                      <a:pt x="2704" y="8001"/>
                    </a:cubicBezTo>
                    <a:cubicBezTo>
                      <a:pt x="2963" y="7816"/>
                      <a:pt x="2963" y="7816"/>
                      <a:pt x="2963" y="7816"/>
                    </a:cubicBezTo>
                    <a:cubicBezTo>
                      <a:pt x="2963" y="7816"/>
                      <a:pt x="3316" y="8151"/>
                      <a:pt x="3318" y="8152"/>
                    </a:cubicBezTo>
                    <a:close/>
                    <a:moveTo>
                      <a:pt x="3214" y="8279"/>
                    </a:moveTo>
                    <a:cubicBezTo>
                      <a:pt x="3300" y="8154"/>
                      <a:pt x="3300" y="8154"/>
                      <a:pt x="3300" y="8154"/>
                    </a:cubicBezTo>
                    <a:cubicBezTo>
                      <a:pt x="3276" y="8131"/>
                      <a:pt x="3202" y="8061"/>
                      <a:pt x="2962" y="7834"/>
                    </a:cubicBezTo>
                    <a:cubicBezTo>
                      <a:pt x="2723" y="8004"/>
                      <a:pt x="2723" y="8004"/>
                      <a:pt x="2723" y="8004"/>
                    </a:cubicBezTo>
                    <a:cubicBezTo>
                      <a:pt x="2948" y="8297"/>
                      <a:pt x="3017" y="8388"/>
                      <a:pt x="3039" y="8416"/>
                    </a:cubicBezTo>
                    <a:cubicBezTo>
                      <a:pt x="3053" y="8406"/>
                      <a:pt x="3081" y="8387"/>
                      <a:pt x="3140" y="8347"/>
                    </a:cubicBezTo>
                    <a:cubicBezTo>
                      <a:pt x="3087" y="8248"/>
                      <a:pt x="3087" y="8248"/>
                      <a:pt x="3087" y="8248"/>
                    </a:cubicBezTo>
                    <a:cubicBezTo>
                      <a:pt x="3061" y="8293"/>
                      <a:pt x="3061" y="8293"/>
                      <a:pt x="3061" y="8293"/>
                    </a:cubicBezTo>
                    <a:cubicBezTo>
                      <a:pt x="3051" y="8310"/>
                      <a:pt x="3051" y="8310"/>
                      <a:pt x="3051" y="8310"/>
                    </a:cubicBezTo>
                    <a:cubicBezTo>
                      <a:pt x="3038" y="8295"/>
                      <a:pt x="3038" y="8295"/>
                      <a:pt x="3038" y="8295"/>
                    </a:cubicBezTo>
                    <a:cubicBezTo>
                      <a:pt x="2830" y="8036"/>
                      <a:pt x="2830" y="8036"/>
                      <a:pt x="2830" y="8036"/>
                    </a:cubicBezTo>
                    <a:cubicBezTo>
                      <a:pt x="2821" y="8025"/>
                      <a:pt x="2821" y="8025"/>
                      <a:pt x="2821" y="8025"/>
                    </a:cubicBezTo>
                    <a:cubicBezTo>
                      <a:pt x="2833" y="8016"/>
                      <a:pt x="2833" y="8016"/>
                      <a:pt x="2833" y="8016"/>
                    </a:cubicBezTo>
                    <a:cubicBezTo>
                      <a:pt x="2963" y="7920"/>
                      <a:pt x="2963" y="7920"/>
                      <a:pt x="2963" y="7920"/>
                    </a:cubicBezTo>
                    <a:cubicBezTo>
                      <a:pt x="2972" y="7913"/>
                      <a:pt x="2972" y="7913"/>
                      <a:pt x="2972" y="7913"/>
                    </a:cubicBezTo>
                    <a:cubicBezTo>
                      <a:pt x="2981" y="7921"/>
                      <a:pt x="2981" y="7921"/>
                      <a:pt x="2981" y="7921"/>
                    </a:cubicBezTo>
                    <a:cubicBezTo>
                      <a:pt x="3211" y="8151"/>
                      <a:pt x="3211" y="8151"/>
                      <a:pt x="3211" y="8151"/>
                    </a:cubicBezTo>
                    <a:cubicBezTo>
                      <a:pt x="3225" y="8165"/>
                      <a:pt x="3225" y="8165"/>
                      <a:pt x="3225" y="8165"/>
                    </a:cubicBezTo>
                    <a:cubicBezTo>
                      <a:pt x="3208" y="8173"/>
                      <a:pt x="3208" y="8173"/>
                      <a:pt x="3208" y="8173"/>
                    </a:cubicBezTo>
                    <a:cubicBezTo>
                      <a:pt x="3168" y="8193"/>
                      <a:pt x="3168" y="8193"/>
                      <a:pt x="3168" y="8193"/>
                    </a:cubicBezTo>
                    <a:lnTo>
                      <a:pt x="3214" y="8279"/>
                    </a:lnTo>
                    <a:close/>
                    <a:moveTo>
                      <a:pt x="2926" y="8430"/>
                    </a:moveTo>
                    <a:cubicBezTo>
                      <a:pt x="2927" y="8430"/>
                      <a:pt x="2710" y="8388"/>
                      <a:pt x="2710" y="8388"/>
                    </a:cubicBezTo>
                    <a:cubicBezTo>
                      <a:pt x="2629" y="8166"/>
                      <a:pt x="2629" y="8166"/>
                      <a:pt x="2629" y="8166"/>
                    </a:cubicBezTo>
                    <a:cubicBezTo>
                      <a:pt x="2541" y="8187"/>
                      <a:pt x="2541" y="8187"/>
                      <a:pt x="2541" y="8187"/>
                    </a:cubicBezTo>
                    <a:cubicBezTo>
                      <a:pt x="2475" y="8106"/>
                      <a:pt x="2475" y="8106"/>
                      <a:pt x="2475" y="8106"/>
                    </a:cubicBezTo>
                    <a:cubicBezTo>
                      <a:pt x="2661" y="8055"/>
                      <a:pt x="2661" y="8055"/>
                      <a:pt x="2661" y="8055"/>
                    </a:cubicBezTo>
                    <a:lnTo>
                      <a:pt x="2926" y="8430"/>
                    </a:lnTo>
                    <a:close/>
                    <a:moveTo>
                      <a:pt x="2720" y="8376"/>
                    </a:moveTo>
                    <a:cubicBezTo>
                      <a:pt x="2814" y="8394"/>
                      <a:pt x="2866" y="8404"/>
                      <a:pt x="2894" y="8410"/>
                    </a:cubicBezTo>
                    <a:cubicBezTo>
                      <a:pt x="2655" y="8071"/>
                      <a:pt x="2655" y="8071"/>
                      <a:pt x="2655" y="8071"/>
                    </a:cubicBezTo>
                    <a:cubicBezTo>
                      <a:pt x="2499" y="8114"/>
                      <a:pt x="2499" y="8114"/>
                      <a:pt x="2499" y="8114"/>
                    </a:cubicBezTo>
                    <a:cubicBezTo>
                      <a:pt x="2546" y="8172"/>
                      <a:pt x="2546" y="8172"/>
                      <a:pt x="2546" y="8172"/>
                    </a:cubicBezTo>
                    <a:cubicBezTo>
                      <a:pt x="2625" y="8152"/>
                      <a:pt x="2625" y="8152"/>
                      <a:pt x="2625" y="8152"/>
                    </a:cubicBezTo>
                    <a:cubicBezTo>
                      <a:pt x="2638" y="8149"/>
                      <a:pt x="2638" y="8149"/>
                      <a:pt x="2638" y="8149"/>
                    </a:cubicBezTo>
                    <a:cubicBezTo>
                      <a:pt x="2642" y="8161"/>
                      <a:pt x="2642" y="8161"/>
                      <a:pt x="2642" y="8161"/>
                    </a:cubicBezTo>
                    <a:lnTo>
                      <a:pt x="2720" y="8376"/>
                    </a:lnTo>
                    <a:close/>
                    <a:moveTo>
                      <a:pt x="2594" y="8214"/>
                    </a:moveTo>
                    <a:cubicBezTo>
                      <a:pt x="2620" y="8295"/>
                      <a:pt x="2620" y="8295"/>
                      <a:pt x="2620" y="8295"/>
                    </a:cubicBezTo>
                    <a:cubicBezTo>
                      <a:pt x="2442" y="8365"/>
                      <a:pt x="2442" y="8365"/>
                      <a:pt x="2442" y="8365"/>
                    </a:cubicBezTo>
                    <a:cubicBezTo>
                      <a:pt x="2309" y="8103"/>
                      <a:pt x="2309" y="8103"/>
                      <a:pt x="2309" y="8103"/>
                    </a:cubicBezTo>
                    <a:cubicBezTo>
                      <a:pt x="2368" y="8060"/>
                      <a:pt x="2368" y="8060"/>
                      <a:pt x="2368" y="8060"/>
                    </a:cubicBezTo>
                    <a:cubicBezTo>
                      <a:pt x="2510" y="8239"/>
                      <a:pt x="2510" y="8239"/>
                      <a:pt x="2510" y="8239"/>
                    </a:cubicBezTo>
                    <a:lnTo>
                      <a:pt x="2594" y="8214"/>
                    </a:lnTo>
                    <a:close/>
                    <a:moveTo>
                      <a:pt x="2602" y="8287"/>
                    </a:moveTo>
                    <a:cubicBezTo>
                      <a:pt x="2585" y="8231"/>
                      <a:pt x="2585" y="8231"/>
                      <a:pt x="2585" y="8231"/>
                    </a:cubicBezTo>
                    <a:cubicBezTo>
                      <a:pt x="2514" y="8252"/>
                      <a:pt x="2514" y="8252"/>
                      <a:pt x="2514" y="8252"/>
                    </a:cubicBezTo>
                    <a:cubicBezTo>
                      <a:pt x="2505" y="8255"/>
                      <a:pt x="2505" y="8255"/>
                      <a:pt x="2505" y="8255"/>
                    </a:cubicBezTo>
                    <a:cubicBezTo>
                      <a:pt x="2499" y="8247"/>
                      <a:pt x="2499" y="8247"/>
                      <a:pt x="2499" y="8247"/>
                    </a:cubicBezTo>
                    <a:cubicBezTo>
                      <a:pt x="2366" y="8079"/>
                      <a:pt x="2366" y="8079"/>
                      <a:pt x="2366" y="8079"/>
                    </a:cubicBezTo>
                    <a:cubicBezTo>
                      <a:pt x="2327" y="8108"/>
                      <a:pt x="2327" y="8108"/>
                      <a:pt x="2327" y="8108"/>
                    </a:cubicBezTo>
                    <a:cubicBezTo>
                      <a:pt x="2449" y="8347"/>
                      <a:pt x="2449" y="8347"/>
                      <a:pt x="2449" y="8347"/>
                    </a:cubicBezTo>
                    <a:lnTo>
                      <a:pt x="2602" y="8287"/>
                    </a:lnTo>
                    <a:close/>
                    <a:moveTo>
                      <a:pt x="5465" y="9137"/>
                    </a:moveTo>
                    <a:cubicBezTo>
                      <a:pt x="5322" y="9112"/>
                      <a:pt x="5322" y="9112"/>
                      <a:pt x="5322" y="9112"/>
                    </a:cubicBezTo>
                    <a:cubicBezTo>
                      <a:pt x="5334" y="9042"/>
                      <a:pt x="5334" y="9042"/>
                      <a:pt x="5334" y="9042"/>
                    </a:cubicBezTo>
                    <a:cubicBezTo>
                      <a:pt x="5483" y="9068"/>
                      <a:pt x="5483" y="9068"/>
                      <a:pt x="5483" y="9068"/>
                    </a:cubicBezTo>
                    <a:cubicBezTo>
                      <a:pt x="5471" y="9138"/>
                      <a:pt x="5471" y="9138"/>
                      <a:pt x="5471" y="9138"/>
                    </a:cubicBezTo>
                    <a:lnTo>
                      <a:pt x="5465" y="9137"/>
                    </a:lnTo>
                    <a:close/>
                    <a:moveTo>
                      <a:pt x="5461" y="9123"/>
                    </a:moveTo>
                    <a:cubicBezTo>
                      <a:pt x="5469" y="9078"/>
                      <a:pt x="5469" y="9078"/>
                      <a:pt x="5469" y="9078"/>
                    </a:cubicBezTo>
                    <a:cubicBezTo>
                      <a:pt x="5345" y="9056"/>
                      <a:pt x="5345" y="9056"/>
                      <a:pt x="5345" y="9056"/>
                    </a:cubicBezTo>
                    <a:cubicBezTo>
                      <a:pt x="5337" y="9102"/>
                      <a:pt x="5337" y="9102"/>
                      <a:pt x="5337" y="9102"/>
                    </a:cubicBezTo>
                    <a:lnTo>
                      <a:pt x="5461" y="9123"/>
                    </a:lnTo>
                    <a:close/>
                    <a:moveTo>
                      <a:pt x="5441" y="8320"/>
                    </a:moveTo>
                    <a:cubicBezTo>
                      <a:pt x="5590" y="8346"/>
                      <a:pt x="5590" y="8346"/>
                      <a:pt x="5590" y="8346"/>
                    </a:cubicBezTo>
                    <a:cubicBezTo>
                      <a:pt x="5578" y="8416"/>
                      <a:pt x="5578" y="8416"/>
                      <a:pt x="5578" y="8416"/>
                    </a:cubicBezTo>
                    <a:cubicBezTo>
                      <a:pt x="5571" y="8415"/>
                      <a:pt x="5571" y="8415"/>
                      <a:pt x="5571" y="8415"/>
                    </a:cubicBezTo>
                    <a:cubicBezTo>
                      <a:pt x="5429" y="8390"/>
                      <a:pt x="5429" y="8390"/>
                      <a:pt x="5429" y="8390"/>
                    </a:cubicBezTo>
                    <a:lnTo>
                      <a:pt x="5441" y="8320"/>
                    </a:lnTo>
                    <a:close/>
                    <a:moveTo>
                      <a:pt x="5444" y="8380"/>
                    </a:moveTo>
                    <a:cubicBezTo>
                      <a:pt x="5567" y="8401"/>
                      <a:pt x="5567" y="8401"/>
                      <a:pt x="5567" y="8401"/>
                    </a:cubicBezTo>
                    <a:cubicBezTo>
                      <a:pt x="5575" y="8356"/>
                      <a:pt x="5575" y="8356"/>
                      <a:pt x="5575" y="8356"/>
                    </a:cubicBezTo>
                    <a:cubicBezTo>
                      <a:pt x="5451" y="8334"/>
                      <a:pt x="5451" y="8334"/>
                      <a:pt x="5451" y="8334"/>
                    </a:cubicBezTo>
                    <a:lnTo>
                      <a:pt x="5444" y="8380"/>
                    </a:lnTo>
                    <a:close/>
                    <a:moveTo>
                      <a:pt x="1423" y="7046"/>
                    </a:moveTo>
                    <a:cubicBezTo>
                      <a:pt x="1372" y="6939"/>
                      <a:pt x="1372" y="6939"/>
                      <a:pt x="1372" y="6939"/>
                    </a:cubicBezTo>
                    <a:cubicBezTo>
                      <a:pt x="1454" y="6763"/>
                      <a:pt x="1454" y="6763"/>
                      <a:pt x="1454" y="6763"/>
                    </a:cubicBezTo>
                    <a:cubicBezTo>
                      <a:pt x="1817" y="6978"/>
                      <a:pt x="1817" y="6978"/>
                      <a:pt x="1817" y="6978"/>
                    </a:cubicBezTo>
                    <a:cubicBezTo>
                      <a:pt x="1808" y="6985"/>
                      <a:pt x="1808" y="6985"/>
                      <a:pt x="1808" y="6985"/>
                    </a:cubicBezTo>
                    <a:cubicBezTo>
                      <a:pt x="1699" y="7065"/>
                      <a:pt x="1699" y="7065"/>
                      <a:pt x="1699" y="7065"/>
                    </a:cubicBezTo>
                    <a:cubicBezTo>
                      <a:pt x="1598" y="7012"/>
                      <a:pt x="1598" y="7012"/>
                      <a:pt x="1598" y="7012"/>
                    </a:cubicBezTo>
                    <a:cubicBezTo>
                      <a:pt x="1520" y="6927"/>
                      <a:pt x="1520" y="6927"/>
                      <a:pt x="1520" y="6927"/>
                    </a:cubicBezTo>
                    <a:cubicBezTo>
                      <a:pt x="1473" y="7011"/>
                      <a:pt x="1473" y="7011"/>
                      <a:pt x="1473" y="7011"/>
                    </a:cubicBezTo>
                    <a:lnTo>
                      <a:pt x="1423" y="7046"/>
                    </a:lnTo>
                    <a:close/>
                    <a:moveTo>
                      <a:pt x="1388" y="6939"/>
                    </a:moveTo>
                    <a:cubicBezTo>
                      <a:pt x="1429" y="7024"/>
                      <a:pt x="1429" y="7024"/>
                      <a:pt x="1429" y="7024"/>
                    </a:cubicBezTo>
                    <a:cubicBezTo>
                      <a:pt x="1461" y="7001"/>
                      <a:pt x="1461" y="7001"/>
                      <a:pt x="1461" y="7001"/>
                    </a:cubicBezTo>
                    <a:cubicBezTo>
                      <a:pt x="1517" y="6902"/>
                      <a:pt x="1517" y="6902"/>
                      <a:pt x="1517" y="6902"/>
                    </a:cubicBezTo>
                    <a:cubicBezTo>
                      <a:pt x="1607" y="7000"/>
                      <a:pt x="1607" y="7000"/>
                      <a:pt x="1607" y="7000"/>
                    </a:cubicBezTo>
                    <a:cubicBezTo>
                      <a:pt x="1698" y="7048"/>
                      <a:pt x="1698" y="7048"/>
                      <a:pt x="1698" y="7048"/>
                    </a:cubicBezTo>
                    <a:cubicBezTo>
                      <a:pt x="1790" y="6980"/>
                      <a:pt x="1790" y="6980"/>
                      <a:pt x="1790" y="6980"/>
                    </a:cubicBezTo>
                    <a:cubicBezTo>
                      <a:pt x="1460" y="6784"/>
                      <a:pt x="1460" y="6784"/>
                      <a:pt x="1460" y="6784"/>
                    </a:cubicBezTo>
                    <a:lnTo>
                      <a:pt x="1388" y="6939"/>
                    </a:lnTo>
                    <a:close/>
                    <a:moveTo>
                      <a:pt x="1078" y="8395"/>
                    </a:moveTo>
                    <a:cubicBezTo>
                      <a:pt x="1315" y="8572"/>
                      <a:pt x="1315" y="8572"/>
                      <a:pt x="1315" y="8572"/>
                    </a:cubicBezTo>
                    <a:cubicBezTo>
                      <a:pt x="1340" y="8533"/>
                      <a:pt x="1340" y="8533"/>
                      <a:pt x="1340" y="8533"/>
                    </a:cubicBezTo>
                    <a:cubicBezTo>
                      <a:pt x="1427" y="8593"/>
                      <a:pt x="1427" y="8593"/>
                      <a:pt x="1427" y="8593"/>
                    </a:cubicBezTo>
                    <a:cubicBezTo>
                      <a:pt x="1362" y="8698"/>
                      <a:pt x="1362" y="8698"/>
                      <a:pt x="1362" y="8698"/>
                    </a:cubicBezTo>
                    <a:cubicBezTo>
                      <a:pt x="1040" y="8457"/>
                      <a:pt x="1040" y="8457"/>
                      <a:pt x="1040" y="8457"/>
                    </a:cubicBezTo>
                    <a:lnTo>
                      <a:pt x="1078" y="8395"/>
                    </a:lnTo>
                    <a:close/>
                    <a:moveTo>
                      <a:pt x="1082" y="8415"/>
                    </a:moveTo>
                    <a:cubicBezTo>
                      <a:pt x="1059" y="8453"/>
                      <a:pt x="1059" y="8453"/>
                      <a:pt x="1059" y="8453"/>
                    </a:cubicBezTo>
                    <a:cubicBezTo>
                      <a:pt x="1358" y="8678"/>
                      <a:pt x="1358" y="8678"/>
                      <a:pt x="1358" y="8678"/>
                    </a:cubicBezTo>
                    <a:cubicBezTo>
                      <a:pt x="1408" y="8597"/>
                      <a:pt x="1408" y="8597"/>
                      <a:pt x="1408" y="8597"/>
                    </a:cubicBezTo>
                    <a:cubicBezTo>
                      <a:pt x="1344" y="8552"/>
                      <a:pt x="1344" y="8552"/>
                      <a:pt x="1344" y="8552"/>
                    </a:cubicBezTo>
                    <a:cubicBezTo>
                      <a:pt x="1327" y="8580"/>
                      <a:pt x="1327" y="8580"/>
                      <a:pt x="1327" y="8580"/>
                    </a:cubicBezTo>
                    <a:cubicBezTo>
                      <a:pt x="1319" y="8593"/>
                      <a:pt x="1319" y="8593"/>
                      <a:pt x="1319" y="8593"/>
                    </a:cubicBezTo>
                    <a:cubicBezTo>
                      <a:pt x="1307" y="8583"/>
                      <a:pt x="1307" y="8583"/>
                      <a:pt x="1307" y="8583"/>
                    </a:cubicBezTo>
                    <a:lnTo>
                      <a:pt x="1082" y="8415"/>
                    </a:lnTo>
                    <a:close/>
                    <a:moveTo>
                      <a:pt x="1291" y="8512"/>
                    </a:moveTo>
                    <a:cubicBezTo>
                      <a:pt x="1205" y="8450"/>
                      <a:pt x="1205" y="8450"/>
                      <a:pt x="1205" y="8450"/>
                    </a:cubicBezTo>
                    <a:cubicBezTo>
                      <a:pt x="1335" y="8369"/>
                      <a:pt x="1335" y="8369"/>
                      <a:pt x="1335" y="8369"/>
                    </a:cubicBezTo>
                    <a:cubicBezTo>
                      <a:pt x="1487" y="8483"/>
                      <a:pt x="1487" y="8483"/>
                      <a:pt x="1487" y="8483"/>
                    </a:cubicBezTo>
                    <a:cubicBezTo>
                      <a:pt x="1447" y="8551"/>
                      <a:pt x="1447" y="8551"/>
                      <a:pt x="1447" y="8551"/>
                    </a:cubicBezTo>
                    <a:cubicBezTo>
                      <a:pt x="1345" y="8478"/>
                      <a:pt x="1345" y="8478"/>
                      <a:pt x="1345" y="8478"/>
                    </a:cubicBezTo>
                    <a:lnTo>
                      <a:pt x="1291" y="8512"/>
                    </a:lnTo>
                    <a:close/>
                    <a:moveTo>
                      <a:pt x="1230" y="8451"/>
                    </a:moveTo>
                    <a:cubicBezTo>
                      <a:pt x="1291" y="8495"/>
                      <a:pt x="1291" y="8495"/>
                      <a:pt x="1291" y="8495"/>
                    </a:cubicBezTo>
                    <a:cubicBezTo>
                      <a:pt x="1337" y="8466"/>
                      <a:pt x="1337" y="8466"/>
                      <a:pt x="1337" y="8466"/>
                    </a:cubicBezTo>
                    <a:cubicBezTo>
                      <a:pt x="1345" y="8461"/>
                      <a:pt x="1345" y="8461"/>
                      <a:pt x="1345" y="8461"/>
                    </a:cubicBezTo>
                    <a:cubicBezTo>
                      <a:pt x="1353" y="8466"/>
                      <a:pt x="1353" y="8466"/>
                      <a:pt x="1353" y="8466"/>
                    </a:cubicBezTo>
                    <a:cubicBezTo>
                      <a:pt x="1442" y="8531"/>
                      <a:pt x="1442" y="8531"/>
                      <a:pt x="1442" y="8531"/>
                    </a:cubicBezTo>
                    <a:cubicBezTo>
                      <a:pt x="1469" y="8487"/>
                      <a:pt x="1469" y="8487"/>
                      <a:pt x="1469" y="8487"/>
                    </a:cubicBezTo>
                    <a:cubicBezTo>
                      <a:pt x="1334" y="8386"/>
                      <a:pt x="1334" y="8386"/>
                      <a:pt x="1334" y="8386"/>
                    </a:cubicBezTo>
                    <a:lnTo>
                      <a:pt x="1230" y="8451"/>
                    </a:lnTo>
                    <a:close/>
                    <a:moveTo>
                      <a:pt x="5464" y="8435"/>
                    </a:moveTo>
                    <a:cubicBezTo>
                      <a:pt x="5613" y="8461"/>
                      <a:pt x="5613" y="8461"/>
                      <a:pt x="5613" y="8461"/>
                    </a:cubicBezTo>
                    <a:cubicBezTo>
                      <a:pt x="5601" y="8532"/>
                      <a:pt x="5601" y="8532"/>
                      <a:pt x="5601" y="8532"/>
                    </a:cubicBezTo>
                    <a:cubicBezTo>
                      <a:pt x="5595" y="8531"/>
                      <a:pt x="5595" y="8531"/>
                      <a:pt x="5595" y="8531"/>
                    </a:cubicBezTo>
                    <a:cubicBezTo>
                      <a:pt x="5452" y="8506"/>
                      <a:pt x="5452" y="8506"/>
                      <a:pt x="5452" y="8506"/>
                    </a:cubicBezTo>
                    <a:lnTo>
                      <a:pt x="5464" y="8435"/>
                    </a:lnTo>
                    <a:close/>
                    <a:moveTo>
                      <a:pt x="5467" y="8495"/>
                    </a:moveTo>
                    <a:cubicBezTo>
                      <a:pt x="5591" y="8517"/>
                      <a:pt x="5591" y="8517"/>
                      <a:pt x="5591" y="8517"/>
                    </a:cubicBezTo>
                    <a:cubicBezTo>
                      <a:pt x="5599" y="8472"/>
                      <a:pt x="5599" y="8472"/>
                      <a:pt x="5599" y="8472"/>
                    </a:cubicBezTo>
                    <a:cubicBezTo>
                      <a:pt x="5475" y="8450"/>
                      <a:pt x="5475" y="8450"/>
                      <a:pt x="5475" y="8450"/>
                    </a:cubicBezTo>
                    <a:lnTo>
                      <a:pt x="5467" y="8495"/>
                    </a:lnTo>
                    <a:close/>
                    <a:moveTo>
                      <a:pt x="5497" y="8689"/>
                    </a:moveTo>
                    <a:cubicBezTo>
                      <a:pt x="5646" y="8715"/>
                      <a:pt x="5646" y="8715"/>
                      <a:pt x="5646" y="8715"/>
                    </a:cubicBezTo>
                    <a:cubicBezTo>
                      <a:pt x="5634" y="8785"/>
                      <a:pt x="5634" y="8785"/>
                      <a:pt x="5634" y="8785"/>
                    </a:cubicBezTo>
                    <a:cubicBezTo>
                      <a:pt x="5627" y="8784"/>
                      <a:pt x="5627" y="8784"/>
                      <a:pt x="5627" y="8784"/>
                    </a:cubicBezTo>
                    <a:cubicBezTo>
                      <a:pt x="5485" y="8759"/>
                      <a:pt x="5485" y="8759"/>
                      <a:pt x="5485" y="8759"/>
                    </a:cubicBezTo>
                    <a:lnTo>
                      <a:pt x="5497" y="8689"/>
                    </a:lnTo>
                    <a:close/>
                    <a:moveTo>
                      <a:pt x="5499" y="8749"/>
                    </a:moveTo>
                    <a:cubicBezTo>
                      <a:pt x="5623" y="8771"/>
                      <a:pt x="5623" y="8771"/>
                      <a:pt x="5623" y="8771"/>
                    </a:cubicBezTo>
                    <a:cubicBezTo>
                      <a:pt x="5631" y="8725"/>
                      <a:pt x="5631" y="8725"/>
                      <a:pt x="5631" y="8725"/>
                    </a:cubicBezTo>
                    <a:cubicBezTo>
                      <a:pt x="5507" y="8704"/>
                      <a:pt x="5507" y="8704"/>
                      <a:pt x="5507" y="8704"/>
                    </a:cubicBezTo>
                    <a:lnTo>
                      <a:pt x="5499" y="8749"/>
                    </a:lnTo>
                    <a:close/>
                    <a:moveTo>
                      <a:pt x="3659" y="9762"/>
                    </a:moveTo>
                    <a:cubicBezTo>
                      <a:pt x="3541" y="9814"/>
                      <a:pt x="3541" y="9814"/>
                      <a:pt x="3541" y="9814"/>
                    </a:cubicBezTo>
                    <a:cubicBezTo>
                      <a:pt x="3563" y="9499"/>
                      <a:pt x="3563" y="9499"/>
                      <a:pt x="3563" y="9499"/>
                    </a:cubicBezTo>
                    <a:cubicBezTo>
                      <a:pt x="3577" y="9497"/>
                      <a:pt x="3577" y="9497"/>
                      <a:pt x="3577" y="9497"/>
                    </a:cubicBezTo>
                    <a:cubicBezTo>
                      <a:pt x="3665" y="9759"/>
                      <a:pt x="3665" y="9759"/>
                      <a:pt x="3665" y="9759"/>
                    </a:cubicBezTo>
                    <a:lnTo>
                      <a:pt x="3659" y="9762"/>
                    </a:lnTo>
                    <a:close/>
                    <a:moveTo>
                      <a:pt x="3647" y="9751"/>
                    </a:moveTo>
                    <a:cubicBezTo>
                      <a:pt x="3575" y="9537"/>
                      <a:pt x="3575" y="9537"/>
                      <a:pt x="3575" y="9537"/>
                    </a:cubicBezTo>
                    <a:cubicBezTo>
                      <a:pt x="3557" y="9790"/>
                      <a:pt x="3557" y="9790"/>
                      <a:pt x="3557" y="9790"/>
                    </a:cubicBezTo>
                    <a:lnTo>
                      <a:pt x="3647" y="9751"/>
                    </a:lnTo>
                    <a:close/>
                    <a:moveTo>
                      <a:pt x="5494" y="8809"/>
                    </a:moveTo>
                    <a:cubicBezTo>
                      <a:pt x="5643" y="8835"/>
                      <a:pt x="5643" y="8835"/>
                      <a:pt x="5643" y="8835"/>
                    </a:cubicBezTo>
                    <a:cubicBezTo>
                      <a:pt x="5631" y="8905"/>
                      <a:pt x="5631" y="8905"/>
                      <a:pt x="5631" y="8905"/>
                    </a:cubicBezTo>
                    <a:cubicBezTo>
                      <a:pt x="5625" y="8904"/>
                      <a:pt x="5625" y="8904"/>
                      <a:pt x="5625" y="8904"/>
                    </a:cubicBezTo>
                    <a:cubicBezTo>
                      <a:pt x="5482" y="8879"/>
                      <a:pt x="5482" y="8879"/>
                      <a:pt x="5482" y="8879"/>
                    </a:cubicBezTo>
                    <a:lnTo>
                      <a:pt x="5494" y="8809"/>
                    </a:lnTo>
                    <a:close/>
                    <a:moveTo>
                      <a:pt x="5497" y="8869"/>
                    </a:moveTo>
                    <a:cubicBezTo>
                      <a:pt x="5621" y="8890"/>
                      <a:pt x="5621" y="8890"/>
                      <a:pt x="5621" y="8890"/>
                    </a:cubicBezTo>
                    <a:cubicBezTo>
                      <a:pt x="5629" y="8845"/>
                      <a:pt x="5629" y="8845"/>
                      <a:pt x="5629" y="8845"/>
                    </a:cubicBezTo>
                    <a:cubicBezTo>
                      <a:pt x="5505" y="8823"/>
                      <a:pt x="5505" y="8823"/>
                      <a:pt x="5505" y="8823"/>
                    </a:cubicBezTo>
                    <a:lnTo>
                      <a:pt x="5497" y="8869"/>
                    </a:lnTo>
                    <a:close/>
                    <a:moveTo>
                      <a:pt x="5046" y="8303"/>
                    </a:moveTo>
                    <a:cubicBezTo>
                      <a:pt x="5045" y="8451"/>
                      <a:pt x="5045" y="8451"/>
                      <a:pt x="5045" y="8451"/>
                    </a:cubicBezTo>
                    <a:cubicBezTo>
                      <a:pt x="5038" y="8451"/>
                      <a:pt x="5038" y="8451"/>
                      <a:pt x="5038" y="8451"/>
                    </a:cubicBezTo>
                    <a:cubicBezTo>
                      <a:pt x="4940" y="8451"/>
                      <a:pt x="4940" y="8451"/>
                      <a:pt x="4940" y="8451"/>
                    </a:cubicBezTo>
                    <a:cubicBezTo>
                      <a:pt x="4941" y="8303"/>
                      <a:pt x="4941" y="8303"/>
                      <a:pt x="4941" y="8303"/>
                    </a:cubicBezTo>
                    <a:lnTo>
                      <a:pt x="5046" y="8303"/>
                    </a:lnTo>
                    <a:close/>
                    <a:moveTo>
                      <a:pt x="5033" y="8316"/>
                    </a:moveTo>
                    <a:cubicBezTo>
                      <a:pt x="4954" y="8316"/>
                      <a:pt x="4954" y="8316"/>
                      <a:pt x="4954" y="8316"/>
                    </a:cubicBezTo>
                    <a:cubicBezTo>
                      <a:pt x="4953" y="8438"/>
                      <a:pt x="4953" y="8438"/>
                      <a:pt x="4953" y="8438"/>
                    </a:cubicBezTo>
                    <a:cubicBezTo>
                      <a:pt x="5032" y="8438"/>
                      <a:pt x="5032" y="8438"/>
                      <a:pt x="5032" y="8438"/>
                    </a:cubicBezTo>
                    <a:lnTo>
                      <a:pt x="5033" y="8316"/>
                    </a:lnTo>
                    <a:close/>
                    <a:moveTo>
                      <a:pt x="5567" y="9017"/>
                    </a:moveTo>
                    <a:cubicBezTo>
                      <a:pt x="5425" y="8992"/>
                      <a:pt x="5425" y="8992"/>
                      <a:pt x="5425" y="8992"/>
                    </a:cubicBezTo>
                    <a:cubicBezTo>
                      <a:pt x="5437" y="8922"/>
                      <a:pt x="5437" y="8922"/>
                      <a:pt x="5437" y="8922"/>
                    </a:cubicBezTo>
                    <a:cubicBezTo>
                      <a:pt x="5586" y="8948"/>
                      <a:pt x="5586" y="8948"/>
                      <a:pt x="5586" y="8948"/>
                    </a:cubicBezTo>
                    <a:cubicBezTo>
                      <a:pt x="5574" y="9018"/>
                      <a:pt x="5574" y="9018"/>
                      <a:pt x="5574" y="9018"/>
                    </a:cubicBezTo>
                    <a:lnTo>
                      <a:pt x="5567" y="9017"/>
                    </a:lnTo>
                    <a:close/>
                    <a:moveTo>
                      <a:pt x="5563" y="9004"/>
                    </a:moveTo>
                    <a:cubicBezTo>
                      <a:pt x="5571" y="8958"/>
                      <a:pt x="5571" y="8958"/>
                      <a:pt x="5571" y="8958"/>
                    </a:cubicBezTo>
                    <a:cubicBezTo>
                      <a:pt x="5448" y="8937"/>
                      <a:pt x="5448" y="8937"/>
                      <a:pt x="5448" y="8937"/>
                    </a:cubicBezTo>
                    <a:cubicBezTo>
                      <a:pt x="5440" y="8982"/>
                      <a:pt x="5440" y="8982"/>
                      <a:pt x="5440" y="8982"/>
                    </a:cubicBezTo>
                    <a:lnTo>
                      <a:pt x="5563" y="9004"/>
                    </a:lnTo>
                    <a:close/>
                    <a:moveTo>
                      <a:pt x="5485" y="8572"/>
                    </a:moveTo>
                    <a:cubicBezTo>
                      <a:pt x="5634" y="8598"/>
                      <a:pt x="5634" y="8598"/>
                      <a:pt x="5634" y="8598"/>
                    </a:cubicBezTo>
                    <a:cubicBezTo>
                      <a:pt x="5622" y="8668"/>
                      <a:pt x="5622" y="8668"/>
                      <a:pt x="5622" y="8668"/>
                    </a:cubicBezTo>
                    <a:cubicBezTo>
                      <a:pt x="5616" y="8667"/>
                      <a:pt x="5616" y="8667"/>
                      <a:pt x="5616" y="8667"/>
                    </a:cubicBezTo>
                    <a:cubicBezTo>
                      <a:pt x="5473" y="8642"/>
                      <a:pt x="5473" y="8642"/>
                      <a:pt x="5473" y="8642"/>
                    </a:cubicBezTo>
                    <a:lnTo>
                      <a:pt x="5485" y="8572"/>
                    </a:lnTo>
                    <a:close/>
                    <a:moveTo>
                      <a:pt x="5488" y="8632"/>
                    </a:moveTo>
                    <a:cubicBezTo>
                      <a:pt x="5612" y="8654"/>
                      <a:pt x="5612" y="8654"/>
                      <a:pt x="5612" y="8654"/>
                    </a:cubicBezTo>
                    <a:cubicBezTo>
                      <a:pt x="5619" y="8608"/>
                      <a:pt x="5619" y="8608"/>
                      <a:pt x="5619" y="8608"/>
                    </a:cubicBezTo>
                    <a:cubicBezTo>
                      <a:pt x="5496" y="8587"/>
                      <a:pt x="5496" y="8587"/>
                      <a:pt x="5496" y="8587"/>
                    </a:cubicBezTo>
                    <a:lnTo>
                      <a:pt x="5488" y="8632"/>
                    </a:lnTo>
                    <a:close/>
                    <a:moveTo>
                      <a:pt x="5347" y="8623"/>
                    </a:moveTo>
                    <a:cubicBezTo>
                      <a:pt x="5391" y="8768"/>
                      <a:pt x="5391" y="8768"/>
                      <a:pt x="5391" y="8768"/>
                    </a:cubicBezTo>
                    <a:cubicBezTo>
                      <a:pt x="5323" y="8789"/>
                      <a:pt x="5323" y="8789"/>
                      <a:pt x="5323" y="8789"/>
                    </a:cubicBezTo>
                    <a:cubicBezTo>
                      <a:pt x="5321" y="8783"/>
                      <a:pt x="5321" y="8783"/>
                      <a:pt x="5321" y="8783"/>
                    </a:cubicBezTo>
                    <a:cubicBezTo>
                      <a:pt x="5279" y="8644"/>
                      <a:pt x="5279" y="8644"/>
                      <a:pt x="5279" y="8644"/>
                    </a:cubicBezTo>
                    <a:lnTo>
                      <a:pt x="5347" y="8623"/>
                    </a:lnTo>
                    <a:close/>
                    <a:moveTo>
                      <a:pt x="5375" y="8760"/>
                    </a:moveTo>
                    <a:cubicBezTo>
                      <a:pt x="5339" y="8639"/>
                      <a:pt x="5339" y="8639"/>
                      <a:pt x="5339" y="8639"/>
                    </a:cubicBezTo>
                    <a:cubicBezTo>
                      <a:pt x="5295" y="8653"/>
                      <a:pt x="5295" y="8653"/>
                      <a:pt x="5295" y="8653"/>
                    </a:cubicBezTo>
                    <a:cubicBezTo>
                      <a:pt x="5331" y="8773"/>
                      <a:pt x="5331" y="8773"/>
                      <a:pt x="5331" y="8773"/>
                    </a:cubicBezTo>
                    <a:lnTo>
                      <a:pt x="5375" y="8760"/>
                    </a:lnTo>
                    <a:close/>
                    <a:moveTo>
                      <a:pt x="5228" y="8313"/>
                    </a:moveTo>
                    <a:cubicBezTo>
                      <a:pt x="5332" y="8314"/>
                      <a:pt x="5332" y="8314"/>
                      <a:pt x="5332" y="8314"/>
                    </a:cubicBezTo>
                    <a:cubicBezTo>
                      <a:pt x="5331" y="8462"/>
                      <a:pt x="5331" y="8462"/>
                      <a:pt x="5331" y="8462"/>
                    </a:cubicBezTo>
                    <a:cubicBezTo>
                      <a:pt x="5324" y="8462"/>
                      <a:pt x="5324" y="8462"/>
                      <a:pt x="5324" y="8462"/>
                    </a:cubicBezTo>
                    <a:cubicBezTo>
                      <a:pt x="5226" y="8461"/>
                      <a:pt x="5226" y="8461"/>
                      <a:pt x="5226" y="8461"/>
                    </a:cubicBezTo>
                    <a:lnTo>
                      <a:pt x="5228" y="8313"/>
                    </a:lnTo>
                    <a:close/>
                    <a:moveTo>
                      <a:pt x="5239" y="8448"/>
                    </a:moveTo>
                    <a:cubicBezTo>
                      <a:pt x="5318" y="8449"/>
                      <a:pt x="5318" y="8449"/>
                      <a:pt x="5318" y="8449"/>
                    </a:cubicBezTo>
                    <a:cubicBezTo>
                      <a:pt x="5319" y="8327"/>
                      <a:pt x="5319" y="8327"/>
                      <a:pt x="5319" y="8327"/>
                    </a:cubicBezTo>
                    <a:cubicBezTo>
                      <a:pt x="5240" y="8326"/>
                      <a:pt x="5240" y="8326"/>
                      <a:pt x="5240" y="8326"/>
                    </a:cubicBezTo>
                    <a:lnTo>
                      <a:pt x="5239" y="8448"/>
                    </a:lnTo>
                    <a:close/>
                    <a:moveTo>
                      <a:pt x="2605" y="7933"/>
                    </a:moveTo>
                    <a:cubicBezTo>
                      <a:pt x="2539" y="7946"/>
                      <a:pt x="2539" y="7946"/>
                      <a:pt x="2539" y="7946"/>
                    </a:cubicBezTo>
                    <a:cubicBezTo>
                      <a:pt x="2726" y="7538"/>
                      <a:pt x="2726" y="7538"/>
                      <a:pt x="2726" y="7538"/>
                    </a:cubicBezTo>
                    <a:cubicBezTo>
                      <a:pt x="2830" y="7560"/>
                      <a:pt x="2830" y="7560"/>
                      <a:pt x="2830" y="7560"/>
                    </a:cubicBezTo>
                    <a:cubicBezTo>
                      <a:pt x="2831" y="7564"/>
                      <a:pt x="2831" y="7564"/>
                      <a:pt x="2831" y="7564"/>
                    </a:cubicBezTo>
                    <a:cubicBezTo>
                      <a:pt x="2859" y="7654"/>
                      <a:pt x="2859" y="7654"/>
                      <a:pt x="2859" y="7654"/>
                    </a:cubicBezTo>
                    <a:lnTo>
                      <a:pt x="2605" y="7933"/>
                    </a:lnTo>
                    <a:close/>
                    <a:moveTo>
                      <a:pt x="2597" y="7920"/>
                    </a:moveTo>
                    <a:cubicBezTo>
                      <a:pt x="2843" y="7650"/>
                      <a:pt x="2843" y="7650"/>
                      <a:pt x="2843" y="7650"/>
                    </a:cubicBezTo>
                    <a:cubicBezTo>
                      <a:pt x="2818" y="7573"/>
                      <a:pt x="2818" y="7573"/>
                      <a:pt x="2818" y="7573"/>
                    </a:cubicBezTo>
                    <a:cubicBezTo>
                      <a:pt x="2734" y="7555"/>
                      <a:pt x="2734" y="7555"/>
                      <a:pt x="2734" y="7555"/>
                    </a:cubicBezTo>
                    <a:cubicBezTo>
                      <a:pt x="2564" y="7926"/>
                      <a:pt x="2564" y="7926"/>
                      <a:pt x="2564" y="7926"/>
                    </a:cubicBezTo>
                    <a:lnTo>
                      <a:pt x="2597" y="7920"/>
                    </a:lnTo>
                    <a:close/>
                    <a:moveTo>
                      <a:pt x="3228" y="4782"/>
                    </a:moveTo>
                    <a:cubicBezTo>
                      <a:pt x="3301" y="4802"/>
                      <a:pt x="3301" y="4802"/>
                      <a:pt x="3301" y="4802"/>
                    </a:cubicBezTo>
                    <a:cubicBezTo>
                      <a:pt x="3262" y="4948"/>
                      <a:pt x="3262" y="4948"/>
                      <a:pt x="3262" y="4948"/>
                    </a:cubicBezTo>
                    <a:cubicBezTo>
                      <a:pt x="3188" y="4929"/>
                      <a:pt x="3188" y="4929"/>
                      <a:pt x="3188" y="4929"/>
                    </a:cubicBezTo>
                    <a:cubicBezTo>
                      <a:pt x="3190" y="4922"/>
                      <a:pt x="3190" y="4922"/>
                      <a:pt x="3190" y="4922"/>
                    </a:cubicBezTo>
                    <a:lnTo>
                      <a:pt x="3228" y="4782"/>
                    </a:lnTo>
                    <a:close/>
                    <a:moveTo>
                      <a:pt x="3237" y="4799"/>
                    </a:moveTo>
                    <a:cubicBezTo>
                      <a:pt x="3204" y="4919"/>
                      <a:pt x="3204" y="4919"/>
                      <a:pt x="3204" y="4919"/>
                    </a:cubicBezTo>
                    <a:cubicBezTo>
                      <a:pt x="3252" y="4932"/>
                      <a:pt x="3252" y="4932"/>
                      <a:pt x="3252" y="4932"/>
                    </a:cubicBezTo>
                    <a:cubicBezTo>
                      <a:pt x="3285" y="4811"/>
                      <a:pt x="3285" y="4811"/>
                      <a:pt x="3285" y="4811"/>
                    </a:cubicBezTo>
                    <a:lnTo>
                      <a:pt x="3237" y="4799"/>
                    </a:lnTo>
                    <a:close/>
                    <a:moveTo>
                      <a:pt x="14374" y="10821"/>
                    </a:moveTo>
                    <a:cubicBezTo>
                      <a:pt x="14397" y="10821"/>
                      <a:pt x="14397" y="10821"/>
                      <a:pt x="14397" y="10821"/>
                    </a:cubicBezTo>
                    <a:cubicBezTo>
                      <a:pt x="14461" y="10764"/>
                      <a:pt x="14461" y="10764"/>
                      <a:pt x="14461" y="10764"/>
                    </a:cubicBezTo>
                    <a:cubicBezTo>
                      <a:pt x="14512" y="10821"/>
                      <a:pt x="14512" y="10821"/>
                      <a:pt x="14512" y="10821"/>
                    </a:cubicBezTo>
                    <a:cubicBezTo>
                      <a:pt x="14532" y="10821"/>
                      <a:pt x="14532" y="10821"/>
                      <a:pt x="14532" y="10821"/>
                    </a:cubicBezTo>
                    <a:cubicBezTo>
                      <a:pt x="14462" y="10744"/>
                      <a:pt x="14462" y="10744"/>
                      <a:pt x="14462" y="10744"/>
                    </a:cubicBezTo>
                    <a:lnTo>
                      <a:pt x="14374" y="10821"/>
                    </a:lnTo>
                    <a:close/>
                    <a:moveTo>
                      <a:pt x="5132" y="5615"/>
                    </a:moveTo>
                    <a:cubicBezTo>
                      <a:pt x="4922" y="5600"/>
                      <a:pt x="4922" y="5600"/>
                      <a:pt x="4922" y="5600"/>
                    </a:cubicBezTo>
                    <a:cubicBezTo>
                      <a:pt x="4922" y="5593"/>
                      <a:pt x="4922" y="5593"/>
                      <a:pt x="4922" y="5593"/>
                    </a:cubicBezTo>
                    <a:cubicBezTo>
                      <a:pt x="4928" y="5514"/>
                      <a:pt x="4928" y="5514"/>
                      <a:pt x="4928" y="5514"/>
                    </a:cubicBezTo>
                    <a:cubicBezTo>
                      <a:pt x="4975" y="5517"/>
                      <a:pt x="4975" y="5517"/>
                      <a:pt x="4975" y="5517"/>
                    </a:cubicBezTo>
                    <a:cubicBezTo>
                      <a:pt x="4978" y="5474"/>
                      <a:pt x="4978" y="5474"/>
                      <a:pt x="4978" y="5474"/>
                    </a:cubicBezTo>
                    <a:cubicBezTo>
                      <a:pt x="5095" y="5483"/>
                      <a:pt x="5095" y="5483"/>
                      <a:pt x="5095" y="5483"/>
                    </a:cubicBezTo>
                    <a:cubicBezTo>
                      <a:pt x="5091" y="5526"/>
                      <a:pt x="5091" y="5526"/>
                      <a:pt x="5091" y="5526"/>
                    </a:cubicBezTo>
                    <a:cubicBezTo>
                      <a:pt x="5138" y="5529"/>
                      <a:pt x="5138" y="5529"/>
                      <a:pt x="5138" y="5529"/>
                    </a:cubicBezTo>
                    <a:lnTo>
                      <a:pt x="5132" y="5615"/>
                    </a:lnTo>
                    <a:close/>
                    <a:moveTo>
                      <a:pt x="5124" y="5541"/>
                    </a:moveTo>
                    <a:cubicBezTo>
                      <a:pt x="5077" y="5538"/>
                      <a:pt x="5077" y="5538"/>
                      <a:pt x="5077" y="5538"/>
                    </a:cubicBezTo>
                    <a:cubicBezTo>
                      <a:pt x="5081" y="5495"/>
                      <a:pt x="5081" y="5495"/>
                      <a:pt x="5081" y="5495"/>
                    </a:cubicBezTo>
                    <a:cubicBezTo>
                      <a:pt x="4990" y="5488"/>
                      <a:pt x="4990" y="5488"/>
                      <a:pt x="4990" y="5488"/>
                    </a:cubicBezTo>
                    <a:cubicBezTo>
                      <a:pt x="4987" y="5531"/>
                      <a:pt x="4987" y="5531"/>
                      <a:pt x="4987" y="5531"/>
                    </a:cubicBezTo>
                    <a:cubicBezTo>
                      <a:pt x="4940" y="5528"/>
                      <a:pt x="4940" y="5528"/>
                      <a:pt x="4940" y="5528"/>
                    </a:cubicBezTo>
                    <a:cubicBezTo>
                      <a:pt x="4936" y="5587"/>
                      <a:pt x="4936" y="5587"/>
                      <a:pt x="4936" y="5587"/>
                    </a:cubicBezTo>
                    <a:cubicBezTo>
                      <a:pt x="5120" y="5601"/>
                      <a:pt x="5120" y="5601"/>
                      <a:pt x="5120" y="5601"/>
                    </a:cubicBezTo>
                    <a:lnTo>
                      <a:pt x="5124" y="5541"/>
                    </a:lnTo>
                    <a:close/>
                    <a:moveTo>
                      <a:pt x="3411" y="5065"/>
                    </a:moveTo>
                    <a:cubicBezTo>
                      <a:pt x="3411" y="5064"/>
                      <a:pt x="3411" y="5064"/>
                      <a:pt x="3411" y="5064"/>
                    </a:cubicBezTo>
                    <a:cubicBezTo>
                      <a:pt x="3411" y="5065"/>
                      <a:pt x="3411" y="5065"/>
                      <a:pt x="3411" y="5065"/>
                    </a:cubicBezTo>
                    <a:close/>
                    <a:moveTo>
                      <a:pt x="7998" y="6683"/>
                    </a:moveTo>
                    <a:cubicBezTo>
                      <a:pt x="8146" y="6714"/>
                      <a:pt x="8146" y="6714"/>
                      <a:pt x="8146" y="6714"/>
                    </a:cubicBezTo>
                    <a:cubicBezTo>
                      <a:pt x="8130" y="6788"/>
                      <a:pt x="8130" y="6788"/>
                      <a:pt x="8130" y="6788"/>
                    </a:cubicBezTo>
                    <a:cubicBezTo>
                      <a:pt x="8124" y="6787"/>
                      <a:pt x="8124" y="6787"/>
                      <a:pt x="8124" y="6787"/>
                    </a:cubicBezTo>
                    <a:cubicBezTo>
                      <a:pt x="7982" y="6757"/>
                      <a:pt x="7982" y="6757"/>
                      <a:pt x="7982" y="6757"/>
                    </a:cubicBezTo>
                    <a:lnTo>
                      <a:pt x="7998" y="6683"/>
                    </a:lnTo>
                    <a:close/>
                    <a:moveTo>
                      <a:pt x="8008" y="6698"/>
                    </a:moveTo>
                    <a:cubicBezTo>
                      <a:pt x="7998" y="6747"/>
                      <a:pt x="7998" y="6747"/>
                      <a:pt x="7998" y="6747"/>
                    </a:cubicBezTo>
                    <a:cubicBezTo>
                      <a:pt x="8120" y="6773"/>
                      <a:pt x="8120" y="6773"/>
                      <a:pt x="8120" y="6773"/>
                    </a:cubicBezTo>
                    <a:cubicBezTo>
                      <a:pt x="8130" y="6724"/>
                      <a:pt x="8130" y="6724"/>
                      <a:pt x="8130" y="6724"/>
                    </a:cubicBezTo>
                    <a:lnTo>
                      <a:pt x="8008" y="6698"/>
                    </a:lnTo>
                    <a:close/>
                    <a:moveTo>
                      <a:pt x="14085" y="10780"/>
                    </a:moveTo>
                    <a:cubicBezTo>
                      <a:pt x="14121" y="10821"/>
                      <a:pt x="14121" y="10821"/>
                      <a:pt x="14121" y="10821"/>
                    </a:cubicBezTo>
                    <a:cubicBezTo>
                      <a:pt x="14141" y="10821"/>
                      <a:pt x="14141" y="10821"/>
                      <a:pt x="14141" y="10821"/>
                    </a:cubicBezTo>
                    <a:cubicBezTo>
                      <a:pt x="14087" y="10759"/>
                      <a:pt x="14087" y="10759"/>
                      <a:pt x="14087" y="10759"/>
                    </a:cubicBezTo>
                    <a:cubicBezTo>
                      <a:pt x="14081" y="10764"/>
                      <a:pt x="14081" y="10764"/>
                      <a:pt x="14081" y="10764"/>
                    </a:cubicBezTo>
                    <a:cubicBezTo>
                      <a:pt x="14017" y="10821"/>
                      <a:pt x="14017" y="10821"/>
                      <a:pt x="14017" y="10821"/>
                    </a:cubicBezTo>
                    <a:cubicBezTo>
                      <a:pt x="14039" y="10821"/>
                      <a:pt x="14039" y="10821"/>
                      <a:pt x="14039" y="10821"/>
                    </a:cubicBezTo>
                    <a:lnTo>
                      <a:pt x="14085" y="10780"/>
                    </a:lnTo>
                    <a:close/>
                    <a:moveTo>
                      <a:pt x="12701" y="9341"/>
                    </a:moveTo>
                    <a:cubicBezTo>
                      <a:pt x="12700" y="9383"/>
                      <a:pt x="12700" y="9383"/>
                      <a:pt x="12700" y="9383"/>
                    </a:cubicBezTo>
                    <a:cubicBezTo>
                      <a:pt x="12617" y="9381"/>
                      <a:pt x="12617" y="9381"/>
                      <a:pt x="12617" y="9381"/>
                    </a:cubicBezTo>
                    <a:cubicBezTo>
                      <a:pt x="12613" y="9338"/>
                      <a:pt x="12613" y="9338"/>
                      <a:pt x="12613" y="9338"/>
                    </a:cubicBezTo>
                    <a:cubicBezTo>
                      <a:pt x="12478" y="9337"/>
                      <a:pt x="12478" y="9337"/>
                      <a:pt x="12478" y="9337"/>
                    </a:cubicBezTo>
                    <a:cubicBezTo>
                      <a:pt x="12476" y="9282"/>
                      <a:pt x="12476" y="9282"/>
                      <a:pt x="12476" y="9282"/>
                    </a:cubicBezTo>
                    <a:cubicBezTo>
                      <a:pt x="12457" y="9280"/>
                      <a:pt x="12457" y="9280"/>
                      <a:pt x="12457" y="9280"/>
                    </a:cubicBezTo>
                    <a:cubicBezTo>
                      <a:pt x="12451" y="9280"/>
                      <a:pt x="12451" y="9280"/>
                      <a:pt x="12451" y="9280"/>
                    </a:cubicBezTo>
                    <a:cubicBezTo>
                      <a:pt x="12450" y="9212"/>
                      <a:pt x="12450" y="9212"/>
                      <a:pt x="12450" y="9212"/>
                    </a:cubicBezTo>
                    <a:cubicBezTo>
                      <a:pt x="12482" y="9210"/>
                      <a:pt x="12482" y="9210"/>
                      <a:pt x="12482" y="9210"/>
                    </a:cubicBezTo>
                    <a:cubicBezTo>
                      <a:pt x="12480" y="9145"/>
                      <a:pt x="12480" y="9145"/>
                      <a:pt x="12480" y="9145"/>
                    </a:cubicBezTo>
                    <a:cubicBezTo>
                      <a:pt x="12556" y="9145"/>
                      <a:pt x="12556" y="9145"/>
                      <a:pt x="12556" y="9145"/>
                    </a:cubicBezTo>
                    <a:cubicBezTo>
                      <a:pt x="12555" y="9126"/>
                      <a:pt x="12555" y="9126"/>
                      <a:pt x="12555" y="9126"/>
                    </a:cubicBezTo>
                    <a:cubicBezTo>
                      <a:pt x="12554" y="9120"/>
                      <a:pt x="12554" y="9120"/>
                      <a:pt x="12554" y="9120"/>
                    </a:cubicBezTo>
                    <a:cubicBezTo>
                      <a:pt x="12656" y="9117"/>
                      <a:pt x="12656" y="9117"/>
                      <a:pt x="12656" y="9117"/>
                    </a:cubicBezTo>
                    <a:cubicBezTo>
                      <a:pt x="12657" y="9146"/>
                      <a:pt x="12657" y="9146"/>
                      <a:pt x="12657" y="9146"/>
                    </a:cubicBezTo>
                    <a:cubicBezTo>
                      <a:pt x="12792" y="9148"/>
                      <a:pt x="12792" y="9148"/>
                      <a:pt x="12792" y="9148"/>
                    </a:cubicBezTo>
                    <a:cubicBezTo>
                      <a:pt x="12791" y="9340"/>
                      <a:pt x="12791" y="9340"/>
                      <a:pt x="12791" y="9340"/>
                    </a:cubicBezTo>
                    <a:cubicBezTo>
                      <a:pt x="12784" y="9340"/>
                      <a:pt x="12784" y="9340"/>
                      <a:pt x="12784" y="9340"/>
                    </a:cubicBezTo>
                    <a:lnTo>
                      <a:pt x="12701" y="9341"/>
                    </a:lnTo>
                    <a:close/>
                    <a:moveTo>
                      <a:pt x="12778" y="9327"/>
                    </a:moveTo>
                    <a:cubicBezTo>
                      <a:pt x="12779" y="9161"/>
                      <a:pt x="12779" y="9161"/>
                      <a:pt x="12779" y="9161"/>
                    </a:cubicBezTo>
                    <a:cubicBezTo>
                      <a:pt x="12645" y="9159"/>
                      <a:pt x="12645" y="9159"/>
                      <a:pt x="12645" y="9159"/>
                    </a:cubicBezTo>
                    <a:cubicBezTo>
                      <a:pt x="12643" y="9130"/>
                      <a:pt x="12643" y="9130"/>
                      <a:pt x="12643" y="9130"/>
                    </a:cubicBezTo>
                    <a:cubicBezTo>
                      <a:pt x="12568" y="9132"/>
                      <a:pt x="12568" y="9132"/>
                      <a:pt x="12568" y="9132"/>
                    </a:cubicBezTo>
                    <a:cubicBezTo>
                      <a:pt x="12569" y="9151"/>
                      <a:pt x="12569" y="9151"/>
                      <a:pt x="12569" y="9151"/>
                    </a:cubicBezTo>
                    <a:cubicBezTo>
                      <a:pt x="12569" y="9158"/>
                      <a:pt x="12569" y="9158"/>
                      <a:pt x="12569" y="9158"/>
                    </a:cubicBezTo>
                    <a:cubicBezTo>
                      <a:pt x="12494" y="9158"/>
                      <a:pt x="12494" y="9158"/>
                      <a:pt x="12494" y="9158"/>
                    </a:cubicBezTo>
                    <a:cubicBezTo>
                      <a:pt x="12496" y="9223"/>
                      <a:pt x="12496" y="9223"/>
                      <a:pt x="12496" y="9223"/>
                    </a:cubicBezTo>
                    <a:cubicBezTo>
                      <a:pt x="12463" y="9225"/>
                      <a:pt x="12463" y="9225"/>
                      <a:pt x="12463" y="9225"/>
                    </a:cubicBezTo>
                    <a:cubicBezTo>
                      <a:pt x="12463" y="9268"/>
                      <a:pt x="12463" y="9268"/>
                      <a:pt x="12463" y="9268"/>
                    </a:cubicBezTo>
                    <a:cubicBezTo>
                      <a:pt x="12483" y="9269"/>
                      <a:pt x="12483" y="9269"/>
                      <a:pt x="12483" y="9269"/>
                    </a:cubicBezTo>
                    <a:cubicBezTo>
                      <a:pt x="12489" y="9269"/>
                      <a:pt x="12489" y="9269"/>
                      <a:pt x="12489" y="9269"/>
                    </a:cubicBezTo>
                    <a:cubicBezTo>
                      <a:pt x="12491" y="9324"/>
                      <a:pt x="12491" y="9324"/>
                      <a:pt x="12491" y="9324"/>
                    </a:cubicBezTo>
                    <a:cubicBezTo>
                      <a:pt x="12624" y="9325"/>
                      <a:pt x="12624" y="9325"/>
                      <a:pt x="12624" y="9325"/>
                    </a:cubicBezTo>
                    <a:cubicBezTo>
                      <a:pt x="12629" y="9368"/>
                      <a:pt x="12629" y="9368"/>
                      <a:pt x="12629" y="9368"/>
                    </a:cubicBezTo>
                    <a:cubicBezTo>
                      <a:pt x="12687" y="9370"/>
                      <a:pt x="12687" y="9370"/>
                      <a:pt x="12687" y="9370"/>
                    </a:cubicBezTo>
                    <a:cubicBezTo>
                      <a:pt x="12688" y="9328"/>
                      <a:pt x="12688" y="9328"/>
                      <a:pt x="12688" y="9328"/>
                    </a:cubicBezTo>
                    <a:lnTo>
                      <a:pt x="12778" y="9327"/>
                    </a:lnTo>
                    <a:close/>
                    <a:moveTo>
                      <a:pt x="7541" y="10737"/>
                    </a:moveTo>
                    <a:cubicBezTo>
                      <a:pt x="7486" y="10720"/>
                      <a:pt x="7486" y="10720"/>
                      <a:pt x="7486" y="10720"/>
                    </a:cubicBezTo>
                    <a:cubicBezTo>
                      <a:pt x="7508" y="10645"/>
                      <a:pt x="7508" y="10645"/>
                      <a:pt x="7508" y="10645"/>
                    </a:cubicBezTo>
                    <a:cubicBezTo>
                      <a:pt x="7402" y="10616"/>
                      <a:pt x="7402" y="10616"/>
                      <a:pt x="7402" y="10616"/>
                    </a:cubicBezTo>
                    <a:cubicBezTo>
                      <a:pt x="7353" y="10795"/>
                      <a:pt x="7353" y="10795"/>
                      <a:pt x="7353" y="10795"/>
                    </a:cubicBezTo>
                    <a:cubicBezTo>
                      <a:pt x="7403" y="10809"/>
                      <a:pt x="7403" y="10809"/>
                      <a:pt x="7403" y="10809"/>
                    </a:cubicBezTo>
                    <a:cubicBezTo>
                      <a:pt x="7399" y="10821"/>
                      <a:pt x="7399" y="10821"/>
                      <a:pt x="7399" y="10821"/>
                    </a:cubicBezTo>
                    <a:cubicBezTo>
                      <a:pt x="7439" y="10821"/>
                      <a:pt x="7439" y="10821"/>
                      <a:pt x="7439" y="10821"/>
                    </a:cubicBezTo>
                    <a:cubicBezTo>
                      <a:pt x="7415" y="10814"/>
                      <a:pt x="7415" y="10814"/>
                      <a:pt x="7415" y="10814"/>
                    </a:cubicBezTo>
                    <a:cubicBezTo>
                      <a:pt x="7419" y="10800"/>
                      <a:pt x="7419" y="10800"/>
                      <a:pt x="7419" y="10800"/>
                    </a:cubicBezTo>
                    <a:cubicBezTo>
                      <a:pt x="7369" y="10786"/>
                      <a:pt x="7369" y="10786"/>
                      <a:pt x="7369" y="10786"/>
                    </a:cubicBezTo>
                    <a:cubicBezTo>
                      <a:pt x="7411" y="10632"/>
                      <a:pt x="7411" y="10632"/>
                      <a:pt x="7411" y="10632"/>
                    </a:cubicBezTo>
                    <a:cubicBezTo>
                      <a:pt x="7492" y="10654"/>
                      <a:pt x="7492" y="10654"/>
                      <a:pt x="7492" y="10654"/>
                    </a:cubicBezTo>
                    <a:cubicBezTo>
                      <a:pt x="7470" y="10728"/>
                      <a:pt x="7470" y="10728"/>
                      <a:pt x="7470" y="10728"/>
                    </a:cubicBezTo>
                    <a:cubicBezTo>
                      <a:pt x="7525" y="10746"/>
                      <a:pt x="7525" y="10746"/>
                      <a:pt x="7525" y="10746"/>
                    </a:cubicBezTo>
                    <a:cubicBezTo>
                      <a:pt x="7505" y="10821"/>
                      <a:pt x="7505" y="10821"/>
                      <a:pt x="7505" y="10821"/>
                    </a:cubicBezTo>
                    <a:cubicBezTo>
                      <a:pt x="7518" y="10821"/>
                      <a:pt x="7518" y="10821"/>
                      <a:pt x="7518" y="10821"/>
                    </a:cubicBezTo>
                    <a:cubicBezTo>
                      <a:pt x="7539" y="10743"/>
                      <a:pt x="7539" y="10743"/>
                      <a:pt x="7539" y="10743"/>
                    </a:cubicBezTo>
                    <a:lnTo>
                      <a:pt x="7541" y="10737"/>
                    </a:lnTo>
                    <a:close/>
                    <a:moveTo>
                      <a:pt x="2859" y="7406"/>
                    </a:moveTo>
                    <a:cubicBezTo>
                      <a:pt x="2848" y="7163"/>
                      <a:pt x="2848" y="7163"/>
                      <a:pt x="2848" y="7163"/>
                    </a:cubicBezTo>
                    <a:cubicBezTo>
                      <a:pt x="2899" y="7149"/>
                      <a:pt x="2899" y="7149"/>
                      <a:pt x="2899" y="7149"/>
                    </a:cubicBezTo>
                    <a:cubicBezTo>
                      <a:pt x="2902" y="7154"/>
                      <a:pt x="2902" y="7154"/>
                      <a:pt x="2902" y="7154"/>
                    </a:cubicBezTo>
                    <a:cubicBezTo>
                      <a:pt x="2995" y="7372"/>
                      <a:pt x="2995" y="7372"/>
                      <a:pt x="2995" y="7372"/>
                    </a:cubicBezTo>
                    <a:lnTo>
                      <a:pt x="2859" y="7406"/>
                    </a:lnTo>
                    <a:close/>
                    <a:moveTo>
                      <a:pt x="2864" y="7174"/>
                    </a:moveTo>
                    <a:cubicBezTo>
                      <a:pt x="2873" y="7387"/>
                      <a:pt x="2873" y="7387"/>
                      <a:pt x="2873" y="7387"/>
                    </a:cubicBezTo>
                    <a:cubicBezTo>
                      <a:pt x="2975" y="7362"/>
                      <a:pt x="2975" y="7362"/>
                      <a:pt x="2975" y="7362"/>
                    </a:cubicBezTo>
                    <a:cubicBezTo>
                      <a:pt x="2891" y="7166"/>
                      <a:pt x="2891" y="7166"/>
                      <a:pt x="2891" y="7166"/>
                    </a:cubicBezTo>
                    <a:lnTo>
                      <a:pt x="2864" y="7174"/>
                    </a:lnTo>
                    <a:close/>
                    <a:moveTo>
                      <a:pt x="2285" y="6587"/>
                    </a:moveTo>
                    <a:cubicBezTo>
                      <a:pt x="2559" y="6751"/>
                      <a:pt x="2559" y="6751"/>
                      <a:pt x="2559" y="6751"/>
                    </a:cubicBezTo>
                    <a:cubicBezTo>
                      <a:pt x="2557" y="6756"/>
                      <a:pt x="2557" y="6756"/>
                      <a:pt x="2557" y="6756"/>
                    </a:cubicBezTo>
                    <a:cubicBezTo>
                      <a:pt x="2437" y="7198"/>
                      <a:pt x="2437" y="7198"/>
                      <a:pt x="2437" y="7198"/>
                    </a:cubicBezTo>
                    <a:cubicBezTo>
                      <a:pt x="2254" y="7068"/>
                      <a:pt x="2254" y="7068"/>
                      <a:pt x="2254" y="7068"/>
                    </a:cubicBezTo>
                    <a:cubicBezTo>
                      <a:pt x="2306" y="6959"/>
                      <a:pt x="2306" y="6959"/>
                      <a:pt x="2306" y="6959"/>
                    </a:cubicBezTo>
                    <a:cubicBezTo>
                      <a:pt x="2374" y="7000"/>
                      <a:pt x="2374" y="7000"/>
                      <a:pt x="2374" y="7000"/>
                    </a:cubicBezTo>
                    <a:cubicBezTo>
                      <a:pt x="2421" y="6832"/>
                      <a:pt x="2421" y="6832"/>
                      <a:pt x="2421" y="6832"/>
                    </a:cubicBezTo>
                    <a:cubicBezTo>
                      <a:pt x="2317" y="6772"/>
                      <a:pt x="2317" y="6772"/>
                      <a:pt x="2317" y="6772"/>
                    </a:cubicBezTo>
                    <a:cubicBezTo>
                      <a:pt x="2218" y="6912"/>
                      <a:pt x="2218" y="6912"/>
                      <a:pt x="2218" y="6912"/>
                    </a:cubicBezTo>
                    <a:cubicBezTo>
                      <a:pt x="2260" y="6935"/>
                      <a:pt x="2260" y="6935"/>
                      <a:pt x="2260" y="6935"/>
                    </a:cubicBezTo>
                    <a:cubicBezTo>
                      <a:pt x="2212" y="7043"/>
                      <a:pt x="2212" y="7043"/>
                      <a:pt x="2212" y="7043"/>
                    </a:cubicBezTo>
                    <a:cubicBezTo>
                      <a:pt x="2045" y="6958"/>
                      <a:pt x="2045" y="6958"/>
                      <a:pt x="2045" y="6958"/>
                    </a:cubicBezTo>
                    <a:lnTo>
                      <a:pt x="2285" y="6587"/>
                    </a:lnTo>
                    <a:close/>
                    <a:moveTo>
                      <a:pt x="2290" y="6607"/>
                    </a:moveTo>
                    <a:cubicBezTo>
                      <a:pt x="2066" y="6953"/>
                      <a:pt x="2066" y="6953"/>
                      <a:pt x="2066" y="6953"/>
                    </a:cubicBezTo>
                    <a:cubicBezTo>
                      <a:pt x="2205" y="7023"/>
                      <a:pt x="2205" y="7023"/>
                      <a:pt x="2205" y="7023"/>
                    </a:cubicBezTo>
                    <a:cubicBezTo>
                      <a:pt x="2241" y="6942"/>
                      <a:pt x="2241" y="6942"/>
                      <a:pt x="2241" y="6942"/>
                    </a:cubicBezTo>
                    <a:cubicBezTo>
                      <a:pt x="2197" y="6917"/>
                      <a:pt x="2197" y="6917"/>
                      <a:pt x="2197" y="6917"/>
                    </a:cubicBezTo>
                    <a:cubicBezTo>
                      <a:pt x="2313" y="6753"/>
                      <a:pt x="2313" y="6753"/>
                      <a:pt x="2313" y="6753"/>
                    </a:cubicBezTo>
                    <a:cubicBezTo>
                      <a:pt x="2439" y="6825"/>
                      <a:pt x="2439" y="6825"/>
                      <a:pt x="2439" y="6825"/>
                    </a:cubicBezTo>
                    <a:cubicBezTo>
                      <a:pt x="2383" y="7022"/>
                      <a:pt x="2383" y="7022"/>
                      <a:pt x="2383" y="7022"/>
                    </a:cubicBezTo>
                    <a:cubicBezTo>
                      <a:pt x="2312" y="6980"/>
                      <a:pt x="2312" y="6980"/>
                      <a:pt x="2312" y="6980"/>
                    </a:cubicBezTo>
                    <a:cubicBezTo>
                      <a:pt x="2272" y="7064"/>
                      <a:pt x="2272" y="7064"/>
                      <a:pt x="2272" y="7064"/>
                    </a:cubicBezTo>
                    <a:cubicBezTo>
                      <a:pt x="2428" y="7174"/>
                      <a:pt x="2428" y="7174"/>
                      <a:pt x="2428" y="7174"/>
                    </a:cubicBezTo>
                    <a:cubicBezTo>
                      <a:pt x="2542" y="6758"/>
                      <a:pt x="2542" y="6758"/>
                      <a:pt x="2542" y="6758"/>
                    </a:cubicBezTo>
                    <a:lnTo>
                      <a:pt x="2290" y="6607"/>
                    </a:lnTo>
                    <a:close/>
                    <a:moveTo>
                      <a:pt x="3868" y="6951"/>
                    </a:moveTo>
                    <a:cubicBezTo>
                      <a:pt x="3868" y="6954"/>
                      <a:pt x="3868" y="6955"/>
                      <a:pt x="3868" y="6957"/>
                    </a:cubicBezTo>
                    <a:cubicBezTo>
                      <a:pt x="3868" y="6980"/>
                      <a:pt x="3846" y="7056"/>
                      <a:pt x="3846" y="7057"/>
                    </a:cubicBezTo>
                    <a:cubicBezTo>
                      <a:pt x="3845" y="7063"/>
                      <a:pt x="3845" y="7063"/>
                      <a:pt x="3845" y="7063"/>
                    </a:cubicBezTo>
                    <a:cubicBezTo>
                      <a:pt x="3695" y="7037"/>
                      <a:pt x="3695" y="7037"/>
                      <a:pt x="3695" y="7037"/>
                    </a:cubicBezTo>
                    <a:cubicBezTo>
                      <a:pt x="3651" y="7151"/>
                      <a:pt x="3651" y="7151"/>
                      <a:pt x="3651" y="7151"/>
                    </a:cubicBezTo>
                    <a:cubicBezTo>
                      <a:pt x="3499" y="7075"/>
                      <a:pt x="3499" y="7075"/>
                      <a:pt x="3499" y="7075"/>
                    </a:cubicBezTo>
                    <a:cubicBezTo>
                      <a:pt x="3552" y="6919"/>
                      <a:pt x="3552" y="6919"/>
                      <a:pt x="3552" y="6919"/>
                    </a:cubicBezTo>
                    <a:cubicBezTo>
                      <a:pt x="3678" y="6949"/>
                      <a:pt x="3678" y="6949"/>
                      <a:pt x="3678" y="6949"/>
                    </a:cubicBezTo>
                    <a:cubicBezTo>
                      <a:pt x="3698" y="6917"/>
                      <a:pt x="3698" y="6917"/>
                      <a:pt x="3698" y="6917"/>
                    </a:cubicBezTo>
                    <a:cubicBezTo>
                      <a:pt x="3703" y="6918"/>
                      <a:pt x="3703" y="6918"/>
                      <a:pt x="3703" y="6918"/>
                    </a:cubicBezTo>
                    <a:cubicBezTo>
                      <a:pt x="3703" y="6918"/>
                      <a:pt x="3853" y="6945"/>
                      <a:pt x="3860" y="6945"/>
                    </a:cubicBezTo>
                    <a:cubicBezTo>
                      <a:pt x="3860" y="6945"/>
                      <a:pt x="3860" y="6945"/>
                      <a:pt x="3860" y="6945"/>
                    </a:cubicBezTo>
                    <a:cubicBezTo>
                      <a:pt x="3865" y="6945"/>
                      <a:pt x="3867" y="6950"/>
                      <a:pt x="3868" y="6951"/>
                    </a:cubicBezTo>
                    <a:close/>
                    <a:moveTo>
                      <a:pt x="3854" y="6959"/>
                    </a:moveTo>
                    <a:cubicBezTo>
                      <a:pt x="3828" y="6955"/>
                      <a:pt x="3728" y="6938"/>
                      <a:pt x="3705" y="6933"/>
                    </a:cubicBezTo>
                    <a:cubicBezTo>
                      <a:pt x="3685" y="6966"/>
                      <a:pt x="3685" y="6966"/>
                      <a:pt x="3685" y="6966"/>
                    </a:cubicBezTo>
                    <a:cubicBezTo>
                      <a:pt x="3562" y="6937"/>
                      <a:pt x="3562" y="6937"/>
                      <a:pt x="3562" y="6937"/>
                    </a:cubicBezTo>
                    <a:cubicBezTo>
                      <a:pt x="3517" y="7068"/>
                      <a:pt x="3517" y="7068"/>
                      <a:pt x="3517" y="7068"/>
                    </a:cubicBezTo>
                    <a:cubicBezTo>
                      <a:pt x="3643" y="7131"/>
                      <a:pt x="3643" y="7131"/>
                      <a:pt x="3643" y="7131"/>
                    </a:cubicBezTo>
                    <a:cubicBezTo>
                      <a:pt x="3686" y="7021"/>
                      <a:pt x="3686" y="7021"/>
                      <a:pt x="3686" y="7021"/>
                    </a:cubicBezTo>
                    <a:cubicBezTo>
                      <a:pt x="3834" y="7046"/>
                      <a:pt x="3834" y="7046"/>
                      <a:pt x="3834" y="7046"/>
                    </a:cubicBezTo>
                    <a:cubicBezTo>
                      <a:pt x="3839" y="7028"/>
                      <a:pt x="3853" y="6976"/>
                      <a:pt x="3854" y="6959"/>
                    </a:cubicBezTo>
                    <a:close/>
                    <a:moveTo>
                      <a:pt x="3859" y="6952"/>
                    </a:moveTo>
                    <a:cubicBezTo>
                      <a:pt x="3859" y="6954"/>
                      <a:pt x="3859" y="6954"/>
                      <a:pt x="3859" y="6954"/>
                    </a:cubicBezTo>
                    <a:cubicBezTo>
                      <a:pt x="3859" y="6954"/>
                      <a:pt x="3859" y="6954"/>
                      <a:pt x="3859" y="6954"/>
                    </a:cubicBezTo>
                    <a:lnTo>
                      <a:pt x="3859" y="6952"/>
                    </a:lnTo>
                    <a:close/>
                    <a:moveTo>
                      <a:pt x="8161" y="10705"/>
                    </a:moveTo>
                    <a:cubicBezTo>
                      <a:pt x="8132" y="10763"/>
                      <a:pt x="8132" y="10763"/>
                      <a:pt x="8132" y="10763"/>
                    </a:cubicBezTo>
                    <a:cubicBezTo>
                      <a:pt x="8050" y="10721"/>
                      <a:pt x="8050" y="10721"/>
                      <a:pt x="8050" y="10721"/>
                    </a:cubicBezTo>
                    <a:cubicBezTo>
                      <a:pt x="8079" y="10663"/>
                      <a:pt x="8079" y="10663"/>
                      <a:pt x="8079" y="10663"/>
                    </a:cubicBezTo>
                    <a:cubicBezTo>
                      <a:pt x="7971" y="10609"/>
                      <a:pt x="7971" y="10609"/>
                      <a:pt x="7971" y="10609"/>
                    </a:cubicBezTo>
                    <a:cubicBezTo>
                      <a:pt x="7965" y="10606"/>
                      <a:pt x="7965" y="10606"/>
                      <a:pt x="7965" y="10606"/>
                    </a:cubicBezTo>
                    <a:cubicBezTo>
                      <a:pt x="7854" y="10821"/>
                      <a:pt x="7854" y="10821"/>
                      <a:pt x="7854" y="10821"/>
                    </a:cubicBezTo>
                    <a:cubicBezTo>
                      <a:pt x="7871" y="10821"/>
                      <a:pt x="7871" y="10821"/>
                      <a:pt x="7871" y="10821"/>
                    </a:cubicBezTo>
                    <a:cubicBezTo>
                      <a:pt x="7971" y="10626"/>
                      <a:pt x="7971" y="10626"/>
                      <a:pt x="7971" y="10626"/>
                    </a:cubicBezTo>
                    <a:cubicBezTo>
                      <a:pt x="8060" y="10670"/>
                      <a:pt x="8060" y="10670"/>
                      <a:pt x="8060" y="10670"/>
                    </a:cubicBezTo>
                    <a:cubicBezTo>
                      <a:pt x="8030" y="10728"/>
                      <a:pt x="8030" y="10728"/>
                      <a:pt x="8030" y="10728"/>
                    </a:cubicBezTo>
                    <a:cubicBezTo>
                      <a:pt x="8138" y="10783"/>
                      <a:pt x="8138" y="10783"/>
                      <a:pt x="8138" y="10783"/>
                    </a:cubicBezTo>
                    <a:cubicBezTo>
                      <a:pt x="8168" y="10725"/>
                      <a:pt x="8168" y="10725"/>
                      <a:pt x="8168" y="10725"/>
                    </a:cubicBezTo>
                    <a:cubicBezTo>
                      <a:pt x="8259" y="10772"/>
                      <a:pt x="8259" y="10772"/>
                      <a:pt x="8259" y="10772"/>
                    </a:cubicBezTo>
                    <a:cubicBezTo>
                      <a:pt x="8234" y="10821"/>
                      <a:pt x="8234" y="10821"/>
                      <a:pt x="8234" y="10821"/>
                    </a:cubicBezTo>
                    <a:cubicBezTo>
                      <a:pt x="8250" y="10821"/>
                      <a:pt x="8250" y="10821"/>
                      <a:pt x="8250" y="10821"/>
                    </a:cubicBezTo>
                    <a:cubicBezTo>
                      <a:pt x="8279" y="10766"/>
                      <a:pt x="8279" y="10766"/>
                      <a:pt x="8279" y="10766"/>
                    </a:cubicBezTo>
                    <a:lnTo>
                      <a:pt x="8161" y="10705"/>
                    </a:lnTo>
                    <a:close/>
                    <a:moveTo>
                      <a:pt x="2513" y="7261"/>
                    </a:moveTo>
                    <a:cubicBezTo>
                      <a:pt x="2616" y="6812"/>
                      <a:pt x="2616" y="6812"/>
                      <a:pt x="2616" y="6812"/>
                    </a:cubicBezTo>
                    <a:cubicBezTo>
                      <a:pt x="2771" y="6874"/>
                      <a:pt x="2771" y="6874"/>
                      <a:pt x="2771" y="6874"/>
                    </a:cubicBezTo>
                    <a:cubicBezTo>
                      <a:pt x="2772" y="6878"/>
                      <a:pt x="2772" y="6878"/>
                      <a:pt x="2772" y="6878"/>
                    </a:cubicBezTo>
                    <a:cubicBezTo>
                      <a:pt x="2797" y="7019"/>
                      <a:pt x="2797" y="7019"/>
                      <a:pt x="2797" y="7019"/>
                    </a:cubicBezTo>
                    <a:cubicBezTo>
                      <a:pt x="2686" y="7033"/>
                      <a:pt x="2686" y="7033"/>
                      <a:pt x="2686" y="7033"/>
                    </a:cubicBezTo>
                    <a:cubicBezTo>
                      <a:pt x="2666" y="7092"/>
                      <a:pt x="2666" y="7092"/>
                      <a:pt x="2666" y="7092"/>
                    </a:cubicBezTo>
                    <a:cubicBezTo>
                      <a:pt x="2778" y="7143"/>
                      <a:pt x="2778" y="7143"/>
                      <a:pt x="2778" y="7143"/>
                    </a:cubicBezTo>
                    <a:cubicBezTo>
                      <a:pt x="2769" y="7275"/>
                      <a:pt x="2769" y="7275"/>
                      <a:pt x="2769" y="7275"/>
                    </a:cubicBezTo>
                    <a:cubicBezTo>
                      <a:pt x="2644" y="7234"/>
                      <a:pt x="2644" y="7234"/>
                      <a:pt x="2644" y="7234"/>
                    </a:cubicBezTo>
                    <a:cubicBezTo>
                      <a:pt x="2625" y="7332"/>
                      <a:pt x="2625" y="7332"/>
                      <a:pt x="2625" y="7332"/>
                    </a:cubicBezTo>
                    <a:lnTo>
                      <a:pt x="2513" y="7261"/>
                    </a:lnTo>
                    <a:close/>
                    <a:moveTo>
                      <a:pt x="2530" y="7255"/>
                    </a:moveTo>
                    <a:cubicBezTo>
                      <a:pt x="2615" y="7308"/>
                      <a:pt x="2615" y="7308"/>
                      <a:pt x="2615" y="7308"/>
                    </a:cubicBezTo>
                    <a:cubicBezTo>
                      <a:pt x="2633" y="7214"/>
                      <a:pt x="2633" y="7214"/>
                      <a:pt x="2633" y="7214"/>
                    </a:cubicBezTo>
                    <a:cubicBezTo>
                      <a:pt x="2755" y="7255"/>
                      <a:pt x="2755" y="7255"/>
                      <a:pt x="2755" y="7255"/>
                    </a:cubicBezTo>
                    <a:cubicBezTo>
                      <a:pt x="2762" y="7152"/>
                      <a:pt x="2762" y="7152"/>
                      <a:pt x="2762" y="7152"/>
                    </a:cubicBezTo>
                    <a:cubicBezTo>
                      <a:pt x="2648" y="7100"/>
                      <a:pt x="2648" y="7100"/>
                      <a:pt x="2648" y="7100"/>
                    </a:cubicBezTo>
                    <a:cubicBezTo>
                      <a:pt x="2674" y="7019"/>
                      <a:pt x="2674" y="7019"/>
                      <a:pt x="2674" y="7019"/>
                    </a:cubicBezTo>
                    <a:cubicBezTo>
                      <a:pt x="2779" y="7007"/>
                      <a:pt x="2779" y="7007"/>
                      <a:pt x="2779" y="7007"/>
                    </a:cubicBezTo>
                    <a:cubicBezTo>
                      <a:pt x="2758" y="6885"/>
                      <a:pt x="2758" y="6885"/>
                      <a:pt x="2758" y="6885"/>
                    </a:cubicBezTo>
                    <a:cubicBezTo>
                      <a:pt x="2626" y="6832"/>
                      <a:pt x="2626" y="6832"/>
                      <a:pt x="2626" y="6832"/>
                    </a:cubicBezTo>
                    <a:lnTo>
                      <a:pt x="2530" y="7255"/>
                    </a:lnTo>
                    <a:close/>
                    <a:moveTo>
                      <a:pt x="8004" y="10784"/>
                    </a:moveTo>
                    <a:cubicBezTo>
                      <a:pt x="7985" y="10821"/>
                      <a:pt x="7985" y="10821"/>
                      <a:pt x="7985" y="10821"/>
                    </a:cubicBezTo>
                    <a:cubicBezTo>
                      <a:pt x="8001" y="10821"/>
                      <a:pt x="8001" y="10821"/>
                      <a:pt x="8001" y="10821"/>
                    </a:cubicBezTo>
                    <a:cubicBezTo>
                      <a:pt x="8010" y="10804"/>
                      <a:pt x="8010" y="10804"/>
                      <a:pt x="8010" y="10804"/>
                    </a:cubicBezTo>
                    <a:cubicBezTo>
                      <a:pt x="8047" y="10821"/>
                      <a:pt x="8047" y="10821"/>
                      <a:pt x="8047" y="10821"/>
                    </a:cubicBezTo>
                    <a:cubicBezTo>
                      <a:pt x="8082" y="10821"/>
                      <a:pt x="8082" y="10821"/>
                      <a:pt x="8082" y="10821"/>
                    </a:cubicBezTo>
                    <a:cubicBezTo>
                      <a:pt x="8010" y="10787"/>
                      <a:pt x="8010" y="10787"/>
                      <a:pt x="8010" y="10787"/>
                    </a:cubicBezTo>
                    <a:lnTo>
                      <a:pt x="8004" y="10784"/>
                    </a:lnTo>
                    <a:close/>
                    <a:moveTo>
                      <a:pt x="5787" y="7214"/>
                    </a:moveTo>
                    <a:cubicBezTo>
                      <a:pt x="5937" y="7232"/>
                      <a:pt x="5937" y="7232"/>
                      <a:pt x="5937" y="7232"/>
                    </a:cubicBezTo>
                    <a:cubicBezTo>
                      <a:pt x="5928" y="7307"/>
                      <a:pt x="5928" y="7307"/>
                      <a:pt x="5928" y="7307"/>
                    </a:cubicBezTo>
                    <a:cubicBezTo>
                      <a:pt x="5921" y="7307"/>
                      <a:pt x="5921" y="7307"/>
                      <a:pt x="5921" y="7307"/>
                    </a:cubicBezTo>
                    <a:cubicBezTo>
                      <a:pt x="5777" y="7289"/>
                      <a:pt x="5777" y="7289"/>
                      <a:pt x="5777" y="7289"/>
                    </a:cubicBezTo>
                    <a:lnTo>
                      <a:pt x="5787" y="7214"/>
                    </a:lnTo>
                    <a:close/>
                    <a:moveTo>
                      <a:pt x="5792" y="7277"/>
                    </a:moveTo>
                    <a:cubicBezTo>
                      <a:pt x="5916" y="7293"/>
                      <a:pt x="5916" y="7293"/>
                      <a:pt x="5916" y="7293"/>
                    </a:cubicBezTo>
                    <a:cubicBezTo>
                      <a:pt x="5922" y="7244"/>
                      <a:pt x="5922" y="7244"/>
                      <a:pt x="5922" y="7244"/>
                    </a:cubicBezTo>
                    <a:cubicBezTo>
                      <a:pt x="5798" y="7228"/>
                      <a:pt x="5798" y="7228"/>
                      <a:pt x="5798" y="7228"/>
                    </a:cubicBezTo>
                    <a:lnTo>
                      <a:pt x="5792" y="7277"/>
                    </a:lnTo>
                    <a:close/>
                    <a:moveTo>
                      <a:pt x="8056" y="6896"/>
                    </a:moveTo>
                    <a:cubicBezTo>
                      <a:pt x="8011" y="6958"/>
                      <a:pt x="8011" y="6958"/>
                      <a:pt x="8011" y="6958"/>
                    </a:cubicBezTo>
                    <a:cubicBezTo>
                      <a:pt x="8006" y="6954"/>
                      <a:pt x="8006" y="6954"/>
                      <a:pt x="8006" y="6954"/>
                    </a:cubicBezTo>
                    <a:cubicBezTo>
                      <a:pt x="7888" y="6870"/>
                      <a:pt x="7888" y="6870"/>
                      <a:pt x="7888" y="6870"/>
                    </a:cubicBezTo>
                    <a:cubicBezTo>
                      <a:pt x="7932" y="6808"/>
                      <a:pt x="7932" y="6808"/>
                      <a:pt x="7932" y="6808"/>
                    </a:cubicBezTo>
                    <a:lnTo>
                      <a:pt x="8056" y="6896"/>
                    </a:lnTo>
                    <a:close/>
                    <a:moveTo>
                      <a:pt x="8037" y="6900"/>
                    </a:moveTo>
                    <a:cubicBezTo>
                      <a:pt x="7935" y="6827"/>
                      <a:pt x="7935" y="6827"/>
                      <a:pt x="7935" y="6827"/>
                    </a:cubicBezTo>
                    <a:cubicBezTo>
                      <a:pt x="7907" y="6867"/>
                      <a:pt x="7907" y="6867"/>
                      <a:pt x="7907" y="6867"/>
                    </a:cubicBezTo>
                    <a:cubicBezTo>
                      <a:pt x="8008" y="6940"/>
                      <a:pt x="8008" y="6940"/>
                      <a:pt x="8008" y="6940"/>
                    </a:cubicBezTo>
                    <a:lnTo>
                      <a:pt x="8037" y="6900"/>
                    </a:lnTo>
                    <a:close/>
                    <a:moveTo>
                      <a:pt x="3808" y="6721"/>
                    </a:moveTo>
                    <a:cubicBezTo>
                      <a:pt x="3682" y="6677"/>
                      <a:pt x="3682" y="6677"/>
                      <a:pt x="3682" y="6677"/>
                    </a:cubicBezTo>
                    <a:cubicBezTo>
                      <a:pt x="3821" y="6572"/>
                      <a:pt x="3821" y="6572"/>
                      <a:pt x="3821" y="6572"/>
                    </a:cubicBezTo>
                    <a:cubicBezTo>
                      <a:pt x="3997" y="6698"/>
                      <a:pt x="3997" y="6698"/>
                      <a:pt x="3997" y="6698"/>
                    </a:cubicBezTo>
                    <a:cubicBezTo>
                      <a:pt x="3993" y="6704"/>
                      <a:pt x="3993" y="6704"/>
                      <a:pt x="3993" y="6704"/>
                    </a:cubicBezTo>
                    <a:cubicBezTo>
                      <a:pt x="3887" y="6863"/>
                      <a:pt x="3887" y="6863"/>
                      <a:pt x="3887" y="6863"/>
                    </a:cubicBezTo>
                    <a:cubicBezTo>
                      <a:pt x="3759" y="6843"/>
                      <a:pt x="3759" y="6843"/>
                      <a:pt x="3759" y="6843"/>
                    </a:cubicBezTo>
                    <a:cubicBezTo>
                      <a:pt x="3757" y="6814"/>
                      <a:pt x="3757" y="6814"/>
                      <a:pt x="3757" y="6814"/>
                    </a:cubicBezTo>
                    <a:lnTo>
                      <a:pt x="3808" y="6721"/>
                    </a:lnTo>
                    <a:close/>
                    <a:moveTo>
                      <a:pt x="3829" y="6713"/>
                    </a:moveTo>
                    <a:cubicBezTo>
                      <a:pt x="3772" y="6817"/>
                      <a:pt x="3772" y="6817"/>
                      <a:pt x="3772" y="6817"/>
                    </a:cubicBezTo>
                    <a:cubicBezTo>
                      <a:pt x="3773" y="6831"/>
                      <a:pt x="3773" y="6831"/>
                      <a:pt x="3773" y="6831"/>
                    </a:cubicBezTo>
                    <a:cubicBezTo>
                      <a:pt x="3880" y="6847"/>
                      <a:pt x="3880" y="6847"/>
                      <a:pt x="3880" y="6847"/>
                    </a:cubicBezTo>
                    <a:cubicBezTo>
                      <a:pt x="3977" y="6702"/>
                      <a:pt x="3977" y="6702"/>
                      <a:pt x="3977" y="6702"/>
                    </a:cubicBezTo>
                    <a:cubicBezTo>
                      <a:pt x="3821" y="6591"/>
                      <a:pt x="3821" y="6591"/>
                      <a:pt x="3821" y="6591"/>
                    </a:cubicBezTo>
                    <a:cubicBezTo>
                      <a:pt x="3713" y="6672"/>
                      <a:pt x="3713" y="6672"/>
                      <a:pt x="3713" y="6672"/>
                    </a:cubicBezTo>
                    <a:lnTo>
                      <a:pt x="3829" y="6713"/>
                    </a:lnTo>
                    <a:close/>
                    <a:moveTo>
                      <a:pt x="4014" y="7163"/>
                    </a:moveTo>
                    <a:cubicBezTo>
                      <a:pt x="4023" y="7225"/>
                      <a:pt x="4023" y="7225"/>
                      <a:pt x="4023" y="7225"/>
                    </a:cubicBezTo>
                    <a:cubicBezTo>
                      <a:pt x="3925" y="7240"/>
                      <a:pt x="3925" y="7240"/>
                      <a:pt x="3925" y="7240"/>
                    </a:cubicBezTo>
                    <a:cubicBezTo>
                      <a:pt x="3910" y="7167"/>
                      <a:pt x="3910" y="7167"/>
                      <a:pt x="3910" y="7167"/>
                    </a:cubicBezTo>
                    <a:cubicBezTo>
                      <a:pt x="3945" y="7130"/>
                      <a:pt x="3945" y="7130"/>
                      <a:pt x="3945" y="7130"/>
                    </a:cubicBezTo>
                    <a:cubicBezTo>
                      <a:pt x="3940" y="7076"/>
                      <a:pt x="3940" y="7076"/>
                      <a:pt x="3940" y="7076"/>
                    </a:cubicBezTo>
                    <a:cubicBezTo>
                      <a:pt x="4033" y="7066"/>
                      <a:pt x="4033" y="7066"/>
                      <a:pt x="4033" y="7066"/>
                    </a:cubicBezTo>
                    <a:cubicBezTo>
                      <a:pt x="4047" y="7137"/>
                      <a:pt x="4047" y="7137"/>
                      <a:pt x="4047" y="7137"/>
                    </a:cubicBezTo>
                    <a:lnTo>
                      <a:pt x="4014" y="7163"/>
                    </a:lnTo>
                    <a:close/>
                    <a:moveTo>
                      <a:pt x="4007" y="7213"/>
                    </a:moveTo>
                    <a:cubicBezTo>
                      <a:pt x="4000" y="7165"/>
                      <a:pt x="4000" y="7165"/>
                      <a:pt x="4000" y="7165"/>
                    </a:cubicBezTo>
                    <a:cubicBezTo>
                      <a:pt x="3999" y="7157"/>
                      <a:pt x="3999" y="7157"/>
                      <a:pt x="3999" y="7157"/>
                    </a:cubicBezTo>
                    <a:cubicBezTo>
                      <a:pt x="4005" y="7152"/>
                      <a:pt x="4005" y="7152"/>
                      <a:pt x="4005" y="7152"/>
                    </a:cubicBezTo>
                    <a:cubicBezTo>
                      <a:pt x="4031" y="7131"/>
                      <a:pt x="4031" y="7131"/>
                      <a:pt x="4031" y="7131"/>
                    </a:cubicBezTo>
                    <a:cubicBezTo>
                      <a:pt x="4022" y="7081"/>
                      <a:pt x="4022" y="7081"/>
                      <a:pt x="4022" y="7081"/>
                    </a:cubicBezTo>
                    <a:cubicBezTo>
                      <a:pt x="3955" y="7088"/>
                      <a:pt x="3955" y="7088"/>
                      <a:pt x="3955" y="7088"/>
                    </a:cubicBezTo>
                    <a:cubicBezTo>
                      <a:pt x="3959" y="7129"/>
                      <a:pt x="3959" y="7129"/>
                      <a:pt x="3959" y="7129"/>
                    </a:cubicBezTo>
                    <a:cubicBezTo>
                      <a:pt x="3959" y="7135"/>
                      <a:pt x="3959" y="7135"/>
                      <a:pt x="3959" y="7135"/>
                    </a:cubicBezTo>
                    <a:cubicBezTo>
                      <a:pt x="3955" y="7139"/>
                      <a:pt x="3955" y="7139"/>
                      <a:pt x="3955" y="7139"/>
                    </a:cubicBezTo>
                    <a:cubicBezTo>
                      <a:pt x="3925" y="7171"/>
                      <a:pt x="3925" y="7171"/>
                      <a:pt x="3925" y="7171"/>
                    </a:cubicBezTo>
                    <a:cubicBezTo>
                      <a:pt x="3936" y="7224"/>
                      <a:pt x="3936" y="7224"/>
                      <a:pt x="3936" y="7224"/>
                    </a:cubicBezTo>
                    <a:lnTo>
                      <a:pt x="4007" y="7213"/>
                    </a:lnTo>
                    <a:close/>
                    <a:moveTo>
                      <a:pt x="12248" y="2040"/>
                    </a:moveTo>
                    <a:cubicBezTo>
                      <a:pt x="12702" y="1569"/>
                      <a:pt x="12702" y="1569"/>
                      <a:pt x="12702" y="1569"/>
                    </a:cubicBezTo>
                    <a:cubicBezTo>
                      <a:pt x="12928" y="1784"/>
                      <a:pt x="12928" y="1784"/>
                      <a:pt x="12928" y="1784"/>
                    </a:cubicBezTo>
                    <a:cubicBezTo>
                      <a:pt x="12286" y="2447"/>
                      <a:pt x="12286" y="2447"/>
                      <a:pt x="12286" y="2447"/>
                    </a:cubicBezTo>
                    <a:cubicBezTo>
                      <a:pt x="12098" y="2264"/>
                      <a:pt x="12098" y="2264"/>
                      <a:pt x="12098" y="2264"/>
                    </a:cubicBezTo>
                    <a:cubicBezTo>
                      <a:pt x="11939" y="2425"/>
                      <a:pt x="11939" y="2425"/>
                      <a:pt x="11939" y="2425"/>
                    </a:cubicBezTo>
                    <a:cubicBezTo>
                      <a:pt x="11856" y="2345"/>
                      <a:pt x="11856" y="2345"/>
                      <a:pt x="11856" y="2345"/>
                    </a:cubicBezTo>
                    <a:cubicBezTo>
                      <a:pt x="11725" y="2482"/>
                      <a:pt x="11725" y="2482"/>
                      <a:pt x="11725" y="2482"/>
                    </a:cubicBezTo>
                    <a:cubicBezTo>
                      <a:pt x="11511" y="2271"/>
                      <a:pt x="11511" y="2271"/>
                      <a:pt x="11511" y="2271"/>
                    </a:cubicBezTo>
                    <a:cubicBezTo>
                      <a:pt x="11506" y="2266"/>
                      <a:pt x="11506" y="2266"/>
                      <a:pt x="11506" y="2266"/>
                    </a:cubicBezTo>
                    <a:cubicBezTo>
                      <a:pt x="12145" y="1604"/>
                      <a:pt x="12145" y="1604"/>
                      <a:pt x="12145" y="1604"/>
                    </a:cubicBezTo>
                    <a:cubicBezTo>
                      <a:pt x="12363" y="1823"/>
                      <a:pt x="12363" y="1823"/>
                      <a:pt x="12363" y="1823"/>
                    </a:cubicBezTo>
                    <a:cubicBezTo>
                      <a:pt x="12198" y="1995"/>
                      <a:pt x="12198" y="1995"/>
                      <a:pt x="12198" y="1995"/>
                    </a:cubicBezTo>
                    <a:lnTo>
                      <a:pt x="12248" y="2040"/>
                    </a:lnTo>
                    <a:close/>
                    <a:moveTo>
                      <a:pt x="12248" y="2061"/>
                    </a:moveTo>
                    <a:cubicBezTo>
                      <a:pt x="12177" y="1995"/>
                      <a:pt x="12177" y="1995"/>
                      <a:pt x="12177" y="1995"/>
                    </a:cubicBezTo>
                    <a:cubicBezTo>
                      <a:pt x="12342" y="1823"/>
                      <a:pt x="12342" y="1823"/>
                      <a:pt x="12342" y="1823"/>
                    </a:cubicBezTo>
                    <a:cubicBezTo>
                      <a:pt x="12145" y="1625"/>
                      <a:pt x="12145" y="1625"/>
                      <a:pt x="12145" y="1625"/>
                    </a:cubicBezTo>
                    <a:cubicBezTo>
                      <a:pt x="11526" y="2265"/>
                      <a:pt x="11526" y="2265"/>
                      <a:pt x="11526" y="2265"/>
                    </a:cubicBezTo>
                    <a:cubicBezTo>
                      <a:pt x="11725" y="2461"/>
                      <a:pt x="11725" y="2461"/>
                      <a:pt x="11725" y="2461"/>
                    </a:cubicBezTo>
                    <a:cubicBezTo>
                      <a:pt x="11856" y="2324"/>
                      <a:pt x="11856" y="2324"/>
                      <a:pt x="11856" y="2324"/>
                    </a:cubicBezTo>
                    <a:cubicBezTo>
                      <a:pt x="11938" y="2405"/>
                      <a:pt x="11938" y="2405"/>
                      <a:pt x="11938" y="2405"/>
                    </a:cubicBezTo>
                    <a:cubicBezTo>
                      <a:pt x="12098" y="2243"/>
                      <a:pt x="12098" y="2243"/>
                      <a:pt x="12098" y="2243"/>
                    </a:cubicBezTo>
                    <a:cubicBezTo>
                      <a:pt x="12285" y="2426"/>
                      <a:pt x="12285" y="2426"/>
                      <a:pt x="12285" y="2426"/>
                    </a:cubicBezTo>
                    <a:cubicBezTo>
                      <a:pt x="12907" y="1785"/>
                      <a:pt x="12907" y="1785"/>
                      <a:pt x="12907" y="1785"/>
                    </a:cubicBezTo>
                    <a:cubicBezTo>
                      <a:pt x="12702" y="1590"/>
                      <a:pt x="12702" y="1590"/>
                      <a:pt x="12702" y="1590"/>
                    </a:cubicBezTo>
                    <a:lnTo>
                      <a:pt x="12248" y="2061"/>
                    </a:lnTo>
                    <a:close/>
                    <a:moveTo>
                      <a:pt x="4255" y="4339"/>
                    </a:moveTo>
                    <a:cubicBezTo>
                      <a:pt x="4154" y="4337"/>
                      <a:pt x="4154" y="4337"/>
                      <a:pt x="4154" y="4337"/>
                    </a:cubicBezTo>
                    <a:cubicBezTo>
                      <a:pt x="4154" y="4330"/>
                      <a:pt x="4154" y="4330"/>
                      <a:pt x="4154" y="4330"/>
                    </a:cubicBezTo>
                    <a:cubicBezTo>
                      <a:pt x="4158" y="4197"/>
                      <a:pt x="4158" y="4197"/>
                      <a:pt x="4158" y="4197"/>
                    </a:cubicBezTo>
                    <a:cubicBezTo>
                      <a:pt x="4258" y="4199"/>
                      <a:pt x="4258" y="4199"/>
                      <a:pt x="4258" y="4199"/>
                    </a:cubicBezTo>
                    <a:lnTo>
                      <a:pt x="4255" y="4339"/>
                    </a:lnTo>
                    <a:close/>
                    <a:moveTo>
                      <a:pt x="4245" y="4212"/>
                    </a:moveTo>
                    <a:cubicBezTo>
                      <a:pt x="4170" y="4211"/>
                      <a:pt x="4170" y="4211"/>
                      <a:pt x="4170" y="4211"/>
                    </a:cubicBezTo>
                    <a:cubicBezTo>
                      <a:pt x="4168" y="4324"/>
                      <a:pt x="4168" y="4324"/>
                      <a:pt x="4168" y="4324"/>
                    </a:cubicBezTo>
                    <a:cubicBezTo>
                      <a:pt x="4242" y="4325"/>
                      <a:pt x="4242" y="4325"/>
                      <a:pt x="4242" y="4325"/>
                    </a:cubicBezTo>
                    <a:lnTo>
                      <a:pt x="4245" y="4212"/>
                    </a:lnTo>
                    <a:close/>
                    <a:moveTo>
                      <a:pt x="601" y="10758"/>
                    </a:moveTo>
                    <a:cubicBezTo>
                      <a:pt x="593" y="10761"/>
                      <a:pt x="593" y="10761"/>
                      <a:pt x="593" y="10761"/>
                    </a:cubicBezTo>
                    <a:cubicBezTo>
                      <a:pt x="500" y="10799"/>
                      <a:pt x="500" y="10799"/>
                      <a:pt x="500" y="10799"/>
                    </a:cubicBezTo>
                    <a:cubicBezTo>
                      <a:pt x="407" y="10536"/>
                      <a:pt x="407" y="10536"/>
                      <a:pt x="407" y="10536"/>
                    </a:cubicBezTo>
                    <a:cubicBezTo>
                      <a:pt x="481" y="10513"/>
                      <a:pt x="481" y="10513"/>
                      <a:pt x="481" y="10513"/>
                    </a:cubicBezTo>
                    <a:lnTo>
                      <a:pt x="601" y="10758"/>
                    </a:lnTo>
                    <a:close/>
                    <a:moveTo>
                      <a:pt x="580" y="10750"/>
                    </a:moveTo>
                    <a:cubicBezTo>
                      <a:pt x="473" y="10531"/>
                      <a:pt x="473" y="10531"/>
                      <a:pt x="473" y="10531"/>
                    </a:cubicBezTo>
                    <a:cubicBezTo>
                      <a:pt x="426" y="10546"/>
                      <a:pt x="426" y="10546"/>
                      <a:pt x="426" y="10546"/>
                    </a:cubicBezTo>
                    <a:cubicBezTo>
                      <a:pt x="508" y="10779"/>
                      <a:pt x="508" y="10779"/>
                      <a:pt x="508" y="10779"/>
                    </a:cubicBezTo>
                    <a:lnTo>
                      <a:pt x="580" y="10750"/>
                    </a:lnTo>
                    <a:close/>
                    <a:moveTo>
                      <a:pt x="9425" y="7614"/>
                    </a:moveTo>
                    <a:cubicBezTo>
                      <a:pt x="9360" y="7376"/>
                      <a:pt x="9360" y="7376"/>
                      <a:pt x="9360" y="7376"/>
                    </a:cubicBezTo>
                    <a:cubicBezTo>
                      <a:pt x="9367" y="7374"/>
                      <a:pt x="9367" y="7374"/>
                      <a:pt x="9367" y="7374"/>
                    </a:cubicBezTo>
                    <a:cubicBezTo>
                      <a:pt x="9660" y="7294"/>
                      <a:pt x="9660" y="7294"/>
                      <a:pt x="9660" y="7294"/>
                    </a:cubicBezTo>
                    <a:cubicBezTo>
                      <a:pt x="9648" y="7252"/>
                      <a:pt x="9648" y="7252"/>
                      <a:pt x="9648" y="7252"/>
                    </a:cubicBezTo>
                    <a:cubicBezTo>
                      <a:pt x="10000" y="7155"/>
                      <a:pt x="10000" y="7155"/>
                      <a:pt x="10000" y="7155"/>
                    </a:cubicBezTo>
                    <a:cubicBezTo>
                      <a:pt x="10016" y="7210"/>
                      <a:pt x="10016" y="7210"/>
                      <a:pt x="10016" y="7210"/>
                    </a:cubicBezTo>
                    <a:cubicBezTo>
                      <a:pt x="10211" y="7157"/>
                      <a:pt x="10211" y="7157"/>
                      <a:pt x="10211" y="7157"/>
                    </a:cubicBezTo>
                    <a:cubicBezTo>
                      <a:pt x="10304" y="7479"/>
                      <a:pt x="10304" y="7479"/>
                      <a:pt x="10304" y="7479"/>
                    </a:cubicBezTo>
                    <a:cubicBezTo>
                      <a:pt x="10160" y="7520"/>
                      <a:pt x="10160" y="7520"/>
                      <a:pt x="10160" y="7520"/>
                    </a:cubicBezTo>
                    <a:cubicBezTo>
                      <a:pt x="10244" y="7824"/>
                      <a:pt x="10244" y="7824"/>
                      <a:pt x="10244" y="7824"/>
                    </a:cubicBezTo>
                    <a:cubicBezTo>
                      <a:pt x="9543" y="8006"/>
                      <a:pt x="9543" y="8006"/>
                      <a:pt x="9543" y="8006"/>
                    </a:cubicBezTo>
                    <a:cubicBezTo>
                      <a:pt x="9492" y="7824"/>
                      <a:pt x="9492" y="7824"/>
                      <a:pt x="9492" y="7824"/>
                    </a:cubicBezTo>
                    <a:cubicBezTo>
                      <a:pt x="9562" y="7801"/>
                      <a:pt x="9562" y="7801"/>
                      <a:pt x="9562" y="7801"/>
                    </a:cubicBezTo>
                    <a:cubicBezTo>
                      <a:pt x="9501" y="7597"/>
                      <a:pt x="9501" y="7597"/>
                      <a:pt x="9501" y="7597"/>
                    </a:cubicBezTo>
                    <a:lnTo>
                      <a:pt x="9425" y="7614"/>
                    </a:lnTo>
                    <a:close/>
                    <a:moveTo>
                      <a:pt x="9378" y="7386"/>
                    </a:moveTo>
                    <a:cubicBezTo>
                      <a:pt x="9436" y="7596"/>
                      <a:pt x="9436" y="7596"/>
                      <a:pt x="9436" y="7596"/>
                    </a:cubicBezTo>
                    <a:cubicBezTo>
                      <a:pt x="9511" y="7580"/>
                      <a:pt x="9511" y="7580"/>
                      <a:pt x="9511" y="7580"/>
                    </a:cubicBezTo>
                    <a:cubicBezTo>
                      <a:pt x="9580" y="7811"/>
                      <a:pt x="9580" y="7811"/>
                      <a:pt x="9580" y="7811"/>
                    </a:cubicBezTo>
                    <a:cubicBezTo>
                      <a:pt x="9510" y="7834"/>
                      <a:pt x="9510" y="7834"/>
                      <a:pt x="9510" y="7834"/>
                    </a:cubicBezTo>
                    <a:cubicBezTo>
                      <a:pt x="9553" y="7988"/>
                      <a:pt x="9553" y="7988"/>
                      <a:pt x="9553" y="7988"/>
                    </a:cubicBezTo>
                    <a:cubicBezTo>
                      <a:pt x="10226" y="7813"/>
                      <a:pt x="10226" y="7813"/>
                      <a:pt x="10226" y="7813"/>
                    </a:cubicBezTo>
                    <a:cubicBezTo>
                      <a:pt x="10141" y="7509"/>
                      <a:pt x="10141" y="7509"/>
                      <a:pt x="10141" y="7509"/>
                    </a:cubicBezTo>
                    <a:cubicBezTo>
                      <a:pt x="10285" y="7469"/>
                      <a:pt x="10285" y="7469"/>
                      <a:pt x="10285" y="7469"/>
                    </a:cubicBezTo>
                    <a:cubicBezTo>
                      <a:pt x="10201" y="7175"/>
                      <a:pt x="10201" y="7175"/>
                      <a:pt x="10201" y="7175"/>
                    </a:cubicBezTo>
                    <a:cubicBezTo>
                      <a:pt x="10006" y="7228"/>
                      <a:pt x="10006" y="7228"/>
                      <a:pt x="10006" y="7228"/>
                    </a:cubicBezTo>
                    <a:cubicBezTo>
                      <a:pt x="9990" y="7173"/>
                      <a:pt x="9990" y="7173"/>
                      <a:pt x="9990" y="7173"/>
                    </a:cubicBezTo>
                    <a:cubicBezTo>
                      <a:pt x="9666" y="7263"/>
                      <a:pt x="9666" y="7263"/>
                      <a:pt x="9666" y="7263"/>
                    </a:cubicBezTo>
                    <a:cubicBezTo>
                      <a:pt x="9678" y="7304"/>
                      <a:pt x="9678" y="7304"/>
                      <a:pt x="9678" y="7304"/>
                    </a:cubicBezTo>
                    <a:lnTo>
                      <a:pt x="9378" y="7386"/>
                    </a:lnTo>
                    <a:close/>
                    <a:moveTo>
                      <a:pt x="5236" y="10027"/>
                    </a:moveTo>
                    <a:cubicBezTo>
                      <a:pt x="5225" y="9774"/>
                      <a:pt x="5225" y="9774"/>
                      <a:pt x="5225" y="9774"/>
                    </a:cubicBezTo>
                    <a:cubicBezTo>
                      <a:pt x="5309" y="9770"/>
                      <a:pt x="5309" y="9770"/>
                      <a:pt x="5309" y="9770"/>
                    </a:cubicBezTo>
                    <a:cubicBezTo>
                      <a:pt x="5320" y="10030"/>
                      <a:pt x="5320" y="10030"/>
                      <a:pt x="5320" y="10030"/>
                    </a:cubicBezTo>
                    <a:cubicBezTo>
                      <a:pt x="5236" y="10034"/>
                      <a:pt x="5236" y="10034"/>
                      <a:pt x="5236" y="10034"/>
                    </a:cubicBezTo>
                    <a:lnTo>
                      <a:pt x="5236" y="10027"/>
                    </a:lnTo>
                    <a:close/>
                    <a:moveTo>
                      <a:pt x="5238" y="9786"/>
                    </a:moveTo>
                    <a:cubicBezTo>
                      <a:pt x="5249" y="10020"/>
                      <a:pt x="5249" y="10020"/>
                      <a:pt x="5249" y="10020"/>
                    </a:cubicBezTo>
                    <a:cubicBezTo>
                      <a:pt x="5307" y="10017"/>
                      <a:pt x="5307" y="10017"/>
                      <a:pt x="5307" y="10017"/>
                    </a:cubicBezTo>
                    <a:cubicBezTo>
                      <a:pt x="5296" y="9784"/>
                      <a:pt x="5296" y="9784"/>
                      <a:pt x="5296" y="9784"/>
                    </a:cubicBezTo>
                    <a:lnTo>
                      <a:pt x="5238" y="9786"/>
                    </a:lnTo>
                    <a:close/>
                    <a:moveTo>
                      <a:pt x="3934" y="9745"/>
                    </a:moveTo>
                    <a:cubicBezTo>
                      <a:pt x="3934" y="9745"/>
                      <a:pt x="3934" y="9745"/>
                      <a:pt x="3934" y="9745"/>
                    </a:cubicBezTo>
                    <a:cubicBezTo>
                      <a:pt x="3934" y="9745"/>
                      <a:pt x="3934" y="9745"/>
                      <a:pt x="3934" y="9745"/>
                    </a:cubicBezTo>
                    <a:close/>
                    <a:moveTo>
                      <a:pt x="5216" y="9426"/>
                    </a:moveTo>
                    <a:cubicBezTo>
                      <a:pt x="5310" y="9426"/>
                      <a:pt x="5310" y="9426"/>
                      <a:pt x="5310" y="9426"/>
                    </a:cubicBezTo>
                    <a:cubicBezTo>
                      <a:pt x="5309" y="9607"/>
                      <a:pt x="5309" y="9607"/>
                      <a:pt x="5309" y="9607"/>
                    </a:cubicBezTo>
                    <a:cubicBezTo>
                      <a:pt x="5302" y="9607"/>
                      <a:pt x="5302" y="9607"/>
                      <a:pt x="5302" y="9607"/>
                    </a:cubicBezTo>
                    <a:cubicBezTo>
                      <a:pt x="5215" y="9607"/>
                      <a:pt x="5215" y="9607"/>
                      <a:pt x="5215" y="9607"/>
                    </a:cubicBezTo>
                    <a:cubicBezTo>
                      <a:pt x="5215" y="9562"/>
                      <a:pt x="5215" y="9562"/>
                      <a:pt x="5215" y="9562"/>
                    </a:cubicBezTo>
                    <a:cubicBezTo>
                      <a:pt x="5153" y="9562"/>
                      <a:pt x="5153" y="9562"/>
                      <a:pt x="5153" y="9562"/>
                    </a:cubicBezTo>
                    <a:cubicBezTo>
                      <a:pt x="5154" y="9470"/>
                      <a:pt x="5154" y="9470"/>
                      <a:pt x="5154" y="9470"/>
                    </a:cubicBezTo>
                    <a:cubicBezTo>
                      <a:pt x="5216" y="9470"/>
                      <a:pt x="5216" y="9470"/>
                      <a:pt x="5216" y="9470"/>
                    </a:cubicBezTo>
                    <a:lnTo>
                      <a:pt x="5216" y="9426"/>
                    </a:lnTo>
                    <a:close/>
                    <a:moveTo>
                      <a:pt x="5229" y="9484"/>
                    </a:moveTo>
                    <a:cubicBezTo>
                      <a:pt x="5167" y="9483"/>
                      <a:pt x="5167" y="9483"/>
                      <a:pt x="5167" y="9483"/>
                    </a:cubicBezTo>
                    <a:cubicBezTo>
                      <a:pt x="5167" y="9549"/>
                      <a:pt x="5167" y="9549"/>
                      <a:pt x="5167" y="9549"/>
                    </a:cubicBezTo>
                    <a:cubicBezTo>
                      <a:pt x="5229" y="9549"/>
                      <a:pt x="5229" y="9549"/>
                      <a:pt x="5229" y="9549"/>
                    </a:cubicBezTo>
                    <a:cubicBezTo>
                      <a:pt x="5228" y="9594"/>
                      <a:pt x="5228" y="9594"/>
                      <a:pt x="5228" y="9594"/>
                    </a:cubicBezTo>
                    <a:cubicBezTo>
                      <a:pt x="5296" y="9594"/>
                      <a:pt x="5296" y="9594"/>
                      <a:pt x="5296" y="9594"/>
                    </a:cubicBezTo>
                    <a:cubicBezTo>
                      <a:pt x="5297" y="9439"/>
                      <a:pt x="5297" y="9439"/>
                      <a:pt x="5297" y="9439"/>
                    </a:cubicBezTo>
                    <a:cubicBezTo>
                      <a:pt x="5229" y="9439"/>
                      <a:pt x="5229" y="9439"/>
                      <a:pt x="5229" y="9439"/>
                    </a:cubicBezTo>
                    <a:lnTo>
                      <a:pt x="5229" y="9484"/>
                    </a:lnTo>
                    <a:close/>
                    <a:moveTo>
                      <a:pt x="6560" y="7643"/>
                    </a:moveTo>
                    <a:cubicBezTo>
                      <a:pt x="6418" y="7615"/>
                      <a:pt x="6418" y="7615"/>
                      <a:pt x="6418" y="7615"/>
                    </a:cubicBezTo>
                    <a:cubicBezTo>
                      <a:pt x="6432" y="7541"/>
                      <a:pt x="6432" y="7541"/>
                      <a:pt x="6432" y="7541"/>
                    </a:cubicBezTo>
                    <a:cubicBezTo>
                      <a:pt x="6581" y="7569"/>
                      <a:pt x="6581" y="7569"/>
                      <a:pt x="6581" y="7569"/>
                    </a:cubicBezTo>
                    <a:cubicBezTo>
                      <a:pt x="6567" y="7644"/>
                      <a:pt x="6567" y="7644"/>
                      <a:pt x="6567" y="7644"/>
                    </a:cubicBezTo>
                    <a:lnTo>
                      <a:pt x="6560" y="7643"/>
                    </a:lnTo>
                    <a:close/>
                    <a:moveTo>
                      <a:pt x="6556" y="7628"/>
                    </a:moveTo>
                    <a:cubicBezTo>
                      <a:pt x="6566" y="7580"/>
                      <a:pt x="6566" y="7580"/>
                      <a:pt x="6566" y="7580"/>
                    </a:cubicBezTo>
                    <a:cubicBezTo>
                      <a:pt x="6443" y="7556"/>
                      <a:pt x="6443" y="7556"/>
                      <a:pt x="6443" y="7556"/>
                    </a:cubicBezTo>
                    <a:cubicBezTo>
                      <a:pt x="6433" y="7605"/>
                      <a:pt x="6433" y="7605"/>
                      <a:pt x="6433" y="7605"/>
                    </a:cubicBezTo>
                    <a:lnTo>
                      <a:pt x="6556" y="7628"/>
                    </a:lnTo>
                    <a:close/>
                    <a:moveTo>
                      <a:pt x="1412" y="10346"/>
                    </a:moveTo>
                    <a:cubicBezTo>
                      <a:pt x="1550" y="10358"/>
                      <a:pt x="1550" y="10358"/>
                      <a:pt x="1550" y="10358"/>
                    </a:cubicBezTo>
                    <a:cubicBezTo>
                      <a:pt x="1545" y="10438"/>
                      <a:pt x="1545" y="10438"/>
                      <a:pt x="1545" y="10438"/>
                    </a:cubicBezTo>
                    <a:cubicBezTo>
                      <a:pt x="1305" y="10558"/>
                      <a:pt x="1305" y="10558"/>
                      <a:pt x="1305" y="10558"/>
                    </a:cubicBezTo>
                    <a:cubicBezTo>
                      <a:pt x="1274" y="10509"/>
                      <a:pt x="1274" y="10509"/>
                      <a:pt x="1274" y="10509"/>
                    </a:cubicBezTo>
                    <a:cubicBezTo>
                      <a:pt x="1222" y="10537"/>
                      <a:pt x="1222" y="10537"/>
                      <a:pt x="1222" y="10537"/>
                    </a:cubicBezTo>
                    <a:cubicBezTo>
                      <a:pt x="1019" y="10180"/>
                      <a:pt x="1019" y="10180"/>
                      <a:pt x="1019" y="10180"/>
                    </a:cubicBezTo>
                    <a:cubicBezTo>
                      <a:pt x="1132" y="10122"/>
                      <a:pt x="1132" y="10122"/>
                      <a:pt x="1132" y="10122"/>
                    </a:cubicBezTo>
                    <a:cubicBezTo>
                      <a:pt x="1239" y="10232"/>
                      <a:pt x="1239" y="10232"/>
                      <a:pt x="1239" y="10232"/>
                    </a:cubicBezTo>
                    <a:cubicBezTo>
                      <a:pt x="1278" y="10215"/>
                      <a:pt x="1278" y="10215"/>
                      <a:pt x="1278" y="10215"/>
                    </a:cubicBezTo>
                    <a:lnTo>
                      <a:pt x="1412" y="10346"/>
                    </a:lnTo>
                    <a:close/>
                    <a:moveTo>
                      <a:pt x="1535" y="10371"/>
                    </a:moveTo>
                    <a:cubicBezTo>
                      <a:pt x="1411" y="10360"/>
                      <a:pt x="1411" y="10360"/>
                      <a:pt x="1411" y="10360"/>
                    </a:cubicBezTo>
                    <a:cubicBezTo>
                      <a:pt x="1406" y="10360"/>
                      <a:pt x="1406" y="10360"/>
                      <a:pt x="1406" y="10360"/>
                    </a:cubicBezTo>
                    <a:cubicBezTo>
                      <a:pt x="1402" y="10356"/>
                      <a:pt x="1402" y="10356"/>
                      <a:pt x="1402" y="10356"/>
                    </a:cubicBezTo>
                    <a:cubicBezTo>
                      <a:pt x="1275" y="10232"/>
                      <a:pt x="1275" y="10232"/>
                      <a:pt x="1275" y="10232"/>
                    </a:cubicBezTo>
                    <a:cubicBezTo>
                      <a:pt x="1244" y="10245"/>
                      <a:pt x="1244" y="10245"/>
                      <a:pt x="1244" y="10245"/>
                    </a:cubicBezTo>
                    <a:cubicBezTo>
                      <a:pt x="1235" y="10249"/>
                      <a:pt x="1235" y="10249"/>
                      <a:pt x="1235" y="10249"/>
                    </a:cubicBezTo>
                    <a:cubicBezTo>
                      <a:pt x="1229" y="10242"/>
                      <a:pt x="1229" y="10242"/>
                      <a:pt x="1229" y="10242"/>
                    </a:cubicBezTo>
                    <a:cubicBezTo>
                      <a:pt x="1129" y="10139"/>
                      <a:pt x="1129" y="10139"/>
                      <a:pt x="1129" y="10139"/>
                    </a:cubicBezTo>
                    <a:cubicBezTo>
                      <a:pt x="1038" y="10185"/>
                      <a:pt x="1038" y="10185"/>
                      <a:pt x="1038" y="10185"/>
                    </a:cubicBezTo>
                    <a:cubicBezTo>
                      <a:pt x="1228" y="10518"/>
                      <a:pt x="1228" y="10518"/>
                      <a:pt x="1228" y="10518"/>
                    </a:cubicBezTo>
                    <a:cubicBezTo>
                      <a:pt x="1267" y="10497"/>
                      <a:pt x="1267" y="10497"/>
                      <a:pt x="1267" y="10497"/>
                    </a:cubicBezTo>
                    <a:cubicBezTo>
                      <a:pt x="1278" y="10491"/>
                      <a:pt x="1278" y="10491"/>
                      <a:pt x="1278" y="10491"/>
                    </a:cubicBezTo>
                    <a:cubicBezTo>
                      <a:pt x="1285" y="10502"/>
                      <a:pt x="1285" y="10502"/>
                      <a:pt x="1285" y="10502"/>
                    </a:cubicBezTo>
                    <a:cubicBezTo>
                      <a:pt x="1310" y="10540"/>
                      <a:pt x="1310" y="10540"/>
                      <a:pt x="1310" y="10540"/>
                    </a:cubicBezTo>
                    <a:cubicBezTo>
                      <a:pt x="1532" y="10429"/>
                      <a:pt x="1532" y="10429"/>
                      <a:pt x="1532" y="10429"/>
                    </a:cubicBezTo>
                    <a:lnTo>
                      <a:pt x="1535" y="10371"/>
                    </a:lnTo>
                    <a:close/>
                    <a:moveTo>
                      <a:pt x="3978" y="9611"/>
                    </a:moveTo>
                    <a:cubicBezTo>
                      <a:pt x="3935" y="9651"/>
                      <a:pt x="3935" y="9651"/>
                      <a:pt x="3935" y="9651"/>
                    </a:cubicBezTo>
                    <a:cubicBezTo>
                      <a:pt x="3848" y="9537"/>
                      <a:pt x="3848" y="9537"/>
                      <a:pt x="3848" y="9537"/>
                    </a:cubicBezTo>
                    <a:cubicBezTo>
                      <a:pt x="3895" y="9500"/>
                      <a:pt x="3895" y="9500"/>
                      <a:pt x="3895" y="9500"/>
                    </a:cubicBezTo>
                    <a:cubicBezTo>
                      <a:pt x="3859" y="9453"/>
                      <a:pt x="3859" y="9453"/>
                      <a:pt x="3859" y="9453"/>
                    </a:cubicBezTo>
                    <a:cubicBezTo>
                      <a:pt x="3812" y="9490"/>
                      <a:pt x="3812" y="9490"/>
                      <a:pt x="3812" y="9490"/>
                    </a:cubicBezTo>
                    <a:cubicBezTo>
                      <a:pt x="3722" y="9371"/>
                      <a:pt x="3722" y="9371"/>
                      <a:pt x="3722" y="9371"/>
                    </a:cubicBezTo>
                    <a:cubicBezTo>
                      <a:pt x="3766" y="9343"/>
                      <a:pt x="3766" y="9343"/>
                      <a:pt x="3766" y="9343"/>
                    </a:cubicBezTo>
                    <a:cubicBezTo>
                      <a:pt x="3731" y="9294"/>
                      <a:pt x="3731" y="9294"/>
                      <a:pt x="3731" y="9294"/>
                    </a:cubicBezTo>
                    <a:cubicBezTo>
                      <a:pt x="3685" y="9324"/>
                      <a:pt x="3685" y="9324"/>
                      <a:pt x="3685" y="9324"/>
                    </a:cubicBezTo>
                    <a:cubicBezTo>
                      <a:pt x="3619" y="9229"/>
                      <a:pt x="3619" y="9229"/>
                      <a:pt x="3619" y="9229"/>
                    </a:cubicBezTo>
                    <a:cubicBezTo>
                      <a:pt x="3757" y="9174"/>
                      <a:pt x="3757" y="9174"/>
                      <a:pt x="3757" y="9174"/>
                    </a:cubicBezTo>
                    <a:cubicBezTo>
                      <a:pt x="3735" y="9121"/>
                      <a:pt x="3735" y="9121"/>
                      <a:pt x="3735" y="9121"/>
                    </a:cubicBezTo>
                    <a:cubicBezTo>
                      <a:pt x="4011" y="9046"/>
                      <a:pt x="4011" y="9046"/>
                      <a:pt x="4011" y="9046"/>
                    </a:cubicBezTo>
                    <a:cubicBezTo>
                      <a:pt x="4108" y="9266"/>
                      <a:pt x="4108" y="9266"/>
                      <a:pt x="4108" y="9266"/>
                    </a:cubicBezTo>
                    <a:cubicBezTo>
                      <a:pt x="4069" y="9283"/>
                      <a:pt x="4069" y="9283"/>
                      <a:pt x="4069" y="9283"/>
                    </a:cubicBezTo>
                    <a:cubicBezTo>
                      <a:pt x="4155" y="9467"/>
                      <a:pt x="4155" y="9467"/>
                      <a:pt x="4155" y="9467"/>
                    </a:cubicBezTo>
                    <a:cubicBezTo>
                      <a:pt x="4152" y="9471"/>
                      <a:pt x="4152" y="9471"/>
                      <a:pt x="4152" y="9471"/>
                    </a:cubicBezTo>
                    <a:cubicBezTo>
                      <a:pt x="4138" y="9489"/>
                      <a:pt x="4138" y="9489"/>
                      <a:pt x="4138" y="9489"/>
                    </a:cubicBezTo>
                    <a:cubicBezTo>
                      <a:pt x="4160" y="9519"/>
                      <a:pt x="4160" y="9519"/>
                      <a:pt x="4160" y="9519"/>
                    </a:cubicBezTo>
                    <a:cubicBezTo>
                      <a:pt x="3998" y="9637"/>
                      <a:pt x="3998" y="9637"/>
                      <a:pt x="3998" y="9637"/>
                    </a:cubicBezTo>
                    <a:lnTo>
                      <a:pt x="3978" y="9611"/>
                    </a:lnTo>
                    <a:close/>
                    <a:moveTo>
                      <a:pt x="3937" y="9629"/>
                    </a:moveTo>
                    <a:cubicBezTo>
                      <a:pt x="3980" y="9590"/>
                      <a:pt x="3980" y="9590"/>
                      <a:pt x="3980" y="9590"/>
                    </a:cubicBezTo>
                    <a:cubicBezTo>
                      <a:pt x="4001" y="9617"/>
                      <a:pt x="4001" y="9617"/>
                      <a:pt x="4001" y="9617"/>
                    </a:cubicBezTo>
                    <a:cubicBezTo>
                      <a:pt x="4139" y="9516"/>
                      <a:pt x="4139" y="9516"/>
                      <a:pt x="4139" y="9516"/>
                    </a:cubicBezTo>
                    <a:cubicBezTo>
                      <a:pt x="4119" y="9489"/>
                      <a:pt x="4119" y="9489"/>
                      <a:pt x="4119" y="9489"/>
                    </a:cubicBezTo>
                    <a:cubicBezTo>
                      <a:pt x="4137" y="9465"/>
                      <a:pt x="4137" y="9465"/>
                      <a:pt x="4137" y="9465"/>
                    </a:cubicBezTo>
                    <a:cubicBezTo>
                      <a:pt x="4049" y="9276"/>
                      <a:pt x="4049" y="9276"/>
                      <a:pt x="4049" y="9276"/>
                    </a:cubicBezTo>
                    <a:cubicBezTo>
                      <a:pt x="4089" y="9258"/>
                      <a:pt x="4089" y="9258"/>
                      <a:pt x="4089" y="9258"/>
                    </a:cubicBezTo>
                    <a:cubicBezTo>
                      <a:pt x="4003" y="9064"/>
                      <a:pt x="4003" y="9064"/>
                      <a:pt x="4003" y="9064"/>
                    </a:cubicBezTo>
                    <a:cubicBezTo>
                      <a:pt x="3755" y="9131"/>
                      <a:pt x="3755" y="9131"/>
                      <a:pt x="3755" y="9131"/>
                    </a:cubicBezTo>
                    <a:cubicBezTo>
                      <a:pt x="3777" y="9183"/>
                      <a:pt x="3777" y="9183"/>
                      <a:pt x="3777" y="9183"/>
                    </a:cubicBezTo>
                    <a:cubicBezTo>
                      <a:pt x="3642" y="9236"/>
                      <a:pt x="3642" y="9236"/>
                      <a:pt x="3642" y="9236"/>
                    </a:cubicBezTo>
                    <a:cubicBezTo>
                      <a:pt x="3689" y="9304"/>
                      <a:pt x="3689" y="9304"/>
                      <a:pt x="3689" y="9304"/>
                    </a:cubicBezTo>
                    <a:cubicBezTo>
                      <a:pt x="3735" y="9273"/>
                      <a:pt x="3735" y="9273"/>
                      <a:pt x="3735" y="9273"/>
                    </a:cubicBezTo>
                    <a:cubicBezTo>
                      <a:pt x="3786" y="9347"/>
                      <a:pt x="3786" y="9347"/>
                      <a:pt x="3786" y="9347"/>
                    </a:cubicBezTo>
                    <a:cubicBezTo>
                      <a:pt x="3744" y="9375"/>
                      <a:pt x="3744" y="9375"/>
                      <a:pt x="3744" y="9375"/>
                    </a:cubicBezTo>
                    <a:cubicBezTo>
                      <a:pt x="3815" y="9469"/>
                      <a:pt x="3815" y="9469"/>
                      <a:pt x="3815" y="9469"/>
                    </a:cubicBezTo>
                    <a:cubicBezTo>
                      <a:pt x="3862" y="9432"/>
                      <a:pt x="3862" y="9432"/>
                      <a:pt x="3862" y="9432"/>
                    </a:cubicBezTo>
                    <a:cubicBezTo>
                      <a:pt x="3915" y="9503"/>
                      <a:pt x="3915" y="9503"/>
                      <a:pt x="3915" y="9503"/>
                    </a:cubicBezTo>
                    <a:cubicBezTo>
                      <a:pt x="3869" y="9539"/>
                      <a:pt x="3869" y="9539"/>
                      <a:pt x="3869" y="9539"/>
                    </a:cubicBezTo>
                    <a:lnTo>
                      <a:pt x="3937" y="9629"/>
                    </a:lnTo>
                    <a:close/>
                    <a:moveTo>
                      <a:pt x="3980" y="6951"/>
                    </a:moveTo>
                    <a:cubicBezTo>
                      <a:pt x="3950" y="6913"/>
                      <a:pt x="3950" y="6913"/>
                      <a:pt x="3950" y="6913"/>
                    </a:cubicBezTo>
                    <a:cubicBezTo>
                      <a:pt x="3979" y="6848"/>
                      <a:pt x="3979" y="6848"/>
                      <a:pt x="3979" y="6848"/>
                    </a:cubicBezTo>
                    <a:cubicBezTo>
                      <a:pt x="4067" y="6888"/>
                      <a:pt x="4067" y="6888"/>
                      <a:pt x="4067" y="6888"/>
                    </a:cubicBezTo>
                    <a:cubicBezTo>
                      <a:pt x="4050" y="6938"/>
                      <a:pt x="4050" y="6938"/>
                      <a:pt x="4050" y="6938"/>
                    </a:cubicBezTo>
                    <a:cubicBezTo>
                      <a:pt x="4068" y="6978"/>
                      <a:pt x="4068" y="6978"/>
                      <a:pt x="4068" y="6978"/>
                    </a:cubicBezTo>
                    <a:cubicBezTo>
                      <a:pt x="4046" y="7039"/>
                      <a:pt x="4046" y="7039"/>
                      <a:pt x="4046" y="7039"/>
                    </a:cubicBezTo>
                    <a:cubicBezTo>
                      <a:pt x="3957" y="7004"/>
                      <a:pt x="3957" y="7004"/>
                      <a:pt x="3957" y="7004"/>
                    </a:cubicBezTo>
                    <a:lnTo>
                      <a:pt x="3980" y="6951"/>
                    </a:lnTo>
                    <a:close/>
                    <a:moveTo>
                      <a:pt x="3991" y="6943"/>
                    </a:moveTo>
                    <a:cubicBezTo>
                      <a:pt x="3996" y="6949"/>
                      <a:pt x="3996" y="6949"/>
                      <a:pt x="3996" y="6949"/>
                    </a:cubicBezTo>
                    <a:cubicBezTo>
                      <a:pt x="3992" y="6957"/>
                      <a:pt x="3992" y="6957"/>
                      <a:pt x="3992" y="6957"/>
                    </a:cubicBezTo>
                    <a:cubicBezTo>
                      <a:pt x="3976" y="6996"/>
                      <a:pt x="3976" y="6996"/>
                      <a:pt x="3976" y="6996"/>
                    </a:cubicBezTo>
                    <a:cubicBezTo>
                      <a:pt x="4038" y="7021"/>
                      <a:pt x="4038" y="7021"/>
                      <a:pt x="4038" y="7021"/>
                    </a:cubicBezTo>
                    <a:cubicBezTo>
                      <a:pt x="4053" y="6978"/>
                      <a:pt x="4053" y="6978"/>
                      <a:pt x="4053" y="6978"/>
                    </a:cubicBezTo>
                    <a:cubicBezTo>
                      <a:pt x="4037" y="6943"/>
                      <a:pt x="4037" y="6943"/>
                      <a:pt x="4037" y="6943"/>
                    </a:cubicBezTo>
                    <a:cubicBezTo>
                      <a:pt x="4035" y="6938"/>
                      <a:pt x="4035" y="6938"/>
                      <a:pt x="4035" y="6938"/>
                    </a:cubicBezTo>
                    <a:cubicBezTo>
                      <a:pt x="4037" y="6933"/>
                      <a:pt x="4037" y="6933"/>
                      <a:pt x="4037" y="6933"/>
                    </a:cubicBezTo>
                    <a:cubicBezTo>
                      <a:pt x="4050" y="6896"/>
                      <a:pt x="4050" y="6896"/>
                      <a:pt x="4050" y="6896"/>
                    </a:cubicBezTo>
                    <a:cubicBezTo>
                      <a:pt x="3986" y="6867"/>
                      <a:pt x="3986" y="6867"/>
                      <a:pt x="3986" y="6867"/>
                    </a:cubicBezTo>
                    <a:cubicBezTo>
                      <a:pt x="3966" y="6911"/>
                      <a:pt x="3966" y="6911"/>
                      <a:pt x="3966" y="6911"/>
                    </a:cubicBezTo>
                    <a:lnTo>
                      <a:pt x="3991" y="6943"/>
                    </a:lnTo>
                    <a:close/>
                    <a:moveTo>
                      <a:pt x="3728" y="7150"/>
                    </a:moveTo>
                    <a:cubicBezTo>
                      <a:pt x="3833" y="7172"/>
                      <a:pt x="3833" y="7172"/>
                      <a:pt x="3833" y="7172"/>
                    </a:cubicBezTo>
                    <a:cubicBezTo>
                      <a:pt x="3822" y="7182"/>
                      <a:pt x="3822" y="7182"/>
                      <a:pt x="3822" y="7182"/>
                    </a:cubicBezTo>
                    <a:cubicBezTo>
                      <a:pt x="3742" y="7257"/>
                      <a:pt x="3742" y="7257"/>
                      <a:pt x="3742" y="7257"/>
                    </a:cubicBezTo>
                    <a:cubicBezTo>
                      <a:pt x="3700" y="7240"/>
                      <a:pt x="3700" y="7240"/>
                      <a:pt x="3700" y="7240"/>
                    </a:cubicBezTo>
                    <a:lnTo>
                      <a:pt x="3728" y="7150"/>
                    </a:lnTo>
                    <a:close/>
                    <a:moveTo>
                      <a:pt x="3738" y="7167"/>
                    </a:moveTo>
                    <a:cubicBezTo>
                      <a:pt x="3718" y="7231"/>
                      <a:pt x="3718" y="7231"/>
                      <a:pt x="3718" y="7231"/>
                    </a:cubicBezTo>
                    <a:cubicBezTo>
                      <a:pt x="3738" y="7239"/>
                      <a:pt x="3738" y="7239"/>
                      <a:pt x="3738" y="7239"/>
                    </a:cubicBezTo>
                    <a:cubicBezTo>
                      <a:pt x="3802" y="7180"/>
                      <a:pt x="3802" y="7180"/>
                      <a:pt x="3802" y="7180"/>
                    </a:cubicBezTo>
                    <a:lnTo>
                      <a:pt x="3738" y="7167"/>
                    </a:lnTo>
                    <a:close/>
                    <a:moveTo>
                      <a:pt x="6896" y="10514"/>
                    </a:moveTo>
                    <a:cubicBezTo>
                      <a:pt x="6839" y="10504"/>
                      <a:pt x="6839" y="10504"/>
                      <a:pt x="6839" y="10504"/>
                    </a:cubicBezTo>
                    <a:cubicBezTo>
                      <a:pt x="6840" y="10498"/>
                      <a:pt x="6840" y="10498"/>
                      <a:pt x="6840" y="10498"/>
                    </a:cubicBezTo>
                    <a:cubicBezTo>
                      <a:pt x="6855" y="10382"/>
                      <a:pt x="6855" y="10382"/>
                      <a:pt x="6855" y="10382"/>
                    </a:cubicBezTo>
                    <a:cubicBezTo>
                      <a:pt x="6969" y="10400"/>
                      <a:pt x="6969" y="10400"/>
                      <a:pt x="6969" y="10400"/>
                    </a:cubicBezTo>
                    <a:cubicBezTo>
                      <a:pt x="6967" y="10414"/>
                      <a:pt x="6967" y="10414"/>
                      <a:pt x="6967" y="10414"/>
                    </a:cubicBezTo>
                    <a:cubicBezTo>
                      <a:pt x="7018" y="10421"/>
                      <a:pt x="7018" y="10421"/>
                      <a:pt x="7018" y="10421"/>
                    </a:cubicBezTo>
                    <a:cubicBezTo>
                      <a:pt x="6993" y="10605"/>
                      <a:pt x="6993" y="10605"/>
                      <a:pt x="6993" y="10605"/>
                    </a:cubicBezTo>
                    <a:cubicBezTo>
                      <a:pt x="6884" y="10590"/>
                      <a:pt x="6884" y="10590"/>
                      <a:pt x="6884" y="10590"/>
                    </a:cubicBezTo>
                    <a:lnTo>
                      <a:pt x="6896" y="10514"/>
                    </a:lnTo>
                    <a:close/>
                    <a:moveTo>
                      <a:pt x="6911" y="10503"/>
                    </a:moveTo>
                    <a:cubicBezTo>
                      <a:pt x="6899" y="10579"/>
                      <a:pt x="6899" y="10579"/>
                      <a:pt x="6899" y="10579"/>
                    </a:cubicBezTo>
                    <a:cubicBezTo>
                      <a:pt x="6982" y="10590"/>
                      <a:pt x="6982" y="10590"/>
                      <a:pt x="6982" y="10590"/>
                    </a:cubicBezTo>
                    <a:cubicBezTo>
                      <a:pt x="7003" y="10433"/>
                      <a:pt x="7003" y="10433"/>
                      <a:pt x="7003" y="10433"/>
                    </a:cubicBezTo>
                    <a:cubicBezTo>
                      <a:pt x="6951" y="10426"/>
                      <a:pt x="6951" y="10426"/>
                      <a:pt x="6951" y="10426"/>
                    </a:cubicBezTo>
                    <a:cubicBezTo>
                      <a:pt x="6954" y="10411"/>
                      <a:pt x="6954" y="10411"/>
                      <a:pt x="6954" y="10411"/>
                    </a:cubicBezTo>
                    <a:cubicBezTo>
                      <a:pt x="6866" y="10397"/>
                      <a:pt x="6866" y="10397"/>
                      <a:pt x="6866" y="10397"/>
                    </a:cubicBezTo>
                    <a:cubicBezTo>
                      <a:pt x="6854" y="10493"/>
                      <a:pt x="6854" y="10493"/>
                      <a:pt x="6854" y="10493"/>
                    </a:cubicBezTo>
                    <a:lnTo>
                      <a:pt x="6911" y="10503"/>
                    </a:lnTo>
                    <a:close/>
                    <a:moveTo>
                      <a:pt x="4088" y="7329"/>
                    </a:moveTo>
                    <a:cubicBezTo>
                      <a:pt x="4075" y="7350"/>
                      <a:pt x="4075" y="7350"/>
                      <a:pt x="4075" y="7350"/>
                    </a:cubicBezTo>
                    <a:cubicBezTo>
                      <a:pt x="4032" y="7320"/>
                      <a:pt x="4032" y="7320"/>
                      <a:pt x="4032" y="7320"/>
                    </a:cubicBezTo>
                    <a:cubicBezTo>
                      <a:pt x="4189" y="7062"/>
                      <a:pt x="4189" y="7062"/>
                      <a:pt x="4189" y="7062"/>
                    </a:cubicBezTo>
                    <a:cubicBezTo>
                      <a:pt x="4233" y="7089"/>
                      <a:pt x="4233" y="7089"/>
                      <a:pt x="4233" y="7089"/>
                    </a:cubicBezTo>
                    <a:cubicBezTo>
                      <a:pt x="4189" y="7163"/>
                      <a:pt x="4189" y="7163"/>
                      <a:pt x="4189" y="7163"/>
                    </a:cubicBezTo>
                    <a:cubicBezTo>
                      <a:pt x="4143" y="7335"/>
                      <a:pt x="4143" y="7335"/>
                      <a:pt x="4143" y="7335"/>
                    </a:cubicBezTo>
                    <a:lnTo>
                      <a:pt x="4088" y="7329"/>
                    </a:lnTo>
                    <a:close/>
                    <a:moveTo>
                      <a:pt x="4081" y="7314"/>
                    </a:moveTo>
                    <a:cubicBezTo>
                      <a:pt x="4089" y="7315"/>
                      <a:pt x="4089" y="7315"/>
                      <a:pt x="4089" y="7315"/>
                    </a:cubicBezTo>
                    <a:cubicBezTo>
                      <a:pt x="4132" y="7320"/>
                      <a:pt x="4132" y="7320"/>
                      <a:pt x="4132" y="7320"/>
                    </a:cubicBezTo>
                    <a:cubicBezTo>
                      <a:pt x="4175" y="7159"/>
                      <a:pt x="4175" y="7159"/>
                      <a:pt x="4175" y="7159"/>
                    </a:cubicBezTo>
                    <a:cubicBezTo>
                      <a:pt x="4176" y="7158"/>
                      <a:pt x="4176" y="7158"/>
                      <a:pt x="4176" y="7158"/>
                    </a:cubicBezTo>
                    <a:cubicBezTo>
                      <a:pt x="4177" y="7156"/>
                      <a:pt x="4177" y="7156"/>
                      <a:pt x="4177" y="7156"/>
                    </a:cubicBezTo>
                    <a:cubicBezTo>
                      <a:pt x="4214" y="7093"/>
                      <a:pt x="4214" y="7093"/>
                      <a:pt x="4214" y="7093"/>
                    </a:cubicBezTo>
                    <a:cubicBezTo>
                      <a:pt x="4193" y="7081"/>
                      <a:pt x="4193" y="7081"/>
                      <a:pt x="4193" y="7081"/>
                    </a:cubicBezTo>
                    <a:cubicBezTo>
                      <a:pt x="4051" y="7316"/>
                      <a:pt x="4051" y="7316"/>
                      <a:pt x="4051" y="7316"/>
                    </a:cubicBezTo>
                    <a:cubicBezTo>
                      <a:pt x="4071" y="7330"/>
                      <a:pt x="4071" y="7330"/>
                      <a:pt x="4071" y="7330"/>
                    </a:cubicBezTo>
                    <a:cubicBezTo>
                      <a:pt x="4076" y="7322"/>
                      <a:pt x="4076" y="7322"/>
                      <a:pt x="4076" y="7322"/>
                    </a:cubicBezTo>
                    <a:lnTo>
                      <a:pt x="4081" y="7314"/>
                    </a:lnTo>
                    <a:close/>
                    <a:moveTo>
                      <a:pt x="4120" y="6878"/>
                    </a:moveTo>
                    <a:cubicBezTo>
                      <a:pt x="4033" y="6838"/>
                      <a:pt x="4033" y="6838"/>
                      <a:pt x="4033" y="6838"/>
                    </a:cubicBezTo>
                    <a:cubicBezTo>
                      <a:pt x="4063" y="6773"/>
                      <a:pt x="4063" y="6773"/>
                      <a:pt x="4063" y="6773"/>
                    </a:cubicBezTo>
                    <a:cubicBezTo>
                      <a:pt x="4107" y="6759"/>
                      <a:pt x="4107" y="6759"/>
                      <a:pt x="4107" y="6759"/>
                    </a:cubicBezTo>
                    <a:cubicBezTo>
                      <a:pt x="4131" y="6714"/>
                      <a:pt x="4131" y="6714"/>
                      <a:pt x="4131" y="6714"/>
                    </a:cubicBezTo>
                    <a:cubicBezTo>
                      <a:pt x="4217" y="6754"/>
                      <a:pt x="4217" y="6754"/>
                      <a:pt x="4217" y="6754"/>
                    </a:cubicBezTo>
                    <a:cubicBezTo>
                      <a:pt x="4191" y="6821"/>
                      <a:pt x="4191" y="6821"/>
                      <a:pt x="4191" y="6821"/>
                    </a:cubicBezTo>
                    <a:cubicBezTo>
                      <a:pt x="4143" y="6825"/>
                      <a:pt x="4143" y="6825"/>
                      <a:pt x="4143" y="6825"/>
                    </a:cubicBezTo>
                    <a:lnTo>
                      <a:pt x="4120" y="6878"/>
                    </a:lnTo>
                    <a:close/>
                    <a:moveTo>
                      <a:pt x="4113" y="6859"/>
                    </a:moveTo>
                    <a:cubicBezTo>
                      <a:pt x="4130" y="6820"/>
                      <a:pt x="4130" y="6820"/>
                      <a:pt x="4130" y="6820"/>
                    </a:cubicBezTo>
                    <a:cubicBezTo>
                      <a:pt x="4133" y="6812"/>
                      <a:pt x="4133" y="6812"/>
                      <a:pt x="4133" y="6812"/>
                    </a:cubicBezTo>
                    <a:cubicBezTo>
                      <a:pt x="4141" y="6812"/>
                      <a:pt x="4141" y="6812"/>
                      <a:pt x="4141" y="6812"/>
                    </a:cubicBezTo>
                    <a:cubicBezTo>
                      <a:pt x="4181" y="6808"/>
                      <a:pt x="4181" y="6808"/>
                      <a:pt x="4181" y="6808"/>
                    </a:cubicBezTo>
                    <a:cubicBezTo>
                      <a:pt x="4199" y="6762"/>
                      <a:pt x="4199" y="6762"/>
                      <a:pt x="4199" y="6762"/>
                    </a:cubicBezTo>
                    <a:cubicBezTo>
                      <a:pt x="4137" y="6733"/>
                      <a:pt x="4137" y="6733"/>
                      <a:pt x="4137" y="6733"/>
                    </a:cubicBezTo>
                    <a:cubicBezTo>
                      <a:pt x="4120" y="6766"/>
                      <a:pt x="4120" y="6766"/>
                      <a:pt x="4120" y="6766"/>
                    </a:cubicBezTo>
                    <a:cubicBezTo>
                      <a:pt x="4117" y="6771"/>
                      <a:pt x="4117" y="6771"/>
                      <a:pt x="4117" y="6771"/>
                    </a:cubicBezTo>
                    <a:cubicBezTo>
                      <a:pt x="4111" y="6772"/>
                      <a:pt x="4111" y="6772"/>
                      <a:pt x="4111" y="6772"/>
                    </a:cubicBezTo>
                    <a:cubicBezTo>
                      <a:pt x="4073" y="6784"/>
                      <a:pt x="4073" y="6784"/>
                      <a:pt x="4073" y="6784"/>
                    </a:cubicBezTo>
                    <a:cubicBezTo>
                      <a:pt x="4051" y="6831"/>
                      <a:pt x="4051" y="6831"/>
                      <a:pt x="4051" y="6831"/>
                    </a:cubicBezTo>
                    <a:lnTo>
                      <a:pt x="4113" y="6859"/>
                    </a:lnTo>
                    <a:close/>
                    <a:moveTo>
                      <a:pt x="4206" y="6696"/>
                    </a:moveTo>
                    <a:cubicBezTo>
                      <a:pt x="4175" y="6640"/>
                      <a:pt x="4175" y="6640"/>
                      <a:pt x="4175" y="6640"/>
                    </a:cubicBezTo>
                    <a:cubicBezTo>
                      <a:pt x="4261" y="6604"/>
                      <a:pt x="4261" y="6604"/>
                      <a:pt x="4261" y="6604"/>
                    </a:cubicBezTo>
                    <a:cubicBezTo>
                      <a:pt x="4288" y="6662"/>
                      <a:pt x="4288" y="6662"/>
                      <a:pt x="4288" y="6662"/>
                    </a:cubicBezTo>
                    <a:cubicBezTo>
                      <a:pt x="4281" y="6665"/>
                      <a:pt x="4281" y="6665"/>
                      <a:pt x="4281" y="6665"/>
                    </a:cubicBezTo>
                    <a:lnTo>
                      <a:pt x="4206" y="6696"/>
                    </a:lnTo>
                    <a:close/>
                    <a:moveTo>
                      <a:pt x="4194" y="6646"/>
                    </a:moveTo>
                    <a:cubicBezTo>
                      <a:pt x="4212" y="6679"/>
                      <a:pt x="4212" y="6679"/>
                      <a:pt x="4212" y="6679"/>
                    </a:cubicBezTo>
                    <a:cubicBezTo>
                      <a:pt x="4270" y="6655"/>
                      <a:pt x="4270" y="6655"/>
                      <a:pt x="4270" y="6655"/>
                    </a:cubicBezTo>
                    <a:cubicBezTo>
                      <a:pt x="4254" y="6621"/>
                      <a:pt x="4254" y="6621"/>
                      <a:pt x="4254" y="6621"/>
                    </a:cubicBezTo>
                    <a:lnTo>
                      <a:pt x="4194" y="6646"/>
                    </a:lnTo>
                    <a:close/>
                    <a:moveTo>
                      <a:pt x="1001" y="10139"/>
                    </a:moveTo>
                    <a:cubicBezTo>
                      <a:pt x="935" y="10035"/>
                      <a:pt x="935" y="10035"/>
                      <a:pt x="935" y="10035"/>
                    </a:cubicBezTo>
                    <a:cubicBezTo>
                      <a:pt x="1215" y="9885"/>
                      <a:pt x="1215" y="9885"/>
                      <a:pt x="1215" y="9885"/>
                    </a:cubicBezTo>
                    <a:cubicBezTo>
                      <a:pt x="1571" y="10193"/>
                      <a:pt x="1571" y="10193"/>
                      <a:pt x="1571" y="10193"/>
                    </a:cubicBezTo>
                    <a:cubicBezTo>
                      <a:pt x="1561" y="10316"/>
                      <a:pt x="1561" y="10316"/>
                      <a:pt x="1561" y="10316"/>
                    </a:cubicBezTo>
                    <a:cubicBezTo>
                      <a:pt x="1414" y="10303"/>
                      <a:pt x="1414" y="10303"/>
                      <a:pt x="1414" y="10303"/>
                    </a:cubicBezTo>
                    <a:cubicBezTo>
                      <a:pt x="1307" y="10198"/>
                      <a:pt x="1307" y="10198"/>
                      <a:pt x="1307" y="10198"/>
                    </a:cubicBezTo>
                    <a:cubicBezTo>
                      <a:pt x="1327" y="10182"/>
                      <a:pt x="1327" y="10182"/>
                      <a:pt x="1327" y="10182"/>
                    </a:cubicBezTo>
                    <a:cubicBezTo>
                      <a:pt x="1156" y="10017"/>
                      <a:pt x="1156" y="10017"/>
                      <a:pt x="1156" y="10017"/>
                    </a:cubicBezTo>
                    <a:cubicBezTo>
                      <a:pt x="1107" y="10044"/>
                      <a:pt x="1107" y="10044"/>
                      <a:pt x="1107" y="10044"/>
                    </a:cubicBezTo>
                    <a:cubicBezTo>
                      <a:pt x="1127" y="10079"/>
                      <a:pt x="1127" y="10079"/>
                      <a:pt x="1127" y="10079"/>
                    </a:cubicBezTo>
                    <a:lnTo>
                      <a:pt x="1001" y="10139"/>
                    </a:lnTo>
                    <a:close/>
                    <a:moveTo>
                      <a:pt x="955" y="10040"/>
                    </a:moveTo>
                    <a:cubicBezTo>
                      <a:pt x="1006" y="10122"/>
                      <a:pt x="1006" y="10122"/>
                      <a:pt x="1006" y="10122"/>
                    </a:cubicBezTo>
                    <a:cubicBezTo>
                      <a:pt x="1108" y="10073"/>
                      <a:pt x="1108" y="10073"/>
                      <a:pt x="1108" y="10073"/>
                    </a:cubicBezTo>
                    <a:cubicBezTo>
                      <a:pt x="1095" y="10051"/>
                      <a:pt x="1095" y="10051"/>
                      <a:pt x="1095" y="10051"/>
                    </a:cubicBezTo>
                    <a:cubicBezTo>
                      <a:pt x="1088" y="10038"/>
                      <a:pt x="1088" y="10038"/>
                      <a:pt x="1088" y="10038"/>
                    </a:cubicBezTo>
                    <a:cubicBezTo>
                      <a:pt x="1101" y="10032"/>
                      <a:pt x="1101" y="10032"/>
                      <a:pt x="1101" y="10032"/>
                    </a:cubicBezTo>
                    <a:cubicBezTo>
                      <a:pt x="1149" y="10005"/>
                      <a:pt x="1149" y="10005"/>
                      <a:pt x="1149" y="10005"/>
                    </a:cubicBezTo>
                    <a:cubicBezTo>
                      <a:pt x="1158" y="10000"/>
                      <a:pt x="1158" y="10000"/>
                      <a:pt x="1158" y="10000"/>
                    </a:cubicBezTo>
                    <a:cubicBezTo>
                      <a:pt x="1166" y="10007"/>
                      <a:pt x="1166" y="10007"/>
                      <a:pt x="1166" y="10007"/>
                    </a:cubicBezTo>
                    <a:cubicBezTo>
                      <a:pt x="1337" y="10172"/>
                      <a:pt x="1337" y="10172"/>
                      <a:pt x="1337" y="10172"/>
                    </a:cubicBezTo>
                    <a:cubicBezTo>
                      <a:pt x="1349" y="10183"/>
                      <a:pt x="1349" y="10183"/>
                      <a:pt x="1349" y="10183"/>
                    </a:cubicBezTo>
                    <a:cubicBezTo>
                      <a:pt x="1336" y="10193"/>
                      <a:pt x="1336" y="10193"/>
                      <a:pt x="1336" y="10193"/>
                    </a:cubicBezTo>
                    <a:cubicBezTo>
                      <a:pt x="1328" y="10199"/>
                      <a:pt x="1328" y="10199"/>
                      <a:pt x="1328" y="10199"/>
                    </a:cubicBezTo>
                    <a:cubicBezTo>
                      <a:pt x="1420" y="10289"/>
                      <a:pt x="1420" y="10289"/>
                      <a:pt x="1420" y="10289"/>
                    </a:cubicBezTo>
                    <a:cubicBezTo>
                      <a:pt x="1548" y="10301"/>
                      <a:pt x="1548" y="10301"/>
                      <a:pt x="1548" y="10301"/>
                    </a:cubicBezTo>
                    <a:cubicBezTo>
                      <a:pt x="1556" y="10199"/>
                      <a:pt x="1556" y="10199"/>
                      <a:pt x="1556" y="10199"/>
                    </a:cubicBezTo>
                    <a:cubicBezTo>
                      <a:pt x="1214" y="9902"/>
                      <a:pt x="1214" y="9902"/>
                      <a:pt x="1214" y="9902"/>
                    </a:cubicBezTo>
                    <a:lnTo>
                      <a:pt x="955" y="10040"/>
                    </a:lnTo>
                    <a:close/>
                    <a:moveTo>
                      <a:pt x="3244" y="6445"/>
                    </a:moveTo>
                    <a:cubicBezTo>
                      <a:pt x="3294" y="6364"/>
                      <a:pt x="3294" y="6364"/>
                      <a:pt x="3294" y="6364"/>
                    </a:cubicBezTo>
                    <a:cubicBezTo>
                      <a:pt x="3466" y="6504"/>
                      <a:pt x="3466" y="6504"/>
                      <a:pt x="3466" y="6504"/>
                    </a:cubicBezTo>
                    <a:cubicBezTo>
                      <a:pt x="3432" y="6495"/>
                      <a:pt x="3432" y="6495"/>
                      <a:pt x="3432" y="6495"/>
                    </a:cubicBezTo>
                    <a:lnTo>
                      <a:pt x="3244" y="6445"/>
                    </a:lnTo>
                    <a:close/>
                    <a:moveTo>
                      <a:pt x="3267" y="6436"/>
                    </a:moveTo>
                    <a:cubicBezTo>
                      <a:pt x="3403" y="6472"/>
                      <a:pt x="3403" y="6472"/>
                      <a:pt x="3403" y="6472"/>
                    </a:cubicBezTo>
                    <a:cubicBezTo>
                      <a:pt x="3298" y="6386"/>
                      <a:pt x="3298" y="6386"/>
                      <a:pt x="3298" y="6386"/>
                    </a:cubicBezTo>
                    <a:lnTo>
                      <a:pt x="3267" y="6436"/>
                    </a:lnTo>
                    <a:close/>
                    <a:moveTo>
                      <a:pt x="1102" y="8750"/>
                    </a:moveTo>
                    <a:cubicBezTo>
                      <a:pt x="1154" y="8682"/>
                      <a:pt x="1154" y="8682"/>
                      <a:pt x="1154" y="8682"/>
                    </a:cubicBezTo>
                    <a:cubicBezTo>
                      <a:pt x="1294" y="8793"/>
                      <a:pt x="1294" y="8793"/>
                      <a:pt x="1294" y="8793"/>
                    </a:cubicBezTo>
                    <a:cubicBezTo>
                      <a:pt x="1240" y="8861"/>
                      <a:pt x="1240" y="8861"/>
                      <a:pt x="1240" y="8861"/>
                    </a:cubicBezTo>
                    <a:lnTo>
                      <a:pt x="1102" y="8750"/>
                    </a:lnTo>
                    <a:close/>
                    <a:moveTo>
                      <a:pt x="1122" y="8747"/>
                    </a:moveTo>
                    <a:cubicBezTo>
                      <a:pt x="1237" y="8841"/>
                      <a:pt x="1237" y="8841"/>
                      <a:pt x="1237" y="8841"/>
                    </a:cubicBezTo>
                    <a:cubicBezTo>
                      <a:pt x="1274" y="8795"/>
                      <a:pt x="1274" y="8795"/>
                      <a:pt x="1274" y="8795"/>
                    </a:cubicBezTo>
                    <a:cubicBezTo>
                      <a:pt x="1156" y="8702"/>
                      <a:pt x="1156" y="8702"/>
                      <a:pt x="1156" y="8702"/>
                    </a:cubicBezTo>
                    <a:lnTo>
                      <a:pt x="1122" y="8747"/>
                    </a:lnTo>
                    <a:close/>
                    <a:moveTo>
                      <a:pt x="8428" y="7514"/>
                    </a:moveTo>
                    <a:cubicBezTo>
                      <a:pt x="8526" y="7621"/>
                      <a:pt x="8526" y="7621"/>
                      <a:pt x="8526" y="7621"/>
                    </a:cubicBezTo>
                    <a:cubicBezTo>
                      <a:pt x="8471" y="7672"/>
                      <a:pt x="8471" y="7672"/>
                      <a:pt x="8471" y="7672"/>
                    </a:cubicBezTo>
                    <a:cubicBezTo>
                      <a:pt x="8368" y="7561"/>
                      <a:pt x="8368" y="7561"/>
                      <a:pt x="8368" y="7561"/>
                    </a:cubicBezTo>
                    <a:cubicBezTo>
                      <a:pt x="8423" y="7510"/>
                      <a:pt x="8423" y="7510"/>
                      <a:pt x="8423" y="7510"/>
                    </a:cubicBezTo>
                    <a:lnTo>
                      <a:pt x="8428" y="7514"/>
                    </a:lnTo>
                    <a:close/>
                    <a:moveTo>
                      <a:pt x="8508" y="7620"/>
                    </a:moveTo>
                    <a:cubicBezTo>
                      <a:pt x="8423" y="7528"/>
                      <a:pt x="8423" y="7528"/>
                      <a:pt x="8423" y="7528"/>
                    </a:cubicBezTo>
                    <a:cubicBezTo>
                      <a:pt x="8386" y="7562"/>
                      <a:pt x="8386" y="7562"/>
                      <a:pt x="8386" y="7562"/>
                    </a:cubicBezTo>
                    <a:cubicBezTo>
                      <a:pt x="8471" y="7654"/>
                      <a:pt x="8471" y="7654"/>
                      <a:pt x="8471" y="7654"/>
                    </a:cubicBezTo>
                    <a:lnTo>
                      <a:pt x="8508" y="7620"/>
                    </a:lnTo>
                    <a:close/>
                    <a:moveTo>
                      <a:pt x="8427" y="7911"/>
                    </a:moveTo>
                    <a:cubicBezTo>
                      <a:pt x="8324" y="7799"/>
                      <a:pt x="8324" y="7799"/>
                      <a:pt x="8324" y="7799"/>
                    </a:cubicBezTo>
                    <a:cubicBezTo>
                      <a:pt x="8379" y="7748"/>
                      <a:pt x="8379" y="7748"/>
                      <a:pt x="8379" y="7748"/>
                    </a:cubicBezTo>
                    <a:cubicBezTo>
                      <a:pt x="8384" y="7753"/>
                      <a:pt x="8384" y="7753"/>
                      <a:pt x="8384" y="7753"/>
                    </a:cubicBezTo>
                    <a:cubicBezTo>
                      <a:pt x="8482" y="7859"/>
                      <a:pt x="8482" y="7859"/>
                      <a:pt x="8482" y="7859"/>
                    </a:cubicBezTo>
                    <a:lnTo>
                      <a:pt x="8427" y="7911"/>
                    </a:lnTo>
                    <a:close/>
                    <a:moveTo>
                      <a:pt x="8342" y="7800"/>
                    </a:moveTo>
                    <a:cubicBezTo>
                      <a:pt x="8427" y="7892"/>
                      <a:pt x="8427" y="7892"/>
                      <a:pt x="8427" y="7892"/>
                    </a:cubicBezTo>
                    <a:cubicBezTo>
                      <a:pt x="8464" y="7858"/>
                      <a:pt x="8464" y="7858"/>
                      <a:pt x="8464" y="7858"/>
                    </a:cubicBezTo>
                    <a:cubicBezTo>
                      <a:pt x="8379" y="7766"/>
                      <a:pt x="8379" y="7766"/>
                      <a:pt x="8379" y="7766"/>
                    </a:cubicBezTo>
                    <a:lnTo>
                      <a:pt x="8342" y="7800"/>
                    </a:lnTo>
                    <a:close/>
                    <a:moveTo>
                      <a:pt x="1196" y="8025"/>
                    </a:moveTo>
                    <a:cubicBezTo>
                      <a:pt x="1291" y="8164"/>
                      <a:pt x="1291" y="8164"/>
                      <a:pt x="1291" y="8164"/>
                    </a:cubicBezTo>
                    <a:cubicBezTo>
                      <a:pt x="1274" y="8276"/>
                      <a:pt x="1274" y="8276"/>
                      <a:pt x="1274" y="8276"/>
                    </a:cubicBezTo>
                    <a:cubicBezTo>
                      <a:pt x="1119" y="8277"/>
                      <a:pt x="1119" y="8277"/>
                      <a:pt x="1119" y="8277"/>
                    </a:cubicBezTo>
                    <a:cubicBezTo>
                      <a:pt x="1127" y="8083"/>
                      <a:pt x="1127" y="8083"/>
                      <a:pt x="1127" y="8083"/>
                    </a:cubicBezTo>
                    <a:lnTo>
                      <a:pt x="1196" y="8025"/>
                    </a:lnTo>
                    <a:close/>
                    <a:moveTo>
                      <a:pt x="1277" y="8167"/>
                    </a:moveTo>
                    <a:cubicBezTo>
                      <a:pt x="1194" y="8046"/>
                      <a:pt x="1194" y="8046"/>
                      <a:pt x="1194" y="8046"/>
                    </a:cubicBezTo>
                    <a:cubicBezTo>
                      <a:pt x="1141" y="8090"/>
                      <a:pt x="1141" y="8090"/>
                      <a:pt x="1141" y="8090"/>
                    </a:cubicBezTo>
                    <a:cubicBezTo>
                      <a:pt x="1133" y="8263"/>
                      <a:pt x="1133" y="8263"/>
                      <a:pt x="1133" y="8263"/>
                    </a:cubicBezTo>
                    <a:cubicBezTo>
                      <a:pt x="1262" y="8262"/>
                      <a:pt x="1262" y="8262"/>
                      <a:pt x="1262" y="8262"/>
                    </a:cubicBezTo>
                    <a:lnTo>
                      <a:pt x="1277" y="8167"/>
                    </a:lnTo>
                    <a:close/>
                    <a:moveTo>
                      <a:pt x="1375" y="7878"/>
                    </a:moveTo>
                    <a:cubicBezTo>
                      <a:pt x="1490" y="7711"/>
                      <a:pt x="1490" y="7711"/>
                      <a:pt x="1490" y="7711"/>
                    </a:cubicBezTo>
                    <a:cubicBezTo>
                      <a:pt x="1566" y="7799"/>
                      <a:pt x="1566" y="7799"/>
                      <a:pt x="1566" y="7799"/>
                    </a:cubicBezTo>
                    <a:cubicBezTo>
                      <a:pt x="1566" y="7799"/>
                      <a:pt x="1768" y="7812"/>
                      <a:pt x="1772" y="7812"/>
                    </a:cubicBezTo>
                    <a:cubicBezTo>
                      <a:pt x="1766" y="7865"/>
                      <a:pt x="1766" y="7865"/>
                      <a:pt x="1766" y="7865"/>
                    </a:cubicBezTo>
                    <a:cubicBezTo>
                      <a:pt x="1766" y="7865"/>
                      <a:pt x="1719" y="7904"/>
                      <a:pt x="1722" y="7904"/>
                    </a:cubicBezTo>
                    <a:cubicBezTo>
                      <a:pt x="1725" y="7904"/>
                      <a:pt x="1615" y="7900"/>
                      <a:pt x="1615" y="7900"/>
                    </a:cubicBezTo>
                    <a:cubicBezTo>
                      <a:pt x="1583" y="7923"/>
                      <a:pt x="1583" y="7923"/>
                      <a:pt x="1583" y="7923"/>
                    </a:cubicBezTo>
                    <a:cubicBezTo>
                      <a:pt x="1631" y="7979"/>
                      <a:pt x="1631" y="7979"/>
                      <a:pt x="1631" y="7979"/>
                    </a:cubicBezTo>
                    <a:cubicBezTo>
                      <a:pt x="1533" y="8064"/>
                      <a:pt x="1533" y="8064"/>
                      <a:pt x="1533" y="8064"/>
                    </a:cubicBezTo>
                    <a:lnTo>
                      <a:pt x="1375" y="7878"/>
                    </a:lnTo>
                    <a:close/>
                    <a:moveTo>
                      <a:pt x="1393" y="7877"/>
                    </a:moveTo>
                    <a:cubicBezTo>
                      <a:pt x="1535" y="8045"/>
                      <a:pt x="1535" y="8045"/>
                      <a:pt x="1535" y="8045"/>
                    </a:cubicBezTo>
                    <a:cubicBezTo>
                      <a:pt x="1611" y="7978"/>
                      <a:pt x="1611" y="7978"/>
                      <a:pt x="1611" y="7978"/>
                    </a:cubicBezTo>
                    <a:cubicBezTo>
                      <a:pt x="1573" y="7932"/>
                      <a:pt x="1573" y="7932"/>
                      <a:pt x="1573" y="7932"/>
                    </a:cubicBezTo>
                    <a:cubicBezTo>
                      <a:pt x="1563" y="7920"/>
                      <a:pt x="1563" y="7920"/>
                      <a:pt x="1563" y="7920"/>
                    </a:cubicBezTo>
                    <a:cubicBezTo>
                      <a:pt x="1575" y="7912"/>
                      <a:pt x="1575" y="7912"/>
                      <a:pt x="1575" y="7912"/>
                    </a:cubicBezTo>
                    <a:cubicBezTo>
                      <a:pt x="1607" y="7889"/>
                      <a:pt x="1607" y="7889"/>
                      <a:pt x="1607" y="7889"/>
                    </a:cubicBezTo>
                    <a:cubicBezTo>
                      <a:pt x="1611" y="7886"/>
                      <a:pt x="1611" y="7886"/>
                      <a:pt x="1611" y="7886"/>
                    </a:cubicBezTo>
                    <a:cubicBezTo>
                      <a:pt x="1616" y="7887"/>
                      <a:pt x="1616" y="7887"/>
                      <a:pt x="1616" y="7887"/>
                    </a:cubicBezTo>
                    <a:cubicBezTo>
                      <a:pt x="1616" y="7887"/>
                      <a:pt x="1692" y="7889"/>
                      <a:pt x="1715" y="7889"/>
                    </a:cubicBezTo>
                    <a:cubicBezTo>
                      <a:pt x="1722" y="7883"/>
                      <a:pt x="1733" y="7873"/>
                      <a:pt x="1753" y="7857"/>
                    </a:cubicBezTo>
                    <a:cubicBezTo>
                      <a:pt x="1756" y="7825"/>
                      <a:pt x="1756" y="7825"/>
                      <a:pt x="1756" y="7825"/>
                    </a:cubicBezTo>
                    <a:cubicBezTo>
                      <a:pt x="1717" y="7823"/>
                      <a:pt x="1614" y="7816"/>
                      <a:pt x="1565" y="7813"/>
                    </a:cubicBezTo>
                    <a:cubicBezTo>
                      <a:pt x="1559" y="7812"/>
                      <a:pt x="1559" y="7812"/>
                      <a:pt x="1559" y="7812"/>
                    </a:cubicBezTo>
                    <a:cubicBezTo>
                      <a:pt x="1555" y="7808"/>
                      <a:pt x="1555" y="7808"/>
                      <a:pt x="1555" y="7808"/>
                    </a:cubicBezTo>
                    <a:cubicBezTo>
                      <a:pt x="1491" y="7734"/>
                      <a:pt x="1491" y="7734"/>
                      <a:pt x="1491" y="7734"/>
                    </a:cubicBezTo>
                    <a:lnTo>
                      <a:pt x="1393" y="7877"/>
                    </a:lnTo>
                    <a:close/>
                    <a:moveTo>
                      <a:pt x="1605" y="7724"/>
                    </a:moveTo>
                    <a:cubicBezTo>
                      <a:pt x="1545" y="7646"/>
                      <a:pt x="1545" y="7646"/>
                      <a:pt x="1545" y="7646"/>
                    </a:cubicBezTo>
                    <a:cubicBezTo>
                      <a:pt x="1690" y="7431"/>
                      <a:pt x="1690" y="7431"/>
                      <a:pt x="1690" y="7431"/>
                    </a:cubicBezTo>
                    <a:cubicBezTo>
                      <a:pt x="1729" y="7473"/>
                      <a:pt x="1729" y="7473"/>
                      <a:pt x="1729" y="7473"/>
                    </a:cubicBezTo>
                    <a:cubicBezTo>
                      <a:pt x="1674" y="7632"/>
                      <a:pt x="1674" y="7632"/>
                      <a:pt x="1674" y="7632"/>
                    </a:cubicBezTo>
                    <a:cubicBezTo>
                      <a:pt x="1709" y="7667"/>
                      <a:pt x="1709" y="7667"/>
                      <a:pt x="1709" y="7667"/>
                    </a:cubicBezTo>
                    <a:cubicBezTo>
                      <a:pt x="1700" y="7729"/>
                      <a:pt x="1700" y="7729"/>
                      <a:pt x="1700" y="7729"/>
                    </a:cubicBezTo>
                    <a:lnTo>
                      <a:pt x="1605" y="7724"/>
                    </a:lnTo>
                    <a:close/>
                    <a:moveTo>
                      <a:pt x="1563" y="7646"/>
                    </a:moveTo>
                    <a:cubicBezTo>
                      <a:pt x="1612" y="7711"/>
                      <a:pt x="1612" y="7711"/>
                      <a:pt x="1612" y="7711"/>
                    </a:cubicBezTo>
                    <a:cubicBezTo>
                      <a:pt x="1688" y="7715"/>
                      <a:pt x="1688" y="7715"/>
                      <a:pt x="1688" y="7715"/>
                    </a:cubicBezTo>
                    <a:cubicBezTo>
                      <a:pt x="1695" y="7672"/>
                      <a:pt x="1695" y="7672"/>
                      <a:pt x="1695" y="7672"/>
                    </a:cubicBezTo>
                    <a:cubicBezTo>
                      <a:pt x="1664" y="7642"/>
                      <a:pt x="1664" y="7642"/>
                      <a:pt x="1664" y="7642"/>
                    </a:cubicBezTo>
                    <a:cubicBezTo>
                      <a:pt x="1657" y="7636"/>
                      <a:pt x="1657" y="7636"/>
                      <a:pt x="1657" y="7636"/>
                    </a:cubicBezTo>
                    <a:cubicBezTo>
                      <a:pt x="1660" y="7627"/>
                      <a:pt x="1660" y="7627"/>
                      <a:pt x="1660" y="7627"/>
                    </a:cubicBezTo>
                    <a:cubicBezTo>
                      <a:pt x="1713" y="7476"/>
                      <a:pt x="1713" y="7476"/>
                      <a:pt x="1713" y="7476"/>
                    </a:cubicBezTo>
                    <a:cubicBezTo>
                      <a:pt x="1692" y="7453"/>
                      <a:pt x="1692" y="7453"/>
                      <a:pt x="1692" y="7453"/>
                    </a:cubicBezTo>
                    <a:lnTo>
                      <a:pt x="1563" y="7646"/>
                    </a:lnTo>
                    <a:close/>
                    <a:moveTo>
                      <a:pt x="2685" y="4337"/>
                    </a:moveTo>
                    <a:cubicBezTo>
                      <a:pt x="2679" y="4345"/>
                      <a:pt x="2679" y="4345"/>
                      <a:pt x="2679" y="4345"/>
                    </a:cubicBezTo>
                    <a:cubicBezTo>
                      <a:pt x="2720" y="4377"/>
                      <a:pt x="2720" y="4377"/>
                      <a:pt x="2720" y="4377"/>
                    </a:cubicBezTo>
                    <a:cubicBezTo>
                      <a:pt x="2607" y="4524"/>
                      <a:pt x="2607" y="4524"/>
                      <a:pt x="2607" y="4524"/>
                    </a:cubicBezTo>
                    <a:cubicBezTo>
                      <a:pt x="2520" y="4457"/>
                      <a:pt x="2520" y="4457"/>
                      <a:pt x="2520" y="4457"/>
                    </a:cubicBezTo>
                    <a:cubicBezTo>
                      <a:pt x="2565" y="4399"/>
                      <a:pt x="2565" y="4399"/>
                      <a:pt x="2565" y="4399"/>
                    </a:cubicBezTo>
                    <a:cubicBezTo>
                      <a:pt x="2519" y="4364"/>
                      <a:pt x="2519" y="4364"/>
                      <a:pt x="2519" y="4364"/>
                    </a:cubicBezTo>
                    <a:cubicBezTo>
                      <a:pt x="2523" y="4359"/>
                      <a:pt x="2523" y="4359"/>
                      <a:pt x="2523" y="4359"/>
                    </a:cubicBezTo>
                    <a:cubicBezTo>
                      <a:pt x="2591" y="4265"/>
                      <a:pt x="2591" y="4265"/>
                      <a:pt x="2591" y="4265"/>
                    </a:cubicBezTo>
                    <a:lnTo>
                      <a:pt x="2685" y="4337"/>
                    </a:lnTo>
                    <a:close/>
                    <a:moveTo>
                      <a:pt x="2660" y="4348"/>
                    </a:moveTo>
                    <a:cubicBezTo>
                      <a:pt x="2666" y="4339"/>
                      <a:pt x="2666" y="4339"/>
                      <a:pt x="2666" y="4339"/>
                    </a:cubicBezTo>
                    <a:cubicBezTo>
                      <a:pt x="2594" y="4284"/>
                      <a:pt x="2594" y="4284"/>
                      <a:pt x="2594" y="4284"/>
                    </a:cubicBezTo>
                    <a:cubicBezTo>
                      <a:pt x="2537" y="4362"/>
                      <a:pt x="2537" y="4362"/>
                      <a:pt x="2537" y="4362"/>
                    </a:cubicBezTo>
                    <a:cubicBezTo>
                      <a:pt x="2583" y="4397"/>
                      <a:pt x="2583" y="4397"/>
                      <a:pt x="2583" y="4397"/>
                    </a:cubicBezTo>
                    <a:cubicBezTo>
                      <a:pt x="2538" y="4455"/>
                      <a:pt x="2538" y="4455"/>
                      <a:pt x="2538" y="4455"/>
                    </a:cubicBezTo>
                    <a:cubicBezTo>
                      <a:pt x="2605" y="4506"/>
                      <a:pt x="2605" y="4506"/>
                      <a:pt x="2605" y="4506"/>
                    </a:cubicBezTo>
                    <a:cubicBezTo>
                      <a:pt x="2702" y="4379"/>
                      <a:pt x="2702" y="4379"/>
                      <a:pt x="2702" y="4379"/>
                    </a:cubicBezTo>
                    <a:lnTo>
                      <a:pt x="2660" y="4348"/>
                    </a:lnTo>
                    <a:close/>
                    <a:moveTo>
                      <a:pt x="3893" y="4757"/>
                    </a:moveTo>
                    <a:cubicBezTo>
                      <a:pt x="3817" y="4715"/>
                      <a:pt x="3817" y="4715"/>
                      <a:pt x="3817" y="4715"/>
                    </a:cubicBezTo>
                    <a:cubicBezTo>
                      <a:pt x="3917" y="4530"/>
                      <a:pt x="3917" y="4530"/>
                      <a:pt x="3917" y="4530"/>
                    </a:cubicBezTo>
                    <a:cubicBezTo>
                      <a:pt x="3923" y="4533"/>
                      <a:pt x="3923" y="4533"/>
                      <a:pt x="3923" y="4533"/>
                    </a:cubicBezTo>
                    <a:cubicBezTo>
                      <a:pt x="3993" y="4571"/>
                      <a:pt x="3993" y="4571"/>
                      <a:pt x="3993" y="4571"/>
                    </a:cubicBezTo>
                    <a:cubicBezTo>
                      <a:pt x="3971" y="4613"/>
                      <a:pt x="3971" y="4613"/>
                      <a:pt x="3971" y="4613"/>
                    </a:cubicBezTo>
                    <a:cubicBezTo>
                      <a:pt x="4008" y="4633"/>
                      <a:pt x="4008" y="4633"/>
                      <a:pt x="4008" y="4633"/>
                    </a:cubicBezTo>
                    <a:cubicBezTo>
                      <a:pt x="3953" y="4736"/>
                      <a:pt x="3953" y="4736"/>
                      <a:pt x="3953" y="4736"/>
                    </a:cubicBezTo>
                    <a:cubicBezTo>
                      <a:pt x="3915" y="4715"/>
                      <a:pt x="3915" y="4715"/>
                      <a:pt x="3915" y="4715"/>
                    </a:cubicBezTo>
                    <a:lnTo>
                      <a:pt x="3893" y="4757"/>
                    </a:lnTo>
                    <a:close/>
                    <a:moveTo>
                      <a:pt x="3887" y="4739"/>
                    </a:moveTo>
                    <a:cubicBezTo>
                      <a:pt x="3910" y="4697"/>
                      <a:pt x="3910" y="4697"/>
                      <a:pt x="3910" y="4697"/>
                    </a:cubicBezTo>
                    <a:cubicBezTo>
                      <a:pt x="3948" y="4718"/>
                      <a:pt x="3948" y="4718"/>
                      <a:pt x="3948" y="4718"/>
                    </a:cubicBezTo>
                    <a:cubicBezTo>
                      <a:pt x="3991" y="4638"/>
                      <a:pt x="3991" y="4638"/>
                      <a:pt x="3991" y="4638"/>
                    </a:cubicBezTo>
                    <a:cubicBezTo>
                      <a:pt x="3953" y="4618"/>
                      <a:pt x="3953" y="4618"/>
                      <a:pt x="3953" y="4618"/>
                    </a:cubicBezTo>
                    <a:cubicBezTo>
                      <a:pt x="3975" y="4577"/>
                      <a:pt x="3975" y="4577"/>
                      <a:pt x="3975" y="4577"/>
                    </a:cubicBezTo>
                    <a:cubicBezTo>
                      <a:pt x="3922" y="4548"/>
                      <a:pt x="3922" y="4548"/>
                      <a:pt x="3922" y="4548"/>
                    </a:cubicBezTo>
                    <a:cubicBezTo>
                      <a:pt x="3835" y="4710"/>
                      <a:pt x="3835" y="4710"/>
                      <a:pt x="3835" y="4710"/>
                    </a:cubicBezTo>
                    <a:lnTo>
                      <a:pt x="3887" y="4739"/>
                    </a:lnTo>
                    <a:close/>
                    <a:moveTo>
                      <a:pt x="1732" y="7596"/>
                    </a:moveTo>
                    <a:cubicBezTo>
                      <a:pt x="1729" y="7596"/>
                      <a:pt x="1763" y="7498"/>
                      <a:pt x="1763" y="7498"/>
                    </a:cubicBezTo>
                    <a:cubicBezTo>
                      <a:pt x="1824" y="7569"/>
                      <a:pt x="1824" y="7569"/>
                      <a:pt x="1824" y="7569"/>
                    </a:cubicBezTo>
                    <a:cubicBezTo>
                      <a:pt x="1812" y="7735"/>
                      <a:pt x="1812" y="7735"/>
                      <a:pt x="1812" y="7735"/>
                    </a:cubicBezTo>
                    <a:cubicBezTo>
                      <a:pt x="1732" y="7729"/>
                      <a:pt x="1732" y="7729"/>
                      <a:pt x="1732" y="7729"/>
                    </a:cubicBezTo>
                    <a:cubicBezTo>
                      <a:pt x="1740" y="7667"/>
                      <a:pt x="1740" y="7667"/>
                      <a:pt x="1740" y="7667"/>
                    </a:cubicBezTo>
                    <a:cubicBezTo>
                      <a:pt x="1740" y="7667"/>
                      <a:pt x="1764" y="7627"/>
                      <a:pt x="1761" y="7627"/>
                    </a:cubicBezTo>
                    <a:cubicBezTo>
                      <a:pt x="1758" y="7627"/>
                      <a:pt x="1735" y="7596"/>
                      <a:pt x="1732" y="7596"/>
                    </a:cubicBezTo>
                    <a:close/>
                    <a:moveTo>
                      <a:pt x="1747" y="7591"/>
                    </a:moveTo>
                    <a:cubicBezTo>
                      <a:pt x="1750" y="7594"/>
                      <a:pt x="1753" y="7598"/>
                      <a:pt x="1757" y="7602"/>
                    </a:cubicBezTo>
                    <a:cubicBezTo>
                      <a:pt x="1760" y="7606"/>
                      <a:pt x="1763" y="7610"/>
                      <a:pt x="1766" y="7613"/>
                    </a:cubicBezTo>
                    <a:cubicBezTo>
                      <a:pt x="1769" y="7613"/>
                      <a:pt x="1769" y="7613"/>
                      <a:pt x="1769" y="7613"/>
                    </a:cubicBezTo>
                    <a:cubicBezTo>
                      <a:pt x="1773" y="7620"/>
                      <a:pt x="1773" y="7620"/>
                      <a:pt x="1773" y="7620"/>
                    </a:cubicBezTo>
                    <a:cubicBezTo>
                      <a:pt x="1777" y="7627"/>
                      <a:pt x="1778" y="7629"/>
                      <a:pt x="1754" y="7671"/>
                    </a:cubicBezTo>
                    <a:cubicBezTo>
                      <a:pt x="1748" y="7717"/>
                      <a:pt x="1748" y="7717"/>
                      <a:pt x="1748" y="7717"/>
                    </a:cubicBezTo>
                    <a:cubicBezTo>
                      <a:pt x="1799" y="7720"/>
                      <a:pt x="1799" y="7720"/>
                      <a:pt x="1799" y="7720"/>
                    </a:cubicBezTo>
                    <a:cubicBezTo>
                      <a:pt x="1810" y="7574"/>
                      <a:pt x="1810" y="7574"/>
                      <a:pt x="1810" y="7574"/>
                    </a:cubicBezTo>
                    <a:cubicBezTo>
                      <a:pt x="1768" y="7525"/>
                      <a:pt x="1768" y="7525"/>
                      <a:pt x="1768" y="7525"/>
                    </a:cubicBezTo>
                    <a:cubicBezTo>
                      <a:pt x="1759" y="7553"/>
                      <a:pt x="1750" y="7579"/>
                      <a:pt x="1747" y="7591"/>
                    </a:cubicBezTo>
                    <a:close/>
                    <a:moveTo>
                      <a:pt x="3932" y="7386"/>
                    </a:moveTo>
                    <a:cubicBezTo>
                      <a:pt x="3882" y="7430"/>
                      <a:pt x="3882" y="7430"/>
                      <a:pt x="3882" y="7430"/>
                    </a:cubicBezTo>
                    <a:cubicBezTo>
                      <a:pt x="3864" y="7414"/>
                      <a:pt x="3864" y="7414"/>
                      <a:pt x="3864" y="7414"/>
                    </a:cubicBezTo>
                    <a:cubicBezTo>
                      <a:pt x="3817" y="7453"/>
                      <a:pt x="3817" y="7453"/>
                      <a:pt x="3817" y="7453"/>
                    </a:cubicBezTo>
                    <a:cubicBezTo>
                      <a:pt x="3755" y="7388"/>
                      <a:pt x="3755" y="7388"/>
                      <a:pt x="3755" y="7388"/>
                    </a:cubicBezTo>
                    <a:cubicBezTo>
                      <a:pt x="3803" y="7342"/>
                      <a:pt x="3803" y="7342"/>
                      <a:pt x="3803" y="7342"/>
                    </a:cubicBezTo>
                    <a:cubicBezTo>
                      <a:pt x="3828" y="7363"/>
                      <a:pt x="3828" y="7363"/>
                      <a:pt x="3828" y="7363"/>
                    </a:cubicBezTo>
                    <a:cubicBezTo>
                      <a:pt x="3866" y="7321"/>
                      <a:pt x="3866" y="7321"/>
                      <a:pt x="3866" y="7321"/>
                    </a:cubicBezTo>
                    <a:cubicBezTo>
                      <a:pt x="3842" y="7297"/>
                      <a:pt x="3842" y="7297"/>
                      <a:pt x="3842" y="7297"/>
                    </a:cubicBezTo>
                    <a:cubicBezTo>
                      <a:pt x="3894" y="7251"/>
                      <a:pt x="3894" y="7251"/>
                      <a:pt x="3894" y="7251"/>
                    </a:cubicBezTo>
                    <a:cubicBezTo>
                      <a:pt x="3957" y="7317"/>
                      <a:pt x="3957" y="7317"/>
                      <a:pt x="3957" y="7317"/>
                    </a:cubicBezTo>
                    <a:cubicBezTo>
                      <a:pt x="3913" y="7361"/>
                      <a:pt x="3913" y="7361"/>
                      <a:pt x="3913" y="7361"/>
                    </a:cubicBezTo>
                    <a:lnTo>
                      <a:pt x="3932" y="7386"/>
                    </a:lnTo>
                    <a:close/>
                    <a:moveTo>
                      <a:pt x="3882" y="7412"/>
                    </a:moveTo>
                    <a:cubicBezTo>
                      <a:pt x="3913" y="7384"/>
                      <a:pt x="3913" y="7384"/>
                      <a:pt x="3913" y="7384"/>
                    </a:cubicBezTo>
                    <a:cubicBezTo>
                      <a:pt x="3902" y="7369"/>
                      <a:pt x="3902" y="7369"/>
                      <a:pt x="3902" y="7369"/>
                    </a:cubicBezTo>
                    <a:cubicBezTo>
                      <a:pt x="3894" y="7360"/>
                      <a:pt x="3894" y="7360"/>
                      <a:pt x="3894" y="7360"/>
                    </a:cubicBezTo>
                    <a:cubicBezTo>
                      <a:pt x="3903" y="7351"/>
                      <a:pt x="3903" y="7351"/>
                      <a:pt x="3903" y="7351"/>
                    </a:cubicBezTo>
                    <a:cubicBezTo>
                      <a:pt x="3937" y="7317"/>
                      <a:pt x="3937" y="7317"/>
                      <a:pt x="3937" y="7317"/>
                    </a:cubicBezTo>
                    <a:cubicBezTo>
                      <a:pt x="3893" y="7270"/>
                      <a:pt x="3893" y="7270"/>
                      <a:pt x="3893" y="7270"/>
                    </a:cubicBezTo>
                    <a:cubicBezTo>
                      <a:pt x="3862" y="7297"/>
                      <a:pt x="3862" y="7297"/>
                      <a:pt x="3862" y="7297"/>
                    </a:cubicBezTo>
                    <a:cubicBezTo>
                      <a:pt x="3876" y="7311"/>
                      <a:pt x="3876" y="7311"/>
                      <a:pt x="3876" y="7311"/>
                    </a:cubicBezTo>
                    <a:cubicBezTo>
                      <a:pt x="3886" y="7321"/>
                      <a:pt x="3886" y="7321"/>
                      <a:pt x="3886" y="7321"/>
                    </a:cubicBezTo>
                    <a:cubicBezTo>
                      <a:pt x="3877" y="7331"/>
                      <a:pt x="3877" y="7331"/>
                      <a:pt x="3877" y="7331"/>
                    </a:cubicBezTo>
                    <a:cubicBezTo>
                      <a:pt x="3838" y="7372"/>
                      <a:pt x="3838" y="7372"/>
                      <a:pt x="3838" y="7372"/>
                    </a:cubicBezTo>
                    <a:cubicBezTo>
                      <a:pt x="3829" y="7382"/>
                      <a:pt x="3829" y="7382"/>
                      <a:pt x="3829" y="7382"/>
                    </a:cubicBezTo>
                    <a:cubicBezTo>
                      <a:pt x="3819" y="7374"/>
                      <a:pt x="3819" y="7374"/>
                      <a:pt x="3819" y="7374"/>
                    </a:cubicBezTo>
                    <a:cubicBezTo>
                      <a:pt x="3804" y="7361"/>
                      <a:pt x="3804" y="7361"/>
                      <a:pt x="3804" y="7361"/>
                    </a:cubicBezTo>
                    <a:cubicBezTo>
                      <a:pt x="3775" y="7389"/>
                      <a:pt x="3775" y="7389"/>
                      <a:pt x="3775" y="7389"/>
                    </a:cubicBezTo>
                    <a:cubicBezTo>
                      <a:pt x="3818" y="7434"/>
                      <a:pt x="3818" y="7434"/>
                      <a:pt x="3818" y="7434"/>
                    </a:cubicBezTo>
                    <a:cubicBezTo>
                      <a:pt x="3855" y="7403"/>
                      <a:pt x="3855" y="7403"/>
                      <a:pt x="3855" y="7403"/>
                    </a:cubicBezTo>
                    <a:cubicBezTo>
                      <a:pt x="3864" y="7395"/>
                      <a:pt x="3864" y="7395"/>
                      <a:pt x="3864" y="7395"/>
                    </a:cubicBezTo>
                    <a:cubicBezTo>
                      <a:pt x="3873" y="7404"/>
                      <a:pt x="3873" y="7404"/>
                      <a:pt x="3873" y="7404"/>
                    </a:cubicBezTo>
                    <a:lnTo>
                      <a:pt x="3882" y="7412"/>
                    </a:lnTo>
                    <a:close/>
                    <a:moveTo>
                      <a:pt x="3365" y="7972"/>
                    </a:moveTo>
                    <a:cubicBezTo>
                      <a:pt x="3308" y="7955"/>
                      <a:pt x="3262" y="7905"/>
                      <a:pt x="3262" y="7862"/>
                    </a:cubicBezTo>
                    <a:cubicBezTo>
                      <a:pt x="3262" y="7856"/>
                      <a:pt x="3263" y="7849"/>
                      <a:pt x="3266" y="7844"/>
                    </a:cubicBezTo>
                    <a:cubicBezTo>
                      <a:pt x="3277" y="7814"/>
                      <a:pt x="3310" y="7797"/>
                      <a:pt x="3355" y="7797"/>
                    </a:cubicBezTo>
                    <a:cubicBezTo>
                      <a:pt x="3377" y="7797"/>
                      <a:pt x="3403" y="7801"/>
                      <a:pt x="3430" y="7810"/>
                    </a:cubicBezTo>
                    <a:cubicBezTo>
                      <a:pt x="3487" y="7829"/>
                      <a:pt x="3526" y="7871"/>
                      <a:pt x="3526" y="7913"/>
                    </a:cubicBezTo>
                    <a:cubicBezTo>
                      <a:pt x="3526" y="7919"/>
                      <a:pt x="3525" y="7925"/>
                      <a:pt x="3523" y="7930"/>
                    </a:cubicBezTo>
                    <a:cubicBezTo>
                      <a:pt x="3513" y="7964"/>
                      <a:pt x="3469" y="7980"/>
                      <a:pt x="3422" y="7980"/>
                    </a:cubicBezTo>
                    <a:cubicBezTo>
                      <a:pt x="3403" y="7980"/>
                      <a:pt x="3383" y="7977"/>
                      <a:pt x="3365" y="7972"/>
                    </a:cubicBezTo>
                    <a:close/>
                    <a:moveTo>
                      <a:pt x="3367" y="7964"/>
                    </a:moveTo>
                    <a:cubicBezTo>
                      <a:pt x="3385" y="7969"/>
                      <a:pt x="3404" y="7972"/>
                      <a:pt x="3422" y="7972"/>
                    </a:cubicBezTo>
                    <a:cubicBezTo>
                      <a:pt x="3468" y="7972"/>
                      <a:pt x="3508" y="7956"/>
                      <a:pt x="3515" y="7928"/>
                    </a:cubicBezTo>
                    <a:cubicBezTo>
                      <a:pt x="3517" y="7923"/>
                      <a:pt x="3518" y="7918"/>
                      <a:pt x="3518" y="7913"/>
                    </a:cubicBezTo>
                    <a:cubicBezTo>
                      <a:pt x="3518" y="7876"/>
                      <a:pt x="3482" y="7836"/>
                      <a:pt x="3428" y="7818"/>
                    </a:cubicBezTo>
                    <a:cubicBezTo>
                      <a:pt x="3401" y="7810"/>
                      <a:pt x="3376" y="7806"/>
                      <a:pt x="3355" y="7806"/>
                    </a:cubicBezTo>
                    <a:cubicBezTo>
                      <a:pt x="3312" y="7806"/>
                      <a:pt x="3283" y="7821"/>
                      <a:pt x="3273" y="7847"/>
                    </a:cubicBezTo>
                    <a:cubicBezTo>
                      <a:pt x="3271" y="7851"/>
                      <a:pt x="3270" y="7857"/>
                      <a:pt x="3270" y="7862"/>
                    </a:cubicBezTo>
                    <a:cubicBezTo>
                      <a:pt x="3270" y="7899"/>
                      <a:pt x="3313" y="7949"/>
                      <a:pt x="3367" y="7964"/>
                    </a:cubicBezTo>
                    <a:close/>
                    <a:moveTo>
                      <a:pt x="3689" y="7798"/>
                    </a:moveTo>
                    <a:cubicBezTo>
                      <a:pt x="3689" y="7798"/>
                      <a:pt x="3668" y="7802"/>
                      <a:pt x="3670" y="7800"/>
                    </a:cubicBezTo>
                    <a:cubicBezTo>
                      <a:pt x="3671" y="7798"/>
                      <a:pt x="3655" y="7724"/>
                      <a:pt x="3655" y="7724"/>
                    </a:cubicBezTo>
                    <a:cubicBezTo>
                      <a:pt x="3835" y="7688"/>
                      <a:pt x="3835" y="7688"/>
                      <a:pt x="3835" y="7688"/>
                    </a:cubicBezTo>
                    <a:cubicBezTo>
                      <a:pt x="3849" y="7772"/>
                      <a:pt x="3849" y="7772"/>
                      <a:pt x="3849" y="7772"/>
                    </a:cubicBezTo>
                    <a:cubicBezTo>
                      <a:pt x="3774" y="7784"/>
                      <a:pt x="3774" y="7784"/>
                      <a:pt x="3774" y="7784"/>
                    </a:cubicBezTo>
                    <a:cubicBezTo>
                      <a:pt x="3789" y="7865"/>
                      <a:pt x="3789" y="7865"/>
                      <a:pt x="3789" y="7865"/>
                    </a:cubicBezTo>
                    <a:cubicBezTo>
                      <a:pt x="3707" y="7876"/>
                      <a:pt x="3707" y="7876"/>
                      <a:pt x="3707" y="7876"/>
                    </a:cubicBezTo>
                    <a:lnTo>
                      <a:pt x="3689" y="7798"/>
                    </a:lnTo>
                    <a:close/>
                    <a:moveTo>
                      <a:pt x="3687" y="7784"/>
                    </a:moveTo>
                    <a:cubicBezTo>
                      <a:pt x="3700" y="7782"/>
                      <a:pt x="3700" y="7782"/>
                      <a:pt x="3700" y="7782"/>
                    </a:cubicBezTo>
                    <a:cubicBezTo>
                      <a:pt x="3703" y="7795"/>
                      <a:pt x="3703" y="7795"/>
                      <a:pt x="3703" y="7795"/>
                    </a:cubicBezTo>
                    <a:cubicBezTo>
                      <a:pt x="3717" y="7861"/>
                      <a:pt x="3717" y="7861"/>
                      <a:pt x="3717" y="7861"/>
                    </a:cubicBezTo>
                    <a:cubicBezTo>
                      <a:pt x="3772" y="7854"/>
                      <a:pt x="3772" y="7854"/>
                      <a:pt x="3772" y="7854"/>
                    </a:cubicBezTo>
                    <a:cubicBezTo>
                      <a:pt x="3760" y="7786"/>
                      <a:pt x="3760" y="7786"/>
                      <a:pt x="3760" y="7786"/>
                    </a:cubicBezTo>
                    <a:cubicBezTo>
                      <a:pt x="3758" y="7772"/>
                      <a:pt x="3758" y="7772"/>
                      <a:pt x="3758" y="7772"/>
                    </a:cubicBezTo>
                    <a:cubicBezTo>
                      <a:pt x="3772" y="7770"/>
                      <a:pt x="3772" y="7770"/>
                      <a:pt x="3772" y="7770"/>
                    </a:cubicBezTo>
                    <a:cubicBezTo>
                      <a:pt x="3833" y="7761"/>
                      <a:pt x="3833" y="7761"/>
                      <a:pt x="3833" y="7761"/>
                    </a:cubicBezTo>
                    <a:cubicBezTo>
                      <a:pt x="3823" y="7704"/>
                      <a:pt x="3823" y="7704"/>
                      <a:pt x="3823" y="7704"/>
                    </a:cubicBezTo>
                    <a:cubicBezTo>
                      <a:pt x="3672" y="7735"/>
                      <a:pt x="3672" y="7735"/>
                      <a:pt x="3672" y="7735"/>
                    </a:cubicBezTo>
                    <a:cubicBezTo>
                      <a:pt x="3677" y="7759"/>
                      <a:pt x="3680" y="7775"/>
                      <a:pt x="3682" y="7785"/>
                    </a:cubicBezTo>
                    <a:cubicBezTo>
                      <a:pt x="3684" y="7785"/>
                      <a:pt x="3685" y="7784"/>
                      <a:pt x="3687" y="7784"/>
                    </a:cubicBezTo>
                    <a:close/>
                    <a:moveTo>
                      <a:pt x="3892" y="7535"/>
                    </a:moveTo>
                    <a:cubicBezTo>
                      <a:pt x="3935" y="7490"/>
                      <a:pt x="3935" y="7490"/>
                      <a:pt x="3935" y="7490"/>
                    </a:cubicBezTo>
                    <a:cubicBezTo>
                      <a:pt x="3916" y="7465"/>
                      <a:pt x="3916" y="7465"/>
                      <a:pt x="3916" y="7465"/>
                    </a:cubicBezTo>
                    <a:cubicBezTo>
                      <a:pt x="3965" y="7420"/>
                      <a:pt x="3965" y="7420"/>
                      <a:pt x="3965" y="7420"/>
                    </a:cubicBezTo>
                    <a:cubicBezTo>
                      <a:pt x="3983" y="7436"/>
                      <a:pt x="3983" y="7436"/>
                      <a:pt x="3983" y="7436"/>
                    </a:cubicBezTo>
                    <a:cubicBezTo>
                      <a:pt x="4029" y="7396"/>
                      <a:pt x="4029" y="7396"/>
                      <a:pt x="4029" y="7396"/>
                    </a:cubicBezTo>
                    <a:cubicBezTo>
                      <a:pt x="4092" y="7460"/>
                      <a:pt x="4092" y="7460"/>
                      <a:pt x="4092" y="7460"/>
                    </a:cubicBezTo>
                    <a:cubicBezTo>
                      <a:pt x="4045" y="7507"/>
                      <a:pt x="4045" y="7507"/>
                      <a:pt x="4045" y="7507"/>
                    </a:cubicBezTo>
                    <a:cubicBezTo>
                      <a:pt x="4020" y="7487"/>
                      <a:pt x="4020" y="7487"/>
                      <a:pt x="4020" y="7487"/>
                    </a:cubicBezTo>
                    <a:cubicBezTo>
                      <a:pt x="3982" y="7529"/>
                      <a:pt x="3982" y="7529"/>
                      <a:pt x="3982" y="7529"/>
                    </a:cubicBezTo>
                    <a:cubicBezTo>
                      <a:pt x="4000" y="7551"/>
                      <a:pt x="4000" y="7551"/>
                      <a:pt x="4000" y="7551"/>
                    </a:cubicBezTo>
                    <a:cubicBezTo>
                      <a:pt x="3952" y="7599"/>
                      <a:pt x="3952" y="7599"/>
                      <a:pt x="3952" y="7599"/>
                    </a:cubicBezTo>
                    <a:lnTo>
                      <a:pt x="3892" y="7535"/>
                    </a:lnTo>
                    <a:close/>
                    <a:moveTo>
                      <a:pt x="3954" y="7491"/>
                    </a:moveTo>
                    <a:cubicBezTo>
                      <a:pt x="3945" y="7500"/>
                      <a:pt x="3945" y="7500"/>
                      <a:pt x="3945" y="7500"/>
                    </a:cubicBezTo>
                    <a:cubicBezTo>
                      <a:pt x="3911" y="7535"/>
                      <a:pt x="3911" y="7535"/>
                      <a:pt x="3911" y="7535"/>
                    </a:cubicBezTo>
                    <a:cubicBezTo>
                      <a:pt x="3953" y="7579"/>
                      <a:pt x="3953" y="7579"/>
                      <a:pt x="3953" y="7579"/>
                    </a:cubicBezTo>
                    <a:cubicBezTo>
                      <a:pt x="3981" y="7550"/>
                      <a:pt x="3981" y="7550"/>
                      <a:pt x="3981" y="7550"/>
                    </a:cubicBezTo>
                    <a:cubicBezTo>
                      <a:pt x="3971" y="7538"/>
                      <a:pt x="3971" y="7538"/>
                      <a:pt x="3971" y="7538"/>
                    </a:cubicBezTo>
                    <a:cubicBezTo>
                      <a:pt x="3964" y="7529"/>
                      <a:pt x="3964" y="7529"/>
                      <a:pt x="3964" y="7529"/>
                    </a:cubicBezTo>
                    <a:cubicBezTo>
                      <a:pt x="3972" y="7520"/>
                      <a:pt x="3972" y="7520"/>
                      <a:pt x="3972" y="7520"/>
                    </a:cubicBezTo>
                    <a:cubicBezTo>
                      <a:pt x="4009" y="7477"/>
                      <a:pt x="4009" y="7477"/>
                      <a:pt x="4009" y="7477"/>
                    </a:cubicBezTo>
                    <a:cubicBezTo>
                      <a:pt x="4018" y="7467"/>
                      <a:pt x="4018" y="7467"/>
                      <a:pt x="4018" y="7467"/>
                    </a:cubicBezTo>
                    <a:cubicBezTo>
                      <a:pt x="4029" y="7476"/>
                      <a:pt x="4029" y="7476"/>
                      <a:pt x="4029" y="7476"/>
                    </a:cubicBezTo>
                    <a:cubicBezTo>
                      <a:pt x="4044" y="7488"/>
                      <a:pt x="4044" y="7488"/>
                      <a:pt x="4044" y="7488"/>
                    </a:cubicBezTo>
                    <a:cubicBezTo>
                      <a:pt x="4072" y="7460"/>
                      <a:pt x="4072" y="7460"/>
                      <a:pt x="4072" y="7460"/>
                    </a:cubicBezTo>
                    <a:cubicBezTo>
                      <a:pt x="4028" y="7415"/>
                      <a:pt x="4028" y="7415"/>
                      <a:pt x="4028" y="7415"/>
                    </a:cubicBezTo>
                    <a:cubicBezTo>
                      <a:pt x="3992" y="7447"/>
                      <a:pt x="3992" y="7447"/>
                      <a:pt x="3992" y="7447"/>
                    </a:cubicBezTo>
                    <a:cubicBezTo>
                      <a:pt x="3983" y="7455"/>
                      <a:pt x="3983" y="7455"/>
                      <a:pt x="3983" y="7455"/>
                    </a:cubicBezTo>
                    <a:cubicBezTo>
                      <a:pt x="3974" y="7447"/>
                      <a:pt x="3974" y="7447"/>
                      <a:pt x="3974" y="7447"/>
                    </a:cubicBezTo>
                    <a:cubicBezTo>
                      <a:pt x="3965" y="7439"/>
                      <a:pt x="3965" y="7439"/>
                      <a:pt x="3965" y="7439"/>
                    </a:cubicBezTo>
                    <a:cubicBezTo>
                      <a:pt x="3935" y="7467"/>
                      <a:pt x="3935" y="7467"/>
                      <a:pt x="3935" y="7467"/>
                    </a:cubicBezTo>
                    <a:cubicBezTo>
                      <a:pt x="3946" y="7481"/>
                      <a:pt x="3946" y="7481"/>
                      <a:pt x="3946" y="7481"/>
                    </a:cubicBezTo>
                    <a:lnTo>
                      <a:pt x="3954" y="7491"/>
                    </a:lnTo>
                    <a:close/>
                    <a:moveTo>
                      <a:pt x="8214" y="8667"/>
                    </a:moveTo>
                    <a:cubicBezTo>
                      <a:pt x="8079" y="8901"/>
                      <a:pt x="8079" y="8901"/>
                      <a:pt x="8079" y="8901"/>
                    </a:cubicBezTo>
                    <a:cubicBezTo>
                      <a:pt x="8001" y="8853"/>
                      <a:pt x="8001" y="8853"/>
                      <a:pt x="8001" y="8853"/>
                    </a:cubicBezTo>
                    <a:cubicBezTo>
                      <a:pt x="8162" y="8579"/>
                      <a:pt x="8162" y="8579"/>
                      <a:pt x="8162" y="8579"/>
                    </a:cubicBezTo>
                    <a:cubicBezTo>
                      <a:pt x="8101" y="8544"/>
                      <a:pt x="8101" y="8544"/>
                      <a:pt x="8101" y="8544"/>
                    </a:cubicBezTo>
                    <a:cubicBezTo>
                      <a:pt x="8020" y="8682"/>
                      <a:pt x="8020" y="8682"/>
                      <a:pt x="8020" y="8682"/>
                    </a:cubicBezTo>
                    <a:cubicBezTo>
                      <a:pt x="7954" y="8644"/>
                      <a:pt x="7954" y="8644"/>
                      <a:pt x="7954" y="8644"/>
                    </a:cubicBezTo>
                    <a:cubicBezTo>
                      <a:pt x="8032" y="8500"/>
                      <a:pt x="8032" y="8500"/>
                      <a:pt x="8032" y="8500"/>
                    </a:cubicBezTo>
                    <a:cubicBezTo>
                      <a:pt x="7974" y="8468"/>
                      <a:pt x="7974" y="8468"/>
                      <a:pt x="7974" y="8468"/>
                    </a:cubicBezTo>
                    <a:cubicBezTo>
                      <a:pt x="8032" y="8379"/>
                      <a:pt x="8032" y="8379"/>
                      <a:pt x="8032" y="8379"/>
                    </a:cubicBezTo>
                    <a:cubicBezTo>
                      <a:pt x="8038" y="8382"/>
                      <a:pt x="8038" y="8382"/>
                      <a:pt x="8038" y="8382"/>
                    </a:cubicBezTo>
                    <a:cubicBezTo>
                      <a:pt x="8214" y="8478"/>
                      <a:pt x="8214" y="8478"/>
                      <a:pt x="8214" y="8478"/>
                    </a:cubicBezTo>
                    <a:cubicBezTo>
                      <a:pt x="8273" y="8390"/>
                      <a:pt x="8273" y="8390"/>
                      <a:pt x="8273" y="8390"/>
                    </a:cubicBezTo>
                    <a:cubicBezTo>
                      <a:pt x="8588" y="8574"/>
                      <a:pt x="8588" y="8574"/>
                      <a:pt x="8588" y="8574"/>
                    </a:cubicBezTo>
                    <a:cubicBezTo>
                      <a:pt x="8532" y="8668"/>
                      <a:pt x="8532" y="8668"/>
                      <a:pt x="8532" y="8668"/>
                    </a:cubicBezTo>
                    <a:cubicBezTo>
                      <a:pt x="8471" y="8633"/>
                      <a:pt x="8471" y="8633"/>
                      <a:pt x="8471" y="8633"/>
                    </a:cubicBezTo>
                    <a:cubicBezTo>
                      <a:pt x="8370" y="8823"/>
                      <a:pt x="8370" y="8823"/>
                      <a:pt x="8370" y="8823"/>
                    </a:cubicBezTo>
                    <a:cubicBezTo>
                      <a:pt x="8424" y="8858"/>
                      <a:pt x="8424" y="8858"/>
                      <a:pt x="8424" y="8858"/>
                    </a:cubicBezTo>
                    <a:cubicBezTo>
                      <a:pt x="8322" y="9039"/>
                      <a:pt x="8322" y="9039"/>
                      <a:pt x="8322" y="9039"/>
                    </a:cubicBezTo>
                    <a:cubicBezTo>
                      <a:pt x="8202" y="8973"/>
                      <a:pt x="8202" y="8973"/>
                      <a:pt x="8202" y="8973"/>
                    </a:cubicBezTo>
                    <a:cubicBezTo>
                      <a:pt x="8336" y="8739"/>
                      <a:pt x="8336" y="8739"/>
                      <a:pt x="8336" y="8739"/>
                    </a:cubicBezTo>
                    <a:lnTo>
                      <a:pt x="8214" y="8667"/>
                    </a:lnTo>
                    <a:close/>
                    <a:moveTo>
                      <a:pt x="8208" y="8647"/>
                    </a:moveTo>
                    <a:cubicBezTo>
                      <a:pt x="8356" y="8734"/>
                      <a:pt x="8356" y="8734"/>
                      <a:pt x="8356" y="8734"/>
                    </a:cubicBezTo>
                    <a:cubicBezTo>
                      <a:pt x="8222" y="8967"/>
                      <a:pt x="8222" y="8967"/>
                      <a:pt x="8222" y="8967"/>
                    </a:cubicBezTo>
                    <a:cubicBezTo>
                      <a:pt x="8316" y="9019"/>
                      <a:pt x="8316" y="9019"/>
                      <a:pt x="8316" y="9019"/>
                    </a:cubicBezTo>
                    <a:cubicBezTo>
                      <a:pt x="8404" y="8863"/>
                      <a:pt x="8404" y="8863"/>
                      <a:pt x="8404" y="8863"/>
                    </a:cubicBezTo>
                    <a:cubicBezTo>
                      <a:pt x="8350" y="8828"/>
                      <a:pt x="8350" y="8828"/>
                      <a:pt x="8350" y="8828"/>
                    </a:cubicBezTo>
                    <a:cubicBezTo>
                      <a:pt x="8466" y="8612"/>
                      <a:pt x="8466" y="8612"/>
                      <a:pt x="8466" y="8612"/>
                    </a:cubicBezTo>
                    <a:cubicBezTo>
                      <a:pt x="8527" y="8648"/>
                      <a:pt x="8527" y="8648"/>
                      <a:pt x="8527" y="8648"/>
                    </a:cubicBezTo>
                    <a:cubicBezTo>
                      <a:pt x="8568" y="8579"/>
                      <a:pt x="8568" y="8579"/>
                      <a:pt x="8568" y="8579"/>
                    </a:cubicBezTo>
                    <a:cubicBezTo>
                      <a:pt x="8277" y="8410"/>
                      <a:pt x="8277" y="8410"/>
                      <a:pt x="8277" y="8410"/>
                    </a:cubicBezTo>
                    <a:cubicBezTo>
                      <a:pt x="8219" y="8497"/>
                      <a:pt x="8219" y="8497"/>
                      <a:pt x="8219" y="8497"/>
                    </a:cubicBezTo>
                    <a:cubicBezTo>
                      <a:pt x="8037" y="8398"/>
                      <a:pt x="8037" y="8398"/>
                      <a:pt x="8037" y="8398"/>
                    </a:cubicBezTo>
                    <a:cubicBezTo>
                      <a:pt x="7995" y="8463"/>
                      <a:pt x="7995" y="8463"/>
                      <a:pt x="7995" y="8463"/>
                    </a:cubicBezTo>
                    <a:cubicBezTo>
                      <a:pt x="8053" y="8494"/>
                      <a:pt x="8053" y="8494"/>
                      <a:pt x="8053" y="8494"/>
                    </a:cubicBezTo>
                    <a:cubicBezTo>
                      <a:pt x="7974" y="8638"/>
                      <a:pt x="7974" y="8638"/>
                      <a:pt x="7974" y="8638"/>
                    </a:cubicBezTo>
                    <a:cubicBezTo>
                      <a:pt x="8015" y="8662"/>
                      <a:pt x="8015" y="8662"/>
                      <a:pt x="8015" y="8662"/>
                    </a:cubicBezTo>
                    <a:cubicBezTo>
                      <a:pt x="8095" y="8524"/>
                      <a:pt x="8095" y="8524"/>
                      <a:pt x="8095" y="8524"/>
                    </a:cubicBezTo>
                    <a:cubicBezTo>
                      <a:pt x="8183" y="8574"/>
                      <a:pt x="8183" y="8574"/>
                      <a:pt x="8183" y="8574"/>
                    </a:cubicBezTo>
                    <a:cubicBezTo>
                      <a:pt x="8021" y="8848"/>
                      <a:pt x="8021" y="8848"/>
                      <a:pt x="8021" y="8848"/>
                    </a:cubicBezTo>
                    <a:cubicBezTo>
                      <a:pt x="8074" y="8880"/>
                      <a:pt x="8074" y="8880"/>
                      <a:pt x="8074" y="8880"/>
                    </a:cubicBezTo>
                    <a:lnTo>
                      <a:pt x="8208" y="8647"/>
                    </a:lnTo>
                    <a:close/>
                    <a:moveTo>
                      <a:pt x="954" y="8582"/>
                    </a:moveTo>
                    <a:cubicBezTo>
                      <a:pt x="1006" y="8515"/>
                      <a:pt x="1006" y="8515"/>
                      <a:pt x="1006" y="8515"/>
                    </a:cubicBezTo>
                    <a:cubicBezTo>
                      <a:pt x="1146" y="8625"/>
                      <a:pt x="1146" y="8625"/>
                      <a:pt x="1146" y="8625"/>
                    </a:cubicBezTo>
                    <a:cubicBezTo>
                      <a:pt x="1091" y="8693"/>
                      <a:pt x="1091" y="8693"/>
                      <a:pt x="1091" y="8693"/>
                    </a:cubicBezTo>
                    <a:lnTo>
                      <a:pt x="954" y="8582"/>
                    </a:lnTo>
                    <a:close/>
                    <a:moveTo>
                      <a:pt x="974" y="8579"/>
                    </a:moveTo>
                    <a:cubicBezTo>
                      <a:pt x="1089" y="8673"/>
                      <a:pt x="1089" y="8673"/>
                      <a:pt x="1089" y="8673"/>
                    </a:cubicBezTo>
                    <a:cubicBezTo>
                      <a:pt x="1126" y="8627"/>
                      <a:pt x="1126" y="8627"/>
                      <a:pt x="1126" y="8627"/>
                    </a:cubicBezTo>
                    <a:cubicBezTo>
                      <a:pt x="1008" y="8534"/>
                      <a:pt x="1008" y="8534"/>
                      <a:pt x="1008" y="8534"/>
                    </a:cubicBezTo>
                    <a:lnTo>
                      <a:pt x="974" y="8579"/>
                    </a:lnTo>
                    <a:close/>
                    <a:moveTo>
                      <a:pt x="448" y="9213"/>
                    </a:moveTo>
                    <a:cubicBezTo>
                      <a:pt x="318" y="9183"/>
                      <a:pt x="318" y="9183"/>
                      <a:pt x="318" y="9183"/>
                    </a:cubicBezTo>
                    <a:cubicBezTo>
                      <a:pt x="368" y="9048"/>
                      <a:pt x="368" y="9048"/>
                      <a:pt x="368" y="9048"/>
                    </a:cubicBezTo>
                    <a:cubicBezTo>
                      <a:pt x="521" y="8979"/>
                      <a:pt x="521" y="8979"/>
                      <a:pt x="521" y="8979"/>
                    </a:cubicBezTo>
                    <a:cubicBezTo>
                      <a:pt x="565" y="9018"/>
                      <a:pt x="565" y="9018"/>
                      <a:pt x="565" y="9018"/>
                    </a:cubicBezTo>
                    <a:cubicBezTo>
                      <a:pt x="540" y="9107"/>
                      <a:pt x="540" y="9107"/>
                      <a:pt x="540" y="9107"/>
                    </a:cubicBezTo>
                    <a:cubicBezTo>
                      <a:pt x="485" y="9095"/>
                      <a:pt x="485" y="9095"/>
                      <a:pt x="485" y="9095"/>
                    </a:cubicBezTo>
                    <a:lnTo>
                      <a:pt x="448" y="9213"/>
                    </a:lnTo>
                    <a:close/>
                    <a:moveTo>
                      <a:pt x="438" y="9197"/>
                    </a:moveTo>
                    <a:cubicBezTo>
                      <a:pt x="472" y="9091"/>
                      <a:pt x="472" y="9091"/>
                      <a:pt x="472" y="9091"/>
                    </a:cubicBezTo>
                    <a:cubicBezTo>
                      <a:pt x="475" y="9078"/>
                      <a:pt x="475" y="9078"/>
                      <a:pt x="475" y="9078"/>
                    </a:cubicBezTo>
                    <a:cubicBezTo>
                      <a:pt x="488" y="9081"/>
                      <a:pt x="488" y="9081"/>
                      <a:pt x="488" y="9081"/>
                    </a:cubicBezTo>
                    <a:cubicBezTo>
                      <a:pt x="531" y="9091"/>
                      <a:pt x="531" y="9091"/>
                      <a:pt x="531" y="9091"/>
                    </a:cubicBezTo>
                    <a:cubicBezTo>
                      <a:pt x="550" y="9023"/>
                      <a:pt x="550" y="9023"/>
                      <a:pt x="550" y="9023"/>
                    </a:cubicBezTo>
                    <a:cubicBezTo>
                      <a:pt x="519" y="8995"/>
                      <a:pt x="519" y="8995"/>
                      <a:pt x="519" y="8995"/>
                    </a:cubicBezTo>
                    <a:cubicBezTo>
                      <a:pt x="379" y="9058"/>
                      <a:pt x="379" y="9058"/>
                      <a:pt x="379" y="9058"/>
                    </a:cubicBezTo>
                    <a:cubicBezTo>
                      <a:pt x="336" y="9173"/>
                      <a:pt x="336" y="9173"/>
                      <a:pt x="336" y="9173"/>
                    </a:cubicBezTo>
                    <a:lnTo>
                      <a:pt x="438" y="9197"/>
                    </a:lnTo>
                    <a:close/>
                    <a:moveTo>
                      <a:pt x="1062" y="9151"/>
                    </a:moveTo>
                    <a:cubicBezTo>
                      <a:pt x="1478" y="8755"/>
                      <a:pt x="1478" y="8755"/>
                      <a:pt x="1478" y="8755"/>
                    </a:cubicBezTo>
                    <a:cubicBezTo>
                      <a:pt x="1541" y="8888"/>
                      <a:pt x="1541" y="8888"/>
                      <a:pt x="1541" y="8888"/>
                    </a:cubicBezTo>
                    <a:cubicBezTo>
                      <a:pt x="1051" y="9215"/>
                      <a:pt x="1051" y="9215"/>
                      <a:pt x="1051" y="9215"/>
                    </a:cubicBezTo>
                    <a:lnTo>
                      <a:pt x="1062" y="9151"/>
                    </a:lnTo>
                    <a:close/>
                    <a:moveTo>
                      <a:pt x="1070" y="9185"/>
                    </a:moveTo>
                    <a:cubicBezTo>
                      <a:pt x="1523" y="8883"/>
                      <a:pt x="1523" y="8883"/>
                      <a:pt x="1523" y="8883"/>
                    </a:cubicBezTo>
                    <a:cubicBezTo>
                      <a:pt x="1474" y="8779"/>
                      <a:pt x="1474" y="8779"/>
                      <a:pt x="1474" y="8779"/>
                    </a:cubicBezTo>
                    <a:cubicBezTo>
                      <a:pt x="1075" y="9158"/>
                      <a:pt x="1075" y="9158"/>
                      <a:pt x="1075" y="9158"/>
                    </a:cubicBezTo>
                    <a:lnTo>
                      <a:pt x="1070" y="9185"/>
                    </a:lnTo>
                    <a:close/>
                    <a:moveTo>
                      <a:pt x="7517" y="6033"/>
                    </a:moveTo>
                    <a:cubicBezTo>
                      <a:pt x="7432" y="6023"/>
                      <a:pt x="7432" y="6023"/>
                      <a:pt x="7432" y="6023"/>
                    </a:cubicBezTo>
                    <a:cubicBezTo>
                      <a:pt x="7456" y="5804"/>
                      <a:pt x="7456" y="5804"/>
                      <a:pt x="7456" y="5804"/>
                    </a:cubicBezTo>
                    <a:cubicBezTo>
                      <a:pt x="7463" y="5805"/>
                      <a:pt x="7463" y="5805"/>
                      <a:pt x="7463" y="5805"/>
                    </a:cubicBezTo>
                    <a:cubicBezTo>
                      <a:pt x="7637" y="5825"/>
                      <a:pt x="7637" y="5825"/>
                      <a:pt x="7637" y="5825"/>
                    </a:cubicBezTo>
                    <a:cubicBezTo>
                      <a:pt x="7645" y="5753"/>
                      <a:pt x="7645" y="5753"/>
                      <a:pt x="7645" y="5753"/>
                    </a:cubicBezTo>
                    <a:cubicBezTo>
                      <a:pt x="8014" y="5795"/>
                      <a:pt x="8014" y="5795"/>
                      <a:pt x="8014" y="5795"/>
                    </a:cubicBezTo>
                    <a:cubicBezTo>
                      <a:pt x="8006" y="5866"/>
                      <a:pt x="8006" y="5866"/>
                      <a:pt x="8006" y="5866"/>
                    </a:cubicBezTo>
                    <a:cubicBezTo>
                      <a:pt x="8140" y="5881"/>
                      <a:pt x="8140" y="5881"/>
                      <a:pt x="8140" y="5881"/>
                    </a:cubicBezTo>
                    <a:cubicBezTo>
                      <a:pt x="8115" y="6101"/>
                      <a:pt x="8115" y="6101"/>
                      <a:pt x="8115" y="6101"/>
                    </a:cubicBezTo>
                    <a:cubicBezTo>
                      <a:pt x="8053" y="6094"/>
                      <a:pt x="8053" y="6094"/>
                      <a:pt x="8053" y="6094"/>
                    </a:cubicBezTo>
                    <a:cubicBezTo>
                      <a:pt x="8024" y="6354"/>
                      <a:pt x="8024" y="6354"/>
                      <a:pt x="8024" y="6354"/>
                    </a:cubicBezTo>
                    <a:cubicBezTo>
                      <a:pt x="7912" y="6341"/>
                      <a:pt x="7912" y="6341"/>
                      <a:pt x="7912" y="6341"/>
                    </a:cubicBezTo>
                    <a:cubicBezTo>
                      <a:pt x="7941" y="6083"/>
                      <a:pt x="7941" y="6083"/>
                      <a:pt x="7941" y="6083"/>
                    </a:cubicBezTo>
                    <a:cubicBezTo>
                      <a:pt x="7668" y="6052"/>
                      <a:pt x="7668" y="6052"/>
                      <a:pt x="7668" y="6052"/>
                    </a:cubicBezTo>
                    <a:cubicBezTo>
                      <a:pt x="7656" y="6153"/>
                      <a:pt x="7656" y="6153"/>
                      <a:pt x="7656" y="6153"/>
                    </a:cubicBezTo>
                    <a:cubicBezTo>
                      <a:pt x="7505" y="6136"/>
                      <a:pt x="7505" y="6136"/>
                      <a:pt x="7505" y="6136"/>
                    </a:cubicBezTo>
                    <a:lnTo>
                      <a:pt x="7517" y="6033"/>
                    </a:lnTo>
                    <a:close/>
                    <a:moveTo>
                      <a:pt x="7533" y="6020"/>
                    </a:moveTo>
                    <a:cubicBezTo>
                      <a:pt x="7522" y="6123"/>
                      <a:pt x="7522" y="6123"/>
                      <a:pt x="7522" y="6123"/>
                    </a:cubicBezTo>
                    <a:cubicBezTo>
                      <a:pt x="7643" y="6137"/>
                      <a:pt x="7643" y="6137"/>
                      <a:pt x="7643" y="6137"/>
                    </a:cubicBezTo>
                    <a:cubicBezTo>
                      <a:pt x="7655" y="6035"/>
                      <a:pt x="7655" y="6035"/>
                      <a:pt x="7655" y="6035"/>
                    </a:cubicBezTo>
                    <a:cubicBezTo>
                      <a:pt x="7958" y="6070"/>
                      <a:pt x="7958" y="6070"/>
                      <a:pt x="7958" y="6070"/>
                    </a:cubicBezTo>
                    <a:cubicBezTo>
                      <a:pt x="7928" y="6328"/>
                      <a:pt x="7928" y="6328"/>
                      <a:pt x="7928" y="6328"/>
                    </a:cubicBezTo>
                    <a:cubicBezTo>
                      <a:pt x="8011" y="6338"/>
                      <a:pt x="8011" y="6338"/>
                      <a:pt x="8011" y="6338"/>
                    </a:cubicBezTo>
                    <a:cubicBezTo>
                      <a:pt x="8040" y="6077"/>
                      <a:pt x="8040" y="6077"/>
                      <a:pt x="8040" y="6077"/>
                    </a:cubicBezTo>
                    <a:cubicBezTo>
                      <a:pt x="8102" y="6084"/>
                      <a:pt x="8102" y="6084"/>
                      <a:pt x="8102" y="6084"/>
                    </a:cubicBezTo>
                    <a:cubicBezTo>
                      <a:pt x="8123" y="5894"/>
                      <a:pt x="8123" y="5894"/>
                      <a:pt x="8123" y="5894"/>
                    </a:cubicBezTo>
                    <a:cubicBezTo>
                      <a:pt x="7989" y="5879"/>
                      <a:pt x="7989" y="5879"/>
                      <a:pt x="7989" y="5879"/>
                    </a:cubicBezTo>
                    <a:cubicBezTo>
                      <a:pt x="7997" y="5808"/>
                      <a:pt x="7997" y="5808"/>
                      <a:pt x="7997" y="5808"/>
                    </a:cubicBezTo>
                    <a:cubicBezTo>
                      <a:pt x="7658" y="5770"/>
                      <a:pt x="7658" y="5770"/>
                      <a:pt x="7658" y="5770"/>
                    </a:cubicBezTo>
                    <a:cubicBezTo>
                      <a:pt x="7650" y="5841"/>
                      <a:pt x="7650" y="5841"/>
                      <a:pt x="7650" y="5841"/>
                    </a:cubicBezTo>
                    <a:cubicBezTo>
                      <a:pt x="7469" y="5820"/>
                      <a:pt x="7469" y="5820"/>
                      <a:pt x="7469" y="5820"/>
                    </a:cubicBezTo>
                    <a:cubicBezTo>
                      <a:pt x="7448" y="6010"/>
                      <a:pt x="7448" y="6010"/>
                      <a:pt x="7448" y="6010"/>
                    </a:cubicBezTo>
                    <a:lnTo>
                      <a:pt x="7533" y="6020"/>
                    </a:lnTo>
                    <a:close/>
                    <a:moveTo>
                      <a:pt x="259" y="8090"/>
                    </a:moveTo>
                    <a:cubicBezTo>
                      <a:pt x="235" y="8167"/>
                      <a:pt x="235" y="8167"/>
                      <a:pt x="235" y="8167"/>
                    </a:cubicBezTo>
                    <a:cubicBezTo>
                      <a:pt x="227" y="8161"/>
                      <a:pt x="227" y="8161"/>
                      <a:pt x="227" y="8161"/>
                    </a:cubicBezTo>
                    <a:cubicBezTo>
                      <a:pt x="56" y="8040"/>
                      <a:pt x="56" y="8040"/>
                      <a:pt x="56" y="8040"/>
                    </a:cubicBezTo>
                    <a:cubicBezTo>
                      <a:pt x="149" y="7859"/>
                      <a:pt x="149" y="7859"/>
                      <a:pt x="149" y="7859"/>
                    </a:cubicBezTo>
                    <a:cubicBezTo>
                      <a:pt x="232" y="8012"/>
                      <a:pt x="232" y="8012"/>
                      <a:pt x="232" y="8012"/>
                    </a:cubicBezTo>
                    <a:cubicBezTo>
                      <a:pt x="213" y="8072"/>
                      <a:pt x="213" y="8072"/>
                      <a:pt x="213" y="8072"/>
                    </a:cubicBezTo>
                    <a:lnTo>
                      <a:pt x="259" y="8090"/>
                    </a:lnTo>
                    <a:close/>
                    <a:moveTo>
                      <a:pt x="241" y="8099"/>
                    </a:moveTo>
                    <a:cubicBezTo>
                      <a:pt x="195" y="8081"/>
                      <a:pt x="195" y="8081"/>
                      <a:pt x="195" y="8081"/>
                    </a:cubicBezTo>
                    <a:cubicBezTo>
                      <a:pt x="216" y="8013"/>
                      <a:pt x="216" y="8013"/>
                      <a:pt x="216" y="8013"/>
                    </a:cubicBezTo>
                    <a:cubicBezTo>
                      <a:pt x="149" y="7890"/>
                      <a:pt x="149" y="7890"/>
                      <a:pt x="149" y="7890"/>
                    </a:cubicBezTo>
                    <a:cubicBezTo>
                      <a:pt x="75" y="8035"/>
                      <a:pt x="75" y="8035"/>
                      <a:pt x="75" y="8035"/>
                    </a:cubicBezTo>
                    <a:cubicBezTo>
                      <a:pt x="227" y="8143"/>
                      <a:pt x="227" y="8143"/>
                      <a:pt x="227" y="8143"/>
                    </a:cubicBezTo>
                    <a:lnTo>
                      <a:pt x="241" y="8099"/>
                    </a:lnTo>
                    <a:close/>
                    <a:moveTo>
                      <a:pt x="2594" y="7509"/>
                    </a:moveTo>
                    <a:cubicBezTo>
                      <a:pt x="2426" y="7796"/>
                      <a:pt x="2426" y="7796"/>
                      <a:pt x="2426" y="7796"/>
                    </a:cubicBezTo>
                    <a:cubicBezTo>
                      <a:pt x="2381" y="7800"/>
                      <a:pt x="2381" y="7800"/>
                      <a:pt x="2381" y="7800"/>
                    </a:cubicBezTo>
                    <a:cubicBezTo>
                      <a:pt x="2357" y="7917"/>
                      <a:pt x="2357" y="7917"/>
                      <a:pt x="2357" y="7917"/>
                    </a:cubicBezTo>
                    <a:cubicBezTo>
                      <a:pt x="2186" y="7998"/>
                      <a:pt x="2186" y="7998"/>
                      <a:pt x="2186" y="7998"/>
                    </a:cubicBezTo>
                    <a:cubicBezTo>
                      <a:pt x="2157" y="7985"/>
                      <a:pt x="2157" y="7985"/>
                      <a:pt x="2157" y="7985"/>
                    </a:cubicBezTo>
                    <a:cubicBezTo>
                      <a:pt x="2102" y="8073"/>
                      <a:pt x="2102" y="8073"/>
                      <a:pt x="2102" y="8073"/>
                    </a:cubicBezTo>
                    <a:cubicBezTo>
                      <a:pt x="1955" y="8015"/>
                      <a:pt x="1955" y="8015"/>
                      <a:pt x="1955" y="8015"/>
                    </a:cubicBezTo>
                    <a:cubicBezTo>
                      <a:pt x="1992" y="7936"/>
                      <a:pt x="1992" y="7936"/>
                      <a:pt x="1992" y="7936"/>
                    </a:cubicBezTo>
                    <a:cubicBezTo>
                      <a:pt x="2260" y="7847"/>
                      <a:pt x="2260" y="7847"/>
                      <a:pt x="2260" y="7847"/>
                    </a:cubicBezTo>
                    <a:cubicBezTo>
                      <a:pt x="2286" y="7749"/>
                      <a:pt x="2286" y="7749"/>
                      <a:pt x="2286" y="7749"/>
                    </a:cubicBezTo>
                    <a:cubicBezTo>
                      <a:pt x="2322" y="7745"/>
                      <a:pt x="2322" y="7745"/>
                      <a:pt x="2322" y="7745"/>
                    </a:cubicBezTo>
                    <a:cubicBezTo>
                      <a:pt x="2382" y="7641"/>
                      <a:pt x="2382" y="7641"/>
                      <a:pt x="2382" y="7641"/>
                    </a:cubicBezTo>
                    <a:cubicBezTo>
                      <a:pt x="2355" y="7613"/>
                      <a:pt x="2355" y="7613"/>
                      <a:pt x="2355" y="7613"/>
                    </a:cubicBezTo>
                    <a:cubicBezTo>
                      <a:pt x="2428" y="7394"/>
                      <a:pt x="2428" y="7394"/>
                      <a:pt x="2428" y="7394"/>
                    </a:cubicBezTo>
                    <a:cubicBezTo>
                      <a:pt x="2598" y="7503"/>
                      <a:pt x="2598" y="7503"/>
                      <a:pt x="2598" y="7503"/>
                    </a:cubicBezTo>
                    <a:lnTo>
                      <a:pt x="2594" y="7509"/>
                    </a:lnTo>
                    <a:close/>
                    <a:moveTo>
                      <a:pt x="2578" y="7508"/>
                    </a:moveTo>
                    <a:cubicBezTo>
                      <a:pt x="2436" y="7416"/>
                      <a:pt x="2436" y="7416"/>
                      <a:pt x="2436" y="7416"/>
                    </a:cubicBezTo>
                    <a:cubicBezTo>
                      <a:pt x="2372" y="7609"/>
                      <a:pt x="2372" y="7609"/>
                      <a:pt x="2372" y="7609"/>
                    </a:cubicBezTo>
                    <a:cubicBezTo>
                      <a:pt x="2400" y="7639"/>
                      <a:pt x="2400" y="7639"/>
                      <a:pt x="2400" y="7639"/>
                    </a:cubicBezTo>
                    <a:cubicBezTo>
                      <a:pt x="2331" y="7759"/>
                      <a:pt x="2331" y="7759"/>
                      <a:pt x="2331" y="7759"/>
                    </a:cubicBezTo>
                    <a:cubicBezTo>
                      <a:pt x="2297" y="7763"/>
                      <a:pt x="2297" y="7763"/>
                      <a:pt x="2297" y="7763"/>
                    </a:cubicBezTo>
                    <a:cubicBezTo>
                      <a:pt x="2272" y="7858"/>
                      <a:pt x="2272" y="7858"/>
                      <a:pt x="2272" y="7858"/>
                    </a:cubicBezTo>
                    <a:cubicBezTo>
                      <a:pt x="2003" y="7948"/>
                      <a:pt x="2003" y="7948"/>
                      <a:pt x="2003" y="7948"/>
                    </a:cubicBezTo>
                    <a:cubicBezTo>
                      <a:pt x="1975" y="8007"/>
                      <a:pt x="1975" y="8007"/>
                      <a:pt x="1975" y="8007"/>
                    </a:cubicBezTo>
                    <a:cubicBezTo>
                      <a:pt x="2096" y="8054"/>
                      <a:pt x="2096" y="8054"/>
                      <a:pt x="2096" y="8054"/>
                    </a:cubicBezTo>
                    <a:cubicBezTo>
                      <a:pt x="2151" y="7966"/>
                      <a:pt x="2151" y="7966"/>
                      <a:pt x="2151" y="7966"/>
                    </a:cubicBezTo>
                    <a:cubicBezTo>
                      <a:pt x="2185" y="7982"/>
                      <a:pt x="2185" y="7982"/>
                      <a:pt x="2185" y="7982"/>
                    </a:cubicBezTo>
                    <a:cubicBezTo>
                      <a:pt x="2344" y="7907"/>
                      <a:pt x="2344" y="7907"/>
                      <a:pt x="2344" y="7907"/>
                    </a:cubicBezTo>
                    <a:cubicBezTo>
                      <a:pt x="2368" y="7786"/>
                      <a:pt x="2368" y="7786"/>
                      <a:pt x="2368" y="7786"/>
                    </a:cubicBezTo>
                    <a:cubicBezTo>
                      <a:pt x="2417" y="7782"/>
                      <a:pt x="2417" y="7782"/>
                      <a:pt x="2417" y="7782"/>
                    </a:cubicBezTo>
                    <a:lnTo>
                      <a:pt x="2578" y="7508"/>
                    </a:lnTo>
                    <a:close/>
                    <a:moveTo>
                      <a:pt x="344" y="7866"/>
                    </a:moveTo>
                    <a:cubicBezTo>
                      <a:pt x="257" y="7821"/>
                      <a:pt x="257" y="7821"/>
                      <a:pt x="257" y="7821"/>
                    </a:cubicBezTo>
                    <a:cubicBezTo>
                      <a:pt x="368" y="7599"/>
                      <a:pt x="368" y="7599"/>
                      <a:pt x="368" y="7599"/>
                    </a:cubicBezTo>
                    <a:cubicBezTo>
                      <a:pt x="539" y="7827"/>
                      <a:pt x="539" y="7827"/>
                      <a:pt x="539" y="7827"/>
                    </a:cubicBezTo>
                    <a:cubicBezTo>
                      <a:pt x="534" y="7832"/>
                      <a:pt x="534" y="7832"/>
                      <a:pt x="534" y="7832"/>
                    </a:cubicBezTo>
                    <a:cubicBezTo>
                      <a:pt x="491" y="7873"/>
                      <a:pt x="491" y="7873"/>
                      <a:pt x="491" y="7873"/>
                    </a:cubicBezTo>
                    <a:cubicBezTo>
                      <a:pt x="422" y="7828"/>
                      <a:pt x="422" y="7828"/>
                      <a:pt x="422" y="7828"/>
                    </a:cubicBezTo>
                    <a:lnTo>
                      <a:pt x="344" y="7866"/>
                    </a:lnTo>
                    <a:close/>
                    <a:moveTo>
                      <a:pt x="277" y="7815"/>
                    </a:moveTo>
                    <a:cubicBezTo>
                      <a:pt x="344" y="7849"/>
                      <a:pt x="344" y="7849"/>
                      <a:pt x="344" y="7849"/>
                    </a:cubicBezTo>
                    <a:cubicBezTo>
                      <a:pt x="423" y="7811"/>
                      <a:pt x="423" y="7811"/>
                      <a:pt x="423" y="7811"/>
                    </a:cubicBezTo>
                    <a:cubicBezTo>
                      <a:pt x="489" y="7854"/>
                      <a:pt x="489" y="7854"/>
                      <a:pt x="489" y="7854"/>
                    </a:cubicBezTo>
                    <a:cubicBezTo>
                      <a:pt x="519" y="7826"/>
                      <a:pt x="519" y="7826"/>
                      <a:pt x="519" y="7826"/>
                    </a:cubicBezTo>
                    <a:cubicBezTo>
                      <a:pt x="371" y="7627"/>
                      <a:pt x="371" y="7627"/>
                      <a:pt x="371" y="7627"/>
                    </a:cubicBezTo>
                    <a:lnTo>
                      <a:pt x="277" y="7815"/>
                    </a:lnTo>
                    <a:close/>
                    <a:moveTo>
                      <a:pt x="363" y="7321"/>
                    </a:moveTo>
                    <a:cubicBezTo>
                      <a:pt x="315" y="7353"/>
                      <a:pt x="315" y="7353"/>
                      <a:pt x="315" y="7353"/>
                    </a:cubicBezTo>
                    <a:cubicBezTo>
                      <a:pt x="261" y="7272"/>
                      <a:pt x="261" y="7272"/>
                      <a:pt x="261" y="7272"/>
                    </a:cubicBezTo>
                    <a:cubicBezTo>
                      <a:pt x="309" y="7240"/>
                      <a:pt x="309" y="7240"/>
                      <a:pt x="309" y="7240"/>
                    </a:cubicBezTo>
                    <a:cubicBezTo>
                      <a:pt x="283" y="7201"/>
                      <a:pt x="283" y="7201"/>
                      <a:pt x="283" y="7201"/>
                    </a:cubicBezTo>
                    <a:cubicBezTo>
                      <a:pt x="355" y="7154"/>
                      <a:pt x="355" y="7154"/>
                      <a:pt x="355" y="7154"/>
                    </a:cubicBezTo>
                    <a:cubicBezTo>
                      <a:pt x="461" y="7313"/>
                      <a:pt x="461" y="7313"/>
                      <a:pt x="461" y="7313"/>
                    </a:cubicBezTo>
                    <a:cubicBezTo>
                      <a:pt x="455" y="7316"/>
                      <a:pt x="455" y="7316"/>
                      <a:pt x="455" y="7316"/>
                    </a:cubicBezTo>
                    <a:cubicBezTo>
                      <a:pt x="389" y="7360"/>
                      <a:pt x="389" y="7360"/>
                      <a:pt x="389" y="7360"/>
                    </a:cubicBezTo>
                    <a:lnTo>
                      <a:pt x="363" y="7321"/>
                    </a:lnTo>
                    <a:close/>
                    <a:moveTo>
                      <a:pt x="318" y="7335"/>
                    </a:moveTo>
                    <a:cubicBezTo>
                      <a:pt x="366" y="7303"/>
                      <a:pt x="366" y="7303"/>
                      <a:pt x="366" y="7303"/>
                    </a:cubicBezTo>
                    <a:cubicBezTo>
                      <a:pt x="392" y="7342"/>
                      <a:pt x="392" y="7342"/>
                      <a:pt x="392" y="7342"/>
                    </a:cubicBezTo>
                    <a:cubicBezTo>
                      <a:pt x="442" y="7309"/>
                      <a:pt x="442" y="7309"/>
                      <a:pt x="442" y="7309"/>
                    </a:cubicBezTo>
                    <a:cubicBezTo>
                      <a:pt x="352" y="7172"/>
                      <a:pt x="352" y="7172"/>
                      <a:pt x="352" y="7172"/>
                    </a:cubicBezTo>
                    <a:cubicBezTo>
                      <a:pt x="302" y="7205"/>
                      <a:pt x="302" y="7205"/>
                      <a:pt x="302" y="7205"/>
                    </a:cubicBezTo>
                    <a:cubicBezTo>
                      <a:pt x="327" y="7244"/>
                      <a:pt x="327" y="7244"/>
                      <a:pt x="327" y="7244"/>
                    </a:cubicBezTo>
                    <a:cubicBezTo>
                      <a:pt x="280" y="7276"/>
                      <a:pt x="280" y="7276"/>
                      <a:pt x="280" y="7276"/>
                    </a:cubicBezTo>
                    <a:lnTo>
                      <a:pt x="318" y="7335"/>
                    </a:lnTo>
                    <a:close/>
                    <a:moveTo>
                      <a:pt x="413" y="8293"/>
                    </a:moveTo>
                    <a:cubicBezTo>
                      <a:pt x="365" y="8221"/>
                      <a:pt x="365" y="8221"/>
                      <a:pt x="365" y="8221"/>
                    </a:cubicBezTo>
                    <a:cubicBezTo>
                      <a:pt x="489" y="8086"/>
                      <a:pt x="489" y="8086"/>
                      <a:pt x="489" y="8086"/>
                    </a:cubicBezTo>
                    <a:cubicBezTo>
                      <a:pt x="659" y="8306"/>
                      <a:pt x="659" y="8306"/>
                      <a:pt x="659" y="8306"/>
                    </a:cubicBezTo>
                    <a:cubicBezTo>
                      <a:pt x="653" y="8311"/>
                      <a:pt x="653" y="8311"/>
                      <a:pt x="653" y="8311"/>
                    </a:cubicBezTo>
                    <a:cubicBezTo>
                      <a:pt x="443" y="8483"/>
                      <a:pt x="443" y="8483"/>
                      <a:pt x="443" y="8483"/>
                    </a:cubicBezTo>
                    <a:cubicBezTo>
                      <a:pt x="384" y="8391"/>
                      <a:pt x="384" y="8391"/>
                      <a:pt x="384" y="8391"/>
                    </a:cubicBezTo>
                    <a:cubicBezTo>
                      <a:pt x="480" y="8299"/>
                      <a:pt x="480" y="8299"/>
                      <a:pt x="480" y="8299"/>
                    </a:cubicBezTo>
                    <a:cubicBezTo>
                      <a:pt x="460" y="8256"/>
                      <a:pt x="460" y="8256"/>
                      <a:pt x="460" y="8256"/>
                    </a:cubicBezTo>
                    <a:lnTo>
                      <a:pt x="413" y="8293"/>
                    </a:lnTo>
                    <a:close/>
                    <a:moveTo>
                      <a:pt x="384" y="8222"/>
                    </a:moveTo>
                    <a:cubicBezTo>
                      <a:pt x="416" y="8271"/>
                      <a:pt x="416" y="8271"/>
                      <a:pt x="416" y="8271"/>
                    </a:cubicBezTo>
                    <a:cubicBezTo>
                      <a:pt x="466" y="8233"/>
                      <a:pt x="466" y="8233"/>
                      <a:pt x="466" y="8233"/>
                    </a:cubicBezTo>
                    <a:cubicBezTo>
                      <a:pt x="497" y="8303"/>
                      <a:pt x="497" y="8303"/>
                      <a:pt x="497" y="8303"/>
                    </a:cubicBezTo>
                    <a:cubicBezTo>
                      <a:pt x="403" y="8394"/>
                      <a:pt x="403" y="8394"/>
                      <a:pt x="403" y="8394"/>
                    </a:cubicBezTo>
                    <a:cubicBezTo>
                      <a:pt x="446" y="8461"/>
                      <a:pt x="446" y="8461"/>
                      <a:pt x="446" y="8461"/>
                    </a:cubicBezTo>
                    <a:cubicBezTo>
                      <a:pt x="638" y="8304"/>
                      <a:pt x="638" y="8304"/>
                      <a:pt x="638" y="8304"/>
                    </a:cubicBezTo>
                    <a:cubicBezTo>
                      <a:pt x="488" y="8109"/>
                      <a:pt x="488" y="8109"/>
                      <a:pt x="488" y="8109"/>
                    </a:cubicBezTo>
                    <a:lnTo>
                      <a:pt x="384" y="8222"/>
                    </a:lnTo>
                    <a:close/>
                    <a:moveTo>
                      <a:pt x="3979" y="4193"/>
                    </a:moveTo>
                    <a:cubicBezTo>
                      <a:pt x="4080" y="4196"/>
                      <a:pt x="4080" y="4196"/>
                      <a:pt x="4080" y="4196"/>
                    </a:cubicBezTo>
                    <a:cubicBezTo>
                      <a:pt x="4077" y="4335"/>
                      <a:pt x="4077" y="4335"/>
                      <a:pt x="4077" y="4335"/>
                    </a:cubicBezTo>
                    <a:cubicBezTo>
                      <a:pt x="3976" y="4333"/>
                      <a:pt x="3976" y="4333"/>
                      <a:pt x="3976" y="4333"/>
                    </a:cubicBezTo>
                    <a:cubicBezTo>
                      <a:pt x="3976" y="4326"/>
                      <a:pt x="3976" y="4326"/>
                      <a:pt x="3976" y="4326"/>
                    </a:cubicBezTo>
                    <a:lnTo>
                      <a:pt x="3979" y="4193"/>
                    </a:lnTo>
                    <a:close/>
                    <a:moveTo>
                      <a:pt x="3989" y="4320"/>
                    </a:moveTo>
                    <a:cubicBezTo>
                      <a:pt x="4064" y="4322"/>
                      <a:pt x="4064" y="4322"/>
                      <a:pt x="4064" y="4322"/>
                    </a:cubicBezTo>
                    <a:cubicBezTo>
                      <a:pt x="4066" y="4208"/>
                      <a:pt x="4066" y="4208"/>
                      <a:pt x="4066" y="4208"/>
                    </a:cubicBezTo>
                    <a:cubicBezTo>
                      <a:pt x="3992" y="4207"/>
                      <a:pt x="3992" y="4207"/>
                      <a:pt x="3992" y="4207"/>
                    </a:cubicBezTo>
                    <a:lnTo>
                      <a:pt x="3989" y="4320"/>
                    </a:lnTo>
                    <a:close/>
                    <a:moveTo>
                      <a:pt x="3010" y="7636"/>
                    </a:moveTo>
                    <a:cubicBezTo>
                      <a:pt x="2992" y="7519"/>
                      <a:pt x="2992" y="7519"/>
                      <a:pt x="2992" y="7519"/>
                    </a:cubicBezTo>
                    <a:cubicBezTo>
                      <a:pt x="2999" y="7518"/>
                      <a:pt x="2999" y="7518"/>
                      <a:pt x="2999" y="7518"/>
                    </a:cubicBezTo>
                    <a:cubicBezTo>
                      <a:pt x="3000" y="7518"/>
                      <a:pt x="3000" y="7518"/>
                      <a:pt x="3000" y="7518"/>
                    </a:cubicBezTo>
                    <a:cubicBezTo>
                      <a:pt x="3003" y="7518"/>
                      <a:pt x="3052" y="7518"/>
                      <a:pt x="3101" y="7495"/>
                    </a:cubicBezTo>
                    <a:cubicBezTo>
                      <a:pt x="3244" y="7375"/>
                      <a:pt x="3244" y="7375"/>
                      <a:pt x="3244" y="7375"/>
                    </a:cubicBezTo>
                    <a:cubicBezTo>
                      <a:pt x="3363" y="7529"/>
                      <a:pt x="3363" y="7529"/>
                      <a:pt x="3363" y="7529"/>
                    </a:cubicBezTo>
                    <a:cubicBezTo>
                      <a:pt x="3357" y="7533"/>
                      <a:pt x="3357" y="7533"/>
                      <a:pt x="3357" y="7533"/>
                    </a:cubicBezTo>
                    <a:cubicBezTo>
                      <a:pt x="3282" y="7583"/>
                      <a:pt x="3282" y="7583"/>
                      <a:pt x="3282" y="7583"/>
                    </a:cubicBezTo>
                    <a:cubicBezTo>
                      <a:pt x="3262" y="7529"/>
                      <a:pt x="3262" y="7529"/>
                      <a:pt x="3262" y="7529"/>
                    </a:cubicBezTo>
                    <a:cubicBezTo>
                      <a:pt x="3248" y="7554"/>
                      <a:pt x="3216" y="7604"/>
                      <a:pt x="3175" y="7618"/>
                    </a:cubicBezTo>
                    <a:cubicBezTo>
                      <a:pt x="3123" y="7635"/>
                      <a:pt x="3017" y="7635"/>
                      <a:pt x="3017" y="7636"/>
                    </a:cubicBezTo>
                    <a:lnTo>
                      <a:pt x="3010" y="7636"/>
                    </a:lnTo>
                    <a:close/>
                    <a:moveTo>
                      <a:pt x="3009" y="7533"/>
                    </a:moveTo>
                    <a:cubicBezTo>
                      <a:pt x="3023" y="7621"/>
                      <a:pt x="3023" y="7621"/>
                      <a:pt x="3023" y="7621"/>
                    </a:cubicBezTo>
                    <a:cubicBezTo>
                      <a:pt x="3046" y="7620"/>
                      <a:pt x="3130" y="7617"/>
                      <a:pt x="3170" y="7604"/>
                    </a:cubicBezTo>
                    <a:cubicBezTo>
                      <a:pt x="3193" y="7597"/>
                      <a:pt x="3215" y="7573"/>
                      <a:pt x="3230" y="7551"/>
                    </a:cubicBezTo>
                    <a:cubicBezTo>
                      <a:pt x="3246" y="7528"/>
                      <a:pt x="3256" y="7508"/>
                      <a:pt x="3256" y="7508"/>
                    </a:cubicBezTo>
                    <a:cubicBezTo>
                      <a:pt x="3263" y="7492"/>
                      <a:pt x="3263" y="7492"/>
                      <a:pt x="3263" y="7492"/>
                    </a:cubicBezTo>
                    <a:cubicBezTo>
                      <a:pt x="3289" y="7561"/>
                      <a:pt x="3289" y="7561"/>
                      <a:pt x="3289" y="7561"/>
                    </a:cubicBezTo>
                    <a:cubicBezTo>
                      <a:pt x="3342" y="7525"/>
                      <a:pt x="3342" y="7525"/>
                      <a:pt x="3342" y="7525"/>
                    </a:cubicBezTo>
                    <a:cubicBezTo>
                      <a:pt x="3242" y="7396"/>
                      <a:pt x="3242" y="7396"/>
                      <a:pt x="3242" y="7396"/>
                    </a:cubicBezTo>
                    <a:cubicBezTo>
                      <a:pt x="3109" y="7507"/>
                      <a:pt x="3109" y="7507"/>
                      <a:pt x="3109" y="7507"/>
                    </a:cubicBezTo>
                    <a:cubicBezTo>
                      <a:pt x="3109" y="7508"/>
                      <a:pt x="3109" y="7508"/>
                      <a:pt x="3109" y="7508"/>
                    </a:cubicBezTo>
                    <a:cubicBezTo>
                      <a:pt x="3067" y="7527"/>
                      <a:pt x="3026" y="7532"/>
                      <a:pt x="3009" y="7533"/>
                    </a:cubicBezTo>
                    <a:close/>
                    <a:moveTo>
                      <a:pt x="2246" y="8262"/>
                    </a:moveTo>
                    <a:cubicBezTo>
                      <a:pt x="2269" y="8306"/>
                      <a:pt x="2269" y="8306"/>
                      <a:pt x="2269" y="8306"/>
                    </a:cubicBezTo>
                    <a:cubicBezTo>
                      <a:pt x="2293" y="8297"/>
                      <a:pt x="2293" y="8297"/>
                      <a:pt x="2293" y="8297"/>
                    </a:cubicBezTo>
                    <a:cubicBezTo>
                      <a:pt x="2346" y="8404"/>
                      <a:pt x="2346" y="8404"/>
                      <a:pt x="2346" y="8404"/>
                    </a:cubicBezTo>
                    <a:cubicBezTo>
                      <a:pt x="2071" y="8538"/>
                      <a:pt x="2071" y="8538"/>
                      <a:pt x="2071" y="8538"/>
                    </a:cubicBezTo>
                    <a:cubicBezTo>
                      <a:pt x="2018" y="8426"/>
                      <a:pt x="2018" y="8426"/>
                      <a:pt x="2018" y="8426"/>
                    </a:cubicBezTo>
                    <a:cubicBezTo>
                      <a:pt x="2135" y="8372"/>
                      <a:pt x="2135" y="8372"/>
                      <a:pt x="2135" y="8372"/>
                    </a:cubicBezTo>
                    <a:cubicBezTo>
                      <a:pt x="2128" y="8343"/>
                      <a:pt x="2128" y="8343"/>
                      <a:pt x="2128" y="8343"/>
                    </a:cubicBezTo>
                    <a:cubicBezTo>
                      <a:pt x="2142" y="8333"/>
                      <a:pt x="2142" y="8333"/>
                      <a:pt x="2142" y="8333"/>
                    </a:cubicBezTo>
                    <a:cubicBezTo>
                      <a:pt x="2116" y="8285"/>
                      <a:pt x="2116" y="8285"/>
                      <a:pt x="2116" y="8285"/>
                    </a:cubicBezTo>
                    <a:cubicBezTo>
                      <a:pt x="2146" y="8266"/>
                      <a:pt x="2146" y="8266"/>
                      <a:pt x="2146" y="8266"/>
                    </a:cubicBezTo>
                    <a:cubicBezTo>
                      <a:pt x="2162" y="8301"/>
                      <a:pt x="2162" y="8301"/>
                      <a:pt x="2162" y="8301"/>
                    </a:cubicBezTo>
                    <a:lnTo>
                      <a:pt x="2246" y="8262"/>
                    </a:lnTo>
                    <a:close/>
                    <a:moveTo>
                      <a:pt x="2257" y="8313"/>
                    </a:moveTo>
                    <a:cubicBezTo>
                      <a:pt x="2240" y="8280"/>
                      <a:pt x="2240" y="8280"/>
                      <a:pt x="2240" y="8280"/>
                    </a:cubicBezTo>
                    <a:cubicBezTo>
                      <a:pt x="2168" y="8314"/>
                      <a:pt x="2168" y="8314"/>
                      <a:pt x="2168" y="8314"/>
                    </a:cubicBezTo>
                    <a:cubicBezTo>
                      <a:pt x="2156" y="8320"/>
                      <a:pt x="2156" y="8320"/>
                      <a:pt x="2156" y="8320"/>
                    </a:cubicBezTo>
                    <a:cubicBezTo>
                      <a:pt x="2150" y="8307"/>
                      <a:pt x="2150" y="8307"/>
                      <a:pt x="2150" y="8307"/>
                    </a:cubicBezTo>
                    <a:cubicBezTo>
                      <a:pt x="2140" y="8286"/>
                      <a:pt x="2140" y="8286"/>
                      <a:pt x="2140" y="8286"/>
                    </a:cubicBezTo>
                    <a:cubicBezTo>
                      <a:pt x="2135" y="8290"/>
                      <a:pt x="2135" y="8290"/>
                      <a:pt x="2135" y="8290"/>
                    </a:cubicBezTo>
                    <a:cubicBezTo>
                      <a:pt x="2154" y="8326"/>
                      <a:pt x="2154" y="8326"/>
                      <a:pt x="2154" y="8326"/>
                    </a:cubicBezTo>
                    <a:cubicBezTo>
                      <a:pt x="2160" y="8337"/>
                      <a:pt x="2160" y="8337"/>
                      <a:pt x="2160" y="8337"/>
                    </a:cubicBezTo>
                    <a:cubicBezTo>
                      <a:pt x="2150" y="8344"/>
                      <a:pt x="2150" y="8344"/>
                      <a:pt x="2150" y="8344"/>
                    </a:cubicBezTo>
                    <a:cubicBezTo>
                      <a:pt x="2143" y="8349"/>
                      <a:pt x="2143" y="8349"/>
                      <a:pt x="2143" y="8349"/>
                    </a:cubicBezTo>
                    <a:cubicBezTo>
                      <a:pt x="2148" y="8369"/>
                      <a:pt x="2148" y="8369"/>
                      <a:pt x="2148" y="8369"/>
                    </a:cubicBezTo>
                    <a:cubicBezTo>
                      <a:pt x="2151" y="8380"/>
                      <a:pt x="2151" y="8380"/>
                      <a:pt x="2151" y="8380"/>
                    </a:cubicBezTo>
                    <a:cubicBezTo>
                      <a:pt x="2141" y="8385"/>
                      <a:pt x="2141" y="8385"/>
                      <a:pt x="2141" y="8385"/>
                    </a:cubicBezTo>
                    <a:cubicBezTo>
                      <a:pt x="2037" y="8433"/>
                      <a:pt x="2037" y="8433"/>
                      <a:pt x="2037" y="8433"/>
                    </a:cubicBezTo>
                    <a:cubicBezTo>
                      <a:pt x="2078" y="8519"/>
                      <a:pt x="2078" y="8519"/>
                      <a:pt x="2078" y="8519"/>
                    </a:cubicBezTo>
                    <a:cubicBezTo>
                      <a:pt x="2327" y="8397"/>
                      <a:pt x="2327" y="8397"/>
                      <a:pt x="2327" y="8397"/>
                    </a:cubicBezTo>
                    <a:cubicBezTo>
                      <a:pt x="2286" y="8315"/>
                      <a:pt x="2286" y="8315"/>
                      <a:pt x="2286" y="8315"/>
                    </a:cubicBezTo>
                    <a:cubicBezTo>
                      <a:pt x="2274" y="8319"/>
                      <a:pt x="2274" y="8319"/>
                      <a:pt x="2274" y="8319"/>
                    </a:cubicBezTo>
                    <a:cubicBezTo>
                      <a:pt x="2262" y="8324"/>
                      <a:pt x="2262" y="8324"/>
                      <a:pt x="2262" y="8324"/>
                    </a:cubicBezTo>
                    <a:lnTo>
                      <a:pt x="2257" y="8313"/>
                    </a:lnTo>
                    <a:close/>
                    <a:moveTo>
                      <a:pt x="492" y="8896"/>
                    </a:moveTo>
                    <a:cubicBezTo>
                      <a:pt x="332" y="8986"/>
                      <a:pt x="332" y="8986"/>
                      <a:pt x="332" y="8986"/>
                    </a:cubicBezTo>
                    <a:cubicBezTo>
                      <a:pt x="190" y="8847"/>
                      <a:pt x="190" y="8847"/>
                      <a:pt x="190" y="8847"/>
                    </a:cubicBezTo>
                    <a:cubicBezTo>
                      <a:pt x="259" y="8791"/>
                      <a:pt x="259" y="8791"/>
                      <a:pt x="259" y="8791"/>
                    </a:cubicBezTo>
                    <a:cubicBezTo>
                      <a:pt x="294" y="8812"/>
                      <a:pt x="294" y="8812"/>
                      <a:pt x="294" y="8812"/>
                    </a:cubicBezTo>
                    <a:cubicBezTo>
                      <a:pt x="320" y="8797"/>
                      <a:pt x="320" y="8797"/>
                      <a:pt x="320" y="8797"/>
                    </a:cubicBezTo>
                    <a:cubicBezTo>
                      <a:pt x="296" y="8758"/>
                      <a:pt x="296" y="8758"/>
                      <a:pt x="296" y="8758"/>
                    </a:cubicBezTo>
                    <a:cubicBezTo>
                      <a:pt x="392" y="8686"/>
                      <a:pt x="392" y="8686"/>
                      <a:pt x="392" y="8686"/>
                    </a:cubicBezTo>
                    <a:cubicBezTo>
                      <a:pt x="510" y="8790"/>
                      <a:pt x="510" y="8790"/>
                      <a:pt x="510" y="8790"/>
                    </a:cubicBezTo>
                    <a:cubicBezTo>
                      <a:pt x="495" y="8894"/>
                      <a:pt x="495" y="8894"/>
                      <a:pt x="495" y="8894"/>
                    </a:cubicBezTo>
                    <a:lnTo>
                      <a:pt x="492" y="8896"/>
                    </a:lnTo>
                    <a:close/>
                    <a:moveTo>
                      <a:pt x="481" y="8885"/>
                    </a:moveTo>
                    <a:cubicBezTo>
                      <a:pt x="494" y="8796"/>
                      <a:pt x="494" y="8796"/>
                      <a:pt x="494" y="8796"/>
                    </a:cubicBezTo>
                    <a:cubicBezTo>
                      <a:pt x="391" y="8705"/>
                      <a:pt x="391" y="8705"/>
                      <a:pt x="391" y="8705"/>
                    </a:cubicBezTo>
                    <a:cubicBezTo>
                      <a:pt x="316" y="8762"/>
                      <a:pt x="316" y="8762"/>
                      <a:pt x="316" y="8762"/>
                    </a:cubicBezTo>
                    <a:cubicBezTo>
                      <a:pt x="340" y="8803"/>
                      <a:pt x="340" y="8803"/>
                      <a:pt x="340" y="8803"/>
                    </a:cubicBezTo>
                    <a:cubicBezTo>
                      <a:pt x="294" y="8829"/>
                      <a:pt x="294" y="8829"/>
                      <a:pt x="294" y="8829"/>
                    </a:cubicBezTo>
                    <a:cubicBezTo>
                      <a:pt x="260" y="8809"/>
                      <a:pt x="260" y="8809"/>
                      <a:pt x="260" y="8809"/>
                    </a:cubicBezTo>
                    <a:cubicBezTo>
                      <a:pt x="212" y="8848"/>
                      <a:pt x="212" y="8848"/>
                      <a:pt x="212" y="8848"/>
                    </a:cubicBezTo>
                    <a:cubicBezTo>
                      <a:pt x="335" y="8968"/>
                      <a:pt x="335" y="8968"/>
                      <a:pt x="335" y="8968"/>
                    </a:cubicBezTo>
                    <a:lnTo>
                      <a:pt x="481" y="8885"/>
                    </a:lnTo>
                    <a:close/>
                    <a:moveTo>
                      <a:pt x="4543" y="4749"/>
                    </a:moveTo>
                    <a:cubicBezTo>
                      <a:pt x="4581" y="4770"/>
                      <a:pt x="4581" y="4770"/>
                      <a:pt x="4581" y="4770"/>
                    </a:cubicBezTo>
                    <a:cubicBezTo>
                      <a:pt x="4525" y="4872"/>
                      <a:pt x="4525" y="4872"/>
                      <a:pt x="4525" y="4872"/>
                    </a:cubicBezTo>
                    <a:cubicBezTo>
                      <a:pt x="4488" y="4852"/>
                      <a:pt x="4488" y="4852"/>
                      <a:pt x="4488" y="4852"/>
                    </a:cubicBezTo>
                    <a:cubicBezTo>
                      <a:pt x="4465" y="4893"/>
                      <a:pt x="4465" y="4893"/>
                      <a:pt x="4465" y="4893"/>
                    </a:cubicBezTo>
                    <a:cubicBezTo>
                      <a:pt x="4389" y="4852"/>
                      <a:pt x="4389" y="4852"/>
                      <a:pt x="4389" y="4852"/>
                    </a:cubicBezTo>
                    <a:cubicBezTo>
                      <a:pt x="4490" y="4667"/>
                      <a:pt x="4490" y="4667"/>
                      <a:pt x="4490" y="4667"/>
                    </a:cubicBezTo>
                    <a:cubicBezTo>
                      <a:pt x="4496" y="4670"/>
                      <a:pt x="4496" y="4670"/>
                      <a:pt x="4496" y="4670"/>
                    </a:cubicBezTo>
                    <a:cubicBezTo>
                      <a:pt x="4566" y="4708"/>
                      <a:pt x="4566" y="4708"/>
                      <a:pt x="4566" y="4708"/>
                    </a:cubicBezTo>
                    <a:lnTo>
                      <a:pt x="4543" y="4749"/>
                    </a:lnTo>
                    <a:close/>
                    <a:moveTo>
                      <a:pt x="4525" y="4755"/>
                    </a:moveTo>
                    <a:cubicBezTo>
                      <a:pt x="4548" y="4713"/>
                      <a:pt x="4548" y="4713"/>
                      <a:pt x="4548" y="4713"/>
                    </a:cubicBezTo>
                    <a:cubicBezTo>
                      <a:pt x="4495" y="4685"/>
                      <a:pt x="4495" y="4685"/>
                      <a:pt x="4495" y="4685"/>
                    </a:cubicBezTo>
                    <a:cubicBezTo>
                      <a:pt x="4407" y="4847"/>
                      <a:pt x="4407" y="4847"/>
                      <a:pt x="4407" y="4847"/>
                    </a:cubicBezTo>
                    <a:cubicBezTo>
                      <a:pt x="4460" y="4875"/>
                      <a:pt x="4460" y="4875"/>
                      <a:pt x="4460" y="4875"/>
                    </a:cubicBezTo>
                    <a:cubicBezTo>
                      <a:pt x="4482" y="4834"/>
                      <a:pt x="4482" y="4834"/>
                      <a:pt x="4482" y="4834"/>
                    </a:cubicBezTo>
                    <a:cubicBezTo>
                      <a:pt x="4520" y="4855"/>
                      <a:pt x="4520" y="4855"/>
                      <a:pt x="4520" y="4855"/>
                    </a:cubicBezTo>
                    <a:cubicBezTo>
                      <a:pt x="4563" y="4775"/>
                      <a:pt x="4563" y="4775"/>
                      <a:pt x="4563" y="4775"/>
                    </a:cubicBezTo>
                    <a:lnTo>
                      <a:pt x="4525" y="4755"/>
                    </a:lnTo>
                    <a:close/>
                    <a:moveTo>
                      <a:pt x="4979" y="5149"/>
                    </a:moveTo>
                    <a:cubicBezTo>
                      <a:pt x="4938" y="5163"/>
                      <a:pt x="4938" y="5163"/>
                      <a:pt x="4938" y="5163"/>
                    </a:cubicBezTo>
                    <a:cubicBezTo>
                      <a:pt x="4953" y="5207"/>
                      <a:pt x="4953" y="5207"/>
                      <a:pt x="4953" y="5207"/>
                    </a:cubicBezTo>
                    <a:cubicBezTo>
                      <a:pt x="4871" y="5234"/>
                      <a:pt x="4871" y="5234"/>
                      <a:pt x="4871" y="5234"/>
                    </a:cubicBezTo>
                    <a:cubicBezTo>
                      <a:pt x="4806" y="5033"/>
                      <a:pt x="4806" y="5033"/>
                      <a:pt x="4806" y="5033"/>
                    </a:cubicBezTo>
                    <a:cubicBezTo>
                      <a:pt x="4812" y="5031"/>
                      <a:pt x="4812" y="5031"/>
                      <a:pt x="4812" y="5031"/>
                    </a:cubicBezTo>
                    <a:cubicBezTo>
                      <a:pt x="4888" y="5007"/>
                      <a:pt x="4888" y="5007"/>
                      <a:pt x="4888" y="5007"/>
                    </a:cubicBezTo>
                    <a:cubicBezTo>
                      <a:pt x="4902" y="5052"/>
                      <a:pt x="4902" y="5052"/>
                      <a:pt x="4902" y="5052"/>
                    </a:cubicBezTo>
                    <a:cubicBezTo>
                      <a:pt x="4943" y="5038"/>
                      <a:pt x="4943" y="5038"/>
                      <a:pt x="4943" y="5038"/>
                    </a:cubicBezTo>
                    <a:lnTo>
                      <a:pt x="4979" y="5149"/>
                    </a:lnTo>
                    <a:close/>
                    <a:moveTo>
                      <a:pt x="4922" y="5154"/>
                    </a:moveTo>
                    <a:cubicBezTo>
                      <a:pt x="4963" y="5141"/>
                      <a:pt x="4963" y="5141"/>
                      <a:pt x="4963" y="5141"/>
                    </a:cubicBezTo>
                    <a:cubicBezTo>
                      <a:pt x="4935" y="5055"/>
                      <a:pt x="4935" y="5055"/>
                      <a:pt x="4935" y="5055"/>
                    </a:cubicBezTo>
                    <a:cubicBezTo>
                      <a:pt x="4894" y="5068"/>
                      <a:pt x="4894" y="5068"/>
                      <a:pt x="4894" y="5068"/>
                    </a:cubicBezTo>
                    <a:cubicBezTo>
                      <a:pt x="4879" y="5023"/>
                      <a:pt x="4879" y="5023"/>
                      <a:pt x="4879" y="5023"/>
                    </a:cubicBezTo>
                    <a:cubicBezTo>
                      <a:pt x="4822" y="5042"/>
                      <a:pt x="4822" y="5042"/>
                      <a:pt x="4822" y="5042"/>
                    </a:cubicBezTo>
                    <a:cubicBezTo>
                      <a:pt x="4879" y="5217"/>
                      <a:pt x="4879" y="5217"/>
                      <a:pt x="4879" y="5217"/>
                    </a:cubicBezTo>
                    <a:cubicBezTo>
                      <a:pt x="4936" y="5199"/>
                      <a:pt x="4936" y="5199"/>
                      <a:pt x="4936" y="5199"/>
                    </a:cubicBezTo>
                    <a:lnTo>
                      <a:pt x="4922" y="5154"/>
                    </a:lnTo>
                    <a:close/>
                    <a:moveTo>
                      <a:pt x="3509" y="7388"/>
                    </a:moveTo>
                    <a:cubicBezTo>
                      <a:pt x="3424" y="7455"/>
                      <a:pt x="3424" y="7455"/>
                      <a:pt x="3424" y="7455"/>
                    </a:cubicBezTo>
                    <a:cubicBezTo>
                      <a:pt x="3316" y="7328"/>
                      <a:pt x="3316" y="7328"/>
                      <a:pt x="3316" y="7328"/>
                    </a:cubicBezTo>
                    <a:cubicBezTo>
                      <a:pt x="3502" y="7304"/>
                      <a:pt x="3502" y="7304"/>
                      <a:pt x="3502" y="7304"/>
                    </a:cubicBezTo>
                    <a:cubicBezTo>
                      <a:pt x="3502" y="7312"/>
                      <a:pt x="3502" y="7312"/>
                      <a:pt x="3502" y="7312"/>
                    </a:cubicBezTo>
                    <a:lnTo>
                      <a:pt x="3509" y="7388"/>
                    </a:lnTo>
                    <a:close/>
                    <a:moveTo>
                      <a:pt x="3493" y="7381"/>
                    </a:moveTo>
                    <a:cubicBezTo>
                      <a:pt x="3488" y="7321"/>
                      <a:pt x="3488" y="7321"/>
                      <a:pt x="3488" y="7321"/>
                    </a:cubicBezTo>
                    <a:cubicBezTo>
                      <a:pt x="3345" y="7340"/>
                      <a:pt x="3345" y="7340"/>
                      <a:pt x="3345" y="7340"/>
                    </a:cubicBezTo>
                    <a:cubicBezTo>
                      <a:pt x="3426" y="7435"/>
                      <a:pt x="3426" y="7435"/>
                      <a:pt x="3426" y="7435"/>
                    </a:cubicBezTo>
                    <a:lnTo>
                      <a:pt x="3493" y="7381"/>
                    </a:lnTo>
                    <a:close/>
                    <a:moveTo>
                      <a:pt x="4236" y="4763"/>
                    </a:moveTo>
                    <a:cubicBezTo>
                      <a:pt x="4198" y="4742"/>
                      <a:pt x="4198" y="4742"/>
                      <a:pt x="4198" y="4742"/>
                    </a:cubicBezTo>
                    <a:cubicBezTo>
                      <a:pt x="4254" y="4640"/>
                      <a:pt x="4254" y="4640"/>
                      <a:pt x="4254" y="4640"/>
                    </a:cubicBezTo>
                    <a:cubicBezTo>
                      <a:pt x="4292" y="4660"/>
                      <a:pt x="4292" y="4660"/>
                      <a:pt x="4292" y="4660"/>
                    </a:cubicBezTo>
                    <a:cubicBezTo>
                      <a:pt x="4314" y="4619"/>
                      <a:pt x="4314" y="4619"/>
                      <a:pt x="4314" y="4619"/>
                    </a:cubicBezTo>
                    <a:cubicBezTo>
                      <a:pt x="4390" y="4660"/>
                      <a:pt x="4390" y="4660"/>
                      <a:pt x="4390" y="4660"/>
                    </a:cubicBezTo>
                    <a:cubicBezTo>
                      <a:pt x="4289" y="4845"/>
                      <a:pt x="4289" y="4845"/>
                      <a:pt x="4289" y="4845"/>
                    </a:cubicBezTo>
                    <a:cubicBezTo>
                      <a:pt x="4284" y="4842"/>
                      <a:pt x="4284" y="4842"/>
                      <a:pt x="4284" y="4842"/>
                    </a:cubicBezTo>
                    <a:cubicBezTo>
                      <a:pt x="4214" y="4804"/>
                      <a:pt x="4214" y="4804"/>
                      <a:pt x="4214" y="4804"/>
                    </a:cubicBezTo>
                    <a:lnTo>
                      <a:pt x="4236" y="4763"/>
                    </a:lnTo>
                    <a:close/>
                    <a:moveTo>
                      <a:pt x="4254" y="4758"/>
                    </a:moveTo>
                    <a:cubicBezTo>
                      <a:pt x="4231" y="4799"/>
                      <a:pt x="4231" y="4799"/>
                      <a:pt x="4231" y="4799"/>
                    </a:cubicBezTo>
                    <a:cubicBezTo>
                      <a:pt x="4284" y="4828"/>
                      <a:pt x="4284" y="4828"/>
                      <a:pt x="4284" y="4828"/>
                    </a:cubicBezTo>
                    <a:cubicBezTo>
                      <a:pt x="4372" y="4665"/>
                      <a:pt x="4372" y="4665"/>
                      <a:pt x="4372" y="4665"/>
                    </a:cubicBezTo>
                    <a:cubicBezTo>
                      <a:pt x="4319" y="4637"/>
                      <a:pt x="4319" y="4637"/>
                      <a:pt x="4319" y="4637"/>
                    </a:cubicBezTo>
                    <a:cubicBezTo>
                      <a:pt x="4297" y="4678"/>
                      <a:pt x="4297" y="4678"/>
                      <a:pt x="4297" y="4678"/>
                    </a:cubicBezTo>
                    <a:cubicBezTo>
                      <a:pt x="4259" y="4658"/>
                      <a:pt x="4259" y="4658"/>
                      <a:pt x="4259" y="4658"/>
                    </a:cubicBezTo>
                    <a:cubicBezTo>
                      <a:pt x="4216" y="4737"/>
                      <a:pt x="4216" y="4737"/>
                      <a:pt x="4216" y="4737"/>
                    </a:cubicBezTo>
                    <a:lnTo>
                      <a:pt x="4254" y="4758"/>
                    </a:lnTo>
                    <a:close/>
                    <a:moveTo>
                      <a:pt x="956" y="6550"/>
                    </a:moveTo>
                    <a:cubicBezTo>
                      <a:pt x="951" y="6545"/>
                      <a:pt x="951" y="6545"/>
                      <a:pt x="951" y="6545"/>
                    </a:cubicBezTo>
                    <a:cubicBezTo>
                      <a:pt x="985" y="6494"/>
                      <a:pt x="985" y="6494"/>
                      <a:pt x="985" y="6494"/>
                    </a:cubicBezTo>
                    <a:cubicBezTo>
                      <a:pt x="1345" y="6701"/>
                      <a:pt x="1345" y="6701"/>
                      <a:pt x="1345" y="6701"/>
                    </a:cubicBezTo>
                    <a:cubicBezTo>
                      <a:pt x="1336" y="6707"/>
                      <a:pt x="1336" y="6707"/>
                      <a:pt x="1336" y="6707"/>
                    </a:cubicBezTo>
                    <a:cubicBezTo>
                      <a:pt x="1267" y="6761"/>
                      <a:pt x="1267" y="6761"/>
                      <a:pt x="1267" y="6761"/>
                    </a:cubicBezTo>
                    <a:cubicBezTo>
                      <a:pt x="1221" y="6729"/>
                      <a:pt x="1221" y="6729"/>
                      <a:pt x="1221" y="6729"/>
                    </a:cubicBezTo>
                    <a:cubicBezTo>
                      <a:pt x="1224" y="6745"/>
                      <a:pt x="1228" y="6767"/>
                      <a:pt x="1228" y="6788"/>
                    </a:cubicBezTo>
                    <a:cubicBezTo>
                      <a:pt x="1228" y="6809"/>
                      <a:pt x="1225" y="6830"/>
                      <a:pt x="1210" y="6842"/>
                    </a:cubicBezTo>
                    <a:cubicBezTo>
                      <a:pt x="1199" y="6849"/>
                      <a:pt x="1186" y="6852"/>
                      <a:pt x="1172" y="6852"/>
                    </a:cubicBezTo>
                    <a:cubicBezTo>
                      <a:pt x="1134" y="6852"/>
                      <a:pt x="1091" y="6833"/>
                      <a:pt x="1090" y="6833"/>
                    </a:cubicBezTo>
                    <a:cubicBezTo>
                      <a:pt x="1088" y="6832"/>
                      <a:pt x="1088" y="6832"/>
                      <a:pt x="1088" y="6832"/>
                    </a:cubicBezTo>
                    <a:cubicBezTo>
                      <a:pt x="1053" y="6757"/>
                      <a:pt x="1053" y="6757"/>
                      <a:pt x="1053" y="6757"/>
                    </a:cubicBezTo>
                    <a:cubicBezTo>
                      <a:pt x="1068" y="6761"/>
                      <a:pt x="1068" y="6761"/>
                      <a:pt x="1068" y="6761"/>
                    </a:cubicBezTo>
                    <a:cubicBezTo>
                      <a:pt x="1068" y="6761"/>
                      <a:pt x="1077" y="6764"/>
                      <a:pt x="1087" y="6764"/>
                    </a:cubicBezTo>
                    <a:cubicBezTo>
                      <a:pt x="1100" y="6763"/>
                      <a:pt x="1108" y="6761"/>
                      <a:pt x="1108" y="6748"/>
                    </a:cubicBezTo>
                    <a:cubicBezTo>
                      <a:pt x="1108" y="6740"/>
                      <a:pt x="1105" y="6728"/>
                      <a:pt x="1096" y="6710"/>
                    </a:cubicBezTo>
                    <a:cubicBezTo>
                      <a:pt x="1053" y="6628"/>
                      <a:pt x="956" y="6550"/>
                      <a:pt x="956" y="6550"/>
                    </a:cubicBezTo>
                    <a:close/>
                    <a:moveTo>
                      <a:pt x="971" y="6542"/>
                    </a:moveTo>
                    <a:cubicBezTo>
                      <a:pt x="991" y="6560"/>
                      <a:pt x="1070" y="6629"/>
                      <a:pt x="1109" y="6703"/>
                    </a:cubicBezTo>
                    <a:cubicBezTo>
                      <a:pt x="1118" y="6722"/>
                      <a:pt x="1123" y="6736"/>
                      <a:pt x="1123" y="6748"/>
                    </a:cubicBezTo>
                    <a:cubicBezTo>
                      <a:pt x="1123" y="6759"/>
                      <a:pt x="1118" y="6768"/>
                      <a:pt x="1110" y="6773"/>
                    </a:cubicBezTo>
                    <a:cubicBezTo>
                      <a:pt x="1103" y="6777"/>
                      <a:pt x="1094" y="6778"/>
                      <a:pt x="1087" y="6779"/>
                    </a:cubicBezTo>
                    <a:cubicBezTo>
                      <a:pt x="1084" y="6779"/>
                      <a:pt x="1081" y="6778"/>
                      <a:pt x="1079" y="6778"/>
                    </a:cubicBezTo>
                    <a:cubicBezTo>
                      <a:pt x="1099" y="6820"/>
                      <a:pt x="1099" y="6820"/>
                      <a:pt x="1099" y="6820"/>
                    </a:cubicBezTo>
                    <a:cubicBezTo>
                      <a:pt x="1108" y="6824"/>
                      <a:pt x="1144" y="6837"/>
                      <a:pt x="1172" y="6837"/>
                    </a:cubicBezTo>
                    <a:cubicBezTo>
                      <a:pt x="1184" y="6837"/>
                      <a:pt x="1194" y="6835"/>
                      <a:pt x="1201" y="6830"/>
                    </a:cubicBezTo>
                    <a:cubicBezTo>
                      <a:pt x="1209" y="6824"/>
                      <a:pt x="1214" y="6808"/>
                      <a:pt x="1214" y="6788"/>
                    </a:cubicBezTo>
                    <a:cubicBezTo>
                      <a:pt x="1214" y="6754"/>
                      <a:pt x="1202" y="6714"/>
                      <a:pt x="1202" y="6714"/>
                    </a:cubicBezTo>
                    <a:cubicBezTo>
                      <a:pt x="1196" y="6694"/>
                      <a:pt x="1196" y="6694"/>
                      <a:pt x="1196" y="6694"/>
                    </a:cubicBezTo>
                    <a:cubicBezTo>
                      <a:pt x="1267" y="6743"/>
                      <a:pt x="1267" y="6743"/>
                      <a:pt x="1267" y="6743"/>
                    </a:cubicBezTo>
                    <a:cubicBezTo>
                      <a:pt x="1318" y="6702"/>
                      <a:pt x="1318" y="6702"/>
                      <a:pt x="1318" y="6702"/>
                    </a:cubicBezTo>
                    <a:cubicBezTo>
                      <a:pt x="990" y="6513"/>
                      <a:pt x="990" y="6513"/>
                      <a:pt x="990" y="6513"/>
                    </a:cubicBezTo>
                    <a:lnTo>
                      <a:pt x="971" y="6542"/>
                    </a:lnTo>
                    <a:close/>
                    <a:moveTo>
                      <a:pt x="739" y="6403"/>
                    </a:moveTo>
                    <a:cubicBezTo>
                      <a:pt x="724" y="6417"/>
                      <a:pt x="708" y="6433"/>
                      <a:pt x="691" y="6433"/>
                    </a:cubicBezTo>
                    <a:cubicBezTo>
                      <a:pt x="691" y="6433"/>
                      <a:pt x="690" y="6433"/>
                      <a:pt x="690" y="6433"/>
                    </a:cubicBezTo>
                    <a:cubicBezTo>
                      <a:pt x="683" y="6433"/>
                      <a:pt x="675" y="6428"/>
                      <a:pt x="672" y="6420"/>
                    </a:cubicBezTo>
                    <a:cubicBezTo>
                      <a:pt x="663" y="6395"/>
                      <a:pt x="616" y="6353"/>
                      <a:pt x="567" y="6317"/>
                    </a:cubicBezTo>
                    <a:cubicBezTo>
                      <a:pt x="518" y="6281"/>
                      <a:pt x="467" y="6248"/>
                      <a:pt x="449" y="6235"/>
                    </a:cubicBezTo>
                    <a:cubicBezTo>
                      <a:pt x="443" y="6231"/>
                      <a:pt x="443" y="6231"/>
                      <a:pt x="443" y="6231"/>
                    </a:cubicBezTo>
                    <a:cubicBezTo>
                      <a:pt x="469" y="6197"/>
                      <a:pt x="469" y="6197"/>
                      <a:pt x="469" y="6197"/>
                    </a:cubicBezTo>
                    <a:cubicBezTo>
                      <a:pt x="771" y="6367"/>
                      <a:pt x="771" y="6367"/>
                      <a:pt x="771" y="6367"/>
                    </a:cubicBezTo>
                    <a:cubicBezTo>
                      <a:pt x="765" y="6374"/>
                      <a:pt x="765" y="6374"/>
                      <a:pt x="765" y="6374"/>
                    </a:cubicBezTo>
                    <a:cubicBezTo>
                      <a:pt x="765" y="6374"/>
                      <a:pt x="754" y="6388"/>
                      <a:pt x="739" y="6403"/>
                    </a:cubicBezTo>
                    <a:close/>
                    <a:moveTo>
                      <a:pt x="729" y="6392"/>
                    </a:moveTo>
                    <a:cubicBezTo>
                      <a:pt x="737" y="6384"/>
                      <a:pt x="744" y="6377"/>
                      <a:pt x="748" y="6371"/>
                    </a:cubicBezTo>
                    <a:cubicBezTo>
                      <a:pt x="473" y="6216"/>
                      <a:pt x="473" y="6216"/>
                      <a:pt x="473" y="6216"/>
                    </a:cubicBezTo>
                    <a:cubicBezTo>
                      <a:pt x="464" y="6228"/>
                      <a:pt x="464" y="6228"/>
                      <a:pt x="464" y="6228"/>
                    </a:cubicBezTo>
                    <a:cubicBezTo>
                      <a:pt x="485" y="6242"/>
                      <a:pt x="531" y="6272"/>
                      <a:pt x="576" y="6305"/>
                    </a:cubicBezTo>
                    <a:cubicBezTo>
                      <a:pt x="625" y="6343"/>
                      <a:pt x="673" y="6382"/>
                      <a:pt x="686" y="6414"/>
                    </a:cubicBezTo>
                    <a:cubicBezTo>
                      <a:pt x="688" y="6419"/>
                      <a:pt x="688" y="6418"/>
                      <a:pt x="691" y="6419"/>
                    </a:cubicBezTo>
                    <a:cubicBezTo>
                      <a:pt x="697" y="6419"/>
                      <a:pt x="716" y="6406"/>
                      <a:pt x="729" y="6392"/>
                    </a:cubicBezTo>
                    <a:close/>
                    <a:moveTo>
                      <a:pt x="1019" y="7055"/>
                    </a:moveTo>
                    <a:cubicBezTo>
                      <a:pt x="914" y="7347"/>
                      <a:pt x="914" y="7347"/>
                      <a:pt x="914" y="7347"/>
                    </a:cubicBezTo>
                    <a:cubicBezTo>
                      <a:pt x="906" y="7341"/>
                      <a:pt x="906" y="7341"/>
                      <a:pt x="906" y="7341"/>
                    </a:cubicBezTo>
                    <a:cubicBezTo>
                      <a:pt x="748" y="7227"/>
                      <a:pt x="748" y="7227"/>
                      <a:pt x="748" y="7227"/>
                    </a:cubicBezTo>
                    <a:cubicBezTo>
                      <a:pt x="775" y="7136"/>
                      <a:pt x="775" y="7136"/>
                      <a:pt x="775" y="7136"/>
                    </a:cubicBezTo>
                    <a:cubicBezTo>
                      <a:pt x="709" y="7079"/>
                      <a:pt x="709" y="7079"/>
                      <a:pt x="709" y="7079"/>
                    </a:cubicBezTo>
                    <a:cubicBezTo>
                      <a:pt x="745" y="7024"/>
                      <a:pt x="745" y="7024"/>
                      <a:pt x="745" y="7024"/>
                    </a:cubicBezTo>
                    <a:cubicBezTo>
                      <a:pt x="529" y="6867"/>
                      <a:pt x="529" y="6867"/>
                      <a:pt x="529" y="6867"/>
                    </a:cubicBezTo>
                    <a:cubicBezTo>
                      <a:pt x="600" y="6765"/>
                      <a:pt x="600" y="6765"/>
                      <a:pt x="600" y="6765"/>
                    </a:cubicBezTo>
                    <a:cubicBezTo>
                      <a:pt x="711" y="6857"/>
                      <a:pt x="711" y="6857"/>
                      <a:pt x="711" y="6857"/>
                    </a:cubicBezTo>
                    <a:cubicBezTo>
                      <a:pt x="753" y="6788"/>
                      <a:pt x="753" y="6788"/>
                      <a:pt x="753" y="6788"/>
                    </a:cubicBezTo>
                    <a:cubicBezTo>
                      <a:pt x="859" y="6862"/>
                      <a:pt x="859" y="6862"/>
                      <a:pt x="859" y="6862"/>
                    </a:cubicBezTo>
                    <a:cubicBezTo>
                      <a:pt x="890" y="6841"/>
                      <a:pt x="890" y="6841"/>
                      <a:pt x="890" y="6841"/>
                    </a:cubicBezTo>
                    <a:lnTo>
                      <a:pt x="1019" y="7055"/>
                    </a:lnTo>
                    <a:close/>
                    <a:moveTo>
                      <a:pt x="1003" y="7056"/>
                    </a:moveTo>
                    <a:cubicBezTo>
                      <a:pt x="885" y="6862"/>
                      <a:pt x="885" y="6862"/>
                      <a:pt x="885" y="6862"/>
                    </a:cubicBezTo>
                    <a:cubicBezTo>
                      <a:pt x="859" y="6880"/>
                      <a:pt x="859" y="6880"/>
                      <a:pt x="859" y="6880"/>
                    </a:cubicBezTo>
                    <a:cubicBezTo>
                      <a:pt x="757" y="6809"/>
                      <a:pt x="757" y="6809"/>
                      <a:pt x="757" y="6809"/>
                    </a:cubicBezTo>
                    <a:cubicBezTo>
                      <a:pt x="715" y="6879"/>
                      <a:pt x="715" y="6879"/>
                      <a:pt x="715" y="6879"/>
                    </a:cubicBezTo>
                    <a:cubicBezTo>
                      <a:pt x="603" y="6786"/>
                      <a:pt x="603" y="6786"/>
                      <a:pt x="603" y="6786"/>
                    </a:cubicBezTo>
                    <a:cubicBezTo>
                      <a:pt x="549" y="6864"/>
                      <a:pt x="549" y="6864"/>
                      <a:pt x="549" y="6864"/>
                    </a:cubicBezTo>
                    <a:cubicBezTo>
                      <a:pt x="765" y="7021"/>
                      <a:pt x="765" y="7021"/>
                      <a:pt x="765" y="7021"/>
                    </a:cubicBezTo>
                    <a:cubicBezTo>
                      <a:pt x="729" y="7076"/>
                      <a:pt x="729" y="7076"/>
                      <a:pt x="729" y="7076"/>
                    </a:cubicBezTo>
                    <a:cubicBezTo>
                      <a:pt x="792" y="7131"/>
                      <a:pt x="792" y="7131"/>
                      <a:pt x="792" y="7131"/>
                    </a:cubicBezTo>
                    <a:cubicBezTo>
                      <a:pt x="765" y="7221"/>
                      <a:pt x="765" y="7221"/>
                      <a:pt x="765" y="7221"/>
                    </a:cubicBezTo>
                    <a:cubicBezTo>
                      <a:pt x="907" y="7323"/>
                      <a:pt x="907" y="7323"/>
                      <a:pt x="907" y="7323"/>
                    </a:cubicBezTo>
                    <a:lnTo>
                      <a:pt x="1003" y="7056"/>
                    </a:lnTo>
                    <a:close/>
                    <a:moveTo>
                      <a:pt x="3572" y="7593"/>
                    </a:moveTo>
                    <a:cubicBezTo>
                      <a:pt x="3569" y="7592"/>
                      <a:pt x="3591" y="7589"/>
                      <a:pt x="3591" y="7589"/>
                    </a:cubicBezTo>
                    <a:cubicBezTo>
                      <a:pt x="3577" y="7512"/>
                      <a:pt x="3577" y="7512"/>
                      <a:pt x="3577" y="7512"/>
                    </a:cubicBezTo>
                    <a:cubicBezTo>
                      <a:pt x="3659" y="7496"/>
                      <a:pt x="3659" y="7496"/>
                      <a:pt x="3659" y="7496"/>
                    </a:cubicBezTo>
                    <a:cubicBezTo>
                      <a:pt x="3676" y="7575"/>
                      <a:pt x="3676" y="7575"/>
                      <a:pt x="3676" y="7575"/>
                    </a:cubicBezTo>
                    <a:cubicBezTo>
                      <a:pt x="3750" y="7562"/>
                      <a:pt x="3750" y="7562"/>
                      <a:pt x="3750" y="7562"/>
                    </a:cubicBezTo>
                    <a:cubicBezTo>
                      <a:pt x="3764" y="7647"/>
                      <a:pt x="3764" y="7647"/>
                      <a:pt x="3764" y="7647"/>
                    </a:cubicBezTo>
                    <a:cubicBezTo>
                      <a:pt x="3588" y="7673"/>
                      <a:pt x="3588" y="7673"/>
                      <a:pt x="3588" y="7673"/>
                    </a:cubicBezTo>
                    <a:cubicBezTo>
                      <a:pt x="3588" y="7673"/>
                      <a:pt x="3574" y="7594"/>
                      <a:pt x="3572" y="7593"/>
                    </a:cubicBezTo>
                    <a:close/>
                    <a:moveTo>
                      <a:pt x="3589" y="7603"/>
                    </a:moveTo>
                    <a:cubicBezTo>
                      <a:pt x="3591" y="7614"/>
                      <a:pt x="3594" y="7631"/>
                      <a:pt x="3599" y="7658"/>
                    </a:cubicBezTo>
                    <a:cubicBezTo>
                      <a:pt x="3748" y="7635"/>
                      <a:pt x="3748" y="7635"/>
                      <a:pt x="3748" y="7635"/>
                    </a:cubicBezTo>
                    <a:cubicBezTo>
                      <a:pt x="3739" y="7579"/>
                      <a:pt x="3739" y="7579"/>
                      <a:pt x="3739" y="7579"/>
                    </a:cubicBezTo>
                    <a:cubicBezTo>
                      <a:pt x="3678" y="7589"/>
                      <a:pt x="3678" y="7589"/>
                      <a:pt x="3678" y="7589"/>
                    </a:cubicBezTo>
                    <a:cubicBezTo>
                      <a:pt x="3665" y="7591"/>
                      <a:pt x="3665" y="7591"/>
                      <a:pt x="3665" y="7591"/>
                    </a:cubicBezTo>
                    <a:cubicBezTo>
                      <a:pt x="3662" y="7578"/>
                      <a:pt x="3662" y="7578"/>
                      <a:pt x="3662" y="7578"/>
                    </a:cubicBezTo>
                    <a:cubicBezTo>
                      <a:pt x="3648" y="7512"/>
                      <a:pt x="3648" y="7512"/>
                      <a:pt x="3648" y="7512"/>
                    </a:cubicBezTo>
                    <a:cubicBezTo>
                      <a:pt x="3594" y="7523"/>
                      <a:pt x="3594" y="7523"/>
                      <a:pt x="3594" y="7523"/>
                    </a:cubicBezTo>
                    <a:cubicBezTo>
                      <a:pt x="3605" y="7586"/>
                      <a:pt x="3605" y="7586"/>
                      <a:pt x="3605" y="7586"/>
                    </a:cubicBezTo>
                    <a:cubicBezTo>
                      <a:pt x="3607" y="7600"/>
                      <a:pt x="3607" y="7600"/>
                      <a:pt x="3607" y="7600"/>
                    </a:cubicBezTo>
                    <a:cubicBezTo>
                      <a:pt x="3593" y="7603"/>
                      <a:pt x="3593" y="7603"/>
                      <a:pt x="3593" y="7603"/>
                    </a:cubicBezTo>
                    <a:cubicBezTo>
                      <a:pt x="3592" y="7603"/>
                      <a:pt x="3590" y="7603"/>
                      <a:pt x="3589" y="7603"/>
                    </a:cubicBezTo>
                    <a:close/>
                    <a:moveTo>
                      <a:pt x="7748" y="9240"/>
                    </a:moveTo>
                    <a:cubicBezTo>
                      <a:pt x="7800" y="9294"/>
                      <a:pt x="7800" y="9294"/>
                      <a:pt x="7800" y="9294"/>
                    </a:cubicBezTo>
                    <a:cubicBezTo>
                      <a:pt x="7746" y="9347"/>
                      <a:pt x="7746" y="9347"/>
                      <a:pt x="7746" y="9347"/>
                    </a:cubicBezTo>
                    <a:cubicBezTo>
                      <a:pt x="7741" y="9342"/>
                      <a:pt x="7741" y="9342"/>
                      <a:pt x="7741" y="9342"/>
                    </a:cubicBezTo>
                    <a:cubicBezTo>
                      <a:pt x="7610" y="9203"/>
                      <a:pt x="7610" y="9203"/>
                      <a:pt x="7610" y="9203"/>
                    </a:cubicBezTo>
                    <a:cubicBezTo>
                      <a:pt x="7645" y="9168"/>
                      <a:pt x="7645" y="9168"/>
                      <a:pt x="7645" y="9168"/>
                    </a:cubicBezTo>
                    <a:cubicBezTo>
                      <a:pt x="7637" y="9160"/>
                      <a:pt x="7637" y="9160"/>
                      <a:pt x="7637" y="9160"/>
                    </a:cubicBezTo>
                    <a:cubicBezTo>
                      <a:pt x="7632" y="9155"/>
                      <a:pt x="7632" y="9155"/>
                      <a:pt x="7632" y="9155"/>
                    </a:cubicBezTo>
                    <a:cubicBezTo>
                      <a:pt x="7702" y="9088"/>
                      <a:pt x="7702" y="9088"/>
                      <a:pt x="7702" y="9088"/>
                    </a:cubicBezTo>
                    <a:cubicBezTo>
                      <a:pt x="7800" y="9189"/>
                      <a:pt x="7800" y="9189"/>
                      <a:pt x="7800" y="9189"/>
                    </a:cubicBezTo>
                    <a:lnTo>
                      <a:pt x="7748" y="9240"/>
                    </a:lnTo>
                    <a:close/>
                    <a:moveTo>
                      <a:pt x="7729" y="9240"/>
                    </a:moveTo>
                    <a:cubicBezTo>
                      <a:pt x="7781" y="9189"/>
                      <a:pt x="7781" y="9189"/>
                      <a:pt x="7781" y="9189"/>
                    </a:cubicBezTo>
                    <a:cubicBezTo>
                      <a:pt x="7701" y="9106"/>
                      <a:pt x="7701" y="9106"/>
                      <a:pt x="7701" y="9106"/>
                    </a:cubicBezTo>
                    <a:cubicBezTo>
                      <a:pt x="7651" y="9156"/>
                      <a:pt x="7651" y="9156"/>
                      <a:pt x="7651" y="9156"/>
                    </a:cubicBezTo>
                    <a:cubicBezTo>
                      <a:pt x="7659" y="9164"/>
                      <a:pt x="7659" y="9164"/>
                      <a:pt x="7659" y="9164"/>
                    </a:cubicBezTo>
                    <a:cubicBezTo>
                      <a:pt x="7664" y="9169"/>
                      <a:pt x="7664" y="9169"/>
                      <a:pt x="7664" y="9169"/>
                    </a:cubicBezTo>
                    <a:cubicBezTo>
                      <a:pt x="7628" y="9203"/>
                      <a:pt x="7628" y="9203"/>
                      <a:pt x="7628" y="9203"/>
                    </a:cubicBezTo>
                    <a:cubicBezTo>
                      <a:pt x="7746" y="9328"/>
                      <a:pt x="7746" y="9328"/>
                      <a:pt x="7746" y="9328"/>
                    </a:cubicBezTo>
                    <a:cubicBezTo>
                      <a:pt x="7782" y="9294"/>
                      <a:pt x="7782" y="9294"/>
                      <a:pt x="7782" y="9294"/>
                    </a:cubicBezTo>
                    <a:lnTo>
                      <a:pt x="7729" y="9240"/>
                    </a:lnTo>
                    <a:close/>
                    <a:moveTo>
                      <a:pt x="4759" y="10106"/>
                    </a:moveTo>
                    <a:cubicBezTo>
                      <a:pt x="4747" y="9852"/>
                      <a:pt x="4747" y="9852"/>
                      <a:pt x="4747" y="9852"/>
                    </a:cubicBezTo>
                    <a:cubicBezTo>
                      <a:pt x="4831" y="9849"/>
                      <a:pt x="4831" y="9849"/>
                      <a:pt x="4831" y="9849"/>
                    </a:cubicBezTo>
                    <a:cubicBezTo>
                      <a:pt x="4843" y="10109"/>
                      <a:pt x="4843" y="10109"/>
                      <a:pt x="4843" y="10109"/>
                    </a:cubicBezTo>
                    <a:cubicBezTo>
                      <a:pt x="4759" y="10112"/>
                      <a:pt x="4759" y="10112"/>
                      <a:pt x="4759" y="10112"/>
                    </a:cubicBezTo>
                    <a:lnTo>
                      <a:pt x="4759" y="10106"/>
                    </a:lnTo>
                    <a:close/>
                    <a:moveTo>
                      <a:pt x="4761" y="9865"/>
                    </a:moveTo>
                    <a:cubicBezTo>
                      <a:pt x="4772" y="10099"/>
                      <a:pt x="4772" y="10099"/>
                      <a:pt x="4772" y="10099"/>
                    </a:cubicBezTo>
                    <a:cubicBezTo>
                      <a:pt x="4829" y="10096"/>
                      <a:pt x="4829" y="10096"/>
                      <a:pt x="4829" y="10096"/>
                    </a:cubicBezTo>
                    <a:cubicBezTo>
                      <a:pt x="4819" y="9862"/>
                      <a:pt x="4819" y="9862"/>
                      <a:pt x="4819" y="9862"/>
                    </a:cubicBezTo>
                    <a:lnTo>
                      <a:pt x="4761" y="9865"/>
                    </a:lnTo>
                    <a:close/>
                    <a:moveTo>
                      <a:pt x="2612" y="10012"/>
                    </a:moveTo>
                    <a:cubicBezTo>
                      <a:pt x="2615" y="10013"/>
                      <a:pt x="2687" y="10061"/>
                      <a:pt x="2687" y="10061"/>
                    </a:cubicBezTo>
                    <a:cubicBezTo>
                      <a:pt x="2699" y="10069"/>
                      <a:pt x="2699" y="10069"/>
                      <a:pt x="2699" y="10069"/>
                    </a:cubicBezTo>
                    <a:cubicBezTo>
                      <a:pt x="2685" y="10074"/>
                      <a:pt x="2685" y="10074"/>
                      <a:pt x="2685" y="10074"/>
                    </a:cubicBezTo>
                    <a:cubicBezTo>
                      <a:pt x="2685" y="10074"/>
                      <a:pt x="2581" y="10110"/>
                      <a:pt x="2465" y="10110"/>
                    </a:cubicBezTo>
                    <a:cubicBezTo>
                      <a:pt x="2459" y="10110"/>
                      <a:pt x="2453" y="10110"/>
                      <a:pt x="2447" y="10110"/>
                    </a:cubicBezTo>
                    <a:cubicBezTo>
                      <a:pt x="2324" y="10106"/>
                      <a:pt x="2224" y="10077"/>
                      <a:pt x="2224" y="10077"/>
                    </a:cubicBezTo>
                    <a:cubicBezTo>
                      <a:pt x="2218" y="10076"/>
                      <a:pt x="2218" y="10076"/>
                      <a:pt x="2218" y="10076"/>
                    </a:cubicBezTo>
                    <a:cubicBezTo>
                      <a:pt x="2265" y="9517"/>
                      <a:pt x="2265" y="9517"/>
                      <a:pt x="2265" y="9517"/>
                    </a:cubicBezTo>
                    <a:cubicBezTo>
                      <a:pt x="2313" y="9529"/>
                      <a:pt x="2313" y="9529"/>
                      <a:pt x="2313" y="9529"/>
                    </a:cubicBezTo>
                    <a:cubicBezTo>
                      <a:pt x="2449" y="9940"/>
                      <a:pt x="2449" y="9940"/>
                      <a:pt x="2449" y="9940"/>
                    </a:cubicBezTo>
                    <a:cubicBezTo>
                      <a:pt x="2454" y="9945"/>
                      <a:pt x="2471" y="9958"/>
                      <a:pt x="2496" y="9972"/>
                    </a:cubicBezTo>
                    <a:cubicBezTo>
                      <a:pt x="2525" y="9989"/>
                      <a:pt x="2566" y="10007"/>
                      <a:pt x="2609" y="10011"/>
                    </a:cubicBezTo>
                    <a:cubicBezTo>
                      <a:pt x="2609" y="10011"/>
                      <a:pt x="2609" y="10011"/>
                      <a:pt x="2609" y="10011"/>
                    </a:cubicBezTo>
                    <a:cubicBezTo>
                      <a:pt x="2612" y="10011"/>
                      <a:pt x="2612" y="10012"/>
                      <a:pt x="2612" y="10012"/>
                    </a:cubicBezTo>
                    <a:close/>
                    <a:moveTo>
                      <a:pt x="2617" y="10032"/>
                    </a:moveTo>
                    <a:cubicBezTo>
                      <a:pt x="2613" y="10030"/>
                      <a:pt x="2610" y="10028"/>
                      <a:pt x="2608" y="10027"/>
                    </a:cubicBezTo>
                    <a:cubicBezTo>
                      <a:pt x="2608" y="10026"/>
                      <a:pt x="2607" y="10026"/>
                      <a:pt x="2607" y="10026"/>
                    </a:cubicBezTo>
                    <a:cubicBezTo>
                      <a:pt x="2514" y="10016"/>
                      <a:pt x="2438" y="9951"/>
                      <a:pt x="2438" y="9950"/>
                    </a:cubicBezTo>
                    <a:cubicBezTo>
                      <a:pt x="2436" y="9949"/>
                      <a:pt x="2436" y="9949"/>
                      <a:pt x="2436" y="9949"/>
                    </a:cubicBezTo>
                    <a:cubicBezTo>
                      <a:pt x="2302" y="9541"/>
                      <a:pt x="2302" y="9541"/>
                      <a:pt x="2302" y="9541"/>
                    </a:cubicBezTo>
                    <a:cubicBezTo>
                      <a:pt x="2278" y="9535"/>
                      <a:pt x="2278" y="9535"/>
                      <a:pt x="2278" y="9535"/>
                    </a:cubicBezTo>
                    <a:cubicBezTo>
                      <a:pt x="2234" y="10065"/>
                      <a:pt x="2234" y="10065"/>
                      <a:pt x="2234" y="10065"/>
                    </a:cubicBezTo>
                    <a:cubicBezTo>
                      <a:pt x="2257" y="10071"/>
                      <a:pt x="2344" y="10092"/>
                      <a:pt x="2448" y="10095"/>
                    </a:cubicBezTo>
                    <a:cubicBezTo>
                      <a:pt x="2453" y="10095"/>
                      <a:pt x="2459" y="10095"/>
                      <a:pt x="2465" y="10095"/>
                    </a:cubicBezTo>
                    <a:cubicBezTo>
                      <a:pt x="2521" y="10095"/>
                      <a:pt x="2575" y="10087"/>
                      <a:pt x="2615" y="10078"/>
                    </a:cubicBezTo>
                    <a:cubicBezTo>
                      <a:pt x="2637" y="10073"/>
                      <a:pt x="2655" y="10068"/>
                      <a:pt x="2666" y="10065"/>
                    </a:cubicBezTo>
                    <a:cubicBezTo>
                      <a:pt x="2659" y="10060"/>
                      <a:pt x="2651" y="10055"/>
                      <a:pt x="2642" y="10049"/>
                    </a:cubicBezTo>
                    <a:cubicBezTo>
                      <a:pt x="2633" y="10043"/>
                      <a:pt x="2624" y="10037"/>
                      <a:pt x="2617" y="10032"/>
                    </a:cubicBezTo>
                    <a:close/>
                    <a:moveTo>
                      <a:pt x="4799" y="9293"/>
                    </a:moveTo>
                    <a:cubicBezTo>
                      <a:pt x="4810" y="9553"/>
                      <a:pt x="4810" y="9553"/>
                      <a:pt x="4810" y="9553"/>
                    </a:cubicBezTo>
                    <a:cubicBezTo>
                      <a:pt x="4726" y="9556"/>
                      <a:pt x="4726" y="9556"/>
                      <a:pt x="4726" y="9556"/>
                    </a:cubicBezTo>
                    <a:cubicBezTo>
                      <a:pt x="4726" y="9550"/>
                      <a:pt x="4726" y="9550"/>
                      <a:pt x="4726" y="9550"/>
                    </a:cubicBezTo>
                    <a:cubicBezTo>
                      <a:pt x="4715" y="9297"/>
                      <a:pt x="4715" y="9297"/>
                      <a:pt x="4715" y="9297"/>
                    </a:cubicBezTo>
                    <a:lnTo>
                      <a:pt x="4799" y="9293"/>
                    </a:lnTo>
                    <a:close/>
                    <a:moveTo>
                      <a:pt x="4797" y="9540"/>
                    </a:moveTo>
                    <a:cubicBezTo>
                      <a:pt x="4786" y="9307"/>
                      <a:pt x="4786" y="9307"/>
                      <a:pt x="4786" y="9307"/>
                    </a:cubicBezTo>
                    <a:cubicBezTo>
                      <a:pt x="4728" y="9309"/>
                      <a:pt x="4728" y="9309"/>
                      <a:pt x="4728" y="9309"/>
                    </a:cubicBezTo>
                    <a:cubicBezTo>
                      <a:pt x="4739" y="9543"/>
                      <a:pt x="4739" y="9543"/>
                      <a:pt x="4739" y="9543"/>
                    </a:cubicBezTo>
                    <a:lnTo>
                      <a:pt x="4797" y="9540"/>
                    </a:lnTo>
                    <a:close/>
                    <a:moveTo>
                      <a:pt x="5573" y="9448"/>
                    </a:moveTo>
                    <a:cubicBezTo>
                      <a:pt x="5430" y="9423"/>
                      <a:pt x="5430" y="9423"/>
                      <a:pt x="5430" y="9423"/>
                    </a:cubicBezTo>
                    <a:cubicBezTo>
                      <a:pt x="5442" y="9352"/>
                      <a:pt x="5442" y="9352"/>
                      <a:pt x="5442" y="9352"/>
                    </a:cubicBezTo>
                    <a:cubicBezTo>
                      <a:pt x="5591" y="9379"/>
                      <a:pt x="5591" y="9379"/>
                      <a:pt x="5591" y="9379"/>
                    </a:cubicBezTo>
                    <a:cubicBezTo>
                      <a:pt x="5579" y="9449"/>
                      <a:pt x="5579" y="9449"/>
                      <a:pt x="5579" y="9449"/>
                    </a:cubicBezTo>
                    <a:lnTo>
                      <a:pt x="5573" y="9448"/>
                    </a:lnTo>
                    <a:close/>
                    <a:moveTo>
                      <a:pt x="5569" y="9434"/>
                    </a:moveTo>
                    <a:cubicBezTo>
                      <a:pt x="5577" y="9389"/>
                      <a:pt x="5577" y="9389"/>
                      <a:pt x="5577" y="9389"/>
                    </a:cubicBezTo>
                    <a:cubicBezTo>
                      <a:pt x="5453" y="9367"/>
                      <a:pt x="5453" y="9367"/>
                      <a:pt x="5453" y="9367"/>
                    </a:cubicBezTo>
                    <a:cubicBezTo>
                      <a:pt x="5445" y="9412"/>
                      <a:pt x="5445" y="9412"/>
                      <a:pt x="5445" y="9412"/>
                    </a:cubicBezTo>
                    <a:lnTo>
                      <a:pt x="5569" y="9434"/>
                    </a:lnTo>
                    <a:close/>
                    <a:moveTo>
                      <a:pt x="4413" y="9519"/>
                    </a:moveTo>
                    <a:cubicBezTo>
                      <a:pt x="4341" y="9543"/>
                      <a:pt x="4341" y="9543"/>
                      <a:pt x="4341" y="9543"/>
                    </a:cubicBezTo>
                    <a:cubicBezTo>
                      <a:pt x="4339" y="9536"/>
                      <a:pt x="4339" y="9536"/>
                      <a:pt x="4339" y="9536"/>
                    </a:cubicBezTo>
                    <a:cubicBezTo>
                      <a:pt x="4281" y="9353"/>
                      <a:pt x="4281" y="9353"/>
                      <a:pt x="4281" y="9353"/>
                    </a:cubicBezTo>
                    <a:cubicBezTo>
                      <a:pt x="4328" y="9338"/>
                      <a:pt x="4328" y="9338"/>
                      <a:pt x="4328" y="9338"/>
                    </a:cubicBezTo>
                    <a:cubicBezTo>
                      <a:pt x="4325" y="9327"/>
                      <a:pt x="4325" y="9327"/>
                      <a:pt x="4325" y="9327"/>
                    </a:cubicBezTo>
                    <a:cubicBezTo>
                      <a:pt x="4322" y="9321"/>
                      <a:pt x="4322" y="9321"/>
                      <a:pt x="4322" y="9321"/>
                    </a:cubicBezTo>
                    <a:cubicBezTo>
                      <a:pt x="4414" y="9290"/>
                      <a:pt x="4414" y="9290"/>
                      <a:pt x="4414" y="9290"/>
                    </a:cubicBezTo>
                    <a:cubicBezTo>
                      <a:pt x="4459" y="9424"/>
                      <a:pt x="4459" y="9424"/>
                      <a:pt x="4459" y="9424"/>
                    </a:cubicBezTo>
                    <a:cubicBezTo>
                      <a:pt x="4389" y="9447"/>
                      <a:pt x="4389" y="9447"/>
                      <a:pt x="4389" y="9447"/>
                    </a:cubicBezTo>
                    <a:lnTo>
                      <a:pt x="4413" y="9519"/>
                    </a:lnTo>
                    <a:close/>
                    <a:moveTo>
                      <a:pt x="4349" y="9526"/>
                    </a:moveTo>
                    <a:cubicBezTo>
                      <a:pt x="4396" y="9511"/>
                      <a:pt x="4396" y="9511"/>
                      <a:pt x="4396" y="9511"/>
                    </a:cubicBezTo>
                    <a:cubicBezTo>
                      <a:pt x="4373" y="9439"/>
                      <a:pt x="4373" y="9439"/>
                      <a:pt x="4373" y="9439"/>
                    </a:cubicBezTo>
                    <a:cubicBezTo>
                      <a:pt x="4442" y="9416"/>
                      <a:pt x="4442" y="9416"/>
                      <a:pt x="4442" y="9416"/>
                    </a:cubicBezTo>
                    <a:cubicBezTo>
                      <a:pt x="4406" y="9307"/>
                      <a:pt x="4406" y="9307"/>
                      <a:pt x="4406" y="9307"/>
                    </a:cubicBezTo>
                    <a:cubicBezTo>
                      <a:pt x="4339" y="9329"/>
                      <a:pt x="4339" y="9329"/>
                      <a:pt x="4339" y="9329"/>
                    </a:cubicBezTo>
                    <a:cubicBezTo>
                      <a:pt x="4343" y="9340"/>
                      <a:pt x="4343" y="9340"/>
                      <a:pt x="4343" y="9340"/>
                    </a:cubicBezTo>
                    <a:cubicBezTo>
                      <a:pt x="4345" y="9346"/>
                      <a:pt x="4345" y="9346"/>
                      <a:pt x="4345" y="9346"/>
                    </a:cubicBezTo>
                    <a:cubicBezTo>
                      <a:pt x="4298" y="9362"/>
                      <a:pt x="4298" y="9362"/>
                      <a:pt x="4298" y="9362"/>
                    </a:cubicBezTo>
                    <a:lnTo>
                      <a:pt x="4349" y="9526"/>
                    </a:lnTo>
                    <a:close/>
                    <a:moveTo>
                      <a:pt x="2400" y="9273"/>
                    </a:moveTo>
                    <a:cubicBezTo>
                      <a:pt x="2640" y="9917"/>
                      <a:pt x="2640" y="9917"/>
                      <a:pt x="2640" y="9917"/>
                    </a:cubicBezTo>
                    <a:cubicBezTo>
                      <a:pt x="2627" y="9915"/>
                      <a:pt x="2627" y="9915"/>
                      <a:pt x="2627" y="9915"/>
                    </a:cubicBezTo>
                    <a:cubicBezTo>
                      <a:pt x="2627" y="9915"/>
                      <a:pt x="2517" y="9897"/>
                      <a:pt x="2476" y="9842"/>
                    </a:cubicBezTo>
                    <a:cubicBezTo>
                      <a:pt x="2476" y="9842"/>
                      <a:pt x="2476" y="9842"/>
                      <a:pt x="2476" y="9842"/>
                    </a:cubicBezTo>
                    <a:cubicBezTo>
                      <a:pt x="2475" y="9841"/>
                      <a:pt x="2475" y="9841"/>
                      <a:pt x="2475" y="9841"/>
                    </a:cubicBezTo>
                    <a:cubicBezTo>
                      <a:pt x="2475" y="9839"/>
                      <a:pt x="2364" y="9503"/>
                      <a:pt x="2351" y="9463"/>
                    </a:cubicBezTo>
                    <a:cubicBezTo>
                      <a:pt x="2270" y="9442"/>
                      <a:pt x="2270" y="9442"/>
                      <a:pt x="2270" y="9442"/>
                    </a:cubicBezTo>
                    <a:cubicBezTo>
                      <a:pt x="2243" y="9344"/>
                      <a:pt x="2243" y="9344"/>
                      <a:pt x="2243" y="9344"/>
                    </a:cubicBezTo>
                    <a:lnTo>
                      <a:pt x="2400" y="9273"/>
                    </a:lnTo>
                    <a:close/>
                    <a:moveTo>
                      <a:pt x="2617" y="9898"/>
                    </a:moveTo>
                    <a:cubicBezTo>
                      <a:pt x="2392" y="9293"/>
                      <a:pt x="2392" y="9293"/>
                      <a:pt x="2392" y="9293"/>
                    </a:cubicBezTo>
                    <a:cubicBezTo>
                      <a:pt x="2261" y="9353"/>
                      <a:pt x="2261" y="9353"/>
                      <a:pt x="2261" y="9353"/>
                    </a:cubicBezTo>
                    <a:cubicBezTo>
                      <a:pt x="2282" y="9430"/>
                      <a:pt x="2282" y="9430"/>
                      <a:pt x="2282" y="9430"/>
                    </a:cubicBezTo>
                    <a:cubicBezTo>
                      <a:pt x="2362" y="9451"/>
                      <a:pt x="2362" y="9451"/>
                      <a:pt x="2362" y="9451"/>
                    </a:cubicBezTo>
                    <a:cubicBezTo>
                      <a:pt x="2364" y="9455"/>
                      <a:pt x="2364" y="9455"/>
                      <a:pt x="2364" y="9455"/>
                    </a:cubicBezTo>
                    <a:cubicBezTo>
                      <a:pt x="2364" y="9455"/>
                      <a:pt x="2482" y="9814"/>
                      <a:pt x="2489" y="9835"/>
                    </a:cubicBezTo>
                    <a:cubicBezTo>
                      <a:pt x="2506" y="9858"/>
                      <a:pt x="2541" y="9875"/>
                      <a:pt x="2572" y="9885"/>
                    </a:cubicBezTo>
                    <a:cubicBezTo>
                      <a:pt x="2590" y="9891"/>
                      <a:pt x="2606" y="9896"/>
                      <a:pt x="2617" y="9898"/>
                    </a:cubicBezTo>
                    <a:close/>
                    <a:moveTo>
                      <a:pt x="5432" y="9680"/>
                    </a:moveTo>
                    <a:cubicBezTo>
                      <a:pt x="5583" y="9683"/>
                      <a:pt x="5583" y="9683"/>
                      <a:pt x="5583" y="9683"/>
                    </a:cubicBezTo>
                    <a:cubicBezTo>
                      <a:pt x="5582" y="9754"/>
                      <a:pt x="5582" y="9754"/>
                      <a:pt x="5582" y="9754"/>
                    </a:cubicBezTo>
                    <a:cubicBezTo>
                      <a:pt x="5576" y="9754"/>
                      <a:pt x="5576" y="9754"/>
                      <a:pt x="5576" y="9754"/>
                    </a:cubicBezTo>
                    <a:cubicBezTo>
                      <a:pt x="5431" y="9752"/>
                      <a:pt x="5431" y="9752"/>
                      <a:pt x="5431" y="9752"/>
                    </a:cubicBezTo>
                    <a:lnTo>
                      <a:pt x="5432" y="9680"/>
                    </a:lnTo>
                    <a:close/>
                    <a:moveTo>
                      <a:pt x="5444" y="9739"/>
                    </a:moveTo>
                    <a:cubicBezTo>
                      <a:pt x="5569" y="9741"/>
                      <a:pt x="5569" y="9741"/>
                      <a:pt x="5569" y="9741"/>
                    </a:cubicBezTo>
                    <a:cubicBezTo>
                      <a:pt x="5570" y="9695"/>
                      <a:pt x="5570" y="9695"/>
                      <a:pt x="5570" y="9695"/>
                    </a:cubicBezTo>
                    <a:cubicBezTo>
                      <a:pt x="5445" y="9693"/>
                      <a:pt x="5445" y="9693"/>
                      <a:pt x="5445" y="9693"/>
                    </a:cubicBezTo>
                    <a:lnTo>
                      <a:pt x="5444" y="9739"/>
                    </a:lnTo>
                    <a:close/>
                    <a:moveTo>
                      <a:pt x="1912" y="10206"/>
                    </a:moveTo>
                    <a:cubicBezTo>
                      <a:pt x="2073" y="10156"/>
                      <a:pt x="2073" y="10156"/>
                      <a:pt x="2073" y="10156"/>
                    </a:cubicBezTo>
                    <a:cubicBezTo>
                      <a:pt x="2041" y="10323"/>
                      <a:pt x="2041" y="10323"/>
                      <a:pt x="2041" y="10323"/>
                    </a:cubicBezTo>
                    <a:cubicBezTo>
                      <a:pt x="1914" y="10369"/>
                      <a:pt x="1914" y="10369"/>
                      <a:pt x="1914" y="10369"/>
                    </a:cubicBezTo>
                    <a:cubicBezTo>
                      <a:pt x="1778" y="10506"/>
                      <a:pt x="1778" y="10506"/>
                      <a:pt x="1778" y="10506"/>
                    </a:cubicBezTo>
                    <a:cubicBezTo>
                      <a:pt x="1653" y="10433"/>
                      <a:pt x="1653" y="10433"/>
                      <a:pt x="1653" y="10433"/>
                    </a:cubicBezTo>
                    <a:cubicBezTo>
                      <a:pt x="1668" y="10203"/>
                      <a:pt x="1668" y="10203"/>
                      <a:pt x="1668" y="10203"/>
                    </a:cubicBezTo>
                    <a:cubicBezTo>
                      <a:pt x="1810" y="10146"/>
                      <a:pt x="1810" y="10146"/>
                      <a:pt x="1810" y="10146"/>
                    </a:cubicBezTo>
                    <a:cubicBezTo>
                      <a:pt x="1798" y="10288"/>
                      <a:pt x="1798" y="10288"/>
                      <a:pt x="1798" y="10288"/>
                    </a:cubicBezTo>
                    <a:lnTo>
                      <a:pt x="1912" y="10206"/>
                    </a:lnTo>
                    <a:close/>
                    <a:moveTo>
                      <a:pt x="1918" y="10219"/>
                    </a:moveTo>
                    <a:cubicBezTo>
                      <a:pt x="1806" y="10299"/>
                      <a:pt x="1806" y="10299"/>
                      <a:pt x="1806" y="10299"/>
                    </a:cubicBezTo>
                    <a:cubicBezTo>
                      <a:pt x="1781" y="10317"/>
                      <a:pt x="1781" y="10317"/>
                      <a:pt x="1781" y="10317"/>
                    </a:cubicBezTo>
                    <a:cubicBezTo>
                      <a:pt x="1784" y="10287"/>
                      <a:pt x="1784" y="10287"/>
                      <a:pt x="1784" y="10287"/>
                    </a:cubicBezTo>
                    <a:cubicBezTo>
                      <a:pt x="1794" y="10167"/>
                      <a:pt x="1794" y="10167"/>
                      <a:pt x="1794" y="10167"/>
                    </a:cubicBezTo>
                    <a:cubicBezTo>
                      <a:pt x="1681" y="10212"/>
                      <a:pt x="1681" y="10212"/>
                      <a:pt x="1681" y="10212"/>
                    </a:cubicBezTo>
                    <a:cubicBezTo>
                      <a:pt x="1668" y="10425"/>
                      <a:pt x="1668" y="10425"/>
                      <a:pt x="1668" y="10425"/>
                    </a:cubicBezTo>
                    <a:cubicBezTo>
                      <a:pt x="1776" y="10489"/>
                      <a:pt x="1776" y="10489"/>
                      <a:pt x="1776" y="10489"/>
                    </a:cubicBezTo>
                    <a:cubicBezTo>
                      <a:pt x="1904" y="10359"/>
                      <a:pt x="1904" y="10359"/>
                      <a:pt x="1904" y="10359"/>
                    </a:cubicBezTo>
                    <a:cubicBezTo>
                      <a:pt x="1906" y="10357"/>
                      <a:pt x="1906" y="10357"/>
                      <a:pt x="1906" y="10357"/>
                    </a:cubicBezTo>
                    <a:cubicBezTo>
                      <a:pt x="1909" y="10356"/>
                      <a:pt x="1909" y="10356"/>
                      <a:pt x="1909" y="10356"/>
                    </a:cubicBezTo>
                    <a:cubicBezTo>
                      <a:pt x="2028" y="10312"/>
                      <a:pt x="2028" y="10312"/>
                      <a:pt x="2028" y="10312"/>
                    </a:cubicBezTo>
                    <a:cubicBezTo>
                      <a:pt x="2055" y="10176"/>
                      <a:pt x="2055" y="10176"/>
                      <a:pt x="2055" y="10176"/>
                    </a:cubicBezTo>
                    <a:lnTo>
                      <a:pt x="1918" y="10219"/>
                    </a:lnTo>
                    <a:close/>
                    <a:moveTo>
                      <a:pt x="5407" y="9207"/>
                    </a:moveTo>
                    <a:cubicBezTo>
                      <a:pt x="5556" y="9233"/>
                      <a:pt x="5556" y="9233"/>
                      <a:pt x="5556" y="9233"/>
                    </a:cubicBezTo>
                    <a:cubicBezTo>
                      <a:pt x="5544" y="9303"/>
                      <a:pt x="5544" y="9303"/>
                      <a:pt x="5544" y="9303"/>
                    </a:cubicBezTo>
                    <a:cubicBezTo>
                      <a:pt x="5538" y="9302"/>
                      <a:pt x="5538" y="9302"/>
                      <a:pt x="5538" y="9302"/>
                    </a:cubicBezTo>
                    <a:cubicBezTo>
                      <a:pt x="5395" y="9277"/>
                      <a:pt x="5395" y="9277"/>
                      <a:pt x="5395" y="9277"/>
                    </a:cubicBezTo>
                    <a:lnTo>
                      <a:pt x="5407" y="9207"/>
                    </a:lnTo>
                    <a:close/>
                    <a:moveTo>
                      <a:pt x="5410" y="9267"/>
                    </a:moveTo>
                    <a:cubicBezTo>
                      <a:pt x="5534" y="9288"/>
                      <a:pt x="5534" y="9288"/>
                      <a:pt x="5534" y="9288"/>
                    </a:cubicBezTo>
                    <a:cubicBezTo>
                      <a:pt x="5541" y="9243"/>
                      <a:pt x="5541" y="9243"/>
                      <a:pt x="5541" y="9243"/>
                    </a:cubicBezTo>
                    <a:cubicBezTo>
                      <a:pt x="5418" y="9221"/>
                      <a:pt x="5418" y="9221"/>
                      <a:pt x="5418" y="9221"/>
                    </a:cubicBezTo>
                    <a:lnTo>
                      <a:pt x="5410" y="9267"/>
                    </a:lnTo>
                    <a:close/>
                    <a:moveTo>
                      <a:pt x="8032" y="7550"/>
                    </a:moveTo>
                    <a:cubicBezTo>
                      <a:pt x="7929" y="7439"/>
                      <a:pt x="7929" y="7439"/>
                      <a:pt x="7929" y="7439"/>
                    </a:cubicBezTo>
                    <a:cubicBezTo>
                      <a:pt x="7985" y="7388"/>
                      <a:pt x="7985" y="7388"/>
                      <a:pt x="7985" y="7388"/>
                    </a:cubicBezTo>
                    <a:cubicBezTo>
                      <a:pt x="7989" y="7392"/>
                      <a:pt x="7989" y="7392"/>
                      <a:pt x="7989" y="7392"/>
                    </a:cubicBezTo>
                    <a:cubicBezTo>
                      <a:pt x="8088" y="7499"/>
                      <a:pt x="8088" y="7499"/>
                      <a:pt x="8088" y="7499"/>
                    </a:cubicBezTo>
                    <a:lnTo>
                      <a:pt x="8032" y="7550"/>
                    </a:lnTo>
                    <a:close/>
                    <a:moveTo>
                      <a:pt x="7948" y="7440"/>
                    </a:moveTo>
                    <a:cubicBezTo>
                      <a:pt x="8033" y="7532"/>
                      <a:pt x="8033" y="7532"/>
                      <a:pt x="8033" y="7532"/>
                    </a:cubicBezTo>
                    <a:cubicBezTo>
                      <a:pt x="8070" y="7498"/>
                      <a:pt x="8070" y="7498"/>
                      <a:pt x="8070" y="7498"/>
                    </a:cubicBezTo>
                    <a:cubicBezTo>
                      <a:pt x="7984" y="7406"/>
                      <a:pt x="7984" y="7406"/>
                      <a:pt x="7984" y="7406"/>
                    </a:cubicBezTo>
                    <a:lnTo>
                      <a:pt x="7948" y="7440"/>
                    </a:lnTo>
                    <a:close/>
                    <a:moveTo>
                      <a:pt x="5581" y="9873"/>
                    </a:moveTo>
                    <a:cubicBezTo>
                      <a:pt x="5595" y="9977"/>
                      <a:pt x="5595" y="9977"/>
                      <a:pt x="5595" y="9977"/>
                    </a:cubicBezTo>
                    <a:cubicBezTo>
                      <a:pt x="5448" y="9996"/>
                      <a:pt x="5448" y="9996"/>
                      <a:pt x="5448" y="9996"/>
                    </a:cubicBezTo>
                    <a:cubicBezTo>
                      <a:pt x="5447" y="9989"/>
                      <a:pt x="5447" y="9989"/>
                      <a:pt x="5447" y="9989"/>
                    </a:cubicBezTo>
                    <a:cubicBezTo>
                      <a:pt x="5435" y="9892"/>
                      <a:pt x="5435" y="9892"/>
                      <a:pt x="5435" y="9892"/>
                    </a:cubicBezTo>
                    <a:lnTo>
                      <a:pt x="5581" y="9873"/>
                    </a:lnTo>
                    <a:close/>
                    <a:moveTo>
                      <a:pt x="5580" y="9965"/>
                    </a:moveTo>
                    <a:cubicBezTo>
                      <a:pt x="5570" y="9888"/>
                      <a:pt x="5570" y="9888"/>
                      <a:pt x="5570" y="9888"/>
                    </a:cubicBezTo>
                    <a:cubicBezTo>
                      <a:pt x="5449" y="9903"/>
                      <a:pt x="5449" y="9903"/>
                      <a:pt x="5449" y="9903"/>
                    </a:cubicBezTo>
                    <a:cubicBezTo>
                      <a:pt x="5459" y="9981"/>
                      <a:pt x="5459" y="9981"/>
                      <a:pt x="5459" y="9981"/>
                    </a:cubicBezTo>
                    <a:lnTo>
                      <a:pt x="5580" y="9965"/>
                    </a:lnTo>
                    <a:close/>
                    <a:moveTo>
                      <a:pt x="7628" y="7535"/>
                    </a:moveTo>
                    <a:cubicBezTo>
                      <a:pt x="7712" y="7654"/>
                      <a:pt x="7712" y="7654"/>
                      <a:pt x="7712" y="7654"/>
                    </a:cubicBezTo>
                    <a:cubicBezTo>
                      <a:pt x="7650" y="7697"/>
                      <a:pt x="7650" y="7697"/>
                      <a:pt x="7650" y="7697"/>
                    </a:cubicBezTo>
                    <a:cubicBezTo>
                      <a:pt x="7563" y="7574"/>
                      <a:pt x="7563" y="7574"/>
                      <a:pt x="7563" y="7574"/>
                    </a:cubicBezTo>
                    <a:cubicBezTo>
                      <a:pt x="7625" y="7530"/>
                      <a:pt x="7625" y="7530"/>
                      <a:pt x="7625" y="7530"/>
                    </a:cubicBezTo>
                    <a:lnTo>
                      <a:pt x="7628" y="7535"/>
                    </a:lnTo>
                    <a:close/>
                    <a:moveTo>
                      <a:pt x="7693" y="7651"/>
                    </a:moveTo>
                    <a:cubicBezTo>
                      <a:pt x="7621" y="7548"/>
                      <a:pt x="7621" y="7548"/>
                      <a:pt x="7621" y="7548"/>
                    </a:cubicBezTo>
                    <a:cubicBezTo>
                      <a:pt x="7581" y="7577"/>
                      <a:pt x="7581" y="7577"/>
                      <a:pt x="7581" y="7577"/>
                    </a:cubicBezTo>
                    <a:cubicBezTo>
                      <a:pt x="7653" y="7679"/>
                      <a:pt x="7653" y="7679"/>
                      <a:pt x="7653" y="7679"/>
                    </a:cubicBezTo>
                    <a:lnTo>
                      <a:pt x="7693" y="7651"/>
                    </a:lnTo>
                    <a:close/>
                    <a:moveTo>
                      <a:pt x="7815" y="7475"/>
                    </a:moveTo>
                    <a:cubicBezTo>
                      <a:pt x="7914" y="7581"/>
                      <a:pt x="7914" y="7581"/>
                      <a:pt x="7914" y="7581"/>
                    </a:cubicBezTo>
                    <a:cubicBezTo>
                      <a:pt x="7858" y="7633"/>
                      <a:pt x="7858" y="7633"/>
                      <a:pt x="7858" y="7633"/>
                    </a:cubicBezTo>
                    <a:cubicBezTo>
                      <a:pt x="7755" y="7521"/>
                      <a:pt x="7755" y="7521"/>
                      <a:pt x="7755" y="7521"/>
                    </a:cubicBezTo>
                    <a:cubicBezTo>
                      <a:pt x="7811" y="7470"/>
                      <a:pt x="7811" y="7470"/>
                      <a:pt x="7811" y="7470"/>
                    </a:cubicBezTo>
                    <a:lnTo>
                      <a:pt x="7815" y="7475"/>
                    </a:lnTo>
                    <a:close/>
                    <a:moveTo>
                      <a:pt x="7895" y="7580"/>
                    </a:moveTo>
                    <a:cubicBezTo>
                      <a:pt x="7810" y="7488"/>
                      <a:pt x="7810" y="7488"/>
                      <a:pt x="7810" y="7488"/>
                    </a:cubicBezTo>
                    <a:cubicBezTo>
                      <a:pt x="7774" y="7522"/>
                      <a:pt x="7774" y="7522"/>
                      <a:pt x="7774" y="7522"/>
                    </a:cubicBezTo>
                    <a:cubicBezTo>
                      <a:pt x="7859" y="7614"/>
                      <a:pt x="7859" y="7614"/>
                      <a:pt x="7859" y="7614"/>
                    </a:cubicBezTo>
                    <a:lnTo>
                      <a:pt x="7895" y="7580"/>
                    </a:lnTo>
                    <a:close/>
                    <a:moveTo>
                      <a:pt x="8271" y="7239"/>
                    </a:moveTo>
                    <a:cubicBezTo>
                      <a:pt x="8312" y="7176"/>
                      <a:pt x="8312" y="7176"/>
                      <a:pt x="8312" y="7176"/>
                    </a:cubicBezTo>
                    <a:cubicBezTo>
                      <a:pt x="8318" y="7180"/>
                      <a:pt x="8318" y="7180"/>
                      <a:pt x="8318" y="7180"/>
                    </a:cubicBezTo>
                    <a:cubicBezTo>
                      <a:pt x="8439" y="7259"/>
                      <a:pt x="8439" y="7259"/>
                      <a:pt x="8439" y="7259"/>
                    </a:cubicBezTo>
                    <a:cubicBezTo>
                      <a:pt x="8397" y="7322"/>
                      <a:pt x="8397" y="7322"/>
                      <a:pt x="8397" y="7322"/>
                    </a:cubicBezTo>
                    <a:lnTo>
                      <a:pt x="8271" y="7239"/>
                    </a:lnTo>
                    <a:close/>
                    <a:moveTo>
                      <a:pt x="8289" y="7236"/>
                    </a:moveTo>
                    <a:cubicBezTo>
                      <a:pt x="8394" y="7304"/>
                      <a:pt x="8394" y="7304"/>
                      <a:pt x="8394" y="7304"/>
                    </a:cubicBezTo>
                    <a:cubicBezTo>
                      <a:pt x="8421" y="7263"/>
                      <a:pt x="8421" y="7263"/>
                      <a:pt x="8421" y="7263"/>
                    </a:cubicBezTo>
                    <a:cubicBezTo>
                      <a:pt x="8316" y="7194"/>
                      <a:pt x="8316" y="7194"/>
                      <a:pt x="8316" y="7194"/>
                    </a:cubicBezTo>
                    <a:lnTo>
                      <a:pt x="8289" y="7236"/>
                    </a:lnTo>
                    <a:close/>
                    <a:moveTo>
                      <a:pt x="8447" y="7121"/>
                    </a:moveTo>
                    <a:cubicBezTo>
                      <a:pt x="8378" y="7090"/>
                      <a:pt x="8378" y="7090"/>
                      <a:pt x="8378" y="7090"/>
                    </a:cubicBezTo>
                    <a:cubicBezTo>
                      <a:pt x="8439" y="6951"/>
                      <a:pt x="8439" y="6951"/>
                      <a:pt x="8439" y="6951"/>
                    </a:cubicBezTo>
                    <a:cubicBezTo>
                      <a:pt x="8508" y="6982"/>
                      <a:pt x="8508" y="6982"/>
                      <a:pt x="8508" y="6982"/>
                    </a:cubicBezTo>
                    <a:cubicBezTo>
                      <a:pt x="8506" y="6988"/>
                      <a:pt x="8506" y="6988"/>
                      <a:pt x="8506" y="6988"/>
                    </a:cubicBezTo>
                    <a:lnTo>
                      <a:pt x="8447" y="7121"/>
                    </a:lnTo>
                    <a:close/>
                    <a:moveTo>
                      <a:pt x="8440" y="7103"/>
                    </a:moveTo>
                    <a:cubicBezTo>
                      <a:pt x="8491" y="6989"/>
                      <a:pt x="8491" y="6989"/>
                      <a:pt x="8491" y="6989"/>
                    </a:cubicBezTo>
                    <a:cubicBezTo>
                      <a:pt x="8446" y="6969"/>
                      <a:pt x="8446" y="6969"/>
                      <a:pt x="8446" y="6969"/>
                    </a:cubicBezTo>
                    <a:cubicBezTo>
                      <a:pt x="8395" y="7083"/>
                      <a:pt x="8395" y="7083"/>
                      <a:pt x="8395" y="7083"/>
                    </a:cubicBezTo>
                    <a:lnTo>
                      <a:pt x="8440" y="7103"/>
                    </a:lnTo>
                    <a:close/>
                    <a:moveTo>
                      <a:pt x="4309" y="10821"/>
                    </a:moveTo>
                    <a:cubicBezTo>
                      <a:pt x="4335" y="10821"/>
                      <a:pt x="4335" y="10821"/>
                      <a:pt x="4335" y="10821"/>
                    </a:cubicBezTo>
                    <a:cubicBezTo>
                      <a:pt x="4403" y="10772"/>
                      <a:pt x="4403" y="10772"/>
                      <a:pt x="4403" y="10772"/>
                    </a:cubicBezTo>
                    <a:cubicBezTo>
                      <a:pt x="4430" y="10821"/>
                      <a:pt x="4430" y="10821"/>
                      <a:pt x="4430" y="10821"/>
                    </a:cubicBezTo>
                    <a:cubicBezTo>
                      <a:pt x="4447" y="10821"/>
                      <a:pt x="4447" y="10821"/>
                      <a:pt x="4447" y="10821"/>
                    </a:cubicBezTo>
                    <a:cubicBezTo>
                      <a:pt x="4408" y="10751"/>
                      <a:pt x="4408" y="10751"/>
                      <a:pt x="4408" y="10751"/>
                    </a:cubicBezTo>
                    <a:lnTo>
                      <a:pt x="4309" y="10821"/>
                    </a:lnTo>
                    <a:close/>
                    <a:moveTo>
                      <a:pt x="1240" y="7451"/>
                    </a:moveTo>
                    <a:cubicBezTo>
                      <a:pt x="1238" y="7451"/>
                      <a:pt x="1109" y="7335"/>
                      <a:pt x="1109" y="7335"/>
                    </a:cubicBezTo>
                    <a:cubicBezTo>
                      <a:pt x="1164" y="7268"/>
                      <a:pt x="1164" y="7268"/>
                      <a:pt x="1164" y="7268"/>
                    </a:cubicBezTo>
                    <a:cubicBezTo>
                      <a:pt x="1297" y="7387"/>
                      <a:pt x="1297" y="7387"/>
                      <a:pt x="1297" y="7387"/>
                    </a:cubicBezTo>
                    <a:lnTo>
                      <a:pt x="1240" y="7451"/>
                    </a:lnTo>
                    <a:close/>
                    <a:moveTo>
                      <a:pt x="1239" y="7431"/>
                    </a:moveTo>
                    <a:cubicBezTo>
                      <a:pt x="1278" y="7388"/>
                      <a:pt x="1278" y="7388"/>
                      <a:pt x="1278" y="7388"/>
                    </a:cubicBezTo>
                    <a:cubicBezTo>
                      <a:pt x="1166" y="7288"/>
                      <a:pt x="1166" y="7288"/>
                      <a:pt x="1166" y="7288"/>
                    </a:cubicBezTo>
                    <a:cubicBezTo>
                      <a:pt x="1128" y="7333"/>
                      <a:pt x="1128" y="7333"/>
                      <a:pt x="1128" y="7333"/>
                    </a:cubicBezTo>
                    <a:cubicBezTo>
                      <a:pt x="1166" y="7367"/>
                      <a:pt x="1218" y="7413"/>
                      <a:pt x="1239" y="7431"/>
                    </a:cubicBezTo>
                    <a:close/>
                    <a:moveTo>
                      <a:pt x="7503" y="7712"/>
                    </a:moveTo>
                    <a:cubicBezTo>
                      <a:pt x="7359" y="7695"/>
                      <a:pt x="7359" y="7695"/>
                      <a:pt x="7359" y="7695"/>
                    </a:cubicBezTo>
                    <a:cubicBezTo>
                      <a:pt x="7368" y="7619"/>
                      <a:pt x="7368" y="7619"/>
                      <a:pt x="7368" y="7619"/>
                    </a:cubicBezTo>
                    <a:cubicBezTo>
                      <a:pt x="7518" y="7638"/>
                      <a:pt x="7518" y="7638"/>
                      <a:pt x="7518" y="7638"/>
                    </a:cubicBezTo>
                    <a:cubicBezTo>
                      <a:pt x="7509" y="7713"/>
                      <a:pt x="7509" y="7713"/>
                      <a:pt x="7509" y="7713"/>
                    </a:cubicBezTo>
                    <a:lnTo>
                      <a:pt x="7503" y="7712"/>
                    </a:lnTo>
                    <a:close/>
                    <a:moveTo>
                      <a:pt x="7498" y="7698"/>
                    </a:moveTo>
                    <a:cubicBezTo>
                      <a:pt x="7504" y="7649"/>
                      <a:pt x="7504" y="7649"/>
                      <a:pt x="7504" y="7649"/>
                    </a:cubicBezTo>
                    <a:cubicBezTo>
                      <a:pt x="7379" y="7634"/>
                      <a:pt x="7379" y="7634"/>
                      <a:pt x="7379" y="7634"/>
                    </a:cubicBezTo>
                    <a:cubicBezTo>
                      <a:pt x="7373" y="7683"/>
                      <a:pt x="7373" y="7683"/>
                      <a:pt x="7373" y="7683"/>
                    </a:cubicBezTo>
                    <a:lnTo>
                      <a:pt x="7498" y="7698"/>
                    </a:lnTo>
                    <a:close/>
                    <a:moveTo>
                      <a:pt x="535" y="8037"/>
                    </a:moveTo>
                    <a:cubicBezTo>
                      <a:pt x="688" y="7864"/>
                      <a:pt x="688" y="7864"/>
                      <a:pt x="688" y="7864"/>
                    </a:cubicBezTo>
                    <a:cubicBezTo>
                      <a:pt x="867" y="8032"/>
                      <a:pt x="867" y="8032"/>
                      <a:pt x="867" y="8032"/>
                    </a:cubicBezTo>
                    <a:cubicBezTo>
                      <a:pt x="862" y="8037"/>
                      <a:pt x="862" y="8037"/>
                      <a:pt x="862" y="8037"/>
                    </a:cubicBezTo>
                    <a:cubicBezTo>
                      <a:pt x="814" y="8088"/>
                      <a:pt x="814" y="8088"/>
                      <a:pt x="814" y="8088"/>
                    </a:cubicBezTo>
                    <a:cubicBezTo>
                      <a:pt x="758" y="8032"/>
                      <a:pt x="758" y="8032"/>
                      <a:pt x="758" y="8032"/>
                    </a:cubicBezTo>
                    <a:cubicBezTo>
                      <a:pt x="721" y="8153"/>
                      <a:pt x="721" y="8153"/>
                      <a:pt x="721" y="8153"/>
                    </a:cubicBezTo>
                    <a:cubicBezTo>
                      <a:pt x="706" y="8152"/>
                      <a:pt x="706" y="8152"/>
                      <a:pt x="706" y="8152"/>
                    </a:cubicBezTo>
                    <a:cubicBezTo>
                      <a:pt x="685" y="8024"/>
                      <a:pt x="685" y="8024"/>
                      <a:pt x="685" y="8024"/>
                    </a:cubicBezTo>
                    <a:cubicBezTo>
                      <a:pt x="616" y="8123"/>
                      <a:pt x="616" y="8123"/>
                      <a:pt x="616" y="8123"/>
                    </a:cubicBezTo>
                    <a:lnTo>
                      <a:pt x="535" y="8037"/>
                    </a:lnTo>
                    <a:close/>
                    <a:moveTo>
                      <a:pt x="555" y="8036"/>
                    </a:moveTo>
                    <a:cubicBezTo>
                      <a:pt x="614" y="8100"/>
                      <a:pt x="614" y="8100"/>
                      <a:pt x="614" y="8100"/>
                    </a:cubicBezTo>
                    <a:cubicBezTo>
                      <a:pt x="694" y="7985"/>
                      <a:pt x="694" y="7985"/>
                      <a:pt x="694" y="7985"/>
                    </a:cubicBezTo>
                    <a:cubicBezTo>
                      <a:pt x="716" y="8119"/>
                      <a:pt x="716" y="8119"/>
                      <a:pt x="716" y="8119"/>
                    </a:cubicBezTo>
                    <a:cubicBezTo>
                      <a:pt x="751" y="8004"/>
                      <a:pt x="751" y="8004"/>
                      <a:pt x="751" y="8004"/>
                    </a:cubicBezTo>
                    <a:cubicBezTo>
                      <a:pt x="813" y="8066"/>
                      <a:pt x="813" y="8066"/>
                      <a:pt x="813" y="8066"/>
                    </a:cubicBezTo>
                    <a:cubicBezTo>
                      <a:pt x="846" y="8032"/>
                      <a:pt x="846" y="8032"/>
                      <a:pt x="846" y="8032"/>
                    </a:cubicBezTo>
                    <a:cubicBezTo>
                      <a:pt x="689" y="7885"/>
                      <a:pt x="689" y="7885"/>
                      <a:pt x="689" y="7885"/>
                    </a:cubicBezTo>
                    <a:lnTo>
                      <a:pt x="555" y="8036"/>
                    </a:lnTo>
                    <a:close/>
                    <a:moveTo>
                      <a:pt x="968" y="8445"/>
                    </a:moveTo>
                    <a:cubicBezTo>
                      <a:pt x="837" y="8317"/>
                      <a:pt x="837" y="8317"/>
                      <a:pt x="837" y="8317"/>
                    </a:cubicBezTo>
                    <a:cubicBezTo>
                      <a:pt x="942" y="8232"/>
                      <a:pt x="942" y="8232"/>
                      <a:pt x="942" y="8232"/>
                    </a:cubicBezTo>
                    <a:cubicBezTo>
                      <a:pt x="1019" y="8335"/>
                      <a:pt x="1019" y="8335"/>
                      <a:pt x="1019" y="8335"/>
                    </a:cubicBezTo>
                    <a:cubicBezTo>
                      <a:pt x="1017" y="8339"/>
                      <a:pt x="1017" y="8339"/>
                      <a:pt x="1017" y="8339"/>
                    </a:cubicBezTo>
                    <a:lnTo>
                      <a:pt x="968" y="8445"/>
                    </a:lnTo>
                    <a:close/>
                    <a:moveTo>
                      <a:pt x="963" y="8420"/>
                    </a:moveTo>
                    <a:cubicBezTo>
                      <a:pt x="1002" y="8336"/>
                      <a:pt x="1002" y="8336"/>
                      <a:pt x="1002" y="8336"/>
                    </a:cubicBezTo>
                    <a:cubicBezTo>
                      <a:pt x="939" y="8253"/>
                      <a:pt x="939" y="8253"/>
                      <a:pt x="939" y="8253"/>
                    </a:cubicBezTo>
                    <a:cubicBezTo>
                      <a:pt x="859" y="8318"/>
                      <a:pt x="859" y="8318"/>
                      <a:pt x="859" y="8318"/>
                    </a:cubicBezTo>
                    <a:lnTo>
                      <a:pt x="963" y="8420"/>
                    </a:lnTo>
                    <a:close/>
                    <a:moveTo>
                      <a:pt x="724" y="8400"/>
                    </a:moveTo>
                    <a:cubicBezTo>
                      <a:pt x="803" y="8354"/>
                      <a:pt x="803" y="8354"/>
                      <a:pt x="803" y="8354"/>
                    </a:cubicBezTo>
                    <a:cubicBezTo>
                      <a:pt x="934" y="8481"/>
                      <a:pt x="934" y="8481"/>
                      <a:pt x="934" y="8481"/>
                    </a:cubicBezTo>
                    <a:cubicBezTo>
                      <a:pt x="931" y="8486"/>
                      <a:pt x="931" y="8486"/>
                      <a:pt x="931" y="8486"/>
                    </a:cubicBezTo>
                    <a:cubicBezTo>
                      <a:pt x="902" y="8541"/>
                      <a:pt x="902" y="8541"/>
                      <a:pt x="902" y="8541"/>
                    </a:cubicBezTo>
                    <a:cubicBezTo>
                      <a:pt x="845" y="8545"/>
                      <a:pt x="845" y="8545"/>
                      <a:pt x="845" y="8545"/>
                    </a:cubicBezTo>
                    <a:lnTo>
                      <a:pt x="724" y="8400"/>
                    </a:lnTo>
                    <a:close/>
                    <a:moveTo>
                      <a:pt x="801" y="8372"/>
                    </a:moveTo>
                    <a:cubicBezTo>
                      <a:pt x="747" y="8404"/>
                      <a:pt x="747" y="8404"/>
                      <a:pt x="747" y="8404"/>
                    </a:cubicBezTo>
                    <a:cubicBezTo>
                      <a:pt x="851" y="8530"/>
                      <a:pt x="851" y="8530"/>
                      <a:pt x="851" y="8530"/>
                    </a:cubicBezTo>
                    <a:cubicBezTo>
                      <a:pt x="893" y="8527"/>
                      <a:pt x="893" y="8527"/>
                      <a:pt x="893" y="8527"/>
                    </a:cubicBezTo>
                    <a:cubicBezTo>
                      <a:pt x="916" y="8484"/>
                      <a:pt x="916" y="8484"/>
                      <a:pt x="916" y="8484"/>
                    </a:cubicBezTo>
                    <a:lnTo>
                      <a:pt x="801" y="8372"/>
                    </a:lnTo>
                    <a:close/>
                    <a:moveTo>
                      <a:pt x="8132" y="7310"/>
                    </a:moveTo>
                    <a:cubicBezTo>
                      <a:pt x="8253" y="7389"/>
                      <a:pt x="8253" y="7389"/>
                      <a:pt x="8253" y="7389"/>
                    </a:cubicBezTo>
                    <a:cubicBezTo>
                      <a:pt x="8212" y="7453"/>
                      <a:pt x="8212" y="7453"/>
                      <a:pt x="8212" y="7453"/>
                    </a:cubicBezTo>
                    <a:cubicBezTo>
                      <a:pt x="8085" y="7370"/>
                      <a:pt x="8085" y="7370"/>
                      <a:pt x="8085" y="7370"/>
                    </a:cubicBezTo>
                    <a:cubicBezTo>
                      <a:pt x="8126" y="7306"/>
                      <a:pt x="8126" y="7306"/>
                      <a:pt x="8126" y="7306"/>
                    </a:cubicBezTo>
                    <a:lnTo>
                      <a:pt x="8132" y="7310"/>
                    </a:lnTo>
                    <a:close/>
                    <a:moveTo>
                      <a:pt x="8235" y="7393"/>
                    </a:moveTo>
                    <a:cubicBezTo>
                      <a:pt x="8130" y="7325"/>
                      <a:pt x="8130" y="7325"/>
                      <a:pt x="8130" y="7325"/>
                    </a:cubicBezTo>
                    <a:cubicBezTo>
                      <a:pt x="8103" y="7366"/>
                      <a:pt x="8103" y="7366"/>
                      <a:pt x="8103" y="7366"/>
                    </a:cubicBezTo>
                    <a:cubicBezTo>
                      <a:pt x="8208" y="7435"/>
                      <a:pt x="8208" y="7435"/>
                      <a:pt x="8208" y="7435"/>
                    </a:cubicBezTo>
                    <a:lnTo>
                      <a:pt x="8235" y="7393"/>
                    </a:lnTo>
                    <a:close/>
                    <a:moveTo>
                      <a:pt x="936" y="7785"/>
                    </a:moveTo>
                    <a:cubicBezTo>
                      <a:pt x="991" y="7759"/>
                      <a:pt x="991" y="7759"/>
                      <a:pt x="991" y="7759"/>
                    </a:cubicBezTo>
                    <a:cubicBezTo>
                      <a:pt x="976" y="7716"/>
                      <a:pt x="976" y="7716"/>
                      <a:pt x="976" y="7716"/>
                    </a:cubicBezTo>
                    <a:cubicBezTo>
                      <a:pt x="1067" y="7679"/>
                      <a:pt x="1067" y="7679"/>
                      <a:pt x="1067" y="7679"/>
                    </a:cubicBezTo>
                    <a:cubicBezTo>
                      <a:pt x="1101" y="7777"/>
                      <a:pt x="1101" y="7777"/>
                      <a:pt x="1101" y="7777"/>
                    </a:cubicBezTo>
                    <a:cubicBezTo>
                      <a:pt x="1045" y="7800"/>
                      <a:pt x="1045" y="7800"/>
                      <a:pt x="1045" y="7800"/>
                    </a:cubicBezTo>
                    <a:cubicBezTo>
                      <a:pt x="1052" y="7819"/>
                      <a:pt x="1052" y="7819"/>
                      <a:pt x="1052" y="7819"/>
                    </a:cubicBezTo>
                    <a:cubicBezTo>
                      <a:pt x="1083" y="7809"/>
                      <a:pt x="1083" y="7809"/>
                      <a:pt x="1083" y="7809"/>
                    </a:cubicBezTo>
                    <a:cubicBezTo>
                      <a:pt x="1116" y="7908"/>
                      <a:pt x="1116" y="7908"/>
                      <a:pt x="1116" y="7908"/>
                    </a:cubicBezTo>
                    <a:cubicBezTo>
                      <a:pt x="1059" y="7932"/>
                      <a:pt x="1059" y="7932"/>
                      <a:pt x="1059" y="7932"/>
                    </a:cubicBezTo>
                    <a:cubicBezTo>
                      <a:pt x="1072" y="7974"/>
                      <a:pt x="1072" y="7974"/>
                      <a:pt x="1072" y="7974"/>
                    </a:cubicBezTo>
                    <a:cubicBezTo>
                      <a:pt x="984" y="8009"/>
                      <a:pt x="984" y="8009"/>
                      <a:pt x="984" y="8009"/>
                    </a:cubicBezTo>
                    <a:cubicBezTo>
                      <a:pt x="949" y="7915"/>
                      <a:pt x="949" y="7915"/>
                      <a:pt x="949" y="7915"/>
                    </a:cubicBezTo>
                    <a:cubicBezTo>
                      <a:pt x="1005" y="7889"/>
                      <a:pt x="1005" y="7889"/>
                      <a:pt x="1005" y="7889"/>
                    </a:cubicBezTo>
                    <a:cubicBezTo>
                      <a:pt x="999" y="7871"/>
                      <a:pt x="999" y="7871"/>
                      <a:pt x="999" y="7871"/>
                    </a:cubicBezTo>
                    <a:cubicBezTo>
                      <a:pt x="967" y="7880"/>
                      <a:pt x="967" y="7880"/>
                      <a:pt x="967" y="7880"/>
                    </a:cubicBezTo>
                    <a:lnTo>
                      <a:pt x="936" y="7785"/>
                    </a:lnTo>
                    <a:close/>
                    <a:moveTo>
                      <a:pt x="1008" y="7766"/>
                    </a:moveTo>
                    <a:cubicBezTo>
                      <a:pt x="997" y="7772"/>
                      <a:pt x="997" y="7772"/>
                      <a:pt x="997" y="7772"/>
                    </a:cubicBezTo>
                    <a:cubicBezTo>
                      <a:pt x="953" y="7792"/>
                      <a:pt x="953" y="7792"/>
                      <a:pt x="953" y="7792"/>
                    </a:cubicBezTo>
                    <a:cubicBezTo>
                      <a:pt x="976" y="7863"/>
                      <a:pt x="976" y="7863"/>
                      <a:pt x="976" y="7863"/>
                    </a:cubicBezTo>
                    <a:cubicBezTo>
                      <a:pt x="995" y="7857"/>
                      <a:pt x="995" y="7857"/>
                      <a:pt x="995" y="7857"/>
                    </a:cubicBezTo>
                    <a:cubicBezTo>
                      <a:pt x="1008" y="7854"/>
                      <a:pt x="1008" y="7854"/>
                      <a:pt x="1008" y="7854"/>
                    </a:cubicBezTo>
                    <a:cubicBezTo>
                      <a:pt x="1012" y="7866"/>
                      <a:pt x="1012" y="7866"/>
                      <a:pt x="1012" y="7866"/>
                    </a:cubicBezTo>
                    <a:cubicBezTo>
                      <a:pt x="1019" y="7885"/>
                      <a:pt x="1019" y="7885"/>
                      <a:pt x="1019" y="7885"/>
                    </a:cubicBezTo>
                    <a:cubicBezTo>
                      <a:pt x="1023" y="7897"/>
                      <a:pt x="1023" y="7897"/>
                      <a:pt x="1023" y="7897"/>
                    </a:cubicBezTo>
                    <a:cubicBezTo>
                      <a:pt x="1011" y="7902"/>
                      <a:pt x="1011" y="7902"/>
                      <a:pt x="1011" y="7902"/>
                    </a:cubicBezTo>
                    <a:cubicBezTo>
                      <a:pt x="967" y="7922"/>
                      <a:pt x="967" y="7922"/>
                      <a:pt x="967" y="7922"/>
                    </a:cubicBezTo>
                    <a:cubicBezTo>
                      <a:pt x="992" y="7991"/>
                      <a:pt x="992" y="7991"/>
                      <a:pt x="992" y="7991"/>
                    </a:cubicBezTo>
                    <a:cubicBezTo>
                      <a:pt x="1055" y="7966"/>
                      <a:pt x="1055" y="7966"/>
                      <a:pt x="1055" y="7966"/>
                    </a:cubicBezTo>
                    <a:cubicBezTo>
                      <a:pt x="1045" y="7936"/>
                      <a:pt x="1045" y="7936"/>
                      <a:pt x="1045" y="7936"/>
                    </a:cubicBezTo>
                    <a:cubicBezTo>
                      <a:pt x="1042" y="7924"/>
                      <a:pt x="1042" y="7924"/>
                      <a:pt x="1042" y="7924"/>
                    </a:cubicBezTo>
                    <a:cubicBezTo>
                      <a:pt x="1053" y="7919"/>
                      <a:pt x="1053" y="7919"/>
                      <a:pt x="1053" y="7919"/>
                    </a:cubicBezTo>
                    <a:cubicBezTo>
                      <a:pt x="1099" y="7900"/>
                      <a:pt x="1099" y="7900"/>
                      <a:pt x="1099" y="7900"/>
                    </a:cubicBezTo>
                    <a:cubicBezTo>
                      <a:pt x="1074" y="7827"/>
                      <a:pt x="1074" y="7827"/>
                      <a:pt x="1074" y="7827"/>
                    </a:cubicBezTo>
                    <a:cubicBezTo>
                      <a:pt x="1057" y="7833"/>
                      <a:pt x="1057" y="7833"/>
                      <a:pt x="1057" y="7833"/>
                    </a:cubicBezTo>
                    <a:cubicBezTo>
                      <a:pt x="1044" y="7837"/>
                      <a:pt x="1044" y="7837"/>
                      <a:pt x="1044" y="7837"/>
                    </a:cubicBezTo>
                    <a:cubicBezTo>
                      <a:pt x="1039" y="7824"/>
                      <a:pt x="1039" y="7824"/>
                      <a:pt x="1039" y="7824"/>
                    </a:cubicBezTo>
                    <a:cubicBezTo>
                      <a:pt x="1032" y="7805"/>
                      <a:pt x="1032" y="7805"/>
                      <a:pt x="1032" y="7805"/>
                    </a:cubicBezTo>
                    <a:cubicBezTo>
                      <a:pt x="1028" y="7792"/>
                      <a:pt x="1028" y="7792"/>
                      <a:pt x="1028" y="7792"/>
                    </a:cubicBezTo>
                    <a:cubicBezTo>
                      <a:pt x="1040" y="7787"/>
                      <a:pt x="1040" y="7787"/>
                      <a:pt x="1040" y="7787"/>
                    </a:cubicBezTo>
                    <a:cubicBezTo>
                      <a:pt x="1083" y="7769"/>
                      <a:pt x="1083" y="7769"/>
                      <a:pt x="1083" y="7769"/>
                    </a:cubicBezTo>
                    <a:cubicBezTo>
                      <a:pt x="1058" y="7698"/>
                      <a:pt x="1058" y="7698"/>
                      <a:pt x="1058" y="7698"/>
                    </a:cubicBezTo>
                    <a:cubicBezTo>
                      <a:pt x="993" y="7724"/>
                      <a:pt x="993" y="7724"/>
                      <a:pt x="993" y="7724"/>
                    </a:cubicBezTo>
                    <a:cubicBezTo>
                      <a:pt x="1004" y="7754"/>
                      <a:pt x="1004" y="7754"/>
                      <a:pt x="1004" y="7754"/>
                    </a:cubicBezTo>
                    <a:lnTo>
                      <a:pt x="1008" y="7766"/>
                    </a:lnTo>
                    <a:close/>
                    <a:moveTo>
                      <a:pt x="1038" y="7509"/>
                    </a:moveTo>
                    <a:cubicBezTo>
                      <a:pt x="1041" y="7500"/>
                      <a:pt x="1041" y="7500"/>
                      <a:pt x="1041" y="7500"/>
                    </a:cubicBezTo>
                    <a:cubicBezTo>
                      <a:pt x="1057" y="7450"/>
                      <a:pt x="1057" y="7450"/>
                      <a:pt x="1057" y="7450"/>
                    </a:cubicBezTo>
                    <a:cubicBezTo>
                      <a:pt x="1063" y="7430"/>
                      <a:pt x="1063" y="7430"/>
                      <a:pt x="1063" y="7430"/>
                    </a:cubicBezTo>
                    <a:cubicBezTo>
                      <a:pt x="1079" y="7444"/>
                      <a:pt x="1079" y="7444"/>
                      <a:pt x="1079" y="7444"/>
                    </a:cubicBezTo>
                    <a:cubicBezTo>
                      <a:pt x="1203" y="7553"/>
                      <a:pt x="1203" y="7553"/>
                      <a:pt x="1203" y="7553"/>
                    </a:cubicBezTo>
                    <a:cubicBezTo>
                      <a:pt x="1211" y="7559"/>
                      <a:pt x="1211" y="7559"/>
                      <a:pt x="1211" y="7559"/>
                    </a:cubicBezTo>
                    <a:cubicBezTo>
                      <a:pt x="1207" y="7568"/>
                      <a:pt x="1207" y="7568"/>
                      <a:pt x="1207" y="7568"/>
                    </a:cubicBezTo>
                    <a:cubicBezTo>
                      <a:pt x="1188" y="7618"/>
                      <a:pt x="1188" y="7618"/>
                      <a:pt x="1188" y="7618"/>
                    </a:cubicBezTo>
                    <a:cubicBezTo>
                      <a:pt x="1181" y="7636"/>
                      <a:pt x="1181" y="7636"/>
                      <a:pt x="1181" y="7636"/>
                    </a:cubicBezTo>
                    <a:cubicBezTo>
                      <a:pt x="1166" y="7623"/>
                      <a:pt x="1166" y="7623"/>
                      <a:pt x="1166" y="7623"/>
                    </a:cubicBezTo>
                    <a:cubicBezTo>
                      <a:pt x="1045" y="7515"/>
                      <a:pt x="1045" y="7515"/>
                      <a:pt x="1045" y="7515"/>
                    </a:cubicBezTo>
                    <a:lnTo>
                      <a:pt x="1038" y="7509"/>
                    </a:lnTo>
                    <a:close/>
                    <a:moveTo>
                      <a:pt x="1054" y="7504"/>
                    </a:moveTo>
                    <a:cubicBezTo>
                      <a:pt x="1175" y="7612"/>
                      <a:pt x="1175" y="7612"/>
                      <a:pt x="1175" y="7612"/>
                    </a:cubicBezTo>
                    <a:cubicBezTo>
                      <a:pt x="1194" y="7563"/>
                      <a:pt x="1194" y="7563"/>
                      <a:pt x="1194" y="7563"/>
                    </a:cubicBezTo>
                    <a:cubicBezTo>
                      <a:pt x="1070" y="7455"/>
                      <a:pt x="1070" y="7455"/>
                      <a:pt x="1070" y="7455"/>
                    </a:cubicBezTo>
                    <a:lnTo>
                      <a:pt x="1054" y="7504"/>
                    </a:lnTo>
                    <a:close/>
                    <a:moveTo>
                      <a:pt x="434" y="8638"/>
                    </a:moveTo>
                    <a:cubicBezTo>
                      <a:pt x="675" y="8444"/>
                      <a:pt x="675" y="8444"/>
                      <a:pt x="675" y="8444"/>
                    </a:cubicBezTo>
                    <a:cubicBezTo>
                      <a:pt x="675" y="8460"/>
                      <a:pt x="675" y="8460"/>
                      <a:pt x="675" y="8460"/>
                    </a:cubicBezTo>
                    <a:cubicBezTo>
                      <a:pt x="671" y="8651"/>
                      <a:pt x="671" y="8651"/>
                      <a:pt x="671" y="8651"/>
                    </a:cubicBezTo>
                    <a:cubicBezTo>
                      <a:pt x="537" y="8745"/>
                      <a:pt x="537" y="8745"/>
                      <a:pt x="537" y="8745"/>
                    </a:cubicBezTo>
                    <a:lnTo>
                      <a:pt x="434" y="8638"/>
                    </a:lnTo>
                    <a:close/>
                    <a:moveTo>
                      <a:pt x="660" y="8476"/>
                    </a:moveTo>
                    <a:cubicBezTo>
                      <a:pt x="456" y="8640"/>
                      <a:pt x="456" y="8640"/>
                      <a:pt x="456" y="8640"/>
                    </a:cubicBezTo>
                    <a:cubicBezTo>
                      <a:pt x="539" y="8726"/>
                      <a:pt x="539" y="8726"/>
                      <a:pt x="539" y="8726"/>
                    </a:cubicBezTo>
                    <a:cubicBezTo>
                      <a:pt x="656" y="8643"/>
                      <a:pt x="656" y="8643"/>
                      <a:pt x="656" y="8643"/>
                    </a:cubicBezTo>
                    <a:lnTo>
                      <a:pt x="660" y="8476"/>
                    </a:lnTo>
                    <a:close/>
                    <a:moveTo>
                      <a:pt x="2640" y="9117"/>
                    </a:moveTo>
                    <a:cubicBezTo>
                      <a:pt x="3163" y="9863"/>
                      <a:pt x="3163" y="9863"/>
                      <a:pt x="3163" y="9863"/>
                    </a:cubicBezTo>
                    <a:cubicBezTo>
                      <a:pt x="3157" y="9867"/>
                      <a:pt x="3157" y="9867"/>
                      <a:pt x="3157" y="9867"/>
                    </a:cubicBezTo>
                    <a:cubicBezTo>
                      <a:pt x="3022" y="9960"/>
                      <a:pt x="3022" y="9960"/>
                      <a:pt x="3022" y="9960"/>
                    </a:cubicBezTo>
                    <a:cubicBezTo>
                      <a:pt x="2873" y="9760"/>
                      <a:pt x="2873" y="9760"/>
                      <a:pt x="2873" y="9760"/>
                    </a:cubicBezTo>
                    <a:cubicBezTo>
                      <a:pt x="2931" y="9754"/>
                      <a:pt x="2931" y="9754"/>
                      <a:pt x="2931" y="9754"/>
                    </a:cubicBezTo>
                    <a:cubicBezTo>
                      <a:pt x="2644" y="9348"/>
                      <a:pt x="2644" y="9348"/>
                      <a:pt x="2644" y="9348"/>
                    </a:cubicBezTo>
                    <a:cubicBezTo>
                      <a:pt x="2641" y="9350"/>
                      <a:pt x="2641" y="9350"/>
                      <a:pt x="2641" y="9350"/>
                    </a:cubicBezTo>
                    <a:cubicBezTo>
                      <a:pt x="2837" y="9907"/>
                      <a:pt x="2837" y="9907"/>
                      <a:pt x="2837" y="9907"/>
                    </a:cubicBezTo>
                    <a:cubicBezTo>
                      <a:pt x="2896" y="9850"/>
                      <a:pt x="2896" y="9850"/>
                      <a:pt x="2896" y="9850"/>
                    </a:cubicBezTo>
                    <a:cubicBezTo>
                      <a:pt x="2941" y="10005"/>
                      <a:pt x="2941" y="10005"/>
                      <a:pt x="2941" y="10005"/>
                    </a:cubicBezTo>
                    <a:cubicBezTo>
                      <a:pt x="2799" y="10070"/>
                      <a:pt x="2799" y="10070"/>
                      <a:pt x="2799" y="10070"/>
                    </a:cubicBezTo>
                    <a:cubicBezTo>
                      <a:pt x="2468" y="9217"/>
                      <a:pt x="2468" y="9217"/>
                      <a:pt x="2468" y="9217"/>
                    </a:cubicBezTo>
                    <a:lnTo>
                      <a:pt x="2640" y="9117"/>
                    </a:lnTo>
                    <a:close/>
                    <a:moveTo>
                      <a:pt x="3143" y="9859"/>
                    </a:moveTo>
                    <a:cubicBezTo>
                      <a:pt x="2636" y="9137"/>
                      <a:pt x="2636" y="9137"/>
                      <a:pt x="2636" y="9137"/>
                    </a:cubicBezTo>
                    <a:cubicBezTo>
                      <a:pt x="2486" y="9224"/>
                      <a:pt x="2486" y="9224"/>
                      <a:pt x="2486" y="9224"/>
                    </a:cubicBezTo>
                    <a:cubicBezTo>
                      <a:pt x="2807" y="10050"/>
                      <a:pt x="2807" y="10050"/>
                      <a:pt x="2807" y="10050"/>
                    </a:cubicBezTo>
                    <a:cubicBezTo>
                      <a:pt x="2923" y="9997"/>
                      <a:pt x="2923" y="9997"/>
                      <a:pt x="2923" y="9997"/>
                    </a:cubicBezTo>
                    <a:cubicBezTo>
                      <a:pt x="2888" y="9878"/>
                      <a:pt x="2888" y="9878"/>
                      <a:pt x="2888" y="9878"/>
                    </a:cubicBezTo>
                    <a:cubicBezTo>
                      <a:pt x="2830" y="9933"/>
                      <a:pt x="2830" y="9933"/>
                      <a:pt x="2830" y="9933"/>
                    </a:cubicBezTo>
                    <a:cubicBezTo>
                      <a:pt x="2624" y="9345"/>
                      <a:pt x="2624" y="9345"/>
                      <a:pt x="2624" y="9345"/>
                    </a:cubicBezTo>
                    <a:cubicBezTo>
                      <a:pt x="2648" y="9328"/>
                      <a:pt x="2648" y="9328"/>
                      <a:pt x="2648" y="9328"/>
                    </a:cubicBezTo>
                    <a:cubicBezTo>
                      <a:pt x="2957" y="9766"/>
                      <a:pt x="2957" y="9766"/>
                      <a:pt x="2957" y="9766"/>
                    </a:cubicBezTo>
                    <a:cubicBezTo>
                      <a:pt x="2900" y="9772"/>
                      <a:pt x="2900" y="9772"/>
                      <a:pt x="2900" y="9772"/>
                    </a:cubicBezTo>
                    <a:cubicBezTo>
                      <a:pt x="3025" y="9940"/>
                      <a:pt x="3025" y="9940"/>
                      <a:pt x="3025" y="9940"/>
                    </a:cubicBezTo>
                    <a:lnTo>
                      <a:pt x="3143" y="9859"/>
                    </a:lnTo>
                    <a:close/>
                    <a:moveTo>
                      <a:pt x="975" y="7531"/>
                    </a:moveTo>
                    <a:cubicBezTo>
                      <a:pt x="1041" y="7350"/>
                      <a:pt x="1041" y="7350"/>
                      <a:pt x="1041" y="7350"/>
                    </a:cubicBezTo>
                    <a:cubicBezTo>
                      <a:pt x="1244" y="7524"/>
                      <a:pt x="1244" y="7524"/>
                      <a:pt x="1244" y="7524"/>
                    </a:cubicBezTo>
                    <a:cubicBezTo>
                      <a:pt x="1362" y="7385"/>
                      <a:pt x="1362" y="7385"/>
                      <a:pt x="1362" y="7385"/>
                    </a:cubicBezTo>
                    <a:cubicBezTo>
                      <a:pt x="1505" y="7478"/>
                      <a:pt x="1505" y="7478"/>
                      <a:pt x="1505" y="7478"/>
                    </a:cubicBezTo>
                    <a:cubicBezTo>
                      <a:pt x="1418" y="7604"/>
                      <a:pt x="1418" y="7604"/>
                      <a:pt x="1418" y="7604"/>
                    </a:cubicBezTo>
                    <a:cubicBezTo>
                      <a:pt x="1344" y="7604"/>
                      <a:pt x="1344" y="7604"/>
                      <a:pt x="1344" y="7604"/>
                    </a:cubicBezTo>
                    <a:cubicBezTo>
                      <a:pt x="1312" y="7648"/>
                      <a:pt x="1312" y="7648"/>
                      <a:pt x="1312" y="7648"/>
                    </a:cubicBezTo>
                    <a:cubicBezTo>
                      <a:pt x="1325" y="7724"/>
                      <a:pt x="1325" y="7724"/>
                      <a:pt x="1325" y="7724"/>
                    </a:cubicBezTo>
                    <a:cubicBezTo>
                      <a:pt x="1262" y="7819"/>
                      <a:pt x="1262" y="7819"/>
                      <a:pt x="1262" y="7819"/>
                    </a:cubicBezTo>
                    <a:cubicBezTo>
                      <a:pt x="1197" y="7865"/>
                      <a:pt x="1197" y="7865"/>
                      <a:pt x="1197" y="7865"/>
                    </a:cubicBezTo>
                    <a:cubicBezTo>
                      <a:pt x="1123" y="7661"/>
                      <a:pt x="1123" y="7661"/>
                      <a:pt x="1123" y="7661"/>
                    </a:cubicBezTo>
                    <a:lnTo>
                      <a:pt x="975" y="7531"/>
                    </a:lnTo>
                    <a:close/>
                    <a:moveTo>
                      <a:pt x="991" y="7527"/>
                    </a:moveTo>
                    <a:cubicBezTo>
                      <a:pt x="1132" y="7651"/>
                      <a:pt x="1132" y="7651"/>
                      <a:pt x="1132" y="7651"/>
                    </a:cubicBezTo>
                    <a:cubicBezTo>
                      <a:pt x="1135" y="7653"/>
                      <a:pt x="1135" y="7653"/>
                      <a:pt x="1135" y="7653"/>
                    </a:cubicBezTo>
                    <a:cubicBezTo>
                      <a:pt x="1136" y="7656"/>
                      <a:pt x="1136" y="7656"/>
                      <a:pt x="1136" y="7656"/>
                    </a:cubicBezTo>
                    <a:cubicBezTo>
                      <a:pt x="1204" y="7843"/>
                      <a:pt x="1204" y="7843"/>
                      <a:pt x="1204" y="7843"/>
                    </a:cubicBezTo>
                    <a:cubicBezTo>
                      <a:pt x="1252" y="7809"/>
                      <a:pt x="1252" y="7809"/>
                      <a:pt x="1252" y="7809"/>
                    </a:cubicBezTo>
                    <a:cubicBezTo>
                      <a:pt x="1310" y="7721"/>
                      <a:pt x="1310" y="7721"/>
                      <a:pt x="1310" y="7721"/>
                    </a:cubicBezTo>
                    <a:cubicBezTo>
                      <a:pt x="1298" y="7651"/>
                      <a:pt x="1298" y="7651"/>
                      <a:pt x="1298" y="7651"/>
                    </a:cubicBezTo>
                    <a:cubicBezTo>
                      <a:pt x="1297" y="7645"/>
                      <a:pt x="1297" y="7645"/>
                      <a:pt x="1297" y="7645"/>
                    </a:cubicBezTo>
                    <a:cubicBezTo>
                      <a:pt x="1300" y="7640"/>
                      <a:pt x="1300" y="7640"/>
                      <a:pt x="1300" y="7640"/>
                    </a:cubicBezTo>
                    <a:cubicBezTo>
                      <a:pt x="1332" y="7596"/>
                      <a:pt x="1332" y="7596"/>
                      <a:pt x="1332" y="7596"/>
                    </a:cubicBezTo>
                    <a:cubicBezTo>
                      <a:pt x="1336" y="7590"/>
                      <a:pt x="1336" y="7590"/>
                      <a:pt x="1336" y="7590"/>
                    </a:cubicBezTo>
                    <a:cubicBezTo>
                      <a:pt x="1344" y="7590"/>
                      <a:pt x="1344" y="7590"/>
                      <a:pt x="1344" y="7590"/>
                    </a:cubicBezTo>
                    <a:cubicBezTo>
                      <a:pt x="1411" y="7590"/>
                      <a:pt x="1411" y="7590"/>
                      <a:pt x="1411" y="7590"/>
                    </a:cubicBezTo>
                    <a:cubicBezTo>
                      <a:pt x="1486" y="7482"/>
                      <a:pt x="1486" y="7482"/>
                      <a:pt x="1486" y="7482"/>
                    </a:cubicBezTo>
                    <a:cubicBezTo>
                      <a:pt x="1365" y="7403"/>
                      <a:pt x="1365" y="7403"/>
                      <a:pt x="1365" y="7403"/>
                    </a:cubicBezTo>
                    <a:cubicBezTo>
                      <a:pt x="1255" y="7533"/>
                      <a:pt x="1255" y="7533"/>
                      <a:pt x="1255" y="7533"/>
                    </a:cubicBezTo>
                    <a:cubicBezTo>
                      <a:pt x="1246" y="7543"/>
                      <a:pt x="1246" y="7543"/>
                      <a:pt x="1246" y="7543"/>
                    </a:cubicBezTo>
                    <a:cubicBezTo>
                      <a:pt x="1235" y="7534"/>
                      <a:pt x="1235" y="7534"/>
                      <a:pt x="1235" y="7534"/>
                    </a:cubicBezTo>
                    <a:cubicBezTo>
                      <a:pt x="1047" y="7374"/>
                      <a:pt x="1047" y="7374"/>
                      <a:pt x="1047" y="7374"/>
                    </a:cubicBezTo>
                    <a:lnTo>
                      <a:pt x="991" y="7527"/>
                    </a:lnTo>
                    <a:close/>
                    <a:moveTo>
                      <a:pt x="715" y="9037"/>
                    </a:moveTo>
                    <a:cubicBezTo>
                      <a:pt x="816" y="8967"/>
                      <a:pt x="816" y="8967"/>
                      <a:pt x="816" y="8967"/>
                    </a:cubicBezTo>
                    <a:cubicBezTo>
                      <a:pt x="889" y="9035"/>
                      <a:pt x="889" y="9035"/>
                      <a:pt x="889" y="9035"/>
                    </a:cubicBezTo>
                    <a:cubicBezTo>
                      <a:pt x="965" y="8969"/>
                      <a:pt x="965" y="8969"/>
                      <a:pt x="965" y="8969"/>
                    </a:cubicBezTo>
                    <a:cubicBezTo>
                      <a:pt x="1028" y="9051"/>
                      <a:pt x="1028" y="9051"/>
                      <a:pt x="1028" y="9051"/>
                    </a:cubicBezTo>
                    <a:cubicBezTo>
                      <a:pt x="877" y="9194"/>
                      <a:pt x="877" y="9194"/>
                      <a:pt x="877" y="9194"/>
                    </a:cubicBezTo>
                    <a:lnTo>
                      <a:pt x="715" y="9037"/>
                    </a:lnTo>
                    <a:close/>
                    <a:moveTo>
                      <a:pt x="814" y="8985"/>
                    </a:moveTo>
                    <a:cubicBezTo>
                      <a:pt x="737" y="9039"/>
                      <a:pt x="737" y="9039"/>
                      <a:pt x="737" y="9039"/>
                    </a:cubicBezTo>
                    <a:cubicBezTo>
                      <a:pt x="877" y="9175"/>
                      <a:pt x="877" y="9175"/>
                      <a:pt x="877" y="9175"/>
                    </a:cubicBezTo>
                    <a:cubicBezTo>
                      <a:pt x="1009" y="9050"/>
                      <a:pt x="1009" y="9050"/>
                      <a:pt x="1009" y="9050"/>
                    </a:cubicBezTo>
                    <a:cubicBezTo>
                      <a:pt x="963" y="8990"/>
                      <a:pt x="963" y="8990"/>
                      <a:pt x="963" y="8990"/>
                    </a:cubicBezTo>
                    <a:cubicBezTo>
                      <a:pt x="898" y="9045"/>
                      <a:pt x="898" y="9045"/>
                      <a:pt x="898" y="9045"/>
                    </a:cubicBezTo>
                    <a:cubicBezTo>
                      <a:pt x="889" y="9053"/>
                      <a:pt x="889" y="9053"/>
                      <a:pt x="889" y="9053"/>
                    </a:cubicBezTo>
                    <a:cubicBezTo>
                      <a:pt x="880" y="9045"/>
                      <a:pt x="880" y="9045"/>
                      <a:pt x="880" y="9045"/>
                    </a:cubicBezTo>
                    <a:lnTo>
                      <a:pt x="814" y="8985"/>
                    </a:lnTo>
                    <a:close/>
                    <a:moveTo>
                      <a:pt x="3258" y="8827"/>
                    </a:moveTo>
                    <a:cubicBezTo>
                      <a:pt x="3243" y="8795"/>
                      <a:pt x="3243" y="8795"/>
                      <a:pt x="3243" y="8795"/>
                    </a:cubicBezTo>
                    <a:cubicBezTo>
                      <a:pt x="3523" y="8653"/>
                      <a:pt x="3523" y="8653"/>
                      <a:pt x="3523" y="8653"/>
                    </a:cubicBezTo>
                    <a:cubicBezTo>
                      <a:pt x="3547" y="8708"/>
                      <a:pt x="3547" y="8708"/>
                      <a:pt x="3547" y="8708"/>
                    </a:cubicBezTo>
                    <a:cubicBezTo>
                      <a:pt x="3795" y="8593"/>
                      <a:pt x="3795" y="8593"/>
                      <a:pt x="3795" y="8593"/>
                    </a:cubicBezTo>
                    <a:cubicBezTo>
                      <a:pt x="3798" y="8600"/>
                      <a:pt x="3798" y="8600"/>
                      <a:pt x="3798" y="8600"/>
                    </a:cubicBezTo>
                    <a:cubicBezTo>
                      <a:pt x="3917" y="8877"/>
                      <a:pt x="3917" y="8877"/>
                      <a:pt x="3917" y="8877"/>
                    </a:cubicBezTo>
                    <a:cubicBezTo>
                      <a:pt x="3802" y="8921"/>
                      <a:pt x="3802" y="8921"/>
                      <a:pt x="3802" y="8921"/>
                    </a:cubicBezTo>
                    <a:cubicBezTo>
                      <a:pt x="3824" y="8970"/>
                      <a:pt x="3824" y="8970"/>
                      <a:pt x="3824" y="8970"/>
                    </a:cubicBezTo>
                    <a:cubicBezTo>
                      <a:pt x="3815" y="8972"/>
                      <a:pt x="3815" y="8972"/>
                      <a:pt x="3815" y="8972"/>
                    </a:cubicBezTo>
                    <a:cubicBezTo>
                      <a:pt x="3815" y="8972"/>
                      <a:pt x="3731" y="8993"/>
                      <a:pt x="3674" y="9019"/>
                    </a:cubicBezTo>
                    <a:cubicBezTo>
                      <a:pt x="3616" y="9045"/>
                      <a:pt x="3551" y="9088"/>
                      <a:pt x="3551" y="9088"/>
                    </a:cubicBezTo>
                    <a:cubicBezTo>
                      <a:pt x="3545" y="9092"/>
                      <a:pt x="3545" y="9092"/>
                      <a:pt x="3545" y="9092"/>
                    </a:cubicBezTo>
                    <a:cubicBezTo>
                      <a:pt x="3515" y="9047"/>
                      <a:pt x="3515" y="9047"/>
                      <a:pt x="3515" y="9047"/>
                    </a:cubicBezTo>
                    <a:cubicBezTo>
                      <a:pt x="3506" y="9054"/>
                      <a:pt x="3483" y="9071"/>
                      <a:pt x="3435" y="9105"/>
                    </a:cubicBezTo>
                    <a:cubicBezTo>
                      <a:pt x="3372" y="9147"/>
                      <a:pt x="3368" y="9279"/>
                      <a:pt x="3369" y="9293"/>
                    </a:cubicBezTo>
                    <a:cubicBezTo>
                      <a:pt x="3369" y="9294"/>
                      <a:pt x="3369" y="9294"/>
                      <a:pt x="3369" y="9294"/>
                    </a:cubicBezTo>
                    <a:cubicBezTo>
                      <a:pt x="3355" y="9297"/>
                      <a:pt x="3355" y="9297"/>
                      <a:pt x="3355" y="9297"/>
                    </a:cubicBezTo>
                    <a:cubicBezTo>
                      <a:pt x="3161" y="8876"/>
                      <a:pt x="3161" y="8876"/>
                      <a:pt x="3161" y="8876"/>
                    </a:cubicBezTo>
                    <a:lnTo>
                      <a:pt x="3258" y="8827"/>
                    </a:lnTo>
                    <a:close/>
                    <a:moveTo>
                      <a:pt x="3262" y="8801"/>
                    </a:moveTo>
                    <a:cubicBezTo>
                      <a:pt x="3277" y="8834"/>
                      <a:pt x="3277" y="8834"/>
                      <a:pt x="3277" y="8834"/>
                    </a:cubicBezTo>
                    <a:cubicBezTo>
                      <a:pt x="3180" y="8883"/>
                      <a:pt x="3180" y="8883"/>
                      <a:pt x="3180" y="8883"/>
                    </a:cubicBezTo>
                    <a:cubicBezTo>
                      <a:pt x="3355" y="9263"/>
                      <a:pt x="3355" y="9263"/>
                      <a:pt x="3355" y="9263"/>
                    </a:cubicBezTo>
                    <a:cubicBezTo>
                      <a:pt x="3359" y="9217"/>
                      <a:pt x="3372" y="9131"/>
                      <a:pt x="3426" y="9093"/>
                    </a:cubicBezTo>
                    <a:cubicBezTo>
                      <a:pt x="3497" y="9043"/>
                      <a:pt x="3512" y="9031"/>
                      <a:pt x="3513" y="9031"/>
                    </a:cubicBezTo>
                    <a:cubicBezTo>
                      <a:pt x="3519" y="9026"/>
                      <a:pt x="3519" y="9026"/>
                      <a:pt x="3519" y="9026"/>
                    </a:cubicBezTo>
                    <a:cubicBezTo>
                      <a:pt x="3549" y="9072"/>
                      <a:pt x="3549" y="9072"/>
                      <a:pt x="3549" y="9072"/>
                    </a:cubicBezTo>
                    <a:cubicBezTo>
                      <a:pt x="3567" y="9061"/>
                      <a:pt x="3619" y="9028"/>
                      <a:pt x="3667" y="9006"/>
                    </a:cubicBezTo>
                    <a:cubicBezTo>
                      <a:pt x="3715" y="8984"/>
                      <a:pt x="3780" y="8966"/>
                      <a:pt x="3803" y="8960"/>
                    </a:cubicBezTo>
                    <a:cubicBezTo>
                      <a:pt x="3782" y="8913"/>
                      <a:pt x="3782" y="8913"/>
                      <a:pt x="3782" y="8913"/>
                    </a:cubicBezTo>
                    <a:cubicBezTo>
                      <a:pt x="3897" y="8869"/>
                      <a:pt x="3897" y="8869"/>
                      <a:pt x="3897" y="8869"/>
                    </a:cubicBezTo>
                    <a:cubicBezTo>
                      <a:pt x="3787" y="8613"/>
                      <a:pt x="3787" y="8613"/>
                      <a:pt x="3787" y="8613"/>
                    </a:cubicBezTo>
                    <a:cubicBezTo>
                      <a:pt x="3539" y="8727"/>
                      <a:pt x="3539" y="8727"/>
                      <a:pt x="3539" y="8727"/>
                    </a:cubicBezTo>
                    <a:cubicBezTo>
                      <a:pt x="3516" y="8673"/>
                      <a:pt x="3516" y="8673"/>
                      <a:pt x="3516" y="8673"/>
                    </a:cubicBezTo>
                    <a:lnTo>
                      <a:pt x="3262" y="8801"/>
                    </a:lnTo>
                    <a:close/>
                    <a:moveTo>
                      <a:pt x="2923" y="9074"/>
                    </a:moveTo>
                    <a:cubicBezTo>
                      <a:pt x="3091" y="8986"/>
                      <a:pt x="3091" y="8986"/>
                      <a:pt x="3091" y="8986"/>
                    </a:cubicBezTo>
                    <a:cubicBezTo>
                      <a:pt x="3344" y="9471"/>
                      <a:pt x="3344" y="9471"/>
                      <a:pt x="3344" y="9471"/>
                    </a:cubicBezTo>
                    <a:cubicBezTo>
                      <a:pt x="3343" y="9473"/>
                      <a:pt x="3343" y="9473"/>
                      <a:pt x="3343" y="9473"/>
                    </a:cubicBezTo>
                    <a:cubicBezTo>
                      <a:pt x="3343" y="9474"/>
                      <a:pt x="3316" y="9630"/>
                      <a:pt x="3284" y="9698"/>
                    </a:cubicBezTo>
                    <a:cubicBezTo>
                      <a:pt x="3283" y="9700"/>
                      <a:pt x="3280" y="9702"/>
                      <a:pt x="3277" y="9702"/>
                    </a:cubicBezTo>
                    <a:cubicBezTo>
                      <a:pt x="3272" y="9701"/>
                      <a:pt x="3273" y="9700"/>
                      <a:pt x="3272" y="9700"/>
                    </a:cubicBezTo>
                    <a:cubicBezTo>
                      <a:pt x="3264" y="9692"/>
                      <a:pt x="3237" y="9650"/>
                      <a:pt x="3209" y="9606"/>
                    </a:cubicBezTo>
                    <a:cubicBezTo>
                      <a:pt x="3182" y="9564"/>
                      <a:pt x="3156" y="9522"/>
                      <a:pt x="3156" y="9522"/>
                    </a:cubicBezTo>
                    <a:cubicBezTo>
                      <a:pt x="3154" y="9519"/>
                      <a:pt x="3154" y="9519"/>
                      <a:pt x="3154" y="9519"/>
                    </a:cubicBezTo>
                    <a:cubicBezTo>
                      <a:pt x="3156" y="9516"/>
                      <a:pt x="3156" y="9516"/>
                      <a:pt x="3156" y="9516"/>
                    </a:cubicBezTo>
                    <a:cubicBezTo>
                      <a:pt x="3156" y="9516"/>
                      <a:pt x="3180" y="9457"/>
                      <a:pt x="3183" y="9431"/>
                    </a:cubicBezTo>
                    <a:cubicBezTo>
                      <a:pt x="3178" y="9421"/>
                      <a:pt x="3144" y="9359"/>
                      <a:pt x="3111" y="9299"/>
                    </a:cubicBezTo>
                    <a:cubicBezTo>
                      <a:pt x="3083" y="9248"/>
                      <a:pt x="3055" y="9197"/>
                      <a:pt x="3045" y="9180"/>
                    </a:cubicBezTo>
                    <a:cubicBezTo>
                      <a:pt x="2987" y="9211"/>
                      <a:pt x="2987" y="9211"/>
                      <a:pt x="2987" y="9211"/>
                    </a:cubicBezTo>
                    <a:cubicBezTo>
                      <a:pt x="3100" y="9446"/>
                      <a:pt x="3100" y="9446"/>
                      <a:pt x="3100" y="9446"/>
                    </a:cubicBezTo>
                    <a:cubicBezTo>
                      <a:pt x="3070" y="9492"/>
                      <a:pt x="3070" y="9492"/>
                      <a:pt x="3070" y="9492"/>
                    </a:cubicBezTo>
                    <a:cubicBezTo>
                      <a:pt x="3255" y="9760"/>
                      <a:pt x="3255" y="9760"/>
                      <a:pt x="3255" y="9760"/>
                    </a:cubicBezTo>
                    <a:cubicBezTo>
                      <a:pt x="3212" y="9820"/>
                      <a:pt x="3212" y="9820"/>
                      <a:pt x="3212" y="9820"/>
                    </a:cubicBezTo>
                    <a:cubicBezTo>
                      <a:pt x="2735" y="9094"/>
                      <a:pt x="2735" y="9094"/>
                      <a:pt x="2735" y="9094"/>
                    </a:cubicBezTo>
                    <a:cubicBezTo>
                      <a:pt x="2892" y="9009"/>
                      <a:pt x="2892" y="9009"/>
                      <a:pt x="2892" y="9009"/>
                    </a:cubicBezTo>
                    <a:lnTo>
                      <a:pt x="2923" y="9074"/>
                    </a:lnTo>
                    <a:close/>
                    <a:moveTo>
                      <a:pt x="3084" y="9006"/>
                    </a:moveTo>
                    <a:cubicBezTo>
                      <a:pt x="2916" y="9095"/>
                      <a:pt x="2916" y="9095"/>
                      <a:pt x="2916" y="9095"/>
                    </a:cubicBezTo>
                    <a:cubicBezTo>
                      <a:pt x="2886" y="9030"/>
                      <a:pt x="2886" y="9030"/>
                      <a:pt x="2886" y="9030"/>
                    </a:cubicBezTo>
                    <a:cubicBezTo>
                      <a:pt x="2757" y="9100"/>
                      <a:pt x="2757" y="9100"/>
                      <a:pt x="2757" y="9100"/>
                    </a:cubicBezTo>
                    <a:cubicBezTo>
                      <a:pt x="3212" y="9794"/>
                      <a:pt x="3212" y="9794"/>
                      <a:pt x="3212" y="9794"/>
                    </a:cubicBezTo>
                    <a:cubicBezTo>
                      <a:pt x="3237" y="9760"/>
                      <a:pt x="3237" y="9760"/>
                      <a:pt x="3237" y="9760"/>
                    </a:cubicBezTo>
                    <a:cubicBezTo>
                      <a:pt x="3053" y="9493"/>
                      <a:pt x="3053" y="9493"/>
                      <a:pt x="3053" y="9493"/>
                    </a:cubicBezTo>
                    <a:cubicBezTo>
                      <a:pt x="3083" y="9445"/>
                      <a:pt x="3083" y="9445"/>
                      <a:pt x="3083" y="9445"/>
                    </a:cubicBezTo>
                    <a:cubicBezTo>
                      <a:pt x="2967" y="9205"/>
                      <a:pt x="2967" y="9205"/>
                      <a:pt x="2967" y="9205"/>
                    </a:cubicBezTo>
                    <a:cubicBezTo>
                      <a:pt x="3051" y="9160"/>
                      <a:pt x="3051" y="9160"/>
                      <a:pt x="3051" y="9160"/>
                    </a:cubicBezTo>
                    <a:cubicBezTo>
                      <a:pt x="3054" y="9166"/>
                      <a:pt x="3054" y="9166"/>
                      <a:pt x="3054" y="9166"/>
                    </a:cubicBezTo>
                    <a:cubicBezTo>
                      <a:pt x="3054" y="9166"/>
                      <a:pt x="3090" y="9230"/>
                      <a:pt x="3125" y="9295"/>
                    </a:cubicBezTo>
                    <a:cubicBezTo>
                      <a:pt x="3143" y="9327"/>
                      <a:pt x="3161" y="9360"/>
                      <a:pt x="3174" y="9384"/>
                    </a:cubicBezTo>
                    <a:cubicBezTo>
                      <a:pt x="3181" y="9396"/>
                      <a:pt x="3187" y="9407"/>
                      <a:pt x="3190" y="9414"/>
                    </a:cubicBezTo>
                    <a:cubicBezTo>
                      <a:pt x="3192" y="9418"/>
                      <a:pt x="3194" y="9421"/>
                      <a:pt x="3195" y="9423"/>
                    </a:cubicBezTo>
                    <a:cubicBezTo>
                      <a:pt x="3196" y="9424"/>
                      <a:pt x="3196" y="9425"/>
                      <a:pt x="3196" y="9425"/>
                    </a:cubicBezTo>
                    <a:cubicBezTo>
                      <a:pt x="3197" y="9427"/>
                      <a:pt x="3197" y="9425"/>
                      <a:pt x="3197" y="9430"/>
                    </a:cubicBezTo>
                    <a:cubicBezTo>
                      <a:pt x="3197" y="9430"/>
                      <a:pt x="3197" y="9430"/>
                      <a:pt x="3197" y="9430"/>
                    </a:cubicBezTo>
                    <a:cubicBezTo>
                      <a:pt x="3197" y="9430"/>
                      <a:pt x="3197" y="9430"/>
                      <a:pt x="3197" y="9430"/>
                    </a:cubicBezTo>
                    <a:cubicBezTo>
                      <a:pt x="3195" y="9456"/>
                      <a:pt x="3176" y="9504"/>
                      <a:pt x="3171" y="9518"/>
                    </a:cubicBezTo>
                    <a:cubicBezTo>
                      <a:pt x="3178" y="9528"/>
                      <a:pt x="3201" y="9566"/>
                      <a:pt x="3224" y="9603"/>
                    </a:cubicBezTo>
                    <a:cubicBezTo>
                      <a:pt x="3238" y="9625"/>
                      <a:pt x="3253" y="9647"/>
                      <a:pt x="3263" y="9663"/>
                    </a:cubicBezTo>
                    <a:cubicBezTo>
                      <a:pt x="3268" y="9670"/>
                      <a:pt x="3272" y="9676"/>
                      <a:pt x="3276" y="9681"/>
                    </a:cubicBezTo>
                    <a:cubicBezTo>
                      <a:pt x="3301" y="9617"/>
                      <a:pt x="3325" y="9492"/>
                      <a:pt x="3328" y="9473"/>
                    </a:cubicBezTo>
                    <a:lnTo>
                      <a:pt x="3084" y="9006"/>
                    </a:lnTo>
                    <a:close/>
                    <a:moveTo>
                      <a:pt x="3344" y="9006"/>
                    </a:moveTo>
                    <a:cubicBezTo>
                      <a:pt x="3301" y="8924"/>
                      <a:pt x="3301" y="8924"/>
                      <a:pt x="3301" y="8924"/>
                    </a:cubicBezTo>
                    <a:cubicBezTo>
                      <a:pt x="3683" y="8738"/>
                      <a:pt x="3683" y="8738"/>
                      <a:pt x="3683" y="8738"/>
                    </a:cubicBezTo>
                    <a:cubicBezTo>
                      <a:pt x="3703" y="8780"/>
                      <a:pt x="3703" y="8780"/>
                      <a:pt x="3703" y="8780"/>
                    </a:cubicBezTo>
                    <a:cubicBezTo>
                      <a:pt x="3698" y="8784"/>
                      <a:pt x="3698" y="8784"/>
                      <a:pt x="3698" y="8784"/>
                    </a:cubicBezTo>
                    <a:cubicBezTo>
                      <a:pt x="3698" y="8784"/>
                      <a:pt x="3657" y="8809"/>
                      <a:pt x="3602" y="8842"/>
                    </a:cubicBezTo>
                    <a:cubicBezTo>
                      <a:pt x="3600" y="8843"/>
                      <a:pt x="3599" y="8845"/>
                      <a:pt x="3599" y="8850"/>
                    </a:cubicBezTo>
                    <a:cubicBezTo>
                      <a:pt x="3599" y="8861"/>
                      <a:pt x="3607" y="8880"/>
                      <a:pt x="3615" y="8896"/>
                    </a:cubicBezTo>
                    <a:cubicBezTo>
                      <a:pt x="3623" y="8911"/>
                      <a:pt x="3631" y="8923"/>
                      <a:pt x="3631" y="8923"/>
                    </a:cubicBezTo>
                    <a:cubicBezTo>
                      <a:pt x="3636" y="8931"/>
                      <a:pt x="3636" y="8931"/>
                      <a:pt x="3636" y="8931"/>
                    </a:cubicBezTo>
                    <a:cubicBezTo>
                      <a:pt x="3510" y="8988"/>
                      <a:pt x="3510" y="8988"/>
                      <a:pt x="3510" y="8988"/>
                    </a:cubicBezTo>
                    <a:cubicBezTo>
                      <a:pt x="3507" y="8984"/>
                      <a:pt x="3507" y="8984"/>
                      <a:pt x="3507" y="8984"/>
                    </a:cubicBezTo>
                    <a:cubicBezTo>
                      <a:pt x="3507" y="8984"/>
                      <a:pt x="3497" y="8974"/>
                      <a:pt x="3484" y="8963"/>
                    </a:cubicBezTo>
                    <a:cubicBezTo>
                      <a:pt x="3470" y="8953"/>
                      <a:pt x="3453" y="8943"/>
                      <a:pt x="3442" y="8944"/>
                    </a:cubicBezTo>
                    <a:cubicBezTo>
                      <a:pt x="3439" y="8944"/>
                      <a:pt x="3436" y="8944"/>
                      <a:pt x="3434" y="8946"/>
                    </a:cubicBezTo>
                    <a:cubicBezTo>
                      <a:pt x="3381" y="8978"/>
                      <a:pt x="3351" y="9001"/>
                      <a:pt x="3351" y="9001"/>
                    </a:cubicBezTo>
                    <a:lnTo>
                      <a:pt x="3344" y="9006"/>
                    </a:lnTo>
                    <a:close/>
                    <a:moveTo>
                      <a:pt x="3321" y="8931"/>
                    </a:moveTo>
                    <a:cubicBezTo>
                      <a:pt x="3349" y="8984"/>
                      <a:pt x="3349" y="8984"/>
                      <a:pt x="3349" y="8984"/>
                    </a:cubicBezTo>
                    <a:cubicBezTo>
                      <a:pt x="3361" y="8975"/>
                      <a:pt x="3388" y="8957"/>
                      <a:pt x="3426" y="8933"/>
                    </a:cubicBezTo>
                    <a:cubicBezTo>
                      <a:pt x="3431" y="8930"/>
                      <a:pt x="3437" y="8929"/>
                      <a:pt x="3442" y="8929"/>
                    </a:cubicBezTo>
                    <a:cubicBezTo>
                      <a:pt x="3471" y="8930"/>
                      <a:pt x="3503" y="8960"/>
                      <a:pt x="3514" y="8970"/>
                    </a:cubicBezTo>
                    <a:cubicBezTo>
                      <a:pt x="3614" y="8924"/>
                      <a:pt x="3614" y="8924"/>
                      <a:pt x="3614" y="8924"/>
                    </a:cubicBezTo>
                    <a:cubicBezTo>
                      <a:pt x="3605" y="8909"/>
                      <a:pt x="3585" y="8875"/>
                      <a:pt x="3584" y="8850"/>
                    </a:cubicBezTo>
                    <a:cubicBezTo>
                      <a:pt x="3584" y="8843"/>
                      <a:pt x="3587" y="8834"/>
                      <a:pt x="3594" y="8830"/>
                    </a:cubicBezTo>
                    <a:cubicBezTo>
                      <a:pt x="3637" y="8804"/>
                      <a:pt x="3671" y="8783"/>
                      <a:pt x="3684" y="8775"/>
                    </a:cubicBezTo>
                    <a:cubicBezTo>
                      <a:pt x="3676" y="8757"/>
                      <a:pt x="3676" y="8757"/>
                      <a:pt x="3676" y="8757"/>
                    </a:cubicBezTo>
                    <a:lnTo>
                      <a:pt x="3321" y="8931"/>
                    </a:lnTo>
                    <a:close/>
                    <a:moveTo>
                      <a:pt x="658" y="8979"/>
                    </a:moveTo>
                    <a:cubicBezTo>
                      <a:pt x="590" y="8917"/>
                      <a:pt x="590" y="8917"/>
                      <a:pt x="590" y="8917"/>
                    </a:cubicBezTo>
                    <a:cubicBezTo>
                      <a:pt x="695" y="8852"/>
                      <a:pt x="695" y="8852"/>
                      <a:pt x="695" y="8852"/>
                    </a:cubicBezTo>
                    <a:cubicBezTo>
                      <a:pt x="765" y="8916"/>
                      <a:pt x="765" y="8916"/>
                      <a:pt x="765" y="8916"/>
                    </a:cubicBezTo>
                    <a:lnTo>
                      <a:pt x="658" y="8979"/>
                    </a:lnTo>
                    <a:close/>
                    <a:moveTo>
                      <a:pt x="613" y="8919"/>
                    </a:moveTo>
                    <a:cubicBezTo>
                      <a:pt x="659" y="8962"/>
                      <a:pt x="659" y="8962"/>
                      <a:pt x="659" y="8962"/>
                    </a:cubicBezTo>
                    <a:cubicBezTo>
                      <a:pt x="742" y="8914"/>
                      <a:pt x="742" y="8914"/>
                      <a:pt x="742" y="8914"/>
                    </a:cubicBezTo>
                    <a:cubicBezTo>
                      <a:pt x="693" y="8869"/>
                      <a:pt x="693" y="8869"/>
                      <a:pt x="693" y="8869"/>
                    </a:cubicBezTo>
                    <a:lnTo>
                      <a:pt x="613" y="8919"/>
                    </a:lnTo>
                    <a:close/>
                    <a:moveTo>
                      <a:pt x="532" y="9420"/>
                    </a:moveTo>
                    <a:cubicBezTo>
                      <a:pt x="532" y="9408"/>
                      <a:pt x="538" y="9396"/>
                      <a:pt x="539" y="9392"/>
                    </a:cubicBezTo>
                    <a:cubicBezTo>
                      <a:pt x="539" y="9392"/>
                      <a:pt x="539" y="9391"/>
                      <a:pt x="539" y="9390"/>
                    </a:cubicBezTo>
                    <a:cubicBezTo>
                      <a:pt x="539" y="9386"/>
                      <a:pt x="543" y="9386"/>
                      <a:pt x="543" y="9386"/>
                    </a:cubicBezTo>
                    <a:cubicBezTo>
                      <a:pt x="544" y="9386"/>
                      <a:pt x="546" y="9386"/>
                      <a:pt x="547" y="9387"/>
                    </a:cubicBezTo>
                    <a:cubicBezTo>
                      <a:pt x="547" y="9388"/>
                      <a:pt x="547" y="9388"/>
                      <a:pt x="548" y="9389"/>
                    </a:cubicBezTo>
                    <a:cubicBezTo>
                      <a:pt x="556" y="9394"/>
                      <a:pt x="590" y="9411"/>
                      <a:pt x="598" y="9415"/>
                    </a:cubicBezTo>
                    <a:cubicBezTo>
                      <a:pt x="607" y="9420"/>
                      <a:pt x="648" y="9423"/>
                      <a:pt x="684" y="9432"/>
                    </a:cubicBezTo>
                    <a:cubicBezTo>
                      <a:pt x="721" y="9443"/>
                      <a:pt x="732" y="9474"/>
                      <a:pt x="737" y="9504"/>
                    </a:cubicBezTo>
                    <a:cubicBezTo>
                      <a:pt x="743" y="9533"/>
                      <a:pt x="751" y="9536"/>
                      <a:pt x="775" y="9552"/>
                    </a:cubicBezTo>
                    <a:cubicBezTo>
                      <a:pt x="779" y="9555"/>
                      <a:pt x="784" y="9556"/>
                      <a:pt x="790" y="9556"/>
                    </a:cubicBezTo>
                    <a:cubicBezTo>
                      <a:pt x="812" y="9556"/>
                      <a:pt x="846" y="9538"/>
                      <a:pt x="883" y="9519"/>
                    </a:cubicBezTo>
                    <a:cubicBezTo>
                      <a:pt x="898" y="9511"/>
                      <a:pt x="909" y="9508"/>
                      <a:pt x="918" y="9508"/>
                    </a:cubicBezTo>
                    <a:cubicBezTo>
                      <a:pt x="940" y="9508"/>
                      <a:pt x="946" y="9525"/>
                      <a:pt x="946" y="9525"/>
                    </a:cubicBezTo>
                    <a:cubicBezTo>
                      <a:pt x="947" y="9529"/>
                      <a:pt x="947" y="9529"/>
                      <a:pt x="947" y="9529"/>
                    </a:cubicBezTo>
                    <a:cubicBezTo>
                      <a:pt x="944" y="9530"/>
                      <a:pt x="944" y="9530"/>
                      <a:pt x="944" y="9530"/>
                    </a:cubicBezTo>
                    <a:cubicBezTo>
                      <a:pt x="939" y="9532"/>
                      <a:pt x="925" y="9557"/>
                      <a:pt x="912" y="9582"/>
                    </a:cubicBezTo>
                    <a:cubicBezTo>
                      <a:pt x="897" y="9607"/>
                      <a:pt x="865" y="9638"/>
                      <a:pt x="821" y="9667"/>
                    </a:cubicBezTo>
                    <a:cubicBezTo>
                      <a:pt x="793" y="9685"/>
                      <a:pt x="759" y="9692"/>
                      <a:pt x="733" y="9692"/>
                    </a:cubicBezTo>
                    <a:cubicBezTo>
                      <a:pt x="717" y="9692"/>
                      <a:pt x="704" y="9689"/>
                      <a:pt x="696" y="9686"/>
                    </a:cubicBezTo>
                    <a:cubicBezTo>
                      <a:pt x="675" y="9678"/>
                      <a:pt x="615" y="9651"/>
                      <a:pt x="615" y="9651"/>
                    </a:cubicBezTo>
                    <a:cubicBezTo>
                      <a:pt x="610" y="9648"/>
                      <a:pt x="610" y="9648"/>
                      <a:pt x="610" y="9648"/>
                    </a:cubicBezTo>
                    <a:cubicBezTo>
                      <a:pt x="614" y="9644"/>
                      <a:pt x="614" y="9644"/>
                      <a:pt x="614" y="9644"/>
                    </a:cubicBezTo>
                    <a:cubicBezTo>
                      <a:pt x="614" y="9644"/>
                      <a:pt x="645" y="9608"/>
                      <a:pt x="645" y="9567"/>
                    </a:cubicBezTo>
                    <a:cubicBezTo>
                      <a:pt x="645" y="9562"/>
                      <a:pt x="644" y="9556"/>
                      <a:pt x="643" y="9551"/>
                    </a:cubicBezTo>
                    <a:cubicBezTo>
                      <a:pt x="633" y="9504"/>
                      <a:pt x="582" y="9477"/>
                      <a:pt x="549" y="9452"/>
                    </a:cubicBezTo>
                    <a:cubicBezTo>
                      <a:pt x="536" y="9442"/>
                      <a:pt x="532" y="9430"/>
                      <a:pt x="532" y="9420"/>
                    </a:cubicBezTo>
                    <a:close/>
                    <a:moveTo>
                      <a:pt x="540" y="9420"/>
                    </a:moveTo>
                    <a:cubicBezTo>
                      <a:pt x="540" y="9428"/>
                      <a:pt x="543" y="9437"/>
                      <a:pt x="554" y="9445"/>
                    </a:cubicBezTo>
                    <a:cubicBezTo>
                      <a:pt x="586" y="9470"/>
                      <a:pt x="639" y="9497"/>
                      <a:pt x="651" y="9549"/>
                    </a:cubicBezTo>
                    <a:cubicBezTo>
                      <a:pt x="652" y="9555"/>
                      <a:pt x="653" y="9561"/>
                      <a:pt x="653" y="9567"/>
                    </a:cubicBezTo>
                    <a:cubicBezTo>
                      <a:pt x="653" y="9603"/>
                      <a:pt x="632" y="9634"/>
                      <a:pt x="623" y="9645"/>
                    </a:cubicBezTo>
                    <a:cubicBezTo>
                      <a:pt x="638" y="9652"/>
                      <a:pt x="682" y="9672"/>
                      <a:pt x="699" y="9679"/>
                    </a:cubicBezTo>
                    <a:cubicBezTo>
                      <a:pt x="706" y="9681"/>
                      <a:pt x="718" y="9683"/>
                      <a:pt x="733" y="9683"/>
                    </a:cubicBezTo>
                    <a:cubicBezTo>
                      <a:pt x="758" y="9683"/>
                      <a:pt x="790" y="9677"/>
                      <a:pt x="817" y="9660"/>
                    </a:cubicBezTo>
                    <a:cubicBezTo>
                      <a:pt x="860" y="9631"/>
                      <a:pt x="891" y="9601"/>
                      <a:pt x="904" y="9578"/>
                    </a:cubicBezTo>
                    <a:cubicBezTo>
                      <a:pt x="917" y="9556"/>
                      <a:pt x="927" y="9534"/>
                      <a:pt x="937" y="9525"/>
                    </a:cubicBezTo>
                    <a:cubicBezTo>
                      <a:pt x="935" y="9522"/>
                      <a:pt x="930" y="9517"/>
                      <a:pt x="918" y="9517"/>
                    </a:cubicBezTo>
                    <a:cubicBezTo>
                      <a:pt x="911" y="9517"/>
                      <a:pt x="901" y="9519"/>
                      <a:pt x="887" y="9526"/>
                    </a:cubicBezTo>
                    <a:cubicBezTo>
                      <a:pt x="849" y="9545"/>
                      <a:pt x="816" y="9564"/>
                      <a:pt x="790" y="9564"/>
                    </a:cubicBezTo>
                    <a:cubicBezTo>
                      <a:pt x="783" y="9564"/>
                      <a:pt x="776" y="9562"/>
                      <a:pt x="770" y="9559"/>
                    </a:cubicBezTo>
                    <a:cubicBezTo>
                      <a:pt x="748" y="9544"/>
                      <a:pt x="734" y="9537"/>
                      <a:pt x="729" y="9505"/>
                    </a:cubicBezTo>
                    <a:cubicBezTo>
                      <a:pt x="723" y="9475"/>
                      <a:pt x="715" y="9449"/>
                      <a:pt x="681" y="9440"/>
                    </a:cubicBezTo>
                    <a:cubicBezTo>
                      <a:pt x="646" y="9431"/>
                      <a:pt x="608" y="9428"/>
                      <a:pt x="595" y="9422"/>
                    </a:cubicBezTo>
                    <a:cubicBezTo>
                      <a:pt x="589" y="9420"/>
                      <a:pt x="576" y="9413"/>
                      <a:pt x="564" y="9407"/>
                    </a:cubicBezTo>
                    <a:cubicBezTo>
                      <a:pt x="558" y="9404"/>
                      <a:pt x="552" y="9401"/>
                      <a:pt x="548" y="9398"/>
                    </a:cubicBezTo>
                    <a:cubicBezTo>
                      <a:pt x="547" y="9398"/>
                      <a:pt x="546" y="9398"/>
                      <a:pt x="546" y="9397"/>
                    </a:cubicBezTo>
                    <a:cubicBezTo>
                      <a:pt x="543" y="9403"/>
                      <a:pt x="540" y="9411"/>
                      <a:pt x="540" y="9420"/>
                    </a:cubicBezTo>
                    <a:close/>
                    <a:moveTo>
                      <a:pt x="596" y="9246"/>
                    </a:moveTo>
                    <a:cubicBezTo>
                      <a:pt x="642" y="9071"/>
                      <a:pt x="642" y="9071"/>
                      <a:pt x="642" y="9071"/>
                    </a:cubicBezTo>
                    <a:cubicBezTo>
                      <a:pt x="803" y="9234"/>
                      <a:pt x="803" y="9234"/>
                      <a:pt x="803" y="9234"/>
                    </a:cubicBezTo>
                    <a:lnTo>
                      <a:pt x="596" y="9246"/>
                    </a:lnTo>
                    <a:close/>
                    <a:moveTo>
                      <a:pt x="615" y="9231"/>
                    </a:moveTo>
                    <a:cubicBezTo>
                      <a:pt x="771" y="9222"/>
                      <a:pt x="771" y="9222"/>
                      <a:pt x="771" y="9222"/>
                    </a:cubicBezTo>
                    <a:cubicBezTo>
                      <a:pt x="650" y="9099"/>
                      <a:pt x="650" y="9099"/>
                      <a:pt x="650" y="9099"/>
                    </a:cubicBezTo>
                    <a:lnTo>
                      <a:pt x="615" y="9231"/>
                    </a:lnTo>
                    <a:close/>
                    <a:moveTo>
                      <a:pt x="5446" y="9516"/>
                    </a:moveTo>
                    <a:cubicBezTo>
                      <a:pt x="5595" y="9542"/>
                      <a:pt x="5595" y="9542"/>
                      <a:pt x="5595" y="9542"/>
                    </a:cubicBezTo>
                    <a:cubicBezTo>
                      <a:pt x="5583" y="9613"/>
                      <a:pt x="5583" y="9613"/>
                      <a:pt x="5583" y="9613"/>
                    </a:cubicBezTo>
                    <a:cubicBezTo>
                      <a:pt x="5577" y="9612"/>
                      <a:pt x="5577" y="9612"/>
                      <a:pt x="5577" y="9612"/>
                    </a:cubicBezTo>
                    <a:cubicBezTo>
                      <a:pt x="5434" y="9587"/>
                      <a:pt x="5434" y="9587"/>
                      <a:pt x="5434" y="9587"/>
                    </a:cubicBezTo>
                    <a:lnTo>
                      <a:pt x="5446" y="9516"/>
                    </a:lnTo>
                    <a:close/>
                    <a:moveTo>
                      <a:pt x="5449" y="9576"/>
                    </a:moveTo>
                    <a:cubicBezTo>
                      <a:pt x="5573" y="9598"/>
                      <a:pt x="5573" y="9598"/>
                      <a:pt x="5573" y="9598"/>
                    </a:cubicBezTo>
                    <a:cubicBezTo>
                      <a:pt x="5580" y="9553"/>
                      <a:pt x="5580" y="9553"/>
                      <a:pt x="5580" y="9553"/>
                    </a:cubicBezTo>
                    <a:cubicBezTo>
                      <a:pt x="5457" y="9531"/>
                      <a:pt x="5457" y="9531"/>
                      <a:pt x="5457" y="9531"/>
                    </a:cubicBezTo>
                    <a:lnTo>
                      <a:pt x="5449" y="9576"/>
                    </a:lnTo>
                    <a:close/>
                    <a:moveTo>
                      <a:pt x="816" y="10720"/>
                    </a:moveTo>
                    <a:cubicBezTo>
                      <a:pt x="757" y="10751"/>
                      <a:pt x="757" y="10751"/>
                      <a:pt x="757" y="10751"/>
                    </a:cubicBezTo>
                    <a:cubicBezTo>
                      <a:pt x="635" y="10529"/>
                      <a:pt x="635" y="10529"/>
                      <a:pt x="635" y="10529"/>
                    </a:cubicBezTo>
                    <a:cubicBezTo>
                      <a:pt x="693" y="10497"/>
                      <a:pt x="693" y="10497"/>
                      <a:pt x="693" y="10497"/>
                    </a:cubicBezTo>
                    <a:lnTo>
                      <a:pt x="816" y="10720"/>
                    </a:lnTo>
                    <a:close/>
                    <a:moveTo>
                      <a:pt x="762" y="10732"/>
                    </a:moveTo>
                    <a:cubicBezTo>
                      <a:pt x="797" y="10714"/>
                      <a:pt x="797" y="10714"/>
                      <a:pt x="797" y="10714"/>
                    </a:cubicBezTo>
                    <a:cubicBezTo>
                      <a:pt x="687" y="10516"/>
                      <a:pt x="687" y="10516"/>
                      <a:pt x="687" y="10516"/>
                    </a:cubicBezTo>
                    <a:cubicBezTo>
                      <a:pt x="653" y="10534"/>
                      <a:pt x="653" y="10534"/>
                      <a:pt x="653" y="10534"/>
                    </a:cubicBezTo>
                    <a:lnTo>
                      <a:pt x="762" y="10732"/>
                    </a:lnTo>
                    <a:close/>
                    <a:moveTo>
                      <a:pt x="4441" y="7077"/>
                    </a:moveTo>
                    <a:cubicBezTo>
                      <a:pt x="4336" y="7065"/>
                      <a:pt x="4336" y="7065"/>
                      <a:pt x="4336" y="7065"/>
                    </a:cubicBezTo>
                    <a:cubicBezTo>
                      <a:pt x="4342" y="6872"/>
                      <a:pt x="4342" y="6872"/>
                      <a:pt x="4342" y="6872"/>
                    </a:cubicBezTo>
                    <a:cubicBezTo>
                      <a:pt x="4413" y="6714"/>
                      <a:pt x="4413" y="6714"/>
                      <a:pt x="4413" y="6714"/>
                    </a:cubicBezTo>
                    <a:cubicBezTo>
                      <a:pt x="4509" y="6770"/>
                      <a:pt x="4509" y="6770"/>
                      <a:pt x="4509" y="6770"/>
                    </a:cubicBezTo>
                    <a:cubicBezTo>
                      <a:pt x="4448" y="7077"/>
                      <a:pt x="4448" y="7077"/>
                      <a:pt x="4448" y="7077"/>
                    </a:cubicBezTo>
                    <a:lnTo>
                      <a:pt x="4441" y="7077"/>
                    </a:lnTo>
                    <a:close/>
                    <a:moveTo>
                      <a:pt x="4436" y="7061"/>
                    </a:moveTo>
                    <a:cubicBezTo>
                      <a:pt x="4492" y="6778"/>
                      <a:pt x="4492" y="6778"/>
                      <a:pt x="4492" y="6778"/>
                    </a:cubicBezTo>
                    <a:cubicBezTo>
                      <a:pt x="4419" y="6735"/>
                      <a:pt x="4419" y="6735"/>
                      <a:pt x="4419" y="6735"/>
                    </a:cubicBezTo>
                    <a:cubicBezTo>
                      <a:pt x="4356" y="6875"/>
                      <a:pt x="4356" y="6875"/>
                      <a:pt x="4356" y="6875"/>
                    </a:cubicBezTo>
                    <a:cubicBezTo>
                      <a:pt x="4351" y="7052"/>
                      <a:pt x="4351" y="7052"/>
                      <a:pt x="4351" y="7052"/>
                    </a:cubicBezTo>
                    <a:lnTo>
                      <a:pt x="4436" y="7061"/>
                    </a:lnTo>
                    <a:close/>
                    <a:moveTo>
                      <a:pt x="4085" y="6477"/>
                    </a:moveTo>
                    <a:cubicBezTo>
                      <a:pt x="4067" y="6482"/>
                      <a:pt x="4067" y="6482"/>
                      <a:pt x="4067" y="6482"/>
                    </a:cubicBezTo>
                    <a:cubicBezTo>
                      <a:pt x="3966" y="6510"/>
                      <a:pt x="3966" y="6510"/>
                      <a:pt x="3966" y="6510"/>
                    </a:cubicBezTo>
                    <a:cubicBezTo>
                      <a:pt x="3945" y="6571"/>
                      <a:pt x="3945" y="6571"/>
                      <a:pt x="3945" y="6571"/>
                    </a:cubicBezTo>
                    <a:cubicBezTo>
                      <a:pt x="3842" y="6511"/>
                      <a:pt x="3842" y="6511"/>
                      <a:pt x="3842" y="6511"/>
                    </a:cubicBezTo>
                    <a:cubicBezTo>
                      <a:pt x="3898" y="6375"/>
                      <a:pt x="3898" y="6375"/>
                      <a:pt x="3898" y="6375"/>
                    </a:cubicBezTo>
                    <a:lnTo>
                      <a:pt x="4085" y="6477"/>
                    </a:lnTo>
                    <a:close/>
                    <a:moveTo>
                      <a:pt x="4046" y="6473"/>
                    </a:moveTo>
                    <a:cubicBezTo>
                      <a:pt x="3906" y="6396"/>
                      <a:pt x="3906" y="6396"/>
                      <a:pt x="3906" y="6396"/>
                    </a:cubicBezTo>
                    <a:cubicBezTo>
                      <a:pt x="3860" y="6504"/>
                      <a:pt x="3860" y="6504"/>
                      <a:pt x="3860" y="6504"/>
                    </a:cubicBezTo>
                    <a:cubicBezTo>
                      <a:pt x="3937" y="6549"/>
                      <a:pt x="3937" y="6549"/>
                      <a:pt x="3937" y="6549"/>
                    </a:cubicBezTo>
                    <a:cubicBezTo>
                      <a:pt x="3954" y="6498"/>
                      <a:pt x="3954" y="6498"/>
                      <a:pt x="3954" y="6498"/>
                    </a:cubicBezTo>
                    <a:lnTo>
                      <a:pt x="4046" y="6473"/>
                    </a:lnTo>
                    <a:close/>
                    <a:moveTo>
                      <a:pt x="3491" y="6002"/>
                    </a:moveTo>
                    <a:cubicBezTo>
                      <a:pt x="3634" y="6045"/>
                      <a:pt x="3634" y="6045"/>
                      <a:pt x="3634" y="6045"/>
                    </a:cubicBezTo>
                    <a:cubicBezTo>
                      <a:pt x="3631" y="6053"/>
                      <a:pt x="3631" y="6053"/>
                      <a:pt x="3631" y="6053"/>
                    </a:cubicBezTo>
                    <a:cubicBezTo>
                      <a:pt x="3575" y="6194"/>
                      <a:pt x="3575" y="6194"/>
                      <a:pt x="3575" y="6194"/>
                    </a:cubicBezTo>
                    <a:cubicBezTo>
                      <a:pt x="3421" y="6144"/>
                      <a:pt x="3421" y="6144"/>
                      <a:pt x="3421" y="6144"/>
                    </a:cubicBezTo>
                    <a:lnTo>
                      <a:pt x="3491" y="6002"/>
                    </a:lnTo>
                    <a:close/>
                    <a:moveTo>
                      <a:pt x="3498" y="6020"/>
                    </a:moveTo>
                    <a:cubicBezTo>
                      <a:pt x="3442" y="6135"/>
                      <a:pt x="3442" y="6135"/>
                      <a:pt x="3442" y="6135"/>
                    </a:cubicBezTo>
                    <a:cubicBezTo>
                      <a:pt x="3567" y="6176"/>
                      <a:pt x="3567" y="6176"/>
                      <a:pt x="3567" y="6176"/>
                    </a:cubicBezTo>
                    <a:cubicBezTo>
                      <a:pt x="3614" y="6055"/>
                      <a:pt x="3614" y="6055"/>
                      <a:pt x="3614" y="6055"/>
                    </a:cubicBezTo>
                    <a:lnTo>
                      <a:pt x="3498" y="6020"/>
                    </a:lnTo>
                    <a:close/>
                    <a:moveTo>
                      <a:pt x="5040" y="9822"/>
                    </a:moveTo>
                    <a:cubicBezTo>
                      <a:pt x="5051" y="10082"/>
                      <a:pt x="5051" y="10082"/>
                      <a:pt x="5051" y="10082"/>
                    </a:cubicBezTo>
                    <a:cubicBezTo>
                      <a:pt x="4967" y="10086"/>
                      <a:pt x="4967" y="10086"/>
                      <a:pt x="4967" y="10086"/>
                    </a:cubicBezTo>
                    <a:cubicBezTo>
                      <a:pt x="4967" y="10080"/>
                      <a:pt x="4967" y="10080"/>
                      <a:pt x="4967" y="10080"/>
                    </a:cubicBezTo>
                    <a:cubicBezTo>
                      <a:pt x="4956" y="9826"/>
                      <a:pt x="4956" y="9826"/>
                      <a:pt x="4956" y="9826"/>
                    </a:cubicBezTo>
                    <a:lnTo>
                      <a:pt x="5040" y="9822"/>
                    </a:lnTo>
                    <a:close/>
                    <a:moveTo>
                      <a:pt x="5038" y="10070"/>
                    </a:moveTo>
                    <a:cubicBezTo>
                      <a:pt x="5027" y="9836"/>
                      <a:pt x="5027" y="9836"/>
                      <a:pt x="5027" y="9836"/>
                    </a:cubicBezTo>
                    <a:cubicBezTo>
                      <a:pt x="4969" y="9839"/>
                      <a:pt x="4969" y="9839"/>
                      <a:pt x="4969" y="9839"/>
                    </a:cubicBezTo>
                    <a:cubicBezTo>
                      <a:pt x="4980" y="10072"/>
                      <a:pt x="4980" y="10072"/>
                      <a:pt x="4980" y="10072"/>
                    </a:cubicBezTo>
                    <a:lnTo>
                      <a:pt x="5038" y="10070"/>
                    </a:lnTo>
                    <a:close/>
                    <a:moveTo>
                      <a:pt x="3803" y="6124"/>
                    </a:moveTo>
                    <a:cubicBezTo>
                      <a:pt x="3727" y="6163"/>
                      <a:pt x="3727" y="6163"/>
                      <a:pt x="3727" y="6163"/>
                    </a:cubicBezTo>
                    <a:cubicBezTo>
                      <a:pt x="3805" y="6263"/>
                      <a:pt x="3805" y="6263"/>
                      <a:pt x="3805" y="6263"/>
                    </a:cubicBezTo>
                    <a:cubicBezTo>
                      <a:pt x="3767" y="6362"/>
                      <a:pt x="3767" y="6362"/>
                      <a:pt x="3767" y="6362"/>
                    </a:cubicBezTo>
                    <a:cubicBezTo>
                      <a:pt x="3342" y="6171"/>
                      <a:pt x="3342" y="6171"/>
                      <a:pt x="3342" y="6171"/>
                    </a:cubicBezTo>
                    <a:cubicBezTo>
                      <a:pt x="3346" y="6143"/>
                      <a:pt x="3346" y="6143"/>
                      <a:pt x="3346" y="6143"/>
                    </a:cubicBezTo>
                    <a:cubicBezTo>
                      <a:pt x="3303" y="6129"/>
                      <a:pt x="3303" y="6129"/>
                      <a:pt x="3303" y="6129"/>
                    </a:cubicBezTo>
                    <a:cubicBezTo>
                      <a:pt x="3370" y="6014"/>
                      <a:pt x="3370" y="6014"/>
                      <a:pt x="3370" y="6014"/>
                    </a:cubicBezTo>
                    <a:cubicBezTo>
                      <a:pt x="3396" y="6008"/>
                      <a:pt x="3396" y="6008"/>
                      <a:pt x="3396" y="6008"/>
                    </a:cubicBezTo>
                    <a:cubicBezTo>
                      <a:pt x="3438" y="5904"/>
                      <a:pt x="3438" y="5904"/>
                      <a:pt x="3438" y="5904"/>
                    </a:cubicBezTo>
                    <a:cubicBezTo>
                      <a:pt x="3853" y="6019"/>
                      <a:pt x="3853" y="6019"/>
                      <a:pt x="3853" y="6019"/>
                    </a:cubicBezTo>
                    <a:cubicBezTo>
                      <a:pt x="3849" y="6027"/>
                      <a:pt x="3849" y="6027"/>
                      <a:pt x="3849" y="6027"/>
                    </a:cubicBezTo>
                    <a:lnTo>
                      <a:pt x="3803" y="6124"/>
                    </a:lnTo>
                    <a:close/>
                    <a:moveTo>
                      <a:pt x="3792" y="6113"/>
                    </a:moveTo>
                    <a:cubicBezTo>
                      <a:pt x="3832" y="6029"/>
                      <a:pt x="3832" y="6029"/>
                      <a:pt x="3832" y="6029"/>
                    </a:cubicBezTo>
                    <a:cubicBezTo>
                      <a:pt x="3447" y="5922"/>
                      <a:pt x="3447" y="5922"/>
                      <a:pt x="3447" y="5922"/>
                    </a:cubicBezTo>
                    <a:cubicBezTo>
                      <a:pt x="3406" y="6020"/>
                      <a:pt x="3406" y="6020"/>
                      <a:pt x="3406" y="6020"/>
                    </a:cubicBezTo>
                    <a:cubicBezTo>
                      <a:pt x="3380" y="6027"/>
                      <a:pt x="3380" y="6027"/>
                      <a:pt x="3380" y="6027"/>
                    </a:cubicBezTo>
                    <a:cubicBezTo>
                      <a:pt x="3325" y="6121"/>
                      <a:pt x="3325" y="6121"/>
                      <a:pt x="3325" y="6121"/>
                    </a:cubicBezTo>
                    <a:cubicBezTo>
                      <a:pt x="3363" y="6133"/>
                      <a:pt x="3363" y="6133"/>
                      <a:pt x="3363" y="6133"/>
                    </a:cubicBezTo>
                    <a:cubicBezTo>
                      <a:pt x="3358" y="6162"/>
                      <a:pt x="3358" y="6162"/>
                      <a:pt x="3358" y="6162"/>
                    </a:cubicBezTo>
                    <a:cubicBezTo>
                      <a:pt x="3759" y="6342"/>
                      <a:pt x="3759" y="6342"/>
                      <a:pt x="3759" y="6342"/>
                    </a:cubicBezTo>
                    <a:cubicBezTo>
                      <a:pt x="3788" y="6266"/>
                      <a:pt x="3788" y="6266"/>
                      <a:pt x="3788" y="6266"/>
                    </a:cubicBezTo>
                    <a:cubicBezTo>
                      <a:pt x="3704" y="6158"/>
                      <a:pt x="3704" y="6158"/>
                      <a:pt x="3704" y="6158"/>
                    </a:cubicBezTo>
                    <a:lnTo>
                      <a:pt x="3792" y="6113"/>
                    </a:lnTo>
                    <a:close/>
                    <a:moveTo>
                      <a:pt x="3642" y="6531"/>
                    </a:moveTo>
                    <a:cubicBezTo>
                      <a:pt x="3487" y="6613"/>
                      <a:pt x="3487" y="6613"/>
                      <a:pt x="3487" y="6613"/>
                    </a:cubicBezTo>
                    <a:cubicBezTo>
                      <a:pt x="3157" y="6495"/>
                      <a:pt x="3157" y="6495"/>
                      <a:pt x="3157" y="6495"/>
                    </a:cubicBezTo>
                    <a:cubicBezTo>
                      <a:pt x="3283" y="6257"/>
                      <a:pt x="3283" y="6257"/>
                      <a:pt x="3283" y="6257"/>
                    </a:cubicBezTo>
                    <a:cubicBezTo>
                      <a:pt x="3652" y="6526"/>
                      <a:pt x="3652" y="6526"/>
                      <a:pt x="3652" y="6526"/>
                    </a:cubicBezTo>
                    <a:lnTo>
                      <a:pt x="3642" y="6531"/>
                    </a:lnTo>
                    <a:close/>
                    <a:moveTo>
                      <a:pt x="3624" y="6524"/>
                    </a:moveTo>
                    <a:cubicBezTo>
                      <a:pt x="3288" y="6279"/>
                      <a:pt x="3288" y="6279"/>
                      <a:pt x="3288" y="6279"/>
                    </a:cubicBezTo>
                    <a:cubicBezTo>
                      <a:pt x="3178" y="6487"/>
                      <a:pt x="3178" y="6487"/>
                      <a:pt x="3178" y="6487"/>
                    </a:cubicBezTo>
                    <a:cubicBezTo>
                      <a:pt x="3486" y="6597"/>
                      <a:pt x="3486" y="6597"/>
                      <a:pt x="3486" y="6597"/>
                    </a:cubicBezTo>
                    <a:lnTo>
                      <a:pt x="3624" y="6524"/>
                    </a:lnTo>
                    <a:close/>
                    <a:moveTo>
                      <a:pt x="5326" y="10496"/>
                    </a:moveTo>
                    <a:cubicBezTo>
                      <a:pt x="5255" y="10513"/>
                      <a:pt x="5255" y="10513"/>
                      <a:pt x="5255" y="10513"/>
                    </a:cubicBezTo>
                    <a:cubicBezTo>
                      <a:pt x="5268" y="10568"/>
                      <a:pt x="5268" y="10568"/>
                      <a:pt x="5268" y="10568"/>
                    </a:cubicBezTo>
                    <a:cubicBezTo>
                      <a:pt x="5262" y="10570"/>
                      <a:pt x="5262" y="10570"/>
                      <a:pt x="5262" y="10570"/>
                    </a:cubicBezTo>
                    <a:cubicBezTo>
                      <a:pt x="5149" y="10600"/>
                      <a:pt x="5149" y="10600"/>
                      <a:pt x="5149" y="10600"/>
                    </a:cubicBezTo>
                    <a:cubicBezTo>
                      <a:pt x="5122" y="10486"/>
                      <a:pt x="5122" y="10486"/>
                      <a:pt x="5122" y="10486"/>
                    </a:cubicBezTo>
                    <a:cubicBezTo>
                      <a:pt x="5132" y="10483"/>
                      <a:pt x="5132" y="10483"/>
                      <a:pt x="5132" y="10483"/>
                    </a:cubicBezTo>
                    <a:cubicBezTo>
                      <a:pt x="5120" y="10432"/>
                      <a:pt x="5120" y="10432"/>
                      <a:pt x="5120" y="10432"/>
                    </a:cubicBezTo>
                    <a:cubicBezTo>
                      <a:pt x="5300" y="10389"/>
                      <a:pt x="5300" y="10389"/>
                      <a:pt x="5300" y="10389"/>
                    </a:cubicBezTo>
                    <a:lnTo>
                      <a:pt x="5326" y="10496"/>
                    </a:lnTo>
                    <a:close/>
                    <a:moveTo>
                      <a:pt x="5239" y="10503"/>
                    </a:moveTo>
                    <a:cubicBezTo>
                      <a:pt x="5310" y="10486"/>
                      <a:pt x="5310" y="10486"/>
                      <a:pt x="5310" y="10486"/>
                    </a:cubicBezTo>
                    <a:cubicBezTo>
                      <a:pt x="5290" y="10405"/>
                      <a:pt x="5290" y="10405"/>
                      <a:pt x="5290" y="10405"/>
                    </a:cubicBezTo>
                    <a:cubicBezTo>
                      <a:pt x="5135" y="10442"/>
                      <a:pt x="5135" y="10442"/>
                      <a:pt x="5135" y="10442"/>
                    </a:cubicBezTo>
                    <a:cubicBezTo>
                      <a:pt x="5148" y="10493"/>
                      <a:pt x="5148" y="10493"/>
                      <a:pt x="5148" y="10493"/>
                    </a:cubicBezTo>
                    <a:cubicBezTo>
                      <a:pt x="5138" y="10495"/>
                      <a:pt x="5138" y="10495"/>
                      <a:pt x="5138" y="10495"/>
                    </a:cubicBezTo>
                    <a:cubicBezTo>
                      <a:pt x="5159" y="10584"/>
                      <a:pt x="5159" y="10584"/>
                      <a:pt x="5159" y="10584"/>
                    </a:cubicBezTo>
                    <a:cubicBezTo>
                      <a:pt x="5252" y="10559"/>
                      <a:pt x="5252" y="10559"/>
                      <a:pt x="5252" y="10559"/>
                    </a:cubicBezTo>
                    <a:lnTo>
                      <a:pt x="5239" y="10503"/>
                    </a:lnTo>
                    <a:close/>
                    <a:moveTo>
                      <a:pt x="790" y="10805"/>
                    </a:moveTo>
                    <a:cubicBezTo>
                      <a:pt x="798" y="10821"/>
                      <a:pt x="798" y="10821"/>
                      <a:pt x="798" y="10821"/>
                    </a:cubicBezTo>
                    <a:cubicBezTo>
                      <a:pt x="814" y="10821"/>
                      <a:pt x="814" y="10821"/>
                      <a:pt x="814" y="10821"/>
                    </a:cubicBezTo>
                    <a:cubicBezTo>
                      <a:pt x="808" y="10811"/>
                      <a:pt x="808" y="10811"/>
                      <a:pt x="808" y="10811"/>
                    </a:cubicBezTo>
                    <a:cubicBezTo>
                      <a:pt x="845" y="10789"/>
                      <a:pt x="845" y="10789"/>
                      <a:pt x="845" y="10789"/>
                    </a:cubicBezTo>
                    <a:cubicBezTo>
                      <a:pt x="865" y="10821"/>
                      <a:pt x="865" y="10821"/>
                      <a:pt x="865" y="10821"/>
                    </a:cubicBezTo>
                    <a:cubicBezTo>
                      <a:pt x="881" y="10821"/>
                      <a:pt x="881" y="10821"/>
                      <a:pt x="881" y="10821"/>
                    </a:cubicBezTo>
                    <a:cubicBezTo>
                      <a:pt x="850" y="10771"/>
                      <a:pt x="850" y="10771"/>
                      <a:pt x="850" y="10771"/>
                    </a:cubicBezTo>
                    <a:lnTo>
                      <a:pt x="790" y="10805"/>
                    </a:lnTo>
                    <a:close/>
                    <a:moveTo>
                      <a:pt x="623" y="5316"/>
                    </a:moveTo>
                    <a:cubicBezTo>
                      <a:pt x="500" y="5172"/>
                      <a:pt x="500" y="5172"/>
                      <a:pt x="500" y="5172"/>
                    </a:cubicBezTo>
                    <a:cubicBezTo>
                      <a:pt x="443" y="5218"/>
                      <a:pt x="443" y="5218"/>
                      <a:pt x="443" y="5218"/>
                    </a:cubicBezTo>
                    <a:cubicBezTo>
                      <a:pt x="307" y="5053"/>
                      <a:pt x="307" y="5053"/>
                      <a:pt x="307" y="5053"/>
                    </a:cubicBezTo>
                    <a:cubicBezTo>
                      <a:pt x="363" y="5000"/>
                      <a:pt x="363" y="5000"/>
                      <a:pt x="363" y="5000"/>
                    </a:cubicBezTo>
                    <a:cubicBezTo>
                      <a:pt x="202" y="4812"/>
                      <a:pt x="202" y="4812"/>
                      <a:pt x="202" y="4812"/>
                    </a:cubicBezTo>
                    <a:cubicBezTo>
                      <a:pt x="196" y="4817"/>
                      <a:pt x="196" y="4817"/>
                      <a:pt x="196" y="4817"/>
                    </a:cubicBezTo>
                    <a:cubicBezTo>
                      <a:pt x="3" y="4984"/>
                      <a:pt x="3" y="4984"/>
                      <a:pt x="3" y="4984"/>
                    </a:cubicBezTo>
                    <a:cubicBezTo>
                      <a:pt x="3" y="5003"/>
                      <a:pt x="3" y="5003"/>
                      <a:pt x="3" y="5003"/>
                    </a:cubicBezTo>
                    <a:cubicBezTo>
                      <a:pt x="200" y="4833"/>
                      <a:pt x="200" y="4833"/>
                      <a:pt x="200" y="4833"/>
                    </a:cubicBezTo>
                    <a:cubicBezTo>
                      <a:pt x="343" y="4998"/>
                      <a:pt x="343" y="4998"/>
                      <a:pt x="343" y="4998"/>
                    </a:cubicBezTo>
                    <a:cubicBezTo>
                      <a:pt x="287" y="5052"/>
                      <a:pt x="287" y="5052"/>
                      <a:pt x="287" y="5052"/>
                    </a:cubicBezTo>
                    <a:cubicBezTo>
                      <a:pt x="440" y="5238"/>
                      <a:pt x="440" y="5238"/>
                      <a:pt x="440" y="5238"/>
                    </a:cubicBezTo>
                    <a:cubicBezTo>
                      <a:pt x="498" y="5193"/>
                      <a:pt x="498" y="5193"/>
                      <a:pt x="498" y="5193"/>
                    </a:cubicBezTo>
                    <a:cubicBezTo>
                      <a:pt x="602" y="5314"/>
                      <a:pt x="602" y="5314"/>
                      <a:pt x="602" y="5314"/>
                    </a:cubicBezTo>
                    <a:cubicBezTo>
                      <a:pt x="82" y="5775"/>
                      <a:pt x="82" y="5775"/>
                      <a:pt x="82" y="5775"/>
                    </a:cubicBezTo>
                    <a:cubicBezTo>
                      <a:pt x="3" y="5683"/>
                      <a:pt x="3" y="5683"/>
                      <a:pt x="3" y="5683"/>
                    </a:cubicBezTo>
                    <a:cubicBezTo>
                      <a:pt x="3" y="5705"/>
                      <a:pt x="3" y="5705"/>
                      <a:pt x="3" y="5705"/>
                    </a:cubicBezTo>
                    <a:cubicBezTo>
                      <a:pt x="81" y="5796"/>
                      <a:pt x="81" y="5796"/>
                      <a:pt x="81" y="5796"/>
                    </a:cubicBezTo>
                    <a:lnTo>
                      <a:pt x="623" y="5316"/>
                    </a:lnTo>
                    <a:close/>
                    <a:moveTo>
                      <a:pt x="158" y="4431"/>
                    </a:moveTo>
                    <a:cubicBezTo>
                      <a:pt x="363" y="4671"/>
                      <a:pt x="363" y="4671"/>
                      <a:pt x="363" y="4671"/>
                    </a:cubicBezTo>
                    <a:cubicBezTo>
                      <a:pt x="905" y="4190"/>
                      <a:pt x="905" y="4190"/>
                      <a:pt x="905" y="4190"/>
                    </a:cubicBezTo>
                    <a:cubicBezTo>
                      <a:pt x="782" y="4047"/>
                      <a:pt x="782" y="4047"/>
                      <a:pt x="782" y="4047"/>
                    </a:cubicBezTo>
                    <a:cubicBezTo>
                      <a:pt x="725" y="4092"/>
                      <a:pt x="725" y="4092"/>
                      <a:pt x="725" y="4092"/>
                    </a:cubicBezTo>
                    <a:cubicBezTo>
                      <a:pt x="589" y="3928"/>
                      <a:pt x="589" y="3928"/>
                      <a:pt x="589" y="3928"/>
                    </a:cubicBezTo>
                    <a:cubicBezTo>
                      <a:pt x="645" y="3874"/>
                      <a:pt x="645" y="3874"/>
                      <a:pt x="645" y="3874"/>
                    </a:cubicBezTo>
                    <a:cubicBezTo>
                      <a:pt x="484" y="3687"/>
                      <a:pt x="484" y="3687"/>
                      <a:pt x="484" y="3687"/>
                    </a:cubicBezTo>
                    <a:cubicBezTo>
                      <a:pt x="478" y="3692"/>
                      <a:pt x="478" y="3692"/>
                      <a:pt x="478" y="3692"/>
                    </a:cubicBezTo>
                    <a:cubicBezTo>
                      <a:pt x="249" y="3890"/>
                      <a:pt x="249" y="3890"/>
                      <a:pt x="249" y="3890"/>
                    </a:cubicBezTo>
                    <a:cubicBezTo>
                      <a:pt x="221" y="3858"/>
                      <a:pt x="221" y="3858"/>
                      <a:pt x="221" y="3858"/>
                    </a:cubicBezTo>
                    <a:cubicBezTo>
                      <a:pt x="3" y="4045"/>
                      <a:pt x="3" y="4045"/>
                      <a:pt x="3" y="4045"/>
                    </a:cubicBezTo>
                    <a:cubicBezTo>
                      <a:pt x="3" y="4064"/>
                      <a:pt x="3" y="4064"/>
                      <a:pt x="3" y="4064"/>
                    </a:cubicBezTo>
                    <a:cubicBezTo>
                      <a:pt x="219" y="3879"/>
                      <a:pt x="219" y="3879"/>
                      <a:pt x="219" y="3879"/>
                    </a:cubicBezTo>
                    <a:cubicBezTo>
                      <a:pt x="247" y="3911"/>
                      <a:pt x="247" y="3911"/>
                      <a:pt x="247" y="3911"/>
                    </a:cubicBezTo>
                    <a:cubicBezTo>
                      <a:pt x="483" y="3708"/>
                      <a:pt x="483" y="3708"/>
                      <a:pt x="483" y="3708"/>
                    </a:cubicBezTo>
                    <a:cubicBezTo>
                      <a:pt x="625" y="3873"/>
                      <a:pt x="625" y="3873"/>
                      <a:pt x="625" y="3873"/>
                    </a:cubicBezTo>
                    <a:cubicBezTo>
                      <a:pt x="569" y="3927"/>
                      <a:pt x="569" y="3927"/>
                      <a:pt x="569" y="3927"/>
                    </a:cubicBezTo>
                    <a:cubicBezTo>
                      <a:pt x="722" y="4113"/>
                      <a:pt x="722" y="4113"/>
                      <a:pt x="722" y="4113"/>
                    </a:cubicBezTo>
                    <a:cubicBezTo>
                      <a:pt x="780" y="4068"/>
                      <a:pt x="780" y="4068"/>
                      <a:pt x="780" y="4068"/>
                    </a:cubicBezTo>
                    <a:cubicBezTo>
                      <a:pt x="884" y="4189"/>
                      <a:pt x="884" y="4189"/>
                      <a:pt x="884" y="4189"/>
                    </a:cubicBezTo>
                    <a:cubicBezTo>
                      <a:pt x="365" y="4650"/>
                      <a:pt x="365" y="4650"/>
                      <a:pt x="365" y="4650"/>
                    </a:cubicBezTo>
                    <a:cubicBezTo>
                      <a:pt x="159" y="4410"/>
                      <a:pt x="159" y="4410"/>
                      <a:pt x="159" y="4410"/>
                    </a:cubicBezTo>
                    <a:cubicBezTo>
                      <a:pt x="45" y="4507"/>
                      <a:pt x="45" y="4507"/>
                      <a:pt x="45" y="4507"/>
                    </a:cubicBezTo>
                    <a:cubicBezTo>
                      <a:pt x="3" y="4458"/>
                      <a:pt x="3" y="4458"/>
                      <a:pt x="3" y="4458"/>
                    </a:cubicBezTo>
                    <a:cubicBezTo>
                      <a:pt x="3" y="4480"/>
                      <a:pt x="3" y="4480"/>
                      <a:pt x="3" y="4480"/>
                    </a:cubicBezTo>
                    <a:cubicBezTo>
                      <a:pt x="44" y="4528"/>
                      <a:pt x="44" y="4528"/>
                      <a:pt x="44" y="4528"/>
                    </a:cubicBezTo>
                    <a:lnTo>
                      <a:pt x="158" y="4431"/>
                    </a:lnTo>
                    <a:close/>
                    <a:moveTo>
                      <a:pt x="20" y="6699"/>
                    </a:moveTo>
                    <a:cubicBezTo>
                      <a:pt x="3" y="6604"/>
                      <a:pt x="3" y="6604"/>
                      <a:pt x="3" y="6604"/>
                    </a:cubicBezTo>
                    <a:cubicBezTo>
                      <a:pt x="3" y="6525"/>
                      <a:pt x="3" y="6525"/>
                      <a:pt x="3" y="6525"/>
                    </a:cubicBezTo>
                    <a:cubicBezTo>
                      <a:pt x="22" y="6515"/>
                      <a:pt x="75" y="6486"/>
                      <a:pt x="117" y="6452"/>
                    </a:cubicBezTo>
                    <a:cubicBezTo>
                      <a:pt x="142" y="6431"/>
                      <a:pt x="161" y="6402"/>
                      <a:pt x="174" y="6378"/>
                    </a:cubicBezTo>
                    <a:cubicBezTo>
                      <a:pt x="188" y="6354"/>
                      <a:pt x="194" y="6335"/>
                      <a:pt x="195" y="6335"/>
                    </a:cubicBezTo>
                    <a:cubicBezTo>
                      <a:pt x="197" y="6327"/>
                      <a:pt x="197" y="6327"/>
                      <a:pt x="197" y="6327"/>
                    </a:cubicBezTo>
                    <a:cubicBezTo>
                      <a:pt x="205" y="6331"/>
                      <a:pt x="205" y="6331"/>
                      <a:pt x="205" y="6331"/>
                    </a:cubicBezTo>
                    <a:cubicBezTo>
                      <a:pt x="205" y="6331"/>
                      <a:pt x="238" y="6349"/>
                      <a:pt x="317" y="6388"/>
                    </a:cubicBezTo>
                    <a:cubicBezTo>
                      <a:pt x="398" y="6429"/>
                      <a:pt x="535" y="6527"/>
                      <a:pt x="535" y="6528"/>
                    </a:cubicBezTo>
                    <a:cubicBezTo>
                      <a:pt x="533" y="6540"/>
                      <a:pt x="533" y="6540"/>
                      <a:pt x="533" y="6540"/>
                    </a:cubicBezTo>
                    <a:cubicBezTo>
                      <a:pt x="411" y="6593"/>
                      <a:pt x="411" y="6593"/>
                      <a:pt x="411" y="6593"/>
                    </a:cubicBezTo>
                    <a:cubicBezTo>
                      <a:pt x="287" y="6515"/>
                      <a:pt x="287" y="6515"/>
                      <a:pt x="287" y="6515"/>
                    </a:cubicBezTo>
                    <a:cubicBezTo>
                      <a:pt x="313" y="6613"/>
                      <a:pt x="313" y="6613"/>
                      <a:pt x="313" y="6613"/>
                    </a:cubicBezTo>
                    <a:cubicBezTo>
                      <a:pt x="228" y="6676"/>
                      <a:pt x="228" y="6676"/>
                      <a:pt x="228" y="6676"/>
                    </a:cubicBezTo>
                    <a:cubicBezTo>
                      <a:pt x="139" y="6569"/>
                      <a:pt x="139" y="6569"/>
                      <a:pt x="139" y="6569"/>
                    </a:cubicBezTo>
                    <a:cubicBezTo>
                      <a:pt x="139" y="6691"/>
                      <a:pt x="139" y="6691"/>
                      <a:pt x="139" y="6691"/>
                    </a:cubicBezTo>
                    <a:lnTo>
                      <a:pt x="20" y="6699"/>
                    </a:lnTo>
                    <a:close/>
                    <a:moveTo>
                      <a:pt x="7" y="6540"/>
                    </a:moveTo>
                    <a:cubicBezTo>
                      <a:pt x="32" y="6683"/>
                      <a:pt x="32" y="6683"/>
                      <a:pt x="32" y="6683"/>
                    </a:cubicBezTo>
                    <a:cubicBezTo>
                      <a:pt x="124" y="6677"/>
                      <a:pt x="124" y="6677"/>
                      <a:pt x="124" y="6677"/>
                    </a:cubicBezTo>
                    <a:cubicBezTo>
                      <a:pt x="124" y="6549"/>
                      <a:pt x="124" y="6549"/>
                      <a:pt x="124" y="6549"/>
                    </a:cubicBezTo>
                    <a:cubicBezTo>
                      <a:pt x="138" y="6544"/>
                      <a:pt x="138" y="6544"/>
                      <a:pt x="138" y="6544"/>
                    </a:cubicBezTo>
                    <a:cubicBezTo>
                      <a:pt x="231" y="6656"/>
                      <a:pt x="231" y="6656"/>
                      <a:pt x="231" y="6656"/>
                    </a:cubicBezTo>
                    <a:cubicBezTo>
                      <a:pt x="296" y="6607"/>
                      <a:pt x="296" y="6607"/>
                      <a:pt x="296" y="6607"/>
                    </a:cubicBezTo>
                    <a:cubicBezTo>
                      <a:pt x="268" y="6501"/>
                      <a:pt x="268" y="6501"/>
                      <a:pt x="268" y="6501"/>
                    </a:cubicBezTo>
                    <a:cubicBezTo>
                      <a:pt x="279" y="6492"/>
                      <a:pt x="279" y="6492"/>
                      <a:pt x="279" y="6492"/>
                    </a:cubicBezTo>
                    <a:cubicBezTo>
                      <a:pt x="412" y="6576"/>
                      <a:pt x="412" y="6576"/>
                      <a:pt x="412" y="6576"/>
                    </a:cubicBezTo>
                    <a:cubicBezTo>
                      <a:pt x="515" y="6532"/>
                      <a:pt x="515" y="6532"/>
                      <a:pt x="515" y="6532"/>
                    </a:cubicBezTo>
                    <a:cubicBezTo>
                      <a:pt x="482" y="6508"/>
                      <a:pt x="376" y="6434"/>
                      <a:pt x="311" y="6402"/>
                    </a:cubicBezTo>
                    <a:cubicBezTo>
                      <a:pt x="252" y="6373"/>
                      <a:pt x="219" y="6355"/>
                      <a:pt x="205" y="6348"/>
                    </a:cubicBezTo>
                    <a:cubicBezTo>
                      <a:pt x="197" y="6369"/>
                      <a:pt x="170" y="6427"/>
                      <a:pt x="126" y="6463"/>
                    </a:cubicBezTo>
                    <a:cubicBezTo>
                      <a:pt x="81" y="6500"/>
                      <a:pt x="24" y="6531"/>
                      <a:pt x="7" y="6540"/>
                    </a:cubicBezTo>
                    <a:close/>
                    <a:moveTo>
                      <a:pt x="81" y="7186"/>
                    </a:moveTo>
                    <a:cubicBezTo>
                      <a:pt x="3" y="7152"/>
                      <a:pt x="3" y="7152"/>
                      <a:pt x="3" y="7152"/>
                    </a:cubicBezTo>
                    <a:cubicBezTo>
                      <a:pt x="3" y="7105"/>
                      <a:pt x="3" y="7105"/>
                      <a:pt x="3" y="7105"/>
                    </a:cubicBezTo>
                    <a:cubicBezTo>
                      <a:pt x="45" y="7009"/>
                      <a:pt x="45" y="7009"/>
                      <a:pt x="45" y="7009"/>
                    </a:cubicBezTo>
                    <a:cubicBezTo>
                      <a:pt x="140" y="7050"/>
                      <a:pt x="140" y="7050"/>
                      <a:pt x="140" y="7050"/>
                    </a:cubicBezTo>
                    <a:lnTo>
                      <a:pt x="81" y="7186"/>
                    </a:lnTo>
                    <a:close/>
                    <a:moveTo>
                      <a:pt x="74" y="7169"/>
                    </a:moveTo>
                    <a:cubicBezTo>
                      <a:pt x="123" y="7057"/>
                      <a:pt x="123" y="7057"/>
                      <a:pt x="123" y="7057"/>
                    </a:cubicBezTo>
                    <a:cubicBezTo>
                      <a:pt x="52" y="7026"/>
                      <a:pt x="52" y="7026"/>
                      <a:pt x="52" y="7026"/>
                    </a:cubicBezTo>
                    <a:cubicBezTo>
                      <a:pt x="3" y="7138"/>
                      <a:pt x="3" y="7138"/>
                      <a:pt x="3" y="7138"/>
                    </a:cubicBezTo>
                    <a:lnTo>
                      <a:pt x="74" y="7169"/>
                    </a:lnTo>
                    <a:close/>
                    <a:moveTo>
                      <a:pt x="4904" y="10227"/>
                    </a:moveTo>
                    <a:cubicBezTo>
                      <a:pt x="4929" y="10328"/>
                      <a:pt x="4929" y="10328"/>
                      <a:pt x="4929" y="10328"/>
                    </a:cubicBezTo>
                    <a:cubicBezTo>
                      <a:pt x="4785" y="10363"/>
                      <a:pt x="4785" y="10363"/>
                      <a:pt x="4785" y="10363"/>
                    </a:cubicBezTo>
                    <a:cubicBezTo>
                      <a:pt x="4783" y="10356"/>
                      <a:pt x="4783" y="10356"/>
                      <a:pt x="4783" y="10356"/>
                    </a:cubicBezTo>
                    <a:cubicBezTo>
                      <a:pt x="4760" y="10261"/>
                      <a:pt x="4760" y="10261"/>
                      <a:pt x="4760" y="10261"/>
                    </a:cubicBezTo>
                    <a:lnTo>
                      <a:pt x="4904" y="10227"/>
                    </a:lnTo>
                    <a:close/>
                    <a:moveTo>
                      <a:pt x="4913" y="10319"/>
                    </a:moveTo>
                    <a:cubicBezTo>
                      <a:pt x="4895" y="10242"/>
                      <a:pt x="4895" y="10242"/>
                      <a:pt x="4895" y="10242"/>
                    </a:cubicBezTo>
                    <a:cubicBezTo>
                      <a:pt x="4776" y="10271"/>
                      <a:pt x="4776" y="10271"/>
                      <a:pt x="4776" y="10271"/>
                    </a:cubicBezTo>
                    <a:cubicBezTo>
                      <a:pt x="4794" y="10347"/>
                      <a:pt x="4794" y="10347"/>
                      <a:pt x="4794" y="10347"/>
                    </a:cubicBezTo>
                    <a:lnTo>
                      <a:pt x="4913" y="10319"/>
                    </a:lnTo>
                    <a:close/>
                    <a:moveTo>
                      <a:pt x="155" y="7594"/>
                    </a:moveTo>
                    <a:cubicBezTo>
                      <a:pt x="59" y="7429"/>
                      <a:pt x="59" y="7429"/>
                      <a:pt x="59" y="7429"/>
                    </a:cubicBezTo>
                    <a:cubicBezTo>
                      <a:pt x="64" y="7426"/>
                      <a:pt x="64" y="7426"/>
                      <a:pt x="64" y="7426"/>
                    </a:cubicBezTo>
                    <a:cubicBezTo>
                      <a:pt x="133" y="7386"/>
                      <a:pt x="133" y="7386"/>
                      <a:pt x="133" y="7386"/>
                    </a:cubicBezTo>
                    <a:cubicBezTo>
                      <a:pt x="157" y="7426"/>
                      <a:pt x="157" y="7426"/>
                      <a:pt x="157" y="7426"/>
                    </a:cubicBezTo>
                    <a:cubicBezTo>
                      <a:pt x="206" y="7397"/>
                      <a:pt x="206" y="7397"/>
                      <a:pt x="206" y="7397"/>
                    </a:cubicBezTo>
                    <a:cubicBezTo>
                      <a:pt x="255" y="7481"/>
                      <a:pt x="255" y="7481"/>
                      <a:pt x="255" y="7481"/>
                    </a:cubicBezTo>
                    <a:cubicBezTo>
                      <a:pt x="206" y="7510"/>
                      <a:pt x="206" y="7510"/>
                      <a:pt x="206" y="7510"/>
                    </a:cubicBezTo>
                    <a:cubicBezTo>
                      <a:pt x="229" y="7550"/>
                      <a:pt x="229" y="7550"/>
                      <a:pt x="229" y="7550"/>
                    </a:cubicBezTo>
                    <a:lnTo>
                      <a:pt x="155" y="7594"/>
                    </a:lnTo>
                    <a:close/>
                    <a:moveTo>
                      <a:pt x="77" y="7434"/>
                    </a:moveTo>
                    <a:cubicBezTo>
                      <a:pt x="160" y="7576"/>
                      <a:pt x="160" y="7576"/>
                      <a:pt x="160" y="7576"/>
                    </a:cubicBezTo>
                    <a:cubicBezTo>
                      <a:pt x="211" y="7546"/>
                      <a:pt x="211" y="7546"/>
                      <a:pt x="211" y="7546"/>
                    </a:cubicBezTo>
                    <a:cubicBezTo>
                      <a:pt x="188" y="7505"/>
                      <a:pt x="188" y="7505"/>
                      <a:pt x="188" y="7505"/>
                    </a:cubicBezTo>
                    <a:cubicBezTo>
                      <a:pt x="237" y="7476"/>
                      <a:pt x="237" y="7476"/>
                      <a:pt x="237" y="7476"/>
                    </a:cubicBezTo>
                    <a:cubicBezTo>
                      <a:pt x="202" y="7415"/>
                      <a:pt x="202" y="7415"/>
                      <a:pt x="202" y="7415"/>
                    </a:cubicBezTo>
                    <a:cubicBezTo>
                      <a:pt x="152" y="7444"/>
                      <a:pt x="152" y="7444"/>
                      <a:pt x="152" y="7444"/>
                    </a:cubicBezTo>
                    <a:cubicBezTo>
                      <a:pt x="128" y="7404"/>
                      <a:pt x="128" y="7404"/>
                      <a:pt x="128" y="7404"/>
                    </a:cubicBezTo>
                    <a:lnTo>
                      <a:pt x="77" y="7434"/>
                    </a:lnTo>
                    <a:close/>
                    <a:moveTo>
                      <a:pt x="5510" y="7177"/>
                    </a:moveTo>
                    <a:cubicBezTo>
                      <a:pt x="5660" y="7195"/>
                      <a:pt x="5660" y="7195"/>
                      <a:pt x="5660" y="7195"/>
                    </a:cubicBezTo>
                    <a:cubicBezTo>
                      <a:pt x="5651" y="7270"/>
                      <a:pt x="5651" y="7270"/>
                      <a:pt x="5651" y="7270"/>
                    </a:cubicBezTo>
                    <a:cubicBezTo>
                      <a:pt x="5645" y="7270"/>
                      <a:pt x="5645" y="7270"/>
                      <a:pt x="5645" y="7270"/>
                    </a:cubicBezTo>
                    <a:cubicBezTo>
                      <a:pt x="5501" y="7252"/>
                      <a:pt x="5501" y="7252"/>
                      <a:pt x="5501" y="7252"/>
                    </a:cubicBezTo>
                    <a:lnTo>
                      <a:pt x="5510" y="7177"/>
                    </a:lnTo>
                    <a:close/>
                    <a:moveTo>
                      <a:pt x="5515" y="7241"/>
                    </a:moveTo>
                    <a:cubicBezTo>
                      <a:pt x="5640" y="7256"/>
                      <a:pt x="5640" y="7256"/>
                      <a:pt x="5640" y="7256"/>
                    </a:cubicBezTo>
                    <a:cubicBezTo>
                      <a:pt x="5646" y="7207"/>
                      <a:pt x="5646" y="7207"/>
                      <a:pt x="5646" y="7207"/>
                    </a:cubicBezTo>
                    <a:cubicBezTo>
                      <a:pt x="5521" y="7191"/>
                      <a:pt x="5521" y="7191"/>
                      <a:pt x="5521" y="7191"/>
                    </a:cubicBezTo>
                    <a:lnTo>
                      <a:pt x="5515" y="7241"/>
                    </a:lnTo>
                    <a:close/>
                    <a:moveTo>
                      <a:pt x="4703" y="10269"/>
                    </a:moveTo>
                    <a:cubicBezTo>
                      <a:pt x="4727" y="10371"/>
                      <a:pt x="4727" y="10371"/>
                      <a:pt x="4727" y="10371"/>
                    </a:cubicBezTo>
                    <a:cubicBezTo>
                      <a:pt x="4583" y="10405"/>
                      <a:pt x="4583" y="10405"/>
                      <a:pt x="4583" y="10405"/>
                    </a:cubicBezTo>
                    <a:cubicBezTo>
                      <a:pt x="4582" y="10399"/>
                      <a:pt x="4582" y="10399"/>
                      <a:pt x="4582" y="10399"/>
                    </a:cubicBezTo>
                    <a:cubicBezTo>
                      <a:pt x="4559" y="10304"/>
                      <a:pt x="4559" y="10304"/>
                      <a:pt x="4559" y="10304"/>
                    </a:cubicBezTo>
                    <a:lnTo>
                      <a:pt x="4703" y="10269"/>
                    </a:lnTo>
                    <a:close/>
                    <a:moveTo>
                      <a:pt x="4712" y="10361"/>
                    </a:moveTo>
                    <a:cubicBezTo>
                      <a:pt x="4693" y="10285"/>
                      <a:pt x="4693" y="10285"/>
                      <a:pt x="4693" y="10285"/>
                    </a:cubicBezTo>
                    <a:cubicBezTo>
                      <a:pt x="4574" y="10313"/>
                      <a:pt x="4574" y="10313"/>
                      <a:pt x="4574" y="10313"/>
                    </a:cubicBezTo>
                    <a:cubicBezTo>
                      <a:pt x="4593" y="10390"/>
                      <a:pt x="4593" y="10390"/>
                      <a:pt x="4593" y="10390"/>
                    </a:cubicBezTo>
                    <a:lnTo>
                      <a:pt x="4712" y="10361"/>
                    </a:lnTo>
                    <a:close/>
                    <a:moveTo>
                      <a:pt x="4185" y="10724"/>
                    </a:moveTo>
                    <a:cubicBezTo>
                      <a:pt x="4125" y="10666"/>
                      <a:pt x="4125" y="10666"/>
                      <a:pt x="4125" y="10666"/>
                    </a:cubicBezTo>
                    <a:cubicBezTo>
                      <a:pt x="4017" y="10705"/>
                      <a:pt x="4017" y="10705"/>
                      <a:pt x="4017" y="10705"/>
                    </a:cubicBezTo>
                    <a:cubicBezTo>
                      <a:pt x="4025" y="10761"/>
                      <a:pt x="4025" y="10761"/>
                      <a:pt x="4025" y="10761"/>
                    </a:cubicBezTo>
                    <a:cubicBezTo>
                      <a:pt x="3801" y="10810"/>
                      <a:pt x="3801" y="10810"/>
                      <a:pt x="3801" y="10810"/>
                    </a:cubicBezTo>
                    <a:cubicBezTo>
                      <a:pt x="3741" y="10773"/>
                      <a:pt x="3741" y="10773"/>
                      <a:pt x="3741" y="10773"/>
                    </a:cubicBezTo>
                    <a:cubicBezTo>
                      <a:pt x="3646" y="10820"/>
                      <a:pt x="3646" y="10820"/>
                      <a:pt x="3646" y="10820"/>
                    </a:cubicBezTo>
                    <a:cubicBezTo>
                      <a:pt x="3647" y="10821"/>
                      <a:pt x="3647" y="10821"/>
                      <a:pt x="3647" y="10821"/>
                    </a:cubicBezTo>
                    <a:cubicBezTo>
                      <a:pt x="3677" y="10821"/>
                      <a:pt x="3677" y="10821"/>
                      <a:pt x="3677" y="10821"/>
                    </a:cubicBezTo>
                    <a:cubicBezTo>
                      <a:pt x="3740" y="10790"/>
                      <a:pt x="3740" y="10790"/>
                      <a:pt x="3740" y="10790"/>
                    </a:cubicBezTo>
                    <a:cubicBezTo>
                      <a:pt x="3791" y="10821"/>
                      <a:pt x="3791" y="10821"/>
                      <a:pt x="3791" y="10821"/>
                    </a:cubicBezTo>
                    <a:cubicBezTo>
                      <a:pt x="3819" y="10821"/>
                      <a:pt x="3819" y="10821"/>
                      <a:pt x="3819" y="10821"/>
                    </a:cubicBezTo>
                    <a:cubicBezTo>
                      <a:pt x="4042" y="10773"/>
                      <a:pt x="4042" y="10773"/>
                      <a:pt x="4042" y="10773"/>
                    </a:cubicBezTo>
                    <a:cubicBezTo>
                      <a:pt x="4033" y="10715"/>
                      <a:pt x="4033" y="10715"/>
                      <a:pt x="4033" y="10715"/>
                    </a:cubicBezTo>
                    <a:cubicBezTo>
                      <a:pt x="4121" y="10683"/>
                      <a:pt x="4121" y="10683"/>
                      <a:pt x="4121" y="10683"/>
                    </a:cubicBezTo>
                    <a:cubicBezTo>
                      <a:pt x="4168" y="10728"/>
                      <a:pt x="4168" y="10728"/>
                      <a:pt x="4168" y="10728"/>
                    </a:cubicBezTo>
                    <a:cubicBezTo>
                      <a:pt x="4131" y="10821"/>
                      <a:pt x="4131" y="10821"/>
                      <a:pt x="4131" y="10821"/>
                    </a:cubicBezTo>
                    <a:cubicBezTo>
                      <a:pt x="4147" y="10821"/>
                      <a:pt x="4147" y="10821"/>
                      <a:pt x="4147" y="10821"/>
                    </a:cubicBezTo>
                    <a:cubicBezTo>
                      <a:pt x="4184" y="10729"/>
                      <a:pt x="4184" y="10729"/>
                      <a:pt x="4184" y="10729"/>
                    </a:cubicBezTo>
                    <a:lnTo>
                      <a:pt x="4185" y="10724"/>
                    </a:lnTo>
                    <a:close/>
                    <a:moveTo>
                      <a:pt x="1630" y="8707"/>
                    </a:moveTo>
                    <a:cubicBezTo>
                      <a:pt x="1630" y="8687"/>
                      <a:pt x="1635" y="8665"/>
                      <a:pt x="1642" y="8646"/>
                    </a:cubicBezTo>
                    <a:cubicBezTo>
                      <a:pt x="1656" y="8609"/>
                      <a:pt x="1682" y="8602"/>
                      <a:pt x="1690" y="8585"/>
                    </a:cubicBezTo>
                    <a:cubicBezTo>
                      <a:pt x="1692" y="8580"/>
                      <a:pt x="1693" y="8576"/>
                      <a:pt x="1693" y="8571"/>
                    </a:cubicBezTo>
                    <a:cubicBezTo>
                      <a:pt x="1693" y="8557"/>
                      <a:pt x="1684" y="8541"/>
                      <a:pt x="1676" y="8532"/>
                    </a:cubicBezTo>
                    <a:cubicBezTo>
                      <a:pt x="1672" y="8527"/>
                      <a:pt x="1669" y="8522"/>
                      <a:pt x="1670" y="8517"/>
                    </a:cubicBezTo>
                    <a:cubicBezTo>
                      <a:pt x="1670" y="8505"/>
                      <a:pt x="1679" y="8495"/>
                      <a:pt x="1688" y="8484"/>
                    </a:cubicBezTo>
                    <a:cubicBezTo>
                      <a:pt x="1702" y="8468"/>
                      <a:pt x="1740" y="8453"/>
                      <a:pt x="1743" y="8439"/>
                    </a:cubicBezTo>
                    <a:cubicBezTo>
                      <a:pt x="1748" y="8422"/>
                      <a:pt x="1753" y="8384"/>
                      <a:pt x="1797" y="8380"/>
                    </a:cubicBezTo>
                    <a:cubicBezTo>
                      <a:pt x="1799" y="8380"/>
                      <a:pt x="1800" y="8380"/>
                      <a:pt x="1801" y="8380"/>
                    </a:cubicBezTo>
                    <a:cubicBezTo>
                      <a:pt x="1835" y="8381"/>
                      <a:pt x="1843" y="8421"/>
                      <a:pt x="1843" y="8445"/>
                    </a:cubicBezTo>
                    <a:cubicBezTo>
                      <a:pt x="1843" y="8452"/>
                      <a:pt x="1842" y="8458"/>
                      <a:pt x="1841" y="8462"/>
                    </a:cubicBezTo>
                    <a:cubicBezTo>
                      <a:pt x="1834" y="8485"/>
                      <a:pt x="1787" y="8482"/>
                      <a:pt x="1767" y="8497"/>
                    </a:cubicBezTo>
                    <a:cubicBezTo>
                      <a:pt x="1761" y="8501"/>
                      <a:pt x="1759" y="8506"/>
                      <a:pt x="1759" y="8512"/>
                    </a:cubicBezTo>
                    <a:cubicBezTo>
                      <a:pt x="1759" y="8524"/>
                      <a:pt x="1771" y="8539"/>
                      <a:pt x="1781" y="8543"/>
                    </a:cubicBezTo>
                    <a:cubicBezTo>
                      <a:pt x="1797" y="8549"/>
                      <a:pt x="1854" y="8545"/>
                      <a:pt x="1881" y="8560"/>
                    </a:cubicBezTo>
                    <a:cubicBezTo>
                      <a:pt x="1892" y="8565"/>
                      <a:pt x="1898" y="8572"/>
                      <a:pt x="1898" y="8581"/>
                    </a:cubicBezTo>
                    <a:cubicBezTo>
                      <a:pt x="1897" y="8596"/>
                      <a:pt x="1882" y="8609"/>
                      <a:pt x="1854" y="8624"/>
                    </a:cubicBezTo>
                    <a:cubicBezTo>
                      <a:pt x="1810" y="8648"/>
                      <a:pt x="1761" y="8651"/>
                      <a:pt x="1739" y="8659"/>
                    </a:cubicBezTo>
                    <a:cubicBezTo>
                      <a:pt x="1716" y="8667"/>
                      <a:pt x="1706" y="8675"/>
                      <a:pt x="1695" y="8701"/>
                    </a:cubicBezTo>
                    <a:cubicBezTo>
                      <a:pt x="1683" y="8730"/>
                      <a:pt x="1655" y="8748"/>
                      <a:pt x="1655" y="8748"/>
                    </a:cubicBezTo>
                    <a:cubicBezTo>
                      <a:pt x="1653" y="8749"/>
                      <a:pt x="1653" y="8749"/>
                      <a:pt x="1653" y="8749"/>
                    </a:cubicBezTo>
                    <a:cubicBezTo>
                      <a:pt x="1652" y="8749"/>
                      <a:pt x="1652" y="8749"/>
                      <a:pt x="1652" y="8749"/>
                    </a:cubicBezTo>
                    <a:cubicBezTo>
                      <a:pt x="1635" y="8744"/>
                      <a:pt x="1630" y="8726"/>
                      <a:pt x="1630" y="8707"/>
                    </a:cubicBezTo>
                    <a:close/>
                    <a:moveTo>
                      <a:pt x="1638" y="8707"/>
                    </a:moveTo>
                    <a:cubicBezTo>
                      <a:pt x="1638" y="8725"/>
                      <a:pt x="1643" y="8737"/>
                      <a:pt x="1652" y="8740"/>
                    </a:cubicBezTo>
                    <a:cubicBezTo>
                      <a:pt x="1658" y="8736"/>
                      <a:pt x="1678" y="8720"/>
                      <a:pt x="1687" y="8698"/>
                    </a:cubicBezTo>
                    <a:cubicBezTo>
                      <a:pt x="1698" y="8670"/>
                      <a:pt x="1712" y="8659"/>
                      <a:pt x="1736" y="8651"/>
                    </a:cubicBezTo>
                    <a:cubicBezTo>
                      <a:pt x="1760" y="8642"/>
                      <a:pt x="1807" y="8640"/>
                      <a:pt x="1850" y="8617"/>
                    </a:cubicBezTo>
                    <a:cubicBezTo>
                      <a:pt x="1878" y="8603"/>
                      <a:pt x="1890" y="8589"/>
                      <a:pt x="1890" y="8581"/>
                    </a:cubicBezTo>
                    <a:cubicBezTo>
                      <a:pt x="1890" y="8576"/>
                      <a:pt x="1887" y="8572"/>
                      <a:pt x="1878" y="8567"/>
                    </a:cubicBezTo>
                    <a:cubicBezTo>
                      <a:pt x="1854" y="8554"/>
                      <a:pt x="1798" y="8558"/>
                      <a:pt x="1778" y="8551"/>
                    </a:cubicBezTo>
                    <a:cubicBezTo>
                      <a:pt x="1764" y="8545"/>
                      <a:pt x="1751" y="8528"/>
                      <a:pt x="1751" y="8512"/>
                    </a:cubicBezTo>
                    <a:cubicBezTo>
                      <a:pt x="1751" y="8504"/>
                      <a:pt x="1754" y="8496"/>
                      <a:pt x="1762" y="8490"/>
                    </a:cubicBezTo>
                    <a:cubicBezTo>
                      <a:pt x="1786" y="8475"/>
                      <a:pt x="1833" y="8472"/>
                      <a:pt x="1833" y="8460"/>
                    </a:cubicBezTo>
                    <a:cubicBezTo>
                      <a:pt x="1834" y="8457"/>
                      <a:pt x="1835" y="8451"/>
                      <a:pt x="1835" y="8445"/>
                    </a:cubicBezTo>
                    <a:cubicBezTo>
                      <a:pt x="1835" y="8434"/>
                      <a:pt x="1833" y="8419"/>
                      <a:pt x="1827" y="8407"/>
                    </a:cubicBezTo>
                    <a:cubicBezTo>
                      <a:pt x="1822" y="8396"/>
                      <a:pt x="1814" y="8388"/>
                      <a:pt x="1801" y="8388"/>
                    </a:cubicBezTo>
                    <a:cubicBezTo>
                      <a:pt x="1800" y="8388"/>
                      <a:pt x="1799" y="8388"/>
                      <a:pt x="1798" y="8388"/>
                    </a:cubicBezTo>
                    <a:cubicBezTo>
                      <a:pt x="1760" y="8392"/>
                      <a:pt x="1757" y="8423"/>
                      <a:pt x="1751" y="8441"/>
                    </a:cubicBezTo>
                    <a:cubicBezTo>
                      <a:pt x="1743" y="8463"/>
                      <a:pt x="1705" y="8475"/>
                      <a:pt x="1694" y="8489"/>
                    </a:cubicBezTo>
                    <a:cubicBezTo>
                      <a:pt x="1685" y="8500"/>
                      <a:pt x="1677" y="8510"/>
                      <a:pt x="1678" y="8517"/>
                    </a:cubicBezTo>
                    <a:cubicBezTo>
                      <a:pt x="1678" y="8520"/>
                      <a:pt x="1679" y="8523"/>
                      <a:pt x="1682" y="8526"/>
                    </a:cubicBezTo>
                    <a:cubicBezTo>
                      <a:pt x="1691" y="8537"/>
                      <a:pt x="1701" y="8554"/>
                      <a:pt x="1701" y="8571"/>
                    </a:cubicBezTo>
                    <a:cubicBezTo>
                      <a:pt x="1701" y="8577"/>
                      <a:pt x="1700" y="8583"/>
                      <a:pt x="1697" y="8588"/>
                    </a:cubicBezTo>
                    <a:cubicBezTo>
                      <a:pt x="1686" y="8610"/>
                      <a:pt x="1663" y="8615"/>
                      <a:pt x="1650" y="8649"/>
                    </a:cubicBezTo>
                    <a:cubicBezTo>
                      <a:pt x="1643" y="8667"/>
                      <a:pt x="1638" y="8689"/>
                      <a:pt x="1638" y="8707"/>
                    </a:cubicBezTo>
                    <a:close/>
                    <a:moveTo>
                      <a:pt x="6062" y="6595"/>
                    </a:moveTo>
                    <a:cubicBezTo>
                      <a:pt x="5918" y="6577"/>
                      <a:pt x="5918" y="6577"/>
                      <a:pt x="5918" y="6577"/>
                    </a:cubicBezTo>
                    <a:cubicBezTo>
                      <a:pt x="5927" y="6502"/>
                      <a:pt x="5927" y="6502"/>
                      <a:pt x="5927" y="6502"/>
                    </a:cubicBezTo>
                    <a:cubicBezTo>
                      <a:pt x="6077" y="6520"/>
                      <a:pt x="6077" y="6520"/>
                      <a:pt x="6077" y="6520"/>
                    </a:cubicBezTo>
                    <a:cubicBezTo>
                      <a:pt x="6068" y="6595"/>
                      <a:pt x="6068" y="6595"/>
                      <a:pt x="6068" y="6595"/>
                    </a:cubicBezTo>
                    <a:lnTo>
                      <a:pt x="6062" y="6595"/>
                    </a:lnTo>
                    <a:close/>
                    <a:moveTo>
                      <a:pt x="6057" y="6581"/>
                    </a:moveTo>
                    <a:cubicBezTo>
                      <a:pt x="6063" y="6532"/>
                      <a:pt x="6063" y="6532"/>
                      <a:pt x="6063" y="6532"/>
                    </a:cubicBezTo>
                    <a:cubicBezTo>
                      <a:pt x="5938" y="6516"/>
                      <a:pt x="5938" y="6516"/>
                      <a:pt x="5938" y="6516"/>
                    </a:cubicBezTo>
                    <a:cubicBezTo>
                      <a:pt x="5932" y="6565"/>
                      <a:pt x="5932" y="6565"/>
                      <a:pt x="5932" y="6565"/>
                    </a:cubicBezTo>
                    <a:lnTo>
                      <a:pt x="6057" y="6581"/>
                    </a:lnTo>
                    <a:close/>
                    <a:moveTo>
                      <a:pt x="3718" y="10675"/>
                    </a:moveTo>
                    <a:cubicBezTo>
                      <a:pt x="3771" y="10727"/>
                      <a:pt x="3771" y="10727"/>
                      <a:pt x="3771" y="10727"/>
                    </a:cubicBezTo>
                    <a:cubicBezTo>
                      <a:pt x="3985" y="10680"/>
                      <a:pt x="3985" y="10680"/>
                      <a:pt x="3985" y="10680"/>
                    </a:cubicBezTo>
                    <a:cubicBezTo>
                      <a:pt x="3966" y="10584"/>
                      <a:pt x="3966" y="10584"/>
                      <a:pt x="3966" y="10584"/>
                    </a:cubicBezTo>
                    <a:cubicBezTo>
                      <a:pt x="4096" y="10545"/>
                      <a:pt x="4096" y="10545"/>
                      <a:pt x="4096" y="10545"/>
                    </a:cubicBezTo>
                    <a:cubicBezTo>
                      <a:pt x="4097" y="10451"/>
                      <a:pt x="4097" y="10451"/>
                      <a:pt x="4097" y="10451"/>
                    </a:cubicBezTo>
                    <a:cubicBezTo>
                      <a:pt x="4097" y="10441"/>
                      <a:pt x="4097" y="10441"/>
                      <a:pt x="4097" y="10441"/>
                    </a:cubicBezTo>
                    <a:cubicBezTo>
                      <a:pt x="3301" y="10681"/>
                      <a:pt x="3301" y="10681"/>
                      <a:pt x="3301" y="10681"/>
                    </a:cubicBezTo>
                    <a:cubicBezTo>
                      <a:pt x="3404" y="10821"/>
                      <a:pt x="3404" y="10821"/>
                      <a:pt x="3404" y="10821"/>
                    </a:cubicBezTo>
                    <a:cubicBezTo>
                      <a:pt x="3423" y="10821"/>
                      <a:pt x="3423" y="10821"/>
                      <a:pt x="3423" y="10821"/>
                    </a:cubicBezTo>
                    <a:cubicBezTo>
                      <a:pt x="3326" y="10689"/>
                      <a:pt x="3326" y="10689"/>
                      <a:pt x="3326" y="10689"/>
                    </a:cubicBezTo>
                    <a:cubicBezTo>
                      <a:pt x="4082" y="10461"/>
                      <a:pt x="4082" y="10461"/>
                      <a:pt x="4082" y="10461"/>
                    </a:cubicBezTo>
                    <a:cubicBezTo>
                      <a:pt x="4081" y="10534"/>
                      <a:pt x="4081" y="10534"/>
                      <a:pt x="4081" y="10534"/>
                    </a:cubicBezTo>
                    <a:cubicBezTo>
                      <a:pt x="3949" y="10573"/>
                      <a:pt x="3949" y="10573"/>
                      <a:pt x="3949" y="10573"/>
                    </a:cubicBezTo>
                    <a:cubicBezTo>
                      <a:pt x="3968" y="10669"/>
                      <a:pt x="3968" y="10669"/>
                      <a:pt x="3968" y="10669"/>
                    </a:cubicBezTo>
                    <a:cubicBezTo>
                      <a:pt x="3776" y="10711"/>
                      <a:pt x="3776" y="10711"/>
                      <a:pt x="3776" y="10711"/>
                    </a:cubicBezTo>
                    <a:cubicBezTo>
                      <a:pt x="3719" y="10655"/>
                      <a:pt x="3719" y="10655"/>
                      <a:pt x="3719" y="10655"/>
                    </a:cubicBezTo>
                    <a:cubicBezTo>
                      <a:pt x="3554" y="10787"/>
                      <a:pt x="3554" y="10787"/>
                      <a:pt x="3554" y="10787"/>
                    </a:cubicBezTo>
                    <a:cubicBezTo>
                      <a:pt x="3571" y="10821"/>
                      <a:pt x="3571" y="10821"/>
                      <a:pt x="3571" y="10821"/>
                    </a:cubicBezTo>
                    <a:cubicBezTo>
                      <a:pt x="3587" y="10821"/>
                      <a:pt x="3587" y="10821"/>
                      <a:pt x="3587" y="10821"/>
                    </a:cubicBezTo>
                    <a:cubicBezTo>
                      <a:pt x="3572" y="10791"/>
                      <a:pt x="3572" y="10791"/>
                      <a:pt x="3572" y="10791"/>
                    </a:cubicBezTo>
                    <a:lnTo>
                      <a:pt x="3718" y="10675"/>
                    </a:lnTo>
                    <a:close/>
                    <a:moveTo>
                      <a:pt x="3731" y="5497"/>
                    </a:moveTo>
                    <a:cubicBezTo>
                      <a:pt x="3735" y="5572"/>
                      <a:pt x="3735" y="5572"/>
                      <a:pt x="3735" y="5572"/>
                    </a:cubicBezTo>
                    <a:cubicBezTo>
                      <a:pt x="3584" y="5581"/>
                      <a:pt x="3584" y="5581"/>
                      <a:pt x="3584" y="5581"/>
                    </a:cubicBezTo>
                    <a:cubicBezTo>
                      <a:pt x="3580" y="5506"/>
                      <a:pt x="3580" y="5506"/>
                      <a:pt x="3580" y="5506"/>
                    </a:cubicBezTo>
                    <a:cubicBezTo>
                      <a:pt x="3586" y="5505"/>
                      <a:pt x="3586" y="5505"/>
                      <a:pt x="3586" y="5505"/>
                    </a:cubicBezTo>
                    <a:lnTo>
                      <a:pt x="3731" y="5497"/>
                    </a:lnTo>
                    <a:close/>
                    <a:moveTo>
                      <a:pt x="3721" y="5560"/>
                    </a:moveTo>
                    <a:cubicBezTo>
                      <a:pt x="3718" y="5511"/>
                      <a:pt x="3718" y="5511"/>
                      <a:pt x="3718" y="5511"/>
                    </a:cubicBezTo>
                    <a:cubicBezTo>
                      <a:pt x="3593" y="5518"/>
                      <a:pt x="3593" y="5518"/>
                      <a:pt x="3593" y="5518"/>
                    </a:cubicBezTo>
                    <a:cubicBezTo>
                      <a:pt x="3596" y="5568"/>
                      <a:pt x="3596" y="5568"/>
                      <a:pt x="3596" y="5568"/>
                    </a:cubicBezTo>
                    <a:lnTo>
                      <a:pt x="3721" y="5560"/>
                    </a:lnTo>
                    <a:close/>
                    <a:moveTo>
                      <a:pt x="4357" y="10715"/>
                    </a:moveTo>
                    <a:cubicBezTo>
                      <a:pt x="4272" y="10775"/>
                      <a:pt x="4272" y="10775"/>
                      <a:pt x="4272" y="10775"/>
                    </a:cubicBezTo>
                    <a:cubicBezTo>
                      <a:pt x="4253" y="10821"/>
                      <a:pt x="4253" y="10821"/>
                      <a:pt x="4253" y="10821"/>
                    </a:cubicBezTo>
                    <a:cubicBezTo>
                      <a:pt x="4269" y="10821"/>
                      <a:pt x="4269" y="10821"/>
                      <a:pt x="4269" y="10821"/>
                    </a:cubicBezTo>
                    <a:cubicBezTo>
                      <a:pt x="4284" y="10784"/>
                      <a:pt x="4284" y="10784"/>
                      <a:pt x="4284" y="10784"/>
                    </a:cubicBezTo>
                    <a:cubicBezTo>
                      <a:pt x="4362" y="10730"/>
                      <a:pt x="4362" y="10730"/>
                      <a:pt x="4362" y="10730"/>
                    </a:cubicBezTo>
                    <a:cubicBezTo>
                      <a:pt x="4516" y="10715"/>
                      <a:pt x="4516" y="10715"/>
                      <a:pt x="4516" y="10715"/>
                    </a:cubicBezTo>
                    <a:cubicBezTo>
                      <a:pt x="4553" y="10821"/>
                      <a:pt x="4553" y="10821"/>
                      <a:pt x="4553" y="10821"/>
                    </a:cubicBezTo>
                    <a:cubicBezTo>
                      <a:pt x="4569" y="10821"/>
                      <a:pt x="4569" y="10821"/>
                      <a:pt x="4569" y="10821"/>
                    </a:cubicBezTo>
                    <a:cubicBezTo>
                      <a:pt x="4526" y="10699"/>
                      <a:pt x="4526" y="10699"/>
                      <a:pt x="4526" y="10699"/>
                    </a:cubicBezTo>
                    <a:lnTo>
                      <a:pt x="4357" y="10715"/>
                    </a:lnTo>
                    <a:close/>
                    <a:moveTo>
                      <a:pt x="7275" y="9967"/>
                    </a:moveTo>
                    <a:cubicBezTo>
                      <a:pt x="7328" y="10021"/>
                      <a:pt x="7328" y="10021"/>
                      <a:pt x="7328" y="10021"/>
                    </a:cubicBezTo>
                    <a:cubicBezTo>
                      <a:pt x="7273" y="10074"/>
                      <a:pt x="7273" y="10074"/>
                      <a:pt x="7273" y="10074"/>
                    </a:cubicBezTo>
                    <a:cubicBezTo>
                      <a:pt x="7269" y="10069"/>
                      <a:pt x="7269" y="10069"/>
                      <a:pt x="7269" y="10069"/>
                    </a:cubicBezTo>
                    <a:cubicBezTo>
                      <a:pt x="7137" y="9930"/>
                      <a:pt x="7137" y="9930"/>
                      <a:pt x="7137" y="9930"/>
                    </a:cubicBezTo>
                    <a:cubicBezTo>
                      <a:pt x="7172" y="9895"/>
                      <a:pt x="7172" y="9895"/>
                      <a:pt x="7172" y="9895"/>
                    </a:cubicBezTo>
                    <a:cubicBezTo>
                      <a:pt x="7164" y="9887"/>
                      <a:pt x="7164" y="9887"/>
                      <a:pt x="7164" y="9887"/>
                    </a:cubicBezTo>
                    <a:cubicBezTo>
                      <a:pt x="7160" y="9882"/>
                      <a:pt x="7160" y="9882"/>
                      <a:pt x="7160" y="9882"/>
                    </a:cubicBezTo>
                    <a:cubicBezTo>
                      <a:pt x="7229" y="9815"/>
                      <a:pt x="7229" y="9815"/>
                      <a:pt x="7229" y="9815"/>
                    </a:cubicBezTo>
                    <a:cubicBezTo>
                      <a:pt x="7327" y="9916"/>
                      <a:pt x="7327" y="9916"/>
                      <a:pt x="7327" y="9916"/>
                    </a:cubicBezTo>
                    <a:lnTo>
                      <a:pt x="7275" y="9967"/>
                    </a:lnTo>
                    <a:close/>
                    <a:moveTo>
                      <a:pt x="7256" y="9967"/>
                    </a:moveTo>
                    <a:cubicBezTo>
                      <a:pt x="7309" y="9916"/>
                      <a:pt x="7309" y="9916"/>
                      <a:pt x="7309" y="9916"/>
                    </a:cubicBezTo>
                    <a:cubicBezTo>
                      <a:pt x="7229" y="9833"/>
                      <a:pt x="7229" y="9833"/>
                      <a:pt x="7229" y="9833"/>
                    </a:cubicBezTo>
                    <a:cubicBezTo>
                      <a:pt x="7178" y="9883"/>
                      <a:pt x="7178" y="9883"/>
                      <a:pt x="7178" y="9883"/>
                    </a:cubicBezTo>
                    <a:cubicBezTo>
                      <a:pt x="7186" y="9891"/>
                      <a:pt x="7186" y="9891"/>
                      <a:pt x="7186" y="9891"/>
                    </a:cubicBezTo>
                    <a:cubicBezTo>
                      <a:pt x="7191" y="9896"/>
                      <a:pt x="7191" y="9896"/>
                      <a:pt x="7191" y="9896"/>
                    </a:cubicBezTo>
                    <a:cubicBezTo>
                      <a:pt x="7155" y="9930"/>
                      <a:pt x="7155" y="9930"/>
                      <a:pt x="7155" y="9930"/>
                    </a:cubicBezTo>
                    <a:cubicBezTo>
                      <a:pt x="7274" y="10055"/>
                      <a:pt x="7274" y="10055"/>
                      <a:pt x="7274" y="10055"/>
                    </a:cubicBezTo>
                    <a:cubicBezTo>
                      <a:pt x="7309" y="10021"/>
                      <a:pt x="7309" y="10021"/>
                      <a:pt x="7309" y="10021"/>
                    </a:cubicBezTo>
                    <a:lnTo>
                      <a:pt x="7256" y="9967"/>
                    </a:lnTo>
                    <a:close/>
                    <a:moveTo>
                      <a:pt x="5890" y="6676"/>
                    </a:moveTo>
                    <a:cubicBezTo>
                      <a:pt x="6040" y="6695"/>
                      <a:pt x="6040" y="6695"/>
                      <a:pt x="6040" y="6695"/>
                    </a:cubicBezTo>
                    <a:cubicBezTo>
                      <a:pt x="6031" y="6770"/>
                      <a:pt x="6031" y="6770"/>
                      <a:pt x="6031" y="6770"/>
                    </a:cubicBezTo>
                    <a:cubicBezTo>
                      <a:pt x="6025" y="6769"/>
                      <a:pt x="6025" y="6769"/>
                      <a:pt x="6025" y="6769"/>
                    </a:cubicBezTo>
                    <a:cubicBezTo>
                      <a:pt x="5881" y="6751"/>
                      <a:pt x="5881" y="6751"/>
                      <a:pt x="5881" y="6751"/>
                    </a:cubicBezTo>
                    <a:lnTo>
                      <a:pt x="5890" y="6676"/>
                    </a:lnTo>
                    <a:close/>
                    <a:moveTo>
                      <a:pt x="5895" y="6740"/>
                    </a:moveTo>
                    <a:cubicBezTo>
                      <a:pt x="6020" y="6755"/>
                      <a:pt x="6020" y="6755"/>
                      <a:pt x="6020" y="6755"/>
                    </a:cubicBezTo>
                    <a:cubicBezTo>
                      <a:pt x="6026" y="6706"/>
                      <a:pt x="6026" y="6706"/>
                      <a:pt x="6026" y="6706"/>
                    </a:cubicBezTo>
                    <a:cubicBezTo>
                      <a:pt x="5901" y="6691"/>
                      <a:pt x="5901" y="6691"/>
                      <a:pt x="5901" y="6691"/>
                    </a:cubicBezTo>
                    <a:lnTo>
                      <a:pt x="5895" y="6740"/>
                    </a:lnTo>
                    <a:close/>
                    <a:moveTo>
                      <a:pt x="76" y="8335"/>
                    </a:moveTo>
                    <a:cubicBezTo>
                      <a:pt x="3" y="8230"/>
                      <a:pt x="3" y="8230"/>
                      <a:pt x="3" y="8230"/>
                    </a:cubicBezTo>
                    <a:cubicBezTo>
                      <a:pt x="3" y="8253"/>
                      <a:pt x="3" y="8253"/>
                      <a:pt x="3" y="8253"/>
                    </a:cubicBezTo>
                    <a:cubicBezTo>
                      <a:pt x="58" y="8331"/>
                      <a:pt x="58" y="8331"/>
                      <a:pt x="58" y="8331"/>
                    </a:cubicBezTo>
                    <a:cubicBezTo>
                      <a:pt x="17" y="8360"/>
                      <a:pt x="17" y="8360"/>
                      <a:pt x="17" y="8360"/>
                    </a:cubicBezTo>
                    <a:cubicBezTo>
                      <a:pt x="3" y="8340"/>
                      <a:pt x="3" y="8340"/>
                      <a:pt x="3" y="8340"/>
                    </a:cubicBezTo>
                    <a:cubicBezTo>
                      <a:pt x="3" y="8363"/>
                      <a:pt x="3" y="8363"/>
                      <a:pt x="3" y="8363"/>
                    </a:cubicBezTo>
                    <a:cubicBezTo>
                      <a:pt x="14" y="8378"/>
                      <a:pt x="14" y="8378"/>
                      <a:pt x="14" y="8378"/>
                    </a:cubicBezTo>
                    <a:lnTo>
                      <a:pt x="76" y="8335"/>
                    </a:lnTo>
                    <a:close/>
                    <a:moveTo>
                      <a:pt x="5060" y="10302"/>
                    </a:moveTo>
                    <a:cubicBezTo>
                      <a:pt x="5045" y="10206"/>
                      <a:pt x="5045" y="10206"/>
                      <a:pt x="5045" y="10206"/>
                    </a:cubicBezTo>
                    <a:cubicBezTo>
                      <a:pt x="5191" y="10182"/>
                      <a:pt x="5191" y="10182"/>
                      <a:pt x="5191" y="10182"/>
                    </a:cubicBezTo>
                    <a:cubicBezTo>
                      <a:pt x="5208" y="10286"/>
                      <a:pt x="5208" y="10286"/>
                      <a:pt x="5208" y="10286"/>
                    </a:cubicBezTo>
                    <a:cubicBezTo>
                      <a:pt x="5062" y="10309"/>
                      <a:pt x="5062" y="10309"/>
                      <a:pt x="5062" y="10309"/>
                    </a:cubicBezTo>
                    <a:lnTo>
                      <a:pt x="5060" y="10302"/>
                    </a:lnTo>
                    <a:close/>
                    <a:moveTo>
                      <a:pt x="5060" y="10216"/>
                    </a:moveTo>
                    <a:cubicBezTo>
                      <a:pt x="5072" y="10294"/>
                      <a:pt x="5072" y="10294"/>
                      <a:pt x="5072" y="10294"/>
                    </a:cubicBezTo>
                    <a:cubicBezTo>
                      <a:pt x="5193" y="10275"/>
                      <a:pt x="5193" y="10275"/>
                      <a:pt x="5193" y="10275"/>
                    </a:cubicBezTo>
                    <a:cubicBezTo>
                      <a:pt x="5180" y="10197"/>
                      <a:pt x="5180" y="10197"/>
                      <a:pt x="5180" y="10197"/>
                    </a:cubicBezTo>
                    <a:lnTo>
                      <a:pt x="5060" y="10216"/>
                    </a:lnTo>
                    <a:close/>
                    <a:moveTo>
                      <a:pt x="3092" y="7240"/>
                    </a:moveTo>
                    <a:cubicBezTo>
                      <a:pt x="3053" y="7260"/>
                      <a:pt x="3053" y="7260"/>
                      <a:pt x="3053" y="7260"/>
                    </a:cubicBezTo>
                    <a:cubicBezTo>
                      <a:pt x="2947" y="7004"/>
                      <a:pt x="2947" y="7004"/>
                      <a:pt x="2947" y="7004"/>
                    </a:cubicBezTo>
                    <a:cubicBezTo>
                      <a:pt x="2984" y="6992"/>
                      <a:pt x="2984" y="6992"/>
                      <a:pt x="2984" y="6992"/>
                    </a:cubicBezTo>
                    <a:cubicBezTo>
                      <a:pt x="2935" y="6876"/>
                      <a:pt x="2935" y="6876"/>
                      <a:pt x="2935" y="6876"/>
                    </a:cubicBezTo>
                    <a:cubicBezTo>
                      <a:pt x="2997" y="6859"/>
                      <a:pt x="2997" y="6859"/>
                      <a:pt x="2997" y="6859"/>
                    </a:cubicBezTo>
                    <a:cubicBezTo>
                      <a:pt x="3000" y="6863"/>
                      <a:pt x="3000" y="6863"/>
                      <a:pt x="3000" y="6863"/>
                    </a:cubicBezTo>
                    <a:cubicBezTo>
                      <a:pt x="3000" y="6863"/>
                      <a:pt x="3022" y="6895"/>
                      <a:pt x="3053" y="6931"/>
                    </a:cubicBezTo>
                    <a:cubicBezTo>
                      <a:pt x="3083" y="6968"/>
                      <a:pt x="3123" y="7010"/>
                      <a:pt x="3157" y="7031"/>
                    </a:cubicBezTo>
                    <a:cubicBezTo>
                      <a:pt x="3229" y="7075"/>
                      <a:pt x="3335" y="7157"/>
                      <a:pt x="3335" y="7158"/>
                    </a:cubicBezTo>
                    <a:cubicBezTo>
                      <a:pt x="3354" y="7172"/>
                      <a:pt x="3354" y="7172"/>
                      <a:pt x="3354" y="7172"/>
                    </a:cubicBezTo>
                    <a:cubicBezTo>
                      <a:pt x="3330" y="7171"/>
                      <a:pt x="3330" y="7171"/>
                      <a:pt x="3330" y="7171"/>
                    </a:cubicBezTo>
                    <a:cubicBezTo>
                      <a:pt x="3319" y="7170"/>
                      <a:pt x="3309" y="7170"/>
                      <a:pt x="3300" y="7170"/>
                    </a:cubicBezTo>
                    <a:cubicBezTo>
                      <a:pt x="3200" y="7171"/>
                      <a:pt x="3198" y="7206"/>
                      <a:pt x="3197" y="7216"/>
                    </a:cubicBezTo>
                    <a:cubicBezTo>
                      <a:pt x="3197" y="7219"/>
                      <a:pt x="3197" y="7220"/>
                      <a:pt x="3197" y="7220"/>
                    </a:cubicBezTo>
                    <a:cubicBezTo>
                      <a:pt x="3198" y="7225"/>
                      <a:pt x="3198" y="7225"/>
                      <a:pt x="3198" y="7225"/>
                    </a:cubicBezTo>
                    <a:cubicBezTo>
                      <a:pt x="3113" y="7266"/>
                      <a:pt x="3113" y="7266"/>
                      <a:pt x="3113" y="7266"/>
                    </a:cubicBezTo>
                    <a:lnTo>
                      <a:pt x="3092" y="7240"/>
                    </a:lnTo>
                    <a:close/>
                    <a:moveTo>
                      <a:pt x="3060" y="7239"/>
                    </a:moveTo>
                    <a:cubicBezTo>
                      <a:pt x="3096" y="7221"/>
                      <a:pt x="3096" y="7221"/>
                      <a:pt x="3096" y="7221"/>
                    </a:cubicBezTo>
                    <a:cubicBezTo>
                      <a:pt x="3117" y="7247"/>
                      <a:pt x="3117" y="7247"/>
                      <a:pt x="3117" y="7247"/>
                    </a:cubicBezTo>
                    <a:cubicBezTo>
                      <a:pt x="3182" y="7217"/>
                      <a:pt x="3182" y="7217"/>
                      <a:pt x="3182" y="7217"/>
                    </a:cubicBezTo>
                    <a:cubicBezTo>
                      <a:pt x="3182" y="7217"/>
                      <a:pt x="3182" y="7216"/>
                      <a:pt x="3182" y="7216"/>
                    </a:cubicBezTo>
                    <a:cubicBezTo>
                      <a:pt x="3182" y="7207"/>
                      <a:pt x="3185" y="7191"/>
                      <a:pt x="3202" y="7178"/>
                    </a:cubicBezTo>
                    <a:cubicBezTo>
                      <a:pt x="3219" y="7165"/>
                      <a:pt x="3249" y="7155"/>
                      <a:pt x="3300" y="7155"/>
                    </a:cubicBezTo>
                    <a:cubicBezTo>
                      <a:pt x="3302" y="7155"/>
                      <a:pt x="3305" y="7155"/>
                      <a:pt x="3307" y="7155"/>
                    </a:cubicBezTo>
                    <a:cubicBezTo>
                      <a:pt x="3274" y="7130"/>
                      <a:pt x="3202" y="7076"/>
                      <a:pt x="3149" y="7044"/>
                    </a:cubicBezTo>
                    <a:cubicBezTo>
                      <a:pt x="3084" y="7003"/>
                      <a:pt x="3007" y="6898"/>
                      <a:pt x="2991" y="6876"/>
                    </a:cubicBezTo>
                    <a:cubicBezTo>
                      <a:pt x="2955" y="6885"/>
                      <a:pt x="2955" y="6885"/>
                      <a:pt x="2955" y="6885"/>
                    </a:cubicBezTo>
                    <a:cubicBezTo>
                      <a:pt x="3004" y="7001"/>
                      <a:pt x="3004" y="7001"/>
                      <a:pt x="3004" y="7001"/>
                    </a:cubicBezTo>
                    <a:cubicBezTo>
                      <a:pt x="2967" y="7014"/>
                      <a:pt x="2967" y="7014"/>
                      <a:pt x="2967" y="7014"/>
                    </a:cubicBezTo>
                    <a:lnTo>
                      <a:pt x="3060" y="7239"/>
                    </a:lnTo>
                    <a:close/>
                    <a:moveTo>
                      <a:pt x="3538" y="5176"/>
                    </a:moveTo>
                    <a:cubicBezTo>
                      <a:pt x="3580" y="5208"/>
                      <a:pt x="3580" y="5208"/>
                      <a:pt x="3580" y="5208"/>
                    </a:cubicBezTo>
                    <a:cubicBezTo>
                      <a:pt x="3466" y="5354"/>
                      <a:pt x="3466" y="5354"/>
                      <a:pt x="3466" y="5354"/>
                    </a:cubicBezTo>
                    <a:cubicBezTo>
                      <a:pt x="3379" y="5287"/>
                      <a:pt x="3379" y="5287"/>
                      <a:pt x="3379" y="5287"/>
                    </a:cubicBezTo>
                    <a:cubicBezTo>
                      <a:pt x="3424" y="5229"/>
                      <a:pt x="3424" y="5229"/>
                      <a:pt x="3424" y="5229"/>
                    </a:cubicBezTo>
                    <a:cubicBezTo>
                      <a:pt x="3379" y="5194"/>
                      <a:pt x="3379" y="5194"/>
                      <a:pt x="3379" y="5194"/>
                    </a:cubicBezTo>
                    <a:cubicBezTo>
                      <a:pt x="3383" y="5189"/>
                      <a:pt x="3383" y="5189"/>
                      <a:pt x="3383" y="5189"/>
                    </a:cubicBezTo>
                    <a:cubicBezTo>
                      <a:pt x="3452" y="5095"/>
                      <a:pt x="3452" y="5095"/>
                      <a:pt x="3452" y="5095"/>
                    </a:cubicBezTo>
                    <a:cubicBezTo>
                      <a:pt x="3545" y="5168"/>
                      <a:pt x="3545" y="5168"/>
                      <a:pt x="3545" y="5168"/>
                    </a:cubicBezTo>
                    <a:lnTo>
                      <a:pt x="3538" y="5176"/>
                    </a:lnTo>
                    <a:close/>
                    <a:moveTo>
                      <a:pt x="3520" y="5178"/>
                    </a:moveTo>
                    <a:cubicBezTo>
                      <a:pt x="3526" y="5170"/>
                      <a:pt x="3526" y="5170"/>
                      <a:pt x="3526" y="5170"/>
                    </a:cubicBezTo>
                    <a:cubicBezTo>
                      <a:pt x="3454" y="5114"/>
                      <a:pt x="3454" y="5114"/>
                      <a:pt x="3454" y="5114"/>
                    </a:cubicBezTo>
                    <a:cubicBezTo>
                      <a:pt x="3397" y="5192"/>
                      <a:pt x="3397" y="5192"/>
                      <a:pt x="3397" y="5192"/>
                    </a:cubicBezTo>
                    <a:cubicBezTo>
                      <a:pt x="3442" y="5227"/>
                      <a:pt x="3442" y="5227"/>
                      <a:pt x="3442" y="5227"/>
                    </a:cubicBezTo>
                    <a:cubicBezTo>
                      <a:pt x="3398" y="5285"/>
                      <a:pt x="3398" y="5285"/>
                      <a:pt x="3398" y="5285"/>
                    </a:cubicBezTo>
                    <a:cubicBezTo>
                      <a:pt x="3464" y="5336"/>
                      <a:pt x="3464" y="5336"/>
                      <a:pt x="3464" y="5336"/>
                    </a:cubicBezTo>
                    <a:cubicBezTo>
                      <a:pt x="3561" y="5210"/>
                      <a:pt x="3561" y="5210"/>
                      <a:pt x="3561" y="5210"/>
                    </a:cubicBezTo>
                    <a:lnTo>
                      <a:pt x="3520" y="5178"/>
                    </a:lnTo>
                    <a:close/>
                    <a:moveTo>
                      <a:pt x="3870" y="5799"/>
                    </a:moveTo>
                    <a:cubicBezTo>
                      <a:pt x="3881" y="5877"/>
                      <a:pt x="3881" y="5877"/>
                      <a:pt x="3881" y="5877"/>
                    </a:cubicBezTo>
                    <a:cubicBezTo>
                      <a:pt x="3738" y="5845"/>
                      <a:pt x="3738" y="5845"/>
                      <a:pt x="3738" y="5845"/>
                    </a:cubicBezTo>
                    <a:cubicBezTo>
                      <a:pt x="3731" y="5874"/>
                      <a:pt x="3731" y="5874"/>
                      <a:pt x="3731" y="5874"/>
                    </a:cubicBezTo>
                    <a:cubicBezTo>
                      <a:pt x="3488" y="5810"/>
                      <a:pt x="3488" y="5810"/>
                      <a:pt x="3488" y="5810"/>
                    </a:cubicBezTo>
                    <a:cubicBezTo>
                      <a:pt x="3533" y="5716"/>
                      <a:pt x="3533" y="5716"/>
                      <a:pt x="3533" y="5716"/>
                    </a:cubicBezTo>
                    <a:cubicBezTo>
                      <a:pt x="3869" y="5794"/>
                      <a:pt x="3869" y="5794"/>
                      <a:pt x="3869" y="5794"/>
                    </a:cubicBezTo>
                    <a:lnTo>
                      <a:pt x="3870" y="5799"/>
                    </a:lnTo>
                    <a:close/>
                    <a:moveTo>
                      <a:pt x="3863" y="5858"/>
                    </a:moveTo>
                    <a:cubicBezTo>
                      <a:pt x="3856" y="5806"/>
                      <a:pt x="3856" y="5806"/>
                      <a:pt x="3856" y="5806"/>
                    </a:cubicBezTo>
                    <a:cubicBezTo>
                      <a:pt x="3541" y="5733"/>
                      <a:pt x="3541" y="5733"/>
                      <a:pt x="3541" y="5733"/>
                    </a:cubicBezTo>
                    <a:cubicBezTo>
                      <a:pt x="3509" y="5801"/>
                      <a:pt x="3509" y="5801"/>
                      <a:pt x="3509" y="5801"/>
                    </a:cubicBezTo>
                    <a:cubicBezTo>
                      <a:pt x="3720" y="5856"/>
                      <a:pt x="3720" y="5856"/>
                      <a:pt x="3720" y="5856"/>
                    </a:cubicBezTo>
                    <a:cubicBezTo>
                      <a:pt x="3728" y="5827"/>
                      <a:pt x="3728" y="5827"/>
                      <a:pt x="3728" y="5827"/>
                    </a:cubicBezTo>
                    <a:lnTo>
                      <a:pt x="3863" y="5858"/>
                    </a:lnTo>
                    <a:close/>
                    <a:moveTo>
                      <a:pt x="3447" y="6773"/>
                    </a:moveTo>
                    <a:cubicBezTo>
                      <a:pt x="3446" y="6778"/>
                      <a:pt x="3446" y="6778"/>
                      <a:pt x="3446" y="6778"/>
                    </a:cubicBezTo>
                    <a:cubicBezTo>
                      <a:pt x="3423" y="6887"/>
                      <a:pt x="3423" y="6887"/>
                      <a:pt x="3423" y="6887"/>
                    </a:cubicBezTo>
                    <a:cubicBezTo>
                      <a:pt x="3384" y="6875"/>
                      <a:pt x="3384" y="6875"/>
                      <a:pt x="3384" y="6875"/>
                    </a:cubicBezTo>
                    <a:cubicBezTo>
                      <a:pt x="3354" y="6969"/>
                      <a:pt x="3354" y="6969"/>
                      <a:pt x="3354" y="6969"/>
                    </a:cubicBezTo>
                    <a:cubicBezTo>
                      <a:pt x="3345" y="6962"/>
                      <a:pt x="3345" y="6962"/>
                      <a:pt x="3345" y="6962"/>
                    </a:cubicBezTo>
                    <a:cubicBezTo>
                      <a:pt x="3345" y="6962"/>
                      <a:pt x="3315" y="6938"/>
                      <a:pt x="3255" y="6892"/>
                    </a:cubicBezTo>
                    <a:cubicBezTo>
                      <a:pt x="3192" y="6845"/>
                      <a:pt x="3163" y="6749"/>
                      <a:pt x="3163" y="6748"/>
                    </a:cubicBezTo>
                    <a:cubicBezTo>
                      <a:pt x="3162" y="6746"/>
                      <a:pt x="3162" y="6746"/>
                      <a:pt x="3162" y="6746"/>
                    </a:cubicBezTo>
                    <a:cubicBezTo>
                      <a:pt x="3193" y="6645"/>
                      <a:pt x="3193" y="6645"/>
                      <a:pt x="3193" y="6645"/>
                    </a:cubicBezTo>
                    <a:lnTo>
                      <a:pt x="3447" y="6773"/>
                    </a:lnTo>
                    <a:close/>
                    <a:moveTo>
                      <a:pt x="3431" y="6781"/>
                    </a:moveTo>
                    <a:cubicBezTo>
                      <a:pt x="3202" y="6666"/>
                      <a:pt x="3202" y="6666"/>
                      <a:pt x="3202" y="6666"/>
                    </a:cubicBezTo>
                    <a:cubicBezTo>
                      <a:pt x="3177" y="6746"/>
                      <a:pt x="3177" y="6746"/>
                      <a:pt x="3177" y="6746"/>
                    </a:cubicBezTo>
                    <a:cubicBezTo>
                      <a:pt x="3180" y="6752"/>
                      <a:pt x="3186" y="6772"/>
                      <a:pt x="3198" y="6796"/>
                    </a:cubicBezTo>
                    <a:cubicBezTo>
                      <a:pt x="3213" y="6825"/>
                      <a:pt x="3235" y="6859"/>
                      <a:pt x="3264" y="6881"/>
                    </a:cubicBezTo>
                    <a:cubicBezTo>
                      <a:pt x="3306" y="6912"/>
                      <a:pt x="3333" y="6934"/>
                      <a:pt x="3346" y="6944"/>
                    </a:cubicBezTo>
                    <a:cubicBezTo>
                      <a:pt x="3374" y="6857"/>
                      <a:pt x="3374" y="6857"/>
                      <a:pt x="3374" y="6857"/>
                    </a:cubicBezTo>
                    <a:cubicBezTo>
                      <a:pt x="3412" y="6868"/>
                      <a:pt x="3412" y="6868"/>
                      <a:pt x="3412" y="6868"/>
                    </a:cubicBezTo>
                    <a:lnTo>
                      <a:pt x="3431" y="6781"/>
                    </a:lnTo>
                    <a:close/>
                    <a:moveTo>
                      <a:pt x="5898" y="10227"/>
                    </a:moveTo>
                    <a:cubicBezTo>
                      <a:pt x="5751" y="10218"/>
                      <a:pt x="5751" y="10218"/>
                      <a:pt x="5751" y="10218"/>
                    </a:cubicBezTo>
                    <a:cubicBezTo>
                      <a:pt x="5751" y="10211"/>
                      <a:pt x="5751" y="10211"/>
                      <a:pt x="5751" y="10211"/>
                    </a:cubicBezTo>
                    <a:cubicBezTo>
                      <a:pt x="5757" y="10114"/>
                      <a:pt x="5757" y="10114"/>
                      <a:pt x="5757" y="10114"/>
                    </a:cubicBezTo>
                    <a:cubicBezTo>
                      <a:pt x="5905" y="10123"/>
                      <a:pt x="5905" y="10123"/>
                      <a:pt x="5905" y="10123"/>
                    </a:cubicBezTo>
                    <a:lnTo>
                      <a:pt x="5898" y="10227"/>
                    </a:lnTo>
                    <a:close/>
                    <a:moveTo>
                      <a:pt x="5891" y="10135"/>
                    </a:moveTo>
                    <a:cubicBezTo>
                      <a:pt x="5769" y="10127"/>
                      <a:pt x="5769" y="10127"/>
                      <a:pt x="5769" y="10127"/>
                    </a:cubicBezTo>
                    <a:cubicBezTo>
                      <a:pt x="5764" y="10206"/>
                      <a:pt x="5764" y="10206"/>
                      <a:pt x="5764" y="10206"/>
                    </a:cubicBezTo>
                    <a:cubicBezTo>
                      <a:pt x="5886" y="10213"/>
                      <a:pt x="5886" y="10213"/>
                      <a:pt x="5886" y="10213"/>
                    </a:cubicBezTo>
                    <a:lnTo>
                      <a:pt x="5891" y="10135"/>
                    </a:lnTo>
                    <a:close/>
                    <a:moveTo>
                      <a:pt x="3160" y="10728"/>
                    </a:moveTo>
                    <a:cubicBezTo>
                      <a:pt x="3154" y="10731"/>
                      <a:pt x="3154" y="10731"/>
                      <a:pt x="3154" y="10731"/>
                    </a:cubicBezTo>
                    <a:cubicBezTo>
                      <a:pt x="3154" y="10731"/>
                      <a:pt x="3044" y="10780"/>
                      <a:pt x="3000" y="10810"/>
                    </a:cubicBezTo>
                    <a:cubicBezTo>
                      <a:pt x="2994" y="10814"/>
                      <a:pt x="2989" y="10818"/>
                      <a:pt x="2985" y="10821"/>
                    </a:cubicBezTo>
                    <a:cubicBezTo>
                      <a:pt x="3010" y="10821"/>
                      <a:pt x="3010" y="10821"/>
                      <a:pt x="3010" y="10821"/>
                    </a:cubicBezTo>
                    <a:cubicBezTo>
                      <a:pt x="3048" y="10796"/>
                      <a:pt x="3133" y="10757"/>
                      <a:pt x="3155" y="10747"/>
                    </a:cubicBezTo>
                    <a:cubicBezTo>
                      <a:pt x="3214" y="10821"/>
                      <a:pt x="3214" y="10821"/>
                      <a:pt x="3214" y="10821"/>
                    </a:cubicBezTo>
                    <a:cubicBezTo>
                      <a:pt x="3233" y="10821"/>
                      <a:pt x="3233" y="10821"/>
                      <a:pt x="3233" y="10821"/>
                    </a:cubicBezTo>
                    <a:cubicBezTo>
                      <a:pt x="3163" y="10733"/>
                      <a:pt x="3163" y="10733"/>
                      <a:pt x="3163" y="10733"/>
                    </a:cubicBezTo>
                    <a:lnTo>
                      <a:pt x="3160" y="10728"/>
                    </a:lnTo>
                    <a:close/>
                    <a:moveTo>
                      <a:pt x="2310" y="10810"/>
                    </a:moveTo>
                    <a:cubicBezTo>
                      <a:pt x="2308" y="10810"/>
                      <a:pt x="2308" y="10810"/>
                      <a:pt x="2308" y="10810"/>
                    </a:cubicBezTo>
                    <a:cubicBezTo>
                      <a:pt x="2308" y="10810"/>
                      <a:pt x="2308" y="10810"/>
                      <a:pt x="2308" y="10810"/>
                    </a:cubicBezTo>
                    <a:cubicBezTo>
                      <a:pt x="2308" y="10810"/>
                      <a:pt x="2308" y="10810"/>
                      <a:pt x="2308" y="10810"/>
                    </a:cubicBezTo>
                    <a:cubicBezTo>
                      <a:pt x="2198" y="10813"/>
                      <a:pt x="2198" y="10813"/>
                      <a:pt x="2198" y="10813"/>
                    </a:cubicBezTo>
                    <a:cubicBezTo>
                      <a:pt x="2198" y="10813"/>
                      <a:pt x="2198" y="10813"/>
                      <a:pt x="2198" y="10813"/>
                    </a:cubicBezTo>
                    <a:cubicBezTo>
                      <a:pt x="2195" y="10813"/>
                      <a:pt x="2195" y="10813"/>
                      <a:pt x="2195" y="10813"/>
                    </a:cubicBezTo>
                    <a:cubicBezTo>
                      <a:pt x="2192" y="10814"/>
                      <a:pt x="2192" y="10814"/>
                      <a:pt x="2192" y="10814"/>
                    </a:cubicBezTo>
                    <a:cubicBezTo>
                      <a:pt x="2100" y="10821"/>
                      <a:pt x="2100" y="10821"/>
                      <a:pt x="2100" y="10821"/>
                    </a:cubicBezTo>
                    <a:cubicBezTo>
                      <a:pt x="2475" y="10821"/>
                      <a:pt x="2475" y="10821"/>
                      <a:pt x="2475" y="10821"/>
                    </a:cubicBezTo>
                    <a:cubicBezTo>
                      <a:pt x="2477" y="10817"/>
                      <a:pt x="2477" y="10817"/>
                      <a:pt x="2477" y="10817"/>
                    </a:cubicBezTo>
                    <a:lnTo>
                      <a:pt x="2310" y="10810"/>
                    </a:lnTo>
                    <a:close/>
                    <a:moveTo>
                      <a:pt x="6957" y="10106"/>
                    </a:moveTo>
                    <a:cubicBezTo>
                      <a:pt x="6952" y="10101"/>
                      <a:pt x="6952" y="10101"/>
                      <a:pt x="6952" y="10101"/>
                    </a:cubicBezTo>
                    <a:cubicBezTo>
                      <a:pt x="7022" y="10034"/>
                      <a:pt x="7022" y="10034"/>
                      <a:pt x="7022" y="10034"/>
                    </a:cubicBezTo>
                    <a:cubicBezTo>
                      <a:pt x="7120" y="10135"/>
                      <a:pt x="7120" y="10135"/>
                      <a:pt x="7120" y="10135"/>
                    </a:cubicBezTo>
                    <a:cubicBezTo>
                      <a:pt x="7068" y="10186"/>
                      <a:pt x="7068" y="10186"/>
                      <a:pt x="7068" y="10186"/>
                    </a:cubicBezTo>
                    <a:cubicBezTo>
                      <a:pt x="7120" y="10240"/>
                      <a:pt x="7120" y="10240"/>
                      <a:pt x="7120" y="10240"/>
                    </a:cubicBezTo>
                    <a:cubicBezTo>
                      <a:pt x="7066" y="10293"/>
                      <a:pt x="7066" y="10293"/>
                      <a:pt x="7066" y="10293"/>
                    </a:cubicBezTo>
                    <a:cubicBezTo>
                      <a:pt x="7061" y="10288"/>
                      <a:pt x="7061" y="10288"/>
                      <a:pt x="7061" y="10288"/>
                    </a:cubicBezTo>
                    <a:cubicBezTo>
                      <a:pt x="6930" y="10149"/>
                      <a:pt x="6930" y="10149"/>
                      <a:pt x="6930" y="10149"/>
                    </a:cubicBezTo>
                    <a:cubicBezTo>
                      <a:pt x="6965" y="10114"/>
                      <a:pt x="6965" y="10114"/>
                      <a:pt x="6965" y="10114"/>
                    </a:cubicBezTo>
                    <a:lnTo>
                      <a:pt x="6957" y="10106"/>
                    </a:lnTo>
                    <a:close/>
                    <a:moveTo>
                      <a:pt x="6971" y="10101"/>
                    </a:moveTo>
                    <a:cubicBezTo>
                      <a:pt x="6979" y="10110"/>
                      <a:pt x="6979" y="10110"/>
                      <a:pt x="6979" y="10110"/>
                    </a:cubicBezTo>
                    <a:cubicBezTo>
                      <a:pt x="6984" y="10115"/>
                      <a:pt x="6984" y="10115"/>
                      <a:pt x="6984" y="10115"/>
                    </a:cubicBezTo>
                    <a:cubicBezTo>
                      <a:pt x="6948" y="10149"/>
                      <a:pt x="6948" y="10149"/>
                      <a:pt x="6948" y="10149"/>
                    </a:cubicBezTo>
                    <a:cubicBezTo>
                      <a:pt x="7066" y="10274"/>
                      <a:pt x="7066" y="10274"/>
                      <a:pt x="7066" y="10274"/>
                    </a:cubicBezTo>
                    <a:cubicBezTo>
                      <a:pt x="7102" y="10240"/>
                      <a:pt x="7102" y="10240"/>
                      <a:pt x="7102" y="10240"/>
                    </a:cubicBezTo>
                    <a:cubicBezTo>
                      <a:pt x="7049" y="10186"/>
                      <a:pt x="7049" y="10186"/>
                      <a:pt x="7049" y="10186"/>
                    </a:cubicBezTo>
                    <a:cubicBezTo>
                      <a:pt x="7101" y="10135"/>
                      <a:pt x="7101" y="10135"/>
                      <a:pt x="7101" y="10135"/>
                    </a:cubicBezTo>
                    <a:cubicBezTo>
                      <a:pt x="7021" y="10052"/>
                      <a:pt x="7021" y="10052"/>
                      <a:pt x="7021" y="10052"/>
                    </a:cubicBezTo>
                    <a:lnTo>
                      <a:pt x="6971" y="10101"/>
                    </a:lnTo>
                    <a:close/>
                    <a:moveTo>
                      <a:pt x="1871" y="9598"/>
                    </a:moveTo>
                    <a:cubicBezTo>
                      <a:pt x="1847" y="9554"/>
                      <a:pt x="1847" y="9554"/>
                      <a:pt x="1847" y="9554"/>
                    </a:cubicBezTo>
                    <a:cubicBezTo>
                      <a:pt x="2126" y="9406"/>
                      <a:pt x="2126" y="9406"/>
                      <a:pt x="2126" y="9406"/>
                    </a:cubicBezTo>
                    <a:cubicBezTo>
                      <a:pt x="2065" y="9923"/>
                      <a:pt x="2065" y="9923"/>
                      <a:pt x="2065" y="9923"/>
                    </a:cubicBezTo>
                    <a:cubicBezTo>
                      <a:pt x="2007" y="9948"/>
                      <a:pt x="2007" y="9948"/>
                      <a:pt x="2007" y="9948"/>
                    </a:cubicBezTo>
                    <a:cubicBezTo>
                      <a:pt x="1826" y="9875"/>
                      <a:pt x="1826" y="9875"/>
                      <a:pt x="1826" y="9875"/>
                    </a:cubicBezTo>
                    <a:cubicBezTo>
                      <a:pt x="1902" y="9842"/>
                      <a:pt x="1902" y="9842"/>
                      <a:pt x="1902" y="9842"/>
                    </a:cubicBezTo>
                    <a:cubicBezTo>
                      <a:pt x="1934" y="9567"/>
                      <a:pt x="1934" y="9567"/>
                      <a:pt x="1934" y="9567"/>
                    </a:cubicBezTo>
                    <a:lnTo>
                      <a:pt x="1871" y="9598"/>
                    </a:lnTo>
                    <a:close/>
                    <a:moveTo>
                      <a:pt x="1866" y="9559"/>
                    </a:moveTo>
                    <a:cubicBezTo>
                      <a:pt x="1877" y="9580"/>
                      <a:pt x="1877" y="9580"/>
                      <a:pt x="1877" y="9580"/>
                    </a:cubicBezTo>
                    <a:cubicBezTo>
                      <a:pt x="1928" y="9555"/>
                      <a:pt x="1928" y="9555"/>
                      <a:pt x="1928" y="9555"/>
                    </a:cubicBezTo>
                    <a:cubicBezTo>
                      <a:pt x="1951" y="9544"/>
                      <a:pt x="1951" y="9544"/>
                      <a:pt x="1951" y="9544"/>
                    </a:cubicBezTo>
                    <a:cubicBezTo>
                      <a:pt x="1948" y="9569"/>
                      <a:pt x="1948" y="9569"/>
                      <a:pt x="1948" y="9569"/>
                    </a:cubicBezTo>
                    <a:cubicBezTo>
                      <a:pt x="1916" y="9844"/>
                      <a:pt x="1916" y="9844"/>
                      <a:pt x="1916" y="9844"/>
                    </a:cubicBezTo>
                    <a:cubicBezTo>
                      <a:pt x="1915" y="9852"/>
                      <a:pt x="1915" y="9852"/>
                      <a:pt x="1915" y="9852"/>
                    </a:cubicBezTo>
                    <a:cubicBezTo>
                      <a:pt x="1907" y="9855"/>
                      <a:pt x="1907" y="9855"/>
                      <a:pt x="1907" y="9855"/>
                    </a:cubicBezTo>
                    <a:cubicBezTo>
                      <a:pt x="1862" y="9874"/>
                      <a:pt x="1862" y="9874"/>
                      <a:pt x="1862" y="9874"/>
                    </a:cubicBezTo>
                    <a:cubicBezTo>
                      <a:pt x="2006" y="9933"/>
                      <a:pt x="2006" y="9933"/>
                      <a:pt x="2006" y="9933"/>
                    </a:cubicBezTo>
                    <a:cubicBezTo>
                      <a:pt x="2052" y="9913"/>
                      <a:pt x="2052" y="9913"/>
                      <a:pt x="2052" y="9913"/>
                    </a:cubicBezTo>
                    <a:cubicBezTo>
                      <a:pt x="2109" y="9430"/>
                      <a:pt x="2109" y="9430"/>
                      <a:pt x="2109" y="9430"/>
                    </a:cubicBezTo>
                    <a:lnTo>
                      <a:pt x="1866" y="9559"/>
                    </a:lnTo>
                    <a:close/>
                    <a:moveTo>
                      <a:pt x="50" y="8492"/>
                    </a:moveTo>
                    <a:cubicBezTo>
                      <a:pt x="22" y="8503"/>
                      <a:pt x="22" y="8503"/>
                      <a:pt x="22" y="8503"/>
                    </a:cubicBezTo>
                    <a:cubicBezTo>
                      <a:pt x="22" y="8503"/>
                      <a:pt x="15" y="8506"/>
                      <a:pt x="3" y="8511"/>
                    </a:cubicBezTo>
                    <a:cubicBezTo>
                      <a:pt x="3" y="8546"/>
                      <a:pt x="3" y="8546"/>
                      <a:pt x="3" y="8546"/>
                    </a:cubicBezTo>
                    <a:cubicBezTo>
                      <a:pt x="30" y="8515"/>
                      <a:pt x="30" y="8515"/>
                      <a:pt x="30" y="8515"/>
                    </a:cubicBezTo>
                    <a:lnTo>
                      <a:pt x="50" y="8492"/>
                    </a:lnTo>
                    <a:close/>
                    <a:moveTo>
                      <a:pt x="1230" y="9831"/>
                    </a:moveTo>
                    <a:cubicBezTo>
                      <a:pt x="1230" y="9831"/>
                      <a:pt x="1230" y="9831"/>
                      <a:pt x="1230" y="9831"/>
                    </a:cubicBezTo>
                    <a:cubicBezTo>
                      <a:pt x="1230" y="9831"/>
                      <a:pt x="1230" y="9831"/>
                      <a:pt x="1230" y="9831"/>
                    </a:cubicBezTo>
                    <a:cubicBezTo>
                      <a:pt x="1230" y="9831"/>
                      <a:pt x="1230" y="9831"/>
                      <a:pt x="1230" y="9831"/>
                    </a:cubicBezTo>
                    <a:close/>
                    <a:moveTo>
                      <a:pt x="4471" y="5008"/>
                    </a:moveTo>
                    <a:cubicBezTo>
                      <a:pt x="4547" y="5077"/>
                      <a:pt x="4547" y="5077"/>
                      <a:pt x="4547" y="5077"/>
                    </a:cubicBezTo>
                    <a:cubicBezTo>
                      <a:pt x="4448" y="5187"/>
                      <a:pt x="4448" y="5187"/>
                      <a:pt x="4448" y="5187"/>
                    </a:cubicBezTo>
                    <a:cubicBezTo>
                      <a:pt x="4372" y="5118"/>
                      <a:pt x="4372" y="5118"/>
                      <a:pt x="4372" y="5118"/>
                    </a:cubicBezTo>
                    <a:cubicBezTo>
                      <a:pt x="4376" y="5114"/>
                      <a:pt x="4376" y="5114"/>
                      <a:pt x="4376" y="5114"/>
                    </a:cubicBezTo>
                    <a:lnTo>
                      <a:pt x="4471" y="5008"/>
                    </a:lnTo>
                    <a:close/>
                    <a:moveTo>
                      <a:pt x="4472" y="5027"/>
                    </a:moveTo>
                    <a:cubicBezTo>
                      <a:pt x="4390" y="5117"/>
                      <a:pt x="4390" y="5117"/>
                      <a:pt x="4390" y="5117"/>
                    </a:cubicBezTo>
                    <a:cubicBezTo>
                      <a:pt x="4447" y="5169"/>
                      <a:pt x="4447" y="5169"/>
                      <a:pt x="4447" y="5169"/>
                    </a:cubicBezTo>
                    <a:cubicBezTo>
                      <a:pt x="4529" y="5078"/>
                      <a:pt x="4529" y="5078"/>
                      <a:pt x="4529" y="5078"/>
                    </a:cubicBezTo>
                    <a:lnTo>
                      <a:pt x="4472" y="5027"/>
                    </a:lnTo>
                    <a:close/>
                    <a:moveTo>
                      <a:pt x="1640" y="10101"/>
                    </a:moveTo>
                    <a:cubicBezTo>
                      <a:pt x="1301" y="9844"/>
                      <a:pt x="1301" y="9844"/>
                      <a:pt x="1301" y="9844"/>
                    </a:cubicBezTo>
                    <a:cubicBezTo>
                      <a:pt x="1518" y="9728"/>
                      <a:pt x="1518" y="9728"/>
                      <a:pt x="1518" y="9728"/>
                    </a:cubicBezTo>
                    <a:cubicBezTo>
                      <a:pt x="1540" y="9773"/>
                      <a:pt x="1540" y="9773"/>
                      <a:pt x="1540" y="9773"/>
                    </a:cubicBezTo>
                    <a:cubicBezTo>
                      <a:pt x="1496" y="9798"/>
                      <a:pt x="1496" y="9798"/>
                      <a:pt x="1496" y="9798"/>
                    </a:cubicBezTo>
                    <a:cubicBezTo>
                      <a:pt x="1671" y="9937"/>
                      <a:pt x="1671" y="9937"/>
                      <a:pt x="1671" y="9937"/>
                    </a:cubicBezTo>
                    <a:cubicBezTo>
                      <a:pt x="1716" y="9920"/>
                      <a:pt x="1716" y="9920"/>
                      <a:pt x="1716" y="9920"/>
                    </a:cubicBezTo>
                    <a:cubicBezTo>
                      <a:pt x="1951" y="9970"/>
                      <a:pt x="1951" y="9970"/>
                      <a:pt x="1951" y="9970"/>
                    </a:cubicBezTo>
                    <a:lnTo>
                      <a:pt x="1640" y="10101"/>
                    </a:lnTo>
                    <a:close/>
                    <a:moveTo>
                      <a:pt x="1327" y="9846"/>
                    </a:moveTo>
                    <a:cubicBezTo>
                      <a:pt x="1642" y="10085"/>
                      <a:pt x="1642" y="10085"/>
                      <a:pt x="1642" y="10085"/>
                    </a:cubicBezTo>
                    <a:cubicBezTo>
                      <a:pt x="1905" y="9975"/>
                      <a:pt x="1905" y="9975"/>
                      <a:pt x="1905" y="9975"/>
                    </a:cubicBezTo>
                    <a:cubicBezTo>
                      <a:pt x="1718" y="9934"/>
                      <a:pt x="1718" y="9934"/>
                      <a:pt x="1718" y="9934"/>
                    </a:cubicBezTo>
                    <a:cubicBezTo>
                      <a:pt x="1676" y="9950"/>
                      <a:pt x="1676" y="9950"/>
                      <a:pt x="1676" y="9950"/>
                    </a:cubicBezTo>
                    <a:cubicBezTo>
                      <a:pt x="1669" y="9953"/>
                      <a:pt x="1669" y="9953"/>
                      <a:pt x="1669" y="9953"/>
                    </a:cubicBezTo>
                    <a:cubicBezTo>
                      <a:pt x="1663" y="9948"/>
                      <a:pt x="1663" y="9948"/>
                      <a:pt x="1663" y="9948"/>
                    </a:cubicBezTo>
                    <a:cubicBezTo>
                      <a:pt x="1488" y="9809"/>
                      <a:pt x="1488" y="9809"/>
                      <a:pt x="1488" y="9809"/>
                    </a:cubicBezTo>
                    <a:cubicBezTo>
                      <a:pt x="1472" y="9797"/>
                      <a:pt x="1472" y="9797"/>
                      <a:pt x="1472" y="9797"/>
                    </a:cubicBezTo>
                    <a:cubicBezTo>
                      <a:pt x="1489" y="9786"/>
                      <a:pt x="1489" y="9786"/>
                      <a:pt x="1489" y="9786"/>
                    </a:cubicBezTo>
                    <a:cubicBezTo>
                      <a:pt x="1521" y="9767"/>
                      <a:pt x="1521" y="9767"/>
                      <a:pt x="1521" y="9767"/>
                    </a:cubicBezTo>
                    <a:cubicBezTo>
                      <a:pt x="1512" y="9747"/>
                      <a:pt x="1512" y="9747"/>
                      <a:pt x="1512" y="9747"/>
                    </a:cubicBezTo>
                    <a:lnTo>
                      <a:pt x="1327" y="9846"/>
                    </a:lnTo>
                    <a:close/>
                    <a:moveTo>
                      <a:pt x="3580" y="4770"/>
                    </a:moveTo>
                    <a:cubicBezTo>
                      <a:pt x="3654" y="4790"/>
                      <a:pt x="3654" y="4790"/>
                      <a:pt x="3654" y="4790"/>
                    </a:cubicBezTo>
                    <a:cubicBezTo>
                      <a:pt x="3614" y="4936"/>
                      <a:pt x="3614" y="4936"/>
                      <a:pt x="3614" y="4936"/>
                    </a:cubicBezTo>
                    <a:cubicBezTo>
                      <a:pt x="3541" y="4916"/>
                      <a:pt x="3541" y="4916"/>
                      <a:pt x="3541" y="4916"/>
                    </a:cubicBezTo>
                    <a:cubicBezTo>
                      <a:pt x="3543" y="4910"/>
                      <a:pt x="3543" y="4910"/>
                      <a:pt x="3543" y="4910"/>
                    </a:cubicBezTo>
                    <a:lnTo>
                      <a:pt x="3580" y="4770"/>
                    </a:lnTo>
                    <a:close/>
                    <a:moveTo>
                      <a:pt x="3590" y="4786"/>
                    </a:moveTo>
                    <a:cubicBezTo>
                      <a:pt x="3557" y="4907"/>
                      <a:pt x="3557" y="4907"/>
                      <a:pt x="3557" y="4907"/>
                    </a:cubicBezTo>
                    <a:cubicBezTo>
                      <a:pt x="3605" y="4920"/>
                      <a:pt x="3605" y="4920"/>
                      <a:pt x="3605" y="4920"/>
                    </a:cubicBezTo>
                    <a:cubicBezTo>
                      <a:pt x="3638" y="4799"/>
                      <a:pt x="3638" y="4799"/>
                      <a:pt x="3638" y="4799"/>
                    </a:cubicBezTo>
                    <a:lnTo>
                      <a:pt x="3590" y="4786"/>
                    </a:lnTo>
                    <a:close/>
                    <a:moveTo>
                      <a:pt x="1612" y="9796"/>
                    </a:moveTo>
                    <a:cubicBezTo>
                      <a:pt x="1581" y="9755"/>
                      <a:pt x="1581" y="9755"/>
                      <a:pt x="1581" y="9755"/>
                    </a:cubicBezTo>
                    <a:cubicBezTo>
                      <a:pt x="1584" y="9696"/>
                      <a:pt x="1584" y="9696"/>
                      <a:pt x="1584" y="9696"/>
                    </a:cubicBezTo>
                    <a:cubicBezTo>
                      <a:pt x="1806" y="9575"/>
                      <a:pt x="1806" y="9575"/>
                      <a:pt x="1806" y="9575"/>
                    </a:cubicBezTo>
                    <a:cubicBezTo>
                      <a:pt x="1830" y="9619"/>
                      <a:pt x="1830" y="9619"/>
                      <a:pt x="1830" y="9619"/>
                    </a:cubicBezTo>
                    <a:cubicBezTo>
                      <a:pt x="1823" y="9684"/>
                      <a:pt x="1823" y="9684"/>
                      <a:pt x="1823" y="9684"/>
                    </a:cubicBezTo>
                    <a:lnTo>
                      <a:pt x="1612" y="9796"/>
                    </a:lnTo>
                    <a:close/>
                    <a:moveTo>
                      <a:pt x="1595" y="9751"/>
                    </a:moveTo>
                    <a:cubicBezTo>
                      <a:pt x="1616" y="9778"/>
                      <a:pt x="1616" y="9778"/>
                      <a:pt x="1616" y="9778"/>
                    </a:cubicBezTo>
                    <a:cubicBezTo>
                      <a:pt x="1810" y="9675"/>
                      <a:pt x="1810" y="9675"/>
                      <a:pt x="1810" y="9675"/>
                    </a:cubicBezTo>
                    <a:cubicBezTo>
                      <a:pt x="1816" y="9622"/>
                      <a:pt x="1816" y="9622"/>
                      <a:pt x="1816" y="9622"/>
                    </a:cubicBezTo>
                    <a:cubicBezTo>
                      <a:pt x="1801" y="9594"/>
                      <a:pt x="1801" y="9594"/>
                      <a:pt x="1801" y="9594"/>
                    </a:cubicBezTo>
                    <a:cubicBezTo>
                      <a:pt x="1597" y="9704"/>
                      <a:pt x="1597" y="9704"/>
                      <a:pt x="1597" y="9704"/>
                    </a:cubicBezTo>
                    <a:lnTo>
                      <a:pt x="1595" y="9751"/>
                    </a:lnTo>
                    <a:close/>
                    <a:moveTo>
                      <a:pt x="1226" y="9828"/>
                    </a:moveTo>
                    <a:cubicBezTo>
                      <a:pt x="1226" y="9828"/>
                      <a:pt x="1226" y="9828"/>
                      <a:pt x="1226" y="9828"/>
                    </a:cubicBezTo>
                    <a:cubicBezTo>
                      <a:pt x="1227" y="9828"/>
                      <a:pt x="1227" y="9828"/>
                      <a:pt x="1227" y="9828"/>
                    </a:cubicBezTo>
                    <a:cubicBezTo>
                      <a:pt x="1226" y="9828"/>
                      <a:pt x="1226" y="9828"/>
                      <a:pt x="1226" y="9828"/>
                    </a:cubicBezTo>
                    <a:close/>
                    <a:moveTo>
                      <a:pt x="1228" y="9829"/>
                    </a:moveTo>
                    <a:cubicBezTo>
                      <a:pt x="1228" y="9829"/>
                      <a:pt x="1228" y="9829"/>
                      <a:pt x="1228" y="9829"/>
                    </a:cubicBezTo>
                    <a:cubicBezTo>
                      <a:pt x="1228" y="9829"/>
                      <a:pt x="1228" y="9829"/>
                      <a:pt x="1228" y="9829"/>
                    </a:cubicBezTo>
                    <a:cubicBezTo>
                      <a:pt x="1228" y="9829"/>
                      <a:pt x="1228" y="9829"/>
                      <a:pt x="1228" y="9829"/>
                    </a:cubicBezTo>
                    <a:close/>
                    <a:moveTo>
                      <a:pt x="1226" y="9828"/>
                    </a:moveTo>
                    <a:cubicBezTo>
                      <a:pt x="1226" y="9828"/>
                      <a:pt x="1226" y="9828"/>
                      <a:pt x="1226" y="9828"/>
                    </a:cubicBezTo>
                    <a:cubicBezTo>
                      <a:pt x="1226" y="9828"/>
                      <a:pt x="1226" y="9828"/>
                      <a:pt x="1226" y="9828"/>
                    </a:cubicBezTo>
                    <a:cubicBezTo>
                      <a:pt x="1226" y="9828"/>
                      <a:pt x="1226" y="9828"/>
                      <a:pt x="1226" y="9828"/>
                    </a:cubicBezTo>
                    <a:close/>
                    <a:moveTo>
                      <a:pt x="1872" y="7493"/>
                    </a:moveTo>
                    <a:cubicBezTo>
                      <a:pt x="1809" y="7421"/>
                      <a:pt x="1809" y="7421"/>
                      <a:pt x="1809" y="7421"/>
                    </a:cubicBezTo>
                    <a:cubicBezTo>
                      <a:pt x="1822" y="7304"/>
                      <a:pt x="1822" y="7304"/>
                      <a:pt x="1822" y="7304"/>
                    </a:cubicBezTo>
                    <a:cubicBezTo>
                      <a:pt x="1860" y="7324"/>
                      <a:pt x="1860" y="7324"/>
                      <a:pt x="1860" y="7324"/>
                    </a:cubicBezTo>
                    <a:cubicBezTo>
                      <a:pt x="2050" y="7095"/>
                      <a:pt x="2050" y="7095"/>
                      <a:pt x="2050" y="7095"/>
                    </a:cubicBezTo>
                    <a:cubicBezTo>
                      <a:pt x="2173" y="7189"/>
                      <a:pt x="2173" y="7189"/>
                      <a:pt x="2173" y="7189"/>
                    </a:cubicBezTo>
                    <a:cubicBezTo>
                      <a:pt x="2167" y="7195"/>
                      <a:pt x="2167" y="7195"/>
                      <a:pt x="2167" y="7195"/>
                    </a:cubicBezTo>
                    <a:cubicBezTo>
                      <a:pt x="2006" y="7339"/>
                      <a:pt x="2006" y="7339"/>
                      <a:pt x="2006" y="7339"/>
                    </a:cubicBezTo>
                    <a:cubicBezTo>
                      <a:pt x="1966" y="7313"/>
                      <a:pt x="1966" y="7313"/>
                      <a:pt x="1966" y="7313"/>
                    </a:cubicBezTo>
                    <a:cubicBezTo>
                      <a:pt x="1919" y="7381"/>
                      <a:pt x="1919" y="7381"/>
                      <a:pt x="1919" y="7381"/>
                    </a:cubicBezTo>
                    <a:cubicBezTo>
                      <a:pt x="1926" y="7419"/>
                      <a:pt x="1926" y="7419"/>
                      <a:pt x="1926" y="7419"/>
                    </a:cubicBezTo>
                    <a:lnTo>
                      <a:pt x="1872" y="7493"/>
                    </a:lnTo>
                    <a:close/>
                    <a:moveTo>
                      <a:pt x="1871" y="7469"/>
                    </a:moveTo>
                    <a:cubicBezTo>
                      <a:pt x="1910" y="7416"/>
                      <a:pt x="1910" y="7416"/>
                      <a:pt x="1910" y="7416"/>
                    </a:cubicBezTo>
                    <a:cubicBezTo>
                      <a:pt x="1904" y="7378"/>
                      <a:pt x="1904" y="7378"/>
                      <a:pt x="1904" y="7378"/>
                    </a:cubicBezTo>
                    <a:cubicBezTo>
                      <a:pt x="1962" y="7292"/>
                      <a:pt x="1962" y="7292"/>
                      <a:pt x="1962" y="7292"/>
                    </a:cubicBezTo>
                    <a:cubicBezTo>
                      <a:pt x="2004" y="7320"/>
                      <a:pt x="2004" y="7320"/>
                      <a:pt x="2004" y="7320"/>
                    </a:cubicBezTo>
                    <a:cubicBezTo>
                      <a:pt x="2150" y="7190"/>
                      <a:pt x="2150" y="7190"/>
                      <a:pt x="2150" y="7190"/>
                    </a:cubicBezTo>
                    <a:cubicBezTo>
                      <a:pt x="2053" y="7115"/>
                      <a:pt x="2053" y="7115"/>
                      <a:pt x="2053" y="7115"/>
                    </a:cubicBezTo>
                    <a:cubicBezTo>
                      <a:pt x="1864" y="7343"/>
                      <a:pt x="1864" y="7343"/>
                      <a:pt x="1864" y="7343"/>
                    </a:cubicBezTo>
                    <a:cubicBezTo>
                      <a:pt x="1834" y="7327"/>
                      <a:pt x="1834" y="7327"/>
                      <a:pt x="1834" y="7327"/>
                    </a:cubicBezTo>
                    <a:cubicBezTo>
                      <a:pt x="1825" y="7416"/>
                      <a:pt x="1825" y="7416"/>
                      <a:pt x="1825" y="7416"/>
                    </a:cubicBezTo>
                    <a:lnTo>
                      <a:pt x="1871" y="7469"/>
                    </a:lnTo>
                    <a:close/>
                    <a:moveTo>
                      <a:pt x="130" y="9543"/>
                    </a:moveTo>
                    <a:cubicBezTo>
                      <a:pt x="214" y="9702"/>
                      <a:pt x="214" y="9702"/>
                      <a:pt x="214" y="9702"/>
                    </a:cubicBezTo>
                    <a:cubicBezTo>
                      <a:pt x="139" y="9740"/>
                      <a:pt x="139" y="9740"/>
                      <a:pt x="139" y="9740"/>
                    </a:cubicBezTo>
                    <a:cubicBezTo>
                      <a:pt x="56" y="9582"/>
                      <a:pt x="56" y="9582"/>
                      <a:pt x="56" y="9582"/>
                    </a:cubicBezTo>
                    <a:lnTo>
                      <a:pt x="130" y="9543"/>
                    </a:lnTo>
                    <a:close/>
                    <a:moveTo>
                      <a:pt x="195" y="9696"/>
                    </a:moveTo>
                    <a:cubicBezTo>
                      <a:pt x="125" y="9562"/>
                      <a:pt x="125" y="9562"/>
                      <a:pt x="125" y="9562"/>
                    </a:cubicBezTo>
                    <a:cubicBezTo>
                      <a:pt x="75" y="9588"/>
                      <a:pt x="75" y="9588"/>
                      <a:pt x="75" y="9588"/>
                    </a:cubicBezTo>
                    <a:cubicBezTo>
                      <a:pt x="145" y="9722"/>
                      <a:pt x="145" y="9722"/>
                      <a:pt x="145" y="9722"/>
                    </a:cubicBezTo>
                    <a:lnTo>
                      <a:pt x="195" y="9696"/>
                    </a:lnTo>
                    <a:close/>
                    <a:moveTo>
                      <a:pt x="1743" y="7982"/>
                    </a:moveTo>
                    <a:cubicBezTo>
                      <a:pt x="1845" y="8033"/>
                      <a:pt x="1845" y="8033"/>
                      <a:pt x="1845" y="8033"/>
                    </a:cubicBezTo>
                    <a:cubicBezTo>
                      <a:pt x="1845" y="8033"/>
                      <a:pt x="1831" y="8083"/>
                      <a:pt x="1828" y="8083"/>
                    </a:cubicBezTo>
                    <a:cubicBezTo>
                      <a:pt x="1825" y="8083"/>
                      <a:pt x="2013" y="8174"/>
                      <a:pt x="2013" y="8174"/>
                    </a:cubicBezTo>
                    <a:cubicBezTo>
                      <a:pt x="2013" y="8174"/>
                      <a:pt x="1947" y="8221"/>
                      <a:pt x="1944" y="8221"/>
                    </a:cubicBezTo>
                    <a:cubicBezTo>
                      <a:pt x="1941" y="8221"/>
                      <a:pt x="1696" y="8229"/>
                      <a:pt x="1694" y="8229"/>
                    </a:cubicBezTo>
                    <a:cubicBezTo>
                      <a:pt x="1692" y="8229"/>
                      <a:pt x="1599" y="8106"/>
                      <a:pt x="1599" y="8106"/>
                    </a:cubicBezTo>
                    <a:lnTo>
                      <a:pt x="1743" y="7982"/>
                    </a:lnTo>
                    <a:close/>
                    <a:moveTo>
                      <a:pt x="1745" y="7999"/>
                    </a:moveTo>
                    <a:cubicBezTo>
                      <a:pt x="1618" y="8109"/>
                      <a:pt x="1618" y="8109"/>
                      <a:pt x="1618" y="8109"/>
                    </a:cubicBezTo>
                    <a:cubicBezTo>
                      <a:pt x="1647" y="8147"/>
                      <a:pt x="1688" y="8200"/>
                      <a:pt x="1700" y="8215"/>
                    </a:cubicBezTo>
                    <a:cubicBezTo>
                      <a:pt x="1715" y="8215"/>
                      <a:pt x="1756" y="8214"/>
                      <a:pt x="1800" y="8212"/>
                    </a:cubicBezTo>
                    <a:cubicBezTo>
                      <a:pt x="1888" y="8209"/>
                      <a:pt x="1929" y="8208"/>
                      <a:pt x="1941" y="8207"/>
                    </a:cubicBezTo>
                    <a:cubicBezTo>
                      <a:pt x="1947" y="8203"/>
                      <a:pt x="1966" y="8191"/>
                      <a:pt x="1986" y="8176"/>
                    </a:cubicBezTo>
                    <a:cubicBezTo>
                      <a:pt x="1968" y="8168"/>
                      <a:pt x="1941" y="8155"/>
                      <a:pt x="1914" y="8142"/>
                    </a:cubicBezTo>
                    <a:cubicBezTo>
                      <a:pt x="1812" y="8091"/>
                      <a:pt x="1812" y="8091"/>
                      <a:pt x="1815" y="8080"/>
                    </a:cubicBezTo>
                    <a:cubicBezTo>
                      <a:pt x="1817" y="8069"/>
                      <a:pt x="1817" y="8069"/>
                      <a:pt x="1817" y="8069"/>
                    </a:cubicBezTo>
                    <a:cubicBezTo>
                      <a:pt x="1820" y="8069"/>
                      <a:pt x="1820" y="8069"/>
                      <a:pt x="1820" y="8069"/>
                    </a:cubicBezTo>
                    <a:cubicBezTo>
                      <a:pt x="1822" y="8062"/>
                      <a:pt x="1825" y="8051"/>
                      <a:pt x="1828" y="8040"/>
                    </a:cubicBezTo>
                    <a:lnTo>
                      <a:pt x="1745" y="7999"/>
                    </a:lnTo>
                    <a:close/>
                    <a:moveTo>
                      <a:pt x="1958" y="7772"/>
                    </a:moveTo>
                    <a:cubicBezTo>
                      <a:pt x="1890" y="7742"/>
                      <a:pt x="1890" y="7742"/>
                      <a:pt x="1890" y="7742"/>
                    </a:cubicBezTo>
                    <a:cubicBezTo>
                      <a:pt x="1910" y="7576"/>
                      <a:pt x="1910" y="7576"/>
                      <a:pt x="1910" y="7576"/>
                    </a:cubicBezTo>
                    <a:cubicBezTo>
                      <a:pt x="1964" y="7538"/>
                      <a:pt x="1964" y="7538"/>
                      <a:pt x="1964" y="7538"/>
                    </a:cubicBezTo>
                    <a:cubicBezTo>
                      <a:pt x="2003" y="7566"/>
                      <a:pt x="2003" y="7566"/>
                      <a:pt x="2003" y="7566"/>
                    </a:cubicBezTo>
                    <a:cubicBezTo>
                      <a:pt x="2082" y="7495"/>
                      <a:pt x="2082" y="7495"/>
                      <a:pt x="2082" y="7495"/>
                    </a:cubicBezTo>
                    <a:cubicBezTo>
                      <a:pt x="2054" y="7455"/>
                      <a:pt x="2054" y="7455"/>
                      <a:pt x="2054" y="7455"/>
                    </a:cubicBezTo>
                    <a:cubicBezTo>
                      <a:pt x="2228" y="7250"/>
                      <a:pt x="2228" y="7250"/>
                      <a:pt x="2228" y="7250"/>
                    </a:cubicBezTo>
                    <a:cubicBezTo>
                      <a:pt x="2343" y="7322"/>
                      <a:pt x="2343" y="7322"/>
                      <a:pt x="2343" y="7322"/>
                    </a:cubicBezTo>
                    <a:cubicBezTo>
                      <a:pt x="2339" y="7329"/>
                      <a:pt x="2339" y="7329"/>
                      <a:pt x="2339" y="7329"/>
                    </a:cubicBezTo>
                    <a:cubicBezTo>
                      <a:pt x="2191" y="7560"/>
                      <a:pt x="2191" y="7560"/>
                      <a:pt x="2191" y="7560"/>
                    </a:cubicBezTo>
                    <a:cubicBezTo>
                      <a:pt x="2142" y="7537"/>
                      <a:pt x="2142" y="7537"/>
                      <a:pt x="2142" y="7537"/>
                    </a:cubicBezTo>
                    <a:cubicBezTo>
                      <a:pt x="2088" y="7601"/>
                      <a:pt x="2088" y="7601"/>
                      <a:pt x="2088" y="7601"/>
                    </a:cubicBezTo>
                    <a:cubicBezTo>
                      <a:pt x="2116" y="7651"/>
                      <a:pt x="2116" y="7651"/>
                      <a:pt x="2116" y="7651"/>
                    </a:cubicBezTo>
                    <a:lnTo>
                      <a:pt x="1958" y="7772"/>
                    </a:lnTo>
                    <a:close/>
                    <a:moveTo>
                      <a:pt x="1956" y="7755"/>
                    </a:moveTo>
                    <a:cubicBezTo>
                      <a:pt x="2097" y="7647"/>
                      <a:pt x="2097" y="7647"/>
                      <a:pt x="2097" y="7647"/>
                    </a:cubicBezTo>
                    <a:cubicBezTo>
                      <a:pt x="2070" y="7599"/>
                      <a:pt x="2070" y="7599"/>
                      <a:pt x="2070" y="7599"/>
                    </a:cubicBezTo>
                    <a:cubicBezTo>
                      <a:pt x="2138" y="7519"/>
                      <a:pt x="2138" y="7519"/>
                      <a:pt x="2138" y="7519"/>
                    </a:cubicBezTo>
                    <a:cubicBezTo>
                      <a:pt x="2186" y="7541"/>
                      <a:pt x="2186" y="7541"/>
                      <a:pt x="2186" y="7541"/>
                    </a:cubicBezTo>
                    <a:cubicBezTo>
                      <a:pt x="2322" y="7327"/>
                      <a:pt x="2322" y="7327"/>
                      <a:pt x="2322" y="7327"/>
                    </a:cubicBezTo>
                    <a:cubicBezTo>
                      <a:pt x="2231" y="7269"/>
                      <a:pt x="2231" y="7269"/>
                      <a:pt x="2231" y="7269"/>
                    </a:cubicBezTo>
                    <a:cubicBezTo>
                      <a:pt x="2072" y="7456"/>
                      <a:pt x="2072" y="7456"/>
                      <a:pt x="2072" y="7456"/>
                    </a:cubicBezTo>
                    <a:cubicBezTo>
                      <a:pt x="2101" y="7498"/>
                      <a:pt x="2101" y="7498"/>
                      <a:pt x="2101" y="7498"/>
                    </a:cubicBezTo>
                    <a:cubicBezTo>
                      <a:pt x="2003" y="7585"/>
                      <a:pt x="2003" y="7585"/>
                      <a:pt x="2003" y="7585"/>
                    </a:cubicBezTo>
                    <a:cubicBezTo>
                      <a:pt x="1964" y="7556"/>
                      <a:pt x="1964" y="7556"/>
                      <a:pt x="1964" y="7556"/>
                    </a:cubicBezTo>
                    <a:cubicBezTo>
                      <a:pt x="1924" y="7585"/>
                      <a:pt x="1924" y="7585"/>
                      <a:pt x="1924" y="7585"/>
                    </a:cubicBezTo>
                    <a:cubicBezTo>
                      <a:pt x="1906" y="7733"/>
                      <a:pt x="1906" y="7733"/>
                      <a:pt x="1906" y="7733"/>
                    </a:cubicBezTo>
                    <a:lnTo>
                      <a:pt x="1956" y="7755"/>
                    </a:lnTo>
                    <a:close/>
                    <a:moveTo>
                      <a:pt x="1841" y="6819"/>
                    </a:moveTo>
                    <a:cubicBezTo>
                      <a:pt x="2073" y="6472"/>
                      <a:pt x="2073" y="6472"/>
                      <a:pt x="2073" y="6472"/>
                    </a:cubicBezTo>
                    <a:cubicBezTo>
                      <a:pt x="2218" y="6555"/>
                      <a:pt x="2218" y="6555"/>
                      <a:pt x="2218" y="6555"/>
                    </a:cubicBezTo>
                    <a:cubicBezTo>
                      <a:pt x="2214" y="6562"/>
                      <a:pt x="2214" y="6562"/>
                      <a:pt x="2214" y="6562"/>
                    </a:cubicBezTo>
                    <a:cubicBezTo>
                      <a:pt x="1991" y="6920"/>
                      <a:pt x="1991" y="6920"/>
                      <a:pt x="1991" y="6920"/>
                    </a:cubicBezTo>
                    <a:lnTo>
                      <a:pt x="1841" y="6819"/>
                    </a:lnTo>
                    <a:close/>
                    <a:moveTo>
                      <a:pt x="1862" y="6815"/>
                    </a:moveTo>
                    <a:cubicBezTo>
                      <a:pt x="1987" y="6900"/>
                      <a:pt x="1987" y="6900"/>
                      <a:pt x="1987" y="6900"/>
                    </a:cubicBezTo>
                    <a:cubicBezTo>
                      <a:pt x="2198" y="6561"/>
                      <a:pt x="2198" y="6561"/>
                      <a:pt x="2198" y="6561"/>
                    </a:cubicBezTo>
                    <a:cubicBezTo>
                      <a:pt x="2078" y="6492"/>
                      <a:pt x="2078" y="6492"/>
                      <a:pt x="2078" y="6492"/>
                    </a:cubicBezTo>
                    <a:lnTo>
                      <a:pt x="1862" y="6815"/>
                    </a:lnTo>
                    <a:close/>
                    <a:moveTo>
                      <a:pt x="1509" y="6648"/>
                    </a:moveTo>
                    <a:cubicBezTo>
                      <a:pt x="1722" y="6272"/>
                      <a:pt x="1722" y="6272"/>
                      <a:pt x="1722" y="6272"/>
                    </a:cubicBezTo>
                    <a:cubicBezTo>
                      <a:pt x="1866" y="6364"/>
                      <a:pt x="1866" y="6364"/>
                      <a:pt x="1866" y="6364"/>
                    </a:cubicBezTo>
                    <a:cubicBezTo>
                      <a:pt x="1866" y="6368"/>
                      <a:pt x="1866" y="6368"/>
                      <a:pt x="1866" y="6368"/>
                    </a:cubicBezTo>
                    <a:cubicBezTo>
                      <a:pt x="1872" y="6473"/>
                      <a:pt x="1872" y="6473"/>
                      <a:pt x="1872" y="6473"/>
                    </a:cubicBezTo>
                    <a:cubicBezTo>
                      <a:pt x="1955" y="6536"/>
                      <a:pt x="1955" y="6536"/>
                      <a:pt x="1955" y="6536"/>
                    </a:cubicBezTo>
                    <a:cubicBezTo>
                      <a:pt x="1799" y="6701"/>
                      <a:pt x="1799" y="6701"/>
                      <a:pt x="1799" y="6701"/>
                    </a:cubicBezTo>
                    <a:cubicBezTo>
                      <a:pt x="1711" y="6675"/>
                      <a:pt x="1711" y="6675"/>
                      <a:pt x="1711" y="6675"/>
                    </a:cubicBezTo>
                    <a:cubicBezTo>
                      <a:pt x="1673" y="6741"/>
                      <a:pt x="1673" y="6741"/>
                      <a:pt x="1673" y="6741"/>
                    </a:cubicBezTo>
                    <a:lnTo>
                      <a:pt x="1509" y="6648"/>
                    </a:lnTo>
                    <a:close/>
                    <a:moveTo>
                      <a:pt x="1529" y="6642"/>
                    </a:moveTo>
                    <a:cubicBezTo>
                      <a:pt x="1667" y="6721"/>
                      <a:pt x="1667" y="6721"/>
                      <a:pt x="1667" y="6721"/>
                    </a:cubicBezTo>
                    <a:cubicBezTo>
                      <a:pt x="1704" y="6657"/>
                      <a:pt x="1704" y="6657"/>
                      <a:pt x="1704" y="6657"/>
                    </a:cubicBezTo>
                    <a:cubicBezTo>
                      <a:pt x="1795" y="6684"/>
                      <a:pt x="1795" y="6684"/>
                      <a:pt x="1795" y="6684"/>
                    </a:cubicBezTo>
                    <a:cubicBezTo>
                      <a:pt x="1933" y="6538"/>
                      <a:pt x="1933" y="6538"/>
                      <a:pt x="1933" y="6538"/>
                    </a:cubicBezTo>
                    <a:cubicBezTo>
                      <a:pt x="1858" y="6481"/>
                      <a:pt x="1858" y="6481"/>
                      <a:pt x="1858" y="6481"/>
                    </a:cubicBezTo>
                    <a:cubicBezTo>
                      <a:pt x="1852" y="6372"/>
                      <a:pt x="1852" y="6372"/>
                      <a:pt x="1852" y="6372"/>
                    </a:cubicBezTo>
                    <a:cubicBezTo>
                      <a:pt x="1727" y="6292"/>
                      <a:pt x="1727" y="6292"/>
                      <a:pt x="1727" y="6292"/>
                    </a:cubicBezTo>
                    <a:lnTo>
                      <a:pt x="1529" y="6642"/>
                    </a:lnTo>
                    <a:close/>
                    <a:moveTo>
                      <a:pt x="298" y="9592"/>
                    </a:moveTo>
                    <a:cubicBezTo>
                      <a:pt x="301" y="9538"/>
                      <a:pt x="301" y="9538"/>
                      <a:pt x="301" y="9538"/>
                    </a:cubicBezTo>
                    <a:cubicBezTo>
                      <a:pt x="259" y="9537"/>
                      <a:pt x="259" y="9537"/>
                      <a:pt x="259" y="9537"/>
                    </a:cubicBezTo>
                    <a:cubicBezTo>
                      <a:pt x="212" y="9450"/>
                      <a:pt x="212" y="9450"/>
                      <a:pt x="212" y="9450"/>
                    </a:cubicBezTo>
                    <a:cubicBezTo>
                      <a:pt x="224" y="9364"/>
                      <a:pt x="224" y="9364"/>
                      <a:pt x="224" y="9364"/>
                    </a:cubicBezTo>
                    <a:cubicBezTo>
                      <a:pt x="357" y="9316"/>
                      <a:pt x="357" y="9316"/>
                      <a:pt x="357" y="9316"/>
                    </a:cubicBezTo>
                    <a:cubicBezTo>
                      <a:pt x="397" y="9387"/>
                      <a:pt x="397" y="9387"/>
                      <a:pt x="397" y="9387"/>
                    </a:cubicBezTo>
                    <a:cubicBezTo>
                      <a:pt x="298" y="9388"/>
                      <a:pt x="298" y="9388"/>
                      <a:pt x="298" y="9388"/>
                    </a:cubicBezTo>
                    <a:cubicBezTo>
                      <a:pt x="291" y="9456"/>
                      <a:pt x="291" y="9456"/>
                      <a:pt x="291" y="9456"/>
                    </a:cubicBezTo>
                    <a:cubicBezTo>
                      <a:pt x="395" y="9456"/>
                      <a:pt x="395" y="9456"/>
                      <a:pt x="395" y="9456"/>
                    </a:cubicBezTo>
                    <a:cubicBezTo>
                      <a:pt x="382" y="9566"/>
                      <a:pt x="382" y="9566"/>
                      <a:pt x="382" y="9566"/>
                    </a:cubicBezTo>
                    <a:cubicBezTo>
                      <a:pt x="512" y="9838"/>
                      <a:pt x="512" y="9838"/>
                      <a:pt x="512" y="9838"/>
                    </a:cubicBezTo>
                    <a:cubicBezTo>
                      <a:pt x="444" y="9869"/>
                      <a:pt x="444" y="9869"/>
                      <a:pt x="444" y="9869"/>
                    </a:cubicBezTo>
                    <a:lnTo>
                      <a:pt x="298" y="9592"/>
                    </a:lnTo>
                    <a:close/>
                    <a:moveTo>
                      <a:pt x="302" y="9524"/>
                    </a:moveTo>
                    <a:cubicBezTo>
                      <a:pt x="316" y="9524"/>
                      <a:pt x="316" y="9524"/>
                      <a:pt x="316" y="9524"/>
                    </a:cubicBezTo>
                    <a:cubicBezTo>
                      <a:pt x="315" y="9539"/>
                      <a:pt x="315" y="9539"/>
                      <a:pt x="315" y="9539"/>
                    </a:cubicBezTo>
                    <a:cubicBezTo>
                      <a:pt x="312" y="9589"/>
                      <a:pt x="312" y="9589"/>
                      <a:pt x="312" y="9589"/>
                    </a:cubicBezTo>
                    <a:cubicBezTo>
                      <a:pt x="450" y="9851"/>
                      <a:pt x="450" y="9851"/>
                      <a:pt x="450" y="9851"/>
                    </a:cubicBezTo>
                    <a:cubicBezTo>
                      <a:pt x="493" y="9831"/>
                      <a:pt x="493" y="9831"/>
                      <a:pt x="493" y="9831"/>
                    </a:cubicBezTo>
                    <a:cubicBezTo>
                      <a:pt x="369" y="9572"/>
                      <a:pt x="369" y="9572"/>
                      <a:pt x="369" y="9572"/>
                    </a:cubicBezTo>
                    <a:cubicBezTo>
                      <a:pt x="367" y="9568"/>
                      <a:pt x="367" y="9568"/>
                      <a:pt x="367" y="9568"/>
                    </a:cubicBezTo>
                    <a:cubicBezTo>
                      <a:pt x="368" y="9564"/>
                      <a:pt x="368" y="9564"/>
                      <a:pt x="368" y="9564"/>
                    </a:cubicBezTo>
                    <a:cubicBezTo>
                      <a:pt x="379" y="9470"/>
                      <a:pt x="379" y="9470"/>
                      <a:pt x="379" y="9470"/>
                    </a:cubicBezTo>
                    <a:cubicBezTo>
                      <a:pt x="291" y="9470"/>
                      <a:pt x="291" y="9470"/>
                      <a:pt x="291" y="9470"/>
                    </a:cubicBezTo>
                    <a:cubicBezTo>
                      <a:pt x="275" y="9470"/>
                      <a:pt x="275" y="9470"/>
                      <a:pt x="275" y="9470"/>
                    </a:cubicBezTo>
                    <a:cubicBezTo>
                      <a:pt x="277" y="9454"/>
                      <a:pt x="277" y="9454"/>
                      <a:pt x="277" y="9454"/>
                    </a:cubicBezTo>
                    <a:cubicBezTo>
                      <a:pt x="284" y="9387"/>
                      <a:pt x="284" y="9387"/>
                      <a:pt x="284" y="9387"/>
                    </a:cubicBezTo>
                    <a:cubicBezTo>
                      <a:pt x="285" y="9374"/>
                      <a:pt x="285" y="9374"/>
                      <a:pt x="285" y="9374"/>
                    </a:cubicBezTo>
                    <a:cubicBezTo>
                      <a:pt x="298" y="9374"/>
                      <a:pt x="298" y="9374"/>
                      <a:pt x="298" y="9374"/>
                    </a:cubicBezTo>
                    <a:cubicBezTo>
                      <a:pt x="374" y="9373"/>
                      <a:pt x="374" y="9373"/>
                      <a:pt x="374" y="9373"/>
                    </a:cubicBezTo>
                    <a:cubicBezTo>
                      <a:pt x="351" y="9333"/>
                      <a:pt x="351" y="9333"/>
                      <a:pt x="351" y="9333"/>
                    </a:cubicBezTo>
                    <a:cubicBezTo>
                      <a:pt x="237" y="9374"/>
                      <a:pt x="237" y="9374"/>
                      <a:pt x="237" y="9374"/>
                    </a:cubicBezTo>
                    <a:cubicBezTo>
                      <a:pt x="226" y="9447"/>
                      <a:pt x="226" y="9447"/>
                      <a:pt x="226" y="9447"/>
                    </a:cubicBezTo>
                    <a:cubicBezTo>
                      <a:pt x="268" y="9523"/>
                      <a:pt x="268" y="9523"/>
                      <a:pt x="268" y="9523"/>
                    </a:cubicBezTo>
                    <a:lnTo>
                      <a:pt x="302" y="9524"/>
                    </a:lnTo>
                    <a:close/>
                    <a:moveTo>
                      <a:pt x="1227" y="9828"/>
                    </a:moveTo>
                    <a:cubicBezTo>
                      <a:pt x="1227" y="9828"/>
                      <a:pt x="1227" y="9828"/>
                      <a:pt x="1228" y="9828"/>
                    </a:cubicBezTo>
                    <a:cubicBezTo>
                      <a:pt x="1227" y="9828"/>
                      <a:pt x="1227" y="9828"/>
                      <a:pt x="1227" y="9828"/>
                    </a:cubicBezTo>
                    <a:cubicBezTo>
                      <a:pt x="1227" y="9828"/>
                      <a:pt x="1227" y="9828"/>
                      <a:pt x="1227" y="9828"/>
                    </a:cubicBezTo>
                    <a:close/>
                    <a:moveTo>
                      <a:pt x="5826" y="7031"/>
                    </a:moveTo>
                    <a:cubicBezTo>
                      <a:pt x="5977" y="7049"/>
                      <a:pt x="5977" y="7049"/>
                      <a:pt x="5977" y="7049"/>
                    </a:cubicBezTo>
                    <a:cubicBezTo>
                      <a:pt x="5967" y="7124"/>
                      <a:pt x="5967" y="7124"/>
                      <a:pt x="5967" y="7124"/>
                    </a:cubicBezTo>
                    <a:cubicBezTo>
                      <a:pt x="5961" y="7124"/>
                      <a:pt x="5961" y="7124"/>
                      <a:pt x="5961" y="7124"/>
                    </a:cubicBezTo>
                    <a:cubicBezTo>
                      <a:pt x="5817" y="7106"/>
                      <a:pt x="5817" y="7106"/>
                      <a:pt x="5817" y="7106"/>
                    </a:cubicBezTo>
                    <a:lnTo>
                      <a:pt x="5826" y="7031"/>
                    </a:lnTo>
                    <a:close/>
                    <a:moveTo>
                      <a:pt x="5832" y="7094"/>
                    </a:moveTo>
                    <a:cubicBezTo>
                      <a:pt x="5956" y="7110"/>
                      <a:pt x="5956" y="7110"/>
                      <a:pt x="5956" y="7110"/>
                    </a:cubicBezTo>
                    <a:cubicBezTo>
                      <a:pt x="5962" y="7061"/>
                      <a:pt x="5962" y="7061"/>
                      <a:pt x="5962" y="7061"/>
                    </a:cubicBezTo>
                    <a:cubicBezTo>
                      <a:pt x="5838" y="7045"/>
                      <a:pt x="5838" y="7045"/>
                      <a:pt x="5838" y="7045"/>
                    </a:cubicBezTo>
                    <a:lnTo>
                      <a:pt x="5832" y="7094"/>
                    </a:lnTo>
                    <a:close/>
                    <a:moveTo>
                      <a:pt x="3" y="10794"/>
                    </a:moveTo>
                    <a:cubicBezTo>
                      <a:pt x="3" y="10821"/>
                      <a:pt x="3" y="10821"/>
                      <a:pt x="3" y="10821"/>
                    </a:cubicBezTo>
                    <a:cubicBezTo>
                      <a:pt x="21" y="10821"/>
                      <a:pt x="21" y="10821"/>
                      <a:pt x="21" y="10821"/>
                    </a:cubicBezTo>
                    <a:lnTo>
                      <a:pt x="3" y="10794"/>
                    </a:lnTo>
                    <a:close/>
                    <a:moveTo>
                      <a:pt x="4518" y="10317"/>
                    </a:moveTo>
                    <a:cubicBezTo>
                      <a:pt x="4542" y="10418"/>
                      <a:pt x="4542" y="10418"/>
                      <a:pt x="4542" y="10418"/>
                    </a:cubicBezTo>
                    <a:cubicBezTo>
                      <a:pt x="4398" y="10453"/>
                      <a:pt x="4398" y="10453"/>
                      <a:pt x="4398" y="10453"/>
                    </a:cubicBezTo>
                    <a:cubicBezTo>
                      <a:pt x="4397" y="10447"/>
                      <a:pt x="4397" y="10447"/>
                      <a:pt x="4397" y="10447"/>
                    </a:cubicBezTo>
                    <a:cubicBezTo>
                      <a:pt x="4374" y="10351"/>
                      <a:pt x="4374" y="10351"/>
                      <a:pt x="4374" y="10351"/>
                    </a:cubicBezTo>
                    <a:lnTo>
                      <a:pt x="4518" y="10317"/>
                    </a:lnTo>
                    <a:close/>
                    <a:moveTo>
                      <a:pt x="4526" y="10409"/>
                    </a:moveTo>
                    <a:cubicBezTo>
                      <a:pt x="4508" y="10332"/>
                      <a:pt x="4508" y="10332"/>
                      <a:pt x="4508" y="10332"/>
                    </a:cubicBezTo>
                    <a:cubicBezTo>
                      <a:pt x="4389" y="10361"/>
                      <a:pt x="4389" y="10361"/>
                      <a:pt x="4389" y="10361"/>
                    </a:cubicBezTo>
                    <a:cubicBezTo>
                      <a:pt x="4408" y="10437"/>
                      <a:pt x="4408" y="10437"/>
                      <a:pt x="4408" y="10437"/>
                    </a:cubicBezTo>
                    <a:lnTo>
                      <a:pt x="4526" y="10409"/>
                    </a:lnTo>
                    <a:close/>
                    <a:moveTo>
                      <a:pt x="4331" y="10371"/>
                    </a:moveTo>
                    <a:cubicBezTo>
                      <a:pt x="4355" y="10473"/>
                      <a:pt x="4355" y="10473"/>
                      <a:pt x="4355" y="10473"/>
                    </a:cubicBezTo>
                    <a:cubicBezTo>
                      <a:pt x="4212" y="10507"/>
                      <a:pt x="4212" y="10507"/>
                      <a:pt x="4212" y="10507"/>
                    </a:cubicBezTo>
                    <a:cubicBezTo>
                      <a:pt x="4210" y="10501"/>
                      <a:pt x="4210" y="10501"/>
                      <a:pt x="4210" y="10501"/>
                    </a:cubicBezTo>
                    <a:cubicBezTo>
                      <a:pt x="4187" y="10406"/>
                      <a:pt x="4187" y="10406"/>
                      <a:pt x="4187" y="10406"/>
                    </a:cubicBezTo>
                    <a:lnTo>
                      <a:pt x="4331" y="10371"/>
                    </a:lnTo>
                    <a:close/>
                    <a:moveTo>
                      <a:pt x="4340" y="10463"/>
                    </a:moveTo>
                    <a:cubicBezTo>
                      <a:pt x="4321" y="10387"/>
                      <a:pt x="4321" y="10387"/>
                      <a:pt x="4321" y="10387"/>
                    </a:cubicBezTo>
                    <a:cubicBezTo>
                      <a:pt x="4203" y="10415"/>
                      <a:pt x="4203" y="10415"/>
                      <a:pt x="4203" y="10415"/>
                    </a:cubicBezTo>
                    <a:cubicBezTo>
                      <a:pt x="4221" y="10492"/>
                      <a:pt x="4221" y="10492"/>
                      <a:pt x="4221" y="10492"/>
                    </a:cubicBezTo>
                    <a:lnTo>
                      <a:pt x="4340" y="10463"/>
                    </a:lnTo>
                    <a:close/>
                    <a:moveTo>
                      <a:pt x="7113" y="7185"/>
                    </a:moveTo>
                    <a:cubicBezTo>
                      <a:pt x="7196" y="7221"/>
                      <a:pt x="7196" y="7221"/>
                      <a:pt x="7196" y="7221"/>
                    </a:cubicBezTo>
                    <a:cubicBezTo>
                      <a:pt x="7166" y="7291"/>
                      <a:pt x="7166" y="7291"/>
                      <a:pt x="7166" y="7291"/>
                    </a:cubicBezTo>
                    <a:cubicBezTo>
                      <a:pt x="7160" y="7288"/>
                      <a:pt x="7160" y="7288"/>
                      <a:pt x="7160" y="7288"/>
                    </a:cubicBezTo>
                    <a:cubicBezTo>
                      <a:pt x="7082" y="7254"/>
                      <a:pt x="7082" y="7254"/>
                      <a:pt x="7082" y="7254"/>
                    </a:cubicBezTo>
                    <a:lnTo>
                      <a:pt x="7113" y="7185"/>
                    </a:lnTo>
                    <a:close/>
                    <a:moveTo>
                      <a:pt x="7119" y="7202"/>
                    </a:moveTo>
                    <a:cubicBezTo>
                      <a:pt x="7100" y="7247"/>
                      <a:pt x="7100" y="7247"/>
                      <a:pt x="7100" y="7247"/>
                    </a:cubicBezTo>
                    <a:cubicBezTo>
                      <a:pt x="7159" y="7274"/>
                      <a:pt x="7159" y="7274"/>
                      <a:pt x="7159" y="7274"/>
                    </a:cubicBezTo>
                    <a:cubicBezTo>
                      <a:pt x="7179" y="7228"/>
                      <a:pt x="7179" y="7228"/>
                      <a:pt x="7179" y="7228"/>
                    </a:cubicBezTo>
                    <a:lnTo>
                      <a:pt x="7119" y="7202"/>
                    </a:lnTo>
                    <a:close/>
                    <a:moveTo>
                      <a:pt x="68" y="8650"/>
                    </a:moveTo>
                    <a:cubicBezTo>
                      <a:pt x="3" y="8668"/>
                      <a:pt x="3" y="8668"/>
                      <a:pt x="3" y="8668"/>
                    </a:cubicBezTo>
                    <a:cubicBezTo>
                      <a:pt x="3" y="8683"/>
                      <a:pt x="3" y="8683"/>
                      <a:pt x="3" y="8683"/>
                    </a:cubicBezTo>
                    <a:cubicBezTo>
                      <a:pt x="61" y="8667"/>
                      <a:pt x="61" y="8667"/>
                      <a:pt x="61" y="8667"/>
                    </a:cubicBezTo>
                    <a:cubicBezTo>
                      <a:pt x="108" y="8749"/>
                      <a:pt x="108" y="8749"/>
                      <a:pt x="108" y="8749"/>
                    </a:cubicBezTo>
                    <a:cubicBezTo>
                      <a:pt x="3" y="8838"/>
                      <a:pt x="3" y="8838"/>
                      <a:pt x="3" y="8838"/>
                    </a:cubicBezTo>
                    <a:cubicBezTo>
                      <a:pt x="3" y="8857"/>
                      <a:pt x="3" y="8857"/>
                      <a:pt x="3" y="8857"/>
                    </a:cubicBezTo>
                    <a:cubicBezTo>
                      <a:pt x="127" y="8752"/>
                      <a:pt x="127" y="8752"/>
                      <a:pt x="127" y="8752"/>
                    </a:cubicBezTo>
                    <a:lnTo>
                      <a:pt x="68" y="8650"/>
                    </a:lnTo>
                    <a:close/>
                    <a:moveTo>
                      <a:pt x="53" y="9406"/>
                    </a:moveTo>
                    <a:cubicBezTo>
                      <a:pt x="3" y="9327"/>
                      <a:pt x="3" y="9327"/>
                      <a:pt x="3" y="9327"/>
                    </a:cubicBezTo>
                    <a:cubicBezTo>
                      <a:pt x="3" y="9355"/>
                      <a:pt x="3" y="9355"/>
                      <a:pt x="3" y="9355"/>
                    </a:cubicBezTo>
                    <a:cubicBezTo>
                      <a:pt x="37" y="9408"/>
                      <a:pt x="37" y="9408"/>
                      <a:pt x="37" y="9408"/>
                    </a:cubicBezTo>
                    <a:cubicBezTo>
                      <a:pt x="10" y="9493"/>
                      <a:pt x="10" y="9493"/>
                      <a:pt x="10" y="9493"/>
                    </a:cubicBezTo>
                    <a:cubicBezTo>
                      <a:pt x="3" y="9494"/>
                      <a:pt x="3" y="9494"/>
                      <a:pt x="3" y="9494"/>
                    </a:cubicBezTo>
                    <a:cubicBezTo>
                      <a:pt x="3" y="9509"/>
                      <a:pt x="3" y="9509"/>
                      <a:pt x="3" y="9509"/>
                    </a:cubicBezTo>
                    <a:cubicBezTo>
                      <a:pt x="22" y="9506"/>
                      <a:pt x="22" y="9506"/>
                      <a:pt x="22" y="9506"/>
                    </a:cubicBezTo>
                    <a:lnTo>
                      <a:pt x="53" y="9406"/>
                    </a:lnTo>
                    <a:close/>
                    <a:moveTo>
                      <a:pt x="182" y="9126"/>
                    </a:moveTo>
                    <a:cubicBezTo>
                      <a:pt x="292" y="9026"/>
                      <a:pt x="292" y="9026"/>
                      <a:pt x="292" y="9026"/>
                    </a:cubicBezTo>
                    <a:cubicBezTo>
                      <a:pt x="298" y="9020"/>
                      <a:pt x="298" y="9020"/>
                      <a:pt x="298" y="9020"/>
                    </a:cubicBezTo>
                    <a:cubicBezTo>
                      <a:pt x="151" y="8886"/>
                      <a:pt x="151" y="8886"/>
                      <a:pt x="151" y="8886"/>
                    </a:cubicBezTo>
                    <a:cubicBezTo>
                      <a:pt x="3" y="9000"/>
                      <a:pt x="3" y="9000"/>
                      <a:pt x="3" y="9000"/>
                    </a:cubicBezTo>
                    <a:cubicBezTo>
                      <a:pt x="3" y="9019"/>
                      <a:pt x="3" y="9019"/>
                      <a:pt x="3" y="9019"/>
                    </a:cubicBezTo>
                    <a:cubicBezTo>
                      <a:pt x="150" y="8906"/>
                      <a:pt x="150" y="8906"/>
                      <a:pt x="150" y="8906"/>
                    </a:cubicBezTo>
                    <a:cubicBezTo>
                      <a:pt x="276" y="9020"/>
                      <a:pt x="276" y="9020"/>
                      <a:pt x="276" y="9020"/>
                    </a:cubicBezTo>
                    <a:cubicBezTo>
                      <a:pt x="176" y="9111"/>
                      <a:pt x="176" y="9111"/>
                      <a:pt x="176" y="9111"/>
                    </a:cubicBezTo>
                    <a:cubicBezTo>
                      <a:pt x="36" y="9104"/>
                      <a:pt x="36" y="9104"/>
                      <a:pt x="36" y="9104"/>
                    </a:cubicBezTo>
                    <a:cubicBezTo>
                      <a:pt x="3" y="9050"/>
                      <a:pt x="3" y="9050"/>
                      <a:pt x="3" y="9050"/>
                    </a:cubicBezTo>
                    <a:cubicBezTo>
                      <a:pt x="3" y="9078"/>
                      <a:pt x="3" y="9078"/>
                      <a:pt x="3" y="9078"/>
                    </a:cubicBezTo>
                    <a:cubicBezTo>
                      <a:pt x="27" y="9118"/>
                      <a:pt x="27" y="9118"/>
                      <a:pt x="27" y="9118"/>
                    </a:cubicBezTo>
                    <a:lnTo>
                      <a:pt x="182" y="9126"/>
                    </a:lnTo>
                    <a:close/>
                    <a:moveTo>
                      <a:pt x="3781" y="10295"/>
                    </a:moveTo>
                    <a:cubicBezTo>
                      <a:pt x="3711" y="10318"/>
                      <a:pt x="3711" y="10318"/>
                      <a:pt x="3711" y="10318"/>
                    </a:cubicBezTo>
                    <a:cubicBezTo>
                      <a:pt x="3735" y="10390"/>
                      <a:pt x="3735" y="10390"/>
                      <a:pt x="3735" y="10390"/>
                    </a:cubicBezTo>
                    <a:cubicBezTo>
                      <a:pt x="3663" y="10414"/>
                      <a:pt x="3663" y="10414"/>
                      <a:pt x="3663" y="10414"/>
                    </a:cubicBezTo>
                    <a:cubicBezTo>
                      <a:pt x="3661" y="10407"/>
                      <a:pt x="3661" y="10407"/>
                      <a:pt x="3661" y="10407"/>
                    </a:cubicBezTo>
                    <a:cubicBezTo>
                      <a:pt x="3603" y="10224"/>
                      <a:pt x="3603" y="10224"/>
                      <a:pt x="3603" y="10224"/>
                    </a:cubicBezTo>
                    <a:cubicBezTo>
                      <a:pt x="3650" y="10209"/>
                      <a:pt x="3650" y="10209"/>
                      <a:pt x="3650" y="10209"/>
                    </a:cubicBezTo>
                    <a:cubicBezTo>
                      <a:pt x="3647" y="10198"/>
                      <a:pt x="3647" y="10198"/>
                      <a:pt x="3647" y="10198"/>
                    </a:cubicBezTo>
                    <a:cubicBezTo>
                      <a:pt x="3644" y="10191"/>
                      <a:pt x="3644" y="10191"/>
                      <a:pt x="3644" y="10191"/>
                    </a:cubicBezTo>
                    <a:cubicBezTo>
                      <a:pt x="3736" y="10161"/>
                      <a:pt x="3736" y="10161"/>
                      <a:pt x="3736" y="10161"/>
                    </a:cubicBezTo>
                    <a:lnTo>
                      <a:pt x="3781" y="10295"/>
                    </a:lnTo>
                    <a:close/>
                    <a:moveTo>
                      <a:pt x="3695" y="10309"/>
                    </a:moveTo>
                    <a:cubicBezTo>
                      <a:pt x="3764" y="10287"/>
                      <a:pt x="3764" y="10287"/>
                      <a:pt x="3764" y="10287"/>
                    </a:cubicBezTo>
                    <a:cubicBezTo>
                      <a:pt x="3728" y="10178"/>
                      <a:pt x="3728" y="10178"/>
                      <a:pt x="3728" y="10178"/>
                    </a:cubicBezTo>
                    <a:cubicBezTo>
                      <a:pt x="3661" y="10200"/>
                      <a:pt x="3661" y="10200"/>
                      <a:pt x="3661" y="10200"/>
                    </a:cubicBezTo>
                    <a:cubicBezTo>
                      <a:pt x="3665" y="10211"/>
                      <a:pt x="3665" y="10211"/>
                      <a:pt x="3665" y="10211"/>
                    </a:cubicBezTo>
                    <a:cubicBezTo>
                      <a:pt x="3667" y="10217"/>
                      <a:pt x="3667" y="10217"/>
                      <a:pt x="3667" y="10217"/>
                    </a:cubicBezTo>
                    <a:cubicBezTo>
                      <a:pt x="3620" y="10233"/>
                      <a:pt x="3620" y="10233"/>
                      <a:pt x="3620" y="10233"/>
                    </a:cubicBezTo>
                    <a:cubicBezTo>
                      <a:pt x="3671" y="10397"/>
                      <a:pt x="3671" y="10397"/>
                      <a:pt x="3671" y="10397"/>
                    </a:cubicBezTo>
                    <a:cubicBezTo>
                      <a:pt x="3718" y="10381"/>
                      <a:pt x="3718" y="10381"/>
                      <a:pt x="3718" y="10381"/>
                    </a:cubicBezTo>
                    <a:lnTo>
                      <a:pt x="3695" y="10309"/>
                    </a:lnTo>
                    <a:close/>
                    <a:moveTo>
                      <a:pt x="7329" y="7305"/>
                    </a:moveTo>
                    <a:cubicBezTo>
                      <a:pt x="7252" y="7271"/>
                      <a:pt x="7252" y="7271"/>
                      <a:pt x="7252" y="7271"/>
                    </a:cubicBezTo>
                    <a:cubicBezTo>
                      <a:pt x="7282" y="7201"/>
                      <a:pt x="7282" y="7201"/>
                      <a:pt x="7282" y="7201"/>
                    </a:cubicBezTo>
                    <a:cubicBezTo>
                      <a:pt x="7366" y="7238"/>
                      <a:pt x="7366" y="7238"/>
                      <a:pt x="7366" y="7238"/>
                    </a:cubicBezTo>
                    <a:cubicBezTo>
                      <a:pt x="7335" y="7307"/>
                      <a:pt x="7335" y="7307"/>
                      <a:pt x="7335" y="7307"/>
                    </a:cubicBezTo>
                    <a:lnTo>
                      <a:pt x="7329" y="7305"/>
                    </a:lnTo>
                    <a:close/>
                    <a:moveTo>
                      <a:pt x="7329" y="7290"/>
                    </a:moveTo>
                    <a:cubicBezTo>
                      <a:pt x="7348" y="7245"/>
                      <a:pt x="7348" y="7245"/>
                      <a:pt x="7348" y="7245"/>
                    </a:cubicBezTo>
                    <a:cubicBezTo>
                      <a:pt x="7289" y="7218"/>
                      <a:pt x="7289" y="7218"/>
                      <a:pt x="7289" y="7218"/>
                    </a:cubicBezTo>
                    <a:cubicBezTo>
                      <a:pt x="7269" y="7264"/>
                      <a:pt x="7269" y="7264"/>
                      <a:pt x="7269" y="7264"/>
                    </a:cubicBezTo>
                    <a:lnTo>
                      <a:pt x="7329" y="7290"/>
                    </a:lnTo>
                    <a:close/>
                    <a:moveTo>
                      <a:pt x="3122" y="10380"/>
                    </a:moveTo>
                    <a:cubicBezTo>
                      <a:pt x="3276" y="10308"/>
                      <a:pt x="3276" y="10308"/>
                      <a:pt x="3276" y="10308"/>
                    </a:cubicBezTo>
                    <a:cubicBezTo>
                      <a:pt x="3280" y="10313"/>
                      <a:pt x="3280" y="10313"/>
                      <a:pt x="3280" y="10313"/>
                    </a:cubicBezTo>
                    <a:cubicBezTo>
                      <a:pt x="3280" y="10313"/>
                      <a:pt x="3292" y="10327"/>
                      <a:pt x="3304" y="10342"/>
                    </a:cubicBezTo>
                    <a:cubicBezTo>
                      <a:pt x="3310" y="10349"/>
                      <a:pt x="3317" y="10356"/>
                      <a:pt x="3322" y="10361"/>
                    </a:cubicBezTo>
                    <a:cubicBezTo>
                      <a:pt x="3325" y="10364"/>
                      <a:pt x="3327" y="10366"/>
                      <a:pt x="3328" y="10368"/>
                    </a:cubicBezTo>
                    <a:cubicBezTo>
                      <a:pt x="3329" y="10368"/>
                      <a:pt x="3329" y="10368"/>
                      <a:pt x="3329" y="10368"/>
                    </a:cubicBezTo>
                    <a:cubicBezTo>
                      <a:pt x="3341" y="10368"/>
                      <a:pt x="3341" y="10368"/>
                      <a:pt x="3341" y="10368"/>
                    </a:cubicBezTo>
                    <a:cubicBezTo>
                      <a:pt x="3334" y="10379"/>
                      <a:pt x="3334" y="10379"/>
                      <a:pt x="3334" y="10379"/>
                    </a:cubicBezTo>
                    <a:cubicBezTo>
                      <a:pt x="3334" y="10379"/>
                      <a:pt x="3324" y="10397"/>
                      <a:pt x="3314" y="10416"/>
                    </a:cubicBezTo>
                    <a:cubicBezTo>
                      <a:pt x="3309" y="10425"/>
                      <a:pt x="3303" y="10435"/>
                      <a:pt x="3300" y="10442"/>
                    </a:cubicBezTo>
                    <a:cubicBezTo>
                      <a:pt x="3298" y="10446"/>
                      <a:pt x="3296" y="10449"/>
                      <a:pt x="3295" y="10451"/>
                    </a:cubicBezTo>
                    <a:cubicBezTo>
                      <a:pt x="3296" y="10452"/>
                      <a:pt x="3297" y="10452"/>
                      <a:pt x="3297" y="10452"/>
                    </a:cubicBezTo>
                    <a:cubicBezTo>
                      <a:pt x="3318" y="10467"/>
                      <a:pt x="3372" y="10522"/>
                      <a:pt x="3372" y="10522"/>
                    </a:cubicBezTo>
                    <a:cubicBezTo>
                      <a:pt x="3383" y="10533"/>
                      <a:pt x="3383" y="10533"/>
                      <a:pt x="3383" y="10533"/>
                    </a:cubicBezTo>
                    <a:cubicBezTo>
                      <a:pt x="3152" y="10552"/>
                      <a:pt x="3152" y="10552"/>
                      <a:pt x="3152" y="10552"/>
                    </a:cubicBezTo>
                    <a:cubicBezTo>
                      <a:pt x="3150" y="10556"/>
                      <a:pt x="3147" y="10562"/>
                      <a:pt x="3144" y="10569"/>
                    </a:cubicBezTo>
                    <a:cubicBezTo>
                      <a:pt x="3140" y="10577"/>
                      <a:pt x="3136" y="10587"/>
                      <a:pt x="3134" y="10591"/>
                    </a:cubicBezTo>
                    <a:cubicBezTo>
                      <a:pt x="3135" y="10592"/>
                      <a:pt x="3135" y="10593"/>
                      <a:pt x="3136" y="10595"/>
                    </a:cubicBezTo>
                    <a:cubicBezTo>
                      <a:pt x="3134" y="10603"/>
                      <a:pt x="3132" y="10600"/>
                      <a:pt x="3132" y="10601"/>
                    </a:cubicBezTo>
                    <a:cubicBezTo>
                      <a:pt x="3127" y="10605"/>
                      <a:pt x="3078" y="10625"/>
                      <a:pt x="3028" y="10647"/>
                    </a:cubicBezTo>
                    <a:cubicBezTo>
                      <a:pt x="3003" y="10657"/>
                      <a:pt x="2978" y="10668"/>
                      <a:pt x="2960" y="10676"/>
                    </a:cubicBezTo>
                    <a:cubicBezTo>
                      <a:pt x="2951" y="10680"/>
                      <a:pt x="2943" y="10683"/>
                      <a:pt x="2938" y="10685"/>
                    </a:cubicBezTo>
                    <a:cubicBezTo>
                      <a:pt x="2935" y="10687"/>
                      <a:pt x="2933" y="10688"/>
                      <a:pt x="2932" y="10688"/>
                    </a:cubicBezTo>
                    <a:cubicBezTo>
                      <a:pt x="2931" y="10688"/>
                      <a:pt x="2931" y="10689"/>
                      <a:pt x="2931" y="10689"/>
                    </a:cubicBezTo>
                    <a:cubicBezTo>
                      <a:pt x="2930" y="10689"/>
                      <a:pt x="2928" y="10690"/>
                      <a:pt x="2926" y="10690"/>
                    </a:cubicBezTo>
                    <a:cubicBezTo>
                      <a:pt x="2926" y="10690"/>
                      <a:pt x="2924" y="10690"/>
                      <a:pt x="2922" y="10689"/>
                    </a:cubicBezTo>
                    <a:cubicBezTo>
                      <a:pt x="2920" y="10688"/>
                      <a:pt x="2919" y="10684"/>
                      <a:pt x="2919" y="10683"/>
                    </a:cubicBezTo>
                    <a:cubicBezTo>
                      <a:pt x="2919" y="10682"/>
                      <a:pt x="2919" y="10681"/>
                      <a:pt x="2920" y="10680"/>
                    </a:cubicBezTo>
                    <a:cubicBezTo>
                      <a:pt x="2920" y="10680"/>
                      <a:pt x="2920" y="10680"/>
                      <a:pt x="2920" y="10680"/>
                    </a:cubicBezTo>
                    <a:cubicBezTo>
                      <a:pt x="2920" y="10660"/>
                      <a:pt x="2895" y="10514"/>
                      <a:pt x="2895" y="10514"/>
                    </a:cubicBezTo>
                    <a:cubicBezTo>
                      <a:pt x="2893" y="10506"/>
                      <a:pt x="2893" y="10506"/>
                      <a:pt x="2893" y="10506"/>
                    </a:cubicBezTo>
                    <a:cubicBezTo>
                      <a:pt x="3090" y="10481"/>
                      <a:pt x="3090" y="10481"/>
                      <a:pt x="3090" y="10481"/>
                    </a:cubicBezTo>
                    <a:lnTo>
                      <a:pt x="3122" y="10380"/>
                    </a:lnTo>
                    <a:close/>
                    <a:moveTo>
                      <a:pt x="3134" y="10391"/>
                    </a:moveTo>
                    <a:cubicBezTo>
                      <a:pt x="3101" y="10495"/>
                      <a:pt x="3101" y="10495"/>
                      <a:pt x="3101" y="10495"/>
                    </a:cubicBezTo>
                    <a:cubicBezTo>
                      <a:pt x="2910" y="10519"/>
                      <a:pt x="2910" y="10519"/>
                      <a:pt x="2910" y="10519"/>
                    </a:cubicBezTo>
                    <a:cubicBezTo>
                      <a:pt x="2915" y="10546"/>
                      <a:pt x="2931" y="10637"/>
                      <a:pt x="2934" y="10671"/>
                    </a:cubicBezTo>
                    <a:cubicBezTo>
                      <a:pt x="2940" y="10668"/>
                      <a:pt x="2948" y="10665"/>
                      <a:pt x="2958" y="10661"/>
                    </a:cubicBezTo>
                    <a:cubicBezTo>
                      <a:pt x="2986" y="10648"/>
                      <a:pt x="3028" y="10630"/>
                      <a:pt x="3063" y="10616"/>
                    </a:cubicBezTo>
                    <a:cubicBezTo>
                      <a:pt x="3080" y="10608"/>
                      <a:pt x="3096" y="10602"/>
                      <a:pt x="3107" y="10597"/>
                    </a:cubicBezTo>
                    <a:cubicBezTo>
                      <a:pt x="3112" y="10595"/>
                      <a:pt x="3116" y="10593"/>
                      <a:pt x="3119" y="10591"/>
                    </a:cubicBezTo>
                    <a:cubicBezTo>
                      <a:pt x="3122" y="10576"/>
                      <a:pt x="3141" y="10542"/>
                      <a:pt x="3141" y="10541"/>
                    </a:cubicBezTo>
                    <a:cubicBezTo>
                      <a:pt x="3143" y="10538"/>
                      <a:pt x="3143" y="10538"/>
                      <a:pt x="3143" y="10538"/>
                    </a:cubicBezTo>
                    <a:cubicBezTo>
                      <a:pt x="3350" y="10521"/>
                      <a:pt x="3350" y="10521"/>
                      <a:pt x="3350" y="10521"/>
                    </a:cubicBezTo>
                    <a:cubicBezTo>
                      <a:pt x="3343" y="10514"/>
                      <a:pt x="3334" y="10505"/>
                      <a:pt x="3325" y="10496"/>
                    </a:cubicBezTo>
                    <a:cubicBezTo>
                      <a:pt x="3316" y="10488"/>
                      <a:pt x="3306" y="10479"/>
                      <a:pt x="3298" y="10472"/>
                    </a:cubicBezTo>
                    <a:cubicBezTo>
                      <a:pt x="3295" y="10469"/>
                      <a:pt x="3291" y="10466"/>
                      <a:pt x="3289" y="10464"/>
                    </a:cubicBezTo>
                    <a:cubicBezTo>
                      <a:pt x="3288" y="10464"/>
                      <a:pt x="3287" y="10463"/>
                      <a:pt x="3286" y="10463"/>
                    </a:cubicBezTo>
                    <a:cubicBezTo>
                      <a:pt x="3284" y="10463"/>
                      <a:pt x="3281" y="10461"/>
                      <a:pt x="3280" y="10459"/>
                    </a:cubicBezTo>
                    <a:cubicBezTo>
                      <a:pt x="3279" y="10457"/>
                      <a:pt x="3279" y="10456"/>
                      <a:pt x="3279" y="10455"/>
                    </a:cubicBezTo>
                    <a:cubicBezTo>
                      <a:pt x="3280" y="10448"/>
                      <a:pt x="3282" y="10444"/>
                      <a:pt x="3286" y="10436"/>
                    </a:cubicBezTo>
                    <a:cubicBezTo>
                      <a:pt x="3295" y="10418"/>
                      <a:pt x="3311" y="10390"/>
                      <a:pt x="3318" y="10378"/>
                    </a:cubicBezTo>
                    <a:cubicBezTo>
                      <a:pt x="3306" y="10367"/>
                      <a:pt x="3281" y="10338"/>
                      <a:pt x="3272" y="10326"/>
                    </a:cubicBezTo>
                    <a:lnTo>
                      <a:pt x="3134" y="10391"/>
                    </a:lnTo>
                    <a:close/>
                    <a:moveTo>
                      <a:pt x="4651" y="5130"/>
                    </a:moveTo>
                    <a:cubicBezTo>
                      <a:pt x="4727" y="5199"/>
                      <a:pt x="4727" y="5199"/>
                      <a:pt x="4727" y="5199"/>
                    </a:cubicBezTo>
                    <a:cubicBezTo>
                      <a:pt x="4628" y="5309"/>
                      <a:pt x="4628" y="5309"/>
                      <a:pt x="4628" y="5309"/>
                    </a:cubicBezTo>
                    <a:cubicBezTo>
                      <a:pt x="4551" y="5240"/>
                      <a:pt x="4551" y="5240"/>
                      <a:pt x="4551" y="5240"/>
                    </a:cubicBezTo>
                    <a:cubicBezTo>
                      <a:pt x="4556" y="5235"/>
                      <a:pt x="4556" y="5235"/>
                      <a:pt x="4556" y="5235"/>
                    </a:cubicBezTo>
                    <a:lnTo>
                      <a:pt x="4651" y="5130"/>
                    </a:lnTo>
                    <a:close/>
                    <a:moveTo>
                      <a:pt x="4652" y="5149"/>
                    </a:moveTo>
                    <a:cubicBezTo>
                      <a:pt x="4570" y="5239"/>
                      <a:pt x="4570" y="5239"/>
                      <a:pt x="4570" y="5239"/>
                    </a:cubicBezTo>
                    <a:cubicBezTo>
                      <a:pt x="4627" y="5291"/>
                      <a:pt x="4627" y="5291"/>
                      <a:pt x="4627" y="5291"/>
                    </a:cubicBezTo>
                    <a:cubicBezTo>
                      <a:pt x="4709" y="5200"/>
                      <a:pt x="4709" y="5200"/>
                      <a:pt x="4709" y="5200"/>
                    </a:cubicBezTo>
                    <a:lnTo>
                      <a:pt x="4652" y="5149"/>
                    </a:lnTo>
                    <a:close/>
                    <a:moveTo>
                      <a:pt x="5159" y="5865"/>
                    </a:moveTo>
                    <a:cubicBezTo>
                      <a:pt x="5102" y="5854"/>
                      <a:pt x="5102" y="5854"/>
                      <a:pt x="5102" y="5854"/>
                    </a:cubicBezTo>
                    <a:cubicBezTo>
                      <a:pt x="5104" y="5847"/>
                      <a:pt x="5104" y="5847"/>
                      <a:pt x="5104" y="5847"/>
                    </a:cubicBezTo>
                    <a:cubicBezTo>
                      <a:pt x="5123" y="5733"/>
                      <a:pt x="5123" y="5733"/>
                      <a:pt x="5123" y="5733"/>
                    </a:cubicBezTo>
                    <a:cubicBezTo>
                      <a:pt x="5239" y="5755"/>
                      <a:pt x="5239" y="5755"/>
                      <a:pt x="5239" y="5755"/>
                    </a:cubicBezTo>
                    <a:cubicBezTo>
                      <a:pt x="5237" y="5766"/>
                      <a:pt x="5237" y="5766"/>
                      <a:pt x="5237" y="5766"/>
                    </a:cubicBezTo>
                    <a:cubicBezTo>
                      <a:pt x="5288" y="5776"/>
                      <a:pt x="5288" y="5776"/>
                      <a:pt x="5288" y="5776"/>
                    </a:cubicBezTo>
                    <a:cubicBezTo>
                      <a:pt x="5252" y="5958"/>
                      <a:pt x="5252" y="5958"/>
                      <a:pt x="5252" y="5958"/>
                    </a:cubicBezTo>
                    <a:cubicBezTo>
                      <a:pt x="5144" y="5936"/>
                      <a:pt x="5144" y="5936"/>
                      <a:pt x="5144" y="5936"/>
                    </a:cubicBezTo>
                    <a:lnTo>
                      <a:pt x="5159" y="5865"/>
                    </a:lnTo>
                    <a:close/>
                    <a:moveTo>
                      <a:pt x="5174" y="5854"/>
                    </a:moveTo>
                    <a:cubicBezTo>
                      <a:pt x="5160" y="5926"/>
                      <a:pt x="5160" y="5926"/>
                      <a:pt x="5160" y="5926"/>
                    </a:cubicBezTo>
                    <a:cubicBezTo>
                      <a:pt x="5242" y="5942"/>
                      <a:pt x="5242" y="5942"/>
                      <a:pt x="5242" y="5942"/>
                    </a:cubicBezTo>
                    <a:cubicBezTo>
                      <a:pt x="5273" y="5786"/>
                      <a:pt x="5273" y="5786"/>
                      <a:pt x="5273" y="5786"/>
                    </a:cubicBezTo>
                    <a:cubicBezTo>
                      <a:pt x="5221" y="5776"/>
                      <a:pt x="5221" y="5776"/>
                      <a:pt x="5221" y="5776"/>
                    </a:cubicBezTo>
                    <a:cubicBezTo>
                      <a:pt x="5223" y="5766"/>
                      <a:pt x="5223" y="5766"/>
                      <a:pt x="5223" y="5766"/>
                    </a:cubicBezTo>
                    <a:cubicBezTo>
                      <a:pt x="5134" y="5748"/>
                      <a:pt x="5134" y="5748"/>
                      <a:pt x="5134" y="5748"/>
                    </a:cubicBezTo>
                    <a:cubicBezTo>
                      <a:pt x="5118" y="5843"/>
                      <a:pt x="5118" y="5843"/>
                      <a:pt x="5118" y="5843"/>
                    </a:cubicBezTo>
                    <a:lnTo>
                      <a:pt x="5174" y="5854"/>
                    </a:lnTo>
                    <a:close/>
                    <a:moveTo>
                      <a:pt x="7583" y="7229"/>
                    </a:moveTo>
                    <a:cubicBezTo>
                      <a:pt x="7447" y="7093"/>
                      <a:pt x="7447" y="7093"/>
                      <a:pt x="7447" y="7093"/>
                    </a:cubicBezTo>
                    <a:cubicBezTo>
                      <a:pt x="7482" y="7058"/>
                      <a:pt x="7482" y="7058"/>
                      <a:pt x="7482" y="7058"/>
                    </a:cubicBezTo>
                    <a:cubicBezTo>
                      <a:pt x="7473" y="7050"/>
                      <a:pt x="7473" y="7050"/>
                      <a:pt x="7473" y="7050"/>
                    </a:cubicBezTo>
                    <a:cubicBezTo>
                      <a:pt x="7469" y="7045"/>
                      <a:pt x="7469" y="7045"/>
                      <a:pt x="7469" y="7045"/>
                    </a:cubicBezTo>
                    <a:cubicBezTo>
                      <a:pt x="7536" y="6976"/>
                      <a:pt x="7536" y="6976"/>
                      <a:pt x="7536" y="6976"/>
                    </a:cubicBezTo>
                    <a:cubicBezTo>
                      <a:pt x="7637" y="7074"/>
                      <a:pt x="7637" y="7074"/>
                      <a:pt x="7637" y="7074"/>
                    </a:cubicBezTo>
                    <a:cubicBezTo>
                      <a:pt x="7586" y="7126"/>
                      <a:pt x="7586" y="7126"/>
                      <a:pt x="7586" y="7126"/>
                    </a:cubicBezTo>
                    <a:cubicBezTo>
                      <a:pt x="7641" y="7179"/>
                      <a:pt x="7641" y="7179"/>
                      <a:pt x="7641" y="7179"/>
                    </a:cubicBezTo>
                    <a:cubicBezTo>
                      <a:pt x="7588" y="7233"/>
                      <a:pt x="7588" y="7233"/>
                      <a:pt x="7588" y="7233"/>
                    </a:cubicBezTo>
                    <a:lnTo>
                      <a:pt x="7583" y="7229"/>
                    </a:lnTo>
                    <a:close/>
                    <a:moveTo>
                      <a:pt x="7466" y="7093"/>
                    </a:moveTo>
                    <a:cubicBezTo>
                      <a:pt x="7588" y="7215"/>
                      <a:pt x="7588" y="7215"/>
                      <a:pt x="7588" y="7215"/>
                    </a:cubicBezTo>
                    <a:cubicBezTo>
                      <a:pt x="7622" y="7179"/>
                      <a:pt x="7622" y="7179"/>
                      <a:pt x="7622" y="7179"/>
                    </a:cubicBezTo>
                    <a:cubicBezTo>
                      <a:pt x="7568" y="7127"/>
                      <a:pt x="7568" y="7127"/>
                      <a:pt x="7568" y="7127"/>
                    </a:cubicBezTo>
                    <a:cubicBezTo>
                      <a:pt x="7619" y="7074"/>
                      <a:pt x="7619" y="7074"/>
                      <a:pt x="7619" y="7074"/>
                    </a:cubicBezTo>
                    <a:cubicBezTo>
                      <a:pt x="7536" y="6994"/>
                      <a:pt x="7536" y="6994"/>
                      <a:pt x="7536" y="6994"/>
                    </a:cubicBezTo>
                    <a:cubicBezTo>
                      <a:pt x="7487" y="7045"/>
                      <a:pt x="7487" y="7045"/>
                      <a:pt x="7487" y="7045"/>
                    </a:cubicBezTo>
                    <a:cubicBezTo>
                      <a:pt x="7496" y="7053"/>
                      <a:pt x="7496" y="7053"/>
                      <a:pt x="7496" y="7053"/>
                    </a:cubicBezTo>
                    <a:cubicBezTo>
                      <a:pt x="7500" y="7058"/>
                      <a:pt x="7500" y="7058"/>
                      <a:pt x="7500" y="7058"/>
                    </a:cubicBezTo>
                    <a:lnTo>
                      <a:pt x="7466" y="7093"/>
                    </a:lnTo>
                    <a:close/>
                    <a:moveTo>
                      <a:pt x="3818" y="4851"/>
                    </a:moveTo>
                    <a:cubicBezTo>
                      <a:pt x="3949" y="4879"/>
                      <a:pt x="3949" y="4879"/>
                      <a:pt x="3949" y="4879"/>
                    </a:cubicBezTo>
                    <a:cubicBezTo>
                      <a:pt x="3920" y="5015"/>
                      <a:pt x="3920" y="5015"/>
                      <a:pt x="3920" y="5015"/>
                    </a:cubicBezTo>
                    <a:cubicBezTo>
                      <a:pt x="3789" y="4988"/>
                      <a:pt x="3789" y="4988"/>
                      <a:pt x="3789" y="4988"/>
                    </a:cubicBezTo>
                    <a:cubicBezTo>
                      <a:pt x="3790" y="4981"/>
                      <a:pt x="3790" y="4981"/>
                      <a:pt x="3790" y="4981"/>
                    </a:cubicBezTo>
                    <a:lnTo>
                      <a:pt x="3818" y="4851"/>
                    </a:lnTo>
                    <a:close/>
                    <a:moveTo>
                      <a:pt x="3828" y="4867"/>
                    </a:moveTo>
                    <a:cubicBezTo>
                      <a:pt x="3805" y="4977"/>
                      <a:pt x="3805" y="4977"/>
                      <a:pt x="3805" y="4977"/>
                    </a:cubicBezTo>
                    <a:cubicBezTo>
                      <a:pt x="3910" y="5000"/>
                      <a:pt x="3910" y="5000"/>
                      <a:pt x="3910" y="5000"/>
                    </a:cubicBezTo>
                    <a:cubicBezTo>
                      <a:pt x="3933" y="4889"/>
                      <a:pt x="3933" y="4889"/>
                      <a:pt x="3933" y="4889"/>
                    </a:cubicBezTo>
                    <a:lnTo>
                      <a:pt x="3828" y="4867"/>
                    </a:lnTo>
                    <a:close/>
                    <a:moveTo>
                      <a:pt x="4240" y="10018"/>
                    </a:moveTo>
                    <a:cubicBezTo>
                      <a:pt x="4279" y="10109"/>
                      <a:pt x="4279" y="10109"/>
                      <a:pt x="4279" y="10109"/>
                    </a:cubicBezTo>
                    <a:cubicBezTo>
                      <a:pt x="4125" y="10175"/>
                      <a:pt x="4125" y="10175"/>
                      <a:pt x="4125" y="10175"/>
                    </a:cubicBezTo>
                    <a:cubicBezTo>
                      <a:pt x="4060" y="10021"/>
                      <a:pt x="4060" y="10021"/>
                      <a:pt x="4060" y="10021"/>
                    </a:cubicBezTo>
                    <a:cubicBezTo>
                      <a:pt x="4146" y="9984"/>
                      <a:pt x="4146" y="9984"/>
                      <a:pt x="4146" y="9984"/>
                    </a:cubicBezTo>
                    <a:cubicBezTo>
                      <a:pt x="4112" y="9889"/>
                      <a:pt x="4112" y="9889"/>
                      <a:pt x="4112" y="9889"/>
                    </a:cubicBezTo>
                    <a:cubicBezTo>
                      <a:pt x="4275" y="9820"/>
                      <a:pt x="4275" y="9820"/>
                      <a:pt x="4275" y="9820"/>
                    </a:cubicBezTo>
                    <a:cubicBezTo>
                      <a:pt x="4336" y="9978"/>
                      <a:pt x="4336" y="9978"/>
                      <a:pt x="4336" y="9978"/>
                    </a:cubicBezTo>
                    <a:lnTo>
                      <a:pt x="4240" y="10018"/>
                    </a:lnTo>
                    <a:close/>
                    <a:moveTo>
                      <a:pt x="4223" y="10011"/>
                    </a:moveTo>
                    <a:cubicBezTo>
                      <a:pt x="4229" y="10008"/>
                      <a:pt x="4229" y="10008"/>
                      <a:pt x="4229" y="10008"/>
                    </a:cubicBezTo>
                    <a:cubicBezTo>
                      <a:pt x="4319" y="9971"/>
                      <a:pt x="4319" y="9971"/>
                      <a:pt x="4319" y="9971"/>
                    </a:cubicBezTo>
                    <a:cubicBezTo>
                      <a:pt x="4268" y="9838"/>
                      <a:pt x="4268" y="9838"/>
                      <a:pt x="4268" y="9838"/>
                    </a:cubicBezTo>
                    <a:cubicBezTo>
                      <a:pt x="4128" y="9896"/>
                      <a:pt x="4128" y="9896"/>
                      <a:pt x="4128" y="9896"/>
                    </a:cubicBezTo>
                    <a:cubicBezTo>
                      <a:pt x="4163" y="9991"/>
                      <a:pt x="4163" y="9991"/>
                      <a:pt x="4163" y="9991"/>
                    </a:cubicBezTo>
                    <a:cubicBezTo>
                      <a:pt x="4077" y="10028"/>
                      <a:pt x="4077" y="10028"/>
                      <a:pt x="4077" y="10028"/>
                    </a:cubicBezTo>
                    <a:cubicBezTo>
                      <a:pt x="4132" y="10157"/>
                      <a:pt x="4132" y="10157"/>
                      <a:pt x="4132" y="10157"/>
                    </a:cubicBezTo>
                    <a:cubicBezTo>
                      <a:pt x="4262" y="10102"/>
                      <a:pt x="4262" y="10102"/>
                      <a:pt x="4262" y="10102"/>
                    </a:cubicBezTo>
                    <a:lnTo>
                      <a:pt x="4223" y="10011"/>
                    </a:lnTo>
                    <a:close/>
                  </a:path>
                </a:pathLst>
              </a:custGeom>
              <a:gradFill>
                <a:gsLst>
                  <a:gs pos="34000">
                    <a:srgbClr val="306B83">
                      <a:alpha val="0"/>
                    </a:srgbClr>
                  </a:gs>
                  <a:gs pos="100000">
                    <a:srgbClr val="306B83"/>
                  </a:gs>
                </a:gsLst>
                <a:lin ang="0" scaled="1"/>
              </a:gradFill>
              <a:ln>
                <a:noFill/>
              </a:ln>
            </p:spPr>
            <p:txBody>
              <a:bodyPr vert="horz" wrap="square" lIns="91440" tIns="45720" rIns="91440" bIns="45720" numCol="1" anchor="t" anchorCtr="0" compatLnSpc="1">
                <a:prstTxWarp prst="textNoShape">
                  <a:avLst/>
                </a:prstTxWarp>
              </a:bodyPr>
              <a:lstStyle/>
              <a:p>
                <a:endParaRPr lang="nl-NL" dirty="0"/>
              </a:p>
            </p:txBody>
          </p:sp>
          <p:sp>
            <p:nvSpPr>
              <p:cNvPr id="33" name="Freeform 10">
                <a:extLst>
                  <a:ext uri="{FF2B5EF4-FFF2-40B4-BE49-F238E27FC236}">
                    <a16:creationId xmlns:a16="http://schemas.microsoft.com/office/drawing/2014/main" id="{F7B7FE6C-4786-4E2F-BB6C-F8CFAE88D917}"/>
                  </a:ext>
                </a:extLst>
              </p:cNvPr>
              <p:cNvSpPr>
                <a:spLocks noSelect="1"/>
              </p:cNvSpPr>
              <p:nvPr userDrawn="1"/>
            </p:nvSpPr>
            <p:spPr bwMode="gray">
              <a:xfrm>
                <a:off x="6478588" y="0"/>
                <a:ext cx="5716588" cy="3432175"/>
              </a:xfrm>
              <a:custGeom>
                <a:avLst/>
                <a:gdLst>
                  <a:gd name="T0" fmla="*/ 15702 w 18004"/>
                  <a:gd name="T1" fmla="*/ 3526 h 10821"/>
                  <a:gd name="T2" fmla="*/ 17130 w 18004"/>
                  <a:gd name="T3" fmla="*/ 7977 h 10821"/>
                  <a:gd name="T4" fmla="*/ 14012 w 18004"/>
                  <a:gd name="T5" fmla="*/ 9898 h 10821"/>
                  <a:gd name="T6" fmla="*/ 13344 w 18004"/>
                  <a:gd name="T7" fmla="*/ 9492 h 10821"/>
                  <a:gd name="T8" fmla="*/ 11805 w 18004"/>
                  <a:gd name="T9" fmla="*/ 10355 h 10821"/>
                  <a:gd name="T10" fmla="*/ 7871 w 18004"/>
                  <a:gd name="T11" fmla="*/ 9880 h 10821"/>
                  <a:gd name="T12" fmla="*/ 6713 w 18004"/>
                  <a:gd name="T13" fmla="*/ 10821 h 10821"/>
                  <a:gd name="T14" fmla="*/ 3229 w 18004"/>
                  <a:gd name="T15" fmla="*/ 10660 h 10821"/>
                  <a:gd name="T16" fmla="*/ 4149 w 18004"/>
                  <a:gd name="T17" fmla="*/ 9274 h 10821"/>
                  <a:gd name="T18" fmla="*/ 1999 w 18004"/>
                  <a:gd name="T19" fmla="*/ 9999 h 10821"/>
                  <a:gd name="T20" fmla="*/ 610 w 18004"/>
                  <a:gd name="T21" fmla="*/ 10228 h 10821"/>
                  <a:gd name="T22" fmla="*/ 3619 w 18004"/>
                  <a:gd name="T23" fmla="*/ 8237 h 10821"/>
                  <a:gd name="T24" fmla="*/ 2497 w 18004"/>
                  <a:gd name="T25" fmla="*/ 7950 h 10821"/>
                  <a:gd name="T26" fmla="*/ 1374 w 18004"/>
                  <a:gd name="T27" fmla="*/ 8803 h 10821"/>
                  <a:gd name="T28" fmla="*/ 0 w 18004"/>
                  <a:gd name="T29" fmla="*/ 9237 h 10821"/>
                  <a:gd name="T30" fmla="*/ 1990 w 18004"/>
                  <a:gd name="T31" fmla="*/ 8265 h 10821"/>
                  <a:gd name="T32" fmla="*/ 1388 w 18004"/>
                  <a:gd name="T33" fmla="*/ 7195 h 10821"/>
                  <a:gd name="T34" fmla="*/ 173 w 18004"/>
                  <a:gd name="T35" fmla="*/ 7273 h 10821"/>
                  <a:gd name="T36" fmla="*/ 1274 w 18004"/>
                  <a:gd name="T37" fmla="*/ 4182 h 10821"/>
                  <a:gd name="T38" fmla="*/ 1887 w 18004"/>
                  <a:gd name="T39" fmla="*/ 1866 h 10821"/>
                  <a:gd name="T40" fmla="*/ 4186 w 18004"/>
                  <a:gd name="T41" fmla="*/ 1083 h 10821"/>
                  <a:gd name="T42" fmla="*/ 5498 w 18004"/>
                  <a:gd name="T43" fmla="*/ 637 h 10821"/>
                  <a:gd name="T44" fmla="*/ 7630 w 18004"/>
                  <a:gd name="T45" fmla="*/ 250 h 10821"/>
                  <a:gd name="T46" fmla="*/ 11442 w 18004"/>
                  <a:gd name="T47" fmla="*/ 1323 h 10821"/>
                  <a:gd name="T48" fmla="*/ 14013 w 18004"/>
                  <a:gd name="T49" fmla="*/ 0 h 10821"/>
                  <a:gd name="T50" fmla="*/ 13927 w 18004"/>
                  <a:gd name="T51" fmla="*/ 879 h 10821"/>
                  <a:gd name="T52" fmla="*/ 16196 w 18004"/>
                  <a:gd name="T53" fmla="*/ 1690 h 10821"/>
                  <a:gd name="T54" fmla="*/ 12561 w 18004"/>
                  <a:gd name="T55" fmla="*/ 2675 h 10821"/>
                  <a:gd name="T56" fmla="*/ 11691 w 18004"/>
                  <a:gd name="T57" fmla="*/ 7190 h 10821"/>
                  <a:gd name="T58" fmla="*/ 9016 w 18004"/>
                  <a:gd name="T59" fmla="*/ 7923 h 10821"/>
                  <a:gd name="T60" fmla="*/ 6161 w 18004"/>
                  <a:gd name="T61" fmla="*/ 4713 h 10821"/>
                  <a:gd name="T62" fmla="*/ 10542 w 18004"/>
                  <a:gd name="T63" fmla="*/ 2541 h 10821"/>
                  <a:gd name="T64" fmla="*/ 7811 w 18004"/>
                  <a:gd name="T65" fmla="*/ 4456 h 10821"/>
                  <a:gd name="T66" fmla="*/ 8523 w 18004"/>
                  <a:gd name="T67" fmla="*/ 2710 h 10821"/>
                  <a:gd name="T68" fmla="*/ 7802 w 18004"/>
                  <a:gd name="T69" fmla="*/ 4949 h 10821"/>
                  <a:gd name="T70" fmla="*/ 10763 w 18004"/>
                  <a:gd name="T71" fmla="*/ 2991 h 10821"/>
                  <a:gd name="T72" fmla="*/ 10676 w 18004"/>
                  <a:gd name="T73" fmla="*/ 2352 h 10821"/>
                  <a:gd name="T74" fmla="*/ 8570 w 18004"/>
                  <a:gd name="T75" fmla="*/ 2059 h 10821"/>
                  <a:gd name="T76" fmla="*/ 9352 w 18004"/>
                  <a:gd name="T77" fmla="*/ 1169 h 10821"/>
                  <a:gd name="T78" fmla="*/ 5329 w 18004"/>
                  <a:gd name="T79" fmla="*/ 2407 h 10821"/>
                  <a:gd name="T80" fmla="*/ 3627 w 18004"/>
                  <a:gd name="T81" fmla="*/ 1783 h 10821"/>
                  <a:gd name="T82" fmla="*/ 4165 w 18004"/>
                  <a:gd name="T83" fmla="*/ 3717 h 10821"/>
                  <a:gd name="T84" fmla="*/ 1284 w 18004"/>
                  <a:gd name="T85" fmla="*/ 4142 h 10821"/>
                  <a:gd name="T86" fmla="*/ 1418 w 18004"/>
                  <a:gd name="T87" fmla="*/ 6665 h 10821"/>
                  <a:gd name="T88" fmla="*/ 1465 w 18004"/>
                  <a:gd name="T89" fmla="*/ 7398 h 10821"/>
                  <a:gd name="T90" fmla="*/ 2966 w 18004"/>
                  <a:gd name="T91" fmla="*/ 6641 h 10821"/>
                  <a:gd name="T92" fmla="*/ 4792 w 18004"/>
                  <a:gd name="T93" fmla="*/ 5512 h 10821"/>
                  <a:gd name="T94" fmla="*/ 3967 w 18004"/>
                  <a:gd name="T95" fmla="*/ 8015 h 10821"/>
                  <a:gd name="T96" fmla="*/ 5929 w 18004"/>
                  <a:gd name="T97" fmla="*/ 6192 h 10821"/>
                  <a:gd name="T98" fmla="*/ 4370 w 18004"/>
                  <a:gd name="T99" fmla="*/ 7457 h 10821"/>
                  <a:gd name="T100" fmla="*/ 473 w 18004"/>
                  <a:gd name="T101" fmla="*/ 10061 h 10821"/>
                  <a:gd name="T102" fmla="*/ 602 w 18004"/>
                  <a:gd name="T103" fmla="*/ 10028 h 10821"/>
                  <a:gd name="T104" fmla="*/ 5284 w 18004"/>
                  <a:gd name="T105" fmla="*/ 9176 h 10821"/>
                  <a:gd name="T106" fmla="*/ 5362 w 18004"/>
                  <a:gd name="T107" fmla="*/ 9295 h 10821"/>
                  <a:gd name="T108" fmla="*/ 7973 w 18004"/>
                  <a:gd name="T109" fmla="*/ 8076 h 10821"/>
                  <a:gd name="T110" fmla="*/ 6625 w 18004"/>
                  <a:gd name="T111" fmla="*/ 7807 h 10821"/>
                  <a:gd name="T112" fmla="*/ 11191 w 18004"/>
                  <a:gd name="T113" fmla="*/ 8792 h 10821"/>
                  <a:gd name="T114" fmla="*/ 11701 w 18004"/>
                  <a:gd name="T115" fmla="*/ 7224 h 10821"/>
                  <a:gd name="T116" fmla="*/ 14051 w 18004"/>
                  <a:gd name="T117" fmla="*/ 5122 h 10821"/>
                  <a:gd name="T118" fmla="*/ 14607 w 18004"/>
                  <a:gd name="T119" fmla="*/ 8822 h 10821"/>
                  <a:gd name="T120" fmla="*/ 12590 w 18004"/>
                  <a:gd name="T121" fmla="*/ 2697 h 10821"/>
                  <a:gd name="T122" fmla="*/ 1265 w 18004"/>
                  <a:gd name="T123" fmla="*/ 10749 h 10821"/>
                  <a:gd name="T124" fmla="*/ 1762 w 18004"/>
                  <a:gd name="T125" fmla="*/ 8494 h 10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04" h="10821">
                    <a:moveTo>
                      <a:pt x="0" y="10819"/>
                    </a:moveTo>
                    <a:cubicBezTo>
                      <a:pt x="2" y="10821"/>
                      <a:pt x="2" y="10821"/>
                      <a:pt x="2" y="10821"/>
                    </a:cubicBezTo>
                    <a:cubicBezTo>
                      <a:pt x="0" y="10821"/>
                      <a:pt x="0" y="10821"/>
                      <a:pt x="0" y="10821"/>
                    </a:cubicBezTo>
                    <a:lnTo>
                      <a:pt x="0" y="10819"/>
                    </a:lnTo>
                    <a:close/>
                    <a:moveTo>
                      <a:pt x="1980" y="10654"/>
                    </a:moveTo>
                    <a:cubicBezTo>
                      <a:pt x="2004" y="10613"/>
                      <a:pt x="2019" y="10573"/>
                      <a:pt x="2068" y="10573"/>
                    </a:cubicBezTo>
                    <a:cubicBezTo>
                      <a:pt x="2117" y="10573"/>
                      <a:pt x="2157" y="10591"/>
                      <a:pt x="2165" y="10569"/>
                    </a:cubicBezTo>
                    <a:cubicBezTo>
                      <a:pt x="2173" y="10547"/>
                      <a:pt x="2155" y="10515"/>
                      <a:pt x="2120" y="10500"/>
                    </a:cubicBezTo>
                    <a:cubicBezTo>
                      <a:pt x="2093" y="10488"/>
                      <a:pt x="2031" y="10510"/>
                      <a:pt x="1971" y="10579"/>
                    </a:cubicBezTo>
                    <a:cubicBezTo>
                      <a:pt x="1911" y="10647"/>
                      <a:pt x="1851" y="10688"/>
                      <a:pt x="1800" y="10709"/>
                    </a:cubicBezTo>
                    <a:cubicBezTo>
                      <a:pt x="1749" y="10729"/>
                      <a:pt x="1654" y="10786"/>
                      <a:pt x="1655" y="10796"/>
                    </a:cubicBezTo>
                    <a:cubicBezTo>
                      <a:pt x="1657" y="10806"/>
                      <a:pt x="1711" y="10799"/>
                      <a:pt x="1752" y="10773"/>
                    </a:cubicBezTo>
                    <a:cubicBezTo>
                      <a:pt x="1793" y="10747"/>
                      <a:pt x="1852" y="10724"/>
                      <a:pt x="1889" y="10710"/>
                    </a:cubicBezTo>
                    <a:cubicBezTo>
                      <a:pt x="1926" y="10696"/>
                      <a:pt x="1957" y="10695"/>
                      <a:pt x="1980" y="10654"/>
                    </a:cubicBezTo>
                    <a:close/>
                    <a:moveTo>
                      <a:pt x="18004" y="673"/>
                    </a:moveTo>
                    <a:cubicBezTo>
                      <a:pt x="17970" y="697"/>
                      <a:pt x="17937" y="719"/>
                      <a:pt x="17905" y="741"/>
                    </a:cubicBezTo>
                    <a:cubicBezTo>
                      <a:pt x="17938" y="788"/>
                      <a:pt x="17972" y="841"/>
                      <a:pt x="18004" y="902"/>
                    </a:cubicBezTo>
                    <a:cubicBezTo>
                      <a:pt x="18004" y="981"/>
                      <a:pt x="18004" y="981"/>
                      <a:pt x="18004" y="981"/>
                    </a:cubicBezTo>
                    <a:cubicBezTo>
                      <a:pt x="17963" y="895"/>
                      <a:pt x="17919" y="823"/>
                      <a:pt x="17875" y="761"/>
                    </a:cubicBezTo>
                    <a:cubicBezTo>
                      <a:pt x="17428" y="1053"/>
                      <a:pt x="16715" y="1589"/>
                      <a:pt x="16205" y="1725"/>
                    </a:cubicBezTo>
                    <a:cubicBezTo>
                      <a:pt x="16172" y="1734"/>
                      <a:pt x="16139" y="1742"/>
                      <a:pt x="16105" y="1750"/>
                    </a:cubicBezTo>
                    <a:cubicBezTo>
                      <a:pt x="16107" y="1753"/>
                      <a:pt x="16107" y="1753"/>
                      <a:pt x="16107" y="1753"/>
                    </a:cubicBezTo>
                    <a:cubicBezTo>
                      <a:pt x="16110" y="1757"/>
                      <a:pt x="16110" y="1757"/>
                      <a:pt x="16110" y="1757"/>
                    </a:cubicBezTo>
                    <a:cubicBezTo>
                      <a:pt x="16087" y="1775"/>
                      <a:pt x="15755" y="2152"/>
                      <a:pt x="15705" y="2342"/>
                    </a:cubicBezTo>
                    <a:cubicBezTo>
                      <a:pt x="15674" y="2459"/>
                      <a:pt x="15642" y="2676"/>
                      <a:pt x="15642" y="2932"/>
                    </a:cubicBezTo>
                    <a:cubicBezTo>
                      <a:pt x="15642" y="3116"/>
                      <a:pt x="15658" y="3321"/>
                      <a:pt x="15702" y="3526"/>
                    </a:cubicBezTo>
                    <a:cubicBezTo>
                      <a:pt x="15753" y="3769"/>
                      <a:pt x="15830" y="4052"/>
                      <a:pt x="15894" y="4277"/>
                    </a:cubicBezTo>
                    <a:cubicBezTo>
                      <a:pt x="15926" y="4389"/>
                      <a:pt x="15955" y="4487"/>
                      <a:pt x="15976" y="4558"/>
                    </a:cubicBezTo>
                    <a:cubicBezTo>
                      <a:pt x="15986" y="4594"/>
                      <a:pt x="15995" y="4623"/>
                      <a:pt x="16001" y="4644"/>
                    </a:cubicBezTo>
                    <a:cubicBezTo>
                      <a:pt x="16003" y="4654"/>
                      <a:pt x="16006" y="4662"/>
                      <a:pt x="16007" y="4668"/>
                    </a:cubicBezTo>
                    <a:cubicBezTo>
                      <a:pt x="16008" y="4672"/>
                      <a:pt x="16009" y="4675"/>
                      <a:pt x="16009" y="4678"/>
                    </a:cubicBezTo>
                    <a:cubicBezTo>
                      <a:pt x="16097" y="4659"/>
                      <a:pt x="16097" y="4659"/>
                      <a:pt x="16097" y="4659"/>
                    </a:cubicBezTo>
                    <a:cubicBezTo>
                      <a:pt x="16098" y="4659"/>
                      <a:pt x="16569" y="4570"/>
                      <a:pt x="16967" y="4570"/>
                    </a:cubicBezTo>
                    <a:cubicBezTo>
                      <a:pt x="17006" y="4570"/>
                      <a:pt x="17044" y="4571"/>
                      <a:pt x="17080" y="4573"/>
                    </a:cubicBezTo>
                    <a:cubicBezTo>
                      <a:pt x="17425" y="4590"/>
                      <a:pt x="17807" y="4639"/>
                      <a:pt x="18004" y="4666"/>
                    </a:cubicBezTo>
                    <a:cubicBezTo>
                      <a:pt x="18004" y="4702"/>
                      <a:pt x="18004" y="4702"/>
                      <a:pt x="18004" y="4702"/>
                    </a:cubicBezTo>
                    <a:cubicBezTo>
                      <a:pt x="17809" y="4675"/>
                      <a:pt x="17424" y="4626"/>
                      <a:pt x="17078" y="4609"/>
                    </a:cubicBezTo>
                    <a:cubicBezTo>
                      <a:pt x="17042" y="4607"/>
                      <a:pt x="17005" y="4606"/>
                      <a:pt x="16967" y="4606"/>
                    </a:cubicBezTo>
                    <a:cubicBezTo>
                      <a:pt x="16771" y="4606"/>
                      <a:pt x="16555" y="4628"/>
                      <a:pt x="16388" y="4650"/>
                    </a:cubicBezTo>
                    <a:cubicBezTo>
                      <a:pt x="16222" y="4673"/>
                      <a:pt x="16105" y="4695"/>
                      <a:pt x="16104" y="4695"/>
                    </a:cubicBezTo>
                    <a:cubicBezTo>
                      <a:pt x="16027" y="4711"/>
                      <a:pt x="16027" y="4711"/>
                      <a:pt x="16027" y="4711"/>
                    </a:cubicBezTo>
                    <a:cubicBezTo>
                      <a:pt x="16045" y="4765"/>
                      <a:pt x="16076" y="4881"/>
                      <a:pt x="16076" y="5035"/>
                    </a:cubicBezTo>
                    <a:cubicBezTo>
                      <a:pt x="16076" y="5113"/>
                      <a:pt x="16068" y="5202"/>
                      <a:pt x="16046" y="5296"/>
                    </a:cubicBezTo>
                    <a:cubicBezTo>
                      <a:pt x="15962" y="5650"/>
                      <a:pt x="15694" y="5868"/>
                      <a:pt x="15600" y="6100"/>
                    </a:cubicBezTo>
                    <a:cubicBezTo>
                      <a:pt x="15525" y="6284"/>
                      <a:pt x="15465" y="6402"/>
                      <a:pt x="15465" y="6641"/>
                    </a:cubicBezTo>
                    <a:cubicBezTo>
                      <a:pt x="15465" y="6715"/>
                      <a:pt x="15471" y="6800"/>
                      <a:pt x="15484" y="6902"/>
                    </a:cubicBezTo>
                    <a:cubicBezTo>
                      <a:pt x="15530" y="7267"/>
                      <a:pt x="15626" y="8033"/>
                      <a:pt x="15655" y="8267"/>
                    </a:cubicBezTo>
                    <a:cubicBezTo>
                      <a:pt x="15655" y="8267"/>
                      <a:pt x="15655" y="8267"/>
                      <a:pt x="15655" y="8267"/>
                    </a:cubicBezTo>
                    <a:cubicBezTo>
                      <a:pt x="15655" y="8267"/>
                      <a:pt x="15658" y="8279"/>
                      <a:pt x="15660" y="8287"/>
                    </a:cubicBezTo>
                    <a:cubicBezTo>
                      <a:pt x="15678" y="8279"/>
                      <a:pt x="15691" y="8273"/>
                      <a:pt x="15691" y="8273"/>
                    </a:cubicBezTo>
                    <a:cubicBezTo>
                      <a:pt x="15697" y="8271"/>
                      <a:pt x="15697" y="8271"/>
                      <a:pt x="15697" y="8271"/>
                    </a:cubicBezTo>
                    <a:cubicBezTo>
                      <a:pt x="17130" y="7977"/>
                      <a:pt x="17130" y="7977"/>
                      <a:pt x="17130" y="7977"/>
                    </a:cubicBezTo>
                    <a:cubicBezTo>
                      <a:pt x="17133" y="7977"/>
                      <a:pt x="17133" y="7977"/>
                      <a:pt x="17133" y="7977"/>
                    </a:cubicBezTo>
                    <a:cubicBezTo>
                      <a:pt x="17133" y="7977"/>
                      <a:pt x="17380" y="7948"/>
                      <a:pt x="17628" y="7918"/>
                    </a:cubicBezTo>
                    <a:cubicBezTo>
                      <a:pt x="17753" y="7904"/>
                      <a:pt x="17877" y="7889"/>
                      <a:pt x="17971" y="7878"/>
                    </a:cubicBezTo>
                    <a:cubicBezTo>
                      <a:pt x="17983" y="7877"/>
                      <a:pt x="17994" y="7876"/>
                      <a:pt x="18004" y="7874"/>
                    </a:cubicBezTo>
                    <a:cubicBezTo>
                      <a:pt x="18004" y="7990"/>
                      <a:pt x="18004" y="7990"/>
                      <a:pt x="18004" y="7990"/>
                    </a:cubicBezTo>
                    <a:cubicBezTo>
                      <a:pt x="17904" y="8002"/>
                      <a:pt x="17763" y="8018"/>
                      <a:pt x="17624" y="8034"/>
                    </a:cubicBezTo>
                    <a:cubicBezTo>
                      <a:pt x="17396" y="8061"/>
                      <a:pt x="17174" y="8088"/>
                      <a:pt x="17148" y="8091"/>
                    </a:cubicBezTo>
                    <a:cubicBezTo>
                      <a:pt x="15731" y="8381"/>
                      <a:pt x="15731" y="8381"/>
                      <a:pt x="15731" y="8381"/>
                    </a:cubicBezTo>
                    <a:cubicBezTo>
                      <a:pt x="15707" y="8391"/>
                      <a:pt x="15606" y="8434"/>
                      <a:pt x="15581" y="8445"/>
                    </a:cubicBezTo>
                    <a:cubicBezTo>
                      <a:pt x="15581" y="8445"/>
                      <a:pt x="15581" y="8445"/>
                      <a:pt x="15581" y="8445"/>
                    </a:cubicBezTo>
                    <a:cubicBezTo>
                      <a:pt x="15573" y="8449"/>
                      <a:pt x="15523" y="8478"/>
                      <a:pt x="15453" y="8517"/>
                    </a:cubicBezTo>
                    <a:cubicBezTo>
                      <a:pt x="15347" y="8576"/>
                      <a:pt x="15193" y="8662"/>
                      <a:pt x="15041" y="8742"/>
                    </a:cubicBezTo>
                    <a:cubicBezTo>
                      <a:pt x="14890" y="8821"/>
                      <a:pt x="14743" y="8894"/>
                      <a:pt x="14646" y="8929"/>
                    </a:cubicBezTo>
                    <a:cubicBezTo>
                      <a:pt x="14522" y="8974"/>
                      <a:pt x="14406" y="9014"/>
                      <a:pt x="14318" y="9042"/>
                    </a:cubicBezTo>
                    <a:cubicBezTo>
                      <a:pt x="14274" y="9056"/>
                      <a:pt x="14237" y="9067"/>
                      <a:pt x="14210" y="9075"/>
                    </a:cubicBezTo>
                    <a:cubicBezTo>
                      <a:pt x="14197" y="9079"/>
                      <a:pt x="14185" y="9082"/>
                      <a:pt x="14176" y="9085"/>
                    </a:cubicBezTo>
                    <a:cubicBezTo>
                      <a:pt x="14172" y="9086"/>
                      <a:pt x="14168" y="9087"/>
                      <a:pt x="14164" y="9088"/>
                    </a:cubicBezTo>
                    <a:cubicBezTo>
                      <a:pt x="14161" y="9088"/>
                      <a:pt x="14159" y="9089"/>
                      <a:pt x="14154" y="9089"/>
                    </a:cubicBezTo>
                    <a:cubicBezTo>
                      <a:pt x="14142" y="9091"/>
                      <a:pt x="14087" y="9104"/>
                      <a:pt x="14017" y="9121"/>
                    </a:cubicBezTo>
                    <a:cubicBezTo>
                      <a:pt x="13845" y="9161"/>
                      <a:pt x="13566" y="9229"/>
                      <a:pt x="13459" y="9255"/>
                    </a:cubicBezTo>
                    <a:cubicBezTo>
                      <a:pt x="13465" y="9292"/>
                      <a:pt x="13468" y="9330"/>
                      <a:pt x="13468" y="9366"/>
                    </a:cubicBezTo>
                    <a:cubicBezTo>
                      <a:pt x="13468" y="9426"/>
                      <a:pt x="13462" y="9482"/>
                      <a:pt x="13455" y="9523"/>
                    </a:cubicBezTo>
                    <a:cubicBezTo>
                      <a:pt x="13452" y="9543"/>
                      <a:pt x="13449" y="9560"/>
                      <a:pt x="13445" y="9573"/>
                    </a:cubicBezTo>
                    <a:cubicBezTo>
                      <a:pt x="13476" y="9619"/>
                      <a:pt x="13533" y="9676"/>
                      <a:pt x="13596" y="9725"/>
                    </a:cubicBezTo>
                    <a:cubicBezTo>
                      <a:pt x="13668" y="9782"/>
                      <a:pt x="13750" y="9829"/>
                      <a:pt x="13797" y="9845"/>
                    </a:cubicBezTo>
                    <a:cubicBezTo>
                      <a:pt x="13849" y="9863"/>
                      <a:pt x="13927" y="9877"/>
                      <a:pt x="14012" y="9898"/>
                    </a:cubicBezTo>
                    <a:cubicBezTo>
                      <a:pt x="14097" y="9919"/>
                      <a:pt x="14189" y="9948"/>
                      <a:pt x="14273" y="10000"/>
                    </a:cubicBezTo>
                    <a:cubicBezTo>
                      <a:pt x="14422" y="10096"/>
                      <a:pt x="14503" y="10241"/>
                      <a:pt x="14521" y="10275"/>
                    </a:cubicBezTo>
                    <a:cubicBezTo>
                      <a:pt x="14540" y="10298"/>
                      <a:pt x="14631" y="10408"/>
                      <a:pt x="14730" y="10525"/>
                    </a:cubicBezTo>
                    <a:cubicBezTo>
                      <a:pt x="14785" y="10590"/>
                      <a:pt x="14842" y="10658"/>
                      <a:pt x="14889" y="10712"/>
                    </a:cubicBezTo>
                    <a:cubicBezTo>
                      <a:pt x="14936" y="10767"/>
                      <a:pt x="14976" y="10810"/>
                      <a:pt x="14988" y="10820"/>
                    </a:cubicBezTo>
                    <a:cubicBezTo>
                      <a:pt x="14988" y="10821"/>
                      <a:pt x="14988" y="10821"/>
                      <a:pt x="14988" y="10821"/>
                    </a:cubicBezTo>
                    <a:cubicBezTo>
                      <a:pt x="14832" y="10821"/>
                      <a:pt x="14832" y="10821"/>
                      <a:pt x="14832" y="10821"/>
                    </a:cubicBezTo>
                    <a:cubicBezTo>
                      <a:pt x="14823" y="10811"/>
                      <a:pt x="14813" y="10800"/>
                      <a:pt x="14803" y="10788"/>
                    </a:cubicBezTo>
                    <a:cubicBezTo>
                      <a:pt x="14659" y="10622"/>
                      <a:pt x="14429" y="10344"/>
                      <a:pt x="14429" y="10343"/>
                    </a:cubicBezTo>
                    <a:cubicBezTo>
                      <a:pt x="14424" y="10338"/>
                      <a:pt x="14424" y="10338"/>
                      <a:pt x="14424" y="10338"/>
                    </a:cubicBezTo>
                    <a:cubicBezTo>
                      <a:pt x="14421" y="10332"/>
                      <a:pt x="14421" y="10332"/>
                      <a:pt x="14421" y="10332"/>
                    </a:cubicBezTo>
                    <a:cubicBezTo>
                      <a:pt x="14421" y="10332"/>
                      <a:pt x="14421" y="10331"/>
                      <a:pt x="14419" y="10327"/>
                    </a:cubicBezTo>
                    <a:cubicBezTo>
                      <a:pt x="14404" y="10299"/>
                      <a:pt x="14329" y="10171"/>
                      <a:pt x="14212" y="10097"/>
                    </a:cubicBezTo>
                    <a:cubicBezTo>
                      <a:pt x="14145" y="10055"/>
                      <a:pt x="14064" y="10029"/>
                      <a:pt x="13984" y="10009"/>
                    </a:cubicBezTo>
                    <a:cubicBezTo>
                      <a:pt x="13934" y="9996"/>
                      <a:pt x="13885" y="9986"/>
                      <a:pt x="13839" y="9975"/>
                    </a:cubicBezTo>
                    <a:cubicBezTo>
                      <a:pt x="12807" y="10821"/>
                      <a:pt x="12807" y="10821"/>
                      <a:pt x="12807" y="10821"/>
                    </a:cubicBezTo>
                    <a:cubicBezTo>
                      <a:pt x="12750" y="10821"/>
                      <a:pt x="12750" y="10821"/>
                      <a:pt x="12750" y="10821"/>
                    </a:cubicBezTo>
                    <a:cubicBezTo>
                      <a:pt x="13777" y="9980"/>
                      <a:pt x="13777" y="9980"/>
                      <a:pt x="13777" y="9980"/>
                    </a:cubicBezTo>
                    <a:cubicBezTo>
                      <a:pt x="13778" y="9975"/>
                      <a:pt x="13781" y="9967"/>
                      <a:pt x="13782" y="9960"/>
                    </a:cubicBezTo>
                    <a:cubicBezTo>
                      <a:pt x="13775" y="9958"/>
                      <a:pt x="13767" y="9956"/>
                      <a:pt x="13760" y="9953"/>
                    </a:cubicBezTo>
                    <a:cubicBezTo>
                      <a:pt x="13691" y="9929"/>
                      <a:pt x="13606" y="9878"/>
                      <a:pt x="13526" y="9815"/>
                    </a:cubicBezTo>
                    <a:cubicBezTo>
                      <a:pt x="13445" y="9752"/>
                      <a:pt x="13372" y="9680"/>
                      <a:pt x="13332" y="9606"/>
                    </a:cubicBezTo>
                    <a:cubicBezTo>
                      <a:pt x="13330" y="9581"/>
                      <a:pt x="13330" y="9581"/>
                      <a:pt x="13330" y="9581"/>
                    </a:cubicBezTo>
                    <a:cubicBezTo>
                      <a:pt x="13331" y="9555"/>
                      <a:pt x="13331" y="9555"/>
                      <a:pt x="13331" y="9555"/>
                    </a:cubicBezTo>
                    <a:cubicBezTo>
                      <a:pt x="13331" y="9555"/>
                      <a:pt x="13331" y="9555"/>
                      <a:pt x="13332" y="9554"/>
                    </a:cubicBezTo>
                    <a:cubicBezTo>
                      <a:pt x="13333" y="9549"/>
                      <a:pt x="13339" y="9523"/>
                      <a:pt x="13344" y="9492"/>
                    </a:cubicBezTo>
                    <a:cubicBezTo>
                      <a:pt x="13349" y="9457"/>
                      <a:pt x="13353" y="9412"/>
                      <a:pt x="13353" y="9366"/>
                    </a:cubicBezTo>
                    <a:cubicBezTo>
                      <a:pt x="13353" y="9315"/>
                      <a:pt x="13347" y="9262"/>
                      <a:pt x="13334" y="9222"/>
                    </a:cubicBezTo>
                    <a:cubicBezTo>
                      <a:pt x="13313" y="9160"/>
                      <a:pt x="13273" y="9106"/>
                      <a:pt x="13201" y="9056"/>
                    </a:cubicBezTo>
                    <a:cubicBezTo>
                      <a:pt x="13129" y="9006"/>
                      <a:pt x="13024" y="8962"/>
                      <a:pt x="12881" y="8928"/>
                    </a:cubicBezTo>
                    <a:cubicBezTo>
                      <a:pt x="12592" y="8859"/>
                      <a:pt x="12333" y="8850"/>
                      <a:pt x="12124" y="8841"/>
                    </a:cubicBezTo>
                    <a:cubicBezTo>
                      <a:pt x="12019" y="8836"/>
                      <a:pt x="11790" y="8822"/>
                      <a:pt x="11587" y="8808"/>
                    </a:cubicBezTo>
                    <a:cubicBezTo>
                      <a:pt x="11485" y="8802"/>
                      <a:pt x="11390" y="8795"/>
                      <a:pt x="11321" y="8790"/>
                    </a:cubicBezTo>
                    <a:cubicBezTo>
                      <a:pt x="11286" y="8788"/>
                      <a:pt x="11257" y="8786"/>
                      <a:pt x="11237" y="8785"/>
                    </a:cubicBezTo>
                    <a:cubicBezTo>
                      <a:pt x="11237" y="8784"/>
                      <a:pt x="11236" y="8784"/>
                      <a:pt x="11236" y="8784"/>
                    </a:cubicBezTo>
                    <a:cubicBezTo>
                      <a:pt x="11226" y="8806"/>
                      <a:pt x="11226" y="8806"/>
                      <a:pt x="11226" y="8806"/>
                    </a:cubicBezTo>
                    <a:cubicBezTo>
                      <a:pt x="11220" y="8894"/>
                      <a:pt x="11194" y="9078"/>
                      <a:pt x="11080" y="9199"/>
                    </a:cubicBezTo>
                    <a:cubicBezTo>
                      <a:pt x="10965" y="9321"/>
                      <a:pt x="10775" y="9493"/>
                      <a:pt x="10696" y="9563"/>
                    </a:cubicBezTo>
                    <a:cubicBezTo>
                      <a:pt x="10760" y="9606"/>
                      <a:pt x="10919" y="9712"/>
                      <a:pt x="11073" y="9812"/>
                    </a:cubicBezTo>
                    <a:cubicBezTo>
                      <a:pt x="11274" y="9944"/>
                      <a:pt x="11397" y="10050"/>
                      <a:pt x="11397" y="10050"/>
                    </a:cubicBezTo>
                    <a:cubicBezTo>
                      <a:pt x="11399" y="10052"/>
                      <a:pt x="11399" y="10052"/>
                      <a:pt x="11399" y="10052"/>
                    </a:cubicBezTo>
                    <a:cubicBezTo>
                      <a:pt x="11681" y="10407"/>
                      <a:pt x="11681" y="10407"/>
                      <a:pt x="11681" y="10407"/>
                    </a:cubicBezTo>
                    <a:cubicBezTo>
                      <a:pt x="11692" y="10401"/>
                      <a:pt x="11721" y="10381"/>
                      <a:pt x="11782" y="10328"/>
                    </a:cubicBezTo>
                    <a:cubicBezTo>
                      <a:pt x="11825" y="10290"/>
                      <a:pt x="11871" y="10278"/>
                      <a:pt x="11908" y="10278"/>
                    </a:cubicBezTo>
                    <a:cubicBezTo>
                      <a:pt x="11961" y="10278"/>
                      <a:pt x="11997" y="10301"/>
                      <a:pt x="11999" y="10302"/>
                    </a:cubicBezTo>
                    <a:cubicBezTo>
                      <a:pt x="12000" y="10303"/>
                      <a:pt x="12000" y="10303"/>
                      <a:pt x="12000" y="10303"/>
                    </a:cubicBezTo>
                    <a:cubicBezTo>
                      <a:pt x="12615" y="10821"/>
                      <a:pt x="12615" y="10821"/>
                      <a:pt x="12615" y="10821"/>
                    </a:cubicBezTo>
                    <a:cubicBezTo>
                      <a:pt x="12559" y="10821"/>
                      <a:pt x="12559" y="10821"/>
                      <a:pt x="12559" y="10821"/>
                    </a:cubicBezTo>
                    <a:cubicBezTo>
                      <a:pt x="11979" y="10332"/>
                      <a:pt x="11979" y="10332"/>
                      <a:pt x="11979" y="10332"/>
                    </a:cubicBezTo>
                    <a:cubicBezTo>
                      <a:pt x="11978" y="10331"/>
                      <a:pt x="11977" y="10331"/>
                      <a:pt x="11975" y="10330"/>
                    </a:cubicBezTo>
                    <a:cubicBezTo>
                      <a:pt x="11965" y="10325"/>
                      <a:pt x="11940" y="10314"/>
                      <a:pt x="11908" y="10314"/>
                    </a:cubicBezTo>
                    <a:cubicBezTo>
                      <a:pt x="11878" y="10314"/>
                      <a:pt x="11843" y="10323"/>
                      <a:pt x="11805" y="10355"/>
                    </a:cubicBezTo>
                    <a:cubicBezTo>
                      <a:pt x="11756" y="10398"/>
                      <a:pt x="11727" y="10420"/>
                      <a:pt x="11710" y="10432"/>
                    </a:cubicBezTo>
                    <a:cubicBezTo>
                      <a:pt x="11707" y="10433"/>
                      <a:pt x="11706" y="10434"/>
                      <a:pt x="11704" y="10435"/>
                    </a:cubicBezTo>
                    <a:cubicBezTo>
                      <a:pt x="12010" y="10821"/>
                      <a:pt x="12010" y="10821"/>
                      <a:pt x="12010" y="10821"/>
                    </a:cubicBezTo>
                    <a:cubicBezTo>
                      <a:pt x="11964" y="10821"/>
                      <a:pt x="11964" y="10821"/>
                      <a:pt x="11964" y="10821"/>
                    </a:cubicBezTo>
                    <a:cubicBezTo>
                      <a:pt x="11372" y="10077"/>
                      <a:pt x="11372" y="10077"/>
                      <a:pt x="11372" y="10077"/>
                    </a:cubicBezTo>
                    <a:cubicBezTo>
                      <a:pt x="11366" y="10071"/>
                      <a:pt x="11337" y="10047"/>
                      <a:pt x="11288" y="10009"/>
                    </a:cubicBezTo>
                    <a:cubicBezTo>
                      <a:pt x="11233" y="9966"/>
                      <a:pt x="11153" y="9908"/>
                      <a:pt x="11053" y="9843"/>
                    </a:cubicBezTo>
                    <a:cubicBezTo>
                      <a:pt x="10892" y="9737"/>
                      <a:pt x="10727" y="9627"/>
                      <a:pt x="10668" y="9588"/>
                    </a:cubicBezTo>
                    <a:cubicBezTo>
                      <a:pt x="10665" y="9590"/>
                      <a:pt x="10663" y="9592"/>
                      <a:pt x="10662" y="9594"/>
                    </a:cubicBezTo>
                    <a:cubicBezTo>
                      <a:pt x="10082" y="10821"/>
                      <a:pt x="10082" y="10821"/>
                      <a:pt x="10082" y="10821"/>
                    </a:cubicBezTo>
                    <a:cubicBezTo>
                      <a:pt x="10042" y="10821"/>
                      <a:pt x="10042" y="10821"/>
                      <a:pt x="10042" y="10821"/>
                    </a:cubicBezTo>
                    <a:cubicBezTo>
                      <a:pt x="10632" y="9572"/>
                      <a:pt x="10632" y="9572"/>
                      <a:pt x="10632" y="9572"/>
                    </a:cubicBezTo>
                    <a:cubicBezTo>
                      <a:pt x="10635" y="9569"/>
                      <a:pt x="10635" y="9569"/>
                      <a:pt x="10635" y="9569"/>
                    </a:cubicBezTo>
                    <a:cubicBezTo>
                      <a:pt x="10635" y="9569"/>
                      <a:pt x="10635" y="9569"/>
                      <a:pt x="10635" y="9569"/>
                    </a:cubicBezTo>
                    <a:cubicBezTo>
                      <a:pt x="10603" y="9553"/>
                      <a:pt x="10506" y="9509"/>
                      <a:pt x="10397" y="9458"/>
                    </a:cubicBezTo>
                    <a:cubicBezTo>
                      <a:pt x="10261" y="9395"/>
                      <a:pt x="10105" y="9324"/>
                      <a:pt x="10024" y="9289"/>
                    </a:cubicBezTo>
                    <a:cubicBezTo>
                      <a:pt x="9864" y="9221"/>
                      <a:pt x="9466" y="9005"/>
                      <a:pt x="9296" y="8914"/>
                    </a:cubicBezTo>
                    <a:cubicBezTo>
                      <a:pt x="8596" y="10350"/>
                      <a:pt x="8596" y="10350"/>
                      <a:pt x="8596" y="10350"/>
                    </a:cubicBezTo>
                    <a:cubicBezTo>
                      <a:pt x="8596" y="10357"/>
                      <a:pt x="8596" y="10357"/>
                      <a:pt x="8596" y="10357"/>
                    </a:cubicBezTo>
                    <a:cubicBezTo>
                      <a:pt x="8595" y="10357"/>
                      <a:pt x="8594" y="10357"/>
                      <a:pt x="8593" y="10357"/>
                    </a:cubicBezTo>
                    <a:cubicBezTo>
                      <a:pt x="8367" y="10821"/>
                      <a:pt x="8367" y="10821"/>
                      <a:pt x="8367" y="10821"/>
                    </a:cubicBezTo>
                    <a:cubicBezTo>
                      <a:pt x="8327" y="10821"/>
                      <a:pt x="8327" y="10821"/>
                      <a:pt x="8327" y="10821"/>
                    </a:cubicBezTo>
                    <a:cubicBezTo>
                      <a:pt x="8561" y="10341"/>
                      <a:pt x="8561" y="10341"/>
                      <a:pt x="8561" y="10341"/>
                    </a:cubicBezTo>
                    <a:cubicBezTo>
                      <a:pt x="8539" y="10324"/>
                      <a:pt x="8539" y="10324"/>
                      <a:pt x="8539" y="10324"/>
                    </a:cubicBezTo>
                    <a:cubicBezTo>
                      <a:pt x="8518" y="10310"/>
                      <a:pt x="8492" y="10293"/>
                      <a:pt x="8461" y="10273"/>
                    </a:cubicBezTo>
                    <a:cubicBezTo>
                      <a:pt x="8273" y="10150"/>
                      <a:pt x="7940" y="9926"/>
                      <a:pt x="7871" y="9880"/>
                    </a:cubicBezTo>
                    <a:cubicBezTo>
                      <a:pt x="7867" y="9891"/>
                      <a:pt x="7861" y="9909"/>
                      <a:pt x="7854" y="9931"/>
                    </a:cubicBezTo>
                    <a:cubicBezTo>
                      <a:pt x="7813" y="10063"/>
                      <a:pt x="7725" y="10367"/>
                      <a:pt x="7649" y="10637"/>
                    </a:cubicBezTo>
                    <a:cubicBezTo>
                      <a:pt x="7631" y="10701"/>
                      <a:pt x="7613" y="10763"/>
                      <a:pt x="7597" y="10821"/>
                    </a:cubicBezTo>
                    <a:cubicBezTo>
                      <a:pt x="7570" y="10821"/>
                      <a:pt x="7570" y="10821"/>
                      <a:pt x="7570" y="10821"/>
                    </a:cubicBezTo>
                    <a:cubicBezTo>
                      <a:pt x="7597" y="10723"/>
                      <a:pt x="7629" y="10610"/>
                      <a:pt x="7661" y="10498"/>
                    </a:cubicBezTo>
                    <a:cubicBezTo>
                      <a:pt x="7707" y="10337"/>
                      <a:pt x="7753" y="10177"/>
                      <a:pt x="7789" y="10057"/>
                    </a:cubicBezTo>
                    <a:cubicBezTo>
                      <a:pt x="7806" y="9997"/>
                      <a:pt x="7822" y="9947"/>
                      <a:pt x="7833" y="9911"/>
                    </a:cubicBezTo>
                    <a:cubicBezTo>
                      <a:pt x="7838" y="9894"/>
                      <a:pt x="7843" y="9880"/>
                      <a:pt x="7847" y="9870"/>
                    </a:cubicBezTo>
                    <a:cubicBezTo>
                      <a:pt x="7848" y="9865"/>
                      <a:pt x="7850" y="9861"/>
                      <a:pt x="7851" y="9858"/>
                    </a:cubicBezTo>
                    <a:cubicBezTo>
                      <a:pt x="7852" y="9857"/>
                      <a:pt x="7853" y="9856"/>
                      <a:pt x="7853" y="9854"/>
                    </a:cubicBezTo>
                    <a:cubicBezTo>
                      <a:pt x="7855" y="9853"/>
                      <a:pt x="7854" y="9851"/>
                      <a:pt x="7858" y="9849"/>
                    </a:cubicBezTo>
                    <a:cubicBezTo>
                      <a:pt x="7870" y="9836"/>
                      <a:pt x="7930" y="9747"/>
                      <a:pt x="8011" y="9623"/>
                    </a:cubicBezTo>
                    <a:cubicBezTo>
                      <a:pt x="8134" y="9435"/>
                      <a:pt x="8308" y="9166"/>
                      <a:pt x="8451" y="8944"/>
                    </a:cubicBezTo>
                    <a:cubicBezTo>
                      <a:pt x="8569" y="8761"/>
                      <a:pt x="8666" y="8610"/>
                      <a:pt x="8696" y="8562"/>
                    </a:cubicBezTo>
                    <a:cubicBezTo>
                      <a:pt x="8695" y="8554"/>
                      <a:pt x="8695" y="8554"/>
                      <a:pt x="8695" y="8554"/>
                    </a:cubicBezTo>
                    <a:cubicBezTo>
                      <a:pt x="8688" y="8549"/>
                      <a:pt x="8681" y="8545"/>
                      <a:pt x="8675" y="8541"/>
                    </a:cubicBezTo>
                    <a:cubicBezTo>
                      <a:pt x="8581" y="8485"/>
                      <a:pt x="8164" y="8174"/>
                      <a:pt x="8083" y="8114"/>
                    </a:cubicBezTo>
                    <a:cubicBezTo>
                      <a:pt x="8067" y="8115"/>
                      <a:pt x="8058" y="8116"/>
                      <a:pt x="8058" y="8116"/>
                    </a:cubicBezTo>
                    <a:cubicBezTo>
                      <a:pt x="8057" y="8116"/>
                      <a:pt x="8057" y="8116"/>
                      <a:pt x="8057" y="8116"/>
                    </a:cubicBezTo>
                    <a:cubicBezTo>
                      <a:pt x="8047" y="8130"/>
                      <a:pt x="8047" y="8130"/>
                      <a:pt x="8047" y="8130"/>
                    </a:cubicBezTo>
                    <a:cubicBezTo>
                      <a:pt x="7241" y="9717"/>
                      <a:pt x="7241" y="9717"/>
                      <a:pt x="7241" y="9717"/>
                    </a:cubicBezTo>
                    <a:cubicBezTo>
                      <a:pt x="6842" y="9993"/>
                      <a:pt x="6842" y="9993"/>
                      <a:pt x="6842" y="9993"/>
                    </a:cubicBezTo>
                    <a:cubicBezTo>
                      <a:pt x="6840" y="9990"/>
                      <a:pt x="6840" y="9990"/>
                      <a:pt x="6840" y="9990"/>
                    </a:cubicBezTo>
                    <a:cubicBezTo>
                      <a:pt x="6837" y="9998"/>
                      <a:pt x="6837" y="9998"/>
                      <a:pt x="6837" y="9998"/>
                    </a:cubicBezTo>
                    <a:cubicBezTo>
                      <a:pt x="6750" y="10821"/>
                      <a:pt x="6750" y="10821"/>
                      <a:pt x="6750" y="10821"/>
                    </a:cubicBezTo>
                    <a:cubicBezTo>
                      <a:pt x="6713" y="10821"/>
                      <a:pt x="6713" y="10821"/>
                      <a:pt x="6713" y="10821"/>
                    </a:cubicBezTo>
                    <a:cubicBezTo>
                      <a:pt x="6802" y="9991"/>
                      <a:pt x="6802" y="9991"/>
                      <a:pt x="6802" y="9991"/>
                    </a:cubicBezTo>
                    <a:cubicBezTo>
                      <a:pt x="7479" y="7873"/>
                      <a:pt x="7479" y="7873"/>
                      <a:pt x="7479" y="7873"/>
                    </a:cubicBezTo>
                    <a:cubicBezTo>
                      <a:pt x="7480" y="7870"/>
                      <a:pt x="7481" y="7860"/>
                      <a:pt x="7482" y="7853"/>
                    </a:cubicBezTo>
                    <a:cubicBezTo>
                      <a:pt x="7385" y="7832"/>
                      <a:pt x="7294" y="7823"/>
                      <a:pt x="7211" y="7823"/>
                    </a:cubicBezTo>
                    <a:cubicBezTo>
                      <a:pt x="7146" y="7823"/>
                      <a:pt x="7086" y="7828"/>
                      <a:pt x="7030" y="7836"/>
                    </a:cubicBezTo>
                    <a:cubicBezTo>
                      <a:pt x="7024" y="7846"/>
                      <a:pt x="7024" y="7846"/>
                      <a:pt x="7024" y="7846"/>
                    </a:cubicBezTo>
                    <a:cubicBezTo>
                      <a:pt x="6944" y="8087"/>
                      <a:pt x="6299" y="9986"/>
                      <a:pt x="6282" y="10036"/>
                    </a:cubicBezTo>
                    <a:cubicBezTo>
                      <a:pt x="6129" y="10821"/>
                      <a:pt x="6129" y="10821"/>
                      <a:pt x="6129" y="10821"/>
                    </a:cubicBezTo>
                    <a:cubicBezTo>
                      <a:pt x="6092" y="10821"/>
                      <a:pt x="6092" y="10821"/>
                      <a:pt x="6092" y="10821"/>
                    </a:cubicBezTo>
                    <a:cubicBezTo>
                      <a:pt x="6247" y="10027"/>
                      <a:pt x="6247" y="10027"/>
                      <a:pt x="6247" y="10027"/>
                    </a:cubicBezTo>
                    <a:cubicBezTo>
                      <a:pt x="6247" y="10026"/>
                      <a:pt x="6247" y="10026"/>
                      <a:pt x="6247" y="10026"/>
                    </a:cubicBezTo>
                    <a:cubicBezTo>
                      <a:pt x="6247" y="10026"/>
                      <a:pt x="6247" y="10025"/>
                      <a:pt x="6247" y="10025"/>
                    </a:cubicBezTo>
                    <a:cubicBezTo>
                      <a:pt x="6228" y="10026"/>
                      <a:pt x="6137" y="10027"/>
                      <a:pt x="6000" y="10035"/>
                    </a:cubicBezTo>
                    <a:cubicBezTo>
                      <a:pt x="5941" y="10821"/>
                      <a:pt x="5941" y="10821"/>
                      <a:pt x="5941" y="10821"/>
                    </a:cubicBezTo>
                    <a:cubicBezTo>
                      <a:pt x="5904" y="10821"/>
                      <a:pt x="5904" y="10821"/>
                      <a:pt x="5904" y="10821"/>
                    </a:cubicBezTo>
                    <a:cubicBezTo>
                      <a:pt x="5964" y="10037"/>
                      <a:pt x="5964" y="10037"/>
                      <a:pt x="5964" y="10037"/>
                    </a:cubicBezTo>
                    <a:cubicBezTo>
                      <a:pt x="5911" y="10040"/>
                      <a:pt x="5854" y="10044"/>
                      <a:pt x="5792" y="10049"/>
                    </a:cubicBezTo>
                    <a:cubicBezTo>
                      <a:pt x="5558" y="10067"/>
                      <a:pt x="5263" y="10100"/>
                      <a:pt x="4977" y="10157"/>
                    </a:cubicBezTo>
                    <a:cubicBezTo>
                      <a:pt x="4981" y="10190"/>
                      <a:pt x="5015" y="10487"/>
                      <a:pt x="5052" y="10797"/>
                    </a:cubicBezTo>
                    <a:cubicBezTo>
                      <a:pt x="5052" y="10805"/>
                      <a:pt x="5053" y="10813"/>
                      <a:pt x="5054" y="10821"/>
                    </a:cubicBezTo>
                    <a:cubicBezTo>
                      <a:pt x="5018" y="10821"/>
                      <a:pt x="5018" y="10821"/>
                      <a:pt x="5018" y="10821"/>
                    </a:cubicBezTo>
                    <a:cubicBezTo>
                      <a:pt x="4981" y="10512"/>
                      <a:pt x="4947" y="10210"/>
                      <a:pt x="4941" y="10165"/>
                    </a:cubicBezTo>
                    <a:cubicBezTo>
                      <a:pt x="4907" y="10172"/>
                      <a:pt x="4873" y="10179"/>
                      <a:pt x="4840" y="10187"/>
                    </a:cubicBezTo>
                    <a:cubicBezTo>
                      <a:pt x="4513" y="10263"/>
                      <a:pt x="4099" y="10384"/>
                      <a:pt x="3767" y="10487"/>
                    </a:cubicBezTo>
                    <a:cubicBezTo>
                      <a:pt x="3601" y="10538"/>
                      <a:pt x="3456" y="10585"/>
                      <a:pt x="3352" y="10619"/>
                    </a:cubicBezTo>
                    <a:cubicBezTo>
                      <a:pt x="3300" y="10636"/>
                      <a:pt x="3258" y="10650"/>
                      <a:pt x="3229" y="10660"/>
                    </a:cubicBezTo>
                    <a:cubicBezTo>
                      <a:pt x="3219" y="10664"/>
                      <a:pt x="3211" y="10667"/>
                      <a:pt x="3204" y="10669"/>
                    </a:cubicBezTo>
                    <a:cubicBezTo>
                      <a:pt x="3319" y="10821"/>
                      <a:pt x="3319" y="10821"/>
                      <a:pt x="3319" y="10821"/>
                    </a:cubicBezTo>
                    <a:cubicBezTo>
                      <a:pt x="3270" y="10821"/>
                      <a:pt x="3270" y="10821"/>
                      <a:pt x="3270" y="10821"/>
                    </a:cubicBezTo>
                    <a:cubicBezTo>
                      <a:pt x="3166" y="10686"/>
                      <a:pt x="3166" y="10686"/>
                      <a:pt x="3166" y="10686"/>
                    </a:cubicBezTo>
                    <a:cubicBezTo>
                      <a:pt x="3120" y="10704"/>
                      <a:pt x="3012" y="10748"/>
                      <a:pt x="2920" y="10821"/>
                    </a:cubicBezTo>
                    <a:cubicBezTo>
                      <a:pt x="2751" y="10821"/>
                      <a:pt x="2751" y="10821"/>
                      <a:pt x="2751" y="10821"/>
                    </a:cubicBezTo>
                    <a:cubicBezTo>
                      <a:pt x="2749" y="10821"/>
                      <a:pt x="2748" y="10821"/>
                      <a:pt x="2747" y="10820"/>
                    </a:cubicBezTo>
                    <a:cubicBezTo>
                      <a:pt x="2674" y="10807"/>
                      <a:pt x="2571" y="10793"/>
                      <a:pt x="2453" y="10786"/>
                    </a:cubicBezTo>
                    <a:cubicBezTo>
                      <a:pt x="2356" y="10781"/>
                      <a:pt x="2274" y="10778"/>
                      <a:pt x="2204" y="10778"/>
                    </a:cubicBezTo>
                    <a:cubicBezTo>
                      <a:pt x="2102" y="10778"/>
                      <a:pt x="2026" y="10784"/>
                      <a:pt x="1967" y="10797"/>
                    </a:cubicBezTo>
                    <a:cubicBezTo>
                      <a:pt x="1945" y="10802"/>
                      <a:pt x="1917" y="10811"/>
                      <a:pt x="1884" y="10821"/>
                    </a:cubicBezTo>
                    <a:cubicBezTo>
                      <a:pt x="1771" y="10821"/>
                      <a:pt x="1771" y="10821"/>
                      <a:pt x="1771" y="10821"/>
                    </a:cubicBezTo>
                    <a:cubicBezTo>
                      <a:pt x="1842" y="10794"/>
                      <a:pt x="1913" y="10771"/>
                      <a:pt x="1959" y="10760"/>
                    </a:cubicBezTo>
                    <a:cubicBezTo>
                      <a:pt x="2022" y="10746"/>
                      <a:pt x="2101" y="10740"/>
                      <a:pt x="2204" y="10740"/>
                    </a:cubicBezTo>
                    <a:cubicBezTo>
                      <a:pt x="2275" y="10740"/>
                      <a:pt x="2358" y="10743"/>
                      <a:pt x="2455" y="10749"/>
                    </a:cubicBezTo>
                    <a:cubicBezTo>
                      <a:pt x="2670" y="10761"/>
                      <a:pt x="2842" y="10801"/>
                      <a:pt x="2876" y="10809"/>
                    </a:cubicBezTo>
                    <a:cubicBezTo>
                      <a:pt x="2885" y="10801"/>
                      <a:pt x="2891" y="10796"/>
                      <a:pt x="2891" y="10796"/>
                    </a:cubicBezTo>
                    <a:cubicBezTo>
                      <a:pt x="2892" y="10798"/>
                      <a:pt x="2892" y="10798"/>
                      <a:pt x="2892" y="10798"/>
                    </a:cubicBezTo>
                    <a:cubicBezTo>
                      <a:pt x="2947" y="10751"/>
                      <a:pt x="3003" y="10715"/>
                      <a:pt x="3059" y="10690"/>
                    </a:cubicBezTo>
                    <a:cubicBezTo>
                      <a:pt x="3091" y="10676"/>
                      <a:pt x="3120" y="10665"/>
                      <a:pt x="3141" y="10657"/>
                    </a:cubicBezTo>
                    <a:cubicBezTo>
                      <a:pt x="3151" y="10654"/>
                      <a:pt x="3159" y="10651"/>
                      <a:pt x="3164" y="10648"/>
                    </a:cubicBezTo>
                    <a:cubicBezTo>
                      <a:pt x="3165" y="10648"/>
                      <a:pt x="3165" y="10648"/>
                      <a:pt x="3166" y="10648"/>
                    </a:cubicBezTo>
                    <a:cubicBezTo>
                      <a:pt x="3167" y="10647"/>
                      <a:pt x="3168" y="10646"/>
                      <a:pt x="3168" y="10646"/>
                    </a:cubicBezTo>
                    <a:cubicBezTo>
                      <a:pt x="3173" y="10642"/>
                      <a:pt x="3174" y="10643"/>
                      <a:pt x="3177" y="10641"/>
                    </a:cubicBezTo>
                    <a:cubicBezTo>
                      <a:pt x="3243" y="10614"/>
                      <a:pt x="3975" y="10373"/>
                      <a:pt x="4580" y="10214"/>
                    </a:cubicBezTo>
                    <a:cubicBezTo>
                      <a:pt x="4149" y="9274"/>
                      <a:pt x="4149" y="9274"/>
                      <a:pt x="4149" y="9274"/>
                    </a:cubicBezTo>
                    <a:cubicBezTo>
                      <a:pt x="4035" y="8999"/>
                      <a:pt x="4035" y="8999"/>
                      <a:pt x="4035" y="8999"/>
                    </a:cubicBezTo>
                    <a:cubicBezTo>
                      <a:pt x="4030" y="8999"/>
                      <a:pt x="4025" y="8998"/>
                      <a:pt x="4020" y="8998"/>
                    </a:cubicBezTo>
                    <a:cubicBezTo>
                      <a:pt x="3974" y="9010"/>
                      <a:pt x="3856" y="9041"/>
                      <a:pt x="3742" y="9077"/>
                    </a:cubicBezTo>
                    <a:cubicBezTo>
                      <a:pt x="3601" y="9121"/>
                      <a:pt x="3530" y="9172"/>
                      <a:pt x="3490" y="9224"/>
                    </a:cubicBezTo>
                    <a:cubicBezTo>
                      <a:pt x="3450" y="9276"/>
                      <a:pt x="3441" y="9331"/>
                      <a:pt x="3426" y="9385"/>
                    </a:cubicBezTo>
                    <a:cubicBezTo>
                      <a:pt x="3398" y="9489"/>
                      <a:pt x="3389" y="9712"/>
                      <a:pt x="3299" y="9839"/>
                    </a:cubicBezTo>
                    <a:cubicBezTo>
                      <a:pt x="3255" y="9899"/>
                      <a:pt x="3231" y="9923"/>
                      <a:pt x="3183" y="9949"/>
                    </a:cubicBezTo>
                    <a:cubicBezTo>
                      <a:pt x="3134" y="9975"/>
                      <a:pt x="3062" y="10006"/>
                      <a:pt x="2912" y="10089"/>
                    </a:cubicBezTo>
                    <a:cubicBezTo>
                      <a:pt x="2748" y="10179"/>
                      <a:pt x="2576" y="10199"/>
                      <a:pt x="2458" y="10199"/>
                    </a:cubicBezTo>
                    <a:cubicBezTo>
                      <a:pt x="2398" y="10199"/>
                      <a:pt x="2355" y="10193"/>
                      <a:pt x="2332" y="10189"/>
                    </a:cubicBezTo>
                    <a:cubicBezTo>
                      <a:pt x="2332" y="10188"/>
                      <a:pt x="2332" y="10188"/>
                      <a:pt x="2332" y="10188"/>
                    </a:cubicBezTo>
                    <a:cubicBezTo>
                      <a:pt x="2332" y="10188"/>
                      <a:pt x="2329" y="10188"/>
                      <a:pt x="2325" y="10187"/>
                    </a:cubicBezTo>
                    <a:cubicBezTo>
                      <a:pt x="2216" y="10731"/>
                      <a:pt x="2216" y="10731"/>
                      <a:pt x="2216" y="10731"/>
                    </a:cubicBezTo>
                    <a:cubicBezTo>
                      <a:pt x="2192" y="10726"/>
                      <a:pt x="2192" y="10726"/>
                      <a:pt x="2192" y="10726"/>
                    </a:cubicBezTo>
                    <a:cubicBezTo>
                      <a:pt x="2301" y="10183"/>
                      <a:pt x="2301" y="10183"/>
                      <a:pt x="2301" y="10183"/>
                    </a:cubicBezTo>
                    <a:cubicBezTo>
                      <a:pt x="2261" y="10174"/>
                      <a:pt x="2189" y="10158"/>
                      <a:pt x="2139" y="10137"/>
                    </a:cubicBezTo>
                    <a:cubicBezTo>
                      <a:pt x="2070" y="10109"/>
                      <a:pt x="2011" y="10048"/>
                      <a:pt x="1992" y="10028"/>
                    </a:cubicBezTo>
                    <a:cubicBezTo>
                      <a:pt x="1627" y="10183"/>
                      <a:pt x="1627" y="10183"/>
                      <a:pt x="1627" y="10183"/>
                    </a:cubicBezTo>
                    <a:cubicBezTo>
                      <a:pt x="1625" y="10221"/>
                      <a:pt x="1609" y="10382"/>
                      <a:pt x="1609" y="10383"/>
                    </a:cubicBezTo>
                    <a:cubicBezTo>
                      <a:pt x="1585" y="10381"/>
                      <a:pt x="1585" y="10381"/>
                      <a:pt x="1585" y="10381"/>
                    </a:cubicBezTo>
                    <a:cubicBezTo>
                      <a:pt x="1585" y="10381"/>
                      <a:pt x="1585" y="10381"/>
                      <a:pt x="1585" y="10381"/>
                    </a:cubicBezTo>
                    <a:cubicBezTo>
                      <a:pt x="1585" y="10380"/>
                      <a:pt x="1601" y="10212"/>
                      <a:pt x="1603" y="10180"/>
                    </a:cubicBezTo>
                    <a:cubicBezTo>
                      <a:pt x="1344" y="9960"/>
                      <a:pt x="1344" y="9960"/>
                      <a:pt x="1344" y="9960"/>
                    </a:cubicBezTo>
                    <a:cubicBezTo>
                      <a:pt x="1359" y="9941"/>
                      <a:pt x="1359" y="9941"/>
                      <a:pt x="1359" y="9941"/>
                    </a:cubicBezTo>
                    <a:cubicBezTo>
                      <a:pt x="1617" y="10160"/>
                      <a:pt x="1617" y="10160"/>
                      <a:pt x="1617" y="10160"/>
                    </a:cubicBezTo>
                    <a:cubicBezTo>
                      <a:pt x="1999" y="9999"/>
                      <a:pt x="1999" y="9999"/>
                      <a:pt x="1999" y="9999"/>
                    </a:cubicBezTo>
                    <a:cubicBezTo>
                      <a:pt x="2005" y="10006"/>
                      <a:pt x="2005" y="10006"/>
                      <a:pt x="2005" y="10006"/>
                    </a:cubicBezTo>
                    <a:cubicBezTo>
                      <a:pt x="2005" y="10006"/>
                      <a:pt x="2022" y="10025"/>
                      <a:pt x="2048" y="10048"/>
                    </a:cubicBezTo>
                    <a:cubicBezTo>
                      <a:pt x="2075" y="10072"/>
                      <a:pt x="2111" y="10099"/>
                      <a:pt x="2148" y="10115"/>
                    </a:cubicBezTo>
                    <a:cubicBezTo>
                      <a:pt x="2203" y="10138"/>
                      <a:pt x="2291" y="10156"/>
                      <a:pt x="2327" y="10162"/>
                    </a:cubicBezTo>
                    <a:cubicBezTo>
                      <a:pt x="2329" y="10162"/>
                      <a:pt x="2329" y="10162"/>
                      <a:pt x="2329" y="10162"/>
                    </a:cubicBezTo>
                    <a:cubicBezTo>
                      <a:pt x="2328" y="10162"/>
                      <a:pt x="2369" y="10173"/>
                      <a:pt x="2458" y="10173"/>
                    </a:cubicBezTo>
                    <a:cubicBezTo>
                      <a:pt x="2573" y="10173"/>
                      <a:pt x="2741" y="10154"/>
                      <a:pt x="2899" y="10066"/>
                    </a:cubicBezTo>
                    <a:cubicBezTo>
                      <a:pt x="3049" y="9983"/>
                      <a:pt x="3124" y="9951"/>
                      <a:pt x="3170" y="9926"/>
                    </a:cubicBezTo>
                    <a:cubicBezTo>
                      <a:pt x="3216" y="9901"/>
                      <a:pt x="3234" y="9884"/>
                      <a:pt x="3277" y="9823"/>
                    </a:cubicBezTo>
                    <a:cubicBezTo>
                      <a:pt x="3361" y="9708"/>
                      <a:pt x="3372" y="9487"/>
                      <a:pt x="3401" y="9378"/>
                    </a:cubicBezTo>
                    <a:cubicBezTo>
                      <a:pt x="3415" y="9326"/>
                      <a:pt x="3425" y="9266"/>
                      <a:pt x="3469" y="9208"/>
                    </a:cubicBezTo>
                    <a:cubicBezTo>
                      <a:pt x="3513" y="9151"/>
                      <a:pt x="3590" y="9097"/>
                      <a:pt x="3734" y="9052"/>
                    </a:cubicBezTo>
                    <a:cubicBezTo>
                      <a:pt x="3838" y="9019"/>
                      <a:pt x="3945" y="8990"/>
                      <a:pt x="3999" y="8976"/>
                    </a:cubicBezTo>
                    <a:cubicBezTo>
                      <a:pt x="4003" y="8972"/>
                      <a:pt x="4011" y="8966"/>
                      <a:pt x="4018" y="8961"/>
                    </a:cubicBezTo>
                    <a:cubicBezTo>
                      <a:pt x="3810" y="8461"/>
                      <a:pt x="3810" y="8461"/>
                      <a:pt x="3810" y="8461"/>
                    </a:cubicBezTo>
                    <a:cubicBezTo>
                      <a:pt x="3582" y="8577"/>
                      <a:pt x="2822" y="8977"/>
                      <a:pt x="2107" y="9364"/>
                    </a:cubicBezTo>
                    <a:cubicBezTo>
                      <a:pt x="2085" y="9384"/>
                      <a:pt x="2085" y="9384"/>
                      <a:pt x="2085" y="9384"/>
                    </a:cubicBezTo>
                    <a:cubicBezTo>
                      <a:pt x="1714" y="9585"/>
                      <a:pt x="1373" y="9769"/>
                      <a:pt x="1107" y="9912"/>
                    </a:cubicBezTo>
                    <a:cubicBezTo>
                      <a:pt x="852" y="10050"/>
                      <a:pt x="683" y="10142"/>
                      <a:pt x="669" y="10150"/>
                    </a:cubicBezTo>
                    <a:cubicBezTo>
                      <a:pt x="665" y="10152"/>
                      <a:pt x="645" y="10164"/>
                      <a:pt x="619" y="10180"/>
                    </a:cubicBezTo>
                    <a:cubicBezTo>
                      <a:pt x="627" y="10190"/>
                      <a:pt x="636" y="10200"/>
                      <a:pt x="646" y="10211"/>
                    </a:cubicBezTo>
                    <a:cubicBezTo>
                      <a:pt x="766" y="10350"/>
                      <a:pt x="942" y="10555"/>
                      <a:pt x="1089" y="10724"/>
                    </a:cubicBezTo>
                    <a:cubicBezTo>
                      <a:pt x="1118" y="10758"/>
                      <a:pt x="1147" y="10791"/>
                      <a:pt x="1173" y="10821"/>
                    </a:cubicBezTo>
                    <a:cubicBezTo>
                      <a:pt x="1123" y="10821"/>
                      <a:pt x="1123" y="10821"/>
                      <a:pt x="1123" y="10821"/>
                    </a:cubicBezTo>
                    <a:cubicBezTo>
                      <a:pt x="1056" y="10743"/>
                      <a:pt x="978" y="10654"/>
                      <a:pt x="901" y="10564"/>
                    </a:cubicBezTo>
                    <a:cubicBezTo>
                      <a:pt x="795" y="10442"/>
                      <a:pt x="689" y="10320"/>
                      <a:pt x="610" y="10228"/>
                    </a:cubicBezTo>
                    <a:cubicBezTo>
                      <a:pt x="602" y="10218"/>
                      <a:pt x="594" y="10209"/>
                      <a:pt x="586" y="10199"/>
                    </a:cubicBezTo>
                    <a:cubicBezTo>
                      <a:pt x="543" y="10225"/>
                      <a:pt x="511" y="10246"/>
                      <a:pt x="469" y="10273"/>
                    </a:cubicBezTo>
                    <a:cubicBezTo>
                      <a:pt x="469" y="10273"/>
                      <a:pt x="396" y="10296"/>
                      <a:pt x="384" y="10297"/>
                    </a:cubicBezTo>
                    <a:cubicBezTo>
                      <a:pt x="298" y="10312"/>
                      <a:pt x="298" y="10312"/>
                      <a:pt x="298" y="10312"/>
                    </a:cubicBezTo>
                    <a:cubicBezTo>
                      <a:pt x="270" y="10317"/>
                      <a:pt x="237" y="10321"/>
                      <a:pt x="204" y="10324"/>
                    </a:cubicBezTo>
                    <a:cubicBezTo>
                      <a:pt x="166" y="10366"/>
                      <a:pt x="125" y="10409"/>
                      <a:pt x="85" y="10453"/>
                    </a:cubicBezTo>
                    <a:cubicBezTo>
                      <a:pt x="56" y="10484"/>
                      <a:pt x="28" y="10514"/>
                      <a:pt x="0" y="10544"/>
                    </a:cubicBezTo>
                    <a:cubicBezTo>
                      <a:pt x="0" y="10363"/>
                      <a:pt x="0" y="10363"/>
                      <a:pt x="0" y="10363"/>
                    </a:cubicBezTo>
                    <a:cubicBezTo>
                      <a:pt x="7" y="10356"/>
                      <a:pt x="13" y="10349"/>
                      <a:pt x="19" y="10343"/>
                    </a:cubicBezTo>
                    <a:cubicBezTo>
                      <a:pt x="13" y="10343"/>
                      <a:pt x="7" y="10344"/>
                      <a:pt x="0" y="10344"/>
                    </a:cubicBezTo>
                    <a:cubicBezTo>
                      <a:pt x="0" y="10080"/>
                      <a:pt x="0" y="10080"/>
                      <a:pt x="0" y="10080"/>
                    </a:cubicBezTo>
                    <a:cubicBezTo>
                      <a:pt x="32" y="10062"/>
                      <a:pt x="71" y="10047"/>
                      <a:pt x="112" y="10044"/>
                    </a:cubicBezTo>
                    <a:cubicBezTo>
                      <a:pt x="162" y="10039"/>
                      <a:pt x="225" y="10046"/>
                      <a:pt x="285" y="10056"/>
                    </a:cubicBezTo>
                    <a:cubicBezTo>
                      <a:pt x="310" y="10029"/>
                      <a:pt x="327" y="10011"/>
                      <a:pt x="332" y="10006"/>
                    </a:cubicBezTo>
                    <a:cubicBezTo>
                      <a:pt x="351" y="9986"/>
                      <a:pt x="373" y="9971"/>
                      <a:pt x="392" y="9958"/>
                    </a:cubicBezTo>
                    <a:cubicBezTo>
                      <a:pt x="414" y="9944"/>
                      <a:pt x="438" y="9932"/>
                      <a:pt x="444" y="9929"/>
                    </a:cubicBezTo>
                    <a:cubicBezTo>
                      <a:pt x="1276" y="9483"/>
                      <a:pt x="1276" y="9483"/>
                      <a:pt x="1276" y="9483"/>
                    </a:cubicBezTo>
                    <a:cubicBezTo>
                      <a:pt x="2197" y="8993"/>
                      <a:pt x="2197" y="8993"/>
                      <a:pt x="2197" y="8993"/>
                    </a:cubicBezTo>
                    <a:cubicBezTo>
                      <a:pt x="2201" y="8991"/>
                      <a:pt x="2201" y="8991"/>
                      <a:pt x="2201" y="8991"/>
                    </a:cubicBezTo>
                    <a:cubicBezTo>
                      <a:pt x="2201" y="8991"/>
                      <a:pt x="2260" y="8962"/>
                      <a:pt x="2393" y="8892"/>
                    </a:cubicBezTo>
                    <a:cubicBezTo>
                      <a:pt x="2593" y="8786"/>
                      <a:pt x="2893" y="8627"/>
                      <a:pt x="3147" y="8492"/>
                    </a:cubicBezTo>
                    <a:cubicBezTo>
                      <a:pt x="3274" y="8424"/>
                      <a:pt x="3390" y="8362"/>
                      <a:pt x="3475" y="8316"/>
                    </a:cubicBezTo>
                    <a:cubicBezTo>
                      <a:pt x="3518" y="8293"/>
                      <a:pt x="3554" y="8274"/>
                      <a:pt x="3579" y="8260"/>
                    </a:cubicBezTo>
                    <a:cubicBezTo>
                      <a:pt x="3592" y="8253"/>
                      <a:pt x="3602" y="8247"/>
                      <a:pt x="3609" y="8243"/>
                    </a:cubicBezTo>
                    <a:cubicBezTo>
                      <a:pt x="3613" y="8241"/>
                      <a:pt x="3615" y="8239"/>
                      <a:pt x="3617" y="8238"/>
                    </a:cubicBezTo>
                    <a:cubicBezTo>
                      <a:pt x="3618" y="8238"/>
                      <a:pt x="3619" y="8237"/>
                      <a:pt x="3619" y="8237"/>
                    </a:cubicBezTo>
                    <a:cubicBezTo>
                      <a:pt x="3636" y="8225"/>
                      <a:pt x="3679" y="8189"/>
                      <a:pt x="3733" y="8152"/>
                    </a:cubicBezTo>
                    <a:cubicBezTo>
                      <a:pt x="3788" y="8114"/>
                      <a:pt x="3856" y="8075"/>
                      <a:pt x="3933" y="8054"/>
                    </a:cubicBezTo>
                    <a:cubicBezTo>
                      <a:pt x="3936" y="8053"/>
                      <a:pt x="3939" y="8052"/>
                      <a:pt x="3942" y="8051"/>
                    </a:cubicBezTo>
                    <a:cubicBezTo>
                      <a:pt x="3936" y="8035"/>
                      <a:pt x="3936" y="8035"/>
                      <a:pt x="3936" y="8035"/>
                    </a:cubicBezTo>
                    <a:cubicBezTo>
                      <a:pt x="3928" y="8018"/>
                      <a:pt x="3904" y="7973"/>
                      <a:pt x="3894" y="7923"/>
                    </a:cubicBezTo>
                    <a:cubicBezTo>
                      <a:pt x="3893" y="7923"/>
                      <a:pt x="3893" y="7923"/>
                      <a:pt x="3893" y="7923"/>
                    </a:cubicBezTo>
                    <a:cubicBezTo>
                      <a:pt x="3893" y="7917"/>
                      <a:pt x="3893" y="7917"/>
                      <a:pt x="3893" y="7917"/>
                    </a:cubicBezTo>
                    <a:cubicBezTo>
                      <a:pt x="3893" y="7917"/>
                      <a:pt x="3892" y="7915"/>
                      <a:pt x="3892" y="7913"/>
                    </a:cubicBezTo>
                    <a:cubicBezTo>
                      <a:pt x="3892" y="7911"/>
                      <a:pt x="3891" y="7909"/>
                      <a:pt x="3891" y="7908"/>
                    </a:cubicBezTo>
                    <a:cubicBezTo>
                      <a:pt x="3891" y="7908"/>
                      <a:pt x="3891" y="7908"/>
                      <a:pt x="3891" y="7908"/>
                    </a:cubicBezTo>
                    <a:cubicBezTo>
                      <a:pt x="3886" y="7875"/>
                      <a:pt x="3869" y="7761"/>
                      <a:pt x="3869" y="7700"/>
                    </a:cubicBezTo>
                    <a:cubicBezTo>
                      <a:pt x="3869" y="7697"/>
                      <a:pt x="3869" y="7694"/>
                      <a:pt x="3869" y="7692"/>
                    </a:cubicBezTo>
                    <a:cubicBezTo>
                      <a:pt x="3868" y="7683"/>
                      <a:pt x="3866" y="7655"/>
                      <a:pt x="3863" y="7635"/>
                    </a:cubicBezTo>
                    <a:cubicBezTo>
                      <a:pt x="3861" y="7629"/>
                      <a:pt x="3860" y="7624"/>
                      <a:pt x="3859" y="7621"/>
                    </a:cubicBezTo>
                    <a:cubicBezTo>
                      <a:pt x="3858" y="7620"/>
                      <a:pt x="3858" y="7619"/>
                      <a:pt x="3858" y="7618"/>
                    </a:cubicBezTo>
                    <a:cubicBezTo>
                      <a:pt x="3671" y="7401"/>
                      <a:pt x="3671" y="7401"/>
                      <a:pt x="3671" y="7401"/>
                    </a:cubicBezTo>
                    <a:cubicBezTo>
                      <a:pt x="3669" y="7400"/>
                      <a:pt x="3669" y="7400"/>
                      <a:pt x="3669" y="7400"/>
                    </a:cubicBezTo>
                    <a:cubicBezTo>
                      <a:pt x="3669" y="7400"/>
                      <a:pt x="3632" y="7353"/>
                      <a:pt x="3576" y="7294"/>
                    </a:cubicBezTo>
                    <a:cubicBezTo>
                      <a:pt x="3563" y="7280"/>
                      <a:pt x="3549" y="7266"/>
                      <a:pt x="3535" y="7252"/>
                    </a:cubicBezTo>
                    <a:cubicBezTo>
                      <a:pt x="3520" y="7253"/>
                      <a:pt x="3472" y="7260"/>
                      <a:pt x="3416" y="7271"/>
                    </a:cubicBezTo>
                    <a:cubicBezTo>
                      <a:pt x="3348" y="7284"/>
                      <a:pt x="3270" y="7306"/>
                      <a:pt x="3233" y="7331"/>
                    </a:cubicBezTo>
                    <a:cubicBezTo>
                      <a:pt x="3157" y="7383"/>
                      <a:pt x="3011" y="7503"/>
                      <a:pt x="2845" y="7503"/>
                    </a:cubicBezTo>
                    <a:cubicBezTo>
                      <a:pt x="2832" y="7503"/>
                      <a:pt x="2818" y="7502"/>
                      <a:pt x="2804" y="7501"/>
                    </a:cubicBezTo>
                    <a:cubicBezTo>
                      <a:pt x="2770" y="7496"/>
                      <a:pt x="2738" y="7488"/>
                      <a:pt x="2707" y="7479"/>
                    </a:cubicBezTo>
                    <a:cubicBezTo>
                      <a:pt x="2700" y="7492"/>
                      <a:pt x="2700" y="7492"/>
                      <a:pt x="2700" y="7492"/>
                    </a:cubicBezTo>
                    <a:cubicBezTo>
                      <a:pt x="2497" y="7950"/>
                      <a:pt x="2497" y="7950"/>
                      <a:pt x="2497" y="7950"/>
                    </a:cubicBezTo>
                    <a:cubicBezTo>
                      <a:pt x="2497" y="7951"/>
                      <a:pt x="2497" y="7951"/>
                      <a:pt x="2497" y="7951"/>
                    </a:cubicBezTo>
                    <a:cubicBezTo>
                      <a:pt x="2497" y="7951"/>
                      <a:pt x="2497" y="7951"/>
                      <a:pt x="2497" y="7951"/>
                    </a:cubicBezTo>
                    <a:cubicBezTo>
                      <a:pt x="2495" y="7954"/>
                      <a:pt x="2495" y="7954"/>
                      <a:pt x="2495" y="7954"/>
                    </a:cubicBezTo>
                    <a:cubicBezTo>
                      <a:pt x="2493" y="7953"/>
                      <a:pt x="2493" y="7953"/>
                      <a:pt x="2493" y="7953"/>
                    </a:cubicBezTo>
                    <a:cubicBezTo>
                      <a:pt x="2271" y="8103"/>
                      <a:pt x="2271" y="8103"/>
                      <a:pt x="2271" y="8103"/>
                    </a:cubicBezTo>
                    <a:cubicBezTo>
                      <a:pt x="2532" y="8646"/>
                      <a:pt x="2532" y="8646"/>
                      <a:pt x="2532" y="8646"/>
                    </a:cubicBezTo>
                    <a:cubicBezTo>
                      <a:pt x="2534" y="8644"/>
                      <a:pt x="2534" y="8644"/>
                      <a:pt x="2534" y="8644"/>
                    </a:cubicBezTo>
                    <a:cubicBezTo>
                      <a:pt x="2592" y="8768"/>
                      <a:pt x="2592" y="8768"/>
                      <a:pt x="2592" y="8768"/>
                    </a:cubicBezTo>
                    <a:cubicBezTo>
                      <a:pt x="2569" y="8779"/>
                      <a:pt x="2569" y="8779"/>
                      <a:pt x="2569" y="8779"/>
                    </a:cubicBezTo>
                    <a:cubicBezTo>
                      <a:pt x="2520" y="8676"/>
                      <a:pt x="2520" y="8676"/>
                      <a:pt x="2520" y="8676"/>
                    </a:cubicBezTo>
                    <a:cubicBezTo>
                      <a:pt x="2519" y="8677"/>
                      <a:pt x="2519" y="8677"/>
                      <a:pt x="2519" y="8677"/>
                    </a:cubicBezTo>
                    <a:cubicBezTo>
                      <a:pt x="2251" y="8117"/>
                      <a:pt x="2251" y="8117"/>
                      <a:pt x="2251" y="8117"/>
                    </a:cubicBezTo>
                    <a:cubicBezTo>
                      <a:pt x="1998" y="8289"/>
                      <a:pt x="1998" y="8289"/>
                      <a:pt x="1998" y="8289"/>
                    </a:cubicBezTo>
                    <a:cubicBezTo>
                      <a:pt x="1658" y="8315"/>
                      <a:pt x="1658" y="8315"/>
                      <a:pt x="1658" y="8315"/>
                    </a:cubicBezTo>
                    <a:cubicBezTo>
                      <a:pt x="1644" y="8341"/>
                      <a:pt x="1581" y="8448"/>
                      <a:pt x="1519" y="8555"/>
                    </a:cubicBezTo>
                    <a:cubicBezTo>
                      <a:pt x="1483" y="8617"/>
                      <a:pt x="1447" y="8678"/>
                      <a:pt x="1421" y="8724"/>
                    </a:cubicBezTo>
                    <a:cubicBezTo>
                      <a:pt x="1407" y="8747"/>
                      <a:pt x="1396" y="8766"/>
                      <a:pt x="1388" y="8780"/>
                    </a:cubicBezTo>
                    <a:cubicBezTo>
                      <a:pt x="1384" y="8786"/>
                      <a:pt x="1381" y="8792"/>
                      <a:pt x="1379" y="8795"/>
                    </a:cubicBezTo>
                    <a:cubicBezTo>
                      <a:pt x="1378" y="8797"/>
                      <a:pt x="1377" y="8799"/>
                      <a:pt x="1377" y="8800"/>
                    </a:cubicBezTo>
                    <a:cubicBezTo>
                      <a:pt x="1376" y="8800"/>
                      <a:pt x="1376" y="8800"/>
                      <a:pt x="1376" y="8801"/>
                    </a:cubicBezTo>
                    <a:cubicBezTo>
                      <a:pt x="1376" y="8801"/>
                      <a:pt x="1376" y="8801"/>
                      <a:pt x="1376" y="8801"/>
                    </a:cubicBezTo>
                    <a:cubicBezTo>
                      <a:pt x="1376" y="8801"/>
                      <a:pt x="1376" y="8801"/>
                      <a:pt x="1376" y="8801"/>
                    </a:cubicBezTo>
                    <a:cubicBezTo>
                      <a:pt x="1376" y="8801"/>
                      <a:pt x="1376" y="8801"/>
                      <a:pt x="1376" y="8801"/>
                    </a:cubicBezTo>
                    <a:cubicBezTo>
                      <a:pt x="1376" y="8801"/>
                      <a:pt x="1375" y="8802"/>
                      <a:pt x="1375" y="8802"/>
                    </a:cubicBezTo>
                    <a:cubicBezTo>
                      <a:pt x="1375" y="8802"/>
                      <a:pt x="1375" y="8802"/>
                      <a:pt x="1375" y="8803"/>
                    </a:cubicBezTo>
                    <a:cubicBezTo>
                      <a:pt x="1375" y="8803"/>
                      <a:pt x="1374" y="8803"/>
                      <a:pt x="1374" y="8803"/>
                    </a:cubicBezTo>
                    <a:cubicBezTo>
                      <a:pt x="1373" y="8804"/>
                      <a:pt x="1373" y="8804"/>
                      <a:pt x="1372" y="8805"/>
                    </a:cubicBezTo>
                    <a:cubicBezTo>
                      <a:pt x="1372" y="8805"/>
                      <a:pt x="1372" y="8805"/>
                      <a:pt x="1372" y="8805"/>
                    </a:cubicBezTo>
                    <a:cubicBezTo>
                      <a:pt x="1359" y="8817"/>
                      <a:pt x="1232" y="8937"/>
                      <a:pt x="1108" y="9055"/>
                    </a:cubicBezTo>
                    <a:cubicBezTo>
                      <a:pt x="986" y="9171"/>
                      <a:pt x="867" y="9284"/>
                      <a:pt x="854" y="9297"/>
                    </a:cubicBezTo>
                    <a:cubicBezTo>
                      <a:pt x="876" y="9301"/>
                      <a:pt x="900" y="9308"/>
                      <a:pt x="925" y="9323"/>
                    </a:cubicBezTo>
                    <a:cubicBezTo>
                      <a:pt x="973" y="9354"/>
                      <a:pt x="1007" y="9420"/>
                      <a:pt x="1032" y="9479"/>
                    </a:cubicBezTo>
                    <a:cubicBezTo>
                      <a:pt x="1056" y="9538"/>
                      <a:pt x="1071" y="9590"/>
                      <a:pt x="1071" y="9591"/>
                    </a:cubicBezTo>
                    <a:cubicBezTo>
                      <a:pt x="1034" y="9601"/>
                      <a:pt x="1034" y="9601"/>
                      <a:pt x="1034" y="9601"/>
                    </a:cubicBezTo>
                    <a:cubicBezTo>
                      <a:pt x="1034" y="9600"/>
                      <a:pt x="1021" y="9550"/>
                      <a:pt x="997" y="9493"/>
                    </a:cubicBezTo>
                    <a:cubicBezTo>
                      <a:pt x="974" y="9437"/>
                      <a:pt x="939" y="9375"/>
                      <a:pt x="906" y="9355"/>
                    </a:cubicBezTo>
                    <a:cubicBezTo>
                      <a:pt x="874" y="9336"/>
                      <a:pt x="845" y="9332"/>
                      <a:pt x="819" y="9330"/>
                    </a:cubicBezTo>
                    <a:cubicBezTo>
                      <a:pt x="812" y="9330"/>
                      <a:pt x="806" y="9329"/>
                      <a:pt x="800" y="9329"/>
                    </a:cubicBezTo>
                    <a:cubicBezTo>
                      <a:pt x="776" y="9329"/>
                      <a:pt x="757" y="9333"/>
                      <a:pt x="738" y="9335"/>
                    </a:cubicBezTo>
                    <a:cubicBezTo>
                      <a:pt x="703" y="9340"/>
                      <a:pt x="677" y="9355"/>
                      <a:pt x="637" y="9356"/>
                    </a:cubicBezTo>
                    <a:cubicBezTo>
                      <a:pt x="596" y="9355"/>
                      <a:pt x="548" y="9333"/>
                      <a:pt x="508" y="9321"/>
                    </a:cubicBezTo>
                    <a:cubicBezTo>
                      <a:pt x="467" y="9307"/>
                      <a:pt x="389" y="9274"/>
                      <a:pt x="344" y="9274"/>
                    </a:cubicBezTo>
                    <a:cubicBezTo>
                      <a:pt x="342" y="9274"/>
                      <a:pt x="341" y="9274"/>
                      <a:pt x="340" y="9274"/>
                    </a:cubicBezTo>
                    <a:cubicBezTo>
                      <a:pt x="291" y="9277"/>
                      <a:pt x="270" y="9292"/>
                      <a:pt x="241" y="9302"/>
                    </a:cubicBezTo>
                    <a:cubicBezTo>
                      <a:pt x="230" y="9306"/>
                      <a:pt x="192" y="9323"/>
                      <a:pt x="159" y="9338"/>
                    </a:cubicBezTo>
                    <a:cubicBezTo>
                      <a:pt x="142" y="9346"/>
                      <a:pt x="126" y="9353"/>
                      <a:pt x="115" y="9359"/>
                    </a:cubicBezTo>
                    <a:cubicBezTo>
                      <a:pt x="111" y="9362"/>
                      <a:pt x="110" y="9366"/>
                      <a:pt x="110" y="9369"/>
                    </a:cubicBezTo>
                    <a:cubicBezTo>
                      <a:pt x="415" y="9934"/>
                      <a:pt x="415" y="9934"/>
                      <a:pt x="415" y="9934"/>
                    </a:cubicBezTo>
                    <a:cubicBezTo>
                      <a:pt x="382" y="9952"/>
                      <a:pt x="382" y="9952"/>
                      <a:pt x="382" y="9952"/>
                    </a:cubicBezTo>
                    <a:cubicBezTo>
                      <a:pt x="48" y="9331"/>
                      <a:pt x="48" y="9331"/>
                      <a:pt x="48" y="9331"/>
                    </a:cubicBezTo>
                    <a:cubicBezTo>
                      <a:pt x="48" y="9331"/>
                      <a:pt x="48" y="9331"/>
                      <a:pt x="48" y="9331"/>
                    </a:cubicBezTo>
                    <a:cubicBezTo>
                      <a:pt x="0" y="9237"/>
                      <a:pt x="0" y="9237"/>
                      <a:pt x="0" y="9237"/>
                    </a:cubicBezTo>
                    <a:cubicBezTo>
                      <a:pt x="0" y="9157"/>
                      <a:pt x="0" y="9157"/>
                      <a:pt x="0" y="9157"/>
                    </a:cubicBezTo>
                    <a:cubicBezTo>
                      <a:pt x="81" y="9315"/>
                      <a:pt x="81" y="9315"/>
                      <a:pt x="81" y="9315"/>
                    </a:cubicBezTo>
                    <a:cubicBezTo>
                      <a:pt x="81" y="9315"/>
                      <a:pt x="81" y="9315"/>
                      <a:pt x="81" y="9315"/>
                    </a:cubicBezTo>
                    <a:cubicBezTo>
                      <a:pt x="83" y="9321"/>
                      <a:pt x="83" y="9321"/>
                      <a:pt x="83" y="9321"/>
                    </a:cubicBezTo>
                    <a:cubicBezTo>
                      <a:pt x="88" y="9324"/>
                      <a:pt x="95" y="9324"/>
                      <a:pt x="100" y="9324"/>
                    </a:cubicBezTo>
                    <a:cubicBezTo>
                      <a:pt x="137" y="9307"/>
                      <a:pt x="208" y="9274"/>
                      <a:pt x="229" y="9266"/>
                    </a:cubicBezTo>
                    <a:cubicBezTo>
                      <a:pt x="250" y="9259"/>
                      <a:pt x="281" y="9239"/>
                      <a:pt x="338" y="9237"/>
                    </a:cubicBezTo>
                    <a:cubicBezTo>
                      <a:pt x="340" y="9237"/>
                      <a:pt x="342" y="9236"/>
                      <a:pt x="344" y="9236"/>
                    </a:cubicBezTo>
                    <a:cubicBezTo>
                      <a:pt x="404" y="9237"/>
                      <a:pt x="482" y="9273"/>
                      <a:pt x="520" y="9285"/>
                    </a:cubicBezTo>
                    <a:cubicBezTo>
                      <a:pt x="562" y="9298"/>
                      <a:pt x="610" y="9318"/>
                      <a:pt x="637" y="9318"/>
                    </a:cubicBezTo>
                    <a:cubicBezTo>
                      <a:pt x="665" y="9318"/>
                      <a:pt x="690" y="9304"/>
                      <a:pt x="733" y="9298"/>
                    </a:cubicBezTo>
                    <a:cubicBezTo>
                      <a:pt x="751" y="9296"/>
                      <a:pt x="772" y="9292"/>
                      <a:pt x="800" y="9292"/>
                    </a:cubicBezTo>
                    <a:cubicBezTo>
                      <a:pt x="807" y="9292"/>
                      <a:pt x="814" y="9292"/>
                      <a:pt x="822" y="9293"/>
                    </a:cubicBezTo>
                    <a:cubicBezTo>
                      <a:pt x="831" y="9293"/>
                      <a:pt x="840" y="9294"/>
                      <a:pt x="851" y="9296"/>
                    </a:cubicBezTo>
                    <a:cubicBezTo>
                      <a:pt x="836" y="9280"/>
                      <a:pt x="836" y="9280"/>
                      <a:pt x="836" y="9280"/>
                    </a:cubicBezTo>
                    <a:cubicBezTo>
                      <a:pt x="836" y="9280"/>
                      <a:pt x="965" y="9157"/>
                      <a:pt x="1095" y="9033"/>
                    </a:cubicBezTo>
                    <a:cubicBezTo>
                      <a:pt x="1161" y="8971"/>
                      <a:pt x="1226" y="8909"/>
                      <a:pt x="1275" y="8863"/>
                    </a:cubicBezTo>
                    <a:cubicBezTo>
                      <a:pt x="1299" y="8840"/>
                      <a:pt x="1320" y="8820"/>
                      <a:pt x="1334" y="8807"/>
                    </a:cubicBezTo>
                    <a:cubicBezTo>
                      <a:pt x="1341" y="8800"/>
                      <a:pt x="1347" y="8795"/>
                      <a:pt x="1351" y="8791"/>
                    </a:cubicBezTo>
                    <a:cubicBezTo>
                      <a:pt x="1352" y="8790"/>
                      <a:pt x="1352" y="8790"/>
                      <a:pt x="1353" y="8789"/>
                    </a:cubicBezTo>
                    <a:cubicBezTo>
                      <a:pt x="1357" y="8785"/>
                      <a:pt x="1357" y="8785"/>
                      <a:pt x="1357" y="8785"/>
                    </a:cubicBezTo>
                    <a:cubicBezTo>
                      <a:pt x="1379" y="8747"/>
                      <a:pt x="1603" y="8362"/>
                      <a:pt x="1636" y="8305"/>
                    </a:cubicBezTo>
                    <a:cubicBezTo>
                      <a:pt x="1307" y="7896"/>
                      <a:pt x="1307" y="7896"/>
                      <a:pt x="1307" y="7896"/>
                    </a:cubicBezTo>
                    <a:cubicBezTo>
                      <a:pt x="1326" y="7880"/>
                      <a:pt x="1326" y="7880"/>
                      <a:pt x="1326" y="7880"/>
                    </a:cubicBezTo>
                    <a:cubicBezTo>
                      <a:pt x="1657" y="8291"/>
                      <a:pt x="1657" y="8291"/>
                      <a:pt x="1657" y="8291"/>
                    </a:cubicBezTo>
                    <a:cubicBezTo>
                      <a:pt x="1990" y="8265"/>
                      <a:pt x="1990" y="8265"/>
                      <a:pt x="1990" y="8265"/>
                    </a:cubicBezTo>
                    <a:cubicBezTo>
                      <a:pt x="2465" y="7943"/>
                      <a:pt x="2465" y="7943"/>
                      <a:pt x="2465" y="7943"/>
                    </a:cubicBezTo>
                    <a:cubicBezTo>
                      <a:pt x="2668" y="7484"/>
                      <a:pt x="2668" y="7484"/>
                      <a:pt x="2668" y="7484"/>
                    </a:cubicBezTo>
                    <a:cubicBezTo>
                      <a:pt x="2668" y="7484"/>
                      <a:pt x="2668" y="7484"/>
                      <a:pt x="2668" y="7484"/>
                    </a:cubicBezTo>
                    <a:cubicBezTo>
                      <a:pt x="2673" y="7467"/>
                      <a:pt x="2673" y="7467"/>
                      <a:pt x="2673" y="7467"/>
                    </a:cubicBezTo>
                    <a:cubicBezTo>
                      <a:pt x="2566" y="7426"/>
                      <a:pt x="2487" y="7362"/>
                      <a:pt x="2424" y="7318"/>
                    </a:cubicBezTo>
                    <a:cubicBezTo>
                      <a:pt x="2336" y="7256"/>
                      <a:pt x="2089" y="7072"/>
                      <a:pt x="2018" y="7034"/>
                    </a:cubicBezTo>
                    <a:cubicBezTo>
                      <a:pt x="2004" y="7027"/>
                      <a:pt x="1975" y="7010"/>
                      <a:pt x="1937" y="6988"/>
                    </a:cubicBezTo>
                    <a:cubicBezTo>
                      <a:pt x="1929" y="6997"/>
                      <a:pt x="1910" y="7022"/>
                      <a:pt x="1889" y="7054"/>
                    </a:cubicBezTo>
                    <a:cubicBezTo>
                      <a:pt x="1850" y="7110"/>
                      <a:pt x="1797" y="7190"/>
                      <a:pt x="1752" y="7255"/>
                    </a:cubicBezTo>
                    <a:cubicBezTo>
                      <a:pt x="1731" y="7286"/>
                      <a:pt x="1712" y="7312"/>
                      <a:pt x="1697" y="7333"/>
                    </a:cubicBezTo>
                    <a:cubicBezTo>
                      <a:pt x="1310" y="7882"/>
                      <a:pt x="1310" y="7882"/>
                      <a:pt x="1310" y="7882"/>
                    </a:cubicBezTo>
                    <a:cubicBezTo>
                      <a:pt x="1312" y="7883"/>
                      <a:pt x="1312" y="7883"/>
                      <a:pt x="1312" y="7883"/>
                    </a:cubicBezTo>
                    <a:cubicBezTo>
                      <a:pt x="942" y="8181"/>
                      <a:pt x="942" y="8181"/>
                      <a:pt x="942" y="8181"/>
                    </a:cubicBezTo>
                    <a:cubicBezTo>
                      <a:pt x="0" y="8964"/>
                      <a:pt x="0" y="8964"/>
                      <a:pt x="0" y="8964"/>
                    </a:cubicBezTo>
                    <a:cubicBezTo>
                      <a:pt x="0" y="8917"/>
                      <a:pt x="0" y="8917"/>
                      <a:pt x="0" y="8917"/>
                    </a:cubicBezTo>
                    <a:cubicBezTo>
                      <a:pt x="924" y="8148"/>
                      <a:pt x="924" y="8148"/>
                      <a:pt x="924" y="8148"/>
                    </a:cubicBezTo>
                    <a:cubicBezTo>
                      <a:pt x="924" y="8148"/>
                      <a:pt x="924" y="8148"/>
                      <a:pt x="924" y="8148"/>
                    </a:cubicBezTo>
                    <a:cubicBezTo>
                      <a:pt x="927" y="8146"/>
                      <a:pt x="927" y="8146"/>
                      <a:pt x="927" y="8146"/>
                    </a:cubicBezTo>
                    <a:cubicBezTo>
                      <a:pt x="933" y="8141"/>
                      <a:pt x="933" y="8141"/>
                      <a:pt x="933" y="8141"/>
                    </a:cubicBezTo>
                    <a:cubicBezTo>
                      <a:pt x="933" y="8141"/>
                      <a:pt x="933" y="8141"/>
                      <a:pt x="933" y="8141"/>
                    </a:cubicBezTo>
                    <a:cubicBezTo>
                      <a:pt x="1282" y="7856"/>
                      <a:pt x="1282" y="7856"/>
                      <a:pt x="1282" y="7856"/>
                    </a:cubicBezTo>
                    <a:cubicBezTo>
                      <a:pt x="1553" y="7478"/>
                      <a:pt x="1553" y="7478"/>
                      <a:pt x="1553" y="7478"/>
                    </a:cubicBezTo>
                    <a:cubicBezTo>
                      <a:pt x="1549" y="7478"/>
                      <a:pt x="1548" y="7477"/>
                      <a:pt x="1546" y="7476"/>
                    </a:cubicBezTo>
                    <a:cubicBezTo>
                      <a:pt x="1517" y="7462"/>
                      <a:pt x="1362" y="7362"/>
                      <a:pt x="1362" y="7361"/>
                    </a:cubicBezTo>
                    <a:cubicBezTo>
                      <a:pt x="1355" y="7357"/>
                      <a:pt x="1355" y="7357"/>
                      <a:pt x="1355" y="7357"/>
                    </a:cubicBezTo>
                    <a:cubicBezTo>
                      <a:pt x="1388" y="7195"/>
                      <a:pt x="1388" y="7195"/>
                      <a:pt x="1388" y="7195"/>
                    </a:cubicBezTo>
                    <a:cubicBezTo>
                      <a:pt x="1364" y="7157"/>
                      <a:pt x="1364" y="7157"/>
                      <a:pt x="1364" y="7157"/>
                    </a:cubicBezTo>
                    <a:cubicBezTo>
                      <a:pt x="1269" y="7013"/>
                      <a:pt x="1269" y="7013"/>
                      <a:pt x="1269" y="7013"/>
                    </a:cubicBezTo>
                    <a:cubicBezTo>
                      <a:pt x="1260" y="7001"/>
                      <a:pt x="1260" y="7001"/>
                      <a:pt x="1260" y="7001"/>
                    </a:cubicBezTo>
                    <a:cubicBezTo>
                      <a:pt x="1257" y="7003"/>
                      <a:pt x="1254" y="7005"/>
                      <a:pt x="1252" y="7007"/>
                    </a:cubicBezTo>
                    <a:cubicBezTo>
                      <a:pt x="1202" y="7039"/>
                      <a:pt x="1154" y="7053"/>
                      <a:pt x="1124" y="7058"/>
                    </a:cubicBezTo>
                    <a:cubicBezTo>
                      <a:pt x="1123" y="7062"/>
                      <a:pt x="1122" y="7065"/>
                      <a:pt x="1122" y="7065"/>
                    </a:cubicBezTo>
                    <a:cubicBezTo>
                      <a:pt x="1122" y="7065"/>
                      <a:pt x="1121" y="7065"/>
                      <a:pt x="1121" y="7065"/>
                    </a:cubicBezTo>
                    <a:cubicBezTo>
                      <a:pt x="1121" y="7065"/>
                      <a:pt x="1121" y="7065"/>
                      <a:pt x="1121" y="7065"/>
                    </a:cubicBezTo>
                    <a:cubicBezTo>
                      <a:pt x="1049" y="7261"/>
                      <a:pt x="1049" y="7261"/>
                      <a:pt x="1049" y="7261"/>
                    </a:cubicBezTo>
                    <a:cubicBezTo>
                      <a:pt x="1047" y="7261"/>
                      <a:pt x="1047" y="7261"/>
                      <a:pt x="1047" y="7261"/>
                    </a:cubicBezTo>
                    <a:cubicBezTo>
                      <a:pt x="926" y="7566"/>
                      <a:pt x="926" y="7566"/>
                      <a:pt x="926" y="7566"/>
                    </a:cubicBezTo>
                    <a:cubicBezTo>
                      <a:pt x="924" y="7570"/>
                      <a:pt x="924" y="7570"/>
                      <a:pt x="924" y="7570"/>
                    </a:cubicBezTo>
                    <a:cubicBezTo>
                      <a:pt x="859" y="7625"/>
                      <a:pt x="859" y="7625"/>
                      <a:pt x="859" y="7625"/>
                    </a:cubicBezTo>
                    <a:cubicBezTo>
                      <a:pt x="285" y="8240"/>
                      <a:pt x="285" y="8240"/>
                      <a:pt x="285" y="8240"/>
                    </a:cubicBezTo>
                    <a:cubicBezTo>
                      <a:pt x="233" y="8292"/>
                      <a:pt x="157" y="8388"/>
                      <a:pt x="0" y="8454"/>
                    </a:cubicBezTo>
                    <a:cubicBezTo>
                      <a:pt x="0" y="8415"/>
                      <a:pt x="0" y="8415"/>
                      <a:pt x="0" y="8415"/>
                    </a:cubicBezTo>
                    <a:cubicBezTo>
                      <a:pt x="110" y="8366"/>
                      <a:pt x="175" y="8302"/>
                      <a:pt x="223" y="8252"/>
                    </a:cubicBezTo>
                    <a:cubicBezTo>
                      <a:pt x="215" y="8244"/>
                      <a:pt x="199" y="8231"/>
                      <a:pt x="176" y="8212"/>
                    </a:cubicBezTo>
                    <a:cubicBezTo>
                      <a:pt x="135" y="8179"/>
                      <a:pt x="73" y="8132"/>
                      <a:pt x="0" y="8088"/>
                    </a:cubicBezTo>
                    <a:cubicBezTo>
                      <a:pt x="0" y="8046"/>
                      <a:pt x="0" y="8046"/>
                      <a:pt x="0" y="8046"/>
                    </a:cubicBezTo>
                    <a:cubicBezTo>
                      <a:pt x="126" y="8120"/>
                      <a:pt x="223" y="8204"/>
                      <a:pt x="248" y="8226"/>
                    </a:cubicBezTo>
                    <a:cubicBezTo>
                      <a:pt x="252" y="8222"/>
                      <a:pt x="255" y="8219"/>
                      <a:pt x="259" y="8215"/>
                    </a:cubicBezTo>
                    <a:cubicBezTo>
                      <a:pt x="596" y="7856"/>
                      <a:pt x="596" y="7856"/>
                      <a:pt x="596" y="7856"/>
                    </a:cubicBezTo>
                    <a:cubicBezTo>
                      <a:pt x="594" y="7853"/>
                      <a:pt x="594" y="7853"/>
                      <a:pt x="594" y="7853"/>
                    </a:cubicBezTo>
                    <a:cubicBezTo>
                      <a:pt x="592" y="7855"/>
                      <a:pt x="592" y="7855"/>
                      <a:pt x="592" y="7855"/>
                    </a:cubicBezTo>
                    <a:cubicBezTo>
                      <a:pt x="173" y="7273"/>
                      <a:pt x="173" y="7273"/>
                      <a:pt x="173" y="7273"/>
                    </a:cubicBezTo>
                    <a:cubicBezTo>
                      <a:pt x="0" y="7208"/>
                      <a:pt x="0" y="7208"/>
                      <a:pt x="0" y="7208"/>
                    </a:cubicBezTo>
                    <a:cubicBezTo>
                      <a:pt x="0" y="7180"/>
                      <a:pt x="0" y="7180"/>
                      <a:pt x="0" y="7180"/>
                    </a:cubicBezTo>
                    <a:cubicBezTo>
                      <a:pt x="190" y="7251"/>
                      <a:pt x="190" y="7251"/>
                      <a:pt x="190" y="7251"/>
                    </a:cubicBezTo>
                    <a:cubicBezTo>
                      <a:pt x="608" y="7833"/>
                      <a:pt x="608" y="7833"/>
                      <a:pt x="608" y="7833"/>
                    </a:cubicBezTo>
                    <a:cubicBezTo>
                      <a:pt x="610" y="7834"/>
                      <a:pt x="612" y="7836"/>
                      <a:pt x="614" y="7837"/>
                    </a:cubicBezTo>
                    <a:cubicBezTo>
                      <a:pt x="864" y="7570"/>
                      <a:pt x="864" y="7570"/>
                      <a:pt x="864" y="7570"/>
                    </a:cubicBezTo>
                    <a:cubicBezTo>
                      <a:pt x="864" y="7572"/>
                      <a:pt x="864" y="7572"/>
                      <a:pt x="864" y="7572"/>
                    </a:cubicBezTo>
                    <a:cubicBezTo>
                      <a:pt x="894" y="7544"/>
                      <a:pt x="894" y="7544"/>
                      <a:pt x="894" y="7544"/>
                    </a:cubicBezTo>
                    <a:cubicBezTo>
                      <a:pt x="1023" y="7226"/>
                      <a:pt x="1023" y="7226"/>
                      <a:pt x="1023" y="7226"/>
                    </a:cubicBezTo>
                    <a:cubicBezTo>
                      <a:pt x="1023" y="7226"/>
                      <a:pt x="1023" y="7226"/>
                      <a:pt x="1023" y="7226"/>
                    </a:cubicBezTo>
                    <a:cubicBezTo>
                      <a:pt x="1082" y="7068"/>
                      <a:pt x="1082" y="7068"/>
                      <a:pt x="1082" y="7068"/>
                    </a:cubicBezTo>
                    <a:cubicBezTo>
                      <a:pt x="1079" y="7061"/>
                      <a:pt x="1073" y="7051"/>
                      <a:pt x="1064" y="7036"/>
                    </a:cubicBezTo>
                    <a:cubicBezTo>
                      <a:pt x="1021" y="6962"/>
                      <a:pt x="914" y="6795"/>
                      <a:pt x="752" y="6646"/>
                    </a:cubicBezTo>
                    <a:cubicBezTo>
                      <a:pt x="571" y="6479"/>
                      <a:pt x="334" y="6330"/>
                      <a:pt x="179" y="6261"/>
                    </a:cubicBezTo>
                    <a:cubicBezTo>
                      <a:pt x="179" y="6262"/>
                      <a:pt x="179" y="6262"/>
                      <a:pt x="179" y="6262"/>
                    </a:cubicBezTo>
                    <a:cubicBezTo>
                      <a:pt x="177" y="6263"/>
                      <a:pt x="177" y="6263"/>
                      <a:pt x="177" y="6263"/>
                    </a:cubicBezTo>
                    <a:cubicBezTo>
                      <a:pt x="146" y="6297"/>
                      <a:pt x="108" y="6374"/>
                      <a:pt x="2" y="6438"/>
                    </a:cubicBezTo>
                    <a:cubicBezTo>
                      <a:pt x="2" y="6438"/>
                      <a:pt x="1" y="6438"/>
                      <a:pt x="0" y="6439"/>
                    </a:cubicBezTo>
                    <a:cubicBezTo>
                      <a:pt x="0" y="6396"/>
                      <a:pt x="0" y="6396"/>
                      <a:pt x="0" y="6396"/>
                    </a:cubicBezTo>
                    <a:cubicBezTo>
                      <a:pt x="80" y="6342"/>
                      <a:pt x="112" y="6285"/>
                      <a:pt x="145" y="6246"/>
                    </a:cubicBezTo>
                    <a:cubicBezTo>
                      <a:pt x="127" y="6239"/>
                      <a:pt x="111" y="6233"/>
                      <a:pt x="97" y="6229"/>
                    </a:cubicBezTo>
                    <a:cubicBezTo>
                      <a:pt x="69" y="6221"/>
                      <a:pt x="37" y="6212"/>
                      <a:pt x="0" y="6203"/>
                    </a:cubicBezTo>
                    <a:cubicBezTo>
                      <a:pt x="0" y="6166"/>
                      <a:pt x="0" y="6166"/>
                      <a:pt x="0" y="6166"/>
                    </a:cubicBezTo>
                    <a:cubicBezTo>
                      <a:pt x="41" y="6175"/>
                      <a:pt x="77" y="6185"/>
                      <a:pt x="108" y="6195"/>
                    </a:cubicBezTo>
                    <a:cubicBezTo>
                      <a:pt x="124" y="6200"/>
                      <a:pt x="143" y="6207"/>
                      <a:pt x="163" y="6215"/>
                    </a:cubicBezTo>
                    <a:cubicBezTo>
                      <a:pt x="1274" y="4182"/>
                      <a:pt x="1274" y="4182"/>
                      <a:pt x="1274" y="4182"/>
                    </a:cubicBezTo>
                    <a:cubicBezTo>
                      <a:pt x="1271" y="4181"/>
                      <a:pt x="1271" y="4179"/>
                      <a:pt x="1269" y="4179"/>
                    </a:cubicBezTo>
                    <a:cubicBezTo>
                      <a:pt x="1264" y="4174"/>
                      <a:pt x="1260" y="4169"/>
                      <a:pt x="1252" y="4161"/>
                    </a:cubicBezTo>
                    <a:cubicBezTo>
                      <a:pt x="1152" y="4045"/>
                      <a:pt x="631" y="3365"/>
                      <a:pt x="534" y="3237"/>
                    </a:cubicBezTo>
                    <a:cubicBezTo>
                      <a:pt x="0" y="3807"/>
                      <a:pt x="0" y="3807"/>
                      <a:pt x="0" y="3807"/>
                    </a:cubicBezTo>
                    <a:cubicBezTo>
                      <a:pt x="0" y="3755"/>
                      <a:pt x="0" y="3755"/>
                      <a:pt x="0" y="3755"/>
                    </a:cubicBezTo>
                    <a:cubicBezTo>
                      <a:pt x="1245" y="2423"/>
                      <a:pt x="1245" y="2423"/>
                      <a:pt x="1245" y="2423"/>
                    </a:cubicBezTo>
                    <a:cubicBezTo>
                      <a:pt x="804" y="2083"/>
                      <a:pt x="804" y="2083"/>
                      <a:pt x="804" y="2083"/>
                    </a:cubicBezTo>
                    <a:cubicBezTo>
                      <a:pt x="802" y="2081"/>
                      <a:pt x="802" y="2081"/>
                      <a:pt x="802" y="2081"/>
                    </a:cubicBezTo>
                    <a:cubicBezTo>
                      <a:pt x="802" y="2080"/>
                      <a:pt x="737" y="1989"/>
                      <a:pt x="704" y="1891"/>
                    </a:cubicBezTo>
                    <a:cubicBezTo>
                      <a:pt x="697" y="1884"/>
                      <a:pt x="671" y="1861"/>
                      <a:pt x="633" y="1829"/>
                    </a:cubicBezTo>
                    <a:cubicBezTo>
                      <a:pt x="510" y="1725"/>
                      <a:pt x="254" y="1516"/>
                      <a:pt x="0" y="1309"/>
                    </a:cubicBezTo>
                    <a:cubicBezTo>
                      <a:pt x="0" y="1262"/>
                      <a:pt x="0" y="1262"/>
                      <a:pt x="0" y="1262"/>
                    </a:cubicBezTo>
                    <a:cubicBezTo>
                      <a:pt x="12" y="1271"/>
                      <a:pt x="23" y="1281"/>
                      <a:pt x="34" y="1290"/>
                    </a:cubicBezTo>
                    <a:cubicBezTo>
                      <a:pt x="207" y="1431"/>
                      <a:pt x="380" y="1573"/>
                      <a:pt x="511" y="1680"/>
                    </a:cubicBezTo>
                    <a:cubicBezTo>
                      <a:pt x="577" y="1734"/>
                      <a:pt x="631" y="1780"/>
                      <a:pt x="670" y="1813"/>
                    </a:cubicBezTo>
                    <a:cubicBezTo>
                      <a:pt x="689" y="1829"/>
                      <a:pt x="705" y="1842"/>
                      <a:pt x="715" y="1852"/>
                    </a:cubicBezTo>
                    <a:cubicBezTo>
                      <a:pt x="721" y="1857"/>
                      <a:pt x="725" y="1860"/>
                      <a:pt x="728" y="1863"/>
                    </a:cubicBezTo>
                    <a:cubicBezTo>
                      <a:pt x="730" y="1865"/>
                      <a:pt x="731" y="1866"/>
                      <a:pt x="732" y="1868"/>
                    </a:cubicBezTo>
                    <a:cubicBezTo>
                      <a:pt x="734" y="1869"/>
                      <a:pt x="735" y="1869"/>
                      <a:pt x="737" y="1875"/>
                    </a:cubicBezTo>
                    <a:cubicBezTo>
                      <a:pt x="738" y="1876"/>
                      <a:pt x="738" y="1876"/>
                      <a:pt x="738" y="1876"/>
                    </a:cubicBezTo>
                    <a:cubicBezTo>
                      <a:pt x="738" y="1876"/>
                      <a:pt x="738" y="1876"/>
                      <a:pt x="738" y="1876"/>
                    </a:cubicBezTo>
                    <a:cubicBezTo>
                      <a:pt x="752" y="1922"/>
                      <a:pt x="776" y="1969"/>
                      <a:pt x="796" y="2003"/>
                    </a:cubicBezTo>
                    <a:cubicBezTo>
                      <a:pt x="812" y="2031"/>
                      <a:pt x="826" y="2051"/>
                      <a:pt x="830" y="2058"/>
                    </a:cubicBezTo>
                    <a:cubicBezTo>
                      <a:pt x="1271" y="2398"/>
                      <a:pt x="1271" y="2398"/>
                      <a:pt x="1271" y="2398"/>
                    </a:cubicBezTo>
                    <a:cubicBezTo>
                      <a:pt x="1264" y="2406"/>
                      <a:pt x="1264" y="2406"/>
                      <a:pt x="1264" y="2406"/>
                    </a:cubicBezTo>
                    <a:cubicBezTo>
                      <a:pt x="1333" y="2346"/>
                      <a:pt x="1609" y="2106"/>
                      <a:pt x="1887" y="1866"/>
                    </a:cubicBezTo>
                    <a:cubicBezTo>
                      <a:pt x="2047" y="1727"/>
                      <a:pt x="2208" y="1589"/>
                      <a:pt x="2329" y="1485"/>
                    </a:cubicBezTo>
                    <a:cubicBezTo>
                      <a:pt x="2390" y="1433"/>
                      <a:pt x="2441" y="1389"/>
                      <a:pt x="2477" y="1359"/>
                    </a:cubicBezTo>
                    <a:cubicBezTo>
                      <a:pt x="2495" y="1344"/>
                      <a:pt x="2510" y="1332"/>
                      <a:pt x="2520" y="1323"/>
                    </a:cubicBezTo>
                    <a:cubicBezTo>
                      <a:pt x="2522" y="1322"/>
                      <a:pt x="2522" y="1322"/>
                      <a:pt x="2524" y="1320"/>
                    </a:cubicBezTo>
                    <a:cubicBezTo>
                      <a:pt x="2535" y="1301"/>
                      <a:pt x="2535" y="1301"/>
                      <a:pt x="2535" y="1301"/>
                    </a:cubicBezTo>
                    <a:cubicBezTo>
                      <a:pt x="2532" y="1297"/>
                      <a:pt x="2529" y="1293"/>
                      <a:pt x="2527" y="1288"/>
                    </a:cubicBezTo>
                    <a:cubicBezTo>
                      <a:pt x="2505" y="1241"/>
                      <a:pt x="2488" y="1175"/>
                      <a:pt x="2475" y="1118"/>
                    </a:cubicBezTo>
                    <a:cubicBezTo>
                      <a:pt x="2464" y="1066"/>
                      <a:pt x="2456" y="1023"/>
                      <a:pt x="2455" y="1016"/>
                    </a:cubicBezTo>
                    <a:cubicBezTo>
                      <a:pt x="2246" y="0"/>
                      <a:pt x="2246" y="0"/>
                      <a:pt x="2246" y="0"/>
                    </a:cubicBezTo>
                    <a:cubicBezTo>
                      <a:pt x="2363" y="0"/>
                      <a:pt x="2363" y="0"/>
                      <a:pt x="2363" y="0"/>
                    </a:cubicBezTo>
                    <a:cubicBezTo>
                      <a:pt x="2568" y="995"/>
                      <a:pt x="2568" y="995"/>
                      <a:pt x="2568" y="995"/>
                    </a:cubicBezTo>
                    <a:cubicBezTo>
                      <a:pt x="2568" y="996"/>
                      <a:pt x="2568" y="996"/>
                      <a:pt x="2568" y="996"/>
                    </a:cubicBezTo>
                    <a:cubicBezTo>
                      <a:pt x="2568" y="996"/>
                      <a:pt x="2575" y="1040"/>
                      <a:pt x="2587" y="1093"/>
                    </a:cubicBezTo>
                    <a:cubicBezTo>
                      <a:pt x="2599" y="1146"/>
                      <a:pt x="2616" y="1210"/>
                      <a:pt x="2631" y="1239"/>
                    </a:cubicBezTo>
                    <a:cubicBezTo>
                      <a:pt x="2642" y="1263"/>
                      <a:pt x="2665" y="1285"/>
                      <a:pt x="2696" y="1303"/>
                    </a:cubicBezTo>
                    <a:cubicBezTo>
                      <a:pt x="2726" y="1321"/>
                      <a:pt x="2761" y="1334"/>
                      <a:pt x="2789" y="1345"/>
                    </a:cubicBezTo>
                    <a:cubicBezTo>
                      <a:pt x="2847" y="1366"/>
                      <a:pt x="3616" y="1643"/>
                      <a:pt x="3893" y="1734"/>
                    </a:cubicBezTo>
                    <a:cubicBezTo>
                      <a:pt x="3917" y="1742"/>
                      <a:pt x="3940" y="1751"/>
                      <a:pt x="3964" y="1760"/>
                    </a:cubicBezTo>
                    <a:cubicBezTo>
                      <a:pt x="3964" y="1760"/>
                      <a:pt x="3964" y="1760"/>
                      <a:pt x="3964" y="1760"/>
                    </a:cubicBezTo>
                    <a:cubicBezTo>
                      <a:pt x="3966" y="1760"/>
                      <a:pt x="3971" y="1752"/>
                      <a:pt x="3975" y="1744"/>
                    </a:cubicBezTo>
                    <a:cubicBezTo>
                      <a:pt x="4042" y="1410"/>
                      <a:pt x="4042" y="1410"/>
                      <a:pt x="4042" y="1410"/>
                    </a:cubicBezTo>
                    <a:cubicBezTo>
                      <a:pt x="4043" y="1407"/>
                      <a:pt x="4043" y="1407"/>
                      <a:pt x="4043" y="1407"/>
                    </a:cubicBezTo>
                    <a:cubicBezTo>
                      <a:pt x="4043" y="1407"/>
                      <a:pt x="4071" y="1355"/>
                      <a:pt x="4112" y="1286"/>
                    </a:cubicBezTo>
                    <a:cubicBezTo>
                      <a:pt x="4132" y="1255"/>
                      <a:pt x="4150" y="1204"/>
                      <a:pt x="4164" y="1161"/>
                    </a:cubicBezTo>
                    <a:cubicBezTo>
                      <a:pt x="4177" y="1119"/>
                      <a:pt x="4186" y="1085"/>
                      <a:pt x="4186" y="1085"/>
                    </a:cubicBezTo>
                    <a:cubicBezTo>
                      <a:pt x="4186" y="1083"/>
                      <a:pt x="4186" y="1083"/>
                      <a:pt x="4186" y="1083"/>
                    </a:cubicBezTo>
                    <a:cubicBezTo>
                      <a:pt x="4425" y="619"/>
                      <a:pt x="4425" y="619"/>
                      <a:pt x="4425" y="619"/>
                    </a:cubicBezTo>
                    <a:cubicBezTo>
                      <a:pt x="4402" y="53"/>
                      <a:pt x="4402" y="53"/>
                      <a:pt x="4402" y="53"/>
                    </a:cubicBezTo>
                    <a:cubicBezTo>
                      <a:pt x="4355" y="0"/>
                      <a:pt x="4355" y="0"/>
                      <a:pt x="4355" y="0"/>
                    </a:cubicBezTo>
                    <a:cubicBezTo>
                      <a:pt x="4403" y="0"/>
                      <a:pt x="4403" y="0"/>
                      <a:pt x="4403" y="0"/>
                    </a:cubicBezTo>
                    <a:cubicBezTo>
                      <a:pt x="4427" y="28"/>
                      <a:pt x="4427" y="28"/>
                      <a:pt x="4427" y="28"/>
                    </a:cubicBezTo>
                    <a:cubicBezTo>
                      <a:pt x="4556" y="22"/>
                      <a:pt x="4664" y="12"/>
                      <a:pt x="4753" y="0"/>
                    </a:cubicBezTo>
                    <a:cubicBezTo>
                      <a:pt x="4959" y="0"/>
                      <a:pt x="4959" y="0"/>
                      <a:pt x="4959" y="0"/>
                    </a:cubicBezTo>
                    <a:cubicBezTo>
                      <a:pt x="4859" y="23"/>
                      <a:pt x="4687" y="52"/>
                      <a:pt x="4438" y="63"/>
                    </a:cubicBezTo>
                    <a:cubicBezTo>
                      <a:pt x="4461" y="606"/>
                      <a:pt x="4461" y="606"/>
                      <a:pt x="4461" y="606"/>
                    </a:cubicBezTo>
                    <a:cubicBezTo>
                      <a:pt x="4463" y="604"/>
                      <a:pt x="4463" y="604"/>
                      <a:pt x="4463" y="604"/>
                    </a:cubicBezTo>
                    <a:cubicBezTo>
                      <a:pt x="4463" y="604"/>
                      <a:pt x="4507" y="628"/>
                      <a:pt x="4588" y="663"/>
                    </a:cubicBezTo>
                    <a:cubicBezTo>
                      <a:pt x="4669" y="699"/>
                      <a:pt x="4786" y="745"/>
                      <a:pt x="4929" y="787"/>
                    </a:cubicBezTo>
                    <a:cubicBezTo>
                      <a:pt x="5093" y="836"/>
                      <a:pt x="5260" y="886"/>
                      <a:pt x="5395" y="921"/>
                    </a:cubicBezTo>
                    <a:cubicBezTo>
                      <a:pt x="5400" y="901"/>
                      <a:pt x="5413" y="857"/>
                      <a:pt x="5426" y="809"/>
                    </a:cubicBezTo>
                    <a:cubicBezTo>
                      <a:pt x="5443" y="742"/>
                      <a:pt x="5461" y="666"/>
                      <a:pt x="5462" y="636"/>
                    </a:cubicBezTo>
                    <a:cubicBezTo>
                      <a:pt x="5466" y="565"/>
                      <a:pt x="5481" y="539"/>
                      <a:pt x="5501" y="486"/>
                    </a:cubicBezTo>
                    <a:cubicBezTo>
                      <a:pt x="5507" y="473"/>
                      <a:pt x="5517" y="463"/>
                      <a:pt x="5531" y="450"/>
                    </a:cubicBezTo>
                    <a:cubicBezTo>
                      <a:pt x="5580" y="406"/>
                      <a:pt x="5682" y="338"/>
                      <a:pt x="5775" y="280"/>
                    </a:cubicBezTo>
                    <a:cubicBezTo>
                      <a:pt x="5821" y="251"/>
                      <a:pt x="5865" y="225"/>
                      <a:pt x="5897" y="206"/>
                    </a:cubicBezTo>
                    <a:cubicBezTo>
                      <a:pt x="5911" y="198"/>
                      <a:pt x="5922" y="191"/>
                      <a:pt x="5943" y="180"/>
                    </a:cubicBezTo>
                    <a:cubicBezTo>
                      <a:pt x="5961" y="211"/>
                      <a:pt x="5961" y="211"/>
                      <a:pt x="5961" y="211"/>
                    </a:cubicBezTo>
                    <a:cubicBezTo>
                      <a:pt x="5912" y="238"/>
                      <a:pt x="5824" y="291"/>
                      <a:pt x="5740" y="345"/>
                    </a:cubicBezTo>
                    <a:cubicBezTo>
                      <a:pt x="5689" y="378"/>
                      <a:pt x="5638" y="412"/>
                      <a:pt x="5600" y="441"/>
                    </a:cubicBezTo>
                    <a:cubicBezTo>
                      <a:pt x="5581" y="455"/>
                      <a:pt x="5565" y="468"/>
                      <a:pt x="5553" y="479"/>
                    </a:cubicBezTo>
                    <a:cubicBezTo>
                      <a:pt x="5542" y="489"/>
                      <a:pt x="5535" y="498"/>
                      <a:pt x="5535" y="499"/>
                    </a:cubicBezTo>
                    <a:cubicBezTo>
                      <a:pt x="5514" y="556"/>
                      <a:pt x="5502" y="571"/>
                      <a:pt x="5498" y="637"/>
                    </a:cubicBezTo>
                    <a:cubicBezTo>
                      <a:pt x="5495" y="701"/>
                      <a:pt x="5444" y="880"/>
                      <a:pt x="5429" y="930"/>
                    </a:cubicBezTo>
                    <a:cubicBezTo>
                      <a:pt x="5516" y="952"/>
                      <a:pt x="5587" y="966"/>
                      <a:pt x="5632" y="969"/>
                    </a:cubicBezTo>
                    <a:cubicBezTo>
                      <a:pt x="5645" y="969"/>
                      <a:pt x="5656" y="970"/>
                      <a:pt x="5667" y="970"/>
                    </a:cubicBezTo>
                    <a:cubicBezTo>
                      <a:pt x="5765" y="969"/>
                      <a:pt x="5823" y="944"/>
                      <a:pt x="5925" y="888"/>
                    </a:cubicBezTo>
                    <a:cubicBezTo>
                      <a:pt x="6038" y="827"/>
                      <a:pt x="6267" y="693"/>
                      <a:pt x="6268" y="693"/>
                    </a:cubicBezTo>
                    <a:cubicBezTo>
                      <a:pt x="6268" y="693"/>
                      <a:pt x="6268" y="693"/>
                      <a:pt x="6268" y="693"/>
                    </a:cubicBezTo>
                    <a:cubicBezTo>
                      <a:pt x="6269" y="693"/>
                      <a:pt x="6269" y="693"/>
                      <a:pt x="6269" y="693"/>
                    </a:cubicBezTo>
                    <a:cubicBezTo>
                      <a:pt x="6270" y="692"/>
                      <a:pt x="6320" y="667"/>
                      <a:pt x="6388" y="666"/>
                    </a:cubicBezTo>
                    <a:cubicBezTo>
                      <a:pt x="6458" y="666"/>
                      <a:pt x="6548" y="696"/>
                      <a:pt x="6612" y="805"/>
                    </a:cubicBezTo>
                    <a:cubicBezTo>
                      <a:pt x="6890" y="1307"/>
                      <a:pt x="6890" y="1307"/>
                      <a:pt x="6890" y="1307"/>
                    </a:cubicBezTo>
                    <a:cubicBezTo>
                      <a:pt x="6890" y="1308"/>
                      <a:pt x="6897" y="1321"/>
                      <a:pt x="6912" y="1342"/>
                    </a:cubicBezTo>
                    <a:cubicBezTo>
                      <a:pt x="6926" y="1363"/>
                      <a:pt x="6947" y="1391"/>
                      <a:pt x="6973" y="1417"/>
                    </a:cubicBezTo>
                    <a:cubicBezTo>
                      <a:pt x="6995" y="1439"/>
                      <a:pt x="7027" y="1458"/>
                      <a:pt x="7057" y="1480"/>
                    </a:cubicBezTo>
                    <a:cubicBezTo>
                      <a:pt x="7059" y="1467"/>
                      <a:pt x="7062" y="1451"/>
                      <a:pt x="7066" y="1434"/>
                    </a:cubicBezTo>
                    <a:cubicBezTo>
                      <a:pt x="7072" y="1402"/>
                      <a:pt x="7078" y="1365"/>
                      <a:pt x="7080" y="1351"/>
                    </a:cubicBezTo>
                    <a:cubicBezTo>
                      <a:pt x="7076" y="1344"/>
                      <a:pt x="7077" y="1342"/>
                      <a:pt x="7077" y="1338"/>
                    </a:cubicBezTo>
                    <a:cubicBezTo>
                      <a:pt x="7077" y="1326"/>
                      <a:pt x="7080" y="1310"/>
                      <a:pt x="7088" y="1294"/>
                    </a:cubicBezTo>
                    <a:cubicBezTo>
                      <a:pt x="7097" y="1278"/>
                      <a:pt x="7112" y="1261"/>
                      <a:pt x="7135" y="1257"/>
                    </a:cubicBezTo>
                    <a:cubicBezTo>
                      <a:pt x="7176" y="1251"/>
                      <a:pt x="7370" y="1216"/>
                      <a:pt x="7423" y="1193"/>
                    </a:cubicBezTo>
                    <a:cubicBezTo>
                      <a:pt x="7480" y="1170"/>
                      <a:pt x="7657" y="1132"/>
                      <a:pt x="7752" y="1122"/>
                    </a:cubicBezTo>
                    <a:cubicBezTo>
                      <a:pt x="7762" y="589"/>
                      <a:pt x="7762" y="589"/>
                      <a:pt x="7762" y="589"/>
                    </a:cubicBezTo>
                    <a:cubicBezTo>
                      <a:pt x="7598" y="267"/>
                      <a:pt x="7598" y="267"/>
                      <a:pt x="7598" y="267"/>
                    </a:cubicBezTo>
                    <a:cubicBezTo>
                      <a:pt x="7592" y="257"/>
                      <a:pt x="7521" y="139"/>
                      <a:pt x="7451" y="21"/>
                    </a:cubicBezTo>
                    <a:cubicBezTo>
                      <a:pt x="7447" y="14"/>
                      <a:pt x="7443" y="7"/>
                      <a:pt x="7439" y="0"/>
                    </a:cubicBezTo>
                    <a:cubicBezTo>
                      <a:pt x="7481" y="0"/>
                      <a:pt x="7481" y="0"/>
                      <a:pt x="7481" y="0"/>
                    </a:cubicBezTo>
                    <a:cubicBezTo>
                      <a:pt x="7555" y="125"/>
                      <a:pt x="7629" y="249"/>
                      <a:pt x="7630" y="250"/>
                    </a:cubicBezTo>
                    <a:cubicBezTo>
                      <a:pt x="7630" y="250"/>
                      <a:pt x="7630" y="250"/>
                      <a:pt x="7630" y="250"/>
                    </a:cubicBezTo>
                    <a:cubicBezTo>
                      <a:pt x="7798" y="581"/>
                      <a:pt x="7798" y="581"/>
                      <a:pt x="7798" y="581"/>
                    </a:cubicBezTo>
                    <a:cubicBezTo>
                      <a:pt x="7788" y="1120"/>
                      <a:pt x="7788" y="1120"/>
                      <a:pt x="7788" y="1120"/>
                    </a:cubicBezTo>
                    <a:cubicBezTo>
                      <a:pt x="7792" y="1120"/>
                      <a:pt x="7795" y="1119"/>
                      <a:pt x="7800" y="1119"/>
                    </a:cubicBezTo>
                    <a:cubicBezTo>
                      <a:pt x="7913" y="1119"/>
                      <a:pt x="8275" y="1141"/>
                      <a:pt x="8457" y="1147"/>
                    </a:cubicBezTo>
                    <a:cubicBezTo>
                      <a:pt x="8481" y="1148"/>
                      <a:pt x="8514" y="1148"/>
                      <a:pt x="8552" y="1148"/>
                    </a:cubicBezTo>
                    <a:cubicBezTo>
                      <a:pt x="8797" y="1148"/>
                      <a:pt x="9272" y="1133"/>
                      <a:pt x="9352" y="1133"/>
                    </a:cubicBezTo>
                    <a:cubicBezTo>
                      <a:pt x="9355" y="1133"/>
                      <a:pt x="9358" y="1133"/>
                      <a:pt x="9360" y="1133"/>
                    </a:cubicBezTo>
                    <a:cubicBezTo>
                      <a:pt x="9360" y="1133"/>
                      <a:pt x="9360" y="1133"/>
                      <a:pt x="9360" y="1133"/>
                    </a:cubicBezTo>
                    <a:cubicBezTo>
                      <a:pt x="9368" y="1129"/>
                      <a:pt x="9392" y="1113"/>
                      <a:pt x="9420" y="1094"/>
                    </a:cubicBezTo>
                    <a:cubicBezTo>
                      <a:pt x="9469" y="1060"/>
                      <a:pt x="9536" y="1013"/>
                      <a:pt x="9592" y="973"/>
                    </a:cubicBezTo>
                    <a:cubicBezTo>
                      <a:pt x="9620" y="954"/>
                      <a:pt x="9645" y="936"/>
                      <a:pt x="9663" y="923"/>
                    </a:cubicBezTo>
                    <a:cubicBezTo>
                      <a:pt x="9673" y="917"/>
                      <a:pt x="9681" y="912"/>
                      <a:pt x="9686" y="908"/>
                    </a:cubicBezTo>
                    <a:cubicBezTo>
                      <a:pt x="9689" y="906"/>
                      <a:pt x="9692" y="905"/>
                      <a:pt x="9694" y="904"/>
                    </a:cubicBezTo>
                    <a:cubicBezTo>
                      <a:pt x="9697" y="903"/>
                      <a:pt x="9696" y="901"/>
                      <a:pt x="9706" y="900"/>
                    </a:cubicBezTo>
                    <a:cubicBezTo>
                      <a:pt x="9809" y="900"/>
                      <a:pt x="9809" y="900"/>
                      <a:pt x="9809" y="900"/>
                    </a:cubicBezTo>
                    <a:cubicBezTo>
                      <a:pt x="9808" y="826"/>
                      <a:pt x="9796" y="526"/>
                      <a:pt x="9784" y="241"/>
                    </a:cubicBezTo>
                    <a:cubicBezTo>
                      <a:pt x="9781" y="157"/>
                      <a:pt x="9777" y="75"/>
                      <a:pt x="9774" y="0"/>
                    </a:cubicBezTo>
                    <a:cubicBezTo>
                      <a:pt x="9810" y="0"/>
                      <a:pt x="9810" y="0"/>
                      <a:pt x="9810" y="0"/>
                    </a:cubicBezTo>
                    <a:cubicBezTo>
                      <a:pt x="9824" y="330"/>
                      <a:pt x="9844" y="803"/>
                      <a:pt x="9845" y="900"/>
                    </a:cubicBezTo>
                    <a:cubicBezTo>
                      <a:pt x="10595" y="900"/>
                      <a:pt x="10595" y="900"/>
                      <a:pt x="10595" y="900"/>
                    </a:cubicBezTo>
                    <a:cubicBezTo>
                      <a:pt x="10597" y="900"/>
                      <a:pt x="10742" y="900"/>
                      <a:pt x="10855" y="1008"/>
                    </a:cubicBezTo>
                    <a:cubicBezTo>
                      <a:pt x="10907" y="1059"/>
                      <a:pt x="11028" y="1165"/>
                      <a:pt x="11136" y="1257"/>
                    </a:cubicBezTo>
                    <a:cubicBezTo>
                      <a:pt x="11210" y="1321"/>
                      <a:pt x="11277" y="1378"/>
                      <a:pt x="11312" y="1408"/>
                    </a:cubicBezTo>
                    <a:cubicBezTo>
                      <a:pt x="11340" y="1421"/>
                      <a:pt x="11340" y="1421"/>
                      <a:pt x="11340" y="1421"/>
                    </a:cubicBezTo>
                    <a:cubicBezTo>
                      <a:pt x="11377" y="1385"/>
                      <a:pt x="11411" y="1352"/>
                      <a:pt x="11442" y="1323"/>
                    </a:cubicBezTo>
                    <a:cubicBezTo>
                      <a:pt x="11488" y="1278"/>
                      <a:pt x="11526" y="1241"/>
                      <a:pt x="11552" y="1215"/>
                    </a:cubicBezTo>
                    <a:cubicBezTo>
                      <a:pt x="11565" y="1202"/>
                      <a:pt x="11576" y="1192"/>
                      <a:pt x="11583" y="1185"/>
                    </a:cubicBezTo>
                    <a:cubicBezTo>
                      <a:pt x="11585" y="1183"/>
                      <a:pt x="11586" y="1182"/>
                      <a:pt x="11588" y="1180"/>
                    </a:cubicBezTo>
                    <a:cubicBezTo>
                      <a:pt x="11591" y="1176"/>
                      <a:pt x="11591" y="1176"/>
                      <a:pt x="11593" y="1173"/>
                    </a:cubicBezTo>
                    <a:cubicBezTo>
                      <a:pt x="11608" y="1157"/>
                      <a:pt x="11648" y="1116"/>
                      <a:pt x="11692" y="1070"/>
                    </a:cubicBezTo>
                    <a:cubicBezTo>
                      <a:pt x="11715" y="1046"/>
                      <a:pt x="11739" y="1020"/>
                      <a:pt x="11758" y="998"/>
                    </a:cubicBezTo>
                    <a:cubicBezTo>
                      <a:pt x="11755" y="987"/>
                      <a:pt x="11755" y="987"/>
                      <a:pt x="11755" y="987"/>
                    </a:cubicBezTo>
                    <a:cubicBezTo>
                      <a:pt x="11718" y="927"/>
                      <a:pt x="11579" y="680"/>
                      <a:pt x="11576" y="252"/>
                    </a:cubicBezTo>
                    <a:cubicBezTo>
                      <a:pt x="11575" y="162"/>
                      <a:pt x="11574" y="77"/>
                      <a:pt x="11572" y="0"/>
                    </a:cubicBezTo>
                    <a:cubicBezTo>
                      <a:pt x="11608" y="0"/>
                      <a:pt x="11608" y="0"/>
                      <a:pt x="11608" y="0"/>
                    </a:cubicBezTo>
                    <a:cubicBezTo>
                      <a:pt x="11610" y="77"/>
                      <a:pt x="11611" y="162"/>
                      <a:pt x="11612" y="252"/>
                    </a:cubicBezTo>
                    <a:cubicBezTo>
                      <a:pt x="11614" y="493"/>
                      <a:pt x="11660" y="676"/>
                      <a:pt x="11705" y="798"/>
                    </a:cubicBezTo>
                    <a:cubicBezTo>
                      <a:pt x="11727" y="859"/>
                      <a:pt x="11750" y="904"/>
                      <a:pt x="11767" y="935"/>
                    </a:cubicBezTo>
                    <a:cubicBezTo>
                      <a:pt x="11769" y="939"/>
                      <a:pt x="11771" y="943"/>
                      <a:pt x="11774" y="947"/>
                    </a:cubicBezTo>
                    <a:cubicBezTo>
                      <a:pt x="11790" y="959"/>
                      <a:pt x="11790" y="959"/>
                      <a:pt x="11790" y="959"/>
                    </a:cubicBezTo>
                    <a:cubicBezTo>
                      <a:pt x="11790" y="959"/>
                      <a:pt x="11790" y="959"/>
                      <a:pt x="11790" y="959"/>
                    </a:cubicBezTo>
                    <a:cubicBezTo>
                      <a:pt x="11812" y="927"/>
                      <a:pt x="11851" y="881"/>
                      <a:pt x="11899" y="835"/>
                    </a:cubicBezTo>
                    <a:cubicBezTo>
                      <a:pt x="11947" y="788"/>
                      <a:pt x="12003" y="743"/>
                      <a:pt x="12062" y="716"/>
                    </a:cubicBezTo>
                    <a:cubicBezTo>
                      <a:pt x="12175" y="665"/>
                      <a:pt x="12293" y="664"/>
                      <a:pt x="12415" y="659"/>
                    </a:cubicBezTo>
                    <a:cubicBezTo>
                      <a:pt x="12480" y="656"/>
                      <a:pt x="12919" y="655"/>
                      <a:pt x="13363" y="652"/>
                    </a:cubicBezTo>
                    <a:cubicBezTo>
                      <a:pt x="13584" y="651"/>
                      <a:pt x="13805" y="650"/>
                      <a:pt x="13979" y="648"/>
                    </a:cubicBezTo>
                    <a:cubicBezTo>
                      <a:pt x="13987" y="648"/>
                      <a:pt x="13995" y="648"/>
                      <a:pt x="14002" y="648"/>
                    </a:cubicBezTo>
                    <a:cubicBezTo>
                      <a:pt x="14005" y="642"/>
                      <a:pt x="14005" y="642"/>
                      <a:pt x="14005" y="642"/>
                    </a:cubicBezTo>
                    <a:cubicBezTo>
                      <a:pt x="14010" y="630"/>
                      <a:pt x="14022" y="598"/>
                      <a:pt x="14036" y="558"/>
                    </a:cubicBezTo>
                    <a:cubicBezTo>
                      <a:pt x="14081" y="430"/>
                      <a:pt x="14152" y="211"/>
                      <a:pt x="14169" y="161"/>
                    </a:cubicBezTo>
                    <a:cubicBezTo>
                      <a:pt x="14013" y="0"/>
                      <a:pt x="14013" y="0"/>
                      <a:pt x="14013" y="0"/>
                    </a:cubicBezTo>
                    <a:cubicBezTo>
                      <a:pt x="14033" y="0"/>
                      <a:pt x="14033" y="0"/>
                      <a:pt x="14033" y="0"/>
                    </a:cubicBezTo>
                    <a:cubicBezTo>
                      <a:pt x="14063" y="0"/>
                      <a:pt x="14063" y="0"/>
                      <a:pt x="14063" y="0"/>
                    </a:cubicBezTo>
                    <a:cubicBezTo>
                      <a:pt x="14070" y="0"/>
                      <a:pt x="14070" y="0"/>
                      <a:pt x="14070" y="0"/>
                    </a:cubicBezTo>
                    <a:cubicBezTo>
                      <a:pt x="14214" y="145"/>
                      <a:pt x="14214" y="145"/>
                      <a:pt x="14214" y="145"/>
                    </a:cubicBezTo>
                    <a:cubicBezTo>
                      <a:pt x="14212" y="153"/>
                      <a:pt x="14212" y="153"/>
                      <a:pt x="14212" y="153"/>
                    </a:cubicBezTo>
                    <a:cubicBezTo>
                      <a:pt x="14212" y="153"/>
                      <a:pt x="14172" y="281"/>
                      <a:pt x="14131" y="409"/>
                    </a:cubicBezTo>
                    <a:cubicBezTo>
                      <a:pt x="14110" y="474"/>
                      <a:pt x="14089" y="538"/>
                      <a:pt x="14072" y="586"/>
                    </a:cubicBezTo>
                    <a:cubicBezTo>
                      <a:pt x="14064" y="607"/>
                      <a:pt x="14058" y="625"/>
                      <a:pt x="14052" y="638"/>
                    </a:cubicBezTo>
                    <a:cubicBezTo>
                      <a:pt x="14053" y="647"/>
                      <a:pt x="14053" y="647"/>
                      <a:pt x="14053" y="647"/>
                    </a:cubicBezTo>
                    <a:cubicBezTo>
                      <a:pt x="14188" y="646"/>
                      <a:pt x="14285" y="644"/>
                      <a:pt x="14308" y="642"/>
                    </a:cubicBezTo>
                    <a:cubicBezTo>
                      <a:pt x="14371" y="637"/>
                      <a:pt x="14453" y="630"/>
                      <a:pt x="14527" y="616"/>
                    </a:cubicBezTo>
                    <a:cubicBezTo>
                      <a:pt x="14601" y="603"/>
                      <a:pt x="14667" y="578"/>
                      <a:pt x="14694" y="553"/>
                    </a:cubicBezTo>
                    <a:cubicBezTo>
                      <a:pt x="14768" y="488"/>
                      <a:pt x="14827" y="374"/>
                      <a:pt x="14839" y="346"/>
                    </a:cubicBezTo>
                    <a:cubicBezTo>
                      <a:pt x="14844" y="335"/>
                      <a:pt x="14912" y="189"/>
                      <a:pt x="14999" y="0"/>
                    </a:cubicBezTo>
                    <a:cubicBezTo>
                      <a:pt x="15126" y="0"/>
                      <a:pt x="15126" y="0"/>
                      <a:pt x="15126" y="0"/>
                    </a:cubicBezTo>
                    <a:cubicBezTo>
                      <a:pt x="15028" y="212"/>
                      <a:pt x="14949" y="383"/>
                      <a:pt x="14944" y="394"/>
                    </a:cubicBezTo>
                    <a:cubicBezTo>
                      <a:pt x="14927" y="430"/>
                      <a:pt x="14867" y="552"/>
                      <a:pt x="14770" y="639"/>
                    </a:cubicBezTo>
                    <a:cubicBezTo>
                      <a:pt x="14711" y="690"/>
                      <a:pt x="14631" y="712"/>
                      <a:pt x="14549" y="729"/>
                    </a:cubicBezTo>
                    <a:cubicBezTo>
                      <a:pt x="14466" y="745"/>
                      <a:pt x="14381" y="751"/>
                      <a:pt x="14317" y="756"/>
                    </a:cubicBezTo>
                    <a:cubicBezTo>
                      <a:pt x="14279" y="759"/>
                      <a:pt x="14155" y="761"/>
                      <a:pt x="13980" y="763"/>
                    </a:cubicBezTo>
                    <a:cubicBezTo>
                      <a:pt x="13665" y="766"/>
                      <a:pt x="13194" y="768"/>
                      <a:pt x="12851" y="770"/>
                    </a:cubicBezTo>
                    <a:cubicBezTo>
                      <a:pt x="12850" y="784"/>
                      <a:pt x="12850" y="784"/>
                      <a:pt x="12850" y="784"/>
                    </a:cubicBezTo>
                    <a:cubicBezTo>
                      <a:pt x="12852" y="799"/>
                      <a:pt x="12856" y="818"/>
                      <a:pt x="12861" y="842"/>
                    </a:cubicBezTo>
                    <a:cubicBezTo>
                      <a:pt x="12863" y="854"/>
                      <a:pt x="12866" y="867"/>
                      <a:pt x="12870" y="880"/>
                    </a:cubicBezTo>
                    <a:cubicBezTo>
                      <a:pt x="12977" y="876"/>
                      <a:pt x="13092" y="875"/>
                      <a:pt x="13214" y="875"/>
                    </a:cubicBezTo>
                    <a:cubicBezTo>
                      <a:pt x="13437" y="875"/>
                      <a:pt x="13681" y="879"/>
                      <a:pt x="13927" y="879"/>
                    </a:cubicBezTo>
                    <a:cubicBezTo>
                      <a:pt x="13949" y="879"/>
                      <a:pt x="13972" y="879"/>
                      <a:pt x="13995" y="879"/>
                    </a:cubicBezTo>
                    <a:cubicBezTo>
                      <a:pt x="14324" y="878"/>
                      <a:pt x="14532" y="856"/>
                      <a:pt x="14674" y="823"/>
                    </a:cubicBezTo>
                    <a:cubicBezTo>
                      <a:pt x="14817" y="789"/>
                      <a:pt x="14894" y="746"/>
                      <a:pt x="14976" y="693"/>
                    </a:cubicBezTo>
                    <a:cubicBezTo>
                      <a:pt x="14976" y="693"/>
                      <a:pt x="14979" y="691"/>
                      <a:pt x="14983" y="687"/>
                    </a:cubicBezTo>
                    <a:cubicBezTo>
                      <a:pt x="15000" y="671"/>
                      <a:pt x="15032" y="627"/>
                      <a:pt x="15069" y="569"/>
                    </a:cubicBezTo>
                    <a:cubicBezTo>
                      <a:pt x="15153" y="437"/>
                      <a:pt x="15265" y="225"/>
                      <a:pt x="15380" y="0"/>
                    </a:cubicBezTo>
                    <a:cubicBezTo>
                      <a:pt x="15536" y="0"/>
                      <a:pt x="15536" y="0"/>
                      <a:pt x="15536" y="0"/>
                    </a:cubicBezTo>
                    <a:cubicBezTo>
                      <a:pt x="15452" y="168"/>
                      <a:pt x="15367" y="331"/>
                      <a:pt x="15291" y="466"/>
                    </a:cubicBezTo>
                    <a:cubicBezTo>
                      <a:pt x="15243" y="552"/>
                      <a:pt x="15199" y="626"/>
                      <a:pt x="15161" y="683"/>
                    </a:cubicBezTo>
                    <a:cubicBezTo>
                      <a:pt x="15142" y="712"/>
                      <a:pt x="15124" y="737"/>
                      <a:pt x="15107" y="758"/>
                    </a:cubicBezTo>
                    <a:cubicBezTo>
                      <a:pt x="15089" y="779"/>
                      <a:pt x="15074" y="795"/>
                      <a:pt x="15052" y="810"/>
                    </a:cubicBezTo>
                    <a:cubicBezTo>
                      <a:pt x="14965" y="867"/>
                      <a:pt x="14864" y="922"/>
                      <a:pt x="14706" y="959"/>
                    </a:cubicBezTo>
                    <a:cubicBezTo>
                      <a:pt x="14548" y="995"/>
                      <a:pt x="14331" y="1017"/>
                      <a:pt x="13995" y="1018"/>
                    </a:cubicBezTo>
                    <a:cubicBezTo>
                      <a:pt x="13972" y="1018"/>
                      <a:pt x="13950" y="1018"/>
                      <a:pt x="13927" y="1018"/>
                    </a:cubicBezTo>
                    <a:cubicBezTo>
                      <a:pt x="13679" y="1018"/>
                      <a:pt x="13435" y="1014"/>
                      <a:pt x="13214" y="1014"/>
                    </a:cubicBezTo>
                    <a:cubicBezTo>
                      <a:pt x="13264" y="1016"/>
                      <a:pt x="13264" y="1016"/>
                      <a:pt x="13264" y="1016"/>
                    </a:cubicBezTo>
                    <a:cubicBezTo>
                      <a:pt x="13206" y="1016"/>
                      <a:pt x="13082" y="1044"/>
                      <a:pt x="12933" y="1075"/>
                    </a:cubicBezTo>
                    <a:cubicBezTo>
                      <a:pt x="12996" y="1240"/>
                      <a:pt x="13105" y="1548"/>
                      <a:pt x="13133" y="1656"/>
                    </a:cubicBezTo>
                    <a:cubicBezTo>
                      <a:pt x="13158" y="1753"/>
                      <a:pt x="13180" y="1888"/>
                      <a:pt x="13187" y="1929"/>
                    </a:cubicBezTo>
                    <a:cubicBezTo>
                      <a:pt x="13251" y="1902"/>
                      <a:pt x="13316" y="1901"/>
                      <a:pt x="13364" y="1899"/>
                    </a:cubicBezTo>
                    <a:cubicBezTo>
                      <a:pt x="13365" y="1899"/>
                      <a:pt x="13365" y="1899"/>
                      <a:pt x="13365" y="1899"/>
                    </a:cubicBezTo>
                    <a:cubicBezTo>
                      <a:pt x="13366" y="1899"/>
                      <a:pt x="13366" y="1899"/>
                      <a:pt x="13366" y="1899"/>
                    </a:cubicBezTo>
                    <a:cubicBezTo>
                      <a:pt x="13366" y="1899"/>
                      <a:pt x="13521" y="1902"/>
                      <a:pt x="13735" y="1906"/>
                    </a:cubicBezTo>
                    <a:cubicBezTo>
                      <a:pt x="13949" y="1909"/>
                      <a:pt x="14221" y="1913"/>
                      <a:pt x="14455" y="1913"/>
                    </a:cubicBezTo>
                    <a:cubicBezTo>
                      <a:pt x="14687" y="1913"/>
                      <a:pt x="14883" y="1909"/>
                      <a:pt x="14938" y="1899"/>
                    </a:cubicBezTo>
                    <a:cubicBezTo>
                      <a:pt x="15115" y="1868"/>
                      <a:pt x="15693" y="1824"/>
                      <a:pt x="16196" y="1690"/>
                    </a:cubicBezTo>
                    <a:cubicBezTo>
                      <a:pt x="16692" y="1559"/>
                      <a:pt x="17406" y="1025"/>
                      <a:pt x="17853" y="732"/>
                    </a:cubicBezTo>
                    <a:cubicBezTo>
                      <a:pt x="17846" y="722"/>
                      <a:pt x="17838" y="712"/>
                      <a:pt x="17831" y="703"/>
                    </a:cubicBezTo>
                    <a:cubicBezTo>
                      <a:pt x="17701" y="543"/>
                      <a:pt x="17483" y="300"/>
                      <a:pt x="17018" y="0"/>
                    </a:cubicBezTo>
                    <a:cubicBezTo>
                      <a:pt x="17084" y="0"/>
                      <a:pt x="17084" y="0"/>
                      <a:pt x="17084" y="0"/>
                    </a:cubicBezTo>
                    <a:cubicBezTo>
                      <a:pt x="17520" y="288"/>
                      <a:pt x="17732" y="524"/>
                      <a:pt x="17859" y="680"/>
                    </a:cubicBezTo>
                    <a:cubicBezTo>
                      <a:pt x="17867" y="690"/>
                      <a:pt x="17875" y="701"/>
                      <a:pt x="17883" y="711"/>
                    </a:cubicBezTo>
                    <a:cubicBezTo>
                      <a:pt x="17922" y="686"/>
                      <a:pt x="17962" y="658"/>
                      <a:pt x="18004" y="628"/>
                    </a:cubicBezTo>
                    <a:lnTo>
                      <a:pt x="18004" y="673"/>
                    </a:lnTo>
                    <a:close/>
                    <a:moveTo>
                      <a:pt x="12548" y="1153"/>
                    </a:moveTo>
                    <a:cubicBezTo>
                      <a:pt x="12374" y="1200"/>
                      <a:pt x="12262" y="1254"/>
                      <a:pt x="12234" y="1270"/>
                    </a:cubicBezTo>
                    <a:cubicBezTo>
                      <a:pt x="12164" y="1309"/>
                      <a:pt x="11798" y="1605"/>
                      <a:pt x="11618" y="1731"/>
                    </a:cubicBezTo>
                    <a:cubicBezTo>
                      <a:pt x="11571" y="1774"/>
                      <a:pt x="11524" y="1818"/>
                      <a:pt x="11478" y="1861"/>
                    </a:cubicBezTo>
                    <a:cubicBezTo>
                      <a:pt x="11333" y="1997"/>
                      <a:pt x="11196" y="2127"/>
                      <a:pt x="11085" y="2230"/>
                    </a:cubicBezTo>
                    <a:cubicBezTo>
                      <a:pt x="11029" y="2281"/>
                      <a:pt x="10980" y="2325"/>
                      <a:pt x="10940" y="2359"/>
                    </a:cubicBezTo>
                    <a:cubicBezTo>
                      <a:pt x="10899" y="2394"/>
                      <a:pt x="10869" y="2419"/>
                      <a:pt x="10842" y="2435"/>
                    </a:cubicBezTo>
                    <a:cubicBezTo>
                      <a:pt x="10822" y="2447"/>
                      <a:pt x="10801" y="2455"/>
                      <a:pt x="10769" y="2467"/>
                    </a:cubicBezTo>
                    <a:cubicBezTo>
                      <a:pt x="10722" y="2484"/>
                      <a:pt x="10657" y="2505"/>
                      <a:pt x="10577" y="2530"/>
                    </a:cubicBezTo>
                    <a:cubicBezTo>
                      <a:pt x="10609" y="2651"/>
                      <a:pt x="10650" y="2803"/>
                      <a:pt x="10689" y="2958"/>
                    </a:cubicBezTo>
                    <a:cubicBezTo>
                      <a:pt x="10690" y="2957"/>
                      <a:pt x="10690" y="2957"/>
                      <a:pt x="10691" y="2957"/>
                    </a:cubicBezTo>
                    <a:cubicBezTo>
                      <a:pt x="10693" y="2956"/>
                      <a:pt x="10693" y="2956"/>
                      <a:pt x="10693" y="2956"/>
                    </a:cubicBezTo>
                    <a:cubicBezTo>
                      <a:pt x="10693" y="2956"/>
                      <a:pt x="10693" y="2956"/>
                      <a:pt x="10693" y="2956"/>
                    </a:cubicBezTo>
                    <a:cubicBezTo>
                      <a:pt x="10699" y="2956"/>
                      <a:pt x="12283" y="2922"/>
                      <a:pt x="12284" y="2922"/>
                    </a:cubicBezTo>
                    <a:cubicBezTo>
                      <a:pt x="12283" y="2922"/>
                      <a:pt x="12286" y="2922"/>
                      <a:pt x="12291" y="2922"/>
                    </a:cubicBezTo>
                    <a:cubicBezTo>
                      <a:pt x="12310" y="2922"/>
                      <a:pt x="12360" y="2924"/>
                      <a:pt x="12415" y="2942"/>
                    </a:cubicBezTo>
                    <a:cubicBezTo>
                      <a:pt x="12427" y="2913"/>
                      <a:pt x="12469" y="2816"/>
                      <a:pt x="12487" y="2778"/>
                    </a:cubicBezTo>
                    <a:cubicBezTo>
                      <a:pt x="12495" y="2762"/>
                      <a:pt x="12522" y="2726"/>
                      <a:pt x="12561" y="2675"/>
                    </a:cubicBezTo>
                    <a:cubicBezTo>
                      <a:pt x="12675" y="2528"/>
                      <a:pt x="12882" y="2275"/>
                      <a:pt x="12894" y="2260"/>
                    </a:cubicBezTo>
                    <a:cubicBezTo>
                      <a:pt x="12902" y="2248"/>
                      <a:pt x="13007" y="2092"/>
                      <a:pt x="13087" y="2001"/>
                    </a:cubicBezTo>
                    <a:cubicBezTo>
                      <a:pt x="13108" y="1978"/>
                      <a:pt x="13130" y="1960"/>
                      <a:pt x="13153" y="1947"/>
                    </a:cubicBezTo>
                    <a:cubicBezTo>
                      <a:pt x="13151" y="1937"/>
                      <a:pt x="13126" y="1775"/>
                      <a:pt x="13098" y="1665"/>
                    </a:cubicBezTo>
                    <a:cubicBezTo>
                      <a:pt x="13071" y="1560"/>
                      <a:pt x="12960" y="1245"/>
                      <a:pt x="12898" y="1083"/>
                    </a:cubicBezTo>
                    <a:cubicBezTo>
                      <a:pt x="12896" y="1083"/>
                      <a:pt x="12895" y="1083"/>
                      <a:pt x="12894" y="1084"/>
                    </a:cubicBezTo>
                    <a:cubicBezTo>
                      <a:pt x="12781" y="1107"/>
                      <a:pt x="12652" y="1124"/>
                      <a:pt x="12548" y="1153"/>
                    </a:cubicBezTo>
                    <a:close/>
                    <a:moveTo>
                      <a:pt x="10024" y="5765"/>
                    </a:moveTo>
                    <a:cubicBezTo>
                      <a:pt x="10024" y="6024"/>
                      <a:pt x="10000" y="6340"/>
                      <a:pt x="9995" y="6473"/>
                    </a:cubicBezTo>
                    <a:cubicBezTo>
                      <a:pt x="9995" y="6484"/>
                      <a:pt x="9995" y="6494"/>
                      <a:pt x="9995" y="6504"/>
                    </a:cubicBezTo>
                    <a:cubicBezTo>
                      <a:pt x="9995" y="6585"/>
                      <a:pt x="10007" y="6639"/>
                      <a:pt x="10020" y="6673"/>
                    </a:cubicBezTo>
                    <a:cubicBezTo>
                      <a:pt x="10026" y="6689"/>
                      <a:pt x="10033" y="6701"/>
                      <a:pt x="10038" y="6708"/>
                    </a:cubicBezTo>
                    <a:cubicBezTo>
                      <a:pt x="10041" y="6712"/>
                      <a:pt x="10043" y="6714"/>
                      <a:pt x="10045" y="6716"/>
                    </a:cubicBezTo>
                    <a:cubicBezTo>
                      <a:pt x="10045" y="6716"/>
                      <a:pt x="10045" y="6716"/>
                      <a:pt x="10045" y="6716"/>
                    </a:cubicBezTo>
                    <a:cubicBezTo>
                      <a:pt x="10048" y="6717"/>
                      <a:pt x="10048" y="6718"/>
                      <a:pt x="10050" y="6718"/>
                    </a:cubicBezTo>
                    <a:cubicBezTo>
                      <a:pt x="10079" y="6733"/>
                      <a:pt x="10255" y="6836"/>
                      <a:pt x="10425" y="6937"/>
                    </a:cubicBezTo>
                    <a:cubicBezTo>
                      <a:pt x="10510" y="6988"/>
                      <a:pt x="10594" y="7038"/>
                      <a:pt x="10656" y="7075"/>
                    </a:cubicBezTo>
                    <a:cubicBezTo>
                      <a:pt x="10687" y="7094"/>
                      <a:pt x="10713" y="7110"/>
                      <a:pt x="10731" y="7121"/>
                    </a:cubicBezTo>
                    <a:cubicBezTo>
                      <a:pt x="10740" y="7127"/>
                      <a:pt x="10747" y="7131"/>
                      <a:pt x="10752" y="7135"/>
                    </a:cubicBezTo>
                    <a:cubicBezTo>
                      <a:pt x="10754" y="7136"/>
                      <a:pt x="10755" y="7137"/>
                      <a:pt x="10757" y="7138"/>
                    </a:cubicBezTo>
                    <a:cubicBezTo>
                      <a:pt x="10818" y="7143"/>
                      <a:pt x="11354" y="7182"/>
                      <a:pt x="11355" y="7182"/>
                    </a:cubicBezTo>
                    <a:cubicBezTo>
                      <a:pt x="11355" y="7182"/>
                      <a:pt x="11541" y="7192"/>
                      <a:pt x="11639" y="7192"/>
                    </a:cubicBezTo>
                    <a:cubicBezTo>
                      <a:pt x="11654" y="7192"/>
                      <a:pt x="11666" y="7192"/>
                      <a:pt x="11676" y="7191"/>
                    </a:cubicBezTo>
                    <a:cubicBezTo>
                      <a:pt x="11681" y="7191"/>
                      <a:pt x="11684" y="7191"/>
                      <a:pt x="11687" y="7190"/>
                    </a:cubicBezTo>
                    <a:cubicBezTo>
                      <a:pt x="11689" y="7190"/>
                      <a:pt x="11690" y="7190"/>
                      <a:pt x="11690" y="7190"/>
                    </a:cubicBezTo>
                    <a:cubicBezTo>
                      <a:pt x="11691" y="7190"/>
                      <a:pt x="11691" y="7190"/>
                      <a:pt x="11691" y="7190"/>
                    </a:cubicBezTo>
                    <a:cubicBezTo>
                      <a:pt x="11692" y="7189"/>
                      <a:pt x="11692" y="7189"/>
                      <a:pt x="11692" y="7189"/>
                    </a:cubicBezTo>
                    <a:cubicBezTo>
                      <a:pt x="11693" y="7189"/>
                      <a:pt x="11693" y="7189"/>
                      <a:pt x="11693" y="7189"/>
                    </a:cubicBezTo>
                    <a:cubicBezTo>
                      <a:pt x="11800" y="7168"/>
                      <a:pt x="11875" y="7049"/>
                      <a:pt x="11920" y="6932"/>
                    </a:cubicBezTo>
                    <a:cubicBezTo>
                      <a:pt x="11942" y="6873"/>
                      <a:pt x="11958" y="6816"/>
                      <a:pt x="11968" y="6773"/>
                    </a:cubicBezTo>
                    <a:cubicBezTo>
                      <a:pt x="11977" y="6730"/>
                      <a:pt x="11981" y="6703"/>
                      <a:pt x="11981" y="6703"/>
                    </a:cubicBezTo>
                    <a:cubicBezTo>
                      <a:pt x="12255" y="4824"/>
                      <a:pt x="12255" y="4824"/>
                      <a:pt x="12255" y="4824"/>
                    </a:cubicBezTo>
                    <a:cubicBezTo>
                      <a:pt x="12255" y="4813"/>
                      <a:pt x="12251" y="4755"/>
                      <a:pt x="12251" y="4729"/>
                    </a:cubicBezTo>
                    <a:cubicBezTo>
                      <a:pt x="12251" y="4725"/>
                      <a:pt x="12251" y="4722"/>
                      <a:pt x="12251" y="4720"/>
                    </a:cubicBezTo>
                    <a:cubicBezTo>
                      <a:pt x="12252" y="4719"/>
                      <a:pt x="12252" y="4718"/>
                      <a:pt x="12252" y="4717"/>
                    </a:cubicBezTo>
                    <a:cubicBezTo>
                      <a:pt x="12233" y="4611"/>
                      <a:pt x="12183" y="4561"/>
                      <a:pt x="12128" y="4534"/>
                    </a:cubicBezTo>
                    <a:cubicBezTo>
                      <a:pt x="12073" y="4507"/>
                      <a:pt x="12011" y="4506"/>
                      <a:pt x="11972" y="4506"/>
                    </a:cubicBezTo>
                    <a:cubicBezTo>
                      <a:pt x="11931" y="4506"/>
                      <a:pt x="11826" y="4519"/>
                      <a:pt x="11695" y="4519"/>
                    </a:cubicBezTo>
                    <a:cubicBezTo>
                      <a:pt x="11583" y="4519"/>
                      <a:pt x="11451" y="4510"/>
                      <a:pt x="11318" y="4475"/>
                    </a:cubicBezTo>
                    <a:cubicBezTo>
                      <a:pt x="11166" y="4433"/>
                      <a:pt x="11058" y="4274"/>
                      <a:pt x="10982" y="4119"/>
                    </a:cubicBezTo>
                    <a:cubicBezTo>
                      <a:pt x="10907" y="3963"/>
                      <a:pt x="10864" y="3808"/>
                      <a:pt x="10853" y="3773"/>
                    </a:cubicBezTo>
                    <a:cubicBezTo>
                      <a:pt x="10851" y="3769"/>
                      <a:pt x="10849" y="3761"/>
                      <a:pt x="10846" y="3750"/>
                    </a:cubicBezTo>
                    <a:cubicBezTo>
                      <a:pt x="8035" y="4561"/>
                      <a:pt x="8035" y="4561"/>
                      <a:pt x="8035" y="4561"/>
                    </a:cubicBezTo>
                    <a:cubicBezTo>
                      <a:pt x="8013" y="4576"/>
                      <a:pt x="8013" y="4576"/>
                      <a:pt x="8013" y="4576"/>
                    </a:cubicBezTo>
                    <a:cubicBezTo>
                      <a:pt x="8328" y="5115"/>
                      <a:pt x="8328" y="5115"/>
                      <a:pt x="8328" y="5115"/>
                    </a:cubicBezTo>
                    <a:cubicBezTo>
                      <a:pt x="8329" y="5116"/>
                      <a:pt x="8329" y="5116"/>
                      <a:pt x="8329" y="5116"/>
                    </a:cubicBezTo>
                    <a:cubicBezTo>
                      <a:pt x="8448" y="5345"/>
                      <a:pt x="8627" y="5802"/>
                      <a:pt x="8647" y="6141"/>
                    </a:cubicBezTo>
                    <a:cubicBezTo>
                      <a:pt x="8653" y="6248"/>
                      <a:pt x="8655" y="6386"/>
                      <a:pt x="8655" y="6528"/>
                    </a:cubicBezTo>
                    <a:cubicBezTo>
                      <a:pt x="8655" y="6822"/>
                      <a:pt x="8646" y="7133"/>
                      <a:pt x="8642" y="7219"/>
                    </a:cubicBezTo>
                    <a:cubicBezTo>
                      <a:pt x="8639" y="7271"/>
                      <a:pt x="8635" y="7327"/>
                      <a:pt x="8635" y="7383"/>
                    </a:cubicBezTo>
                    <a:cubicBezTo>
                      <a:pt x="8635" y="7466"/>
                      <a:pt x="8644" y="7547"/>
                      <a:pt x="8674" y="7614"/>
                    </a:cubicBezTo>
                    <a:cubicBezTo>
                      <a:pt x="8722" y="7727"/>
                      <a:pt x="8865" y="7858"/>
                      <a:pt x="9016" y="7923"/>
                    </a:cubicBezTo>
                    <a:cubicBezTo>
                      <a:pt x="9171" y="7990"/>
                      <a:pt x="9728" y="8242"/>
                      <a:pt x="10212" y="8407"/>
                    </a:cubicBezTo>
                    <a:cubicBezTo>
                      <a:pt x="10217" y="8402"/>
                      <a:pt x="10223" y="8393"/>
                      <a:pt x="10228" y="8386"/>
                    </a:cubicBezTo>
                    <a:cubicBezTo>
                      <a:pt x="10673" y="7128"/>
                      <a:pt x="10673" y="7128"/>
                      <a:pt x="10673" y="7128"/>
                    </a:cubicBezTo>
                    <a:cubicBezTo>
                      <a:pt x="10657" y="7118"/>
                      <a:pt x="10638" y="7107"/>
                      <a:pt x="10617" y="7094"/>
                    </a:cubicBezTo>
                    <a:cubicBezTo>
                      <a:pt x="10517" y="7034"/>
                      <a:pt x="10372" y="6948"/>
                      <a:pt x="10252" y="6877"/>
                    </a:cubicBezTo>
                    <a:cubicBezTo>
                      <a:pt x="10192" y="6841"/>
                      <a:pt x="10137" y="6810"/>
                      <a:pt x="10098" y="6787"/>
                    </a:cubicBezTo>
                    <a:cubicBezTo>
                      <a:pt x="10078" y="6775"/>
                      <a:pt x="10061" y="6766"/>
                      <a:pt x="10050" y="6759"/>
                    </a:cubicBezTo>
                    <a:cubicBezTo>
                      <a:pt x="10044" y="6756"/>
                      <a:pt x="10040" y="6754"/>
                      <a:pt x="10036" y="6752"/>
                    </a:cubicBezTo>
                    <a:cubicBezTo>
                      <a:pt x="10035" y="6751"/>
                      <a:pt x="10034" y="6750"/>
                      <a:pt x="10033" y="6750"/>
                    </a:cubicBezTo>
                    <a:cubicBezTo>
                      <a:pt x="10033" y="6750"/>
                      <a:pt x="10032" y="6750"/>
                      <a:pt x="10032" y="6750"/>
                    </a:cubicBezTo>
                    <a:cubicBezTo>
                      <a:pt x="10033" y="6750"/>
                      <a:pt x="10033" y="6750"/>
                      <a:pt x="10033" y="6750"/>
                    </a:cubicBezTo>
                    <a:cubicBezTo>
                      <a:pt x="10022" y="6746"/>
                      <a:pt x="10017" y="6739"/>
                      <a:pt x="10009" y="6730"/>
                    </a:cubicBezTo>
                    <a:cubicBezTo>
                      <a:pt x="9987" y="6699"/>
                      <a:pt x="9959" y="6630"/>
                      <a:pt x="9959" y="6504"/>
                    </a:cubicBezTo>
                    <a:cubicBezTo>
                      <a:pt x="9959" y="6494"/>
                      <a:pt x="9959" y="6483"/>
                      <a:pt x="9959" y="6472"/>
                    </a:cubicBezTo>
                    <a:cubicBezTo>
                      <a:pt x="9964" y="6337"/>
                      <a:pt x="9988" y="6022"/>
                      <a:pt x="9988" y="5765"/>
                    </a:cubicBezTo>
                    <a:cubicBezTo>
                      <a:pt x="9988" y="5660"/>
                      <a:pt x="9984" y="5565"/>
                      <a:pt x="9973" y="5497"/>
                    </a:cubicBezTo>
                    <a:cubicBezTo>
                      <a:pt x="9955" y="5379"/>
                      <a:pt x="9867" y="5029"/>
                      <a:pt x="9784" y="4711"/>
                    </a:cubicBezTo>
                    <a:cubicBezTo>
                      <a:pt x="9701" y="4393"/>
                      <a:pt x="9623" y="4105"/>
                      <a:pt x="9623" y="4105"/>
                    </a:cubicBezTo>
                    <a:cubicBezTo>
                      <a:pt x="9658" y="4095"/>
                      <a:pt x="9658" y="4095"/>
                      <a:pt x="9658" y="4095"/>
                    </a:cubicBezTo>
                    <a:cubicBezTo>
                      <a:pt x="9658" y="4096"/>
                      <a:pt x="9970" y="5248"/>
                      <a:pt x="10009" y="5491"/>
                    </a:cubicBezTo>
                    <a:cubicBezTo>
                      <a:pt x="10020" y="5563"/>
                      <a:pt x="10024" y="5659"/>
                      <a:pt x="10024" y="5765"/>
                    </a:cubicBezTo>
                    <a:close/>
                    <a:moveTo>
                      <a:pt x="5191" y="3367"/>
                    </a:moveTo>
                    <a:cubicBezTo>
                      <a:pt x="5028" y="3744"/>
                      <a:pt x="5028" y="3744"/>
                      <a:pt x="5028" y="3744"/>
                    </a:cubicBezTo>
                    <a:cubicBezTo>
                      <a:pt x="5154" y="3781"/>
                      <a:pt x="5279" y="3822"/>
                      <a:pt x="5386" y="3868"/>
                    </a:cubicBezTo>
                    <a:cubicBezTo>
                      <a:pt x="5575" y="3949"/>
                      <a:pt x="5684" y="4076"/>
                      <a:pt x="5949" y="4224"/>
                    </a:cubicBezTo>
                    <a:cubicBezTo>
                      <a:pt x="6131" y="4327"/>
                      <a:pt x="6160" y="4561"/>
                      <a:pt x="6161" y="4713"/>
                    </a:cubicBezTo>
                    <a:cubicBezTo>
                      <a:pt x="6161" y="4770"/>
                      <a:pt x="6156" y="4816"/>
                      <a:pt x="6153" y="4840"/>
                    </a:cubicBezTo>
                    <a:cubicBezTo>
                      <a:pt x="7775" y="4912"/>
                      <a:pt x="7775" y="4912"/>
                      <a:pt x="7775" y="4912"/>
                    </a:cubicBezTo>
                    <a:cubicBezTo>
                      <a:pt x="7659" y="4754"/>
                      <a:pt x="7523" y="4606"/>
                      <a:pt x="7396" y="4465"/>
                    </a:cubicBezTo>
                    <a:cubicBezTo>
                      <a:pt x="7290" y="4348"/>
                      <a:pt x="7191" y="4237"/>
                      <a:pt x="7116" y="4127"/>
                    </a:cubicBezTo>
                    <a:cubicBezTo>
                      <a:pt x="7042" y="4018"/>
                      <a:pt x="6990" y="3908"/>
                      <a:pt x="6989" y="3791"/>
                    </a:cubicBezTo>
                    <a:cubicBezTo>
                      <a:pt x="6989" y="3774"/>
                      <a:pt x="6990" y="3756"/>
                      <a:pt x="6993" y="3739"/>
                    </a:cubicBezTo>
                    <a:cubicBezTo>
                      <a:pt x="7009" y="3628"/>
                      <a:pt x="7059" y="3538"/>
                      <a:pt x="7123" y="3468"/>
                    </a:cubicBezTo>
                    <a:cubicBezTo>
                      <a:pt x="7189" y="3397"/>
                      <a:pt x="7268" y="3346"/>
                      <a:pt x="7347" y="3307"/>
                    </a:cubicBezTo>
                    <a:cubicBezTo>
                      <a:pt x="7331" y="3275"/>
                      <a:pt x="7312" y="3239"/>
                      <a:pt x="7291" y="3203"/>
                    </a:cubicBezTo>
                    <a:cubicBezTo>
                      <a:pt x="7258" y="3148"/>
                      <a:pt x="7219" y="3095"/>
                      <a:pt x="7188" y="3072"/>
                    </a:cubicBezTo>
                    <a:cubicBezTo>
                      <a:pt x="7093" y="2997"/>
                      <a:pt x="6968" y="2975"/>
                      <a:pt x="6857" y="2951"/>
                    </a:cubicBezTo>
                    <a:cubicBezTo>
                      <a:pt x="6747" y="2925"/>
                      <a:pt x="6184" y="2782"/>
                      <a:pt x="6006" y="2728"/>
                    </a:cubicBezTo>
                    <a:cubicBezTo>
                      <a:pt x="5859" y="2685"/>
                      <a:pt x="5456" y="2565"/>
                      <a:pt x="5331" y="2528"/>
                    </a:cubicBezTo>
                    <a:cubicBezTo>
                      <a:pt x="5323" y="2540"/>
                      <a:pt x="5323" y="2540"/>
                      <a:pt x="5323" y="2540"/>
                    </a:cubicBezTo>
                    <a:cubicBezTo>
                      <a:pt x="5287" y="2667"/>
                      <a:pt x="5193" y="2957"/>
                      <a:pt x="5183" y="2989"/>
                    </a:cubicBezTo>
                    <a:lnTo>
                      <a:pt x="5191" y="3367"/>
                    </a:lnTo>
                    <a:close/>
                    <a:moveTo>
                      <a:pt x="10695" y="2975"/>
                    </a:moveTo>
                    <a:cubicBezTo>
                      <a:pt x="10695" y="2982"/>
                      <a:pt x="10695" y="2982"/>
                      <a:pt x="10695" y="2982"/>
                    </a:cubicBezTo>
                    <a:cubicBezTo>
                      <a:pt x="10695" y="2983"/>
                      <a:pt x="10696" y="2984"/>
                      <a:pt x="10696" y="2985"/>
                    </a:cubicBezTo>
                    <a:cubicBezTo>
                      <a:pt x="10695" y="2974"/>
                      <a:pt x="10695" y="2974"/>
                      <a:pt x="10695" y="2974"/>
                    </a:cubicBezTo>
                    <a:cubicBezTo>
                      <a:pt x="10695" y="2980"/>
                      <a:pt x="10695" y="2980"/>
                      <a:pt x="10695" y="2980"/>
                    </a:cubicBezTo>
                    <a:cubicBezTo>
                      <a:pt x="10695" y="2980"/>
                      <a:pt x="10695" y="2981"/>
                      <a:pt x="10695" y="2981"/>
                    </a:cubicBezTo>
                    <a:cubicBezTo>
                      <a:pt x="10695" y="2980"/>
                      <a:pt x="10695" y="2980"/>
                      <a:pt x="10695" y="2980"/>
                    </a:cubicBezTo>
                    <a:lnTo>
                      <a:pt x="10695" y="2975"/>
                    </a:lnTo>
                    <a:close/>
                    <a:moveTo>
                      <a:pt x="10655" y="2972"/>
                    </a:moveTo>
                    <a:cubicBezTo>
                      <a:pt x="10616" y="2816"/>
                      <a:pt x="10575" y="2662"/>
                      <a:pt x="10542" y="2541"/>
                    </a:cubicBezTo>
                    <a:cubicBezTo>
                      <a:pt x="10423" y="2577"/>
                      <a:pt x="10275" y="2620"/>
                      <a:pt x="10109" y="2667"/>
                    </a:cubicBezTo>
                    <a:cubicBezTo>
                      <a:pt x="9658" y="2795"/>
                      <a:pt x="9077" y="2953"/>
                      <a:pt x="8601" y="3082"/>
                    </a:cubicBezTo>
                    <a:cubicBezTo>
                      <a:pt x="8363" y="3146"/>
                      <a:pt x="8151" y="3203"/>
                      <a:pt x="7995" y="3246"/>
                    </a:cubicBezTo>
                    <a:cubicBezTo>
                      <a:pt x="7917" y="3267"/>
                      <a:pt x="7853" y="3284"/>
                      <a:pt x="7807" y="3297"/>
                    </a:cubicBezTo>
                    <a:cubicBezTo>
                      <a:pt x="7784" y="3304"/>
                      <a:pt x="7766" y="3309"/>
                      <a:pt x="7752" y="3313"/>
                    </a:cubicBezTo>
                    <a:cubicBezTo>
                      <a:pt x="7746" y="3315"/>
                      <a:pt x="7740" y="3317"/>
                      <a:pt x="7737" y="3318"/>
                    </a:cubicBezTo>
                    <a:cubicBezTo>
                      <a:pt x="7735" y="3319"/>
                      <a:pt x="7733" y="3319"/>
                      <a:pt x="7733" y="3320"/>
                    </a:cubicBezTo>
                    <a:cubicBezTo>
                      <a:pt x="7733" y="3320"/>
                      <a:pt x="7733" y="3320"/>
                      <a:pt x="7733" y="3320"/>
                    </a:cubicBezTo>
                    <a:cubicBezTo>
                      <a:pt x="7715" y="3327"/>
                      <a:pt x="7698" y="3331"/>
                      <a:pt x="7675" y="3338"/>
                    </a:cubicBezTo>
                    <a:cubicBezTo>
                      <a:pt x="7632" y="3350"/>
                      <a:pt x="7572" y="3366"/>
                      <a:pt x="7508" y="3390"/>
                    </a:cubicBezTo>
                    <a:cubicBezTo>
                      <a:pt x="7914" y="4405"/>
                      <a:pt x="7914" y="4405"/>
                      <a:pt x="7914" y="4405"/>
                    </a:cubicBezTo>
                    <a:cubicBezTo>
                      <a:pt x="7987" y="4531"/>
                      <a:pt x="7987" y="4531"/>
                      <a:pt x="7987" y="4531"/>
                    </a:cubicBezTo>
                    <a:cubicBezTo>
                      <a:pt x="8013" y="4530"/>
                      <a:pt x="8013" y="4530"/>
                      <a:pt x="8013" y="4530"/>
                    </a:cubicBezTo>
                    <a:cubicBezTo>
                      <a:pt x="10837" y="3715"/>
                      <a:pt x="10837" y="3715"/>
                      <a:pt x="10837" y="3715"/>
                    </a:cubicBezTo>
                    <a:cubicBezTo>
                      <a:pt x="10805" y="3587"/>
                      <a:pt x="10732" y="3276"/>
                      <a:pt x="10655" y="2972"/>
                    </a:cubicBezTo>
                    <a:close/>
                    <a:moveTo>
                      <a:pt x="7811" y="4456"/>
                    </a:moveTo>
                    <a:cubicBezTo>
                      <a:pt x="7402" y="3435"/>
                      <a:pt x="7402" y="3435"/>
                      <a:pt x="7402" y="3435"/>
                    </a:cubicBezTo>
                    <a:cubicBezTo>
                      <a:pt x="7387" y="3443"/>
                      <a:pt x="7371" y="3451"/>
                      <a:pt x="7356" y="3460"/>
                    </a:cubicBezTo>
                    <a:cubicBezTo>
                      <a:pt x="7242" y="3527"/>
                      <a:pt x="7152" y="3619"/>
                      <a:pt x="7131" y="3760"/>
                    </a:cubicBezTo>
                    <a:cubicBezTo>
                      <a:pt x="7129" y="3770"/>
                      <a:pt x="7128" y="3781"/>
                      <a:pt x="7128" y="3791"/>
                    </a:cubicBezTo>
                    <a:cubicBezTo>
                      <a:pt x="7128" y="3863"/>
                      <a:pt x="7164" y="3950"/>
                      <a:pt x="7232" y="4049"/>
                    </a:cubicBezTo>
                    <a:cubicBezTo>
                      <a:pt x="7332" y="4197"/>
                      <a:pt x="7497" y="4366"/>
                      <a:pt x="7662" y="4553"/>
                    </a:cubicBezTo>
                    <a:cubicBezTo>
                      <a:pt x="7763" y="4667"/>
                      <a:pt x="7864" y="4789"/>
                      <a:pt x="7951" y="4920"/>
                    </a:cubicBezTo>
                    <a:cubicBezTo>
                      <a:pt x="8058" y="4924"/>
                      <a:pt x="8058" y="4924"/>
                      <a:pt x="8058" y="4924"/>
                    </a:cubicBezTo>
                    <a:cubicBezTo>
                      <a:pt x="8082" y="4922"/>
                      <a:pt x="8082" y="4922"/>
                      <a:pt x="8082" y="4922"/>
                    </a:cubicBezTo>
                    <a:lnTo>
                      <a:pt x="7811" y="4456"/>
                    </a:lnTo>
                    <a:close/>
                    <a:moveTo>
                      <a:pt x="10506" y="2406"/>
                    </a:moveTo>
                    <a:cubicBezTo>
                      <a:pt x="10497" y="2375"/>
                      <a:pt x="10490" y="2349"/>
                      <a:pt x="10485" y="2330"/>
                    </a:cubicBezTo>
                    <a:cubicBezTo>
                      <a:pt x="10476" y="2318"/>
                      <a:pt x="10476" y="2318"/>
                      <a:pt x="10476" y="2318"/>
                    </a:cubicBezTo>
                    <a:cubicBezTo>
                      <a:pt x="10425" y="2331"/>
                      <a:pt x="10334" y="2353"/>
                      <a:pt x="10220" y="2382"/>
                    </a:cubicBezTo>
                    <a:cubicBezTo>
                      <a:pt x="9948" y="2451"/>
                      <a:pt x="9540" y="2554"/>
                      <a:pt x="9200" y="2640"/>
                    </a:cubicBezTo>
                    <a:cubicBezTo>
                      <a:pt x="9030" y="2683"/>
                      <a:pt x="8877" y="2722"/>
                      <a:pt x="8766" y="2750"/>
                    </a:cubicBezTo>
                    <a:cubicBezTo>
                      <a:pt x="8711" y="2764"/>
                      <a:pt x="8666" y="2775"/>
                      <a:pt x="8635" y="2783"/>
                    </a:cubicBezTo>
                    <a:cubicBezTo>
                      <a:pt x="8620" y="2786"/>
                      <a:pt x="8608" y="2790"/>
                      <a:pt x="8600" y="2792"/>
                    </a:cubicBezTo>
                    <a:cubicBezTo>
                      <a:pt x="8595" y="2793"/>
                      <a:pt x="8592" y="2793"/>
                      <a:pt x="8590" y="2794"/>
                    </a:cubicBezTo>
                    <a:cubicBezTo>
                      <a:pt x="8590" y="2794"/>
                      <a:pt x="8589" y="2794"/>
                      <a:pt x="8589" y="2794"/>
                    </a:cubicBezTo>
                    <a:cubicBezTo>
                      <a:pt x="8582" y="2796"/>
                      <a:pt x="8582" y="2796"/>
                      <a:pt x="8582" y="2796"/>
                    </a:cubicBezTo>
                    <a:cubicBezTo>
                      <a:pt x="8582" y="2796"/>
                      <a:pt x="8582" y="2796"/>
                      <a:pt x="8582" y="2796"/>
                    </a:cubicBezTo>
                    <a:cubicBezTo>
                      <a:pt x="8529" y="2812"/>
                      <a:pt x="8236" y="2903"/>
                      <a:pt x="7947" y="2992"/>
                    </a:cubicBezTo>
                    <a:cubicBezTo>
                      <a:pt x="7723" y="3061"/>
                      <a:pt x="7502" y="3129"/>
                      <a:pt x="7399" y="3161"/>
                    </a:cubicBezTo>
                    <a:cubicBezTo>
                      <a:pt x="7407" y="3175"/>
                      <a:pt x="7415" y="3190"/>
                      <a:pt x="7423" y="3204"/>
                    </a:cubicBezTo>
                    <a:cubicBezTo>
                      <a:pt x="7434" y="3224"/>
                      <a:pt x="7444" y="3244"/>
                      <a:pt x="7452" y="3262"/>
                    </a:cubicBezTo>
                    <a:cubicBezTo>
                      <a:pt x="7454" y="3261"/>
                      <a:pt x="7455" y="3261"/>
                      <a:pt x="7456" y="3260"/>
                    </a:cubicBezTo>
                    <a:cubicBezTo>
                      <a:pt x="7511" y="3240"/>
                      <a:pt x="7561" y="3225"/>
                      <a:pt x="7601" y="3214"/>
                    </a:cubicBezTo>
                    <a:cubicBezTo>
                      <a:pt x="7641" y="3203"/>
                      <a:pt x="7673" y="3194"/>
                      <a:pt x="7679" y="3191"/>
                    </a:cubicBezTo>
                    <a:cubicBezTo>
                      <a:pt x="7687" y="3188"/>
                      <a:pt x="7692" y="3186"/>
                      <a:pt x="7701" y="3183"/>
                    </a:cubicBezTo>
                    <a:cubicBezTo>
                      <a:pt x="7765" y="3163"/>
                      <a:pt x="7977" y="3106"/>
                      <a:pt x="8265" y="3028"/>
                    </a:cubicBezTo>
                    <a:cubicBezTo>
                      <a:pt x="8697" y="2911"/>
                      <a:pt x="9296" y="2750"/>
                      <a:pt x="9804" y="2608"/>
                    </a:cubicBezTo>
                    <a:cubicBezTo>
                      <a:pt x="10057" y="2538"/>
                      <a:pt x="10287" y="2472"/>
                      <a:pt x="10462" y="2419"/>
                    </a:cubicBezTo>
                    <a:cubicBezTo>
                      <a:pt x="10477" y="2415"/>
                      <a:pt x="10491" y="2410"/>
                      <a:pt x="10506" y="2406"/>
                    </a:cubicBezTo>
                    <a:close/>
                    <a:moveTo>
                      <a:pt x="8518" y="2722"/>
                    </a:moveTo>
                    <a:cubicBezTo>
                      <a:pt x="8519" y="2718"/>
                      <a:pt x="8521" y="2714"/>
                      <a:pt x="8523" y="2710"/>
                    </a:cubicBezTo>
                    <a:cubicBezTo>
                      <a:pt x="8523" y="2711"/>
                      <a:pt x="8523" y="2711"/>
                      <a:pt x="8523" y="2712"/>
                    </a:cubicBezTo>
                    <a:cubicBezTo>
                      <a:pt x="8520" y="2716"/>
                      <a:pt x="8519" y="2720"/>
                      <a:pt x="8518" y="2722"/>
                    </a:cubicBezTo>
                    <a:close/>
                    <a:moveTo>
                      <a:pt x="8538" y="2676"/>
                    </a:moveTo>
                    <a:cubicBezTo>
                      <a:pt x="8536" y="2625"/>
                      <a:pt x="8531" y="2526"/>
                      <a:pt x="8527" y="2443"/>
                    </a:cubicBezTo>
                    <a:cubicBezTo>
                      <a:pt x="7274" y="2467"/>
                      <a:pt x="7274" y="2467"/>
                      <a:pt x="7274" y="2467"/>
                    </a:cubicBezTo>
                    <a:cubicBezTo>
                      <a:pt x="7273" y="2467"/>
                      <a:pt x="7273" y="2467"/>
                      <a:pt x="7273" y="2467"/>
                    </a:cubicBezTo>
                    <a:cubicBezTo>
                      <a:pt x="7272" y="2467"/>
                      <a:pt x="7174" y="2451"/>
                      <a:pt x="7063" y="2434"/>
                    </a:cubicBezTo>
                    <a:cubicBezTo>
                      <a:pt x="6952" y="2418"/>
                      <a:pt x="6827" y="2402"/>
                      <a:pt x="6778" y="2402"/>
                    </a:cubicBezTo>
                    <a:cubicBezTo>
                      <a:pt x="6678" y="2402"/>
                      <a:pt x="6614" y="2419"/>
                      <a:pt x="6574" y="2475"/>
                    </a:cubicBezTo>
                    <a:cubicBezTo>
                      <a:pt x="6502" y="2728"/>
                      <a:pt x="6502" y="2728"/>
                      <a:pt x="6502" y="2728"/>
                    </a:cubicBezTo>
                    <a:cubicBezTo>
                      <a:pt x="6502" y="2733"/>
                      <a:pt x="6502" y="2738"/>
                      <a:pt x="6502" y="2743"/>
                    </a:cubicBezTo>
                    <a:cubicBezTo>
                      <a:pt x="6672" y="2787"/>
                      <a:pt x="6832" y="2827"/>
                      <a:pt x="6883" y="2839"/>
                    </a:cubicBezTo>
                    <a:cubicBezTo>
                      <a:pt x="6987" y="2863"/>
                      <a:pt x="7133" y="2884"/>
                      <a:pt x="7259" y="2981"/>
                    </a:cubicBezTo>
                    <a:cubicBezTo>
                      <a:pt x="7286" y="3003"/>
                      <a:pt x="7311" y="3031"/>
                      <a:pt x="7334" y="3060"/>
                    </a:cubicBezTo>
                    <a:cubicBezTo>
                      <a:pt x="7418" y="3034"/>
                      <a:pt x="7674" y="2956"/>
                      <a:pt x="7930" y="2877"/>
                    </a:cubicBezTo>
                    <a:cubicBezTo>
                      <a:pt x="8086" y="2829"/>
                      <a:pt x="8243" y="2781"/>
                      <a:pt x="8360" y="2744"/>
                    </a:cubicBezTo>
                    <a:cubicBezTo>
                      <a:pt x="8419" y="2726"/>
                      <a:pt x="8468" y="2711"/>
                      <a:pt x="8502" y="2701"/>
                    </a:cubicBezTo>
                    <a:cubicBezTo>
                      <a:pt x="8516" y="2696"/>
                      <a:pt x="8527" y="2693"/>
                      <a:pt x="8536" y="2690"/>
                    </a:cubicBezTo>
                    <a:lnTo>
                      <a:pt x="8538" y="2676"/>
                    </a:lnTo>
                    <a:close/>
                    <a:moveTo>
                      <a:pt x="6148" y="4876"/>
                    </a:moveTo>
                    <a:cubicBezTo>
                      <a:pt x="5935" y="6157"/>
                      <a:pt x="5935" y="6157"/>
                      <a:pt x="5935" y="6157"/>
                    </a:cubicBezTo>
                    <a:cubicBezTo>
                      <a:pt x="7161" y="6303"/>
                      <a:pt x="7161" y="6303"/>
                      <a:pt x="7161" y="6303"/>
                    </a:cubicBezTo>
                    <a:cubicBezTo>
                      <a:pt x="7161" y="6303"/>
                      <a:pt x="7510" y="6342"/>
                      <a:pt x="7861" y="6381"/>
                    </a:cubicBezTo>
                    <a:cubicBezTo>
                      <a:pt x="7999" y="6397"/>
                      <a:pt x="8136" y="6412"/>
                      <a:pt x="8253" y="6426"/>
                    </a:cubicBezTo>
                    <a:cubicBezTo>
                      <a:pt x="8236" y="6084"/>
                      <a:pt x="8138" y="5618"/>
                      <a:pt x="7970" y="5239"/>
                    </a:cubicBezTo>
                    <a:cubicBezTo>
                      <a:pt x="7926" y="5139"/>
                      <a:pt x="7868" y="5043"/>
                      <a:pt x="7802" y="4949"/>
                    </a:cubicBezTo>
                    <a:lnTo>
                      <a:pt x="6148" y="4876"/>
                    </a:lnTo>
                    <a:close/>
                    <a:moveTo>
                      <a:pt x="8393" y="6442"/>
                    </a:moveTo>
                    <a:cubicBezTo>
                      <a:pt x="8439" y="6448"/>
                      <a:pt x="8478" y="6452"/>
                      <a:pt x="8508" y="6456"/>
                    </a:cubicBezTo>
                    <a:cubicBezTo>
                      <a:pt x="8513" y="6457"/>
                      <a:pt x="8518" y="6457"/>
                      <a:pt x="8523" y="6458"/>
                    </a:cubicBezTo>
                    <a:cubicBezTo>
                      <a:pt x="8527" y="6458"/>
                      <a:pt x="8534" y="6459"/>
                      <a:pt x="8540" y="6459"/>
                    </a:cubicBezTo>
                    <a:cubicBezTo>
                      <a:pt x="8540" y="6343"/>
                      <a:pt x="8537" y="6234"/>
                      <a:pt x="8532" y="6148"/>
                    </a:cubicBezTo>
                    <a:cubicBezTo>
                      <a:pt x="8516" y="5842"/>
                      <a:pt x="8341" y="5386"/>
                      <a:pt x="8228" y="5171"/>
                    </a:cubicBezTo>
                    <a:cubicBezTo>
                      <a:pt x="8106" y="4963"/>
                      <a:pt x="8106" y="4963"/>
                      <a:pt x="8106" y="4963"/>
                    </a:cubicBezTo>
                    <a:cubicBezTo>
                      <a:pt x="7975" y="4957"/>
                      <a:pt x="7975" y="4957"/>
                      <a:pt x="7975" y="4957"/>
                    </a:cubicBezTo>
                    <a:cubicBezTo>
                      <a:pt x="8021" y="5029"/>
                      <a:pt x="8063" y="5104"/>
                      <a:pt x="8098" y="5183"/>
                    </a:cubicBezTo>
                    <a:cubicBezTo>
                      <a:pt x="8278" y="5590"/>
                      <a:pt x="8378" y="6078"/>
                      <a:pt x="8393" y="6442"/>
                    </a:cubicBezTo>
                    <a:close/>
                    <a:moveTo>
                      <a:pt x="12283" y="4694"/>
                    </a:moveTo>
                    <a:cubicBezTo>
                      <a:pt x="12353" y="4698"/>
                      <a:pt x="12704" y="4722"/>
                      <a:pt x="12889" y="4772"/>
                    </a:cubicBezTo>
                    <a:cubicBezTo>
                      <a:pt x="13059" y="4821"/>
                      <a:pt x="13059" y="4821"/>
                      <a:pt x="13059" y="4821"/>
                    </a:cubicBezTo>
                    <a:cubicBezTo>
                      <a:pt x="13067" y="4809"/>
                      <a:pt x="13082" y="4784"/>
                      <a:pt x="13103" y="4748"/>
                    </a:cubicBezTo>
                    <a:cubicBezTo>
                      <a:pt x="13136" y="4693"/>
                      <a:pt x="13181" y="4610"/>
                      <a:pt x="13232" y="4501"/>
                    </a:cubicBezTo>
                    <a:cubicBezTo>
                      <a:pt x="13267" y="4427"/>
                      <a:pt x="13278" y="4362"/>
                      <a:pt x="13278" y="4309"/>
                    </a:cubicBezTo>
                    <a:cubicBezTo>
                      <a:pt x="13278" y="4260"/>
                      <a:pt x="13268" y="4221"/>
                      <a:pt x="13259" y="4194"/>
                    </a:cubicBezTo>
                    <a:cubicBezTo>
                      <a:pt x="13254" y="4181"/>
                      <a:pt x="13249" y="4171"/>
                      <a:pt x="13246" y="4164"/>
                    </a:cubicBezTo>
                    <a:cubicBezTo>
                      <a:pt x="13242" y="4158"/>
                      <a:pt x="13240" y="4155"/>
                      <a:pt x="13240" y="4155"/>
                    </a:cubicBezTo>
                    <a:cubicBezTo>
                      <a:pt x="12501" y="3031"/>
                      <a:pt x="12501" y="3031"/>
                      <a:pt x="12501" y="3031"/>
                    </a:cubicBezTo>
                    <a:cubicBezTo>
                      <a:pt x="12428" y="2963"/>
                      <a:pt x="12319" y="2958"/>
                      <a:pt x="12291" y="2958"/>
                    </a:cubicBezTo>
                    <a:cubicBezTo>
                      <a:pt x="12287" y="2958"/>
                      <a:pt x="12285" y="2958"/>
                      <a:pt x="12285" y="2958"/>
                    </a:cubicBezTo>
                    <a:cubicBezTo>
                      <a:pt x="12283" y="2958"/>
                      <a:pt x="11887" y="2966"/>
                      <a:pt x="11490" y="2975"/>
                    </a:cubicBezTo>
                    <a:cubicBezTo>
                      <a:pt x="11291" y="2979"/>
                      <a:pt x="11092" y="2984"/>
                      <a:pt x="10943" y="2987"/>
                    </a:cubicBezTo>
                    <a:cubicBezTo>
                      <a:pt x="10869" y="2988"/>
                      <a:pt x="10807" y="2990"/>
                      <a:pt x="10763" y="2991"/>
                    </a:cubicBezTo>
                    <a:cubicBezTo>
                      <a:pt x="10742" y="2991"/>
                      <a:pt x="10724" y="2992"/>
                      <a:pt x="10713" y="2992"/>
                    </a:cubicBezTo>
                    <a:cubicBezTo>
                      <a:pt x="10707" y="2992"/>
                      <a:pt x="10703" y="2992"/>
                      <a:pt x="10700" y="2992"/>
                    </a:cubicBezTo>
                    <a:cubicBezTo>
                      <a:pt x="10699" y="2992"/>
                      <a:pt x="10698" y="2992"/>
                      <a:pt x="10698" y="2992"/>
                    </a:cubicBezTo>
                    <a:cubicBezTo>
                      <a:pt x="10789" y="3357"/>
                      <a:pt x="10875" y="3728"/>
                      <a:pt x="10887" y="3761"/>
                    </a:cubicBezTo>
                    <a:cubicBezTo>
                      <a:pt x="10899" y="3799"/>
                      <a:pt x="10941" y="3950"/>
                      <a:pt x="11015" y="4103"/>
                    </a:cubicBezTo>
                    <a:cubicBezTo>
                      <a:pt x="11088" y="4256"/>
                      <a:pt x="11195" y="4405"/>
                      <a:pt x="11327" y="4440"/>
                    </a:cubicBezTo>
                    <a:cubicBezTo>
                      <a:pt x="11456" y="4474"/>
                      <a:pt x="11585" y="4483"/>
                      <a:pt x="11695" y="4483"/>
                    </a:cubicBezTo>
                    <a:cubicBezTo>
                      <a:pt x="11825" y="4483"/>
                      <a:pt x="11926" y="4470"/>
                      <a:pt x="11972" y="4470"/>
                    </a:cubicBezTo>
                    <a:cubicBezTo>
                      <a:pt x="12011" y="4470"/>
                      <a:pt x="12080" y="4471"/>
                      <a:pt x="12144" y="4502"/>
                    </a:cubicBezTo>
                    <a:cubicBezTo>
                      <a:pt x="12205" y="4531"/>
                      <a:pt x="12261" y="4590"/>
                      <a:pt x="12283" y="4694"/>
                    </a:cubicBezTo>
                    <a:close/>
                    <a:moveTo>
                      <a:pt x="11138" y="1775"/>
                    </a:moveTo>
                    <a:cubicBezTo>
                      <a:pt x="11016" y="1892"/>
                      <a:pt x="10895" y="2008"/>
                      <a:pt x="10803" y="2096"/>
                    </a:cubicBezTo>
                    <a:cubicBezTo>
                      <a:pt x="10757" y="2140"/>
                      <a:pt x="10718" y="2177"/>
                      <a:pt x="10690" y="2204"/>
                    </a:cubicBezTo>
                    <a:cubicBezTo>
                      <a:pt x="10676" y="2217"/>
                      <a:pt x="10664" y="2228"/>
                      <a:pt x="10656" y="2236"/>
                    </a:cubicBezTo>
                    <a:cubicBezTo>
                      <a:pt x="10647" y="2244"/>
                      <a:pt x="10642" y="2249"/>
                      <a:pt x="10638" y="2253"/>
                    </a:cubicBezTo>
                    <a:cubicBezTo>
                      <a:pt x="10612" y="2274"/>
                      <a:pt x="10585" y="2284"/>
                      <a:pt x="10562" y="2293"/>
                    </a:cubicBezTo>
                    <a:cubicBezTo>
                      <a:pt x="10551" y="2297"/>
                      <a:pt x="10542" y="2300"/>
                      <a:pt x="10534" y="2302"/>
                    </a:cubicBezTo>
                    <a:cubicBezTo>
                      <a:pt x="10533" y="2303"/>
                      <a:pt x="10533" y="2303"/>
                      <a:pt x="10533" y="2303"/>
                    </a:cubicBezTo>
                    <a:cubicBezTo>
                      <a:pt x="10522" y="2306"/>
                      <a:pt x="10522" y="2306"/>
                      <a:pt x="10522" y="2306"/>
                    </a:cubicBezTo>
                    <a:cubicBezTo>
                      <a:pt x="10522" y="2306"/>
                      <a:pt x="10521" y="2306"/>
                      <a:pt x="10521" y="2306"/>
                    </a:cubicBezTo>
                    <a:cubicBezTo>
                      <a:pt x="10520" y="2306"/>
                      <a:pt x="10520" y="2306"/>
                      <a:pt x="10520" y="2306"/>
                    </a:cubicBezTo>
                    <a:cubicBezTo>
                      <a:pt x="10520" y="2307"/>
                      <a:pt x="10520" y="2307"/>
                      <a:pt x="10519" y="2307"/>
                    </a:cubicBezTo>
                    <a:cubicBezTo>
                      <a:pt x="10519" y="2307"/>
                      <a:pt x="10519" y="2307"/>
                      <a:pt x="10518" y="2307"/>
                    </a:cubicBezTo>
                    <a:cubicBezTo>
                      <a:pt x="10522" y="2328"/>
                      <a:pt x="10522" y="2328"/>
                      <a:pt x="10522" y="2328"/>
                    </a:cubicBezTo>
                    <a:cubicBezTo>
                      <a:pt x="10527" y="2346"/>
                      <a:pt x="10533" y="2368"/>
                      <a:pt x="10540" y="2395"/>
                    </a:cubicBezTo>
                    <a:cubicBezTo>
                      <a:pt x="10593" y="2379"/>
                      <a:pt x="10639" y="2364"/>
                      <a:pt x="10676" y="2352"/>
                    </a:cubicBezTo>
                    <a:cubicBezTo>
                      <a:pt x="10703" y="2343"/>
                      <a:pt x="10725" y="2335"/>
                      <a:pt x="10742" y="2328"/>
                    </a:cubicBezTo>
                    <a:cubicBezTo>
                      <a:pt x="10758" y="2322"/>
                      <a:pt x="10770" y="2316"/>
                      <a:pt x="10771" y="2316"/>
                    </a:cubicBezTo>
                    <a:cubicBezTo>
                      <a:pt x="10783" y="2309"/>
                      <a:pt x="10820" y="2280"/>
                      <a:pt x="10866" y="2239"/>
                    </a:cubicBezTo>
                    <a:cubicBezTo>
                      <a:pt x="11031" y="2095"/>
                      <a:pt x="11340" y="1796"/>
                      <a:pt x="11637" y="1523"/>
                    </a:cubicBezTo>
                    <a:cubicBezTo>
                      <a:pt x="11786" y="1386"/>
                      <a:pt x="11933" y="1256"/>
                      <a:pt x="12058" y="1153"/>
                    </a:cubicBezTo>
                    <a:cubicBezTo>
                      <a:pt x="12121" y="1102"/>
                      <a:pt x="12179" y="1058"/>
                      <a:pt x="12230" y="1023"/>
                    </a:cubicBezTo>
                    <a:cubicBezTo>
                      <a:pt x="12282" y="988"/>
                      <a:pt x="12325" y="962"/>
                      <a:pt x="12367" y="947"/>
                    </a:cubicBezTo>
                    <a:cubicBezTo>
                      <a:pt x="12461" y="915"/>
                      <a:pt x="12582" y="898"/>
                      <a:pt x="12726" y="887"/>
                    </a:cubicBezTo>
                    <a:cubicBezTo>
                      <a:pt x="12760" y="885"/>
                      <a:pt x="12796" y="883"/>
                      <a:pt x="12833" y="881"/>
                    </a:cubicBezTo>
                    <a:cubicBezTo>
                      <a:pt x="12824" y="844"/>
                      <a:pt x="12818" y="813"/>
                      <a:pt x="12814" y="792"/>
                    </a:cubicBezTo>
                    <a:cubicBezTo>
                      <a:pt x="12805" y="770"/>
                      <a:pt x="12805" y="770"/>
                      <a:pt x="12805" y="770"/>
                    </a:cubicBezTo>
                    <a:cubicBezTo>
                      <a:pt x="12603" y="771"/>
                      <a:pt x="12452" y="772"/>
                      <a:pt x="12419" y="774"/>
                    </a:cubicBezTo>
                    <a:cubicBezTo>
                      <a:pt x="12296" y="778"/>
                      <a:pt x="12193" y="782"/>
                      <a:pt x="12109" y="820"/>
                    </a:cubicBezTo>
                    <a:cubicBezTo>
                      <a:pt x="12071" y="837"/>
                      <a:pt x="12021" y="876"/>
                      <a:pt x="11979" y="917"/>
                    </a:cubicBezTo>
                    <a:cubicBezTo>
                      <a:pt x="11936" y="958"/>
                      <a:pt x="11900" y="1001"/>
                      <a:pt x="11885" y="1024"/>
                    </a:cubicBezTo>
                    <a:cubicBezTo>
                      <a:pt x="11873" y="1042"/>
                      <a:pt x="11855" y="1062"/>
                      <a:pt x="11833" y="1086"/>
                    </a:cubicBezTo>
                    <a:cubicBezTo>
                      <a:pt x="11801" y="1122"/>
                      <a:pt x="11762" y="1163"/>
                      <a:pt x="11730" y="1196"/>
                    </a:cubicBezTo>
                    <a:cubicBezTo>
                      <a:pt x="11714" y="1212"/>
                      <a:pt x="11701" y="1226"/>
                      <a:pt x="11691" y="1236"/>
                    </a:cubicBezTo>
                    <a:cubicBezTo>
                      <a:pt x="11687" y="1240"/>
                      <a:pt x="11684" y="1244"/>
                      <a:pt x="11682" y="1246"/>
                    </a:cubicBezTo>
                    <a:cubicBezTo>
                      <a:pt x="11679" y="1251"/>
                      <a:pt x="11679" y="1250"/>
                      <a:pt x="11678" y="1252"/>
                    </a:cubicBezTo>
                    <a:cubicBezTo>
                      <a:pt x="11674" y="1256"/>
                      <a:pt x="11673" y="1257"/>
                      <a:pt x="11670" y="1260"/>
                    </a:cubicBezTo>
                    <a:cubicBezTo>
                      <a:pt x="11631" y="1300"/>
                      <a:pt x="11382" y="1540"/>
                      <a:pt x="11138" y="1775"/>
                    </a:cubicBezTo>
                    <a:close/>
                    <a:moveTo>
                      <a:pt x="8661" y="1184"/>
                    </a:moveTo>
                    <a:cubicBezTo>
                      <a:pt x="8667" y="1245"/>
                      <a:pt x="8686" y="1464"/>
                      <a:pt x="8686" y="1565"/>
                    </a:cubicBezTo>
                    <a:cubicBezTo>
                      <a:pt x="8686" y="1583"/>
                      <a:pt x="8685" y="1597"/>
                      <a:pt x="8684" y="1607"/>
                    </a:cubicBezTo>
                    <a:cubicBezTo>
                      <a:pt x="8673" y="1675"/>
                      <a:pt x="8591" y="1983"/>
                      <a:pt x="8570" y="2059"/>
                    </a:cubicBezTo>
                    <a:cubicBezTo>
                      <a:pt x="8558" y="2103"/>
                      <a:pt x="8554" y="2168"/>
                      <a:pt x="8554" y="2227"/>
                    </a:cubicBezTo>
                    <a:cubicBezTo>
                      <a:pt x="8554" y="2263"/>
                      <a:pt x="8556" y="2297"/>
                      <a:pt x="8557" y="2325"/>
                    </a:cubicBezTo>
                    <a:cubicBezTo>
                      <a:pt x="8559" y="2378"/>
                      <a:pt x="8569" y="2564"/>
                      <a:pt x="8573" y="2656"/>
                    </a:cubicBezTo>
                    <a:cubicBezTo>
                      <a:pt x="8583" y="2678"/>
                      <a:pt x="8583" y="2678"/>
                      <a:pt x="8583" y="2678"/>
                    </a:cubicBezTo>
                    <a:cubicBezTo>
                      <a:pt x="8685" y="2652"/>
                      <a:pt x="9115" y="2543"/>
                      <a:pt x="9541" y="2436"/>
                    </a:cubicBezTo>
                    <a:cubicBezTo>
                      <a:pt x="10020" y="2315"/>
                      <a:pt x="10493" y="2195"/>
                      <a:pt x="10493" y="2195"/>
                    </a:cubicBezTo>
                    <a:cubicBezTo>
                      <a:pt x="10493" y="2195"/>
                      <a:pt x="10493" y="2195"/>
                      <a:pt x="10493" y="2195"/>
                    </a:cubicBezTo>
                    <a:cubicBezTo>
                      <a:pt x="10495" y="2194"/>
                      <a:pt x="10497" y="2194"/>
                      <a:pt x="10500" y="2193"/>
                    </a:cubicBezTo>
                    <a:cubicBezTo>
                      <a:pt x="10517" y="2189"/>
                      <a:pt x="10557" y="2172"/>
                      <a:pt x="10564" y="2165"/>
                    </a:cubicBezTo>
                    <a:cubicBezTo>
                      <a:pt x="10564" y="2165"/>
                      <a:pt x="10564" y="2165"/>
                      <a:pt x="10564" y="2164"/>
                    </a:cubicBezTo>
                    <a:cubicBezTo>
                      <a:pt x="10592" y="2139"/>
                      <a:pt x="10852" y="1891"/>
                      <a:pt x="11101" y="1651"/>
                    </a:cubicBezTo>
                    <a:cubicBezTo>
                      <a:pt x="11172" y="1583"/>
                      <a:pt x="11241" y="1516"/>
                      <a:pt x="11305" y="1454"/>
                    </a:cubicBezTo>
                    <a:cubicBezTo>
                      <a:pt x="11296" y="1441"/>
                      <a:pt x="11296" y="1441"/>
                      <a:pt x="11296" y="1441"/>
                    </a:cubicBezTo>
                    <a:cubicBezTo>
                      <a:pt x="11219" y="1376"/>
                      <a:pt x="10923" y="1124"/>
                      <a:pt x="10830" y="1034"/>
                    </a:cubicBezTo>
                    <a:cubicBezTo>
                      <a:pt x="10779" y="985"/>
                      <a:pt x="10721" y="961"/>
                      <a:pt x="10674" y="948"/>
                    </a:cubicBezTo>
                    <a:cubicBezTo>
                      <a:pt x="10651" y="942"/>
                      <a:pt x="10631" y="939"/>
                      <a:pt x="10617" y="938"/>
                    </a:cubicBezTo>
                    <a:cubicBezTo>
                      <a:pt x="10603" y="936"/>
                      <a:pt x="10595" y="936"/>
                      <a:pt x="10595" y="936"/>
                    </a:cubicBezTo>
                    <a:cubicBezTo>
                      <a:pt x="9710" y="936"/>
                      <a:pt x="9710" y="936"/>
                      <a:pt x="9710" y="936"/>
                    </a:cubicBezTo>
                    <a:cubicBezTo>
                      <a:pt x="9702" y="941"/>
                      <a:pt x="9679" y="956"/>
                      <a:pt x="9651" y="976"/>
                    </a:cubicBezTo>
                    <a:cubicBezTo>
                      <a:pt x="9603" y="1009"/>
                      <a:pt x="9536" y="1057"/>
                      <a:pt x="9480" y="1096"/>
                    </a:cubicBezTo>
                    <a:cubicBezTo>
                      <a:pt x="9452" y="1116"/>
                      <a:pt x="9427" y="1133"/>
                      <a:pt x="9407" y="1146"/>
                    </a:cubicBezTo>
                    <a:cubicBezTo>
                      <a:pt x="9398" y="1153"/>
                      <a:pt x="9390" y="1158"/>
                      <a:pt x="9383" y="1162"/>
                    </a:cubicBezTo>
                    <a:cubicBezTo>
                      <a:pt x="9380" y="1163"/>
                      <a:pt x="9377" y="1165"/>
                      <a:pt x="9375" y="1166"/>
                    </a:cubicBezTo>
                    <a:cubicBezTo>
                      <a:pt x="9372" y="1167"/>
                      <a:pt x="9371" y="1169"/>
                      <a:pt x="9363" y="1170"/>
                    </a:cubicBezTo>
                    <a:cubicBezTo>
                      <a:pt x="9362" y="1170"/>
                      <a:pt x="9361" y="1170"/>
                      <a:pt x="9360" y="1169"/>
                    </a:cubicBezTo>
                    <a:cubicBezTo>
                      <a:pt x="9358" y="1169"/>
                      <a:pt x="9355" y="1169"/>
                      <a:pt x="9352" y="1169"/>
                    </a:cubicBezTo>
                    <a:cubicBezTo>
                      <a:pt x="9284" y="1169"/>
                      <a:pt x="8918" y="1181"/>
                      <a:pt x="8661" y="1184"/>
                    </a:cubicBezTo>
                    <a:close/>
                    <a:moveTo>
                      <a:pt x="7087" y="1513"/>
                    </a:moveTo>
                    <a:cubicBezTo>
                      <a:pt x="7093" y="1564"/>
                      <a:pt x="7180" y="2310"/>
                      <a:pt x="7184" y="2416"/>
                    </a:cubicBezTo>
                    <a:cubicBezTo>
                      <a:pt x="7233" y="2424"/>
                      <a:pt x="7269" y="2430"/>
                      <a:pt x="7277" y="2431"/>
                    </a:cubicBezTo>
                    <a:cubicBezTo>
                      <a:pt x="8525" y="2407"/>
                      <a:pt x="8525" y="2407"/>
                      <a:pt x="8525" y="2407"/>
                    </a:cubicBezTo>
                    <a:cubicBezTo>
                      <a:pt x="8523" y="2372"/>
                      <a:pt x="8522" y="2343"/>
                      <a:pt x="8521" y="2326"/>
                    </a:cubicBezTo>
                    <a:cubicBezTo>
                      <a:pt x="8520" y="2299"/>
                      <a:pt x="8518" y="2264"/>
                      <a:pt x="8518" y="2227"/>
                    </a:cubicBezTo>
                    <a:cubicBezTo>
                      <a:pt x="8518" y="2166"/>
                      <a:pt x="8522" y="2100"/>
                      <a:pt x="8535" y="2050"/>
                    </a:cubicBezTo>
                    <a:cubicBezTo>
                      <a:pt x="8556" y="1975"/>
                      <a:pt x="8638" y="1664"/>
                      <a:pt x="8648" y="1602"/>
                    </a:cubicBezTo>
                    <a:cubicBezTo>
                      <a:pt x="8649" y="1595"/>
                      <a:pt x="8650" y="1582"/>
                      <a:pt x="8650" y="1565"/>
                    </a:cubicBezTo>
                    <a:cubicBezTo>
                      <a:pt x="8650" y="1466"/>
                      <a:pt x="8630" y="1241"/>
                      <a:pt x="8625" y="1184"/>
                    </a:cubicBezTo>
                    <a:cubicBezTo>
                      <a:pt x="8599" y="1184"/>
                      <a:pt x="8575" y="1184"/>
                      <a:pt x="8552" y="1184"/>
                    </a:cubicBezTo>
                    <a:cubicBezTo>
                      <a:pt x="8514" y="1184"/>
                      <a:pt x="8481" y="1184"/>
                      <a:pt x="8456" y="1183"/>
                    </a:cubicBezTo>
                    <a:cubicBezTo>
                      <a:pt x="8273" y="1177"/>
                      <a:pt x="7910" y="1155"/>
                      <a:pt x="7800" y="1155"/>
                    </a:cubicBezTo>
                    <a:cubicBezTo>
                      <a:pt x="7792" y="1155"/>
                      <a:pt x="7786" y="1156"/>
                      <a:pt x="7781" y="1156"/>
                    </a:cubicBezTo>
                    <a:cubicBezTo>
                      <a:pt x="7706" y="1159"/>
                      <a:pt x="7491" y="1204"/>
                      <a:pt x="7437" y="1227"/>
                    </a:cubicBezTo>
                    <a:cubicBezTo>
                      <a:pt x="7374" y="1252"/>
                      <a:pt x="7184" y="1286"/>
                      <a:pt x="7141" y="1293"/>
                    </a:cubicBezTo>
                    <a:cubicBezTo>
                      <a:pt x="7133" y="1294"/>
                      <a:pt x="7126" y="1301"/>
                      <a:pt x="7120" y="1311"/>
                    </a:cubicBezTo>
                    <a:cubicBezTo>
                      <a:pt x="7116" y="1319"/>
                      <a:pt x="7114" y="1329"/>
                      <a:pt x="7113" y="1335"/>
                    </a:cubicBezTo>
                    <a:cubicBezTo>
                      <a:pt x="7117" y="1343"/>
                      <a:pt x="7115" y="1344"/>
                      <a:pt x="7116" y="1347"/>
                    </a:cubicBezTo>
                    <a:cubicBezTo>
                      <a:pt x="7116" y="1363"/>
                      <a:pt x="7108" y="1402"/>
                      <a:pt x="7101" y="1441"/>
                    </a:cubicBezTo>
                    <a:cubicBezTo>
                      <a:pt x="7095" y="1474"/>
                      <a:pt x="7089" y="1504"/>
                      <a:pt x="7087" y="1513"/>
                    </a:cubicBezTo>
                    <a:close/>
                    <a:moveTo>
                      <a:pt x="4009" y="1758"/>
                    </a:moveTo>
                    <a:cubicBezTo>
                      <a:pt x="4010" y="1779"/>
                      <a:pt x="4010" y="1779"/>
                      <a:pt x="4010" y="1779"/>
                    </a:cubicBezTo>
                    <a:cubicBezTo>
                      <a:pt x="4238" y="1879"/>
                      <a:pt x="4446" y="2030"/>
                      <a:pt x="4484" y="2058"/>
                    </a:cubicBezTo>
                    <a:cubicBezTo>
                      <a:pt x="5329" y="2407"/>
                      <a:pt x="5329" y="2407"/>
                      <a:pt x="5329" y="2407"/>
                    </a:cubicBezTo>
                    <a:cubicBezTo>
                      <a:pt x="5371" y="2420"/>
                      <a:pt x="5871" y="2568"/>
                      <a:pt x="6039" y="2618"/>
                    </a:cubicBezTo>
                    <a:cubicBezTo>
                      <a:pt x="6119" y="2643"/>
                      <a:pt x="6287" y="2687"/>
                      <a:pt x="6453" y="2730"/>
                    </a:cubicBezTo>
                    <a:cubicBezTo>
                      <a:pt x="6469" y="2714"/>
                      <a:pt x="6469" y="2714"/>
                      <a:pt x="6469" y="2714"/>
                    </a:cubicBezTo>
                    <a:cubicBezTo>
                      <a:pt x="6541" y="2460"/>
                      <a:pt x="6541" y="2460"/>
                      <a:pt x="6541" y="2460"/>
                    </a:cubicBezTo>
                    <a:cubicBezTo>
                      <a:pt x="6543" y="2457"/>
                      <a:pt x="6543" y="2457"/>
                      <a:pt x="6543" y="2457"/>
                    </a:cubicBezTo>
                    <a:cubicBezTo>
                      <a:pt x="6593" y="2385"/>
                      <a:pt x="6674" y="2365"/>
                      <a:pt x="6778" y="2366"/>
                    </a:cubicBezTo>
                    <a:cubicBezTo>
                      <a:pt x="6845" y="2366"/>
                      <a:pt x="7023" y="2391"/>
                      <a:pt x="7148" y="2411"/>
                    </a:cubicBezTo>
                    <a:cubicBezTo>
                      <a:pt x="7145" y="2351"/>
                      <a:pt x="7122" y="2142"/>
                      <a:pt x="7100" y="1942"/>
                    </a:cubicBezTo>
                    <a:cubicBezTo>
                      <a:pt x="7078" y="1747"/>
                      <a:pt x="7056" y="1559"/>
                      <a:pt x="7052" y="1521"/>
                    </a:cubicBezTo>
                    <a:cubicBezTo>
                      <a:pt x="7022" y="1496"/>
                      <a:pt x="6980" y="1475"/>
                      <a:pt x="6947" y="1442"/>
                    </a:cubicBezTo>
                    <a:cubicBezTo>
                      <a:pt x="6892" y="1386"/>
                      <a:pt x="6859" y="1326"/>
                      <a:pt x="6858" y="1325"/>
                    </a:cubicBezTo>
                    <a:cubicBezTo>
                      <a:pt x="6580" y="823"/>
                      <a:pt x="6580" y="823"/>
                      <a:pt x="6580" y="823"/>
                    </a:cubicBezTo>
                    <a:cubicBezTo>
                      <a:pt x="6522" y="725"/>
                      <a:pt x="6449" y="703"/>
                      <a:pt x="6388" y="703"/>
                    </a:cubicBezTo>
                    <a:cubicBezTo>
                      <a:pt x="6359" y="702"/>
                      <a:pt x="6333" y="708"/>
                      <a:pt x="6314" y="714"/>
                    </a:cubicBezTo>
                    <a:cubicBezTo>
                      <a:pt x="6305" y="717"/>
                      <a:pt x="6297" y="719"/>
                      <a:pt x="6292" y="722"/>
                    </a:cubicBezTo>
                    <a:cubicBezTo>
                      <a:pt x="6288" y="723"/>
                      <a:pt x="6286" y="724"/>
                      <a:pt x="6285" y="725"/>
                    </a:cubicBezTo>
                    <a:cubicBezTo>
                      <a:pt x="6272" y="732"/>
                      <a:pt x="6052" y="860"/>
                      <a:pt x="5942" y="920"/>
                    </a:cubicBezTo>
                    <a:cubicBezTo>
                      <a:pt x="5840" y="976"/>
                      <a:pt x="5772" y="1006"/>
                      <a:pt x="5667" y="1006"/>
                    </a:cubicBezTo>
                    <a:cubicBezTo>
                      <a:pt x="5655" y="1006"/>
                      <a:pt x="5643" y="1005"/>
                      <a:pt x="5630" y="1005"/>
                    </a:cubicBezTo>
                    <a:cubicBezTo>
                      <a:pt x="5502" y="997"/>
                      <a:pt x="5208" y="908"/>
                      <a:pt x="4919" y="822"/>
                    </a:cubicBezTo>
                    <a:cubicBezTo>
                      <a:pt x="4667" y="747"/>
                      <a:pt x="4496" y="662"/>
                      <a:pt x="4455" y="640"/>
                    </a:cubicBezTo>
                    <a:cubicBezTo>
                      <a:pt x="4220" y="1096"/>
                      <a:pt x="4220" y="1096"/>
                      <a:pt x="4220" y="1096"/>
                    </a:cubicBezTo>
                    <a:cubicBezTo>
                      <a:pt x="4216" y="1114"/>
                      <a:pt x="4184" y="1237"/>
                      <a:pt x="4143" y="1305"/>
                    </a:cubicBezTo>
                    <a:cubicBezTo>
                      <a:pt x="4107" y="1365"/>
                      <a:pt x="4082" y="1411"/>
                      <a:pt x="4076" y="1422"/>
                    </a:cubicBezTo>
                    <a:lnTo>
                      <a:pt x="4009" y="1758"/>
                    </a:lnTo>
                    <a:close/>
                    <a:moveTo>
                      <a:pt x="3627" y="1783"/>
                    </a:moveTo>
                    <a:cubicBezTo>
                      <a:pt x="3205" y="3088"/>
                      <a:pt x="3205" y="3088"/>
                      <a:pt x="3205" y="3088"/>
                    </a:cubicBezTo>
                    <a:cubicBezTo>
                      <a:pt x="3200" y="3086"/>
                      <a:pt x="3200" y="3086"/>
                      <a:pt x="3200" y="3086"/>
                    </a:cubicBezTo>
                    <a:cubicBezTo>
                      <a:pt x="3357" y="3148"/>
                      <a:pt x="3672" y="3295"/>
                      <a:pt x="3939" y="3394"/>
                    </a:cubicBezTo>
                    <a:cubicBezTo>
                      <a:pt x="4259" y="3513"/>
                      <a:pt x="4557" y="3618"/>
                      <a:pt x="4757" y="3670"/>
                    </a:cubicBezTo>
                    <a:cubicBezTo>
                      <a:pt x="4832" y="3689"/>
                      <a:pt x="4912" y="3711"/>
                      <a:pt x="4993" y="3734"/>
                    </a:cubicBezTo>
                    <a:cubicBezTo>
                      <a:pt x="5155" y="3359"/>
                      <a:pt x="5155" y="3359"/>
                      <a:pt x="5155" y="3359"/>
                    </a:cubicBezTo>
                    <a:cubicBezTo>
                      <a:pt x="5146" y="2983"/>
                      <a:pt x="5146" y="2983"/>
                      <a:pt x="5146" y="2983"/>
                    </a:cubicBezTo>
                    <a:cubicBezTo>
                      <a:pt x="5147" y="2981"/>
                      <a:pt x="5147" y="2981"/>
                      <a:pt x="5147" y="2981"/>
                    </a:cubicBezTo>
                    <a:cubicBezTo>
                      <a:pt x="5147" y="2980"/>
                      <a:pt x="5186" y="2862"/>
                      <a:pt x="5224" y="2739"/>
                    </a:cubicBezTo>
                    <a:cubicBezTo>
                      <a:pt x="5244" y="2678"/>
                      <a:pt x="5263" y="2616"/>
                      <a:pt x="5277" y="2567"/>
                    </a:cubicBezTo>
                    <a:cubicBezTo>
                      <a:pt x="5283" y="2549"/>
                      <a:pt x="5287" y="2533"/>
                      <a:pt x="5291" y="2520"/>
                    </a:cubicBezTo>
                    <a:cubicBezTo>
                      <a:pt x="5291" y="2518"/>
                      <a:pt x="5291" y="2517"/>
                      <a:pt x="5291" y="2516"/>
                    </a:cubicBezTo>
                    <a:cubicBezTo>
                      <a:pt x="5291" y="2516"/>
                      <a:pt x="5291" y="2516"/>
                      <a:pt x="5291" y="2516"/>
                    </a:cubicBezTo>
                    <a:cubicBezTo>
                      <a:pt x="4427" y="2158"/>
                      <a:pt x="4427" y="2158"/>
                      <a:pt x="4427" y="2158"/>
                    </a:cubicBezTo>
                    <a:cubicBezTo>
                      <a:pt x="4421" y="2154"/>
                      <a:pt x="4421" y="2154"/>
                      <a:pt x="4421" y="2154"/>
                    </a:cubicBezTo>
                    <a:cubicBezTo>
                      <a:pt x="4421" y="2154"/>
                      <a:pt x="4403" y="2141"/>
                      <a:pt x="4372" y="2118"/>
                    </a:cubicBezTo>
                    <a:cubicBezTo>
                      <a:pt x="4276" y="2052"/>
                      <a:pt x="4056" y="1909"/>
                      <a:pt x="3857" y="1843"/>
                    </a:cubicBezTo>
                    <a:cubicBezTo>
                      <a:pt x="3802" y="1825"/>
                      <a:pt x="3727" y="1799"/>
                      <a:pt x="3643" y="1770"/>
                    </a:cubicBezTo>
                    <a:lnTo>
                      <a:pt x="3627" y="1783"/>
                    </a:lnTo>
                    <a:close/>
                    <a:moveTo>
                      <a:pt x="4274" y="3554"/>
                    </a:moveTo>
                    <a:cubicBezTo>
                      <a:pt x="4274" y="3554"/>
                      <a:pt x="4274" y="3554"/>
                      <a:pt x="4274" y="3554"/>
                    </a:cubicBezTo>
                    <a:cubicBezTo>
                      <a:pt x="4274" y="3554"/>
                      <a:pt x="4274" y="3554"/>
                      <a:pt x="4274" y="3554"/>
                    </a:cubicBezTo>
                    <a:cubicBezTo>
                      <a:pt x="4274" y="3554"/>
                      <a:pt x="4274" y="3554"/>
                      <a:pt x="4274" y="3554"/>
                    </a:cubicBezTo>
                    <a:close/>
                    <a:moveTo>
                      <a:pt x="4086" y="3904"/>
                    </a:moveTo>
                    <a:cubicBezTo>
                      <a:pt x="4087" y="3899"/>
                      <a:pt x="4087" y="3899"/>
                      <a:pt x="4087" y="3899"/>
                    </a:cubicBezTo>
                    <a:cubicBezTo>
                      <a:pt x="4087" y="3899"/>
                      <a:pt x="4126" y="3808"/>
                      <a:pt x="4165" y="3717"/>
                    </a:cubicBezTo>
                    <a:cubicBezTo>
                      <a:pt x="4185" y="3671"/>
                      <a:pt x="4205" y="3625"/>
                      <a:pt x="4221" y="3590"/>
                    </a:cubicBezTo>
                    <a:cubicBezTo>
                      <a:pt x="4228" y="3573"/>
                      <a:pt x="4235" y="3558"/>
                      <a:pt x="4240" y="3548"/>
                    </a:cubicBezTo>
                    <a:cubicBezTo>
                      <a:pt x="4241" y="3546"/>
                      <a:pt x="4242" y="3544"/>
                      <a:pt x="4243" y="3543"/>
                    </a:cubicBezTo>
                    <a:cubicBezTo>
                      <a:pt x="4142" y="3507"/>
                      <a:pt x="4036" y="3468"/>
                      <a:pt x="3927" y="3428"/>
                    </a:cubicBezTo>
                    <a:cubicBezTo>
                      <a:pt x="3606" y="3310"/>
                      <a:pt x="3214" y="3120"/>
                      <a:pt x="3118" y="3096"/>
                    </a:cubicBezTo>
                    <a:cubicBezTo>
                      <a:pt x="3076" y="3085"/>
                      <a:pt x="3014" y="3070"/>
                      <a:pt x="2940" y="3070"/>
                    </a:cubicBezTo>
                    <a:cubicBezTo>
                      <a:pt x="2838" y="3070"/>
                      <a:pt x="2714" y="3098"/>
                      <a:pt x="2590" y="3202"/>
                    </a:cubicBezTo>
                    <a:cubicBezTo>
                      <a:pt x="2517" y="3263"/>
                      <a:pt x="2402" y="3394"/>
                      <a:pt x="2246" y="3564"/>
                    </a:cubicBezTo>
                    <a:cubicBezTo>
                      <a:pt x="2097" y="3725"/>
                      <a:pt x="1934" y="3902"/>
                      <a:pt x="1807" y="4039"/>
                    </a:cubicBezTo>
                    <a:cubicBezTo>
                      <a:pt x="1743" y="4108"/>
                      <a:pt x="1689" y="4167"/>
                      <a:pt x="1650" y="4208"/>
                    </a:cubicBezTo>
                    <a:cubicBezTo>
                      <a:pt x="1632" y="4228"/>
                      <a:pt x="1617" y="4244"/>
                      <a:pt x="1606" y="4256"/>
                    </a:cubicBezTo>
                    <a:cubicBezTo>
                      <a:pt x="1609" y="4257"/>
                      <a:pt x="1612" y="4258"/>
                      <a:pt x="1612" y="4258"/>
                    </a:cubicBezTo>
                    <a:cubicBezTo>
                      <a:pt x="1614" y="4259"/>
                      <a:pt x="1614" y="4259"/>
                      <a:pt x="1614" y="4259"/>
                    </a:cubicBezTo>
                    <a:cubicBezTo>
                      <a:pt x="2447" y="4863"/>
                      <a:pt x="2447" y="4863"/>
                      <a:pt x="2447" y="4863"/>
                    </a:cubicBezTo>
                    <a:cubicBezTo>
                      <a:pt x="2910" y="5010"/>
                      <a:pt x="2910" y="5010"/>
                      <a:pt x="2910" y="5010"/>
                    </a:cubicBezTo>
                    <a:cubicBezTo>
                      <a:pt x="2916" y="4995"/>
                      <a:pt x="2942" y="4932"/>
                      <a:pt x="2961" y="4886"/>
                    </a:cubicBezTo>
                    <a:cubicBezTo>
                      <a:pt x="2983" y="4832"/>
                      <a:pt x="3026" y="4747"/>
                      <a:pt x="3149" y="4688"/>
                    </a:cubicBezTo>
                    <a:cubicBezTo>
                      <a:pt x="3192" y="4667"/>
                      <a:pt x="3235" y="4659"/>
                      <a:pt x="3282" y="4659"/>
                    </a:cubicBezTo>
                    <a:cubicBezTo>
                      <a:pt x="3374" y="4659"/>
                      <a:pt x="3482" y="4690"/>
                      <a:pt x="3647" y="4722"/>
                    </a:cubicBezTo>
                    <a:cubicBezTo>
                      <a:pt x="3743" y="4740"/>
                      <a:pt x="3858" y="4766"/>
                      <a:pt x="3980" y="4796"/>
                    </a:cubicBezTo>
                    <a:cubicBezTo>
                      <a:pt x="3986" y="4781"/>
                      <a:pt x="4002" y="4740"/>
                      <a:pt x="4021" y="4686"/>
                    </a:cubicBezTo>
                    <a:cubicBezTo>
                      <a:pt x="4044" y="4618"/>
                      <a:pt x="4071" y="4528"/>
                      <a:pt x="4086" y="4447"/>
                    </a:cubicBezTo>
                    <a:cubicBezTo>
                      <a:pt x="4096" y="4393"/>
                      <a:pt x="4100" y="4315"/>
                      <a:pt x="4099" y="4235"/>
                    </a:cubicBezTo>
                    <a:cubicBezTo>
                      <a:pt x="4100" y="4075"/>
                      <a:pt x="4086" y="3908"/>
                      <a:pt x="4086" y="3908"/>
                    </a:cubicBezTo>
                    <a:lnTo>
                      <a:pt x="4086" y="3904"/>
                    </a:lnTo>
                    <a:close/>
                    <a:moveTo>
                      <a:pt x="1284" y="4142"/>
                    </a:moveTo>
                    <a:cubicBezTo>
                      <a:pt x="1286" y="4144"/>
                      <a:pt x="1287" y="4146"/>
                      <a:pt x="1288" y="4147"/>
                    </a:cubicBezTo>
                    <a:cubicBezTo>
                      <a:pt x="1294" y="4148"/>
                      <a:pt x="1300" y="4150"/>
                      <a:pt x="1308" y="4152"/>
                    </a:cubicBezTo>
                    <a:cubicBezTo>
                      <a:pt x="1363" y="4168"/>
                      <a:pt x="1499" y="4217"/>
                      <a:pt x="1569" y="4242"/>
                    </a:cubicBezTo>
                    <a:cubicBezTo>
                      <a:pt x="1590" y="4220"/>
                      <a:pt x="1676" y="4128"/>
                      <a:pt x="1789" y="4005"/>
                    </a:cubicBezTo>
                    <a:cubicBezTo>
                      <a:pt x="1915" y="3869"/>
                      <a:pt x="2074" y="3696"/>
                      <a:pt x="2219" y="3539"/>
                    </a:cubicBezTo>
                    <a:cubicBezTo>
                      <a:pt x="2375" y="3370"/>
                      <a:pt x="2489" y="3239"/>
                      <a:pt x="2567" y="3174"/>
                    </a:cubicBezTo>
                    <a:cubicBezTo>
                      <a:pt x="2698" y="3064"/>
                      <a:pt x="2832" y="3034"/>
                      <a:pt x="2940" y="3034"/>
                    </a:cubicBezTo>
                    <a:cubicBezTo>
                      <a:pt x="3018" y="3034"/>
                      <a:pt x="3084" y="3050"/>
                      <a:pt x="3127" y="3061"/>
                    </a:cubicBezTo>
                    <a:cubicBezTo>
                      <a:pt x="3138" y="3064"/>
                      <a:pt x="3154" y="3069"/>
                      <a:pt x="3171" y="3075"/>
                    </a:cubicBezTo>
                    <a:cubicBezTo>
                      <a:pt x="3594" y="1769"/>
                      <a:pt x="3594" y="1769"/>
                      <a:pt x="3594" y="1769"/>
                    </a:cubicBezTo>
                    <a:cubicBezTo>
                      <a:pt x="3595" y="1754"/>
                      <a:pt x="3595" y="1754"/>
                      <a:pt x="3595" y="1754"/>
                    </a:cubicBezTo>
                    <a:cubicBezTo>
                      <a:pt x="3255" y="1635"/>
                      <a:pt x="2795" y="1469"/>
                      <a:pt x="2750" y="1453"/>
                    </a:cubicBezTo>
                    <a:cubicBezTo>
                      <a:pt x="2720" y="1442"/>
                      <a:pt x="2678" y="1426"/>
                      <a:pt x="2637" y="1401"/>
                    </a:cubicBezTo>
                    <a:cubicBezTo>
                      <a:pt x="2610" y="1385"/>
                      <a:pt x="2584" y="1365"/>
                      <a:pt x="2561" y="1339"/>
                    </a:cubicBezTo>
                    <a:cubicBezTo>
                      <a:pt x="2551" y="1345"/>
                      <a:pt x="2551" y="1345"/>
                      <a:pt x="2551" y="1345"/>
                    </a:cubicBezTo>
                    <a:cubicBezTo>
                      <a:pt x="2541" y="1353"/>
                      <a:pt x="2519" y="1371"/>
                      <a:pt x="2488" y="1397"/>
                    </a:cubicBezTo>
                    <a:cubicBezTo>
                      <a:pt x="2353" y="1511"/>
                      <a:pt x="2049" y="1773"/>
                      <a:pt x="1778" y="2008"/>
                    </a:cubicBezTo>
                    <a:cubicBezTo>
                      <a:pt x="1643" y="2125"/>
                      <a:pt x="1516" y="2235"/>
                      <a:pt x="1423" y="2315"/>
                    </a:cubicBezTo>
                    <a:cubicBezTo>
                      <a:pt x="1336" y="2391"/>
                      <a:pt x="1278" y="2441"/>
                      <a:pt x="1272" y="2447"/>
                    </a:cubicBezTo>
                    <a:cubicBezTo>
                      <a:pt x="558" y="3210"/>
                      <a:pt x="558" y="3210"/>
                      <a:pt x="558" y="3210"/>
                    </a:cubicBezTo>
                    <a:cubicBezTo>
                      <a:pt x="602" y="3267"/>
                      <a:pt x="757" y="3470"/>
                      <a:pt x="915" y="3674"/>
                    </a:cubicBezTo>
                    <a:cubicBezTo>
                      <a:pt x="1007" y="3794"/>
                      <a:pt x="1101" y="3914"/>
                      <a:pt x="1172" y="4004"/>
                    </a:cubicBezTo>
                    <a:cubicBezTo>
                      <a:pt x="1207" y="4049"/>
                      <a:pt x="1237" y="4086"/>
                      <a:pt x="1258" y="4112"/>
                    </a:cubicBezTo>
                    <a:cubicBezTo>
                      <a:pt x="1269" y="4125"/>
                      <a:pt x="1278" y="4136"/>
                      <a:pt x="1284" y="4142"/>
                    </a:cubicBezTo>
                    <a:close/>
                    <a:moveTo>
                      <a:pt x="1350" y="6805"/>
                    </a:moveTo>
                    <a:cubicBezTo>
                      <a:pt x="1389" y="6732"/>
                      <a:pt x="1418" y="6665"/>
                      <a:pt x="1418" y="6665"/>
                    </a:cubicBezTo>
                    <a:cubicBezTo>
                      <a:pt x="1419" y="6664"/>
                      <a:pt x="1419" y="6664"/>
                      <a:pt x="1419" y="6664"/>
                    </a:cubicBezTo>
                    <a:cubicBezTo>
                      <a:pt x="2415" y="4885"/>
                      <a:pt x="2415" y="4885"/>
                      <a:pt x="2415" y="4885"/>
                    </a:cubicBezTo>
                    <a:cubicBezTo>
                      <a:pt x="1597" y="4291"/>
                      <a:pt x="1597" y="4291"/>
                      <a:pt x="1597" y="4291"/>
                    </a:cubicBezTo>
                    <a:cubicBezTo>
                      <a:pt x="1584" y="4286"/>
                      <a:pt x="1517" y="4261"/>
                      <a:pt x="1447" y="4237"/>
                    </a:cubicBezTo>
                    <a:cubicBezTo>
                      <a:pt x="1408" y="4223"/>
                      <a:pt x="1369" y="4209"/>
                      <a:pt x="1337" y="4199"/>
                    </a:cubicBezTo>
                    <a:cubicBezTo>
                      <a:pt x="1327" y="4196"/>
                      <a:pt x="1318" y="4193"/>
                      <a:pt x="1310" y="4191"/>
                    </a:cubicBezTo>
                    <a:cubicBezTo>
                      <a:pt x="197" y="6229"/>
                      <a:pt x="197" y="6229"/>
                      <a:pt x="197" y="6229"/>
                    </a:cubicBezTo>
                    <a:cubicBezTo>
                      <a:pt x="357" y="6301"/>
                      <a:pt x="593" y="6451"/>
                      <a:pt x="776" y="6619"/>
                    </a:cubicBezTo>
                    <a:cubicBezTo>
                      <a:pt x="949" y="6778"/>
                      <a:pt x="1059" y="6955"/>
                      <a:pt x="1100" y="7026"/>
                    </a:cubicBezTo>
                    <a:cubicBezTo>
                      <a:pt x="1101" y="7025"/>
                      <a:pt x="1102" y="7025"/>
                      <a:pt x="1103" y="7025"/>
                    </a:cubicBezTo>
                    <a:cubicBezTo>
                      <a:pt x="1126" y="7022"/>
                      <a:pt x="1179" y="7011"/>
                      <a:pt x="1232" y="6977"/>
                    </a:cubicBezTo>
                    <a:cubicBezTo>
                      <a:pt x="1262" y="6958"/>
                      <a:pt x="1313" y="6878"/>
                      <a:pt x="1350" y="6805"/>
                    </a:cubicBezTo>
                    <a:close/>
                    <a:moveTo>
                      <a:pt x="1905" y="6970"/>
                    </a:moveTo>
                    <a:cubicBezTo>
                      <a:pt x="1754" y="6882"/>
                      <a:pt x="1510" y="6737"/>
                      <a:pt x="1443" y="6698"/>
                    </a:cubicBezTo>
                    <a:cubicBezTo>
                      <a:pt x="1432" y="6723"/>
                      <a:pt x="1409" y="6771"/>
                      <a:pt x="1382" y="6822"/>
                    </a:cubicBezTo>
                    <a:cubicBezTo>
                      <a:pt x="1350" y="6882"/>
                      <a:pt x="1315" y="6945"/>
                      <a:pt x="1279" y="6983"/>
                    </a:cubicBezTo>
                    <a:cubicBezTo>
                      <a:pt x="1283" y="6989"/>
                      <a:pt x="1283" y="6989"/>
                      <a:pt x="1283" y="6989"/>
                    </a:cubicBezTo>
                    <a:cubicBezTo>
                      <a:pt x="1283" y="6989"/>
                      <a:pt x="1283" y="6989"/>
                      <a:pt x="1283" y="6989"/>
                    </a:cubicBezTo>
                    <a:cubicBezTo>
                      <a:pt x="1387" y="7148"/>
                      <a:pt x="1387" y="7148"/>
                      <a:pt x="1387" y="7148"/>
                    </a:cubicBezTo>
                    <a:cubicBezTo>
                      <a:pt x="1387" y="7148"/>
                      <a:pt x="1387" y="7148"/>
                      <a:pt x="1387" y="7148"/>
                    </a:cubicBezTo>
                    <a:cubicBezTo>
                      <a:pt x="1395" y="7160"/>
                      <a:pt x="1395" y="7160"/>
                      <a:pt x="1395" y="7160"/>
                    </a:cubicBezTo>
                    <a:cubicBezTo>
                      <a:pt x="1412" y="7185"/>
                      <a:pt x="1412" y="7185"/>
                      <a:pt x="1412" y="7185"/>
                    </a:cubicBezTo>
                    <a:cubicBezTo>
                      <a:pt x="1411" y="7186"/>
                      <a:pt x="1411" y="7186"/>
                      <a:pt x="1411" y="7186"/>
                    </a:cubicBezTo>
                    <a:cubicBezTo>
                      <a:pt x="1415" y="7191"/>
                      <a:pt x="1415" y="7191"/>
                      <a:pt x="1415" y="7191"/>
                    </a:cubicBezTo>
                    <a:cubicBezTo>
                      <a:pt x="1382" y="7345"/>
                      <a:pt x="1382" y="7345"/>
                      <a:pt x="1382" y="7345"/>
                    </a:cubicBezTo>
                    <a:cubicBezTo>
                      <a:pt x="1396" y="7355"/>
                      <a:pt x="1430" y="7376"/>
                      <a:pt x="1465" y="7398"/>
                    </a:cubicBezTo>
                    <a:cubicBezTo>
                      <a:pt x="1488" y="7413"/>
                      <a:pt x="1511" y="7427"/>
                      <a:pt x="1528" y="7438"/>
                    </a:cubicBezTo>
                    <a:cubicBezTo>
                      <a:pt x="1537" y="7443"/>
                      <a:pt x="1545" y="7448"/>
                      <a:pt x="1550" y="7451"/>
                    </a:cubicBezTo>
                    <a:cubicBezTo>
                      <a:pt x="1553" y="7452"/>
                      <a:pt x="1555" y="7453"/>
                      <a:pt x="1556" y="7454"/>
                    </a:cubicBezTo>
                    <a:cubicBezTo>
                      <a:pt x="1557" y="7454"/>
                      <a:pt x="1558" y="7454"/>
                      <a:pt x="1558" y="7454"/>
                    </a:cubicBezTo>
                    <a:cubicBezTo>
                      <a:pt x="1555" y="7463"/>
                      <a:pt x="1555" y="7463"/>
                      <a:pt x="1555" y="7463"/>
                    </a:cubicBezTo>
                    <a:cubicBezTo>
                      <a:pt x="1555" y="7454"/>
                      <a:pt x="1555" y="7454"/>
                      <a:pt x="1555" y="7454"/>
                    </a:cubicBezTo>
                    <a:cubicBezTo>
                      <a:pt x="1555" y="7466"/>
                      <a:pt x="1555" y="7466"/>
                      <a:pt x="1555" y="7466"/>
                    </a:cubicBezTo>
                    <a:cubicBezTo>
                      <a:pt x="1556" y="7473"/>
                      <a:pt x="1556" y="7473"/>
                      <a:pt x="1556" y="7473"/>
                    </a:cubicBezTo>
                    <a:cubicBezTo>
                      <a:pt x="1643" y="7352"/>
                      <a:pt x="1643" y="7352"/>
                      <a:pt x="1643" y="7352"/>
                    </a:cubicBezTo>
                    <a:cubicBezTo>
                      <a:pt x="1640" y="7349"/>
                      <a:pt x="1640" y="7349"/>
                      <a:pt x="1640" y="7349"/>
                    </a:cubicBezTo>
                    <a:cubicBezTo>
                      <a:pt x="1640" y="7349"/>
                      <a:pt x="1640" y="7349"/>
                      <a:pt x="1640" y="7349"/>
                    </a:cubicBezTo>
                    <a:cubicBezTo>
                      <a:pt x="1640" y="7349"/>
                      <a:pt x="1640" y="7349"/>
                      <a:pt x="1640" y="7349"/>
                    </a:cubicBezTo>
                    <a:cubicBezTo>
                      <a:pt x="1645" y="7345"/>
                      <a:pt x="1666" y="7316"/>
                      <a:pt x="1691" y="7281"/>
                    </a:cubicBezTo>
                    <a:cubicBezTo>
                      <a:pt x="1691" y="7284"/>
                      <a:pt x="1691" y="7284"/>
                      <a:pt x="1691" y="7284"/>
                    </a:cubicBezTo>
                    <a:cubicBezTo>
                      <a:pt x="1709" y="7259"/>
                      <a:pt x="1709" y="7259"/>
                      <a:pt x="1709" y="7259"/>
                    </a:cubicBezTo>
                    <a:cubicBezTo>
                      <a:pt x="1746" y="7205"/>
                      <a:pt x="1789" y="7135"/>
                      <a:pt x="1828" y="7079"/>
                    </a:cubicBezTo>
                    <a:cubicBezTo>
                      <a:pt x="1850" y="7046"/>
                      <a:pt x="1870" y="7017"/>
                      <a:pt x="1886" y="6995"/>
                    </a:cubicBezTo>
                    <a:cubicBezTo>
                      <a:pt x="1894" y="6985"/>
                      <a:pt x="1900" y="6976"/>
                      <a:pt x="1905" y="6970"/>
                    </a:cubicBezTo>
                    <a:close/>
                    <a:moveTo>
                      <a:pt x="1934" y="6987"/>
                    </a:moveTo>
                    <a:cubicBezTo>
                      <a:pt x="1934" y="6987"/>
                      <a:pt x="1934" y="6987"/>
                      <a:pt x="1934" y="6987"/>
                    </a:cubicBezTo>
                    <a:cubicBezTo>
                      <a:pt x="1934" y="6987"/>
                      <a:pt x="1934" y="6987"/>
                      <a:pt x="1934" y="6987"/>
                    </a:cubicBezTo>
                    <a:cubicBezTo>
                      <a:pt x="1934" y="6987"/>
                      <a:pt x="1934" y="6987"/>
                      <a:pt x="1934" y="6987"/>
                    </a:cubicBezTo>
                    <a:close/>
                    <a:moveTo>
                      <a:pt x="3503" y="7219"/>
                    </a:moveTo>
                    <a:cubicBezTo>
                      <a:pt x="3465" y="7183"/>
                      <a:pt x="3426" y="7149"/>
                      <a:pt x="3392" y="7125"/>
                    </a:cubicBezTo>
                    <a:cubicBezTo>
                      <a:pt x="3275" y="7042"/>
                      <a:pt x="3169" y="6981"/>
                      <a:pt x="3083" y="6895"/>
                    </a:cubicBezTo>
                    <a:cubicBezTo>
                      <a:pt x="3007" y="6818"/>
                      <a:pt x="2966" y="6713"/>
                      <a:pt x="2966" y="6641"/>
                    </a:cubicBezTo>
                    <a:cubicBezTo>
                      <a:pt x="2966" y="6630"/>
                      <a:pt x="2967" y="6620"/>
                      <a:pt x="2969" y="6611"/>
                    </a:cubicBezTo>
                    <a:cubicBezTo>
                      <a:pt x="2972" y="6599"/>
                      <a:pt x="2981" y="6577"/>
                      <a:pt x="2998" y="6542"/>
                    </a:cubicBezTo>
                    <a:cubicBezTo>
                      <a:pt x="3102" y="6316"/>
                      <a:pt x="3465" y="5609"/>
                      <a:pt x="3520" y="5503"/>
                    </a:cubicBezTo>
                    <a:cubicBezTo>
                      <a:pt x="2943" y="5058"/>
                      <a:pt x="2943" y="5058"/>
                      <a:pt x="2943" y="5058"/>
                    </a:cubicBezTo>
                    <a:cubicBezTo>
                      <a:pt x="2447" y="4901"/>
                      <a:pt x="2447" y="4901"/>
                      <a:pt x="2447" y="4901"/>
                    </a:cubicBezTo>
                    <a:cubicBezTo>
                      <a:pt x="1459" y="6665"/>
                      <a:pt x="1459" y="6665"/>
                      <a:pt x="1459" y="6665"/>
                    </a:cubicBezTo>
                    <a:cubicBezTo>
                      <a:pt x="1497" y="6688"/>
                      <a:pt x="1601" y="6750"/>
                      <a:pt x="1712" y="6815"/>
                    </a:cubicBezTo>
                    <a:cubicBezTo>
                      <a:pt x="1850" y="6896"/>
                      <a:pt x="1999" y="6983"/>
                      <a:pt x="2035" y="7002"/>
                    </a:cubicBezTo>
                    <a:cubicBezTo>
                      <a:pt x="2113" y="7044"/>
                      <a:pt x="2357" y="7227"/>
                      <a:pt x="2444" y="7288"/>
                    </a:cubicBezTo>
                    <a:cubicBezTo>
                      <a:pt x="2533" y="7351"/>
                      <a:pt x="2644" y="7444"/>
                      <a:pt x="2809" y="7465"/>
                    </a:cubicBezTo>
                    <a:cubicBezTo>
                      <a:pt x="2821" y="7466"/>
                      <a:pt x="2833" y="7467"/>
                      <a:pt x="2845" y="7467"/>
                    </a:cubicBezTo>
                    <a:cubicBezTo>
                      <a:pt x="2993" y="7468"/>
                      <a:pt x="3135" y="7355"/>
                      <a:pt x="3213" y="7301"/>
                    </a:cubicBezTo>
                    <a:cubicBezTo>
                      <a:pt x="3259" y="7270"/>
                      <a:pt x="3339" y="7250"/>
                      <a:pt x="3408" y="7236"/>
                    </a:cubicBezTo>
                    <a:cubicBezTo>
                      <a:pt x="3445" y="7228"/>
                      <a:pt x="3479" y="7223"/>
                      <a:pt x="3503" y="7219"/>
                    </a:cubicBezTo>
                    <a:close/>
                    <a:moveTo>
                      <a:pt x="3904" y="7661"/>
                    </a:moveTo>
                    <a:cubicBezTo>
                      <a:pt x="4037" y="7603"/>
                      <a:pt x="4037" y="7603"/>
                      <a:pt x="4037" y="7603"/>
                    </a:cubicBezTo>
                    <a:cubicBezTo>
                      <a:pt x="4147" y="7548"/>
                      <a:pt x="4147" y="7548"/>
                      <a:pt x="4147" y="7548"/>
                    </a:cubicBezTo>
                    <a:cubicBezTo>
                      <a:pt x="4145" y="7545"/>
                      <a:pt x="4145" y="7545"/>
                      <a:pt x="4145" y="7545"/>
                    </a:cubicBezTo>
                    <a:cubicBezTo>
                      <a:pt x="4166" y="7539"/>
                      <a:pt x="4166" y="7539"/>
                      <a:pt x="4166" y="7539"/>
                    </a:cubicBezTo>
                    <a:cubicBezTo>
                      <a:pt x="4199" y="7523"/>
                      <a:pt x="4199" y="7523"/>
                      <a:pt x="4199" y="7523"/>
                    </a:cubicBezTo>
                    <a:cubicBezTo>
                      <a:pt x="4199" y="7523"/>
                      <a:pt x="4199" y="7523"/>
                      <a:pt x="4199" y="7523"/>
                    </a:cubicBezTo>
                    <a:cubicBezTo>
                      <a:pt x="4204" y="7520"/>
                      <a:pt x="4211" y="7517"/>
                      <a:pt x="4220" y="7512"/>
                    </a:cubicBezTo>
                    <a:cubicBezTo>
                      <a:pt x="4228" y="7507"/>
                      <a:pt x="4228" y="7507"/>
                      <a:pt x="4228" y="7507"/>
                    </a:cubicBezTo>
                    <a:cubicBezTo>
                      <a:pt x="4271" y="7486"/>
                      <a:pt x="4315" y="7459"/>
                      <a:pt x="4346" y="7430"/>
                    </a:cubicBezTo>
                    <a:cubicBezTo>
                      <a:pt x="4405" y="7376"/>
                      <a:pt x="4477" y="7188"/>
                      <a:pt x="4507" y="6959"/>
                    </a:cubicBezTo>
                    <a:cubicBezTo>
                      <a:pt x="4537" y="6728"/>
                      <a:pt x="4784" y="5548"/>
                      <a:pt x="4792" y="5512"/>
                    </a:cubicBezTo>
                    <a:cubicBezTo>
                      <a:pt x="4792" y="5508"/>
                      <a:pt x="4796" y="5477"/>
                      <a:pt x="4796" y="5431"/>
                    </a:cubicBezTo>
                    <a:cubicBezTo>
                      <a:pt x="4796" y="5366"/>
                      <a:pt x="4788" y="5273"/>
                      <a:pt x="4755" y="5189"/>
                    </a:cubicBezTo>
                    <a:cubicBezTo>
                      <a:pt x="4722" y="5104"/>
                      <a:pt x="4665" y="5030"/>
                      <a:pt x="4563" y="4997"/>
                    </a:cubicBezTo>
                    <a:cubicBezTo>
                      <a:pt x="4266" y="4901"/>
                      <a:pt x="3889" y="4805"/>
                      <a:pt x="3640" y="4757"/>
                    </a:cubicBezTo>
                    <a:cubicBezTo>
                      <a:pt x="3474" y="4725"/>
                      <a:pt x="3366" y="4695"/>
                      <a:pt x="3282" y="4695"/>
                    </a:cubicBezTo>
                    <a:cubicBezTo>
                      <a:pt x="3239" y="4695"/>
                      <a:pt x="3202" y="4702"/>
                      <a:pt x="3165" y="4720"/>
                    </a:cubicBezTo>
                    <a:cubicBezTo>
                      <a:pt x="3051" y="4776"/>
                      <a:pt x="3016" y="4848"/>
                      <a:pt x="2994" y="4900"/>
                    </a:cubicBezTo>
                    <a:cubicBezTo>
                      <a:pt x="2976" y="4944"/>
                      <a:pt x="2952" y="5002"/>
                      <a:pt x="2944" y="5020"/>
                    </a:cubicBezTo>
                    <a:cubicBezTo>
                      <a:pt x="2960" y="5025"/>
                      <a:pt x="2960" y="5025"/>
                      <a:pt x="2960" y="5025"/>
                    </a:cubicBezTo>
                    <a:cubicBezTo>
                      <a:pt x="3566" y="5492"/>
                      <a:pt x="3566" y="5492"/>
                      <a:pt x="3566" y="5492"/>
                    </a:cubicBezTo>
                    <a:cubicBezTo>
                      <a:pt x="3559" y="5506"/>
                      <a:pt x="3559" y="5506"/>
                      <a:pt x="3559" y="5506"/>
                    </a:cubicBezTo>
                    <a:cubicBezTo>
                      <a:pt x="3559" y="5506"/>
                      <a:pt x="3423" y="5770"/>
                      <a:pt x="3286" y="6041"/>
                    </a:cubicBezTo>
                    <a:cubicBezTo>
                      <a:pt x="3217" y="6177"/>
                      <a:pt x="3148" y="6315"/>
                      <a:pt x="3095" y="6422"/>
                    </a:cubicBezTo>
                    <a:cubicBezTo>
                      <a:pt x="3069" y="6476"/>
                      <a:pt x="3046" y="6522"/>
                      <a:pt x="3030" y="6557"/>
                    </a:cubicBezTo>
                    <a:cubicBezTo>
                      <a:pt x="3014" y="6591"/>
                      <a:pt x="3004" y="6616"/>
                      <a:pt x="3004" y="6619"/>
                    </a:cubicBezTo>
                    <a:cubicBezTo>
                      <a:pt x="3003" y="6625"/>
                      <a:pt x="3002" y="6633"/>
                      <a:pt x="3002" y="6641"/>
                    </a:cubicBezTo>
                    <a:cubicBezTo>
                      <a:pt x="3001" y="6700"/>
                      <a:pt x="3039" y="6801"/>
                      <a:pt x="3109" y="6870"/>
                    </a:cubicBezTo>
                    <a:cubicBezTo>
                      <a:pt x="3190" y="6951"/>
                      <a:pt x="3294" y="7012"/>
                      <a:pt x="3413" y="7096"/>
                    </a:cubicBezTo>
                    <a:cubicBezTo>
                      <a:pt x="3535" y="7182"/>
                      <a:pt x="3701" y="7379"/>
                      <a:pt x="3701" y="7379"/>
                    </a:cubicBezTo>
                    <a:cubicBezTo>
                      <a:pt x="3701" y="7379"/>
                      <a:pt x="3701" y="7379"/>
                      <a:pt x="3701" y="7379"/>
                    </a:cubicBezTo>
                    <a:cubicBezTo>
                      <a:pt x="3889" y="7597"/>
                      <a:pt x="3889" y="7597"/>
                      <a:pt x="3889" y="7597"/>
                    </a:cubicBezTo>
                    <a:cubicBezTo>
                      <a:pt x="3890" y="7598"/>
                      <a:pt x="3890" y="7598"/>
                      <a:pt x="3890" y="7598"/>
                    </a:cubicBezTo>
                    <a:cubicBezTo>
                      <a:pt x="3891" y="7600"/>
                      <a:pt x="3897" y="7610"/>
                      <a:pt x="3900" y="7629"/>
                    </a:cubicBezTo>
                    <a:cubicBezTo>
                      <a:pt x="3902" y="7639"/>
                      <a:pt x="3903" y="7651"/>
                      <a:pt x="3904" y="7661"/>
                    </a:cubicBezTo>
                    <a:close/>
                    <a:moveTo>
                      <a:pt x="3953" y="7984"/>
                    </a:moveTo>
                    <a:cubicBezTo>
                      <a:pt x="3958" y="7996"/>
                      <a:pt x="3963" y="8007"/>
                      <a:pt x="3967" y="8015"/>
                    </a:cubicBezTo>
                    <a:cubicBezTo>
                      <a:pt x="3968" y="8018"/>
                      <a:pt x="3970" y="8022"/>
                      <a:pt x="3971" y="8024"/>
                    </a:cubicBezTo>
                    <a:cubicBezTo>
                      <a:pt x="3972" y="8026"/>
                      <a:pt x="3972" y="8027"/>
                      <a:pt x="3973" y="8028"/>
                    </a:cubicBezTo>
                    <a:cubicBezTo>
                      <a:pt x="3980" y="8044"/>
                      <a:pt x="3980" y="8044"/>
                      <a:pt x="3980" y="8044"/>
                    </a:cubicBezTo>
                    <a:cubicBezTo>
                      <a:pt x="4008" y="8040"/>
                      <a:pt x="4035" y="8038"/>
                      <a:pt x="4062" y="8038"/>
                    </a:cubicBezTo>
                    <a:cubicBezTo>
                      <a:pt x="4150" y="8038"/>
                      <a:pt x="4237" y="8053"/>
                      <a:pt x="4341" y="8053"/>
                    </a:cubicBezTo>
                    <a:cubicBezTo>
                      <a:pt x="4367" y="8053"/>
                      <a:pt x="4394" y="8052"/>
                      <a:pt x="4423" y="8050"/>
                    </a:cubicBezTo>
                    <a:cubicBezTo>
                      <a:pt x="4523" y="8042"/>
                      <a:pt x="4693" y="8013"/>
                      <a:pt x="4837" y="7986"/>
                    </a:cubicBezTo>
                    <a:cubicBezTo>
                      <a:pt x="4980" y="7960"/>
                      <a:pt x="5098" y="7935"/>
                      <a:pt x="5098" y="7935"/>
                    </a:cubicBezTo>
                    <a:cubicBezTo>
                      <a:pt x="5106" y="7933"/>
                      <a:pt x="5106" y="7933"/>
                      <a:pt x="5106" y="7933"/>
                    </a:cubicBezTo>
                    <a:cubicBezTo>
                      <a:pt x="5114" y="7934"/>
                      <a:pt x="5114" y="7934"/>
                      <a:pt x="5114" y="7934"/>
                    </a:cubicBezTo>
                    <a:cubicBezTo>
                      <a:pt x="5115" y="7934"/>
                      <a:pt x="5470" y="7959"/>
                      <a:pt x="5833" y="7985"/>
                    </a:cubicBezTo>
                    <a:cubicBezTo>
                      <a:pt x="6040" y="8000"/>
                      <a:pt x="6249" y="8015"/>
                      <a:pt x="6394" y="8025"/>
                    </a:cubicBezTo>
                    <a:cubicBezTo>
                      <a:pt x="6400" y="8004"/>
                      <a:pt x="6406" y="7982"/>
                      <a:pt x="6412" y="7960"/>
                    </a:cubicBezTo>
                    <a:cubicBezTo>
                      <a:pt x="6433" y="7882"/>
                      <a:pt x="6459" y="7797"/>
                      <a:pt x="6513" y="7724"/>
                    </a:cubicBezTo>
                    <a:cubicBezTo>
                      <a:pt x="6542" y="7684"/>
                      <a:pt x="6567" y="7650"/>
                      <a:pt x="6600" y="7618"/>
                    </a:cubicBezTo>
                    <a:cubicBezTo>
                      <a:pt x="6650" y="7570"/>
                      <a:pt x="6714" y="7538"/>
                      <a:pt x="6811" y="7510"/>
                    </a:cubicBezTo>
                    <a:cubicBezTo>
                      <a:pt x="6908" y="7482"/>
                      <a:pt x="7044" y="7454"/>
                      <a:pt x="7256" y="7413"/>
                    </a:cubicBezTo>
                    <a:cubicBezTo>
                      <a:pt x="7805" y="7308"/>
                      <a:pt x="8093" y="7044"/>
                      <a:pt x="8209" y="6844"/>
                    </a:cubicBezTo>
                    <a:cubicBezTo>
                      <a:pt x="8236" y="6800"/>
                      <a:pt x="8257" y="6684"/>
                      <a:pt x="8256" y="6536"/>
                    </a:cubicBezTo>
                    <a:cubicBezTo>
                      <a:pt x="8256" y="6512"/>
                      <a:pt x="8256" y="6488"/>
                      <a:pt x="8255" y="6462"/>
                    </a:cubicBezTo>
                    <a:cubicBezTo>
                      <a:pt x="8059" y="6440"/>
                      <a:pt x="7804" y="6411"/>
                      <a:pt x="7588" y="6387"/>
                    </a:cubicBezTo>
                    <a:cubicBezTo>
                      <a:pt x="7390" y="6365"/>
                      <a:pt x="7226" y="6347"/>
                      <a:pt x="7174" y="6341"/>
                    </a:cubicBezTo>
                    <a:cubicBezTo>
                      <a:pt x="7016" y="7432"/>
                      <a:pt x="7016" y="7432"/>
                      <a:pt x="7016" y="7432"/>
                    </a:cubicBezTo>
                    <a:cubicBezTo>
                      <a:pt x="6980" y="7427"/>
                      <a:pt x="6980" y="7427"/>
                      <a:pt x="6980" y="7427"/>
                    </a:cubicBezTo>
                    <a:cubicBezTo>
                      <a:pt x="7138" y="6337"/>
                      <a:pt x="7138" y="6337"/>
                      <a:pt x="7138" y="6337"/>
                    </a:cubicBezTo>
                    <a:cubicBezTo>
                      <a:pt x="5929" y="6192"/>
                      <a:pt x="5929" y="6192"/>
                      <a:pt x="5929" y="6192"/>
                    </a:cubicBezTo>
                    <a:cubicBezTo>
                      <a:pt x="5726" y="7363"/>
                      <a:pt x="5726" y="7363"/>
                      <a:pt x="5726" y="7363"/>
                    </a:cubicBezTo>
                    <a:cubicBezTo>
                      <a:pt x="5690" y="7357"/>
                      <a:pt x="5690" y="7357"/>
                      <a:pt x="5690" y="7357"/>
                    </a:cubicBezTo>
                    <a:cubicBezTo>
                      <a:pt x="5893" y="6187"/>
                      <a:pt x="5893" y="6187"/>
                      <a:pt x="5893" y="6187"/>
                    </a:cubicBezTo>
                    <a:cubicBezTo>
                      <a:pt x="4736" y="5971"/>
                      <a:pt x="4736" y="5971"/>
                      <a:pt x="4736" y="5971"/>
                    </a:cubicBezTo>
                    <a:cubicBezTo>
                      <a:pt x="4743" y="5935"/>
                      <a:pt x="4743" y="5935"/>
                      <a:pt x="4743" y="5935"/>
                    </a:cubicBezTo>
                    <a:cubicBezTo>
                      <a:pt x="5899" y="6151"/>
                      <a:pt x="5899" y="6151"/>
                      <a:pt x="5899" y="6151"/>
                    </a:cubicBezTo>
                    <a:cubicBezTo>
                      <a:pt x="6115" y="4855"/>
                      <a:pt x="6115" y="4855"/>
                      <a:pt x="6115" y="4855"/>
                    </a:cubicBezTo>
                    <a:cubicBezTo>
                      <a:pt x="6115" y="4855"/>
                      <a:pt x="6125" y="4796"/>
                      <a:pt x="6125" y="4713"/>
                    </a:cubicBezTo>
                    <a:cubicBezTo>
                      <a:pt x="6125" y="4564"/>
                      <a:pt x="6093" y="4344"/>
                      <a:pt x="5931" y="4255"/>
                    </a:cubicBezTo>
                    <a:cubicBezTo>
                      <a:pt x="5662" y="4105"/>
                      <a:pt x="5552" y="3978"/>
                      <a:pt x="5372" y="3901"/>
                    </a:cubicBezTo>
                    <a:cubicBezTo>
                      <a:pt x="5190" y="3823"/>
                      <a:pt x="4949" y="3757"/>
                      <a:pt x="4748" y="3705"/>
                    </a:cubicBezTo>
                    <a:cubicBezTo>
                      <a:pt x="4622" y="3672"/>
                      <a:pt x="4459" y="3619"/>
                      <a:pt x="4277" y="3555"/>
                    </a:cubicBezTo>
                    <a:cubicBezTo>
                      <a:pt x="4272" y="3564"/>
                      <a:pt x="4261" y="3587"/>
                      <a:pt x="4249" y="3615"/>
                    </a:cubicBezTo>
                    <a:cubicBezTo>
                      <a:pt x="4206" y="3712"/>
                      <a:pt x="4134" y="3881"/>
                      <a:pt x="4122" y="3909"/>
                    </a:cubicBezTo>
                    <a:cubicBezTo>
                      <a:pt x="4124" y="3937"/>
                      <a:pt x="4136" y="4088"/>
                      <a:pt x="4136" y="4235"/>
                    </a:cubicBezTo>
                    <a:cubicBezTo>
                      <a:pt x="4136" y="4316"/>
                      <a:pt x="4132" y="4396"/>
                      <a:pt x="4122" y="4453"/>
                    </a:cubicBezTo>
                    <a:cubicBezTo>
                      <a:pt x="4095" y="4599"/>
                      <a:pt x="4033" y="4761"/>
                      <a:pt x="4016" y="4805"/>
                    </a:cubicBezTo>
                    <a:cubicBezTo>
                      <a:pt x="4202" y="4851"/>
                      <a:pt x="4401" y="4907"/>
                      <a:pt x="4574" y="4963"/>
                    </a:cubicBezTo>
                    <a:cubicBezTo>
                      <a:pt x="4688" y="5000"/>
                      <a:pt x="4753" y="5085"/>
                      <a:pt x="4789" y="5176"/>
                    </a:cubicBezTo>
                    <a:cubicBezTo>
                      <a:pt x="4824" y="5266"/>
                      <a:pt x="4832" y="5363"/>
                      <a:pt x="4832" y="5431"/>
                    </a:cubicBezTo>
                    <a:cubicBezTo>
                      <a:pt x="4832" y="5482"/>
                      <a:pt x="4827" y="5517"/>
                      <a:pt x="4827" y="5517"/>
                    </a:cubicBezTo>
                    <a:cubicBezTo>
                      <a:pt x="4827" y="5518"/>
                      <a:pt x="4827" y="5518"/>
                      <a:pt x="4827" y="5518"/>
                    </a:cubicBezTo>
                    <a:cubicBezTo>
                      <a:pt x="4827" y="5519"/>
                      <a:pt x="4827" y="5519"/>
                      <a:pt x="4827" y="5519"/>
                    </a:cubicBezTo>
                    <a:cubicBezTo>
                      <a:pt x="4827" y="5519"/>
                      <a:pt x="4764" y="5822"/>
                      <a:pt x="4696" y="6155"/>
                    </a:cubicBezTo>
                    <a:cubicBezTo>
                      <a:pt x="4629" y="6487"/>
                      <a:pt x="4558" y="6849"/>
                      <a:pt x="4543" y="6964"/>
                    </a:cubicBezTo>
                    <a:cubicBezTo>
                      <a:pt x="4511" y="7199"/>
                      <a:pt x="4443" y="7388"/>
                      <a:pt x="4370" y="7457"/>
                    </a:cubicBezTo>
                    <a:cubicBezTo>
                      <a:pt x="4324" y="7499"/>
                      <a:pt x="4251" y="7538"/>
                      <a:pt x="4206" y="7560"/>
                    </a:cubicBezTo>
                    <a:cubicBezTo>
                      <a:pt x="4206" y="7561"/>
                      <a:pt x="4206" y="7561"/>
                      <a:pt x="4206" y="7561"/>
                    </a:cubicBezTo>
                    <a:cubicBezTo>
                      <a:pt x="4053" y="7637"/>
                      <a:pt x="4053" y="7637"/>
                      <a:pt x="4053" y="7637"/>
                    </a:cubicBezTo>
                    <a:cubicBezTo>
                      <a:pt x="3907" y="7701"/>
                      <a:pt x="3907" y="7701"/>
                      <a:pt x="3907" y="7701"/>
                    </a:cubicBezTo>
                    <a:cubicBezTo>
                      <a:pt x="3907" y="7757"/>
                      <a:pt x="3925" y="7866"/>
                      <a:pt x="3930" y="7897"/>
                    </a:cubicBezTo>
                    <a:cubicBezTo>
                      <a:pt x="3932" y="7896"/>
                      <a:pt x="3932" y="7896"/>
                      <a:pt x="3932" y="7896"/>
                    </a:cubicBezTo>
                    <a:cubicBezTo>
                      <a:pt x="3931" y="7900"/>
                      <a:pt x="3931" y="7900"/>
                      <a:pt x="3931" y="7900"/>
                    </a:cubicBezTo>
                    <a:cubicBezTo>
                      <a:pt x="3935" y="7930"/>
                      <a:pt x="3943" y="7959"/>
                      <a:pt x="3953" y="7984"/>
                    </a:cubicBezTo>
                    <a:close/>
                    <a:moveTo>
                      <a:pt x="5114" y="8049"/>
                    </a:moveTo>
                    <a:cubicBezTo>
                      <a:pt x="5065" y="8059"/>
                      <a:pt x="4807" y="8112"/>
                      <a:pt x="4599" y="8144"/>
                    </a:cubicBezTo>
                    <a:cubicBezTo>
                      <a:pt x="4690" y="8138"/>
                      <a:pt x="4779" y="8137"/>
                      <a:pt x="4861" y="8136"/>
                    </a:cubicBezTo>
                    <a:cubicBezTo>
                      <a:pt x="4972" y="8136"/>
                      <a:pt x="5072" y="8140"/>
                      <a:pt x="5151" y="8143"/>
                    </a:cubicBezTo>
                    <a:cubicBezTo>
                      <a:pt x="5399" y="8155"/>
                      <a:pt x="5899" y="8211"/>
                      <a:pt x="6167" y="8210"/>
                    </a:cubicBezTo>
                    <a:cubicBezTo>
                      <a:pt x="6207" y="8210"/>
                      <a:pt x="6242" y="8209"/>
                      <a:pt x="6268" y="8207"/>
                    </a:cubicBezTo>
                    <a:cubicBezTo>
                      <a:pt x="6294" y="8204"/>
                      <a:pt x="6313" y="8199"/>
                      <a:pt x="6314" y="8198"/>
                    </a:cubicBezTo>
                    <a:cubicBezTo>
                      <a:pt x="6325" y="8194"/>
                      <a:pt x="6338" y="8182"/>
                      <a:pt x="6352" y="8153"/>
                    </a:cubicBezTo>
                    <a:cubicBezTo>
                      <a:pt x="6354" y="8148"/>
                      <a:pt x="6357" y="8143"/>
                      <a:pt x="6359" y="8138"/>
                    </a:cubicBezTo>
                    <a:cubicBezTo>
                      <a:pt x="5971" y="8110"/>
                      <a:pt x="5200" y="8055"/>
                      <a:pt x="5114" y="8049"/>
                    </a:cubicBezTo>
                    <a:close/>
                    <a:moveTo>
                      <a:pt x="492" y="10090"/>
                    </a:moveTo>
                    <a:cubicBezTo>
                      <a:pt x="491" y="10089"/>
                      <a:pt x="489" y="10086"/>
                      <a:pt x="487" y="10085"/>
                    </a:cubicBezTo>
                    <a:cubicBezTo>
                      <a:pt x="484" y="10081"/>
                      <a:pt x="482" y="10078"/>
                      <a:pt x="480" y="10076"/>
                    </a:cubicBezTo>
                    <a:cubicBezTo>
                      <a:pt x="479" y="10075"/>
                      <a:pt x="479" y="10074"/>
                      <a:pt x="478" y="10074"/>
                    </a:cubicBezTo>
                    <a:cubicBezTo>
                      <a:pt x="478" y="10073"/>
                      <a:pt x="477" y="10073"/>
                      <a:pt x="477" y="10072"/>
                    </a:cubicBezTo>
                    <a:cubicBezTo>
                      <a:pt x="477" y="10072"/>
                      <a:pt x="477" y="10072"/>
                      <a:pt x="476" y="10071"/>
                    </a:cubicBezTo>
                    <a:cubicBezTo>
                      <a:pt x="476" y="10071"/>
                      <a:pt x="476" y="10070"/>
                      <a:pt x="475" y="10069"/>
                    </a:cubicBezTo>
                    <a:cubicBezTo>
                      <a:pt x="475" y="10068"/>
                      <a:pt x="474" y="10068"/>
                      <a:pt x="473" y="10061"/>
                    </a:cubicBezTo>
                    <a:cubicBezTo>
                      <a:pt x="473" y="10059"/>
                      <a:pt x="474" y="10057"/>
                      <a:pt x="474" y="10056"/>
                    </a:cubicBezTo>
                    <a:cubicBezTo>
                      <a:pt x="475" y="10054"/>
                      <a:pt x="476" y="10053"/>
                      <a:pt x="477" y="10051"/>
                    </a:cubicBezTo>
                    <a:cubicBezTo>
                      <a:pt x="470" y="10054"/>
                      <a:pt x="464" y="10058"/>
                      <a:pt x="459" y="10062"/>
                    </a:cubicBezTo>
                    <a:cubicBezTo>
                      <a:pt x="447" y="10069"/>
                      <a:pt x="434" y="10079"/>
                      <a:pt x="426" y="10086"/>
                    </a:cubicBezTo>
                    <a:cubicBezTo>
                      <a:pt x="453" y="10093"/>
                      <a:pt x="472" y="10098"/>
                      <a:pt x="476" y="10099"/>
                    </a:cubicBezTo>
                    <a:cubicBezTo>
                      <a:pt x="482" y="10096"/>
                      <a:pt x="487" y="10093"/>
                      <a:pt x="492" y="10090"/>
                    </a:cubicBezTo>
                    <a:close/>
                    <a:moveTo>
                      <a:pt x="3757" y="8332"/>
                    </a:moveTo>
                    <a:cubicBezTo>
                      <a:pt x="3741" y="8295"/>
                      <a:pt x="3741" y="8295"/>
                      <a:pt x="3741" y="8295"/>
                    </a:cubicBezTo>
                    <a:cubicBezTo>
                      <a:pt x="3740" y="8293"/>
                      <a:pt x="3738" y="8292"/>
                      <a:pt x="3737" y="8291"/>
                    </a:cubicBezTo>
                    <a:cubicBezTo>
                      <a:pt x="3716" y="8307"/>
                      <a:pt x="3699" y="8321"/>
                      <a:pt x="3686" y="8331"/>
                    </a:cubicBezTo>
                    <a:cubicBezTo>
                      <a:pt x="3677" y="8337"/>
                      <a:pt x="3671" y="8340"/>
                      <a:pt x="3657" y="8348"/>
                    </a:cubicBezTo>
                    <a:cubicBezTo>
                      <a:pt x="3484" y="8445"/>
                      <a:pt x="2442" y="8992"/>
                      <a:pt x="2256" y="9093"/>
                    </a:cubicBezTo>
                    <a:cubicBezTo>
                      <a:pt x="2256" y="9093"/>
                      <a:pt x="2256" y="9093"/>
                      <a:pt x="2256" y="9093"/>
                    </a:cubicBezTo>
                    <a:cubicBezTo>
                      <a:pt x="2254" y="9095"/>
                      <a:pt x="2254" y="9095"/>
                      <a:pt x="2254" y="9095"/>
                    </a:cubicBezTo>
                    <a:cubicBezTo>
                      <a:pt x="2237" y="9104"/>
                      <a:pt x="2227" y="9109"/>
                      <a:pt x="2228" y="9110"/>
                    </a:cubicBezTo>
                    <a:cubicBezTo>
                      <a:pt x="2227" y="9109"/>
                      <a:pt x="2227" y="9109"/>
                      <a:pt x="2227" y="9109"/>
                    </a:cubicBezTo>
                    <a:cubicBezTo>
                      <a:pt x="1334" y="9592"/>
                      <a:pt x="1334" y="9592"/>
                      <a:pt x="1334" y="9592"/>
                    </a:cubicBezTo>
                    <a:cubicBezTo>
                      <a:pt x="500" y="10039"/>
                      <a:pt x="500" y="10039"/>
                      <a:pt x="500" y="10039"/>
                    </a:cubicBezTo>
                    <a:cubicBezTo>
                      <a:pt x="499" y="10039"/>
                      <a:pt x="499" y="10039"/>
                      <a:pt x="499" y="10039"/>
                    </a:cubicBezTo>
                    <a:cubicBezTo>
                      <a:pt x="499" y="10039"/>
                      <a:pt x="496" y="10040"/>
                      <a:pt x="493" y="10042"/>
                    </a:cubicBezTo>
                    <a:cubicBezTo>
                      <a:pt x="498" y="10042"/>
                      <a:pt x="502" y="10044"/>
                      <a:pt x="506" y="10048"/>
                    </a:cubicBezTo>
                    <a:cubicBezTo>
                      <a:pt x="506" y="10049"/>
                      <a:pt x="507" y="10050"/>
                      <a:pt x="508" y="10051"/>
                    </a:cubicBezTo>
                    <a:cubicBezTo>
                      <a:pt x="509" y="10053"/>
                      <a:pt x="516" y="10060"/>
                      <a:pt x="526" y="10071"/>
                    </a:cubicBezTo>
                    <a:cubicBezTo>
                      <a:pt x="592" y="10034"/>
                      <a:pt x="593" y="10034"/>
                      <a:pt x="600" y="10029"/>
                    </a:cubicBezTo>
                    <a:cubicBezTo>
                      <a:pt x="601" y="10028"/>
                      <a:pt x="601" y="10028"/>
                      <a:pt x="601" y="10028"/>
                    </a:cubicBezTo>
                    <a:cubicBezTo>
                      <a:pt x="602" y="10028"/>
                      <a:pt x="602" y="10028"/>
                      <a:pt x="602" y="10028"/>
                    </a:cubicBezTo>
                    <a:cubicBezTo>
                      <a:pt x="602" y="10028"/>
                      <a:pt x="1439" y="9585"/>
                      <a:pt x="2268" y="9138"/>
                    </a:cubicBezTo>
                    <a:cubicBezTo>
                      <a:pt x="2913" y="8790"/>
                      <a:pt x="3560" y="8432"/>
                      <a:pt x="3757" y="8332"/>
                    </a:cubicBezTo>
                    <a:close/>
                    <a:moveTo>
                      <a:pt x="4339" y="8167"/>
                    </a:moveTo>
                    <a:cubicBezTo>
                      <a:pt x="4226" y="8167"/>
                      <a:pt x="4136" y="8153"/>
                      <a:pt x="4062" y="8153"/>
                    </a:cubicBezTo>
                    <a:cubicBezTo>
                      <a:pt x="4026" y="8153"/>
                      <a:pt x="3994" y="8156"/>
                      <a:pt x="3963" y="8164"/>
                    </a:cubicBezTo>
                    <a:cubicBezTo>
                      <a:pt x="3905" y="8180"/>
                      <a:pt x="3846" y="8213"/>
                      <a:pt x="3797" y="8247"/>
                    </a:cubicBezTo>
                    <a:cubicBezTo>
                      <a:pt x="3788" y="8253"/>
                      <a:pt x="3780" y="8259"/>
                      <a:pt x="3772" y="8265"/>
                    </a:cubicBezTo>
                    <a:cubicBezTo>
                      <a:pt x="3781" y="8295"/>
                      <a:pt x="3781" y="8295"/>
                      <a:pt x="3781" y="8295"/>
                    </a:cubicBezTo>
                    <a:cubicBezTo>
                      <a:pt x="3789" y="8316"/>
                      <a:pt x="3789" y="8316"/>
                      <a:pt x="3789" y="8316"/>
                    </a:cubicBezTo>
                    <a:cubicBezTo>
                      <a:pt x="3953" y="8238"/>
                      <a:pt x="4145" y="8193"/>
                      <a:pt x="4339" y="8167"/>
                    </a:cubicBezTo>
                    <a:close/>
                    <a:moveTo>
                      <a:pt x="4181" y="9251"/>
                    </a:moveTo>
                    <a:cubicBezTo>
                      <a:pt x="4294" y="9245"/>
                      <a:pt x="4740" y="9218"/>
                      <a:pt x="4951" y="9184"/>
                    </a:cubicBezTo>
                    <a:cubicBezTo>
                      <a:pt x="5187" y="9146"/>
                      <a:pt x="5325" y="8976"/>
                      <a:pt x="5383" y="8913"/>
                    </a:cubicBezTo>
                    <a:cubicBezTo>
                      <a:pt x="5416" y="8877"/>
                      <a:pt x="5428" y="8826"/>
                      <a:pt x="5428" y="8763"/>
                    </a:cubicBezTo>
                    <a:cubicBezTo>
                      <a:pt x="5428" y="8726"/>
                      <a:pt x="5424" y="8685"/>
                      <a:pt x="5419" y="8642"/>
                    </a:cubicBezTo>
                    <a:cubicBezTo>
                      <a:pt x="5408" y="8555"/>
                      <a:pt x="5374" y="8377"/>
                      <a:pt x="5359" y="8297"/>
                    </a:cubicBezTo>
                    <a:cubicBezTo>
                      <a:pt x="5277" y="8291"/>
                      <a:pt x="5203" y="8285"/>
                      <a:pt x="5145" y="8283"/>
                    </a:cubicBezTo>
                    <a:cubicBezTo>
                      <a:pt x="5067" y="8279"/>
                      <a:pt x="4969" y="8276"/>
                      <a:pt x="4861" y="8276"/>
                    </a:cubicBezTo>
                    <a:cubicBezTo>
                      <a:pt x="4539" y="8275"/>
                      <a:pt x="4121" y="8308"/>
                      <a:pt x="3843" y="8445"/>
                    </a:cubicBezTo>
                    <a:cubicBezTo>
                      <a:pt x="4178" y="9250"/>
                      <a:pt x="4178" y="9250"/>
                      <a:pt x="4178" y="9250"/>
                    </a:cubicBezTo>
                    <a:lnTo>
                      <a:pt x="4181" y="9251"/>
                    </a:lnTo>
                    <a:close/>
                    <a:moveTo>
                      <a:pt x="5358" y="10042"/>
                    </a:moveTo>
                    <a:cubicBezTo>
                      <a:pt x="5366" y="9958"/>
                      <a:pt x="5391" y="9677"/>
                      <a:pt x="5391" y="9539"/>
                    </a:cubicBezTo>
                    <a:cubicBezTo>
                      <a:pt x="5391" y="9521"/>
                      <a:pt x="5390" y="9505"/>
                      <a:pt x="5390" y="9493"/>
                    </a:cubicBezTo>
                    <a:cubicBezTo>
                      <a:pt x="5385" y="9433"/>
                      <a:pt x="5361" y="9364"/>
                      <a:pt x="5337" y="9305"/>
                    </a:cubicBezTo>
                    <a:cubicBezTo>
                      <a:pt x="5313" y="9246"/>
                      <a:pt x="5290" y="9199"/>
                      <a:pt x="5284" y="9176"/>
                    </a:cubicBezTo>
                    <a:cubicBezTo>
                      <a:pt x="5280" y="9161"/>
                      <a:pt x="5265" y="9137"/>
                      <a:pt x="5251" y="9118"/>
                    </a:cubicBezTo>
                    <a:cubicBezTo>
                      <a:pt x="5243" y="9108"/>
                      <a:pt x="5236" y="9099"/>
                      <a:pt x="5230" y="9093"/>
                    </a:cubicBezTo>
                    <a:cubicBezTo>
                      <a:pt x="5159" y="9145"/>
                      <a:pt x="5068" y="9192"/>
                      <a:pt x="4955" y="9210"/>
                    </a:cubicBezTo>
                    <a:cubicBezTo>
                      <a:pt x="4745" y="9244"/>
                      <a:pt x="4316" y="9270"/>
                      <a:pt x="4190" y="9276"/>
                    </a:cubicBezTo>
                    <a:cubicBezTo>
                      <a:pt x="4190" y="9277"/>
                      <a:pt x="4190" y="9277"/>
                      <a:pt x="4190" y="9277"/>
                    </a:cubicBezTo>
                    <a:cubicBezTo>
                      <a:pt x="4616" y="10205"/>
                      <a:pt x="4616" y="10205"/>
                      <a:pt x="4616" y="10205"/>
                    </a:cubicBezTo>
                    <a:cubicBezTo>
                      <a:pt x="4690" y="10186"/>
                      <a:pt x="4763" y="10168"/>
                      <a:pt x="4832" y="10152"/>
                    </a:cubicBezTo>
                    <a:cubicBezTo>
                      <a:pt x="5001" y="10112"/>
                      <a:pt x="5178" y="10082"/>
                      <a:pt x="5346" y="10060"/>
                    </a:cubicBezTo>
                    <a:lnTo>
                      <a:pt x="5358" y="10042"/>
                    </a:lnTo>
                    <a:close/>
                    <a:moveTo>
                      <a:pt x="6619" y="8174"/>
                    </a:moveTo>
                    <a:cubicBezTo>
                      <a:pt x="6616" y="8173"/>
                      <a:pt x="6616" y="8173"/>
                      <a:pt x="6616" y="8173"/>
                    </a:cubicBezTo>
                    <a:cubicBezTo>
                      <a:pt x="6621" y="8154"/>
                      <a:pt x="6621" y="8154"/>
                      <a:pt x="6621" y="8154"/>
                    </a:cubicBezTo>
                    <a:cubicBezTo>
                      <a:pt x="6619" y="8154"/>
                      <a:pt x="6618" y="8154"/>
                      <a:pt x="6616" y="8154"/>
                    </a:cubicBezTo>
                    <a:cubicBezTo>
                      <a:pt x="6603" y="8154"/>
                      <a:pt x="6591" y="8153"/>
                      <a:pt x="6579" y="8153"/>
                    </a:cubicBezTo>
                    <a:cubicBezTo>
                      <a:pt x="6573" y="8152"/>
                      <a:pt x="6546" y="8151"/>
                      <a:pt x="6504" y="8148"/>
                    </a:cubicBezTo>
                    <a:cubicBezTo>
                      <a:pt x="6496" y="8170"/>
                      <a:pt x="6488" y="8193"/>
                      <a:pt x="6477" y="8214"/>
                    </a:cubicBezTo>
                    <a:cubicBezTo>
                      <a:pt x="6456" y="8258"/>
                      <a:pt x="6423" y="8302"/>
                      <a:pt x="6370" y="8326"/>
                    </a:cubicBezTo>
                    <a:cubicBezTo>
                      <a:pt x="6342" y="8338"/>
                      <a:pt x="6315" y="8342"/>
                      <a:pt x="6281" y="8345"/>
                    </a:cubicBezTo>
                    <a:cubicBezTo>
                      <a:pt x="6248" y="8349"/>
                      <a:pt x="6210" y="8350"/>
                      <a:pt x="6167" y="8350"/>
                    </a:cubicBezTo>
                    <a:cubicBezTo>
                      <a:pt x="5960" y="8350"/>
                      <a:pt x="5638" y="8320"/>
                      <a:pt x="5386" y="8299"/>
                    </a:cubicBezTo>
                    <a:cubicBezTo>
                      <a:pt x="5402" y="8382"/>
                      <a:pt x="5434" y="8553"/>
                      <a:pt x="5445" y="8639"/>
                    </a:cubicBezTo>
                    <a:cubicBezTo>
                      <a:pt x="5450" y="8682"/>
                      <a:pt x="5454" y="8724"/>
                      <a:pt x="5454" y="8763"/>
                    </a:cubicBezTo>
                    <a:cubicBezTo>
                      <a:pt x="5454" y="8828"/>
                      <a:pt x="5442" y="8887"/>
                      <a:pt x="5403" y="8930"/>
                    </a:cubicBezTo>
                    <a:cubicBezTo>
                      <a:pt x="5374" y="8961"/>
                      <a:pt x="5324" y="9021"/>
                      <a:pt x="5252" y="9077"/>
                    </a:cubicBezTo>
                    <a:cubicBezTo>
                      <a:pt x="5267" y="9096"/>
                      <a:pt x="5300" y="9136"/>
                      <a:pt x="5309" y="9170"/>
                    </a:cubicBezTo>
                    <a:cubicBezTo>
                      <a:pt x="5313" y="9186"/>
                      <a:pt x="5337" y="9236"/>
                      <a:pt x="5362" y="9295"/>
                    </a:cubicBezTo>
                    <a:cubicBezTo>
                      <a:pt x="5386" y="9355"/>
                      <a:pt x="5411" y="9426"/>
                      <a:pt x="5416" y="9491"/>
                    </a:cubicBezTo>
                    <a:cubicBezTo>
                      <a:pt x="5417" y="9505"/>
                      <a:pt x="5417" y="9521"/>
                      <a:pt x="5417" y="9539"/>
                    </a:cubicBezTo>
                    <a:cubicBezTo>
                      <a:pt x="5417" y="9675"/>
                      <a:pt x="5394" y="9943"/>
                      <a:pt x="5385" y="10036"/>
                    </a:cubicBezTo>
                    <a:cubicBezTo>
                      <a:pt x="5390" y="10054"/>
                      <a:pt x="5390" y="10054"/>
                      <a:pt x="5390" y="10054"/>
                    </a:cubicBezTo>
                    <a:cubicBezTo>
                      <a:pt x="5612" y="10025"/>
                      <a:pt x="5817" y="10009"/>
                      <a:pt x="5972" y="10000"/>
                    </a:cubicBezTo>
                    <a:lnTo>
                      <a:pt x="6619" y="8174"/>
                    </a:lnTo>
                    <a:close/>
                    <a:moveTo>
                      <a:pt x="6979" y="7868"/>
                    </a:moveTo>
                    <a:cubicBezTo>
                      <a:pt x="6978" y="7846"/>
                      <a:pt x="6978" y="7846"/>
                      <a:pt x="6978" y="7846"/>
                    </a:cubicBezTo>
                    <a:cubicBezTo>
                      <a:pt x="6922" y="7859"/>
                      <a:pt x="6883" y="7883"/>
                      <a:pt x="6857" y="7906"/>
                    </a:cubicBezTo>
                    <a:cubicBezTo>
                      <a:pt x="6843" y="7918"/>
                      <a:pt x="6833" y="7929"/>
                      <a:pt x="6827" y="7937"/>
                    </a:cubicBezTo>
                    <a:cubicBezTo>
                      <a:pt x="6824" y="7941"/>
                      <a:pt x="6822" y="7944"/>
                      <a:pt x="6821" y="7946"/>
                    </a:cubicBezTo>
                    <a:cubicBezTo>
                      <a:pt x="6820" y="7946"/>
                      <a:pt x="6820" y="7946"/>
                      <a:pt x="6820" y="7947"/>
                    </a:cubicBezTo>
                    <a:cubicBezTo>
                      <a:pt x="6800" y="7983"/>
                      <a:pt x="6781" y="8022"/>
                      <a:pt x="6767" y="8052"/>
                    </a:cubicBezTo>
                    <a:cubicBezTo>
                      <a:pt x="6752" y="8082"/>
                      <a:pt x="6743" y="8103"/>
                      <a:pt x="6743" y="8103"/>
                    </a:cubicBezTo>
                    <a:cubicBezTo>
                      <a:pt x="6737" y="8116"/>
                      <a:pt x="6737" y="8116"/>
                      <a:pt x="6737" y="8116"/>
                    </a:cubicBezTo>
                    <a:cubicBezTo>
                      <a:pt x="6726" y="8124"/>
                      <a:pt x="6726" y="8124"/>
                      <a:pt x="6726" y="8124"/>
                    </a:cubicBezTo>
                    <a:cubicBezTo>
                      <a:pt x="6706" y="8140"/>
                      <a:pt x="6685" y="8147"/>
                      <a:pt x="6665" y="8150"/>
                    </a:cubicBezTo>
                    <a:cubicBezTo>
                      <a:pt x="6011" y="9998"/>
                      <a:pt x="6011" y="9998"/>
                      <a:pt x="6011" y="9998"/>
                    </a:cubicBezTo>
                    <a:cubicBezTo>
                      <a:pt x="6159" y="9990"/>
                      <a:pt x="6251" y="9989"/>
                      <a:pt x="6251" y="9989"/>
                    </a:cubicBezTo>
                    <a:cubicBezTo>
                      <a:pt x="6251" y="10013"/>
                      <a:pt x="6251" y="10013"/>
                      <a:pt x="6251" y="10013"/>
                    </a:cubicBezTo>
                    <a:cubicBezTo>
                      <a:pt x="6264" y="9975"/>
                      <a:pt x="6306" y="9851"/>
                      <a:pt x="6365" y="9680"/>
                    </a:cubicBezTo>
                    <a:cubicBezTo>
                      <a:pt x="6470" y="9369"/>
                      <a:pt x="6629" y="8902"/>
                      <a:pt x="6761" y="8513"/>
                    </a:cubicBezTo>
                    <a:cubicBezTo>
                      <a:pt x="6827" y="8318"/>
                      <a:pt x="6886" y="8143"/>
                      <a:pt x="6929" y="8016"/>
                    </a:cubicBezTo>
                    <a:cubicBezTo>
                      <a:pt x="6950" y="7954"/>
                      <a:pt x="6967" y="7903"/>
                      <a:pt x="6979" y="7868"/>
                    </a:cubicBezTo>
                    <a:close/>
                    <a:moveTo>
                      <a:pt x="8018" y="8105"/>
                    </a:moveTo>
                    <a:cubicBezTo>
                      <a:pt x="8014" y="8102"/>
                      <a:pt x="7998" y="8092"/>
                      <a:pt x="7973" y="8076"/>
                    </a:cubicBezTo>
                    <a:cubicBezTo>
                      <a:pt x="7884" y="8019"/>
                      <a:pt x="7679" y="7899"/>
                      <a:pt x="7527" y="7862"/>
                    </a:cubicBezTo>
                    <a:cubicBezTo>
                      <a:pt x="7527" y="7862"/>
                      <a:pt x="7526" y="7862"/>
                      <a:pt x="7525" y="7862"/>
                    </a:cubicBezTo>
                    <a:cubicBezTo>
                      <a:pt x="7523" y="7865"/>
                      <a:pt x="7520" y="7869"/>
                      <a:pt x="7517" y="7873"/>
                    </a:cubicBezTo>
                    <a:cubicBezTo>
                      <a:pt x="6856" y="9940"/>
                      <a:pt x="6856" y="9940"/>
                      <a:pt x="6856" y="9940"/>
                    </a:cubicBezTo>
                    <a:cubicBezTo>
                      <a:pt x="7213" y="9693"/>
                      <a:pt x="7213" y="9693"/>
                      <a:pt x="7213" y="9693"/>
                    </a:cubicBezTo>
                    <a:cubicBezTo>
                      <a:pt x="8015" y="8113"/>
                      <a:pt x="8015" y="8113"/>
                      <a:pt x="8015" y="8113"/>
                    </a:cubicBezTo>
                    <a:cubicBezTo>
                      <a:pt x="8016" y="8110"/>
                      <a:pt x="8017" y="8108"/>
                      <a:pt x="8018" y="8105"/>
                    </a:cubicBezTo>
                    <a:close/>
                    <a:moveTo>
                      <a:pt x="8174" y="7989"/>
                    </a:moveTo>
                    <a:cubicBezTo>
                      <a:pt x="8246" y="7980"/>
                      <a:pt x="8336" y="7967"/>
                      <a:pt x="8406" y="7951"/>
                    </a:cubicBezTo>
                    <a:cubicBezTo>
                      <a:pt x="8467" y="7937"/>
                      <a:pt x="8542" y="7894"/>
                      <a:pt x="8600" y="7852"/>
                    </a:cubicBezTo>
                    <a:cubicBezTo>
                      <a:pt x="8625" y="7835"/>
                      <a:pt x="8646" y="7818"/>
                      <a:pt x="8663" y="7804"/>
                    </a:cubicBezTo>
                    <a:cubicBezTo>
                      <a:pt x="8624" y="7758"/>
                      <a:pt x="8591" y="7710"/>
                      <a:pt x="8569" y="7661"/>
                    </a:cubicBezTo>
                    <a:cubicBezTo>
                      <a:pt x="8529" y="7570"/>
                      <a:pt x="8521" y="7473"/>
                      <a:pt x="8520" y="7383"/>
                    </a:cubicBezTo>
                    <a:cubicBezTo>
                      <a:pt x="8520" y="7322"/>
                      <a:pt x="8525" y="7264"/>
                      <a:pt x="8527" y="7214"/>
                    </a:cubicBezTo>
                    <a:cubicBezTo>
                      <a:pt x="8531" y="7131"/>
                      <a:pt x="8540" y="6819"/>
                      <a:pt x="8540" y="6528"/>
                    </a:cubicBezTo>
                    <a:cubicBezTo>
                      <a:pt x="8540" y="6517"/>
                      <a:pt x="8540" y="6507"/>
                      <a:pt x="8540" y="6497"/>
                    </a:cubicBezTo>
                    <a:cubicBezTo>
                      <a:pt x="8535" y="6496"/>
                      <a:pt x="8529" y="6495"/>
                      <a:pt x="8522" y="6494"/>
                    </a:cubicBezTo>
                    <a:cubicBezTo>
                      <a:pt x="8512" y="6494"/>
                      <a:pt x="8512" y="6494"/>
                      <a:pt x="8512" y="6494"/>
                    </a:cubicBezTo>
                    <a:cubicBezTo>
                      <a:pt x="8512" y="6494"/>
                      <a:pt x="8512" y="6493"/>
                      <a:pt x="8512" y="6493"/>
                    </a:cubicBezTo>
                    <a:cubicBezTo>
                      <a:pt x="8483" y="6489"/>
                      <a:pt x="8442" y="6484"/>
                      <a:pt x="8395" y="6479"/>
                    </a:cubicBezTo>
                    <a:cubicBezTo>
                      <a:pt x="8395" y="6498"/>
                      <a:pt x="8396" y="6518"/>
                      <a:pt x="8396" y="6536"/>
                    </a:cubicBezTo>
                    <a:cubicBezTo>
                      <a:pt x="8395" y="6697"/>
                      <a:pt x="8379" y="6824"/>
                      <a:pt x="8329" y="6913"/>
                    </a:cubicBezTo>
                    <a:cubicBezTo>
                      <a:pt x="8191" y="7153"/>
                      <a:pt x="7865" y="7438"/>
                      <a:pt x="7283" y="7550"/>
                    </a:cubicBezTo>
                    <a:cubicBezTo>
                      <a:pt x="7001" y="7604"/>
                      <a:pt x="6856" y="7636"/>
                      <a:pt x="6778" y="7669"/>
                    </a:cubicBezTo>
                    <a:cubicBezTo>
                      <a:pt x="6739" y="7685"/>
                      <a:pt x="6717" y="7700"/>
                      <a:pt x="6696" y="7719"/>
                    </a:cubicBezTo>
                    <a:cubicBezTo>
                      <a:pt x="6675" y="7739"/>
                      <a:pt x="6654" y="7767"/>
                      <a:pt x="6625" y="7807"/>
                    </a:cubicBezTo>
                    <a:cubicBezTo>
                      <a:pt x="6584" y="7861"/>
                      <a:pt x="6559" y="7947"/>
                      <a:pt x="6536" y="8035"/>
                    </a:cubicBezTo>
                    <a:cubicBezTo>
                      <a:pt x="6563" y="8037"/>
                      <a:pt x="6580" y="8038"/>
                      <a:pt x="6584" y="8038"/>
                    </a:cubicBezTo>
                    <a:cubicBezTo>
                      <a:pt x="6596" y="8039"/>
                      <a:pt x="6606" y="8039"/>
                      <a:pt x="6616" y="8039"/>
                    </a:cubicBezTo>
                    <a:cubicBezTo>
                      <a:pt x="6629" y="8039"/>
                      <a:pt x="6640" y="8038"/>
                      <a:pt x="6647" y="8037"/>
                    </a:cubicBezTo>
                    <a:cubicBezTo>
                      <a:pt x="6661" y="8007"/>
                      <a:pt x="6689" y="7946"/>
                      <a:pt x="6720" y="7891"/>
                    </a:cubicBezTo>
                    <a:cubicBezTo>
                      <a:pt x="6720" y="7890"/>
                      <a:pt x="6720" y="7890"/>
                      <a:pt x="6720" y="7890"/>
                    </a:cubicBezTo>
                    <a:cubicBezTo>
                      <a:pt x="6721" y="7889"/>
                      <a:pt x="6721" y="7889"/>
                      <a:pt x="6721" y="7889"/>
                    </a:cubicBezTo>
                    <a:cubicBezTo>
                      <a:pt x="6725" y="7882"/>
                      <a:pt x="6797" y="7762"/>
                      <a:pt x="6971" y="7730"/>
                    </a:cubicBezTo>
                    <a:cubicBezTo>
                      <a:pt x="7043" y="7717"/>
                      <a:pt x="7123" y="7708"/>
                      <a:pt x="7211" y="7708"/>
                    </a:cubicBezTo>
                    <a:cubicBezTo>
                      <a:pt x="7316" y="7708"/>
                      <a:pt x="7431" y="7720"/>
                      <a:pt x="7555" y="7751"/>
                    </a:cubicBezTo>
                    <a:cubicBezTo>
                      <a:pt x="7759" y="7802"/>
                      <a:pt x="8001" y="7957"/>
                      <a:pt x="8068" y="8000"/>
                    </a:cubicBezTo>
                    <a:cubicBezTo>
                      <a:pt x="8089" y="7998"/>
                      <a:pt x="8128" y="7994"/>
                      <a:pt x="8174" y="7989"/>
                    </a:cubicBezTo>
                    <a:close/>
                    <a:moveTo>
                      <a:pt x="9264" y="8896"/>
                    </a:moveTo>
                    <a:cubicBezTo>
                      <a:pt x="9121" y="8818"/>
                      <a:pt x="8859" y="8654"/>
                      <a:pt x="8727" y="8573"/>
                    </a:cubicBezTo>
                    <a:cubicBezTo>
                      <a:pt x="8716" y="8579"/>
                      <a:pt x="8716" y="8579"/>
                      <a:pt x="8716" y="8579"/>
                    </a:cubicBezTo>
                    <a:cubicBezTo>
                      <a:pt x="8670" y="8652"/>
                      <a:pt x="8490" y="8933"/>
                      <a:pt x="8308" y="9214"/>
                    </a:cubicBezTo>
                    <a:cubicBezTo>
                      <a:pt x="8202" y="9377"/>
                      <a:pt x="8096" y="9541"/>
                      <a:pt x="8016" y="9663"/>
                    </a:cubicBezTo>
                    <a:cubicBezTo>
                      <a:pt x="7975" y="9725"/>
                      <a:pt x="7941" y="9776"/>
                      <a:pt x="7917" y="9811"/>
                    </a:cubicBezTo>
                    <a:cubicBezTo>
                      <a:pt x="7905" y="9829"/>
                      <a:pt x="7895" y="9843"/>
                      <a:pt x="7888" y="9853"/>
                    </a:cubicBezTo>
                    <a:cubicBezTo>
                      <a:pt x="7887" y="9855"/>
                      <a:pt x="7886" y="9856"/>
                      <a:pt x="7885" y="9857"/>
                    </a:cubicBezTo>
                    <a:cubicBezTo>
                      <a:pt x="7928" y="9886"/>
                      <a:pt x="8080" y="9988"/>
                      <a:pt x="8234" y="10091"/>
                    </a:cubicBezTo>
                    <a:cubicBezTo>
                      <a:pt x="8325" y="10152"/>
                      <a:pt x="8416" y="10212"/>
                      <a:pt x="8485" y="10257"/>
                    </a:cubicBezTo>
                    <a:cubicBezTo>
                      <a:pt x="8513" y="10276"/>
                      <a:pt x="8536" y="10291"/>
                      <a:pt x="8555" y="10303"/>
                    </a:cubicBezTo>
                    <a:cubicBezTo>
                      <a:pt x="8563" y="10304"/>
                      <a:pt x="8571" y="10305"/>
                      <a:pt x="8578" y="10305"/>
                    </a:cubicBezTo>
                    <a:lnTo>
                      <a:pt x="9264" y="8896"/>
                    </a:lnTo>
                    <a:close/>
                    <a:moveTo>
                      <a:pt x="11191" y="8792"/>
                    </a:moveTo>
                    <a:cubicBezTo>
                      <a:pt x="11191" y="8788"/>
                      <a:pt x="11191" y="8783"/>
                      <a:pt x="11190" y="8780"/>
                    </a:cubicBezTo>
                    <a:cubicBezTo>
                      <a:pt x="11120" y="8767"/>
                      <a:pt x="10710" y="8692"/>
                      <a:pt x="10247" y="8540"/>
                    </a:cubicBezTo>
                    <a:cubicBezTo>
                      <a:pt x="9739" y="8373"/>
                      <a:pt x="9132" y="8098"/>
                      <a:pt x="8970" y="8028"/>
                    </a:cubicBezTo>
                    <a:cubicBezTo>
                      <a:pt x="8889" y="7992"/>
                      <a:pt x="8811" y="7943"/>
                      <a:pt x="8745" y="7885"/>
                    </a:cubicBezTo>
                    <a:cubicBezTo>
                      <a:pt x="8720" y="7906"/>
                      <a:pt x="8684" y="7934"/>
                      <a:pt x="8641" y="7963"/>
                    </a:cubicBezTo>
                    <a:cubicBezTo>
                      <a:pt x="8581" y="8003"/>
                      <a:pt x="8509" y="8045"/>
                      <a:pt x="8432" y="8063"/>
                    </a:cubicBezTo>
                    <a:cubicBezTo>
                      <a:pt x="8342" y="8083"/>
                      <a:pt x="8230" y="8098"/>
                      <a:pt x="8152" y="8107"/>
                    </a:cubicBezTo>
                    <a:cubicBezTo>
                      <a:pt x="8159" y="8125"/>
                      <a:pt x="8159" y="8125"/>
                      <a:pt x="8159" y="8125"/>
                    </a:cubicBezTo>
                    <a:cubicBezTo>
                      <a:pt x="8208" y="8162"/>
                      <a:pt x="8280" y="8215"/>
                      <a:pt x="8355" y="8270"/>
                    </a:cubicBezTo>
                    <a:cubicBezTo>
                      <a:pt x="8493" y="8371"/>
                      <a:pt x="8644" y="8481"/>
                      <a:pt x="8693" y="8510"/>
                    </a:cubicBezTo>
                    <a:cubicBezTo>
                      <a:pt x="8796" y="8572"/>
                      <a:pt x="9139" y="8788"/>
                      <a:pt x="9297" y="8873"/>
                    </a:cubicBezTo>
                    <a:cubicBezTo>
                      <a:pt x="9456" y="8959"/>
                      <a:pt x="9877" y="9187"/>
                      <a:pt x="10038" y="9256"/>
                    </a:cubicBezTo>
                    <a:cubicBezTo>
                      <a:pt x="10202" y="9326"/>
                      <a:pt x="10663" y="9542"/>
                      <a:pt x="10663" y="9542"/>
                    </a:cubicBezTo>
                    <a:cubicBezTo>
                      <a:pt x="10664" y="9542"/>
                      <a:pt x="10664" y="9542"/>
                      <a:pt x="10664" y="9542"/>
                    </a:cubicBezTo>
                    <a:cubicBezTo>
                      <a:pt x="10665" y="9543"/>
                      <a:pt x="10665" y="9543"/>
                      <a:pt x="10665" y="9543"/>
                    </a:cubicBezTo>
                    <a:cubicBezTo>
                      <a:pt x="10693" y="9518"/>
                      <a:pt x="10738" y="9477"/>
                      <a:pt x="10790" y="9430"/>
                    </a:cubicBezTo>
                    <a:cubicBezTo>
                      <a:pt x="10876" y="9350"/>
                      <a:pt x="10981" y="9251"/>
                      <a:pt x="11054" y="9174"/>
                    </a:cubicBezTo>
                    <a:cubicBezTo>
                      <a:pt x="11154" y="9070"/>
                      <a:pt x="11182" y="8900"/>
                      <a:pt x="11189" y="8812"/>
                    </a:cubicBezTo>
                    <a:cubicBezTo>
                      <a:pt x="11190" y="8812"/>
                      <a:pt x="11189" y="8812"/>
                      <a:pt x="11189" y="8812"/>
                    </a:cubicBezTo>
                    <a:cubicBezTo>
                      <a:pt x="11189" y="8812"/>
                      <a:pt x="11189" y="8812"/>
                      <a:pt x="11189" y="8812"/>
                    </a:cubicBezTo>
                    <a:cubicBezTo>
                      <a:pt x="11190" y="8804"/>
                      <a:pt x="11191" y="8798"/>
                      <a:pt x="11191" y="8792"/>
                    </a:cubicBezTo>
                    <a:close/>
                    <a:moveTo>
                      <a:pt x="12488" y="8730"/>
                    </a:moveTo>
                    <a:cubicBezTo>
                      <a:pt x="12026" y="7226"/>
                      <a:pt x="12026" y="7226"/>
                      <a:pt x="12026" y="7226"/>
                    </a:cubicBezTo>
                    <a:cubicBezTo>
                      <a:pt x="12026" y="7226"/>
                      <a:pt x="12024" y="7219"/>
                      <a:pt x="12019" y="7208"/>
                    </a:cubicBezTo>
                    <a:cubicBezTo>
                      <a:pt x="12006" y="7173"/>
                      <a:pt x="11968" y="7101"/>
                      <a:pt x="11891" y="7072"/>
                    </a:cubicBezTo>
                    <a:cubicBezTo>
                      <a:pt x="11846" y="7145"/>
                      <a:pt x="11785" y="7206"/>
                      <a:pt x="11701" y="7224"/>
                    </a:cubicBezTo>
                    <a:cubicBezTo>
                      <a:pt x="11694" y="7226"/>
                      <a:pt x="11688" y="7227"/>
                      <a:pt x="11678" y="7227"/>
                    </a:cubicBezTo>
                    <a:cubicBezTo>
                      <a:pt x="11667" y="7228"/>
                      <a:pt x="11654" y="7228"/>
                      <a:pt x="11639" y="7228"/>
                    </a:cubicBezTo>
                    <a:cubicBezTo>
                      <a:pt x="11540" y="7228"/>
                      <a:pt x="11353" y="7218"/>
                      <a:pt x="11353" y="7218"/>
                    </a:cubicBezTo>
                    <a:cubicBezTo>
                      <a:pt x="11352" y="7218"/>
                      <a:pt x="11201" y="7207"/>
                      <a:pt x="11050" y="7196"/>
                    </a:cubicBezTo>
                    <a:cubicBezTo>
                      <a:pt x="10975" y="7190"/>
                      <a:pt x="10899" y="7185"/>
                      <a:pt x="10842" y="7181"/>
                    </a:cubicBezTo>
                    <a:cubicBezTo>
                      <a:pt x="10814" y="7178"/>
                      <a:pt x="10790" y="7177"/>
                      <a:pt x="10774" y="7175"/>
                    </a:cubicBezTo>
                    <a:cubicBezTo>
                      <a:pt x="10766" y="7175"/>
                      <a:pt x="10759" y="7174"/>
                      <a:pt x="10755" y="7174"/>
                    </a:cubicBezTo>
                    <a:cubicBezTo>
                      <a:pt x="10752" y="7174"/>
                      <a:pt x="10751" y="7174"/>
                      <a:pt x="10749" y="7173"/>
                    </a:cubicBezTo>
                    <a:cubicBezTo>
                      <a:pt x="10749" y="7173"/>
                      <a:pt x="10748" y="7173"/>
                      <a:pt x="10748" y="7173"/>
                    </a:cubicBezTo>
                    <a:cubicBezTo>
                      <a:pt x="10748" y="7173"/>
                      <a:pt x="10747" y="7173"/>
                      <a:pt x="10747" y="7173"/>
                    </a:cubicBezTo>
                    <a:cubicBezTo>
                      <a:pt x="10747" y="7173"/>
                      <a:pt x="10746" y="7173"/>
                      <a:pt x="10745" y="7173"/>
                    </a:cubicBezTo>
                    <a:cubicBezTo>
                      <a:pt x="10745" y="7173"/>
                      <a:pt x="10744" y="7173"/>
                      <a:pt x="10743" y="7172"/>
                    </a:cubicBezTo>
                    <a:cubicBezTo>
                      <a:pt x="10742" y="7172"/>
                      <a:pt x="10741" y="7171"/>
                      <a:pt x="10739" y="7170"/>
                    </a:cubicBezTo>
                    <a:cubicBezTo>
                      <a:pt x="10738" y="7170"/>
                      <a:pt x="10737" y="7169"/>
                      <a:pt x="10736" y="7167"/>
                    </a:cubicBezTo>
                    <a:cubicBezTo>
                      <a:pt x="10731" y="7164"/>
                      <a:pt x="10720" y="7157"/>
                      <a:pt x="10705" y="7147"/>
                    </a:cubicBezTo>
                    <a:cubicBezTo>
                      <a:pt x="10262" y="8400"/>
                      <a:pt x="10262" y="8400"/>
                      <a:pt x="10262" y="8400"/>
                    </a:cubicBezTo>
                    <a:cubicBezTo>
                      <a:pt x="10261" y="8424"/>
                      <a:pt x="10261" y="8424"/>
                      <a:pt x="10261" y="8424"/>
                    </a:cubicBezTo>
                    <a:cubicBezTo>
                      <a:pt x="10268" y="8426"/>
                      <a:pt x="10275" y="8428"/>
                      <a:pt x="10283" y="8431"/>
                    </a:cubicBezTo>
                    <a:cubicBezTo>
                      <a:pt x="10532" y="8513"/>
                      <a:pt x="10767" y="8573"/>
                      <a:pt x="10939" y="8611"/>
                    </a:cubicBezTo>
                    <a:cubicBezTo>
                      <a:pt x="11025" y="8631"/>
                      <a:pt x="11096" y="8645"/>
                      <a:pt x="11145" y="8654"/>
                    </a:cubicBezTo>
                    <a:cubicBezTo>
                      <a:pt x="11186" y="8663"/>
                      <a:pt x="11212" y="8667"/>
                      <a:pt x="11218" y="8668"/>
                    </a:cubicBezTo>
                    <a:cubicBezTo>
                      <a:pt x="11265" y="8672"/>
                      <a:pt x="11931" y="8717"/>
                      <a:pt x="12129" y="8726"/>
                    </a:cubicBezTo>
                    <a:cubicBezTo>
                      <a:pt x="12234" y="8731"/>
                      <a:pt x="12354" y="8735"/>
                      <a:pt x="12487" y="8748"/>
                    </a:cubicBezTo>
                    <a:cubicBezTo>
                      <a:pt x="12488" y="8742"/>
                      <a:pt x="12488" y="8733"/>
                      <a:pt x="12488" y="8730"/>
                    </a:cubicBezTo>
                    <a:close/>
                    <a:moveTo>
                      <a:pt x="15992" y="4718"/>
                    </a:moveTo>
                    <a:cubicBezTo>
                      <a:pt x="14051" y="5122"/>
                      <a:pt x="14051" y="5122"/>
                      <a:pt x="14051" y="5122"/>
                    </a:cubicBezTo>
                    <a:cubicBezTo>
                      <a:pt x="13567" y="5007"/>
                      <a:pt x="13567" y="5007"/>
                      <a:pt x="13567" y="5007"/>
                    </a:cubicBezTo>
                    <a:cubicBezTo>
                      <a:pt x="12880" y="4806"/>
                      <a:pt x="12880" y="4806"/>
                      <a:pt x="12880" y="4806"/>
                    </a:cubicBezTo>
                    <a:cubicBezTo>
                      <a:pt x="12781" y="4780"/>
                      <a:pt x="12627" y="4760"/>
                      <a:pt x="12500" y="4747"/>
                    </a:cubicBezTo>
                    <a:cubicBezTo>
                      <a:pt x="12406" y="4738"/>
                      <a:pt x="12327" y="4733"/>
                      <a:pt x="12291" y="4730"/>
                    </a:cubicBezTo>
                    <a:cubicBezTo>
                      <a:pt x="12291" y="4736"/>
                      <a:pt x="12291" y="4736"/>
                      <a:pt x="12291" y="4736"/>
                    </a:cubicBezTo>
                    <a:cubicBezTo>
                      <a:pt x="12287" y="4736"/>
                      <a:pt x="12287" y="4736"/>
                      <a:pt x="12287" y="4736"/>
                    </a:cubicBezTo>
                    <a:cubicBezTo>
                      <a:pt x="12288" y="4765"/>
                      <a:pt x="12292" y="4823"/>
                      <a:pt x="12292" y="4823"/>
                    </a:cubicBezTo>
                    <a:cubicBezTo>
                      <a:pt x="12292" y="4825"/>
                      <a:pt x="12292" y="4825"/>
                      <a:pt x="12292" y="4825"/>
                    </a:cubicBezTo>
                    <a:cubicBezTo>
                      <a:pt x="12017" y="6708"/>
                      <a:pt x="12017" y="6708"/>
                      <a:pt x="12017" y="6708"/>
                    </a:cubicBezTo>
                    <a:cubicBezTo>
                      <a:pt x="12017" y="6709"/>
                      <a:pt x="12000" y="6823"/>
                      <a:pt x="11954" y="6945"/>
                    </a:cubicBezTo>
                    <a:cubicBezTo>
                      <a:pt x="11941" y="6977"/>
                      <a:pt x="11927" y="7009"/>
                      <a:pt x="11910" y="7041"/>
                    </a:cubicBezTo>
                    <a:cubicBezTo>
                      <a:pt x="12028" y="7090"/>
                      <a:pt x="12060" y="7215"/>
                      <a:pt x="12060" y="7216"/>
                    </a:cubicBezTo>
                    <a:cubicBezTo>
                      <a:pt x="12525" y="8728"/>
                      <a:pt x="12525" y="8728"/>
                      <a:pt x="12525" y="8728"/>
                    </a:cubicBezTo>
                    <a:cubicBezTo>
                      <a:pt x="12525" y="8728"/>
                      <a:pt x="12526" y="8729"/>
                      <a:pt x="12526" y="8729"/>
                    </a:cubicBezTo>
                    <a:cubicBezTo>
                      <a:pt x="12534" y="8753"/>
                      <a:pt x="12534" y="8753"/>
                      <a:pt x="12534" y="8753"/>
                    </a:cubicBezTo>
                    <a:cubicBezTo>
                      <a:pt x="12651" y="8766"/>
                      <a:pt x="12776" y="8785"/>
                      <a:pt x="12907" y="8817"/>
                    </a:cubicBezTo>
                    <a:cubicBezTo>
                      <a:pt x="13059" y="8853"/>
                      <a:pt x="13177" y="8900"/>
                      <a:pt x="13266" y="8961"/>
                    </a:cubicBezTo>
                    <a:cubicBezTo>
                      <a:pt x="13341" y="9012"/>
                      <a:pt x="13394" y="9074"/>
                      <a:pt x="13427" y="9145"/>
                    </a:cubicBezTo>
                    <a:cubicBezTo>
                      <a:pt x="13490" y="9129"/>
                      <a:pt x="13622" y="9098"/>
                      <a:pt x="13755" y="9065"/>
                    </a:cubicBezTo>
                    <a:cubicBezTo>
                      <a:pt x="13847" y="9043"/>
                      <a:pt x="13940" y="9021"/>
                      <a:pt x="14011" y="9004"/>
                    </a:cubicBezTo>
                    <a:cubicBezTo>
                      <a:pt x="14046" y="8996"/>
                      <a:pt x="14076" y="8989"/>
                      <a:pt x="14098" y="8984"/>
                    </a:cubicBezTo>
                    <a:cubicBezTo>
                      <a:pt x="14109" y="8981"/>
                      <a:pt x="14118" y="8979"/>
                      <a:pt x="14125" y="8978"/>
                    </a:cubicBezTo>
                    <a:cubicBezTo>
                      <a:pt x="14128" y="8977"/>
                      <a:pt x="14131" y="8977"/>
                      <a:pt x="14133" y="8976"/>
                    </a:cubicBezTo>
                    <a:cubicBezTo>
                      <a:pt x="14136" y="8976"/>
                      <a:pt x="14136" y="8975"/>
                      <a:pt x="14141" y="8975"/>
                    </a:cubicBezTo>
                    <a:cubicBezTo>
                      <a:pt x="14154" y="8973"/>
                      <a:pt x="14217" y="8954"/>
                      <a:pt x="14299" y="8927"/>
                    </a:cubicBezTo>
                    <a:cubicBezTo>
                      <a:pt x="14384" y="8900"/>
                      <a:pt x="14492" y="8863"/>
                      <a:pt x="14607" y="8822"/>
                    </a:cubicBezTo>
                    <a:cubicBezTo>
                      <a:pt x="14722" y="8780"/>
                      <a:pt x="14949" y="8662"/>
                      <a:pt x="15146" y="8555"/>
                    </a:cubicBezTo>
                    <a:cubicBezTo>
                      <a:pt x="15245" y="8501"/>
                      <a:pt x="15337" y="8450"/>
                      <a:pt x="15407" y="8411"/>
                    </a:cubicBezTo>
                    <a:cubicBezTo>
                      <a:pt x="15441" y="8392"/>
                      <a:pt x="15470" y="8376"/>
                      <a:pt x="15491" y="8364"/>
                    </a:cubicBezTo>
                    <a:cubicBezTo>
                      <a:pt x="15502" y="8358"/>
                      <a:pt x="15511" y="8353"/>
                      <a:pt x="15517" y="8349"/>
                    </a:cubicBezTo>
                    <a:cubicBezTo>
                      <a:pt x="15525" y="8345"/>
                      <a:pt x="15528" y="8344"/>
                      <a:pt x="15534" y="8341"/>
                    </a:cubicBezTo>
                    <a:cubicBezTo>
                      <a:pt x="15548" y="8334"/>
                      <a:pt x="15587" y="8318"/>
                      <a:pt x="15622" y="8303"/>
                    </a:cubicBezTo>
                    <a:cubicBezTo>
                      <a:pt x="15622" y="8301"/>
                      <a:pt x="15621" y="8294"/>
                      <a:pt x="15621" y="8288"/>
                    </a:cubicBezTo>
                    <a:cubicBezTo>
                      <a:pt x="15610" y="8199"/>
                      <a:pt x="15586" y="8008"/>
                      <a:pt x="15559" y="7787"/>
                    </a:cubicBezTo>
                    <a:cubicBezTo>
                      <a:pt x="15521" y="7482"/>
                      <a:pt x="15476" y="7124"/>
                      <a:pt x="15448" y="6906"/>
                    </a:cubicBezTo>
                    <a:cubicBezTo>
                      <a:pt x="15435" y="6803"/>
                      <a:pt x="15429" y="6717"/>
                      <a:pt x="15429" y="6641"/>
                    </a:cubicBezTo>
                    <a:cubicBezTo>
                      <a:pt x="15429" y="6396"/>
                      <a:pt x="15492" y="6268"/>
                      <a:pt x="15567" y="6086"/>
                    </a:cubicBezTo>
                    <a:cubicBezTo>
                      <a:pt x="15669" y="5841"/>
                      <a:pt x="15931" y="5628"/>
                      <a:pt x="16010" y="5288"/>
                    </a:cubicBezTo>
                    <a:cubicBezTo>
                      <a:pt x="16032" y="5196"/>
                      <a:pt x="16040" y="5111"/>
                      <a:pt x="16040" y="5035"/>
                    </a:cubicBezTo>
                    <a:cubicBezTo>
                      <a:pt x="16040" y="4931"/>
                      <a:pt x="16025" y="4845"/>
                      <a:pt x="16011" y="4785"/>
                    </a:cubicBezTo>
                    <a:cubicBezTo>
                      <a:pt x="16004" y="4756"/>
                      <a:pt x="15997" y="4734"/>
                      <a:pt x="15992" y="4718"/>
                    </a:cubicBezTo>
                    <a:close/>
                    <a:moveTo>
                      <a:pt x="16056" y="1762"/>
                    </a:moveTo>
                    <a:cubicBezTo>
                      <a:pt x="15590" y="1868"/>
                      <a:pt x="15100" y="1907"/>
                      <a:pt x="14944" y="1935"/>
                    </a:cubicBezTo>
                    <a:cubicBezTo>
                      <a:pt x="14882" y="1946"/>
                      <a:pt x="14689" y="1949"/>
                      <a:pt x="14455" y="1949"/>
                    </a:cubicBezTo>
                    <a:cubicBezTo>
                      <a:pt x="13997" y="1949"/>
                      <a:pt x="13391" y="1936"/>
                      <a:pt x="13366" y="1935"/>
                    </a:cubicBezTo>
                    <a:cubicBezTo>
                      <a:pt x="13289" y="1938"/>
                      <a:pt x="13191" y="1939"/>
                      <a:pt x="13114" y="2025"/>
                    </a:cubicBezTo>
                    <a:cubicBezTo>
                      <a:pt x="13074" y="2070"/>
                      <a:pt x="13026" y="2135"/>
                      <a:pt x="12989" y="2187"/>
                    </a:cubicBezTo>
                    <a:cubicBezTo>
                      <a:pt x="12951" y="2240"/>
                      <a:pt x="12924" y="2280"/>
                      <a:pt x="12924" y="2281"/>
                    </a:cubicBezTo>
                    <a:cubicBezTo>
                      <a:pt x="12923" y="2281"/>
                      <a:pt x="12923" y="2281"/>
                      <a:pt x="12923" y="2281"/>
                    </a:cubicBezTo>
                    <a:cubicBezTo>
                      <a:pt x="12923" y="2282"/>
                      <a:pt x="12923" y="2282"/>
                      <a:pt x="12923" y="2282"/>
                    </a:cubicBezTo>
                    <a:cubicBezTo>
                      <a:pt x="12922" y="2282"/>
                      <a:pt x="12827" y="2399"/>
                      <a:pt x="12728" y="2522"/>
                    </a:cubicBezTo>
                    <a:cubicBezTo>
                      <a:pt x="12679" y="2584"/>
                      <a:pt x="12629" y="2647"/>
                      <a:pt x="12590" y="2697"/>
                    </a:cubicBezTo>
                    <a:cubicBezTo>
                      <a:pt x="12551" y="2747"/>
                      <a:pt x="12522" y="2787"/>
                      <a:pt x="12520" y="2793"/>
                    </a:cubicBezTo>
                    <a:cubicBezTo>
                      <a:pt x="12503" y="2830"/>
                      <a:pt x="12462" y="2925"/>
                      <a:pt x="12449" y="2955"/>
                    </a:cubicBezTo>
                    <a:cubicBezTo>
                      <a:pt x="12476" y="2967"/>
                      <a:pt x="12503" y="2983"/>
                      <a:pt x="12527" y="3006"/>
                    </a:cubicBezTo>
                    <a:cubicBezTo>
                      <a:pt x="12529" y="3007"/>
                      <a:pt x="12529" y="3007"/>
                      <a:pt x="12529" y="3007"/>
                    </a:cubicBezTo>
                    <a:cubicBezTo>
                      <a:pt x="13270" y="4135"/>
                      <a:pt x="13270" y="4135"/>
                      <a:pt x="13270" y="4135"/>
                    </a:cubicBezTo>
                    <a:cubicBezTo>
                      <a:pt x="13272" y="4137"/>
                      <a:pt x="13314" y="4201"/>
                      <a:pt x="13314" y="4309"/>
                    </a:cubicBezTo>
                    <a:cubicBezTo>
                      <a:pt x="13314" y="4367"/>
                      <a:pt x="13302" y="4437"/>
                      <a:pt x="13265" y="4516"/>
                    </a:cubicBezTo>
                    <a:cubicBezTo>
                      <a:pt x="13186" y="4684"/>
                      <a:pt x="13122" y="4790"/>
                      <a:pt x="13095" y="4832"/>
                    </a:cubicBezTo>
                    <a:cubicBezTo>
                      <a:pt x="13576" y="4972"/>
                      <a:pt x="13576" y="4972"/>
                      <a:pt x="13576" y="4972"/>
                    </a:cubicBezTo>
                    <a:cubicBezTo>
                      <a:pt x="14052" y="5085"/>
                      <a:pt x="14052" y="5085"/>
                      <a:pt x="14052" y="5085"/>
                    </a:cubicBezTo>
                    <a:cubicBezTo>
                      <a:pt x="15980" y="4684"/>
                      <a:pt x="15980" y="4684"/>
                      <a:pt x="15980" y="4684"/>
                    </a:cubicBezTo>
                    <a:cubicBezTo>
                      <a:pt x="15974" y="4684"/>
                      <a:pt x="15974" y="4684"/>
                      <a:pt x="15974" y="4684"/>
                    </a:cubicBezTo>
                    <a:cubicBezTo>
                      <a:pt x="15974" y="4684"/>
                      <a:pt x="15974" y="4684"/>
                      <a:pt x="15974" y="4684"/>
                    </a:cubicBezTo>
                    <a:cubicBezTo>
                      <a:pt x="15974" y="4684"/>
                      <a:pt x="15974" y="4684"/>
                      <a:pt x="15974" y="4684"/>
                    </a:cubicBezTo>
                    <a:cubicBezTo>
                      <a:pt x="15963" y="4630"/>
                      <a:pt x="15766" y="4005"/>
                      <a:pt x="15667" y="3534"/>
                    </a:cubicBezTo>
                    <a:cubicBezTo>
                      <a:pt x="15623" y="3326"/>
                      <a:pt x="15606" y="3118"/>
                      <a:pt x="15606" y="2932"/>
                    </a:cubicBezTo>
                    <a:cubicBezTo>
                      <a:pt x="15606" y="2672"/>
                      <a:pt x="15638" y="2454"/>
                      <a:pt x="15671" y="2332"/>
                    </a:cubicBezTo>
                    <a:cubicBezTo>
                      <a:pt x="15700" y="2224"/>
                      <a:pt x="15802" y="2075"/>
                      <a:pt x="15898" y="1951"/>
                    </a:cubicBezTo>
                    <a:cubicBezTo>
                      <a:pt x="15946" y="1889"/>
                      <a:pt x="15992" y="1834"/>
                      <a:pt x="16027" y="1794"/>
                    </a:cubicBezTo>
                    <a:cubicBezTo>
                      <a:pt x="16038" y="1781"/>
                      <a:pt x="16047" y="1771"/>
                      <a:pt x="16056" y="1762"/>
                    </a:cubicBezTo>
                    <a:close/>
                    <a:moveTo>
                      <a:pt x="1191" y="10575"/>
                    </a:moveTo>
                    <a:cubicBezTo>
                      <a:pt x="1177" y="10552"/>
                      <a:pt x="1104" y="10422"/>
                      <a:pt x="1034" y="10299"/>
                    </a:cubicBezTo>
                    <a:cubicBezTo>
                      <a:pt x="984" y="10211"/>
                      <a:pt x="921" y="10100"/>
                      <a:pt x="903" y="10067"/>
                    </a:cubicBezTo>
                    <a:cubicBezTo>
                      <a:pt x="869" y="10085"/>
                      <a:pt x="869" y="10085"/>
                      <a:pt x="869" y="10085"/>
                    </a:cubicBezTo>
                    <a:cubicBezTo>
                      <a:pt x="912" y="10161"/>
                      <a:pt x="1132" y="10550"/>
                      <a:pt x="1159" y="10595"/>
                    </a:cubicBezTo>
                    <a:cubicBezTo>
                      <a:pt x="1187" y="10643"/>
                      <a:pt x="1209" y="10684"/>
                      <a:pt x="1265" y="10749"/>
                    </a:cubicBezTo>
                    <a:cubicBezTo>
                      <a:pt x="1281" y="10768"/>
                      <a:pt x="1304" y="10794"/>
                      <a:pt x="1328" y="10821"/>
                    </a:cubicBezTo>
                    <a:cubicBezTo>
                      <a:pt x="1379" y="10821"/>
                      <a:pt x="1379" y="10821"/>
                      <a:pt x="1379" y="10821"/>
                    </a:cubicBezTo>
                    <a:cubicBezTo>
                      <a:pt x="1346" y="10785"/>
                      <a:pt x="1314" y="10749"/>
                      <a:pt x="1294" y="10725"/>
                    </a:cubicBezTo>
                    <a:cubicBezTo>
                      <a:pt x="1240" y="10661"/>
                      <a:pt x="1220" y="10624"/>
                      <a:pt x="1191" y="10575"/>
                    </a:cubicBezTo>
                    <a:close/>
                    <a:moveTo>
                      <a:pt x="695" y="9682"/>
                    </a:moveTo>
                    <a:cubicBezTo>
                      <a:pt x="715" y="9691"/>
                      <a:pt x="772" y="9692"/>
                      <a:pt x="816" y="9663"/>
                    </a:cubicBezTo>
                    <a:cubicBezTo>
                      <a:pt x="860" y="9635"/>
                      <a:pt x="891" y="9604"/>
                      <a:pt x="905" y="9580"/>
                    </a:cubicBezTo>
                    <a:cubicBezTo>
                      <a:pt x="919" y="9555"/>
                      <a:pt x="931" y="9531"/>
                      <a:pt x="939" y="9527"/>
                    </a:cubicBezTo>
                    <a:cubicBezTo>
                      <a:pt x="939" y="9527"/>
                      <a:pt x="930" y="9498"/>
                      <a:pt x="882" y="9522"/>
                    </a:cubicBezTo>
                    <a:cubicBezTo>
                      <a:pt x="834" y="9547"/>
                      <a:pt x="793" y="9570"/>
                      <a:pt x="770" y="9555"/>
                    </a:cubicBezTo>
                    <a:cubicBezTo>
                      <a:pt x="746" y="9540"/>
                      <a:pt x="736" y="9535"/>
                      <a:pt x="730" y="9505"/>
                    </a:cubicBezTo>
                    <a:cubicBezTo>
                      <a:pt x="725" y="9475"/>
                      <a:pt x="715" y="9446"/>
                      <a:pt x="680" y="9436"/>
                    </a:cubicBezTo>
                    <a:cubicBezTo>
                      <a:pt x="644" y="9427"/>
                      <a:pt x="604" y="9424"/>
                      <a:pt x="593" y="9419"/>
                    </a:cubicBezTo>
                    <a:cubicBezTo>
                      <a:pt x="584" y="9414"/>
                      <a:pt x="546" y="9396"/>
                      <a:pt x="541" y="9391"/>
                    </a:cubicBezTo>
                    <a:cubicBezTo>
                      <a:pt x="540" y="9396"/>
                      <a:pt x="519" y="9426"/>
                      <a:pt x="548" y="9449"/>
                    </a:cubicBezTo>
                    <a:cubicBezTo>
                      <a:pt x="581" y="9473"/>
                      <a:pt x="633" y="9501"/>
                      <a:pt x="644" y="9550"/>
                    </a:cubicBezTo>
                    <a:cubicBezTo>
                      <a:pt x="655" y="9599"/>
                      <a:pt x="614" y="9647"/>
                      <a:pt x="614" y="9647"/>
                    </a:cubicBezTo>
                    <a:cubicBezTo>
                      <a:pt x="614" y="9647"/>
                      <a:pt x="674" y="9674"/>
                      <a:pt x="695" y="9682"/>
                    </a:cubicBezTo>
                    <a:close/>
                    <a:moveTo>
                      <a:pt x="1643" y="8648"/>
                    </a:moveTo>
                    <a:cubicBezTo>
                      <a:pt x="1629" y="8683"/>
                      <a:pt x="1622" y="8738"/>
                      <a:pt x="1650" y="8745"/>
                    </a:cubicBezTo>
                    <a:cubicBezTo>
                      <a:pt x="1650" y="8745"/>
                      <a:pt x="1677" y="8727"/>
                      <a:pt x="1688" y="8700"/>
                    </a:cubicBezTo>
                    <a:cubicBezTo>
                      <a:pt x="1699" y="8673"/>
                      <a:pt x="1711" y="8663"/>
                      <a:pt x="1734" y="8655"/>
                    </a:cubicBezTo>
                    <a:cubicBezTo>
                      <a:pt x="1758" y="8647"/>
                      <a:pt x="1805" y="8644"/>
                      <a:pt x="1849" y="8621"/>
                    </a:cubicBezTo>
                    <a:cubicBezTo>
                      <a:pt x="1893" y="8597"/>
                      <a:pt x="1902" y="8577"/>
                      <a:pt x="1877" y="8563"/>
                    </a:cubicBezTo>
                    <a:cubicBezTo>
                      <a:pt x="1851" y="8550"/>
                      <a:pt x="1795" y="8554"/>
                      <a:pt x="1777" y="8547"/>
                    </a:cubicBezTo>
                    <a:cubicBezTo>
                      <a:pt x="1759" y="8540"/>
                      <a:pt x="1740" y="8509"/>
                      <a:pt x="1762" y="8494"/>
                    </a:cubicBezTo>
                    <a:cubicBezTo>
                      <a:pt x="1784" y="8478"/>
                      <a:pt x="1830" y="8478"/>
                      <a:pt x="1834" y="8461"/>
                    </a:cubicBezTo>
                    <a:cubicBezTo>
                      <a:pt x="1838" y="8443"/>
                      <a:pt x="1836" y="8380"/>
                      <a:pt x="1795" y="8384"/>
                    </a:cubicBezTo>
                    <a:cubicBezTo>
                      <a:pt x="1754" y="8388"/>
                      <a:pt x="1749" y="8422"/>
                      <a:pt x="1744" y="8440"/>
                    </a:cubicBezTo>
                    <a:cubicBezTo>
                      <a:pt x="1739" y="8458"/>
                      <a:pt x="1700" y="8472"/>
                      <a:pt x="1688" y="8487"/>
                    </a:cubicBezTo>
                    <a:cubicBezTo>
                      <a:pt x="1676" y="8502"/>
                      <a:pt x="1663" y="8515"/>
                      <a:pt x="1676" y="8529"/>
                    </a:cubicBezTo>
                    <a:cubicBezTo>
                      <a:pt x="1688" y="8543"/>
                      <a:pt x="1700" y="8567"/>
                      <a:pt x="1691" y="8586"/>
                    </a:cubicBezTo>
                    <a:cubicBezTo>
                      <a:pt x="1681" y="8606"/>
                      <a:pt x="1657" y="8612"/>
                      <a:pt x="1643" y="8648"/>
                    </a:cubicBezTo>
                    <a:close/>
                    <a:moveTo>
                      <a:pt x="1034" y="9601"/>
                    </a:moveTo>
                    <a:cubicBezTo>
                      <a:pt x="1034" y="9601"/>
                      <a:pt x="1034" y="9601"/>
                      <a:pt x="1034" y="9601"/>
                    </a:cubicBezTo>
                    <a:cubicBezTo>
                      <a:pt x="1034" y="9601"/>
                      <a:pt x="1034" y="9601"/>
                      <a:pt x="1034" y="9601"/>
                    </a:cubicBezTo>
                    <a:close/>
                    <a:moveTo>
                      <a:pt x="3516" y="7929"/>
                    </a:moveTo>
                    <a:cubicBezTo>
                      <a:pt x="3529" y="7886"/>
                      <a:pt x="3490" y="7835"/>
                      <a:pt x="3426" y="7814"/>
                    </a:cubicBezTo>
                    <a:cubicBezTo>
                      <a:pt x="3344" y="7788"/>
                      <a:pt x="3283" y="7804"/>
                      <a:pt x="3266" y="7845"/>
                    </a:cubicBezTo>
                    <a:cubicBezTo>
                      <a:pt x="3250" y="7886"/>
                      <a:pt x="3299" y="7950"/>
                      <a:pt x="3363" y="7968"/>
                    </a:cubicBezTo>
                    <a:cubicBezTo>
                      <a:pt x="3426" y="7987"/>
                      <a:pt x="3504" y="7972"/>
                      <a:pt x="3516" y="7929"/>
                    </a:cubicBezTo>
                    <a:close/>
                    <a:moveTo>
                      <a:pt x="321" y="10538"/>
                    </a:moveTo>
                    <a:cubicBezTo>
                      <a:pt x="321" y="10539"/>
                      <a:pt x="385" y="10697"/>
                      <a:pt x="439" y="10821"/>
                    </a:cubicBezTo>
                    <a:cubicBezTo>
                      <a:pt x="468" y="10821"/>
                      <a:pt x="468" y="10821"/>
                      <a:pt x="468" y="10821"/>
                    </a:cubicBezTo>
                    <a:cubicBezTo>
                      <a:pt x="412" y="10696"/>
                      <a:pt x="343" y="10524"/>
                      <a:pt x="343" y="10523"/>
                    </a:cubicBezTo>
                    <a:lnTo>
                      <a:pt x="321" y="10538"/>
                    </a:lnTo>
                    <a:close/>
                  </a:path>
                </a:pathLst>
              </a:custGeom>
              <a:solidFill>
                <a:srgbClr val="4BA0B9"/>
              </a:solidFill>
              <a:ln>
                <a:noFill/>
              </a:ln>
            </p:spPr>
            <p:txBody>
              <a:bodyPr vert="horz" wrap="square" lIns="91440" tIns="45720" rIns="91440" bIns="45720" numCol="1" anchor="t" anchorCtr="0" compatLnSpc="1">
                <a:prstTxWarp prst="textNoShape">
                  <a:avLst/>
                </a:prstTxWarp>
              </a:bodyPr>
              <a:lstStyle/>
              <a:p>
                <a:endParaRPr lang="nl-NL" dirty="0"/>
              </a:p>
            </p:txBody>
          </p:sp>
        </p:grpSp>
      </p:grpSp>
      <p:sp>
        <p:nvSpPr>
          <p:cNvPr id="2" name="***Titel 1"/>
          <p:cNvSpPr>
            <a:spLocks noGrp="1" noSelect="1"/>
          </p:cNvSpPr>
          <p:nvPr>
            <p:ph type="ctrTitle" hasCustomPrompt="1"/>
          </p:nvPr>
        </p:nvSpPr>
        <p:spPr bwMode="gray">
          <a:xfrm>
            <a:off x="1152000" y="414000"/>
            <a:ext cx="10404000" cy="1470025"/>
          </a:xfrm>
        </p:spPr>
        <p:txBody>
          <a:bodyPr anchor="b" anchorCtr="0"/>
          <a:lstStyle>
            <a:lvl1pPr algn="l">
              <a:lnSpc>
                <a:spcPct val="96000"/>
              </a:lnSpc>
              <a:defRPr sz="4700" b="0" spc="-180" baseline="0">
                <a:latin typeface="Univers" panose="020B0603020202030204" pitchFamily="34" charset="0"/>
              </a:defRPr>
            </a:lvl1pPr>
          </a:lstStyle>
          <a:p>
            <a:r>
              <a:rPr lang="nl-NL" noProof="1"/>
              <a:t>[Titel,</a:t>
            </a:r>
            <a:br>
              <a:rPr lang="nl-NL" noProof="1"/>
            </a:br>
            <a:r>
              <a:rPr lang="nl-NL" noProof="1"/>
              <a:t>maximaal 2 regels]</a:t>
            </a:r>
          </a:p>
        </p:txBody>
      </p:sp>
      <p:grpSp>
        <p:nvGrpSpPr>
          <p:cNvPr id="17" name="logo">
            <a:extLst>
              <a:ext uri="{FF2B5EF4-FFF2-40B4-BE49-F238E27FC236}">
                <a16:creationId xmlns:a16="http://schemas.microsoft.com/office/drawing/2014/main" id="{3D914ECC-8068-414F-AA0F-262DD3112D62}"/>
              </a:ext>
            </a:extLst>
          </p:cNvPr>
          <p:cNvGrpSpPr>
            <a:grpSpLocks noSelect="1" noChangeAspect="1"/>
          </p:cNvGrpSpPr>
          <p:nvPr userDrawn="1"/>
        </p:nvGrpSpPr>
        <p:grpSpPr bwMode="gray">
          <a:xfrm>
            <a:off x="638175" y="6030913"/>
            <a:ext cx="2481263" cy="508000"/>
            <a:chOff x="402" y="3799"/>
            <a:chExt cx="1563" cy="320"/>
          </a:xfrm>
        </p:grpSpPr>
        <p:sp>
          <p:nvSpPr>
            <p:cNvPr id="18" name="Freeform 21">
              <a:extLst>
                <a:ext uri="{FF2B5EF4-FFF2-40B4-BE49-F238E27FC236}">
                  <a16:creationId xmlns:a16="http://schemas.microsoft.com/office/drawing/2014/main" id="{B89CFD78-1671-45B4-A5BB-E8CDF8C13424}"/>
                </a:ext>
              </a:extLst>
            </p:cNvPr>
            <p:cNvSpPr>
              <a:spLocks noSelect="1"/>
            </p:cNvSpPr>
            <p:nvPr userDrawn="1"/>
          </p:nvSpPr>
          <p:spPr bwMode="gray">
            <a:xfrm>
              <a:off x="722" y="3799"/>
              <a:ext cx="1243" cy="320"/>
            </a:xfrm>
            <a:custGeom>
              <a:avLst/>
              <a:gdLst>
                <a:gd name="T0" fmla="*/ 92 w 6217"/>
                <a:gd name="T1" fmla="*/ 0 h 1604"/>
                <a:gd name="T2" fmla="*/ 92 w 6217"/>
                <a:gd name="T3" fmla="*/ 525 h 1604"/>
                <a:gd name="T4" fmla="*/ 762 w 6217"/>
                <a:gd name="T5" fmla="*/ 330 h 1604"/>
                <a:gd name="T6" fmla="*/ 957 w 6217"/>
                <a:gd name="T7" fmla="*/ 729 h 1604"/>
                <a:gd name="T8" fmla="*/ 1912 w 6217"/>
                <a:gd name="T9" fmla="*/ 0 h 1604"/>
                <a:gd name="T10" fmla="*/ 1821 w 6217"/>
                <a:gd name="T11" fmla="*/ 525 h 1604"/>
                <a:gd name="T12" fmla="*/ 3952 w 6217"/>
                <a:gd name="T13" fmla="*/ 1512 h 1604"/>
                <a:gd name="T14" fmla="*/ 3958 w 6217"/>
                <a:gd name="T15" fmla="*/ 1482 h 1604"/>
                <a:gd name="T16" fmla="*/ 4276 w 6217"/>
                <a:gd name="T17" fmla="*/ 1472 h 1604"/>
                <a:gd name="T18" fmla="*/ 4192 w 6217"/>
                <a:gd name="T19" fmla="*/ 1341 h 1604"/>
                <a:gd name="T20" fmla="*/ 4342 w 6217"/>
                <a:gd name="T21" fmla="*/ 1317 h 1604"/>
                <a:gd name="T22" fmla="*/ 4671 w 6217"/>
                <a:gd name="T23" fmla="*/ 1454 h 1604"/>
                <a:gd name="T24" fmla="*/ 4667 w 6217"/>
                <a:gd name="T25" fmla="*/ 1395 h 1604"/>
                <a:gd name="T26" fmla="*/ 4833 w 6217"/>
                <a:gd name="T27" fmla="*/ 1412 h 1604"/>
                <a:gd name="T28" fmla="*/ 4934 w 6217"/>
                <a:gd name="T29" fmla="*/ 1482 h 1604"/>
                <a:gd name="T30" fmla="*/ 5113 w 6217"/>
                <a:gd name="T31" fmla="*/ 1473 h 1604"/>
                <a:gd name="T32" fmla="*/ 5247 w 6217"/>
                <a:gd name="T33" fmla="*/ 1412 h 1604"/>
                <a:gd name="T34" fmla="*/ 5486 w 6217"/>
                <a:gd name="T35" fmla="*/ 1507 h 1604"/>
                <a:gd name="T36" fmla="*/ 5325 w 6217"/>
                <a:gd name="T37" fmla="*/ 1317 h 1604"/>
                <a:gd name="T38" fmla="*/ 5756 w 6217"/>
                <a:gd name="T39" fmla="*/ 1312 h 1604"/>
                <a:gd name="T40" fmla="*/ 5846 w 6217"/>
                <a:gd name="T41" fmla="*/ 1411 h 1604"/>
                <a:gd name="T42" fmla="*/ 6025 w 6217"/>
                <a:gd name="T43" fmla="*/ 1507 h 1604"/>
                <a:gd name="T44" fmla="*/ 5919 w 6217"/>
                <a:gd name="T45" fmla="*/ 1317 h 1604"/>
                <a:gd name="T46" fmla="*/ 6128 w 6217"/>
                <a:gd name="T47" fmla="*/ 1343 h 1604"/>
                <a:gd name="T48" fmla="*/ 6215 w 6217"/>
                <a:gd name="T49" fmla="*/ 1343 h 1604"/>
                <a:gd name="T50" fmla="*/ 2173 w 6217"/>
                <a:gd name="T51" fmla="*/ 1344 h 1604"/>
                <a:gd name="T52" fmla="*/ 2342 w 6217"/>
                <a:gd name="T53" fmla="*/ 1412 h 1604"/>
                <a:gd name="T54" fmla="*/ 2491 w 6217"/>
                <a:gd name="T55" fmla="*/ 1314 h 1604"/>
                <a:gd name="T56" fmla="*/ 2413 w 6217"/>
                <a:gd name="T57" fmla="*/ 1317 h 1604"/>
                <a:gd name="T58" fmla="*/ 2606 w 6217"/>
                <a:gd name="T59" fmla="*/ 1312 h 1604"/>
                <a:gd name="T60" fmla="*/ 2784 w 6217"/>
                <a:gd name="T61" fmla="*/ 1344 h 1604"/>
                <a:gd name="T62" fmla="*/ 2953 w 6217"/>
                <a:gd name="T63" fmla="*/ 1412 h 1604"/>
                <a:gd name="T64" fmla="*/ 2988 w 6217"/>
                <a:gd name="T65" fmla="*/ 1412 h 1604"/>
                <a:gd name="T66" fmla="*/ 3086 w 6217"/>
                <a:gd name="T67" fmla="*/ 1312 h 1604"/>
                <a:gd name="T68" fmla="*/ 3316 w 6217"/>
                <a:gd name="T69" fmla="*/ 1343 h 1604"/>
                <a:gd name="T70" fmla="*/ 3258 w 6217"/>
                <a:gd name="T71" fmla="*/ 1348 h 1604"/>
                <a:gd name="T72" fmla="*/ 3363 w 6217"/>
                <a:gd name="T73" fmla="*/ 1317 h 1604"/>
                <a:gd name="T74" fmla="*/ 3436 w 6217"/>
                <a:gd name="T75" fmla="*/ 1439 h 1604"/>
                <a:gd name="T76" fmla="*/ 3529 w 6217"/>
                <a:gd name="T77" fmla="*/ 1572 h 1604"/>
                <a:gd name="T78" fmla="*/ 3674 w 6217"/>
                <a:gd name="T79" fmla="*/ 1317 h 1604"/>
                <a:gd name="T80" fmla="*/ 32 w 6217"/>
                <a:gd name="T81" fmla="*/ 1473 h 1604"/>
                <a:gd name="T82" fmla="*/ 167 w 6217"/>
                <a:gd name="T83" fmla="*/ 1412 h 1604"/>
                <a:gd name="T84" fmla="*/ 266 w 6217"/>
                <a:gd name="T85" fmla="*/ 1412 h 1604"/>
                <a:gd name="T86" fmla="*/ 608 w 6217"/>
                <a:gd name="T87" fmla="*/ 1476 h 1604"/>
                <a:gd name="T88" fmla="*/ 606 w 6217"/>
                <a:gd name="T89" fmla="*/ 1317 h 1604"/>
                <a:gd name="T90" fmla="*/ 1032 w 6217"/>
                <a:gd name="T91" fmla="*/ 1507 h 1604"/>
                <a:gd name="T92" fmla="*/ 814 w 6217"/>
                <a:gd name="T93" fmla="*/ 1361 h 1604"/>
                <a:gd name="T94" fmla="*/ 833 w 6217"/>
                <a:gd name="T95" fmla="*/ 1317 h 1604"/>
                <a:gd name="T96" fmla="*/ 1068 w 6217"/>
                <a:gd name="T97" fmla="*/ 1195 h 1604"/>
                <a:gd name="T98" fmla="*/ 1293 w 6217"/>
                <a:gd name="T99" fmla="*/ 1412 h 1604"/>
                <a:gd name="T100" fmla="*/ 1497 w 6217"/>
                <a:gd name="T101" fmla="*/ 1507 h 1604"/>
                <a:gd name="T102" fmla="*/ 1330 w 6217"/>
                <a:gd name="T103" fmla="*/ 1317 h 1604"/>
                <a:gd name="T104" fmla="*/ 1638 w 6217"/>
                <a:gd name="T105" fmla="*/ 1312 h 1604"/>
                <a:gd name="T106" fmla="*/ 1707 w 6217"/>
                <a:gd name="T107" fmla="*/ 1200 h 1604"/>
                <a:gd name="T108" fmla="*/ 1854 w 6217"/>
                <a:gd name="T109" fmla="*/ 1512 h 1604"/>
                <a:gd name="T110" fmla="*/ 1923 w 6217"/>
                <a:gd name="T111" fmla="*/ 1346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17" h="1604">
                  <a:moveTo>
                    <a:pt x="92" y="702"/>
                  </a:moveTo>
                  <a:cubicBezTo>
                    <a:pt x="94" y="702"/>
                    <a:pt x="94" y="702"/>
                    <a:pt x="94" y="702"/>
                  </a:cubicBezTo>
                  <a:cubicBezTo>
                    <a:pt x="128" y="764"/>
                    <a:pt x="207" y="814"/>
                    <a:pt x="305" y="814"/>
                  </a:cubicBezTo>
                  <a:cubicBezTo>
                    <a:pt x="459" y="814"/>
                    <a:pt x="580" y="689"/>
                    <a:pt x="580" y="525"/>
                  </a:cubicBezTo>
                  <a:cubicBezTo>
                    <a:pt x="580" y="358"/>
                    <a:pt x="464" y="236"/>
                    <a:pt x="291" y="236"/>
                  </a:cubicBezTo>
                  <a:cubicBezTo>
                    <a:pt x="212" y="236"/>
                    <a:pt x="145" y="271"/>
                    <a:pt x="94" y="330"/>
                  </a:cubicBezTo>
                  <a:cubicBezTo>
                    <a:pt x="92" y="330"/>
                    <a:pt x="92" y="330"/>
                    <a:pt x="92" y="330"/>
                  </a:cubicBezTo>
                  <a:cubicBezTo>
                    <a:pt x="92" y="0"/>
                    <a:pt x="92" y="0"/>
                    <a:pt x="92" y="0"/>
                  </a:cubicBezTo>
                  <a:cubicBezTo>
                    <a:pt x="0" y="0"/>
                    <a:pt x="0" y="0"/>
                    <a:pt x="0" y="0"/>
                  </a:cubicBezTo>
                  <a:cubicBezTo>
                    <a:pt x="0" y="799"/>
                    <a:pt x="0" y="799"/>
                    <a:pt x="0" y="799"/>
                  </a:cubicBezTo>
                  <a:cubicBezTo>
                    <a:pt x="92" y="799"/>
                    <a:pt x="92" y="799"/>
                    <a:pt x="92" y="799"/>
                  </a:cubicBezTo>
                  <a:lnTo>
                    <a:pt x="92" y="702"/>
                  </a:lnTo>
                  <a:close/>
                  <a:moveTo>
                    <a:pt x="287" y="320"/>
                  </a:moveTo>
                  <a:cubicBezTo>
                    <a:pt x="405" y="320"/>
                    <a:pt x="482" y="410"/>
                    <a:pt x="482" y="525"/>
                  </a:cubicBezTo>
                  <a:cubicBezTo>
                    <a:pt x="482" y="640"/>
                    <a:pt x="405" y="729"/>
                    <a:pt x="287" y="729"/>
                  </a:cubicBezTo>
                  <a:cubicBezTo>
                    <a:pt x="168" y="729"/>
                    <a:pt x="92" y="640"/>
                    <a:pt x="92" y="525"/>
                  </a:cubicBezTo>
                  <a:cubicBezTo>
                    <a:pt x="92" y="410"/>
                    <a:pt x="168" y="320"/>
                    <a:pt x="287" y="320"/>
                  </a:cubicBezTo>
                  <a:close/>
                  <a:moveTo>
                    <a:pt x="762" y="702"/>
                  </a:moveTo>
                  <a:cubicBezTo>
                    <a:pt x="765" y="702"/>
                    <a:pt x="765" y="702"/>
                    <a:pt x="765" y="702"/>
                  </a:cubicBezTo>
                  <a:cubicBezTo>
                    <a:pt x="799" y="764"/>
                    <a:pt x="877" y="813"/>
                    <a:pt x="976" y="813"/>
                  </a:cubicBezTo>
                  <a:cubicBezTo>
                    <a:pt x="1130" y="813"/>
                    <a:pt x="1251" y="689"/>
                    <a:pt x="1251" y="525"/>
                  </a:cubicBezTo>
                  <a:cubicBezTo>
                    <a:pt x="1251" y="358"/>
                    <a:pt x="1135" y="236"/>
                    <a:pt x="962" y="236"/>
                  </a:cubicBezTo>
                  <a:cubicBezTo>
                    <a:pt x="882" y="236"/>
                    <a:pt x="815" y="271"/>
                    <a:pt x="765" y="330"/>
                  </a:cubicBezTo>
                  <a:cubicBezTo>
                    <a:pt x="762" y="330"/>
                    <a:pt x="762" y="330"/>
                    <a:pt x="762" y="330"/>
                  </a:cubicBezTo>
                  <a:cubicBezTo>
                    <a:pt x="762" y="250"/>
                    <a:pt x="762" y="250"/>
                    <a:pt x="762" y="250"/>
                  </a:cubicBezTo>
                  <a:cubicBezTo>
                    <a:pt x="671" y="250"/>
                    <a:pt x="671" y="250"/>
                    <a:pt x="671" y="250"/>
                  </a:cubicBezTo>
                  <a:cubicBezTo>
                    <a:pt x="671" y="1057"/>
                    <a:pt x="671" y="1057"/>
                    <a:pt x="671" y="1057"/>
                  </a:cubicBezTo>
                  <a:cubicBezTo>
                    <a:pt x="762" y="1057"/>
                    <a:pt x="762" y="1057"/>
                    <a:pt x="762" y="1057"/>
                  </a:cubicBezTo>
                  <a:lnTo>
                    <a:pt x="762" y="702"/>
                  </a:lnTo>
                  <a:close/>
                  <a:moveTo>
                    <a:pt x="957" y="320"/>
                  </a:moveTo>
                  <a:cubicBezTo>
                    <a:pt x="1076" y="320"/>
                    <a:pt x="1152" y="410"/>
                    <a:pt x="1152" y="525"/>
                  </a:cubicBezTo>
                  <a:cubicBezTo>
                    <a:pt x="1152" y="640"/>
                    <a:pt x="1076" y="729"/>
                    <a:pt x="957" y="729"/>
                  </a:cubicBezTo>
                  <a:cubicBezTo>
                    <a:pt x="839" y="729"/>
                    <a:pt x="762" y="640"/>
                    <a:pt x="762" y="525"/>
                  </a:cubicBezTo>
                  <a:cubicBezTo>
                    <a:pt x="762" y="410"/>
                    <a:pt x="839" y="320"/>
                    <a:pt x="957" y="320"/>
                  </a:cubicBezTo>
                  <a:close/>
                  <a:moveTo>
                    <a:pt x="1607" y="813"/>
                  </a:moveTo>
                  <a:cubicBezTo>
                    <a:pt x="1706" y="813"/>
                    <a:pt x="1785" y="764"/>
                    <a:pt x="1819" y="702"/>
                  </a:cubicBezTo>
                  <a:cubicBezTo>
                    <a:pt x="1821" y="702"/>
                    <a:pt x="1821" y="702"/>
                    <a:pt x="1821" y="702"/>
                  </a:cubicBezTo>
                  <a:cubicBezTo>
                    <a:pt x="1821" y="799"/>
                    <a:pt x="1821" y="799"/>
                    <a:pt x="1821" y="799"/>
                  </a:cubicBezTo>
                  <a:cubicBezTo>
                    <a:pt x="1912" y="799"/>
                    <a:pt x="1912" y="799"/>
                    <a:pt x="1912" y="799"/>
                  </a:cubicBezTo>
                  <a:cubicBezTo>
                    <a:pt x="1912" y="0"/>
                    <a:pt x="1912" y="0"/>
                    <a:pt x="1912" y="0"/>
                  </a:cubicBezTo>
                  <a:cubicBezTo>
                    <a:pt x="1821" y="0"/>
                    <a:pt x="1821" y="0"/>
                    <a:pt x="1821" y="0"/>
                  </a:cubicBezTo>
                  <a:cubicBezTo>
                    <a:pt x="1821" y="330"/>
                    <a:pt x="1821" y="330"/>
                    <a:pt x="1821" y="330"/>
                  </a:cubicBezTo>
                  <a:cubicBezTo>
                    <a:pt x="1819" y="330"/>
                    <a:pt x="1819" y="330"/>
                    <a:pt x="1819" y="330"/>
                  </a:cubicBezTo>
                  <a:cubicBezTo>
                    <a:pt x="1768" y="271"/>
                    <a:pt x="1701" y="236"/>
                    <a:pt x="1621" y="236"/>
                  </a:cubicBezTo>
                  <a:cubicBezTo>
                    <a:pt x="1449" y="236"/>
                    <a:pt x="1333" y="358"/>
                    <a:pt x="1333" y="525"/>
                  </a:cubicBezTo>
                  <a:cubicBezTo>
                    <a:pt x="1333" y="689"/>
                    <a:pt x="1454" y="813"/>
                    <a:pt x="1607" y="813"/>
                  </a:cubicBezTo>
                  <a:close/>
                  <a:moveTo>
                    <a:pt x="1626" y="320"/>
                  </a:moveTo>
                  <a:cubicBezTo>
                    <a:pt x="1745" y="320"/>
                    <a:pt x="1821" y="410"/>
                    <a:pt x="1821" y="525"/>
                  </a:cubicBezTo>
                  <a:cubicBezTo>
                    <a:pt x="1821" y="640"/>
                    <a:pt x="1745" y="729"/>
                    <a:pt x="1626" y="729"/>
                  </a:cubicBezTo>
                  <a:cubicBezTo>
                    <a:pt x="1507" y="729"/>
                    <a:pt x="1431" y="640"/>
                    <a:pt x="1431" y="525"/>
                  </a:cubicBezTo>
                  <a:cubicBezTo>
                    <a:pt x="1431" y="410"/>
                    <a:pt x="1507" y="320"/>
                    <a:pt x="1626" y="320"/>
                  </a:cubicBezTo>
                  <a:close/>
                  <a:moveTo>
                    <a:pt x="4026" y="1344"/>
                  </a:moveTo>
                  <a:cubicBezTo>
                    <a:pt x="4025" y="1344"/>
                    <a:pt x="4025" y="1344"/>
                    <a:pt x="4025" y="1344"/>
                  </a:cubicBezTo>
                  <a:cubicBezTo>
                    <a:pt x="4007" y="1324"/>
                    <a:pt x="3984" y="1312"/>
                    <a:pt x="3957" y="1312"/>
                  </a:cubicBezTo>
                  <a:cubicBezTo>
                    <a:pt x="3897" y="1312"/>
                    <a:pt x="3857" y="1354"/>
                    <a:pt x="3857" y="1412"/>
                  </a:cubicBezTo>
                  <a:cubicBezTo>
                    <a:pt x="3857" y="1469"/>
                    <a:pt x="3898" y="1512"/>
                    <a:pt x="3952" y="1512"/>
                  </a:cubicBezTo>
                  <a:cubicBezTo>
                    <a:pt x="3986" y="1512"/>
                    <a:pt x="4013" y="1495"/>
                    <a:pt x="4025" y="1473"/>
                  </a:cubicBezTo>
                  <a:cubicBezTo>
                    <a:pt x="4026" y="1473"/>
                    <a:pt x="4026" y="1473"/>
                    <a:pt x="4026" y="1473"/>
                  </a:cubicBezTo>
                  <a:cubicBezTo>
                    <a:pt x="4026" y="1507"/>
                    <a:pt x="4026" y="1507"/>
                    <a:pt x="4026" y="1507"/>
                  </a:cubicBezTo>
                  <a:cubicBezTo>
                    <a:pt x="4057" y="1507"/>
                    <a:pt x="4057" y="1507"/>
                    <a:pt x="4057" y="1507"/>
                  </a:cubicBezTo>
                  <a:cubicBezTo>
                    <a:pt x="4057" y="1200"/>
                    <a:pt x="4057" y="1200"/>
                    <a:pt x="4057" y="1200"/>
                  </a:cubicBezTo>
                  <a:cubicBezTo>
                    <a:pt x="4026" y="1200"/>
                    <a:pt x="4026" y="1200"/>
                    <a:pt x="4026" y="1200"/>
                  </a:cubicBezTo>
                  <a:lnTo>
                    <a:pt x="4026" y="1344"/>
                  </a:lnTo>
                  <a:close/>
                  <a:moveTo>
                    <a:pt x="3958" y="1482"/>
                  </a:moveTo>
                  <a:cubicBezTo>
                    <a:pt x="3917" y="1482"/>
                    <a:pt x="3891" y="1452"/>
                    <a:pt x="3891" y="1412"/>
                  </a:cubicBezTo>
                  <a:cubicBezTo>
                    <a:pt x="3891" y="1372"/>
                    <a:pt x="3917" y="1341"/>
                    <a:pt x="3958" y="1341"/>
                  </a:cubicBezTo>
                  <a:cubicBezTo>
                    <a:pt x="3999" y="1341"/>
                    <a:pt x="4026" y="1372"/>
                    <a:pt x="4026" y="1412"/>
                  </a:cubicBezTo>
                  <a:cubicBezTo>
                    <a:pt x="4026" y="1452"/>
                    <a:pt x="3999" y="1482"/>
                    <a:pt x="3958" y="1482"/>
                  </a:cubicBezTo>
                  <a:close/>
                  <a:moveTo>
                    <a:pt x="4193" y="1312"/>
                  </a:moveTo>
                  <a:cubicBezTo>
                    <a:pt x="4137" y="1312"/>
                    <a:pt x="4095" y="1353"/>
                    <a:pt x="4095" y="1412"/>
                  </a:cubicBezTo>
                  <a:cubicBezTo>
                    <a:pt x="4095" y="1467"/>
                    <a:pt x="4132" y="1512"/>
                    <a:pt x="4192" y="1512"/>
                  </a:cubicBezTo>
                  <a:cubicBezTo>
                    <a:pt x="4227" y="1512"/>
                    <a:pt x="4254" y="1501"/>
                    <a:pt x="4276" y="1472"/>
                  </a:cubicBezTo>
                  <a:cubicBezTo>
                    <a:pt x="4252" y="1454"/>
                    <a:pt x="4252" y="1454"/>
                    <a:pt x="4252" y="1454"/>
                  </a:cubicBezTo>
                  <a:cubicBezTo>
                    <a:pt x="4237" y="1473"/>
                    <a:pt x="4219" y="1482"/>
                    <a:pt x="4192" y="1482"/>
                  </a:cubicBezTo>
                  <a:cubicBezTo>
                    <a:pt x="4157" y="1482"/>
                    <a:pt x="4132" y="1454"/>
                    <a:pt x="4129" y="1421"/>
                  </a:cubicBezTo>
                  <a:cubicBezTo>
                    <a:pt x="4283" y="1421"/>
                    <a:pt x="4283" y="1421"/>
                    <a:pt x="4283" y="1421"/>
                  </a:cubicBezTo>
                  <a:cubicBezTo>
                    <a:pt x="4283" y="1411"/>
                    <a:pt x="4283" y="1411"/>
                    <a:pt x="4283" y="1411"/>
                  </a:cubicBezTo>
                  <a:cubicBezTo>
                    <a:pt x="4283" y="1348"/>
                    <a:pt x="4246" y="1312"/>
                    <a:pt x="4193" y="1312"/>
                  </a:cubicBezTo>
                  <a:close/>
                  <a:moveTo>
                    <a:pt x="4129" y="1395"/>
                  </a:moveTo>
                  <a:cubicBezTo>
                    <a:pt x="4133" y="1363"/>
                    <a:pt x="4157" y="1341"/>
                    <a:pt x="4192" y="1341"/>
                  </a:cubicBezTo>
                  <a:cubicBezTo>
                    <a:pt x="4227" y="1341"/>
                    <a:pt x="4248" y="1363"/>
                    <a:pt x="4249" y="1395"/>
                  </a:cubicBezTo>
                  <a:lnTo>
                    <a:pt x="4129" y="1395"/>
                  </a:lnTo>
                  <a:close/>
                  <a:moveTo>
                    <a:pt x="4459" y="1317"/>
                  </a:moveTo>
                  <a:cubicBezTo>
                    <a:pt x="4493" y="1317"/>
                    <a:pt x="4493" y="1317"/>
                    <a:pt x="4493" y="1317"/>
                  </a:cubicBezTo>
                  <a:cubicBezTo>
                    <a:pt x="4418" y="1507"/>
                    <a:pt x="4418" y="1507"/>
                    <a:pt x="4418" y="1507"/>
                  </a:cubicBezTo>
                  <a:cubicBezTo>
                    <a:pt x="4383" y="1507"/>
                    <a:pt x="4383" y="1507"/>
                    <a:pt x="4383" y="1507"/>
                  </a:cubicBezTo>
                  <a:cubicBezTo>
                    <a:pt x="4305" y="1317"/>
                    <a:pt x="4305" y="1317"/>
                    <a:pt x="4305" y="1317"/>
                  </a:cubicBezTo>
                  <a:cubicBezTo>
                    <a:pt x="4342" y="1317"/>
                    <a:pt x="4342" y="1317"/>
                    <a:pt x="4342" y="1317"/>
                  </a:cubicBezTo>
                  <a:cubicBezTo>
                    <a:pt x="4401" y="1466"/>
                    <a:pt x="4401" y="1466"/>
                    <a:pt x="4401" y="1466"/>
                  </a:cubicBezTo>
                  <a:cubicBezTo>
                    <a:pt x="4402" y="1466"/>
                    <a:pt x="4402" y="1466"/>
                    <a:pt x="4402" y="1466"/>
                  </a:cubicBezTo>
                  <a:lnTo>
                    <a:pt x="4459" y="1317"/>
                  </a:lnTo>
                  <a:close/>
                  <a:moveTo>
                    <a:pt x="4611" y="1312"/>
                  </a:moveTo>
                  <a:cubicBezTo>
                    <a:pt x="4555" y="1312"/>
                    <a:pt x="4514" y="1353"/>
                    <a:pt x="4514" y="1412"/>
                  </a:cubicBezTo>
                  <a:cubicBezTo>
                    <a:pt x="4514" y="1467"/>
                    <a:pt x="4550" y="1512"/>
                    <a:pt x="4610" y="1512"/>
                  </a:cubicBezTo>
                  <a:cubicBezTo>
                    <a:pt x="4645" y="1512"/>
                    <a:pt x="4672" y="1501"/>
                    <a:pt x="4695" y="1472"/>
                  </a:cubicBezTo>
                  <a:cubicBezTo>
                    <a:pt x="4671" y="1454"/>
                    <a:pt x="4671" y="1454"/>
                    <a:pt x="4671" y="1454"/>
                  </a:cubicBezTo>
                  <a:cubicBezTo>
                    <a:pt x="4656" y="1473"/>
                    <a:pt x="4637" y="1482"/>
                    <a:pt x="4610" y="1482"/>
                  </a:cubicBezTo>
                  <a:cubicBezTo>
                    <a:pt x="4576" y="1482"/>
                    <a:pt x="4550" y="1454"/>
                    <a:pt x="4548" y="1421"/>
                  </a:cubicBezTo>
                  <a:cubicBezTo>
                    <a:pt x="4702" y="1421"/>
                    <a:pt x="4702" y="1421"/>
                    <a:pt x="4702" y="1421"/>
                  </a:cubicBezTo>
                  <a:cubicBezTo>
                    <a:pt x="4702" y="1411"/>
                    <a:pt x="4702" y="1411"/>
                    <a:pt x="4702" y="1411"/>
                  </a:cubicBezTo>
                  <a:cubicBezTo>
                    <a:pt x="4702" y="1348"/>
                    <a:pt x="4665" y="1312"/>
                    <a:pt x="4611" y="1312"/>
                  </a:cubicBezTo>
                  <a:close/>
                  <a:moveTo>
                    <a:pt x="4548" y="1395"/>
                  </a:moveTo>
                  <a:cubicBezTo>
                    <a:pt x="4552" y="1363"/>
                    <a:pt x="4575" y="1341"/>
                    <a:pt x="4610" y="1341"/>
                  </a:cubicBezTo>
                  <a:cubicBezTo>
                    <a:pt x="4645" y="1341"/>
                    <a:pt x="4666" y="1363"/>
                    <a:pt x="4667" y="1395"/>
                  </a:cubicBezTo>
                  <a:lnTo>
                    <a:pt x="4548" y="1395"/>
                  </a:lnTo>
                  <a:close/>
                  <a:moveTo>
                    <a:pt x="4754" y="1200"/>
                  </a:moveTo>
                  <a:cubicBezTo>
                    <a:pt x="4786" y="1200"/>
                    <a:pt x="4786" y="1200"/>
                    <a:pt x="4786" y="1200"/>
                  </a:cubicBezTo>
                  <a:cubicBezTo>
                    <a:pt x="4786" y="1507"/>
                    <a:pt x="4786" y="1507"/>
                    <a:pt x="4786" y="1507"/>
                  </a:cubicBezTo>
                  <a:cubicBezTo>
                    <a:pt x="4754" y="1507"/>
                    <a:pt x="4754" y="1507"/>
                    <a:pt x="4754" y="1507"/>
                  </a:cubicBezTo>
                  <a:lnTo>
                    <a:pt x="4754" y="1200"/>
                  </a:lnTo>
                  <a:close/>
                  <a:moveTo>
                    <a:pt x="4934" y="1312"/>
                  </a:moveTo>
                  <a:cubicBezTo>
                    <a:pt x="4876" y="1312"/>
                    <a:pt x="4833" y="1352"/>
                    <a:pt x="4833" y="1412"/>
                  </a:cubicBezTo>
                  <a:cubicBezTo>
                    <a:pt x="4833" y="1471"/>
                    <a:pt x="4876" y="1512"/>
                    <a:pt x="4934" y="1512"/>
                  </a:cubicBezTo>
                  <a:cubicBezTo>
                    <a:pt x="4993" y="1512"/>
                    <a:pt x="5036" y="1471"/>
                    <a:pt x="5036" y="1412"/>
                  </a:cubicBezTo>
                  <a:cubicBezTo>
                    <a:pt x="5036" y="1352"/>
                    <a:pt x="4993" y="1312"/>
                    <a:pt x="4934" y="1312"/>
                  </a:cubicBezTo>
                  <a:close/>
                  <a:moveTo>
                    <a:pt x="4934" y="1482"/>
                  </a:moveTo>
                  <a:cubicBezTo>
                    <a:pt x="4893" y="1482"/>
                    <a:pt x="4867" y="1452"/>
                    <a:pt x="4867" y="1412"/>
                  </a:cubicBezTo>
                  <a:cubicBezTo>
                    <a:pt x="4867" y="1372"/>
                    <a:pt x="4893" y="1341"/>
                    <a:pt x="4934" y="1341"/>
                  </a:cubicBezTo>
                  <a:cubicBezTo>
                    <a:pt x="4975" y="1341"/>
                    <a:pt x="5002" y="1372"/>
                    <a:pt x="5002" y="1412"/>
                  </a:cubicBezTo>
                  <a:cubicBezTo>
                    <a:pt x="5002" y="1452"/>
                    <a:pt x="4975" y="1482"/>
                    <a:pt x="4934" y="1482"/>
                  </a:cubicBezTo>
                  <a:close/>
                  <a:moveTo>
                    <a:pt x="5182" y="1312"/>
                  </a:moveTo>
                  <a:cubicBezTo>
                    <a:pt x="5154" y="1312"/>
                    <a:pt x="5131" y="1324"/>
                    <a:pt x="5113" y="1344"/>
                  </a:cubicBezTo>
                  <a:cubicBezTo>
                    <a:pt x="5113" y="1344"/>
                    <a:pt x="5113" y="1344"/>
                    <a:pt x="5113" y="1344"/>
                  </a:cubicBezTo>
                  <a:cubicBezTo>
                    <a:pt x="5113" y="1317"/>
                    <a:pt x="5113" y="1317"/>
                    <a:pt x="5113" y="1317"/>
                  </a:cubicBezTo>
                  <a:cubicBezTo>
                    <a:pt x="5081" y="1317"/>
                    <a:pt x="5081" y="1317"/>
                    <a:pt x="5081" y="1317"/>
                  </a:cubicBezTo>
                  <a:cubicBezTo>
                    <a:pt x="5081" y="1600"/>
                    <a:pt x="5081" y="1600"/>
                    <a:pt x="5081" y="1600"/>
                  </a:cubicBezTo>
                  <a:cubicBezTo>
                    <a:pt x="5113" y="1600"/>
                    <a:pt x="5113" y="1600"/>
                    <a:pt x="5113" y="1600"/>
                  </a:cubicBezTo>
                  <a:cubicBezTo>
                    <a:pt x="5113" y="1473"/>
                    <a:pt x="5113" y="1473"/>
                    <a:pt x="5113" y="1473"/>
                  </a:cubicBezTo>
                  <a:cubicBezTo>
                    <a:pt x="5113" y="1473"/>
                    <a:pt x="5113" y="1473"/>
                    <a:pt x="5113" y="1473"/>
                  </a:cubicBezTo>
                  <a:cubicBezTo>
                    <a:pt x="5125" y="1495"/>
                    <a:pt x="5152" y="1512"/>
                    <a:pt x="5186" y="1512"/>
                  </a:cubicBezTo>
                  <a:cubicBezTo>
                    <a:pt x="5240" y="1512"/>
                    <a:pt x="5282" y="1469"/>
                    <a:pt x="5282" y="1412"/>
                  </a:cubicBezTo>
                  <a:cubicBezTo>
                    <a:pt x="5282" y="1354"/>
                    <a:pt x="5241" y="1312"/>
                    <a:pt x="5182" y="1312"/>
                  </a:cubicBezTo>
                  <a:close/>
                  <a:moveTo>
                    <a:pt x="5180" y="1482"/>
                  </a:moveTo>
                  <a:cubicBezTo>
                    <a:pt x="5139" y="1482"/>
                    <a:pt x="5113" y="1452"/>
                    <a:pt x="5113" y="1412"/>
                  </a:cubicBezTo>
                  <a:cubicBezTo>
                    <a:pt x="5113" y="1372"/>
                    <a:pt x="5139" y="1341"/>
                    <a:pt x="5180" y="1341"/>
                  </a:cubicBezTo>
                  <a:cubicBezTo>
                    <a:pt x="5221" y="1341"/>
                    <a:pt x="5247" y="1372"/>
                    <a:pt x="5247" y="1412"/>
                  </a:cubicBezTo>
                  <a:cubicBezTo>
                    <a:pt x="5247" y="1452"/>
                    <a:pt x="5221" y="1482"/>
                    <a:pt x="5180" y="1482"/>
                  </a:cubicBezTo>
                  <a:close/>
                  <a:moveTo>
                    <a:pt x="5613" y="1391"/>
                  </a:moveTo>
                  <a:cubicBezTo>
                    <a:pt x="5613" y="1507"/>
                    <a:pt x="5613" y="1507"/>
                    <a:pt x="5613" y="1507"/>
                  </a:cubicBezTo>
                  <a:cubicBezTo>
                    <a:pt x="5581" y="1507"/>
                    <a:pt x="5581" y="1507"/>
                    <a:pt x="5581" y="1507"/>
                  </a:cubicBezTo>
                  <a:cubicBezTo>
                    <a:pt x="5581" y="1393"/>
                    <a:pt x="5581" y="1393"/>
                    <a:pt x="5581" y="1393"/>
                  </a:cubicBezTo>
                  <a:cubicBezTo>
                    <a:pt x="5581" y="1367"/>
                    <a:pt x="5572" y="1341"/>
                    <a:pt x="5535" y="1341"/>
                  </a:cubicBezTo>
                  <a:cubicBezTo>
                    <a:pt x="5508" y="1341"/>
                    <a:pt x="5486" y="1363"/>
                    <a:pt x="5486" y="1397"/>
                  </a:cubicBezTo>
                  <a:cubicBezTo>
                    <a:pt x="5486" y="1507"/>
                    <a:pt x="5486" y="1507"/>
                    <a:pt x="5486" y="1507"/>
                  </a:cubicBezTo>
                  <a:cubicBezTo>
                    <a:pt x="5454" y="1507"/>
                    <a:pt x="5454" y="1507"/>
                    <a:pt x="5454" y="1507"/>
                  </a:cubicBezTo>
                  <a:cubicBezTo>
                    <a:pt x="5454" y="1399"/>
                    <a:pt x="5454" y="1399"/>
                    <a:pt x="5454" y="1399"/>
                  </a:cubicBezTo>
                  <a:cubicBezTo>
                    <a:pt x="5454" y="1357"/>
                    <a:pt x="5443" y="1341"/>
                    <a:pt x="5417" y="1341"/>
                  </a:cubicBezTo>
                  <a:cubicBezTo>
                    <a:pt x="5376" y="1341"/>
                    <a:pt x="5358" y="1371"/>
                    <a:pt x="5358" y="1414"/>
                  </a:cubicBezTo>
                  <a:cubicBezTo>
                    <a:pt x="5358" y="1507"/>
                    <a:pt x="5358" y="1507"/>
                    <a:pt x="5358" y="1507"/>
                  </a:cubicBezTo>
                  <a:cubicBezTo>
                    <a:pt x="5327" y="1507"/>
                    <a:pt x="5327" y="1507"/>
                    <a:pt x="5327" y="1507"/>
                  </a:cubicBezTo>
                  <a:cubicBezTo>
                    <a:pt x="5327" y="1362"/>
                    <a:pt x="5327" y="1362"/>
                    <a:pt x="5327" y="1362"/>
                  </a:cubicBezTo>
                  <a:cubicBezTo>
                    <a:pt x="5327" y="1344"/>
                    <a:pt x="5325" y="1329"/>
                    <a:pt x="5325" y="1317"/>
                  </a:cubicBezTo>
                  <a:cubicBezTo>
                    <a:pt x="5355" y="1317"/>
                    <a:pt x="5355" y="1317"/>
                    <a:pt x="5355" y="1317"/>
                  </a:cubicBezTo>
                  <a:cubicBezTo>
                    <a:pt x="5355" y="1327"/>
                    <a:pt x="5356" y="1337"/>
                    <a:pt x="5356" y="1348"/>
                  </a:cubicBezTo>
                  <a:cubicBezTo>
                    <a:pt x="5357" y="1348"/>
                    <a:pt x="5357" y="1348"/>
                    <a:pt x="5357" y="1348"/>
                  </a:cubicBezTo>
                  <a:cubicBezTo>
                    <a:pt x="5365" y="1329"/>
                    <a:pt x="5389" y="1312"/>
                    <a:pt x="5420" y="1312"/>
                  </a:cubicBezTo>
                  <a:cubicBezTo>
                    <a:pt x="5461" y="1312"/>
                    <a:pt x="5474" y="1335"/>
                    <a:pt x="5480" y="1348"/>
                  </a:cubicBezTo>
                  <a:cubicBezTo>
                    <a:pt x="5494" y="1326"/>
                    <a:pt x="5512" y="1312"/>
                    <a:pt x="5540" y="1312"/>
                  </a:cubicBezTo>
                  <a:cubicBezTo>
                    <a:pt x="5595" y="1312"/>
                    <a:pt x="5613" y="1342"/>
                    <a:pt x="5613" y="1391"/>
                  </a:cubicBezTo>
                  <a:close/>
                  <a:moveTo>
                    <a:pt x="5756" y="1312"/>
                  </a:moveTo>
                  <a:cubicBezTo>
                    <a:pt x="5700" y="1312"/>
                    <a:pt x="5658" y="1353"/>
                    <a:pt x="5658" y="1412"/>
                  </a:cubicBezTo>
                  <a:cubicBezTo>
                    <a:pt x="5658" y="1467"/>
                    <a:pt x="5695" y="1512"/>
                    <a:pt x="5754" y="1512"/>
                  </a:cubicBezTo>
                  <a:cubicBezTo>
                    <a:pt x="5790" y="1512"/>
                    <a:pt x="5817" y="1501"/>
                    <a:pt x="5839" y="1472"/>
                  </a:cubicBezTo>
                  <a:cubicBezTo>
                    <a:pt x="5815" y="1454"/>
                    <a:pt x="5815" y="1454"/>
                    <a:pt x="5815" y="1454"/>
                  </a:cubicBezTo>
                  <a:cubicBezTo>
                    <a:pt x="5800" y="1473"/>
                    <a:pt x="5782" y="1482"/>
                    <a:pt x="5754" y="1482"/>
                  </a:cubicBezTo>
                  <a:cubicBezTo>
                    <a:pt x="5720" y="1482"/>
                    <a:pt x="5695" y="1454"/>
                    <a:pt x="5692" y="1421"/>
                  </a:cubicBezTo>
                  <a:cubicBezTo>
                    <a:pt x="5846" y="1421"/>
                    <a:pt x="5846" y="1421"/>
                    <a:pt x="5846" y="1421"/>
                  </a:cubicBezTo>
                  <a:cubicBezTo>
                    <a:pt x="5846" y="1411"/>
                    <a:pt x="5846" y="1411"/>
                    <a:pt x="5846" y="1411"/>
                  </a:cubicBezTo>
                  <a:cubicBezTo>
                    <a:pt x="5846" y="1348"/>
                    <a:pt x="5809" y="1312"/>
                    <a:pt x="5756" y="1312"/>
                  </a:cubicBezTo>
                  <a:close/>
                  <a:moveTo>
                    <a:pt x="5692" y="1395"/>
                  </a:moveTo>
                  <a:cubicBezTo>
                    <a:pt x="5696" y="1363"/>
                    <a:pt x="5720" y="1341"/>
                    <a:pt x="5754" y="1341"/>
                  </a:cubicBezTo>
                  <a:cubicBezTo>
                    <a:pt x="5789" y="1341"/>
                    <a:pt x="5811" y="1363"/>
                    <a:pt x="5812" y="1395"/>
                  </a:cubicBezTo>
                  <a:lnTo>
                    <a:pt x="5692" y="1395"/>
                  </a:lnTo>
                  <a:close/>
                  <a:moveTo>
                    <a:pt x="6057" y="1389"/>
                  </a:moveTo>
                  <a:cubicBezTo>
                    <a:pt x="6057" y="1507"/>
                    <a:pt x="6057" y="1507"/>
                    <a:pt x="6057" y="1507"/>
                  </a:cubicBezTo>
                  <a:cubicBezTo>
                    <a:pt x="6025" y="1507"/>
                    <a:pt x="6025" y="1507"/>
                    <a:pt x="6025" y="1507"/>
                  </a:cubicBezTo>
                  <a:cubicBezTo>
                    <a:pt x="6025" y="1393"/>
                    <a:pt x="6025" y="1393"/>
                    <a:pt x="6025" y="1393"/>
                  </a:cubicBezTo>
                  <a:cubicBezTo>
                    <a:pt x="6025" y="1361"/>
                    <a:pt x="6011" y="1341"/>
                    <a:pt x="5982" y="1341"/>
                  </a:cubicBezTo>
                  <a:cubicBezTo>
                    <a:pt x="5941" y="1341"/>
                    <a:pt x="5923" y="1371"/>
                    <a:pt x="5923" y="1414"/>
                  </a:cubicBezTo>
                  <a:cubicBezTo>
                    <a:pt x="5923" y="1507"/>
                    <a:pt x="5923" y="1507"/>
                    <a:pt x="5923" y="1507"/>
                  </a:cubicBezTo>
                  <a:cubicBezTo>
                    <a:pt x="5891" y="1507"/>
                    <a:pt x="5891" y="1507"/>
                    <a:pt x="5891" y="1507"/>
                  </a:cubicBezTo>
                  <a:cubicBezTo>
                    <a:pt x="5891" y="1362"/>
                    <a:pt x="5891" y="1362"/>
                    <a:pt x="5891" y="1362"/>
                  </a:cubicBezTo>
                  <a:cubicBezTo>
                    <a:pt x="5891" y="1344"/>
                    <a:pt x="5889" y="1329"/>
                    <a:pt x="5889" y="1317"/>
                  </a:cubicBezTo>
                  <a:cubicBezTo>
                    <a:pt x="5919" y="1317"/>
                    <a:pt x="5919" y="1317"/>
                    <a:pt x="5919" y="1317"/>
                  </a:cubicBezTo>
                  <a:cubicBezTo>
                    <a:pt x="5919" y="1327"/>
                    <a:pt x="5920" y="1337"/>
                    <a:pt x="5920" y="1348"/>
                  </a:cubicBezTo>
                  <a:cubicBezTo>
                    <a:pt x="5921" y="1348"/>
                    <a:pt x="5921" y="1348"/>
                    <a:pt x="5921" y="1348"/>
                  </a:cubicBezTo>
                  <a:cubicBezTo>
                    <a:pt x="5930" y="1329"/>
                    <a:pt x="5953" y="1312"/>
                    <a:pt x="5984" y="1312"/>
                  </a:cubicBezTo>
                  <a:cubicBezTo>
                    <a:pt x="6034" y="1312"/>
                    <a:pt x="6057" y="1343"/>
                    <a:pt x="6057" y="1389"/>
                  </a:cubicBezTo>
                  <a:close/>
                  <a:moveTo>
                    <a:pt x="6217" y="1505"/>
                  </a:moveTo>
                  <a:cubicBezTo>
                    <a:pt x="6206" y="1510"/>
                    <a:pt x="6192" y="1512"/>
                    <a:pt x="6180" y="1512"/>
                  </a:cubicBezTo>
                  <a:cubicBezTo>
                    <a:pt x="6135" y="1512"/>
                    <a:pt x="6128" y="1487"/>
                    <a:pt x="6128" y="1448"/>
                  </a:cubicBezTo>
                  <a:cubicBezTo>
                    <a:pt x="6128" y="1343"/>
                    <a:pt x="6128" y="1343"/>
                    <a:pt x="6128" y="1343"/>
                  </a:cubicBezTo>
                  <a:cubicBezTo>
                    <a:pt x="6086" y="1343"/>
                    <a:pt x="6086" y="1343"/>
                    <a:pt x="6086" y="1343"/>
                  </a:cubicBezTo>
                  <a:cubicBezTo>
                    <a:pt x="6086" y="1317"/>
                    <a:pt x="6086" y="1317"/>
                    <a:pt x="6086" y="1317"/>
                  </a:cubicBezTo>
                  <a:cubicBezTo>
                    <a:pt x="6128" y="1317"/>
                    <a:pt x="6128" y="1317"/>
                    <a:pt x="6128" y="1317"/>
                  </a:cubicBezTo>
                  <a:cubicBezTo>
                    <a:pt x="6128" y="1263"/>
                    <a:pt x="6128" y="1263"/>
                    <a:pt x="6128" y="1263"/>
                  </a:cubicBezTo>
                  <a:cubicBezTo>
                    <a:pt x="6159" y="1263"/>
                    <a:pt x="6159" y="1263"/>
                    <a:pt x="6159" y="1263"/>
                  </a:cubicBezTo>
                  <a:cubicBezTo>
                    <a:pt x="6159" y="1317"/>
                    <a:pt x="6159" y="1317"/>
                    <a:pt x="6159" y="1317"/>
                  </a:cubicBezTo>
                  <a:cubicBezTo>
                    <a:pt x="6215" y="1317"/>
                    <a:pt x="6215" y="1317"/>
                    <a:pt x="6215" y="1317"/>
                  </a:cubicBezTo>
                  <a:cubicBezTo>
                    <a:pt x="6215" y="1343"/>
                    <a:pt x="6215" y="1343"/>
                    <a:pt x="6215" y="1343"/>
                  </a:cubicBezTo>
                  <a:cubicBezTo>
                    <a:pt x="6159" y="1343"/>
                    <a:pt x="6159" y="1343"/>
                    <a:pt x="6159" y="1343"/>
                  </a:cubicBezTo>
                  <a:cubicBezTo>
                    <a:pt x="6159" y="1439"/>
                    <a:pt x="6159" y="1439"/>
                    <a:pt x="6159" y="1439"/>
                  </a:cubicBezTo>
                  <a:cubicBezTo>
                    <a:pt x="6159" y="1463"/>
                    <a:pt x="6160" y="1482"/>
                    <a:pt x="6188" y="1482"/>
                  </a:cubicBezTo>
                  <a:cubicBezTo>
                    <a:pt x="6197" y="1482"/>
                    <a:pt x="6207" y="1480"/>
                    <a:pt x="6216" y="1476"/>
                  </a:cubicBezTo>
                  <a:lnTo>
                    <a:pt x="6217" y="1505"/>
                  </a:lnTo>
                  <a:close/>
                  <a:moveTo>
                    <a:pt x="2242" y="1312"/>
                  </a:moveTo>
                  <a:cubicBezTo>
                    <a:pt x="2215" y="1312"/>
                    <a:pt x="2191" y="1324"/>
                    <a:pt x="2174" y="1344"/>
                  </a:cubicBezTo>
                  <a:cubicBezTo>
                    <a:pt x="2173" y="1344"/>
                    <a:pt x="2173" y="1344"/>
                    <a:pt x="2173" y="1344"/>
                  </a:cubicBezTo>
                  <a:cubicBezTo>
                    <a:pt x="2173" y="1317"/>
                    <a:pt x="2173" y="1317"/>
                    <a:pt x="2173" y="1317"/>
                  </a:cubicBezTo>
                  <a:cubicBezTo>
                    <a:pt x="2141" y="1317"/>
                    <a:pt x="2141" y="1317"/>
                    <a:pt x="2141" y="1317"/>
                  </a:cubicBezTo>
                  <a:cubicBezTo>
                    <a:pt x="2141" y="1600"/>
                    <a:pt x="2141" y="1600"/>
                    <a:pt x="2141" y="1600"/>
                  </a:cubicBezTo>
                  <a:cubicBezTo>
                    <a:pt x="2173" y="1600"/>
                    <a:pt x="2173" y="1600"/>
                    <a:pt x="2173" y="1600"/>
                  </a:cubicBezTo>
                  <a:cubicBezTo>
                    <a:pt x="2173" y="1473"/>
                    <a:pt x="2173" y="1473"/>
                    <a:pt x="2173" y="1473"/>
                  </a:cubicBezTo>
                  <a:cubicBezTo>
                    <a:pt x="2174" y="1473"/>
                    <a:pt x="2174" y="1473"/>
                    <a:pt x="2174" y="1473"/>
                  </a:cubicBezTo>
                  <a:cubicBezTo>
                    <a:pt x="2186" y="1495"/>
                    <a:pt x="2213" y="1512"/>
                    <a:pt x="2247" y="1512"/>
                  </a:cubicBezTo>
                  <a:cubicBezTo>
                    <a:pt x="2300" y="1512"/>
                    <a:pt x="2342" y="1469"/>
                    <a:pt x="2342" y="1412"/>
                  </a:cubicBezTo>
                  <a:cubicBezTo>
                    <a:pt x="2342" y="1354"/>
                    <a:pt x="2302" y="1312"/>
                    <a:pt x="2242" y="1312"/>
                  </a:cubicBezTo>
                  <a:close/>
                  <a:moveTo>
                    <a:pt x="2241" y="1482"/>
                  </a:moveTo>
                  <a:cubicBezTo>
                    <a:pt x="2200" y="1482"/>
                    <a:pt x="2173" y="1452"/>
                    <a:pt x="2173" y="1412"/>
                  </a:cubicBezTo>
                  <a:cubicBezTo>
                    <a:pt x="2173" y="1372"/>
                    <a:pt x="2200" y="1341"/>
                    <a:pt x="2241" y="1341"/>
                  </a:cubicBezTo>
                  <a:cubicBezTo>
                    <a:pt x="2282" y="1341"/>
                    <a:pt x="2308" y="1372"/>
                    <a:pt x="2308" y="1412"/>
                  </a:cubicBezTo>
                  <a:cubicBezTo>
                    <a:pt x="2308" y="1452"/>
                    <a:pt x="2282" y="1482"/>
                    <a:pt x="2241" y="1482"/>
                  </a:cubicBezTo>
                  <a:close/>
                  <a:moveTo>
                    <a:pt x="2478" y="1312"/>
                  </a:moveTo>
                  <a:cubicBezTo>
                    <a:pt x="2482" y="1312"/>
                    <a:pt x="2487" y="1312"/>
                    <a:pt x="2491" y="1314"/>
                  </a:cubicBezTo>
                  <a:cubicBezTo>
                    <a:pt x="2489" y="1346"/>
                    <a:pt x="2489" y="1346"/>
                    <a:pt x="2489" y="1346"/>
                  </a:cubicBezTo>
                  <a:cubicBezTo>
                    <a:pt x="2484" y="1344"/>
                    <a:pt x="2478" y="1343"/>
                    <a:pt x="2472" y="1343"/>
                  </a:cubicBezTo>
                  <a:cubicBezTo>
                    <a:pt x="2433" y="1343"/>
                    <a:pt x="2416" y="1371"/>
                    <a:pt x="2416" y="1414"/>
                  </a:cubicBezTo>
                  <a:cubicBezTo>
                    <a:pt x="2416" y="1507"/>
                    <a:pt x="2416" y="1507"/>
                    <a:pt x="2416" y="1507"/>
                  </a:cubicBezTo>
                  <a:cubicBezTo>
                    <a:pt x="2385" y="1507"/>
                    <a:pt x="2385" y="1507"/>
                    <a:pt x="2385" y="1507"/>
                  </a:cubicBezTo>
                  <a:cubicBezTo>
                    <a:pt x="2385" y="1362"/>
                    <a:pt x="2385" y="1362"/>
                    <a:pt x="2385" y="1362"/>
                  </a:cubicBezTo>
                  <a:cubicBezTo>
                    <a:pt x="2385" y="1344"/>
                    <a:pt x="2383" y="1329"/>
                    <a:pt x="2383" y="1317"/>
                  </a:cubicBezTo>
                  <a:cubicBezTo>
                    <a:pt x="2413" y="1317"/>
                    <a:pt x="2413" y="1317"/>
                    <a:pt x="2413" y="1317"/>
                  </a:cubicBezTo>
                  <a:cubicBezTo>
                    <a:pt x="2413" y="1327"/>
                    <a:pt x="2414" y="1337"/>
                    <a:pt x="2414" y="1348"/>
                  </a:cubicBezTo>
                  <a:cubicBezTo>
                    <a:pt x="2415" y="1348"/>
                    <a:pt x="2415" y="1348"/>
                    <a:pt x="2415" y="1348"/>
                  </a:cubicBezTo>
                  <a:cubicBezTo>
                    <a:pt x="2423" y="1329"/>
                    <a:pt x="2447" y="1312"/>
                    <a:pt x="2478" y="1312"/>
                  </a:cubicBezTo>
                  <a:close/>
                  <a:moveTo>
                    <a:pt x="2606" y="1312"/>
                  </a:moveTo>
                  <a:cubicBezTo>
                    <a:pt x="2547" y="1312"/>
                    <a:pt x="2504" y="1352"/>
                    <a:pt x="2504" y="1412"/>
                  </a:cubicBezTo>
                  <a:cubicBezTo>
                    <a:pt x="2504" y="1471"/>
                    <a:pt x="2547" y="1512"/>
                    <a:pt x="2606" y="1512"/>
                  </a:cubicBezTo>
                  <a:cubicBezTo>
                    <a:pt x="2664" y="1512"/>
                    <a:pt x="2707" y="1471"/>
                    <a:pt x="2707" y="1412"/>
                  </a:cubicBezTo>
                  <a:cubicBezTo>
                    <a:pt x="2707" y="1352"/>
                    <a:pt x="2664" y="1312"/>
                    <a:pt x="2606" y="1312"/>
                  </a:cubicBezTo>
                  <a:close/>
                  <a:moveTo>
                    <a:pt x="2606" y="1482"/>
                  </a:moveTo>
                  <a:cubicBezTo>
                    <a:pt x="2565" y="1482"/>
                    <a:pt x="2538" y="1452"/>
                    <a:pt x="2538" y="1412"/>
                  </a:cubicBezTo>
                  <a:cubicBezTo>
                    <a:pt x="2538" y="1372"/>
                    <a:pt x="2565" y="1341"/>
                    <a:pt x="2606" y="1341"/>
                  </a:cubicBezTo>
                  <a:cubicBezTo>
                    <a:pt x="2647" y="1341"/>
                    <a:pt x="2673" y="1372"/>
                    <a:pt x="2673" y="1412"/>
                  </a:cubicBezTo>
                  <a:cubicBezTo>
                    <a:pt x="2673" y="1452"/>
                    <a:pt x="2647" y="1482"/>
                    <a:pt x="2606" y="1482"/>
                  </a:cubicBezTo>
                  <a:close/>
                  <a:moveTo>
                    <a:pt x="2853" y="1312"/>
                  </a:moveTo>
                  <a:cubicBezTo>
                    <a:pt x="2825" y="1312"/>
                    <a:pt x="2802" y="1324"/>
                    <a:pt x="2785" y="1344"/>
                  </a:cubicBezTo>
                  <a:cubicBezTo>
                    <a:pt x="2784" y="1344"/>
                    <a:pt x="2784" y="1344"/>
                    <a:pt x="2784" y="1344"/>
                  </a:cubicBezTo>
                  <a:cubicBezTo>
                    <a:pt x="2784" y="1317"/>
                    <a:pt x="2784" y="1317"/>
                    <a:pt x="2784" y="1317"/>
                  </a:cubicBezTo>
                  <a:cubicBezTo>
                    <a:pt x="2752" y="1317"/>
                    <a:pt x="2752" y="1317"/>
                    <a:pt x="2752" y="1317"/>
                  </a:cubicBezTo>
                  <a:cubicBezTo>
                    <a:pt x="2752" y="1600"/>
                    <a:pt x="2752" y="1600"/>
                    <a:pt x="2752" y="1600"/>
                  </a:cubicBezTo>
                  <a:cubicBezTo>
                    <a:pt x="2784" y="1600"/>
                    <a:pt x="2784" y="1600"/>
                    <a:pt x="2784" y="1600"/>
                  </a:cubicBezTo>
                  <a:cubicBezTo>
                    <a:pt x="2784" y="1473"/>
                    <a:pt x="2784" y="1473"/>
                    <a:pt x="2784" y="1473"/>
                  </a:cubicBezTo>
                  <a:cubicBezTo>
                    <a:pt x="2785" y="1473"/>
                    <a:pt x="2785" y="1473"/>
                    <a:pt x="2785" y="1473"/>
                  </a:cubicBezTo>
                  <a:cubicBezTo>
                    <a:pt x="2796" y="1495"/>
                    <a:pt x="2824" y="1512"/>
                    <a:pt x="2858" y="1512"/>
                  </a:cubicBezTo>
                  <a:cubicBezTo>
                    <a:pt x="2911" y="1512"/>
                    <a:pt x="2953" y="1469"/>
                    <a:pt x="2953" y="1412"/>
                  </a:cubicBezTo>
                  <a:cubicBezTo>
                    <a:pt x="2953" y="1354"/>
                    <a:pt x="2913" y="1312"/>
                    <a:pt x="2853" y="1312"/>
                  </a:cubicBezTo>
                  <a:close/>
                  <a:moveTo>
                    <a:pt x="2851" y="1482"/>
                  </a:moveTo>
                  <a:cubicBezTo>
                    <a:pt x="2810" y="1482"/>
                    <a:pt x="2784" y="1452"/>
                    <a:pt x="2784" y="1412"/>
                  </a:cubicBezTo>
                  <a:cubicBezTo>
                    <a:pt x="2784" y="1372"/>
                    <a:pt x="2810" y="1341"/>
                    <a:pt x="2851" y="1341"/>
                  </a:cubicBezTo>
                  <a:cubicBezTo>
                    <a:pt x="2892" y="1341"/>
                    <a:pt x="2919" y="1372"/>
                    <a:pt x="2919" y="1412"/>
                  </a:cubicBezTo>
                  <a:cubicBezTo>
                    <a:pt x="2919" y="1452"/>
                    <a:pt x="2892" y="1482"/>
                    <a:pt x="2851" y="1482"/>
                  </a:cubicBezTo>
                  <a:close/>
                  <a:moveTo>
                    <a:pt x="3086" y="1312"/>
                  </a:moveTo>
                  <a:cubicBezTo>
                    <a:pt x="3030" y="1312"/>
                    <a:pt x="2988" y="1353"/>
                    <a:pt x="2988" y="1412"/>
                  </a:cubicBezTo>
                  <a:cubicBezTo>
                    <a:pt x="2988" y="1467"/>
                    <a:pt x="3025" y="1512"/>
                    <a:pt x="3085" y="1512"/>
                  </a:cubicBezTo>
                  <a:cubicBezTo>
                    <a:pt x="3120" y="1512"/>
                    <a:pt x="3147" y="1501"/>
                    <a:pt x="3169" y="1472"/>
                  </a:cubicBezTo>
                  <a:cubicBezTo>
                    <a:pt x="3145" y="1454"/>
                    <a:pt x="3145" y="1454"/>
                    <a:pt x="3145" y="1454"/>
                  </a:cubicBezTo>
                  <a:cubicBezTo>
                    <a:pt x="3130" y="1473"/>
                    <a:pt x="3112" y="1482"/>
                    <a:pt x="3085" y="1482"/>
                  </a:cubicBezTo>
                  <a:cubicBezTo>
                    <a:pt x="3050" y="1482"/>
                    <a:pt x="3025" y="1454"/>
                    <a:pt x="3023" y="1421"/>
                  </a:cubicBezTo>
                  <a:cubicBezTo>
                    <a:pt x="3176" y="1421"/>
                    <a:pt x="3176" y="1421"/>
                    <a:pt x="3176" y="1421"/>
                  </a:cubicBezTo>
                  <a:cubicBezTo>
                    <a:pt x="3176" y="1411"/>
                    <a:pt x="3176" y="1411"/>
                    <a:pt x="3176" y="1411"/>
                  </a:cubicBezTo>
                  <a:cubicBezTo>
                    <a:pt x="3176" y="1348"/>
                    <a:pt x="3140" y="1312"/>
                    <a:pt x="3086" y="1312"/>
                  </a:cubicBezTo>
                  <a:close/>
                  <a:moveTo>
                    <a:pt x="3023" y="1395"/>
                  </a:moveTo>
                  <a:cubicBezTo>
                    <a:pt x="3027" y="1363"/>
                    <a:pt x="3050" y="1341"/>
                    <a:pt x="3085" y="1341"/>
                  </a:cubicBezTo>
                  <a:cubicBezTo>
                    <a:pt x="3120" y="1341"/>
                    <a:pt x="3141" y="1363"/>
                    <a:pt x="3142" y="1395"/>
                  </a:cubicBezTo>
                  <a:lnTo>
                    <a:pt x="3023" y="1395"/>
                  </a:lnTo>
                  <a:close/>
                  <a:moveTo>
                    <a:pt x="3322" y="1312"/>
                  </a:moveTo>
                  <a:cubicBezTo>
                    <a:pt x="3326" y="1312"/>
                    <a:pt x="3330" y="1312"/>
                    <a:pt x="3335" y="1314"/>
                  </a:cubicBezTo>
                  <a:cubicBezTo>
                    <a:pt x="3333" y="1346"/>
                    <a:pt x="3333" y="1346"/>
                    <a:pt x="3333" y="1346"/>
                  </a:cubicBezTo>
                  <a:cubicBezTo>
                    <a:pt x="3327" y="1344"/>
                    <a:pt x="3321" y="1343"/>
                    <a:pt x="3316" y="1343"/>
                  </a:cubicBezTo>
                  <a:cubicBezTo>
                    <a:pt x="3277" y="1343"/>
                    <a:pt x="3260" y="1371"/>
                    <a:pt x="3260" y="1414"/>
                  </a:cubicBezTo>
                  <a:cubicBezTo>
                    <a:pt x="3260" y="1507"/>
                    <a:pt x="3260" y="1507"/>
                    <a:pt x="3260" y="1507"/>
                  </a:cubicBezTo>
                  <a:cubicBezTo>
                    <a:pt x="3228" y="1507"/>
                    <a:pt x="3228" y="1507"/>
                    <a:pt x="3228" y="1507"/>
                  </a:cubicBezTo>
                  <a:cubicBezTo>
                    <a:pt x="3228" y="1362"/>
                    <a:pt x="3228" y="1362"/>
                    <a:pt x="3228" y="1362"/>
                  </a:cubicBezTo>
                  <a:cubicBezTo>
                    <a:pt x="3228" y="1344"/>
                    <a:pt x="3227" y="1329"/>
                    <a:pt x="3227" y="1317"/>
                  </a:cubicBezTo>
                  <a:cubicBezTo>
                    <a:pt x="3257" y="1317"/>
                    <a:pt x="3257" y="1317"/>
                    <a:pt x="3257" y="1317"/>
                  </a:cubicBezTo>
                  <a:cubicBezTo>
                    <a:pt x="3257" y="1327"/>
                    <a:pt x="3258" y="1337"/>
                    <a:pt x="3258" y="1348"/>
                  </a:cubicBezTo>
                  <a:cubicBezTo>
                    <a:pt x="3258" y="1348"/>
                    <a:pt x="3258" y="1348"/>
                    <a:pt x="3258" y="1348"/>
                  </a:cubicBezTo>
                  <a:cubicBezTo>
                    <a:pt x="3267" y="1329"/>
                    <a:pt x="3290" y="1312"/>
                    <a:pt x="3322" y="1312"/>
                  </a:cubicBezTo>
                  <a:close/>
                  <a:moveTo>
                    <a:pt x="3492" y="1476"/>
                  </a:moveTo>
                  <a:cubicBezTo>
                    <a:pt x="3494" y="1505"/>
                    <a:pt x="3494" y="1505"/>
                    <a:pt x="3494" y="1505"/>
                  </a:cubicBezTo>
                  <a:cubicBezTo>
                    <a:pt x="3483" y="1510"/>
                    <a:pt x="3468" y="1512"/>
                    <a:pt x="3457" y="1512"/>
                  </a:cubicBezTo>
                  <a:cubicBezTo>
                    <a:pt x="3412" y="1512"/>
                    <a:pt x="3404" y="1487"/>
                    <a:pt x="3404" y="1448"/>
                  </a:cubicBezTo>
                  <a:cubicBezTo>
                    <a:pt x="3404" y="1343"/>
                    <a:pt x="3404" y="1343"/>
                    <a:pt x="3404" y="1343"/>
                  </a:cubicBezTo>
                  <a:cubicBezTo>
                    <a:pt x="3363" y="1343"/>
                    <a:pt x="3363" y="1343"/>
                    <a:pt x="3363" y="1343"/>
                  </a:cubicBezTo>
                  <a:cubicBezTo>
                    <a:pt x="3363" y="1317"/>
                    <a:pt x="3363" y="1317"/>
                    <a:pt x="3363" y="1317"/>
                  </a:cubicBezTo>
                  <a:cubicBezTo>
                    <a:pt x="3404" y="1317"/>
                    <a:pt x="3404" y="1317"/>
                    <a:pt x="3404" y="1317"/>
                  </a:cubicBezTo>
                  <a:cubicBezTo>
                    <a:pt x="3404" y="1263"/>
                    <a:pt x="3404" y="1263"/>
                    <a:pt x="3404" y="1263"/>
                  </a:cubicBezTo>
                  <a:cubicBezTo>
                    <a:pt x="3436" y="1263"/>
                    <a:pt x="3436" y="1263"/>
                    <a:pt x="3436" y="1263"/>
                  </a:cubicBezTo>
                  <a:cubicBezTo>
                    <a:pt x="3436" y="1317"/>
                    <a:pt x="3436" y="1317"/>
                    <a:pt x="3436" y="1317"/>
                  </a:cubicBezTo>
                  <a:cubicBezTo>
                    <a:pt x="3492" y="1317"/>
                    <a:pt x="3492" y="1317"/>
                    <a:pt x="3492" y="1317"/>
                  </a:cubicBezTo>
                  <a:cubicBezTo>
                    <a:pt x="3492" y="1343"/>
                    <a:pt x="3492" y="1343"/>
                    <a:pt x="3492" y="1343"/>
                  </a:cubicBezTo>
                  <a:cubicBezTo>
                    <a:pt x="3436" y="1343"/>
                    <a:pt x="3436" y="1343"/>
                    <a:pt x="3436" y="1343"/>
                  </a:cubicBezTo>
                  <a:cubicBezTo>
                    <a:pt x="3436" y="1439"/>
                    <a:pt x="3436" y="1439"/>
                    <a:pt x="3436" y="1439"/>
                  </a:cubicBezTo>
                  <a:cubicBezTo>
                    <a:pt x="3436" y="1463"/>
                    <a:pt x="3436" y="1482"/>
                    <a:pt x="3464" y="1482"/>
                  </a:cubicBezTo>
                  <a:cubicBezTo>
                    <a:pt x="3474" y="1482"/>
                    <a:pt x="3484" y="1480"/>
                    <a:pt x="3492" y="1476"/>
                  </a:cubicBezTo>
                  <a:close/>
                  <a:moveTo>
                    <a:pt x="3674" y="1317"/>
                  </a:moveTo>
                  <a:cubicBezTo>
                    <a:pt x="3709" y="1317"/>
                    <a:pt x="3709" y="1317"/>
                    <a:pt x="3709" y="1317"/>
                  </a:cubicBezTo>
                  <a:cubicBezTo>
                    <a:pt x="3617" y="1550"/>
                    <a:pt x="3617" y="1550"/>
                    <a:pt x="3617" y="1550"/>
                  </a:cubicBezTo>
                  <a:cubicBezTo>
                    <a:pt x="3604" y="1582"/>
                    <a:pt x="3592" y="1604"/>
                    <a:pt x="3553" y="1604"/>
                  </a:cubicBezTo>
                  <a:cubicBezTo>
                    <a:pt x="3545" y="1604"/>
                    <a:pt x="3533" y="1604"/>
                    <a:pt x="3525" y="1600"/>
                  </a:cubicBezTo>
                  <a:cubicBezTo>
                    <a:pt x="3529" y="1572"/>
                    <a:pt x="3529" y="1572"/>
                    <a:pt x="3529" y="1572"/>
                  </a:cubicBezTo>
                  <a:cubicBezTo>
                    <a:pt x="3536" y="1574"/>
                    <a:pt x="3542" y="1575"/>
                    <a:pt x="3551" y="1575"/>
                  </a:cubicBezTo>
                  <a:cubicBezTo>
                    <a:pt x="3572" y="1575"/>
                    <a:pt x="3580" y="1563"/>
                    <a:pt x="3587" y="1544"/>
                  </a:cubicBezTo>
                  <a:cubicBezTo>
                    <a:pt x="3600" y="1508"/>
                    <a:pt x="3600" y="1508"/>
                    <a:pt x="3600" y="1508"/>
                  </a:cubicBezTo>
                  <a:cubicBezTo>
                    <a:pt x="3521" y="1317"/>
                    <a:pt x="3521" y="1317"/>
                    <a:pt x="3521" y="1317"/>
                  </a:cubicBezTo>
                  <a:cubicBezTo>
                    <a:pt x="3558" y="1317"/>
                    <a:pt x="3558" y="1317"/>
                    <a:pt x="3558" y="1317"/>
                  </a:cubicBezTo>
                  <a:cubicBezTo>
                    <a:pt x="3617" y="1466"/>
                    <a:pt x="3617" y="1466"/>
                    <a:pt x="3617" y="1466"/>
                  </a:cubicBezTo>
                  <a:cubicBezTo>
                    <a:pt x="3618" y="1466"/>
                    <a:pt x="3618" y="1466"/>
                    <a:pt x="3618" y="1466"/>
                  </a:cubicBezTo>
                  <a:lnTo>
                    <a:pt x="3674" y="1317"/>
                  </a:lnTo>
                  <a:close/>
                  <a:moveTo>
                    <a:pt x="101" y="1312"/>
                  </a:moveTo>
                  <a:cubicBezTo>
                    <a:pt x="73" y="1312"/>
                    <a:pt x="50" y="1324"/>
                    <a:pt x="33" y="1344"/>
                  </a:cubicBezTo>
                  <a:cubicBezTo>
                    <a:pt x="32" y="1344"/>
                    <a:pt x="32" y="1344"/>
                    <a:pt x="32" y="1344"/>
                  </a:cubicBezTo>
                  <a:cubicBezTo>
                    <a:pt x="32" y="1200"/>
                    <a:pt x="32" y="1200"/>
                    <a:pt x="32" y="1200"/>
                  </a:cubicBezTo>
                  <a:cubicBezTo>
                    <a:pt x="0" y="1200"/>
                    <a:pt x="0" y="1200"/>
                    <a:pt x="0" y="1200"/>
                  </a:cubicBezTo>
                  <a:cubicBezTo>
                    <a:pt x="0" y="1507"/>
                    <a:pt x="0" y="1507"/>
                    <a:pt x="0" y="1507"/>
                  </a:cubicBezTo>
                  <a:cubicBezTo>
                    <a:pt x="32" y="1507"/>
                    <a:pt x="32" y="1507"/>
                    <a:pt x="32" y="1507"/>
                  </a:cubicBezTo>
                  <a:cubicBezTo>
                    <a:pt x="32" y="1473"/>
                    <a:pt x="32" y="1473"/>
                    <a:pt x="32" y="1473"/>
                  </a:cubicBezTo>
                  <a:cubicBezTo>
                    <a:pt x="33" y="1473"/>
                    <a:pt x="33" y="1473"/>
                    <a:pt x="33" y="1473"/>
                  </a:cubicBezTo>
                  <a:cubicBezTo>
                    <a:pt x="45" y="1495"/>
                    <a:pt x="72" y="1512"/>
                    <a:pt x="106" y="1512"/>
                  </a:cubicBezTo>
                  <a:cubicBezTo>
                    <a:pt x="159" y="1512"/>
                    <a:pt x="201" y="1469"/>
                    <a:pt x="201" y="1412"/>
                  </a:cubicBezTo>
                  <a:cubicBezTo>
                    <a:pt x="201" y="1354"/>
                    <a:pt x="161" y="1312"/>
                    <a:pt x="101" y="1312"/>
                  </a:cubicBezTo>
                  <a:close/>
                  <a:moveTo>
                    <a:pt x="99" y="1482"/>
                  </a:moveTo>
                  <a:cubicBezTo>
                    <a:pt x="58" y="1482"/>
                    <a:pt x="32" y="1452"/>
                    <a:pt x="32" y="1412"/>
                  </a:cubicBezTo>
                  <a:cubicBezTo>
                    <a:pt x="32" y="1372"/>
                    <a:pt x="58" y="1341"/>
                    <a:pt x="99" y="1341"/>
                  </a:cubicBezTo>
                  <a:cubicBezTo>
                    <a:pt x="140" y="1341"/>
                    <a:pt x="167" y="1372"/>
                    <a:pt x="167" y="1412"/>
                  </a:cubicBezTo>
                  <a:cubicBezTo>
                    <a:pt x="167" y="1452"/>
                    <a:pt x="140" y="1482"/>
                    <a:pt x="99" y="1482"/>
                  </a:cubicBezTo>
                  <a:close/>
                  <a:moveTo>
                    <a:pt x="333" y="1312"/>
                  </a:moveTo>
                  <a:cubicBezTo>
                    <a:pt x="275" y="1312"/>
                    <a:pt x="232" y="1352"/>
                    <a:pt x="232" y="1412"/>
                  </a:cubicBezTo>
                  <a:cubicBezTo>
                    <a:pt x="232" y="1471"/>
                    <a:pt x="275" y="1512"/>
                    <a:pt x="333" y="1512"/>
                  </a:cubicBezTo>
                  <a:cubicBezTo>
                    <a:pt x="392" y="1512"/>
                    <a:pt x="435" y="1471"/>
                    <a:pt x="435" y="1412"/>
                  </a:cubicBezTo>
                  <a:cubicBezTo>
                    <a:pt x="435" y="1352"/>
                    <a:pt x="392" y="1312"/>
                    <a:pt x="333" y="1312"/>
                  </a:cubicBezTo>
                  <a:close/>
                  <a:moveTo>
                    <a:pt x="333" y="1482"/>
                  </a:moveTo>
                  <a:cubicBezTo>
                    <a:pt x="292" y="1482"/>
                    <a:pt x="266" y="1452"/>
                    <a:pt x="266" y="1412"/>
                  </a:cubicBezTo>
                  <a:cubicBezTo>
                    <a:pt x="266" y="1372"/>
                    <a:pt x="292" y="1341"/>
                    <a:pt x="333" y="1341"/>
                  </a:cubicBezTo>
                  <a:cubicBezTo>
                    <a:pt x="374" y="1341"/>
                    <a:pt x="401" y="1372"/>
                    <a:pt x="401" y="1412"/>
                  </a:cubicBezTo>
                  <a:cubicBezTo>
                    <a:pt x="401" y="1452"/>
                    <a:pt x="374" y="1482"/>
                    <a:pt x="333" y="1482"/>
                  </a:cubicBezTo>
                  <a:close/>
                  <a:moveTo>
                    <a:pt x="638" y="1462"/>
                  </a:moveTo>
                  <a:cubicBezTo>
                    <a:pt x="638" y="1479"/>
                    <a:pt x="640" y="1494"/>
                    <a:pt x="640" y="1507"/>
                  </a:cubicBezTo>
                  <a:cubicBezTo>
                    <a:pt x="610" y="1507"/>
                    <a:pt x="610" y="1507"/>
                    <a:pt x="610" y="1507"/>
                  </a:cubicBezTo>
                  <a:cubicBezTo>
                    <a:pt x="610" y="1497"/>
                    <a:pt x="609" y="1486"/>
                    <a:pt x="609" y="1476"/>
                  </a:cubicBezTo>
                  <a:cubicBezTo>
                    <a:pt x="608" y="1476"/>
                    <a:pt x="608" y="1476"/>
                    <a:pt x="608" y="1476"/>
                  </a:cubicBezTo>
                  <a:cubicBezTo>
                    <a:pt x="599" y="1494"/>
                    <a:pt x="576" y="1512"/>
                    <a:pt x="545" y="1512"/>
                  </a:cubicBezTo>
                  <a:cubicBezTo>
                    <a:pt x="495" y="1512"/>
                    <a:pt x="472" y="1480"/>
                    <a:pt x="472" y="1434"/>
                  </a:cubicBezTo>
                  <a:cubicBezTo>
                    <a:pt x="472" y="1317"/>
                    <a:pt x="472" y="1317"/>
                    <a:pt x="472" y="1317"/>
                  </a:cubicBezTo>
                  <a:cubicBezTo>
                    <a:pt x="504" y="1317"/>
                    <a:pt x="504" y="1317"/>
                    <a:pt x="504" y="1317"/>
                  </a:cubicBezTo>
                  <a:cubicBezTo>
                    <a:pt x="504" y="1431"/>
                    <a:pt x="504" y="1431"/>
                    <a:pt x="504" y="1431"/>
                  </a:cubicBezTo>
                  <a:cubicBezTo>
                    <a:pt x="504" y="1462"/>
                    <a:pt x="518" y="1482"/>
                    <a:pt x="547" y="1482"/>
                  </a:cubicBezTo>
                  <a:cubicBezTo>
                    <a:pt x="588" y="1482"/>
                    <a:pt x="606" y="1453"/>
                    <a:pt x="606" y="1409"/>
                  </a:cubicBezTo>
                  <a:cubicBezTo>
                    <a:pt x="606" y="1317"/>
                    <a:pt x="606" y="1317"/>
                    <a:pt x="606" y="1317"/>
                  </a:cubicBezTo>
                  <a:cubicBezTo>
                    <a:pt x="638" y="1317"/>
                    <a:pt x="638" y="1317"/>
                    <a:pt x="638" y="1317"/>
                  </a:cubicBezTo>
                  <a:lnTo>
                    <a:pt x="638" y="1462"/>
                  </a:lnTo>
                  <a:close/>
                  <a:moveTo>
                    <a:pt x="1032" y="1281"/>
                  </a:moveTo>
                  <a:cubicBezTo>
                    <a:pt x="1032" y="1317"/>
                    <a:pt x="1032" y="1317"/>
                    <a:pt x="1032" y="1317"/>
                  </a:cubicBezTo>
                  <a:cubicBezTo>
                    <a:pt x="1078" y="1317"/>
                    <a:pt x="1078" y="1317"/>
                    <a:pt x="1078" y="1317"/>
                  </a:cubicBezTo>
                  <a:cubicBezTo>
                    <a:pt x="1078" y="1343"/>
                    <a:pt x="1078" y="1343"/>
                    <a:pt x="1078" y="1343"/>
                  </a:cubicBezTo>
                  <a:cubicBezTo>
                    <a:pt x="1032" y="1343"/>
                    <a:pt x="1032" y="1343"/>
                    <a:pt x="1032" y="1343"/>
                  </a:cubicBezTo>
                  <a:cubicBezTo>
                    <a:pt x="1032" y="1507"/>
                    <a:pt x="1032" y="1507"/>
                    <a:pt x="1032" y="1507"/>
                  </a:cubicBezTo>
                  <a:cubicBezTo>
                    <a:pt x="1000" y="1507"/>
                    <a:pt x="1000" y="1507"/>
                    <a:pt x="1000" y="1507"/>
                  </a:cubicBezTo>
                  <a:cubicBezTo>
                    <a:pt x="1000" y="1343"/>
                    <a:pt x="1000" y="1343"/>
                    <a:pt x="1000" y="1343"/>
                  </a:cubicBezTo>
                  <a:cubicBezTo>
                    <a:pt x="953" y="1343"/>
                    <a:pt x="953" y="1343"/>
                    <a:pt x="953" y="1343"/>
                  </a:cubicBezTo>
                  <a:cubicBezTo>
                    <a:pt x="953" y="1343"/>
                    <a:pt x="953" y="1343"/>
                    <a:pt x="953" y="1343"/>
                  </a:cubicBezTo>
                  <a:cubicBezTo>
                    <a:pt x="900" y="1507"/>
                    <a:pt x="900" y="1507"/>
                    <a:pt x="900" y="1507"/>
                  </a:cubicBezTo>
                  <a:cubicBezTo>
                    <a:pt x="869" y="1507"/>
                    <a:pt x="869" y="1507"/>
                    <a:pt x="869" y="1507"/>
                  </a:cubicBezTo>
                  <a:cubicBezTo>
                    <a:pt x="815" y="1361"/>
                    <a:pt x="815" y="1361"/>
                    <a:pt x="815" y="1361"/>
                  </a:cubicBezTo>
                  <a:cubicBezTo>
                    <a:pt x="814" y="1361"/>
                    <a:pt x="814" y="1361"/>
                    <a:pt x="814" y="1361"/>
                  </a:cubicBezTo>
                  <a:cubicBezTo>
                    <a:pt x="766" y="1507"/>
                    <a:pt x="766" y="1507"/>
                    <a:pt x="766" y="1507"/>
                  </a:cubicBezTo>
                  <a:cubicBezTo>
                    <a:pt x="733" y="1507"/>
                    <a:pt x="733" y="1507"/>
                    <a:pt x="733" y="1507"/>
                  </a:cubicBezTo>
                  <a:cubicBezTo>
                    <a:pt x="671" y="1317"/>
                    <a:pt x="671" y="1317"/>
                    <a:pt x="671" y="1317"/>
                  </a:cubicBezTo>
                  <a:cubicBezTo>
                    <a:pt x="706" y="1317"/>
                    <a:pt x="706" y="1317"/>
                    <a:pt x="706" y="1317"/>
                  </a:cubicBezTo>
                  <a:cubicBezTo>
                    <a:pt x="750" y="1463"/>
                    <a:pt x="750" y="1463"/>
                    <a:pt x="750" y="1463"/>
                  </a:cubicBezTo>
                  <a:cubicBezTo>
                    <a:pt x="751" y="1463"/>
                    <a:pt x="751" y="1463"/>
                    <a:pt x="751" y="1463"/>
                  </a:cubicBezTo>
                  <a:cubicBezTo>
                    <a:pt x="800" y="1317"/>
                    <a:pt x="800" y="1317"/>
                    <a:pt x="800" y="1317"/>
                  </a:cubicBezTo>
                  <a:cubicBezTo>
                    <a:pt x="833" y="1317"/>
                    <a:pt x="833" y="1317"/>
                    <a:pt x="833" y="1317"/>
                  </a:cubicBezTo>
                  <a:cubicBezTo>
                    <a:pt x="883" y="1463"/>
                    <a:pt x="883" y="1463"/>
                    <a:pt x="883" y="1463"/>
                  </a:cubicBezTo>
                  <a:cubicBezTo>
                    <a:pt x="884" y="1463"/>
                    <a:pt x="884" y="1463"/>
                    <a:pt x="884" y="1463"/>
                  </a:cubicBezTo>
                  <a:cubicBezTo>
                    <a:pt x="927" y="1317"/>
                    <a:pt x="927" y="1317"/>
                    <a:pt x="927" y="1317"/>
                  </a:cubicBezTo>
                  <a:cubicBezTo>
                    <a:pt x="953" y="1317"/>
                    <a:pt x="953" y="1317"/>
                    <a:pt x="953" y="1317"/>
                  </a:cubicBezTo>
                  <a:cubicBezTo>
                    <a:pt x="961" y="1317"/>
                    <a:pt x="961" y="1317"/>
                    <a:pt x="961" y="1317"/>
                  </a:cubicBezTo>
                  <a:cubicBezTo>
                    <a:pt x="1000" y="1317"/>
                    <a:pt x="1000" y="1317"/>
                    <a:pt x="1000" y="1317"/>
                  </a:cubicBezTo>
                  <a:cubicBezTo>
                    <a:pt x="1000" y="1274"/>
                    <a:pt x="1000" y="1274"/>
                    <a:pt x="1000" y="1274"/>
                  </a:cubicBezTo>
                  <a:cubicBezTo>
                    <a:pt x="1000" y="1228"/>
                    <a:pt x="1016" y="1195"/>
                    <a:pt x="1068" y="1195"/>
                  </a:cubicBezTo>
                  <a:cubicBezTo>
                    <a:pt x="1076" y="1195"/>
                    <a:pt x="1086" y="1196"/>
                    <a:pt x="1092" y="1200"/>
                  </a:cubicBezTo>
                  <a:cubicBezTo>
                    <a:pt x="1088" y="1228"/>
                    <a:pt x="1088" y="1228"/>
                    <a:pt x="1088" y="1228"/>
                  </a:cubicBezTo>
                  <a:cubicBezTo>
                    <a:pt x="1081" y="1226"/>
                    <a:pt x="1073" y="1224"/>
                    <a:pt x="1066" y="1224"/>
                  </a:cubicBezTo>
                  <a:cubicBezTo>
                    <a:pt x="1033" y="1224"/>
                    <a:pt x="1032" y="1248"/>
                    <a:pt x="1032" y="1281"/>
                  </a:cubicBezTo>
                  <a:close/>
                  <a:moveTo>
                    <a:pt x="1191" y="1312"/>
                  </a:moveTo>
                  <a:cubicBezTo>
                    <a:pt x="1133" y="1312"/>
                    <a:pt x="1090" y="1352"/>
                    <a:pt x="1090" y="1412"/>
                  </a:cubicBezTo>
                  <a:cubicBezTo>
                    <a:pt x="1090" y="1471"/>
                    <a:pt x="1133" y="1512"/>
                    <a:pt x="1191" y="1512"/>
                  </a:cubicBezTo>
                  <a:cubicBezTo>
                    <a:pt x="1250" y="1512"/>
                    <a:pt x="1293" y="1471"/>
                    <a:pt x="1293" y="1412"/>
                  </a:cubicBezTo>
                  <a:cubicBezTo>
                    <a:pt x="1293" y="1352"/>
                    <a:pt x="1250" y="1312"/>
                    <a:pt x="1191" y="1312"/>
                  </a:cubicBezTo>
                  <a:close/>
                  <a:moveTo>
                    <a:pt x="1191" y="1482"/>
                  </a:moveTo>
                  <a:cubicBezTo>
                    <a:pt x="1150" y="1482"/>
                    <a:pt x="1124" y="1452"/>
                    <a:pt x="1124" y="1412"/>
                  </a:cubicBezTo>
                  <a:cubicBezTo>
                    <a:pt x="1124" y="1372"/>
                    <a:pt x="1150" y="1341"/>
                    <a:pt x="1191" y="1341"/>
                  </a:cubicBezTo>
                  <a:cubicBezTo>
                    <a:pt x="1233" y="1341"/>
                    <a:pt x="1259" y="1372"/>
                    <a:pt x="1259" y="1412"/>
                  </a:cubicBezTo>
                  <a:cubicBezTo>
                    <a:pt x="1259" y="1452"/>
                    <a:pt x="1233" y="1482"/>
                    <a:pt x="1191" y="1482"/>
                  </a:cubicBezTo>
                  <a:close/>
                  <a:moveTo>
                    <a:pt x="1497" y="1389"/>
                  </a:moveTo>
                  <a:cubicBezTo>
                    <a:pt x="1497" y="1507"/>
                    <a:pt x="1497" y="1507"/>
                    <a:pt x="1497" y="1507"/>
                  </a:cubicBezTo>
                  <a:cubicBezTo>
                    <a:pt x="1465" y="1507"/>
                    <a:pt x="1465" y="1507"/>
                    <a:pt x="1465" y="1507"/>
                  </a:cubicBezTo>
                  <a:cubicBezTo>
                    <a:pt x="1465" y="1393"/>
                    <a:pt x="1465" y="1393"/>
                    <a:pt x="1465" y="1393"/>
                  </a:cubicBezTo>
                  <a:cubicBezTo>
                    <a:pt x="1465" y="1361"/>
                    <a:pt x="1452" y="1341"/>
                    <a:pt x="1422" y="1341"/>
                  </a:cubicBezTo>
                  <a:cubicBezTo>
                    <a:pt x="1381" y="1341"/>
                    <a:pt x="1363" y="1371"/>
                    <a:pt x="1363" y="1414"/>
                  </a:cubicBezTo>
                  <a:cubicBezTo>
                    <a:pt x="1363" y="1507"/>
                    <a:pt x="1363" y="1507"/>
                    <a:pt x="1363" y="1507"/>
                  </a:cubicBezTo>
                  <a:cubicBezTo>
                    <a:pt x="1331" y="1507"/>
                    <a:pt x="1331" y="1507"/>
                    <a:pt x="1331" y="1507"/>
                  </a:cubicBezTo>
                  <a:cubicBezTo>
                    <a:pt x="1331" y="1362"/>
                    <a:pt x="1331" y="1362"/>
                    <a:pt x="1331" y="1362"/>
                  </a:cubicBezTo>
                  <a:cubicBezTo>
                    <a:pt x="1331" y="1344"/>
                    <a:pt x="1330" y="1329"/>
                    <a:pt x="1330" y="1317"/>
                  </a:cubicBezTo>
                  <a:cubicBezTo>
                    <a:pt x="1360" y="1317"/>
                    <a:pt x="1360" y="1317"/>
                    <a:pt x="1360" y="1317"/>
                  </a:cubicBezTo>
                  <a:cubicBezTo>
                    <a:pt x="1360" y="1327"/>
                    <a:pt x="1360" y="1337"/>
                    <a:pt x="1360" y="1348"/>
                  </a:cubicBezTo>
                  <a:cubicBezTo>
                    <a:pt x="1361" y="1348"/>
                    <a:pt x="1361" y="1348"/>
                    <a:pt x="1361" y="1348"/>
                  </a:cubicBezTo>
                  <a:cubicBezTo>
                    <a:pt x="1370" y="1329"/>
                    <a:pt x="1393" y="1312"/>
                    <a:pt x="1425" y="1312"/>
                  </a:cubicBezTo>
                  <a:cubicBezTo>
                    <a:pt x="1475" y="1312"/>
                    <a:pt x="1497" y="1343"/>
                    <a:pt x="1497" y="1389"/>
                  </a:cubicBezTo>
                  <a:close/>
                  <a:moveTo>
                    <a:pt x="1707" y="1344"/>
                  </a:moveTo>
                  <a:cubicBezTo>
                    <a:pt x="1706" y="1344"/>
                    <a:pt x="1706" y="1344"/>
                    <a:pt x="1706" y="1344"/>
                  </a:cubicBezTo>
                  <a:cubicBezTo>
                    <a:pt x="1689" y="1324"/>
                    <a:pt x="1666" y="1312"/>
                    <a:pt x="1638" y="1312"/>
                  </a:cubicBezTo>
                  <a:cubicBezTo>
                    <a:pt x="1578" y="1312"/>
                    <a:pt x="1538" y="1354"/>
                    <a:pt x="1538" y="1412"/>
                  </a:cubicBezTo>
                  <a:cubicBezTo>
                    <a:pt x="1538" y="1469"/>
                    <a:pt x="1580" y="1512"/>
                    <a:pt x="1633" y="1512"/>
                  </a:cubicBezTo>
                  <a:cubicBezTo>
                    <a:pt x="1667" y="1512"/>
                    <a:pt x="1695" y="1495"/>
                    <a:pt x="1706" y="1473"/>
                  </a:cubicBezTo>
                  <a:cubicBezTo>
                    <a:pt x="1707" y="1473"/>
                    <a:pt x="1707" y="1473"/>
                    <a:pt x="1707" y="1473"/>
                  </a:cubicBezTo>
                  <a:cubicBezTo>
                    <a:pt x="1707" y="1507"/>
                    <a:pt x="1707" y="1507"/>
                    <a:pt x="1707" y="1507"/>
                  </a:cubicBezTo>
                  <a:cubicBezTo>
                    <a:pt x="1739" y="1507"/>
                    <a:pt x="1739" y="1507"/>
                    <a:pt x="1739" y="1507"/>
                  </a:cubicBezTo>
                  <a:cubicBezTo>
                    <a:pt x="1739" y="1200"/>
                    <a:pt x="1739" y="1200"/>
                    <a:pt x="1739" y="1200"/>
                  </a:cubicBezTo>
                  <a:cubicBezTo>
                    <a:pt x="1707" y="1200"/>
                    <a:pt x="1707" y="1200"/>
                    <a:pt x="1707" y="1200"/>
                  </a:cubicBezTo>
                  <a:lnTo>
                    <a:pt x="1707" y="1344"/>
                  </a:lnTo>
                  <a:close/>
                  <a:moveTo>
                    <a:pt x="1640" y="1482"/>
                  </a:moveTo>
                  <a:cubicBezTo>
                    <a:pt x="1599" y="1482"/>
                    <a:pt x="1572" y="1452"/>
                    <a:pt x="1572" y="1412"/>
                  </a:cubicBezTo>
                  <a:cubicBezTo>
                    <a:pt x="1572" y="1372"/>
                    <a:pt x="1599" y="1341"/>
                    <a:pt x="1640" y="1341"/>
                  </a:cubicBezTo>
                  <a:cubicBezTo>
                    <a:pt x="1681" y="1341"/>
                    <a:pt x="1707" y="1372"/>
                    <a:pt x="1707" y="1412"/>
                  </a:cubicBezTo>
                  <a:cubicBezTo>
                    <a:pt x="1707" y="1452"/>
                    <a:pt x="1681" y="1482"/>
                    <a:pt x="1640" y="1482"/>
                  </a:cubicBezTo>
                  <a:close/>
                  <a:moveTo>
                    <a:pt x="1930" y="1452"/>
                  </a:moveTo>
                  <a:cubicBezTo>
                    <a:pt x="1930" y="1495"/>
                    <a:pt x="1891" y="1512"/>
                    <a:pt x="1854" y="1512"/>
                  </a:cubicBezTo>
                  <a:cubicBezTo>
                    <a:pt x="1821" y="1512"/>
                    <a:pt x="1798" y="1503"/>
                    <a:pt x="1780" y="1476"/>
                  </a:cubicBezTo>
                  <a:cubicBezTo>
                    <a:pt x="1805" y="1457"/>
                    <a:pt x="1805" y="1457"/>
                    <a:pt x="1805" y="1457"/>
                  </a:cubicBezTo>
                  <a:cubicBezTo>
                    <a:pt x="1817" y="1472"/>
                    <a:pt x="1831" y="1482"/>
                    <a:pt x="1854" y="1482"/>
                  </a:cubicBezTo>
                  <a:cubicBezTo>
                    <a:pt x="1873" y="1482"/>
                    <a:pt x="1895" y="1474"/>
                    <a:pt x="1895" y="1453"/>
                  </a:cubicBezTo>
                  <a:cubicBezTo>
                    <a:pt x="1895" y="1433"/>
                    <a:pt x="1875" y="1428"/>
                    <a:pt x="1855" y="1423"/>
                  </a:cubicBezTo>
                  <a:cubicBezTo>
                    <a:pt x="1819" y="1415"/>
                    <a:pt x="1788" y="1407"/>
                    <a:pt x="1788" y="1368"/>
                  </a:cubicBezTo>
                  <a:cubicBezTo>
                    <a:pt x="1788" y="1331"/>
                    <a:pt x="1823" y="1312"/>
                    <a:pt x="1859" y="1312"/>
                  </a:cubicBezTo>
                  <a:cubicBezTo>
                    <a:pt x="1886" y="1312"/>
                    <a:pt x="1910" y="1322"/>
                    <a:pt x="1923" y="1346"/>
                  </a:cubicBezTo>
                  <a:cubicBezTo>
                    <a:pt x="1897" y="1364"/>
                    <a:pt x="1897" y="1364"/>
                    <a:pt x="1897" y="1364"/>
                  </a:cubicBezTo>
                  <a:cubicBezTo>
                    <a:pt x="1889" y="1350"/>
                    <a:pt x="1875" y="1341"/>
                    <a:pt x="1857" y="1341"/>
                  </a:cubicBezTo>
                  <a:cubicBezTo>
                    <a:pt x="1839" y="1341"/>
                    <a:pt x="1819" y="1350"/>
                    <a:pt x="1819" y="1367"/>
                  </a:cubicBezTo>
                  <a:cubicBezTo>
                    <a:pt x="1819" y="1383"/>
                    <a:pt x="1842" y="1390"/>
                    <a:pt x="1867" y="1395"/>
                  </a:cubicBezTo>
                  <a:cubicBezTo>
                    <a:pt x="1901" y="1402"/>
                    <a:pt x="1930" y="1414"/>
                    <a:pt x="1930" y="14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19" name="Freeform 22">
              <a:extLst>
                <a:ext uri="{FF2B5EF4-FFF2-40B4-BE49-F238E27FC236}">
                  <a16:creationId xmlns:a16="http://schemas.microsoft.com/office/drawing/2014/main" id="{056F825F-F1D7-4C48-9C9A-4621405E9A59}"/>
                </a:ext>
              </a:extLst>
            </p:cNvPr>
            <p:cNvSpPr>
              <a:spLocks noSelect="1"/>
            </p:cNvSpPr>
            <p:nvPr userDrawn="1"/>
          </p:nvSpPr>
          <p:spPr bwMode="gray">
            <a:xfrm>
              <a:off x="402" y="3915"/>
              <a:ext cx="124" cy="124"/>
            </a:xfrm>
            <a:custGeom>
              <a:avLst/>
              <a:gdLst>
                <a:gd name="T0" fmla="*/ 124 w 124"/>
                <a:gd name="T1" fmla="*/ 80 h 124"/>
                <a:gd name="T2" fmla="*/ 80 w 124"/>
                <a:gd name="T3" fmla="*/ 124 h 124"/>
                <a:gd name="T4" fmla="*/ 0 w 124"/>
                <a:gd name="T5" fmla="*/ 44 h 124"/>
                <a:gd name="T6" fmla="*/ 43 w 124"/>
                <a:gd name="T7" fmla="*/ 0 h 124"/>
                <a:gd name="T8" fmla="*/ 84 w 124"/>
                <a:gd name="T9" fmla="*/ 40 h 124"/>
                <a:gd name="T10" fmla="*/ 124 w 124"/>
                <a:gd name="T11" fmla="*/ 80 h 124"/>
              </a:gdLst>
              <a:ahLst/>
              <a:cxnLst>
                <a:cxn ang="0">
                  <a:pos x="T0" y="T1"/>
                </a:cxn>
                <a:cxn ang="0">
                  <a:pos x="T2" y="T3"/>
                </a:cxn>
                <a:cxn ang="0">
                  <a:pos x="T4" y="T5"/>
                </a:cxn>
                <a:cxn ang="0">
                  <a:pos x="T6" y="T7"/>
                </a:cxn>
                <a:cxn ang="0">
                  <a:pos x="T8" y="T9"/>
                </a:cxn>
                <a:cxn ang="0">
                  <a:pos x="T10" y="T11"/>
                </a:cxn>
              </a:cxnLst>
              <a:rect l="0" t="0" r="r" b="b"/>
              <a:pathLst>
                <a:path w="124" h="124">
                  <a:moveTo>
                    <a:pt x="124" y="80"/>
                  </a:moveTo>
                  <a:lnTo>
                    <a:pt x="80" y="124"/>
                  </a:lnTo>
                  <a:lnTo>
                    <a:pt x="0" y="44"/>
                  </a:lnTo>
                  <a:lnTo>
                    <a:pt x="43" y="0"/>
                  </a:lnTo>
                  <a:lnTo>
                    <a:pt x="84" y="40"/>
                  </a:lnTo>
                  <a:lnTo>
                    <a:pt x="124" y="80"/>
                  </a:lnTo>
                  <a:close/>
                </a:path>
              </a:pathLst>
            </a:custGeom>
            <a:solidFill>
              <a:srgbClr val="C737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0" name="Freeform 23">
              <a:extLst>
                <a:ext uri="{FF2B5EF4-FFF2-40B4-BE49-F238E27FC236}">
                  <a16:creationId xmlns:a16="http://schemas.microsoft.com/office/drawing/2014/main" id="{20761D69-0BF0-4357-8229-0996157BCDCD}"/>
                </a:ext>
              </a:extLst>
            </p:cNvPr>
            <p:cNvSpPr>
              <a:spLocks noSelect="1"/>
            </p:cNvSpPr>
            <p:nvPr userDrawn="1"/>
          </p:nvSpPr>
          <p:spPr bwMode="gray">
            <a:xfrm>
              <a:off x="438" y="3873"/>
              <a:ext cx="124" cy="89"/>
            </a:xfrm>
            <a:custGeom>
              <a:avLst/>
              <a:gdLst>
                <a:gd name="T0" fmla="*/ 124 w 124"/>
                <a:gd name="T1" fmla="*/ 6 h 89"/>
                <a:gd name="T2" fmla="*/ 120 w 124"/>
                <a:gd name="T3" fmla="*/ 14 h 89"/>
                <a:gd name="T4" fmla="*/ 47 w 124"/>
                <a:gd name="T5" fmla="*/ 89 h 89"/>
                <a:gd name="T6" fmla="*/ 0 w 124"/>
                <a:gd name="T7" fmla="*/ 41 h 89"/>
                <a:gd name="T8" fmla="*/ 44 w 124"/>
                <a:gd name="T9" fmla="*/ 0 h 89"/>
                <a:gd name="T10" fmla="*/ 124 w 124"/>
                <a:gd name="T11" fmla="*/ 6 h 89"/>
              </a:gdLst>
              <a:ahLst/>
              <a:cxnLst>
                <a:cxn ang="0">
                  <a:pos x="T0" y="T1"/>
                </a:cxn>
                <a:cxn ang="0">
                  <a:pos x="T2" y="T3"/>
                </a:cxn>
                <a:cxn ang="0">
                  <a:pos x="T4" y="T5"/>
                </a:cxn>
                <a:cxn ang="0">
                  <a:pos x="T6" y="T7"/>
                </a:cxn>
                <a:cxn ang="0">
                  <a:pos x="T8" y="T9"/>
                </a:cxn>
                <a:cxn ang="0">
                  <a:pos x="T10" y="T11"/>
                </a:cxn>
              </a:cxnLst>
              <a:rect l="0" t="0" r="r" b="b"/>
              <a:pathLst>
                <a:path w="124" h="89">
                  <a:moveTo>
                    <a:pt x="124" y="6"/>
                  </a:moveTo>
                  <a:lnTo>
                    <a:pt x="120" y="14"/>
                  </a:lnTo>
                  <a:lnTo>
                    <a:pt x="47" y="89"/>
                  </a:lnTo>
                  <a:lnTo>
                    <a:pt x="0" y="41"/>
                  </a:lnTo>
                  <a:lnTo>
                    <a:pt x="44" y="0"/>
                  </a:lnTo>
                  <a:lnTo>
                    <a:pt x="124" y="6"/>
                  </a:lnTo>
                  <a:close/>
                </a:path>
              </a:pathLst>
            </a:custGeom>
            <a:solidFill>
              <a:srgbClr val="9C1E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1" name="Freeform 24">
              <a:extLst>
                <a:ext uri="{FF2B5EF4-FFF2-40B4-BE49-F238E27FC236}">
                  <a16:creationId xmlns:a16="http://schemas.microsoft.com/office/drawing/2014/main" id="{4C3FBA13-5216-47D4-9895-D18AEC111867}"/>
                </a:ext>
              </a:extLst>
            </p:cNvPr>
            <p:cNvSpPr>
              <a:spLocks noSelect="1"/>
            </p:cNvSpPr>
            <p:nvPr userDrawn="1"/>
          </p:nvSpPr>
          <p:spPr bwMode="gray">
            <a:xfrm>
              <a:off x="482" y="3879"/>
              <a:ext cx="83" cy="122"/>
            </a:xfrm>
            <a:custGeom>
              <a:avLst/>
              <a:gdLst>
                <a:gd name="T0" fmla="*/ 80 w 83"/>
                <a:gd name="T1" fmla="*/ 0 h 122"/>
                <a:gd name="T2" fmla="*/ 83 w 83"/>
                <a:gd name="T3" fmla="*/ 80 h 122"/>
                <a:gd name="T4" fmla="*/ 42 w 83"/>
                <a:gd name="T5" fmla="*/ 122 h 122"/>
                <a:gd name="T6" fmla="*/ 0 w 83"/>
                <a:gd name="T7" fmla="*/ 80 h 122"/>
                <a:gd name="T8" fmla="*/ 80 w 83"/>
                <a:gd name="T9" fmla="*/ 0 h 122"/>
              </a:gdLst>
              <a:ahLst/>
              <a:cxnLst>
                <a:cxn ang="0">
                  <a:pos x="T0" y="T1"/>
                </a:cxn>
                <a:cxn ang="0">
                  <a:pos x="T2" y="T3"/>
                </a:cxn>
                <a:cxn ang="0">
                  <a:pos x="T4" y="T5"/>
                </a:cxn>
                <a:cxn ang="0">
                  <a:pos x="T6" y="T7"/>
                </a:cxn>
                <a:cxn ang="0">
                  <a:pos x="T8" y="T9"/>
                </a:cxn>
              </a:cxnLst>
              <a:rect l="0" t="0" r="r" b="b"/>
              <a:pathLst>
                <a:path w="83" h="122">
                  <a:moveTo>
                    <a:pt x="80" y="0"/>
                  </a:moveTo>
                  <a:lnTo>
                    <a:pt x="83" y="80"/>
                  </a:lnTo>
                  <a:lnTo>
                    <a:pt x="42" y="122"/>
                  </a:lnTo>
                  <a:lnTo>
                    <a:pt x="0" y="80"/>
                  </a:lnTo>
                  <a:lnTo>
                    <a:pt x="80" y="0"/>
                  </a:lnTo>
                  <a:close/>
                </a:path>
              </a:pathLst>
            </a:custGeom>
            <a:solidFill>
              <a:srgbClr val="C816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2" name="Freeform 25">
              <a:extLst>
                <a:ext uri="{FF2B5EF4-FFF2-40B4-BE49-F238E27FC236}">
                  <a16:creationId xmlns:a16="http://schemas.microsoft.com/office/drawing/2014/main" id="{63FE74A7-7D46-4DDA-9223-2CC2BBEA887D}"/>
                </a:ext>
              </a:extLst>
            </p:cNvPr>
            <p:cNvSpPr>
              <a:spLocks noSelect="1"/>
            </p:cNvSpPr>
            <p:nvPr userDrawn="1"/>
          </p:nvSpPr>
          <p:spPr bwMode="gray">
            <a:xfrm>
              <a:off x="522" y="3879"/>
              <a:ext cx="120" cy="160"/>
            </a:xfrm>
            <a:custGeom>
              <a:avLst/>
              <a:gdLst>
                <a:gd name="T0" fmla="*/ 120 w 120"/>
                <a:gd name="T1" fmla="*/ 0 h 160"/>
                <a:gd name="T2" fmla="*/ 120 w 120"/>
                <a:gd name="T3" fmla="*/ 80 h 160"/>
                <a:gd name="T4" fmla="*/ 40 w 120"/>
                <a:gd name="T5" fmla="*/ 160 h 160"/>
                <a:gd name="T6" fmla="*/ 0 w 120"/>
                <a:gd name="T7" fmla="*/ 120 h 160"/>
                <a:gd name="T8" fmla="*/ 40 w 120"/>
                <a:gd name="T9" fmla="*/ 80 h 160"/>
                <a:gd name="T10" fmla="*/ 40 w 120"/>
                <a:gd name="T11" fmla="*/ 0 h 160"/>
                <a:gd name="T12" fmla="*/ 120 w 120"/>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20" h="160">
                  <a:moveTo>
                    <a:pt x="120" y="0"/>
                  </a:moveTo>
                  <a:lnTo>
                    <a:pt x="120" y="80"/>
                  </a:lnTo>
                  <a:lnTo>
                    <a:pt x="40" y="160"/>
                  </a:lnTo>
                  <a:lnTo>
                    <a:pt x="0" y="120"/>
                  </a:lnTo>
                  <a:lnTo>
                    <a:pt x="40" y="80"/>
                  </a:lnTo>
                  <a:lnTo>
                    <a:pt x="40" y="0"/>
                  </a:lnTo>
                  <a:lnTo>
                    <a:pt x="120" y="0"/>
                  </a:lnTo>
                  <a:close/>
                </a:path>
              </a:pathLst>
            </a:custGeom>
            <a:solidFill>
              <a:srgbClr val="BFCE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3" name="Freeform 26">
              <a:extLst>
                <a:ext uri="{FF2B5EF4-FFF2-40B4-BE49-F238E27FC236}">
                  <a16:creationId xmlns:a16="http://schemas.microsoft.com/office/drawing/2014/main" id="{AE6F7C02-17F5-4A71-95E5-AB7D4FD984E8}"/>
                </a:ext>
              </a:extLst>
            </p:cNvPr>
            <p:cNvSpPr>
              <a:spLocks noSelect="1"/>
            </p:cNvSpPr>
            <p:nvPr userDrawn="1"/>
          </p:nvSpPr>
          <p:spPr bwMode="gray">
            <a:xfrm>
              <a:off x="402" y="3799"/>
              <a:ext cx="160" cy="120"/>
            </a:xfrm>
            <a:custGeom>
              <a:avLst/>
              <a:gdLst>
                <a:gd name="T0" fmla="*/ 160 w 160"/>
                <a:gd name="T1" fmla="*/ 0 h 120"/>
                <a:gd name="T2" fmla="*/ 160 w 160"/>
                <a:gd name="T3" fmla="*/ 80 h 120"/>
                <a:gd name="T4" fmla="*/ 80 w 160"/>
                <a:gd name="T5" fmla="*/ 80 h 120"/>
                <a:gd name="T6" fmla="*/ 40 w 160"/>
                <a:gd name="T7" fmla="*/ 120 h 120"/>
                <a:gd name="T8" fmla="*/ 0 w 160"/>
                <a:gd name="T9" fmla="*/ 80 h 120"/>
                <a:gd name="T10" fmla="*/ 80 w 160"/>
                <a:gd name="T11" fmla="*/ 0 h 120"/>
                <a:gd name="T12" fmla="*/ 160 w 160"/>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60" h="120">
                  <a:moveTo>
                    <a:pt x="160" y="0"/>
                  </a:moveTo>
                  <a:lnTo>
                    <a:pt x="160" y="80"/>
                  </a:lnTo>
                  <a:lnTo>
                    <a:pt x="80" y="80"/>
                  </a:lnTo>
                  <a:lnTo>
                    <a:pt x="40" y="120"/>
                  </a:lnTo>
                  <a:lnTo>
                    <a:pt x="0" y="80"/>
                  </a:lnTo>
                  <a:lnTo>
                    <a:pt x="80" y="0"/>
                  </a:lnTo>
                  <a:lnTo>
                    <a:pt x="160" y="0"/>
                  </a:lnTo>
                  <a:close/>
                </a:path>
              </a:pathLst>
            </a:custGeom>
            <a:solidFill>
              <a:srgbClr val="78BC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grpSp>
      <p:grpSp>
        <p:nvGrpSpPr>
          <p:cNvPr id="4" name="Groep 3"/>
          <p:cNvGrpSpPr>
            <a:grpSpLocks noSelect="1"/>
          </p:cNvGrpSpPr>
          <p:nvPr userDrawn="1"/>
        </p:nvGrpSpPr>
        <p:grpSpPr bwMode="gray">
          <a:xfrm>
            <a:off x="6478588" y="5715581"/>
            <a:ext cx="5716588" cy="1146175"/>
            <a:chOff x="6478588" y="5713200"/>
            <a:chExt cx="5716588" cy="1146175"/>
          </a:xfrm>
        </p:grpSpPr>
        <p:sp>
          <p:nvSpPr>
            <p:cNvPr id="25" name="---Onder grijs">
              <a:extLst>
                <a:ext uri="{FF2B5EF4-FFF2-40B4-BE49-F238E27FC236}">
                  <a16:creationId xmlns:a16="http://schemas.microsoft.com/office/drawing/2014/main" id="{2A16FA18-9949-499B-9868-DC6C119593BC}"/>
                </a:ext>
              </a:extLst>
            </p:cNvPr>
            <p:cNvSpPr>
              <a:spLocks noSelect="1"/>
            </p:cNvSpPr>
            <p:nvPr userDrawn="1"/>
          </p:nvSpPr>
          <p:spPr bwMode="gray">
            <a:xfrm>
              <a:off x="6478588" y="5713200"/>
              <a:ext cx="5716588" cy="1146175"/>
            </a:xfrm>
            <a:custGeom>
              <a:avLst/>
              <a:gdLst>
                <a:gd name="T0" fmla="*/ 4081 w 18004"/>
                <a:gd name="T1" fmla="*/ 69 h 3615"/>
                <a:gd name="T2" fmla="*/ 4999 w 18004"/>
                <a:gd name="T3" fmla="*/ 0 h 3615"/>
                <a:gd name="T4" fmla="*/ 4922 w 18004"/>
                <a:gd name="T5" fmla="*/ 564 h 3615"/>
                <a:gd name="T6" fmla="*/ 5139 w 18004"/>
                <a:gd name="T7" fmla="*/ 3404 h 3615"/>
                <a:gd name="T8" fmla="*/ 5117 w 18004"/>
                <a:gd name="T9" fmla="*/ 3600 h 3615"/>
                <a:gd name="T10" fmla="*/ 4520 w 18004"/>
                <a:gd name="T11" fmla="*/ 3310 h 3615"/>
                <a:gd name="T12" fmla="*/ 3509 w 18004"/>
                <a:gd name="T13" fmla="*/ 3411 h 3615"/>
                <a:gd name="T14" fmla="*/ 3318 w 18004"/>
                <a:gd name="T15" fmla="*/ 3258 h 3615"/>
                <a:gd name="T16" fmla="*/ 3293 w 18004"/>
                <a:gd name="T17" fmla="*/ 3107 h 3615"/>
                <a:gd name="T18" fmla="*/ 4189 w 18004"/>
                <a:gd name="T19" fmla="*/ 2929 h 3615"/>
                <a:gd name="T20" fmla="*/ 5553 w 18004"/>
                <a:gd name="T21" fmla="*/ 2498 h 3615"/>
                <a:gd name="T22" fmla="*/ 5134 w 18004"/>
                <a:gd name="T23" fmla="*/ 2164 h 3615"/>
                <a:gd name="T24" fmla="*/ 131 w 18004"/>
                <a:gd name="T25" fmla="*/ 2201 h 3615"/>
                <a:gd name="T26" fmla="*/ 191 w 18004"/>
                <a:gd name="T27" fmla="*/ 1972 h 3615"/>
                <a:gd name="T28" fmla="*/ 5445 w 18004"/>
                <a:gd name="T29" fmla="*/ 2827 h 3615"/>
                <a:gd name="T30" fmla="*/ 5083 w 18004"/>
                <a:gd name="T31" fmla="*/ 2970 h 3615"/>
                <a:gd name="T32" fmla="*/ 1260 w 18004"/>
                <a:gd name="T33" fmla="*/ 967 h 3615"/>
                <a:gd name="T34" fmla="*/ 1850 w 18004"/>
                <a:gd name="T35" fmla="*/ 455 h 3615"/>
                <a:gd name="T36" fmla="*/ 2989 w 18004"/>
                <a:gd name="T37" fmla="*/ 761 h 3615"/>
                <a:gd name="T38" fmla="*/ 2974 w 18004"/>
                <a:gd name="T39" fmla="*/ 832 h 3615"/>
                <a:gd name="T40" fmla="*/ 14992 w 18004"/>
                <a:gd name="T41" fmla="*/ 0 h 3615"/>
                <a:gd name="T42" fmla="*/ 13818 w 18004"/>
                <a:gd name="T43" fmla="*/ 328 h 3615"/>
                <a:gd name="T44" fmla="*/ 11201 w 18004"/>
                <a:gd name="T45" fmla="*/ 553 h 3615"/>
                <a:gd name="T46" fmla="*/ 10915 w 18004"/>
                <a:gd name="T47" fmla="*/ 574 h 3615"/>
                <a:gd name="T48" fmla="*/ 9185 w 18004"/>
                <a:gd name="T49" fmla="*/ 270 h 3615"/>
                <a:gd name="T50" fmla="*/ 7684 w 18004"/>
                <a:gd name="T51" fmla="*/ 1941 h 3615"/>
                <a:gd name="T52" fmla="*/ 5023 w 18004"/>
                <a:gd name="T53" fmla="*/ 219 h 3615"/>
                <a:gd name="T54" fmla="*/ 4581 w 18004"/>
                <a:gd name="T55" fmla="*/ 160 h 3615"/>
                <a:gd name="T56" fmla="*/ 3894 w 18004"/>
                <a:gd name="T57" fmla="*/ 0 h 3615"/>
                <a:gd name="T58" fmla="*/ 3629 w 18004"/>
                <a:gd name="T59" fmla="*/ 130 h 3615"/>
                <a:gd name="T60" fmla="*/ 3932 w 18004"/>
                <a:gd name="T61" fmla="*/ 1715 h 3615"/>
                <a:gd name="T62" fmla="*/ 2644 w 18004"/>
                <a:gd name="T63" fmla="*/ 291 h 3615"/>
                <a:gd name="T64" fmla="*/ 2031 w 18004"/>
                <a:gd name="T65" fmla="*/ 788 h 3615"/>
                <a:gd name="T66" fmla="*/ 1231 w 18004"/>
                <a:gd name="T67" fmla="*/ 3438 h 3615"/>
                <a:gd name="T68" fmla="*/ 2824 w 18004"/>
                <a:gd name="T69" fmla="*/ 2477 h 3615"/>
                <a:gd name="T70" fmla="*/ 3349 w 18004"/>
                <a:gd name="T71" fmla="*/ 3566 h 3615"/>
                <a:gd name="T72" fmla="*/ 4923 w 18004"/>
                <a:gd name="T73" fmla="*/ 1907 h 3615"/>
                <a:gd name="T74" fmla="*/ 5580 w 18004"/>
                <a:gd name="T75" fmla="*/ 3534 h 3615"/>
                <a:gd name="T76" fmla="*/ 7546 w 18004"/>
                <a:gd name="T77" fmla="*/ 3600 h 3615"/>
                <a:gd name="T78" fmla="*/ 11144 w 18004"/>
                <a:gd name="T79" fmla="*/ 2799 h 3615"/>
                <a:gd name="T80" fmla="*/ 15308 w 18004"/>
                <a:gd name="T81" fmla="*/ 3532 h 3615"/>
                <a:gd name="T82" fmla="*/ 17257 w 18004"/>
                <a:gd name="T83" fmla="*/ 2238 h 3615"/>
                <a:gd name="T84" fmla="*/ 17477 w 18004"/>
                <a:gd name="T85" fmla="*/ 2376 h 3615"/>
                <a:gd name="T86" fmla="*/ 3078 w 18004"/>
                <a:gd name="T87" fmla="*/ 342 h 3615"/>
                <a:gd name="T88" fmla="*/ 2516 w 18004"/>
                <a:gd name="T89" fmla="*/ 425 h 3615"/>
                <a:gd name="T90" fmla="*/ 3403 w 18004"/>
                <a:gd name="T91" fmla="*/ 1858 h 3615"/>
                <a:gd name="T92" fmla="*/ 2351 w 18004"/>
                <a:gd name="T93" fmla="*/ 1567 h 3615"/>
                <a:gd name="T94" fmla="*/ 3095 w 18004"/>
                <a:gd name="T95" fmla="*/ 1820 h 3615"/>
                <a:gd name="T96" fmla="*/ 4144 w 18004"/>
                <a:gd name="T97" fmla="*/ 1955 h 3615"/>
                <a:gd name="T98" fmla="*/ 3814 w 18004"/>
                <a:gd name="T99" fmla="*/ 2784 h 3615"/>
                <a:gd name="T100" fmla="*/ 3970 w 18004"/>
                <a:gd name="T101" fmla="*/ 2899 h 3615"/>
                <a:gd name="T102" fmla="*/ 3602 w 18004"/>
                <a:gd name="T103" fmla="*/ 3224 h 3615"/>
                <a:gd name="T104" fmla="*/ 4289 w 18004"/>
                <a:gd name="T105" fmla="*/ 3336 h 3615"/>
                <a:gd name="T106" fmla="*/ 3844 w 18004"/>
                <a:gd name="T107" fmla="*/ 2396 h 3615"/>
                <a:gd name="T108" fmla="*/ 4974 w 18004"/>
                <a:gd name="T109" fmla="*/ 3218 h 3615"/>
                <a:gd name="T110" fmla="*/ 6695 w 18004"/>
                <a:gd name="T111" fmla="*/ 1906 h 3615"/>
                <a:gd name="T112" fmla="*/ 10817 w 18004"/>
                <a:gd name="T113" fmla="*/ 606 h 3615"/>
                <a:gd name="T114" fmla="*/ 11184 w 18004"/>
                <a:gd name="T115" fmla="*/ 541 h 3615"/>
                <a:gd name="T116" fmla="*/ 7822 w 18004"/>
                <a:gd name="T117" fmla="*/ 958 h 3615"/>
                <a:gd name="T118" fmla="*/ 9048 w 18004"/>
                <a:gd name="T119" fmla="*/ 1695 h 3615"/>
                <a:gd name="T120" fmla="*/ 12939 w 18004"/>
                <a:gd name="T121" fmla="*/ 2718 h 3615"/>
                <a:gd name="T122" fmla="*/ 101 w 18004"/>
                <a:gd name="T123" fmla="*/ 552 h 3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04" h="3615">
                  <a:moveTo>
                    <a:pt x="3946" y="222"/>
                  </a:moveTo>
                  <a:cubicBezTo>
                    <a:pt x="3999" y="168"/>
                    <a:pt x="3999" y="168"/>
                    <a:pt x="3999" y="168"/>
                  </a:cubicBezTo>
                  <a:cubicBezTo>
                    <a:pt x="4051" y="219"/>
                    <a:pt x="4051" y="219"/>
                    <a:pt x="4051" y="219"/>
                  </a:cubicBezTo>
                  <a:cubicBezTo>
                    <a:pt x="4150" y="118"/>
                    <a:pt x="4150" y="118"/>
                    <a:pt x="4150" y="118"/>
                  </a:cubicBezTo>
                  <a:cubicBezTo>
                    <a:pt x="4081" y="51"/>
                    <a:pt x="4081" y="51"/>
                    <a:pt x="4081" y="51"/>
                  </a:cubicBezTo>
                  <a:cubicBezTo>
                    <a:pt x="4076" y="55"/>
                    <a:pt x="4076" y="55"/>
                    <a:pt x="4076" y="55"/>
                  </a:cubicBezTo>
                  <a:cubicBezTo>
                    <a:pt x="4068" y="64"/>
                    <a:pt x="4068" y="64"/>
                    <a:pt x="4068" y="64"/>
                  </a:cubicBezTo>
                  <a:cubicBezTo>
                    <a:pt x="4033" y="29"/>
                    <a:pt x="4033" y="29"/>
                    <a:pt x="4033" y="29"/>
                  </a:cubicBezTo>
                  <a:cubicBezTo>
                    <a:pt x="3896" y="164"/>
                    <a:pt x="3896" y="164"/>
                    <a:pt x="3896" y="164"/>
                  </a:cubicBezTo>
                  <a:cubicBezTo>
                    <a:pt x="3892" y="169"/>
                    <a:pt x="3892" y="169"/>
                    <a:pt x="3892" y="169"/>
                  </a:cubicBezTo>
                  <a:lnTo>
                    <a:pt x="3946" y="222"/>
                  </a:lnTo>
                  <a:close/>
                  <a:moveTo>
                    <a:pt x="4033" y="47"/>
                  </a:moveTo>
                  <a:cubicBezTo>
                    <a:pt x="4068" y="82"/>
                    <a:pt x="4068" y="82"/>
                    <a:pt x="4068" y="82"/>
                  </a:cubicBezTo>
                  <a:cubicBezTo>
                    <a:pt x="4073" y="78"/>
                    <a:pt x="4073" y="78"/>
                    <a:pt x="4073" y="78"/>
                  </a:cubicBezTo>
                  <a:cubicBezTo>
                    <a:pt x="4081" y="69"/>
                    <a:pt x="4081" y="69"/>
                    <a:pt x="4081" y="69"/>
                  </a:cubicBezTo>
                  <a:cubicBezTo>
                    <a:pt x="4131" y="119"/>
                    <a:pt x="4131" y="119"/>
                    <a:pt x="4131" y="119"/>
                  </a:cubicBezTo>
                  <a:cubicBezTo>
                    <a:pt x="4051" y="200"/>
                    <a:pt x="4051" y="200"/>
                    <a:pt x="4051" y="200"/>
                  </a:cubicBezTo>
                  <a:cubicBezTo>
                    <a:pt x="3999" y="149"/>
                    <a:pt x="3999" y="149"/>
                    <a:pt x="3999" y="149"/>
                  </a:cubicBezTo>
                  <a:cubicBezTo>
                    <a:pt x="3946" y="203"/>
                    <a:pt x="3946" y="203"/>
                    <a:pt x="3946" y="203"/>
                  </a:cubicBezTo>
                  <a:cubicBezTo>
                    <a:pt x="3910" y="169"/>
                    <a:pt x="3910" y="169"/>
                    <a:pt x="3910" y="169"/>
                  </a:cubicBezTo>
                  <a:lnTo>
                    <a:pt x="4033" y="47"/>
                  </a:lnTo>
                  <a:close/>
                  <a:moveTo>
                    <a:pt x="4831" y="23"/>
                  </a:moveTo>
                  <a:cubicBezTo>
                    <a:pt x="4831" y="0"/>
                    <a:pt x="4831" y="0"/>
                    <a:pt x="4831" y="0"/>
                  </a:cubicBezTo>
                  <a:cubicBezTo>
                    <a:pt x="4844" y="0"/>
                    <a:pt x="4844" y="0"/>
                    <a:pt x="4844" y="0"/>
                  </a:cubicBezTo>
                  <a:cubicBezTo>
                    <a:pt x="4844" y="16"/>
                    <a:pt x="4844" y="16"/>
                    <a:pt x="4844" y="16"/>
                  </a:cubicBezTo>
                  <a:cubicBezTo>
                    <a:pt x="4902" y="16"/>
                    <a:pt x="4902" y="16"/>
                    <a:pt x="4902" y="16"/>
                  </a:cubicBezTo>
                  <a:cubicBezTo>
                    <a:pt x="4902" y="89"/>
                    <a:pt x="4902" y="89"/>
                    <a:pt x="4902" y="89"/>
                  </a:cubicBezTo>
                  <a:cubicBezTo>
                    <a:pt x="4986" y="88"/>
                    <a:pt x="4986" y="88"/>
                    <a:pt x="4986" y="88"/>
                  </a:cubicBezTo>
                  <a:cubicBezTo>
                    <a:pt x="4985" y="0"/>
                    <a:pt x="4985" y="0"/>
                    <a:pt x="4985" y="0"/>
                  </a:cubicBezTo>
                  <a:cubicBezTo>
                    <a:pt x="4999" y="0"/>
                    <a:pt x="4999" y="0"/>
                    <a:pt x="4999" y="0"/>
                  </a:cubicBezTo>
                  <a:cubicBezTo>
                    <a:pt x="4999" y="101"/>
                    <a:pt x="4999" y="101"/>
                    <a:pt x="4999" y="101"/>
                  </a:cubicBezTo>
                  <a:cubicBezTo>
                    <a:pt x="4889" y="102"/>
                    <a:pt x="4889" y="102"/>
                    <a:pt x="4889" y="102"/>
                  </a:cubicBezTo>
                  <a:cubicBezTo>
                    <a:pt x="4889" y="29"/>
                    <a:pt x="4889" y="29"/>
                    <a:pt x="4889" y="29"/>
                  </a:cubicBezTo>
                  <a:cubicBezTo>
                    <a:pt x="4832" y="29"/>
                    <a:pt x="4832" y="29"/>
                    <a:pt x="4832" y="29"/>
                  </a:cubicBezTo>
                  <a:lnTo>
                    <a:pt x="4831" y="23"/>
                  </a:lnTo>
                  <a:close/>
                  <a:moveTo>
                    <a:pt x="4724" y="465"/>
                  </a:moveTo>
                  <a:cubicBezTo>
                    <a:pt x="4725" y="635"/>
                    <a:pt x="4725" y="635"/>
                    <a:pt x="4725" y="635"/>
                  </a:cubicBezTo>
                  <a:cubicBezTo>
                    <a:pt x="4810" y="636"/>
                    <a:pt x="4810" y="636"/>
                    <a:pt x="4810" y="636"/>
                  </a:cubicBezTo>
                  <a:cubicBezTo>
                    <a:pt x="4811" y="733"/>
                    <a:pt x="4811" y="733"/>
                    <a:pt x="4811" y="733"/>
                  </a:cubicBezTo>
                  <a:cubicBezTo>
                    <a:pt x="4933" y="733"/>
                    <a:pt x="4933" y="733"/>
                    <a:pt x="4933" y="733"/>
                  </a:cubicBezTo>
                  <a:cubicBezTo>
                    <a:pt x="4936" y="551"/>
                    <a:pt x="4936" y="551"/>
                    <a:pt x="4936" y="551"/>
                  </a:cubicBezTo>
                  <a:cubicBezTo>
                    <a:pt x="4852" y="550"/>
                    <a:pt x="4852" y="550"/>
                    <a:pt x="4852" y="550"/>
                  </a:cubicBezTo>
                  <a:cubicBezTo>
                    <a:pt x="4855" y="466"/>
                    <a:pt x="4855" y="466"/>
                    <a:pt x="4855" y="466"/>
                  </a:cubicBezTo>
                  <a:lnTo>
                    <a:pt x="4724" y="465"/>
                  </a:lnTo>
                  <a:close/>
                  <a:moveTo>
                    <a:pt x="4922" y="564"/>
                  </a:moveTo>
                  <a:cubicBezTo>
                    <a:pt x="4920" y="720"/>
                    <a:pt x="4920" y="720"/>
                    <a:pt x="4920" y="720"/>
                  </a:cubicBezTo>
                  <a:cubicBezTo>
                    <a:pt x="4824" y="720"/>
                    <a:pt x="4824" y="720"/>
                    <a:pt x="4824" y="720"/>
                  </a:cubicBezTo>
                  <a:cubicBezTo>
                    <a:pt x="4823" y="630"/>
                    <a:pt x="4823" y="630"/>
                    <a:pt x="4823" y="630"/>
                  </a:cubicBezTo>
                  <a:cubicBezTo>
                    <a:pt x="4823" y="623"/>
                    <a:pt x="4823" y="623"/>
                    <a:pt x="4823" y="623"/>
                  </a:cubicBezTo>
                  <a:cubicBezTo>
                    <a:pt x="4738" y="622"/>
                    <a:pt x="4738" y="622"/>
                    <a:pt x="4738" y="622"/>
                  </a:cubicBezTo>
                  <a:cubicBezTo>
                    <a:pt x="4737" y="478"/>
                    <a:pt x="4737" y="478"/>
                    <a:pt x="4737" y="478"/>
                  </a:cubicBezTo>
                  <a:cubicBezTo>
                    <a:pt x="4841" y="479"/>
                    <a:pt x="4841" y="479"/>
                    <a:pt x="4841" y="479"/>
                  </a:cubicBezTo>
                  <a:cubicBezTo>
                    <a:pt x="4838" y="563"/>
                    <a:pt x="4838" y="563"/>
                    <a:pt x="4838" y="563"/>
                  </a:cubicBezTo>
                  <a:lnTo>
                    <a:pt x="4922" y="564"/>
                  </a:lnTo>
                  <a:close/>
                  <a:moveTo>
                    <a:pt x="5139" y="3404"/>
                  </a:moveTo>
                  <a:cubicBezTo>
                    <a:pt x="5156" y="3294"/>
                    <a:pt x="5156" y="3294"/>
                    <a:pt x="5156" y="3294"/>
                  </a:cubicBezTo>
                  <a:cubicBezTo>
                    <a:pt x="5002" y="3271"/>
                    <a:pt x="5002" y="3271"/>
                    <a:pt x="5002" y="3271"/>
                  </a:cubicBezTo>
                  <a:cubicBezTo>
                    <a:pt x="4986" y="3381"/>
                    <a:pt x="4986" y="3381"/>
                    <a:pt x="4986" y="3381"/>
                  </a:cubicBezTo>
                  <a:cubicBezTo>
                    <a:pt x="5133" y="3403"/>
                    <a:pt x="5133" y="3403"/>
                    <a:pt x="5133" y="3403"/>
                  </a:cubicBezTo>
                  <a:lnTo>
                    <a:pt x="5139" y="3404"/>
                  </a:lnTo>
                  <a:close/>
                  <a:moveTo>
                    <a:pt x="5001" y="3370"/>
                  </a:moveTo>
                  <a:cubicBezTo>
                    <a:pt x="5013" y="3286"/>
                    <a:pt x="5013" y="3286"/>
                    <a:pt x="5013" y="3286"/>
                  </a:cubicBezTo>
                  <a:cubicBezTo>
                    <a:pt x="5141" y="3305"/>
                    <a:pt x="5141" y="3305"/>
                    <a:pt x="5141" y="3305"/>
                  </a:cubicBezTo>
                  <a:cubicBezTo>
                    <a:pt x="5128" y="3389"/>
                    <a:pt x="5128" y="3389"/>
                    <a:pt x="5128" y="3389"/>
                  </a:cubicBezTo>
                  <a:lnTo>
                    <a:pt x="5001" y="3370"/>
                  </a:lnTo>
                  <a:close/>
                  <a:moveTo>
                    <a:pt x="4974" y="3592"/>
                  </a:moveTo>
                  <a:cubicBezTo>
                    <a:pt x="5028" y="3600"/>
                    <a:pt x="5028" y="3600"/>
                    <a:pt x="5028" y="3600"/>
                  </a:cubicBezTo>
                  <a:cubicBezTo>
                    <a:pt x="5121" y="3614"/>
                    <a:pt x="5121" y="3614"/>
                    <a:pt x="5121" y="3614"/>
                  </a:cubicBezTo>
                  <a:cubicBezTo>
                    <a:pt x="5128" y="3615"/>
                    <a:pt x="5128" y="3615"/>
                    <a:pt x="5128" y="3615"/>
                  </a:cubicBezTo>
                  <a:cubicBezTo>
                    <a:pt x="5130" y="3600"/>
                    <a:pt x="5130" y="3600"/>
                    <a:pt x="5130" y="3600"/>
                  </a:cubicBezTo>
                  <a:cubicBezTo>
                    <a:pt x="5144" y="3505"/>
                    <a:pt x="5144" y="3505"/>
                    <a:pt x="5144" y="3505"/>
                  </a:cubicBezTo>
                  <a:cubicBezTo>
                    <a:pt x="4991" y="3482"/>
                    <a:pt x="4991" y="3482"/>
                    <a:pt x="4991" y="3482"/>
                  </a:cubicBezTo>
                  <a:lnTo>
                    <a:pt x="4974" y="3592"/>
                  </a:lnTo>
                  <a:close/>
                  <a:moveTo>
                    <a:pt x="5129" y="3516"/>
                  </a:moveTo>
                  <a:cubicBezTo>
                    <a:pt x="5117" y="3600"/>
                    <a:pt x="5117" y="3600"/>
                    <a:pt x="5117" y="3600"/>
                  </a:cubicBezTo>
                  <a:cubicBezTo>
                    <a:pt x="5117" y="3600"/>
                    <a:pt x="5117" y="3600"/>
                    <a:pt x="5117" y="3600"/>
                  </a:cubicBezTo>
                  <a:cubicBezTo>
                    <a:pt x="5116" y="3600"/>
                    <a:pt x="5116" y="3600"/>
                    <a:pt x="5116" y="3600"/>
                  </a:cubicBezTo>
                  <a:cubicBezTo>
                    <a:pt x="4989" y="3581"/>
                    <a:pt x="4989" y="3581"/>
                    <a:pt x="4989" y="3581"/>
                  </a:cubicBezTo>
                  <a:cubicBezTo>
                    <a:pt x="5002" y="3497"/>
                    <a:pt x="5002" y="3497"/>
                    <a:pt x="5002" y="3497"/>
                  </a:cubicBezTo>
                  <a:lnTo>
                    <a:pt x="5129" y="3516"/>
                  </a:lnTo>
                  <a:close/>
                  <a:moveTo>
                    <a:pt x="4531" y="3325"/>
                  </a:moveTo>
                  <a:cubicBezTo>
                    <a:pt x="4548" y="3215"/>
                    <a:pt x="4548" y="3215"/>
                    <a:pt x="4548" y="3215"/>
                  </a:cubicBezTo>
                  <a:cubicBezTo>
                    <a:pt x="4394" y="3192"/>
                    <a:pt x="4394" y="3192"/>
                    <a:pt x="4394" y="3192"/>
                  </a:cubicBezTo>
                  <a:cubicBezTo>
                    <a:pt x="4378" y="3302"/>
                    <a:pt x="4378" y="3302"/>
                    <a:pt x="4378" y="3302"/>
                  </a:cubicBezTo>
                  <a:cubicBezTo>
                    <a:pt x="4525" y="3324"/>
                    <a:pt x="4525" y="3324"/>
                    <a:pt x="4525" y="3324"/>
                  </a:cubicBezTo>
                  <a:lnTo>
                    <a:pt x="4531" y="3325"/>
                  </a:lnTo>
                  <a:close/>
                  <a:moveTo>
                    <a:pt x="4393" y="3291"/>
                  </a:moveTo>
                  <a:cubicBezTo>
                    <a:pt x="4405" y="3207"/>
                    <a:pt x="4405" y="3207"/>
                    <a:pt x="4405" y="3207"/>
                  </a:cubicBezTo>
                  <a:cubicBezTo>
                    <a:pt x="4533" y="3226"/>
                    <a:pt x="4533" y="3226"/>
                    <a:pt x="4533" y="3226"/>
                  </a:cubicBezTo>
                  <a:cubicBezTo>
                    <a:pt x="4520" y="3310"/>
                    <a:pt x="4520" y="3310"/>
                    <a:pt x="4520" y="3310"/>
                  </a:cubicBezTo>
                  <a:lnTo>
                    <a:pt x="4393" y="3291"/>
                  </a:lnTo>
                  <a:close/>
                  <a:moveTo>
                    <a:pt x="4508" y="3529"/>
                  </a:moveTo>
                  <a:cubicBezTo>
                    <a:pt x="4524" y="3419"/>
                    <a:pt x="4524" y="3419"/>
                    <a:pt x="4524" y="3419"/>
                  </a:cubicBezTo>
                  <a:cubicBezTo>
                    <a:pt x="4371" y="3396"/>
                    <a:pt x="4371" y="3396"/>
                    <a:pt x="4371" y="3396"/>
                  </a:cubicBezTo>
                  <a:cubicBezTo>
                    <a:pt x="4354" y="3506"/>
                    <a:pt x="4354" y="3506"/>
                    <a:pt x="4354" y="3506"/>
                  </a:cubicBezTo>
                  <a:cubicBezTo>
                    <a:pt x="4501" y="3528"/>
                    <a:pt x="4501" y="3528"/>
                    <a:pt x="4501" y="3528"/>
                  </a:cubicBezTo>
                  <a:lnTo>
                    <a:pt x="4508" y="3529"/>
                  </a:lnTo>
                  <a:close/>
                  <a:moveTo>
                    <a:pt x="4369" y="3495"/>
                  </a:moveTo>
                  <a:cubicBezTo>
                    <a:pt x="4382" y="3411"/>
                    <a:pt x="4382" y="3411"/>
                    <a:pt x="4382" y="3411"/>
                  </a:cubicBezTo>
                  <a:cubicBezTo>
                    <a:pt x="4509" y="3430"/>
                    <a:pt x="4509" y="3430"/>
                    <a:pt x="4509" y="3430"/>
                  </a:cubicBezTo>
                  <a:cubicBezTo>
                    <a:pt x="4497" y="3514"/>
                    <a:pt x="4497" y="3514"/>
                    <a:pt x="4497" y="3514"/>
                  </a:cubicBezTo>
                  <a:lnTo>
                    <a:pt x="4369" y="3495"/>
                  </a:lnTo>
                  <a:close/>
                  <a:moveTo>
                    <a:pt x="3356" y="3514"/>
                  </a:moveTo>
                  <a:cubicBezTo>
                    <a:pt x="3507" y="3517"/>
                    <a:pt x="3507" y="3517"/>
                    <a:pt x="3507" y="3517"/>
                  </a:cubicBezTo>
                  <a:cubicBezTo>
                    <a:pt x="3509" y="3411"/>
                    <a:pt x="3509" y="3411"/>
                    <a:pt x="3509" y="3411"/>
                  </a:cubicBezTo>
                  <a:cubicBezTo>
                    <a:pt x="3365" y="3409"/>
                    <a:pt x="3365" y="3409"/>
                    <a:pt x="3365" y="3409"/>
                  </a:cubicBezTo>
                  <a:cubicBezTo>
                    <a:pt x="3358" y="3408"/>
                    <a:pt x="3358" y="3408"/>
                    <a:pt x="3358" y="3408"/>
                  </a:cubicBezTo>
                  <a:lnTo>
                    <a:pt x="3356" y="3514"/>
                  </a:lnTo>
                  <a:close/>
                  <a:moveTo>
                    <a:pt x="3371" y="3421"/>
                  </a:moveTo>
                  <a:cubicBezTo>
                    <a:pt x="3497" y="3424"/>
                    <a:pt x="3497" y="3424"/>
                    <a:pt x="3497" y="3424"/>
                  </a:cubicBezTo>
                  <a:cubicBezTo>
                    <a:pt x="3495" y="3504"/>
                    <a:pt x="3495" y="3504"/>
                    <a:pt x="3495" y="3504"/>
                  </a:cubicBezTo>
                  <a:cubicBezTo>
                    <a:pt x="3369" y="3502"/>
                    <a:pt x="3369" y="3502"/>
                    <a:pt x="3369" y="3502"/>
                  </a:cubicBezTo>
                  <a:lnTo>
                    <a:pt x="3371" y="3421"/>
                  </a:lnTo>
                  <a:close/>
                  <a:moveTo>
                    <a:pt x="3305" y="3246"/>
                  </a:moveTo>
                  <a:cubicBezTo>
                    <a:pt x="3303" y="3351"/>
                    <a:pt x="3303" y="3351"/>
                    <a:pt x="3303" y="3351"/>
                  </a:cubicBezTo>
                  <a:cubicBezTo>
                    <a:pt x="3454" y="3354"/>
                    <a:pt x="3454" y="3354"/>
                    <a:pt x="3454" y="3354"/>
                  </a:cubicBezTo>
                  <a:cubicBezTo>
                    <a:pt x="3457" y="3249"/>
                    <a:pt x="3457" y="3249"/>
                    <a:pt x="3457" y="3249"/>
                  </a:cubicBezTo>
                  <a:cubicBezTo>
                    <a:pt x="3312" y="3246"/>
                    <a:pt x="3312" y="3246"/>
                    <a:pt x="3312" y="3246"/>
                  </a:cubicBezTo>
                  <a:lnTo>
                    <a:pt x="3305" y="3246"/>
                  </a:lnTo>
                  <a:close/>
                  <a:moveTo>
                    <a:pt x="3318" y="3258"/>
                  </a:moveTo>
                  <a:cubicBezTo>
                    <a:pt x="3444" y="3261"/>
                    <a:pt x="3444" y="3261"/>
                    <a:pt x="3444" y="3261"/>
                  </a:cubicBezTo>
                  <a:cubicBezTo>
                    <a:pt x="3442" y="3341"/>
                    <a:pt x="3442" y="3341"/>
                    <a:pt x="3442" y="3341"/>
                  </a:cubicBezTo>
                  <a:cubicBezTo>
                    <a:pt x="3316" y="3339"/>
                    <a:pt x="3316" y="3339"/>
                    <a:pt x="3316" y="3339"/>
                  </a:cubicBezTo>
                  <a:lnTo>
                    <a:pt x="3318" y="3258"/>
                  </a:lnTo>
                  <a:close/>
                  <a:moveTo>
                    <a:pt x="3281" y="3094"/>
                  </a:moveTo>
                  <a:cubicBezTo>
                    <a:pt x="3278" y="3200"/>
                    <a:pt x="3278" y="3200"/>
                    <a:pt x="3278" y="3200"/>
                  </a:cubicBezTo>
                  <a:cubicBezTo>
                    <a:pt x="3430" y="3203"/>
                    <a:pt x="3430" y="3203"/>
                    <a:pt x="3430" y="3203"/>
                  </a:cubicBezTo>
                  <a:cubicBezTo>
                    <a:pt x="3432" y="3097"/>
                    <a:pt x="3432" y="3097"/>
                    <a:pt x="3432" y="3097"/>
                  </a:cubicBezTo>
                  <a:cubicBezTo>
                    <a:pt x="3287" y="3094"/>
                    <a:pt x="3287" y="3094"/>
                    <a:pt x="3287" y="3094"/>
                  </a:cubicBezTo>
                  <a:lnTo>
                    <a:pt x="3281" y="3094"/>
                  </a:lnTo>
                  <a:close/>
                  <a:moveTo>
                    <a:pt x="3293" y="3107"/>
                  </a:moveTo>
                  <a:cubicBezTo>
                    <a:pt x="3419" y="3110"/>
                    <a:pt x="3419" y="3110"/>
                    <a:pt x="3419" y="3110"/>
                  </a:cubicBezTo>
                  <a:cubicBezTo>
                    <a:pt x="3417" y="3190"/>
                    <a:pt x="3417" y="3190"/>
                    <a:pt x="3417" y="3190"/>
                  </a:cubicBezTo>
                  <a:cubicBezTo>
                    <a:pt x="3291" y="3187"/>
                    <a:pt x="3291" y="3187"/>
                    <a:pt x="3291" y="3187"/>
                  </a:cubicBezTo>
                  <a:lnTo>
                    <a:pt x="3293" y="3107"/>
                  </a:lnTo>
                  <a:close/>
                  <a:moveTo>
                    <a:pt x="3896" y="2899"/>
                  </a:moveTo>
                  <a:cubicBezTo>
                    <a:pt x="3752" y="2896"/>
                    <a:pt x="3752" y="2896"/>
                    <a:pt x="3752" y="2896"/>
                  </a:cubicBezTo>
                  <a:cubicBezTo>
                    <a:pt x="3745" y="2896"/>
                    <a:pt x="3745" y="2896"/>
                    <a:pt x="3745" y="2896"/>
                  </a:cubicBezTo>
                  <a:cubicBezTo>
                    <a:pt x="3743" y="3001"/>
                    <a:pt x="3743" y="3001"/>
                    <a:pt x="3743" y="3001"/>
                  </a:cubicBezTo>
                  <a:cubicBezTo>
                    <a:pt x="3894" y="3004"/>
                    <a:pt x="3894" y="3004"/>
                    <a:pt x="3894" y="3004"/>
                  </a:cubicBezTo>
                  <a:lnTo>
                    <a:pt x="3896" y="2899"/>
                  </a:lnTo>
                  <a:close/>
                  <a:moveTo>
                    <a:pt x="3882" y="2992"/>
                  </a:moveTo>
                  <a:cubicBezTo>
                    <a:pt x="3756" y="2989"/>
                    <a:pt x="3756" y="2989"/>
                    <a:pt x="3756" y="2989"/>
                  </a:cubicBezTo>
                  <a:cubicBezTo>
                    <a:pt x="3758" y="2909"/>
                    <a:pt x="3758" y="2909"/>
                    <a:pt x="3758" y="2909"/>
                  </a:cubicBezTo>
                  <a:cubicBezTo>
                    <a:pt x="3884" y="2911"/>
                    <a:pt x="3884" y="2911"/>
                    <a:pt x="3884" y="2911"/>
                  </a:cubicBezTo>
                  <a:lnTo>
                    <a:pt x="3882" y="2992"/>
                  </a:lnTo>
                  <a:close/>
                  <a:moveTo>
                    <a:pt x="4038" y="2926"/>
                  </a:moveTo>
                  <a:cubicBezTo>
                    <a:pt x="4036" y="3032"/>
                    <a:pt x="4036" y="3032"/>
                    <a:pt x="4036" y="3032"/>
                  </a:cubicBezTo>
                  <a:cubicBezTo>
                    <a:pt x="4187" y="3035"/>
                    <a:pt x="4187" y="3035"/>
                    <a:pt x="4187" y="3035"/>
                  </a:cubicBezTo>
                  <a:cubicBezTo>
                    <a:pt x="4189" y="2929"/>
                    <a:pt x="4189" y="2929"/>
                    <a:pt x="4189" y="2929"/>
                  </a:cubicBezTo>
                  <a:cubicBezTo>
                    <a:pt x="4044" y="2926"/>
                    <a:pt x="4044" y="2926"/>
                    <a:pt x="4044" y="2926"/>
                  </a:cubicBezTo>
                  <a:lnTo>
                    <a:pt x="4038" y="2926"/>
                  </a:lnTo>
                  <a:close/>
                  <a:moveTo>
                    <a:pt x="4050" y="2939"/>
                  </a:moveTo>
                  <a:cubicBezTo>
                    <a:pt x="4176" y="2942"/>
                    <a:pt x="4176" y="2942"/>
                    <a:pt x="4176" y="2942"/>
                  </a:cubicBezTo>
                  <a:cubicBezTo>
                    <a:pt x="4174" y="3022"/>
                    <a:pt x="4174" y="3022"/>
                    <a:pt x="4174" y="3022"/>
                  </a:cubicBezTo>
                  <a:cubicBezTo>
                    <a:pt x="4048" y="3019"/>
                    <a:pt x="4048" y="3019"/>
                    <a:pt x="4048" y="3019"/>
                  </a:cubicBezTo>
                  <a:lnTo>
                    <a:pt x="4050" y="2939"/>
                  </a:lnTo>
                  <a:close/>
                  <a:moveTo>
                    <a:pt x="5368" y="2474"/>
                  </a:moveTo>
                  <a:cubicBezTo>
                    <a:pt x="5367" y="2481"/>
                    <a:pt x="5367" y="2481"/>
                    <a:pt x="5367" y="2481"/>
                  </a:cubicBezTo>
                  <a:cubicBezTo>
                    <a:pt x="5563" y="2513"/>
                    <a:pt x="5563" y="2513"/>
                    <a:pt x="5563" y="2513"/>
                  </a:cubicBezTo>
                  <a:cubicBezTo>
                    <a:pt x="5579" y="2417"/>
                    <a:pt x="5579" y="2417"/>
                    <a:pt x="5579" y="2417"/>
                  </a:cubicBezTo>
                  <a:cubicBezTo>
                    <a:pt x="5383" y="2385"/>
                    <a:pt x="5383" y="2385"/>
                    <a:pt x="5383" y="2385"/>
                  </a:cubicBezTo>
                  <a:lnTo>
                    <a:pt x="5368" y="2474"/>
                  </a:lnTo>
                  <a:close/>
                  <a:moveTo>
                    <a:pt x="5564" y="2428"/>
                  </a:moveTo>
                  <a:cubicBezTo>
                    <a:pt x="5553" y="2498"/>
                    <a:pt x="5553" y="2498"/>
                    <a:pt x="5553" y="2498"/>
                  </a:cubicBezTo>
                  <a:cubicBezTo>
                    <a:pt x="5382" y="2470"/>
                    <a:pt x="5382" y="2470"/>
                    <a:pt x="5382" y="2470"/>
                  </a:cubicBezTo>
                  <a:cubicBezTo>
                    <a:pt x="5394" y="2400"/>
                    <a:pt x="5394" y="2400"/>
                    <a:pt x="5394" y="2400"/>
                  </a:cubicBezTo>
                  <a:lnTo>
                    <a:pt x="5564" y="2428"/>
                  </a:lnTo>
                  <a:close/>
                  <a:moveTo>
                    <a:pt x="5460" y="2333"/>
                  </a:moveTo>
                  <a:cubicBezTo>
                    <a:pt x="5487" y="2144"/>
                    <a:pt x="5487" y="2144"/>
                    <a:pt x="5487" y="2144"/>
                  </a:cubicBezTo>
                  <a:cubicBezTo>
                    <a:pt x="5488" y="2137"/>
                    <a:pt x="5488" y="2137"/>
                    <a:pt x="5488" y="2137"/>
                  </a:cubicBezTo>
                  <a:cubicBezTo>
                    <a:pt x="5166" y="2091"/>
                    <a:pt x="5166" y="2091"/>
                    <a:pt x="5166" y="2091"/>
                  </a:cubicBezTo>
                  <a:cubicBezTo>
                    <a:pt x="5158" y="2153"/>
                    <a:pt x="5158" y="2153"/>
                    <a:pt x="5158" y="2153"/>
                  </a:cubicBezTo>
                  <a:cubicBezTo>
                    <a:pt x="5123" y="2150"/>
                    <a:pt x="5123" y="2150"/>
                    <a:pt x="5123" y="2150"/>
                  </a:cubicBezTo>
                  <a:cubicBezTo>
                    <a:pt x="5110" y="2235"/>
                    <a:pt x="5110" y="2235"/>
                    <a:pt x="5110" y="2235"/>
                  </a:cubicBezTo>
                  <a:cubicBezTo>
                    <a:pt x="5143" y="2241"/>
                    <a:pt x="5143" y="2241"/>
                    <a:pt x="5143" y="2241"/>
                  </a:cubicBezTo>
                  <a:cubicBezTo>
                    <a:pt x="5138" y="2288"/>
                    <a:pt x="5138" y="2288"/>
                    <a:pt x="5138" y="2288"/>
                  </a:cubicBezTo>
                  <a:lnTo>
                    <a:pt x="5460" y="2333"/>
                  </a:lnTo>
                  <a:close/>
                  <a:moveTo>
                    <a:pt x="5125" y="2224"/>
                  </a:moveTo>
                  <a:cubicBezTo>
                    <a:pt x="5134" y="2164"/>
                    <a:pt x="5134" y="2164"/>
                    <a:pt x="5134" y="2164"/>
                  </a:cubicBezTo>
                  <a:cubicBezTo>
                    <a:pt x="5169" y="2167"/>
                    <a:pt x="5169" y="2167"/>
                    <a:pt x="5169" y="2167"/>
                  </a:cubicBezTo>
                  <a:cubicBezTo>
                    <a:pt x="5178" y="2105"/>
                    <a:pt x="5178" y="2105"/>
                    <a:pt x="5178" y="2105"/>
                  </a:cubicBezTo>
                  <a:cubicBezTo>
                    <a:pt x="5473" y="2148"/>
                    <a:pt x="5473" y="2148"/>
                    <a:pt x="5473" y="2148"/>
                  </a:cubicBezTo>
                  <a:cubicBezTo>
                    <a:pt x="5449" y="2318"/>
                    <a:pt x="5449" y="2318"/>
                    <a:pt x="5449" y="2318"/>
                  </a:cubicBezTo>
                  <a:cubicBezTo>
                    <a:pt x="5152" y="2277"/>
                    <a:pt x="5152" y="2277"/>
                    <a:pt x="5152" y="2277"/>
                  </a:cubicBezTo>
                  <a:cubicBezTo>
                    <a:pt x="5157" y="2230"/>
                    <a:pt x="5157" y="2230"/>
                    <a:pt x="5157" y="2230"/>
                  </a:cubicBezTo>
                  <a:lnTo>
                    <a:pt x="5125" y="2224"/>
                  </a:lnTo>
                  <a:close/>
                  <a:moveTo>
                    <a:pt x="215" y="1986"/>
                  </a:moveTo>
                  <a:cubicBezTo>
                    <a:pt x="196" y="1955"/>
                    <a:pt x="196" y="1955"/>
                    <a:pt x="196" y="1955"/>
                  </a:cubicBezTo>
                  <a:cubicBezTo>
                    <a:pt x="121" y="1990"/>
                    <a:pt x="121" y="1990"/>
                    <a:pt x="121" y="1990"/>
                  </a:cubicBezTo>
                  <a:cubicBezTo>
                    <a:pt x="138" y="2026"/>
                    <a:pt x="138" y="2026"/>
                    <a:pt x="138" y="2026"/>
                  </a:cubicBezTo>
                  <a:cubicBezTo>
                    <a:pt x="84" y="2049"/>
                    <a:pt x="84" y="2049"/>
                    <a:pt x="84" y="2049"/>
                  </a:cubicBezTo>
                  <a:cubicBezTo>
                    <a:pt x="105" y="2093"/>
                    <a:pt x="105" y="2093"/>
                    <a:pt x="105" y="2093"/>
                  </a:cubicBezTo>
                  <a:cubicBezTo>
                    <a:pt x="88" y="2099"/>
                    <a:pt x="88" y="2099"/>
                    <a:pt x="88" y="2099"/>
                  </a:cubicBezTo>
                  <a:cubicBezTo>
                    <a:pt x="131" y="2201"/>
                    <a:pt x="131" y="2201"/>
                    <a:pt x="131" y="2201"/>
                  </a:cubicBezTo>
                  <a:cubicBezTo>
                    <a:pt x="158" y="2191"/>
                    <a:pt x="158" y="2191"/>
                    <a:pt x="158" y="2191"/>
                  </a:cubicBezTo>
                  <a:cubicBezTo>
                    <a:pt x="236" y="2366"/>
                    <a:pt x="236" y="2366"/>
                    <a:pt x="236" y="2366"/>
                  </a:cubicBezTo>
                  <a:cubicBezTo>
                    <a:pt x="404" y="2288"/>
                    <a:pt x="404" y="2288"/>
                    <a:pt x="404" y="2288"/>
                  </a:cubicBezTo>
                  <a:cubicBezTo>
                    <a:pt x="410" y="2286"/>
                    <a:pt x="410" y="2286"/>
                    <a:pt x="410" y="2286"/>
                  </a:cubicBezTo>
                  <a:cubicBezTo>
                    <a:pt x="267" y="1964"/>
                    <a:pt x="267" y="1964"/>
                    <a:pt x="267" y="1964"/>
                  </a:cubicBezTo>
                  <a:lnTo>
                    <a:pt x="215" y="1986"/>
                  </a:lnTo>
                  <a:close/>
                  <a:moveTo>
                    <a:pt x="243" y="2348"/>
                  </a:moveTo>
                  <a:cubicBezTo>
                    <a:pt x="165" y="2174"/>
                    <a:pt x="165" y="2174"/>
                    <a:pt x="165" y="2174"/>
                  </a:cubicBezTo>
                  <a:cubicBezTo>
                    <a:pt x="138" y="2184"/>
                    <a:pt x="138" y="2184"/>
                    <a:pt x="138" y="2184"/>
                  </a:cubicBezTo>
                  <a:cubicBezTo>
                    <a:pt x="105" y="2107"/>
                    <a:pt x="105" y="2107"/>
                    <a:pt x="105" y="2107"/>
                  </a:cubicBezTo>
                  <a:cubicBezTo>
                    <a:pt x="122" y="2100"/>
                    <a:pt x="122" y="2100"/>
                    <a:pt x="122" y="2100"/>
                  </a:cubicBezTo>
                  <a:cubicBezTo>
                    <a:pt x="102" y="2056"/>
                    <a:pt x="102" y="2056"/>
                    <a:pt x="102" y="2056"/>
                  </a:cubicBezTo>
                  <a:cubicBezTo>
                    <a:pt x="155" y="2033"/>
                    <a:pt x="155" y="2033"/>
                    <a:pt x="155" y="2033"/>
                  </a:cubicBezTo>
                  <a:cubicBezTo>
                    <a:pt x="139" y="1996"/>
                    <a:pt x="139" y="1996"/>
                    <a:pt x="139" y="1996"/>
                  </a:cubicBezTo>
                  <a:cubicBezTo>
                    <a:pt x="191" y="1972"/>
                    <a:pt x="191" y="1972"/>
                    <a:pt x="191" y="1972"/>
                  </a:cubicBezTo>
                  <a:cubicBezTo>
                    <a:pt x="209" y="2002"/>
                    <a:pt x="209" y="2002"/>
                    <a:pt x="209" y="2002"/>
                  </a:cubicBezTo>
                  <a:cubicBezTo>
                    <a:pt x="260" y="1981"/>
                    <a:pt x="260" y="1981"/>
                    <a:pt x="260" y="1981"/>
                  </a:cubicBezTo>
                  <a:cubicBezTo>
                    <a:pt x="393" y="2279"/>
                    <a:pt x="393" y="2279"/>
                    <a:pt x="393" y="2279"/>
                  </a:cubicBezTo>
                  <a:lnTo>
                    <a:pt x="243" y="2348"/>
                  </a:lnTo>
                  <a:close/>
                  <a:moveTo>
                    <a:pt x="5037" y="2921"/>
                  </a:moveTo>
                  <a:cubicBezTo>
                    <a:pt x="5077" y="2925"/>
                    <a:pt x="5077" y="2925"/>
                    <a:pt x="5077" y="2925"/>
                  </a:cubicBezTo>
                  <a:cubicBezTo>
                    <a:pt x="5068" y="2982"/>
                    <a:pt x="5068" y="2982"/>
                    <a:pt x="5068" y="2982"/>
                  </a:cubicBezTo>
                  <a:cubicBezTo>
                    <a:pt x="5111" y="2986"/>
                    <a:pt x="5111" y="2986"/>
                    <a:pt x="5111" y="2986"/>
                  </a:cubicBezTo>
                  <a:cubicBezTo>
                    <a:pt x="5109" y="3006"/>
                    <a:pt x="5109" y="3006"/>
                    <a:pt x="5109" y="3006"/>
                  </a:cubicBezTo>
                  <a:cubicBezTo>
                    <a:pt x="5215" y="3020"/>
                    <a:pt x="5215" y="3020"/>
                    <a:pt x="5215" y="3020"/>
                  </a:cubicBezTo>
                  <a:cubicBezTo>
                    <a:pt x="5216" y="3015"/>
                    <a:pt x="5216" y="3015"/>
                    <a:pt x="5216" y="3015"/>
                  </a:cubicBezTo>
                  <a:cubicBezTo>
                    <a:pt x="5220" y="3002"/>
                    <a:pt x="5220" y="3002"/>
                    <a:pt x="5220" y="3002"/>
                  </a:cubicBezTo>
                  <a:cubicBezTo>
                    <a:pt x="5415" y="3027"/>
                    <a:pt x="5415" y="3027"/>
                    <a:pt x="5415" y="3027"/>
                  </a:cubicBezTo>
                  <a:cubicBezTo>
                    <a:pt x="5444" y="2834"/>
                    <a:pt x="5444" y="2834"/>
                    <a:pt x="5444" y="2834"/>
                  </a:cubicBezTo>
                  <a:cubicBezTo>
                    <a:pt x="5445" y="2827"/>
                    <a:pt x="5445" y="2827"/>
                    <a:pt x="5445" y="2827"/>
                  </a:cubicBezTo>
                  <a:cubicBezTo>
                    <a:pt x="5091" y="2782"/>
                    <a:pt x="5091" y="2782"/>
                    <a:pt x="5091" y="2782"/>
                  </a:cubicBezTo>
                  <a:cubicBezTo>
                    <a:pt x="5082" y="2837"/>
                    <a:pt x="5082" y="2837"/>
                    <a:pt x="5082" y="2837"/>
                  </a:cubicBezTo>
                  <a:cubicBezTo>
                    <a:pt x="5049" y="2833"/>
                    <a:pt x="5049" y="2833"/>
                    <a:pt x="5049" y="2833"/>
                  </a:cubicBezTo>
                  <a:lnTo>
                    <a:pt x="5037" y="2921"/>
                  </a:lnTo>
                  <a:close/>
                  <a:moveTo>
                    <a:pt x="5060" y="2848"/>
                  </a:moveTo>
                  <a:cubicBezTo>
                    <a:pt x="5093" y="2851"/>
                    <a:pt x="5093" y="2851"/>
                    <a:pt x="5093" y="2851"/>
                  </a:cubicBezTo>
                  <a:cubicBezTo>
                    <a:pt x="5102" y="2796"/>
                    <a:pt x="5102" y="2796"/>
                    <a:pt x="5102" y="2796"/>
                  </a:cubicBezTo>
                  <a:cubicBezTo>
                    <a:pt x="5430" y="2838"/>
                    <a:pt x="5430" y="2838"/>
                    <a:pt x="5430" y="2838"/>
                  </a:cubicBezTo>
                  <a:cubicBezTo>
                    <a:pt x="5404" y="3013"/>
                    <a:pt x="5404" y="3013"/>
                    <a:pt x="5404" y="3013"/>
                  </a:cubicBezTo>
                  <a:cubicBezTo>
                    <a:pt x="5211" y="2988"/>
                    <a:pt x="5211" y="2988"/>
                    <a:pt x="5211" y="2988"/>
                  </a:cubicBezTo>
                  <a:cubicBezTo>
                    <a:pt x="5209" y="2993"/>
                    <a:pt x="5209" y="2993"/>
                    <a:pt x="5209" y="2993"/>
                  </a:cubicBezTo>
                  <a:cubicBezTo>
                    <a:pt x="5205" y="3006"/>
                    <a:pt x="5205" y="3006"/>
                    <a:pt x="5205" y="3006"/>
                  </a:cubicBezTo>
                  <a:cubicBezTo>
                    <a:pt x="5123" y="2995"/>
                    <a:pt x="5123" y="2995"/>
                    <a:pt x="5123" y="2995"/>
                  </a:cubicBezTo>
                  <a:cubicBezTo>
                    <a:pt x="5126" y="2974"/>
                    <a:pt x="5126" y="2974"/>
                    <a:pt x="5126" y="2974"/>
                  </a:cubicBezTo>
                  <a:cubicBezTo>
                    <a:pt x="5083" y="2970"/>
                    <a:pt x="5083" y="2970"/>
                    <a:pt x="5083" y="2970"/>
                  </a:cubicBezTo>
                  <a:cubicBezTo>
                    <a:pt x="5092" y="2913"/>
                    <a:pt x="5092" y="2913"/>
                    <a:pt x="5092" y="2913"/>
                  </a:cubicBezTo>
                  <a:cubicBezTo>
                    <a:pt x="5052" y="2909"/>
                    <a:pt x="5052" y="2909"/>
                    <a:pt x="5052" y="2909"/>
                  </a:cubicBezTo>
                  <a:lnTo>
                    <a:pt x="5060" y="2848"/>
                  </a:lnTo>
                  <a:close/>
                  <a:moveTo>
                    <a:pt x="4495" y="20"/>
                  </a:moveTo>
                  <a:cubicBezTo>
                    <a:pt x="4347" y="9"/>
                    <a:pt x="4347" y="9"/>
                    <a:pt x="4347" y="9"/>
                  </a:cubicBezTo>
                  <a:cubicBezTo>
                    <a:pt x="4348" y="2"/>
                    <a:pt x="4348" y="2"/>
                    <a:pt x="4348" y="2"/>
                  </a:cubicBezTo>
                  <a:cubicBezTo>
                    <a:pt x="4348" y="0"/>
                    <a:pt x="4348" y="0"/>
                    <a:pt x="4348" y="0"/>
                  </a:cubicBezTo>
                  <a:cubicBezTo>
                    <a:pt x="4405" y="0"/>
                    <a:pt x="4405" y="0"/>
                    <a:pt x="4405" y="0"/>
                  </a:cubicBezTo>
                  <a:cubicBezTo>
                    <a:pt x="4483" y="6"/>
                    <a:pt x="4483" y="6"/>
                    <a:pt x="4483" y="6"/>
                  </a:cubicBezTo>
                  <a:cubicBezTo>
                    <a:pt x="4483" y="0"/>
                    <a:pt x="4483" y="0"/>
                    <a:pt x="4483" y="0"/>
                  </a:cubicBezTo>
                  <a:cubicBezTo>
                    <a:pt x="4496" y="0"/>
                    <a:pt x="4496" y="0"/>
                    <a:pt x="4496" y="0"/>
                  </a:cubicBezTo>
                  <a:lnTo>
                    <a:pt x="4495" y="20"/>
                  </a:lnTo>
                  <a:close/>
                  <a:moveTo>
                    <a:pt x="485" y="380"/>
                  </a:moveTo>
                  <a:cubicBezTo>
                    <a:pt x="384" y="676"/>
                    <a:pt x="384" y="676"/>
                    <a:pt x="384" y="676"/>
                  </a:cubicBezTo>
                  <a:cubicBezTo>
                    <a:pt x="1260" y="967"/>
                    <a:pt x="1260" y="967"/>
                    <a:pt x="1260" y="967"/>
                  </a:cubicBezTo>
                  <a:cubicBezTo>
                    <a:pt x="1342" y="718"/>
                    <a:pt x="1342" y="718"/>
                    <a:pt x="1342" y="718"/>
                  </a:cubicBezTo>
                  <a:cubicBezTo>
                    <a:pt x="1558" y="787"/>
                    <a:pt x="1558" y="787"/>
                    <a:pt x="1558" y="787"/>
                  </a:cubicBezTo>
                  <a:cubicBezTo>
                    <a:pt x="1594" y="678"/>
                    <a:pt x="1594" y="678"/>
                    <a:pt x="1594" y="678"/>
                  </a:cubicBezTo>
                  <a:cubicBezTo>
                    <a:pt x="1774" y="739"/>
                    <a:pt x="1774" y="739"/>
                    <a:pt x="1774" y="739"/>
                  </a:cubicBezTo>
                  <a:cubicBezTo>
                    <a:pt x="1866" y="453"/>
                    <a:pt x="1866" y="453"/>
                    <a:pt x="1866" y="453"/>
                  </a:cubicBezTo>
                  <a:cubicBezTo>
                    <a:pt x="1868" y="446"/>
                    <a:pt x="1868" y="446"/>
                    <a:pt x="1868" y="446"/>
                  </a:cubicBezTo>
                  <a:cubicBezTo>
                    <a:pt x="996" y="154"/>
                    <a:pt x="996" y="154"/>
                    <a:pt x="996" y="154"/>
                  </a:cubicBezTo>
                  <a:cubicBezTo>
                    <a:pt x="903" y="449"/>
                    <a:pt x="903" y="449"/>
                    <a:pt x="903" y="449"/>
                  </a:cubicBezTo>
                  <a:cubicBezTo>
                    <a:pt x="1129" y="525"/>
                    <a:pt x="1129" y="525"/>
                    <a:pt x="1129" y="525"/>
                  </a:cubicBezTo>
                  <a:cubicBezTo>
                    <a:pt x="1106" y="589"/>
                    <a:pt x="1106" y="589"/>
                    <a:pt x="1106" y="589"/>
                  </a:cubicBezTo>
                  <a:lnTo>
                    <a:pt x="485" y="380"/>
                  </a:lnTo>
                  <a:close/>
                  <a:moveTo>
                    <a:pt x="1148" y="516"/>
                  </a:moveTo>
                  <a:cubicBezTo>
                    <a:pt x="922" y="440"/>
                    <a:pt x="922" y="440"/>
                    <a:pt x="922" y="440"/>
                  </a:cubicBezTo>
                  <a:cubicBezTo>
                    <a:pt x="1005" y="173"/>
                    <a:pt x="1005" y="173"/>
                    <a:pt x="1005" y="173"/>
                  </a:cubicBezTo>
                  <a:cubicBezTo>
                    <a:pt x="1850" y="455"/>
                    <a:pt x="1850" y="455"/>
                    <a:pt x="1850" y="455"/>
                  </a:cubicBezTo>
                  <a:cubicBezTo>
                    <a:pt x="1764" y="720"/>
                    <a:pt x="1764" y="720"/>
                    <a:pt x="1764" y="720"/>
                  </a:cubicBezTo>
                  <a:cubicBezTo>
                    <a:pt x="1585" y="660"/>
                    <a:pt x="1585" y="660"/>
                    <a:pt x="1585" y="660"/>
                  </a:cubicBezTo>
                  <a:cubicBezTo>
                    <a:pt x="1549" y="769"/>
                    <a:pt x="1549" y="769"/>
                    <a:pt x="1549" y="769"/>
                  </a:cubicBezTo>
                  <a:cubicBezTo>
                    <a:pt x="1332" y="699"/>
                    <a:pt x="1332" y="699"/>
                    <a:pt x="1332" y="699"/>
                  </a:cubicBezTo>
                  <a:cubicBezTo>
                    <a:pt x="1251" y="948"/>
                    <a:pt x="1251" y="948"/>
                    <a:pt x="1251" y="948"/>
                  </a:cubicBezTo>
                  <a:cubicBezTo>
                    <a:pt x="403" y="667"/>
                    <a:pt x="403" y="667"/>
                    <a:pt x="403" y="667"/>
                  </a:cubicBezTo>
                  <a:cubicBezTo>
                    <a:pt x="495" y="399"/>
                    <a:pt x="495" y="399"/>
                    <a:pt x="495" y="399"/>
                  </a:cubicBezTo>
                  <a:cubicBezTo>
                    <a:pt x="1115" y="608"/>
                    <a:pt x="1115" y="608"/>
                    <a:pt x="1115" y="608"/>
                  </a:cubicBezTo>
                  <a:lnTo>
                    <a:pt x="1148" y="516"/>
                  </a:lnTo>
                  <a:close/>
                  <a:moveTo>
                    <a:pt x="3004" y="922"/>
                  </a:moveTo>
                  <a:cubicBezTo>
                    <a:pt x="3142" y="921"/>
                    <a:pt x="3142" y="921"/>
                    <a:pt x="3142" y="921"/>
                  </a:cubicBezTo>
                  <a:cubicBezTo>
                    <a:pt x="3142" y="827"/>
                    <a:pt x="3142" y="827"/>
                    <a:pt x="3142" y="827"/>
                  </a:cubicBezTo>
                  <a:cubicBezTo>
                    <a:pt x="3142" y="819"/>
                    <a:pt x="3142" y="819"/>
                    <a:pt x="3142" y="819"/>
                  </a:cubicBezTo>
                  <a:cubicBezTo>
                    <a:pt x="2989" y="817"/>
                    <a:pt x="2989" y="817"/>
                    <a:pt x="2989" y="817"/>
                  </a:cubicBezTo>
                  <a:cubicBezTo>
                    <a:pt x="2989" y="761"/>
                    <a:pt x="2989" y="761"/>
                    <a:pt x="2989" y="761"/>
                  </a:cubicBezTo>
                  <a:cubicBezTo>
                    <a:pt x="2841" y="763"/>
                    <a:pt x="2841" y="763"/>
                    <a:pt x="2841" y="763"/>
                  </a:cubicBezTo>
                  <a:cubicBezTo>
                    <a:pt x="2840" y="770"/>
                    <a:pt x="2840" y="770"/>
                    <a:pt x="2840" y="770"/>
                  </a:cubicBezTo>
                  <a:cubicBezTo>
                    <a:pt x="2839" y="784"/>
                    <a:pt x="2839" y="784"/>
                    <a:pt x="2839" y="784"/>
                  </a:cubicBezTo>
                  <a:cubicBezTo>
                    <a:pt x="2487" y="784"/>
                    <a:pt x="2487" y="784"/>
                    <a:pt x="2487" y="784"/>
                  </a:cubicBezTo>
                  <a:cubicBezTo>
                    <a:pt x="2486" y="1056"/>
                    <a:pt x="2486" y="1056"/>
                    <a:pt x="2486" y="1056"/>
                  </a:cubicBezTo>
                  <a:cubicBezTo>
                    <a:pt x="2999" y="975"/>
                    <a:pt x="2999" y="975"/>
                    <a:pt x="2999" y="975"/>
                  </a:cubicBezTo>
                  <a:lnTo>
                    <a:pt x="3004" y="922"/>
                  </a:lnTo>
                  <a:close/>
                  <a:moveTo>
                    <a:pt x="2986" y="962"/>
                  </a:moveTo>
                  <a:cubicBezTo>
                    <a:pt x="2501" y="1038"/>
                    <a:pt x="2501" y="1038"/>
                    <a:pt x="2501" y="1038"/>
                  </a:cubicBezTo>
                  <a:cubicBezTo>
                    <a:pt x="2502" y="798"/>
                    <a:pt x="2502" y="798"/>
                    <a:pt x="2502" y="798"/>
                  </a:cubicBezTo>
                  <a:cubicBezTo>
                    <a:pt x="2853" y="799"/>
                    <a:pt x="2853" y="799"/>
                    <a:pt x="2853" y="799"/>
                  </a:cubicBezTo>
                  <a:cubicBezTo>
                    <a:pt x="2853" y="792"/>
                    <a:pt x="2853" y="792"/>
                    <a:pt x="2853" y="792"/>
                  </a:cubicBezTo>
                  <a:cubicBezTo>
                    <a:pt x="2854" y="778"/>
                    <a:pt x="2854" y="778"/>
                    <a:pt x="2854" y="778"/>
                  </a:cubicBezTo>
                  <a:cubicBezTo>
                    <a:pt x="2974" y="776"/>
                    <a:pt x="2974" y="776"/>
                    <a:pt x="2974" y="776"/>
                  </a:cubicBezTo>
                  <a:cubicBezTo>
                    <a:pt x="2974" y="832"/>
                    <a:pt x="2974" y="832"/>
                    <a:pt x="2974" y="832"/>
                  </a:cubicBezTo>
                  <a:cubicBezTo>
                    <a:pt x="3127" y="834"/>
                    <a:pt x="3127" y="834"/>
                    <a:pt x="3127" y="834"/>
                  </a:cubicBezTo>
                  <a:cubicBezTo>
                    <a:pt x="3128" y="906"/>
                    <a:pt x="3128" y="906"/>
                    <a:pt x="3128" y="906"/>
                  </a:cubicBezTo>
                  <a:cubicBezTo>
                    <a:pt x="2991" y="908"/>
                    <a:pt x="2991" y="908"/>
                    <a:pt x="2991" y="908"/>
                  </a:cubicBezTo>
                  <a:lnTo>
                    <a:pt x="2986" y="962"/>
                  </a:lnTo>
                  <a:close/>
                  <a:moveTo>
                    <a:pt x="18004" y="1864"/>
                  </a:moveTo>
                  <a:cubicBezTo>
                    <a:pt x="17944" y="1913"/>
                    <a:pt x="17882" y="1964"/>
                    <a:pt x="17823" y="2012"/>
                  </a:cubicBezTo>
                  <a:cubicBezTo>
                    <a:pt x="17654" y="2149"/>
                    <a:pt x="17502" y="2272"/>
                    <a:pt x="17430" y="2329"/>
                  </a:cubicBezTo>
                  <a:cubicBezTo>
                    <a:pt x="17380" y="2277"/>
                    <a:pt x="17340" y="2230"/>
                    <a:pt x="17306" y="2195"/>
                  </a:cubicBezTo>
                  <a:cubicBezTo>
                    <a:pt x="17288" y="2173"/>
                    <a:pt x="16823" y="1638"/>
                    <a:pt x="16201" y="1271"/>
                  </a:cubicBezTo>
                  <a:cubicBezTo>
                    <a:pt x="16011" y="1158"/>
                    <a:pt x="15772" y="1016"/>
                    <a:pt x="15532" y="888"/>
                  </a:cubicBezTo>
                  <a:cubicBezTo>
                    <a:pt x="15407" y="822"/>
                    <a:pt x="15282" y="757"/>
                    <a:pt x="15163" y="696"/>
                  </a:cubicBezTo>
                  <a:cubicBezTo>
                    <a:pt x="15178" y="694"/>
                    <a:pt x="15178" y="694"/>
                    <a:pt x="15178" y="694"/>
                  </a:cubicBezTo>
                  <a:cubicBezTo>
                    <a:pt x="15174" y="672"/>
                    <a:pt x="15160" y="617"/>
                    <a:pt x="15138" y="533"/>
                  </a:cubicBezTo>
                  <a:cubicBezTo>
                    <a:pt x="15116" y="450"/>
                    <a:pt x="15086" y="342"/>
                    <a:pt x="15054" y="223"/>
                  </a:cubicBezTo>
                  <a:cubicBezTo>
                    <a:pt x="15034" y="152"/>
                    <a:pt x="15013" y="76"/>
                    <a:pt x="14992" y="0"/>
                  </a:cubicBezTo>
                  <a:cubicBezTo>
                    <a:pt x="14924" y="0"/>
                    <a:pt x="14924" y="0"/>
                    <a:pt x="14924" y="0"/>
                  </a:cubicBezTo>
                  <a:cubicBezTo>
                    <a:pt x="14981" y="207"/>
                    <a:pt x="15038" y="413"/>
                    <a:pt x="15075" y="550"/>
                  </a:cubicBezTo>
                  <a:cubicBezTo>
                    <a:pt x="15088" y="598"/>
                    <a:pt x="15098" y="639"/>
                    <a:pt x="15105" y="666"/>
                  </a:cubicBezTo>
                  <a:cubicBezTo>
                    <a:pt x="14874" y="549"/>
                    <a:pt x="14672" y="449"/>
                    <a:pt x="14552" y="390"/>
                  </a:cubicBezTo>
                  <a:cubicBezTo>
                    <a:pt x="14494" y="361"/>
                    <a:pt x="14454" y="341"/>
                    <a:pt x="14442" y="335"/>
                  </a:cubicBezTo>
                  <a:cubicBezTo>
                    <a:pt x="14435" y="329"/>
                    <a:pt x="14427" y="328"/>
                    <a:pt x="14423" y="327"/>
                  </a:cubicBezTo>
                  <a:cubicBezTo>
                    <a:pt x="13986" y="280"/>
                    <a:pt x="13986" y="280"/>
                    <a:pt x="13986" y="280"/>
                  </a:cubicBezTo>
                  <a:cubicBezTo>
                    <a:pt x="13984" y="254"/>
                    <a:pt x="13974" y="150"/>
                    <a:pt x="13959" y="0"/>
                  </a:cubicBezTo>
                  <a:cubicBezTo>
                    <a:pt x="13806" y="0"/>
                    <a:pt x="13806" y="0"/>
                    <a:pt x="13806" y="0"/>
                  </a:cubicBezTo>
                  <a:cubicBezTo>
                    <a:pt x="13818" y="121"/>
                    <a:pt x="13827" y="215"/>
                    <a:pt x="13831" y="263"/>
                  </a:cubicBezTo>
                  <a:cubicBezTo>
                    <a:pt x="13379" y="214"/>
                    <a:pt x="13379" y="214"/>
                    <a:pt x="13379" y="214"/>
                  </a:cubicBezTo>
                  <a:cubicBezTo>
                    <a:pt x="12998" y="0"/>
                    <a:pt x="12998" y="0"/>
                    <a:pt x="12998" y="0"/>
                  </a:cubicBezTo>
                  <a:cubicBezTo>
                    <a:pt x="12863" y="0"/>
                    <a:pt x="12863" y="0"/>
                    <a:pt x="12863" y="0"/>
                  </a:cubicBezTo>
                  <a:cubicBezTo>
                    <a:pt x="13359" y="278"/>
                    <a:pt x="13359" y="278"/>
                    <a:pt x="13359" y="278"/>
                  </a:cubicBezTo>
                  <a:cubicBezTo>
                    <a:pt x="13818" y="328"/>
                    <a:pt x="13818" y="328"/>
                    <a:pt x="13818" y="328"/>
                  </a:cubicBezTo>
                  <a:cubicBezTo>
                    <a:pt x="13134" y="2295"/>
                    <a:pt x="13134" y="2295"/>
                    <a:pt x="13134" y="2295"/>
                  </a:cubicBezTo>
                  <a:cubicBezTo>
                    <a:pt x="12166" y="1912"/>
                    <a:pt x="12166" y="1912"/>
                    <a:pt x="12166" y="1912"/>
                  </a:cubicBezTo>
                  <a:cubicBezTo>
                    <a:pt x="11973" y="640"/>
                    <a:pt x="11973" y="640"/>
                    <a:pt x="11973" y="640"/>
                  </a:cubicBezTo>
                  <a:cubicBezTo>
                    <a:pt x="11843" y="36"/>
                    <a:pt x="11843" y="36"/>
                    <a:pt x="11843" y="36"/>
                  </a:cubicBezTo>
                  <a:cubicBezTo>
                    <a:pt x="11830" y="29"/>
                    <a:pt x="11830" y="29"/>
                    <a:pt x="11830" y="29"/>
                  </a:cubicBezTo>
                  <a:cubicBezTo>
                    <a:pt x="11830" y="29"/>
                    <a:pt x="11830" y="29"/>
                    <a:pt x="11830" y="29"/>
                  </a:cubicBezTo>
                  <a:cubicBezTo>
                    <a:pt x="11830" y="29"/>
                    <a:pt x="11829" y="29"/>
                    <a:pt x="11829" y="29"/>
                  </a:cubicBezTo>
                  <a:cubicBezTo>
                    <a:pt x="11849" y="0"/>
                    <a:pt x="11849" y="0"/>
                    <a:pt x="11849" y="0"/>
                  </a:cubicBezTo>
                  <a:cubicBezTo>
                    <a:pt x="11716" y="0"/>
                    <a:pt x="11716" y="0"/>
                    <a:pt x="11716" y="0"/>
                  </a:cubicBezTo>
                  <a:cubicBezTo>
                    <a:pt x="11748" y="44"/>
                    <a:pt x="11771" y="66"/>
                    <a:pt x="11784" y="77"/>
                  </a:cubicBezTo>
                  <a:cubicBezTo>
                    <a:pt x="11899" y="610"/>
                    <a:pt x="11899" y="610"/>
                    <a:pt x="11899" y="610"/>
                  </a:cubicBezTo>
                  <a:cubicBezTo>
                    <a:pt x="11002" y="771"/>
                    <a:pt x="11002" y="771"/>
                    <a:pt x="11002" y="771"/>
                  </a:cubicBezTo>
                  <a:cubicBezTo>
                    <a:pt x="10980" y="642"/>
                    <a:pt x="10980" y="642"/>
                    <a:pt x="10980" y="642"/>
                  </a:cubicBezTo>
                  <a:cubicBezTo>
                    <a:pt x="11209" y="603"/>
                    <a:pt x="11209" y="603"/>
                    <a:pt x="11209" y="603"/>
                  </a:cubicBezTo>
                  <a:cubicBezTo>
                    <a:pt x="11201" y="553"/>
                    <a:pt x="11201" y="553"/>
                    <a:pt x="11201" y="553"/>
                  </a:cubicBezTo>
                  <a:cubicBezTo>
                    <a:pt x="11295" y="537"/>
                    <a:pt x="11295" y="537"/>
                    <a:pt x="11295" y="537"/>
                  </a:cubicBezTo>
                  <a:cubicBezTo>
                    <a:pt x="11273" y="406"/>
                    <a:pt x="11273" y="406"/>
                    <a:pt x="11273" y="406"/>
                  </a:cubicBezTo>
                  <a:cubicBezTo>
                    <a:pt x="11178" y="422"/>
                    <a:pt x="11178" y="422"/>
                    <a:pt x="11178" y="422"/>
                  </a:cubicBezTo>
                  <a:cubicBezTo>
                    <a:pt x="11149" y="254"/>
                    <a:pt x="11149" y="254"/>
                    <a:pt x="11149" y="254"/>
                  </a:cubicBezTo>
                  <a:cubicBezTo>
                    <a:pt x="11108" y="261"/>
                    <a:pt x="11108" y="261"/>
                    <a:pt x="11108" y="261"/>
                  </a:cubicBezTo>
                  <a:cubicBezTo>
                    <a:pt x="11090" y="170"/>
                    <a:pt x="11090" y="170"/>
                    <a:pt x="11090" y="170"/>
                  </a:cubicBezTo>
                  <a:cubicBezTo>
                    <a:pt x="11089" y="163"/>
                    <a:pt x="11089" y="163"/>
                    <a:pt x="11089" y="163"/>
                  </a:cubicBezTo>
                  <a:cubicBezTo>
                    <a:pt x="11005" y="177"/>
                    <a:pt x="11005" y="177"/>
                    <a:pt x="11005" y="177"/>
                  </a:cubicBezTo>
                  <a:cubicBezTo>
                    <a:pt x="11022" y="275"/>
                    <a:pt x="11022" y="275"/>
                    <a:pt x="11022" y="275"/>
                  </a:cubicBezTo>
                  <a:cubicBezTo>
                    <a:pt x="10872" y="300"/>
                    <a:pt x="10872" y="300"/>
                    <a:pt x="10872" y="300"/>
                  </a:cubicBezTo>
                  <a:cubicBezTo>
                    <a:pt x="10880" y="348"/>
                    <a:pt x="10880" y="348"/>
                    <a:pt x="10880" y="348"/>
                  </a:cubicBezTo>
                  <a:cubicBezTo>
                    <a:pt x="10721" y="375"/>
                    <a:pt x="10721" y="375"/>
                    <a:pt x="10721" y="375"/>
                  </a:cubicBezTo>
                  <a:cubicBezTo>
                    <a:pt x="10740" y="484"/>
                    <a:pt x="10740" y="484"/>
                    <a:pt x="10740" y="484"/>
                  </a:cubicBezTo>
                  <a:cubicBezTo>
                    <a:pt x="10895" y="458"/>
                    <a:pt x="10895" y="458"/>
                    <a:pt x="10895" y="458"/>
                  </a:cubicBezTo>
                  <a:cubicBezTo>
                    <a:pt x="10915" y="574"/>
                    <a:pt x="10915" y="574"/>
                    <a:pt x="10915" y="574"/>
                  </a:cubicBezTo>
                  <a:cubicBezTo>
                    <a:pt x="10800" y="594"/>
                    <a:pt x="10800" y="594"/>
                    <a:pt x="10800" y="594"/>
                  </a:cubicBezTo>
                  <a:cubicBezTo>
                    <a:pt x="10835" y="801"/>
                    <a:pt x="10835" y="801"/>
                    <a:pt x="10835" y="801"/>
                  </a:cubicBezTo>
                  <a:cubicBezTo>
                    <a:pt x="10313" y="894"/>
                    <a:pt x="10313" y="894"/>
                    <a:pt x="10313" y="894"/>
                  </a:cubicBezTo>
                  <a:cubicBezTo>
                    <a:pt x="10311" y="878"/>
                    <a:pt x="10309" y="856"/>
                    <a:pt x="10307" y="831"/>
                  </a:cubicBezTo>
                  <a:cubicBezTo>
                    <a:pt x="10301" y="773"/>
                    <a:pt x="10294" y="697"/>
                    <a:pt x="10286" y="620"/>
                  </a:cubicBezTo>
                  <a:cubicBezTo>
                    <a:pt x="10274" y="498"/>
                    <a:pt x="10262" y="376"/>
                    <a:pt x="10257" y="332"/>
                  </a:cubicBezTo>
                  <a:cubicBezTo>
                    <a:pt x="10296" y="298"/>
                    <a:pt x="10391" y="195"/>
                    <a:pt x="10392" y="14"/>
                  </a:cubicBezTo>
                  <a:cubicBezTo>
                    <a:pt x="10392" y="9"/>
                    <a:pt x="10391" y="5"/>
                    <a:pt x="10391" y="0"/>
                  </a:cubicBezTo>
                  <a:cubicBezTo>
                    <a:pt x="10325" y="0"/>
                    <a:pt x="10325" y="0"/>
                    <a:pt x="10325" y="0"/>
                  </a:cubicBezTo>
                  <a:cubicBezTo>
                    <a:pt x="10325" y="5"/>
                    <a:pt x="10326" y="10"/>
                    <a:pt x="10326" y="14"/>
                  </a:cubicBezTo>
                  <a:cubicBezTo>
                    <a:pt x="10326" y="174"/>
                    <a:pt x="10238" y="262"/>
                    <a:pt x="10212" y="285"/>
                  </a:cubicBezTo>
                  <a:cubicBezTo>
                    <a:pt x="9251" y="271"/>
                    <a:pt x="9251" y="271"/>
                    <a:pt x="9251" y="271"/>
                  </a:cubicBezTo>
                  <a:cubicBezTo>
                    <a:pt x="9235" y="0"/>
                    <a:pt x="9235" y="0"/>
                    <a:pt x="9235" y="0"/>
                  </a:cubicBezTo>
                  <a:cubicBezTo>
                    <a:pt x="9169" y="0"/>
                    <a:pt x="9169" y="0"/>
                    <a:pt x="9169" y="0"/>
                  </a:cubicBezTo>
                  <a:cubicBezTo>
                    <a:pt x="9185" y="270"/>
                    <a:pt x="9185" y="270"/>
                    <a:pt x="9185" y="270"/>
                  </a:cubicBezTo>
                  <a:cubicBezTo>
                    <a:pt x="9160" y="270"/>
                    <a:pt x="9160" y="270"/>
                    <a:pt x="9160" y="270"/>
                  </a:cubicBezTo>
                  <a:cubicBezTo>
                    <a:pt x="9150" y="285"/>
                    <a:pt x="9150" y="285"/>
                    <a:pt x="9150" y="285"/>
                  </a:cubicBezTo>
                  <a:cubicBezTo>
                    <a:pt x="9150" y="285"/>
                    <a:pt x="9102" y="360"/>
                    <a:pt x="9045" y="446"/>
                  </a:cubicBezTo>
                  <a:cubicBezTo>
                    <a:pt x="8989" y="533"/>
                    <a:pt x="8924" y="631"/>
                    <a:pt x="8891" y="677"/>
                  </a:cubicBezTo>
                  <a:cubicBezTo>
                    <a:pt x="8891" y="677"/>
                    <a:pt x="8891" y="678"/>
                    <a:pt x="8890" y="678"/>
                  </a:cubicBezTo>
                  <a:cubicBezTo>
                    <a:pt x="7749" y="0"/>
                    <a:pt x="7749" y="0"/>
                    <a:pt x="7749" y="0"/>
                  </a:cubicBezTo>
                  <a:cubicBezTo>
                    <a:pt x="7595" y="0"/>
                    <a:pt x="7595" y="0"/>
                    <a:pt x="7595" y="0"/>
                  </a:cubicBezTo>
                  <a:cubicBezTo>
                    <a:pt x="7528" y="121"/>
                    <a:pt x="7528" y="121"/>
                    <a:pt x="7528" y="121"/>
                  </a:cubicBezTo>
                  <a:cubicBezTo>
                    <a:pt x="7528" y="123"/>
                    <a:pt x="7528" y="123"/>
                    <a:pt x="7528" y="123"/>
                  </a:cubicBezTo>
                  <a:cubicBezTo>
                    <a:pt x="7526" y="126"/>
                    <a:pt x="7503" y="181"/>
                    <a:pt x="7503" y="275"/>
                  </a:cubicBezTo>
                  <a:cubicBezTo>
                    <a:pt x="7503" y="343"/>
                    <a:pt x="7515" y="430"/>
                    <a:pt x="7556" y="532"/>
                  </a:cubicBezTo>
                  <a:cubicBezTo>
                    <a:pt x="7642" y="746"/>
                    <a:pt x="7752" y="965"/>
                    <a:pt x="7771" y="1002"/>
                  </a:cubicBezTo>
                  <a:cubicBezTo>
                    <a:pt x="7847" y="1703"/>
                    <a:pt x="7847" y="1703"/>
                    <a:pt x="7847" y="1703"/>
                  </a:cubicBezTo>
                  <a:cubicBezTo>
                    <a:pt x="7759" y="1945"/>
                    <a:pt x="7759" y="1945"/>
                    <a:pt x="7759" y="1945"/>
                  </a:cubicBezTo>
                  <a:cubicBezTo>
                    <a:pt x="7722" y="1943"/>
                    <a:pt x="7694" y="1942"/>
                    <a:pt x="7684" y="1941"/>
                  </a:cubicBezTo>
                  <a:cubicBezTo>
                    <a:pt x="7683" y="1941"/>
                    <a:pt x="7682" y="1941"/>
                    <a:pt x="7681" y="1941"/>
                  </a:cubicBezTo>
                  <a:cubicBezTo>
                    <a:pt x="7681" y="1941"/>
                    <a:pt x="7557" y="1936"/>
                    <a:pt x="7373" y="1930"/>
                  </a:cubicBezTo>
                  <a:cubicBezTo>
                    <a:pt x="7331" y="1928"/>
                    <a:pt x="7286" y="1927"/>
                    <a:pt x="7239" y="1925"/>
                  </a:cubicBezTo>
                  <a:cubicBezTo>
                    <a:pt x="6718" y="439"/>
                    <a:pt x="6718" y="439"/>
                    <a:pt x="6718" y="439"/>
                  </a:cubicBezTo>
                  <a:cubicBezTo>
                    <a:pt x="6725" y="395"/>
                    <a:pt x="6759" y="187"/>
                    <a:pt x="6790" y="0"/>
                  </a:cubicBezTo>
                  <a:cubicBezTo>
                    <a:pt x="6723" y="0"/>
                    <a:pt x="6723" y="0"/>
                    <a:pt x="6723" y="0"/>
                  </a:cubicBezTo>
                  <a:cubicBezTo>
                    <a:pt x="6720" y="20"/>
                    <a:pt x="6717" y="39"/>
                    <a:pt x="6714" y="59"/>
                  </a:cubicBezTo>
                  <a:cubicBezTo>
                    <a:pt x="6689" y="209"/>
                    <a:pt x="6664" y="359"/>
                    <a:pt x="6655" y="414"/>
                  </a:cubicBezTo>
                  <a:cubicBezTo>
                    <a:pt x="6562" y="433"/>
                    <a:pt x="6481" y="441"/>
                    <a:pt x="6411" y="441"/>
                  </a:cubicBezTo>
                  <a:cubicBezTo>
                    <a:pt x="6259" y="441"/>
                    <a:pt x="6151" y="408"/>
                    <a:pt x="6051" y="385"/>
                  </a:cubicBezTo>
                  <a:cubicBezTo>
                    <a:pt x="5979" y="369"/>
                    <a:pt x="5736" y="306"/>
                    <a:pt x="5512" y="247"/>
                  </a:cubicBezTo>
                  <a:cubicBezTo>
                    <a:pt x="5316" y="195"/>
                    <a:pt x="5135" y="147"/>
                    <a:pt x="5091" y="135"/>
                  </a:cubicBezTo>
                  <a:cubicBezTo>
                    <a:pt x="5092" y="92"/>
                    <a:pt x="5093" y="47"/>
                    <a:pt x="5094" y="0"/>
                  </a:cubicBezTo>
                  <a:cubicBezTo>
                    <a:pt x="5029" y="0"/>
                    <a:pt x="5029" y="0"/>
                    <a:pt x="5029" y="0"/>
                  </a:cubicBezTo>
                  <a:cubicBezTo>
                    <a:pt x="5027" y="79"/>
                    <a:pt x="5025" y="154"/>
                    <a:pt x="5023" y="219"/>
                  </a:cubicBezTo>
                  <a:cubicBezTo>
                    <a:pt x="5020" y="325"/>
                    <a:pt x="5017" y="406"/>
                    <a:pt x="5016" y="440"/>
                  </a:cubicBezTo>
                  <a:cubicBezTo>
                    <a:pt x="4598" y="162"/>
                    <a:pt x="4598" y="162"/>
                    <a:pt x="4598" y="162"/>
                  </a:cubicBezTo>
                  <a:cubicBezTo>
                    <a:pt x="4591" y="174"/>
                    <a:pt x="4591" y="174"/>
                    <a:pt x="4591" y="174"/>
                  </a:cubicBezTo>
                  <a:cubicBezTo>
                    <a:pt x="5016" y="456"/>
                    <a:pt x="5016" y="456"/>
                    <a:pt x="5016" y="456"/>
                  </a:cubicBezTo>
                  <a:cubicBezTo>
                    <a:pt x="5016" y="456"/>
                    <a:pt x="5016" y="457"/>
                    <a:pt x="5016" y="457"/>
                  </a:cubicBezTo>
                  <a:cubicBezTo>
                    <a:pt x="5015" y="459"/>
                    <a:pt x="5015" y="459"/>
                    <a:pt x="5015" y="459"/>
                  </a:cubicBezTo>
                  <a:cubicBezTo>
                    <a:pt x="5080" y="1026"/>
                    <a:pt x="5080" y="1026"/>
                    <a:pt x="5080" y="1026"/>
                  </a:cubicBezTo>
                  <a:cubicBezTo>
                    <a:pt x="4608" y="716"/>
                    <a:pt x="4608" y="716"/>
                    <a:pt x="4608" y="716"/>
                  </a:cubicBezTo>
                  <a:cubicBezTo>
                    <a:pt x="4354" y="244"/>
                    <a:pt x="4354" y="244"/>
                    <a:pt x="4354" y="244"/>
                  </a:cubicBezTo>
                  <a:cubicBezTo>
                    <a:pt x="4381" y="237"/>
                    <a:pt x="4419" y="225"/>
                    <a:pt x="4457" y="213"/>
                  </a:cubicBezTo>
                  <a:cubicBezTo>
                    <a:pt x="4523" y="193"/>
                    <a:pt x="4588" y="172"/>
                    <a:pt x="4588" y="172"/>
                  </a:cubicBezTo>
                  <a:cubicBezTo>
                    <a:pt x="4592" y="171"/>
                    <a:pt x="4592" y="171"/>
                    <a:pt x="4592" y="171"/>
                  </a:cubicBezTo>
                  <a:cubicBezTo>
                    <a:pt x="4646" y="0"/>
                    <a:pt x="4646" y="0"/>
                    <a:pt x="4646" y="0"/>
                  </a:cubicBezTo>
                  <a:cubicBezTo>
                    <a:pt x="4632" y="0"/>
                    <a:pt x="4632" y="0"/>
                    <a:pt x="4632" y="0"/>
                  </a:cubicBezTo>
                  <a:cubicBezTo>
                    <a:pt x="4581" y="160"/>
                    <a:pt x="4581" y="160"/>
                    <a:pt x="4581" y="160"/>
                  </a:cubicBezTo>
                  <a:cubicBezTo>
                    <a:pt x="4566" y="165"/>
                    <a:pt x="4510" y="182"/>
                    <a:pt x="4453" y="200"/>
                  </a:cubicBezTo>
                  <a:cubicBezTo>
                    <a:pt x="4414" y="212"/>
                    <a:pt x="4374" y="224"/>
                    <a:pt x="4347" y="232"/>
                  </a:cubicBezTo>
                  <a:cubicBezTo>
                    <a:pt x="4294" y="132"/>
                    <a:pt x="4294" y="132"/>
                    <a:pt x="4294" y="132"/>
                  </a:cubicBezTo>
                  <a:cubicBezTo>
                    <a:pt x="4307" y="0"/>
                    <a:pt x="4307" y="0"/>
                    <a:pt x="4307" y="0"/>
                  </a:cubicBezTo>
                  <a:cubicBezTo>
                    <a:pt x="4262" y="0"/>
                    <a:pt x="4262" y="0"/>
                    <a:pt x="4262" y="0"/>
                  </a:cubicBezTo>
                  <a:cubicBezTo>
                    <a:pt x="4248" y="142"/>
                    <a:pt x="4248" y="142"/>
                    <a:pt x="4248" y="142"/>
                  </a:cubicBezTo>
                  <a:cubicBezTo>
                    <a:pt x="4390" y="407"/>
                    <a:pt x="4390" y="407"/>
                    <a:pt x="4390" y="407"/>
                  </a:cubicBezTo>
                  <a:cubicBezTo>
                    <a:pt x="4374" y="417"/>
                    <a:pt x="4346" y="435"/>
                    <a:pt x="4317" y="453"/>
                  </a:cubicBezTo>
                  <a:cubicBezTo>
                    <a:pt x="4278" y="479"/>
                    <a:pt x="4239" y="504"/>
                    <a:pt x="4225" y="515"/>
                  </a:cubicBezTo>
                  <a:cubicBezTo>
                    <a:pt x="4224" y="514"/>
                    <a:pt x="4223" y="514"/>
                    <a:pt x="4222" y="513"/>
                  </a:cubicBezTo>
                  <a:cubicBezTo>
                    <a:pt x="4217" y="509"/>
                    <a:pt x="4210" y="504"/>
                    <a:pt x="4201" y="498"/>
                  </a:cubicBezTo>
                  <a:cubicBezTo>
                    <a:pt x="4182" y="485"/>
                    <a:pt x="4156" y="467"/>
                    <a:pt x="4124" y="446"/>
                  </a:cubicBezTo>
                  <a:cubicBezTo>
                    <a:pt x="4061" y="403"/>
                    <a:pt x="3977" y="346"/>
                    <a:pt x="3891" y="289"/>
                  </a:cubicBezTo>
                  <a:cubicBezTo>
                    <a:pt x="3859" y="267"/>
                    <a:pt x="3826" y="245"/>
                    <a:pt x="3795" y="224"/>
                  </a:cubicBezTo>
                  <a:cubicBezTo>
                    <a:pt x="3894" y="0"/>
                    <a:pt x="3894" y="0"/>
                    <a:pt x="3894" y="0"/>
                  </a:cubicBezTo>
                  <a:cubicBezTo>
                    <a:pt x="3878" y="0"/>
                    <a:pt x="3878" y="0"/>
                    <a:pt x="3878" y="0"/>
                  </a:cubicBezTo>
                  <a:cubicBezTo>
                    <a:pt x="3783" y="216"/>
                    <a:pt x="3783" y="216"/>
                    <a:pt x="3783" y="216"/>
                  </a:cubicBezTo>
                  <a:cubicBezTo>
                    <a:pt x="3663" y="135"/>
                    <a:pt x="3559" y="66"/>
                    <a:pt x="3537" y="50"/>
                  </a:cubicBezTo>
                  <a:cubicBezTo>
                    <a:pt x="3537" y="49"/>
                    <a:pt x="3537" y="48"/>
                    <a:pt x="3538" y="46"/>
                  </a:cubicBezTo>
                  <a:cubicBezTo>
                    <a:pt x="3538" y="40"/>
                    <a:pt x="3539" y="33"/>
                    <a:pt x="3539" y="24"/>
                  </a:cubicBezTo>
                  <a:cubicBezTo>
                    <a:pt x="3540" y="17"/>
                    <a:pt x="3540" y="9"/>
                    <a:pt x="3540" y="0"/>
                  </a:cubicBezTo>
                  <a:cubicBezTo>
                    <a:pt x="3526" y="0"/>
                    <a:pt x="3526" y="0"/>
                    <a:pt x="3526" y="0"/>
                  </a:cubicBezTo>
                  <a:cubicBezTo>
                    <a:pt x="3525" y="24"/>
                    <a:pt x="3524" y="43"/>
                    <a:pt x="3523" y="49"/>
                  </a:cubicBezTo>
                  <a:cubicBezTo>
                    <a:pt x="3522" y="50"/>
                    <a:pt x="3522" y="51"/>
                    <a:pt x="3522" y="52"/>
                  </a:cubicBezTo>
                  <a:cubicBezTo>
                    <a:pt x="3520" y="60"/>
                    <a:pt x="3520" y="60"/>
                    <a:pt x="3520" y="60"/>
                  </a:cubicBezTo>
                  <a:cubicBezTo>
                    <a:pt x="3526" y="60"/>
                    <a:pt x="3526" y="60"/>
                    <a:pt x="3526" y="60"/>
                  </a:cubicBezTo>
                  <a:cubicBezTo>
                    <a:pt x="3526" y="60"/>
                    <a:pt x="3526" y="60"/>
                    <a:pt x="3526" y="60"/>
                  </a:cubicBezTo>
                  <a:cubicBezTo>
                    <a:pt x="3528" y="61"/>
                    <a:pt x="3530" y="62"/>
                    <a:pt x="3532" y="64"/>
                  </a:cubicBezTo>
                  <a:cubicBezTo>
                    <a:pt x="3537" y="67"/>
                    <a:pt x="3544" y="72"/>
                    <a:pt x="3553" y="78"/>
                  </a:cubicBezTo>
                  <a:cubicBezTo>
                    <a:pt x="3572" y="91"/>
                    <a:pt x="3598" y="108"/>
                    <a:pt x="3629" y="130"/>
                  </a:cubicBezTo>
                  <a:cubicBezTo>
                    <a:pt x="3692" y="172"/>
                    <a:pt x="3776" y="228"/>
                    <a:pt x="3861" y="285"/>
                  </a:cubicBezTo>
                  <a:cubicBezTo>
                    <a:pt x="4029" y="398"/>
                    <a:pt x="4202" y="514"/>
                    <a:pt x="4220" y="528"/>
                  </a:cubicBezTo>
                  <a:cubicBezTo>
                    <a:pt x="4221" y="531"/>
                    <a:pt x="4224" y="531"/>
                    <a:pt x="4226" y="531"/>
                  </a:cubicBezTo>
                  <a:cubicBezTo>
                    <a:pt x="4226" y="531"/>
                    <a:pt x="4230" y="532"/>
                    <a:pt x="4232" y="528"/>
                  </a:cubicBezTo>
                  <a:cubicBezTo>
                    <a:pt x="4232" y="528"/>
                    <a:pt x="4232" y="528"/>
                    <a:pt x="4232" y="527"/>
                  </a:cubicBezTo>
                  <a:cubicBezTo>
                    <a:pt x="4233" y="527"/>
                    <a:pt x="4235" y="525"/>
                    <a:pt x="4237" y="523"/>
                  </a:cubicBezTo>
                  <a:cubicBezTo>
                    <a:pt x="4242" y="520"/>
                    <a:pt x="4249" y="515"/>
                    <a:pt x="4258" y="509"/>
                  </a:cubicBezTo>
                  <a:cubicBezTo>
                    <a:pt x="4275" y="498"/>
                    <a:pt x="4298" y="483"/>
                    <a:pt x="4320" y="468"/>
                  </a:cubicBezTo>
                  <a:cubicBezTo>
                    <a:pt x="4350" y="449"/>
                    <a:pt x="4380" y="430"/>
                    <a:pt x="4397" y="419"/>
                  </a:cubicBezTo>
                  <a:cubicBezTo>
                    <a:pt x="4566" y="734"/>
                    <a:pt x="4566" y="734"/>
                    <a:pt x="4566" y="734"/>
                  </a:cubicBezTo>
                  <a:cubicBezTo>
                    <a:pt x="4206" y="1801"/>
                    <a:pt x="4206" y="1801"/>
                    <a:pt x="4206" y="1801"/>
                  </a:cubicBezTo>
                  <a:cubicBezTo>
                    <a:pt x="4188" y="1802"/>
                    <a:pt x="4167" y="1803"/>
                    <a:pt x="4144" y="1803"/>
                  </a:cubicBezTo>
                  <a:cubicBezTo>
                    <a:pt x="4113" y="1803"/>
                    <a:pt x="4080" y="1801"/>
                    <a:pt x="4053" y="1798"/>
                  </a:cubicBezTo>
                  <a:cubicBezTo>
                    <a:pt x="4025" y="1794"/>
                    <a:pt x="4003" y="1787"/>
                    <a:pt x="3997" y="1784"/>
                  </a:cubicBezTo>
                  <a:cubicBezTo>
                    <a:pt x="3989" y="1781"/>
                    <a:pt x="3959" y="1752"/>
                    <a:pt x="3932" y="1715"/>
                  </a:cubicBezTo>
                  <a:cubicBezTo>
                    <a:pt x="3905" y="1677"/>
                    <a:pt x="3878" y="1631"/>
                    <a:pt x="3855" y="1592"/>
                  </a:cubicBezTo>
                  <a:cubicBezTo>
                    <a:pt x="3848" y="1579"/>
                    <a:pt x="3826" y="1534"/>
                    <a:pt x="3802" y="1479"/>
                  </a:cubicBezTo>
                  <a:cubicBezTo>
                    <a:pt x="3783" y="1433"/>
                    <a:pt x="3760" y="1379"/>
                    <a:pt x="3737" y="1324"/>
                  </a:cubicBezTo>
                  <a:cubicBezTo>
                    <a:pt x="3739" y="1289"/>
                    <a:pt x="3749" y="1110"/>
                    <a:pt x="3755" y="1038"/>
                  </a:cubicBezTo>
                  <a:cubicBezTo>
                    <a:pt x="3756" y="1026"/>
                    <a:pt x="3756" y="1014"/>
                    <a:pt x="3756" y="1000"/>
                  </a:cubicBezTo>
                  <a:cubicBezTo>
                    <a:pt x="3756" y="945"/>
                    <a:pt x="3750" y="864"/>
                    <a:pt x="3733" y="777"/>
                  </a:cubicBezTo>
                  <a:cubicBezTo>
                    <a:pt x="3716" y="691"/>
                    <a:pt x="3690" y="600"/>
                    <a:pt x="3641" y="525"/>
                  </a:cubicBezTo>
                  <a:cubicBezTo>
                    <a:pt x="3607" y="475"/>
                    <a:pt x="3554" y="432"/>
                    <a:pt x="3490" y="384"/>
                  </a:cubicBezTo>
                  <a:cubicBezTo>
                    <a:pt x="3426" y="337"/>
                    <a:pt x="3351" y="289"/>
                    <a:pt x="3280" y="244"/>
                  </a:cubicBezTo>
                  <a:cubicBezTo>
                    <a:pt x="3150" y="164"/>
                    <a:pt x="3030" y="99"/>
                    <a:pt x="3009" y="88"/>
                  </a:cubicBezTo>
                  <a:cubicBezTo>
                    <a:pt x="3009" y="86"/>
                    <a:pt x="3009" y="85"/>
                    <a:pt x="3009" y="83"/>
                  </a:cubicBezTo>
                  <a:cubicBezTo>
                    <a:pt x="3009" y="55"/>
                    <a:pt x="3005" y="27"/>
                    <a:pt x="2999" y="0"/>
                  </a:cubicBezTo>
                  <a:cubicBezTo>
                    <a:pt x="2834" y="0"/>
                    <a:pt x="2834" y="0"/>
                    <a:pt x="2834" y="0"/>
                  </a:cubicBezTo>
                  <a:cubicBezTo>
                    <a:pt x="2845" y="26"/>
                    <a:pt x="2851" y="54"/>
                    <a:pt x="2851" y="83"/>
                  </a:cubicBezTo>
                  <a:cubicBezTo>
                    <a:pt x="2851" y="198"/>
                    <a:pt x="2758" y="291"/>
                    <a:pt x="2644" y="291"/>
                  </a:cubicBezTo>
                  <a:cubicBezTo>
                    <a:pt x="2529" y="291"/>
                    <a:pt x="2436" y="198"/>
                    <a:pt x="2436" y="83"/>
                  </a:cubicBezTo>
                  <a:cubicBezTo>
                    <a:pt x="2436" y="54"/>
                    <a:pt x="2442" y="26"/>
                    <a:pt x="2454" y="0"/>
                  </a:cubicBezTo>
                  <a:cubicBezTo>
                    <a:pt x="2289" y="0"/>
                    <a:pt x="2289" y="0"/>
                    <a:pt x="2289" y="0"/>
                  </a:cubicBezTo>
                  <a:cubicBezTo>
                    <a:pt x="2283" y="27"/>
                    <a:pt x="2278" y="55"/>
                    <a:pt x="2278" y="83"/>
                  </a:cubicBezTo>
                  <a:cubicBezTo>
                    <a:pt x="2278" y="95"/>
                    <a:pt x="2279" y="106"/>
                    <a:pt x="2280" y="118"/>
                  </a:cubicBezTo>
                  <a:cubicBezTo>
                    <a:pt x="2227" y="110"/>
                    <a:pt x="2153" y="98"/>
                    <a:pt x="2073" y="86"/>
                  </a:cubicBezTo>
                  <a:cubicBezTo>
                    <a:pt x="1919" y="61"/>
                    <a:pt x="1741" y="31"/>
                    <a:pt x="1656" y="11"/>
                  </a:cubicBezTo>
                  <a:cubicBezTo>
                    <a:pt x="1643" y="8"/>
                    <a:pt x="1631" y="4"/>
                    <a:pt x="1619" y="0"/>
                  </a:cubicBezTo>
                  <a:cubicBezTo>
                    <a:pt x="1258" y="0"/>
                    <a:pt x="1258" y="0"/>
                    <a:pt x="1258" y="0"/>
                  </a:cubicBezTo>
                  <a:cubicBezTo>
                    <a:pt x="1369" y="66"/>
                    <a:pt x="1477" y="125"/>
                    <a:pt x="1621" y="159"/>
                  </a:cubicBezTo>
                  <a:cubicBezTo>
                    <a:pt x="1717" y="181"/>
                    <a:pt x="1893" y="211"/>
                    <a:pt x="2049" y="236"/>
                  </a:cubicBezTo>
                  <a:cubicBezTo>
                    <a:pt x="2170" y="255"/>
                    <a:pt x="2290" y="274"/>
                    <a:pt x="2337" y="281"/>
                  </a:cubicBezTo>
                  <a:cubicBezTo>
                    <a:pt x="2351" y="304"/>
                    <a:pt x="2368" y="325"/>
                    <a:pt x="2387" y="343"/>
                  </a:cubicBezTo>
                  <a:cubicBezTo>
                    <a:pt x="2367" y="370"/>
                    <a:pt x="2325" y="424"/>
                    <a:pt x="2274" y="490"/>
                  </a:cubicBezTo>
                  <a:cubicBezTo>
                    <a:pt x="2200" y="584"/>
                    <a:pt x="2108" y="701"/>
                    <a:pt x="2031" y="788"/>
                  </a:cubicBezTo>
                  <a:cubicBezTo>
                    <a:pt x="1982" y="846"/>
                    <a:pt x="1935" y="894"/>
                    <a:pt x="1919" y="906"/>
                  </a:cubicBezTo>
                  <a:cubicBezTo>
                    <a:pt x="1912" y="911"/>
                    <a:pt x="1891" y="923"/>
                    <a:pt x="1864" y="937"/>
                  </a:cubicBezTo>
                  <a:cubicBezTo>
                    <a:pt x="1836" y="952"/>
                    <a:pt x="1801" y="968"/>
                    <a:pt x="1760" y="987"/>
                  </a:cubicBezTo>
                  <a:cubicBezTo>
                    <a:pt x="1679" y="1023"/>
                    <a:pt x="1577" y="1066"/>
                    <a:pt x="1472" y="1109"/>
                  </a:cubicBezTo>
                  <a:cubicBezTo>
                    <a:pt x="1261" y="1195"/>
                    <a:pt x="1034" y="1282"/>
                    <a:pt x="917" y="1329"/>
                  </a:cubicBezTo>
                  <a:cubicBezTo>
                    <a:pt x="680" y="1422"/>
                    <a:pt x="342" y="1579"/>
                    <a:pt x="340" y="1580"/>
                  </a:cubicBezTo>
                  <a:cubicBezTo>
                    <a:pt x="340" y="1580"/>
                    <a:pt x="204" y="1645"/>
                    <a:pt x="0" y="1743"/>
                  </a:cubicBezTo>
                  <a:cubicBezTo>
                    <a:pt x="0" y="1913"/>
                    <a:pt x="0" y="1913"/>
                    <a:pt x="0" y="1913"/>
                  </a:cubicBezTo>
                  <a:cubicBezTo>
                    <a:pt x="24" y="1901"/>
                    <a:pt x="47" y="1890"/>
                    <a:pt x="69" y="1880"/>
                  </a:cubicBezTo>
                  <a:cubicBezTo>
                    <a:pt x="271" y="1782"/>
                    <a:pt x="405" y="1718"/>
                    <a:pt x="405" y="1718"/>
                  </a:cubicBezTo>
                  <a:cubicBezTo>
                    <a:pt x="406" y="1718"/>
                    <a:pt x="441" y="1701"/>
                    <a:pt x="496" y="1676"/>
                  </a:cubicBezTo>
                  <a:cubicBezTo>
                    <a:pt x="513" y="1711"/>
                    <a:pt x="542" y="1775"/>
                    <a:pt x="579" y="1857"/>
                  </a:cubicBezTo>
                  <a:cubicBezTo>
                    <a:pt x="637" y="1984"/>
                    <a:pt x="715" y="2155"/>
                    <a:pt x="793" y="2329"/>
                  </a:cubicBezTo>
                  <a:cubicBezTo>
                    <a:pt x="951" y="2675"/>
                    <a:pt x="1113" y="3033"/>
                    <a:pt x="1128" y="3071"/>
                  </a:cubicBezTo>
                  <a:cubicBezTo>
                    <a:pt x="1142" y="3105"/>
                    <a:pt x="1187" y="3265"/>
                    <a:pt x="1231" y="3438"/>
                  </a:cubicBezTo>
                  <a:cubicBezTo>
                    <a:pt x="1244" y="3491"/>
                    <a:pt x="1257" y="3546"/>
                    <a:pt x="1270" y="3600"/>
                  </a:cubicBezTo>
                  <a:cubicBezTo>
                    <a:pt x="1337" y="3600"/>
                    <a:pt x="1337" y="3600"/>
                    <a:pt x="1337" y="3600"/>
                  </a:cubicBezTo>
                  <a:cubicBezTo>
                    <a:pt x="1324" y="3541"/>
                    <a:pt x="1309" y="3481"/>
                    <a:pt x="1294" y="3422"/>
                  </a:cubicBezTo>
                  <a:cubicBezTo>
                    <a:pt x="1250" y="3246"/>
                    <a:pt x="1206" y="3091"/>
                    <a:pt x="1189" y="3046"/>
                  </a:cubicBezTo>
                  <a:cubicBezTo>
                    <a:pt x="1172" y="3004"/>
                    <a:pt x="1011" y="2649"/>
                    <a:pt x="853" y="2301"/>
                  </a:cubicBezTo>
                  <a:cubicBezTo>
                    <a:pt x="831" y="2252"/>
                    <a:pt x="809" y="2204"/>
                    <a:pt x="787" y="2156"/>
                  </a:cubicBezTo>
                  <a:cubicBezTo>
                    <a:pt x="2314" y="1770"/>
                    <a:pt x="2314" y="1770"/>
                    <a:pt x="2314" y="1770"/>
                  </a:cubicBezTo>
                  <a:cubicBezTo>
                    <a:pt x="2322" y="1811"/>
                    <a:pt x="2331" y="1847"/>
                    <a:pt x="2342" y="1872"/>
                  </a:cubicBezTo>
                  <a:cubicBezTo>
                    <a:pt x="2373" y="1937"/>
                    <a:pt x="2446" y="1969"/>
                    <a:pt x="2530" y="1969"/>
                  </a:cubicBezTo>
                  <a:cubicBezTo>
                    <a:pt x="2530" y="1969"/>
                    <a:pt x="2531" y="1969"/>
                    <a:pt x="2531" y="1969"/>
                  </a:cubicBezTo>
                  <a:cubicBezTo>
                    <a:pt x="2537" y="1969"/>
                    <a:pt x="2542" y="1968"/>
                    <a:pt x="2548" y="1968"/>
                  </a:cubicBezTo>
                  <a:cubicBezTo>
                    <a:pt x="2586" y="1966"/>
                    <a:pt x="2648" y="1965"/>
                    <a:pt x="2715" y="1962"/>
                  </a:cubicBezTo>
                  <a:cubicBezTo>
                    <a:pt x="2820" y="2460"/>
                    <a:pt x="2820" y="2460"/>
                    <a:pt x="2820" y="2460"/>
                  </a:cubicBezTo>
                  <a:cubicBezTo>
                    <a:pt x="2820" y="2461"/>
                    <a:pt x="2820" y="2461"/>
                    <a:pt x="2820" y="2462"/>
                  </a:cubicBezTo>
                  <a:cubicBezTo>
                    <a:pt x="2820" y="2468"/>
                    <a:pt x="2821" y="2473"/>
                    <a:pt x="2824" y="2477"/>
                  </a:cubicBezTo>
                  <a:cubicBezTo>
                    <a:pt x="3044" y="3519"/>
                    <a:pt x="3044" y="3519"/>
                    <a:pt x="3044" y="3519"/>
                  </a:cubicBezTo>
                  <a:cubicBezTo>
                    <a:pt x="1522" y="3600"/>
                    <a:pt x="1522" y="3600"/>
                    <a:pt x="1522" y="3600"/>
                  </a:cubicBezTo>
                  <a:cubicBezTo>
                    <a:pt x="2367" y="3600"/>
                    <a:pt x="2367" y="3600"/>
                    <a:pt x="2367" y="3600"/>
                  </a:cubicBezTo>
                  <a:cubicBezTo>
                    <a:pt x="3053" y="3564"/>
                    <a:pt x="3053" y="3564"/>
                    <a:pt x="3053" y="3564"/>
                  </a:cubicBezTo>
                  <a:cubicBezTo>
                    <a:pt x="3061" y="3600"/>
                    <a:pt x="3061" y="3600"/>
                    <a:pt x="3061" y="3600"/>
                  </a:cubicBezTo>
                  <a:cubicBezTo>
                    <a:pt x="3128" y="3600"/>
                    <a:pt x="3128" y="3600"/>
                    <a:pt x="3128" y="3600"/>
                  </a:cubicBezTo>
                  <a:cubicBezTo>
                    <a:pt x="3123" y="3577"/>
                    <a:pt x="3123" y="3577"/>
                    <a:pt x="3123" y="3577"/>
                  </a:cubicBezTo>
                  <a:cubicBezTo>
                    <a:pt x="3170" y="3578"/>
                    <a:pt x="3256" y="3579"/>
                    <a:pt x="3343" y="3580"/>
                  </a:cubicBezTo>
                  <a:cubicBezTo>
                    <a:pt x="3472" y="3581"/>
                    <a:pt x="3605" y="3583"/>
                    <a:pt x="3616" y="3585"/>
                  </a:cubicBezTo>
                  <a:cubicBezTo>
                    <a:pt x="3620" y="3586"/>
                    <a:pt x="3644" y="3592"/>
                    <a:pt x="3676" y="3600"/>
                  </a:cubicBezTo>
                  <a:cubicBezTo>
                    <a:pt x="3734" y="3600"/>
                    <a:pt x="3734" y="3600"/>
                    <a:pt x="3734" y="3600"/>
                  </a:cubicBezTo>
                  <a:cubicBezTo>
                    <a:pt x="3673" y="3585"/>
                    <a:pt x="3622" y="3572"/>
                    <a:pt x="3620" y="3571"/>
                  </a:cubicBezTo>
                  <a:cubicBezTo>
                    <a:pt x="3615" y="3570"/>
                    <a:pt x="3608" y="3570"/>
                    <a:pt x="3593" y="3570"/>
                  </a:cubicBezTo>
                  <a:cubicBezTo>
                    <a:pt x="3577" y="3569"/>
                    <a:pt x="3556" y="3569"/>
                    <a:pt x="3531" y="3569"/>
                  </a:cubicBezTo>
                  <a:cubicBezTo>
                    <a:pt x="3481" y="3568"/>
                    <a:pt x="3415" y="3567"/>
                    <a:pt x="3349" y="3566"/>
                  </a:cubicBezTo>
                  <a:cubicBezTo>
                    <a:pt x="3258" y="3565"/>
                    <a:pt x="3167" y="3564"/>
                    <a:pt x="3120" y="3563"/>
                  </a:cubicBezTo>
                  <a:cubicBezTo>
                    <a:pt x="3080" y="3374"/>
                    <a:pt x="3080" y="3374"/>
                    <a:pt x="3080" y="3374"/>
                  </a:cubicBezTo>
                  <a:cubicBezTo>
                    <a:pt x="3581" y="3366"/>
                    <a:pt x="3581" y="3366"/>
                    <a:pt x="3581" y="3366"/>
                  </a:cubicBezTo>
                  <a:cubicBezTo>
                    <a:pt x="3604" y="3376"/>
                    <a:pt x="3929" y="3505"/>
                    <a:pt x="3969" y="3520"/>
                  </a:cubicBezTo>
                  <a:cubicBezTo>
                    <a:pt x="3969" y="3539"/>
                    <a:pt x="3969" y="3552"/>
                    <a:pt x="3969" y="3555"/>
                  </a:cubicBezTo>
                  <a:cubicBezTo>
                    <a:pt x="3958" y="3600"/>
                    <a:pt x="3958" y="3600"/>
                    <a:pt x="3958" y="3600"/>
                  </a:cubicBezTo>
                  <a:cubicBezTo>
                    <a:pt x="3972" y="3600"/>
                    <a:pt x="3972" y="3600"/>
                    <a:pt x="3972" y="3600"/>
                  </a:cubicBezTo>
                  <a:cubicBezTo>
                    <a:pt x="3982" y="3557"/>
                    <a:pt x="3982" y="3557"/>
                    <a:pt x="3982" y="3557"/>
                  </a:cubicBezTo>
                  <a:cubicBezTo>
                    <a:pt x="3982" y="3556"/>
                    <a:pt x="3982" y="3556"/>
                    <a:pt x="3982" y="3556"/>
                  </a:cubicBezTo>
                  <a:cubicBezTo>
                    <a:pt x="3982" y="3556"/>
                    <a:pt x="3983" y="3544"/>
                    <a:pt x="3983" y="3523"/>
                  </a:cubicBezTo>
                  <a:cubicBezTo>
                    <a:pt x="4018" y="3529"/>
                    <a:pt x="4146" y="3546"/>
                    <a:pt x="4274" y="3563"/>
                  </a:cubicBezTo>
                  <a:cubicBezTo>
                    <a:pt x="4394" y="3578"/>
                    <a:pt x="4514" y="3594"/>
                    <a:pt x="4554" y="3599"/>
                  </a:cubicBezTo>
                  <a:cubicBezTo>
                    <a:pt x="4554" y="3600"/>
                    <a:pt x="4554" y="3600"/>
                    <a:pt x="4554" y="3600"/>
                  </a:cubicBezTo>
                  <a:cubicBezTo>
                    <a:pt x="4707" y="3600"/>
                    <a:pt x="4707" y="3600"/>
                    <a:pt x="4707" y="3600"/>
                  </a:cubicBezTo>
                  <a:cubicBezTo>
                    <a:pt x="4923" y="1907"/>
                    <a:pt x="4923" y="1907"/>
                    <a:pt x="4923" y="1907"/>
                  </a:cubicBezTo>
                  <a:cubicBezTo>
                    <a:pt x="4987" y="1895"/>
                    <a:pt x="4987" y="1895"/>
                    <a:pt x="4987" y="1895"/>
                  </a:cubicBezTo>
                  <a:cubicBezTo>
                    <a:pt x="4976" y="1986"/>
                    <a:pt x="4955" y="2149"/>
                    <a:pt x="4928" y="2362"/>
                  </a:cubicBezTo>
                  <a:cubicBezTo>
                    <a:pt x="4887" y="2688"/>
                    <a:pt x="4831" y="3129"/>
                    <a:pt x="4771" y="3600"/>
                  </a:cubicBezTo>
                  <a:cubicBezTo>
                    <a:pt x="4925" y="3600"/>
                    <a:pt x="4925" y="3600"/>
                    <a:pt x="4925" y="3600"/>
                  </a:cubicBezTo>
                  <a:cubicBezTo>
                    <a:pt x="4932" y="3547"/>
                    <a:pt x="4938" y="3495"/>
                    <a:pt x="4945" y="3443"/>
                  </a:cubicBezTo>
                  <a:cubicBezTo>
                    <a:pt x="5515" y="3527"/>
                    <a:pt x="5515" y="3527"/>
                    <a:pt x="5515" y="3527"/>
                  </a:cubicBezTo>
                  <a:cubicBezTo>
                    <a:pt x="5507" y="3600"/>
                    <a:pt x="5507" y="3600"/>
                    <a:pt x="5507" y="3600"/>
                  </a:cubicBezTo>
                  <a:cubicBezTo>
                    <a:pt x="5573" y="3600"/>
                    <a:pt x="5573" y="3600"/>
                    <a:pt x="5573" y="3600"/>
                  </a:cubicBezTo>
                  <a:cubicBezTo>
                    <a:pt x="5575" y="3579"/>
                    <a:pt x="5575" y="3579"/>
                    <a:pt x="5575" y="3579"/>
                  </a:cubicBezTo>
                  <a:cubicBezTo>
                    <a:pt x="5579" y="3580"/>
                    <a:pt x="5582" y="3580"/>
                    <a:pt x="5586" y="3581"/>
                  </a:cubicBezTo>
                  <a:cubicBezTo>
                    <a:pt x="5607" y="3584"/>
                    <a:pt x="5636" y="3589"/>
                    <a:pt x="5670" y="3594"/>
                  </a:cubicBezTo>
                  <a:cubicBezTo>
                    <a:pt x="5684" y="3596"/>
                    <a:pt x="5700" y="3598"/>
                    <a:pt x="5715" y="3600"/>
                  </a:cubicBezTo>
                  <a:cubicBezTo>
                    <a:pt x="6043" y="3600"/>
                    <a:pt x="6043" y="3600"/>
                    <a:pt x="6043" y="3600"/>
                  </a:cubicBezTo>
                  <a:cubicBezTo>
                    <a:pt x="5925" y="3584"/>
                    <a:pt x="5786" y="3565"/>
                    <a:pt x="5686" y="3551"/>
                  </a:cubicBezTo>
                  <a:cubicBezTo>
                    <a:pt x="5640" y="3544"/>
                    <a:pt x="5602" y="3538"/>
                    <a:pt x="5580" y="3534"/>
                  </a:cubicBezTo>
                  <a:cubicBezTo>
                    <a:pt x="5733" y="2024"/>
                    <a:pt x="5733" y="2024"/>
                    <a:pt x="5733" y="2024"/>
                  </a:cubicBezTo>
                  <a:cubicBezTo>
                    <a:pt x="5860" y="2028"/>
                    <a:pt x="6366" y="2046"/>
                    <a:pt x="6830" y="2063"/>
                  </a:cubicBezTo>
                  <a:cubicBezTo>
                    <a:pt x="6291" y="3600"/>
                    <a:pt x="6291" y="3600"/>
                    <a:pt x="6291" y="3600"/>
                  </a:cubicBezTo>
                  <a:cubicBezTo>
                    <a:pt x="6339" y="3600"/>
                    <a:pt x="6339" y="3600"/>
                    <a:pt x="6339" y="3600"/>
                  </a:cubicBezTo>
                  <a:cubicBezTo>
                    <a:pt x="6878" y="2065"/>
                    <a:pt x="6878" y="2065"/>
                    <a:pt x="6878" y="2065"/>
                  </a:cubicBezTo>
                  <a:cubicBezTo>
                    <a:pt x="7276" y="2079"/>
                    <a:pt x="7632" y="2092"/>
                    <a:pt x="7672" y="2093"/>
                  </a:cubicBezTo>
                  <a:cubicBezTo>
                    <a:pt x="7672" y="2093"/>
                    <a:pt x="7673" y="2093"/>
                    <a:pt x="7673" y="2093"/>
                  </a:cubicBezTo>
                  <a:cubicBezTo>
                    <a:pt x="7674" y="2093"/>
                    <a:pt x="7675" y="2093"/>
                    <a:pt x="7675" y="2093"/>
                  </a:cubicBezTo>
                  <a:cubicBezTo>
                    <a:pt x="7676" y="2094"/>
                    <a:pt x="7678" y="2094"/>
                    <a:pt x="7679" y="2094"/>
                  </a:cubicBezTo>
                  <a:cubicBezTo>
                    <a:pt x="7683" y="2094"/>
                    <a:pt x="7687" y="2094"/>
                    <a:pt x="7693" y="2094"/>
                  </a:cubicBezTo>
                  <a:cubicBezTo>
                    <a:pt x="7698" y="2094"/>
                    <a:pt x="7704" y="2095"/>
                    <a:pt x="7710" y="2095"/>
                  </a:cubicBezTo>
                  <a:cubicBezTo>
                    <a:pt x="7412" y="3445"/>
                    <a:pt x="7412" y="3445"/>
                    <a:pt x="7412" y="3445"/>
                  </a:cubicBezTo>
                  <a:cubicBezTo>
                    <a:pt x="7411" y="3447"/>
                    <a:pt x="7408" y="3460"/>
                    <a:pt x="7408" y="3479"/>
                  </a:cubicBezTo>
                  <a:cubicBezTo>
                    <a:pt x="7408" y="3508"/>
                    <a:pt x="7416" y="3555"/>
                    <a:pt x="7451" y="3600"/>
                  </a:cubicBezTo>
                  <a:cubicBezTo>
                    <a:pt x="7546" y="3600"/>
                    <a:pt x="7546" y="3600"/>
                    <a:pt x="7546" y="3600"/>
                  </a:cubicBezTo>
                  <a:cubicBezTo>
                    <a:pt x="7532" y="3591"/>
                    <a:pt x="7521" y="3581"/>
                    <a:pt x="7512" y="3571"/>
                  </a:cubicBezTo>
                  <a:cubicBezTo>
                    <a:pt x="7479" y="3535"/>
                    <a:pt x="7474" y="3500"/>
                    <a:pt x="7474" y="3479"/>
                  </a:cubicBezTo>
                  <a:cubicBezTo>
                    <a:pt x="7474" y="3470"/>
                    <a:pt x="7475" y="3463"/>
                    <a:pt x="7475" y="3462"/>
                  </a:cubicBezTo>
                  <a:cubicBezTo>
                    <a:pt x="7475" y="3462"/>
                    <a:pt x="7475" y="3461"/>
                    <a:pt x="7476" y="3460"/>
                  </a:cubicBezTo>
                  <a:cubicBezTo>
                    <a:pt x="7776" y="2099"/>
                    <a:pt x="7776" y="2099"/>
                    <a:pt x="7776" y="2099"/>
                  </a:cubicBezTo>
                  <a:cubicBezTo>
                    <a:pt x="7806" y="2101"/>
                    <a:pt x="7837" y="2104"/>
                    <a:pt x="7864" y="2108"/>
                  </a:cubicBezTo>
                  <a:cubicBezTo>
                    <a:pt x="7929" y="2117"/>
                    <a:pt x="9328" y="2325"/>
                    <a:pt x="10022" y="2429"/>
                  </a:cubicBezTo>
                  <a:cubicBezTo>
                    <a:pt x="10254" y="2463"/>
                    <a:pt x="10407" y="2486"/>
                    <a:pt x="10407" y="2486"/>
                  </a:cubicBezTo>
                  <a:cubicBezTo>
                    <a:pt x="10408" y="2486"/>
                    <a:pt x="10408" y="2486"/>
                    <a:pt x="10408" y="2486"/>
                  </a:cubicBezTo>
                  <a:cubicBezTo>
                    <a:pt x="10410" y="2486"/>
                    <a:pt x="10410" y="2486"/>
                    <a:pt x="10410" y="2486"/>
                  </a:cubicBezTo>
                  <a:cubicBezTo>
                    <a:pt x="10410" y="2486"/>
                    <a:pt x="10411" y="2486"/>
                    <a:pt x="10416" y="2487"/>
                  </a:cubicBezTo>
                  <a:cubicBezTo>
                    <a:pt x="10420" y="2488"/>
                    <a:pt x="10426" y="2488"/>
                    <a:pt x="10435" y="2490"/>
                  </a:cubicBezTo>
                  <a:cubicBezTo>
                    <a:pt x="10451" y="2492"/>
                    <a:pt x="10476" y="2497"/>
                    <a:pt x="10504" y="2503"/>
                  </a:cubicBezTo>
                  <a:cubicBezTo>
                    <a:pt x="10562" y="2516"/>
                    <a:pt x="10638" y="2537"/>
                    <a:pt x="10709" y="2569"/>
                  </a:cubicBezTo>
                  <a:cubicBezTo>
                    <a:pt x="10782" y="2602"/>
                    <a:pt x="10965" y="2699"/>
                    <a:pt x="11144" y="2799"/>
                  </a:cubicBezTo>
                  <a:cubicBezTo>
                    <a:pt x="11323" y="2899"/>
                    <a:pt x="11503" y="3002"/>
                    <a:pt x="11575" y="3047"/>
                  </a:cubicBezTo>
                  <a:cubicBezTo>
                    <a:pt x="12437" y="3600"/>
                    <a:pt x="12437" y="3600"/>
                    <a:pt x="12437" y="3600"/>
                  </a:cubicBezTo>
                  <a:cubicBezTo>
                    <a:pt x="12714" y="3600"/>
                    <a:pt x="12714" y="3600"/>
                    <a:pt x="12714" y="3600"/>
                  </a:cubicBezTo>
                  <a:cubicBezTo>
                    <a:pt x="12695" y="3587"/>
                    <a:pt x="12695" y="3587"/>
                    <a:pt x="12695" y="3587"/>
                  </a:cubicBezTo>
                  <a:cubicBezTo>
                    <a:pt x="12956" y="3043"/>
                    <a:pt x="13187" y="2549"/>
                    <a:pt x="13248" y="2418"/>
                  </a:cubicBezTo>
                  <a:cubicBezTo>
                    <a:pt x="13253" y="2421"/>
                    <a:pt x="13258" y="2424"/>
                    <a:pt x="13262" y="2427"/>
                  </a:cubicBezTo>
                  <a:cubicBezTo>
                    <a:pt x="13322" y="2464"/>
                    <a:pt x="13393" y="2523"/>
                    <a:pt x="13442" y="2609"/>
                  </a:cubicBezTo>
                  <a:cubicBezTo>
                    <a:pt x="13495" y="2701"/>
                    <a:pt x="13534" y="2766"/>
                    <a:pt x="13588" y="2822"/>
                  </a:cubicBezTo>
                  <a:cubicBezTo>
                    <a:pt x="13643" y="2878"/>
                    <a:pt x="13710" y="2921"/>
                    <a:pt x="13816" y="2969"/>
                  </a:cubicBezTo>
                  <a:cubicBezTo>
                    <a:pt x="14023" y="3062"/>
                    <a:pt x="15214" y="3563"/>
                    <a:pt x="15269" y="3585"/>
                  </a:cubicBezTo>
                  <a:cubicBezTo>
                    <a:pt x="15269" y="3585"/>
                    <a:pt x="15270" y="3586"/>
                    <a:pt x="15271" y="3587"/>
                  </a:cubicBezTo>
                  <a:cubicBezTo>
                    <a:pt x="15274" y="3588"/>
                    <a:pt x="15277" y="3591"/>
                    <a:pt x="15282" y="3594"/>
                  </a:cubicBezTo>
                  <a:cubicBezTo>
                    <a:pt x="15285" y="3596"/>
                    <a:pt x="15288" y="3598"/>
                    <a:pt x="15291" y="3600"/>
                  </a:cubicBezTo>
                  <a:cubicBezTo>
                    <a:pt x="15404" y="3600"/>
                    <a:pt x="15404" y="3600"/>
                    <a:pt x="15404" y="3600"/>
                  </a:cubicBezTo>
                  <a:cubicBezTo>
                    <a:pt x="15360" y="3568"/>
                    <a:pt x="15325" y="3543"/>
                    <a:pt x="15308" y="3532"/>
                  </a:cubicBezTo>
                  <a:cubicBezTo>
                    <a:pt x="15303" y="3529"/>
                    <a:pt x="15301" y="3528"/>
                    <a:pt x="15295" y="3525"/>
                  </a:cubicBezTo>
                  <a:cubicBezTo>
                    <a:pt x="15276" y="3517"/>
                    <a:pt x="14050" y="3002"/>
                    <a:pt x="13843" y="2909"/>
                  </a:cubicBezTo>
                  <a:cubicBezTo>
                    <a:pt x="13741" y="2863"/>
                    <a:pt x="13682" y="2825"/>
                    <a:pt x="13635" y="2777"/>
                  </a:cubicBezTo>
                  <a:cubicBezTo>
                    <a:pt x="13589" y="2729"/>
                    <a:pt x="13552" y="2668"/>
                    <a:pt x="13499" y="2576"/>
                  </a:cubicBezTo>
                  <a:cubicBezTo>
                    <a:pt x="13435" y="2466"/>
                    <a:pt x="13343" y="2397"/>
                    <a:pt x="13274" y="2357"/>
                  </a:cubicBezTo>
                  <a:cubicBezTo>
                    <a:pt x="13974" y="345"/>
                    <a:pt x="13974" y="345"/>
                    <a:pt x="13974" y="345"/>
                  </a:cubicBezTo>
                  <a:cubicBezTo>
                    <a:pt x="14410" y="392"/>
                    <a:pt x="14410" y="392"/>
                    <a:pt x="14410" y="392"/>
                  </a:cubicBezTo>
                  <a:cubicBezTo>
                    <a:pt x="14410" y="392"/>
                    <a:pt x="14411" y="393"/>
                    <a:pt x="14412" y="393"/>
                  </a:cubicBezTo>
                  <a:cubicBezTo>
                    <a:pt x="14416" y="396"/>
                    <a:pt x="14423" y="399"/>
                    <a:pt x="14431" y="403"/>
                  </a:cubicBezTo>
                  <a:cubicBezTo>
                    <a:pt x="14447" y="411"/>
                    <a:pt x="14471" y="423"/>
                    <a:pt x="14501" y="438"/>
                  </a:cubicBezTo>
                  <a:cubicBezTo>
                    <a:pt x="14561" y="468"/>
                    <a:pt x="14647" y="510"/>
                    <a:pt x="14750" y="561"/>
                  </a:cubicBezTo>
                  <a:cubicBezTo>
                    <a:pt x="14956" y="664"/>
                    <a:pt x="15229" y="801"/>
                    <a:pt x="15501" y="946"/>
                  </a:cubicBezTo>
                  <a:cubicBezTo>
                    <a:pt x="15740" y="1073"/>
                    <a:pt x="15978" y="1215"/>
                    <a:pt x="16168" y="1327"/>
                  </a:cubicBezTo>
                  <a:cubicBezTo>
                    <a:pt x="16635" y="1603"/>
                    <a:pt x="17015" y="1978"/>
                    <a:pt x="17175" y="2148"/>
                  </a:cubicBezTo>
                  <a:cubicBezTo>
                    <a:pt x="17228" y="2205"/>
                    <a:pt x="17257" y="2238"/>
                    <a:pt x="17257" y="2238"/>
                  </a:cubicBezTo>
                  <a:cubicBezTo>
                    <a:pt x="17258" y="2239"/>
                    <a:pt x="17258" y="2239"/>
                    <a:pt x="17258" y="2239"/>
                  </a:cubicBezTo>
                  <a:cubicBezTo>
                    <a:pt x="17258" y="2239"/>
                    <a:pt x="17258" y="2239"/>
                    <a:pt x="17258" y="2239"/>
                  </a:cubicBezTo>
                  <a:cubicBezTo>
                    <a:pt x="17290" y="2273"/>
                    <a:pt x="17330" y="2319"/>
                    <a:pt x="17379" y="2370"/>
                  </a:cubicBezTo>
                  <a:cubicBezTo>
                    <a:pt x="17353" y="2394"/>
                    <a:pt x="17260" y="2479"/>
                    <a:pt x="17160" y="2592"/>
                  </a:cubicBezTo>
                  <a:cubicBezTo>
                    <a:pt x="17042" y="2726"/>
                    <a:pt x="16913" y="2896"/>
                    <a:pt x="16871" y="3058"/>
                  </a:cubicBezTo>
                  <a:cubicBezTo>
                    <a:pt x="16831" y="3214"/>
                    <a:pt x="16836" y="3342"/>
                    <a:pt x="16806" y="3455"/>
                  </a:cubicBezTo>
                  <a:cubicBezTo>
                    <a:pt x="16793" y="3505"/>
                    <a:pt x="16775" y="3552"/>
                    <a:pt x="16743" y="3600"/>
                  </a:cubicBezTo>
                  <a:cubicBezTo>
                    <a:pt x="16819" y="3600"/>
                    <a:pt x="16819" y="3600"/>
                    <a:pt x="16819" y="3600"/>
                  </a:cubicBezTo>
                  <a:cubicBezTo>
                    <a:pt x="16843" y="3558"/>
                    <a:pt x="16859" y="3515"/>
                    <a:pt x="16870" y="3471"/>
                  </a:cubicBezTo>
                  <a:cubicBezTo>
                    <a:pt x="16902" y="3345"/>
                    <a:pt x="16897" y="3220"/>
                    <a:pt x="16934" y="3074"/>
                  </a:cubicBezTo>
                  <a:cubicBezTo>
                    <a:pt x="16987" y="2862"/>
                    <a:pt x="17240" y="2593"/>
                    <a:pt x="17363" y="2475"/>
                  </a:cubicBezTo>
                  <a:cubicBezTo>
                    <a:pt x="17395" y="2445"/>
                    <a:pt x="17417" y="2425"/>
                    <a:pt x="17425" y="2417"/>
                  </a:cubicBezTo>
                  <a:cubicBezTo>
                    <a:pt x="17555" y="2545"/>
                    <a:pt x="17740" y="2698"/>
                    <a:pt x="18004" y="2813"/>
                  </a:cubicBezTo>
                  <a:cubicBezTo>
                    <a:pt x="18004" y="2741"/>
                    <a:pt x="18004" y="2741"/>
                    <a:pt x="18004" y="2741"/>
                  </a:cubicBezTo>
                  <a:cubicBezTo>
                    <a:pt x="17767" y="2633"/>
                    <a:pt x="17598" y="2495"/>
                    <a:pt x="17477" y="2376"/>
                  </a:cubicBezTo>
                  <a:cubicBezTo>
                    <a:pt x="17571" y="2300"/>
                    <a:pt x="17789" y="2125"/>
                    <a:pt x="18004" y="1949"/>
                  </a:cubicBezTo>
                  <a:lnTo>
                    <a:pt x="18004" y="1864"/>
                  </a:lnTo>
                  <a:close/>
                  <a:moveTo>
                    <a:pt x="2973" y="242"/>
                  </a:moveTo>
                  <a:cubicBezTo>
                    <a:pt x="2975" y="243"/>
                    <a:pt x="2978" y="244"/>
                    <a:pt x="2980" y="246"/>
                  </a:cubicBezTo>
                  <a:cubicBezTo>
                    <a:pt x="3010" y="263"/>
                    <a:pt x="3052" y="286"/>
                    <a:pt x="3099" y="314"/>
                  </a:cubicBezTo>
                  <a:cubicBezTo>
                    <a:pt x="3194" y="370"/>
                    <a:pt x="3312" y="442"/>
                    <a:pt x="3399" y="507"/>
                  </a:cubicBezTo>
                  <a:cubicBezTo>
                    <a:pt x="3457" y="549"/>
                    <a:pt x="3503" y="592"/>
                    <a:pt x="3514" y="609"/>
                  </a:cubicBezTo>
                  <a:cubicBezTo>
                    <a:pt x="3544" y="655"/>
                    <a:pt x="3569" y="731"/>
                    <a:pt x="3583" y="806"/>
                  </a:cubicBezTo>
                  <a:cubicBezTo>
                    <a:pt x="3597" y="876"/>
                    <a:pt x="3603" y="946"/>
                    <a:pt x="3603" y="991"/>
                  </a:cubicBezTo>
                  <a:cubicBezTo>
                    <a:pt x="3602" y="987"/>
                    <a:pt x="3601" y="984"/>
                    <a:pt x="3600" y="982"/>
                  </a:cubicBezTo>
                  <a:cubicBezTo>
                    <a:pt x="3587" y="945"/>
                    <a:pt x="3563" y="880"/>
                    <a:pt x="3538" y="815"/>
                  </a:cubicBezTo>
                  <a:cubicBezTo>
                    <a:pt x="3512" y="749"/>
                    <a:pt x="3485" y="685"/>
                    <a:pt x="3463" y="645"/>
                  </a:cubicBezTo>
                  <a:cubicBezTo>
                    <a:pt x="3423" y="571"/>
                    <a:pt x="3373" y="504"/>
                    <a:pt x="3303" y="458"/>
                  </a:cubicBezTo>
                  <a:cubicBezTo>
                    <a:pt x="3282" y="444"/>
                    <a:pt x="3252" y="428"/>
                    <a:pt x="3211" y="408"/>
                  </a:cubicBezTo>
                  <a:cubicBezTo>
                    <a:pt x="3171" y="387"/>
                    <a:pt x="3124" y="364"/>
                    <a:pt x="3078" y="342"/>
                  </a:cubicBezTo>
                  <a:cubicBezTo>
                    <a:pt x="3030" y="319"/>
                    <a:pt x="2983" y="297"/>
                    <a:pt x="2951" y="281"/>
                  </a:cubicBezTo>
                  <a:cubicBezTo>
                    <a:pt x="2959" y="268"/>
                    <a:pt x="2966" y="255"/>
                    <a:pt x="2973" y="242"/>
                  </a:cubicBezTo>
                  <a:close/>
                  <a:moveTo>
                    <a:pt x="2285" y="1567"/>
                  </a:moveTo>
                  <a:cubicBezTo>
                    <a:pt x="2285" y="1570"/>
                    <a:pt x="2285" y="1575"/>
                    <a:pt x="2286" y="1579"/>
                  </a:cubicBezTo>
                  <a:cubicBezTo>
                    <a:pt x="2288" y="1604"/>
                    <a:pt x="2294" y="1654"/>
                    <a:pt x="2302" y="1706"/>
                  </a:cubicBezTo>
                  <a:cubicBezTo>
                    <a:pt x="759" y="2095"/>
                    <a:pt x="759" y="2095"/>
                    <a:pt x="759" y="2095"/>
                  </a:cubicBezTo>
                  <a:cubicBezTo>
                    <a:pt x="667" y="1892"/>
                    <a:pt x="588" y="1718"/>
                    <a:pt x="556" y="1649"/>
                  </a:cubicBezTo>
                  <a:cubicBezTo>
                    <a:pt x="571" y="1642"/>
                    <a:pt x="586" y="1635"/>
                    <a:pt x="603" y="1628"/>
                  </a:cubicBezTo>
                  <a:cubicBezTo>
                    <a:pt x="716" y="1578"/>
                    <a:pt x="858" y="1516"/>
                    <a:pt x="973" y="1471"/>
                  </a:cubicBezTo>
                  <a:cubicBezTo>
                    <a:pt x="1074" y="1430"/>
                    <a:pt x="1262" y="1358"/>
                    <a:pt x="1449" y="1283"/>
                  </a:cubicBezTo>
                  <a:cubicBezTo>
                    <a:pt x="1637" y="1207"/>
                    <a:pt x="1825" y="1129"/>
                    <a:pt x="1933" y="1073"/>
                  </a:cubicBezTo>
                  <a:cubicBezTo>
                    <a:pt x="1965" y="1057"/>
                    <a:pt x="1989" y="1043"/>
                    <a:pt x="2010" y="1028"/>
                  </a:cubicBezTo>
                  <a:cubicBezTo>
                    <a:pt x="2049" y="998"/>
                    <a:pt x="2093" y="950"/>
                    <a:pt x="2147" y="888"/>
                  </a:cubicBezTo>
                  <a:cubicBezTo>
                    <a:pt x="2200" y="827"/>
                    <a:pt x="2259" y="755"/>
                    <a:pt x="2314" y="685"/>
                  </a:cubicBezTo>
                  <a:cubicBezTo>
                    <a:pt x="2409" y="567"/>
                    <a:pt x="2493" y="456"/>
                    <a:pt x="2516" y="425"/>
                  </a:cubicBezTo>
                  <a:cubicBezTo>
                    <a:pt x="2556" y="440"/>
                    <a:pt x="2599" y="449"/>
                    <a:pt x="2644" y="449"/>
                  </a:cubicBezTo>
                  <a:cubicBezTo>
                    <a:pt x="2714" y="449"/>
                    <a:pt x="2779" y="429"/>
                    <a:pt x="2834" y="395"/>
                  </a:cubicBezTo>
                  <a:cubicBezTo>
                    <a:pt x="2855" y="405"/>
                    <a:pt x="2904" y="428"/>
                    <a:pt x="2947" y="448"/>
                  </a:cubicBezTo>
                  <a:cubicBezTo>
                    <a:pt x="3008" y="477"/>
                    <a:pt x="3084" y="514"/>
                    <a:pt x="3142" y="544"/>
                  </a:cubicBezTo>
                  <a:cubicBezTo>
                    <a:pt x="3180" y="563"/>
                    <a:pt x="3212" y="580"/>
                    <a:pt x="3219" y="585"/>
                  </a:cubicBezTo>
                  <a:cubicBezTo>
                    <a:pt x="3260" y="612"/>
                    <a:pt x="3296" y="656"/>
                    <a:pt x="3329" y="718"/>
                  </a:cubicBezTo>
                  <a:cubicBezTo>
                    <a:pt x="3344" y="744"/>
                    <a:pt x="3371" y="808"/>
                    <a:pt x="3396" y="871"/>
                  </a:cubicBezTo>
                  <a:cubicBezTo>
                    <a:pt x="3421" y="934"/>
                    <a:pt x="3444" y="998"/>
                    <a:pt x="3456" y="1032"/>
                  </a:cubicBezTo>
                  <a:cubicBezTo>
                    <a:pt x="3467" y="1062"/>
                    <a:pt x="3499" y="1144"/>
                    <a:pt x="3539" y="1243"/>
                  </a:cubicBezTo>
                  <a:cubicBezTo>
                    <a:pt x="3578" y="1341"/>
                    <a:pt x="3625" y="1453"/>
                    <a:pt x="3663" y="1540"/>
                  </a:cubicBezTo>
                  <a:cubicBezTo>
                    <a:pt x="3688" y="1598"/>
                    <a:pt x="3708" y="1641"/>
                    <a:pt x="3723" y="1668"/>
                  </a:cubicBezTo>
                  <a:cubicBezTo>
                    <a:pt x="3742" y="1700"/>
                    <a:pt x="3764" y="1737"/>
                    <a:pt x="3788" y="1774"/>
                  </a:cubicBezTo>
                  <a:cubicBezTo>
                    <a:pt x="3758" y="1783"/>
                    <a:pt x="3718" y="1796"/>
                    <a:pt x="3673" y="1808"/>
                  </a:cubicBezTo>
                  <a:cubicBezTo>
                    <a:pt x="3583" y="1834"/>
                    <a:pt x="3475" y="1859"/>
                    <a:pt x="3419" y="1859"/>
                  </a:cubicBezTo>
                  <a:cubicBezTo>
                    <a:pt x="3413" y="1859"/>
                    <a:pt x="3408" y="1858"/>
                    <a:pt x="3403" y="1858"/>
                  </a:cubicBezTo>
                  <a:cubicBezTo>
                    <a:pt x="3357" y="1853"/>
                    <a:pt x="3287" y="1835"/>
                    <a:pt x="3227" y="1817"/>
                  </a:cubicBezTo>
                  <a:cubicBezTo>
                    <a:pt x="3183" y="1803"/>
                    <a:pt x="3141" y="1788"/>
                    <a:pt x="3120" y="1780"/>
                  </a:cubicBezTo>
                  <a:cubicBezTo>
                    <a:pt x="3127" y="1767"/>
                    <a:pt x="3132" y="1753"/>
                    <a:pt x="3134" y="1740"/>
                  </a:cubicBezTo>
                  <a:cubicBezTo>
                    <a:pt x="3137" y="1723"/>
                    <a:pt x="3138" y="1703"/>
                    <a:pt x="3138" y="1682"/>
                  </a:cubicBezTo>
                  <a:cubicBezTo>
                    <a:pt x="3137" y="1615"/>
                    <a:pt x="3129" y="1533"/>
                    <a:pt x="3103" y="1480"/>
                  </a:cubicBezTo>
                  <a:cubicBezTo>
                    <a:pt x="3073" y="1418"/>
                    <a:pt x="3013" y="1351"/>
                    <a:pt x="2896" y="1344"/>
                  </a:cubicBezTo>
                  <a:cubicBezTo>
                    <a:pt x="2883" y="1343"/>
                    <a:pt x="2867" y="1342"/>
                    <a:pt x="2851" y="1342"/>
                  </a:cubicBezTo>
                  <a:cubicBezTo>
                    <a:pt x="2728" y="1342"/>
                    <a:pt x="2531" y="1367"/>
                    <a:pt x="2436" y="1394"/>
                  </a:cubicBezTo>
                  <a:cubicBezTo>
                    <a:pt x="2328" y="1422"/>
                    <a:pt x="2284" y="1502"/>
                    <a:pt x="2285" y="1567"/>
                  </a:cubicBezTo>
                  <a:close/>
                  <a:moveTo>
                    <a:pt x="2545" y="1903"/>
                  </a:moveTo>
                  <a:cubicBezTo>
                    <a:pt x="2540" y="1903"/>
                    <a:pt x="2536" y="1903"/>
                    <a:pt x="2531" y="1903"/>
                  </a:cubicBezTo>
                  <a:cubicBezTo>
                    <a:pt x="2460" y="1903"/>
                    <a:pt x="2416" y="1878"/>
                    <a:pt x="2401" y="1844"/>
                  </a:cubicBezTo>
                  <a:cubicBezTo>
                    <a:pt x="2392" y="1825"/>
                    <a:pt x="2379" y="1767"/>
                    <a:pt x="2370" y="1712"/>
                  </a:cubicBezTo>
                  <a:cubicBezTo>
                    <a:pt x="2360" y="1655"/>
                    <a:pt x="2353" y="1598"/>
                    <a:pt x="2351" y="1574"/>
                  </a:cubicBezTo>
                  <a:cubicBezTo>
                    <a:pt x="2351" y="1572"/>
                    <a:pt x="2351" y="1569"/>
                    <a:pt x="2351" y="1567"/>
                  </a:cubicBezTo>
                  <a:cubicBezTo>
                    <a:pt x="2352" y="1528"/>
                    <a:pt x="2370" y="1482"/>
                    <a:pt x="2454" y="1457"/>
                  </a:cubicBezTo>
                  <a:cubicBezTo>
                    <a:pt x="2538" y="1433"/>
                    <a:pt x="2737" y="1407"/>
                    <a:pt x="2851" y="1408"/>
                  </a:cubicBezTo>
                  <a:cubicBezTo>
                    <a:pt x="2866" y="1408"/>
                    <a:pt x="2880" y="1408"/>
                    <a:pt x="2891" y="1409"/>
                  </a:cubicBezTo>
                  <a:cubicBezTo>
                    <a:pt x="2986" y="1418"/>
                    <a:pt x="3016" y="1457"/>
                    <a:pt x="3044" y="1509"/>
                  </a:cubicBezTo>
                  <a:cubicBezTo>
                    <a:pt x="3061" y="1542"/>
                    <a:pt x="3073" y="1622"/>
                    <a:pt x="3072" y="1682"/>
                  </a:cubicBezTo>
                  <a:cubicBezTo>
                    <a:pt x="3072" y="1701"/>
                    <a:pt x="3071" y="1718"/>
                    <a:pt x="3069" y="1731"/>
                  </a:cubicBezTo>
                  <a:cubicBezTo>
                    <a:pt x="3102" y="1735"/>
                    <a:pt x="3102" y="1735"/>
                    <a:pt x="3102" y="1735"/>
                  </a:cubicBezTo>
                  <a:cubicBezTo>
                    <a:pt x="3069" y="1731"/>
                    <a:pt x="3069" y="1731"/>
                    <a:pt x="3069" y="1731"/>
                  </a:cubicBezTo>
                  <a:cubicBezTo>
                    <a:pt x="3069" y="1741"/>
                    <a:pt x="3054" y="1772"/>
                    <a:pt x="3027" y="1799"/>
                  </a:cubicBezTo>
                  <a:cubicBezTo>
                    <a:pt x="3001" y="1827"/>
                    <a:pt x="2965" y="1854"/>
                    <a:pt x="2924" y="1868"/>
                  </a:cubicBezTo>
                  <a:cubicBezTo>
                    <a:pt x="2883" y="1882"/>
                    <a:pt x="2809" y="1891"/>
                    <a:pt x="2736" y="1895"/>
                  </a:cubicBezTo>
                  <a:cubicBezTo>
                    <a:pt x="2662" y="1900"/>
                    <a:pt x="2589" y="1900"/>
                    <a:pt x="2545" y="1903"/>
                  </a:cubicBezTo>
                  <a:close/>
                  <a:moveTo>
                    <a:pt x="3099" y="1832"/>
                  </a:moveTo>
                  <a:cubicBezTo>
                    <a:pt x="3095" y="1820"/>
                    <a:pt x="3095" y="1820"/>
                    <a:pt x="3095" y="1820"/>
                  </a:cubicBezTo>
                  <a:cubicBezTo>
                    <a:pt x="3095" y="1820"/>
                    <a:pt x="3095" y="1820"/>
                    <a:pt x="3095" y="1820"/>
                  </a:cubicBezTo>
                  <a:lnTo>
                    <a:pt x="3099" y="1832"/>
                  </a:lnTo>
                  <a:close/>
                  <a:moveTo>
                    <a:pt x="2781" y="1957"/>
                  </a:moveTo>
                  <a:cubicBezTo>
                    <a:pt x="2842" y="1952"/>
                    <a:pt x="2901" y="1945"/>
                    <a:pt x="2945" y="1930"/>
                  </a:cubicBezTo>
                  <a:cubicBezTo>
                    <a:pt x="2998" y="1911"/>
                    <a:pt x="3043" y="1878"/>
                    <a:pt x="3075" y="1844"/>
                  </a:cubicBezTo>
                  <a:cubicBezTo>
                    <a:pt x="3078" y="1841"/>
                    <a:pt x="3080" y="1838"/>
                    <a:pt x="3083" y="1835"/>
                  </a:cubicBezTo>
                  <a:cubicBezTo>
                    <a:pt x="3083" y="1835"/>
                    <a:pt x="3084" y="1836"/>
                    <a:pt x="3084" y="1836"/>
                  </a:cubicBezTo>
                  <a:cubicBezTo>
                    <a:pt x="3091" y="1839"/>
                    <a:pt x="3100" y="1842"/>
                    <a:pt x="3110" y="1846"/>
                  </a:cubicBezTo>
                  <a:cubicBezTo>
                    <a:pt x="3132" y="1854"/>
                    <a:pt x="3161" y="1864"/>
                    <a:pt x="3193" y="1875"/>
                  </a:cubicBezTo>
                  <a:cubicBezTo>
                    <a:pt x="3258" y="1895"/>
                    <a:pt x="3337" y="1917"/>
                    <a:pt x="3396" y="1923"/>
                  </a:cubicBezTo>
                  <a:cubicBezTo>
                    <a:pt x="3403" y="1924"/>
                    <a:pt x="3411" y="1924"/>
                    <a:pt x="3419" y="1924"/>
                  </a:cubicBezTo>
                  <a:cubicBezTo>
                    <a:pt x="3491" y="1924"/>
                    <a:pt x="3598" y="1897"/>
                    <a:pt x="3691" y="1871"/>
                  </a:cubicBezTo>
                  <a:cubicBezTo>
                    <a:pt x="3748" y="1855"/>
                    <a:pt x="3798" y="1840"/>
                    <a:pt x="3829" y="1830"/>
                  </a:cubicBezTo>
                  <a:cubicBezTo>
                    <a:pt x="3856" y="1865"/>
                    <a:pt x="3885" y="1896"/>
                    <a:pt x="3926" y="1919"/>
                  </a:cubicBezTo>
                  <a:cubicBezTo>
                    <a:pt x="3960" y="1937"/>
                    <a:pt x="3995" y="1944"/>
                    <a:pt x="4033" y="1949"/>
                  </a:cubicBezTo>
                  <a:cubicBezTo>
                    <a:pt x="4070" y="1954"/>
                    <a:pt x="4108" y="1955"/>
                    <a:pt x="4144" y="1955"/>
                  </a:cubicBezTo>
                  <a:cubicBezTo>
                    <a:pt x="4177" y="1955"/>
                    <a:pt x="4207" y="1954"/>
                    <a:pt x="4232" y="1952"/>
                  </a:cubicBezTo>
                  <a:cubicBezTo>
                    <a:pt x="4255" y="1950"/>
                    <a:pt x="4338" y="1946"/>
                    <a:pt x="4435" y="1941"/>
                  </a:cubicBezTo>
                  <a:cubicBezTo>
                    <a:pt x="4400" y="1976"/>
                    <a:pt x="4354" y="2021"/>
                    <a:pt x="4298" y="2068"/>
                  </a:cubicBezTo>
                  <a:cubicBezTo>
                    <a:pt x="4172" y="2175"/>
                    <a:pt x="4002" y="2291"/>
                    <a:pt x="3829" y="2332"/>
                  </a:cubicBezTo>
                  <a:cubicBezTo>
                    <a:pt x="3704" y="2361"/>
                    <a:pt x="3639" y="2361"/>
                    <a:pt x="3482" y="2376"/>
                  </a:cubicBezTo>
                  <a:cubicBezTo>
                    <a:pt x="3345" y="2389"/>
                    <a:pt x="3190" y="2402"/>
                    <a:pt x="3069" y="2411"/>
                  </a:cubicBezTo>
                  <a:cubicBezTo>
                    <a:pt x="2984" y="2418"/>
                    <a:pt x="2917" y="2423"/>
                    <a:pt x="2880" y="2426"/>
                  </a:cubicBezTo>
                  <a:lnTo>
                    <a:pt x="2781" y="1957"/>
                  </a:lnTo>
                  <a:close/>
                  <a:moveTo>
                    <a:pt x="2894" y="2491"/>
                  </a:moveTo>
                  <a:cubicBezTo>
                    <a:pt x="2900" y="2491"/>
                    <a:pt x="2907" y="2490"/>
                    <a:pt x="2914" y="2489"/>
                  </a:cubicBezTo>
                  <a:cubicBezTo>
                    <a:pt x="2952" y="2487"/>
                    <a:pt x="3004" y="2482"/>
                    <a:pt x="3066" y="2478"/>
                  </a:cubicBezTo>
                  <a:cubicBezTo>
                    <a:pt x="3189" y="2468"/>
                    <a:pt x="3347" y="2455"/>
                    <a:pt x="3488" y="2441"/>
                  </a:cubicBezTo>
                  <a:cubicBezTo>
                    <a:pt x="3596" y="2431"/>
                    <a:pt x="3663" y="2428"/>
                    <a:pt x="3739" y="2416"/>
                  </a:cubicBezTo>
                  <a:cubicBezTo>
                    <a:pt x="3821" y="2784"/>
                    <a:pt x="3821" y="2784"/>
                    <a:pt x="3821" y="2784"/>
                  </a:cubicBezTo>
                  <a:cubicBezTo>
                    <a:pt x="3819" y="2784"/>
                    <a:pt x="3816" y="2784"/>
                    <a:pt x="3814" y="2784"/>
                  </a:cubicBezTo>
                  <a:cubicBezTo>
                    <a:pt x="3446" y="2804"/>
                    <a:pt x="3306" y="2825"/>
                    <a:pt x="3305" y="2825"/>
                  </a:cubicBezTo>
                  <a:cubicBezTo>
                    <a:pt x="3291" y="2827"/>
                    <a:pt x="3291" y="2827"/>
                    <a:pt x="3291" y="2827"/>
                  </a:cubicBezTo>
                  <a:cubicBezTo>
                    <a:pt x="3295" y="2854"/>
                    <a:pt x="3295" y="2854"/>
                    <a:pt x="3295" y="2854"/>
                  </a:cubicBezTo>
                  <a:cubicBezTo>
                    <a:pt x="3285" y="2855"/>
                    <a:pt x="3270" y="2856"/>
                    <a:pt x="3253" y="2858"/>
                  </a:cubicBezTo>
                  <a:cubicBezTo>
                    <a:pt x="3219" y="2861"/>
                    <a:pt x="3172" y="2866"/>
                    <a:pt x="3126" y="2870"/>
                  </a:cubicBezTo>
                  <a:cubicBezTo>
                    <a:pt x="3069" y="2876"/>
                    <a:pt x="3012" y="2881"/>
                    <a:pt x="2977" y="2884"/>
                  </a:cubicBezTo>
                  <a:lnTo>
                    <a:pt x="2894" y="2491"/>
                  </a:lnTo>
                  <a:close/>
                  <a:moveTo>
                    <a:pt x="2980" y="2898"/>
                  </a:moveTo>
                  <a:cubicBezTo>
                    <a:pt x="3058" y="2891"/>
                    <a:pt x="3242" y="2873"/>
                    <a:pt x="3297" y="2868"/>
                  </a:cubicBezTo>
                  <a:cubicBezTo>
                    <a:pt x="3300" y="2892"/>
                    <a:pt x="3300" y="2892"/>
                    <a:pt x="3300" y="2892"/>
                  </a:cubicBezTo>
                  <a:cubicBezTo>
                    <a:pt x="3315" y="2890"/>
                    <a:pt x="3348" y="2885"/>
                    <a:pt x="3428" y="2877"/>
                  </a:cubicBezTo>
                  <a:cubicBezTo>
                    <a:pt x="3508" y="2870"/>
                    <a:pt x="3634" y="2860"/>
                    <a:pt x="3818" y="2850"/>
                  </a:cubicBezTo>
                  <a:cubicBezTo>
                    <a:pt x="3831" y="2849"/>
                    <a:pt x="3845" y="2848"/>
                    <a:pt x="3859" y="2848"/>
                  </a:cubicBezTo>
                  <a:cubicBezTo>
                    <a:pt x="3895" y="2848"/>
                    <a:pt x="3932" y="2851"/>
                    <a:pt x="3969" y="2855"/>
                  </a:cubicBezTo>
                  <a:cubicBezTo>
                    <a:pt x="3970" y="2867"/>
                    <a:pt x="3970" y="2881"/>
                    <a:pt x="3970" y="2899"/>
                  </a:cubicBezTo>
                  <a:cubicBezTo>
                    <a:pt x="3971" y="2941"/>
                    <a:pt x="3971" y="2998"/>
                    <a:pt x="3971" y="3060"/>
                  </a:cubicBezTo>
                  <a:cubicBezTo>
                    <a:pt x="3928" y="3058"/>
                    <a:pt x="3544" y="3046"/>
                    <a:pt x="3533" y="3046"/>
                  </a:cubicBezTo>
                  <a:cubicBezTo>
                    <a:pt x="3521" y="3046"/>
                    <a:pt x="3191" y="3054"/>
                    <a:pt x="3191" y="3054"/>
                  </a:cubicBezTo>
                  <a:cubicBezTo>
                    <a:pt x="3015" y="3064"/>
                    <a:pt x="3015" y="3064"/>
                    <a:pt x="3015" y="3064"/>
                  </a:cubicBezTo>
                  <a:lnTo>
                    <a:pt x="2980" y="2898"/>
                  </a:lnTo>
                  <a:close/>
                  <a:moveTo>
                    <a:pt x="3969" y="3505"/>
                  </a:moveTo>
                  <a:cubicBezTo>
                    <a:pt x="3913" y="3483"/>
                    <a:pt x="3585" y="3353"/>
                    <a:pt x="3585" y="3353"/>
                  </a:cubicBezTo>
                  <a:cubicBezTo>
                    <a:pt x="3583" y="3352"/>
                    <a:pt x="3583" y="3352"/>
                    <a:pt x="3583" y="3352"/>
                  </a:cubicBezTo>
                  <a:cubicBezTo>
                    <a:pt x="3077" y="3360"/>
                    <a:pt x="3077" y="3360"/>
                    <a:pt x="3077" y="3360"/>
                  </a:cubicBezTo>
                  <a:cubicBezTo>
                    <a:pt x="3051" y="3235"/>
                    <a:pt x="3051" y="3235"/>
                    <a:pt x="3051" y="3235"/>
                  </a:cubicBezTo>
                  <a:cubicBezTo>
                    <a:pt x="3600" y="3238"/>
                    <a:pt x="3600" y="3238"/>
                    <a:pt x="3600" y="3238"/>
                  </a:cubicBezTo>
                  <a:cubicBezTo>
                    <a:pt x="3971" y="3305"/>
                    <a:pt x="3971" y="3305"/>
                    <a:pt x="3971" y="3305"/>
                  </a:cubicBezTo>
                  <a:cubicBezTo>
                    <a:pt x="3970" y="3387"/>
                    <a:pt x="3970" y="3459"/>
                    <a:pt x="3969" y="3505"/>
                  </a:cubicBezTo>
                  <a:close/>
                  <a:moveTo>
                    <a:pt x="3971" y="3291"/>
                  </a:moveTo>
                  <a:cubicBezTo>
                    <a:pt x="3602" y="3224"/>
                    <a:pt x="3602" y="3224"/>
                    <a:pt x="3602" y="3224"/>
                  </a:cubicBezTo>
                  <a:cubicBezTo>
                    <a:pt x="3048" y="3221"/>
                    <a:pt x="3048" y="3221"/>
                    <a:pt x="3048" y="3221"/>
                  </a:cubicBezTo>
                  <a:cubicBezTo>
                    <a:pt x="3018" y="3078"/>
                    <a:pt x="3018" y="3078"/>
                    <a:pt x="3018" y="3078"/>
                  </a:cubicBezTo>
                  <a:cubicBezTo>
                    <a:pt x="3191" y="3068"/>
                    <a:pt x="3191" y="3068"/>
                    <a:pt x="3191" y="3068"/>
                  </a:cubicBezTo>
                  <a:cubicBezTo>
                    <a:pt x="3192" y="3068"/>
                    <a:pt x="3522" y="3060"/>
                    <a:pt x="3533" y="3060"/>
                  </a:cubicBezTo>
                  <a:cubicBezTo>
                    <a:pt x="3543" y="3060"/>
                    <a:pt x="3935" y="3073"/>
                    <a:pt x="3971" y="3074"/>
                  </a:cubicBezTo>
                  <a:cubicBezTo>
                    <a:pt x="3971" y="3075"/>
                    <a:pt x="3972" y="3077"/>
                    <a:pt x="3972" y="3079"/>
                  </a:cubicBezTo>
                  <a:cubicBezTo>
                    <a:pt x="3972" y="3148"/>
                    <a:pt x="3971" y="3222"/>
                    <a:pt x="3971" y="3291"/>
                  </a:cubicBezTo>
                  <a:close/>
                  <a:moveTo>
                    <a:pt x="4555" y="3586"/>
                  </a:moveTo>
                  <a:cubicBezTo>
                    <a:pt x="4516" y="3580"/>
                    <a:pt x="4396" y="3565"/>
                    <a:pt x="4276" y="3549"/>
                  </a:cubicBezTo>
                  <a:cubicBezTo>
                    <a:pt x="4144" y="3531"/>
                    <a:pt x="4010" y="3513"/>
                    <a:pt x="3983" y="3509"/>
                  </a:cubicBezTo>
                  <a:cubicBezTo>
                    <a:pt x="3983" y="3464"/>
                    <a:pt x="3984" y="3390"/>
                    <a:pt x="3985" y="3307"/>
                  </a:cubicBezTo>
                  <a:cubicBezTo>
                    <a:pt x="4054" y="3317"/>
                    <a:pt x="4471" y="3376"/>
                    <a:pt x="4580" y="3390"/>
                  </a:cubicBezTo>
                  <a:lnTo>
                    <a:pt x="4555" y="3586"/>
                  </a:lnTo>
                  <a:close/>
                  <a:moveTo>
                    <a:pt x="4582" y="3376"/>
                  </a:moveTo>
                  <a:cubicBezTo>
                    <a:pt x="4531" y="3370"/>
                    <a:pt x="4409" y="3353"/>
                    <a:pt x="4289" y="3336"/>
                  </a:cubicBezTo>
                  <a:cubicBezTo>
                    <a:pt x="4153" y="3317"/>
                    <a:pt x="4018" y="3298"/>
                    <a:pt x="3985" y="3293"/>
                  </a:cubicBezTo>
                  <a:cubicBezTo>
                    <a:pt x="3985" y="3224"/>
                    <a:pt x="3985" y="3148"/>
                    <a:pt x="3985" y="3079"/>
                  </a:cubicBezTo>
                  <a:cubicBezTo>
                    <a:pt x="3985" y="3078"/>
                    <a:pt x="3985" y="3077"/>
                    <a:pt x="3985" y="3075"/>
                  </a:cubicBezTo>
                  <a:cubicBezTo>
                    <a:pt x="4609" y="3169"/>
                    <a:pt x="4609" y="3169"/>
                    <a:pt x="4609" y="3169"/>
                  </a:cubicBezTo>
                  <a:lnTo>
                    <a:pt x="4582" y="3376"/>
                  </a:lnTo>
                  <a:close/>
                  <a:moveTo>
                    <a:pt x="4610" y="3156"/>
                  </a:moveTo>
                  <a:cubicBezTo>
                    <a:pt x="3985" y="3061"/>
                    <a:pt x="3985" y="3061"/>
                    <a:pt x="3985" y="3061"/>
                  </a:cubicBezTo>
                  <a:cubicBezTo>
                    <a:pt x="3985" y="2974"/>
                    <a:pt x="3985" y="2899"/>
                    <a:pt x="3983" y="2857"/>
                  </a:cubicBezTo>
                  <a:cubicBezTo>
                    <a:pt x="4212" y="2887"/>
                    <a:pt x="4452" y="2988"/>
                    <a:pt x="4569" y="3043"/>
                  </a:cubicBezTo>
                  <a:cubicBezTo>
                    <a:pt x="4591" y="3053"/>
                    <a:pt x="4609" y="3062"/>
                    <a:pt x="4621" y="3068"/>
                  </a:cubicBezTo>
                  <a:lnTo>
                    <a:pt x="4610" y="3156"/>
                  </a:lnTo>
                  <a:close/>
                  <a:moveTo>
                    <a:pt x="4630" y="2999"/>
                  </a:moveTo>
                  <a:cubicBezTo>
                    <a:pt x="4516" y="2943"/>
                    <a:pt x="4186" y="2793"/>
                    <a:pt x="3888" y="2783"/>
                  </a:cubicBezTo>
                  <a:cubicBezTo>
                    <a:pt x="3803" y="2405"/>
                    <a:pt x="3803" y="2405"/>
                    <a:pt x="3803" y="2405"/>
                  </a:cubicBezTo>
                  <a:cubicBezTo>
                    <a:pt x="3816" y="2402"/>
                    <a:pt x="3830" y="2399"/>
                    <a:pt x="3844" y="2396"/>
                  </a:cubicBezTo>
                  <a:cubicBezTo>
                    <a:pt x="4162" y="2319"/>
                    <a:pt x="4445" y="2029"/>
                    <a:pt x="4530" y="1936"/>
                  </a:cubicBezTo>
                  <a:cubicBezTo>
                    <a:pt x="4541" y="1936"/>
                    <a:pt x="4551" y="1935"/>
                    <a:pt x="4562" y="1934"/>
                  </a:cubicBezTo>
                  <a:cubicBezTo>
                    <a:pt x="4640" y="1931"/>
                    <a:pt x="4715" y="1927"/>
                    <a:pt x="4767" y="1925"/>
                  </a:cubicBezTo>
                  <a:lnTo>
                    <a:pt x="4630" y="2999"/>
                  </a:lnTo>
                  <a:close/>
                  <a:moveTo>
                    <a:pt x="4828" y="1769"/>
                  </a:moveTo>
                  <a:cubicBezTo>
                    <a:pt x="4803" y="1770"/>
                    <a:pt x="4683" y="1776"/>
                    <a:pt x="4555" y="1782"/>
                  </a:cubicBezTo>
                  <a:cubicBezTo>
                    <a:pt x="4439" y="1788"/>
                    <a:pt x="4319" y="1794"/>
                    <a:pt x="4255" y="1798"/>
                  </a:cubicBezTo>
                  <a:cubicBezTo>
                    <a:pt x="4602" y="766"/>
                    <a:pt x="4602" y="766"/>
                    <a:pt x="4602" y="766"/>
                  </a:cubicBezTo>
                  <a:cubicBezTo>
                    <a:pt x="5087" y="1084"/>
                    <a:pt x="5087" y="1084"/>
                    <a:pt x="5087" y="1084"/>
                  </a:cubicBezTo>
                  <a:cubicBezTo>
                    <a:pt x="5093" y="1136"/>
                    <a:pt x="5093" y="1136"/>
                    <a:pt x="5093" y="1136"/>
                  </a:cubicBezTo>
                  <a:cubicBezTo>
                    <a:pt x="5054" y="1728"/>
                    <a:pt x="5054" y="1728"/>
                    <a:pt x="5054" y="1728"/>
                  </a:cubicBezTo>
                  <a:lnTo>
                    <a:pt x="4828" y="1769"/>
                  </a:lnTo>
                  <a:close/>
                  <a:moveTo>
                    <a:pt x="5516" y="3513"/>
                  </a:moveTo>
                  <a:cubicBezTo>
                    <a:pt x="4947" y="3429"/>
                    <a:pt x="4947" y="3429"/>
                    <a:pt x="4947" y="3429"/>
                  </a:cubicBezTo>
                  <a:cubicBezTo>
                    <a:pt x="4956" y="3357"/>
                    <a:pt x="4965" y="3287"/>
                    <a:pt x="4974" y="3218"/>
                  </a:cubicBezTo>
                  <a:cubicBezTo>
                    <a:pt x="5538" y="3302"/>
                    <a:pt x="5538" y="3302"/>
                    <a:pt x="5538" y="3302"/>
                  </a:cubicBezTo>
                  <a:lnTo>
                    <a:pt x="5516" y="3513"/>
                  </a:lnTo>
                  <a:close/>
                  <a:moveTo>
                    <a:pt x="5539" y="3288"/>
                  </a:moveTo>
                  <a:cubicBezTo>
                    <a:pt x="4975" y="3204"/>
                    <a:pt x="4975" y="3204"/>
                    <a:pt x="4975" y="3204"/>
                  </a:cubicBezTo>
                  <a:cubicBezTo>
                    <a:pt x="5005" y="2972"/>
                    <a:pt x="5032" y="2755"/>
                    <a:pt x="5056" y="2566"/>
                  </a:cubicBezTo>
                  <a:cubicBezTo>
                    <a:pt x="5603" y="2656"/>
                    <a:pt x="5603" y="2656"/>
                    <a:pt x="5603" y="2656"/>
                  </a:cubicBezTo>
                  <a:lnTo>
                    <a:pt x="5539" y="3288"/>
                  </a:lnTo>
                  <a:close/>
                  <a:moveTo>
                    <a:pt x="5605" y="2642"/>
                  </a:moveTo>
                  <a:cubicBezTo>
                    <a:pt x="5058" y="2552"/>
                    <a:pt x="5058" y="2552"/>
                    <a:pt x="5058" y="2552"/>
                  </a:cubicBezTo>
                  <a:cubicBezTo>
                    <a:pt x="5098" y="2239"/>
                    <a:pt x="5127" y="2003"/>
                    <a:pt x="5141" y="1896"/>
                  </a:cubicBezTo>
                  <a:cubicBezTo>
                    <a:pt x="5202" y="1910"/>
                    <a:pt x="5288" y="1929"/>
                    <a:pt x="5374" y="1948"/>
                  </a:cubicBezTo>
                  <a:cubicBezTo>
                    <a:pt x="5497" y="1976"/>
                    <a:pt x="5621" y="2004"/>
                    <a:pt x="5667" y="2015"/>
                  </a:cubicBezTo>
                  <a:cubicBezTo>
                    <a:pt x="5668" y="2017"/>
                    <a:pt x="5668" y="2017"/>
                    <a:pt x="5668" y="2017"/>
                  </a:cubicBezTo>
                  <a:lnTo>
                    <a:pt x="5605" y="2642"/>
                  </a:lnTo>
                  <a:close/>
                  <a:moveTo>
                    <a:pt x="6695" y="1906"/>
                  </a:moveTo>
                  <a:cubicBezTo>
                    <a:pt x="6241" y="1889"/>
                    <a:pt x="5787" y="1873"/>
                    <a:pt x="5718" y="1871"/>
                  </a:cubicBezTo>
                  <a:cubicBezTo>
                    <a:pt x="5713" y="1870"/>
                    <a:pt x="5706" y="1868"/>
                    <a:pt x="5698" y="1866"/>
                  </a:cubicBezTo>
                  <a:cubicBezTo>
                    <a:pt x="5682" y="1862"/>
                    <a:pt x="5659" y="1857"/>
                    <a:pt x="5632" y="1851"/>
                  </a:cubicBezTo>
                  <a:cubicBezTo>
                    <a:pt x="5577" y="1838"/>
                    <a:pt x="5505" y="1822"/>
                    <a:pt x="5430" y="1805"/>
                  </a:cubicBezTo>
                  <a:cubicBezTo>
                    <a:pt x="5306" y="1777"/>
                    <a:pt x="5178" y="1748"/>
                    <a:pt x="5119" y="1735"/>
                  </a:cubicBezTo>
                  <a:cubicBezTo>
                    <a:pt x="5159" y="1135"/>
                    <a:pt x="5159" y="1135"/>
                    <a:pt x="5159" y="1135"/>
                  </a:cubicBezTo>
                  <a:cubicBezTo>
                    <a:pt x="5081" y="457"/>
                    <a:pt x="5081" y="457"/>
                    <a:pt x="5081" y="457"/>
                  </a:cubicBezTo>
                  <a:cubicBezTo>
                    <a:pt x="5082" y="440"/>
                    <a:pt x="5086" y="339"/>
                    <a:pt x="5090" y="203"/>
                  </a:cubicBezTo>
                  <a:cubicBezTo>
                    <a:pt x="5228" y="240"/>
                    <a:pt x="5903" y="420"/>
                    <a:pt x="6037" y="449"/>
                  </a:cubicBezTo>
                  <a:cubicBezTo>
                    <a:pt x="6133" y="471"/>
                    <a:pt x="6249" y="506"/>
                    <a:pt x="6410" y="506"/>
                  </a:cubicBezTo>
                  <a:cubicBezTo>
                    <a:pt x="6411" y="506"/>
                    <a:pt x="6411" y="506"/>
                    <a:pt x="6411" y="506"/>
                  </a:cubicBezTo>
                  <a:cubicBezTo>
                    <a:pt x="6484" y="506"/>
                    <a:pt x="6568" y="498"/>
                    <a:pt x="6662" y="479"/>
                  </a:cubicBezTo>
                  <a:cubicBezTo>
                    <a:pt x="7169" y="1923"/>
                    <a:pt x="7169" y="1923"/>
                    <a:pt x="7169" y="1923"/>
                  </a:cubicBezTo>
                  <a:cubicBezTo>
                    <a:pt x="7023" y="1917"/>
                    <a:pt x="6859" y="1911"/>
                    <a:pt x="6695" y="1906"/>
                  </a:cubicBezTo>
                  <a:close/>
                  <a:moveTo>
                    <a:pt x="10817" y="606"/>
                  </a:moveTo>
                  <a:cubicBezTo>
                    <a:pt x="10932" y="586"/>
                    <a:pt x="10932" y="586"/>
                    <a:pt x="10932" y="586"/>
                  </a:cubicBezTo>
                  <a:cubicBezTo>
                    <a:pt x="10907" y="441"/>
                    <a:pt x="10907" y="441"/>
                    <a:pt x="10907" y="441"/>
                  </a:cubicBezTo>
                  <a:cubicBezTo>
                    <a:pt x="10752" y="467"/>
                    <a:pt x="10752" y="467"/>
                    <a:pt x="10752" y="467"/>
                  </a:cubicBezTo>
                  <a:cubicBezTo>
                    <a:pt x="10738" y="387"/>
                    <a:pt x="10738" y="387"/>
                    <a:pt x="10738" y="387"/>
                  </a:cubicBezTo>
                  <a:cubicBezTo>
                    <a:pt x="10897" y="360"/>
                    <a:pt x="10897" y="360"/>
                    <a:pt x="10897" y="360"/>
                  </a:cubicBezTo>
                  <a:cubicBezTo>
                    <a:pt x="10889" y="313"/>
                    <a:pt x="10889" y="313"/>
                    <a:pt x="10889" y="313"/>
                  </a:cubicBezTo>
                  <a:cubicBezTo>
                    <a:pt x="11039" y="287"/>
                    <a:pt x="11039" y="287"/>
                    <a:pt x="11039" y="287"/>
                  </a:cubicBezTo>
                  <a:cubicBezTo>
                    <a:pt x="11022" y="189"/>
                    <a:pt x="11022" y="189"/>
                    <a:pt x="11022" y="189"/>
                  </a:cubicBezTo>
                  <a:cubicBezTo>
                    <a:pt x="11077" y="180"/>
                    <a:pt x="11077" y="180"/>
                    <a:pt x="11077" y="180"/>
                  </a:cubicBezTo>
                  <a:cubicBezTo>
                    <a:pt x="11096" y="278"/>
                    <a:pt x="11096" y="278"/>
                    <a:pt x="11096" y="278"/>
                  </a:cubicBezTo>
                  <a:cubicBezTo>
                    <a:pt x="11137" y="271"/>
                    <a:pt x="11137" y="271"/>
                    <a:pt x="11137" y="271"/>
                  </a:cubicBezTo>
                  <a:cubicBezTo>
                    <a:pt x="11165" y="439"/>
                    <a:pt x="11165" y="439"/>
                    <a:pt x="11165" y="439"/>
                  </a:cubicBezTo>
                  <a:cubicBezTo>
                    <a:pt x="11260" y="423"/>
                    <a:pt x="11260" y="423"/>
                    <a:pt x="11260" y="423"/>
                  </a:cubicBezTo>
                  <a:cubicBezTo>
                    <a:pt x="11278" y="525"/>
                    <a:pt x="11278" y="525"/>
                    <a:pt x="11278" y="525"/>
                  </a:cubicBezTo>
                  <a:cubicBezTo>
                    <a:pt x="11184" y="541"/>
                    <a:pt x="11184" y="541"/>
                    <a:pt x="11184" y="541"/>
                  </a:cubicBezTo>
                  <a:cubicBezTo>
                    <a:pt x="11192" y="591"/>
                    <a:pt x="11192" y="591"/>
                    <a:pt x="11192" y="591"/>
                  </a:cubicBezTo>
                  <a:cubicBezTo>
                    <a:pt x="10963" y="630"/>
                    <a:pt x="10963" y="630"/>
                    <a:pt x="10963" y="630"/>
                  </a:cubicBezTo>
                  <a:cubicBezTo>
                    <a:pt x="10986" y="764"/>
                    <a:pt x="10986" y="764"/>
                    <a:pt x="10986" y="764"/>
                  </a:cubicBezTo>
                  <a:cubicBezTo>
                    <a:pt x="10847" y="788"/>
                    <a:pt x="10847" y="788"/>
                    <a:pt x="10847" y="788"/>
                  </a:cubicBezTo>
                  <a:lnTo>
                    <a:pt x="10817" y="606"/>
                  </a:lnTo>
                  <a:close/>
                  <a:moveTo>
                    <a:pt x="7759" y="829"/>
                  </a:moveTo>
                  <a:cubicBezTo>
                    <a:pt x="7717" y="740"/>
                    <a:pt x="7663" y="622"/>
                    <a:pt x="7617" y="507"/>
                  </a:cubicBezTo>
                  <a:cubicBezTo>
                    <a:pt x="7579" y="414"/>
                    <a:pt x="7569" y="335"/>
                    <a:pt x="7569" y="275"/>
                  </a:cubicBezTo>
                  <a:cubicBezTo>
                    <a:pt x="7569" y="203"/>
                    <a:pt x="7584" y="158"/>
                    <a:pt x="7587" y="150"/>
                  </a:cubicBezTo>
                  <a:cubicBezTo>
                    <a:pt x="7658" y="22"/>
                    <a:pt x="7658" y="22"/>
                    <a:pt x="7658" y="22"/>
                  </a:cubicBezTo>
                  <a:cubicBezTo>
                    <a:pt x="8871" y="743"/>
                    <a:pt x="8871" y="743"/>
                    <a:pt x="8871" y="743"/>
                  </a:cubicBezTo>
                  <a:cubicBezTo>
                    <a:pt x="8874" y="765"/>
                    <a:pt x="8879" y="807"/>
                    <a:pt x="8886" y="863"/>
                  </a:cubicBezTo>
                  <a:cubicBezTo>
                    <a:pt x="8850" y="865"/>
                    <a:pt x="8788" y="870"/>
                    <a:pt x="8709" y="877"/>
                  </a:cubicBezTo>
                  <a:cubicBezTo>
                    <a:pt x="8601" y="886"/>
                    <a:pt x="8464" y="899"/>
                    <a:pt x="8329" y="911"/>
                  </a:cubicBezTo>
                  <a:cubicBezTo>
                    <a:pt x="8106" y="931"/>
                    <a:pt x="7890" y="952"/>
                    <a:pt x="7822" y="958"/>
                  </a:cubicBezTo>
                  <a:cubicBezTo>
                    <a:pt x="7810" y="934"/>
                    <a:pt x="7787" y="888"/>
                    <a:pt x="7759" y="829"/>
                  </a:cubicBezTo>
                  <a:close/>
                  <a:moveTo>
                    <a:pt x="7885" y="1957"/>
                  </a:moveTo>
                  <a:cubicBezTo>
                    <a:pt x="7866" y="1954"/>
                    <a:pt x="7846" y="1952"/>
                    <a:pt x="7827" y="1950"/>
                  </a:cubicBezTo>
                  <a:cubicBezTo>
                    <a:pt x="7914" y="1711"/>
                    <a:pt x="7914" y="1711"/>
                    <a:pt x="7914" y="1711"/>
                  </a:cubicBezTo>
                  <a:cubicBezTo>
                    <a:pt x="7839" y="1022"/>
                    <a:pt x="7839" y="1022"/>
                    <a:pt x="7839" y="1022"/>
                  </a:cubicBezTo>
                  <a:cubicBezTo>
                    <a:pt x="7892" y="1017"/>
                    <a:pt x="8005" y="1007"/>
                    <a:pt x="8139" y="994"/>
                  </a:cubicBezTo>
                  <a:cubicBezTo>
                    <a:pt x="8326" y="977"/>
                    <a:pt x="8553" y="956"/>
                    <a:pt x="8714" y="942"/>
                  </a:cubicBezTo>
                  <a:cubicBezTo>
                    <a:pt x="8795" y="935"/>
                    <a:pt x="8861" y="930"/>
                    <a:pt x="8895" y="928"/>
                  </a:cubicBezTo>
                  <a:cubicBezTo>
                    <a:pt x="8900" y="969"/>
                    <a:pt x="8905" y="1013"/>
                    <a:pt x="8911" y="1060"/>
                  </a:cubicBezTo>
                  <a:cubicBezTo>
                    <a:pt x="8934" y="1245"/>
                    <a:pt x="8962" y="1466"/>
                    <a:pt x="8978" y="1613"/>
                  </a:cubicBezTo>
                  <a:cubicBezTo>
                    <a:pt x="8981" y="1641"/>
                    <a:pt x="8983" y="1668"/>
                    <a:pt x="8983" y="1695"/>
                  </a:cubicBezTo>
                  <a:cubicBezTo>
                    <a:pt x="8983" y="1901"/>
                    <a:pt x="8898" y="2064"/>
                    <a:pt x="8875" y="2104"/>
                  </a:cubicBezTo>
                  <a:cubicBezTo>
                    <a:pt x="8367" y="2028"/>
                    <a:pt x="7923" y="1962"/>
                    <a:pt x="7885" y="1957"/>
                  </a:cubicBezTo>
                  <a:close/>
                  <a:moveTo>
                    <a:pt x="8944" y="2114"/>
                  </a:moveTo>
                  <a:cubicBezTo>
                    <a:pt x="8979" y="2047"/>
                    <a:pt x="9048" y="1891"/>
                    <a:pt x="9048" y="1695"/>
                  </a:cubicBezTo>
                  <a:cubicBezTo>
                    <a:pt x="9048" y="1666"/>
                    <a:pt x="9047" y="1636"/>
                    <a:pt x="9043" y="1605"/>
                  </a:cubicBezTo>
                  <a:cubicBezTo>
                    <a:pt x="9013" y="1332"/>
                    <a:pt x="8945" y="802"/>
                    <a:pt x="8935" y="728"/>
                  </a:cubicBezTo>
                  <a:cubicBezTo>
                    <a:pt x="8936" y="726"/>
                    <a:pt x="8937" y="725"/>
                    <a:pt x="8938" y="723"/>
                  </a:cubicBezTo>
                  <a:cubicBezTo>
                    <a:pt x="8947" y="711"/>
                    <a:pt x="8959" y="694"/>
                    <a:pt x="8973" y="674"/>
                  </a:cubicBezTo>
                  <a:cubicBezTo>
                    <a:pt x="9000" y="635"/>
                    <a:pt x="9035" y="582"/>
                    <a:pt x="9069" y="530"/>
                  </a:cubicBezTo>
                  <a:cubicBezTo>
                    <a:pt x="9122" y="449"/>
                    <a:pt x="9174" y="369"/>
                    <a:pt x="9196" y="336"/>
                  </a:cubicBezTo>
                  <a:cubicBezTo>
                    <a:pt x="10193" y="350"/>
                    <a:pt x="10193" y="350"/>
                    <a:pt x="10193" y="350"/>
                  </a:cubicBezTo>
                  <a:cubicBezTo>
                    <a:pt x="10198" y="400"/>
                    <a:pt x="10209" y="509"/>
                    <a:pt x="10220" y="619"/>
                  </a:cubicBezTo>
                  <a:cubicBezTo>
                    <a:pt x="10233" y="749"/>
                    <a:pt x="10246" y="882"/>
                    <a:pt x="10250" y="923"/>
                  </a:cubicBezTo>
                  <a:cubicBezTo>
                    <a:pt x="10116" y="1096"/>
                    <a:pt x="10116" y="1096"/>
                    <a:pt x="10116" y="1096"/>
                  </a:cubicBezTo>
                  <a:cubicBezTo>
                    <a:pt x="10140" y="1765"/>
                    <a:pt x="10140" y="1765"/>
                    <a:pt x="10140" y="1765"/>
                  </a:cubicBezTo>
                  <a:cubicBezTo>
                    <a:pt x="9986" y="1891"/>
                    <a:pt x="9986" y="1891"/>
                    <a:pt x="9986" y="1891"/>
                  </a:cubicBezTo>
                  <a:cubicBezTo>
                    <a:pt x="9864" y="2251"/>
                    <a:pt x="9864" y="2251"/>
                    <a:pt x="9864" y="2251"/>
                  </a:cubicBezTo>
                  <a:cubicBezTo>
                    <a:pt x="9593" y="2210"/>
                    <a:pt x="9260" y="2161"/>
                    <a:pt x="8944" y="2114"/>
                  </a:cubicBezTo>
                  <a:close/>
                  <a:moveTo>
                    <a:pt x="12939" y="2718"/>
                  </a:moveTo>
                  <a:cubicBezTo>
                    <a:pt x="12838" y="2931"/>
                    <a:pt x="12707" y="3209"/>
                    <a:pt x="12566" y="3502"/>
                  </a:cubicBezTo>
                  <a:cubicBezTo>
                    <a:pt x="11657" y="2919"/>
                    <a:pt x="11657" y="2919"/>
                    <a:pt x="11657" y="2919"/>
                  </a:cubicBezTo>
                  <a:cubicBezTo>
                    <a:pt x="11578" y="2869"/>
                    <a:pt x="11399" y="2766"/>
                    <a:pt x="11218" y="2666"/>
                  </a:cubicBezTo>
                  <a:cubicBezTo>
                    <a:pt x="11036" y="2565"/>
                    <a:pt x="10856" y="2468"/>
                    <a:pt x="10772" y="2430"/>
                  </a:cubicBezTo>
                  <a:cubicBezTo>
                    <a:pt x="10612" y="2358"/>
                    <a:pt x="10452" y="2338"/>
                    <a:pt x="10429" y="2335"/>
                  </a:cubicBezTo>
                  <a:cubicBezTo>
                    <a:pt x="10424" y="2334"/>
                    <a:pt x="10220" y="2304"/>
                    <a:pt x="9930" y="2261"/>
                  </a:cubicBezTo>
                  <a:cubicBezTo>
                    <a:pt x="10042" y="1930"/>
                    <a:pt x="10042" y="1930"/>
                    <a:pt x="10042" y="1930"/>
                  </a:cubicBezTo>
                  <a:cubicBezTo>
                    <a:pt x="10207" y="1795"/>
                    <a:pt x="10207" y="1795"/>
                    <a:pt x="10207" y="1795"/>
                  </a:cubicBezTo>
                  <a:cubicBezTo>
                    <a:pt x="10182" y="1118"/>
                    <a:pt x="10182" y="1118"/>
                    <a:pt x="10182" y="1118"/>
                  </a:cubicBezTo>
                  <a:cubicBezTo>
                    <a:pt x="10302" y="963"/>
                    <a:pt x="10302" y="963"/>
                    <a:pt x="10302" y="963"/>
                  </a:cubicBezTo>
                  <a:cubicBezTo>
                    <a:pt x="11912" y="675"/>
                    <a:pt x="11912" y="675"/>
                    <a:pt x="11912" y="675"/>
                  </a:cubicBezTo>
                  <a:cubicBezTo>
                    <a:pt x="12107" y="1959"/>
                    <a:pt x="12107" y="1959"/>
                    <a:pt x="12107" y="1959"/>
                  </a:cubicBezTo>
                  <a:cubicBezTo>
                    <a:pt x="13109" y="2355"/>
                    <a:pt x="13109" y="2355"/>
                    <a:pt x="13109" y="2355"/>
                  </a:cubicBezTo>
                  <a:cubicBezTo>
                    <a:pt x="13082" y="2414"/>
                    <a:pt x="13021" y="2544"/>
                    <a:pt x="12939" y="2718"/>
                  </a:cubicBezTo>
                  <a:close/>
                  <a:moveTo>
                    <a:pt x="101" y="552"/>
                  </a:moveTo>
                  <a:cubicBezTo>
                    <a:pt x="66" y="564"/>
                    <a:pt x="33" y="576"/>
                    <a:pt x="0" y="587"/>
                  </a:cubicBezTo>
                  <a:cubicBezTo>
                    <a:pt x="0" y="539"/>
                    <a:pt x="0" y="539"/>
                    <a:pt x="0" y="539"/>
                  </a:cubicBezTo>
                  <a:cubicBezTo>
                    <a:pt x="28" y="529"/>
                    <a:pt x="57" y="519"/>
                    <a:pt x="86" y="509"/>
                  </a:cubicBezTo>
                  <a:cubicBezTo>
                    <a:pt x="211" y="466"/>
                    <a:pt x="283" y="418"/>
                    <a:pt x="325" y="361"/>
                  </a:cubicBezTo>
                  <a:cubicBezTo>
                    <a:pt x="366" y="305"/>
                    <a:pt x="380" y="236"/>
                    <a:pt x="380" y="146"/>
                  </a:cubicBezTo>
                  <a:cubicBezTo>
                    <a:pt x="380" y="102"/>
                    <a:pt x="376" y="54"/>
                    <a:pt x="372" y="0"/>
                  </a:cubicBezTo>
                  <a:cubicBezTo>
                    <a:pt x="417" y="0"/>
                    <a:pt x="417" y="0"/>
                    <a:pt x="417" y="0"/>
                  </a:cubicBezTo>
                  <a:cubicBezTo>
                    <a:pt x="422" y="53"/>
                    <a:pt x="425" y="101"/>
                    <a:pt x="425" y="146"/>
                  </a:cubicBezTo>
                  <a:cubicBezTo>
                    <a:pt x="425" y="240"/>
                    <a:pt x="411" y="320"/>
                    <a:pt x="361" y="388"/>
                  </a:cubicBezTo>
                  <a:cubicBezTo>
                    <a:pt x="312" y="456"/>
                    <a:pt x="230" y="508"/>
                    <a:pt x="101" y="552"/>
                  </a:cubicBezTo>
                  <a:close/>
                </a:path>
              </a:pathLst>
            </a:custGeom>
            <a:gradFill>
              <a:gsLst>
                <a:gs pos="40000">
                  <a:srgbClr val="FFFFFF"/>
                </a:gs>
                <a:gs pos="100000">
                  <a:srgbClr val="B0AAB2"/>
                </a:gs>
              </a:gsLst>
              <a:lin ang="0" scaled="1"/>
            </a:gradFill>
            <a:ln>
              <a:noFill/>
            </a:ln>
          </p:spPr>
          <p:txBody>
            <a:bodyPr vert="horz" wrap="square" lIns="91440" tIns="45720" rIns="91440" bIns="45720" numCol="1" anchor="t" anchorCtr="0" compatLnSpc="1">
              <a:prstTxWarp prst="textNoShape">
                <a:avLst/>
              </a:prstTxWarp>
            </a:bodyPr>
            <a:lstStyle/>
            <a:p>
              <a:endParaRPr lang="nl-NL" dirty="0"/>
            </a:p>
          </p:txBody>
        </p:sp>
        <p:sp>
          <p:nvSpPr>
            <p:cNvPr id="26" name="---Onder wit">
              <a:extLst>
                <a:ext uri="{FF2B5EF4-FFF2-40B4-BE49-F238E27FC236}">
                  <a16:creationId xmlns:a16="http://schemas.microsoft.com/office/drawing/2014/main" id="{5C774F85-65AA-4261-88A2-53A329D8FA08}"/>
                </a:ext>
              </a:extLst>
            </p:cNvPr>
            <p:cNvSpPr>
              <a:spLocks noSelect="1"/>
            </p:cNvSpPr>
            <p:nvPr userDrawn="1"/>
          </p:nvSpPr>
          <p:spPr bwMode="gray">
            <a:xfrm>
              <a:off x="6478588" y="5713200"/>
              <a:ext cx="5716588" cy="1141413"/>
            </a:xfrm>
            <a:custGeom>
              <a:avLst/>
              <a:gdLst>
                <a:gd name="T0" fmla="*/ 98 w 18004"/>
                <a:gd name="T1" fmla="*/ 543 h 3600"/>
                <a:gd name="T2" fmla="*/ 16855 w 18004"/>
                <a:gd name="T3" fmla="*/ 3468 h 3600"/>
                <a:gd name="T4" fmla="*/ 16175 w 18004"/>
                <a:gd name="T5" fmla="*/ 1314 h 3600"/>
                <a:gd name="T6" fmla="*/ 13264 w 18004"/>
                <a:gd name="T7" fmla="*/ 2369 h 3600"/>
                <a:gd name="T8" fmla="*/ 15276 w 18004"/>
                <a:gd name="T9" fmla="*/ 3572 h 3600"/>
                <a:gd name="T10" fmla="*/ 12667 w 18004"/>
                <a:gd name="T11" fmla="*/ 3600 h 3600"/>
                <a:gd name="T12" fmla="*/ 10410 w 18004"/>
                <a:gd name="T13" fmla="*/ 2467 h 3600"/>
                <a:gd name="T14" fmla="*/ 7522 w 18004"/>
                <a:gd name="T15" fmla="*/ 3600 h 3600"/>
                <a:gd name="T16" fmla="*/ 7674 w 18004"/>
                <a:gd name="T17" fmla="*/ 2075 h 3600"/>
                <a:gd name="T18" fmla="*/ 5720 w 18004"/>
                <a:gd name="T19" fmla="*/ 2014 h 3600"/>
                <a:gd name="T20" fmla="*/ 5562 w 18004"/>
                <a:gd name="T21" fmla="*/ 3568 h 3600"/>
                <a:gd name="T22" fmla="*/ 4906 w 18004"/>
                <a:gd name="T23" fmla="*/ 3600 h 3600"/>
                <a:gd name="T24" fmla="*/ 4575 w 18004"/>
                <a:gd name="T25" fmla="*/ 3029 h 3600"/>
                <a:gd name="T26" fmla="*/ 3487 w 18004"/>
                <a:gd name="T27" fmla="*/ 2427 h 3600"/>
                <a:gd name="T28" fmla="*/ 1699 w 18004"/>
                <a:gd name="T29" fmla="*/ 3600 h 3600"/>
                <a:gd name="T30" fmla="*/ 2530 w 18004"/>
                <a:gd name="T31" fmla="*/ 1954 h 3600"/>
                <a:gd name="T32" fmla="*/ 592 w 18004"/>
                <a:gd name="T33" fmla="*/ 1850 h 3600"/>
                <a:gd name="T34" fmla="*/ 1479 w 18004"/>
                <a:gd name="T35" fmla="*/ 1127 h 3600"/>
                <a:gd name="T36" fmla="*/ 2348 w 18004"/>
                <a:gd name="T37" fmla="*/ 261 h 3600"/>
                <a:gd name="T38" fmla="*/ 2303 w 18004"/>
                <a:gd name="T39" fmla="*/ 140 h 3600"/>
                <a:gd name="T40" fmla="*/ 2989 w 18004"/>
                <a:gd name="T41" fmla="*/ 83 h 3600"/>
                <a:gd name="T42" fmla="*/ 3479 w 18004"/>
                <a:gd name="T43" fmla="*/ 399 h 3600"/>
                <a:gd name="T44" fmla="*/ 4050 w 18004"/>
                <a:gd name="T45" fmla="*/ 1816 h 3600"/>
                <a:gd name="T46" fmla="*/ 4600 w 18004"/>
                <a:gd name="T47" fmla="*/ 722 h 3600"/>
                <a:gd name="T48" fmla="*/ 5077 w 18004"/>
                <a:gd name="T49" fmla="*/ 147 h 3600"/>
                <a:gd name="T50" fmla="*/ 6703 w 18004"/>
                <a:gd name="T51" fmla="*/ 440 h 3600"/>
                <a:gd name="T52" fmla="*/ 7785 w 18004"/>
                <a:gd name="T53" fmla="*/ 998 h 3600"/>
                <a:gd name="T54" fmla="*/ 8894 w 18004"/>
                <a:gd name="T55" fmla="*/ 698 h 3600"/>
                <a:gd name="T56" fmla="*/ 10217 w 18004"/>
                <a:gd name="T57" fmla="*/ 300 h 3600"/>
                <a:gd name="T58" fmla="*/ 10299 w 18004"/>
                <a:gd name="T59" fmla="*/ 903 h 3600"/>
                <a:gd name="T60" fmla="*/ 11809 w 18004"/>
                <a:gd name="T61" fmla="*/ 31 h 3600"/>
                <a:gd name="T62" fmla="*/ 13842 w 18004"/>
                <a:gd name="T63" fmla="*/ 315 h 3600"/>
                <a:gd name="T64" fmla="*/ 13942 w 18004"/>
                <a:gd name="T65" fmla="*/ 20 h 3600"/>
                <a:gd name="T66" fmla="*/ 14940 w 18004"/>
                <a:gd name="T67" fmla="*/ 0 h 3600"/>
                <a:gd name="T68" fmla="*/ 17832 w 18004"/>
                <a:gd name="T69" fmla="*/ 2023 h 3600"/>
                <a:gd name="T70" fmla="*/ 3446 w 18004"/>
                <a:gd name="T71" fmla="*/ 654 h 3600"/>
                <a:gd name="T72" fmla="*/ 2963 w 18004"/>
                <a:gd name="T73" fmla="*/ 215 h 3600"/>
                <a:gd name="T74" fmla="*/ 3123 w 18004"/>
                <a:gd name="T75" fmla="*/ 1682 h 3600"/>
                <a:gd name="T76" fmla="*/ 3740 w 18004"/>
                <a:gd name="T77" fmla="*/ 1659 h 3600"/>
                <a:gd name="T78" fmla="*/ 2835 w 18004"/>
                <a:gd name="T79" fmla="*/ 372 h 3600"/>
                <a:gd name="T80" fmla="*/ 1815 w 18004"/>
                <a:gd name="T81" fmla="*/ 1109 h 3600"/>
                <a:gd name="T82" fmla="*/ 3094 w 18004"/>
                <a:gd name="T83" fmla="*/ 1818 h 3600"/>
                <a:gd name="T84" fmla="*/ 2892 w 18004"/>
                <a:gd name="T85" fmla="*/ 1394 h 3600"/>
                <a:gd name="T86" fmla="*/ 3832 w 18004"/>
                <a:gd name="T87" fmla="*/ 2346 h 3600"/>
                <a:gd name="T88" fmla="*/ 3826 w 18004"/>
                <a:gd name="T89" fmla="*/ 1815 h 3600"/>
                <a:gd name="T90" fmla="*/ 2940 w 18004"/>
                <a:gd name="T91" fmla="*/ 1916 h 3600"/>
                <a:gd name="T92" fmla="*/ 4516 w 18004"/>
                <a:gd name="T93" fmla="*/ 1929 h 3600"/>
                <a:gd name="T94" fmla="*/ 5108 w 18004"/>
                <a:gd name="T95" fmla="*/ 1136 h 3600"/>
                <a:gd name="T96" fmla="*/ 6672 w 18004"/>
                <a:gd name="T97" fmla="*/ 463 h 3600"/>
                <a:gd name="T98" fmla="*/ 5426 w 18004"/>
                <a:gd name="T99" fmla="*/ 1823 h 3600"/>
                <a:gd name="T100" fmla="*/ 8905 w 18004"/>
                <a:gd name="T101" fmla="*/ 889 h 3600"/>
                <a:gd name="T102" fmla="*/ 7652 w 18004"/>
                <a:gd name="T103" fmla="*/ 2 h 3600"/>
                <a:gd name="T104" fmla="*/ 8891 w 18004"/>
                <a:gd name="T105" fmla="*/ 2104 h 3600"/>
                <a:gd name="T106" fmla="*/ 7810 w 18004"/>
                <a:gd name="T107" fmla="*/ 1952 h 3600"/>
                <a:gd name="T108" fmla="*/ 10265 w 18004"/>
                <a:gd name="T109" fmla="*/ 927 h 3600"/>
                <a:gd name="T110" fmla="*/ 8931 w 18004"/>
                <a:gd name="T111" fmla="*/ 2107 h 3600"/>
                <a:gd name="T112" fmla="*/ 9916 w 18004"/>
                <a:gd name="T113" fmla="*/ 2256 h 3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004" h="3600">
                  <a:moveTo>
                    <a:pt x="98" y="543"/>
                  </a:moveTo>
                  <a:cubicBezTo>
                    <a:pt x="64" y="555"/>
                    <a:pt x="32" y="566"/>
                    <a:pt x="0" y="577"/>
                  </a:cubicBezTo>
                  <a:cubicBezTo>
                    <a:pt x="0" y="549"/>
                    <a:pt x="0" y="549"/>
                    <a:pt x="0" y="549"/>
                  </a:cubicBezTo>
                  <a:cubicBezTo>
                    <a:pt x="29" y="539"/>
                    <a:pt x="58" y="529"/>
                    <a:pt x="89" y="518"/>
                  </a:cubicBezTo>
                  <a:cubicBezTo>
                    <a:pt x="340" y="430"/>
                    <a:pt x="387" y="327"/>
                    <a:pt x="389" y="146"/>
                  </a:cubicBezTo>
                  <a:cubicBezTo>
                    <a:pt x="389" y="102"/>
                    <a:pt x="386" y="53"/>
                    <a:pt x="382" y="0"/>
                  </a:cubicBezTo>
                  <a:cubicBezTo>
                    <a:pt x="408" y="0"/>
                    <a:pt x="408" y="0"/>
                    <a:pt x="408" y="0"/>
                  </a:cubicBezTo>
                  <a:cubicBezTo>
                    <a:pt x="412" y="53"/>
                    <a:pt x="415" y="101"/>
                    <a:pt x="415" y="146"/>
                  </a:cubicBezTo>
                  <a:cubicBezTo>
                    <a:pt x="417" y="333"/>
                    <a:pt x="354" y="457"/>
                    <a:pt x="98" y="543"/>
                  </a:cubicBezTo>
                  <a:close/>
                  <a:moveTo>
                    <a:pt x="18004" y="1930"/>
                  </a:moveTo>
                  <a:cubicBezTo>
                    <a:pt x="17776" y="2116"/>
                    <a:pt x="17541" y="2305"/>
                    <a:pt x="17455" y="2374"/>
                  </a:cubicBezTo>
                  <a:cubicBezTo>
                    <a:pt x="17578" y="2498"/>
                    <a:pt x="17753" y="2645"/>
                    <a:pt x="18004" y="2758"/>
                  </a:cubicBezTo>
                  <a:cubicBezTo>
                    <a:pt x="18004" y="2797"/>
                    <a:pt x="18004" y="2797"/>
                    <a:pt x="18004" y="2797"/>
                  </a:cubicBezTo>
                  <a:cubicBezTo>
                    <a:pt x="17739" y="2681"/>
                    <a:pt x="17554" y="2525"/>
                    <a:pt x="17426" y="2397"/>
                  </a:cubicBezTo>
                  <a:cubicBezTo>
                    <a:pt x="17422" y="2400"/>
                    <a:pt x="17420" y="2402"/>
                    <a:pt x="17420" y="2402"/>
                  </a:cubicBezTo>
                  <a:cubicBezTo>
                    <a:pt x="17420" y="2402"/>
                    <a:pt x="17394" y="2425"/>
                    <a:pt x="17353" y="2465"/>
                  </a:cubicBezTo>
                  <a:cubicBezTo>
                    <a:pt x="17229" y="2583"/>
                    <a:pt x="16975" y="2852"/>
                    <a:pt x="16920" y="3070"/>
                  </a:cubicBezTo>
                  <a:cubicBezTo>
                    <a:pt x="16882" y="3218"/>
                    <a:pt x="16887" y="3344"/>
                    <a:pt x="16855" y="3468"/>
                  </a:cubicBezTo>
                  <a:cubicBezTo>
                    <a:pt x="16844" y="3512"/>
                    <a:pt x="16828" y="3556"/>
                    <a:pt x="16803" y="3600"/>
                  </a:cubicBezTo>
                  <a:cubicBezTo>
                    <a:pt x="16761" y="3600"/>
                    <a:pt x="16761" y="3600"/>
                    <a:pt x="16761" y="3600"/>
                  </a:cubicBezTo>
                  <a:cubicBezTo>
                    <a:pt x="16790" y="3553"/>
                    <a:pt x="16808" y="3507"/>
                    <a:pt x="16820" y="3459"/>
                  </a:cubicBezTo>
                  <a:cubicBezTo>
                    <a:pt x="16850" y="3342"/>
                    <a:pt x="16846" y="3215"/>
                    <a:pt x="16885" y="3061"/>
                  </a:cubicBezTo>
                  <a:cubicBezTo>
                    <a:pt x="16966" y="2749"/>
                    <a:pt x="17396" y="2376"/>
                    <a:pt x="17397" y="2375"/>
                  </a:cubicBezTo>
                  <a:cubicBezTo>
                    <a:pt x="17397" y="2375"/>
                    <a:pt x="17398" y="2373"/>
                    <a:pt x="17401" y="2371"/>
                  </a:cubicBezTo>
                  <a:cubicBezTo>
                    <a:pt x="17347" y="2315"/>
                    <a:pt x="17303" y="2266"/>
                    <a:pt x="17269" y="2229"/>
                  </a:cubicBezTo>
                  <a:cubicBezTo>
                    <a:pt x="17268" y="2229"/>
                    <a:pt x="17239" y="2195"/>
                    <a:pt x="17186" y="2138"/>
                  </a:cubicBezTo>
                  <a:cubicBezTo>
                    <a:pt x="17025" y="1968"/>
                    <a:pt x="16644" y="1591"/>
                    <a:pt x="16175" y="1314"/>
                  </a:cubicBezTo>
                  <a:cubicBezTo>
                    <a:pt x="15985" y="1202"/>
                    <a:pt x="15747" y="1060"/>
                    <a:pt x="15508" y="933"/>
                  </a:cubicBezTo>
                  <a:cubicBezTo>
                    <a:pt x="15236" y="788"/>
                    <a:pt x="14962" y="650"/>
                    <a:pt x="14756" y="548"/>
                  </a:cubicBezTo>
                  <a:cubicBezTo>
                    <a:pt x="14654" y="497"/>
                    <a:pt x="14568" y="455"/>
                    <a:pt x="14508" y="425"/>
                  </a:cubicBezTo>
                  <a:cubicBezTo>
                    <a:pt x="14478" y="410"/>
                    <a:pt x="14454" y="398"/>
                    <a:pt x="14438" y="390"/>
                  </a:cubicBezTo>
                  <a:cubicBezTo>
                    <a:pt x="14430" y="386"/>
                    <a:pt x="14423" y="382"/>
                    <a:pt x="14419" y="380"/>
                  </a:cubicBezTo>
                  <a:cubicBezTo>
                    <a:pt x="14417" y="379"/>
                    <a:pt x="14416" y="378"/>
                    <a:pt x="14415" y="378"/>
                  </a:cubicBezTo>
                  <a:cubicBezTo>
                    <a:pt x="13960" y="328"/>
                    <a:pt x="13960" y="328"/>
                    <a:pt x="13960" y="328"/>
                  </a:cubicBezTo>
                  <a:cubicBezTo>
                    <a:pt x="13254" y="2358"/>
                    <a:pt x="13254" y="2358"/>
                    <a:pt x="13254" y="2358"/>
                  </a:cubicBezTo>
                  <a:cubicBezTo>
                    <a:pt x="13257" y="2361"/>
                    <a:pt x="13260" y="2365"/>
                    <a:pt x="13264" y="2369"/>
                  </a:cubicBezTo>
                  <a:cubicBezTo>
                    <a:pt x="13332" y="2407"/>
                    <a:pt x="13423" y="2475"/>
                    <a:pt x="13486" y="2583"/>
                  </a:cubicBezTo>
                  <a:cubicBezTo>
                    <a:pt x="13593" y="2767"/>
                    <a:pt x="13631" y="2829"/>
                    <a:pt x="13837" y="2923"/>
                  </a:cubicBezTo>
                  <a:cubicBezTo>
                    <a:pt x="14044" y="3016"/>
                    <a:pt x="15269" y="3531"/>
                    <a:pt x="15289" y="3539"/>
                  </a:cubicBezTo>
                  <a:cubicBezTo>
                    <a:pt x="15296" y="3542"/>
                    <a:pt x="15302" y="3546"/>
                    <a:pt x="15316" y="3555"/>
                  </a:cubicBezTo>
                  <a:cubicBezTo>
                    <a:pt x="15331" y="3566"/>
                    <a:pt x="15353" y="3582"/>
                    <a:pt x="15379" y="3600"/>
                  </a:cubicBezTo>
                  <a:cubicBezTo>
                    <a:pt x="15317" y="3600"/>
                    <a:pt x="15317" y="3600"/>
                    <a:pt x="15317" y="3600"/>
                  </a:cubicBezTo>
                  <a:cubicBezTo>
                    <a:pt x="15308" y="3594"/>
                    <a:pt x="15299" y="3588"/>
                    <a:pt x="15293" y="3583"/>
                  </a:cubicBezTo>
                  <a:cubicBezTo>
                    <a:pt x="15288" y="3580"/>
                    <a:pt x="15283" y="3577"/>
                    <a:pt x="15280" y="3575"/>
                  </a:cubicBezTo>
                  <a:cubicBezTo>
                    <a:pt x="15278" y="3574"/>
                    <a:pt x="15277" y="3573"/>
                    <a:pt x="15276" y="3572"/>
                  </a:cubicBezTo>
                  <a:cubicBezTo>
                    <a:pt x="15276" y="3572"/>
                    <a:pt x="15276" y="3572"/>
                    <a:pt x="15275" y="3572"/>
                  </a:cubicBezTo>
                  <a:cubicBezTo>
                    <a:pt x="15245" y="3560"/>
                    <a:pt x="14031" y="3049"/>
                    <a:pt x="13822" y="2956"/>
                  </a:cubicBezTo>
                  <a:cubicBezTo>
                    <a:pt x="13612" y="2862"/>
                    <a:pt x="13560" y="2785"/>
                    <a:pt x="13455" y="2601"/>
                  </a:cubicBezTo>
                  <a:cubicBezTo>
                    <a:pt x="13404" y="2513"/>
                    <a:pt x="13331" y="2452"/>
                    <a:pt x="13270" y="2414"/>
                  </a:cubicBezTo>
                  <a:cubicBezTo>
                    <a:pt x="13262" y="2409"/>
                    <a:pt x="13253" y="2404"/>
                    <a:pt x="13245" y="2399"/>
                  </a:cubicBezTo>
                  <a:cubicBezTo>
                    <a:pt x="13238" y="2397"/>
                    <a:pt x="13238" y="2397"/>
                    <a:pt x="13238" y="2397"/>
                  </a:cubicBezTo>
                  <a:cubicBezTo>
                    <a:pt x="13188" y="2503"/>
                    <a:pt x="12945" y="3022"/>
                    <a:pt x="12671" y="3593"/>
                  </a:cubicBezTo>
                  <a:cubicBezTo>
                    <a:pt x="12681" y="3600"/>
                    <a:pt x="12681" y="3600"/>
                    <a:pt x="12681" y="3600"/>
                  </a:cubicBezTo>
                  <a:cubicBezTo>
                    <a:pt x="12667" y="3600"/>
                    <a:pt x="12667" y="3600"/>
                    <a:pt x="12667" y="3600"/>
                  </a:cubicBezTo>
                  <a:cubicBezTo>
                    <a:pt x="12540" y="3600"/>
                    <a:pt x="12540" y="3600"/>
                    <a:pt x="12540" y="3600"/>
                  </a:cubicBezTo>
                  <a:cubicBezTo>
                    <a:pt x="12472" y="3600"/>
                    <a:pt x="12472" y="3600"/>
                    <a:pt x="12472" y="3600"/>
                  </a:cubicBezTo>
                  <a:cubicBezTo>
                    <a:pt x="11585" y="3032"/>
                    <a:pt x="11585" y="3032"/>
                    <a:pt x="11585" y="3032"/>
                  </a:cubicBezTo>
                  <a:cubicBezTo>
                    <a:pt x="11440" y="2939"/>
                    <a:pt x="10867" y="2619"/>
                    <a:pt x="10717" y="2552"/>
                  </a:cubicBezTo>
                  <a:cubicBezTo>
                    <a:pt x="10644" y="2519"/>
                    <a:pt x="10567" y="2497"/>
                    <a:pt x="10508" y="2485"/>
                  </a:cubicBezTo>
                  <a:cubicBezTo>
                    <a:pt x="10479" y="2478"/>
                    <a:pt x="10455" y="2474"/>
                    <a:pt x="10438" y="2471"/>
                  </a:cubicBezTo>
                  <a:cubicBezTo>
                    <a:pt x="10421" y="2468"/>
                    <a:pt x="10412" y="2468"/>
                    <a:pt x="10412" y="2467"/>
                  </a:cubicBezTo>
                  <a:cubicBezTo>
                    <a:pt x="10411" y="2467"/>
                    <a:pt x="10411" y="2467"/>
                    <a:pt x="10411" y="2467"/>
                  </a:cubicBezTo>
                  <a:cubicBezTo>
                    <a:pt x="10410" y="2467"/>
                    <a:pt x="10410" y="2467"/>
                    <a:pt x="10410" y="2467"/>
                  </a:cubicBezTo>
                  <a:cubicBezTo>
                    <a:pt x="10409" y="2467"/>
                    <a:pt x="10256" y="2444"/>
                    <a:pt x="10025" y="2410"/>
                  </a:cubicBezTo>
                  <a:cubicBezTo>
                    <a:pt x="9331" y="2307"/>
                    <a:pt x="7932" y="2098"/>
                    <a:pt x="7867" y="2089"/>
                  </a:cubicBezTo>
                  <a:cubicBezTo>
                    <a:pt x="7836" y="2085"/>
                    <a:pt x="7800" y="2082"/>
                    <a:pt x="7768" y="2080"/>
                  </a:cubicBezTo>
                  <a:cubicBezTo>
                    <a:pt x="7761" y="2098"/>
                    <a:pt x="7761" y="2098"/>
                    <a:pt x="7761" y="2098"/>
                  </a:cubicBezTo>
                  <a:cubicBezTo>
                    <a:pt x="7461" y="3457"/>
                    <a:pt x="7461" y="3457"/>
                    <a:pt x="7461" y="3457"/>
                  </a:cubicBezTo>
                  <a:cubicBezTo>
                    <a:pt x="7461" y="3458"/>
                    <a:pt x="7461" y="3459"/>
                    <a:pt x="7460" y="3463"/>
                  </a:cubicBezTo>
                  <a:cubicBezTo>
                    <a:pt x="7460" y="3466"/>
                    <a:pt x="7459" y="3472"/>
                    <a:pt x="7459" y="3479"/>
                  </a:cubicBezTo>
                  <a:cubicBezTo>
                    <a:pt x="7459" y="3503"/>
                    <a:pt x="7465" y="3542"/>
                    <a:pt x="7501" y="3581"/>
                  </a:cubicBezTo>
                  <a:cubicBezTo>
                    <a:pt x="7507" y="3588"/>
                    <a:pt x="7514" y="3594"/>
                    <a:pt x="7522" y="3600"/>
                  </a:cubicBezTo>
                  <a:cubicBezTo>
                    <a:pt x="7470" y="3600"/>
                    <a:pt x="7470" y="3600"/>
                    <a:pt x="7470" y="3600"/>
                  </a:cubicBezTo>
                  <a:cubicBezTo>
                    <a:pt x="7431" y="3555"/>
                    <a:pt x="7423" y="3508"/>
                    <a:pt x="7423" y="3479"/>
                  </a:cubicBezTo>
                  <a:cubicBezTo>
                    <a:pt x="7423" y="3461"/>
                    <a:pt x="7426" y="3450"/>
                    <a:pt x="7426" y="3449"/>
                  </a:cubicBezTo>
                  <a:cubicBezTo>
                    <a:pt x="7727" y="2088"/>
                    <a:pt x="7727" y="2088"/>
                    <a:pt x="7727" y="2088"/>
                  </a:cubicBezTo>
                  <a:cubicBezTo>
                    <a:pt x="7727" y="2077"/>
                    <a:pt x="7727" y="2077"/>
                    <a:pt x="7727" y="2077"/>
                  </a:cubicBezTo>
                  <a:cubicBezTo>
                    <a:pt x="7714" y="2076"/>
                    <a:pt x="7702" y="2076"/>
                    <a:pt x="7694" y="2075"/>
                  </a:cubicBezTo>
                  <a:cubicBezTo>
                    <a:pt x="7688" y="2075"/>
                    <a:pt x="7683" y="2075"/>
                    <a:pt x="7680" y="2075"/>
                  </a:cubicBezTo>
                  <a:cubicBezTo>
                    <a:pt x="7679" y="2075"/>
                    <a:pt x="7677" y="2075"/>
                    <a:pt x="7676" y="2075"/>
                  </a:cubicBezTo>
                  <a:cubicBezTo>
                    <a:pt x="7676" y="2075"/>
                    <a:pt x="7675" y="2075"/>
                    <a:pt x="7674" y="2075"/>
                  </a:cubicBezTo>
                  <a:cubicBezTo>
                    <a:pt x="7674" y="2075"/>
                    <a:pt x="7674" y="2075"/>
                    <a:pt x="7673" y="2074"/>
                  </a:cubicBezTo>
                  <a:cubicBezTo>
                    <a:pt x="7635" y="2073"/>
                    <a:pt x="7276" y="2060"/>
                    <a:pt x="6875" y="2046"/>
                  </a:cubicBezTo>
                  <a:cubicBezTo>
                    <a:pt x="6874" y="2048"/>
                    <a:pt x="6873" y="2051"/>
                    <a:pt x="6872" y="2053"/>
                  </a:cubicBezTo>
                  <a:cubicBezTo>
                    <a:pt x="6329" y="3600"/>
                    <a:pt x="6329" y="3600"/>
                    <a:pt x="6329" y="3600"/>
                  </a:cubicBezTo>
                  <a:cubicBezTo>
                    <a:pt x="6301" y="3600"/>
                    <a:pt x="6301" y="3600"/>
                    <a:pt x="6301" y="3600"/>
                  </a:cubicBezTo>
                  <a:cubicBezTo>
                    <a:pt x="6843" y="2057"/>
                    <a:pt x="6843" y="2057"/>
                    <a:pt x="6843" y="2057"/>
                  </a:cubicBezTo>
                  <a:cubicBezTo>
                    <a:pt x="6842" y="2045"/>
                    <a:pt x="6842" y="2045"/>
                    <a:pt x="6842" y="2045"/>
                  </a:cubicBezTo>
                  <a:cubicBezTo>
                    <a:pt x="6358" y="2027"/>
                    <a:pt x="5825" y="2008"/>
                    <a:pt x="5722" y="2005"/>
                  </a:cubicBezTo>
                  <a:cubicBezTo>
                    <a:pt x="5721" y="2008"/>
                    <a:pt x="5720" y="2011"/>
                    <a:pt x="5720" y="2014"/>
                  </a:cubicBezTo>
                  <a:cubicBezTo>
                    <a:pt x="5565" y="3540"/>
                    <a:pt x="5565" y="3540"/>
                    <a:pt x="5565" y="3540"/>
                  </a:cubicBezTo>
                  <a:cubicBezTo>
                    <a:pt x="5572" y="3542"/>
                    <a:pt x="5572" y="3542"/>
                    <a:pt x="5572" y="3542"/>
                  </a:cubicBezTo>
                  <a:cubicBezTo>
                    <a:pt x="5619" y="3551"/>
                    <a:pt x="5778" y="3573"/>
                    <a:pt x="5931" y="3594"/>
                  </a:cubicBezTo>
                  <a:cubicBezTo>
                    <a:pt x="5945" y="3596"/>
                    <a:pt x="5959" y="3598"/>
                    <a:pt x="5973" y="3600"/>
                  </a:cubicBezTo>
                  <a:cubicBezTo>
                    <a:pt x="5783" y="3600"/>
                    <a:pt x="5783" y="3600"/>
                    <a:pt x="5783" y="3600"/>
                  </a:cubicBezTo>
                  <a:cubicBezTo>
                    <a:pt x="5742" y="3595"/>
                    <a:pt x="5704" y="3589"/>
                    <a:pt x="5672" y="3584"/>
                  </a:cubicBezTo>
                  <a:cubicBezTo>
                    <a:pt x="5637" y="3579"/>
                    <a:pt x="5608" y="3575"/>
                    <a:pt x="5587" y="3572"/>
                  </a:cubicBezTo>
                  <a:cubicBezTo>
                    <a:pt x="5580" y="3570"/>
                    <a:pt x="5573" y="3569"/>
                    <a:pt x="5568" y="3568"/>
                  </a:cubicBezTo>
                  <a:cubicBezTo>
                    <a:pt x="5562" y="3568"/>
                    <a:pt x="5562" y="3568"/>
                    <a:pt x="5562" y="3568"/>
                  </a:cubicBezTo>
                  <a:cubicBezTo>
                    <a:pt x="5558" y="3600"/>
                    <a:pt x="5558" y="3600"/>
                    <a:pt x="5558" y="3600"/>
                  </a:cubicBezTo>
                  <a:cubicBezTo>
                    <a:pt x="5522" y="3600"/>
                    <a:pt x="5522" y="3600"/>
                    <a:pt x="5522" y="3600"/>
                  </a:cubicBezTo>
                  <a:cubicBezTo>
                    <a:pt x="5682" y="2029"/>
                    <a:pt x="5682" y="2029"/>
                    <a:pt x="5682" y="2029"/>
                  </a:cubicBezTo>
                  <a:cubicBezTo>
                    <a:pt x="5681" y="2029"/>
                    <a:pt x="5681" y="2029"/>
                    <a:pt x="5681" y="2029"/>
                  </a:cubicBezTo>
                  <a:cubicBezTo>
                    <a:pt x="5680" y="2002"/>
                    <a:pt x="5680" y="2002"/>
                    <a:pt x="5680" y="2002"/>
                  </a:cubicBezTo>
                  <a:cubicBezTo>
                    <a:pt x="5677" y="1998"/>
                    <a:pt x="5677" y="1998"/>
                    <a:pt x="5677" y="1998"/>
                  </a:cubicBezTo>
                  <a:cubicBezTo>
                    <a:pt x="5659" y="1994"/>
                    <a:pt x="5626" y="1986"/>
                    <a:pt x="5585" y="1977"/>
                  </a:cubicBezTo>
                  <a:cubicBezTo>
                    <a:pt x="5453" y="1947"/>
                    <a:pt x="5234" y="1898"/>
                    <a:pt x="5125" y="1873"/>
                  </a:cubicBezTo>
                  <a:cubicBezTo>
                    <a:pt x="5102" y="2051"/>
                    <a:pt x="5011" y="2777"/>
                    <a:pt x="4906" y="3600"/>
                  </a:cubicBezTo>
                  <a:cubicBezTo>
                    <a:pt x="4790" y="3600"/>
                    <a:pt x="4790" y="3600"/>
                    <a:pt x="4790" y="3600"/>
                  </a:cubicBezTo>
                  <a:cubicBezTo>
                    <a:pt x="4845" y="3168"/>
                    <a:pt x="4897" y="2762"/>
                    <a:pt x="4937" y="2447"/>
                  </a:cubicBezTo>
                  <a:cubicBezTo>
                    <a:pt x="4972" y="2170"/>
                    <a:pt x="4998" y="1965"/>
                    <a:pt x="5009" y="1872"/>
                  </a:cubicBezTo>
                  <a:cubicBezTo>
                    <a:pt x="4906" y="1891"/>
                    <a:pt x="4906" y="1891"/>
                    <a:pt x="4906" y="1891"/>
                  </a:cubicBezTo>
                  <a:cubicBezTo>
                    <a:pt x="4688" y="3600"/>
                    <a:pt x="4688" y="3600"/>
                    <a:pt x="4688" y="3600"/>
                  </a:cubicBezTo>
                  <a:cubicBezTo>
                    <a:pt x="4573" y="3600"/>
                    <a:pt x="4573" y="3600"/>
                    <a:pt x="4573" y="3600"/>
                  </a:cubicBezTo>
                  <a:cubicBezTo>
                    <a:pt x="4641" y="3064"/>
                    <a:pt x="4641" y="3064"/>
                    <a:pt x="4641" y="3064"/>
                  </a:cubicBezTo>
                  <a:cubicBezTo>
                    <a:pt x="4637" y="3062"/>
                    <a:pt x="4633" y="3058"/>
                    <a:pt x="4629" y="3055"/>
                  </a:cubicBezTo>
                  <a:cubicBezTo>
                    <a:pt x="4616" y="3049"/>
                    <a:pt x="4598" y="3040"/>
                    <a:pt x="4575" y="3029"/>
                  </a:cubicBezTo>
                  <a:cubicBezTo>
                    <a:pt x="4436" y="2964"/>
                    <a:pt x="4124" y="2833"/>
                    <a:pt x="3859" y="2834"/>
                  </a:cubicBezTo>
                  <a:cubicBezTo>
                    <a:pt x="3845" y="2834"/>
                    <a:pt x="3831" y="2834"/>
                    <a:pt x="3817" y="2835"/>
                  </a:cubicBezTo>
                  <a:cubicBezTo>
                    <a:pt x="3634" y="2845"/>
                    <a:pt x="3507" y="2855"/>
                    <a:pt x="3427" y="2863"/>
                  </a:cubicBezTo>
                  <a:cubicBezTo>
                    <a:pt x="3347" y="2870"/>
                    <a:pt x="3313" y="2875"/>
                    <a:pt x="3313" y="2875"/>
                  </a:cubicBezTo>
                  <a:cubicBezTo>
                    <a:pt x="3307" y="2840"/>
                    <a:pt x="3307" y="2840"/>
                    <a:pt x="3307" y="2840"/>
                  </a:cubicBezTo>
                  <a:cubicBezTo>
                    <a:pt x="3308" y="2840"/>
                    <a:pt x="3447" y="2819"/>
                    <a:pt x="3815" y="2799"/>
                  </a:cubicBezTo>
                  <a:cubicBezTo>
                    <a:pt x="3823" y="2798"/>
                    <a:pt x="3831" y="2798"/>
                    <a:pt x="3839" y="2798"/>
                  </a:cubicBezTo>
                  <a:cubicBezTo>
                    <a:pt x="3750" y="2400"/>
                    <a:pt x="3750" y="2400"/>
                    <a:pt x="3750" y="2400"/>
                  </a:cubicBezTo>
                  <a:cubicBezTo>
                    <a:pt x="3670" y="2413"/>
                    <a:pt x="3602" y="2416"/>
                    <a:pt x="3487" y="2427"/>
                  </a:cubicBezTo>
                  <a:cubicBezTo>
                    <a:pt x="3346" y="2440"/>
                    <a:pt x="3188" y="2453"/>
                    <a:pt x="3065" y="2463"/>
                  </a:cubicBezTo>
                  <a:cubicBezTo>
                    <a:pt x="3003" y="2468"/>
                    <a:pt x="2951" y="2472"/>
                    <a:pt x="2913" y="2475"/>
                  </a:cubicBezTo>
                  <a:cubicBezTo>
                    <a:pt x="2898" y="2476"/>
                    <a:pt x="2885" y="2477"/>
                    <a:pt x="2876" y="2478"/>
                  </a:cubicBezTo>
                  <a:cubicBezTo>
                    <a:pt x="3113" y="3600"/>
                    <a:pt x="3113" y="3600"/>
                    <a:pt x="3113" y="3600"/>
                  </a:cubicBezTo>
                  <a:cubicBezTo>
                    <a:pt x="3076" y="3600"/>
                    <a:pt x="3076" y="3600"/>
                    <a:pt x="3076" y="3600"/>
                  </a:cubicBezTo>
                  <a:cubicBezTo>
                    <a:pt x="3066" y="3554"/>
                    <a:pt x="3066" y="3554"/>
                    <a:pt x="3066" y="3554"/>
                  </a:cubicBezTo>
                  <a:cubicBezTo>
                    <a:pt x="3063" y="3554"/>
                    <a:pt x="3063" y="3554"/>
                    <a:pt x="3063" y="3554"/>
                  </a:cubicBezTo>
                  <a:cubicBezTo>
                    <a:pt x="2190" y="3600"/>
                    <a:pt x="2190" y="3600"/>
                    <a:pt x="2190" y="3600"/>
                  </a:cubicBezTo>
                  <a:cubicBezTo>
                    <a:pt x="1699" y="3600"/>
                    <a:pt x="1699" y="3600"/>
                    <a:pt x="1699" y="3600"/>
                  </a:cubicBezTo>
                  <a:cubicBezTo>
                    <a:pt x="3042" y="3528"/>
                    <a:pt x="3042" y="3528"/>
                    <a:pt x="3042" y="3528"/>
                  </a:cubicBezTo>
                  <a:cubicBezTo>
                    <a:pt x="3060" y="3525"/>
                    <a:pt x="3060" y="3525"/>
                    <a:pt x="3060" y="3525"/>
                  </a:cubicBezTo>
                  <a:cubicBezTo>
                    <a:pt x="2837" y="2471"/>
                    <a:pt x="2837" y="2471"/>
                    <a:pt x="2837" y="2471"/>
                  </a:cubicBezTo>
                  <a:cubicBezTo>
                    <a:pt x="2836" y="2469"/>
                    <a:pt x="2835" y="2466"/>
                    <a:pt x="2835" y="2462"/>
                  </a:cubicBezTo>
                  <a:cubicBezTo>
                    <a:pt x="2835" y="2461"/>
                    <a:pt x="2835" y="2460"/>
                    <a:pt x="2835" y="2459"/>
                  </a:cubicBezTo>
                  <a:cubicBezTo>
                    <a:pt x="2727" y="1946"/>
                    <a:pt x="2727" y="1946"/>
                    <a:pt x="2727" y="1946"/>
                  </a:cubicBezTo>
                  <a:cubicBezTo>
                    <a:pt x="2656" y="1950"/>
                    <a:pt x="2588" y="1951"/>
                    <a:pt x="2548" y="1953"/>
                  </a:cubicBezTo>
                  <a:cubicBezTo>
                    <a:pt x="2542" y="1954"/>
                    <a:pt x="2536" y="1954"/>
                    <a:pt x="2531" y="1954"/>
                  </a:cubicBezTo>
                  <a:cubicBezTo>
                    <a:pt x="2530" y="1954"/>
                    <a:pt x="2530" y="1954"/>
                    <a:pt x="2530" y="1954"/>
                  </a:cubicBezTo>
                  <a:cubicBezTo>
                    <a:pt x="2449" y="1954"/>
                    <a:pt x="2382" y="1924"/>
                    <a:pt x="2355" y="1865"/>
                  </a:cubicBezTo>
                  <a:cubicBezTo>
                    <a:pt x="2344" y="1841"/>
                    <a:pt x="2334" y="1798"/>
                    <a:pt x="2325" y="1752"/>
                  </a:cubicBezTo>
                  <a:cubicBezTo>
                    <a:pt x="766" y="2146"/>
                    <a:pt x="766" y="2146"/>
                    <a:pt x="766" y="2146"/>
                  </a:cubicBezTo>
                  <a:cubicBezTo>
                    <a:pt x="943" y="2534"/>
                    <a:pt x="1156" y="3005"/>
                    <a:pt x="1175" y="3052"/>
                  </a:cubicBezTo>
                  <a:cubicBezTo>
                    <a:pt x="1197" y="3107"/>
                    <a:pt x="1269" y="3369"/>
                    <a:pt x="1322" y="3600"/>
                  </a:cubicBezTo>
                  <a:cubicBezTo>
                    <a:pt x="1285" y="3600"/>
                    <a:pt x="1285" y="3600"/>
                    <a:pt x="1285" y="3600"/>
                  </a:cubicBezTo>
                  <a:cubicBezTo>
                    <a:pt x="1232" y="3372"/>
                    <a:pt x="1162" y="3115"/>
                    <a:pt x="1142" y="3065"/>
                  </a:cubicBezTo>
                  <a:cubicBezTo>
                    <a:pt x="1126" y="3027"/>
                    <a:pt x="964" y="2669"/>
                    <a:pt x="807" y="2322"/>
                  </a:cubicBezTo>
                  <a:cubicBezTo>
                    <a:pt x="728" y="2149"/>
                    <a:pt x="650" y="1978"/>
                    <a:pt x="592" y="1850"/>
                  </a:cubicBezTo>
                  <a:cubicBezTo>
                    <a:pt x="554" y="1766"/>
                    <a:pt x="524" y="1702"/>
                    <a:pt x="509" y="1667"/>
                  </a:cubicBezTo>
                  <a:cubicBezTo>
                    <a:pt x="498" y="1655"/>
                    <a:pt x="498" y="1655"/>
                    <a:pt x="498" y="1655"/>
                  </a:cubicBezTo>
                  <a:cubicBezTo>
                    <a:pt x="437" y="1682"/>
                    <a:pt x="398" y="1701"/>
                    <a:pt x="398" y="1701"/>
                  </a:cubicBezTo>
                  <a:cubicBezTo>
                    <a:pt x="398" y="1700"/>
                    <a:pt x="264" y="1765"/>
                    <a:pt x="61" y="1862"/>
                  </a:cubicBezTo>
                  <a:cubicBezTo>
                    <a:pt x="41" y="1872"/>
                    <a:pt x="21" y="1882"/>
                    <a:pt x="0" y="1892"/>
                  </a:cubicBezTo>
                  <a:cubicBezTo>
                    <a:pt x="0" y="1764"/>
                    <a:pt x="0" y="1764"/>
                    <a:pt x="0" y="1764"/>
                  </a:cubicBezTo>
                  <a:cubicBezTo>
                    <a:pt x="209" y="1664"/>
                    <a:pt x="348" y="1597"/>
                    <a:pt x="349" y="1597"/>
                  </a:cubicBezTo>
                  <a:cubicBezTo>
                    <a:pt x="350" y="1596"/>
                    <a:pt x="688" y="1439"/>
                    <a:pt x="924" y="1346"/>
                  </a:cubicBezTo>
                  <a:cubicBezTo>
                    <a:pt x="1041" y="1300"/>
                    <a:pt x="1268" y="1213"/>
                    <a:pt x="1479" y="1127"/>
                  </a:cubicBezTo>
                  <a:cubicBezTo>
                    <a:pt x="1585" y="1083"/>
                    <a:pt x="1686" y="1041"/>
                    <a:pt x="1768" y="1004"/>
                  </a:cubicBezTo>
                  <a:cubicBezTo>
                    <a:pt x="1849" y="968"/>
                    <a:pt x="1912" y="935"/>
                    <a:pt x="1930" y="921"/>
                  </a:cubicBezTo>
                  <a:cubicBezTo>
                    <a:pt x="1950" y="907"/>
                    <a:pt x="1995" y="859"/>
                    <a:pt x="2046" y="801"/>
                  </a:cubicBezTo>
                  <a:cubicBezTo>
                    <a:pt x="2122" y="713"/>
                    <a:pt x="2215" y="596"/>
                    <a:pt x="2289" y="502"/>
                  </a:cubicBezTo>
                  <a:cubicBezTo>
                    <a:pt x="2339" y="438"/>
                    <a:pt x="2379" y="385"/>
                    <a:pt x="2400" y="357"/>
                  </a:cubicBezTo>
                  <a:cubicBezTo>
                    <a:pt x="2400" y="357"/>
                    <a:pt x="2400" y="357"/>
                    <a:pt x="2400" y="357"/>
                  </a:cubicBezTo>
                  <a:cubicBezTo>
                    <a:pt x="2400" y="357"/>
                    <a:pt x="2402" y="355"/>
                    <a:pt x="2405" y="352"/>
                  </a:cubicBezTo>
                  <a:cubicBezTo>
                    <a:pt x="2408" y="347"/>
                    <a:pt x="2411" y="343"/>
                    <a:pt x="2413" y="340"/>
                  </a:cubicBezTo>
                  <a:cubicBezTo>
                    <a:pt x="2388" y="317"/>
                    <a:pt x="2366" y="291"/>
                    <a:pt x="2348" y="261"/>
                  </a:cubicBezTo>
                  <a:cubicBezTo>
                    <a:pt x="2346" y="261"/>
                    <a:pt x="2343" y="261"/>
                    <a:pt x="2340" y="260"/>
                  </a:cubicBezTo>
                  <a:cubicBezTo>
                    <a:pt x="2339" y="262"/>
                    <a:pt x="2339" y="262"/>
                    <a:pt x="2339" y="262"/>
                  </a:cubicBezTo>
                  <a:cubicBezTo>
                    <a:pt x="2335" y="261"/>
                    <a:pt x="1811" y="184"/>
                    <a:pt x="1626" y="141"/>
                  </a:cubicBezTo>
                  <a:cubicBezTo>
                    <a:pt x="1496" y="110"/>
                    <a:pt x="1396" y="59"/>
                    <a:pt x="1295" y="0"/>
                  </a:cubicBezTo>
                  <a:cubicBezTo>
                    <a:pt x="1558" y="0"/>
                    <a:pt x="1558" y="0"/>
                    <a:pt x="1558" y="0"/>
                  </a:cubicBezTo>
                  <a:cubicBezTo>
                    <a:pt x="1588" y="11"/>
                    <a:pt x="1619" y="21"/>
                    <a:pt x="1652" y="29"/>
                  </a:cubicBezTo>
                  <a:cubicBezTo>
                    <a:pt x="1738" y="49"/>
                    <a:pt x="1916" y="80"/>
                    <a:pt x="2070" y="104"/>
                  </a:cubicBezTo>
                  <a:cubicBezTo>
                    <a:pt x="2154" y="118"/>
                    <a:pt x="2231" y="129"/>
                    <a:pt x="2284" y="137"/>
                  </a:cubicBezTo>
                  <a:cubicBezTo>
                    <a:pt x="2286" y="138"/>
                    <a:pt x="2295" y="139"/>
                    <a:pt x="2303" y="140"/>
                  </a:cubicBezTo>
                  <a:cubicBezTo>
                    <a:pt x="2300" y="121"/>
                    <a:pt x="2298" y="103"/>
                    <a:pt x="2298" y="83"/>
                  </a:cubicBezTo>
                  <a:cubicBezTo>
                    <a:pt x="2298" y="55"/>
                    <a:pt x="2302" y="27"/>
                    <a:pt x="2309" y="0"/>
                  </a:cubicBezTo>
                  <a:cubicBezTo>
                    <a:pt x="2435" y="0"/>
                    <a:pt x="2435" y="0"/>
                    <a:pt x="2435" y="0"/>
                  </a:cubicBezTo>
                  <a:cubicBezTo>
                    <a:pt x="2424" y="26"/>
                    <a:pt x="2419" y="54"/>
                    <a:pt x="2419" y="83"/>
                  </a:cubicBezTo>
                  <a:cubicBezTo>
                    <a:pt x="2419" y="207"/>
                    <a:pt x="2519" y="308"/>
                    <a:pt x="2644" y="308"/>
                  </a:cubicBezTo>
                  <a:cubicBezTo>
                    <a:pt x="2768" y="308"/>
                    <a:pt x="2869" y="207"/>
                    <a:pt x="2869" y="83"/>
                  </a:cubicBezTo>
                  <a:cubicBezTo>
                    <a:pt x="2869" y="54"/>
                    <a:pt x="2863" y="26"/>
                    <a:pt x="2853" y="0"/>
                  </a:cubicBezTo>
                  <a:cubicBezTo>
                    <a:pt x="2979" y="0"/>
                    <a:pt x="2979" y="0"/>
                    <a:pt x="2979" y="0"/>
                  </a:cubicBezTo>
                  <a:cubicBezTo>
                    <a:pt x="2985" y="27"/>
                    <a:pt x="2989" y="55"/>
                    <a:pt x="2989" y="83"/>
                  </a:cubicBezTo>
                  <a:cubicBezTo>
                    <a:pt x="2989" y="88"/>
                    <a:pt x="2989" y="93"/>
                    <a:pt x="2988" y="98"/>
                  </a:cubicBezTo>
                  <a:cubicBezTo>
                    <a:pt x="2991" y="99"/>
                    <a:pt x="2994" y="101"/>
                    <a:pt x="2996" y="102"/>
                  </a:cubicBezTo>
                  <a:cubicBezTo>
                    <a:pt x="2996" y="102"/>
                    <a:pt x="2996" y="102"/>
                    <a:pt x="2996" y="102"/>
                  </a:cubicBezTo>
                  <a:cubicBezTo>
                    <a:pt x="2996" y="102"/>
                    <a:pt x="2996" y="102"/>
                    <a:pt x="2996" y="102"/>
                  </a:cubicBezTo>
                  <a:cubicBezTo>
                    <a:pt x="2996" y="102"/>
                    <a:pt x="2997" y="103"/>
                    <a:pt x="2998" y="103"/>
                  </a:cubicBezTo>
                  <a:cubicBezTo>
                    <a:pt x="3004" y="106"/>
                    <a:pt x="3009" y="109"/>
                    <a:pt x="3008" y="108"/>
                  </a:cubicBezTo>
                  <a:cubicBezTo>
                    <a:pt x="3008" y="108"/>
                    <a:pt x="3009" y="109"/>
                    <a:pt x="3009" y="109"/>
                  </a:cubicBezTo>
                  <a:cubicBezTo>
                    <a:pt x="3045" y="129"/>
                    <a:pt x="3153" y="189"/>
                    <a:pt x="3270" y="260"/>
                  </a:cubicBezTo>
                  <a:cubicBezTo>
                    <a:pt x="3341" y="304"/>
                    <a:pt x="3416" y="353"/>
                    <a:pt x="3479" y="399"/>
                  </a:cubicBezTo>
                  <a:cubicBezTo>
                    <a:pt x="3542" y="447"/>
                    <a:pt x="3594" y="490"/>
                    <a:pt x="3625" y="536"/>
                  </a:cubicBezTo>
                  <a:cubicBezTo>
                    <a:pt x="3716" y="677"/>
                    <a:pt x="3736" y="893"/>
                    <a:pt x="3737" y="1000"/>
                  </a:cubicBezTo>
                  <a:cubicBezTo>
                    <a:pt x="3737" y="1013"/>
                    <a:pt x="3737" y="1025"/>
                    <a:pt x="3736" y="1036"/>
                  </a:cubicBezTo>
                  <a:cubicBezTo>
                    <a:pt x="3730" y="1103"/>
                    <a:pt x="3721" y="1280"/>
                    <a:pt x="3719" y="1330"/>
                  </a:cubicBezTo>
                  <a:cubicBezTo>
                    <a:pt x="3742" y="1386"/>
                    <a:pt x="3765" y="1440"/>
                    <a:pt x="3785" y="1486"/>
                  </a:cubicBezTo>
                  <a:cubicBezTo>
                    <a:pt x="3809" y="1542"/>
                    <a:pt x="3830" y="1587"/>
                    <a:pt x="3839" y="1602"/>
                  </a:cubicBezTo>
                  <a:cubicBezTo>
                    <a:pt x="3862" y="1641"/>
                    <a:pt x="3889" y="1687"/>
                    <a:pt x="3917" y="1726"/>
                  </a:cubicBezTo>
                  <a:cubicBezTo>
                    <a:pt x="3944" y="1764"/>
                    <a:pt x="3975" y="1795"/>
                    <a:pt x="3988" y="1801"/>
                  </a:cubicBezTo>
                  <a:cubicBezTo>
                    <a:pt x="3997" y="1806"/>
                    <a:pt x="4022" y="1813"/>
                    <a:pt x="4050" y="1816"/>
                  </a:cubicBezTo>
                  <a:cubicBezTo>
                    <a:pt x="4079" y="1820"/>
                    <a:pt x="4113" y="1822"/>
                    <a:pt x="4144" y="1822"/>
                  </a:cubicBezTo>
                  <a:cubicBezTo>
                    <a:pt x="4167" y="1822"/>
                    <a:pt x="4189" y="1821"/>
                    <a:pt x="4208" y="1820"/>
                  </a:cubicBezTo>
                  <a:cubicBezTo>
                    <a:pt x="4210" y="1816"/>
                    <a:pt x="4211" y="1812"/>
                    <a:pt x="4213" y="1809"/>
                  </a:cubicBezTo>
                  <a:cubicBezTo>
                    <a:pt x="4576" y="733"/>
                    <a:pt x="4576" y="733"/>
                    <a:pt x="4576" y="733"/>
                  </a:cubicBezTo>
                  <a:cubicBezTo>
                    <a:pt x="4257" y="140"/>
                    <a:pt x="4257" y="140"/>
                    <a:pt x="4257" y="140"/>
                  </a:cubicBezTo>
                  <a:cubicBezTo>
                    <a:pt x="4271" y="0"/>
                    <a:pt x="4271" y="0"/>
                    <a:pt x="4271" y="0"/>
                  </a:cubicBezTo>
                  <a:cubicBezTo>
                    <a:pt x="4297" y="0"/>
                    <a:pt x="4297" y="0"/>
                    <a:pt x="4297" y="0"/>
                  </a:cubicBezTo>
                  <a:cubicBezTo>
                    <a:pt x="4284" y="134"/>
                    <a:pt x="4284" y="134"/>
                    <a:pt x="4284" y="134"/>
                  </a:cubicBezTo>
                  <a:cubicBezTo>
                    <a:pt x="4600" y="722"/>
                    <a:pt x="4600" y="722"/>
                    <a:pt x="4600" y="722"/>
                  </a:cubicBezTo>
                  <a:cubicBezTo>
                    <a:pt x="5081" y="1038"/>
                    <a:pt x="5081" y="1038"/>
                    <a:pt x="5081" y="1038"/>
                  </a:cubicBezTo>
                  <a:cubicBezTo>
                    <a:pt x="5086" y="1039"/>
                    <a:pt x="5092" y="1040"/>
                    <a:pt x="5097" y="1041"/>
                  </a:cubicBezTo>
                  <a:cubicBezTo>
                    <a:pt x="5030" y="459"/>
                    <a:pt x="5030" y="459"/>
                    <a:pt x="5030" y="459"/>
                  </a:cubicBezTo>
                  <a:cubicBezTo>
                    <a:pt x="5030" y="457"/>
                    <a:pt x="5030" y="457"/>
                    <a:pt x="5030" y="457"/>
                  </a:cubicBezTo>
                  <a:cubicBezTo>
                    <a:pt x="5030" y="457"/>
                    <a:pt x="5039" y="245"/>
                    <a:pt x="5043" y="0"/>
                  </a:cubicBezTo>
                  <a:cubicBezTo>
                    <a:pt x="5079" y="0"/>
                    <a:pt x="5079" y="0"/>
                    <a:pt x="5079" y="0"/>
                  </a:cubicBezTo>
                  <a:cubicBezTo>
                    <a:pt x="5078" y="53"/>
                    <a:pt x="5077" y="104"/>
                    <a:pt x="5076" y="152"/>
                  </a:cubicBezTo>
                  <a:cubicBezTo>
                    <a:pt x="5077" y="147"/>
                    <a:pt x="5077" y="147"/>
                    <a:pt x="5077" y="147"/>
                  </a:cubicBezTo>
                  <a:cubicBezTo>
                    <a:pt x="5077" y="147"/>
                    <a:pt x="5077" y="147"/>
                    <a:pt x="5077" y="147"/>
                  </a:cubicBezTo>
                  <a:cubicBezTo>
                    <a:pt x="5078" y="147"/>
                    <a:pt x="5283" y="202"/>
                    <a:pt x="5508" y="261"/>
                  </a:cubicBezTo>
                  <a:cubicBezTo>
                    <a:pt x="5732" y="320"/>
                    <a:pt x="5975" y="384"/>
                    <a:pt x="6048" y="400"/>
                  </a:cubicBezTo>
                  <a:cubicBezTo>
                    <a:pt x="6147" y="422"/>
                    <a:pt x="6256" y="456"/>
                    <a:pt x="6411" y="456"/>
                  </a:cubicBezTo>
                  <a:cubicBezTo>
                    <a:pt x="6485" y="456"/>
                    <a:pt x="6570" y="447"/>
                    <a:pt x="6668" y="427"/>
                  </a:cubicBezTo>
                  <a:cubicBezTo>
                    <a:pt x="6675" y="382"/>
                    <a:pt x="6702" y="222"/>
                    <a:pt x="6728" y="61"/>
                  </a:cubicBezTo>
                  <a:cubicBezTo>
                    <a:pt x="6732" y="41"/>
                    <a:pt x="6735" y="20"/>
                    <a:pt x="6738" y="0"/>
                  </a:cubicBezTo>
                  <a:cubicBezTo>
                    <a:pt x="6775" y="0"/>
                    <a:pt x="6775" y="0"/>
                    <a:pt x="6775" y="0"/>
                  </a:cubicBezTo>
                  <a:cubicBezTo>
                    <a:pt x="6770" y="27"/>
                    <a:pt x="6766" y="53"/>
                    <a:pt x="6762" y="80"/>
                  </a:cubicBezTo>
                  <a:cubicBezTo>
                    <a:pt x="6734" y="248"/>
                    <a:pt x="6707" y="411"/>
                    <a:pt x="6703" y="440"/>
                  </a:cubicBezTo>
                  <a:cubicBezTo>
                    <a:pt x="7225" y="1931"/>
                    <a:pt x="7225" y="1931"/>
                    <a:pt x="7225" y="1931"/>
                  </a:cubicBezTo>
                  <a:cubicBezTo>
                    <a:pt x="7232" y="1944"/>
                    <a:pt x="7232" y="1944"/>
                    <a:pt x="7232" y="1944"/>
                  </a:cubicBezTo>
                  <a:cubicBezTo>
                    <a:pt x="7282" y="1945"/>
                    <a:pt x="7329" y="1947"/>
                    <a:pt x="7372" y="1949"/>
                  </a:cubicBezTo>
                  <a:cubicBezTo>
                    <a:pt x="7557" y="1955"/>
                    <a:pt x="7680" y="1960"/>
                    <a:pt x="7680" y="1960"/>
                  </a:cubicBezTo>
                  <a:cubicBezTo>
                    <a:pt x="7681" y="1960"/>
                    <a:pt x="7682" y="1960"/>
                    <a:pt x="7683" y="1960"/>
                  </a:cubicBezTo>
                  <a:cubicBezTo>
                    <a:pt x="7692" y="1960"/>
                    <a:pt x="7725" y="1962"/>
                    <a:pt x="7765" y="1964"/>
                  </a:cubicBezTo>
                  <a:cubicBezTo>
                    <a:pt x="7771" y="1953"/>
                    <a:pt x="7771" y="1953"/>
                    <a:pt x="7771" y="1953"/>
                  </a:cubicBezTo>
                  <a:cubicBezTo>
                    <a:pt x="7862" y="1705"/>
                    <a:pt x="7862" y="1705"/>
                    <a:pt x="7862" y="1705"/>
                  </a:cubicBezTo>
                  <a:cubicBezTo>
                    <a:pt x="7785" y="998"/>
                    <a:pt x="7785" y="998"/>
                    <a:pt x="7785" y="998"/>
                  </a:cubicBezTo>
                  <a:cubicBezTo>
                    <a:pt x="7771" y="970"/>
                    <a:pt x="7658" y="745"/>
                    <a:pt x="7570" y="526"/>
                  </a:cubicBezTo>
                  <a:cubicBezTo>
                    <a:pt x="7530" y="427"/>
                    <a:pt x="7518" y="341"/>
                    <a:pt x="7518" y="275"/>
                  </a:cubicBezTo>
                  <a:cubicBezTo>
                    <a:pt x="7518" y="184"/>
                    <a:pt x="7541" y="130"/>
                    <a:pt x="7541" y="129"/>
                  </a:cubicBezTo>
                  <a:cubicBezTo>
                    <a:pt x="7542" y="128"/>
                    <a:pt x="7542" y="128"/>
                    <a:pt x="7542" y="128"/>
                  </a:cubicBezTo>
                  <a:cubicBezTo>
                    <a:pt x="7612" y="0"/>
                    <a:pt x="7612" y="0"/>
                    <a:pt x="7612" y="0"/>
                  </a:cubicBezTo>
                  <a:cubicBezTo>
                    <a:pt x="7650" y="0"/>
                    <a:pt x="7650" y="0"/>
                    <a:pt x="7650" y="0"/>
                  </a:cubicBezTo>
                  <a:cubicBezTo>
                    <a:pt x="7653" y="0"/>
                    <a:pt x="7653" y="0"/>
                    <a:pt x="7653" y="0"/>
                  </a:cubicBezTo>
                  <a:cubicBezTo>
                    <a:pt x="7720" y="0"/>
                    <a:pt x="7720" y="0"/>
                    <a:pt x="7720" y="0"/>
                  </a:cubicBezTo>
                  <a:cubicBezTo>
                    <a:pt x="8894" y="698"/>
                    <a:pt x="8894" y="698"/>
                    <a:pt x="8894" y="698"/>
                  </a:cubicBezTo>
                  <a:cubicBezTo>
                    <a:pt x="8904" y="684"/>
                    <a:pt x="8920" y="662"/>
                    <a:pt x="8938" y="635"/>
                  </a:cubicBezTo>
                  <a:cubicBezTo>
                    <a:pt x="9020" y="513"/>
                    <a:pt x="9162" y="294"/>
                    <a:pt x="9163" y="293"/>
                  </a:cubicBezTo>
                  <a:cubicBezTo>
                    <a:pt x="9168" y="285"/>
                    <a:pt x="9168" y="285"/>
                    <a:pt x="9168" y="285"/>
                  </a:cubicBezTo>
                  <a:cubicBezTo>
                    <a:pt x="9201" y="285"/>
                    <a:pt x="9201" y="285"/>
                    <a:pt x="9201" y="285"/>
                  </a:cubicBezTo>
                  <a:cubicBezTo>
                    <a:pt x="9184" y="0"/>
                    <a:pt x="9184" y="0"/>
                    <a:pt x="9184" y="0"/>
                  </a:cubicBezTo>
                  <a:cubicBezTo>
                    <a:pt x="9220" y="0"/>
                    <a:pt x="9220" y="0"/>
                    <a:pt x="9220" y="0"/>
                  </a:cubicBezTo>
                  <a:cubicBezTo>
                    <a:pt x="9237" y="286"/>
                    <a:pt x="9237" y="286"/>
                    <a:pt x="9237" y="286"/>
                  </a:cubicBezTo>
                  <a:cubicBezTo>
                    <a:pt x="9235" y="286"/>
                    <a:pt x="9235" y="286"/>
                    <a:pt x="9235" y="286"/>
                  </a:cubicBezTo>
                  <a:cubicBezTo>
                    <a:pt x="10217" y="300"/>
                    <a:pt x="10217" y="300"/>
                    <a:pt x="10217" y="300"/>
                  </a:cubicBezTo>
                  <a:cubicBezTo>
                    <a:pt x="10217" y="299"/>
                    <a:pt x="10217" y="299"/>
                    <a:pt x="10217" y="299"/>
                  </a:cubicBezTo>
                  <a:cubicBezTo>
                    <a:pt x="10241" y="280"/>
                    <a:pt x="10341" y="188"/>
                    <a:pt x="10341" y="14"/>
                  </a:cubicBezTo>
                  <a:cubicBezTo>
                    <a:pt x="10341" y="10"/>
                    <a:pt x="10340" y="5"/>
                    <a:pt x="10340" y="0"/>
                  </a:cubicBezTo>
                  <a:cubicBezTo>
                    <a:pt x="10376" y="0"/>
                    <a:pt x="10376" y="0"/>
                    <a:pt x="10376" y="0"/>
                  </a:cubicBezTo>
                  <a:cubicBezTo>
                    <a:pt x="10376" y="5"/>
                    <a:pt x="10377" y="10"/>
                    <a:pt x="10377" y="14"/>
                  </a:cubicBezTo>
                  <a:cubicBezTo>
                    <a:pt x="10377" y="200"/>
                    <a:pt x="10273" y="300"/>
                    <a:pt x="10242" y="326"/>
                  </a:cubicBezTo>
                  <a:cubicBezTo>
                    <a:pt x="10246" y="361"/>
                    <a:pt x="10258" y="491"/>
                    <a:pt x="10271" y="621"/>
                  </a:cubicBezTo>
                  <a:cubicBezTo>
                    <a:pt x="10279" y="698"/>
                    <a:pt x="10287" y="775"/>
                    <a:pt x="10292" y="833"/>
                  </a:cubicBezTo>
                  <a:cubicBezTo>
                    <a:pt x="10295" y="862"/>
                    <a:pt x="10297" y="886"/>
                    <a:pt x="10299" y="903"/>
                  </a:cubicBezTo>
                  <a:cubicBezTo>
                    <a:pt x="10299" y="906"/>
                    <a:pt x="10300" y="909"/>
                    <a:pt x="10300" y="911"/>
                  </a:cubicBezTo>
                  <a:cubicBezTo>
                    <a:pt x="11917" y="622"/>
                    <a:pt x="11917" y="622"/>
                    <a:pt x="11917" y="622"/>
                  </a:cubicBezTo>
                  <a:cubicBezTo>
                    <a:pt x="11798" y="69"/>
                    <a:pt x="11798" y="69"/>
                    <a:pt x="11798" y="69"/>
                  </a:cubicBezTo>
                  <a:cubicBezTo>
                    <a:pt x="11787" y="61"/>
                    <a:pt x="11765" y="42"/>
                    <a:pt x="11734" y="0"/>
                  </a:cubicBezTo>
                  <a:cubicBezTo>
                    <a:pt x="11780" y="0"/>
                    <a:pt x="11780" y="0"/>
                    <a:pt x="11780" y="0"/>
                  </a:cubicBezTo>
                  <a:cubicBezTo>
                    <a:pt x="11781" y="2"/>
                    <a:pt x="11783" y="3"/>
                    <a:pt x="11784" y="5"/>
                  </a:cubicBezTo>
                  <a:cubicBezTo>
                    <a:pt x="11787" y="0"/>
                    <a:pt x="11787" y="0"/>
                    <a:pt x="11787" y="0"/>
                  </a:cubicBezTo>
                  <a:cubicBezTo>
                    <a:pt x="11831" y="0"/>
                    <a:pt x="11831" y="0"/>
                    <a:pt x="11831" y="0"/>
                  </a:cubicBezTo>
                  <a:cubicBezTo>
                    <a:pt x="11809" y="31"/>
                    <a:pt x="11809" y="31"/>
                    <a:pt x="11809" y="31"/>
                  </a:cubicBezTo>
                  <a:cubicBezTo>
                    <a:pt x="11811" y="33"/>
                    <a:pt x="11813" y="35"/>
                    <a:pt x="11814" y="36"/>
                  </a:cubicBezTo>
                  <a:cubicBezTo>
                    <a:pt x="11818" y="39"/>
                    <a:pt x="11820" y="41"/>
                    <a:pt x="11821" y="42"/>
                  </a:cubicBezTo>
                  <a:cubicBezTo>
                    <a:pt x="11822" y="42"/>
                    <a:pt x="11822" y="42"/>
                    <a:pt x="11823" y="42"/>
                  </a:cubicBezTo>
                  <a:cubicBezTo>
                    <a:pt x="11823" y="42"/>
                    <a:pt x="11823" y="42"/>
                    <a:pt x="11823" y="42"/>
                  </a:cubicBezTo>
                  <a:cubicBezTo>
                    <a:pt x="11830" y="46"/>
                    <a:pt x="11830" y="46"/>
                    <a:pt x="11830" y="46"/>
                  </a:cubicBezTo>
                  <a:cubicBezTo>
                    <a:pt x="11958" y="643"/>
                    <a:pt x="11958" y="643"/>
                    <a:pt x="11958" y="643"/>
                  </a:cubicBezTo>
                  <a:cubicBezTo>
                    <a:pt x="12153" y="1922"/>
                    <a:pt x="12153" y="1922"/>
                    <a:pt x="12153" y="1922"/>
                  </a:cubicBezTo>
                  <a:cubicBezTo>
                    <a:pt x="13147" y="2315"/>
                    <a:pt x="13147" y="2315"/>
                    <a:pt x="13147" y="2315"/>
                  </a:cubicBezTo>
                  <a:cubicBezTo>
                    <a:pt x="13842" y="315"/>
                    <a:pt x="13842" y="315"/>
                    <a:pt x="13842" y="315"/>
                  </a:cubicBezTo>
                  <a:cubicBezTo>
                    <a:pt x="13363" y="263"/>
                    <a:pt x="13363" y="263"/>
                    <a:pt x="13363" y="263"/>
                  </a:cubicBezTo>
                  <a:cubicBezTo>
                    <a:pt x="12894" y="0"/>
                    <a:pt x="12894" y="0"/>
                    <a:pt x="12894" y="0"/>
                  </a:cubicBezTo>
                  <a:cubicBezTo>
                    <a:pt x="12967" y="0"/>
                    <a:pt x="12967" y="0"/>
                    <a:pt x="12967" y="0"/>
                  </a:cubicBezTo>
                  <a:cubicBezTo>
                    <a:pt x="13374" y="228"/>
                    <a:pt x="13374" y="228"/>
                    <a:pt x="13374" y="228"/>
                  </a:cubicBezTo>
                  <a:cubicBezTo>
                    <a:pt x="13842" y="279"/>
                    <a:pt x="13842" y="279"/>
                    <a:pt x="13842" y="279"/>
                  </a:cubicBezTo>
                  <a:cubicBezTo>
                    <a:pt x="13852" y="280"/>
                    <a:pt x="13852" y="280"/>
                    <a:pt x="13852" y="280"/>
                  </a:cubicBezTo>
                  <a:cubicBezTo>
                    <a:pt x="13848" y="240"/>
                    <a:pt x="13838" y="139"/>
                    <a:pt x="13825" y="0"/>
                  </a:cubicBezTo>
                  <a:cubicBezTo>
                    <a:pt x="13941" y="0"/>
                    <a:pt x="13941" y="0"/>
                    <a:pt x="13941" y="0"/>
                  </a:cubicBezTo>
                  <a:cubicBezTo>
                    <a:pt x="13941" y="7"/>
                    <a:pt x="13942" y="14"/>
                    <a:pt x="13942" y="20"/>
                  </a:cubicBezTo>
                  <a:cubicBezTo>
                    <a:pt x="13958" y="184"/>
                    <a:pt x="13968" y="288"/>
                    <a:pt x="13968" y="288"/>
                  </a:cubicBezTo>
                  <a:cubicBezTo>
                    <a:pt x="13968" y="292"/>
                    <a:pt x="13968" y="292"/>
                    <a:pt x="13968" y="292"/>
                  </a:cubicBezTo>
                  <a:cubicBezTo>
                    <a:pt x="13970" y="292"/>
                    <a:pt x="13973" y="293"/>
                    <a:pt x="13975" y="294"/>
                  </a:cubicBezTo>
                  <a:cubicBezTo>
                    <a:pt x="14422" y="342"/>
                    <a:pt x="14422" y="342"/>
                    <a:pt x="14422" y="342"/>
                  </a:cubicBezTo>
                  <a:cubicBezTo>
                    <a:pt x="14423" y="342"/>
                    <a:pt x="14429" y="342"/>
                    <a:pt x="14434" y="347"/>
                  </a:cubicBezTo>
                  <a:cubicBezTo>
                    <a:pt x="14443" y="352"/>
                    <a:pt x="14481" y="372"/>
                    <a:pt x="14537" y="399"/>
                  </a:cubicBezTo>
                  <a:cubicBezTo>
                    <a:pt x="14660" y="460"/>
                    <a:pt x="14878" y="567"/>
                    <a:pt x="15126" y="694"/>
                  </a:cubicBezTo>
                  <a:cubicBezTo>
                    <a:pt x="15116" y="646"/>
                    <a:pt x="15066" y="458"/>
                    <a:pt x="15005" y="237"/>
                  </a:cubicBezTo>
                  <a:cubicBezTo>
                    <a:pt x="14984" y="161"/>
                    <a:pt x="14962" y="81"/>
                    <a:pt x="14940" y="0"/>
                  </a:cubicBezTo>
                  <a:cubicBezTo>
                    <a:pt x="14977" y="0"/>
                    <a:pt x="14977" y="0"/>
                    <a:pt x="14977" y="0"/>
                  </a:cubicBezTo>
                  <a:cubicBezTo>
                    <a:pt x="14998" y="77"/>
                    <a:pt x="15020" y="154"/>
                    <a:pt x="15040" y="227"/>
                  </a:cubicBezTo>
                  <a:cubicBezTo>
                    <a:pt x="15105" y="465"/>
                    <a:pt x="15158" y="658"/>
                    <a:pt x="15163" y="696"/>
                  </a:cubicBezTo>
                  <a:cubicBezTo>
                    <a:pt x="15138" y="700"/>
                    <a:pt x="15138" y="700"/>
                    <a:pt x="15138" y="700"/>
                  </a:cubicBezTo>
                  <a:cubicBezTo>
                    <a:pt x="15262" y="763"/>
                    <a:pt x="15394" y="831"/>
                    <a:pt x="15525" y="901"/>
                  </a:cubicBezTo>
                  <a:cubicBezTo>
                    <a:pt x="15765" y="1029"/>
                    <a:pt x="16004" y="1171"/>
                    <a:pt x="16193" y="1283"/>
                  </a:cubicBezTo>
                  <a:cubicBezTo>
                    <a:pt x="16825" y="1657"/>
                    <a:pt x="17295" y="2204"/>
                    <a:pt x="17296" y="2205"/>
                  </a:cubicBezTo>
                  <a:cubicBezTo>
                    <a:pt x="17331" y="2243"/>
                    <a:pt x="17374" y="2293"/>
                    <a:pt x="17429" y="2349"/>
                  </a:cubicBezTo>
                  <a:cubicBezTo>
                    <a:pt x="17495" y="2296"/>
                    <a:pt x="17655" y="2168"/>
                    <a:pt x="17832" y="2023"/>
                  </a:cubicBezTo>
                  <a:cubicBezTo>
                    <a:pt x="17889" y="1977"/>
                    <a:pt x="17947" y="1930"/>
                    <a:pt x="18004" y="1883"/>
                  </a:cubicBezTo>
                  <a:lnTo>
                    <a:pt x="18004" y="1930"/>
                  </a:lnTo>
                  <a:close/>
                  <a:moveTo>
                    <a:pt x="2922" y="287"/>
                  </a:moveTo>
                  <a:cubicBezTo>
                    <a:pt x="2941" y="297"/>
                    <a:pt x="2941" y="297"/>
                    <a:pt x="2941" y="297"/>
                  </a:cubicBezTo>
                  <a:cubicBezTo>
                    <a:pt x="2941" y="297"/>
                    <a:pt x="2941" y="297"/>
                    <a:pt x="2941" y="297"/>
                  </a:cubicBezTo>
                  <a:cubicBezTo>
                    <a:pt x="2974" y="313"/>
                    <a:pt x="3021" y="335"/>
                    <a:pt x="3070" y="359"/>
                  </a:cubicBezTo>
                  <a:cubicBezTo>
                    <a:pt x="3116" y="381"/>
                    <a:pt x="3163" y="404"/>
                    <a:pt x="3203" y="424"/>
                  </a:cubicBezTo>
                  <a:cubicBezTo>
                    <a:pt x="3243" y="445"/>
                    <a:pt x="3273" y="461"/>
                    <a:pt x="3293" y="474"/>
                  </a:cubicBezTo>
                  <a:cubicBezTo>
                    <a:pt x="3359" y="518"/>
                    <a:pt x="3407" y="581"/>
                    <a:pt x="3446" y="654"/>
                  </a:cubicBezTo>
                  <a:cubicBezTo>
                    <a:pt x="3468" y="693"/>
                    <a:pt x="3494" y="756"/>
                    <a:pt x="3520" y="822"/>
                  </a:cubicBezTo>
                  <a:cubicBezTo>
                    <a:pt x="3546" y="887"/>
                    <a:pt x="3570" y="951"/>
                    <a:pt x="3582" y="988"/>
                  </a:cubicBezTo>
                  <a:cubicBezTo>
                    <a:pt x="3587" y="1001"/>
                    <a:pt x="3599" y="1033"/>
                    <a:pt x="3616" y="1076"/>
                  </a:cubicBezTo>
                  <a:cubicBezTo>
                    <a:pt x="3618" y="1057"/>
                    <a:pt x="3620" y="1040"/>
                    <a:pt x="3621" y="1026"/>
                  </a:cubicBezTo>
                  <a:cubicBezTo>
                    <a:pt x="3622" y="1020"/>
                    <a:pt x="3622" y="1011"/>
                    <a:pt x="3622" y="1000"/>
                  </a:cubicBezTo>
                  <a:cubicBezTo>
                    <a:pt x="3624" y="910"/>
                    <a:pt x="3597" y="697"/>
                    <a:pt x="3529" y="599"/>
                  </a:cubicBezTo>
                  <a:cubicBezTo>
                    <a:pt x="3516" y="578"/>
                    <a:pt x="3469" y="535"/>
                    <a:pt x="3411" y="492"/>
                  </a:cubicBezTo>
                  <a:cubicBezTo>
                    <a:pt x="3322" y="426"/>
                    <a:pt x="3204" y="353"/>
                    <a:pt x="3109" y="298"/>
                  </a:cubicBezTo>
                  <a:cubicBezTo>
                    <a:pt x="3044" y="260"/>
                    <a:pt x="2991" y="230"/>
                    <a:pt x="2963" y="215"/>
                  </a:cubicBezTo>
                  <a:cubicBezTo>
                    <a:pt x="2952" y="241"/>
                    <a:pt x="2938" y="265"/>
                    <a:pt x="2922" y="287"/>
                  </a:cubicBezTo>
                  <a:close/>
                  <a:moveTo>
                    <a:pt x="2319" y="1717"/>
                  </a:moveTo>
                  <a:cubicBezTo>
                    <a:pt x="2309" y="1660"/>
                    <a:pt x="2303" y="1605"/>
                    <a:pt x="2300" y="1578"/>
                  </a:cubicBezTo>
                  <a:cubicBezTo>
                    <a:pt x="2300" y="1574"/>
                    <a:pt x="2300" y="1570"/>
                    <a:pt x="2300" y="1566"/>
                  </a:cubicBezTo>
                  <a:cubicBezTo>
                    <a:pt x="2299" y="1508"/>
                    <a:pt x="2338" y="1436"/>
                    <a:pt x="2440" y="1408"/>
                  </a:cubicBezTo>
                  <a:cubicBezTo>
                    <a:pt x="2533" y="1382"/>
                    <a:pt x="2730" y="1357"/>
                    <a:pt x="2851" y="1357"/>
                  </a:cubicBezTo>
                  <a:cubicBezTo>
                    <a:pt x="2867" y="1357"/>
                    <a:pt x="2882" y="1357"/>
                    <a:pt x="2895" y="1358"/>
                  </a:cubicBezTo>
                  <a:cubicBezTo>
                    <a:pt x="3007" y="1366"/>
                    <a:pt x="3060" y="1427"/>
                    <a:pt x="3089" y="1487"/>
                  </a:cubicBezTo>
                  <a:cubicBezTo>
                    <a:pt x="3113" y="1535"/>
                    <a:pt x="3123" y="1617"/>
                    <a:pt x="3123" y="1682"/>
                  </a:cubicBezTo>
                  <a:cubicBezTo>
                    <a:pt x="3123" y="1703"/>
                    <a:pt x="3122" y="1722"/>
                    <a:pt x="3120" y="1738"/>
                  </a:cubicBezTo>
                  <a:cubicBezTo>
                    <a:pt x="3117" y="1753"/>
                    <a:pt x="3110" y="1770"/>
                    <a:pt x="3100" y="1787"/>
                  </a:cubicBezTo>
                  <a:cubicBezTo>
                    <a:pt x="3108" y="1792"/>
                    <a:pt x="3160" y="1811"/>
                    <a:pt x="3220" y="1830"/>
                  </a:cubicBezTo>
                  <a:cubicBezTo>
                    <a:pt x="3281" y="1849"/>
                    <a:pt x="3352" y="1867"/>
                    <a:pt x="3402" y="1873"/>
                  </a:cubicBezTo>
                  <a:cubicBezTo>
                    <a:pt x="3407" y="1873"/>
                    <a:pt x="3412" y="1873"/>
                    <a:pt x="3419" y="1873"/>
                  </a:cubicBezTo>
                  <a:cubicBezTo>
                    <a:pt x="3479" y="1874"/>
                    <a:pt x="3586" y="1848"/>
                    <a:pt x="3677" y="1823"/>
                  </a:cubicBezTo>
                  <a:cubicBezTo>
                    <a:pt x="3724" y="1809"/>
                    <a:pt x="3766" y="1796"/>
                    <a:pt x="3796" y="1787"/>
                  </a:cubicBezTo>
                  <a:cubicBezTo>
                    <a:pt x="3812" y="1775"/>
                    <a:pt x="3812" y="1775"/>
                    <a:pt x="3812" y="1775"/>
                  </a:cubicBezTo>
                  <a:cubicBezTo>
                    <a:pt x="3785" y="1736"/>
                    <a:pt x="3760" y="1694"/>
                    <a:pt x="3740" y="1659"/>
                  </a:cubicBezTo>
                  <a:cubicBezTo>
                    <a:pt x="3725" y="1634"/>
                    <a:pt x="3705" y="1590"/>
                    <a:pt x="3680" y="1532"/>
                  </a:cubicBezTo>
                  <a:cubicBezTo>
                    <a:pt x="3605" y="1360"/>
                    <a:pt x="3494" y="1083"/>
                    <a:pt x="3474" y="1026"/>
                  </a:cubicBezTo>
                  <a:cubicBezTo>
                    <a:pt x="3462" y="991"/>
                    <a:pt x="3438" y="927"/>
                    <a:pt x="3413" y="864"/>
                  </a:cubicBezTo>
                  <a:cubicBezTo>
                    <a:pt x="3389" y="801"/>
                    <a:pt x="3361" y="737"/>
                    <a:pt x="3346" y="709"/>
                  </a:cubicBezTo>
                  <a:cubicBezTo>
                    <a:pt x="3311" y="646"/>
                    <a:pt x="3274" y="599"/>
                    <a:pt x="3229" y="569"/>
                  </a:cubicBezTo>
                  <a:cubicBezTo>
                    <a:pt x="3221" y="563"/>
                    <a:pt x="3189" y="546"/>
                    <a:pt x="3151" y="527"/>
                  </a:cubicBezTo>
                  <a:cubicBezTo>
                    <a:pt x="3035" y="468"/>
                    <a:pt x="2847" y="380"/>
                    <a:pt x="2846" y="380"/>
                  </a:cubicBezTo>
                  <a:cubicBezTo>
                    <a:pt x="2847" y="378"/>
                    <a:pt x="2847" y="378"/>
                    <a:pt x="2847" y="378"/>
                  </a:cubicBezTo>
                  <a:cubicBezTo>
                    <a:pt x="2835" y="372"/>
                    <a:pt x="2835" y="372"/>
                    <a:pt x="2835" y="372"/>
                  </a:cubicBezTo>
                  <a:cubicBezTo>
                    <a:pt x="2834" y="371"/>
                    <a:pt x="2834" y="371"/>
                    <a:pt x="2834" y="371"/>
                  </a:cubicBezTo>
                  <a:cubicBezTo>
                    <a:pt x="2780" y="407"/>
                    <a:pt x="2714" y="429"/>
                    <a:pt x="2644" y="429"/>
                  </a:cubicBezTo>
                  <a:cubicBezTo>
                    <a:pt x="2597" y="429"/>
                    <a:pt x="2552" y="419"/>
                    <a:pt x="2511" y="402"/>
                  </a:cubicBezTo>
                  <a:cubicBezTo>
                    <a:pt x="2505" y="409"/>
                    <a:pt x="2499" y="418"/>
                    <a:pt x="2499" y="418"/>
                  </a:cubicBezTo>
                  <a:cubicBezTo>
                    <a:pt x="2499" y="418"/>
                    <a:pt x="2499" y="418"/>
                    <a:pt x="2498" y="418"/>
                  </a:cubicBezTo>
                  <a:cubicBezTo>
                    <a:pt x="2470" y="455"/>
                    <a:pt x="2390" y="560"/>
                    <a:pt x="2300" y="673"/>
                  </a:cubicBezTo>
                  <a:cubicBezTo>
                    <a:pt x="2244" y="743"/>
                    <a:pt x="2185" y="815"/>
                    <a:pt x="2132" y="876"/>
                  </a:cubicBezTo>
                  <a:cubicBezTo>
                    <a:pt x="2079" y="937"/>
                    <a:pt x="2035" y="985"/>
                    <a:pt x="1999" y="1012"/>
                  </a:cubicBezTo>
                  <a:cubicBezTo>
                    <a:pt x="1962" y="1040"/>
                    <a:pt x="1899" y="1070"/>
                    <a:pt x="1815" y="1109"/>
                  </a:cubicBezTo>
                  <a:cubicBezTo>
                    <a:pt x="1565" y="1222"/>
                    <a:pt x="1141" y="1384"/>
                    <a:pt x="966" y="1453"/>
                  </a:cubicBezTo>
                  <a:cubicBezTo>
                    <a:pt x="851" y="1499"/>
                    <a:pt x="708" y="1561"/>
                    <a:pt x="595" y="1611"/>
                  </a:cubicBezTo>
                  <a:cubicBezTo>
                    <a:pt x="576" y="1620"/>
                    <a:pt x="558" y="1628"/>
                    <a:pt x="540" y="1635"/>
                  </a:cubicBezTo>
                  <a:cubicBezTo>
                    <a:pt x="542" y="1654"/>
                    <a:pt x="542" y="1654"/>
                    <a:pt x="542" y="1654"/>
                  </a:cubicBezTo>
                  <a:cubicBezTo>
                    <a:pt x="574" y="1723"/>
                    <a:pt x="656" y="1903"/>
                    <a:pt x="751" y="2113"/>
                  </a:cubicBezTo>
                  <a:lnTo>
                    <a:pt x="2319" y="1717"/>
                  </a:lnTo>
                  <a:close/>
                  <a:moveTo>
                    <a:pt x="3090" y="1803"/>
                  </a:moveTo>
                  <a:cubicBezTo>
                    <a:pt x="3090" y="1803"/>
                    <a:pt x="3090" y="1803"/>
                    <a:pt x="3090" y="1803"/>
                  </a:cubicBezTo>
                  <a:cubicBezTo>
                    <a:pt x="3094" y="1818"/>
                    <a:pt x="3094" y="1818"/>
                    <a:pt x="3094" y="1818"/>
                  </a:cubicBezTo>
                  <a:lnTo>
                    <a:pt x="3090" y="1803"/>
                  </a:lnTo>
                  <a:close/>
                  <a:moveTo>
                    <a:pt x="2929" y="1882"/>
                  </a:moveTo>
                  <a:cubicBezTo>
                    <a:pt x="2972" y="1866"/>
                    <a:pt x="3010" y="1839"/>
                    <a:pt x="3038" y="1809"/>
                  </a:cubicBezTo>
                  <a:cubicBezTo>
                    <a:pt x="3066" y="1780"/>
                    <a:pt x="3082" y="1749"/>
                    <a:pt x="3084" y="1733"/>
                  </a:cubicBezTo>
                  <a:cubicBezTo>
                    <a:pt x="3102" y="1735"/>
                    <a:pt x="3102" y="1735"/>
                    <a:pt x="3102" y="1735"/>
                  </a:cubicBezTo>
                  <a:cubicBezTo>
                    <a:pt x="3084" y="1733"/>
                    <a:pt x="3084" y="1733"/>
                    <a:pt x="3084" y="1733"/>
                  </a:cubicBezTo>
                  <a:cubicBezTo>
                    <a:pt x="3086" y="1719"/>
                    <a:pt x="3087" y="1701"/>
                    <a:pt x="3087" y="1682"/>
                  </a:cubicBezTo>
                  <a:cubicBezTo>
                    <a:pt x="3087" y="1621"/>
                    <a:pt x="3076" y="1540"/>
                    <a:pt x="3057" y="1503"/>
                  </a:cubicBezTo>
                  <a:cubicBezTo>
                    <a:pt x="3029" y="1448"/>
                    <a:pt x="2992" y="1403"/>
                    <a:pt x="2892" y="1394"/>
                  </a:cubicBezTo>
                  <a:cubicBezTo>
                    <a:pt x="2880" y="1393"/>
                    <a:pt x="2866" y="1393"/>
                    <a:pt x="2851" y="1393"/>
                  </a:cubicBezTo>
                  <a:cubicBezTo>
                    <a:pt x="2735" y="1393"/>
                    <a:pt x="2537" y="1418"/>
                    <a:pt x="2450" y="1443"/>
                  </a:cubicBezTo>
                  <a:cubicBezTo>
                    <a:pt x="2360" y="1468"/>
                    <a:pt x="2337" y="1522"/>
                    <a:pt x="2336" y="1566"/>
                  </a:cubicBezTo>
                  <a:cubicBezTo>
                    <a:pt x="2336" y="1570"/>
                    <a:pt x="2336" y="1572"/>
                    <a:pt x="2336" y="1575"/>
                  </a:cubicBezTo>
                  <a:cubicBezTo>
                    <a:pt x="2340" y="1626"/>
                    <a:pt x="2366" y="1804"/>
                    <a:pt x="2388" y="1850"/>
                  </a:cubicBezTo>
                  <a:cubicBezTo>
                    <a:pt x="2406" y="1891"/>
                    <a:pt x="2457" y="1918"/>
                    <a:pt x="2531" y="1918"/>
                  </a:cubicBezTo>
                  <a:cubicBezTo>
                    <a:pt x="2536" y="1918"/>
                    <a:pt x="2541" y="1918"/>
                    <a:pt x="2546" y="1917"/>
                  </a:cubicBezTo>
                  <a:cubicBezTo>
                    <a:pt x="2632" y="1913"/>
                    <a:pt x="2841" y="1913"/>
                    <a:pt x="2929" y="1882"/>
                  </a:cubicBezTo>
                  <a:close/>
                  <a:moveTo>
                    <a:pt x="3832" y="2346"/>
                  </a:moveTo>
                  <a:cubicBezTo>
                    <a:pt x="4009" y="2305"/>
                    <a:pt x="4181" y="2187"/>
                    <a:pt x="4308" y="2079"/>
                  </a:cubicBezTo>
                  <a:cubicBezTo>
                    <a:pt x="4370" y="2027"/>
                    <a:pt x="4420" y="1977"/>
                    <a:pt x="4457" y="1939"/>
                  </a:cubicBezTo>
                  <a:cubicBezTo>
                    <a:pt x="4459" y="1921"/>
                    <a:pt x="4459" y="1921"/>
                    <a:pt x="4459" y="1921"/>
                  </a:cubicBezTo>
                  <a:cubicBezTo>
                    <a:pt x="4352" y="1926"/>
                    <a:pt x="4256" y="1931"/>
                    <a:pt x="4230" y="1933"/>
                  </a:cubicBezTo>
                  <a:cubicBezTo>
                    <a:pt x="4206" y="1935"/>
                    <a:pt x="4176" y="1937"/>
                    <a:pt x="4144" y="1937"/>
                  </a:cubicBezTo>
                  <a:cubicBezTo>
                    <a:pt x="4109" y="1937"/>
                    <a:pt x="4071" y="1935"/>
                    <a:pt x="4035" y="1930"/>
                  </a:cubicBezTo>
                  <a:cubicBezTo>
                    <a:pt x="3999" y="1925"/>
                    <a:pt x="3966" y="1918"/>
                    <a:pt x="3935" y="1902"/>
                  </a:cubicBezTo>
                  <a:cubicBezTo>
                    <a:pt x="3896" y="1881"/>
                    <a:pt x="3867" y="1849"/>
                    <a:pt x="3839" y="1813"/>
                  </a:cubicBezTo>
                  <a:cubicBezTo>
                    <a:pt x="3835" y="1813"/>
                    <a:pt x="3831" y="1814"/>
                    <a:pt x="3826" y="1815"/>
                  </a:cubicBezTo>
                  <a:cubicBezTo>
                    <a:pt x="3748" y="1840"/>
                    <a:pt x="3529" y="1909"/>
                    <a:pt x="3419" y="1909"/>
                  </a:cubicBezTo>
                  <a:cubicBezTo>
                    <a:pt x="3411" y="1909"/>
                    <a:pt x="3404" y="1909"/>
                    <a:pt x="3398" y="1908"/>
                  </a:cubicBezTo>
                  <a:cubicBezTo>
                    <a:pt x="3340" y="1902"/>
                    <a:pt x="3262" y="1881"/>
                    <a:pt x="3197" y="1861"/>
                  </a:cubicBezTo>
                  <a:cubicBezTo>
                    <a:pt x="3165" y="1850"/>
                    <a:pt x="3136" y="1840"/>
                    <a:pt x="3115" y="1832"/>
                  </a:cubicBezTo>
                  <a:cubicBezTo>
                    <a:pt x="3105" y="1829"/>
                    <a:pt x="3097" y="1825"/>
                    <a:pt x="3090" y="1822"/>
                  </a:cubicBezTo>
                  <a:cubicBezTo>
                    <a:pt x="3087" y="1821"/>
                    <a:pt x="3085" y="1820"/>
                    <a:pt x="3082" y="1819"/>
                  </a:cubicBezTo>
                  <a:cubicBezTo>
                    <a:pt x="3081" y="1818"/>
                    <a:pt x="3080" y="1817"/>
                    <a:pt x="3079" y="1816"/>
                  </a:cubicBezTo>
                  <a:cubicBezTo>
                    <a:pt x="3074" y="1822"/>
                    <a:pt x="3070" y="1828"/>
                    <a:pt x="3064" y="1834"/>
                  </a:cubicBezTo>
                  <a:cubicBezTo>
                    <a:pt x="3033" y="1867"/>
                    <a:pt x="2991" y="1898"/>
                    <a:pt x="2940" y="1916"/>
                  </a:cubicBezTo>
                  <a:cubicBezTo>
                    <a:pt x="2896" y="1931"/>
                    <a:pt x="2830" y="1939"/>
                    <a:pt x="2763" y="1944"/>
                  </a:cubicBezTo>
                  <a:cubicBezTo>
                    <a:pt x="2868" y="2442"/>
                    <a:pt x="2868" y="2442"/>
                    <a:pt x="2868" y="2442"/>
                  </a:cubicBezTo>
                  <a:cubicBezTo>
                    <a:pt x="2868" y="2442"/>
                    <a:pt x="2869" y="2442"/>
                    <a:pt x="2869" y="2442"/>
                  </a:cubicBezTo>
                  <a:cubicBezTo>
                    <a:pt x="2944" y="2436"/>
                    <a:pt x="3240" y="2414"/>
                    <a:pt x="3484" y="2391"/>
                  </a:cubicBezTo>
                  <a:cubicBezTo>
                    <a:pt x="3640" y="2376"/>
                    <a:pt x="3706" y="2376"/>
                    <a:pt x="3832" y="2346"/>
                  </a:cubicBezTo>
                  <a:close/>
                  <a:moveTo>
                    <a:pt x="4789" y="1905"/>
                  </a:moveTo>
                  <a:cubicBezTo>
                    <a:pt x="4737" y="1907"/>
                    <a:pt x="4651" y="1911"/>
                    <a:pt x="4562" y="1916"/>
                  </a:cubicBezTo>
                  <a:cubicBezTo>
                    <a:pt x="4551" y="1916"/>
                    <a:pt x="4541" y="1917"/>
                    <a:pt x="4530" y="1917"/>
                  </a:cubicBezTo>
                  <a:cubicBezTo>
                    <a:pt x="4516" y="1929"/>
                    <a:pt x="4516" y="1929"/>
                    <a:pt x="4516" y="1929"/>
                  </a:cubicBezTo>
                  <a:cubicBezTo>
                    <a:pt x="4429" y="2023"/>
                    <a:pt x="4150" y="2308"/>
                    <a:pt x="3840" y="2381"/>
                  </a:cubicBezTo>
                  <a:cubicBezTo>
                    <a:pt x="3821" y="2386"/>
                    <a:pt x="3803" y="2390"/>
                    <a:pt x="3786" y="2393"/>
                  </a:cubicBezTo>
                  <a:cubicBezTo>
                    <a:pt x="3876" y="2798"/>
                    <a:pt x="3876" y="2798"/>
                    <a:pt x="3876" y="2798"/>
                  </a:cubicBezTo>
                  <a:cubicBezTo>
                    <a:pt x="4176" y="2804"/>
                    <a:pt x="4517" y="2960"/>
                    <a:pt x="4628" y="3015"/>
                  </a:cubicBezTo>
                  <a:cubicBezTo>
                    <a:pt x="4647" y="3019"/>
                    <a:pt x="4647" y="3019"/>
                    <a:pt x="4647" y="3019"/>
                  </a:cubicBezTo>
                  <a:lnTo>
                    <a:pt x="4789" y="1905"/>
                  </a:lnTo>
                  <a:close/>
                  <a:moveTo>
                    <a:pt x="5064" y="1745"/>
                  </a:moveTo>
                  <a:cubicBezTo>
                    <a:pt x="5066" y="1737"/>
                    <a:pt x="5068" y="1724"/>
                    <a:pt x="5069" y="1718"/>
                  </a:cubicBezTo>
                  <a:cubicBezTo>
                    <a:pt x="5108" y="1136"/>
                    <a:pt x="5108" y="1136"/>
                    <a:pt x="5108" y="1136"/>
                  </a:cubicBezTo>
                  <a:cubicBezTo>
                    <a:pt x="5102" y="1083"/>
                    <a:pt x="5102" y="1083"/>
                    <a:pt x="5102" y="1083"/>
                  </a:cubicBezTo>
                  <a:cubicBezTo>
                    <a:pt x="4597" y="752"/>
                    <a:pt x="4597" y="752"/>
                    <a:pt x="4597" y="752"/>
                  </a:cubicBezTo>
                  <a:cubicBezTo>
                    <a:pt x="4244" y="1801"/>
                    <a:pt x="4244" y="1801"/>
                    <a:pt x="4244" y="1801"/>
                  </a:cubicBezTo>
                  <a:cubicBezTo>
                    <a:pt x="4242" y="1817"/>
                    <a:pt x="4242" y="1817"/>
                    <a:pt x="4242" y="1817"/>
                  </a:cubicBezTo>
                  <a:cubicBezTo>
                    <a:pt x="4360" y="1810"/>
                    <a:pt x="4786" y="1790"/>
                    <a:pt x="4830" y="1788"/>
                  </a:cubicBezTo>
                  <a:lnTo>
                    <a:pt x="5064" y="1745"/>
                  </a:lnTo>
                  <a:close/>
                  <a:moveTo>
                    <a:pt x="7186" y="1942"/>
                  </a:moveTo>
                  <a:cubicBezTo>
                    <a:pt x="7185" y="1926"/>
                    <a:pt x="7185" y="1926"/>
                    <a:pt x="7185" y="1926"/>
                  </a:cubicBezTo>
                  <a:cubicBezTo>
                    <a:pt x="6672" y="463"/>
                    <a:pt x="6672" y="463"/>
                    <a:pt x="6672" y="463"/>
                  </a:cubicBezTo>
                  <a:cubicBezTo>
                    <a:pt x="6573" y="483"/>
                    <a:pt x="6487" y="492"/>
                    <a:pt x="6411" y="492"/>
                  </a:cubicBezTo>
                  <a:cubicBezTo>
                    <a:pt x="6411" y="492"/>
                    <a:pt x="6411" y="492"/>
                    <a:pt x="6411" y="492"/>
                  </a:cubicBezTo>
                  <a:cubicBezTo>
                    <a:pt x="6251" y="492"/>
                    <a:pt x="6137" y="456"/>
                    <a:pt x="6040" y="435"/>
                  </a:cubicBezTo>
                  <a:cubicBezTo>
                    <a:pt x="5900" y="404"/>
                    <a:pt x="5154" y="205"/>
                    <a:pt x="5075" y="184"/>
                  </a:cubicBezTo>
                  <a:cubicBezTo>
                    <a:pt x="5071" y="333"/>
                    <a:pt x="5067" y="444"/>
                    <a:pt x="5066" y="458"/>
                  </a:cubicBezTo>
                  <a:cubicBezTo>
                    <a:pt x="5144" y="1135"/>
                    <a:pt x="5144" y="1135"/>
                    <a:pt x="5144" y="1135"/>
                  </a:cubicBezTo>
                  <a:cubicBezTo>
                    <a:pt x="5105" y="1731"/>
                    <a:pt x="5105" y="1731"/>
                    <a:pt x="5105" y="1731"/>
                  </a:cubicBezTo>
                  <a:cubicBezTo>
                    <a:pt x="5108" y="1752"/>
                    <a:pt x="5108" y="1752"/>
                    <a:pt x="5108" y="1752"/>
                  </a:cubicBezTo>
                  <a:cubicBezTo>
                    <a:pt x="5163" y="1764"/>
                    <a:pt x="5297" y="1794"/>
                    <a:pt x="5426" y="1823"/>
                  </a:cubicBezTo>
                  <a:cubicBezTo>
                    <a:pt x="5500" y="1840"/>
                    <a:pt x="5573" y="1857"/>
                    <a:pt x="5628" y="1869"/>
                  </a:cubicBezTo>
                  <a:cubicBezTo>
                    <a:pt x="5655" y="1875"/>
                    <a:pt x="5678" y="1881"/>
                    <a:pt x="5694" y="1884"/>
                  </a:cubicBezTo>
                  <a:cubicBezTo>
                    <a:pt x="5702" y="1886"/>
                    <a:pt x="5708" y="1888"/>
                    <a:pt x="5713" y="1889"/>
                  </a:cubicBezTo>
                  <a:cubicBezTo>
                    <a:pt x="5714" y="1889"/>
                    <a:pt x="5715" y="1889"/>
                    <a:pt x="5715" y="1890"/>
                  </a:cubicBezTo>
                  <a:cubicBezTo>
                    <a:pt x="5777" y="1892"/>
                    <a:pt x="6235" y="1908"/>
                    <a:pt x="6694" y="1924"/>
                  </a:cubicBezTo>
                  <a:cubicBezTo>
                    <a:pt x="6865" y="1931"/>
                    <a:pt x="7036" y="1937"/>
                    <a:pt x="7186" y="1942"/>
                  </a:cubicBezTo>
                  <a:close/>
                  <a:moveTo>
                    <a:pt x="8904" y="889"/>
                  </a:moveTo>
                  <a:cubicBezTo>
                    <a:pt x="8905" y="889"/>
                    <a:pt x="8905" y="889"/>
                    <a:pt x="8905" y="889"/>
                  </a:cubicBezTo>
                  <a:cubicBezTo>
                    <a:pt x="8905" y="889"/>
                    <a:pt x="8905" y="889"/>
                    <a:pt x="8905" y="889"/>
                  </a:cubicBezTo>
                  <a:lnTo>
                    <a:pt x="8904" y="889"/>
                  </a:lnTo>
                  <a:close/>
                  <a:moveTo>
                    <a:pt x="8903" y="895"/>
                  </a:moveTo>
                  <a:cubicBezTo>
                    <a:pt x="8905" y="895"/>
                    <a:pt x="8905" y="895"/>
                    <a:pt x="8905" y="895"/>
                  </a:cubicBezTo>
                  <a:cubicBezTo>
                    <a:pt x="8905" y="895"/>
                    <a:pt x="8905" y="895"/>
                    <a:pt x="8905" y="895"/>
                  </a:cubicBezTo>
                  <a:lnTo>
                    <a:pt x="8903" y="895"/>
                  </a:lnTo>
                  <a:close/>
                  <a:moveTo>
                    <a:pt x="7813" y="974"/>
                  </a:moveTo>
                  <a:cubicBezTo>
                    <a:pt x="7925" y="963"/>
                    <a:pt x="8770" y="883"/>
                    <a:pt x="8903" y="877"/>
                  </a:cubicBezTo>
                  <a:cubicBezTo>
                    <a:pt x="8894" y="806"/>
                    <a:pt x="8887" y="754"/>
                    <a:pt x="8885" y="734"/>
                  </a:cubicBezTo>
                  <a:cubicBezTo>
                    <a:pt x="7652" y="2"/>
                    <a:pt x="7652" y="2"/>
                    <a:pt x="7652" y="2"/>
                  </a:cubicBezTo>
                  <a:cubicBezTo>
                    <a:pt x="7574" y="144"/>
                    <a:pt x="7574" y="144"/>
                    <a:pt x="7574" y="144"/>
                  </a:cubicBezTo>
                  <a:cubicBezTo>
                    <a:pt x="7574" y="145"/>
                    <a:pt x="7573" y="147"/>
                    <a:pt x="7571" y="151"/>
                  </a:cubicBezTo>
                  <a:cubicBezTo>
                    <a:pt x="7566" y="168"/>
                    <a:pt x="7554" y="211"/>
                    <a:pt x="7554" y="275"/>
                  </a:cubicBezTo>
                  <a:cubicBezTo>
                    <a:pt x="7554" y="337"/>
                    <a:pt x="7565" y="417"/>
                    <a:pt x="7603" y="513"/>
                  </a:cubicBezTo>
                  <a:cubicBezTo>
                    <a:pt x="7650" y="628"/>
                    <a:pt x="7704" y="746"/>
                    <a:pt x="7746" y="836"/>
                  </a:cubicBezTo>
                  <a:cubicBezTo>
                    <a:pt x="7778" y="902"/>
                    <a:pt x="7803" y="953"/>
                    <a:pt x="7813" y="974"/>
                  </a:cubicBezTo>
                  <a:close/>
                  <a:moveTo>
                    <a:pt x="7883" y="1976"/>
                  </a:moveTo>
                  <a:cubicBezTo>
                    <a:pt x="7920" y="1981"/>
                    <a:pt x="8367" y="2047"/>
                    <a:pt x="8875" y="2123"/>
                  </a:cubicBezTo>
                  <a:cubicBezTo>
                    <a:pt x="8877" y="2121"/>
                    <a:pt x="8885" y="2110"/>
                    <a:pt x="8891" y="2104"/>
                  </a:cubicBezTo>
                  <a:cubicBezTo>
                    <a:pt x="8894" y="2100"/>
                    <a:pt x="8896" y="2095"/>
                    <a:pt x="8899" y="2090"/>
                  </a:cubicBezTo>
                  <a:cubicBezTo>
                    <a:pt x="8932" y="2028"/>
                    <a:pt x="8997" y="1879"/>
                    <a:pt x="8997" y="1695"/>
                  </a:cubicBezTo>
                  <a:cubicBezTo>
                    <a:pt x="8997" y="1668"/>
                    <a:pt x="8996" y="1640"/>
                    <a:pt x="8993" y="1611"/>
                  </a:cubicBezTo>
                  <a:cubicBezTo>
                    <a:pt x="8976" y="1464"/>
                    <a:pt x="8949" y="1243"/>
                    <a:pt x="8926" y="1058"/>
                  </a:cubicBezTo>
                  <a:cubicBezTo>
                    <a:pt x="8919" y="1006"/>
                    <a:pt x="8913" y="956"/>
                    <a:pt x="8908" y="913"/>
                  </a:cubicBezTo>
                  <a:cubicBezTo>
                    <a:pt x="8848" y="915"/>
                    <a:pt x="8586" y="938"/>
                    <a:pt x="8334" y="961"/>
                  </a:cubicBezTo>
                  <a:cubicBezTo>
                    <a:pt x="8106" y="982"/>
                    <a:pt x="7885" y="1003"/>
                    <a:pt x="7823" y="1009"/>
                  </a:cubicBezTo>
                  <a:cubicBezTo>
                    <a:pt x="7899" y="1709"/>
                    <a:pt x="7899" y="1709"/>
                    <a:pt x="7899" y="1709"/>
                  </a:cubicBezTo>
                  <a:cubicBezTo>
                    <a:pt x="7810" y="1952"/>
                    <a:pt x="7810" y="1952"/>
                    <a:pt x="7810" y="1952"/>
                  </a:cubicBezTo>
                  <a:cubicBezTo>
                    <a:pt x="7811" y="1968"/>
                    <a:pt x="7811" y="1968"/>
                    <a:pt x="7811" y="1968"/>
                  </a:cubicBezTo>
                  <a:cubicBezTo>
                    <a:pt x="7835" y="1970"/>
                    <a:pt x="7859" y="1973"/>
                    <a:pt x="7883" y="1976"/>
                  </a:cubicBezTo>
                  <a:close/>
                  <a:moveTo>
                    <a:pt x="8925" y="2130"/>
                  </a:moveTo>
                  <a:cubicBezTo>
                    <a:pt x="9249" y="2178"/>
                    <a:pt x="9593" y="2230"/>
                    <a:pt x="9870" y="2271"/>
                  </a:cubicBezTo>
                  <a:cubicBezTo>
                    <a:pt x="9877" y="2258"/>
                    <a:pt x="9877" y="2258"/>
                    <a:pt x="9877" y="2258"/>
                  </a:cubicBezTo>
                  <a:cubicBezTo>
                    <a:pt x="9999" y="1900"/>
                    <a:pt x="9999" y="1900"/>
                    <a:pt x="9999" y="1900"/>
                  </a:cubicBezTo>
                  <a:cubicBezTo>
                    <a:pt x="10155" y="1772"/>
                    <a:pt x="10155" y="1772"/>
                    <a:pt x="10155" y="1772"/>
                  </a:cubicBezTo>
                  <a:cubicBezTo>
                    <a:pt x="10131" y="1101"/>
                    <a:pt x="10131" y="1101"/>
                    <a:pt x="10131" y="1101"/>
                  </a:cubicBezTo>
                  <a:cubicBezTo>
                    <a:pt x="10265" y="927"/>
                    <a:pt x="10265" y="927"/>
                    <a:pt x="10265" y="927"/>
                  </a:cubicBezTo>
                  <a:cubicBezTo>
                    <a:pt x="10260" y="868"/>
                    <a:pt x="10216" y="426"/>
                    <a:pt x="10207" y="336"/>
                  </a:cubicBezTo>
                  <a:cubicBezTo>
                    <a:pt x="9188" y="321"/>
                    <a:pt x="9188" y="321"/>
                    <a:pt x="9188" y="321"/>
                  </a:cubicBezTo>
                  <a:cubicBezTo>
                    <a:pt x="9170" y="348"/>
                    <a:pt x="9114" y="435"/>
                    <a:pt x="9057" y="522"/>
                  </a:cubicBezTo>
                  <a:cubicBezTo>
                    <a:pt x="9022" y="574"/>
                    <a:pt x="8987" y="626"/>
                    <a:pt x="8960" y="666"/>
                  </a:cubicBezTo>
                  <a:cubicBezTo>
                    <a:pt x="8947" y="686"/>
                    <a:pt x="8935" y="703"/>
                    <a:pt x="8927" y="715"/>
                  </a:cubicBezTo>
                  <a:cubicBezTo>
                    <a:pt x="8924" y="718"/>
                    <a:pt x="8922" y="721"/>
                    <a:pt x="8920" y="724"/>
                  </a:cubicBezTo>
                  <a:cubicBezTo>
                    <a:pt x="8925" y="767"/>
                    <a:pt x="8997" y="1324"/>
                    <a:pt x="9028" y="1607"/>
                  </a:cubicBezTo>
                  <a:cubicBezTo>
                    <a:pt x="9032" y="1637"/>
                    <a:pt x="9033" y="1666"/>
                    <a:pt x="9033" y="1695"/>
                  </a:cubicBezTo>
                  <a:cubicBezTo>
                    <a:pt x="9033" y="1887"/>
                    <a:pt x="8965" y="2041"/>
                    <a:pt x="8931" y="2107"/>
                  </a:cubicBezTo>
                  <a:lnTo>
                    <a:pt x="8925" y="2130"/>
                  </a:lnTo>
                  <a:close/>
                  <a:moveTo>
                    <a:pt x="13133" y="2349"/>
                  </a:moveTo>
                  <a:cubicBezTo>
                    <a:pt x="12120" y="1948"/>
                    <a:pt x="12120" y="1948"/>
                    <a:pt x="12120" y="1948"/>
                  </a:cubicBezTo>
                  <a:cubicBezTo>
                    <a:pt x="11924" y="657"/>
                    <a:pt x="11924" y="657"/>
                    <a:pt x="11924" y="657"/>
                  </a:cubicBezTo>
                  <a:cubicBezTo>
                    <a:pt x="10294" y="949"/>
                    <a:pt x="10294" y="949"/>
                    <a:pt x="10294" y="949"/>
                  </a:cubicBezTo>
                  <a:cubicBezTo>
                    <a:pt x="10167" y="1113"/>
                    <a:pt x="10167" y="1113"/>
                    <a:pt x="10167" y="1113"/>
                  </a:cubicBezTo>
                  <a:cubicBezTo>
                    <a:pt x="10192" y="1789"/>
                    <a:pt x="10192" y="1789"/>
                    <a:pt x="10192" y="1789"/>
                  </a:cubicBezTo>
                  <a:cubicBezTo>
                    <a:pt x="10030" y="1922"/>
                    <a:pt x="10030" y="1922"/>
                    <a:pt x="10030" y="1922"/>
                  </a:cubicBezTo>
                  <a:cubicBezTo>
                    <a:pt x="9916" y="2256"/>
                    <a:pt x="9916" y="2256"/>
                    <a:pt x="9916" y="2256"/>
                  </a:cubicBezTo>
                  <a:cubicBezTo>
                    <a:pt x="9914" y="2277"/>
                    <a:pt x="9914" y="2277"/>
                    <a:pt x="9914" y="2277"/>
                  </a:cubicBezTo>
                  <a:cubicBezTo>
                    <a:pt x="10204" y="2321"/>
                    <a:pt x="10411" y="2351"/>
                    <a:pt x="10426" y="2354"/>
                  </a:cubicBezTo>
                  <a:cubicBezTo>
                    <a:pt x="10442" y="2356"/>
                    <a:pt x="10604" y="2375"/>
                    <a:pt x="10764" y="2447"/>
                  </a:cubicBezTo>
                  <a:cubicBezTo>
                    <a:pt x="10928" y="2521"/>
                    <a:pt x="11492" y="2837"/>
                    <a:pt x="11647" y="2935"/>
                  </a:cubicBezTo>
                  <a:cubicBezTo>
                    <a:pt x="12574" y="3529"/>
                    <a:pt x="12574" y="3529"/>
                    <a:pt x="12574" y="3529"/>
                  </a:cubicBezTo>
                  <a:cubicBezTo>
                    <a:pt x="12718" y="3229"/>
                    <a:pt x="12853" y="2944"/>
                    <a:pt x="12956" y="2726"/>
                  </a:cubicBezTo>
                  <a:cubicBezTo>
                    <a:pt x="13045" y="2536"/>
                    <a:pt x="13110" y="2399"/>
                    <a:pt x="13133" y="23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grpSp>
      <p:sp>
        <p:nvSpPr>
          <p:cNvPr id="27" name="---Tijdelijke aanduiding voor afbeelding 27">
            <a:extLst>
              <a:ext uri="{FF2B5EF4-FFF2-40B4-BE49-F238E27FC236}">
                <a16:creationId xmlns:a16="http://schemas.microsoft.com/office/drawing/2014/main" id="{E9D235B2-EC52-4838-8404-559B6643285B}"/>
              </a:ext>
            </a:extLst>
          </p:cNvPr>
          <p:cNvSpPr>
            <a:spLocks noGrp="1" noSelect="1"/>
          </p:cNvSpPr>
          <p:nvPr>
            <p:ph type="pic" sz="quarter" idx="13" hasCustomPrompt="1"/>
          </p:nvPr>
        </p:nvSpPr>
        <p:spPr bwMode="gray">
          <a:xfrm>
            <a:off x="0" y="2284560"/>
            <a:ext cx="12195001" cy="3425678"/>
          </a:xfrm>
          <a:custGeom>
            <a:avLst/>
            <a:gdLst>
              <a:gd name="connsiteX0" fmla="*/ 1144440 w 12195001"/>
              <a:gd name="connsiteY0" fmla="*/ 0 h 3425678"/>
              <a:gd name="connsiteX1" fmla="*/ 12195001 w 12195001"/>
              <a:gd name="connsiteY1" fmla="*/ 0 h 3425678"/>
              <a:gd name="connsiteX2" fmla="*/ 12195001 w 12195001"/>
              <a:gd name="connsiteY2" fmla="*/ 3425678 h 3425678"/>
              <a:gd name="connsiteX3" fmla="*/ 0 w 12195001"/>
              <a:gd name="connsiteY3" fmla="*/ 3425678 h 3425678"/>
              <a:gd name="connsiteX4" fmla="*/ 0 w 12195001"/>
              <a:gd name="connsiteY4" fmla="*/ 1141266 h 34256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5001" h="3425678">
                <a:moveTo>
                  <a:pt x="1144440" y="0"/>
                </a:moveTo>
                <a:lnTo>
                  <a:pt x="12195001" y="0"/>
                </a:lnTo>
                <a:lnTo>
                  <a:pt x="12195001" y="3425678"/>
                </a:lnTo>
                <a:lnTo>
                  <a:pt x="0" y="3425678"/>
                </a:lnTo>
                <a:lnTo>
                  <a:pt x="0" y="1141266"/>
                </a:lnTo>
                <a:close/>
              </a:path>
            </a:pathLst>
          </a:custGeom>
          <a:blipFill>
            <a:blip r:embed="rId4"/>
            <a:stretch>
              <a:fillRect/>
            </a:stretch>
          </a:blipFill>
        </p:spPr>
        <p:txBody>
          <a:bodyPr wrap="square">
            <a:noAutofit/>
          </a:bodyPr>
          <a:lstStyle>
            <a:lvl1pPr marL="270108" indent="-270108" algn="r" defTabSz="1088937" rtl="0" eaLnBrk="1" latinLnBrk="0" hangingPunct="1">
              <a:spcBef>
                <a:spcPts val="0"/>
              </a:spcBef>
              <a:buFont typeface="Arial" pitchFamily="34" charset="0"/>
              <a:buNone/>
              <a:defRPr/>
            </a:lvl1pPr>
          </a:lstStyle>
          <a:p>
            <a:r>
              <a:rPr lang="nl-NL" dirty="0"/>
              <a:t>  </a:t>
            </a:r>
          </a:p>
        </p:txBody>
      </p:sp>
      <p:sp>
        <p:nvSpPr>
          <p:cNvPr id="28" name="+++Freeform 7 (PHJU)">
            <a:extLst>
              <a:ext uri="{FF2B5EF4-FFF2-40B4-BE49-F238E27FC236}">
                <a16:creationId xmlns:a16="http://schemas.microsoft.com/office/drawing/2014/main" id="{A0A06089-3BC5-4754-BE2B-DA06BCF70FED}"/>
              </a:ext>
            </a:extLst>
          </p:cNvPr>
          <p:cNvSpPr>
            <a:spLocks noGrp="1" noSelect="1"/>
          </p:cNvSpPr>
          <p:nvPr>
            <p:ph type="body" idx="1001" hasCustomPrompt="1"/>
            <p:custDataLst>
              <p:custData r:id="rId1"/>
            </p:custDataLst>
          </p:nvPr>
        </p:nvSpPr>
        <p:spPr bwMode="gray">
          <a:xfrm>
            <a:off x="572760" y="2279880"/>
            <a:ext cx="11626921" cy="1147680"/>
          </a:xfrm>
          <a:custGeom>
            <a:avLst/>
            <a:gdLst>
              <a:gd name="T0" fmla="*/ 363 w 7324"/>
              <a:gd name="T1" fmla="*/ 723 h 723"/>
              <a:gd name="T2" fmla="*/ 7324 w 7324"/>
              <a:gd name="T3" fmla="*/ 723 h 723"/>
              <a:gd name="T4" fmla="*/ 7324 w 7324"/>
              <a:gd name="T5" fmla="*/ 0 h 723"/>
              <a:gd name="T6" fmla="*/ 363 w 7324"/>
              <a:gd name="T7" fmla="*/ 0 h 723"/>
              <a:gd name="T8" fmla="*/ 0 w 7324"/>
              <a:gd name="T9" fmla="*/ 362 h 723"/>
              <a:gd name="T10" fmla="*/ 363 w 7324"/>
              <a:gd name="T11" fmla="*/ 723 h 723"/>
            </a:gdLst>
            <a:ahLst/>
            <a:cxnLst>
              <a:cxn ang="0">
                <a:pos x="T0" y="T1"/>
              </a:cxn>
              <a:cxn ang="0">
                <a:pos x="T2" y="T3"/>
              </a:cxn>
              <a:cxn ang="0">
                <a:pos x="T4" y="T5"/>
              </a:cxn>
              <a:cxn ang="0">
                <a:pos x="T6" y="T7"/>
              </a:cxn>
              <a:cxn ang="0">
                <a:pos x="T8" y="T9"/>
              </a:cxn>
              <a:cxn ang="0">
                <a:pos x="T10" y="T11"/>
              </a:cxn>
            </a:cxnLst>
            <a:rect l="0" t="0" r="r" b="b"/>
            <a:pathLst>
              <a:path w="7324" h="723">
                <a:moveTo>
                  <a:pt x="363" y="723"/>
                </a:moveTo>
                <a:lnTo>
                  <a:pt x="7324" y="723"/>
                </a:lnTo>
                <a:lnTo>
                  <a:pt x="7324" y="0"/>
                </a:lnTo>
                <a:lnTo>
                  <a:pt x="363" y="0"/>
                </a:lnTo>
                <a:lnTo>
                  <a:pt x="0" y="362"/>
                </a:lnTo>
                <a:lnTo>
                  <a:pt x="363" y="723"/>
                </a:lnTo>
                <a:close/>
              </a:path>
            </a:pathLst>
          </a:custGeom>
          <a:solidFill>
            <a:srgbClr val="58525A">
              <a:alpha val="80000"/>
            </a:srgbClr>
          </a:solidFill>
          <a:ln>
            <a:noFill/>
          </a:ln>
        </p:spPr>
        <p:txBody>
          <a:bodyPr vert="horz" wrap="square" lIns="91440" tIns="45720" rIns="91440" bIns="45720" numCol="1" anchor="t" anchorCtr="0" compatLnSpc="1">
            <a:prstTxWarp prst="textNoShape">
              <a:avLst/>
            </a:prstTxWarp>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24" name="+++Freeform 7 (PHJU)">
            <a:extLst>
              <a:ext uri="{FF2B5EF4-FFF2-40B4-BE49-F238E27FC236}">
                <a16:creationId xmlns:a16="http://schemas.microsoft.com/office/drawing/2014/main" id="{447A62F1-6A9A-4114-9C86-79B14171F607}"/>
              </a:ext>
            </a:extLst>
          </p:cNvPr>
          <p:cNvSpPr>
            <a:spLocks noGrp="1" noSelect="1"/>
          </p:cNvSpPr>
          <p:nvPr>
            <p:ph type="body" idx="1002" hasCustomPrompt="1"/>
            <p:custDataLst>
              <p:custData r:id="rId2"/>
            </p:custDataLst>
          </p:nvPr>
        </p:nvSpPr>
        <p:spPr bwMode="gray">
          <a:xfrm>
            <a:off x="560520" y="2279880"/>
            <a:ext cx="11636640" cy="1147680"/>
          </a:xfrm>
          <a:custGeom>
            <a:avLst/>
            <a:gdLst>
              <a:gd name="T0" fmla="*/ 363 w 7324"/>
              <a:gd name="T1" fmla="*/ 723 h 723"/>
              <a:gd name="T2" fmla="*/ 7324 w 7324"/>
              <a:gd name="T3" fmla="*/ 723 h 723"/>
              <a:gd name="T4" fmla="*/ 7324 w 7324"/>
              <a:gd name="T5" fmla="*/ 0 h 723"/>
              <a:gd name="T6" fmla="*/ 363 w 7324"/>
              <a:gd name="T7" fmla="*/ 0 h 723"/>
              <a:gd name="T8" fmla="*/ 0 w 7324"/>
              <a:gd name="T9" fmla="*/ 362 h 723"/>
              <a:gd name="T10" fmla="*/ 363 w 7324"/>
              <a:gd name="T11" fmla="*/ 723 h 723"/>
            </a:gdLst>
            <a:ahLst/>
            <a:cxnLst>
              <a:cxn ang="0">
                <a:pos x="T0" y="T1"/>
              </a:cxn>
              <a:cxn ang="0">
                <a:pos x="T2" y="T3"/>
              </a:cxn>
              <a:cxn ang="0">
                <a:pos x="T4" y="T5"/>
              </a:cxn>
              <a:cxn ang="0">
                <a:pos x="T6" y="T7"/>
              </a:cxn>
              <a:cxn ang="0">
                <a:pos x="T8" y="T9"/>
              </a:cxn>
              <a:cxn ang="0">
                <a:pos x="T10" y="T11"/>
              </a:cxn>
            </a:cxnLst>
            <a:rect l="0" t="0" r="r" b="b"/>
            <a:pathLst>
              <a:path w="7324" h="723">
                <a:moveTo>
                  <a:pt x="363" y="723"/>
                </a:moveTo>
                <a:lnTo>
                  <a:pt x="7324" y="723"/>
                </a:lnTo>
                <a:lnTo>
                  <a:pt x="7324" y="0"/>
                </a:lnTo>
                <a:lnTo>
                  <a:pt x="363" y="0"/>
                </a:lnTo>
                <a:lnTo>
                  <a:pt x="0" y="362"/>
                </a:lnTo>
                <a:lnTo>
                  <a:pt x="363" y="723"/>
                </a:lnTo>
                <a:close/>
              </a:path>
            </a:pathLst>
          </a:custGeom>
          <a:solidFill>
            <a:srgbClr val="4BA1BA">
              <a:alpha val="80000"/>
            </a:srgbClr>
          </a:solidFill>
          <a:ln>
            <a:noFill/>
          </a:ln>
        </p:spPr>
        <p:txBody>
          <a:bodyPr vert="horz" wrap="square" lIns="91440" tIns="45720" rIns="91440" bIns="45720" numCol="1" anchor="t" anchorCtr="0" compatLnSpc="1">
            <a:prstTxWarp prst="textNoShape">
              <a:avLst/>
            </a:prstTxWarp>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3" name="Ondertitel 2"/>
          <p:cNvSpPr>
            <a:spLocks noGrp="1" noSelect="1"/>
          </p:cNvSpPr>
          <p:nvPr>
            <p:ph type="subTitle" idx="1" hasCustomPrompt="1"/>
          </p:nvPr>
        </p:nvSpPr>
        <p:spPr bwMode="gray">
          <a:xfrm>
            <a:off x="1152000" y="2697840"/>
            <a:ext cx="10404000" cy="324000"/>
          </a:xfrm>
        </p:spPr>
        <p:txBody>
          <a:bodyPr anchor="ctr" anchorCtr="0">
            <a:noAutofit/>
          </a:bodyPr>
          <a:lstStyle>
            <a:lvl1pPr marL="0" indent="0" algn="l">
              <a:lnSpc>
                <a:spcPct val="100000"/>
              </a:lnSpc>
              <a:buNone/>
              <a:defRPr sz="1800" b="1" i="0" cap="all" spc="70" baseline="0">
                <a:solidFill>
                  <a:schemeClr val="bg1"/>
                </a:solidFill>
                <a:latin typeface="Univers" panose="020B0603020202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noProof="1"/>
              <a:t>[presentator en/of datum]</a:t>
            </a:r>
          </a:p>
        </p:txBody>
      </p:sp>
      <p:sp>
        <p:nvSpPr>
          <p:cNvPr id="35" name="witdriehoek">
            <a:extLst>
              <a:ext uri="{FF2B5EF4-FFF2-40B4-BE49-F238E27FC236}">
                <a16:creationId xmlns:a16="http://schemas.microsoft.com/office/drawing/2014/main" id="{258E5B10-4493-46B1-B50A-1C8CA7958AD0}"/>
              </a:ext>
            </a:extLst>
          </p:cNvPr>
          <p:cNvSpPr>
            <a:spLocks noSelect="1"/>
          </p:cNvSpPr>
          <p:nvPr userDrawn="1"/>
        </p:nvSpPr>
        <p:spPr bwMode="auto">
          <a:xfrm>
            <a:off x="0" y="2286001"/>
            <a:ext cx="571500" cy="1143000"/>
          </a:xfrm>
          <a:custGeom>
            <a:avLst/>
            <a:gdLst>
              <a:gd name="T0" fmla="*/ 360 w 360"/>
              <a:gd name="T1" fmla="*/ 360 h 720"/>
              <a:gd name="T2" fmla="*/ 0 w 360"/>
              <a:gd name="T3" fmla="*/ 720 h 720"/>
              <a:gd name="T4" fmla="*/ 0 w 360"/>
              <a:gd name="T5" fmla="*/ 0 h 720"/>
              <a:gd name="T6" fmla="*/ 360 w 360"/>
              <a:gd name="T7" fmla="*/ 360 h 720"/>
            </a:gdLst>
            <a:ahLst/>
            <a:cxnLst>
              <a:cxn ang="0">
                <a:pos x="T0" y="T1"/>
              </a:cxn>
              <a:cxn ang="0">
                <a:pos x="T2" y="T3"/>
              </a:cxn>
              <a:cxn ang="0">
                <a:pos x="T4" y="T5"/>
              </a:cxn>
              <a:cxn ang="0">
                <a:pos x="T6" y="T7"/>
              </a:cxn>
            </a:cxnLst>
            <a:rect l="0" t="0" r="r" b="b"/>
            <a:pathLst>
              <a:path w="360" h="720">
                <a:moveTo>
                  <a:pt x="360" y="360"/>
                </a:moveTo>
                <a:lnTo>
                  <a:pt x="0" y="720"/>
                </a:lnTo>
                <a:lnTo>
                  <a:pt x="0" y="0"/>
                </a:lnTo>
                <a:lnTo>
                  <a:pt x="360" y="3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x-none"/>
          </a:p>
        </p:txBody>
      </p:sp>
      <p:sp>
        <p:nvSpPr>
          <p:cNvPr id="36" name="kleurdriehoek">
            <a:extLst>
              <a:ext uri="{FF2B5EF4-FFF2-40B4-BE49-F238E27FC236}">
                <a16:creationId xmlns:a16="http://schemas.microsoft.com/office/drawing/2014/main" id="{8D57C52A-2818-477F-927D-BDBD4280B077}"/>
              </a:ext>
            </a:extLst>
          </p:cNvPr>
          <p:cNvSpPr>
            <a:spLocks noSelect="1"/>
          </p:cNvSpPr>
          <p:nvPr userDrawn="1"/>
        </p:nvSpPr>
        <p:spPr bwMode="auto">
          <a:xfrm>
            <a:off x="0" y="2286001"/>
            <a:ext cx="1144588" cy="571500"/>
          </a:xfrm>
          <a:custGeom>
            <a:avLst/>
            <a:gdLst>
              <a:gd name="T0" fmla="*/ 360 w 721"/>
              <a:gd name="T1" fmla="*/ 360 h 360"/>
              <a:gd name="T2" fmla="*/ 0 w 721"/>
              <a:gd name="T3" fmla="*/ 0 h 360"/>
              <a:gd name="T4" fmla="*/ 721 w 721"/>
              <a:gd name="T5" fmla="*/ 0 h 360"/>
              <a:gd name="T6" fmla="*/ 360 w 721"/>
              <a:gd name="T7" fmla="*/ 360 h 360"/>
            </a:gdLst>
            <a:ahLst/>
            <a:cxnLst>
              <a:cxn ang="0">
                <a:pos x="T0" y="T1"/>
              </a:cxn>
              <a:cxn ang="0">
                <a:pos x="T2" y="T3"/>
              </a:cxn>
              <a:cxn ang="0">
                <a:pos x="T4" y="T5"/>
              </a:cxn>
              <a:cxn ang="0">
                <a:pos x="T6" y="T7"/>
              </a:cxn>
            </a:cxnLst>
            <a:rect l="0" t="0" r="r" b="b"/>
            <a:pathLst>
              <a:path w="721" h="360">
                <a:moveTo>
                  <a:pt x="360" y="360"/>
                </a:moveTo>
                <a:lnTo>
                  <a:pt x="0" y="0"/>
                </a:lnTo>
                <a:lnTo>
                  <a:pt x="721" y="0"/>
                </a:lnTo>
                <a:lnTo>
                  <a:pt x="360" y="360"/>
                </a:lnTo>
                <a:close/>
              </a:path>
            </a:pathLst>
          </a:custGeom>
          <a:solidFill>
            <a:srgbClr val="4BA1BA"/>
          </a:solidFill>
          <a:ln>
            <a:noFill/>
          </a:ln>
        </p:spPr>
        <p:txBody>
          <a:bodyPr vert="horz" wrap="square" lIns="91440" tIns="45720" rIns="91440" bIns="45720" numCol="1" anchor="t" anchorCtr="0" compatLnSpc="1">
            <a:prstTxWarp prst="textNoShape">
              <a:avLst/>
            </a:prstTxWarp>
          </a:bodyPr>
          <a:lstStyle/>
          <a:p>
            <a:endParaRPr lang="x-none" dirty="0"/>
          </a:p>
        </p:txBody>
      </p:sp>
    </p:spTree>
    <p:extLst>
      <p:ext uri="{BB962C8B-B14F-4D97-AF65-F5344CB8AC3E}">
        <p14:creationId xmlns:p14="http://schemas.microsoft.com/office/powerpoint/2010/main" val="3183019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5000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700" fill="hold"/>
                                        <p:tgtEl>
                                          <p:spTgt spid="29"/>
                                        </p:tgtEl>
                                        <p:attrNameLst>
                                          <p:attrName>ppt_x</p:attrName>
                                        </p:attrNameLst>
                                      </p:cBhvr>
                                      <p:tavLst>
                                        <p:tav tm="0">
                                          <p:val>
                                            <p:strVal val="#ppt_x"/>
                                          </p:val>
                                        </p:tav>
                                        <p:tav tm="100000">
                                          <p:val>
                                            <p:strVal val="#ppt_x"/>
                                          </p:val>
                                        </p:tav>
                                      </p:tavLst>
                                    </p:anim>
                                    <p:anim calcmode="lin" valueType="num">
                                      <p:cBhvr additive="base">
                                        <p:cTn id="8" dur="700" fill="hold"/>
                                        <p:tgtEl>
                                          <p:spTgt spid="29"/>
                                        </p:tgtEl>
                                        <p:attrNameLst>
                                          <p:attrName>ppt_y</p:attrName>
                                        </p:attrNameLst>
                                      </p:cBhvr>
                                      <p:tavLst>
                                        <p:tav tm="0">
                                          <p:val>
                                            <p:strVal val="0-#ppt_h/2"/>
                                          </p:val>
                                        </p:tav>
                                        <p:tav tm="100000">
                                          <p:val>
                                            <p:strVal val="#ppt_y"/>
                                          </p:val>
                                        </p:tav>
                                      </p:tavLst>
                                    </p:anim>
                                  </p:childTnLst>
                                </p:cTn>
                              </p:par>
                              <p:par>
                                <p:cTn id="9" presetID="2" presetClass="entr" presetSubtype="4" decel="50000" fill="hold" grpId="0" nodeType="withEffect">
                                  <p:stCondLst>
                                    <p:cond delay="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700" fill="hold"/>
                                        <p:tgtEl>
                                          <p:spTgt spid="27"/>
                                        </p:tgtEl>
                                        <p:attrNameLst>
                                          <p:attrName>ppt_x</p:attrName>
                                        </p:attrNameLst>
                                      </p:cBhvr>
                                      <p:tavLst>
                                        <p:tav tm="0">
                                          <p:val>
                                            <p:strVal val="#ppt_x"/>
                                          </p:val>
                                        </p:tav>
                                        <p:tav tm="100000">
                                          <p:val>
                                            <p:strVal val="#ppt_x"/>
                                          </p:val>
                                        </p:tav>
                                      </p:tavLst>
                                    </p:anim>
                                    <p:anim calcmode="lin" valueType="num">
                                      <p:cBhvr additive="base">
                                        <p:cTn id="12" dur="700" fill="hold"/>
                                        <p:tgtEl>
                                          <p:spTgt spid="27"/>
                                        </p:tgtEl>
                                        <p:attrNameLst>
                                          <p:attrName>ppt_y</p:attrName>
                                        </p:attrNameLst>
                                      </p:cBhvr>
                                      <p:tavLst>
                                        <p:tav tm="0">
                                          <p:val>
                                            <p:strVal val="1+#ppt_h/2"/>
                                          </p:val>
                                        </p:tav>
                                        <p:tav tm="100000">
                                          <p:val>
                                            <p:strVal val="#ppt_y"/>
                                          </p:val>
                                        </p:tav>
                                      </p:tavLst>
                                    </p:anim>
                                  </p:childTnLst>
                                </p:cTn>
                              </p:par>
                              <p:par>
                                <p:cTn id="13" presetID="2" presetClass="entr" presetSubtype="4" decel="5000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700" fill="hold"/>
                                        <p:tgtEl>
                                          <p:spTgt spid="4"/>
                                        </p:tgtEl>
                                        <p:attrNameLst>
                                          <p:attrName>ppt_x</p:attrName>
                                        </p:attrNameLst>
                                      </p:cBhvr>
                                      <p:tavLst>
                                        <p:tav tm="0">
                                          <p:val>
                                            <p:strVal val="#ppt_x"/>
                                          </p:val>
                                        </p:tav>
                                        <p:tav tm="100000">
                                          <p:val>
                                            <p:strVal val="#ppt_x"/>
                                          </p:val>
                                        </p:tav>
                                      </p:tavLst>
                                    </p:anim>
                                    <p:anim calcmode="lin" valueType="num">
                                      <p:cBhvr additive="base">
                                        <p:cTn id="16" dur="700" fill="hold"/>
                                        <p:tgtEl>
                                          <p:spTgt spid="4"/>
                                        </p:tgtEl>
                                        <p:attrNameLst>
                                          <p:attrName>ppt_y</p:attrName>
                                        </p:attrNameLst>
                                      </p:cBhvr>
                                      <p:tavLst>
                                        <p:tav tm="0">
                                          <p:val>
                                            <p:strVal val="1+#ppt_h/2"/>
                                          </p:val>
                                        </p:tav>
                                        <p:tav tm="100000">
                                          <p:val>
                                            <p:strVal val="#ppt_y"/>
                                          </p:val>
                                        </p:tav>
                                      </p:tavLst>
                                    </p:anim>
                                  </p:childTnLst>
                                </p:cTn>
                              </p:par>
                              <p:par>
                                <p:cTn id="17" presetID="64" presetClass="path" presetSubtype="0" decel="62500" fill="hold" grpId="0" nodeType="withEffect">
                                  <p:stCondLst>
                                    <p:cond delay="0"/>
                                  </p:stCondLst>
                                  <p:childTnLst>
                                    <p:animMotion origin="layout" path="M -0.00026 0.58959 L 1.91617E-6 -2.59259E-6 " pathEditMode="relative" rAng="0" ptsTypes="AA">
                                      <p:cBhvr>
                                        <p:cTn id="18" dur="800" fill="hold"/>
                                        <p:tgtEl>
                                          <p:spTgt spid="2"/>
                                        </p:tgtEl>
                                        <p:attrNameLst>
                                          <p:attrName>ppt_x</p:attrName>
                                          <p:attrName>ppt_y</p:attrName>
                                        </p:attrNameLst>
                                      </p:cBhvr>
                                      <p:rCtr x="13" y="-29491"/>
                                    </p:animMotion>
                                  </p:childTnLst>
                                </p:cTn>
                              </p:par>
                              <p:par>
                                <p:cTn id="19" presetID="10" presetClass="entr" presetSubtype="0" fill="hold" grpId="0" nodeType="withEffect">
                                  <p:stCondLst>
                                    <p:cond delay="500"/>
                                  </p:stCondLst>
                                  <p:childTnLst>
                                    <p:set>
                                      <p:cBhvr>
                                        <p:cTn id="20" dur="1" fill="hold">
                                          <p:stCondLst>
                                            <p:cond delay="0"/>
                                          </p:stCondLst>
                                        </p:cTn>
                                        <p:tgtEl>
                                          <p:spTgt spid="28">
                                            <p:bg/>
                                          </p:spTgt>
                                        </p:tgtEl>
                                        <p:attrNameLst>
                                          <p:attrName>style.visibility</p:attrName>
                                        </p:attrNameLst>
                                      </p:cBhvr>
                                      <p:to>
                                        <p:strVal val="visible"/>
                                      </p:to>
                                    </p:set>
                                    <p:animEffect transition="in" filter="fade">
                                      <p:cBhvr>
                                        <p:cTn id="21" dur="200"/>
                                        <p:tgtEl>
                                          <p:spTgt spid="28">
                                            <p:bg/>
                                          </p:spTgt>
                                        </p:tgtEl>
                                      </p:cBhvr>
                                    </p:animEffect>
                                  </p:childTnLst>
                                </p:cTn>
                              </p:par>
                              <p:par>
                                <p:cTn id="22" presetID="10" presetClass="entr" presetSubtype="0" fill="hold" grpId="0" nodeType="withEffect">
                                  <p:stCondLst>
                                    <p:cond delay="500"/>
                                  </p:stCondLst>
                                  <p:childTnLst>
                                    <p:set>
                                      <p:cBhvr>
                                        <p:cTn id="23" dur="1" fill="hold">
                                          <p:stCondLst>
                                            <p:cond delay="0"/>
                                          </p:stCondLst>
                                        </p:cTn>
                                        <p:tgtEl>
                                          <p:spTgt spid="28">
                                            <p:txEl>
                                              <p:pRg st="0" end="0"/>
                                            </p:txEl>
                                          </p:spTgt>
                                        </p:tgtEl>
                                        <p:attrNameLst>
                                          <p:attrName>style.visibility</p:attrName>
                                        </p:attrNameLst>
                                      </p:cBhvr>
                                      <p:to>
                                        <p:strVal val="visible"/>
                                      </p:to>
                                    </p:set>
                                    <p:animEffect transition="in" filter="fade">
                                      <p:cBhvr>
                                        <p:cTn id="24" dur="200"/>
                                        <p:tgtEl>
                                          <p:spTgt spid="28">
                                            <p:txEl>
                                              <p:pRg st="0" end="0"/>
                                            </p:txEl>
                                          </p:spTgt>
                                        </p:tgtEl>
                                      </p:cBhvr>
                                    </p:animEffect>
                                  </p:childTnLst>
                                </p:cTn>
                              </p:par>
                              <p:par>
                                <p:cTn id="25" presetID="10" presetClass="entr" presetSubtype="0" fill="hold" grpId="0" nodeType="withEffect">
                                  <p:stCondLst>
                                    <p:cond delay="500"/>
                                  </p:stCondLst>
                                  <p:childTnLst>
                                    <p:set>
                                      <p:cBhvr>
                                        <p:cTn id="26" dur="1" fill="hold">
                                          <p:stCondLst>
                                            <p:cond delay="0"/>
                                          </p:stCondLst>
                                        </p:cTn>
                                        <p:tgtEl>
                                          <p:spTgt spid="24">
                                            <p:bg/>
                                          </p:spTgt>
                                        </p:tgtEl>
                                        <p:attrNameLst>
                                          <p:attrName>style.visibility</p:attrName>
                                        </p:attrNameLst>
                                      </p:cBhvr>
                                      <p:to>
                                        <p:strVal val="visible"/>
                                      </p:to>
                                    </p:set>
                                    <p:animEffect transition="in" filter="fade">
                                      <p:cBhvr>
                                        <p:cTn id="27" dur="200"/>
                                        <p:tgtEl>
                                          <p:spTgt spid="24">
                                            <p:bg/>
                                          </p:spTgt>
                                        </p:tgtEl>
                                      </p:cBhvr>
                                    </p:animEffect>
                                  </p:childTnLst>
                                </p:cTn>
                              </p:par>
                              <p:par>
                                <p:cTn id="28" presetID="10" presetClass="entr" presetSubtype="0" fill="hold" grpId="0" nodeType="withEffect">
                                  <p:stCondLst>
                                    <p:cond delay="500"/>
                                  </p:stCondLst>
                                  <p:childTnLst>
                                    <p:set>
                                      <p:cBhvr>
                                        <p:cTn id="29" dur="1" fill="hold">
                                          <p:stCondLst>
                                            <p:cond delay="0"/>
                                          </p:stCondLst>
                                        </p:cTn>
                                        <p:tgtEl>
                                          <p:spTgt spid="24">
                                            <p:txEl>
                                              <p:pRg st="0" end="0"/>
                                            </p:txEl>
                                          </p:spTgt>
                                        </p:tgtEl>
                                        <p:attrNameLst>
                                          <p:attrName>style.visibility</p:attrName>
                                        </p:attrNameLst>
                                      </p:cBhvr>
                                      <p:to>
                                        <p:strVal val="visible"/>
                                      </p:to>
                                    </p:set>
                                    <p:animEffect transition="in" filter="fade">
                                      <p:cBhvr>
                                        <p:cTn id="30" dur="200"/>
                                        <p:tgtEl>
                                          <p:spTgt spid="24">
                                            <p:txEl>
                                              <p:pRg st="0" end="0"/>
                                            </p:txEl>
                                          </p:spTgt>
                                        </p:tgtEl>
                                      </p:cBhvr>
                                    </p:animEffect>
                                  </p:childTnLst>
                                </p:cTn>
                              </p:par>
                            </p:childTnLst>
                          </p:cTn>
                        </p:par>
                        <p:par>
                          <p:cTn id="31" fill="hold">
                            <p:stCondLst>
                              <p:cond delay="800"/>
                            </p:stCondLst>
                            <p:childTnLst>
                              <p:par>
                                <p:cTn id="32" presetID="10" presetClass="entr" presetSubtype="0" fill="hold" grpId="0" nodeType="afterEffect">
                                  <p:stCondLst>
                                    <p:cond delay="0"/>
                                  </p:stCondLst>
                                  <p:childTnLst>
                                    <p:set>
                                      <p:cBhvr>
                                        <p:cTn id="33" dur="1" fill="hold">
                                          <p:stCondLst>
                                            <p:cond delay="0"/>
                                          </p:stCondLst>
                                        </p:cTn>
                                        <p:tgtEl>
                                          <p:spTgt spid="3">
                                            <p:txEl>
                                              <p:pRg st="0" end="0"/>
                                            </p:txEl>
                                          </p:spTgt>
                                        </p:tgtEl>
                                        <p:attrNameLst>
                                          <p:attrName>style.visibility</p:attrName>
                                        </p:attrNameLst>
                                      </p:cBhvr>
                                      <p:to>
                                        <p:strVal val="visible"/>
                                      </p:to>
                                    </p:set>
                                    <p:animEffect transition="in" filter="fade">
                                      <p:cBhvr>
                                        <p:cTn id="34" dur="500"/>
                                        <p:tgtEl>
                                          <p:spTgt spid="3">
                                            <p:txEl>
                                              <p:pRg st="0" end="0"/>
                                            </p:txEl>
                                          </p:spTgt>
                                        </p:tgtEl>
                                      </p:cBhvr>
                                    </p:animEffect>
                                  </p:childTnLst>
                                </p:cTn>
                              </p:par>
                            </p:childTnLst>
                          </p:cTn>
                        </p:par>
                        <p:par>
                          <p:cTn id="35" fill="hold">
                            <p:stCondLst>
                              <p:cond delay="1300"/>
                            </p:stCondLst>
                            <p:childTnLst>
                              <p:par>
                                <p:cTn id="36" presetID="1" presetClass="entr" presetSubtype="0" fill="hold" grpId="0" nodeType="afterEffect">
                                  <p:stCondLst>
                                    <p:cond delay="0"/>
                                  </p:stCondLst>
                                  <p:childTnLst>
                                    <p:set>
                                      <p:cBhvr>
                                        <p:cTn id="37"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7" grpId="0" animBg="1"/>
      <p:bldP spid="28" grpId="0" uiExpand="1" build="p" animBg="1">
        <p:tmplLst>
          <p:tmpl>
            <p:tnLst>
              <p:par>
                <p:cTn presetID="10" presetClass="entr" presetSubtype="0" fill="hold" nodeType="withEffect">
                  <p:stCondLst>
                    <p:cond delay="500"/>
                  </p:stCondLst>
                  <p:childTnLst>
                    <p:set>
                      <p:cBhvr>
                        <p:cTn dur="1" fill="hold">
                          <p:stCondLst>
                            <p:cond delay="0"/>
                          </p:stCondLst>
                        </p:cTn>
                        <p:tgtEl>
                          <p:spTgt spid="28"/>
                        </p:tgtEl>
                        <p:attrNameLst>
                          <p:attrName>style.visibility</p:attrName>
                        </p:attrNameLst>
                      </p:cBhvr>
                      <p:to>
                        <p:strVal val="visible"/>
                      </p:to>
                    </p:set>
                    <p:animEffect transition="in" filter="fade">
                      <p:cBhvr>
                        <p:cTn dur="200"/>
                        <p:tgtEl>
                          <p:spTgt spid="28"/>
                        </p:tgtEl>
                      </p:cBhvr>
                    </p:animEffect>
                  </p:childTnLst>
                </p:cTn>
              </p:par>
            </p:tnLst>
          </p:tmpl>
          <p:tmpl lvl="1">
            <p:tnLst>
              <p:par>
                <p:cTn presetID="10" presetClass="entr" presetSubtype="0" fill="hold" nodeType="withEffect">
                  <p:stCondLst>
                    <p:cond delay="500"/>
                  </p:stCondLst>
                  <p:childTnLst>
                    <p:set>
                      <p:cBhvr>
                        <p:cTn dur="1" fill="hold">
                          <p:stCondLst>
                            <p:cond delay="0"/>
                          </p:stCondLst>
                        </p:cTn>
                        <p:tgtEl>
                          <p:spTgt spid="28"/>
                        </p:tgtEl>
                        <p:attrNameLst>
                          <p:attrName>style.visibility</p:attrName>
                        </p:attrNameLst>
                      </p:cBhvr>
                      <p:to>
                        <p:strVal val="visible"/>
                      </p:to>
                    </p:set>
                    <p:animEffect transition="in" filter="fade">
                      <p:cBhvr>
                        <p:cTn dur="200"/>
                        <p:tgtEl>
                          <p:spTgt spid="28"/>
                        </p:tgtEl>
                      </p:cBhvr>
                    </p:animEffect>
                  </p:childTnLst>
                </p:cTn>
              </p:par>
            </p:tnLst>
          </p:tmpl>
        </p:tmplLst>
      </p:bldP>
      <p:bldP spid="24" grpId="0" build="p" animBg="1">
        <p:tmplLst>
          <p:tmpl>
            <p:tnLst>
              <p:par>
                <p:cTn presetID="10" presetClass="entr" presetSubtype="0" fill="hold" nodeType="withEffect">
                  <p:stCondLst>
                    <p:cond delay="500"/>
                  </p:stCondLst>
                  <p:childTnLst>
                    <p:set>
                      <p:cBhvr>
                        <p:cTn dur="1" fill="hold">
                          <p:stCondLst>
                            <p:cond delay="0"/>
                          </p:stCondLst>
                        </p:cTn>
                        <p:tgtEl>
                          <p:spTgt spid="24"/>
                        </p:tgtEl>
                        <p:attrNameLst>
                          <p:attrName>style.visibility</p:attrName>
                        </p:attrNameLst>
                      </p:cBhvr>
                      <p:to>
                        <p:strVal val="visible"/>
                      </p:to>
                    </p:set>
                    <p:animEffect transition="in" filter="fade">
                      <p:cBhvr>
                        <p:cTn dur="200"/>
                        <p:tgtEl>
                          <p:spTgt spid="24"/>
                        </p:tgtEl>
                      </p:cBhvr>
                    </p:animEffect>
                  </p:childTnLst>
                </p:cTn>
              </p:par>
            </p:tnLst>
          </p:tmpl>
          <p:tmpl lvl="1">
            <p:tnLst>
              <p:par>
                <p:cTn presetID="10" presetClass="entr" presetSubtype="0" fill="hold" nodeType="withEffect">
                  <p:stCondLst>
                    <p:cond delay="500"/>
                  </p:stCondLst>
                  <p:childTnLst>
                    <p:set>
                      <p:cBhvr>
                        <p:cTn dur="1" fill="hold">
                          <p:stCondLst>
                            <p:cond delay="0"/>
                          </p:stCondLst>
                        </p:cTn>
                        <p:tgtEl>
                          <p:spTgt spid="24"/>
                        </p:tgtEl>
                        <p:attrNameLst>
                          <p:attrName>style.visibility</p:attrName>
                        </p:attrNameLst>
                      </p:cBhvr>
                      <p:to>
                        <p:strVal val="visible"/>
                      </p:to>
                    </p:set>
                    <p:animEffect transition="in" filter="fade">
                      <p:cBhvr>
                        <p:cTn dur="200"/>
                        <p:tgtEl>
                          <p:spTgt spid="24"/>
                        </p:tgtEl>
                      </p:cBhvr>
                    </p:animEffect>
                  </p:childTnLst>
                </p:cTn>
              </p:par>
            </p:tnLst>
          </p:tmpl>
        </p:tmplLst>
      </p:bldP>
      <p:bldP spid="3" grpId="0" build="p"/>
      <p:bldP spid="36" grpId="0" animBg="1"/>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dia (rood)">
    <p:spTree>
      <p:nvGrpSpPr>
        <p:cNvPr id="1" name=""/>
        <p:cNvGrpSpPr/>
        <p:nvPr/>
      </p:nvGrpSpPr>
      <p:grpSpPr>
        <a:xfrm>
          <a:off x="0" y="0"/>
          <a:ext cx="0" cy="0"/>
          <a:chOff x="0" y="0"/>
          <a:chExt cx="0" cy="0"/>
        </a:xfrm>
      </p:grpSpPr>
      <p:sp>
        <p:nvSpPr>
          <p:cNvPr id="26" name="Rechthoek 25">
            <a:extLst>
              <a:ext uri="{FF2B5EF4-FFF2-40B4-BE49-F238E27FC236}">
                <a16:creationId xmlns:a16="http://schemas.microsoft.com/office/drawing/2014/main" id="{157ECE9F-FFEB-45E4-971B-A7524E4C2D3E}"/>
              </a:ext>
            </a:extLst>
          </p:cNvPr>
          <p:cNvSpPr>
            <a:spLocks noSelect="1"/>
          </p:cNvSpPr>
          <p:nvPr userDrawn="1"/>
        </p:nvSpPr>
        <p:spPr>
          <a:xfrm>
            <a:off x="568800" y="5913276"/>
            <a:ext cx="2648467" cy="79208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24" name="Groep 23"/>
          <p:cNvGrpSpPr>
            <a:grpSpLocks noSelect="1"/>
          </p:cNvGrpSpPr>
          <p:nvPr userDrawn="1"/>
        </p:nvGrpSpPr>
        <p:grpSpPr bwMode="gray">
          <a:xfrm>
            <a:off x="0" y="2282031"/>
            <a:ext cx="12195361" cy="4579725"/>
            <a:chOff x="0" y="2279650"/>
            <a:chExt cx="12195361" cy="4579725"/>
          </a:xfrm>
        </p:grpSpPr>
        <p:sp>
          <p:nvSpPr>
            <p:cNvPr id="29" name="---Onder grijs">
              <a:extLst>
                <a:ext uri="{FF2B5EF4-FFF2-40B4-BE49-F238E27FC236}">
                  <a16:creationId xmlns:a16="http://schemas.microsoft.com/office/drawing/2014/main" id="{5AED442C-5379-4E8F-9487-B56DA1942F9A}"/>
                </a:ext>
              </a:extLst>
            </p:cNvPr>
            <p:cNvSpPr>
              <a:spLocks noSelect="1"/>
            </p:cNvSpPr>
            <p:nvPr userDrawn="1"/>
          </p:nvSpPr>
          <p:spPr bwMode="gray">
            <a:xfrm>
              <a:off x="6478588" y="5713200"/>
              <a:ext cx="5716588" cy="1146175"/>
            </a:xfrm>
            <a:custGeom>
              <a:avLst/>
              <a:gdLst>
                <a:gd name="T0" fmla="*/ 4081 w 18004"/>
                <a:gd name="T1" fmla="*/ 69 h 3615"/>
                <a:gd name="T2" fmla="*/ 4999 w 18004"/>
                <a:gd name="T3" fmla="*/ 0 h 3615"/>
                <a:gd name="T4" fmla="*/ 4922 w 18004"/>
                <a:gd name="T5" fmla="*/ 564 h 3615"/>
                <a:gd name="T6" fmla="*/ 5139 w 18004"/>
                <a:gd name="T7" fmla="*/ 3404 h 3615"/>
                <a:gd name="T8" fmla="*/ 5117 w 18004"/>
                <a:gd name="T9" fmla="*/ 3600 h 3615"/>
                <a:gd name="T10" fmla="*/ 4520 w 18004"/>
                <a:gd name="T11" fmla="*/ 3310 h 3615"/>
                <a:gd name="T12" fmla="*/ 3509 w 18004"/>
                <a:gd name="T13" fmla="*/ 3411 h 3615"/>
                <a:gd name="T14" fmla="*/ 3318 w 18004"/>
                <a:gd name="T15" fmla="*/ 3258 h 3615"/>
                <a:gd name="T16" fmla="*/ 3293 w 18004"/>
                <a:gd name="T17" fmla="*/ 3107 h 3615"/>
                <a:gd name="T18" fmla="*/ 4189 w 18004"/>
                <a:gd name="T19" fmla="*/ 2929 h 3615"/>
                <a:gd name="T20" fmla="*/ 5553 w 18004"/>
                <a:gd name="T21" fmla="*/ 2498 h 3615"/>
                <a:gd name="T22" fmla="*/ 5134 w 18004"/>
                <a:gd name="T23" fmla="*/ 2164 h 3615"/>
                <a:gd name="T24" fmla="*/ 131 w 18004"/>
                <a:gd name="T25" fmla="*/ 2201 h 3615"/>
                <a:gd name="T26" fmla="*/ 191 w 18004"/>
                <a:gd name="T27" fmla="*/ 1972 h 3615"/>
                <a:gd name="T28" fmla="*/ 5445 w 18004"/>
                <a:gd name="T29" fmla="*/ 2827 h 3615"/>
                <a:gd name="T30" fmla="*/ 5083 w 18004"/>
                <a:gd name="T31" fmla="*/ 2970 h 3615"/>
                <a:gd name="T32" fmla="*/ 1260 w 18004"/>
                <a:gd name="T33" fmla="*/ 967 h 3615"/>
                <a:gd name="T34" fmla="*/ 1850 w 18004"/>
                <a:gd name="T35" fmla="*/ 455 h 3615"/>
                <a:gd name="T36" fmla="*/ 2989 w 18004"/>
                <a:gd name="T37" fmla="*/ 761 h 3615"/>
                <a:gd name="T38" fmla="*/ 2974 w 18004"/>
                <a:gd name="T39" fmla="*/ 832 h 3615"/>
                <a:gd name="T40" fmla="*/ 14992 w 18004"/>
                <a:gd name="T41" fmla="*/ 0 h 3615"/>
                <a:gd name="T42" fmla="*/ 13818 w 18004"/>
                <a:gd name="T43" fmla="*/ 328 h 3615"/>
                <a:gd name="T44" fmla="*/ 11201 w 18004"/>
                <a:gd name="T45" fmla="*/ 553 h 3615"/>
                <a:gd name="T46" fmla="*/ 10915 w 18004"/>
                <a:gd name="T47" fmla="*/ 574 h 3615"/>
                <a:gd name="T48" fmla="*/ 9185 w 18004"/>
                <a:gd name="T49" fmla="*/ 270 h 3615"/>
                <a:gd name="T50" fmla="*/ 7684 w 18004"/>
                <a:gd name="T51" fmla="*/ 1941 h 3615"/>
                <a:gd name="T52" fmla="*/ 5023 w 18004"/>
                <a:gd name="T53" fmla="*/ 219 h 3615"/>
                <a:gd name="T54" fmla="*/ 4581 w 18004"/>
                <a:gd name="T55" fmla="*/ 160 h 3615"/>
                <a:gd name="T56" fmla="*/ 3894 w 18004"/>
                <a:gd name="T57" fmla="*/ 0 h 3615"/>
                <a:gd name="T58" fmla="*/ 3629 w 18004"/>
                <a:gd name="T59" fmla="*/ 130 h 3615"/>
                <a:gd name="T60" fmla="*/ 3932 w 18004"/>
                <a:gd name="T61" fmla="*/ 1715 h 3615"/>
                <a:gd name="T62" fmla="*/ 2644 w 18004"/>
                <a:gd name="T63" fmla="*/ 291 h 3615"/>
                <a:gd name="T64" fmla="*/ 2031 w 18004"/>
                <a:gd name="T65" fmla="*/ 788 h 3615"/>
                <a:gd name="T66" fmla="*/ 1231 w 18004"/>
                <a:gd name="T67" fmla="*/ 3438 h 3615"/>
                <a:gd name="T68" fmla="*/ 2824 w 18004"/>
                <a:gd name="T69" fmla="*/ 2477 h 3615"/>
                <a:gd name="T70" fmla="*/ 3349 w 18004"/>
                <a:gd name="T71" fmla="*/ 3566 h 3615"/>
                <a:gd name="T72" fmla="*/ 4923 w 18004"/>
                <a:gd name="T73" fmla="*/ 1907 h 3615"/>
                <a:gd name="T74" fmla="*/ 5580 w 18004"/>
                <a:gd name="T75" fmla="*/ 3534 h 3615"/>
                <a:gd name="T76" fmla="*/ 7546 w 18004"/>
                <a:gd name="T77" fmla="*/ 3600 h 3615"/>
                <a:gd name="T78" fmla="*/ 11144 w 18004"/>
                <a:gd name="T79" fmla="*/ 2799 h 3615"/>
                <a:gd name="T80" fmla="*/ 15308 w 18004"/>
                <a:gd name="T81" fmla="*/ 3532 h 3615"/>
                <a:gd name="T82" fmla="*/ 17257 w 18004"/>
                <a:gd name="T83" fmla="*/ 2238 h 3615"/>
                <a:gd name="T84" fmla="*/ 17477 w 18004"/>
                <a:gd name="T85" fmla="*/ 2376 h 3615"/>
                <a:gd name="T86" fmla="*/ 3078 w 18004"/>
                <a:gd name="T87" fmla="*/ 342 h 3615"/>
                <a:gd name="T88" fmla="*/ 2516 w 18004"/>
                <a:gd name="T89" fmla="*/ 425 h 3615"/>
                <a:gd name="T90" fmla="*/ 3403 w 18004"/>
                <a:gd name="T91" fmla="*/ 1858 h 3615"/>
                <a:gd name="T92" fmla="*/ 2351 w 18004"/>
                <a:gd name="T93" fmla="*/ 1567 h 3615"/>
                <a:gd name="T94" fmla="*/ 3095 w 18004"/>
                <a:gd name="T95" fmla="*/ 1820 h 3615"/>
                <a:gd name="T96" fmla="*/ 4144 w 18004"/>
                <a:gd name="T97" fmla="*/ 1955 h 3615"/>
                <a:gd name="T98" fmla="*/ 3814 w 18004"/>
                <a:gd name="T99" fmla="*/ 2784 h 3615"/>
                <a:gd name="T100" fmla="*/ 3970 w 18004"/>
                <a:gd name="T101" fmla="*/ 2899 h 3615"/>
                <a:gd name="T102" fmla="*/ 3602 w 18004"/>
                <a:gd name="T103" fmla="*/ 3224 h 3615"/>
                <a:gd name="T104" fmla="*/ 4289 w 18004"/>
                <a:gd name="T105" fmla="*/ 3336 h 3615"/>
                <a:gd name="T106" fmla="*/ 3844 w 18004"/>
                <a:gd name="T107" fmla="*/ 2396 h 3615"/>
                <a:gd name="T108" fmla="*/ 4974 w 18004"/>
                <a:gd name="T109" fmla="*/ 3218 h 3615"/>
                <a:gd name="T110" fmla="*/ 6695 w 18004"/>
                <a:gd name="T111" fmla="*/ 1906 h 3615"/>
                <a:gd name="T112" fmla="*/ 10817 w 18004"/>
                <a:gd name="T113" fmla="*/ 606 h 3615"/>
                <a:gd name="T114" fmla="*/ 11184 w 18004"/>
                <a:gd name="T115" fmla="*/ 541 h 3615"/>
                <a:gd name="T116" fmla="*/ 7822 w 18004"/>
                <a:gd name="T117" fmla="*/ 958 h 3615"/>
                <a:gd name="T118" fmla="*/ 9048 w 18004"/>
                <a:gd name="T119" fmla="*/ 1695 h 3615"/>
                <a:gd name="T120" fmla="*/ 12939 w 18004"/>
                <a:gd name="T121" fmla="*/ 2718 h 3615"/>
                <a:gd name="T122" fmla="*/ 101 w 18004"/>
                <a:gd name="T123" fmla="*/ 552 h 3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04" h="3615">
                  <a:moveTo>
                    <a:pt x="3946" y="222"/>
                  </a:moveTo>
                  <a:cubicBezTo>
                    <a:pt x="3999" y="168"/>
                    <a:pt x="3999" y="168"/>
                    <a:pt x="3999" y="168"/>
                  </a:cubicBezTo>
                  <a:cubicBezTo>
                    <a:pt x="4051" y="219"/>
                    <a:pt x="4051" y="219"/>
                    <a:pt x="4051" y="219"/>
                  </a:cubicBezTo>
                  <a:cubicBezTo>
                    <a:pt x="4150" y="118"/>
                    <a:pt x="4150" y="118"/>
                    <a:pt x="4150" y="118"/>
                  </a:cubicBezTo>
                  <a:cubicBezTo>
                    <a:pt x="4081" y="51"/>
                    <a:pt x="4081" y="51"/>
                    <a:pt x="4081" y="51"/>
                  </a:cubicBezTo>
                  <a:cubicBezTo>
                    <a:pt x="4076" y="55"/>
                    <a:pt x="4076" y="55"/>
                    <a:pt x="4076" y="55"/>
                  </a:cubicBezTo>
                  <a:cubicBezTo>
                    <a:pt x="4068" y="64"/>
                    <a:pt x="4068" y="64"/>
                    <a:pt x="4068" y="64"/>
                  </a:cubicBezTo>
                  <a:cubicBezTo>
                    <a:pt x="4033" y="29"/>
                    <a:pt x="4033" y="29"/>
                    <a:pt x="4033" y="29"/>
                  </a:cubicBezTo>
                  <a:cubicBezTo>
                    <a:pt x="3896" y="164"/>
                    <a:pt x="3896" y="164"/>
                    <a:pt x="3896" y="164"/>
                  </a:cubicBezTo>
                  <a:cubicBezTo>
                    <a:pt x="3892" y="169"/>
                    <a:pt x="3892" y="169"/>
                    <a:pt x="3892" y="169"/>
                  </a:cubicBezTo>
                  <a:lnTo>
                    <a:pt x="3946" y="222"/>
                  </a:lnTo>
                  <a:close/>
                  <a:moveTo>
                    <a:pt x="4033" y="47"/>
                  </a:moveTo>
                  <a:cubicBezTo>
                    <a:pt x="4068" y="82"/>
                    <a:pt x="4068" y="82"/>
                    <a:pt x="4068" y="82"/>
                  </a:cubicBezTo>
                  <a:cubicBezTo>
                    <a:pt x="4073" y="78"/>
                    <a:pt x="4073" y="78"/>
                    <a:pt x="4073" y="78"/>
                  </a:cubicBezTo>
                  <a:cubicBezTo>
                    <a:pt x="4081" y="69"/>
                    <a:pt x="4081" y="69"/>
                    <a:pt x="4081" y="69"/>
                  </a:cubicBezTo>
                  <a:cubicBezTo>
                    <a:pt x="4131" y="119"/>
                    <a:pt x="4131" y="119"/>
                    <a:pt x="4131" y="119"/>
                  </a:cubicBezTo>
                  <a:cubicBezTo>
                    <a:pt x="4051" y="200"/>
                    <a:pt x="4051" y="200"/>
                    <a:pt x="4051" y="200"/>
                  </a:cubicBezTo>
                  <a:cubicBezTo>
                    <a:pt x="3999" y="149"/>
                    <a:pt x="3999" y="149"/>
                    <a:pt x="3999" y="149"/>
                  </a:cubicBezTo>
                  <a:cubicBezTo>
                    <a:pt x="3946" y="203"/>
                    <a:pt x="3946" y="203"/>
                    <a:pt x="3946" y="203"/>
                  </a:cubicBezTo>
                  <a:cubicBezTo>
                    <a:pt x="3910" y="169"/>
                    <a:pt x="3910" y="169"/>
                    <a:pt x="3910" y="169"/>
                  </a:cubicBezTo>
                  <a:lnTo>
                    <a:pt x="4033" y="47"/>
                  </a:lnTo>
                  <a:close/>
                  <a:moveTo>
                    <a:pt x="4831" y="23"/>
                  </a:moveTo>
                  <a:cubicBezTo>
                    <a:pt x="4831" y="0"/>
                    <a:pt x="4831" y="0"/>
                    <a:pt x="4831" y="0"/>
                  </a:cubicBezTo>
                  <a:cubicBezTo>
                    <a:pt x="4844" y="0"/>
                    <a:pt x="4844" y="0"/>
                    <a:pt x="4844" y="0"/>
                  </a:cubicBezTo>
                  <a:cubicBezTo>
                    <a:pt x="4844" y="16"/>
                    <a:pt x="4844" y="16"/>
                    <a:pt x="4844" y="16"/>
                  </a:cubicBezTo>
                  <a:cubicBezTo>
                    <a:pt x="4902" y="16"/>
                    <a:pt x="4902" y="16"/>
                    <a:pt x="4902" y="16"/>
                  </a:cubicBezTo>
                  <a:cubicBezTo>
                    <a:pt x="4902" y="89"/>
                    <a:pt x="4902" y="89"/>
                    <a:pt x="4902" y="89"/>
                  </a:cubicBezTo>
                  <a:cubicBezTo>
                    <a:pt x="4986" y="88"/>
                    <a:pt x="4986" y="88"/>
                    <a:pt x="4986" y="88"/>
                  </a:cubicBezTo>
                  <a:cubicBezTo>
                    <a:pt x="4985" y="0"/>
                    <a:pt x="4985" y="0"/>
                    <a:pt x="4985" y="0"/>
                  </a:cubicBezTo>
                  <a:cubicBezTo>
                    <a:pt x="4999" y="0"/>
                    <a:pt x="4999" y="0"/>
                    <a:pt x="4999" y="0"/>
                  </a:cubicBezTo>
                  <a:cubicBezTo>
                    <a:pt x="4999" y="101"/>
                    <a:pt x="4999" y="101"/>
                    <a:pt x="4999" y="101"/>
                  </a:cubicBezTo>
                  <a:cubicBezTo>
                    <a:pt x="4889" y="102"/>
                    <a:pt x="4889" y="102"/>
                    <a:pt x="4889" y="102"/>
                  </a:cubicBezTo>
                  <a:cubicBezTo>
                    <a:pt x="4889" y="29"/>
                    <a:pt x="4889" y="29"/>
                    <a:pt x="4889" y="29"/>
                  </a:cubicBezTo>
                  <a:cubicBezTo>
                    <a:pt x="4832" y="29"/>
                    <a:pt x="4832" y="29"/>
                    <a:pt x="4832" y="29"/>
                  </a:cubicBezTo>
                  <a:lnTo>
                    <a:pt x="4831" y="23"/>
                  </a:lnTo>
                  <a:close/>
                  <a:moveTo>
                    <a:pt x="4724" y="465"/>
                  </a:moveTo>
                  <a:cubicBezTo>
                    <a:pt x="4725" y="635"/>
                    <a:pt x="4725" y="635"/>
                    <a:pt x="4725" y="635"/>
                  </a:cubicBezTo>
                  <a:cubicBezTo>
                    <a:pt x="4810" y="636"/>
                    <a:pt x="4810" y="636"/>
                    <a:pt x="4810" y="636"/>
                  </a:cubicBezTo>
                  <a:cubicBezTo>
                    <a:pt x="4811" y="733"/>
                    <a:pt x="4811" y="733"/>
                    <a:pt x="4811" y="733"/>
                  </a:cubicBezTo>
                  <a:cubicBezTo>
                    <a:pt x="4933" y="733"/>
                    <a:pt x="4933" y="733"/>
                    <a:pt x="4933" y="733"/>
                  </a:cubicBezTo>
                  <a:cubicBezTo>
                    <a:pt x="4936" y="551"/>
                    <a:pt x="4936" y="551"/>
                    <a:pt x="4936" y="551"/>
                  </a:cubicBezTo>
                  <a:cubicBezTo>
                    <a:pt x="4852" y="550"/>
                    <a:pt x="4852" y="550"/>
                    <a:pt x="4852" y="550"/>
                  </a:cubicBezTo>
                  <a:cubicBezTo>
                    <a:pt x="4855" y="466"/>
                    <a:pt x="4855" y="466"/>
                    <a:pt x="4855" y="466"/>
                  </a:cubicBezTo>
                  <a:lnTo>
                    <a:pt x="4724" y="465"/>
                  </a:lnTo>
                  <a:close/>
                  <a:moveTo>
                    <a:pt x="4922" y="564"/>
                  </a:moveTo>
                  <a:cubicBezTo>
                    <a:pt x="4920" y="720"/>
                    <a:pt x="4920" y="720"/>
                    <a:pt x="4920" y="720"/>
                  </a:cubicBezTo>
                  <a:cubicBezTo>
                    <a:pt x="4824" y="720"/>
                    <a:pt x="4824" y="720"/>
                    <a:pt x="4824" y="720"/>
                  </a:cubicBezTo>
                  <a:cubicBezTo>
                    <a:pt x="4823" y="630"/>
                    <a:pt x="4823" y="630"/>
                    <a:pt x="4823" y="630"/>
                  </a:cubicBezTo>
                  <a:cubicBezTo>
                    <a:pt x="4823" y="623"/>
                    <a:pt x="4823" y="623"/>
                    <a:pt x="4823" y="623"/>
                  </a:cubicBezTo>
                  <a:cubicBezTo>
                    <a:pt x="4738" y="622"/>
                    <a:pt x="4738" y="622"/>
                    <a:pt x="4738" y="622"/>
                  </a:cubicBezTo>
                  <a:cubicBezTo>
                    <a:pt x="4737" y="478"/>
                    <a:pt x="4737" y="478"/>
                    <a:pt x="4737" y="478"/>
                  </a:cubicBezTo>
                  <a:cubicBezTo>
                    <a:pt x="4841" y="479"/>
                    <a:pt x="4841" y="479"/>
                    <a:pt x="4841" y="479"/>
                  </a:cubicBezTo>
                  <a:cubicBezTo>
                    <a:pt x="4838" y="563"/>
                    <a:pt x="4838" y="563"/>
                    <a:pt x="4838" y="563"/>
                  </a:cubicBezTo>
                  <a:lnTo>
                    <a:pt x="4922" y="564"/>
                  </a:lnTo>
                  <a:close/>
                  <a:moveTo>
                    <a:pt x="5139" y="3404"/>
                  </a:moveTo>
                  <a:cubicBezTo>
                    <a:pt x="5156" y="3294"/>
                    <a:pt x="5156" y="3294"/>
                    <a:pt x="5156" y="3294"/>
                  </a:cubicBezTo>
                  <a:cubicBezTo>
                    <a:pt x="5002" y="3271"/>
                    <a:pt x="5002" y="3271"/>
                    <a:pt x="5002" y="3271"/>
                  </a:cubicBezTo>
                  <a:cubicBezTo>
                    <a:pt x="4986" y="3381"/>
                    <a:pt x="4986" y="3381"/>
                    <a:pt x="4986" y="3381"/>
                  </a:cubicBezTo>
                  <a:cubicBezTo>
                    <a:pt x="5133" y="3403"/>
                    <a:pt x="5133" y="3403"/>
                    <a:pt x="5133" y="3403"/>
                  </a:cubicBezTo>
                  <a:lnTo>
                    <a:pt x="5139" y="3404"/>
                  </a:lnTo>
                  <a:close/>
                  <a:moveTo>
                    <a:pt x="5001" y="3370"/>
                  </a:moveTo>
                  <a:cubicBezTo>
                    <a:pt x="5013" y="3286"/>
                    <a:pt x="5013" y="3286"/>
                    <a:pt x="5013" y="3286"/>
                  </a:cubicBezTo>
                  <a:cubicBezTo>
                    <a:pt x="5141" y="3305"/>
                    <a:pt x="5141" y="3305"/>
                    <a:pt x="5141" y="3305"/>
                  </a:cubicBezTo>
                  <a:cubicBezTo>
                    <a:pt x="5128" y="3389"/>
                    <a:pt x="5128" y="3389"/>
                    <a:pt x="5128" y="3389"/>
                  </a:cubicBezTo>
                  <a:lnTo>
                    <a:pt x="5001" y="3370"/>
                  </a:lnTo>
                  <a:close/>
                  <a:moveTo>
                    <a:pt x="4974" y="3592"/>
                  </a:moveTo>
                  <a:cubicBezTo>
                    <a:pt x="5028" y="3600"/>
                    <a:pt x="5028" y="3600"/>
                    <a:pt x="5028" y="3600"/>
                  </a:cubicBezTo>
                  <a:cubicBezTo>
                    <a:pt x="5121" y="3614"/>
                    <a:pt x="5121" y="3614"/>
                    <a:pt x="5121" y="3614"/>
                  </a:cubicBezTo>
                  <a:cubicBezTo>
                    <a:pt x="5128" y="3615"/>
                    <a:pt x="5128" y="3615"/>
                    <a:pt x="5128" y="3615"/>
                  </a:cubicBezTo>
                  <a:cubicBezTo>
                    <a:pt x="5130" y="3600"/>
                    <a:pt x="5130" y="3600"/>
                    <a:pt x="5130" y="3600"/>
                  </a:cubicBezTo>
                  <a:cubicBezTo>
                    <a:pt x="5144" y="3505"/>
                    <a:pt x="5144" y="3505"/>
                    <a:pt x="5144" y="3505"/>
                  </a:cubicBezTo>
                  <a:cubicBezTo>
                    <a:pt x="4991" y="3482"/>
                    <a:pt x="4991" y="3482"/>
                    <a:pt x="4991" y="3482"/>
                  </a:cubicBezTo>
                  <a:lnTo>
                    <a:pt x="4974" y="3592"/>
                  </a:lnTo>
                  <a:close/>
                  <a:moveTo>
                    <a:pt x="5129" y="3516"/>
                  </a:moveTo>
                  <a:cubicBezTo>
                    <a:pt x="5117" y="3600"/>
                    <a:pt x="5117" y="3600"/>
                    <a:pt x="5117" y="3600"/>
                  </a:cubicBezTo>
                  <a:cubicBezTo>
                    <a:pt x="5117" y="3600"/>
                    <a:pt x="5117" y="3600"/>
                    <a:pt x="5117" y="3600"/>
                  </a:cubicBezTo>
                  <a:cubicBezTo>
                    <a:pt x="5116" y="3600"/>
                    <a:pt x="5116" y="3600"/>
                    <a:pt x="5116" y="3600"/>
                  </a:cubicBezTo>
                  <a:cubicBezTo>
                    <a:pt x="4989" y="3581"/>
                    <a:pt x="4989" y="3581"/>
                    <a:pt x="4989" y="3581"/>
                  </a:cubicBezTo>
                  <a:cubicBezTo>
                    <a:pt x="5002" y="3497"/>
                    <a:pt x="5002" y="3497"/>
                    <a:pt x="5002" y="3497"/>
                  </a:cubicBezTo>
                  <a:lnTo>
                    <a:pt x="5129" y="3516"/>
                  </a:lnTo>
                  <a:close/>
                  <a:moveTo>
                    <a:pt x="4531" y="3325"/>
                  </a:moveTo>
                  <a:cubicBezTo>
                    <a:pt x="4548" y="3215"/>
                    <a:pt x="4548" y="3215"/>
                    <a:pt x="4548" y="3215"/>
                  </a:cubicBezTo>
                  <a:cubicBezTo>
                    <a:pt x="4394" y="3192"/>
                    <a:pt x="4394" y="3192"/>
                    <a:pt x="4394" y="3192"/>
                  </a:cubicBezTo>
                  <a:cubicBezTo>
                    <a:pt x="4378" y="3302"/>
                    <a:pt x="4378" y="3302"/>
                    <a:pt x="4378" y="3302"/>
                  </a:cubicBezTo>
                  <a:cubicBezTo>
                    <a:pt x="4525" y="3324"/>
                    <a:pt x="4525" y="3324"/>
                    <a:pt x="4525" y="3324"/>
                  </a:cubicBezTo>
                  <a:lnTo>
                    <a:pt x="4531" y="3325"/>
                  </a:lnTo>
                  <a:close/>
                  <a:moveTo>
                    <a:pt x="4393" y="3291"/>
                  </a:moveTo>
                  <a:cubicBezTo>
                    <a:pt x="4405" y="3207"/>
                    <a:pt x="4405" y="3207"/>
                    <a:pt x="4405" y="3207"/>
                  </a:cubicBezTo>
                  <a:cubicBezTo>
                    <a:pt x="4533" y="3226"/>
                    <a:pt x="4533" y="3226"/>
                    <a:pt x="4533" y="3226"/>
                  </a:cubicBezTo>
                  <a:cubicBezTo>
                    <a:pt x="4520" y="3310"/>
                    <a:pt x="4520" y="3310"/>
                    <a:pt x="4520" y="3310"/>
                  </a:cubicBezTo>
                  <a:lnTo>
                    <a:pt x="4393" y="3291"/>
                  </a:lnTo>
                  <a:close/>
                  <a:moveTo>
                    <a:pt x="4508" y="3529"/>
                  </a:moveTo>
                  <a:cubicBezTo>
                    <a:pt x="4524" y="3419"/>
                    <a:pt x="4524" y="3419"/>
                    <a:pt x="4524" y="3419"/>
                  </a:cubicBezTo>
                  <a:cubicBezTo>
                    <a:pt x="4371" y="3396"/>
                    <a:pt x="4371" y="3396"/>
                    <a:pt x="4371" y="3396"/>
                  </a:cubicBezTo>
                  <a:cubicBezTo>
                    <a:pt x="4354" y="3506"/>
                    <a:pt x="4354" y="3506"/>
                    <a:pt x="4354" y="3506"/>
                  </a:cubicBezTo>
                  <a:cubicBezTo>
                    <a:pt x="4501" y="3528"/>
                    <a:pt x="4501" y="3528"/>
                    <a:pt x="4501" y="3528"/>
                  </a:cubicBezTo>
                  <a:lnTo>
                    <a:pt x="4508" y="3529"/>
                  </a:lnTo>
                  <a:close/>
                  <a:moveTo>
                    <a:pt x="4369" y="3495"/>
                  </a:moveTo>
                  <a:cubicBezTo>
                    <a:pt x="4382" y="3411"/>
                    <a:pt x="4382" y="3411"/>
                    <a:pt x="4382" y="3411"/>
                  </a:cubicBezTo>
                  <a:cubicBezTo>
                    <a:pt x="4509" y="3430"/>
                    <a:pt x="4509" y="3430"/>
                    <a:pt x="4509" y="3430"/>
                  </a:cubicBezTo>
                  <a:cubicBezTo>
                    <a:pt x="4497" y="3514"/>
                    <a:pt x="4497" y="3514"/>
                    <a:pt x="4497" y="3514"/>
                  </a:cubicBezTo>
                  <a:lnTo>
                    <a:pt x="4369" y="3495"/>
                  </a:lnTo>
                  <a:close/>
                  <a:moveTo>
                    <a:pt x="3356" y="3514"/>
                  </a:moveTo>
                  <a:cubicBezTo>
                    <a:pt x="3507" y="3517"/>
                    <a:pt x="3507" y="3517"/>
                    <a:pt x="3507" y="3517"/>
                  </a:cubicBezTo>
                  <a:cubicBezTo>
                    <a:pt x="3509" y="3411"/>
                    <a:pt x="3509" y="3411"/>
                    <a:pt x="3509" y="3411"/>
                  </a:cubicBezTo>
                  <a:cubicBezTo>
                    <a:pt x="3365" y="3409"/>
                    <a:pt x="3365" y="3409"/>
                    <a:pt x="3365" y="3409"/>
                  </a:cubicBezTo>
                  <a:cubicBezTo>
                    <a:pt x="3358" y="3408"/>
                    <a:pt x="3358" y="3408"/>
                    <a:pt x="3358" y="3408"/>
                  </a:cubicBezTo>
                  <a:lnTo>
                    <a:pt x="3356" y="3514"/>
                  </a:lnTo>
                  <a:close/>
                  <a:moveTo>
                    <a:pt x="3371" y="3421"/>
                  </a:moveTo>
                  <a:cubicBezTo>
                    <a:pt x="3497" y="3424"/>
                    <a:pt x="3497" y="3424"/>
                    <a:pt x="3497" y="3424"/>
                  </a:cubicBezTo>
                  <a:cubicBezTo>
                    <a:pt x="3495" y="3504"/>
                    <a:pt x="3495" y="3504"/>
                    <a:pt x="3495" y="3504"/>
                  </a:cubicBezTo>
                  <a:cubicBezTo>
                    <a:pt x="3369" y="3502"/>
                    <a:pt x="3369" y="3502"/>
                    <a:pt x="3369" y="3502"/>
                  </a:cubicBezTo>
                  <a:lnTo>
                    <a:pt x="3371" y="3421"/>
                  </a:lnTo>
                  <a:close/>
                  <a:moveTo>
                    <a:pt x="3305" y="3246"/>
                  </a:moveTo>
                  <a:cubicBezTo>
                    <a:pt x="3303" y="3351"/>
                    <a:pt x="3303" y="3351"/>
                    <a:pt x="3303" y="3351"/>
                  </a:cubicBezTo>
                  <a:cubicBezTo>
                    <a:pt x="3454" y="3354"/>
                    <a:pt x="3454" y="3354"/>
                    <a:pt x="3454" y="3354"/>
                  </a:cubicBezTo>
                  <a:cubicBezTo>
                    <a:pt x="3457" y="3249"/>
                    <a:pt x="3457" y="3249"/>
                    <a:pt x="3457" y="3249"/>
                  </a:cubicBezTo>
                  <a:cubicBezTo>
                    <a:pt x="3312" y="3246"/>
                    <a:pt x="3312" y="3246"/>
                    <a:pt x="3312" y="3246"/>
                  </a:cubicBezTo>
                  <a:lnTo>
                    <a:pt x="3305" y="3246"/>
                  </a:lnTo>
                  <a:close/>
                  <a:moveTo>
                    <a:pt x="3318" y="3258"/>
                  </a:moveTo>
                  <a:cubicBezTo>
                    <a:pt x="3444" y="3261"/>
                    <a:pt x="3444" y="3261"/>
                    <a:pt x="3444" y="3261"/>
                  </a:cubicBezTo>
                  <a:cubicBezTo>
                    <a:pt x="3442" y="3341"/>
                    <a:pt x="3442" y="3341"/>
                    <a:pt x="3442" y="3341"/>
                  </a:cubicBezTo>
                  <a:cubicBezTo>
                    <a:pt x="3316" y="3339"/>
                    <a:pt x="3316" y="3339"/>
                    <a:pt x="3316" y="3339"/>
                  </a:cubicBezTo>
                  <a:lnTo>
                    <a:pt x="3318" y="3258"/>
                  </a:lnTo>
                  <a:close/>
                  <a:moveTo>
                    <a:pt x="3281" y="3094"/>
                  </a:moveTo>
                  <a:cubicBezTo>
                    <a:pt x="3278" y="3200"/>
                    <a:pt x="3278" y="3200"/>
                    <a:pt x="3278" y="3200"/>
                  </a:cubicBezTo>
                  <a:cubicBezTo>
                    <a:pt x="3430" y="3203"/>
                    <a:pt x="3430" y="3203"/>
                    <a:pt x="3430" y="3203"/>
                  </a:cubicBezTo>
                  <a:cubicBezTo>
                    <a:pt x="3432" y="3097"/>
                    <a:pt x="3432" y="3097"/>
                    <a:pt x="3432" y="3097"/>
                  </a:cubicBezTo>
                  <a:cubicBezTo>
                    <a:pt x="3287" y="3094"/>
                    <a:pt x="3287" y="3094"/>
                    <a:pt x="3287" y="3094"/>
                  </a:cubicBezTo>
                  <a:lnTo>
                    <a:pt x="3281" y="3094"/>
                  </a:lnTo>
                  <a:close/>
                  <a:moveTo>
                    <a:pt x="3293" y="3107"/>
                  </a:moveTo>
                  <a:cubicBezTo>
                    <a:pt x="3419" y="3110"/>
                    <a:pt x="3419" y="3110"/>
                    <a:pt x="3419" y="3110"/>
                  </a:cubicBezTo>
                  <a:cubicBezTo>
                    <a:pt x="3417" y="3190"/>
                    <a:pt x="3417" y="3190"/>
                    <a:pt x="3417" y="3190"/>
                  </a:cubicBezTo>
                  <a:cubicBezTo>
                    <a:pt x="3291" y="3187"/>
                    <a:pt x="3291" y="3187"/>
                    <a:pt x="3291" y="3187"/>
                  </a:cubicBezTo>
                  <a:lnTo>
                    <a:pt x="3293" y="3107"/>
                  </a:lnTo>
                  <a:close/>
                  <a:moveTo>
                    <a:pt x="3896" y="2899"/>
                  </a:moveTo>
                  <a:cubicBezTo>
                    <a:pt x="3752" y="2896"/>
                    <a:pt x="3752" y="2896"/>
                    <a:pt x="3752" y="2896"/>
                  </a:cubicBezTo>
                  <a:cubicBezTo>
                    <a:pt x="3745" y="2896"/>
                    <a:pt x="3745" y="2896"/>
                    <a:pt x="3745" y="2896"/>
                  </a:cubicBezTo>
                  <a:cubicBezTo>
                    <a:pt x="3743" y="3001"/>
                    <a:pt x="3743" y="3001"/>
                    <a:pt x="3743" y="3001"/>
                  </a:cubicBezTo>
                  <a:cubicBezTo>
                    <a:pt x="3894" y="3004"/>
                    <a:pt x="3894" y="3004"/>
                    <a:pt x="3894" y="3004"/>
                  </a:cubicBezTo>
                  <a:lnTo>
                    <a:pt x="3896" y="2899"/>
                  </a:lnTo>
                  <a:close/>
                  <a:moveTo>
                    <a:pt x="3882" y="2992"/>
                  </a:moveTo>
                  <a:cubicBezTo>
                    <a:pt x="3756" y="2989"/>
                    <a:pt x="3756" y="2989"/>
                    <a:pt x="3756" y="2989"/>
                  </a:cubicBezTo>
                  <a:cubicBezTo>
                    <a:pt x="3758" y="2909"/>
                    <a:pt x="3758" y="2909"/>
                    <a:pt x="3758" y="2909"/>
                  </a:cubicBezTo>
                  <a:cubicBezTo>
                    <a:pt x="3884" y="2911"/>
                    <a:pt x="3884" y="2911"/>
                    <a:pt x="3884" y="2911"/>
                  </a:cubicBezTo>
                  <a:lnTo>
                    <a:pt x="3882" y="2992"/>
                  </a:lnTo>
                  <a:close/>
                  <a:moveTo>
                    <a:pt x="4038" y="2926"/>
                  </a:moveTo>
                  <a:cubicBezTo>
                    <a:pt x="4036" y="3032"/>
                    <a:pt x="4036" y="3032"/>
                    <a:pt x="4036" y="3032"/>
                  </a:cubicBezTo>
                  <a:cubicBezTo>
                    <a:pt x="4187" y="3035"/>
                    <a:pt x="4187" y="3035"/>
                    <a:pt x="4187" y="3035"/>
                  </a:cubicBezTo>
                  <a:cubicBezTo>
                    <a:pt x="4189" y="2929"/>
                    <a:pt x="4189" y="2929"/>
                    <a:pt x="4189" y="2929"/>
                  </a:cubicBezTo>
                  <a:cubicBezTo>
                    <a:pt x="4044" y="2926"/>
                    <a:pt x="4044" y="2926"/>
                    <a:pt x="4044" y="2926"/>
                  </a:cubicBezTo>
                  <a:lnTo>
                    <a:pt x="4038" y="2926"/>
                  </a:lnTo>
                  <a:close/>
                  <a:moveTo>
                    <a:pt x="4050" y="2939"/>
                  </a:moveTo>
                  <a:cubicBezTo>
                    <a:pt x="4176" y="2942"/>
                    <a:pt x="4176" y="2942"/>
                    <a:pt x="4176" y="2942"/>
                  </a:cubicBezTo>
                  <a:cubicBezTo>
                    <a:pt x="4174" y="3022"/>
                    <a:pt x="4174" y="3022"/>
                    <a:pt x="4174" y="3022"/>
                  </a:cubicBezTo>
                  <a:cubicBezTo>
                    <a:pt x="4048" y="3019"/>
                    <a:pt x="4048" y="3019"/>
                    <a:pt x="4048" y="3019"/>
                  </a:cubicBezTo>
                  <a:lnTo>
                    <a:pt x="4050" y="2939"/>
                  </a:lnTo>
                  <a:close/>
                  <a:moveTo>
                    <a:pt x="5368" y="2474"/>
                  </a:moveTo>
                  <a:cubicBezTo>
                    <a:pt x="5367" y="2481"/>
                    <a:pt x="5367" y="2481"/>
                    <a:pt x="5367" y="2481"/>
                  </a:cubicBezTo>
                  <a:cubicBezTo>
                    <a:pt x="5563" y="2513"/>
                    <a:pt x="5563" y="2513"/>
                    <a:pt x="5563" y="2513"/>
                  </a:cubicBezTo>
                  <a:cubicBezTo>
                    <a:pt x="5579" y="2417"/>
                    <a:pt x="5579" y="2417"/>
                    <a:pt x="5579" y="2417"/>
                  </a:cubicBezTo>
                  <a:cubicBezTo>
                    <a:pt x="5383" y="2385"/>
                    <a:pt x="5383" y="2385"/>
                    <a:pt x="5383" y="2385"/>
                  </a:cubicBezTo>
                  <a:lnTo>
                    <a:pt x="5368" y="2474"/>
                  </a:lnTo>
                  <a:close/>
                  <a:moveTo>
                    <a:pt x="5564" y="2428"/>
                  </a:moveTo>
                  <a:cubicBezTo>
                    <a:pt x="5553" y="2498"/>
                    <a:pt x="5553" y="2498"/>
                    <a:pt x="5553" y="2498"/>
                  </a:cubicBezTo>
                  <a:cubicBezTo>
                    <a:pt x="5382" y="2470"/>
                    <a:pt x="5382" y="2470"/>
                    <a:pt x="5382" y="2470"/>
                  </a:cubicBezTo>
                  <a:cubicBezTo>
                    <a:pt x="5394" y="2400"/>
                    <a:pt x="5394" y="2400"/>
                    <a:pt x="5394" y="2400"/>
                  </a:cubicBezTo>
                  <a:lnTo>
                    <a:pt x="5564" y="2428"/>
                  </a:lnTo>
                  <a:close/>
                  <a:moveTo>
                    <a:pt x="5460" y="2333"/>
                  </a:moveTo>
                  <a:cubicBezTo>
                    <a:pt x="5487" y="2144"/>
                    <a:pt x="5487" y="2144"/>
                    <a:pt x="5487" y="2144"/>
                  </a:cubicBezTo>
                  <a:cubicBezTo>
                    <a:pt x="5488" y="2137"/>
                    <a:pt x="5488" y="2137"/>
                    <a:pt x="5488" y="2137"/>
                  </a:cubicBezTo>
                  <a:cubicBezTo>
                    <a:pt x="5166" y="2091"/>
                    <a:pt x="5166" y="2091"/>
                    <a:pt x="5166" y="2091"/>
                  </a:cubicBezTo>
                  <a:cubicBezTo>
                    <a:pt x="5158" y="2153"/>
                    <a:pt x="5158" y="2153"/>
                    <a:pt x="5158" y="2153"/>
                  </a:cubicBezTo>
                  <a:cubicBezTo>
                    <a:pt x="5123" y="2150"/>
                    <a:pt x="5123" y="2150"/>
                    <a:pt x="5123" y="2150"/>
                  </a:cubicBezTo>
                  <a:cubicBezTo>
                    <a:pt x="5110" y="2235"/>
                    <a:pt x="5110" y="2235"/>
                    <a:pt x="5110" y="2235"/>
                  </a:cubicBezTo>
                  <a:cubicBezTo>
                    <a:pt x="5143" y="2241"/>
                    <a:pt x="5143" y="2241"/>
                    <a:pt x="5143" y="2241"/>
                  </a:cubicBezTo>
                  <a:cubicBezTo>
                    <a:pt x="5138" y="2288"/>
                    <a:pt x="5138" y="2288"/>
                    <a:pt x="5138" y="2288"/>
                  </a:cubicBezTo>
                  <a:lnTo>
                    <a:pt x="5460" y="2333"/>
                  </a:lnTo>
                  <a:close/>
                  <a:moveTo>
                    <a:pt x="5125" y="2224"/>
                  </a:moveTo>
                  <a:cubicBezTo>
                    <a:pt x="5134" y="2164"/>
                    <a:pt x="5134" y="2164"/>
                    <a:pt x="5134" y="2164"/>
                  </a:cubicBezTo>
                  <a:cubicBezTo>
                    <a:pt x="5169" y="2167"/>
                    <a:pt x="5169" y="2167"/>
                    <a:pt x="5169" y="2167"/>
                  </a:cubicBezTo>
                  <a:cubicBezTo>
                    <a:pt x="5178" y="2105"/>
                    <a:pt x="5178" y="2105"/>
                    <a:pt x="5178" y="2105"/>
                  </a:cubicBezTo>
                  <a:cubicBezTo>
                    <a:pt x="5473" y="2148"/>
                    <a:pt x="5473" y="2148"/>
                    <a:pt x="5473" y="2148"/>
                  </a:cubicBezTo>
                  <a:cubicBezTo>
                    <a:pt x="5449" y="2318"/>
                    <a:pt x="5449" y="2318"/>
                    <a:pt x="5449" y="2318"/>
                  </a:cubicBezTo>
                  <a:cubicBezTo>
                    <a:pt x="5152" y="2277"/>
                    <a:pt x="5152" y="2277"/>
                    <a:pt x="5152" y="2277"/>
                  </a:cubicBezTo>
                  <a:cubicBezTo>
                    <a:pt x="5157" y="2230"/>
                    <a:pt x="5157" y="2230"/>
                    <a:pt x="5157" y="2230"/>
                  </a:cubicBezTo>
                  <a:lnTo>
                    <a:pt x="5125" y="2224"/>
                  </a:lnTo>
                  <a:close/>
                  <a:moveTo>
                    <a:pt x="215" y="1986"/>
                  </a:moveTo>
                  <a:cubicBezTo>
                    <a:pt x="196" y="1955"/>
                    <a:pt x="196" y="1955"/>
                    <a:pt x="196" y="1955"/>
                  </a:cubicBezTo>
                  <a:cubicBezTo>
                    <a:pt x="121" y="1990"/>
                    <a:pt x="121" y="1990"/>
                    <a:pt x="121" y="1990"/>
                  </a:cubicBezTo>
                  <a:cubicBezTo>
                    <a:pt x="138" y="2026"/>
                    <a:pt x="138" y="2026"/>
                    <a:pt x="138" y="2026"/>
                  </a:cubicBezTo>
                  <a:cubicBezTo>
                    <a:pt x="84" y="2049"/>
                    <a:pt x="84" y="2049"/>
                    <a:pt x="84" y="2049"/>
                  </a:cubicBezTo>
                  <a:cubicBezTo>
                    <a:pt x="105" y="2093"/>
                    <a:pt x="105" y="2093"/>
                    <a:pt x="105" y="2093"/>
                  </a:cubicBezTo>
                  <a:cubicBezTo>
                    <a:pt x="88" y="2099"/>
                    <a:pt x="88" y="2099"/>
                    <a:pt x="88" y="2099"/>
                  </a:cubicBezTo>
                  <a:cubicBezTo>
                    <a:pt x="131" y="2201"/>
                    <a:pt x="131" y="2201"/>
                    <a:pt x="131" y="2201"/>
                  </a:cubicBezTo>
                  <a:cubicBezTo>
                    <a:pt x="158" y="2191"/>
                    <a:pt x="158" y="2191"/>
                    <a:pt x="158" y="2191"/>
                  </a:cubicBezTo>
                  <a:cubicBezTo>
                    <a:pt x="236" y="2366"/>
                    <a:pt x="236" y="2366"/>
                    <a:pt x="236" y="2366"/>
                  </a:cubicBezTo>
                  <a:cubicBezTo>
                    <a:pt x="404" y="2288"/>
                    <a:pt x="404" y="2288"/>
                    <a:pt x="404" y="2288"/>
                  </a:cubicBezTo>
                  <a:cubicBezTo>
                    <a:pt x="410" y="2286"/>
                    <a:pt x="410" y="2286"/>
                    <a:pt x="410" y="2286"/>
                  </a:cubicBezTo>
                  <a:cubicBezTo>
                    <a:pt x="267" y="1964"/>
                    <a:pt x="267" y="1964"/>
                    <a:pt x="267" y="1964"/>
                  </a:cubicBezTo>
                  <a:lnTo>
                    <a:pt x="215" y="1986"/>
                  </a:lnTo>
                  <a:close/>
                  <a:moveTo>
                    <a:pt x="243" y="2348"/>
                  </a:moveTo>
                  <a:cubicBezTo>
                    <a:pt x="165" y="2174"/>
                    <a:pt x="165" y="2174"/>
                    <a:pt x="165" y="2174"/>
                  </a:cubicBezTo>
                  <a:cubicBezTo>
                    <a:pt x="138" y="2184"/>
                    <a:pt x="138" y="2184"/>
                    <a:pt x="138" y="2184"/>
                  </a:cubicBezTo>
                  <a:cubicBezTo>
                    <a:pt x="105" y="2107"/>
                    <a:pt x="105" y="2107"/>
                    <a:pt x="105" y="2107"/>
                  </a:cubicBezTo>
                  <a:cubicBezTo>
                    <a:pt x="122" y="2100"/>
                    <a:pt x="122" y="2100"/>
                    <a:pt x="122" y="2100"/>
                  </a:cubicBezTo>
                  <a:cubicBezTo>
                    <a:pt x="102" y="2056"/>
                    <a:pt x="102" y="2056"/>
                    <a:pt x="102" y="2056"/>
                  </a:cubicBezTo>
                  <a:cubicBezTo>
                    <a:pt x="155" y="2033"/>
                    <a:pt x="155" y="2033"/>
                    <a:pt x="155" y="2033"/>
                  </a:cubicBezTo>
                  <a:cubicBezTo>
                    <a:pt x="139" y="1996"/>
                    <a:pt x="139" y="1996"/>
                    <a:pt x="139" y="1996"/>
                  </a:cubicBezTo>
                  <a:cubicBezTo>
                    <a:pt x="191" y="1972"/>
                    <a:pt x="191" y="1972"/>
                    <a:pt x="191" y="1972"/>
                  </a:cubicBezTo>
                  <a:cubicBezTo>
                    <a:pt x="209" y="2002"/>
                    <a:pt x="209" y="2002"/>
                    <a:pt x="209" y="2002"/>
                  </a:cubicBezTo>
                  <a:cubicBezTo>
                    <a:pt x="260" y="1981"/>
                    <a:pt x="260" y="1981"/>
                    <a:pt x="260" y="1981"/>
                  </a:cubicBezTo>
                  <a:cubicBezTo>
                    <a:pt x="393" y="2279"/>
                    <a:pt x="393" y="2279"/>
                    <a:pt x="393" y="2279"/>
                  </a:cubicBezTo>
                  <a:lnTo>
                    <a:pt x="243" y="2348"/>
                  </a:lnTo>
                  <a:close/>
                  <a:moveTo>
                    <a:pt x="5037" y="2921"/>
                  </a:moveTo>
                  <a:cubicBezTo>
                    <a:pt x="5077" y="2925"/>
                    <a:pt x="5077" y="2925"/>
                    <a:pt x="5077" y="2925"/>
                  </a:cubicBezTo>
                  <a:cubicBezTo>
                    <a:pt x="5068" y="2982"/>
                    <a:pt x="5068" y="2982"/>
                    <a:pt x="5068" y="2982"/>
                  </a:cubicBezTo>
                  <a:cubicBezTo>
                    <a:pt x="5111" y="2986"/>
                    <a:pt x="5111" y="2986"/>
                    <a:pt x="5111" y="2986"/>
                  </a:cubicBezTo>
                  <a:cubicBezTo>
                    <a:pt x="5109" y="3006"/>
                    <a:pt x="5109" y="3006"/>
                    <a:pt x="5109" y="3006"/>
                  </a:cubicBezTo>
                  <a:cubicBezTo>
                    <a:pt x="5215" y="3020"/>
                    <a:pt x="5215" y="3020"/>
                    <a:pt x="5215" y="3020"/>
                  </a:cubicBezTo>
                  <a:cubicBezTo>
                    <a:pt x="5216" y="3015"/>
                    <a:pt x="5216" y="3015"/>
                    <a:pt x="5216" y="3015"/>
                  </a:cubicBezTo>
                  <a:cubicBezTo>
                    <a:pt x="5220" y="3002"/>
                    <a:pt x="5220" y="3002"/>
                    <a:pt x="5220" y="3002"/>
                  </a:cubicBezTo>
                  <a:cubicBezTo>
                    <a:pt x="5415" y="3027"/>
                    <a:pt x="5415" y="3027"/>
                    <a:pt x="5415" y="3027"/>
                  </a:cubicBezTo>
                  <a:cubicBezTo>
                    <a:pt x="5444" y="2834"/>
                    <a:pt x="5444" y="2834"/>
                    <a:pt x="5444" y="2834"/>
                  </a:cubicBezTo>
                  <a:cubicBezTo>
                    <a:pt x="5445" y="2827"/>
                    <a:pt x="5445" y="2827"/>
                    <a:pt x="5445" y="2827"/>
                  </a:cubicBezTo>
                  <a:cubicBezTo>
                    <a:pt x="5091" y="2782"/>
                    <a:pt x="5091" y="2782"/>
                    <a:pt x="5091" y="2782"/>
                  </a:cubicBezTo>
                  <a:cubicBezTo>
                    <a:pt x="5082" y="2837"/>
                    <a:pt x="5082" y="2837"/>
                    <a:pt x="5082" y="2837"/>
                  </a:cubicBezTo>
                  <a:cubicBezTo>
                    <a:pt x="5049" y="2833"/>
                    <a:pt x="5049" y="2833"/>
                    <a:pt x="5049" y="2833"/>
                  </a:cubicBezTo>
                  <a:lnTo>
                    <a:pt x="5037" y="2921"/>
                  </a:lnTo>
                  <a:close/>
                  <a:moveTo>
                    <a:pt x="5060" y="2848"/>
                  </a:moveTo>
                  <a:cubicBezTo>
                    <a:pt x="5093" y="2851"/>
                    <a:pt x="5093" y="2851"/>
                    <a:pt x="5093" y="2851"/>
                  </a:cubicBezTo>
                  <a:cubicBezTo>
                    <a:pt x="5102" y="2796"/>
                    <a:pt x="5102" y="2796"/>
                    <a:pt x="5102" y="2796"/>
                  </a:cubicBezTo>
                  <a:cubicBezTo>
                    <a:pt x="5430" y="2838"/>
                    <a:pt x="5430" y="2838"/>
                    <a:pt x="5430" y="2838"/>
                  </a:cubicBezTo>
                  <a:cubicBezTo>
                    <a:pt x="5404" y="3013"/>
                    <a:pt x="5404" y="3013"/>
                    <a:pt x="5404" y="3013"/>
                  </a:cubicBezTo>
                  <a:cubicBezTo>
                    <a:pt x="5211" y="2988"/>
                    <a:pt x="5211" y="2988"/>
                    <a:pt x="5211" y="2988"/>
                  </a:cubicBezTo>
                  <a:cubicBezTo>
                    <a:pt x="5209" y="2993"/>
                    <a:pt x="5209" y="2993"/>
                    <a:pt x="5209" y="2993"/>
                  </a:cubicBezTo>
                  <a:cubicBezTo>
                    <a:pt x="5205" y="3006"/>
                    <a:pt x="5205" y="3006"/>
                    <a:pt x="5205" y="3006"/>
                  </a:cubicBezTo>
                  <a:cubicBezTo>
                    <a:pt x="5123" y="2995"/>
                    <a:pt x="5123" y="2995"/>
                    <a:pt x="5123" y="2995"/>
                  </a:cubicBezTo>
                  <a:cubicBezTo>
                    <a:pt x="5126" y="2974"/>
                    <a:pt x="5126" y="2974"/>
                    <a:pt x="5126" y="2974"/>
                  </a:cubicBezTo>
                  <a:cubicBezTo>
                    <a:pt x="5083" y="2970"/>
                    <a:pt x="5083" y="2970"/>
                    <a:pt x="5083" y="2970"/>
                  </a:cubicBezTo>
                  <a:cubicBezTo>
                    <a:pt x="5092" y="2913"/>
                    <a:pt x="5092" y="2913"/>
                    <a:pt x="5092" y="2913"/>
                  </a:cubicBezTo>
                  <a:cubicBezTo>
                    <a:pt x="5052" y="2909"/>
                    <a:pt x="5052" y="2909"/>
                    <a:pt x="5052" y="2909"/>
                  </a:cubicBezTo>
                  <a:lnTo>
                    <a:pt x="5060" y="2848"/>
                  </a:lnTo>
                  <a:close/>
                  <a:moveTo>
                    <a:pt x="4495" y="20"/>
                  </a:moveTo>
                  <a:cubicBezTo>
                    <a:pt x="4347" y="9"/>
                    <a:pt x="4347" y="9"/>
                    <a:pt x="4347" y="9"/>
                  </a:cubicBezTo>
                  <a:cubicBezTo>
                    <a:pt x="4348" y="2"/>
                    <a:pt x="4348" y="2"/>
                    <a:pt x="4348" y="2"/>
                  </a:cubicBezTo>
                  <a:cubicBezTo>
                    <a:pt x="4348" y="0"/>
                    <a:pt x="4348" y="0"/>
                    <a:pt x="4348" y="0"/>
                  </a:cubicBezTo>
                  <a:cubicBezTo>
                    <a:pt x="4405" y="0"/>
                    <a:pt x="4405" y="0"/>
                    <a:pt x="4405" y="0"/>
                  </a:cubicBezTo>
                  <a:cubicBezTo>
                    <a:pt x="4483" y="6"/>
                    <a:pt x="4483" y="6"/>
                    <a:pt x="4483" y="6"/>
                  </a:cubicBezTo>
                  <a:cubicBezTo>
                    <a:pt x="4483" y="0"/>
                    <a:pt x="4483" y="0"/>
                    <a:pt x="4483" y="0"/>
                  </a:cubicBezTo>
                  <a:cubicBezTo>
                    <a:pt x="4496" y="0"/>
                    <a:pt x="4496" y="0"/>
                    <a:pt x="4496" y="0"/>
                  </a:cubicBezTo>
                  <a:lnTo>
                    <a:pt x="4495" y="20"/>
                  </a:lnTo>
                  <a:close/>
                  <a:moveTo>
                    <a:pt x="485" y="380"/>
                  </a:moveTo>
                  <a:cubicBezTo>
                    <a:pt x="384" y="676"/>
                    <a:pt x="384" y="676"/>
                    <a:pt x="384" y="676"/>
                  </a:cubicBezTo>
                  <a:cubicBezTo>
                    <a:pt x="1260" y="967"/>
                    <a:pt x="1260" y="967"/>
                    <a:pt x="1260" y="967"/>
                  </a:cubicBezTo>
                  <a:cubicBezTo>
                    <a:pt x="1342" y="718"/>
                    <a:pt x="1342" y="718"/>
                    <a:pt x="1342" y="718"/>
                  </a:cubicBezTo>
                  <a:cubicBezTo>
                    <a:pt x="1558" y="787"/>
                    <a:pt x="1558" y="787"/>
                    <a:pt x="1558" y="787"/>
                  </a:cubicBezTo>
                  <a:cubicBezTo>
                    <a:pt x="1594" y="678"/>
                    <a:pt x="1594" y="678"/>
                    <a:pt x="1594" y="678"/>
                  </a:cubicBezTo>
                  <a:cubicBezTo>
                    <a:pt x="1774" y="739"/>
                    <a:pt x="1774" y="739"/>
                    <a:pt x="1774" y="739"/>
                  </a:cubicBezTo>
                  <a:cubicBezTo>
                    <a:pt x="1866" y="453"/>
                    <a:pt x="1866" y="453"/>
                    <a:pt x="1866" y="453"/>
                  </a:cubicBezTo>
                  <a:cubicBezTo>
                    <a:pt x="1868" y="446"/>
                    <a:pt x="1868" y="446"/>
                    <a:pt x="1868" y="446"/>
                  </a:cubicBezTo>
                  <a:cubicBezTo>
                    <a:pt x="996" y="154"/>
                    <a:pt x="996" y="154"/>
                    <a:pt x="996" y="154"/>
                  </a:cubicBezTo>
                  <a:cubicBezTo>
                    <a:pt x="903" y="449"/>
                    <a:pt x="903" y="449"/>
                    <a:pt x="903" y="449"/>
                  </a:cubicBezTo>
                  <a:cubicBezTo>
                    <a:pt x="1129" y="525"/>
                    <a:pt x="1129" y="525"/>
                    <a:pt x="1129" y="525"/>
                  </a:cubicBezTo>
                  <a:cubicBezTo>
                    <a:pt x="1106" y="589"/>
                    <a:pt x="1106" y="589"/>
                    <a:pt x="1106" y="589"/>
                  </a:cubicBezTo>
                  <a:lnTo>
                    <a:pt x="485" y="380"/>
                  </a:lnTo>
                  <a:close/>
                  <a:moveTo>
                    <a:pt x="1148" y="516"/>
                  </a:moveTo>
                  <a:cubicBezTo>
                    <a:pt x="922" y="440"/>
                    <a:pt x="922" y="440"/>
                    <a:pt x="922" y="440"/>
                  </a:cubicBezTo>
                  <a:cubicBezTo>
                    <a:pt x="1005" y="173"/>
                    <a:pt x="1005" y="173"/>
                    <a:pt x="1005" y="173"/>
                  </a:cubicBezTo>
                  <a:cubicBezTo>
                    <a:pt x="1850" y="455"/>
                    <a:pt x="1850" y="455"/>
                    <a:pt x="1850" y="455"/>
                  </a:cubicBezTo>
                  <a:cubicBezTo>
                    <a:pt x="1764" y="720"/>
                    <a:pt x="1764" y="720"/>
                    <a:pt x="1764" y="720"/>
                  </a:cubicBezTo>
                  <a:cubicBezTo>
                    <a:pt x="1585" y="660"/>
                    <a:pt x="1585" y="660"/>
                    <a:pt x="1585" y="660"/>
                  </a:cubicBezTo>
                  <a:cubicBezTo>
                    <a:pt x="1549" y="769"/>
                    <a:pt x="1549" y="769"/>
                    <a:pt x="1549" y="769"/>
                  </a:cubicBezTo>
                  <a:cubicBezTo>
                    <a:pt x="1332" y="699"/>
                    <a:pt x="1332" y="699"/>
                    <a:pt x="1332" y="699"/>
                  </a:cubicBezTo>
                  <a:cubicBezTo>
                    <a:pt x="1251" y="948"/>
                    <a:pt x="1251" y="948"/>
                    <a:pt x="1251" y="948"/>
                  </a:cubicBezTo>
                  <a:cubicBezTo>
                    <a:pt x="403" y="667"/>
                    <a:pt x="403" y="667"/>
                    <a:pt x="403" y="667"/>
                  </a:cubicBezTo>
                  <a:cubicBezTo>
                    <a:pt x="495" y="399"/>
                    <a:pt x="495" y="399"/>
                    <a:pt x="495" y="399"/>
                  </a:cubicBezTo>
                  <a:cubicBezTo>
                    <a:pt x="1115" y="608"/>
                    <a:pt x="1115" y="608"/>
                    <a:pt x="1115" y="608"/>
                  </a:cubicBezTo>
                  <a:lnTo>
                    <a:pt x="1148" y="516"/>
                  </a:lnTo>
                  <a:close/>
                  <a:moveTo>
                    <a:pt x="3004" y="922"/>
                  </a:moveTo>
                  <a:cubicBezTo>
                    <a:pt x="3142" y="921"/>
                    <a:pt x="3142" y="921"/>
                    <a:pt x="3142" y="921"/>
                  </a:cubicBezTo>
                  <a:cubicBezTo>
                    <a:pt x="3142" y="827"/>
                    <a:pt x="3142" y="827"/>
                    <a:pt x="3142" y="827"/>
                  </a:cubicBezTo>
                  <a:cubicBezTo>
                    <a:pt x="3142" y="819"/>
                    <a:pt x="3142" y="819"/>
                    <a:pt x="3142" y="819"/>
                  </a:cubicBezTo>
                  <a:cubicBezTo>
                    <a:pt x="2989" y="817"/>
                    <a:pt x="2989" y="817"/>
                    <a:pt x="2989" y="817"/>
                  </a:cubicBezTo>
                  <a:cubicBezTo>
                    <a:pt x="2989" y="761"/>
                    <a:pt x="2989" y="761"/>
                    <a:pt x="2989" y="761"/>
                  </a:cubicBezTo>
                  <a:cubicBezTo>
                    <a:pt x="2841" y="763"/>
                    <a:pt x="2841" y="763"/>
                    <a:pt x="2841" y="763"/>
                  </a:cubicBezTo>
                  <a:cubicBezTo>
                    <a:pt x="2840" y="770"/>
                    <a:pt x="2840" y="770"/>
                    <a:pt x="2840" y="770"/>
                  </a:cubicBezTo>
                  <a:cubicBezTo>
                    <a:pt x="2839" y="784"/>
                    <a:pt x="2839" y="784"/>
                    <a:pt x="2839" y="784"/>
                  </a:cubicBezTo>
                  <a:cubicBezTo>
                    <a:pt x="2487" y="784"/>
                    <a:pt x="2487" y="784"/>
                    <a:pt x="2487" y="784"/>
                  </a:cubicBezTo>
                  <a:cubicBezTo>
                    <a:pt x="2486" y="1056"/>
                    <a:pt x="2486" y="1056"/>
                    <a:pt x="2486" y="1056"/>
                  </a:cubicBezTo>
                  <a:cubicBezTo>
                    <a:pt x="2999" y="975"/>
                    <a:pt x="2999" y="975"/>
                    <a:pt x="2999" y="975"/>
                  </a:cubicBezTo>
                  <a:lnTo>
                    <a:pt x="3004" y="922"/>
                  </a:lnTo>
                  <a:close/>
                  <a:moveTo>
                    <a:pt x="2986" y="962"/>
                  </a:moveTo>
                  <a:cubicBezTo>
                    <a:pt x="2501" y="1038"/>
                    <a:pt x="2501" y="1038"/>
                    <a:pt x="2501" y="1038"/>
                  </a:cubicBezTo>
                  <a:cubicBezTo>
                    <a:pt x="2502" y="798"/>
                    <a:pt x="2502" y="798"/>
                    <a:pt x="2502" y="798"/>
                  </a:cubicBezTo>
                  <a:cubicBezTo>
                    <a:pt x="2853" y="799"/>
                    <a:pt x="2853" y="799"/>
                    <a:pt x="2853" y="799"/>
                  </a:cubicBezTo>
                  <a:cubicBezTo>
                    <a:pt x="2853" y="792"/>
                    <a:pt x="2853" y="792"/>
                    <a:pt x="2853" y="792"/>
                  </a:cubicBezTo>
                  <a:cubicBezTo>
                    <a:pt x="2854" y="778"/>
                    <a:pt x="2854" y="778"/>
                    <a:pt x="2854" y="778"/>
                  </a:cubicBezTo>
                  <a:cubicBezTo>
                    <a:pt x="2974" y="776"/>
                    <a:pt x="2974" y="776"/>
                    <a:pt x="2974" y="776"/>
                  </a:cubicBezTo>
                  <a:cubicBezTo>
                    <a:pt x="2974" y="832"/>
                    <a:pt x="2974" y="832"/>
                    <a:pt x="2974" y="832"/>
                  </a:cubicBezTo>
                  <a:cubicBezTo>
                    <a:pt x="3127" y="834"/>
                    <a:pt x="3127" y="834"/>
                    <a:pt x="3127" y="834"/>
                  </a:cubicBezTo>
                  <a:cubicBezTo>
                    <a:pt x="3128" y="906"/>
                    <a:pt x="3128" y="906"/>
                    <a:pt x="3128" y="906"/>
                  </a:cubicBezTo>
                  <a:cubicBezTo>
                    <a:pt x="2991" y="908"/>
                    <a:pt x="2991" y="908"/>
                    <a:pt x="2991" y="908"/>
                  </a:cubicBezTo>
                  <a:lnTo>
                    <a:pt x="2986" y="962"/>
                  </a:lnTo>
                  <a:close/>
                  <a:moveTo>
                    <a:pt x="18004" y="1864"/>
                  </a:moveTo>
                  <a:cubicBezTo>
                    <a:pt x="17944" y="1913"/>
                    <a:pt x="17882" y="1964"/>
                    <a:pt x="17823" y="2012"/>
                  </a:cubicBezTo>
                  <a:cubicBezTo>
                    <a:pt x="17654" y="2149"/>
                    <a:pt x="17502" y="2272"/>
                    <a:pt x="17430" y="2329"/>
                  </a:cubicBezTo>
                  <a:cubicBezTo>
                    <a:pt x="17380" y="2277"/>
                    <a:pt x="17340" y="2230"/>
                    <a:pt x="17306" y="2195"/>
                  </a:cubicBezTo>
                  <a:cubicBezTo>
                    <a:pt x="17288" y="2173"/>
                    <a:pt x="16823" y="1638"/>
                    <a:pt x="16201" y="1271"/>
                  </a:cubicBezTo>
                  <a:cubicBezTo>
                    <a:pt x="16011" y="1158"/>
                    <a:pt x="15772" y="1016"/>
                    <a:pt x="15532" y="888"/>
                  </a:cubicBezTo>
                  <a:cubicBezTo>
                    <a:pt x="15407" y="822"/>
                    <a:pt x="15282" y="757"/>
                    <a:pt x="15163" y="696"/>
                  </a:cubicBezTo>
                  <a:cubicBezTo>
                    <a:pt x="15178" y="694"/>
                    <a:pt x="15178" y="694"/>
                    <a:pt x="15178" y="694"/>
                  </a:cubicBezTo>
                  <a:cubicBezTo>
                    <a:pt x="15174" y="672"/>
                    <a:pt x="15160" y="617"/>
                    <a:pt x="15138" y="533"/>
                  </a:cubicBezTo>
                  <a:cubicBezTo>
                    <a:pt x="15116" y="450"/>
                    <a:pt x="15086" y="342"/>
                    <a:pt x="15054" y="223"/>
                  </a:cubicBezTo>
                  <a:cubicBezTo>
                    <a:pt x="15034" y="152"/>
                    <a:pt x="15013" y="76"/>
                    <a:pt x="14992" y="0"/>
                  </a:cubicBezTo>
                  <a:cubicBezTo>
                    <a:pt x="14924" y="0"/>
                    <a:pt x="14924" y="0"/>
                    <a:pt x="14924" y="0"/>
                  </a:cubicBezTo>
                  <a:cubicBezTo>
                    <a:pt x="14981" y="207"/>
                    <a:pt x="15038" y="413"/>
                    <a:pt x="15075" y="550"/>
                  </a:cubicBezTo>
                  <a:cubicBezTo>
                    <a:pt x="15088" y="598"/>
                    <a:pt x="15098" y="639"/>
                    <a:pt x="15105" y="666"/>
                  </a:cubicBezTo>
                  <a:cubicBezTo>
                    <a:pt x="14874" y="549"/>
                    <a:pt x="14672" y="449"/>
                    <a:pt x="14552" y="390"/>
                  </a:cubicBezTo>
                  <a:cubicBezTo>
                    <a:pt x="14494" y="361"/>
                    <a:pt x="14454" y="341"/>
                    <a:pt x="14442" y="335"/>
                  </a:cubicBezTo>
                  <a:cubicBezTo>
                    <a:pt x="14435" y="329"/>
                    <a:pt x="14427" y="328"/>
                    <a:pt x="14423" y="327"/>
                  </a:cubicBezTo>
                  <a:cubicBezTo>
                    <a:pt x="13986" y="280"/>
                    <a:pt x="13986" y="280"/>
                    <a:pt x="13986" y="280"/>
                  </a:cubicBezTo>
                  <a:cubicBezTo>
                    <a:pt x="13984" y="254"/>
                    <a:pt x="13974" y="150"/>
                    <a:pt x="13959" y="0"/>
                  </a:cubicBezTo>
                  <a:cubicBezTo>
                    <a:pt x="13806" y="0"/>
                    <a:pt x="13806" y="0"/>
                    <a:pt x="13806" y="0"/>
                  </a:cubicBezTo>
                  <a:cubicBezTo>
                    <a:pt x="13818" y="121"/>
                    <a:pt x="13827" y="215"/>
                    <a:pt x="13831" y="263"/>
                  </a:cubicBezTo>
                  <a:cubicBezTo>
                    <a:pt x="13379" y="214"/>
                    <a:pt x="13379" y="214"/>
                    <a:pt x="13379" y="214"/>
                  </a:cubicBezTo>
                  <a:cubicBezTo>
                    <a:pt x="12998" y="0"/>
                    <a:pt x="12998" y="0"/>
                    <a:pt x="12998" y="0"/>
                  </a:cubicBezTo>
                  <a:cubicBezTo>
                    <a:pt x="12863" y="0"/>
                    <a:pt x="12863" y="0"/>
                    <a:pt x="12863" y="0"/>
                  </a:cubicBezTo>
                  <a:cubicBezTo>
                    <a:pt x="13359" y="278"/>
                    <a:pt x="13359" y="278"/>
                    <a:pt x="13359" y="278"/>
                  </a:cubicBezTo>
                  <a:cubicBezTo>
                    <a:pt x="13818" y="328"/>
                    <a:pt x="13818" y="328"/>
                    <a:pt x="13818" y="328"/>
                  </a:cubicBezTo>
                  <a:cubicBezTo>
                    <a:pt x="13134" y="2295"/>
                    <a:pt x="13134" y="2295"/>
                    <a:pt x="13134" y="2295"/>
                  </a:cubicBezTo>
                  <a:cubicBezTo>
                    <a:pt x="12166" y="1912"/>
                    <a:pt x="12166" y="1912"/>
                    <a:pt x="12166" y="1912"/>
                  </a:cubicBezTo>
                  <a:cubicBezTo>
                    <a:pt x="11973" y="640"/>
                    <a:pt x="11973" y="640"/>
                    <a:pt x="11973" y="640"/>
                  </a:cubicBezTo>
                  <a:cubicBezTo>
                    <a:pt x="11843" y="36"/>
                    <a:pt x="11843" y="36"/>
                    <a:pt x="11843" y="36"/>
                  </a:cubicBezTo>
                  <a:cubicBezTo>
                    <a:pt x="11830" y="29"/>
                    <a:pt x="11830" y="29"/>
                    <a:pt x="11830" y="29"/>
                  </a:cubicBezTo>
                  <a:cubicBezTo>
                    <a:pt x="11830" y="29"/>
                    <a:pt x="11830" y="29"/>
                    <a:pt x="11830" y="29"/>
                  </a:cubicBezTo>
                  <a:cubicBezTo>
                    <a:pt x="11830" y="29"/>
                    <a:pt x="11829" y="29"/>
                    <a:pt x="11829" y="29"/>
                  </a:cubicBezTo>
                  <a:cubicBezTo>
                    <a:pt x="11849" y="0"/>
                    <a:pt x="11849" y="0"/>
                    <a:pt x="11849" y="0"/>
                  </a:cubicBezTo>
                  <a:cubicBezTo>
                    <a:pt x="11716" y="0"/>
                    <a:pt x="11716" y="0"/>
                    <a:pt x="11716" y="0"/>
                  </a:cubicBezTo>
                  <a:cubicBezTo>
                    <a:pt x="11748" y="44"/>
                    <a:pt x="11771" y="66"/>
                    <a:pt x="11784" y="77"/>
                  </a:cubicBezTo>
                  <a:cubicBezTo>
                    <a:pt x="11899" y="610"/>
                    <a:pt x="11899" y="610"/>
                    <a:pt x="11899" y="610"/>
                  </a:cubicBezTo>
                  <a:cubicBezTo>
                    <a:pt x="11002" y="771"/>
                    <a:pt x="11002" y="771"/>
                    <a:pt x="11002" y="771"/>
                  </a:cubicBezTo>
                  <a:cubicBezTo>
                    <a:pt x="10980" y="642"/>
                    <a:pt x="10980" y="642"/>
                    <a:pt x="10980" y="642"/>
                  </a:cubicBezTo>
                  <a:cubicBezTo>
                    <a:pt x="11209" y="603"/>
                    <a:pt x="11209" y="603"/>
                    <a:pt x="11209" y="603"/>
                  </a:cubicBezTo>
                  <a:cubicBezTo>
                    <a:pt x="11201" y="553"/>
                    <a:pt x="11201" y="553"/>
                    <a:pt x="11201" y="553"/>
                  </a:cubicBezTo>
                  <a:cubicBezTo>
                    <a:pt x="11295" y="537"/>
                    <a:pt x="11295" y="537"/>
                    <a:pt x="11295" y="537"/>
                  </a:cubicBezTo>
                  <a:cubicBezTo>
                    <a:pt x="11273" y="406"/>
                    <a:pt x="11273" y="406"/>
                    <a:pt x="11273" y="406"/>
                  </a:cubicBezTo>
                  <a:cubicBezTo>
                    <a:pt x="11178" y="422"/>
                    <a:pt x="11178" y="422"/>
                    <a:pt x="11178" y="422"/>
                  </a:cubicBezTo>
                  <a:cubicBezTo>
                    <a:pt x="11149" y="254"/>
                    <a:pt x="11149" y="254"/>
                    <a:pt x="11149" y="254"/>
                  </a:cubicBezTo>
                  <a:cubicBezTo>
                    <a:pt x="11108" y="261"/>
                    <a:pt x="11108" y="261"/>
                    <a:pt x="11108" y="261"/>
                  </a:cubicBezTo>
                  <a:cubicBezTo>
                    <a:pt x="11090" y="170"/>
                    <a:pt x="11090" y="170"/>
                    <a:pt x="11090" y="170"/>
                  </a:cubicBezTo>
                  <a:cubicBezTo>
                    <a:pt x="11089" y="163"/>
                    <a:pt x="11089" y="163"/>
                    <a:pt x="11089" y="163"/>
                  </a:cubicBezTo>
                  <a:cubicBezTo>
                    <a:pt x="11005" y="177"/>
                    <a:pt x="11005" y="177"/>
                    <a:pt x="11005" y="177"/>
                  </a:cubicBezTo>
                  <a:cubicBezTo>
                    <a:pt x="11022" y="275"/>
                    <a:pt x="11022" y="275"/>
                    <a:pt x="11022" y="275"/>
                  </a:cubicBezTo>
                  <a:cubicBezTo>
                    <a:pt x="10872" y="300"/>
                    <a:pt x="10872" y="300"/>
                    <a:pt x="10872" y="300"/>
                  </a:cubicBezTo>
                  <a:cubicBezTo>
                    <a:pt x="10880" y="348"/>
                    <a:pt x="10880" y="348"/>
                    <a:pt x="10880" y="348"/>
                  </a:cubicBezTo>
                  <a:cubicBezTo>
                    <a:pt x="10721" y="375"/>
                    <a:pt x="10721" y="375"/>
                    <a:pt x="10721" y="375"/>
                  </a:cubicBezTo>
                  <a:cubicBezTo>
                    <a:pt x="10740" y="484"/>
                    <a:pt x="10740" y="484"/>
                    <a:pt x="10740" y="484"/>
                  </a:cubicBezTo>
                  <a:cubicBezTo>
                    <a:pt x="10895" y="458"/>
                    <a:pt x="10895" y="458"/>
                    <a:pt x="10895" y="458"/>
                  </a:cubicBezTo>
                  <a:cubicBezTo>
                    <a:pt x="10915" y="574"/>
                    <a:pt x="10915" y="574"/>
                    <a:pt x="10915" y="574"/>
                  </a:cubicBezTo>
                  <a:cubicBezTo>
                    <a:pt x="10800" y="594"/>
                    <a:pt x="10800" y="594"/>
                    <a:pt x="10800" y="594"/>
                  </a:cubicBezTo>
                  <a:cubicBezTo>
                    <a:pt x="10835" y="801"/>
                    <a:pt x="10835" y="801"/>
                    <a:pt x="10835" y="801"/>
                  </a:cubicBezTo>
                  <a:cubicBezTo>
                    <a:pt x="10313" y="894"/>
                    <a:pt x="10313" y="894"/>
                    <a:pt x="10313" y="894"/>
                  </a:cubicBezTo>
                  <a:cubicBezTo>
                    <a:pt x="10311" y="878"/>
                    <a:pt x="10309" y="856"/>
                    <a:pt x="10307" y="831"/>
                  </a:cubicBezTo>
                  <a:cubicBezTo>
                    <a:pt x="10301" y="773"/>
                    <a:pt x="10294" y="697"/>
                    <a:pt x="10286" y="620"/>
                  </a:cubicBezTo>
                  <a:cubicBezTo>
                    <a:pt x="10274" y="498"/>
                    <a:pt x="10262" y="376"/>
                    <a:pt x="10257" y="332"/>
                  </a:cubicBezTo>
                  <a:cubicBezTo>
                    <a:pt x="10296" y="298"/>
                    <a:pt x="10391" y="195"/>
                    <a:pt x="10392" y="14"/>
                  </a:cubicBezTo>
                  <a:cubicBezTo>
                    <a:pt x="10392" y="9"/>
                    <a:pt x="10391" y="5"/>
                    <a:pt x="10391" y="0"/>
                  </a:cubicBezTo>
                  <a:cubicBezTo>
                    <a:pt x="10325" y="0"/>
                    <a:pt x="10325" y="0"/>
                    <a:pt x="10325" y="0"/>
                  </a:cubicBezTo>
                  <a:cubicBezTo>
                    <a:pt x="10325" y="5"/>
                    <a:pt x="10326" y="10"/>
                    <a:pt x="10326" y="14"/>
                  </a:cubicBezTo>
                  <a:cubicBezTo>
                    <a:pt x="10326" y="174"/>
                    <a:pt x="10238" y="262"/>
                    <a:pt x="10212" y="285"/>
                  </a:cubicBezTo>
                  <a:cubicBezTo>
                    <a:pt x="9251" y="271"/>
                    <a:pt x="9251" y="271"/>
                    <a:pt x="9251" y="271"/>
                  </a:cubicBezTo>
                  <a:cubicBezTo>
                    <a:pt x="9235" y="0"/>
                    <a:pt x="9235" y="0"/>
                    <a:pt x="9235" y="0"/>
                  </a:cubicBezTo>
                  <a:cubicBezTo>
                    <a:pt x="9169" y="0"/>
                    <a:pt x="9169" y="0"/>
                    <a:pt x="9169" y="0"/>
                  </a:cubicBezTo>
                  <a:cubicBezTo>
                    <a:pt x="9185" y="270"/>
                    <a:pt x="9185" y="270"/>
                    <a:pt x="9185" y="270"/>
                  </a:cubicBezTo>
                  <a:cubicBezTo>
                    <a:pt x="9160" y="270"/>
                    <a:pt x="9160" y="270"/>
                    <a:pt x="9160" y="270"/>
                  </a:cubicBezTo>
                  <a:cubicBezTo>
                    <a:pt x="9150" y="285"/>
                    <a:pt x="9150" y="285"/>
                    <a:pt x="9150" y="285"/>
                  </a:cubicBezTo>
                  <a:cubicBezTo>
                    <a:pt x="9150" y="285"/>
                    <a:pt x="9102" y="360"/>
                    <a:pt x="9045" y="446"/>
                  </a:cubicBezTo>
                  <a:cubicBezTo>
                    <a:pt x="8989" y="533"/>
                    <a:pt x="8924" y="631"/>
                    <a:pt x="8891" y="677"/>
                  </a:cubicBezTo>
                  <a:cubicBezTo>
                    <a:pt x="8891" y="677"/>
                    <a:pt x="8891" y="678"/>
                    <a:pt x="8890" y="678"/>
                  </a:cubicBezTo>
                  <a:cubicBezTo>
                    <a:pt x="7749" y="0"/>
                    <a:pt x="7749" y="0"/>
                    <a:pt x="7749" y="0"/>
                  </a:cubicBezTo>
                  <a:cubicBezTo>
                    <a:pt x="7595" y="0"/>
                    <a:pt x="7595" y="0"/>
                    <a:pt x="7595" y="0"/>
                  </a:cubicBezTo>
                  <a:cubicBezTo>
                    <a:pt x="7528" y="121"/>
                    <a:pt x="7528" y="121"/>
                    <a:pt x="7528" y="121"/>
                  </a:cubicBezTo>
                  <a:cubicBezTo>
                    <a:pt x="7528" y="123"/>
                    <a:pt x="7528" y="123"/>
                    <a:pt x="7528" y="123"/>
                  </a:cubicBezTo>
                  <a:cubicBezTo>
                    <a:pt x="7526" y="126"/>
                    <a:pt x="7503" y="181"/>
                    <a:pt x="7503" y="275"/>
                  </a:cubicBezTo>
                  <a:cubicBezTo>
                    <a:pt x="7503" y="343"/>
                    <a:pt x="7515" y="430"/>
                    <a:pt x="7556" y="532"/>
                  </a:cubicBezTo>
                  <a:cubicBezTo>
                    <a:pt x="7642" y="746"/>
                    <a:pt x="7752" y="965"/>
                    <a:pt x="7771" y="1002"/>
                  </a:cubicBezTo>
                  <a:cubicBezTo>
                    <a:pt x="7847" y="1703"/>
                    <a:pt x="7847" y="1703"/>
                    <a:pt x="7847" y="1703"/>
                  </a:cubicBezTo>
                  <a:cubicBezTo>
                    <a:pt x="7759" y="1945"/>
                    <a:pt x="7759" y="1945"/>
                    <a:pt x="7759" y="1945"/>
                  </a:cubicBezTo>
                  <a:cubicBezTo>
                    <a:pt x="7722" y="1943"/>
                    <a:pt x="7694" y="1942"/>
                    <a:pt x="7684" y="1941"/>
                  </a:cubicBezTo>
                  <a:cubicBezTo>
                    <a:pt x="7683" y="1941"/>
                    <a:pt x="7682" y="1941"/>
                    <a:pt x="7681" y="1941"/>
                  </a:cubicBezTo>
                  <a:cubicBezTo>
                    <a:pt x="7681" y="1941"/>
                    <a:pt x="7557" y="1936"/>
                    <a:pt x="7373" y="1930"/>
                  </a:cubicBezTo>
                  <a:cubicBezTo>
                    <a:pt x="7331" y="1928"/>
                    <a:pt x="7286" y="1927"/>
                    <a:pt x="7239" y="1925"/>
                  </a:cubicBezTo>
                  <a:cubicBezTo>
                    <a:pt x="6718" y="439"/>
                    <a:pt x="6718" y="439"/>
                    <a:pt x="6718" y="439"/>
                  </a:cubicBezTo>
                  <a:cubicBezTo>
                    <a:pt x="6725" y="395"/>
                    <a:pt x="6759" y="187"/>
                    <a:pt x="6790" y="0"/>
                  </a:cubicBezTo>
                  <a:cubicBezTo>
                    <a:pt x="6723" y="0"/>
                    <a:pt x="6723" y="0"/>
                    <a:pt x="6723" y="0"/>
                  </a:cubicBezTo>
                  <a:cubicBezTo>
                    <a:pt x="6720" y="20"/>
                    <a:pt x="6717" y="39"/>
                    <a:pt x="6714" y="59"/>
                  </a:cubicBezTo>
                  <a:cubicBezTo>
                    <a:pt x="6689" y="209"/>
                    <a:pt x="6664" y="359"/>
                    <a:pt x="6655" y="414"/>
                  </a:cubicBezTo>
                  <a:cubicBezTo>
                    <a:pt x="6562" y="433"/>
                    <a:pt x="6481" y="441"/>
                    <a:pt x="6411" y="441"/>
                  </a:cubicBezTo>
                  <a:cubicBezTo>
                    <a:pt x="6259" y="441"/>
                    <a:pt x="6151" y="408"/>
                    <a:pt x="6051" y="385"/>
                  </a:cubicBezTo>
                  <a:cubicBezTo>
                    <a:pt x="5979" y="369"/>
                    <a:pt x="5736" y="306"/>
                    <a:pt x="5512" y="247"/>
                  </a:cubicBezTo>
                  <a:cubicBezTo>
                    <a:pt x="5316" y="195"/>
                    <a:pt x="5135" y="147"/>
                    <a:pt x="5091" y="135"/>
                  </a:cubicBezTo>
                  <a:cubicBezTo>
                    <a:pt x="5092" y="92"/>
                    <a:pt x="5093" y="47"/>
                    <a:pt x="5094" y="0"/>
                  </a:cubicBezTo>
                  <a:cubicBezTo>
                    <a:pt x="5029" y="0"/>
                    <a:pt x="5029" y="0"/>
                    <a:pt x="5029" y="0"/>
                  </a:cubicBezTo>
                  <a:cubicBezTo>
                    <a:pt x="5027" y="79"/>
                    <a:pt x="5025" y="154"/>
                    <a:pt x="5023" y="219"/>
                  </a:cubicBezTo>
                  <a:cubicBezTo>
                    <a:pt x="5020" y="325"/>
                    <a:pt x="5017" y="406"/>
                    <a:pt x="5016" y="440"/>
                  </a:cubicBezTo>
                  <a:cubicBezTo>
                    <a:pt x="4598" y="162"/>
                    <a:pt x="4598" y="162"/>
                    <a:pt x="4598" y="162"/>
                  </a:cubicBezTo>
                  <a:cubicBezTo>
                    <a:pt x="4591" y="174"/>
                    <a:pt x="4591" y="174"/>
                    <a:pt x="4591" y="174"/>
                  </a:cubicBezTo>
                  <a:cubicBezTo>
                    <a:pt x="5016" y="456"/>
                    <a:pt x="5016" y="456"/>
                    <a:pt x="5016" y="456"/>
                  </a:cubicBezTo>
                  <a:cubicBezTo>
                    <a:pt x="5016" y="456"/>
                    <a:pt x="5016" y="457"/>
                    <a:pt x="5016" y="457"/>
                  </a:cubicBezTo>
                  <a:cubicBezTo>
                    <a:pt x="5015" y="459"/>
                    <a:pt x="5015" y="459"/>
                    <a:pt x="5015" y="459"/>
                  </a:cubicBezTo>
                  <a:cubicBezTo>
                    <a:pt x="5080" y="1026"/>
                    <a:pt x="5080" y="1026"/>
                    <a:pt x="5080" y="1026"/>
                  </a:cubicBezTo>
                  <a:cubicBezTo>
                    <a:pt x="4608" y="716"/>
                    <a:pt x="4608" y="716"/>
                    <a:pt x="4608" y="716"/>
                  </a:cubicBezTo>
                  <a:cubicBezTo>
                    <a:pt x="4354" y="244"/>
                    <a:pt x="4354" y="244"/>
                    <a:pt x="4354" y="244"/>
                  </a:cubicBezTo>
                  <a:cubicBezTo>
                    <a:pt x="4381" y="237"/>
                    <a:pt x="4419" y="225"/>
                    <a:pt x="4457" y="213"/>
                  </a:cubicBezTo>
                  <a:cubicBezTo>
                    <a:pt x="4523" y="193"/>
                    <a:pt x="4588" y="172"/>
                    <a:pt x="4588" y="172"/>
                  </a:cubicBezTo>
                  <a:cubicBezTo>
                    <a:pt x="4592" y="171"/>
                    <a:pt x="4592" y="171"/>
                    <a:pt x="4592" y="171"/>
                  </a:cubicBezTo>
                  <a:cubicBezTo>
                    <a:pt x="4646" y="0"/>
                    <a:pt x="4646" y="0"/>
                    <a:pt x="4646" y="0"/>
                  </a:cubicBezTo>
                  <a:cubicBezTo>
                    <a:pt x="4632" y="0"/>
                    <a:pt x="4632" y="0"/>
                    <a:pt x="4632" y="0"/>
                  </a:cubicBezTo>
                  <a:cubicBezTo>
                    <a:pt x="4581" y="160"/>
                    <a:pt x="4581" y="160"/>
                    <a:pt x="4581" y="160"/>
                  </a:cubicBezTo>
                  <a:cubicBezTo>
                    <a:pt x="4566" y="165"/>
                    <a:pt x="4510" y="182"/>
                    <a:pt x="4453" y="200"/>
                  </a:cubicBezTo>
                  <a:cubicBezTo>
                    <a:pt x="4414" y="212"/>
                    <a:pt x="4374" y="224"/>
                    <a:pt x="4347" y="232"/>
                  </a:cubicBezTo>
                  <a:cubicBezTo>
                    <a:pt x="4294" y="132"/>
                    <a:pt x="4294" y="132"/>
                    <a:pt x="4294" y="132"/>
                  </a:cubicBezTo>
                  <a:cubicBezTo>
                    <a:pt x="4307" y="0"/>
                    <a:pt x="4307" y="0"/>
                    <a:pt x="4307" y="0"/>
                  </a:cubicBezTo>
                  <a:cubicBezTo>
                    <a:pt x="4262" y="0"/>
                    <a:pt x="4262" y="0"/>
                    <a:pt x="4262" y="0"/>
                  </a:cubicBezTo>
                  <a:cubicBezTo>
                    <a:pt x="4248" y="142"/>
                    <a:pt x="4248" y="142"/>
                    <a:pt x="4248" y="142"/>
                  </a:cubicBezTo>
                  <a:cubicBezTo>
                    <a:pt x="4390" y="407"/>
                    <a:pt x="4390" y="407"/>
                    <a:pt x="4390" y="407"/>
                  </a:cubicBezTo>
                  <a:cubicBezTo>
                    <a:pt x="4374" y="417"/>
                    <a:pt x="4346" y="435"/>
                    <a:pt x="4317" y="453"/>
                  </a:cubicBezTo>
                  <a:cubicBezTo>
                    <a:pt x="4278" y="479"/>
                    <a:pt x="4239" y="504"/>
                    <a:pt x="4225" y="515"/>
                  </a:cubicBezTo>
                  <a:cubicBezTo>
                    <a:pt x="4224" y="514"/>
                    <a:pt x="4223" y="514"/>
                    <a:pt x="4222" y="513"/>
                  </a:cubicBezTo>
                  <a:cubicBezTo>
                    <a:pt x="4217" y="509"/>
                    <a:pt x="4210" y="504"/>
                    <a:pt x="4201" y="498"/>
                  </a:cubicBezTo>
                  <a:cubicBezTo>
                    <a:pt x="4182" y="485"/>
                    <a:pt x="4156" y="467"/>
                    <a:pt x="4124" y="446"/>
                  </a:cubicBezTo>
                  <a:cubicBezTo>
                    <a:pt x="4061" y="403"/>
                    <a:pt x="3977" y="346"/>
                    <a:pt x="3891" y="289"/>
                  </a:cubicBezTo>
                  <a:cubicBezTo>
                    <a:pt x="3859" y="267"/>
                    <a:pt x="3826" y="245"/>
                    <a:pt x="3795" y="224"/>
                  </a:cubicBezTo>
                  <a:cubicBezTo>
                    <a:pt x="3894" y="0"/>
                    <a:pt x="3894" y="0"/>
                    <a:pt x="3894" y="0"/>
                  </a:cubicBezTo>
                  <a:cubicBezTo>
                    <a:pt x="3878" y="0"/>
                    <a:pt x="3878" y="0"/>
                    <a:pt x="3878" y="0"/>
                  </a:cubicBezTo>
                  <a:cubicBezTo>
                    <a:pt x="3783" y="216"/>
                    <a:pt x="3783" y="216"/>
                    <a:pt x="3783" y="216"/>
                  </a:cubicBezTo>
                  <a:cubicBezTo>
                    <a:pt x="3663" y="135"/>
                    <a:pt x="3559" y="66"/>
                    <a:pt x="3537" y="50"/>
                  </a:cubicBezTo>
                  <a:cubicBezTo>
                    <a:pt x="3537" y="49"/>
                    <a:pt x="3537" y="48"/>
                    <a:pt x="3538" y="46"/>
                  </a:cubicBezTo>
                  <a:cubicBezTo>
                    <a:pt x="3538" y="40"/>
                    <a:pt x="3539" y="33"/>
                    <a:pt x="3539" y="24"/>
                  </a:cubicBezTo>
                  <a:cubicBezTo>
                    <a:pt x="3540" y="17"/>
                    <a:pt x="3540" y="9"/>
                    <a:pt x="3540" y="0"/>
                  </a:cubicBezTo>
                  <a:cubicBezTo>
                    <a:pt x="3526" y="0"/>
                    <a:pt x="3526" y="0"/>
                    <a:pt x="3526" y="0"/>
                  </a:cubicBezTo>
                  <a:cubicBezTo>
                    <a:pt x="3525" y="24"/>
                    <a:pt x="3524" y="43"/>
                    <a:pt x="3523" y="49"/>
                  </a:cubicBezTo>
                  <a:cubicBezTo>
                    <a:pt x="3522" y="50"/>
                    <a:pt x="3522" y="51"/>
                    <a:pt x="3522" y="52"/>
                  </a:cubicBezTo>
                  <a:cubicBezTo>
                    <a:pt x="3520" y="60"/>
                    <a:pt x="3520" y="60"/>
                    <a:pt x="3520" y="60"/>
                  </a:cubicBezTo>
                  <a:cubicBezTo>
                    <a:pt x="3526" y="60"/>
                    <a:pt x="3526" y="60"/>
                    <a:pt x="3526" y="60"/>
                  </a:cubicBezTo>
                  <a:cubicBezTo>
                    <a:pt x="3526" y="60"/>
                    <a:pt x="3526" y="60"/>
                    <a:pt x="3526" y="60"/>
                  </a:cubicBezTo>
                  <a:cubicBezTo>
                    <a:pt x="3528" y="61"/>
                    <a:pt x="3530" y="62"/>
                    <a:pt x="3532" y="64"/>
                  </a:cubicBezTo>
                  <a:cubicBezTo>
                    <a:pt x="3537" y="67"/>
                    <a:pt x="3544" y="72"/>
                    <a:pt x="3553" y="78"/>
                  </a:cubicBezTo>
                  <a:cubicBezTo>
                    <a:pt x="3572" y="91"/>
                    <a:pt x="3598" y="108"/>
                    <a:pt x="3629" y="130"/>
                  </a:cubicBezTo>
                  <a:cubicBezTo>
                    <a:pt x="3692" y="172"/>
                    <a:pt x="3776" y="228"/>
                    <a:pt x="3861" y="285"/>
                  </a:cubicBezTo>
                  <a:cubicBezTo>
                    <a:pt x="4029" y="398"/>
                    <a:pt x="4202" y="514"/>
                    <a:pt x="4220" y="528"/>
                  </a:cubicBezTo>
                  <a:cubicBezTo>
                    <a:pt x="4221" y="531"/>
                    <a:pt x="4224" y="531"/>
                    <a:pt x="4226" y="531"/>
                  </a:cubicBezTo>
                  <a:cubicBezTo>
                    <a:pt x="4226" y="531"/>
                    <a:pt x="4230" y="532"/>
                    <a:pt x="4232" y="528"/>
                  </a:cubicBezTo>
                  <a:cubicBezTo>
                    <a:pt x="4232" y="528"/>
                    <a:pt x="4232" y="528"/>
                    <a:pt x="4232" y="527"/>
                  </a:cubicBezTo>
                  <a:cubicBezTo>
                    <a:pt x="4233" y="527"/>
                    <a:pt x="4235" y="525"/>
                    <a:pt x="4237" y="523"/>
                  </a:cubicBezTo>
                  <a:cubicBezTo>
                    <a:pt x="4242" y="520"/>
                    <a:pt x="4249" y="515"/>
                    <a:pt x="4258" y="509"/>
                  </a:cubicBezTo>
                  <a:cubicBezTo>
                    <a:pt x="4275" y="498"/>
                    <a:pt x="4298" y="483"/>
                    <a:pt x="4320" y="468"/>
                  </a:cubicBezTo>
                  <a:cubicBezTo>
                    <a:pt x="4350" y="449"/>
                    <a:pt x="4380" y="430"/>
                    <a:pt x="4397" y="419"/>
                  </a:cubicBezTo>
                  <a:cubicBezTo>
                    <a:pt x="4566" y="734"/>
                    <a:pt x="4566" y="734"/>
                    <a:pt x="4566" y="734"/>
                  </a:cubicBezTo>
                  <a:cubicBezTo>
                    <a:pt x="4206" y="1801"/>
                    <a:pt x="4206" y="1801"/>
                    <a:pt x="4206" y="1801"/>
                  </a:cubicBezTo>
                  <a:cubicBezTo>
                    <a:pt x="4188" y="1802"/>
                    <a:pt x="4167" y="1803"/>
                    <a:pt x="4144" y="1803"/>
                  </a:cubicBezTo>
                  <a:cubicBezTo>
                    <a:pt x="4113" y="1803"/>
                    <a:pt x="4080" y="1801"/>
                    <a:pt x="4053" y="1798"/>
                  </a:cubicBezTo>
                  <a:cubicBezTo>
                    <a:pt x="4025" y="1794"/>
                    <a:pt x="4003" y="1787"/>
                    <a:pt x="3997" y="1784"/>
                  </a:cubicBezTo>
                  <a:cubicBezTo>
                    <a:pt x="3989" y="1781"/>
                    <a:pt x="3959" y="1752"/>
                    <a:pt x="3932" y="1715"/>
                  </a:cubicBezTo>
                  <a:cubicBezTo>
                    <a:pt x="3905" y="1677"/>
                    <a:pt x="3878" y="1631"/>
                    <a:pt x="3855" y="1592"/>
                  </a:cubicBezTo>
                  <a:cubicBezTo>
                    <a:pt x="3848" y="1579"/>
                    <a:pt x="3826" y="1534"/>
                    <a:pt x="3802" y="1479"/>
                  </a:cubicBezTo>
                  <a:cubicBezTo>
                    <a:pt x="3783" y="1433"/>
                    <a:pt x="3760" y="1379"/>
                    <a:pt x="3737" y="1324"/>
                  </a:cubicBezTo>
                  <a:cubicBezTo>
                    <a:pt x="3739" y="1289"/>
                    <a:pt x="3749" y="1110"/>
                    <a:pt x="3755" y="1038"/>
                  </a:cubicBezTo>
                  <a:cubicBezTo>
                    <a:pt x="3756" y="1026"/>
                    <a:pt x="3756" y="1014"/>
                    <a:pt x="3756" y="1000"/>
                  </a:cubicBezTo>
                  <a:cubicBezTo>
                    <a:pt x="3756" y="945"/>
                    <a:pt x="3750" y="864"/>
                    <a:pt x="3733" y="777"/>
                  </a:cubicBezTo>
                  <a:cubicBezTo>
                    <a:pt x="3716" y="691"/>
                    <a:pt x="3690" y="600"/>
                    <a:pt x="3641" y="525"/>
                  </a:cubicBezTo>
                  <a:cubicBezTo>
                    <a:pt x="3607" y="475"/>
                    <a:pt x="3554" y="432"/>
                    <a:pt x="3490" y="384"/>
                  </a:cubicBezTo>
                  <a:cubicBezTo>
                    <a:pt x="3426" y="337"/>
                    <a:pt x="3351" y="289"/>
                    <a:pt x="3280" y="244"/>
                  </a:cubicBezTo>
                  <a:cubicBezTo>
                    <a:pt x="3150" y="164"/>
                    <a:pt x="3030" y="99"/>
                    <a:pt x="3009" y="88"/>
                  </a:cubicBezTo>
                  <a:cubicBezTo>
                    <a:pt x="3009" y="86"/>
                    <a:pt x="3009" y="85"/>
                    <a:pt x="3009" y="83"/>
                  </a:cubicBezTo>
                  <a:cubicBezTo>
                    <a:pt x="3009" y="55"/>
                    <a:pt x="3005" y="27"/>
                    <a:pt x="2999" y="0"/>
                  </a:cubicBezTo>
                  <a:cubicBezTo>
                    <a:pt x="2834" y="0"/>
                    <a:pt x="2834" y="0"/>
                    <a:pt x="2834" y="0"/>
                  </a:cubicBezTo>
                  <a:cubicBezTo>
                    <a:pt x="2845" y="26"/>
                    <a:pt x="2851" y="54"/>
                    <a:pt x="2851" y="83"/>
                  </a:cubicBezTo>
                  <a:cubicBezTo>
                    <a:pt x="2851" y="198"/>
                    <a:pt x="2758" y="291"/>
                    <a:pt x="2644" y="291"/>
                  </a:cubicBezTo>
                  <a:cubicBezTo>
                    <a:pt x="2529" y="291"/>
                    <a:pt x="2436" y="198"/>
                    <a:pt x="2436" y="83"/>
                  </a:cubicBezTo>
                  <a:cubicBezTo>
                    <a:pt x="2436" y="54"/>
                    <a:pt x="2442" y="26"/>
                    <a:pt x="2454" y="0"/>
                  </a:cubicBezTo>
                  <a:cubicBezTo>
                    <a:pt x="2289" y="0"/>
                    <a:pt x="2289" y="0"/>
                    <a:pt x="2289" y="0"/>
                  </a:cubicBezTo>
                  <a:cubicBezTo>
                    <a:pt x="2283" y="27"/>
                    <a:pt x="2278" y="55"/>
                    <a:pt x="2278" y="83"/>
                  </a:cubicBezTo>
                  <a:cubicBezTo>
                    <a:pt x="2278" y="95"/>
                    <a:pt x="2279" y="106"/>
                    <a:pt x="2280" y="118"/>
                  </a:cubicBezTo>
                  <a:cubicBezTo>
                    <a:pt x="2227" y="110"/>
                    <a:pt x="2153" y="98"/>
                    <a:pt x="2073" y="86"/>
                  </a:cubicBezTo>
                  <a:cubicBezTo>
                    <a:pt x="1919" y="61"/>
                    <a:pt x="1741" y="31"/>
                    <a:pt x="1656" y="11"/>
                  </a:cubicBezTo>
                  <a:cubicBezTo>
                    <a:pt x="1643" y="8"/>
                    <a:pt x="1631" y="4"/>
                    <a:pt x="1619" y="0"/>
                  </a:cubicBezTo>
                  <a:cubicBezTo>
                    <a:pt x="1258" y="0"/>
                    <a:pt x="1258" y="0"/>
                    <a:pt x="1258" y="0"/>
                  </a:cubicBezTo>
                  <a:cubicBezTo>
                    <a:pt x="1369" y="66"/>
                    <a:pt x="1477" y="125"/>
                    <a:pt x="1621" y="159"/>
                  </a:cubicBezTo>
                  <a:cubicBezTo>
                    <a:pt x="1717" y="181"/>
                    <a:pt x="1893" y="211"/>
                    <a:pt x="2049" y="236"/>
                  </a:cubicBezTo>
                  <a:cubicBezTo>
                    <a:pt x="2170" y="255"/>
                    <a:pt x="2290" y="274"/>
                    <a:pt x="2337" y="281"/>
                  </a:cubicBezTo>
                  <a:cubicBezTo>
                    <a:pt x="2351" y="304"/>
                    <a:pt x="2368" y="325"/>
                    <a:pt x="2387" y="343"/>
                  </a:cubicBezTo>
                  <a:cubicBezTo>
                    <a:pt x="2367" y="370"/>
                    <a:pt x="2325" y="424"/>
                    <a:pt x="2274" y="490"/>
                  </a:cubicBezTo>
                  <a:cubicBezTo>
                    <a:pt x="2200" y="584"/>
                    <a:pt x="2108" y="701"/>
                    <a:pt x="2031" y="788"/>
                  </a:cubicBezTo>
                  <a:cubicBezTo>
                    <a:pt x="1982" y="846"/>
                    <a:pt x="1935" y="894"/>
                    <a:pt x="1919" y="906"/>
                  </a:cubicBezTo>
                  <a:cubicBezTo>
                    <a:pt x="1912" y="911"/>
                    <a:pt x="1891" y="923"/>
                    <a:pt x="1864" y="937"/>
                  </a:cubicBezTo>
                  <a:cubicBezTo>
                    <a:pt x="1836" y="952"/>
                    <a:pt x="1801" y="968"/>
                    <a:pt x="1760" y="987"/>
                  </a:cubicBezTo>
                  <a:cubicBezTo>
                    <a:pt x="1679" y="1023"/>
                    <a:pt x="1577" y="1066"/>
                    <a:pt x="1472" y="1109"/>
                  </a:cubicBezTo>
                  <a:cubicBezTo>
                    <a:pt x="1261" y="1195"/>
                    <a:pt x="1034" y="1282"/>
                    <a:pt x="917" y="1329"/>
                  </a:cubicBezTo>
                  <a:cubicBezTo>
                    <a:pt x="680" y="1422"/>
                    <a:pt x="342" y="1579"/>
                    <a:pt x="340" y="1580"/>
                  </a:cubicBezTo>
                  <a:cubicBezTo>
                    <a:pt x="340" y="1580"/>
                    <a:pt x="204" y="1645"/>
                    <a:pt x="0" y="1743"/>
                  </a:cubicBezTo>
                  <a:cubicBezTo>
                    <a:pt x="0" y="1913"/>
                    <a:pt x="0" y="1913"/>
                    <a:pt x="0" y="1913"/>
                  </a:cubicBezTo>
                  <a:cubicBezTo>
                    <a:pt x="24" y="1901"/>
                    <a:pt x="47" y="1890"/>
                    <a:pt x="69" y="1880"/>
                  </a:cubicBezTo>
                  <a:cubicBezTo>
                    <a:pt x="271" y="1782"/>
                    <a:pt x="405" y="1718"/>
                    <a:pt x="405" y="1718"/>
                  </a:cubicBezTo>
                  <a:cubicBezTo>
                    <a:pt x="406" y="1718"/>
                    <a:pt x="441" y="1701"/>
                    <a:pt x="496" y="1676"/>
                  </a:cubicBezTo>
                  <a:cubicBezTo>
                    <a:pt x="513" y="1711"/>
                    <a:pt x="542" y="1775"/>
                    <a:pt x="579" y="1857"/>
                  </a:cubicBezTo>
                  <a:cubicBezTo>
                    <a:pt x="637" y="1984"/>
                    <a:pt x="715" y="2155"/>
                    <a:pt x="793" y="2329"/>
                  </a:cubicBezTo>
                  <a:cubicBezTo>
                    <a:pt x="951" y="2675"/>
                    <a:pt x="1113" y="3033"/>
                    <a:pt x="1128" y="3071"/>
                  </a:cubicBezTo>
                  <a:cubicBezTo>
                    <a:pt x="1142" y="3105"/>
                    <a:pt x="1187" y="3265"/>
                    <a:pt x="1231" y="3438"/>
                  </a:cubicBezTo>
                  <a:cubicBezTo>
                    <a:pt x="1244" y="3491"/>
                    <a:pt x="1257" y="3546"/>
                    <a:pt x="1270" y="3600"/>
                  </a:cubicBezTo>
                  <a:cubicBezTo>
                    <a:pt x="1337" y="3600"/>
                    <a:pt x="1337" y="3600"/>
                    <a:pt x="1337" y="3600"/>
                  </a:cubicBezTo>
                  <a:cubicBezTo>
                    <a:pt x="1324" y="3541"/>
                    <a:pt x="1309" y="3481"/>
                    <a:pt x="1294" y="3422"/>
                  </a:cubicBezTo>
                  <a:cubicBezTo>
                    <a:pt x="1250" y="3246"/>
                    <a:pt x="1206" y="3091"/>
                    <a:pt x="1189" y="3046"/>
                  </a:cubicBezTo>
                  <a:cubicBezTo>
                    <a:pt x="1172" y="3004"/>
                    <a:pt x="1011" y="2649"/>
                    <a:pt x="853" y="2301"/>
                  </a:cubicBezTo>
                  <a:cubicBezTo>
                    <a:pt x="831" y="2252"/>
                    <a:pt x="809" y="2204"/>
                    <a:pt x="787" y="2156"/>
                  </a:cubicBezTo>
                  <a:cubicBezTo>
                    <a:pt x="2314" y="1770"/>
                    <a:pt x="2314" y="1770"/>
                    <a:pt x="2314" y="1770"/>
                  </a:cubicBezTo>
                  <a:cubicBezTo>
                    <a:pt x="2322" y="1811"/>
                    <a:pt x="2331" y="1847"/>
                    <a:pt x="2342" y="1872"/>
                  </a:cubicBezTo>
                  <a:cubicBezTo>
                    <a:pt x="2373" y="1937"/>
                    <a:pt x="2446" y="1969"/>
                    <a:pt x="2530" y="1969"/>
                  </a:cubicBezTo>
                  <a:cubicBezTo>
                    <a:pt x="2530" y="1969"/>
                    <a:pt x="2531" y="1969"/>
                    <a:pt x="2531" y="1969"/>
                  </a:cubicBezTo>
                  <a:cubicBezTo>
                    <a:pt x="2537" y="1969"/>
                    <a:pt x="2542" y="1968"/>
                    <a:pt x="2548" y="1968"/>
                  </a:cubicBezTo>
                  <a:cubicBezTo>
                    <a:pt x="2586" y="1966"/>
                    <a:pt x="2648" y="1965"/>
                    <a:pt x="2715" y="1962"/>
                  </a:cubicBezTo>
                  <a:cubicBezTo>
                    <a:pt x="2820" y="2460"/>
                    <a:pt x="2820" y="2460"/>
                    <a:pt x="2820" y="2460"/>
                  </a:cubicBezTo>
                  <a:cubicBezTo>
                    <a:pt x="2820" y="2461"/>
                    <a:pt x="2820" y="2461"/>
                    <a:pt x="2820" y="2462"/>
                  </a:cubicBezTo>
                  <a:cubicBezTo>
                    <a:pt x="2820" y="2468"/>
                    <a:pt x="2821" y="2473"/>
                    <a:pt x="2824" y="2477"/>
                  </a:cubicBezTo>
                  <a:cubicBezTo>
                    <a:pt x="3044" y="3519"/>
                    <a:pt x="3044" y="3519"/>
                    <a:pt x="3044" y="3519"/>
                  </a:cubicBezTo>
                  <a:cubicBezTo>
                    <a:pt x="1522" y="3600"/>
                    <a:pt x="1522" y="3600"/>
                    <a:pt x="1522" y="3600"/>
                  </a:cubicBezTo>
                  <a:cubicBezTo>
                    <a:pt x="2367" y="3600"/>
                    <a:pt x="2367" y="3600"/>
                    <a:pt x="2367" y="3600"/>
                  </a:cubicBezTo>
                  <a:cubicBezTo>
                    <a:pt x="3053" y="3564"/>
                    <a:pt x="3053" y="3564"/>
                    <a:pt x="3053" y="3564"/>
                  </a:cubicBezTo>
                  <a:cubicBezTo>
                    <a:pt x="3061" y="3600"/>
                    <a:pt x="3061" y="3600"/>
                    <a:pt x="3061" y="3600"/>
                  </a:cubicBezTo>
                  <a:cubicBezTo>
                    <a:pt x="3128" y="3600"/>
                    <a:pt x="3128" y="3600"/>
                    <a:pt x="3128" y="3600"/>
                  </a:cubicBezTo>
                  <a:cubicBezTo>
                    <a:pt x="3123" y="3577"/>
                    <a:pt x="3123" y="3577"/>
                    <a:pt x="3123" y="3577"/>
                  </a:cubicBezTo>
                  <a:cubicBezTo>
                    <a:pt x="3170" y="3578"/>
                    <a:pt x="3256" y="3579"/>
                    <a:pt x="3343" y="3580"/>
                  </a:cubicBezTo>
                  <a:cubicBezTo>
                    <a:pt x="3472" y="3581"/>
                    <a:pt x="3605" y="3583"/>
                    <a:pt x="3616" y="3585"/>
                  </a:cubicBezTo>
                  <a:cubicBezTo>
                    <a:pt x="3620" y="3586"/>
                    <a:pt x="3644" y="3592"/>
                    <a:pt x="3676" y="3600"/>
                  </a:cubicBezTo>
                  <a:cubicBezTo>
                    <a:pt x="3734" y="3600"/>
                    <a:pt x="3734" y="3600"/>
                    <a:pt x="3734" y="3600"/>
                  </a:cubicBezTo>
                  <a:cubicBezTo>
                    <a:pt x="3673" y="3585"/>
                    <a:pt x="3622" y="3572"/>
                    <a:pt x="3620" y="3571"/>
                  </a:cubicBezTo>
                  <a:cubicBezTo>
                    <a:pt x="3615" y="3570"/>
                    <a:pt x="3608" y="3570"/>
                    <a:pt x="3593" y="3570"/>
                  </a:cubicBezTo>
                  <a:cubicBezTo>
                    <a:pt x="3577" y="3569"/>
                    <a:pt x="3556" y="3569"/>
                    <a:pt x="3531" y="3569"/>
                  </a:cubicBezTo>
                  <a:cubicBezTo>
                    <a:pt x="3481" y="3568"/>
                    <a:pt x="3415" y="3567"/>
                    <a:pt x="3349" y="3566"/>
                  </a:cubicBezTo>
                  <a:cubicBezTo>
                    <a:pt x="3258" y="3565"/>
                    <a:pt x="3167" y="3564"/>
                    <a:pt x="3120" y="3563"/>
                  </a:cubicBezTo>
                  <a:cubicBezTo>
                    <a:pt x="3080" y="3374"/>
                    <a:pt x="3080" y="3374"/>
                    <a:pt x="3080" y="3374"/>
                  </a:cubicBezTo>
                  <a:cubicBezTo>
                    <a:pt x="3581" y="3366"/>
                    <a:pt x="3581" y="3366"/>
                    <a:pt x="3581" y="3366"/>
                  </a:cubicBezTo>
                  <a:cubicBezTo>
                    <a:pt x="3604" y="3376"/>
                    <a:pt x="3929" y="3505"/>
                    <a:pt x="3969" y="3520"/>
                  </a:cubicBezTo>
                  <a:cubicBezTo>
                    <a:pt x="3969" y="3539"/>
                    <a:pt x="3969" y="3552"/>
                    <a:pt x="3969" y="3555"/>
                  </a:cubicBezTo>
                  <a:cubicBezTo>
                    <a:pt x="3958" y="3600"/>
                    <a:pt x="3958" y="3600"/>
                    <a:pt x="3958" y="3600"/>
                  </a:cubicBezTo>
                  <a:cubicBezTo>
                    <a:pt x="3972" y="3600"/>
                    <a:pt x="3972" y="3600"/>
                    <a:pt x="3972" y="3600"/>
                  </a:cubicBezTo>
                  <a:cubicBezTo>
                    <a:pt x="3982" y="3557"/>
                    <a:pt x="3982" y="3557"/>
                    <a:pt x="3982" y="3557"/>
                  </a:cubicBezTo>
                  <a:cubicBezTo>
                    <a:pt x="3982" y="3556"/>
                    <a:pt x="3982" y="3556"/>
                    <a:pt x="3982" y="3556"/>
                  </a:cubicBezTo>
                  <a:cubicBezTo>
                    <a:pt x="3982" y="3556"/>
                    <a:pt x="3983" y="3544"/>
                    <a:pt x="3983" y="3523"/>
                  </a:cubicBezTo>
                  <a:cubicBezTo>
                    <a:pt x="4018" y="3529"/>
                    <a:pt x="4146" y="3546"/>
                    <a:pt x="4274" y="3563"/>
                  </a:cubicBezTo>
                  <a:cubicBezTo>
                    <a:pt x="4394" y="3578"/>
                    <a:pt x="4514" y="3594"/>
                    <a:pt x="4554" y="3599"/>
                  </a:cubicBezTo>
                  <a:cubicBezTo>
                    <a:pt x="4554" y="3600"/>
                    <a:pt x="4554" y="3600"/>
                    <a:pt x="4554" y="3600"/>
                  </a:cubicBezTo>
                  <a:cubicBezTo>
                    <a:pt x="4707" y="3600"/>
                    <a:pt x="4707" y="3600"/>
                    <a:pt x="4707" y="3600"/>
                  </a:cubicBezTo>
                  <a:cubicBezTo>
                    <a:pt x="4923" y="1907"/>
                    <a:pt x="4923" y="1907"/>
                    <a:pt x="4923" y="1907"/>
                  </a:cubicBezTo>
                  <a:cubicBezTo>
                    <a:pt x="4987" y="1895"/>
                    <a:pt x="4987" y="1895"/>
                    <a:pt x="4987" y="1895"/>
                  </a:cubicBezTo>
                  <a:cubicBezTo>
                    <a:pt x="4976" y="1986"/>
                    <a:pt x="4955" y="2149"/>
                    <a:pt x="4928" y="2362"/>
                  </a:cubicBezTo>
                  <a:cubicBezTo>
                    <a:pt x="4887" y="2688"/>
                    <a:pt x="4831" y="3129"/>
                    <a:pt x="4771" y="3600"/>
                  </a:cubicBezTo>
                  <a:cubicBezTo>
                    <a:pt x="4925" y="3600"/>
                    <a:pt x="4925" y="3600"/>
                    <a:pt x="4925" y="3600"/>
                  </a:cubicBezTo>
                  <a:cubicBezTo>
                    <a:pt x="4932" y="3547"/>
                    <a:pt x="4938" y="3495"/>
                    <a:pt x="4945" y="3443"/>
                  </a:cubicBezTo>
                  <a:cubicBezTo>
                    <a:pt x="5515" y="3527"/>
                    <a:pt x="5515" y="3527"/>
                    <a:pt x="5515" y="3527"/>
                  </a:cubicBezTo>
                  <a:cubicBezTo>
                    <a:pt x="5507" y="3600"/>
                    <a:pt x="5507" y="3600"/>
                    <a:pt x="5507" y="3600"/>
                  </a:cubicBezTo>
                  <a:cubicBezTo>
                    <a:pt x="5573" y="3600"/>
                    <a:pt x="5573" y="3600"/>
                    <a:pt x="5573" y="3600"/>
                  </a:cubicBezTo>
                  <a:cubicBezTo>
                    <a:pt x="5575" y="3579"/>
                    <a:pt x="5575" y="3579"/>
                    <a:pt x="5575" y="3579"/>
                  </a:cubicBezTo>
                  <a:cubicBezTo>
                    <a:pt x="5579" y="3580"/>
                    <a:pt x="5582" y="3580"/>
                    <a:pt x="5586" y="3581"/>
                  </a:cubicBezTo>
                  <a:cubicBezTo>
                    <a:pt x="5607" y="3584"/>
                    <a:pt x="5636" y="3589"/>
                    <a:pt x="5670" y="3594"/>
                  </a:cubicBezTo>
                  <a:cubicBezTo>
                    <a:pt x="5684" y="3596"/>
                    <a:pt x="5700" y="3598"/>
                    <a:pt x="5715" y="3600"/>
                  </a:cubicBezTo>
                  <a:cubicBezTo>
                    <a:pt x="6043" y="3600"/>
                    <a:pt x="6043" y="3600"/>
                    <a:pt x="6043" y="3600"/>
                  </a:cubicBezTo>
                  <a:cubicBezTo>
                    <a:pt x="5925" y="3584"/>
                    <a:pt x="5786" y="3565"/>
                    <a:pt x="5686" y="3551"/>
                  </a:cubicBezTo>
                  <a:cubicBezTo>
                    <a:pt x="5640" y="3544"/>
                    <a:pt x="5602" y="3538"/>
                    <a:pt x="5580" y="3534"/>
                  </a:cubicBezTo>
                  <a:cubicBezTo>
                    <a:pt x="5733" y="2024"/>
                    <a:pt x="5733" y="2024"/>
                    <a:pt x="5733" y="2024"/>
                  </a:cubicBezTo>
                  <a:cubicBezTo>
                    <a:pt x="5860" y="2028"/>
                    <a:pt x="6366" y="2046"/>
                    <a:pt x="6830" y="2063"/>
                  </a:cubicBezTo>
                  <a:cubicBezTo>
                    <a:pt x="6291" y="3600"/>
                    <a:pt x="6291" y="3600"/>
                    <a:pt x="6291" y="3600"/>
                  </a:cubicBezTo>
                  <a:cubicBezTo>
                    <a:pt x="6339" y="3600"/>
                    <a:pt x="6339" y="3600"/>
                    <a:pt x="6339" y="3600"/>
                  </a:cubicBezTo>
                  <a:cubicBezTo>
                    <a:pt x="6878" y="2065"/>
                    <a:pt x="6878" y="2065"/>
                    <a:pt x="6878" y="2065"/>
                  </a:cubicBezTo>
                  <a:cubicBezTo>
                    <a:pt x="7276" y="2079"/>
                    <a:pt x="7632" y="2092"/>
                    <a:pt x="7672" y="2093"/>
                  </a:cubicBezTo>
                  <a:cubicBezTo>
                    <a:pt x="7672" y="2093"/>
                    <a:pt x="7673" y="2093"/>
                    <a:pt x="7673" y="2093"/>
                  </a:cubicBezTo>
                  <a:cubicBezTo>
                    <a:pt x="7674" y="2093"/>
                    <a:pt x="7675" y="2093"/>
                    <a:pt x="7675" y="2093"/>
                  </a:cubicBezTo>
                  <a:cubicBezTo>
                    <a:pt x="7676" y="2094"/>
                    <a:pt x="7678" y="2094"/>
                    <a:pt x="7679" y="2094"/>
                  </a:cubicBezTo>
                  <a:cubicBezTo>
                    <a:pt x="7683" y="2094"/>
                    <a:pt x="7687" y="2094"/>
                    <a:pt x="7693" y="2094"/>
                  </a:cubicBezTo>
                  <a:cubicBezTo>
                    <a:pt x="7698" y="2094"/>
                    <a:pt x="7704" y="2095"/>
                    <a:pt x="7710" y="2095"/>
                  </a:cubicBezTo>
                  <a:cubicBezTo>
                    <a:pt x="7412" y="3445"/>
                    <a:pt x="7412" y="3445"/>
                    <a:pt x="7412" y="3445"/>
                  </a:cubicBezTo>
                  <a:cubicBezTo>
                    <a:pt x="7411" y="3447"/>
                    <a:pt x="7408" y="3460"/>
                    <a:pt x="7408" y="3479"/>
                  </a:cubicBezTo>
                  <a:cubicBezTo>
                    <a:pt x="7408" y="3508"/>
                    <a:pt x="7416" y="3555"/>
                    <a:pt x="7451" y="3600"/>
                  </a:cubicBezTo>
                  <a:cubicBezTo>
                    <a:pt x="7546" y="3600"/>
                    <a:pt x="7546" y="3600"/>
                    <a:pt x="7546" y="3600"/>
                  </a:cubicBezTo>
                  <a:cubicBezTo>
                    <a:pt x="7532" y="3591"/>
                    <a:pt x="7521" y="3581"/>
                    <a:pt x="7512" y="3571"/>
                  </a:cubicBezTo>
                  <a:cubicBezTo>
                    <a:pt x="7479" y="3535"/>
                    <a:pt x="7474" y="3500"/>
                    <a:pt x="7474" y="3479"/>
                  </a:cubicBezTo>
                  <a:cubicBezTo>
                    <a:pt x="7474" y="3470"/>
                    <a:pt x="7475" y="3463"/>
                    <a:pt x="7475" y="3462"/>
                  </a:cubicBezTo>
                  <a:cubicBezTo>
                    <a:pt x="7475" y="3462"/>
                    <a:pt x="7475" y="3461"/>
                    <a:pt x="7476" y="3460"/>
                  </a:cubicBezTo>
                  <a:cubicBezTo>
                    <a:pt x="7776" y="2099"/>
                    <a:pt x="7776" y="2099"/>
                    <a:pt x="7776" y="2099"/>
                  </a:cubicBezTo>
                  <a:cubicBezTo>
                    <a:pt x="7806" y="2101"/>
                    <a:pt x="7837" y="2104"/>
                    <a:pt x="7864" y="2108"/>
                  </a:cubicBezTo>
                  <a:cubicBezTo>
                    <a:pt x="7929" y="2117"/>
                    <a:pt x="9328" y="2325"/>
                    <a:pt x="10022" y="2429"/>
                  </a:cubicBezTo>
                  <a:cubicBezTo>
                    <a:pt x="10254" y="2463"/>
                    <a:pt x="10407" y="2486"/>
                    <a:pt x="10407" y="2486"/>
                  </a:cubicBezTo>
                  <a:cubicBezTo>
                    <a:pt x="10408" y="2486"/>
                    <a:pt x="10408" y="2486"/>
                    <a:pt x="10408" y="2486"/>
                  </a:cubicBezTo>
                  <a:cubicBezTo>
                    <a:pt x="10410" y="2486"/>
                    <a:pt x="10410" y="2486"/>
                    <a:pt x="10410" y="2486"/>
                  </a:cubicBezTo>
                  <a:cubicBezTo>
                    <a:pt x="10410" y="2486"/>
                    <a:pt x="10411" y="2486"/>
                    <a:pt x="10416" y="2487"/>
                  </a:cubicBezTo>
                  <a:cubicBezTo>
                    <a:pt x="10420" y="2488"/>
                    <a:pt x="10426" y="2488"/>
                    <a:pt x="10435" y="2490"/>
                  </a:cubicBezTo>
                  <a:cubicBezTo>
                    <a:pt x="10451" y="2492"/>
                    <a:pt x="10476" y="2497"/>
                    <a:pt x="10504" y="2503"/>
                  </a:cubicBezTo>
                  <a:cubicBezTo>
                    <a:pt x="10562" y="2516"/>
                    <a:pt x="10638" y="2537"/>
                    <a:pt x="10709" y="2569"/>
                  </a:cubicBezTo>
                  <a:cubicBezTo>
                    <a:pt x="10782" y="2602"/>
                    <a:pt x="10965" y="2699"/>
                    <a:pt x="11144" y="2799"/>
                  </a:cubicBezTo>
                  <a:cubicBezTo>
                    <a:pt x="11323" y="2899"/>
                    <a:pt x="11503" y="3002"/>
                    <a:pt x="11575" y="3047"/>
                  </a:cubicBezTo>
                  <a:cubicBezTo>
                    <a:pt x="12437" y="3600"/>
                    <a:pt x="12437" y="3600"/>
                    <a:pt x="12437" y="3600"/>
                  </a:cubicBezTo>
                  <a:cubicBezTo>
                    <a:pt x="12714" y="3600"/>
                    <a:pt x="12714" y="3600"/>
                    <a:pt x="12714" y="3600"/>
                  </a:cubicBezTo>
                  <a:cubicBezTo>
                    <a:pt x="12695" y="3587"/>
                    <a:pt x="12695" y="3587"/>
                    <a:pt x="12695" y="3587"/>
                  </a:cubicBezTo>
                  <a:cubicBezTo>
                    <a:pt x="12956" y="3043"/>
                    <a:pt x="13187" y="2549"/>
                    <a:pt x="13248" y="2418"/>
                  </a:cubicBezTo>
                  <a:cubicBezTo>
                    <a:pt x="13253" y="2421"/>
                    <a:pt x="13258" y="2424"/>
                    <a:pt x="13262" y="2427"/>
                  </a:cubicBezTo>
                  <a:cubicBezTo>
                    <a:pt x="13322" y="2464"/>
                    <a:pt x="13393" y="2523"/>
                    <a:pt x="13442" y="2609"/>
                  </a:cubicBezTo>
                  <a:cubicBezTo>
                    <a:pt x="13495" y="2701"/>
                    <a:pt x="13534" y="2766"/>
                    <a:pt x="13588" y="2822"/>
                  </a:cubicBezTo>
                  <a:cubicBezTo>
                    <a:pt x="13643" y="2878"/>
                    <a:pt x="13710" y="2921"/>
                    <a:pt x="13816" y="2969"/>
                  </a:cubicBezTo>
                  <a:cubicBezTo>
                    <a:pt x="14023" y="3062"/>
                    <a:pt x="15214" y="3563"/>
                    <a:pt x="15269" y="3585"/>
                  </a:cubicBezTo>
                  <a:cubicBezTo>
                    <a:pt x="15269" y="3585"/>
                    <a:pt x="15270" y="3586"/>
                    <a:pt x="15271" y="3587"/>
                  </a:cubicBezTo>
                  <a:cubicBezTo>
                    <a:pt x="15274" y="3588"/>
                    <a:pt x="15277" y="3591"/>
                    <a:pt x="15282" y="3594"/>
                  </a:cubicBezTo>
                  <a:cubicBezTo>
                    <a:pt x="15285" y="3596"/>
                    <a:pt x="15288" y="3598"/>
                    <a:pt x="15291" y="3600"/>
                  </a:cubicBezTo>
                  <a:cubicBezTo>
                    <a:pt x="15404" y="3600"/>
                    <a:pt x="15404" y="3600"/>
                    <a:pt x="15404" y="3600"/>
                  </a:cubicBezTo>
                  <a:cubicBezTo>
                    <a:pt x="15360" y="3568"/>
                    <a:pt x="15325" y="3543"/>
                    <a:pt x="15308" y="3532"/>
                  </a:cubicBezTo>
                  <a:cubicBezTo>
                    <a:pt x="15303" y="3529"/>
                    <a:pt x="15301" y="3528"/>
                    <a:pt x="15295" y="3525"/>
                  </a:cubicBezTo>
                  <a:cubicBezTo>
                    <a:pt x="15276" y="3517"/>
                    <a:pt x="14050" y="3002"/>
                    <a:pt x="13843" y="2909"/>
                  </a:cubicBezTo>
                  <a:cubicBezTo>
                    <a:pt x="13741" y="2863"/>
                    <a:pt x="13682" y="2825"/>
                    <a:pt x="13635" y="2777"/>
                  </a:cubicBezTo>
                  <a:cubicBezTo>
                    <a:pt x="13589" y="2729"/>
                    <a:pt x="13552" y="2668"/>
                    <a:pt x="13499" y="2576"/>
                  </a:cubicBezTo>
                  <a:cubicBezTo>
                    <a:pt x="13435" y="2466"/>
                    <a:pt x="13343" y="2397"/>
                    <a:pt x="13274" y="2357"/>
                  </a:cubicBezTo>
                  <a:cubicBezTo>
                    <a:pt x="13974" y="345"/>
                    <a:pt x="13974" y="345"/>
                    <a:pt x="13974" y="345"/>
                  </a:cubicBezTo>
                  <a:cubicBezTo>
                    <a:pt x="14410" y="392"/>
                    <a:pt x="14410" y="392"/>
                    <a:pt x="14410" y="392"/>
                  </a:cubicBezTo>
                  <a:cubicBezTo>
                    <a:pt x="14410" y="392"/>
                    <a:pt x="14411" y="393"/>
                    <a:pt x="14412" y="393"/>
                  </a:cubicBezTo>
                  <a:cubicBezTo>
                    <a:pt x="14416" y="396"/>
                    <a:pt x="14423" y="399"/>
                    <a:pt x="14431" y="403"/>
                  </a:cubicBezTo>
                  <a:cubicBezTo>
                    <a:pt x="14447" y="411"/>
                    <a:pt x="14471" y="423"/>
                    <a:pt x="14501" y="438"/>
                  </a:cubicBezTo>
                  <a:cubicBezTo>
                    <a:pt x="14561" y="468"/>
                    <a:pt x="14647" y="510"/>
                    <a:pt x="14750" y="561"/>
                  </a:cubicBezTo>
                  <a:cubicBezTo>
                    <a:pt x="14956" y="664"/>
                    <a:pt x="15229" y="801"/>
                    <a:pt x="15501" y="946"/>
                  </a:cubicBezTo>
                  <a:cubicBezTo>
                    <a:pt x="15740" y="1073"/>
                    <a:pt x="15978" y="1215"/>
                    <a:pt x="16168" y="1327"/>
                  </a:cubicBezTo>
                  <a:cubicBezTo>
                    <a:pt x="16635" y="1603"/>
                    <a:pt x="17015" y="1978"/>
                    <a:pt x="17175" y="2148"/>
                  </a:cubicBezTo>
                  <a:cubicBezTo>
                    <a:pt x="17228" y="2205"/>
                    <a:pt x="17257" y="2238"/>
                    <a:pt x="17257" y="2238"/>
                  </a:cubicBezTo>
                  <a:cubicBezTo>
                    <a:pt x="17258" y="2239"/>
                    <a:pt x="17258" y="2239"/>
                    <a:pt x="17258" y="2239"/>
                  </a:cubicBezTo>
                  <a:cubicBezTo>
                    <a:pt x="17258" y="2239"/>
                    <a:pt x="17258" y="2239"/>
                    <a:pt x="17258" y="2239"/>
                  </a:cubicBezTo>
                  <a:cubicBezTo>
                    <a:pt x="17290" y="2273"/>
                    <a:pt x="17330" y="2319"/>
                    <a:pt x="17379" y="2370"/>
                  </a:cubicBezTo>
                  <a:cubicBezTo>
                    <a:pt x="17353" y="2394"/>
                    <a:pt x="17260" y="2479"/>
                    <a:pt x="17160" y="2592"/>
                  </a:cubicBezTo>
                  <a:cubicBezTo>
                    <a:pt x="17042" y="2726"/>
                    <a:pt x="16913" y="2896"/>
                    <a:pt x="16871" y="3058"/>
                  </a:cubicBezTo>
                  <a:cubicBezTo>
                    <a:pt x="16831" y="3214"/>
                    <a:pt x="16836" y="3342"/>
                    <a:pt x="16806" y="3455"/>
                  </a:cubicBezTo>
                  <a:cubicBezTo>
                    <a:pt x="16793" y="3505"/>
                    <a:pt x="16775" y="3552"/>
                    <a:pt x="16743" y="3600"/>
                  </a:cubicBezTo>
                  <a:cubicBezTo>
                    <a:pt x="16819" y="3600"/>
                    <a:pt x="16819" y="3600"/>
                    <a:pt x="16819" y="3600"/>
                  </a:cubicBezTo>
                  <a:cubicBezTo>
                    <a:pt x="16843" y="3558"/>
                    <a:pt x="16859" y="3515"/>
                    <a:pt x="16870" y="3471"/>
                  </a:cubicBezTo>
                  <a:cubicBezTo>
                    <a:pt x="16902" y="3345"/>
                    <a:pt x="16897" y="3220"/>
                    <a:pt x="16934" y="3074"/>
                  </a:cubicBezTo>
                  <a:cubicBezTo>
                    <a:pt x="16987" y="2862"/>
                    <a:pt x="17240" y="2593"/>
                    <a:pt x="17363" y="2475"/>
                  </a:cubicBezTo>
                  <a:cubicBezTo>
                    <a:pt x="17395" y="2445"/>
                    <a:pt x="17417" y="2425"/>
                    <a:pt x="17425" y="2417"/>
                  </a:cubicBezTo>
                  <a:cubicBezTo>
                    <a:pt x="17555" y="2545"/>
                    <a:pt x="17740" y="2698"/>
                    <a:pt x="18004" y="2813"/>
                  </a:cubicBezTo>
                  <a:cubicBezTo>
                    <a:pt x="18004" y="2741"/>
                    <a:pt x="18004" y="2741"/>
                    <a:pt x="18004" y="2741"/>
                  </a:cubicBezTo>
                  <a:cubicBezTo>
                    <a:pt x="17767" y="2633"/>
                    <a:pt x="17598" y="2495"/>
                    <a:pt x="17477" y="2376"/>
                  </a:cubicBezTo>
                  <a:cubicBezTo>
                    <a:pt x="17571" y="2300"/>
                    <a:pt x="17789" y="2125"/>
                    <a:pt x="18004" y="1949"/>
                  </a:cubicBezTo>
                  <a:lnTo>
                    <a:pt x="18004" y="1864"/>
                  </a:lnTo>
                  <a:close/>
                  <a:moveTo>
                    <a:pt x="2973" y="242"/>
                  </a:moveTo>
                  <a:cubicBezTo>
                    <a:pt x="2975" y="243"/>
                    <a:pt x="2978" y="244"/>
                    <a:pt x="2980" y="246"/>
                  </a:cubicBezTo>
                  <a:cubicBezTo>
                    <a:pt x="3010" y="263"/>
                    <a:pt x="3052" y="286"/>
                    <a:pt x="3099" y="314"/>
                  </a:cubicBezTo>
                  <a:cubicBezTo>
                    <a:pt x="3194" y="370"/>
                    <a:pt x="3312" y="442"/>
                    <a:pt x="3399" y="507"/>
                  </a:cubicBezTo>
                  <a:cubicBezTo>
                    <a:pt x="3457" y="549"/>
                    <a:pt x="3503" y="592"/>
                    <a:pt x="3514" y="609"/>
                  </a:cubicBezTo>
                  <a:cubicBezTo>
                    <a:pt x="3544" y="655"/>
                    <a:pt x="3569" y="731"/>
                    <a:pt x="3583" y="806"/>
                  </a:cubicBezTo>
                  <a:cubicBezTo>
                    <a:pt x="3597" y="876"/>
                    <a:pt x="3603" y="946"/>
                    <a:pt x="3603" y="991"/>
                  </a:cubicBezTo>
                  <a:cubicBezTo>
                    <a:pt x="3602" y="987"/>
                    <a:pt x="3601" y="984"/>
                    <a:pt x="3600" y="982"/>
                  </a:cubicBezTo>
                  <a:cubicBezTo>
                    <a:pt x="3587" y="945"/>
                    <a:pt x="3563" y="880"/>
                    <a:pt x="3538" y="815"/>
                  </a:cubicBezTo>
                  <a:cubicBezTo>
                    <a:pt x="3512" y="749"/>
                    <a:pt x="3485" y="685"/>
                    <a:pt x="3463" y="645"/>
                  </a:cubicBezTo>
                  <a:cubicBezTo>
                    <a:pt x="3423" y="571"/>
                    <a:pt x="3373" y="504"/>
                    <a:pt x="3303" y="458"/>
                  </a:cubicBezTo>
                  <a:cubicBezTo>
                    <a:pt x="3282" y="444"/>
                    <a:pt x="3252" y="428"/>
                    <a:pt x="3211" y="408"/>
                  </a:cubicBezTo>
                  <a:cubicBezTo>
                    <a:pt x="3171" y="387"/>
                    <a:pt x="3124" y="364"/>
                    <a:pt x="3078" y="342"/>
                  </a:cubicBezTo>
                  <a:cubicBezTo>
                    <a:pt x="3030" y="319"/>
                    <a:pt x="2983" y="297"/>
                    <a:pt x="2951" y="281"/>
                  </a:cubicBezTo>
                  <a:cubicBezTo>
                    <a:pt x="2959" y="268"/>
                    <a:pt x="2966" y="255"/>
                    <a:pt x="2973" y="242"/>
                  </a:cubicBezTo>
                  <a:close/>
                  <a:moveTo>
                    <a:pt x="2285" y="1567"/>
                  </a:moveTo>
                  <a:cubicBezTo>
                    <a:pt x="2285" y="1570"/>
                    <a:pt x="2285" y="1575"/>
                    <a:pt x="2286" y="1579"/>
                  </a:cubicBezTo>
                  <a:cubicBezTo>
                    <a:pt x="2288" y="1604"/>
                    <a:pt x="2294" y="1654"/>
                    <a:pt x="2302" y="1706"/>
                  </a:cubicBezTo>
                  <a:cubicBezTo>
                    <a:pt x="759" y="2095"/>
                    <a:pt x="759" y="2095"/>
                    <a:pt x="759" y="2095"/>
                  </a:cubicBezTo>
                  <a:cubicBezTo>
                    <a:pt x="667" y="1892"/>
                    <a:pt x="588" y="1718"/>
                    <a:pt x="556" y="1649"/>
                  </a:cubicBezTo>
                  <a:cubicBezTo>
                    <a:pt x="571" y="1642"/>
                    <a:pt x="586" y="1635"/>
                    <a:pt x="603" y="1628"/>
                  </a:cubicBezTo>
                  <a:cubicBezTo>
                    <a:pt x="716" y="1578"/>
                    <a:pt x="858" y="1516"/>
                    <a:pt x="973" y="1471"/>
                  </a:cubicBezTo>
                  <a:cubicBezTo>
                    <a:pt x="1074" y="1430"/>
                    <a:pt x="1262" y="1358"/>
                    <a:pt x="1449" y="1283"/>
                  </a:cubicBezTo>
                  <a:cubicBezTo>
                    <a:pt x="1637" y="1207"/>
                    <a:pt x="1825" y="1129"/>
                    <a:pt x="1933" y="1073"/>
                  </a:cubicBezTo>
                  <a:cubicBezTo>
                    <a:pt x="1965" y="1057"/>
                    <a:pt x="1989" y="1043"/>
                    <a:pt x="2010" y="1028"/>
                  </a:cubicBezTo>
                  <a:cubicBezTo>
                    <a:pt x="2049" y="998"/>
                    <a:pt x="2093" y="950"/>
                    <a:pt x="2147" y="888"/>
                  </a:cubicBezTo>
                  <a:cubicBezTo>
                    <a:pt x="2200" y="827"/>
                    <a:pt x="2259" y="755"/>
                    <a:pt x="2314" y="685"/>
                  </a:cubicBezTo>
                  <a:cubicBezTo>
                    <a:pt x="2409" y="567"/>
                    <a:pt x="2493" y="456"/>
                    <a:pt x="2516" y="425"/>
                  </a:cubicBezTo>
                  <a:cubicBezTo>
                    <a:pt x="2556" y="440"/>
                    <a:pt x="2599" y="449"/>
                    <a:pt x="2644" y="449"/>
                  </a:cubicBezTo>
                  <a:cubicBezTo>
                    <a:pt x="2714" y="449"/>
                    <a:pt x="2779" y="429"/>
                    <a:pt x="2834" y="395"/>
                  </a:cubicBezTo>
                  <a:cubicBezTo>
                    <a:pt x="2855" y="405"/>
                    <a:pt x="2904" y="428"/>
                    <a:pt x="2947" y="448"/>
                  </a:cubicBezTo>
                  <a:cubicBezTo>
                    <a:pt x="3008" y="477"/>
                    <a:pt x="3084" y="514"/>
                    <a:pt x="3142" y="544"/>
                  </a:cubicBezTo>
                  <a:cubicBezTo>
                    <a:pt x="3180" y="563"/>
                    <a:pt x="3212" y="580"/>
                    <a:pt x="3219" y="585"/>
                  </a:cubicBezTo>
                  <a:cubicBezTo>
                    <a:pt x="3260" y="612"/>
                    <a:pt x="3296" y="656"/>
                    <a:pt x="3329" y="718"/>
                  </a:cubicBezTo>
                  <a:cubicBezTo>
                    <a:pt x="3344" y="744"/>
                    <a:pt x="3371" y="808"/>
                    <a:pt x="3396" y="871"/>
                  </a:cubicBezTo>
                  <a:cubicBezTo>
                    <a:pt x="3421" y="934"/>
                    <a:pt x="3444" y="998"/>
                    <a:pt x="3456" y="1032"/>
                  </a:cubicBezTo>
                  <a:cubicBezTo>
                    <a:pt x="3467" y="1062"/>
                    <a:pt x="3499" y="1144"/>
                    <a:pt x="3539" y="1243"/>
                  </a:cubicBezTo>
                  <a:cubicBezTo>
                    <a:pt x="3578" y="1341"/>
                    <a:pt x="3625" y="1453"/>
                    <a:pt x="3663" y="1540"/>
                  </a:cubicBezTo>
                  <a:cubicBezTo>
                    <a:pt x="3688" y="1598"/>
                    <a:pt x="3708" y="1641"/>
                    <a:pt x="3723" y="1668"/>
                  </a:cubicBezTo>
                  <a:cubicBezTo>
                    <a:pt x="3742" y="1700"/>
                    <a:pt x="3764" y="1737"/>
                    <a:pt x="3788" y="1774"/>
                  </a:cubicBezTo>
                  <a:cubicBezTo>
                    <a:pt x="3758" y="1783"/>
                    <a:pt x="3718" y="1796"/>
                    <a:pt x="3673" y="1808"/>
                  </a:cubicBezTo>
                  <a:cubicBezTo>
                    <a:pt x="3583" y="1834"/>
                    <a:pt x="3475" y="1859"/>
                    <a:pt x="3419" y="1859"/>
                  </a:cubicBezTo>
                  <a:cubicBezTo>
                    <a:pt x="3413" y="1859"/>
                    <a:pt x="3408" y="1858"/>
                    <a:pt x="3403" y="1858"/>
                  </a:cubicBezTo>
                  <a:cubicBezTo>
                    <a:pt x="3357" y="1853"/>
                    <a:pt x="3287" y="1835"/>
                    <a:pt x="3227" y="1817"/>
                  </a:cubicBezTo>
                  <a:cubicBezTo>
                    <a:pt x="3183" y="1803"/>
                    <a:pt x="3141" y="1788"/>
                    <a:pt x="3120" y="1780"/>
                  </a:cubicBezTo>
                  <a:cubicBezTo>
                    <a:pt x="3127" y="1767"/>
                    <a:pt x="3132" y="1753"/>
                    <a:pt x="3134" y="1740"/>
                  </a:cubicBezTo>
                  <a:cubicBezTo>
                    <a:pt x="3137" y="1723"/>
                    <a:pt x="3138" y="1703"/>
                    <a:pt x="3138" y="1682"/>
                  </a:cubicBezTo>
                  <a:cubicBezTo>
                    <a:pt x="3137" y="1615"/>
                    <a:pt x="3129" y="1533"/>
                    <a:pt x="3103" y="1480"/>
                  </a:cubicBezTo>
                  <a:cubicBezTo>
                    <a:pt x="3073" y="1418"/>
                    <a:pt x="3013" y="1351"/>
                    <a:pt x="2896" y="1344"/>
                  </a:cubicBezTo>
                  <a:cubicBezTo>
                    <a:pt x="2883" y="1343"/>
                    <a:pt x="2867" y="1342"/>
                    <a:pt x="2851" y="1342"/>
                  </a:cubicBezTo>
                  <a:cubicBezTo>
                    <a:pt x="2728" y="1342"/>
                    <a:pt x="2531" y="1367"/>
                    <a:pt x="2436" y="1394"/>
                  </a:cubicBezTo>
                  <a:cubicBezTo>
                    <a:pt x="2328" y="1422"/>
                    <a:pt x="2284" y="1502"/>
                    <a:pt x="2285" y="1567"/>
                  </a:cubicBezTo>
                  <a:close/>
                  <a:moveTo>
                    <a:pt x="2545" y="1903"/>
                  </a:moveTo>
                  <a:cubicBezTo>
                    <a:pt x="2540" y="1903"/>
                    <a:pt x="2536" y="1903"/>
                    <a:pt x="2531" y="1903"/>
                  </a:cubicBezTo>
                  <a:cubicBezTo>
                    <a:pt x="2460" y="1903"/>
                    <a:pt x="2416" y="1878"/>
                    <a:pt x="2401" y="1844"/>
                  </a:cubicBezTo>
                  <a:cubicBezTo>
                    <a:pt x="2392" y="1825"/>
                    <a:pt x="2379" y="1767"/>
                    <a:pt x="2370" y="1712"/>
                  </a:cubicBezTo>
                  <a:cubicBezTo>
                    <a:pt x="2360" y="1655"/>
                    <a:pt x="2353" y="1598"/>
                    <a:pt x="2351" y="1574"/>
                  </a:cubicBezTo>
                  <a:cubicBezTo>
                    <a:pt x="2351" y="1572"/>
                    <a:pt x="2351" y="1569"/>
                    <a:pt x="2351" y="1567"/>
                  </a:cubicBezTo>
                  <a:cubicBezTo>
                    <a:pt x="2352" y="1528"/>
                    <a:pt x="2370" y="1482"/>
                    <a:pt x="2454" y="1457"/>
                  </a:cubicBezTo>
                  <a:cubicBezTo>
                    <a:pt x="2538" y="1433"/>
                    <a:pt x="2737" y="1407"/>
                    <a:pt x="2851" y="1408"/>
                  </a:cubicBezTo>
                  <a:cubicBezTo>
                    <a:pt x="2866" y="1408"/>
                    <a:pt x="2880" y="1408"/>
                    <a:pt x="2891" y="1409"/>
                  </a:cubicBezTo>
                  <a:cubicBezTo>
                    <a:pt x="2986" y="1418"/>
                    <a:pt x="3016" y="1457"/>
                    <a:pt x="3044" y="1509"/>
                  </a:cubicBezTo>
                  <a:cubicBezTo>
                    <a:pt x="3061" y="1542"/>
                    <a:pt x="3073" y="1622"/>
                    <a:pt x="3072" y="1682"/>
                  </a:cubicBezTo>
                  <a:cubicBezTo>
                    <a:pt x="3072" y="1701"/>
                    <a:pt x="3071" y="1718"/>
                    <a:pt x="3069" y="1731"/>
                  </a:cubicBezTo>
                  <a:cubicBezTo>
                    <a:pt x="3102" y="1735"/>
                    <a:pt x="3102" y="1735"/>
                    <a:pt x="3102" y="1735"/>
                  </a:cubicBezTo>
                  <a:cubicBezTo>
                    <a:pt x="3069" y="1731"/>
                    <a:pt x="3069" y="1731"/>
                    <a:pt x="3069" y="1731"/>
                  </a:cubicBezTo>
                  <a:cubicBezTo>
                    <a:pt x="3069" y="1741"/>
                    <a:pt x="3054" y="1772"/>
                    <a:pt x="3027" y="1799"/>
                  </a:cubicBezTo>
                  <a:cubicBezTo>
                    <a:pt x="3001" y="1827"/>
                    <a:pt x="2965" y="1854"/>
                    <a:pt x="2924" y="1868"/>
                  </a:cubicBezTo>
                  <a:cubicBezTo>
                    <a:pt x="2883" y="1882"/>
                    <a:pt x="2809" y="1891"/>
                    <a:pt x="2736" y="1895"/>
                  </a:cubicBezTo>
                  <a:cubicBezTo>
                    <a:pt x="2662" y="1900"/>
                    <a:pt x="2589" y="1900"/>
                    <a:pt x="2545" y="1903"/>
                  </a:cubicBezTo>
                  <a:close/>
                  <a:moveTo>
                    <a:pt x="3099" y="1832"/>
                  </a:moveTo>
                  <a:cubicBezTo>
                    <a:pt x="3095" y="1820"/>
                    <a:pt x="3095" y="1820"/>
                    <a:pt x="3095" y="1820"/>
                  </a:cubicBezTo>
                  <a:cubicBezTo>
                    <a:pt x="3095" y="1820"/>
                    <a:pt x="3095" y="1820"/>
                    <a:pt x="3095" y="1820"/>
                  </a:cubicBezTo>
                  <a:lnTo>
                    <a:pt x="3099" y="1832"/>
                  </a:lnTo>
                  <a:close/>
                  <a:moveTo>
                    <a:pt x="2781" y="1957"/>
                  </a:moveTo>
                  <a:cubicBezTo>
                    <a:pt x="2842" y="1952"/>
                    <a:pt x="2901" y="1945"/>
                    <a:pt x="2945" y="1930"/>
                  </a:cubicBezTo>
                  <a:cubicBezTo>
                    <a:pt x="2998" y="1911"/>
                    <a:pt x="3043" y="1878"/>
                    <a:pt x="3075" y="1844"/>
                  </a:cubicBezTo>
                  <a:cubicBezTo>
                    <a:pt x="3078" y="1841"/>
                    <a:pt x="3080" y="1838"/>
                    <a:pt x="3083" y="1835"/>
                  </a:cubicBezTo>
                  <a:cubicBezTo>
                    <a:pt x="3083" y="1835"/>
                    <a:pt x="3084" y="1836"/>
                    <a:pt x="3084" y="1836"/>
                  </a:cubicBezTo>
                  <a:cubicBezTo>
                    <a:pt x="3091" y="1839"/>
                    <a:pt x="3100" y="1842"/>
                    <a:pt x="3110" y="1846"/>
                  </a:cubicBezTo>
                  <a:cubicBezTo>
                    <a:pt x="3132" y="1854"/>
                    <a:pt x="3161" y="1864"/>
                    <a:pt x="3193" y="1875"/>
                  </a:cubicBezTo>
                  <a:cubicBezTo>
                    <a:pt x="3258" y="1895"/>
                    <a:pt x="3337" y="1917"/>
                    <a:pt x="3396" y="1923"/>
                  </a:cubicBezTo>
                  <a:cubicBezTo>
                    <a:pt x="3403" y="1924"/>
                    <a:pt x="3411" y="1924"/>
                    <a:pt x="3419" y="1924"/>
                  </a:cubicBezTo>
                  <a:cubicBezTo>
                    <a:pt x="3491" y="1924"/>
                    <a:pt x="3598" y="1897"/>
                    <a:pt x="3691" y="1871"/>
                  </a:cubicBezTo>
                  <a:cubicBezTo>
                    <a:pt x="3748" y="1855"/>
                    <a:pt x="3798" y="1840"/>
                    <a:pt x="3829" y="1830"/>
                  </a:cubicBezTo>
                  <a:cubicBezTo>
                    <a:pt x="3856" y="1865"/>
                    <a:pt x="3885" y="1896"/>
                    <a:pt x="3926" y="1919"/>
                  </a:cubicBezTo>
                  <a:cubicBezTo>
                    <a:pt x="3960" y="1937"/>
                    <a:pt x="3995" y="1944"/>
                    <a:pt x="4033" y="1949"/>
                  </a:cubicBezTo>
                  <a:cubicBezTo>
                    <a:pt x="4070" y="1954"/>
                    <a:pt x="4108" y="1955"/>
                    <a:pt x="4144" y="1955"/>
                  </a:cubicBezTo>
                  <a:cubicBezTo>
                    <a:pt x="4177" y="1955"/>
                    <a:pt x="4207" y="1954"/>
                    <a:pt x="4232" y="1952"/>
                  </a:cubicBezTo>
                  <a:cubicBezTo>
                    <a:pt x="4255" y="1950"/>
                    <a:pt x="4338" y="1946"/>
                    <a:pt x="4435" y="1941"/>
                  </a:cubicBezTo>
                  <a:cubicBezTo>
                    <a:pt x="4400" y="1976"/>
                    <a:pt x="4354" y="2021"/>
                    <a:pt x="4298" y="2068"/>
                  </a:cubicBezTo>
                  <a:cubicBezTo>
                    <a:pt x="4172" y="2175"/>
                    <a:pt x="4002" y="2291"/>
                    <a:pt x="3829" y="2332"/>
                  </a:cubicBezTo>
                  <a:cubicBezTo>
                    <a:pt x="3704" y="2361"/>
                    <a:pt x="3639" y="2361"/>
                    <a:pt x="3482" y="2376"/>
                  </a:cubicBezTo>
                  <a:cubicBezTo>
                    <a:pt x="3345" y="2389"/>
                    <a:pt x="3190" y="2402"/>
                    <a:pt x="3069" y="2411"/>
                  </a:cubicBezTo>
                  <a:cubicBezTo>
                    <a:pt x="2984" y="2418"/>
                    <a:pt x="2917" y="2423"/>
                    <a:pt x="2880" y="2426"/>
                  </a:cubicBezTo>
                  <a:lnTo>
                    <a:pt x="2781" y="1957"/>
                  </a:lnTo>
                  <a:close/>
                  <a:moveTo>
                    <a:pt x="2894" y="2491"/>
                  </a:moveTo>
                  <a:cubicBezTo>
                    <a:pt x="2900" y="2491"/>
                    <a:pt x="2907" y="2490"/>
                    <a:pt x="2914" y="2489"/>
                  </a:cubicBezTo>
                  <a:cubicBezTo>
                    <a:pt x="2952" y="2487"/>
                    <a:pt x="3004" y="2482"/>
                    <a:pt x="3066" y="2478"/>
                  </a:cubicBezTo>
                  <a:cubicBezTo>
                    <a:pt x="3189" y="2468"/>
                    <a:pt x="3347" y="2455"/>
                    <a:pt x="3488" y="2441"/>
                  </a:cubicBezTo>
                  <a:cubicBezTo>
                    <a:pt x="3596" y="2431"/>
                    <a:pt x="3663" y="2428"/>
                    <a:pt x="3739" y="2416"/>
                  </a:cubicBezTo>
                  <a:cubicBezTo>
                    <a:pt x="3821" y="2784"/>
                    <a:pt x="3821" y="2784"/>
                    <a:pt x="3821" y="2784"/>
                  </a:cubicBezTo>
                  <a:cubicBezTo>
                    <a:pt x="3819" y="2784"/>
                    <a:pt x="3816" y="2784"/>
                    <a:pt x="3814" y="2784"/>
                  </a:cubicBezTo>
                  <a:cubicBezTo>
                    <a:pt x="3446" y="2804"/>
                    <a:pt x="3306" y="2825"/>
                    <a:pt x="3305" y="2825"/>
                  </a:cubicBezTo>
                  <a:cubicBezTo>
                    <a:pt x="3291" y="2827"/>
                    <a:pt x="3291" y="2827"/>
                    <a:pt x="3291" y="2827"/>
                  </a:cubicBezTo>
                  <a:cubicBezTo>
                    <a:pt x="3295" y="2854"/>
                    <a:pt x="3295" y="2854"/>
                    <a:pt x="3295" y="2854"/>
                  </a:cubicBezTo>
                  <a:cubicBezTo>
                    <a:pt x="3285" y="2855"/>
                    <a:pt x="3270" y="2856"/>
                    <a:pt x="3253" y="2858"/>
                  </a:cubicBezTo>
                  <a:cubicBezTo>
                    <a:pt x="3219" y="2861"/>
                    <a:pt x="3172" y="2866"/>
                    <a:pt x="3126" y="2870"/>
                  </a:cubicBezTo>
                  <a:cubicBezTo>
                    <a:pt x="3069" y="2876"/>
                    <a:pt x="3012" y="2881"/>
                    <a:pt x="2977" y="2884"/>
                  </a:cubicBezTo>
                  <a:lnTo>
                    <a:pt x="2894" y="2491"/>
                  </a:lnTo>
                  <a:close/>
                  <a:moveTo>
                    <a:pt x="2980" y="2898"/>
                  </a:moveTo>
                  <a:cubicBezTo>
                    <a:pt x="3058" y="2891"/>
                    <a:pt x="3242" y="2873"/>
                    <a:pt x="3297" y="2868"/>
                  </a:cubicBezTo>
                  <a:cubicBezTo>
                    <a:pt x="3300" y="2892"/>
                    <a:pt x="3300" y="2892"/>
                    <a:pt x="3300" y="2892"/>
                  </a:cubicBezTo>
                  <a:cubicBezTo>
                    <a:pt x="3315" y="2890"/>
                    <a:pt x="3348" y="2885"/>
                    <a:pt x="3428" y="2877"/>
                  </a:cubicBezTo>
                  <a:cubicBezTo>
                    <a:pt x="3508" y="2870"/>
                    <a:pt x="3634" y="2860"/>
                    <a:pt x="3818" y="2850"/>
                  </a:cubicBezTo>
                  <a:cubicBezTo>
                    <a:pt x="3831" y="2849"/>
                    <a:pt x="3845" y="2848"/>
                    <a:pt x="3859" y="2848"/>
                  </a:cubicBezTo>
                  <a:cubicBezTo>
                    <a:pt x="3895" y="2848"/>
                    <a:pt x="3932" y="2851"/>
                    <a:pt x="3969" y="2855"/>
                  </a:cubicBezTo>
                  <a:cubicBezTo>
                    <a:pt x="3970" y="2867"/>
                    <a:pt x="3970" y="2881"/>
                    <a:pt x="3970" y="2899"/>
                  </a:cubicBezTo>
                  <a:cubicBezTo>
                    <a:pt x="3971" y="2941"/>
                    <a:pt x="3971" y="2998"/>
                    <a:pt x="3971" y="3060"/>
                  </a:cubicBezTo>
                  <a:cubicBezTo>
                    <a:pt x="3928" y="3058"/>
                    <a:pt x="3544" y="3046"/>
                    <a:pt x="3533" y="3046"/>
                  </a:cubicBezTo>
                  <a:cubicBezTo>
                    <a:pt x="3521" y="3046"/>
                    <a:pt x="3191" y="3054"/>
                    <a:pt x="3191" y="3054"/>
                  </a:cubicBezTo>
                  <a:cubicBezTo>
                    <a:pt x="3015" y="3064"/>
                    <a:pt x="3015" y="3064"/>
                    <a:pt x="3015" y="3064"/>
                  </a:cubicBezTo>
                  <a:lnTo>
                    <a:pt x="2980" y="2898"/>
                  </a:lnTo>
                  <a:close/>
                  <a:moveTo>
                    <a:pt x="3969" y="3505"/>
                  </a:moveTo>
                  <a:cubicBezTo>
                    <a:pt x="3913" y="3483"/>
                    <a:pt x="3585" y="3353"/>
                    <a:pt x="3585" y="3353"/>
                  </a:cubicBezTo>
                  <a:cubicBezTo>
                    <a:pt x="3583" y="3352"/>
                    <a:pt x="3583" y="3352"/>
                    <a:pt x="3583" y="3352"/>
                  </a:cubicBezTo>
                  <a:cubicBezTo>
                    <a:pt x="3077" y="3360"/>
                    <a:pt x="3077" y="3360"/>
                    <a:pt x="3077" y="3360"/>
                  </a:cubicBezTo>
                  <a:cubicBezTo>
                    <a:pt x="3051" y="3235"/>
                    <a:pt x="3051" y="3235"/>
                    <a:pt x="3051" y="3235"/>
                  </a:cubicBezTo>
                  <a:cubicBezTo>
                    <a:pt x="3600" y="3238"/>
                    <a:pt x="3600" y="3238"/>
                    <a:pt x="3600" y="3238"/>
                  </a:cubicBezTo>
                  <a:cubicBezTo>
                    <a:pt x="3971" y="3305"/>
                    <a:pt x="3971" y="3305"/>
                    <a:pt x="3971" y="3305"/>
                  </a:cubicBezTo>
                  <a:cubicBezTo>
                    <a:pt x="3970" y="3387"/>
                    <a:pt x="3970" y="3459"/>
                    <a:pt x="3969" y="3505"/>
                  </a:cubicBezTo>
                  <a:close/>
                  <a:moveTo>
                    <a:pt x="3971" y="3291"/>
                  </a:moveTo>
                  <a:cubicBezTo>
                    <a:pt x="3602" y="3224"/>
                    <a:pt x="3602" y="3224"/>
                    <a:pt x="3602" y="3224"/>
                  </a:cubicBezTo>
                  <a:cubicBezTo>
                    <a:pt x="3048" y="3221"/>
                    <a:pt x="3048" y="3221"/>
                    <a:pt x="3048" y="3221"/>
                  </a:cubicBezTo>
                  <a:cubicBezTo>
                    <a:pt x="3018" y="3078"/>
                    <a:pt x="3018" y="3078"/>
                    <a:pt x="3018" y="3078"/>
                  </a:cubicBezTo>
                  <a:cubicBezTo>
                    <a:pt x="3191" y="3068"/>
                    <a:pt x="3191" y="3068"/>
                    <a:pt x="3191" y="3068"/>
                  </a:cubicBezTo>
                  <a:cubicBezTo>
                    <a:pt x="3192" y="3068"/>
                    <a:pt x="3522" y="3060"/>
                    <a:pt x="3533" y="3060"/>
                  </a:cubicBezTo>
                  <a:cubicBezTo>
                    <a:pt x="3543" y="3060"/>
                    <a:pt x="3935" y="3073"/>
                    <a:pt x="3971" y="3074"/>
                  </a:cubicBezTo>
                  <a:cubicBezTo>
                    <a:pt x="3971" y="3075"/>
                    <a:pt x="3972" y="3077"/>
                    <a:pt x="3972" y="3079"/>
                  </a:cubicBezTo>
                  <a:cubicBezTo>
                    <a:pt x="3972" y="3148"/>
                    <a:pt x="3971" y="3222"/>
                    <a:pt x="3971" y="3291"/>
                  </a:cubicBezTo>
                  <a:close/>
                  <a:moveTo>
                    <a:pt x="4555" y="3586"/>
                  </a:moveTo>
                  <a:cubicBezTo>
                    <a:pt x="4516" y="3580"/>
                    <a:pt x="4396" y="3565"/>
                    <a:pt x="4276" y="3549"/>
                  </a:cubicBezTo>
                  <a:cubicBezTo>
                    <a:pt x="4144" y="3531"/>
                    <a:pt x="4010" y="3513"/>
                    <a:pt x="3983" y="3509"/>
                  </a:cubicBezTo>
                  <a:cubicBezTo>
                    <a:pt x="3983" y="3464"/>
                    <a:pt x="3984" y="3390"/>
                    <a:pt x="3985" y="3307"/>
                  </a:cubicBezTo>
                  <a:cubicBezTo>
                    <a:pt x="4054" y="3317"/>
                    <a:pt x="4471" y="3376"/>
                    <a:pt x="4580" y="3390"/>
                  </a:cubicBezTo>
                  <a:lnTo>
                    <a:pt x="4555" y="3586"/>
                  </a:lnTo>
                  <a:close/>
                  <a:moveTo>
                    <a:pt x="4582" y="3376"/>
                  </a:moveTo>
                  <a:cubicBezTo>
                    <a:pt x="4531" y="3370"/>
                    <a:pt x="4409" y="3353"/>
                    <a:pt x="4289" y="3336"/>
                  </a:cubicBezTo>
                  <a:cubicBezTo>
                    <a:pt x="4153" y="3317"/>
                    <a:pt x="4018" y="3298"/>
                    <a:pt x="3985" y="3293"/>
                  </a:cubicBezTo>
                  <a:cubicBezTo>
                    <a:pt x="3985" y="3224"/>
                    <a:pt x="3985" y="3148"/>
                    <a:pt x="3985" y="3079"/>
                  </a:cubicBezTo>
                  <a:cubicBezTo>
                    <a:pt x="3985" y="3078"/>
                    <a:pt x="3985" y="3077"/>
                    <a:pt x="3985" y="3075"/>
                  </a:cubicBezTo>
                  <a:cubicBezTo>
                    <a:pt x="4609" y="3169"/>
                    <a:pt x="4609" y="3169"/>
                    <a:pt x="4609" y="3169"/>
                  </a:cubicBezTo>
                  <a:lnTo>
                    <a:pt x="4582" y="3376"/>
                  </a:lnTo>
                  <a:close/>
                  <a:moveTo>
                    <a:pt x="4610" y="3156"/>
                  </a:moveTo>
                  <a:cubicBezTo>
                    <a:pt x="3985" y="3061"/>
                    <a:pt x="3985" y="3061"/>
                    <a:pt x="3985" y="3061"/>
                  </a:cubicBezTo>
                  <a:cubicBezTo>
                    <a:pt x="3985" y="2974"/>
                    <a:pt x="3985" y="2899"/>
                    <a:pt x="3983" y="2857"/>
                  </a:cubicBezTo>
                  <a:cubicBezTo>
                    <a:pt x="4212" y="2887"/>
                    <a:pt x="4452" y="2988"/>
                    <a:pt x="4569" y="3043"/>
                  </a:cubicBezTo>
                  <a:cubicBezTo>
                    <a:pt x="4591" y="3053"/>
                    <a:pt x="4609" y="3062"/>
                    <a:pt x="4621" y="3068"/>
                  </a:cubicBezTo>
                  <a:lnTo>
                    <a:pt x="4610" y="3156"/>
                  </a:lnTo>
                  <a:close/>
                  <a:moveTo>
                    <a:pt x="4630" y="2999"/>
                  </a:moveTo>
                  <a:cubicBezTo>
                    <a:pt x="4516" y="2943"/>
                    <a:pt x="4186" y="2793"/>
                    <a:pt x="3888" y="2783"/>
                  </a:cubicBezTo>
                  <a:cubicBezTo>
                    <a:pt x="3803" y="2405"/>
                    <a:pt x="3803" y="2405"/>
                    <a:pt x="3803" y="2405"/>
                  </a:cubicBezTo>
                  <a:cubicBezTo>
                    <a:pt x="3816" y="2402"/>
                    <a:pt x="3830" y="2399"/>
                    <a:pt x="3844" y="2396"/>
                  </a:cubicBezTo>
                  <a:cubicBezTo>
                    <a:pt x="4162" y="2319"/>
                    <a:pt x="4445" y="2029"/>
                    <a:pt x="4530" y="1936"/>
                  </a:cubicBezTo>
                  <a:cubicBezTo>
                    <a:pt x="4541" y="1936"/>
                    <a:pt x="4551" y="1935"/>
                    <a:pt x="4562" y="1934"/>
                  </a:cubicBezTo>
                  <a:cubicBezTo>
                    <a:pt x="4640" y="1931"/>
                    <a:pt x="4715" y="1927"/>
                    <a:pt x="4767" y="1925"/>
                  </a:cubicBezTo>
                  <a:lnTo>
                    <a:pt x="4630" y="2999"/>
                  </a:lnTo>
                  <a:close/>
                  <a:moveTo>
                    <a:pt x="4828" y="1769"/>
                  </a:moveTo>
                  <a:cubicBezTo>
                    <a:pt x="4803" y="1770"/>
                    <a:pt x="4683" y="1776"/>
                    <a:pt x="4555" y="1782"/>
                  </a:cubicBezTo>
                  <a:cubicBezTo>
                    <a:pt x="4439" y="1788"/>
                    <a:pt x="4319" y="1794"/>
                    <a:pt x="4255" y="1798"/>
                  </a:cubicBezTo>
                  <a:cubicBezTo>
                    <a:pt x="4602" y="766"/>
                    <a:pt x="4602" y="766"/>
                    <a:pt x="4602" y="766"/>
                  </a:cubicBezTo>
                  <a:cubicBezTo>
                    <a:pt x="5087" y="1084"/>
                    <a:pt x="5087" y="1084"/>
                    <a:pt x="5087" y="1084"/>
                  </a:cubicBezTo>
                  <a:cubicBezTo>
                    <a:pt x="5093" y="1136"/>
                    <a:pt x="5093" y="1136"/>
                    <a:pt x="5093" y="1136"/>
                  </a:cubicBezTo>
                  <a:cubicBezTo>
                    <a:pt x="5054" y="1728"/>
                    <a:pt x="5054" y="1728"/>
                    <a:pt x="5054" y="1728"/>
                  </a:cubicBezTo>
                  <a:lnTo>
                    <a:pt x="4828" y="1769"/>
                  </a:lnTo>
                  <a:close/>
                  <a:moveTo>
                    <a:pt x="5516" y="3513"/>
                  </a:moveTo>
                  <a:cubicBezTo>
                    <a:pt x="4947" y="3429"/>
                    <a:pt x="4947" y="3429"/>
                    <a:pt x="4947" y="3429"/>
                  </a:cubicBezTo>
                  <a:cubicBezTo>
                    <a:pt x="4956" y="3357"/>
                    <a:pt x="4965" y="3287"/>
                    <a:pt x="4974" y="3218"/>
                  </a:cubicBezTo>
                  <a:cubicBezTo>
                    <a:pt x="5538" y="3302"/>
                    <a:pt x="5538" y="3302"/>
                    <a:pt x="5538" y="3302"/>
                  </a:cubicBezTo>
                  <a:lnTo>
                    <a:pt x="5516" y="3513"/>
                  </a:lnTo>
                  <a:close/>
                  <a:moveTo>
                    <a:pt x="5539" y="3288"/>
                  </a:moveTo>
                  <a:cubicBezTo>
                    <a:pt x="4975" y="3204"/>
                    <a:pt x="4975" y="3204"/>
                    <a:pt x="4975" y="3204"/>
                  </a:cubicBezTo>
                  <a:cubicBezTo>
                    <a:pt x="5005" y="2972"/>
                    <a:pt x="5032" y="2755"/>
                    <a:pt x="5056" y="2566"/>
                  </a:cubicBezTo>
                  <a:cubicBezTo>
                    <a:pt x="5603" y="2656"/>
                    <a:pt x="5603" y="2656"/>
                    <a:pt x="5603" y="2656"/>
                  </a:cubicBezTo>
                  <a:lnTo>
                    <a:pt x="5539" y="3288"/>
                  </a:lnTo>
                  <a:close/>
                  <a:moveTo>
                    <a:pt x="5605" y="2642"/>
                  </a:moveTo>
                  <a:cubicBezTo>
                    <a:pt x="5058" y="2552"/>
                    <a:pt x="5058" y="2552"/>
                    <a:pt x="5058" y="2552"/>
                  </a:cubicBezTo>
                  <a:cubicBezTo>
                    <a:pt x="5098" y="2239"/>
                    <a:pt x="5127" y="2003"/>
                    <a:pt x="5141" y="1896"/>
                  </a:cubicBezTo>
                  <a:cubicBezTo>
                    <a:pt x="5202" y="1910"/>
                    <a:pt x="5288" y="1929"/>
                    <a:pt x="5374" y="1948"/>
                  </a:cubicBezTo>
                  <a:cubicBezTo>
                    <a:pt x="5497" y="1976"/>
                    <a:pt x="5621" y="2004"/>
                    <a:pt x="5667" y="2015"/>
                  </a:cubicBezTo>
                  <a:cubicBezTo>
                    <a:pt x="5668" y="2017"/>
                    <a:pt x="5668" y="2017"/>
                    <a:pt x="5668" y="2017"/>
                  </a:cubicBezTo>
                  <a:lnTo>
                    <a:pt x="5605" y="2642"/>
                  </a:lnTo>
                  <a:close/>
                  <a:moveTo>
                    <a:pt x="6695" y="1906"/>
                  </a:moveTo>
                  <a:cubicBezTo>
                    <a:pt x="6241" y="1889"/>
                    <a:pt x="5787" y="1873"/>
                    <a:pt x="5718" y="1871"/>
                  </a:cubicBezTo>
                  <a:cubicBezTo>
                    <a:pt x="5713" y="1870"/>
                    <a:pt x="5706" y="1868"/>
                    <a:pt x="5698" y="1866"/>
                  </a:cubicBezTo>
                  <a:cubicBezTo>
                    <a:pt x="5682" y="1862"/>
                    <a:pt x="5659" y="1857"/>
                    <a:pt x="5632" y="1851"/>
                  </a:cubicBezTo>
                  <a:cubicBezTo>
                    <a:pt x="5577" y="1838"/>
                    <a:pt x="5505" y="1822"/>
                    <a:pt x="5430" y="1805"/>
                  </a:cubicBezTo>
                  <a:cubicBezTo>
                    <a:pt x="5306" y="1777"/>
                    <a:pt x="5178" y="1748"/>
                    <a:pt x="5119" y="1735"/>
                  </a:cubicBezTo>
                  <a:cubicBezTo>
                    <a:pt x="5159" y="1135"/>
                    <a:pt x="5159" y="1135"/>
                    <a:pt x="5159" y="1135"/>
                  </a:cubicBezTo>
                  <a:cubicBezTo>
                    <a:pt x="5081" y="457"/>
                    <a:pt x="5081" y="457"/>
                    <a:pt x="5081" y="457"/>
                  </a:cubicBezTo>
                  <a:cubicBezTo>
                    <a:pt x="5082" y="440"/>
                    <a:pt x="5086" y="339"/>
                    <a:pt x="5090" y="203"/>
                  </a:cubicBezTo>
                  <a:cubicBezTo>
                    <a:pt x="5228" y="240"/>
                    <a:pt x="5903" y="420"/>
                    <a:pt x="6037" y="449"/>
                  </a:cubicBezTo>
                  <a:cubicBezTo>
                    <a:pt x="6133" y="471"/>
                    <a:pt x="6249" y="506"/>
                    <a:pt x="6410" y="506"/>
                  </a:cubicBezTo>
                  <a:cubicBezTo>
                    <a:pt x="6411" y="506"/>
                    <a:pt x="6411" y="506"/>
                    <a:pt x="6411" y="506"/>
                  </a:cubicBezTo>
                  <a:cubicBezTo>
                    <a:pt x="6484" y="506"/>
                    <a:pt x="6568" y="498"/>
                    <a:pt x="6662" y="479"/>
                  </a:cubicBezTo>
                  <a:cubicBezTo>
                    <a:pt x="7169" y="1923"/>
                    <a:pt x="7169" y="1923"/>
                    <a:pt x="7169" y="1923"/>
                  </a:cubicBezTo>
                  <a:cubicBezTo>
                    <a:pt x="7023" y="1917"/>
                    <a:pt x="6859" y="1911"/>
                    <a:pt x="6695" y="1906"/>
                  </a:cubicBezTo>
                  <a:close/>
                  <a:moveTo>
                    <a:pt x="10817" y="606"/>
                  </a:moveTo>
                  <a:cubicBezTo>
                    <a:pt x="10932" y="586"/>
                    <a:pt x="10932" y="586"/>
                    <a:pt x="10932" y="586"/>
                  </a:cubicBezTo>
                  <a:cubicBezTo>
                    <a:pt x="10907" y="441"/>
                    <a:pt x="10907" y="441"/>
                    <a:pt x="10907" y="441"/>
                  </a:cubicBezTo>
                  <a:cubicBezTo>
                    <a:pt x="10752" y="467"/>
                    <a:pt x="10752" y="467"/>
                    <a:pt x="10752" y="467"/>
                  </a:cubicBezTo>
                  <a:cubicBezTo>
                    <a:pt x="10738" y="387"/>
                    <a:pt x="10738" y="387"/>
                    <a:pt x="10738" y="387"/>
                  </a:cubicBezTo>
                  <a:cubicBezTo>
                    <a:pt x="10897" y="360"/>
                    <a:pt x="10897" y="360"/>
                    <a:pt x="10897" y="360"/>
                  </a:cubicBezTo>
                  <a:cubicBezTo>
                    <a:pt x="10889" y="313"/>
                    <a:pt x="10889" y="313"/>
                    <a:pt x="10889" y="313"/>
                  </a:cubicBezTo>
                  <a:cubicBezTo>
                    <a:pt x="11039" y="287"/>
                    <a:pt x="11039" y="287"/>
                    <a:pt x="11039" y="287"/>
                  </a:cubicBezTo>
                  <a:cubicBezTo>
                    <a:pt x="11022" y="189"/>
                    <a:pt x="11022" y="189"/>
                    <a:pt x="11022" y="189"/>
                  </a:cubicBezTo>
                  <a:cubicBezTo>
                    <a:pt x="11077" y="180"/>
                    <a:pt x="11077" y="180"/>
                    <a:pt x="11077" y="180"/>
                  </a:cubicBezTo>
                  <a:cubicBezTo>
                    <a:pt x="11096" y="278"/>
                    <a:pt x="11096" y="278"/>
                    <a:pt x="11096" y="278"/>
                  </a:cubicBezTo>
                  <a:cubicBezTo>
                    <a:pt x="11137" y="271"/>
                    <a:pt x="11137" y="271"/>
                    <a:pt x="11137" y="271"/>
                  </a:cubicBezTo>
                  <a:cubicBezTo>
                    <a:pt x="11165" y="439"/>
                    <a:pt x="11165" y="439"/>
                    <a:pt x="11165" y="439"/>
                  </a:cubicBezTo>
                  <a:cubicBezTo>
                    <a:pt x="11260" y="423"/>
                    <a:pt x="11260" y="423"/>
                    <a:pt x="11260" y="423"/>
                  </a:cubicBezTo>
                  <a:cubicBezTo>
                    <a:pt x="11278" y="525"/>
                    <a:pt x="11278" y="525"/>
                    <a:pt x="11278" y="525"/>
                  </a:cubicBezTo>
                  <a:cubicBezTo>
                    <a:pt x="11184" y="541"/>
                    <a:pt x="11184" y="541"/>
                    <a:pt x="11184" y="541"/>
                  </a:cubicBezTo>
                  <a:cubicBezTo>
                    <a:pt x="11192" y="591"/>
                    <a:pt x="11192" y="591"/>
                    <a:pt x="11192" y="591"/>
                  </a:cubicBezTo>
                  <a:cubicBezTo>
                    <a:pt x="10963" y="630"/>
                    <a:pt x="10963" y="630"/>
                    <a:pt x="10963" y="630"/>
                  </a:cubicBezTo>
                  <a:cubicBezTo>
                    <a:pt x="10986" y="764"/>
                    <a:pt x="10986" y="764"/>
                    <a:pt x="10986" y="764"/>
                  </a:cubicBezTo>
                  <a:cubicBezTo>
                    <a:pt x="10847" y="788"/>
                    <a:pt x="10847" y="788"/>
                    <a:pt x="10847" y="788"/>
                  </a:cubicBezTo>
                  <a:lnTo>
                    <a:pt x="10817" y="606"/>
                  </a:lnTo>
                  <a:close/>
                  <a:moveTo>
                    <a:pt x="7759" y="829"/>
                  </a:moveTo>
                  <a:cubicBezTo>
                    <a:pt x="7717" y="740"/>
                    <a:pt x="7663" y="622"/>
                    <a:pt x="7617" y="507"/>
                  </a:cubicBezTo>
                  <a:cubicBezTo>
                    <a:pt x="7579" y="414"/>
                    <a:pt x="7569" y="335"/>
                    <a:pt x="7569" y="275"/>
                  </a:cubicBezTo>
                  <a:cubicBezTo>
                    <a:pt x="7569" y="203"/>
                    <a:pt x="7584" y="158"/>
                    <a:pt x="7587" y="150"/>
                  </a:cubicBezTo>
                  <a:cubicBezTo>
                    <a:pt x="7658" y="22"/>
                    <a:pt x="7658" y="22"/>
                    <a:pt x="7658" y="22"/>
                  </a:cubicBezTo>
                  <a:cubicBezTo>
                    <a:pt x="8871" y="743"/>
                    <a:pt x="8871" y="743"/>
                    <a:pt x="8871" y="743"/>
                  </a:cubicBezTo>
                  <a:cubicBezTo>
                    <a:pt x="8874" y="765"/>
                    <a:pt x="8879" y="807"/>
                    <a:pt x="8886" y="863"/>
                  </a:cubicBezTo>
                  <a:cubicBezTo>
                    <a:pt x="8850" y="865"/>
                    <a:pt x="8788" y="870"/>
                    <a:pt x="8709" y="877"/>
                  </a:cubicBezTo>
                  <a:cubicBezTo>
                    <a:pt x="8601" y="886"/>
                    <a:pt x="8464" y="899"/>
                    <a:pt x="8329" y="911"/>
                  </a:cubicBezTo>
                  <a:cubicBezTo>
                    <a:pt x="8106" y="931"/>
                    <a:pt x="7890" y="952"/>
                    <a:pt x="7822" y="958"/>
                  </a:cubicBezTo>
                  <a:cubicBezTo>
                    <a:pt x="7810" y="934"/>
                    <a:pt x="7787" y="888"/>
                    <a:pt x="7759" y="829"/>
                  </a:cubicBezTo>
                  <a:close/>
                  <a:moveTo>
                    <a:pt x="7885" y="1957"/>
                  </a:moveTo>
                  <a:cubicBezTo>
                    <a:pt x="7866" y="1954"/>
                    <a:pt x="7846" y="1952"/>
                    <a:pt x="7827" y="1950"/>
                  </a:cubicBezTo>
                  <a:cubicBezTo>
                    <a:pt x="7914" y="1711"/>
                    <a:pt x="7914" y="1711"/>
                    <a:pt x="7914" y="1711"/>
                  </a:cubicBezTo>
                  <a:cubicBezTo>
                    <a:pt x="7839" y="1022"/>
                    <a:pt x="7839" y="1022"/>
                    <a:pt x="7839" y="1022"/>
                  </a:cubicBezTo>
                  <a:cubicBezTo>
                    <a:pt x="7892" y="1017"/>
                    <a:pt x="8005" y="1007"/>
                    <a:pt x="8139" y="994"/>
                  </a:cubicBezTo>
                  <a:cubicBezTo>
                    <a:pt x="8326" y="977"/>
                    <a:pt x="8553" y="956"/>
                    <a:pt x="8714" y="942"/>
                  </a:cubicBezTo>
                  <a:cubicBezTo>
                    <a:pt x="8795" y="935"/>
                    <a:pt x="8861" y="930"/>
                    <a:pt x="8895" y="928"/>
                  </a:cubicBezTo>
                  <a:cubicBezTo>
                    <a:pt x="8900" y="969"/>
                    <a:pt x="8905" y="1013"/>
                    <a:pt x="8911" y="1060"/>
                  </a:cubicBezTo>
                  <a:cubicBezTo>
                    <a:pt x="8934" y="1245"/>
                    <a:pt x="8962" y="1466"/>
                    <a:pt x="8978" y="1613"/>
                  </a:cubicBezTo>
                  <a:cubicBezTo>
                    <a:pt x="8981" y="1641"/>
                    <a:pt x="8983" y="1668"/>
                    <a:pt x="8983" y="1695"/>
                  </a:cubicBezTo>
                  <a:cubicBezTo>
                    <a:pt x="8983" y="1901"/>
                    <a:pt x="8898" y="2064"/>
                    <a:pt x="8875" y="2104"/>
                  </a:cubicBezTo>
                  <a:cubicBezTo>
                    <a:pt x="8367" y="2028"/>
                    <a:pt x="7923" y="1962"/>
                    <a:pt x="7885" y="1957"/>
                  </a:cubicBezTo>
                  <a:close/>
                  <a:moveTo>
                    <a:pt x="8944" y="2114"/>
                  </a:moveTo>
                  <a:cubicBezTo>
                    <a:pt x="8979" y="2047"/>
                    <a:pt x="9048" y="1891"/>
                    <a:pt x="9048" y="1695"/>
                  </a:cubicBezTo>
                  <a:cubicBezTo>
                    <a:pt x="9048" y="1666"/>
                    <a:pt x="9047" y="1636"/>
                    <a:pt x="9043" y="1605"/>
                  </a:cubicBezTo>
                  <a:cubicBezTo>
                    <a:pt x="9013" y="1332"/>
                    <a:pt x="8945" y="802"/>
                    <a:pt x="8935" y="728"/>
                  </a:cubicBezTo>
                  <a:cubicBezTo>
                    <a:pt x="8936" y="726"/>
                    <a:pt x="8937" y="725"/>
                    <a:pt x="8938" y="723"/>
                  </a:cubicBezTo>
                  <a:cubicBezTo>
                    <a:pt x="8947" y="711"/>
                    <a:pt x="8959" y="694"/>
                    <a:pt x="8973" y="674"/>
                  </a:cubicBezTo>
                  <a:cubicBezTo>
                    <a:pt x="9000" y="635"/>
                    <a:pt x="9035" y="582"/>
                    <a:pt x="9069" y="530"/>
                  </a:cubicBezTo>
                  <a:cubicBezTo>
                    <a:pt x="9122" y="449"/>
                    <a:pt x="9174" y="369"/>
                    <a:pt x="9196" y="336"/>
                  </a:cubicBezTo>
                  <a:cubicBezTo>
                    <a:pt x="10193" y="350"/>
                    <a:pt x="10193" y="350"/>
                    <a:pt x="10193" y="350"/>
                  </a:cubicBezTo>
                  <a:cubicBezTo>
                    <a:pt x="10198" y="400"/>
                    <a:pt x="10209" y="509"/>
                    <a:pt x="10220" y="619"/>
                  </a:cubicBezTo>
                  <a:cubicBezTo>
                    <a:pt x="10233" y="749"/>
                    <a:pt x="10246" y="882"/>
                    <a:pt x="10250" y="923"/>
                  </a:cubicBezTo>
                  <a:cubicBezTo>
                    <a:pt x="10116" y="1096"/>
                    <a:pt x="10116" y="1096"/>
                    <a:pt x="10116" y="1096"/>
                  </a:cubicBezTo>
                  <a:cubicBezTo>
                    <a:pt x="10140" y="1765"/>
                    <a:pt x="10140" y="1765"/>
                    <a:pt x="10140" y="1765"/>
                  </a:cubicBezTo>
                  <a:cubicBezTo>
                    <a:pt x="9986" y="1891"/>
                    <a:pt x="9986" y="1891"/>
                    <a:pt x="9986" y="1891"/>
                  </a:cubicBezTo>
                  <a:cubicBezTo>
                    <a:pt x="9864" y="2251"/>
                    <a:pt x="9864" y="2251"/>
                    <a:pt x="9864" y="2251"/>
                  </a:cubicBezTo>
                  <a:cubicBezTo>
                    <a:pt x="9593" y="2210"/>
                    <a:pt x="9260" y="2161"/>
                    <a:pt x="8944" y="2114"/>
                  </a:cubicBezTo>
                  <a:close/>
                  <a:moveTo>
                    <a:pt x="12939" y="2718"/>
                  </a:moveTo>
                  <a:cubicBezTo>
                    <a:pt x="12838" y="2931"/>
                    <a:pt x="12707" y="3209"/>
                    <a:pt x="12566" y="3502"/>
                  </a:cubicBezTo>
                  <a:cubicBezTo>
                    <a:pt x="11657" y="2919"/>
                    <a:pt x="11657" y="2919"/>
                    <a:pt x="11657" y="2919"/>
                  </a:cubicBezTo>
                  <a:cubicBezTo>
                    <a:pt x="11578" y="2869"/>
                    <a:pt x="11399" y="2766"/>
                    <a:pt x="11218" y="2666"/>
                  </a:cubicBezTo>
                  <a:cubicBezTo>
                    <a:pt x="11036" y="2565"/>
                    <a:pt x="10856" y="2468"/>
                    <a:pt x="10772" y="2430"/>
                  </a:cubicBezTo>
                  <a:cubicBezTo>
                    <a:pt x="10612" y="2358"/>
                    <a:pt x="10452" y="2338"/>
                    <a:pt x="10429" y="2335"/>
                  </a:cubicBezTo>
                  <a:cubicBezTo>
                    <a:pt x="10424" y="2334"/>
                    <a:pt x="10220" y="2304"/>
                    <a:pt x="9930" y="2261"/>
                  </a:cubicBezTo>
                  <a:cubicBezTo>
                    <a:pt x="10042" y="1930"/>
                    <a:pt x="10042" y="1930"/>
                    <a:pt x="10042" y="1930"/>
                  </a:cubicBezTo>
                  <a:cubicBezTo>
                    <a:pt x="10207" y="1795"/>
                    <a:pt x="10207" y="1795"/>
                    <a:pt x="10207" y="1795"/>
                  </a:cubicBezTo>
                  <a:cubicBezTo>
                    <a:pt x="10182" y="1118"/>
                    <a:pt x="10182" y="1118"/>
                    <a:pt x="10182" y="1118"/>
                  </a:cubicBezTo>
                  <a:cubicBezTo>
                    <a:pt x="10302" y="963"/>
                    <a:pt x="10302" y="963"/>
                    <a:pt x="10302" y="963"/>
                  </a:cubicBezTo>
                  <a:cubicBezTo>
                    <a:pt x="11912" y="675"/>
                    <a:pt x="11912" y="675"/>
                    <a:pt x="11912" y="675"/>
                  </a:cubicBezTo>
                  <a:cubicBezTo>
                    <a:pt x="12107" y="1959"/>
                    <a:pt x="12107" y="1959"/>
                    <a:pt x="12107" y="1959"/>
                  </a:cubicBezTo>
                  <a:cubicBezTo>
                    <a:pt x="13109" y="2355"/>
                    <a:pt x="13109" y="2355"/>
                    <a:pt x="13109" y="2355"/>
                  </a:cubicBezTo>
                  <a:cubicBezTo>
                    <a:pt x="13082" y="2414"/>
                    <a:pt x="13021" y="2544"/>
                    <a:pt x="12939" y="2718"/>
                  </a:cubicBezTo>
                  <a:close/>
                  <a:moveTo>
                    <a:pt x="101" y="552"/>
                  </a:moveTo>
                  <a:cubicBezTo>
                    <a:pt x="66" y="564"/>
                    <a:pt x="33" y="576"/>
                    <a:pt x="0" y="587"/>
                  </a:cubicBezTo>
                  <a:cubicBezTo>
                    <a:pt x="0" y="539"/>
                    <a:pt x="0" y="539"/>
                    <a:pt x="0" y="539"/>
                  </a:cubicBezTo>
                  <a:cubicBezTo>
                    <a:pt x="28" y="529"/>
                    <a:pt x="57" y="519"/>
                    <a:pt x="86" y="509"/>
                  </a:cubicBezTo>
                  <a:cubicBezTo>
                    <a:pt x="211" y="466"/>
                    <a:pt x="283" y="418"/>
                    <a:pt x="325" y="361"/>
                  </a:cubicBezTo>
                  <a:cubicBezTo>
                    <a:pt x="366" y="305"/>
                    <a:pt x="380" y="236"/>
                    <a:pt x="380" y="146"/>
                  </a:cubicBezTo>
                  <a:cubicBezTo>
                    <a:pt x="380" y="102"/>
                    <a:pt x="376" y="54"/>
                    <a:pt x="372" y="0"/>
                  </a:cubicBezTo>
                  <a:cubicBezTo>
                    <a:pt x="417" y="0"/>
                    <a:pt x="417" y="0"/>
                    <a:pt x="417" y="0"/>
                  </a:cubicBezTo>
                  <a:cubicBezTo>
                    <a:pt x="422" y="53"/>
                    <a:pt x="425" y="101"/>
                    <a:pt x="425" y="146"/>
                  </a:cubicBezTo>
                  <a:cubicBezTo>
                    <a:pt x="425" y="240"/>
                    <a:pt x="411" y="320"/>
                    <a:pt x="361" y="388"/>
                  </a:cubicBezTo>
                  <a:cubicBezTo>
                    <a:pt x="312" y="456"/>
                    <a:pt x="230" y="508"/>
                    <a:pt x="101" y="552"/>
                  </a:cubicBezTo>
                  <a:close/>
                </a:path>
              </a:pathLst>
            </a:custGeom>
            <a:gradFill>
              <a:gsLst>
                <a:gs pos="40000">
                  <a:srgbClr val="FFFFFF"/>
                </a:gs>
                <a:gs pos="100000">
                  <a:srgbClr val="B0AAB2"/>
                </a:gs>
              </a:gsLst>
              <a:lin ang="0" scaled="1"/>
            </a:gradFill>
            <a:ln>
              <a:noFill/>
            </a:ln>
          </p:spPr>
          <p:txBody>
            <a:bodyPr vert="horz" wrap="square" lIns="91440" tIns="45720" rIns="91440" bIns="45720" numCol="1" anchor="t" anchorCtr="0" compatLnSpc="1">
              <a:prstTxWarp prst="textNoShape">
                <a:avLst/>
              </a:prstTxWarp>
            </a:bodyPr>
            <a:lstStyle/>
            <a:p>
              <a:endParaRPr lang="nl-NL" dirty="0"/>
            </a:p>
          </p:txBody>
        </p:sp>
        <p:sp>
          <p:nvSpPr>
            <p:cNvPr id="30" name="---Onder wit">
              <a:extLst>
                <a:ext uri="{FF2B5EF4-FFF2-40B4-BE49-F238E27FC236}">
                  <a16:creationId xmlns:a16="http://schemas.microsoft.com/office/drawing/2014/main" id="{838E86C7-F680-45B8-8899-C873153ADD52}"/>
                </a:ext>
              </a:extLst>
            </p:cNvPr>
            <p:cNvSpPr>
              <a:spLocks noSelect="1"/>
            </p:cNvSpPr>
            <p:nvPr userDrawn="1"/>
          </p:nvSpPr>
          <p:spPr bwMode="gray">
            <a:xfrm>
              <a:off x="6478588" y="5713200"/>
              <a:ext cx="5716588" cy="1141413"/>
            </a:xfrm>
            <a:custGeom>
              <a:avLst/>
              <a:gdLst>
                <a:gd name="T0" fmla="*/ 98 w 18004"/>
                <a:gd name="T1" fmla="*/ 543 h 3600"/>
                <a:gd name="T2" fmla="*/ 16855 w 18004"/>
                <a:gd name="T3" fmla="*/ 3468 h 3600"/>
                <a:gd name="T4" fmla="*/ 16175 w 18004"/>
                <a:gd name="T5" fmla="*/ 1314 h 3600"/>
                <a:gd name="T6" fmla="*/ 13264 w 18004"/>
                <a:gd name="T7" fmla="*/ 2369 h 3600"/>
                <a:gd name="T8" fmla="*/ 15276 w 18004"/>
                <a:gd name="T9" fmla="*/ 3572 h 3600"/>
                <a:gd name="T10" fmla="*/ 12667 w 18004"/>
                <a:gd name="T11" fmla="*/ 3600 h 3600"/>
                <a:gd name="T12" fmla="*/ 10410 w 18004"/>
                <a:gd name="T13" fmla="*/ 2467 h 3600"/>
                <a:gd name="T14" fmla="*/ 7522 w 18004"/>
                <a:gd name="T15" fmla="*/ 3600 h 3600"/>
                <a:gd name="T16" fmla="*/ 7674 w 18004"/>
                <a:gd name="T17" fmla="*/ 2075 h 3600"/>
                <a:gd name="T18" fmla="*/ 5720 w 18004"/>
                <a:gd name="T19" fmla="*/ 2014 h 3600"/>
                <a:gd name="T20" fmla="*/ 5562 w 18004"/>
                <a:gd name="T21" fmla="*/ 3568 h 3600"/>
                <a:gd name="T22" fmla="*/ 4906 w 18004"/>
                <a:gd name="T23" fmla="*/ 3600 h 3600"/>
                <a:gd name="T24" fmla="*/ 4575 w 18004"/>
                <a:gd name="T25" fmla="*/ 3029 h 3600"/>
                <a:gd name="T26" fmla="*/ 3487 w 18004"/>
                <a:gd name="T27" fmla="*/ 2427 h 3600"/>
                <a:gd name="T28" fmla="*/ 1699 w 18004"/>
                <a:gd name="T29" fmla="*/ 3600 h 3600"/>
                <a:gd name="T30" fmla="*/ 2530 w 18004"/>
                <a:gd name="T31" fmla="*/ 1954 h 3600"/>
                <a:gd name="T32" fmla="*/ 592 w 18004"/>
                <a:gd name="T33" fmla="*/ 1850 h 3600"/>
                <a:gd name="T34" fmla="*/ 1479 w 18004"/>
                <a:gd name="T35" fmla="*/ 1127 h 3600"/>
                <a:gd name="T36" fmla="*/ 2348 w 18004"/>
                <a:gd name="T37" fmla="*/ 261 h 3600"/>
                <a:gd name="T38" fmla="*/ 2303 w 18004"/>
                <a:gd name="T39" fmla="*/ 140 h 3600"/>
                <a:gd name="T40" fmla="*/ 2989 w 18004"/>
                <a:gd name="T41" fmla="*/ 83 h 3600"/>
                <a:gd name="T42" fmla="*/ 3479 w 18004"/>
                <a:gd name="T43" fmla="*/ 399 h 3600"/>
                <a:gd name="T44" fmla="*/ 4050 w 18004"/>
                <a:gd name="T45" fmla="*/ 1816 h 3600"/>
                <a:gd name="T46" fmla="*/ 4600 w 18004"/>
                <a:gd name="T47" fmla="*/ 722 h 3600"/>
                <a:gd name="T48" fmla="*/ 5077 w 18004"/>
                <a:gd name="T49" fmla="*/ 147 h 3600"/>
                <a:gd name="T50" fmla="*/ 6703 w 18004"/>
                <a:gd name="T51" fmla="*/ 440 h 3600"/>
                <a:gd name="T52" fmla="*/ 7785 w 18004"/>
                <a:gd name="T53" fmla="*/ 998 h 3600"/>
                <a:gd name="T54" fmla="*/ 8894 w 18004"/>
                <a:gd name="T55" fmla="*/ 698 h 3600"/>
                <a:gd name="T56" fmla="*/ 10217 w 18004"/>
                <a:gd name="T57" fmla="*/ 300 h 3600"/>
                <a:gd name="T58" fmla="*/ 10299 w 18004"/>
                <a:gd name="T59" fmla="*/ 903 h 3600"/>
                <a:gd name="T60" fmla="*/ 11809 w 18004"/>
                <a:gd name="T61" fmla="*/ 31 h 3600"/>
                <a:gd name="T62" fmla="*/ 13842 w 18004"/>
                <a:gd name="T63" fmla="*/ 315 h 3600"/>
                <a:gd name="T64" fmla="*/ 13942 w 18004"/>
                <a:gd name="T65" fmla="*/ 20 h 3600"/>
                <a:gd name="T66" fmla="*/ 14940 w 18004"/>
                <a:gd name="T67" fmla="*/ 0 h 3600"/>
                <a:gd name="T68" fmla="*/ 17832 w 18004"/>
                <a:gd name="T69" fmla="*/ 2023 h 3600"/>
                <a:gd name="T70" fmla="*/ 3446 w 18004"/>
                <a:gd name="T71" fmla="*/ 654 h 3600"/>
                <a:gd name="T72" fmla="*/ 2963 w 18004"/>
                <a:gd name="T73" fmla="*/ 215 h 3600"/>
                <a:gd name="T74" fmla="*/ 3123 w 18004"/>
                <a:gd name="T75" fmla="*/ 1682 h 3600"/>
                <a:gd name="T76" fmla="*/ 3740 w 18004"/>
                <a:gd name="T77" fmla="*/ 1659 h 3600"/>
                <a:gd name="T78" fmla="*/ 2835 w 18004"/>
                <a:gd name="T79" fmla="*/ 372 h 3600"/>
                <a:gd name="T80" fmla="*/ 1815 w 18004"/>
                <a:gd name="T81" fmla="*/ 1109 h 3600"/>
                <a:gd name="T82" fmla="*/ 3094 w 18004"/>
                <a:gd name="T83" fmla="*/ 1818 h 3600"/>
                <a:gd name="T84" fmla="*/ 2892 w 18004"/>
                <a:gd name="T85" fmla="*/ 1394 h 3600"/>
                <a:gd name="T86" fmla="*/ 3832 w 18004"/>
                <a:gd name="T87" fmla="*/ 2346 h 3600"/>
                <a:gd name="T88" fmla="*/ 3826 w 18004"/>
                <a:gd name="T89" fmla="*/ 1815 h 3600"/>
                <a:gd name="T90" fmla="*/ 2940 w 18004"/>
                <a:gd name="T91" fmla="*/ 1916 h 3600"/>
                <a:gd name="T92" fmla="*/ 4516 w 18004"/>
                <a:gd name="T93" fmla="*/ 1929 h 3600"/>
                <a:gd name="T94" fmla="*/ 5108 w 18004"/>
                <a:gd name="T95" fmla="*/ 1136 h 3600"/>
                <a:gd name="T96" fmla="*/ 6672 w 18004"/>
                <a:gd name="T97" fmla="*/ 463 h 3600"/>
                <a:gd name="T98" fmla="*/ 5426 w 18004"/>
                <a:gd name="T99" fmla="*/ 1823 h 3600"/>
                <a:gd name="T100" fmla="*/ 8905 w 18004"/>
                <a:gd name="T101" fmla="*/ 889 h 3600"/>
                <a:gd name="T102" fmla="*/ 7652 w 18004"/>
                <a:gd name="T103" fmla="*/ 2 h 3600"/>
                <a:gd name="T104" fmla="*/ 8891 w 18004"/>
                <a:gd name="T105" fmla="*/ 2104 h 3600"/>
                <a:gd name="T106" fmla="*/ 7810 w 18004"/>
                <a:gd name="T107" fmla="*/ 1952 h 3600"/>
                <a:gd name="T108" fmla="*/ 10265 w 18004"/>
                <a:gd name="T109" fmla="*/ 927 h 3600"/>
                <a:gd name="T110" fmla="*/ 8931 w 18004"/>
                <a:gd name="T111" fmla="*/ 2107 h 3600"/>
                <a:gd name="T112" fmla="*/ 9916 w 18004"/>
                <a:gd name="T113" fmla="*/ 2256 h 3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004" h="3600">
                  <a:moveTo>
                    <a:pt x="98" y="543"/>
                  </a:moveTo>
                  <a:cubicBezTo>
                    <a:pt x="64" y="555"/>
                    <a:pt x="32" y="566"/>
                    <a:pt x="0" y="577"/>
                  </a:cubicBezTo>
                  <a:cubicBezTo>
                    <a:pt x="0" y="549"/>
                    <a:pt x="0" y="549"/>
                    <a:pt x="0" y="549"/>
                  </a:cubicBezTo>
                  <a:cubicBezTo>
                    <a:pt x="29" y="539"/>
                    <a:pt x="58" y="529"/>
                    <a:pt x="89" y="518"/>
                  </a:cubicBezTo>
                  <a:cubicBezTo>
                    <a:pt x="340" y="430"/>
                    <a:pt x="387" y="327"/>
                    <a:pt x="389" y="146"/>
                  </a:cubicBezTo>
                  <a:cubicBezTo>
                    <a:pt x="389" y="102"/>
                    <a:pt x="386" y="53"/>
                    <a:pt x="382" y="0"/>
                  </a:cubicBezTo>
                  <a:cubicBezTo>
                    <a:pt x="408" y="0"/>
                    <a:pt x="408" y="0"/>
                    <a:pt x="408" y="0"/>
                  </a:cubicBezTo>
                  <a:cubicBezTo>
                    <a:pt x="412" y="53"/>
                    <a:pt x="415" y="101"/>
                    <a:pt x="415" y="146"/>
                  </a:cubicBezTo>
                  <a:cubicBezTo>
                    <a:pt x="417" y="333"/>
                    <a:pt x="354" y="457"/>
                    <a:pt x="98" y="543"/>
                  </a:cubicBezTo>
                  <a:close/>
                  <a:moveTo>
                    <a:pt x="18004" y="1930"/>
                  </a:moveTo>
                  <a:cubicBezTo>
                    <a:pt x="17776" y="2116"/>
                    <a:pt x="17541" y="2305"/>
                    <a:pt x="17455" y="2374"/>
                  </a:cubicBezTo>
                  <a:cubicBezTo>
                    <a:pt x="17578" y="2498"/>
                    <a:pt x="17753" y="2645"/>
                    <a:pt x="18004" y="2758"/>
                  </a:cubicBezTo>
                  <a:cubicBezTo>
                    <a:pt x="18004" y="2797"/>
                    <a:pt x="18004" y="2797"/>
                    <a:pt x="18004" y="2797"/>
                  </a:cubicBezTo>
                  <a:cubicBezTo>
                    <a:pt x="17739" y="2681"/>
                    <a:pt x="17554" y="2525"/>
                    <a:pt x="17426" y="2397"/>
                  </a:cubicBezTo>
                  <a:cubicBezTo>
                    <a:pt x="17422" y="2400"/>
                    <a:pt x="17420" y="2402"/>
                    <a:pt x="17420" y="2402"/>
                  </a:cubicBezTo>
                  <a:cubicBezTo>
                    <a:pt x="17420" y="2402"/>
                    <a:pt x="17394" y="2425"/>
                    <a:pt x="17353" y="2465"/>
                  </a:cubicBezTo>
                  <a:cubicBezTo>
                    <a:pt x="17229" y="2583"/>
                    <a:pt x="16975" y="2852"/>
                    <a:pt x="16920" y="3070"/>
                  </a:cubicBezTo>
                  <a:cubicBezTo>
                    <a:pt x="16882" y="3218"/>
                    <a:pt x="16887" y="3344"/>
                    <a:pt x="16855" y="3468"/>
                  </a:cubicBezTo>
                  <a:cubicBezTo>
                    <a:pt x="16844" y="3512"/>
                    <a:pt x="16828" y="3556"/>
                    <a:pt x="16803" y="3600"/>
                  </a:cubicBezTo>
                  <a:cubicBezTo>
                    <a:pt x="16761" y="3600"/>
                    <a:pt x="16761" y="3600"/>
                    <a:pt x="16761" y="3600"/>
                  </a:cubicBezTo>
                  <a:cubicBezTo>
                    <a:pt x="16790" y="3553"/>
                    <a:pt x="16808" y="3507"/>
                    <a:pt x="16820" y="3459"/>
                  </a:cubicBezTo>
                  <a:cubicBezTo>
                    <a:pt x="16850" y="3342"/>
                    <a:pt x="16846" y="3215"/>
                    <a:pt x="16885" y="3061"/>
                  </a:cubicBezTo>
                  <a:cubicBezTo>
                    <a:pt x="16966" y="2749"/>
                    <a:pt x="17396" y="2376"/>
                    <a:pt x="17397" y="2375"/>
                  </a:cubicBezTo>
                  <a:cubicBezTo>
                    <a:pt x="17397" y="2375"/>
                    <a:pt x="17398" y="2373"/>
                    <a:pt x="17401" y="2371"/>
                  </a:cubicBezTo>
                  <a:cubicBezTo>
                    <a:pt x="17347" y="2315"/>
                    <a:pt x="17303" y="2266"/>
                    <a:pt x="17269" y="2229"/>
                  </a:cubicBezTo>
                  <a:cubicBezTo>
                    <a:pt x="17268" y="2229"/>
                    <a:pt x="17239" y="2195"/>
                    <a:pt x="17186" y="2138"/>
                  </a:cubicBezTo>
                  <a:cubicBezTo>
                    <a:pt x="17025" y="1968"/>
                    <a:pt x="16644" y="1591"/>
                    <a:pt x="16175" y="1314"/>
                  </a:cubicBezTo>
                  <a:cubicBezTo>
                    <a:pt x="15985" y="1202"/>
                    <a:pt x="15747" y="1060"/>
                    <a:pt x="15508" y="933"/>
                  </a:cubicBezTo>
                  <a:cubicBezTo>
                    <a:pt x="15236" y="788"/>
                    <a:pt x="14962" y="650"/>
                    <a:pt x="14756" y="548"/>
                  </a:cubicBezTo>
                  <a:cubicBezTo>
                    <a:pt x="14654" y="497"/>
                    <a:pt x="14568" y="455"/>
                    <a:pt x="14508" y="425"/>
                  </a:cubicBezTo>
                  <a:cubicBezTo>
                    <a:pt x="14478" y="410"/>
                    <a:pt x="14454" y="398"/>
                    <a:pt x="14438" y="390"/>
                  </a:cubicBezTo>
                  <a:cubicBezTo>
                    <a:pt x="14430" y="386"/>
                    <a:pt x="14423" y="382"/>
                    <a:pt x="14419" y="380"/>
                  </a:cubicBezTo>
                  <a:cubicBezTo>
                    <a:pt x="14417" y="379"/>
                    <a:pt x="14416" y="378"/>
                    <a:pt x="14415" y="378"/>
                  </a:cubicBezTo>
                  <a:cubicBezTo>
                    <a:pt x="13960" y="328"/>
                    <a:pt x="13960" y="328"/>
                    <a:pt x="13960" y="328"/>
                  </a:cubicBezTo>
                  <a:cubicBezTo>
                    <a:pt x="13254" y="2358"/>
                    <a:pt x="13254" y="2358"/>
                    <a:pt x="13254" y="2358"/>
                  </a:cubicBezTo>
                  <a:cubicBezTo>
                    <a:pt x="13257" y="2361"/>
                    <a:pt x="13260" y="2365"/>
                    <a:pt x="13264" y="2369"/>
                  </a:cubicBezTo>
                  <a:cubicBezTo>
                    <a:pt x="13332" y="2407"/>
                    <a:pt x="13423" y="2475"/>
                    <a:pt x="13486" y="2583"/>
                  </a:cubicBezTo>
                  <a:cubicBezTo>
                    <a:pt x="13593" y="2767"/>
                    <a:pt x="13631" y="2829"/>
                    <a:pt x="13837" y="2923"/>
                  </a:cubicBezTo>
                  <a:cubicBezTo>
                    <a:pt x="14044" y="3016"/>
                    <a:pt x="15269" y="3531"/>
                    <a:pt x="15289" y="3539"/>
                  </a:cubicBezTo>
                  <a:cubicBezTo>
                    <a:pt x="15296" y="3542"/>
                    <a:pt x="15302" y="3546"/>
                    <a:pt x="15316" y="3555"/>
                  </a:cubicBezTo>
                  <a:cubicBezTo>
                    <a:pt x="15331" y="3566"/>
                    <a:pt x="15353" y="3582"/>
                    <a:pt x="15379" y="3600"/>
                  </a:cubicBezTo>
                  <a:cubicBezTo>
                    <a:pt x="15317" y="3600"/>
                    <a:pt x="15317" y="3600"/>
                    <a:pt x="15317" y="3600"/>
                  </a:cubicBezTo>
                  <a:cubicBezTo>
                    <a:pt x="15308" y="3594"/>
                    <a:pt x="15299" y="3588"/>
                    <a:pt x="15293" y="3583"/>
                  </a:cubicBezTo>
                  <a:cubicBezTo>
                    <a:pt x="15288" y="3580"/>
                    <a:pt x="15283" y="3577"/>
                    <a:pt x="15280" y="3575"/>
                  </a:cubicBezTo>
                  <a:cubicBezTo>
                    <a:pt x="15278" y="3574"/>
                    <a:pt x="15277" y="3573"/>
                    <a:pt x="15276" y="3572"/>
                  </a:cubicBezTo>
                  <a:cubicBezTo>
                    <a:pt x="15276" y="3572"/>
                    <a:pt x="15276" y="3572"/>
                    <a:pt x="15275" y="3572"/>
                  </a:cubicBezTo>
                  <a:cubicBezTo>
                    <a:pt x="15245" y="3560"/>
                    <a:pt x="14031" y="3049"/>
                    <a:pt x="13822" y="2956"/>
                  </a:cubicBezTo>
                  <a:cubicBezTo>
                    <a:pt x="13612" y="2862"/>
                    <a:pt x="13560" y="2785"/>
                    <a:pt x="13455" y="2601"/>
                  </a:cubicBezTo>
                  <a:cubicBezTo>
                    <a:pt x="13404" y="2513"/>
                    <a:pt x="13331" y="2452"/>
                    <a:pt x="13270" y="2414"/>
                  </a:cubicBezTo>
                  <a:cubicBezTo>
                    <a:pt x="13262" y="2409"/>
                    <a:pt x="13253" y="2404"/>
                    <a:pt x="13245" y="2399"/>
                  </a:cubicBezTo>
                  <a:cubicBezTo>
                    <a:pt x="13238" y="2397"/>
                    <a:pt x="13238" y="2397"/>
                    <a:pt x="13238" y="2397"/>
                  </a:cubicBezTo>
                  <a:cubicBezTo>
                    <a:pt x="13188" y="2503"/>
                    <a:pt x="12945" y="3022"/>
                    <a:pt x="12671" y="3593"/>
                  </a:cubicBezTo>
                  <a:cubicBezTo>
                    <a:pt x="12681" y="3600"/>
                    <a:pt x="12681" y="3600"/>
                    <a:pt x="12681" y="3600"/>
                  </a:cubicBezTo>
                  <a:cubicBezTo>
                    <a:pt x="12667" y="3600"/>
                    <a:pt x="12667" y="3600"/>
                    <a:pt x="12667" y="3600"/>
                  </a:cubicBezTo>
                  <a:cubicBezTo>
                    <a:pt x="12540" y="3600"/>
                    <a:pt x="12540" y="3600"/>
                    <a:pt x="12540" y="3600"/>
                  </a:cubicBezTo>
                  <a:cubicBezTo>
                    <a:pt x="12472" y="3600"/>
                    <a:pt x="12472" y="3600"/>
                    <a:pt x="12472" y="3600"/>
                  </a:cubicBezTo>
                  <a:cubicBezTo>
                    <a:pt x="11585" y="3032"/>
                    <a:pt x="11585" y="3032"/>
                    <a:pt x="11585" y="3032"/>
                  </a:cubicBezTo>
                  <a:cubicBezTo>
                    <a:pt x="11440" y="2939"/>
                    <a:pt x="10867" y="2619"/>
                    <a:pt x="10717" y="2552"/>
                  </a:cubicBezTo>
                  <a:cubicBezTo>
                    <a:pt x="10644" y="2519"/>
                    <a:pt x="10567" y="2497"/>
                    <a:pt x="10508" y="2485"/>
                  </a:cubicBezTo>
                  <a:cubicBezTo>
                    <a:pt x="10479" y="2478"/>
                    <a:pt x="10455" y="2474"/>
                    <a:pt x="10438" y="2471"/>
                  </a:cubicBezTo>
                  <a:cubicBezTo>
                    <a:pt x="10421" y="2468"/>
                    <a:pt x="10412" y="2468"/>
                    <a:pt x="10412" y="2467"/>
                  </a:cubicBezTo>
                  <a:cubicBezTo>
                    <a:pt x="10411" y="2467"/>
                    <a:pt x="10411" y="2467"/>
                    <a:pt x="10411" y="2467"/>
                  </a:cubicBezTo>
                  <a:cubicBezTo>
                    <a:pt x="10410" y="2467"/>
                    <a:pt x="10410" y="2467"/>
                    <a:pt x="10410" y="2467"/>
                  </a:cubicBezTo>
                  <a:cubicBezTo>
                    <a:pt x="10409" y="2467"/>
                    <a:pt x="10256" y="2444"/>
                    <a:pt x="10025" y="2410"/>
                  </a:cubicBezTo>
                  <a:cubicBezTo>
                    <a:pt x="9331" y="2307"/>
                    <a:pt x="7932" y="2098"/>
                    <a:pt x="7867" y="2089"/>
                  </a:cubicBezTo>
                  <a:cubicBezTo>
                    <a:pt x="7836" y="2085"/>
                    <a:pt x="7800" y="2082"/>
                    <a:pt x="7768" y="2080"/>
                  </a:cubicBezTo>
                  <a:cubicBezTo>
                    <a:pt x="7761" y="2098"/>
                    <a:pt x="7761" y="2098"/>
                    <a:pt x="7761" y="2098"/>
                  </a:cubicBezTo>
                  <a:cubicBezTo>
                    <a:pt x="7461" y="3457"/>
                    <a:pt x="7461" y="3457"/>
                    <a:pt x="7461" y="3457"/>
                  </a:cubicBezTo>
                  <a:cubicBezTo>
                    <a:pt x="7461" y="3458"/>
                    <a:pt x="7461" y="3459"/>
                    <a:pt x="7460" y="3463"/>
                  </a:cubicBezTo>
                  <a:cubicBezTo>
                    <a:pt x="7460" y="3466"/>
                    <a:pt x="7459" y="3472"/>
                    <a:pt x="7459" y="3479"/>
                  </a:cubicBezTo>
                  <a:cubicBezTo>
                    <a:pt x="7459" y="3503"/>
                    <a:pt x="7465" y="3542"/>
                    <a:pt x="7501" y="3581"/>
                  </a:cubicBezTo>
                  <a:cubicBezTo>
                    <a:pt x="7507" y="3588"/>
                    <a:pt x="7514" y="3594"/>
                    <a:pt x="7522" y="3600"/>
                  </a:cubicBezTo>
                  <a:cubicBezTo>
                    <a:pt x="7470" y="3600"/>
                    <a:pt x="7470" y="3600"/>
                    <a:pt x="7470" y="3600"/>
                  </a:cubicBezTo>
                  <a:cubicBezTo>
                    <a:pt x="7431" y="3555"/>
                    <a:pt x="7423" y="3508"/>
                    <a:pt x="7423" y="3479"/>
                  </a:cubicBezTo>
                  <a:cubicBezTo>
                    <a:pt x="7423" y="3461"/>
                    <a:pt x="7426" y="3450"/>
                    <a:pt x="7426" y="3449"/>
                  </a:cubicBezTo>
                  <a:cubicBezTo>
                    <a:pt x="7727" y="2088"/>
                    <a:pt x="7727" y="2088"/>
                    <a:pt x="7727" y="2088"/>
                  </a:cubicBezTo>
                  <a:cubicBezTo>
                    <a:pt x="7727" y="2077"/>
                    <a:pt x="7727" y="2077"/>
                    <a:pt x="7727" y="2077"/>
                  </a:cubicBezTo>
                  <a:cubicBezTo>
                    <a:pt x="7714" y="2076"/>
                    <a:pt x="7702" y="2076"/>
                    <a:pt x="7694" y="2075"/>
                  </a:cubicBezTo>
                  <a:cubicBezTo>
                    <a:pt x="7688" y="2075"/>
                    <a:pt x="7683" y="2075"/>
                    <a:pt x="7680" y="2075"/>
                  </a:cubicBezTo>
                  <a:cubicBezTo>
                    <a:pt x="7679" y="2075"/>
                    <a:pt x="7677" y="2075"/>
                    <a:pt x="7676" y="2075"/>
                  </a:cubicBezTo>
                  <a:cubicBezTo>
                    <a:pt x="7676" y="2075"/>
                    <a:pt x="7675" y="2075"/>
                    <a:pt x="7674" y="2075"/>
                  </a:cubicBezTo>
                  <a:cubicBezTo>
                    <a:pt x="7674" y="2075"/>
                    <a:pt x="7674" y="2075"/>
                    <a:pt x="7673" y="2074"/>
                  </a:cubicBezTo>
                  <a:cubicBezTo>
                    <a:pt x="7635" y="2073"/>
                    <a:pt x="7276" y="2060"/>
                    <a:pt x="6875" y="2046"/>
                  </a:cubicBezTo>
                  <a:cubicBezTo>
                    <a:pt x="6874" y="2048"/>
                    <a:pt x="6873" y="2051"/>
                    <a:pt x="6872" y="2053"/>
                  </a:cubicBezTo>
                  <a:cubicBezTo>
                    <a:pt x="6329" y="3600"/>
                    <a:pt x="6329" y="3600"/>
                    <a:pt x="6329" y="3600"/>
                  </a:cubicBezTo>
                  <a:cubicBezTo>
                    <a:pt x="6301" y="3600"/>
                    <a:pt x="6301" y="3600"/>
                    <a:pt x="6301" y="3600"/>
                  </a:cubicBezTo>
                  <a:cubicBezTo>
                    <a:pt x="6843" y="2057"/>
                    <a:pt x="6843" y="2057"/>
                    <a:pt x="6843" y="2057"/>
                  </a:cubicBezTo>
                  <a:cubicBezTo>
                    <a:pt x="6842" y="2045"/>
                    <a:pt x="6842" y="2045"/>
                    <a:pt x="6842" y="2045"/>
                  </a:cubicBezTo>
                  <a:cubicBezTo>
                    <a:pt x="6358" y="2027"/>
                    <a:pt x="5825" y="2008"/>
                    <a:pt x="5722" y="2005"/>
                  </a:cubicBezTo>
                  <a:cubicBezTo>
                    <a:pt x="5721" y="2008"/>
                    <a:pt x="5720" y="2011"/>
                    <a:pt x="5720" y="2014"/>
                  </a:cubicBezTo>
                  <a:cubicBezTo>
                    <a:pt x="5565" y="3540"/>
                    <a:pt x="5565" y="3540"/>
                    <a:pt x="5565" y="3540"/>
                  </a:cubicBezTo>
                  <a:cubicBezTo>
                    <a:pt x="5572" y="3542"/>
                    <a:pt x="5572" y="3542"/>
                    <a:pt x="5572" y="3542"/>
                  </a:cubicBezTo>
                  <a:cubicBezTo>
                    <a:pt x="5619" y="3551"/>
                    <a:pt x="5778" y="3573"/>
                    <a:pt x="5931" y="3594"/>
                  </a:cubicBezTo>
                  <a:cubicBezTo>
                    <a:pt x="5945" y="3596"/>
                    <a:pt x="5959" y="3598"/>
                    <a:pt x="5973" y="3600"/>
                  </a:cubicBezTo>
                  <a:cubicBezTo>
                    <a:pt x="5783" y="3600"/>
                    <a:pt x="5783" y="3600"/>
                    <a:pt x="5783" y="3600"/>
                  </a:cubicBezTo>
                  <a:cubicBezTo>
                    <a:pt x="5742" y="3595"/>
                    <a:pt x="5704" y="3589"/>
                    <a:pt x="5672" y="3584"/>
                  </a:cubicBezTo>
                  <a:cubicBezTo>
                    <a:pt x="5637" y="3579"/>
                    <a:pt x="5608" y="3575"/>
                    <a:pt x="5587" y="3572"/>
                  </a:cubicBezTo>
                  <a:cubicBezTo>
                    <a:pt x="5580" y="3570"/>
                    <a:pt x="5573" y="3569"/>
                    <a:pt x="5568" y="3568"/>
                  </a:cubicBezTo>
                  <a:cubicBezTo>
                    <a:pt x="5562" y="3568"/>
                    <a:pt x="5562" y="3568"/>
                    <a:pt x="5562" y="3568"/>
                  </a:cubicBezTo>
                  <a:cubicBezTo>
                    <a:pt x="5558" y="3600"/>
                    <a:pt x="5558" y="3600"/>
                    <a:pt x="5558" y="3600"/>
                  </a:cubicBezTo>
                  <a:cubicBezTo>
                    <a:pt x="5522" y="3600"/>
                    <a:pt x="5522" y="3600"/>
                    <a:pt x="5522" y="3600"/>
                  </a:cubicBezTo>
                  <a:cubicBezTo>
                    <a:pt x="5682" y="2029"/>
                    <a:pt x="5682" y="2029"/>
                    <a:pt x="5682" y="2029"/>
                  </a:cubicBezTo>
                  <a:cubicBezTo>
                    <a:pt x="5681" y="2029"/>
                    <a:pt x="5681" y="2029"/>
                    <a:pt x="5681" y="2029"/>
                  </a:cubicBezTo>
                  <a:cubicBezTo>
                    <a:pt x="5680" y="2002"/>
                    <a:pt x="5680" y="2002"/>
                    <a:pt x="5680" y="2002"/>
                  </a:cubicBezTo>
                  <a:cubicBezTo>
                    <a:pt x="5677" y="1998"/>
                    <a:pt x="5677" y="1998"/>
                    <a:pt x="5677" y="1998"/>
                  </a:cubicBezTo>
                  <a:cubicBezTo>
                    <a:pt x="5659" y="1994"/>
                    <a:pt x="5626" y="1986"/>
                    <a:pt x="5585" y="1977"/>
                  </a:cubicBezTo>
                  <a:cubicBezTo>
                    <a:pt x="5453" y="1947"/>
                    <a:pt x="5234" y="1898"/>
                    <a:pt x="5125" y="1873"/>
                  </a:cubicBezTo>
                  <a:cubicBezTo>
                    <a:pt x="5102" y="2051"/>
                    <a:pt x="5011" y="2777"/>
                    <a:pt x="4906" y="3600"/>
                  </a:cubicBezTo>
                  <a:cubicBezTo>
                    <a:pt x="4790" y="3600"/>
                    <a:pt x="4790" y="3600"/>
                    <a:pt x="4790" y="3600"/>
                  </a:cubicBezTo>
                  <a:cubicBezTo>
                    <a:pt x="4845" y="3168"/>
                    <a:pt x="4897" y="2762"/>
                    <a:pt x="4937" y="2447"/>
                  </a:cubicBezTo>
                  <a:cubicBezTo>
                    <a:pt x="4972" y="2170"/>
                    <a:pt x="4998" y="1965"/>
                    <a:pt x="5009" y="1872"/>
                  </a:cubicBezTo>
                  <a:cubicBezTo>
                    <a:pt x="4906" y="1891"/>
                    <a:pt x="4906" y="1891"/>
                    <a:pt x="4906" y="1891"/>
                  </a:cubicBezTo>
                  <a:cubicBezTo>
                    <a:pt x="4688" y="3600"/>
                    <a:pt x="4688" y="3600"/>
                    <a:pt x="4688" y="3600"/>
                  </a:cubicBezTo>
                  <a:cubicBezTo>
                    <a:pt x="4573" y="3600"/>
                    <a:pt x="4573" y="3600"/>
                    <a:pt x="4573" y="3600"/>
                  </a:cubicBezTo>
                  <a:cubicBezTo>
                    <a:pt x="4641" y="3064"/>
                    <a:pt x="4641" y="3064"/>
                    <a:pt x="4641" y="3064"/>
                  </a:cubicBezTo>
                  <a:cubicBezTo>
                    <a:pt x="4637" y="3062"/>
                    <a:pt x="4633" y="3058"/>
                    <a:pt x="4629" y="3055"/>
                  </a:cubicBezTo>
                  <a:cubicBezTo>
                    <a:pt x="4616" y="3049"/>
                    <a:pt x="4598" y="3040"/>
                    <a:pt x="4575" y="3029"/>
                  </a:cubicBezTo>
                  <a:cubicBezTo>
                    <a:pt x="4436" y="2964"/>
                    <a:pt x="4124" y="2833"/>
                    <a:pt x="3859" y="2834"/>
                  </a:cubicBezTo>
                  <a:cubicBezTo>
                    <a:pt x="3845" y="2834"/>
                    <a:pt x="3831" y="2834"/>
                    <a:pt x="3817" y="2835"/>
                  </a:cubicBezTo>
                  <a:cubicBezTo>
                    <a:pt x="3634" y="2845"/>
                    <a:pt x="3507" y="2855"/>
                    <a:pt x="3427" y="2863"/>
                  </a:cubicBezTo>
                  <a:cubicBezTo>
                    <a:pt x="3347" y="2870"/>
                    <a:pt x="3313" y="2875"/>
                    <a:pt x="3313" y="2875"/>
                  </a:cubicBezTo>
                  <a:cubicBezTo>
                    <a:pt x="3307" y="2840"/>
                    <a:pt x="3307" y="2840"/>
                    <a:pt x="3307" y="2840"/>
                  </a:cubicBezTo>
                  <a:cubicBezTo>
                    <a:pt x="3308" y="2840"/>
                    <a:pt x="3447" y="2819"/>
                    <a:pt x="3815" y="2799"/>
                  </a:cubicBezTo>
                  <a:cubicBezTo>
                    <a:pt x="3823" y="2798"/>
                    <a:pt x="3831" y="2798"/>
                    <a:pt x="3839" y="2798"/>
                  </a:cubicBezTo>
                  <a:cubicBezTo>
                    <a:pt x="3750" y="2400"/>
                    <a:pt x="3750" y="2400"/>
                    <a:pt x="3750" y="2400"/>
                  </a:cubicBezTo>
                  <a:cubicBezTo>
                    <a:pt x="3670" y="2413"/>
                    <a:pt x="3602" y="2416"/>
                    <a:pt x="3487" y="2427"/>
                  </a:cubicBezTo>
                  <a:cubicBezTo>
                    <a:pt x="3346" y="2440"/>
                    <a:pt x="3188" y="2453"/>
                    <a:pt x="3065" y="2463"/>
                  </a:cubicBezTo>
                  <a:cubicBezTo>
                    <a:pt x="3003" y="2468"/>
                    <a:pt x="2951" y="2472"/>
                    <a:pt x="2913" y="2475"/>
                  </a:cubicBezTo>
                  <a:cubicBezTo>
                    <a:pt x="2898" y="2476"/>
                    <a:pt x="2885" y="2477"/>
                    <a:pt x="2876" y="2478"/>
                  </a:cubicBezTo>
                  <a:cubicBezTo>
                    <a:pt x="3113" y="3600"/>
                    <a:pt x="3113" y="3600"/>
                    <a:pt x="3113" y="3600"/>
                  </a:cubicBezTo>
                  <a:cubicBezTo>
                    <a:pt x="3076" y="3600"/>
                    <a:pt x="3076" y="3600"/>
                    <a:pt x="3076" y="3600"/>
                  </a:cubicBezTo>
                  <a:cubicBezTo>
                    <a:pt x="3066" y="3554"/>
                    <a:pt x="3066" y="3554"/>
                    <a:pt x="3066" y="3554"/>
                  </a:cubicBezTo>
                  <a:cubicBezTo>
                    <a:pt x="3063" y="3554"/>
                    <a:pt x="3063" y="3554"/>
                    <a:pt x="3063" y="3554"/>
                  </a:cubicBezTo>
                  <a:cubicBezTo>
                    <a:pt x="2190" y="3600"/>
                    <a:pt x="2190" y="3600"/>
                    <a:pt x="2190" y="3600"/>
                  </a:cubicBezTo>
                  <a:cubicBezTo>
                    <a:pt x="1699" y="3600"/>
                    <a:pt x="1699" y="3600"/>
                    <a:pt x="1699" y="3600"/>
                  </a:cubicBezTo>
                  <a:cubicBezTo>
                    <a:pt x="3042" y="3528"/>
                    <a:pt x="3042" y="3528"/>
                    <a:pt x="3042" y="3528"/>
                  </a:cubicBezTo>
                  <a:cubicBezTo>
                    <a:pt x="3060" y="3525"/>
                    <a:pt x="3060" y="3525"/>
                    <a:pt x="3060" y="3525"/>
                  </a:cubicBezTo>
                  <a:cubicBezTo>
                    <a:pt x="2837" y="2471"/>
                    <a:pt x="2837" y="2471"/>
                    <a:pt x="2837" y="2471"/>
                  </a:cubicBezTo>
                  <a:cubicBezTo>
                    <a:pt x="2836" y="2469"/>
                    <a:pt x="2835" y="2466"/>
                    <a:pt x="2835" y="2462"/>
                  </a:cubicBezTo>
                  <a:cubicBezTo>
                    <a:pt x="2835" y="2461"/>
                    <a:pt x="2835" y="2460"/>
                    <a:pt x="2835" y="2459"/>
                  </a:cubicBezTo>
                  <a:cubicBezTo>
                    <a:pt x="2727" y="1946"/>
                    <a:pt x="2727" y="1946"/>
                    <a:pt x="2727" y="1946"/>
                  </a:cubicBezTo>
                  <a:cubicBezTo>
                    <a:pt x="2656" y="1950"/>
                    <a:pt x="2588" y="1951"/>
                    <a:pt x="2548" y="1953"/>
                  </a:cubicBezTo>
                  <a:cubicBezTo>
                    <a:pt x="2542" y="1954"/>
                    <a:pt x="2536" y="1954"/>
                    <a:pt x="2531" y="1954"/>
                  </a:cubicBezTo>
                  <a:cubicBezTo>
                    <a:pt x="2530" y="1954"/>
                    <a:pt x="2530" y="1954"/>
                    <a:pt x="2530" y="1954"/>
                  </a:cubicBezTo>
                  <a:cubicBezTo>
                    <a:pt x="2449" y="1954"/>
                    <a:pt x="2382" y="1924"/>
                    <a:pt x="2355" y="1865"/>
                  </a:cubicBezTo>
                  <a:cubicBezTo>
                    <a:pt x="2344" y="1841"/>
                    <a:pt x="2334" y="1798"/>
                    <a:pt x="2325" y="1752"/>
                  </a:cubicBezTo>
                  <a:cubicBezTo>
                    <a:pt x="766" y="2146"/>
                    <a:pt x="766" y="2146"/>
                    <a:pt x="766" y="2146"/>
                  </a:cubicBezTo>
                  <a:cubicBezTo>
                    <a:pt x="943" y="2534"/>
                    <a:pt x="1156" y="3005"/>
                    <a:pt x="1175" y="3052"/>
                  </a:cubicBezTo>
                  <a:cubicBezTo>
                    <a:pt x="1197" y="3107"/>
                    <a:pt x="1269" y="3369"/>
                    <a:pt x="1322" y="3600"/>
                  </a:cubicBezTo>
                  <a:cubicBezTo>
                    <a:pt x="1285" y="3600"/>
                    <a:pt x="1285" y="3600"/>
                    <a:pt x="1285" y="3600"/>
                  </a:cubicBezTo>
                  <a:cubicBezTo>
                    <a:pt x="1232" y="3372"/>
                    <a:pt x="1162" y="3115"/>
                    <a:pt x="1142" y="3065"/>
                  </a:cubicBezTo>
                  <a:cubicBezTo>
                    <a:pt x="1126" y="3027"/>
                    <a:pt x="964" y="2669"/>
                    <a:pt x="807" y="2322"/>
                  </a:cubicBezTo>
                  <a:cubicBezTo>
                    <a:pt x="728" y="2149"/>
                    <a:pt x="650" y="1978"/>
                    <a:pt x="592" y="1850"/>
                  </a:cubicBezTo>
                  <a:cubicBezTo>
                    <a:pt x="554" y="1766"/>
                    <a:pt x="524" y="1702"/>
                    <a:pt x="509" y="1667"/>
                  </a:cubicBezTo>
                  <a:cubicBezTo>
                    <a:pt x="498" y="1655"/>
                    <a:pt x="498" y="1655"/>
                    <a:pt x="498" y="1655"/>
                  </a:cubicBezTo>
                  <a:cubicBezTo>
                    <a:pt x="437" y="1682"/>
                    <a:pt x="398" y="1701"/>
                    <a:pt x="398" y="1701"/>
                  </a:cubicBezTo>
                  <a:cubicBezTo>
                    <a:pt x="398" y="1700"/>
                    <a:pt x="264" y="1765"/>
                    <a:pt x="61" y="1862"/>
                  </a:cubicBezTo>
                  <a:cubicBezTo>
                    <a:pt x="41" y="1872"/>
                    <a:pt x="21" y="1882"/>
                    <a:pt x="0" y="1892"/>
                  </a:cubicBezTo>
                  <a:cubicBezTo>
                    <a:pt x="0" y="1764"/>
                    <a:pt x="0" y="1764"/>
                    <a:pt x="0" y="1764"/>
                  </a:cubicBezTo>
                  <a:cubicBezTo>
                    <a:pt x="209" y="1664"/>
                    <a:pt x="348" y="1597"/>
                    <a:pt x="349" y="1597"/>
                  </a:cubicBezTo>
                  <a:cubicBezTo>
                    <a:pt x="350" y="1596"/>
                    <a:pt x="688" y="1439"/>
                    <a:pt x="924" y="1346"/>
                  </a:cubicBezTo>
                  <a:cubicBezTo>
                    <a:pt x="1041" y="1300"/>
                    <a:pt x="1268" y="1213"/>
                    <a:pt x="1479" y="1127"/>
                  </a:cubicBezTo>
                  <a:cubicBezTo>
                    <a:pt x="1585" y="1083"/>
                    <a:pt x="1686" y="1041"/>
                    <a:pt x="1768" y="1004"/>
                  </a:cubicBezTo>
                  <a:cubicBezTo>
                    <a:pt x="1849" y="968"/>
                    <a:pt x="1912" y="935"/>
                    <a:pt x="1930" y="921"/>
                  </a:cubicBezTo>
                  <a:cubicBezTo>
                    <a:pt x="1950" y="907"/>
                    <a:pt x="1995" y="859"/>
                    <a:pt x="2046" y="801"/>
                  </a:cubicBezTo>
                  <a:cubicBezTo>
                    <a:pt x="2122" y="713"/>
                    <a:pt x="2215" y="596"/>
                    <a:pt x="2289" y="502"/>
                  </a:cubicBezTo>
                  <a:cubicBezTo>
                    <a:pt x="2339" y="438"/>
                    <a:pt x="2379" y="385"/>
                    <a:pt x="2400" y="357"/>
                  </a:cubicBezTo>
                  <a:cubicBezTo>
                    <a:pt x="2400" y="357"/>
                    <a:pt x="2400" y="357"/>
                    <a:pt x="2400" y="357"/>
                  </a:cubicBezTo>
                  <a:cubicBezTo>
                    <a:pt x="2400" y="357"/>
                    <a:pt x="2402" y="355"/>
                    <a:pt x="2405" y="352"/>
                  </a:cubicBezTo>
                  <a:cubicBezTo>
                    <a:pt x="2408" y="347"/>
                    <a:pt x="2411" y="343"/>
                    <a:pt x="2413" y="340"/>
                  </a:cubicBezTo>
                  <a:cubicBezTo>
                    <a:pt x="2388" y="317"/>
                    <a:pt x="2366" y="291"/>
                    <a:pt x="2348" y="261"/>
                  </a:cubicBezTo>
                  <a:cubicBezTo>
                    <a:pt x="2346" y="261"/>
                    <a:pt x="2343" y="261"/>
                    <a:pt x="2340" y="260"/>
                  </a:cubicBezTo>
                  <a:cubicBezTo>
                    <a:pt x="2339" y="262"/>
                    <a:pt x="2339" y="262"/>
                    <a:pt x="2339" y="262"/>
                  </a:cubicBezTo>
                  <a:cubicBezTo>
                    <a:pt x="2335" y="261"/>
                    <a:pt x="1811" y="184"/>
                    <a:pt x="1626" y="141"/>
                  </a:cubicBezTo>
                  <a:cubicBezTo>
                    <a:pt x="1496" y="110"/>
                    <a:pt x="1396" y="59"/>
                    <a:pt x="1295" y="0"/>
                  </a:cubicBezTo>
                  <a:cubicBezTo>
                    <a:pt x="1558" y="0"/>
                    <a:pt x="1558" y="0"/>
                    <a:pt x="1558" y="0"/>
                  </a:cubicBezTo>
                  <a:cubicBezTo>
                    <a:pt x="1588" y="11"/>
                    <a:pt x="1619" y="21"/>
                    <a:pt x="1652" y="29"/>
                  </a:cubicBezTo>
                  <a:cubicBezTo>
                    <a:pt x="1738" y="49"/>
                    <a:pt x="1916" y="80"/>
                    <a:pt x="2070" y="104"/>
                  </a:cubicBezTo>
                  <a:cubicBezTo>
                    <a:pt x="2154" y="118"/>
                    <a:pt x="2231" y="129"/>
                    <a:pt x="2284" y="137"/>
                  </a:cubicBezTo>
                  <a:cubicBezTo>
                    <a:pt x="2286" y="138"/>
                    <a:pt x="2295" y="139"/>
                    <a:pt x="2303" y="140"/>
                  </a:cubicBezTo>
                  <a:cubicBezTo>
                    <a:pt x="2300" y="121"/>
                    <a:pt x="2298" y="103"/>
                    <a:pt x="2298" y="83"/>
                  </a:cubicBezTo>
                  <a:cubicBezTo>
                    <a:pt x="2298" y="55"/>
                    <a:pt x="2302" y="27"/>
                    <a:pt x="2309" y="0"/>
                  </a:cubicBezTo>
                  <a:cubicBezTo>
                    <a:pt x="2435" y="0"/>
                    <a:pt x="2435" y="0"/>
                    <a:pt x="2435" y="0"/>
                  </a:cubicBezTo>
                  <a:cubicBezTo>
                    <a:pt x="2424" y="26"/>
                    <a:pt x="2419" y="54"/>
                    <a:pt x="2419" y="83"/>
                  </a:cubicBezTo>
                  <a:cubicBezTo>
                    <a:pt x="2419" y="207"/>
                    <a:pt x="2519" y="308"/>
                    <a:pt x="2644" y="308"/>
                  </a:cubicBezTo>
                  <a:cubicBezTo>
                    <a:pt x="2768" y="308"/>
                    <a:pt x="2869" y="207"/>
                    <a:pt x="2869" y="83"/>
                  </a:cubicBezTo>
                  <a:cubicBezTo>
                    <a:pt x="2869" y="54"/>
                    <a:pt x="2863" y="26"/>
                    <a:pt x="2853" y="0"/>
                  </a:cubicBezTo>
                  <a:cubicBezTo>
                    <a:pt x="2979" y="0"/>
                    <a:pt x="2979" y="0"/>
                    <a:pt x="2979" y="0"/>
                  </a:cubicBezTo>
                  <a:cubicBezTo>
                    <a:pt x="2985" y="27"/>
                    <a:pt x="2989" y="55"/>
                    <a:pt x="2989" y="83"/>
                  </a:cubicBezTo>
                  <a:cubicBezTo>
                    <a:pt x="2989" y="88"/>
                    <a:pt x="2989" y="93"/>
                    <a:pt x="2988" y="98"/>
                  </a:cubicBezTo>
                  <a:cubicBezTo>
                    <a:pt x="2991" y="99"/>
                    <a:pt x="2994" y="101"/>
                    <a:pt x="2996" y="102"/>
                  </a:cubicBezTo>
                  <a:cubicBezTo>
                    <a:pt x="2996" y="102"/>
                    <a:pt x="2996" y="102"/>
                    <a:pt x="2996" y="102"/>
                  </a:cubicBezTo>
                  <a:cubicBezTo>
                    <a:pt x="2996" y="102"/>
                    <a:pt x="2996" y="102"/>
                    <a:pt x="2996" y="102"/>
                  </a:cubicBezTo>
                  <a:cubicBezTo>
                    <a:pt x="2996" y="102"/>
                    <a:pt x="2997" y="103"/>
                    <a:pt x="2998" y="103"/>
                  </a:cubicBezTo>
                  <a:cubicBezTo>
                    <a:pt x="3004" y="106"/>
                    <a:pt x="3009" y="109"/>
                    <a:pt x="3008" y="108"/>
                  </a:cubicBezTo>
                  <a:cubicBezTo>
                    <a:pt x="3008" y="108"/>
                    <a:pt x="3009" y="109"/>
                    <a:pt x="3009" y="109"/>
                  </a:cubicBezTo>
                  <a:cubicBezTo>
                    <a:pt x="3045" y="129"/>
                    <a:pt x="3153" y="189"/>
                    <a:pt x="3270" y="260"/>
                  </a:cubicBezTo>
                  <a:cubicBezTo>
                    <a:pt x="3341" y="304"/>
                    <a:pt x="3416" y="353"/>
                    <a:pt x="3479" y="399"/>
                  </a:cubicBezTo>
                  <a:cubicBezTo>
                    <a:pt x="3542" y="447"/>
                    <a:pt x="3594" y="490"/>
                    <a:pt x="3625" y="536"/>
                  </a:cubicBezTo>
                  <a:cubicBezTo>
                    <a:pt x="3716" y="677"/>
                    <a:pt x="3736" y="893"/>
                    <a:pt x="3737" y="1000"/>
                  </a:cubicBezTo>
                  <a:cubicBezTo>
                    <a:pt x="3737" y="1013"/>
                    <a:pt x="3737" y="1025"/>
                    <a:pt x="3736" y="1036"/>
                  </a:cubicBezTo>
                  <a:cubicBezTo>
                    <a:pt x="3730" y="1103"/>
                    <a:pt x="3721" y="1280"/>
                    <a:pt x="3719" y="1330"/>
                  </a:cubicBezTo>
                  <a:cubicBezTo>
                    <a:pt x="3742" y="1386"/>
                    <a:pt x="3765" y="1440"/>
                    <a:pt x="3785" y="1486"/>
                  </a:cubicBezTo>
                  <a:cubicBezTo>
                    <a:pt x="3809" y="1542"/>
                    <a:pt x="3830" y="1587"/>
                    <a:pt x="3839" y="1602"/>
                  </a:cubicBezTo>
                  <a:cubicBezTo>
                    <a:pt x="3862" y="1641"/>
                    <a:pt x="3889" y="1687"/>
                    <a:pt x="3917" y="1726"/>
                  </a:cubicBezTo>
                  <a:cubicBezTo>
                    <a:pt x="3944" y="1764"/>
                    <a:pt x="3975" y="1795"/>
                    <a:pt x="3988" y="1801"/>
                  </a:cubicBezTo>
                  <a:cubicBezTo>
                    <a:pt x="3997" y="1806"/>
                    <a:pt x="4022" y="1813"/>
                    <a:pt x="4050" y="1816"/>
                  </a:cubicBezTo>
                  <a:cubicBezTo>
                    <a:pt x="4079" y="1820"/>
                    <a:pt x="4113" y="1822"/>
                    <a:pt x="4144" y="1822"/>
                  </a:cubicBezTo>
                  <a:cubicBezTo>
                    <a:pt x="4167" y="1822"/>
                    <a:pt x="4189" y="1821"/>
                    <a:pt x="4208" y="1820"/>
                  </a:cubicBezTo>
                  <a:cubicBezTo>
                    <a:pt x="4210" y="1816"/>
                    <a:pt x="4211" y="1812"/>
                    <a:pt x="4213" y="1809"/>
                  </a:cubicBezTo>
                  <a:cubicBezTo>
                    <a:pt x="4576" y="733"/>
                    <a:pt x="4576" y="733"/>
                    <a:pt x="4576" y="733"/>
                  </a:cubicBezTo>
                  <a:cubicBezTo>
                    <a:pt x="4257" y="140"/>
                    <a:pt x="4257" y="140"/>
                    <a:pt x="4257" y="140"/>
                  </a:cubicBezTo>
                  <a:cubicBezTo>
                    <a:pt x="4271" y="0"/>
                    <a:pt x="4271" y="0"/>
                    <a:pt x="4271" y="0"/>
                  </a:cubicBezTo>
                  <a:cubicBezTo>
                    <a:pt x="4297" y="0"/>
                    <a:pt x="4297" y="0"/>
                    <a:pt x="4297" y="0"/>
                  </a:cubicBezTo>
                  <a:cubicBezTo>
                    <a:pt x="4284" y="134"/>
                    <a:pt x="4284" y="134"/>
                    <a:pt x="4284" y="134"/>
                  </a:cubicBezTo>
                  <a:cubicBezTo>
                    <a:pt x="4600" y="722"/>
                    <a:pt x="4600" y="722"/>
                    <a:pt x="4600" y="722"/>
                  </a:cubicBezTo>
                  <a:cubicBezTo>
                    <a:pt x="5081" y="1038"/>
                    <a:pt x="5081" y="1038"/>
                    <a:pt x="5081" y="1038"/>
                  </a:cubicBezTo>
                  <a:cubicBezTo>
                    <a:pt x="5086" y="1039"/>
                    <a:pt x="5092" y="1040"/>
                    <a:pt x="5097" y="1041"/>
                  </a:cubicBezTo>
                  <a:cubicBezTo>
                    <a:pt x="5030" y="459"/>
                    <a:pt x="5030" y="459"/>
                    <a:pt x="5030" y="459"/>
                  </a:cubicBezTo>
                  <a:cubicBezTo>
                    <a:pt x="5030" y="457"/>
                    <a:pt x="5030" y="457"/>
                    <a:pt x="5030" y="457"/>
                  </a:cubicBezTo>
                  <a:cubicBezTo>
                    <a:pt x="5030" y="457"/>
                    <a:pt x="5039" y="245"/>
                    <a:pt x="5043" y="0"/>
                  </a:cubicBezTo>
                  <a:cubicBezTo>
                    <a:pt x="5079" y="0"/>
                    <a:pt x="5079" y="0"/>
                    <a:pt x="5079" y="0"/>
                  </a:cubicBezTo>
                  <a:cubicBezTo>
                    <a:pt x="5078" y="53"/>
                    <a:pt x="5077" y="104"/>
                    <a:pt x="5076" y="152"/>
                  </a:cubicBezTo>
                  <a:cubicBezTo>
                    <a:pt x="5077" y="147"/>
                    <a:pt x="5077" y="147"/>
                    <a:pt x="5077" y="147"/>
                  </a:cubicBezTo>
                  <a:cubicBezTo>
                    <a:pt x="5077" y="147"/>
                    <a:pt x="5077" y="147"/>
                    <a:pt x="5077" y="147"/>
                  </a:cubicBezTo>
                  <a:cubicBezTo>
                    <a:pt x="5078" y="147"/>
                    <a:pt x="5283" y="202"/>
                    <a:pt x="5508" y="261"/>
                  </a:cubicBezTo>
                  <a:cubicBezTo>
                    <a:pt x="5732" y="320"/>
                    <a:pt x="5975" y="384"/>
                    <a:pt x="6048" y="400"/>
                  </a:cubicBezTo>
                  <a:cubicBezTo>
                    <a:pt x="6147" y="422"/>
                    <a:pt x="6256" y="456"/>
                    <a:pt x="6411" y="456"/>
                  </a:cubicBezTo>
                  <a:cubicBezTo>
                    <a:pt x="6485" y="456"/>
                    <a:pt x="6570" y="447"/>
                    <a:pt x="6668" y="427"/>
                  </a:cubicBezTo>
                  <a:cubicBezTo>
                    <a:pt x="6675" y="382"/>
                    <a:pt x="6702" y="222"/>
                    <a:pt x="6728" y="61"/>
                  </a:cubicBezTo>
                  <a:cubicBezTo>
                    <a:pt x="6732" y="41"/>
                    <a:pt x="6735" y="20"/>
                    <a:pt x="6738" y="0"/>
                  </a:cubicBezTo>
                  <a:cubicBezTo>
                    <a:pt x="6775" y="0"/>
                    <a:pt x="6775" y="0"/>
                    <a:pt x="6775" y="0"/>
                  </a:cubicBezTo>
                  <a:cubicBezTo>
                    <a:pt x="6770" y="27"/>
                    <a:pt x="6766" y="53"/>
                    <a:pt x="6762" y="80"/>
                  </a:cubicBezTo>
                  <a:cubicBezTo>
                    <a:pt x="6734" y="248"/>
                    <a:pt x="6707" y="411"/>
                    <a:pt x="6703" y="440"/>
                  </a:cubicBezTo>
                  <a:cubicBezTo>
                    <a:pt x="7225" y="1931"/>
                    <a:pt x="7225" y="1931"/>
                    <a:pt x="7225" y="1931"/>
                  </a:cubicBezTo>
                  <a:cubicBezTo>
                    <a:pt x="7232" y="1944"/>
                    <a:pt x="7232" y="1944"/>
                    <a:pt x="7232" y="1944"/>
                  </a:cubicBezTo>
                  <a:cubicBezTo>
                    <a:pt x="7282" y="1945"/>
                    <a:pt x="7329" y="1947"/>
                    <a:pt x="7372" y="1949"/>
                  </a:cubicBezTo>
                  <a:cubicBezTo>
                    <a:pt x="7557" y="1955"/>
                    <a:pt x="7680" y="1960"/>
                    <a:pt x="7680" y="1960"/>
                  </a:cubicBezTo>
                  <a:cubicBezTo>
                    <a:pt x="7681" y="1960"/>
                    <a:pt x="7682" y="1960"/>
                    <a:pt x="7683" y="1960"/>
                  </a:cubicBezTo>
                  <a:cubicBezTo>
                    <a:pt x="7692" y="1960"/>
                    <a:pt x="7725" y="1962"/>
                    <a:pt x="7765" y="1964"/>
                  </a:cubicBezTo>
                  <a:cubicBezTo>
                    <a:pt x="7771" y="1953"/>
                    <a:pt x="7771" y="1953"/>
                    <a:pt x="7771" y="1953"/>
                  </a:cubicBezTo>
                  <a:cubicBezTo>
                    <a:pt x="7862" y="1705"/>
                    <a:pt x="7862" y="1705"/>
                    <a:pt x="7862" y="1705"/>
                  </a:cubicBezTo>
                  <a:cubicBezTo>
                    <a:pt x="7785" y="998"/>
                    <a:pt x="7785" y="998"/>
                    <a:pt x="7785" y="998"/>
                  </a:cubicBezTo>
                  <a:cubicBezTo>
                    <a:pt x="7771" y="970"/>
                    <a:pt x="7658" y="745"/>
                    <a:pt x="7570" y="526"/>
                  </a:cubicBezTo>
                  <a:cubicBezTo>
                    <a:pt x="7530" y="427"/>
                    <a:pt x="7518" y="341"/>
                    <a:pt x="7518" y="275"/>
                  </a:cubicBezTo>
                  <a:cubicBezTo>
                    <a:pt x="7518" y="184"/>
                    <a:pt x="7541" y="130"/>
                    <a:pt x="7541" y="129"/>
                  </a:cubicBezTo>
                  <a:cubicBezTo>
                    <a:pt x="7542" y="128"/>
                    <a:pt x="7542" y="128"/>
                    <a:pt x="7542" y="128"/>
                  </a:cubicBezTo>
                  <a:cubicBezTo>
                    <a:pt x="7612" y="0"/>
                    <a:pt x="7612" y="0"/>
                    <a:pt x="7612" y="0"/>
                  </a:cubicBezTo>
                  <a:cubicBezTo>
                    <a:pt x="7650" y="0"/>
                    <a:pt x="7650" y="0"/>
                    <a:pt x="7650" y="0"/>
                  </a:cubicBezTo>
                  <a:cubicBezTo>
                    <a:pt x="7653" y="0"/>
                    <a:pt x="7653" y="0"/>
                    <a:pt x="7653" y="0"/>
                  </a:cubicBezTo>
                  <a:cubicBezTo>
                    <a:pt x="7720" y="0"/>
                    <a:pt x="7720" y="0"/>
                    <a:pt x="7720" y="0"/>
                  </a:cubicBezTo>
                  <a:cubicBezTo>
                    <a:pt x="8894" y="698"/>
                    <a:pt x="8894" y="698"/>
                    <a:pt x="8894" y="698"/>
                  </a:cubicBezTo>
                  <a:cubicBezTo>
                    <a:pt x="8904" y="684"/>
                    <a:pt x="8920" y="662"/>
                    <a:pt x="8938" y="635"/>
                  </a:cubicBezTo>
                  <a:cubicBezTo>
                    <a:pt x="9020" y="513"/>
                    <a:pt x="9162" y="294"/>
                    <a:pt x="9163" y="293"/>
                  </a:cubicBezTo>
                  <a:cubicBezTo>
                    <a:pt x="9168" y="285"/>
                    <a:pt x="9168" y="285"/>
                    <a:pt x="9168" y="285"/>
                  </a:cubicBezTo>
                  <a:cubicBezTo>
                    <a:pt x="9201" y="285"/>
                    <a:pt x="9201" y="285"/>
                    <a:pt x="9201" y="285"/>
                  </a:cubicBezTo>
                  <a:cubicBezTo>
                    <a:pt x="9184" y="0"/>
                    <a:pt x="9184" y="0"/>
                    <a:pt x="9184" y="0"/>
                  </a:cubicBezTo>
                  <a:cubicBezTo>
                    <a:pt x="9220" y="0"/>
                    <a:pt x="9220" y="0"/>
                    <a:pt x="9220" y="0"/>
                  </a:cubicBezTo>
                  <a:cubicBezTo>
                    <a:pt x="9237" y="286"/>
                    <a:pt x="9237" y="286"/>
                    <a:pt x="9237" y="286"/>
                  </a:cubicBezTo>
                  <a:cubicBezTo>
                    <a:pt x="9235" y="286"/>
                    <a:pt x="9235" y="286"/>
                    <a:pt x="9235" y="286"/>
                  </a:cubicBezTo>
                  <a:cubicBezTo>
                    <a:pt x="10217" y="300"/>
                    <a:pt x="10217" y="300"/>
                    <a:pt x="10217" y="300"/>
                  </a:cubicBezTo>
                  <a:cubicBezTo>
                    <a:pt x="10217" y="299"/>
                    <a:pt x="10217" y="299"/>
                    <a:pt x="10217" y="299"/>
                  </a:cubicBezTo>
                  <a:cubicBezTo>
                    <a:pt x="10241" y="280"/>
                    <a:pt x="10341" y="188"/>
                    <a:pt x="10341" y="14"/>
                  </a:cubicBezTo>
                  <a:cubicBezTo>
                    <a:pt x="10341" y="10"/>
                    <a:pt x="10340" y="5"/>
                    <a:pt x="10340" y="0"/>
                  </a:cubicBezTo>
                  <a:cubicBezTo>
                    <a:pt x="10376" y="0"/>
                    <a:pt x="10376" y="0"/>
                    <a:pt x="10376" y="0"/>
                  </a:cubicBezTo>
                  <a:cubicBezTo>
                    <a:pt x="10376" y="5"/>
                    <a:pt x="10377" y="10"/>
                    <a:pt x="10377" y="14"/>
                  </a:cubicBezTo>
                  <a:cubicBezTo>
                    <a:pt x="10377" y="200"/>
                    <a:pt x="10273" y="300"/>
                    <a:pt x="10242" y="326"/>
                  </a:cubicBezTo>
                  <a:cubicBezTo>
                    <a:pt x="10246" y="361"/>
                    <a:pt x="10258" y="491"/>
                    <a:pt x="10271" y="621"/>
                  </a:cubicBezTo>
                  <a:cubicBezTo>
                    <a:pt x="10279" y="698"/>
                    <a:pt x="10287" y="775"/>
                    <a:pt x="10292" y="833"/>
                  </a:cubicBezTo>
                  <a:cubicBezTo>
                    <a:pt x="10295" y="862"/>
                    <a:pt x="10297" y="886"/>
                    <a:pt x="10299" y="903"/>
                  </a:cubicBezTo>
                  <a:cubicBezTo>
                    <a:pt x="10299" y="906"/>
                    <a:pt x="10300" y="909"/>
                    <a:pt x="10300" y="911"/>
                  </a:cubicBezTo>
                  <a:cubicBezTo>
                    <a:pt x="11917" y="622"/>
                    <a:pt x="11917" y="622"/>
                    <a:pt x="11917" y="622"/>
                  </a:cubicBezTo>
                  <a:cubicBezTo>
                    <a:pt x="11798" y="69"/>
                    <a:pt x="11798" y="69"/>
                    <a:pt x="11798" y="69"/>
                  </a:cubicBezTo>
                  <a:cubicBezTo>
                    <a:pt x="11787" y="61"/>
                    <a:pt x="11765" y="42"/>
                    <a:pt x="11734" y="0"/>
                  </a:cubicBezTo>
                  <a:cubicBezTo>
                    <a:pt x="11780" y="0"/>
                    <a:pt x="11780" y="0"/>
                    <a:pt x="11780" y="0"/>
                  </a:cubicBezTo>
                  <a:cubicBezTo>
                    <a:pt x="11781" y="2"/>
                    <a:pt x="11783" y="3"/>
                    <a:pt x="11784" y="5"/>
                  </a:cubicBezTo>
                  <a:cubicBezTo>
                    <a:pt x="11787" y="0"/>
                    <a:pt x="11787" y="0"/>
                    <a:pt x="11787" y="0"/>
                  </a:cubicBezTo>
                  <a:cubicBezTo>
                    <a:pt x="11831" y="0"/>
                    <a:pt x="11831" y="0"/>
                    <a:pt x="11831" y="0"/>
                  </a:cubicBezTo>
                  <a:cubicBezTo>
                    <a:pt x="11809" y="31"/>
                    <a:pt x="11809" y="31"/>
                    <a:pt x="11809" y="31"/>
                  </a:cubicBezTo>
                  <a:cubicBezTo>
                    <a:pt x="11811" y="33"/>
                    <a:pt x="11813" y="35"/>
                    <a:pt x="11814" y="36"/>
                  </a:cubicBezTo>
                  <a:cubicBezTo>
                    <a:pt x="11818" y="39"/>
                    <a:pt x="11820" y="41"/>
                    <a:pt x="11821" y="42"/>
                  </a:cubicBezTo>
                  <a:cubicBezTo>
                    <a:pt x="11822" y="42"/>
                    <a:pt x="11822" y="42"/>
                    <a:pt x="11823" y="42"/>
                  </a:cubicBezTo>
                  <a:cubicBezTo>
                    <a:pt x="11823" y="42"/>
                    <a:pt x="11823" y="42"/>
                    <a:pt x="11823" y="42"/>
                  </a:cubicBezTo>
                  <a:cubicBezTo>
                    <a:pt x="11830" y="46"/>
                    <a:pt x="11830" y="46"/>
                    <a:pt x="11830" y="46"/>
                  </a:cubicBezTo>
                  <a:cubicBezTo>
                    <a:pt x="11958" y="643"/>
                    <a:pt x="11958" y="643"/>
                    <a:pt x="11958" y="643"/>
                  </a:cubicBezTo>
                  <a:cubicBezTo>
                    <a:pt x="12153" y="1922"/>
                    <a:pt x="12153" y="1922"/>
                    <a:pt x="12153" y="1922"/>
                  </a:cubicBezTo>
                  <a:cubicBezTo>
                    <a:pt x="13147" y="2315"/>
                    <a:pt x="13147" y="2315"/>
                    <a:pt x="13147" y="2315"/>
                  </a:cubicBezTo>
                  <a:cubicBezTo>
                    <a:pt x="13842" y="315"/>
                    <a:pt x="13842" y="315"/>
                    <a:pt x="13842" y="315"/>
                  </a:cubicBezTo>
                  <a:cubicBezTo>
                    <a:pt x="13363" y="263"/>
                    <a:pt x="13363" y="263"/>
                    <a:pt x="13363" y="263"/>
                  </a:cubicBezTo>
                  <a:cubicBezTo>
                    <a:pt x="12894" y="0"/>
                    <a:pt x="12894" y="0"/>
                    <a:pt x="12894" y="0"/>
                  </a:cubicBezTo>
                  <a:cubicBezTo>
                    <a:pt x="12967" y="0"/>
                    <a:pt x="12967" y="0"/>
                    <a:pt x="12967" y="0"/>
                  </a:cubicBezTo>
                  <a:cubicBezTo>
                    <a:pt x="13374" y="228"/>
                    <a:pt x="13374" y="228"/>
                    <a:pt x="13374" y="228"/>
                  </a:cubicBezTo>
                  <a:cubicBezTo>
                    <a:pt x="13842" y="279"/>
                    <a:pt x="13842" y="279"/>
                    <a:pt x="13842" y="279"/>
                  </a:cubicBezTo>
                  <a:cubicBezTo>
                    <a:pt x="13852" y="280"/>
                    <a:pt x="13852" y="280"/>
                    <a:pt x="13852" y="280"/>
                  </a:cubicBezTo>
                  <a:cubicBezTo>
                    <a:pt x="13848" y="240"/>
                    <a:pt x="13838" y="139"/>
                    <a:pt x="13825" y="0"/>
                  </a:cubicBezTo>
                  <a:cubicBezTo>
                    <a:pt x="13941" y="0"/>
                    <a:pt x="13941" y="0"/>
                    <a:pt x="13941" y="0"/>
                  </a:cubicBezTo>
                  <a:cubicBezTo>
                    <a:pt x="13941" y="7"/>
                    <a:pt x="13942" y="14"/>
                    <a:pt x="13942" y="20"/>
                  </a:cubicBezTo>
                  <a:cubicBezTo>
                    <a:pt x="13958" y="184"/>
                    <a:pt x="13968" y="288"/>
                    <a:pt x="13968" y="288"/>
                  </a:cubicBezTo>
                  <a:cubicBezTo>
                    <a:pt x="13968" y="292"/>
                    <a:pt x="13968" y="292"/>
                    <a:pt x="13968" y="292"/>
                  </a:cubicBezTo>
                  <a:cubicBezTo>
                    <a:pt x="13970" y="292"/>
                    <a:pt x="13973" y="293"/>
                    <a:pt x="13975" y="294"/>
                  </a:cubicBezTo>
                  <a:cubicBezTo>
                    <a:pt x="14422" y="342"/>
                    <a:pt x="14422" y="342"/>
                    <a:pt x="14422" y="342"/>
                  </a:cubicBezTo>
                  <a:cubicBezTo>
                    <a:pt x="14423" y="342"/>
                    <a:pt x="14429" y="342"/>
                    <a:pt x="14434" y="347"/>
                  </a:cubicBezTo>
                  <a:cubicBezTo>
                    <a:pt x="14443" y="352"/>
                    <a:pt x="14481" y="372"/>
                    <a:pt x="14537" y="399"/>
                  </a:cubicBezTo>
                  <a:cubicBezTo>
                    <a:pt x="14660" y="460"/>
                    <a:pt x="14878" y="567"/>
                    <a:pt x="15126" y="694"/>
                  </a:cubicBezTo>
                  <a:cubicBezTo>
                    <a:pt x="15116" y="646"/>
                    <a:pt x="15066" y="458"/>
                    <a:pt x="15005" y="237"/>
                  </a:cubicBezTo>
                  <a:cubicBezTo>
                    <a:pt x="14984" y="161"/>
                    <a:pt x="14962" y="81"/>
                    <a:pt x="14940" y="0"/>
                  </a:cubicBezTo>
                  <a:cubicBezTo>
                    <a:pt x="14977" y="0"/>
                    <a:pt x="14977" y="0"/>
                    <a:pt x="14977" y="0"/>
                  </a:cubicBezTo>
                  <a:cubicBezTo>
                    <a:pt x="14998" y="77"/>
                    <a:pt x="15020" y="154"/>
                    <a:pt x="15040" y="227"/>
                  </a:cubicBezTo>
                  <a:cubicBezTo>
                    <a:pt x="15105" y="465"/>
                    <a:pt x="15158" y="658"/>
                    <a:pt x="15163" y="696"/>
                  </a:cubicBezTo>
                  <a:cubicBezTo>
                    <a:pt x="15138" y="700"/>
                    <a:pt x="15138" y="700"/>
                    <a:pt x="15138" y="700"/>
                  </a:cubicBezTo>
                  <a:cubicBezTo>
                    <a:pt x="15262" y="763"/>
                    <a:pt x="15394" y="831"/>
                    <a:pt x="15525" y="901"/>
                  </a:cubicBezTo>
                  <a:cubicBezTo>
                    <a:pt x="15765" y="1029"/>
                    <a:pt x="16004" y="1171"/>
                    <a:pt x="16193" y="1283"/>
                  </a:cubicBezTo>
                  <a:cubicBezTo>
                    <a:pt x="16825" y="1657"/>
                    <a:pt x="17295" y="2204"/>
                    <a:pt x="17296" y="2205"/>
                  </a:cubicBezTo>
                  <a:cubicBezTo>
                    <a:pt x="17331" y="2243"/>
                    <a:pt x="17374" y="2293"/>
                    <a:pt x="17429" y="2349"/>
                  </a:cubicBezTo>
                  <a:cubicBezTo>
                    <a:pt x="17495" y="2296"/>
                    <a:pt x="17655" y="2168"/>
                    <a:pt x="17832" y="2023"/>
                  </a:cubicBezTo>
                  <a:cubicBezTo>
                    <a:pt x="17889" y="1977"/>
                    <a:pt x="17947" y="1930"/>
                    <a:pt x="18004" y="1883"/>
                  </a:cubicBezTo>
                  <a:lnTo>
                    <a:pt x="18004" y="1930"/>
                  </a:lnTo>
                  <a:close/>
                  <a:moveTo>
                    <a:pt x="2922" y="287"/>
                  </a:moveTo>
                  <a:cubicBezTo>
                    <a:pt x="2941" y="297"/>
                    <a:pt x="2941" y="297"/>
                    <a:pt x="2941" y="297"/>
                  </a:cubicBezTo>
                  <a:cubicBezTo>
                    <a:pt x="2941" y="297"/>
                    <a:pt x="2941" y="297"/>
                    <a:pt x="2941" y="297"/>
                  </a:cubicBezTo>
                  <a:cubicBezTo>
                    <a:pt x="2974" y="313"/>
                    <a:pt x="3021" y="335"/>
                    <a:pt x="3070" y="359"/>
                  </a:cubicBezTo>
                  <a:cubicBezTo>
                    <a:pt x="3116" y="381"/>
                    <a:pt x="3163" y="404"/>
                    <a:pt x="3203" y="424"/>
                  </a:cubicBezTo>
                  <a:cubicBezTo>
                    <a:pt x="3243" y="445"/>
                    <a:pt x="3273" y="461"/>
                    <a:pt x="3293" y="474"/>
                  </a:cubicBezTo>
                  <a:cubicBezTo>
                    <a:pt x="3359" y="518"/>
                    <a:pt x="3407" y="581"/>
                    <a:pt x="3446" y="654"/>
                  </a:cubicBezTo>
                  <a:cubicBezTo>
                    <a:pt x="3468" y="693"/>
                    <a:pt x="3494" y="756"/>
                    <a:pt x="3520" y="822"/>
                  </a:cubicBezTo>
                  <a:cubicBezTo>
                    <a:pt x="3546" y="887"/>
                    <a:pt x="3570" y="951"/>
                    <a:pt x="3582" y="988"/>
                  </a:cubicBezTo>
                  <a:cubicBezTo>
                    <a:pt x="3587" y="1001"/>
                    <a:pt x="3599" y="1033"/>
                    <a:pt x="3616" y="1076"/>
                  </a:cubicBezTo>
                  <a:cubicBezTo>
                    <a:pt x="3618" y="1057"/>
                    <a:pt x="3620" y="1040"/>
                    <a:pt x="3621" y="1026"/>
                  </a:cubicBezTo>
                  <a:cubicBezTo>
                    <a:pt x="3622" y="1020"/>
                    <a:pt x="3622" y="1011"/>
                    <a:pt x="3622" y="1000"/>
                  </a:cubicBezTo>
                  <a:cubicBezTo>
                    <a:pt x="3624" y="910"/>
                    <a:pt x="3597" y="697"/>
                    <a:pt x="3529" y="599"/>
                  </a:cubicBezTo>
                  <a:cubicBezTo>
                    <a:pt x="3516" y="578"/>
                    <a:pt x="3469" y="535"/>
                    <a:pt x="3411" y="492"/>
                  </a:cubicBezTo>
                  <a:cubicBezTo>
                    <a:pt x="3322" y="426"/>
                    <a:pt x="3204" y="353"/>
                    <a:pt x="3109" y="298"/>
                  </a:cubicBezTo>
                  <a:cubicBezTo>
                    <a:pt x="3044" y="260"/>
                    <a:pt x="2991" y="230"/>
                    <a:pt x="2963" y="215"/>
                  </a:cubicBezTo>
                  <a:cubicBezTo>
                    <a:pt x="2952" y="241"/>
                    <a:pt x="2938" y="265"/>
                    <a:pt x="2922" y="287"/>
                  </a:cubicBezTo>
                  <a:close/>
                  <a:moveTo>
                    <a:pt x="2319" y="1717"/>
                  </a:moveTo>
                  <a:cubicBezTo>
                    <a:pt x="2309" y="1660"/>
                    <a:pt x="2303" y="1605"/>
                    <a:pt x="2300" y="1578"/>
                  </a:cubicBezTo>
                  <a:cubicBezTo>
                    <a:pt x="2300" y="1574"/>
                    <a:pt x="2300" y="1570"/>
                    <a:pt x="2300" y="1566"/>
                  </a:cubicBezTo>
                  <a:cubicBezTo>
                    <a:pt x="2299" y="1508"/>
                    <a:pt x="2338" y="1436"/>
                    <a:pt x="2440" y="1408"/>
                  </a:cubicBezTo>
                  <a:cubicBezTo>
                    <a:pt x="2533" y="1382"/>
                    <a:pt x="2730" y="1357"/>
                    <a:pt x="2851" y="1357"/>
                  </a:cubicBezTo>
                  <a:cubicBezTo>
                    <a:pt x="2867" y="1357"/>
                    <a:pt x="2882" y="1357"/>
                    <a:pt x="2895" y="1358"/>
                  </a:cubicBezTo>
                  <a:cubicBezTo>
                    <a:pt x="3007" y="1366"/>
                    <a:pt x="3060" y="1427"/>
                    <a:pt x="3089" y="1487"/>
                  </a:cubicBezTo>
                  <a:cubicBezTo>
                    <a:pt x="3113" y="1535"/>
                    <a:pt x="3123" y="1617"/>
                    <a:pt x="3123" y="1682"/>
                  </a:cubicBezTo>
                  <a:cubicBezTo>
                    <a:pt x="3123" y="1703"/>
                    <a:pt x="3122" y="1722"/>
                    <a:pt x="3120" y="1738"/>
                  </a:cubicBezTo>
                  <a:cubicBezTo>
                    <a:pt x="3117" y="1753"/>
                    <a:pt x="3110" y="1770"/>
                    <a:pt x="3100" y="1787"/>
                  </a:cubicBezTo>
                  <a:cubicBezTo>
                    <a:pt x="3108" y="1792"/>
                    <a:pt x="3160" y="1811"/>
                    <a:pt x="3220" y="1830"/>
                  </a:cubicBezTo>
                  <a:cubicBezTo>
                    <a:pt x="3281" y="1849"/>
                    <a:pt x="3352" y="1867"/>
                    <a:pt x="3402" y="1873"/>
                  </a:cubicBezTo>
                  <a:cubicBezTo>
                    <a:pt x="3407" y="1873"/>
                    <a:pt x="3412" y="1873"/>
                    <a:pt x="3419" y="1873"/>
                  </a:cubicBezTo>
                  <a:cubicBezTo>
                    <a:pt x="3479" y="1874"/>
                    <a:pt x="3586" y="1848"/>
                    <a:pt x="3677" y="1823"/>
                  </a:cubicBezTo>
                  <a:cubicBezTo>
                    <a:pt x="3724" y="1809"/>
                    <a:pt x="3766" y="1796"/>
                    <a:pt x="3796" y="1787"/>
                  </a:cubicBezTo>
                  <a:cubicBezTo>
                    <a:pt x="3812" y="1775"/>
                    <a:pt x="3812" y="1775"/>
                    <a:pt x="3812" y="1775"/>
                  </a:cubicBezTo>
                  <a:cubicBezTo>
                    <a:pt x="3785" y="1736"/>
                    <a:pt x="3760" y="1694"/>
                    <a:pt x="3740" y="1659"/>
                  </a:cubicBezTo>
                  <a:cubicBezTo>
                    <a:pt x="3725" y="1634"/>
                    <a:pt x="3705" y="1590"/>
                    <a:pt x="3680" y="1532"/>
                  </a:cubicBezTo>
                  <a:cubicBezTo>
                    <a:pt x="3605" y="1360"/>
                    <a:pt x="3494" y="1083"/>
                    <a:pt x="3474" y="1026"/>
                  </a:cubicBezTo>
                  <a:cubicBezTo>
                    <a:pt x="3462" y="991"/>
                    <a:pt x="3438" y="927"/>
                    <a:pt x="3413" y="864"/>
                  </a:cubicBezTo>
                  <a:cubicBezTo>
                    <a:pt x="3389" y="801"/>
                    <a:pt x="3361" y="737"/>
                    <a:pt x="3346" y="709"/>
                  </a:cubicBezTo>
                  <a:cubicBezTo>
                    <a:pt x="3311" y="646"/>
                    <a:pt x="3274" y="599"/>
                    <a:pt x="3229" y="569"/>
                  </a:cubicBezTo>
                  <a:cubicBezTo>
                    <a:pt x="3221" y="563"/>
                    <a:pt x="3189" y="546"/>
                    <a:pt x="3151" y="527"/>
                  </a:cubicBezTo>
                  <a:cubicBezTo>
                    <a:pt x="3035" y="468"/>
                    <a:pt x="2847" y="380"/>
                    <a:pt x="2846" y="380"/>
                  </a:cubicBezTo>
                  <a:cubicBezTo>
                    <a:pt x="2847" y="378"/>
                    <a:pt x="2847" y="378"/>
                    <a:pt x="2847" y="378"/>
                  </a:cubicBezTo>
                  <a:cubicBezTo>
                    <a:pt x="2835" y="372"/>
                    <a:pt x="2835" y="372"/>
                    <a:pt x="2835" y="372"/>
                  </a:cubicBezTo>
                  <a:cubicBezTo>
                    <a:pt x="2834" y="371"/>
                    <a:pt x="2834" y="371"/>
                    <a:pt x="2834" y="371"/>
                  </a:cubicBezTo>
                  <a:cubicBezTo>
                    <a:pt x="2780" y="407"/>
                    <a:pt x="2714" y="429"/>
                    <a:pt x="2644" y="429"/>
                  </a:cubicBezTo>
                  <a:cubicBezTo>
                    <a:pt x="2597" y="429"/>
                    <a:pt x="2552" y="419"/>
                    <a:pt x="2511" y="402"/>
                  </a:cubicBezTo>
                  <a:cubicBezTo>
                    <a:pt x="2505" y="409"/>
                    <a:pt x="2499" y="418"/>
                    <a:pt x="2499" y="418"/>
                  </a:cubicBezTo>
                  <a:cubicBezTo>
                    <a:pt x="2499" y="418"/>
                    <a:pt x="2499" y="418"/>
                    <a:pt x="2498" y="418"/>
                  </a:cubicBezTo>
                  <a:cubicBezTo>
                    <a:pt x="2470" y="455"/>
                    <a:pt x="2390" y="560"/>
                    <a:pt x="2300" y="673"/>
                  </a:cubicBezTo>
                  <a:cubicBezTo>
                    <a:pt x="2244" y="743"/>
                    <a:pt x="2185" y="815"/>
                    <a:pt x="2132" y="876"/>
                  </a:cubicBezTo>
                  <a:cubicBezTo>
                    <a:pt x="2079" y="937"/>
                    <a:pt x="2035" y="985"/>
                    <a:pt x="1999" y="1012"/>
                  </a:cubicBezTo>
                  <a:cubicBezTo>
                    <a:pt x="1962" y="1040"/>
                    <a:pt x="1899" y="1070"/>
                    <a:pt x="1815" y="1109"/>
                  </a:cubicBezTo>
                  <a:cubicBezTo>
                    <a:pt x="1565" y="1222"/>
                    <a:pt x="1141" y="1384"/>
                    <a:pt x="966" y="1453"/>
                  </a:cubicBezTo>
                  <a:cubicBezTo>
                    <a:pt x="851" y="1499"/>
                    <a:pt x="708" y="1561"/>
                    <a:pt x="595" y="1611"/>
                  </a:cubicBezTo>
                  <a:cubicBezTo>
                    <a:pt x="576" y="1620"/>
                    <a:pt x="558" y="1628"/>
                    <a:pt x="540" y="1635"/>
                  </a:cubicBezTo>
                  <a:cubicBezTo>
                    <a:pt x="542" y="1654"/>
                    <a:pt x="542" y="1654"/>
                    <a:pt x="542" y="1654"/>
                  </a:cubicBezTo>
                  <a:cubicBezTo>
                    <a:pt x="574" y="1723"/>
                    <a:pt x="656" y="1903"/>
                    <a:pt x="751" y="2113"/>
                  </a:cubicBezTo>
                  <a:lnTo>
                    <a:pt x="2319" y="1717"/>
                  </a:lnTo>
                  <a:close/>
                  <a:moveTo>
                    <a:pt x="3090" y="1803"/>
                  </a:moveTo>
                  <a:cubicBezTo>
                    <a:pt x="3090" y="1803"/>
                    <a:pt x="3090" y="1803"/>
                    <a:pt x="3090" y="1803"/>
                  </a:cubicBezTo>
                  <a:cubicBezTo>
                    <a:pt x="3094" y="1818"/>
                    <a:pt x="3094" y="1818"/>
                    <a:pt x="3094" y="1818"/>
                  </a:cubicBezTo>
                  <a:lnTo>
                    <a:pt x="3090" y="1803"/>
                  </a:lnTo>
                  <a:close/>
                  <a:moveTo>
                    <a:pt x="2929" y="1882"/>
                  </a:moveTo>
                  <a:cubicBezTo>
                    <a:pt x="2972" y="1866"/>
                    <a:pt x="3010" y="1839"/>
                    <a:pt x="3038" y="1809"/>
                  </a:cubicBezTo>
                  <a:cubicBezTo>
                    <a:pt x="3066" y="1780"/>
                    <a:pt x="3082" y="1749"/>
                    <a:pt x="3084" y="1733"/>
                  </a:cubicBezTo>
                  <a:cubicBezTo>
                    <a:pt x="3102" y="1735"/>
                    <a:pt x="3102" y="1735"/>
                    <a:pt x="3102" y="1735"/>
                  </a:cubicBezTo>
                  <a:cubicBezTo>
                    <a:pt x="3084" y="1733"/>
                    <a:pt x="3084" y="1733"/>
                    <a:pt x="3084" y="1733"/>
                  </a:cubicBezTo>
                  <a:cubicBezTo>
                    <a:pt x="3086" y="1719"/>
                    <a:pt x="3087" y="1701"/>
                    <a:pt x="3087" y="1682"/>
                  </a:cubicBezTo>
                  <a:cubicBezTo>
                    <a:pt x="3087" y="1621"/>
                    <a:pt x="3076" y="1540"/>
                    <a:pt x="3057" y="1503"/>
                  </a:cubicBezTo>
                  <a:cubicBezTo>
                    <a:pt x="3029" y="1448"/>
                    <a:pt x="2992" y="1403"/>
                    <a:pt x="2892" y="1394"/>
                  </a:cubicBezTo>
                  <a:cubicBezTo>
                    <a:pt x="2880" y="1393"/>
                    <a:pt x="2866" y="1393"/>
                    <a:pt x="2851" y="1393"/>
                  </a:cubicBezTo>
                  <a:cubicBezTo>
                    <a:pt x="2735" y="1393"/>
                    <a:pt x="2537" y="1418"/>
                    <a:pt x="2450" y="1443"/>
                  </a:cubicBezTo>
                  <a:cubicBezTo>
                    <a:pt x="2360" y="1468"/>
                    <a:pt x="2337" y="1522"/>
                    <a:pt x="2336" y="1566"/>
                  </a:cubicBezTo>
                  <a:cubicBezTo>
                    <a:pt x="2336" y="1570"/>
                    <a:pt x="2336" y="1572"/>
                    <a:pt x="2336" y="1575"/>
                  </a:cubicBezTo>
                  <a:cubicBezTo>
                    <a:pt x="2340" y="1626"/>
                    <a:pt x="2366" y="1804"/>
                    <a:pt x="2388" y="1850"/>
                  </a:cubicBezTo>
                  <a:cubicBezTo>
                    <a:pt x="2406" y="1891"/>
                    <a:pt x="2457" y="1918"/>
                    <a:pt x="2531" y="1918"/>
                  </a:cubicBezTo>
                  <a:cubicBezTo>
                    <a:pt x="2536" y="1918"/>
                    <a:pt x="2541" y="1918"/>
                    <a:pt x="2546" y="1917"/>
                  </a:cubicBezTo>
                  <a:cubicBezTo>
                    <a:pt x="2632" y="1913"/>
                    <a:pt x="2841" y="1913"/>
                    <a:pt x="2929" y="1882"/>
                  </a:cubicBezTo>
                  <a:close/>
                  <a:moveTo>
                    <a:pt x="3832" y="2346"/>
                  </a:moveTo>
                  <a:cubicBezTo>
                    <a:pt x="4009" y="2305"/>
                    <a:pt x="4181" y="2187"/>
                    <a:pt x="4308" y="2079"/>
                  </a:cubicBezTo>
                  <a:cubicBezTo>
                    <a:pt x="4370" y="2027"/>
                    <a:pt x="4420" y="1977"/>
                    <a:pt x="4457" y="1939"/>
                  </a:cubicBezTo>
                  <a:cubicBezTo>
                    <a:pt x="4459" y="1921"/>
                    <a:pt x="4459" y="1921"/>
                    <a:pt x="4459" y="1921"/>
                  </a:cubicBezTo>
                  <a:cubicBezTo>
                    <a:pt x="4352" y="1926"/>
                    <a:pt x="4256" y="1931"/>
                    <a:pt x="4230" y="1933"/>
                  </a:cubicBezTo>
                  <a:cubicBezTo>
                    <a:pt x="4206" y="1935"/>
                    <a:pt x="4176" y="1937"/>
                    <a:pt x="4144" y="1937"/>
                  </a:cubicBezTo>
                  <a:cubicBezTo>
                    <a:pt x="4109" y="1937"/>
                    <a:pt x="4071" y="1935"/>
                    <a:pt x="4035" y="1930"/>
                  </a:cubicBezTo>
                  <a:cubicBezTo>
                    <a:pt x="3999" y="1925"/>
                    <a:pt x="3966" y="1918"/>
                    <a:pt x="3935" y="1902"/>
                  </a:cubicBezTo>
                  <a:cubicBezTo>
                    <a:pt x="3896" y="1881"/>
                    <a:pt x="3867" y="1849"/>
                    <a:pt x="3839" y="1813"/>
                  </a:cubicBezTo>
                  <a:cubicBezTo>
                    <a:pt x="3835" y="1813"/>
                    <a:pt x="3831" y="1814"/>
                    <a:pt x="3826" y="1815"/>
                  </a:cubicBezTo>
                  <a:cubicBezTo>
                    <a:pt x="3748" y="1840"/>
                    <a:pt x="3529" y="1909"/>
                    <a:pt x="3419" y="1909"/>
                  </a:cubicBezTo>
                  <a:cubicBezTo>
                    <a:pt x="3411" y="1909"/>
                    <a:pt x="3404" y="1909"/>
                    <a:pt x="3398" y="1908"/>
                  </a:cubicBezTo>
                  <a:cubicBezTo>
                    <a:pt x="3340" y="1902"/>
                    <a:pt x="3262" y="1881"/>
                    <a:pt x="3197" y="1861"/>
                  </a:cubicBezTo>
                  <a:cubicBezTo>
                    <a:pt x="3165" y="1850"/>
                    <a:pt x="3136" y="1840"/>
                    <a:pt x="3115" y="1832"/>
                  </a:cubicBezTo>
                  <a:cubicBezTo>
                    <a:pt x="3105" y="1829"/>
                    <a:pt x="3097" y="1825"/>
                    <a:pt x="3090" y="1822"/>
                  </a:cubicBezTo>
                  <a:cubicBezTo>
                    <a:pt x="3087" y="1821"/>
                    <a:pt x="3085" y="1820"/>
                    <a:pt x="3082" y="1819"/>
                  </a:cubicBezTo>
                  <a:cubicBezTo>
                    <a:pt x="3081" y="1818"/>
                    <a:pt x="3080" y="1817"/>
                    <a:pt x="3079" y="1816"/>
                  </a:cubicBezTo>
                  <a:cubicBezTo>
                    <a:pt x="3074" y="1822"/>
                    <a:pt x="3070" y="1828"/>
                    <a:pt x="3064" y="1834"/>
                  </a:cubicBezTo>
                  <a:cubicBezTo>
                    <a:pt x="3033" y="1867"/>
                    <a:pt x="2991" y="1898"/>
                    <a:pt x="2940" y="1916"/>
                  </a:cubicBezTo>
                  <a:cubicBezTo>
                    <a:pt x="2896" y="1931"/>
                    <a:pt x="2830" y="1939"/>
                    <a:pt x="2763" y="1944"/>
                  </a:cubicBezTo>
                  <a:cubicBezTo>
                    <a:pt x="2868" y="2442"/>
                    <a:pt x="2868" y="2442"/>
                    <a:pt x="2868" y="2442"/>
                  </a:cubicBezTo>
                  <a:cubicBezTo>
                    <a:pt x="2868" y="2442"/>
                    <a:pt x="2869" y="2442"/>
                    <a:pt x="2869" y="2442"/>
                  </a:cubicBezTo>
                  <a:cubicBezTo>
                    <a:pt x="2944" y="2436"/>
                    <a:pt x="3240" y="2414"/>
                    <a:pt x="3484" y="2391"/>
                  </a:cubicBezTo>
                  <a:cubicBezTo>
                    <a:pt x="3640" y="2376"/>
                    <a:pt x="3706" y="2376"/>
                    <a:pt x="3832" y="2346"/>
                  </a:cubicBezTo>
                  <a:close/>
                  <a:moveTo>
                    <a:pt x="4789" y="1905"/>
                  </a:moveTo>
                  <a:cubicBezTo>
                    <a:pt x="4737" y="1907"/>
                    <a:pt x="4651" y="1911"/>
                    <a:pt x="4562" y="1916"/>
                  </a:cubicBezTo>
                  <a:cubicBezTo>
                    <a:pt x="4551" y="1916"/>
                    <a:pt x="4541" y="1917"/>
                    <a:pt x="4530" y="1917"/>
                  </a:cubicBezTo>
                  <a:cubicBezTo>
                    <a:pt x="4516" y="1929"/>
                    <a:pt x="4516" y="1929"/>
                    <a:pt x="4516" y="1929"/>
                  </a:cubicBezTo>
                  <a:cubicBezTo>
                    <a:pt x="4429" y="2023"/>
                    <a:pt x="4150" y="2308"/>
                    <a:pt x="3840" y="2381"/>
                  </a:cubicBezTo>
                  <a:cubicBezTo>
                    <a:pt x="3821" y="2386"/>
                    <a:pt x="3803" y="2390"/>
                    <a:pt x="3786" y="2393"/>
                  </a:cubicBezTo>
                  <a:cubicBezTo>
                    <a:pt x="3876" y="2798"/>
                    <a:pt x="3876" y="2798"/>
                    <a:pt x="3876" y="2798"/>
                  </a:cubicBezTo>
                  <a:cubicBezTo>
                    <a:pt x="4176" y="2804"/>
                    <a:pt x="4517" y="2960"/>
                    <a:pt x="4628" y="3015"/>
                  </a:cubicBezTo>
                  <a:cubicBezTo>
                    <a:pt x="4647" y="3019"/>
                    <a:pt x="4647" y="3019"/>
                    <a:pt x="4647" y="3019"/>
                  </a:cubicBezTo>
                  <a:lnTo>
                    <a:pt x="4789" y="1905"/>
                  </a:lnTo>
                  <a:close/>
                  <a:moveTo>
                    <a:pt x="5064" y="1745"/>
                  </a:moveTo>
                  <a:cubicBezTo>
                    <a:pt x="5066" y="1737"/>
                    <a:pt x="5068" y="1724"/>
                    <a:pt x="5069" y="1718"/>
                  </a:cubicBezTo>
                  <a:cubicBezTo>
                    <a:pt x="5108" y="1136"/>
                    <a:pt x="5108" y="1136"/>
                    <a:pt x="5108" y="1136"/>
                  </a:cubicBezTo>
                  <a:cubicBezTo>
                    <a:pt x="5102" y="1083"/>
                    <a:pt x="5102" y="1083"/>
                    <a:pt x="5102" y="1083"/>
                  </a:cubicBezTo>
                  <a:cubicBezTo>
                    <a:pt x="4597" y="752"/>
                    <a:pt x="4597" y="752"/>
                    <a:pt x="4597" y="752"/>
                  </a:cubicBezTo>
                  <a:cubicBezTo>
                    <a:pt x="4244" y="1801"/>
                    <a:pt x="4244" y="1801"/>
                    <a:pt x="4244" y="1801"/>
                  </a:cubicBezTo>
                  <a:cubicBezTo>
                    <a:pt x="4242" y="1817"/>
                    <a:pt x="4242" y="1817"/>
                    <a:pt x="4242" y="1817"/>
                  </a:cubicBezTo>
                  <a:cubicBezTo>
                    <a:pt x="4360" y="1810"/>
                    <a:pt x="4786" y="1790"/>
                    <a:pt x="4830" y="1788"/>
                  </a:cubicBezTo>
                  <a:lnTo>
                    <a:pt x="5064" y="1745"/>
                  </a:lnTo>
                  <a:close/>
                  <a:moveTo>
                    <a:pt x="7186" y="1942"/>
                  </a:moveTo>
                  <a:cubicBezTo>
                    <a:pt x="7185" y="1926"/>
                    <a:pt x="7185" y="1926"/>
                    <a:pt x="7185" y="1926"/>
                  </a:cubicBezTo>
                  <a:cubicBezTo>
                    <a:pt x="6672" y="463"/>
                    <a:pt x="6672" y="463"/>
                    <a:pt x="6672" y="463"/>
                  </a:cubicBezTo>
                  <a:cubicBezTo>
                    <a:pt x="6573" y="483"/>
                    <a:pt x="6487" y="492"/>
                    <a:pt x="6411" y="492"/>
                  </a:cubicBezTo>
                  <a:cubicBezTo>
                    <a:pt x="6411" y="492"/>
                    <a:pt x="6411" y="492"/>
                    <a:pt x="6411" y="492"/>
                  </a:cubicBezTo>
                  <a:cubicBezTo>
                    <a:pt x="6251" y="492"/>
                    <a:pt x="6137" y="456"/>
                    <a:pt x="6040" y="435"/>
                  </a:cubicBezTo>
                  <a:cubicBezTo>
                    <a:pt x="5900" y="404"/>
                    <a:pt x="5154" y="205"/>
                    <a:pt x="5075" y="184"/>
                  </a:cubicBezTo>
                  <a:cubicBezTo>
                    <a:pt x="5071" y="333"/>
                    <a:pt x="5067" y="444"/>
                    <a:pt x="5066" y="458"/>
                  </a:cubicBezTo>
                  <a:cubicBezTo>
                    <a:pt x="5144" y="1135"/>
                    <a:pt x="5144" y="1135"/>
                    <a:pt x="5144" y="1135"/>
                  </a:cubicBezTo>
                  <a:cubicBezTo>
                    <a:pt x="5105" y="1731"/>
                    <a:pt x="5105" y="1731"/>
                    <a:pt x="5105" y="1731"/>
                  </a:cubicBezTo>
                  <a:cubicBezTo>
                    <a:pt x="5108" y="1752"/>
                    <a:pt x="5108" y="1752"/>
                    <a:pt x="5108" y="1752"/>
                  </a:cubicBezTo>
                  <a:cubicBezTo>
                    <a:pt x="5163" y="1764"/>
                    <a:pt x="5297" y="1794"/>
                    <a:pt x="5426" y="1823"/>
                  </a:cubicBezTo>
                  <a:cubicBezTo>
                    <a:pt x="5500" y="1840"/>
                    <a:pt x="5573" y="1857"/>
                    <a:pt x="5628" y="1869"/>
                  </a:cubicBezTo>
                  <a:cubicBezTo>
                    <a:pt x="5655" y="1875"/>
                    <a:pt x="5678" y="1881"/>
                    <a:pt x="5694" y="1884"/>
                  </a:cubicBezTo>
                  <a:cubicBezTo>
                    <a:pt x="5702" y="1886"/>
                    <a:pt x="5708" y="1888"/>
                    <a:pt x="5713" y="1889"/>
                  </a:cubicBezTo>
                  <a:cubicBezTo>
                    <a:pt x="5714" y="1889"/>
                    <a:pt x="5715" y="1889"/>
                    <a:pt x="5715" y="1890"/>
                  </a:cubicBezTo>
                  <a:cubicBezTo>
                    <a:pt x="5777" y="1892"/>
                    <a:pt x="6235" y="1908"/>
                    <a:pt x="6694" y="1924"/>
                  </a:cubicBezTo>
                  <a:cubicBezTo>
                    <a:pt x="6865" y="1931"/>
                    <a:pt x="7036" y="1937"/>
                    <a:pt x="7186" y="1942"/>
                  </a:cubicBezTo>
                  <a:close/>
                  <a:moveTo>
                    <a:pt x="8904" y="889"/>
                  </a:moveTo>
                  <a:cubicBezTo>
                    <a:pt x="8905" y="889"/>
                    <a:pt x="8905" y="889"/>
                    <a:pt x="8905" y="889"/>
                  </a:cubicBezTo>
                  <a:cubicBezTo>
                    <a:pt x="8905" y="889"/>
                    <a:pt x="8905" y="889"/>
                    <a:pt x="8905" y="889"/>
                  </a:cubicBezTo>
                  <a:lnTo>
                    <a:pt x="8904" y="889"/>
                  </a:lnTo>
                  <a:close/>
                  <a:moveTo>
                    <a:pt x="8903" y="895"/>
                  </a:moveTo>
                  <a:cubicBezTo>
                    <a:pt x="8905" y="895"/>
                    <a:pt x="8905" y="895"/>
                    <a:pt x="8905" y="895"/>
                  </a:cubicBezTo>
                  <a:cubicBezTo>
                    <a:pt x="8905" y="895"/>
                    <a:pt x="8905" y="895"/>
                    <a:pt x="8905" y="895"/>
                  </a:cubicBezTo>
                  <a:lnTo>
                    <a:pt x="8903" y="895"/>
                  </a:lnTo>
                  <a:close/>
                  <a:moveTo>
                    <a:pt x="7813" y="974"/>
                  </a:moveTo>
                  <a:cubicBezTo>
                    <a:pt x="7925" y="963"/>
                    <a:pt x="8770" y="883"/>
                    <a:pt x="8903" y="877"/>
                  </a:cubicBezTo>
                  <a:cubicBezTo>
                    <a:pt x="8894" y="806"/>
                    <a:pt x="8887" y="754"/>
                    <a:pt x="8885" y="734"/>
                  </a:cubicBezTo>
                  <a:cubicBezTo>
                    <a:pt x="7652" y="2"/>
                    <a:pt x="7652" y="2"/>
                    <a:pt x="7652" y="2"/>
                  </a:cubicBezTo>
                  <a:cubicBezTo>
                    <a:pt x="7574" y="144"/>
                    <a:pt x="7574" y="144"/>
                    <a:pt x="7574" y="144"/>
                  </a:cubicBezTo>
                  <a:cubicBezTo>
                    <a:pt x="7574" y="145"/>
                    <a:pt x="7573" y="147"/>
                    <a:pt x="7571" y="151"/>
                  </a:cubicBezTo>
                  <a:cubicBezTo>
                    <a:pt x="7566" y="168"/>
                    <a:pt x="7554" y="211"/>
                    <a:pt x="7554" y="275"/>
                  </a:cubicBezTo>
                  <a:cubicBezTo>
                    <a:pt x="7554" y="337"/>
                    <a:pt x="7565" y="417"/>
                    <a:pt x="7603" y="513"/>
                  </a:cubicBezTo>
                  <a:cubicBezTo>
                    <a:pt x="7650" y="628"/>
                    <a:pt x="7704" y="746"/>
                    <a:pt x="7746" y="836"/>
                  </a:cubicBezTo>
                  <a:cubicBezTo>
                    <a:pt x="7778" y="902"/>
                    <a:pt x="7803" y="953"/>
                    <a:pt x="7813" y="974"/>
                  </a:cubicBezTo>
                  <a:close/>
                  <a:moveTo>
                    <a:pt x="7883" y="1976"/>
                  </a:moveTo>
                  <a:cubicBezTo>
                    <a:pt x="7920" y="1981"/>
                    <a:pt x="8367" y="2047"/>
                    <a:pt x="8875" y="2123"/>
                  </a:cubicBezTo>
                  <a:cubicBezTo>
                    <a:pt x="8877" y="2121"/>
                    <a:pt x="8885" y="2110"/>
                    <a:pt x="8891" y="2104"/>
                  </a:cubicBezTo>
                  <a:cubicBezTo>
                    <a:pt x="8894" y="2100"/>
                    <a:pt x="8896" y="2095"/>
                    <a:pt x="8899" y="2090"/>
                  </a:cubicBezTo>
                  <a:cubicBezTo>
                    <a:pt x="8932" y="2028"/>
                    <a:pt x="8997" y="1879"/>
                    <a:pt x="8997" y="1695"/>
                  </a:cubicBezTo>
                  <a:cubicBezTo>
                    <a:pt x="8997" y="1668"/>
                    <a:pt x="8996" y="1640"/>
                    <a:pt x="8993" y="1611"/>
                  </a:cubicBezTo>
                  <a:cubicBezTo>
                    <a:pt x="8976" y="1464"/>
                    <a:pt x="8949" y="1243"/>
                    <a:pt x="8926" y="1058"/>
                  </a:cubicBezTo>
                  <a:cubicBezTo>
                    <a:pt x="8919" y="1006"/>
                    <a:pt x="8913" y="956"/>
                    <a:pt x="8908" y="913"/>
                  </a:cubicBezTo>
                  <a:cubicBezTo>
                    <a:pt x="8848" y="915"/>
                    <a:pt x="8586" y="938"/>
                    <a:pt x="8334" y="961"/>
                  </a:cubicBezTo>
                  <a:cubicBezTo>
                    <a:pt x="8106" y="982"/>
                    <a:pt x="7885" y="1003"/>
                    <a:pt x="7823" y="1009"/>
                  </a:cubicBezTo>
                  <a:cubicBezTo>
                    <a:pt x="7899" y="1709"/>
                    <a:pt x="7899" y="1709"/>
                    <a:pt x="7899" y="1709"/>
                  </a:cubicBezTo>
                  <a:cubicBezTo>
                    <a:pt x="7810" y="1952"/>
                    <a:pt x="7810" y="1952"/>
                    <a:pt x="7810" y="1952"/>
                  </a:cubicBezTo>
                  <a:cubicBezTo>
                    <a:pt x="7811" y="1968"/>
                    <a:pt x="7811" y="1968"/>
                    <a:pt x="7811" y="1968"/>
                  </a:cubicBezTo>
                  <a:cubicBezTo>
                    <a:pt x="7835" y="1970"/>
                    <a:pt x="7859" y="1973"/>
                    <a:pt x="7883" y="1976"/>
                  </a:cubicBezTo>
                  <a:close/>
                  <a:moveTo>
                    <a:pt x="8925" y="2130"/>
                  </a:moveTo>
                  <a:cubicBezTo>
                    <a:pt x="9249" y="2178"/>
                    <a:pt x="9593" y="2230"/>
                    <a:pt x="9870" y="2271"/>
                  </a:cubicBezTo>
                  <a:cubicBezTo>
                    <a:pt x="9877" y="2258"/>
                    <a:pt x="9877" y="2258"/>
                    <a:pt x="9877" y="2258"/>
                  </a:cubicBezTo>
                  <a:cubicBezTo>
                    <a:pt x="9999" y="1900"/>
                    <a:pt x="9999" y="1900"/>
                    <a:pt x="9999" y="1900"/>
                  </a:cubicBezTo>
                  <a:cubicBezTo>
                    <a:pt x="10155" y="1772"/>
                    <a:pt x="10155" y="1772"/>
                    <a:pt x="10155" y="1772"/>
                  </a:cubicBezTo>
                  <a:cubicBezTo>
                    <a:pt x="10131" y="1101"/>
                    <a:pt x="10131" y="1101"/>
                    <a:pt x="10131" y="1101"/>
                  </a:cubicBezTo>
                  <a:cubicBezTo>
                    <a:pt x="10265" y="927"/>
                    <a:pt x="10265" y="927"/>
                    <a:pt x="10265" y="927"/>
                  </a:cubicBezTo>
                  <a:cubicBezTo>
                    <a:pt x="10260" y="868"/>
                    <a:pt x="10216" y="426"/>
                    <a:pt x="10207" y="336"/>
                  </a:cubicBezTo>
                  <a:cubicBezTo>
                    <a:pt x="9188" y="321"/>
                    <a:pt x="9188" y="321"/>
                    <a:pt x="9188" y="321"/>
                  </a:cubicBezTo>
                  <a:cubicBezTo>
                    <a:pt x="9170" y="348"/>
                    <a:pt x="9114" y="435"/>
                    <a:pt x="9057" y="522"/>
                  </a:cubicBezTo>
                  <a:cubicBezTo>
                    <a:pt x="9022" y="574"/>
                    <a:pt x="8987" y="626"/>
                    <a:pt x="8960" y="666"/>
                  </a:cubicBezTo>
                  <a:cubicBezTo>
                    <a:pt x="8947" y="686"/>
                    <a:pt x="8935" y="703"/>
                    <a:pt x="8927" y="715"/>
                  </a:cubicBezTo>
                  <a:cubicBezTo>
                    <a:pt x="8924" y="718"/>
                    <a:pt x="8922" y="721"/>
                    <a:pt x="8920" y="724"/>
                  </a:cubicBezTo>
                  <a:cubicBezTo>
                    <a:pt x="8925" y="767"/>
                    <a:pt x="8997" y="1324"/>
                    <a:pt x="9028" y="1607"/>
                  </a:cubicBezTo>
                  <a:cubicBezTo>
                    <a:pt x="9032" y="1637"/>
                    <a:pt x="9033" y="1666"/>
                    <a:pt x="9033" y="1695"/>
                  </a:cubicBezTo>
                  <a:cubicBezTo>
                    <a:pt x="9033" y="1887"/>
                    <a:pt x="8965" y="2041"/>
                    <a:pt x="8931" y="2107"/>
                  </a:cubicBezTo>
                  <a:lnTo>
                    <a:pt x="8925" y="2130"/>
                  </a:lnTo>
                  <a:close/>
                  <a:moveTo>
                    <a:pt x="13133" y="2349"/>
                  </a:moveTo>
                  <a:cubicBezTo>
                    <a:pt x="12120" y="1948"/>
                    <a:pt x="12120" y="1948"/>
                    <a:pt x="12120" y="1948"/>
                  </a:cubicBezTo>
                  <a:cubicBezTo>
                    <a:pt x="11924" y="657"/>
                    <a:pt x="11924" y="657"/>
                    <a:pt x="11924" y="657"/>
                  </a:cubicBezTo>
                  <a:cubicBezTo>
                    <a:pt x="10294" y="949"/>
                    <a:pt x="10294" y="949"/>
                    <a:pt x="10294" y="949"/>
                  </a:cubicBezTo>
                  <a:cubicBezTo>
                    <a:pt x="10167" y="1113"/>
                    <a:pt x="10167" y="1113"/>
                    <a:pt x="10167" y="1113"/>
                  </a:cubicBezTo>
                  <a:cubicBezTo>
                    <a:pt x="10192" y="1789"/>
                    <a:pt x="10192" y="1789"/>
                    <a:pt x="10192" y="1789"/>
                  </a:cubicBezTo>
                  <a:cubicBezTo>
                    <a:pt x="10030" y="1922"/>
                    <a:pt x="10030" y="1922"/>
                    <a:pt x="10030" y="1922"/>
                  </a:cubicBezTo>
                  <a:cubicBezTo>
                    <a:pt x="9916" y="2256"/>
                    <a:pt x="9916" y="2256"/>
                    <a:pt x="9916" y="2256"/>
                  </a:cubicBezTo>
                  <a:cubicBezTo>
                    <a:pt x="9914" y="2277"/>
                    <a:pt x="9914" y="2277"/>
                    <a:pt x="9914" y="2277"/>
                  </a:cubicBezTo>
                  <a:cubicBezTo>
                    <a:pt x="10204" y="2321"/>
                    <a:pt x="10411" y="2351"/>
                    <a:pt x="10426" y="2354"/>
                  </a:cubicBezTo>
                  <a:cubicBezTo>
                    <a:pt x="10442" y="2356"/>
                    <a:pt x="10604" y="2375"/>
                    <a:pt x="10764" y="2447"/>
                  </a:cubicBezTo>
                  <a:cubicBezTo>
                    <a:pt x="10928" y="2521"/>
                    <a:pt x="11492" y="2837"/>
                    <a:pt x="11647" y="2935"/>
                  </a:cubicBezTo>
                  <a:cubicBezTo>
                    <a:pt x="12574" y="3529"/>
                    <a:pt x="12574" y="3529"/>
                    <a:pt x="12574" y="3529"/>
                  </a:cubicBezTo>
                  <a:cubicBezTo>
                    <a:pt x="12718" y="3229"/>
                    <a:pt x="12853" y="2944"/>
                    <a:pt x="12956" y="2726"/>
                  </a:cubicBezTo>
                  <a:cubicBezTo>
                    <a:pt x="13045" y="2536"/>
                    <a:pt x="13110" y="2399"/>
                    <a:pt x="13133" y="23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31" name="Vrije vorm: vorm 20">
              <a:extLst>
                <a:ext uri="{FF2B5EF4-FFF2-40B4-BE49-F238E27FC236}">
                  <a16:creationId xmlns:a16="http://schemas.microsoft.com/office/drawing/2014/main" id="{3DD2F5A7-5A03-464A-B51C-441C047EA134}"/>
                </a:ext>
              </a:extLst>
            </p:cNvPr>
            <p:cNvSpPr>
              <a:spLocks noSelect="1"/>
            </p:cNvSpPr>
            <p:nvPr userDrawn="1"/>
          </p:nvSpPr>
          <p:spPr bwMode="gray">
            <a:xfrm>
              <a:off x="0" y="2282399"/>
              <a:ext cx="12195361" cy="3427838"/>
            </a:xfrm>
            <a:custGeom>
              <a:avLst/>
              <a:gdLst>
                <a:gd name="connsiteX0" fmla="*/ 1144706 w 12195361"/>
                <a:gd name="connsiteY0" fmla="*/ 0 h 3427838"/>
                <a:gd name="connsiteX1" fmla="*/ 12195361 w 12195361"/>
                <a:gd name="connsiteY1" fmla="*/ 0 h 3427838"/>
                <a:gd name="connsiteX2" fmla="*/ 12195361 w 12195361"/>
                <a:gd name="connsiteY2" fmla="*/ 1147680 h 3427838"/>
                <a:gd name="connsiteX3" fmla="*/ 12195175 w 12195361"/>
                <a:gd name="connsiteY3" fmla="*/ 1147680 h 3427838"/>
                <a:gd name="connsiteX4" fmla="*/ 12195175 w 12195361"/>
                <a:gd name="connsiteY4" fmla="*/ 3427838 h 3427838"/>
                <a:gd name="connsiteX5" fmla="*/ 0 w 12195361"/>
                <a:gd name="connsiteY5" fmla="*/ 3427838 h 3427838"/>
                <a:gd name="connsiteX6" fmla="*/ 0 w 12195361"/>
                <a:gd name="connsiteY6" fmla="*/ 1143426 h 3427838"/>
                <a:gd name="connsiteX7" fmla="*/ 569408 w 12195361"/>
                <a:gd name="connsiteY7" fmla="*/ 575597 h 3427838"/>
                <a:gd name="connsiteX8" fmla="*/ 568440 w 12195361"/>
                <a:gd name="connsiteY8" fmla="*/ 574634 h 3427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5361" h="3427838">
                  <a:moveTo>
                    <a:pt x="1144706" y="0"/>
                  </a:moveTo>
                  <a:lnTo>
                    <a:pt x="12195361" y="0"/>
                  </a:lnTo>
                  <a:lnTo>
                    <a:pt x="12195361" y="1147680"/>
                  </a:lnTo>
                  <a:lnTo>
                    <a:pt x="12195175" y="1147680"/>
                  </a:lnTo>
                  <a:lnTo>
                    <a:pt x="12195175" y="3427838"/>
                  </a:lnTo>
                  <a:lnTo>
                    <a:pt x="0" y="3427838"/>
                  </a:lnTo>
                  <a:lnTo>
                    <a:pt x="0" y="1143426"/>
                  </a:lnTo>
                  <a:lnTo>
                    <a:pt x="569408" y="575597"/>
                  </a:lnTo>
                  <a:lnTo>
                    <a:pt x="568440" y="574634"/>
                  </a:lnTo>
                  <a:close/>
                </a:path>
              </a:pathLst>
            </a:custGeom>
            <a:solidFill>
              <a:srgbClr val="C73735"/>
            </a:solidFill>
            <a:ln>
              <a:noFill/>
            </a:ln>
          </p:spPr>
          <p:txBody>
            <a:bodyPr vert="horz" wrap="square" lIns="91440" tIns="45720" rIns="91440" bIns="45720" numCol="1" anchor="t" anchorCtr="0" compatLnSpc="1">
              <a:prstTxWarp prst="textNoShape">
                <a:avLst/>
              </a:prstTxWarp>
              <a:noAutofit/>
            </a:bodyPr>
            <a:lstStyle/>
            <a:p>
              <a:endParaRPr lang="nl-NL" dirty="0"/>
            </a:p>
          </p:txBody>
        </p:sp>
        <p:grpSp>
          <p:nvGrpSpPr>
            <p:cNvPr id="32" name="Group 25">
              <a:extLst>
                <a:ext uri="{FF2B5EF4-FFF2-40B4-BE49-F238E27FC236}">
                  <a16:creationId xmlns:a16="http://schemas.microsoft.com/office/drawing/2014/main" id="{9FDCD6F0-D7C5-442C-BD3E-9CAD785BCD9B}"/>
                </a:ext>
              </a:extLst>
            </p:cNvPr>
            <p:cNvGrpSpPr>
              <a:grpSpLocks noSelect="1"/>
            </p:cNvGrpSpPr>
            <p:nvPr userDrawn="1"/>
          </p:nvGrpSpPr>
          <p:grpSpPr bwMode="gray">
            <a:xfrm>
              <a:off x="6475413" y="2279650"/>
              <a:ext cx="5719763" cy="3430800"/>
              <a:chOff x="4079" y="1437"/>
              <a:chExt cx="3603" cy="2160"/>
            </a:xfrm>
          </p:grpSpPr>
          <p:sp>
            <p:nvSpPr>
              <p:cNvPr id="33" name="Freeform 26">
                <a:extLst>
                  <a:ext uri="{FF2B5EF4-FFF2-40B4-BE49-F238E27FC236}">
                    <a16:creationId xmlns:a16="http://schemas.microsoft.com/office/drawing/2014/main" id="{0F40A888-0D9E-43FE-BCE8-F28B06826A62}"/>
                  </a:ext>
                </a:extLst>
              </p:cNvPr>
              <p:cNvSpPr>
                <a:spLocks noSelect="1"/>
              </p:cNvSpPr>
              <p:nvPr userDrawn="1"/>
            </p:nvSpPr>
            <p:spPr bwMode="gray">
              <a:xfrm>
                <a:off x="4080" y="1439"/>
                <a:ext cx="3602" cy="2158"/>
              </a:xfrm>
              <a:custGeom>
                <a:avLst/>
                <a:gdLst>
                  <a:gd name="T0" fmla="*/ 17630 w 18008"/>
                  <a:gd name="T1" fmla="*/ 709 h 10801"/>
                  <a:gd name="T2" fmla="*/ 484 w 18008"/>
                  <a:gd name="T3" fmla="*/ 9941 h 10801"/>
                  <a:gd name="T4" fmla="*/ 4 w 18008"/>
                  <a:gd name="T5" fmla="*/ 1208 h 10801"/>
                  <a:gd name="T6" fmla="*/ 6458 w 18008"/>
                  <a:gd name="T7" fmla="*/ 268 h 10801"/>
                  <a:gd name="T8" fmla="*/ 9795 w 18008"/>
                  <a:gd name="T9" fmla="*/ 5809 h 10801"/>
                  <a:gd name="T10" fmla="*/ 10977 w 18008"/>
                  <a:gd name="T11" fmla="*/ 5207 h 10801"/>
                  <a:gd name="T12" fmla="*/ 3387 w 18008"/>
                  <a:gd name="T13" fmla="*/ 9414 h 10801"/>
                  <a:gd name="T14" fmla="*/ 2973 w 18008"/>
                  <a:gd name="T15" fmla="*/ 594 h 10801"/>
                  <a:gd name="T16" fmla="*/ 1258 w 18008"/>
                  <a:gd name="T17" fmla="*/ 2252 h 10801"/>
                  <a:gd name="T18" fmla="*/ 4569 w 18008"/>
                  <a:gd name="T19" fmla="*/ 1434 h 10801"/>
                  <a:gd name="T20" fmla="*/ 1876 w 18008"/>
                  <a:gd name="T21" fmla="*/ 7438 h 10801"/>
                  <a:gd name="T22" fmla="*/ 469 w 18008"/>
                  <a:gd name="T23" fmla="*/ 5054 h 10801"/>
                  <a:gd name="T24" fmla="*/ 7255 w 18008"/>
                  <a:gd name="T25" fmla="*/ 3824 h 10801"/>
                  <a:gd name="T26" fmla="*/ 4102 w 18008"/>
                  <a:gd name="T27" fmla="*/ 8425 h 10801"/>
                  <a:gd name="T28" fmla="*/ 5675 w 18008"/>
                  <a:gd name="T29" fmla="*/ 2611 h 10801"/>
                  <a:gd name="T30" fmla="*/ 4286 w 18008"/>
                  <a:gd name="T31" fmla="*/ 5657 h 10801"/>
                  <a:gd name="T32" fmla="*/ 3740 w 18008"/>
                  <a:gd name="T33" fmla="*/ 5768 h 10801"/>
                  <a:gd name="T34" fmla="*/ 2911 w 18008"/>
                  <a:gd name="T35" fmla="*/ 3955 h 10801"/>
                  <a:gd name="T36" fmla="*/ 4794 w 18008"/>
                  <a:gd name="T37" fmla="*/ 6771 h 10801"/>
                  <a:gd name="T38" fmla="*/ 1345 w 18008"/>
                  <a:gd name="T39" fmla="*/ 4588 h 10801"/>
                  <a:gd name="T40" fmla="*/ 6137 w 18008"/>
                  <a:gd name="T41" fmla="*/ 4556 h 10801"/>
                  <a:gd name="T42" fmla="*/ 7173 w 18008"/>
                  <a:gd name="T43" fmla="*/ 4565 h 10801"/>
                  <a:gd name="T44" fmla="*/ 1767 w 18008"/>
                  <a:gd name="T45" fmla="*/ 3394 h 10801"/>
                  <a:gd name="T46" fmla="*/ 6608 w 18008"/>
                  <a:gd name="T47" fmla="*/ 8126 h 10801"/>
                  <a:gd name="T48" fmla="*/ 5807 w 18008"/>
                  <a:gd name="T49" fmla="*/ 2567 h 10801"/>
                  <a:gd name="T50" fmla="*/ 450 w 18008"/>
                  <a:gd name="T51" fmla="*/ 5051 h 10801"/>
                  <a:gd name="T52" fmla="*/ 1810 w 18008"/>
                  <a:gd name="T53" fmla="*/ 10217 h 10801"/>
                  <a:gd name="T54" fmla="*/ 7625 w 18008"/>
                  <a:gd name="T55" fmla="*/ 8136 h 10801"/>
                  <a:gd name="T56" fmla="*/ 5937 w 18008"/>
                  <a:gd name="T57" fmla="*/ 1139 h 10801"/>
                  <a:gd name="T58" fmla="*/ 4200 w 18008"/>
                  <a:gd name="T59" fmla="*/ 390 h 10801"/>
                  <a:gd name="T60" fmla="*/ 1236 w 18008"/>
                  <a:gd name="T61" fmla="*/ 2645 h 10801"/>
                  <a:gd name="T62" fmla="*/ 1142 w 18008"/>
                  <a:gd name="T63" fmla="*/ 8692 h 10801"/>
                  <a:gd name="T64" fmla="*/ 2991 w 18008"/>
                  <a:gd name="T65" fmla="*/ 9818 h 10801"/>
                  <a:gd name="T66" fmla="*/ 14547 w 18008"/>
                  <a:gd name="T67" fmla="*/ 9024 h 10801"/>
                  <a:gd name="T68" fmla="*/ 1165 w 18008"/>
                  <a:gd name="T69" fmla="*/ 77 h 10801"/>
                  <a:gd name="T70" fmla="*/ 458 w 18008"/>
                  <a:gd name="T71" fmla="*/ 4194 h 10801"/>
                  <a:gd name="T72" fmla="*/ 3024 w 18008"/>
                  <a:gd name="T73" fmla="*/ 430 h 10801"/>
                  <a:gd name="T74" fmla="*/ 505 w 18008"/>
                  <a:gd name="T75" fmla="*/ 8406 h 10801"/>
                  <a:gd name="T76" fmla="*/ 8304 w 18008"/>
                  <a:gd name="T77" fmla="*/ 0 h 10801"/>
                  <a:gd name="T78" fmla="*/ 404 w 18008"/>
                  <a:gd name="T79" fmla="*/ 1203 h 10801"/>
                  <a:gd name="T80" fmla="*/ 9426 w 18008"/>
                  <a:gd name="T81" fmla="*/ 423 h 10801"/>
                  <a:gd name="T82" fmla="*/ 6587 w 18008"/>
                  <a:gd name="T83" fmla="*/ 7122 h 10801"/>
                  <a:gd name="T84" fmla="*/ 1518 w 18008"/>
                  <a:gd name="T85" fmla="*/ 5561 h 10801"/>
                  <a:gd name="T86" fmla="*/ 3890 w 18008"/>
                  <a:gd name="T87" fmla="*/ 7330 h 10801"/>
                  <a:gd name="T88" fmla="*/ 7399 w 18008"/>
                  <a:gd name="T89" fmla="*/ 6683 h 10801"/>
                  <a:gd name="T90" fmla="*/ 6232 w 18008"/>
                  <a:gd name="T91" fmla="*/ 7121 h 10801"/>
                  <a:gd name="T92" fmla="*/ 3045 w 18008"/>
                  <a:gd name="T93" fmla="*/ 5214 h 10801"/>
                  <a:gd name="T94" fmla="*/ 2725 w 18008"/>
                  <a:gd name="T95" fmla="*/ 5636 h 10801"/>
                  <a:gd name="T96" fmla="*/ 3164 w 18008"/>
                  <a:gd name="T97" fmla="*/ 3542 h 10801"/>
                  <a:gd name="T98" fmla="*/ 4258 w 18008"/>
                  <a:gd name="T99" fmla="*/ 5386 h 10801"/>
                  <a:gd name="T100" fmla="*/ 1909 w 18008"/>
                  <a:gd name="T101" fmla="*/ 4548 h 10801"/>
                  <a:gd name="T102" fmla="*/ 5136 w 18008"/>
                  <a:gd name="T103" fmla="*/ 6510 h 10801"/>
                  <a:gd name="T104" fmla="*/ 4572 w 18008"/>
                  <a:gd name="T105" fmla="*/ 8336 h 10801"/>
                  <a:gd name="T106" fmla="*/ 875 w 18008"/>
                  <a:gd name="T107" fmla="*/ 7620 h 10801"/>
                  <a:gd name="T108" fmla="*/ 2842 w 18008"/>
                  <a:gd name="T109" fmla="*/ 837 h 10801"/>
                  <a:gd name="T110" fmla="*/ 10952 w 18008"/>
                  <a:gd name="T111" fmla="*/ 8849 h 10801"/>
                  <a:gd name="T112" fmla="*/ 6962 w 18008"/>
                  <a:gd name="T113" fmla="*/ 9457 h 10801"/>
                  <a:gd name="T114" fmla="*/ 9342 w 18008"/>
                  <a:gd name="T115" fmla="*/ 5441 h 10801"/>
                  <a:gd name="T116" fmla="*/ 7767 w 18008"/>
                  <a:gd name="T117" fmla="*/ 6519 h 10801"/>
                  <a:gd name="T118" fmla="*/ 3027 w 18008"/>
                  <a:gd name="T119" fmla="*/ 3056 h 10801"/>
                  <a:gd name="T120" fmla="*/ 8061 w 18008"/>
                  <a:gd name="T121" fmla="*/ 3479 h 10801"/>
                  <a:gd name="T122" fmla="*/ 2151 w 18008"/>
                  <a:gd name="T123" fmla="*/ 1153 h 10801"/>
                  <a:gd name="T124" fmla="*/ 7618 w 18008"/>
                  <a:gd name="T125" fmla="*/ 6752 h 10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08" h="10801">
                    <a:moveTo>
                      <a:pt x="18005" y="9727"/>
                    </a:moveTo>
                    <a:cubicBezTo>
                      <a:pt x="18005" y="9644"/>
                      <a:pt x="18005" y="9644"/>
                      <a:pt x="18005" y="9644"/>
                    </a:cubicBezTo>
                    <a:cubicBezTo>
                      <a:pt x="18006" y="9645"/>
                      <a:pt x="18007" y="9646"/>
                      <a:pt x="18008" y="9647"/>
                    </a:cubicBezTo>
                    <a:cubicBezTo>
                      <a:pt x="18008" y="9730"/>
                      <a:pt x="18008" y="9730"/>
                      <a:pt x="18008" y="9730"/>
                    </a:cubicBezTo>
                    <a:cubicBezTo>
                      <a:pt x="18007" y="9729"/>
                      <a:pt x="18006" y="9728"/>
                      <a:pt x="18005" y="9727"/>
                    </a:cubicBezTo>
                    <a:close/>
                    <a:moveTo>
                      <a:pt x="18008" y="4545"/>
                    </a:moveTo>
                    <a:cubicBezTo>
                      <a:pt x="18008" y="4387"/>
                      <a:pt x="18008" y="4387"/>
                      <a:pt x="18008" y="4387"/>
                    </a:cubicBezTo>
                    <a:cubicBezTo>
                      <a:pt x="18007" y="4387"/>
                      <a:pt x="18006" y="4386"/>
                      <a:pt x="18005" y="4386"/>
                    </a:cubicBezTo>
                    <a:cubicBezTo>
                      <a:pt x="18005" y="4544"/>
                      <a:pt x="18005" y="4544"/>
                      <a:pt x="18005" y="4544"/>
                    </a:cubicBezTo>
                    <a:cubicBezTo>
                      <a:pt x="18006" y="4544"/>
                      <a:pt x="18007" y="4544"/>
                      <a:pt x="18008" y="4545"/>
                    </a:cubicBezTo>
                    <a:close/>
                    <a:moveTo>
                      <a:pt x="18008" y="4895"/>
                    </a:moveTo>
                    <a:cubicBezTo>
                      <a:pt x="18008" y="4819"/>
                      <a:pt x="18008" y="4819"/>
                      <a:pt x="18008" y="4819"/>
                    </a:cubicBezTo>
                    <a:cubicBezTo>
                      <a:pt x="18007" y="4820"/>
                      <a:pt x="18006" y="4821"/>
                      <a:pt x="18005" y="4821"/>
                    </a:cubicBezTo>
                    <a:cubicBezTo>
                      <a:pt x="18005" y="4896"/>
                      <a:pt x="18005" y="4896"/>
                      <a:pt x="18005" y="4896"/>
                    </a:cubicBezTo>
                    <a:cubicBezTo>
                      <a:pt x="18006" y="4896"/>
                      <a:pt x="18007" y="4895"/>
                      <a:pt x="18008" y="4895"/>
                    </a:cubicBezTo>
                    <a:close/>
                    <a:moveTo>
                      <a:pt x="758" y="3560"/>
                    </a:moveTo>
                    <a:cubicBezTo>
                      <a:pt x="636" y="3338"/>
                      <a:pt x="636" y="3338"/>
                      <a:pt x="636" y="3338"/>
                    </a:cubicBezTo>
                    <a:cubicBezTo>
                      <a:pt x="694" y="3306"/>
                      <a:pt x="694" y="3306"/>
                      <a:pt x="694" y="3306"/>
                    </a:cubicBezTo>
                    <a:cubicBezTo>
                      <a:pt x="817" y="3529"/>
                      <a:pt x="817" y="3529"/>
                      <a:pt x="817" y="3529"/>
                    </a:cubicBezTo>
                    <a:lnTo>
                      <a:pt x="758" y="3560"/>
                    </a:lnTo>
                    <a:close/>
                    <a:moveTo>
                      <a:pt x="654" y="3343"/>
                    </a:moveTo>
                    <a:cubicBezTo>
                      <a:pt x="763" y="3541"/>
                      <a:pt x="763" y="3541"/>
                      <a:pt x="763" y="3541"/>
                    </a:cubicBezTo>
                    <a:cubicBezTo>
                      <a:pt x="798" y="3523"/>
                      <a:pt x="798" y="3523"/>
                      <a:pt x="798" y="3523"/>
                    </a:cubicBezTo>
                    <a:cubicBezTo>
                      <a:pt x="688" y="3325"/>
                      <a:pt x="688" y="3325"/>
                      <a:pt x="688" y="3325"/>
                    </a:cubicBezTo>
                    <a:lnTo>
                      <a:pt x="654" y="3343"/>
                    </a:lnTo>
                    <a:close/>
                    <a:moveTo>
                      <a:pt x="10918" y="9436"/>
                    </a:moveTo>
                    <a:cubicBezTo>
                      <a:pt x="10984" y="9525"/>
                      <a:pt x="10984" y="9525"/>
                      <a:pt x="10984" y="9525"/>
                    </a:cubicBezTo>
                    <a:cubicBezTo>
                      <a:pt x="10860" y="9618"/>
                      <a:pt x="10860" y="9618"/>
                      <a:pt x="10860" y="9618"/>
                    </a:cubicBezTo>
                    <a:cubicBezTo>
                      <a:pt x="10794" y="9529"/>
                      <a:pt x="10794" y="9529"/>
                      <a:pt x="10794" y="9529"/>
                    </a:cubicBezTo>
                    <a:cubicBezTo>
                      <a:pt x="10799" y="9525"/>
                      <a:pt x="10799" y="9525"/>
                      <a:pt x="10799" y="9525"/>
                    </a:cubicBezTo>
                    <a:lnTo>
                      <a:pt x="10918" y="9436"/>
                    </a:lnTo>
                    <a:close/>
                    <a:moveTo>
                      <a:pt x="10966" y="9522"/>
                    </a:moveTo>
                    <a:cubicBezTo>
                      <a:pt x="10915" y="9454"/>
                      <a:pt x="10915" y="9454"/>
                      <a:pt x="10915" y="9454"/>
                    </a:cubicBezTo>
                    <a:cubicBezTo>
                      <a:pt x="10812" y="9532"/>
                      <a:pt x="10812" y="9532"/>
                      <a:pt x="10812" y="9532"/>
                    </a:cubicBezTo>
                    <a:cubicBezTo>
                      <a:pt x="10863" y="9599"/>
                      <a:pt x="10863" y="9599"/>
                      <a:pt x="10863" y="9599"/>
                    </a:cubicBezTo>
                    <a:lnTo>
                      <a:pt x="10966" y="9522"/>
                    </a:lnTo>
                    <a:close/>
                    <a:moveTo>
                      <a:pt x="8471" y="4773"/>
                    </a:moveTo>
                    <a:cubicBezTo>
                      <a:pt x="8763" y="4716"/>
                      <a:pt x="8763" y="4716"/>
                      <a:pt x="8763" y="4716"/>
                    </a:cubicBezTo>
                    <a:cubicBezTo>
                      <a:pt x="8756" y="4730"/>
                      <a:pt x="8756" y="4730"/>
                      <a:pt x="8756" y="4730"/>
                    </a:cubicBezTo>
                    <a:cubicBezTo>
                      <a:pt x="8455" y="5325"/>
                      <a:pt x="8455" y="5325"/>
                      <a:pt x="8455" y="5325"/>
                    </a:cubicBezTo>
                    <a:cubicBezTo>
                      <a:pt x="8412" y="5264"/>
                      <a:pt x="8412" y="5264"/>
                      <a:pt x="8412" y="5264"/>
                    </a:cubicBezTo>
                    <a:cubicBezTo>
                      <a:pt x="8390" y="5315"/>
                      <a:pt x="8295" y="5502"/>
                      <a:pt x="8123" y="5508"/>
                    </a:cubicBezTo>
                    <a:cubicBezTo>
                      <a:pt x="8121" y="5508"/>
                      <a:pt x="8120" y="5508"/>
                      <a:pt x="8118" y="5508"/>
                    </a:cubicBezTo>
                    <a:cubicBezTo>
                      <a:pt x="8020" y="5508"/>
                      <a:pt x="7968" y="5430"/>
                      <a:pt x="7942" y="5355"/>
                    </a:cubicBezTo>
                    <a:cubicBezTo>
                      <a:pt x="7920" y="5294"/>
                      <a:pt x="7914" y="5234"/>
                      <a:pt x="7913" y="5212"/>
                    </a:cubicBezTo>
                    <a:cubicBezTo>
                      <a:pt x="7669" y="5261"/>
                      <a:pt x="7669" y="5261"/>
                      <a:pt x="7669" y="5261"/>
                    </a:cubicBezTo>
                    <a:cubicBezTo>
                      <a:pt x="7966" y="4650"/>
                      <a:pt x="7966" y="4650"/>
                      <a:pt x="7966" y="4650"/>
                    </a:cubicBezTo>
                    <a:cubicBezTo>
                      <a:pt x="8039" y="4765"/>
                      <a:pt x="8039" y="4765"/>
                      <a:pt x="8039" y="4765"/>
                    </a:cubicBezTo>
                    <a:cubicBezTo>
                      <a:pt x="8064" y="4728"/>
                      <a:pt x="8158" y="4598"/>
                      <a:pt x="8287" y="4598"/>
                    </a:cubicBezTo>
                    <a:cubicBezTo>
                      <a:pt x="8295" y="4598"/>
                      <a:pt x="8303" y="4598"/>
                      <a:pt x="8312" y="4599"/>
                    </a:cubicBezTo>
                    <a:cubicBezTo>
                      <a:pt x="8414" y="4614"/>
                      <a:pt x="8461" y="4742"/>
                      <a:pt x="8471" y="4773"/>
                    </a:cubicBezTo>
                    <a:close/>
                    <a:moveTo>
                      <a:pt x="8736" y="4737"/>
                    </a:moveTo>
                    <a:cubicBezTo>
                      <a:pt x="8460" y="4790"/>
                      <a:pt x="8460" y="4790"/>
                      <a:pt x="8460" y="4790"/>
                    </a:cubicBezTo>
                    <a:cubicBezTo>
                      <a:pt x="8459" y="4783"/>
                      <a:pt x="8459" y="4783"/>
                      <a:pt x="8459" y="4783"/>
                    </a:cubicBezTo>
                    <a:cubicBezTo>
                      <a:pt x="8459" y="4783"/>
                      <a:pt x="8447" y="4744"/>
                      <a:pt x="8423" y="4703"/>
                    </a:cubicBezTo>
                    <a:cubicBezTo>
                      <a:pt x="8398" y="4662"/>
                      <a:pt x="8361" y="4621"/>
                      <a:pt x="8310" y="4614"/>
                    </a:cubicBezTo>
                    <a:cubicBezTo>
                      <a:pt x="8302" y="4613"/>
                      <a:pt x="8294" y="4612"/>
                      <a:pt x="8287" y="4612"/>
                    </a:cubicBezTo>
                    <a:cubicBezTo>
                      <a:pt x="8218" y="4612"/>
                      <a:pt x="8157" y="4654"/>
                      <a:pt x="8114" y="4697"/>
                    </a:cubicBezTo>
                    <a:cubicBezTo>
                      <a:pt x="8071" y="4740"/>
                      <a:pt x="8046" y="4782"/>
                      <a:pt x="8046" y="4782"/>
                    </a:cubicBezTo>
                    <a:cubicBezTo>
                      <a:pt x="8040" y="4793"/>
                      <a:pt x="8040" y="4793"/>
                      <a:pt x="8040" y="4793"/>
                    </a:cubicBezTo>
                    <a:cubicBezTo>
                      <a:pt x="7967" y="4680"/>
                      <a:pt x="7967" y="4680"/>
                      <a:pt x="7967" y="4680"/>
                    </a:cubicBezTo>
                    <a:cubicBezTo>
                      <a:pt x="7695" y="5240"/>
                      <a:pt x="7695" y="5240"/>
                      <a:pt x="7695" y="5240"/>
                    </a:cubicBezTo>
                    <a:cubicBezTo>
                      <a:pt x="7927" y="5195"/>
                      <a:pt x="7927" y="5195"/>
                      <a:pt x="7927" y="5195"/>
                    </a:cubicBezTo>
                    <a:cubicBezTo>
                      <a:pt x="7927" y="5203"/>
                      <a:pt x="7927" y="5203"/>
                      <a:pt x="7927" y="5203"/>
                    </a:cubicBezTo>
                    <a:cubicBezTo>
                      <a:pt x="7927" y="5203"/>
                      <a:pt x="7930" y="5277"/>
                      <a:pt x="7956" y="5350"/>
                    </a:cubicBezTo>
                    <a:cubicBezTo>
                      <a:pt x="7982" y="5423"/>
                      <a:pt x="8029" y="5493"/>
                      <a:pt x="8118" y="5493"/>
                    </a:cubicBezTo>
                    <a:cubicBezTo>
                      <a:pt x="8120" y="5493"/>
                      <a:pt x="8121" y="5493"/>
                      <a:pt x="8123" y="5493"/>
                    </a:cubicBezTo>
                    <a:cubicBezTo>
                      <a:pt x="8215" y="5491"/>
                      <a:pt x="8285" y="5430"/>
                      <a:pt x="8333" y="5368"/>
                    </a:cubicBezTo>
                    <a:cubicBezTo>
                      <a:pt x="8380" y="5307"/>
                      <a:pt x="8404" y="5247"/>
                      <a:pt x="8404" y="5246"/>
                    </a:cubicBezTo>
                    <a:cubicBezTo>
                      <a:pt x="8409" y="5234"/>
                      <a:pt x="8409" y="5234"/>
                      <a:pt x="8409" y="5234"/>
                    </a:cubicBezTo>
                    <a:cubicBezTo>
                      <a:pt x="8453" y="5296"/>
                      <a:pt x="8453" y="5296"/>
                      <a:pt x="8453" y="5296"/>
                    </a:cubicBezTo>
                    <a:lnTo>
                      <a:pt x="8736" y="4737"/>
                    </a:lnTo>
                    <a:close/>
                    <a:moveTo>
                      <a:pt x="8133" y="119"/>
                    </a:moveTo>
                    <a:cubicBezTo>
                      <a:pt x="8254" y="198"/>
                      <a:pt x="8254" y="198"/>
                      <a:pt x="8254" y="198"/>
                    </a:cubicBezTo>
                    <a:cubicBezTo>
                      <a:pt x="8213" y="262"/>
                      <a:pt x="8213" y="262"/>
                      <a:pt x="8213" y="262"/>
                    </a:cubicBezTo>
                    <a:cubicBezTo>
                      <a:pt x="8086" y="179"/>
                      <a:pt x="8086" y="179"/>
                      <a:pt x="8086" y="179"/>
                    </a:cubicBezTo>
                    <a:cubicBezTo>
                      <a:pt x="8127" y="115"/>
                      <a:pt x="8127" y="115"/>
                      <a:pt x="8127" y="115"/>
                    </a:cubicBezTo>
                    <a:lnTo>
                      <a:pt x="8133" y="119"/>
                    </a:lnTo>
                    <a:close/>
                    <a:moveTo>
                      <a:pt x="8236" y="202"/>
                    </a:moveTo>
                    <a:cubicBezTo>
                      <a:pt x="8131" y="134"/>
                      <a:pt x="8131" y="134"/>
                      <a:pt x="8131" y="134"/>
                    </a:cubicBezTo>
                    <a:cubicBezTo>
                      <a:pt x="8104" y="175"/>
                      <a:pt x="8104" y="175"/>
                      <a:pt x="8104" y="175"/>
                    </a:cubicBezTo>
                    <a:cubicBezTo>
                      <a:pt x="8209" y="244"/>
                      <a:pt x="8209" y="244"/>
                      <a:pt x="8209" y="244"/>
                    </a:cubicBezTo>
                    <a:lnTo>
                      <a:pt x="8236" y="202"/>
                    </a:lnTo>
                    <a:close/>
                    <a:moveTo>
                      <a:pt x="6331" y="9963"/>
                    </a:moveTo>
                    <a:cubicBezTo>
                      <a:pt x="6332" y="10148"/>
                      <a:pt x="6332" y="10148"/>
                      <a:pt x="6332" y="10148"/>
                    </a:cubicBezTo>
                    <a:cubicBezTo>
                      <a:pt x="6222" y="10149"/>
                      <a:pt x="6222" y="10149"/>
                      <a:pt x="6222" y="10149"/>
                    </a:cubicBezTo>
                    <a:cubicBezTo>
                      <a:pt x="6222" y="10076"/>
                      <a:pt x="6222" y="10076"/>
                      <a:pt x="6222" y="10076"/>
                    </a:cubicBezTo>
                    <a:cubicBezTo>
                      <a:pt x="6164" y="10076"/>
                      <a:pt x="6164" y="10076"/>
                      <a:pt x="6164" y="10076"/>
                    </a:cubicBezTo>
                    <a:cubicBezTo>
                      <a:pt x="6164" y="10070"/>
                      <a:pt x="6164" y="10070"/>
                      <a:pt x="6164" y="10070"/>
                    </a:cubicBezTo>
                    <a:cubicBezTo>
                      <a:pt x="6161" y="9953"/>
                      <a:pt x="6161" y="9953"/>
                      <a:pt x="6161" y="9953"/>
                    </a:cubicBezTo>
                    <a:cubicBezTo>
                      <a:pt x="6278" y="9953"/>
                      <a:pt x="6278" y="9953"/>
                      <a:pt x="6278" y="9953"/>
                    </a:cubicBezTo>
                    <a:cubicBezTo>
                      <a:pt x="6278" y="9963"/>
                      <a:pt x="6278" y="9963"/>
                      <a:pt x="6278" y="9963"/>
                    </a:cubicBezTo>
                    <a:lnTo>
                      <a:pt x="6331" y="9963"/>
                    </a:lnTo>
                    <a:close/>
                    <a:moveTo>
                      <a:pt x="6319" y="10135"/>
                    </a:moveTo>
                    <a:cubicBezTo>
                      <a:pt x="6318" y="9976"/>
                      <a:pt x="6318" y="9976"/>
                      <a:pt x="6318" y="9976"/>
                    </a:cubicBezTo>
                    <a:cubicBezTo>
                      <a:pt x="6265" y="9976"/>
                      <a:pt x="6265" y="9976"/>
                      <a:pt x="6265" y="9976"/>
                    </a:cubicBezTo>
                    <a:cubicBezTo>
                      <a:pt x="6265" y="9966"/>
                      <a:pt x="6265" y="9966"/>
                      <a:pt x="6265" y="9966"/>
                    </a:cubicBezTo>
                    <a:cubicBezTo>
                      <a:pt x="6174" y="9966"/>
                      <a:pt x="6174" y="9966"/>
                      <a:pt x="6174" y="9966"/>
                    </a:cubicBezTo>
                    <a:cubicBezTo>
                      <a:pt x="6177" y="10063"/>
                      <a:pt x="6177" y="10063"/>
                      <a:pt x="6177" y="10063"/>
                    </a:cubicBezTo>
                    <a:cubicBezTo>
                      <a:pt x="6235" y="10063"/>
                      <a:pt x="6235" y="10063"/>
                      <a:pt x="6235" y="10063"/>
                    </a:cubicBezTo>
                    <a:cubicBezTo>
                      <a:pt x="6235" y="10136"/>
                      <a:pt x="6235" y="10136"/>
                      <a:pt x="6235" y="10136"/>
                    </a:cubicBezTo>
                    <a:lnTo>
                      <a:pt x="6319" y="10135"/>
                    </a:lnTo>
                    <a:close/>
                    <a:moveTo>
                      <a:pt x="11782" y="9825"/>
                    </a:moveTo>
                    <a:cubicBezTo>
                      <a:pt x="11847" y="9914"/>
                      <a:pt x="11847" y="9914"/>
                      <a:pt x="11847" y="9914"/>
                    </a:cubicBezTo>
                    <a:cubicBezTo>
                      <a:pt x="11722" y="10006"/>
                      <a:pt x="11722" y="10006"/>
                      <a:pt x="11722" y="10006"/>
                    </a:cubicBezTo>
                    <a:cubicBezTo>
                      <a:pt x="11656" y="9916"/>
                      <a:pt x="11656" y="9916"/>
                      <a:pt x="11656" y="9916"/>
                    </a:cubicBezTo>
                    <a:cubicBezTo>
                      <a:pt x="11662" y="9912"/>
                      <a:pt x="11662" y="9912"/>
                      <a:pt x="11662" y="9912"/>
                    </a:cubicBezTo>
                    <a:lnTo>
                      <a:pt x="11782" y="9825"/>
                    </a:lnTo>
                    <a:close/>
                    <a:moveTo>
                      <a:pt x="11829" y="9912"/>
                    </a:moveTo>
                    <a:cubicBezTo>
                      <a:pt x="11779" y="9843"/>
                      <a:pt x="11779" y="9843"/>
                      <a:pt x="11779" y="9843"/>
                    </a:cubicBezTo>
                    <a:cubicBezTo>
                      <a:pt x="11675" y="9919"/>
                      <a:pt x="11675" y="9919"/>
                      <a:pt x="11675" y="9919"/>
                    </a:cubicBezTo>
                    <a:cubicBezTo>
                      <a:pt x="11725" y="9987"/>
                      <a:pt x="11725" y="9987"/>
                      <a:pt x="11725" y="9987"/>
                    </a:cubicBezTo>
                    <a:lnTo>
                      <a:pt x="11829" y="9912"/>
                    </a:lnTo>
                    <a:close/>
                    <a:moveTo>
                      <a:pt x="7859" y="442"/>
                    </a:moveTo>
                    <a:cubicBezTo>
                      <a:pt x="7756" y="330"/>
                      <a:pt x="7756" y="330"/>
                      <a:pt x="7756" y="330"/>
                    </a:cubicBezTo>
                    <a:cubicBezTo>
                      <a:pt x="7812" y="279"/>
                      <a:pt x="7812" y="279"/>
                      <a:pt x="7812" y="279"/>
                    </a:cubicBezTo>
                    <a:cubicBezTo>
                      <a:pt x="7816" y="284"/>
                      <a:pt x="7816" y="284"/>
                      <a:pt x="7816" y="284"/>
                    </a:cubicBezTo>
                    <a:cubicBezTo>
                      <a:pt x="7915" y="390"/>
                      <a:pt x="7915" y="390"/>
                      <a:pt x="7915" y="390"/>
                    </a:cubicBezTo>
                    <a:lnTo>
                      <a:pt x="7859" y="442"/>
                    </a:lnTo>
                    <a:close/>
                    <a:moveTo>
                      <a:pt x="7775" y="331"/>
                    </a:moveTo>
                    <a:cubicBezTo>
                      <a:pt x="7860" y="423"/>
                      <a:pt x="7860" y="423"/>
                      <a:pt x="7860" y="423"/>
                    </a:cubicBezTo>
                    <a:cubicBezTo>
                      <a:pt x="7896" y="389"/>
                      <a:pt x="7896" y="389"/>
                      <a:pt x="7896" y="389"/>
                    </a:cubicBezTo>
                    <a:cubicBezTo>
                      <a:pt x="7811" y="297"/>
                      <a:pt x="7811" y="297"/>
                      <a:pt x="7811" y="297"/>
                    </a:cubicBezTo>
                    <a:lnTo>
                      <a:pt x="7775" y="331"/>
                    </a:lnTo>
                    <a:close/>
                    <a:moveTo>
                      <a:pt x="6586" y="10060"/>
                    </a:moveTo>
                    <a:cubicBezTo>
                      <a:pt x="6704" y="10061"/>
                      <a:pt x="6704" y="10061"/>
                      <a:pt x="6704" y="10061"/>
                    </a:cubicBezTo>
                    <a:cubicBezTo>
                      <a:pt x="6700" y="10183"/>
                      <a:pt x="6700" y="10183"/>
                      <a:pt x="6700" y="10183"/>
                    </a:cubicBezTo>
                    <a:cubicBezTo>
                      <a:pt x="6694" y="10183"/>
                      <a:pt x="6694" y="10183"/>
                      <a:pt x="6694" y="10183"/>
                    </a:cubicBezTo>
                    <a:cubicBezTo>
                      <a:pt x="6643" y="10183"/>
                      <a:pt x="6643" y="10183"/>
                      <a:pt x="6643" y="10183"/>
                    </a:cubicBezTo>
                    <a:cubicBezTo>
                      <a:pt x="6643" y="10256"/>
                      <a:pt x="6643" y="10256"/>
                      <a:pt x="6643" y="10256"/>
                    </a:cubicBezTo>
                    <a:cubicBezTo>
                      <a:pt x="6533" y="10255"/>
                      <a:pt x="6533" y="10255"/>
                      <a:pt x="6533" y="10255"/>
                    </a:cubicBezTo>
                    <a:cubicBezTo>
                      <a:pt x="6534" y="10070"/>
                      <a:pt x="6534" y="10070"/>
                      <a:pt x="6534" y="10070"/>
                    </a:cubicBezTo>
                    <a:cubicBezTo>
                      <a:pt x="6586" y="10070"/>
                      <a:pt x="6586" y="10070"/>
                      <a:pt x="6586" y="10070"/>
                    </a:cubicBezTo>
                    <a:cubicBezTo>
                      <a:pt x="6586" y="10066"/>
                      <a:pt x="6586" y="10066"/>
                      <a:pt x="6586" y="10066"/>
                    </a:cubicBezTo>
                    <a:lnTo>
                      <a:pt x="6586" y="10060"/>
                    </a:lnTo>
                    <a:close/>
                    <a:moveTo>
                      <a:pt x="6599" y="10083"/>
                    </a:moveTo>
                    <a:cubicBezTo>
                      <a:pt x="6547" y="10083"/>
                      <a:pt x="6547" y="10083"/>
                      <a:pt x="6547" y="10083"/>
                    </a:cubicBezTo>
                    <a:cubicBezTo>
                      <a:pt x="6546" y="10242"/>
                      <a:pt x="6546" y="10242"/>
                      <a:pt x="6546" y="10242"/>
                    </a:cubicBezTo>
                    <a:cubicBezTo>
                      <a:pt x="6629" y="10243"/>
                      <a:pt x="6629" y="10243"/>
                      <a:pt x="6629" y="10243"/>
                    </a:cubicBezTo>
                    <a:cubicBezTo>
                      <a:pt x="6630" y="10170"/>
                      <a:pt x="6630" y="10170"/>
                      <a:pt x="6630" y="10170"/>
                    </a:cubicBezTo>
                    <a:cubicBezTo>
                      <a:pt x="6688" y="10170"/>
                      <a:pt x="6688" y="10170"/>
                      <a:pt x="6688" y="10170"/>
                    </a:cubicBezTo>
                    <a:cubicBezTo>
                      <a:pt x="6690" y="10074"/>
                      <a:pt x="6690" y="10074"/>
                      <a:pt x="6690" y="10074"/>
                    </a:cubicBezTo>
                    <a:cubicBezTo>
                      <a:pt x="6599" y="10073"/>
                      <a:pt x="6599" y="10073"/>
                      <a:pt x="6599" y="10073"/>
                    </a:cubicBezTo>
                    <a:cubicBezTo>
                      <a:pt x="6599" y="10077"/>
                      <a:pt x="6599" y="10077"/>
                      <a:pt x="6599" y="10077"/>
                    </a:cubicBezTo>
                    <a:lnTo>
                      <a:pt x="6599" y="10083"/>
                    </a:lnTo>
                    <a:close/>
                    <a:moveTo>
                      <a:pt x="656" y="4687"/>
                    </a:moveTo>
                    <a:cubicBezTo>
                      <a:pt x="274" y="4866"/>
                      <a:pt x="274" y="4866"/>
                      <a:pt x="274" y="4866"/>
                    </a:cubicBezTo>
                    <a:cubicBezTo>
                      <a:pt x="255" y="4962"/>
                      <a:pt x="255" y="4962"/>
                      <a:pt x="255" y="4962"/>
                    </a:cubicBezTo>
                    <a:cubicBezTo>
                      <a:pt x="140" y="4913"/>
                      <a:pt x="140" y="4913"/>
                      <a:pt x="140" y="4913"/>
                    </a:cubicBezTo>
                    <a:cubicBezTo>
                      <a:pt x="165" y="4811"/>
                      <a:pt x="165" y="4811"/>
                      <a:pt x="165" y="4811"/>
                    </a:cubicBezTo>
                    <a:cubicBezTo>
                      <a:pt x="598" y="4604"/>
                      <a:pt x="598" y="4604"/>
                      <a:pt x="598" y="4604"/>
                    </a:cubicBezTo>
                    <a:cubicBezTo>
                      <a:pt x="601" y="4609"/>
                      <a:pt x="601" y="4609"/>
                      <a:pt x="601" y="4609"/>
                    </a:cubicBezTo>
                    <a:lnTo>
                      <a:pt x="656" y="4687"/>
                    </a:lnTo>
                    <a:close/>
                    <a:moveTo>
                      <a:pt x="633" y="4681"/>
                    </a:moveTo>
                    <a:cubicBezTo>
                      <a:pt x="593" y="4622"/>
                      <a:pt x="593" y="4622"/>
                      <a:pt x="593" y="4622"/>
                    </a:cubicBezTo>
                    <a:cubicBezTo>
                      <a:pt x="178" y="4821"/>
                      <a:pt x="178" y="4821"/>
                      <a:pt x="178" y="4821"/>
                    </a:cubicBezTo>
                    <a:cubicBezTo>
                      <a:pt x="158" y="4904"/>
                      <a:pt x="158" y="4904"/>
                      <a:pt x="158" y="4904"/>
                    </a:cubicBezTo>
                    <a:cubicBezTo>
                      <a:pt x="244" y="4941"/>
                      <a:pt x="244" y="4941"/>
                      <a:pt x="244" y="4941"/>
                    </a:cubicBezTo>
                    <a:cubicBezTo>
                      <a:pt x="261" y="4856"/>
                      <a:pt x="261" y="4856"/>
                      <a:pt x="261" y="4856"/>
                    </a:cubicBezTo>
                    <a:lnTo>
                      <a:pt x="633" y="4681"/>
                    </a:lnTo>
                    <a:close/>
                    <a:moveTo>
                      <a:pt x="12658" y="1955"/>
                    </a:moveTo>
                    <a:cubicBezTo>
                      <a:pt x="12793" y="1957"/>
                      <a:pt x="12793" y="1957"/>
                      <a:pt x="12793" y="1957"/>
                    </a:cubicBezTo>
                    <a:cubicBezTo>
                      <a:pt x="12792" y="2149"/>
                      <a:pt x="12792" y="2149"/>
                      <a:pt x="12792" y="2149"/>
                    </a:cubicBezTo>
                    <a:cubicBezTo>
                      <a:pt x="12785" y="2149"/>
                      <a:pt x="12785" y="2149"/>
                      <a:pt x="12785" y="2149"/>
                    </a:cubicBezTo>
                    <a:cubicBezTo>
                      <a:pt x="12702" y="2150"/>
                      <a:pt x="12702" y="2150"/>
                      <a:pt x="12702" y="2150"/>
                    </a:cubicBezTo>
                    <a:cubicBezTo>
                      <a:pt x="12701" y="2192"/>
                      <a:pt x="12701" y="2192"/>
                      <a:pt x="12701" y="2192"/>
                    </a:cubicBezTo>
                    <a:cubicBezTo>
                      <a:pt x="12618" y="2190"/>
                      <a:pt x="12618" y="2190"/>
                      <a:pt x="12618" y="2190"/>
                    </a:cubicBezTo>
                    <a:cubicBezTo>
                      <a:pt x="12614" y="2147"/>
                      <a:pt x="12614" y="2147"/>
                      <a:pt x="12614" y="2147"/>
                    </a:cubicBezTo>
                    <a:cubicBezTo>
                      <a:pt x="12479" y="2146"/>
                      <a:pt x="12479" y="2146"/>
                      <a:pt x="12479" y="2146"/>
                    </a:cubicBezTo>
                    <a:cubicBezTo>
                      <a:pt x="12477" y="2091"/>
                      <a:pt x="12477" y="2091"/>
                      <a:pt x="12477" y="2091"/>
                    </a:cubicBezTo>
                    <a:cubicBezTo>
                      <a:pt x="12458" y="2089"/>
                      <a:pt x="12458" y="2089"/>
                      <a:pt x="12458" y="2089"/>
                    </a:cubicBezTo>
                    <a:cubicBezTo>
                      <a:pt x="12452" y="2089"/>
                      <a:pt x="12452" y="2089"/>
                      <a:pt x="12452" y="2089"/>
                    </a:cubicBezTo>
                    <a:cubicBezTo>
                      <a:pt x="12451" y="2021"/>
                      <a:pt x="12451" y="2021"/>
                      <a:pt x="12451" y="2021"/>
                    </a:cubicBezTo>
                    <a:cubicBezTo>
                      <a:pt x="12483" y="2019"/>
                      <a:pt x="12483" y="2019"/>
                      <a:pt x="12483" y="2019"/>
                    </a:cubicBezTo>
                    <a:cubicBezTo>
                      <a:pt x="12481" y="1954"/>
                      <a:pt x="12481" y="1954"/>
                      <a:pt x="12481" y="1954"/>
                    </a:cubicBezTo>
                    <a:cubicBezTo>
                      <a:pt x="12557" y="1954"/>
                      <a:pt x="12557" y="1954"/>
                      <a:pt x="12557" y="1954"/>
                    </a:cubicBezTo>
                    <a:cubicBezTo>
                      <a:pt x="12556" y="1935"/>
                      <a:pt x="12556" y="1935"/>
                      <a:pt x="12556" y="1935"/>
                    </a:cubicBezTo>
                    <a:cubicBezTo>
                      <a:pt x="12555" y="1929"/>
                      <a:pt x="12555" y="1929"/>
                      <a:pt x="12555" y="1929"/>
                    </a:cubicBezTo>
                    <a:cubicBezTo>
                      <a:pt x="12657" y="1926"/>
                      <a:pt x="12657" y="1926"/>
                      <a:pt x="12657" y="1926"/>
                    </a:cubicBezTo>
                    <a:lnTo>
                      <a:pt x="12658" y="1955"/>
                    </a:lnTo>
                    <a:close/>
                    <a:moveTo>
                      <a:pt x="12780" y="1970"/>
                    </a:moveTo>
                    <a:cubicBezTo>
                      <a:pt x="12646" y="1968"/>
                      <a:pt x="12646" y="1968"/>
                      <a:pt x="12646" y="1968"/>
                    </a:cubicBezTo>
                    <a:cubicBezTo>
                      <a:pt x="12644" y="1939"/>
                      <a:pt x="12644" y="1939"/>
                      <a:pt x="12644" y="1939"/>
                    </a:cubicBezTo>
                    <a:cubicBezTo>
                      <a:pt x="12569" y="1941"/>
                      <a:pt x="12569" y="1941"/>
                      <a:pt x="12569" y="1941"/>
                    </a:cubicBezTo>
                    <a:cubicBezTo>
                      <a:pt x="12570" y="1960"/>
                      <a:pt x="12570" y="1960"/>
                      <a:pt x="12570" y="1960"/>
                    </a:cubicBezTo>
                    <a:cubicBezTo>
                      <a:pt x="12570" y="1967"/>
                      <a:pt x="12570" y="1967"/>
                      <a:pt x="12570" y="1967"/>
                    </a:cubicBezTo>
                    <a:cubicBezTo>
                      <a:pt x="12495" y="1967"/>
                      <a:pt x="12495" y="1967"/>
                      <a:pt x="12495" y="1967"/>
                    </a:cubicBezTo>
                    <a:cubicBezTo>
                      <a:pt x="12497" y="2032"/>
                      <a:pt x="12497" y="2032"/>
                      <a:pt x="12497" y="2032"/>
                    </a:cubicBezTo>
                    <a:cubicBezTo>
                      <a:pt x="12464" y="2034"/>
                      <a:pt x="12464" y="2034"/>
                      <a:pt x="12464" y="2034"/>
                    </a:cubicBezTo>
                    <a:cubicBezTo>
                      <a:pt x="12464" y="2077"/>
                      <a:pt x="12464" y="2077"/>
                      <a:pt x="12464" y="2077"/>
                    </a:cubicBezTo>
                    <a:cubicBezTo>
                      <a:pt x="12484" y="2078"/>
                      <a:pt x="12484" y="2078"/>
                      <a:pt x="12484" y="2078"/>
                    </a:cubicBezTo>
                    <a:cubicBezTo>
                      <a:pt x="12490" y="2078"/>
                      <a:pt x="12490" y="2078"/>
                      <a:pt x="12490" y="2078"/>
                    </a:cubicBezTo>
                    <a:cubicBezTo>
                      <a:pt x="12492" y="2133"/>
                      <a:pt x="12492" y="2133"/>
                      <a:pt x="12492" y="2133"/>
                    </a:cubicBezTo>
                    <a:cubicBezTo>
                      <a:pt x="12625" y="2134"/>
                      <a:pt x="12625" y="2134"/>
                      <a:pt x="12625" y="2134"/>
                    </a:cubicBezTo>
                    <a:cubicBezTo>
                      <a:pt x="12630" y="2177"/>
                      <a:pt x="12630" y="2177"/>
                      <a:pt x="12630" y="2177"/>
                    </a:cubicBezTo>
                    <a:cubicBezTo>
                      <a:pt x="12688" y="2179"/>
                      <a:pt x="12688" y="2179"/>
                      <a:pt x="12688" y="2179"/>
                    </a:cubicBezTo>
                    <a:cubicBezTo>
                      <a:pt x="12689" y="2137"/>
                      <a:pt x="12689" y="2137"/>
                      <a:pt x="12689" y="2137"/>
                    </a:cubicBezTo>
                    <a:cubicBezTo>
                      <a:pt x="12779" y="2136"/>
                      <a:pt x="12779" y="2136"/>
                      <a:pt x="12779" y="2136"/>
                    </a:cubicBezTo>
                    <a:lnTo>
                      <a:pt x="12780" y="1970"/>
                    </a:lnTo>
                    <a:close/>
                    <a:moveTo>
                      <a:pt x="947" y="3733"/>
                    </a:moveTo>
                    <a:cubicBezTo>
                      <a:pt x="884" y="3773"/>
                      <a:pt x="884" y="3773"/>
                      <a:pt x="884" y="3773"/>
                    </a:cubicBezTo>
                    <a:cubicBezTo>
                      <a:pt x="743" y="3971"/>
                      <a:pt x="743" y="3971"/>
                      <a:pt x="743" y="3971"/>
                    </a:cubicBezTo>
                    <a:cubicBezTo>
                      <a:pt x="682" y="3903"/>
                      <a:pt x="682" y="3903"/>
                      <a:pt x="682" y="3903"/>
                    </a:cubicBezTo>
                    <a:cubicBezTo>
                      <a:pt x="789" y="3768"/>
                      <a:pt x="789" y="3768"/>
                      <a:pt x="789" y="3768"/>
                    </a:cubicBezTo>
                    <a:cubicBezTo>
                      <a:pt x="754" y="3711"/>
                      <a:pt x="754" y="3711"/>
                      <a:pt x="754" y="3711"/>
                    </a:cubicBezTo>
                    <a:cubicBezTo>
                      <a:pt x="820" y="3672"/>
                      <a:pt x="820" y="3672"/>
                      <a:pt x="820" y="3672"/>
                    </a:cubicBezTo>
                    <a:cubicBezTo>
                      <a:pt x="791" y="3614"/>
                      <a:pt x="791" y="3614"/>
                      <a:pt x="791" y="3614"/>
                    </a:cubicBezTo>
                    <a:cubicBezTo>
                      <a:pt x="851" y="3580"/>
                      <a:pt x="851" y="3580"/>
                      <a:pt x="851" y="3580"/>
                    </a:cubicBezTo>
                    <a:lnTo>
                      <a:pt x="947" y="3733"/>
                    </a:lnTo>
                    <a:close/>
                    <a:moveTo>
                      <a:pt x="928" y="3728"/>
                    </a:moveTo>
                    <a:cubicBezTo>
                      <a:pt x="846" y="3598"/>
                      <a:pt x="846" y="3598"/>
                      <a:pt x="846" y="3598"/>
                    </a:cubicBezTo>
                    <a:cubicBezTo>
                      <a:pt x="809" y="3620"/>
                      <a:pt x="809" y="3620"/>
                      <a:pt x="809" y="3620"/>
                    </a:cubicBezTo>
                    <a:cubicBezTo>
                      <a:pt x="833" y="3666"/>
                      <a:pt x="833" y="3666"/>
                      <a:pt x="833" y="3666"/>
                    </a:cubicBezTo>
                    <a:cubicBezTo>
                      <a:pt x="839" y="3678"/>
                      <a:pt x="839" y="3678"/>
                      <a:pt x="839" y="3678"/>
                    </a:cubicBezTo>
                    <a:cubicBezTo>
                      <a:pt x="827" y="3685"/>
                      <a:pt x="827" y="3685"/>
                      <a:pt x="827" y="3685"/>
                    </a:cubicBezTo>
                    <a:cubicBezTo>
                      <a:pt x="773" y="3716"/>
                      <a:pt x="773" y="3716"/>
                      <a:pt x="773" y="3716"/>
                    </a:cubicBezTo>
                    <a:cubicBezTo>
                      <a:pt x="801" y="3761"/>
                      <a:pt x="801" y="3761"/>
                      <a:pt x="801" y="3761"/>
                    </a:cubicBezTo>
                    <a:cubicBezTo>
                      <a:pt x="806" y="3769"/>
                      <a:pt x="806" y="3769"/>
                      <a:pt x="806" y="3769"/>
                    </a:cubicBezTo>
                    <a:cubicBezTo>
                      <a:pt x="800" y="3777"/>
                      <a:pt x="800" y="3777"/>
                      <a:pt x="800" y="3777"/>
                    </a:cubicBezTo>
                    <a:cubicBezTo>
                      <a:pt x="700" y="3903"/>
                      <a:pt x="700" y="3903"/>
                      <a:pt x="700" y="3903"/>
                    </a:cubicBezTo>
                    <a:cubicBezTo>
                      <a:pt x="741" y="3949"/>
                      <a:pt x="741" y="3949"/>
                      <a:pt x="741" y="3949"/>
                    </a:cubicBezTo>
                    <a:cubicBezTo>
                      <a:pt x="873" y="3765"/>
                      <a:pt x="873" y="3765"/>
                      <a:pt x="873" y="3765"/>
                    </a:cubicBezTo>
                    <a:cubicBezTo>
                      <a:pt x="874" y="3763"/>
                      <a:pt x="874" y="3763"/>
                      <a:pt x="874" y="3763"/>
                    </a:cubicBezTo>
                    <a:cubicBezTo>
                      <a:pt x="876" y="3761"/>
                      <a:pt x="876" y="3761"/>
                      <a:pt x="876" y="3761"/>
                    </a:cubicBezTo>
                    <a:lnTo>
                      <a:pt x="928" y="3728"/>
                    </a:lnTo>
                    <a:close/>
                    <a:moveTo>
                      <a:pt x="2996" y="181"/>
                    </a:moveTo>
                    <a:cubicBezTo>
                      <a:pt x="2918" y="0"/>
                      <a:pt x="2918" y="0"/>
                      <a:pt x="2918" y="0"/>
                    </a:cubicBezTo>
                    <a:cubicBezTo>
                      <a:pt x="2902" y="0"/>
                      <a:pt x="2902" y="0"/>
                      <a:pt x="2902" y="0"/>
                    </a:cubicBezTo>
                    <a:cubicBezTo>
                      <a:pt x="2976" y="171"/>
                      <a:pt x="2976" y="171"/>
                      <a:pt x="2976" y="171"/>
                    </a:cubicBezTo>
                    <a:cubicBezTo>
                      <a:pt x="2874" y="196"/>
                      <a:pt x="2874" y="196"/>
                      <a:pt x="2874" y="196"/>
                    </a:cubicBezTo>
                    <a:cubicBezTo>
                      <a:pt x="2865" y="0"/>
                      <a:pt x="2865" y="0"/>
                      <a:pt x="2865" y="0"/>
                    </a:cubicBezTo>
                    <a:cubicBezTo>
                      <a:pt x="2851" y="0"/>
                      <a:pt x="2851" y="0"/>
                      <a:pt x="2851" y="0"/>
                    </a:cubicBezTo>
                    <a:cubicBezTo>
                      <a:pt x="2860" y="215"/>
                      <a:pt x="2860" y="215"/>
                      <a:pt x="2860" y="215"/>
                    </a:cubicBezTo>
                    <a:lnTo>
                      <a:pt x="2996" y="181"/>
                    </a:lnTo>
                    <a:close/>
                    <a:moveTo>
                      <a:pt x="449" y="2022"/>
                    </a:moveTo>
                    <a:cubicBezTo>
                      <a:pt x="319" y="1992"/>
                      <a:pt x="319" y="1992"/>
                      <a:pt x="319" y="1992"/>
                    </a:cubicBezTo>
                    <a:cubicBezTo>
                      <a:pt x="369" y="1857"/>
                      <a:pt x="369" y="1857"/>
                      <a:pt x="369" y="1857"/>
                    </a:cubicBezTo>
                    <a:cubicBezTo>
                      <a:pt x="522" y="1788"/>
                      <a:pt x="522" y="1788"/>
                      <a:pt x="522" y="1788"/>
                    </a:cubicBezTo>
                    <a:cubicBezTo>
                      <a:pt x="566" y="1827"/>
                      <a:pt x="566" y="1827"/>
                      <a:pt x="566" y="1827"/>
                    </a:cubicBezTo>
                    <a:cubicBezTo>
                      <a:pt x="541" y="1916"/>
                      <a:pt x="541" y="1916"/>
                      <a:pt x="541" y="1916"/>
                    </a:cubicBezTo>
                    <a:cubicBezTo>
                      <a:pt x="486" y="1904"/>
                      <a:pt x="486" y="1904"/>
                      <a:pt x="486" y="1904"/>
                    </a:cubicBezTo>
                    <a:lnTo>
                      <a:pt x="449" y="2022"/>
                    </a:lnTo>
                    <a:close/>
                    <a:moveTo>
                      <a:pt x="439" y="2006"/>
                    </a:moveTo>
                    <a:cubicBezTo>
                      <a:pt x="473" y="1900"/>
                      <a:pt x="473" y="1900"/>
                      <a:pt x="473" y="1900"/>
                    </a:cubicBezTo>
                    <a:cubicBezTo>
                      <a:pt x="476" y="1887"/>
                      <a:pt x="476" y="1887"/>
                      <a:pt x="476" y="1887"/>
                    </a:cubicBezTo>
                    <a:cubicBezTo>
                      <a:pt x="489" y="1890"/>
                      <a:pt x="489" y="1890"/>
                      <a:pt x="489" y="1890"/>
                    </a:cubicBezTo>
                    <a:cubicBezTo>
                      <a:pt x="532" y="1900"/>
                      <a:pt x="532" y="1900"/>
                      <a:pt x="532" y="1900"/>
                    </a:cubicBezTo>
                    <a:cubicBezTo>
                      <a:pt x="551" y="1832"/>
                      <a:pt x="551" y="1832"/>
                      <a:pt x="551" y="1832"/>
                    </a:cubicBezTo>
                    <a:cubicBezTo>
                      <a:pt x="520" y="1804"/>
                      <a:pt x="520" y="1804"/>
                      <a:pt x="520" y="1804"/>
                    </a:cubicBezTo>
                    <a:cubicBezTo>
                      <a:pt x="380" y="1867"/>
                      <a:pt x="380" y="1867"/>
                      <a:pt x="380" y="1867"/>
                    </a:cubicBezTo>
                    <a:cubicBezTo>
                      <a:pt x="337" y="1982"/>
                      <a:pt x="337" y="1982"/>
                      <a:pt x="337" y="1982"/>
                    </a:cubicBezTo>
                    <a:lnTo>
                      <a:pt x="439" y="2006"/>
                    </a:lnTo>
                    <a:close/>
                    <a:moveTo>
                      <a:pt x="15473" y="0"/>
                    </a:moveTo>
                    <a:cubicBezTo>
                      <a:pt x="15539" y="0"/>
                      <a:pt x="15539" y="0"/>
                      <a:pt x="15539" y="0"/>
                    </a:cubicBezTo>
                    <a:cubicBezTo>
                      <a:pt x="15588" y="385"/>
                      <a:pt x="15650" y="886"/>
                      <a:pt x="15673" y="1071"/>
                    </a:cubicBezTo>
                    <a:cubicBezTo>
                      <a:pt x="15682" y="1067"/>
                      <a:pt x="15688" y="1065"/>
                      <a:pt x="15688" y="1065"/>
                    </a:cubicBezTo>
                    <a:cubicBezTo>
                      <a:pt x="15695" y="1062"/>
                      <a:pt x="15695" y="1062"/>
                      <a:pt x="15695" y="1062"/>
                    </a:cubicBezTo>
                    <a:cubicBezTo>
                      <a:pt x="17131" y="767"/>
                      <a:pt x="17131" y="767"/>
                      <a:pt x="17131" y="767"/>
                    </a:cubicBezTo>
                    <a:cubicBezTo>
                      <a:pt x="17134" y="767"/>
                      <a:pt x="17134" y="767"/>
                      <a:pt x="17134" y="767"/>
                    </a:cubicBezTo>
                    <a:cubicBezTo>
                      <a:pt x="17134" y="767"/>
                      <a:pt x="17382" y="738"/>
                      <a:pt x="17630" y="709"/>
                    </a:cubicBezTo>
                    <a:cubicBezTo>
                      <a:pt x="17754" y="694"/>
                      <a:pt x="17879" y="680"/>
                      <a:pt x="17973" y="669"/>
                    </a:cubicBezTo>
                    <a:cubicBezTo>
                      <a:pt x="17985" y="667"/>
                      <a:pt x="17997" y="666"/>
                      <a:pt x="18008" y="664"/>
                    </a:cubicBezTo>
                    <a:cubicBezTo>
                      <a:pt x="18008" y="818"/>
                      <a:pt x="18008" y="818"/>
                      <a:pt x="18008" y="818"/>
                    </a:cubicBezTo>
                    <a:cubicBezTo>
                      <a:pt x="17910" y="829"/>
                      <a:pt x="17772" y="846"/>
                      <a:pt x="17636" y="862"/>
                    </a:cubicBezTo>
                    <a:cubicBezTo>
                      <a:pt x="17408" y="888"/>
                      <a:pt x="17185" y="915"/>
                      <a:pt x="17155" y="918"/>
                    </a:cubicBezTo>
                    <a:cubicBezTo>
                      <a:pt x="15741" y="1208"/>
                      <a:pt x="15741" y="1208"/>
                      <a:pt x="15741" y="1208"/>
                    </a:cubicBezTo>
                    <a:cubicBezTo>
                      <a:pt x="15714" y="1219"/>
                      <a:pt x="15615" y="1262"/>
                      <a:pt x="15592" y="1272"/>
                    </a:cubicBezTo>
                    <a:cubicBezTo>
                      <a:pt x="15592" y="1272"/>
                      <a:pt x="15592" y="1272"/>
                      <a:pt x="15592" y="1272"/>
                    </a:cubicBezTo>
                    <a:cubicBezTo>
                      <a:pt x="15579" y="1279"/>
                      <a:pt x="15527" y="1308"/>
                      <a:pt x="15456" y="1348"/>
                    </a:cubicBezTo>
                    <a:cubicBezTo>
                      <a:pt x="15349" y="1408"/>
                      <a:pt x="15196" y="1493"/>
                      <a:pt x="15047" y="1571"/>
                    </a:cubicBezTo>
                    <a:cubicBezTo>
                      <a:pt x="14897" y="1649"/>
                      <a:pt x="14754" y="1721"/>
                      <a:pt x="14656" y="1756"/>
                    </a:cubicBezTo>
                    <a:cubicBezTo>
                      <a:pt x="14533" y="1801"/>
                      <a:pt x="14416" y="1840"/>
                      <a:pt x="14328" y="1869"/>
                    </a:cubicBezTo>
                    <a:cubicBezTo>
                      <a:pt x="14284" y="1883"/>
                      <a:pt x="14247" y="1894"/>
                      <a:pt x="14219" y="1902"/>
                    </a:cubicBezTo>
                    <a:cubicBezTo>
                      <a:pt x="14206" y="1906"/>
                      <a:pt x="14194" y="1910"/>
                      <a:pt x="14185" y="1912"/>
                    </a:cubicBezTo>
                    <a:cubicBezTo>
                      <a:pt x="14180" y="1913"/>
                      <a:pt x="14176" y="1914"/>
                      <a:pt x="14172" y="1915"/>
                    </a:cubicBezTo>
                    <a:cubicBezTo>
                      <a:pt x="14168" y="1916"/>
                      <a:pt x="14166" y="1916"/>
                      <a:pt x="14160" y="1917"/>
                    </a:cubicBezTo>
                    <a:cubicBezTo>
                      <a:pt x="14148" y="1919"/>
                      <a:pt x="14094" y="1932"/>
                      <a:pt x="14026" y="1948"/>
                    </a:cubicBezTo>
                    <a:cubicBezTo>
                      <a:pt x="13862" y="1987"/>
                      <a:pt x="13602" y="2050"/>
                      <a:pt x="13484" y="2078"/>
                    </a:cubicBezTo>
                    <a:cubicBezTo>
                      <a:pt x="13489" y="2111"/>
                      <a:pt x="13490" y="2144"/>
                      <a:pt x="13490" y="2175"/>
                    </a:cubicBezTo>
                    <a:cubicBezTo>
                      <a:pt x="13490" y="2236"/>
                      <a:pt x="13484" y="2293"/>
                      <a:pt x="13478" y="2335"/>
                    </a:cubicBezTo>
                    <a:cubicBezTo>
                      <a:pt x="13475" y="2352"/>
                      <a:pt x="13472" y="2366"/>
                      <a:pt x="13470" y="2378"/>
                    </a:cubicBezTo>
                    <a:cubicBezTo>
                      <a:pt x="13499" y="2420"/>
                      <a:pt x="13553" y="2474"/>
                      <a:pt x="13612" y="2519"/>
                    </a:cubicBezTo>
                    <a:cubicBezTo>
                      <a:pt x="13683" y="2575"/>
                      <a:pt x="13763" y="2621"/>
                      <a:pt x="13807" y="2636"/>
                    </a:cubicBezTo>
                    <a:cubicBezTo>
                      <a:pt x="13856" y="2653"/>
                      <a:pt x="13935" y="2667"/>
                      <a:pt x="14020" y="2688"/>
                    </a:cubicBezTo>
                    <a:cubicBezTo>
                      <a:pt x="14106" y="2710"/>
                      <a:pt x="14201" y="2739"/>
                      <a:pt x="14287" y="2793"/>
                    </a:cubicBezTo>
                    <a:cubicBezTo>
                      <a:pt x="14438" y="2890"/>
                      <a:pt x="14520" y="3035"/>
                      <a:pt x="14540" y="3073"/>
                    </a:cubicBezTo>
                    <a:cubicBezTo>
                      <a:pt x="14561" y="3098"/>
                      <a:pt x="14651" y="3207"/>
                      <a:pt x="14748" y="3322"/>
                    </a:cubicBezTo>
                    <a:cubicBezTo>
                      <a:pt x="14803" y="3387"/>
                      <a:pt x="14860" y="3455"/>
                      <a:pt x="14908" y="3509"/>
                    </a:cubicBezTo>
                    <a:cubicBezTo>
                      <a:pt x="14931" y="3536"/>
                      <a:pt x="14953" y="3560"/>
                      <a:pt x="14970" y="3579"/>
                    </a:cubicBezTo>
                    <a:cubicBezTo>
                      <a:pt x="14986" y="3598"/>
                      <a:pt x="15000" y="3612"/>
                      <a:pt x="15004" y="3615"/>
                    </a:cubicBezTo>
                    <a:cubicBezTo>
                      <a:pt x="15036" y="3644"/>
                      <a:pt x="15058" y="3661"/>
                      <a:pt x="15072" y="3670"/>
                    </a:cubicBezTo>
                    <a:cubicBezTo>
                      <a:pt x="15076" y="3673"/>
                      <a:pt x="15080" y="3675"/>
                      <a:pt x="15082" y="3677"/>
                    </a:cubicBezTo>
                    <a:cubicBezTo>
                      <a:pt x="15120" y="3686"/>
                      <a:pt x="15262" y="3719"/>
                      <a:pt x="15438" y="3759"/>
                    </a:cubicBezTo>
                    <a:cubicBezTo>
                      <a:pt x="15643" y="3806"/>
                      <a:pt x="15894" y="3862"/>
                      <a:pt x="16074" y="3898"/>
                    </a:cubicBezTo>
                    <a:cubicBezTo>
                      <a:pt x="16259" y="3936"/>
                      <a:pt x="16799" y="4073"/>
                      <a:pt x="17296" y="4202"/>
                    </a:cubicBezTo>
                    <a:cubicBezTo>
                      <a:pt x="17568" y="4272"/>
                      <a:pt x="17827" y="4339"/>
                      <a:pt x="18005" y="4386"/>
                    </a:cubicBezTo>
                    <a:cubicBezTo>
                      <a:pt x="18005" y="4544"/>
                      <a:pt x="18005" y="4544"/>
                      <a:pt x="18005" y="4544"/>
                    </a:cubicBezTo>
                    <a:cubicBezTo>
                      <a:pt x="17827" y="4497"/>
                      <a:pt x="17550" y="4425"/>
                      <a:pt x="17258" y="4349"/>
                    </a:cubicBezTo>
                    <a:cubicBezTo>
                      <a:pt x="16763" y="4221"/>
                      <a:pt x="16220" y="4083"/>
                      <a:pt x="16044" y="4048"/>
                    </a:cubicBezTo>
                    <a:cubicBezTo>
                      <a:pt x="15766" y="3991"/>
                      <a:pt x="15328" y="3891"/>
                      <a:pt x="15135" y="3846"/>
                    </a:cubicBezTo>
                    <a:cubicBezTo>
                      <a:pt x="14837" y="4255"/>
                      <a:pt x="14837" y="4255"/>
                      <a:pt x="14837" y="4255"/>
                    </a:cubicBezTo>
                    <a:cubicBezTo>
                      <a:pt x="14820" y="4301"/>
                      <a:pt x="14751" y="4478"/>
                      <a:pt x="14637" y="4635"/>
                    </a:cubicBezTo>
                    <a:cubicBezTo>
                      <a:pt x="14533" y="4778"/>
                      <a:pt x="14393" y="4886"/>
                      <a:pt x="14335" y="4929"/>
                    </a:cubicBezTo>
                    <a:cubicBezTo>
                      <a:pt x="14325" y="4987"/>
                      <a:pt x="14303" y="5124"/>
                      <a:pt x="14272" y="5310"/>
                    </a:cubicBezTo>
                    <a:cubicBezTo>
                      <a:pt x="14252" y="5431"/>
                      <a:pt x="14228" y="5574"/>
                      <a:pt x="14203" y="5729"/>
                    </a:cubicBezTo>
                    <a:cubicBezTo>
                      <a:pt x="15398" y="5964"/>
                      <a:pt x="15398" y="5964"/>
                      <a:pt x="15398" y="5964"/>
                    </a:cubicBezTo>
                    <a:cubicBezTo>
                      <a:pt x="15404" y="5965"/>
                      <a:pt x="15414" y="5967"/>
                      <a:pt x="15426" y="5970"/>
                    </a:cubicBezTo>
                    <a:cubicBezTo>
                      <a:pt x="15478" y="5683"/>
                      <a:pt x="15656" y="5337"/>
                      <a:pt x="16206" y="5186"/>
                    </a:cubicBezTo>
                    <a:cubicBezTo>
                      <a:pt x="16483" y="5110"/>
                      <a:pt x="16801" y="5072"/>
                      <a:pt x="17061" y="5050"/>
                    </a:cubicBezTo>
                    <a:cubicBezTo>
                      <a:pt x="17191" y="5039"/>
                      <a:pt x="17306" y="5032"/>
                      <a:pt x="17393" y="5026"/>
                    </a:cubicBezTo>
                    <a:cubicBezTo>
                      <a:pt x="17479" y="5021"/>
                      <a:pt x="17542" y="5016"/>
                      <a:pt x="17554" y="5013"/>
                    </a:cubicBezTo>
                    <a:cubicBezTo>
                      <a:pt x="17604" y="5000"/>
                      <a:pt x="17790" y="4944"/>
                      <a:pt x="18005" y="4821"/>
                    </a:cubicBezTo>
                    <a:cubicBezTo>
                      <a:pt x="18005" y="4896"/>
                      <a:pt x="18005" y="4896"/>
                      <a:pt x="18005" y="4896"/>
                    </a:cubicBezTo>
                    <a:cubicBezTo>
                      <a:pt x="17798" y="5010"/>
                      <a:pt x="17623" y="5063"/>
                      <a:pt x="17570" y="5077"/>
                    </a:cubicBezTo>
                    <a:cubicBezTo>
                      <a:pt x="17542" y="5083"/>
                      <a:pt x="17485" y="5086"/>
                      <a:pt x="17397" y="5092"/>
                    </a:cubicBezTo>
                    <a:cubicBezTo>
                      <a:pt x="17136" y="5108"/>
                      <a:pt x="16628" y="5138"/>
                      <a:pt x="16224" y="5250"/>
                    </a:cubicBezTo>
                    <a:cubicBezTo>
                      <a:pt x="15694" y="5397"/>
                      <a:pt x="15541" y="5713"/>
                      <a:pt x="15490" y="5985"/>
                    </a:cubicBezTo>
                    <a:cubicBezTo>
                      <a:pt x="15690" y="6034"/>
                      <a:pt x="16143" y="6177"/>
                      <a:pt x="16509" y="6538"/>
                    </a:cubicBezTo>
                    <a:cubicBezTo>
                      <a:pt x="17089" y="7110"/>
                      <a:pt x="17238" y="7841"/>
                      <a:pt x="17247" y="7888"/>
                    </a:cubicBezTo>
                    <a:cubicBezTo>
                      <a:pt x="17299" y="8053"/>
                      <a:pt x="17319" y="8209"/>
                      <a:pt x="17319" y="8352"/>
                    </a:cubicBezTo>
                    <a:cubicBezTo>
                      <a:pt x="17319" y="8733"/>
                      <a:pt x="17178" y="9013"/>
                      <a:pt x="17131" y="9096"/>
                    </a:cubicBezTo>
                    <a:cubicBezTo>
                      <a:pt x="17247" y="9132"/>
                      <a:pt x="17375" y="9188"/>
                      <a:pt x="17502" y="9274"/>
                    </a:cubicBezTo>
                    <a:cubicBezTo>
                      <a:pt x="17699" y="9408"/>
                      <a:pt x="17857" y="9530"/>
                      <a:pt x="18005" y="9644"/>
                    </a:cubicBezTo>
                    <a:cubicBezTo>
                      <a:pt x="18005" y="9727"/>
                      <a:pt x="18005" y="9727"/>
                      <a:pt x="18005" y="9727"/>
                    </a:cubicBezTo>
                    <a:cubicBezTo>
                      <a:pt x="17845" y="9604"/>
                      <a:pt x="17678" y="9472"/>
                      <a:pt x="17465" y="9328"/>
                    </a:cubicBezTo>
                    <a:cubicBezTo>
                      <a:pt x="17136" y="9105"/>
                      <a:pt x="16794" y="9095"/>
                      <a:pt x="16708" y="9095"/>
                    </a:cubicBezTo>
                    <a:cubicBezTo>
                      <a:pt x="16699" y="9095"/>
                      <a:pt x="16693" y="9095"/>
                      <a:pt x="16689" y="9095"/>
                    </a:cubicBezTo>
                    <a:cubicBezTo>
                      <a:pt x="16688" y="9095"/>
                      <a:pt x="16687" y="9095"/>
                      <a:pt x="16685" y="9095"/>
                    </a:cubicBezTo>
                    <a:cubicBezTo>
                      <a:pt x="16684" y="9095"/>
                      <a:pt x="16684" y="9095"/>
                      <a:pt x="16681" y="9095"/>
                    </a:cubicBezTo>
                    <a:cubicBezTo>
                      <a:pt x="16681" y="9095"/>
                      <a:pt x="16681" y="9095"/>
                      <a:pt x="16681" y="9095"/>
                    </a:cubicBezTo>
                    <a:cubicBezTo>
                      <a:pt x="16680" y="9095"/>
                      <a:pt x="16678" y="9095"/>
                      <a:pt x="16677" y="9095"/>
                    </a:cubicBezTo>
                    <a:cubicBezTo>
                      <a:pt x="16588" y="9095"/>
                      <a:pt x="15864" y="9106"/>
                      <a:pt x="15163" y="9116"/>
                    </a:cubicBezTo>
                    <a:cubicBezTo>
                      <a:pt x="14956" y="9119"/>
                      <a:pt x="14752" y="9123"/>
                      <a:pt x="14566" y="9125"/>
                    </a:cubicBezTo>
                    <a:cubicBezTo>
                      <a:pt x="14582" y="9194"/>
                      <a:pt x="14613" y="9326"/>
                      <a:pt x="14653" y="9490"/>
                    </a:cubicBezTo>
                    <a:cubicBezTo>
                      <a:pt x="14713" y="9732"/>
                      <a:pt x="14790" y="10044"/>
                      <a:pt x="14864" y="10322"/>
                    </a:cubicBezTo>
                    <a:cubicBezTo>
                      <a:pt x="14900" y="10457"/>
                      <a:pt x="14947" y="10629"/>
                      <a:pt x="14994" y="10801"/>
                    </a:cubicBezTo>
                    <a:cubicBezTo>
                      <a:pt x="14926" y="10801"/>
                      <a:pt x="14926" y="10801"/>
                      <a:pt x="14926" y="10801"/>
                    </a:cubicBezTo>
                    <a:cubicBezTo>
                      <a:pt x="14880" y="10635"/>
                      <a:pt x="14835" y="10470"/>
                      <a:pt x="14801" y="10339"/>
                    </a:cubicBezTo>
                    <a:cubicBezTo>
                      <a:pt x="14673" y="9858"/>
                      <a:pt x="14534" y="9276"/>
                      <a:pt x="14498" y="9127"/>
                    </a:cubicBezTo>
                    <a:cubicBezTo>
                      <a:pt x="14395" y="9128"/>
                      <a:pt x="14297" y="9130"/>
                      <a:pt x="14210" y="9131"/>
                    </a:cubicBezTo>
                    <a:cubicBezTo>
                      <a:pt x="14010" y="9134"/>
                      <a:pt x="13863" y="9136"/>
                      <a:pt x="13808" y="9137"/>
                    </a:cubicBezTo>
                    <a:cubicBezTo>
                      <a:pt x="13830" y="9386"/>
                      <a:pt x="13864" y="9751"/>
                      <a:pt x="13897" y="10099"/>
                    </a:cubicBezTo>
                    <a:cubicBezTo>
                      <a:pt x="13921" y="10358"/>
                      <a:pt x="13944" y="10607"/>
                      <a:pt x="13962" y="10791"/>
                    </a:cubicBezTo>
                    <a:cubicBezTo>
                      <a:pt x="13962" y="10795"/>
                      <a:pt x="13962" y="10798"/>
                      <a:pt x="13963" y="10801"/>
                    </a:cubicBezTo>
                    <a:cubicBezTo>
                      <a:pt x="13810" y="10801"/>
                      <a:pt x="13810" y="10801"/>
                      <a:pt x="13810" y="10801"/>
                    </a:cubicBezTo>
                    <a:cubicBezTo>
                      <a:pt x="13790" y="10592"/>
                      <a:pt x="13762" y="10303"/>
                      <a:pt x="13735" y="10009"/>
                    </a:cubicBezTo>
                    <a:cubicBezTo>
                      <a:pt x="13709" y="9732"/>
                      <a:pt x="13683" y="9451"/>
                      <a:pt x="13664" y="9235"/>
                    </a:cubicBezTo>
                    <a:cubicBezTo>
                      <a:pt x="13654" y="9126"/>
                      <a:pt x="13646" y="9034"/>
                      <a:pt x="13640" y="8966"/>
                    </a:cubicBezTo>
                    <a:cubicBezTo>
                      <a:pt x="13638" y="8944"/>
                      <a:pt x="13637" y="8924"/>
                      <a:pt x="13635" y="8908"/>
                    </a:cubicBezTo>
                    <a:cubicBezTo>
                      <a:pt x="12632" y="8941"/>
                      <a:pt x="12632" y="8941"/>
                      <a:pt x="12632" y="8941"/>
                    </a:cubicBezTo>
                    <a:cubicBezTo>
                      <a:pt x="12632" y="8941"/>
                      <a:pt x="12631" y="8941"/>
                      <a:pt x="12631" y="8941"/>
                    </a:cubicBezTo>
                    <a:cubicBezTo>
                      <a:pt x="12620" y="8944"/>
                      <a:pt x="12590" y="8954"/>
                      <a:pt x="12566" y="8975"/>
                    </a:cubicBezTo>
                    <a:cubicBezTo>
                      <a:pt x="12541" y="8996"/>
                      <a:pt x="12521" y="9024"/>
                      <a:pt x="12520" y="9073"/>
                    </a:cubicBezTo>
                    <a:cubicBezTo>
                      <a:pt x="12520" y="9074"/>
                      <a:pt x="12520" y="9076"/>
                      <a:pt x="12520" y="9079"/>
                    </a:cubicBezTo>
                    <a:cubicBezTo>
                      <a:pt x="12521" y="9088"/>
                      <a:pt x="12521" y="9097"/>
                      <a:pt x="12521" y="9106"/>
                    </a:cubicBezTo>
                    <a:cubicBezTo>
                      <a:pt x="12521" y="9165"/>
                      <a:pt x="12513" y="9209"/>
                      <a:pt x="12483" y="9243"/>
                    </a:cubicBezTo>
                    <a:cubicBezTo>
                      <a:pt x="12454" y="9276"/>
                      <a:pt x="12415" y="9294"/>
                      <a:pt x="12358" y="9323"/>
                    </a:cubicBezTo>
                    <a:cubicBezTo>
                      <a:pt x="12243" y="9380"/>
                      <a:pt x="11894" y="9514"/>
                      <a:pt x="11827" y="9539"/>
                    </a:cubicBezTo>
                    <a:cubicBezTo>
                      <a:pt x="12166" y="10332"/>
                      <a:pt x="12166" y="10332"/>
                      <a:pt x="12166" y="10332"/>
                    </a:cubicBezTo>
                    <a:cubicBezTo>
                      <a:pt x="12157" y="10336"/>
                      <a:pt x="12157" y="10336"/>
                      <a:pt x="12157" y="10336"/>
                    </a:cubicBezTo>
                    <a:cubicBezTo>
                      <a:pt x="12987" y="10801"/>
                      <a:pt x="12987" y="10801"/>
                      <a:pt x="12987" y="10801"/>
                    </a:cubicBezTo>
                    <a:cubicBezTo>
                      <a:pt x="12853" y="10801"/>
                      <a:pt x="12853" y="10801"/>
                      <a:pt x="12853" y="10801"/>
                    </a:cubicBezTo>
                    <a:cubicBezTo>
                      <a:pt x="12138" y="10400"/>
                      <a:pt x="12138" y="10400"/>
                      <a:pt x="12138" y="10400"/>
                    </a:cubicBezTo>
                    <a:cubicBezTo>
                      <a:pt x="11859" y="10801"/>
                      <a:pt x="11859" y="10801"/>
                      <a:pt x="11859" y="10801"/>
                    </a:cubicBezTo>
                    <a:cubicBezTo>
                      <a:pt x="11714" y="10801"/>
                      <a:pt x="11714" y="10801"/>
                      <a:pt x="11714" y="10801"/>
                    </a:cubicBezTo>
                    <a:cubicBezTo>
                      <a:pt x="11688" y="10764"/>
                      <a:pt x="11658" y="10715"/>
                      <a:pt x="11622" y="10645"/>
                    </a:cubicBezTo>
                    <a:cubicBezTo>
                      <a:pt x="11570" y="10546"/>
                      <a:pt x="11539" y="10384"/>
                      <a:pt x="11519" y="10231"/>
                    </a:cubicBezTo>
                    <a:cubicBezTo>
                      <a:pt x="11503" y="10115"/>
                      <a:pt x="11495" y="10006"/>
                      <a:pt x="11491" y="9918"/>
                    </a:cubicBezTo>
                    <a:cubicBezTo>
                      <a:pt x="10840" y="10066"/>
                      <a:pt x="10840" y="10066"/>
                      <a:pt x="10840" y="10066"/>
                    </a:cubicBezTo>
                    <a:cubicBezTo>
                      <a:pt x="10451" y="9723"/>
                      <a:pt x="10451" y="9723"/>
                      <a:pt x="10451" y="9723"/>
                    </a:cubicBezTo>
                    <a:cubicBezTo>
                      <a:pt x="10414" y="9751"/>
                      <a:pt x="10380" y="9778"/>
                      <a:pt x="10349" y="9803"/>
                    </a:cubicBezTo>
                    <a:cubicBezTo>
                      <a:pt x="10267" y="9867"/>
                      <a:pt x="10207" y="9914"/>
                      <a:pt x="10181" y="9934"/>
                    </a:cubicBezTo>
                    <a:cubicBezTo>
                      <a:pt x="10188" y="9952"/>
                      <a:pt x="10195" y="9972"/>
                      <a:pt x="10202" y="9995"/>
                    </a:cubicBezTo>
                    <a:cubicBezTo>
                      <a:pt x="10258" y="10168"/>
                      <a:pt x="10332" y="10479"/>
                      <a:pt x="10381" y="10697"/>
                    </a:cubicBezTo>
                    <a:cubicBezTo>
                      <a:pt x="10389" y="10734"/>
                      <a:pt x="10393" y="10768"/>
                      <a:pt x="10394" y="10801"/>
                    </a:cubicBezTo>
                    <a:cubicBezTo>
                      <a:pt x="10329" y="10801"/>
                      <a:pt x="10329" y="10801"/>
                      <a:pt x="10329" y="10801"/>
                    </a:cubicBezTo>
                    <a:cubicBezTo>
                      <a:pt x="10327" y="10773"/>
                      <a:pt x="10324" y="10743"/>
                      <a:pt x="10317" y="10711"/>
                    </a:cubicBezTo>
                    <a:cubicBezTo>
                      <a:pt x="10284" y="10566"/>
                      <a:pt x="10241" y="10380"/>
                      <a:pt x="10199" y="10222"/>
                    </a:cubicBezTo>
                    <a:cubicBezTo>
                      <a:pt x="10178" y="10143"/>
                      <a:pt x="10158" y="10071"/>
                      <a:pt x="10140" y="10015"/>
                    </a:cubicBezTo>
                    <a:cubicBezTo>
                      <a:pt x="10123" y="9961"/>
                      <a:pt x="10105" y="9919"/>
                      <a:pt x="10098" y="9911"/>
                    </a:cubicBezTo>
                    <a:cubicBezTo>
                      <a:pt x="10080" y="9886"/>
                      <a:pt x="10004" y="9822"/>
                      <a:pt x="9918" y="9762"/>
                    </a:cubicBezTo>
                    <a:cubicBezTo>
                      <a:pt x="9896" y="9746"/>
                      <a:pt x="9873" y="9731"/>
                      <a:pt x="9850" y="9716"/>
                    </a:cubicBezTo>
                    <a:cubicBezTo>
                      <a:pt x="9840" y="9731"/>
                      <a:pt x="9825" y="9755"/>
                      <a:pt x="9806" y="9786"/>
                    </a:cubicBezTo>
                    <a:cubicBezTo>
                      <a:pt x="9719" y="9927"/>
                      <a:pt x="9545" y="10207"/>
                      <a:pt x="9404" y="10393"/>
                    </a:cubicBezTo>
                    <a:cubicBezTo>
                      <a:pt x="9245" y="10602"/>
                      <a:pt x="9234" y="10710"/>
                      <a:pt x="9234" y="10734"/>
                    </a:cubicBezTo>
                    <a:cubicBezTo>
                      <a:pt x="9234" y="10737"/>
                      <a:pt x="9235" y="10738"/>
                      <a:pt x="9235" y="10739"/>
                    </a:cubicBezTo>
                    <a:cubicBezTo>
                      <a:pt x="9235" y="10739"/>
                      <a:pt x="9235" y="10739"/>
                      <a:pt x="9235" y="10739"/>
                    </a:cubicBezTo>
                    <a:cubicBezTo>
                      <a:pt x="9235" y="10741"/>
                      <a:pt x="9235" y="10741"/>
                      <a:pt x="9235" y="10741"/>
                    </a:cubicBezTo>
                    <a:cubicBezTo>
                      <a:pt x="9238" y="10801"/>
                      <a:pt x="9238" y="10801"/>
                      <a:pt x="9238" y="10801"/>
                    </a:cubicBezTo>
                    <a:cubicBezTo>
                      <a:pt x="9173" y="10801"/>
                      <a:pt x="9173" y="10801"/>
                      <a:pt x="9173" y="10801"/>
                    </a:cubicBezTo>
                    <a:cubicBezTo>
                      <a:pt x="9170" y="10748"/>
                      <a:pt x="9170" y="10748"/>
                      <a:pt x="9170" y="10748"/>
                    </a:cubicBezTo>
                    <a:cubicBezTo>
                      <a:pt x="9169" y="10745"/>
                      <a:pt x="9169" y="10740"/>
                      <a:pt x="9169" y="10734"/>
                    </a:cubicBezTo>
                    <a:cubicBezTo>
                      <a:pt x="9169" y="10691"/>
                      <a:pt x="9187" y="10570"/>
                      <a:pt x="9352" y="10353"/>
                    </a:cubicBezTo>
                    <a:cubicBezTo>
                      <a:pt x="9448" y="10228"/>
                      <a:pt x="9560" y="10055"/>
                      <a:pt x="9650" y="9913"/>
                    </a:cubicBezTo>
                    <a:cubicBezTo>
                      <a:pt x="9694" y="9843"/>
                      <a:pt x="9733" y="9780"/>
                      <a:pt x="9761" y="9735"/>
                    </a:cubicBezTo>
                    <a:cubicBezTo>
                      <a:pt x="9775" y="9712"/>
                      <a:pt x="9786" y="9694"/>
                      <a:pt x="9794" y="9681"/>
                    </a:cubicBezTo>
                    <a:cubicBezTo>
                      <a:pt x="9794" y="9681"/>
                      <a:pt x="9794" y="9681"/>
                      <a:pt x="9794" y="9681"/>
                    </a:cubicBezTo>
                    <a:cubicBezTo>
                      <a:pt x="9746" y="9652"/>
                      <a:pt x="9700" y="9627"/>
                      <a:pt x="9663" y="9612"/>
                    </a:cubicBezTo>
                    <a:cubicBezTo>
                      <a:pt x="9520" y="9552"/>
                      <a:pt x="9333" y="9511"/>
                      <a:pt x="9177" y="9466"/>
                    </a:cubicBezTo>
                    <a:cubicBezTo>
                      <a:pt x="9092" y="9441"/>
                      <a:pt x="8940" y="9360"/>
                      <a:pt x="8806" y="9283"/>
                    </a:cubicBezTo>
                    <a:cubicBezTo>
                      <a:pt x="8712" y="9230"/>
                      <a:pt x="8629" y="9180"/>
                      <a:pt x="8586" y="9154"/>
                    </a:cubicBezTo>
                    <a:cubicBezTo>
                      <a:pt x="7694" y="10774"/>
                      <a:pt x="7694" y="10774"/>
                      <a:pt x="7694" y="10774"/>
                    </a:cubicBezTo>
                    <a:cubicBezTo>
                      <a:pt x="7739" y="10801"/>
                      <a:pt x="7739" y="10801"/>
                      <a:pt x="7739" y="10801"/>
                    </a:cubicBezTo>
                    <a:cubicBezTo>
                      <a:pt x="7604" y="10801"/>
                      <a:pt x="7604" y="10801"/>
                      <a:pt x="7604" y="10801"/>
                    </a:cubicBezTo>
                    <a:cubicBezTo>
                      <a:pt x="7605" y="10798"/>
                      <a:pt x="7605" y="10798"/>
                      <a:pt x="7605" y="10798"/>
                    </a:cubicBezTo>
                    <a:cubicBezTo>
                      <a:pt x="7599" y="10794"/>
                      <a:pt x="7599" y="10794"/>
                      <a:pt x="7599" y="10794"/>
                    </a:cubicBezTo>
                    <a:cubicBezTo>
                      <a:pt x="7595" y="10791"/>
                      <a:pt x="7566" y="10777"/>
                      <a:pt x="7520" y="10755"/>
                    </a:cubicBezTo>
                    <a:cubicBezTo>
                      <a:pt x="7386" y="10691"/>
                      <a:pt x="7099" y="10568"/>
                      <a:pt x="6842" y="10524"/>
                    </a:cubicBezTo>
                    <a:cubicBezTo>
                      <a:pt x="6838" y="10547"/>
                      <a:pt x="6831" y="10586"/>
                      <a:pt x="6823" y="10633"/>
                    </a:cubicBezTo>
                    <a:cubicBezTo>
                      <a:pt x="6815" y="10682"/>
                      <a:pt x="6805" y="10740"/>
                      <a:pt x="6795" y="10801"/>
                    </a:cubicBezTo>
                    <a:cubicBezTo>
                      <a:pt x="6729" y="10801"/>
                      <a:pt x="6729" y="10801"/>
                      <a:pt x="6729" y="10801"/>
                    </a:cubicBezTo>
                    <a:cubicBezTo>
                      <a:pt x="6741" y="10729"/>
                      <a:pt x="6752" y="10661"/>
                      <a:pt x="6761" y="10606"/>
                    </a:cubicBezTo>
                    <a:cubicBezTo>
                      <a:pt x="6767" y="10571"/>
                      <a:pt x="6772" y="10541"/>
                      <a:pt x="6776" y="10520"/>
                    </a:cubicBezTo>
                    <a:cubicBezTo>
                      <a:pt x="6777" y="10518"/>
                      <a:pt x="6777" y="10516"/>
                      <a:pt x="6777" y="10515"/>
                    </a:cubicBezTo>
                    <a:cubicBezTo>
                      <a:pt x="6770" y="10514"/>
                      <a:pt x="6762" y="10513"/>
                      <a:pt x="6755" y="10512"/>
                    </a:cubicBezTo>
                    <a:cubicBezTo>
                      <a:pt x="6374" y="10476"/>
                      <a:pt x="6283" y="10420"/>
                      <a:pt x="6178" y="10393"/>
                    </a:cubicBezTo>
                    <a:cubicBezTo>
                      <a:pt x="6069" y="10364"/>
                      <a:pt x="5861" y="10311"/>
                      <a:pt x="5703" y="10279"/>
                    </a:cubicBezTo>
                    <a:cubicBezTo>
                      <a:pt x="5624" y="10263"/>
                      <a:pt x="5463" y="10235"/>
                      <a:pt x="5322" y="10212"/>
                    </a:cubicBezTo>
                    <a:cubicBezTo>
                      <a:pt x="5223" y="10195"/>
                      <a:pt x="5134" y="10181"/>
                      <a:pt x="5089" y="10174"/>
                    </a:cubicBezTo>
                    <a:cubicBezTo>
                      <a:pt x="5092" y="10201"/>
                      <a:pt x="5094" y="10232"/>
                      <a:pt x="5096" y="10267"/>
                    </a:cubicBezTo>
                    <a:cubicBezTo>
                      <a:pt x="5100" y="10345"/>
                      <a:pt x="5101" y="10440"/>
                      <a:pt x="5101" y="10541"/>
                    </a:cubicBezTo>
                    <a:cubicBezTo>
                      <a:pt x="5101" y="10627"/>
                      <a:pt x="5100" y="10715"/>
                      <a:pt x="5098" y="10801"/>
                    </a:cubicBezTo>
                    <a:cubicBezTo>
                      <a:pt x="5033" y="10801"/>
                      <a:pt x="5033" y="10801"/>
                      <a:pt x="5033" y="10801"/>
                    </a:cubicBezTo>
                    <a:cubicBezTo>
                      <a:pt x="5034" y="10716"/>
                      <a:pt x="5035" y="10629"/>
                      <a:pt x="5035" y="10545"/>
                    </a:cubicBezTo>
                    <a:cubicBezTo>
                      <a:pt x="4723" y="10581"/>
                      <a:pt x="4723" y="10581"/>
                      <a:pt x="4723" y="10581"/>
                    </a:cubicBezTo>
                    <a:cubicBezTo>
                      <a:pt x="4653" y="10801"/>
                      <a:pt x="4653" y="10801"/>
                      <a:pt x="4653" y="10801"/>
                    </a:cubicBezTo>
                    <a:cubicBezTo>
                      <a:pt x="4638" y="10801"/>
                      <a:pt x="4638" y="10801"/>
                      <a:pt x="4638" y="10801"/>
                    </a:cubicBezTo>
                    <a:cubicBezTo>
                      <a:pt x="4710" y="10576"/>
                      <a:pt x="4710" y="10576"/>
                      <a:pt x="4710" y="10576"/>
                    </a:cubicBezTo>
                    <a:cubicBezTo>
                      <a:pt x="4508" y="10288"/>
                      <a:pt x="4508" y="10288"/>
                      <a:pt x="4508" y="10288"/>
                    </a:cubicBezTo>
                    <a:cubicBezTo>
                      <a:pt x="4492" y="10293"/>
                      <a:pt x="4442" y="10309"/>
                      <a:pt x="4392" y="10326"/>
                    </a:cubicBezTo>
                    <a:cubicBezTo>
                      <a:pt x="4361" y="10336"/>
                      <a:pt x="4331" y="10346"/>
                      <a:pt x="4308" y="10354"/>
                    </a:cubicBezTo>
                    <a:cubicBezTo>
                      <a:pt x="4297" y="10358"/>
                      <a:pt x="4288" y="10361"/>
                      <a:pt x="4281" y="10363"/>
                    </a:cubicBezTo>
                    <a:cubicBezTo>
                      <a:pt x="4279" y="10364"/>
                      <a:pt x="4277" y="10365"/>
                      <a:pt x="4275" y="10366"/>
                    </a:cubicBezTo>
                    <a:cubicBezTo>
                      <a:pt x="4274" y="10374"/>
                      <a:pt x="4268" y="10386"/>
                      <a:pt x="4260" y="10405"/>
                    </a:cubicBezTo>
                    <a:cubicBezTo>
                      <a:pt x="4237" y="10460"/>
                      <a:pt x="4195" y="10552"/>
                      <a:pt x="4184" y="10577"/>
                    </a:cubicBezTo>
                    <a:cubicBezTo>
                      <a:pt x="4332" y="10594"/>
                      <a:pt x="4332" y="10594"/>
                      <a:pt x="4332" y="10594"/>
                    </a:cubicBezTo>
                    <a:cubicBezTo>
                      <a:pt x="4312" y="10801"/>
                      <a:pt x="4312" y="10801"/>
                      <a:pt x="4312" y="10801"/>
                    </a:cubicBezTo>
                    <a:cubicBezTo>
                      <a:pt x="4266" y="10801"/>
                      <a:pt x="4266" y="10801"/>
                      <a:pt x="4266" y="10801"/>
                    </a:cubicBezTo>
                    <a:cubicBezTo>
                      <a:pt x="4283" y="10634"/>
                      <a:pt x="4283" y="10634"/>
                      <a:pt x="4283" y="10634"/>
                    </a:cubicBezTo>
                    <a:cubicBezTo>
                      <a:pt x="4190" y="10623"/>
                      <a:pt x="4190" y="10623"/>
                      <a:pt x="4190" y="10623"/>
                    </a:cubicBezTo>
                    <a:cubicBezTo>
                      <a:pt x="3909" y="10783"/>
                      <a:pt x="3909" y="10783"/>
                      <a:pt x="3909" y="10783"/>
                    </a:cubicBezTo>
                    <a:cubicBezTo>
                      <a:pt x="3901" y="10801"/>
                      <a:pt x="3901" y="10801"/>
                      <a:pt x="3901" y="10801"/>
                    </a:cubicBezTo>
                    <a:cubicBezTo>
                      <a:pt x="3886" y="10801"/>
                      <a:pt x="3886" y="10801"/>
                      <a:pt x="3886" y="10801"/>
                    </a:cubicBezTo>
                    <a:cubicBezTo>
                      <a:pt x="3898" y="10773"/>
                      <a:pt x="3898" y="10773"/>
                      <a:pt x="3898" y="10773"/>
                    </a:cubicBezTo>
                    <a:cubicBezTo>
                      <a:pt x="4166" y="10621"/>
                      <a:pt x="4166" y="10621"/>
                      <a:pt x="4166" y="10621"/>
                    </a:cubicBezTo>
                    <a:cubicBezTo>
                      <a:pt x="3809" y="10581"/>
                      <a:pt x="3809" y="10581"/>
                      <a:pt x="3809" y="10581"/>
                    </a:cubicBezTo>
                    <a:cubicBezTo>
                      <a:pt x="3716" y="10057"/>
                      <a:pt x="3716" y="10057"/>
                      <a:pt x="3716" y="10057"/>
                    </a:cubicBezTo>
                    <a:cubicBezTo>
                      <a:pt x="3686" y="10073"/>
                      <a:pt x="3576" y="10133"/>
                      <a:pt x="3465" y="10193"/>
                    </a:cubicBezTo>
                    <a:cubicBezTo>
                      <a:pt x="3400" y="10229"/>
                      <a:pt x="3336" y="10265"/>
                      <a:pt x="3287" y="10292"/>
                    </a:cubicBezTo>
                    <a:cubicBezTo>
                      <a:pt x="3263" y="10306"/>
                      <a:pt x="3243" y="10318"/>
                      <a:pt x="3228" y="10326"/>
                    </a:cubicBezTo>
                    <a:cubicBezTo>
                      <a:pt x="3221" y="10330"/>
                      <a:pt x="3216" y="10334"/>
                      <a:pt x="3212" y="10336"/>
                    </a:cubicBezTo>
                    <a:cubicBezTo>
                      <a:pt x="3211" y="10337"/>
                      <a:pt x="3210" y="10337"/>
                      <a:pt x="3209" y="10338"/>
                    </a:cubicBezTo>
                    <a:cubicBezTo>
                      <a:pt x="3546" y="10672"/>
                      <a:pt x="3546" y="10672"/>
                      <a:pt x="3546" y="10672"/>
                    </a:cubicBezTo>
                    <a:cubicBezTo>
                      <a:pt x="3546" y="10675"/>
                      <a:pt x="3546" y="10675"/>
                      <a:pt x="3546" y="10675"/>
                    </a:cubicBezTo>
                    <a:cubicBezTo>
                      <a:pt x="3546" y="10675"/>
                      <a:pt x="3546" y="10722"/>
                      <a:pt x="3545" y="10769"/>
                    </a:cubicBezTo>
                    <a:cubicBezTo>
                      <a:pt x="3545" y="10780"/>
                      <a:pt x="3545" y="10790"/>
                      <a:pt x="3544" y="10801"/>
                    </a:cubicBezTo>
                    <a:cubicBezTo>
                      <a:pt x="3530" y="10801"/>
                      <a:pt x="3530" y="10801"/>
                      <a:pt x="3530" y="10801"/>
                    </a:cubicBezTo>
                    <a:cubicBezTo>
                      <a:pt x="3531" y="10788"/>
                      <a:pt x="3531" y="10774"/>
                      <a:pt x="3531" y="10760"/>
                    </a:cubicBezTo>
                    <a:cubicBezTo>
                      <a:pt x="3532" y="10723"/>
                      <a:pt x="3532" y="10688"/>
                      <a:pt x="3532" y="10678"/>
                    </a:cubicBezTo>
                    <a:cubicBezTo>
                      <a:pt x="3181" y="10329"/>
                      <a:pt x="3181" y="10329"/>
                      <a:pt x="3181" y="10329"/>
                    </a:cubicBezTo>
                    <a:cubicBezTo>
                      <a:pt x="3061" y="10077"/>
                      <a:pt x="3061" y="10077"/>
                      <a:pt x="3061" y="10077"/>
                    </a:cubicBezTo>
                    <a:cubicBezTo>
                      <a:pt x="3006" y="9862"/>
                      <a:pt x="3006" y="9862"/>
                      <a:pt x="3006" y="9862"/>
                    </a:cubicBezTo>
                    <a:cubicBezTo>
                      <a:pt x="2642" y="9924"/>
                      <a:pt x="2642" y="9924"/>
                      <a:pt x="2642" y="9924"/>
                    </a:cubicBezTo>
                    <a:cubicBezTo>
                      <a:pt x="2644" y="10065"/>
                      <a:pt x="2647" y="10197"/>
                      <a:pt x="2650" y="10304"/>
                    </a:cubicBezTo>
                    <a:cubicBezTo>
                      <a:pt x="2652" y="10406"/>
                      <a:pt x="2655" y="10485"/>
                      <a:pt x="2656" y="10527"/>
                    </a:cubicBezTo>
                    <a:cubicBezTo>
                      <a:pt x="2823" y="10531"/>
                      <a:pt x="2961" y="10646"/>
                      <a:pt x="3001" y="10801"/>
                    </a:cubicBezTo>
                    <a:cubicBezTo>
                      <a:pt x="2833" y="10801"/>
                      <a:pt x="2833" y="10801"/>
                      <a:pt x="2833" y="10801"/>
                    </a:cubicBezTo>
                    <a:cubicBezTo>
                      <a:pt x="2800" y="10732"/>
                      <a:pt x="2729" y="10684"/>
                      <a:pt x="2648" y="10684"/>
                    </a:cubicBezTo>
                    <a:cubicBezTo>
                      <a:pt x="2566" y="10684"/>
                      <a:pt x="2496" y="10732"/>
                      <a:pt x="2462" y="10801"/>
                    </a:cubicBezTo>
                    <a:cubicBezTo>
                      <a:pt x="2295" y="10801"/>
                      <a:pt x="2295" y="10801"/>
                      <a:pt x="2295" y="10801"/>
                    </a:cubicBezTo>
                    <a:cubicBezTo>
                      <a:pt x="2295" y="10797"/>
                      <a:pt x="2296" y="10794"/>
                      <a:pt x="2297" y="10791"/>
                    </a:cubicBezTo>
                    <a:cubicBezTo>
                      <a:pt x="2254" y="10778"/>
                      <a:pt x="2192" y="10761"/>
                      <a:pt x="2111" y="10744"/>
                    </a:cubicBezTo>
                    <a:cubicBezTo>
                      <a:pt x="1947" y="10710"/>
                      <a:pt x="1775" y="10698"/>
                      <a:pt x="1601" y="10664"/>
                    </a:cubicBezTo>
                    <a:cubicBezTo>
                      <a:pt x="1446" y="10634"/>
                      <a:pt x="1255" y="10573"/>
                      <a:pt x="1032" y="10492"/>
                    </a:cubicBezTo>
                    <a:cubicBezTo>
                      <a:pt x="1101" y="10536"/>
                      <a:pt x="1166" y="10577"/>
                      <a:pt x="1215" y="10604"/>
                    </a:cubicBezTo>
                    <a:cubicBezTo>
                      <a:pt x="1362" y="10689"/>
                      <a:pt x="1466" y="10758"/>
                      <a:pt x="1597" y="10801"/>
                    </a:cubicBezTo>
                    <a:cubicBezTo>
                      <a:pt x="1248" y="10801"/>
                      <a:pt x="1248" y="10801"/>
                      <a:pt x="1248" y="10801"/>
                    </a:cubicBezTo>
                    <a:cubicBezTo>
                      <a:pt x="1212" y="10780"/>
                      <a:pt x="1177" y="10758"/>
                      <a:pt x="1139" y="10737"/>
                    </a:cubicBezTo>
                    <a:cubicBezTo>
                      <a:pt x="1053" y="10687"/>
                      <a:pt x="928" y="10607"/>
                      <a:pt x="813" y="10531"/>
                    </a:cubicBezTo>
                    <a:cubicBezTo>
                      <a:pt x="698" y="10455"/>
                      <a:pt x="598" y="10386"/>
                      <a:pt x="558" y="10355"/>
                    </a:cubicBezTo>
                    <a:cubicBezTo>
                      <a:pt x="551" y="10349"/>
                      <a:pt x="514" y="10323"/>
                      <a:pt x="467" y="10289"/>
                    </a:cubicBezTo>
                    <a:cubicBezTo>
                      <a:pt x="432" y="10264"/>
                      <a:pt x="392" y="10233"/>
                      <a:pt x="349" y="10198"/>
                    </a:cubicBezTo>
                    <a:cubicBezTo>
                      <a:pt x="369" y="10301"/>
                      <a:pt x="395" y="10454"/>
                      <a:pt x="403" y="10575"/>
                    </a:cubicBezTo>
                    <a:cubicBezTo>
                      <a:pt x="408" y="10659"/>
                      <a:pt x="415" y="10733"/>
                      <a:pt x="421" y="10801"/>
                    </a:cubicBezTo>
                    <a:cubicBezTo>
                      <a:pt x="375" y="10801"/>
                      <a:pt x="375" y="10801"/>
                      <a:pt x="375" y="10801"/>
                    </a:cubicBezTo>
                    <a:cubicBezTo>
                      <a:pt x="370" y="10735"/>
                      <a:pt x="363" y="10661"/>
                      <a:pt x="358" y="10578"/>
                    </a:cubicBezTo>
                    <a:cubicBezTo>
                      <a:pt x="352" y="10479"/>
                      <a:pt x="332" y="10357"/>
                      <a:pt x="314" y="10260"/>
                    </a:cubicBezTo>
                    <a:cubicBezTo>
                      <a:pt x="307" y="10217"/>
                      <a:pt x="299" y="10180"/>
                      <a:pt x="293" y="10151"/>
                    </a:cubicBezTo>
                    <a:cubicBezTo>
                      <a:pt x="189" y="10058"/>
                      <a:pt x="89" y="9946"/>
                      <a:pt x="28" y="9885"/>
                    </a:cubicBezTo>
                    <a:cubicBezTo>
                      <a:pt x="21" y="9878"/>
                      <a:pt x="13" y="9870"/>
                      <a:pt x="4" y="9861"/>
                    </a:cubicBezTo>
                    <a:cubicBezTo>
                      <a:pt x="4" y="9569"/>
                      <a:pt x="4" y="9569"/>
                      <a:pt x="4" y="9569"/>
                    </a:cubicBezTo>
                    <a:cubicBezTo>
                      <a:pt x="79" y="9639"/>
                      <a:pt x="164" y="9716"/>
                      <a:pt x="252" y="9793"/>
                    </a:cubicBezTo>
                    <a:cubicBezTo>
                      <a:pt x="380" y="9904"/>
                      <a:pt x="515" y="10016"/>
                      <a:pt x="639" y="10108"/>
                    </a:cubicBezTo>
                    <a:cubicBezTo>
                      <a:pt x="763" y="10200"/>
                      <a:pt x="878" y="10272"/>
                      <a:pt x="954" y="10300"/>
                    </a:cubicBezTo>
                    <a:cubicBezTo>
                      <a:pt x="1230" y="10405"/>
                      <a:pt x="1463" y="10482"/>
                      <a:pt x="1630" y="10514"/>
                    </a:cubicBezTo>
                    <a:cubicBezTo>
                      <a:pt x="1792" y="10546"/>
                      <a:pt x="1965" y="10559"/>
                      <a:pt x="2142" y="10595"/>
                    </a:cubicBezTo>
                    <a:cubicBezTo>
                      <a:pt x="2247" y="10616"/>
                      <a:pt x="2325" y="10639"/>
                      <a:pt x="2371" y="10654"/>
                    </a:cubicBezTo>
                    <a:cubicBezTo>
                      <a:pt x="2426" y="10590"/>
                      <a:pt x="2503" y="10545"/>
                      <a:pt x="2591" y="10531"/>
                    </a:cubicBezTo>
                    <a:cubicBezTo>
                      <a:pt x="2589" y="10479"/>
                      <a:pt x="2585" y="10363"/>
                      <a:pt x="2582" y="10215"/>
                    </a:cubicBezTo>
                    <a:cubicBezTo>
                      <a:pt x="2535" y="10206"/>
                      <a:pt x="2535" y="10206"/>
                      <a:pt x="2535" y="10206"/>
                    </a:cubicBezTo>
                    <a:cubicBezTo>
                      <a:pt x="2532" y="10471"/>
                      <a:pt x="2532" y="10471"/>
                      <a:pt x="2532" y="10471"/>
                    </a:cubicBezTo>
                    <a:cubicBezTo>
                      <a:pt x="2527" y="10472"/>
                      <a:pt x="2527" y="10472"/>
                      <a:pt x="2527" y="10472"/>
                    </a:cubicBezTo>
                    <a:cubicBezTo>
                      <a:pt x="2527" y="10472"/>
                      <a:pt x="2498" y="10479"/>
                      <a:pt x="2458" y="10497"/>
                    </a:cubicBezTo>
                    <a:cubicBezTo>
                      <a:pt x="2419" y="10516"/>
                      <a:pt x="2370" y="10547"/>
                      <a:pt x="2331" y="10594"/>
                    </a:cubicBezTo>
                    <a:cubicBezTo>
                      <a:pt x="2329" y="10597"/>
                      <a:pt x="2329" y="10597"/>
                      <a:pt x="2329" y="10597"/>
                    </a:cubicBezTo>
                    <a:cubicBezTo>
                      <a:pt x="2326" y="10597"/>
                      <a:pt x="2326" y="10597"/>
                      <a:pt x="2326" y="10597"/>
                    </a:cubicBezTo>
                    <a:cubicBezTo>
                      <a:pt x="2325" y="10597"/>
                      <a:pt x="2325" y="10597"/>
                      <a:pt x="2325" y="10597"/>
                    </a:cubicBezTo>
                    <a:cubicBezTo>
                      <a:pt x="2310" y="10597"/>
                      <a:pt x="1252" y="10382"/>
                      <a:pt x="1251" y="10382"/>
                    </a:cubicBezTo>
                    <a:cubicBezTo>
                      <a:pt x="1250" y="10382"/>
                      <a:pt x="1250" y="10382"/>
                      <a:pt x="1250" y="10382"/>
                    </a:cubicBezTo>
                    <a:cubicBezTo>
                      <a:pt x="931" y="10243"/>
                      <a:pt x="931" y="10243"/>
                      <a:pt x="931" y="10243"/>
                    </a:cubicBezTo>
                    <a:cubicBezTo>
                      <a:pt x="930" y="10243"/>
                      <a:pt x="930" y="10244"/>
                      <a:pt x="929" y="10244"/>
                    </a:cubicBezTo>
                    <a:cubicBezTo>
                      <a:pt x="928" y="10245"/>
                      <a:pt x="927" y="10245"/>
                      <a:pt x="926" y="10245"/>
                    </a:cubicBezTo>
                    <a:cubicBezTo>
                      <a:pt x="926" y="10245"/>
                      <a:pt x="925" y="10245"/>
                      <a:pt x="925" y="10245"/>
                    </a:cubicBezTo>
                    <a:cubicBezTo>
                      <a:pt x="924" y="10245"/>
                      <a:pt x="924" y="10245"/>
                      <a:pt x="924" y="10245"/>
                    </a:cubicBezTo>
                    <a:cubicBezTo>
                      <a:pt x="924" y="10245"/>
                      <a:pt x="924" y="10245"/>
                      <a:pt x="924" y="10245"/>
                    </a:cubicBezTo>
                    <a:cubicBezTo>
                      <a:pt x="925" y="10241"/>
                      <a:pt x="925" y="10241"/>
                      <a:pt x="925" y="10241"/>
                    </a:cubicBezTo>
                    <a:cubicBezTo>
                      <a:pt x="692" y="10139"/>
                      <a:pt x="692" y="10139"/>
                      <a:pt x="692" y="10139"/>
                    </a:cubicBezTo>
                    <a:cubicBezTo>
                      <a:pt x="491" y="9948"/>
                      <a:pt x="491" y="9948"/>
                      <a:pt x="491" y="9948"/>
                    </a:cubicBezTo>
                    <a:cubicBezTo>
                      <a:pt x="483" y="9942"/>
                      <a:pt x="483" y="9942"/>
                      <a:pt x="483" y="9942"/>
                    </a:cubicBezTo>
                    <a:cubicBezTo>
                      <a:pt x="483" y="9942"/>
                      <a:pt x="484" y="9941"/>
                      <a:pt x="484" y="9941"/>
                    </a:cubicBezTo>
                    <a:cubicBezTo>
                      <a:pt x="4" y="9484"/>
                      <a:pt x="4" y="9484"/>
                      <a:pt x="4" y="9484"/>
                    </a:cubicBezTo>
                    <a:cubicBezTo>
                      <a:pt x="4" y="9465"/>
                      <a:pt x="4" y="9465"/>
                      <a:pt x="4" y="9465"/>
                    </a:cubicBezTo>
                    <a:cubicBezTo>
                      <a:pt x="333" y="9778"/>
                      <a:pt x="333" y="9778"/>
                      <a:pt x="333" y="9778"/>
                    </a:cubicBezTo>
                    <a:cubicBezTo>
                      <a:pt x="353" y="9752"/>
                      <a:pt x="429" y="9647"/>
                      <a:pt x="506" y="9543"/>
                    </a:cubicBezTo>
                    <a:cubicBezTo>
                      <a:pt x="551" y="9482"/>
                      <a:pt x="596" y="9422"/>
                      <a:pt x="631" y="9376"/>
                    </a:cubicBezTo>
                    <a:cubicBezTo>
                      <a:pt x="648" y="9354"/>
                      <a:pt x="663" y="9335"/>
                      <a:pt x="674" y="9321"/>
                    </a:cubicBezTo>
                    <a:cubicBezTo>
                      <a:pt x="679" y="9315"/>
                      <a:pt x="684" y="9309"/>
                      <a:pt x="687" y="9306"/>
                    </a:cubicBezTo>
                    <a:cubicBezTo>
                      <a:pt x="688" y="9305"/>
                      <a:pt x="688" y="9305"/>
                      <a:pt x="688" y="9305"/>
                    </a:cubicBezTo>
                    <a:cubicBezTo>
                      <a:pt x="650" y="9266"/>
                      <a:pt x="430" y="9019"/>
                      <a:pt x="383" y="8966"/>
                    </a:cubicBezTo>
                    <a:cubicBezTo>
                      <a:pt x="308" y="9340"/>
                      <a:pt x="308" y="9340"/>
                      <a:pt x="308" y="9340"/>
                    </a:cubicBezTo>
                    <a:cubicBezTo>
                      <a:pt x="225" y="9449"/>
                      <a:pt x="225" y="9449"/>
                      <a:pt x="225" y="9449"/>
                    </a:cubicBezTo>
                    <a:cubicBezTo>
                      <a:pt x="267" y="9482"/>
                      <a:pt x="267" y="9482"/>
                      <a:pt x="267" y="9482"/>
                    </a:cubicBezTo>
                    <a:cubicBezTo>
                      <a:pt x="240" y="9516"/>
                      <a:pt x="240" y="9516"/>
                      <a:pt x="240" y="9516"/>
                    </a:cubicBezTo>
                    <a:cubicBezTo>
                      <a:pt x="277" y="9545"/>
                      <a:pt x="277" y="9545"/>
                      <a:pt x="277" y="9545"/>
                    </a:cubicBezTo>
                    <a:cubicBezTo>
                      <a:pt x="223" y="9613"/>
                      <a:pt x="223" y="9613"/>
                      <a:pt x="223" y="9613"/>
                    </a:cubicBezTo>
                    <a:cubicBezTo>
                      <a:pt x="146" y="9552"/>
                      <a:pt x="146" y="9552"/>
                      <a:pt x="146" y="9552"/>
                    </a:cubicBezTo>
                    <a:cubicBezTo>
                      <a:pt x="128" y="9576"/>
                      <a:pt x="128" y="9576"/>
                      <a:pt x="128" y="9576"/>
                    </a:cubicBezTo>
                    <a:cubicBezTo>
                      <a:pt x="117" y="9568"/>
                      <a:pt x="117" y="9568"/>
                      <a:pt x="117" y="9568"/>
                    </a:cubicBezTo>
                    <a:cubicBezTo>
                      <a:pt x="135" y="9543"/>
                      <a:pt x="135" y="9543"/>
                      <a:pt x="135" y="9543"/>
                    </a:cubicBezTo>
                    <a:cubicBezTo>
                      <a:pt x="58" y="9482"/>
                      <a:pt x="58" y="9482"/>
                      <a:pt x="58" y="9482"/>
                    </a:cubicBezTo>
                    <a:cubicBezTo>
                      <a:pt x="62" y="9477"/>
                      <a:pt x="62" y="9477"/>
                      <a:pt x="62" y="9477"/>
                    </a:cubicBezTo>
                    <a:cubicBezTo>
                      <a:pt x="112" y="9414"/>
                      <a:pt x="112" y="9414"/>
                      <a:pt x="112" y="9414"/>
                    </a:cubicBezTo>
                    <a:cubicBezTo>
                      <a:pt x="149" y="9443"/>
                      <a:pt x="149" y="9443"/>
                      <a:pt x="149" y="9443"/>
                    </a:cubicBezTo>
                    <a:cubicBezTo>
                      <a:pt x="176" y="9410"/>
                      <a:pt x="176" y="9410"/>
                      <a:pt x="176" y="9410"/>
                    </a:cubicBezTo>
                    <a:cubicBezTo>
                      <a:pt x="214" y="9440"/>
                      <a:pt x="214" y="9440"/>
                      <a:pt x="214" y="9440"/>
                    </a:cubicBezTo>
                    <a:cubicBezTo>
                      <a:pt x="295" y="9334"/>
                      <a:pt x="295" y="9334"/>
                      <a:pt x="295" y="9334"/>
                    </a:cubicBezTo>
                    <a:cubicBezTo>
                      <a:pt x="371" y="8954"/>
                      <a:pt x="371" y="8954"/>
                      <a:pt x="371" y="8954"/>
                    </a:cubicBezTo>
                    <a:cubicBezTo>
                      <a:pt x="19" y="8769"/>
                      <a:pt x="19" y="8769"/>
                      <a:pt x="19" y="8769"/>
                    </a:cubicBezTo>
                    <a:cubicBezTo>
                      <a:pt x="4" y="8789"/>
                      <a:pt x="4" y="8789"/>
                      <a:pt x="4" y="8789"/>
                    </a:cubicBezTo>
                    <a:cubicBezTo>
                      <a:pt x="4" y="8767"/>
                      <a:pt x="4" y="8767"/>
                      <a:pt x="4" y="8767"/>
                    </a:cubicBezTo>
                    <a:cubicBezTo>
                      <a:pt x="8" y="8763"/>
                      <a:pt x="8" y="8763"/>
                      <a:pt x="8" y="8763"/>
                    </a:cubicBezTo>
                    <a:cubicBezTo>
                      <a:pt x="4" y="8761"/>
                      <a:pt x="4" y="8761"/>
                      <a:pt x="4" y="8761"/>
                    </a:cubicBezTo>
                    <a:cubicBezTo>
                      <a:pt x="4" y="8745"/>
                      <a:pt x="4" y="8745"/>
                      <a:pt x="4" y="8745"/>
                    </a:cubicBezTo>
                    <a:cubicBezTo>
                      <a:pt x="16" y="8751"/>
                      <a:pt x="16" y="8751"/>
                      <a:pt x="16" y="8751"/>
                    </a:cubicBezTo>
                    <a:cubicBezTo>
                      <a:pt x="109" y="8628"/>
                      <a:pt x="109" y="8628"/>
                      <a:pt x="109" y="8628"/>
                    </a:cubicBezTo>
                    <a:cubicBezTo>
                      <a:pt x="11" y="8577"/>
                      <a:pt x="11" y="8577"/>
                      <a:pt x="11" y="8577"/>
                    </a:cubicBezTo>
                    <a:cubicBezTo>
                      <a:pt x="4" y="8586"/>
                      <a:pt x="4" y="8586"/>
                      <a:pt x="4" y="8586"/>
                    </a:cubicBezTo>
                    <a:cubicBezTo>
                      <a:pt x="4" y="8558"/>
                      <a:pt x="4" y="8558"/>
                      <a:pt x="4" y="8558"/>
                    </a:cubicBezTo>
                    <a:cubicBezTo>
                      <a:pt x="8" y="8559"/>
                      <a:pt x="8" y="8559"/>
                      <a:pt x="8" y="8559"/>
                    </a:cubicBezTo>
                    <a:cubicBezTo>
                      <a:pt x="92" y="8447"/>
                      <a:pt x="92" y="8447"/>
                      <a:pt x="92" y="8447"/>
                    </a:cubicBezTo>
                    <a:cubicBezTo>
                      <a:pt x="201" y="8527"/>
                      <a:pt x="201" y="8527"/>
                      <a:pt x="201" y="8527"/>
                    </a:cubicBezTo>
                    <a:cubicBezTo>
                      <a:pt x="197" y="8532"/>
                      <a:pt x="197" y="8532"/>
                      <a:pt x="197" y="8532"/>
                    </a:cubicBezTo>
                    <a:cubicBezTo>
                      <a:pt x="129" y="8623"/>
                      <a:pt x="129" y="8623"/>
                      <a:pt x="129" y="8623"/>
                    </a:cubicBezTo>
                    <a:cubicBezTo>
                      <a:pt x="832" y="8989"/>
                      <a:pt x="832" y="8989"/>
                      <a:pt x="832" y="8989"/>
                    </a:cubicBezTo>
                    <a:cubicBezTo>
                      <a:pt x="900" y="8671"/>
                      <a:pt x="900" y="8671"/>
                      <a:pt x="900" y="8671"/>
                    </a:cubicBezTo>
                    <a:cubicBezTo>
                      <a:pt x="672" y="8636"/>
                      <a:pt x="672" y="8636"/>
                      <a:pt x="672" y="8636"/>
                    </a:cubicBezTo>
                    <a:cubicBezTo>
                      <a:pt x="707" y="8555"/>
                      <a:pt x="707" y="8555"/>
                      <a:pt x="707" y="8555"/>
                    </a:cubicBezTo>
                    <a:cubicBezTo>
                      <a:pt x="110" y="8390"/>
                      <a:pt x="110" y="8390"/>
                      <a:pt x="110" y="8390"/>
                    </a:cubicBezTo>
                    <a:cubicBezTo>
                      <a:pt x="4" y="8527"/>
                      <a:pt x="4" y="8527"/>
                      <a:pt x="4" y="8527"/>
                    </a:cubicBezTo>
                    <a:cubicBezTo>
                      <a:pt x="4" y="8420"/>
                      <a:pt x="4" y="8420"/>
                      <a:pt x="4" y="8420"/>
                    </a:cubicBezTo>
                    <a:cubicBezTo>
                      <a:pt x="54" y="8355"/>
                      <a:pt x="54" y="8355"/>
                      <a:pt x="54" y="8355"/>
                    </a:cubicBezTo>
                    <a:cubicBezTo>
                      <a:pt x="76" y="8328"/>
                      <a:pt x="124" y="8264"/>
                      <a:pt x="181" y="8189"/>
                    </a:cubicBezTo>
                    <a:cubicBezTo>
                      <a:pt x="151" y="8164"/>
                      <a:pt x="87" y="8108"/>
                      <a:pt x="4" y="8038"/>
                    </a:cubicBezTo>
                    <a:cubicBezTo>
                      <a:pt x="4" y="7951"/>
                      <a:pt x="4" y="7951"/>
                      <a:pt x="4" y="7951"/>
                    </a:cubicBezTo>
                    <a:cubicBezTo>
                      <a:pt x="28" y="7972"/>
                      <a:pt x="52" y="7992"/>
                      <a:pt x="73" y="8010"/>
                    </a:cubicBezTo>
                    <a:cubicBezTo>
                      <a:pt x="70" y="8008"/>
                      <a:pt x="70" y="8008"/>
                      <a:pt x="70" y="8008"/>
                    </a:cubicBezTo>
                    <a:cubicBezTo>
                      <a:pt x="275" y="7654"/>
                      <a:pt x="275" y="7654"/>
                      <a:pt x="275" y="7654"/>
                    </a:cubicBezTo>
                    <a:cubicBezTo>
                      <a:pt x="42" y="7554"/>
                      <a:pt x="42" y="7554"/>
                      <a:pt x="42" y="7554"/>
                    </a:cubicBezTo>
                    <a:cubicBezTo>
                      <a:pt x="4" y="7602"/>
                      <a:pt x="4" y="7602"/>
                      <a:pt x="4" y="7602"/>
                    </a:cubicBezTo>
                    <a:cubicBezTo>
                      <a:pt x="4" y="7579"/>
                      <a:pt x="4" y="7579"/>
                      <a:pt x="4" y="7579"/>
                    </a:cubicBezTo>
                    <a:cubicBezTo>
                      <a:pt x="28" y="7548"/>
                      <a:pt x="28" y="7548"/>
                      <a:pt x="28" y="7548"/>
                    </a:cubicBezTo>
                    <a:cubicBezTo>
                      <a:pt x="24" y="7546"/>
                      <a:pt x="24" y="7546"/>
                      <a:pt x="24" y="7546"/>
                    </a:cubicBezTo>
                    <a:cubicBezTo>
                      <a:pt x="4" y="7529"/>
                      <a:pt x="4" y="7529"/>
                      <a:pt x="4" y="7529"/>
                    </a:cubicBezTo>
                    <a:cubicBezTo>
                      <a:pt x="4" y="7510"/>
                      <a:pt x="4" y="7510"/>
                      <a:pt x="4" y="7510"/>
                    </a:cubicBezTo>
                    <a:cubicBezTo>
                      <a:pt x="31" y="7535"/>
                      <a:pt x="31" y="7535"/>
                      <a:pt x="31" y="7535"/>
                    </a:cubicBezTo>
                    <a:cubicBezTo>
                      <a:pt x="282" y="7642"/>
                      <a:pt x="282" y="7642"/>
                      <a:pt x="282" y="7642"/>
                    </a:cubicBezTo>
                    <a:cubicBezTo>
                      <a:pt x="281" y="7643"/>
                      <a:pt x="281" y="7643"/>
                      <a:pt x="281" y="7643"/>
                    </a:cubicBezTo>
                    <a:cubicBezTo>
                      <a:pt x="282" y="7641"/>
                      <a:pt x="282" y="7641"/>
                      <a:pt x="282" y="7641"/>
                    </a:cubicBezTo>
                    <a:cubicBezTo>
                      <a:pt x="385" y="7683"/>
                      <a:pt x="385" y="7683"/>
                      <a:pt x="385" y="7683"/>
                    </a:cubicBezTo>
                    <a:cubicBezTo>
                      <a:pt x="496" y="7422"/>
                      <a:pt x="496" y="7422"/>
                      <a:pt x="496" y="7422"/>
                    </a:cubicBezTo>
                    <a:cubicBezTo>
                      <a:pt x="490" y="7418"/>
                      <a:pt x="485" y="7414"/>
                      <a:pt x="481" y="7411"/>
                    </a:cubicBezTo>
                    <a:cubicBezTo>
                      <a:pt x="481" y="7411"/>
                      <a:pt x="481" y="7411"/>
                      <a:pt x="481" y="7411"/>
                    </a:cubicBezTo>
                    <a:cubicBezTo>
                      <a:pt x="472" y="7404"/>
                      <a:pt x="472" y="7404"/>
                      <a:pt x="472" y="7404"/>
                    </a:cubicBezTo>
                    <a:cubicBezTo>
                      <a:pt x="471" y="7403"/>
                      <a:pt x="470" y="7402"/>
                      <a:pt x="470" y="7402"/>
                    </a:cubicBezTo>
                    <a:cubicBezTo>
                      <a:pt x="470" y="7402"/>
                      <a:pt x="470" y="7402"/>
                      <a:pt x="470" y="7402"/>
                    </a:cubicBezTo>
                    <a:cubicBezTo>
                      <a:pt x="148" y="7147"/>
                      <a:pt x="148" y="7147"/>
                      <a:pt x="148" y="7147"/>
                    </a:cubicBezTo>
                    <a:cubicBezTo>
                      <a:pt x="136" y="7165"/>
                      <a:pt x="119" y="7191"/>
                      <a:pt x="102" y="7218"/>
                    </a:cubicBezTo>
                    <a:cubicBezTo>
                      <a:pt x="86" y="7241"/>
                      <a:pt x="70" y="7265"/>
                      <a:pt x="58" y="7284"/>
                    </a:cubicBezTo>
                    <a:cubicBezTo>
                      <a:pt x="52" y="7294"/>
                      <a:pt x="48" y="7302"/>
                      <a:pt x="44" y="7308"/>
                    </a:cubicBezTo>
                    <a:cubicBezTo>
                      <a:pt x="43" y="7311"/>
                      <a:pt x="41" y="7313"/>
                      <a:pt x="40" y="7315"/>
                    </a:cubicBezTo>
                    <a:cubicBezTo>
                      <a:pt x="40" y="7316"/>
                      <a:pt x="40" y="7316"/>
                      <a:pt x="40" y="7317"/>
                    </a:cubicBezTo>
                    <a:cubicBezTo>
                      <a:pt x="40" y="7317"/>
                      <a:pt x="40" y="7317"/>
                      <a:pt x="40" y="7317"/>
                    </a:cubicBezTo>
                    <a:cubicBezTo>
                      <a:pt x="37" y="7316"/>
                      <a:pt x="37" y="7316"/>
                      <a:pt x="37" y="7316"/>
                    </a:cubicBezTo>
                    <a:cubicBezTo>
                      <a:pt x="34" y="7316"/>
                      <a:pt x="34" y="7316"/>
                      <a:pt x="34" y="7316"/>
                    </a:cubicBezTo>
                    <a:cubicBezTo>
                      <a:pt x="35" y="7323"/>
                      <a:pt x="35" y="7323"/>
                      <a:pt x="35" y="7323"/>
                    </a:cubicBezTo>
                    <a:cubicBezTo>
                      <a:pt x="35" y="7323"/>
                      <a:pt x="23" y="7327"/>
                      <a:pt x="4" y="7333"/>
                    </a:cubicBezTo>
                    <a:cubicBezTo>
                      <a:pt x="4" y="7318"/>
                      <a:pt x="4" y="7318"/>
                      <a:pt x="4" y="7318"/>
                    </a:cubicBezTo>
                    <a:cubicBezTo>
                      <a:pt x="14" y="7315"/>
                      <a:pt x="22" y="7313"/>
                      <a:pt x="27" y="7311"/>
                    </a:cubicBezTo>
                    <a:cubicBezTo>
                      <a:pt x="28" y="7308"/>
                      <a:pt x="30" y="7306"/>
                      <a:pt x="32" y="7301"/>
                    </a:cubicBezTo>
                    <a:cubicBezTo>
                      <a:pt x="50" y="7268"/>
                      <a:pt x="109" y="7181"/>
                      <a:pt x="137" y="7139"/>
                    </a:cubicBezTo>
                    <a:cubicBezTo>
                      <a:pt x="4" y="7033"/>
                      <a:pt x="4" y="7033"/>
                      <a:pt x="4" y="7033"/>
                    </a:cubicBezTo>
                    <a:cubicBezTo>
                      <a:pt x="4" y="6945"/>
                      <a:pt x="4" y="6945"/>
                      <a:pt x="4" y="6945"/>
                    </a:cubicBezTo>
                    <a:cubicBezTo>
                      <a:pt x="44" y="6843"/>
                      <a:pt x="44" y="6843"/>
                      <a:pt x="44" y="6843"/>
                    </a:cubicBezTo>
                    <a:cubicBezTo>
                      <a:pt x="4" y="6812"/>
                      <a:pt x="4" y="6812"/>
                      <a:pt x="4" y="6812"/>
                    </a:cubicBezTo>
                    <a:cubicBezTo>
                      <a:pt x="4" y="6794"/>
                      <a:pt x="4" y="6794"/>
                      <a:pt x="4" y="6794"/>
                    </a:cubicBezTo>
                    <a:cubicBezTo>
                      <a:pt x="50" y="6829"/>
                      <a:pt x="50" y="6829"/>
                      <a:pt x="50" y="6829"/>
                    </a:cubicBezTo>
                    <a:cubicBezTo>
                      <a:pt x="114" y="6666"/>
                      <a:pt x="114" y="6666"/>
                      <a:pt x="114" y="6666"/>
                    </a:cubicBezTo>
                    <a:cubicBezTo>
                      <a:pt x="96" y="6658"/>
                      <a:pt x="55" y="6637"/>
                      <a:pt x="4" y="6610"/>
                    </a:cubicBezTo>
                    <a:cubicBezTo>
                      <a:pt x="4" y="6594"/>
                      <a:pt x="4" y="6594"/>
                      <a:pt x="4" y="6594"/>
                    </a:cubicBezTo>
                    <a:cubicBezTo>
                      <a:pt x="22" y="6604"/>
                      <a:pt x="39" y="6613"/>
                      <a:pt x="54" y="6620"/>
                    </a:cubicBezTo>
                    <a:cubicBezTo>
                      <a:pt x="76" y="6631"/>
                      <a:pt x="94" y="6640"/>
                      <a:pt x="107" y="6647"/>
                    </a:cubicBezTo>
                    <a:cubicBezTo>
                      <a:pt x="112" y="6649"/>
                      <a:pt x="116" y="6651"/>
                      <a:pt x="119" y="6653"/>
                    </a:cubicBezTo>
                    <a:cubicBezTo>
                      <a:pt x="173" y="6515"/>
                      <a:pt x="173" y="6515"/>
                      <a:pt x="173" y="6515"/>
                    </a:cubicBezTo>
                    <a:cubicBezTo>
                      <a:pt x="4" y="6441"/>
                      <a:pt x="4" y="6441"/>
                      <a:pt x="4" y="6441"/>
                    </a:cubicBezTo>
                    <a:cubicBezTo>
                      <a:pt x="4" y="6425"/>
                      <a:pt x="4" y="6425"/>
                      <a:pt x="4" y="6425"/>
                    </a:cubicBezTo>
                    <a:cubicBezTo>
                      <a:pt x="178" y="6502"/>
                      <a:pt x="178" y="6502"/>
                      <a:pt x="178" y="6502"/>
                    </a:cubicBezTo>
                    <a:cubicBezTo>
                      <a:pt x="197" y="6453"/>
                      <a:pt x="197" y="6453"/>
                      <a:pt x="197" y="6453"/>
                    </a:cubicBezTo>
                    <a:cubicBezTo>
                      <a:pt x="108" y="6292"/>
                      <a:pt x="108" y="6292"/>
                      <a:pt x="108" y="6292"/>
                    </a:cubicBezTo>
                    <a:cubicBezTo>
                      <a:pt x="108" y="6291"/>
                      <a:pt x="108" y="6291"/>
                      <a:pt x="108" y="6291"/>
                    </a:cubicBezTo>
                    <a:cubicBezTo>
                      <a:pt x="4" y="6267"/>
                      <a:pt x="4" y="6267"/>
                      <a:pt x="4" y="6267"/>
                    </a:cubicBezTo>
                    <a:cubicBezTo>
                      <a:pt x="4" y="6253"/>
                      <a:pt x="4" y="6253"/>
                      <a:pt x="4" y="6253"/>
                    </a:cubicBezTo>
                    <a:cubicBezTo>
                      <a:pt x="117" y="6279"/>
                      <a:pt x="117" y="6279"/>
                      <a:pt x="117" y="6279"/>
                    </a:cubicBezTo>
                    <a:cubicBezTo>
                      <a:pt x="229" y="6106"/>
                      <a:pt x="229" y="6106"/>
                      <a:pt x="229" y="6106"/>
                    </a:cubicBezTo>
                    <a:cubicBezTo>
                      <a:pt x="229" y="6075"/>
                      <a:pt x="231" y="5946"/>
                      <a:pt x="253" y="5826"/>
                    </a:cubicBezTo>
                    <a:cubicBezTo>
                      <a:pt x="256" y="5806"/>
                      <a:pt x="258" y="5787"/>
                      <a:pt x="258" y="5768"/>
                    </a:cubicBezTo>
                    <a:cubicBezTo>
                      <a:pt x="258" y="5747"/>
                      <a:pt x="255" y="5727"/>
                      <a:pt x="252" y="5707"/>
                    </a:cubicBezTo>
                    <a:cubicBezTo>
                      <a:pt x="220" y="5720"/>
                      <a:pt x="163" y="5744"/>
                      <a:pt x="108" y="5768"/>
                    </a:cubicBezTo>
                    <a:cubicBezTo>
                      <a:pt x="70" y="5784"/>
                      <a:pt x="33" y="5800"/>
                      <a:pt x="4" y="5813"/>
                    </a:cubicBezTo>
                    <a:cubicBezTo>
                      <a:pt x="4" y="5798"/>
                      <a:pt x="4" y="5798"/>
                      <a:pt x="4" y="5798"/>
                    </a:cubicBezTo>
                    <a:cubicBezTo>
                      <a:pt x="33" y="5785"/>
                      <a:pt x="69" y="5770"/>
                      <a:pt x="107" y="5754"/>
                    </a:cubicBezTo>
                    <a:cubicBezTo>
                      <a:pt x="147" y="5736"/>
                      <a:pt x="188" y="5719"/>
                      <a:pt x="219" y="5706"/>
                    </a:cubicBezTo>
                    <a:cubicBezTo>
                      <a:pt x="231" y="5701"/>
                      <a:pt x="241" y="5697"/>
                      <a:pt x="249" y="5693"/>
                    </a:cubicBezTo>
                    <a:cubicBezTo>
                      <a:pt x="234" y="5626"/>
                      <a:pt x="202" y="5571"/>
                      <a:pt x="178" y="5540"/>
                    </a:cubicBezTo>
                    <a:cubicBezTo>
                      <a:pt x="159" y="5516"/>
                      <a:pt x="137" y="5496"/>
                      <a:pt x="119" y="5484"/>
                    </a:cubicBezTo>
                    <a:cubicBezTo>
                      <a:pt x="110" y="5478"/>
                      <a:pt x="101" y="5473"/>
                      <a:pt x="95" y="5470"/>
                    </a:cubicBezTo>
                    <a:cubicBezTo>
                      <a:pt x="92" y="5469"/>
                      <a:pt x="90" y="5468"/>
                      <a:pt x="88" y="5467"/>
                    </a:cubicBezTo>
                    <a:cubicBezTo>
                      <a:pt x="88" y="5467"/>
                      <a:pt x="88" y="5467"/>
                      <a:pt x="88" y="5467"/>
                    </a:cubicBezTo>
                    <a:cubicBezTo>
                      <a:pt x="82" y="5467"/>
                      <a:pt x="78" y="5466"/>
                      <a:pt x="70" y="5465"/>
                    </a:cubicBezTo>
                    <a:cubicBezTo>
                      <a:pt x="55" y="5462"/>
                      <a:pt x="31" y="5458"/>
                      <a:pt x="4" y="5454"/>
                    </a:cubicBezTo>
                    <a:cubicBezTo>
                      <a:pt x="4" y="5408"/>
                      <a:pt x="4" y="5408"/>
                      <a:pt x="4" y="5408"/>
                    </a:cubicBezTo>
                    <a:cubicBezTo>
                      <a:pt x="18" y="5410"/>
                      <a:pt x="31" y="5413"/>
                      <a:pt x="42" y="5414"/>
                    </a:cubicBezTo>
                    <a:cubicBezTo>
                      <a:pt x="56" y="5417"/>
                      <a:pt x="68" y="5419"/>
                      <a:pt x="76" y="5420"/>
                    </a:cubicBezTo>
                    <a:cubicBezTo>
                      <a:pt x="81" y="5421"/>
                      <a:pt x="84" y="5421"/>
                      <a:pt x="87" y="5421"/>
                    </a:cubicBezTo>
                    <a:cubicBezTo>
                      <a:pt x="88" y="5422"/>
                      <a:pt x="89" y="5422"/>
                      <a:pt x="90" y="5422"/>
                    </a:cubicBezTo>
                    <a:cubicBezTo>
                      <a:pt x="90" y="5422"/>
                      <a:pt x="90" y="5422"/>
                      <a:pt x="90" y="5422"/>
                    </a:cubicBezTo>
                    <a:cubicBezTo>
                      <a:pt x="90" y="5422"/>
                      <a:pt x="90" y="5422"/>
                      <a:pt x="90" y="5422"/>
                    </a:cubicBezTo>
                    <a:cubicBezTo>
                      <a:pt x="100" y="5422"/>
                      <a:pt x="106" y="5425"/>
                      <a:pt x="115" y="5429"/>
                    </a:cubicBezTo>
                    <a:cubicBezTo>
                      <a:pt x="305" y="5201"/>
                      <a:pt x="305" y="5201"/>
                      <a:pt x="305" y="5201"/>
                    </a:cubicBezTo>
                    <a:cubicBezTo>
                      <a:pt x="289" y="5180"/>
                      <a:pt x="272" y="5157"/>
                      <a:pt x="254" y="5136"/>
                    </a:cubicBezTo>
                    <a:cubicBezTo>
                      <a:pt x="215" y="5087"/>
                      <a:pt x="171" y="5042"/>
                      <a:pt x="152" y="5031"/>
                    </a:cubicBezTo>
                    <a:cubicBezTo>
                      <a:pt x="125" y="5014"/>
                      <a:pt x="59" y="5001"/>
                      <a:pt x="4" y="4996"/>
                    </a:cubicBezTo>
                    <a:cubicBezTo>
                      <a:pt x="4" y="4931"/>
                      <a:pt x="4" y="4931"/>
                      <a:pt x="4" y="4931"/>
                    </a:cubicBezTo>
                    <a:cubicBezTo>
                      <a:pt x="26" y="4933"/>
                      <a:pt x="48" y="4935"/>
                      <a:pt x="71" y="4939"/>
                    </a:cubicBezTo>
                    <a:cubicBezTo>
                      <a:pt x="104" y="4799"/>
                      <a:pt x="104" y="4799"/>
                      <a:pt x="104" y="4799"/>
                    </a:cubicBezTo>
                    <a:cubicBezTo>
                      <a:pt x="4" y="4741"/>
                      <a:pt x="4" y="4741"/>
                      <a:pt x="4" y="4741"/>
                    </a:cubicBezTo>
                    <a:cubicBezTo>
                      <a:pt x="4" y="4689"/>
                      <a:pt x="4" y="4689"/>
                      <a:pt x="4" y="4689"/>
                    </a:cubicBezTo>
                    <a:cubicBezTo>
                      <a:pt x="131" y="4763"/>
                      <a:pt x="131" y="4763"/>
                      <a:pt x="131" y="4763"/>
                    </a:cubicBezTo>
                    <a:cubicBezTo>
                      <a:pt x="581" y="4545"/>
                      <a:pt x="581" y="4545"/>
                      <a:pt x="581" y="4545"/>
                    </a:cubicBezTo>
                    <a:cubicBezTo>
                      <a:pt x="512" y="4448"/>
                      <a:pt x="435" y="4339"/>
                      <a:pt x="360" y="4233"/>
                    </a:cubicBezTo>
                    <a:cubicBezTo>
                      <a:pt x="357" y="4228"/>
                      <a:pt x="354" y="4223"/>
                      <a:pt x="350" y="4218"/>
                    </a:cubicBezTo>
                    <a:cubicBezTo>
                      <a:pt x="310" y="4244"/>
                      <a:pt x="185" y="4326"/>
                      <a:pt x="63" y="4407"/>
                    </a:cubicBezTo>
                    <a:cubicBezTo>
                      <a:pt x="43" y="4420"/>
                      <a:pt x="24" y="4433"/>
                      <a:pt x="4" y="4446"/>
                    </a:cubicBezTo>
                    <a:cubicBezTo>
                      <a:pt x="4" y="4429"/>
                      <a:pt x="4" y="4429"/>
                      <a:pt x="4" y="4429"/>
                    </a:cubicBezTo>
                    <a:cubicBezTo>
                      <a:pt x="22" y="4417"/>
                      <a:pt x="41" y="4405"/>
                      <a:pt x="59" y="4393"/>
                    </a:cubicBezTo>
                    <a:cubicBezTo>
                      <a:pt x="132" y="4344"/>
                      <a:pt x="206" y="4296"/>
                      <a:pt x="262" y="4260"/>
                    </a:cubicBezTo>
                    <a:cubicBezTo>
                      <a:pt x="289" y="4241"/>
                      <a:pt x="313" y="4226"/>
                      <a:pt x="330" y="4215"/>
                    </a:cubicBezTo>
                    <a:cubicBezTo>
                      <a:pt x="335" y="4212"/>
                      <a:pt x="339" y="4209"/>
                      <a:pt x="342" y="4207"/>
                    </a:cubicBezTo>
                    <a:cubicBezTo>
                      <a:pt x="309" y="4159"/>
                      <a:pt x="276" y="4112"/>
                      <a:pt x="245" y="4067"/>
                    </a:cubicBezTo>
                    <a:cubicBezTo>
                      <a:pt x="215" y="4082"/>
                      <a:pt x="116" y="4131"/>
                      <a:pt x="4" y="4187"/>
                    </a:cubicBezTo>
                    <a:cubicBezTo>
                      <a:pt x="4" y="4172"/>
                      <a:pt x="4" y="4172"/>
                      <a:pt x="4" y="4172"/>
                    </a:cubicBezTo>
                    <a:cubicBezTo>
                      <a:pt x="111" y="4118"/>
                      <a:pt x="206" y="4071"/>
                      <a:pt x="237" y="4055"/>
                    </a:cubicBezTo>
                    <a:cubicBezTo>
                      <a:pt x="188" y="3983"/>
                      <a:pt x="142" y="3916"/>
                      <a:pt x="104" y="3860"/>
                    </a:cubicBezTo>
                    <a:cubicBezTo>
                      <a:pt x="80" y="3824"/>
                      <a:pt x="56" y="3792"/>
                      <a:pt x="38" y="3767"/>
                    </a:cubicBezTo>
                    <a:cubicBezTo>
                      <a:pt x="38" y="3767"/>
                      <a:pt x="38" y="3767"/>
                      <a:pt x="38" y="3767"/>
                    </a:cubicBezTo>
                    <a:cubicBezTo>
                      <a:pt x="37" y="3766"/>
                      <a:pt x="37" y="3766"/>
                      <a:pt x="37" y="3766"/>
                    </a:cubicBezTo>
                    <a:cubicBezTo>
                      <a:pt x="37" y="3767"/>
                      <a:pt x="37" y="3767"/>
                      <a:pt x="37" y="3767"/>
                    </a:cubicBezTo>
                    <a:cubicBezTo>
                      <a:pt x="27" y="3775"/>
                      <a:pt x="16" y="3785"/>
                      <a:pt x="4" y="3796"/>
                    </a:cubicBezTo>
                    <a:cubicBezTo>
                      <a:pt x="4" y="3775"/>
                      <a:pt x="4" y="3775"/>
                      <a:pt x="4" y="3775"/>
                    </a:cubicBezTo>
                    <a:cubicBezTo>
                      <a:pt x="6" y="3774"/>
                      <a:pt x="8" y="3772"/>
                      <a:pt x="9" y="3771"/>
                    </a:cubicBezTo>
                    <a:cubicBezTo>
                      <a:pt x="29" y="3754"/>
                      <a:pt x="29" y="3754"/>
                      <a:pt x="29" y="3754"/>
                    </a:cubicBezTo>
                    <a:cubicBezTo>
                      <a:pt x="25" y="3748"/>
                      <a:pt x="21" y="3743"/>
                      <a:pt x="18" y="3738"/>
                    </a:cubicBezTo>
                    <a:cubicBezTo>
                      <a:pt x="14" y="3733"/>
                      <a:pt x="14" y="3733"/>
                      <a:pt x="14" y="3733"/>
                    </a:cubicBezTo>
                    <a:cubicBezTo>
                      <a:pt x="10" y="3727"/>
                      <a:pt x="7" y="3722"/>
                      <a:pt x="4" y="3718"/>
                    </a:cubicBezTo>
                    <a:cubicBezTo>
                      <a:pt x="4" y="3603"/>
                      <a:pt x="4" y="3603"/>
                      <a:pt x="4" y="3603"/>
                    </a:cubicBezTo>
                    <a:cubicBezTo>
                      <a:pt x="25" y="3634"/>
                      <a:pt x="25" y="3634"/>
                      <a:pt x="25" y="3634"/>
                    </a:cubicBezTo>
                    <a:cubicBezTo>
                      <a:pt x="54" y="3613"/>
                      <a:pt x="66" y="3605"/>
                      <a:pt x="79" y="3595"/>
                    </a:cubicBezTo>
                    <a:cubicBezTo>
                      <a:pt x="167" y="3532"/>
                      <a:pt x="337" y="3414"/>
                      <a:pt x="341" y="3411"/>
                    </a:cubicBezTo>
                    <a:cubicBezTo>
                      <a:pt x="325" y="3372"/>
                      <a:pt x="314" y="3346"/>
                      <a:pt x="314" y="3346"/>
                    </a:cubicBezTo>
                    <a:cubicBezTo>
                      <a:pt x="346" y="3324"/>
                      <a:pt x="346" y="3324"/>
                      <a:pt x="346" y="3324"/>
                    </a:cubicBezTo>
                    <a:cubicBezTo>
                      <a:pt x="338" y="3330"/>
                      <a:pt x="338" y="3330"/>
                      <a:pt x="338" y="3330"/>
                    </a:cubicBezTo>
                    <a:cubicBezTo>
                      <a:pt x="303" y="3255"/>
                      <a:pt x="303" y="3255"/>
                      <a:pt x="303" y="3255"/>
                    </a:cubicBezTo>
                    <a:cubicBezTo>
                      <a:pt x="249" y="3285"/>
                      <a:pt x="198" y="3319"/>
                      <a:pt x="158" y="3363"/>
                    </a:cubicBezTo>
                    <a:cubicBezTo>
                      <a:pt x="103" y="3424"/>
                      <a:pt x="38" y="3505"/>
                      <a:pt x="4" y="3546"/>
                    </a:cubicBezTo>
                    <a:cubicBezTo>
                      <a:pt x="4" y="3507"/>
                      <a:pt x="4" y="3507"/>
                      <a:pt x="4" y="3507"/>
                    </a:cubicBezTo>
                    <a:cubicBezTo>
                      <a:pt x="40" y="3463"/>
                      <a:pt x="93" y="3398"/>
                      <a:pt x="140" y="3347"/>
                    </a:cubicBezTo>
                    <a:cubicBezTo>
                      <a:pt x="221" y="3258"/>
                      <a:pt x="342" y="3209"/>
                      <a:pt x="437" y="3157"/>
                    </a:cubicBezTo>
                    <a:cubicBezTo>
                      <a:pt x="482" y="3133"/>
                      <a:pt x="553" y="3098"/>
                      <a:pt x="621" y="3069"/>
                    </a:cubicBezTo>
                    <a:cubicBezTo>
                      <a:pt x="615" y="3061"/>
                      <a:pt x="608" y="3054"/>
                      <a:pt x="602" y="3047"/>
                    </a:cubicBezTo>
                    <a:cubicBezTo>
                      <a:pt x="595" y="3039"/>
                      <a:pt x="588" y="3031"/>
                      <a:pt x="582" y="3023"/>
                    </a:cubicBezTo>
                    <a:cubicBezTo>
                      <a:pt x="545" y="3045"/>
                      <a:pt x="515" y="3064"/>
                      <a:pt x="478" y="3089"/>
                    </a:cubicBezTo>
                    <a:cubicBezTo>
                      <a:pt x="477" y="3089"/>
                      <a:pt x="477" y="3089"/>
                      <a:pt x="477" y="3089"/>
                    </a:cubicBezTo>
                    <a:cubicBezTo>
                      <a:pt x="476" y="3090"/>
                      <a:pt x="476" y="3090"/>
                      <a:pt x="476" y="3090"/>
                    </a:cubicBezTo>
                    <a:cubicBezTo>
                      <a:pt x="475" y="3090"/>
                      <a:pt x="406" y="3113"/>
                      <a:pt x="389" y="3114"/>
                    </a:cubicBezTo>
                    <a:cubicBezTo>
                      <a:pt x="304" y="3129"/>
                      <a:pt x="304" y="3129"/>
                      <a:pt x="304" y="3129"/>
                    </a:cubicBezTo>
                    <a:cubicBezTo>
                      <a:pt x="279" y="3133"/>
                      <a:pt x="251" y="3137"/>
                      <a:pt x="222" y="3140"/>
                    </a:cubicBezTo>
                    <a:cubicBezTo>
                      <a:pt x="183" y="3182"/>
                      <a:pt x="141" y="3227"/>
                      <a:pt x="100" y="3272"/>
                    </a:cubicBezTo>
                    <a:cubicBezTo>
                      <a:pt x="67" y="3307"/>
                      <a:pt x="35" y="3342"/>
                      <a:pt x="4" y="3375"/>
                    </a:cubicBezTo>
                    <a:cubicBezTo>
                      <a:pt x="4" y="3145"/>
                      <a:pt x="4" y="3145"/>
                      <a:pt x="4" y="3145"/>
                    </a:cubicBezTo>
                    <a:cubicBezTo>
                      <a:pt x="6" y="3145"/>
                      <a:pt x="8" y="3145"/>
                      <a:pt x="10" y="3145"/>
                    </a:cubicBezTo>
                    <a:cubicBezTo>
                      <a:pt x="108" y="3038"/>
                      <a:pt x="205" y="2934"/>
                      <a:pt x="265" y="2870"/>
                    </a:cubicBezTo>
                    <a:cubicBezTo>
                      <a:pt x="225" y="2864"/>
                      <a:pt x="185" y="2859"/>
                      <a:pt x="149" y="2859"/>
                    </a:cubicBezTo>
                    <a:cubicBezTo>
                      <a:pt x="137" y="2859"/>
                      <a:pt x="127" y="2860"/>
                      <a:pt x="117" y="2861"/>
                    </a:cubicBezTo>
                    <a:cubicBezTo>
                      <a:pt x="75" y="2864"/>
                      <a:pt x="36" y="2880"/>
                      <a:pt x="4" y="2898"/>
                    </a:cubicBezTo>
                    <a:cubicBezTo>
                      <a:pt x="4" y="2879"/>
                      <a:pt x="4" y="2879"/>
                      <a:pt x="4" y="2879"/>
                    </a:cubicBezTo>
                    <a:cubicBezTo>
                      <a:pt x="36" y="2863"/>
                      <a:pt x="74" y="2848"/>
                      <a:pt x="115" y="2844"/>
                    </a:cubicBezTo>
                    <a:cubicBezTo>
                      <a:pt x="126" y="2843"/>
                      <a:pt x="137" y="2843"/>
                      <a:pt x="149" y="2843"/>
                    </a:cubicBezTo>
                    <a:cubicBezTo>
                      <a:pt x="189" y="2843"/>
                      <a:pt x="234" y="2848"/>
                      <a:pt x="278" y="2855"/>
                    </a:cubicBezTo>
                    <a:cubicBezTo>
                      <a:pt x="303" y="2828"/>
                      <a:pt x="320" y="2810"/>
                      <a:pt x="325" y="2805"/>
                    </a:cubicBezTo>
                    <a:cubicBezTo>
                      <a:pt x="337" y="2793"/>
                      <a:pt x="356" y="2777"/>
                      <a:pt x="371" y="2766"/>
                    </a:cubicBezTo>
                    <a:cubicBezTo>
                      <a:pt x="281" y="2597"/>
                      <a:pt x="281" y="2597"/>
                      <a:pt x="281" y="2597"/>
                    </a:cubicBezTo>
                    <a:cubicBezTo>
                      <a:pt x="269" y="2604"/>
                      <a:pt x="245" y="2617"/>
                      <a:pt x="221" y="2631"/>
                    </a:cubicBezTo>
                    <a:cubicBezTo>
                      <a:pt x="204" y="2641"/>
                      <a:pt x="186" y="2651"/>
                      <a:pt x="173" y="2658"/>
                    </a:cubicBezTo>
                    <a:cubicBezTo>
                      <a:pt x="166" y="2661"/>
                      <a:pt x="160" y="2665"/>
                      <a:pt x="156" y="2667"/>
                    </a:cubicBezTo>
                    <a:cubicBezTo>
                      <a:pt x="150" y="2669"/>
                      <a:pt x="150" y="2670"/>
                      <a:pt x="144" y="2671"/>
                    </a:cubicBezTo>
                    <a:cubicBezTo>
                      <a:pt x="144" y="2671"/>
                      <a:pt x="144" y="2671"/>
                      <a:pt x="144" y="2671"/>
                    </a:cubicBezTo>
                    <a:cubicBezTo>
                      <a:pt x="144" y="2671"/>
                      <a:pt x="143" y="2671"/>
                      <a:pt x="143" y="2671"/>
                    </a:cubicBezTo>
                    <a:cubicBezTo>
                      <a:pt x="142" y="2671"/>
                      <a:pt x="142" y="2671"/>
                      <a:pt x="142" y="2671"/>
                    </a:cubicBezTo>
                    <a:cubicBezTo>
                      <a:pt x="141" y="2670"/>
                      <a:pt x="141" y="2670"/>
                      <a:pt x="141" y="2670"/>
                    </a:cubicBezTo>
                    <a:cubicBezTo>
                      <a:pt x="138" y="2669"/>
                      <a:pt x="138" y="2669"/>
                      <a:pt x="136" y="2667"/>
                    </a:cubicBezTo>
                    <a:cubicBezTo>
                      <a:pt x="131" y="2663"/>
                      <a:pt x="118" y="2650"/>
                      <a:pt x="102" y="2636"/>
                    </a:cubicBezTo>
                    <a:cubicBezTo>
                      <a:pt x="87" y="2660"/>
                      <a:pt x="46" y="2723"/>
                      <a:pt x="4" y="2789"/>
                    </a:cubicBezTo>
                    <a:cubicBezTo>
                      <a:pt x="4" y="2758"/>
                      <a:pt x="4" y="2758"/>
                      <a:pt x="4" y="2758"/>
                    </a:cubicBezTo>
                    <a:cubicBezTo>
                      <a:pt x="43" y="2698"/>
                      <a:pt x="78" y="2643"/>
                      <a:pt x="90" y="2624"/>
                    </a:cubicBezTo>
                    <a:cubicBezTo>
                      <a:pt x="82" y="2616"/>
                      <a:pt x="73" y="2609"/>
                      <a:pt x="65" y="2601"/>
                    </a:cubicBezTo>
                    <a:cubicBezTo>
                      <a:pt x="50" y="2586"/>
                      <a:pt x="35" y="2572"/>
                      <a:pt x="23" y="2562"/>
                    </a:cubicBezTo>
                    <a:cubicBezTo>
                      <a:pt x="18" y="2557"/>
                      <a:pt x="13" y="2553"/>
                      <a:pt x="10" y="2550"/>
                    </a:cubicBezTo>
                    <a:cubicBezTo>
                      <a:pt x="8" y="2549"/>
                      <a:pt x="7" y="2547"/>
                      <a:pt x="6" y="2547"/>
                    </a:cubicBezTo>
                    <a:cubicBezTo>
                      <a:pt x="6" y="2547"/>
                      <a:pt x="5" y="2546"/>
                      <a:pt x="5" y="2546"/>
                    </a:cubicBezTo>
                    <a:cubicBezTo>
                      <a:pt x="5" y="2546"/>
                      <a:pt x="5" y="2546"/>
                      <a:pt x="5" y="2546"/>
                    </a:cubicBezTo>
                    <a:cubicBezTo>
                      <a:pt x="5" y="2546"/>
                      <a:pt x="5" y="2546"/>
                      <a:pt x="4" y="2545"/>
                    </a:cubicBezTo>
                    <a:cubicBezTo>
                      <a:pt x="1" y="2543"/>
                      <a:pt x="1" y="2541"/>
                      <a:pt x="1" y="2540"/>
                    </a:cubicBezTo>
                    <a:cubicBezTo>
                      <a:pt x="1" y="2539"/>
                      <a:pt x="1" y="2538"/>
                      <a:pt x="1" y="2537"/>
                    </a:cubicBezTo>
                    <a:cubicBezTo>
                      <a:pt x="1" y="2533"/>
                      <a:pt x="2" y="2522"/>
                      <a:pt x="4" y="2508"/>
                    </a:cubicBezTo>
                    <a:cubicBezTo>
                      <a:pt x="11" y="2464"/>
                      <a:pt x="26" y="2386"/>
                      <a:pt x="31" y="2359"/>
                    </a:cubicBezTo>
                    <a:cubicBezTo>
                      <a:pt x="4" y="2366"/>
                      <a:pt x="4" y="2366"/>
                      <a:pt x="4" y="2366"/>
                    </a:cubicBezTo>
                    <a:cubicBezTo>
                      <a:pt x="4" y="2352"/>
                      <a:pt x="4" y="2352"/>
                      <a:pt x="4" y="2352"/>
                    </a:cubicBezTo>
                    <a:cubicBezTo>
                      <a:pt x="34" y="2343"/>
                      <a:pt x="34" y="2343"/>
                      <a:pt x="34" y="2343"/>
                    </a:cubicBezTo>
                    <a:cubicBezTo>
                      <a:pt x="34" y="2343"/>
                      <a:pt x="34" y="2343"/>
                      <a:pt x="34" y="2343"/>
                    </a:cubicBezTo>
                    <a:cubicBezTo>
                      <a:pt x="131" y="2317"/>
                      <a:pt x="131" y="2317"/>
                      <a:pt x="131" y="2317"/>
                    </a:cubicBezTo>
                    <a:cubicBezTo>
                      <a:pt x="39" y="2146"/>
                      <a:pt x="39" y="2146"/>
                      <a:pt x="39" y="2146"/>
                    </a:cubicBezTo>
                    <a:cubicBezTo>
                      <a:pt x="39" y="2146"/>
                      <a:pt x="39" y="2146"/>
                      <a:pt x="39" y="2146"/>
                    </a:cubicBezTo>
                    <a:cubicBezTo>
                      <a:pt x="4" y="2077"/>
                      <a:pt x="4" y="2077"/>
                      <a:pt x="4" y="2077"/>
                    </a:cubicBezTo>
                    <a:cubicBezTo>
                      <a:pt x="4" y="1934"/>
                      <a:pt x="4" y="1934"/>
                      <a:pt x="4" y="1934"/>
                    </a:cubicBezTo>
                    <a:cubicBezTo>
                      <a:pt x="98" y="2118"/>
                      <a:pt x="98" y="2118"/>
                      <a:pt x="98" y="2118"/>
                    </a:cubicBezTo>
                    <a:cubicBezTo>
                      <a:pt x="110" y="2113"/>
                      <a:pt x="125" y="2106"/>
                      <a:pt x="140" y="2099"/>
                    </a:cubicBezTo>
                    <a:cubicBezTo>
                      <a:pt x="175" y="2083"/>
                      <a:pt x="211" y="2067"/>
                      <a:pt x="227" y="2061"/>
                    </a:cubicBezTo>
                    <a:cubicBezTo>
                      <a:pt x="230" y="2060"/>
                      <a:pt x="233" y="2058"/>
                      <a:pt x="236" y="2057"/>
                    </a:cubicBezTo>
                    <a:cubicBezTo>
                      <a:pt x="331" y="1829"/>
                      <a:pt x="331" y="1829"/>
                      <a:pt x="331" y="1829"/>
                    </a:cubicBezTo>
                    <a:cubicBezTo>
                      <a:pt x="145" y="1675"/>
                      <a:pt x="145" y="1675"/>
                      <a:pt x="145" y="1675"/>
                    </a:cubicBezTo>
                    <a:cubicBezTo>
                      <a:pt x="4" y="1792"/>
                      <a:pt x="4" y="1792"/>
                      <a:pt x="4" y="1792"/>
                    </a:cubicBezTo>
                    <a:cubicBezTo>
                      <a:pt x="4" y="1706"/>
                      <a:pt x="4" y="1706"/>
                      <a:pt x="4" y="1706"/>
                    </a:cubicBezTo>
                    <a:cubicBezTo>
                      <a:pt x="319" y="1445"/>
                      <a:pt x="319" y="1445"/>
                      <a:pt x="319" y="1445"/>
                    </a:cubicBezTo>
                    <a:cubicBezTo>
                      <a:pt x="197" y="1319"/>
                      <a:pt x="197" y="1319"/>
                      <a:pt x="197" y="1319"/>
                    </a:cubicBezTo>
                    <a:cubicBezTo>
                      <a:pt x="197" y="1319"/>
                      <a:pt x="197" y="1319"/>
                      <a:pt x="197" y="1319"/>
                    </a:cubicBezTo>
                    <a:cubicBezTo>
                      <a:pt x="186" y="1310"/>
                      <a:pt x="186" y="1310"/>
                      <a:pt x="186" y="1310"/>
                    </a:cubicBezTo>
                    <a:cubicBezTo>
                      <a:pt x="186" y="1310"/>
                      <a:pt x="186" y="1310"/>
                      <a:pt x="186" y="1310"/>
                    </a:cubicBezTo>
                    <a:cubicBezTo>
                      <a:pt x="225" y="1270"/>
                      <a:pt x="225" y="1270"/>
                      <a:pt x="225" y="1270"/>
                    </a:cubicBezTo>
                    <a:cubicBezTo>
                      <a:pt x="154" y="1195"/>
                      <a:pt x="154" y="1195"/>
                      <a:pt x="154" y="1195"/>
                    </a:cubicBezTo>
                    <a:cubicBezTo>
                      <a:pt x="114" y="1225"/>
                      <a:pt x="64" y="1254"/>
                      <a:pt x="4" y="1279"/>
                    </a:cubicBezTo>
                    <a:cubicBezTo>
                      <a:pt x="4" y="1208"/>
                      <a:pt x="4" y="1208"/>
                      <a:pt x="4" y="1208"/>
                    </a:cubicBezTo>
                    <a:cubicBezTo>
                      <a:pt x="100" y="1164"/>
                      <a:pt x="160" y="1109"/>
                      <a:pt x="206" y="1062"/>
                    </a:cubicBezTo>
                    <a:cubicBezTo>
                      <a:pt x="197" y="1054"/>
                      <a:pt x="185" y="1044"/>
                      <a:pt x="171" y="1032"/>
                    </a:cubicBezTo>
                    <a:cubicBezTo>
                      <a:pt x="131" y="1000"/>
                      <a:pt x="73" y="956"/>
                      <a:pt x="4" y="914"/>
                    </a:cubicBezTo>
                    <a:cubicBezTo>
                      <a:pt x="4" y="838"/>
                      <a:pt x="4" y="838"/>
                      <a:pt x="4" y="838"/>
                    </a:cubicBezTo>
                    <a:cubicBezTo>
                      <a:pt x="5" y="838"/>
                      <a:pt x="5" y="839"/>
                      <a:pt x="6" y="839"/>
                    </a:cubicBezTo>
                    <a:cubicBezTo>
                      <a:pt x="17" y="816"/>
                      <a:pt x="36" y="775"/>
                      <a:pt x="56" y="733"/>
                    </a:cubicBezTo>
                    <a:cubicBezTo>
                      <a:pt x="71" y="702"/>
                      <a:pt x="86" y="671"/>
                      <a:pt x="98" y="648"/>
                    </a:cubicBezTo>
                    <a:cubicBezTo>
                      <a:pt x="104" y="636"/>
                      <a:pt x="110" y="626"/>
                      <a:pt x="114" y="619"/>
                    </a:cubicBezTo>
                    <a:cubicBezTo>
                      <a:pt x="116" y="616"/>
                      <a:pt x="118" y="613"/>
                      <a:pt x="119" y="611"/>
                    </a:cubicBezTo>
                    <a:cubicBezTo>
                      <a:pt x="122" y="609"/>
                      <a:pt x="120" y="607"/>
                      <a:pt x="128" y="605"/>
                    </a:cubicBezTo>
                    <a:cubicBezTo>
                      <a:pt x="137" y="605"/>
                      <a:pt x="197" y="613"/>
                      <a:pt x="213" y="614"/>
                    </a:cubicBezTo>
                    <a:cubicBezTo>
                      <a:pt x="221" y="600"/>
                      <a:pt x="253" y="522"/>
                      <a:pt x="281" y="449"/>
                    </a:cubicBezTo>
                    <a:cubicBezTo>
                      <a:pt x="302" y="394"/>
                      <a:pt x="322" y="341"/>
                      <a:pt x="332" y="313"/>
                    </a:cubicBezTo>
                    <a:cubicBezTo>
                      <a:pt x="171" y="89"/>
                      <a:pt x="171" y="89"/>
                      <a:pt x="171" y="89"/>
                    </a:cubicBezTo>
                    <a:cubicBezTo>
                      <a:pt x="170" y="89"/>
                      <a:pt x="170" y="89"/>
                      <a:pt x="170" y="89"/>
                    </a:cubicBezTo>
                    <a:cubicBezTo>
                      <a:pt x="148" y="103"/>
                      <a:pt x="107" y="130"/>
                      <a:pt x="68" y="157"/>
                    </a:cubicBezTo>
                    <a:cubicBezTo>
                      <a:pt x="45" y="172"/>
                      <a:pt x="23" y="188"/>
                      <a:pt x="4" y="200"/>
                    </a:cubicBezTo>
                    <a:cubicBezTo>
                      <a:pt x="4" y="183"/>
                      <a:pt x="4" y="183"/>
                      <a:pt x="4" y="183"/>
                    </a:cubicBezTo>
                    <a:cubicBezTo>
                      <a:pt x="23" y="171"/>
                      <a:pt x="44" y="156"/>
                      <a:pt x="66" y="142"/>
                    </a:cubicBezTo>
                    <a:cubicBezTo>
                      <a:pt x="94" y="123"/>
                      <a:pt x="122" y="104"/>
                      <a:pt x="144" y="90"/>
                    </a:cubicBezTo>
                    <a:cubicBezTo>
                      <a:pt x="147" y="87"/>
                      <a:pt x="151" y="85"/>
                      <a:pt x="154" y="83"/>
                    </a:cubicBezTo>
                    <a:cubicBezTo>
                      <a:pt x="4" y="27"/>
                      <a:pt x="4" y="27"/>
                      <a:pt x="4" y="27"/>
                    </a:cubicBezTo>
                    <a:cubicBezTo>
                      <a:pt x="4" y="0"/>
                      <a:pt x="4" y="0"/>
                      <a:pt x="4" y="0"/>
                    </a:cubicBezTo>
                    <a:cubicBezTo>
                      <a:pt x="60" y="0"/>
                      <a:pt x="60" y="0"/>
                      <a:pt x="60" y="0"/>
                    </a:cubicBezTo>
                    <a:cubicBezTo>
                      <a:pt x="192" y="49"/>
                      <a:pt x="192" y="49"/>
                      <a:pt x="192" y="49"/>
                    </a:cubicBezTo>
                    <a:cubicBezTo>
                      <a:pt x="197" y="37"/>
                      <a:pt x="205" y="20"/>
                      <a:pt x="214" y="0"/>
                    </a:cubicBezTo>
                    <a:cubicBezTo>
                      <a:pt x="229" y="0"/>
                      <a:pt x="229" y="0"/>
                      <a:pt x="229" y="0"/>
                    </a:cubicBezTo>
                    <a:cubicBezTo>
                      <a:pt x="221" y="18"/>
                      <a:pt x="214" y="35"/>
                      <a:pt x="208" y="47"/>
                    </a:cubicBezTo>
                    <a:cubicBezTo>
                      <a:pt x="206" y="51"/>
                      <a:pt x="205" y="54"/>
                      <a:pt x="203" y="57"/>
                    </a:cubicBezTo>
                    <a:cubicBezTo>
                      <a:pt x="359" y="273"/>
                      <a:pt x="359" y="273"/>
                      <a:pt x="359" y="273"/>
                    </a:cubicBezTo>
                    <a:cubicBezTo>
                      <a:pt x="384" y="247"/>
                      <a:pt x="433" y="196"/>
                      <a:pt x="482" y="145"/>
                    </a:cubicBezTo>
                    <a:cubicBezTo>
                      <a:pt x="518" y="109"/>
                      <a:pt x="554" y="72"/>
                      <a:pt x="581" y="45"/>
                    </a:cubicBezTo>
                    <a:cubicBezTo>
                      <a:pt x="595" y="31"/>
                      <a:pt x="607" y="20"/>
                      <a:pt x="616" y="12"/>
                    </a:cubicBezTo>
                    <a:cubicBezTo>
                      <a:pt x="620" y="8"/>
                      <a:pt x="623" y="4"/>
                      <a:pt x="626" y="2"/>
                    </a:cubicBezTo>
                    <a:cubicBezTo>
                      <a:pt x="627" y="2"/>
                      <a:pt x="628" y="1"/>
                      <a:pt x="628" y="1"/>
                    </a:cubicBezTo>
                    <a:cubicBezTo>
                      <a:pt x="628" y="0"/>
                      <a:pt x="628" y="0"/>
                      <a:pt x="627" y="0"/>
                    </a:cubicBezTo>
                    <a:cubicBezTo>
                      <a:pt x="649" y="0"/>
                      <a:pt x="649" y="0"/>
                      <a:pt x="649" y="0"/>
                    </a:cubicBezTo>
                    <a:cubicBezTo>
                      <a:pt x="767" y="103"/>
                      <a:pt x="884" y="206"/>
                      <a:pt x="926" y="243"/>
                    </a:cubicBezTo>
                    <a:cubicBezTo>
                      <a:pt x="1010" y="40"/>
                      <a:pt x="1010" y="40"/>
                      <a:pt x="1010" y="40"/>
                    </a:cubicBezTo>
                    <a:cubicBezTo>
                      <a:pt x="1024" y="0"/>
                      <a:pt x="1024" y="0"/>
                      <a:pt x="1024" y="0"/>
                    </a:cubicBezTo>
                    <a:cubicBezTo>
                      <a:pt x="1094" y="0"/>
                      <a:pt x="1094" y="0"/>
                      <a:pt x="1094" y="0"/>
                    </a:cubicBezTo>
                    <a:cubicBezTo>
                      <a:pt x="1087" y="21"/>
                      <a:pt x="1087" y="21"/>
                      <a:pt x="1087" y="21"/>
                    </a:cubicBezTo>
                    <a:cubicBezTo>
                      <a:pt x="1108" y="16"/>
                      <a:pt x="1141" y="8"/>
                      <a:pt x="1177" y="0"/>
                    </a:cubicBezTo>
                    <a:cubicBezTo>
                      <a:pt x="1251" y="0"/>
                      <a:pt x="1251" y="0"/>
                      <a:pt x="1251" y="0"/>
                    </a:cubicBezTo>
                    <a:cubicBezTo>
                      <a:pt x="1239" y="2"/>
                      <a:pt x="1227" y="5"/>
                      <a:pt x="1214" y="8"/>
                    </a:cubicBezTo>
                    <a:cubicBezTo>
                      <a:pt x="1177" y="16"/>
                      <a:pt x="1141" y="25"/>
                      <a:pt x="1113" y="31"/>
                    </a:cubicBezTo>
                    <a:cubicBezTo>
                      <a:pt x="1099" y="34"/>
                      <a:pt x="1088" y="37"/>
                      <a:pt x="1080" y="39"/>
                    </a:cubicBezTo>
                    <a:cubicBezTo>
                      <a:pt x="1080" y="39"/>
                      <a:pt x="1080" y="39"/>
                      <a:pt x="1080" y="39"/>
                    </a:cubicBezTo>
                    <a:cubicBezTo>
                      <a:pt x="1066" y="75"/>
                      <a:pt x="1066" y="75"/>
                      <a:pt x="1066" y="75"/>
                    </a:cubicBezTo>
                    <a:cubicBezTo>
                      <a:pt x="1065" y="75"/>
                      <a:pt x="1065" y="75"/>
                      <a:pt x="1065" y="75"/>
                    </a:cubicBezTo>
                    <a:cubicBezTo>
                      <a:pt x="1048" y="119"/>
                      <a:pt x="1048" y="119"/>
                      <a:pt x="1048" y="119"/>
                    </a:cubicBezTo>
                    <a:cubicBezTo>
                      <a:pt x="1243" y="294"/>
                      <a:pt x="1243" y="294"/>
                      <a:pt x="1243" y="294"/>
                    </a:cubicBezTo>
                    <a:cubicBezTo>
                      <a:pt x="1348" y="167"/>
                      <a:pt x="1348" y="167"/>
                      <a:pt x="1348" y="167"/>
                    </a:cubicBezTo>
                    <a:cubicBezTo>
                      <a:pt x="1382" y="6"/>
                      <a:pt x="1382" y="6"/>
                      <a:pt x="1382" y="6"/>
                    </a:cubicBezTo>
                    <a:cubicBezTo>
                      <a:pt x="1378" y="0"/>
                      <a:pt x="1378" y="0"/>
                      <a:pt x="1378" y="0"/>
                    </a:cubicBezTo>
                    <a:cubicBezTo>
                      <a:pt x="1429" y="0"/>
                      <a:pt x="1429" y="0"/>
                      <a:pt x="1429" y="0"/>
                    </a:cubicBezTo>
                    <a:cubicBezTo>
                      <a:pt x="1398" y="150"/>
                      <a:pt x="1398" y="150"/>
                      <a:pt x="1398" y="150"/>
                    </a:cubicBezTo>
                    <a:cubicBezTo>
                      <a:pt x="1414" y="160"/>
                      <a:pt x="1444" y="179"/>
                      <a:pt x="1474" y="199"/>
                    </a:cubicBezTo>
                    <a:cubicBezTo>
                      <a:pt x="1497" y="213"/>
                      <a:pt x="1520" y="227"/>
                      <a:pt x="1538" y="238"/>
                    </a:cubicBezTo>
                    <a:cubicBezTo>
                      <a:pt x="1546" y="243"/>
                      <a:pt x="1554" y="248"/>
                      <a:pt x="1559" y="251"/>
                    </a:cubicBezTo>
                    <a:cubicBezTo>
                      <a:pt x="1561" y="252"/>
                      <a:pt x="1562" y="252"/>
                      <a:pt x="1564" y="253"/>
                    </a:cubicBezTo>
                    <a:cubicBezTo>
                      <a:pt x="1636" y="149"/>
                      <a:pt x="1636" y="149"/>
                      <a:pt x="1636" y="149"/>
                    </a:cubicBezTo>
                    <a:cubicBezTo>
                      <a:pt x="1636" y="149"/>
                      <a:pt x="1636" y="149"/>
                      <a:pt x="1636" y="149"/>
                    </a:cubicBezTo>
                    <a:cubicBezTo>
                      <a:pt x="1634" y="147"/>
                      <a:pt x="1634" y="147"/>
                      <a:pt x="1634" y="147"/>
                    </a:cubicBezTo>
                    <a:cubicBezTo>
                      <a:pt x="1639" y="143"/>
                      <a:pt x="1661" y="113"/>
                      <a:pt x="1687" y="76"/>
                    </a:cubicBezTo>
                    <a:cubicBezTo>
                      <a:pt x="1687" y="77"/>
                      <a:pt x="1687" y="77"/>
                      <a:pt x="1687" y="77"/>
                    </a:cubicBezTo>
                    <a:cubicBezTo>
                      <a:pt x="1703" y="53"/>
                      <a:pt x="1703" y="53"/>
                      <a:pt x="1703" y="53"/>
                    </a:cubicBezTo>
                    <a:cubicBezTo>
                      <a:pt x="1707" y="49"/>
                      <a:pt x="1710" y="44"/>
                      <a:pt x="1713" y="39"/>
                    </a:cubicBezTo>
                    <a:cubicBezTo>
                      <a:pt x="1682" y="27"/>
                      <a:pt x="1644" y="12"/>
                      <a:pt x="1611" y="0"/>
                    </a:cubicBezTo>
                    <a:cubicBezTo>
                      <a:pt x="1658" y="0"/>
                      <a:pt x="1658" y="0"/>
                      <a:pt x="1658" y="0"/>
                    </a:cubicBezTo>
                    <a:cubicBezTo>
                      <a:pt x="1669" y="4"/>
                      <a:pt x="1679" y="7"/>
                      <a:pt x="1687" y="11"/>
                    </a:cubicBezTo>
                    <a:cubicBezTo>
                      <a:pt x="1690" y="12"/>
                      <a:pt x="1693" y="13"/>
                      <a:pt x="1722" y="25"/>
                    </a:cubicBezTo>
                    <a:cubicBezTo>
                      <a:pt x="1722" y="27"/>
                      <a:pt x="1722" y="27"/>
                      <a:pt x="1722" y="27"/>
                    </a:cubicBezTo>
                    <a:cubicBezTo>
                      <a:pt x="1727" y="18"/>
                      <a:pt x="1733" y="9"/>
                      <a:pt x="1739" y="0"/>
                    </a:cubicBezTo>
                    <a:cubicBezTo>
                      <a:pt x="1818" y="0"/>
                      <a:pt x="1818" y="0"/>
                      <a:pt x="1818" y="0"/>
                    </a:cubicBezTo>
                    <a:cubicBezTo>
                      <a:pt x="1800" y="26"/>
                      <a:pt x="1782" y="52"/>
                      <a:pt x="1766" y="76"/>
                    </a:cubicBezTo>
                    <a:cubicBezTo>
                      <a:pt x="1744" y="108"/>
                      <a:pt x="1724" y="137"/>
                      <a:pt x="1709" y="158"/>
                    </a:cubicBezTo>
                    <a:cubicBezTo>
                      <a:pt x="1707" y="160"/>
                      <a:pt x="1706" y="162"/>
                      <a:pt x="1704" y="164"/>
                    </a:cubicBezTo>
                    <a:cubicBezTo>
                      <a:pt x="1704" y="165"/>
                      <a:pt x="1705" y="164"/>
                      <a:pt x="1705" y="165"/>
                    </a:cubicBezTo>
                    <a:cubicBezTo>
                      <a:pt x="1706" y="166"/>
                      <a:pt x="1706" y="167"/>
                      <a:pt x="1707" y="168"/>
                    </a:cubicBezTo>
                    <a:cubicBezTo>
                      <a:pt x="1711" y="174"/>
                      <a:pt x="1752" y="226"/>
                      <a:pt x="1792" y="274"/>
                    </a:cubicBezTo>
                    <a:cubicBezTo>
                      <a:pt x="1823" y="312"/>
                      <a:pt x="1854" y="350"/>
                      <a:pt x="1867" y="366"/>
                    </a:cubicBezTo>
                    <a:cubicBezTo>
                      <a:pt x="2202" y="0"/>
                      <a:pt x="2202" y="0"/>
                      <a:pt x="2202" y="0"/>
                    </a:cubicBezTo>
                    <a:cubicBezTo>
                      <a:pt x="2221" y="0"/>
                      <a:pt x="2221" y="0"/>
                      <a:pt x="2221" y="0"/>
                    </a:cubicBezTo>
                    <a:cubicBezTo>
                      <a:pt x="1876" y="377"/>
                      <a:pt x="1876" y="377"/>
                      <a:pt x="1876" y="377"/>
                    </a:cubicBezTo>
                    <a:cubicBezTo>
                      <a:pt x="1876" y="377"/>
                      <a:pt x="1876" y="377"/>
                      <a:pt x="1876" y="377"/>
                    </a:cubicBezTo>
                    <a:cubicBezTo>
                      <a:pt x="1876" y="381"/>
                      <a:pt x="1876" y="381"/>
                      <a:pt x="1876" y="381"/>
                    </a:cubicBezTo>
                    <a:cubicBezTo>
                      <a:pt x="1876" y="381"/>
                      <a:pt x="1867" y="457"/>
                      <a:pt x="1858" y="534"/>
                    </a:cubicBezTo>
                    <a:cubicBezTo>
                      <a:pt x="1853" y="572"/>
                      <a:pt x="1848" y="611"/>
                      <a:pt x="1844" y="639"/>
                    </a:cubicBezTo>
                    <a:cubicBezTo>
                      <a:pt x="1842" y="654"/>
                      <a:pt x="1841" y="666"/>
                      <a:pt x="1839" y="674"/>
                    </a:cubicBezTo>
                    <a:cubicBezTo>
                      <a:pt x="1839" y="677"/>
                      <a:pt x="1838" y="680"/>
                      <a:pt x="1838" y="682"/>
                    </a:cubicBezTo>
                    <a:cubicBezTo>
                      <a:pt x="1846" y="686"/>
                      <a:pt x="1863" y="693"/>
                      <a:pt x="1879" y="700"/>
                    </a:cubicBezTo>
                    <a:cubicBezTo>
                      <a:pt x="1895" y="707"/>
                      <a:pt x="1911" y="713"/>
                      <a:pt x="1918" y="716"/>
                    </a:cubicBezTo>
                    <a:cubicBezTo>
                      <a:pt x="1945" y="703"/>
                      <a:pt x="2011" y="668"/>
                      <a:pt x="2075" y="635"/>
                    </a:cubicBezTo>
                    <a:cubicBezTo>
                      <a:pt x="2146" y="598"/>
                      <a:pt x="2216" y="561"/>
                      <a:pt x="2229" y="554"/>
                    </a:cubicBezTo>
                    <a:cubicBezTo>
                      <a:pt x="2236" y="537"/>
                      <a:pt x="2273" y="434"/>
                      <a:pt x="2311" y="330"/>
                    </a:cubicBezTo>
                    <a:cubicBezTo>
                      <a:pt x="2331" y="274"/>
                      <a:pt x="2353" y="217"/>
                      <a:pt x="2369" y="174"/>
                    </a:cubicBezTo>
                    <a:cubicBezTo>
                      <a:pt x="2377" y="153"/>
                      <a:pt x="2384" y="135"/>
                      <a:pt x="2390" y="122"/>
                    </a:cubicBezTo>
                    <a:cubicBezTo>
                      <a:pt x="2390" y="121"/>
                      <a:pt x="2391" y="120"/>
                      <a:pt x="2391" y="119"/>
                    </a:cubicBezTo>
                    <a:cubicBezTo>
                      <a:pt x="2348" y="88"/>
                      <a:pt x="2288" y="44"/>
                      <a:pt x="2226" y="0"/>
                    </a:cubicBezTo>
                    <a:cubicBezTo>
                      <a:pt x="2338" y="0"/>
                      <a:pt x="2338" y="0"/>
                      <a:pt x="2338" y="0"/>
                    </a:cubicBezTo>
                    <a:cubicBezTo>
                      <a:pt x="2387" y="35"/>
                      <a:pt x="2429" y="66"/>
                      <a:pt x="2457" y="85"/>
                    </a:cubicBezTo>
                    <a:cubicBezTo>
                      <a:pt x="2476" y="0"/>
                      <a:pt x="2476" y="0"/>
                      <a:pt x="2476" y="0"/>
                    </a:cubicBezTo>
                    <a:cubicBezTo>
                      <a:pt x="2490" y="0"/>
                      <a:pt x="2490" y="0"/>
                      <a:pt x="2490" y="0"/>
                    </a:cubicBezTo>
                    <a:cubicBezTo>
                      <a:pt x="2469" y="94"/>
                      <a:pt x="2469" y="94"/>
                      <a:pt x="2469" y="94"/>
                    </a:cubicBezTo>
                    <a:cubicBezTo>
                      <a:pt x="2556" y="156"/>
                      <a:pt x="2661" y="240"/>
                      <a:pt x="2815" y="259"/>
                    </a:cubicBezTo>
                    <a:cubicBezTo>
                      <a:pt x="2826" y="261"/>
                      <a:pt x="2838" y="261"/>
                      <a:pt x="2849" y="261"/>
                    </a:cubicBezTo>
                    <a:cubicBezTo>
                      <a:pt x="2922" y="262"/>
                      <a:pt x="2995" y="233"/>
                      <a:pt x="3059" y="197"/>
                    </a:cubicBezTo>
                    <a:cubicBezTo>
                      <a:pt x="3050" y="180"/>
                      <a:pt x="3036" y="149"/>
                      <a:pt x="3018" y="109"/>
                    </a:cubicBezTo>
                    <a:cubicBezTo>
                      <a:pt x="3004" y="77"/>
                      <a:pt x="2987" y="40"/>
                      <a:pt x="2970" y="0"/>
                    </a:cubicBezTo>
                    <a:cubicBezTo>
                      <a:pt x="2985" y="0"/>
                      <a:pt x="2985" y="0"/>
                      <a:pt x="2985" y="0"/>
                    </a:cubicBezTo>
                    <a:cubicBezTo>
                      <a:pt x="3004" y="43"/>
                      <a:pt x="3022" y="84"/>
                      <a:pt x="3037" y="117"/>
                    </a:cubicBezTo>
                    <a:cubicBezTo>
                      <a:pt x="3049" y="143"/>
                      <a:pt x="3059" y="165"/>
                      <a:pt x="3066" y="181"/>
                    </a:cubicBezTo>
                    <a:cubicBezTo>
                      <a:pt x="3068" y="184"/>
                      <a:pt x="3069" y="187"/>
                      <a:pt x="3071" y="190"/>
                    </a:cubicBezTo>
                    <a:cubicBezTo>
                      <a:pt x="3125" y="158"/>
                      <a:pt x="3173" y="123"/>
                      <a:pt x="3208" y="98"/>
                    </a:cubicBezTo>
                    <a:cubicBezTo>
                      <a:pt x="3259" y="64"/>
                      <a:pt x="3339" y="45"/>
                      <a:pt x="3410" y="30"/>
                    </a:cubicBezTo>
                    <a:cubicBezTo>
                      <a:pt x="3433" y="25"/>
                      <a:pt x="3455" y="22"/>
                      <a:pt x="3475" y="18"/>
                    </a:cubicBezTo>
                    <a:cubicBezTo>
                      <a:pt x="3468" y="12"/>
                      <a:pt x="3461" y="6"/>
                      <a:pt x="3454" y="0"/>
                    </a:cubicBezTo>
                    <a:cubicBezTo>
                      <a:pt x="3551" y="0"/>
                      <a:pt x="3551" y="0"/>
                      <a:pt x="3551" y="0"/>
                    </a:cubicBezTo>
                    <a:cubicBezTo>
                      <a:pt x="3630" y="75"/>
                      <a:pt x="3694" y="151"/>
                      <a:pt x="3700" y="158"/>
                    </a:cubicBezTo>
                    <a:cubicBezTo>
                      <a:pt x="3855" y="33"/>
                      <a:pt x="3855" y="33"/>
                      <a:pt x="3855" y="33"/>
                    </a:cubicBezTo>
                    <a:cubicBezTo>
                      <a:pt x="3858" y="33"/>
                      <a:pt x="3858" y="33"/>
                      <a:pt x="3858" y="33"/>
                    </a:cubicBezTo>
                    <a:cubicBezTo>
                      <a:pt x="3858" y="33"/>
                      <a:pt x="3874" y="36"/>
                      <a:pt x="3886" y="37"/>
                    </a:cubicBezTo>
                    <a:cubicBezTo>
                      <a:pt x="3883" y="0"/>
                      <a:pt x="3883" y="0"/>
                      <a:pt x="3883" y="0"/>
                    </a:cubicBezTo>
                    <a:cubicBezTo>
                      <a:pt x="3900" y="0"/>
                      <a:pt x="3900" y="0"/>
                      <a:pt x="3900" y="0"/>
                    </a:cubicBezTo>
                    <a:cubicBezTo>
                      <a:pt x="3903" y="40"/>
                      <a:pt x="3903" y="40"/>
                      <a:pt x="3903" y="40"/>
                    </a:cubicBezTo>
                    <a:cubicBezTo>
                      <a:pt x="3903" y="40"/>
                      <a:pt x="3904" y="40"/>
                      <a:pt x="3905" y="41"/>
                    </a:cubicBezTo>
                    <a:cubicBezTo>
                      <a:pt x="3905" y="41"/>
                      <a:pt x="3906" y="42"/>
                      <a:pt x="3906" y="42"/>
                    </a:cubicBezTo>
                    <a:cubicBezTo>
                      <a:pt x="3917" y="53"/>
                      <a:pt x="4009" y="139"/>
                      <a:pt x="4087" y="211"/>
                    </a:cubicBezTo>
                    <a:cubicBezTo>
                      <a:pt x="4105" y="200"/>
                      <a:pt x="4159" y="163"/>
                      <a:pt x="4170" y="155"/>
                    </a:cubicBezTo>
                    <a:cubicBezTo>
                      <a:pt x="4223" y="0"/>
                      <a:pt x="4223" y="0"/>
                      <a:pt x="4223" y="0"/>
                    </a:cubicBezTo>
                    <a:cubicBezTo>
                      <a:pt x="4240" y="0"/>
                      <a:pt x="4240" y="0"/>
                      <a:pt x="4240" y="0"/>
                    </a:cubicBezTo>
                    <a:cubicBezTo>
                      <a:pt x="4184" y="166"/>
                      <a:pt x="4184" y="166"/>
                      <a:pt x="4184" y="166"/>
                    </a:cubicBezTo>
                    <a:cubicBezTo>
                      <a:pt x="4182" y="167"/>
                      <a:pt x="4182" y="167"/>
                      <a:pt x="4182" y="167"/>
                    </a:cubicBezTo>
                    <a:cubicBezTo>
                      <a:pt x="4182" y="167"/>
                      <a:pt x="4160" y="183"/>
                      <a:pt x="4137" y="198"/>
                    </a:cubicBezTo>
                    <a:cubicBezTo>
                      <a:pt x="4126" y="205"/>
                      <a:pt x="4114" y="213"/>
                      <a:pt x="4105" y="219"/>
                    </a:cubicBezTo>
                    <a:cubicBezTo>
                      <a:pt x="4103" y="221"/>
                      <a:pt x="4101" y="222"/>
                      <a:pt x="4099" y="223"/>
                    </a:cubicBezTo>
                    <a:cubicBezTo>
                      <a:pt x="4150" y="270"/>
                      <a:pt x="4192" y="310"/>
                      <a:pt x="4199" y="316"/>
                    </a:cubicBezTo>
                    <a:cubicBezTo>
                      <a:pt x="4205" y="312"/>
                      <a:pt x="4212" y="309"/>
                      <a:pt x="4220" y="305"/>
                    </a:cubicBezTo>
                    <a:cubicBezTo>
                      <a:pt x="4262" y="284"/>
                      <a:pt x="4312" y="255"/>
                      <a:pt x="4340" y="228"/>
                    </a:cubicBezTo>
                    <a:cubicBezTo>
                      <a:pt x="4365" y="205"/>
                      <a:pt x="4399" y="146"/>
                      <a:pt x="4428" y="64"/>
                    </a:cubicBezTo>
                    <a:cubicBezTo>
                      <a:pt x="4435" y="44"/>
                      <a:pt x="4442" y="23"/>
                      <a:pt x="4448" y="0"/>
                    </a:cubicBezTo>
                    <a:cubicBezTo>
                      <a:pt x="4516" y="0"/>
                      <a:pt x="4516" y="0"/>
                      <a:pt x="4516" y="0"/>
                    </a:cubicBezTo>
                    <a:cubicBezTo>
                      <a:pt x="4508" y="30"/>
                      <a:pt x="4499" y="60"/>
                      <a:pt x="4489" y="86"/>
                    </a:cubicBezTo>
                    <a:cubicBezTo>
                      <a:pt x="4459" y="173"/>
                      <a:pt x="4425" y="238"/>
                      <a:pt x="4384" y="276"/>
                    </a:cubicBezTo>
                    <a:cubicBezTo>
                      <a:pt x="4376" y="285"/>
                      <a:pt x="4366" y="293"/>
                      <a:pt x="4355" y="300"/>
                    </a:cubicBezTo>
                    <a:cubicBezTo>
                      <a:pt x="4408" y="544"/>
                      <a:pt x="4408" y="544"/>
                      <a:pt x="4408" y="544"/>
                    </a:cubicBezTo>
                    <a:cubicBezTo>
                      <a:pt x="4754" y="326"/>
                      <a:pt x="4754" y="326"/>
                      <a:pt x="4754" y="326"/>
                    </a:cubicBezTo>
                    <a:cubicBezTo>
                      <a:pt x="4895" y="378"/>
                      <a:pt x="4895" y="378"/>
                      <a:pt x="4895" y="378"/>
                    </a:cubicBezTo>
                    <a:cubicBezTo>
                      <a:pt x="5163" y="211"/>
                      <a:pt x="5163" y="211"/>
                      <a:pt x="5163" y="211"/>
                    </a:cubicBezTo>
                    <a:cubicBezTo>
                      <a:pt x="5093" y="64"/>
                      <a:pt x="5093" y="64"/>
                      <a:pt x="5093" y="64"/>
                    </a:cubicBezTo>
                    <a:cubicBezTo>
                      <a:pt x="5092" y="63"/>
                      <a:pt x="5092" y="63"/>
                      <a:pt x="5092" y="63"/>
                    </a:cubicBezTo>
                    <a:cubicBezTo>
                      <a:pt x="5092" y="63"/>
                      <a:pt x="5092" y="58"/>
                      <a:pt x="5092" y="49"/>
                    </a:cubicBezTo>
                    <a:cubicBezTo>
                      <a:pt x="5092" y="51"/>
                      <a:pt x="5092" y="51"/>
                      <a:pt x="5092" y="51"/>
                    </a:cubicBezTo>
                    <a:cubicBezTo>
                      <a:pt x="4837" y="0"/>
                      <a:pt x="4837" y="0"/>
                      <a:pt x="4837" y="0"/>
                    </a:cubicBezTo>
                    <a:cubicBezTo>
                      <a:pt x="4908" y="0"/>
                      <a:pt x="4908" y="0"/>
                      <a:pt x="4908" y="0"/>
                    </a:cubicBezTo>
                    <a:cubicBezTo>
                      <a:pt x="5092" y="37"/>
                      <a:pt x="5092" y="37"/>
                      <a:pt x="5092" y="37"/>
                    </a:cubicBezTo>
                    <a:cubicBezTo>
                      <a:pt x="5092" y="27"/>
                      <a:pt x="5091" y="14"/>
                      <a:pt x="5091" y="0"/>
                    </a:cubicBezTo>
                    <a:cubicBezTo>
                      <a:pt x="5105" y="0"/>
                      <a:pt x="5105" y="0"/>
                      <a:pt x="5105" y="0"/>
                    </a:cubicBezTo>
                    <a:cubicBezTo>
                      <a:pt x="5106" y="31"/>
                      <a:pt x="5106" y="55"/>
                      <a:pt x="5106" y="61"/>
                    </a:cubicBezTo>
                    <a:cubicBezTo>
                      <a:pt x="5175" y="204"/>
                      <a:pt x="5175" y="204"/>
                      <a:pt x="5175" y="204"/>
                    </a:cubicBezTo>
                    <a:cubicBezTo>
                      <a:pt x="5255" y="154"/>
                      <a:pt x="5255" y="154"/>
                      <a:pt x="5255" y="154"/>
                    </a:cubicBezTo>
                    <a:cubicBezTo>
                      <a:pt x="5680" y="160"/>
                      <a:pt x="5680" y="160"/>
                      <a:pt x="5680" y="160"/>
                    </a:cubicBezTo>
                    <a:cubicBezTo>
                      <a:pt x="5708" y="0"/>
                      <a:pt x="5708" y="0"/>
                      <a:pt x="5708" y="0"/>
                    </a:cubicBezTo>
                    <a:cubicBezTo>
                      <a:pt x="5774" y="0"/>
                      <a:pt x="5774" y="0"/>
                      <a:pt x="5774" y="0"/>
                    </a:cubicBezTo>
                    <a:cubicBezTo>
                      <a:pt x="5743" y="175"/>
                      <a:pt x="5743" y="175"/>
                      <a:pt x="5743" y="175"/>
                    </a:cubicBezTo>
                    <a:cubicBezTo>
                      <a:pt x="5954" y="297"/>
                      <a:pt x="5954" y="297"/>
                      <a:pt x="5954" y="297"/>
                    </a:cubicBezTo>
                    <a:cubicBezTo>
                      <a:pt x="6001" y="250"/>
                      <a:pt x="6001" y="250"/>
                      <a:pt x="6001" y="250"/>
                    </a:cubicBezTo>
                    <a:cubicBezTo>
                      <a:pt x="6006" y="254"/>
                      <a:pt x="6006" y="254"/>
                      <a:pt x="6006" y="254"/>
                    </a:cubicBezTo>
                    <a:cubicBezTo>
                      <a:pt x="6006" y="254"/>
                      <a:pt x="6055" y="294"/>
                      <a:pt x="6103" y="335"/>
                    </a:cubicBezTo>
                    <a:cubicBezTo>
                      <a:pt x="6128" y="355"/>
                      <a:pt x="6152" y="376"/>
                      <a:pt x="6170" y="391"/>
                    </a:cubicBezTo>
                    <a:cubicBezTo>
                      <a:pt x="6179" y="399"/>
                      <a:pt x="6187" y="405"/>
                      <a:pt x="6192" y="410"/>
                    </a:cubicBezTo>
                    <a:cubicBezTo>
                      <a:pt x="6195" y="412"/>
                      <a:pt x="6197" y="414"/>
                      <a:pt x="6198" y="415"/>
                    </a:cubicBezTo>
                    <a:cubicBezTo>
                      <a:pt x="6199" y="416"/>
                      <a:pt x="6200" y="417"/>
                      <a:pt x="6200" y="417"/>
                    </a:cubicBezTo>
                    <a:cubicBezTo>
                      <a:pt x="6200" y="417"/>
                      <a:pt x="6201" y="418"/>
                      <a:pt x="6201" y="418"/>
                    </a:cubicBezTo>
                    <a:cubicBezTo>
                      <a:pt x="6201" y="418"/>
                      <a:pt x="6201" y="418"/>
                      <a:pt x="6201" y="418"/>
                    </a:cubicBezTo>
                    <a:cubicBezTo>
                      <a:pt x="6245" y="368"/>
                      <a:pt x="6245" y="368"/>
                      <a:pt x="6245" y="368"/>
                    </a:cubicBezTo>
                    <a:cubicBezTo>
                      <a:pt x="6241" y="364"/>
                      <a:pt x="6241" y="364"/>
                      <a:pt x="6241" y="364"/>
                    </a:cubicBezTo>
                    <a:cubicBezTo>
                      <a:pt x="6241" y="360"/>
                      <a:pt x="6241" y="360"/>
                      <a:pt x="6241" y="360"/>
                    </a:cubicBezTo>
                    <a:cubicBezTo>
                      <a:pt x="6241" y="360"/>
                      <a:pt x="6248" y="303"/>
                      <a:pt x="6255" y="244"/>
                    </a:cubicBezTo>
                    <a:cubicBezTo>
                      <a:pt x="6259" y="215"/>
                      <a:pt x="6263" y="185"/>
                      <a:pt x="6266" y="163"/>
                    </a:cubicBezTo>
                    <a:cubicBezTo>
                      <a:pt x="6267" y="151"/>
                      <a:pt x="6269" y="142"/>
                      <a:pt x="6270" y="135"/>
                    </a:cubicBezTo>
                    <a:cubicBezTo>
                      <a:pt x="6270" y="132"/>
                      <a:pt x="6270" y="131"/>
                      <a:pt x="6271" y="129"/>
                    </a:cubicBezTo>
                    <a:cubicBezTo>
                      <a:pt x="6244" y="121"/>
                      <a:pt x="6133" y="86"/>
                      <a:pt x="6023" y="52"/>
                    </a:cubicBezTo>
                    <a:cubicBezTo>
                      <a:pt x="5963" y="33"/>
                      <a:pt x="5904" y="14"/>
                      <a:pt x="5857" y="0"/>
                    </a:cubicBezTo>
                    <a:cubicBezTo>
                      <a:pt x="5904" y="0"/>
                      <a:pt x="5904" y="0"/>
                      <a:pt x="5904" y="0"/>
                    </a:cubicBezTo>
                    <a:cubicBezTo>
                      <a:pt x="5944" y="13"/>
                      <a:pt x="5990" y="27"/>
                      <a:pt x="6036" y="41"/>
                    </a:cubicBezTo>
                    <a:cubicBezTo>
                      <a:pt x="6150" y="77"/>
                      <a:pt x="6263" y="112"/>
                      <a:pt x="6279" y="117"/>
                    </a:cubicBezTo>
                    <a:cubicBezTo>
                      <a:pt x="6362" y="92"/>
                      <a:pt x="6362" y="92"/>
                      <a:pt x="6362" y="92"/>
                    </a:cubicBezTo>
                    <a:cubicBezTo>
                      <a:pt x="6364" y="93"/>
                      <a:pt x="6364" y="93"/>
                      <a:pt x="6364" y="93"/>
                    </a:cubicBezTo>
                    <a:cubicBezTo>
                      <a:pt x="6364" y="93"/>
                      <a:pt x="6414" y="106"/>
                      <a:pt x="6465" y="119"/>
                    </a:cubicBezTo>
                    <a:cubicBezTo>
                      <a:pt x="6490" y="125"/>
                      <a:pt x="6516" y="132"/>
                      <a:pt x="6536" y="137"/>
                    </a:cubicBezTo>
                    <a:cubicBezTo>
                      <a:pt x="6545" y="139"/>
                      <a:pt x="6554" y="141"/>
                      <a:pt x="6560" y="143"/>
                    </a:cubicBezTo>
                    <a:cubicBezTo>
                      <a:pt x="6561" y="143"/>
                      <a:pt x="6562" y="143"/>
                      <a:pt x="6563" y="144"/>
                    </a:cubicBezTo>
                    <a:cubicBezTo>
                      <a:pt x="6565" y="142"/>
                      <a:pt x="6567" y="140"/>
                      <a:pt x="6569" y="138"/>
                    </a:cubicBezTo>
                    <a:cubicBezTo>
                      <a:pt x="6580" y="126"/>
                      <a:pt x="6601" y="109"/>
                      <a:pt x="6601" y="109"/>
                    </a:cubicBezTo>
                    <a:cubicBezTo>
                      <a:pt x="6604" y="107"/>
                      <a:pt x="6604" y="107"/>
                      <a:pt x="6604" y="107"/>
                    </a:cubicBezTo>
                    <a:cubicBezTo>
                      <a:pt x="6738" y="135"/>
                      <a:pt x="6738" y="135"/>
                      <a:pt x="6738" y="135"/>
                    </a:cubicBezTo>
                    <a:cubicBezTo>
                      <a:pt x="6763" y="0"/>
                      <a:pt x="6763" y="0"/>
                      <a:pt x="6763" y="0"/>
                    </a:cubicBezTo>
                    <a:cubicBezTo>
                      <a:pt x="6776" y="0"/>
                      <a:pt x="6776" y="0"/>
                      <a:pt x="6776" y="0"/>
                    </a:cubicBezTo>
                    <a:cubicBezTo>
                      <a:pt x="6751" y="138"/>
                      <a:pt x="6751" y="138"/>
                      <a:pt x="6751" y="138"/>
                    </a:cubicBezTo>
                    <a:cubicBezTo>
                      <a:pt x="6879" y="164"/>
                      <a:pt x="6879" y="164"/>
                      <a:pt x="6879" y="164"/>
                    </a:cubicBezTo>
                    <a:cubicBezTo>
                      <a:pt x="6907" y="8"/>
                      <a:pt x="6907" y="8"/>
                      <a:pt x="6907" y="8"/>
                    </a:cubicBezTo>
                    <a:cubicBezTo>
                      <a:pt x="6846" y="0"/>
                      <a:pt x="6846" y="0"/>
                      <a:pt x="6846" y="0"/>
                    </a:cubicBezTo>
                    <a:cubicBezTo>
                      <a:pt x="6954" y="0"/>
                      <a:pt x="6954" y="0"/>
                      <a:pt x="6954" y="0"/>
                    </a:cubicBezTo>
                    <a:cubicBezTo>
                      <a:pt x="7002" y="6"/>
                      <a:pt x="7002" y="6"/>
                      <a:pt x="7002" y="6"/>
                    </a:cubicBezTo>
                    <a:cubicBezTo>
                      <a:pt x="7003" y="0"/>
                      <a:pt x="7003" y="0"/>
                      <a:pt x="7003" y="0"/>
                    </a:cubicBezTo>
                    <a:cubicBezTo>
                      <a:pt x="7069" y="0"/>
                      <a:pt x="7069" y="0"/>
                      <a:pt x="7069" y="0"/>
                    </a:cubicBezTo>
                    <a:cubicBezTo>
                      <a:pt x="7041" y="190"/>
                      <a:pt x="7041" y="190"/>
                      <a:pt x="7041" y="190"/>
                    </a:cubicBezTo>
                    <a:cubicBezTo>
                      <a:pt x="7234" y="146"/>
                      <a:pt x="7234" y="146"/>
                      <a:pt x="7234" y="146"/>
                    </a:cubicBezTo>
                    <a:cubicBezTo>
                      <a:pt x="7227" y="126"/>
                      <a:pt x="7219" y="57"/>
                      <a:pt x="7213" y="0"/>
                    </a:cubicBezTo>
                    <a:cubicBezTo>
                      <a:pt x="7227" y="0"/>
                      <a:pt x="7227" y="0"/>
                      <a:pt x="7227" y="0"/>
                    </a:cubicBezTo>
                    <a:cubicBezTo>
                      <a:pt x="7228" y="10"/>
                      <a:pt x="7230" y="21"/>
                      <a:pt x="7231" y="32"/>
                    </a:cubicBezTo>
                    <a:cubicBezTo>
                      <a:pt x="7234" y="61"/>
                      <a:pt x="7238" y="90"/>
                      <a:pt x="7241" y="112"/>
                    </a:cubicBezTo>
                    <a:cubicBezTo>
                      <a:pt x="7243" y="122"/>
                      <a:pt x="7244" y="131"/>
                      <a:pt x="7246" y="137"/>
                    </a:cubicBezTo>
                    <a:cubicBezTo>
                      <a:pt x="7246" y="140"/>
                      <a:pt x="7247" y="141"/>
                      <a:pt x="7247" y="143"/>
                    </a:cubicBezTo>
                    <a:cubicBezTo>
                      <a:pt x="7537" y="76"/>
                      <a:pt x="7537" y="76"/>
                      <a:pt x="7537" y="76"/>
                    </a:cubicBezTo>
                    <a:cubicBezTo>
                      <a:pt x="7527" y="63"/>
                      <a:pt x="7497" y="32"/>
                      <a:pt x="7464" y="0"/>
                    </a:cubicBezTo>
                    <a:cubicBezTo>
                      <a:pt x="7484" y="0"/>
                      <a:pt x="7484" y="0"/>
                      <a:pt x="7484" y="0"/>
                    </a:cubicBezTo>
                    <a:cubicBezTo>
                      <a:pt x="7498" y="14"/>
                      <a:pt x="7512" y="28"/>
                      <a:pt x="7523" y="39"/>
                    </a:cubicBezTo>
                    <a:cubicBezTo>
                      <a:pt x="7532" y="49"/>
                      <a:pt x="7540" y="57"/>
                      <a:pt x="7545" y="63"/>
                    </a:cubicBezTo>
                    <a:cubicBezTo>
                      <a:pt x="7548" y="67"/>
                      <a:pt x="7550" y="69"/>
                      <a:pt x="7551" y="71"/>
                    </a:cubicBezTo>
                    <a:cubicBezTo>
                      <a:pt x="7693" y="0"/>
                      <a:pt x="7693" y="0"/>
                      <a:pt x="7693" y="0"/>
                    </a:cubicBezTo>
                    <a:cubicBezTo>
                      <a:pt x="7723" y="0"/>
                      <a:pt x="7723" y="0"/>
                      <a:pt x="7723" y="0"/>
                    </a:cubicBezTo>
                    <a:cubicBezTo>
                      <a:pt x="7550" y="87"/>
                      <a:pt x="7550" y="87"/>
                      <a:pt x="7550" y="87"/>
                    </a:cubicBezTo>
                    <a:cubicBezTo>
                      <a:pt x="7039" y="205"/>
                      <a:pt x="7039" y="205"/>
                      <a:pt x="7039" y="205"/>
                    </a:cubicBezTo>
                    <a:cubicBezTo>
                      <a:pt x="7031" y="258"/>
                      <a:pt x="7031" y="258"/>
                      <a:pt x="7031" y="258"/>
                    </a:cubicBezTo>
                    <a:cubicBezTo>
                      <a:pt x="6966" y="249"/>
                      <a:pt x="6966" y="249"/>
                      <a:pt x="6966" y="249"/>
                    </a:cubicBezTo>
                    <a:cubicBezTo>
                      <a:pt x="6974" y="198"/>
                      <a:pt x="6974" y="198"/>
                      <a:pt x="6974" y="198"/>
                    </a:cubicBezTo>
                    <a:cubicBezTo>
                      <a:pt x="6889" y="180"/>
                      <a:pt x="6889" y="180"/>
                      <a:pt x="6889" y="180"/>
                    </a:cubicBezTo>
                    <a:cubicBezTo>
                      <a:pt x="6878" y="241"/>
                      <a:pt x="6878" y="241"/>
                      <a:pt x="6878" y="241"/>
                    </a:cubicBezTo>
                    <a:cubicBezTo>
                      <a:pt x="6724" y="215"/>
                      <a:pt x="6724" y="215"/>
                      <a:pt x="6724" y="215"/>
                    </a:cubicBezTo>
                    <a:cubicBezTo>
                      <a:pt x="6736" y="149"/>
                      <a:pt x="6736" y="149"/>
                      <a:pt x="6736" y="149"/>
                    </a:cubicBezTo>
                    <a:cubicBezTo>
                      <a:pt x="6607" y="122"/>
                      <a:pt x="6607" y="122"/>
                      <a:pt x="6607" y="122"/>
                    </a:cubicBezTo>
                    <a:cubicBezTo>
                      <a:pt x="6604" y="125"/>
                      <a:pt x="6597" y="130"/>
                      <a:pt x="6591" y="136"/>
                    </a:cubicBezTo>
                    <a:cubicBezTo>
                      <a:pt x="6586" y="140"/>
                      <a:pt x="6582" y="144"/>
                      <a:pt x="6579" y="147"/>
                    </a:cubicBezTo>
                    <a:cubicBezTo>
                      <a:pt x="6577" y="149"/>
                      <a:pt x="6576" y="150"/>
                      <a:pt x="6575" y="151"/>
                    </a:cubicBezTo>
                    <a:cubicBezTo>
                      <a:pt x="6575" y="151"/>
                      <a:pt x="6575" y="152"/>
                      <a:pt x="6575" y="152"/>
                    </a:cubicBezTo>
                    <a:cubicBezTo>
                      <a:pt x="6576" y="154"/>
                      <a:pt x="6574" y="156"/>
                      <a:pt x="6573" y="157"/>
                    </a:cubicBezTo>
                    <a:cubicBezTo>
                      <a:pt x="6569" y="159"/>
                      <a:pt x="6569" y="159"/>
                      <a:pt x="6569" y="159"/>
                    </a:cubicBezTo>
                    <a:cubicBezTo>
                      <a:pt x="6568" y="159"/>
                      <a:pt x="6568" y="159"/>
                      <a:pt x="6568" y="159"/>
                    </a:cubicBezTo>
                    <a:cubicBezTo>
                      <a:pt x="6562" y="158"/>
                      <a:pt x="6513" y="146"/>
                      <a:pt x="6462" y="132"/>
                    </a:cubicBezTo>
                    <a:cubicBezTo>
                      <a:pt x="6416" y="121"/>
                      <a:pt x="6372" y="109"/>
                      <a:pt x="6362" y="107"/>
                    </a:cubicBezTo>
                    <a:cubicBezTo>
                      <a:pt x="6285" y="130"/>
                      <a:pt x="6285" y="130"/>
                      <a:pt x="6285" y="130"/>
                    </a:cubicBezTo>
                    <a:cubicBezTo>
                      <a:pt x="6282" y="143"/>
                      <a:pt x="6275" y="197"/>
                      <a:pt x="6269" y="248"/>
                    </a:cubicBezTo>
                    <a:cubicBezTo>
                      <a:pt x="6263" y="296"/>
                      <a:pt x="6257" y="342"/>
                      <a:pt x="6256" y="357"/>
                    </a:cubicBezTo>
                    <a:cubicBezTo>
                      <a:pt x="6263" y="363"/>
                      <a:pt x="6263" y="363"/>
                      <a:pt x="6263" y="363"/>
                    </a:cubicBezTo>
                    <a:cubicBezTo>
                      <a:pt x="6503" y="539"/>
                      <a:pt x="6503" y="539"/>
                      <a:pt x="6503" y="539"/>
                    </a:cubicBezTo>
                    <a:cubicBezTo>
                      <a:pt x="6505" y="535"/>
                      <a:pt x="6507" y="532"/>
                      <a:pt x="6510" y="528"/>
                    </a:cubicBezTo>
                    <a:cubicBezTo>
                      <a:pt x="6539" y="488"/>
                      <a:pt x="6565" y="453"/>
                      <a:pt x="6599" y="421"/>
                    </a:cubicBezTo>
                    <a:cubicBezTo>
                      <a:pt x="6613" y="408"/>
                      <a:pt x="6628" y="395"/>
                      <a:pt x="6645" y="384"/>
                    </a:cubicBezTo>
                    <a:cubicBezTo>
                      <a:pt x="6645" y="383"/>
                      <a:pt x="6645" y="383"/>
                      <a:pt x="6645" y="383"/>
                    </a:cubicBezTo>
                    <a:cubicBezTo>
                      <a:pt x="6645" y="383"/>
                      <a:pt x="6645" y="383"/>
                      <a:pt x="6645" y="383"/>
                    </a:cubicBezTo>
                    <a:cubicBezTo>
                      <a:pt x="6640" y="387"/>
                      <a:pt x="6640" y="387"/>
                      <a:pt x="6640" y="387"/>
                    </a:cubicBezTo>
                    <a:cubicBezTo>
                      <a:pt x="6640" y="387"/>
                      <a:pt x="6640" y="387"/>
                      <a:pt x="6640" y="387"/>
                    </a:cubicBezTo>
                    <a:cubicBezTo>
                      <a:pt x="6633" y="381"/>
                      <a:pt x="6588" y="353"/>
                      <a:pt x="6544" y="325"/>
                    </a:cubicBezTo>
                    <a:cubicBezTo>
                      <a:pt x="6523" y="311"/>
                      <a:pt x="6501" y="298"/>
                      <a:pt x="6486" y="287"/>
                    </a:cubicBezTo>
                    <a:cubicBezTo>
                      <a:pt x="6478" y="282"/>
                      <a:pt x="6471" y="278"/>
                      <a:pt x="6466" y="274"/>
                    </a:cubicBezTo>
                    <a:cubicBezTo>
                      <a:pt x="6464" y="273"/>
                      <a:pt x="6462" y="271"/>
                      <a:pt x="6461" y="270"/>
                    </a:cubicBezTo>
                    <a:cubicBezTo>
                      <a:pt x="6460" y="269"/>
                      <a:pt x="6459" y="269"/>
                      <a:pt x="6458" y="268"/>
                    </a:cubicBezTo>
                    <a:cubicBezTo>
                      <a:pt x="6433" y="261"/>
                      <a:pt x="6274" y="226"/>
                      <a:pt x="6274" y="226"/>
                    </a:cubicBezTo>
                    <a:cubicBezTo>
                      <a:pt x="6277" y="213"/>
                      <a:pt x="6277" y="213"/>
                      <a:pt x="6277" y="213"/>
                    </a:cubicBezTo>
                    <a:cubicBezTo>
                      <a:pt x="6277" y="213"/>
                      <a:pt x="6324" y="223"/>
                      <a:pt x="6371" y="233"/>
                    </a:cubicBezTo>
                    <a:cubicBezTo>
                      <a:pt x="6395" y="239"/>
                      <a:pt x="6418" y="244"/>
                      <a:pt x="6436" y="248"/>
                    </a:cubicBezTo>
                    <a:cubicBezTo>
                      <a:pt x="6445" y="250"/>
                      <a:pt x="6452" y="252"/>
                      <a:pt x="6458" y="253"/>
                    </a:cubicBezTo>
                    <a:cubicBezTo>
                      <a:pt x="6460" y="254"/>
                      <a:pt x="6462" y="255"/>
                      <a:pt x="6464" y="255"/>
                    </a:cubicBezTo>
                    <a:cubicBezTo>
                      <a:pt x="6465" y="255"/>
                      <a:pt x="6465" y="255"/>
                      <a:pt x="6466" y="256"/>
                    </a:cubicBezTo>
                    <a:cubicBezTo>
                      <a:pt x="6466" y="256"/>
                      <a:pt x="6467" y="256"/>
                      <a:pt x="6467" y="256"/>
                    </a:cubicBezTo>
                    <a:cubicBezTo>
                      <a:pt x="6467" y="257"/>
                      <a:pt x="6469" y="256"/>
                      <a:pt x="6470" y="260"/>
                    </a:cubicBezTo>
                    <a:cubicBezTo>
                      <a:pt x="6479" y="267"/>
                      <a:pt x="6522" y="295"/>
                      <a:pt x="6562" y="320"/>
                    </a:cubicBezTo>
                    <a:cubicBezTo>
                      <a:pt x="6584" y="334"/>
                      <a:pt x="6606" y="348"/>
                      <a:pt x="6622" y="358"/>
                    </a:cubicBezTo>
                    <a:cubicBezTo>
                      <a:pt x="6630" y="364"/>
                      <a:pt x="6637" y="368"/>
                      <a:pt x="6642" y="371"/>
                    </a:cubicBezTo>
                    <a:cubicBezTo>
                      <a:pt x="6644" y="373"/>
                      <a:pt x="6646" y="374"/>
                      <a:pt x="6648" y="375"/>
                    </a:cubicBezTo>
                    <a:cubicBezTo>
                      <a:pt x="6648" y="376"/>
                      <a:pt x="6649" y="376"/>
                      <a:pt x="6650" y="377"/>
                    </a:cubicBezTo>
                    <a:cubicBezTo>
                      <a:pt x="6650" y="378"/>
                      <a:pt x="6651" y="377"/>
                      <a:pt x="6652" y="380"/>
                    </a:cubicBezTo>
                    <a:cubicBezTo>
                      <a:pt x="6694" y="352"/>
                      <a:pt x="6746" y="331"/>
                      <a:pt x="6812" y="311"/>
                    </a:cubicBezTo>
                    <a:cubicBezTo>
                      <a:pt x="6910" y="283"/>
                      <a:pt x="7046" y="255"/>
                      <a:pt x="7259" y="214"/>
                    </a:cubicBezTo>
                    <a:cubicBezTo>
                      <a:pt x="7502" y="168"/>
                      <a:pt x="7694" y="89"/>
                      <a:pt x="7841" y="0"/>
                    </a:cubicBezTo>
                    <a:cubicBezTo>
                      <a:pt x="7872" y="0"/>
                      <a:pt x="7872" y="0"/>
                      <a:pt x="7872" y="0"/>
                    </a:cubicBezTo>
                    <a:cubicBezTo>
                      <a:pt x="7719" y="96"/>
                      <a:pt x="7520" y="181"/>
                      <a:pt x="7262" y="230"/>
                    </a:cubicBezTo>
                    <a:cubicBezTo>
                      <a:pt x="7050" y="271"/>
                      <a:pt x="6914" y="299"/>
                      <a:pt x="6817" y="327"/>
                    </a:cubicBezTo>
                    <a:cubicBezTo>
                      <a:pt x="6721" y="355"/>
                      <a:pt x="6659" y="387"/>
                      <a:pt x="6610" y="433"/>
                    </a:cubicBezTo>
                    <a:cubicBezTo>
                      <a:pt x="6578" y="464"/>
                      <a:pt x="6553" y="498"/>
                      <a:pt x="6523" y="538"/>
                    </a:cubicBezTo>
                    <a:cubicBezTo>
                      <a:pt x="6521" y="541"/>
                      <a:pt x="6518" y="545"/>
                      <a:pt x="6516" y="549"/>
                    </a:cubicBezTo>
                    <a:cubicBezTo>
                      <a:pt x="6517" y="550"/>
                      <a:pt x="6517" y="550"/>
                      <a:pt x="6517" y="550"/>
                    </a:cubicBezTo>
                    <a:cubicBezTo>
                      <a:pt x="6509" y="561"/>
                      <a:pt x="6509" y="561"/>
                      <a:pt x="6509" y="561"/>
                    </a:cubicBezTo>
                    <a:cubicBezTo>
                      <a:pt x="6508" y="560"/>
                      <a:pt x="6508" y="560"/>
                      <a:pt x="6508" y="560"/>
                    </a:cubicBezTo>
                    <a:cubicBezTo>
                      <a:pt x="6484" y="597"/>
                      <a:pt x="6467" y="637"/>
                      <a:pt x="6452" y="677"/>
                    </a:cubicBezTo>
                    <a:cubicBezTo>
                      <a:pt x="6455" y="678"/>
                      <a:pt x="6455" y="678"/>
                      <a:pt x="6455" y="678"/>
                    </a:cubicBezTo>
                    <a:cubicBezTo>
                      <a:pt x="6448" y="691"/>
                      <a:pt x="6448" y="691"/>
                      <a:pt x="6448" y="691"/>
                    </a:cubicBezTo>
                    <a:cubicBezTo>
                      <a:pt x="6448" y="690"/>
                      <a:pt x="6448" y="690"/>
                      <a:pt x="6448" y="690"/>
                    </a:cubicBezTo>
                    <a:cubicBezTo>
                      <a:pt x="6439" y="717"/>
                      <a:pt x="6431" y="744"/>
                      <a:pt x="6424" y="771"/>
                    </a:cubicBezTo>
                    <a:cubicBezTo>
                      <a:pt x="6419" y="786"/>
                      <a:pt x="6415" y="801"/>
                      <a:pt x="6411" y="816"/>
                    </a:cubicBezTo>
                    <a:cubicBezTo>
                      <a:pt x="6463" y="820"/>
                      <a:pt x="6506" y="823"/>
                      <a:pt x="6536" y="825"/>
                    </a:cubicBezTo>
                    <a:cubicBezTo>
                      <a:pt x="6558" y="743"/>
                      <a:pt x="6582" y="664"/>
                      <a:pt x="6622" y="611"/>
                    </a:cubicBezTo>
                    <a:cubicBezTo>
                      <a:pt x="6652" y="571"/>
                      <a:pt x="6673" y="543"/>
                      <a:pt x="6695" y="523"/>
                    </a:cubicBezTo>
                    <a:cubicBezTo>
                      <a:pt x="6716" y="502"/>
                      <a:pt x="6739" y="487"/>
                      <a:pt x="6779" y="470"/>
                    </a:cubicBezTo>
                    <a:cubicBezTo>
                      <a:pt x="6858" y="437"/>
                      <a:pt x="7003" y="405"/>
                      <a:pt x="7285" y="351"/>
                    </a:cubicBezTo>
                    <a:cubicBezTo>
                      <a:pt x="7643" y="282"/>
                      <a:pt x="7903" y="148"/>
                      <a:pt x="8082" y="0"/>
                    </a:cubicBezTo>
                    <a:cubicBezTo>
                      <a:pt x="8107" y="0"/>
                      <a:pt x="8107" y="0"/>
                      <a:pt x="8107" y="0"/>
                    </a:cubicBezTo>
                    <a:cubicBezTo>
                      <a:pt x="7925" y="155"/>
                      <a:pt x="7659" y="296"/>
                      <a:pt x="7288" y="367"/>
                    </a:cubicBezTo>
                    <a:cubicBezTo>
                      <a:pt x="7006" y="421"/>
                      <a:pt x="6861" y="453"/>
                      <a:pt x="6785" y="485"/>
                    </a:cubicBezTo>
                    <a:cubicBezTo>
                      <a:pt x="6747" y="502"/>
                      <a:pt x="6726" y="515"/>
                      <a:pt x="6706" y="534"/>
                    </a:cubicBezTo>
                    <a:cubicBezTo>
                      <a:pt x="6685" y="553"/>
                      <a:pt x="6665" y="581"/>
                      <a:pt x="6635" y="620"/>
                    </a:cubicBezTo>
                    <a:cubicBezTo>
                      <a:pt x="6599" y="669"/>
                      <a:pt x="6575" y="746"/>
                      <a:pt x="6553" y="826"/>
                    </a:cubicBezTo>
                    <a:cubicBezTo>
                      <a:pt x="6573" y="827"/>
                      <a:pt x="6586" y="828"/>
                      <a:pt x="6589" y="828"/>
                    </a:cubicBezTo>
                    <a:cubicBezTo>
                      <a:pt x="6600" y="829"/>
                      <a:pt x="6611" y="829"/>
                      <a:pt x="6620" y="829"/>
                    </a:cubicBezTo>
                    <a:cubicBezTo>
                      <a:pt x="6627" y="829"/>
                      <a:pt x="6633" y="829"/>
                      <a:pt x="6638" y="828"/>
                    </a:cubicBezTo>
                    <a:cubicBezTo>
                      <a:pt x="6653" y="796"/>
                      <a:pt x="6679" y="742"/>
                      <a:pt x="6707" y="691"/>
                    </a:cubicBezTo>
                    <a:cubicBezTo>
                      <a:pt x="6708" y="689"/>
                      <a:pt x="6708" y="689"/>
                      <a:pt x="6708" y="689"/>
                    </a:cubicBezTo>
                    <a:cubicBezTo>
                      <a:pt x="6708" y="688"/>
                      <a:pt x="6708" y="688"/>
                      <a:pt x="6708" y="688"/>
                    </a:cubicBezTo>
                    <a:cubicBezTo>
                      <a:pt x="6711" y="683"/>
                      <a:pt x="6731" y="650"/>
                      <a:pt x="6774" y="614"/>
                    </a:cubicBezTo>
                    <a:cubicBezTo>
                      <a:pt x="6816" y="577"/>
                      <a:pt x="6882" y="536"/>
                      <a:pt x="6972" y="520"/>
                    </a:cubicBezTo>
                    <a:cubicBezTo>
                      <a:pt x="7022" y="511"/>
                      <a:pt x="7077" y="504"/>
                      <a:pt x="7135" y="501"/>
                    </a:cubicBezTo>
                    <a:cubicBezTo>
                      <a:pt x="7132" y="483"/>
                      <a:pt x="7130" y="463"/>
                      <a:pt x="7130" y="452"/>
                    </a:cubicBezTo>
                    <a:cubicBezTo>
                      <a:pt x="7131" y="447"/>
                      <a:pt x="7127" y="444"/>
                      <a:pt x="7135" y="438"/>
                    </a:cubicBezTo>
                    <a:cubicBezTo>
                      <a:pt x="7139" y="436"/>
                      <a:pt x="7144" y="436"/>
                      <a:pt x="7156" y="433"/>
                    </a:cubicBezTo>
                    <a:cubicBezTo>
                      <a:pt x="7241" y="418"/>
                      <a:pt x="7586" y="352"/>
                      <a:pt x="7933" y="189"/>
                    </a:cubicBezTo>
                    <a:cubicBezTo>
                      <a:pt x="8040" y="138"/>
                      <a:pt x="8128" y="70"/>
                      <a:pt x="8199" y="0"/>
                    </a:cubicBezTo>
                    <a:cubicBezTo>
                      <a:pt x="8219" y="0"/>
                      <a:pt x="8219" y="0"/>
                      <a:pt x="8219" y="0"/>
                    </a:cubicBezTo>
                    <a:cubicBezTo>
                      <a:pt x="8203" y="16"/>
                      <a:pt x="8186" y="32"/>
                      <a:pt x="8169" y="48"/>
                    </a:cubicBezTo>
                    <a:cubicBezTo>
                      <a:pt x="8187" y="61"/>
                      <a:pt x="8265" y="118"/>
                      <a:pt x="8344" y="175"/>
                    </a:cubicBezTo>
                    <a:cubicBezTo>
                      <a:pt x="8390" y="208"/>
                      <a:pt x="8435" y="241"/>
                      <a:pt x="8470" y="265"/>
                    </a:cubicBezTo>
                    <a:cubicBezTo>
                      <a:pt x="8486" y="276"/>
                      <a:pt x="8500" y="285"/>
                      <a:pt x="8510" y="292"/>
                    </a:cubicBezTo>
                    <a:cubicBezTo>
                      <a:pt x="8507" y="258"/>
                      <a:pt x="8506" y="225"/>
                      <a:pt x="8506" y="192"/>
                    </a:cubicBezTo>
                    <a:cubicBezTo>
                      <a:pt x="8506" y="130"/>
                      <a:pt x="8510" y="72"/>
                      <a:pt x="8512" y="22"/>
                    </a:cubicBezTo>
                    <a:cubicBezTo>
                      <a:pt x="8512" y="21"/>
                      <a:pt x="8512" y="21"/>
                      <a:pt x="8512" y="20"/>
                    </a:cubicBezTo>
                    <a:cubicBezTo>
                      <a:pt x="8454" y="0"/>
                      <a:pt x="8454" y="0"/>
                      <a:pt x="8454" y="0"/>
                    </a:cubicBezTo>
                    <a:cubicBezTo>
                      <a:pt x="8496" y="0"/>
                      <a:pt x="8496" y="0"/>
                      <a:pt x="8496" y="0"/>
                    </a:cubicBezTo>
                    <a:cubicBezTo>
                      <a:pt x="8513" y="6"/>
                      <a:pt x="8513" y="6"/>
                      <a:pt x="8513" y="6"/>
                    </a:cubicBezTo>
                    <a:cubicBezTo>
                      <a:pt x="8513" y="4"/>
                      <a:pt x="8513" y="2"/>
                      <a:pt x="8513" y="0"/>
                    </a:cubicBezTo>
                    <a:cubicBezTo>
                      <a:pt x="8666" y="0"/>
                      <a:pt x="8666" y="0"/>
                      <a:pt x="8666" y="0"/>
                    </a:cubicBezTo>
                    <a:cubicBezTo>
                      <a:pt x="8665" y="11"/>
                      <a:pt x="8665" y="21"/>
                      <a:pt x="8664" y="29"/>
                    </a:cubicBezTo>
                    <a:cubicBezTo>
                      <a:pt x="8662" y="82"/>
                      <a:pt x="8658" y="137"/>
                      <a:pt x="8658" y="192"/>
                    </a:cubicBezTo>
                    <a:cubicBezTo>
                      <a:pt x="8658" y="274"/>
                      <a:pt x="8667" y="353"/>
                      <a:pt x="8695" y="416"/>
                    </a:cubicBezTo>
                    <a:cubicBezTo>
                      <a:pt x="8740" y="523"/>
                      <a:pt x="8881" y="652"/>
                      <a:pt x="9027" y="714"/>
                    </a:cubicBezTo>
                    <a:cubicBezTo>
                      <a:pt x="9183" y="782"/>
                      <a:pt x="9735" y="1031"/>
                      <a:pt x="10216" y="1196"/>
                    </a:cubicBezTo>
                    <a:cubicBezTo>
                      <a:pt x="10639" y="0"/>
                      <a:pt x="10639" y="0"/>
                      <a:pt x="10639" y="0"/>
                    </a:cubicBezTo>
                    <a:cubicBezTo>
                      <a:pt x="10709" y="0"/>
                      <a:pt x="10709" y="0"/>
                      <a:pt x="10709" y="0"/>
                    </a:cubicBezTo>
                    <a:cubicBezTo>
                      <a:pt x="10279" y="1217"/>
                      <a:pt x="10279" y="1217"/>
                      <a:pt x="10279" y="1217"/>
                    </a:cubicBezTo>
                    <a:cubicBezTo>
                      <a:pt x="10283" y="1219"/>
                      <a:pt x="10288" y="1220"/>
                      <a:pt x="10292" y="1222"/>
                    </a:cubicBezTo>
                    <a:cubicBezTo>
                      <a:pt x="10541" y="1304"/>
                      <a:pt x="10776" y="1363"/>
                      <a:pt x="10947" y="1402"/>
                    </a:cubicBezTo>
                    <a:cubicBezTo>
                      <a:pt x="11033" y="1421"/>
                      <a:pt x="11103" y="1436"/>
                      <a:pt x="11152" y="1445"/>
                    </a:cubicBezTo>
                    <a:cubicBezTo>
                      <a:pt x="11192" y="1453"/>
                      <a:pt x="11217" y="1457"/>
                      <a:pt x="11225" y="1458"/>
                    </a:cubicBezTo>
                    <a:cubicBezTo>
                      <a:pt x="11277" y="1462"/>
                      <a:pt x="11938" y="1508"/>
                      <a:pt x="12133" y="1516"/>
                    </a:cubicBezTo>
                    <a:cubicBezTo>
                      <a:pt x="12234" y="1521"/>
                      <a:pt x="12349" y="1525"/>
                      <a:pt x="12476" y="1537"/>
                    </a:cubicBezTo>
                    <a:cubicBezTo>
                      <a:pt x="12015" y="39"/>
                      <a:pt x="12015" y="39"/>
                      <a:pt x="12015" y="39"/>
                    </a:cubicBezTo>
                    <a:cubicBezTo>
                      <a:pt x="12015" y="38"/>
                      <a:pt x="12015" y="38"/>
                      <a:pt x="12015" y="38"/>
                    </a:cubicBezTo>
                    <a:cubicBezTo>
                      <a:pt x="12015" y="38"/>
                      <a:pt x="12015" y="37"/>
                      <a:pt x="12014" y="35"/>
                    </a:cubicBezTo>
                    <a:cubicBezTo>
                      <a:pt x="12012" y="28"/>
                      <a:pt x="12007" y="15"/>
                      <a:pt x="11999" y="0"/>
                    </a:cubicBezTo>
                    <a:cubicBezTo>
                      <a:pt x="12071" y="0"/>
                      <a:pt x="12071" y="0"/>
                      <a:pt x="12071" y="0"/>
                    </a:cubicBezTo>
                    <a:cubicBezTo>
                      <a:pt x="12075" y="10"/>
                      <a:pt x="12077" y="18"/>
                      <a:pt x="12078" y="20"/>
                    </a:cubicBezTo>
                    <a:cubicBezTo>
                      <a:pt x="12078" y="20"/>
                      <a:pt x="12078" y="20"/>
                      <a:pt x="12078" y="20"/>
                    </a:cubicBezTo>
                    <a:cubicBezTo>
                      <a:pt x="12546" y="1544"/>
                      <a:pt x="12546" y="1544"/>
                      <a:pt x="12546" y="1544"/>
                    </a:cubicBezTo>
                    <a:cubicBezTo>
                      <a:pt x="12662" y="1557"/>
                      <a:pt x="12786" y="1576"/>
                      <a:pt x="12916" y="1607"/>
                    </a:cubicBezTo>
                    <a:cubicBezTo>
                      <a:pt x="13069" y="1644"/>
                      <a:pt x="13189" y="1692"/>
                      <a:pt x="13281" y="1754"/>
                    </a:cubicBezTo>
                    <a:cubicBezTo>
                      <a:pt x="13353" y="1803"/>
                      <a:pt x="13407" y="1864"/>
                      <a:pt x="13441" y="1932"/>
                    </a:cubicBezTo>
                    <a:cubicBezTo>
                      <a:pt x="13509" y="1916"/>
                      <a:pt x="13631" y="1886"/>
                      <a:pt x="13754" y="1856"/>
                    </a:cubicBezTo>
                    <a:cubicBezTo>
                      <a:pt x="13847" y="1834"/>
                      <a:pt x="13940" y="1812"/>
                      <a:pt x="14011" y="1795"/>
                    </a:cubicBezTo>
                    <a:cubicBezTo>
                      <a:pt x="14046" y="1786"/>
                      <a:pt x="14076" y="1779"/>
                      <a:pt x="14098" y="1774"/>
                    </a:cubicBezTo>
                    <a:cubicBezTo>
                      <a:pt x="14109" y="1772"/>
                      <a:pt x="14118" y="1770"/>
                      <a:pt x="14125" y="1769"/>
                    </a:cubicBezTo>
                    <a:cubicBezTo>
                      <a:pt x="14128" y="1768"/>
                      <a:pt x="14131" y="1767"/>
                      <a:pt x="14134" y="1767"/>
                    </a:cubicBezTo>
                    <a:cubicBezTo>
                      <a:pt x="14136" y="1766"/>
                      <a:pt x="14137" y="1766"/>
                      <a:pt x="14139" y="1766"/>
                    </a:cubicBezTo>
                    <a:cubicBezTo>
                      <a:pt x="14140" y="1766"/>
                      <a:pt x="14141" y="1766"/>
                      <a:pt x="14143" y="1765"/>
                    </a:cubicBezTo>
                    <a:cubicBezTo>
                      <a:pt x="14149" y="1764"/>
                      <a:pt x="14168" y="1759"/>
                      <a:pt x="14192" y="1752"/>
                    </a:cubicBezTo>
                    <a:cubicBezTo>
                      <a:pt x="14274" y="1727"/>
                      <a:pt x="14433" y="1675"/>
                      <a:pt x="14605" y="1613"/>
                    </a:cubicBezTo>
                    <a:cubicBezTo>
                      <a:pt x="14717" y="1572"/>
                      <a:pt x="14944" y="1455"/>
                      <a:pt x="15141" y="1348"/>
                    </a:cubicBezTo>
                    <a:cubicBezTo>
                      <a:pt x="15240" y="1294"/>
                      <a:pt x="15332" y="1242"/>
                      <a:pt x="15401" y="1204"/>
                    </a:cubicBezTo>
                    <a:cubicBezTo>
                      <a:pt x="15436" y="1184"/>
                      <a:pt x="15465" y="1168"/>
                      <a:pt x="15486" y="1156"/>
                    </a:cubicBezTo>
                    <a:cubicBezTo>
                      <a:pt x="15497" y="1150"/>
                      <a:pt x="15506" y="1145"/>
                      <a:pt x="15512" y="1142"/>
                    </a:cubicBezTo>
                    <a:cubicBezTo>
                      <a:pt x="15520" y="1138"/>
                      <a:pt x="15523" y="1136"/>
                      <a:pt x="15530" y="1133"/>
                    </a:cubicBezTo>
                    <a:cubicBezTo>
                      <a:pt x="15544" y="1127"/>
                      <a:pt x="15577" y="1112"/>
                      <a:pt x="15610" y="1098"/>
                    </a:cubicBezTo>
                    <a:cubicBezTo>
                      <a:pt x="15599" y="1009"/>
                      <a:pt x="15575" y="818"/>
                      <a:pt x="15548" y="598"/>
                    </a:cubicBezTo>
                    <a:cubicBezTo>
                      <a:pt x="15524" y="403"/>
                      <a:pt x="15497" y="187"/>
                      <a:pt x="15473" y="0"/>
                    </a:cubicBezTo>
                    <a:close/>
                    <a:moveTo>
                      <a:pt x="6892" y="167"/>
                    </a:moveTo>
                    <a:cubicBezTo>
                      <a:pt x="6976" y="184"/>
                      <a:pt x="6976" y="184"/>
                      <a:pt x="6976" y="184"/>
                    </a:cubicBezTo>
                    <a:cubicBezTo>
                      <a:pt x="7000" y="20"/>
                      <a:pt x="7000" y="20"/>
                      <a:pt x="7000" y="20"/>
                    </a:cubicBezTo>
                    <a:cubicBezTo>
                      <a:pt x="6921" y="9"/>
                      <a:pt x="6921" y="9"/>
                      <a:pt x="6921" y="9"/>
                    </a:cubicBezTo>
                    <a:lnTo>
                      <a:pt x="6892" y="167"/>
                    </a:lnTo>
                    <a:close/>
                    <a:moveTo>
                      <a:pt x="6739" y="205"/>
                    </a:moveTo>
                    <a:cubicBezTo>
                      <a:pt x="6868" y="226"/>
                      <a:pt x="6868" y="226"/>
                      <a:pt x="6868" y="226"/>
                    </a:cubicBezTo>
                    <a:cubicBezTo>
                      <a:pt x="6876" y="178"/>
                      <a:pt x="6876" y="178"/>
                      <a:pt x="6876" y="178"/>
                    </a:cubicBezTo>
                    <a:cubicBezTo>
                      <a:pt x="6749" y="151"/>
                      <a:pt x="6749" y="151"/>
                      <a:pt x="6749" y="151"/>
                    </a:cubicBezTo>
                    <a:lnTo>
                      <a:pt x="6739" y="205"/>
                    </a:lnTo>
                    <a:close/>
                    <a:moveTo>
                      <a:pt x="39" y="7313"/>
                    </a:moveTo>
                    <a:cubicBezTo>
                      <a:pt x="34" y="7316"/>
                      <a:pt x="34" y="7316"/>
                      <a:pt x="34" y="7316"/>
                    </a:cubicBezTo>
                    <a:cubicBezTo>
                      <a:pt x="34" y="7316"/>
                      <a:pt x="34" y="7316"/>
                      <a:pt x="34" y="7316"/>
                    </a:cubicBezTo>
                    <a:lnTo>
                      <a:pt x="39" y="7313"/>
                    </a:lnTo>
                    <a:close/>
                    <a:moveTo>
                      <a:pt x="206" y="9451"/>
                    </a:moveTo>
                    <a:cubicBezTo>
                      <a:pt x="178" y="9428"/>
                      <a:pt x="178" y="9428"/>
                      <a:pt x="178" y="9428"/>
                    </a:cubicBezTo>
                    <a:cubicBezTo>
                      <a:pt x="151" y="9462"/>
                      <a:pt x="151" y="9462"/>
                      <a:pt x="151" y="9462"/>
                    </a:cubicBezTo>
                    <a:cubicBezTo>
                      <a:pt x="114" y="9433"/>
                      <a:pt x="114" y="9433"/>
                      <a:pt x="114" y="9433"/>
                    </a:cubicBezTo>
                    <a:cubicBezTo>
                      <a:pt x="77" y="9480"/>
                      <a:pt x="77" y="9480"/>
                      <a:pt x="77" y="9480"/>
                    </a:cubicBezTo>
                    <a:cubicBezTo>
                      <a:pt x="143" y="9533"/>
                      <a:pt x="143" y="9533"/>
                      <a:pt x="143" y="9533"/>
                    </a:cubicBezTo>
                    <a:lnTo>
                      <a:pt x="206" y="9451"/>
                    </a:lnTo>
                    <a:close/>
                    <a:moveTo>
                      <a:pt x="217" y="9459"/>
                    </a:moveTo>
                    <a:cubicBezTo>
                      <a:pt x="154" y="9541"/>
                      <a:pt x="154" y="9541"/>
                      <a:pt x="154" y="9541"/>
                    </a:cubicBezTo>
                    <a:cubicBezTo>
                      <a:pt x="221" y="9594"/>
                      <a:pt x="221" y="9594"/>
                      <a:pt x="221" y="9594"/>
                    </a:cubicBezTo>
                    <a:cubicBezTo>
                      <a:pt x="258" y="9548"/>
                      <a:pt x="258" y="9548"/>
                      <a:pt x="258" y="9548"/>
                    </a:cubicBezTo>
                    <a:cubicBezTo>
                      <a:pt x="222" y="9518"/>
                      <a:pt x="222" y="9518"/>
                      <a:pt x="222" y="9518"/>
                    </a:cubicBezTo>
                    <a:cubicBezTo>
                      <a:pt x="248" y="9484"/>
                      <a:pt x="248" y="9484"/>
                      <a:pt x="248" y="9484"/>
                    </a:cubicBezTo>
                    <a:lnTo>
                      <a:pt x="217" y="9459"/>
                    </a:lnTo>
                    <a:close/>
                    <a:moveTo>
                      <a:pt x="8656" y="788"/>
                    </a:moveTo>
                    <a:cubicBezTo>
                      <a:pt x="8594" y="829"/>
                      <a:pt x="8521" y="871"/>
                      <a:pt x="8440" y="890"/>
                    </a:cubicBezTo>
                    <a:cubicBezTo>
                      <a:pt x="8358" y="909"/>
                      <a:pt x="8260" y="923"/>
                      <a:pt x="8184" y="932"/>
                    </a:cubicBezTo>
                    <a:cubicBezTo>
                      <a:pt x="8233" y="968"/>
                      <a:pt x="8298" y="1016"/>
                      <a:pt x="8367" y="1067"/>
                    </a:cubicBezTo>
                    <a:cubicBezTo>
                      <a:pt x="8505" y="1168"/>
                      <a:pt x="8657" y="1278"/>
                      <a:pt x="8705" y="1307"/>
                    </a:cubicBezTo>
                    <a:cubicBezTo>
                      <a:pt x="8808" y="1368"/>
                      <a:pt x="9151" y="1584"/>
                      <a:pt x="9308" y="1669"/>
                    </a:cubicBezTo>
                    <a:cubicBezTo>
                      <a:pt x="9466" y="1755"/>
                      <a:pt x="9888" y="1984"/>
                      <a:pt x="10048" y="2051"/>
                    </a:cubicBezTo>
                    <a:cubicBezTo>
                      <a:pt x="10201" y="2116"/>
                      <a:pt x="10609" y="2308"/>
                      <a:pt x="10666" y="2334"/>
                    </a:cubicBezTo>
                    <a:cubicBezTo>
                      <a:pt x="10694" y="2309"/>
                      <a:pt x="10736" y="2272"/>
                      <a:pt x="10784" y="2228"/>
                    </a:cubicBezTo>
                    <a:cubicBezTo>
                      <a:pt x="10870" y="2148"/>
                      <a:pt x="10975" y="2050"/>
                      <a:pt x="11047" y="1973"/>
                    </a:cubicBezTo>
                    <a:cubicBezTo>
                      <a:pt x="11149" y="1868"/>
                      <a:pt x="11174" y="1686"/>
                      <a:pt x="11180" y="1605"/>
                    </a:cubicBezTo>
                    <a:cubicBezTo>
                      <a:pt x="11084" y="1588"/>
                      <a:pt x="10689" y="1513"/>
                      <a:pt x="10245" y="1367"/>
                    </a:cubicBezTo>
                    <a:cubicBezTo>
                      <a:pt x="9735" y="1199"/>
                      <a:pt x="9129" y="925"/>
                      <a:pt x="8967" y="854"/>
                    </a:cubicBezTo>
                    <a:cubicBezTo>
                      <a:pt x="8888" y="820"/>
                      <a:pt x="8814" y="773"/>
                      <a:pt x="8749" y="719"/>
                    </a:cubicBezTo>
                    <a:cubicBezTo>
                      <a:pt x="8725" y="738"/>
                      <a:pt x="8693" y="763"/>
                      <a:pt x="8656" y="788"/>
                    </a:cubicBezTo>
                    <a:close/>
                    <a:moveTo>
                      <a:pt x="9441" y="6141"/>
                    </a:moveTo>
                    <a:cubicBezTo>
                      <a:pt x="9437" y="6143"/>
                      <a:pt x="9437" y="6143"/>
                      <a:pt x="9437" y="6143"/>
                    </a:cubicBezTo>
                    <a:cubicBezTo>
                      <a:pt x="9435" y="6144"/>
                      <a:pt x="9435" y="6144"/>
                      <a:pt x="9435" y="6144"/>
                    </a:cubicBezTo>
                    <a:cubicBezTo>
                      <a:pt x="9435" y="6145"/>
                      <a:pt x="9435" y="6145"/>
                      <a:pt x="9435" y="6145"/>
                    </a:cubicBezTo>
                    <a:cubicBezTo>
                      <a:pt x="9480" y="6131"/>
                      <a:pt x="9527" y="6116"/>
                      <a:pt x="9576" y="6100"/>
                    </a:cubicBezTo>
                    <a:cubicBezTo>
                      <a:pt x="9569" y="6078"/>
                      <a:pt x="9569" y="6078"/>
                      <a:pt x="9569" y="6078"/>
                    </a:cubicBezTo>
                    <a:cubicBezTo>
                      <a:pt x="9447" y="6116"/>
                      <a:pt x="9447" y="6116"/>
                      <a:pt x="9447" y="6116"/>
                    </a:cubicBezTo>
                    <a:cubicBezTo>
                      <a:pt x="9403" y="5969"/>
                      <a:pt x="9403" y="5969"/>
                      <a:pt x="9403" y="5969"/>
                    </a:cubicBezTo>
                    <a:cubicBezTo>
                      <a:pt x="9519" y="5932"/>
                      <a:pt x="9519" y="5932"/>
                      <a:pt x="9519" y="5932"/>
                    </a:cubicBezTo>
                    <a:cubicBezTo>
                      <a:pt x="9409" y="5610"/>
                      <a:pt x="9409" y="5610"/>
                      <a:pt x="9409" y="5610"/>
                    </a:cubicBezTo>
                    <a:cubicBezTo>
                      <a:pt x="9383" y="5611"/>
                      <a:pt x="9358" y="5612"/>
                      <a:pt x="9337" y="5613"/>
                    </a:cubicBezTo>
                    <a:cubicBezTo>
                      <a:pt x="9316" y="5614"/>
                      <a:pt x="9298" y="5614"/>
                      <a:pt x="9286" y="5615"/>
                    </a:cubicBezTo>
                    <a:cubicBezTo>
                      <a:pt x="9282" y="5615"/>
                      <a:pt x="9278" y="5615"/>
                      <a:pt x="9275" y="5615"/>
                    </a:cubicBezTo>
                    <a:cubicBezTo>
                      <a:pt x="9285" y="5647"/>
                      <a:pt x="9320" y="5760"/>
                      <a:pt x="9356" y="5874"/>
                    </a:cubicBezTo>
                    <a:cubicBezTo>
                      <a:pt x="9377" y="5941"/>
                      <a:pt x="9398" y="6008"/>
                      <a:pt x="9414" y="6058"/>
                    </a:cubicBezTo>
                    <a:cubicBezTo>
                      <a:pt x="9422" y="6084"/>
                      <a:pt x="9429" y="6104"/>
                      <a:pt x="9433" y="6119"/>
                    </a:cubicBezTo>
                    <a:cubicBezTo>
                      <a:pt x="9436" y="6126"/>
                      <a:pt x="9438" y="6132"/>
                      <a:pt x="9439" y="6136"/>
                    </a:cubicBezTo>
                    <a:cubicBezTo>
                      <a:pt x="9440" y="6138"/>
                      <a:pt x="9440" y="6139"/>
                      <a:pt x="9441" y="6140"/>
                    </a:cubicBezTo>
                    <a:cubicBezTo>
                      <a:pt x="9441" y="6140"/>
                      <a:pt x="9441" y="6141"/>
                      <a:pt x="9441" y="6141"/>
                    </a:cubicBezTo>
                    <a:close/>
                    <a:moveTo>
                      <a:pt x="9360" y="5948"/>
                    </a:moveTo>
                    <a:cubicBezTo>
                      <a:pt x="9214" y="5995"/>
                      <a:pt x="9214" y="5995"/>
                      <a:pt x="9214" y="5995"/>
                    </a:cubicBezTo>
                    <a:cubicBezTo>
                      <a:pt x="9213" y="6024"/>
                      <a:pt x="9206" y="6193"/>
                      <a:pt x="9205" y="6220"/>
                    </a:cubicBezTo>
                    <a:cubicBezTo>
                      <a:pt x="9269" y="6199"/>
                      <a:pt x="9345" y="6175"/>
                      <a:pt x="9429" y="6147"/>
                    </a:cubicBezTo>
                    <a:cubicBezTo>
                      <a:pt x="9428" y="6145"/>
                      <a:pt x="9427" y="6143"/>
                      <a:pt x="9426" y="6139"/>
                    </a:cubicBezTo>
                    <a:cubicBezTo>
                      <a:pt x="9403" y="6076"/>
                      <a:pt x="9268" y="5638"/>
                      <a:pt x="9260" y="5612"/>
                    </a:cubicBezTo>
                    <a:cubicBezTo>
                      <a:pt x="9260" y="5612"/>
                      <a:pt x="9260" y="5612"/>
                      <a:pt x="9260" y="5612"/>
                    </a:cubicBezTo>
                    <a:cubicBezTo>
                      <a:pt x="9259" y="5612"/>
                      <a:pt x="9259" y="5613"/>
                      <a:pt x="9258" y="5614"/>
                    </a:cubicBezTo>
                    <a:cubicBezTo>
                      <a:pt x="9257" y="5615"/>
                      <a:pt x="9257" y="5616"/>
                      <a:pt x="9254" y="5618"/>
                    </a:cubicBezTo>
                    <a:cubicBezTo>
                      <a:pt x="9252" y="5621"/>
                      <a:pt x="9245" y="5633"/>
                      <a:pt x="9236" y="5649"/>
                    </a:cubicBezTo>
                    <a:cubicBezTo>
                      <a:pt x="9205" y="5709"/>
                      <a:pt x="9143" y="5837"/>
                      <a:pt x="9084" y="5962"/>
                    </a:cubicBezTo>
                    <a:cubicBezTo>
                      <a:pt x="9207" y="5983"/>
                      <a:pt x="9207" y="5983"/>
                      <a:pt x="9207" y="5983"/>
                    </a:cubicBezTo>
                    <a:cubicBezTo>
                      <a:pt x="9356" y="5934"/>
                      <a:pt x="9356" y="5934"/>
                      <a:pt x="9356" y="5934"/>
                    </a:cubicBezTo>
                    <a:lnTo>
                      <a:pt x="9360" y="5948"/>
                    </a:lnTo>
                    <a:close/>
                    <a:moveTo>
                      <a:pt x="9191" y="6224"/>
                    </a:moveTo>
                    <a:cubicBezTo>
                      <a:pt x="9191" y="6224"/>
                      <a:pt x="9191" y="6224"/>
                      <a:pt x="9191" y="6224"/>
                    </a:cubicBezTo>
                    <a:cubicBezTo>
                      <a:pt x="9191" y="6224"/>
                      <a:pt x="9193" y="6166"/>
                      <a:pt x="9196" y="6107"/>
                    </a:cubicBezTo>
                    <a:cubicBezTo>
                      <a:pt x="9197" y="6078"/>
                      <a:pt x="9198" y="6048"/>
                      <a:pt x="9199" y="6026"/>
                    </a:cubicBezTo>
                    <a:cubicBezTo>
                      <a:pt x="9199" y="6015"/>
                      <a:pt x="9200" y="6006"/>
                      <a:pt x="9200" y="6000"/>
                    </a:cubicBezTo>
                    <a:cubicBezTo>
                      <a:pt x="9200" y="5998"/>
                      <a:pt x="9200" y="5997"/>
                      <a:pt x="9200" y="5996"/>
                    </a:cubicBezTo>
                    <a:cubicBezTo>
                      <a:pt x="9080" y="5976"/>
                      <a:pt x="9080" y="5976"/>
                      <a:pt x="9080" y="5976"/>
                    </a:cubicBezTo>
                    <a:cubicBezTo>
                      <a:pt x="9082" y="5966"/>
                      <a:pt x="9082" y="5966"/>
                      <a:pt x="9082" y="5966"/>
                    </a:cubicBezTo>
                    <a:cubicBezTo>
                      <a:pt x="9074" y="5982"/>
                      <a:pt x="9067" y="5997"/>
                      <a:pt x="9060" y="6012"/>
                    </a:cubicBezTo>
                    <a:cubicBezTo>
                      <a:pt x="9003" y="6132"/>
                      <a:pt x="8952" y="6240"/>
                      <a:pt x="8940" y="6267"/>
                    </a:cubicBezTo>
                    <a:cubicBezTo>
                      <a:pt x="8946" y="6270"/>
                      <a:pt x="8956" y="6274"/>
                      <a:pt x="8966" y="6278"/>
                    </a:cubicBezTo>
                    <a:cubicBezTo>
                      <a:pt x="8974" y="6281"/>
                      <a:pt x="8982" y="6285"/>
                      <a:pt x="8988" y="6287"/>
                    </a:cubicBezTo>
                    <a:cubicBezTo>
                      <a:pt x="8991" y="6289"/>
                      <a:pt x="8993" y="6290"/>
                      <a:pt x="8995" y="6290"/>
                    </a:cubicBezTo>
                    <a:cubicBezTo>
                      <a:pt x="9000" y="6289"/>
                      <a:pt x="9007" y="6286"/>
                      <a:pt x="9019" y="6282"/>
                    </a:cubicBezTo>
                    <a:cubicBezTo>
                      <a:pt x="9052" y="6271"/>
                      <a:pt x="9113" y="6251"/>
                      <a:pt x="9194" y="6224"/>
                    </a:cubicBezTo>
                    <a:lnTo>
                      <a:pt x="9191" y="6224"/>
                    </a:lnTo>
                    <a:close/>
                    <a:moveTo>
                      <a:pt x="9667" y="5582"/>
                    </a:moveTo>
                    <a:cubicBezTo>
                      <a:pt x="9653" y="5586"/>
                      <a:pt x="9653" y="5586"/>
                      <a:pt x="9653" y="5586"/>
                    </a:cubicBezTo>
                    <a:cubicBezTo>
                      <a:pt x="9489" y="5102"/>
                      <a:pt x="9489" y="5102"/>
                      <a:pt x="9489" y="5102"/>
                    </a:cubicBezTo>
                    <a:cubicBezTo>
                      <a:pt x="9466" y="5154"/>
                      <a:pt x="9437" y="5221"/>
                      <a:pt x="9407" y="5290"/>
                    </a:cubicBezTo>
                    <a:cubicBezTo>
                      <a:pt x="9512" y="5593"/>
                      <a:pt x="9512" y="5593"/>
                      <a:pt x="9512" y="5593"/>
                    </a:cubicBezTo>
                    <a:cubicBezTo>
                      <a:pt x="9614" y="5590"/>
                      <a:pt x="9710" y="5586"/>
                      <a:pt x="9720" y="5586"/>
                    </a:cubicBezTo>
                    <a:cubicBezTo>
                      <a:pt x="9818" y="5556"/>
                      <a:pt x="9818" y="5556"/>
                      <a:pt x="9818" y="5556"/>
                    </a:cubicBezTo>
                    <a:cubicBezTo>
                      <a:pt x="9655" y="5077"/>
                      <a:pt x="9655" y="5077"/>
                      <a:pt x="9655" y="5077"/>
                    </a:cubicBezTo>
                    <a:cubicBezTo>
                      <a:pt x="9603" y="5063"/>
                      <a:pt x="9557" y="5045"/>
                      <a:pt x="9520" y="5029"/>
                    </a:cubicBezTo>
                    <a:cubicBezTo>
                      <a:pt x="9515" y="5042"/>
                      <a:pt x="9507" y="5061"/>
                      <a:pt x="9497" y="5083"/>
                    </a:cubicBezTo>
                    <a:lnTo>
                      <a:pt x="9667" y="5582"/>
                    </a:lnTo>
                    <a:close/>
                    <a:moveTo>
                      <a:pt x="10531" y="4318"/>
                    </a:moveTo>
                    <a:cubicBezTo>
                      <a:pt x="10516" y="4325"/>
                      <a:pt x="10479" y="4338"/>
                      <a:pt x="10427" y="4355"/>
                    </a:cubicBezTo>
                    <a:cubicBezTo>
                      <a:pt x="10257" y="4413"/>
                      <a:pt x="9945" y="4513"/>
                      <a:pt x="9897" y="4529"/>
                    </a:cubicBezTo>
                    <a:cubicBezTo>
                      <a:pt x="9992" y="4849"/>
                      <a:pt x="9992" y="4849"/>
                      <a:pt x="9992" y="4849"/>
                    </a:cubicBezTo>
                    <a:cubicBezTo>
                      <a:pt x="9823" y="4924"/>
                      <a:pt x="9823" y="4924"/>
                      <a:pt x="9823" y="4924"/>
                    </a:cubicBezTo>
                    <a:cubicBezTo>
                      <a:pt x="9820" y="4931"/>
                      <a:pt x="9813" y="4950"/>
                      <a:pt x="9806" y="4972"/>
                    </a:cubicBezTo>
                    <a:cubicBezTo>
                      <a:pt x="9799" y="4994"/>
                      <a:pt x="9792" y="5020"/>
                      <a:pt x="9790" y="5036"/>
                    </a:cubicBezTo>
                    <a:cubicBezTo>
                      <a:pt x="9809" y="5037"/>
                      <a:pt x="9828" y="5038"/>
                      <a:pt x="9847" y="5038"/>
                    </a:cubicBezTo>
                    <a:cubicBezTo>
                      <a:pt x="9896" y="5038"/>
                      <a:pt x="9947" y="5032"/>
                      <a:pt x="9997" y="5017"/>
                    </a:cubicBezTo>
                    <a:cubicBezTo>
                      <a:pt x="10115" y="4980"/>
                      <a:pt x="10475" y="4863"/>
                      <a:pt x="10847" y="4742"/>
                    </a:cubicBezTo>
                    <a:cubicBezTo>
                      <a:pt x="10736" y="4385"/>
                      <a:pt x="10736" y="4385"/>
                      <a:pt x="10736" y="4385"/>
                    </a:cubicBezTo>
                    <a:cubicBezTo>
                      <a:pt x="10577" y="4415"/>
                      <a:pt x="10577" y="4415"/>
                      <a:pt x="10577" y="4415"/>
                    </a:cubicBezTo>
                    <a:cubicBezTo>
                      <a:pt x="10575" y="4410"/>
                      <a:pt x="10575" y="4410"/>
                      <a:pt x="10575" y="4410"/>
                    </a:cubicBezTo>
                    <a:cubicBezTo>
                      <a:pt x="10575" y="4410"/>
                      <a:pt x="10563" y="4386"/>
                      <a:pt x="10551" y="4361"/>
                    </a:cubicBezTo>
                    <a:cubicBezTo>
                      <a:pt x="10546" y="4349"/>
                      <a:pt x="10540" y="4336"/>
                      <a:pt x="10535" y="4327"/>
                    </a:cubicBezTo>
                    <a:cubicBezTo>
                      <a:pt x="10534" y="4324"/>
                      <a:pt x="10532" y="4321"/>
                      <a:pt x="10531" y="4318"/>
                    </a:cubicBezTo>
                    <a:close/>
                    <a:moveTo>
                      <a:pt x="10535" y="4316"/>
                    </a:moveTo>
                    <a:cubicBezTo>
                      <a:pt x="10535" y="4316"/>
                      <a:pt x="10535" y="4316"/>
                      <a:pt x="10536" y="4315"/>
                    </a:cubicBezTo>
                    <a:cubicBezTo>
                      <a:pt x="10535" y="4316"/>
                      <a:pt x="10535" y="4316"/>
                      <a:pt x="10535" y="4316"/>
                    </a:cubicBezTo>
                    <a:close/>
                    <a:moveTo>
                      <a:pt x="10822" y="5241"/>
                    </a:moveTo>
                    <a:cubicBezTo>
                      <a:pt x="10699" y="4859"/>
                      <a:pt x="10699" y="4859"/>
                      <a:pt x="10699" y="4859"/>
                    </a:cubicBezTo>
                    <a:cubicBezTo>
                      <a:pt x="10655" y="4874"/>
                      <a:pt x="10611" y="4888"/>
                      <a:pt x="10568" y="4902"/>
                    </a:cubicBezTo>
                    <a:cubicBezTo>
                      <a:pt x="10691" y="5282"/>
                      <a:pt x="10691" y="5282"/>
                      <a:pt x="10691" y="5282"/>
                    </a:cubicBezTo>
                    <a:lnTo>
                      <a:pt x="10822" y="5241"/>
                    </a:lnTo>
                    <a:close/>
                    <a:moveTo>
                      <a:pt x="10749" y="5278"/>
                    </a:moveTo>
                    <a:cubicBezTo>
                      <a:pt x="10743" y="5280"/>
                      <a:pt x="10743" y="5280"/>
                      <a:pt x="10743" y="5280"/>
                    </a:cubicBezTo>
                    <a:cubicBezTo>
                      <a:pt x="10742" y="5281"/>
                      <a:pt x="10742" y="5281"/>
                      <a:pt x="10742" y="5281"/>
                    </a:cubicBezTo>
                    <a:cubicBezTo>
                      <a:pt x="10743" y="5283"/>
                      <a:pt x="10749" y="5284"/>
                      <a:pt x="10751" y="5282"/>
                    </a:cubicBezTo>
                    <a:lnTo>
                      <a:pt x="10749" y="5278"/>
                    </a:lnTo>
                    <a:close/>
                    <a:moveTo>
                      <a:pt x="9532" y="5928"/>
                    </a:moveTo>
                    <a:cubicBezTo>
                      <a:pt x="9664" y="5887"/>
                      <a:pt x="9664" y="5887"/>
                      <a:pt x="9664" y="5887"/>
                    </a:cubicBezTo>
                    <a:cubicBezTo>
                      <a:pt x="9570" y="5605"/>
                      <a:pt x="9570" y="5605"/>
                      <a:pt x="9570" y="5605"/>
                    </a:cubicBezTo>
                    <a:cubicBezTo>
                      <a:pt x="9546" y="5606"/>
                      <a:pt x="9520" y="5607"/>
                      <a:pt x="9494" y="5608"/>
                    </a:cubicBezTo>
                    <a:cubicBezTo>
                      <a:pt x="9470" y="5608"/>
                      <a:pt x="9446" y="5609"/>
                      <a:pt x="9424" y="5610"/>
                    </a:cubicBezTo>
                    <a:lnTo>
                      <a:pt x="9532" y="5928"/>
                    </a:lnTo>
                    <a:close/>
                    <a:moveTo>
                      <a:pt x="9523" y="5945"/>
                    </a:moveTo>
                    <a:cubicBezTo>
                      <a:pt x="9419" y="5978"/>
                      <a:pt x="9419" y="5978"/>
                      <a:pt x="9419" y="5978"/>
                    </a:cubicBezTo>
                    <a:cubicBezTo>
                      <a:pt x="9456" y="6099"/>
                      <a:pt x="9456" y="6099"/>
                      <a:pt x="9456" y="6099"/>
                    </a:cubicBezTo>
                    <a:cubicBezTo>
                      <a:pt x="9564" y="6065"/>
                      <a:pt x="9564" y="6065"/>
                      <a:pt x="9564" y="6065"/>
                    </a:cubicBezTo>
                    <a:lnTo>
                      <a:pt x="9523" y="5945"/>
                    </a:lnTo>
                    <a:close/>
                    <a:moveTo>
                      <a:pt x="9677" y="5882"/>
                    </a:moveTo>
                    <a:cubicBezTo>
                      <a:pt x="9806" y="5842"/>
                      <a:pt x="9806" y="5842"/>
                      <a:pt x="9806" y="5842"/>
                    </a:cubicBezTo>
                    <a:cubicBezTo>
                      <a:pt x="9802" y="5831"/>
                      <a:pt x="9799" y="5820"/>
                      <a:pt x="9795" y="5809"/>
                    </a:cubicBezTo>
                    <a:cubicBezTo>
                      <a:pt x="9778" y="5759"/>
                      <a:pt x="9761" y="5709"/>
                      <a:pt x="9748" y="5670"/>
                    </a:cubicBezTo>
                    <a:cubicBezTo>
                      <a:pt x="9736" y="5631"/>
                      <a:pt x="9727" y="5606"/>
                      <a:pt x="9727" y="5599"/>
                    </a:cubicBezTo>
                    <a:cubicBezTo>
                      <a:pt x="9727" y="5599"/>
                      <a:pt x="9727" y="5599"/>
                      <a:pt x="9727" y="5599"/>
                    </a:cubicBezTo>
                    <a:cubicBezTo>
                      <a:pt x="9723" y="5600"/>
                      <a:pt x="9723" y="5600"/>
                      <a:pt x="9723" y="5600"/>
                    </a:cubicBezTo>
                    <a:cubicBezTo>
                      <a:pt x="9722" y="5600"/>
                      <a:pt x="9722" y="5600"/>
                      <a:pt x="9722" y="5600"/>
                    </a:cubicBezTo>
                    <a:cubicBezTo>
                      <a:pt x="9722" y="5600"/>
                      <a:pt x="9662" y="5602"/>
                      <a:pt x="9585" y="5605"/>
                    </a:cubicBezTo>
                    <a:lnTo>
                      <a:pt x="9677" y="5882"/>
                    </a:lnTo>
                    <a:close/>
                    <a:moveTo>
                      <a:pt x="9810" y="5809"/>
                    </a:moveTo>
                    <a:cubicBezTo>
                      <a:pt x="9813" y="5819"/>
                      <a:pt x="9816" y="5828"/>
                      <a:pt x="9819" y="5837"/>
                    </a:cubicBezTo>
                    <a:cubicBezTo>
                      <a:pt x="9961" y="5792"/>
                      <a:pt x="9961" y="5792"/>
                      <a:pt x="9961" y="5792"/>
                    </a:cubicBezTo>
                    <a:cubicBezTo>
                      <a:pt x="9957" y="5781"/>
                      <a:pt x="9953" y="5769"/>
                      <a:pt x="9949" y="5757"/>
                    </a:cubicBezTo>
                    <a:cubicBezTo>
                      <a:pt x="9932" y="5707"/>
                      <a:pt x="9915" y="5656"/>
                      <a:pt x="9902" y="5618"/>
                    </a:cubicBezTo>
                    <a:cubicBezTo>
                      <a:pt x="9891" y="5582"/>
                      <a:pt x="9883" y="5559"/>
                      <a:pt x="9882" y="5550"/>
                    </a:cubicBezTo>
                    <a:cubicBezTo>
                      <a:pt x="9738" y="5595"/>
                      <a:pt x="9738" y="5595"/>
                      <a:pt x="9738" y="5595"/>
                    </a:cubicBezTo>
                    <a:cubicBezTo>
                      <a:pt x="9732" y="5601"/>
                      <a:pt x="9732" y="5601"/>
                      <a:pt x="9732" y="5601"/>
                    </a:cubicBezTo>
                    <a:cubicBezTo>
                      <a:pt x="9734" y="5599"/>
                      <a:pt x="9734" y="5599"/>
                      <a:pt x="9734" y="5599"/>
                    </a:cubicBezTo>
                    <a:cubicBezTo>
                      <a:pt x="9738" y="5605"/>
                      <a:pt x="9738" y="5605"/>
                      <a:pt x="9738" y="5605"/>
                    </a:cubicBezTo>
                    <a:cubicBezTo>
                      <a:pt x="9734" y="5599"/>
                      <a:pt x="9734" y="5599"/>
                      <a:pt x="9734" y="5599"/>
                    </a:cubicBezTo>
                    <a:cubicBezTo>
                      <a:pt x="9735" y="5599"/>
                      <a:pt x="9735" y="5599"/>
                      <a:pt x="9735" y="5599"/>
                    </a:cubicBezTo>
                    <a:cubicBezTo>
                      <a:pt x="9739" y="5599"/>
                      <a:pt x="9739" y="5599"/>
                      <a:pt x="9739" y="5599"/>
                    </a:cubicBezTo>
                    <a:cubicBezTo>
                      <a:pt x="9741" y="5599"/>
                      <a:pt x="9741" y="5599"/>
                      <a:pt x="9741" y="5599"/>
                    </a:cubicBezTo>
                    <a:cubicBezTo>
                      <a:pt x="9742" y="5609"/>
                      <a:pt x="9777" y="5711"/>
                      <a:pt x="9810" y="5809"/>
                    </a:cubicBezTo>
                    <a:close/>
                    <a:moveTo>
                      <a:pt x="9889" y="5548"/>
                    </a:moveTo>
                    <a:cubicBezTo>
                      <a:pt x="9886" y="5549"/>
                      <a:pt x="9886" y="5549"/>
                      <a:pt x="9886" y="5549"/>
                    </a:cubicBezTo>
                    <a:cubicBezTo>
                      <a:pt x="9883" y="5552"/>
                      <a:pt x="9883" y="5552"/>
                      <a:pt x="9883" y="5552"/>
                    </a:cubicBezTo>
                    <a:cubicBezTo>
                      <a:pt x="9884" y="5554"/>
                      <a:pt x="9890" y="5555"/>
                      <a:pt x="9892" y="5553"/>
                    </a:cubicBezTo>
                    <a:lnTo>
                      <a:pt x="9889" y="5548"/>
                    </a:lnTo>
                    <a:close/>
                    <a:moveTo>
                      <a:pt x="9895" y="5548"/>
                    </a:moveTo>
                    <a:cubicBezTo>
                      <a:pt x="9891" y="5547"/>
                      <a:pt x="9891" y="5547"/>
                      <a:pt x="9891" y="5547"/>
                    </a:cubicBezTo>
                    <a:cubicBezTo>
                      <a:pt x="9891" y="5547"/>
                      <a:pt x="9891" y="5547"/>
                      <a:pt x="9891" y="5547"/>
                    </a:cubicBezTo>
                    <a:lnTo>
                      <a:pt x="9895" y="5548"/>
                    </a:lnTo>
                    <a:close/>
                    <a:moveTo>
                      <a:pt x="9964" y="5757"/>
                    </a:moveTo>
                    <a:cubicBezTo>
                      <a:pt x="9967" y="5768"/>
                      <a:pt x="9971" y="5778"/>
                      <a:pt x="9974" y="5788"/>
                    </a:cubicBezTo>
                    <a:cubicBezTo>
                      <a:pt x="10104" y="5747"/>
                      <a:pt x="10104" y="5747"/>
                      <a:pt x="10104" y="5747"/>
                    </a:cubicBezTo>
                    <a:cubicBezTo>
                      <a:pt x="10100" y="5734"/>
                      <a:pt x="10095" y="5721"/>
                      <a:pt x="10091" y="5708"/>
                    </a:cubicBezTo>
                    <a:cubicBezTo>
                      <a:pt x="10074" y="5658"/>
                      <a:pt x="10057" y="5607"/>
                      <a:pt x="10044" y="5568"/>
                    </a:cubicBezTo>
                    <a:cubicBezTo>
                      <a:pt x="10034" y="5538"/>
                      <a:pt x="10027" y="5517"/>
                      <a:pt x="10024" y="5505"/>
                    </a:cubicBezTo>
                    <a:cubicBezTo>
                      <a:pt x="9891" y="5547"/>
                      <a:pt x="9891" y="5547"/>
                      <a:pt x="9891" y="5547"/>
                    </a:cubicBezTo>
                    <a:cubicBezTo>
                      <a:pt x="9893" y="5547"/>
                      <a:pt x="9893" y="5547"/>
                      <a:pt x="9893" y="5547"/>
                    </a:cubicBezTo>
                    <a:cubicBezTo>
                      <a:pt x="9895" y="5547"/>
                      <a:pt x="9895" y="5547"/>
                      <a:pt x="9895" y="5547"/>
                    </a:cubicBezTo>
                    <a:cubicBezTo>
                      <a:pt x="9896" y="5556"/>
                      <a:pt x="9931" y="5659"/>
                      <a:pt x="9964" y="5757"/>
                    </a:cubicBezTo>
                    <a:close/>
                    <a:moveTo>
                      <a:pt x="10033" y="5503"/>
                    </a:moveTo>
                    <a:cubicBezTo>
                      <a:pt x="10033" y="5503"/>
                      <a:pt x="10033" y="5503"/>
                      <a:pt x="10033" y="5503"/>
                    </a:cubicBezTo>
                    <a:cubicBezTo>
                      <a:pt x="10028" y="5504"/>
                      <a:pt x="10028" y="5504"/>
                      <a:pt x="10028" y="5504"/>
                    </a:cubicBezTo>
                    <a:cubicBezTo>
                      <a:pt x="10030" y="5505"/>
                      <a:pt x="10032" y="5504"/>
                      <a:pt x="10033" y="5503"/>
                    </a:cubicBezTo>
                    <a:close/>
                    <a:moveTo>
                      <a:pt x="10159" y="5463"/>
                    </a:moveTo>
                    <a:cubicBezTo>
                      <a:pt x="10038" y="5501"/>
                      <a:pt x="10038" y="5501"/>
                      <a:pt x="10038" y="5501"/>
                    </a:cubicBezTo>
                    <a:cubicBezTo>
                      <a:pt x="10043" y="5521"/>
                      <a:pt x="10074" y="5616"/>
                      <a:pt x="10106" y="5708"/>
                    </a:cubicBezTo>
                    <a:cubicBezTo>
                      <a:pt x="10109" y="5720"/>
                      <a:pt x="10113" y="5731"/>
                      <a:pt x="10117" y="5743"/>
                    </a:cubicBezTo>
                    <a:cubicBezTo>
                      <a:pt x="10238" y="5705"/>
                      <a:pt x="10238" y="5705"/>
                      <a:pt x="10238" y="5705"/>
                    </a:cubicBezTo>
                    <a:cubicBezTo>
                      <a:pt x="10234" y="5693"/>
                      <a:pt x="10230" y="5682"/>
                      <a:pt x="10226" y="5671"/>
                    </a:cubicBezTo>
                    <a:cubicBezTo>
                      <a:pt x="10209" y="5621"/>
                      <a:pt x="10192" y="5570"/>
                      <a:pt x="10180" y="5531"/>
                    </a:cubicBezTo>
                    <a:cubicBezTo>
                      <a:pt x="10168" y="5495"/>
                      <a:pt x="10160" y="5472"/>
                      <a:pt x="10159" y="5463"/>
                    </a:cubicBezTo>
                    <a:close/>
                    <a:moveTo>
                      <a:pt x="10164" y="5462"/>
                    </a:moveTo>
                    <a:cubicBezTo>
                      <a:pt x="10164" y="5462"/>
                      <a:pt x="10164" y="5462"/>
                      <a:pt x="10164" y="5462"/>
                    </a:cubicBezTo>
                    <a:cubicBezTo>
                      <a:pt x="10160" y="5466"/>
                      <a:pt x="10160" y="5466"/>
                      <a:pt x="10160" y="5466"/>
                    </a:cubicBezTo>
                    <a:lnTo>
                      <a:pt x="10164" y="5462"/>
                    </a:lnTo>
                    <a:close/>
                    <a:moveTo>
                      <a:pt x="10165" y="5461"/>
                    </a:moveTo>
                    <a:cubicBezTo>
                      <a:pt x="10165" y="5461"/>
                      <a:pt x="10165" y="5461"/>
                      <a:pt x="10165" y="5461"/>
                    </a:cubicBezTo>
                    <a:cubicBezTo>
                      <a:pt x="10169" y="5467"/>
                      <a:pt x="10169" y="5467"/>
                      <a:pt x="10169" y="5467"/>
                    </a:cubicBezTo>
                    <a:lnTo>
                      <a:pt x="10165" y="5461"/>
                    </a:lnTo>
                    <a:close/>
                    <a:moveTo>
                      <a:pt x="10172" y="5462"/>
                    </a:moveTo>
                    <a:cubicBezTo>
                      <a:pt x="10166" y="5461"/>
                      <a:pt x="10166" y="5461"/>
                      <a:pt x="10166" y="5461"/>
                    </a:cubicBezTo>
                    <a:cubicBezTo>
                      <a:pt x="10166" y="5461"/>
                      <a:pt x="10166" y="5461"/>
                      <a:pt x="10166" y="5461"/>
                    </a:cubicBezTo>
                    <a:lnTo>
                      <a:pt x="10172" y="5462"/>
                    </a:lnTo>
                    <a:close/>
                    <a:moveTo>
                      <a:pt x="9979" y="5801"/>
                    </a:moveTo>
                    <a:cubicBezTo>
                      <a:pt x="9995" y="5850"/>
                      <a:pt x="10011" y="5894"/>
                      <a:pt x="10020" y="5922"/>
                    </a:cubicBezTo>
                    <a:cubicBezTo>
                      <a:pt x="10150" y="5881"/>
                      <a:pt x="10150" y="5881"/>
                      <a:pt x="10150" y="5881"/>
                    </a:cubicBezTo>
                    <a:cubicBezTo>
                      <a:pt x="10141" y="5854"/>
                      <a:pt x="10125" y="5809"/>
                      <a:pt x="10108" y="5760"/>
                    </a:cubicBezTo>
                    <a:lnTo>
                      <a:pt x="9979" y="5801"/>
                    </a:lnTo>
                    <a:close/>
                    <a:moveTo>
                      <a:pt x="10163" y="5877"/>
                    </a:moveTo>
                    <a:cubicBezTo>
                      <a:pt x="10284" y="5839"/>
                      <a:pt x="10284" y="5839"/>
                      <a:pt x="10284" y="5839"/>
                    </a:cubicBezTo>
                    <a:cubicBezTo>
                      <a:pt x="10274" y="5811"/>
                      <a:pt x="10259" y="5766"/>
                      <a:pt x="10242" y="5717"/>
                    </a:cubicBezTo>
                    <a:cubicBezTo>
                      <a:pt x="10122" y="5755"/>
                      <a:pt x="10122" y="5755"/>
                      <a:pt x="10122" y="5755"/>
                    </a:cubicBezTo>
                    <a:cubicBezTo>
                      <a:pt x="10139" y="5806"/>
                      <a:pt x="10154" y="5850"/>
                      <a:pt x="10163" y="5877"/>
                    </a:cubicBezTo>
                    <a:close/>
                    <a:moveTo>
                      <a:pt x="10251" y="5701"/>
                    </a:moveTo>
                    <a:cubicBezTo>
                      <a:pt x="10397" y="5654"/>
                      <a:pt x="10397" y="5654"/>
                      <a:pt x="10397" y="5654"/>
                    </a:cubicBezTo>
                    <a:cubicBezTo>
                      <a:pt x="10394" y="5643"/>
                      <a:pt x="10390" y="5632"/>
                      <a:pt x="10386" y="5621"/>
                    </a:cubicBezTo>
                    <a:cubicBezTo>
                      <a:pt x="10369" y="5571"/>
                      <a:pt x="10352" y="5521"/>
                      <a:pt x="10340" y="5482"/>
                    </a:cubicBezTo>
                    <a:cubicBezTo>
                      <a:pt x="10328" y="5445"/>
                      <a:pt x="10320" y="5421"/>
                      <a:pt x="10319" y="5413"/>
                    </a:cubicBezTo>
                    <a:cubicBezTo>
                      <a:pt x="10167" y="5461"/>
                      <a:pt x="10167" y="5461"/>
                      <a:pt x="10167" y="5461"/>
                    </a:cubicBezTo>
                    <a:cubicBezTo>
                      <a:pt x="10170" y="5461"/>
                      <a:pt x="10170" y="5461"/>
                      <a:pt x="10170" y="5461"/>
                    </a:cubicBezTo>
                    <a:cubicBezTo>
                      <a:pt x="10172" y="5460"/>
                      <a:pt x="10172" y="5460"/>
                      <a:pt x="10172" y="5460"/>
                    </a:cubicBezTo>
                    <a:cubicBezTo>
                      <a:pt x="10174" y="5470"/>
                      <a:pt x="10208" y="5573"/>
                      <a:pt x="10241" y="5671"/>
                    </a:cubicBezTo>
                    <a:cubicBezTo>
                      <a:pt x="10244" y="5681"/>
                      <a:pt x="10248" y="5691"/>
                      <a:pt x="10251" y="5701"/>
                    </a:cubicBezTo>
                    <a:close/>
                    <a:moveTo>
                      <a:pt x="10391" y="5376"/>
                    </a:moveTo>
                    <a:cubicBezTo>
                      <a:pt x="10269" y="4999"/>
                      <a:pt x="10269" y="4999"/>
                      <a:pt x="10269" y="4999"/>
                    </a:cubicBezTo>
                    <a:cubicBezTo>
                      <a:pt x="10217" y="5015"/>
                      <a:pt x="10171" y="5030"/>
                      <a:pt x="10130" y="5043"/>
                    </a:cubicBezTo>
                    <a:cubicBezTo>
                      <a:pt x="10252" y="5418"/>
                      <a:pt x="10252" y="5418"/>
                      <a:pt x="10252" y="5418"/>
                    </a:cubicBezTo>
                    <a:cubicBezTo>
                      <a:pt x="10239" y="5423"/>
                      <a:pt x="10239" y="5423"/>
                      <a:pt x="10239" y="5423"/>
                    </a:cubicBezTo>
                    <a:cubicBezTo>
                      <a:pt x="10117" y="5047"/>
                      <a:pt x="10117" y="5047"/>
                      <a:pt x="10117" y="5047"/>
                    </a:cubicBezTo>
                    <a:cubicBezTo>
                      <a:pt x="10075" y="5061"/>
                      <a:pt x="10040" y="5072"/>
                      <a:pt x="10016" y="5079"/>
                    </a:cubicBezTo>
                    <a:cubicBezTo>
                      <a:pt x="10006" y="5083"/>
                      <a:pt x="9995" y="5085"/>
                      <a:pt x="9985" y="5088"/>
                    </a:cubicBezTo>
                    <a:cubicBezTo>
                      <a:pt x="10107" y="5465"/>
                      <a:pt x="10107" y="5465"/>
                      <a:pt x="10107" y="5465"/>
                    </a:cubicBezTo>
                    <a:cubicBezTo>
                      <a:pt x="10094" y="5469"/>
                      <a:pt x="10094" y="5469"/>
                      <a:pt x="10094" y="5469"/>
                    </a:cubicBezTo>
                    <a:cubicBezTo>
                      <a:pt x="9972" y="5091"/>
                      <a:pt x="9972" y="5091"/>
                      <a:pt x="9972" y="5091"/>
                    </a:cubicBezTo>
                    <a:cubicBezTo>
                      <a:pt x="9930" y="5100"/>
                      <a:pt x="9888" y="5104"/>
                      <a:pt x="9847" y="5104"/>
                    </a:cubicBezTo>
                    <a:cubicBezTo>
                      <a:pt x="9845" y="5104"/>
                      <a:pt x="9842" y="5104"/>
                      <a:pt x="9840" y="5104"/>
                    </a:cubicBezTo>
                    <a:cubicBezTo>
                      <a:pt x="9971" y="5508"/>
                      <a:pt x="9971" y="5508"/>
                      <a:pt x="9971" y="5508"/>
                    </a:cubicBezTo>
                    <a:lnTo>
                      <a:pt x="10391" y="5376"/>
                    </a:lnTo>
                    <a:close/>
                    <a:moveTo>
                      <a:pt x="10405" y="5372"/>
                    </a:moveTo>
                    <a:cubicBezTo>
                      <a:pt x="10533" y="5331"/>
                      <a:pt x="10533" y="5331"/>
                      <a:pt x="10533" y="5331"/>
                    </a:cubicBezTo>
                    <a:cubicBezTo>
                      <a:pt x="10410" y="4953"/>
                      <a:pt x="10410" y="4953"/>
                      <a:pt x="10410" y="4953"/>
                    </a:cubicBezTo>
                    <a:cubicBezTo>
                      <a:pt x="10365" y="4968"/>
                      <a:pt x="10322" y="4981"/>
                      <a:pt x="10283" y="4994"/>
                    </a:cubicBezTo>
                    <a:lnTo>
                      <a:pt x="10405" y="5372"/>
                    </a:lnTo>
                    <a:close/>
                    <a:moveTo>
                      <a:pt x="10546" y="5327"/>
                    </a:moveTo>
                    <a:cubicBezTo>
                      <a:pt x="10677" y="5286"/>
                      <a:pt x="10677" y="5286"/>
                      <a:pt x="10677" y="5286"/>
                    </a:cubicBezTo>
                    <a:cubicBezTo>
                      <a:pt x="10555" y="4906"/>
                      <a:pt x="10555" y="4906"/>
                      <a:pt x="10555" y="4906"/>
                    </a:cubicBezTo>
                    <a:cubicBezTo>
                      <a:pt x="10509" y="4921"/>
                      <a:pt x="10466" y="4935"/>
                      <a:pt x="10423" y="4949"/>
                    </a:cubicBezTo>
                    <a:lnTo>
                      <a:pt x="10546" y="5327"/>
                    </a:lnTo>
                    <a:close/>
                    <a:moveTo>
                      <a:pt x="10836" y="5236"/>
                    </a:moveTo>
                    <a:cubicBezTo>
                      <a:pt x="10973" y="5193"/>
                      <a:pt x="10973" y="5193"/>
                      <a:pt x="10973" y="5193"/>
                    </a:cubicBezTo>
                    <a:cubicBezTo>
                      <a:pt x="10840" y="4813"/>
                      <a:pt x="10840" y="4813"/>
                      <a:pt x="10840" y="4813"/>
                    </a:cubicBezTo>
                    <a:cubicBezTo>
                      <a:pt x="10797" y="4827"/>
                      <a:pt x="10755" y="4841"/>
                      <a:pt x="10712" y="4855"/>
                    </a:cubicBezTo>
                    <a:lnTo>
                      <a:pt x="10836" y="5236"/>
                    </a:lnTo>
                    <a:close/>
                    <a:moveTo>
                      <a:pt x="9672" y="5081"/>
                    </a:moveTo>
                    <a:cubicBezTo>
                      <a:pt x="9831" y="5551"/>
                      <a:pt x="9831" y="5551"/>
                      <a:pt x="9831" y="5551"/>
                    </a:cubicBezTo>
                    <a:cubicBezTo>
                      <a:pt x="9957" y="5512"/>
                      <a:pt x="9957" y="5512"/>
                      <a:pt x="9957" y="5512"/>
                    </a:cubicBezTo>
                    <a:cubicBezTo>
                      <a:pt x="9826" y="5106"/>
                      <a:pt x="9826" y="5106"/>
                      <a:pt x="9826" y="5106"/>
                    </a:cubicBezTo>
                    <a:cubicBezTo>
                      <a:pt x="9832" y="5104"/>
                      <a:pt x="9832" y="5104"/>
                      <a:pt x="9832" y="5104"/>
                    </a:cubicBezTo>
                    <a:cubicBezTo>
                      <a:pt x="9775" y="5102"/>
                      <a:pt x="9721" y="5093"/>
                      <a:pt x="9672" y="5081"/>
                    </a:cubicBezTo>
                    <a:close/>
                    <a:moveTo>
                      <a:pt x="9399" y="5309"/>
                    </a:moveTo>
                    <a:cubicBezTo>
                      <a:pt x="9399" y="5309"/>
                      <a:pt x="9398" y="5309"/>
                      <a:pt x="9398" y="5309"/>
                    </a:cubicBezTo>
                    <a:cubicBezTo>
                      <a:pt x="9365" y="5386"/>
                      <a:pt x="9331" y="5462"/>
                      <a:pt x="9305" y="5519"/>
                    </a:cubicBezTo>
                    <a:cubicBezTo>
                      <a:pt x="9292" y="5548"/>
                      <a:pt x="9280" y="5572"/>
                      <a:pt x="9272" y="5588"/>
                    </a:cubicBezTo>
                    <a:cubicBezTo>
                      <a:pt x="9270" y="5594"/>
                      <a:pt x="9267" y="5598"/>
                      <a:pt x="9265" y="5601"/>
                    </a:cubicBezTo>
                    <a:cubicBezTo>
                      <a:pt x="9270" y="5601"/>
                      <a:pt x="9385" y="5597"/>
                      <a:pt x="9498" y="5594"/>
                    </a:cubicBezTo>
                    <a:lnTo>
                      <a:pt x="9399" y="5309"/>
                    </a:lnTo>
                    <a:close/>
                    <a:moveTo>
                      <a:pt x="9578" y="6061"/>
                    </a:moveTo>
                    <a:cubicBezTo>
                      <a:pt x="9708" y="6020"/>
                      <a:pt x="9708" y="6020"/>
                      <a:pt x="9708" y="6020"/>
                    </a:cubicBezTo>
                    <a:cubicBezTo>
                      <a:pt x="9668" y="5899"/>
                      <a:pt x="9668" y="5899"/>
                      <a:pt x="9668" y="5899"/>
                    </a:cubicBezTo>
                    <a:cubicBezTo>
                      <a:pt x="9537" y="5941"/>
                      <a:pt x="9537" y="5941"/>
                      <a:pt x="9537" y="5941"/>
                    </a:cubicBezTo>
                    <a:lnTo>
                      <a:pt x="9578" y="6061"/>
                    </a:lnTo>
                    <a:close/>
                    <a:moveTo>
                      <a:pt x="9582" y="6073"/>
                    </a:moveTo>
                    <a:cubicBezTo>
                      <a:pt x="9590" y="6095"/>
                      <a:pt x="9590" y="6095"/>
                      <a:pt x="9590" y="6095"/>
                    </a:cubicBezTo>
                    <a:cubicBezTo>
                      <a:pt x="9632" y="6082"/>
                      <a:pt x="9675" y="6068"/>
                      <a:pt x="9719" y="6054"/>
                    </a:cubicBezTo>
                    <a:cubicBezTo>
                      <a:pt x="9712" y="6033"/>
                      <a:pt x="9712" y="6033"/>
                      <a:pt x="9712" y="6033"/>
                    </a:cubicBezTo>
                    <a:lnTo>
                      <a:pt x="9582" y="6073"/>
                    </a:lnTo>
                    <a:close/>
                    <a:moveTo>
                      <a:pt x="9721" y="6016"/>
                    </a:moveTo>
                    <a:cubicBezTo>
                      <a:pt x="9852" y="5975"/>
                      <a:pt x="9852" y="5975"/>
                      <a:pt x="9852" y="5975"/>
                    </a:cubicBezTo>
                    <a:cubicBezTo>
                      <a:pt x="9842" y="5946"/>
                      <a:pt x="9827" y="5902"/>
                      <a:pt x="9810" y="5854"/>
                    </a:cubicBezTo>
                    <a:cubicBezTo>
                      <a:pt x="9681" y="5895"/>
                      <a:pt x="9681" y="5895"/>
                      <a:pt x="9681" y="5895"/>
                    </a:cubicBezTo>
                    <a:lnTo>
                      <a:pt x="9721" y="6016"/>
                    </a:lnTo>
                    <a:close/>
                    <a:moveTo>
                      <a:pt x="9725" y="6028"/>
                    </a:moveTo>
                    <a:cubicBezTo>
                      <a:pt x="9732" y="6049"/>
                      <a:pt x="9732" y="6049"/>
                      <a:pt x="9732" y="6049"/>
                    </a:cubicBezTo>
                    <a:cubicBezTo>
                      <a:pt x="9775" y="6035"/>
                      <a:pt x="9819" y="6021"/>
                      <a:pt x="9863" y="6007"/>
                    </a:cubicBezTo>
                    <a:cubicBezTo>
                      <a:pt x="9862" y="6005"/>
                      <a:pt x="9859" y="5998"/>
                      <a:pt x="9856" y="5987"/>
                    </a:cubicBezTo>
                    <a:lnTo>
                      <a:pt x="9725" y="6028"/>
                    </a:lnTo>
                    <a:close/>
                    <a:moveTo>
                      <a:pt x="9865" y="5971"/>
                    </a:moveTo>
                    <a:cubicBezTo>
                      <a:pt x="10007" y="5926"/>
                      <a:pt x="10007" y="5926"/>
                      <a:pt x="10007" y="5926"/>
                    </a:cubicBezTo>
                    <a:cubicBezTo>
                      <a:pt x="9997" y="5898"/>
                      <a:pt x="9982" y="5854"/>
                      <a:pt x="9965" y="5805"/>
                    </a:cubicBezTo>
                    <a:cubicBezTo>
                      <a:pt x="9824" y="5850"/>
                      <a:pt x="9824" y="5850"/>
                      <a:pt x="9824" y="5850"/>
                    </a:cubicBezTo>
                    <a:cubicBezTo>
                      <a:pt x="9840" y="5898"/>
                      <a:pt x="9855" y="5942"/>
                      <a:pt x="9865" y="5971"/>
                    </a:cubicBezTo>
                    <a:close/>
                    <a:moveTo>
                      <a:pt x="9869" y="5983"/>
                    </a:moveTo>
                    <a:cubicBezTo>
                      <a:pt x="9873" y="5995"/>
                      <a:pt x="9875" y="6002"/>
                      <a:pt x="9876" y="6003"/>
                    </a:cubicBezTo>
                    <a:cubicBezTo>
                      <a:pt x="10014" y="5958"/>
                      <a:pt x="10157" y="5912"/>
                      <a:pt x="10294" y="5868"/>
                    </a:cubicBezTo>
                    <a:cubicBezTo>
                      <a:pt x="10293" y="5866"/>
                      <a:pt x="10291" y="5860"/>
                      <a:pt x="10288" y="5851"/>
                    </a:cubicBezTo>
                    <a:cubicBezTo>
                      <a:pt x="10167" y="5889"/>
                      <a:pt x="10167" y="5889"/>
                      <a:pt x="10167" y="5889"/>
                    </a:cubicBezTo>
                    <a:cubicBezTo>
                      <a:pt x="10170" y="5897"/>
                      <a:pt x="10172" y="5902"/>
                      <a:pt x="10172" y="5902"/>
                    </a:cubicBezTo>
                    <a:cubicBezTo>
                      <a:pt x="10158" y="5906"/>
                      <a:pt x="10158" y="5906"/>
                      <a:pt x="10158" y="5906"/>
                    </a:cubicBezTo>
                    <a:cubicBezTo>
                      <a:pt x="10158" y="5906"/>
                      <a:pt x="10158" y="5906"/>
                      <a:pt x="10158" y="5906"/>
                    </a:cubicBezTo>
                    <a:cubicBezTo>
                      <a:pt x="10158" y="5906"/>
                      <a:pt x="10157" y="5902"/>
                      <a:pt x="10154" y="5893"/>
                    </a:cubicBezTo>
                    <a:cubicBezTo>
                      <a:pt x="10024" y="5934"/>
                      <a:pt x="10024" y="5934"/>
                      <a:pt x="10024" y="5934"/>
                    </a:cubicBezTo>
                    <a:cubicBezTo>
                      <a:pt x="10028" y="5945"/>
                      <a:pt x="10030" y="5951"/>
                      <a:pt x="10030" y="5951"/>
                    </a:cubicBezTo>
                    <a:cubicBezTo>
                      <a:pt x="10017" y="5956"/>
                      <a:pt x="10017" y="5956"/>
                      <a:pt x="10017" y="5956"/>
                    </a:cubicBezTo>
                    <a:cubicBezTo>
                      <a:pt x="10017" y="5956"/>
                      <a:pt x="10017" y="5956"/>
                      <a:pt x="10017" y="5956"/>
                    </a:cubicBezTo>
                    <a:cubicBezTo>
                      <a:pt x="10017" y="5956"/>
                      <a:pt x="10015" y="5949"/>
                      <a:pt x="10011" y="5938"/>
                    </a:cubicBezTo>
                    <a:lnTo>
                      <a:pt x="9869" y="5983"/>
                    </a:lnTo>
                    <a:close/>
                    <a:moveTo>
                      <a:pt x="10297" y="5835"/>
                    </a:moveTo>
                    <a:cubicBezTo>
                      <a:pt x="10443" y="5789"/>
                      <a:pt x="10443" y="5789"/>
                      <a:pt x="10443" y="5789"/>
                    </a:cubicBezTo>
                    <a:cubicBezTo>
                      <a:pt x="10434" y="5760"/>
                      <a:pt x="10418" y="5716"/>
                      <a:pt x="10402" y="5667"/>
                    </a:cubicBezTo>
                    <a:cubicBezTo>
                      <a:pt x="10255" y="5713"/>
                      <a:pt x="10255" y="5713"/>
                      <a:pt x="10255" y="5713"/>
                    </a:cubicBezTo>
                    <a:cubicBezTo>
                      <a:pt x="10272" y="5762"/>
                      <a:pt x="10287" y="5807"/>
                      <a:pt x="10297" y="5835"/>
                    </a:cubicBezTo>
                    <a:close/>
                    <a:moveTo>
                      <a:pt x="10301" y="5847"/>
                    </a:moveTo>
                    <a:cubicBezTo>
                      <a:pt x="10304" y="5857"/>
                      <a:pt x="10306" y="5862"/>
                      <a:pt x="10307" y="5864"/>
                    </a:cubicBezTo>
                    <a:cubicBezTo>
                      <a:pt x="10356" y="5848"/>
                      <a:pt x="10405" y="5832"/>
                      <a:pt x="10453" y="5817"/>
                    </a:cubicBezTo>
                    <a:cubicBezTo>
                      <a:pt x="10452" y="5814"/>
                      <a:pt x="10450" y="5808"/>
                      <a:pt x="10448" y="5801"/>
                    </a:cubicBezTo>
                    <a:lnTo>
                      <a:pt x="10301" y="5847"/>
                    </a:lnTo>
                    <a:close/>
                    <a:moveTo>
                      <a:pt x="10457" y="5784"/>
                    </a:moveTo>
                    <a:cubicBezTo>
                      <a:pt x="10583" y="5744"/>
                      <a:pt x="10583" y="5744"/>
                      <a:pt x="10583" y="5744"/>
                    </a:cubicBezTo>
                    <a:cubicBezTo>
                      <a:pt x="10573" y="5713"/>
                      <a:pt x="10558" y="5669"/>
                      <a:pt x="10542" y="5622"/>
                    </a:cubicBezTo>
                    <a:cubicBezTo>
                      <a:pt x="10415" y="5662"/>
                      <a:pt x="10415" y="5662"/>
                      <a:pt x="10415" y="5662"/>
                    </a:cubicBezTo>
                    <a:cubicBezTo>
                      <a:pt x="10432" y="5712"/>
                      <a:pt x="10447" y="5756"/>
                      <a:pt x="10457" y="5784"/>
                    </a:cubicBezTo>
                    <a:close/>
                    <a:moveTo>
                      <a:pt x="10461" y="5797"/>
                    </a:moveTo>
                    <a:cubicBezTo>
                      <a:pt x="10464" y="5804"/>
                      <a:pt x="10465" y="5809"/>
                      <a:pt x="10466" y="5812"/>
                    </a:cubicBezTo>
                    <a:cubicBezTo>
                      <a:pt x="10510" y="5798"/>
                      <a:pt x="10552" y="5785"/>
                      <a:pt x="10593" y="5772"/>
                    </a:cubicBezTo>
                    <a:cubicBezTo>
                      <a:pt x="10591" y="5767"/>
                      <a:pt x="10590" y="5762"/>
                      <a:pt x="10588" y="5757"/>
                    </a:cubicBezTo>
                    <a:lnTo>
                      <a:pt x="10461" y="5797"/>
                    </a:lnTo>
                    <a:close/>
                    <a:moveTo>
                      <a:pt x="10597" y="5740"/>
                    </a:moveTo>
                    <a:cubicBezTo>
                      <a:pt x="10721" y="5701"/>
                      <a:pt x="10721" y="5701"/>
                      <a:pt x="10721" y="5701"/>
                    </a:cubicBezTo>
                    <a:cubicBezTo>
                      <a:pt x="10711" y="5671"/>
                      <a:pt x="10696" y="5627"/>
                      <a:pt x="10679" y="5579"/>
                    </a:cubicBezTo>
                    <a:cubicBezTo>
                      <a:pt x="10555" y="5618"/>
                      <a:pt x="10555" y="5618"/>
                      <a:pt x="10555" y="5618"/>
                    </a:cubicBezTo>
                    <a:cubicBezTo>
                      <a:pt x="10571" y="5665"/>
                      <a:pt x="10586" y="5709"/>
                      <a:pt x="10597" y="5740"/>
                    </a:cubicBezTo>
                    <a:close/>
                    <a:moveTo>
                      <a:pt x="10601" y="5753"/>
                    </a:moveTo>
                    <a:cubicBezTo>
                      <a:pt x="10603" y="5758"/>
                      <a:pt x="10605" y="5763"/>
                      <a:pt x="10606" y="5767"/>
                    </a:cubicBezTo>
                    <a:cubicBezTo>
                      <a:pt x="10649" y="5753"/>
                      <a:pt x="10691" y="5740"/>
                      <a:pt x="10730" y="5727"/>
                    </a:cubicBezTo>
                    <a:cubicBezTo>
                      <a:pt x="10729" y="5724"/>
                      <a:pt x="10727" y="5719"/>
                      <a:pt x="10725" y="5714"/>
                    </a:cubicBezTo>
                    <a:lnTo>
                      <a:pt x="10601" y="5753"/>
                    </a:lnTo>
                    <a:close/>
                    <a:moveTo>
                      <a:pt x="10734" y="5697"/>
                    </a:moveTo>
                    <a:cubicBezTo>
                      <a:pt x="10845" y="5662"/>
                      <a:pt x="10845" y="5662"/>
                      <a:pt x="10845" y="5662"/>
                    </a:cubicBezTo>
                    <a:cubicBezTo>
                      <a:pt x="10807" y="5538"/>
                      <a:pt x="10807" y="5538"/>
                      <a:pt x="10807" y="5538"/>
                    </a:cubicBezTo>
                    <a:cubicBezTo>
                      <a:pt x="10693" y="5574"/>
                      <a:pt x="10693" y="5574"/>
                      <a:pt x="10693" y="5574"/>
                    </a:cubicBezTo>
                    <a:cubicBezTo>
                      <a:pt x="10709" y="5622"/>
                      <a:pt x="10724" y="5667"/>
                      <a:pt x="10734" y="5697"/>
                    </a:cubicBezTo>
                    <a:close/>
                    <a:moveTo>
                      <a:pt x="10739" y="5709"/>
                    </a:moveTo>
                    <a:cubicBezTo>
                      <a:pt x="10740" y="5715"/>
                      <a:pt x="10742" y="5719"/>
                      <a:pt x="10743" y="5723"/>
                    </a:cubicBezTo>
                    <a:cubicBezTo>
                      <a:pt x="10791" y="5708"/>
                      <a:pt x="10835" y="5694"/>
                      <a:pt x="10875" y="5681"/>
                    </a:cubicBezTo>
                    <a:cubicBezTo>
                      <a:pt x="10868" y="5662"/>
                      <a:pt x="10838" y="5575"/>
                      <a:pt x="10808" y="5486"/>
                    </a:cubicBezTo>
                    <a:cubicBezTo>
                      <a:pt x="10791" y="5436"/>
                      <a:pt x="10774" y="5385"/>
                      <a:pt x="10762" y="5347"/>
                    </a:cubicBezTo>
                    <a:cubicBezTo>
                      <a:pt x="10751" y="5313"/>
                      <a:pt x="10743" y="5291"/>
                      <a:pt x="10741" y="5281"/>
                    </a:cubicBezTo>
                    <a:cubicBezTo>
                      <a:pt x="10326" y="5411"/>
                      <a:pt x="10326" y="5411"/>
                      <a:pt x="10326" y="5411"/>
                    </a:cubicBezTo>
                    <a:cubicBezTo>
                      <a:pt x="10325" y="5411"/>
                      <a:pt x="10325" y="5411"/>
                      <a:pt x="10325" y="5411"/>
                    </a:cubicBezTo>
                    <a:cubicBezTo>
                      <a:pt x="10329" y="5417"/>
                      <a:pt x="10329" y="5417"/>
                      <a:pt x="10329" y="5417"/>
                    </a:cubicBezTo>
                    <a:cubicBezTo>
                      <a:pt x="10325" y="5411"/>
                      <a:pt x="10325" y="5411"/>
                      <a:pt x="10325" y="5411"/>
                    </a:cubicBezTo>
                    <a:cubicBezTo>
                      <a:pt x="10332" y="5413"/>
                      <a:pt x="10332" y="5413"/>
                      <a:pt x="10332" y="5413"/>
                    </a:cubicBezTo>
                    <a:cubicBezTo>
                      <a:pt x="10326" y="5412"/>
                      <a:pt x="10326" y="5412"/>
                      <a:pt x="10326" y="5412"/>
                    </a:cubicBezTo>
                    <a:cubicBezTo>
                      <a:pt x="10330" y="5412"/>
                      <a:pt x="10330" y="5412"/>
                      <a:pt x="10330" y="5412"/>
                    </a:cubicBezTo>
                    <a:cubicBezTo>
                      <a:pt x="10332" y="5411"/>
                      <a:pt x="10332" y="5411"/>
                      <a:pt x="10332" y="5411"/>
                    </a:cubicBezTo>
                    <a:cubicBezTo>
                      <a:pt x="10334" y="5421"/>
                      <a:pt x="10368" y="5523"/>
                      <a:pt x="10401" y="5622"/>
                    </a:cubicBezTo>
                    <a:cubicBezTo>
                      <a:pt x="10404" y="5631"/>
                      <a:pt x="10408" y="5641"/>
                      <a:pt x="10411" y="5650"/>
                    </a:cubicBezTo>
                    <a:cubicBezTo>
                      <a:pt x="10538" y="5610"/>
                      <a:pt x="10538" y="5610"/>
                      <a:pt x="10538" y="5610"/>
                    </a:cubicBezTo>
                    <a:cubicBezTo>
                      <a:pt x="10535" y="5603"/>
                      <a:pt x="10533" y="5597"/>
                      <a:pt x="10531" y="5591"/>
                    </a:cubicBezTo>
                    <a:cubicBezTo>
                      <a:pt x="10514" y="5540"/>
                      <a:pt x="10497" y="5490"/>
                      <a:pt x="10484" y="5451"/>
                    </a:cubicBezTo>
                    <a:cubicBezTo>
                      <a:pt x="10472" y="5412"/>
                      <a:pt x="10463" y="5388"/>
                      <a:pt x="10463" y="5381"/>
                    </a:cubicBezTo>
                    <a:cubicBezTo>
                      <a:pt x="10463" y="5380"/>
                      <a:pt x="10463" y="5380"/>
                      <a:pt x="10463" y="5379"/>
                    </a:cubicBezTo>
                    <a:cubicBezTo>
                      <a:pt x="10463" y="5379"/>
                      <a:pt x="10463" y="5379"/>
                      <a:pt x="10464" y="5377"/>
                    </a:cubicBezTo>
                    <a:cubicBezTo>
                      <a:pt x="10464" y="5377"/>
                      <a:pt x="10464" y="5376"/>
                      <a:pt x="10466" y="5375"/>
                    </a:cubicBezTo>
                    <a:cubicBezTo>
                      <a:pt x="10468" y="5373"/>
                      <a:pt x="10474" y="5374"/>
                      <a:pt x="10475" y="5376"/>
                    </a:cubicBezTo>
                    <a:cubicBezTo>
                      <a:pt x="10470" y="5381"/>
                      <a:pt x="10470" y="5381"/>
                      <a:pt x="10470" y="5381"/>
                    </a:cubicBezTo>
                    <a:cubicBezTo>
                      <a:pt x="10470" y="5381"/>
                      <a:pt x="10470" y="5381"/>
                      <a:pt x="10470" y="5381"/>
                    </a:cubicBezTo>
                    <a:cubicBezTo>
                      <a:pt x="10477" y="5382"/>
                      <a:pt x="10477" y="5382"/>
                      <a:pt x="10477" y="5382"/>
                    </a:cubicBezTo>
                    <a:cubicBezTo>
                      <a:pt x="10471" y="5381"/>
                      <a:pt x="10471" y="5381"/>
                      <a:pt x="10471" y="5381"/>
                    </a:cubicBezTo>
                    <a:cubicBezTo>
                      <a:pt x="10475" y="5381"/>
                      <a:pt x="10475" y="5381"/>
                      <a:pt x="10475" y="5381"/>
                    </a:cubicBezTo>
                    <a:cubicBezTo>
                      <a:pt x="10477" y="5380"/>
                      <a:pt x="10477" y="5380"/>
                      <a:pt x="10477" y="5380"/>
                    </a:cubicBezTo>
                    <a:cubicBezTo>
                      <a:pt x="10479" y="5390"/>
                      <a:pt x="10513" y="5493"/>
                      <a:pt x="10546" y="5591"/>
                    </a:cubicBezTo>
                    <a:cubicBezTo>
                      <a:pt x="10548" y="5596"/>
                      <a:pt x="10549" y="5601"/>
                      <a:pt x="10551" y="5606"/>
                    </a:cubicBezTo>
                    <a:cubicBezTo>
                      <a:pt x="10675" y="5566"/>
                      <a:pt x="10675" y="5566"/>
                      <a:pt x="10675" y="5566"/>
                    </a:cubicBezTo>
                    <a:cubicBezTo>
                      <a:pt x="10672" y="5558"/>
                      <a:pt x="10669" y="5550"/>
                      <a:pt x="10667" y="5541"/>
                    </a:cubicBezTo>
                    <a:cubicBezTo>
                      <a:pt x="10650" y="5491"/>
                      <a:pt x="10633" y="5441"/>
                      <a:pt x="10620" y="5402"/>
                    </a:cubicBezTo>
                    <a:cubicBezTo>
                      <a:pt x="10607" y="5363"/>
                      <a:pt x="10599" y="5338"/>
                      <a:pt x="10598" y="5332"/>
                    </a:cubicBezTo>
                    <a:cubicBezTo>
                      <a:pt x="10598" y="5331"/>
                      <a:pt x="10598" y="5331"/>
                      <a:pt x="10599" y="5330"/>
                    </a:cubicBezTo>
                    <a:cubicBezTo>
                      <a:pt x="10599" y="5330"/>
                      <a:pt x="10599" y="5329"/>
                      <a:pt x="10599" y="5328"/>
                    </a:cubicBezTo>
                    <a:cubicBezTo>
                      <a:pt x="10600" y="5328"/>
                      <a:pt x="10600" y="5327"/>
                      <a:pt x="10602" y="5325"/>
                    </a:cubicBezTo>
                    <a:cubicBezTo>
                      <a:pt x="10604" y="5324"/>
                      <a:pt x="10609" y="5324"/>
                      <a:pt x="10610" y="5326"/>
                    </a:cubicBezTo>
                    <a:cubicBezTo>
                      <a:pt x="10601" y="5336"/>
                      <a:pt x="10601" y="5336"/>
                      <a:pt x="10601" y="5336"/>
                    </a:cubicBezTo>
                    <a:cubicBezTo>
                      <a:pt x="10605" y="5331"/>
                      <a:pt x="10605" y="5331"/>
                      <a:pt x="10605" y="5331"/>
                    </a:cubicBezTo>
                    <a:cubicBezTo>
                      <a:pt x="10609" y="5337"/>
                      <a:pt x="10609" y="5337"/>
                      <a:pt x="10609" y="5337"/>
                    </a:cubicBezTo>
                    <a:cubicBezTo>
                      <a:pt x="10606" y="5331"/>
                      <a:pt x="10606" y="5331"/>
                      <a:pt x="10606" y="5331"/>
                    </a:cubicBezTo>
                    <a:cubicBezTo>
                      <a:pt x="10612" y="5332"/>
                      <a:pt x="10612" y="5332"/>
                      <a:pt x="10612" y="5332"/>
                    </a:cubicBezTo>
                    <a:cubicBezTo>
                      <a:pt x="10606" y="5332"/>
                      <a:pt x="10606" y="5332"/>
                      <a:pt x="10606" y="5332"/>
                    </a:cubicBezTo>
                    <a:cubicBezTo>
                      <a:pt x="10610" y="5332"/>
                      <a:pt x="10610" y="5332"/>
                      <a:pt x="10610" y="5332"/>
                    </a:cubicBezTo>
                    <a:cubicBezTo>
                      <a:pt x="10612" y="5331"/>
                      <a:pt x="10612" y="5331"/>
                      <a:pt x="10612" y="5331"/>
                    </a:cubicBezTo>
                    <a:cubicBezTo>
                      <a:pt x="10614" y="5341"/>
                      <a:pt x="10648" y="5443"/>
                      <a:pt x="10681" y="5541"/>
                    </a:cubicBezTo>
                    <a:cubicBezTo>
                      <a:pt x="10684" y="5548"/>
                      <a:pt x="10686" y="5555"/>
                      <a:pt x="10688" y="5562"/>
                    </a:cubicBezTo>
                    <a:cubicBezTo>
                      <a:pt x="10816" y="5522"/>
                      <a:pt x="10816" y="5522"/>
                      <a:pt x="10816" y="5522"/>
                    </a:cubicBezTo>
                    <a:cubicBezTo>
                      <a:pt x="10818" y="5528"/>
                      <a:pt x="10818" y="5528"/>
                      <a:pt x="10818" y="5528"/>
                    </a:cubicBezTo>
                    <a:cubicBezTo>
                      <a:pt x="10861" y="5671"/>
                      <a:pt x="10861" y="5671"/>
                      <a:pt x="10861" y="5671"/>
                    </a:cubicBezTo>
                    <a:lnTo>
                      <a:pt x="10739" y="5709"/>
                    </a:lnTo>
                    <a:close/>
                    <a:moveTo>
                      <a:pt x="10888" y="5677"/>
                    </a:moveTo>
                    <a:cubicBezTo>
                      <a:pt x="11010" y="5637"/>
                      <a:pt x="11094" y="5610"/>
                      <a:pt x="11115" y="5604"/>
                    </a:cubicBezTo>
                    <a:cubicBezTo>
                      <a:pt x="10977" y="5207"/>
                      <a:pt x="10977" y="5207"/>
                      <a:pt x="10977" y="5207"/>
                    </a:cubicBezTo>
                    <a:cubicBezTo>
                      <a:pt x="10754" y="5277"/>
                      <a:pt x="10754" y="5277"/>
                      <a:pt x="10754" y="5277"/>
                    </a:cubicBezTo>
                    <a:cubicBezTo>
                      <a:pt x="10757" y="5289"/>
                      <a:pt x="10790" y="5389"/>
                      <a:pt x="10823" y="5486"/>
                    </a:cubicBezTo>
                    <a:cubicBezTo>
                      <a:pt x="10853" y="5575"/>
                      <a:pt x="10882" y="5660"/>
                      <a:pt x="10888" y="5677"/>
                    </a:cubicBezTo>
                    <a:close/>
                    <a:moveTo>
                      <a:pt x="11035" y="5174"/>
                    </a:moveTo>
                    <a:cubicBezTo>
                      <a:pt x="11353" y="5072"/>
                      <a:pt x="11353" y="5072"/>
                      <a:pt x="11353" y="5072"/>
                    </a:cubicBezTo>
                    <a:cubicBezTo>
                      <a:pt x="11208" y="4693"/>
                      <a:pt x="11208" y="4693"/>
                      <a:pt x="11208" y="4693"/>
                    </a:cubicBezTo>
                    <a:cubicBezTo>
                      <a:pt x="11109" y="4726"/>
                      <a:pt x="11006" y="4759"/>
                      <a:pt x="10903" y="4793"/>
                    </a:cubicBezTo>
                    <a:lnTo>
                      <a:pt x="11035" y="5174"/>
                    </a:lnTo>
                    <a:close/>
                    <a:moveTo>
                      <a:pt x="11366" y="5068"/>
                    </a:moveTo>
                    <a:cubicBezTo>
                      <a:pt x="11700" y="4962"/>
                      <a:pt x="11700" y="4962"/>
                      <a:pt x="11700" y="4962"/>
                    </a:cubicBezTo>
                    <a:cubicBezTo>
                      <a:pt x="11554" y="4580"/>
                      <a:pt x="11554" y="4580"/>
                      <a:pt x="11554" y="4580"/>
                    </a:cubicBezTo>
                    <a:cubicBezTo>
                      <a:pt x="11456" y="4612"/>
                      <a:pt x="11342" y="4649"/>
                      <a:pt x="11221" y="4689"/>
                    </a:cubicBezTo>
                    <a:lnTo>
                      <a:pt x="11366" y="5068"/>
                    </a:lnTo>
                    <a:close/>
                    <a:moveTo>
                      <a:pt x="11714" y="4958"/>
                    </a:moveTo>
                    <a:cubicBezTo>
                      <a:pt x="12023" y="4859"/>
                      <a:pt x="12023" y="4859"/>
                      <a:pt x="12023" y="4859"/>
                    </a:cubicBezTo>
                    <a:cubicBezTo>
                      <a:pt x="12020" y="4853"/>
                      <a:pt x="12018" y="4847"/>
                      <a:pt x="12015" y="4841"/>
                    </a:cubicBezTo>
                    <a:cubicBezTo>
                      <a:pt x="11942" y="4689"/>
                      <a:pt x="11873" y="4542"/>
                      <a:pt x="11846" y="4484"/>
                    </a:cubicBezTo>
                    <a:cubicBezTo>
                      <a:pt x="11800" y="4499"/>
                      <a:pt x="11699" y="4532"/>
                      <a:pt x="11567" y="4576"/>
                    </a:cubicBezTo>
                    <a:lnTo>
                      <a:pt x="11714" y="4958"/>
                    </a:lnTo>
                    <a:close/>
                    <a:moveTo>
                      <a:pt x="12084" y="4833"/>
                    </a:moveTo>
                    <a:cubicBezTo>
                      <a:pt x="12407" y="4640"/>
                      <a:pt x="12407" y="4640"/>
                      <a:pt x="12407" y="4640"/>
                    </a:cubicBezTo>
                    <a:cubicBezTo>
                      <a:pt x="12458" y="4515"/>
                      <a:pt x="12458" y="4515"/>
                      <a:pt x="12458" y="4515"/>
                    </a:cubicBezTo>
                    <a:cubicBezTo>
                      <a:pt x="12432" y="4500"/>
                      <a:pt x="12358" y="4456"/>
                      <a:pt x="12282" y="4412"/>
                    </a:cubicBezTo>
                    <a:cubicBezTo>
                      <a:pt x="12235" y="4384"/>
                      <a:pt x="12187" y="4357"/>
                      <a:pt x="12151" y="4337"/>
                    </a:cubicBezTo>
                    <a:cubicBezTo>
                      <a:pt x="12134" y="4327"/>
                      <a:pt x="12120" y="4319"/>
                      <a:pt x="12109" y="4313"/>
                    </a:cubicBezTo>
                    <a:cubicBezTo>
                      <a:pt x="12078" y="4342"/>
                      <a:pt x="12053" y="4364"/>
                      <a:pt x="12038" y="4376"/>
                    </a:cubicBezTo>
                    <a:cubicBezTo>
                      <a:pt x="11981" y="4421"/>
                      <a:pt x="11936" y="4447"/>
                      <a:pt x="11907" y="4461"/>
                    </a:cubicBezTo>
                    <a:cubicBezTo>
                      <a:pt x="11937" y="4524"/>
                      <a:pt x="12010" y="4678"/>
                      <a:pt x="12084" y="4833"/>
                    </a:cubicBezTo>
                    <a:close/>
                    <a:moveTo>
                      <a:pt x="12463" y="4502"/>
                    </a:moveTo>
                    <a:cubicBezTo>
                      <a:pt x="12519" y="4362"/>
                      <a:pt x="12519" y="4362"/>
                      <a:pt x="12519" y="4362"/>
                    </a:cubicBezTo>
                    <a:cubicBezTo>
                      <a:pt x="12510" y="4347"/>
                      <a:pt x="12468" y="4283"/>
                      <a:pt x="12426" y="4218"/>
                    </a:cubicBezTo>
                    <a:cubicBezTo>
                      <a:pt x="12401" y="4182"/>
                      <a:pt x="12377" y="4145"/>
                      <a:pt x="12358" y="4117"/>
                    </a:cubicBezTo>
                    <a:cubicBezTo>
                      <a:pt x="12351" y="4108"/>
                      <a:pt x="12345" y="4100"/>
                      <a:pt x="12340" y="4093"/>
                    </a:cubicBezTo>
                    <a:cubicBezTo>
                      <a:pt x="12258" y="4172"/>
                      <a:pt x="12179" y="4248"/>
                      <a:pt x="12120" y="4303"/>
                    </a:cubicBezTo>
                    <a:cubicBezTo>
                      <a:pt x="12196" y="4344"/>
                      <a:pt x="12409" y="4470"/>
                      <a:pt x="12463" y="4502"/>
                    </a:cubicBezTo>
                    <a:close/>
                    <a:moveTo>
                      <a:pt x="12359" y="3983"/>
                    </a:moveTo>
                    <a:cubicBezTo>
                      <a:pt x="12481" y="3864"/>
                      <a:pt x="12595" y="3751"/>
                      <a:pt x="12636" y="3711"/>
                    </a:cubicBezTo>
                    <a:cubicBezTo>
                      <a:pt x="11975" y="3153"/>
                      <a:pt x="11975" y="3153"/>
                      <a:pt x="11975" y="3153"/>
                    </a:cubicBezTo>
                    <a:cubicBezTo>
                      <a:pt x="11968" y="3149"/>
                      <a:pt x="11943" y="3138"/>
                      <a:pt x="11912" y="3138"/>
                    </a:cubicBezTo>
                    <a:cubicBezTo>
                      <a:pt x="11885" y="3138"/>
                      <a:pt x="11854" y="3145"/>
                      <a:pt x="11819" y="3175"/>
                    </a:cubicBezTo>
                    <a:cubicBezTo>
                      <a:pt x="11775" y="3214"/>
                      <a:pt x="11748" y="3235"/>
                      <a:pt x="11729" y="3248"/>
                    </a:cubicBezTo>
                    <a:cubicBezTo>
                      <a:pt x="12334" y="4008"/>
                      <a:pt x="12334" y="4008"/>
                      <a:pt x="12334" y="4008"/>
                    </a:cubicBezTo>
                    <a:cubicBezTo>
                      <a:pt x="12342" y="3999"/>
                      <a:pt x="12350" y="3991"/>
                      <a:pt x="12359" y="3983"/>
                    </a:cubicBezTo>
                    <a:close/>
                    <a:moveTo>
                      <a:pt x="11366" y="2896"/>
                    </a:moveTo>
                    <a:cubicBezTo>
                      <a:pt x="11358" y="2889"/>
                      <a:pt x="11329" y="2865"/>
                      <a:pt x="11283" y="2830"/>
                    </a:cubicBezTo>
                    <a:cubicBezTo>
                      <a:pt x="11228" y="2787"/>
                      <a:pt x="11148" y="2729"/>
                      <a:pt x="11049" y="2664"/>
                    </a:cubicBezTo>
                    <a:cubicBezTo>
                      <a:pt x="10898" y="2565"/>
                      <a:pt x="10742" y="2462"/>
                      <a:pt x="10675" y="2417"/>
                    </a:cubicBezTo>
                    <a:cubicBezTo>
                      <a:pt x="9485" y="4938"/>
                      <a:pt x="9485" y="4938"/>
                      <a:pt x="9485" y="4938"/>
                    </a:cubicBezTo>
                    <a:cubicBezTo>
                      <a:pt x="9529" y="4963"/>
                      <a:pt x="9643" y="5018"/>
                      <a:pt x="9776" y="5034"/>
                    </a:cubicBezTo>
                    <a:cubicBezTo>
                      <a:pt x="9781" y="4995"/>
                      <a:pt x="9811" y="4917"/>
                      <a:pt x="9811" y="4916"/>
                    </a:cubicBezTo>
                    <a:cubicBezTo>
                      <a:pt x="9812" y="4913"/>
                      <a:pt x="9812" y="4913"/>
                      <a:pt x="9812" y="4913"/>
                    </a:cubicBezTo>
                    <a:cubicBezTo>
                      <a:pt x="9975" y="4841"/>
                      <a:pt x="9975" y="4841"/>
                      <a:pt x="9975" y="4841"/>
                    </a:cubicBezTo>
                    <a:cubicBezTo>
                      <a:pt x="9879" y="4520"/>
                      <a:pt x="9879" y="4520"/>
                      <a:pt x="9879" y="4520"/>
                    </a:cubicBezTo>
                    <a:cubicBezTo>
                      <a:pt x="9886" y="4518"/>
                      <a:pt x="9886" y="4518"/>
                      <a:pt x="9886" y="4518"/>
                    </a:cubicBezTo>
                    <a:cubicBezTo>
                      <a:pt x="9886" y="4518"/>
                      <a:pt x="10047" y="4466"/>
                      <a:pt x="10209" y="4413"/>
                    </a:cubicBezTo>
                    <a:cubicBezTo>
                      <a:pt x="10290" y="4386"/>
                      <a:pt x="10371" y="4360"/>
                      <a:pt x="10431" y="4339"/>
                    </a:cubicBezTo>
                    <a:cubicBezTo>
                      <a:pt x="10462" y="4329"/>
                      <a:pt x="10487" y="4320"/>
                      <a:pt x="10504" y="4314"/>
                    </a:cubicBezTo>
                    <a:cubicBezTo>
                      <a:pt x="10513" y="4311"/>
                      <a:pt x="10520" y="4308"/>
                      <a:pt x="10525" y="4306"/>
                    </a:cubicBezTo>
                    <a:cubicBezTo>
                      <a:pt x="10527" y="4305"/>
                      <a:pt x="10528" y="4305"/>
                      <a:pt x="10529" y="4304"/>
                    </a:cubicBezTo>
                    <a:cubicBezTo>
                      <a:pt x="10529" y="4304"/>
                      <a:pt x="10530" y="4304"/>
                      <a:pt x="10530" y="4303"/>
                    </a:cubicBezTo>
                    <a:cubicBezTo>
                      <a:pt x="10531" y="4303"/>
                      <a:pt x="10531" y="4302"/>
                      <a:pt x="10532" y="4302"/>
                    </a:cubicBezTo>
                    <a:cubicBezTo>
                      <a:pt x="10532" y="4302"/>
                      <a:pt x="10532" y="4302"/>
                      <a:pt x="10532" y="4302"/>
                    </a:cubicBezTo>
                    <a:cubicBezTo>
                      <a:pt x="10533" y="4302"/>
                      <a:pt x="10534" y="4302"/>
                      <a:pt x="10535" y="4302"/>
                    </a:cubicBezTo>
                    <a:cubicBezTo>
                      <a:pt x="10536" y="4302"/>
                      <a:pt x="10538" y="4302"/>
                      <a:pt x="10539" y="4304"/>
                    </a:cubicBezTo>
                    <a:cubicBezTo>
                      <a:pt x="10540" y="4304"/>
                      <a:pt x="10541" y="4305"/>
                      <a:pt x="10541" y="4306"/>
                    </a:cubicBezTo>
                    <a:cubicBezTo>
                      <a:pt x="10541" y="4307"/>
                      <a:pt x="10541" y="4307"/>
                      <a:pt x="10541" y="4307"/>
                    </a:cubicBezTo>
                    <a:cubicBezTo>
                      <a:pt x="10545" y="4315"/>
                      <a:pt x="10576" y="4381"/>
                      <a:pt x="10585" y="4400"/>
                    </a:cubicBezTo>
                    <a:cubicBezTo>
                      <a:pt x="10746" y="4369"/>
                      <a:pt x="10746" y="4369"/>
                      <a:pt x="10746" y="4369"/>
                    </a:cubicBezTo>
                    <a:cubicBezTo>
                      <a:pt x="10860" y="4738"/>
                      <a:pt x="10860" y="4738"/>
                      <a:pt x="10860" y="4738"/>
                    </a:cubicBezTo>
                    <a:cubicBezTo>
                      <a:pt x="10916" y="4719"/>
                      <a:pt x="10973" y="4701"/>
                      <a:pt x="11028" y="4683"/>
                    </a:cubicBezTo>
                    <a:cubicBezTo>
                      <a:pt x="11243" y="4613"/>
                      <a:pt x="11449" y="4545"/>
                      <a:pt x="11602" y="4495"/>
                    </a:cubicBezTo>
                    <a:cubicBezTo>
                      <a:pt x="11754" y="4445"/>
                      <a:pt x="11852" y="4413"/>
                      <a:pt x="11853" y="4413"/>
                    </a:cubicBezTo>
                    <a:cubicBezTo>
                      <a:pt x="11852" y="4413"/>
                      <a:pt x="11853" y="4413"/>
                      <a:pt x="11854" y="4412"/>
                    </a:cubicBezTo>
                    <a:cubicBezTo>
                      <a:pt x="11864" y="4409"/>
                      <a:pt x="11918" y="4387"/>
                      <a:pt x="11998" y="4324"/>
                    </a:cubicBezTo>
                    <a:cubicBezTo>
                      <a:pt x="12034" y="4296"/>
                      <a:pt x="12158" y="4179"/>
                      <a:pt x="12286" y="4054"/>
                    </a:cubicBezTo>
                    <a:lnTo>
                      <a:pt x="11366" y="2896"/>
                    </a:lnTo>
                    <a:close/>
                    <a:moveTo>
                      <a:pt x="12531" y="6973"/>
                    </a:moveTo>
                    <a:cubicBezTo>
                      <a:pt x="12725" y="6676"/>
                      <a:pt x="12725" y="6676"/>
                      <a:pt x="12725" y="6676"/>
                    </a:cubicBezTo>
                    <a:cubicBezTo>
                      <a:pt x="12795" y="6476"/>
                      <a:pt x="12795" y="6476"/>
                      <a:pt x="12795" y="6476"/>
                    </a:cubicBezTo>
                    <a:cubicBezTo>
                      <a:pt x="12796" y="6474"/>
                      <a:pt x="12796" y="6474"/>
                      <a:pt x="12796" y="6474"/>
                    </a:cubicBezTo>
                    <a:cubicBezTo>
                      <a:pt x="12796" y="6474"/>
                      <a:pt x="12796" y="6472"/>
                      <a:pt x="12796" y="6470"/>
                    </a:cubicBezTo>
                    <a:cubicBezTo>
                      <a:pt x="12795" y="6464"/>
                      <a:pt x="12797" y="6443"/>
                      <a:pt x="12733" y="6414"/>
                    </a:cubicBezTo>
                    <a:cubicBezTo>
                      <a:pt x="12673" y="6387"/>
                      <a:pt x="12496" y="6281"/>
                      <a:pt x="12329" y="6179"/>
                    </a:cubicBezTo>
                    <a:cubicBezTo>
                      <a:pt x="12162" y="6077"/>
                      <a:pt x="12010" y="5982"/>
                      <a:pt x="12010" y="5982"/>
                    </a:cubicBezTo>
                    <a:cubicBezTo>
                      <a:pt x="12007" y="5980"/>
                      <a:pt x="12007" y="5980"/>
                      <a:pt x="12007" y="5980"/>
                    </a:cubicBezTo>
                    <a:cubicBezTo>
                      <a:pt x="12005" y="5978"/>
                      <a:pt x="12005" y="5978"/>
                      <a:pt x="12005" y="5978"/>
                    </a:cubicBezTo>
                    <a:cubicBezTo>
                      <a:pt x="12004" y="5978"/>
                      <a:pt x="11768" y="5754"/>
                      <a:pt x="11660" y="5630"/>
                    </a:cubicBezTo>
                    <a:cubicBezTo>
                      <a:pt x="11003" y="5814"/>
                      <a:pt x="11003" y="5814"/>
                      <a:pt x="11003" y="5814"/>
                    </a:cubicBezTo>
                    <a:cubicBezTo>
                      <a:pt x="9698" y="6242"/>
                      <a:pt x="9698" y="6242"/>
                      <a:pt x="9698" y="6242"/>
                    </a:cubicBezTo>
                    <a:cubicBezTo>
                      <a:pt x="8965" y="6491"/>
                      <a:pt x="8965" y="6491"/>
                      <a:pt x="8965" y="6491"/>
                    </a:cubicBezTo>
                    <a:cubicBezTo>
                      <a:pt x="8990" y="6492"/>
                      <a:pt x="9017" y="6493"/>
                      <a:pt x="9045" y="6493"/>
                    </a:cubicBezTo>
                    <a:cubicBezTo>
                      <a:pt x="9210" y="6498"/>
                      <a:pt x="9419" y="6502"/>
                      <a:pt x="9593" y="6502"/>
                    </a:cubicBezTo>
                    <a:cubicBezTo>
                      <a:pt x="9651" y="6502"/>
                      <a:pt x="9705" y="6502"/>
                      <a:pt x="9752" y="6501"/>
                    </a:cubicBezTo>
                    <a:cubicBezTo>
                      <a:pt x="9758" y="6500"/>
                      <a:pt x="9763" y="6500"/>
                      <a:pt x="9768" y="6500"/>
                    </a:cubicBezTo>
                    <a:cubicBezTo>
                      <a:pt x="9937" y="6500"/>
                      <a:pt x="10035" y="6570"/>
                      <a:pt x="10085" y="6641"/>
                    </a:cubicBezTo>
                    <a:cubicBezTo>
                      <a:pt x="10135" y="6712"/>
                      <a:pt x="10141" y="6781"/>
                      <a:pt x="10141" y="6784"/>
                    </a:cubicBezTo>
                    <a:cubicBezTo>
                      <a:pt x="10141" y="6785"/>
                      <a:pt x="10141" y="6785"/>
                      <a:pt x="10141" y="6785"/>
                    </a:cubicBezTo>
                    <a:cubicBezTo>
                      <a:pt x="10141" y="6786"/>
                      <a:pt x="10141" y="6786"/>
                      <a:pt x="10141" y="6786"/>
                    </a:cubicBezTo>
                    <a:cubicBezTo>
                      <a:pt x="10141" y="6786"/>
                      <a:pt x="10148" y="7487"/>
                      <a:pt x="10148" y="7835"/>
                    </a:cubicBezTo>
                    <a:cubicBezTo>
                      <a:pt x="10148" y="7893"/>
                      <a:pt x="10148" y="7941"/>
                      <a:pt x="10147" y="7975"/>
                    </a:cubicBezTo>
                    <a:cubicBezTo>
                      <a:pt x="10147" y="7992"/>
                      <a:pt x="10147" y="8005"/>
                      <a:pt x="10146" y="8014"/>
                    </a:cubicBezTo>
                    <a:cubicBezTo>
                      <a:pt x="10146" y="8019"/>
                      <a:pt x="10146" y="8023"/>
                      <a:pt x="10146" y="8026"/>
                    </a:cubicBezTo>
                    <a:cubicBezTo>
                      <a:pt x="10146" y="8028"/>
                      <a:pt x="10145" y="8030"/>
                      <a:pt x="10145" y="8032"/>
                    </a:cubicBezTo>
                    <a:cubicBezTo>
                      <a:pt x="10216" y="8086"/>
                      <a:pt x="10422" y="8243"/>
                      <a:pt x="10553" y="8344"/>
                    </a:cubicBezTo>
                    <a:cubicBezTo>
                      <a:pt x="10710" y="8465"/>
                      <a:pt x="11053" y="8702"/>
                      <a:pt x="11348" y="8914"/>
                    </a:cubicBezTo>
                    <a:cubicBezTo>
                      <a:pt x="11358" y="8922"/>
                      <a:pt x="11368" y="8930"/>
                      <a:pt x="11378" y="8938"/>
                    </a:cubicBezTo>
                    <a:cubicBezTo>
                      <a:pt x="11784" y="8161"/>
                      <a:pt x="11784" y="8161"/>
                      <a:pt x="11784" y="8161"/>
                    </a:cubicBezTo>
                    <a:cubicBezTo>
                      <a:pt x="11784" y="8160"/>
                      <a:pt x="11784" y="8160"/>
                      <a:pt x="11784" y="8160"/>
                    </a:cubicBezTo>
                    <a:cubicBezTo>
                      <a:pt x="11784" y="8160"/>
                      <a:pt x="11785" y="8159"/>
                      <a:pt x="11786" y="8157"/>
                    </a:cubicBezTo>
                    <a:cubicBezTo>
                      <a:pt x="11793" y="8144"/>
                      <a:pt x="11824" y="8080"/>
                      <a:pt x="11824" y="8003"/>
                    </a:cubicBezTo>
                    <a:cubicBezTo>
                      <a:pt x="11822" y="7915"/>
                      <a:pt x="11787" y="7810"/>
                      <a:pt x="11611" y="7728"/>
                    </a:cubicBezTo>
                    <a:cubicBezTo>
                      <a:pt x="11593" y="7720"/>
                      <a:pt x="11593" y="7720"/>
                      <a:pt x="11593" y="7720"/>
                    </a:cubicBezTo>
                    <a:cubicBezTo>
                      <a:pt x="11569" y="7304"/>
                      <a:pt x="11569" y="7304"/>
                      <a:pt x="11569" y="7304"/>
                    </a:cubicBezTo>
                    <a:cubicBezTo>
                      <a:pt x="11570" y="7303"/>
                      <a:pt x="11570" y="7303"/>
                      <a:pt x="11570" y="7303"/>
                    </a:cubicBezTo>
                    <a:cubicBezTo>
                      <a:pt x="11570" y="7301"/>
                      <a:pt x="11572" y="7236"/>
                      <a:pt x="11599" y="7168"/>
                    </a:cubicBezTo>
                    <a:cubicBezTo>
                      <a:pt x="11613" y="7134"/>
                      <a:pt x="11632" y="7099"/>
                      <a:pt x="11663" y="7071"/>
                    </a:cubicBezTo>
                    <a:cubicBezTo>
                      <a:pt x="11693" y="7043"/>
                      <a:pt x="11736" y="7023"/>
                      <a:pt x="11787" y="7024"/>
                    </a:cubicBezTo>
                    <a:cubicBezTo>
                      <a:pt x="11798" y="7023"/>
                      <a:pt x="11810" y="7024"/>
                      <a:pt x="11822" y="7026"/>
                    </a:cubicBezTo>
                    <a:cubicBezTo>
                      <a:pt x="11990" y="7052"/>
                      <a:pt x="12426" y="7131"/>
                      <a:pt x="12572" y="7158"/>
                    </a:cubicBezTo>
                    <a:lnTo>
                      <a:pt x="12531" y="6973"/>
                    </a:lnTo>
                    <a:close/>
                    <a:moveTo>
                      <a:pt x="9139" y="8775"/>
                    </a:moveTo>
                    <a:cubicBezTo>
                      <a:pt x="9139" y="8775"/>
                      <a:pt x="9140" y="8774"/>
                      <a:pt x="9140" y="8773"/>
                    </a:cubicBezTo>
                    <a:cubicBezTo>
                      <a:pt x="9141" y="8772"/>
                      <a:pt x="9144" y="8771"/>
                      <a:pt x="9145" y="8771"/>
                    </a:cubicBezTo>
                    <a:cubicBezTo>
                      <a:pt x="9147" y="8771"/>
                      <a:pt x="9147" y="8772"/>
                      <a:pt x="9148" y="8772"/>
                    </a:cubicBezTo>
                    <a:cubicBezTo>
                      <a:pt x="9512" y="8597"/>
                      <a:pt x="9512" y="8597"/>
                      <a:pt x="9512" y="8597"/>
                    </a:cubicBezTo>
                    <a:cubicBezTo>
                      <a:pt x="9482" y="8030"/>
                      <a:pt x="9482" y="8030"/>
                      <a:pt x="9482" y="8030"/>
                    </a:cubicBezTo>
                    <a:cubicBezTo>
                      <a:pt x="8887" y="7990"/>
                      <a:pt x="8887" y="7990"/>
                      <a:pt x="8887" y="7990"/>
                    </a:cubicBezTo>
                    <a:cubicBezTo>
                      <a:pt x="8879" y="7990"/>
                      <a:pt x="8819" y="7992"/>
                      <a:pt x="8759" y="8020"/>
                    </a:cubicBezTo>
                    <a:cubicBezTo>
                      <a:pt x="8699" y="8050"/>
                      <a:pt x="8640" y="8101"/>
                      <a:pt x="8627" y="8214"/>
                    </a:cubicBezTo>
                    <a:cubicBezTo>
                      <a:pt x="8625" y="8235"/>
                      <a:pt x="8620" y="8442"/>
                      <a:pt x="8616" y="8651"/>
                    </a:cubicBezTo>
                    <a:cubicBezTo>
                      <a:pt x="8665" y="8662"/>
                      <a:pt x="8765" y="8687"/>
                      <a:pt x="8866" y="8712"/>
                    </a:cubicBezTo>
                    <a:cubicBezTo>
                      <a:pt x="8992" y="8743"/>
                      <a:pt x="9116" y="8774"/>
                      <a:pt x="9135" y="8778"/>
                    </a:cubicBezTo>
                    <a:cubicBezTo>
                      <a:pt x="9141" y="8776"/>
                      <a:pt x="9141" y="8776"/>
                      <a:pt x="9141" y="8776"/>
                    </a:cubicBezTo>
                    <a:lnTo>
                      <a:pt x="9139" y="8775"/>
                    </a:lnTo>
                    <a:close/>
                    <a:moveTo>
                      <a:pt x="9526" y="8596"/>
                    </a:moveTo>
                    <a:cubicBezTo>
                      <a:pt x="10130" y="8787"/>
                      <a:pt x="10130" y="8787"/>
                      <a:pt x="10130" y="8787"/>
                    </a:cubicBezTo>
                    <a:cubicBezTo>
                      <a:pt x="10144" y="8764"/>
                      <a:pt x="10210" y="8653"/>
                      <a:pt x="10277" y="8542"/>
                    </a:cubicBezTo>
                    <a:cubicBezTo>
                      <a:pt x="10315" y="8479"/>
                      <a:pt x="10352" y="8416"/>
                      <a:pt x="10381" y="8369"/>
                    </a:cubicBezTo>
                    <a:cubicBezTo>
                      <a:pt x="10394" y="8349"/>
                      <a:pt x="10404" y="8332"/>
                      <a:pt x="10412" y="8319"/>
                    </a:cubicBezTo>
                    <a:cubicBezTo>
                      <a:pt x="10278" y="8216"/>
                      <a:pt x="10124" y="8099"/>
                      <a:pt x="10088" y="8071"/>
                    </a:cubicBezTo>
                    <a:cubicBezTo>
                      <a:pt x="9496" y="8031"/>
                      <a:pt x="9496" y="8031"/>
                      <a:pt x="9496" y="8031"/>
                    </a:cubicBezTo>
                    <a:lnTo>
                      <a:pt x="9526" y="8596"/>
                    </a:lnTo>
                    <a:close/>
                    <a:moveTo>
                      <a:pt x="10142" y="8795"/>
                    </a:moveTo>
                    <a:cubicBezTo>
                      <a:pt x="10494" y="9172"/>
                      <a:pt x="10494" y="9172"/>
                      <a:pt x="10494" y="9172"/>
                    </a:cubicBezTo>
                    <a:cubicBezTo>
                      <a:pt x="10875" y="9334"/>
                      <a:pt x="10875" y="9334"/>
                      <a:pt x="10875" y="9334"/>
                    </a:cubicBezTo>
                    <a:cubicBezTo>
                      <a:pt x="10982" y="9251"/>
                      <a:pt x="11084" y="9171"/>
                      <a:pt x="11166" y="9107"/>
                    </a:cubicBezTo>
                    <a:cubicBezTo>
                      <a:pt x="11224" y="9062"/>
                      <a:pt x="11273" y="9025"/>
                      <a:pt x="11307" y="8998"/>
                    </a:cubicBezTo>
                    <a:cubicBezTo>
                      <a:pt x="11315" y="8992"/>
                      <a:pt x="11322" y="8987"/>
                      <a:pt x="11328" y="8982"/>
                    </a:cubicBezTo>
                    <a:cubicBezTo>
                      <a:pt x="11322" y="8977"/>
                      <a:pt x="11316" y="8972"/>
                      <a:pt x="11309" y="8968"/>
                    </a:cubicBezTo>
                    <a:cubicBezTo>
                      <a:pt x="11016" y="8756"/>
                      <a:pt x="10673" y="8519"/>
                      <a:pt x="10513" y="8396"/>
                    </a:cubicBezTo>
                    <a:cubicBezTo>
                      <a:pt x="10485" y="8375"/>
                      <a:pt x="10455" y="8352"/>
                      <a:pt x="10423" y="8327"/>
                    </a:cubicBezTo>
                    <a:cubicBezTo>
                      <a:pt x="10395" y="8373"/>
                      <a:pt x="10339" y="8465"/>
                      <a:pt x="10285" y="8555"/>
                    </a:cubicBezTo>
                    <a:cubicBezTo>
                      <a:pt x="10220" y="8665"/>
                      <a:pt x="10156" y="8772"/>
                      <a:pt x="10142" y="8795"/>
                    </a:cubicBezTo>
                    <a:close/>
                    <a:moveTo>
                      <a:pt x="8759" y="6550"/>
                    </a:moveTo>
                    <a:cubicBezTo>
                      <a:pt x="8671" y="6562"/>
                      <a:pt x="8671" y="6562"/>
                      <a:pt x="8671" y="6562"/>
                    </a:cubicBezTo>
                    <a:cubicBezTo>
                      <a:pt x="7829" y="6596"/>
                      <a:pt x="7829" y="6596"/>
                      <a:pt x="7829" y="6596"/>
                    </a:cubicBezTo>
                    <a:cubicBezTo>
                      <a:pt x="7813" y="6675"/>
                      <a:pt x="7802" y="6832"/>
                      <a:pt x="7795" y="6969"/>
                    </a:cubicBezTo>
                    <a:cubicBezTo>
                      <a:pt x="7791" y="7041"/>
                      <a:pt x="7788" y="7108"/>
                      <a:pt x="7785" y="7158"/>
                    </a:cubicBezTo>
                    <a:cubicBezTo>
                      <a:pt x="7783" y="7182"/>
                      <a:pt x="7782" y="7203"/>
                      <a:pt x="7780" y="7218"/>
                    </a:cubicBezTo>
                    <a:cubicBezTo>
                      <a:pt x="7780" y="7220"/>
                      <a:pt x="7779" y="7221"/>
                      <a:pt x="7779" y="7223"/>
                    </a:cubicBezTo>
                    <a:cubicBezTo>
                      <a:pt x="7788" y="7230"/>
                      <a:pt x="7802" y="7240"/>
                      <a:pt x="7817" y="7251"/>
                    </a:cubicBezTo>
                    <a:cubicBezTo>
                      <a:pt x="7925" y="7328"/>
                      <a:pt x="8170" y="7499"/>
                      <a:pt x="8388" y="7651"/>
                    </a:cubicBezTo>
                    <a:cubicBezTo>
                      <a:pt x="8606" y="7802"/>
                      <a:pt x="8796" y="7934"/>
                      <a:pt x="8797" y="7935"/>
                    </a:cubicBezTo>
                    <a:cubicBezTo>
                      <a:pt x="8794" y="7938"/>
                      <a:pt x="8794" y="7938"/>
                      <a:pt x="8794" y="7938"/>
                    </a:cubicBezTo>
                    <a:cubicBezTo>
                      <a:pt x="8842" y="7925"/>
                      <a:pt x="8880" y="7925"/>
                      <a:pt x="8887" y="7925"/>
                    </a:cubicBezTo>
                    <a:cubicBezTo>
                      <a:pt x="8889" y="7925"/>
                      <a:pt x="8890" y="7925"/>
                      <a:pt x="8890" y="7925"/>
                    </a:cubicBezTo>
                    <a:cubicBezTo>
                      <a:pt x="10081" y="8005"/>
                      <a:pt x="10081" y="8005"/>
                      <a:pt x="10081" y="8005"/>
                    </a:cubicBezTo>
                    <a:cubicBezTo>
                      <a:pt x="10082" y="7977"/>
                      <a:pt x="10082" y="7914"/>
                      <a:pt x="10082" y="7835"/>
                    </a:cubicBezTo>
                    <a:cubicBezTo>
                      <a:pt x="10082" y="7661"/>
                      <a:pt x="10081" y="7399"/>
                      <a:pt x="10079" y="7180"/>
                    </a:cubicBezTo>
                    <a:cubicBezTo>
                      <a:pt x="10077" y="6972"/>
                      <a:pt x="10076" y="6804"/>
                      <a:pt x="10075" y="6788"/>
                    </a:cubicBezTo>
                    <a:cubicBezTo>
                      <a:pt x="10075" y="6787"/>
                      <a:pt x="10075" y="6785"/>
                      <a:pt x="10074" y="6781"/>
                    </a:cubicBezTo>
                    <a:cubicBezTo>
                      <a:pt x="10071" y="6760"/>
                      <a:pt x="10058" y="6706"/>
                      <a:pt x="10015" y="6658"/>
                    </a:cubicBezTo>
                    <a:cubicBezTo>
                      <a:pt x="9972" y="6611"/>
                      <a:pt x="9901" y="6566"/>
                      <a:pt x="9768" y="6566"/>
                    </a:cubicBezTo>
                    <a:cubicBezTo>
                      <a:pt x="9764" y="6566"/>
                      <a:pt x="9759" y="6566"/>
                      <a:pt x="9754" y="6566"/>
                    </a:cubicBezTo>
                    <a:cubicBezTo>
                      <a:pt x="9706" y="6567"/>
                      <a:pt x="9651" y="6568"/>
                      <a:pt x="9593" y="6568"/>
                    </a:cubicBezTo>
                    <a:cubicBezTo>
                      <a:pt x="9258" y="6568"/>
                      <a:pt x="8801" y="6551"/>
                      <a:pt x="8759" y="6550"/>
                    </a:cubicBezTo>
                    <a:close/>
                    <a:moveTo>
                      <a:pt x="7542" y="8753"/>
                    </a:moveTo>
                    <a:cubicBezTo>
                      <a:pt x="7542" y="8759"/>
                      <a:pt x="7542" y="8759"/>
                      <a:pt x="7542" y="8759"/>
                    </a:cubicBezTo>
                    <a:cubicBezTo>
                      <a:pt x="7545" y="8752"/>
                      <a:pt x="7548" y="8746"/>
                      <a:pt x="7551" y="8740"/>
                    </a:cubicBezTo>
                    <a:cubicBezTo>
                      <a:pt x="7540" y="8727"/>
                      <a:pt x="7499" y="8666"/>
                      <a:pt x="7452" y="8595"/>
                    </a:cubicBezTo>
                    <a:cubicBezTo>
                      <a:pt x="7451" y="8684"/>
                      <a:pt x="7451" y="8684"/>
                      <a:pt x="7451" y="8684"/>
                    </a:cubicBezTo>
                    <a:cubicBezTo>
                      <a:pt x="7329" y="8684"/>
                      <a:pt x="7329" y="8684"/>
                      <a:pt x="7329" y="8684"/>
                    </a:cubicBezTo>
                    <a:cubicBezTo>
                      <a:pt x="7327" y="8502"/>
                      <a:pt x="7327" y="8502"/>
                      <a:pt x="7327" y="8502"/>
                    </a:cubicBezTo>
                    <a:cubicBezTo>
                      <a:pt x="7391" y="8501"/>
                      <a:pt x="7391" y="8501"/>
                      <a:pt x="7391" y="8501"/>
                    </a:cubicBezTo>
                    <a:cubicBezTo>
                      <a:pt x="7346" y="8433"/>
                      <a:pt x="7307" y="8373"/>
                      <a:pt x="7297" y="8357"/>
                    </a:cubicBezTo>
                    <a:cubicBezTo>
                      <a:pt x="7274" y="8363"/>
                      <a:pt x="7185" y="8383"/>
                      <a:pt x="7181" y="8384"/>
                    </a:cubicBezTo>
                    <a:cubicBezTo>
                      <a:pt x="7226" y="8744"/>
                      <a:pt x="7226" y="8744"/>
                      <a:pt x="7226" y="8744"/>
                    </a:cubicBezTo>
                    <a:lnTo>
                      <a:pt x="7542" y="8753"/>
                    </a:lnTo>
                    <a:close/>
                    <a:moveTo>
                      <a:pt x="6502" y="9863"/>
                    </a:moveTo>
                    <a:cubicBezTo>
                      <a:pt x="6502" y="9866"/>
                      <a:pt x="6502" y="9866"/>
                      <a:pt x="6502" y="9866"/>
                    </a:cubicBezTo>
                    <a:cubicBezTo>
                      <a:pt x="6501" y="9863"/>
                      <a:pt x="6501" y="9863"/>
                      <a:pt x="6501" y="9863"/>
                    </a:cubicBezTo>
                    <a:cubicBezTo>
                      <a:pt x="6503" y="9870"/>
                      <a:pt x="6503" y="9870"/>
                      <a:pt x="6503" y="9870"/>
                    </a:cubicBezTo>
                    <a:cubicBezTo>
                      <a:pt x="6506" y="9850"/>
                      <a:pt x="6510" y="9831"/>
                      <a:pt x="6513" y="9815"/>
                    </a:cubicBezTo>
                    <a:cubicBezTo>
                      <a:pt x="6516" y="9799"/>
                      <a:pt x="6519" y="9785"/>
                      <a:pt x="6521" y="9775"/>
                    </a:cubicBezTo>
                    <a:cubicBezTo>
                      <a:pt x="6522" y="9770"/>
                      <a:pt x="6523" y="9766"/>
                      <a:pt x="6523" y="9764"/>
                    </a:cubicBezTo>
                    <a:cubicBezTo>
                      <a:pt x="6523" y="9763"/>
                      <a:pt x="6523" y="9763"/>
                      <a:pt x="6523" y="9763"/>
                    </a:cubicBezTo>
                    <a:cubicBezTo>
                      <a:pt x="6220" y="9493"/>
                      <a:pt x="6220" y="9493"/>
                      <a:pt x="6220" y="9493"/>
                    </a:cubicBezTo>
                    <a:cubicBezTo>
                      <a:pt x="6164" y="9529"/>
                      <a:pt x="6100" y="9537"/>
                      <a:pt x="6058" y="9537"/>
                    </a:cubicBezTo>
                    <a:cubicBezTo>
                      <a:pt x="6056" y="9537"/>
                      <a:pt x="6054" y="9537"/>
                      <a:pt x="6052" y="9537"/>
                    </a:cubicBezTo>
                    <a:cubicBezTo>
                      <a:pt x="6053" y="9577"/>
                      <a:pt x="6054" y="9639"/>
                      <a:pt x="6054" y="9709"/>
                    </a:cubicBezTo>
                    <a:cubicBezTo>
                      <a:pt x="6054" y="9750"/>
                      <a:pt x="6054" y="9795"/>
                      <a:pt x="6053" y="9840"/>
                    </a:cubicBezTo>
                    <a:cubicBezTo>
                      <a:pt x="6241" y="9850"/>
                      <a:pt x="6241" y="9850"/>
                      <a:pt x="6241" y="9850"/>
                    </a:cubicBezTo>
                    <a:cubicBezTo>
                      <a:pt x="6250" y="9845"/>
                      <a:pt x="6294" y="9819"/>
                      <a:pt x="6299" y="9816"/>
                    </a:cubicBezTo>
                    <a:cubicBezTo>
                      <a:pt x="6300" y="9815"/>
                      <a:pt x="6302" y="9815"/>
                      <a:pt x="6302" y="9815"/>
                    </a:cubicBezTo>
                    <a:cubicBezTo>
                      <a:pt x="6302" y="9815"/>
                      <a:pt x="6302" y="9815"/>
                      <a:pt x="6302" y="9815"/>
                    </a:cubicBezTo>
                    <a:cubicBezTo>
                      <a:pt x="6311" y="9816"/>
                      <a:pt x="6355" y="9827"/>
                      <a:pt x="6402" y="9839"/>
                    </a:cubicBezTo>
                    <a:cubicBezTo>
                      <a:pt x="6448" y="9851"/>
                      <a:pt x="6497" y="9863"/>
                      <a:pt x="6502" y="9863"/>
                    </a:cubicBezTo>
                    <a:cubicBezTo>
                      <a:pt x="6502" y="9863"/>
                      <a:pt x="6502" y="9863"/>
                      <a:pt x="6502" y="9863"/>
                    </a:cubicBezTo>
                    <a:close/>
                    <a:moveTo>
                      <a:pt x="4829" y="8647"/>
                    </a:moveTo>
                    <a:cubicBezTo>
                      <a:pt x="4820" y="8905"/>
                      <a:pt x="4820" y="8905"/>
                      <a:pt x="4820" y="8905"/>
                    </a:cubicBezTo>
                    <a:cubicBezTo>
                      <a:pt x="5106" y="8903"/>
                      <a:pt x="5106" y="8903"/>
                      <a:pt x="5106" y="8903"/>
                    </a:cubicBezTo>
                    <a:cubicBezTo>
                      <a:pt x="5129" y="8467"/>
                      <a:pt x="5129" y="8467"/>
                      <a:pt x="5129" y="8467"/>
                    </a:cubicBezTo>
                    <a:cubicBezTo>
                      <a:pt x="5134" y="8465"/>
                      <a:pt x="5134" y="8465"/>
                      <a:pt x="5134" y="8465"/>
                    </a:cubicBezTo>
                    <a:cubicBezTo>
                      <a:pt x="5134" y="8465"/>
                      <a:pt x="5318" y="8410"/>
                      <a:pt x="5491" y="8358"/>
                    </a:cubicBezTo>
                    <a:cubicBezTo>
                      <a:pt x="5491" y="7986"/>
                      <a:pt x="5491" y="7986"/>
                      <a:pt x="5491" y="7986"/>
                    </a:cubicBezTo>
                    <a:cubicBezTo>
                      <a:pt x="5442" y="7642"/>
                      <a:pt x="5442" y="7642"/>
                      <a:pt x="5442" y="7642"/>
                    </a:cubicBezTo>
                    <a:cubicBezTo>
                      <a:pt x="5054" y="7920"/>
                      <a:pt x="5054" y="7920"/>
                      <a:pt x="5054" y="7920"/>
                    </a:cubicBezTo>
                    <a:cubicBezTo>
                      <a:pt x="5053" y="7920"/>
                      <a:pt x="4948" y="7978"/>
                      <a:pt x="4819" y="8050"/>
                    </a:cubicBezTo>
                    <a:cubicBezTo>
                      <a:pt x="4819" y="8053"/>
                      <a:pt x="4828" y="8090"/>
                      <a:pt x="4838" y="8127"/>
                    </a:cubicBezTo>
                    <a:cubicBezTo>
                      <a:pt x="4843" y="8146"/>
                      <a:pt x="4848" y="8165"/>
                      <a:pt x="4852" y="8179"/>
                    </a:cubicBezTo>
                    <a:cubicBezTo>
                      <a:pt x="4854" y="8186"/>
                      <a:pt x="4856" y="8192"/>
                      <a:pt x="4858" y="8196"/>
                    </a:cubicBezTo>
                    <a:cubicBezTo>
                      <a:pt x="4858" y="8198"/>
                      <a:pt x="4859" y="8199"/>
                      <a:pt x="4859" y="8200"/>
                    </a:cubicBezTo>
                    <a:cubicBezTo>
                      <a:pt x="4861" y="8201"/>
                      <a:pt x="4862" y="8203"/>
                      <a:pt x="4862" y="8205"/>
                    </a:cubicBezTo>
                    <a:cubicBezTo>
                      <a:pt x="4861" y="8212"/>
                      <a:pt x="4860" y="8210"/>
                      <a:pt x="4859" y="8211"/>
                    </a:cubicBezTo>
                    <a:cubicBezTo>
                      <a:pt x="4847" y="8222"/>
                      <a:pt x="4701" y="8311"/>
                      <a:pt x="4674" y="8328"/>
                    </a:cubicBezTo>
                    <a:cubicBezTo>
                      <a:pt x="4730" y="8626"/>
                      <a:pt x="4730" y="8626"/>
                      <a:pt x="4730" y="8626"/>
                    </a:cubicBezTo>
                    <a:lnTo>
                      <a:pt x="4829" y="8647"/>
                    </a:lnTo>
                    <a:close/>
                    <a:moveTo>
                      <a:pt x="4424" y="9711"/>
                    </a:moveTo>
                    <a:cubicBezTo>
                      <a:pt x="4424" y="9636"/>
                      <a:pt x="4439" y="9544"/>
                      <a:pt x="4494" y="9337"/>
                    </a:cubicBezTo>
                    <a:cubicBezTo>
                      <a:pt x="4508" y="9286"/>
                      <a:pt x="4513" y="9241"/>
                      <a:pt x="4513" y="9201"/>
                    </a:cubicBezTo>
                    <a:cubicBezTo>
                      <a:pt x="4513" y="9123"/>
                      <a:pt x="4493" y="9066"/>
                      <a:pt x="4474" y="9027"/>
                    </a:cubicBezTo>
                    <a:cubicBezTo>
                      <a:pt x="4467" y="9013"/>
                      <a:pt x="4460" y="9003"/>
                      <a:pt x="4454" y="8994"/>
                    </a:cubicBezTo>
                    <a:cubicBezTo>
                      <a:pt x="4416" y="9021"/>
                      <a:pt x="4355" y="9064"/>
                      <a:pt x="4293" y="9108"/>
                    </a:cubicBezTo>
                    <a:cubicBezTo>
                      <a:pt x="4244" y="9143"/>
                      <a:pt x="4194" y="9178"/>
                      <a:pt x="4156" y="9205"/>
                    </a:cubicBezTo>
                    <a:cubicBezTo>
                      <a:pt x="4138" y="9219"/>
                      <a:pt x="4122" y="9230"/>
                      <a:pt x="4111" y="9238"/>
                    </a:cubicBezTo>
                    <a:cubicBezTo>
                      <a:pt x="4105" y="9242"/>
                      <a:pt x="4101" y="9246"/>
                      <a:pt x="4098" y="9248"/>
                    </a:cubicBezTo>
                    <a:cubicBezTo>
                      <a:pt x="4098" y="9248"/>
                      <a:pt x="4098" y="9248"/>
                      <a:pt x="4098" y="9248"/>
                    </a:cubicBezTo>
                    <a:cubicBezTo>
                      <a:pt x="4096" y="9251"/>
                      <a:pt x="4095" y="9251"/>
                      <a:pt x="4094" y="9253"/>
                    </a:cubicBezTo>
                    <a:cubicBezTo>
                      <a:pt x="4088" y="9261"/>
                      <a:pt x="4074" y="9278"/>
                      <a:pt x="4059" y="9329"/>
                    </a:cubicBezTo>
                    <a:cubicBezTo>
                      <a:pt x="4044" y="9379"/>
                      <a:pt x="4030" y="9460"/>
                      <a:pt x="4028" y="9590"/>
                    </a:cubicBezTo>
                    <a:cubicBezTo>
                      <a:pt x="4028" y="9594"/>
                      <a:pt x="4028" y="9598"/>
                      <a:pt x="4028" y="9602"/>
                    </a:cubicBezTo>
                    <a:cubicBezTo>
                      <a:pt x="4028" y="9743"/>
                      <a:pt x="4062" y="9814"/>
                      <a:pt x="4105" y="9856"/>
                    </a:cubicBezTo>
                    <a:cubicBezTo>
                      <a:pt x="4149" y="9897"/>
                      <a:pt x="4211" y="9913"/>
                      <a:pt x="4279" y="9925"/>
                    </a:cubicBezTo>
                    <a:cubicBezTo>
                      <a:pt x="4324" y="9933"/>
                      <a:pt x="4378" y="9937"/>
                      <a:pt x="4435" y="9938"/>
                    </a:cubicBezTo>
                    <a:cubicBezTo>
                      <a:pt x="4433" y="9921"/>
                      <a:pt x="4432" y="9902"/>
                      <a:pt x="4432" y="9880"/>
                    </a:cubicBezTo>
                    <a:cubicBezTo>
                      <a:pt x="4430" y="9843"/>
                      <a:pt x="4430" y="9802"/>
                      <a:pt x="4427" y="9768"/>
                    </a:cubicBezTo>
                    <a:cubicBezTo>
                      <a:pt x="4425" y="9749"/>
                      <a:pt x="4424" y="9731"/>
                      <a:pt x="4424" y="9711"/>
                    </a:cubicBezTo>
                    <a:close/>
                    <a:moveTo>
                      <a:pt x="3963" y="9602"/>
                    </a:moveTo>
                    <a:cubicBezTo>
                      <a:pt x="3963" y="9598"/>
                      <a:pt x="3963" y="9594"/>
                      <a:pt x="3963" y="9590"/>
                    </a:cubicBezTo>
                    <a:cubicBezTo>
                      <a:pt x="3965" y="9436"/>
                      <a:pt x="3983" y="9344"/>
                      <a:pt x="4003" y="9287"/>
                    </a:cubicBezTo>
                    <a:cubicBezTo>
                      <a:pt x="4013" y="9259"/>
                      <a:pt x="4024" y="9239"/>
                      <a:pt x="4032" y="9226"/>
                    </a:cubicBezTo>
                    <a:cubicBezTo>
                      <a:pt x="4033" y="9225"/>
                      <a:pt x="4034" y="9224"/>
                      <a:pt x="4035" y="9222"/>
                    </a:cubicBezTo>
                    <a:cubicBezTo>
                      <a:pt x="4001" y="9212"/>
                      <a:pt x="3907" y="9183"/>
                      <a:pt x="3812" y="9153"/>
                    </a:cubicBezTo>
                    <a:cubicBezTo>
                      <a:pt x="3753" y="9135"/>
                      <a:pt x="3694" y="9116"/>
                      <a:pt x="3650" y="9102"/>
                    </a:cubicBezTo>
                    <a:cubicBezTo>
                      <a:pt x="3627" y="9095"/>
                      <a:pt x="3609" y="9089"/>
                      <a:pt x="3596" y="9084"/>
                    </a:cubicBezTo>
                    <a:cubicBezTo>
                      <a:pt x="3589" y="9082"/>
                      <a:pt x="3584" y="9081"/>
                      <a:pt x="3581" y="9079"/>
                    </a:cubicBezTo>
                    <a:cubicBezTo>
                      <a:pt x="3581" y="9079"/>
                      <a:pt x="3581" y="9079"/>
                      <a:pt x="3581" y="9079"/>
                    </a:cubicBezTo>
                    <a:cubicBezTo>
                      <a:pt x="3384" y="9406"/>
                      <a:pt x="3384" y="9406"/>
                      <a:pt x="3384" y="9406"/>
                    </a:cubicBezTo>
                    <a:cubicBezTo>
                      <a:pt x="3385" y="9406"/>
                      <a:pt x="3385" y="9406"/>
                      <a:pt x="3385" y="9407"/>
                    </a:cubicBezTo>
                    <a:cubicBezTo>
                      <a:pt x="3387" y="9410"/>
                      <a:pt x="3386" y="9412"/>
                      <a:pt x="3387" y="9414"/>
                    </a:cubicBezTo>
                    <a:cubicBezTo>
                      <a:pt x="3387" y="9414"/>
                      <a:pt x="3387" y="9414"/>
                      <a:pt x="3387" y="9414"/>
                    </a:cubicBezTo>
                    <a:cubicBezTo>
                      <a:pt x="3387" y="9415"/>
                      <a:pt x="3387" y="9416"/>
                      <a:pt x="3387" y="9417"/>
                    </a:cubicBezTo>
                    <a:cubicBezTo>
                      <a:pt x="3387" y="9417"/>
                      <a:pt x="3387" y="9417"/>
                      <a:pt x="3387" y="9418"/>
                    </a:cubicBezTo>
                    <a:cubicBezTo>
                      <a:pt x="3389" y="9434"/>
                      <a:pt x="3401" y="9517"/>
                      <a:pt x="3413" y="9594"/>
                    </a:cubicBezTo>
                    <a:cubicBezTo>
                      <a:pt x="3422" y="9659"/>
                      <a:pt x="3432" y="9722"/>
                      <a:pt x="3435" y="9742"/>
                    </a:cubicBezTo>
                    <a:cubicBezTo>
                      <a:pt x="3693" y="9697"/>
                      <a:pt x="3693" y="9697"/>
                      <a:pt x="3693" y="9697"/>
                    </a:cubicBezTo>
                    <a:cubicBezTo>
                      <a:pt x="3676" y="9371"/>
                      <a:pt x="3676" y="9371"/>
                      <a:pt x="3676" y="9371"/>
                    </a:cubicBezTo>
                    <a:cubicBezTo>
                      <a:pt x="3484" y="9248"/>
                      <a:pt x="3484" y="9248"/>
                      <a:pt x="3484" y="9248"/>
                    </a:cubicBezTo>
                    <a:cubicBezTo>
                      <a:pt x="3491" y="9237"/>
                      <a:pt x="3491" y="9237"/>
                      <a:pt x="3491" y="9237"/>
                    </a:cubicBezTo>
                    <a:cubicBezTo>
                      <a:pt x="3689" y="9364"/>
                      <a:pt x="3689" y="9364"/>
                      <a:pt x="3689" y="9364"/>
                    </a:cubicBezTo>
                    <a:cubicBezTo>
                      <a:pt x="3707" y="9695"/>
                      <a:pt x="3707" y="9695"/>
                      <a:pt x="3707" y="9695"/>
                    </a:cubicBezTo>
                    <a:cubicBezTo>
                      <a:pt x="3964" y="9651"/>
                      <a:pt x="3964" y="9651"/>
                      <a:pt x="3964" y="9651"/>
                    </a:cubicBezTo>
                    <a:cubicBezTo>
                      <a:pt x="3963" y="9635"/>
                      <a:pt x="3962" y="9619"/>
                      <a:pt x="3963" y="9602"/>
                    </a:cubicBezTo>
                    <a:close/>
                    <a:moveTo>
                      <a:pt x="3177" y="9683"/>
                    </a:moveTo>
                    <a:cubicBezTo>
                      <a:pt x="3177" y="9699"/>
                      <a:pt x="3177" y="9714"/>
                      <a:pt x="3177" y="9728"/>
                    </a:cubicBezTo>
                    <a:cubicBezTo>
                      <a:pt x="3194" y="9726"/>
                      <a:pt x="3210" y="9723"/>
                      <a:pt x="3224" y="9721"/>
                    </a:cubicBezTo>
                    <a:cubicBezTo>
                      <a:pt x="3245" y="9719"/>
                      <a:pt x="3262" y="9716"/>
                      <a:pt x="3273" y="9714"/>
                    </a:cubicBezTo>
                    <a:cubicBezTo>
                      <a:pt x="3278" y="9714"/>
                      <a:pt x="3282" y="9713"/>
                      <a:pt x="3285" y="9713"/>
                    </a:cubicBezTo>
                    <a:cubicBezTo>
                      <a:pt x="3284" y="9709"/>
                      <a:pt x="3284" y="9704"/>
                      <a:pt x="3283" y="9697"/>
                    </a:cubicBezTo>
                    <a:cubicBezTo>
                      <a:pt x="3280" y="9670"/>
                      <a:pt x="3276" y="9625"/>
                      <a:pt x="3274" y="9608"/>
                    </a:cubicBezTo>
                    <a:cubicBezTo>
                      <a:pt x="3177" y="9621"/>
                      <a:pt x="3177" y="9621"/>
                      <a:pt x="3177" y="9621"/>
                    </a:cubicBezTo>
                    <a:cubicBezTo>
                      <a:pt x="3177" y="9642"/>
                      <a:pt x="3177" y="9663"/>
                      <a:pt x="3177" y="9683"/>
                    </a:cubicBezTo>
                    <a:close/>
                    <a:moveTo>
                      <a:pt x="3177" y="9786"/>
                    </a:moveTo>
                    <a:cubicBezTo>
                      <a:pt x="3390" y="9750"/>
                      <a:pt x="3390" y="9750"/>
                      <a:pt x="3390" y="9750"/>
                    </a:cubicBezTo>
                    <a:cubicBezTo>
                      <a:pt x="3387" y="9729"/>
                      <a:pt x="3377" y="9662"/>
                      <a:pt x="3367" y="9593"/>
                    </a:cubicBezTo>
                    <a:cubicBezTo>
                      <a:pt x="3361" y="9552"/>
                      <a:pt x="3354" y="9510"/>
                      <a:pt x="3350" y="9478"/>
                    </a:cubicBezTo>
                    <a:cubicBezTo>
                      <a:pt x="3348" y="9465"/>
                      <a:pt x="3346" y="9454"/>
                      <a:pt x="3345" y="9445"/>
                    </a:cubicBezTo>
                    <a:cubicBezTo>
                      <a:pt x="3312" y="9451"/>
                      <a:pt x="3250" y="9459"/>
                      <a:pt x="3175" y="9469"/>
                    </a:cubicBezTo>
                    <a:cubicBezTo>
                      <a:pt x="3176" y="9495"/>
                      <a:pt x="3177" y="9550"/>
                      <a:pt x="3177" y="9608"/>
                    </a:cubicBezTo>
                    <a:cubicBezTo>
                      <a:pt x="3286" y="9593"/>
                      <a:pt x="3286" y="9593"/>
                      <a:pt x="3286" y="9593"/>
                    </a:cubicBezTo>
                    <a:cubicBezTo>
                      <a:pt x="3287" y="9600"/>
                      <a:pt x="3287" y="9600"/>
                      <a:pt x="3287" y="9600"/>
                    </a:cubicBezTo>
                    <a:cubicBezTo>
                      <a:pt x="3287" y="9600"/>
                      <a:pt x="3289" y="9630"/>
                      <a:pt x="3292" y="9659"/>
                    </a:cubicBezTo>
                    <a:cubicBezTo>
                      <a:pt x="3293" y="9674"/>
                      <a:pt x="3295" y="9688"/>
                      <a:pt x="3296" y="9699"/>
                    </a:cubicBezTo>
                    <a:cubicBezTo>
                      <a:pt x="3297" y="9705"/>
                      <a:pt x="3297" y="9709"/>
                      <a:pt x="3298" y="9712"/>
                    </a:cubicBezTo>
                    <a:cubicBezTo>
                      <a:pt x="3298" y="9713"/>
                      <a:pt x="3298" y="9714"/>
                      <a:pt x="3298" y="9715"/>
                    </a:cubicBezTo>
                    <a:cubicBezTo>
                      <a:pt x="3299" y="9715"/>
                      <a:pt x="3299" y="9715"/>
                      <a:pt x="3299" y="9715"/>
                    </a:cubicBezTo>
                    <a:cubicBezTo>
                      <a:pt x="3300" y="9717"/>
                      <a:pt x="3300" y="9718"/>
                      <a:pt x="3299" y="9720"/>
                    </a:cubicBezTo>
                    <a:cubicBezTo>
                      <a:pt x="3300" y="9720"/>
                      <a:pt x="3299" y="9721"/>
                      <a:pt x="3299" y="9722"/>
                    </a:cubicBezTo>
                    <a:cubicBezTo>
                      <a:pt x="3298" y="9723"/>
                      <a:pt x="3298" y="9723"/>
                      <a:pt x="3297" y="9723"/>
                    </a:cubicBezTo>
                    <a:cubicBezTo>
                      <a:pt x="3297" y="9724"/>
                      <a:pt x="3296" y="9724"/>
                      <a:pt x="3295" y="9724"/>
                    </a:cubicBezTo>
                    <a:cubicBezTo>
                      <a:pt x="3295" y="9725"/>
                      <a:pt x="3295" y="9725"/>
                      <a:pt x="3295" y="9725"/>
                    </a:cubicBezTo>
                    <a:cubicBezTo>
                      <a:pt x="3295" y="9725"/>
                      <a:pt x="3295" y="9725"/>
                      <a:pt x="3295" y="9725"/>
                    </a:cubicBezTo>
                    <a:cubicBezTo>
                      <a:pt x="3295" y="9725"/>
                      <a:pt x="3295" y="9725"/>
                      <a:pt x="3295" y="9725"/>
                    </a:cubicBezTo>
                    <a:cubicBezTo>
                      <a:pt x="3294" y="9725"/>
                      <a:pt x="3294" y="9725"/>
                      <a:pt x="3294" y="9725"/>
                    </a:cubicBezTo>
                    <a:cubicBezTo>
                      <a:pt x="3295" y="9725"/>
                      <a:pt x="3295" y="9725"/>
                      <a:pt x="3295" y="9725"/>
                    </a:cubicBezTo>
                    <a:cubicBezTo>
                      <a:pt x="3294" y="9725"/>
                      <a:pt x="3294" y="9725"/>
                      <a:pt x="3294" y="9725"/>
                    </a:cubicBezTo>
                    <a:cubicBezTo>
                      <a:pt x="3287" y="9726"/>
                      <a:pt x="3239" y="9733"/>
                      <a:pt x="3177" y="9741"/>
                    </a:cubicBezTo>
                    <a:cubicBezTo>
                      <a:pt x="3177" y="9759"/>
                      <a:pt x="3177" y="9775"/>
                      <a:pt x="3177" y="9786"/>
                    </a:cubicBezTo>
                    <a:close/>
                    <a:moveTo>
                      <a:pt x="2451" y="9618"/>
                    </a:moveTo>
                    <a:cubicBezTo>
                      <a:pt x="2452" y="9718"/>
                      <a:pt x="2452" y="9718"/>
                      <a:pt x="2452" y="9718"/>
                    </a:cubicBezTo>
                    <a:cubicBezTo>
                      <a:pt x="2557" y="9729"/>
                      <a:pt x="2557" y="9729"/>
                      <a:pt x="2557" y="9729"/>
                    </a:cubicBezTo>
                    <a:cubicBezTo>
                      <a:pt x="2556" y="9626"/>
                      <a:pt x="2556" y="9626"/>
                      <a:pt x="2556" y="9626"/>
                    </a:cubicBezTo>
                    <a:cubicBezTo>
                      <a:pt x="2530" y="9624"/>
                      <a:pt x="2492" y="9621"/>
                      <a:pt x="2451" y="9618"/>
                    </a:cubicBezTo>
                    <a:close/>
                    <a:moveTo>
                      <a:pt x="2556" y="9612"/>
                    </a:moveTo>
                    <a:cubicBezTo>
                      <a:pt x="2555" y="9575"/>
                      <a:pt x="2555" y="9575"/>
                      <a:pt x="2555" y="9575"/>
                    </a:cubicBezTo>
                    <a:cubicBezTo>
                      <a:pt x="2451" y="9577"/>
                      <a:pt x="2451" y="9577"/>
                      <a:pt x="2451" y="9577"/>
                    </a:cubicBezTo>
                    <a:cubicBezTo>
                      <a:pt x="2451" y="9604"/>
                      <a:pt x="2451" y="9604"/>
                      <a:pt x="2451" y="9604"/>
                    </a:cubicBezTo>
                    <a:cubicBezTo>
                      <a:pt x="2492" y="9607"/>
                      <a:pt x="2530" y="9610"/>
                      <a:pt x="2556" y="9612"/>
                    </a:cubicBezTo>
                    <a:close/>
                    <a:moveTo>
                      <a:pt x="2452" y="9732"/>
                    </a:moveTo>
                    <a:cubicBezTo>
                      <a:pt x="2452" y="9840"/>
                      <a:pt x="2452" y="9840"/>
                      <a:pt x="2452" y="9840"/>
                    </a:cubicBezTo>
                    <a:cubicBezTo>
                      <a:pt x="2559" y="9847"/>
                      <a:pt x="2559" y="9847"/>
                      <a:pt x="2559" y="9847"/>
                    </a:cubicBezTo>
                    <a:cubicBezTo>
                      <a:pt x="2557" y="9743"/>
                      <a:pt x="2557" y="9743"/>
                      <a:pt x="2557" y="9743"/>
                    </a:cubicBezTo>
                    <a:lnTo>
                      <a:pt x="2452" y="9732"/>
                    </a:lnTo>
                    <a:close/>
                    <a:moveTo>
                      <a:pt x="2452" y="9854"/>
                    </a:moveTo>
                    <a:cubicBezTo>
                      <a:pt x="2453" y="10013"/>
                      <a:pt x="2453" y="10013"/>
                      <a:pt x="2453" y="10013"/>
                    </a:cubicBezTo>
                    <a:cubicBezTo>
                      <a:pt x="2561" y="10031"/>
                      <a:pt x="2561" y="10031"/>
                      <a:pt x="2561" y="10031"/>
                    </a:cubicBezTo>
                    <a:cubicBezTo>
                      <a:pt x="2559" y="9861"/>
                      <a:pt x="2559" y="9861"/>
                      <a:pt x="2559" y="9861"/>
                    </a:cubicBezTo>
                    <a:lnTo>
                      <a:pt x="2452" y="9854"/>
                    </a:lnTo>
                    <a:close/>
                    <a:moveTo>
                      <a:pt x="2453" y="10028"/>
                    </a:moveTo>
                    <a:cubicBezTo>
                      <a:pt x="2454" y="10141"/>
                      <a:pt x="2454" y="10141"/>
                      <a:pt x="2454" y="10141"/>
                    </a:cubicBezTo>
                    <a:cubicBezTo>
                      <a:pt x="2562" y="10136"/>
                      <a:pt x="2562" y="10136"/>
                      <a:pt x="2562" y="10136"/>
                    </a:cubicBezTo>
                    <a:cubicBezTo>
                      <a:pt x="2561" y="10045"/>
                      <a:pt x="2561" y="10045"/>
                      <a:pt x="2561" y="10045"/>
                    </a:cubicBezTo>
                    <a:lnTo>
                      <a:pt x="2453" y="10028"/>
                    </a:lnTo>
                    <a:close/>
                    <a:moveTo>
                      <a:pt x="2568" y="9561"/>
                    </a:moveTo>
                    <a:cubicBezTo>
                      <a:pt x="2569" y="9568"/>
                      <a:pt x="2569" y="9568"/>
                      <a:pt x="2569" y="9568"/>
                    </a:cubicBezTo>
                    <a:cubicBezTo>
                      <a:pt x="2569" y="9613"/>
                      <a:pt x="2569" y="9613"/>
                      <a:pt x="2569" y="9613"/>
                    </a:cubicBezTo>
                    <a:cubicBezTo>
                      <a:pt x="2570" y="9613"/>
                      <a:pt x="2572" y="9613"/>
                      <a:pt x="2573" y="9613"/>
                    </a:cubicBezTo>
                    <a:cubicBezTo>
                      <a:pt x="2573" y="9592"/>
                      <a:pt x="2572" y="9571"/>
                      <a:pt x="2572" y="9550"/>
                    </a:cubicBezTo>
                    <a:cubicBezTo>
                      <a:pt x="2545" y="9550"/>
                      <a:pt x="2503" y="9548"/>
                      <a:pt x="2457" y="9546"/>
                    </a:cubicBezTo>
                    <a:cubicBezTo>
                      <a:pt x="2379" y="9540"/>
                      <a:pt x="2294" y="9532"/>
                      <a:pt x="2238" y="9510"/>
                    </a:cubicBezTo>
                    <a:cubicBezTo>
                      <a:pt x="2232" y="9588"/>
                      <a:pt x="2232" y="9588"/>
                      <a:pt x="2232" y="9588"/>
                    </a:cubicBezTo>
                    <a:cubicBezTo>
                      <a:pt x="2250" y="9589"/>
                      <a:pt x="2348" y="9596"/>
                      <a:pt x="2438" y="9603"/>
                    </a:cubicBezTo>
                    <a:cubicBezTo>
                      <a:pt x="2438" y="9564"/>
                      <a:pt x="2438" y="9564"/>
                      <a:pt x="2438" y="9564"/>
                    </a:cubicBezTo>
                    <a:lnTo>
                      <a:pt x="2568" y="9561"/>
                    </a:lnTo>
                    <a:close/>
                    <a:moveTo>
                      <a:pt x="2185" y="9983"/>
                    </a:moveTo>
                    <a:cubicBezTo>
                      <a:pt x="2187" y="9969"/>
                      <a:pt x="2187" y="9969"/>
                      <a:pt x="2187" y="9969"/>
                    </a:cubicBezTo>
                    <a:cubicBezTo>
                      <a:pt x="2187" y="9969"/>
                      <a:pt x="2187" y="9969"/>
                      <a:pt x="2187" y="9969"/>
                    </a:cubicBezTo>
                    <a:cubicBezTo>
                      <a:pt x="2224" y="9505"/>
                      <a:pt x="2224" y="9505"/>
                      <a:pt x="2224" y="9505"/>
                    </a:cubicBezTo>
                    <a:cubicBezTo>
                      <a:pt x="2180" y="9483"/>
                      <a:pt x="2130" y="9445"/>
                      <a:pt x="2082" y="9404"/>
                    </a:cubicBezTo>
                    <a:cubicBezTo>
                      <a:pt x="2070" y="9442"/>
                      <a:pt x="2046" y="9520"/>
                      <a:pt x="2023" y="9596"/>
                    </a:cubicBezTo>
                    <a:cubicBezTo>
                      <a:pt x="2007" y="9647"/>
                      <a:pt x="1992" y="9698"/>
                      <a:pt x="1980" y="9736"/>
                    </a:cubicBezTo>
                    <a:cubicBezTo>
                      <a:pt x="1974" y="9755"/>
                      <a:pt x="1969" y="9770"/>
                      <a:pt x="1965" y="9781"/>
                    </a:cubicBezTo>
                    <a:cubicBezTo>
                      <a:pt x="1963" y="9787"/>
                      <a:pt x="1961" y="9791"/>
                      <a:pt x="1960" y="9795"/>
                    </a:cubicBezTo>
                    <a:cubicBezTo>
                      <a:pt x="1959" y="9796"/>
                      <a:pt x="1959" y="9797"/>
                      <a:pt x="1958" y="9798"/>
                    </a:cubicBezTo>
                    <a:cubicBezTo>
                      <a:pt x="1958" y="9799"/>
                      <a:pt x="1958" y="9800"/>
                      <a:pt x="1957" y="9800"/>
                    </a:cubicBezTo>
                    <a:cubicBezTo>
                      <a:pt x="1957" y="9801"/>
                      <a:pt x="1957" y="9802"/>
                      <a:pt x="1954" y="9803"/>
                    </a:cubicBezTo>
                    <a:cubicBezTo>
                      <a:pt x="1952" y="9804"/>
                      <a:pt x="1952" y="9804"/>
                      <a:pt x="1952" y="9804"/>
                    </a:cubicBezTo>
                    <a:cubicBezTo>
                      <a:pt x="1943" y="9810"/>
                      <a:pt x="1913" y="9839"/>
                      <a:pt x="1886" y="9867"/>
                    </a:cubicBezTo>
                    <a:cubicBezTo>
                      <a:pt x="1867" y="9885"/>
                      <a:pt x="1849" y="9903"/>
                      <a:pt x="1838" y="9915"/>
                    </a:cubicBezTo>
                    <a:cubicBezTo>
                      <a:pt x="1850" y="9929"/>
                      <a:pt x="1861" y="9944"/>
                      <a:pt x="1870" y="9962"/>
                    </a:cubicBezTo>
                    <a:cubicBezTo>
                      <a:pt x="1885" y="9992"/>
                      <a:pt x="1895" y="10023"/>
                      <a:pt x="1903" y="10047"/>
                    </a:cubicBezTo>
                    <a:cubicBezTo>
                      <a:pt x="1906" y="10059"/>
                      <a:pt x="1909" y="10069"/>
                      <a:pt x="1911" y="10074"/>
                    </a:cubicBezTo>
                    <a:cubicBezTo>
                      <a:pt x="1912" y="10077"/>
                      <a:pt x="1913" y="10078"/>
                      <a:pt x="1913" y="10078"/>
                    </a:cubicBezTo>
                    <a:cubicBezTo>
                      <a:pt x="2174" y="10126"/>
                      <a:pt x="2174" y="10126"/>
                      <a:pt x="2174" y="10126"/>
                    </a:cubicBezTo>
                    <a:cubicBezTo>
                      <a:pt x="2186" y="9983"/>
                      <a:pt x="2186" y="9983"/>
                      <a:pt x="2186" y="9983"/>
                    </a:cubicBezTo>
                    <a:lnTo>
                      <a:pt x="2185" y="9983"/>
                    </a:lnTo>
                    <a:close/>
                    <a:moveTo>
                      <a:pt x="1346" y="9455"/>
                    </a:moveTo>
                    <a:cubicBezTo>
                      <a:pt x="1346" y="9455"/>
                      <a:pt x="1346" y="9455"/>
                      <a:pt x="1346" y="9455"/>
                    </a:cubicBezTo>
                    <a:cubicBezTo>
                      <a:pt x="1346" y="9455"/>
                      <a:pt x="1292" y="9413"/>
                      <a:pt x="1238" y="9370"/>
                    </a:cubicBezTo>
                    <a:cubicBezTo>
                      <a:pt x="1211" y="9348"/>
                      <a:pt x="1184" y="9326"/>
                      <a:pt x="1164" y="9309"/>
                    </a:cubicBezTo>
                    <a:cubicBezTo>
                      <a:pt x="1154" y="9300"/>
                      <a:pt x="1145" y="9292"/>
                      <a:pt x="1139" y="9286"/>
                    </a:cubicBezTo>
                    <a:cubicBezTo>
                      <a:pt x="1136" y="9284"/>
                      <a:pt x="1134" y="9281"/>
                      <a:pt x="1132" y="9279"/>
                    </a:cubicBezTo>
                    <a:cubicBezTo>
                      <a:pt x="1132" y="9278"/>
                      <a:pt x="1131" y="9278"/>
                      <a:pt x="1131" y="9278"/>
                    </a:cubicBezTo>
                    <a:cubicBezTo>
                      <a:pt x="1121" y="9279"/>
                      <a:pt x="1100" y="9281"/>
                      <a:pt x="1070" y="9283"/>
                    </a:cubicBezTo>
                    <a:cubicBezTo>
                      <a:pt x="1035" y="9286"/>
                      <a:pt x="990" y="9290"/>
                      <a:pt x="944" y="9294"/>
                    </a:cubicBezTo>
                    <a:cubicBezTo>
                      <a:pt x="980" y="9501"/>
                      <a:pt x="980" y="9501"/>
                      <a:pt x="980" y="9501"/>
                    </a:cubicBezTo>
                    <a:cubicBezTo>
                      <a:pt x="978" y="9501"/>
                      <a:pt x="978" y="9501"/>
                      <a:pt x="978" y="9501"/>
                    </a:cubicBezTo>
                    <a:cubicBezTo>
                      <a:pt x="1289" y="9532"/>
                      <a:pt x="1289" y="9532"/>
                      <a:pt x="1289" y="9532"/>
                    </a:cubicBezTo>
                    <a:cubicBezTo>
                      <a:pt x="1298" y="9510"/>
                      <a:pt x="1312" y="9496"/>
                      <a:pt x="1318" y="9490"/>
                    </a:cubicBezTo>
                    <a:cubicBezTo>
                      <a:pt x="1686" y="9038"/>
                      <a:pt x="1686" y="9038"/>
                      <a:pt x="1686" y="9038"/>
                    </a:cubicBezTo>
                    <a:cubicBezTo>
                      <a:pt x="1626" y="8982"/>
                      <a:pt x="1570" y="8929"/>
                      <a:pt x="1537" y="8898"/>
                    </a:cubicBezTo>
                    <a:cubicBezTo>
                      <a:pt x="1497" y="8953"/>
                      <a:pt x="1320" y="9162"/>
                      <a:pt x="1320" y="9162"/>
                    </a:cubicBezTo>
                    <a:cubicBezTo>
                      <a:pt x="1317" y="9166"/>
                      <a:pt x="1317" y="9166"/>
                      <a:pt x="1317" y="9166"/>
                    </a:cubicBezTo>
                    <a:cubicBezTo>
                      <a:pt x="1235" y="9129"/>
                      <a:pt x="1235" y="9129"/>
                      <a:pt x="1235" y="9129"/>
                    </a:cubicBezTo>
                    <a:cubicBezTo>
                      <a:pt x="1228" y="9141"/>
                      <a:pt x="1211" y="9169"/>
                      <a:pt x="1193" y="9198"/>
                    </a:cubicBezTo>
                    <a:cubicBezTo>
                      <a:pt x="1181" y="9216"/>
                      <a:pt x="1169" y="9235"/>
                      <a:pt x="1159" y="9249"/>
                    </a:cubicBezTo>
                    <a:cubicBezTo>
                      <a:pt x="1155" y="9256"/>
                      <a:pt x="1151" y="9263"/>
                      <a:pt x="1147" y="9267"/>
                    </a:cubicBezTo>
                    <a:cubicBezTo>
                      <a:pt x="1146" y="9269"/>
                      <a:pt x="1145" y="9270"/>
                      <a:pt x="1144" y="9271"/>
                    </a:cubicBezTo>
                    <a:cubicBezTo>
                      <a:pt x="1155" y="9284"/>
                      <a:pt x="1205" y="9325"/>
                      <a:pt x="1252" y="9363"/>
                    </a:cubicBezTo>
                    <a:cubicBezTo>
                      <a:pt x="1304" y="9405"/>
                      <a:pt x="1354" y="9444"/>
                      <a:pt x="1354" y="9444"/>
                    </a:cubicBezTo>
                    <a:lnTo>
                      <a:pt x="1346" y="9455"/>
                    </a:lnTo>
                    <a:close/>
                    <a:moveTo>
                      <a:pt x="1165" y="8479"/>
                    </a:moveTo>
                    <a:cubicBezTo>
                      <a:pt x="1171" y="8483"/>
                      <a:pt x="1177" y="8488"/>
                      <a:pt x="1182" y="8493"/>
                    </a:cubicBezTo>
                    <a:cubicBezTo>
                      <a:pt x="1218" y="8523"/>
                      <a:pt x="1248" y="8550"/>
                      <a:pt x="1261" y="8562"/>
                    </a:cubicBezTo>
                    <a:cubicBezTo>
                      <a:pt x="1269" y="8564"/>
                      <a:pt x="1269" y="8564"/>
                      <a:pt x="1269" y="8564"/>
                    </a:cubicBezTo>
                    <a:cubicBezTo>
                      <a:pt x="1269" y="8564"/>
                      <a:pt x="1276" y="8578"/>
                      <a:pt x="1305" y="8602"/>
                    </a:cubicBezTo>
                    <a:cubicBezTo>
                      <a:pt x="1306" y="8603"/>
                      <a:pt x="1308" y="8605"/>
                      <a:pt x="1310" y="8607"/>
                    </a:cubicBezTo>
                    <a:cubicBezTo>
                      <a:pt x="1374" y="8529"/>
                      <a:pt x="1374" y="8529"/>
                      <a:pt x="1374" y="8529"/>
                    </a:cubicBezTo>
                    <a:cubicBezTo>
                      <a:pt x="923" y="8130"/>
                      <a:pt x="923" y="8130"/>
                      <a:pt x="923" y="8130"/>
                    </a:cubicBezTo>
                    <a:cubicBezTo>
                      <a:pt x="905" y="8198"/>
                      <a:pt x="905" y="8198"/>
                      <a:pt x="905" y="8198"/>
                    </a:cubicBezTo>
                    <a:cubicBezTo>
                      <a:pt x="692" y="8113"/>
                      <a:pt x="692" y="8113"/>
                      <a:pt x="692" y="8113"/>
                    </a:cubicBezTo>
                    <a:cubicBezTo>
                      <a:pt x="760" y="7843"/>
                      <a:pt x="760" y="7843"/>
                      <a:pt x="760" y="7843"/>
                    </a:cubicBezTo>
                    <a:cubicBezTo>
                      <a:pt x="604" y="7738"/>
                      <a:pt x="604" y="7738"/>
                      <a:pt x="604" y="7738"/>
                    </a:cubicBezTo>
                    <a:cubicBezTo>
                      <a:pt x="597" y="7750"/>
                      <a:pt x="590" y="7762"/>
                      <a:pt x="583" y="7772"/>
                    </a:cubicBezTo>
                    <a:cubicBezTo>
                      <a:pt x="562" y="7802"/>
                      <a:pt x="470" y="7923"/>
                      <a:pt x="372" y="8051"/>
                    </a:cubicBezTo>
                    <a:cubicBezTo>
                      <a:pt x="372" y="8053"/>
                      <a:pt x="372" y="8055"/>
                      <a:pt x="372" y="8057"/>
                    </a:cubicBezTo>
                    <a:cubicBezTo>
                      <a:pt x="372" y="8100"/>
                      <a:pt x="383" y="8127"/>
                      <a:pt x="403" y="8132"/>
                    </a:cubicBezTo>
                    <a:cubicBezTo>
                      <a:pt x="494" y="8160"/>
                      <a:pt x="759" y="8191"/>
                      <a:pt x="864" y="8238"/>
                    </a:cubicBezTo>
                    <a:cubicBezTo>
                      <a:pt x="906" y="8256"/>
                      <a:pt x="982" y="8296"/>
                      <a:pt x="1048" y="8345"/>
                    </a:cubicBezTo>
                    <a:cubicBezTo>
                      <a:pt x="1101" y="8385"/>
                      <a:pt x="1148" y="8430"/>
                      <a:pt x="1165" y="8479"/>
                    </a:cubicBezTo>
                    <a:close/>
                    <a:moveTo>
                      <a:pt x="1033" y="8365"/>
                    </a:moveTo>
                    <a:cubicBezTo>
                      <a:pt x="969" y="8317"/>
                      <a:pt x="894" y="8278"/>
                      <a:pt x="854" y="8260"/>
                    </a:cubicBezTo>
                    <a:cubicBezTo>
                      <a:pt x="756" y="8216"/>
                      <a:pt x="491" y="8184"/>
                      <a:pt x="396" y="8156"/>
                    </a:cubicBezTo>
                    <a:cubicBezTo>
                      <a:pt x="365" y="8146"/>
                      <a:pt x="352" y="8116"/>
                      <a:pt x="349" y="8081"/>
                    </a:cubicBezTo>
                    <a:cubicBezTo>
                      <a:pt x="325" y="8112"/>
                      <a:pt x="302" y="8142"/>
                      <a:pt x="279" y="8171"/>
                    </a:cubicBezTo>
                    <a:cubicBezTo>
                      <a:pt x="307" y="8175"/>
                      <a:pt x="346" y="8180"/>
                      <a:pt x="395" y="8187"/>
                    </a:cubicBezTo>
                    <a:cubicBezTo>
                      <a:pt x="513" y="8203"/>
                      <a:pt x="655" y="8238"/>
                      <a:pt x="763" y="8268"/>
                    </a:cubicBezTo>
                    <a:cubicBezTo>
                      <a:pt x="875" y="8298"/>
                      <a:pt x="944" y="8337"/>
                      <a:pt x="1026" y="8379"/>
                    </a:cubicBezTo>
                    <a:cubicBezTo>
                      <a:pt x="1052" y="8393"/>
                      <a:pt x="1081" y="8413"/>
                      <a:pt x="1110" y="8435"/>
                    </a:cubicBezTo>
                    <a:cubicBezTo>
                      <a:pt x="1090" y="8411"/>
                      <a:pt x="1063" y="8387"/>
                      <a:pt x="1033" y="8365"/>
                    </a:cubicBezTo>
                    <a:close/>
                    <a:moveTo>
                      <a:pt x="614" y="5947"/>
                    </a:moveTo>
                    <a:cubicBezTo>
                      <a:pt x="616" y="5887"/>
                      <a:pt x="617" y="5829"/>
                      <a:pt x="617" y="5794"/>
                    </a:cubicBezTo>
                    <a:cubicBezTo>
                      <a:pt x="617" y="5782"/>
                      <a:pt x="617" y="5773"/>
                      <a:pt x="617" y="5768"/>
                    </a:cubicBezTo>
                    <a:cubicBezTo>
                      <a:pt x="614" y="5724"/>
                      <a:pt x="606" y="5678"/>
                      <a:pt x="563" y="5592"/>
                    </a:cubicBezTo>
                    <a:cubicBezTo>
                      <a:pt x="555" y="5578"/>
                      <a:pt x="546" y="5561"/>
                      <a:pt x="535" y="5543"/>
                    </a:cubicBezTo>
                    <a:cubicBezTo>
                      <a:pt x="513" y="5548"/>
                      <a:pt x="448" y="5562"/>
                      <a:pt x="385" y="5577"/>
                    </a:cubicBezTo>
                    <a:cubicBezTo>
                      <a:pt x="341" y="5587"/>
                      <a:pt x="297" y="5597"/>
                      <a:pt x="267" y="5604"/>
                    </a:cubicBezTo>
                    <a:cubicBezTo>
                      <a:pt x="287" y="5650"/>
                      <a:pt x="303" y="5705"/>
                      <a:pt x="303" y="5768"/>
                    </a:cubicBezTo>
                    <a:cubicBezTo>
                      <a:pt x="303" y="5789"/>
                      <a:pt x="301" y="5811"/>
                      <a:pt x="297" y="5834"/>
                    </a:cubicBezTo>
                    <a:cubicBezTo>
                      <a:pt x="295" y="5843"/>
                      <a:pt x="294" y="5852"/>
                      <a:pt x="292" y="5861"/>
                    </a:cubicBezTo>
                    <a:lnTo>
                      <a:pt x="614" y="5947"/>
                    </a:lnTo>
                    <a:close/>
                    <a:moveTo>
                      <a:pt x="290" y="5875"/>
                    </a:moveTo>
                    <a:cubicBezTo>
                      <a:pt x="275" y="5979"/>
                      <a:pt x="274" y="6082"/>
                      <a:pt x="274" y="6107"/>
                    </a:cubicBezTo>
                    <a:cubicBezTo>
                      <a:pt x="274" y="6110"/>
                      <a:pt x="274" y="6110"/>
                      <a:pt x="274" y="6110"/>
                    </a:cubicBezTo>
                    <a:cubicBezTo>
                      <a:pt x="303" y="6121"/>
                      <a:pt x="369" y="6146"/>
                      <a:pt x="436" y="6170"/>
                    </a:cubicBezTo>
                    <a:cubicBezTo>
                      <a:pt x="478" y="6185"/>
                      <a:pt x="520" y="6200"/>
                      <a:pt x="553" y="6211"/>
                    </a:cubicBezTo>
                    <a:cubicBezTo>
                      <a:pt x="565" y="6216"/>
                      <a:pt x="575" y="6219"/>
                      <a:pt x="584" y="6222"/>
                    </a:cubicBezTo>
                    <a:cubicBezTo>
                      <a:pt x="588" y="6204"/>
                      <a:pt x="592" y="6187"/>
                      <a:pt x="595" y="6172"/>
                    </a:cubicBezTo>
                    <a:cubicBezTo>
                      <a:pt x="602" y="6144"/>
                      <a:pt x="608" y="6069"/>
                      <a:pt x="612" y="5993"/>
                    </a:cubicBezTo>
                    <a:cubicBezTo>
                      <a:pt x="612" y="5983"/>
                      <a:pt x="613" y="5972"/>
                      <a:pt x="613" y="5962"/>
                    </a:cubicBezTo>
                    <a:lnTo>
                      <a:pt x="290" y="5875"/>
                    </a:lnTo>
                    <a:close/>
                    <a:moveTo>
                      <a:pt x="925" y="941"/>
                    </a:moveTo>
                    <a:cubicBezTo>
                      <a:pt x="925" y="940"/>
                      <a:pt x="925" y="940"/>
                      <a:pt x="925" y="940"/>
                    </a:cubicBezTo>
                    <a:cubicBezTo>
                      <a:pt x="902" y="837"/>
                      <a:pt x="902" y="837"/>
                      <a:pt x="902" y="837"/>
                    </a:cubicBezTo>
                    <a:cubicBezTo>
                      <a:pt x="836" y="779"/>
                      <a:pt x="836" y="779"/>
                      <a:pt x="836" y="779"/>
                    </a:cubicBezTo>
                    <a:cubicBezTo>
                      <a:pt x="857" y="613"/>
                      <a:pt x="857" y="613"/>
                      <a:pt x="857" y="613"/>
                    </a:cubicBezTo>
                    <a:cubicBezTo>
                      <a:pt x="896" y="592"/>
                      <a:pt x="896" y="592"/>
                      <a:pt x="896" y="592"/>
                    </a:cubicBezTo>
                    <a:cubicBezTo>
                      <a:pt x="867" y="452"/>
                      <a:pt x="867" y="452"/>
                      <a:pt x="867" y="452"/>
                    </a:cubicBezTo>
                    <a:cubicBezTo>
                      <a:pt x="489" y="856"/>
                      <a:pt x="489" y="856"/>
                      <a:pt x="489" y="856"/>
                    </a:cubicBezTo>
                    <a:cubicBezTo>
                      <a:pt x="711" y="1119"/>
                      <a:pt x="711" y="1119"/>
                      <a:pt x="711" y="1119"/>
                    </a:cubicBezTo>
                    <a:cubicBezTo>
                      <a:pt x="925" y="941"/>
                      <a:pt x="925" y="941"/>
                      <a:pt x="925" y="941"/>
                    </a:cubicBezTo>
                    <a:close/>
                    <a:moveTo>
                      <a:pt x="680" y="1230"/>
                    </a:moveTo>
                    <a:cubicBezTo>
                      <a:pt x="828" y="1429"/>
                      <a:pt x="828" y="1429"/>
                      <a:pt x="828" y="1429"/>
                    </a:cubicBezTo>
                    <a:cubicBezTo>
                      <a:pt x="875" y="1403"/>
                      <a:pt x="911" y="1383"/>
                      <a:pt x="919" y="1378"/>
                    </a:cubicBezTo>
                    <a:cubicBezTo>
                      <a:pt x="926" y="1368"/>
                      <a:pt x="961" y="1314"/>
                      <a:pt x="997" y="1259"/>
                    </a:cubicBezTo>
                    <a:cubicBezTo>
                      <a:pt x="1016" y="1229"/>
                      <a:pt x="1036" y="1198"/>
                      <a:pt x="1051" y="1175"/>
                    </a:cubicBezTo>
                    <a:cubicBezTo>
                      <a:pt x="1058" y="1164"/>
                      <a:pt x="1064" y="1154"/>
                      <a:pt x="1069" y="1147"/>
                    </a:cubicBezTo>
                    <a:cubicBezTo>
                      <a:pt x="1071" y="1144"/>
                      <a:pt x="1072" y="1141"/>
                      <a:pt x="1074" y="1139"/>
                    </a:cubicBezTo>
                    <a:cubicBezTo>
                      <a:pt x="1074" y="1139"/>
                      <a:pt x="1074" y="1138"/>
                      <a:pt x="1074" y="1138"/>
                    </a:cubicBezTo>
                    <a:cubicBezTo>
                      <a:pt x="1074" y="1137"/>
                      <a:pt x="1074" y="1136"/>
                      <a:pt x="1074" y="1135"/>
                    </a:cubicBezTo>
                    <a:cubicBezTo>
                      <a:pt x="1074" y="1106"/>
                      <a:pt x="1079" y="953"/>
                      <a:pt x="1081" y="900"/>
                    </a:cubicBezTo>
                    <a:cubicBezTo>
                      <a:pt x="952" y="1003"/>
                      <a:pt x="952" y="1003"/>
                      <a:pt x="952" y="1003"/>
                    </a:cubicBezTo>
                    <a:lnTo>
                      <a:pt x="680" y="1230"/>
                    </a:lnTo>
                    <a:close/>
                    <a:moveTo>
                      <a:pt x="1091" y="1140"/>
                    </a:moveTo>
                    <a:cubicBezTo>
                      <a:pt x="1090" y="1145"/>
                      <a:pt x="1090" y="1143"/>
                      <a:pt x="1089" y="1145"/>
                    </a:cubicBezTo>
                    <a:cubicBezTo>
                      <a:pt x="1084" y="1155"/>
                      <a:pt x="1040" y="1222"/>
                      <a:pt x="1000" y="1284"/>
                    </a:cubicBezTo>
                    <a:cubicBezTo>
                      <a:pt x="1019" y="1299"/>
                      <a:pt x="1101" y="1361"/>
                      <a:pt x="1183" y="1424"/>
                    </a:cubicBezTo>
                    <a:cubicBezTo>
                      <a:pt x="1230" y="1459"/>
                      <a:pt x="1277" y="1495"/>
                      <a:pt x="1312" y="1522"/>
                    </a:cubicBezTo>
                    <a:cubicBezTo>
                      <a:pt x="1327" y="1534"/>
                      <a:pt x="1340" y="1544"/>
                      <a:pt x="1366" y="1564"/>
                    </a:cubicBezTo>
                    <a:cubicBezTo>
                      <a:pt x="1392" y="1520"/>
                      <a:pt x="1443" y="1431"/>
                      <a:pt x="1495" y="1343"/>
                    </a:cubicBezTo>
                    <a:cubicBezTo>
                      <a:pt x="1506" y="1323"/>
                      <a:pt x="1518" y="1304"/>
                      <a:pt x="1529" y="1284"/>
                    </a:cubicBezTo>
                    <a:cubicBezTo>
                      <a:pt x="1316" y="1127"/>
                      <a:pt x="1316" y="1127"/>
                      <a:pt x="1316" y="1127"/>
                    </a:cubicBezTo>
                    <a:cubicBezTo>
                      <a:pt x="1091" y="1139"/>
                      <a:pt x="1091" y="1139"/>
                      <a:pt x="1091" y="1139"/>
                    </a:cubicBezTo>
                    <a:cubicBezTo>
                      <a:pt x="1091" y="1140"/>
                      <a:pt x="1091" y="1140"/>
                      <a:pt x="1091" y="1140"/>
                    </a:cubicBezTo>
                    <a:close/>
                    <a:moveTo>
                      <a:pt x="1574" y="579"/>
                    </a:moveTo>
                    <a:cubicBezTo>
                      <a:pt x="1574" y="574"/>
                      <a:pt x="1574" y="574"/>
                      <a:pt x="1574" y="574"/>
                    </a:cubicBezTo>
                    <a:cubicBezTo>
                      <a:pt x="1569" y="567"/>
                      <a:pt x="1546" y="539"/>
                      <a:pt x="1524" y="514"/>
                    </a:cubicBezTo>
                    <a:cubicBezTo>
                      <a:pt x="1510" y="498"/>
                      <a:pt x="1497" y="482"/>
                      <a:pt x="1488" y="472"/>
                    </a:cubicBezTo>
                    <a:cubicBezTo>
                      <a:pt x="1338" y="684"/>
                      <a:pt x="1338" y="684"/>
                      <a:pt x="1338" y="684"/>
                    </a:cubicBezTo>
                    <a:cubicBezTo>
                      <a:pt x="1528" y="919"/>
                      <a:pt x="1528" y="919"/>
                      <a:pt x="1528" y="919"/>
                    </a:cubicBezTo>
                    <a:cubicBezTo>
                      <a:pt x="1556" y="894"/>
                      <a:pt x="1616" y="846"/>
                      <a:pt x="1675" y="798"/>
                    </a:cubicBezTo>
                    <a:cubicBezTo>
                      <a:pt x="1745" y="742"/>
                      <a:pt x="1812" y="688"/>
                      <a:pt x="1821" y="681"/>
                    </a:cubicBezTo>
                    <a:cubicBezTo>
                      <a:pt x="1824" y="672"/>
                      <a:pt x="1829" y="635"/>
                      <a:pt x="1834" y="590"/>
                    </a:cubicBezTo>
                    <a:cubicBezTo>
                      <a:pt x="1806" y="589"/>
                      <a:pt x="1606" y="580"/>
                      <a:pt x="1584" y="580"/>
                    </a:cubicBezTo>
                    <a:cubicBezTo>
                      <a:pt x="1584" y="580"/>
                      <a:pt x="1584" y="580"/>
                      <a:pt x="1584" y="580"/>
                    </a:cubicBezTo>
                    <a:cubicBezTo>
                      <a:pt x="1584" y="580"/>
                      <a:pt x="1583" y="580"/>
                      <a:pt x="1583" y="580"/>
                    </a:cubicBezTo>
                    <a:cubicBezTo>
                      <a:pt x="1583" y="580"/>
                      <a:pt x="1582" y="581"/>
                      <a:pt x="1580" y="580"/>
                    </a:cubicBezTo>
                    <a:lnTo>
                      <a:pt x="1574" y="579"/>
                    </a:lnTo>
                    <a:close/>
                    <a:moveTo>
                      <a:pt x="1307" y="717"/>
                    </a:moveTo>
                    <a:cubicBezTo>
                      <a:pt x="1222" y="786"/>
                      <a:pt x="1222" y="786"/>
                      <a:pt x="1222" y="786"/>
                    </a:cubicBezTo>
                    <a:cubicBezTo>
                      <a:pt x="1345" y="971"/>
                      <a:pt x="1345" y="971"/>
                      <a:pt x="1345" y="971"/>
                    </a:cubicBezTo>
                    <a:cubicBezTo>
                      <a:pt x="1327" y="1115"/>
                      <a:pt x="1327" y="1115"/>
                      <a:pt x="1327" y="1115"/>
                    </a:cubicBezTo>
                    <a:cubicBezTo>
                      <a:pt x="1537" y="1270"/>
                      <a:pt x="1537" y="1270"/>
                      <a:pt x="1537" y="1270"/>
                    </a:cubicBezTo>
                    <a:cubicBezTo>
                      <a:pt x="1578" y="1201"/>
                      <a:pt x="1613" y="1140"/>
                      <a:pt x="1628" y="1115"/>
                    </a:cubicBezTo>
                    <a:lnTo>
                      <a:pt x="1307" y="717"/>
                    </a:lnTo>
                    <a:close/>
                    <a:moveTo>
                      <a:pt x="3858" y="509"/>
                    </a:moveTo>
                    <a:cubicBezTo>
                      <a:pt x="3858" y="506"/>
                      <a:pt x="3858" y="504"/>
                      <a:pt x="3858" y="502"/>
                    </a:cubicBezTo>
                    <a:cubicBezTo>
                      <a:pt x="3858" y="500"/>
                      <a:pt x="3857" y="498"/>
                      <a:pt x="3857" y="495"/>
                    </a:cubicBezTo>
                    <a:cubicBezTo>
                      <a:pt x="3857" y="493"/>
                      <a:pt x="3857" y="490"/>
                      <a:pt x="3856" y="488"/>
                    </a:cubicBezTo>
                    <a:cubicBezTo>
                      <a:pt x="3590" y="542"/>
                      <a:pt x="3590" y="542"/>
                      <a:pt x="3590" y="542"/>
                    </a:cubicBezTo>
                    <a:cubicBezTo>
                      <a:pt x="3675" y="770"/>
                      <a:pt x="3675" y="770"/>
                      <a:pt x="3675" y="770"/>
                    </a:cubicBezTo>
                    <a:cubicBezTo>
                      <a:pt x="3727" y="788"/>
                      <a:pt x="3727" y="788"/>
                      <a:pt x="3727" y="788"/>
                    </a:cubicBezTo>
                    <a:cubicBezTo>
                      <a:pt x="3882" y="718"/>
                      <a:pt x="3882" y="718"/>
                      <a:pt x="3882" y="718"/>
                    </a:cubicBezTo>
                    <a:cubicBezTo>
                      <a:pt x="3882" y="717"/>
                      <a:pt x="3882" y="716"/>
                      <a:pt x="3882" y="715"/>
                    </a:cubicBezTo>
                    <a:cubicBezTo>
                      <a:pt x="3882" y="714"/>
                      <a:pt x="3881" y="713"/>
                      <a:pt x="3881" y="712"/>
                    </a:cubicBezTo>
                    <a:cubicBezTo>
                      <a:pt x="3881" y="712"/>
                      <a:pt x="3881" y="712"/>
                      <a:pt x="3881" y="712"/>
                    </a:cubicBezTo>
                    <a:cubicBezTo>
                      <a:pt x="3875" y="674"/>
                      <a:pt x="3858" y="569"/>
                      <a:pt x="3858" y="509"/>
                    </a:cubicBezTo>
                    <a:close/>
                    <a:moveTo>
                      <a:pt x="3512" y="378"/>
                    </a:moveTo>
                    <a:cubicBezTo>
                      <a:pt x="3435" y="361"/>
                      <a:pt x="3435" y="361"/>
                      <a:pt x="3435" y="361"/>
                    </a:cubicBezTo>
                    <a:cubicBezTo>
                      <a:pt x="3057" y="655"/>
                      <a:pt x="3057" y="655"/>
                      <a:pt x="3057" y="655"/>
                    </a:cubicBezTo>
                    <a:cubicBezTo>
                      <a:pt x="3090" y="687"/>
                      <a:pt x="3129" y="725"/>
                      <a:pt x="3169" y="765"/>
                    </a:cubicBezTo>
                    <a:cubicBezTo>
                      <a:pt x="3216" y="811"/>
                      <a:pt x="3264" y="858"/>
                      <a:pt x="3299" y="893"/>
                    </a:cubicBezTo>
                    <a:cubicBezTo>
                      <a:pt x="3317" y="911"/>
                      <a:pt x="3332" y="925"/>
                      <a:pt x="3342" y="935"/>
                    </a:cubicBezTo>
                    <a:cubicBezTo>
                      <a:pt x="3347" y="940"/>
                      <a:pt x="3351" y="944"/>
                      <a:pt x="3354" y="947"/>
                    </a:cubicBezTo>
                    <a:cubicBezTo>
                      <a:pt x="3355" y="948"/>
                      <a:pt x="3356" y="949"/>
                      <a:pt x="3356" y="949"/>
                    </a:cubicBezTo>
                    <a:cubicBezTo>
                      <a:pt x="3361" y="950"/>
                      <a:pt x="3367" y="952"/>
                      <a:pt x="3377" y="955"/>
                    </a:cubicBezTo>
                    <a:cubicBezTo>
                      <a:pt x="3406" y="964"/>
                      <a:pt x="3457" y="979"/>
                      <a:pt x="3473" y="984"/>
                    </a:cubicBezTo>
                    <a:cubicBezTo>
                      <a:pt x="3656" y="766"/>
                      <a:pt x="3656" y="766"/>
                      <a:pt x="3656" y="766"/>
                    </a:cubicBezTo>
                    <a:lnTo>
                      <a:pt x="3512" y="378"/>
                    </a:lnTo>
                    <a:close/>
                    <a:moveTo>
                      <a:pt x="2973" y="594"/>
                    </a:moveTo>
                    <a:cubicBezTo>
                      <a:pt x="2677" y="814"/>
                      <a:pt x="2677" y="814"/>
                      <a:pt x="2677" y="814"/>
                    </a:cubicBezTo>
                    <a:cubicBezTo>
                      <a:pt x="3047" y="1335"/>
                      <a:pt x="3047" y="1335"/>
                      <a:pt x="3047" y="1335"/>
                    </a:cubicBezTo>
                    <a:cubicBezTo>
                      <a:pt x="3079" y="1318"/>
                      <a:pt x="3111" y="1301"/>
                      <a:pt x="3142" y="1284"/>
                    </a:cubicBezTo>
                    <a:cubicBezTo>
                      <a:pt x="3175" y="1267"/>
                      <a:pt x="3208" y="1249"/>
                      <a:pt x="3239" y="1233"/>
                    </a:cubicBezTo>
                    <a:cubicBezTo>
                      <a:pt x="3231" y="1230"/>
                      <a:pt x="3231" y="1230"/>
                      <a:pt x="3231" y="1230"/>
                    </a:cubicBezTo>
                    <a:cubicBezTo>
                      <a:pt x="3343" y="959"/>
                      <a:pt x="3343" y="959"/>
                      <a:pt x="3343" y="959"/>
                    </a:cubicBezTo>
                    <a:cubicBezTo>
                      <a:pt x="3308" y="925"/>
                      <a:pt x="3015" y="636"/>
                      <a:pt x="2973" y="594"/>
                    </a:cubicBezTo>
                    <a:close/>
                    <a:moveTo>
                      <a:pt x="2661" y="820"/>
                    </a:moveTo>
                    <a:cubicBezTo>
                      <a:pt x="2642" y="815"/>
                      <a:pt x="2515" y="782"/>
                      <a:pt x="2499" y="777"/>
                    </a:cubicBezTo>
                    <a:cubicBezTo>
                      <a:pt x="2497" y="777"/>
                      <a:pt x="2495" y="776"/>
                      <a:pt x="2493" y="776"/>
                    </a:cubicBezTo>
                    <a:cubicBezTo>
                      <a:pt x="2288" y="915"/>
                      <a:pt x="2288" y="915"/>
                      <a:pt x="2288" y="915"/>
                    </a:cubicBezTo>
                    <a:cubicBezTo>
                      <a:pt x="2436" y="1222"/>
                      <a:pt x="2436" y="1222"/>
                      <a:pt x="2436" y="1222"/>
                    </a:cubicBezTo>
                    <a:cubicBezTo>
                      <a:pt x="2450" y="1216"/>
                      <a:pt x="2484" y="1203"/>
                      <a:pt x="2519" y="1190"/>
                    </a:cubicBezTo>
                    <a:cubicBezTo>
                      <a:pt x="2560" y="1175"/>
                      <a:pt x="2600" y="1160"/>
                      <a:pt x="2600" y="1160"/>
                    </a:cubicBezTo>
                    <a:cubicBezTo>
                      <a:pt x="2605" y="1158"/>
                      <a:pt x="2605" y="1158"/>
                      <a:pt x="2605" y="1158"/>
                    </a:cubicBezTo>
                    <a:cubicBezTo>
                      <a:pt x="2873" y="1427"/>
                      <a:pt x="2873" y="1427"/>
                      <a:pt x="2873" y="1427"/>
                    </a:cubicBezTo>
                    <a:cubicBezTo>
                      <a:pt x="2871" y="1429"/>
                      <a:pt x="2871" y="1429"/>
                      <a:pt x="2871" y="1429"/>
                    </a:cubicBezTo>
                    <a:cubicBezTo>
                      <a:pt x="2925" y="1400"/>
                      <a:pt x="2979" y="1371"/>
                      <a:pt x="3032" y="1343"/>
                    </a:cubicBezTo>
                    <a:lnTo>
                      <a:pt x="2661" y="820"/>
                    </a:lnTo>
                    <a:close/>
                    <a:moveTo>
                      <a:pt x="2162" y="1799"/>
                    </a:moveTo>
                    <a:cubicBezTo>
                      <a:pt x="2162" y="1799"/>
                      <a:pt x="2169" y="1796"/>
                      <a:pt x="2180" y="1790"/>
                    </a:cubicBezTo>
                    <a:cubicBezTo>
                      <a:pt x="2155" y="1735"/>
                      <a:pt x="2155" y="1735"/>
                      <a:pt x="2155" y="1735"/>
                    </a:cubicBezTo>
                    <a:cubicBezTo>
                      <a:pt x="2075" y="1775"/>
                      <a:pt x="2075" y="1775"/>
                      <a:pt x="2075" y="1775"/>
                    </a:cubicBezTo>
                    <a:cubicBezTo>
                      <a:pt x="2102" y="1832"/>
                      <a:pt x="2102" y="1832"/>
                      <a:pt x="2102" y="1832"/>
                    </a:cubicBezTo>
                    <a:cubicBezTo>
                      <a:pt x="2163" y="1799"/>
                      <a:pt x="2163" y="1799"/>
                      <a:pt x="2163" y="1799"/>
                    </a:cubicBezTo>
                    <a:lnTo>
                      <a:pt x="2162" y="1799"/>
                    </a:lnTo>
                    <a:close/>
                    <a:moveTo>
                      <a:pt x="1114" y="1877"/>
                    </a:moveTo>
                    <a:cubicBezTo>
                      <a:pt x="1017" y="1968"/>
                      <a:pt x="923" y="2058"/>
                      <a:pt x="883" y="2096"/>
                    </a:cubicBezTo>
                    <a:cubicBezTo>
                      <a:pt x="901" y="2100"/>
                      <a:pt x="919" y="2107"/>
                      <a:pt x="938" y="2119"/>
                    </a:cubicBezTo>
                    <a:cubicBezTo>
                      <a:pt x="992" y="2154"/>
                      <a:pt x="1024" y="2222"/>
                      <a:pt x="1050" y="2282"/>
                    </a:cubicBezTo>
                    <a:cubicBezTo>
                      <a:pt x="1067" y="2323"/>
                      <a:pt x="1079" y="2360"/>
                      <a:pt x="1085" y="2380"/>
                    </a:cubicBezTo>
                    <a:cubicBezTo>
                      <a:pt x="1166" y="2336"/>
                      <a:pt x="1166" y="2336"/>
                      <a:pt x="1166" y="2336"/>
                    </a:cubicBezTo>
                    <a:cubicBezTo>
                      <a:pt x="1165" y="2334"/>
                      <a:pt x="1164" y="2332"/>
                      <a:pt x="1163" y="2329"/>
                    </a:cubicBezTo>
                    <a:cubicBezTo>
                      <a:pt x="1160" y="2323"/>
                      <a:pt x="1156" y="2316"/>
                      <a:pt x="1152" y="2307"/>
                    </a:cubicBezTo>
                    <a:cubicBezTo>
                      <a:pt x="1150" y="2309"/>
                      <a:pt x="1150" y="2309"/>
                      <a:pt x="1150" y="2309"/>
                    </a:cubicBezTo>
                    <a:cubicBezTo>
                      <a:pt x="1079" y="2169"/>
                      <a:pt x="1079" y="2169"/>
                      <a:pt x="1079" y="2169"/>
                    </a:cubicBezTo>
                    <a:cubicBezTo>
                      <a:pt x="1088" y="2165"/>
                      <a:pt x="1088" y="2165"/>
                      <a:pt x="1088" y="2165"/>
                    </a:cubicBezTo>
                    <a:cubicBezTo>
                      <a:pt x="1066" y="2115"/>
                      <a:pt x="1048" y="2075"/>
                      <a:pt x="1048" y="2075"/>
                    </a:cubicBezTo>
                    <a:cubicBezTo>
                      <a:pt x="1045" y="2068"/>
                      <a:pt x="1045" y="2068"/>
                      <a:pt x="1045" y="2068"/>
                    </a:cubicBezTo>
                    <a:cubicBezTo>
                      <a:pt x="1596" y="1724"/>
                      <a:pt x="1596" y="1724"/>
                      <a:pt x="1596" y="1724"/>
                    </a:cubicBezTo>
                    <a:cubicBezTo>
                      <a:pt x="1565" y="1658"/>
                      <a:pt x="1535" y="1593"/>
                      <a:pt x="1512" y="1543"/>
                    </a:cubicBezTo>
                    <a:cubicBezTo>
                      <a:pt x="1499" y="1515"/>
                      <a:pt x="1489" y="1492"/>
                      <a:pt x="1481" y="1475"/>
                    </a:cubicBezTo>
                    <a:cubicBezTo>
                      <a:pt x="1479" y="1471"/>
                      <a:pt x="1478" y="1468"/>
                      <a:pt x="1476" y="1465"/>
                    </a:cubicBezTo>
                    <a:cubicBezTo>
                      <a:pt x="1461" y="1491"/>
                      <a:pt x="1446" y="1517"/>
                      <a:pt x="1433" y="1538"/>
                    </a:cubicBezTo>
                    <a:cubicBezTo>
                      <a:pt x="1420" y="1561"/>
                      <a:pt x="1409" y="1580"/>
                      <a:pt x="1401" y="1594"/>
                    </a:cubicBezTo>
                    <a:cubicBezTo>
                      <a:pt x="1397" y="1601"/>
                      <a:pt x="1394" y="1606"/>
                      <a:pt x="1392" y="1610"/>
                    </a:cubicBezTo>
                    <a:cubicBezTo>
                      <a:pt x="1391" y="1611"/>
                      <a:pt x="1390" y="1613"/>
                      <a:pt x="1389" y="1614"/>
                    </a:cubicBezTo>
                    <a:cubicBezTo>
                      <a:pt x="1389" y="1614"/>
                      <a:pt x="1389" y="1615"/>
                      <a:pt x="1389" y="1615"/>
                    </a:cubicBezTo>
                    <a:cubicBezTo>
                      <a:pt x="1389" y="1615"/>
                      <a:pt x="1389" y="1615"/>
                      <a:pt x="1389" y="1615"/>
                    </a:cubicBezTo>
                    <a:cubicBezTo>
                      <a:pt x="1388" y="1615"/>
                      <a:pt x="1388" y="1616"/>
                      <a:pt x="1388" y="1616"/>
                    </a:cubicBezTo>
                    <a:cubicBezTo>
                      <a:pt x="1388" y="1616"/>
                      <a:pt x="1388" y="1616"/>
                      <a:pt x="1388" y="1617"/>
                    </a:cubicBezTo>
                    <a:cubicBezTo>
                      <a:pt x="1387" y="1617"/>
                      <a:pt x="1387" y="1617"/>
                      <a:pt x="1387" y="1618"/>
                    </a:cubicBezTo>
                    <a:cubicBezTo>
                      <a:pt x="1386" y="1618"/>
                      <a:pt x="1386" y="1619"/>
                      <a:pt x="1385" y="1620"/>
                    </a:cubicBezTo>
                    <a:cubicBezTo>
                      <a:pt x="1384" y="1621"/>
                      <a:pt x="1383" y="1622"/>
                      <a:pt x="1382" y="1622"/>
                    </a:cubicBezTo>
                    <a:cubicBezTo>
                      <a:pt x="1382" y="1622"/>
                      <a:pt x="1382" y="1622"/>
                      <a:pt x="1382" y="1622"/>
                    </a:cubicBezTo>
                    <a:cubicBezTo>
                      <a:pt x="1365" y="1638"/>
                      <a:pt x="1237" y="1759"/>
                      <a:pt x="1114" y="1877"/>
                    </a:cubicBezTo>
                    <a:close/>
                    <a:moveTo>
                      <a:pt x="1272" y="1665"/>
                    </a:moveTo>
                    <a:cubicBezTo>
                      <a:pt x="1296" y="1641"/>
                      <a:pt x="1316" y="1622"/>
                      <a:pt x="1331" y="1608"/>
                    </a:cubicBezTo>
                    <a:cubicBezTo>
                      <a:pt x="1337" y="1602"/>
                      <a:pt x="1343" y="1597"/>
                      <a:pt x="1347" y="1594"/>
                    </a:cubicBezTo>
                    <a:cubicBezTo>
                      <a:pt x="1353" y="1586"/>
                      <a:pt x="1353" y="1586"/>
                      <a:pt x="1353" y="1586"/>
                    </a:cubicBezTo>
                    <a:cubicBezTo>
                      <a:pt x="1354" y="1584"/>
                      <a:pt x="1356" y="1581"/>
                      <a:pt x="1358" y="1578"/>
                    </a:cubicBezTo>
                    <a:cubicBezTo>
                      <a:pt x="1306" y="1538"/>
                      <a:pt x="1235" y="1484"/>
                      <a:pt x="1167" y="1432"/>
                    </a:cubicBezTo>
                    <a:cubicBezTo>
                      <a:pt x="1088" y="1371"/>
                      <a:pt x="1011" y="1313"/>
                      <a:pt x="991" y="1298"/>
                    </a:cubicBezTo>
                    <a:cubicBezTo>
                      <a:pt x="965" y="1338"/>
                      <a:pt x="943" y="1372"/>
                      <a:pt x="935" y="1384"/>
                    </a:cubicBezTo>
                    <a:cubicBezTo>
                      <a:pt x="949" y="1402"/>
                      <a:pt x="1014" y="1482"/>
                      <a:pt x="1078" y="1560"/>
                    </a:cubicBezTo>
                    <a:cubicBezTo>
                      <a:pt x="1137" y="1633"/>
                      <a:pt x="1195" y="1703"/>
                      <a:pt x="1211" y="1722"/>
                    </a:cubicBezTo>
                    <a:cubicBezTo>
                      <a:pt x="1233" y="1701"/>
                      <a:pt x="1253" y="1682"/>
                      <a:pt x="1272" y="1665"/>
                    </a:cubicBezTo>
                    <a:close/>
                    <a:moveTo>
                      <a:pt x="2275" y="1391"/>
                    </a:moveTo>
                    <a:cubicBezTo>
                      <a:pt x="2286" y="1387"/>
                      <a:pt x="2286" y="1387"/>
                      <a:pt x="2286" y="1387"/>
                    </a:cubicBezTo>
                    <a:cubicBezTo>
                      <a:pt x="2390" y="1338"/>
                      <a:pt x="2390" y="1338"/>
                      <a:pt x="2390" y="1338"/>
                    </a:cubicBezTo>
                    <a:cubicBezTo>
                      <a:pt x="2349" y="1252"/>
                      <a:pt x="2349" y="1252"/>
                      <a:pt x="2349" y="1252"/>
                    </a:cubicBezTo>
                    <a:cubicBezTo>
                      <a:pt x="2099" y="1374"/>
                      <a:pt x="2099" y="1374"/>
                      <a:pt x="2099" y="1374"/>
                    </a:cubicBezTo>
                    <a:cubicBezTo>
                      <a:pt x="2140" y="1456"/>
                      <a:pt x="2140" y="1456"/>
                      <a:pt x="2140" y="1456"/>
                    </a:cubicBezTo>
                    <a:cubicBezTo>
                      <a:pt x="2152" y="1452"/>
                      <a:pt x="2152" y="1452"/>
                      <a:pt x="2152" y="1452"/>
                    </a:cubicBezTo>
                    <a:cubicBezTo>
                      <a:pt x="2164" y="1447"/>
                      <a:pt x="2164" y="1447"/>
                      <a:pt x="2164" y="1447"/>
                    </a:cubicBezTo>
                    <a:cubicBezTo>
                      <a:pt x="2170" y="1458"/>
                      <a:pt x="2170" y="1458"/>
                      <a:pt x="2170" y="1458"/>
                    </a:cubicBezTo>
                    <a:cubicBezTo>
                      <a:pt x="2186" y="1491"/>
                      <a:pt x="2186" y="1491"/>
                      <a:pt x="2186" y="1491"/>
                    </a:cubicBezTo>
                    <a:cubicBezTo>
                      <a:pt x="2258" y="1457"/>
                      <a:pt x="2258" y="1457"/>
                      <a:pt x="2258" y="1457"/>
                    </a:cubicBezTo>
                    <a:cubicBezTo>
                      <a:pt x="2271" y="1451"/>
                      <a:pt x="2271" y="1451"/>
                      <a:pt x="2271" y="1451"/>
                    </a:cubicBezTo>
                    <a:cubicBezTo>
                      <a:pt x="2276" y="1464"/>
                      <a:pt x="2276" y="1464"/>
                      <a:pt x="2276" y="1464"/>
                    </a:cubicBezTo>
                    <a:cubicBezTo>
                      <a:pt x="2286" y="1485"/>
                      <a:pt x="2286" y="1485"/>
                      <a:pt x="2286" y="1485"/>
                    </a:cubicBezTo>
                    <a:cubicBezTo>
                      <a:pt x="2292" y="1481"/>
                      <a:pt x="2292" y="1481"/>
                      <a:pt x="2292" y="1481"/>
                    </a:cubicBezTo>
                    <a:cubicBezTo>
                      <a:pt x="2272" y="1445"/>
                      <a:pt x="2272" y="1445"/>
                      <a:pt x="2272" y="1445"/>
                    </a:cubicBezTo>
                    <a:cubicBezTo>
                      <a:pt x="2266" y="1434"/>
                      <a:pt x="2266" y="1434"/>
                      <a:pt x="2266" y="1434"/>
                    </a:cubicBezTo>
                    <a:cubicBezTo>
                      <a:pt x="2276" y="1427"/>
                      <a:pt x="2276" y="1427"/>
                      <a:pt x="2276" y="1427"/>
                    </a:cubicBezTo>
                    <a:cubicBezTo>
                      <a:pt x="2283" y="1422"/>
                      <a:pt x="2283" y="1422"/>
                      <a:pt x="2283" y="1422"/>
                    </a:cubicBezTo>
                    <a:cubicBezTo>
                      <a:pt x="2278" y="1403"/>
                      <a:pt x="2278" y="1403"/>
                      <a:pt x="2278" y="1403"/>
                    </a:cubicBezTo>
                    <a:lnTo>
                      <a:pt x="2275" y="1391"/>
                    </a:lnTo>
                    <a:close/>
                    <a:moveTo>
                      <a:pt x="2085" y="1377"/>
                    </a:moveTo>
                    <a:cubicBezTo>
                      <a:pt x="2070" y="1384"/>
                      <a:pt x="2056" y="1391"/>
                      <a:pt x="2044" y="1397"/>
                    </a:cubicBezTo>
                    <a:cubicBezTo>
                      <a:pt x="2035" y="1401"/>
                      <a:pt x="2028" y="1405"/>
                      <a:pt x="2022" y="1408"/>
                    </a:cubicBezTo>
                    <a:cubicBezTo>
                      <a:pt x="2141" y="1666"/>
                      <a:pt x="2141" y="1666"/>
                      <a:pt x="2141" y="1666"/>
                    </a:cubicBezTo>
                    <a:cubicBezTo>
                      <a:pt x="2150" y="1683"/>
                      <a:pt x="2150" y="1683"/>
                      <a:pt x="2150" y="1683"/>
                    </a:cubicBezTo>
                    <a:cubicBezTo>
                      <a:pt x="2159" y="1677"/>
                      <a:pt x="2179" y="1665"/>
                      <a:pt x="2209" y="1647"/>
                    </a:cubicBezTo>
                    <a:cubicBezTo>
                      <a:pt x="2305" y="1590"/>
                      <a:pt x="2482" y="1489"/>
                      <a:pt x="2507" y="1475"/>
                    </a:cubicBezTo>
                    <a:cubicBezTo>
                      <a:pt x="2389" y="1231"/>
                      <a:pt x="2389" y="1231"/>
                      <a:pt x="2389" y="1231"/>
                    </a:cubicBezTo>
                    <a:cubicBezTo>
                      <a:pt x="2389" y="1230"/>
                      <a:pt x="2388" y="1230"/>
                      <a:pt x="2388" y="1230"/>
                    </a:cubicBezTo>
                    <a:cubicBezTo>
                      <a:pt x="2383" y="1233"/>
                      <a:pt x="2373" y="1238"/>
                      <a:pt x="2360" y="1244"/>
                    </a:cubicBezTo>
                    <a:cubicBezTo>
                      <a:pt x="2408" y="1345"/>
                      <a:pt x="2408" y="1345"/>
                      <a:pt x="2408" y="1345"/>
                    </a:cubicBezTo>
                    <a:cubicBezTo>
                      <a:pt x="2292" y="1399"/>
                      <a:pt x="2292" y="1399"/>
                      <a:pt x="2292" y="1399"/>
                    </a:cubicBezTo>
                    <a:cubicBezTo>
                      <a:pt x="2299" y="1428"/>
                      <a:pt x="2299" y="1428"/>
                      <a:pt x="2299" y="1428"/>
                    </a:cubicBezTo>
                    <a:cubicBezTo>
                      <a:pt x="2284" y="1438"/>
                      <a:pt x="2284" y="1438"/>
                      <a:pt x="2284" y="1438"/>
                    </a:cubicBezTo>
                    <a:cubicBezTo>
                      <a:pt x="2310" y="1486"/>
                      <a:pt x="2310" y="1486"/>
                      <a:pt x="2310" y="1486"/>
                    </a:cubicBezTo>
                    <a:cubicBezTo>
                      <a:pt x="2280" y="1505"/>
                      <a:pt x="2280" y="1505"/>
                      <a:pt x="2280" y="1505"/>
                    </a:cubicBezTo>
                    <a:cubicBezTo>
                      <a:pt x="2264" y="1470"/>
                      <a:pt x="2264" y="1470"/>
                      <a:pt x="2264" y="1470"/>
                    </a:cubicBezTo>
                    <a:cubicBezTo>
                      <a:pt x="2180" y="1509"/>
                      <a:pt x="2180" y="1509"/>
                      <a:pt x="2180" y="1509"/>
                    </a:cubicBezTo>
                    <a:cubicBezTo>
                      <a:pt x="2157" y="1465"/>
                      <a:pt x="2157" y="1465"/>
                      <a:pt x="2157" y="1465"/>
                    </a:cubicBezTo>
                    <a:cubicBezTo>
                      <a:pt x="2134" y="1474"/>
                      <a:pt x="2134" y="1474"/>
                      <a:pt x="2134" y="1474"/>
                    </a:cubicBezTo>
                    <a:lnTo>
                      <a:pt x="2085" y="1377"/>
                    </a:lnTo>
                    <a:close/>
                    <a:moveTo>
                      <a:pt x="1190" y="2115"/>
                    </a:moveTo>
                    <a:cubicBezTo>
                      <a:pt x="1191" y="2115"/>
                      <a:pt x="1191" y="2115"/>
                      <a:pt x="1191" y="2115"/>
                    </a:cubicBezTo>
                    <a:cubicBezTo>
                      <a:pt x="1147" y="2024"/>
                      <a:pt x="1147" y="2024"/>
                      <a:pt x="1147" y="2024"/>
                    </a:cubicBezTo>
                    <a:cubicBezTo>
                      <a:pt x="1066" y="2074"/>
                      <a:pt x="1066" y="2074"/>
                      <a:pt x="1066" y="2074"/>
                    </a:cubicBezTo>
                    <a:cubicBezTo>
                      <a:pt x="1072" y="2088"/>
                      <a:pt x="1086" y="2120"/>
                      <a:pt x="1103" y="2157"/>
                    </a:cubicBezTo>
                    <a:cubicBezTo>
                      <a:pt x="1190" y="2115"/>
                      <a:pt x="1190" y="2115"/>
                      <a:pt x="1190" y="2115"/>
                    </a:cubicBezTo>
                    <a:close/>
                    <a:moveTo>
                      <a:pt x="1199" y="2095"/>
                    </a:moveTo>
                    <a:cubicBezTo>
                      <a:pt x="1294" y="2048"/>
                      <a:pt x="1294" y="2048"/>
                      <a:pt x="1294" y="2048"/>
                    </a:cubicBezTo>
                    <a:cubicBezTo>
                      <a:pt x="1294" y="2047"/>
                      <a:pt x="1294" y="2047"/>
                      <a:pt x="1294" y="2047"/>
                    </a:cubicBezTo>
                    <a:cubicBezTo>
                      <a:pt x="1299" y="2044"/>
                      <a:pt x="1299" y="2044"/>
                      <a:pt x="1299" y="2044"/>
                    </a:cubicBezTo>
                    <a:cubicBezTo>
                      <a:pt x="1293" y="2031"/>
                      <a:pt x="1293" y="2031"/>
                      <a:pt x="1293" y="2031"/>
                    </a:cubicBezTo>
                    <a:cubicBezTo>
                      <a:pt x="1295" y="2030"/>
                      <a:pt x="1295" y="2030"/>
                      <a:pt x="1295" y="2030"/>
                    </a:cubicBezTo>
                    <a:cubicBezTo>
                      <a:pt x="1260" y="1953"/>
                      <a:pt x="1260" y="1953"/>
                      <a:pt x="1260" y="1953"/>
                    </a:cubicBezTo>
                    <a:cubicBezTo>
                      <a:pt x="1161" y="2016"/>
                      <a:pt x="1161" y="2016"/>
                      <a:pt x="1161" y="2016"/>
                    </a:cubicBezTo>
                    <a:lnTo>
                      <a:pt x="1199" y="2095"/>
                    </a:lnTo>
                    <a:close/>
                    <a:moveTo>
                      <a:pt x="1531" y="1879"/>
                    </a:moveTo>
                    <a:cubicBezTo>
                      <a:pt x="1532" y="1879"/>
                      <a:pt x="1532" y="1879"/>
                      <a:pt x="1532" y="1879"/>
                    </a:cubicBezTo>
                    <a:cubicBezTo>
                      <a:pt x="1498" y="1805"/>
                      <a:pt x="1498" y="1805"/>
                      <a:pt x="1498" y="1805"/>
                    </a:cubicBezTo>
                    <a:cubicBezTo>
                      <a:pt x="1391" y="1872"/>
                      <a:pt x="1391" y="1872"/>
                      <a:pt x="1391" y="1872"/>
                    </a:cubicBezTo>
                    <a:cubicBezTo>
                      <a:pt x="1427" y="1948"/>
                      <a:pt x="1427" y="1948"/>
                      <a:pt x="1427" y="1948"/>
                    </a:cubicBezTo>
                    <a:cubicBezTo>
                      <a:pt x="1533" y="1897"/>
                      <a:pt x="1533" y="1897"/>
                      <a:pt x="1533" y="1897"/>
                    </a:cubicBezTo>
                    <a:cubicBezTo>
                      <a:pt x="1533" y="1896"/>
                      <a:pt x="1533" y="1896"/>
                      <a:pt x="1533" y="1896"/>
                    </a:cubicBezTo>
                    <a:cubicBezTo>
                      <a:pt x="1536" y="1895"/>
                      <a:pt x="1536" y="1895"/>
                      <a:pt x="1536" y="1895"/>
                    </a:cubicBezTo>
                    <a:lnTo>
                      <a:pt x="1531" y="1879"/>
                    </a:lnTo>
                    <a:close/>
                    <a:moveTo>
                      <a:pt x="1377" y="1880"/>
                    </a:moveTo>
                    <a:cubicBezTo>
                      <a:pt x="1274" y="1945"/>
                      <a:pt x="1274" y="1945"/>
                      <a:pt x="1274" y="1945"/>
                    </a:cubicBezTo>
                    <a:cubicBezTo>
                      <a:pt x="1310" y="2023"/>
                      <a:pt x="1310" y="2023"/>
                      <a:pt x="1310" y="2023"/>
                    </a:cubicBezTo>
                    <a:cubicBezTo>
                      <a:pt x="1419" y="1970"/>
                      <a:pt x="1419" y="1970"/>
                      <a:pt x="1419" y="1970"/>
                    </a:cubicBezTo>
                    <a:lnTo>
                      <a:pt x="1377" y="1880"/>
                    </a:lnTo>
                    <a:close/>
                    <a:moveTo>
                      <a:pt x="1206" y="2108"/>
                    </a:moveTo>
                    <a:cubicBezTo>
                      <a:pt x="1260" y="2220"/>
                      <a:pt x="1260" y="2220"/>
                      <a:pt x="1260" y="2220"/>
                    </a:cubicBezTo>
                    <a:cubicBezTo>
                      <a:pt x="1354" y="2173"/>
                      <a:pt x="1354" y="2173"/>
                      <a:pt x="1354" y="2173"/>
                    </a:cubicBezTo>
                    <a:cubicBezTo>
                      <a:pt x="1353" y="2171"/>
                      <a:pt x="1353" y="2171"/>
                      <a:pt x="1353" y="2171"/>
                    </a:cubicBezTo>
                    <a:cubicBezTo>
                      <a:pt x="1347" y="2159"/>
                      <a:pt x="1347" y="2159"/>
                      <a:pt x="1347" y="2159"/>
                    </a:cubicBezTo>
                    <a:cubicBezTo>
                      <a:pt x="1352" y="2157"/>
                      <a:pt x="1352" y="2157"/>
                      <a:pt x="1352" y="2157"/>
                    </a:cubicBezTo>
                    <a:cubicBezTo>
                      <a:pt x="1341" y="2131"/>
                      <a:pt x="1341" y="2131"/>
                      <a:pt x="1341" y="2131"/>
                    </a:cubicBezTo>
                    <a:cubicBezTo>
                      <a:pt x="1301" y="2060"/>
                      <a:pt x="1301" y="2060"/>
                      <a:pt x="1301" y="2060"/>
                    </a:cubicBezTo>
                    <a:lnTo>
                      <a:pt x="1206" y="2108"/>
                    </a:lnTo>
                    <a:close/>
                    <a:moveTo>
                      <a:pt x="1367" y="2149"/>
                    </a:moveTo>
                    <a:cubicBezTo>
                      <a:pt x="1477" y="2096"/>
                      <a:pt x="1477" y="2096"/>
                      <a:pt x="1477" y="2096"/>
                    </a:cubicBezTo>
                    <a:cubicBezTo>
                      <a:pt x="1425" y="1983"/>
                      <a:pt x="1425" y="1983"/>
                      <a:pt x="1425" y="1983"/>
                    </a:cubicBezTo>
                    <a:cubicBezTo>
                      <a:pt x="1316" y="2036"/>
                      <a:pt x="1316" y="2036"/>
                      <a:pt x="1316" y="2036"/>
                    </a:cubicBezTo>
                    <a:lnTo>
                      <a:pt x="1367" y="2149"/>
                    </a:lnTo>
                    <a:close/>
                    <a:moveTo>
                      <a:pt x="1484" y="2071"/>
                    </a:moveTo>
                    <a:cubicBezTo>
                      <a:pt x="1485" y="2074"/>
                      <a:pt x="1485" y="2074"/>
                      <a:pt x="1485" y="2074"/>
                    </a:cubicBezTo>
                    <a:cubicBezTo>
                      <a:pt x="1486" y="2073"/>
                      <a:pt x="1486" y="2073"/>
                      <a:pt x="1486" y="2073"/>
                    </a:cubicBezTo>
                    <a:cubicBezTo>
                      <a:pt x="1592" y="2022"/>
                      <a:pt x="1592" y="2022"/>
                      <a:pt x="1592" y="2022"/>
                    </a:cubicBezTo>
                    <a:cubicBezTo>
                      <a:pt x="1590" y="2018"/>
                      <a:pt x="1590" y="2018"/>
                      <a:pt x="1590" y="2018"/>
                    </a:cubicBezTo>
                    <a:cubicBezTo>
                      <a:pt x="1587" y="2006"/>
                      <a:pt x="1587" y="2006"/>
                      <a:pt x="1587" y="2006"/>
                    </a:cubicBezTo>
                    <a:cubicBezTo>
                      <a:pt x="1591" y="2004"/>
                      <a:pt x="1591" y="2004"/>
                      <a:pt x="1591" y="2004"/>
                    </a:cubicBezTo>
                    <a:cubicBezTo>
                      <a:pt x="1577" y="1975"/>
                      <a:pt x="1577" y="1975"/>
                      <a:pt x="1577" y="1975"/>
                    </a:cubicBezTo>
                    <a:cubicBezTo>
                      <a:pt x="1540" y="1909"/>
                      <a:pt x="1540" y="1909"/>
                      <a:pt x="1540" y="1909"/>
                    </a:cubicBezTo>
                    <a:cubicBezTo>
                      <a:pt x="1436" y="1959"/>
                      <a:pt x="1436" y="1959"/>
                      <a:pt x="1436" y="1959"/>
                    </a:cubicBezTo>
                    <a:cubicBezTo>
                      <a:pt x="1437" y="1964"/>
                      <a:pt x="1437" y="1964"/>
                      <a:pt x="1437" y="1964"/>
                    </a:cubicBezTo>
                    <a:cubicBezTo>
                      <a:pt x="1440" y="1975"/>
                      <a:pt x="1440" y="1975"/>
                      <a:pt x="1440" y="1975"/>
                    </a:cubicBezTo>
                    <a:cubicBezTo>
                      <a:pt x="1439" y="1976"/>
                      <a:pt x="1439" y="1976"/>
                      <a:pt x="1439" y="1976"/>
                    </a:cubicBezTo>
                    <a:lnTo>
                      <a:pt x="1484" y="2071"/>
                    </a:lnTo>
                    <a:close/>
                    <a:moveTo>
                      <a:pt x="1605" y="1997"/>
                    </a:moveTo>
                    <a:cubicBezTo>
                      <a:pt x="1699" y="1950"/>
                      <a:pt x="1699" y="1950"/>
                      <a:pt x="1699" y="1950"/>
                    </a:cubicBezTo>
                    <a:cubicBezTo>
                      <a:pt x="1698" y="1948"/>
                      <a:pt x="1698" y="1948"/>
                      <a:pt x="1698" y="1948"/>
                    </a:cubicBezTo>
                    <a:cubicBezTo>
                      <a:pt x="1691" y="1935"/>
                      <a:pt x="1691" y="1935"/>
                      <a:pt x="1691" y="1935"/>
                    </a:cubicBezTo>
                    <a:cubicBezTo>
                      <a:pt x="1694" y="1934"/>
                      <a:pt x="1694" y="1934"/>
                      <a:pt x="1694" y="1934"/>
                    </a:cubicBezTo>
                    <a:cubicBezTo>
                      <a:pt x="1680" y="1905"/>
                      <a:pt x="1665" y="1872"/>
                      <a:pt x="1648" y="1836"/>
                    </a:cubicBezTo>
                    <a:cubicBezTo>
                      <a:pt x="1553" y="1884"/>
                      <a:pt x="1553" y="1884"/>
                      <a:pt x="1553" y="1884"/>
                    </a:cubicBezTo>
                    <a:lnTo>
                      <a:pt x="1605" y="1997"/>
                    </a:lnTo>
                    <a:close/>
                    <a:moveTo>
                      <a:pt x="1709" y="1927"/>
                    </a:moveTo>
                    <a:cubicBezTo>
                      <a:pt x="1816" y="1876"/>
                      <a:pt x="1816" y="1876"/>
                      <a:pt x="1816" y="1876"/>
                    </a:cubicBezTo>
                    <a:cubicBezTo>
                      <a:pt x="1802" y="1848"/>
                      <a:pt x="1802" y="1848"/>
                      <a:pt x="1802" y="1848"/>
                    </a:cubicBezTo>
                    <a:cubicBezTo>
                      <a:pt x="1778" y="1802"/>
                      <a:pt x="1778" y="1802"/>
                      <a:pt x="1778" y="1802"/>
                    </a:cubicBezTo>
                    <a:cubicBezTo>
                      <a:pt x="1771" y="1805"/>
                      <a:pt x="1771" y="1805"/>
                      <a:pt x="1771" y="1805"/>
                    </a:cubicBezTo>
                    <a:cubicBezTo>
                      <a:pt x="1765" y="1794"/>
                      <a:pt x="1765" y="1794"/>
                      <a:pt x="1765" y="1794"/>
                    </a:cubicBezTo>
                    <a:cubicBezTo>
                      <a:pt x="1750" y="1770"/>
                      <a:pt x="1750" y="1770"/>
                      <a:pt x="1750" y="1770"/>
                    </a:cubicBezTo>
                    <a:cubicBezTo>
                      <a:pt x="1657" y="1814"/>
                      <a:pt x="1657" y="1814"/>
                      <a:pt x="1657" y="1814"/>
                    </a:cubicBezTo>
                    <a:cubicBezTo>
                      <a:pt x="1658" y="1815"/>
                      <a:pt x="1658" y="1815"/>
                      <a:pt x="1658" y="1815"/>
                    </a:cubicBezTo>
                    <a:cubicBezTo>
                      <a:pt x="1665" y="1828"/>
                      <a:pt x="1665" y="1828"/>
                      <a:pt x="1665" y="1828"/>
                    </a:cubicBezTo>
                    <a:cubicBezTo>
                      <a:pt x="1663" y="1829"/>
                      <a:pt x="1663" y="1829"/>
                      <a:pt x="1663" y="1829"/>
                    </a:cubicBezTo>
                    <a:cubicBezTo>
                      <a:pt x="1680" y="1865"/>
                      <a:pt x="1695" y="1898"/>
                      <a:pt x="1709" y="1927"/>
                    </a:cubicBezTo>
                    <a:close/>
                    <a:moveTo>
                      <a:pt x="1831" y="1869"/>
                    </a:moveTo>
                    <a:cubicBezTo>
                      <a:pt x="1834" y="1868"/>
                      <a:pt x="1834" y="1868"/>
                      <a:pt x="1834" y="1868"/>
                    </a:cubicBezTo>
                    <a:cubicBezTo>
                      <a:pt x="1841" y="1879"/>
                      <a:pt x="1841" y="1879"/>
                      <a:pt x="1841" y="1879"/>
                    </a:cubicBezTo>
                    <a:cubicBezTo>
                      <a:pt x="1855" y="1903"/>
                      <a:pt x="1855" y="1903"/>
                      <a:pt x="1855" y="1903"/>
                    </a:cubicBezTo>
                    <a:cubicBezTo>
                      <a:pt x="1955" y="1854"/>
                      <a:pt x="1955" y="1854"/>
                      <a:pt x="1955" y="1854"/>
                    </a:cubicBezTo>
                    <a:cubicBezTo>
                      <a:pt x="1954" y="1851"/>
                      <a:pt x="1952" y="1848"/>
                      <a:pt x="1950" y="1844"/>
                    </a:cubicBezTo>
                    <a:cubicBezTo>
                      <a:pt x="1948" y="1839"/>
                      <a:pt x="1948" y="1839"/>
                      <a:pt x="1948" y="1839"/>
                    </a:cubicBezTo>
                    <a:cubicBezTo>
                      <a:pt x="1948" y="1839"/>
                      <a:pt x="1948" y="1839"/>
                      <a:pt x="1948" y="1839"/>
                    </a:cubicBezTo>
                    <a:cubicBezTo>
                      <a:pt x="1935" y="1811"/>
                      <a:pt x="1918" y="1776"/>
                      <a:pt x="1902" y="1742"/>
                    </a:cubicBezTo>
                    <a:cubicBezTo>
                      <a:pt x="1795" y="1794"/>
                      <a:pt x="1795" y="1794"/>
                      <a:pt x="1795" y="1794"/>
                    </a:cubicBezTo>
                    <a:lnTo>
                      <a:pt x="1831" y="1869"/>
                    </a:lnTo>
                    <a:close/>
                    <a:moveTo>
                      <a:pt x="1963" y="1831"/>
                    </a:moveTo>
                    <a:cubicBezTo>
                      <a:pt x="2056" y="1783"/>
                      <a:pt x="2056" y="1783"/>
                      <a:pt x="2056" y="1783"/>
                    </a:cubicBezTo>
                    <a:cubicBezTo>
                      <a:pt x="2056" y="1783"/>
                      <a:pt x="2056" y="1783"/>
                      <a:pt x="2056" y="1783"/>
                    </a:cubicBezTo>
                    <a:cubicBezTo>
                      <a:pt x="2052" y="1771"/>
                      <a:pt x="2052" y="1771"/>
                      <a:pt x="2052" y="1771"/>
                    </a:cubicBezTo>
                    <a:cubicBezTo>
                      <a:pt x="2054" y="1770"/>
                      <a:pt x="2054" y="1770"/>
                      <a:pt x="2054" y="1770"/>
                    </a:cubicBezTo>
                    <a:cubicBezTo>
                      <a:pt x="2022" y="1704"/>
                      <a:pt x="2022" y="1704"/>
                      <a:pt x="2022" y="1704"/>
                    </a:cubicBezTo>
                    <a:cubicBezTo>
                      <a:pt x="2003" y="1670"/>
                      <a:pt x="2003" y="1670"/>
                      <a:pt x="2003" y="1670"/>
                    </a:cubicBezTo>
                    <a:cubicBezTo>
                      <a:pt x="1913" y="1717"/>
                      <a:pt x="1913" y="1717"/>
                      <a:pt x="1913" y="1717"/>
                    </a:cubicBezTo>
                    <a:cubicBezTo>
                      <a:pt x="1914" y="1720"/>
                      <a:pt x="1914" y="1720"/>
                      <a:pt x="1914" y="1720"/>
                    </a:cubicBezTo>
                    <a:cubicBezTo>
                      <a:pt x="1921" y="1733"/>
                      <a:pt x="1921" y="1733"/>
                      <a:pt x="1921" y="1733"/>
                    </a:cubicBezTo>
                    <a:cubicBezTo>
                      <a:pt x="1916" y="1735"/>
                      <a:pt x="1916" y="1735"/>
                      <a:pt x="1916" y="1735"/>
                    </a:cubicBezTo>
                    <a:cubicBezTo>
                      <a:pt x="1929" y="1762"/>
                      <a:pt x="1942" y="1788"/>
                      <a:pt x="1953" y="1812"/>
                    </a:cubicBezTo>
                    <a:lnTo>
                      <a:pt x="1963" y="1831"/>
                    </a:lnTo>
                    <a:close/>
                    <a:moveTo>
                      <a:pt x="2069" y="1762"/>
                    </a:moveTo>
                    <a:cubicBezTo>
                      <a:pt x="2149" y="1722"/>
                      <a:pt x="2149" y="1722"/>
                      <a:pt x="2149" y="1722"/>
                    </a:cubicBezTo>
                    <a:cubicBezTo>
                      <a:pt x="2110" y="1638"/>
                      <a:pt x="2110" y="1638"/>
                      <a:pt x="2110" y="1638"/>
                    </a:cubicBezTo>
                    <a:cubicBezTo>
                      <a:pt x="2095" y="1610"/>
                      <a:pt x="2095" y="1610"/>
                      <a:pt x="2095" y="1610"/>
                    </a:cubicBezTo>
                    <a:cubicBezTo>
                      <a:pt x="2015" y="1650"/>
                      <a:pt x="2015" y="1650"/>
                      <a:pt x="2015" y="1650"/>
                    </a:cubicBezTo>
                    <a:lnTo>
                      <a:pt x="2069" y="1762"/>
                    </a:lnTo>
                    <a:close/>
                    <a:moveTo>
                      <a:pt x="2037" y="1479"/>
                    </a:moveTo>
                    <a:cubicBezTo>
                      <a:pt x="1950" y="1516"/>
                      <a:pt x="1950" y="1516"/>
                      <a:pt x="1950" y="1516"/>
                    </a:cubicBezTo>
                    <a:cubicBezTo>
                      <a:pt x="2009" y="1638"/>
                      <a:pt x="2009" y="1638"/>
                      <a:pt x="2009" y="1638"/>
                    </a:cubicBezTo>
                    <a:cubicBezTo>
                      <a:pt x="2091" y="1596"/>
                      <a:pt x="2091" y="1596"/>
                      <a:pt x="2091" y="1596"/>
                    </a:cubicBezTo>
                    <a:lnTo>
                      <a:pt x="2037" y="1479"/>
                    </a:lnTo>
                    <a:close/>
                    <a:moveTo>
                      <a:pt x="1935" y="1522"/>
                    </a:moveTo>
                    <a:cubicBezTo>
                      <a:pt x="1834" y="1564"/>
                      <a:pt x="1834" y="1564"/>
                      <a:pt x="1834" y="1564"/>
                    </a:cubicBezTo>
                    <a:cubicBezTo>
                      <a:pt x="1840" y="1576"/>
                      <a:pt x="1870" y="1638"/>
                      <a:pt x="1903" y="1706"/>
                    </a:cubicBezTo>
                    <a:cubicBezTo>
                      <a:pt x="1996" y="1658"/>
                      <a:pt x="1996" y="1658"/>
                      <a:pt x="1996" y="1658"/>
                    </a:cubicBezTo>
                    <a:cubicBezTo>
                      <a:pt x="1996" y="1658"/>
                      <a:pt x="1996" y="1658"/>
                      <a:pt x="1996" y="1658"/>
                    </a:cubicBezTo>
                    <a:cubicBezTo>
                      <a:pt x="1999" y="1656"/>
                      <a:pt x="1999" y="1656"/>
                      <a:pt x="1999" y="1656"/>
                    </a:cubicBezTo>
                    <a:lnTo>
                      <a:pt x="1935" y="1522"/>
                    </a:lnTo>
                    <a:close/>
                    <a:moveTo>
                      <a:pt x="1819" y="1571"/>
                    </a:moveTo>
                    <a:cubicBezTo>
                      <a:pt x="1712" y="1616"/>
                      <a:pt x="1712" y="1616"/>
                      <a:pt x="1712" y="1616"/>
                    </a:cubicBezTo>
                    <a:cubicBezTo>
                      <a:pt x="1789" y="1781"/>
                      <a:pt x="1789" y="1781"/>
                      <a:pt x="1789" y="1781"/>
                    </a:cubicBezTo>
                    <a:cubicBezTo>
                      <a:pt x="1896" y="1729"/>
                      <a:pt x="1896" y="1729"/>
                      <a:pt x="1896" y="1729"/>
                    </a:cubicBezTo>
                    <a:cubicBezTo>
                      <a:pt x="1859" y="1653"/>
                      <a:pt x="1823" y="1580"/>
                      <a:pt x="1819" y="1571"/>
                    </a:cubicBezTo>
                    <a:close/>
                    <a:moveTo>
                      <a:pt x="1699" y="1627"/>
                    </a:moveTo>
                    <a:cubicBezTo>
                      <a:pt x="1616" y="1728"/>
                      <a:pt x="1616" y="1728"/>
                      <a:pt x="1616" y="1728"/>
                    </a:cubicBezTo>
                    <a:cubicBezTo>
                      <a:pt x="1618" y="1733"/>
                      <a:pt x="1621" y="1739"/>
                      <a:pt x="1623" y="1744"/>
                    </a:cubicBezTo>
                    <a:cubicBezTo>
                      <a:pt x="1632" y="1763"/>
                      <a:pt x="1641" y="1783"/>
                      <a:pt x="1650" y="1802"/>
                    </a:cubicBezTo>
                    <a:cubicBezTo>
                      <a:pt x="1756" y="1752"/>
                      <a:pt x="1756" y="1752"/>
                      <a:pt x="1756" y="1752"/>
                    </a:cubicBezTo>
                    <a:cubicBezTo>
                      <a:pt x="1762" y="1761"/>
                      <a:pt x="1762" y="1761"/>
                      <a:pt x="1762" y="1761"/>
                    </a:cubicBezTo>
                    <a:lnTo>
                      <a:pt x="1699" y="1627"/>
                    </a:lnTo>
                    <a:close/>
                    <a:moveTo>
                      <a:pt x="1605" y="1744"/>
                    </a:moveTo>
                    <a:cubicBezTo>
                      <a:pt x="1605" y="1742"/>
                      <a:pt x="1604" y="1741"/>
                      <a:pt x="1603" y="1739"/>
                    </a:cubicBezTo>
                    <a:cubicBezTo>
                      <a:pt x="1512" y="1796"/>
                      <a:pt x="1512" y="1796"/>
                      <a:pt x="1512" y="1796"/>
                    </a:cubicBezTo>
                    <a:cubicBezTo>
                      <a:pt x="1547" y="1871"/>
                      <a:pt x="1547" y="1871"/>
                      <a:pt x="1547" y="1871"/>
                    </a:cubicBezTo>
                    <a:cubicBezTo>
                      <a:pt x="1642" y="1824"/>
                      <a:pt x="1642" y="1824"/>
                      <a:pt x="1642" y="1824"/>
                    </a:cubicBezTo>
                    <a:cubicBezTo>
                      <a:pt x="1630" y="1798"/>
                      <a:pt x="1618" y="1771"/>
                      <a:pt x="1605" y="1744"/>
                    </a:cubicBezTo>
                    <a:close/>
                    <a:moveTo>
                      <a:pt x="1249" y="2241"/>
                    </a:moveTo>
                    <a:cubicBezTo>
                      <a:pt x="1248" y="2238"/>
                      <a:pt x="1248" y="2238"/>
                      <a:pt x="1248" y="2238"/>
                    </a:cubicBezTo>
                    <a:cubicBezTo>
                      <a:pt x="1245" y="2227"/>
                      <a:pt x="1245" y="2227"/>
                      <a:pt x="1245" y="2227"/>
                    </a:cubicBezTo>
                    <a:cubicBezTo>
                      <a:pt x="1245" y="2227"/>
                      <a:pt x="1245" y="2227"/>
                      <a:pt x="1245" y="2227"/>
                    </a:cubicBezTo>
                    <a:cubicBezTo>
                      <a:pt x="1197" y="2128"/>
                      <a:pt x="1197" y="2128"/>
                      <a:pt x="1197" y="2128"/>
                    </a:cubicBezTo>
                    <a:cubicBezTo>
                      <a:pt x="1108" y="2170"/>
                      <a:pt x="1108" y="2170"/>
                      <a:pt x="1108" y="2170"/>
                    </a:cubicBezTo>
                    <a:cubicBezTo>
                      <a:pt x="1113" y="2181"/>
                      <a:pt x="1118" y="2191"/>
                      <a:pt x="1123" y="2202"/>
                    </a:cubicBezTo>
                    <a:cubicBezTo>
                      <a:pt x="1136" y="2233"/>
                      <a:pt x="1150" y="2263"/>
                      <a:pt x="1161" y="2287"/>
                    </a:cubicBezTo>
                    <a:lnTo>
                      <a:pt x="1249" y="2241"/>
                    </a:lnTo>
                    <a:close/>
                    <a:moveTo>
                      <a:pt x="1167" y="2300"/>
                    </a:moveTo>
                    <a:cubicBezTo>
                      <a:pt x="1172" y="2310"/>
                      <a:pt x="1176" y="2318"/>
                      <a:pt x="1179" y="2324"/>
                    </a:cubicBezTo>
                    <a:cubicBezTo>
                      <a:pt x="1180" y="2326"/>
                      <a:pt x="1180" y="2327"/>
                      <a:pt x="1181" y="2329"/>
                    </a:cubicBezTo>
                    <a:cubicBezTo>
                      <a:pt x="1271" y="2280"/>
                      <a:pt x="1271" y="2280"/>
                      <a:pt x="1271" y="2280"/>
                    </a:cubicBezTo>
                    <a:cubicBezTo>
                      <a:pt x="1258" y="2252"/>
                      <a:pt x="1258" y="2252"/>
                      <a:pt x="1258" y="2252"/>
                    </a:cubicBezTo>
                    <a:lnTo>
                      <a:pt x="1167" y="2300"/>
                    </a:lnTo>
                    <a:close/>
                    <a:moveTo>
                      <a:pt x="1286" y="2272"/>
                    </a:moveTo>
                    <a:cubicBezTo>
                      <a:pt x="1381" y="2221"/>
                      <a:pt x="1381" y="2221"/>
                      <a:pt x="1381" y="2221"/>
                    </a:cubicBezTo>
                    <a:cubicBezTo>
                      <a:pt x="1364" y="2183"/>
                      <a:pt x="1364" y="2183"/>
                      <a:pt x="1364" y="2183"/>
                    </a:cubicBezTo>
                    <a:cubicBezTo>
                      <a:pt x="1266" y="2232"/>
                      <a:pt x="1266" y="2232"/>
                      <a:pt x="1266" y="2232"/>
                    </a:cubicBezTo>
                    <a:lnTo>
                      <a:pt x="1286" y="2272"/>
                    </a:lnTo>
                    <a:close/>
                    <a:moveTo>
                      <a:pt x="1396" y="2213"/>
                    </a:moveTo>
                    <a:cubicBezTo>
                      <a:pt x="1504" y="2154"/>
                      <a:pt x="1504" y="2154"/>
                      <a:pt x="1504" y="2154"/>
                    </a:cubicBezTo>
                    <a:cubicBezTo>
                      <a:pt x="1483" y="2108"/>
                      <a:pt x="1483" y="2108"/>
                      <a:pt x="1483" y="2108"/>
                    </a:cubicBezTo>
                    <a:cubicBezTo>
                      <a:pt x="1373" y="2162"/>
                      <a:pt x="1373" y="2162"/>
                      <a:pt x="1373" y="2162"/>
                    </a:cubicBezTo>
                    <a:lnTo>
                      <a:pt x="1396" y="2213"/>
                    </a:lnTo>
                    <a:close/>
                    <a:moveTo>
                      <a:pt x="1519" y="2147"/>
                    </a:moveTo>
                    <a:cubicBezTo>
                      <a:pt x="1629" y="2087"/>
                      <a:pt x="1629" y="2087"/>
                      <a:pt x="1629" y="2087"/>
                    </a:cubicBezTo>
                    <a:cubicBezTo>
                      <a:pt x="1604" y="2032"/>
                      <a:pt x="1604" y="2032"/>
                      <a:pt x="1604" y="2032"/>
                    </a:cubicBezTo>
                    <a:cubicBezTo>
                      <a:pt x="1492" y="2086"/>
                      <a:pt x="1492" y="2086"/>
                      <a:pt x="1492" y="2086"/>
                    </a:cubicBezTo>
                    <a:cubicBezTo>
                      <a:pt x="1493" y="2091"/>
                      <a:pt x="1493" y="2091"/>
                      <a:pt x="1493" y="2091"/>
                    </a:cubicBezTo>
                    <a:lnTo>
                      <a:pt x="1519" y="2147"/>
                    </a:lnTo>
                    <a:close/>
                    <a:moveTo>
                      <a:pt x="1644" y="2079"/>
                    </a:moveTo>
                    <a:cubicBezTo>
                      <a:pt x="1738" y="2028"/>
                      <a:pt x="1738" y="2028"/>
                      <a:pt x="1738" y="2028"/>
                    </a:cubicBezTo>
                    <a:cubicBezTo>
                      <a:pt x="1733" y="2018"/>
                      <a:pt x="1722" y="1994"/>
                      <a:pt x="1707" y="1962"/>
                    </a:cubicBezTo>
                    <a:cubicBezTo>
                      <a:pt x="1611" y="2010"/>
                      <a:pt x="1611" y="2010"/>
                      <a:pt x="1611" y="2010"/>
                    </a:cubicBezTo>
                    <a:lnTo>
                      <a:pt x="1644" y="2079"/>
                    </a:lnTo>
                    <a:close/>
                    <a:moveTo>
                      <a:pt x="1753" y="2020"/>
                    </a:moveTo>
                    <a:cubicBezTo>
                      <a:pt x="1857" y="1964"/>
                      <a:pt x="1857" y="1964"/>
                      <a:pt x="1857" y="1964"/>
                    </a:cubicBezTo>
                    <a:cubicBezTo>
                      <a:pt x="1822" y="1889"/>
                      <a:pt x="1822" y="1889"/>
                      <a:pt x="1822" y="1889"/>
                    </a:cubicBezTo>
                    <a:cubicBezTo>
                      <a:pt x="1715" y="1940"/>
                      <a:pt x="1715" y="1940"/>
                      <a:pt x="1715" y="1940"/>
                    </a:cubicBezTo>
                    <a:cubicBezTo>
                      <a:pt x="1733" y="1979"/>
                      <a:pt x="1747" y="2008"/>
                      <a:pt x="1753" y="2020"/>
                    </a:cubicBezTo>
                    <a:close/>
                    <a:moveTo>
                      <a:pt x="1872" y="1956"/>
                    </a:moveTo>
                    <a:cubicBezTo>
                      <a:pt x="1976" y="1900"/>
                      <a:pt x="1976" y="1900"/>
                      <a:pt x="1976" y="1900"/>
                    </a:cubicBezTo>
                    <a:cubicBezTo>
                      <a:pt x="1974" y="1894"/>
                      <a:pt x="1968" y="1883"/>
                      <a:pt x="1961" y="1867"/>
                    </a:cubicBezTo>
                    <a:cubicBezTo>
                      <a:pt x="1854" y="1919"/>
                      <a:pt x="1854" y="1919"/>
                      <a:pt x="1854" y="1919"/>
                    </a:cubicBezTo>
                    <a:lnTo>
                      <a:pt x="1872" y="1956"/>
                    </a:lnTo>
                    <a:close/>
                    <a:moveTo>
                      <a:pt x="1986" y="1883"/>
                    </a:moveTo>
                    <a:cubicBezTo>
                      <a:pt x="1988" y="1887"/>
                      <a:pt x="1989" y="1889"/>
                      <a:pt x="1991" y="1892"/>
                    </a:cubicBezTo>
                    <a:cubicBezTo>
                      <a:pt x="2088" y="1840"/>
                      <a:pt x="2088" y="1840"/>
                      <a:pt x="2088" y="1840"/>
                    </a:cubicBezTo>
                    <a:cubicBezTo>
                      <a:pt x="2066" y="1793"/>
                      <a:pt x="2066" y="1793"/>
                      <a:pt x="2066" y="1793"/>
                    </a:cubicBezTo>
                    <a:cubicBezTo>
                      <a:pt x="1970" y="1843"/>
                      <a:pt x="1970" y="1843"/>
                      <a:pt x="1970" y="1843"/>
                    </a:cubicBezTo>
                    <a:cubicBezTo>
                      <a:pt x="1970" y="1844"/>
                      <a:pt x="1970" y="1844"/>
                      <a:pt x="1970" y="1844"/>
                    </a:cubicBezTo>
                    <a:cubicBezTo>
                      <a:pt x="1969" y="1844"/>
                      <a:pt x="1969" y="1844"/>
                      <a:pt x="1969" y="1844"/>
                    </a:cubicBezTo>
                    <a:cubicBezTo>
                      <a:pt x="1976" y="1860"/>
                      <a:pt x="1982" y="1873"/>
                      <a:pt x="1986" y="1883"/>
                    </a:cubicBezTo>
                    <a:close/>
                    <a:moveTo>
                      <a:pt x="2195" y="1783"/>
                    </a:moveTo>
                    <a:cubicBezTo>
                      <a:pt x="2233" y="1764"/>
                      <a:pt x="2302" y="1730"/>
                      <a:pt x="2388" y="1684"/>
                    </a:cubicBezTo>
                    <a:cubicBezTo>
                      <a:pt x="2441" y="1657"/>
                      <a:pt x="2500" y="1625"/>
                      <a:pt x="2564" y="1591"/>
                    </a:cubicBezTo>
                    <a:cubicBezTo>
                      <a:pt x="2515" y="1488"/>
                      <a:pt x="2515" y="1488"/>
                      <a:pt x="2515" y="1488"/>
                    </a:cubicBezTo>
                    <a:cubicBezTo>
                      <a:pt x="2502" y="1496"/>
                      <a:pt x="2420" y="1543"/>
                      <a:pt x="2337" y="1591"/>
                    </a:cubicBezTo>
                    <a:cubicBezTo>
                      <a:pt x="2291" y="1617"/>
                      <a:pt x="2246" y="1644"/>
                      <a:pt x="2212" y="1664"/>
                    </a:cubicBezTo>
                    <a:cubicBezTo>
                      <a:pt x="2195" y="1674"/>
                      <a:pt x="2181" y="1682"/>
                      <a:pt x="2171" y="1688"/>
                    </a:cubicBezTo>
                    <a:cubicBezTo>
                      <a:pt x="2166" y="1691"/>
                      <a:pt x="2163" y="1694"/>
                      <a:pt x="2160" y="1696"/>
                    </a:cubicBezTo>
                    <a:cubicBezTo>
                      <a:pt x="2159" y="1696"/>
                      <a:pt x="2158" y="1697"/>
                      <a:pt x="2158" y="1697"/>
                    </a:cubicBezTo>
                    <a:cubicBezTo>
                      <a:pt x="2173" y="1726"/>
                      <a:pt x="2173" y="1726"/>
                      <a:pt x="2173" y="1726"/>
                    </a:cubicBezTo>
                    <a:cubicBezTo>
                      <a:pt x="2169" y="1728"/>
                      <a:pt x="2169" y="1728"/>
                      <a:pt x="2169" y="1728"/>
                    </a:cubicBezTo>
                    <a:lnTo>
                      <a:pt x="2195" y="1783"/>
                    </a:lnTo>
                    <a:close/>
                    <a:moveTo>
                      <a:pt x="2604" y="1570"/>
                    </a:moveTo>
                    <a:cubicBezTo>
                      <a:pt x="2685" y="1527"/>
                      <a:pt x="2771" y="1481"/>
                      <a:pt x="2858" y="1435"/>
                    </a:cubicBezTo>
                    <a:cubicBezTo>
                      <a:pt x="2600" y="1177"/>
                      <a:pt x="2600" y="1177"/>
                      <a:pt x="2600" y="1177"/>
                    </a:cubicBezTo>
                    <a:cubicBezTo>
                      <a:pt x="2596" y="1179"/>
                      <a:pt x="2588" y="1182"/>
                      <a:pt x="2580" y="1185"/>
                    </a:cubicBezTo>
                    <a:cubicBezTo>
                      <a:pt x="2796" y="1394"/>
                      <a:pt x="2796" y="1394"/>
                      <a:pt x="2796" y="1394"/>
                    </a:cubicBezTo>
                    <a:cubicBezTo>
                      <a:pt x="2751" y="1403"/>
                      <a:pt x="2751" y="1403"/>
                      <a:pt x="2751" y="1403"/>
                    </a:cubicBezTo>
                    <a:cubicBezTo>
                      <a:pt x="2655" y="1310"/>
                      <a:pt x="2655" y="1310"/>
                      <a:pt x="2655" y="1310"/>
                    </a:cubicBezTo>
                    <a:cubicBezTo>
                      <a:pt x="2643" y="1428"/>
                      <a:pt x="2643" y="1428"/>
                      <a:pt x="2643" y="1428"/>
                    </a:cubicBezTo>
                    <a:cubicBezTo>
                      <a:pt x="2566" y="1448"/>
                      <a:pt x="2566" y="1448"/>
                      <a:pt x="2566" y="1448"/>
                    </a:cubicBezTo>
                    <a:cubicBezTo>
                      <a:pt x="2470" y="1228"/>
                      <a:pt x="2470" y="1228"/>
                      <a:pt x="2470" y="1228"/>
                    </a:cubicBezTo>
                    <a:cubicBezTo>
                      <a:pt x="2577" y="1186"/>
                      <a:pt x="2577" y="1186"/>
                      <a:pt x="2577" y="1186"/>
                    </a:cubicBezTo>
                    <a:cubicBezTo>
                      <a:pt x="2561" y="1192"/>
                      <a:pt x="2541" y="1199"/>
                      <a:pt x="2521" y="1207"/>
                    </a:cubicBezTo>
                    <a:cubicBezTo>
                      <a:pt x="2500" y="1215"/>
                      <a:pt x="2479" y="1222"/>
                      <a:pt x="2463" y="1229"/>
                    </a:cubicBezTo>
                    <a:cubicBezTo>
                      <a:pt x="2455" y="1232"/>
                      <a:pt x="2449" y="1234"/>
                      <a:pt x="2444" y="1236"/>
                    </a:cubicBezTo>
                    <a:cubicBezTo>
                      <a:pt x="2444" y="1237"/>
                      <a:pt x="2443" y="1237"/>
                      <a:pt x="2443" y="1237"/>
                    </a:cubicBezTo>
                    <a:cubicBezTo>
                      <a:pt x="2545" y="1450"/>
                      <a:pt x="2545" y="1450"/>
                      <a:pt x="2545" y="1450"/>
                    </a:cubicBezTo>
                    <a:cubicBezTo>
                      <a:pt x="2547" y="1449"/>
                      <a:pt x="2547" y="1449"/>
                      <a:pt x="2547" y="1449"/>
                    </a:cubicBezTo>
                    <a:lnTo>
                      <a:pt x="2604" y="1570"/>
                    </a:lnTo>
                    <a:close/>
                    <a:moveTo>
                      <a:pt x="2576" y="1201"/>
                    </a:moveTo>
                    <a:cubicBezTo>
                      <a:pt x="2488" y="1236"/>
                      <a:pt x="2488" y="1236"/>
                      <a:pt x="2488" y="1236"/>
                    </a:cubicBezTo>
                    <a:cubicBezTo>
                      <a:pt x="2574" y="1432"/>
                      <a:pt x="2574" y="1432"/>
                      <a:pt x="2574" y="1432"/>
                    </a:cubicBezTo>
                    <a:cubicBezTo>
                      <a:pt x="2630" y="1417"/>
                      <a:pt x="2630" y="1417"/>
                      <a:pt x="2630" y="1417"/>
                    </a:cubicBezTo>
                    <a:cubicBezTo>
                      <a:pt x="2642" y="1309"/>
                      <a:pt x="2642" y="1309"/>
                      <a:pt x="2642" y="1309"/>
                    </a:cubicBezTo>
                    <a:cubicBezTo>
                      <a:pt x="2645" y="1280"/>
                      <a:pt x="2645" y="1280"/>
                      <a:pt x="2645" y="1280"/>
                    </a:cubicBezTo>
                    <a:cubicBezTo>
                      <a:pt x="2665" y="1300"/>
                      <a:pt x="2665" y="1300"/>
                      <a:pt x="2665" y="1300"/>
                    </a:cubicBezTo>
                    <a:cubicBezTo>
                      <a:pt x="2755" y="1388"/>
                      <a:pt x="2755" y="1388"/>
                      <a:pt x="2755" y="1388"/>
                    </a:cubicBezTo>
                    <a:cubicBezTo>
                      <a:pt x="2767" y="1386"/>
                      <a:pt x="2767" y="1386"/>
                      <a:pt x="2767" y="1386"/>
                    </a:cubicBezTo>
                    <a:lnTo>
                      <a:pt x="2576" y="1201"/>
                    </a:lnTo>
                    <a:close/>
                    <a:moveTo>
                      <a:pt x="2250" y="941"/>
                    </a:moveTo>
                    <a:cubicBezTo>
                      <a:pt x="2004" y="1108"/>
                      <a:pt x="2004" y="1108"/>
                      <a:pt x="2004" y="1108"/>
                    </a:cubicBezTo>
                    <a:cubicBezTo>
                      <a:pt x="1888" y="1117"/>
                      <a:pt x="1888" y="1117"/>
                      <a:pt x="1888" y="1117"/>
                    </a:cubicBezTo>
                    <a:cubicBezTo>
                      <a:pt x="2015" y="1393"/>
                      <a:pt x="2015" y="1393"/>
                      <a:pt x="2015" y="1393"/>
                    </a:cubicBezTo>
                    <a:cubicBezTo>
                      <a:pt x="2027" y="1387"/>
                      <a:pt x="2044" y="1378"/>
                      <a:pt x="2068" y="1367"/>
                    </a:cubicBezTo>
                    <a:cubicBezTo>
                      <a:pt x="2122" y="1341"/>
                      <a:pt x="2200" y="1303"/>
                      <a:pt x="2266" y="1272"/>
                    </a:cubicBezTo>
                    <a:cubicBezTo>
                      <a:pt x="2298" y="1256"/>
                      <a:pt x="2328" y="1242"/>
                      <a:pt x="2349" y="1232"/>
                    </a:cubicBezTo>
                    <a:cubicBezTo>
                      <a:pt x="2359" y="1227"/>
                      <a:pt x="2368" y="1222"/>
                      <a:pt x="2373" y="1219"/>
                    </a:cubicBezTo>
                    <a:cubicBezTo>
                      <a:pt x="2376" y="1218"/>
                      <a:pt x="2378" y="1217"/>
                      <a:pt x="2380" y="1216"/>
                    </a:cubicBezTo>
                    <a:cubicBezTo>
                      <a:pt x="2380" y="1215"/>
                      <a:pt x="2381" y="1215"/>
                      <a:pt x="2382" y="1214"/>
                    </a:cubicBezTo>
                    <a:lnTo>
                      <a:pt x="2250" y="941"/>
                    </a:lnTo>
                    <a:close/>
                    <a:moveTo>
                      <a:pt x="1871" y="1118"/>
                    </a:moveTo>
                    <a:cubicBezTo>
                      <a:pt x="1669" y="1134"/>
                      <a:pt x="1669" y="1134"/>
                      <a:pt x="1669" y="1134"/>
                    </a:cubicBezTo>
                    <a:cubicBezTo>
                      <a:pt x="1650" y="1166"/>
                      <a:pt x="1591" y="1268"/>
                      <a:pt x="1532" y="1369"/>
                    </a:cubicBezTo>
                    <a:cubicBezTo>
                      <a:pt x="1516" y="1396"/>
                      <a:pt x="1501" y="1422"/>
                      <a:pt x="1487" y="1447"/>
                    </a:cubicBezTo>
                    <a:cubicBezTo>
                      <a:pt x="1497" y="1471"/>
                      <a:pt x="1551" y="1589"/>
                      <a:pt x="1608" y="1712"/>
                    </a:cubicBezTo>
                    <a:cubicBezTo>
                      <a:pt x="1695" y="1605"/>
                      <a:pt x="1695" y="1605"/>
                      <a:pt x="1695" y="1605"/>
                    </a:cubicBezTo>
                    <a:cubicBezTo>
                      <a:pt x="2030" y="1464"/>
                      <a:pt x="2030" y="1464"/>
                      <a:pt x="2030" y="1464"/>
                    </a:cubicBezTo>
                    <a:lnTo>
                      <a:pt x="1871" y="1118"/>
                    </a:lnTo>
                    <a:close/>
                    <a:moveTo>
                      <a:pt x="1209" y="796"/>
                    </a:moveTo>
                    <a:cubicBezTo>
                      <a:pt x="1097" y="886"/>
                      <a:pt x="1097" y="886"/>
                      <a:pt x="1097" y="886"/>
                    </a:cubicBezTo>
                    <a:cubicBezTo>
                      <a:pt x="1097" y="914"/>
                      <a:pt x="1091" y="1071"/>
                      <a:pt x="1091" y="1123"/>
                    </a:cubicBezTo>
                    <a:cubicBezTo>
                      <a:pt x="1311" y="1111"/>
                      <a:pt x="1311" y="1111"/>
                      <a:pt x="1311" y="1111"/>
                    </a:cubicBezTo>
                    <a:cubicBezTo>
                      <a:pt x="1328" y="975"/>
                      <a:pt x="1328" y="975"/>
                      <a:pt x="1328" y="975"/>
                    </a:cubicBezTo>
                    <a:lnTo>
                      <a:pt x="1209" y="796"/>
                    </a:lnTo>
                    <a:close/>
                    <a:moveTo>
                      <a:pt x="669" y="1239"/>
                    </a:moveTo>
                    <a:cubicBezTo>
                      <a:pt x="410" y="1454"/>
                      <a:pt x="410" y="1454"/>
                      <a:pt x="410" y="1454"/>
                    </a:cubicBezTo>
                    <a:cubicBezTo>
                      <a:pt x="426" y="1470"/>
                      <a:pt x="447" y="1491"/>
                      <a:pt x="469" y="1512"/>
                    </a:cubicBezTo>
                    <a:cubicBezTo>
                      <a:pt x="489" y="1533"/>
                      <a:pt x="511" y="1553"/>
                      <a:pt x="527" y="1569"/>
                    </a:cubicBezTo>
                    <a:cubicBezTo>
                      <a:pt x="534" y="1576"/>
                      <a:pt x="541" y="1582"/>
                      <a:pt x="546" y="1586"/>
                    </a:cubicBezTo>
                    <a:cubicBezTo>
                      <a:pt x="579" y="1567"/>
                      <a:pt x="717" y="1490"/>
                      <a:pt x="816" y="1436"/>
                    </a:cubicBezTo>
                    <a:lnTo>
                      <a:pt x="669" y="1239"/>
                    </a:lnTo>
                    <a:close/>
                    <a:moveTo>
                      <a:pt x="815" y="1465"/>
                    </a:moveTo>
                    <a:cubicBezTo>
                      <a:pt x="1079" y="1800"/>
                      <a:pt x="1079" y="1800"/>
                      <a:pt x="1079" y="1800"/>
                    </a:cubicBezTo>
                    <a:cubicBezTo>
                      <a:pt x="1146" y="1736"/>
                      <a:pt x="1146" y="1736"/>
                      <a:pt x="1146" y="1736"/>
                    </a:cubicBezTo>
                    <a:cubicBezTo>
                      <a:pt x="921" y="1454"/>
                      <a:pt x="921" y="1454"/>
                      <a:pt x="921" y="1454"/>
                    </a:cubicBezTo>
                    <a:lnTo>
                      <a:pt x="815" y="1465"/>
                    </a:lnTo>
                    <a:close/>
                    <a:moveTo>
                      <a:pt x="551" y="1606"/>
                    </a:moveTo>
                    <a:cubicBezTo>
                      <a:pt x="551" y="1633"/>
                      <a:pt x="553" y="1712"/>
                      <a:pt x="554" y="1728"/>
                    </a:cubicBezTo>
                    <a:cubicBezTo>
                      <a:pt x="566" y="1739"/>
                      <a:pt x="643" y="1813"/>
                      <a:pt x="721" y="1887"/>
                    </a:cubicBezTo>
                    <a:cubicBezTo>
                      <a:pt x="764" y="1928"/>
                      <a:pt x="806" y="1968"/>
                      <a:pt x="838" y="1999"/>
                    </a:cubicBezTo>
                    <a:cubicBezTo>
                      <a:pt x="854" y="2014"/>
                      <a:pt x="868" y="2027"/>
                      <a:pt x="877" y="2036"/>
                    </a:cubicBezTo>
                    <a:cubicBezTo>
                      <a:pt x="878" y="2036"/>
                      <a:pt x="878" y="2037"/>
                      <a:pt x="879" y="2038"/>
                    </a:cubicBezTo>
                    <a:cubicBezTo>
                      <a:pt x="930" y="1989"/>
                      <a:pt x="1013" y="1910"/>
                      <a:pt x="1092" y="1834"/>
                    </a:cubicBezTo>
                    <a:cubicBezTo>
                      <a:pt x="1129" y="1800"/>
                      <a:pt x="1165" y="1765"/>
                      <a:pt x="1199" y="1733"/>
                    </a:cubicBezTo>
                    <a:cubicBezTo>
                      <a:pt x="1183" y="1715"/>
                      <a:pt x="1122" y="1640"/>
                      <a:pt x="1061" y="1565"/>
                    </a:cubicBezTo>
                    <a:cubicBezTo>
                      <a:pt x="1025" y="1521"/>
                      <a:pt x="990" y="1478"/>
                      <a:pt x="963" y="1445"/>
                    </a:cubicBezTo>
                    <a:cubicBezTo>
                      <a:pt x="950" y="1428"/>
                      <a:pt x="939" y="1415"/>
                      <a:pt x="931" y="1405"/>
                    </a:cubicBezTo>
                    <a:cubicBezTo>
                      <a:pt x="927" y="1401"/>
                      <a:pt x="925" y="1398"/>
                      <a:pt x="923" y="1395"/>
                    </a:cubicBezTo>
                    <a:cubicBezTo>
                      <a:pt x="909" y="1403"/>
                      <a:pt x="870" y="1424"/>
                      <a:pt x="823" y="1450"/>
                    </a:cubicBezTo>
                    <a:cubicBezTo>
                      <a:pt x="927" y="1440"/>
                      <a:pt x="927" y="1440"/>
                      <a:pt x="927" y="1440"/>
                    </a:cubicBezTo>
                    <a:cubicBezTo>
                      <a:pt x="1165" y="1738"/>
                      <a:pt x="1165" y="1738"/>
                      <a:pt x="1165" y="1738"/>
                    </a:cubicBezTo>
                    <a:cubicBezTo>
                      <a:pt x="1078" y="1821"/>
                      <a:pt x="1078" y="1821"/>
                      <a:pt x="1078" y="1821"/>
                    </a:cubicBezTo>
                    <a:cubicBezTo>
                      <a:pt x="797" y="1465"/>
                      <a:pt x="797" y="1465"/>
                      <a:pt x="797" y="1465"/>
                    </a:cubicBezTo>
                    <a:cubicBezTo>
                      <a:pt x="778" y="1475"/>
                      <a:pt x="758" y="1486"/>
                      <a:pt x="738" y="1497"/>
                    </a:cubicBezTo>
                    <a:cubicBezTo>
                      <a:pt x="691" y="1524"/>
                      <a:pt x="643" y="1550"/>
                      <a:pt x="607" y="1570"/>
                    </a:cubicBezTo>
                    <a:cubicBezTo>
                      <a:pt x="589" y="1580"/>
                      <a:pt x="574" y="1589"/>
                      <a:pt x="564" y="1595"/>
                    </a:cubicBezTo>
                    <a:cubicBezTo>
                      <a:pt x="559" y="1598"/>
                      <a:pt x="555" y="1600"/>
                      <a:pt x="552" y="1602"/>
                    </a:cubicBezTo>
                    <a:lnTo>
                      <a:pt x="551" y="1606"/>
                    </a:lnTo>
                    <a:close/>
                    <a:moveTo>
                      <a:pt x="609" y="1812"/>
                    </a:moveTo>
                    <a:cubicBezTo>
                      <a:pt x="596" y="1860"/>
                      <a:pt x="556" y="2008"/>
                      <a:pt x="535" y="2081"/>
                    </a:cubicBezTo>
                    <a:cubicBezTo>
                      <a:pt x="576" y="2095"/>
                      <a:pt x="621" y="2112"/>
                      <a:pt x="641" y="2111"/>
                    </a:cubicBezTo>
                    <a:cubicBezTo>
                      <a:pt x="664" y="2112"/>
                      <a:pt x="689" y="2098"/>
                      <a:pt x="735" y="2091"/>
                    </a:cubicBezTo>
                    <a:cubicBezTo>
                      <a:pt x="752" y="2089"/>
                      <a:pt x="775" y="2085"/>
                      <a:pt x="804" y="2085"/>
                    </a:cubicBezTo>
                    <a:cubicBezTo>
                      <a:pt x="811" y="2085"/>
                      <a:pt x="819" y="2085"/>
                      <a:pt x="827" y="2086"/>
                    </a:cubicBezTo>
                    <a:cubicBezTo>
                      <a:pt x="827" y="2086"/>
                      <a:pt x="828" y="2086"/>
                      <a:pt x="828" y="2086"/>
                    </a:cubicBezTo>
                    <a:cubicBezTo>
                      <a:pt x="833" y="2082"/>
                      <a:pt x="847" y="2068"/>
                      <a:pt x="867" y="2049"/>
                    </a:cubicBezTo>
                    <a:cubicBezTo>
                      <a:pt x="827" y="2010"/>
                      <a:pt x="694" y="1884"/>
                      <a:pt x="611" y="1804"/>
                    </a:cubicBezTo>
                    <a:cubicBezTo>
                      <a:pt x="610" y="1806"/>
                      <a:pt x="610" y="1809"/>
                      <a:pt x="609" y="1812"/>
                    </a:cubicBezTo>
                    <a:close/>
                    <a:moveTo>
                      <a:pt x="516" y="2147"/>
                    </a:moveTo>
                    <a:cubicBezTo>
                      <a:pt x="500" y="2196"/>
                      <a:pt x="464" y="2304"/>
                      <a:pt x="459" y="2320"/>
                    </a:cubicBezTo>
                    <a:cubicBezTo>
                      <a:pt x="462" y="2334"/>
                      <a:pt x="493" y="2420"/>
                      <a:pt x="522" y="2503"/>
                    </a:cubicBezTo>
                    <a:cubicBezTo>
                      <a:pt x="544" y="2564"/>
                      <a:pt x="565" y="2623"/>
                      <a:pt x="575" y="2653"/>
                    </a:cubicBezTo>
                    <a:cubicBezTo>
                      <a:pt x="1023" y="2413"/>
                      <a:pt x="1023" y="2413"/>
                      <a:pt x="1023" y="2413"/>
                    </a:cubicBezTo>
                    <a:cubicBezTo>
                      <a:pt x="1023" y="2411"/>
                      <a:pt x="1020" y="2400"/>
                      <a:pt x="1014" y="2382"/>
                    </a:cubicBezTo>
                    <a:cubicBezTo>
                      <a:pt x="1004" y="2353"/>
                      <a:pt x="988" y="2308"/>
                      <a:pt x="968" y="2267"/>
                    </a:cubicBezTo>
                    <a:cubicBezTo>
                      <a:pt x="948" y="2225"/>
                      <a:pt x="921" y="2189"/>
                      <a:pt x="902" y="2178"/>
                    </a:cubicBezTo>
                    <a:cubicBezTo>
                      <a:pt x="873" y="2160"/>
                      <a:pt x="847" y="2157"/>
                      <a:pt x="822" y="2155"/>
                    </a:cubicBezTo>
                    <a:cubicBezTo>
                      <a:pt x="816" y="2154"/>
                      <a:pt x="810" y="2154"/>
                      <a:pt x="804" y="2154"/>
                    </a:cubicBezTo>
                    <a:cubicBezTo>
                      <a:pt x="781" y="2154"/>
                      <a:pt x="763" y="2157"/>
                      <a:pt x="744" y="2160"/>
                    </a:cubicBezTo>
                    <a:cubicBezTo>
                      <a:pt x="712" y="2163"/>
                      <a:pt x="686" y="2179"/>
                      <a:pt x="641" y="2180"/>
                    </a:cubicBezTo>
                    <a:cubicBezTo>
                      <a:pt x="597" y="2179"/>
                      <a:pt x="554" y="2160"/>
                      <a:pt x="516" y="2147"/>
                    </a:cubicBezTo>
                    <a:close/>
                    <a:moveTo>
                      <a:pt x="526" y="2852"/>
                    </a:moveTo>
                    <a:cubicBezTo>
                      <a:pt x="529" y="2855"/>
                      <a:pt x="532" y="2860"/>
                      <a:pt x="538" y="2866"/>
                    </a:cubicBezTo>
                    <a:cubicBezTo>
                      <a:pt x="592" y="2836"/>
                      <a:pt x="593" y="2835"/>
                      <a:pt x="599" y="2831"/>
                    </a:cubicBezTo>
                    <a:cubicBezTo>
                      <a:pt x="601" y="2830"/>
                      <a:pt x="601" y="2830"/>
                      <a:pt x="601" y="2830"/>
                    </a:cubicBezTo>
                    <a:cubicBezTo>
                      <a:pt x="602" y="2830"/>
                      <a:pt x="602" y="2830"/>
                      <a:pt x="602" y="2830"/>
                    </a:cubicBezTo>
                    <a:cubicBezTo>
                      <a:pt x="602" y="2829"/>
                      <a:pt x="615" y="2823"/>
                      <a:pt x="640" y="2810"/>
                    </a:cubicBezTo>
                    <a:cubicBezTo>
                      <a:pt x="811" y="2719"/>
                      <a:pt x="1543" y="2331"/>
                      <a:pt x="2268" y="1940"/>
                    </a:cubicBezTo>
                    <a:cubicBezTo>
                      <a:pt x="2900" y="1599"/>
                      <a:pt x="3534" y="1248"/>
                      <a:pt x="3744" y="1140"/>
                    </a:cubicBezTo>
                    <a:cubicBezTo>
                      <a:pt x="3738" y="1126"/>
                      <a:pt x="3738" y="1126"/>
                      <a:pt x="3738" y="1126"/>
                    </a:cubicBezTo>
                    <a:cubicBezTo>
                      <a:pt x="3724" y="1137"/>
                      <a:pt x="3711" y="1147"/>
                      <a:pt x="3701" y="1155"/>
                    </a:cubicBezTo>
                    <a:cubicBezTo>
                      <a:pt x="3694" y="1159"/>
                      <a:pt x="3692" y="1161"/>
                      <a:pt x="3687" y="1164"/>
                    </a:cubicBezTo>
                    <a:cubicBezTo>
                      <a:pt x="3653" y="1183"/>
                      <a:pt x="3549" y="1239"/>
                      <a:pt x="3408" y="1315"/>
                    </a:cubicBezTo>
                    <a:cubicBezTo>
                      <a:pt x="2984" y="1542"/>
                      <a:pt x="2234" y="1934"/>
                      <a:pt x="2234" y="1934"/>
                    </a:cubicBezTo>
                    <a:cubicBezTo>
                      <a:pt x="2233" y="1933"/>
                      <a:pt x="2233" y="1933"/>
                      <a:pt x="2233" y="1933"/>
                    </a:cubicBezTo>
                    <a:cubicBezTo>
                      <a:pt x="2230" y="1935"/>
                      <a:pt x="2230" y="1935"/>
                      <a:pt x="2230" y="1935"/>
                    </a:cubicBezTo>
                    <a:cubicBezTo>
                      <a:pt x="1345" y="2414"/>
                      <a:pt x="1345" y="2414"/>
                      <a:pt x="1345" y="2414"/>
                    </a:cubicBezTo>
                    <a:lnTo>
                      <a:pt x="526" y="2852"/>
                    </a:lnTo>
                    <a:close/>
                    <a:moveTo>
                      <a:pt x="3925" y="847"/>
                    </a:moveTo>
                    <a:cubicBezTo>
                      <a:pt x="3921" y="838"/>
                      <a:pt x="3915" y="823"/>
                      <a:pt x="3908" y="807"/>
                    </a:cubicBezTo>
                    <a:cubicBezTo>
                      <a:pt x="3900" y="786"/>
                      <a:pt x="3891" y="761"/>
                      <a:pt x="3885" y="735"/>
                    </a:cubicBezTo>
                    <a:cubicBezTo>
                      <a:pt x="3728" y="806"/>
                      <a:pt x="3728" y="806"/>
                      <a:pt x="3728" y="806"/>
                    </a:cubicBezTo>
                    <a:cubicBezTo>
                      <a:pt x="3663" y="783"/>
                      <a:pt x="3663" y="783"/>
                      <a:pt x="3663" y="783"/>
                    </a:cubicBezTo>
                    <a:cubicBezTo>
                      <a:pt x="3479" y="1003"/>
                      <a:pt x="3479" y="1003"/>
                      <a:pt x="3479" y="1003"/>
                    </a:cubicBezTo>
                    <a:cubicBezTo>
                      <a:pt x="3474" y="1002"/>
                      <a:pt x="3474" y="1002"/>
                      <a:pt x="3474" y="1002"/>
                    </a:cubicBezTo>
                    <a:cubicBezTo>
                      <a:pt x="3474" y="1002"/>
                      <a:pt x="3444" y="992"/>
                      <a:pt x="3414" y="983"/>
                    </a:cubicBezTo>
                    <a:cubicBezTo>
                      <a:pt x="3399" y="979"/>
                      <a:pt x="3384" y="974"/>
                      <a:pt x="3372" y="971"/>
                    </a:cubicBezTo>
                    <a:cubicBezTo>
                      <a:pt x="3366" y="969"/>
                      <a:pt x="3361" y="968"/>
                      <a:pt x="3358" y="967"/>
                    </a:cubicBezTo>
                    <a:cubicBezTo>
                      <a:pt x="3250" y="1227"/>
                      <a:pt x="3250" y="1227"/>
                      <a:pt x="3250" y="1227"/>
                    </a:cubicBezTo>
                    <a:cubicBezTo>
                      <a:pt x="3334" y="1182"/>
                      <a:pt x="3410" y="1141"/>
                      <a:pt x="3470" y="1109"/>
                    </a:cubicBezTo>
                    <a:cubicBezTo>
                      <a:pt x="3513" y="1086"/>
                      <a:pt x="3548" y="1066"/>
                      <a:pt x="3574" y="1052"/>
                    </a:cubicBezTo>
                    <a:cubicBezTo>
                      <a:pt x="3586" y="1045"/>
                      <a:pt x="3597" y="1040"/>
                      <a:pt x="3604" y="1036"/>
                    </a:cubicBezTo>
                    <a:cubicBezTo>
                      <a:pt x="3607" y="1034"/>
                      <a:pt x="3610" y="1032"/>
                      <a:pt x="3612" y="1031"/>
                    </a:cubicBezTo>
                    <a:cubicBezTo>
                      <a:pt x="3612" y="1031"/>
                      <a:pt x="3612" y="1031"/>
                      <a:pt x="3613" y="1030"/>
                    </a:cubicBezTo>
                    <a:cubicBezTo>
                      <a:pt x="3629" y="1019"/>
                      <a:pt x="3672" y="982"/>
                      <a:pt x="3726" y="945"/>
                    </a:cubicBezTo>
                    <a:cubicBezTo>
                      <a:pt x="3780" y="908"/>
                      <a:pt x="3848" y="869"/>
                      <a:pt x="3925" y="847"/>
                    </a:cubicBezTo>
                    <a:close/>
                    <a:moveTo>
                      <a:pt x="3792" y="1085"/>
                    </a:moveTo>
                    <a:cubicBezTo>
                      <a:pt x="3803" y="1111"/>
                      <a:pt x="3803" y="1111"/>
                      <a:pt x="3803" y="1111"/>
                    </a:cubicBezTo>
                    <a:cubicBezTo>
                      <a:pt x="3927" y="1054"/>
                      <a:pt x="4065" y="1015"/>
                      <a:pt x="4208" y="989"/>
                    </a:cubicBezTo>
                    <a:cubicBezTo>
                      <a:pt x="4154" y="985"/>
                      <a:pt x="4107" y="981"/>
                      <a:pt x="4066" y="981"/>
                    </a:cubicBezTo>
                    <a:cubicBezTo>
                      <a:pt x="4031" y="981"/>
                      <a:pt x="4001" y="984"/>
                      <a:pt x="3972" y="992"/>
                    </a:cubicBezTo>
                    <a:cubicBezTo>
                      <a:pt x="3917" y="1006"/>
                      <a:pt x="3860" y="1038"/>
                      <a:pt x="3812" y="1071"/>
                    </a:cubicBezTo>
                    <a:cubicBezTo>
                      <a:pt x="3805" y="1076"/>
                      <a:pt x="3799" y="1080"/>
                      <a:pt x="3792" y="1085"/>
                    </a:cubicBezTo>
                    <a:close/>
                    <a:moveTo>
                      <a:pt x="4321" y="757"/>
                    </a:moveTo>
                    <a:cubicBezTo>
                      <a:pt x="4294" y="629"/>
                      <a:pt x="4294" y="629"/>
                      <a:pt x="4294" y="629"/>
                    </a:cubicBezTo>
                    <a:cubicBezTo>
                      <a:pt x="4190" y="644"/>
                      <a:pt x="4190" y="644"/>
                      <a:pt x="4190" y="644"/>
                    </a:cubicBezTo>
                    <a:cubicBezTo>
                      <a:pt x="4218" y="771"/>
                      <a:pt x="4218" y="771"/>
                      <a:pt x="4218" y="771"/>
                    </a:cubicBezTo>
                    <a:lnTo>
                      <a:pt x="4321" y="757"/>
                    </a:lnTo>
                    <a:close/>
                    <a:moveTo>
                      <a:pt x="4221" y="784"/>
                    </a:moveTo>
                    <a:cubicBezTo>
                      <a:pt x="4233" y="838"/>
                      <a:pt x="4233" y="838"/>
                      <a:pt x="4233" y="838"/>
                    </a:cubicBezTo>
                    <a:cubicBezTo>
                      <a:pt x="4267" y="840"/>
                      <a:pt x="4302" y="842"/>
                      <a:pt x="4338" y="843"/>
                    </a:cubicBezTo>
                    <a:cubicBezTo>
                      <a:pt x="4323" y="770"/>
                      <a:pt x="4323" y="770"/>
                      <a:pt x="4323" y="770"/>
                    </a:cubicBezTo>
                    <a:lnTo>
                      <a:pt x="4221" y="784"/>
                    </a:lnTo>
                    <a:close/>
                    <a:moveTo>
                      <a:pt x="4173" y="646"/>
                    </a:moveTo>
                    <a:cubicBezTo>
                      <a:pt x="4109" y="655"/>
                      <a:pt x="4109" y="655"/>
                      <a:pt x="4109" y="655"/>
                    </a:cubicBezTo>
                    <a:cubicBezTo>
                      <a:pt x="4129" y="784"/>
                      <a:pt x="4129" y="784"/>
                      <a:pt x="4129" y="784"/>
                    </a:cubicBezTo>
                    <a:cubicBezTo>
                      <a:pt x="4202" y="774"/>
                      <a:pt x="4202" y="774"/>
                      <a:pt x="4202" y="774"/>
                    </a:cubicBezTo>
                    <a:lnTo>
                      <a:pt x="4173" y="646"/>
                    </a:lnTo>
                    <a:close/>
                    <a:moveTo>
                      <a:pt x="4171" y="633"/>
                    </a:moveTo>
                    <a:cubicBezTo>
                      <a:pt x="4125" y="429"/>
                      <a:pt x="4125" y="429"/>
                      <a:pt x="4125" y="429"/>
                    </a:cubicBezTo>
                    <a:cubicBezTo>
                      <a:pt x="4063" y="460"/>
                      <a:pt x="4063" y="460"/>
                      <a:pt x="4063" y="460"/>
                    </a:cubicBezTo>
                    <a:cubicBezTo>
                      <a:pt x="4018" y="480"/>
                      <a:pt x="4018" y="480"/>
                      <a:pt x="4018" y="480"/>
                    </a:cubicBezTo>
                    <a:cubicBezTo>
                      <a:pt x="4104" y="830"/>
                      <a:pt x="4104" y="830"/>
                      <a:pt x="4104" y="830"/>
                    </a:cubicBezTo>
                    <a:cubicBezTo>
                      <a:pt x="4141" y="831"/>
                      <a:pt x="4178" y="834"/>
                      <a:pt x="4216" y="837"/>
                    </a:cubicBezTo>
                    <a:cubicBezTo>
                      <a:pt x="4205" y="786"/>
                      <a:pt x="4205" y="786"/>
                      <a:pt x="4205" y="786"/>
                    </a:cubicBezTo>
                    <a:cubicBezTo>
                      <a:pt x="4118" y="799"/>
                      <a:pt x="4118" y="799"/>
                      <a:pt x="4118" y="799"/>
                    </a:cubicBezTo>
                    <a:cubicBezTo>
                      <a:pt x="4094" y="644"/>
                      <a:pt x="4094" y="644"/>
                      <a:pt x="4094" y="644"/>
                    </a:cubicBezTo>
                    <a:lnTo>
                      <a:pt x="4171" y="633"/>
                    </a:lnTo>
                    <a:close/>
                    <a:moveTo>
                      <a:pt x="4003" y="487"/>
                    </a:moveTo>
                    <a:cubicBezTo>
                      <a:pt x="3927" y="520"/>
                      <a:pt x="3927" y="520"/>
                      <a:pt x="3927" y="520"/>
                    </a:cubicBezTo>
                    <a:cubicBezTo>
                      <a:pt x="3928" y="551"/>
                      <a:pt x="3933" y="596"/>
                      <a:pt x="3939" y="635"/>
                    </a:cubicBezTo>
                    <a:cubicBezTo>
                      <a:pt x="3944" y="667"/>
                      <a:pt x="3948" y="695"/>
                      <a:pt x="3950" y="707"/>
                    </a:cubicBezTo>
                    <a:cubicBezTo>
                      <a:pt x="3951" y="707"/>
                      <a:pt x="3951" y="707"/>
                      <a:pt x="3951" y="707"/>
                    </a:cubicBezTo>
                    <a:cubicBezTo>
                      <a:pt x="3954" y="735"/>
                      <a:pt x="3961" y="763"/>
                      <a:pt x="3971" y="787"/>
                    </a:cubicBezTo>
                    <a:cubicBezTo>
                      <a:pt x="3976" y="799"/>
                      <a:pt x="3980" y="810"/>
                      <a:pt x="3984" y="817"/>
                    </a:cubicBezTo>
                    <a:cubicBezTo>
                      <a:pt x="3986" y="821"/>
                      <a:pt x="3987" y="825"/>
                      <a:pt x="3989" y="827"/>
                    </a:cubicBezTo>
                    <a:cubicBezTo>
                      <a:pt x="3989" y="829"/>
                      <a:pt x="3990" y="830"/>
                      <a:pt x="3990" y="832"/>
                    </a:cubicBezTo>
                    <a:cubicBezTo>
                      <a:pt x="3991" y="832"/>
                      <a:pt x="3991" y="833"/>
                      <a:pt x="3991" y="833"/>
                    </a:cubicBezTo>
                    <a:cubicBezTo>
                      <a:pt x="4016" y="830"/>
                      <a:pt x="4041" y="828"/>
                      <a:pt x="4066" y="828"/>
                    </a:cubicBezTo>
                    <a:cubicBezTo>
                      <a:pt x="4073" y="828"/>
                      <a:pt x="4080" y="829"/>
                      <a:pt x="4087" y="829"/>
                    </a:cubicBezTo>
                    <a:lnTo>
                      <a:pt x="4003" y="487"/>
                    </a:lnTo>
                    <a:close/>
                    <a:moveTo>
                      <a:pt x="3932" y="829"/>
                    </a:moveTo>
                    <a:cubicBezTo>
                      <a:pt x="3951" y="840"/>
                      <a:pt x="3951" y="840"/>
                      <a:pt x="3951" y="840"/>
                    </a:cubicBezTo>
                    <a:cubicBezTo>
                      <a:pt x="3951" y="840"/>
                      <a:pt x="3951" y="840"/>
                      <a:pt x="3951" y="840"/>
                    </a:cubicBezTo>
                    <a:lnTo>
                      <a:pt x="3932" y="829"/>
                    </a:lnTo>
                    <a:close/>
                    <a:moveTo>
                      <a:pt x="3092" y="1657"/>
                    </a:moveTo>
                    <a:cubicBezTo>
                      <a:pt x="3383" y="2246"/>
                      <a:pt x="3383" y="2246"/>
                      <a:pt x="3383" y="2246"/>
                    </a:cubicBezTo>
                    <a:cubicBezTo>
                      <a:pt x="3387" y="2224"/>
                      <a:pt x="3391" y="2203"/>
                      <a:pt x="3396" y="2184"/>
                    </a:cubicBezTo>
                    <a:cubicBezTo>
                      <a:pt x="3410" y="2133"/>
                      <a:pt x="3420" y="2071"/>
                      <a:pt x="3466" y="2012"/>
                    </a:cubicBezTo>
                    <a:cubicBezTo>
                      <a:pt x="3511" y="1952"/>
                      <a:pt x="3590" y="1897"/>
                      <a:pt x="3735" y="1852"/>
                    </a:cubicBezTo>
                    <a:cubicBezTo>
                      <a:pt x="3844" y="1818"/>
                      <a:pt x="3957" y="1787"/>
                      <a:pt x="4008" y="1774"/>
                    </a:cubicBezTo>
                    <a:cubicBezTo>
                      <a:pt x="3804" y="1284"/>
                      <a:pt x="3804" y="1284"/>
                      <a:pt x="3804" y="1284"/>
                    </a:cubicBezTo>
                    <a:cubicBezTo>
                      <a:pt x="3677" y="1349"/>
                      <a:pt x="3414" y="1486"/>
                      <a:pt x="3092" y="1657"/>
                    </a:cubicBezTo>
                    <a:close/>
                    <a:moveTo>
                      <a:pt x="4442" y="1520"/>
                    </a:moveTo>
                    <a:cubicBezTo>
                      <a:pt x="4429" y="1523"/>
                      <a:pt x="4429" y="1523"/>
                      <a:pt x="4429" y="1523"/>
                    </a:cubicBezTo>
                    <a:cubicBezTo>
                      <a:pt x="4324" y="1128"/>
                      <a:pt x="4324" y="1128"/>
                      <a:pt x="4324" y="1128"/>
                    </a:cubicBezTo>
                    <a:cubicBezTo>
                      <a:pt x="4156" y="1153"/>
                      <a:pt x="3995" y="1193"/>
                      <a:pt x="3863" y="1255"/>
                    </a:cubicBezTo>
                    <a:cubicBezTo>
                      <a:pt x="4077" y="1769"/>
                      <a:pt x="4077" y="1769"/>
                      <a:pt x="4077" y="1769"/>
                    </a:cubicBezTo>
                    <a:cubicBezTo>
                      <a:pt x="4569" y="1434"/>
                      <a:pt x="4569" y="1434"/>
                      <a:pt x="4569" y="1434"/>
                    </a:cubicBezTo>
                    <a:cubicBezTo>
                      <a:pt x="4569" y="1403"/>
                      <a:pt x="4573" y="1172"/>
                      <a:pt x="4574" y="1102"/>
                    </a:cubicBezTo>
                    <a:cubicBezTo>
                      <a:pt x="4495" y="1107"/>
                      <a:pt x="4416" y="1115"/>
                      <a:pt x="4338" y="1126"/>
                    </a:cubicBezTo>
                    <a:lnTo>
                      <a:pt x="4442" y="1520"/>
                    </a:lnTo>
                    <a:close/>
                    <a:moveTo>
                      <a:pt x="4756" y="1106"/>
                    </a:moveTo>
                    <a:cubicBezTo>
                      <a:pt x="4754" y="1094"/>
                      <a:pt x="4754" y="1094"/>
                      <a:pt x="4754" y="1094"/>
                    </a:cubicBezTo>
                    <a:cubicBezTo>
                      <a:pt x="4700" y="1095"/>
                      <a:pt x="4644" y="1098"/>
                      <a:pt x="4588" y="1101"/>
                    </a:cubicBezTo>
                    <a:cubicBezTo>
                      <a:pt x="4587" y="1168"/>
                      <a:pt x="4583" y="1394"/>
                      <a:pt x="4583" y="1432"/>
                    </a:cubicBezTo>
                    <a:cubicBezTo>
                      <a:pt x="4607" y="1437"/>
                      <a:pt x="4706" y="1456"/>
                      <a:pt x="4807" y="1475"/>
                    </a:cubicBezTo>
                    <a:cubicBezTo>
                      <a:pt x="4812" y="1476"/>
                      <a:pt x="4817" y="1477"/>
                      <a:pt x="4822" y="1478"/>
                    </a:cubicBezTo>
                    <a:cubicBezTo>
                      <a:pt x="4762" y="1137"/>
                      <a:pt x="4762" y="1137"/>
                      <a:pt x="4762" y="1137"/>
                    </a:cubicBezTo>
                    <a:cubicBezTo>
                      <a:pt x="4761" y="1254"/>
                      <a:pt x="4761" y="1254"/>
                      <a:pt x="4761" y="1254"/>
                    </a:cubicBezTo>
                    <a:cubicBezTo>
                      <a:pt x="4754" y="1254"/>
                      <a:pt x="4754" y="1254"/>
                      <a:pt x="4754" y="1254"/>
                    </a:cubicBezTo>
                    <a:cubicBezTo>
                      <a:pt x="4656" y="1253"/>
                      <a:pt x="4656" y="1253"/>
                      <a:pt x="4656" y="1253"/>
                    </a:cubicBezTo>
                    <a:cubicBezTo>
                      <a:pt x="4658" y="1105"/>
                      <a:pt x="4658" y="1105"/>
                      <a:pt x="4658" y="1105"/>
                    </a:cubicBezTo>
                    <a:lnTo>
                      <a:pt x="4756" y="1106"/>
                    </a:lnTo>
                    <a:close/>
                    <a:moveTo>
                      <a:pt x="4670" y="1118"/>
                    </a:moveTo>
                    <a:cubicBezTo>
                      <a:pt x="4669" y="1240"/>
                      <a:pt x="4669" y="1240"/>
                      <a:pt x="4669" y="1240"/>
                    </a:cubicBezTo>
                    <a:cubicBezTo>
                      <a:pt x="4748" y="1241"/>
                      <a:pt x="4748" y="1241"/>
                      <a:pt x="4748" y="1241"/>
                    </a:cubicBezTo>
                    <a:cubicBezTo>
                      <a:pt x="4749" y="1119"/>
                      <a:pt x="4749" y="1119"/>
                      <a:pt x="4749" y="1119"/>
                    </a:cubicBezTo>
                    <a:lnTo>
                      <a:pt x="4670" y="1118"/>
                    </a:lnTo>
                    <a:close/>
                    <a:moveTo>
                      <a:pt x="8084" y="481"/>
                    </a:moveTo>
                    <a:cubicBezTo>
                      <a:pt x="8007" y="509"/>
                      <a:pt x="7934" y="537"/>
                      <a:pt x="7910" y="546"/>
                    </a:cubicBezTo>
                    <a:cubicBezTo>
                      <a:pt x="8134" y="784"/>
                      <a:pt x="8134" y="784"/>
                      <a:pt x="8134" y="784"/>
                    </a:cubicBezTo>
                    <a:cubicBezTo>
                      <a:pt x="8147" y="782"/>
                      <a:pt x="8161" y="781"/>
                      <a:pt x="8175" y="779"/>
                    </a:cubicBezTo>
                    <a:cubicBezTo>
                      <a:pt x="8180" y="778"/>
                      <a:pt x="8185" y="778"/>
                      <a:pt x="8189" y="777"/>
                    </a:cubicBezTo>
                    <a:cubicBezTo>
                      <a:pt x="8092" y="672"/>
                      <a:pt x="8092" y="672"/>
                      <a:pt x="8092" y="672"/>
                    </a:cubicBezTo>
                    <a:cubicBezTo>
                      <a:pt x="8148" y="621"/>
                      <a:pt x="8148" y="621"/>
                      <a:pt x="8148" y="621"/>
                    </a:cubicBezTo>
                    <a:cubicBezTo>
                      <a:pt x="8152" y="626"/>
                      <a:pt x="8152" y="626"/>
                      <a:pt x="8152" y="626"/>
                    </a:cubicBezTo>
                    <a:cubicBezTo>
                      <a:pt x="8251" y="732"/>
                      <a:pt x="8251" y="732"/>
                      <a:pt x="8251" y="732"/>
                    </a:cubicBezTo>
                    <a:cubicBezTo>
                      <a:pt x="8204" y="775"/>
                      <a:pt x="8204" y="775"/>
                      <a:pt x="8204" y="775"/>
                    </a:cubicBezTo>
                    <a:cubicBezTo>
                      <a:pt x="8253" y="769"/>
                      <a:pt x="8307" y="761"/>
                      <a:pt x="8357" y="752"/>
                    </a:cubicBezTo>
                    <a:cubicBezTo>
                      <a:pt x="8319" y="718"/>
                      <a:pt x="8198" y="596"/>
                      <a:pt x="8084" y="481"/>
                    </a:cubicBezTo>
                    <a:close/>
                    <a:moveTo>
                      <a:pt x="8116" y="493"/>
                    </a:moveTo>
                    <a:cubicBezTo>
                      <a:pt x="8180" y="558"/>
                      <a:pt x="8243" y="622"/>
                      <a:pt x="8292" y="670"/>
                    </a:cubicBezTo>
                    <a:cubicBezTo>
                      <a:pt x="8317" y="694"/>
                      <a:pt x="8337" y="714"/>
                      <a:pt x="8352" y="728"/>
                    </a:cubicBezTo>
                    <a:cubicBezTo>
                      <a:pt x="8359" y="735"/>
                      <a:pt x="8365" y="741"/>
                      <a:pt x="8370" y="744"/>
                    </a:cubicBezTo>
                    <a:cubicBezTo>
                      <a:pt x="8372" y="746"/>
                      <a:pt x="8373" y="747"/>
                      <a:pt x="8374" y="748"/>
                    </a:cubicBezTo>
                    <a:cubicBezTo>
                      <a:pt x="8385" y="746"/>
                      <a:pt x="8396" y="744"/>
                      <a:pt x="8406" y="741"/>
                    </a:cubicBezTo>
                    <a:cubicBezTo>
                      <a:pt x="8457" y="730"/>
                      <a:pt x="8523" y="694"/>
                      <a:pt x="8577" y="657"/>
                    </a:cubicBezTo>
                    <a:cubicBezTo>
                      <a:pt x="8285" y="408"/>
                      <a:pt x="8285" y="408"/>
                      <a:pt x="8285" y="408"/>
                    </a:cubicBezTo>
                    <a:cubicBezTo>
                      <a:pt x="8258" y="417"/>
                      <a:pt x="8178" y="446"/>
                      <a:pt x="8099" y="476"/>
                    </a:cubicBezTo>
                    <a:cubicBezTo>
                      <a:pt x="8104" y="481"/>
                      <a:pt x="8110" y="487"/>
                      <a:pt x="8116" y="493"/>
                    </a:cubicBezTo>
                    <a:close/>
                    <a:moveTo>
                      <a:pt x="8232" y="731"/>
                    </a:moveTo>
                    <a:cubicBezTo>
                      <a:pt x="8147" y="639"/>
                      <a:pt x="8147" y="639"/>
                      <a:pt x="8147" y="639"/>
                    </a:cubicBezTo>
                    <a:cubicBezTo>
                      <a:pt x="8111" y="673"/>
                      <a:pt x="8111" y="673"/>
                      <a:pt x="8111" y="673"/>
                    </a:cubicBezTo>
                    <a:cubicBezTo>
                      <a:pt x="8196" y="765"/>
                      <a:pt x="8196" y="765"/>
                      <a:pt x="8196" y="765"/>
                    </a:cubicBezTo>
                    <a:lnTo>
                      <a:pt x="8232" y="731"/>
                    </a:lnTo>
                    <a:close/>
                    <a:moveTo>
                      <a:pt x="8088" y="942"/>
                    </a:moveTo>
                    <a:cubicBezTo>
                      <a:pt x="8076" y="943"/>
                      <a:pt x="8069" y="944"/>
                      <a:pt x="8065" y="944"/>
                    </a:cubicBezTo>
                    <a:cubicBezTo>
                      <a:pt x="7631" y="1799"/>
                      <a:pt x="7631" y="1799"/>
                      <a:pt x="7631" y="1799"/>
                    </a:cubicBezTo>
                    <a:cubicBezTo>
                      <a:pt x="8183" y="2156"/>
                      <a:pt x="8183" y="2156"/>
                      <a:pt x="8183" y="2156"/>
                    </a:cubicBezTo>
                    <a:cubicBezTo>
                      <a:pt x="8272" y="2019"/>
                      <a:pt x="8366" y="1873"/>
                      <a:pt x="8450" y="1743"/>
                    </a:cubicBezTo>
                    <a:cubicBezTo>
                      <a:pt x="8562" y="1569"/>
                      <a:pt x="8654" y="1426"/>
                      <a:pt x="8688" y="1373"/>
                    </a:cubicBezTo>
                    <a:cubicBezTo>
                      <a:pt x="8682" y="1369"/>
                      <a:pt x="8676" y="1366"/>
                      <a:pt x="8671" y="1363"/>
                    </a:cubicBezTo>
                    <a:cubicBezTo>
                      <a:pt x="8617" y="1330"/>
                      <a:pt x="8467" y="1222"/>
                      <a:pt x="8329" y="1120"/>
                    </a:cubicBezTo>
                    <a:cubicBezTo>
                      <a:pt x="8226" y="1045"/>
                      <a:pt x="8130" y="973"/>
                      <a:pt x="8088" y="942"/>
                    </a:cubicBezTo>
                    <a:close/>
                    <a:moveTo>
                      <a:pt x="7207" y="4531"/>
                    </a:moveTo>
                    <a:cubicBezTo>
                      <a:pt x="7211" y="4518"/>
                      <a:pt x="7211" y="4518"/>
                      <a:pt x="7211" y="4518"/>
                    </a:cubicBezTo>
                    <a:cubicBezTo>
                      <a:pt x="7436" y="4580"/>
                      <a:pt x="7436" y="4580"/>
                      <a:pt x="7436" y="4580"/>
                    </a:cubicBezTo>
                    <a:cubicBezTo>
                      <a:pt x="7769" y="4750"/>
                      <a:pt x="7769" y="4750"/>
                      <a:pt x="7769" y="4750"/>
                    </a:cubicBezTo>
                    <a:cubicBezTo>
                      <a:pt x="7886" y="4508"/>
                      <a:pt x="7886" y="4508"/>
                      <a:pt x="7886" y="4508"/>
                    </a:cubicBezTo>
                    <a:cubicBezTo>
                      <a:pt x="7776" y="4411"/>
                      <a:pt x="7776" y="4411"/>
                      <a:pt x="7776" y="4411"/>
                    </a:cubicBezTo>
                    <a:cubicBezTo>
                      <a:pt x="7471" y="4393"/>
                      <a:pt x="7471" y="4393"/>
                      <a:pt x="7471" y="4393"/>
                    </a:cubicBezTo>
                    <a:cubicBezTo>
                      <a:pt x="7308" y="4236"/>
                      <a:pt x="7308" y="4236"/>
                      <a:pt x="7308" y="4236"/>
                    </a:cubicBezTo>
                    <a:cubicBezTo>
                      <a:pt x="7227" y="4470"/>
                      <a:pt x="7128" y="4754"/>
                      <a:pt x="7120" y="4775"/>
                    </a:cubicBezTo>
                    <a:cubicBezTo>
                      <a:pt x="7123" y="5102"/>
                      <a:pt x="7123" y="5102"/>
                      <a:pt x="7123" y="5102"/>
                    </a:cubicBezTo>
                    <a:cubicBezTo>
                      <a:pt x="7040" y="5242"/>
                      <a:pt x="7040" y="5242"/>
                      <a:pt x="7040" y="5242"/>
                    </a:cubicBezTo>
                    <a:cubicBezTo>
                      <a:pt x="7463" y="5377"/>
                      <a:pt x="7463" y="5377"/>
                      <a:pt x="7463" y="5377"/>
                    </a:cubicBezTo>
                    <a:cubicBezTo>
                      <a:pt x="7587" y="5123"/>
                      <a:pt x="7587" y="5123"/>
                      <a:pt x="7587" y="5123"/>
                    </a:cubicBezTo>
                    <a:cubicBezTo>
                      <a:pt x="7587" y="5123"/>
                      <a:pt x="7587" y="5123"/>
                      <a:pt x="7587" y="5123"/>
                    </a:cubicBezTo>
                    <a:cubicBezTo>
                      <a:pt x="7540" y="5091"/>
                      <a:pt x="7387" y="4968"/>
                      <a:pt x="7372" y="4956"/>
                    </a:cubicBezTo>
                    <a:cubicBezTo>
                      <a:pt x="7363" y="4953"/>
                      <a:pt x="7307" y="4939"/>
                      <a:pt x="7251" y="4924"/>
                    </a:cubicBezTo>
                    <a:cubicBezTo>
                      <a:pt x="7220" y="4916"/>
                      <a:pt x="7189" y="4908"/>
                      <a:pt x="7166" y="4902"/>
                    </a:cubicBezTo>
                    <a:cubicBezTo>
                      <a:pt x="7154" y="4899"/>
                      <a:pt x="7144" y="4896"/>
                      <a:pt x="7137" y="4894"/>
                    </a:cubicBezTo>
                    <a:cubicBezTo>
                      <a:pt x="7133" y="4893"/>
                      <a:pt x="7130" y="4893"/>
                      <a:pt x="7128" y="4892"/>
                    </a:cubicBezTo>
                    <a:cubicBezTo>
                      <a:pt x="7127" y="4892"/>
                      <a:pt x="7126" y="4892"/>
                      <a:pt x="7126" y="4892"/>
                    </a:cubicBezTo>
                    <a:cubicBezTo>
                      <a:pt x="7126" y="4892"/>
                      <a:pt x="7126" y="4892"/>
                      <a:pt x="7126" y="4892"/>
                    </a:cubicBezTo>
                    <a:cubicBezTo>
                      <a:pt x="7126" y="4878"/>
                      <a:pt x="7126" y="4878"/>
                      <a:pt x="7126" y="4878"/>
                    </a:cubicBezTo>
                    <a:cubicBezTo>
                      <a:pt x="7130" y="4878"/>
                      <a:pt x="7145" y="4882"/>
                      <a:pt x="7169" y="4888"/>
                    </a:cubicBezTo>
                    <a:cubicBezTo>
                      <a:pt x="7240" y="4906"/>
                      <a:pt x="7377" y="4943"/>
                      <a:pt x="7377" y="4943"/>
                    </a:cubicBezTo>
                    <a:cubicBezTo>
                      <a:pt x="7378" y="4943"/>
                      <a:pt x="7378" y="4943"/>
                      <a:pt x="7378" y="4943"/>
                    </a:cubicBezTo>
                    <a:cubicBezTo>
                      <a:pt x="7379" y="4944"/>
                      <a:pt x="7379" y="4944"/>
                      <a:pt x="7379" y="4944"/>
                    </a:cubicBezTo>
                    <a:cubicBezTo>
                      <a:pt x="7380" y="4944"/>
                      <a:pt x="7434" y="4988"/>
                      <a:pt x="7490" y="5032"/>
                    </a:cubicBezTo>
                    <a:cubicBezTo>
                      <a:pt x="7518" y="5054"/>
                      <a:pt x="7546" y="5076"/>
                      <a:pt x="7568" y="5092"/>
                    </a:cubicBezTo>
                    <a:cubicBezTo>
                      <a:pt x="7578" y="5100"/>
                      <a:pt x="7586" y="5106"/>
                      <a:pt x="7593" y="5111"/>
                    </a:cubicBezTo>
                    <a:cubicBezTo>
                      <a:pt x="7763" y="4763"/>
                      <a:pt x="7763" y="4763"/>
                      <a:pt x="7763" y="4763"/>
                    </a:cubicBezTo>
                    <a:cubicBezTo>
                      <a:pt x="7431" y="4593"/>
                      <a:pt x="7431" y="4593"/>
                      <a:pt x="7431" y="4593"/>
                    </a:cubicBezTo>
                    <a:lnTo>
                      <a:pt x="7207" y="4531"/>
                    </a:lnTo>
                    <a:close/>
                    <a:moveTo>
                      <a:pt x="7939" y="6234"/>
                    </a:moveTo>
                    <a:cubicBezTo>
                      <a:pt x="7939" y="6526"/>
                      <a:pt x="7939" y="6526"/>
                      <a:pt x="7939" y="6526"/>
                    </a:cubicBezTo>
                    <a:cubicBezTo>
                      <a:pt x="8100" y="6519"/>
                      <a:pt x="8100" y="6519"/>
                      <a:pt x="8100" y="6519"/>
                    </a:cubicBezTo>
                    <a:cubicBezTo>
                      <a:pt x="8100" y="6224"/>
                      <a:pt x="8100" y="6224"/>
                      <a:pt x="8100" y="6224"/>
                    </a:cubicBezTo>
                    <a:cubicBezTo>
                      <a:pt x="8031" y="6226"/>
                      <a:pt x="7956" y="6228"/>
                      <a:pt x="7882" y="6231"/>
                    </a:cubicBezTo>
                    <a:cubicBezTo>
                      <a:pt x="7737" y="6235"/>
                      <a:pt x="7592" y="6240"/>
                      <a:pt x="7483" y="6244"/>
                    </a:cubicBezTo>
                    <a:cubicBezTo>
                      <a:pt x="7428" y="6246"/>
                      <a:pt x="7383" y="6248"/>
                      <a:pt x="7351" y="6249"/>
                    </a:cubicBezTo>
                    <a:cubicBezTo>
                      <a:pt x="7348" y="6250"/>
                      <a:pt x="7345" y="6250"/>
                      <a:pt x="7342" y="6250"/>
                    </a:cubicBezTo>
                    <a:cubicBezTo>
                      <a:pt x="7342" y="6264"/>
                      <a:pt x="7343" y="6292"/>
                      <a:pt x="7346" y="6331"/>
                    </a:cubicBezTo>
                    <a:cubicBezTo>
                      <a:pt x="7350" y="6387"/>
                      <a:pt x="7358" y="6463"/>
                      <a:pt x="7374" y="6548"/>
                    </a:cubicBezTo>
                    <a:cubicBezTo>
                      <a:pt x="7561" y="6541"/>
                      <a:pt x="7561" y="6541"/>
                      <a:pt x="7561" y="6541"/>
                    </a:cubicBezTo>
                    <a:cubicBezTo>
                      <a:pt x="7561" y="6243"/>
                      <a:pt x="7561" y="6243"/>
                      <a:pt x="7561" y="6243"/>
                    </a:cubicBezTo>
                    <a:cubicBezTo>
                      <a:pt x="7575" y="6243"/>
                      <a:pt x="7575" y="6243"/>
                      <a:pt x="7575" y="6243"/>
                    </a:cubicBezTo>
                    <a:cubicBezTo>
                      <a:pt x="7575" y="6540"/>
                      <a:pt x="7575" y="6540"/>
                      <a:pt x="7575" y="6540"/>
                    </a:cubicBezTo>
                    <a:cubicBezTo>
                      <a:pt x="7743" y="6533"/>
                      <a:pt x="7743" y="6533"/>
                      <a:pt x="7743" y="6533"/>
                    </a:cubicBezTo>
                    <a:cubicBezTo>
                      <a:pt x="7743" y="6243"/>
                      <a:pt x="7743" y="6243"/>
                      <a:pt x="7743" y="6243"/>
                    </a:cubicBezTo>
                    <a:cubicBezTo>
                      <a:pt x="7757" y="6243"/>
                      <a:pt x="7757" y="6243"/>
                      <a:pt x="7757" y="6243"/>
                    </a:cubicBezTo>
                    <a:cubicBezTo>
                      <a:pt x="7757" y="6533"/>
                      <a:pt x="7757" y="6533"/>
                      <a:pt x="7757" y="6533"/>
                    </a:cubicBezTo>
                    <a:cubicBezTo>
                      <a:pt x="7925" y="6526"/>
                      <a:pt x="7925" y="6526"/>
                      <a:pt x="7925" y="6526"/>
                    </a:cubicBezTo>
                    <a:cubicBezTo>
                      <a:pt x="7925" y="6234"/>
                      <a:pt x="7925" y="6234"/>
                      <a:pt x="7925" y="6234"/>
                    </a:cubicBezTo>
                    <a:lnTo>
                      <a:pt x="7939" y="6234"/>
                    </a:lnTo>
                    <a:close/>
                    <a:moveTo>
                      <a:pt x="7636" y="7768"/>
                    </a:moveTo>
                    <a:cubicBezTo>
                      <a:pt x="7643" y="7721"/>
                      <a:pt x="7643" y="7721"/>
                      <a:pt x="7643" y="7721"/>
                    </a:cubicBezTo>
                    <a:cubicBezTo>
                      <a:pt x="7584" y="7712"/>
                      <a:pt x="7584" y="7712"/>
                      <a:pt x="7584" y="7712"/>
                    </a:cubicBezTo>
                    <a:cubicBezTo>
                      <a:pt x="7573" y="7786"/>
                      <a:pt x="7573" y="7786"/>
                      <a:pt x="7573" y="7786"/>
                    </a:cubicBezTo>
                    <a:cubicBezTo>
                      <a:pt x="7674" y="7805"/>
                      <a:pt x="7674" y="7805"/>
                      <a:pt x="7674" y="7805"/>
                    </a:cubicBezTo>
                    <a:cubicBezTo>
                      <a:pt x="7679" y="7774"/>
                      <a:pt x="7679" y="7774"/>
                      <a:pt x="7679" y="7774"/>
                    </a:cubicBezTo>
                    <a:lnTo>
                      <a:pt x="7636" y="7768"/>
                    </a:lnTo>
                    <a:close/>
                    <a:moveTo>
                      <a:pt x="7570" y="7800"/>
                    </a:moveTo>
                    <a:cubicBezTo>
                      <a:pt x="7556" y="7895"/>
                      <a:pt x="7556" y="7895"/>
                      <a:pt x="7556" y="7895"/>
                    </a:cubicBezTo>
                    <a:cubicBezTo>
                      <a:pt x="7615" y="7904"/>
                      <a:pt x="7615" y="7904"/>
                      <a:pt x="7615" y="7904"/>
                    </a:cubicBezTo>
                    <a:cubicBezTo>
                      <a:pt x="7622" y="7857"/>
                      <a:pt x="7622" y="7857"/>
                      <a:pt x="7622" y="7857"/>
                    </a:cubicBezTo>
                    <a:cubicBezTo>
                      <a:pt x="7665" y="7864"/>
                      <a:pt x="7665" y="7864"/>
                      <a:pt x="7665" y="7864"/>
                    </a:cubicBezTo>
                    <a:cubicBezTo>
                      <a:pt x="7672" y="7819"/>
                      <a:pt x="7672" y="7819"/>
                      <a:pt x="7672" y="7819"/>
                    </a:cubicBezTo>
                    <a:lnTo>
                      <a:pt x="7570" y="7800"/>
                    </a:lnTo>
                    <a:close/>
                    <a:moveTo>
                      <a:pt x="7575" y="7698"/>
                    </a:moveTo>
                    <a:cubicBezTo>
                      <a:pt x="7539" y="7690"/>
                      <a:pt x="7502" y="7682"/>
                      <a:pt x="7464" y="7674"/>
                    </a:cubicBezTo>
                    <a:cubicBezTo>
                      <a:pt x="7340" y="7647"/>
                      <a:pt x="7217" y="7620"/>
                      <a:pt x="7193" y="7615"/>
                    </a:cubicBezTo>
                    <a:cubicBezTo>
                      <a:pt x="7192" y="7645"/>
                      <a:pt x="7192" y="7678"/>
                      <a:pt x="7192" y="7712"/>
                    </a:cubicBezTo>
                    <a:cubicBezTo>
                      <a:pt x="7560" y="7783"/>
                      <a:pt x="7560" y="7783"/>
                      <a:pt x="7560" y="7783"/>
                    </a:cubicBezTo>
                    <a:cubicBezTo>
                      <a:pt x="7573" y="7697"/>
                      <a:pt x="7573" y="7697"/>
                      <a:pt x="7573" y="7697"/>
                    </a:cubicBezTo>
                    <a:lnTo>
                      <a:pt x="7575" y="7698"/>
                    </a:lnTo>
                    <a:close/>
                    <a:moveTo>
                      <a:pt x="7312" y="7415"/>
                    </a:moveTo>
                    <a:cubicBezTo>
                      <a:pt x="7371" y="7414"/>
                      <a:pt x="7425" y="7402"/>
                      <a:pt x="7473" y="7384"/>
                    </a:cubicBezTo>
                    <a:cubicBezTo>
                      <a:pt x="7436" y="7203"/>
                      <a:pt x="7436" y="7203"/>
                      <a:pt x="7436" y="7203"/>
                    </a:cubicBezTo>
                    <a:cubicBezTo>
                      <a:pt x="7424" y="7201"/>
                      <a:pt x="7395" y="7197"/>
                      <a:pt x="7388" y="7195"/>
                    </a:cubicBezTo>
                    <a:cubicBezTo>
                      <a:pt x="7382" y="7192"/>
                      <a:pt x="7384" y="7190"/>
                      <a:pt x="7383" y="7188"/>
                    </a:cubicBezTo>
                    <a:cubicBezTo>
                      <a:pt x="7382" y="7184"/>
                      <a:pt x="7382" y="7177"/>
                      <a:pt x="7382" y="7167"/>
                    </a:cubicBezTo>
                    <a:cubicBezTo>
                      <a:pt x="7382" y="7124"/>
                      <a:pt x="7387" y="7027"/>
                      <a:pt x="7389" y="6999"/>
                    </a:cubicBezTo>
                    <a:cubicBezTo>
                      <a:pt x="7360" y="7000"/>
                      <a:pt x="7243" y="7004"/>
                      <a:pt x="7098" y="7009"/>
                    </a:cubicBezTo>
                    <a:cubicBezTo>
                      <a:pt x="7102" y="7021"/>
                      <a:pt x="7107" y="7044"/>
                      <a:pt x="7115" y="7076"/>
                    </a:cubicBezTo>
                    <a:cubicBezTo>
                      <a:pt x="7139" y="7179"/>
                      <a:pt x="7180" y="7360"/>
                      <a:pt x="7192" y="7416"/>
                    </a:cubicBezTo>
                    <a:cubicBezTo>
                      <a:pt x="7240" y="7416"/>
                      <a:pt x="7282" y="7415"/>
                      <a:pt x="7312" y="7415"/>
                    </a:cubicBezTo>
                    <a:close/>
                    <a:moveTo>
                      <a:pt x="6938" y="8735"/>
                    </a:moveTo>
                    <a:cubicBezTo>
                      <a:pt x="6938" y="8675"/>
                      <a:pt x="6959" y="8375"/>
                      <a:pt x="6963" y="8328"/>
                    </a:cubicBezTo>
                    <a:cubicBezTo>
                      <a:pt x="6856" y="8309"/>
                      <a:pt x="6856" y="8309"/>
                      <a:pt x="6856" y="8309"/>
                    </a:cubicBezTo>
                    <a:cubicBezTo>
                      <a:pt x="6869" y="8012"/>
                      <a:pt x="6869" y="8012"/>
                      <a:pt x="6869" y="8012"/>
                    </a:cubicBezTo>
                    <a:cubicBezTo>
                      <a:pt x="6729" y="7980"/>
                      <a:pt x="6729" y="7980"/>
                      <a:pt x="6729" y="7980"/>
                    </a:cubicBezTo>
                    <a:cubicBezTo>
                      <a:pt x="6733" y="8132"/>
                      <a:pt x="6733" y="8132"/>
                      <a:pt x="6733" y="8132"/>
                    </a:cubicBezTo>
                    <a:cubicBezTo>
                      <a:pt x="6708" y="8134"/>
                      <a:pt x="6708" y="8134"/>
                      <a:pt x="6708" y="8134"/>
                    </a:cubicBezTo>
                    <a:cubicBezTo>
                      <a:pt x="6699" y="8728"/>
                      <a:pt x="6699" y="8728"/>
                      <a:pt x="6699" y="8728"/>
                    </a:cubicBezTo>
                    <a:cubicBezTo>
                      <a:pt x="6938" y="8735"/>
                      <a:pt x="6938" y="8735"/>
                      <a:pt x="6938" y="8735"/>
                    </a:cubicBezTo>
                    <a:cubicBezTo>
                      <a:pt x="6938" y="8735"/>
                      <a:pt x="6938" y="8735"/>
                      <a:pt x="6938" y="8735"/>
                    </a:cubicBezTo>
                    <a:close/>
                    <a:moveTo>
                      <a:pt x="6304" y="9549"/>
                    </a:moveTo>
                    <a:cubicBezTo>
                      <a:pt x="6532" y="9752"/>
                      <a:pt x="6532" y="9752"/>
                      <a:pt x="6532" y="9752"/>
                    </a:cubicBezTo>
                    <a:cubicBezTo>
                      <a:pt x="6545" y="9744"/>
                      <a:pt x="6590" y="9715"/>
                      <a:pt x="6634" y="9686"/>
                    </a:cubicBezTo>
                    <a:cubicBezTo>
                      <a:pt x="6677" y="9657"/>
                      <a:pt x="6720" y="9629"/>
                      <a:pt x="6733" y="9620"/>
                    </a:cubicBezTo>
                    <a:cubicBezTo>
                      <a:pt x="6720" y="9526"/>
                      <a:pt x="6720" y="9526"/>
                      <a:pt x="6720" y="9526"/>
                    </a:cubicBezTo>
                    <a:cubicBezTo>
                      <a:pt x="6283" y="9426"/>
                      <a:pt x="6283" y="9426"/>
                      <a:pt x="6283" y="9426"/>
                    </a:cubicBezTo>
                    <a:cubicBezTo>
                      <a:pt x="6275" y="9442"/>
                      <a:pt x="6264" y="9457"/>
                      <a:pt x="6251" y="9469"/>
                    </a:cubicBezTo>
                    <a:cubicBezTo>
                      <a:pt x="6245" y="9475"/>
                      <a:pt x="6238" y="9480"/>
                      <a:pt x="6232" y="9485"/>
                    </a:cubicBezTo>
                    <a:cubicBezTo>
                      <a:pt x="6276" y="9525"/>
                      <a:pt x="6276" y="9525"/>
                      <a:pt x="6276" y="9525"/>
                    </a:cubicBezTo>
                    <a:cubicBezTo>
                      <a:pt x="6320" y="9466"/>
                      <a:pt x="6320" y="9466"/>
                      <a:pt x="6320" y="9466"/>
                    </a:cubicBezTo>
                    <a:cubicBezTo>
                      <a:pt x="6325" y="9470"/>
                      <a:pt x="6325" y="9470"/>
                      <a:pt x="6325" y="9470"/>
                    </a:cubicBezTo>
                    <a:cubicBezTo>
                      <a:pt x="6441" y="9557"/>
                      <a:pt x="6441" y="9557"/>
                      <a:pt x="6441" y="9557"/>
                    </a:cubicBezTo>
                    <a:cubicBezTo>
                      <a:pt x="6395" y="9618"/>
                      <a:pt x="6395" y="9618"/>
                      <a:pt x="6395" y="9618"/>
                    </a:cubicBezTo>
                    <a:lnTo>
                      <a:pt x="6304" y="9549"/>
                    </a:lnTo>
                    <a:close/>
                    <a:moveTo>
                      <a:pt x="6393" y="9600"/>
                    </a:moveTo>
                    <a:cubicBezTo>
                      <a:pt x="6422" y="9560"/>
                      <a:pt x="6422" y="9560"/>
                      <a:pt x="6422" y="9560"/>
                    </a:cubicBezTo>
                    <a:cubicBezTo>
                      <a:pt x="6322" y="9485"/>
                      <a:pt x="6322" y="9485"/>
                      <a:pt x="6322" y="9485"/>
                    </a:cubicBezTo>
                    <a:cubicBezTo>
                      <a:pt x="6292" y="9524"/>
                      <a:pt x="6292" y="9524"/>
                      <a:pt x="6292" y="9524"/>
                    </a:cubicBezTo>
                    <a:lnTo>
                      <a:pt x="6393" y="9600"/>
                    </a:lnTo>
                    <a:close/>
                    <a:moveTo>
                      <a:pt x="6690" y="8264"/>
                    </a:moveTo>
                    <a:cubicBezTo>
                      <a:pt x="6172" y="8299"/>
                      <a:pt x="6172" y="8299"/>
                      <a:pt x="6172" y="8299"/>
                    </a:cubicBezTo>
                    <a:cubicBezTo>
                      <a:pt x="6184" y="8453"/>
                      <a:pt x="6184" y="8453"/>
                      <a:pt x="6184" y="8453"/>
                    </a:cubicBezTo>
                    <a:cubicBezTo>
                      <a:pt x="6687" y="8424"/>
                      <a:pt x="6687" y="8424"/>
                      <a:pt x="6687" y="8424"/>
                    </a:cubicBezTo>
                    <a:cubicBezTo>
                      <a:pt x="6688" y="8438"/>
                      <a:pt x="6688" y="8438"/>
                      <a:pt x="6688" y="8438"/>
                    </a:cubicBezTo>
                    <a:cubicBezTo>
                      <a:pt x="6425" y="8453"/>
                      <a:pt x="6425" y="8453"/>
                      <a:pt x="6425" y="8453"/>
                    </a:cubicBezTo>
                    <a:cubicBezTo>
                      <a:pt x="6420" y="8720"/>
                      <a:pt x="6420" y="8720"/>
                      <a:pt x="6420" y="8720"/>
                    </a:cubicBezTo>
                    <a:cubicBezTo>
                      <a:pt x="6685" y="8728"/>
                      <a:pt x="6685" y="8728"/>
                      <a:pt x="6685" y="8728"/>
                    </a:cubicBezTo>
                    <a:cubicBezTo>
                      <a:pt x="6694" y="8134"/>
                      <a:pt x="6694" y="8134"/>
                      <a:pt x="6694" y="8134"/>
                    </a:cubicBezTo>
                    <a:cubicBezTo>
                      <a:pt x="6335" y="8158"/>
                      <a:pt x="6335" y="8158"/>
                      <a:pt x="6335" y="8158"/>
                    </a:cubicBezTo>
                    <a:cubicBezTo>
                      <a:pt x="6333" y="8262"/>
                      <a:pt x="6333" y="8262"/>
                      <a:pt x="6333" y="8262"/>
                    </a:cubicBezTo>
                    <a:cubicBezTo>
                      <a:pt x="6327" y="8261"/>
                      <a:pt x="6327" y="8261"/>
                      <a:pt x="6327" y="8261"/>
                    </a:cubicBezTo>
                    <a:cubicBezTo>
                      <a:pt x="6247" y="8260"/>
                      <a:pt x="6247" y="8260"/>
                      <a:pt x="6247" y="8260"/>
                    </a:cubicBezTo>
                    <a:cubicBezTo>
                      <a:pt x="6248" y="8213"/>
                      <a:pt x="6248" y="8213"/>
                      <a:pt x="6248" y="8213"/>
                    </a:cubicBezTo>
                    <a:cubicBezTo>
                      <a:pt x="6205" y="8212"/>
                      <a:pt x="6205" y="8212"/>
                      <a:pt x="6205" y="8212"/>
                    </a:cubicBezTo>
                    <a:cubicBezTo>
                      <a:pt x="6206" y="8167"/>
                      <a:pt x="6206" y="8167"/>
                      <a:pt x="6206" y="8167"/>
                    </a:cubicBezTo>
                    <a:cubicBezTo>
                      <a:pt x="6162" y="8170"/>
                      <a:pt x="6162" y="8170"/>
                      <a:pt x="6162" y="8170"/>
                    </a:cubicBezTo>
                    <a:cubicBezTo>
                      <a:pt x="6171" y="8285"/>
                      <a:pt x="6171" y="8285"/>
                      <a:pt x="6171" y="8285"/>
                    </a:cubicBezTo>
                    <a:cubicBezTo>
                      <a:pt x="6689" y="8250"/>
                      <a:pt x="6689" y="8250"/>
                      <a:pt x="6689" y="8250"/>
                    </a:cubicBezTo>
                    <a:lnTo>
                      <a:pt x="6690" y="8264"/>
                    </a:lnTo>
                    <a:close/>
                    <a:moveTo>
                      <a:pt x="5796" y="8268"/>
                    </a:moveTo>
                    <a:cubicBezTo>
                      <a:pt x="5796" y="8268"/>
                      <a:pt x="5796" y="8268"/>
                      <a:pt x="5796" y="8268"/>
                    </a:cubicBezTo>
                    <a:cubicBezTo>
                      <a:pt x="5803" y="8269"/>
                      <a:pt x="5803" y="8273"/>
                      <a:pt x="5804" y="8275"/>
                    </a:cubicBezTo>
                    <a:cubicBezTo>
                      <a:pt x="5816" y="8300"/>
                      <a:pt x="5835" y="8462"/>
                      <a:pt x="5839" y="8493"/>
                    </a:cubicBezTo>
                    <a:cubicBezTo>
                      <a:pt x="6127" y="8561"/>
                      <a:pt x="6127" y="8561"/>
                      <a:pt x="6127" y="8561"/>
                    </a:cubicBezTo>
                    <a:cubicBezTo>
                      <a:pt x="6082" y="7983"/>
                      <a:pt x="6082" y="7983"/>
                      <a:pt x="6082" y="7983"/>
                    </a:cubicBezTo>
                    <a:cubicBezTo>
                      <a:pt x="6021" y="7984"/>
                      <a:pt x="5827" y="7987"/>
                      <a:pt x="5826" y="7987"/>
                    </a:cubicBezTo>
                    <a:cubicBezTo>
                      <a:pt x="5504" y="7975"/>
                      <a:pt x="5504" y="7975"/>
                      <a:pt x="5504" y="7975"/>
                    </a:cubicBezTo>
                    <a:cubicBezTo>
                      <a:pt x="5505" y="7985"/>
                      <a:pt x="5505" y="7985"/>
                      <a:pt x="5505" y="7985"/>
                    </a:cubicBezTo>
                    <a:cubicBezTo>
                      <a:pt x="5505" y="8354"/>
                      <a:pt x="5505" y="8354"/>
                      <a:pt x="5505" y="8354"/>
                    </a:cubicBezTo>
                    <a:cubicBezTo>
                      <a:pt x="5650" y="8311"/>
                      <a:pt x="5784" y="8271"/>
                      <a:pt x="5794" y="8268"/>
                    </a:cubicBezTo>
                    <a:cubicBezTo>
                      <a:pt x="5794" y="8268"/>
                      <a:pt x="5795" y="8268"/>
                      <a:pt x="5795" y="8268"/>
                    </a:cubicBezTo>
                    <a:cubicBezTo>
                      <a:pt x="5795" y="8268"/>
                      <a:pt x="5796" y="8268"/>
                      <a:pt x="5796" y="8268"/>
                    </a:cubicBezTo>
                    <a:cubicBezTo>
                      <a:pt x="5796" y="8268"/>
                      <a:pt x="5796" y="8268"/>
                      <a:pt x="5796" y="8268"/>
                    </a:cubicBezTo>
                    <a:close/>
                    <a:moveTo>
                      <a:pt x="4658" y="8321"/>
                    </a:moveTo>
                    <a:cubicBezTo>
                      <a:pt x="4663" y="8318"/>
                      <a:pt x="4663" y="8318"/>
                      <a:pt x="4663" y="8318"/>
                    </a:cubicBezTo>
                    <a:cubicBezTo>
                      <a:pt x="4663" y="8318"/>
                      <a:pt x="4710" y="8289"/>
                      <a:pt x="4757" y="8260"/>
                    </a:cubicBezTo>
                    <a:cubicBezTo>
                      <a:pt x="4780" y="8246"/>
                      <a:pt x="4804" y="8231"/>
                      <a:pt x="4822" y="8220"/>
                    </a:cubicBezTo>
                    <a:cubicBezTo>
                      <a:pt x="4830" y="8214"/>
                      <a:pt x="4838" y="8209"/>
                      <a:pt x="4843" y="8206"/>
                    </a:cubicBezTo>
                    <a:cubicBezTo>
                      <a:pt x="4844" y="8205"/>
                      <a:pt x="4845" y="8204"/>
                      <a:pt x="4846" y="8204"/>
                    </a:cubicBezTo>
                    <a:cubicBezTo>
                      <a:pt x="4835" y="8179"/>
                      <a:pt x="4811" y="8079"/>
                      <a:pt x="4806" y="8057"/>
                    </a:cubicBezTo>
                    <a:cubicBezTo>
                      <a:pt x="4767" y="8079"/>
                      <a:pt x="4727" y="8101"/>
                      <a:pt x="4686" y="8124"/>
                    </a:cubicBezTo>
                    <a:cubicBezTo>
                      <a:pt x="4594" y="8175"/>
                      <a:pt x="4503" y="8226"/>
                      <a:pt x="4434" y="8265"/>
                    </a:cubicBezTo>
                    <a:cubicBezTo>
                      <a:pt x="4399" y="8284"/>
                      <a:pt x="4371" y="8300"/>
                      <a:pt x="4351" y="8312"/>
                    </a:cubicBezTo>
                    <a:cubicBezTo>
                      <a:pt x="4345" y="8315"/>
                      <a:pt x="4340" y="8318"/>
                      <a:pt x="4336" y="8320"/>
                    </a:cubicBezTo>
                    <a:cubicBezTo>
                      <a:pt x="4358" y="8361"/>
                      <a:pt x="4374" y="8394"/>
                      <a:pt x="4381" y="8416"/>
                    </a:cubicBezTo>
                    <a:cubicBezTo>
                      <a:pt x="4399" y="8470"/>
                      <a:pt x="4424" y="8584"/>
                      <a:pt x="4445" y="8693"/>
                    </a:cubicBezTo>
                    <a:cubicBezTo>
                      <a:pt x="4470" y="8687"/>
                      <a:pt x="4521" y="8674"/>
                      <a:pt x="4573" y="8661"/>
                    </a:cubicBezTo>
                    <a:cubicBezTo>
                      <a:pt x="4635" y="8646"/>
                      <a:pt x="4694" y="8631"/>
                      <a:pt x="4715" y="8626"/>
                    </a:cubicBezTo>
                    <a:lnTo>
                      <a:pt x="4658" y="8321"/>
                    </a:lnTo>
                    <a:close/>
                    <a:moveTo>
                      <a:pt x="3807" y="8885"/>
                    </a:moveTo>
                    <a:cubicBezTo>
                      <a:pt x="3815" y="8874"/>
                      <a:pt x="3815" y="8874"/>
                      <a:pt x="3815" y="8874"/>
                    </a:cubicBezTo>
                    <a:cubicBezTo>
                      <a:pt x="4167" y="9117"/>
                      <a:pt x="4167" y="9117"/>
                      <a:pt x="4167" y="9117"/>
                    </a:cubicBezTo>
                    <a:cubicBezTo>
                      <a:pt x="4201" y="9092"/>
                      <a:pt x="4239" y="9066"/>
                      <a:pt x="4276" y="9039"/>
                    </a:cubicBezTo>
                    <a:cubicBezTo>
                      <a:pt x="4211" y="8981"/>
                      <a:pt x="3999" y="8773"/>
                      <a:pt x="3965" y="8740"/>
                    </a:cubicBezTo>
                    <a:cubicBezTo>
                      <a:pt x="3944" y="8760"/>
                      <a:pt x="3858" y="8836"/>
                      <a:pt x="3772" y="8911"/>
                    </a:cubicBezTo>
                    <a:cubicBezTo>
                      <a:pt x="3693" y="8980"/>
                      <a:pt x="3615" y="9047"/>
                      <a:pt x="3591" y="9068"/>
                    </a:cubicBezTo>
                    <a:cubicBezTo>
                      <a:pt x="3623" y="9079"/>
                      <a:pt x="3729" y="9113"/>
                      <a:pt x="3830" y="9144"/>
                    </a:cubicBezTo>
                    <a:cubicBezTo>
                      <a:pt x="3925" y="9174"/>
                      <a:pt x="4016" y="9202"/>
                      <a:pt x="4044" y="9210"/>
                    </a:cubicBezTo>
                    <a:cubicBezTo>
                      <a:pt x="4045" y="9210"/>
                      <a:pt x="4045" y="9209"/>
                      <a:pt x="4046" y="9208"/>
                    </a:cubicBezTo>
                    <a:cubicBezTo>
                      <a:pt x="4048" y="9205"/>
                      <a:pt x="4049" y="9204"/>
                      <a:pt x="4050" y="9203"/>
                    </a:cubicBezTo>
                    <a:cubicBezTo>
                      <a:pt x="4054" y="9199"/>
                      <a:pt x="4056" y="9198"/>
                      <a:pt x="4060" y="9194"/>
                    </a:cubicBezTo>
                    <a:cubicBezTo>
                      <a:pt x="4076" y="9182"/>
                      <a:pt x="4111" y="9157"/>
                      <a:pt x="4155" y="9125"/>
                    </a:cubicBezTo>
                    <a:lnTo>
                      <a:pt x="3807" y="8885"/>
                    </a:lnTo>
                    <a:close/>
                    <a:moveTo>
                      <a:pt x="3309" y="8750"/>
                    </a:moveTo>
                    <a:cubicBezTo>
                      <a:pt x="3309" y="8749"/>
                      <a:pt x="3309" y="8749"/>
                      <a:pt x="3309" y="8749"/>
                    </a:cubicBezTo>
                    <a:cubicBezTo>
                      <a:pt x="3313" y="8743"/>
                      <a:pt x="3325" y="8703"/>
                      <a:pt x="3335" y="8667"/>
                    </a:cubicBezTo>
                    <a:cubicBezTo>
                      <a:pt x="3343" y="8636"/>
                      <a:pt x="3351" y="8606"/>
                      <a:pt x="3353" y="8598"/>
                    </a:cubicBezTo>
                    <a:cubicBezTo>
                      <a:pt x="3346" y="8584"/>
                      <a:pt x="3309" y="8513"/>
                      <a:pt x="3271" y="8441"/>
                    </a:cubicBezTo>
                    <a:cubicBezTo>
                      <a:pt x="3250" y="8401"/>
                      <a:pt x="3230" y="8361"/>
                      <a:pt x="3214" y="8330"/>
                    </a:cubicBezTo>
                    <a:cubicBezTo>
                      <a:pt x="3209" y="8320"/>
                      <a:pt x="3205" y="8311"/>
                      <a:pt x="3201" y="8304"/>
                    </a:cubicBezTo>
                    <a:cubicBezTo>
                      <a:pt x="2932" y="8454"/>
                      <a:pt x="2932" y="8454"/>
                      <a:pt x="2932" y="8454"/>
                    </a:cubicBezTo>
                    <a:cubicBezTo>
                      <a:pt x="2978" y="8501"/>
                      <a:pt x="3164" y="8683"/>
                      <a:pt x="3178" y="8698"/>
                    </a:cubicBezTo>
                    <a:cubicBezTo>
                      <a:pt x="3313" y="8755"/>
                      <a:pt x="3313" y="8755"/>
                      <a:pt x="3313" y="8755"/>
                    </a:cubicBezTo>
                    <a:cubicBezTo>
                      <a:pt x="3313" y="8753"/>
                      <a:pt x="3313" y="8753"/>
                      <a:pt x="3313" y="8753"/>
                    </a:cubicBezTo>
                    <a:lnTo>
                      <a:pt x="3309" y="8750"/>
                    </a:lnTo>
                    <a:close/>
                    <a:moveTo>
                      <a:pt x="2036" y="7420"/>
                    </a:moveTo>
                    <a:cubicBezTo>
                      <a:pt x="1935" y="7347"/>
                      <a:pt x="1935" y="7347"/>
                      <a:pt x="1935" y="7347"/>
                    </a:cubicBezTo>
                    <a:cubicBezTo>
                      <a:pt x="1922" y="7374"/>
                      <a:pt x="1906" y="7408"/>
                      <a:pt x="1888" y="7446"/>
                    </a:cubicBezTo>
                    <a:cubicBezTo>
                      <a:pt x="1989" y="7517"/>
                      <a:pt x="1989" y="7517"/>
                      <a:pt x="1989" y="7517"/>
                    </a:cubicBezTo>
                    <a:cubicBezTo>
                      <a:pt x="2008" y="7478"/>
                      <a:pt x="2024" y="7445"/>
                      <a:pt x="2036" y="7420"/>
                    </a:cubicBezTo>
                    <a:close/>
                    <a:moveTo>
                      <a:pt x="2001" y="7526"/>
                    </a:moveTo>
                    <a:cubicBezTo>
                      <a:pt x="2057" y="7566"/>
                      <a:pt x="2057" y="7566"/>
                      <a:pt x="2057" y="7566"/>
                    </a:cubicBezTo>
                    <a:cubicBezTo>
                      <a:pt x="2117" y="7479"/>
                      <a:pt x="2117" y="7479"/>
                      <a:pt x="2117" y="7479"/>
                    </a:cubicBezTo>
                    <a:cubicBezTo>
                      <a:pt x="2047" y="7428"/>
                      <a:pt x="2047" y="7428"/>
                      <a:pt x="2047" y="7428"/>
                    </a:cubicBezTo>
                    <a:cubicBezTo>
                      <a:pt x="2035" y="7453"/>
                      <a:pt x="2019" y="7487"/>
                      <a:pt x="2001" y="7526"/>
                    </a:cubicBezTo>
                    <a:close/>
                    <a:moveTo>
                      <a:pt x="1924" y="7339"/>
                    </a:moveTo>
                    <a:cubicBezTo>
                      <a:pt x="1828" y="7271"/>
                      <a:pt x="1828" y="7271"/>
                      <a:pt x="1828" y="7271"/>
                    </a:cubicBezTo>
                    <a:cubicBezTo>
                      <a:pt x="1815" y="7298"/>
                      <a:pt x="1799" y="7332"/>
                      <a:pt x="1781" y="7370"/>
                    </a:cubicBezTo>
                    <a:cubicBezTo>
                      <a:pt x="1876" y="7438"/>
                      <a:pt x="1876" y="7438"/>
                      <a:pt x="1876" y="7438"/>
                    </a:cubicBezTo>
                    <a:cubicBezTo>
                      <a:pt x="1895" y="7399"/>
                      <a:pt x="1911" y="7366"/>
                      <a:pt x="1924" y="7339"/>
                    </a:cubicBezTo>
                    <a:close/>
                    <a:moveTo>
                      <a:pt x="1817" y="7262"/>
                    </a:moveTo>
                    <a:cubicBezTo>
                      <a:pt x="1774" y="7231"/>
                      <a:pt x="1774" y="7231"/>
                      <a:pt x="1774" y="7231"/>
                    </a:cubicBezTo>
                    <a:cubicBezTo>
                      <a:pt x="1709" y="7318"/>
                      <a:pt x="1709" y="7318"/>
                      <a:pt x="1709" y="7318"/>
                    </a:cubicBezTo>
                    <a:cubicBezTo>
                      <a:pt x="1769" y="7362"/>
                      <a:pt x="1769" y="7362"/>
                      <a:pt x="1769" y="7362"/>
                    </a:cubicBezTo>
                    <a:cubicBezTo>
                      <a:pt x="1787" y="7323"/>
                      <a:pt x="1804" y="7290"/>
                      <a:pt x="1817" y="7262"/>
                    </a:cubicBezTo>
                    <a:close/>
                    <a:moveTo>
                      <a:pt x="1744" y="7447"/>
                    </a:moveTo>
                    <a:cubicBezTo>
                      <a:pt x="1825" y="7546"/>
                      <a:pt x="1825" y="7546"/>
                      <a:pt x="1825" y="7546"/>
                    </a:cubicBezTo>
                    <a:cubicBezTo>
                      <a:pt x="1841" y="7512"/>
                      <a:pt x="1856" y="7480"/>
                      <a:pt x="1871" y="7450"/>
                    </a:cubicBezTo>
                    <a:cubicBezTo>
                      <a:pt x="1775" y="7382"/>
                      <a:pt x="1775" y="7382"/>
                      <a:pt x="1775" y="7382"/>
                    </a:cubicBezTo>
                    <a:cubicBezTo>
                      <a:pt x="1765" y="7403"/>
                      <a:pt x="1754" y="7424"/>
                      <a:pt x="1744" y="7447"/>
                    </a:cubicBezTo>
                    <a:close/>
                    <a:moveTo>
                      <a:pt x="1737" y="7461"/>
                    </a:moveTo>
                    <a:cubicBezTo>
                      <a:pt x="1722" y="7492"/>
                      <a:pt x="1707" y="7523"/>
                      <a:pt x="1692" y="7555"/>
                    </a:cubicBezTo>
                    <a:cubicBezTo>
                      <a:pt x="1657" y="7629"/>
                      <a:pt x="1622" y="7703"/>
                      <a:pt x="1593" y="7765"/>
                    </a:cubicBezTo>
                    <a:cubicBezTo>
                      <a:pt x="1688" y="7834"/>
                      <a:pt x="1688" y="7834"/>
                      <a:pt x="1688" y="7834"/>
                    </a:cubicBezTo>
                    <a:cubicBezTo>
                      <a:pt x="1726" y="7752"/>
                      <a:pt x="1774" y="7652"/>
                      <a:pt x="1818" y="7559"/>
                    </a:cubicBezTo>
                    <a:lnTo>
                      <a:pt x="1737" y="7461"/>
                    </a:lnTo>
                    <a:close/>
                    <a:moveTo>
                      <a:pt x="1678" y="7888"/>
                    </a:moveTo>
                    <a:cubicBezTo>
                      <a:pt x="1666" y="7913"/>
                      <a:pt x="1656" y="7935"/>
                      <a:pt x="1648" y="7953"/>
                    </a:cubicBezTo>
                    <a:cubicBezTo>
                      <a:pt x="1748" y="8025"/>
                      <a:pt x="1748" y="8025"/>
                      <a:pt x="1748" y="8025"/>
                    </a:cubicBezTo>
                    <a:cubicBezTo>
                      <a:pt x="1761" y="7998"/>
                      <a:pt x="1777" y="7964"/>
                      <a:pt x="1794" y="7926"/>
                    </a:cubicBezTo>
                    <a:cubicBezTo>
                      <a:pt x="1694" y="7854"/>
                      <a:pt x="1694" y="7854"/>
                      <a:pt x="1694" y="7854"/>
                    </a:cubicBezTo>
                    <a:cubicBezTo>
                      <a:pt x="1688" y="7866"/>
                      <a:pt x="1683" y="7878"/>
                      <a:pt x="1678" y="7888"/>
                    </a:cubicBezTo>
                    <a:close/>
                    <a:moveTo>
                      <a:pt x="1760" y="8033"/>
                    </a:moveTo>
                    <a:cubicBezTo>
                      <a:pt x="1813" y="8071"/>
                      <a:pt x="1813" y="8071"/>
                      <a:pt x="1813" y="8071"/>
                    </a:cubicBezTo>
                    <a:cubicBezTo>
                      <a:pt x="1874" y="7983"/>
                      <a:pt x="1874" y="7983"/>
                      <a:pt x="1874" y="7983"/>
                    </a:cubicBezTo>
                    <a:cubicBezTo>
                      <a:pt x="1806" y="7935"/>
                      <a:pt x="1806" y="7935"/>
                      <a:pt x="1806" y="7935"/>
                    </a:cubicBezTo>
                    <a:cubicBezTo>
                      <a:pt x="1798" y="7951"/>
                      <a:pt x="1791" y="7966"/>
                      <a:pt x="1784" y="7981"/>
                    </a:cubicBezTo>
                    <a:cubicBezTo>
                      <a:pt x="1775" y="8000"/>
                      <a:pt x="1767" y="8017"/>
                      <a:pt x="1760" y="8033"/>
                    </a:cubicBezTo>
                    <a:close/>
                    <a:moveTo>
                      <a:pt x="1915" y="7672"/>
                    </a:moveTo>
                    <a:cubicBezTo>
                      <a:pt x="1795" y="7640"/>
                      <a:pt x="1795" y="7640"/>
                      <a:pt x="1795" y="7640"/>
                    </a:cubicBezTo>
                    <a:cubicBezTo>
                      <a:pt x="1795" y="7641"/>
                      <a:pt x="1795" y="7641"/>
                      <a:pt x="1795" y="7641"/>
                    </a:cubicBezTo>
                    <a:cubicBezTo>
                      <a:pt x="1761" y="7712"/>
                      <a:pt x="1728" y="7782"/>
                      <a:pt x="1699" y="7842"/>
                    </a:cubicBezTo>
                    <a:cubicBezTo>
                      <a:pt x="1800" y="7914"/>
                      <a:pt x="1800" y="7914"/>
                      <a:pt x="1800" y="7914"/>
                    </a:cubicBezTo>
                    <a:cubicBezTo>
                      <a:pt x="1835" y="7841"/>
                      <a:pt x="1876" y="7754"/>
                      <a:pt x="1915" y="7672"/>
                    </a:cubicBezTo>
                    <a:close/>
                    <a:moveTo>
                      <a:pt x="1921" y="7659"/>
                    </a:moveTo>
                    <a:cubicBezTo>
                      <a:pt x="1943" y="7613"/>
                      <a:pt x="1964" y="7569"/>
                      <a:pt x="1983" y="7530"/>
                    </a:cubicBezTo>
                    <a:cubicBezTo>
                      <a:pt x="1882" y="7458"/>
                      <a:pt x="1882" y="7458"/>
                      <a:pt x="1882" y="7458"/>
                    </a:cubicBezTo>
                    <a:cubicBezTo>
                      <a:pt x="1858" y="7509"/>
                      <a:pt x="1829" y="7568"/>
                      <a:pt x="1801" y="7628"/>
                    </a:cubicBezTo>
                    <a:lnTo>
                      <a:pt x="1921" y="7659"/>
                    </a:lnTo>
                    <a:close/>
                    <a:moveTo>
                      <a:pt x="1935" y="7663"/>
                    </a:moveTo>
                    <a:cubicBezTo>
                      <a:pt x="2041" y="7690"/>
                      <a:pt x="2041" y="7690"/>
                      <a:pt x="2041" y="7690"/>
                    </a:cubicBezTo>
                    <a:cubicBezTo>
                      <a:pt x="2102" y="7563"/>
                      <a:pt x="2151" y="7460"/>
                      <a:pt x="2151" y="7460"/>
                    </a:cubicBezTo>
                    <a:cubicBezTo>
                      <a:pt x="2157" y="7463"/>
                      <a:pt x="2157" y="7463"/>
                      <a:pt x="2157" y="7463"/>
                    </a:cubicBezTo>
                    <a:cubicBezTo>
                      <a:pt x="2068" y="7386"/>
                      <a:pt x="2068" y="7386"/>
                      <a:pt x="2068" y="7386"/>
                    </a:cubicBezTo>
                    <a:cubicBezTo>
                      <a:pt x="2065" y="7392"/>
                      <a:pt x="2060" y="7403"/>
                      <a:pt x="2053" y="7416"/>
                    </a:cubicBezTo>
                    <a:cubicBezTo>
                      <a:pt x="2135" y="7475"/>
                      <a:pt x="2135" y="7475"/>
                      <a:pt x="2135" y="7475"/>
                    </a:cubicBezTo>
                    <a:cubicBezTo>
                      <a:pt x="2132" y="7481"/>
                      <a:pt x="2132" y="7481"/>
                      <a:pt x="2132" y="7481"/>
                    </a:cubicBezTo>
                    <a:cubicBezTo>
                      <a:pt x="2060" y="7584"/>
                      <a:pt x="2060" y="7584"/>
                      <a:pt x="2060" y="7584"/>
                    </a:cubicBezTo>
                    <a:cubicBezTo>
                      <a:pt x="1995" y="7538"/>
                      <a:pt x="1995" y="7538"/>
                      <a:pt x="1995" y="7538"/>
                    </a:cubicBezTo>
                    <a:cubicBezTo>
                      <a:pt x="1976" y="7576"/>
                      <a:pt x="1956" y="7618"/>
                      <a:pt x="1935" y="7663"/>
                    </a:cubicBezTo>
                    <a:close/>
                    <a:moveTo>
                      <a:pt x="2057" y="7376"/>
                    </a:moveTo>
                    <a:cubicBezTo>
                      <a:pt x="1961" y="7293"/>
                      <a:pt x="1961" y="7293"/>
                      <a:pt x="1961" y="7293"/>
                    </a:cubicBezTo>
                    <a:cubicBezTo>
                      <a:pt x="1958" y="7301"/>
                      <a:pt x="1951" y="7316"/>
                      <a:pt x="1941" y="7335"/>
                    </a:cubicBezTo>
                    <a:cubicBezTo>
                      <a:pt x="2042" y="7408"/>
                      <a:pt x="2042" y="7408"/>
                      <a:pt x="2042" y="7408"/>
                    </a:cubicBezTo>
                    <a:cubicBezTo>
                      <a:pt x="2049" y="7392"/>
                      <a:pt x="2054" y="7381"/>
                      <a:pt x="2057" y="7376"/>
                    </a:cubicBezTo>
                    <a:close/>
                    <a:moveTo>
                      <a:pt x="1950" y="7284"/>
                    </a:moveTo>
                    <a:cubicBezTo>
                      <a:pt x="1860" y="7205"/>
                      <a:pt x="1860" y="7205"/>
                      <a:pt x="1860" y="7205"/>
                    </a:cubicBezTo>
                    <a:cubicBezTo>
                      <a:pt x="1856" y="7213"/>
                      <a:pt x="1847" y="7232"/>
                      <a:pt x="1834" y="7258"/>
                    </a:cubicBezTo>
                    <a:cubicBezTo>
                      <a:pt x="1929" y="7327"/>
                      <a:pt x="1929" y="7327"/>
                      <a:pt x="1929" y="7327"/>
                    </a:cubicBezTo>
                    <a:cubicBezTo>
                      <a:pt x="1940" y="7305"/>
                      <a:pt x="1947" y="7290"/>
                      <a:pt x="1950" y="7284"/>
                    </a:cubicBezTo>
                    <a:close/>
                    <a:moveTo>
                      <a:pt x="1849" y="7195"/>
                    </a:moveTo>
                    <a:cubicBezTo>
                      <a:pt x="1773" y="7129"/>
                      <a:pt x="1773" y="7129"/>
                      <a:pt x="1773" y="7129"/>
                    </a:cubicBezTo>
                    <a:cubicBezTo>
                      <a:pt x="1758" y="7159"/>
                      <a:pt x="1716" y="7246"/>
                      <a:pt x="1665" y="7351"/>
                    </a:cubicBezTo>
                    <a:cubicBezTo>
                      <a:pt x="1734" y="7435"/>
                      <a:pt x="1734" y="7435"/>
                      <a:pt x="1734" y="7435"/>
                    </a:cubicBezTo>
                    <a:cubicBezTo>
                      <a:pt x="1744" y="7414"/>
                      <a:pt x="1754" y="7393"/>
                      <a:pt x="1763" y="7374"/>
                    </a:cubicBezTo>
                    <a:cubicBezTo>
                      <a:pt x="1690" y="7321"/>
                      <a:pt x="1690" y="7321"/>
                      <a:pt x="1690" y="7321"/>
                    </a:cubicBezTo>
                    <a:cubicBezTo>
                      <a:pt x="1771" y="7213"/>
                      <a:pt x="1771" y="7213"/>
                      <a:pt x="1771" y="7213"/>
                    </a:cubicBezTo>
                    <a:cubicBezTo>
                      <a:pt x="1823" y="7250"/>
                      <a:pt x="1823" y="7250"/>
                      <a:pt x="1823" y="7250"/>
                    </a:cubicBezTo>
                    <a:cubicBezTo>
                      <a:pt x="1837" y="7220"/>
                      <a:pt x="1847" y="7200"/>
                      <a:pt x="1849" y="7195"/>
                    </a:cubicBezTo>
                    <a:close/>
                    <a:moveTo>
                      <a:pt x="1762" y="7119"/>
                    </a:moveTo>
                    <a:cubicBezTo>
                      <a:pt x="1671" y="7041"/>
                      <a:pt x="1671" y="7041"/>
                      <a:pt x="1671" y="7041"/>
                    </a:cubicBezTo>
                    <a:cubicBezTo>
                      <a:pt x="1667" y="7049"/>
                      <a:pt x="1661" y="7063"/>
                      <a:pt x="1652" y="7081"/>
                    </a:cubicBezTo>
                    <a:cubicBezTo>
                      <a:pt x="1742" y="7146"/>
                      <a:pt x="1742" y="7146"/>
                      <a:pt x="1742" y="7146"/>
                    </a:cubicBezTo>
                    <a:cubicBezTo>
                      <a:pt x="1739" y="7152"/>
                      <a:pt x="1739" y="7152"/>
                      <a:pt x="1739" y="7152"/>
                    </a:cubicBezTo>
                    <a:cubicBezTo>
                      <a:pt x="1667" y="7255"/>
                      <a:pt x="1667" y="7255"/>
                      <a:pt x="1667" y="7255"/>
                    </a:cubicBezTo>
                    <a:cubicBezTo>
                      <a:pt x="1593" y="7203"/>
                      <a:pt x="1593" y="7203"/>
                      <a:pt x="1593" y="7203"/>
                    </a:cubicBezTo>
                    <a:cubicBezTo>
                      <a:pt x="1571" y="7248"/>
                      <a:pt x="1546" y="7300"/>
                      <a:pt x="1521" y="7352"/>
                    </a:cubicBezTo>
                    <a:cubicBezTo>
                      <a:pt x="1565" y="7381"/>
                      <a:pt x="1606" y="7408"/>
                      <a:pt x="1618" y="7416"/>
                    </a:cubicBezTo>
                    <a:cubicBezTo>
                      <a:pt x="1685" y="7277"/>
                      <a:pt x="1747" y="7151"/>
                      <a:pt x="1762" y="7119"/>
                    </a:cubicBezTo>
                    <a:close/>
                    <a:moveTo>
                      <a:pt x="1503" y="7357"/>
                    </a:moveTo>
                    <a:cubicBezTo>
                      <a:pt x="1477" y="7340"/>
                      <a:pt x="1451" y="7323"/>
                      <a:pt x="1431" y="7311"/>
                    </a:cubicBezTo>
                    <a:cubicBezTo>
                      <a:pt x="1421" y="7304"/>
                      <a:pt x="1412" y="7299"/>
                      <a:pt x="1405" y="7295"/>
                    </a:cubicBezTo>
                    <a:cubicBezTo>
                      <a:pt x="1220" y="7682"/>
                      <a:pt x="1220" y="7682"/>
                      <a:pt x="1220" y="7682"/>
                    </a:cubicBezTo>
                    <a:cubicBezTo>
                      <a:pt x="1248" y="7703"/>
                      <a:pt x="1280" y="7727"/>
                      <a:pt x="1316" y="7754"/>
                    </a:cubicBezTo>
                    <a:cubicBezTo>
                      <a:pt x="1318" y="7749"/>
                      <a:pt x="1321" y="7742"/>
                      <a:pt x="1324" y="7735"/>
                    </a:cubicBezTo>
                    <a:cubicBezTo>
                      <a:pt x="1235" y="7672"/>
                      <a:pt x="1235" y="7672"/>
                      <a:pt x="1235" y="7672"/>
                    </a:cubicBezTo>
                    <a:cubicBezTo>
                      <a:pt x="1316" y="7563"/>
                      <a:pt x="1316" y="7563"/>
                      <a:pt x="1316" y="7563"/>
                    </a:cubicBezTo>
                    <a:cubicBezTo>
                      <a:pt x="1382" y="7611"/>
                      <a:pt x="1382" y="7611"/>
                      <a:pt x="1382" y="7611"/>
                    </a:cubicBezTo>
                    <a:cubicBezTo>
                      <a:pt x="1417" y="7537"/>
                      <a:pt x="1461" y="7445"/>
                      <a:pt x="1503" y="7357"/>
                    </a:cubicBezTo>
                    <a:close/>
                    <a:moveTo>
                      <a:pt x="1377" y="7655"/>
                    </a:moveTo>
                    <a:cubicBezTo>
                      <a:pt x="1362" y="7685"/>
                      <a:pt x="1351" y="7710"/>
                      <a:pt x="1341" y="7731"/>
                    </a:cubicBezTo>
                    <a:cubicBezTo>
                      <a:pt x="1401" y="7773"/>
                      <a:pt x="1401" y="7773"/>
                      <a:pt x="1401" y="7773"/>
                    </a:cubicBezTo>
                    <a:cubicBezTo>
                      <a:pt x="1462" y="7686"/>
                      <a:pt x="1462" y="7686"/>
                      <a:pt x="1462" y="7686"/>
                    </a:cubicBezTo>
                    <a:cubicBezTo>
                      <a:pt x="1388" y="7632"/>
                      <a:pt x="1388" y="7632"/>
                      <a:pt x="1388" y="7632"/>
                    </a:cubicBezTo>
                    <a:cubicBezTo>
                      <a:pt x="1384" y="7639"/>
                      <a:pt x="1380" y="7648"/>
                      <a:pt x="1377" y="7655"/>
                    </a:cubicBezTo>
                    <a:close/>
                    <a:moveTo>
                      <a:pt x="1330" y="7722"/>
                    </a:moveTo>
                    <a:cubicBezTo>
                      <a:pt x="1341" y="7697"/>
                      <a:pt x="1357" y="7663"/>
                      <a:pt x="1376" y="7623"/>
                    </a:cubicBezTo>
                    <a:cubicBezTo>
                      <a:pt x="1319" y="7582"/>
                      <a:pt x="1319" y="7582"/>
                      <a:pt x="1319" y="7582"/>
                    </a:cubicBezTo>
                    <a:cubicBezTo>
                      <a:pt x="1254" y="7669"/>
                      <a:pt x="1254" y="7669"/>
                      <a:pt x="1254" y="7669"/>
                    </a:cubicBezTo>
                    <a:lnTo>
                      <a:pt x="1330" y="7722"/>
                    </a:lnTo>
                    <a:close/>
                    <a:moveTo>
                      <a:pt x="1327" y="7763"/>
                    </a:moveTo>
                    <a:cubicBezTo>
                      <a:pt x="1356" y="7785"/>
                      <a:pt x="1387" y="7808"/>
                      <a:pt x="1420" y="7833"/>
                    </a:cubicBezTo>
                    <a:cubicBezTo>
                      <a:pt x="1442" y="7782"/>
                      <a:pt x="1530" y="7598"/>
                      <a:pt x="1612" y="7429"/>
                    </a:cubicBezTo>
                    <a:cubicBezTo>
                      <a:pt x="1602" y="7422"/>
                      <a:pt x="1560" y="7394"/>
                      <a:pt x="1515" y="7365"/>
                    </a:cubicBezTo>
                    <a:cubicBezTo>
                      <a:pt x="1509" y="7376"/>
                      <a:pt x="1504" y="7388"/>
                      <a:pt x="1498" y="7399"/>
                    </a:cubicBezTo>
                    <a:cubicBezTo>
                      <a:pt x="1461" y="7477"/>
                      <a:pt x="1424" y="7555"/>
                      <a:pt x="1393" y="7620"/>
                    </a:cubicBezTo>
                    <a:cubicBezTo>
                      <a:pt x="1480" y="7683"/>
                      <a:pt x="1480" y="7683"/>
                      <a:pt x="1480" y="7683"/>
                    </a:cubicBezTo>
                    <a:cubicBezTo>
                      <a:pt x="1476" y="7688"/>
                      <a:pt x="1476" y="7688"/>
                      <a:pt x="1476" y="7688"/>
                    </a:cubicBezTo>
                    <a:cubicBezTo>
                      <a:pt x="1404" y="7791"/>
                      <a:pt x="1404" y="7791"/>
                      <a:pt x="1404" y="7791"/>
                    </a:cubicBezTo>
                    <a:cubicBezTo>
                      <a:pt x="1336" y="7743"/>
                      <a:pt x="1336" y="7743"/>
                      <a:pt x="1336" y="7743"/>
                    </a:cubicBezTo>
                    <a:cubicBezTo>
                      <a:pt x="1332" y="7751"/>
                      <a:pt x="1329" y="7757"/>
                      <a:pt x="1327" y="7763"/>
                    </a:cubicBezTo>
                    <a:close/>
                    <a:moveTo>
                      <a:pt x="1635" y="7084"/>
                    </a:moveTo>
                    <a:cubicBezTo>
                      <a:pt x="1591" y="7053"/>
                      <a:pt x="1591" y="7053"/>
                      <a:pt x="1591" y="7053"/>
                    </a:cubicBezTo>
                    <a:cubicBezTo>
                      <a:pt x="1526" y="7140"/>
                      <a:pt x="1526" y="7140"/>
                      <a:pt x="1526" y="7140"/>
                    </a:cubicBezTo>
                    <a:cubicBezTo>
                      <a:pt x="1587" y="7183"/>
                      <a:pt x="1587" y="7183"/>
                      <a:pt x="1587" y="7183"/>
                    </a:cubicBezTo>
                    <a:cubicBezTo>
                      <a:pt x="1606" y="7144"/>
                      <a:pt x="1622" y="7111"/>
                      <a:pt x="1635" y="7084"/>
                    </a:cubicBezTo>
                    <a:close/>
                    <a:moveTo>
                      <a:pt x="1599" y="7191"/>
                    </a:moveTo>
                    <a:cubicBezTo>
                      <a:pt x="1664" y="7237"/>
                      <a:pt x="1664" y="7237"/>
                      <a:pt x="1664" y="7237"/>
                    </a:cubicBezTo>
                    <a:cubicBezTo>
                      <a:pt x="1724" y="7149"/>
                      <a:pt x="1724" y="7149"/>
                      <a:pt x="1724" y="7149"/>
                    </a:cubicBezTo>
                    <a:cubicBezTo>
                      <a:pt x="1646" y="7093"/>
                      <a:pt x="1646" y="7093"/>
                      <a:pt x="1646" y="7093"/>
                    </a:cubicBezTo>
                    <a:cubicBezTo>
                      <a:pt x="1633" y="7119"/>
                      <a:pt x="1617" y="7153"/>
                      <a:pt x="1599" y="7191"/>
                    </a:cubicBezTo>
                    <a:close/>
                    <a:moveTo>
                      <a:pt x="1661" y="7031"/>
                    </a:moveTo>
                    <a:cubicBezTo>
                      <a:pt x="1570" y="6952"/>
                      <a:pt x="1570" y="6952"/>
                      <a:pt x="1570" y="6952"/>
                    </a:cubicBezTo>
                    <a:cubicBezTo>
                      <a:pt x="1411" y="7282"/>
                      <a:pt x="1411" y="7282"/>
                      <a:pt x="1411" y="7282"/>
                    </a:cubicBezTo>
                    <a:cubicBezTo>
                      <a:pt x="1412" y="7283"/>
                      <a:pt x="1412" y="7283"/>
                      <a:pt x="1412" y="7283"/>
                    </a:cubicBezTo>
                    <a:cubicBezTo>
                      <a:pt x="1431" y="7294"/>
                      <a:pt x="1470" y="7319"/>
                      <a:pt x="1509" y="7344"/>
                    </a:cubicBezTo>
                    <a:cubicBezTo>
                      <a:pt x="1535" y="7292"/>
                      <a:pt x="1559" y="7240"/>
                      <a:pt x="1581" y="7195"/>
                    </a:cubicBezTo>
                    <a:cubicBezTo>
                      <a:pt x="1508" y="7143"/>
                      <a:pt x="1508" y="7143"/>
                      <a:pt x="1508" y="7143"/>
                    </a:cubicBezTo>
                    <a:cubicBezTo>
                      <a:pt x="1589" y="7035"/>
                      <a:pt x="1589" y="7035"/>
                      <a:pt x="1589" y="7035"/>
                    </a:cubicBezTo>
                    <a:cubicBezTo>
                      <a:pt x="1641" y="7072"/>
                      <a:pt x="1641" y="7072"/>
                      <a:pt x="1641" y="7072"/>
                    </a:cubicBezTo>
                    <a:cubicBezTo>
                      <a:pt x="1650" y="7052"/>
                      <a:pt x="1657" y="7038"/>
                      <a:pt x="1661" y="7031"/>
                    </a:cubicBezTo>
                    <a:close/>
                    <a:moveTo>
                      <a:pt x="1556" y="6944"/>
                    </a:moveTo>
                    <a:cubicBezTo>
                      <a:pt x="1416" y="6811"/>
                      <a:pt x="1416" y="6811"/>
                      <a:pt x="1416" y="6811"/>
                    </a:cubicBezTo>
                    <a:cubicBezTo>
                      <a:pt x="1057" y="7562"/>
                      <a:pt x="1057" y="7562"/>
                      <a:pt x="1057" y="7562"/>
                    </a:cubicBezTo>
                    <a:cubicBezTo>
                      <a:pt x="1093" y="7589"/>
                      <a:pt x="1093" y="7589"/>
                      <a:pt x="1093" y="7589"/>
                    </a:cubicBezTo>
                    <a:cubicBezTo>
                      <a:pt x="1095" y="7588"/>
                      <a:pt x="1095" y="7588"/>
                      <a:pt x="1095" y="7588"/>
                    </a:cubicBezTo>
                    <a:cubicBezTo>
                      <a:pt x="1095" y="7588"/>
                      <a:pt x="1138" y="7620"/>
                      <a:pt x="1206" y="7672"/>
                    </a:cubicBezTo>
                    <a:cubicBezTo>
                      <a:pt x="1394" y="7281"/>
                      <a:pt x="1394" y="7281"/>
                      <a:pt x="1394" y="7281"/>
                    </a:cubicBezTo>
                    <a:cubicBezTo>
                      <a:pt x="1391" y="7279"/>
                      <a:pt x="1391" y="7279"/>
                      <a:pt x="1391" y="7279"/>
                    </a:cubicBezTo>
                    <a:cubicBezTo>
                      <a:pt x="1392" y="7278"/>
                      <a:pt x="1393" y="7277"/>
                      <a:pt x="1395" y="7276"/>
                    </a:cubicBezTo>
                    <a:cubicBezTo>
                      <a:pt x="1395" y="7276"/>
                      <a:pt x="1396" y="7276"/>
                      <a:pt x="1396" y="7276"/>
                    </a:cubicBezTo>
                    <a:lnTo>
                      <a:pt x="1556" y="6944"/>
                    </a:lnTo>
                    <a:close/>
                    <a:moveTo>
                      <a:pt x="1042" y="7635"/>
                    </a:moveTo>
                    <a:cubicBezTo>
                      <a:pt x="946" y="7753"/>
                      <a:pt x="946" y="7753"/>
                      <a:pt x="946" y="7753"/>
                    </a:cubicBezTo>
                    <a:cubicBezTo>
                      <a:pt x="991" y="7874"/>
                      <a:pt x="991" y="7874"/>
                      <a:pt x="991" y="7874"/>
                    </a:cubicBezTo>
                    <a:cubicBezTo>
                      <a:pt x="926" y="8119"/>
                      <a:pt x="926" y="8119"/>
                      <a:pt x="926" y="8119"/>
                    </a:cubicBezTo>
                    <a:cubicBezTo>
                      <a:pt x="930" y="8114"/>
                      <a:pt x="930" y="8114"/>
                      <a:pt x="930" y="8114"/>
                    </a:cubicBezTo>
                    <a:cubicBezTo>
                      <a:pt x="930" y="8114"/>
                      <a:pt x="930" y="8114"/>
                      <a:pt x="930" y="8114"/>
                    </a:cubicBezTo>
                    <a:cubicBezTo>
                      <a:pt x="1198" y="8351"/>
                      <a:pt x="1198" y="8351"/>
                      <a:pt x="1198" y="8351"/>
                    </a:cubicBezTo>
                    <a:cubicBezTo>
                      <a:pt x="1503" y="7980"/>
                      <a:pt x="1503" y="7980"/>
                      <a:pt x="1503" y="7980"/>
                    </a:cubicBezTo>
                    <a:cubicBezTo>
                      <a:pt x="1262" y="7800"/>
                      <a:pt x="1045" y="7638"/>
                      <a:pt x="1042" y="7635"/>
                    </a:cubicBezTo>
                    <a:close/>
                    <a:moveTo>
                      <a:pt x="1514" y="7903"/>
                    </a:moveTo>
                    <a:cubicBezTo>
                      <a:pt x="1516" y="7897"/>
                      <a:pt x="1519" y="7890"/>
                      <a:pt x="1524" y="7881"/>
                    </a:cubicBezTo>
                    <a:cubicBezTo>
                      <a:pt x="1446" y="7826"/>
                      <a:pt x="1446" y="7826"/>
                      <a:pt x="1446" y="7826"/>
                    </a:cubicBezTo>
                    <a:cubicBezTo>
                      <a:pt x="1527" y="7718"/>
                      <a:pt x="1527" y="7718"/>
                      <a:pt x="1527" y="7718"/>
                    </a:cubicBezTo>
                    <a:cubicBezTo>
                      <a:pt x="1581" y="7757"/>
                      <a:pt x="1581" y="7757"/>
                      <a:pt x="1581" y="7757"/>
                    </a:cubicBezTo>
                    <a:cubicBezTo>
                      <a:pt x="1624" y="7667"/>
                      <a:pt x="1678" y="7552"/>
                      <a:pt x="1727" y="7449"/>
                    </a:cubicBezTo>
                    <a:cubicBezTo>
                      <a:pt x="1658" y="7365"/>
                      <a:pt x="1658" y="7365"/>
                      <a:pt x="1658" y="7365"/>
                    </a:cubicBezTo>
                    <a:cubicBezTo>
                      <a:pt x="1640" y="7402"/>
                      <a:pt x="1622" y="7441"/>
                      <a:pt x="1603" y="7479"/>
                    </a:cubicBezTo>
                    <a:cubicBezTo>
                      <a:pt x="1559" y="7570"/>
                      <a:pt x="1515" y="7661"/>
                      <a:pt x="1482" y="7731"/>
                    </a:cubicBezTo>
                    <a:cubicBezTo>
                      <a:pt x="1466" y="7765"/>
                      <a:pt x="1452" y="7795"/>
                      <a:pt x="1443" y="7816"/>
                    </a:cubicBezTo>
                    <a:cubicBezTo>
                      <a:pt x="1438" y="7826"/>
                      <a:pt x="1434" y="7835"/>
                      <a:pt x="1432" y="7841"/>
                    </a:cubicBezTo>
                    <a:cubicBezTo>
                      <a:pt x="1432" y="7841"/>
                      <a:pt x="1432" y="7841"/>
                      <a:pt x="1431" y="7841"/>
                    </a:cubicBezTo>
                    <a:cubicBezTo>
                      <a:pt x="1458" y="7861"/>
                      <a:pt x="1486" y="7882"/>
                      <a:pt x="1514" y="7903"/>
                    </a:cubicBezTo>
                    <a:close/>
                    <a:moveTo>
                      <a:pt x="1529" y="7869"/>
                    </a:moveTo>
                    <a:cubicBezTo>
                      <a:pt x="1541" y="7843"/>
                      <a:pt x="1557" y="7809"/>
                      <a:pt x="1575" y="7769"/>
                    </a:cubicBezTo>
                    <a:cubicBezTo>
                      <a:pt x="1530" y="7736"/>
                      <a:pt x="1530" y="7736"/>
                      <a:pt x="1530" y="7736"/>
                    </a:cubicBezTo>
                    <a:cubicBezTo>
                      <a:pt x="1465" y="7823"/>
                      <a:pt x="1465" y="7823"/>
                      <a:pt x="1465" y="7823"/>
                    </a:cubicBezTo>
                    <a:lnTo>
                      <a:pt x="1529" y="7869"/>
                    </a:lnTo>
                    <a:close/>
                    <a:moveTo>
                      <a:pt x="1525" y="7912"/>
                    </a:moveTo>
                    <a:cubicBezTo>
                      <a:pt x="1537" y="7920"/>
                      <a:pt x="1548" y="7929"/>
                      <a:pt x="1560" y="7938"/>
                    </a:cubicBezTo>
                    <a:cubicBezTo>
                      <a:pt x="1580" y="7953"/>
                      <a:pt x="1599" y="7968"/>
                      <a:pt x="1619" y="7982"/>
                    </a:cubicBezTo>
                    <a:cubicBezTo>
                      <a:pt x="1622" y="7976"/>
                      <a:pt x="1626" y="7967"/>
                      <a:pt x="1631" y="7957"/>
                    </a:cubicBezTo>
                    <a:cubicBezTo>
                      <a:pt x="1535" y="7889"/>
                      <a:pt x="1535" y="7889"/>
                      <a:pt x="1535" y="7889"/>
                    </a:cubicBezTo>
                    <a:cubicBezTo>
                      <a:pt x="1531" y="7898"/>
                      <a:pt x="1528" y="7905"/>
                      <a:pt x="1526" y="7910"/>
                    </a:cubicBezTo>
                    <a:cubicBezTo>
                      <a:pt x="1526" y="7911"/>
                      <a:pt x="1526" y="7911"/>
                      <a:pt x="1525" y="7912"/>
                    </a:cubicBezTo>
                    <a:close/>
                    <a:moveTo>
                      <a:pt x="1636" y="7945"/>
                    </a:moveTo>
                    <a:cubicBezTo>
                      <a:pt x="1648" y="7919"/>
                      <a:pt x="1664" y="7885"/>
                      <a:pt x="1682" y="7846"/>
                    </a:cubicBezTo>
                    <a:cubicBezTo>
                      <a:pt x="1587" y="7777"/>
                      <a:pt x="1587" y="7777"/>
                      <a:pt x="1587" y="7777"/>
                    </a:cubicBezTo>
                    <a:cubicBezTo>
                      <a:pt x="1583" y="7785"/>
                      <a:pt x="1579" y="7794"/>
                      <a:pt x="1575" y="7802"/>
                    </a:cubicBezTo>
                    <a:cubicBezTo>
                      <a:pt x="1561" y="7832"/>
                      <a:pt x="1550" y="7857"/>
                      <a:pt x="1541" y="7877"/>
                    </a:cubicBezTo>
                    <a:lnTo>
                      <a:pt x="1636" y="7945"/>
                    </a:lnTo>
                    <a:close/>
                    <a:moveTo>
                      <a:pt x="1631" y="7991"/>
                    </a:moveTo>
                    <a:cubicBezTo>
                      <a:pt x="1664" y="8016"/>
                      <a:pt x="1697" y="8041"/>
                      <a:pt x="1730" y="8066"/>
                    </a:cubicBezTo>
                    <a:cubicBezTo>
                      <a:pt x="1733" y="8057"/>
                      <a:pt x="1738" y="8048"/>
                      <a:pt x="1743" y="8037"/>
                    </a:cubicBezTo>
                    <a:cubicBezTo>
                      <a:pt x="1642" y="7965"/>
                      <a:pt x="1642" y="7965"/>
                      <a:pt x="1642" y="7965"/>
                    </a:cubicBezTo>
                    <a:cubicBezTo>
                      <a:pt x="1641" y="7967"/>
                      <a:pt x="1640" y="7970"/>
                      <a:pt x="1639" y="7972"/>
                    </a:cubicBezTo>
                    <a:cubicBezTo>
                      <a:pt x="1636" y="7980"/>
                      <a:pt x="1633" y="7986"/>
                      <a:pt x="1631" y="7991"/>
                    </a:cubicBezTo>
                    <a:close/>
                    <a:moveTo>
                      <a:pt x="1741" y="8074"/>
                    </a:moveTo>
                    <a:cubicBezTo>
                      <a:pt x="1771" y="8096"/>
                      <a:pt x="1800" y="8118"/>
                      <a:pt x="1828" y="8140"/>
                    </a:cubicBezTo>
                    <a:cubicBezTo>
                      <a:pt x="1866" y="8055"/>
                      <a:pt x="1958" y="7862"/>
                      <a:pt x="2035" y="7703"/>
                    </a:cubicBezTo>
                    <a:cubicBezTo>
                      <a:pt x="1929" y="7675"/>
                      <a:pt x="1929" y="7675"/>
                      <a:pt x="1929" y="7675"/>
                    </a:cubicBezTo>
                    <a:cubicBezTo>
                      <a:pt x="1920" y="7695"/>
                      <a:pt x="1910" y="7714"/>
                      <a:pt x="1901" y="7733"/>
                    </a:cubicBezTo>
                    <a:cubicBezTo>
                      <a:pt x="1870" y="7799"/>
                      <a:pt x="1839" y="7865"/>
                      <a:pt x="1811" y="7923"/>
                    </a:cubicBezTo>
                    <a:cubicBezTo>
                      <a:pt x="1892" y="7980"/>
                      <a:pt x="1892" y="7980"/>
                      <a:pt x="1892" y="7980"/>
                    </a:cubicBezTo>
                    <a:cubicBezTo>
                      <a:pt x="1888" y="7986"/>
                      <a:pt x="1888" y="7986"/>
                      <a:pt x="1888" y="7986"/>
                    </a:cubicBezTo>
                    <a:cubicBezTo>
                      <a:pt x="1816" y="8089"/>
                      <a:pt x="1816" y="8089"/>
                      <a:pt x="1816" y="8089"/>
                    </a:cubicBezTo>
                    <a:cubicBezTo>
                      <a:pt x="1754" y="8045"/>
                      <a:pt x="1754" y="8045"/>
                      <a:pt x="1754" y="8045"/>
                    </a:cubicBezTo>
                    <a:cubicBezTo>
                      <a:pt x="1751" y="8052"/>
                      <a:pt x="1748" y="8058"/>
                      <a:pt x="1746" y="8064"/>
                    </a:cubicBezTo>
                    <a:cubicBezTo>
                      <a:pt x="1744" y="8068"/>
                      <a:pt x="1743" y="8071"/>
                      <a:pt x="1741" y="8074"/>
                    </a:cubicBezTo>
                    <a:close/>
                    <a:moveTo>
                      <a:pt x="1840" y="8148"/>
                    </a:moveTo>
                    <a:cubicBezTo>
                      <a:pt x="1918" y="8207"/>
                      <a:pt x="1989" y="8260"/>
                      <a:pt x="2047" y="8304"/>
                    </a:cubicBezTo>
                    <a:cubicBezTo>
                      <a:pt x="2094" y="8219"/>
                      <a:pt x="2175" y="8066"/>
                      <a:pt x="2246" y="7932"/>
                    </a:cubicBezTo>
                    <a:cubicBezTo>
                      <a:pt x="2315" y="7801"/>
                      <a:pt x="2374" y="7690"/>
                      <a:pt x="2378" y="7682"/>
                    </a:cubicBezTo>
                    <a:cubicBezTo>
                      <a:pt x="2210" y="7509"/>
                      <a:pt x="2210" y="7509"/>
                      <a:pt x="2210" y="7509"/>
                    </a:cubicBezTo>
                    <a:cubicBezTo>
                      <a:pt x="2163" y="7468"/>
                      <a:pt x="2163" y="7468"/>
                      <a:pt x="2163" y="7468"/>
                    </a:cubicBezTo>
                    <a:cubicBezTo>
                      <a:pt x="2154" y="7487"/>
                      <a:pt x="2074" y="7653"/>
                      <a:pt x="1993" y="7822"/>
                    </a:cubicBezTo>
                    <a:cubicBezTo>
                      <a:pt x="1951" y="7911"/>
                      <a:pt x="1908" y="8000"/>
                      <a:pt x="1876" y="8069"/>
                    </a:cubicBezTo>
                    <a:cubicBezTo>
                      <a:pt x="1861" y="8101"/>
                      <a:pt x="1849" y="8128"/>
                      <a:pt x="1840" y="8148"/>
                    </a:cubicBezTo>
                    <a:close/>
                    <a:moveTo>
                      <a:pt x="2600" y="7890"/>
                    </a:moveTo>
                    <a:cubicBezTo>
                      <a:pt x="2651" y="8141"/>
                      <a:pt x="2651" y="8141"/>
                      <a:pt x="2651" y="8141"/>
                    </a:cubicBezTo>
                    <a:cubicBezTo>
                      <a:pt x="2708" y="8087"/>
                      <a:pt x="2782" y="8018"/>
                      <a:pt x="2857" y="7952"/>
                    </a:cubicBezTo>
                    <a:cubicBezTo>
                      <a:pt x="2950" y="7871"/>
                      <a:pt x="3047" y="7802"/>
                      <a:pt x="3098" y="7756"/>
                    </a:cubicBezTo>
                    <a:cubicBezTo>
                      <a:pt x="3197" y="7668"/>
                      <a:pt x="3295" y="7634"/>
                      <a:pt x="3350" y="7622"/>
                    </a:cubicBezTo>
                    <a:cubicBezTo>
                      <a:pt x="3364" y="7515"/>
                      <a:pt x="3364" y="7515"/>
                      <a:pt x="3364" y="7515"/>
                    </a:cubicBezTo>
                    <a:cubicBezTo>
                      <a:pt x="3296" y="7510"/>
                      <a:pt x="2852" y="7474"/>
                      <a:pt x="2852" y="7474"/>
                    </a:cubicBezTo>
                    <a:cubicBezTo>
                      <a:pt x="2851" y="7474"/>
                      <a:pt x="2851" y="7474"/>
                      <a:pt x="2851" y="7474"/>
                    </a:cubicBezTo>
                    <a:cubicBezTo>
                      <a:pt x="2697" y="7420"/>
                      <a:pt x="2697" y="7420"/>
                      <a:pt x="2697" y="7420"/>
                    </a:cubicBezTo>
                    <a:cubicBezTo>
                      <a:pt x="2408" y="7223"/>
                      <a:pt x="2408" y="7223"/>
                      <a:pt x="2408" y="7223"/>
                    </a:cubicBezTo>
                    <a:cubicBezTo>
                      <a:pt x="1601" y="6734"/>
                      <a:pt x="1601" y="6734"/>
                      <a:pt x="1601" y="6734"/>
                    </a:cubicBezTo>
                    <a:cubicBezTo>
                      <a:pt x="1600" y="6736"/>
                      <a:pt x="1600" y="6736"/>
                      <a:pt x="1600" y="6736"/>
                    </a:cubicBezTo>
                    <a:cubicBezTo>
                      <a:pt x="1525" y="6691"/>
                      <a:pt x="1525" y="6691"/>
                      <a:pt x="1525" y="6691"/>
                    </a:cubicBezTo>
                    <a:cubicBezTo>
                      <a:pt x="1348" y="6630"/>
                      <a:pt x="1348" y="6630"/>
                      <a:pt x="1348" y="6630"/>
                    </a:cubicBezTo>
                    <a:cubicBezTo>
                      <a:pt x="1307" y="6685"/>
                      <a:pt x="1307" y="6685"/>
                      <a:pt x="1307" y="6685"/>
                    </a:cubicBezTo>
                    <a:cubicBezTo>
                      <a:pt x="1571" y="6936"/>
                      <a:pt x="1571" y="6936"/>
                      <a:pt x="1571" y="6936"/>
                    </a:cubicBezTo>
                    <a:cubicBezTo>
                      <a:pt x="1572" y="6935"/>
                      <a:pt x="1572" y="6935"/>
                      <a:pt x="1572" y="6935"/>
                    </a:cubicBezTo>
                    <a:cubicBezTo>
                      <a:pt x="2219" y="7499"/>
                      <a:pt x="2219" y="7499"/>
                      <a:pt x="2219" y="7499"/>
                    </a:cubicBezTo>
                    <a:lnTo>
                      <a:pt x="2600" y="7890"/>
                    </a:lnTo>
                    <a:close/>
                    <a:moveTo>
                      <a:pt x="1129" y="6093"/>
                    </a:moveTo>
                    <a:cubicBezTo>
                      <a:pt x="1128" y="6098"/>
                      <a:pt x="1128" y="6098"/>
                      <a:pt x="1128" y="6098"/>
                    </a:cubicBezTo>
                    <a:cubicBezTo>
                      <a:pt x="1447" y="6377"/>
                      <a:pt x="1447" y="6377"/>
                      <a:pt x="1447" y="6377"/>
                    </a:cubicBezTo>
                    <a:cubicBezTo>
                      <a:pt x="1487" y="6322"/>
                      <a:pt x="1487" y="6322"/>
                      <a:pt x="1487" y="6322"/>
                    </a:cubicBezTo>
                    <a:cubicBezTo>
                      <a:pt x="1492" y="6314"/>
                      <a:pt x="1520" y="6270"/>
                      <a:pt x="1549" y="6225"/>
                    </a:cubicBezTo>
                    <a:cubicBezTo>
                      <a:pt x="1565" y="6201"/>
                      <a:pt x="1580" y="6176"/>
                      <a:pt x="1593" y="6158"/>
                    </a:cubicBezTo>
                    <a:cubicBezTo>
                      <a:pt x="1599" y="6149"/>
                      <a:pt x="1604" y="6141"/>
                      <a:pt x="1607" y="6135"/>
                    </a:cubicBezTo>
                    <a:cubicBezTo>
                      <a:pt x="1608" y="6134"/>
                      <a:pt x="1608" y="6134"/>
                      <a:pt x="1609" y="6134"/>
                    </a:cubicBezTo>
                    <a:cubicBezTo>
                      <a:pt x="1543" y="5691"/>
                      <a:pt x="1543" y="5691"/>
                      <a:pt x="1543" y="5691"/>
                    </a:cubicBezTo>
                    <a:cubicBezTo>
                      <a:pt x="1324" y="5583"/>
                      <a:pt x="1324" y="5583"/>
                      <a:pt x="1324" y="5583"/>
                    </a:cubicBezTo>
                    <a:cubicBezTo>
                      <a:pt x="1323" y="5583"/>
                      <a:pt x="1323" y="5583"/>
                      <a:pt x="1322" y="5584"/>
                    </a:cubicBezTo>
                    <a:cubicBezTo>
                      <a:pt x="1529" y="5688"/>
                      <a:pt x="1529" y="5688"/>
                      <a:pt x="1529" y="5688"/>
                    </a:cubicBezTo>
                    <a:cubicBezTo>
                      <a:pt x="1581" y="6101"/>
                      <a:pt x="1581" y="6101"/>
                      <a:pt x="1581" y="6101"/>
                    </a:cubicBezTo>
                    <a:cubicBezTo>
                      <a:pt x="1436" y="6322"/>
                      <a:pt x="1436" y="6322"/>
                      <a:pt x="1436" y="6322"/>
                    </a:cubicBezTo>
                    <a:cubicBezTo>
                      <a:pt x="1154" y="6087"/>
                      <a:pt x="1154" y="6087"/>
                      <a:pt x="1154" y="6087"/>
                    </a:cubicBezTo>
                    <a:cubicBezTo>
                      <a:pt x="1150" y="5868"/>
                      <a:pt x="1150" y="5868"/>
                      <a:pt x="1150" y="5868"/>
                    </a:cubicBezTo>
                    <a:cubicBezTo>
                      <a:pt x="1018" y="5653"/>
                      <a:pt x="1018" y="5653"/>
                      <a:pt x="1018" y="5653"/>
                    </a:cubicBezTo>
                    <a:cubicBezTo>
                      <a:pt x="1262" y="5597"/>
                      <a:pt x="1262" y="5597"/>
                      <a:pt x="1262" y="5597"/>
                    </a:cubicBezTo>
                    <a:cubicBezTo>
                      <a:pt x="1230" y="5604"/>
                      <a:pt x="1192" y="5612"/>
                      <a:pt x="1153" y="5621"/>
                    </a:cubicBezTo>
                    <a:cubicBezTo>
                      <a:pt x="1108" y="5631"/>
                      <a:pt x="1062" y="5641"/>
                      <a:pt x="1027" y="5649"/>
                    </a:cubicBezTo>
                    <a:cubicBezTo>
                      <a:pt x="1018" y="5651"/>
                      <a:pt x="1002" y="5655"/>
                      <a:pt x="989" y="5658"/>
                    </a:cubicBezTo>
                    <a:cubicBezTo>
                      <a:pt x="1127" y="5882"/>
                      <a:pt x="1127" y="5882"/>
                      <a:pt x="1127" y="5882"/>
                    </a:cubicBezTo>
                    <a:lnTo>
                      <a:pt x="1129" y="6093"/>
                    </a:lnTo>
                    <a:close/>
                    <a:moveTo>
                      <a:pt x="469" y="5054"/>
                    </a:moveTo>
                    <a:cubicBezTo>
                      <a:pt x="434" y="5079"/>
                      <a:pt x="434" y="5079"/>
                      <a:pt x="434" y="5079"/>
                    </a:cubicBezTo>
                    <a:cubicBezTo>
                      <a:pt x="462" y="5117"/>
                      <a:pt x="462" y="5117"/>
                      <a:pt x="462" y="5117"/>
                    </a:cubicBezTo>
                    <a:cubicBezTo>
                      <a:pt x="403" y="5161"/>
                      <a:pt x="403" y="5161"/>
                      <a:pt x="403" y="5161"/>
                    </a:cubicBezTo>
                    <a:cubicBezTo>
                      <a:pt x="896" y="4991"/>
                      <a:pt x="896" y="4991"/>
                      <a:pt x="896" y="4991"/>
                    </a:cubicBezTo>
                    <a:cubicBezTo>
                      <a:pt x="823" y="4886"/>
                      <a:pt x="823" y="4886"/>
                      <a:pt x="823" y="4886"/>
                    </a:cubicBezTo>
                    <a:cubicBezTo>
                      <a:pt x="452" y="5032"/>
                      <a:pt x="452" y="5032"/>
                      <a:pt x="452" y="5032"/>
                    </a:cubicBezTo>
                    <a:lnTo>
                      <a:pt x="469" y="5054"/>
                    </a:lnTo>
                    <a:close/>
                    <a:moveTo>
                      <a:pt x="833" y="4862"/>
                    </a:moveTo>
                    <a:cubicBezTo>
                      <a:pt x="833" y="4862"/>
                      <a:pt x="833" y="4862"/>
                      <a:pt x="833" y="4862"/>
                    </a:cubicBezTo>
                    <a:cubicBezTo>
                      <a:pt x="825" y="4858"/>
                      <a:pt x="825" y="4858"/>
                      <a:pt x="825" y="4858"/>
                    </a:cubicBezTo>
                    <a:lnTo>
                      <a:pt x="833" y="4862"/>
                    </a:lnTo>
                    <a:close/>
                    <a:moveTo>
                      <a:pt x="1154" y="5241"/>
                    </a:moveTo>
                    <a:cubicBezTo>
                      <a:pt x="1444" y="4949"/>
                      <a:pt x="1444" y="4949"/>
                      <a:pt x="1444" y="4949"/>
                    </a:cubicBezTo>
                    <a:cubicBezTo>
                      <a:pt x="1377" y="4888"/>
                      <a:pt x="1363" y="4831"/>
                      <a:pt x="1356" y="4803"/>
                    </a:cubicBezTo>
                    <a:cubicBezTo>
                      <a:pt x="1351" y="4787"/>
                      <a:pt x="1343" y="4757"/>
                      <a:pt x="1334" y="4723"/>
                    </a:cubicBezTo>
                    <a:cubicBezTo>
                      <a:pt x="869" y="4836"/>
                      <a:pt x="869" y="4836"/>
                      <a:pt x="869" y="4836"/>
                    </a:cubicBezTo>
                    <a:cubicBezTo>
                      <a:pt x="869" y="4837"/>
                      <a:pt x="870" y="4837"/>
                      <a:pt x="870" y="4838"/>
                    </a:cubicBezTo>
                    <a:cubicBezTo>
                      <a:pt x="874" y="4843"/>
                      <a:pt x="877" y="4847"/>
                      <a:pt x="879" y="4850"/>
                    </a:cubicBezTo>
                    <a:cubicBezTo>
                      <a:pt x="880" y="4851"/>
                      <a:pt x="880" y="4852"/>
                      <a:pt x="881" y="4853"/>
                    </a:cubicBezTo>
                    <a:cubicBezTo>
                      <a:pt x="882" y="4854"/>
                      <a:pt x="882" y="4854"/>
                      <a:pt x="882" y="4855"/>
                    </a:cubicBezTo>
                    <a:cubicBezTo>
                      <a:pt x="883" y="4855"/>
                      <a:pt x="883" y="4856"/>
                      <a:pt x="883" y="4857"/>
                    </a:cubicBezTo>
                    <a:cubicBezTo>
                      <a:pt x="884" y="4857"/>
                      <a:pt x="884" y="4858"/>
                      <a:pt x="885" y="4860"/>
                    </a:cubicBezTo>
                    <a:cubicBezTo>
                      <a:pt x="885" y="4860"/>
                      <a:pt x="885" y="4861"/>
                      <a:pt x="886" y="4862"/>
                    </a:cubicBezTo>
                    <a:lnTo>
                      <a:pt x="1154" y="5241"/>
                    </a:lnTo>
                    <a:close/>
                    <a:moveTo>
                      <a:pt x="1035" y="4277"/>
                    </a:moveTo>
                    <a:cubicBezTo>
                      <a:pt x="1035" y="4301"/>
                      <a:pt x="1030" y="4326"/>
                      <a:pt x="1017" y="4347"/>
                    </a:cubicBezTo>
                    <a:cubicBezTo>
                      <a:pt x="1002" y="4372"/>
                      <a:pt x="985" y="4390"/>
                      <a:pt x="968" y="4402"/>
                    </a:cubicBezTo>
                    <a:cubicBezTo>
                      <a:pt x="1091" y="4514"/>
                      <a:pt x="1091" y="4514"/>
                      <a:pt x="1091" y="4514"/>
                    </a:cubicBezTo>
                    <a:cubicBezTo>
                      <a:pt x="1146" y="4752"/>
                      <a:pt x="1146" y="4752"/>
                      <a:pt x="1146" y="4752"/>
                    </a:cubicBezTo>
                    <a:cubicBezTo>
                      <a:pt x="1330" y="4707"/>
                      <a:pt x="1330" y="4707"/>
                      <a:pt x="1330" y="4707"/>
                    </a:cubicBezTo>
                    <a:cubicBezTo>
                      <a:pt x="1320" y="4670"/>
                      <a:pt x="1310" y="4630"/>
                      <a:pt x="1301" y="4600"/>
                    </a:cubicBezTo>
                    <a:cubicBezTo>
                      <a:pt x="1286" y="4542"/>
                      <a:pt x="1224" y="4441"/>
                      <a:pt x="1175" y="4389"/>
                    </a:cubicBezTo>
                    <a:cubicBezTo>
                      <a:pt x="1143" y="4354"/>
                      <a:pt x="1084" y="4303"/>
                      <a:pt x="1033" y="4262"/>
                    </a:cubicBezTo>
                    <a:cubicBezTo>
                      <a:pt x="1034" y="4267"/>
                      <a:pt x="1035" y="4272"/>
                      <a:pt x="1035" y="4277"/>
                    </a:cubicBezTo>
                    <a:close/>
                    <a:moveTo>
                      <a:pt x="1274" y="3986"/>
                    </a:moveTo>
                    <a:cubicBezTo>
                      <a:pt x="1274" y="3981"/>
                      <a:pt x="1274" y="3977"/>
                      <a:pt x="1274" y="3975"/>
                    </a:cubicBezTo>
                    <a:cubicBezTo>
                      <a:pt x="1272" y="3969"/>
                      <a:pt x="1267" y="3953"/>
                      <a:pt x="1258" y="3935"/>
                    </a:cubicBezTo>
                    <a:cubicBezTo>
                      <a:pt x="1249" y="3942"/>
                      <a:pt x="1240" y="3950"/>
                      <a:pt x="1231" y="3958"/>
                    </a:cubicBezTo>
                    <a:cubicBezTo>
                      <a:pt x="1208" y="3978"/>
                      <a:pt x="1186" y="4003"/>
                      <a:pt x="1167" y="4025"/>
                    </a:cubicBezTo>
                    <a:cubicBezTo>
                      <a:pt x="1142" y="4054"/>
                      <a:pt x="1113" y="4095"/>
                      <a:pt x="1092" y="4135"/>
                    </a:cubicBezTo>
                    <a:cubicBezTo>
                      <a:pt x="1078" y="4161"/>
                      <a:pt x="1068" y="4187"/>
                      <a:pt x="1061" y="4206"/>
                    </a:cubicBezTo>
                    <a:cubicBezTo>
                      <a:pt x="1058" y="4212"/>
                      <a:pt x="1057" y="4217"/>
                      <a:pt x="1055" y="4222"/>
                    </a:cubicBezTo>
                    <a:cubicBezTo>
                      <a:pt x="1109" y="4264"/>
                      <a:pt x="1172" y="4319"/>
                      <a:pt x="1208" y="4358"/>
                    </a:cubicBezTo>
                    <a:cubicBezTo>
                      <a:pt x="1234" y="4386"/>
                      <a:pt x="1261" y="4423"/>
                      <a:pt x="1285" y="4462"/>
                    </a:cubicBezTo>
                    <a:cubicBezTo>
                      <a:pt x="1773" y="4397"/>
                      <a:pt x="1773" y="4397"/>
                      <a:pt x="1773" y="4397"/>
                    </a:cubicBezTo>
                    <a:cubicBezTo>
                      <a:pt x="1673" y="4283"/>
                      <a:pt x="1673" y="4283"/>
                      <a:pt x="1673" y="4283"/>
                    </a:cubicBezTo>
                    <a:cubicBezTo>
                      <a:pt x="1610" y="4323"/>
                      <a:pt x="1539" y="4367"/>
                      <a:pt x="1522" y="4376"/>
                    </a:cubicBezTo>
                    <a:cubicBezTo>
                      <a:pt x="1509" y="4384"/>
                      <a:pt x="1489" y="4386"/>
                      <a:pt x="1464" y="4386"/>
                    </a:cubicBezTo>
                    <a:cubicBezTo>
                      <a:pt x="1410" y="4385"/>
                      <a:pt x="1336" y="4373"/>
                      <a:pt x="1299" y="4338"/>
                    </a:cubicBezTo>
                    <a:cubicBezTo>
                      <a:pt x="1286" y="4325"/>
                      <a:pt x="1279" y="4309"/>
                      <a:pt x="1280" y="4294"/>
                    </a:cubicBezTo>
                    <a:cubicBezTo>
                      <a:pt x="1281" y="4254"/>
                      <a:pt x="1318" y="4222"/>
                      <a:pt x="1329" y="4197"/>
                    </a:cubicBezTo>
                    <a:cubicBezTo>
                      <a:pt x="1338" y="4179"/>
                      <a:pt x="1344" y="4162"/>
                      <a:pt x="1344" y="4146"/>
                    </a:cubicBezTo>
                    <a:cubicBezTo>
                      <a:pt x="1344" y="4128"/>
                      <a:pt x="1337" y="4109"/>
                      <a:pt x="1315" y="4085"/>
                    </a:cubicBezTo>
                    <a:cubicBezTo>
                      <a:pt x="1279" y="4048"/>
                      <a:pt x="1273" y="4006"/>
                      <a:pt x="1274" y="3986"/>
                    </a:cubicBezTo>
                    <a:close/>
                    <a:moveTo>
                      <a:pt x="3946" y="2546"/>
                    </a:moveTo>
                    <a:cubicBezTo>
                      <a:pt x="3935" y="2554"/>
                      <a:pt x="3935" y="2554"/>
                      <a:pt x="3935" y="2554"/>
                    </a:cubicBezTo>
                    <a:cubicBezTo>
                      <a:pt x="3934" y="2553"/>
                      <a:pt x="3828" y="2414"/>
                      <a:pt x="3721" y="2276"/>
                    </a:cubicBezTo>
                    <a:cubicBezTo>
                      <a:pt x="3667" y="2206"/>
                      <a:pt x="3613" y="2136"/>
                      <a:pt x="3572" y="2084"/>
                    </a:cubicBezTo>
                    <a:cubicBezTo>
                      <a:pt x="3552" y="2058"/>
                      <a:pt x="3535" y="2036"/>
                      <a:pt x="3523" y="2021"/>
                    </a:cubicBezTo>
                    <a:cubicBezTo>
                      <a:pt x="3522" y="2020"/>
                      <a:pt x="3521" y="2019"/>
                      <a:pt x="3520" y="2018"/>
                    </a:cubicBezTo>
                    <a:cubicBezTo>
                      <a:pt x="3513" y="2025"/>
                      <a:pt x="3507" y="2032"/>
                      <a:pt x="3502" y="2039"/>
                    </a:cubicBezTo>
                    <a:cubicBezTo>
                      <a:pt x="3464" y="2089"/>
                      <a:pt x="3454" y="2141"/>
                      <a:pt x="3439" y="2196"/>
                    </a:cubicBezTo>
                    <a:cubicBezTo>
                      <a:pt x="3415" y="2285"/>
                      <a:pt x="3405" y="2466"/>
                      <a:pt x="3343" y="2597"/>
                    </a:cubicBezTo>
                    <a:cubicBezTo>
                      <a:pt x="3357" y="2616"/>
                      <a:pt x="3407" y="2694"/>
                      <a:pt x="3457" y="2773"/>
                    </a:cubicBezTo>
                    <a:cubicBezTo>
                      <a:pt x="3483" y="2814"/>
                      <a:pt x="3509" y="2855"/>
                      <a:pt x="3528" y="2885"/>
                    </a:cubicBezTo>
                    <a:cubicBezTo>
                      <a:pt x="3538" y="2900"/>
                      <a:pt x="3546" y="2913"/>
                      <a:pt x="3552" y="2922"/>
                    </a:cubicBezTo>
                    <a:cubicBezTo>
                      <a:pt x="3555" y="2926"/>
                      <a:pt x="3557" y="2930"/>
                      <a:pt x="3558" y="2932"/>
                    </a:cubicBezTo>
                    <a:cubicBezTo>
                      <a:pt x="3559" y="2933"/>
                      <a:pt x="3560" y="2934"/>
                      <a:pt x="3560" y="2934"/>
                    </a:cubicBezTo>
                    <a:cubicBezTo>
                      <a:pt x="3696" y="2713"/>
                      <a:pt x="3696" y="2713"/>
                      <a:pt x="3696" y="2713"/>
                    </a:cubicBezTo>
                    <a:cubicBezTo>
                      <a:pt x="3697" y="2712"/>
                      <a:pt x="3697" y="2712"/>
                      <a:pt x="3697" y="2712"/>
                    </a:cubicBezTo>
                    <a:cubicBezTo>
                      <a:pt x="3697" y="2712"/>
                      <a:pt x="4167" y="2407"/>
                      <a:pt x="4258" y="2348"/>
                    </a:cubicBezTo>
                    <a:cubicBezTo>
                      <a:pt x="4139" y="2089"/>
                      <a:pt x="4139" y="2089"/>
                      <a:pt x="4139" y="2089"/>
                    </a:cubicBezTo>
                    <a:cubicBezTo>
                      <a:pt x="4026" y="1816"/>
                      <a:pt x="4026" y="1816"/>
                      <a:pt x="4026" y="1816"/>
                    </a:cubicBezTo>
                    <a:cubicBezTo>
                      <a:pt x="3978" y="1828"/>
                      <a:pt x="3861" y="1860"/>
                      <a:pt x="3749" y="1895"/>
                    </a:cubicBezTo>
                    <a:cubicBezTo>
                      <a:pt x="3638" y="1930"/>
                      <a:pt x="3572" y="1969"/>
                      <a:pt x="3530" y="2008"/>
                    </a:cubicBezTo>
                    <a:cubicBezTo>
                      <a:pt x="3611" y="2108"/>
                      <a:pt x="3946" y="2546"/>
                      <a:pt x="3946" y="2546"/>
                    </a:cubicBezTo>
                    <a:close/>
                    <a:moveTo>
                      <a:pt x="4631" y="2065"/>
                    </a:moveTo>
                    <a:cubicBezTo>
                      <a:pt x="4654" y="2493"/>
                      <a:pt x="4654" y="2493"/>
                      <a:pt x="4654" y="2493"/>
                    </a:cubicBezTo>
                    <a:cubicBezTo>
                      <a:pt x="4799" y="2490"/>
                      <a:pt x="4969" y="2486"/>
                      <a:pt x="5110" y="2483"/>
                    </a:cubicBezTo>
                    <a:cubicBezTo>
                      <a:pt x="4954" y="2029"/>
                      <a:pt x="4954" y="2029"/>
                      <a:pt x="4954" y="2029"/>
                    </a:cubicBezTo>
                    <a:cubicBezTo>
                      <a:pt x="4869" y="2043"/>
                      <a:pt x="4751" y="2055"/>
                      <a:pt x="4631" y="2065"/>
                    </a:cubicBezTo>
                    <a:close/>
                    <a:moveTo>
                      <a:pt x="4949" y="1985"/>
                    </a:moveTo>
                    <a:cubicBezTo>
                      <a:pt x="4959" y="1518"/>
                      <a:pt x="4959" y="1518"/>
                      <a:pt x="4959" y="1518"/>
                    </a:cubicBezTo>
                    <a:cubicBezTo>
                      <a:pt x="4881" y="1504"/>
                      <a:pt x="4766" y="1482"/>
                      <a:pt x="4683" y="1466"/>
                    </a:cubicBezTo>
                    <a:cubicBezTo>
                      <a:pt x="4783" y="2005"/>
                      <a:pt x="4783" y="2005"/>
                      <a:pt x="4783" y="2005"/>
                    </a:cubicBezTo>
                    <a:cubicBezTo>
                      <a:pt x="4845" y="1999"/>
                      <a:pt x="4903" y="1992"/>
                      <a:pt x="4949" y="1985"/>
                    </a:cubicBezTo>
                    <a:close/>
                    <a:moveTo>
                      <a:pt x="5269" y="1888"/>
                    </a:moveTo>
                    <a:cubicBezTo>
                      <a:pt x="5280" y="1901"/>
                      <a:pt x="5295" y="1920"/>
                      <a:pt x="5307" y="1942"/>
                    </a:cubicBezTo>
                    <a:cubicBezTo>
                      <a:pt x="5354" y="1951"/>
                      <a:pt x="5441" y="1967"/>
                      <a:pt x="5529" y="1984"/>
                    </a:cubicBezTo>
                    <a:cubicBezTo>
                      <a:pt x="5655" y="2008"/>
                      <a:pt x="5786" y="2032"/>
                      <a:pt x="5793" y="2033"/>
                    </a:cubicBezTo>
                    <a:cubicBezTo>
                      <a:pt x="5793" y="2033"/>
                      <a:pt x="5793" y="2033"/>
                      <a:pt x="5793" y="2033"/>
                    </a:cubicBezTo>
                    <a:cubicBezTo>
                      <a:pt x="5793" y="2034"/>
                      <a:pt x="5793" y="2034"/>
                      <a:pt x="5793" y="2034"/>
                    </a:cubicBezTo>
                    <a:cubicBezTo>
                      <a:pt x="5812" y="1970"/>
                      <a:pt x="5812" y="1970"/>
                      <a:pt x="5812" y="1970"/>
                    </a:cubicBezTo>
                    <a:cubicBezTo>
                      <a:pt x="5809" y="1962"/>
                      <a:pt x="5798" y="1931"/>
                      <a:pt x="5787" y="1899"/>
                    </a:cubicBezTo>
                    <a:cubicBezTo>
                      <a:pt x="5786" y="1895"/>
                      <a:pt x="5785" y="1891"/>
                      <a:pt x="5783" y="1887"/>
                    </a:cubicBezTo>
                    <a:cubicBezTo>
                      <a:pt x="5764" y="1884"/>
                      <a:pt x="5660" y="1866"/>
                      <a:pt x="5553" y="1848"/>
                    </a:cubicBezTo>
                    <a:cubicBezTo>
                      <a:pt x="5474" y="1834"/>
                      <a:pt x="5392" y="1821"/>
                      <a:pt x="5351" y="1814"/>
                    </a:cubicBezTo>
                    <a:cubicBezTo>
                      <a:pt x="5328" y="1837"/>
                      <a:pt x="5301" y="1862"/>
                      <a:pt x="5269" y="1888"/>
                    </a:cubicBezTo>
                    <a:close/>
                    <a:moveTo>
                      <a:pt x="5330" y="1770"/>
                    </a:moveTo>
                    <a:cubicBezTo>
                      <a:pt x="5330" y="1770"/>
                      <a:pt x="5330" y="1770"/>
                      <a:pt x="5330" y="1770"/>
                    </a:cubicBezTo>
                    <a:cubicBezTo>
                      <a:pt x="5330" y="1769"/>
                      <a:pt x="5330" y="1769"/>
                      <a:pt x="5330" y="1769"/>
                    </a:cubicBezTo>
                    <a:lnTo>
                      <a:pt x="5330" y="1770"/>
                    </a:lnTo>
                    <a:close/>
                    <a:moveTo>
                      <a:pt x="5880" y="1344"/>
                    </a:moveTo>
                    <a:cubicBezTo>
                      <a:pt x="5881" y="1330"/>
                      <a:pt x="5881" y="1330"/>
                      <a:pt x="5881" y="1330"/>
                    </a:cubicBezTo>
                    <a:cubicBezTo>
                      <a:pt x="5886" y="1330"/>
                      <a:pt x="5886" y="1330"/>
                      <a:pt x="5886" y="1330"/>
                    </a:cubicBezTo>
                    <a:cubicBezTo>
                      <a:pt x="5889" y="1318"/>
                      <a:pt x="5892" y="1307"/>
                      <a:pt x="5895" y="1296"/>
                    </a:cubicBezTo>
                    <a:cubicBezTo>
                      <a:pt x="5871" y="1293"/>
                      <a:pt x="5502" y="1232"/>
                      <a:pt x="5420" y="1218"/>
                    </a:cubicBezTo>
                    <a:cubicBezTo>
                      <a:pt x="5426" y="1251"/>
                      <a:pt x="5433" y="1286"/>
                      <a:pt x="5438" y="1320"/>
                    </a:cubicBezTo>
                    <a:cubicBezTo>
                      <a:pt x="5504" y="1328"/>
                      <a:pt x="5835" y="1388"/>
                      <a:pt x="5870" y="1394"/>
                    </a:cubicBezTo>
                    <a:cubicBezTo>
                      <a:pt x="5874" y="1379"/>
                      <a:pt x="5878" y="1364"/>
                      <a:pt x="5881" y="1349"/>
                    </a:cubicBezTo>
                    <a:cubicBezTo>
                      <a:pt x="5882" y="1347"/>
                      <a:pt x="5882" y="1346"/>
                      <a:pt x="5883" y="1344"/>
                    </a:cubicBezTo>
                    <a:lnTo>
                      <a:pt x="5880" y="1344"/>
                    </a:lnTo>
                    <a:close/>
                    <a:moveTo>
                      <a:pt x="5958" y="2559"/>
                    </a:moveTo>
                    <a:cubicBezTo>
                      <a:pt x="5999" y="2445"/>
                      <a:pt x="5999" y="2445"/>
                      <a:pt x="5999" y="2445"/>
                    </a:cubicBezTo>
                    <a:cubicBezTo>
                      <a:pt x="5872" y="2425"/>
                      <a:pt x="5872" y="2425"/>
                      <a:pt x="5872" y="2425"/>
                    </a:cubicBezTo>
                    <a:cubicBezTo>
                      <a:pt x="5825" y="2554"/>
                      <a:pt x="5825" y="2554"/>
                      <a:pt x="5825" y="2554"/>
                    </a:cubicBezTo>
                    <a:cubicBezTo>
                      <a:pt x="5870" y="2556"/>
                      <a:pt x="5917" y="2558"/>
                      <a:pt x="5958" y="2559"/>
                    </a:cubicBezTo>
                    <a:close/>
                    <a:moveTo>
                      <a:pt x="5820" y="2568"/>
                    </a:moveTo>
                    <a:cubicBezTo>
                      <a:pt x="5776" y="2690"/>
                      <a:pt x="5776" y="2690"/>
                      <a:pt x="5776" y="2690"/>
                    </a:cubicBezTo>
                    <a:cubicBezTo>
                      <a:pt x="5894" y="2735"/>
                      <a:pt x="5894" y="2735"/>
                      <a:pt x="5894" y="2735"/>
                    </a:cubicBezTo>
                    <a:cubicBezTo>
                      <a:pt x="5953" y="2573"/>
                      <a:pt x="5953" y="2573"/>
                      <a:pt x="5953" y="2573"/>
                    </a:cubicBezTo>
                    <a:cubicBezTo>
                      <a:pt x="5912" y="2571"/>
                      <a:pt x="5864" y="2570"/>
                      <a:pt x="5820" y="2568"/>
                    </a:cubicBezTo>
                    <a:close/>
                    <a:moveTo>
                      <a:pt x="6415" y="3095"/>
                    </a:moveTo>
                    <a:cubicBezTo>
                      <a:pt x="6463" y="2872"/>
                      <a:pt x="6463" y="2872"/>
                      <a:pt x="6463" y="2872"/>
                    </a:cubicBezTo>
                    <a:cubicBezTo>
                      <a:pt x="6327" y="2853"/>
                      <a:pt x="6327" y="2853"/>
                      <a:pt x="6327" y="2853"/>
                    </a:cubicBezTo>
                    <a:cubicBezTo>
                      <a:pt x="6283" y="3084"/>
                      <a:pt x="6283" y="3084"/>
                      <a:pt x="6283" y="3084"/>
                    </a:cubicBezTo>
                    <a:lnTo>
                      <a:pt x="6415" y="3095"/>
                    </a:lnTo>
                    <a:close/>
                    <a:moveTo>
                      <a:pt x="6281" y="3098"/>
                    </a:moveTo>
                    <a:cubicBezTo>
                      <a:pt x="6253" y="3245"/>
                      <a:pt x="6253" y="3245"/>
                      <a:pt x="6253" y="3245"/>
                    </a:cubicBezTo>
                    <a:cubicBezTo>
                      <a:pt x="6377" y="3277"/>
                      <a:pt x="6377" y="3277"/>
                      <a:pt x="6377" y="3277"/>
                    </a:cubicBezTo>
                    <a:cubicBezTo>
                      <a:pt x="6412" y="3109"/>
                      <a:pt x="6412" y="3109"/>
                      <a:pt x="6412" y="3109"/>
                    </a:cubicBezTo>
                    <a:lnTo>
                      <a:pt x="6281" y="3098"/>
                    </a:lnTo>
                    <a:close/>
                    <a:moveTo>
                      <a:pt x="7110" y="2558"/>
                    </a:moveTo>
                    <a:cubicBezTo>
                      <a:pt x="7206" y="2492"/>
                      <a:pt x="7206" y="2492"/>
                      <a:pt x="7206" y="2492"/>
                    </a:cubicBezTo>
                    <a:cubicBezTo>
                      <a:pt x="7245" y="2416"/>
                      <a:pt x="7245" y="2416"/>
                      <a:pt x="7245" y="2416"/>
                    </a:cubicBezTo>
                    <a:cubicBezTo>
                      <a:pt x="7015" y="2313"/>
                      <a:pt x="7015" y="2313"/>
                      <a:pt x="7015" y="2313"/>
                    </a:cubicBezTo>
                    <a:cubicBezTo>
                      <a:pt x="6959" y="2488"/>
                      <a:pt x="6959" y="2488"/>
                      <a:pt x="6959" y="2488"/>
                    </a:cubicBezTo>
                    <a:lnTo>
                      <a:pt x="7110" y="2558"/>
                    </a:lnTo>
                    <a:close/>
                    <a:moveTo>
                      <a:pt x="6955" y="2501"/>
                    </a:moveTo>
                    <a:cubicBezTo>
                      <a:pt x="6887" y="2712"/>
                      <a:pt x="6887" y="2712"/>
                      <a:pt x="6887" y="2712"/>
                    </a:cubicBezTo>
                    <a:cubicBezTo>
                      <a:pt x="7096" y="2567"/>
                      <a:pt x="7096" y="2567"/>
                      <a:pt x="7096" y="2567"/>
                    </a:cubicBezTo>
                    <a:lnTo>
                      <a:pt x="6955" y="2501"/>
                    </a:lnTo>
                    <a:close/>
                    <a:moveTo>
                      <a:pt x="7251" y="2403"/>
                    </a:moveTo>
                    <a:cubicBezTo>
                      <a:pt x="7328" y="2251"/>
                      <a:pt x="7328" y="2251"/>
                      <a:pt x="7328" y="2251"/>
                    </a:cubicBezTo>
                    <a:cubicBezTo>
                      <a:pt x="7311" y="2243"/>
                      <a:pt x="7311" y="2243"/>
                      <a:pt x="7311" y="2243"/>
                    </a:cubicBezTo>
                    <a:cubicBezTo>
                      <a:pt x="7240" y="2381"/>
                      <a:pt x="7240" y="2381"/>
                      <a:pt x="7240" y="2381"/>
                    </a:cubicBezTo>
                    <a:cubicBezTo>
                      <a:pt x="7105" y="2310"/>
                      <a:pt x="7105" y="2310"/>
                      <a:pt x="7105" y="2310"/>
                    </a:cubicBezTo>
                    <a:cubicBezTo>
                      <a:pt x="7108" y="2304"/>
                      <a:pt x="7108" y="2304"/>
                      <a:pt x="7108" y="2304"/>
                    </a:cubicBezTo>
                    <a:cubicBezTo>
                      <a:pt x="7173" y="2177"/>
                      <a:pt x="7173" y="2177"/>
                      <a:pt x="7173" y="2177"/>
                    </a:cubicBezTo>
                    <a:cubicBezTo>
                      <a:pt x="7073" y="2130"/>
                      <a:pt x="7073" y="2130"/>
                      <a:pt x="7073" y="2130"/>
                    </a:cubicBezTo>
                    <a:cubicBezTo>
                      <a:pt x="7019" y="2300"/>
                      <a:pt x="7019" y="2300"/>
                      <a:pt x="7019" y="2300"/>
                    </a:cubicBezTo>
                    <a:lnTo>
                      <a:pt x="7251" y="2403"/>
                    </a:lnTo>
                    <a:close/>
                    <a:moveTo>
                      <a:pt x="7350" y="1859"/>
                    </a:moveTo>
                    <a:cubicBezTo>
                      <a:pt x="7275" y="2007"/>
                      <a:pt x="7275" y="2007"/>
                      <a:pt x="7275" y="2007"/>
                    </a:cubicBezTo>
                    <a:cubicBezTo>
                      <a:pt x="7388" y="2063"/>
                      <a:pt x="7388" y="2063"/>
                      <a:pt x="7388" y="2063"/>
                    </a:cubicBezTo>
                    <a:cubicBezTo>
                      <a:pt x="7463" y="1915"/>
                      <a:pt x="7463" y="1915"/>
                      <a:pt x="7463" y="1915"/>
                    </a:cubicBezTo>
                    <a:cubicBezTo>
                      <a:pt x="7433" y="1901"/>
                      <a:pt x="7393" y="1880"/>
                      <a:pt x="7350" y="1859"/>
                    </a:cubicBezTo>
                    <a:close/>
                    <a:moveTo>
                      <a:pt x="7469" y="1903"/>
                    </a:moveTo>
                    <a:cubicBezTo>
                      <a:pt x="7547" y="1749"/>
                      <a:pt x="7547" y="1749"/>
                      <a:pt x="7547" y="1749"/>
                    </a:cubicBezTo>
                    <a:cubicBezTo>
                      <a:pt x="7435" y="1692"/>
                      <a:pt x="7435" y="1692"/>
                      <a:pt x="7435" y="1692"/>
                    </a:cubicBezTo>
                    <a:cubicBezTo>
                      <a:pt x="7356" y="1847"/>
                      <a:pt x="7356" y="1847"/>
                      <a:pt x="7356" y="1847"/>
                    </a:cubicBezTo>
                    <a:cubicBezTo>
                      <a:pt x="7399" y="1868"/>
                      <a:pt x="7440" y="1888"/>
                      <a:pt x="7469" y="1903"/>
                    </a:cubicBezTo>
                    <a:close/>
                    <a:moveTo>
                      <a:pt x="7305" y="2224"/>
                    </a:moveTo>
                    <a:cubicBezTo>
                      <a:pt x="7381" y="2075"/>
                      <a:pt x="7381" y="2075"/>
                      <a:pt x="7381" y="2075"/>
                    </a:cubicBezTo>
                    <a:cubicBezTo>
                      <a:pt x="7268" y="2019"/>
                      <a:pt x="7268" y="2019"/>
                      <a:pt x="7268" y="2019"/>
                    </a:cubicBezTo>
                    <a:cubicBezTo>
                      <a:pt x="7191" y="2170"/>
                      <a:pt x="7191" y="2170"/>
                      <a:pt x="7191" y="2170"/>
                    </a:cubicBezTo>
                    <a:lnTo>
                      <a:pt x="7305" y="2224"/>
                    </a:lnTo>
                    <a:close/>
                    <a:moveTo>
                      <a:pt x="7185" y="2183"/>
                    </a:moveTo>
                    <a:cubicBezTo>
                      <a:pt x="7123" y="2304"/>
                      <a:pt x="7123" y="2304"/>
                      <a:pt x="7123" y="2304"/>
                    </a:cubicBezTo>
                    <a:cubicBezTo>
                      <a:pt x="7234" y="2364"/>
                      <a:pt x="7234" y="2364"/>
                      <a:pt x="7234" y="2364"/>
                    </a:cubicBezTo>
                    <a:cubicBezTo>
                      <a:pt x="7299" y="2237"/>
                      <a:pt x="7299" y="2237"/>
                      <a:pt x="7299" y="2237"/>
                    </a:cubicBezTo>
                    <a:lnTo>
                      <a:pt x="7185" y="2183"/>
                    </a:lnTo>
                    <a:close/>
                    <a:moveTo>
                      <a:pt x="7338" y="1853"/>
                    </a:moveTo>
                    <a:cubicBezTo>
                      <a:pt x="7337" y="1853"/>
                      <a:pt x="7336" y="1852"/>
                      <a:pt x="7334" y="1852"/>
                    </a:cubicBezTo>
                    <a:cubicBezTo>
                      <a:pt x="7291" y="1830"/>
                      <a:pt x="7246" y="1809"/>
                      <a:pt x="7212" y="1792"/>
                    </a:cubicBezTo>
                    <a:cubicBezTo>
                      <a:pt x="7202" y="1788"/>
                      <a:pt x="7193" y="1784"/>
                      <a:pt x="7185" y="1780"/>
                    </a:cubicBezTo>
                    <a:cubicBezTo>
                      <a:pt x="7135" y="1938"/>
                      <a:pt x="7135" y="1938"/>
                      <a:pt x="7135" y="1938"/>
                    </a:cubicBezTo>
                    <a:cubicBezTo>
                      <a:pt x="7263" y="2001"/>
                      <a:pt x="7263" y="2001"/>
                      <a:pt x="7263" y="2001"/>
                    </a:cubicBezTo>
                    <a:lnTo>
                      <a:pt x="7338" y="1853"/>
                    </a:lnTo>
                    <a:close/>
                    <a:moveTo>
                      <a:pt x="7131" y="1951"/>
                    </a:moveTo>
                    <a:cubicBezTo>
                      <a:pt x="7078" y="2116"/>
                      <a:pt x="7078" y="2116"/>
                      <a:pt x="7078" y="2116"/>
                    </a:cubicBezTo>
                    <a:cubicBezTo>
                      <a:pt x="7179" y="2165"/>
                      <a:pt x="7179" y="2165"/>
                      <a:pt x="7179" y="2165"/>
                    </a:cubicBezTo>
                    <a:cubicBezTo>
                      <a:pt x="7256" y="2013"/>
                      <a:pt x="7256" y="2013"/>
                      <a:pt x="7256" y="2013"/>
                    </a:cubicBezTo>
                    <a:lnTo>
                      <a:pt x="7131" y="1951"/>
                    </a:lnTo>
                    <a:close/>
                    <a:moveTo>
                      <a:pt x="7335" y="2238"/>
                    </a:moveTo>
                    <a:cubicBezTo>
                      <a:pt x="7410" y="2089"/>
                      <a:pt x="7410" y="2089"/>
                      <a:pt x="7410" y="2089"/>
                    </a:cubicBezTo>
                    <a:cubicBezTo>
                      <a:pt x="7393" y="2081"/>
                      <a:pt x="7393" y="2081"/>
                      <a:pt x="7393" y="2081"/>
                    </a:cubicBezTo>
                    <a:cubicBezTo>
                      <a:pt x="7317" y="2230"/>
                      <a:pt x="7317" y="2230"/>
                      <a:pt x="7317" y="2230"/>
                    </a:cubicBezTo>
                    <a:lnTo>
                      <a:pt x="7335" y="2238"/>
                    </a:lnTo>
                    <a:close/>
                    <a:moveTo>
                      <a:pt x="7416" y="2077"/>
                    </a:moveTo>
                    <a:cubicBezTo>
                      <a:pt x="7491" y="1930"/>
                      <a:pt x="7491" y="1930"/>
                      <a:pt x="7491" y="1930"/>
                    </a:cubicBezTo>
                    <a:cubicBezTo>
                      <a:pt x="7487" y="1927"/>
                      <a:pt x="7481" y="1925"/>
                      <a:pt x="7475" y="1921"/>
                    </a:cubicBezTo>
                    <a:cubicBezTo>
                      <a:pt x="7399" y="2069"/>
                      <a:pt x="7399" y="2069"/>
                      <a:pt x="7399" y="2069"/>
                    </a:cubicBezTo>
                    <a:lnTo>
                      <a:pt x="7416" y="2077"/>
                    </a:lnTo>
                    <a:close/>
                    <a:moveTo>
                      <a:pt x="7498" y="1917"/>
                    </a:moveTo>
                    <a:cubicBezTo>
                      <a:pt x="7575" y="1764"/>
                      <a:pt x="7575" y="1764"/>
                      <a:pt x="7575" y="1764"/>
                    </a:cubicBezTo>
                    <a:cubicBezTo>
                      <a:pt x="7559" y="1755"/>
                      <a:pt x="7559" y="1755"/>
                      <a:pt x="7559" y="1755"/>
                    </a:cubicBezTo>
                    <a:cubicBezTo>
                      <a:pt x="7481" y="1909"/>
                      <a:pt x="7481" y="1909"/>
                      <a:pt x="7481" y="1909"/>
                    </a:cubicBezTo>
                    <a:cubicBezTo>
                      <a:pt x="7487" y="1912"/>
                      <a:pt x="7493" y="1915"/>
                      <a:pt x="7498" y="1917"/>
                    </a:cubicBezTo>
                    <a:close/>
                    <a:moveTo>
                      <a:pt x="7636" y="1576"/>
                    </a:moveTo>
                    <a:cubicBezTo>
                      <a:pt x="7522" y="1521"/>
                      <a:pt x="7522" y="1521"/>
                      <a:pt x="7522" y="1521"/>
                    </a:cubicBezTo>
                    <a:cubicBezTo>
                      <a:pt x="7441" y="1679"/>
                      <a:pt x="7441" y="1679"/>
                      <a:pt x="7441" y="1679"/>
                    </a:cubicBezTo>
                    <a:cubicBezTo>
                      <a:pt x="7554" y="1737"/>
                      <a:pt x="7554" y="1737"/>
                      <a:pt x="7554" y="1737"/>
                    </a:cubicBezTo>
                    <a:lnTo>
                      <a:pt x="7636" y="1576"/>
                    </a:lnTo>
                    <a:close/>
                    <a:moveTo>
                      <a:pt x="7511" y="1515"/>
                    </a:moveTo>
                    <a:cubicBezTo>
                      <a:pt x="7303" y="1413"/>
                      <a:pt x="7303" y="1413"/>
                      <a:pt x="7303" y="1413"/>
                    </a:cubicBezTo>
                    <a:cubicBezTo>
                      <a:pt x="7249" y="1581"/>
                      <a:pt x="7249" y="1581"/>
                      <a:pt x="7249" y="1581"/>
                    </a:cubicBezTo>
                    <a:cubicBezTo>
                      <a:pt x="7430" y="1673"/>
                      <a:pt x="7430" y="1673"/>
                      <a:pt x="7430" y="1673"/>
                    </a:cubicBezTo>
                    <a:lnTo>
                      <a:pt x="7511" y="1515"/>
                    </a:lnTo>
                    <a:close/>
                    <a:moveTo>
                      <a:pt x="7245" y="1594"/>
                    </a:moveTo>
                    <a:cubicBezTo>
                      <a:pt x="7190" y="1767"/>
                      <a:pt x="7190" y="1767"/>
                      <a:pt x="7190" y="1767"/>
                    </a:cubicBezTo>
                    <a:cubicBezTo>
                      <a:pt x="7198" y="1771"/>
                      <a:pt x="7207" y="1775"/>
                      <a:pt x="7217" y="1780"/>
                    </a:cubicBezTo>
                    <a:cubicBezTo>
                      <a:pt x="7253" y="1796"/>
                      <a:pt x="7299" y="1819"/>
                      <a:pt x="7344" y="1841"/>
                    </a:cubicBezTo>
                    <a:cubicBezTo>
                      <a:pt x="7423" y="1686"/>
                      <a:pt x="7423" y="1686"/>
                      <a:pt x="7423" y="1686"/>
                    </a:cubicBezTo>
                    <a:lnTo>
                      <a:pt x="7245" y="1594"/>
                    </a:lnTo>
                    <a:close/>
                    <a:moveTo>
                      <a:pt x="7240" y="1393"/>
                    </a:moveTo>
                    <a:cubicBezTo>
                      <a:pt x="7197" y="1385"/>
                      <a:pt x="7119" y="1370"/>
                      <a:pt x="7039" y="1355"/>
                    </a:cubicBezTo>
                    <a:cubicBezTo>
                      <a:pt x="7024" y="1352"/>
                      <a:pt x="7009" y="1349"/>
                      <a:pt x="6993" y="1346"/>
                    </a:cubicBezTo>
                    <a:cubicBezTo>
                      <a:pt x="6936" y="1515"/>
                      <a:pt x="6936" y="1515"/>
                      <a:pt x="6936" y="1515"/>
                    </a:cubicBezTo>
                    <a:cubicBezTo>
                      <a:pt x="7030" y="1532"/>
                      <a:pt x="7131" y="1552"/>
                      <a:pt x="7186" y="1562"/>
                    </a:cubicBezTo>
                    <a:lnTo>
                      <a:pt x="7240" y="1393"/>
                    </a:lnTo>
                    <a:close/>
                    <a:moveTo>
                      <a:pt x="6932" y="1528"/>
                    </a:moveTo>
                    <a:cubicBezTo>
                      <a:pt x="6873" y="1701"/>
                      <a:pt x="6873" y="1701"/>
                      <a:pt x="6873" y="1701"/>
                    </a:cubicBezTo>
                    <a:cubicBezTo>
                      <a:pt x="6882" y="1703"/>
                      <a:pt x="6891" y="1704"/>
                      <a:pt x="6900" y="1706"/>
                    </a:cubicBezTo>
                    <a:cubicBezTo>
                      <a:pt x="6990" y="1724"/>
                      <a:pt x="7084" y="1742"/>
                      <a:pt x="7126" y="1749"/>
                    </a:cubicBezTo>
                    <a:cubicBezTo>
                      <a:pt x="7182" y="1576"/>
                      <a:pt x="7182" y="1576"/>
                      <a:pt x="7182" y="1576"/>
                    </a:cubicBezTo>
                    <a:cubicBezTo>
                      <a:pt x="7135" y="1567"/>
                      <a:pt x="7056" y="1552"/>
                      <a:pt x="6977" y="1537"/>
                    </a:cubicBezTo>
                    <a:cubicBezTo>
                      <a:pt x="6962" y="1534"/>
                      <a:pt x="6947" y="1531"/>
                      <a:pt x="6932" y="1528"/>
                    </a:cubicBezTo>
                    <a:close/>
                    <a:moveTo>
                      <a:pt x="6869" y="1714"/>
                    </a:moveTo>
                    <a:cubicBezTo>
                      <a:pt x="6820" y="1858"/>
                      <a:pt x="6820" y="1858"/>
                      <a:pt x="6820" y="1858"/>
                    </a:cubicBezTo>
                    <a:cubicBezTo>
                      <a:pt x="7073" y="1917"/>
                      <a:pt x="7073" y="1917"/>
                      <a:pt x="7073" y="1917"/>
                    </a:cubicBezTo>
                    <a:cubicBezTo>
                      <a:pt x="7122" y="1762"/>
                      <a:pt x="7122" y="1762"/>
                      <a:pt x="7122" y="1762"/>
                    </a:cubicBezTo>
                    <a:cubicBezTo>
                      <a:pt x="7073" y="1754"/>
                      <a:pt x="6966" y="1734"/>
                      <a:pt x="6869" y="1714"/>
                    </a:cubicBezTo>
                    <a:close/>
                    <a:moveTo>
                      <a:pt x="6815" y="1871"/>
                    </a:moveTo>
                    <a:cubicBezTo>
                      <a:pt x="6760" y="2035"/>
                      <a:pt x="6760" y="2035"/>
                      <a:pt x="6760" y="2035"/>
                    </a:cubicBezTo>
                    <a:cubicBezTo>
                      <a:pt x="7016" y="2095"/>
                      <a:pt x="7016" y="2095"/>
                      <a:pt x="7016" y="2095"/>
                    </a:cubicBezTo>
                    <a:cubicBezTo>
                      <a:pt x="7069" y="1930"/>
                      <a:pt x="7069" y="1930"/>
                      <a:pt x="7069" y="1930"/>
                    </a:cubicBezTo>
                    <a:lnTo>
                      <a:pt x="6815" y="1871"/>
                    </a:lnTo>
                    <a:close/>
                    <a:moveTo>
                      <a:pt x="6756" y="2048"/>
                    </a:moveTo>
                    <a:cubicBezTo>
                      <a:pt x="6699" y="2215"/>
                      <a:pt x="6699" y="2215"/>
                      <a:pt x="6699" y="2215"/>
                    </a:cubicBezTo>
                    <a:cubicBezTo>
                      <a:pt x="6957" y="2278"/>
                      <a:pt x="6957" y="2278"/>
                      <a:pt x="6957" y="2278"/>
                    </a:cubicBezTo>
                    <a:cubicBezTo>
                      <a:pt x="7011" y="2109"/>
                      <a:pt x="7011" y="2109"/>
                      <a:pt x="7011" y="2109"/>
                    </a:cubicBezTo>
                    <a:lnTo>
                      <a:pt x="6756" y="2048"/>
                    </a:lnTo>
                    <a:close/>
                    <a:moveTo>
                      <a:pt x="6694" y="2228"/>
                    </a:moveTo>
                    <a:cubicBezTo>
                      <a:pt x="6633" y="2408"/>
                      <a:pt x="6633" y="2408"/>
                      <a:pt x="6633" y="2408"/>
                    </a:cubicBezTo>
                    <a:cubicBezTo>
                      <a:pt x="6897" y="2466"/>
                      <a:pt x="6897" y="2466"/>
                      <a:pt x="6897" y="2466"/>
                    </a:cubicBezTo>
                    <a:cubicBezTo>
                      <a:pt x="6953" y="2291"/>
                      <a:pt x="6953" y="2291"/>
                      <a:pt x="6953" y="2291"/>
                    </a:cubicBezTo>
                    <a:lnTo>
                      <a:pt x="6694" y="2228"/>
                    </a:lnTo>
                    <a:close/>
                    <a:moveTo>
                      <a:pt x="6629" y="2422"/>
                    </a:moveTo>
                    <a:cubicBezTo>
                      <a:pt x="6561" y="2624"/>
                      <a:pt x="6561" y="2624"/>
                      <a:pt x="6561" y="2624"/>
                    </a:cubicBezTo>
                    <a:cubicBezTo>
                      <a:pt x="6826" y="2687"/>
                      <a:pt x="6826" y="2687"/>
                      <a:pt x="6826" y="2687"/>
                    </a:cubicBezTo>
                    <a:cubicBezTo>
                      <a:pt x="6893" y="2480"/>
                      <a:pt x="6893" y="2480"/>
                      <a:pt x="6893" y="2480"/>
                    </a:cubicBezTo>
                    <a:lnTo>
                      <a:pt x="6629" y="2422"/>
                    </a:lnTo>
                    <a:close/>
                    <a:moveTo>
                      <a:pt x="6556" y="2637"/>
                    </a:moveTo>
                    <a:cubicBezTo>
                      <a:pt x="6480" y="2860"/>
                      <a:pt x="6480" y="2860"/>
                      <a:pt x="6480" y="2860"/>
                    </a:cubicBezTo>
                    <a:cubicBezTo>
                      <a:pt x="6780" y="2901"/>
                      <a:pt x="6780" y="2901"/>
                      <a:pt x="6780" y="2901"/>
                    </a:cubicBezTo>
                    <a:cubicBezTo>
                      <a:pt x="6791" y="2797"/>
                      <a:pt x="6791" y="2797"/>
                      <a:pt x="6791" y="2797"/>
                    </a:cubicBezTo>
                    <a:cubicBezTo>
                      <a:pt x="6822" y="2701"/>
                      <a:pt x="6822" y="2701"/>
                      <a:pt x="6822" y="2701"/>
                    </a:cubicBezTo>
                    <a:lnTo>
                      <a:pt x="6556" y="2637"/>
                    </a:lnTo>
                    <a:close/>
                    <a:moveTo>
                      <a:pt x="6763" y="3682"/>
                    </a:moveTo>
                    <a:cubicBezTo>
                      <a:pt x="6799" y="3688"/>
                      <a:pt x="6868" y="3702"/>
                      <a:pt x="6960" y="3727"/>
                    </a:cubicBezTo>
                    <a:cubicBezTo>
                      <a:pt x="7060" y="3190"/>
                      <a:pt x="7060" y="3190"/>
                      <a:pt x="7060" y="3190"/>
                    </a:cubicBezTo>
                    <a:cubicBezTo>
                      <a:pt x="7065" y="3191"/>
                      <a:pt x="7065" y="3191"/>
                      <a:pt x="7065" y="3191"/>
                    </a:cubicBezTo>
                    <a:cubicBezTo>
                      <a:pt x="6960" y="3144"/>
                      <a:pt x="6870" y="3103"/>
                      <a:pt x="6827" y="3083"/>
                    </a:cubicBezTo>
                    <a:lnTo>
                      <a:pt x="6763" y="3682"/>
                    </a:lnTo>
                    <a:close/>
                    <a:moveTo>
                      <a:pt x="6974" y="3731"/>
                    </a:moveTo>
                    <a:cubicBezTo>
                      <a:pt x="7053" y="3753"/>
                      <a:pt x="7148" y="3783"/>
                      <a:pt x="7255" y="3824"/>
                    </a:cubicBezTo>
                    <a:cubicBezTo>
                      <a:pt x="7336" y="3312"/>
                      <a:pt x="7336" y="3312"/>
                      <a:pt x="7336" y="3312"/>
                    </a:cubicBezTo>
                    <a:cubicBezTo>
                      <a:pt x="7250" y="3274"/>
                      <a:pt x="7158" y="3232"/>
                      <a:pt x="7074" y="3194"/>
                    </a:cubicBezTo>
                    <a:lnTo>
                      <a:pt x="6974" y="3731"/>
                    </a:lnTo>
                    <a:close/>
                    <a:moveTo>
                      <a:pt x="7268" y="3829"/>
                    </a:moveTo>
                    <a:cubicBezTo>
                      <a:pt x="7335" y="3856"/>
                      <a:pt x="7405" y="3886"/>
                      <a:pt x="7478" y="3921"/>
                    </a:cubicBezTo>
                    <a:cubicBezTo>
                      <a:pt x="7479" y="3921"/>
                      <a:pt x="7480" y="3922"/>
                      <a:pt x="7482" y="3923"/>
                    </a:cubicBezTo>
                    <a:cubicBezTo>
                      <a:pt x="7500" y="3857"/>
                      <a:pt x="7556" y="3657"/>
                      <a:pt x="7619" y="3434"/>
                    </a:cubicBezTo>
                    <a:cubicBezTo>
                      <a:pt x="7613" y="3432"/>
                      <a:pt x="7605" y="3429"/>
                      <a:pt x="7596" y="3425"/>
                    </a:cubicBezTo>
                    <a:cubicBezTo>
                      <a:pt x="7545" y="3404"/>
                      <a:pt x="7453" y="3363"/>
                      <a:pt x="7349" y="3318"/>
                    </a:cubicBezTo>
                    <a:lnTo>
                      <a:pt x="7268" y="3829"/>
                    </a:lnTo>
                    <a:close/>
                    <a:moveTo>
                      <a:pt x="7623" y="3421"/>
                    </a:moveTo>
                    <a:cubicBezTo>
                      <a:pt x="7634" y="3382"/>
                      <a:pt x="7645" y="3343"/>
                      <a:pt x="7656" y="3304"/>
                    </a:cubicBezTo>
                    <a:cubicBezTo>
                      <a:pt x="7666" y="3269"/>
                      <a:pt x="7676" y="3234"/>
                      <a:pt x="7686" y="3199"/>
                    </a:cubicBezTo>
                    <a:cubicBezTo>
                      <a:pt x="6934" y="2759"/>
                      <a:pt x="6934" y="2759"/>
                      <a:pt x="6934" y="2759"/>
                    </a:cubicBezTo>
                    <a:cubicBezTo>
                      <a:pt x="6855" y="2814"/>
                      <a:pt x="6855" y="2814"/>
                      <a:pt x="6855" y="2814"/>
                    </a:cubicBezTo>
                    <a:cubicBezTo>
                      <a:pt x="6828" y="3069"/>
                      <a:pt x="6828" y="3069"/>
                      <a:pt x="6828" y="3069"/>
                    </a:cubicBezTo>
                    <a:cubicBezTo>
                      <a:pt x="6887" y="3095"/>
                      <a:pt x="7051" y="3169"/>
                      <a:pt x="7217" y="3243"/>
                    </a:cubicBezTo>
                    <a:cubicBezTo>
                      <a:pt x="7320" y="3289"/>
                      <a:pt x="7424" y="3336"/>
                      <a:pt x="7504" y="3370"/>
                    </a:cubicBezTo>
                    <a:cubicBezTo>
                      <a:pt x="7543" y="3388"/>
                      <a:pt x="7577" y="3402"/>
                      <a:pt x="7601" y="3412"/>
                    </a:cubicBezTo>
                    <a:cubicBezTo>
                      <a:pt x="7610" y="3416"/>
                      <a:pt x="7617" y="3419"/>
                      <a:pt x="7623" y="3421"/>
                    </a:cubicBezTo>
                    <a:close/>
                    <a:moveTo>
                      <a:pt x="7690" y="3185"/>
                    </a:moveTo>
                    <a:cubicBezTo>
                      <a:pt x="7715" y="3098"/>
                      <a:pt x="7739" y="3014"/>
                      <a:pt x="7761" y="2939"/>
                    </a:cubicBezTo>
                    <a:cubicBezTo>
                      <a:pt x="7757" y="2937"/>
                      <a:pt x="7753" y="2934"/>
                      <a:pt x="7747" y="2930"/>
                    </a:cubicBezTo>
                    <a:cubicBezTo>
                      <a:pt x="7645" y="2863"/>
                      <a:pt x="7295" y="2628"/>
                      <a:pt x="7209" y="2569"/>
                    </a:cubicBezTo>
                    <a:cubicBezTo>
                      <a:pt x="6947" y="2750"/>
                      <a:pt x="6947" y="2750"/>
                      <a:pt x="6947" y="2750"/>
                    </a:cubicBezTo>
                    <a:lnTo>
                      <a:pt x="7690" y="3185"/>
                    </a:lnTo>
                    <a:close/>
                    <a:moveTo>
                      <a:pt x="7765" y="2925"/>
                    </a:moveTo>
                    <a:cubicBezTo>
                      <a:pt x="7772" y="2904"/>
                      <a:pt x="7778" y="2883"/>
                      <a:pt x="7784" y="2863"/>
                    </a:cubicBezTo>
                    <a:cubicBezTo>
                      <a:pt x="7801" y="2803"/>
                      <a:pt x="7817" y="2753"/>
                      <a:pt x="7828" y="2717"/>
                    </a:cubicBezTo>
                    <a:cubicBezTo>
                      <a:pt x="7833" y="2700"/>
                      <a:pt x="7838" y="2686"/>
                      <a:pt x="7842" y="2676"/>
                    </a:cubicBezTo>
                    <a:cubicBezTo>
                      <a:pt x="7844" y="2671"/>
                      <a:pt x="7845" y="2667"/>
                      <a:pt x="7847" y="2664"/>
                    </a:cubicBezTo>
                    <a:cubicBezTo>
                      <a:pt x="7847" y="2662"/>
                      <a:pt x="7848" y="2660"/>
                      <a:pt x="7850" y="2658"/>
                    </a:cubicBezTo>
                    <a:cubicBezTo>
                      <a:pt x="7850" y="2657"/>
                      <a:pt x="7851" y="2656"/>
                      <a:pt x="7853" y="2654"/>
                    </a:cubicBezTo>
                    <a:cubicBezTo>
                      <a:pt x="7854" y="2653"/>
                      <a:pt x="7855" y="2652"/>
                      <a:pt x="7856" y="2651"/>
                    </a:cubicBezTo>
                    <a:cubicBezTo>
                      <a:pt x="7856" y="2651"/>
                      <a:pt x="7856" y="2651"/>
                      <a:pt x="7856" y="2651"/>
                    </a:cubicBezTo>
                    <a:cubicBezTo>
                      <a:pt x="7856" y="2650"/>
                      <a:pt x="7858" y="2648"/>
                      <a:pt x="7859" y="2647"/>
                    </a:cubicBezTo>
                    <a:cubicBezTo>
                      <a:pt x="7364" y="2325"/>
                      <a:pt x="7364" y="2325"/>
                      <a:pt x="7364" y="2325"/>
                    </a:cubicBezTo>
                    <a:cubicBezTo>
                      <a:pt x="7257" y="2536"/>
                      <a:pt x="7257" y="2536"/>
                      <a:pt x="7257" y="2536"/>
                    </a:cubicBezTo>
                    <a:cubicBezTo>
                      <a:pt x="7221" y="2561"/>
                      <a:pt x="7221" y="2561"/>
                      <a:pt x="7221" y="2561"/>
                    </a:cubicBezTo>
                    <a:cubicBezTo>
                      <a:pt x="7268" y="2592"/>
                      <a:pt x="7377" y="2666"/>
                      <a:pt x="7486" y="2739"/>
                    </a:cubicBezTo>
                    <a:cubicBezTo>
                      <a:pt x="7559" y="2788"/>
                      <a:pt x="7632" y="2837"/>
                      <a:pt x="7687" y="2873"/>
                    </a:cubicBezTo>
                    <a:cubicBezTo>
                      <a:pt x="7715" y="2892"/>
                      <a:pt x="7738" y="2907"/>
                      <a:pt x="7755" y="2918"/>
                    </a:cubicBezTo>
                    <a:cubicBezTo>
                      <a:pt x="7759" y="2921"/>
                      <a:pt x="7762" y="2923"/>
                      <a:pt x="7765" y="2925"/>
                    </a:cubicBezTo>
                    <a:close/>
                    <a:moveTo>
                      <a:pt x="7867" y="2635"/>
                    </a:moveTo>
                    <a:cubicBezTo>
                      <a:pt x="7892" y="2601"/>
                      <a:pt x="7945" y="2521"/>
                      <a:pt x="8013" y="2418"/>
                    </a:cubicBezTo>
                    <a:cubicBezTo>
                      <a:pt x="8017" y="2411"/>
                      <a:pt x="8022" y="2404"/>
                      <a:pt x="8026" y="2397"/>
                    </a:cubicBezTo>
                    <a:cubicBezTo>
                      <a:pt x="7505" y="2047"/>
                      <a:pt x="7505" y="2047"/>
                      <a:pt x="7505" y="2047"/>
                    </a:cubicBezTo>
                    <a:cubicBezTo>
                      <a:pt x="7370" y="2313"/>
                      <a:pt x="7370" y="2313"/>
                      <a:pt x="7370" y="2313"/>
                    </a:cubicBezTo>
                    <a:lnTo>
                      <a:pt x="7867" y="2635"/>
                    </a:lnTo>
                    <a:close/>
                    <a:moveTo>
                      <a:pt x="8034" y="2386"/>
                    </a:moveTo>
                    <a:cubicBezTo>
                      <a:pt x="8077" y="2319"/>
                      <a:pt x="8125" y="2246"/>
                      <a:pt x="8176" y="2168"/>
                    </a:cubicBezTo>
                    <a:cubicBezTo>
                      <a:pt x="7625" y="1811"/>
                      <a:pt x="7625" y="1811"/>
                      <a:pt x="7625" y="1811"/>
                    </a:cubicBezTo>
                    <a:cubicBezTo>
                      <a:pt x="7512" y="2034"/>
                      <a:pt x="7512" y="2034"/>
                      <a:pt x="7512" y="2034"/>
                    </a:cubicBezTo>
                    <a:lnTo>
                      <a:pt x="8034" y="2386"/>
                    </a:lnTo>
                    <a:close/>
                    <a:moveTo>
                      <a:pt x="7664" y="1590"/>
                    </a:moveTo>
                    <a:cubicBezTo>
                      <a:pt x="7648" y="1582"/>
                      <a:pt x="7648" y="1582"/>
                      <a:pt x="7648" y="1582"/>
                    </a:cubicBezTo>
                    <a:cubicBezTo>
                      <a:pt x="7565" y="1743"/>
                      <a:pt x="7565" y="1743"/>
                      <a:pt x="7565" y="1743"/>
                    </a:cubicBezTo>
                    <a:cubicBezTo>
                      <a:pt x="7582" y="1751"/>
                      <a:pt x="7582" y="1751"/>
                      <a:pt x="7582" y="1751"/>
                    </a:cubicBezTo>
                    <a:lnTo>
                      <a:pt x="7664" y="1590"/>
                    </a:lnTo>
                    <a:close/>
                    <a:moveTo>
                      <a:pt x="7670" y="1577"/>
                    </a:moveTo>
                    <a:cubicBezTo>
                      <a:pt x="7749" y="1421"/>
                      <a:pt x="7749" y="1421"/>
                      <a:pt x="7749" y="1421"/>
                    </a:cubicBezTo>
                    <a:cubicBezTo>
                      <a:pt x="7733" y="1414"/>
                      <a:pt x="7733" y="1414"/>
                      <a:pt x="7733" y="1414"/>
                    </a:cubicBezTo>
                    <a:cubicBezTo>
                      <a:pt x="7654" y="1569"/>
                      <a:pt x="7654" y="1569"/>
                      <a:pt x="7654" y="1569"/>
                    </a:cubicBezTo>
                    <a:lnTo>
                      <a:pt x="7670" y="1577"/>
                    </a:lnTo>
                    <a:close/>
                    <a:moveTo>
                      <a:pt x="7756" y="1409"/>
                    </a:moveTo>
                    <a:cubicBezTo>
                      <a:pt x="7836" y="1251"/>
                      <a:pt x="7836" y="1251"/>
                      <a:pt x="7836" y="1251"/>
                    </a:cubicBezTo>
                    <a:cubicBezTo>
                      <a:pt x="7820" y="1244"/>
                      <a:pt x="7820" y="1244"/>
                      <a:pt x="7820" y="1244"/>
                    </a:cubicBezTo>
                    <a:cubicBezTo>
                      <a:pt x="7740" y="1401"/>
                      <a:pt x="7740" y="1401"/>
                      <a:pt x="7740" y="1401"/>
                    </a:cubicBezTo>
                    <a:lnTo>
                      <a:pt x="7756" y="1409"/>
                    </a:lnTo>
                    <a:close/>
                    <a:moveTo>
                      <a:pt x="7842" y="1239"/>
                    </a:moveTo>
                    <a:cubicBezTo>
                      <a:pt x="7911" y="1102"/>
                      <a:pt x="7911" y="1102"/>
                      <a:pt x="7911" y="1102"/>
                    </a:cubicBezTo>
                    <a:cubicBezTo>
                      <a:pt x="7896" y="1094"/>
                      <a:pt x="7896" y="1094"/>
                      <a:pt x="7896" y="1094"/>
                    </a:cubicBezTo>
                    <a:cubicBezTo>
                      <a:pt x="7826" y="1231"/>
                      <a:pt x="7826" y="1231"/>
                      <a:pt x="7826" y="1231"/>
                    </a:cubicBezTo>
                    <a:lnTo>
                      <a:pt x="7842" y="1239"/>
                    </a:lnTo>
                    <a:close/>
                    <a:moveTo>
                      <a:pt x="7953" y="954"/>
                    </a:moveTo>
                    <a:cubicBezTo>
                      <a:pt x="7841" y="895"/>
                      <a:pt x="7841" y="895"/>
                      <a:pt x="7841" y="895"/>
                    </a:cubicBezTo>
                    <a:cubicBezTo>
                      <a:pt x="7777" y="1020"/>
                      <a:pt x="7777" y="1020"/>
                      <a:pt x="7777" y="1020"/>
                    </a:cubicBezTo>
                    <a:cubicBezTo>
                      <a:pt x="7890" y="1076"/>
                      <a:pt x="7890" y="1076"/>
                      <a:pt x="7890" y="1076"/>
                    </a:cubicBezTo>
                    <a:lnTo>
                      <a:pt x="7953" y="954"/>
                    </a:lnTo>
                    <a:close/>
                    <a:moveTo>
                      <a:pt x="7771" y="1033"/>
                    </a:moveTo>
                    <a:cubicBezTo>
                      <a:pt x="7700" y="1172"/>
                      <a:pt x="7700" y="1172"/>
                      <a:pt x="7700" y="1172"/>
                    </a:cubicBezTo>
                    <a:cubicBezTo>
                      <a:pt x="7814" y="1226"/>
                      <a:pt x="7814" y="1226"/>
                      <a:pt x="7814" y="1226"/>
                    </a:cubicBezTo>
                    <a:cubicBezTo>
                      <a:pt x="7884" y="1089"/>
                      <a:pt x="7884" y="1089"/>
                      <a:pt x="7884" y="1089"/>
                    </a:cubicBezTo>
                    <a:lnTo>
                      <a:pt x="7771" y="1033"/>
                    </a:lnTo>
                    <a:close/>
                    <a:moveTo>
                      <a:pt x="7693" y="1185"/>
                    </a:moveTo>
                    <a:cubicBezTo>
                      <a:pt x="7615" y="1339"/>
                      <a:pt x="7615" y="1339"/>
                      <a:pt x="7615" y="1339"/>
                    </a:cubicBezTo>
                    <a:cubicBezTo>
                      <a:pt x="7728" y="1395"/>
                      <a:pt x="7728" y="1395"/>
                      <a:pt x="7728" y="1395"/>
                    </a:cubicBezTo>
                    <a:cubicBezTo>
                      <a:pt x="7808" y="1238"/>
                      <a:pt x="7808" y="1238"/>
                      <a:pt x="7808" y="1238"/>
                    </a:cubicBezTo>
                    <a:lnTo>
                      <a:pt x="7693" y="1185"/>
                    </a:lnTo>
                    <a:close/>
                    <a:moveTo>
                      <a:pt x="7608" y="1352"/>
                    </a:moveTo>
                    <a:cubicBezTo>
                      <a:pt x="7529" y="1508"/>
                      <a:pt x="7529" y="1508"/>
                      <a:pt x="7529" y="1508"/>
                    </a:cubicBezTo>
                    <a:cubicBezTo>
                      <a:pt x="7642" y="1564"/>
                      <a:pt x="7642" y="1564"/>
                      <a:pt x="7642" y="1564"/>
                    </a:cubicBezTo>
                    <a:cubicBezTo>
                      <a:pt x="7721" y="1408"/>
                      <a:pt x="7721" y="1408"/>
                      <a:pt x="7721" y="1408"/>
                    </a:cubicBezTo>
                    <a:lnTo>
                      <a:pt x="7608" y="1352"/>
                    </a:lnTo>
                    <a:close/>
                    <a:moveTo>
                      <a:pt x="7597" y="1346"/>
                    </a:moveTo>
                    <a:cubicBezTo>
                      <a:pt x="7361" y="1230"/>
                      <a:pt x="7361" y="1230"/>
                      <a:pt x="7361" y="1230"/>
                    </a:cubicBezTo>
                    <a:cubicBezTo>
                      <a:pt x="7307" y="1400"/>
                      <a:pt x="7307" y="1400"/>
                      <a:pt x="7307" y="1400"/>
                    </a:cubicBezTo>
                    <a:cubicBezTo>
                      <a:pt x="7517" y="1502"/>
                      <a:pt x="7517" y="1502"/>
                      <a:pt x="7517" y="1502"/>
                    </a:cubicBezTo>
                    <a:lnTo>
                      <a:pt x="7597" y="1346"/>
                    </a:lnTo>
                    <a:close/>
                    <a:moveTo>
                      <a:pt x="7355" y="1035"/>
                    </a:moveTo>
                    <a:cubicBezTo>
                      <a:pt x="7314" y="1026"/>
                      <a:pt x="7240" y="1010"/>
                      <a:pt x="7164" y="995"/>
                    </a:cubicBezTo>
                    <a:cubicBezTo>
                      <a:pt x="7148" y="991"/>
                      <a:pt x="7132" y="988"/>
                      <a:pt x="7116" y="985"/>
                    </a:cubicBezTo>
                    <a:cubicBezTo>
                      <a:pt x="7060" y="1149"/>
                      <a:pt x="7060" y="1149"/>
                      <a:pt x="7060" y="1149"/>
                    </a:cubicBezTo>
                    <a:cubicBezTo>
                      <a:pt x="7303" y="1197"/>
                      <a:pt x="7303" y="1197"/>
                      <a:pt x="7303" y="1197"/>
                    </a:cubicBezTo>
                    <a:lnTo>
                      <a:pt x="7355" y="1035"/>
                    </a:lnTo>
                    <a:close/>
                    <a:moveTo>
                      <a:pt x="7056" y="1163"/>
                    </a:moveTo>
                    <a:cubicBezTo>
                      <a:pt x="6998" y="1333"/>
                      <a:pt x="6998" y="1333"/>
                      <a:pt x="6998" y="1333"/>
                    </a:cubicBezTo>
                    <a:cubicBezTo>
                      <a:pt x="7092" y="1351"/>
                      <a:pt x="7194" y="1370"/>
                      <a:pt x="7245" y="1380"/>
                    </a:cubicBezTo>
                    <a:cubicBezTo>
                      <a:pt x="7299" y="1210"/>
                      <a:pt x="7299" y="1210"/>
                      <a:pt x="7299" y="1210"/>
                    </a:cubicBezTo>
                    <a:lnTo>
                      <a:pt x="7056" y="1163"/>
                    </a:lnTo>
                    <a:close/>
                    <a:moveTo>
                      <a:pt x="7043" y="1160"/>
                    </a:moveTo>
                    <a:cubicBezTo>
                      <a:pt x="6912" y="1134"/>
                      <a:pt x="6912" y="1134"/>
                      <a:pt x="6912" y="1134"/>
                    </a:cubicBezTo>
                    <a:cubicBezTo>
                      <a:pt x="6853" y="1306"/>
                      <a:pt x="6853" y="1306"/>
                      <a:pt x="6853" y="1306"/>
                    </a:cubicBezTo>
                    <a:cubicBezTo>
                      <a:pt x="6888" y="1313"/>
                      <a:pt x="6935" y="1321"/>
                      <a:pt x="6985" y="1331"/>
                    </a:cubicBezTo>
                    <a:lnTo>
                      <a:pt x="7043" y="1160"/>
                    </a:lnTo>
                    <a:close/>
                    <a:moveTo>
                      <a:pt x="6849" y="1320"/>
                    </a:moveTo>
                    <a:cubicBezTo>
                      <a:pt x="6792" y="1487"/>
                      <a:pt x="6792" y="1487"/>
                      <a:pt x="6792" y="1487"/>
                    </a:cubicBezTo>
                    <a:cubicBezTo>
                      <a:pt x="6827" y="1494"/>
                      <a:pt x="6874" y="1503"/>
                      <a:pt x="6923" y="1512"/>
                    </a:cubicBezTo>
                    <a:cubicBezTo>
                      <a:pt x="6980" y="1344"/>
                      <a:pt x="6980" y="1344"/>
                      <a:pt x="6980" y="1344"/>
                    </a:cubicBezTo>
                    <a:cubicBezTo>
                      <a:pt x="6930" y="1335"/>
                      <a:pt x="6883" y="1326"/>
                      <a:pt x="6849" y="1320"/>
                    </a:cubicBezTo>
                    <a:close/>
                    <a:moveTo>
                      <a:pt x="6787" y="1500"/>
                    </a:moveTo>
                    <a:cubicBezTo>
                      <a:pt x="6728" y="1672"/>
                      <a:pt x="6728" y="1672"/>
                      <a:pt x="6728" y="1672"/>
                    </a:cubicBezTo>
                    <a:cubicBezTo>
                      <a:pt x="6763" y="1679"/>
                      <a:pt x="6810" y="1689"/>
                      <a:pt x="6860" y="1698"/>
                    </a:cubicBezTo>
                    <a:cubicBezTo>
                      <a:pt x="6919" y="1525"/>
                      <a:pt x="6919" y="1525"/>
                      <a:pt x="6919" y="1525"/>
                    </a:cubicBezTo>
                    <a:cubicBezTo>
                      <a:pt x="6869" y="1516"/>
                      <a:pt x="6822" y="1507"/>
                      <a:pt x="6787" y="1500"/>
                    </a:cubicBezTo>
                    <a:close/>
                    <a:moveTo>
                      <a:pt x="6724" y="1685"/>
                    </a:moveTo>
                    <a:cubicBezTo>
                      <a:pt x="6676" y="1825"/>
                      <a:pt x="6676" y="1825"/>
                      <a:pt x="6676" y="1825"/>
                    </a:cubicBezTo>
                    <a:cubicBezTo>
                      <a:pt x="6807" y="1855"/>
                      <a:pt x="6807" y="1855"/>
                      <a:pt x="6807" y="1855"/>
                    </a:cubicBezTo>
                    <a:cubicBezTo>
                      <a:pt x="6856" y="1712"/>
                      <a:pt x="6856" y="1712"/>
                      <a:pt x="6856" y="1712"/>
                    </a:cubicBezTo>
                    <a:cubicBezTo>
                      <a:pt x="6806" y="1702"/>
                      <a:pt x="6759" y="1692"/>
                      <a:pt x="6724" y="1685"/>
                    </a:cubicBezTo>
                    <a:close/>
                    <a:moveTo>
                      <a:pt x="6672" y="1838"/>
                    </a:moveTo>
                    <a:cubicBezTo>
                      <a:pt x="6616" y="2001"/>
                      <a:pt x="6616" y="2001"/>
                      <a:pt x="6616" y="2001"/>
                    </a:cubicBezTo>
                    <a:cubicBezTo>
                      <a:pt x="6747" y="2032"/>
                      <a:pt x="6747" y="2032"/>
                      <a:pt x="6747" y="2032"/>
                    </a:cubicBezTo>
                    <a:cubicBezTo>
                      <a:pt x="6803" y="1868"/>
                      <a:pt x="6803" y="1868"/>
                      <a:pt x="6803" y="1868"/>
                    </a:cubicBezTo>
                    <a:lnTo>
                      <a:pt x="6672" y="1838"/>
                    </a:lnTo>
                    <a:close/>
                    <a:moveTo>
                      <a:pt x="6612" y="2014"/>
                    </a:moveTo>
                    <a:cubicBezTo>
                      <a:pt x="6555" y="2180"/>
                      <a:pt x="6555" y="2180"/>
                      <a:pt x="6555" y="2180"/>
                    </a:cubicBezTo>
                    <a:cubicBezTo>
                      <a:pt x="6686" y="2212"/>
                      <a:pt x="6686" y="2212"/>
                      <a:pt x="6686" y="2212"/>
                    </a:cubicBezTo>
                    <a:cubicBezTo>
                      <a:pt x="6743" y="2045"/>
                      <a:pt x="6743" y="2045"/>
                      <a:pt x="6743" y="2045"/>
                    </a:cubicBezTo>
                    <a:lnTo>
                      <a:pt x="6612" y="2014"/>
                    </a:lnTo>
                    <a:close/>
                    <a:moveTo>
                      <a:pt x="6551" y="2193"/>
                    </a:moveTo>
                    <a:cubicBezTo>
                      <a:pt x="6488" y="2376"/>
                      <a:pt x="6488" y="2376"/>
                      <a:pt x="6488" y="2376"/>
                    </a:cubicBezTo>
                    <a:cubicBezTo>
                      <a:pt x="6621" y="2406"/>
                      <a:pt x="6621" y="2406"/>
                      <a:pt x="6621" y="2406"/>
                    </a:cubicBezTo>
                    <a:cubicBezTo>
                      <a:pt x="6682" y="2225"/>
                      <a:pt x="6682" y="2225"/>
                      <a:pt x="6682" y="2225"/>
                    </a:cubicBezTo>
                    <a:lnTo>
                      <a:pt x="6551" y="2193"/>
                    </a:lnTo>
                    <a:close/>
                    <a:moveTo>
                      <a:pt x="6484" y="2390"/>
                    </a:moveTo>
                    <a:cubicBezTo>
                      <a:pt x="6416" y="2589"/>
                      <a:pt x="6416" y="2589"/>
                      <a:pt x="6416" y="2589"/>
                    </a:cubicBezTo>
                    <a:cubicBezTo>
                      <a:pt x="6548" y="2620"/>
                      <a:pt x="6548" y="2620"/>
                      <a:pt x="6548" y="2620"/>
                    </a:cubicBezTo>
                    <a:cubicBezTo>
                      <a:pt x="6616" y="2419"/>
                      <a:pt x="6616" y="2419"/>
                      <a:pt x="6616" y="2419"/>
                    </a:cubicBezTo>
                    <a:lnTo>
                      <a:pt x="6484" y="2390"/>
                    </a:lnTo>
                    <a:close/>
                    <a:moveTo>
                      <a:pt x="6412" y="2602"/>
                    </a:moveTo>
                    <a:cubicBezTo>
                      <a:pt x="6331" y="2839"/>
                      <a:pt x="6331" y="2839"/>
                      <a:pt x="6331" y="2839"/>
                    </a:cubicBezTo>
                    <a:cubicBezTo>
                      <a:pt x="6467" y="2858"/>
                      <a:pt x="6467" y="2858"/>
                      <a:pt x="6467" y="2858"/>
                    </a:cubicBezTo>
                    <a:cubicBezTo>
                      <a:pt x="6543" y="2634"/>
                      <a:pt x="6543" y="2634"/>
                      <a:pt x="6543" y="2634"/>
                    </a:cubicBezTo>
                    <a:lnTo>
                      <a:pt x="6412" y="2602"/>
                    </a:lnTo>
                    <a:close/>
                    <a:moveTo>
                      <a:pt x="6429" y="3096"/>
                    </a:moveTo>
                    <a:cubicBezTo>
                      <a:pt x="6756" y="3123"/>
                      <a:pt x="6756" y="3123"/>
                      <a:pt x="6756" y="3123"/>
                    </a:cubicBezTo>
                    <a:cubicBezTo>
                      <a:pt x="6779" y="2915"/>
                      <a:pt x="6779" y="2915"/>
                      <a:pt x="6779" y="2915"/>
                    </a:cubicBezTo>
                    <a:cubicBezTo>
                      <a:pt x="6476" y="2873"/>
                      <a:pt x="6476" y="2873"/>
                      <a:pt x="6476" y="2873"/>
                    </a:cubicBezTo>
                    <a:cubicBezTo>
                      <a:pt x="6475" y="2875"/>
                      <a:pt x="6475" y="2875"/>
                      <a:pt x="6475" y="2875"/>
                    </a:cubicBezTo>
                    <a:lnTo>
                      <a:pt x="6429" y="3096"/>
                    </a:lnTo>
                    <a:close/>
                    <a:moveTo>
                      <a:pt x="6756" y="3747"/>
                    </a:moveTo>
                    <a:cubicBezTo>
                      <a:pt x="6729" y="3998"/>
                      <a:pt x="6729" y="3998"/>
                      <a:pt x="6729" y="3998"/>
                    </a:cubicBezTo>
                    <a:cubicBezTo>
                      <a:pt x="7066" y="4163"/>
                      <a:pt x="7066" y="4163"/>
                      <a:pt x="7066" y="4163"/>
                    </a:cubicBezTo>
                    <a:cubicBezTo>
                      <a:pt x="7316" y="4169"/>
                      <a:pt x="7316" y="4169"/>
                      <a:pt x="7316" y="4169"/>
                    </a:cubicBezTo>
                    <a:cubicBezTo>
                      <a:pt x="7329" y="4129"/>
                      <a:pt x="7342" y="4091"/>
                      <a:pt x="7354" y="4058"/>
                    </a:cubicBezTo>
                    <a:cubicBezTo>
                      <a:pt x="7367" y="4018"/>
                      <a:pt x="7379" y="3984"/>
                      <a:pt x="7387" y="3960"/>
                    </a:cubicBezTo>
                    <a:cubicBezTo>
                      <a:pt x="7388" y="3957"/>
                      <a:pt x="7388" y="3955"/>
                      <a:pt x="7389" y="3952"/>
                    </a:cubicBezTo>
                    <a:cubicBezTo>
                      <a:pt x="7212" y="3872"/>
                      <a:pt x="7053" y="3820"/>
                      <a:pt x="6935" y="3788"/>
                    </a:cubicBezTo>
                    <a:cubicBezTo>
                      <a:pt x="6870" y="3771"/>
                      <a:pt x="6817" y="3759"/>
                      <a:pt x="6781" y="3752"/>
                    </a:cubicBezTo>
                    <a:cubicBezTo>
                      <a:pt x="6771" y="3750"/>
                      <a:pt x="6763" y="3749"/>
                      <a:pt x="6756" y="3747"/>
                    </a:cubicBezTo>
                    <a:close/>
                    <a:moveTo>
                      <a:pt x="7447" y="6622"/>
                    </a:moveTo>
                    <a:cubicBezTo>
                      <a:pt x="7447" y="6618"/>
                      <a:pt x="7447" y="6614"/>
                      <a:pt x="7447" y="6611"/>
                    </a:cubicBezTo>
                    <a:cubicBezTo>
                      <a:pt x="7343" y="6615"/>
                      <a:pt x="7343" y="6615"/>
                      <a:pt x="7343" y="6615"/>
                    </a:cubicBezTo>
                    <a:cubicBezTo>
                      <a:pt x="7343" y="6615"/>
                      <a:pt x="7260" y="6618"/>
                      <a:pt x="7157" y="6625"/>
                    </a:cubicBezTo>
                    <a:cubicBezTo>
                      <a:pt x="7137" y="6627"/>
                      <a:pt x="7116" y="6628"/>
                      <a:pt x="7096" y="6630"/>
                    </a:cubicBezTo>
                    <a:cubicBezTo>
                      <a:pt x="7179" y="6993"/>
                      <a:pt x="7179" y="6993"/>
                      <a:pt x="7179" y="6993"/>
                    </a:cubicBezTo>
                    <a:cubicBezTo>
                      <a:pt x="7291" y="6989"/>
                      <a:pt x="7375" y="6986"/>
                      <a:pt x="7393" y="6985"/>
                    </a:cubicBezTo>
                    <a:cubicBezTo>
                      <a:pt x="7455" y="6890"/>
                      <a:pt x="7455" y="6890"/>
                      <a:pt x="7455" y="6890"/>
                    </a:cubicBezTo>
                    <a:cubicBezTo>
                      <a:pt x="7454" y="6868"/>
                      <a:pt x="7447" y="6694"/>
                      <a:pt x="7447" y="6622"/>
                    </a:cubicBezTo>
                    <a:close/>
                    <a:moveTo>
                      <a:pt x="7000" y="7640"/>
                    </a:moveTo>
                    <a:cubicBezTo>
                      <a:pt x="6905" y="7643"/>
                      <a:pt x="6905" y="7643"/>
                      <a:pt x="6905" y="7643"/>
                    </a:cubicBezTo>
                    <a:cubicBezTo>
                      <a:pt x="6905" y="7636"/>
                      <a:pt x="6905" y="7636"/>
                      <a:pt x="6905" y="7636"/>
                    </a:cubicBezTo>
                    <a:cubicBezTo>
                      <a:pt x="6903" y="7556"/>
                      <a:pt x="6903" y="7556"/>
                      <a:pt x="6903" y="7556"/>
                    </a:cubicBezTo>
                    <a:cubicBezTo>
                      <a:pt x="6949" y="7555"/>
                      <a:pt x="6949" y="7555"/>
                      <a:pt x="6949" y="7555"/>
                    </a:cubicBezTo>
                    <a:cubicBezTo>
                      <a:pt x="6948" y="7512"/>
                      <a:pt x="6948" y="7512"/>
                      <a:pt x="6948" y="7512"/>
                    </a:cubicBezTo>
                    <a:cubicBezTo>
                      <a:pt x="6995" y="7511"/>
                      <a:pt x="6995" y="7511"/>
                      <a:pt x="6995" y="7511"/>
                    </a:cubicBezTo>
                    <a:cubicBezTo>
                      <a:pt x="6993" y="7483"/>
                      <a:pt x="6993" y="7483"/>
                      <a:pt x="6993" y="7483"/>
                    </a:cubicBezTo>
                    <a:cubicBezTo>
                      <a:pt x="6928" y="7483"/>
                      <a:pt x="6859" y="7483"/>
                      <a:pt x="6788" y="7483"/>
                    </a:cubicBezTo>
                    <a:cubicBezTo>
                      <a:pt x="6789" y="7526"/>
                      <a:pt x="6789" y="7622"/>
                      <a:pt x="6789" y="7718"/>
                    </a:cubicBezTo>
                    <a:cubicBezTo>
                      <a:pt x="6790" y="7783"/>
                      <a:pt x="6791" y="7847"/>
                      <a:pt x="6792" y="7895"/>
                    </a:cubicBezTo>
                    <a:cubicBezTo>
                      <a:pt x="6792" y="7919"/>
                      <a:pt x="6793" y="7939"/>
                      <a:pt x="6794" y="7953"/>
                    </a:cubicBezTo>
                    <a:cubicBezTo>
                      <a:pt x="6794" y="7960"/>
                      <a:pt x="6795" y="7966"/>
                      <a:pt x="6795" y="7969"/>
                    </a:cubicBezTo>
                    <a:cubicBezTo>
                      <a:pt x="6795" y="7971"/>
                      <a:pt x="6796" y="7972"/>
                      <a:pt x="6796" y="7973"/>
                    </a:cubicBezTo>
                    <a:cubicBezTo>
                      <a:pt x="6796" y="7973"/>
                      <a:pt x="6796" y="7973"/>
                      <a:pt x="6796" y="7973"/>
                    </a:cubicBezTo>
                    <a:cubicBezTo>
                      <a:pt x="6794" y="7973"/>
                      <a:pt x="6794" y="7973"/>
                      <a:pt x="6794" y="7973"/>
                    </a:cubicBezTo>
                    <a:cubicBezTo>
                      <a:pt x="6795" y="7972"/>
                      <a:pt x="6795" y="7972"/>
                      <a:pt x="6795" y="7972"/>
                    </a:cubicBezTo>
                    <a:cubicBezTo>
                      <a:pt x="6790" y="7975"/>
                      <a:pt x="6790" y="7975"/>
                      <a:pt x="6790" y="7975"/>
                    </a:cubicBezTo>
                    <a:cubicBezTo>
                      <a:pt x="6790" y="7980"/>
                      <a:pt x="6790" y="7980"/>
                      <a:pt x="6790" y="7980"/>
                    </a:cubicBezTo>
                    <a:cubicBezTo>
                      <a:pt x="7018" y="8032"/>
                      <a:pt x="7018" y="8032"/>
                      <a:pt x="7018" y="8032"/>
                    </a:cubicBezTo>
                    <a:lnTo>
                      <a:pt x="7000" y="7640"/>
                    </a:lnTo>
                    <a:close/>
                    <a:moveTo>
                      <a:pt x="7014" y="7627"/>
                    </a:moveTo>
                    <a:cubicBezTo>
                      <a:pt x="7102" y="7625"/>
                      <a:pt x="7102" y="7625"/>
                      <a:pt x="7102" y="7625"/>
                    </a:cubicBezTo>
                    <a:cubicBezTo>
                      <a:pt x="7100" y="7565"/>
                      <a:pt x="7100" y="7565"/>
                      <a:pt x="7100" y="7565"/>
                    </a:cubicBezTo>
                    <a:cubicBezTo>
                      <a:pt x="7053" y="7566"/>
                      <a:pt x="7053" y="7566"/>
                      <a:pt x="7053" y="7566"/>
                    </a:cubicBezTo>
                    <a:cubicBezTo>
                      <a:pt x="7052" y="7523"/>
                      <a:pt x="7052" y="7523"/>
                      <a:pt x="7052" y="7523"/>
                    </a:cubicBezTo>
                    <a:cubicBezTo>
                      <a:pt x="7009" y="7524"/>
                      <a:pt x="7009" y="7524"/>
                      <a:pt x="7009" y="7524"/>
                    </a:cubicBezTo>
                    <a:lnTo>
                      <a:pt x="7014" y="7627"/>
                    </a:lnTo>
                    <a:close/>
                    <a:moveTo>
                      <a:pt x="6911" y="7347"/>
                    </a:moveTo>
                    <a:cubicBezTo>
                      <a:pt x="6911" y="7237"/>
                      <a:pt x="6915" y="7055"/>
                      <a:pt x="6916" y="7016"/>
                    </a:cubicBezTo>
                    <a:cubicBezTo>
                      <a:pt x="6911" y="7016"/>
                      <a:pt x="6906" y="7016"/>
                      <a:pt x="6902" y="7017"/>
                    </a:cubicBezTo>
                    <a:cubicBezTo>
                      <a:pt x="6815" y="7020"/>
                      <a:pt x="6729" y="7023"/>
                      <a:pt x="6653" y="7026"/>
                    </a:cubicBezTo>
                    <a:cubicBezTo>
                      <a:pt x="6651" y="7418"/>
                      <a:pt x="6651" y="7418"/>
                      <a:pt x="6651" y="7418"/>
                    </a:cubicBezTo>
                    <a:cubicBezTo>
                      <a:pt x="6738" y="7418"/>
                      <a:pt x="6827" y="7418"/>
                      <a:pt x="6912" y="7417"/>
                    </a:cubicBezTo>
                    <a:cubicBezTo>
                      <a:pt x="6912" y="7414"/>
                      <a:pt x="6912" y="7410"/>
                      <a:pt x="6911" y="7404"/>
                    </a:cubicBezTo>
                    <a:cubicBezTo>
                      <a:pt x="6911" y="7390"/>
                      <a:pt x="6911" y="7370"/>
                      <a:pt x="6911" y="7347"/>
                    </a:cubicBezTo>
                    <a:close/>
                    <a:moveTo>
                      <a:pt x="6963" y="7568"/>
                    </a:moveTo>
                    <a:cubicBezTo>
                      <a:pt x="6916" y="7569"/>
                      <a:pt x="6916" y="7569"/>
                      <a:pt x="6916" y="7569"/>
                    </a:cubicBezTo>
                    <a:cubicBezTo>
                      <a:pt x="6917" y="7629"/>
                      <a:pt x="6917" y="7629"/>
                      <a:pt x="6917" y="7629"/>
                    </a:cubicBezTo>
                    <a:cubicBezTo>
                      <a:pt x="7000" y="7627"/>
                      <a:pt x="7000" y="7627"/>
                      <a:pt x="7000" y="7627"/>
                    </a:cubicBezTo>
                    <a:cubicBezTo>
                      <a:pt x="6995" y="7524"/>
                      <a:pt x="6995" y="7524"/>
                      <a:pt x="6995" y="7524"/>
                    </a:cubicBezTo>
                    <a:cubicBezTo>
                      <a:pt x="6962" y="7525"/>
                      <a:pt x="6962" y="7525"/>
                      <a:pt x="6962" y="7525"/>
                    </a:cubicBezTo>
                    <a:lnTo>
                      <a:pt x="6963" y="7568"/>
                    </a:lnTo>
                    <a:close/>
                    <a:moveTo>
                      <a:pt x="7178" y="7416"/>
                    </a:moveTo>
                    <a:cubicBezTo>
                      <a:pt x="7170" y="7380"/>
                      <a:pt x="7152" y="7301"/>
                      <a:pt x="7134" y="7221"/>
                    </a:cubicBezTo>
                    <a:cubicBezTo>
                      <a:pt x="7122" y="7167"/>
                      <a:pt x="7109" y="7113"/>
                      <a:pt x="7100" y="7073"/>
                    </a:cubicBezTo>
                    <a:cubicBezTo>
                      <a:pt x="7095" y="7053"/>
                      <a:pt x="7091" y="7036"/>
                      <a:pt x="7088" y="7024"/>
                    </a:cubicBezTo>
                    <a:cubicBezTo>
                      <a:pt x="7086" y="7019"/>
                      <a:pt x="7085" y="7014"/>
                      <a:pt x="7084" y="7011"/>
                    </a:cubicBezTo>
                    <a:cubicBezTo>
                      <a:pt x="7084" y="7011"/>
                      <a:pt x="7084" y="7010"/>
                      <a:pt x="7084" y="7010"/>
                    </a:cubicBezTo>
                    <a:cubicBezTo>
                      <a:pt x="7034" y="7012"/>
                      <a:pt x="6982" y="7014"/>
                      <a:pt x="6930" y="7015"/>
                    </a:cubicBezTo>
                    <a:cubicBezTo>
                      <a:pt x="6929" y="7052"/>
                      <a:pt x="6925" y="7236"/>
                      <a:pt x="6925" y="7347"/>
                    </a:cubicBezTo>
                    <a:cubicBezTo>
                      <a:pt x="6925" y="7371"/>
                      <a:pt x="6925" y="7392"/>
                      <a:pt x="6925" y="7407"/>
                    </a:cubicBezTo>
                    <a:cubicBezTo>
                      <a:pt x="6926" y="7411"/>
                      <a:pt x="6926" y="7414"/>
                      <a:pt x="6926" y="7417"/>
                    </a:cubicBezTo>
                    <a:cubicBezTo>
                      <a:pt x="7019" y="7417"/>
                      <a:pt x="7106" y="7417"/>
                      <a:pt x="7178" y="7416"/>
                    </a:cubicBezTo>
                    <a:close/>
                    <a:moveTo>
                      <a:pt x="7165" y="6993"/>
                    </a:moveTo>
                    <a:cubicBezTo>
                      <a:pt x="7082" y="6631"/>
                      <a:pt x="7082" y="6631"/>
                      <a:pt x="7082" y="6631"/>
                    </a:cubicBezTo>
                    <a:cubicBezTo>
                      <a:pt x="6999" y="6638"/>
                      <a:pt x="6913" y="6647"/>
                      <a:pt x="6854" y="6659"/>
                    </a:cubicBezTo>
                    <a:cubicBezTo>
                      <a:pt x="6850" y="6660"/>
                      <a:pt x="6846" y="6661"/>
                      <a:pt x="6841" y="6662"/>
                    </a:cubicBezTo>
                    <a:cubicBezTo>
                      <a:pt x="6805" y="7003"/>
                      <a:pt x="6805" y="7003"/>
                      <a:pt x="6805" y="7003"/>
                    </a:cubicBezTo>
                    <a:cubicBezTo>
                      <a:pt x="6791" y="7001"/>
                      <a:pt x="6791" y="7001"/>
                      <a:pt x="6791" y="7001"/>
                    </a:cubicBezTo>
                    <a:cubicBezTo>
                      <a:pt x="6827" y="6664"/>
                      <a:pt x="6827" y="6664"/>
                      <a:pt x="6827" y="6664"/>
                    </a:cubicBezTo>
                    <a:cubicBezTo>
                      <a:pt x="6730" y="6684"/>
                      <a:pt x="6631" y="6698"/>
                      <a:pt x="6532" y="6711"/>
                    </a:cubicBezTo>
                    <a:cubicBezTo>
                      <a:pt x="6532" y="7016"/>
                      <a:pt x="6532" y="7016"/>
                      <a:pt x="6532" y="7016"/>
                    </a:cubicBezTo>
                    <a:cubicBezTo>
                      <a:pt x="6541" y="7016"/>
                      <a:pt x="6550" y="7016"/>
                      <a:pt x="6559" y="7015"/>
                    </a:cubicBezTo>
                    <a:cubicBezTo>
                      <a:pt x="6723" y="7009"/>
                      <a:pt x="6979" y="7000"/>
                      <a:pt x="7165" y="6993"/>
                    </a:cubicBezTo>
                    <a:close/>
                    <a:moveTo>
                      <a:pt x="6605" y="7418"/>
                    </a:moveTo>
                    <a:cubicBezTo>
                      <a:pt x="6616" y="7418"/>
                      <a:pt x="6626" y="7418"/>
                      <a:pt x="6637" y="7418"/>
                    </a:cubicBezTo>
                    <a:cubicBezTo>
                      <a:pt x="6639" y="7026"/>
                      <a:pt x="6639" y="7026"/>
                      <a:pt x="6639" y="7026"/>
                    </a:cubicBezTo>
                    <a:cubicBezTo>
                      <a:pt x="6611" y="7027"/>
                      <a:pt x="6584" y="7028"/>
                      <a:pt x="6560" y="7029"/>
                    </a:cubicBezTo>
                    <a:cubicBezTo>
                      <a:pt x="6513" y="7031"/>
                      <a:pt x="6473" y="7032"/>
                      <a:pt x="6446" y="7034"/>
                    </a:cubicBezTo>
                    <a:cubicBezTo>
                      <a:pt x="6432" y="7034"/>
                      <a:pt x="6421" y="7035"/>
                      <a:pt x="6413" y="7035"/>
                    </a:cubicBezTo>
                    <a:cubicBezTo>
                      <a:pt x="6410" y="7035"/>
                      <a:pt x="6408" y="7035"/>
                      <a:pt x="6406" y="7035"/>
                    </a:cubicBezTo>
                    <a:cubicBezTo>
                      <a:pt x="6322" y="7419"/>
                      <a:pt x="6322" y="7419"/>
                      <a:pt x="6322" y="7419"/>
                    </a:cubicBezTo>
                    <a:cubicBezTo>
                      <a:pt x="6404" y="7419"/>
                      <a:pt x="6502" y="7418"/>
                      <a:pt x="6605" y="7418"/>
                    </a:cubicBezTo>
                    <a:close/>
                    <a:moveTo>
                      <a:pt x="6583" y="7484"/>
                    </a:moveTo>
                    <a:cubicBezTo>
                      <a:pt x="6499" y="7484"/>
                      <a:pt x="6419" y="7484"/>
                      <a:pt x="6349" y="7484"/>
                    </a:cubicBezTo>
                    <a:cubicBezTo>
                      <a:pt x="6360" y="7669"/>
                      <a:pt x="6360" y="7669"/>
                      <a:pt x="6360" y="7669"/>
                    </a:cubicBezTo>
                    <a:cubicBezTo>
                      <a:pt x="6591" y="7681"/>
                      <a:pt x="6591" y="7681"/>
                      <a:pt x="6591" y="7681"/>
                    </a:cubicBezTo>
                    <a:lnTo>
                      <a:pt x="6583" y="7484"/>
                    </a:lnTo>
                    <a:close/>
                    <a:moveTo>
                      <a:pt x="4102" y="8425"/>
                    </a:moveTo>
                    <a:cubicBezTo>
                      <a:pt x="4098" y="8428"/>
                      <a:pt x="4098" y="8428"/>
                      <a:pt x="4098" y="8428"/>
                    </a:cubicBezTo>
                    <a:cubicBezTo>
                      <a:pt x="4264" y="8326"/>
                      <a:pt x="4264" y="8326"/>
                      <a:pt x="4264" y="8326"/>
                    </a:cubicBezTo>
                    <a:cubicBezTo>
                      <a:pt x="4265" y="8326"/>
                      <a:pt x="4265" y="8326"/>
                      <a:pt x="4265" y="8326"/>
                    </a:cubicBezTo>
                    <a:cubicBezTo>
                      <a:pt x="4262" y="8320"/>
                      <a:pt x="4259" y="8315"/>
                      <a:pt x="4256" y="8310"/>
                    </a:cubicBezTo>
                    <a:cubicBezTo>
                      <a:pt x="4208" y="8221"/>
                      <a:pt x="4142" y="8107"/>
                      <a:pt x="4088" y="8016"/>
                    </a:cubicBezTo>
                    <a:cubicBezTo>
                      <a:pt x="4042" y="7939"/>
                      <a:pt x="4005" y="7878"/>
                      <a:pt x="3995" y="7861"/>
                    </a:cubicBezTo>
                    <a:cubicBezTo>
                      <a:pt x="3995" y="7861"/>
                      <a:pt x="3995" y="7861"/>
                      <a:pt x="3995" y="7861"/>
                    </a:cubicBezTo>
                    <a:cubicBezTo>
                      <a:pt x="3808" y="7965"/>
                      <a:pt x="3808" y="7965"/>
                      <a:pt x="3808" y="7965"/>
                    </a:cubicBezTo>
                    <a:lnTo>
                      <a:pt x="4102" y="8425"/>
                    </a:lnTo>
                    <a:close/>
                    <a:moveTo>
                      <a:pt x="3597" y="8317"/>
                    </a:moveTo>
                    <a:cubicBezTo>
                      <a:pt x="3585" y="8324"/>
                      <a:pt x="3585" y="8324"/>
                      <a:pt x="3585" y="8324"/>
                    </a:cubicBezTo>
                    <a:cubicBezTo>
                      <a:pt x="3715" y="8541"/>
                      <a:pt x="3715" y="8541"/>
                      <a:pt x="3715" y="8541"/>
                    </a:cubicBezTo>
                    <a:cubicBezTo>
                      <a:pt x="3861" y="8573"/>
                      <a:pt x="3861" y="8573"/>
                      <a:pt x="3861" y="8573"/>
                    </a:cubicBezTo>
                    <a:cubicBezTo>
                      <a:pt x="4090" y="8432"/>
                      <a:pt x="4090" y="8432"/>
                      <a:pt x="4090" y="8432"/>
                    </a:cubicBezTo>
                    <a:cubicBezTo>
                      <a:pt x="3796" y="7972"/>
                      <a:pt x="3796" y="7972"/>
                      <a:pt x="3796" y="7972"/>
                    </a:cubicBezTo>
                    <a:cubicBezTo>
                      <a:pt x="3479" y="8148"/>
                      <a:pt x="3479" y="8148"/>
                      <a:pt x="3479" y="8148"/>
                    </a:cubicBezTo>
                    <a:cubicBezTo>
                      <a:pt x="3493" y="8171"/>
                      <a:pt x="3493" y="8171"/>
                      <a:pt x="3493" y="8171"/>
                    </a:cubicBezTo>
                    <a:cubicBezTo>
                      <a:pt x="3618" y="8099"/>
                      <a:pt x="3618" y="8099"/>
                      <a:pt x="3618" y="8099"/>
                    </a:cubicBezTo>
                    <a:cubicBezTo>
                      <a:pt x="3670" y="8189"/>
                      <a:pt x="3670" y="8189"/>
                      <a:pt x="3670" y="8189"/>
                    </a:cubicBezTo>
                    <a:cubicBezTo>
                      <a:pt x="3559" y="8253"/>
                      <a:pt x="3559" y="8253"/>
                      <a:pt x="3559" y="8253"/>
                    </a:cubicBezTo>
                    <a:lnTo>
                      <a:pt x="3597" y="8317"/>
                    </a:lnTo>
                    <a:close/>
                    <a:moveTo>
                      <a:pt x="3526" y="8253"/>
                    </a:moveTo>
                    <a:cubicBezTo>
                      <a:pt x="3434" y="8306"/>
                      <a:pt x="3434" y="8306"/>
                      <a:pt x="3434" y="8306"/>
                    </a:cubicBezTo>
                    <a:cubicBezTo>
                      <a:pt x="3473" y="8374"/>
                      <a:pt x="3473" y="8374"/>
                      <a:pt x="3473" y="8374"/>
                    </a:cubicBezTo>
                    <a:cubicBezTo>
                      <a:pt x="3566" y="8320"/>
                      <a:pt x="3566" y="8320"/>
                      <a:pt x="3566" y="8320"/>
                    </a:cubicBezTo>
                    <a:lnTo>
                      <a:pt x="3526" y="8253"/>
                    </a:lnTo>
                    <a:close/>
                    <a:moveTo>
                      <a:pt x="3538" y="8231"/>
                    </a:moveTo>
                    <a:cubicBezTo>
                      <a:pt x="3544" y="8227"/>
                      <a:pt x="3544" y="8227"/>
                      <a:pt x="3544" y="8227"/>
                    </a:cubicBezTo>
                    <a:cubicBezTo>
                      <a:pt x="3553" y="8242"/>
                      <a:pt x="3553" y="8242"/>
                      <a:pt x="3553" y="8242"/>
                    </a:cubicBezTo>
                    <a:cubicBezTo>
                      <a:pt x="3652" y="8184"/>
                      <a:pt x="3652" y="8184"/>
                      <a:pt x="3652" y="8184"/>
                    </a:cubicBezTo>
                    <a:cubicBezTo>
                      <a:pt x="3613" y="8116"/>
                      <a:pt x="3613" y="8116"/>
                      <a:pt x="3613" y="8116"/>
                    </a:cubicBezTo>
                    <a:cubicBezTo>
                      <a:pt x="3507" y="8178"/>
                      <a:pt x="3507" y="8178"/>
                      <a:pt x="3507" y="8178"/>
                    </a:cubicBezTo>
                    <a:lnTo>
                      <a:pt x="3538" y="8231"/>
                    </a:lnTo>
                    <a:close/>
                    <a:moveTo>
                      <a:pt x="3578" y="8313"/>
                    </a:moveTo>
                    <a:cubicBezTo>
                      <a:pt x="3579" y="8313"/>
                      <a:pt x="3579" y="8313"/>
                      <a:pt x="3579" y="8313"/>
                    </a:cubicBezTo>
                    <a:cubicBezTo>
                      <a:pt x="3548" y="8259"/>
                      <a:pt x="3548" y="8259"/>
                      <a:pt x="3548" y="8259"/>
                    </a:cubicBezTo>
                    <a:cubicBezTo>
                      <a:pt x="3547" y="8260"/>
                      <a:pt x="3547" y="8260"/>
                      <a:pt x="3547" y="8260"/>
                    </a:cubicBezTo>
                    <a:lnTo>
                      <a:pt x="3578" y="8313"/>
                    </a:lnTo>
                    <a:close/>
                    <a:moveTo>
                      <a:pt x="3298" y="6966"/>
                    </a:moveTo>
                    <a:cubicBezTo>
                      <a:pt x="3204" y="6953"/>
                      <a:pt x="3204" y="6953"/>
                      <a:pt x="3204" y="6953"/>
                    </a:cubicBezTo>
                    <a:cubicBezTo>
                      <a:pt x="3205" y="6947"/>
                      <a:pt x="3205" y="6947"/>
                      <a:pt x="3205" y="6947"/>
                    </a:cubicBezTo>
                    <a:cubicBezTo>
                      <a:pt x="3216" y="6868"/>
                      <a:pt x="3216" y="6868"/>
                      <a:pt x="3216" y="6868"/>
                    </a:cubicBezTo>
                    <a:cubicBezTo>
                      <a:pt x="3262" y="6874"/>
                      <a:pt x="3262" y="6874"/>
                      <a:pt x="3262" y="6874"/>
                    </a:cubicBezTo>
                    <a:cubicBezTo>
                      <a:pt x="3268" y="6831"/>
                      <a:pt x="3268" y="6831"/>
                      <a:pt x="3268" y="6831"/>
                    </a:cubicBezTo>
                    <a:cubicBezTo>
                      <a:pt x="3317" y="6838"/>
                      <a:pt x="3317" y="6838"/>
                      <a:pt x="3317" y="6838"/>
                    </a:cubicBezTo>
                    <a:cubicBezTo>
                      <a:pt x="3320" y="6814"/>
                      <a:pt x="3323" y="6797"/>
                      <a:pt x="3324" y="6789"/>
                    </a:cubicBezTo>
                    <a:cubicBezTo>
                      <a:pt x="3219" y="6751"/>
                      <a:pt x="3219" y="6751"/>
                      <a:pt x="3219" y="6751"/>
                    </a:cubicBezTo>
                    <a:cubicBezTo>
                      <a:pt x="3210" y="6845"/>
                      <a:pt x="3132" y="7415"/>
                      <a:pt x="3122" y="7482"/>
                    </a:cubicBezTo>
                    <a:cubicBezTo>
                      <a:pt x="3158" y="7485"/>
                      <a:pt x="3194" y="7488"/>
                      <a:pt x="3226" y="7490"/>
                    </a:cubicBezTo>
                    <a:cubicBezTo>
                      <a:pt x="3228" y="7454"/>
                      <a:pt x="3269" y="7163"/>
                      <a:pt x="3298" y="6966"/>
                    </a:cubicBezTo>
                    <a:close/>
                    <a:moveTo>
                      <a:pt x="3235" y="7491"/>
                    </a:moveTo>
                    <a:cubicBezTo>
                      <a:pt x="3235" y="7491"/>
                      <a:pt x="3235" y="7491"/>
                      <a:pt x="3235" y="7491"/>
                    </a:cubicBezTo>
                    <a:cubicBezTo>
                      <a:pt x="3237" y="7488"/>
                      <a:pt x="3237" y="7488"/>
                      <a:pt x="3237" y="7488"/>
                    </a:cubicBezTo>
                    <a:lnTo>
                      <a:pt x="3235" y="7491"/>
                    </a:lnTo>
                    <a:close/>
                    <a:moveTo>
                      <a:pt x="2791" y="6858"/>
                    </a:moveTo>
                    <a:cubicBezTo>
                      <a:pt x="2798" y="6847"/>
                      <a:pt x="2798" y="6847"/>
                      <a:pt x="2798" y="6847"/>
                    </a:cubicBezTo>
                    <a:cubicBezTo>
                      <a:pt x="2942" y="6935"/>
                      <a:pt x="2942" y="6935"/>
                      <a:pt x="2942" y="6935"/>
                    </a:cubicBezTo>
                    <a:cubicBezTo>
                      <a:pt x="2878" y="7463"/>
                      <a:pt x="2878" y="7463"/>
                      <a:pt x="2878" y="7463"/>
                    </a:cubicBezTo>
                    <a:cubicBezTo>
                      <a:pt x="2903" y="7464"/>
                      <a:pt x="2942" y="7468"/>
                      <a:pt x="2989" y="7471"/>
                    </a:cubicBezTo>
                    <a:cubicBezTo>
                      <a:pt x="3069" y="6878"/>
                      <a:pt x="3069" y="6878"/>
                      <a:pt x="3069" y="6878"/>
                    </a:cubicBezTo>
                    <a:cubicBezTo>
                      <a:pt x="2963" y="6864"/>
                      <a:pt x="2963" y="6864"/>
                      <a:pt x="2963" y="6864"/>
                    </a:cubicBezTo>
                    <a:cubicBezTo>
                      <a:pt x="2963" y="6857"/>
                      <a:pt x="2963" y="6857"/>
                      <a:pt x="2963" y="6857"/>
                    </a:cubicBezTo>
                    <a:cubicBezTo>
                      <a:pt x="2974" y="6778"/>
                      <a:pt x="2974" y="6778"/>
                      <a:pt x="2974" y="6778"/>
                    </a:cubicBezTo>
                    <a:cubicBezTo>
                      <a:pt x="3021" y="6785"/>
                      <a:pt x="3021" y="6785"/>
                      <a:pt x="3021" y="6785"/>
                    </a:cubicBezTo>
                    <a:cubicBezTo>
                      <a:pt x="3027" y="6742"/>
                      <a:pt x="3027" y="6742"/>
                      <a:pt x="3027" y="6742"/>
                    </a:cubicBezTo>
                    <a:cubicBezTo>
                      <a:pt x="3087" y="6750"/>
                      <a:pt x="3087" y="6750"/>
                      <a:pt x="3087" y="6750"/>
                    </a:cubicBezTo>
                    <a:cubicBezTo>
                      <a:pt x="3093" y="6705"/>
                      <a:pt x="3093" y="6705"/>
                      <a:pt x="3093" y="6705"/>
                    </a:cubicBezTo>
                    <a:cubicBezTo>
                      <a:pt x="2982" y="6665"/>
                      <a:pt x="2982" y="6665"/>
                      <a:pt x="2982" y="6665"/>
                    </a:cubicBezTo>
                    <a:cubicBezTo>
                      <a:pt x="2604" y="7037"/>
                      <a:pt x="2604" y="7037"/>
                      <a:pt x="2604" y="7037"/>
                    </a:cubicBezTo>
                    <a:cubicBezTo>
                      <a:pt x="2736" y="7118"/>
                      <a:pt x="2736" y="7118"/>
                      <a:pt x="2736" y="7118"/>
                    </a:cubicBezTo>
                    <a:cubicBezTo>
                      <a:pt x="2654" y="7254"/>
                      <a:pt x="2654" y="7254"/>
                      <a:pt x="2654" y="7254"/>
                    </a:cubicBezTo>
                    <a:cubicBezTo>
                      <a:pt x="2648" y="7250"/>
                      <a:pt x="2648" y="7250"/>
                      <a:pt x="2648" y="7250"/>
                    </a:cubicBezTo>
                    <a:cubicBezTo>
                      <a:pt x="2488" y="7152"/>
                      <a:pt x="2488" y="7152"/>
                      <a:pt x="2488" y="7152"/>
                    </a:cubicBezTo>
                    <a:cubicBezTo>
                      <a:pt x="2422" y="7216"/>
                      <a:pt x="2422" y="7216"/>
                      <a:pt x="2422" y="7216"/>
                    </a:cubicBezTo>
                    <a:cubicBezTo>
                      <a:pt x="2704" y="7408"/>
                      <a:pt x="2704" y="7408"/>
                      <a:pt x="2704" y="7408"/>
                    </a:cubicBezTo>
                    <a:cubicBezTo>
                      <a:pt x="2854" y="7461"/>
                      <a:pt x="2854" y="7461"/>
                      <a:pt x="2854" y="7461"/>
                    </a:cubicBezTo>
                    <a:cubicBezTo>
                      <a:pt x="2855" y="7461"/>
                      <a:pt x="2859" y="7461"/>
                      <a:pt x="2865" y="7461"/>
                    </a:cubicBezTo>
                    <a:cubicBezTo>
                      <a:pt x="2927" y="6942"/>
                      <a:pt x="2927" y="6942"/>
                      <a:pt x="2927" y="6942"/>
                    </a:cubicBezTo>
                    <a:lnTo>
                      <a:pt x="2791" y="6858"/>
                    </a:lnTo>
                    <a:close/>
                    <a:moveTo>
                      <a:pt x="1966" y="6938"/>
                    </a:moveTo>
                    <a:cubicBezTo>
                      <a:pt x="2033" y="6872"/>
                      <a:pt x="2033" y="6872"/>
                      <a:pt x="2033" y="6872"/>
                    </a:cubicBezTo>
                    <a:cubicBezTo>
                      <a:pt x="1814" y="6738"/>
                      <a:pt x="1814" y="6738"/>
                      <a:pt x="1814" y="6738"/>
                    </a:cubicBezTo>
                    <a:cubicBezTo>
                      <a:pt x="1814" y="6739"/>
                      <a:pt x="1813" y="6739"/>
                      <a:pt x="1813" y="6740"/>
                    </a:cubicBezTo>
                    <a:cubicBezTo>
                      <a:pt x="1791" y="6760"/>
                      <a:pt x="1774" y="6778"/>
                      <a:pt x="1762" y="6790"/>
                    </a:cubicBezTo>
                    <a:cubicBezTo>
                      <a:pt x="1755" y="6797"/>
                      <a:pt x="1751" y="6802"/>
                      <a:pt x="1747" y="6805"/>
                    </a:cubicBezTo>
                    <a:cubicBezTo>
                      <a:pt x="1747" y="6806"/>
                      <a:pt x="1747" y="6806"/>
                      <a:pt x="1747" y="6806"/>
                    </a:cubicBezTo>
                    <a:cubicBezTo>
                      <a:pt x="1968" y="6940"/>
                      <a:pt x="1968" y="6940"/>
                      <a:pt x="1968" y="6940"/>
                    </a:cubicBezTo>
                    <a:lnTo>
                      <a:pt x="1966" y="6938"/>
                    </a:lnTo>
                    <a:close/>
                    <a:moveTo>
                      <a:pt x="2122" y="3312"/>
                    </a:moveTo>
                    <a:cubicBezTo>
                      <a:pt x="2124" y="3309"/>
                      <a:pt x="2124" y="3309"/>
                      <a:pt x="2124" y="3309"/>
                    </a:cubicBezTo>
                    <a:cubicBezTo>
                      <a:pt x="2122" y="3312"/>
                      <a:pt x="2122" y="3312"/>
                      <a:pt x="2122" y="3312"/>
                    </a:cubicBezTo>
                    <a:cubicBezTo>
                      <a:pt x="2118" y="3311"/>
                      <a:pt x="2114" y="3310"/>
                      <a:pt x="2108" y="3310"/>
                    </a:cubicBezTo>
                    <a:cubicBezTo>
                      <a:pt x="2079" y="3310"/>
                      <a:pt x="2028" y="3334"/>
                      <a:pt x="1978" y="3390"/>
                    </a:cubicBezTo>
                    <a:cubicBezTo>
                      <a:pt x="1917" y="3459"/>
                      <a:pt x="1857" y="3501"/>
                      <a:pt x="1806" y="3521"/>
                    </a:cubicBezTo>
                    <a:cubicBezTo>
                      <a:pt x="1781" y="3531"/>
                      <a:pt x="1745" y="3551"/>
                      <a:pt x="1715" y="3569"/>
                    </a:cubicBezTo>
                    <a:cubicBezTo>
                      <a:pt x="1700" y="3577"/>
                      <a:pt x="1687" y="3586"/>
                      <a:pt x="1677" y="3593"/>
                    </a:cubicBezTo>
                    <a:cubicBezTo>
                      <a:pt x="1672" y="3597"/>
                      <a:pt x="1669" y="3600"/>
                      <a:pt x="1666" y="3602"/>
                    </a:cubicBezTo>
                    <a:cubicBezTo>
                      <a:pt x="1665" y="3603"/>
                      <a:pt x="1665" y="3604"/>
                      <a:pt x="1664" y="3604"/>
                    </a:cubicBezTo>
                    <a:cubicBezTo>
                      <a:pt x="1666" y="3605"/>
                      <a:pt x="1668" y="3605"/>
                      <a:pt x="1672" y="3605"/>
                    </a:cubicBezTo>
                    <a:cubicBezTo>
                      <a:pt x="1690" y="3605"/>
                      <a:pt x="1726" y="3596"/>
                      <a:pt x="1754" y="3578"/>
                    </a:cubicBezTo>
                    <a:cubicBezTo>
                      <a:pt x="1796" y="3552"/>
                      <a:pt x="1854" y="3529"/>
                      <a:pt x="1891" y="3515"/>
                    </a:cubicBezTo>
                    <a:cubicBezTo>
                      <a:pt x="1929" y="3501"/>
                      <a:pt x="1959" y="3500"/>
                      <a:pt x="1981" y="3461"/>
                    </a:cubicBezTo>
                    <a:cubicBezTo>
                      <a:pt x="2004" y="3421"/>
                      <a:pt x="2020" y="3378"/>
                      <a:pt x="2072" y="3378"/>
                    </a:cubicBezTo>
                    <a:cubicBezTo>
                      <a:pt x="2103" y="3378"/>
                      <a:pt x="2130" y="3385"/>
                      <a:pt x="2147" y="3385"/>
                    </a:cubicBezTo>
                    <a:cubicBezTo>
                      <a:pt x="2158" y="3385"/>
                      <a:pt x="2163" y="3383"/>
                      <a:pt x="2165" y="3377"/>
                    </a:cubicBezTo>
                    <a:cubicBezTo>
                      <a:pt x="2166" y="3374"/>
                      <a:pt x="2167" y="3370"/>
                      <a:pt x="2167" y="3367"/>
                    </a:cubicBezTo>
                    <a:cubicBezTo>
                      <a:pt x="2167" y="3348"/>
                      <a:pt x="2151" y="3324"/>
                      <a:pt x="2122" y="3312"/>
                    </a:cubicBezTo>
                    <a:close/>
                    <a:moveTo>
                      <a:pt x="2076" y="3308"/>
                    </a:moveTo>
                    <a:cubicBezTo>
                      <a:pt x="2016" y="3323"/>
                      <a:pt x="1963" y="3372"/>
                      <a:pt x="1937" y="3399"/>
                    </a:cubicBezTo>
                    <a:cubicBezTo>
                      <a:pt x="1893" y="3444"/>
                      <a:pt x="1812" y="3506"/>
                      <a:pt x="1761" y="3530"/>
                    </a:cubicBezTo>
                    <a:cubicBezTo>
                      <a:pt x="1733" y="3542"/>
                      <a:pt x="1677" y="3549"/>
                      <a:pt x="1620" y="3558"/>
                    </a:cubicBezTo>
                    <a:cubicBezTo>
                      <a:pt x="1562" y="3567"/>
                      <a:pt x="1504" y="3578"/>
                      <a:pt x="1480" y="3592"/>
                    </a:cubicBezTo>
                    <a:cubicBezTo>
                      <a:pt x="1464" y="3601"/>
                      <a:pt x="1436" y="3614"/>
                      <a:pt x="1403" y="3629"/>
                    </a:cubicBezTo>
                    <a:cubicBezTo>
                      <a:pt x="1441" y="3671"/>
                      <a:pt x="1476" y="3710"/>
                      <a:pt x="1494" y="3728"/>
                    </a:cubicBezTo>
                    <a:cubicBezTo>
                      <a:pt x="1507" y="3722"/>
                      <a:pt x="1521" y="3716"/>
                      <a:pt x="1533" y="3710"/>
                    </a:cubicBezTo>
                    <a:cubicBezTo>
                      <a:pt x="1617" y="3673"/>
                      <a:pt x="1851" y="3579"/>
                      <a:pt x="1960" y="3554"/>
                    </a:cubicBezTo>
                    <a:cubicBezTo>
                      <a:pt x="2020" y="3541"/>
                      <a:pt x="2094" y="3535"/>
                      <a:pt x="2187" y="3534"/>
                    </a:cubicBezTo>
                    <a:cubicBezTo>
                      <a:pt x="2186" y="3533"/>
                      <a:pt x="2186" y="3533"/>
                      <a:pt x="2186" y="3533"/>
                    </a:cubicBezTo>
                    <a:cubicBezTo>
                      <a:pt x="2213" y="3399"/>
                      <a:pt x="2213" y="3399"/>
                      <a:pt x="2213" y="3399"/>
                    </a:cubicBezTo>
                    <a:cubicBezTo>
                      <a:pt x="2199" y="3380"/>
                      <a:pt x="2189" y="3356"/>
                      <a:pt x="2184" y="3324"/>
                    </a:cubicBezTo>
                    <a:cubicBezTo>
                      <a:pt x="2163" y="3312"/>
                      <a:pt x="2142" y="3306"/>
                      <a:pt x="2122" y="3304"/>
                    </a:cubicBezTo>
                    <a:cubicBezTo>
                      <a:pt x="2123" y="3305"/>
                      <a:pt x="2125" y="3304"/>
                      <a:pt x="2125" y="3305"/>
                    </a:cubicBezTo>
                    <a:cubicBezTo>
                      <a:pt x="2156" y="3318"/>
                      <a:pt x="2175" y="3344"/>
                      <a:pt x="2175" y="3367"/>
                    </a:cubicBezTo>
                    <a:cubicBezTo>
                      <a:pt x="2175" y="3371"/>
                      <a:pt x="2174" y="3376"/>
                      <a:pt x="2173" y="3380"/>
                    </a:cubicBezTo>
                    <a:cubicBezTo>
                      <a:pt x="2169" y="3390"/>
                      <a:pt x="2158" y="3393"/>
                      <a:pt x="2147" y="3393"/>
                    </a:cubicBezTo>
                    <a:cubicBezTo>
                      <a:pt x="2128" y="3393"/>
                      <a:pt x="2102" y="3386"/>
                      <a:pt x="2072" y="3386"/>
                    </a:cubicBezTo>
                    <a:cubicBezTo>
                      <a:pt x="2026" y="3386"/>
                      <a:pt x="2012" y="3423"/>
                      <a:pt x="1988" y="3465"/>
                    </a:cubicBezTo>
                    <a:cubicBezTo>
                      <a:pt x="1964" y="3508"/>
                      <a:pt x="1930" y="3509"/>
                      <a:pt x="1894" y="3523"/>
                    </a:cubicBezTo>
                    <a:cubicBezTo>
                      <a:pt x="1858" y="3536"/>
                      <a:pt x="1799" y="3560"/>
                      <a:pt x="1758" y="3585"/>
                    </a:cubicBezTo>
                    <a:cubicBezTo>
                      <a:pt x="1728" y="3604"/>
                      <a:pt x="1692" y="3613"/>
                      <a:pt x="1672" y="3613"/>
                    </a:cubicBezTo>
                    <a:cubicBezTo>
                      <a:pt x="1664" y="3613"/>
                      <a:pt x="1658" y="3613"/>
                      <a:pt x="1655" y="3606"/>
                    </a:cubicBezTo>
                    <a:cubicBezTo>
                      <a:pt x="1655" y="3605"/>
                      <a:pt x="1655" y="3605"/>
                      <a:pt x="1655" y="3605"/>
                    </a:cubicBezTo>
                    <a:cubicBezTo>
                      <a:pt x="1655" y="3605"/>
                      <a:pt x="1655" y="3605"/>
                      <a:pt x="1655" y="3605"/>
                    </a:cubicBezTo>
                    <a:cubicBezTo>
                      <a:pt x="1655" y="3604"/>
                      <a:pt x="1655" y="3604"/>
                      <a:pt x="1655" y="3604"/>
                    </a:cubicBezTo>
                    <a:cubicBezTo>
                      <a:pt x="1655" y="3604"/>
                      <a:pt x="1655" y="3604"/>
                      <a:pt x="1655" y="3604"/>
                    </a:cubicBezTo>
                    <a:cubicBezTo>
                      <a:pt x="1657" y="3597"/>
                      <a:pt x="1663" y="3594"/>
                      <a:pt x="1672" y="3586"/>
                    </a:cubicBezTo>
                    <a:cubicBezTo>
                      <a:pt x="1702" y="3565"/>
                      <a:pt x="1764" y="3529"/>
                      <a:pt x="1802" y="3514"/>
                    </a:cubicBezTo>
                    <a:cubicBezTo>
                      <a:pt x="1852" y="3494"/>
                      <a:pt x="1912" y="3453"/>
                      <a:pt x="1972" y="3385"/>
                    </a:cubicBezTo>
                    <a:cubicBezTo>
                      <a:pt x="2008" y="3343"/>
                      <a:pt x="2046" y="3319"/>
                      <a:pt x="2076" y="3308"/>
                    </a:cubicBezTo>
                    <a:close/>
                    <a:moveTo>
                      <a:pt x="2561" y="3384"/>
                    </a:moveTo>
                    <a:cubicBezTo>
                      <a:pt x="2495" y="3402"/>
                      <a:pt x="2495" y="3402"/>
                      <a:pt x="2495" y="3402"/>
                    </a:cubicBezTo>
                    <a:cubicBezTo>
                      <a:pt x="2266" y="3361"/>
                      <a:pt x="2266" y="3361"/>
                      <a:pt x="2266" y="3361"/>
                    </a:cubicBezTo>
                    <a:cubicBezTo>
                      <a:pt x="2257" y="3408"/>
                      <a:pt x="2257" y="3408"/>
                      <a:pt x="2257" y="3408"/>
                    </a:cubicBezTo>
                    <a:cubicBezTo>
                      <a:pt x="2286" y="3429"/>
                      <a:pt x="2321" y="3431"/>
                      <a:pt x="2339" y="3433"/>
                    </a:cubicBezTo>
                    <a:cubicBezTo>
                      <a:pt x="2371" y="3437"/>
                      <a:pt x="2489" y="3443"/>
                      <a:pt x="2542" y="3471"/>
                    </a:cubicBezTo>
                    <a:cubicBezTo>
                      <a:pt x="2584" y="3494"/>
                      <a:pt x="2591" y="3535"/>
                      <a:pt x="2593" y="3553"/>
                    </a:cubicBezTo>
                    <a:cubicBezTo>
                      <a:pt x="2736" y="3569"/>
                      <a:pt x="2840" y="3592"/>
                      <a:pt x="2871" y="3600"/>
                    </a:cubicBezTo>
                    <a:cubicBezTo>
                      <a:pt x="2812" y="3319"/>
                      <a:pt x="2812" y="3319"/>
                      <a:pt x="2812" y="3319"/>
                    </a:cubicBezTo>
                    <a:cubicBezTo>
                      <a:pt x="2622" y="3368"/>
                      <a:pt x="2622" y="3368"/>
                      <a:pt x="2622" y="3368"/>
                    </a:cubicBezTo>
                    <a:cubicBezTo>
                      <a:pt x="2783" y="3368"/>
                      <a:pt x="2783" y="3368"/>
                      <a:pt x="2783" y="3368"/>
                    </a:cubicBezTo>
                    <a:cubicBezTo>
                      <a:pt x="2785" y="3374"/>
                      <a:pt x="2785" y="3374"/>
                      <a:pt x="2785" y="3374"/>
                    </a:cubicBezTo>
                    <a:cubicBezTo>
                      <a:pt x="2828" y="3553"/>
                      <a:pt x="2828" y="3553"/>
                      <a:pt x="2828" y="3553"/>
                    </a:cubicBezTo>
                    <a:cubicBezTo>
                      <a:pt x="2750" y="3541"/>
                      <a:pt x="2750" y="3541"/>
                      <a:pt x="2750" y="3541"/>
                    </a:cubicBezTo>
                    <a:cubicBezTo>
                      <a:pt x="2717" y="3479"/>
                      <a:pt x="2717" y="3479"/>
                      <a:pt x="2717" y="3479"/>
                    </a:cubicBezTo>
                    <a:lnTo>
                      <a:pt x="2561" y="3384"/>
                    </a:lnTo>
                    <a:close/>
                    <a:moveTo>
                      <a:pt x="2728" y="3468"/>
                    </a:moveTo>
                    <a:cubicBezTo>
                      <a:pt x="2759" y="3528"/>
                      <a:pt x="2759" y="3528"/>
                      <a:pt x="2759" y="3528"/>
                    </a:cubicBezTo>
                    <a:cubicBezTo>
                      <a:pt x="2809" y="3535"/>
                      <a:pt x="2809" y="3535"/>
                      <a:pt x="2809" y="3535"/>
                    </a:cubicBezTo>
                    <a:cubicBezTo>
                      <a:pt x="2772" y="3383"/>
                      <a:pt x="2772" y="3383"/>
                      <a:pt x="2772" y="3383"/>
                    </a:cubicBezTo>
                    <a:cubicBezTo>
                      <a:pt x="2588" y="3383"/>
                      <a:pt x="2588" y="3383"/>
                      <a:pt x="2588" y="3383"/>
                    </a:cubicBezTo>
                    <a:lnTo>
                      <a:pt x="2728" y="3468"/>
                    </a:lnTo>
                    <a:close/>
                    <a:moveTo>
                      <a:pt x="3557" y="2938"/>
                    </a:moveTo>
                    <a:cubicBezTo>
                      <a:pt x="3559" y="2935"/>
                      <a:pt x="3559" y="2935"/>
                      <a:pt x="3559" y="2935"/>
                    </a:cubicBezTo>
                    <a:cubicBezTo>
                      <a:pt x="3559" y="2935"/>
                      <a:pt x="3559" y="2935"/>
                      <a:pt x="3559" y="2935"/>
                    </a:cubicBezTo>
                    <a:cubicBezTo>
                      <a:pt x="3555" y="2939"/>
                      <a:pt x="3555" y="2939"/>
                      <a:pt x="3555" y="2939"/>
                    </a:cubicBezTo>
                    <a:cubicBezTo>
                      <a:pt x="3555" y="2942"/>
                      <a:pt x="3555" y="2942"/>
                      <a:pt x="3555" y="2942"/>
                    </a:cubicBezTo>
                    <a:cubicBezTo>
                      <a:pt x="3559" y="2936"/>
                      <a:pt x="3559" y="2936"/>
                      <a:pt x="3559" y="2936"/>
                    </a:cubicBezTo>
                    <a:lnTo>
                      <a:pt x="3557" y="2938"/>
                    </a:lnTo>
                    <a:close/>
                    <a:moveTo>
                      <a:pt x="3360" y="3039"/>
                    </a:moveTo>
                    <a:cubicBezTo>
                      <a:pt x="3310" y="3060"/>
                      <a:pt x="3260" y="3080"/>
                      <a:pt x="3222" y="3095"/>
                    </a:cubicBezTo>
                    <a:cubicBezTo>
                      <a:pt x="3203" y="3103"/>
                      <a:pt x="3187" y="3109"/>
                      <a:pt x="3175" y="3113"/>
                    </a:cubicBezTo>
                    <a:cubicBezTo>
                      <a:pt x="3169" y="3116"/>
                      <a:pt x="3165" y="3117"/>
                      <a:pt x="3161" y="3118"/>
                    </a:cubicBezTo>
                    <a:cubicBezTo>
                      <a:pt x="3158" y="3120"/>
                      <a:pt x="3158" y="3120"/>
                      <a:pt x="3155" y="3120"/>
                    </a:cubicBezTo>
                    <a:cubicBezTo>
                      <a:pt x="3149" y="3123"/>
                      <a:pt x="3063" y="3172"/>
                      <a:pt x="2981" y="3219"/>
                    </a:cubicBezTo>
                    <a:cubicBezTo>
                      <a:pt x="2915" y="3258"/>
                      <a:pt x="2851" y="3295"/>
                      <a:pt x="2827" y="3309"/>
                    </a:cubicBezTo>
                    <a:cubicBezTo>
                      <a:pt x="2887" y="3595"/>
                      <a:pt x="2887" y="3595"/>
                      <a:pt x="2887" y="3595"/>
                    </a:cubicBezTo>
                    <a:cubicBezTo>
                      <a:pt x="2943" y="3547"/>
                      <a:pt x="3000" y="3511"/>
                      <a:pt x="3057" y="3486"/>
                    </a:cubicBezTo>
                    <a:cubicBezTo>
                      <a:pt x="3090" y="3471"/>
                      <a:pt x="3119" y="3460"/>
                      <a:pt x="3139" y="3453"/>
                    </a:cubicBezTo>
                    <a:cubicBezTo>
                      <a:pt x="3149" y="3449"/>
                      <a:pt x="3158" y="3446"/>
                      <a:pt x="3162" y="3444"/>
                    </a:cubicBezTo>
                    <a:cubicBezTo>
                      <a:pt x="3167" y="3439"/>
                      <a:pt x="3168" y="3441"/>
                      <a:pt x="3169" y="3439"/>
                    </a:cubicBezTo>
                    <a:cubicBezTo>
                      <a:pt x="3175" y="3436"/>
                      <a:pt x="3181" y="3434"/>
                      <a:pt x="3191" y="3431"/>
                    </a:cubicBezTo>
                    <a:cubicBezTo>
                      <a:pt x="3232" y="3416"/>
                      <a:pt x="3334" y="3381"/>
                      <a:pt x="3473" y="3336"/>
                    </a:cubicBezTo>
                    <a:cubicBezTo>
                      <a:pt x="3277" y="3077"/>
                      <a:pt x="3277" y="3077"/>
                      <a:pt x="3277" y="3077"/>
                    </a:cubicBezTo>
                    <a:cubicBezTo>
                      <a:pt x="3288" y="3069"/>
                      <a:pt x="3288" y="3069"/>
                      <a:pt x="3288" y="3069"/>
                    </a:cubicBezTo>
                    <a:cubicBezTo>
                      <a:pt x="3487" y="3332"/>
                      <a:pt x="3487" y="3332"/>
                      <a:pt x="3487" y="3332"/>
                    </a:cubicBezTo>
                    <a:cubicBezTo>
                      <a:pt x="3641" y="3282"/>
                      <a:pt x="3838" y="3221"/>
                      <a:pt x="4047" y="3159"/>
                    </a:cubicBezTo>
                    <a:cubicBezTo>
                      <a:pt x="3808" y="3004"/>
                      <a:pt x="3808" y="3004"/>
                      <a:pt x="3808" y="3004"/>
                    </a:cubicBezTo>
                    <a:cubicBezTo>
                      <a:pt x="3708" y="2722"/>
                      <a:pt x="3708" y="2722"/>
                      <a:pt x="3708" y="2722"/>
                    </a:cubicBezTo>
                    <a:cubicBezTo>
                      <a:pt x="3707" y="2722"/>
                      <a:pt x="3706" y="2723"/>
                      <a:pt x="3706" y="2723"/>
                    </a:cubicBezTo>
                    <a:cubicBezTo>
                      <a:pt x="3562" y="2957"/>
                      <a:pt x="3562" y="2957"/>
                      <a:pt x="3562" y="2957"/>
                    </a:cubicBezTo>
                    <a:cubicBezTo>
                      <a:pt x="3560" y="2958"/>
                      <a:pt x="3560" y="2958"/>
                      <a:pt x="3560" y="2958"/>
                    </a:cubicBezTo>
                    <a:cubicBezTo>
                      <a:pt x="3560" y="2958"/>
                      <a:pt x="3460" y="2999"/>
                      <a:pt x="3360" y="3039"/>
                    </a:cubicBezTo>
                    <a:close/>
                    <a:moveTo>
                      <a:pt x="5789" y="2099"/>
                    </a:moveTo>
                    <a:cubicBezTo>
                      <a:pt x="5964" y="2129"/>
                      <a:pt x="5964" y="2129"/>
                      <a:pt x="5964" y="2129"/>
                    </a:cubicBezTo>
                    <a:cubicBezTo>
                      <a:pt x="6007" y="2011"/>
                      <a:pt x="6007" y="2011"/>
                      <a:pt x="6007" y="2011"/>
                    </a:cubicBezTo>
                    <a:cubicBezTo>
                      <a:pt x="5824" y="1977"/>
                      <a:pt x="5824" y="1977"/>
                      <a:pt x="5824" y="1977"/>
                    </a:cubicBezTo>
                    <a:lnTo>
                      <a:pt x="5789" y="2099"/>
                    </a:lnTo>
                    <a:close/>
                    <a:moveTo>
                      <a:pt x="5793" y="2036"/>
                    </a:moveTo>
                    <a:cubicBezTo>
                      <a:pt x="5793" y="2036"/>
                      <a:pt x="5793" y="2036"/>
                      <a:pt x="5793" y="2036"/>
                    </a:cubicBezTo>
                    <a:cubicBezTo>
                      <a:pt x="5792" y="2033"/>
                      <a:pt x="5792" y="2033"/>
                      <a:pt x="5792" y="2033"/>
                    </a:cubicBezTo>
                    <a:lnTo>
                      <a:pt x="5793" y="2036"/>
                    </a:lnTo>
                    <a:close/>
                    <a:moveTo>
                      <a:pt x="5837" y="1526"/>
                    </a:moveTo>
                    <a:cubicBezTo>
                      <a:pt x="5847" y="1487"/>
                      <a:pt x="5857" y="1447"/>
                      <a:pt x="5867" y="1408"/>
                    </a:cubicBezTo>
                    <a:cubicBezTo>
                      <a:pt x="5847" y="1404"/>
                      <a:pt x="5754" y="1388"/>
                      <a:pt x="5659" y="1371"/>
                    </a:cubicBezTo>
                    <a:cubicBezTo>
                      <a:pt x="5569" y="1355"/>
                      <a:pt x="5474" y="1339"/>
                      <a:pt x="5441" y="1335"/>
                    </a:cubicBezTo>
                    <a:cubicBezTo>
                      <a:pt x="5448" y="1377"/>
                      <a:pt x="5454" y="1417"/>
                      <a:pt x="5458" y="1447"/>
                    </a:cubicBezTo>
                    <a:cubicBezTo>
                      <a:pt x="5459" y="1454"/>
                      <a:pt x="5459" y="1461"/>
                      <a:pt x="5460" y="1468"/>
                    </a:cubicBezTo>
                    <a:lnTo>
                      <a:pt x="5837" y="1526"/>
                    </a:lnTo>
                    <a:close/>
                    <a:moveTo>
                      <a:pt x="5462" y="1483"/>
                    </a:moveTo>
                    <a:cubicBezTo>
                      <a:pt x="5465" y="1511"/>
                      <a:pt x="5467" y="1538"/>
                      <a:pt x="5467" y="1565"/>
                    </a:cubicBezTo>
                    <a:cubicBezTo>
                      <a:pt x="5494" y="1571"/>
                      <a:pt x="5789" y="1625"/>
                      <a:pt x="5811" y="1629"/>
                    </a:cubicBezTo>
                    <a:cubicBezTo>
                      <a:pt x="5818" y="1601"/>
                      <a:pt x="5826" y="1571"/>
                      <a:pt x="5834" y="1540"/>
                    </a:cubicBezTo>
                    <a:lnTo>
                      <a:pt x="5462" y="1483"/>
                    </a:lnTo>
                    <a:close/>
                    <a:moveTo>
                      <a:pt x="5448" y="1690"/>
                    </a:moveTo>
                    <a:cubicBezTo>
                      <a:pt x="5521" y="1702"/>
                      <a:pt x="5780" y="1745"/>
                      <a:pt x="5781" y="1745"/>
                    </a:cubicBezTo>
                    <a:cubicBezTo>
                      <a:pt x="5780" y="1750"/>
                      <a:pt x="5780" y="1750"/>
                      <a:pt x="5780" y="1750"/>
                    </a:cubicBezTo>
                    <a:cubicBezTo>
                      <a:pt x="5784" y="1734"/>
                      <a:pt x="5789" y="1716"/>
                      <a:pt x="5794" y="1696"/>
                    </a:cubicBezTo>
                    <a:cubicBezTo>
                      <a:pt x="5798" y="1679"/>
                      <a:pt x="5803" y="1661"/>
                      <a:pt x="5808" y="1642"/>
                    </a:cubicBezTo>
                    <a:cubicBezTo>
                      <a:pt x="5793" y="1640"/>
                      <a:pt x="5715" y="1626"/>
                      <a:pt x="5636" y="1611"/>
                    </a:cubicBezTo>
                    <a:cubicBezTo>
                      <a:pt x="5593" y="1603"/>
                      <a:pt x="5549" y="1595"/>
                      <a:pt x="5517" y="1589"/>
                    </a:cubicBezTo>
                    <a:cubicBezTo>
                      <a:pt x="5500" y="1586"/>
                      <a:pt x="5487" y="1583"/>
                      <a:pt x="5477" y="1581"/>
                    </a:cubicBezTo>
                    <a:cubicBezTo>
                      <a:pt x="5473" y="1580"/>
                      <a:pt x="5470" y="1580"/>
                      <a:pt x="5467" y="1579"/>
                    </a:cubicBezTo>
                    <a:cubicBezTo>
                      <a:pt x="5467" y="1619"/>
                      <a:pt x="5462" y="1657"/>
                      <a:pt x="5448" y="1690"/>
                    </a:cubicBezTo>
                    <a:close/>
                    <a:moveTo>
                      <a:pt x="5778" y="1809"/>
                    </a:moveTo>
                    <a:cubicBezTo>
                      <a:pt x="5777" y="1810"/>
                      <a:pt x="5777" y="1811"/>
                      <a:pt x="5776" y="1812"/>
                    </a:cubicBezTo>
                    <a:cubicBezTo>
                      <a:pt x="5776" y="1813"/>
                      <a:pt x="5776" y="1813"/>
                      <a:pt x="5776" y="1813"/>
                    </a:cubicBezTo>
                    <a:cubicBezTo>
                      <a:pt x="5776" y="1815"/>
                      <a:pt x="5777" y="1817"/>
                      <a:pt x="5777" y="1819"/>
                    </a:cubicBezTo>
                    <a:cubicBezTo>
                      <a:pt x="5779" y="1809"/>
                      <a:pt x="5779" y="1809"/>
                      <a:pt x="5779" y="1809"/>
                    </a:cubicBezTo>
                    <a:cubicBezTo>
                      <a:pt x="6057" y="1871"/>
                      <a:pt x="6057" y="1871"/>
                      <a:pt x="6057" y="1871"/>
                    </a:cubicBezTo>
                    <a:cubicBezTo>
                      <a:pt x="6099" y="1753"/>
                      <a:pt x="6099" y="1753"/>
                      <a:pt x="6099" y="1753"/>
                    </a:cubicBezTo>
                    <a:cubicBezTo>
                      <a:pt x="5809" y="1701"/>
                      <a:pt x="5809" y="1701"/>
                      <a:pt x="5809" y="1701"/>
                    </a:cubicBezTo>
                    <a:cubicBezTo>
                      <a:pt x="5812" y="1687"/>
                      <a:pt x="5812" y="1687"/>
                      <a:pt x="5812" y="1687"/>
                    </a:cubicBezTo>
                    <a:cubicBezTo>
                      <a:pt x="6104" y="1740"/>
                      <a:pt x="6104" y="1740"/>
                      <a:pt x="6104" y="1740"/>
                    </a:cubicBezTo>
                    <a:cubicBezTo>
                      <a:pt x="6140" y="1639"/>
                      <a:pt x="6140" y="1639"/>
                      <a:pt x="6140" y="1639"/>
                    </a:cubicBezTo>
                    <a:cubicBezTo>
                      <a:pt x="5834" y="1595"/>
                      <a:pt x="5834" y="1595"/>
                      <a:pt x="5834" y="1595"/>
                    </a:cubicBezTo>
                    <a:cubicBezTo>
                      <a:pt x="5833" y="1598"/>
                      <a:pt x="5833" y="1602"/>
                      <a:pt x="5832" y="1605"/>
                    </a:cubicBezTo>
                    <a:cubicBezTo>
                      <a:pt x="5817" y="1663"/>
                      <a:pt x="5804" y="1714"/>
                      <a:pt x="5794" y="1752"/>
                    </a:cubicBezTo>
                    <a:cubicBezTo>
                      <a:pt x="5789" y="1771"/>
                      <a:pt x="5785" y="1786"/>
                      <a:pt x="5782" y="1796"/>
                    </a:cubicBezTo>
                    <a:cubicBezTo>
                      <a:pt x="5780" y="1802"/>
                      <a:pt x="5779" y="1806"/>
                      <a:pt x="5778" y="1809"/>
                    </a:cubicBezTo>
                    <a:close/>
                    <a:moveTo>
                      <a:pt x="5778" y="1823"/>
                    </a:moveTo>
                    <a:cubicBezTo>
                      <a:pt x="5782" y="1838"/>
                      <a:pt x="5791" y="1868"/>
                      <a:pt x="5801" y="1895"/>
                    </a:cubicBezTo>
                    <a:cubicBezTo>
                      <a:pt x="5811" y="1925"/>
                      <a:pt x="5821" y="1954"/>
                      <a:pt x="5824" y="1963"/>
                    </a:cubicBezTo>
                    <a:cubicBezTo>
                      <a:pt x="6011" y="1998"/>
                      <a:pt x="6011" y="1998"/>
                      <a:pt x="6011" y="1998"/>
                    </a:cubicBezTo>
                    <a:cubicBezTo>
                      <a:pt x="6052" y="1884"/>
                      <a:pt x="6052" y="1884"/>
                      <a:pt x="6052" y="1884"/>
                    </a:cubicBezTo>
                    <a:lnTo>
                      <a:pt x="5778" y="1823"/>
                    </a:lnTo>
                    <a:close/>
                    <a:moveTo>
                      <a:pt x="5790" y="2046"/>
                    </a:moveTo>
                    <a:cubicBezTo>
                      <a:pt x="5752" y="2041"/>
                      <a:pt x="5434" y="1980"/>
                      <a:pt x="5315" y="1958"/>
                    </a:cubicBezTo>
                    <a:cubicBezTo>
                      <a:pt x="5318" y="1964"/>
                      <a:pt x="5321" y="1970"/>
                      <a:pt x="5322" y="1977"/>
                    </a:cubicBezTo>
                    <a:cubicBezTo>
                      <a:pt x="5325" y="1990"/>
                      <a:pt x="5350" y="2041"/>
                      <a:pt x="5374" y="2101"/>
                    </a:cubicBezTo>
                    <a:cubicBezTo>
                      <a:pt x="5377" y="2106"/>
                      <a:pt x="5379" y="2112"/>
                      <a:pt x="5381" y="2117"/>
                    </a:cubicBezTo>
                    <a:cubicBezTo>
                      <a:pt x="5755" y="2166"/>
                      <a:pt x="5755" y="2166"/>
                      <a:pt x="5755" y="2166"/>
                    </a:cubicBezTo>
                    <a:lnTo>
                      <a:pt x="5790" y="2046"/>
                    </a:lnTo>
                    <a:close/>
                    <a:moveTo>
                      <a:pt x="5424" y="2268"/>
                    </a:moveTo>
                    <a:cubicBezTo>
                      <a:pt x="5450" y="2272"/>
                      <a:pt x="5504" y="2281"/>
                      <a:pt x="5560" y="2290"/>
                    </a:cubicBezTo>
                    <a:cubicBezTo>
                      <a:pt x="5624" y="2301"/>
                      <a:pt x="5691" y="2311"/>
                      <a:pt x="5713" y="2314"/>
                    </a:cubicBezTo>
                    <a:cubicBezTo>
                      <a:pt x="5751" y="2179"/>
                      <a:pt x="5751" y="2179"/>
                      <a:pt x="5751" y="2179"/>
                    </a:cubicBezTo>
                    <a:cubicBezTo>
                      <a:pt x="5387" y="2132"/>
                      <a:pt x="5387" y="2132"/>
                      <a:pt x="5387" y="2132"/>
                    </a:cubicBezTo>
                    <a:cubicBezTo>
                      <a:pt x="5403" y="2175"/>
                      <a:pt x="5417" y="2222"/>
                      <a:pt x="5424" y="2268"/>
                    </a:cubicBezTo>
                    <a:close/>
                    <a:moveTo>
                      <a:pt x="5415" y="2652"/>
                    </a:moveTo>
                    <a:cubicBezTo>
                      <a:pt x="5675" y="2611"/>
                      <a:pt x="5675" y="2611"/>
                      <a:pt x="5675" y="2611"/>
                    </a:cubicBezTo>
                    <a:cubicBezTo>
                      <a:pt x="5672" y="2463"/>
                      <a:pt x="5672" y="2463"/>
                      <a:pt x="5672" y="2463"/>
                    </a:cubicBezTo>
                    <a:cubicBezTo>
                      <a:pt x="5428" y="2442"/>
                      <a:pt x="5428" y="2442"/>
                      <a:pt x="5428" y="2442"/>
                    </a:cubicBezTo>
                    <a:cubicBezTo>
                      <a:pt x="5425" y="2507"/>
                      <a:pt x="5420" y="2582"/>
                      <a:pt x="5415" y="2652"/>
                    </a:cubicBezTo>
                    <a:close/>
                    <a:moveTo>
                      <a:pt x="5279" y="1988"/>
                    </a:moveTo>
                    <a:cubicBezTo>
                      <a:pt x="5276" y="1975"/>
                      <a:pt x="5261" y="1951"/>
                      <a:pt x="5247" y="1933"/>
                    </a:cubicBezTo>
                    <a:cubicBezTo>
                      <a:pt x="5242" y="1926"/>
                      <a:pt x="5237" y="1920"/>
                      <a:pt x="5233" y="1915"/>
                    </a:cubicBezTo>
                    <a:cubicBezTo>
                      <a:pt x="5163" y="1964"/>
                      <a:pt x="5076" y="2008"/>
                      <a:pt x="4968" y="2027"/>
                    </a:cubicBezTo>
                    <a:cubicBezTo>
                      <a:pt x="5124" y="2483"/>
                      <a:pt x="5124" y="2483"/>
                      <a:pt x="5124" y="2483"/>
                    </a:cubicBezTo>
                    <a:cubicBezTo>
                      <a:pt x="5251" y="2480"/>
                      <a:pt x="5350" y="2478"/>
                      <a:pt x="5381" y="2477"/>
                    </a:cubicBezTo>
                    <a:cubicBezTo>
                      <a:pt x="5384" y="2429"/>
                      <a:pt x="5385" y="2383"/>
                      <a:pt x="5385" y="2348"/>
                    </a:cubicBezTo>
                    <a:cubicBezTo>
                      <a:pt x="5385" y="2330"/>
                      <a:pt x="5385" y="2315"/>
                      <a:pt x="5384" y="2303"/>
                    </a:cubicBezTo>
                    <a:cubicBezTo>
                      <a:pt x="5380" y="2245"/>
                      <a:pt x="5356" y="2176"/>
                      <a:pt x="5333" y="2118"/>
                    </a:cubicBezTo>
                    <a:cubicBezTo>
                      <a:pt x="5309" y="2058"/>
                      <a:pt x="5285" y="2013"/>
                      <a:pt x="5279" y="1988"/>
                    </a:cubicBezTo>
                    <a:close/>
                    <a:moveTo>
                      <a:pt x="5185" y="2495"/>
                    </a:moveTo>
                    <a:cubicBezTo>
                      <a:pt x="5172" y="2880"/>
                      <a:pt x="5172" y="2880"/>
                      <a:pt x="5172" y="2880"/>
                    </a:cubicBezTo>
                    <a:cubicBezTo>
                      <a:pt x="5233" y="2870"/>
                      <a:pt x="5293" y="2861"/>
                      <a:pt x="5352" y="2853"/>
                    </a:cubicBezTo>
                    <a:cubicBezTo>
                      <a:pt x="5355" y="2820"/>
                      <a:pt x="5362" y="2752"/>
                      <a:pt x="5368" y="2673"/>
                    </a:cubicBezTo>
                    <a:cubicBezTo>
                      <a:pt x="5372" y="2614"/>
                      <a:pt x="5377" y="2551"/>
                      <a:pt x="5380" y="2491"/>
                    </a:cubicBezTo>
                    <a:cubicBezTo>
                      <a:pt x="5354" y="2492"/>
                      <a:pt x="5281" y="2493"/>
                      <a:pt x="5185" y="2495"/>
                    </a:cubicBezTo>
                    <a:close/>
                    <a:moveTo>
                      <a:pt x="4915" y="2501"/>
                    </a:moveTo>
                    <a:cubicBezTo>
                      <a:pt x="4934" y="2924"/>
                      <a:pt x="4934" y="2924"/>
                      <a:pt x="4934" y="2924"/>
                    </a:cubicBezTo>
                    <a:cubicBezTo>
                      <a:pt x="5009" y="2908"/>
                      <a:pt x="5083" y="2895"/>
                      <a:pt x="5158" y="2882"/>
                    </a:cubicBezTo>
                    <a:cubicBezTo>
                      <a:pt x="5171" y="2496"/>
                      <a:pt x="5171" y="2496"/>
                      <a:pt x="5171" y="2496"/>
                    </a:cubicBezTo>
                    <a:cubicBezTo>
                      <a:pt x="5095" y="2497"/>
                      <a:pt x="5006" y="2499"/>
                      <a:pt x="4915" y="2501"/>
                    </a:cubicBezTo>
                    <a:close/>
                    <a:moveTo>
                      <a:pt x="5710" y="5332"/>
                    </a:moveTo>
                    <a:cubicBezTo>
                      <a:pt x="5743" y="5339"/>
                      <a:pt x="5770" y="5343"/>
                      <a:pt x="5786" y="5346"/>
                    </a:cubicBezTo>
                    <a:cubicBezTo>
                      <a:pt x="5799" y="5229"/>
                      <a:pt x="5799" y="5229"/>
                      <a:pt x="5799" y="5229"/>
                    </a:cubicBezTo>
                    <a:cubicBezTo>
                      <a:pt x="5726" y="5216"/>
                      <a:pt x="5436" y="5161"/>
                      <a:pt x="5394" y="5153"/>
                    </a:cubicBezTo>
                    <a:cubicBezTo>
                      <a:pt x="5337" y="5432"/>
                      <a:pt x="5337" y="5432"/>
                      <a:pt x="5337" y="5432"/>
                    </a:cubicBezTo>
                    <a:cubicBezTo>
                      <a:pt x="5337" y="5433"/>
                      <a:pt x="5337" y="5433"/>
                      <a:pt x="5337" y="5433"/>
                    </a:cubicBezTo>
                    <a:cubicBezTo>
                      <a:pt x="5340" y="5421"/>
                      <a:pt x="5340" y="5421"/>
                      <a:pt x="5340" y="5421"/>
                    </a:cubicBezTo>
                    <a:cubicBezTo>
                      <a:pt x="5340" y="5421"/>
                      <a:pt x="5445" y="5441"/>
                      <a:pt x="5551" y="5461"/>
                    </a:cubicBezTo>
                    <a:cubicBezTo>
                      <a:pt x="5656" y="5481"/>
                      <a:pt x="5764" y="5501"/>
                      <a:pt x="5765" y="5501"/>
                    </a:cubicBezTo>
                    <a:cubicBezTo>
                      <a:pt x="5765" y="5515"/>
                      <a:pt x="5765" y="5515"/>
                      <a:pt x="5765" y="5515"/>
                    </a:cubicBezTo>
                    <a:cubicBezTo>
                      <a:pt x="5756" y="5515"/>
                      <a:pt x="5347" y="5437"/>
                      <a:pt x="5338" y="5435"/>
                    </a:cubicBezTo>
                    <a:cubicBezTo>
                      <a:pt x="5351" y="5564"/>
                      <a:pt x="5351" y="5564"/>
                      <a:pt x="5351" y="5564"/>
                    </a:cubicBezTo>
                    <a:cubicBezTo>
                      <a:pt x="5376" y="5569"/>
                      <a:pt x="5465" y="5585"/>
                      <a:pt x="5555" y="5602"/>
                    </a:cubicBezTo>
                    <a:cubicBezTo>
                      <a:pt x="5636" y="5618"/>
                      <a:pt x="5719" y="5633"/>
                      <a:pt x="5753" y="5639"/>
                    </a:cubicBezTo>
                    <a:cubicBezTo>
                      <a:pt x="5784" y="5360"/>
                      <a:pt x="5784" y="5360"/>
                      <a:pt x="5784" y="5360"/>
                    </a:cubicBezTo>
                    <a:cubicBezTo>
                      <a:pt x="5704" y="5346"/>
                      <a:pt x="5375" y="5283"/>
                      <a:pt x="5374" y="5283"/>
                    </a:cubicBezTo>
                    <a:cubicBezTo>
                      <a:pt x="5377" y="5269"/>
                      <a:pt x="5377" y="5269"/>
                      <a:pt x="5377" y="5269"/>
                    </a:cubicBezTo>
                    <a:cubicBezTo>
                      <a:pt x="5377" y="5269"/>
                      <a:pt x="5467" y="5287"/>
                      <a:pt x="5565" y="5305"/>
                    </a:cubicBezTo>
                    <a:cubicBezTo>
                      <a:pt x="5566" y="5300"/>
                      <a:pt x="5566" y="5300"/>
                      <a:pt x="5566" y="5300"/>
                    </a:cubicBezTo>
                    <a:cubicBezTo>
                      <a:pt x="5583" y="5203"/>
                      <a:pt x="5583" y="5203"/>
                      <a:pt x="5583" y="5203"/>
                    </a:cubicBezTo>
                    <a:cubicBezTo>
                      <a:pt x="5729" y="5230"/>
                      <a:pt x="5729" y="5230"/>
                      <a:pt x="5729" y="5230"/>
                    </a:cubicBezTo>
                    <a:lnTo>
                      <a:pt x="5710" y="5332"/>
                    </a:lnTo>
                    <a:close/>
                    <a:moveTo>
                      <a:pt x="5714" y="5240"/>
                    </a:moveTo>
                    <a:cubicBezTo>
                      <a:pt x="5594" y="5218"/>
                      <a:pt x="5594" y="5218"/>
                      <a:pt x="5594" y="5218"/>
                    </a:cubicBezTo>
                    <a:cubicBezTo>
                      <a:pt x="5580" y="5296"/>
                      <a:pt x="5580" y="5296"/>
                      <a:pt x="5580" y="5296"/>
                    </a:cubicBezTo>
                    <a:cubicBezTo>
                      <a:pt x="5700" y="5317"/>
                      <a:pt x="5700" y="5317"/>
                      <a:pt x="5700" y="5317"/>
                    </a:cubicBezTo>
                    <a:lnTo>
                      <a:pt x="5714" y="5240"/>
                    </a:lnTo>
                    <a:close/>
                    <a:moveTo>
                      <a:pt x="3363" y="6901"/>
                    </a:moveTo>
                    <a:cubicBezTo>
                      <a:pt x="3369" y="6858"/>
                      <a:pt x="3369" y="6858"/>
                      <a:pt x="3369" y="6858"/>
                    </a:cubicBezTo>
                    <a:cubicBezTo>
                      <a:pt x="3329" y="6853"/>
                      <a:pt x="3329" y="6853"/>
                      <a:pt x="3329" y="6853"/>
                    </a:cubicBezTo>
                    <a:cubicBezTo>
                      <a:pt x="3325" y="6881"/>
                      <a:pt x="3320" y="6916"/>
                      <a:pt x="3314" y="6955"/>
                    </a:cubicBezTo>
                    <a:cubicBezTo>
                      <a:pt x="3402" y="6967"/>
                      <a:pt x="3402" y="6967"/>
                      <a:pt x="3402" y="6967"/>
                    </a:cubicBezTo>
                    <a:cubicBezTo>
                      <a:pt x="3410" y="6907"/>
                      <a:pt x="3410" y="6907"/>
                      <a:pt x="3410" y="6907"/>
                    </a:cubicBezTo>
                    <a:lnTo>
                      <a:pt x="3363" y="6901"/>
                    </a:lnTo>
                    <a:close/>
                    <a:moveTo>
                      <a:pt x="3315" y="6851"/>
                    </a:moveTo>
                    <a:cubicBezTo>
                      <a:pt x="3279" y="6846"/>
                      <a:pt x="3279" y="6846"/>
                      <a:pt x="3279" y="6846"/>
                    </a:cubicBezTo>
                    <a:cubicBezTo>
                      <a:pt x="3274" y="6889"/>
                      <a:pt x="3274" y="6889"/>
                      <a:pt x="3274" y="6889"/>
                    </a:cubicBezTo>
                    <a:cubicBezTo>
                      <a:pt x="3227" y="6882"/>
                      <a:pt x="3227" y="6882"/>
                      <a:pt x="3227" y="6882"/>
                    </a:cubicBezTo>
                    <a:cubicBezTo>
                      <a:pt x="3219" y="6942"/>
                      <a:pt x="3219" y="6942"/>
                      <a:pt x="3219" y="6942"/>
                    </a:cubicBezTo>
                    <a:cubicBezTo>
                      <a:pt x="3300" y="6953"/>
                      <a:pt x="3300" y="6953"/>
                      <a:pt x="3300" y="6953"/>
                    </a:cubicBezTo>
                    <a:cubicBezTo>
                      <a:pt x="3306" y="6914"/>
                      <a:pt x="3311" y="6879"/>
                      <a:pt x="3315" y="6851"/>
                    </a:cubicBezTo>
                    <a:close/>
                    <a:moveTo>
                      <a:pt x="3122" y="6812"/>
                    </a:moveTo>
                    <a:cubicBezTo>
                      <a:pt x="3127" y="6769"/>
                      <a:pt x="3127" y="6769"/>
                      <a:pt x="3127" y="6769"/>
                    </a:cubicBezTo>
                    <a:cubicBezTo>
                      <a:pt x="3099" y="6765"/>
                      <a:pt x="3099" y="6765"/>
                      <a:pt x="3099" y="6765"/>
                    </a:cubicBezTo>
                    <a:cubicBezTo>
                      <a:pt x="3085" y="6867"/>
                      <a:pt x="3085" y="6867"/>
                      <a:pt x="3085" y="6867"/>
                    </a:cubicBezTo>
                    <a:cubicBezTo>
                      <a:pt x="3160" y="6877"/>
                      <a:pt x="3160" y="6877"/>
                      <a:pt x="3160" y="6877"/>
                    </a:cubicBezTo>
                    <a:cubicBezTo>
                      <a:pt x="3168" y="6818"/>
                      <a:pt x="3168" y="6818"/>
                      <a:pt x="3168" y="6818"/>
                    </a:cubicBezTo>
                    <a:lnTo>
                      <a:pt x="3122" y="6812"/>
                    </a:lnTo>
                    <a:close/>
                    <a:moveTo>
                      <a:pt x="1824" y="6729"/>
                    </a:moveTo>
                    <a:cubicBezTo>
                      <a:pt x="2042" y="6863"/>
                      <a:pt x="2042" y="6863"/>
                      <a:pt x="2042" y="6863"/>
                    </a:cubicBezTo>
                    <a:cubicBezTo>
                      <a:pt x="2141" y="6766"/>
                      <a:pt x="2141" y="6766"/>
                      <a:pt x="2141" y="6766"/>
                    </a:cubicBezTo>
                    <a:cubicBezTo>
                      <a:pt x="1924" y="6632"/>
                      <a:pt x="1924" y="6632"/>
                      <a:pt x="1924" y="6632"/>
                    </a:cubicBezTo>
                    <a:cubicBezTo>
                      <a:pt x="1887" y="6667"/>
                      <a:pt x="1853" y="6700"/>
                      <a:pt x="1824" y="6729"/>
                    </a:cubicBezTo>
                    <a:close/>
                    <a:moveTo>
                      <a:pt x="1911" y="6625"/>
                    </a:moveTo>
                    <a:cubicBezTo>
                      <a:pt x="1791" y="6550"/>
                      <a:pt x="1791" y="6550"/>
                      <a:pt x="1791" y="6550"/>
                    </a:cubicBezTo>
                    <a:cubicBezTo>
                      <a:pt x="1723" y="6667"/>
                      <a:pt x="1723" y="6667"/>
                      <a:pt x="1723" y="6667"/>
                    </a:cubicBezTo>
                    <a:cubicBezTo>
                      <a:pt x="1811" y="6721"/>
                      <a:pt x="1811" y="6721"/>
                      <a:pt x="1811" y="6721"/>
                    </a:cubicBezTo>
                    <a:cubicBezTo>
                      <a:pt x="1840" y="6693"/>
                      <a:pt x="1875" y="6660"/>
                      <a:pt x="1911" y="6625"/>
                    </a:cubicBezTo>
                    <a:close/>
                    <a:moveTo>
                      <a:pt x="2059" y="6260"/>
                    </a:moveTo>
                    <a:cubicBezTo>
                      <a:pt x="2055" y="6259"/>
                      <a:pt x="2055" y="6259"/>
                      <a:pt x="2055" y="6259"/>
                    </a:cubicBezTo>
                    <a:cubicBezTo>
                      <a:pt x="2387" y="6379"/>
                      <a:pt x="2387" y="6379"/>
                      <a:pt x="2387" y="6379"/>
                    </a:cubicBezTo>
                    <a:cubicBezTo>
                      <a:pt x="2607" y="5805"/>
                      <a:pt x="2607" y="5805"/>
                      <a:pt x="2607" y="5805"/>
                    </a:cubicBezTo>
                    <a:cubicBezTo>
                      <a:pt x="2479" y="5768"/>
                      <a:pt x="2353" y="5734"/>
                      <a:pt x="2352" y="5734"/>
                    </a:cubicBezTo>
                    <a:cubicBezTo>
                      <a:pt x="2350" y="5733"/>
                      <a:pt x="2350" y="5733"/>
                      <a:pt x="2350" y="5733"/>
                    </a:cubicBezTo>
                    <a:cubicBezTo>
                      <a:pt x="2245" y="5581"/>
                      <a:pt x="2245" y="5581"/>
                      <a:pt x="2245" y="5581"/>
                    </a:cubicBezTo>
                    <a:cubicBezTo>
                      <a:pt x="2083" y="5525"/>
                      <a:pt x="2083" y="5525"/>
                      <a:pt x="2083" y="5525"/>
                    </a:cubicBezTo>
                    <a:cubicBezTo>
                      <a:pt x="1958" y="5805"/>
                      <a:pt x="1958" y="5805"/>
                      <a:pt x="1958" y="5805"/>
                    </a:cubicBezTo>
                    <a:cubicBezTo>
                      <a:pt x="2057" y="6247"/>
                      <a:pt x="2057" y="6247"/>
                      <a:pt x="2057" y="6247"/>
                    </a:cubicBezTo>
                    <a:lnTo>
                      <a:pt x="2059" y="6260"/>
                    </a:lnTo>
                    <a:close/>
                    <a:moveTo>
                      <a:pt x="2473" y="3886"/>
                    </a:moveTo>
                    <a:cubicBezTo>
                      <a:pt x="2473" y="3873"/>
                      <a:pt x="2473" y="3873"/>
                      <a:pt x="2473" y="3873"/>
                    </a:cubicBezTo>
                    <a:cubicBezTo>
                      <a:pt x="2354" y="4062"/>
                      <a:pt x="2354" y="4062"/>
                      <a:pt x="2354" y="4062"/>
                    </a:cubicBezTo>
                    <a:cubicBezTo>
                      <a:pt x="2337" y="4137"/>
                      <a:pt x="2337" y="4137"/>
                      <a:pt x="2337" y="4137"/>
                    </a:cubicBezTo>
                    <a:cubicBezTo>
                      <a:pt x="2428" y="4181"/>
                      <a:pt x="2428" y="4181"/>
                      <a:pt x="2428" y="4181"/>
                    </a:cubicBezTo>
                    <a:cubicBezTo>
                      <a:pt x="2429" y="4178"/>
                      <a:pt x="2431" y="4175"/>
                      <a:pt x="2432" y="4173"/>
                    </a:cubicBezTo>
                    <a:cubicBezTo>
                      <a:pt x="2467" y="4106"/>
                      <a:pt x="2498" y="4056"/>
                      <a:pt x="2529" y="4007"/>
                    </a:cubicBezTo>
                    <a:cubicBezTo>
                      <a:pt x="2554" y="3967"/>
                      <a:pt x="2581" y="3928"/>
                      <a:pt x="2612" y="3886"/>
                    </a:cubicBezTo>
                    <a:cubicBezTo>
                      <a:pt x="2599" y="3886"/>
                      <a:pt x="2586" y="3886"/>
                      <a:pt x="2572" y="3886"/>
                    </a:cubicBezTo>
                    <a:cubicBezTo>
                      <a:pt x="2524" y="3886"/>
                      <a:pt x="2477" y="3886"/>
                      <a:pt x="2473" y="3886"/>
                    </a:cubicBezTo>
                    <a:close/>
                    <a:moveTo>
                      <a:pt x="5086" y="4799"/>
                    </a:moveTo>
                    <a:cubicBezTo>
                      <a:pt x="5087" y="4790"/>
                      <a:pt x="5087" y="4790"/>
                      <a:pt x="5087" y="4790"/>
                    </a:cubicBezTo>
                    <a:cubicBezTo>
                      <a:pt x="5065" y="4831"/>
                      <a:pt x="5038" y="4872"/>
                      <a:pt x="5011" y="4911"/>
                    </a:cubicBezTo>
                    <a:cubicBezTo>
                      <a:pt x="5035" y="4912"/>
                      <a:pt x="5072" y="4915"/>
                      <a:pt x="5113" y="4917"/>
                    </a:cubicBezTo>
                    <a:cubicBezTo>
                      <a:pt x="5114" y="4912"/>
                      <a:pt x="5114" y="4912"/>
                      <a:pt x="5114" y="4912"/>
                    </a:cubicBezTo>
                    <a:cubicBezTo>
                      <a:pt x="5118" y="4814"/>
                      <a:pt x="5118" y="4814"/>
                      <a:pt x="5118" y="4814"/>
                    </a:cubicBezTo>
                    <a:cubicBezTo>
                      <a:pt x="5266" y="4822"/>
                      <a:pt x="5266" y="4822"/>
                      <a:pt x="5266" y="4822"/>
                    </a:cubicBezTo>
                    <a:cubicBezTo>
                      <a:pt x="5261" y="4926"/>
                      <a:pt x="5261" y="4926"/>
                      <a:pt x="5261" y="4926"/>
                    </a:cubicBezTo>
                    <a:cubicBezTo>
                      <a:pt x="5185" y="4922"/>
                      <a:pt x="5185" y="4922"/>
                      <a:pt x="5185" y="4922"/>
                    </a:cubicBezTo>
                    <a:cubicBezTo>
                      <a:pt x="5288" y="4929"/>
                      <a:pt x="5395" y="4937"/>
                      <a:pt x="5422" y="4939"/>
                    </a:cubicBezTo>
                    <a:cubicBezTo>
                      <a:pt x="5445" y="4824"/>
                      <a:pt x="5445" y="4824"/>
                      <a:pt x="5445" y="4824"/>
                    </a:cubicBezTo>
                    <a:cubicBezTo>
                      <a:pt x="5394" y="4822"/>
                      <a:pt x="5086" y="4799"/>
                      <a:pt x="5086" y="4799"/>
                    </a:cubicBezTo>
                    <a:close/>
                    <a:moveTo>
                      <a:pt x="5727" y="4236"/>
                    </a:moveTo>
                    <a:cubicBezTo>
                      <a:pt x="5728" y="4236"/>
                      <a:pt x="5728" y="4236"/>
                      <a:pt x="5728" y="4236"/>
                    </a:cubicBezTo>
                    <a:cubicBezTo>
                      <a:pt x="5728" y="4236"/>
                      <a:pt x="5809" y="4231"/>
                      <a:pt x="5848" y="4229"/>
                    </a:cubicBezTo>
                    <a:cubicBezTo>
                      <a:pt x="5868" y="3974"/>
                      <a:pt x="5868" y="3974"/>
                      <a:pt x="5868" y="3974"/>
                    </a:cubicBezTo>
                    <a:cubicBezTo>
                      <a:pt x="5589" y="3953"/>
                      <a:pt x="5589" y="3953"/>
                      <a:pt x="5589" y="3953"/>
                    </a:cubicBezTo>
                    <a:cubicBezTo>
                      <a:pt x="5119" y="4012"/>
                      <a:pt x="5119" y="4012"/>
                      <a:pt x="5119" y="4012"/>
                    </a:cubicBezTo>
                    <a:cubicBezTo>
                      <a:pt x="5139" y="4175"/>
                      <a:pt x="5155" y="4300"/>
                      <a:pt x="5161" y="4331"/>
                    </a:cubicBezTo>
                    <a:cubicBezTo>
                      <a:pt x="5167" y="4359"/>
                      <a:pt x="5169" y="4387"/>
                      <a:pt x="5169" y="4416"/>
                    </a:cubicBezTo>
                    <a:cubicBezTo>
                      <a:pt x="5169" y="4419"/>
                      <a:pt x="5169" y="4422"/>
                      <a:pt x="5169" y="4425"/>
                    </a:cubicBezTo>
                    <a:lnTo>
                      <a:pt x="5727" y="4236"/>
                    </a:lnTo>
                    <a:close/>
                    <a:moveTo>
                      <a:pt x="5312" y="4391"/>
                    </a:moveTo>
                    <a:cubicBezTo>
                      <a:pt x="5315" y="4412"/>
                      <a:pt x="5318" y="4474"/>
                      <a:pt x="5321" y="4537"/>
                    </a:cubicBezTo>
                    <a:cubicBezTo>
                      <a:pt x="5322" y="4572"/>
                      <a:pt x="5323" y="4606"/>
                      <a:pt x="5325" y="4631"/>
                    </a:cubicBezTo>
                    <a:cubicBezTo>
                      <a:pt x="5325" y="4643"/>
                      <a:pt x="5325" y="4653"/>
                      <a:pt x="5326" y="4660"/>
                    </a:cubicBezTo>
                    <a:cubicBezTo>
                      <a:pt x="5650" y="4689"/>
                      <a:pt x="5650" y="4689"/>
                      <a:pt x="5650" y="4689"/>
                    </a:cubicBezTo>
                    <a:cubicBezTo>
                      <a:pt x="5643" y="4643"/>
                      <a:pt x="5628" y="4532"/>
                      <a:pt x="5625" y="4513"/>
                    </a:cubicBezTo>
                    <a:cubicBezTo>
                      <a:pt x="5424" y="4353"/>
                      <a:pt x="5424" y="4353"/>
                      <a:pt x="5424" y="4353"/>
                    </a:cubicBezTo>
                    <a:lnTo>
                      <a:pt x="5312" y="4391"/>
                    </a:lnTo>
                    <a:close/>
                    <a:moveTo>
                      <a:pt x="5306" y="4516"/>
                    </a:moveTo>
                    <a:cubicBezTo>
                      <a:pt x="5304" y="4483"/>
                      <a:pt x="5303" y="4451"/>
                      <a:pt x="5301" y="4427"/>
                    </a:cubicBezTo>
                    <a:cubicBezTo>
                      <a:pt x="5300" y="4415"/>
                      <a:pt x="5300" y="4405"/>
                      <a:pt x="5299" y="4399"/>
                    </a:cubicBezTo>
                    <a:cubicBezTo>
                      <a:pt x="5299" y="4397"/>
                      <a:pt x="5299" y="4397"/>
                      <a:pt x="5298" y="4396"/>
                    </a:cubicBezTo>
                    <a:cubicBezTo>
                      <a:pt x="5168" y="4440"/>
                      <a:pt x="5168" y="4440"/>
                      <a:pt x="5168" y="4440"/>
                    </a:cubicBezTo>
                    <a:cubicBezTo>
                      <a:pt x="5165" y="4512"/>
                      <a:pt x="5151" y="4583"/>
                      <a:pt x="5137" y="4643"/>
                    </a:cubicBezTo>
                    <a:cubicBezTo>
                      <a:pt x="5312" y="4659"/>
                      <a:pt x="5312" y="4659"/>
                      <a:pt x="5312" y="4659"/>
                    </a:cubicBezTo>
                    <a:cubicBezTo>
                      <a:pt x="5310" y="4631"/>
                      <a:pt x="5308" y="4573"/>
                      <a:pt x="5306" y="4516"/>
                    </a:cubicBezTo>
                    <a:close/>
                    <a:moveTo>
                      <a:pt x="5089" y="4786"/>
                    </a:moveTo>
                    <a:cubicBezTo>
                      <a:pt x="5108" y="4787"/>
                      <a:pt x="5410" y="4809"/>
                      <a:pt x="5448" y="4810"/>
                    </a:cubicBezTo>
                    <a:cubicBezTo>
                      <a:pt x="5467" y="4718"/>
                      <a:pt x="5467" y="4718"/>
                      <a:pt x="5467" y="4718"/>
                    </a:cubicBezTo>
                    <a:cubicBezTo>
                      <a:pt x="5127" y="4688"/>
                      <a:pt x="5127" y="4688"/>
                      <a:pt x="5127" y="4688"/>
                    </a:cubicBezTo>
                    <a:cubicBezTo>
                      <a:pt x="5126" y="4688"/>
                      <a:pt x="5126" y="4690"/>
                      <a:pt x="5126" y="4690"/>
                    </a:cubicBezTo>
                    <a:cubicBezTo>
                      <a:pt x="5118" y="4722"/>
                      <a:pt x="5105" y="4754"/>
                      <a:pt x="5089" y="4786"/>
                    </a:cubicBezTo>
                    <a:close/>
                    <a:moveTo>
                      <a:pt x="5049" y="6121"/>
                    </a:moveTo>
                    <a:cubicBezTo>
                      <a:pt x="5049" y="6134"/>
                      <a:pt x="5049" y="6144"/>
                      <a:pt x="5048" y="6153"/>
                    </a:cubicBezTo>
                    <a:cubicBezTo>
                      <a:pt x="5292" y="6151"/>
                      <a:pt x="5292" y="6151"/>
                      <a:pt x="5292" y="6151"/>
                    </a:cubicBezTo>
                    <a:cubicBezTo>
                      <a:pt x="5311" y="6155"/>
                      <a:pt x="5311" y="6155"/>
                      <a:pt x="5311" y="6155"/>
                    </a:cubicBezTo>
                    <a:cubicBezTo>
                      <a:pt x="5316" y="6143"/>
                      <a:pt x="5331" y="6083"/>
                      <a:pt x="5345" y="6026"/>
                    </a:cubicBezTo>
                    <a:cubicBezTo>
                      <a:pt x="5358" y="5970"/>
                      <a:pt x="5370" y="5916"/>
                      <a:pt x="5372" y="5907"/>
                    </a:cubicBezTo>
                    <a:cubicBezTo>
                      <a:pt x="5356" y="5747"/>
                      <a:pt x="5356" y="5747"/>
                      <a:pt x="5356" y="5747"/>
                    </a:cubicBezTo>
                    <a:cubicBezTo>
                      <a:pt x="5347" y="5745"/>
                      <a:pt x="5341" y="5744"/>
                      <a:pt x="5341" y="5744"/>
                    </a:cubicBezTo>
                    <a:cubicBezTo>
                      <a:pt x="5338" y="5743"/>
                      <a:pt x="5220" y="5726"/>
                      <a:pt x="5105" y="5710"/>
                    </a:cubicBezTo>
                    <a:cubicBezTo>
                      <a:pt x="5034" y="5700"/>
                      <a:pt x="4963" y="5689"/>
                      <a:pt x="4919" y="5683"/>
                    </a:cubicBezTo>
                    <a:cubicBezTo>
                      <a:pt x="5037" y="5845"/>
                      <a:pt x="5049" y="6034"/>
                      <a:pt x="5049" y="6121"/>
                    </a:cubicBezTo>
                    <a:close/>
                    <a:moveTo>
                      <a:pt x="5354" y="5733"/>
                    </a:moveTo>
                    <a:cubicBezTo>
                      <a:pt x="5323" y="5432"/>
                      <a:pt x="5323" y="5432"/>
                      <a:pt x="5323" y="5432"/>
                    </a:cubicBezTo>
                    <a:cubicBezTo>
                      <a:pt x="5420" y="4953"/>
                      <a:pt x="5420" y="4953"/>
                      <a:pt x="5420" y="4953"/>
                    </a:cubicBezTo>
                    <a:cubicBezTo>
                      <a:pt x="5367" y="4949"/>
                      <a:pt x="5085" y="4928"/>
                      <a:pt x="5001" y="4925"/>
                    </a:cubicBezTo>
                    <a:cubicBezTo>
                      <a:pt x="4982" y="4952"/>
                      <a:pt x="4963" y="4979"/>
                      <a:pt x="4946" y="5004"/>
                    </a:cubicBezTo>
                    <a:cubicBezTo>
                      <a:pt x="4920" y="5042"/>
                      <a:pt x="4912" y="5074"/>
                      <a:pt x="4912" y="5109"/>
                    </a:cubicBezTo>
                    <a:cubicBezTo>
                      <a:pt x="4912" y="5154"/>
                      <a:pt x="4927" y="5206"/>
                      <a:pt x="4946" y="5271"/>
                    </a:cubicBezTo>
                    <a:cubicBezTo>
                      <a:pt x="4959" y="5318"/>
                      <a:pt x="4965" y="5359"/>
                      <a:pt x="4965" y="5397"/>
                    </a:cubicBezTo>
                    <a:cubicBezTo>
                      <a:pt x="4965" y="5501"/>
                      <a:pt x="4917" y="5571"/>
                      <a:pt x="4872" y="5626"/>
                    </a:cubicBezTo>
                    <a:cubicBezTo>
                      <a:pt x="4885" y="5639"/>
                      <a:pt x="4897" y="5653"/>
                      <a:pt x="4908" y="5667"/>
                    </a:cubicBezTo>
                    <a:cubicBezTo>
                      <a:pt x="5011" y="5682"/>
                      <a:pt x="5336" y="5729"/>
                      <a:pt x="5344" y="5731"/>
                    </a:cubicBezTo>
                    <a:cubicBezTo>
                      <a:pt x="5344" y="5731"/>
                      <a:pt x="5348" y="5731"/>
                      <a:pt x="5354" y="5733"/>
                    </a:cubicBezTo>
                    <a:close/>
                    <a:moveTo>
                      <a:pt x="2700" y="6493"/>
                    </a:moveTo>
                    <a:cubicBezTo>
                      <a:pt x="2714" y="6427"/>
                      <a:pt x="2745" y="6297"/>
                      <a:pt x="2800" y="6209"/>
                    </a:cubicBezTo>
                    <a:cubicBezTo>
                      <a:pt x="2833" y="6157"/>
                      <a:pt x="2888" y="6139"/>
                      <a:pt x="2950" y="6117"/>
                    </a:cubicBezTo>
                    <a:cubicBezTo>
                      <a:pt x="2974" y="6108"/>
                      <a:pt x="3003" y="6101"/>
                      <a:pt x="3034" y="6094"/>
                    </a:cubicBezTo>
                    <a:cubicBezTo>
                      <a:pt x="3022" y="6073"/>
                      <a:pt x="3002" y="6042"/>
                      <a:pt x="2976" y="6008"/>
                    </a:cubicBezTo>
                    <a:cubicBezTo>
                      <a:pt x="2930" y="5949"/>
                      <a:pt x="2865" y="5885"/>
                      <a:pt x="2793" y="5861"/>
                    </a:cubicBezTo>
                    <a:cubicBezTo>
                      <a:pt x="2745" y="5845"/>
                      <a:pt x="2683" y="5827"/>
                      <a:pt x="2621" y="5809"/>
                    </a:cubicBezTo>
                    <a:cubicBezTo>
                      <a:pt x="2400" y="6384"/>
                      <a:pt x="2400" y="6384"/>
                      <a:pt x="2400" y="6384"/>
                    </a:cubicBezTo>
                    <a:lnTo>
                      <a:pt x="2700" y="6493"/>
                    </a:lnTo>
                    <a:close/>
                    <a:moveTo>
                      <a:pt x="2459" y="6475"/>
                    </a:moveTo>
                    <a:cubicBezTo>
                      <a:pt x="2163" y="6765"/>
                      <a:pt x="2163" y="6765"/>
                      <a:pt x="2163" y="6765"/>
                    </a:cubicBezTo>
                    <a:cubicBezTo>
                      <a:pt x="2351" y="6881"/>
                      <a:pt x="2351" y="6881"/>
                      <a:pt x="2351" y="6881"/>
                    </a:cubicBezTo>
                    <a:cubicBezTo>
                      <a:pt x="2481" y="6756"/>
                      <a:pt x="2640" y="6605"/>
                      <a:pt x="2689" y="6558"/>
                    </a:cubicBezTo>
                    <a:lnTo>
                      <a:pt x="2459" y="6475"/>
                    </a:lnTo>
                    <a:close/>
                    <a:moveTo>
                      <a:pt x="2442" y="4576"/>
                    </a:moveTo>
                    <a:cubicBezTo>
                      <a:pt x="2430" y="4606"/>
                      <a:pt x="2391" y="4721"/>
                      <a:pt x="2375" y="4768"/>
                    </a:cubicBezTo>
                    <a:cubicBezTo>
                      <a:pt x="2620" y="4779"/>
                      <a:pt x="2620" y="4779"/>
                      <a:pt x="2620" y="4779"/>
                    </a:cubicBezTo>
                    <a:cubicBezTo>
                      <a:pt x="2582" y="4901"/>
                      <a:pt x="2582" y="4901"/>
                      <a:pt x="2582" y="4901"/>
                    </a:cubicBezTo>
                    <a:cubicBezTo>
                      <a:pt x="2605" y="4905"/>
                      <a:pt x="2664" y="4914"/>
                      <a:pt x="2725" y="4924"/>
                    </a:cubicBezTo>
                    <a:cubicBezTo>
                      <a:pt x="2789" y="4934"/>
                      <a:pt x="2856" y="4944"/>
                      <a:pt x="2875" y="4947"/>
                    </a:cubicBezTo>
                    <a:cubicBezTo>
                      <a:pt x="2891" y="4903"/>
                      <a:pt x="2984" y="4638"/>
                      <a:pt x="3003" y="4584"/>
                    </a:cubicBezTo>
                    <a:cubicBezTo>
                      <a:pt x="2876" y="4540"/>
                      <a:pt x="2876" y="4540"/>
                      <a:pt x="2876" y="4540"/>
                    </a:cubicBezTo>
                    <a:cubicBezTo>
                      <a:pt x="2782" y="4434"/>
                      <a:pt x="2782" y="4434"/>
                      <a:pt x="2782" y="4434"/>
                    </a:cubicBezTo>
                    <a:cubicBezTo>
                      <a:pt x="2696" y="4517"/>
                      <a:pt x="2696" y="4517"/>
                      <a:pt x="2696" y="4517"/>
                    </a:cubicBezTo>
                    <a:cubicBezTo>
                      <a:pt x="2512" y="4570"/>
                      <a:pt x="2512" y="4570"/>
                      <a:pt x="2512" y="4570"/>
                    </a:cubicBezTo>
                    <a:lnTo>
                      <a:pt x="2442" y="4576"/>
                    </a:lnTo>
                    <a:close/>
                    <a:moveTo>
                      <a:pt x="2504" y="4526"/>
                    </a:moveTo>
                    <a:cubicBezTo>
                      <a:pt x="2673" y="4477"/>
                      <a:pt x="2673" y="4477"/>
                      <a:pt x="2673" y="4477"/>
                    </a:cubicBezTo>
                    <a:cubicBezTo>
                      <a:pt x="2765" y="4387"/>
                      <a:pt x="2765" y="4387"/>
                      <a:pt x="2765" y="4387"/>
                    </a:cubicBezTo>
                    <a:cubicBezTo>
                      <a:pt x="2773" y="4366"/>
                      <a:pt x="2773" y="4366"/>
                      <a:pt x="2773" y="4366"/>
                    </a:cubicBezTo>
                    <a:cubicBezTo>
                      <a:pt x="2772" y="4366"/>
                      <a:pt x="2772" y="4366"/>
                      <a:pt x="2772" y="4366"/>
                    </a:cubicBezTo>
                    <a:cubicBezTo>
                      <a:pt x="2765" y="4367"/>
                      <a:pt x="2742" y="4383"/>
                      <a:pt x="2721" y="4402"/>
                    </a:cubicBezTo>
                    <a:cubicBezTo>
                      <a:pt x="2700" y="4421"/>
                      <a:pt x="2679" y="4441"/>
                      <a:pt x="2665" y="4453"/>
                    </a:cubicBezTo>
                    <a:cubicBezTo>
                      <a:pt x="2636" y="4474"/>
                      <a:pt x="2574" y="4480"/>
                      <a:pt x="2524" y="4481"/>
                    </a:cubicBezTo>
                    <a:cubicBezTo>
                      <a:pt x="2514" y="4481"/>
                      <a:pt x="2505" y="4481"/>
                      <a:pt x="2496" y="4480"/>
                    </a:cubicBezTo>
                    <a:cubicBezTo>
                      <a:pt x="2471" y="4478"/>
                      <a:pt x="2455" y="4467"/>
                      <a:pt x="2448" y="4454"/>
                    </a:cubicBezTo>
                    <a:cubicBezTo>
                      <a:pt x="2445" y="4450"/>
                      <a:pt x="2443" y="4446"/>
                      <a:pt x="2442" y="4443"/>
                    </a:cubicBezTo>
                    <a:cubicBezTo>
                      <a:pt x="2424" y="4453"/>
                      <a:pt x="2399" y="4459"/>
                      <a:pt x="2371" y="4463"/>
                    </a:cubicBezTo>
                    <a:cubicBezTo>
                      <a:pt x="2360" y="4490"/>
                      <a:pt x="2349" y="4515"/>
                      <a:pt x="2340" y="4539"/>
                    </a:cubicBezTo>
                    <a:lnTo>
                      <a:pt x="2504" y="4526"/>
                    </a:lnTo>
                    <a:close/>
                    <a:moveTo>
                      <a:pt x="2925" y="4327"/>
                    </a:moveTo>
                    <a:cubicBezTo>
                      <a:pt x="2925" y="4327"/>
                      <a:pt x="2925" y="4327"/>
                      <a:pt x="2925" y="4327"/>
                    </a:cubicBezTo>
                    <a:cubicBezTo>
                      <a:pt x="2922" y="4326"/>
                      <a:pt x="2923" y="4324"/>
                      <a:pt x="2922" y="4324"/>
                    </a:cubicBezTo>
                    <a:cubicBezTo>
                      <a:pt x="2917" y="4318"/>
                      <a:pt x="2904" y="4292"/>
                      <a:pt x="2890" y="4265"/>
                    </a:cubicBezTo>
                    <a:cubicBezTo>
                      <a:pt x="2884" y="4253"/>
                      <a:pt x="2878" y="4241"/>
                      <a:pt x="2873" y="4231"/>
                    </a:cubicBezTo>
                    <a:cubicBezTo>
                      <a:pt x="2830" y="4342"/>
                      <a:pt x="2830" y="4342"/>
                      <a:pt x="2830" y="4342"/>
                    </a:cubicBezTo>
                    <a:cubicBezTo>
                      <a:pt x="2854" y="4346"/>
                      <a:pt x="2883" y="4357"/>
                      <a:pt x="2917" y="4380"/>
                    </a:cubicBezTo>
                    <a:cubicBezTo>
                      <a:pt x="2988" y="4426"/>
                      <a:pt x="3058" y="4435"/>
                      <a:pt x="3117" y="4494"/>
                    </a:cubicBezTo>
                    <a:cubicBezTo>
                      <a:pt x="3171" y="4550"/>
                      <a:pt x="3211" y="4604"/>
                      <a:pt x="3211" y="4605"/>
                    </a:cubicBezTo>
                    <a:cubicBezTo>
                      <a:pt x="3208" y="4607"/>
                      <a:pt x="3208" y="4607"/>
                      <a:pt x="3208" y="4607"/>
                    </a:cubicBezTo>
                    <a:cubicBezTo>
                      <a:pt x="3243" y="4620"/>
                      <a:pt x="3243" y="4620"/>
                      <a:pt x="3243" y="4620"/>
                    </a:cubicBezTo>
                    <a:cubicBezTo>
                      <a:pt x="3329" y="4664"/>
                      <a:pt x="3329" y="4664"/>
                      <a:pt x="3329" y="4664"/>
                    </a:cubicBezTo>
                    <a:cubicBezTo>
                      <a:pt x="3317" y="4646"/>
                      <a:pt x="3301" y="4623"/>
                      <a:pt x="3282" y="4598"/>
                    </a:cubicBezTo>
                    <a:cubicBezTo>
                      <a:pt x="3244" y="4547"/>
                      <a:pt x="3197" y="4489"/>
                      <a:pt x="3165" y="4465"/>
                    </a:cubicBezTo>
                    <a:cubicBezTo>
                      <a:pt x="3099" y="4413"/>
                      <a:pt x="2975" y="4347"/>
                      <a:pt x="2925" y="4327"/>
                    </a:cubicBezTo>
                    <a:close/>
                    <a:moveTo>
                      <a:pt x="3138" y="4131"/>
                    </a:moveTo>
                    <a:cubicBezTo>
                      <a:pt x="3141" y="4125"/>
                      <a:pt x="3141" y="4125"/>
                      <a:pt x="3141" y="4125"/>
                    </a:cubicBezTo>
                    <a:cubicBezTo>
                      <a:pt x="3122" y="4148"/>
                      <a:pt x="3122" y="4148"/>
                      <a:pt x="3122" y="4148"/>
                    </a:cubicBezTo>
                    <a:cubicBezTo>
                      <a:pt x="3221" y="4226"/>
                      <a:pt x="3221" y="4226"/>
                      <a:pt x="3221" y="4226"/>
                    </a:cubicBezTo>
                    <a:cubicBezTo>
                      <a:pt x="3221" y="4226"/>
                      <a:pt x="3221" y="4226"/>
                      <a:pt x="3221" y="4226"/>
                    </a:cubicBezTo>
                    <a:cubicBezTo>
                      <a:pt x="3222" y="4226"/>
                      <a:pt x="3222" y="4226"/>
                      <a:pt x="3222" y="4226"/>
                    </a:cubicBezTo>
                    <a:cubicBezTo>
                      <a:pt x="3255" y="4193"/>
                      <a:pt x="3255" y="4193"/>
                      <a:pt x="3255" y="4193"/>
                    </a:cubicBezTo>
                    <a:lnTo>
                      <a:pt x="3138" y="4131"/>
                    </a:lnTo>
                    <a:close/>
                    <a:moveTo>
                      <a:pt x="3949" y="3904"/>
                    </a:moveTo>
                    <a:cubicBezTo>
                      <a:pt x="3951" y="3902"/>
                      <a:pt x="3951" y="3902"/>
                      <a:pt x="3951" y="3902"/>
                    </a:cubicBezTo>
                    <a:cubicBezTo>
                      <a:pt x="3632" y="4012"/>
                      <a:pt x="3632" y="4012"/>
                      <a:pt x="3632" y="4012"/>
                    </a:cubicBezTo>
                    <a:cubicBezTo>
                      <a:pt x="4233" y="4797"/>
                      <a:pt x="4233" y="4797"/>
                      <a:pt x="4233" y="4797"/>
                    </a:cubicBezTo>
                    <a:cubicBezTo>
                      <a:pt x="4296" y="4710"/>
                      <a:pt x="4296" y="4710"/>
                      <a:pt x="4296" y="4710"/>
                    </a:cubicBezTo>
                    <a:cubicBezTo>
                      <a:pt x="4307" y="4444"/>
                      <a:pt x="4307" y="4444"/>
                      <a:pt x="4307" y="4444"/>
                    </a:cubicBezTo>
                    <a:lnTo>
                      <a:pt x="3949" y="3904"/>
                    </a:lnTo>
                    <a:close/>
                    <a:moveTo>
                      <a:pt x="4289" y="5450"/>
                    </a:moveTo>
                    <a:cubicBezTo>
                      <a:pt x="4301" y="5385"/>
                      <a:pt x="4301" y="5385"/>
                      <a:pt x="4301" y="5385"/>
                    </a:cubicBezTo>
                    <a:cubicBezTo>
                      <a:pt x="4209" y="5224"/>
                      <a:pt x="4209" y="5224"/>
                      <a:pt x="4209" y="5224"/>
                    </a:cubicBezTo>
                    <a:cubicBezTo>
                      <a:pt x="4266" y="5183"/>
                      <a:pt x="4266" y="5183"/>
                      <a:pt x="4266" y="5183"/>
                    </a:cubicBezTo>
                    <a:cubicBezTo>
                      <a:pt x="4174" y="4965"/>
                      <a:pt x="4174" y="4965"/>
                      <a:pt x="4174" y="4965"/>
                    </a:cubicBezTo>
                    <a:cubicBezTo>
                      <a:pt x="4173" y="4966"/>
                      <a:pt x="4172" y="4967"/>
                      <a:pt x="4171" y="4968"/>
                    </a:cubicBezTo>
                    <a:cubicBezTo>
                      <a:pt x="4150" y="4987"/>
                      <a:pt x="4128" y="5009"/>
                      <a:pt x="4113" y="5028"/>
                    </a:cubicBezTo>
                    <a:cubicBezTo>
                      <a:pt x="4076" y="5071"/>
                      <a:pt x="4064" y="5124"/>
                      <a:pt x="4052" y="5157"/>
                    </a:cubicBezTo>
                    <a:cubicBezTo>
                      <a:pt x="4042" y="5188"/>
                      <a:pt x="4011" y="5303"/>
                      <a:pt x="3996" y="5343"/>
                    </a:cubicBezTo>
                    <a:cubicBezTo>
                      <a:pt x="3993" y="5352"/>
                      <a:pt x="3989" y="5363"/>
                      <a:pt x="3985" y="5374"/>
                    </a:cubicBezTo>
                    <a:cubicBezTo>
                      <a:pt x="4007" y="5395"/>
                      <a:pt x="4103" y="5482"/>
                      <a:pt x="4173" y="5545"/>
                    </a:cubicBezTo>
                    <a:cubicBezTo>
                      <a:pt x="4195" y="5565"/>
                      <a:pt x="4214" y="5581"/>
                      <a:pt x="4228" y="5593"/>
                    </a:cubicBezTo>
                    <a:cubicBezTo>
                      <a:pt x="4235" y="5598"/>
                      <a:pt x="4241" y="5603"/>
                      <a:pt x="4245" y="5606"/>
                    </a:cubicBezTo>
                    <a:cubicBezTo>
                      <a:pt x="4247" y="5608"/>
                      <a:pt x="4248" y="5609"/>
                      <a:pt x="4250" y="5610"/>
                    </a:cubicBezTo>
                    <a:cubicBezTo>
                      <a:pt x="4250" y="5611"/>
                      <a:pt x="4251" y="5611"/>
                      <a:pt x="4251" y="5612"/>
                    </a:cubicBezTo>
                    <a:cubicBezTo>
                      <a:pt x="4252" y="5612"/>
                      <a:pt x="4252" y="5613"/>
                      <a:pt x="4253" y="5613"/>
                    </a:cubicBezTo>
                    <a:cubicBezTo>
                      <a:pt x="4253" y="5614"/>
                      <a:pt x="4254" y="5614"/>
                      <a:pt x="4255" y="5615"/>
                    </a:cubicBezTo>
                    <a:cubicBezTo>
                      <a:pt x="4255" y="5616"/>
                      <a:pt x="4255" y="5616"/>
                      <a:pt x="4255" y="5616"/>
                    </a:cubicBezTo>
                    <a:cubicBezTo>
                      <a:pt x="4255" y="5617"/>
                      <a:pt x="4256" y="5617"/>
                      <a:pt x="4256" y="5618"/>
                    </a:cubicBezTo>
                    <a:cubicBezTo>
                      <a:pt x="4260" y="5622"/>
                      <a:pt x="4273" y="5638"/>
                      <a:pt x="4286" y="5657"/>
                    </a:cubicBezTo>
                    <a:cubicBezTo>
                      <a:pt x="4300" y="5678"/>
                      <a:pt x="4315" y="5705"/>
                      <a:pt x="4315" y="5735"/>
                    </a:cubicBezTo>
                    <a:cubicBezTo>
                      <a:pt x="4393" y="5758"/>
                      <a:pt x="4393" y="5758"/>
                      <a:pt x="4393" y="5758"/>
                    </a:cubicBezTo>
                    <a:cubicBezTo>
                      <a:pt x="4392" y="5750"/>
                      <a:pt x="4392" y="5741"/>
                      <a:pt x="4392" y="5730"/>
                    </a:cubicBezTo>
                    <a:cubicBezTo>
                      <a:pt x="4392" y="5670"/>
                      <a:pt x="4395" y="5565"/>
                      <a:pt x="4395" y="5543"/>
                    </a:cubicBezTo>
                    <a:lnTo>
                      <a:pt x="4289" y="5450"/>
                    </a:lnTo>
                    <a:close/>
                    <a:moveTo>
                      <a:pt x="3658" y="5716"/>
                    </a:moveTo>
                    <a:cubicBezTo>
                      <a:pt x="3658" y="5749"/>
                      <a:pt x="3651" y="5786"/>
                      <a:pt x="3637" y="5826"/>
                    </a:cubicBezTo>
                    <a:cubicBezTo>
                      <a:pt x="3635" y="5833"/>
                      <a:pt x="3631" y="5839"/>
                      <a:pt x="3628" y="5846"/>
                    </a:cubicBezTo>
                    <a:cubicBezTo>
                      <a:pt x="3684" y="5868"/>
                      <a:pt x="3684" y="5868"/>
                      <a:pt x="3684" y="5868"/>
                    </a:cubicBezTo>
                    <a:cubicBezTo>
                      <a:pt x="3724" y="5765"/>
                      <a:pt x="3724" y="5765"/>
                      <a:pt x="3724" y="5765"/>
                    </a:cubicBezTo>
                    <a:cubicBezTo>
                      <a:pt x="3725" y="5578"/>
                      <a:pt x="3725" y="5578"/>
                      <a:pt x="3725" y="5578"/>
                    </a:cubicBezTo>
                    <a:cubicBezTo>
                      <a:pt x="3682" y="5591"/>
                      <a:pt x="3646" y="5601"/>
                      <a:pt x="3629" y="5605"/>
                    </a:cubicBezTo>
                    <a:cubicBezTo>
                      <a:pt x="3629" y="5605"/>
                      <a:pt x="3620" y="5590"/>
                      <a:pt x="3620" y="5590"/>
                    </a:cubicBezTo>
                    <a:cubicBezTo>
                      <a:pt x="3616" y="5584"/>
                      <a:pt x="3616" y="5584"/>
                      <a:pt x="3616" y="5584"/>
                    </a:cubicBezTo>
                    <a:cubicBezTo>
                      <a:pt x="3642" y="5622"/>
                      <a:pt x="3658" y="5665"/>
                      <a:pt x="3658" y="5716"/>
                    </a:cubicBezTo>
                    <a:close/>
                    <a:moveTo>
                      <a:pt x="3589" y="5548"/>
                    </a:moveTo>
                    <a:cubicBezTo>
                      <a:pt x="3587" y="5546"/>
                      <a:pt x="3587" y="5546"/>
                      <a:pt x="3587" y="5546"/>
                    </a:cubicBezTo>
                    <a:cubicBezTo>
                      <a:pt x="3593" y="5553"/>
                      <a:pt x="3598" y="5560"/>
                      <a:pt x="3604" y="5567"/>
                    </a:cubicBezTo>
                    <a:cubicBezTo>
                      <a:pt x="3609" y="5566"/>
                      <a:pt x="3609" y="5566"/>
                      <a:pt x="3609" y="5566"/>
                    </a:cubicBezTo>
                    <a:cubicBezTo>
                      <a:pt x="3609" y="5565"/>
                      <a:pt x="3654" y="5553"/>
                      <a:pt x="3712" y="5534"/>
                    </a:cubicBezTo>
                    <a:cubicBezTo>
                      <a:pt x="3764" y="5518"/>
                      <a:pt x="3824" y="5494"/>
                      <a:pt x="3857" y="5470"/>
                    </a:cubicBezTo>
                    <a:cubicBezTo>
                      <a:pt x="3777" y="5206"/>
                      <a:pt x="3777" y="5206"/>
                      <a:pt x="3777" y="5206"/>
                    </a:cubicBezTo>
                    <a:cubicBezTo>
                      <a:pt x="3609" y="5035"/>
                      <a:pt x="3609" y="5035"/>
                      <a:pt x="3609" y="5035"/>
                    </a:cubicBezTo>
                    <a:cubicBezTo>
                      <a:pt x="3481" y="5140"/>
                      <a:pt x="3481" y="5140"/>
                      <a:pt x="3481" y="5140"/>
                    </a:cubicBezTo>
                    <a:lnTo>
                      <a:pt x="3589" y="5548"/>
                    </a:lnTo>
                    <a:close/>
                    <a:moveTo>
                      <a:pt x="3415" y="4436"/>
                    </a:moveTo>
                    <a:cubicBezTo>
                      <a:pt x="3421" y="4426"/>
                      <a:pt x="3421" y="4426"/>
                      <a:pt x="3421" y="4426"/>
                    </a:cubicBezTo>
                    <a:cubicBezTo>
                      <a:pt x="3439" y="4397"/>
                      <a:pt x="3439" y="4397"/>
                      <a:pt x="3439" y="4397"/>
                    </a:cubicBezTo>
                    <a:cubicBezTo>
                      <a:pt x="3345" y="4320"/>
                      <a:pt x="3345" y="4320"/>
                      <a:pt x="3345" y="4320"/>
                    </a:cubicBezTo>
                    <a:cubicBezTo>
                      <a:pt x="3283" y="4397"/>
                      <a:pt x="3283" y="4397"/>
                      <a:pt x="3283" y="4397"/>
                    </a:cubicBezTo>
                    <a:cubicBezTo>
                      <a:pt x="3276" y="4407"/>
                      <a:pt x="3276" y="4407"/>
                      <a:pt x="3276" y="4407"/>
                    </a:cubicBezTo>
                    <a:cubicBezTo>
                      <a:pt x="3262" y="4428"/>
                      <a:pt x="3262" y="4428"/>
                      <a:pt x="3262" y="4428"/>
                    </a:cubicBezTo>
                    <a:cubicBezTo>
                      <a:pt x="3361" y="4508"/>
                      <a:pt x="3361" y="4508"/>
                      <a:pt x="3361" y="4508"/>
                    </a:cubicBezTo>
                    <a:cubicBezTo>
                      <a:pt x="3418" y="4439"/>
                      <a:pt x="3418" y="4439"/>
                      <a:pt x="3418" y="4439"/>
                    </a:cubicBezTo>
                    <a:lnTo>
                      <a:pt x="3415" y="4436"/>
                    </a:lnTo>
                    <a:close/>
                    <a:moveTo>
                      <a:pt x="3349" y="4557"/>
                    </a:moveTo>
                    <a:cubicBezTo>
                      <a:pt x="3349" y="4557"/>
                      <a:pt x="3349" y="4557"/>
                      <a:pt x="3349" y="4557"/>
                    </a:cubicBezTo>
                    <a:cubicBezTo>
                      <a:pt x="3446" y="4636"/>
                      <a:pt x="3446" y="4636"/>
                      <a:pt x="3446" y="4636"/>
                    </a:cubicBezTo>
                    <a:cubicBezTo>
                      <a:pt x="3530" y="4530"/>
                      <a:pt x="3530" y="4530"/>
                      <a:pt x="3530" y="4530"/>
                    </a:cubicBezTo>
                    <a:cubicBezTo>
                      <a:pt x="3433" y="4451"/>
                      <a:pt x="3433" y="4451"/>
                      <a:pt x="3433" y="4451"/>
                    </a:cubicBezTo>
                    <a:lnTo>
                      <a:pt x="3349" y="4557"/>
                    </a:lnTo>
                    <a:close/>
                    <a:moveTo>
                      <a:pt x="3406" y="4712"/>
                    </a:moveTo>
                    <a:cubicBezTo>
                      <a:pt x="3493" y="4822"/>
                      <a:pt x="3493" y="4822"/>
                      <a:pt x="3493" y="4822"/>
                    </a:cubicBezTo>
                    <a:cubicBezTo>
                      <a:pt x="3522" y="4784"/>
                      <a:pt x="3522" y="4784"/>
                      <a:pt x="3522" y="4784"/>
                    </a:cubicBezTo>
                    <a:cubicBezTo>
                      <a:pt x="3520" y="4783"/>
                      <a:pt x="3520" y="4783"/>
                      <a:pt x="3520" y="4783"/>
                    </a:cubicBezTo>
                    <a:cubicBezTo>
                      <a:pt x="3553" y="4743"/>
                      <a:pt x="3553" y="4743"/>
                      <a:pt x="3553" y="4743"/>
                    </a:cubicBezTo>
                    <a:cubicBezTo>
                      <a:pt x="3548" y="4739"/>
                      <a:pt x="3548" y="4739"/>
                      <a:pt x="3548" y="4739"/>
                    </a:cubicBezTo>
                    <a:cubicBezTo>
                      <a:pt x="3549" y="4739"/>
                      <a:pt x="3549" y="4739"/>
                      <a:pt x="3549" y="4739"/>
                    </a:cubicBezTo>
                    <a:cubicBezTo>
                      <a:pt x="3450" y="4657"/>
                      <a:pt x="3450" y="4657"/>
                      <a:pt x="3450" y="4657"/>
                    </a:cubicBezTo>
                    <a:lnTo>
                      <a:pt x="3406" y="4712"/>
                    </a:lnTo>
                    <a:close/>
                    <a:moveTo>
                      <a:pt x="3834" y="5125"/>
                    </a:moveTo>
                    <a:cubicBezTo>
                      <a:pt x="3827" y="5135"/>
                      <a:pt x="3827" y="5135"/>
                      <a:pt x="3827" y="5135"/>
                    </a:cubicBezTo>
                    <a:cubicBezTo>
                      <a:pt x="3819" y="5146"/>
                      <a:pt x="3819" y="5146"/>
                      <a:pt x="3819" y="5146"/>
                    </a:cubicBezTo>
                    <a:cubicBezTo>
                      <a:pt x="3908" y="5218"/>
                      <a:pt x="3908" y="5218"/>
                      <a:pt x="3908" y="5218"/>
                    </a:cubicBezTo>
                    <a:cubicBezTo>
                      <a:pt x="3993" y="5113"/>
                      <a:pt x="3993" y="5113"/>
                      <a:pt x="3993" y="5113"/>
                    </a:cubicBezTo>
                    <a:cubicBezTo>
                      <a:pt x="3900" y="5037"/>
                      <a:pt x="3900" y="5037"/>
                      <a:pt x="3900" y="5037"/>
                    </a:cubicBezTo>
                    <a:cubicBezTo>
                      <a:pt x="3833" y="5124"/>
                      <a:pt x="3833" y="5124"/>
                      <a:pt x="3833" y="5124"/>
                    </a:cubicBezTo>
                    <a:lnTo>
                      <a:pt x="3834" y="5125"/>
                    </a:lnTo>
                    <a:close/>
                    <a:moveTo>
                      <a:pt x="3899" y="5003"/>
                    </a:moveTo>
                    <a:cubicBezTo>
                      <a:pt x="3805" y="4923"/>
                      <a:pt x="3805" y="4923"/>
                      <a:pt x="3805" y="4923"/>
                    </a:cubicBezTo>
                    <a:cubicBezTo>
                      <a:pt x="3735" y="5013"/>
                      <a:pt x="3735" y="5013"/>
                      <a:pt x="3735" y="5013"/>
                    </a:cubicBezTo>
                    <a:cubicBezTo>
                      <a:pt x="3734" y="5016"/>
                      <a:pt x="3734" y="5016"/>
                      <a:pt x="3734" y="5016"/>
                    </a:cubicBezTo>
                    <a:cubicBezTo>
                      <a:pt x="3725" y="5032"/>
                      <a:pt x="3725" y="5032"/>
                      <a:pt x="3725" y="5032"/>
                    </a:cubicBezTo>
                    <a:cubicBezTo>
                      <a:pt x="3820" y="5113"/>
                      <a:pt x="3820" y="5113"/>
                      <a:pt x="3820" y="5113"/>
                    </a:cubicBezTo>
                    <a:cubicBezTo>
                      <a:pt x="3887" y="5027"/>
                      <a:pt x="3887" y="5027"/>
                      <a:pt x="3887" y="5027"/>
                    </a:cubicBezTo>
                    <a:cubicBezTo>
                      <a:pt x="3884" y="5025"/>
                      <a:pt x="3884" y="5025"/>
                      <a:pt x="3884" y="5025"/>
                    </a:cubicBezTo>
                    <a:cubicBezTo>
                      <a:pt x="3891" y="5014"/>
                      <a:pt x="3891" y="5014"/>
                      <a:pt x="3891" y="5014"/>
                    </a:cubicBezTo>
                    <a:lnTo>
                      <a:pt x="3899" y="5003"/>
                    </a:lnTo>
                    <a:close/>
                    <a:moveTo>
                      <a:pt x="3806" y="4886"/>
                    </a:moveTo>
                    <a:cubicBezTo>
                      <a:pt x="3711" y="4805"/>
                      <a:pt x="3711" y="4805"/>
                      <a:pt x="3711" y="4805"/>
                    </a:cubicBezTo>
                    <a:cubicBezTo>
                      <a:pt x="3654" y="4877"/>
                      <a:pt x="3654" y="4877"/>
                      <a:pt x="3654" y="4877"/>
                    </a:cubicBezTo>
                    <a:cubicBezTo>
                      <a:pt x="3654" y="4877"/>
                      <a:pt x="3654" y="4877"/>
                      <a:pt x="3654" y="4877"/>
                    </a:cubicBezTo>
                    <a:cubicBezTo>
                      <a:pt x="3647" y="4888"/>
                      <a:pt x="3647" y="4888"/>
                      <a:pt x="3647" y="4888"/>
                    </a:cubicBezTo>
                    <a:cubicBezTo>
                      <a:pt x="3629" y="4913"/>
                      <a:pt x="3629" y="4913"/>
                      <a:pt x="3629" y="4913"/>
                    </a:cubicBezTo>
                    <a:cubicBezTo>
                      <a:pt x="3727" y="4997"/>
                      <a:pt x="3727" y="4997"/>
                      <a:pt x="3727" y="4997"/>
                    </a:cubicBezTo>
                    <a:cubicBezTo>
                      <a:pt x="3730" y="4993"/>
                      <a:pt x="3730" y="4993"/>
                      <a:pt x="3730" y="4993"/>
                    </a:cubicBezTo>
                    <a:cubicBezTo>
                      <a:pt x="3793" y="4911"/>
                      <a:pt x="3793" y="4911"/>
                      <a:pt x="3793" y="4911"/>
                    </a:cubicBezTo>
                    <a:cubicBezTo>
                      <a:pt x="3798" y="4902"/>
                      <a:pt x="3798" y="4902"/>
                      <a:pt x="3798" y="4902"/>
                    </a:cubicBezTo>
                    <a:lnTo>
                      <a:pt x="3806" y="4886"/>
                    </a:lnTo>
                    <a:close/>
                    <a:moveTo>
                      <a:pt x="3719" y="4755"/>
                    </a:moveTo>
                    <a:cubicBezTo>
                      <a:pt x="3627" y="4677"/>
                      <a:pt x="3627" y="4677"/>
                      <a:pt x="3627" y="4677"/>
                    </a:cubicBezTo>
                    <a:cubicBezTo>
                      <a:pt x="3543" y="4784"/>
                      <a:pt x="3543" y="4784"/>
                      <a:pt x="3543" y="4784"/>
                    </a:cubicBezTo>
                    <a:cubicBezTo>
                      <a:pt x="3640" y="4866"/>
                      <a:pt x="3640" y="4866"/>
                      <a:pt x="3640" y="4866"/>
                    </a:cubicBezTo>
                    <a:cubicBezTo>
                      <a:pt x="3698" y="4794"/>
                      <a:pt x="3698" y="4794"/>
                      <a:pt x="3698" y="4794"/>
                    </a:cubicBezTo>
                    <a:cubicBezTo>
                      <a:pt x="3694" y="4791"/>
                      <a:pt x="3694" y="4791"/>
                      <a:pt x="3694" y="4791"/>
                    </a:cubicBezTo>
                    <a:cubicBezTo>
                      <a:pt x="3702" y="4780"/>
                      <a:pt x="3702" y="4780"/>
                      <a:pt x="3702" y="4780"/>
                    </a:cubicBezTo>
                    <a:lnTo>
                      <a:pt x="3719" y="4755"/>
                    </a:lnTo>
                    <a:close/>
                    <a:moveTo>
                      <a:pt x="3503" y="4835"/>
                    </a:moveTo>
                    <a:cubicBezTo>
                      <a:pt x="3585" y="4939"/>
                      <a:pt x="3585" y="4939"/>
                      <a:pt x="3585" y="4939"/>
                    </a:cubicBezTo>
                    <a:cubicBezTo>
                      <a:pt x="3632" y="4879"/>
                      <a:pt x="3632" y="4879"/>
                      <a:pt x="3632" y="4879"/>
                    </a:cubicBezTo>
                    <a:cubicBezTo>
                      <a:pt x="3630" y="4877"/>
                      <a:pt x="3630" y="4877"/>
                      <a:pt x="3630" y="4877"/>
                    </a:cubicBezTo>
                    <a:cubicBezTo>
                      <a:pt x="3631" y="4877"/>
                      <a:pt x="3631" y="4877"/>
                      <a:pt x="3631" y="4877"/>
                    </a:cubicBezTo>
                    <a:cubicBezTo>
                      <a:pt x="3535" y="4795"/>
                      <a:pt x="3535" y="4795"/>
                      <a:pt x="3535" y="4795"/>
                    </a:cubicBezTo>
                    <a:lnTo>
                      <a:pt x="3503" y="4835"/>
                    </a:lnTo>
                    <a:close/>
                    <a:moveTo>
                      <a:pt x="3595" y="4952"/>
                    </a:moveTo>
                    <a:cubicBezTo>
                      <a:pt x="3615" y="4977"/>
                      <a:pt x="3615" y="4977"/>
                      <a:pt x="3615" y="4977"/>
                    </a:cubicBezTo>
                    <a:cubicBezTo>
                      <a:pt x="3687" y="5050"/>
                      <a:pt x="3687" y="5050"/>
                      <a:pt x="3687" y="5050"/>
                    </a:cubicBezTo>
                    <a:cubicBezTo>
                      <a:pt x="3718" y="5009"/>
                      <a:pt x="3718" y="5009"/>
                      <a:pt x="3718" y="5009"/>
                    </a:cubicBezTo>
                    <a:cubicBezTo>
                      <a:pt x="3717" y="5009"/>
                      <a:pt x="3717" y="5009"/>
                      <a:pt x="3717" y="5009"/>
                    </a:cubicBezTo>
                    <a:cubicBezTo>
                      <a:pt x="3718" y="5007"/>
                      <a:pt x="3718" y="5007"/>
                      <a:pt x="3718" y="5007"/>
                    </a:cubicBezTo>
                    <a:cubicBezTo>
                      <a:pt x="3619" y="4922"/>
                      <a:pt x="3619" y="4922"/>
                      <a:pt x="3619" y="4922"/>
                    </a:cubicBezTo>
                    <a:lnTo>
                      <a:pt x="3595" y="4952"/>
                    </a:lnTo>
                    <a:close/>
                    <a:moveTo>
                      <a:pt x="3698" y="5061"/>
                    </a:moveTo>
                    <a:cubicBezTo>
                      <a:pt x="3789" y="5154"/>
                      <a:pt x="3789" y="5154"/>
                      <a:pt x="3789" y="5154"/>
                    </a:cubicBezTo>
                    <a:cubicBezTo>
                      <a:pt x="3812" y="5124"/>
                      <a:pt x="3812" y="5124"/>
                      <a:pt x="3812" y="5124"/>
                    </a:cubicBezTo>
                    <a:cubicBezTo>
                      <a:pt x="3714" y="5041"/>
                      <a:pt x="3714" y="5041"/>
                      <a:pt x="3714" y="5041"/>
                    </a:cubicBezTo>
                    <a:lnTo>
                      <a:pt x="3698" y="5061"/>
                    </a:lnTo>
                    <a:close/>
                    <a:moveTo>
                      <a:pt x="3801" y="5165"/>
                    </a:moveTo>
                    <a:cubicBezTo>
                      <a:pt x="3817" y="5182"/>
                      <a:pt x="3817" y="5182"/>
                      <a:pt x="3817" y="5182"/>
                    </a:cubicBezTo>
                    <a:cubicBezTo>
                      <a:pt x="3894" y="5436"/>
                      <a:pt x="3894" y="5436"/>
                      <a:pt x="3894" y="5436"/>
                    </a:cubicBezTo>
                    <a:cubicBezTo>
                      <a:pt x="3934" y="5392"/>
                      <a:pt x="3941" y="5361"/>
                      <a:pt x="3954" y="5327"/>
                    </a:cubicBezTo>
                    <a:cubicBezTo>
                      <a:pt x="3967" y="5292"/>
                      <a:pt x="3998" y="5176"/>
                      <a:pt x="4010" y="5143"/>
                    </a:cubicBezTo>
                    <a:cubicBezTo>
                      <a:pt x="4015" y="5128"/>
                      <a:pt x="4021" y="5104"/>
                      <a:pt x="4032" y="5078"/>
                    </a:cubicBezTo>
                    <a:cubicBezTo>
                      <a:pt x="4012" y="5061"/>
                      <a:pt x="3970" y="5025"/>
                      <a:pt x="3934" y="4993"/>
                    </a:cubicBezTo>
                    <a:cubicBezTo>
                      <a:pt x="3908" y="5026"/>
                      <a:pt x="3908" y="5026"/>
                      <a:pt x="3908" y="5026"/>
                    </a:cubicBezTo>
                    <a:cubicBezTo>
                      <a:pt x="4012" y="5111"/>
                      <a:pt x="4012" y="5111"/>
                      <a:pt x="4012" y="5111"/>
                    </a:cubicBezTo>
                    <a:cubicBezTo>
                      <a:pt x="3910" y="5238"/>
                      <a:pt x="3910" y="5238"/>
                      <a:pt x="3910" y="5238"/>
                    </a:cubicBezTo>
                    <a:cubicBezTo>
                      <a:pt x="3809" y="5156"/>
                      <a:pt x="3809" y="5156"/>
                      <a:pt x="3809" y="5156"/>
                    </a:cubicBezTo>
                    <a:lnTo>
                      <a:pt x="3801" y="5165"/>
                    </a:lnTo>
                    <a:close/>
                    <a:moveTo>
                      <a:pt x="3921" y="4982"/>
                    </a:moveTo>
                    <a:cubicBezTo>
                      <a:pt x="3892" y="4956"/>
                      <a:pt x="3868" y="4935"/>
                      <a:pt x="3868" y="4935"/>
                    </a:cubicBezTo>
                    <a:cubicBezTo>
                      <a:pt x="3864" y="4932"/>
                      <a:pt x="3864" y="4932"/>
                      <a:pt x="3864" y="4932"/>
                    </a:cubicBezTo>
                    <a:cubicBezTo>
                      <a:pt x="3839" y="4879"/>
                      <a:pt x="3839" y="4879"/>
                      <a:pt x="3839" y="4879"/>
                    </a:cubicBezTo>
                    <a:cubicBezTo>
                      <a:pt x="3813" y="4912"/>
                      <a:pt x="3813" y="4912"/>
                      <a:pt x="3813" y="4912"/>
                    </a:cubicBezTo>
                    <a:cubicBezTo>
                      <a:pt x="3912" y="4995"/>
                      <a:pt x="3912" y="4995"/>
                      <a:pt x="3912" y="4995"/>
                    </a:cubicBezTo>
                    <a:lnTo>
                      <a:pt x="3921" y="4982"/>
                    </a:lnTo>
                    <a:close/>
                    <a:moveTo>
                      <a:pt x="3831" y="4862"/>
                    </a:moveTo>
                    <a:cubicBezTo>
                      <a:pt x="3768" y="4731"/>
                      <a:pt x="3768" y="4731"/>
                      <a:pt x="3768" y="4731"/>
                    </a:cubicBezTo>
                    <a:cubicBezTo>
                      <a:pt x="3719" y="4794"/>
                      <a:pt x="3719" y="4794"/>
                      <a:pt x="3719" y="4794"/>
                    </a:cubicBezTo>
                    <a:cubicBezTo>
                      <a:pt x="3818" y="4878"/>
                      <a:pt x="3818" y="4878"/>
                      <a:pt x="3818" y="4878"/>
                    </a:cubicBezTo>
                    <a:lnTo>
                      <a:pt x="3831" y="4862"/>
                    </a:lnTo>
                    <a:close/>
                    <a:moveTo>
                      <a:pt x="3763" y="4719"/>
                    </a:moveTo>
                    <a:cubicBezTo>
                      <a:pt x="3726" y="4640"/>
                      <a:pt x="3726" y="4640"/>
                      <a:pt x="3726" y="4640"/>
                    </a:cubicBezTo>
                    <a:cubicBezTo>
                      <a:pt x="3718" y="4635"/>
                      <a:pt x="3701" y="4622"/>
                      <a:pt x="3681" y="4608"/>
                    </a:cubicBezTo>
                    <a:cubicBezTo>
                      <a:pt x="3635" y="4666"/>
                      <a:pt x="3635" y="4666"/>
                      <a:pt x="3635" y="4666"/>
                    </a:cubicBezTo>
                    <a:cubicBezTo>
                      <a:pt x="3733" y="4749"/>
                      <a:pt x="3733" y="4749"/>
                      <a:pt x="3733" y="4749"/>
                    </a:cubicBezTo>
                    <a:cubicBezTo>
                      <a:pt x="3759" y="4716"/>
                      <a:pt x="3759" y="4716"/>
                      <a:pt x="3759" y="4716"/>
                    </a:cubicBezTo>
                    <a:lnTo>
                      <a:pt x="3763" y="4719"/>
                    </a:lnTo>
                    <a:close/>
                    <a:moveTo>
                      <a:pt x="3668" y="4598"/>
                    </a:moveTo>
                    <a:cubicBezTo>
                      <a:pt x="3657" y="4590"/>
                      <a:pt x="3647" y="4583"/>
                      <a:pt x="3636" y="4575"/>
                    </a:cubicBezTo>
                    <a:cubicBezTo>
                      <a:pt x="3613" y="4558"/>
                      <a:pt x="3589" y="4540"/>
                      <a:pt x="3571" y="4528"/>
                    </a:cubicBezTo>
                    <a:cubicBezTo>
                      <a:pt x="3567" y="4525"/>
                      <a:pt x="3563" y="4522"/>
                      <a:pt x="3560" y="4519"/>
                    </a:cubicBezTo>
                    <a:cubicBezTo>
                      <a:pt x="3551" y="4530"/>
                      <a:pt x="3551" y="4530"/>
                      <a:pt x="3551" y="4530"/>
                    </a:cubicBezTo>
                    <a:cubicBezTo>
                      <a:pt x="3655" y="4614"/>
                      <a:pt x="3655" y="4614"/>
                      <a:pt x="3655" y="4614"/>
                    </a:cubicBezTo>
                    <a:lnTo>
                      <a:pt x="3668" y="4598"/>
                    </a:lnTo>
                    <a:close/>
                    <a:moveTo>
                      <a:pt x="3543" y="4541"/>
                    </a:moveTo>
                    <a:cubicBezTo>
                      <a:pt x="3458" y="4647"/>
                      <a:pt x="3458" y="4647"/>
                      <a:pt x="3458" y="4647"/>
                    </a:cubicBezTo>
                    <a:cubicBezTo>
                      <a:pt x="3558" y="4728"/>
                      <a:pt x="3558" y="4728"/>
                      <a:pt x="3558" y="4728"/>
                    </a:cubicBezTo>
                    <a:cubicBezTo>
                      <a:pt x="3610" y="4663"/>
                      <a:pt x="3610" y="4663"/>
                      <a:pt x="3610" y="4663"/>
                    </a:cubicBezTo>
                    <a:cubicBezTo>
                      <a:pt x="3603" y="4658"/>
                      <a:pt x="3603" y="4658"/>
                      <a:pt x="3603" y="4658"/>
                    </a:cubicBezTo>
                    <a:cubicBezTo>
                      <a:pt x="3612" y="4647"/>
                      <a:pt x="3612" y="4647"/>
                      <a:pt x="3612" y="4647"/>
                    </a:cubicBezTo>
                    <a:cubicBezTo>
                      <a:pt x="3636" y="4617"/>
                      <a:pt x="3636" y="4617"/>
                      <a:pt x="3636" y="4617"/>
                    </a:cubicBezTo>
                    <a:lnTo>
                      <a:pt x="3543" y="4541"/>
                    </a:lnTo>
                    <a:close/>
                    <a:moveTo>
                      <a:pt x="3546" y="4510"/>
                    </a:moveTo>
                    <a:cubicBezTo>
                      <a:pt x="3545" y="4509"/>
                      <a:pt x="3544" y="4508"/>
                      <a:pt x="3543" y="4508"/>
                    </a:cubicBezTo>
                    <a:cubicBezTo>
                      <a:pt x="3543" y="4508"/>
                      <a:pt x="3543" y="4508"/>
                      <a:pt x="3543" y="4508"/>
                    </a:cubicBezTo>
                    <a:cubicBezTo>
                      <a:pt x="3540" y="4506"/>
                      <a:pt x="3539" y="4505"/>
                      <a:pt x="3538" y="4504"/>
                    </a:cubicBezTo>
                    <a:cubicBezTo>
                      <a:pt x="3533" y="4499"/>
                      <a:pt x="3534" y="4499"/>
                      <a:pt x="3533" y="4498"/>
                    </a:cubicBezTo>
                    <a:cubicBezTo>
                      <a:pt x="3528" y="4488"/>
                      <a:pt x="3506" y="4439"/>
                      <a:pt x="3483" y="4389"/>
                    </a:cubicBezTo>
                    <a:cubicBezTo>
                      <a:pt x="3442" y="4441"/>
                      <a:pt x="3442" y="4441"/>
                      <a:pt x="3442" y="4441"/>
                    </a:cubicBezTo>
                    <a:cubicBezTo>
                      <a:pt x="3539" y="4519"/>
                      <a:pt x="3539" y="4519"/>
                      <a:pt x="3539" y="4519"/>
                    </a:cubicBezTo>
                    <a:lnTo>
                      <a:pt x="3546" y="4510"/>
                    </a:lnTo>
                    <a:close/>
                    <a:moveTo>
                      <a:pt x="3475" y="4373"/>
                    </a:moveTo>
                    <a:cubicBezTo>
                      <a:pt x="3459" y="4337"/>
                      <a:pt x="3445" y="4305"/>
                      <a:pt x="3439" y="4291"/>
                    </a:cubicBezTo>
                    <a:cubicBezTo>
                      <a:pt x="3389" y="4265"/>
                      <a:pt x="3389" y="4265"/>
                      <a:pt x="3389" y="4265"/>
                    </a:cubicBezTo>
                    <a:cubicBezTo>
                      <a:pt x="3353" y="4310"/>
                      <a:pt x="3353" y="4310"/>
                      <a:pt x="3353" y="4310"/>
                    </a:cubicBezTo>
                    <a:cubicBezTo>
                      <a:pt x="3457" y="4394"/>
                      <a:pt x="3457" y="4394"/>
                      <a:pt x="3457" y="4394"/>
                    </a:cubicBezTo>
                    <a:cubicBezTo>
                      <a:pt x="3453" y="4400"/>
                      <a:pt x="3453" y="4400"/>
                      <a:pt x="3453" y="4400"/>
                    </a:cubicBezTo>
                    <a:lnTo>
                      <a:pt x="3475" y="4373"/>
                    </a:lnTo>
                    <a:close/>
                    <a:moveTo>
                      <a:pt x="3374" y="4257"/>
                    </a:moveTo>
                    <a:cubicBezTo>
                      <a:pt x="3295" y="4214"/>
                      <a:pt x="3295" y="4214"/>
                      <a:pt x="3295" y="4214"/>
                    </a:cubicBezTo>
                    <a:cubicBezTo>
                      <a:pt x="3364" y="4270"/>
                      <a:pt x="3364" y="4270"/>
                      <a:pt x="3364" y="4270"/>
                    </a:cubicBezTo>
                    <a:lnTo>
                      <a:pt x="3374" y="4257"/>
                    </a:lnTo>
                    <a:close/>
                    <a:moveTo>
                      <a:pt x="3268" y="4211"/>
                    </a:moveTo>
                    <a:cubicBezTo>
                      <a:pt x="3183" y="4316"/>
                      <a:pt x="3183" y="4316"/>
                      <a:pt x="3183" y="4316"/>
                    </a:cubicBezTo>
                    <a:cubicBezTo>
                      <a:pt x="3271" y="4386"/>
                      <a:pt x="3271" y="4386"/>
                      <a:pt x="3271" y="4386"/>
                    </a:cubicBezTo>
                    <a:cubicBezTo>
                      <a:pt x="3332" y="4310"/>
                      <a:pt x="3332" y="4310"/>
                      <a:pt x="3332" y="4310"/>
                    </a:cubicBezTo>
                    <a:cubicBezTo>
                      <a:pt x="3327" y="4306"/>
                      <a:pt x="3327" y="4306"/>
                      <a:pt x="3327" y="4306"/>
                    </a:cubicBezTo>
                    <a:cubicBezTo>
                      <a:pt x="3334" y="4295"/>
                      <a:pt x="3334" y="4295"/>
                      <a:pt x="3334" y="4295"/>
                    </a:cubicBezTo>
                    <a:cubicBezTo>
                      <a:pt x="3348" y="4275"/>
                      <a:pt x="3348" y="4275"/>
                      <a:pt x="3348" y="4275"/>
                    </a:cubicBezTo>
                    <a:lnTo>
                      <a:pt x="3268" y="4211"/>
                    </a:lnTo>
                    <a:close/>
                    <a:moveTo>
                      <a:pt x="3221" y="4244"/>
                    </a:moveTo>
                    <a:cubicBezTo>
                      <a:pt x="3218" y="4242"/>
                      <a:pt x="3218" y="4242"/>
                      <a:pt x="3218" y="4242"/>
                    </a:cubicBezTo>
                    <a:cubicBezTo>
                      <a:pt x="3169" y="4305"/>
                      <a:pt x="3169" y="4305"/>
                      <a:pt x="3169" y="4305"/>
                    </a:cubicBezTo>
                    <a:cubicBezTo>
                      <a:pt x="3171" y="4306"/>
                      <a:pt x="3171" y="4306"/>
                      <a:pt x="3171" y="4306"/>
                    </a:cubicBezTo>
                    <a:lnTo>
                      <a:pt x="3221" y="4244"/>
                    </a:lnTo>
                    <a:close/>
                    <a:moveTo>
                      <a:pt x="3110" y="4407"/>
                    </a:moveTo>
                    <a:cubicBezTo>
                      <a:pt x="3134" y="4422"/>
                      <a:pt x="3157" y="4437"/>
                      <a:pt x="3175" y="4452"/>
                    </a:cubicBezTo>
                    <a:cubicBezTo>
                      <a:pt x="3183" y="4458"/>
                      <a:pt x="3191" y="4466"/>
                      <a:pt x="3200" y="4474"/>
                    </a:cubicBezTo>
                    <a:cubicBezTo>
                      <a:pt x="3262" y="4397"/>
                      <a:pt x="3262" y="4397"/>
                      <a:pt x="3262" y="4397"/>
                    </a:cubicBezTo>
                    <a:cubicBezTo>
                      <a:pt x="3175" y="4327"/>
                      <a:pt x="3175" y="4327"/>
                      <a:pt x="3175" y="4327"/>
                    </a:cubicBezTo>
                    <a:lnTo>
                      <a:pt x="3110" y="4407"/>
                    </a:lnTo>
                    <a:close/>
                    <a:moveTo>
                      <a:pt x="3212" y="4486"/>
                    </a:moveTo>
                    <a:cubicBezTo>
                      <a:pt x="3240" y="4517"/>
                      <a:pt x="3272" y="4557"/>
                      <a:pt x="3299" y="4593"/>
                    </a:cubicBezTo>
                    <a:cubicBezTo>
                      <a:pt x="3349" y="4531"/>
                      <a:pt x="3349" y="4531"/>
                      <a:pt x="3349" y="4531"/>
                    </a:cubicBezTo>
                    <a:cubicBezTo>
                      <a:pt x="3354" y="4522"/>
                      <a:pt x="3354" y="4522"/>
                      <a:pt x="3354" y="4522"/>
                    </a:cubicBezTo>
                    <a:cubicBezTo>
                      <a:pt x="3351" y="4520"/>
                      <a:pt x="3351" y="4520"/>
                      <a:pt x="3351" y="4520"/>
                    </a:cubicBezTo>
                    <a:cubicBezTo>
                      <a:pt x="3353" y="4519"/>
                      <a:pt x="3353" y="4519"/>
                      <a:pt x="3353" y="4519"/>
                    </a:cubicBezTo>
                    <a:cubicBezTo>
                      <a:pt x="3251" y="4437"/>
                      <a:pt x="3251" y="4437"/>
                      <a:pt x="3251" y="4437"/>
                    </a:cubicBezTo>
                    <a:lnTo>
                      <a:pt x="3212" y="4486"/>
                    </a:lnTo>
                    <a:close/>
                    <a:moveTo>
                      <a:pt x="3309" y="4607"/>
                    </a:moveTo>
                    <a:cubicBezTo>
                      <a:pt x="3333" y="4640"/>
                      <a:pt x="3352" y="4667"/>
                      <a:pt x="3359" y="4679"/>
                    </a:cubicBezTo>
                    <a:cubicBezTo>
                      <a:pt x="3395" y="4697"/>
                      <a:pt x="3395" y="4697"/>
                      <a:pt x="3395" y="4697"/>
                    </a:cubicBezTo>
                    <a:cubicBezTo>
                      <a:pt x="3396" y="4699"/>
                      <a:pt x="3396" y="4699"/>
                      <a:pt x="3396" y="4699"/>
                    </a:cubicBezTo>
                    <a:cubicBezTo>
                      <a:pt x="3437" y="4647"/>
                      <a:pt x="3437" y="4647"/>
                      <a:pt x="3437" y="4647"/>
                    </a:cubicBezTo>
                    <a:cubicBezTo>
                      <a:pt x="3340" y="4568"/>
                      <a:pt x="3340" y="4568"/>
                      <a:pt x="3340" y="4568"/>
                    </a:cubicBezTo>
                    <a:lnTo>
                      <a:pt x="3309" y="4607"/>
                    </a:lnTo>
                    <a:close/>
                    <a:moveTo>
                      <a:pt x="3225" y="4661"/>
                    </a:moveTo>
                    <a:cubicBezTo>
                      <a:pt x="3018" y="4589"/>
                      <a:pt x="3018" y="4589"/>
                      <a:pt x="3018" y="4589"/>
                    </a:cubicBezTo>
                    <a:cubicBezTo>
                      <a:pt x="3008" y="4619"/>
                      <a:pt x="2976" y="4710"/>
                      <a:pt x="2946" y="4796"/>
                    </a:cubicBezTo>
                    <a:cubicBezTo>
                      <a:pt x="3184" y="4876"/>
                      <a:pt x="3184" y="4876"/>
                      <a:pt x="3184" y="4876"/>
                    </a:cubicBezTo>
                    <a:cubicBezTo>
                      <a:pt x="3124" y="5026"/>
                      <a:pt x="3124" y="5026"/>
                      <a:pt x="3124" y="5026"/>
                    </a:cubicBezTo>
                    <a:cubicBezTo>
                      <a:pt x="3342" y="5109"/>
                      <a:pt x="3342" y="5109"/>
                      <a:pt x="3342" y="5109"/>
                    </a:cubicBezTo>
                    <a:cubicBezTo>
                      <a:pt x="3351" y="5091"/>
                      <a:pt x="3377" y="5038"/>
                      <a:pt x="3404" y="4985"/>
                    </a:cubicBezTo>
                    <a:cubicBezTo>
                      <a:pt x="3420" y="4952"/>
                      <a:pt x="3437" y="4919"/>
                      <a:pt x="3450" y="4894"/>
                    </a:cubicBezTo>
                    <a:cubicBezTo>
                      <a:pt x="3456" y="4882"/>
                      <a:pt x="3462" y="4872"/>
                      <a:pt x="3466" y="4864"/>
                    </a:cubicBezTo>
                    <a:cubicBezTo>
                      <a:pt x="3466" y="4863"/>
                      <a:pt x="3467" y="4863"/>
                      <a:pt x="3467" y="4862"/>
                    </a:cubicBezTo>
                    <a:cubicBezTo>
                      <a:pt x="3365" y="4733"/>
                      <a:pt x="3365" y="4733"/>
                      <a:pt x="3365" y="4733"/>
                    </a:cubicBezTo>
                    <a:lnTo>
                      <a:pt x="3225" y="4661"/>
                    </a:lnTo>
                    <a:close/>
                    <a:moveTo>
                      <a:pt x="2940" y="4811"/>
                    </a:moveTo>
                    <a:cubicBezTo>
                      <a:pt x="2913" y="4889"/>
                      <a:pt x="2889" y="4958"/>
                      <a:pt x="2888" y="4959"/>
                    </a:cubicBezTo>
                    <a:cubicBezTo>
                      <a:pt x="2886" y="4964"/>
                      <a:pt x="2886" y="4964"/>
                      <a:pt x="2886" y="4964"/>
                    </a:cubicBezTo>
                    <a:cubicBezTo>
                      <a:pt x="2881" y="4964"/>
                      <a:pt x="2881" y="4964"/>
                      <a:pt x="2881" y="4964"/>
                    </a:cubicBezTo>
                    <a:cubicBezTo>
                      <a:pt x="2881" y="4964"/>
                      <a:pt x="2881" y="4964"/>
                      <a:pt x="2881" y="4964"/>
                    </a:cubicBezTo>
                    <a:cubicBezTo>
                      <a:pt x="2879" y="4964"/>
                      <a:pt x="2871" y="4962"/>
                      <a:pt x="2858" y="4961"/>
                    </a:cubicBezTo>
                    <a:cubicBezTo>
                      <a:pt x="2882" y="5199"/>
                      <a:pt x="2882" y="5199"/>
                      <a:pt x="2882" y="5199"/>
                    </a:cubicBezTo>
                    <a:cubicBezTo>
                      <a:pt x="2984" y="5221"/>
                      <a:pt x="3065" y="5247"/>
                      <a:pt x="3152" y="5273"/>
                    </a:cubicBezTo>
                    <a:cubicBezTo>
                      <a:pt x="3182" y="5282"/>
                      <a:pt x="3212" y="5294"/>
                      <a:pt x="3243" y="5308"/>
                    </a:cubicBezTo>
                    <a:cubicBezTo>
                      <a:pt x="3336" y="5125"/>
                      <a:pt x="3336" y="5125"/>
                      <a:pt x="3336" y="5125"/>
                    </a:cubicBezTo>
                    <a:cubicBezTo>
                      <a:pt x="3102" y="5035"/>
                      <a:pt x="3102" y="5035"/>
                      <a:pt x="3102" y="5035"/>
                    </a:cubicBezTo>
                    <a:cubicBezTo>
                      <a:pt x="3162" y="4886"/>
                      <a:pt x="3162" y="4886"/>
                      <a:pt x="3162" y="4886"/>
                    </a:cubicBezTo>
                    <a:lnTo>
                      <a:pt x="2940" y="4811"/>
                    </a:lnTo>
                    <a:close/>
                    <a:moveTo>
                      <a:pt x="3255" y="5314"/>
                    </a:moveTo>
                    <a:cubicBezTo>
                      <a:pt x="3379" y="5372"/>
                      <a:pt x="3500" y="5460"/>
                      <a:pt x="3561" y="5520"/>
                    </a:cubicBezTo>
                    <a:cubicBezTo>
                      <a:pt x="3562" y="5521"/>
                      <a:pt x="3563" y="5522"/>
                      <a:pt x="3564" y="5523"/>
                    </a:cubicBezTo>
                    <a:cubicBezTo>
                      <a:pt x="3463" y="5134"/>
                      <a:pt x="3463" y="5134"/>
                      <a:pt x="3463" y="5134"/>
                    </a:cubicBezTo>
                    <a:cubicBezTo>
                      <a:pt x="3598" y="5024"/>
                      <a:pt x="3598" y="5024"/>
                      <a:pt x="3598" y="5024"/>
                    </a:cubicBezTo>
                    <a:cubicBezTo>
                      <a:pt x="3582" y="5007"/>
                      <a:pt x="3582" y="5007"/>
                      <a:pt x="3582" y="5007"/>
                    </a:cubicBezTo>
                    <a:cubicBezTo>
                      <a:pt x="3478" y="4876"/>
                      <a:pt x="3478" y="4876"/>
                      <a:pt x="3478" y="4876"/>
                    </a:cubicBezTo>
                    <a:cubicBezTo>
                      <a:pt x="3465" y="4900"/>
                      <a:pt x="3439" y="4952"/>
                      <a:pt x="3414" y="5001"/>
                    </a:cubicBezTo>
                    <a:cubicBezTo>
                      <a:pt x="3382" y="5064"/>
                      <a:pt x="3353" y="5123"/>
                      <a:pt x="3353" y="5123"/>
                    </a:cubicBezTo>
                    <a:cubicBezTo>
                      <a:pt x="3350" y="5130"/>
                      <a:pt x="3350" y="5130"/>
                      <a:pt x="3350" y="5130"/>
                    </a:cubicBezTo>
                    <a:cubicBezTo>
                      <a:pt x="3349" y="5130"/>
                      <a:pt x="3349" y="5130"/>
                      <a:pt x="3349" y="5130"/>
                    </a:cubicBezTo>
                    <a:lnTo>
                      <a:pt x="3255" y="5314"/>
                    </a:lnTo>
                    <a:close/>
                    <a:moveTo>
                      <a:pt x="3700" y="5872"/>
                    </a:moveTo>
                    <a:cubicBezTo>
                      <a:pt x="4013" y="5988"/>
                      <a:pt x="4013" y="5988"/>
                      <a:pt x="4013" y="5988"/>
                    </a:cubicBezTo>
                    <a:cubicBezTo>
                      <a:pt x="4021" y="5976"/>
                      <a:pt x="4030" y="5963"/>
                      <a:pt x="4039" y="5952"/>
                    </a:cubicBezTo>
                    <a:cubicBezTo>
                      <a:pt x="4116" y="5856"/>
                      <a:pt x="4166" y="5846"/>
                      <a:pt x="4182" y="5832"/>
                    </a:cubicBezTo>
                    <a:cubicBezTo>
                      <a:pt x="4201" y="5815"/>
                      <a:pt x="4258" y="5762"/>
                      <a:pt x="4265" y="5754"/>
                    </a:cubicBezTo>
                    <a:cubicBezTo>
                      <a:pt x="4267" y="5752"/>
                      <a:pt x="4268" y="5750"/>
                      <a:pt x="4270" y="5749"/>
                    </a:cubicBezTo>
                    <a:cubicBezTo>
                      <a:pt x="4270" y="5744"/>
                      <a:pt x="4271" y="5739"/>
                      <a:pt x="4271" y="5737"/>
                    </a:cubicBezTo>
                    <a:cubicBezTo>
                      <a:pt x="4271" y="5722"/>
                      <a:pt x="4259" y="5698"/>
                      <a:pt x="4246" y="5679"/>
                    </a:cubicBezTo>
                    <a:cubicBezTo>
                      <a:pt x="4240" y="5669"/>
                      <a:pt x="4233" y="5660"/>
                      <a:pt x="4228" y="5654"/>
                    </a:cubicBezTo>
                    <a:cubicBezTo>
                      <a:pt x="4225" y="5651"/>
                      <a:pt x="4223" y="5648"/>
                      <a:pt x="4221" y="5646"/>
                    </a:cubicBezTo>
                    <a:cubicBezTo>
                      <a:pt x="4221" y="5645"/>
                      <a:pt x="4220" y="5645"/>
                      <a:pt x="4219" y="5644"/>
                    </a:cubicBezTo>
                    <a:cubicBezTo>
                      <a:pt x="4212" y="5637"/>
                      <a:pt x="4180" y="5612"/>
                      <a:pt x="4143" y="5579"/>
                    </a:cubicBezTo>
                    <a:cubicBezTo>
                      <a:pt x="4080" y="5523"/>
                      <a:pt x="3998" y="5447"/>
                      <a:pt x="3964" y="5417"/>
                    </a:cubicBezTo>
                    <a:cubicBezTo>
                      <a:pt x="3950" y="5441"/>
                      <a:pt x="3929" y="5468"/>
                      <a:pt x="3895" y="5497"/>
                    </a:cubicBezTo>
                    <a:cubicBezTo>
                      <a:pt x="3858" y="5529"/>
                      <a:pt x="3797" y="5553"/>
                      <a:pt x="3741" y="5572"/>
                    </a:cubicBezTo>
                    <a:cubicBezTo>
                      <a:pt x="3740" y="5768"/>
                      <a:pt x="3740" y="5768"/>
                      <a:pt x="3740" y="5768"/>
                    </a:cubicBezTo>
                    <a:lnTo>
                      <a:pt x="3700" y="5872"/>
                    </a:lnTo>
                    <a:close/>
                    <a:moveTo>
                      <a:pt x="4214" y="5629"/>
                    </a:moveTo>
                    <a:cubicBezTo>
                      <a:pt x="4214" y="5629"/>
                      <a:pt x="4214" y="5629"/>
                      <a:pt x="4214" y="5629"/>
                    </a:cubicBezTo>
                    <a:cubicBezTo>
                      <a:pt x="4214" y="5629"/>
                      <a:pt x="4214" y="5629"/>
                      <a:pt x="4214" y="5629"/>
                    </a:cubicBezTo>
                    <a:close/>
                    <a:moveTo>
                      <a:pt x="4215" y="5623"/>
                    </a:moveTo>
                    <a:cubicBezTo>
                      <a:pt x="4215" y="5623"/>
                      <a:pt x="4215" y="5623"/>
                      <a:pt x="4215" y="5623"/>
                    </a:cubicBezTo>
                    <a:cubicBezTo>
                      <a:pt x="4215" y="5624"/>
                      <a:pt x="4214" y="5624"/>
                      <a:pt x="4214" y="5625"/>
                    </a:cubicBezTo>
                    <a:cubicBezTo>
                      <a:pt x="4214" y="5625"/>
                      <a:pt x="4215" y="5624"/>
                      <a:pt x="4215" y="5623"/>
                    </a:cubicBezTo>
                    <a:close/>
                    <a:moveTo>
                      <a:pt x="4209" y="4877"/>
                    </a:moveTo>
                    <a:cubicBezTo>
                      <a:pt x="4209" y="4877"/>
                      <a:pt x="4209" y="4877"/>
                      <a:pt x="4209" y="4877"/>
                    </a:cubicBezTo>
                    <a:cubicBezTo>
                      <a:pt x="4208" y="4877"/>
                      <a:pt x="4208" y="4877"/>
                      <a:pt x="4208" y="4877"/>
                    </a:cubicBezTo>
                    <a:cubicBezTo>
                      <a:pt x="4208" y="4877"/>
                      <a:pt x="4208" y="4877"/>
                      <a:pt x="4208" y="4877"/>
                    </a:cubicBezTo>
                    <a:cubicBezTo>
                      <a:pt x="4090" y="4722"/>
                      <a:pt x="4090" y="4722"/>
                      <a:pt x="4090" y="4722"/>
                    </a:cubicBezTo>
                    <a:cubicBezTo>
                      <a:pt x="3849" y="4796"/>
                      <a:pt x="3849" y="4796"/>
                      <a:pt x="3849" y="4796"/>
                    </a:cubicBezTo>
                    <a:cubicBezTo>
                      <a:pt x="3901" y="4904"/>
                      <a:pt x="3901" y="4904"/>
                      <a:pt x="3901" y="4904"/>
                    </a:cubicBezTo>
                    <a:cubicBezTo>
                      <a:pt x="3912" y="4914"/>
                      <a:pt x="3948" y="4945"/>
                      <a:pt x="3984" y="4977"/>
                    </a:cubicBezTo>
                    <a:cubicBezTo>
                      <a:pt x="4005" y="4995"/>
                      <a:pt x="4027" y="5014"/>
                      <a:pt x="4043" y="5028"/>
                    </a:cubicBezTo>
                    <a:cubicBezTo>
                      <a:pt x="4047" y="5031"/>
                      <a:pt x="4050" y="5034"/>
                      <a:pt x="4052" y="5036"/>
                    </a:cubicBezTo>
                    <a:cubicBezTo>
                      <a:pt x="4060" y="5023"/>
                      <a:pt x="4068" y="5011"/>
                      <a:pt x="4078" y="4999"/>
                    </a:cubicBezTo>
                    <a:cubicBezTo>
                      <a:pt x="4095" y="4979"/>
                      <a:pt x="4118" y="4955"/>
                      <a:pt x="4141" y="4934"/>
                    </a:cubicBezTo>
                    <a:cubicBezTo>
                      <a:pt x="4173" y="4905"/>
                      <a:pt x="4204" y="4881"/>
                      <a:pt x="4209" y="4877"/>
                    </a:cubicBezTo>
                    <a:close/>
                    <a:moveTo>
                      <a:pt x="3614" y="4098"/>
                    </a:moveTo>
                    <a:cubicBezTo>
                      <a:pt x="3475" y="4262"/>
                      <a:pt x="3475" y="4262"/>
                      <a:pt x="3475" y="4262"/>
                    </a:cubicBezTo>
                    <a:cubicBezTo>
                      <a:pt x="3477" y="4266"/>
                      <a:pt x="3477" y="4266"/>
                      <a:pt x="3477" y="4266"/>
                    </a:cubicBezTo>
                    <a:cubicBezTo>
                      <a:pt x="3477" y="4266"/>
                      <a:pt x="3500" y="4319"/>
                      <a:pt x="3525" y="4372"/>
                    </a:cubicBezTo>
                    <a:cubicBezTo>
                      <a:pt x="3537" y="4399"/>
                      <a:pt x="3549" y="4425"/>
                      <a:pt x="3558" y="4445"/>
                    </a:cubicBezTo>
                    <a:cubicBezTo>
                      <a:pt x="3563" y="4455"/>
                      <a:pt x="3566" y="4463"/>
                      <a:pt x="3569" y="4469"/>
                    </a:cubicBezTo>
                    <a:cubicBezTo>
                      <a:pt x="3570" y="4470"/>
                      <a:pt x="3570" y="4471"/>
                      <a:pt x="3571" y="4472"/>
                    </a:cubicBezTo>
                    <a:cubicBezTo>
                      <a:pt x="3600" y="4492"/>
                      <a:pt x="3757" y="4607"/>
                      <a:pt x="3757" y="4607"/>
                    </a:cubicBezTo>
                    <a:cubicBezTo>
                      <a:pt x="3761" y="4611"/>
                      <a:pt x="3761" y="4611"/>
                      <a:pt x="3761" y="4611"/>
                    </a:cubicBezTo>
                    <a:cubicBezTo>
                      <a:pt x="3842" y="4781"/>
                      <a:pt x="3842" y="4781"/>
                      <a:pt x="3842" y="4781"/>
                    </a:cubicBezTo>
                    <a:cubicBezTo>
                      <a:pt x="4079" y="4708"/>
                      <a:pt x="4079" y="4708"/>
                      <a:pt x="4079" y="4708"/>
                    </a:cubicBezTo>
                    <a:lnTo>
                      <a:pt x="3614" y="4098"/>
                    </a:lnTo>
                    <a:close/>
                    <a:moveTo>
                      <a:pt x="3604" y="4085"/>
                    </a:moveTo>
                    <a:cubicBezTo>
                      <a:pt x="3409" y="3830"/>
                      <a:pt x="3409" y="3830"/>
                      <a:pt x="3409" y="3830"/>
                    </a:cubicBezTo>
                    <a:cubicBezTo>
                      <a:pt x="3228" y="3944"/>
                      <a:pt x="3228" y="3944"/>
                      <a:pt x="3228" y="3944"/>
                    </a:cubicBezTo>
                    <a:cubicBezTo>
                      <a:pt x="3153" y="4103"/>
                      <a:pt x="3153" y="4103"/>
                      <a:pt x="3153" y="4103"/>
                    </a:cubicBezTo>
                    <a:cubicBezTo>
                      <a:pt x="3160" y="4091"/>
                      <a:pt x="3160" y="4091"/>
                      <a:pt x="3160" y="4091"/>
                    </a:cubicBezTo>
                    <a:cubicBezTo>
                      <a:pt x="3461" y="4252"/>
                      <a:pt x="3461" y="4252"/>
                      <a:pt x="3461" y="4252"/>
                    </a:cubicBezTo>
                    <a:lnTo>
                      <a:pt x="3604" y="4085"/>
                    </a:lnTo>
                    <a:close/>
                    <a:moveTo>
                      <a:pt x="3119" y="4164"/>
                    </a:moveTo>
                    <a:cubicBezTo>
                      <a:pt x="3034" y="4270"/>
                      <a:pt x="3034" y="4270"/>
                      <a:pt x="3034" y="4270"/>
                    </a:cubicBezTo>
                    <a:cubicBezTo>
                      <a:pt x="3118" y="4335"/>
                      <a:pt x="3118" y="4335"/>
                      <a:pt x="3118" y="4335"/>
                    </a:cubicBezTo>
                    <a:cubicBezTo>
                      <a:pt x="3148" y="4304"/>
                      <a:pt x="3148" y="4304"/>
                      <a:pt x="3148" y="4304"/>
                    </a:cubicBezTo>
                    <a:cubicBezTo>
                      <a:pt x="3157" y="4296"/>
                      <a:pt x="3157" y="4296"/>
                      <a:pt x="3157" y="4296"/>
                    </a:cubicBezTo>
                    <a:cubicBezTo>
                      <a:pt x="3163" y="4300"/>
                      <a:pt x="3163" y="4300"/>
                      <a:pt x="3163" y="4300"/>
                    </a:cubicBezTo>
                    <a:cubicBezTo>
                      <a:pt x="3212" y="4237"/>
                      <a:pt x="3212" y="4237"/>
                      <a:pt x="3212" y="4237"/>
                    </a:cubicBezTo>
                    <a:lnTo>
                      <a:pt x="3119" y="4164"/>
                    </a:lnTo>
                    <a:close/>
                    <a:moveTo>
                      <a:pt x="3016" y="4273"/>
                    </a:moveTo>
                    <a:cubicBezTo>
                      <a:pt x="2969" y="4329"/>
                      <a:pt x="2969" y="4329"/>
                      <a:pt x="2969" y="4329"/>
                    </a:cubicBezTo>
                    <a:cubicBezTo>
                      <a:pt x="3005" y="4346"/>
                      <a:pt x="3052" y="4372"/>
                      <a:pt x="3096" y="4399"/>
                    </a:cubicBezTo>
                    <a:cubicBezTo>
                      <a:pt x="3162" y="4317"/>
                      <a:pt x="3162" y="4317"/>
                      <a:pt x="3162" y="4317"/>
                    </a:cubicBezTo>
                    <a:cubicBezTo>
                      <a:pt x="3161" y="4316"/>
                      <a:pt x="3161" y="4316"/>
                      <a:pt x="3161" y="4316"/>
                    </a:cubicBezTo>
                    <a:cubicBezTo>
                      <a:pt x="3159" y="4318"/>
                      <a:pt x="3159" y="4318"/>
                      <a:pt x="3159" y="4318"/>
                    </a:cubicBezTo>
                    <a:cubicBezTo>
                      <a:pt x="3157" y="4316"/>
                      <a:pt x="3157" y="4316"/>
                      <a:pt x="3157" y="4316"/>
                    </a:cubicBezTo>
                    <a:cubicBezTo>
                      <a:pt x="3119" y="4354"/>
                      <a:pt x="3119" y="4354"/>
                      <a:pt x="3119" y="4354"/>
                    </a:cubicBezTo>
                    <a:lnTo>
                      <a:pt x="3016" y="4273"/>
                    </a:lnTo>
                    <a:close/>
                    <a:moveTo>
                      <a:pt x="2822" y="4365"/>
                    </a:moveTo>
                    <a:cubicBezTo>
                      <a:pt x="2809" y="4397"/>
                      <a:pt x="2809" y="4397"/>
                      <a:pt x="2809" y="4397"/>
                    </a:cubicBezTo>
                    <a:cubicBezTo>
                      <a:pt x="2902" y="4501"/>
                      <a:pt x="2902" y="4501"/>
                      <a:pt x="2902" y="4501"/>
                    </a:cubicBezTo>
                    <a:cubicBezTo>
                      <a:pt x="3173" y="4595"/>
                      <a:pt x="3173" y="4595"/>
                      <a:pt x="3173" y="4595"/>
                    </a:cubicBezTo>
                    <a:cubicBezTo>
                      <a:pt x="3157" y="4575"/>
                      <a:pt x="3131" y="4543"/>
                      <a:pt x="3099" y="4511"/>
                    </a:cubicBezTo>
                    <a:cubicBezTo>
                      <a:pt x="3049" y="4458"/>
                      <a:pt x="2980" y="4450"/>
                      <a:pt x="2904" y="4401"/>
                    </a:cubicBezTo>
                    <a:cubicBezTo>
                      <a:pt x="2869" y="4378"/>
                      <a:pt x="2842" y="4368"/>
                      <a:pt x="2822" y="4365"/>
                    </a:cubicBezTo>
                    <a:close/>
                    <a:moveTo>
                      <a:pt x="2370" y="4784"/>
                    </a:moveTo>
                    <a:cubicBezTo>
                      <a:pt x="2369" y="4785"/>
                      <a:pt x="2369" y="4787"/>
                      <a:pt x="2369" y="4787"/>
                    </a:cubicBezTo>
                    <a:cubicBezTo>
                      <a:pt x="2368" y="4796"/>
                      <a:pt x="2356" y="4877"/>
                      <a:pt x="2344" y="4959"/>
                    </a:cubicBezTo>
                    <a:cubicBezTo>
                      <a:pt x="2338" y="5002"/>
                      <a:pt x="2331" y="5045"/>
                      <a:pt x="2326" y="5078"/>
                    </a:cubicBezTo>
                    <a:cubicBezTo>
                      <a:pt x="2324" y="5094"/>
                      <a:pt x="2322" y="5108"/>
                      <a:pt x="2320" y="5118"/>
                    </a:cubicBezTo>
                    <a:cubicBezTo>
                      <a:pt x="2319" y="5122"/>
                      <a:pt x="2319" y="5126"/>
                      <a:pt x="2318" y="5129"/>
                    </a:cubicBezTo>
                    <a:cubicBezTo>
                      <a:pt x="2364" y="5133"/>
                      <a:pt x="2462" y="5143"/>
                      <a:pt x="2626" y="5160"/>
                    </a:cubicBezTo>
                    <a:cubicBezTo>
                      <a:pt x="2721" y="5169"/>
                      <a:pt x="2799" y="5182"/>
                      <a:pt x="2868" y="5196"/>
                    </a:cubicBezTo>
                    <a:cubicBezTo>
                      <a:pt x="2844" y="4958"/>
                      <a:pt x="2844" y="4958"/>
                      <a:pt x="2844" y="4958"/>
                    </a:cubicBezTo>
                    <a:cubicBezTo>
                      <a:pt x="2762" y="4946"/>
                      <a:pt x="2571" y="4916"/>
                      <a:pt x="2570" y="4916"/>
                    </a:cubicBezTo>
                    <a:cubicBezTo>
                      <a:pt x="2561" y="4915"/>
                      <a:pt x="2561" y="4915"/>
                      <a:pt x="2561" y="4915"/>
                    </a:cubicBezTo>
                    <a:cubicBezTo>
                      <a:pt x="2598" y="4795"/>
                      <a:pt x="2598" y="4795"/>
                      <a:pt x="2598" y="4795"/>
                    </a:cubicBezTo>
                    <a:lnTo>
                      <a:pt x="2370" y="4784"/>
                    </a:lnTo>
                    <a:close/>
                    <a:moveTo>
                      <a:pt x="2620" y="5204"/>
                    </a:moveTo>
                    <a:cubicBezTo>
                      <a:pt x="2527" y="5768"/>
                      <a:pt x="2527" y="5768"/>
                      <a:pt x="2527" y="5768"/>
                    </a:cubicBezTo>
                    <a:cubicBezTo>
                      <a:pt x="2617" y="5793"/>
                      <a:pt x="2724" y="5824"/>
                      <a:pt x="2797" y="5848"/>
                    </a:cubicBezTo>
                    <a:cubicBezTo>
                      <a:pt x="2829" y="5858"/>
                      <a:pt x="2859" y="5876"/>
                      <a:pt x="2887" y="5898"/>
                    </a:cubicBezTo>
                    <a:cubicBezTo>
                      <a:pt x="3312" y="5394"/>
                      <a:pt x="3312" y="5394"/>
                      <a:pt x="3312" y="5394"/>
                    </a:cubicBezTo>
                    <a:cubicBezTo>
                      <a:pt x="3254" y="5361"/>
                      <a:pt x="3194" y="5333"/>
                      <a:pt x="3139" y="5317"/>
                    </a:cubicBezTo>
                    <a:cubicBezTo>
                      <a:pt x="2990" y="5272"/>
                      <a:pt x="2861" y="5228"/>
                      <a:pt x="2621" y="5204"/>
                    </a:cubicBezTo>
                    <a:cubicBezTo>
                      <a:pt x="2621" y="5204"/>
                      <a:pt x="2621" y="5204"/>
                      <a:pt x="2620" y="5204"/>
                    </a:cubicBezTo>
                    <a:close/>
                    <a:moveTo>
                      <a:pt x="3049" y="6091"/>
                    </a:moveTo>
                    <a:cubicBezTo>
                      <a:pt x="3156" y="6069"/>
                      <a:pt x="3285" y="6054"/>
                      <a:pt x="3350" y="6030"/>
                    </a:cubicBezTo>
                    <a:cubicBezTo>
                      <a:pt x="3353" y="6029"/>
                      <a:pt x="3365" y="6023"/>
                      <a:pt x="3382" y="6013"/>
                    </a:cubicBezTo>
                    <a:cubicBezTo>
                      <a:pt x="3442" y="5981"/>
                      <a:pt x="3565" y="5898"/>
                      <a:pt x="3594" y="5811"/>
                    </a:cubicBezTo>
                    <a:cubicBezTo>
                      <a:pt x="3607" y="5774"/>
                      <a:pt x="3613" y="5743"/>
                      <a:pt x="3613" y="5716"/>
                    </a:cubicBezTo>
                    <a:cubicBezTo>
                      <a:pt x="3612" y="5650"/>
                      <a:pt x="3582" y="5603"/>
                      <a:pt x="3530" y="5552"/>
                    </a:cubicBezTo>
                    <a:cubicBezTo>
                      <a:pt x="3488" y="5511"/>
                      <a:pt x="3410" y="5452"/>
                      <a:pt x="3324" y="5401"/>
                    </a:cubicBezTo>
                    <a:cubicBezTo>
                      <a:pt x="2898" y="5906"/>
                      <a:pt x="2898" y="5906"/>
                      <a:pt x="2898" y="5906"/>
                    </a:cubicBezTo>
                    <a:cubicBezTo>
                      <a:pt x="2971" y="5967"/>
                      <a:pt x="3026" y="6052"/>
                      <a:pt x="3049" y="6091"/>
                    </a:cubicBezTo>
                    <a:close/>
                    <a:moveTo>
                      <a:pt x="3086" y="6130"/>
                    </a:moveTo>
                    <a:cubicBezTo>
                      <a:pt x="3112" y="6147"/>
                      <a:pt x="3151" y="6175"/>
                      <a:pt x="3192" y="6203"/>
                    </a:cubicBezTo>
                    <a:cubicBezTo>
                      <a:pt x="3226" y="6226"/>
                      <a:pt x="3260" y="6249"/>
                      <a:pt x="3286" y="6266"/>
                    </a:cubicBezTo>
                    <a:cubicBezTo>
                      <a:pt x="3299" y="6275"/>
                      <a:pt x="3310" y="6282"/>
                      <a:pt x="3318" y="6287"/>
                    </a:cubicBezTo>
                    <a:cubicBezTo>
                      <a:pt x="3322" y="6290"/>
                      <a:pt x="3326" y="6292"/>
                      <a:pt x="3328" y="6293"/>
                    </a:cubicBezTo>
                    <a:cubicBezTo>
                      <a:pt x="3329" y="6293"/>
                      <a:pt x="3330" y="6294"/>
                      <a:pt x="3330" y="6294"/>
                    </a:cubicBezTo>
                    <a:cubicBezTo>
                      <a:pt x="3367" y="6288"/>
                      <a:pt x="3856" y="6215"/>
                      <a:pt x="3914" y="6205"/>
                    </a:cubicBezTo>
                    <a:cubicBezTo>
                      <a:pt x="3923" y="6180"/>
                      <a:pt x="3954" y="6084"/>
                      <a:pt x="4004" y="6002"/>
                    </a:cubicBezTo>
                    <a:cubicBezTo>
                      <a:pt x="3679" y="5882"/>
                      <a:pt x="3679" y="5882"/>
                      <a:pt x="3679" y="5882"/>
                    </a:cubicBezTo>
                    <a:cubicBezTo>
                      <a:pt x="3679" y="5881"/>
                      <a:pt x="3679" y="5881"/>
                      <a:pt x="3679" y="5881"/>
                    </a:cubicBezTo>
                    <a:cubicBezTo>
                      <a:pt x="3622" y="5859"/>
                      <a:pt x="3622" y="5859"/>
                      <a:pt x="3622" y="5859"/>
                    </a:cubicBezTo>
                    <a:cubicBezTo>
                      <a:pt x="3590" y="5917"/>
                      <a:pt x="3534" y="5966"/>
                      <a:pt x="3483" y="6002"/>
                    </a:cubicBezTo>
                    <a:cubicBezTo>
                      <a:pt x="3423" y="6045"/>
                      <a:pt x="3370" y="6071"/>
                      <a:pt x="3369" y="6071"/>
                    </a:cubicBezTo>
                    <a:cubicBezTo>
                      <a:pt x="3368" y="6072"/>
                      <a:pt x="3368" y="6072"/>
                      <a:pt x="3368" y="6072"/>
                    </a:cubicBezTo>
                    <a:cubicBezTo>
                      <a:pt x="3367" y="6072"/>
                      <a:pt x="3367" y="6072"/>
                      <a:pt x="3367" y="6072"/>
                    </a:cubicBezTo>
                    <a:cubicBezTo>
                      <a:pt x="3300" y="6097"/>
                      <a:pt x="3185" y="6111"/>
                      <a:pt x="3086" y="6130"/>
                    </a:cubicBezTo>
                    <a:close/>
                    <a:moveTo>
                      <a:pt x="3928" y="6566"/>
                    </a:moveTo>
                    <a:cubicBezTo>
                      <a:pt x="4130" y="6783"/>
                      <a:pt x="4130" y="6783"/>
                      <a:pt x="4130" y="6783"/>
                    </a:cubicBezTo>
                    <a:cubicBezTo>
                      <a:pt x="4145" y="6785"/>
                      <a:pt x="4209" y="6796"/>
                      <a:pt x="4276" y="6807"/>
                    </a:cubicBezTo>
                    <a:cubicBezTo>
                      <a:pt x="4334" y="6816"/>
                      <a:pt x="4394" y="6826"/>
                      <a:pt x="4421" y="6829"/>
                    </a:cubicBezTo>
                    <a:cubicBezTo>
                      <a:pt x="4429" y="6787"/>
                      <a:pt x="4442" y="6703"/>
                      <a:pt x="4454" y="6620"/>
                    </a:cubicBezTo>
                    <a:cubicBezTo>
                      <a:pt x="4470" y="6514"/>
                      <a:pt x="4485" y="6408"/>
                      <a:pt x="4488" y="6385"/>
                    </a:cubicBezTo>
                    <a:cubicBezTo>
                      <a:pt x="4494" y="6333"/>
                      <a:pt x="4513" y="6222"/>
                      <a:pt x="4522" y="6172"/>
                    </a:cubicBezTo>
                    <a:cubicBezTo>
                      <a:pt x="4526" y="6154"/>
                      <a:pt x="4535" y="6128"/>
                      <a:pt x="4547" y="6093"/>
                    </a:cubicBezTo>
                    <a:cubicBezTo>
                      <a:pt x="4573" y="6024"/>
                      <a:pt x="4610" y="5928"/>
                      <a:pt x="4631" y="5873"/>
                    </a:cubicBezTo>
                    <a:cubicBezTo>
                      <a:pt x="4632" y="5871"/>
                      <a:pt x="4633" y="5869"/>
                      <a:pt x="4634" y="5866"/>
                    </a:cubicBezTo>
                    <a:cubicBezTo>
                      <a:pt x="4632" y="5873"/>
                      <a:pt x="4632" y="5873"/>
                      <a:pt x="4632" y="5873"/>
                    </a:cubicBezTo>
                    <a:cubicBezTo>
                      <a:pt x="4273" y="5769"/>
                      <a:pt x="4273" y="5769"/>
                      <a:pt x="4273" y="5769"/>
                    </a:cubicBezTo>
                    <a:cubicBezTo>
                      <a:pt x="4256" y="5786"/>
                      <a:pt x="4210" y="5828"/>
                      <a:pt x="4192" y="5844"/>
                    </a:cubicBezTo>
                    <a:cubicBezTo>
                      <a:pt x="4169" y="5863"/>
                      <a:pt x="4129" y="5867"/>
                      <a:pt x="4052" y="5962"/>
                    </a:cubicBezTo>
                    <a:cubicBezTo>
                      <a:pt x="4014" y="6009"/>
                      <a:pt x="3983" y="6073"/>
                      <a:pt x="3961" y="6125"/>
                    </a:cubicBezTo>
                    <a:cubicBezTo>
                      <a:pt x="3942" y="6172"/>
                      <a:pt x="3931" y="6209"/>
                      <a:pt x="3928" y="6215"/>
                    </a:cubicBezTo>
                    <a:lnTo>
                      <a:pt x="3928" y="6566"/>
                    </a:lnTo>
                    <a:close/>
                    <a:moveTo>
                      <a:pt x="4648" y="5832"/>
                    </a:moveTo>
                    <a:cubicBezTo>
                      <a:pt x="4648" y="5831"/>
                      <a:pt x="4648" y="5831"/>
                      <a:pt x="4648" y="5831"/>
                    </a:cubicBezTo>
                    <a:cubicBezTo>
                      <a:pt x="4652" y="5832"/>
                      <a:pt x="4652" y="5832"/>
                      <a:pt x="4652" y="5832"/>
                    </a:cubicBezTo>
                    <a:cubicBezTo>
                      <a:pt x="4676" y="5793"/>
                      <a:pt x="4738" y="5695"/>
                      <a:pt x="4789" y="5626"/>
                    </a:cubicBezTo>
                    <a:cubicBezTo>
                      <a:pt x="4773" y="5604"/>
                      <a:pt x="4739" y="5560"/>
                      <a:pt x="4697" y="5505"/>
                    </a:cubicBezTo>
                    <a:cubicBezTo>
                      <a:pt x="4612" y="5395"/>
                      <a:pt x="4490" y="5238"/>
                      <a:pt x="4389" y="5108"/>
                    </a:cubicBezTo>
                    <a:cubicBezTo>
                      <a:pt x="4324" y="5025"/>
                      <a:pt x="4268" y="4953"/>
                      <a:pt x="4236" y="4912"/>
                    </a:cubicBezTo>
                    <a:cubicBezTo>
                      <a:pt x="4232" y="4915"/>
                      <a:pt x="4232" y="4915"/>
                      <a:pt x="4232" y="4915"/>
                    </a:cubicBezTo>
                    <a:cubicBezTo>
                      <a:pt x="4232" y="4915"/>
                      <a:pt x="4212" y="4931"/>
                      <a:pt x="4187" y="4953"/>
                    </a:cubicBezTo>
                    <a:cubicBezTo>
                      <a:pt x="4286" y="5189"/>
                      <a:pt x="4286" y="5189"/>
                      <a:pt x="4286" y="5189"/>
                    </a:cubicBezTo>
                    <a:cubicBezTo>
                      <a:pt x="4230" y="5229"/>
                      <a:pt x="4230" y="5229"/>
                      <a:pt x="4230" y="5229"/>
                    </a:cubicBezTo>
                    <a:cubicBezTo>
                      <a:pt x="4318" y="5382"/>
                      <a:pt x="4318" y="5382"/>
                      <a:pt x="4318" y="5382"/>
                    </a:cubicBezTo>
                    <a:cubicBezTo>
                      <a:pt x="4307" y="5444"/>
                      <a:pt x="4307" y="5444"/>
                      <a:pt x="4307" y="5444"/>
                    </a:cubicBezTo>
                    <a:cubicBezTo>
                      <a:pt x="4412" y="5536"/>
                      <a:pt x="4412" y="5536"/>
                      <a:pt x="4412" y="5536"/>
                    </a:cubicBezTo>
                    <a:cubicBezTo>
                      <a:pt x="4412" y="5540"/>
                      <a:pt x="4412" y="5540"/>
                      <a:pt x="4412" y="5540"/>
                    </a:cubicBezTo>
                    <a:cubicBezTo>
                      <a:pt x="4412" y="5540"/>
                      <a:pt x="4409" y="5663"/>
                      <a:pt x="4409" y="5730"/>
                    </a:cubicBezTo>
                    <a:cubicBezTo>
                      <a:pt x="4409" y="5742"/>
                      <a:pt x="4409" y="5753"/>
                      <a:pt x="4409" y="5760"/>
                    </a:cubicBezTo>
                    <a:cubicBezTo>
                      <a:pt x="4409" y="5761"/>
                      <a:pt x="4409" y="5762"/>
                      <a:pt x="4409" y="5763"/>
                    </a:cubicBezTo>
                    <a:lnTo>
                      <a:pt x="4648" y="5832"/>
                    </a:lnTo>
                    <a:close/>
                    <a:moveTo>
                      <a:pt x="4828" y="5569"/>
                    </a:moveTo>
                    <a:cubicBezTo>
                      <a:pt x="4829" y="5570"/>
                      <a:pt x="4830" y="5571"/>
                      <a:pt x="4831" y="5572"/>
                    </a:cubicBezTo>
                    <a:cubicBezTo>
                      <a:pt x="4869" y="5523"/>
                      <a:pt x="4899" y="5474"/>
                      <a:pt x="4899" y="5397"/>
                    </a:cubicBezTo>
                    <a:cubicBezTo>
                      <a:pt x="4899" y="5366"/>
                      <a:pt x="4894" y="5331"/>
                      <a:pt x="4883" y="5289"/>
                    </a:cubicBezTo>
                    <a:cubicBezTo>
                      <a:pt x="4865" y="5225"/>
                      <a:pt x="4846" y="5168"/>
                      <a:pt x="4846" y="5109"/>
                    </a:cubicBezTo>
                    <a:cubicBezTo>
                      <a:pt x="4846" y="5062"/>
                      <a:pt x="4859" y="5014"/>
                      <a:pt x="4892" y="4967"/>
                    </a:cubicBezTo>
                    <a:cubicBezTo>
                      <a:pt x="4906" y="4947"/>
                      <a:pt x="4921" y="4925"/>
                      <a:pt x="4936" y="4904"/>
                    </a:cubicBezTo>
                    <a:cubicBezTo>
                      <a:pt x="4886" y="4869"/>
                      <a:pt x="4752" y="4769"/>
                      <a:pt x="4619" y="4672"/>
                    </a:cubicBezTo>
                    <a:cubicBezTo>
                      <a:pt x="4543" y="4615"/>
                      <a:pt x="4467" y="4560"/>
                      <a:pt x="4410" y="4518"/>
                    </a:cubicBezTo>
                    <a:cubicBezTo>
                      <a:pt x="4382" y="4497"/>
                      <a:pt x="4358" y="4479"/>
                      <a:pt x="4341" y="4467"/>
                    </a:cubicBezTo>
                    <a:cubicBezTo>
                      <a:pt x="4333" y="4462"/>
                      <a:pt x="4327" y="4457"/>
                      <a:pt x="4323" y="4454"/>
                    </a:cubicBezTo>
                    <a:cubicBezTo>
                      <a:pt x="4312" y="4715"/>
                      <a:pt x="4312" y="4715"/>
                      <a:pt x="4312" y="4715"/>
                    </a:cubicBezTo>
                    <a:cubicBezTo>
                      <a:pt x="4244" y="4811"/>
                      <a:pt x="4244" y="4811"/>
                      <a:pt x="4244" y="4811"/>
                    </a:cubicBezTo>
                    <a:cubicBezTo>
                      <a:pt x="4270" y="4845"/>
                      <a:pt x="4422" y="5044"/>
                      <a:pt x="4557" y="5217"/>
                    </a:cubicBezTo>
                    <a:cubicBezTo>
                      <a:pt x="4631" y="5313"/>
                      <a:pt x="4705" y="5409"/>
                      <a:pt x="4761" y="5481"/>
                    </a:cubicBezTo>
                    <a:cubicBezTo>
                      <a:pt x="4789" y="5517"/>
                      <a:pt x="4812" y="5548"/>
                      <a:pt x="4828" y="5569"/>
                    </a:cubicBezTo>
                    <a:close/>
                    <a:moveTo>
                      <a:pt x="5249" y="4912"/>
                    </a:moveTo>
                    <a:cubicBezTo>
                      <a:pt x="5252" y="4834"/>
                      <a:pt x="5252" y="4834"/>
                      <a:pt x="5252" y="4834"/>
                    </a:cubicBezTo>
                    <a:cubicBezTo>
                      <a:pt x="5130" y="4828"/>
                      <a:pt x="5130" y="4828"/>
                      <a:pt x="5130" y="4828"/>
                    </a:cubicBezTo>
                    <a:cubicBezTo>
                      <a:pt x="5127" y="4906"/>
                      <a:pt x="5127" y="4906"/>
                      <a:pt x="5127" y="4906"/>
                    </a:cubicBezTo>
                    <a:lnTo>
                      <a:pt x="5249" y="4912"/>
                    </a:lnTo>
                    <a:close/>
                    <a:moveTo>
                      <a:pt x="5058" y="4690"/>
                    </a:moveTo>
                    <a:cubicBezTo>
                      <a:pt x="4991" y="4605"/>
                      <a:pt x="4619" y="4129"/>
                      <a:pt x="4550" y="4027"/>
                    </a:cubicBezTo>
                    <a:cubicBezTo>
                      <a:pt x="4527" y="3993"/>
                      <a:pt x="4516" y="3961"/>
                      <a:pt x="4516" y="3931"/>
                    </a:cubicBezTo>
                    <a:cubicBezTo>
                      <a:pt x="4516" y="3927"/>
                      <a:pt x="4517" y="3923"/>
                      <a:pt x="4517" y="3920"/>
                    </a:cubicBezTo>
                    <a:cubicBezTo>
                      <a:pt x="4132" y="3848"/>
                      <a:pt x="4132" y="3848"/>
                      <a:pt x="4132" y="3848"/>
                    </a:cubicBezTo>
                    <a:cubicBezTo>
                      <a:pt x="3964" y="3898"/>
                      <a:pt x="3964" y="3898"/>
                      <a:pt x="3964" y="3898"/>
                    </a:cubicBezTo>
                    <a:cubicBezTo>
                      <a:pt x="4322" y="4436"/>
                      <a:pt x="4322" y="4436"/>
                      <a:pt x="4322" y="4436"/>
                    </a:cubicBezTo>
                    <a:cubicBezTo>
                      <a:pt x="4324" y="4438"/>
                      <a:pt x="4325" y="4439"/>
                      <a:pt x="4330" y="4442"/>
                    </a:cubicBezTo>
                    <a:cubicBezTo>
                      <a:pt x="4367" y="4469"/>
                      <a:pt x="4524" y="4584"/>
                      <a:pt x="4672" y="4694"/>
                    </a:cubicBezTo>
                    <a:cubicBezTo>
                      <a:pt x="4747" y="4748"/>
                      <a:pt x="4819" y="4801"/>
                      <a:pt x="4872" y="4841"/>
                    </a:cubicBezTo>
                    <a:cubicBezTo>
                      <a:pt x="4899" y="4860"/>
                      <a:pt x="4922" y="4877"/>
                      <a:pt x="4938" y="4888"/>
                    </a:cubicBezTo>
                    <a:cubicBezTo>
                      <a:pt x="4940" y="4890"/>
                      <a:pt x="4942" y="4891"/>
                      <a:pt x="4944" y="4892"/>
                    </a:cubicBezTo>
                    <a:cubicBezTo>
                      <a:pt x="4993" y="4822"/>
                      <a:pt x="5040" y="4751"/>
                      <a:pt x="5058" y="4690"/>
                    </a:cubicBezTo>
                    <a:close/>
                    <a:moveTo>
                      <a:pt x="4557" y="3840"/>
                    </a:moveTo>
                    <a:cubicBezTo>
                      <a:pt x="4579" y="3820"/>
                      <a:pt x="4602" y="3808"/>
                      <a:pt x="4618" y="3802"/>
                    </a:cubicBezTo>
                    <a:cubicBezTo>
                      <a:pt x="4627" y="3799"/>
                      <a:pt x="4636" y="3797"/>
                      <a:pt x="4651" y="3794"/>
                    </a:cubicBezTo>
                    <a:cubicBezTo>
                      <a:pt x="4659" y="3792"/>
                      <a:pt x="4670" y="3790"/>
                      <a:pt x="4681" y="3788"/>
                    </a:cubicBezTo>
                    <a:cubicBezTo>
                      <a:pt x="4567" y="3450"/>
                      <a:pt x="4567" y="3450"/>
                      <a:pt x="4567" y="3450"/>
                    </a:cubicBezTo>
                    <a:cubicBezTo>
                      <a:pt x="4515" y="3455"/>
                      <a:pt x="4466" y="3459"/>
                      <a:pt x="4426" y="3463"/>
                    </a:cubicBezTo>
                    <a:cubicBezTo>
                      <a:pt x="4394" y="3466"/>
                      <a:pt x="4367" y="3468"/>
                      <a:pt x="4348" y="3470"/>
                    </a:cubicBezTo>
                    <a:cubicBezTo>
                      <a:pt x="4338" y="3471"/>
                      <a:pt x="4330" y="3472"/>
                      <a:pt x="4325" y="3472"/>
                    </a:cubicBezTo>
                    <a:cubicBezTo>
                      <a:pt x="4322" y="3472"/>
                      <a:pt x="4320" y="3473"/>
                      <a:pt x="4319" y="3473"/>
                    </a:cubicBezTo>
                    <a:cubicBezTo>
                      <a:pt x="4318" y="3473"/>
                      <a:pt x="4318" y="3473"/>
                      <a:pt x="4317" y="3473"/>
                    </a:cubicBezTo>
                    <a:cubicBezTo>
                      <a:pt x="4317" y="3473"/>
                      <a:pt x="4317" y="3473"/>
                      <a:pt x="4317" y="3473"/>
                    </a:cubicBezTo>
                    <a:cubicBezTo>
                      <a:pt x="4310" y="3476"/>
                      <a:pt x="4255" y="3499"/>
                      <a:pt x="4241" y="3504"/>
                    </a:cubicBezTo>
                    <a:cubicBezTo>
                      <a:pt x="4136" y="3803"/>
                      <a:pt x="4136" y="3803"/>
                      <a:pt x="4136" y="3803"/>
                    </a:cubicBezTo>
                    <a:cubicBezTo>
                      <a:pt x="4529" y="3876"/>
                      <a:pt x="4529" y="3876"/>
                      <a:pt x="4529" y="3876"/>
                    </a:cubicBezTo>
                    <a:cubicBezTo>
                      <a:pt x="4537" y="3862"/>
                      <a:pt x="4547" y="3849"/>
                      <a:pt x="4557" y="3840"/>
                    </a:cubicBezTo>
                    <a:close/>
                    <a:moveTo>
                      <a:pt x="4695" y="3786"/>
                    </a:moveTo>
                    <a:cubicBezTo>
                      <a:pt x="4741" y="3777"/>
                      <a:pt x="4803" y="3767"/>
                      <a:pt x="4861" y="3758"/>
                    </a:cubicBezTo>
                    <a:cubicBezTo>
                      <a:pt x="4804" y="3429"/>
                      <a:pt x="4804" y="3429"/>
                      <a:pt x="4804" y="3429"/>
                    </a:cubicBezTo>
                    <a:cubicBezTo>
                      <a:pt x="4759" y="3433"/>
                      <a:pt x="4710" y="3437"/>
                      <a:pt x="4661" y="3442"/>
                    </a:cubicBezTo>
                    <a:cubicBezTo>
                      <a:pt x="4634" y="3444"/>
                      <a:pt x="4607" y="3447"/>
                      <a:pt x="4581" y="3449"/>
                    </a:cubicBezTo>
                    <a:lnTo>
                      <a:pt x="4695" y="3786"/>
                    </a:lnTo>
                    <a:close/>
                    <a:moveTo>
                      <a:pt x="4815" y="3414"/>
                    </a:moveTo>
                    <a:cubicBezTo>
                      <a:pt x="4889" y="3408"/>
                      <a:pt x="4950" y="3402"/>
                      <a:pt x="4980" y="3400"/>
                    </a:cubicBezTo>
                    <a:cubicBezTo>
                      <a:pt x="4958" y="3208"/>
                      <a:pt x="4939" y="3048"/>
                      <a:pt x="4933" y="2991"/>
                    </a:cubicBezTo>
                    <a:cubicBezTo>
                      <a:pt x="4904" y="2997"/>
                      <a:pt x="4875" y="3004"/>
                      <a:pt x="4847" y="3010"/>
                    </a:cubicBezTo>
                    <a:cubicBezTo>
                      <a:pt x="4807" y="3020"/>
                      <a:pt x="4765" y="3030"/>
                      <a:pt x="4722" y="3041"/>
                    </a:cubicBezTo>
                    <a:lnTo>
                      <a:pt x="4815" y="3414"/>
                    </a:lnTo>
                    <a:close/>
                    <a:moveTo>
                      <a:pt x="4709" y="3044"/>
                    </a:moveTo>
                    <a:cubicBezTo>
                      <a:pt x="4652" y="3058"/>
                      <a:pt x="4594" y="3073"/>
                      <a:pt x="4535" y="3089"/>
                    </a:cubicBezTo>
                    <a:cubicBezTo>
                      <a:pt x="4624" y="3431"/>
                      <a:pt x="4624" y="3431"/>
                      <a:pt x="4624" y="3431"/>
                    </a:cubicBezTo>
                    <a:cubicBezTo>
                      <a:pt x="4684" y="3426"/>
                      <a:pt x="4746" y="3420"/>
                      <a:pt x="4801" y="3415"/>
                    </a:cubicBezTo>
                    <a:lnTo>
                      <a:pt x="4709" y="3044"/>
                    </a:lnTo>
                    <a:close/>
                    <a:moveTo>
                      <a:pt x="4522" y="3093"/>
                    </a:moveTo>
                    <a:cubicBezTo>
                      <a:pt x="4464" y="3108"/>
                      <a:pt x="4406" y="3124"/>
                      <a:pt x="4347" y="3141"/>
                    </a:cubicBezTo>
                    <a:cubicBezTo>
                      <a:pt x="4433" y="3448"/>
                      <a:pt x="4433" y="3448"/>
                      <a:pt x="4433" y="3448"/>
                    </a:cubicBezTo>
                    <a:cubicBezTo>
                      <a:pt x="4483" y="3444"/>
                      <a:pt x="4545" y="3438"/>
                      <a:pt x="4610" y="3432"/>
                    </a:cubicBezTo>
                    <a:lnTo>
                      <a:pt x="4522" y="3093"/>
                    </a:lnTo>
                    <a:close/>
                    <a:moveTo>
                      <a:pt x="4333" y="3145"/>
                    </a:moveTo>
                    <a:cubicBezTo>
                      <a:pt x="4273" y="3162"/>
                      <a:pt x="4212" y="3179"/>
                      <a:pt x="4152" y="3197"/>
                    </a:cubicBezTo>
                    <a:cubicBezTo>
                      <a:pt x="4174" y="3261"/>
                      <a:pt x="4257" y="3473"/>
                      <a:pt x="4260" y="3481"/>
                    </a:cubicBezTo>
                    <a:cubicBezTo>
                      <a:pt x="4282" y="3472"/>
                      <a:pt x="4309" y="3461"/>
                      <a:pt x="4313" y="3460"/>
                    </a:cubicBezTo>
                    <a:cubicBezTo>
                      <a:pt x="4317" y="3459"/>
                      <a:pt x="4326" y="3458"/>
                      <a:pt x="4346" y="3456"/>
                    </a:cubicBezTo>
                    <a:cubicBezTo>
                      <a:pt x="4364" y="3454"/>
                      <a:pt x="4389" y="3452"/>
                      <a:pt x="4418" y="3449"/>
                    </a:cubicBezTo>
                    <a:lnTo>
                      <a:pt x="4333" y="3145"/>
                    </a:lnTo>
                    <a:close/>
                    <a:moveTo>
                      <a:pt x="4151" y="3234"/>
                    </a:moveTo>
                    <a:cubicBezTo>
                      <a:pt x="4146" y="3220"/>
                      <a:pt x="4141" y="3209"/>
                      <a:pt x="4138" y="3201"/>
                    </a:cubicBezTo>
                    <a:cubicBezTo>
                      <a:pt x="4013" y="3237"/>
                      <a:pt x="3889" y="3275"/>
                      <a:pt x="3776" y="3310"/>
                    </a:cubicBezTo>
                    <a:cubicBezTo>
                      <a:pt x="3610" y="3361"/>
                      <a:pt x="3464" y="3408"/>
                      <a:pt x="3360" y="3442"/>
                    </a:cubicBezTo>
                    <a:cubicBezTo>
                      <a:pt x="3308" y="3459"/>
                      <a:pt x="3267" y="3473"/>
                      <a:pt x="3238" y="3483"/>
                    </a:cubicBezTo>
                    <a:cubicBezTo>
                      <a:pt x="3236" y="3484"/>
                      <a:pt x="3234" y="3485"/>
                      <a:pt x="3232" y="3485"/>
                    </a:cubicBezTo>
                    <a:cubicBezTo>
                      <a:pt x="3453" y="3777"/>
                      <a:pt x="3453" y="3777"/>
                      <a:pt x="3453" y="3777"/>
                    </a:cubicBezTo>
                    <a:cubicBezTo>
                      <a:pt x="3453" y="3777"/>
                      <a:pt x="3453" y="3777"/>
                      <a:pt x="3453" y="3777"/>
                    </a:cubicBezTo>
                    <a:cubicBezTo>
                      <a:pt x="3601" y="3970"/>
                      <a:pt x="3601" y="3970"/>
                      <a:pt x="3601" y="3970"/>
                    </a:cubicBezTo>
                    <a:cubicBezTo>
                      <a:pt x="3939" y="3858"/>
                      <a:pt x="3939" y="3858"/>
                      <a:pt x="3939" y="3858"/>
                    </a:cubicBezTo>
                    <a:cubicBezTo>
                      <a:pt x="3939" y="3858"/>
                      <a:pt x="3939" y="3858"/>
                      <a:pt x="3939" y="3858"/>
                    </a:cubicBezTo>
                    <a:cubicBezTo>
                      <a:pt x="4121" y="3804"/>
                      <a:pt x="4121" y="3804"/>
                      <a:pt x="4121" y="3804"/>
                    </a:cubicBezTo>
                    <a:cubicBezTo>
                      <a:pt x="4230" y="3494"/>
                      <a:pt x="4230" y="3494"/>
                      <a:pt x="4230" y="3494"/>
                    </a:cubicBezTo>
                    <a:cubicBezTo>
                      <a:pt x="4233" y="3493"/>
                      <a:pt x="4233" y="3493"/>
                      <a:pt x="4233" y="3493"/>
                    </a:cubicBezTo>
                    <a:cubicBezTo>
                      <a:pt x="4233" y="3493"/>
                      <a:pt x="4239" y="3490"/>
                      <a:pt x="4247" y="3487"/>
                    </a:cubicBezTo>
                    <a:cubicBezTo>
                      <a:pt x="4246" y="3484"/>
                      <a:pt x="4218" y="3412"/>
                      <a:pt x="4190" y="3339"/>
                    </a:cubicBezTo>
                    <a:cubicBezTo>
                      <a:pt x="4176" y="3301"/>
                      <a:pt x="4161" y="3263"/>
                      <a:pt x="4151" y="3234"/>
                    </a:cubicBezTo>
                    <a:close/>
                    <a:moveTo>
                      <a:pt x="3169" y="3511"/>
                    </a:moveTo>
                    <a:cubicBezTo>
                      <a:pt x="3145" y="3520"/>
                      <a:pt x="3109" y="3534"/>
                      <a:pt x="3066" y="3554"/>
                    </a:cubicBezTo>
                    <a:cubicBezTo>
                      <a:pt x="3011" y="3579"/>
                      <a:pt x="2961" y="3615"/>
                      <a:pt x="2912" y="3659"/>
                    </a:cubicBezTo>
                    <a:cubicBezTo>
                      <a:pt x="2906" y="3665"/>
                      <a:pt x="2896" y="3675"/>
                      <a:pt x="2896" y="3675"/>
                    </a:cubicBezTo>
                    <a:cubicBezTo>
                      <a:pt x="2895" y="3677"/>
                      <a:pt x="2893" y="3678"/>
                      <a:pt x="2891" y="3680"/>
                    </a:cubicBezTo>
                    <a:cubicBezTo>
                      <a:pt x="3112" y="3763"/>
                      <a:pt x="3112" y="3763"/>
                      <a:pt x="3112" y="3763"/>
                    </a:cubicBezTo>
                    <a:cubicBezTo>
                      <a:pt x="3224" y="3927"/>
                      <a:pt x="3224" y="3927"/>
                      <a:pt x="3224" y="3927"/>
                    </a:cubicBezTo>
                    <a:cubicBezTo>
                      <a:pt x="3399" y="3816"/>
                      <a:pt x="3399" y="3816"/>
                      <a:pt x="3399" y="3816"/>
                    </a:cubicBezTo>
                    <a:cubicBezTo>
                      <a:pt x="3399" y="3816"/>
                      <a:pt x="3399" y="3816"/>
                      <a:pt x="3399" y="3816"/>
                    </a:cubicBezTo>
                    <a:cubicBezTo>
                      <a:pt x="3399" y="3815"/>
                      <a:pt x="3399" y="3815"/>
                      <a:pt x="3399" y="3815"/>
                    </a:cubicBezTo>
                    <a:lnTo>
                      <a:pt x="3169" y="3511"/>
                    </a:lnTo>
                    <a:close/>
                    <a:moveTo>
                      <a:pt x="2877" y="3692"/>
                    </a:moveTo>
                    <a:cubicBezTo>
                      <a:pt x="2839" y="3727"/>
                      <a:pt x="2779" y="3786"/>
                      <a:pt x="2723" y="3855"/>
                    </a:cubicBezTo>
                    <a:cubicBezTo>
                      <a:pt x="2768" y="3868"/>
                      <a:pt x="2830" y="3887"/>
                      <a:pt x="2855" y="3895"/>
                    </a:cubicBezTo>
                    <a:cubicBezTo>
                      <a:pt x="2876" y="3901"/>
                      <a:pt x="2887" y="3907"/>
                      <a:pt x="2895" y="3913"/>
                    </a:cubicBezTo>
                    <a:cubicBezTo>
                      <a:pt x="2898" y="3915"/>
                      <a:pt x="2901" y="3917"/>
                      <a:pt x="2902" y="3919"/>
                    </a:cubicBezTo>
                    <a:cubicBezTo>
                      <a:pt x="2903" y="3920"/>
                      <a:pt x="2903" y="3920"/>
                      <a:pt x="2903" y="3920"/>
                    </a:cubicBezTo>
                    <a:cubicBezTo>
                      <a:pt x="2912" y="3930"/>
                      <a:pt x="2909" y="3931"/>
                      <a:pt x="2910" y="3933"/>
                    </a:cubicBezTo>
                    <a:cubicBezTo>
                      <a:pt x="2911" y="3940"/>
                      <a:pt x="2911" y="3944"/>
                      <a:pt x="2911" y="3955"/>
                    </a:cubicBezTo>
                    <a:cubicBezTo>
                      <a:pt x="2911" y="3992"/>
                      <a:pt x="2909" y="4071"/>
                      <a:pt x="2909" y="4071"/>
                    </a:cubicBezTo>
                    <a:cubicBezTo>
                      <a:pt x="2909" y="4073"/>
                      <a:pt x="2909" y="4073"/>
                      <a:pt x="2909" y="4073"/>
                    </a:cubicBezTo>
                    <a:cubicBezTo>
                      <a:pt x="2880" y="4209"/>
                      <a:pt x="2880" y="4209"/>
                      <a:pt x="2880" y="4209"/>
                    </a:cubicBezTo>
                    <a:cubicBezTo>
                      <a:pt x="2881" y="4213"/>
                      <a:pt x="2884" y="4217"/>
                      <a:pt x="2887" y="4223"/>
                    </a:cubicBezTo>
                    <a:cubicBezTo>
                      <a:pt x="2895" y="4239"/>
                      <a:pt x="2907" y="4262"/>
                      <a:pt x="2917" y="4281"/>
                    </a:cubicBezTo>
                    <a:cubicBezTo>
                      <a:pt x="2922" y="4291"/>
                      <a:pt x="2926" y="4299"/>
                      <a:pt x="2929" y="4305"/>
                    </a:cubicBezTo>
                    <a:cubicBezTo>
                      <a:pt x="2931" y="4308"/>
                      <a:pt x="2932" y="4311"/>
                      <a:pt x="2933" y="4312"/>
                    </a:cubicBezTo>
                    <a:cubicBezTo>
                      <a:pt x="2933" y="4312"/>
                      <a:pt x="2933" y="4312"/>
                      <a:pt x="2933" y="4312"/>
                    </a:cubicBezTo>
                    <a:cubicBezTo>
                      <a:pt x="2939" y="4315"/>
                      <a:pt x="2946" y="4318"/>
                      <a:pt x="2954" y="4321"/>
                    </a:cubicBezTo>
                    <a:cubicBezTo>
                      <a:pt x="3131" y="4112"/>
                      <a:pt x="3131" y="4112"/>
                      <a:pt x="3131" y="4112"/>
                    </a:cubicBezTo>
                    <a:cubicBezTo>
                      <a:pt x="3213" y="3939"/>
                      <a:pt x="3213" y="3939"/>
                      <a:pt x="3213" y="3939"/>
                    </a:cubicBezTo>
                    <a:cubicBezTo>
                      <a:pt x="3101" y="3777"/>
                      <a:pt x="3101" y="3777"/>
                      <a:pt x="3101" y="3777"/>
                    </a:cubicBezTo>
                    <a:lnTo>
                      <a:pt x="2877" y="3692"/>
                    </a:lnTo>
                    <a:close/>
                    <a:moveTo>
                      <a:pt x="2693" y="3893"/>
                    </a:moveTo>
                    <a:cubicBezTo>
                      <a:pt x="2652" y="3946"/>
                      <a:pt x="2619" y="3994"/>
                      <a:pt x="2587" y="4044"/>
                    </a:cubicBezTo>
                    <a:cubicBezTo>
                      <a:pt x="2557" y="4092"/>
                      <a:pt x="2527" y="4140"/>
                      <a:pt x="2493" y="4205"/>
                    </a:cubicBezTo>
                    <a:cubicBezTo>
                      <a:pt x="2452" y="4282"/>
                      <a:pt x="2414" y="4363"/>
                      <a:pt x="2383" y="4436"/>
                    </a:cubicBezTo>
                    <a:cubicBezTo>
                      <a:pt x="2409" y="4431"/>
                      <a:pt x="2430" y="4424"/>
                      <a:pt x="2439" y="4415"/>
                    </a:cubicBezTo>
                    <a:cubicBezTo>
                      <a:pt x="2479" y="4377"/>
                      <a:pt x="2510" y="4324"/>
                      <a:pt x="2519" y="4259"/>
                    </a:cubicBezTo>
                    <a:cubicBezTo>
                      <a:pt x="2529" y="4188"/>
                      <a:pt x="2573" y="4117"/>
                      <a:pt x="2573" y="4116"/>
                    </a:cubicBezTo>
                    <a:cubicBezTo>
                      <a:pt x="2594" y="4129"/>
                      <a:pt x="2594" y="4129"/>
                      <a:pt x="2594" y="4129"/>
                    </a:cubicBezTo>
                    <a:cubicBezTo>
                      <a:pt x="2594" y="4129"/>
                      <a:pt x="2584" y="4146"/>
                      <a:pt x="2572" y="4172"/>
                    </a:cubicBezTo>
                    <a:cubicBezTo>
                      <a:pt x="2561" y="4197"/>
                      <a:pt x="2548" y="4231"/>
                      <a:pt x="2544" y="4262"/>
                    </a:cubicBezTo>
                    <a:cubicBezTo>
                      <a:pt x="2534" y="4329"/>
                      <a:pt x="2503" y="4384"/>
                      <a:pt x="2463" y="4425"/>
                    </a:cubicBezTo>
                    <a:cubicBezTo>
                      <a:pt x="2464" y="4425"/>
                      <a:pt x="2464" y="4425"/>
                      <a:pt x="2464" y="4425"/>
                    </a:cubicBezTo>
                    <a:cubicBezTo>
                      <a:pt x="2464" y="4425"/>
                      <a:pt x="2464" y="4425"/>
                      <a:pt x="2464" y="4425"/>
                    </a:cubicBezTo>
                    <a:cubicBezTo>
                      <a:pt x="2464" y="4426"/>
                      <a:pt x="2464" y="4426"/>
                      <a:pt x="2464" y="4427"/>
                    </a:cubicBezTo>
                    <a:cubicBezTo>
                      <a:pt x="2464" y="4428"/>
                      <a:pt x="2464" y="4435"/>
                      <a:pt x="2468" y="4441"/>
                    </a:cubicBezTo>
                    <a:cubicBezTo>
                      <a:pt x="2472" y="4447"/>
                      <a:pt x="2479" y="4454"/>
                      <a:pt x="2498" y="4455"/>
                    </a:cubicBezTo>
                    <a:cubicBezTo>
                      <a:pt x="2506" y="4456"/>
                      <a:pt x="2515" y="4456"/>
                      <a:pt x="2524" y="4456"/>
                    </a:cubicBezTo>
                    <a:cubicBezTo>
                      <a:pt x="2571" y="4457"/>
                      <a:pt x="2635" y="4447"/>
                      <a:pt x="2649" y="4434"/>
                    </a:cubicBezTo>
                    <a:cubicBezTo>
                      <a:pt x="2662" y="4424"/>
                      <a:pt x="2683" y="4403"/>
                      <a:pt x="2705" y="4383"/>
                    </a:cubicBezTo>
                    <a:cubicBezTo>
                      <a:pt x="2728" y="4364"/>
                      <a:pt x="2748" y="4347"/>
                      <a:pt x="2767" y="4342"/>
                    </a:cubicBezTo>
                    <a:cubicBezTo>
                      <a:pt x="2772" y="4341"/>
                      <a:pt x="2777" y="4340"/>
                      <a:pt x="2783" y="4340"/>
                    </a:cubicBezTo>
                    <a:cubicBezTo>
                      <a:pt x="2834" y="4205"/>
                      <a:pt x="2834" y="4205"/>
                      <a:pt x="2834" y="4205"/>
                    </a:cubicBezTo>
                    <a:cubicBezTo>
                      <a:pt x="2864" y="4067"/>
                      <a:pt x="2864" y="4067"/>
                      <a:pt x="2864" y="4067"/>
                    </a:cubicBezTo>
                    <a:cubicBezTo>
                      <a:pt x="2864" y="4054"/>
                      <a:pt x="2866" y="3987"/>
                      <a:pt x="2866" y="3955"/>
                    </a:cubicBezTo>
                    <a:cubicBezTo>
                      <a:pt x="2866" y="3952"/>
                      <a:pt x="2866" y="3950"/>
                      <a:pt x="2866" y="3948"/>
                    </a:cubicBezTo>
                    <a:cubicBezTo>
                      <a:pt x="2862" y="3945"/>
                      <a:pt x="2855" y="3942"/>
                      <a:pt x="2841" y="3938"/>
                    </a:cubicBezTo>
                    <a:cubicBezTo>
                      <a:pt x="2822" y="3932"/>
                      <a:pt x="2778" y="3918"/>
                      <a:pt x="2739" y="3907"/>
                    </a:cubicBezTo>
                    <a:cubicBezTo>
                      <a:pt x="2722" y="3901"/>
                      <a:pt x="2706" y="3897"/>
                      <a:pt x="2693" y="3893"/>
                    </a:cubicBezTo>
                    <a:close/>
                    <a:moveTo>
                      <a:pt x="2457" y="3868"/>
                    </a:moveTo>
                    <a:cubicBezTo>
                      <a:pt x="2074" y="3866"/>
                      <a:pt x="2074" y="3866"/>
                      <a:pt x="2074" y="3866"/>
                    </a:cubicBezTo>
                    <a:cubicBezTo>
                      <a:pt x="1980" y="3620"/>
                      <a:pt x="1980" y="3620"/>
                      <a:pt x="1980" y="3620"/>
                    </a:cubicBezTo>
                    <a:cubicBezTo>
                      <a:pt x="1978" y="3621"/>
                      <a:pt x="1976" y="3621"/>
                      <a:pt x="1975" y="3621"/>
                    </a:cubicBezTo>
                    <a:cubicBezTo>
                      <a:pt x="1878" y="3642"/>
                      <a:pt x="1641" y="3738"/>
                      <a:pt x="1561" y="3773"/>
                    </a:cubicBezTo>
                    <a:cubicBezTo>
                      <a:pt x="1549" y="3779"/>
                      <a:pt x="1535" y="3785"/>
                      <a:pt x="1522" y="3791"/>
                    </a:cubicBezTo>
                    <a:cubicBezTo>
                      <a:pt x="1891" y="4199"/>
                      <a:pt x="1891" y="4199"/>
                      <a:pt x="1891" y="4199"/>
                    </a:cubicBezTo>
                    <a:cubicBezTo>
                      <a:pt x="1960" y="4143"/>
                      <a:pt x="1960" y="4143"/>
                      <a:pt x="1960" y="4143"/>
                    </a:cubicBezTo>
                    <a:cubicBezTo>
                      <a:pt x="2063" y="3863"/>
                      <a:pt x="2063" y="3863"/>
                      <a:pt x="2063" y="3863"/>
                    </a:cubicBezTo>
                    <a:cubicBezTo>
                      <a:pt x="2105" y="3878"/>
                      <a:pt x="2105" y="3878"/>
                      <a:pt x="2105" y="3878"/>
                    </a:cubicBezTo>
                    <a:cubicBezTo>
                      <a:pt x="2103" y="3882"/>
                      <a:pt x="2103" y="3882"/>
                      <a:pt x="2103" y="3882"/>
                    </a:cubicBezTo>
                    <a:cubicBezTo>
                      <a:pt x="2048" y="4032"/>
                      <a:pt x="2048" y="4032"/>
                      <a:pt x="2048" y="4032"/>
                    </a:cubicBezTo>
                    <a:cubicBezTo>
                      <a:pt x="2072" y="4039"/>
                      <a:pt x="2110" y="4052"/>
                      <a:pt x="2150" y="4065"/>
                    </a:cubicBezTo>
                    <a:cubicBezTo>
                      <a:pt x="2208" y="4084"/>
                      <a:pt x="2265" y="4103"/>
                      <a:pt x="2265" y="4103"/>
                    </a:cubicBezTo>
                    <a:cubicBezTo>
                      <a:pt x="2266" y="4103"/>
                      <a:pt x="2266" y="4103"/>
                      <a:pt x="2266" y="4103"/>
                    </a:cubicBezTo>
                    <a:cubicBezTo>
                      <a:pt x="2322" y="4130"/>
                      <a:pt x="2322" y="4130"/>
                      <a:pt x="2322" y="4130"/>
                    </a:cubicBezTo>
                    <a:cubicBezTo>
                      <a:pt x="2339" y="4056"/>
                      <a:pt x="2339" y="4056"/>
                      <a:pt x="2339" y="4056"/>
                    </a:cubicBezTo>
                    <a:lnTo>
                      <a:pt x="2457" y="3868"/>
                    </a:lnTo>
                    <a:close/>
                    <a:moveTo>
                      <a:pt x="2250" y="4145"/>
                    </a:moveTo>
                    <a:cubicBezTo>
                      <a:pt x="2240" y="4142"/>
                      <a:pt x="2187" y="4125"/>
                      <a:pt x="2133" y="4107"/>
                    </a:cubicBezTo>
                    <a:cubicBezTo>
                      <a:pt x="2103" y="4097"/>
                      <a:pt x="2074" y="4087"/>
                      <a:pt x="2052" y="4080"/>
                    </a:cubicBezTo>
                    <a:cubicBezTo>
                      <a:pt x="2044" y="4078"/>
                      <a:pt x="2038" y="4076"/>
                      <a:pt x="2033" y="4074"/>
                    </a:cubicBezTo>
                    <a:cubicBezTo>
                      <a:pt x="1998" y="4170"/>
                      <a:pt x="1998" y="4170"/>
                      <a:pt x="1998" y="4170"/>
                    </a:cubicBezTo>
                    <a:cubicBezTo>
                      <a:pt x="1921" y="4232"/>
                      <a:pt x="1921" y="4232"/>
                      <a:pt x="1921" y="4232"/>
                    </a:cubicBezTo>
                    <a:cubicBezTo>
                      <a:pt x="1977" y="4295"/>
                      <a:pt x="1977" y="4295"/>
                      <a:pt x="1977" y="4295"/>
                    </a:cubicBezTo>
                    <a:cubicBezTo>
                      <a:pt x="2270" y="4360"/>
                      <a:pt x="2270" y="4360"/>
                      <a:pt x="2270" y="4360"/>
                    </a:cubicBezTo>
                    <a:cubicBezTo>
                      <a:pt x="2312" y="4175"/>
                      <a:pt x="2312" y="4175"/>
                      <a:pt x="2312" y="4175"/>
                    </a:cubicBezTo>
                    <a:lnTo>
                      <a:pt x="2250" y="4145"/>
                    </a:lnTo>
                    <a:close/>
                    <a:moveTo>
                      <a:pt x="1861" y="4281"/>
                    </a:moveTo>
                    <a:cubicBezTo>
                      <a:pt x="1937" y="4361"/>
                      <a:pt x="1937" y="4361"/>
                      <a:pt x="1937" y="4361"/>
                    </a:cubicBezTo>
                    <a:cubicBezTo>
                      <a:pt x="1944" y="4365"/>
                      <a:pt x="1973" y="4381"/>
                      <a:pt x="2011" y="4399"/>
                    </a:cubicBezTo>
                    <a:cubicBezTo>
                      <a:pt x="2054" y="4418"/>
                      <a:pt x="2107" y="4438"/>
                      <a:pt x="2147" y="4441"/>
                    </a:cubicBezTo>
                    <a:cubicBezTo>
                      <a:pt x="2178" y="4442"/>
                      <a:pt x="2220" y="4444"/>
                      <a:pt x="2262" y="4444"/>
                    </a:cubicBezTo>
                    <a:cubicBezTo>
                      <a:pt x="2276" y="4445"/>
                      <a:pt x="2290" y="4444"/>
                      <a:pt x="2304" y="4444"/>
                    </a:cubicBezTo>
                    <a:cubicBezTo>
                      <a:pt x="2333" y="4374"/>
                      <a:pt x="2369" y="4297"/>
                      <a:pt x="2407" y="4221"/>
                    </a:cubicBezTo>
                    <a:cubicBezTo>
                      <a:pt x="2327" y="4183"/>
                      <a:pt x="2327" y="4183"/>
                      <a:pt x="2327" y="4183"/>
                    </a:cubicBezTo>
                    <a:cubicBezTo>
                      <a:pt x="2283" y="4379"/>
                      <a:pt x="2283" y="4379"/>
                      <a:pt x="2283" y="4379"/>
                    </a:cubicBezTo>
                    <a:cubicBezTo>
                      <a:pt x="1969" y="4310"/>
                      <a:pt x="1969" y="4310"/>
                      <a:pt x="1969" y="4310"/>
                    </a:cubicBezTo>
                    <a:cubicBezTo>
                      <a:pt x="1908" y="4243"/>
                      <a:pt x="1908" y="4243"/>
                      <a:pt x="1908" y="4243"/>
                    </a:cubicBezTo>
                    <a:lnTo>
                      <a:pt x="1861" y="4281"/>
                    </a:lnTo>
                    <a:close/>
                    <a:moveTo>
                      <a:pt x="1842" y="4297"/>
                    </a:moveTo>
                    <a:cubicBezTo>
                      <a:pt x="1804" y="4328"/>
                      <a:pt x="1804" y="4328"/>
                      <a:pt x="1804" y="4328"/>
                    </a:cubicBezTo>
                    <a:cubicBezTo>
                      <a:pt x="1835" y="4363"/>
                      <a:pt x="1835" y="4363"/>
                      <a:pt x="1835" y="4363"/>
                    </a:cubicBezTo>
                    <a:cubicBezTo>
                      <a:pt x="1837" y="4365"/>
                      <a:pt x="1841" y="4369"/>
                      <a:pt x="1848" y="4375"/>
                    </a:cubicBezTo>
                    <a:cubicBezTo>
                      <a:pt x="1876" y="4400"/>
                      <a:pt x="1943" y="4455"/>
                      <a:pt x="2017" y="4487"/>
                    </a:cubicBezTo>
                    <a:cubicBezTo>
                      <a:pt x="2097" y="4522"/>
                      <a:pt x="2188" y="4526"/>
                      <a:pt x="2224" y="4525"/>
                    </a:cubicBezTo>
                    <a:cubicBezTo>
                      <a:pt x="2232" y="4525"/>
                      <a:pt x="2251" y="4526"/>
                      <a:pt x="2271" y="4526"/>
                    </a:cubicBezTo>
                    <a:cubicBezTo>
                      <a:pt x="2278" y="4508"/>
                      <a:pt x="2286" y="4489"/>
                      <a:pt x="2294" y="4468"/>
                    </a:cubicBezTo>
                    <a:cubicBezTo>
                      <a:pt x="2283" y="4469"/>
                      <a:pt x="2273" y="4469"/>
                      <a:pt x="2262" y="4469"/>
                    </a:cubicBezTo>
                    <a:cubicBezTo>
                      <a:pt x="2219" y="4469"/>
                      <a:pt x="2177" y="4467"/>
                      <a:pt x="2146" y="4465"/>
                    </a:cubicBezTo>
                    <a:cubicBezTo>
                      <a:pt x="2055" y="4459"/>
                      <a:pt x="1924" y="4381"/>
                      <a:pt x="1923" y="4381"/>
                    </a:cubicBezTo>
                    <a:cubicBezTo>
                      <a:pt x="1922" y="4380"/>
                      <a:pt x="1922" y="4380"/>
                      <a:pt x="1922" y="4380"/>
                    </a:cubicBezTo>
                    <a:lnTo>
                      <a:pt x="1842" y="4297"/>
                    </a:lnTo>
                    <a:close/>
                    <a:moveTo>
                      <a:pt x="2183" y="4593"/>
                    </a:moveTo>
                    <a:cubicBezTo>
                      <a:pt x="2130" y="4832"/>
                      <a:pt x="2130" y="4832"/>
                      <a:pt x="2130" y="4832"/>
                    </a:cubicBezTo>
                    <a:cubicBezTo>
                      <a:pt x="2139" y="4819"/>
                      <a:pt x="2148" y="4805"/>
                      <a:pt x="2155" y="4793"/>
                    </a:cubicBezTo>
                    <a:cubicBezTo>
                      <a:pt x="2185" y="4748"/>
                      <a:pt x="2205" y="4714"/>
                      <a:pt x="2213" y="4702"/>
                    </a:cubicBezTo>
                    <a:cubicBezTo>
                      <a:pt x="2215" y="4689"/>
                      <a:pt x="2223" y="4661"/>
                      <a:pt x="2246" y="4595"/>
                    </a:cubicBezTo>
                    <a:cubicBezTo>
                      <a:pt x="2239" y="4594"/>
                      <a:pt x="2231" y="4594"/>
                      <a:pt x="2224" y="4594"/>
                    </a:cubicBezTo>
                    <a:cubicBezTo>
                      <a:pt x="2214" y="4594"/>
                      <a:pt x="2200" y="4594"/>
                      <a:pt x="2183" y="4593"/>
                    </a:cubicBezTo>
                    <a:close/>
                    <a:moveTo>
                      <a:pt x="2062" y="5048"/>
                    </a:moveTo>
                    <a:cubicBezTo>
                      <a:pt x="2051" y="5064"/>
                      <a:pt x="2038" y="5082"/>
                      <a:pt x="2024" y="5100"/>
                    </a:cubicBezTo>
                    <a:cubicBezTo>
                      <a:pt x="2122" y="5109"/>
                      <a:pt x="2266" y="5123"/>
                      <a:pt x="2302" y="5126"/>
                    </a:cubicBezTo>
                    <a:cubicBezTo>
                      <a:pt x="2305" y="5110"/>
                      <a:pt x="2317" y="5030"/>
                      <a:pt x="2328" y="4952"/>
                    </a:cubicBezTo>
                    <a:cubicBezTo>
                      <a:pt x="2341" y="4867"/>
                      <a:pt x="2353" y="4784"/>
                      <a:pt x="2353" y="4784"/>
                    </a:cubicBezTo>
                    <a:cubicBezTo>
                      <a:pt x="2353" y="4784"/>
                      <a:pt x="2353" y="4784"/>
                      <a:pt x="2353" y="4784"/>
                    </a:cubicBezTo>
                    <a:cubicBezTo>
                      <a:pt x="2353" y="4783"/>
                      <a:pt x="2353" y="4783"/>
                      <a:pt x="2353" y="4783"/>
                    </a:cubicBezTo>
                    <a:cubicBezTo>
                      <a:pt x="2353" y="4783"/>
                      <a:pt x="2371" y="4728"/>
                      <a:pt x="2390" y="4674"/>
                    </a:cubicBezTo>
                    <a:cubicBezTo>
                      <a:pt x="2400" y="4646"/>
                      <a:pt x="2409" y="4619"/>
                      <a:pt x="2417" y="4598"/>
                    </a:cubicBezTo>
                    <a:cubicBezTo>
                      <a:pt x="2419" y="4590"/>
                      <a:pt x="2422" y="4583"/>
                      <a:pt x="2424" y="4577"/>
                    </a:cubicBezTo>
                    <a:cubicBezTo>
                      <a:pt x="2322" y="4585"/>
                      <a:pt x="2322" y="4585"/>
                      <a:pt x="2322" y="4585"/>
                    </a:cubicBezTo>
                    <a:cubicBezTo>
                      <a:pt x="2320" y="4593"/>
                      <a:pt x="2317" y="4600"/>
                      <a:pt x="2314" y="4607"/>
                    </a:cubicBezTo>
                    <a:cubicBezTo>
                      <a:pt x="2297" y="4657"/>
                      <a:pt x="2288" y="4686"/>
                      <a:pt x="2284" y="4702"/>
                    </a:cubicBezTo>
                    <a:cubicBezTo>
                      <a:pt x="2281" y="4710"/>
                      <a:pt x="2280" y="4715"/>
                      <a:pt x="2280" y="4717"/>
                    </a:cubicBezTo>
                    <a:cubicBezTo>
                      <a:pt x="2280" y="4718"/>
                      <a:pt x="2280" y="4718"/>
                      <a:pt x="2279" y="4718"/>
                    </a:cubicBezTo>
                    <a:cubicBezTo>
                      <a:pt x="2279" y="4725"/>
                      <a:pt x="2279" y="4725"/>
                      <a:pt x="2279" y="4725"/>
                    </a:cubicBezTo>
                    <a:cubicBezTo>
                      <a:pt x="2275" y="4732"/>
                      <a:pt x="2275" y="4732"/>
                      <a:pt x="2275" y="4732"/>
                    </a:cubicBezTo>
                    <a:cubicBezTo>
                      <a:pt x="2275" y="4732"/>
                      <a:pt x="2182" y="4890"/>
                      <a:pt x="2062" y="5048"/>
                    </a:cubicBezTo>
                    <a:close/>
                    <a:moveTo>
                      <a:pt x="2173" y="5160"/>
                    </a:moveTo>
                    <a:cubicBezTo>
                      <a:pt x="2087" y="5511"/>
                      <a:pt x="2087" y="5511"/>
                      <a:pt x="2087" y="5511"/>
                    </a:cubicBezTo>
                    <a:cubicBezTo>
                      <a:pt x="2254" y="5570"/>
                      <a:pt x="2254" y="5570"/>
                      <a:pt x="2254" y="5570"/>
                    </a:cubicBezTo>
                    <a:cubicBezTo>
                      <a:pt x="2358" y="5721"/>
                      <a:pt x="2358" y="5721"/>
                      <a:pt x="2358" y="5721"/>
                    </a:cubicBezTo>
                    <a:cubicBezTo>
                      <a:pt x="2371" y="5725"/>
                      <a:pt x="2435" y="5742"/>
                      <a:pt x="2514" y="5764"/>
                    </a:cubicBezTo>
                    <a:cubicBezTo>
                      <a:pt x="2607" y="5203"/>
                      <a:pt x="2607" y="5203"/>
                      <a:pt x="2607" y="5203"/>
                    </a:cubicBezTo>
                    <a:cubicBezTo>
                      <a:pt x="2376" y="5180"/>
                      <a:pt x="2281" y="5170"/>
                      <a:pt x="2281" y="5170"/>
                    </a:cubicBezTo>
                    <a:cubicBezTo>
                      <a:pt x="2281" y="5170"/>
                      <a:pt x="2281" y="5170"/>
                      <a:pt x="2281" y="5170"/>
                    </a:cubicBezTo>
                    <a:cubicBezTo>
                      <a:pt x="2255" y="5168"/>
                      <a:pt x="2216" y="5164"/>
                      <a:pt x="2173" y="5160"/>
                    </a:cubicBezTo>
                    <a:close/>
                    <a:moveTo>
                      <a:pt x="2191" y="6378"/>
                    </a:moveTo>
                    <a:cubicBezTo>
                      <a:pt x="2170" y="6397"/>
                      <a:pt x="2069" y="6493"/>
                      <a:pt x="1968" y="6589"/>
                    </a:cubicBezTo>
                    <a:cubicBezTo>
                      <a:pt x="1957" y="6601"/>
                      <a:pt x="1945" y="6612"/>
                      <a:pt x="1933" y="6623"/>
                    </a:cubicBezTo>
                    <a:cubicBezTo>
                      <a:pt x="2151" y="6757"/>
                      <a:pt x="2151" y="6757"/>
                      <a:pt x="2151" y="6757"/>
                    </a:cubicBezTo>
                    <a:cubicBezTo>
                      <a:pt x="2444" y="6470"/>
                      <a:pt x="2444" y="6470"/>
                      <a:pt x="2444" y="6470"/>
                    </a:cubicBezTo>
                    <a:lnTo>
                      <a:pt x="2191" y="6378"/>
                    </a:lnTo>
                    <a:close/>
                    <a:moveTo>
                      <a:pt x="2054" y="6870"/>
                    </a:moveTo>
                    <a:cubicBezTo>
                      <a:pt x="2243" y="6986"/>
                      <a:pt x="2243" y="6986"/>
                      <a:pt x="2243" y="6986"/>
                    </a:cubicBezTo>
                    <a:cubicBezTo>
                      <a:pt x="2271" y="6959"/>
                      <a:pt x="2305" y="6926"/>
                      <a:pt x="2341" y="6890"/>
                    </a:cubicBezTo>
                    <a:cubicBezTo>
                      <a:pt x="2153" y="6774"/>
                      <a:pt x="2153" y="6774"/>
                      <a:pt x="2153" y="6774"/>
                    </a:cubicBezTo>
                    <a:lnTo>
                      <a:pt x="2054" y="6870"/>
                    </a:lnTo>
                    <a:close/>
                    <a:moveTo>
                      <a:pt x="2255" y="6994"/>
                    </a:moveTo>
                    <a:cubicBezTo>
                      <a:pt x="2485" y="7135"/>
                      <a:pt x="2485" y="7135"/>
                      <a:pt x="2485" y="7135"/>
                    </a:cubicBezTo>
                    <a:cubicBezTo>
                      <a:pt x="2583" y="7039"/>
                      <a:pt x="2583" y="7039"/>
                      <a:pt x="2583" y="7039"/>
                    </a:cubicBezTo>
                    <a:cubicBezTo>
                      <a:pt x="2354" y="6898"/>
                      <a:pt x="2354" y="6898"/>
                      <a:pt x="2354" y="6898"/>
                    </a:cubicBezTo>
                    <a:cubicBezTo>
                      <a:pt x="2320" y="6930"/>
                      <a:pt x="2289" y="6961"/>
                      <a:pt x="2262" y="6987"/>
                    </a:cubicBezTo>
                    <a:cubicBezTo>
                      <a:pt x="2260" y="6989"/>
                      <a:pt x="2257" y="6991"/>
                      <a:pt x="2255" y="6994"/>
                    </a:cubicBezTo>
                    <a:close/>
                    <a:moveTo>
                      <a:pt x="2497" y="7142"/>
                    </a:moveTo>
                    <a:cubicBezTo>
                      <a:pt x="2649" y="7236"/>
                      <a:pt x="2649" y="7236"/>
                      <a:pt x="2649" y="7236"/>
                    </a:cubicBezTo>
                    <a:cubicBezTo>
                      <a:pt x="2718" y="7122"/>
                      <a:pt x="2718" y="7122"/>
                      <a:pt x="2718" y="7122"/>
                    </a:cubicBezTo>
                    <a:cubicBezTo>
                      <a:pt x="2595" y="7047"/>
                      <a:pt x="2595" y="7047"/>
                      <a:pt x="2595" y="7047"/>
                    </a:cubicBezTo>
                    <a:lnTo>
                      <a:pt x="2497" y="7142"/>
                    </a:lnTo>
                    <a:close/>
                    <a:moveTo>
                      <a:pt x="2967" y="6660"/>
                    </a:moveTo>
                    <a:cubicBezTo>
                      <a:pt x="2703" y="6564"/>
                      <a:pt x="2703" y="6564"/>
                      <a:pt x="2703" y="6564"/>
                    </a:cubicBezTo>
                    <a:cubicBezTo>
                      <a:pt x="2670" y="6595"/>
                      <a:pt x="2558" y="6701"/>
                      <a:pt x="2446" y="6809"/>
                    </a:cubicBezTo>
                    <a:cubicBezTo>
                      <a:pt x="2418" y="6836"/>
                      <a:pt x="2390" y="6863"/>
                      <a:pt x="2363" y="6888"/>
                    </a:cubicBezTo>
                    <a:cubicBezTo>
                      <a:pt x="2592" y="7030"/>
                      <a:pt x="2592" y="7030"/>
                      <a:pt x="2592" y="7030"/>
                    </a:cubicBezTo>
                    <a:lnTo>
                      <a:pt x="2967" y="6660"/>
                    </a:lnTo>
                    <a:close/>
                    <a:moveTo>
                      <a:pt x="3162" y="6660"/>
                    </a:moveTo>
                    <a:cubicBezTo>
                      <a:pt x="3313" y="6300"/>
                      <a:pt x="3313" y="6300"/>
                      <a:pt x="3313" y="6300"/>
                    </a:cubicBezTo>
                    <a:cubicBezTo>
                      <a:pt x="3312" y="6300"/>
                      <a:pt x="3312" y="6300"/>
                      <a:pt x="3311" y="6299"/>
                    </a:cubicBezTo>
                    <a:cubicBezTo>
                      <a:pt x="3263" y="6270"/>
                      <a:pt x="3115" y="6167"/>
                      <a:pt x="3067" y="6133"/>
                    </a:cubicBezTo>
                    <a:cubicBezTo>
                      <a:pt x="3028" y="6141"/>
                      <a:pt x="2993" y="6149"/>
                      <a:pt x="2965" y="6159"/>
                    </a:cubicBezTo>
                    <a:cubicBezTo>
                      <a:pt x="2902" y="6181"/>
                      <a:pt x="2859" y="6198"/>
                      <a:pt x="2838" y="6233"/>
                    </a:cubicBezTo>
                    <a:cubicBezTo>
                      <a:pt x="2804" y="6287"/>
                      <a:pt x="2778" y="6365"/>
                      <a:pt x="2761" y="6429"/>
                    </a:cubicBezTo>
                    <a:cubicBezTo>
                      <a:pt x="2753" y="6460"/>
                      <a:pt x="2747" y="6488"/>
                      <a:pt x="2743" y="6508"/>
                    </a:cubicBezTo>
                    <a:lnTo>
                      <a:pt x="3162" y="6660"/>
                    </a:lnTo>
                    <a:close/>
                    <a:moveTo>
                      <a:pt x="3175" y="6665"/>
                    </a:moveTo>
                    <a:cubicBezTo>
                      <a:pt x="3576" y="6811"/>
                      <a:pt x="3576" y="6811"/>
                      <a:pt x="3576" y="6811"/>
                    </a:cubicBezTo>
                    <a:cubicBezTo>
                      <a:pt x="3609" y="6266"/>
                      <a:pt x="3609" y="6266"/>
                      <a:pt x="3609" y="6266"/>
                    </a:cubicBezTo>
                    <a:cubicBezTo>
                      <a:pt x="3469" y="6287"/>
                      <a:pt x="3335" y="6307"/>
                      <a:pt x="3331" y="6308"/>
                    </a:cubicBezTo>
                    <a:cubicBezTo>
                      <a:pt x="3331" y="6308"/>
                      <a:pt x="3331" y="6308"/>
                      <a:pt x="3331" y="6308"/>
                    </a:cubicBezTo>
                    <a:cubicBezTo>
                      <a:pt x="3330" y="6308"/>
                      <a:pt x="3330" y="6308"/>
                      <a:pt x="3330" y="6308"/>
                    </a:cubicBezTo>
                    <a:cubicBezTo>
                      <a:pt x="3330" y="6308"/>
                      <a:pt x="3330" y="6308"/>
                      <a:pt x="3330" y="6308"/>
                    </a:cubicBezTo>
                    <a:cubicBezTo>
                      <a:pt x="3328" y="6308"/>
                      <a:pt x="3326" y="6307"/>
                      <a:pt x="3325" y="6307"/>
                    </a:cubicBezTo>
                    <a:lnTo>
                      <a:pt x="3175" y="6665"/>
                    </a:lnTo>
                    <a:close/>
                    <a:moveTo>
                      <a:pt x="3589" y="6816"/>
                    </a:moveTo>
                    <a:cubicBezTo>
                      <a:pt x="4178" y="7029"/>
                      <a:pt x="4178" y="7029"/>
                      <a:pt x="4178" y="7029"/>
                    </a:cubicBezTo>
                    <a:cubicBezTo>
                      <a:pt x="4096" y="6889"/>
                      <a:pt x="4096" y="6889"/>
                      <a:pt x="4096" y="6889"/>
                    </a:cubicBezTo>
                    <a:cubicBezTo>
                      <a:pt x="4116" y="6792"/>
                      <a:pt x="4116" y="6792"/>
                      <a:pt x="4116" y="6792"/>
                    </a:cubicBezTo>
                    <a:cubicBezTo>
                      <a:pt x="3912" y="6573"/>
                      <a:pt x="3912" y="6573"/>
                      <a:pt x="3912" y="6573"/>
                    </a:cubicBezTo>
                    <a:cubicBezTo>
                      <a:pt x="3912" y="6220"/>
                      <a:pt x="3912" y="6220"/>
                      <a:pt x="3912" y="6220"/>
                    </a:cubicBezTo>
                    <a:cubicBezTo>
                      <a:pt x="3874" y="6226"/>
                      <a:pt x="3748" y="6245"/>
                      <a:pt x="3623" y="6263"/>
                    </a:cubicBezTo>
                    <a:lnTo>
                      <a:pt x="3589" y="6816"/>
                    </a:lnTo>
                    <a:close/>
                    <a:moveTo>
                      <a:pt x="4202" y="7038"/>
                    </a:moveTo>
                    <a:cubicBezTo>
                      <a:pt x="4296" y="7072"/>
                      <a:pt x="4296" y="7072"/>
                      <a:pt x="4296" y="7072"/>
                    </a:cubicBezTo>
                    <a:cubicBezTo>
                      <a:pt x="4312" y="7051"/>
                      <a:pt x="4348" y="7004"/>
                      <a:pt x="4368" y="6973"/>
                    </a:cubicBezTo>
                    <a:cubicBezTo>
                      <a:pt x="4392" y="6936"/>
                      <a:pt x="4404" y="6904"/>
                      <a:pt x="4416" y="6855"/>
                    </a:cubicBezTo>
                    <a:cubicBezTo>
                      <a:pt x="4417" y="6853"/>
                      <a:pt x="4417" y="6849"/>
                      <a:pt x="4418" y="6846"/>
                    </a:cubicBezTo>
                    <a:cubicBezTo>
                      <a:pt x="4359" y="6837"/>
                      <a:pt x="4172" y="6806"/>
                      <a:pt x="4132" y="6800"/>
                    </a:cubicBezTo>
                    <a:cubicBezTo>
                      <a:pt x="4113" y="6886"/>
                      <a:pt x="4113" y="6886"/>
                      <a:pt x="4113" y="6886"/>
                    </a:cubicBezTo>
                    <a:lnTo>
                      <a:pt x="4202" y="7038"/>
                    </a:lnTo>
                    <a:close/>
                    <a:moveTo>
                      <a:pt x="4394" y="7055"/>
                    </a:moveTo>
                    <a:cubicBezTo>
                      <a:pt x="4469" y="7056"/>
                      <a:pt x="4640" y="7059"/>
                      <a:pt x="4687" y="7059"/>
                    </a:cubicBezTo>
                    <a:cubicBezTo>
                      <a:pt x="4689" y="7059"/>
                      <a:pt x="4691" y="7059"/>
                      <a:pt x="4693" y="7059"/>
                    </a:cubicBezTo>
                    <a:cubicBezTo>
                      <a:pt x="4696" y="7024"/>
                      <a:pt x="4707" y="6858"/>
                      <a:pt x="4717" y="6697"/>
                    </a:cubicBezTo>
                    <a:cubicBezTo>
                      <a:pt x="4728" y="6538"/>
                      <a:pt x="4738" y="6383"/>
                      <a:pt x="4739" y="6358"/>
                    </a:cubicBezTo>
                    <a:cubicBezTo>
                      <a:pt x="4584" y="6214"/>
                      <a:pt x="4584" y="6214"/>
                      <a:pt x="4584" y="6214"/>
                    </a:cubicBezTo>
                    <a:cubicBezTo>
                      <a:pt x="4574" y="6269"/>
                      <a:pt x="4561" y="6353"/>
                      <a:pt x="4556" y="6392"/>
                    </a:cubicBezTo>
                    <a:cubicBezTo>
                      <a:pt x="4553" y="6419"/>
                      <a:pt x="4538" y="6524"/>
                      <a:pt x="4522" y="6630"/>
                    </a:cubicBezTo>
                    <a:cubicBezTo>
                      <a:pt x="4506" y="6737"/>
                      <a:pt x="4490" y="6841"/>
                      <a:pt x="4483" y="6871"/>
                    </a:cubicBezTo>
                    <a:cubicBezTo>
                      <a:pt x="4470" y="6923"/>
                      <a:pt x="4455" y="6967"/>
                      <a:pt x="4425" y="7012"/>
                    </a:cubicBezTo>
                    <a:cubicBezTo>
                      <a:pt x="4416" y="7025"/>
                      <a:pt x="4405" y="7040"/>
                      <a:pt x="4394" y="7055"/>
                    </a:cubicBezTo>
                    <a:close/>
                    <a:moveTo>
                      <a:pt x="4795" y="6507"/>
                    </a:moveTo>
                    <a:cubicBezTo>
                      <a:pt x="4800" y="6469"/>
                      <a:pt x="4800" y="6469"/>
                      <a:pt x="4800" y="6469"/>
                    </a:cubicBezTo>
                    <a:cubicBezTo>
                      <a:pt x="4773" y="6467"/>
                      <a:pt x="4753" y="6466"/>
                      <a:pt x="4749" y="6466"/>
                    </a:cubicBezTo>
                    <a:cubicBezTo>
                      <a:pt x="4745" y="6520"/>
                      <a:pt x="4741" y="6590"/>
                      <a:pt x="4736" y="6663"/>
                    </a:cubicBezTo>
                    <a:cubicBezTo>
                      <a:pt x="4766" y="6664"/>
                      <a:pt x="4766" y="6664"/>
                      <a:pt x="4766" y="6664"/>
                    </a:cubicBezTo>
                    <a:cubicBezTo>
                      <a:pt x="4772" y="6613"/>
                      <a:pt x="4772" y="6613"/>
                      <a:pt x="4772" y="6613"/>
                    </a:cubicBezTo>
                    <a:cubicBezTo>
                      <a:pt x="4808" y="6615"/>
                      <a:pt x="4808" y="6615"/>
                      <a:pt x="4808" y="6615"/>
                    </a:cubicBezTo>
                    <a:cubicBezTo>
                      <a:pt x="4817" y="6567"/>
                      <a:pt x="4817" y="6567"/>
                      <a:pt x="4817" y="6567"/>
                    </a:cubicBezTo>
                    <a:cubicBezTo>
                      <a:pt x="4830" y="6567"/>
                      <a:pt x="4830" y="6567"/>
                      <a:pt x="4830" y="6567"/>
                    </a:cubicBezTo>
                    <a:cubicBezTo>
                      <a:pt x="4836" y="6508"/>
                      <a:pt x="4836" y="6508"/>
                      <a:pt x="4836" y="6508"/>
                    </a:cubicBezTo>
                    <a:lnTo>
                      <a:pt x="4795" y="6507"/>
                    </a:lnTo>
                    <a:close/>
                    <a:moveTo>
                      <a:pt x="4814" y="6470"/>
                    </a:moveTo>
                    <a:cubicBezTo>
                      <a:pt x="4811" y="6493"/>
                      <a:pt x="4811" y="6493"/>
                      <a:pt x="4811" y="6493"/>
                    </a:cubicBezTo>
                    <a:cubicBezTo>
                      <a:pt x="4836" y="6494"/>
                      <a:pt x="4836" y="6494"/>
                      <a:pt x="4836" y="6494"/>
                    </a:cubicBezTo>
                    <a:cubicBezTo>
                      <a:pt x="4851" y="6495"/>
                      <a:pt x="4851" y="6495"/>
                      <a:pt x="4851" y="6495"/>
                    </a:cubicBezTo>
                    <a:cubicBezTo>
                      <a:pt x="4850" y="6510"/>
                      <a:pt x="4850" y="6510"/>
                      <a:pt x="4850" y="6510"/>
                    </a:cubicBezTo>
                    <a:cubicBezTo>
                      <a:pt x="4844" y="6568"/>
                      <a:pt x="4844" y="6568"/>
                      <a:pt x="4844" y="6568"/>
                    </a:cubicBezTo>
                    <a:cubicBezTo>
                      <a:pt x="4843" y="6581"/>
                      <a:pt x="4843" y="6581"/>
                      <a:pt x="4843" y="6581"/>
                    </a:cubicBezTo>
                    <a:cubicBezTo>
                      <a:pt x="4830" y="6581"/>
                      <a:pt x="4830" y="6581"/>
                      <a:pt x="4830" y="6581"/>
                    </a:cubicBezTo>
                    <a:cubicBezTo>
                      <a:pt x="4828" y="6581"/>
                      <a:pt x="4828" y="6581"/>
                      <a:pt x="4828" y="6581"/>
                    </a:cubicBezTo>
                    <a:cubicBezTo>
                      <a:pt x="4822" y="6617"/>
                      <a:pt x="4822" y="6617"/>
                      <a:pt x="4822" y="6617"/>
                    </a:cubicBezTo>
                    <a:cubicBezTo>
                      <a:pt x="4820" y="6629"/>
                      <a:pt x="4820" y="6629"/>
                      <a:pt x="4820" y="6629"/>
                    </a:cubicBezTo>
                    <a:cubicBezTo>
                      <a:pt x="4807" y="6629"/>
                      <a:pt x="4807" y="6629"/>
                      <a:pt x="4807" y="6629"/>
                    </a:cubicBezTo>
                    <a:cubicBezTo>
                      <a:pt x="4784" y="6628"/>
                      <a:pt x="4784" y="6628"/>
                      <a:pt x="4784" y="6628"/>
                    </a:cubicBezTo>
                    <a:cubicBezTo>
                      <a:pt x="4780" y="6665"/>
                      <a:pt x="4780" y="6665"/>
                      <a:pt x="4780" y="6665"/>
                    </a:cubicBezTo>
                    <a:cubicBezTo>
                      <a:pt x="4895" y="6671"/>
                      <a:pt x="4895" y="6671"/>
                      <a:pt x="4895" y="6671"/>
                    </a:cubicBezTo>
                    <a:cubicBezTo>
                      <a:pt x="4906" y="6577"/>
                      <a:pt x="4906" y="6577"/>
                      <a:pt x="4906" y="6577"/>
                    </a:cubicBezTo>
                    <a:cubicBezTo>
                      <a:pt x="4907" y="6564"/>
                      <a:pt x="4907" y="6564"/>
                      <a:pt x="4907" y="6564"/>
                    </a:cubicBezTo>
                    <a:cubicBezTo>
                      <a:pt x="4919" y="6564"/>
                      <a:pt x="4919" y="6564"/>
                      <a:pt x="4919" y="6564"/>
                    </a:cubicBezTo>
                    <a:cubicBezTo>
                      <a:pt x="4929" y="6478"/>
                      <a:pt x="4929" y="6478"/>
                      <a:pt x="4929" y="6478"/>
                    </a:cubicBezTo>
                    <a:cubicBezTo>
                      <a:pt x="4895" y="6476"/>
                      <a:pt x="4851" y="6473"/>
                      <a:pt x="4814" y="6470"/>
                    </a:cubicBezTo>
                    <a:close/>
                    <a:moveTo>
                      <a:pt x="4907" y="6460"/>
                    </a:moveTo>
                    <a:cubicBezTo>
                      <a:pt x="4916" y="6461"/>
                      <a:pt x="4924" y="6461"/>
                      <a:pt x="4931" y="6462"/>
                    </a:cubicBezTo>
                    <a:cubicBezTo>
                      <a:pt x="4940" y="6381"/>
                      <a:pt x="4940" y="6381"/>
                      <a:pt x="4940" y="6381"/>
                    </a:cubicBezTo>
                    <a:cubicBezTo>
                      <a:pt x="4864" y="6373"/>
                      <a:pt x="4864" y="6373"/>
                      <a:pt x="4864" y="6373"/>
                    </a:cubicBezTo>
                    <a:cubicBezTo>
                      <a:pt x="4860" y="6410"/>
                      <a:pt x="4860" y="6410"/>
                      <a:pt x="4860" y="6410"/>
                    </a:cubicBezTo>
                    <a:cubicBezTo>
                      <a:pt x="4858" y="6423"/>
                      <a:pt x="4858" y="6423"/>
                      <a:pt x="4858" y="6423"/>
                    </a:cubicBezTo>
                    <a:cubicBezTo>
                      <a:pt x="4845" y="6422"/>
                      <a:pt x="4845" y="6422"/>
                      <a:pt x="4845" y="6422"/>
                    </a:cubicBezTo>
                    <a:cubicBezTo>
                      <a:pt x="4820" y="6421"/>
                      <a:pt x="4820" y="6421"/>
                      <a:pt x="4820" y="6421"/>
                    </a:cubicBezTo>
                    <a:cubicBezTo>
                      <a:pt x="4816" y="6454"/>
                      <a:pt x="4816" y="6454"/>
                      <a:pt x="4816" y="6454"/>
                    </a:cubicBezTo>
                    <a:cubicBezTo>
                      <a:pt x="4845" y="6456"/>
                      <a:pt x="4878" y="6458"/>
                      <a:pt x="4907" y="6460"/>
                    </a:cubicBezTo>
                    <a:close/>
                    <a:moveTo>
                      <a:pt x="4814" y="6705"/>
                    </a:moveTo>
                    <a:cubicBezTo>
                      <a:pt x="4813" y="6719"/>
                      <a:pt x="4813" y="6719"/>
                      <a:pt x="4813" y="6719"/>
                    </a:cubicBezTo>
                    <a:cubicBezTo>
                      <a:pt x="4809" y="6759"/>
                      <a:pt x="4809" y="6759"/>
                      <a:pt x="4809" y="6759"/>
                    </a:cubicBezTo>
                    <a:cubicBezTo>
                      <a:pt x="4883" y="6768"/>
                      <a:pt x="4883" y="6768"/>
                      <a:pt x="4883" y="6768"/>
                    </a:cubicBezTo>
                    <a:cubicBezTo>
                      <a:pt x="4893" y="6687"/>
                      <a:pt x="4893" y="6687"/>
                      <a:pt x="4893" y="6687"/>
                    </a:cubicBezTo>
                    <a:cubicBezTo>
                      <a:pt x="4778" y="6681"/>
                      <a:pt x="4778" y="6681"/>
                      <a:pt x="4778" y="6681"/>
                    </a:cubicBezTo>
                    <a:cubicBezTo>
                      <a:pt x="4776" y="6702"/>
                      <a:pt x="4776" y="6702"/>
                      <a:pt x="4776" y="6702"/>
                    </a:cubicBezTo>
                    <a:cubicBezTo>
                      <a:pt x="4800" y="6704"/>
                      <a:pt x="4800" y="6704"/>
                      <a:pt x="4800" y="6704"/>
                    </a:cubicBezTo>
                    <a:lnTo>
                      <a:pt x="4814" y="6705"/>
                    </a:lnTo>
                    <a:close/>
                    <a:moveTo>
                      <a:pt x="4721" y="6897"/>
                    </a:moveTo>
                    <a:cubicBezTo>
                      <a:pt x="4742" y="6886"/>
                      <a:pt x="4784" y="6864"/>
                      <a:pt x="4827" y="6841"/>
                    </a:cubicBezTo>
                    <a:cubicBezTo>
                      <a:pt x="4857" y="6825"/>
                      <a:pt x="4887" y="6809"/>
                      <a:pt x="4910" y="6797"/>
                    </a:cubicBezTo>
                    <a:cubicBezTo>
                      <a:pt x="4924" y="6789"/>
                      <a:pt x="4935" y="6784"/>
                      <a:pt x="4942" y="6780"/>
                    </a:cubicBezTo>
                    <a:cubicBezTo>
                      <a:pt x="4939" y="6755"/>
                      <a:pt x="4940" y="6738"/>
                      <a:pt x="4940" y="6717"/>
                    </a:cubicBezTo>
                    <a:cubicBezTo>
                      <a:pt x="4940" y="6707"/>
                      <a:pt x="4940" y="6698"/>
                      <a:pt x="4940" y="6689"/>
                    </a:cubicBezTo>
                    <a:cubicBezTo>
                      <a:pt x="4907" y="6688"/>
                      <a:pt x="4907" y="6688"/>
                      <a:pt x="4907" y="6688"/>
                    </a:cubicBezTo>
                    <a:cubicBezTo>
                      <a:pt x="4895" y="6784"/>
                      <a:pt x="4895" y="6784"/>
                      <a:pt x="4895" y="6784"/>
                    </a:cubicBezTo>
                    <a:cubicBezTo>
                      <a:pt x="4794" y="6771"/>
                      <a:pt x="4794" y="6771"/>
                      <a:pt x="4794" y="6771"/>
                    </a:cubicBezTo>
                    <a:cubicBezTo>
                      <a:pt x="4799" y="6718"/>
                      <a:pt x="4799" y="6718"/>
                      <a:pt x="4799" y="6718"/>
                    </a:cubicBezTo>
                    <a:cubicBezTo>
                      <a:pt x="4760" y="6715"/>
                      <a:pt x="4760" y="6715"/>
                      <a:pt x="4760" y="6715"/>
                    </a:cubicBezTo>
                    <a:cubicBezTo>
                      <a:pt x="4764" y="6681"/>
                      <a:pt x="4764" y="6681"/>
                      <a:pt x="4764" y="6681"/>
                    </a:cubicBezTo>
                    <a:cubicBezTo>
                      <a:pt x="4735" y="6679"/>
                      <a:pt x="4735" y="6679"/>
                      <a:pt x="4735" y="6679"/>
                    </a:cubicBezTo>
                    <a:cubicBezTo>
                      <a:pt x="4734" y="6690"/>
                      <a:pt x="4734" y="6700"/>
                      <a:pt x="4733" y="6711"/>
                    </a:cubicBezTo>
                    <a:cubicBezTo>
                      <a:pt x="4729" y="6776"/>
                      <a:pt x="4724" y="6841"/>
                      <a:pt x="4721" y="6897"/>
                    </a:cubicBezTo>
                    <a:close/>
                    <a:moveTo>
                      <a:pt x="4963" y="6480"/>
                    </a:moveTo>
                    <a:cubicBezTo>
                      <a:pt x="4957" y="6480"/>
                      <a:pt x="4950" y="6480"/>
                      <a:pt x="4943" y="6479"/>
                    </a:cubicBezTo>
                    <a:cubicBezTo>
                      <a:pt x="4932" y="6579"/>
                      <a:pt x="4932" y="6579"/>
                      <a:pt x="4932" y="6579"/>
                    </a:cubicBezTo>
                    <a:cubicBezTo>
                      <a:pt x="4920" y="6578"/>
                      <a:pt x="4920" y="6578"/>
                      <a:pt x="4920" y="6578"/>
                    </a:cubicBezTo>
                    <a:cubicBezTo>
                      <a:pt x="4909" y="6671"/>
                      <a:pt x="4909" y="6671"/>
                      <a:pt x="4909" y="6671"/>
                    </a:cubicBezTo>
                    <a:cubicBezTo>
                      <a:pt x="4941" y="6673"/>
                      <a:pt x="4941" y="6673"/>
                      <a:pt x="4941" y="6673"/>
                    </a:cubicBezTo>
                    <a:cubicBezTo>
                      <a:pt x="4941" y="6670"/>
                      <a:pt x="4941" y="6667"/>
                      <a:pt x="4942" y="6665"/>
                    </a:cubicBezTo>
                    <a:cubicBezTo>
                      <a:pt x="4947" y="6604"/>
                      <a:pt x="4956" y="6532"/>
                      <a:pt x="4963" y="6480"/>
                    </a:cubicBezTo>
                    <a:close/>
                    <a:moveTo>
                      <a:pt x="4965" y="6464"/>
                    </a:moveTo>
                    <a:cubicBezTo>
                      <a:pt x="4968" y="6445"/>
                      <a:pt x="4970" y="6430"/>
                      <a:pt x="4972" y="6421"/>
                    </a:cubicBezTo>
                    <a:cubicBezTo>
                      <a:pt x="4974" y="6403"/>
                      <a:pt x="4979" y="6371"/>
                      <a:pt x="4983" y="6336"/>
                    </a:cubicBezTo>
                    <a:cubicBezTo>
                      <a:pt x="4934" y="6342"/>
                      <a:pt x="4789" y="6358"/>
                      <a:pt x="4755" y="6362"/>
                    </a:cubicBezTo>
                    <a:cubicBezTo>
                      <a:pt x="4755" y="6375"/>
                      <a:pt x="4753" y="6407"/>
                      <a:pt x="4750" y="6449"/>
                    </a:cubicBezTo>
                    <a:cubicBezTo>
                      <a:pt x="4756" y="6450"/>
                      <a:pt x="4776" y="6451"/>
                      <a:pt x="4802" y="6453"/>
                    </a:cubicBezTo>
                    <a:cubicBezTo>
                      <a:pt x="4808" y="6406"/>
                      <a:pt x="4808" y="6406"/>
                      <a:pt x="4808" y="6406"/>
                    </a:cubicBezTo>
                    <a:cubicBezTo>
                      <a:pt x="4846" y="6408"/>
                      <a:pt x="4846" y="6408"/>
                      <a:pt x="4846" y="6408"/>
                    </a:cubicBezTo>
                    <a:cubicBezTo>
                      <a:pt x="4852" y="6358"/>
                      <a:pt x="4852" y="6358"/>
                      <a:pt x="4852" y="6358"/>
                    </a:cubicBezTo>
                    <a:cubicBezTo>
                      <a:pt x="4955" y="6368"/>
                      <a:pt x="4955" y="6368"/>
                      <a:pt x="4955" y="6368"/>
                    </a:cubicBezTo>
                    <a:cubicBezTo>
                      <a:pt x="4945" y="6463"/>
                      <a:pt x="4945" y="6463"/>
                      <a:pt x="4945" y="6463"/>
                    </a:cubicBezTo>
                    <a:cubicBezTo>
                      <a:pt x="4946" y="6463"/>
                      <a:pt x="4946" y="6463"/>
                      <a:pt x="4946" y="6463"/>
                    </a:cubicBezTo>
                    <a:cubicBezTo>
                      <a:pt x="4946" y="6463"/>
                      <a:pt x="4946" y="6463"/>
                      <a:pt x="4946" y="6463"/>
                    </a:cubicBezTo>
                    <a:cubicBezTo>
                      <a:pt x="4954" y="6463"/>
                      <a:pt x="4960" y="6464"/>
                      <a:pt x="4965" y="6464"/>
                    </a:cubicBezTo>
                    <a:close/>
                    <a:moveTo>
                      <a:pt x="4986" y="6319"/>
                    </a:moveTo>
                    <a:cubicBezTo>
                      <a:pt x="4989" y="6297"/>
                      <a:pt x="4991" y="6274"/>
                      <a:pt x="4994" y="6252"/>
                    </a:cubicBezTo>
                    <a:cubicBezTo>
                      <a:pt x="4999" y="6206"/>
                      <a:pt x="5002" y="6163"/>
                      <a:pt x="5003" y="6152"/>
                    </a:cubicBezTo>
                    <a:cubicBezTo>
                      <a:pt x="5003" y="6145"/>
                      <a:pt x="5004" y="6134"/>
                      <a:pt x="5004" y="6121"/>
                    </a:cubicBezTo>
                    <a:cubicBezTo>
                      <a:pt x="5004" y="6030"/>
                      <a:pt x="4990" y="5820"/>
                      <a:pt x="4844" y="5662"/>
                    </a:cubicBezTo>
                    <a:cubicBezTo>
                      <a:pt x="4818" y="5697"/>
                      <a:pt x="4787" y="5743"/>
                      <a:pt x="4761" y="5783"/>
                    </a:cubicBezTo>
                    <a:cubicBezTo>
                      <a:pt x="4742" y="5812"/>
                      <a:pt x="4725" y="5839"/>
                      <a:pt x="4713" y="5857"/>
                    </a:cubicBezTo>
                    <a:cubicBezTo>
                      <a:pt x="4711" y="5862"/>
                      <a:pt x="4684" y="5930"/>
                      <a:pt x="4655" y="6005"/>
                    </a:cubicBezTo>
                    <a:cubicBezTo>
                      <a:pt x="4640" y="6043"/>
                      <a:pt x="4624" y="6084"/>
                      <a:pt x="4612" y="6117"/>
                    </a:cubicBezTo>
                    <a:cubicBezTo>
                      <a:pt x="4600" y="6150"/>
                      <a:pt x="4591" y="6178"/>
                      <a:pt x="4590" y="6185"/>
                    </a:cubicBezTo>
                    <a:cubicBezTo>
                      <a:pt x="4589" y="6188"/>
                      <a:pt x="4589" y="6192"/>
                      <a:pt x="4588" y="6195"/>
                    </a:cubicBezTo>
                    <a:cubicBezTo>
                      <a:pt x="4750" y="6346"/>
                      <a:pt x="4750" y="6346"/>
                      <a:pt x="4750" y="6346"/>
                    </a:cubicBezTo>
                    <a:cubicBezTo>
                      <a:pt x="4751" y="6346"/>
                      <a:pt x="4751" y="6346"/>
                      <a:pt x="4751" y="6346"/>
                    </a:cubicBezTo>
                    <a:cubicBezTo>
                      <a:pt x="4768" y="6344"/>
                      <a:pt x="4829" y="6337"/>
                      <a:pt x="4886" y="6331"/>
                    </a:cubicBezTo>
                    <a:cubicBezTo>
                      <a:pt x="4915" y="6327"/>
                      <a:pt x="4942" y="6324"/>
                      <a:pt x="4963" y="6322"/>
                    </a:cubicBezTo>
                    <a:cubicBezTo>
                      <a:pt x="4972" y="6321"/>
                      <a:pt x="4980" y="6320"/>
                      <a:pt x="4986" y="6319"/>
                    </a:cubicBezTo>
                    <a:close/>
                    <a:moveTo>
                      <a:pt x="4985" y="6717"/>
                    </a:moveTo>
                    <a:cubicBezTo>
                      <a:pt x="4985" y="6737"/>
                      <a:pt x="4986" y="6758"/>
                      <a:pt x="4988" y="6770"/>
                    </a:cubicBezTo>
                    <a:cubicBezTo>
                      <a:pt x="4988" y="6775"/>
                      <a:pt x="4988" y="6775"/>
                      <a:pt x="4988" y="6775"/>
                    </a:cubicBezTo>
                    <a:cubicBezTo>
                      <a:pt x="4988" y="6780"/>
                      <a:pt x="4989" y="6785"/>
                      <a:pt x="4990" y="6791"/>
                    </a:cubicBezTo>
                    <a:cubicBezTo>
                      <a:pt x="5011" y="6776"/>
                      <a:pt x="5049" y="6746"/>
                      <a:pt x="5088" y="6717"/>
                    </a:cubicBezTo>
                    <a:cubicBezTo>
                      <a:pt x="5116" y="6695"/>
                      <a:pt x="5145" y="6674"/>
                      <a:pt x="5166" y="6658"/>
                    </a:cubicBezTo>
                    <a:cubicBezTo>
                      <a:pt x="5177" y="6650"/>
                      <a:pt x="5186" y="6643"/>
                      <a:pt x="5193" y="6638"/>
                    </a:cubicBezTo>
                    <a:cubicBezTo>
                      <a:pt x="5196" y="6636"/>
                      <a:pt x="5199" y="6634"/>
                      <a:pt x="5200" y="6633"/>
                    </a:cubicBezTo>
                    <a:cubicBezTo>
                      <a:pt x="5202" y="6632"/>
                      <a:pt x="5202" y="6631"/>
                      <a:pt x="5203" y="6631"/>
                    </a:cubicBezTo>
                    <a:cubicBezTo>
                      <a:pt x="5206" y="6627"/>
                      <a:pt x="5217" y="6607"/>
                      <a:pt x="5231" y="6582"/>
                    </a:cubicBezTo>
                    <a:cubicBezTo>
                      <a:pt x="5278" y="6497"/>
                      <a:pt x="5365" y="6336"/>
                      <a:pt x="5366" y="6335"/>
                    </a:cubicBezTo>
                    <a:cubicBezTo>
                      <a:pt x="5368" y="6330"/>
                      <a:pt x="5368" y="6330"/>
                      <a:pt x="5368" y="6330"/>
                    </a:cubicBezTo>
                    <a:cubicBezTo>
                      <a:pt x="5407" y="6336"/>
                      <a:pt x="5407" y="6336"/>
                      <a:pt x="5407" y="6336"/>
                    </a:cubicBezTo>
                    <a:cubicBezTo>
                      <a:pt x="5431" y="6197"/>
                      <a:pt x="5431" y="6197"/>
                      <a:pt x="5431" y="6197"/>
                    </a:cubicBezTo>
                    <a:cubicBezTo>
                      <a:pt x="5291" y="6168"/>
                      <a:pt x="5291" y="6168"/>
                      <a:pt x="5291" y="6168"/>
                    </a:cubicBezTo>
                    <a:cubicBezTo>
                      <a:pt x="5047" y="6169"/>
                      <a:pt x="5047" y="6169"/>
                      <a:pt x="5047" y="6169"/>
                    </a:cubicBezTo>
                    <a:cubicBezTo>
                      <a:pt x="5047" y="6169"/>
                      <a:pt x="5047" y="6170"/>
                      <a:pt x="5047" y="6170"/>
                    </a:cubicBezTo>
                    <a:cubicBezTo>
                      <a:pt x="5047" y="6170"/>
                      <a:pt x="5047" y="6170"/>
                      <a:pt x="5047" y="6170"/>
                    </a:cubicBezTo>
                    <a:cubicBezTo>
                      <a:pt x="5045" y="6189"/>
                      <a:pt x="5043" y="6222"/>
                      <a:pt x="5039" y="6257"/>
                    </a:cubicBezTo>
                    <a:cubicBezTo>
                      <a:pt x="5031" y="6322"/>
                      <a:pt x="5021" y="6396"/>
                      <a:pt x="5016" y="6428"/>
                    </a:cubicBezTo>
                    <a:cubicBezTo>
                      <a:pt x="5011" y="6463"/>
                      <a:pt x="4994" y="6579"/>
                      <a:pt x="4986" y="6669"/>
                    </a:cubicBezTo>
                    <a:cubicBezTo>
                      <a:pt x="4986" y="6676"/>
                      <a:pt x="4985" y="6696"/>
                      <a:pt x="4985" y="6717"/>
                    </a:cubicBezTo>
                    <a:close/>
                    <a:moveTo>
                      <a:pt x="5546" y="6189"/>
                    </a:moveTo>
                    <a:cubicBezTo>
                      <a:pt x="5560" y="6112"/>
                      <a:pt x="5560" y="6112"/>
                      <a:pt x="5560" y="6112"/>
                    </a:cubicBezTo>
                    <a:cubicBezTo>
                      <a:pt x="5440" y="6090"/>
                      <a:pt x="5440" y="6090"/>
                      <a:pt x="5440" y="6090"/>
                    </a:cubicBezTo>
                    <a:cubicBezTo>
                      <a:pt x="5426" y="6167"/>
                      <a:pt x="5426" y="6167"/>
                      <a:pt x="5426" y="6167"/>
                    </a:cubicBezTo>
                    <a:lnTo>
                      <a:pt x="5546" y="6189"/>
                    </a:lnTo>
                    <a:close/>
                    <a:moveTo>
                      <a:pt x="5450" y="6185"/>
                    </a:moveTo>
                    <a:cubicBezTo>
                      <a:pt x="5450" y="6185"/>
                      <a:pt x="5450" y="6185"/>
                      <a:pt x="5450" y="6185"/>
                    </a:cubicBezTo>
                    <a:cubicBezTo>
                      <a:pt x="5451" y="6185"/>
                      <a:pt x="5452" y="6185"/>
                      <a:pt x="5454" y="6186"/>
                    </a:cubicBezTo>
                    <a:lnTo>
                      <a:pt x="5450" y="6185"/>
                    </a:lnTo>
                    <a:close/>
                    <a:moveTo>
                      <a:pt x="5423" y="6341"/>
                    </a:moveTo>
                    <a:cubicBezTo>
                      <a:pt x="5445" y="6346"/>
                      <a:pt x="5491" y="6355"/>
                      <a:pt x="5538" y="6364"/>
                    </a:cubicBezTo>
                    <a:cubicBezTo>
                      <a:pt x="5590" y="6374"/>
                      <a:pt x="5644" y="6383"/>
                      <a:pt x="5668" y="6387"/>
                    </a:cubicBezTo>
                    <a:cubicBezTo>
                      <a:pt x="5685" y="6237"/>
                      <a:pt x="5685" y="6237"/>
                      <a:pt x="5685" y="6237"/>
                    </a:cubicBezTo>
                    <a:cubicBezTo>
                      <a:pt x="5664" y="6234"/>
                      <a:pt x="5618" y="6227"/>
                      <a:pt x="5571" y="6220"/>
                    </a:cubicBezTo>
                    <a:cubicBezTo>
                      <a:pt x="5519" y="6212"/>
                      <a:pt x="5465" y="6202"/>
                      <a:pt x="5447" y="6199"/>
                    </a:cubicBezTo>
                    <a:lnTo>
                      <a:pt x="5423" y="6341"/>
                    </a:lnTo>
                    <a:close/>
                    <a:moveTo>
                      <a:pt x="5687" y="6223"/>
                    </a:moveTo>
                    <a:cubicBezTo>
                      <a:pt x="5716" y="5960"/>
                      <a:pt x="5716" y="5960"/>
                      <a:pt x="5716" y="5960"/>
                    </a:cubicBezTo>
                    <a:cubicBezTo>
                      <a:pt x="5385" y="5898"/>
                      <a:pt x="5385" y="5898"/>
                      <a:pt x="5385" y="5898"/>
                    </a:cubicBezTo>
                    <a:cubicBezTo>
                      <a:pt x="5387" y="5908"/>
                      <a:pt x="5387" y="5908"/>
                      <a:pt x="5387" y="5908"/>
                    </a:cubicBezTo>
                    <a:cubicBezTo>
                      <a:pt x="5386" y="5909"/>
                      <a:pt x="5386" y="5909"/>
                      <a:pt x="5386" y="5909"/>
                    </a:cubicBezTo>
                    <a:cubicBezTo>
                      <a:pt x="5386" y="5909"/>
                      <a:pt x="5372" y="5972"/>
                      <a:pt x="5357" y="6035"/>
                    </a:cubicBezTo>
                    <a:cubicBezTo>
                      <a:pt x="5349" y="6067"/>
                      <a:pt x="5341" y="6099"/>
                      <a:pt x="5335" y="6123"/>
                    </a:cubicBezTo>
                    <a:cubicBezTo>
                      <a:pt x="5332" y="6135"/>
                      <a:pt x="5329" y="6145"/>
                      <a:pt x="5327" y="6152"/>
                    </a:cubicBezTo>
                    <a:cubicBezTo>
                      <a:pt x="5326" y="6155"/>
                      <a:pt x="5326" y="6156"/>
                      <a:pt x="5325" y="6158"/>
                    </a:cubicBezTo>
                    <a:cubicBezTo>
                      <a:pt x="5411" y="6176"/>
                      <a:pt x="5411" y="6176"/>
                      <a:pt x="5411" y="6176"/>
                    </a:cubicBezTo>
                    <a:cubicBezTo>
                      <a:pt x="5412" y="6171"/>
                      <a:pt x="5412" y="6171"/>
                      <a:pt x="5412" y="6171"/>
                    </a:cubicBezTo>
                    <a:cubicBezTo>
                      <a:pt x="5429" y="6075"/>
                      <a:pt x="5429" y="6075"/>
                      <a:pt x="5429" y="6075"/>
                    </a:cubicBezTo>
                    <a:cubicBezTo>
                      <a:pt x="5575" y="6101"/>
                      <a:pt x="5575" y="6101"/>
                      <a:pt x="5575" y="6101"/>
                    </a:cubicBezTo>
                    <a:cubicBezTo>
                      <a:pt x="5557" y="6202"/>
                      <a:pt x="5557" y="6202"/>
                      <a:pt x="5557" y="6202"/>
                    </a:cubicBezTo>
                    <a:cubicBezTo>
                      <a:pt x="5609" y="6210"/>
                      <a:pt x="5663" y="6219"/>
                      <a:pt x="5687" y="6223"/>
                    </a:cubicBezTo>
                    <a:close/>
                    <a:moveTo>
                      <a:pt x="5718" y="5946"/>
                    </a:moveTo>
                    <a:cubicBezTo>
                      <a:pt x="5732" y="5818"/>
                      <a:pt x="5732" y="5818"/>
                      <a:pt x="5732" y="5818"/>
                    </a:cubicBezTo>
                    <a:cubicBezTo>
                      <a:pt x="5649" y="5803"/>
                      <a:pt x="5446" y="5764"/>
                      <a:pt x="5370" y="5750"/>
                    </a:cubicBezTo>
                    <a:cubicBezTo>
                      <a:pt x="5384" y="5883"/>
                      <a:pt x="5384" y="5883"/>
                      <a:pt x="5384" y="5883"/>
                    </a:cubicBezTo>
                    <a:lnTo>
                      <a:pt x="5718" y="5946"/>
                    </a:lnTo>
                    <a:close/>
                    <a:moveTo>
                      <a:pt x="5734" y="5804"/>
                    </a:moveTo>
                    <a:cubicBezTo>
                      <a:pt x="5751" y="5653"/>
                      <a:pt x="5751" y="5653"/>
                      <a:pt x="5751" y="5653"/>
                    </a:cubicBezTo>
                    <a:cubicBezTo>
                      <a:pt x="5679" y="5640"/>
                      <a:pt x="5411" y="5589"/>
                      <a:pt x="5352" y="5578"/>
                    </a:cubicBezTo>
                    <a:cubicBezTo>
                      <a:pt x="5369" y="5735"/>
                      <a:pt x="5369" y="5735"/>
                      <a:pt x="5369" y="5735"/>
                    </a:cubicBezTo>
                    <a:cubicBezTo>
                      <a:pt x="5406" y="5742"/>
                      <a:pt x="5480" y="5756"/>
                      <a:pt x="5555" y="5771"/>
                    </a:cubicBezTo>
                    <a:cubicBezTo>
                      <a:pt x="5623" y="5784"/>
                      <a:pt x="5693" y="5797"/>
                      <a:pt x="5734" y="5804"/>
                    </a:cubicBezTo>
                    <a:close/>
                    <a:moveTo>
                      <a:pt x="5801" y="5215"/>
                    </a:moveTo>
                    <a:cubicBezTo>
                      <a:pt x="5827" y="4981"/>
                      <a:pt x="5827" y="4981"/>
                      <a:pt x="5827" y="4981"/>
                    </a:cubicBezTo>
                    <a:cubicBezTo>
                      <a:pt x="5799" y="4976"/>
                      <a:pt x="5724" y="4962"/>
                      <a:pt x="5647" y="4947"/>
                    </a:cubicBezTo>
                    <a:cubicBezTo>
                      <a:pt x="5551" y="4928"/>
                      <a:pt x="5450" y="4910"/>
                      <a:pt x="5445" y="4910"/>
                    </a:cubicBezTo>
                    <a:cubicBezTo>
                      <a:pt x="5445" y="4907"/>
                      <a:pt x="5445" y="4907"/>
                      <a:pt x="5445" y="4907"/>
                    </a:cubicBezTo>
                    <a:cubicBezTo>
                      <a:pt x="5445" y="4903"/>
                      <a:pt x="5445" y="4903"/>
                      <a:pt x="5445" y="4903"/>
                    </a:cubicBezTo>
                    <a:cubicBezTo>
                      <a:pt x="5444" y="4902"/>
                      <a:pt x="5444" y="4902"/>
                      <a:pt x="5444" y="4902"/>
                    </a:cubicBezTo>
                    <a:cubicBezTo>
                      <a:pt x="5396" y="5139"/>
                      <a:pt x="5396" y="5139"/>
                      <a:pt x="5396" y="5139"/>
                    </a:cubicBezTo>
                    <a:cubicBezTo>
                      <a:pt x="5419" y="5143"/>
                      <a:pt x="5510" y="5161"/>
                      <a:pt x="5602" y="5178"/>
                    </a:cubicBezTo>
                    <a:cubicBezTo>
                      <a:pt x="5684" y="5194"/>
                      <a:pt x="5767" y="5209"/>
                      <a:pt x="5801" y="5215"/>
                    </a:cubicBezTo>
                    <a:close/>
                    <a:moveTo>
                      <a:pt x="5829" y="4968"/>
                    </a:moveTo>
                    <a:cubicBezTo>
                      <a:pt x="5853" y="4752"/>
                      <a:pt x="5853" y="4752"/>
                      <a:pt x="5853" y="4752"/>
                    </a:cubicBezTo>
                    <a:cubicBezTo>
                      <a:pt x="5481" y="4719"/>
                      <a:pt x="5481" y="4719"/>
                      <a:pt x="5481" y="4719"/>
                    </a:cubicBezTo>
                    <a:cubicBezTo>
                      <a:pt x="5445" y="4896"/>
                      <a:pt x="5445" y="4896"/>
                      <a:pt x="5445" y="4896"/>
                    </a:cubicBezTo>
                    <a:cubicBezTo>
                      <a:pt x="5445" y="4896"/>
                      <a:pt x="5445" y="4896"/>
                      <a:pt x="5445" y="4896"/>
                    </a:cubicBezTo>
                    <a:cubicBezTo>
                      <a:pt x="5460" y="4896"/>
                      <a:pt x="5763" y="4955"/>
                      <a:pt x="5829" y="4968"/>
                    </a:cubicBezTo>
                    <a:close/>
                    <a:moveTo>
                      <a:pt x="5858" y="4707"/>
                    </a:moveTo>
                    <a:cubicBezTo>
                      <a:pt x="5888" y="4445"/>
                      <a:pt x="5888" y="4445"/>
                      <a:pt x="5888" y="4445"/>
                    </a:cubicBezTo>
                    <a:cubicBezTo>
                      <a:pt x="5840" y="4339"/>
                      <a:pt x="5840" y="4339"/>
                      <a:pt x="5840" y="4339"/>
                    </a:cubicBezTo>
                    <a:cubicBezTo>
                      <a:pt x="5847" y="4243"/>
                      <a:pt x="5847" y="4243"/>
                      <a:pt x="5847" y="4243"/>
                    </a:cubicBezTo>
                    <a:cubicBezTo>
                      <a:pt x="5810" y="4245"/>
                      <a:pt x="5739" y="4250"/>
                      <a:pt x="5729" y="4250"/>
                    </a:cubicBezTo>
                    <a:cubicBezTo>
                      <a:pt x="5439" y="4348"/>
                      <a:pt x="5439" y="4348"/>
                      <a:pt x="5439" y="4348"/>
                    </a:cubicBezTo>
                    <a:cubicBezTo>
                      <a:pt x="5638" y="4506"/>
                      <a:pt x="5638" y="4506"/>
                      <a:pt x="5638" y="4506"/>
                    </a:cubicBezTo>
                    <a:cubicBezTo>
                      <a:pt x="5639" y="4509"/>
                      <a:pt x="5639" y="4509"/>
                      <a:pt x="5639" y="4509"/>
                    </a:cubicBezTo>
                    <a:cubicBezTo>
                      <a:pt x="5639" y="4509"/>
                      <a:pt x="5645" y="4557"/>
                      <a:pt x="5652" y="4605"/>
                    </a:cubicBezTo>
                    <a:cubicBezTo>
                      <a:pt x="5656" y="4630"/>
                      <a:pt x="5659" y="4654"/>
                      <a:pt x="5662" y="4673"/>
                    </a:cubicBezTo>
                    <a:cubicBezTo>
                      <a:pt x="5663" y="4680"/>
                      <a:pt x="5664" y="4685"/>
                      <a:pt x="5664" y="4690"/>
                    </a:cubicBezTo>
                    <a:lnTo>
                      <a:pt x="5858" y="4707"/>
                    </a:lnTo>
                    <a:close/>
                    <a:moveTo>
                      <a:pt x="5892" y="3650"/>
                    </a:moveTo>
                    <a:cubicBezTo>
                      <a:pt x="5818" y="3645"/>
                      <a:pt x="5558" y="3625"/>
                      <a:pt x="5552" y="3625"/>
                    </a:cubicBezTo>
                    <a:cubicBezTo>
                      <a:pt x="5551" y="3625"/>
                      <a:pt x="5424" y="3651"/>
                      <a:pt x="5302" y="3677"/>
                    </a:cubicBezTo>
                    <a:cubicBezTo>
                      <a:pt x="5214" y="3696"/>
                      <a:pt x="5127" y="3714"/>
                      <a:pt x="5084" y="3724"/>
                    </a:cubicBezTo>
                    <a:cubicBezTo>
                      <a:pt x="5096" y="3819"/>
                      <a:pt x="5107" y="3913"/>
                      <a:pt x="5117" y="3998"/>
                    </a:cubicBezTo>
                    <a:cubicBezTo>
                      <a:pt x="5588" y="3939"/>
                      <a:pt x="5588" y="3939"/>
                      <a:pt x="5588" y="3939"/>
                    </a:cubicBezTo>
                    <a:cubicBezTo>
                      <a:pt x="5869" y="3961"/>
                      <a:pt x="5869" y="3961"/>
                      <a:pt x="5869" y="3961"/>
                    </a:cubicBezTo>
                    <a:lnTo>
                      <a:pt x="5892" y="3650"/>
                    </a:lnTo>
                    <a:close/>
                    <a:moveTo>
                      <a:pt x="4954" y="4269"/>
                    </a:moveTo>
                    <a:cubicBezTo>
                      <a:pt x="4898" y="4269"/>
                      <a:pt x="4842" y="4269"/>
                      <a:pt x="4814" y="4269"/>
                    </a:cubicBezTo>
                    <a:cubicBezTo>
                      <a:pt x="4839" y="4301"/>
                      <a:pt x="4864" y="4334"/>
                      <a:pt x="4889" y="4367"/>
                    </a:cubicBezTo>
                    <a:cubicBezTo>
                      <a:pt x="4964" y="4463"/>
                      <a:pt x="5034" y="4553"/>
                      <a:pt x="5077" y="4609"/>
                    </a:cubicBezTo>
                    <a:cubicBezTo>
                      <a:pt x="5091" y="4547"/>
                      <a:pt x="5103" y="4479"/>
                      <a:pt x="5103" y="4416"/>
                    </a:cubicBezTo>
                    <a:cubicBezTo>
                      <a:pt x="5103" y="4390"/>
                      <a:pt x="5101" y="4366"/>
                      <a:pt x="5097" y="4343"/>
                    </a:cubicBezTo>
                    <a:cubicBezTo>
                      <a:pt x="5094" y="4330"/>
                      <a:pt x="5091" y="4305"/>
                      <a:pt x="5086" y="4270"/>
                    </a:cubicBezTo>
                    <a:cubicBezTo>
                      <a:pt x="5057" y="4269"/>
                      <a:pt x="5005" y="4269"/>
                      <a:pt x="4954" y="4269"/>
                    </a:cubicBezTo>
                    <a:close/>
                    <a:moveTo>
                      <a:pt x="5084" y="4256"/>
                    </a:moveTo>
                    <a:cubicBezTo>
                      <a:pt x="5079" y="4218"/>
                      <a:pt x="5073" y="4170"/>
                      <a:pt x="5066" y="4116"/>
                    </a:cubicBezTo>
                    <a:cubicBezTo>
                      <a:pt x="4736" y="4167"/>
                      <a:pt x="4736" y="4167"/>
                      <a:pt x="4736" y="4167"/>
                    </a:cubicBezTo>
                    <a:cubicBezTo>
                      <a:pt x="4757" y="4195"/>
                      <a:pt x="4780" y="4225"/>
                      <a:pt x="4803" y="4255"/>
                    </a:cubicBezTo>
                    <a:cubicBezTo>
                      <a:pt x="4824" y="4255"/>
                      <a:pt x="4889" y="4255"/>
                      <a:pt x="4954" y="4255"/>
                    </a:cubicBezTo>
                    <a:cubicBezTo>
                      <a:pt x="5005" y="4255"/>
                      <a:pt x="5054" y="4255"/>
                      <a:pt x="5084" y="4256"/>
                    </a:cubicBezTo>
                    <a:close/>
                    <a:moveTo>
                      <a:pt x="5064" y="4102"/>
                    </a:moveTo>
                    <a:cubicBezTo>
                      <a:pt x="5059" y="4058"/>
                      <a:pt x="5053" y="4011"/>
                      <a:pt x="5047" y="3961"/>
                    </a:cubicBezTo>
                    <a:cubicBezTo>
                      <a:pt x="4960" y="3973"/>
                      <a:pt x="4686" y="4011"/>
                      <a:pt x="4623" y="4017"/>
                    </a:cubicBezTo>
                    <a:cubicBezTo>
                      <a:pt x="4647" y="4050"/>
                      <a:pt x="4684" y="4099"/>
                      <a:pt x="4726" y="4154"/>
                    </a:cubicBezTo>
                    <a:lnTo>
                      <a:pt x="5064" y="4102"/>
                    </a:lnTo>
                    <a:close/>
                    <a:moveTo>
                      <a:pt x="5045" y="3947"/>
                    </a:moveTo>
                    <a:cubicBezTo>
                      <a:pt x="5039" y="3899"/>
                      <a:pt x="5033" y="3850"/>
                      <a:pt x="5027" y="3799"/>
                    </a:cubicBezTo>
                    <a:cubicBezTo>
                      <a:pt x="4993" y="3804"/>
                      <a:pt x="4926" y="3814"/>
                      <a:pt x="4856" y="3825"/>
                    </a:cubicBezTo>
                    <a:cubicBezTo>
                      <a:pt x="4806" y="3833"/>
                      <a:pt x="4755" y="3842"/>
                      <a:pt x="4715" y="3849"/>
                    </a:cubicBezTo>
                    <a:cubicBezTo>
                      <a:pt x="4695" y="3852"/>
                      <a:pt x="4677" y="3856"/>
                      <a:pt x="4664" y="3858"/>
                    </a:cubicBezTo>
                    <a:cubicBezTo>
                      <a:pt x="4651" y="3861"/>
                      <a:pt x="4641" y="3864"/>
                      <a:pt x="4641" y="3864"/>
                    </a:cubicBezTo>
                    <a:cubicBezTo>
                      <a:pt x="4631" y="3867"/>
                      <a:pt x="4614" y="3876"/>
                      <a:pt x="4602" y="3888"/>
                    </a:cubicBezTo>
                    <a:cubicBezTo>
                      <a:pt x="4589" y="3900"/>
                      <a:pt x="4581" y="3913"/>
                      <a:pt x="4581" y="3931"/>
                    </a:cubicBezTo>
                    <a:cubicBezTo>
                      <a:pt x="4581" y="3944"/>
                      <a:pt x="4586" y="3964"/>
                      <a:pt x="4604" y="3990"/>
                    </a:cubicBezTo>
                    <a:cubicBezTo>
                      <a:pt x="4607" y="3994"/>
                      <a:pt x="4610" y="3999"/>
                      <a:pt x="4614" y="4004"/>
                    </a:cubicBezTo>
                    <a:cubicBezTo>
                      <a:pt x="4633" y="4003"/>
                      <a:pt x="4742" y="3988"/>
                      <a:pt x="4847" y="3974"/>
                    </a:cubicBezTo>
                    <a:cubicBezTo>
                      <a:pt x="4927" y="3963"/>
                      <a:pt x="5006" y="3952"/>
                      <a:pt x="5045" y="3947"/>
                    </a:cubicBezTo>
                    <a:close/>
                    <a:moveTo>
                      <a:pt x="5019" y="3734"/>
                    </a:moveTo>
                    <a:cubicBezTo>
                      <a:pt x="5015" y="3693"/>
                      <a:pt x="5010" y="3653"/>
                      <a:pt x="5005" y="3612"/>
                    </a:cubicBezTo>
                    <a:cubicBezTo>
                      <a:pt x="4997" y="3544"/>
                      <a:pt x="4989" y="3477"/>
                      <a:pt x="4982" y="3413"/>
                    </a:cubicBezTo>
                    <a:cubicBezTo>
                      <a:pt x="4952" y="3416"/>
                      <a:pt x="4891" y="3421"/>
                      <a:pt x="4818" y="3428"/>
                    </a:cubicBezTo>
                    <a:cubicBezTo>
                      <a:pt x="4875" y="3756"/>
                      <a:pt x="4875" y="3756"/>
                      <a:pt x="4875" y="3756"/>
                    </a:cubicBezTo>
                    <a:cubicBezTo>
                      <a:pt x="4936" y="3746"/>
                      <a:pt x="4991" y="3738"/>
                      <a:pt x="5019" y="3734"/>
                    </a:cubicBezTo>
                    <a:close/>
                    <a:moveTo>
                      <a:pt x="4901" y="2501"/>
                    </a:moveTo>
                    <a:cubicBezTo>
                      <a:pt x="4887" y="2502"/>
                      <a:pt x="4874" y="2502"/>
                      <a:pt x="4860" y="2502"/>
                    </a:cubicBezTo>
                    <a:cubicBezTo>
                      <a:pt x="4790" y="2504"/>
                      <a:pt x="4721" y="2505"/>
                      <a:pt x="4656" y="2507"/>
                    </a:cubicBezTo>
                    <a:cubicBezTo>
                      <a:pt x="4741" y="2968"/>
                      <a:pt x="4741" y="2968"/>
                      <a:pt x="4741" y="2968"/>
                    </a:cubicBezTo>
                    <a:cubicBezTo>
                      <a:pt x="4772" y="2961"/>
                      <a:pt x="4803" y="2953"/>
                      <a:pt x="4832" y="2946"/>
                    </a:cubicBezTo>
                    <a:cubicBezTo>
                      <a:pt x="4862" y="2940"/>
                      <a:pt x="4891" y="2933"/>
                      <a:pt x="4920" y="2927"/>
                    </a:cubicBezTo>
                    <a:lnTo>
                      <a:pt x="4901" y="2501"/>
                    </a:lnTo>
                    <a:close/>
                    <a:moveTo>
                      <a:pt x="4642" y="2507"/>
                    </a:moveTo>
                    <a:cubicBezTo>
                      <a:pt x="4546" y="2509"/>
                      <a:pt x="4461" y="2511"/>
                      <a:pt x="4406" y="2512"/>
                    </a:cubicBezTo>
                    <a:cubicBezTo>
                      <a:pt x="4525" y="2773"/>
                      <a:pt x="4525" y="2773"/>
                      <a:pt x="4525" y="2773"/>
                    </a:cubicBezTo>
                    <a:cubicBezTo>
                      <a:pt x="4468" y="2590"/>
                      <a:pt x="4468" y="2590"/>
                      <a:pt x="4468" y="2590"/>
                    </a:cubicBezTo>
                    <a:cubicBezTo>
                      <a:pt x="4515" y="2575"/>
                      <a:pt x="4515" y="2575"/>
                      <a:pt x="4515" y="2575"/>
                    </a:cubicBezTo>
                    <a:cubicBezTo>
                      <a:pt x="4511" y="2564"/>
                      <a:pt x="4511" y="2564"/>
                      <a:pt x="4511" y="2564"/>
                    </a:cubicBezTo>
                    <a:cubicBezTo>
                      <a:pt x="4509" y="2558"/>
                      <a:pt x="4509" y="2558"/>
                      <a:pt x="4509" y="2558"/>
                    </a:cubicBezTo>
                    <a:cubicBezTo>
                      <a:pt x="4601" y="2527"/>
                      <a:pt x="4601" y="2527"/>
                      <a:pt x="4601" y="2527"/>
                    </a:cubicBezTo>
                    <a:cubicBezTo>
                      <a:pt x="4645" y="2661"/>
                      <a:pt x="4645" y="2661"/>
                      <a:pt x="4645" y="2661"/>
                    </a:cubicBezTo>
                    <a:cubicBezTo>
                      <a:pt x="4576" y="2684"/>
                      <a:pt x="4576" y="2684"/>
                      <a:pt x="4576" y="2684"/>
                    </a:cubicBezTo>
                    <a:cubicBezTo>
                      <a:pt x="4599" y="2756"/>
                      <a:pt x="4599" y="2756"/>
                      <a:pt x="4599" y="2756"/>
                    </a:cubicBezTo>
                    <a:cubicBezTo>
                      <a:pt x="4528" y="2780"/>
                      <a:pt x="4528" y="2780"/>
                      <a:pt x="4528" y="2780"/>
                    </a:cubicBezTo>
                    <a:cubicBezTo>
                      <a:pt x="4628" y="2997"/>
                      <a:pt x="4628" y="2997"/>
                      <a:pt x="4628" y="2997"/>
                    </a:cubicBezTo>
                    <a:cubicBezTo>
                      <a:pt x="4662" y="2988"/>
                      <a:pt x="4695" y="2980"/>
                      <a:pt x="4728" y="2972"/>
                    </a:cubicBezTo>
                    <a:lnTo>
                      <a:pt x="4642" y="2507"/>
                    </a:lnTo>
                    <a:close/>
                    <a:moveTo>
                      <a:pt x="4531" y="2583"/>
                    </a:moveTo>
                    <a:cubicBezTo>
                      <a:pt x="4484" y="2599"/>
                      <a:pt x="4484" y="2599"/>
                      <a:pt x="4484" y="2599"/>
                    </a:cubicBezTo>
                    <a:cubicBezTo>
                      <a:pt x="4536" y="2763"/>
                      <a:pt x="4536" y="2763"/>
                      <a:pt x="4536" y="2763"/>
                    </a:cubicBezTo>
                    <a:cubicBezTo>
                      <a:pt x="4583" y="2748"/>
                      <a:pt x="4583" y="2748"/>
                      <a:pt x="4583" y="2748"/>
                    </a:cubicBezTo>
                    <a:cubicBezTo>
                      <a:pt x="4559" y="2676"/>
                      <a:pt x="4559" y="2676"/>
                      <a:pt x="4559" y="2676"/>
                    </a:cubicBezTo>
                    <a:cubicBezTo>
                      <a:pt x="4629" y="2653"/>
                      <a:pt x="4629" y="2653"/>
                      <a:pt x="4629" y="2653"/>
                    </a:cubicBezTo>
                    <a:cubicBezTo>
                      <a:pt x="4593" y="2544"/>
                      <a:pt x="4593" y="2544"/>
                      <a:pt x="4593" y="2544"/>
                    </a:cubicBezTo>
                    <a:cubicBezTo>
                      <a:pt x="4526" y="2566"/>
                      <a:pt x="4526" y="2566"/>
                      <a:pt x="4526" y="2566"/>
                    </a:cubicBezTo>
                    <a:cubicBezTo>
                      <a:pt x="4529" y="2577"/>
                      <a:pt x="4529" y="2577"/>
                      <a:pt x="4529" y="2577"/>
                    </a:cubicBezTo>
                    <a:lnTo>
                      <a:pt x="4531" y="2583"/>
                    </a:lnTo>
                    <a:close/>
                    <a:moveTo>
                      <a:pt x="4264" y="2361"/>
                    </a:moveTo>
                    <a:cubicBezTo>
                      <a:pt x="4223" y="2388"/>
                      <a:pt x="4105" y="2464"/>
                      <a:pt x="3989" y="2539"/>
                    </a:cubicBezTo>
                    <a:cubicBezTo>
                      <a:pt x="3874" y="2614"/>
                      <a:pt x="3760" y="2688"/>
                      <a:pt x="3720" y="2714"/>
                    </a:cubicBezTo>
                    <a:cubicBezTo>
                      <a:pt x="3819" y="2994"/>
                      <a:pt x="3819" y="2994"/>
                      <a:pt x="3819" y="2994"/>
                    </a:cubicBezTo>
                    <a:cubicBezTo>
                      <a:pt x="4063" y="3153"/>
                      <a:pt x="4063" y="3153"/>
                      <a:pt x="4063" y="3153"/>
                    </a:cubicBezTo>
                    <a:cubicBezTo>
                      <a:pt x="4062" y="3154"/>
                      <a:pt x="4062" y="3154"/>
                      <a:pt x="4062" y="3154"/>
                    </a:cubicBezTo>
                    <a:cubicBezTo>
                      <a:pt x="4228" y="3106"/>
                      <a:pt x="4400" y="3057"/>
                      <a:pt x="4564" y="3014"/>
                    </a:cubicBezTo>
                    <a:lnTo>
                      <a:pt x="4264" y="2361"/>
                    </a:lnTo>
                    <a:close/>
                    <a:moveTo>
                      <a:pt x="2252" y="3434"/>
                    </a:moveTo>
                    <a:cubicBezTo>
                      <a:pt x="2232" y="3534"/>
                      <a:pt x="2232" y="3534"/>
                      <a:pt x="2232" y="3534"/>
                    </a:cubicBezTo>
                    <a:cubicBezTo>
                      <a:pt x="2298" y="3534"/>
                      <a:pt x="2373" y="3537"/>
                      <a:pt x="2460" y="3542"/>
                    </a:cubicBezTo>
                    <a:cubicBezTo>
                      <a:pt x="2498" y="3544"/>
                      <a:pt x="2534" y="3547"/>
                      <a:pt x="2568" y="3550"/>
                    </a:cubicBezTo>
                    <a:cubicBezTo>
                      <a:pt x="2566" y="3535"/>
                      <a:pt x="2559" y="3508"/>
                      <a:pt x="2531" y="3493"/>
                    </a:cubicBezTo>
                    <a:cubicBezTo>
                      <a:pt x="2488" y="3470"/>
                      <a:pt x="2369" y="3461"/>
                      <a:pt x="2337" y="3458"/>
                    </a:cubicBezTo>
                    <a:cubicBezTo>
                      <a:pt x="2321" y="3457"/>
                      <a:pt x="2285" y="3454"/>
                      <a:pt x="2252" y="3434"/>
                    </a:cubicBezTo>
                    <a:close/>
                    <a:moveTo>
                      <a:pt x="2208" y="3602"/>
                    </a:moveTo>
                    <a:cubicBezTo>
                      <a:pt x="2119" y="3602"/>
                      <a:pt x="2050" y="3607"/>
                      <a:pt x="1996" y="3617"/>
                    </a:cubicBezTo>
                    <a:cubicBezTo>
                      <a:pt x="2086" y="3850"/>
                      <a:pt x="2086" y="3850"/>
                      <a:pt x="2086" y="3850"/>
                    </a:cubicBezTo>
                    <a:cubicBezTo>
                      <a:pt x="2473" y="3851"/>
                      <a:pt x="2473" y="3851"/>
                      <a:pt x="2473" y="3851"/>
                    </a:cubicBezTo>
                    <a:cubicBezTo>
                      <a:pt x="2473" y="3841"/>
                      <a:pt x="2473" y="3841"/>
                      <a:pt x="2473" y="3841"/>
                    </a:cubicBezTo>
                    <a:cubicBezTo>
                      <a:pt x="2477" y="3841"/>
                      <a:pt x="2477" y="3841"/>
                      <a:pt x="2477" y="3841"/>
                    </a:cubicBezTo>
                    <a:cubicBezTo>
                      <a:pt x="2477" y="3841"/>
                      <a:pt x="2524" y="3841"/>
                      <a:pt x="2572" y="3841"/>
                    </a:cubicBezTo>
                    <a:cubicBezTo>
                      <a:pt x="2596" y="3841"/>
                      <a:pt x="2619" y="3841"/>
                      <a:pt x="2637" y="3841"/>
                    </a:cubicBezTo>
                    <a:cubicBezTo>
                      <a:pt x="2640" y="3841"/>
                      <a:pt x="2643" y="3841"/>
                      <a:pt x="2646" y="3841"/>
                    </a:cubicBezTo>
                    <a:cubicBezTo>
                      <a:pt x="2651" y="3835"/>
                      <a:pt x="2655" y="3829"/>
                      <a:pt x="2660" y="3823"/>
                    </a:cubicBezTo>
                    <a:cubicBezTo>
                      <a:pt x="2713" y="3756"/>
                      <a:pt x="2771" y="3698"/>
                      <a:pt x="2814" y="3658"/>
                    </a:cubicBezTo>
                    <a:cubicBezTo>
                      <a:pt x="2747" y="3643"/>
                      <a:pt x="2617" y="3620"/>
                      <a:pt x="2456" y="3611"/>
                    </a:cubicBezTo>
                    <a:cubicBezTo>
                      <a:pt x="2360" y="3605"/>
                      <a:pt x="2278" y="3602"/>
                      <a:pt x="2208" y="3602"/>
                    </a:cubicBezTo>
                    <a:close/>
                    <a:moveTo>
                      <a:pt x="1448" y="3827"/>
                    </a:moveTo>
                    <a:cubicBezTo>
                      <a:pt x="1773" y="4191"/>
                      <a:pt x="1773" y="4191"/>
                      <a:pt x="1773" y="4191"/>
                    </a:cubicBezTo>
                    <a:cubicBezTo>
                      <a:pt x="1774" y="4190"/>
                      <a:pt x="1774" y="4190"/>
                      <a:pt x="1774" y="4190"/>
                    </a:cubicBezTo>
                    <a:cubicBezTo>
                      <a:pt x="1830" y="4248"/>
                      <a:pt x="1830" y="4248"/>
                      <a:pt x="1830" y="4248"/>
                    </a:cubicBezTo>
                    <a:cubicBezTo>
                      <a:pt x="1878" y="4209"/>
                      <a:pt x="1878" y="4209"/>
                      <a:pt x="1878" y="4209"/>
                    </a:cubicBezTo>
                    <a:cubicBezTo>
                      <a:pt x="1506" y="3799"/>
                      <a:pt x="1506" y="3799"/>
                      <a:pt x="1506" y="3799"/>
                    </a:cubicBezTo>
                    <a:cubicBezTo>
                      <a:pt x="1486" y="3808"/>
                      <a:pt x="1467" y="3818"/>
                      <a:pt x="1448" y="3827"/>
                    </a:cubicBezTo>
                    <a:close/>
                    <a:moveTo>
                      <a:pt x="1425" y="3838"/>
                    </a:moveTo>
                    <a:cubicBezTo>
                      <a:pt x="1413" y="3844"/>
                      <a:pt x="1402" y="3850"/>
                      <a:pt x="1392" y="3855"/>
                    </a:cubicBezTo>
                    <a:cubicBezTo>
                      <a:pt x="1716" y="4227"/>
                      <a:pt x="1716" y="4227"/>
                      <a:pt x="1716" y="4227"/>
                    </a:cubicBezTo>
                    <a:cubicBezTo>
                      <a:pt x="1731" y="4217"/>
                      <a:pt x="1743" y="4210"/>
                      <a:pt x="1752" y="4204"/>
                    </a:cubicBezTo>
                    <a:lnTo>
                      <a:pt x="1425" y="3838"/>
                    </a:lnTo>
                    <a:close/>
                    <a:moveTo>
                      <a:pt x="1732" y="4246"/>
                    </a:moveTo>
                    <a:cubicBezTo>
                      <a:pt x="1774" y="4293"/>
                      <a:pt x="1774" y="4293"/>
                      <a:pt x="1774" y="4293"/>
                    </a:cubicBezTo>
                    <a:cubicBezTo>
                      <a:pt x="1811" y="4264"/>
                      <a:pt x="1811" y="4264"/>
                      <a:pt x="1811" y="4264"/>
                    </a:cubicBezTo>
                    <a:cubicBezTo>
                      <a:pt x="1770" y="4222"/>
                      <a:pt x="1770" y="4222"/>
                      <a:pt x="1770" y="4222"/>
                    </a:cubicBezTo>
                    <a:cubicBezTo>
                      <a:pt x="1762" y="4227"/>
                      <a:pt x="1749" y="4235"/>
                      <a:pt x="1732" y="4246"/>
                    </a:cubicBezTo>
                    <a:close/>
                    <a:moveTo>
                      <a:pt x="1294" y="4477"/>
                    </a:moveTo>
                    <a:cubicBezTo>
                      <a:pt x="1317" y="4516"/>
                      <a:pt x="1335" y="4555"/>
                      <a:pt x="1345" y="4588"/>
                    </a:cubicBezTo>
                    <a:cubicBezTo>
                      <a:pt x="1362" y="4652"/>
                      <a:pt x="1389" y="4757"/>
                      <a:pt x="1399" y="4791"/>
                    </a:cubicBezTo>
                    <a:cubicBezTo>
                      <a:pt x="1410" y="4826"/>
                      <a:pt x="1419" y="4883"/>
                      <a:pt x="1526" y="4955"/>
                    </a:cubicBezTo>
                    <a:cubicBezTo>
                      <a:pt x="1601" y="5006"/>
                      <a:pt x="1742" y="5049"/>
                      <a:pt x="1846" y="5073"/>
                    </a:cubicBezTo>
                    <a:cubicBezTo>
                      <a:pt x="1885" y="5083"/>
                      <a:pt x="1916" y="5088"/>
                      <a:pt x="1942" y="5093"/>
                    </a:cubicBezTo>
                    <a:cubicBezTo>
                      <a:pt x="1942" y="5093"/>
                      <a:pt x="1943" y="5093"/>
                      <a:pt x="1943" y="5093"/>
                    </a:cubicBezTo>
                    <a:cubicBezTo>
                      <a:pt x="1963" y="5069"/>
                      <a:pt x="1986" y="5035"/>
                      <a:pt x="2007" y="5007"/>
                    </a:cubicBezTo>
                    <a:cubicBezTo>
                      <a:pt x="2043" y="4959"/>
                      <a:pt x="2076" y="4912"/>
                      <a:pt x="2105" y="4869"/>
                    </a:cubicBezTo>
                    <a:cubicBezTo>
                      <a:pt x="2166" y="4592"/>
                      <a:pt x="2166" y="4592"/>
                      <a:pt x="2166" y="4592"/>
                    </a:cubicBezTo>
                    <a:cubicBezTo>
                      <a:pt x="2118" y="4588"/>
                      <a:pt x="2053" y="4578"/>
                      <a:pt x="1990" y="4550"/>
                    </a:cubicBezTo>
                    <a:cubicBezTo>
                      <a:pt x="1877" y="4502"/>
                      <a:pt x="1790" y="4416"/>
                      <a:pt x="1786" y="4412"/>
                    </a:cubicBezTo>
                    <a:lnTo>
                      <a:pt x="1294" y="4477"/>
                    </a:lnTo>
                    <a:close/>
                    <a:moveTo>
                      <a:pt x="1456" y="4960"/>
                    </a:moveTo>
                    <a:cubicBezTo>
                      <a:pt x="1164" y="5255"/>
                      <a:pt x="1164" y="5255"/>
                      <a:pt x="1164" y="5255"/>
                    </a:cubicBezTo>
                    <a:cubicBezTo>
                      <a:pt x="1258" y="5388"/>
                      <a:pt x="1258" y="5388"/>
                      <a:pt x="1258" y="5388"/>
                    </a:cubicBezTo>
                    <a:cubicBezTo>
                      <a:pt x="1541" y="5302"/>
                      <a:pt x="1541" y="5302"/>
                      <a:pt x="1541" y="5302"/>
                    </a:cubicBezTo>
                    <a:cubicBezTo>
                      <a:pt x="1558" y="5024"/>
                      <a:pt x="1558" y="5024"/>
                      <a:pt x="1558" y="5024"/>
                    </a:cubicBezTo>
                    <a:cubicBezTo>
                      <a:pt x="1538" y="5014"/>
                      <a:pt x="1518" y="5004"/>
                      <a:pt x="1501" y="4993"/>
                    </a:cubicBezTo>
                    <a:cubicBezTo>
                      <a:pt x="1484" y="4982"/>
                      <a:pt x="1470" y="4971"/>
                      <a:pt x="1456" y="4960"/>
                    </a:cubicBezTo>
                    <a:close/>
                    <a:moveTo>
                      <a:pt x="1268" y="5402"/>
                    </a:moveTo>
                    <a:cubicBezTo>
                      <a:pt x="1351" y="5520"/>
                      <a:pt x="1351" y="5520"/>
                      <a:pt x="1351" y="5520"/>
                    </a:cubicBezTo>
                    <a:cubicBezTo>
                      <a:pt x="1520" y="5603"/>
                      <a:pt x="1520" y="5603"/>
                      <a:pt x="1520" y="5603"/>
                    </a:cubicBezTo>
                    <a:cubicBezTo>
                      <a:pt x="1561" y="5554"/>
                      <a:pt x="1679" y="5416"/>
                      <a:pt x="1789" y="5283"/>
                    </a:cubicBezTo>
                    <a:cubicBezTo>
                      <a:pt x="1833" y="5231"/>
                      <a:pt x="1874" y="5178"/>
                      <a:pt x="1911" y="5133"/>
                    </a:cubicBezTo>
                    <a:cubicBezTo>
                      <a:pt x="1890" y="5129"/>
                      <a:pt x="1865" y="5124"/>
                      <a:pt x="1835" y="5117"/>
                    </a:cubicBezTo>
                    <a:cubicBezTo>
                      <a:pt x="1756" y="5098"/>
                      <a:pt x="1655" y="5069"/>
                      <a:pt x="1574" y="5032"/>
                    </a:cubicBezTo>
                    <a:cubicBezTo>
                      <a:pt x="1557" y="5314"/>
                      <a:pt x="1557" y="5314"/>
                      <a:pt x="1557" y="5314"/>
                    </a:cubicBezTo>
                    <a:lnTo>
                      <a:pt x="1268" y="5402"/>
                    </a:lnTo>
                    <a:close/>
                    <a:moveTo>
                      <a:pt x="1583" y="5634"/>
                    </a:moveTo>
                    <a:cubicBezTo>
                      <a:pt x="1607" y="5645"/>
                      <a:pt x="1607" y="5645"/>
                      <a:pt x="1607" y="5645"/>
                    </a:cubicBezTo>
                    <a:cubicBezTo>
                      <a:pt x="1673" y="6120"/>
                      <a:pt x="1673" y="6120"/>
                      <a:pt x="1673" y="6120"/>
                    </a:cubicBezTo>
                    <a:cubicBezTo>
                      <a:pt x="1910" y="6206"/>
                      <a:pt x="1910" y="6206"/>
                      <a:pt x="1910" y="6206"/>
                    </a:cubicBezTo>
                    <a:cubicBezTo>
                      <a:pt x="1910" y="6206"/>
                      <a:pt x="1910" y="6206"/>
                      <a:pt x="1910" y="6206"/>
                    </a:cubicBezTo>
                    <a:cubicBezTo>
                      <a:pt x="2041" y="6253"/>
                      <a:pt x="2041" y="6253"/>
                      <a:pt x="2041" y="6253"/>
                    </a:cubicBezTo>
                    <a:cubicBezTo>
                      <a:pt x="1941" y="5803"/>
                      <a:pt x="1941" y="5803"/>
                      <a:pt x="1941" y="5803"/>
                    </a:cubicBezTo>
                    <a:cubicBezTo>
                      <a:pt x="2069" y="5516"/>
                      <a:pt x="2069" y="5516"/>
                      <a:pt x="2069" y="5516"/>
                    </a:cubicBezTo>
                    <a:cubicBezTo>
                      <a:pt x="2156" y="5158"/>
                      <a:pt x="2156" y="5158"/>
                      <a:pt x="2156" y="5158"/>
                    </a:cubicBezTo>
                    <a:cubicBezTo>
                      <a:pt x="2098" y="5153"/>
                      <a:pt x="2036" y="5147"/>
                      <a:pt x="1992" y="5143"/>
                    </a:cubicBezTo>
                    <a:cubicBezTo>
                      <a:pt x="1950" y="5193"/>
                      <a:pt x="1898" y="5260"/>
                      <a:pt x="1842" y="5327"/>
                    </a:cubicBezTo>
                    <a:cubicBezTo>
                      <a:pt x="1740" y="5450"/>
                      <a:pt x="1632" y="5577"/>
                      <a:pt x="1583" y="5634"/>
                    </a:cubicBezTo>
                    <a:close/>
                    <a:moveTo>
                      <a:pt x="1898" y="6272"/>
                    </a:moveTo>
                    <a:cubicBezTo>
                      <a:pt x="1898" y="6272"/>
                      <a:pt x="1898" y="6272"/>
                      <a:pt x="1898" y="6272"/>
                    </a:cubicBezTo>
                    <a:cubicBezTo>
                      <a:pt x="1898" y="6272"/>
                      <a:pt x="1898" y="6272"/>
                      <a:pt x="1898" y="6272"/>
                    </a:cubicBezTo>
                    <a:close/>
                    <a:moveTo>
                      <a:pt x="1609" y="6722"/>
                    </a:moveTo>
                    <a:cubicBezTo>
                      <a:pt x="1735" y="6799"/>
                      <a:pt x="1735" y="6799"/>
                      <a:pt x="1735" y="6799"/>
                    </a:cubicBezTo>
                    <a:cubicBezTo>
                      <a:pt x="1743" y="6789"/>
                      <a:pt x="1768" y="6764"/>
                      <a:pt x="1802" y="6731"/>
                    </a:cubicBezTo>
                    <a:cubicBezTo>
                      <a:pt x="1705" y="6672"/>
                      <a:pt x="1705" y="6672"/>
                      <a:pt x="1705" y="6672"/>
                    </a:cubicBezTo>
                    <a:cubicBezTo>
                      <a:pt x="1786" y="6532"/>
                      <a:pt x="1786" y="6532"/>
                      <a:pt x="1786" y="6532"/>
                    </a:cubicBezTo>
                    <a:cubicBezTo>
                      <a:pt x="1921" y="6615"/>
                      <a:pt x="1921" y="6615"/>
                      <a:pt x="1921" y="6615"/>
                    </a:cubicBezTo>
                    <a:cubicBezTo>
                      <a:pt x="2027" y="6514"/>
                      <a:pt x="2143" y="6403"/>
                      <a:pt x="2176" y="6372"/>
                    </a:cubicBezTo>
                    <a:cubicBezTo>
                      <a:pt x="1898" y="6272"/>
                      <a:pt x="1898" y="6272"/>
                      <a:pt x="1898" y="6272"/>
                    </a:cubicBezTo>
                    <a:cubicBezTo>
                      <a:pt x="1898" y="6272"/>
                      <a:pt x="1898" y="6272"/>
                      <a:pt x="1898" y="6272"/>
                    </a:cubicBezTo>
                    <a:cubicBezTo>
                      <a:pt x="1898" y="6272"/>
                      <a:pt x="1898" y="6272"/>
                      <a:pt x="1898" y="6272"/>
                    </a:cubicBezTo>
                    <a:lnTo>
                      <a:pt x="1609" y="6722"/>
                    </a:lnTo>
                    <a:close/>
                    <a:moveTo>
                      <a:pt x="1978" y="6946"/>
                    </a:moveTo>
                    <a:cubicBezTo>
                      <a:pt x="2169" y="7062"/>
                      <a:pt x="2169" y="7062"/>
                      <a:pt x="2169" y="7062"/>
                    </a:cubicBezTo>
                    <a:cubicBezTo>
                      <a:pt x="2169" y="7062"/>
                      <a:pt x="2169" y="7061"/>
                      <a:pt x="2170" y="7061"/>
                    </a:cubicBezTo>
                    <a:cubicBezTo>
                      <a:pt x="2176" y="7053"/>
                      <a:pt x="2199" y="7029"/>
                      <a:pt x="2233" y="6996"/>
                    </a:cubicBezTo>
                    <a:cubicBezTo>
                      <a:pt x="2045" y="6880"/>
                      <a:pt x="2045" y="6880"/>
                      <a:pt x="2045" y="6880"/>
                    </a:cubicBezTo>
                    <a:lnTo>
                      <a:pt x="1978" y="6946"/>
                    </a:lnTo>
                    <a:close/>
                    <a:moveTo>
                      <a:pt x="2181" y="7069"/>
                    </a:moveTo>
                    <a:cubicBezTo>
                      <a:pt x="2410" y="7209"/>
                      <a:pt x="2410" y="7209"/>
                      <a:pt x="2410" y="7209"/>
                    </a:cubicBezTo>
                    <a:cubicBezTo>
                      <a:pt x="2476" y="7144"/>
                      <a:pt x="2476" y="7144"/>
                      <a:pt x="2476" y="7144"/>
                    </a:cubicBezTo>
                    <a:cubicBezTo>
                      <a:pt x="2245" y="7003"/>
                      <a:pt x="2245" y="7003"/>
                      <a:pt x="2245" y="7003"/>
                    </a:cubicBezTo>
                    <a:cubicBezTo>
                      <a:pt x="2228" y="7020"/>
                      <a:pt x="2213" y="7035"/>
                      <a:pt x="2202" y="7047"/>
                    </a:cubicBezTo>
                    <a:cubicBezTo>
                      <a:pt x="2194" y="7054"/>
                      <a:pt x="2189" y="7060"/>
                      <a:pt x="2185" y="7064"/>
                    </a:cubicBezTo>
                    <a:cubicBezTo>
                      <a:pt x="2183" y="7066"/>
                      <a:pt x="2182" y="7068"/>
                      <a:pt x="2181" y="7069"/>
                    </a:cubicBezTo>
                    <a:close/>
                    <a:moveTo>
                      <a:pt x="3038" y="6757"/>
                    </a:moveTo>
                    <a:cubicBezTo>
                      <a:pt x="3032" y="6799"/>
                      <a:pt x="3032" y="6799"/>
                      <a:pt x="3032" y="6799"/>
                    </a:cubicBezTo>
                    <a:cubicBezTo>
                      <a:pt x="2985" y="6793"/>
                      <a:pt x="2985" y="6793"/>
                      <a:pt x="2985" y="6793"/>
                    </a:cubicBezTo>
                    <a:cubicBezTo>
                      <a:pt x="2977" y="6852"/>
                      <a:pt x="2977" y="6852"/>
                      <a:pt x="2977" y="6852"/>
                    </a:cubicBezTo>
                    <a:cubicBezTo>
                      <a:pt x="3071" y="6865"/>
                      <a:pt x="3071" y="6865"/>
                      <a:pt x="3071" y="6865"/>
                    </a:cubicBezTo>
                    <a:cubicBezTo>
                      <a:pt x="3085" y="6763"/>
                      <a:pt x="3085" y="6763"/>
                      <a:pt x="3085" y="6763"/>
                    </a:cubicBezTo>
                    <a:lnTo>
                      <a:pt x="3038" y="6757"/>
                    </a:lnTo>
                    <a:close/>
                    <a:moveTo>
                      <a:pt x="3003" y="7472"/>
                    </a:moveTo>
                    <a:cubicBezTo>
                      <a:pt x="3036" y="7475"/>
                      <a:pt x="3072" y="7478"/>
                      <a:pt x="3108" y="7481"/>
                    </a:cubicBezTo>
                    <a:cubicBezTo>
                      <a:pt x="3113" y="7449"/>
                      <a:pt x="3135" y="7289"/>
                      <a:pt x="3157" y="7124"/>
                    </a:cubicBezTo>
                    <a:cubicBezTo>
                      <a:pt x="3179" y="6956"/>
                      <a:pt x="3202" y="6784"/>
                      <a:pt x="3206" y="6746"/>
                    </a:cubicBezTo>
                    <a:cubicBezTo>
                      <a:pt x="3106" y="6710"/>
                      <a:pt x="3106" y="6710"/>
                      <a:pt x="3106" y="6710"/>
                    </a:cubicBezTo>
                    <a:cubicBezTo>
                      <a:pt x="3100" y="6752"/>
                      <a:pt x="3100" y="6752"/>
                      <a:pt x="3100" y="6752"/>
                    </a:cubicBezTo>
                    <a:cubicBezTo>
                      <a:pt x="3142" y="6758"/>
                      <a:pt x="3142" y="6758"/>
                      <a:pt x="3142" y="6758"/>
                    </a:cubicBezTo>
                    <a:cubicBezTo>
                      <a:pt x="3136" y="6800"/>
                      <a:pt x="3136" y="6800"/>
                      <a:pt x="3136" y="6800"/>
                    </a:cubicBezTo>
                    <a:cubicBezTo>
                      <a:pt x="3183" y="6807"/>
                      <a:pt x="3183" y="6807"/>
                      <a:pt x="3183" y="6807"/>
                    </a:cubicBezTo>
                    <a:cubicBezTo>
                      <a:pt x="3171" y="6892"/>
                      <a:pt x="3171" y="6892"/>
                      <a:pt x="3171" y="6892"/>
                    </a:cubicBezTo>
                    <a:cubicBezTo>
                      <a:pt x="3083" y="6880"/>
                      <a:pt x="3083" y="6880"/>
                      <a:pt x="3083" y="6880"/>
                    </a:cubicBezTo>
                    <a:lnTo>
                      <a:pt x="3003" y="7472"/>
                    </a:lnTo>
                    <a:close/>
                    <a:moveTo>
                      <a:pt x="3240" y="7491"/>
                    </a:moveTo>
                    <a:cubicBezTo>
                      <a:pt x="3301" y="7496"/>
                      <a:pt x="3349" y="7500"/>
                      <a:pt x="3366" y="7501"/>
                    </a:cubicBezTo>
                    <a:cubicBezTo>
                      <a:pt x="3452" y="6835"/>
                      <a:pt x="3452" y="6835"/>
                      <a:pt x="3452" y="6835"/>
                    </a:cubicBezTo>
                    <a:cubicBezTo>
                      <a:pt x="3337" y="6794"/>
                      <a:pt x="3337" y="6794"/>
                      <a:pt x="3337" y="6794"/>
                    </a:cubicBezTo>
                    <a:cubicBezTo>
                      <a:pt x="3336" y="6803"/>
                      <a:pt x="3334" y="6819"/>
                      <a:pt x="3331" y="6840"/>
                    </a:cubicBezTo>
                    <a:cubicBezTo>
                      <a:pt x="3384" y="6847"/>
                      <a:pt x="3384" y="6847"/>
                      <a:pt x="3384" y="6847"/>
                    </a:cubicBezTo>
                    <a:cubicBezTo>
                      <a:pt x="3378" y="6890"/>
                      <a:pt x="3378" y="6890"/>
                      <a:pt x="3378" y="6890"/>
                    </a:cubicBezTo>
                    <a:cubicBezTo>
                      <a:pt x="3425" y="6896"/>
                      <a:pt x="3425" y="6896"/>
                      <a:pt x="3425" y="6896"/>
                    </a:cubicBezTo>
                    <a:cubicBezTo>
                      <a:pt x="3413" y="6982"/>
                      <a:pt x="3413" y="6982"/>
                      <a:pt x="3413" y="6982"/>
                    </a:cubicBezTo>
                    <a:cubicBezTo>
                      <a:pt x="3312" y="6968"/>
                      <a:pt x="3312" y="6968"/>
                      <a:pt x="3312" y="6968"/>
                    </a:cubicBezTo>
                    <a:cubicBezTo>
                      <a:pt x="3305" y="7016"/>
                      <a:pt x="3297" y="7070"/>
                      <a:pt x="3289" y="7125"/>
                    </a:cubicBezTo>
                    <a:cubicBezTo>
                      <a:pt x="3265" y="7294"/>
                      <a:pt x="3241" y="7470"/>
                      <a:pt x="3240" y="7491"/>
                    </a:cubicBezTo>
                    <a:close/>
                    <a:moveTo>
                      <a:pt x="3365" y="7619"/>
                    </a:moveTo>
                    <a:cubicBezTo>
                      <a:pt x="3377" y="7616"/>
                      <a:pt x="3387" y="7615"/>
                      <a:pt x="3391" y="7614"/>
                    </a:cubicBezTo>
                    <a:cubicBezTo>
                      <a:pt x="3475" y="7594"/>
                      <a:pt x="3603" y="7589"/>
                      <a:pt x="3713" y="7589"/>
                    </a:cubicBezTo>
                    <a:cubicBezTo>
                      <a:pt x="3738" y="7589"/>
                      <a:pt x="3761" y="7589"/>
                      <a:pt x="3782" y="7590"/>
                    </a:cubicBezTo>
                    <a:cubicBezTo>
                      <a:pt x="3785" y="7572"/>
                      <a:pt x="3794" y="7500"/>
                      <a:pt x="3804" y="7427"/>
                    </a:cubicBezTo>
                    <a:cubicBezTo>
                      <a:pt x="3810" y="7386"/>
                      <a:pt x="3815" y="7344"/>
                      <a:pt x="3820" y="7313"/>
                    </a:cubicBezTo>
                    <a:cubicBezTo>
                      <a:pt x="3822" y="7298"/>
                      <a:pt x="3824" y="7285"/>
                      <a:pt x="3825" y="7276"/>
                    </a:cubicBezTo>
                    <a:cubicBezTo>
                      <a:pt x="3825" y="7273"/>
                      <a:pt x="3826" y="7271"/>
                      <a:pt x="3826" y="7269"/>
                    </a:cubicBezTo>
                    <a:cubicBezTo>
                      <a:pt x="3422" y="7173"/>
                      <a:pt x="3422" y="7173"/>
                      <a:pt x="3422" y="7173"/>
                    </a:cubicBezTo>
                    <a:cubicBezTo>
                      <a:pt x="3426" y="7159"/>
                      <a:pt x="3426" y="7159"/>
                      <a:pt x="3426" y="7159"/>
                    </a:cubicBezTo>
                    <a:cubicBezTo>
                      <a:pt x="3831" y="7256"/>
                      <a:pt x="3831" y="7256"/>
                      <a:pt x="3831" y="7256"/>
                    </a:cubicBezTo>
                    <a:cubicBezTo>
                      <a:pt x="3832" y="7256"/>
                      <a:pt x="3833" y="7256"/>
                      <a:pt x="3834" y="7255"/>
                    </a:cubicBezTo>
                    <a:cubicBezTo>
                      <a:pt x="3834" y="7255"/>
                      <a:pt x="3837" y="7255"/>
                      <a:pt x="3840" y="7258"/>
                    </a:cubicBezTo>
                    <a:cubicBezTo>
                      <a:pt x="3840" y="7258"/>
                      <a:pt x="3840" y="7258"/>
                      <a:pt x="3840" y="7258"/>
                    </a:cubicBezTo>
                    <a:cubicBezTo>
                      <a:pt x="4110" y="7323"/>
                      <a:pt x="4110" y="7323"/>
                      <a:pt x="4110" y="7323"/>
                    </a:cubicBezTo>
                    <a:cubicBezTo>
                      <a:pt x="4259" y="7128"/>
                      <a:pt x="4259" y="7128"/>
                      <a:pt x="4259" y="7128"/>
                    </a:cubicBezTo>
                    <a:cubicBezTo>
                      <a:pt x="3465" y="6840"/>
                      <a:pt x="3465" y="6840"/>
                      <a:pt x="3465" y="6840"/>
                    </a:cubicBezTo>
                    <a:lnTo>
                      <a:pt x="3365" y="7619"/>
                    </a:lnTo>
                    <a:close/>
                    <a:moveTo>
                      <a:pt x="3839" y="7273"/>
                    </a:moveTo>
                    <a:cubicBezTo>
                      <a:pt x="3833" y="7320"/>
                      <a:pt x="3802" y="7553"/>
                      <a:pt x="3797" y="7590"/>
                    </a:cubicBezTo>
                    <a:cubicBezTo>
                      <a:pt x="3844" y="7591"/>
                      <a:pt x="3882" y="7592"/>
                      <a:pt x="3902" y="7593"/>
                    </a:cubicBezTo>
                    <a:cubicBezTo>
                      <a:pt x="4101" y="7335"/>
                      <a:pt x="4101" y="7335"/>
                      <a:pt x="4101" y="7335"/>
                    </a:cubicBezTo>
                    <a:lnTo>
                      <a:pt x="3839" y="7273"/>
                    </a:lnTo>
                    <a:close/>
                    <a:moveTo>
                      <a:pt x="3261" y="7724"/>
                    </a:moveTo>
                    <a:cubicBezTo>
                      <a:pt x="3523" y="7837"/>
                      <a:pt x="3523" y="7837"/>
                      <a:pt x="3523" y="7837"/>
                    </a:cubicBezTo>
                    <a:cubicBezTo>
                      <a:pt x="3534" y="7858"/>
                      <a:pt x="3534" y="7858"/>
                      <a:pt x="3534" y="7858"/>
                    </a:cubicBezTo>
                    <a:cubicBezTo>
                      <a:pt x="3647" y="7792"/>
                      <a:pt x="3647" y="7792"/>
                      <a:pt x="3647" y="7792"/>
                    </a:cubicBezTo>
                    <a:cubicBezTo>
                      <a:pt x="3699" y="7882"/>
                      <a:pt x="3699" y="7882"/>
                      <a:pt x="3699" y="7882"/>
                    </a:cubicBezTo>
                    <a:cubicBezTo>
                      <a:pt x="3580" y="7951"/>
                      <a:pt x="3580" y="7951"/>
                      <a:pt x="3580" y="7951"/>
                    </a:cubicBezTo>
                    <a:cubicBezTo>
                      <a:pt x="3589" y="7968"/>
                      <a:pt x="3589" y="7968"/>
                      <a:pt x="3589" y="7968"/>
                    </a:cubicBezTo>
                    <a:cubicBezTo>
                      <a:pt x="3604" y="7994"/>
                      <a:pt x="3604" y="7994"/>
                      <a:pt x="3604" y="7994"/>
                    </a:cubicBezTo>
                    <a:cubicBezTo>
                      <a:pt x="3602" y="7995"/>
                      <a:pt x="3602" y="7995"/>
                      <a:pt x="3602" y="7995"/>
                    </a:cubicBezTo>
                    <a:cubicBezTo>
                      <a:pt x="3606" y="8002"/>
                      <a:pt x="3606" y="8002"/>
                      <a:pt x="3606" y="8002"/>
                    </a:cubicBezTo>
                    <a:cubicBezTo>
                      <a:pt x="3957" y="7806"/>
                      <a:pt x="3957" y="7806"/>
                      <a:pt x="3957" y="7806"/>
                    </a:cubicBezTo>
                    <a:cubicBezTo>
                      <a:pt x="3896" y="7659"/>
                      <a:pt x="3896" y="7659"/>
                      <a:pt x="3896" y="7659"/>
                    </a:cubicBezTo>
                    <a:cubicBezTo>
                      <a:pt x="3863" y="7657"/>
                      <a:pt x="3793" y="7655"/>
                      <a:pt x="3713" y="7655"/>
                    </a:cubicBezTo>
                    <a:cubicBezTo>
                      <a:pt x="3605" y="7654"/>
                      <a:pt x="3476" y="7660"/>
                      <a:pt x="3405" y="7679"/>
                    </a:cubicBezTo>
                    <a:cubicBezTo>
                      <a:pt x="3402" y="7679"/>
                      <a:pt x="3402" y="7679"/>
                      <a:pt x="3402" y="7679"/>
                    </a:cubicBezTo>
                    <a:cubicBezTo>
                      <a:pt x="3399" y="7680"/>
                      <a:pt x="3399" y="7680"/>
                      <a:pt x="3399" y="7680"/>
                    </a:cubicBezTo>
                    <a:cubicBezTo>
                      <a:pt x="3399" y="7680"/>
                      <a:pt x="3398" y="7680"/>
                      <a:pt x="3395" y="7680"/>
                    </a:cubicBezTo>
                    <a:cubicBezTo>
                      <a:pt x="3379" y="7682"/>
                      <a:pt x="3327" y="7691"/>
                      <a:pt x="3261" y="7724"/>
                    </a:cubicBezTo>
                    <a:close/>
                    <a:moveTo>
                      <a:pt x="3547" y="7921"/>
                    </a:moveTo>
                    <a:cubicBezTo>
                      <a:pt x="3441" y="7982"/>
                      <a:pt x="3441" y="7982"/>
                      <a:pt x="3441" y="7982"/>
                    </a:cubicBezTo>
                    <a:cubicBezTo>
                      <a:pt x="3480" y="8050"/>
                      <a:pt x="3480" y="8050"/>
                      <a:pt x="3480" y="8050"/>
                    </a:cubicBezTo>
                    <a:cubicBezTo>
                      <a:pt x="3584" y="7990"/>
                      <a:pt x="3584" y="7990"/>
                      <a:pt x="3584" y="7990"/>
                    </a:cubicBezTo>
                    <a:cubicBezTo>
                      <a:pt x="3569" y="7959"/>
                      <a:pt x="3569" y="7959"/>
                      <a:pt x="3569" y="7959"/>
                    </a:cubicBezTo>
                    <a:lnTo>
                      <a:pt x="3547" y="7921"/>
                    </a:lnTo>
                    <a:close/>
                    <a:moveTo>
                      <a:pt x="3566" y="7922"/>
                    </a:moveTo>
                    <a:cubicBezTo>
                      <a:pt x="3576" y="7939"/>
                      <a:pt x="3576" y="7939"/>
                      <a:pt x="3576" y="7939"/>
                    </a:cubicBezTo>
                    <a:cubicBezTo>
                      <a:pt x="3681" y="7878"/>
                      <a:pt x="3681" y="7878"/>
                      <a:pt x="3681" y="7878"/>
                    </a:cubicBezTo>
                    <a:cubicBezTo>
                      <a:pt x="3642" y="7810"/>
                      <a:pt x="3642" y="7810"/>
                      <a:pt x="3642" y="7810"/>
                    </a:cubicBezTo>
                    <a:cubicBezTo>
                      <a:pt x="3539" y="7869"/>
                      <a:pt x="3539" y="7869"/>
                      <a:pt x="3539" y="7869"/>
                    </a:cubicBezTo>
                    <a:lnTo>
                      <a:pt x="3566" y="7922"/>
                    </a:lnTo>
                    <a:close/>
                    <a:moveTo>
                      <a:pt x="3245" y="7732"/>
                    </a:moveTo>
                    <a:cubicBezTo>
                      <a:pt x="3212" y="7750"/>
                      <a:pt x="3177" y="7773"/>
                      <a:pt x="3142" y="7805"/>
                    </a:cubicBezTo>
                    <a:cubicBezTo>
                      <a:pt x="3120" y="7824"/>
                      <a:pt x="3092" y="7847"/>
                      <a:pt x="3061" y="7871"/>
                    </a:cubicBezTo>
                    <a:cubicBezTo>
                      <a:pt x="3088" y="7890"/>
                      <a:pt x="3133" y="7920"/>
                      <a:pt x="3177" y="7949"/>
                    </a:cubicBezTo>
                    <a:cubicBezTo>
                      <a:pt x="3240" y="7992"/>
                      <a:pt x="3301" y="8031"/>
                      <a:pt x="3301" y="8031"/>
                    </a:cubicBezTo>
                    <a:cubicBezTo>
                      <a:pt x="3302" y="8032"/>
                      <a:pt x="3302" y="8032"/>
                      <a:pt x="3302" y="8032"/>
                    </a:cubicBezTo>
                    <a:cubicBezTo>
                      <a:pt x="3382" y="8127"/>
                      <a:pt x="3382" y="8127"/>
                      <a:pt x="3382" y="8127"/>
                    </a:cubicBezTo>
                    <a:cubicBezTo>
                      <a:pt x="3594" y="8009"/>
                      <a:pt x="3594" y="8009"/>
                      <a:pt x="3594" y="8009"/>
                    </a:cubicBezTo>
                    <a:cubicBezTo>
                      <a:pt x="3590" y="8002"/>
                      <a:pt x="3590" y="8002"/>
                      <a:pt x="3590" y="8002"/>
                    </a:cubicBezTo>
                    <a:cubicBezTo>
                      <a:pt x="3476" y="8068"/>
                      <a:pt x="3476" y="8068"/>
                      <a:pt x="3476" y="8068"/>
                    </a:cubicBezTo>
                    <a:cubicBezTo>
                      <a:pt x="3472" y="8062"/>
                      <a:pt x="3472" y="8062"/>
                      <a:pt x="3472" y="8062"/>
                    </a:cubicBezTo>
                    <a:cubicBezTo>
                      <a:pt x="3423" y="7977"/>
                      <a:pt x="3423" y="7977"/>
                      <a:pt x="3423" y="7977"/>
                    </a:cubicBezTo>
                    <a:cubicBezTo>
                      <a:pt x="3543" y="7908"/>
                      <a:pt x="3543" y="7908"/>
                      <a:pt x="3543" y="7908"/>
                    </a:cubicBezTo>
                    <a:cubicBezTo>
                      <a:pt x="3519" y="7866"/>
                      <a:pt x="3519" y="7866"/>
                      <a:pt x="3519" y="7866"/>
                    </a:cubicBezTo>
                    <a:cubicBezTo>
                      <a:pt x="3522" y="7865"/>
                      <a:pt x="3522" y="7865"/>
                      <a:pt x="3522" y="7865"/>
                    </a:cubicBezTo>
                    <a:cubicBezTo>
                      <a:pt x="3513" y="7848"/>
                      <a:pt x="3513" y="7848"/>
                      <a:pt x="3513" y="7848"/>
                    </a:cubicBezTo>
                    <a:lnTo>
                      <a:pt x="3245" y="7732"/>
                    </a:lnTo>
                    <a:close/>
                    <a:moveTo>
                      <a:pt x="4314" y="8278"/>
                    </a:moveTo>
                    <a:cubicBezTo>
                      <a:pt x="4320" y="8289"/>
                      <a:pt x="4325" y="8298"/>
                      <a:pt x="4330" y="8308"/>
                    </a:cubicBezTo>
                    <a:cubicBezTo>
                      <a:pt x="4366" y="8287"/>
                      <a:pt x="4453" y="8238"/>
                      <a:pt x="4555" y="8181"/>
                    </a:cubicBezTo>
                    <a:cubicBezTo>
                      <a:pt x="4417" y="7940"/>
                      <a:pt x="4417" y="7940"/>
                      <a:pt x="4417" y="7940"/>
                    </a:cubicBezTo>
                    <a:cubicBezTo>
                      <a:pt x="4197" y="8073"/>
                      <a:pt x="4197" y="8073"/>
                      <a:pt x="4197" y="8073"/>
                    </a:cubicBezTo>
                    <a:cubicBezTo>
                      <a:pt x="4199" y="8075"/>
                      <a:pt x="4200" y="8078"/>
                      <a:pt x="4201" y="8080"/>
                    </a:cubicBezTo>
                    <a:cubicBezTo>
                      <a:pt x="4241" y="8148"/>
                      <a:pt x="4281" y="8218"/>
                      <a:pt x="4314" y="8278"/>
                    </a:cubicBezTo>
                    <a:close/>
                    <a:moveTo>
                      <a:pt x="4410" y="7928"/>
                    </a:moveTo>
                    <a:cubicBezTo>
                      <a:pt x="4279" y="7700"/>
                      <a:pt x="4279" y="7700"/>
                      <a:pt x="4279" y="7700"/>
                    </a:cubicBezTo>
                    <a:cubicBezTo>
                      <a:pt x="4076" y="7815"/>
                      <a:pt x="4076" y="7815"/>
                      <a:pt x="4076" y="7815"/>
                    </a:cubicBezTo>
                    <a:cubicBezTo>
                      <a:pt x="4052" y="7829"/>
                      <a:pt x="4052" y="7829"/>
                      <a:pt x="4052" y="7829"/>
                    </a:cubicBezTo>
                    <a:cubicBezTo>
                      <a:pt x="4067" y="7854"/>
                      <a:pt x="4126" y="7951"/>
                      <a:pt x="4190" y="8061"/>
                    </a:cubicBezTo>
                    <a:lnTo>
                      <a:pt x="4410" y="7928"/>
                    </a:lnTo>
                    <a:close/>
                    <a:moveTo>
                      <a:pt x="4599" y="7442"/>
                    </a:moveTo>
                    <a:cubicBezTo>
                      <a:pt x="4595" y="7430"/>
                      <a:pt x="4590" y="7413"/>
                      <a:pt x="4583" y="7390"/>
                    </a:cubicBezTo>
                    <a:cubicBezTo>
                      <a:pt x="4551" y="7288"/>
                      <a:pt x="4496" y="7099"/>
                      <a:pt x="4488" y="7073"/>
                    </a:cubicBezTo>
                    <a:cubicBezTo>
                      <a:pt x="4446" y="7072"/>
                      <a:pt x="4406" y="7072"/>
                      <a:pt x="4383" y="7071"/>
                    </a:cubicBezTo>
                    <a:cubicBezTo>
                      <a:pt x="4373" y="7084"/>
                      <a:pt x="4365" y="7095"/>
                      <a:pt x="4358" y="7104"/>
                    </a:cubicBezTo>
                    <a:cubicBezTo>
                      <a:pt x="4358" y="7104"/>
                      <a:pt x="4358" y="7104"/>
                      <a:pt x="4358" y="7104"/>
                    </a:cubicBezTo>
                    <a:cubicBezTo>
                      <a:pt x="3955" y="7632"/>
                      <a:pt x="3955" y="7632"/>
                      <a:pt x="3955" y="7632"/>
                    </a:cubicBezTo>
                    <a:cubicBezTo>
                      <a:pt x="4015" y="7774"/>
                      <a:pt x="4015" y="7774"/>
                      <a:pt x="4015" y="7774"/>
                    </a:cubicBezTo>
                    <a:cubicBezTo>
                      <a:pt x="4044" y="7758"/>
                      <a:pt x="4044" y="7758"/>
                      <a:pt x="4044" y="7758"/>
                    </a:cubicBezTo>
                    <a:lnTo>
                      <a:pt x="4599" y="7442"/>
                    </a:lnTo>
                    <a:close/>
                    <a:moveTo>
                      <a:pt x="4611" y="7434"/>
                    </a:moveTo>
                    <a:cubicBezTo>
                      <a:pt x="4611" y="7435"/>
                      <a:pt x="4611" y="7435"/>
                      <a:pt x="4611" y="7435"/>
                    </a:cubicBezTo>
                    <a:cubicBezTo>
                      <a:pt x="5105" y="7154"/>
                      <a:pt x="5105" y="7154"/>
                      <a:pt x="5105" y="7154"/>
                    </a:cubicBezTo>
                    <a:cubicBezTo>
                      <a:pt x="5101" y="7145"/>
                      <a:pt x="5098" y="7136"/>
                      <a:pt x="5092" y="7123"/>
                    </a:cubicBezTo>
                    <a:cubicBezTo>
                      <a:pt x="5078" y="7088"/>
                      <a:pt x="5055" y="7039"/>
                      <a:pt x="5024" y="6987"/>
                    </a:cubicBezTo>
                    <a:cubicBezTo>
                      <a:pt x="4987" y="6923"/>
                      <a:pt x="4965" y="6867"/>
                      <a:pt x="4953" y="6830"/>
                    </a:cubicBezTo>
                    <a:cubicBezTo>
                      <a:pt x="4953" y="6831"/>
                      <a:pt x="4953" y="6831"/>
                      <a:pt x="4953" y="6831"/>
                    </a:cubicBezTo>
                    <a:cubicBezTo>
                      <a:pt x="4953" y="6829"/>
                      <a:pt x="4953" y="6829"/>
                      <a:pt x="4953" y="6829"/>
                    </a:cubicBezTo>
                    <a:cubicBezTo>
                      <a:pt x="4952" y="6828"/>
                      <a:pt x="4952" y="6826"/>
                      <a:pt x="4951" y="6825"/>
                    </a:cubicBezTo>
                    <a:cubicBezTo>
                      <a:pt x="4951" y="6823"/>
                      <a:pt x="4950" y="6822"/>
                      <a:pt x="4950" y="6820"/>
                    </a:cubicBezTo>
                    <a:cubicBezTo>
                      <a:pt x="4950" y="6819"/>
                      <a:pt x="4950" y="6819"/>
                      <a:pt x="4949" y="6818"/>
                    </a:cubicBezTo>
                    <a:cubicBezTo>
                      <a:pt x="4949" y="6816"/>
                      <a:pt x="4948" y="6815"/>
                      <a:pt x="4948" y="6812"/>
                    </a:cubicBezTo>
                    <a:cubicBezTo>
                      <a:pt x="4947" y="6810"/>
                      <a:pt x="4946" y="6808"/>
                      <a:pt x="4946" y="6806"/>
                    </a:cubicBezTo>
                    <a:cubicBezTo>
                      <a:pt x="4946" y="6805"/>
                      <a:pt x="4946" y="6804"/>
                      <a:pt x="4946" y="6803"/>
                    </a:cubicBezTo>
                    <a:cubicBezTo>
                      <a:pt x="4945" y="6801"/>
                      <a:pt x="4945" y="6799"/>
                      <a:pt x="4944" y="6797"/>
                    </a:cubicBezTo>
                    <a:cubicBezTo>
                      <a:pt x="4899" y="6821"/>
                      <a:pt x="4749" y="6901"/>
                      <a:pt x="4719" y="6917"/>
                    </a:cubicBezTo>
                    <a:cubicBezTo>
                      <a:pt x="4718" y="6930"/>
                      <a:pt x="4718" y="6944"/>
                      <a:pt x="4717" y="6956"/>
                    </a:cubicBezTo>
                    <a:cubicBezTo>
                      <a:pt x="4714" y="6989"/>
                      <a:pt x="4712" y="7017"/>
                      <a:pt x="4711" y="7037"/>
                    </a:cubicBezTo>
                    <a:cubicBezTo>
                      <a:pt x="4710" y="7046"/>
                      <a:pt x="4710" y="7054"/>
                      <a:pt x="4709" y="7059"/>
                    </a:cubicBezTo>
                    <a:cubicBezTo>
                      <a:pt x="4709" y="7062"/>
                      <a:pt x="4709" y="7064"/>
                      <a:pt x="4708" y="7066"/>
                    </a:cubicBezTo>
                    <a:cubicBezTo>
                      <a:pt x="4708" y="7067"/>
                      <a:pt x="4708" y="7067"/>
                      <a:pt x="4708" y="7068"/>
                    </a:cubicBezTo>
                    <a:cubicBezTo>
                      <a:pt x="4708" y="7068"/>
                      <a:pt x="4708" y="7068"/>
                      <a:pt x="4708" y="7069"/>
                    </a:cubicBezTo>
                    <a:cubicBezTo>
                      <a:pt x="4707" y="7070"/>
                      <a:pt x="4709" y="7070"/>
                      <a:pt x="4704" y="7074"/>
                    </a:cubicBezTo>
                    <a:cubicBezTo>
                      <a:pt x="4701" y="7075"/>
                      <a:pt x="4700" y="7075"/>
                      <a:pt x="4700" y="7075"/>
                    </a:cubicBezTo>
                    <a:cubicBezTo>
                      <a:pt x="4700" y="7075"/>
                      <a:pt x="4700" y="7075"/>
                      <a:pt x="4699" y="7075"/>
                    </a:cubicBezTo>
                    <a:cubicBezTo>
                      <a:pt x="4697" y="7075"/>
                      <a:pt x="4693" y="7075"/>
                      <a:pt x="4687" y="7075"/>
                    </a:cubicBezTo>
                    <a:cubicBezTo>
                      <a:pt x="4657" y="7075"/>
                      <a:pt x="4577" y="7074"/>
                      <a:pt x="4503" y="7073"/>
                    </a:cubicBezTo>
                    <a:cubicBezTo>
                      <a:pt x="4510" y="7097"/>
                      <a:pt x="4533" y="7177"/>
                      <a:pt x="4558" y="7258"/>
                    </a:cubicBezTo>
                    <a:cubicBezTo>
                      <a:pt x="4572" y="7307"/>
                      <a:pt x="4586" y="7355"/>
                      <a:pt x="4598" y="7391"/>
                    </a:cubicBezTo>
                    <a:cubicBezTo>
                      <a:pt x="4603" y="7409"/>
                      <a:pt x="4608" y="7424"/>
                      <a:pt x="4611" y="7434"/>
                    </a:cubicBezTo>
                    <a:close/>
                    <a:moveTo>
                      <a:pt x="5144" y="7131"/>
                    </a:moveTo>
                    <a:cubicBezTo>
                      <a:pt x="5610" y="6794"/>
                      <a:pt x="5610" y="6794"/>
                      <a:pt x="5610" y="6794"/>
                    </a:cubicBezTo>
                    <a:cubicBezTo>
                      <a:pt x="5632" y="6703"/>
                      <a:pt x="5632" y="6703"/>
                      <a:pt x="5632" y="6703"/>
                    </a:cubicBezTo>
                    <a:cubicBezTo>
                      <a:pt x="5666" y="6401"/>
                      <a:pt x="5666" y="6401"/>
                      <a:pt x="5666" y="6401"/>
                    </a:cubicBezTo>
                    <a:cubicBezTo>
                      <a:pt x="5618" y="6393"/>
                      <a:pt x="5462" y="6362"/>
                      <a:pt x="5417" y="6354"/>
                    </a:cubicBezTo>
                    <a:cubicBezTo>
                      <a:pt x="5377" y="6348"/>
                      <a:pt x="5377" y="6348"/>
                      <a:pt x="5377" y="6348"/>
                    </a:cubicBezTo>
                    <a:cubicBezTo>
                      <a:pt x="5368" y="6366"/>
                      <a:pt x="5334" y="6429"/>
                      <a:pt x="5299" y="6492"/>
                    </a:cubicBezTo>
                    <a:cubicBezTo>
                      <a:pt x="5279" y="6529"/>
                      <a:pt x="5259" y="6566"/>
                      <a:pt x="5243" y="6594"/>
                    </a:cubicBezTo>
                    <a:cubicBezTo>
                      <a:pt x="5235" y="6608"/>
                      <a:pt x="5229" y="6620"/>
                      <a:pt x="5224" y="6628"/>
                    </a:cubicBezTo>
                    <a:cubicBezTo>
                      <a:pt x="5221" y="6632"/>
                      <a:pt x="5219" y="6635"/>
                      <a:pt x="5218" y="6638"/>
                    </a:cubicBezTo>
                    <a:cubicBezTo>
                      <a:pt x="5217" y="6639"/>
                      <a:pt x="5217" y="6640"/>
                      <a:pt x="5216" y="6641"/>
                    </a:cubicBezTo>
                    <a:cubicBezTo>
                      <a:pt x="5215" y="6642"/>
                      <a:pt x="5216" y="6642"/>
                      <a:pt x="5212" y="6644"/>
                    </a:cubicBezTo>
                    <a:cubicBezTo>
                      <a:pt x="5212" y="6644"/>
                      <a:pt x="5212" y="6644"/>
                      <a:pt x="5212" y="6644"/>
                    </a:cubicBezTo>
                    <a:cubicBezTo>
                      <a:pt x="5212" y="6644"/>
                      <a:pt x="5212" y="6644"/>
                      <a:pt x="5212" y="6644"/>
                    </a:cubicBezTo>
                    <a:cubicBezTo>
                      <a:pt x="5206" y="6648"/>
                      <a:pt x="5149" y="6691"/>
                      <a:pt x="5095" y="6732"/>
                    </a:cubicBezTo>
                    <a:cubicBezTo>
                      <a:pt x="5052" y="6765"/>
                      <a:pt x="5010" y="6796"/>
                      <a:pt x="4994" y="6809"/>
                    </a:cubicBezTo>
                    <a:cubicBezTo>
                      <a:pt x="5005" y="6844"/>
                      <a:pt x="5026" y="6902"/>
                      <a:pt x="5063" y="6964"/>
                    </a:cubicBezTo>
                    <a:cubicBezTo>
                      <a:pt x="5103" y="7032"/>
                      <a:pt x="5130" y="7093"/>
                      <a:pt x="5144" y="7131"/>
                    </a:cubicBezTo>
                    <a:close/>
                    <a:moveTo>
                      <a:pt x="5605" y="6997"/>
                    </a:moveTo>
                    <a:cubicBezTo>
                      <a:pt x="6038" y="7378"/>
                      <a:pt x="6038" y="7378"/>
                      <a:pt x="6038" y="7378"/>
                    </a:cubicBezTo>
                    <a:cubicBezTo>
                      <a:pt x="6119" y="7104"/>
                      <a:pt x="6119" y="7104"/>
                      <a:pt x="6119" y="7104"/>
                    </a:cubicBezTo>
                    <a:cubicBezTo>
                      <a:pt x="6177" y="7009"/>
                      <a:pt x="6177" y="7009"/>
                      <a:pt x="6177" y="7009"/>
                    </a:cubicBezTo>
                    <a:cubicBezTo>
                      <a:pt x="6181" y="7009"/>
                      <a:pt x="6181" y="7009"/>
                      <a:pt x="6181" y="7009"/>
                    </a:cubicBezTo>
                    <a:cubicBezTo>
                      <a:pt x="6181" y="7009"/>
                      <a:pt x="6182" y="7010"/>
                      <a:pt x="6183" y="7010"/>
                    </a:cubicBezTo>
                    <a:cubicBezTo>
                      <a:pt x="6214" y="6738"/>
                      <a:pt x="6214" y="6738"/>
                      <a:pt x="6214" y="6738"/>
                    </a:cubicBezTo>
                    <a:cubicBezTo>
                      <a:pt x="6047" y="6745"/>
                      <a:pt x="5838" y="6746"/>
                      <a:pt x="5789" y="6746"/>
                    </a:cubicBezTo>
                    <a:cubicBezTo>
                      <a:pt x="5668" y="6833"/>
                      <a:pt x="5668" y="6833"/>
                      <a:pt x="5668" y="6833"/>
                    </a:cubicBezTo>
                    <a:cubicBezTo>
                      <a:pt x="5667" y="6837"/>
                      <a:pt x="5667" y="6837"/>
                      <a:pt x="5667" y="6837"/>
                    </a:cubicBezTo>
                    <a:lnTo>
                      <a:pt x="5605" y="6997"/>
                    </a:lnTo>
                    <a:close/>
                    <a:moveTo>
                      <a:pt x="6256" y="4549"/>
                    </a:moveTo>
                    <a:cubicBezTo>
                      <a:pt x="6296" y="4351"/>
                      <a:pt x="6296" y="4351"/>
                      <a:pt x="6296" y="4351"/>
                    </a:cubicBezTo>
                    <a:cubicBezTo>
                      <a:pt x="6244" y="4346"/>
                      <a:pt x="6196" y="4341"/>
                      <a:pt x="6160" y="4337"/>
                    </a:cubicBezTo>
                    <a:cubicBezTo>
                      <a:pt x="6118" y="4540"/>
                      <a:pt x="6118" y="4540"/>
                      <a:pt x="6118" y="4540"/>
                    </a:cubicBezTo>
                    <a:cubicBezTo>
                      <a:pt x="6155" y="4543"/>
                      <a:pt x="6203" y="4546"/>
                      <a:pt x="6256" y="4549"/>
                    </a:cubicBezTo>
                    <a:close/>
                    <a:moveTo>
                      <a:pt x="6137" y="4556"/>
                    </a:moveTo>
                    <a:cubicBezTo>
                      <a:pt x="6129" y="4555"/>
                      <a:pt x="6122" y="4555"/>
                      <a:pt x="6115" y="4554"/>
                    </a:cubicBezTo>
                    <a:cubicBezTo>
                      <a:pt x="6084" y="4702"/>
                      <a:pt x="6084" y="4702"/>
                      <a:pt x="6084" y="4702"/>
                    </a:cubicBezTo>
                    <a:cubicBezTo>
                      <a:pt x="6219" y="4729"/>
                      <a:pt x="6219" y="4729"/>
                      <a:pt x="6219" y="4729"/>
                    </a:cubicBezTo>
                    <a:cubicBezTo>
                      <a:pt x="6253" y="4563"/>
                      <a:pt x="6253" y="4563"/>
                      <a:pt x="6253" y="4563"/>
                    </a:cubicBezTo>
                    <a:cubicBezTo>
                      <a:pt x="6211" y="4560"/>
                      <a:pt x="6170" y="4558"/>
                      <a:pt x="6137" y="4556"/>
                    </a:cubicBezTo>
                    <a:close/>
                    <a:moveTo>
                      <a:pt x="6239" y="3957"/>
                    </a:moveTo>
                    <a:cubicBezTo>
                      <a:pt x="6204" y="4125"/>
                      <a:pt x="6204" y="4125"/>
                      <a:pt x="6204" y="4125"/>
                    </a:cubicBezTo>
                    <a:cubicBezTo>
                      <a:pt x="6340" y="4135"/>
                      <a:pt x="6340" y="4135"/>
                      <a:pt x="6340" y="4135"/>
                    </a:cubicBezTo>
                    <a:cubicBezTo>
                      <a:pt x="6374" y="3968"/>
                      <a:pt x="6374" y="3968"/>
                      <a:pt x="6374" y="3968"/>
                    </a:cubicBezTo>
                    <a:cubicBezTo>
                      <a:pt x="6323" y="3964"/>
                      <a:pt x="6275" y="3960"/>
                      <a:pt x="6239" y="3957"/>
                    </a:cubicBezTo>
                    <a:close/>
                    <a:moveTo>
                      <a:pt x="6376" y="3954"/>
                    </a:moveTo>
                    <a:cubicBezTo>
                      <a:pt x="6398" y="3845"/>
                      <a:pt x="6398" y="3845"/>
                      <a:pt x="6398" y="3845"/>
                    </a:cubicBezTo>
                    <a:cubicBezTo>
                      <a:pt x="6268" y="3819"/>
                      <a:pt x="6268" y="3819"/>
                      <a:pt x="6268" y="3819"/>
                    </a:cubicBezTo>
                    <a:cubicBezTo>
                      <a:pt x="6242" y="3944"/>
                      <a:pt x="6242" y="3944"/>
                      <a:pt x="6242" y="3944"/>
                    </a:cubicBezTo>
                    <a:cubicBezTo>
                      <a:pt x="6278" y="3946"/>
                      <a:pt x="6326" y="3950"/>
                      <a:pt x="6376" y="3954"/>
                    </a:cubicBezTo>
                    <a:close/>
                    <a:moveTo>
                      <a:pt x="6202" y="4139"/>
                    </a:moveTo>
                    <a:cubicBezTo>
                      <a:pt x="6163" y="4324"/>
                      <a:pt x="6163" y="4324"/>
                      <a:pt x="6163" y="4324"/>
                    </a:cubicBezTo>
                    <a:cubicBezTo>
                      <a:pt x="6199" y="4327"/>
                      <a:pt x="6247" y="4332"/>
                      <a:pt x="6299" y="4337"/>
                    </a:cubicBezTo>
                    <a:cubicBezTo>
                      <a:pt x="6337" y="4149"/>
                      <a:pt x="6337" y="4149"/>
                      <a:pt x="6337" y="4149"/>
                    </a:cubicBezTo>
                    <a:lnTo>
                      <a:pt x="6202" y="4139"/>
                    </a:lnTo>
                    <a:close/>
                    <a:moveTo>
                      <a:pt x="6269" y="4550"/>
                    </a:moveTo>
                    <a:cubicBezTo>
                      <a:pt x="6408" y="4558"/>
                      <a:pt x="6569" y="4567"/>
                      <a:pt x="6602" y="4570"/>
                    </a:cubicBezTo>
                    <a:cubicBezTo>
                      <a:pt x="6622" y="4382"/>
                      <a:pt x="6622" y="4382"/>
                      <a:pt x="6622" y="4382"/>
                    </a:cubicBezTo>
                    <a:cubicBezTo>
                      <a:pt x="6572" y="4377"/>
                      <a:pt x="6432" y="4364"/>
                      <a:pt x="6309" y="4352"/>
                    </a:cubicBezTo>
                    <a:lnTo>
                      <a:pt x="6269" y="4550"/>
                    </a:lnTo>
                    <a:close/>
                    <a:moveTo>
                      <a:pt x="6624" y="4368"/>
                    </a:moveTo>
                    <a:cubicBezTo>
                      <a:pt x="6645" y="4173"/>
                      <a:pt x="6645" y="4173"/>
                      <a:pt x="6645" y="4173"/>
                    </a:cubicBezTo>
                    <a:cubicBezTo>
                      <a:pt x="6350" y="4150"/>
                      <a:pt x="6350" y="4150"/>
                      <a:pt x="6350" y="4150"/>
                    </a:cubicBezTo>
                    <a:cubicBezTo>
                      <a:pt x="6312" y="4338"/>
                      <a:pt x="6312" y="4338"/>
                      <a:pt x="6312" y="4338"/>
                    </a:cubicBezTo>
                    <a:cubicBezTo>
                      <a:pt x="6330" y="4340"/>
                      <a:pt x="6348" y="4342"/>
                      <a:pt x="6367" y="4344"/>
                    </a:cubicBezTo>
                    <a:cubicBezTo>
                      <a:pt x="6474" y="4354"/>
                      <a:pt x="6582" y="4364"/>
                      <a:pt x="6624" y="4368"/>
                    </a:cubicBezTo>
                    <a:close/>
                    <a:moveTo>
                      <a:pt x="6646" y="4159"/>
                    </a:moveTo>
                    <a:cubicBezTo>
                      <a:pt x="6664" y="3989"/>
                      <a:pt x="6664" y="3989"/>
                      <a:pt x="6664" y="3989"/>
                    </a:cubicBezTo>
                    <a:cubicBezTo>
                      <a:pt x="6635" y="3988"/>
                      <a:pt x="6505" y="3978"/>
                      <a:pt x="6387" y="3969"/>
                    </a:cubicBezTo>
                    <a:cubicBezTo>
                      <a:pt x="6353" y="4136"/>
                      <a:pt x="6353" y="4136"/>
                      <a:pt x="6353" y="4136"/>
                    </a:cubicBezTo>
                    <a:lnTo>
                      <a:pt x="6646" y="4159"/>
                    </a:lnTo>
                    <a:close/>
                    <a:moveTo>
                      <a:pt x="6665" y="3983"/>
                    </a:moveTo>
                    <a:cubicBezTo>
                      <a:pt x="6665" y="3983"/>
                      <a:pt x="6665" y="3983"/>
                      <a:pt x="6665" y="3983"/>
                    </a:cubicBezTo>
                    <a:cubicBezTo>
                      <a:pt x="6663" y="3983"/>
                      <a:pt x="6663" y="3983"/>
                      <a:pt x="6663" y="3983"/>
                    </a:cubicBezTo>
                    <a:lnTo>
                      <a:pt x="6665" y="3983"/>
                    </a:lnTo>
                    <a:close/>
                    <a:moveTo>
                      <a:pt x="6666" y="3976"/>
                    </a:moveTo>
                    <a:cubicBezTo>
                      <a:pt x="6691" y="3742"/>
                      <a:pt x="6691" y="3742"/>
                      <a:pt x="6691" y="3742"/>
                    </a:cubicBezTo>
                    <a:cubicBezTo>
                      <a:pt x="6224" y="3736"/>
                      <a:pt x="6224" y="3736"/>
                      <a:pt x="6224" y="3736"/>
                    </a:cubicBezTo>
                    <a:cubicBezTo>
                      <a:pt x="6217" y="3776"/>
                      <a:pt x="6203" y="3851"/>
                      <a:pt x="6187" y="3939"/>
                    </a:cubicBezTo>
                    <a:cubicBezTo>
                      <a:pt x="6194" y="3940"/>
                      <a:pt x="6209" y="3941"/>
                      <a:pt x="6229" y="3942"/>
                    </a:cubicBezTo>
                    <a:cubicBezTo>
                      <a:pt x="6258" y="3803"/>
                      <a:pt x="6258" y="3803"/>
                      <a:pt x="6258" y="3803"/>
                    </a:cubicBezTo>
                    <a:cubicBezTo>
                      <a:pt x="6414" y="3835"/>
                      <a:pt x="6414" y="3835"/>
                      <a:pt x="6414" y="3835"/>
                    </a:cubicBezTo>
                    <a:cubicBezTo>
                      <a:pt x="6413" y="3841"/>
                      <a:pt x="6413" y="3841"/>
                      <a:pt x="6413" y="3841"/>
                    </a:cubicBezTo>
                    <a:cubicBezTo>
                      <a:pt x="6390" y="3955"/>
                      <a:pt x="6390" y="3955"/>
                      <a:pt x="6390" y="3955"/>
                    </a:cubicBezTo>
                    <a:cubicBezTo>
                      <a:pt x="6509" y="3965"/>
                      <a:pt x="6640" y="3975"/>
                      <a:pt x="6666" y="3976"/>
                    </a:cubicBezTo>
                    <a:close/>
                    <a:moveTo>
                      <a:pt x="6184" y="3953"/>
                    </a:moveTo>
                    <a:cubicBezTo>
                      <a:pt x="6174" y="4006"/>
                      <a:pt x="6163" y="4063"/>
                      <a:pt x="6152" y="4121"/>
                    </a:cubicBezTo>
                    <a:cubicBezTo>
                      <a:pt x="6191" y="4124"/>
                      <a:pt x="6191" y="4124"/>
                      <a:pt x="6191" y="4124"/>
                    </a:cubicBezTo>
                    <a:cubicBezTo>
                      <a:pt x="6226" y="3956"/>
                      <a:pt x="6226" y="3956"/>
                      <a:pt x="6226" y="3956"/>
                    </a:cubicBezTo>
                    <a:cubicBezTo>
                      <a:pt x="6206" y="3955"/>
                      <a:pt x="6191" y="3953"/>
                      <a:pt x="6184" y="3953"/>
                    </a:cubicBezTo>
                    <a:close/>
                    <a:moveTo>
                      <a:pt x="6150" y="4135"/>
                    </a:moveTo>
                    <a:cubicBezTo>
                      <a:pt x="6137" y="4198"/>
                      <a:pt x="6125" y="4262"/>
                      <a:pt x="6113" y="4319"/>
                    </a:cubicBezTo>
                    <a:cubicBezTo>
                      <a:pt x="6122" y="4320"/>
                      <a:pt x="6134" y="4321"/>
                      <a:pt x="6150" y="4322"/>
                    </a:cubicBezTo>
                    <a:cubicBezTo>
                      <a:pt x="6188" y="4138"/>
                      <a:pt x="6188" y="4138"/>
                      <a:pt x="6188" y="4138"/>
                    </a:cubicBezTo>
                    <a:lnTo>
                      <a:pt x="6150" y="4135"/>
                    </a:lnTo>
                    <a:close/>
                    <a:moveTo>
                      <a:pt x="6110" y="4333"/>
                    </a:moveTo>
                    <a:cubicBezTo>
                      <a:pt x="6105" y="4360"/>
                      <a:pt x="6099" y="4387"/>
                      <a:pt x="6094" y="4410"/>
                    </a:cubicBezTo>
                    <a:cubicBezTo>
                      <a:pt x="6085" y="4450"/>
                      <a:pt x="6078" y="4483"/>
                      <a:pt x="6071" y="4507"/>
                    </a:cubicBezTo>
                    <a:cubicBezTo>
                      <a:pt x="6068" y="4519"/>
                      <a:pt x="6065" y="4528"/>
                      <a:pt x="6063" y="4535"/>
                    </a:cubicBezTo>
                    <a:cubicBezTo>
                      <a:pt x="6063" y="4536"/>
                      <a:pt x="6063" y="4536"/>
                      <a:pt x="6062" y="4537"/>
                    </a:cubicBezTo>
                    <a:cubicBezTo>
                      <a:pt x="6071" y="4537"/>
                      <a:pt x="6086" y="4538"/>
                      <a:pt x="6105" y="4539"/>
                    </a:cubicBezTo>
                    <a:cubicBezTo>
                      <a:pt x="6147" y="4336"/>
                      <a:pt x="6147" y="4336"/>
                      <a:pt x="6147" y="4336"/>
                    </a:cubicBezTo>
                    <a:cubicBezTo>
                      <a:pt x="6132" y="4335"/>
                      <a:pt x="6119" y="4333"/>
                      <a:pt x="6110" y="4333"/>
                    </a:cubicBezTo>
                    <a:close/>
                    <a:moveTo>
                      <a:pt x="6058" y="4551"/>
                    </a:moveTo>
                    <a:cubicBezTo>
                      <a:pt x="6056" y="4573"/>
                      <a:pt x="6048" y="4644"/>
                      <a:pt x="6035" y="4747"/>
                    </a:cubicBezTo>
                    <a:cubicBezTo>
                      <a:pt x="6579" y="4788"/>
                      <a:pt x="6579" y="4788"/>
                      <a:pt x="6579" y="4788"/>
                    </a:cubicBezTo>
                    <a:cubicBezTo>
                      <a:pt x="6601" y="4583"/>
                      <a:pt x="6601" y="4583"/>
                      <a:pt x="6601" y="4583"/>
                    </a:cubicBezTo>
                    <a:cubicBezTo>
                      <a:pt x="6571" y="4582"/>
                      <a:pt x="6450" y="4574"/>
                      <a:pt x="6329" y="4567"/>
                    </a:cubicBezTo>
                    <a:cubicBezTo>
                      <a:pt x="6308" y="4566"/>
                      <a:pt x="6287" y="4565"/>
                      <a:pt x="6266" y="4563"/>
                    </a:cubicBezTo>
                    <a:cubicBezTo>
                      <a:pt x="6230" y="4744"/>
                      <a:pt x="6230" y="4744"/>
                      <a:pt x="6230" y="4744"/>
                    </a:cubicBezTo>
                    <a:cubicBezTo>
                      <a:pt x="6069" y="4712"/>
                      <a:pt x="6069" y="4712"/>
                      <a:pt x="6069" y="4712"/>
                    </a:cubicBezTo>
                    <a:cubicBezTo>
                      <a:pt x="6102" y="4553"/>
                      <a:pt x="6102" y="4553"/>
                      <a:pt x="6102" y="4553"/>
                    </a:cubicBezTo>
                    <a:cubicBezTo>
                      <a:pt x="6091" y="4553"/>
                      <a:pt x="6082" y="4552"/>
                      <a:pt x="6074" y="4552"/>
                    </a:cubicBezTo>
                    <a:cubicBezTo>
                      <a:pt x="6067" y="4551"/>
                      <a:pt x="6062" y="4551"/>
                      <a:pt x="6058" y="4551"/>
                    </a:cubicBezTo>
                    <a:close/>
                    <a:moveTo>
                      <a:pt x="6034" y="4761"/>
                    </a:moveTo>
                    <a:cubicBezTo>
                      <a:pt x="6027" y="4817"/>
                      <a:pt x="6018" y="4883"/>
                      <a:pt x="6009" y="4956"/>
                    </a:cubicBezTo>
                    <a:cubicBezTo>
                      <a:pt x="6557" y="4997"/>
                      <a:pt x="6557" y="4997"/>
                      <a:pt x="6557" y="4997"/>
                    </a:cubicBezTo>
                    <a:cubicBezTo>
                      <a:pt x="6578" y="4802"/>
                      <a:pt x="6578" y="4802"/>
                      <a:pt x="6578" y="4802"/>
                    </a:cubicBezTo>
                    <a:lnTo>
                      <a:pt x="6034" y="4761"/>
                    </a:lnTo>
                    <a:close/>
                    <a:moveTo>
                      <a:pt x="6007" y="4970"/>
                    </a:moveTo>
                    <a:cubicBezTo>
                      <a:pt x="5999" y="5033"/>
                      <a:pt x="5991" y="5101"/>
                      <a:pt x="5982" y="5172"/>
                    </a:cubicBezTo>
                    <a:cubicBezTo>
                      <a:pt x="6016" y="5174"/>
                      <a:pt x="6016" y="5174"/>
                      <a:pt x="6016" y="5174"/>
                    </a:cubicBezTo>
                    <a:cubicBezTo>
                      <a:pt x="6031" y="5029"/>
                      <a:pt x="6031" y="5029"/>
                      <a:pt x="6031" y="5029"/>
                    </a:cubicBezTo>
                    <a:cubicBezTo>
                      <a:pt x="6190" y="5045"/>
                      <a:pt x="6190" y="5045"/>
                      <a:pt x="6190" y="5045"/>
                    </a:cubicBezTo>
                    <a:cubicBezTo>
                      <a:pt x="6189" y="5052"/>
                      <a:pt x="6189" y="5052"/>
                      <a:pt x="6189" y="5052"/>
                    </a:cubicBezTo>
                    <a:cubicBezTo>
                      <a:pt x="6176" y="5187"/>
                      <a:pt x="6176" y="5187"/>
                      <a:pt x="6176" y="5187"/>
                    </a:cubicBezTo>
                    <a:cubicBezTo>
                      <a:pt x="6534" y="5214"/>
                      <a:pt x="6534" y="5214"/>
                      <a:pt x="6534" y="5214"/>
                    </a:cubicBezTo>
                    <a:cubicBezTo>
                      <a:pt x="6555" y="5011"/>
                      <a:pt x="6555" y="5011"/>
                      <a:pt x="6555" y="5011"/>
                    </a:cubicBezTo>
                    <a:lnTo>
                      <a:pt x="6007" y="4970"/>
                    </a:lnTo>
                    <a:close/>
                    <a:moveTo>
                      <a:pt x="7276" y="6240"/>
                    </a:moveTo>
                    <a:cubicBezTo>
                      <a:pt x="7276" y="6238"/>
                      <a:pt x="7276" y="6238"/>
                      <a:pt x="7276" y="6238"/>
                    </a:cubicBezTo>
                    <a:cubicBezTo>
                      <a:pt x="7280" y="6186"/>
                      <a:pt x="7280" y="6186"/>
                      <a:pt x="7280" y="6186"/>
                    </a:cubicBezTo>
                    <a:cubicBezTo>
                      <a:pt x="7246" y="6178"/>
                      <a:pt x="7179" y="6161"/>
                      <a:pt x="7110" y="6144"/>
                    </a:cubicBezTo>
                    <a:cubicBezTo>
                      <a:pt x="7062" y="6133"/>
                      <a:pt x="7014" y="6121"/>
                      <a:pt x="6978" y="6112"/>
                    </a:cubicBezTo>
                    <a:cubicBezTo>
                      <a:pt x="6960" y="6107"/>
                      <a:pt x="6945" y="6103"/>
                      <a:pt x="6934" y="6101"/>
                    </a:cubicBezTo>
                    <a:cubicBezTo>
                      <a:pt x="6930" y="6099"/>
                      <a:pt x="6927" y="6098"/>
                      <a:pt x="6924" y="6098"/>
                    </a:cubicBezTo>
                    <a:cubicBezTo>
                      <a:pt x="6922" y="6102"/>
                      <a:pt x="6918" y="6106"/>
                      <a:pt x="6914" y="6113"/>
                    </a:cubicBezTo>
                    <a:cubicBezTo>
                      <a:pt x="6894" y="6141"/>
                      <a:pt x="6858" y="6187"/>
                      <a:pt x="6850" y="6199"/>
                    </a:cubicBezTo>
                    <a:cubicBezTo>
                      <a:pt x="6912" y="6583"/>
                      <a:pt x="6912" y="6583"/>
                      <a:pt x="6912" y="6583"/>
                    </a:cubicBezTo>
                    <a:cubicBezTo>
                      <a:pt x="7049" y="6564"/>
                      <a:pt x="7234" y="6554"/>
                      <a:pt x="7308" y="6551"/>
                    </a:cubicBezTo>
                    <a:cubicBezTo>
                      <a:pt x="7276" y="6377"/>
                      <a:pt x="7276" y="6241"/>
                      <a:pt x="7276" y="6240"/>
                    </a:cubicBezTo>
                    <a:close/>
                    <a:moveTo>
                      <a:pt x="6841" y="6595"/>
                    </a:moveTo>
                    <a:cubicBezTo>
                      <a:pt x="6858" y="6592"/>
                      <a:pt x="6878" y="6588"/>
                      <a:pt x="6898" y="6585"/>
                    </a:cubicBezTo>
                    <a:cubicBezTo>
                      <a:pt x="6836" y="6203"/>
                      <a:pt x="6836" y="6203"/>
                      <a:pt x="6836" y="6203"/>
                    </a:cubicBezTo>
                    <a:cubicBezTo>
                      <a:pt x="6817" y="6199"/>
                      <a:pt x="6734" y="6188"/>
                      <a:pt x="6652" y="6176"/>
                    </a:cubicBezTo>
                    <a:cubicBezTo>
                      <a:pt x="6592" y="6168"/>
                      <a:pt x="6533" y="6160"/>
                      <a:pt x="6500" y="6155"/>
                    </a:cubicBezTo>
                    <a:cubicBezTo>
                      <a:pt x="6446" y="6655"/>
                      <a:pt x="6446" y="6655"/>
                      <a:pt x="6446" y="6655"/>
                    </a:cubicBezTo>
                    <a:cubicBezTo>
                      <a:pt x="6580" y="6640"/>
                      <a:pt x="6712" y="6622"/>
                      <a:pt x="6841" y="6595"/>
                    </a:cubicBezTo>
                    <a:close/>
                    <a:moveTo>
                      <a:pt x="6366" y="6729"/>
                    </a:moveTo>
                    <a:cubicBezTo>
                      <a:pt x="6329" y="6733"/>
                      <a:pt x="6281" y="6736"/>
                      <a:pt x="6228" y="6738"/>
                    </a:cubicBezTo>
                    <a:cubicBezTo>
                      <a:pt x="6197" y="7011"/>
                      <a:pt x="6197" y="7011"/>
                      <a:pt x="6197" y="7011"/>
                    </a:cubicBezTo>
                    <a:cubicBezTo>
                      <a:pt x="6241" y="7013"/>
                      <a:pt x="6371" y="7022"/>
                      <a:pt x="6396" y="7022"/>
                    </a:cubicBezTo>
                    <a:cubicBezTo>
                      <a:pt x="6397" y="7022"/>
                      <a:pt x="6398" y="7022"/>
                      <a:pt x="6398" y="7022"/>
                    </a:cubicBezTo>
                    <a:cubicBezTo>
                      <a:pt x="6399" y="7022"/>
                      <a:pt x="6399" y="7022"/>
                      <a:pt x="6399" y="7022"/>
                    </a:cubicBezTo>
                    <a:cubicBezTo>
                      <a:pt x="6403" y="7021"/>
                      <a:pt x="6447" y="7020"/>
                      <a:pt x="6518" y="7017"/>
                    </a:cubicBezTo>
                    <a:cubicBezTo>
                      <a:pt x="6518" y="6712"/>
                      <a:pt x="6518" y="6712"/>
                      <a:pt x="6518" y="6712"/>
                    </a:cubicBezTo>
                    <a:cubicBezTo>
                      <a:pt x="6467" y="6718"/>
                      <a:pt x="6416" y="6724"/>
                      <a:pt x="6366" y="6729"/>
                    </a:cubicBezTo>
                    <a:close/>
                    <a:moveTo>
                      <a:pt x="6101" y="5791"/>
                    </a:moveTo>
                    <a:cubicBezTo>
                      <a:pt x="6121" y="5593"/>
                      <a:pt x="6121" y="5593"/>
                      <a:pt x="6121" y="5593"/>
                    </a:cubicBezTo>
                    <a:cubicBezTo>
                      <a:pt x="5986" y="5582"/>
                      <a:pt x="5986" y="5582"/>
                      <a:pt x="5986" y="5582"/>
                    </a:cubicBezTo>
                    <a:cubicBezTo>
                      <a:pt x="5965" y="5781"/>
                      <a:pt x="5965" y="5781"/>
                      <a:pt x="5965" y="5781"/>
                    </a:cubicBezTo>
                    <a:lnTo>
                      <a:pt x="6101" y="5791"/>
                    </a:lnTo>
                    <a:close/>
                    <a:moveTo>
                      <a:pt x="5964" y="5794"/>
                    </a:moveTo>
                    <a:cubicBezTo>
                      <a:pt x="5949" y="5936"/>
                      <a:pt x="5949" y="5936"/>
                      <a:pt x="5949" y="5936"/>
                    </a:cubicBezTo>
                    <a:cubicBezTo>
                      <a:pt x="6084" y="5953"/>
                      <a:pt x="6084" y="5953"/>
                      <a:pt x="6084" y="5953"/>
                    </a:cubicBezTo>
                    <a:cubicBezTo>
                      <a:pt x="6099" y="5805"/>
                      <a:pt x="6099" y="5805"/>
                      <a:pt x="6099" y="5805"/>
                    </a:cubicBezTo>
                    <a:lnTo>
                      <a:pt x="5964" y="5794"/>
                    </a:lnTo>
                    <a:close/>
                    <a:moveTo>
                      <a:pt x="6514" y="5405"/>
                    </a:moveTo>
                    <a:cubicBezTo>
                      <a:pt x="6532" y="5228"/>
                      <a:pt x="6532" y="5228"/>
                      <a:pt x="6532" y="5228"/>
                    </a:cubicBezTo>
                    <a:cubicBezTo>
                      <a:pt x="6174" y="5200"/>
                      <a:pt x="6174" y="5200"/>
                      <a:pt x="6174" y="5200"/>
                    </a:cubicBezTo>
                    <a:cubicBezTo>
                      <a:pt x="6156" y="5377"/>
                      <a:pt x="6156" y="5377"/>
                      <a:pt x="6156" y="5377"/>
                    </a:cubicBezTo>
                    <a:lnTo>
                      <a:pt x="6514" y="5405"/>
                    </a:lnTo>
                    <a:close/>
                    <a:moveTo>
                      <a:pt x="6155" y="5391"/>
                    </a:moveTo>
                    <a:cubicBezTo>
                      <a:pt x="6136" y="5580"/>
                      <a:pt x="6136" y="5580"/>
                      <a:pt x="6136" y="5580"/>
                    </a:cubicBezTo>
                    <a:cubicBezTo>
                      <a:pt x="6492" y="5607"/>
                      <a:pt x="6492" y="5607"/>
                      <a:pt x="6492" y="5607"/>
                    </a:cubicBezTo>
                    <a:cubicBezTo>
                      <a:pt x="6512" y="5419"/>
                      <a:pt x="6512" y="5419"/>
                      <a:pt x="6512" y="5419"/>
                    </a:cubicBezTo>
                    <a:lnTo>
                      <a:pt x="6155" y="5391"/>
                    </a:lnTo>
                    <a:close/>
                    <a:moveTo>
                      <a:pt x="6175" y="5057"/>
                    </a:moveTo>
                    <a:cubicBezTo>
                      <a:pt x="6042" y="5043"/>
                      <a:pt x="6042" y="5043"/>
                      <a:pt x="6042" y="5043"/>
                    </a:cubicBezTo>
                    <a:cubicBezTo>
                      <a:pt x="6029" y="5175"/>
                      <a:pt x="6029" y="5175"/>
                      <a:pt x="6029" y="5175"/>
                    </a:cubicBezTo>
                    <a:cubicBezTo>
                      <a:pt x="6162" y="5186"/>
                      <a:pt x="6162" y="5186"/>
                      <a:pt x="6162" y="5186"/>
                    </a:cubicBezTo>
                    <a:lnTo>
                      <a:pt x="6175" y="5057"/>
                    </a:lnTo>
                    <a:close/>
                    <a:moveTo>
                      <a:pt x="6027" y="5189"/>
                    </a:moveTo>
                    <a:cubicBezTo>
                      <a:pt x="6009" y="5366"/>
                      <a:pt x="6009" y="5366"/>
                      <a:pt x="6009" y="5366"/>
                    </a:cubicBezTo>
                    <a:cubicBezTo>
                      <a:pt x="6143" y="5376"/>
                      <a:pt x="6143" y="5376"/>
                      <a:pt x="6143" y="5376"/>
                    </a:cubicBezTo>
                    <a:cubicBezTo>
                      <a:pt x="6161" y="5199"/>
                      <a:pt x="6161" y="5199"/>
                      <a:pt x="6161" y="5199"/>
                    </a:cubicBezTo>
                    <a:lnTo>
                      <a:pt x="6027" y="5189"/>
                    </a:lnTo>
                    <a:close/>
                    <a:moveTo>
                      <a:pt x="6007" y="5380"/>
                    </a:moveTo>
                    <a:cubicBezTo>
                      <a:pt x="5988" y="5568"/>
                      <a:pt x="5988" y="5568"/>
                      <a:pt x="5988" y="5568"/>
                    </a:cubicBezTo>
                    <a:cubicBezTo>
                      <a:pt x="6122" y="5579"/>
                      <a:pt x="6122" y="5579"/>
                      <a:pt x="6122" y="5579"/>
                    </a:cubicBezTo>
                    <a:cubicBezTo>
                      <a:pt x="6142" y="5390"/>
                      <a:pt x="6142" y="5390"/>
                      <a:pt x="6142" y="5390"/>
                    </a:cubicBezTo>
                    <a:lnTo>
                      <a:pt x="6007" y="5380"/>
                    </a:lnTo>
                    <a:close/>
                    <a:moveTo>
                      <a:pt x="6114" y="5792"/>
                    </a:moveTo>
                    <a:cubicBezTo>
                      <a:pt x="6469" y="5819"/>
                      <a:pt x="6469" y="5819"/>
                      <a:pt x="6469" y="5819"/>
                    </a:cubicBezTo>
                    <a:cubicBezTo>
                      <a:pt x="6491" y="5621"/>
                      <a:pt x="6491" y="5621"/>
                      <a:pt x="6491" y="5621"/>
                    </a:cubicBezTo>
                    <a:cubicBezTo>
                      <a:pt x="6134" y="5594"/>
                      <a:pt x="6134" y="5594"/>
                      <a:pt x="6134" y="5594"/>
                    </a:cubicBezTo>
                    <a:lnTo>
                      <a:pt x="6114" y="5792"/>
                    </a:lnTo>
                    <a:close/>
                    <a:moveTo>
                      <a:pt x="6928" y="5742"/>
                    </a:moveTo>
                    <a:cubicBezTo>
                      <a:pt x="6894" y="5740"/>
                      <a:pt x="6639" y="5723"/>
                      <a:pt x="6546" y="5716"/>
                    </a:cubicBezTo>
                    <a:cubicBezTo>
                      <a:pt x="6501" y="6141"/>
                      <a:pt x="6501" y="6141"/>
                      <a:pt x="6501" y="6141"/>
                    </a:cubicBezTo>
                    <a:cubicBezTo>
                      <a:pt x="6580" y="6152"/>
                      <a:pt x="6805" y="6183"/>
                      <a:pt x="6839" y="6189"/>
                    </a:cubicBezTo>
                    <a:cubicBezTo>
                      <a:pt x="6845" y="6182"/>
                      <a:pt x="6860" y="6162"/>
                      <a:pt x="6876" y="6142"/>
                    </a:cubicBezTo>
                    <a:cubicBezTo>
                      <a:pt x="6885" y="6129"/>
                      <a:pt x="6895" y="6115"/>
                      <a:pt x="6902" y="6105"/>
                    </a:cubicBezTo>
                    <a:cubicBezTo>
                      <a:pt x="6906" y="6100"/>
                      <a:pt x="6909" y="6096"/>
                      <a:pt x="6911" y="6092"/>
                    </a:cubicBezTo>
                    <a:cubicBezTo>
                      <a:pt x="6911" y="6091"/>
                      <a:pt x="6912" y="6090"/>
                      <a:pt x="6912" y="6090"/>
                    </a:cubicBezTo>
                    <a:cubicBezTo>
                      <a:pt x="6912" y="6090"/>
                      <a:pt x="6912" y="6089"/>
                      <a:pt x="6912" y="6089"/>
                    </a:cubicBezTo>
                    <a:cubicBezTo>
                      <a:pt x="6911" y="6086"/>
                      <a:pt x="6911" y="6082"/>
                      <a:pt x="6911" y="6074"/>
                    </a:cubicBezTo>
                    <a:cubicBezTo>
                      <a:pt x="6911" y="6029"/>
                      <a:pt x="6919" y="5887"/>
                      <a:pt x="6928" y="5742"/>
                    </a:cubicBezTo>
                    <a:close/>
                    <a:moveTo>
                      <a:pt x="5980" y="5185"/>
                    </a:moveTo>
                    <a:cubicBezTo>
                      <a:pt x="5973" y="5243"/>
                      <a:pt x="5965" y="5302"/>
                      <a:pt x="5957" y="5362"/>
                    </a:cubicBezTo>
                    <a:cubicBezTo>
                      <a:pt x="5996" y="5365"/>
                      <a:pt x="5996" y="5365"/>
                      <a:pt x="5996" y="5365"/>
                    </a:cubicBezTo>
                    <a:cubicBezTo>
                      <a:pt x="6014" y="5188"/>
                      <a:pt x="6014" y="5188"/>
                      <a:pt x="6014" y="5188"/>
                    </a:cubicBezTo>
                    <a:lnTo>
                      <a:pt x="5980" y="5185"/>
                    </a:lnTo>
                    <a:close/>
                    <a:moveTo>
                      <a:pt x="5955" y="5376"/>
                    </a:moveTo>
                    <a:cubicBezTo>
                      <a:pt x="5947" y="5438"/>
                      <a:pt x="5939" y="5501"/>
                      <a:pt x="5931" y="5564"/>
                    </a:cubicBezTo>
                    <a:cubicBezTo>
                      <a:pt x="5974" y="5567"/>
                      <a:pt x="5974" y="5567"/>
                      <a:pt x="5974" y="5567"/>
                    </a:cubicBezTo>
                    <a:cubicBezTo>
                      <a:pt x="5994" y="5379"/>
                      <a:pt x="5994" y="5379"/>
                      <a:pt x="5994" y="5379"/>
                    </a:cubicBezTo>
                    <a:lnTo>
                      <a:pt x="5955" y="5376"/>
                    </a:lnTo>
                    <a:close/>
                    <a:moveTo>
                      <a:pt x="5929" y="5578"/>
                    </a:moveTo>
                    <a:cubicBezTo>
                      <a:pt x="5921" y="5644"/>
                      <a:pt x="5912" y="5710"/>
                      <a:pt x="5903" y="5776"/>
                    </a:cubicBezTo>
                    <a:cubicBezTo>
                      <a:pt x="5952" y="5780"/>
                      <a:pt x="5952" y="5780"/>
                      <a:pt x="5952" y="5780"/>
                    </a:cubicBezTo>
                    <a:cubicBezTo>
                      <a:pt x="5973" y="5581"/>
                      <a:pt x="5973" y="5581"/>
                      <a:pt x="5973" y="5581"/>
                    </a:cubicBezTo>
                    <a:lnTo>
                      <a:pt x="5929" y="5578"/>
                    </a:lnTo>
                    <a:close/>
                    <a:moveTo>
                      <a:pt x="5902" y="5790"/>
                    </a:moveTo>
                    <a:cubicBezTo>
                      <a:pt x="5882" y="5937"/>
                      <a:pt x="5864" y="6079"/>
                      <a:pt x="5847" y="6207"/>
                    </a:cubicBezTo>
                    <a:cubicBezTo>
                      <a:pt x="6423" y="6251"/>
                      <a:pt x="6423" y="6251"/>
                      <a:pt x="6423" y="6251"/>
                    </a:cubicBezTo>
                    <a:cubicBezTo>
                      <a:pt x="6444" y="6055"/>
                      <a:pt x="6444" y="6055"/>
                      <a:pt x="6444" y="6055"/>
                    </a:cubicBezTo>
                    <a:cubicBezTo>
                      <a:pt x="5874" y="6011"/>
                      <a:pt x="5874" y="6011"/>
                      <a:pt x="5874" y="6011"/>
                    </a:cubicBezTo>
                    <a:cubicBezTo>
                      <a:pt x="5875" y="5997"/>
                      <a:pt x="5875" y="5997"/>
                      <a:pt x="5875" y="5997"/>
                    </a:cubicBezTo>
                    <a:cubicBezTo>
                      <a:pt x="6446" y="6041"/>
                      <a:pt x="6446" y="6041"/>
                      <a:pt x="6446" y="6041"/>
                    </a:cubicBezTo>
                    <a:cubicBezTo>
                      <a:pt x="6468" y="5833"/>
                      <a:pt x="6468" y="5833"/>
                      <a:pt x="6468" y="5833"/>
                    </a:cubicBezTo>
                    <a:cubicBezTo>
                      <a:pt x="6113" y="5806"/>
                      <a:pt x="6113" y="5806"/>
                      <a:pt x="6113" y="5806"/>
                    </a:cubicBezTo>
                    <a:cubicBezTo>
                      <a:pt x="6096" y="5967"/>
                      <a:pt x="6096" y="5967"/>
                      <a:pt x="6096" y="5967"/>
                    </a:cubicBezTo>
                    <a:cubicBezTo>
                      <a:pt x="5935" y="5948"/>
                      <a:pt x="5935" y="5948"/>
                      <a:pt x="5935" y="5948"/>
                    </a:cubicBezTo>
                    <a:cubicBezTo>
                      <a:pt x="5951" y="5793"/>
                      <a:pt x="5951" y="5793"/>
                      <a:pt x="5951" y="5793"/>
                    </a:cubicBezTo>
                    <a:lnTo>
                      <a:pt x="5902" y="5790"/>
                    </a:lnTo>
                    <a:close/>
                    <a:moveTo>
                      <a:pt x="5845" y="6221"/>
                    </a:moveTo>
                    <a:cubicBezTo>
                      <a:pt x="5836" y="6293"/>
                      <a:pt x="5827" y="6360"/>
                      <a:pt x="5819" y="6419"/>
                    </a:cubicBezTo>
                    <a:cubicBezTo>
                      <a:pt x="6401" y="6464"/>
                      <a:pt x="6401" y="6464"/>
                      <a:pt x="6401" y="6464"/>
                    </a:cubicBezTo>
                    <a:cubicBezTo>
                      <a:pt x="6422" y="6265"/>
                      <a:pt x="6422" y="6265"/>
                      <a:pt x="6422" y="6265"/>
                    </a:cubicBezTo>
                    <a:lnTo>
                      <a:pt x="5845" y="6221"/>
                    </a:lnTo>
                    <a:close/>
                    <a:moveTo>
                      <a:pt x="5817" y="6433"/>
                    </a:moveTo>
                    <a:cubicBezTo>
                      <a:pt x="5802" y="6550"/>
                      <a:pt x="5790" y="6638"/>
                      <a:pt x="5785" y="6680"/>
                    </a:cubicBezTo>
                    <a:cubicBezTo>
                      <a:pt x="5808" y="6680"/>
                      <a:pt x="5901" y="6680"/>
                      <a:pt x="6009" y="6678"/>
                    </a:cubicBezTo>
                    <a:cubicBezTo>
                      <a:pt x="6134" y="6676"/>
                      <a:pt x="6280" y="6672"/>
                      <a:pt x="6359" y="6664"/>
                    </a:cubicBezTo>
                    <a:cubicBezTo>
                      <a:pt x="6366" y="6663"/>
                      <a:pt x="6373" y="6662"/>
                      <a:pt x="6380" y="6662"/>
                    </a:cubicBezTo>
                    <a:cubicBezTo>
                      <a:pt x="6399" y="6478"/>
                      <a:pt x="6399" y="6478"/>
                      <a:pt x="6399" y="6478"/>
                    </a:cubicBezTo>
                    <a:lnTo>
                      <a:pt x="5817" y="6433"/>
                    </a:lnTo>
                    <a:close/>
                    <a:moveTo>
                      <a:pt x="6050" y="7388"/>
                    </a:moveTo>
                    <a:cubicBezTo>
                      <a:pt x="6093" y="7426"/>
                      <a:pt x="6093" y="7426"/>
                      <a:pt x="6093" y="7426"/>
                    </a:cubicBezTo>
                    <a:cubicBezTo>
                      <a:pt x="6093" y="7419"/>
                      <a:pt x="6093" y="7419"/>
                      <a:pt x="6093" y="7419"/>
                    </a:cubicBezTo>
                    <a:cubicBezTo>
                      <a:pt x="6093" y="7419"/>
                      <a:pt x="6180" y="7419"/>
                      <a:pt x="6307" y="7419"/>
                    </a:cubicBezTo>
                    <a:cubicBezTo>
                      <a:pt x="6392" y="7036"/>
                      <a:pt x="6392" y="7036"/>
                      <a:pt x="6392" y="7036"/>
                    </a:cubicBezTo>
                    <a:cubicBezTo>
                      <a:pt x="6354" y="7035"/>
                      <a:pt x="6211" y="7025"/>
                      <a:pt x="6185" y="7024"/>
                    </a:cubicBezTo>
                    <a:cubicBezTo>
                      <a:pt x="6132" y="7109"/>
                      <a:pt x="6132" y="7109"/>
                      <a:pt x="6132" y="7109"/>
                    </a:cubicBezTo>
                    <a:lnTo>
                      <a:pt x="6050" y="7388"/>
                    </a:lnTo>
                    <a:close/>
                    <a:moveTo>
                      <a:pt x="6108" y="7484"/>
                    </a:moveTo>
                    <a:cubicBezTo>
                      <a:pt x="6122" y="7656"/>
                      <a:pt x="6122" y="7656"/>
                      <a:pt x="6122" y="7656"/>
                    </a:cubicBezTo>
                    <a:cubicBezTo>
                      <a:pt x="6346" y="7668"/>
                      <a:pt x="6346" y="7668"/>
                      <a:pt x="6346" y="7668"/>
                    </a:cubicBezTo>
                    <a:cubicBezTo>
                      <a:pt x="6335" y="7484"/>
                      <a:pt x="6335" y="7484"/>
                      <a:pt x="6335" y="7484"/>
                    </a:cubicBezTo>
                    <a:cubicBezTo>
                      <a:pt x="6225" y="7484"/>
                      <a:pt x="6140" y="7484"/>
                      <a:pt x="6108" y="7484"/>
                    </a:cubicBezTo>
                    <a:close/>
                    <a:moveTo>
                      <a:pt x="7318" y="5715"/>
                    </a:moveTo>
                    <a:cubicBezTo>
                      <a:pt x="6947" y="5657"/>
                      <a:pt x="6947" y="5657"/>
                      <a:pt x="6947" y="5657"/>
                    </a:cubicBezTo>
                    <a:cubicBezTo>
                      <a:pt x="6937" y="5828"/>
                      <a:pt x="6925" y="6021"/>
                      <a:pt x="6925" y="6074"/>
                    </a:cubicBezTo>
                    <a:cubicBezTo>
                      <a:pt x="6925" y="6079"/>
                      <a:pt x="6925" y="6081"/>
                      <a:pt x="6925" y="6084"/>
                    </a:cubicBezTo>
                    <a:cubicBezTo>
                      <a:pt x="6941" y="6088"/>
                      <a:pt x="7032" y="6111"/>
                      <a:pt x="7120" y="6133"/>
                    </a:cubicBezTo>
                    <a:cubicBezTo>
                      <a:pt x="7185" y="6148"/>
                      <a:pt x="7248" y="6164"/>
                      <a:pt x="7281" y="6172"/>
                    </a:cubicBezTo>
                    <a:lnTo>
                      <a:pt x="7318" y="5715"/>
                    </a:lnTo>
                    <a:close/>
                    <a:moveTo>
                      <a:pt x="6952" y="5371"/>
                    </a:moveTo>
                    <a:cubicBezTo>
                      <a:pt x="6592" y="5289"/>
                      <a:pt x="6592" y="5289"/>
                      <a:pt x="6592" y="5289"/>
                    </a:cubicBezTo>
                    <a:cubicBezTo>
                      <a:pt x="6548" y="5702"/>
                      <a:pt x="6548" y="5702"/>
                      <a:pt x="6548" y="5702"/>
                    </a:cubicBezTo>
                    <a:cubicBezTo>
                      <a:pt x="6642" y="5709"/>
                      <a:pt x="6899" y="5726"/>
                      <a:pt x="6929" y="5728"/>
                    </a:cubicBezTo>
                    <a:cubicBezTo>
                      <a:pt x="6939" y="5565"/>
                      <a:pt x="6950" y="5403"/>
                      <a:pt x="6952" y="5371"/>
                    </a:cubicBezTo>
                    <a:close/>
                    <a:moveTo>
                      <a:pt x="6956" y="5357"/>
                    </a:moveTo>
                    <a:cubicBezTo>
                      <a:pt x="7109" y="5098"/>
                      <a:pt x="7109" y="5098"/>
                      <a:pt x="7109" y="5098"/>
                    </a:cubicBezTo>
                    <a:cubicBezTo>
                      <a:pt x="7107" y="4825"/>
                      <a:pt x="7107" y="4825"/>
                      <a:pt x="7107" y="4825"/>
                    </a:cubicBezTo>
                    <a:cubicBezTo>
                      <a:pt x="7043" y="4814"/>
                      <a:pt x="6758" y="4754"/>
                      <a:pt x="6651" y="4731"/>
                    </a:cubicBezTo>
                    <a:cubicBezTo>
                      <a:pt x="6593" y="5275"/>
                      <a:pt x="6593" y="5275"/>
                      <a:pt x="6593" y="5275"/>
                    </a:cubicBezTo>
                    <a:lnTo>
                      <a:pt x="6956" y="5357"/>
                    </a:lnTo>
                    <a:close/>
                    <a:moveTo>
                      <a:pt x="7173" y="4581"/>
                    </a:moveTo>
                    <a:cubicBezTo>
                      <a:pt x="7171" y="4580"/>
                      <a:pt x="7169" y="4579"/>
                      <a:pt x="7166" y="4578"/>
                    </a:cubicBezTo>
                    <a:cubicBezTo>
                      <a:pt x="7124" y="4555"/>
                      <a:pt x="6987" y="4470"/>
                      <a:pt x="6972" y="4460"/>
                    </a:cubicBezTo>
                    <a:cubicBezTo>
                      <a:pt x="6684" y="4427"/>
                      <a:pt x="6684" y="4427"/>
                      <a:pt x="6684" y="4427"/>
                    </a:cubicBezTo>
                    <a:cubicBezTo>
                      <a:pt x="6653" y="4717"/>
                      <a:pt x="6653" y="4717"/>
                      <a:pt x="6653" y="4717"/>
                    </a:cubicBezTo>
                    <a:cubicBezTo>
                      <a:pt x="6699" y="4727"/>
                      <a:pt x="6779" y="4744"/>
                      <a:pt x="6861" y="4761"/>
                    </a:cubicBezTo>
                    <a:cubicBezTo>
                      <a:pt x="6965" y="4783"/>
                      <a:pt x="7071" y="4804"/>
                      <a:pt x="7107" y="4811"/>
                    </a:cubicBezTo>
                    <a:cubicBezTo>
                      <a:pt x="7106" y="4773"/>
                      <a:pt x="7106" y="4773"/>
                      <a:pt x="7106" y="4773"/>
                    </a:cubicBezTo>
                    <a:cubicBezTo>
                      <a:pt x="7107" y="4772"/>
                      <a:pt x="7107" y="4772"/>
                      <a:pt x="7107" y="4772"/>
                    </a:cubicBezTo>
                    <a:cubicBezTo>
                      <a:pt x="7107" y="4771"/>
                      <a:pt x="7135" y="4692"/>
                      <a:pt x="7173" y="4581"/>
                    </a:cubicBezTo>
                    <a:close/>
                    <a:moveTo>
                      <a:pt x="7178" y="4568"/>
                    </a:moveTo>
                    <a:cubicBezTo>
                      <a:pt x="7201" y="4502"/>
                      <a:pt x="7227" y="4427"/>
                      <a:pt x="7253" y="4351"/>
                    </a:cubicBezTo>
                    <a:cubicBezTo>
                      <a:pt x="7273" y="4293"/>
                      <a:pt x="7293" y="4236"/>
                      <a:pt x="7311" y="4183"/>
                    </a:cubicBezTo>
                    <a:cubicBezTo>
                      <a:pt x="7062" y="4177"/>
                      <a:pt x="7062" y="4177"/>
                      <a:pt x="7062" y="4177"/>
                    </a:cubicBezTo>
                    <a:cubicBezTo>
                      <a:pt x="6728" y="4013"/>
                      <a:pt x="6728" y="4013"/>
                      <a:pt x="6728" y="4013"/>
                    </a:cubicBezTo>
                    <a:cubicBezTo>
                      <a:pt x="6685" y="4413"/>
                      <a:pt x="6685" y="4413"/>
                      <a:pt x="6685" y="4413"/>
                    </a:cubicBezTo>
                    <a:cubicBezTo>
                      <a:pt x="6977" y="4447"/>
                      <a:pt x="6977" y="4447"/>
                      <a:pt x="6977" y="4447"/>
                    </a:cubicBezTo>
                    <a:cubicBezTo>
                      <a:pt x="6979" y="4448"/>
                      <a:pt x="6979" y="4448"/>
                      <a:pt x="6979" y="4448"/>
                    </a:cubicBezTo>
                    <a:cubicBezTo>
                      <a:pt x="6979" y="4448"/>
                      <a:pt x="7028" y="4479"/>
                      <a:pt x="7078" y="4509"/>
                    </a:cubicBezTo>
                    <a:cubicBezTo>
                      <a:pt x="7103" y="4525"/>
                      <a:pt x="7129" y="4540"/>
                      <a:pt x="7148" y="4552"/>
                    </a:cubicBezTo>
                    <a:cubicBezTo>
                      <a:pt x="7158" y="4557"/>
                      <a:pt x="7167" y="4562"/>
                      <a:pt x="7173" y="4565"/>
                    </a:cubicBezTo>
                    <a:cubicBezTo>
                      <a:pt x="7175" y="4567"/>
                      <a:pt x="7176" y="4567"/>
                      <a:pt x="7178" y="4568"/>
                    </a:cubicBezTo>
                    <a:close/>
                    <a:moveTo>
                      <a:pt x="6732" y="3348"/>
                    </a:moveTo>
                    <a:cubicBezTo>
                      <a:pt x="6684" y="3345"/>
                      <a:pt x="6576" y="3337"/>
                      <a:pt x="6469" y="3329"/>
                    </a:cubicBezTo>
                    <a:cubicBezTo>
                      <a:pt x="6453" y="3433"/>
                      <a:pt x="6453" y="3433"/>
                      <a:pt x="6453" y="3433"/>
                    </a:cubicBezTo>
                    <a:cubicBezTo>
                      <a:pt x="6508" y="3390"/>
                      <a:pt x="6508" y="3390"/>
                      <a:pt x="6508" y="3390"/>
                    </a:cubicBezTo>
                    <a:cubicBezTo>
                      <a:pt x="6625" y="3524"/>
                      <a:pt x="6625" y="3524"/>
                      <a:pt x="6625" y="3524"/>
                    </a:cubicBezTo>
                    <a:cubicBezTo>
                      <a:pt x="6494" y="3630"/>
                      <a:pt x="6494" y="3630"/>
                      <a:pt x="6494" y="3630"/>
                    </a:cubicBezTo>
                    <a:cubicBezTo>
                      <a:pt x="6434" y="3561"/>
                      <a:pt x="6434" y="3561"/>
                      <a:pt x="6434" y="3561"/>
                    </a:cubicBezTo>
                    <a:cubicBezTo>
                      <a:pt x="6417" y="3673"/>
                      <a:pt x="6417" y="3673"/>
                      <a:pt x="6417" y="3673"/>
                    </a:cubicBezTo>
                    <a:cubicBezTo>
                      <a:pt x="6697" y="3676"/>
                      <a:pt x="6697" y="3676"/>
                      <a:pt x="6697" y="3676"/>
                    </a:cubicBezTo>
                    <a:lnTo>
                      <a:pt x="6732" y="3348"/>
                    </a:lnTo>
                    <a:close/>
                    <a:moveTo>
                      <a:pt x="6434" y="3464"/>
                    </a:moveTo>
                    <a:cubicBezTo>
                      <a:pt x="6427" y="3470"/>
                      <a:pt x="6427" y="3470"/>
                      <a:pt x="6427" y="3470"/>
                    </a:cubicBezTo>
                    <a:cubicBezTo>
                      <a:pt x="6366" y="3399"/>
                      <a:pt x="6366" y="3399"/>
                      <a:pt x="6366" y="3399"/>
                    </a:cubicBezTo>
                    <a:cubicBezTo>
                      <a:pt x="6260" y="3492"/>
                      <a:pt x="6260" y="3492"/>
                      <a:pt x="6260" y="3492"/>
                    </a:cubicBezTo>
                    <a:cubicBezTo>
                      <a:pt x="6353" y="3598"/>
                      <a:pt x="6353" y="3598"/>
                      <a:pt x="6353" y="3598"/>
                    </a:cubicBezTo>
                    <a:cubicBezTo>
                      <a:pt x="6424" y="3536"/>
                      <a:pt x="6424" y="3536"/>
                      <a:pt x="6424" y="3536"/>
                    </a:cubicBezTo>
                    <a:lnTo>
                      <a:pt x="6434" y="3464"/>
                    </a:lnTo>
                    <a:close/>
                    <a:moveTo>
                      <a:pt x="6495" y="3612"/>
                    </a:moveTo>
                    <a:cubicBezTo>
                      <a:pt x="6606" y="3522"/>
                      <a:pt x="6606" y="3522"/>
                      <a:pt x="6606" y="3522"/>
                    </a:cubicBezTo>
                    <a:cubicBezTo>
                      <a:pt x="6507" y="3408"/>
                      <a:pt x="6507" y="3408"/>
                      <a:pt x="6507" y="3408"/>
                    </a:cubicBezTo>
                    <a:cubicBezTo>
                      <a:pt x="6450" y="3452"/>
                      <a:pt x="6450" y="3452"/>
                      <a:pt x="6450" y="3452"/>
                    </a:cubicBezTo>
                    <a:cubicBezTo>
                      <a:pt x="6436" y="3544"/>
                      <a:pt x="6436" y="3544"/>
                      <a:pt x="6436" y="3544"/>
                    </a:cubicBezTo>
                    <a:lnTo>
                      <a:pt x="6495" y="3612"/>
                    </a:lnTo>
                    <a:close/>
                    <a:moveTo>
                      <a:pt x="6455" y="3328"/>
                    </a:moveTo>
                    <a:cubicBezTo>
                      <a:pt x="6355" y="3320"/>
                      <a:pt x="6257" y="3312"/>
                      <a:pt x="6211" y="3308"/>
                    </a:cubicBezTo>
                    <a:cubicBezTo>
                      <a:pt x="6141" y="3669"/>
                      <a:pt x="6141" y="3669"/>
                      <a:pt x="6141" y="3669"/>
                    </a:cubicBezTo>
                    <a:cubicBezTo>
                      <a:pt x="6403" y="3673"/>
                      <a:pt x="6403" y="3673"/>
                      <a:pt x="6403" y="3673"/>
                    </a:cubicBezTo>
                    <a:cubicBezTo>
                      <a:pt x="6420" y="3556"/>
                      <a:pt x="6420" y="3556"/>
                      <a:pt x="6420" y="3556"/>
                    </a:cubicBezTo>
                    <a:cubicBezTo>
                      <a:pt x="6351" y="3617"/>
                      <a:pt x="6351" y="3617"/>
                      <a:pt x="6351" y="3617"/>
                    </a:cubicBezTo>
                    <a:cubicBezTo>
                      <a:pt x="6241" y="3491"/>
                      <a:pt x="6241" y="3491"/>
                      <a:pt x="6241" y="3491"/>
                    </a:cubicBezTo>
                    <a:cubicBezTo>
                      <a:pt x="6367" y="3381"/>
                      <a:pt x="6367" y="3381"/>
                      <a:pt x="6367" y="3381"/>
                    </a:cubicBezTo>
                    <a:cubicBezTo>
                      <a:pt x="6429" y="3452"/>
                      <a:pt x="6429" y="3452"/>
                      <a:pt x="6429" y="3452"/>
                    </a:cubicBezTo>
                    <a:cubicBezTo>
                      <a:pt x="6437" y="3445"/>
                      <a:pt x="6437" y="3445"/>
                      <a:pt x="6437" y="3445"/>
                    </a:cubicBezTo>
                    <a:lnTo>
                      <a:pt x="6455" y="3328"/>
                    </a:lnTo>
                    <a:close/>
                    <a:moveTo>
                      <a:pt x="6128" y="3735"/>
                    </a:moveTo>
                    <a:cubicBezTo>
                      <a:pt x="6031" y="4220"/>
                      <a:pt x="6031" y="4220"/>
                      <a:pt x="6031" y="4220"/>
                    </a:cubicBezTo>
                    <a:cubicBezTo>
                      <a:pt x="5954" y="4447"/>
                      <a:pt x="5954" y="4447"/>
                      <a:pt x="5954" y="4447"/>
                    </a:cubicBezTo>
                    <a:cubicBezTo>
                      <a:pt x="5697" y="6715"/>
                      <a:pt x="5697" y="6715"/>
                      <a:pt x="5697" y="6715"/>
                    </a:cubicBezTo>
                    <a:cubicBezTo>
                      <a:pt x="5692" y="6735"/>
                      <a:pt x="5692" y="6735"/>
                      <a:pt x="5692" y="6735"/>
                    </a:cubicBezTo>
                    <a:cubicBezTo>
                      <a:pt x="5768" y="6680"/>
                      <a:pt x="5768" y="6680"/>
                      <a:pt x="5768" y="6680"/>
                    </a:cubicBezTo>
                    <a:cubicBezTo>
                      <a:pt x="5770" y="6680"/>
                      <a:pt x="5770" y="6680"/>
                      <a:pt x="5770" y="6680"/>
                    </a:cubicBezTo>
                    <a:cubicBezTo>
                      <a:pt x="5777" y="6632"/>
                      <a:pt x="5791" y="6524"/>
                      <a:pt x="5810" y="6378"/>
                    </a:cubicBezTo>
                    <a:cubicBezTo>
                      <a:pt x="5852" y="6063"/>
                      <a:pt x="5915" y="5577"/>
                      <a:pt x="5966" y="5184"/>
                    </a:cubicBezTo>
                    <a:cubicBezTo>
                      <a:pt x="5964" y="5184"/>
                      <a:pt x="5964" y="5184"/>
                      <a:pt x="5964" y="5184"/>
                    </a:cubicBezTo>
                    <a:cubicBezTo>
                      <a:pt x="5965" y="5170"/>
                      <a:pt x="5965" y="5170"/>
                      <a:pt x="5965" y="5170"/>
                    </a:cubicBezTo>
                    <a:cubicBezTo>
                      <a:pt x="5968" y="5171"/>
                      <a:pt x="5968" y="5171"/>
                      <a:pt x="5968" y="5171"/>
                    </a:cubicBezTo>
                    <a:cubicBezTo>
                      <a:pt x="5988" y="5012"/>
                      <a:pt x="6006" y="4869"/>
                      <a:pt x="6020" y="4760"/>
                    </a:cubicBezTo>
                    <a:cubicBezTo>
                      <a:pt x="6017" y="4759"/>
                      <a:pt x="6017" y="4759"/>
                      <a:pt x="6017" y="4759"/>
                    </a:cubicBezTo>
                    <a:cubicBezTo>
                      <a:pt x="6018" y="4745"/>
                      <a:pt x="6018" y="4745"/>
                      <a:pt x="6018" y="4745"/>
                    </a:cubicBezTo>
                    <a:cubicBezTo>
                      <a:pt x="6021" y="4746"/>
                      <a:pt x="6021" y="4746"/>
                      <a:pt x="6021" y="4746"/>
                    </a:cubicBezTo>
                    <a:cubicBezTo>
                      <a:pt x="6035" y="4632"/>
                      <a:pt x="6044" y="4558"/>
                      <a:pt x="6044" y="4545"/>
                    </a:cubicBezTo>
                    <a:cubicBezTo>
                      <a:pt x="6044" y="4544"/>
                      <a:pt x="6044" y="4544"/>
                      <a:pt x="6044" y="4543"/>
                    </a:cubicBezTo>
                    <a:cubicBezTo>
                      <a:pt x="6044" y="4541"/>
                      <a:pt x="6045" y="4539"/>
                      <a:pt x="6046" y="4538"/>
                    </a:cubicBezTo>
                    <a:cubicBezTo>
                      <a:pt x="6046" y="4538"/>
                      <a:pt x="6046" y="4538"/>
                      <a:pt x="6047" y="4538"/>
                    </a:cubicBezTo>
                    <a:cubicBezTo>
                      <a:pt x="6047" y="4538"/>
                      <a:pt x="6047" y="4538"/>
                      <a:pt x="6047" y="4537"/>
                    </a:cubicBezTo>
                    <a:cubicBezTo>
                      <a:pt x="6048" y="4535"/>
                      <a:pt x="6054" y="4519"/>
                      <a:pt x="6060" y="4495"/>
                    </a:cubicBezTo>
                    <a:cubicBezTo>
                      <a:pt x="6070" y="4457"/>
                      <a:pt x="6082" y="4398"/>
                      <a:pt x="6097" y="4329"/>
                    </a:cubicBezTo>
                    <a:cubicBezTo>
                      <a:pt x="6098" y="4317"/>
                      <a:pt x="6098" y="4317"/>
                      <a:pt x="6098" y="4317"/>
                    </a:cubicBezTo>
                    <a:cubicBezTo>
                      <a:pt x="6098" y="4317"/>
                      <a:pt x="6098" y="4317"/>
                      <a:pt x="6099" y="4318"/>
                    </a:cubicBezTo>
                    <a:cubicBezTo>
                      <a:pt x="6117" y="4230"/>
                      <a:pt x="6137" y="4128"/>
                      <a:pt x="6155" y="4033"/>
                    </a:cubicBezTo>
                    <a:cubicBezTo>
                      <a:pt x="6179" y="3906"/>
                      <a:pt x="6200" y="3791"/>
                      <a:pt x="6210" y="3736"/>
                    </a:cubicBezTo>
                    <a:lnTo>
                      <a:pt x="6128" y="3735"/>
                    </a:lnTo>
                    <a:close/>
                    <a:moveTo>
                      <a:pt x="5893" y="3636"/>
                    </a:moveTo>
                    <a:cubicBezTo>
                      <a:pt x="5911" y="3399"/>
                      <a:pt x="5911" y="3399"/>
                      <a:pt x="5911" y="3399"/>
                    </a:cubicBezTo>
                    <a:cubicBezTo>
                      <a:pt x="5902" y="3399"/>
                      <a:pt x="5889" y="3399"/>
                      <a:pt x="5874" y="3399"/>
                    </a:cubicBezTo>
                    <a:cubicBezTo>
                      <a:pt x="5739" y="3399"/>
                      <a:pt x="5413" y="3401"/>
                      <a:pt x="5397" y="3402"/>
                    </a:cubicBezTo>
                    <a:cubicBezTo>
                      <a:pt x="5054" y="3470"/>
                      <a:pt x="5054" y="3470"/>
                      <a:pt x="5054" y="3470"/>
                    </a:cubicBezTo>
                    <a:cubicBezTo>
                      <a:pt x="5059" y="3514"/>
                      <a:pt x="5065" y="3559"/>
                      <a:pt x="5070" y="3604"/>
                    </a:cubicBezTo>
                    <a:cubicBezTo>
                      <a:pt x="5074" y="3639"/>
                      <a:pt x="5078" y="3675"/>
                      <a:pt x="5083" y="3710"/>
                    </a:cubicBezTo>
                    <a:cubicBezTo>
                      <a:pt x="5187" y="3687"/>
                      <a:pt x="5542" y="3611"/>
                      <a:pt x="5552" y="3611"/>
                    </a:cubicBezTo>
                    <a:cubicBezTo>
                      <a:pt x="5560" y="3611"/>
                      <a:pt x="5820" y="3631"/>
                      <a:pt x="5893" y="3636"/>
                    </a:cubicBezTo>
                    <a:close/>
                    <a:moveTo>
                      <a:pt x="5912" y="3385"/>
                    </a:moveTo>
                    <a:cubicBezTo>
                      <a:pt x="5934" y="3097"/>
                      <a:pt x="5934" y="3097"/>
                      <a:pt x="5934" y="3097"/>
                    </a:cubicBezTo>
                    <a:cubicBezTo>
                      <a:pt x="5890" y="3097"/>
                      <a:pt x="5785" y="3099"/>
                      <a:pt x="5680" y="3102"/>
                    </a:cubicBezTo>
                    <a:cubicBezTo>
                      <a:pt x="5611" y="3103"/>
                      <a:pt x="5541" y="3104"/>
                      <a:pt x="5489" y="3106"/>
                    </a:cubicBezTo>
                    <a:cubicBezTo>
                      <a:pt x="5462" y="3106"/>
                      <a:pt x="5440" y="3107"/>
                      <a:pt x="5424" y="3107"/>
                    </a:cubicBezTo>
                    <a:cubicBezTo>
                      <a:pt x="5417" y="3108"/>
                      <a:pt x="5410" y="3108"/>
                      <a:pt x="5406" y="3108"/>
                    </a:cubicBezTo>
                    <a:cubicBezTo>
                      <a:pt x="5404" y="3108"/>
                      <a:pt x="5402" y="3108"/>
                      <a:pt x="5401" y="3108"/>
                    </a:cubicBezTo>
                    <a:cubicBezTo>
                      <a:pt x="5400" y="3108"/>
                      <a:pt x="5400" y="3108"/>
                      <a:pt x="5399" y="3108"/>
                    </a:cubicBezTo>
                    <a:cubicBezTo>
                      <a:pt x="5399" y="3108"/>
                      <a:pt x="5399" y="3108"/>
                      <a:pt x="5399" y="3108"/>
                    </a:cubicBezTo>
                    <a:cubicBezTo>
                      <a:pt x="5387" y="3111"/>
                      <a:pt x="5105" y="3170"/>
                      <a:pt x="5021" y="3187"/>
                    </a:cubicBezTo>
                    <a:cubicBezTo>
                      <a:pt x="5030" y="3265"/>
                      <a:pt x="5041" y="3358"/>
                      <a:pt x="5053" y="3456"/>
                    </a:cubicBezTo>
                    <a:cubicBezTo>
                      <a:pt x="5395" y="3388"/>
                      <a:pt x="5395" y="3388"/>
                      <a:pt x="5395" y="3388"/>
                    </a:cubicBezTo>
                    <a:cubicBezTo>
                      <a:pt x="5396" y="3388"/>
                      <a:pt x="5396" y="3388"/>
                      <a:pt x="5396" y="3388"/>
                    </a:cubicBezTo>
                    <a:cubicBezTo>
                      <a:pt x="5396" y="3388"/>
                      <a:pt x="5736" y="3385"/>
                      <a:pt x="5874" y="3385"/>
                    </a:cubicBezTo>
                    <a:cubicBezTo>
                      <a:pt x="5890" y="3385"/>
                      <a:pt x="5902" y="3385"/>
                      <a:pt x="5912" y="3385"/>
                    </a:cubicBezTo>
                    <a:close/>
                    <a:moveTo>
                      <a:pt x="5935" y="3083"/>
                    </a:moveTo>
                    <a:cubicBezTo>
                      <a:pt x="5952" y="2862"/>
                      <a:pt x="5952" y="2862"/>
                      <a:pt x="5952" y="2862"/>
                    </a:cubicBezTo>
                    <a:cubicBezTo>
                      <a:pt x="5707" y="2877"/>
                      <a:pt x="5347" y="2909"/>
                      <a:pt x="4997" y="2978"/>
                    </a:cubicBezTo>
                    <a:cubicBezTo>
                      <a:pt x="5001" y="3009"/>
                      <a:pt x="5009" y="3079"/>
                      <a:pt x="5020" y="3174"/>
                    </a:cubicBezTo>
                    <a:cubicBezTo>
                      <a:pt x="5106" y="3155"/>
                      <a:pt x="5390" y="3096"/>
                      <a:pt x="5396" y="3095"/>
                    </a:cubicBezTo>
                    <a:cubicBezTo>
                      <a:pt x="5401" y="3094"/>
                      <a:pt x="5435" y="3093"/>
                      <a:pt x="5488" y="3092"/>
                    </a:cubicBezTo>
                    <a:cubicBezTo>
                      <a:pt x="5622" y="3089"/>
                      <a:pt x="5865" y="3084"/>
                      <a:pt x="5935" y="3083"/>
                    </a:cubicBezTo>
                    <a:close/>
                    <a:moveTo>
                      <a:pt x="5678" y="2817"/>
                    </a:moveTo>
                    <a:cubicBezTo>
                      <a:pt x="5675" y="2625"/>
                      <a:pt x="5675" y="2625"/>
                      <a:pt x="5675" y="2625"/>
                    </a:cubicBezTo>
                    <a:cubicBezTo>
                      <a:pt x="5414" y="2666"/>
                      <a:pt x="5414" y="2666"/>
                      <a:pt x="5414" y="2666"/>
                    </a:cubicBezTo>
                    <a:cubicBezTo>
                      <a:pt x="5408" y="2742"/>
                      <a:pt x="5402" y="2810"/>
                      <a:pt x="5398" y="2847"/>
                    </a:cubicBezTo>
                    <a:cubicBezTo>
                      <a:pt x="5496" y="2835"/>
                      <a:pt x="5590" y="2825"/>
                      <a:pt x="5678" y="2817"/>
                    </a:cubicBezTo>
                    <a:close/>
                    <a:moveTo>
                      <a:pt x="5709" y="2328"/>
                    </a:moveTo>
                    <a:cubicBezTo>
                      <a:pt x="5663" y="2322"/>
                      <a:pt x="5485" y="2292"/>
                      <a:pt x="5427" y="2282"/>
                    </a:cubicBezTo>
                    <a:cubicBezTo>
                      <a:pt x="5427" y="2288"/>
                      <a:pt x="5429" y="2294"/>
                      <a:pt x="5429" y="2300"/>
                    </a:cubicBezTo>
                    <a:cubicBezTo>
                      <a:pt x="5430" y="2313"/>
                      <a:pt x="5431" y="2329"/>
                      <a:pt x="5431" y="2348"/>
                    </a:cubicBezTo>
                    <a:cubicBezTo>
                      <a:pt x="5431" y="2371"/>
                      <a:pt x="5430" y="2398"/>
                      <a:pt x="5429" y="2428"/>
                    </a:cubicBezTo>
                    <a:cubicBezTo>
                      <a:pt x="5674" y="2449"/>
                      <a:pt x="5674" y="2449"/>
                      <a:pt x="5674" y="2449"/>
                    </a:cubicBezTo>
                    <a:lnTo>
                      <a:pt x="5709" y="2328"/>
                    </a:lnTo>
                    <a:close/>
                    <a:moveTo>
                      <a:pt x="5707" y="2384"/>
                    </a:moveTo>
                    <a:cubicBezTo>
                      <a:pt x="5863" y="2409"/>
                      <a:pt x="5863" y="2409"/>
                      <a:pt x="5863" y="2409"/>
                    </a:cubicBezTo>
                    <a:cubicBezTo>
                      <a:pt x="5909" y="2284"/>
                      <a:pt x="5909" y="2284"/>
                      <a:pt x="5909" y="2284"/>
                    </a:cubicBezTo>
                    <a:cubicBezTo>
                      <a:pt x="5748" y="2258"/>
                      <a:pt x="5748" y="2258"/>
                      <a:pt x="5748" y="2258"/>
                    </a:cubicBezTo>
                    <a:cubicBezTo>
                      <a:pt x="5750" y="2245"/>
                      <a:pt x="5750" y="2245"/>
                      <a:pt x="5750" y="2245"/>
                    </a:cubicBezTo>
                    <a:cubicBezTo>
                      <a:pt x="5913" y="2270"/>
                      <a:pt x="5913" y="2270"/>
                      <a:pt x="5913" y="2270"/>
                    </a:cubicBezTo>
                    <a:cubicBezTo>
                      <a:pt x="5959" y="2142"/>
                      <a:pt x="5959" y="2142"/>
                      <a:pt x="5959" y="2142"/>
                    </a:cubicBezTo>
                    <a:cubicBezTo>
                      <a:pt x="5785" y="2113"/>
                      <a:pt x="5785" y="2113"/>
                      <a:pt x="5785" y="2113"/>
                    </a:cubicBezTo>
                    <a:lnTo>
                      <a:pt x="5707" y="2384"/>
                    </a:lnTo>
                    <a:close/>
                    <a:moveTo>
                      <a:pt x="6003" y="2432"/>
                    </a:moveTo>
                    <a:cubicBezTo>
                      <a:pt x="6049" y="2305"/>
                      <a:pt x="6049" y="2305"/>
                      <a:pt x="6049" y="2305"/>
                    </a:cubicBezTo>
                    <a:cubicBezTo>
                      <a:pt x="5922" y="2286"/>
                      <a:pt x="5922" y="2286"/>
                      <a:pt x="5922" y="2286"/>
                    </a:cubicBezTo>
                    <a:cubicBezTo>
                      <a:pt x="5877" y="2411"/>
                      <a:pt x="5877" y="2411"/>
                      <a:pt x="5877" y="2411"/>
                    </a:cubicBezTo>
                    <a:lnTo>
                      <a:pt x="6003" y="2432"/>
                    </a:lnTo>
                    <a:close/>
                    <a:moveTo>
                      <a:pt x="6054" y="2292"/>
                    </a:moveTo>
                    <a:cubicBezTo>
                      <a:pt x="6099" y="2166"/>
                      <a:pt x="6099" y="2166"/>
                      <a:pt x="6099" y="2166"/>
                    </a:cubicBezTo>
                    <a:cubicBezTo>
                      <a:pt x="5973" y="2144"/>
                      <a:pt x="5973" y="2144"/>
                      <a:pt x="5973" y="2144"/>
                    </a:cubicBezTo>
                    <a:cubicBezTo>
                      <a:pt x="5927" y="2272"/>
                      <a:pt x="5927" y="2272"/>
                      <a:pt x="5927" y="2272"/>
                    </a:cubicBezTo>
                    <a:lnTo>
                      <a:pt x="6054" y="2292"/>
                    </a:lnTo>
                    <a:close/>
                    <a:moveTo>
                      <a:pt x="6104" y="2153"/>
                    </a:moveTo>
                    <a:cubicBezTo>
                      <a:pt x="6145" y="2037"/>
                      <a:pt x="6145" y="2037"/>
                      <a:pt x="6145" y="2037"/>
                    </a:cubicBezTo>
                    <a:cubicBezTo>
                      <a:pt x="6020" y="2013"/>
                      <a:pt x="6020" y="2013"/>
                      <a:pt x="6020" y="2013"/>
                    </a:cubicBezTo>
                    <a:cubicBezTo>
                      <a:pt x="5977" y="2131"/>
                      <a:pt x="5977" y="2131"/>
                      <a:pt x="5977" y="2131"/>
                    </a:cubicBezTo>
                    <a:lnTo>
                      <a:pt x="6104" y="2153"/>
                    </a:lnTo>
                    <a:close/>
                    <a:moveTo>
                      <a:pt x="6150" y="2023"/>
                    </a:moveTo>
                    <a:cubicBezTo>
                      <a:pt x="6189" y="1915"/>
                      <a:pt x="6189" y="1915"/>
                      <a:pt x="6189" y="1915"/>
                    </a:cubicBezTo>
                    <a:cubicBezTo>
                      <a:pt x="6065" y="1887"/>
                      <a:pt x="6065" y="1887"/>
                      <a:pt x="6065" y="1887"/>
                    </a:cubicBezTo>
                    <a:cubicBezTo>
                      <a:pt x="6024" y="2000"/>
                      <a:pt x="6024" y="2000"/>
                      <a:pt x="6024" y="2000"/>
                    </a:cubicBezTo>
                    <a:lnTo>
                      <a:pt x="6150" y="2023"/>
                    </a:lnTo>
                    <a:close/>
                    <a:moveTo>
                      <a:pt x="6194" y="1901"/>
                    </a:moveTo>
                    <a:cubicBezTo>
                      <a:pt x="6238" y="1778"/>
                      <a:pt x="6238" y="1778"/>
                      <a:pt x="6238" y="1778"/>
                    </a:cubicBezTo>
                    <a:cubicBezTo>
                      <a:pt x="6112" y="1756"/>
                      <a:pt x="6112" y="1756"/>
                      <a:pt x="6112" y="1756"/>
                    </a:cubicBezTo>
                    <a:cubicBezTo>
                      <a:pt x="6070" y="1874"/>
                      <a:pt x="6070" y="1874"/>
                      <a:pt x="6070" y="1874"/>
                    </a:cubicBezTo>
                    <a:lnTo>
                      <a:pt x="6194" y="1901"/>
                    </a:lnTo>
                    <a:close/>
                    <a:moveTo>
                      <a:pt x="6243" y="1765"/>
                    </a:moveTo>
                    <a:cubicBezTo>
                      <a:pt x="6281" y="1660"/>
                      <a:pt x="6281" y="1660"/>
                      <a:pt x="6281" y="1660"/>
                    </a:cubicBezTo>
                    <a:cubicBezTo>
                      <a:pt x="6154" y="1641"/>
                      <a:pt x="6154" y="1641"/>
                      <a:pt x="6154" y="1641"/>
                    </a:cubicBezTo>
                    <a:cubicBezTo>
                      <a:pt x="6117" y="1742"/>
                      <a:pt x="6117" y="1742"/>
                      <a:pt x="6117" y="1742"/>
                    </a:cubicBezTo>
                    <a:lnTo>
                      <a:pt x="6243" y="1765"/>
                    </a:lnTo>
                    <a:close/>
                    <a:moveTo>
                      <a:pt x="6286" y="1646"/>
                    </a:moveTo>
                    <a:cubicBezTo>
                      <a:pt x="6334" y="1512"/>
                      <a:pt x="6334" y="1512"/>
                      <a:pt x="6334" y="1512"/>
                    </a:cubicBezTo>
                    <a:cubicBezTo>
                      <a:pt x="6205" y="1498"/>
                      <a:pt x="6205" y="1498"/>
                      <a:pt x="6205" y="1498"/>
                    </a:cubicBezTo>
                    <a:cubicBezTo>
                      <a:pt x="6158" y="1628"/>
                      <a:pt x="6158" y="1628"/>
                      <a:pt x="6158" y="1628"/>
                    </a:cubicBezTo>
                    <a:lnTo>
                      <a:pt x="6286" y="1646"/>
                    </a:lnTo>
                    <a:close/>
                    <a:moveTo>
                      <a:pt x="6192" y="1496"/>
                    </a:moveTo>
                    <a:cubicBezTo>
                      <a:pt x="5867" y="1462"/>
                      <a:pt x="5867" y="1462"/>
                      <a:pt x="5867" y="1462"/>
                    </a:cubicBezTo>
                    <a:cubicBezTo>
                      <a:pt x="5857" y="1502"/>
                      <a:pt x="5847" y="1543"/>
                      <a:pt x="5838" y="1581"/>
                    </a:cubicBezTo>
                    <a:cubicBezTo>
                      <a:pt x="6145" y="1626"/>
                      <a:pt x="6145" y="1626"/>
                      <a:pt x="6145" y="1626"/>
                    </a:cubicBezTo>
                    <a:lnTo>
                      <a:pt x="6192" y="1496"/>
                    </a:lnTo>
                    <a:close/>
                    <a:moveTo>
                      <a:pt x="5414" y="1746"/>
                    </a:moveTo>
                    <a:cubicBezTo>
                      <a:pt x="5401" y="1759"/>
                      <a:pt x="5384" y="1779"/>
                      <a:pt x="5362" y="1801"/>
                    </a:cubicBezTo>
                    <a:cubicBezTo>
                      <a:pt x="5407" y="1809"/>
                      <a:pt x="5481" y="1822"/>
                      <a:pt x="5556" y="1834"/>
                    </a:cubicBezTo>
                    <a:cubicBezTo>
                      <a:pt x="5653" y="1851"/>
                      <a:pt x="5751" y="1868"/>
                      <a:pt x="5779" y="1872"/>
                    </a:cubicBezTo>
                    <a:cubicBezTo>
                      <a:pt x="5770" y="1845"/>
                      <a:pt x="5762" y="1821"/>
                      <a:pt x="5762" y="1812"/>
                    </a:cubicBezTo>
                    <a:cubicBezTo>
                      <a:pt x="5762" y="1811"/>
                      <a:pt x="5762" y="1810"/>
                      <a:pt x="5762" y="1808"/>
                    </a:cubicBezTo>
                    <a:cubicBezTo>
                      <a:pt x="5763" y="1808"/>
                      <a:pt x="5763" y="1807"/>
                      <a:pt x="5764" y="1806"/>
                    </a:cubicBezTo>
                    <a:cubicBezTo>
                      <a:pt x="5766" y="1802"/>
                      <a:pt x="5771" y="1785"/>
                      <a:pt x="5778" y="1759"/>
                    </a:cubicBezTo>
                    <a:cubicBezTo>
                      <a:pt x="5773" y="1758"/>
                      <a:pt x="5690" y="1744"/>
                      <a:pt x="5605" y="1730"/>
                    </a:cubicBezTo>
                    <a:cubicBezTo>
                      <a:pt x="5538" y="1719"/>
                      <a:pt x="5470" y="1708"/>
                      <a:pt x="5442" y="1703"/>
                    </a:cubicBezTo>
                    <a:cubicBezTo>
                      <a:pt x="5435" y="1718"/>
                      <a:pt x="5425" y="1733"/>
                      <a:pt x="5414" y="1746"/>
                    </a:cubicBezTo>
                    <a:close/>
                    <a:moveTo>
                      <a:pt x="5325" y="1775"/>
                    </a:moveTo>
                    <a:cubicBezTo>
                      <a:pt x="5316" y="1758"/>
                      <a:pt x="5286" y="1682"/>
                      <a:pt x="5256" y="1606"/>
                    </a:cubicBezTo>
                    <a:cubicBezTo>
                      <a:pt x="5229" y="1537"/>
                      <a:pt x="5203" y="1470"/>
                      <a:pt x="5197" y="1454"/>
                    </a:cubicBezTo>
                    <a:cubicBezTo>
                      <a:pt x="5166" y="1471"/>
                      <a:pt x="5137" y="1488"/>
                      <a:pt x="5112" y="1501"/>
                    </a:cubicBezTo>
                    <a:cubicBezTo>
                      <a:pt x="5095" y="1511"/>
                      <a:pt x="5080" y="1519"/>
                      <a:pt x="5069" y="1524"/>
                    </a:cubicBezTo>
                    <a:cubicBezTo>
                      <a:pt x="5057" y="1530"/>
                      <a:pt x="5052" y="1533"/>
                      <a:pt x="5046" y="1534"/>
                    </a:cubicBezTo>
                    <a:cubicBezTo>
                      <a:pt x="5042" y="1534"/>
                      <a:pt x="5013" y="1529"/>
                      <a:pt x="4973" y="1521"/>
                    </a:cubicBezTo>
                    <a:cubicBezTo>
                      <a:pt x="4963" y="1982"/>
                      <a:pt x="4963" y="1982"/>
                      <a:pt x="4963" y="1982"/>
                    </a:cubicBezTo>
                    <a:cubicBezTo>
                      <a:pt x="5135" y="1951"/>
                      <a:pt x="5253" y="1850"/>
                      <a:pt x="5325" y="1775"/>
                    </a:cubicBezTo>
                    <a:close/>
                    <a:moveTo>
                      <a:pt x="4618" y="2066"/>
                    </a:moveTo>
                    <a:cubicBezTo>
                      <a:pt x="4456" y="2079"/>
                      <a:pt x="4296" y="2089"/>
                      <a:pt x="4214" y="2094"/>
                    </a:cubicBezTo>
                    <a:cubicBezTo>
                      <a:pt x="4399" y="2498"/>
                      <a:pt x="4399" y="2498"/>
                      <a:pt x="4399" y="2498"/>
                    </a:cubicBezTo>
                    <a:cubicBezTo>
                      <a:pt x="4455" y="2497"/>
                      <a:pt x="4541" y="2495"/>
                      <a:pt x="4640" y="2493"/>
                    </a:cubicBezTo>
                    <a:lnTo>
                      <a:pt x="4618" y="2066"/>
                    </a:lnTo>
                    <a:close/>
                    <a:moveTo>
                      <a:pt x="4481" y="1510"/>
                    </a:moveTo>
                    <a:cubicBezTo>
                      <a:pt x="4083" y="1782"/>
                      <a:pt x="4083" y="1782"/>
                      <a:pt x="4083" y="1782"/>
                    </a:cubicBezTo>
                    <a:cubicBezTo>
                      <a:pt x="4194" y="2050"/>
                      <a:pt x="4194" y="2050"/>
                      <a:pt x="4194" y="2050"/>
                    </a:cubicBezTo>
                    <a:cubicBezTo>
                      <a:pt x="4247" y="2047"/>
                      <a:pt x="4352" y="2041"/>
                      <a:pt x="4472" y="2032"/>
                    </a:cubicBezTo>
                    <a:lnTo>
                      <a:pt x="4481" y="1510"/>
                    </a:lnTo>
                    <a:close/>
                    <a:moveTo>
                      <a:pt x="3337" y="2612"/>
                    </a:moveTo>
                    <a:cubicBezTo>
                      <a:pt x="3336" y="2612"/>
                      <a:pt x="3336" y="2612"/>
                      <a:pt x="3336" y="2611"/>
                    </a:cubicBezTo>
                    <a:cubicBezTo>
                      <a:pt x="3328" y="2626"/>
                      <a:pt x="3320" y="2640"/>
                      <a:pt x="3310" y="2653"/>
                    </a:cubicBezTo>
                    <a:cubicBezTo>
                      <a:pt x="3267" y="2714"/>
                      <a:pt x="3241" y="2740"/>
                      <a:pt x="3191" y="2766"/>
                    </a:cubicBezTo>
                    <a:cubicBezTo>
                      <a:pt x="3171" y="2777"/>
                      <a:pt x="3145" y="2789"/>
                      <a:pt x="3112" y="2806"/>
                    </a:cubicBezTo>
                    <a:cubicBezTo>
                      <a:pt x="3182" y="3096"/>
                      <a:pt x="3182" y="3096"/>
                      <a:pt x="3182" y="3096"/>
                    </a:cubicBezTo>
                    <a:cubicBezTo>
                      <a:pt x="3221" y="3080"/>
                      <a:pt x="3291" y="3052"/>
                      <a:pt x="3360" y="3024"/>
                    </a:cubicBezTo>
                    <a:cubicBezTo>
                      <a:pt x="3450" y="2988"/>
                      <a:pt x="3538" y="2952"/>
                      <a:pt x="3553" y="2946"/>
                    </a:cubicBezTo>
                    <a:cubicBezTo>
                      <a:pt x="3553" y="2946"/>
                      <a:pt x="3553" y="2946"/>
                      <a:pt x="3553" y="2946"/>
                    </a:cubicBezTo>
                    <a:cubicBezTo>
                      <a:pt x="3550" y="2945"/>
                      <a:pt x="3551" y="2945"/>
                      <a:pt x="3550" y="2944"/>
                    </a:cubicBezTo>
                    <a:cubicBezTo>
                      <a:pt x="3548" y="2942"/>
                      <a:pt x="3545" y="2937"/>
                      <a:pt x="3538" y="2927"/>
                    </a:cubicBezTo>
                    <a:cubicBezTo>
                      <a:pt x="3517" y="2893"/>
                      <a:pt x="3465" y="2811"/>
                      <a:pt x="3419" y="2738"/>
                    </a:cubicBezTo>
                    <a:cubicBezTo>
                      <a:pt x="3396" y="2702"/>
                      <a:pt x="3374" y="2668"/>
                      <a:pt x="3357" y="2642"/>
                    </a:cubicBezTo>
                    <a:cubicBezTo>
                      <a:pt x="3349" y="2630"/>
                      <a:pt x="3342" y="2620"/>
                      <a:pt x="3337" y="2612"/>
                    </a:cubicBezTo>
                    <a:close/>
                    <a:moveTo>
                      <a:pt x="3099" y="2812"/>
                    </a:moveTo>
                    <a:cubicBezTo>
                      <a:pt x="3056" y="2834"/>
                      <a:pt x="2999" y="2863"/>
                      <a:pt x="2920" y="2906"/>
                    </a:cubicBezTo>
                    <a:cubicBezTo>
                      <a:pt x="2810" y="2967"/>
                      <a:pt x="2696" y="2996"/>
                      <a:pt x="2596" y="3009"/>
                    </a:cubicBezTo>
                    <a:cubicBezTo>
                      <a:pt x="2815" y="3299"/>
                      <a:pt x="2815" y="3299"/>
                      <a:pt x="2815" y="3299"/>
                    </a:cubicBezTo>
                    <a:cubicBezTo>
                      <a:pt x="2835" y="3288"/>
                      <a:pt x="2906" y="3246"/>
                      <a:pt x="2978" y="3205"/>
                    </a:cubicBezTo>
                    <a:cubicBezTo>
                      <a:pt x="3020" y="3181"/>
                      <a:pt x="3062" y="3156"/>
                      <a:pt x="3094" y="3138"/>
                    </a:cubicBezTo>
                    <a:cubicBezTo>
                      <a:pt x="3110" y="3129"/>
                      <a:pt x="3124" y="3121"/>
                      <a:pt x="3134" y="3116"/>
                    </a:cubicBezTo>
                    <a:cubicBezTo>
                      <a:pt x="3139" y="3113"/>
                      <a:pt x="3143" y="3111"/>
                      <a:pt x="3145" y="3110"/>
                    </a:cubicBezTo>
                    <a:cubicBezTo>
                      <a:pt x="3149" y="3108"/>
                      <a:pt x="3148" y="3108"/>
                      <a:pt x="3152" y="3107"/>
                    </a:cubicBezTo>
                    <a:cubicBezTo>
                      <a:pt x="3152" y="3107"/>
                      <a:pt x="3152" y="3107"/>
                      <a:pt x="3152" y="3107"/>
                    </a:cubicBezTo>
                    <a:cubicBezTo>
                      <a:pt x="3154" y="3107"/>
                      <a:pt x="3160" y="3104"/>
                      <a:pt x="3169" y="3101"/>
                    </a:cubicBezTo>
                    <a:lnTo>
                      <a:pt x="3099" y="2812"/>
                    </a:lnTo>
                    <a:close/>
                    <a:moveTo>
                      <a:pt x="2581" y="3011"/>
                    </a:moveTo>
                    <a:cubicBezTo>
                      <a:pt x="2537" y="3015"/>
                      <a:pt x="2497" y="3017"/>
                      <a:pt x="2462" y="3017"/>
                    </a:cubicBezTo>
                    <a:cubicBezTo>
                      <a:pt x="2404" y="3017"/>
                      <a:pt x="2362" y="3012"/>
                      <a:pt x="2337" y="3008"/>
                    </a:cubicBezTo>
                    <a:cubicBezTo>
                      <a:pt x="2270" y="3345"/>
                      <a:pt x="2270" y="3345"/>
                      <a:pt x="2270" y="3345"/>
                    </a:cubicBezTo>
                    <a:cubicBezTo>
                      <a:pt x="2494" y="3385"/>
                      <a:pt x="2494" y="3385"/>
                      <a:pt x="2494" y="3385"/>
                    </a:cubicBezTo>
                    <a:cubicBezTo>
                      <a:pt x="2541" y="3373"/>
                      <a:pt x="2541" y="3373"/>
                      <a:pt x="2541" y="3373"/>
                    </a:cubicBezTo>
                    <a:cubicBezTo>
                      <a:pt x="2535" y="3369"/>
                      <a:pt x="2535" y="3369"/>
                      <a:pt x="2535" y="3369"/>
                    </a:cubicBezTo>
                    <a:cubicBezTo>
                      <a:pt x="2556" y="3369"/>
                      <a:pt x="2556" y="3369"/>
                      <a:pt x="2556" y="3369"/>
                    </a:cubicBezTo>
                    <a:cubicBezTo>
                      <a:pt x="2744" y="3320"/>
                      <a:pt x="2744" y="3320"/>
                      <a:pt x="2744" y="3320"/>
                    </a:cubicBezTo>
                    <a:cubicBezTo>
                      <a:pt x="2734" y="3320"/>
                      <a:pt x="2734" y="3320"/>
                      <a:pt x="2734" y="3320"/>
                    </a:cubicBezTo>
                    <a:cubicBezTo>
                      <a:pt x="2653" y="3324"/>
                      <a:pt x="2653" y="3324"/>
                      <a:pt x="2653" y="3324"/>
                    </a:cubicBezTo>
                    <a:cubicBezTo>
                      <a:pt x="2468" y="3049"/>
                      <a:pt x="2468" y="3049"/>
                      <a:pt x="2468" y="3049"/>
                    </a:cubicBezTo>
                    <a:cubicBezTo>
                      <a:pt x="2550" y="3045"/>
                      <a:pt x="2550" y="3045"/>
                      <a:pt x="2550" y="3045"/>
                    </a:cubicBezTo>
                    <a:cubicBezTo>
                      <a:pt x="2747" y="3319"/>
                      <a:pt x="2747" y="3319"/>
                      <a:pt x="2747" y="3319"/>
                    </a:cubicBezTo>
                    <a:cubicBezTo>
                      <a:pt x="2802" y="3305"/>
                      <a:pt x="2802" y="3305"/>
                      <a:pt x="2802" y="3305"/>
                    </a:cubicBezTo>
                    <a:lnTo>
                      <a:pt x="2581" y="3011"/>
                    </a:lnTo>
                    <a:close/>
                    <a:moveTo>
                      <a:pt x="2543" y="3060"/>
                    </a:moveTo>
                    <a:cubicBezTo>
                      <a:pt x="2495" y="3062"/>
                      <a:pt x="2495" y="3062"/>
                      <a:pt x="2495" y="3062"/>
                    </a:cubicBezTo>
                    <a:cubicBezTo>
                      <a:pt x="2661" y="3309"/>
                      <a:pt x="2661" y="3309"/>
                      <a:pt x="2661" y="3309"/>
                    </a:cubicBezTo>
                    <a:cubicBezTo>
                      <a:pt x="2720" y="3306"/>
                      <a:pt x="2720" y="3306"/>
                      <a:pt x="2720" y="3306"/>
                    </a:cubicBezTo>
                    <a:lnTo>
                      <a:pt x="2543" y="3060"/>
                    </a:lnTo>
                    <a:close/>
                    <a:moveTo>
                      <a:pt x="2293" y="3000"/>
                    </a:moveTo>
                    <a:cubicBezTo>
                      <a:pt x="2251" y="2991"/>
                      <a:pt x="2186" y="2975"/>
                      <a:pt x="2139" y="2956"/>
                    </a:cubicBezTo>
                    <a:cubicBezTo>
                      <a:pt x="2073" y="2928"/>
                      <a:pt x="2017" y="2874"/>
                      <a:pt x="1994" y="2849"/>
                    </a:cubicBezTo>
                    <a:cubicBezTo>
                      <a:pt x="1641" y="2999"/>
                      <a:pt x="1641" y="2999"/>
                      <a:pt x="1641" y="2999"/>
                    </a:cubicBezTo>
                    <a:cubicBezTo>
                      <a:pt x="1639" y="3019"/>
                      <a:pt x="1636" y="3056"/>
                      <a:pt x="1633" y="3094"/>
                    </a:cubicBezTo>
                    <a:cubicBezTo>
                      <a:pt x="1628" y="3145"/>
                      <a:pt x="1623" y="3193"/>
                      <a:pt x="1623" y="3196"/>
                    </a:cubicBezTo>
                    <a:cubicBezTo>
                      <a:pt x="1605" y="3195"/>
                      <a:pt x="1605" y="3195"/>
                      <a:pt x="1605" y="3195"/>
                    </a:cubicBezTo>
                    <a:cubicBezTo>
                      <a:pt x="1599" y="3265"/>
                      <a:pt x="1599" y="3265"/>
                      <a:pt x="1599" y="3265"/>
                    </a:cubicBezTo>
                    <a:cubicBezTo>
                      <a:pt x="1766" y="3373"/>
                      <a:pt x="1766" y="3373"/>
                      <a:pt x="1766" y="3373"/>
                    </a:cubicBezTo>
                    <a:cubicBezTo>
                      <a:pt x="1936" y="3219"/>
                      <a:pt x="1936" y="3219"/>
                      <a:pt x="1936" y="3219"/>
                    </a:cubicBezTo>
                    <a:cubicBezTo>
                      <a:pt x="2272" y="3103"/>
                      <a:pt x="2272" y="3103"/>
                      <a:pt x="2272" y="3103"/>
                    </a:cubicBezTo>
                    <a:lnTo>
                      <a:pt x="2293" y="3000"/>
                    </a:lnTo>
                    <a:close/>
                    <a:moveTo>
                      <a:pt x="1591" y="3279"/>
                    </a:moveTo>
                    <a:cubicBezTo>
                      <a:pt x="1260" y="3460"/>
                      <a:pt x="1260" y="3460"/>
                      <a:pt x="1260" y="3460"/>
                    </a:cubicBezTo>
                    <a:cubicBezTo>
                      <a:pt x="1273" y="3479"/>
                      <a:pt x="1289" y="3499"/>
                      <a:pt x="1310" y="3524"/>
                    </a:cubicBezTo>
                    <a:cubicBezTo>
                      <a:pt x="1328" y="3545"/>
                      <a:pt x="1357" y="3577"/>
                      <a:pt x="1386" y="3610"/>
                    </a:cubicBezTo>
                    <a:cubicBezTo>
                      <a:pt x="1422" y="3594"/>
                      <a:pt x="1452" y="3580"/>
                      <a:pt x="1467" y="3571"/>
                    </a:cubicBezTo>
                    <a:cubicBezTo>
                      <a:pt x="1500" y="3553"/>
                      <a:pt x="1558" y="3543"/>
                      <a:pt x="1616" y="3534"/>
                    </a:cubicBezTo>
                    <a:cubicBezTo>
                      <a:pt x="1673" y="3525"/>
                      <a:pt x="1730" y="3517"/>
                      <a:pt x="1751" y="3507"/>
                    </a:cubicBezTo>
                    <a:cubicBezTo>
                      <a:pt x="1796" y="3486"/>
                      <a:pt x="1878" y="3424"/>
                      <a:pt x="1919" y="3382"/>
                    </a:cubicBezTo>
                    <a:cubicBezTo>
                      <a:pt x="1952" y="3349"/>
                      <a:pt x="2022" y="3279"/>
                      <a:pt x="2111" y="3279"/>
                    </a:cubicBezTo>
                    <a:cubicBezTo>
                      <a:pt x="2140" y="3279"/>
                      <a:pt x="2171" y="3287"/>
                      <a:pt x="2202" y="3307"/>
                    </a:cubicBezTo>
                    <a:cubicBezTo>
                      <a:pt x="2207" y="3310"/>
                      <a:pt x="2207" y="3310"/>
                      <a:pt x="2207" y="3310"/>
                    </a:cubicBezTo>
                    <a:cubicBezTo>
                      <a:pt x="2208" y="3315"/>
                      <a:pt x="2208" y="3315"/>
                      <a:pt x="2208" y="3315"/>
                    </a:cubicBezTo>
                    <a:cubicBezTo>
                      <a:pt x="2210" y="3334"/>
                      <a:pt x="2215" y="3349"/>
                      <a:pt x="2220" y="3362"/>
                    </a:cubicBezTo>
                    <a:cubicBezTo>
                      <a:pt x="2269" y="3122"/>
                      <a:pt x="2269" y="3122"/>
                      <a:pt x="2269" y="3122"/>
                    </a:cubicBezTo>
                    <a:cubicBezTo>
                      <a:pt x="1945" y="3233"/>
                      <a:pt x="1945" y="3233"/>
                      <a:pt x="1945" y="3233"/>
                    </a:cubicBezTo>
                    <a:cubicBezTo>
                      <a:pt x="1767" y="3394"/>
                      <a:pt x="1767" y="3394"/>
                      <a:pt x="1767" y="3394"/>
                    </a:cubicBezTo>
                    <a:lnTo>
                      <a:pt x="1591" y="3279"/>
                    </a:lnTo>
                    <a:close/>
                    <a:moveTo>
                      <a:pt x="1338" y="3659"/>
                    </a:moveTo>
                    <a:cubicBezTo>
                      <a:pt x="1328" y="3664"/>
                      <a:pt x="1319" y="3668"/>
                      <a:pt x="1310" y="3672"/>
                    </a:cubicBezTo>
                    <a:cubicBezTo>
                      <a:pt x="1400" y="3774"/>
                      <a:pt x="1400" y="3774"/>
                      <a:pt x="1400" y="3774"/>
                    </a:cubicBezTo>
                    <a:cubicBezTo>
                      <a:pt x="1409" y="3769"/>
                      <a:pt x="1419" y="3764"/>
                      <a:pt x="1429" y="3760"/>
                    </a:cubicBezTo>
                    <a:cubicBezTo>
                      <a:pt x="1406" y="3735"/>
                      <a:pt x="1372" y="3697"/>
                      <a:pt x="1338" y="3659"/>
                    </a:cubicBezTo>
                    <a:close/>
                    <a:moveTo>
                      <a:pt x="1287" y="3683"/>
                    </a:moveTo>
                    <a:cubicBezTo>
                      <a:pt x="1276" y="3688"/>
                      <a:pt x="1266" y="3692"/>
                      <a:pt x="1256" y="3697"/>
                    </a:cubicBezTo>
                    <a:cubicBezTo>
                      <a:pt x="1295" y="3743"/>
                      <a:pt x="1326" y="3779"/>
                      <a:pt x="1346" y="3801"/>
                    </a:cubicBezTo>
                    <a:cubicBezTo>
                      <a:pt x="1353" y="3797"/>
                      <a:pt x="1364" y="3792"/>
                      <a:pt x="1378" y="3785"/>
                    </a:cubicBezTo>
                    <a:lnTo>
                      <a:pt x="1287" y="3683"/>
                    </a:lnTo>
                    <a:close/>
                    <a:moveTo>
                      <a:pt x="1300" y="3903"/>
                    </a:moveTo>
                    <a:cubicBezTo>
                      <a:pt x="1293" y="3908"/>
                      <a:pt x="1285" y="3914"/>
                      <a:pt x="1277" y="3920"/>
                    </a:cubicBezTo>
                    <a:cubicBezTo>
                      <a:pt x="1291" y="3947"/>
                      <a:pt x="1298" y="3969"/>
                      <a:pt x="1298" y="3970"/>
                    </a:cubicBezTo>
                    <a:cubicBezTo>
                      <a:pt x="1299" y="3973"/>
                      <a:pt x="1299" y="3973"/>
                      <a:pt x="1299" y="3973"/>
                    </a:cubicBezTo>
                    <a:cubicBezTo>
                      <a:pt x="1299" y="3975"/>
                      <a:pt x="1299" y="3975"/>
                      <a:pt x="1299" y="3975"/>
                    </a:cubicBezTo>
                    <a:cubicBezTo>
                      <a:pt x="1299" y="3975"/>
                      <a:pt x="1298" y="3979"/>
                      <a:pt x="1298" y="3986"/>
                    </a:cubicBezTo>
                    <a:cubicBezTo>
                      <a:pt x="1298" y="4003"/>
                      <a:pt x="1302" y="4037"/>
                      <a:pt x="1333" y="4068"/>
                    </a:cubicBezTo>
                    <a:cubicBezTo>
                      <a:pt x="1358" y="4094"/>
                      <a:pt x="1369" y="4121"/>
                      <a:pt x="1369" y="4146"/>
                    </a:cubicBezTo>
                    <a:cubicBezTo>
                      <a:pt x="1369" y="4169"/>
                      <a:pt x="1360" y="4189"/>
                      <a:pt x="1351" y="4208"/>
                    </a:cubicBezTo>
                    <a:cubicBezTo>
                      <a:pt x="1335" y="4239"/>
                      <a:pt x="1303" y="4270"/>
                      <a:pt x="1304" y="4294"/>
                    </a:cubicBezTo>
                    <a:cubicBezTo>
                      <a:pt x="1304" y="4303"/>
                      <a:pt x="1307" y="4311"/>
                      <a:pt x="1317" y="4321"/>
                    </a:cubicBezTo>
                    <a:cubicBezTo>
                      <a:pt x="1342" y="4347"/>
                      <a:pt x="1414" y="4362"/>
                      <a:pt x="1464" y="4361"/>
                    </a:cubicBezTo>
                    <a:cubicBezTo>
                      <a:pt x="1486" y="4361"/>
                      <a:pt x="1505" y="4358"/>
                      <a:pt x="1510" y="4355"/>
                    </a:cubicBezTo>
                    <a:cubicBezTo>
                      <a:pt x="1525" y="4346"/>
                      <a:pt x="1594" y="4303"/>
                      <a:pt x="1657" y="4264"/>
                    </a:cubicBezTo>
                    <a:cubicBezTo>
                      <a:pt x="1326" y="3884"/>
                      <a:pt x="1326" y="3884"/>
                      <a:pt x="1326" y="3884"/>
                    </a:cubicBezTo>
                    <a:cubicBezTo>
                      <a:pt x="1321" y="3887"/>
                      <a:pt x="1312" y="3894"/>
                      <a:pt x="1300" y="3903"/>
                    </a:cubicBezTo>
                    <a:close/>
                    <a:moveTo>
                      <a:pt x="1097" y="5277"/>
                    </a:moveTo>
                    <a:cubicBezTo>
                      <a:pt x="1053" y="5292"/>
                      <a:pt x="942" y="5329"/>
                      <a:pt x="829" y="5366"/>
                    </a:cubicBezTo>
                    <a:cubicBezTo>
                      <a:pt x="756" y="5390"/>
                      <a:pt x="683" y="5414"/>
                      <a:pt x="626" y="5432"/>
                    </a:cubicBezTo>
                    <a:cubicBezTo>
                      <a:pt x="598" y="5441"/>
                      <a:pt x="575" y="5448"/>
                      <a:pt x="557" y="5454"/>
                    </a:cubicBezTo>
                    <a:cubicBezTo>
                      <a:pt x="578" y="5486"/>
                      <a:pt x="597" y="5518"/>
                      <a:pt x="611" y="5544"/>
                    </a:cubicBezTo>
                    <a:cubicBezTo>
                      <a:pt x="644" y="5536"/>
                      <a:pt x="644" y="5536"/>
                      <a:pt x="644" y="5536"/>
                    </a:cubicBezTo>
                    <a:cubicBezTo>
                      <a:pt x="614" y="5449"/>
                      <a:pt x="614" y="5449"/>
                      <a:pt x="614" y="5449"/>
                    </a:cubicBezTo>
                    <a:cubicBezTo>
                      <a:pt x="620" y="5447"/>
                      <a:pt x="620" y="5447"/>
                      <a:pt x="620" y="5447"/>
                    </a:cubicBezTo>
                    <a:cubicBezTo>
                      <a:pt x="696" y="5421"/>
                      <a:pt x="696" y="5421"/>
                      <a:pt x="696" y="5421"/>
                    </a:cubicBezTo>
                    <a:cubicBezTo>
                      <a:pt x="711" y="5465"/>
                      <a:pt x="711" y="5465"/>
                      <a:pt x="711" y="5465"/>
                    </a:cubicBezTo>
                    <a:cubicBezTo>
                      <a:pt x="752" y="5451"/>
                      <a:pt x="752" y="5451"/>
                      <a:pt x="752" y="5451"/>
                    </a:cubicBezTo>
                    <a:cubicBezTo>
                      <a:pt x="771" y="5507"/>
                      <a:pt x="771" y="5507"/>
                      <a:pt x="771" y="5507"/>
                    </a:cubicBezTo>
                    <a:cubicBezTo>
                      <a:pt x="1189" y="5409"/>
                      <a:pt x="1189" y="5409"/>
                      <a:pt x="1189" y="5409"/>
                    </a:cubicBezTo>
                    <a:lnTo>
                      <a:pt x="1097" y="5277"/>
                    </a:lnTo>
                    <a:close/>
                    <a:moveTo>
                      <a:pt x="732" y="5567"/>
                    </a:moveTo>
                    <a:cubicBezTo>
                      <a:pt x="773" y="5553"/>
                      <a:pt x="773" y="5553"/>
                      <a:pt x="773" y="5553"/>
                    </a:cubicBezTo>
                    <a:cubicBezTo>
                      <a:pt x="763" y="5523"/>
                      <a:pt x="763" y="5523"/>
                      <a:pt x="763" y="5523"/>
                    </a:cubicBezTo>
                    <a:cubicBezTo>
                      <a:pt x="662" y="5546"/>
                      <a:pt x="662" y="5546"/>
                      <a:pt x="662" y="5546"/>
                    </a:cubicBezTo>
                    <a:cubicBezTo>
                      <a:pt x="691" y="5632"/>
                      <a:pt x="691" y="5632"/>
                      <a:pt x="691" y="5632"/>
                    </a:cubicBezTo>
                    <a:cubicBezTo>
                      <a:pt x="748" y="5612"/>
                      <a:pt x="748" y="5612"/>
                      <a:pt x="748" y="5612"/>
                    </a:cubicBezTo>
                    <a:lnTo>
                      <a:pt x="732" y="5567"/>
                    </a:lnTo>
                    <a:close/>
                    <a:moveTo>
                      <a:pt x="758" y="5510"/>
                    </a:moveTo>
                    <a:cubicBezTo>
                      <a:pt x="743" y="5468"/>
                      <a:pt x="743" y="5468"/>
                      <a:pt x="743" y="5468"/>
                    </a:cubicBezTo>
                    <a:cubicBezTo>
                      <a:pt x="703" y="5482"/>
                      <a:pt x="703" y="5482"/>
                      <a:pt x="703" y="5482"/>
                    </a:cubicBezTo>
                    <a:cubicBezTo>
                      <a:pt x="687" y="5438"/>
                      <a:pt x="687" y="5438"/>
                      <a:pt x="687" y="5438"/>
                    </a:cubicBezTo>
                    <a:cubicBezTo>
                      <a:pt x="631" y="5457"/>
                      <a:pt x="631" y="5457"/>
                      <a:pt x="631" y="5457"/>
                    </a:cubicBezTo>
                    <a:cubicBezTo>
                      <a:pt x="657" y="5533"/>
                      <a:pt x="657" y="5533"/>
                      <a:pt x="657" y="5533"/>
                    </a:cubicBezTo>
                    <a:lnTo>
                      <a:pt x="758" y="5510"/>
                    </a:lnTo>
                    <a:close/>
                    <a:moveTo>
                      <a:pt x="618" y="5557"/>
                    </a:moveTo>
                    <a:cubicBezTo>
                      <a:pt x="619" y="5558"/>
                      <a:pt x="620" y="5560"/>
                      <a:pt x="621" y="5562"/>
                    </a:cubicBezTo>
                    <a:cubicBezTo>
                      <a:pt x="640" y="5599"/>
                      <a:pt x="653" y="5631"/>
                      <a:pt x="663" y="5659"/>
                    </a:cubicBezTo>
                    <a:cubicBezTo>
                      <a:pt x="672" y="5657"/>
                      <a:pt x="682" y="5655"/>
                      <a:pt x="695" y="5652"/>
                    </a:cubicBezTo>
                    <a:cubicBezTo>
                      <a:pt x="745" y="5641"/>
                      <a:pt x="816" y="5625"/>
                      <a:pt x="876" y="5611"/>
                    </a:cubicBezTo>
                    <a:cubicBezTo>
                      <a:pt x="903" y="5606"/>
                      <a:pt x="926" y="5600"/>
                      <a:pt x="945" y="5596"/>
                    </a:cubicBezTo>
                    <a:cubicBezTo>
                      <a:pt x="945" y="5596"/>
                      <a:pt x="945" y="5596"/>
                      <a:pt x="945" y="5596"/>
                    </a:cubicBezTo>
                    <a:cubicBezTo>
                      <a:pt x="945" y="5596"/>
                      <a:pt x="1168" y="5547"/>
                      <a:pt x="1270" y="5524"/>
                    </a:cubicBezTo>
                    <a:cubicBezTo>
                      <a:pt x="1198" y="5422"/>
                      <a:pt x="1198" y="5422"/>
                      <a:pt x="1198" y="5422"/>
                    </a:cubicBezTo>
                    <a:cubicBezTo>
                      <a:pt x="775" y="5520"/>
                      <a:pt x="775" y="5520"/>
                      <a:pt x="775" y="5520"/>
                    </a:cubicBezTo>
                    <a:cubicBezTo>
                      <a:pt x="790" y="5561"/>
                      <a:pt x="790" y="5561"/>
                      <a:pt x="790" y="5561"/>
                    </a:cubicBezTo>
                    <a:cubicBezTo>
                      <a:pt x="749" y="5576"/>
                      <a:pt x="749" y="5576"/>
                      <a:pt x="749" y="5576"/>
                    </a:cubicBezTo>
                    <a:cubicBezTo>
                      <a:pt x="765" y="5620"/>
                      <a:pt x="765" y="5620"/>
                      <a:pt x="765" y="5620"/>
                    </a:cubicBezTo>
                    <a:cubicBezTo>
                      <a:pt x="683" y="5648"/>
                      <a:pt x="683" y="5648"/>
                      <a:pt x="683" y="5648"/>
                    </a:cubicBezTo>
                    <a:cubicBezTo>
                      <a:pt x="649" y="5549"/>
                      <a:pt x="649" y="5549"/>
                      <a:pt x="649" y="5549"/>
                    </a:cubicBezTo>
                    <a:lnTo>
                      <a:pt x="618" y="5557"/>
                    </a:lnTo>
                    <a:close/>
                    <a:moveTo>
                      <a:pt x="1040" y="5663"/>
                    </a:moveTo>
                    <a:cubicBezTo>
                      <a:pt x="1162" y="5861"/>
                      <a:pt x="1162" y="5861"/>
                      <a:pt x="1162" y="5861"/>
                    </a:cubicBezTo>
                    <a:cubicBezTo>
                      <a:pt x="1164" y="5864"/>
                      <a:pt x="1164" y="5864"/>
                      <a:pt x="1164" y="5864"/>
                    </a:cubicBezTo>
                    <a:cubicBezTo>
                      <a:pt x="1164" y="5868"/>
                      <a:pt x="1164" y="5868"/>
                      <a:pt x="1164" y="5868"/>
                    </a:cubicBezTo>
                    <a:cubicBezTo>
                      <a:pt x="1168" y="6081"/>
                      <a:pt x="1168" y="6081"/>
                      <a:pt x="1168" y="6081"/>
                    </a:cubicBezTo>
                    <a:cubicBezTo>
                      <a:pt x="1433" y="6301"/>
                      <a:pt x="1433" y="6301"/>
                      <a:pt x="1433" y="6301"/>
                    </a:cubicBezTo>
                    <a:cubicBezTo>
                      <a:pt x="1566" y="6098"/>
                      <a:pt x="1566" y="6098"/>
                      <a:pt x="1566" y="6098"/>
                    </a:cubicBezTo>
                    <a:cubicBezTo>
                      <a:pt x="1516" y="5697"/>
                      <a:pt x="1516" y="5697"/>
                      <a:pt x="1516" y="5697"/>
                    </a:cubicBezTo>
                    <a:cubicBezTo>
                      <a:pt x="1320" y="5598"/>
                      <a:pt x="1320" y="5598"/>
                      <a:pt x="1320" y="5598"/>
                    </a:cubicBezTo>
                    <a:lnTo>
                      <a:pt x="1040" y="5663"/>
                    </a:lnTo>
                    <a:close/>
                    <a:moveTo>
                      <a:pt x="677" y="6008"/>
                    </a:moveTo>
                    <a:cubicBezTo>
                      <a:pt x="1024" y="6004"/>
                      <a:pt x="1024" y="6004"/>
                      <a:pt x="1024" y="6004"/>
                    </a:cubicBezTo>
                    <a:cubicBezTo>
                      <a:pt x="1112" y="6084"/>
                      <a:pt x="1112" y="6084"/>
                      <a:pt x="1112" y="6084"/>
                    </a:cubicBezTo>
                    <a:cubicBezTo>
                      <a:pt x="1111" y="5887"/>
                      <a:pt x="1111" y="5887"/>
                      <a:pt x="1111" y="5887"/>
                    </a:cubicBezTo>
                    <a:cubicBezTo>
                      <a:pt x="972" y="5661"/>
                      <a:pt x="972" y="5661"/>
                      <a:pt x="972" y="5661"/>
                    </a:cubicBezTo>
                    <a:cubicBezTo>
                      <a:pt x="960" y="5664"/>
                      <a:pt x="928" y="5670"/>
                      <a:pt x="928" y="5670"/>
                    </a:cubicBezTo>
                    <a:cubicBezTo>
                      <a:pt x="878" y="5681"/>
                      <a:pt x="815" y="5692"/>
                      <a:pt x="756" y="5705"/>
                    </a:cubicBezTo>
                    <a:cubicBezTo>
                      <a:pt x="726" y="5712"/>
                      <a:pt x="699" y="5718"/>
                      <a:pt x="680" y="5723"/>
                    </a:cubicBezTo>
                    <a:cubicBezTo>
                      <a:pt x="680" y="5723"/>
                      <a:pt x="679" y="5723"/>
                      <a:pt x="678" y="5723"/>
                    </a:cubicBezTo>
                    <a:cubicBezTo>
                      <a:pt x="681" y="5738"/>
                      <a:pt x="682" y="5751"/>
                      <a:pt x="682" y="5764"/>
                    </a:cubicBezTo>
                    <a:cubicBezTo>
                      <a:pt x="683" y="5771"/>
                      <a:pt x="683" y="5781"/>
                      <a:pt x="683" y="5794"/>
                    </a:cubicBezTo>
                    <a:cubicBezTo>
                      <a:pt x="683" y="5839"/>
                      <a:pt x="681" y="5919"/>
                      <a:pt x="677" y="5997"/>
                    </a:cubicBezTo>
                    <a:cubicBezTo>
                      <a:pt x="677" y="6000"/>
                      <a:pt x="677" y="6004"/>
                      <a:pt x="677" y="6008"/>
                    </a:cubicBezTo>
                    <a:close/>
                    <a:moveTo>
                      <a:pt x="1358" y="6616"/>
                    </a:moveTo>
                    <a:cubicBezTo>
                      <a:pt x="1532" y="6676"/>
                      <a:pt x="1532" y="6676"/>
                      <a:pt x="1532" y="6676"/>
                    </a:cubicBezTo>
                    <a:cubicBezTo>
                      <a:pt x="1595" y="6714"/>
                      <a:pt x="1595" y="6714"/>
                      <a:pt x="1595" y="6714"/>
                    </a:cubicBezTo>
                    <a:cubicBezTo>
                      <a:pt x="1882" y="6266"/>
                      <a:pt x="1882" y="6266"/>
                      <a:pt x="1882" y="6266"/>
                    </a:cubicBezTo>
                    <a:cubicBezTo>
                      <a:pt x="1658" y="6184"/>
                      <a:pt x="1658" y="6184"/>
                      <a:pt x="1658" y="6184"/>
                    </a:cubicBezTo>
                    <a:cubicBezTo>
                      <a:pt x="1645" y="6203"/>
                      <a:pt x="1623" y="6237"/>
                      <a:pt x="1603" y="6269"/>
                    </a:cubicBezTo>
                    <a:cubicBezTo>
                      <a:pt x="1573" y="6315"/>
                      <a:pt x="1545" y="6360"/>
                      <a:pt x="1545" y="6360"/>
                    </a:cubicBezTo>
                    <a:cubicBezTo>
                      <a:pt x="1544" y="6361"/>
                      <a:pt x="1544" y="6361"/>
                      <a:pt x="1544" y="6361"/>
                    </a:cubicBezTo>
                    <a:lnTo>
                      <a:pt x="1358" y="6616"/>
                    </a:lnTo>
                    <a:close/>
                    <a:moveTo>
                      <a:pt x="2851" y="8045"/>
                    </a:moveTo>
                    <a:cubicBezTo>
                      <a:pt x="2873" y="8074"/>
                      <a:pt x="2912" y="8123"/>
                      <a:pt x="2950" y="8172"/>
                    </a:cubicBezTo>
                    <a:cubicBezTo>
                      <a:pt x="2978" y="8209"/>
                      <a:pt x="3006" y="8245"/>
                      <a:pt x="3028" y="8273"/>
                    </a:cubicBezTo>
                    <a:cubicBezTo>
                      <a:pt x="3038" y="8287"/>
                      <a:pt x="3047" y="8299"/>
                      <a:pt x="3053" y="8307"/>
                    </a:cubicBezTo>
                    <a:cubicBezTo>
                      <a:pt x="3054" y="8308"/>
                      <a:pt x="3055" y="8309"/>
                      <a:pt x="3055" y="8310"/>
                    </a:cubicBezTo>
                    <a:cubicBezTo>
                      <a:pt x="3370" y="8134"/>
                      <a:pt x="3370" y="8134"/>
                      <a:pt x="3370" y="8134"/>
                    </a:cubicBezTo>
                    <a:cubicBezTo>
                      <a:pt x="3292" y="8043"/>
                      <a:pt x="3292" y="8043"/>
                      <a:pt x="3292" y="8043"/>
                    </a:cubicBezTo>
                    <a:cubicBezTo>
                      <a:pt x="3284" y="8037"/>
                      <a:pt x="3222" y="7996"/>
                      <a:pt x="3160" y="7955"/>
                    </a:cubicBezTo>
                    <a:cubicBezTo>
                      <a:pt x="3126" y="7933"/>
                      <a:pt x="3093" y="7910"/>
                      <a:pt x="3068" y="7893"/>
                    </a:cubicBezTo>
                    <a:cubicBezTo>
                      <a:pt x="3061" y="7888"/>
                      <a:pt x="3055" y="7884"/>
                      <a:pt x="3049" y="7880"/>
                    </a:cubicBezTo>
                    <a:cubicBezTo>
                      <a:pt x="3003" y="7916"/>
                      <a:pt x="2951" y="7957"/>
                      <a:pt x="2900" y="8001"/>
                    </a:cubicBezTo>
                    <a:cubicBezTo>
                      <a:pt x="2883" y="8016"/>
                      <a:pt x="2867" y="8030"/>
                      <a:pt x="2851" y="8045"/>
                    </a:cubicBezTo>
                    <a:close/>
                    <a:moveTo>
                      <a:pt x="3320" y="8758"/>
                    </a:moveTo>
                    <a:cubicBezTo>
                      <a:pt x="3449" y="8812"/>
                      <a:pt x="3449" y="8812"/>
                      <a:pt x="3449" y="8812"/>
                    </a:cubicBezTo>
                    <a:cubicBezTo>
                      <a:pt x="3702" y="8547"/>
                      <a:pt x="3702" y="8547"/>
                      <a:pt x="3702" y="8547"/>
                    </a:cubicBezTo>
                    <a:cubicBezTo>
                      <a:pt x="3573" y="8331"/>
                      <a:pt x="3573" y="8331"/>
                      <a:pt x="3573" y="8331"/>
                    </a:cubicBezTo>
                    <a:cubicBezTo>
                      <a:pt x="3469" y="8391"/>
                      <a:pt x="3469" y="8391"/>
                      <a:pt x="3469" y="8391"/>
                    </a:cubicBezTo>
                    <a:cubicBezTo>
                      <a:pt x="3465" y="8386"/>
                      <a:pt x="3465" y="8386"/>
                      <a:pt x="3465" y="8386"/>
                    </a:cubicBezTo>
                    <a:cubicBezTo>
                      <a:pt x="3416" y="8301"/>
                      <a:pt x="3416" y="8301"/>
                      <a:pt x="3416" y="8301"/>
                    </a:cubicBezTo>
                    <a:cubicBezTo>
                      <a:pt x="3519" y="8242"/>
                      <a:pt x="3519" y="8242"/>
                      <a:pt x="3519" y="8242"/>
                    </a:cubicBezTo>
                    <a:cubicBezTo>
                      <a:pt x="3467" y="8155"/>
                      <a:pt x="3467" y="8155"/>
                      <a:pt x="3467" y="8155"/>
                    </a:cubicBezTo>
                    <a:cubicBezTo>
                      <a:pt x="3213" y="8297"/>
                      <a:pt x="3213" y="8297"/>
                      <a:pt x="3213" y="8297"/>
                    </a:cubicBezTo>
                    <a:cubicBezTo>
                      <a:pt x="3229" y="8328"/>
                      <a:pt x="3257" y="8384"/>
                      <a:pt x="3286" y="8438"/>
                    </a:cubicBezTo>
                    <a:cubicBezTo>
                      <a:pt x="3326" y="8517"/>
                      <a:pt x="3367" y="8593"/>
                      <a:pt x="3367" y="8594"/>
                    </a:cubicBezTo>
                    <a:cubicBezTo>
                      <a:pt x="3368" y="8596"/>
                      <a:pt x="3368" y="8596"/>
                      <a:pt x="3368" y="8596"/>
                    </a:cubicBezTo>
                    <a:cubicBezTo>
                      <a:pt x="3367" y="8599"/>
                      <a:pt x="3367" y="8599"/>
                      <a:pt x="3367" y="8599"/>
                    </a:cubicBezTo>
                    <a:cubicBezTo>
                      <a:pt x="3367" y="8599"/>
                      <a:pt x="3357" y="8638"/>
                      <a:pt x="3346" y="8678"/>
                    </a:cubicBezTo>
                    <a:cubicBezTo>
                      <a:pt x="3341" y="8697"/>
                      <a:pt x="3335" y="8717"/>
                      <a:pt x="3330" y="8732"/>
                    </a:cubicBezTo>
                    <a:cubicBezTo>
                      <a:pt x="3328" y="8740"/>
                      <a:pt x="3326" y="8746"/>
                      <a:pt x="3324" y="8750"/>
                    </a:cubicBezTo>
                    <a:cubicBezTo>
                      <a:pt x="3323" y="8753"/>
                      <a:pt x="3322" y="8755"/>
                      <a:pt x="3321" y="8756"/>
                    </a:cubicBezTo>
                    <a:cubicBezTo>
                      <a:pt x="3321" y="8757"/>
                      <a:pt x="3321" y="8757"/>
                      <a:pt x="3320" y="8758"/>
                    </a:cubicBezTo>
                    <a:close/>
                    <a:moveTo>
                      <a:pt x="3459" y="8821"/>
                    </a:moveTo>
                    <a:cubicBezTo>
                      <a:pt x="3580" y="9059"/>
                      <a:pt x="3580" y="9059"/>
                      <a:pt x="3580" y="9059"/>
                    </a:cubicBezTo>
                    <a:cubicBezTo>
                      <a:pt x="3603" y="9039"/>
                      <a:pt x="3685" y="8968"/>
                      <a:pt x="3767" y="8897"/>
                    </a:cubicBezTo>
                    <a:cubicBezTo>
                      <a:pt x="3815" y="8855"/>
                      <a:pt x="3864" y="8812"/>
                      <a:pt x="3900" y="8780"/>
                    </a:cubicBezTo>
                    <a:cubicBezTo>
                      <a:pt x="3918" y="8764"/>
                      <a:pt x="3933" y="8751"/>
                      <a:pt x="3944" y="8741"/>
                    </a:cubicBezTo>
                    <a:cubicBezTo>
                      <a:pt x="3949" y="8736"/>
                      <a:pt x="3953" y="8732"/>
                      <a:pt x="3956" y="8730"/>
                    </a:cubicBezTo>
                    <a:cubicBezTo>
                      <a:pt x="3957" y="8729"/>
                      <a:pt x="3958" y="8728"/>
                      <a:pt x="3959" y="8727"/>
                    </a:cubicBezTo>
                    <a:cubicBezTo>
                      <a:pt x="3960" y="8724"/>
                      <a:pt x="3961" y="8725"/>
                      <a:pt x="3961" y="8724"/>
                    </a:cubicBezTo>
                    <a:cubicBezTo>
                      <a:pt x="3961" y="8724"/>
                      <a:pt x="3961" y="8724"/>
                      <a:pt x="3961" y="8724"/>
                    </a:cubicBezTo>
                    <a:cubicBezTo>
                      <a:pt x="3961" y="8724"/>
                      <a:pt x="3961" y="8724"/>
                      <a:pt x="3961" y="8724"/>
                    </a:cubicBezTo>
                    <a:cubicBezTo>
                      <a:pt x="3966" y="8721"/>
                      <a:pt x="3989" y="8710"/>
                      <a:pt x="4026" y="8692"/>
                    </a:cubicBezTo>
                    <a:cubicBezTo>
                      <a:pt x="4124" y="8644"/>
                      <a:pt x="4305" y="8557"/>
                      <a:pt x="4345" y="8537"/>
                    </a:cubicBezTo>
                    <a:cubicBezTo>
                      <a:pt x="4335" y="8494"/>
                      <a:pt x="4326" y="8458"/>
                      <a:pt x="4319" y="8436"/>
                    </a:cubicBezTo>
                    <a:cubicBezTo>
                      <a:pt x="4314" y="8421"/>
                      <a:pt x="4296" y="8384"/>
                      <a:pt x="4272" y="8339"/>
                    </a:cubicBezTo>
                    <a:cubicBezTo>
                      <a:pt x="4271" y="8339"/>
                      <a:pt x="4270" y="8339"/>
                      <a:pt x="4269" y="8339"/>
                    </a:cubicBezTo>
                    <a:cubicBezTo>
                      <a:pt x="3864" y="8588"/>
                      <a:pt x="3864" y="8588"/>
                      <a:pt x="3864" y="8588"/>
                    </a:cubicBezTo>
                    <a:cubicBezTo>
                      <a:pt x="3713" y="8555"/>
                      <a:pt x="3713" y="8555"/>
                      <a:pt x="3713" y="8555"/>
                    </a:cubicBezTo>
                    <a:lnTo>
                      <a:pt x="3459" y="8821"/>
                    </a:lnTo>
                    <a:close/>
                    <a:moveTo>
                      <a:pt x="4287" y="9031"/>
                    </a:moveTo>
                    <a:cubicBezTo>
                      <a:pt x="4287" y="9031"/>
                      <a:pt x="4287" y="9031"/>
                      <a:pt x="4288" y="9031"/>
                    </a:cubicBezTo>
                    <a:cubicBezTo>
                      <a:pt x="4343" y="8992"/>
                      <a:pt x="4394" y="8956"/>
                      <a:pt x="4424" y="8935"/>
                    </a:cubicBezTo>
                    <a:cubicBezTo>
                      <a:pt x="4418" y="8900"/>
                      <a:pt x="4404" y="8821"/>
                      <a:pt x="4387" y="8735"/>
                    </a:cubicBezTo>
                    <a:cubicBezTo>
                      <a:pt x="4375" y="8673"/>
                      <a:pt x="4361" y="8607"/>
                      <a:pt x="4348" y="8551"/>
                    </a:cubicBezTo>
                    <a:cubicBezTo>
                      <a:pt x="4320" y="8565"/>
                      <a:pt x="4242" y="8602"/>
                      <a:pt x="4164" y="8640"/>
                    </a:cubicBezTo>
                    <a:cubicBezTo>
                      <a:pt x="4115" y="8664"/>
                      <a:pt x="4066" y="8688"/>
                      <a:pt x="4029" y="8706"/>
                    </a:cubicBezTo>
                    <a:cubicBezTo>
                      <a:pt x="4011" y="8715"/>
                      <a:pt x="3996" y="8722"/>
                      <a:pt x="3985" y="8728"/>
                    </a:cubicBezTo>
                    <a:cubicBezTo>
                      <a:pt x="3981" y="8729"/>
                      <a:pt x="3979" y="8730"/>
                      <a:pt x="3977" y="8732"/>
                    </a:cubicBezTo>
                    <a:cubicBezTo>
                      <a:pt x="3997" y="8752"/>
                      <a:pt x="4065" y="8818"/>
                      <a:pt x="4134" y="8885"/>
                    </a:cubicBezTo>
                    <a:cubicBezTo>
                      <a:pt x="4175" y="8925"/>
                      <a:pt x="4217" y="8965"/>
                      <a:pt x="4248" y="8995"/>
                    </a:cubicBezTo>
                    <a:cubicBezTo>
                      <a:pt x="4264" y="9010"/>
                      <a:pt x="4278" y="9022"/>
                      <a:pt x="4287" y="9031"/>
                    </a:cubicBezTo>
                    <a:close/>
                    <a:moveTo>
                      <a:pt x="5039" y="7912"/>
                    </a:moveTo>
                    <a:cubicBezTo>
                      <a:pt x="4999" y="7861"/>
                      <a:pt x="4759" y="7510"/>
                      <a:pt x="4718" y="7450"/>
                    </a:cubicBezTo>
                    <a:cubicBezTo>
                      <a:pt x="4291" y="7693"/>
                      <a:pt x="4291" y="7693"/>
                      <a:pt x="4291" y="7693"/>
                    </a:cubicBezTo>
                    <a:cubicBezTo>
                      <a:pt x="4568" y="8174"/>
                      <a:pt x="4568" y="8174"/>
                      <a:pt x="4568" y="8174"/>
                    </a:cubicBezTo>
                    <a:cubicBezTo>
                      <a:pt x="4605" y="8153"/>
                      <a:pt x="4644" y="8131"/>
                      <a:pt x="4683" y="8110"/>
                    </a:cubicBezTo>
                    <a:cubicBezTo>
                      <a:pt x="4844" y="8020"/>
                      <a:pt x="5004" y="7932"/>
                      <a:pt x="5039" y="7912"/>
                    </a:cubicBezTo>
                    <a:close/>
                    <a:moveTo>
                      <a:pt x="5050" y="7904"/>
                    </a:moveTo>
                    <a:cubicBezTo>
                      <a:pt x="5050" y="7904"/>
                      <a:pt x="5050" y="7905"/>
                      <a:pt x="5051" y="7905"/>
                    </a:cubicBezTo>
                    <a:cubicBezTo>
                      <a:pt x="5438" y="7628"/>
                      <a:pt x="5438" y="7628"/>
                      <a:pt x="5438" y="7628"/>
                    </a:cubicBezTo>
                    <a:cubicBezTo>
                      <a:pt x="5161" y="7197"/>
                      <a:pt x="5161" y="7197"/>
                      <a:pt x="5161" y="7197"/>
                    </a:cubicBezTo>
                    <a:cubicBezTo>
                      <a:pt x="4730" y="7443"/>
                      <a:pt x="4730" y="7443"/>
                      <a:pt x="4730" y="7443"/>
                    </a:cubicBezTo>
                    <a:cubicBezTo>
                      <a:pt x="4751" y="7473"/>
                      <a:pt x="4818" y="7571"/>
                      <a:pt x="4886" y="7670"/>
                    </a:cubicBezTo>
                    <a:cubicBezTo>
                      <a:pt x="4927" y="7729"/>
                      <a:pt x="4968" y="7789"/>
                      <a:pt x="5000" y="7834"/>
                    </a:cubicBezTo>
                    <a:cubicBezTo>
                      <a:pt x="5016" y="7856"/>
                      <a:pt x="5029" y="7875"/>
                      <a:pt x="5038" y="7888"/>
                    </a:cubicBezTo>
                    <a:cubicBezTo>
                      <a:pt x="5043" y="7895"/>
                      <a:pt x="5047" y="7900"/>
                      <a:pt x="5050" y="7904"/>
                    </a:cubicBezTo>
                    <a:close/>
                    <a:moveTo>
                      <a:pt x="5449" y="7619"/>
                    </a:moveTo>
                    <a:cubicBezTo>
                      <a:pt x="5842" y="7293"/>
                      <a:pt x="5842" y="7293"/>
                      <a:pt x="5842" y="7293"/>
                    </a:cubicBezTo>
                    <a:cubicBezTo>
                      <a:pt x="5528" y="7016"/>
                      <a:pt x="5528" y="7016"/>
                      <a:pt x="5528" y="7016"/>
                    </a:cubicBezTo>
                    <a:cubicBezTo>
                      <a:pt x="5571" y="6903"/>
                      <a:pt x="5571" y="6903"/>
                      <a:pt x="5571" y="6903"/>
                    </a:cubicBezTo>
                    <a:cubicBezTo>
                      <a:pt x="5173" y="7190"/>
                      <a:pt x="5173" y="7190"/>
                      <a:pt x="5173" y="7190"/>
                    </a:cubicBezTo>
                    <a:lnTo>
                      <a:pt x="5449" y="7619"/>
                    </a:lnTo>
                    <a:close/>
                    <a:moveTo>
                      <a:pt x="5455" y="7632"/>
                    </a:moveTo>
                    <a:cubicBezTo>
                      <a:pt x="5479" y="7806"/>
                      <a:pt x="5479" y="7806"/>
                      <a:pt x="5479" y="7806"/>
                    </a:cubicBezTo>
                    <a:cubicBezTo>
                      <a:pt x="5511" y="7787"/>
                      <a:pt x="5639" y="7711"/>
                      <a:pt x="5767" y="7634"/>
                    </a:cubicBezTo>
                    <a:cubicBezTo>
                      <a:pt x="5841" y="7590"/>
                      <a:pt x="5915" y="7545"/>
                      <a:pt x="5970" y="7512"/>
                    </a:cubicBezTo>
                    <a:cubicBezTo>
                      <a:pt x="5998" y="7495"/>
                      <a:pt x="6021" y="7481"/>
                      <a:pt x="6037" y="7471"/>
                    </a:cubicBezTo>
                    <a:cubicBezTo>
                      <a:pt x="6039" y="7470"/>
                      <a:pt x="6040" y="7469"/>
                      <a:pt x="6041" y="7468"/>
                    </a:cubicBezTo>
                    <a:cubicBezTo>
                      <a:pt x="6041" y="7467"/>
                      <a:pt x="6041" y="7467"/>
                      <a:pt x="6041" y="7467"/>
                    </a:cubicBezTo>
                    <a:cubicBezTo>
                      <a:pt x="5853" y="7302"/>
                      <a:pt x="5853" y="7302"/>
                      <a:pt x="5853" y="7302"/>
                    </a:cubicBezTo>
                    <a:lnTo>
                      <a:pt x="5455" y="7632"/>
                    </a:lnTo>
                    <a:close/>
                    <a:moveTo>
                      <a:pt x="5482" y="7821"/>
                    </a:moveTo>
                    <a:cubicBezTo>
                      <a:pt x="5502" y="7961"/>
                      <a:pt x="5502" y="7961"/>
                      <a:pt x="5502" y="7961"/>
                    </a:cubicBezTo>
                    <a:cubicBezTo>
                      <a:pt x="5827" y="7973"/>
                      <a:pt x="5827" y="7973"/>
                      <a:pt x="5827" y="7973"/>
                    </a:cubicBezTo>
                    <a:cubicBezTo>
                      <a:pt x="5826" y="7973"/>
                      <a:pt x="6019" y="7970"/>
                      <a:pt x="6080" y="7969"/>
                    </a:cubicBezTo>
                    <a:cubicBezTo>
                      <a:pt x="6042" y="7484"/>
                      <a:pt x="6042" y="7484"/>
                      <a:pt x="6042" y="7484"/>
                    </a:cubicBezTo>
                    <a:cubicBezTo>
                      <a:pt x="5991" y="7516"/>
                      <a:pt x="5879" y="7583"/>
                      <a:pt x="5768" y="7650"/>
                    </a:cubicBezTo>
                    <a:cubicBezTo>
                      <a:pt x="5633" y="7731"/>
                      <a:pt x="5500" y="7810"/>
                      <a:pt x="5482" y="7821"/>
                    </a:cubicBezTo>
                    <a:close/>
                    <a:moveTo>
                      <a:pt x="6135" y="7821"/>
                    </a:moveTo>
                    <a:cubicBezTo>
                      <a:pt x="6144" y="7821"/>
                      <a:pt x="6156" y="7822"/>
                      <a:pt x="6170" y="7822"/>
                    </a:cubicBezTo>
                    <a:cubicBezTo>
                      <a:pt x="6171" y="7762"/>
                      <a:pt x="6171" y="7762"/>
                      <a:pt x="6171" y="7762"/>
                    </a:cubicBezTo>
                    <a:cubicBezTo>
                      <a:pt x="6214" y="7763"/>
                      <a:pt x="6214" y="7763"/>
                      <a:pt x="6214" y="7763"/>
                    </a:cubicBezTo>
                    <a:cubicBezTo>
                      <a:pt x="6215" y="7716"/>
                      <a:pt x="6215" y="7716"/>
                      <a:pt x="6215" y="7716"/>
                    </a:cubicBezTo>
                    <a:cubicBezTo>
                      <a:pt x="6301" y="7718"/>
                      <a:pt x="6301" y="7718"/>
                      <a:pt x="6301" y="7718"/>
                    </a:cubicBezTo>
                    <a:cubicBezTo>
                      <a:pt x="6299" y="7826"/>
                      <a:pt x="6299" y="7826"/>
                      <a:pt x="6299" y="7826"/>
                    </a:cubicBezTo>
                    <a:cubicBezTo>
                      <a:pt x="6319" y="7827"/>
                      <a:pt x="6340" y="7828"/>
                      <a:pt x="6361" y="7828"/>
                    </a:cubicBezTo>
                    <a:cubicBezTo>
                      <a:pt x="6465" y="7831"/>
                      <a:pt x="6568" y="7834"/>
                      <a:pt x="6597" y="7835"/>
                    </a:cubicBezTo>
                    <a:cubicBezTo>
                      <a:pt x="6592" y="7695"/>
                      <a:pt x="6592" y="7695"/>
                      <a:pt x="6592" y="7695"/>
                    </a:cubicBezTo>
                    <a:cubicBezTo>
                      <a:pt x="6123" y="7670"/>
                      <a:pt x="6123" y="7670"/>
                      <a:pt x="6123" y="7670"/>
                    </a:cubicBezTo>
                    <a:lnTo>
                      <a:pt x="6135" y="7821"/>
                    </a:lnTo>
                    <a:close/>
                    <a:moveTo>
                      <a:pt x="6225" y="7867"/>
                    </a:moveTo>
                    <a:cubicBezTo>
                      <a:pt x="6224" y="7914"/>
                      <a:pt x="6224" y="7914"/>
                      <a:pt x="6224" y="7914"/>
                    </a:cubicBezTo>
                    <a:cubicBezTo>
                      <a:pt x="6284" y="7915"/>
                      <a:pt x="6284" y="7915"/>
                      <a:pt x="6284" y="7915"/>
                    </a:cubicBezTo>
                    <a:cubicBezTo>
                      <a:pt x="6286" y="7840"/>
                      <a:pt x="6286" y="7840"/>
                      <a:pt x="6286" y="7840"/>
                    </a:cubicBezTo>
                    <a:cubicBezTo>
                      <a:pt x="6249" y="7839"/>
                      <a:pt x="6214" y="7838"/>
                      <a:pt x="6185" y="7837"/>
                    </a:cubicBezTo>
                    <a:cubicBezTo>
                      <a:pt x="6184" y="7837"/>
                      <a:pt x="6183" y="7836"/>
                      <a:pt x="6183" y="7836"/>
                    </a:cubicBezTo>
                    <a:cubicBezTo>
                      <a:pt x="6182" y="7866"/>
                      <a:pt x="6182" y="7866"/>
                      <a:pt x="6182" y="7866"/>
                    </a:cubicBezTo>
                    <a:lnTo>
                      <a:pt x="6225" y="7867"/>
                    </a:lnTo>
                    <a:close/>
                    <a:moveTo>
                      <a:pt x="6286" y="7826"/>
                    </a:moveTo>
                    <a:cubicBezTo>
                      <a:pt x="6288" y="7731"/>
                      <a:pt x="6288" y="7731"/>
                      <a:pt x="6288" y="7731"/>
                    </a:cubicBezTo>
                    <a:cubicBezTo>
                      <a:pt x="6228" y="7730"/>
                      <a:pt x="6228" y="7730"/>
                      <a:pt x="6228" y="7730"/>
                    </a:cubicBezTo>
                    <a:cubicBezTo>
                      <a:pt x="6227" y="7777"/>
                      <a:pt x="6227" y="7777"/>
                      <a:pt x="6227" y="7777"/>
                    </a:cubicBezTo>
                    <a:cubicBezTo>
                      <a:pt x="6184" y="7776"/>
                      <a:pt x="6184" y="7776"/>
                      <a:pt x="6184" y="7776"/>
                    </a:cubicBezTo>
                    <a:cubicBezTo>
                      <a:pt x="6183" y="7822"/>
                      <a:pt x="6183" y="7822"/>
                      <a:pt x="6183" y="7822"/>
                    </a:cubicBezTo>
                    <a:cubicBezTo>
                      <a:pt x="6212" y="7824"/>
                      <a:pt x="6248" y="7825"/>
                      <a:pt x="6286" y="7826"/>
                    </a:cubicBezTo>
                    <a:close/>
                    <a:moveTo>
                      <a:pt x="6136" y="7835"/>
                    </a:moveTo>
                    <a:cubicBezTo>
                      <a:pt x="6148" y="7996"/>
                      <a:pt x="6148" y="7996"/>
                      <a:pt x="6148" y="7996"/>
                    </a:cubicBezTo>
                    <a:cubicBezTo>
                      <a:pt x="6227" y="7996"/>
                      <a:pt x="6450" y="7998"/>
                      <a:pt x="6555" y="7998"/>
                    </a:cubicBezTo>
                    <a:cubicBezTo>
                      <a:pt x="6571" y="7998"/>
                      <a:pt x="6584" y="7998"/>
                      <a:pt x="6593" y="7998"/>
                    </a:cubicBezTo>
                    <a:cubicBezTo>
                      <a:pt x="6598" y="7998"/>
                      <a:pt x="6601" y="7998"/>
                      <a:pt x="6603" y="7998"/>
                    </a:cubicBezTo>
                    <a:cubicBezTo>
                      <a:pt x="6598" y="7849"/>
                      <a:pt x="6598" y="7849"/>
                      <a:pt x="6598" y="7849"/>
                    </a:cubicBezTo>
                    <a:cubicBezTo>
                      <a:pt x="6569" y="7848"/>
                      <a:pt x="6463" y="7845"/>
                      <a:pt x="6356" y="7842"/>
                    </a:cubicBezTo>
                    <a:cubicBezTo>
                      <a:pt x="6337" y="7841"/>
                      <a:pt x="6318" y="7841"/>
                      <a:pt x="6299" y="7840"/>
                    </a:cubicBezTo>
                    <a:cubicBezTo>
                      <a:pt x="6297" y="7928"/>
                      <a:pt x="6297" y="7928"/>
                      <a:pt x="6297" y="7928"/>
                    </a:cubicBezTo>
                    <a:cubicBezTo>
                      <a:pt x="6291" y="7928"/>
                      <a:pt x="6291" y="7928"/>
                      <a:pt x="6291" y="7928"/>
                    </a:cubicBezTo>
                    <a:cubicBezTo>
                      <a:pt x="6211" y="7927"/>
                      <a:pt x="6211" y="7927"/>
                      <a:pt x="6211" y="7927"/>
                    </a:cubicBezTo>
                    <a:cubicBezTo>
                      <a:pt x="6212" y="7880"/>
                      <a:pt x="6212" y="7880"/>
                      <a:pt x="6212" y="7880"/>
                    </a:cubicBezTo>
                    <a:cubicBezTo>
                      <a:pt x="6169" y="7879"/>
                      <a:pt x="6169" y="7879"/>
                      <a:pt x="6169" y="7879"/>
                    </a:cubicBezTo>
                    <a:cubicBezTo>
                      <a:pt x="6169" y="7836"/>
                      <a:pt x="6169" y="7836"/>
                      <a:pt x="6169" y="7836"/>
                    </a:cubicBezTo>
                    <a:cubicBezTo>
                      <a:pt x="6156" y="7835"/>
                      <a:pt x="6145" y="7835"/>
                      <a:pt x="6136" y="7835"/>
                    </a:cubicBezTo>
                    <a:close/>
                    <a:moveTo>
                      <a:pt x="6149" y="8010"/>
                    </a:moveTo>
                    <a:cubicBezTo>
                      <a:pt x="6161" y="8156"/>
                      <a:pt x="6161" y="8156"/>
                      <a:pt x="6161" y="8156"/>
                    </a:cubicBezTo>
                    <a:cubicBezTo>
                      <a:pt x="6206" y="8153"/>
                      <a:pt x="6206" y="8153"/>
                      <a:pt x="6206" y="8153"/>
                    </a:cubicBezTo>
                    <a:cubicBezTo>
                      <a:pt x="6207" y="8096"/>
                      <a:pt x="6207" y="8096"/>
                      <a:pt x="6207" y="8096"/>
                    </a:cubicBezTo>
                    <a:cubicBezTo>
                      <a:pt x="6250" y="8096"/>
                      <a:pt x="6250" y="8096"/>
                      <a:pt x="6250" y="8096"/>
                    </a:cubicBezTo>
                    <a:cubicBezTo>
                      <a:pt x="6251" y="8049"/>
                      <a:pt x="6251" y="8049"/>
                      <a:pt x="6251" y="8049"/>
                    </a:cubicBezTo>
                    <a:cubicBezTo>
                      <a:pt x="6337" y="8051"/>
                      <a:pt x="6337" y="8051"/>
                      <a:pt x="6337" y="8051"/>
                    </a:cubicBezTo>
                    <a:cubicBezTo>
                      <a:pt x="6335" y="8144"/>
                      <a:pt x="6335" y="8144"/>
                      <a:pt x="6335" y="8144"/>
                    </a:cubicBezTo>
                    <a:cubicBezTo>
                      <a:pt x="6719" y="8119"/>
                      <a:pt x="6719" y="8119"/>
                      <a:pt x="6719" y="8119"/>
                    </a:cubicBezTo>
                    <a:cubicBezTo>
                      <a:pt x="6715" y="7963"/>
                      <a:pt x="6715" y="7963"/>
                      <a:pt x="6715" y="7963"/>
                    </a:cubicBezTo>
                    <a:cubicBezTo>
                      <a:pt x="6783" y="7978"/>
                      <a:pt x="6783" y="7978"/>
                      <a:pt x="6783" y="7978"/>
                    </a:cubicBezTo>
                    <a:cubicBezTo>
                      <a:pt x="6783" y="7978"/>
                      <a:pt x="6783" y="7978"/>
                      <a:pt x="6783" y="7978"/>
                    </a:cubicBezTo>
                    <a:cubicBezTo>
                      <a:pt x="6781" y="7973"/>
                      <a:pt x="6781" y="7965"/>
                      <a:pt x="6780" y="7949"/>
                    </a:cubicBezTo>
                    <a:cubicBezTo>
                      <a:pt x="6775" y="7858"/>
                      <a:pt x="6775" y="7566"/>
                      <a:pt x="6775" y="7483"/>
                    </a:cubicBezTo>
                    <a:cubicBezTo>
                      <a:pt x="6715" y="7484"/>
                      <a:pt x="6655" y="7484"/>
                      <a:pt x="6597" y="7484"/>
                    </a:cubicBezTo>
                    <a:cubicBezTo>
                      <a:pt x="6622" y="8125"/>
                      <a:pt x="6622" y="8125"/>
                      <a:pt x="6622" y="8125"/>
                    </a:cubicBezTo>
                    <a:cubicBezTo>
                      <a:pt x="6608" y="8126"/>
                      <a:pt x="6608" y="8126"/>
                      <a:pt x="6608" y="8126"/>
                    </a:cubicBezTo>
                    <a:cubicBezTo>
                      <a:pt x="6604" y="8012"/>
                      <a:pt x="6604" y="8012"/>
                      <a:pt x="6604" y="8012"/>
                    </a:cubicBezTo>
                    <a:cubicBezTo>
                      <a:pt x="6595" y="8012"/>
                      <a:pt x="6579" y="8012"/>
                      <a:pt x="6555" y="8012"/>
                    </a:cubicBezTo>
                    <a:cubicBezTo>
                      <a:pt x="6491" y="8012"/>
                      <a:pt x="6382" y="8011"/>
                      <a:pt x="6289" y="8011"/>
                    </a:cubicBezTo>
                    <a:cubicBezTo>
                      <a:pt x="6243" y="8010"/>
                      <a:pt x="6200" y="8010"/>
                      <a:pt x="6169" y="8010"/>
                    </a:cubicBezTo>
                    <a:cubicBezTo>
                      <a:pt x="6162" y="8010"/>
                      <a:pt x="6155" y="8010"/>
                      <a:pt x="6149" y="8010"/>
                    </a:cubicBezTo>
                    <a:close/>
                    <a:moveTo>
                      <a:pt x="6261" y="8200"/>
                    </a:moveTo>
                    <a:cubicBezTo>
                      <a:pt x="6260" y="8247"/>
                      <a:pt x="6260" y="8247"/>
                      <a:pt x="6260" y="8247"/>
                    </a:cubicBezTo>
                    <a:cubicBezTo>
                      <a:pt x="6320" y="8248"/>
                      <a:pt x="6320" y="8248"/>
                      <a:pt x="6320" y="8248"/>
                    </a:cubicBezTo>
                    <a:cubicBezTo>
                      <a:pt x="6322" y="8159"/>
                      <a:pt x="6322" y="8159"/>
                      <a:pt x="6322" y="8159"/>
                    </a:cubicBezTo>
                    <a:cubicBezTo>
                      <a:pt x="6219" y="8166"/>
                      <a:pt x="6219" y="8166"/>
                      <a:pt x="6219" y="8166"/>
                    </a:cubicBezTo>
                    <a:cubicBezTo>
                      <a:pt x="6218" y="8199"/>
                      <a:pt x="6218" y="8199"/>
                      <a:pt x="6218" y="8199"/>
                    </a:cubicBezTo>
                    <a:lnTo>
                      <a:pt x="6261" y="8200"/>
                    </a:lnTo>
                    <a:close/>
                    <a:moveTo>
                      <a:pt x="6322" y="8145"/>
                    </a:moveTo>
                    <a:cubicBezTo>
                      <a:pt x="6324" y="8064"/>
                      <a:pt x="6324" y="8064"/>
                      <a:pt x="6324" y="8064"/>
                    </a:cubicBezTo>
                    <a:cubicBezTo>
                      <a:pt x="6264" y="8063"/>
                      <a:pt x="6264" y="8063"/>
                      <a:pt x="6264" y="8063"/>
                    </a:cubicBezTo>
                    <a:cubicBezTo>
                      <a:pt x="6263" y="8110"/>
                      <a:pt x="6263" y="8110"/>
                      <a:pt x="6263" y="8110"/>
                    </a:cubicBezTo>
                    <a:cubicBezTo>
                      <a:pt x="6220" y="8109"/>
                      <a:pt x="6220" y="8109"/>
                      <a:pt x="6220" y="8109"/>
                    </a:cubicBezTo>
                    <a:cubicBezTo>
                      <a:pt x="6219" y="8152"/>
                      <a:pt x="6219" y="8152"/>
                      <a:pt x="6219" y="8152"/>
                    </a:cubicBezTo>
                    <a:lnTo>
                      <a:pt x="6322" y="8145"/>
                    </a:lnTo>
                    <a:close/>
                    <a:moveTo>
                      <a:pt x="6185" y="8467"/>
                    </a:moveTo>
                    <a:cubicBezTo>
                      <a:pt x="6205" y="8713"/>
                      <a:pt x="6205" y="8713"/>
                      <a:pt x="6205" y="8713"/>
                    </a:cubicBezTo>
                    <a:cubicBezTo>
                      <a:pt x="6406" y="8719"/>
                      <a:pt x="6406" y="8719"/>
                      <a:pt x="6406" y="8719"/>
                    </a:cubicBezTo>
                    <a:cubicBezTo>
                      <a:pt x="6412" y="8454"/>
                      <a:pt x="6412" y="8454"/>
                      <a:pt x="6412" y="8454"/>
                    </a:cubicBezTo>
                    <a:lnTo>
                      <a:pt x="6185" y="8467"/>
                    </a:lnTo>
                    <a:close/>
                    <a:moveTo>
                      <a:pt x="6718" y="9511"/>
                    </a:moveTo>
                    <a:cubicBezTo>
                      <a:pt x="6700" y="9380"/>
                      <a:pt x="6700" y="9380"/>
                      <a:pt x="6700" y="9380"/>
                    </a:cubicBezTo>
                    <a:cubicBezTo>
                      <a:pt x="6813" y="9321"/>
                      <a:pt x="6813" y="9321"/>
                      <a:pt x="6813" y="9321"/>
                    </a:cubicBezTo>
                    <a:cubicBezTo>
                      <a:pt x="6754" y="9310"/>
                      <a:pt x="6481" y="9243"/>
                      <a:pt x="6481" y="9243"/>
                    </a:cubicBezTo>
                    <a:cubicBezTo>
                      <a:pt x="6475" y="9242"/>
                      <a:pt x="6475" y="9242"/>
                      <a:pt x="6475" y="9242"/>
                    </a:cubicBezTo>
                    <a:cubicBezTo>
                      <a:pt x="6475" y="9181"/>
                      <a:pt x="6475" y="9181"/>
                      <a:pt x="6475" y="9181"/>
                    </a:cubicBezTo>
                    <a:cubicBezTo>
                      <a:pt x="6317" y="9171"/>
                      <a:pt x="6317" y="9171"/>
                      <a:pt x="6317" y="9171"/>
                    </a:cubicBezTo>
                    <a:cubicBezTo>
                      <a:pt x="6316" y="9215"/>
                      <a:pt x="6315" y="9258"/>
                      <a:pt x="6313" y="9297"/>
                    </a:cubicBezTo>
                    <a:cubicBezTo>
                      <a:pt x="6312" y="9340"/>
                      <a:pt x="6304" y="9380"/>
                      <a:pt x="6290" y="9413"/>
                    </a:cubicBezTo>
                    <a:lnTo>
                      <a:pt x="6718" y="9511"/>
                    </a:lnTo>
                    <a:close/>
                    <a:moveTo>
                      <a:pt x="6818" y="9308"/>
                    </a:moveTo>
                    <a:cubicBezTo>
                      <a:pt x="6824" y="9274"/>
                      <a:pt x="6839" y="9186"/>
                      <a:pt x="6855" y="9091"/>
                    </a:cubicBezTo>
                    <a:cubicBezTo>
                      <a:pt x="6493" y="9016"/>
                      <a:pt x="6493" y="9016"/>
                      <a:pt x="6493" y="9016"/>
                    </a:cubicBezTo>
                    <a:cubicBezTo>
                      <a:pt x="6499" y="8954"/>
                      <a:pt x="6499" y="8954"/>
                      <a:pt x="6499" y="8954"/>
                    </a:cubicBezTo>
                    <a:cubicBezTo>
                      <a:pt x="6320" y="8953"/>
                      <a:pt x="6320" y="8953"/>
                      <a:pt x="6320" y="8953"/>
                    </a:cubicBezTo>
                    <a:cubicBezTo>
                      <a:pt x="6320" y="9016"/>
                      <a:pt x="6319" y="9087"/>
                      <a:pt x="6317" y="9157"/>
                    </a:cubicBezTo>
                    <a:cubicBezTo>
                      <a:pt x="6489" y="9168"/>
                      <a:pt x="6489" y="9168"/>
                      <a:pt x="6489" y="9168"/>
                    </a:cubicBezTo>
                    <a:cubicBezTo>
                      <a:pt x="6489" y="9231"/>
                      <a:pt x="6489" y="9231"/>
                      <a:pt x="6489" y="9231"/>
                    </a:cubicBezTo>
                    <a:cubicBezTo>
                      <a:pt x="6509" y="9236"/>
                      <a:pt x="6578" y="9253"/>
                      <a:pt x="6650" y="9270"/>
                    </a:cubicBezTo>
                    <a:cubicBezTo>
                      <a:pt x="6722" y="9287"/>
                      <a:pt x="6797" y="9304"/>
                      <a:pt x="6818" y="9308"/>
                    </a:cubicBezTo>
                    <a:close/>
                    <a:moveTo>
                      <a:pt x="6857" y="9077"/>
                    </a:moveTo>
                    <a:cubicBezTo>
                      <a:pt x="6858" y="9069"/>
                      <a:pt x="6860" y="9061"/>
                      <a:pt x="6861" y="9053"/>
                    </a:cubicBezTo>
                    <a:cubicBezTo>
                      <a:pt x="6872" y="8986"/>
                      <a:pt x="6884" y="8918"/>
                      <a:pt x="6893" y="8867"/>
                    </a:cubicBezTo>
                    <a:cubicBezTo>
                      <a:pt x="6897" y="8841"/>
                      <a:pt x="6901" y="8820"/>
                      <a:pt x="6903" y="8805"/>
                    </a:cubicBezTo>
                    <a:cubicBezTo>
                      <a:pt x="6904" y="8803"/>
                      <a:pt x="6904" y="8801"/>
                      <a:pt x="6904" y="8800"/>
                    </a:cubicBezTo>
                    <a:cubicBezTo>
                      <a:pt x="6321" y="8782"/>
                      <a:pt x="6321" y="8782"/>
                      <a:pt x="6321" y="8782"/>
                    </a:cubicBezTo>
                    <a:cubicBezTo>
                      <a:pt x="6321" y="8813"/>
                      <a:pt x="6321" y="8870"/>
                      <a:pt x="6321" y="8939"/>
                    </a:cubicBezTo>
                    <a:cubicBezTo>
                      <a:pt x="6514" y="8940"/>
                      <a:pt x="6514" y="8940"/>
                      <a:pt x="6514" y="8940"/>
                    </a:cubicBezTo>
                    <a:cubicBezTo>
                      <a:pt x="6508" y="9005"/>
                      <a:pt x="6508" y="9005"/>
                      <a:pt x="6508" y="9005"/>
                    </a:cubicBezTo>
                    <a:lnTo>
                      <a:pt x="6857" y="9077"/>
                    </a:lnTo>
                    <a:close/>
                    <a:moveTo>
                      <a:pt x="6952" y="8735"/>
                    </a:moveTo>
                    <a:cubicBezTo>
                      <a:pt x="6952" y="8735"/>
                      <a:pt x="6952" y="8735"/>
                      <a:pt x="6952" y="8735"/>
                    </a:cubicBezTo>
                    <a:cubicBezTo>
                      <a:pt x="7212" y="8743"/>
                      <a:pt x="7212" y="8743"/>
                      <a:pt x="7212" y="8743"/>
                    </a:cubicBezTo>
                    <a:cubicBezTo>
                      <a:pt x="7162" y="8347"/>
                      <a:pt x="7162" y="8347"/>
                      <a:pt x="7162" y="8347"/>
                    </a:cubicBezTo>
                    <a:cubicBezTo>
                      <a:pt x="7098" y="8316"/>
                      <a:pt x="7098" y="8316"/>
                      <a:pt x="7098" y="8316"/>
                    </a:cubicBezTo>
                    <a:cubicBezTo>
                      <a:pt x="7094" y="8035"/>
                      <a:pt x="7094" y="8035"/>
                      <a:pt x="7094" y="8035"/>
                    </a:cubicBezTo>
                    <a:cubicBezTo>
                      <a:pt x="7025" y="8048"/>
                      <a:pt x="7025" y="8048"/>
                      <a:pt x="7025" y="8048"/>
                    </a:cubicBezTo>
                    <a:cubicBezTo>
                      <a:pt x="6883" y="8016"/>
                      <a:pt x="6883" y="8016"/>
                      <a:pt x="6883" y="8016"/>
                    </a:cubicBezTo>
                    <a:cubicBezTo>
                      <a:pt x="6871" y="8298"/>
                      <a:pt x="6871" y="8298"/>
                      <a:pt x="6871" y="8298"/>
                    </a:cubicBezTo>
                    <a:cubicBezTo>
                      <a:pt x="6977" y="8316"/>
                      <a:pt x="6977" y="8316"/>
                      <a:pt x="6977" y="8316"/>
                    </a:cubicBezTo>
                    <a:cubicBezTo>
                      <a:pt x="6977" y="8323"/>
                      <a:pt x="6977" y="8323"/>
                      <a:pt x="6977" y="8323"/>
                    </a:cubicBezTo>
                    <a:cubicBezTo>
                      <a:pt x="6977" y="8323"/>
                      <a:pt x="6952" y="8672"/>
                      <a:pt x="6952" y="8735"/>
                    </a:cubicBezTo>
                    <a:close/>
                    <a:moveTo>
                      <a:pt x="7176" y="8005"/>
                    </a:moveTo>
                    <a:cubicBezTo>
                      <a:pt x="7177" y="7960"/>
                      <a:pt x="7179" y="7644"/>
                      <a:pt x="7179" y="7514"/>
                    </a:cubicBezTo>
                    <a:cubicBezTo>
                      <a:pt x="7179" y="7502"/>
                      <a:pt x="7179" y="7493"/>
                      <a:pt x="7179" y="7485"/>
                    </a:cubicBezTo>
                    <a:cubicBezTo>
                      <a:pt x="7178" y="7485"/>
                      <a:pt x="7178" y="7485"/>
                      <a:pt x="7178" y="7485"/>
                    </a:cubicBezTo>
                    <a:cubicBezTo>
                      <a:pt x="7178" y="7482"/>
                      <a:pt x="7178" y="7482"/>
                      <a:pt x="7178" y="7482"/>
                    </a:cubicBezTo>
                    <a:cubicBezTo>
                      <a:pt x="7127" y="7482"/>
                      <a:pt x="7069" y="7482"/>
                      <a:pt x="7007" y="7483"/>
                    </a:cubicBezTo>
                    <a:cubicBezTo>
                      <a:pt x="7008" y="7511"/>
                      <a:pt x="7008" y="7511"/>
                      <a:pt x="7008" y="7511"/>
                    </a:cubicBezTo>
                    <a:cubicBezTo>
                      <a:pt x="7065" y="7509"/>
                      <a:pt x="7065" y="7509"/>
                      <a:pt x="7065" y="7509"/>
                    </a:cubicBezTo>
                    <a:cubicBezTo>
                      <a:pt x="7066" y="7552"/>
                      <a:pt x="7066" y="7552"/>
                      <a:pt x="7066" y="7552"/>
                    </a:cubicBezTo>
                    <a:cubicBezTo>
                      <a:pt x="7113" y="7551"/>
                      <a:pt x="7113" y="7551"/>
                      <a:pt x="7113" y="7551"/>
                    </a:cubicBezTo>
                    <a:cubicBezTo>
                      <a:pt x="7115" y="7637"/>
                      <a:pt x="7115" y="7637"/>
                      <a:pt x="7115" y="7637"/>
                    </a:cubicBezTo>
                    <a:cubicBezTo>
                      <a:pt x="7014" y="7640"/>
                      <a:pt x="7014" y="7640"/>
                      <a:pt x="7014" y="7640"/>
                    </a:cubicBezTo>
                    <a:cubicBezTo>
                      <a:pt x="7032" y="8033"/>
                      <a:pt x="7032" y="8033"/>
                      <a:pt x="7032" y="8033"/>
                    </a:cubicBezTo>
                    <a:lnTo>
                      <a:pt x="7176" y="8005"/>
                    </a:lnTo>
                    <a:close/>
                    <a:moveTo>
                      <a:pt x="7486" y="7379"/>
                    </a:moveTo>
                    <a:cubicBezTo>
                      <a:pt x="7532" y="7360"/>
                      <a:pt x="7573" y="7337"/>
                      <a:pt x="7606" y="7313"/>
                    </a:cubicBezTo>
                    <a:cubicBezTo>
                      <a:pt x="7642" y="7288"/>
                      <a:pt x="7669" y="7263"/>
                      <a:pt x="7688" y="7245"/>
                    </a:cubicBezTo>
                    <a:cubicBezTo>
                      <a:pt x="7698" y="7235"/>
                      <a:pt x="7705" y="7228"/>
                      <a:pt x="7709" y="7222"/>
                    </a:cubicBezTo>
                    <a:cubicBezTo>
                      <a:pt x="7711" y="7220"/>
                      <a:pt x="7713" y="7219"/>
                      <a:pt x="7714" y="7217"/>
                    </a:cubicBezTo>
                    <a:cubicBezTo>
                      <a:pt x="7716" y="7205"/>
                      <a:pt x="7719" y="7169"/>
                      <a:pt x="7721" y="7125"/>
                    </a:cubicBezTo>
                    <a:cubicBezTo>
                      <a:pt x="7724" y="7076"/>
                      <a:pt x="7727" y="7014"/>
                      <a:pt x="7731" y="6949"/>
                    </a:cubicBezTo>
                    <a:cubicBezTo>
                      <a:pt x="7675" y="6939"/>
                      <a:pt x="7496" y="6905"/>
                      <a:pt x="7465" y="6899"/>
                    </a:cubicBezTo>
                    <a:cubicBezTo>
                      <a:pt x="7403" y="6994"/>
                      <a:pt x="7403" y="6994"/>
                      <a:pt x="7403" y="6994"/>
                    </a:cubicBezTo>
                    <a:cubicBezTo>
                      <a:pt x="7402" y="7009"/>
                      <a:pt x="7396" y="7120"/>
                      <a:pt x="7396" y="7167"/>
                    </a:cubicBezTo>
                    <a:cubicBezTo>
                      <a:pt x="7396" y="7174"/>
                      <a:pt x="7396" y="7179"/>
                      <a:pt x="7396" y="7182"/>
                    </a:cubicBezTo>
                    <a:cubicBezTo>
                      <a:pt x="7396" y="7182"/>
                      <a:pt x="7396" y="7183"/>
                      <a:pt x="7396" y="7183"/>
                    </a:cubicBezTo>
                    <a:cubicBezTo>
                      <a:pt x="7408" y="7185"/>
                      <a:pt x="7442" y="7190"/>
                      <a:pt x="7442" y="7190"/>
                    </a:cubicBezTo>
                    <a:cubicBezTo>
                      <a:pt x="7447" y="7191"/>
                      <a:pt x="7447" y="7191"/>
                      <a:pt x="7447" y="7191"/>
                    </a:cubicBezTo>
                    <a:lnTo>
                      <a:pt x="7486" y="7379"/>
                    </a:lnTo>
                    <a:close/>
                    <a:moveTo>
                      <a:pt x="7731" y="6935"/>
                    </a:moveTo>
                    <a:cubicBezTo>
                      <a:pt x="7738" y="6813"/>
                      <a:pt x="7747" y="6682"/>
                      <a:pt x="7761" y="6598"/>
                    </a:cubicBezTo>
                    <a:cubicBezTo>
                      <a:pt x="7461" y="6610"/>
                      <a:pt x="7461" y="6610"/>
                      <a:pt x="7461" y="6610"/>
                    </a:cubicBezTo>
                    <a:cubicBezTo>
                      <a:pt x="7461" y="6614"/>
                      <a:pt x="7461" y="6618"/>
                      <a:pt x="7461" y="6622"/>
                    </a:cubicBezTo>
                    <a:cubicBezTo>
                      <a:pt x="7461" y="6691"/>
                      <a:pt x="7468" y="6855"/>
                      <a:pt x="7469" y="6886"/>
                    </a:cubicBezTo>
                    <a:cubicBezTo>
                      <a:pt x="7486" y="6889"/>
                      <a:pt x="7544" y="6900"/>
                      <a:pt x="7603" y="6911"/>
                    </a:cubicBezTo>
                    <a:cubicBezTo>
                      <a:pt x="7654" y="6921"/>
                      <a:pt x="7706" y="6931"/>
                      <a:pt x="7731" y="6935"/>
                    </a:cubicBezTo>
                    <a:close/>
                    <a:moveTo>
                      <a:pt x="7457" y="5390"/>
                    </a:moveTo>
                    <a:cubicBezTo>
                      <a:pt x="7034" y="5255"/>
                      <a:pt x="7034" y="5255"/>
                      <a:pt x="7034" y="5255"/>
                    </a:cubicBezTo>
                    <a:cubicBezTo>
                      <a:pt x="7036" y="5250"/>
                      <a:pt x="7036" y="5250"/>
                      <a:pt x="7036" y="5250"/>
                    </a:cubicBezTo>
                    <a:cubicBezTo>
                      <a:pt x="6966" y="5367"/>
                      <a:pt x="6966" y="5367"/>
                      <a:pt x="6966" y="5367"/>
                    </a:cubicBezTo>
                    <a:cubicBezTo>
                      <a:pt x="6965" y="5383"/>
                      <a:pt x="6957" y="5504"/>
                      <a:pt x="6948" y="5643"/>
                    </a:cubicBezTo>
                    <a:cubicBezTo>
                      <a:pt x="7319" y="5701"/>
                      <a:pt x="7319" y="5701"/>
                      <a:pt x="7319" y="5701"/>
                    </a:cubicBezTo>
                    <a:cubicBezTo>
                      <a:pt x="7322" y="5668"/>
                      <a:pt x="7322" y="5668"/>
                      <a:pt x="7322" y="5668"/>
                    </a:cubicBezTo>
                    <a:lnTo>
                      <a:pt x="7457" y="5390"/>
                    </a:lnTo>
                    <a:close/>
                    <a:moveTo>
                      <a:pt x="7893" y="4495"/>
                    </a:moveTo>
                    <a:cubicBezTo>
                      <a:pt x="8009" y="4257"/>
                      <a:pt x="8009" y="4257"/>
                      <a:pt x="8009" y="4257"/>
                    </a:cubicBezTo>
                    <a:cubicBezTo>
                      <a:pt x="7987" y="4245"/>
                      <a:pt x="7950" y="4226"/>
                      <a:pt x="7894" y="4198"/>
                    </a:cubicBezTo>
                    <a:cubicBezTo>
                      <a:pt x="7799" y="4150"/>
                      <a:pt x="7654" y="4078"/>
                      <a:pt x="7450" y="3980"/>
                    </a:cubicBezTo>
                    <a:cubicBezTo>
                      <a:pt x="7434" y="3972"/>
                      <a:pt x="7418" y="3965"/>
                      <a:pt x="7402" y="3958"/>
                    </a:cubicBezTo>
                    <a:cubicBezTo>
                      <a:pt x="7401" y="3960"/>
                      <a:pt x="7401" y="3962"/>
                      <a:pt x="7400" y="3964"/>
                    </a:cubicBezTo>
                    <a:cubicBezTo>
                      <a:pt x="7385" y="4010"/>
                      <a:pt x="7358" y="4090"/>
                      <a:pt x="7326" y="4183"/>
                    </a:cubicBezTo>
                    <a:cubicBezTo>
                      <a:pt x="7326" y="4184"/>
                      <a:pt x="7326" y="4184"/>
                      <a:pt x="7326" y="4184"/>
                    </a:cubicBezTo>
                    <a:cubicBezTo>
                      <a:pt x="7325" y="4184"/>
                      <a:pt x="7325" y="4184"/>
                      <a:pt x="7325" y="4184"/>
                    </a:cubicBezTo>
                    <a:cubicBezTo>
                      <a:pt x="7321" y="4196"/>
                      <a:pt x="7317" y="4208"/>
                      <a:pt x="7313" y="4221"/>
                    </a:cubicBezTo>
                    <a:cubicBezTo>
                      <a:pt x="7477" y="4379"/>
                      <a:pt x="7477" y="4379"/>
                      <a:pt x="7477" y="4379"/>
                    </a:cubicBezTo>
                    <a:cubicBezTo>
                      <a:pt x="7781" y="4398"/>
                      <a:pt x="7781" y="4398"/>
                      <a:pt x="7781" y="4398"/>
                    </a:cubicBezTo>
                    <a:lnTo>
                      <a:pt x="7893" y="4495"/>
                    </a:lnTo>
                    <a:close/>
                    <a:moveTo>
                      <a:pt x="8038" y="4198"/>
                    </a:moveTo>
                    <a:cubicBezTo>
                      <a:pt x="8549" y="3148"/>
                      <a:pt x="8549" y="3148"/>
                      <a:pt x="8549" y="3148"/>
                    </a:cubicBezTo>
                    <a:cubicBezTo>
                      <a:pt x="8548" y="3148"/>
                      <a:pt x="8548" y="3147"/>
                      <a:pt x="8547" y="3147"/>
                    </a:cubicBezTo>
                    <a:cubicBezTo>
                      <a:pt x="8411" y="3059"/>
                      <a:pt x="7984" y="2773"/>
                      <a:pt x="7880" y="2703"/>
                    </a:cubicBezTo>
                    <a:cubicBezTo>
                      <a:pt x="7876" y="2715"/>
                      <a:pt x="7871" y="2731"/>
                      <a:pt x="7865" y="2749"/>
                    </a:cubicBezTo>
                    <a:cubicBezTo>
                      <a:pt x="7823" y="2885"/>
                      <a:pt x="7736" y="3187"/>
                      <a:pt x="7660" y="3455"/>
                    </a:cubicBezTo>
                    <a:cubicBezTo>
                      <a:pt x="7595" y="3684"/>
                      <a:pt x="7538" y="3887"/>
                      <a:pt x="7523" y="3942"/>
                    </a:cubicBezTo>
                    <a:cubicBezTo>
                      <a:pt x="7816" y="4083"/>
                      <a:pt x="7979" y="4167"/>
                      <a:pt x="8038" y="4198"/>
                    </a:cubicBezTo>
                    <a:close/>
                    <a:moveTo>
                      <a:pt x="8569" y="3107"/>
                    </a:moveTo>
                    <a:cubicBezTo>
                      <a:pt x="9249" y="1712"/>
                      <a:pt x="9249" y="1712"/>
                      <a:pt x="9249" y="1712"/>
                    </a:cubicBezTo>
                    <a:cubicBezTo>
                      <a:pt x="9104" y="1631"/>
                      <a:pt x="8856" y="1476"/>
                      <a:pt x="8726" y="1396"/>
                    </a:cubicBezTo>
                    <a:cubicBezTo>
                      <a:pt x="8677" y="1473"/>
                      <a:pt x="8499" y="1750"/>
                      <a:pt x="8320" y="2028"/>
                    </a:cubicBezTo>
                    <a:cubicBezTo>
                      <a:pt x="8214" y="2192"/>
                      <a:pt x="8108" y="2355"/>
                      <a:pt x="8028" y="2477"/>
                    </a:cubicBezTo>
                    <a:cubicBezTo>
                      <a:pt x="7987" y="2539"/>
                      <a:pt x="7953" y="2590"/>
                      <a:pt x="7929" y="2626"/>
                    </a:cubicBezTo>
                    <a:cubicBezTo>
                      <a:pt x="7918" y="2642"/>
                      <a:pt x="7909" y="2654"/>
                      <a:pt x="7902" y="2664"/>
                    </a:cubicBezTo>
                    <a:cubicBezTo>
                      <a:pt x="7954" y="2699"/>
                      <a:pt x="8098" y="2795"/>
                      <a:pt x="8244" y="2892"/>
                    </a:cubicBezTo>
                    <a:cubicBezTo>
                      <a:pt x="8334" y="2953"/>
                      <a:pt x="8425" y="3013"/>
                      <a:pt x="8494" y="3059"/>
                    </a:cubicBezTo>
                    <a:cubicBezTo>
                      <a:pt x="8524" y="3078"/>
                      <a:pt x="8549" y="3095"/>
                      <a:pt x="8569" y="3107"/>
                    </a:cubicBezTo>
                    <a:close/>
                    <a:moveTo>
                      <a:pt x="8002" y="923"/>
                    </a:moveTo>
                    <a:cubicBezTo>
                      <a:pt x="8002" y="923"/>
                      <a:pt x="8002" y="923"/>
                      <a:pt x="8002" y="923"/>
                    </a:cubicBezTo>
                    <a:cubicBezTo>
                      <a:pt x="7948" y="887"/>
                      <a:pt x="7706" y="735"/>
                      <a:pt x="7534" y="691"/>
                    </a:cubicBezTo>
                    <a:cubicBezTo>
                      <a:pt x="7476" y="872"/>
                      <a:pt x="7476" y="872"/>
                      <a:pt x="7476" y="872"/>
                    </a:cubicBezTo>
                    <a:cubicBezTo>
                      <a:pt x="7765" y="1015"/>
                      <a:pt x="7765" y="1015"/>
                      <a:pt x="7765" y="1015"/>
                    </a:cubicBezTo>
                    <a:cubicBezTo>
                      <a:pt x="7836" y="877"/>
                      <a:pt x="7836" y="877"/>
                      <a:pt x="7836" y="877"/>
                    </a:cubicBezTo>
                    <a:cubicBezTo>
                      <a:pt x="7970" y="949"/>
                      <a:pt x="7970" y="949"/>
                      <a:pt x="7970" y="949"/>
                    </a:cubicBezTo>
                    <a:cubicBezTo>
                      <a:pt x="7902" y="1082"/>
                      <a:pt x="7902" y="1082"/>
                      <a:pt x="7902" y="1082"/>
                    </a:cubicBezTo>
                    <a:cubicBezTo>
                      <a:pt x="7918" y="1090"/>
                      <a:pt x="7918" y="1090"/>
                      <a:pt x="7918" y="1090"/>
                    </a:cubicBezTo>
                    <a:lnTo>
                      <a:pt x="8002" y="923"/>
                    </a:lnTo>
                    <a:close/>
                    <a:moveTo>
                      <a:pt x="7472" y="885"/>
                    </a:moveTo>
                    <a:cubicBezTo>
                      <a:pt x="7422" y="1042"/>
                      <a:pt x="7422" y="1042"/>
                      <a:pt x="7422" y="1042"/>
                    </a:cubicBezTo>
                    <a:cubicBezTo>
                      <a:pt x="7688" y="1167"/>
                      <a:pt x="7688" y="1167"/>
                      <a:pt x="7688" y="1167"/>
                    </a:cubicBezTo>
                    <a:cubicBezTo>
                      <a:pt x="7759" y="1027"/>
                      <a:pt x="7759" y="1027"/>
                      <a:pt x="7759" y="1027"/>
                    </a:cubicBezTo>
                    <a:lnTo>
                      <a:pt x="7472" y="885"/>
                    </a:lnTo>
                    <a:close/>
                    <a:moveTo>
                      <a:pt x="7417" y="1056"/>
                    </a:moveTo>
                    <a:cubicBezTo>
                      <a:pt x="7366" y="1217"/>
                      <a:pt x="7366" y="1217"/>
                      <a:pt x="7366" y="1217"/>
                    </a:cubicBezTo>
                    <a:cubicBezTo>
                      <a:pt x="7603" y="1334"/>
                      <a:pt x="7603" y="1334"/>
                      <a:pt x="7603" y="1334"/>
                    </a:cubicBezTo>
                    <a:cubicBezTo>
                      <a:pt x="7682" y="1179"/>
                      <a:pt x="7682" y="1179"/>
                      <a:pt x="7682" y="1179"/>
                    </a:cubicBezTo>
                    <a:lnTo>
                      <a:pt x="7417" y="1056"/>
                    </a:lnTo>
                    <a:close/>
                    <a:moveTo>
                      <a:pt x="7408" y="869"/>
                    </a:moveTo>
                    <a:cubicBezTo>
                      <a:pt x="7170" y="824"/>
                      <a:pt x="7170" y="824"/>
                      <a:pt x="7170" y="824"/>
                    </a:cubicBezTo>
                    <a:cubicBezTo>
                      <a:pt x="7120" y="971"/>
                      <a:pt x="7120" y="971"/>
                      <a:pt x="7120" y="971"/>
                    </a:cubicBezTo>
                    <a:cubicBezTo>
                      <a:pt x="7211" y="990"/>
                      <a:pt x="7310" y="1011"/>
                      <a:pt x="7359" y="1022"/>
                    </a:cubicBezTo>
                    <a:lnTo>
                      <a:pt x="7408" y="869"/>
                    </a:lnTo>
                    <a:close/>
                    <a:moveTo>
                      <a:pt x="7191" y="723"/>
                    </a:moveTo>
                    <a:cubicBezTo>
                      <a:pt x="7066" y="681"/>
                      <a:pt x="7066" y="681"/>
                      <a:pt x="7066" y="681"/>
                    </a:cubicBezTo>
                    <a:cubicBezTo>
                      <a:pt x="7032" y="783"/>
                      <a:pt x="7032" y="783"/>
                      <a:pt x="7032" y="783"/>
                    </a:cubicBezTo>
                    <a:cubicBezTo>
                      <a:pt x="7162" y="808"/>
                      <a:pt x="7162" y="808"/>
                      <a:pt x="7162" y="808"/>
                    </a:cubicBezTo>
                    <a:lnTo>
                      <a:pt x="7191" y="723"/>
                    </a:lnTo>
                    <a:close/>
                    <a:moveTo>
                      <a:pt x="7027" y="796"/>
                    </a:moveTo>
                    <a:cubicBezTo>
                      <a:pt x="6977" y="942"/>
                      <a:pt x="6977" y="942"/>
                      <a:pt x="6977" y="942"/>
                    </a:cubicBezTo>
                    <a:cubicBezTo>
                      <a:pt x="7011" y="949"/>
                      <a:pt x="7058" y="958"/>
                      <a:pt x="7107" y="969"/>
                    </a:cubicBezTo>
                    <a:cubicBezTo>
                      <a:pt x="7157" y="821"/>
                      <a:pt x="7157" y="821"/>
                      <a:pt x="7157" y="821"/>
                    </a:cubicBezTo>
                    <a:lnTo>
                      <a:pt x="7027" y="796"/>
                    </a:lnTo>
                    <a:close/>
                    <a:moveTo>
                      <a:pt x="6973" y="956"/>
                    </a:moveTo>
                    <a:cubicBezTo>
                      <a:pt x="6916" y="1121"/>
                      <a:pt x="6916" y="1121"/>
                      <a:pt x="6916" y="1121"/>
                    </a:cubicBezTo>
                    <a:cubicBezTo>
                      <a:pt x="7047" y="1147"/>
                      <a:pt x="7047" y="1147"/>
                      <a:pt x="7047" y="1147"/>
                    </a:cubicBezTo>
                    <a:cubicBezTo>
                      <a:pt x="7103" y="982"/>
                      <a:pt x="7103" y="982"/>
                      <a:pt x="7103" y="982"/>
                    </a:cubicBezTo>
                    <a:cubicBezTo>
                      <a:pt x="7053" y="972"/>
                      <a:pt x="7006" y="962"/>
                      <a:pt x="6973" y="956"/>
                    </a:cubicBezTo>
                    <a:close/>
                    <a:moveTo>
                      <a:pt x="6960" y="953"/>
                    </a:moveTo>
                    <a:cubicBezTo>
                      <a:pt x="6954" y="952"/>
                      <a:pt x="6949" y="951"/>
                      <a:pt x="6944" y="950"/>
                    </a:cubicBezTo>
                    <a:cubicBezTo>
                      <a:pt x="6927" y="1001"/>
                      <a:pt x="6908" y="1057"/>
                      <a:pt x="6888" y="1116"/>
                    </a:cubicBezTo>
                    <a:cubicBezTo>
                      <a:pt x="6903" y="1119"/>
                      <a:pt x="6903" y="1119"/>
                      <a:pt x="6903" y="1119"/>
                    </a:cubicBezTo>
                    <a:lnTo>
                      <a:pt x="6960" y="953"/>
                    </a:lnTo>
                    <a:close/>
                    <a:moveTo>
                      <a:pt x="6884" y="1129"/>
                    </a:moveTo>
                    <a:cubicBezTo>
                      <a:pt x="6865" y="1184"/>
                      <a:pt x="6845" y="1242"/>
                      <a:pt x="6825" y="1302"/>
                    </a:cubicBezTo>
                    <a:cubicBezTo>
                      <a:pt x="6830" y="1302"/>
                      <a:pt x="6835" y="1303"/>
                      <a:pt x="6840" y="1304"/>
                    </a:cubicBezTo>
                    <a:cubicBezTo>
                      <a:pt x="6899" y="1132"/>
                      <a:pt x="6899" y="1132"/>
                      <a:pt x="6899" y="1132"/>
                    </a:cubicBezTo>
                    <a:lnTo>
                      <a:pt x="6884" y="1129"/>
                    </a:lnTo>
                    <a:close/>
                    <a:moveTo>
                      <a:pt x="6821" y="1315"/>
                    </a:moveTo>
                    <a:cubicBezTo>
                      <a:pt x="6802" y="1369"/>
                      <a:pt x="6783" y="1425"/>
                      <a:pt x="6764" y="1482"/>
                    </a:cubicBezTo>
                    <a:cubicBezTo>
                      <a:pt x="6768" y="1483"/>
                      <a:pt x="6773" y="1484"/>
                      <a:pt x="6779" y="1485"/>
                    </a:cubicBezTo>
                    <a:cubicBezTo>
                      <a:pt x="6836" y="1317"/>
                      <a:pt x="6836" y="1317"/>
                      <a:pt x="6836" y="1317"/>
                    </a:cubicBezTo>
                    <a:cubicBezTo>
                      <a:pt x="6830" y="1317"/>
                      <a:pt x="6825" y="1316"/>
                      <a:pt x="6821" y="1315"/>
                    </a:cubicBezTo>
                    <a:close/>
                    <a:moveTo>
                      <a:pt x="6759" y="1495"/>
                    </a:moveTo>
                    <a:cubicBezTo>
                      <a:pt x="6740" y="1552"/>
                      <a:pt x="6721" y="1609"/>
                      <a:pt x="6701" y="1667"/>
                    </a:cubicBezTo>
                    <a:cubicBezTo>
                      <a:pt x="6706" y="1668"/>
                      <a:pt x="6710" y="1668"/>
                      <a:pt x="6716" y="1670"/>
                    </a:cubicBezTo>
                    <a:cubicBezTo>
                      <a:pt x="6774" y="1498"/>
                      <a:pt x="6774" y="1498"/>
                      <a:pt x="6774" y="1498"/>
                    </a:cubicBezTo>
                    <a:cubicBezTo>
                      <a:pt x="6769" y="1497"/>
                      <a:pt x="6764" y="1496"/>
                      <a:pt x="6759" y="1495"/>
                    </a:cubicBezTo>
                    <a:close/>
                    <a:moveTo>
                      <a:pt x="6697" y="1680"/>
                    </a:moveTo>
                    <a:cubicBezTo>
                      <a:pt x="6681" y="1726"/>
                      <a:pt x="6665" y="1773"/>
                      <a:pt x="6650" y="1819"/>
                    </a:cubicBezTo>
                    <a:cubicBezTo>
                      <a:pt x="6664" y="1822"/>
                      <a:pt x="6664" y="1822"/>
                      <a:pt x="6664" y="1822"/>
                    </a:cubicBezTo>
                    <a:cubicBezTo>
                      <a:pt x="6711" y="1683"/>
                      <a:pt x="6711" y="1683"/>
                      <a:pt x="6711" y="1683"/>
                    </a:cubicBezTo>
                    <a:cubicBezTo>
                      <a:pt x="6706" y="1682"/>
                      <a:pt x="6701" y="1681"/>
                      <a:pt x="6697" y="1680"/>
                    </a:cubicBezTo>
                    <a:close/>
                    <a:moveTo>
                      <a:pt x="6645" y="1832"/>
                    </a:moveTo>
                    <a:cubicBezTo>
                      <a:pt x="6627" y="1887"/>
                      <a:pt x="6608" y="1941"/>
                      <a:pt x="6590" y="1995"/>
                    </a:cubicBezTo>
                    <a:cubicBezTo>
                      <a:pt x="6604" y="1998"/>
                      <a:pt x="6604" y="1998"/>
                      <a:pt x="6604" y="1998"/>
                    </a:cubicBezTo>
                    <a:cubicBezTo>
                      <a:pt x="6659" y="1835"/>
                      <a:pt x="6659" y="1835"/>
                      <a:pt x="6659" y="1835"/>
                    </a:cubicBezTo>
                    <a:lnTo>
                      <a:pt x="6645" y="1832"/>
                    </a:lnTo>
                    <a:close/>
                    <a:moveTo>
                      <a:pt x="6586" y="2008"/>
                    </a:moveTo>
                    <a:cubicBezTo>
                      <a:pt x="6566" y="2064"/>
                      <a:pt x="6548" y="2120"/>
                      <a:pt x="6529" y="2174"/>
                    </a:cubicBezTo>
                    <a:cubicBezTo>
                      <a:pt x="6543" y="2177"/>
                      <a:pt x="6543" y="2177"/>
                      <a:pt x="6543" y="2177"/>
                    </a:cubicBezTo>
                    <a:cubicBezTo>
                      <a:pt x="6599" y="2011"/>
                      <a:pt x="6599" y="2011"/>
                      <a:pt x="6599" y="2011"/>
                    </a:cubicBezTo>
                    <a:lnTo>
                      <a:pt x="6586" y="2008"/>
                    </a:lnTo>
                    <a:close/>
                    <a:moveTo>
                      <a:pt x="6525" y="2187"/>
                    </a:moveTo>
                    <a:cubicBezTo>
                      <a:pt x="6503" y="2251"/>
                      <a:pt x="6482" y="2313"/>
                      <a:pt x="6462" y="2371"/>
                    </a:cubicBezTo>
                    <a:cubicBezTo>
                      <a:pt x="6476" y="2374"/>
                      <a:pt x="6476" y="2374"/>
                      <a:pt x="6476" y="2374"/>
                    </a:cubicBezTo>
                    <a:cubicBezTo>
                      <a:pt x="6538" y="2190"/>
                      <a:pt x="6538" y="2190"/>
                      <a:pt x="6538" y="2190"/>
                    </a:cubicBezTo>
                    <a:lnTo>
                      <a:pt x="6525" y="2187"/>
                    </a:lnTo>
                    <a:close/>
                    <a:moveTo>
                      <a:pt x="6458" y="2384"/>
                    </a:moveTo>
                    <a:cubicBezTo>
                      <a:pt x="6433" y="2456"/>
                      <a:pt x="6411" y="2523"/>
                      <a:pt x="6391" y="2583"/>
                    </a:cubicBezTo>
                    <a:cubicBezTo>
                      <a:pt x="6403" y="2586"/>
                      <a:pt x="6403" y="2586"/>
                      <a:pt x="6403" y="2586"/>
                    </a:cubicBezTo>
                    <a:cubicBezTo>
                      <a:pt x="6471" y="2387"/>
                      <a:pt x="6471" y="2387"/>
                      <a:pt x="6471" y="2387"/>
                    </a:cubicBezTo>
                    <a:lnTo>
                      <a:pt x="6458" y="2384"/>
                    </a:lnTo>
                    <a:close/>
                    <a:moveTo>
                      <a:pt x="6386" y="2596"/>
                    </a:moveTo>
                    <a:cubicBezTo>
                      <a:pt x="6345" y="2716"/>
                      <a:pt x="6316" y="2803"/>
                      <a:pt x="6305" y="2836"/>
                    </a:cubicBezTo>
                    <a:cubicBezTo>
                      <a:pt x="6317" y="2838"/>
                      <a:pt x="6317" y="2838"/>
                      <a:pt x="6317" y="2838"/>
                    </a:cubicBezTo>
                    <a:cubicBezTo>
                      <a:pt x="6399" y="2599"/>
                      <a:pt x="6399" y="2599"/>
                      <a:pt x="6399" y="2599"/>
                    </a:cubicBezTo>
                    <a:lnTo>
                      <a:pt x="6386" y="2596"/>
                    </a:lnTo>
                    <a:close/>
                    <a:moveTo>
                      <a:pt x="6300" y="2849"/>
                    </a:moveTo>
                    <a:cubicBezTo>
                      <a:pt x="6255" y="3082"/>
                      <a:pt x="6255" y="3082"/>
                      <a:pt x="6255" y="3082"/>
                    </a:cubicBezTo>
                    <a:cubicBezTo>
                      <a:pt x="6270" y="3083"/>
                      <a:pt x="6270" y="3083"/>
                      <a:pt x="6270" y="3083"/>
                    </a:cubicBezTo>
                    <a:cubicBezTo>
                      <a:pt x="6314" y="2851"/>
                      <a:pt x="6314" y="2851"/>
                      <a:pt x="6314" y="2851"/>
                    </a:cubicBezTo>
                    <a:lnTo>
                      <a:pt x="6300" y="2849"/>
                    </a:lnTo>
                    <a:close/>
                    <a:moveTo>
                      <a:pt x="6252" y="3096"/>
                    </a:moveTo>
                    <a:cubicBezTo>
                      <a:pt x="6214" y="3294"/>
                      <a:pt x="6214" y="3294"/>
                      <a:pt x="6214" y="3294"/>
                    </a:cubicBezTo>
                    <a:cubicBezTo>
                      <a:pt x="6314" y="3302"/>
                      <a:pt x="6640" y="3329"/>
                      <a:pt x="6734" y="3334"/>
                    </a:cubicBezTo>
                    <a:cubicBezTo>
                      <a:pt x="6755" y="3137"/>
                      <a:pt x="6755" y="3137"/>
                      <a:pt x="6755" y="3137"/>
                    </a:cubicBezTo>
                    <a:cubicBezTo>
                      <a:pt x="6426" y="3110"/>
                      <a:pt x="6426" y="3110"/>
                      <a:pt x="6426" y="3110"/>
                    </a:cubicBezTo>
                    <a:cubicBezTo>
                      <a:pt x="6387" y="3293"/>
                      <a:pt x="6387" y="3293"/>
                      <a:pt x="6387" y="3293"/>
                    </a:cubicBezTo>
                    <a:cubicBezTo>
                      <a:pt x="6238" y="3255"/>
                      <a:pt x="6238" y="3255"/>
                      <a:pt x="6238" y="3255"/>
                    </a:cubicBezTo>
                    <a:cubicBezTo>
                      <a:pt x="6239" y="3249"/>
                      <a:pt x="6239" y="3249"/>
                      <a:pt x="6239" y="3249"/>
                    </a:cubicBezTo>
                    <a:cubicBezTo>
                      <a:pt x="6267" y="3097"/>
                      <a:pt x="6267" y="3097"/>
                      <a:pt x="6267" y="3097"/>
                    </a:cubicBezTo>
                    <a:lnTo>
                      <a:pt x="6252" y="3096"/>
                    </a:lnTo>
                    <a:close/>
                    <a:moveTo>
                      <a:pt x="6233" y="2849"/>
                    </a:moveTo>
                    <a:cubicBezTo>
                      <a:pt x="6212" y="2850"/>
                      <a:pt x="6176" y="2851"/>
                      <a:pt x="6128" y="2853"/>
                    </a:cubicBezTo>
                    <a:cubicBezTo>
                      <a:pt x="6096" y="2854"/>
                      <a:pt x="6059" y="2856"/>
                      <a:pt x="6018" y="2858"/>
                    </a:cubicBezTo>
                    <a:cubicBezTo>
                      <a:pt x="5907" y="4327"/>
                      <a:pt x="5907" y="4327"/>
                      <a:pt x="5907" y="4327"/>
                    </a:cubicBezTo>
                    <a:cubicBezTo>
                      <a:pt x="5917" y="4351"/>
                      <a:pt x="5917" y="4351"/>
                      <a:pt x="5917" y="4351"/>
                    </a:cubicBezTo>
                    <a:cubicBezTo>
                      <a:pt x="5967" y="4203"/>
                      <a:pt x="5967" y="4203"/>
                      <a:pt x="5967" y="4203"/>
                    </a:cubicBezTo>
                    <a:cubicBezTo>
                      <a:pt x="6065" y="3715"/>
                      <a:pt x="6065" y="3715"/>
                      <a:pt x="6065" y="3715"/>
                    </a:cubicBezTo>
                    <a:lnTo>
                      <a:pt x="6233" y="2849"/>
                    </a:lnTo>
                    <a:close/>
                    <a:moveTo>
                      <a:pt x="6043" y="2576"/>
                    </a:moveTo>
                    <a:cubicBezTo>
                      <a:pt x="6031" y="2576"/>
                      <a:pt x="6003" y="2575"/>
                      <a:pt x="5966" y="2574"/>
                    </a:cubicBezTo>
                    <a:cubicBezTo>
                      <a:pt x="5902" y="2752"/>
                      <a:pt x="5902" y="2752"/>
                      <a:pt x="5902" y="2752"/>
                    </a:cubicBezTo>
                    <a:cubicBezTo>
                      <a:pt x="5760" y="2698"/>
                      <a:pt x="5760" y="2698"/>
                      <a:pt x="5760" y="2698"/>
                    </a:cubicBezTo>
                    <a:cubicBezTo>
                      <a:pt x="5762" y="2691"/>
                      <a:pt x="5762" y="2691"/>
                      <a:pt x="5762" y="2691"/>
                    </a:cubicBezTo>
                    <a:cubicBezTo>
                      <a:pt x="5807" y="2567"/>
                      <a:pt x="5807" y="2567"/>
                      <a:pt x="5807" y="2567"/>
                    </a:cubicBezTo>
                    <a:cubicBezTo>
                      <a:pt x="5743" y="2565"/>
                      <a:pt x="5691" y="2563"/>
                      <a:pt x="5689" y="2563"/>
                    </a:cubicBezTo>
                    <a:cubicBezTo>
                      <a:pt x="5689" y="2549"/>
                      <a:pt x="5689" y="2549"/>
                      <a:pt x="5689" y="2549"/>
                    </a:cubicBezTo>
                    <a:cubicBezTo>
                      <a:pt x="5692" y="2549"/>
                      <a:pt x="5746" y="2551"/>
                      <a:pt x="5811" y="2554"/>
                    </a:cubicBezTo>
                    <a:cubicBezTo>
                      <a:pt x="5859" y="2422"/>
                      <a:pt x="5859" y="2422"/>
                      <a:pt x="5859" y="2422"/>
                    </a:cubicBezTo>
                    <a:cubicBezTo>
                      <a:pt x="5703" y="2397"/>
                      <a:pt x="5703" y="2397"/>
                      <a:pt x="5703" y="2397"/>
                    </a:cubicBezTo>
                    <a:cubicBezTo>
                      <a:pt x="5686" y="2458"/>
                      <a:pt x="5686" y="2458"/>
                      <a:pt x="5686" y="2458"/>
                    </a:cubicBezTo>
                    <a:cubicBezTo>
                      <a:pt x="5692" y="2815"/>
                      <a:pt x="5692" y="2815"/>
                      <a:pt x="5692" y="2815"/>
                    </a:cubicBezTo>
                    <a:cubicBezTo>
                      <a:pt x="5793" y="2806"/>
                      <a:pt x="5886" y="2800"/>
                      <a:pt x="5965" y="2795"/>
                    </a:cubicBezTo>
                    <a:lnTo>
                      <a:pt x="6043" y="2576"/>
                    </a:lnTo>
                    <a:close/>
                    <a:moveTo>
                      <a:pt x="6047" y="2563"/>
                    </a:moveTo>
                    <a:cubicBezTo>
                      <a:pt x="6084" y="2459"/>
                      <a:pt x="6084" y="2459"/>
                      <a:pt x="6084" y="2459"/>
                    </a:cubicBezTo>
                    <a:cubicBezTo>
                      <a:pt x="6012" y="2447"/>
                      <a:pt x="6012" y="2447"/>
                      <a:pt x="6012" y="2447"/>
                    </a:cubicBezTo>
                    <a:cubicBezTo>
                      <a:pt x="5971" y="2560"/>
                      <a:pt x="5971" y="2560"/>
                      <a:pt x="5971" y="2560"/>
                    </a:cubicBezTo>
                    <a:cubicBezTo>
                      <a:pt x="6014" y="2561"/>
                      <a:pt x="6044" y="2563"/>
                      <a:pt x="6047" y="2563"/>
                    </a:cubicBezTo>
                    <a:close/>
                    <a:moveTo>
                      <a:pt x="6089" y="2445"/>
                    </a:moveTo>
                    <a:cubicBezTo>
                      <a:pt x="6134" y="2319"/>
                      <a:pt x="6134" y="2319"/>
                      <a:pt x="6134" y="2319"/>
                    </a:cubicBezTo>
                    <a:cubicBezTo>
                      <a:pt x="6062" y="2307"/>
                      <a:pt x="6062" y="2307"/>
                      <a:pt x="6062" y="2307"/>
                    </a:cubicBezTo>
                    <a:cubicBezTo>
                      <a:pt x="6017" y="2434"/>
                      <a:pt x="6017" y="2434"/>
                      <a:pt x="6017" y="2434"/>
                    </a:cubicBezTo>
                    <a:lnTo>
                      <a:pt x="6089" y="2445"/>
                    </a:lnTo>
                    <a:close/>
                    <a:moveTo>
                      <a:pt x="6139" y="2305"/>
                    </a:moveTo>
                    <a:cubicBezTo>
                      <a:pt x="6270" y="1933"/>
                      <a:pt x="6270" y="1933"/>
                      <a:pt x="6270" y="1933"/>
                    </a:cubicBezTo>
                    <a:cubicBezTo>
                      <a:pt x="6202" y="1918"/>
                      <a:pt x="6202" y="1918"/>
                      <a:pt x="6202" y="1918"/>
                    </a:cubicBezTo>
                    <a:cubicBezTo>
                      <a:pt x="6163" y="2026"/>
                      <a:pt x="6163" y="2026"/>
                      <a:pt x="6163" y="2026"/>
                    </a:cubicBezTo>
                    <a:cubicBezTo>
                      <a:pt x="6229" y="2038"/>
                      <a:pt x="6229" y="2038"/>
                      <a:pt x="6229" y="2038"/>
                    </a:cubicBezTo>
                    <a:cubicBezTo>
                      <a:pt x="6226" y="2052"/>
                      <a:pt x="6226" y="2052"/>
                      <a:pt x="6226" y="2052"/>
                    </a:cubicBezTo>
                    <a:cubicBezTo>
                      <a:pt x="6159" y="2039"/>
                      <a:pt x="6159" y="2039"/>
                      <a:pt x="6159" y="2039"/>
                    </a:cubicBezTo>
                    <a:cubicBezTo>
                      <a:pt x="6117" y="2155"/>
                      <a:pt x="6117" y="2155"/>
                      <a:pt x="6117" y="2155"/>
                    </a:cubicBezTo>
                    <a:cubicBezTo>
                      <a:pt x="6183" y="2166"/>
                      <a:pt x="6183" y="2166"/>
                      <a:pt x="6183" y="2166"/>
                    </a:cubicBezTo>
                    <a:cubicBezTo>
                      <a:pt x="6180" y="2180"/>
                      <a:pt x="6180" y="2180"/>
                      <a:pt x="6180" y="2180"/>
                    </a:cubicBezTo>
                    <a:cubicBezTo>
                      <a:pt x="6112" y="2168"/>
                      <a:pt x="6112" y="2168"/>
                      <a:pt x="6112" y="2168"/>
                    </a:cubicBezTo>
                    <a:cubicBezTo>
                      <a:pt x="6067" y="2294"/>
                      <a:pt x="6067" y="2294"/>
                      <a:pt x="6067" y="2294"/>
                    </a:cubicBezTo>
                    <a:lnTo>
                      <a:pt x="6139" y="2305"/>
                    </a:lnTo>
                    <a:close/>
                    <a:moveTo>
                      <a:pt x="6275" y="1920"/>
                    </a:moveTo>
                    <a:cubicBezTo>
                      <a:pt x="6320" y="1793"/>
                      <a:pt x="6320" y="1793"/>
                      <a:pt x="6320" y="1793"/>
                    </a:cubicBezTo>
                    <a:cubicBezTo>
                      <a:pt x="6251" y="1781"/>
                      <a:pt x="6251" y="1781"/>
                      <a:pt x="6251" y="1781"/>
                    </a:cubicBezTo>
                    <a:cubicBezTo>
                      <a:pt x="6207" y="1904"/>
                      <a:pt x="6207" y="1904"/>
                      <a:pt x="6207" y="1904"/>
                    </a:cubicBezTo>
                    <a:lnTo>
                      <a:pt x="6275" y="1920"/>
                    </a:lnTo>
                    <a:close/>
                    <a:moveTo>
                      <a:pt x="6325" y="1780"/>
                    </a:moveTo>
                    <a:cubicBezTo>
                      <a:pt x="6363" y="1671"/>
                      <a:pt x="6363" y="1671"/>
                      <a:pt x="6363" y="1671"/>
                    </a:cubicBezTo>
                    <a:cubicBezTo>
                      <a:pt x="6294" y="1661"/>
                      <a:pt x="6294" y="1661"/>
                      <a:pt x="6294" y="1661"/>
                    </a:cubicBezTo>
                    <a:cubicBezTo>
                      <a:pt x="6256" y="1767"/>
                      <a:pt x="6256" y="1767"/>
                      <a:pt x="6256" y="1767"/>
                    </a:cubicBezTo>
                    <a:lnTo>
                      <a:pt x="6325" y="1780"/>
                    </a:lnTo>
                    <a:close/>
                    <a:moveTo>
                      <a:pt x="6368" y="1658"/>
                    </a:moveTo>
                    <a:cubicBezTo>
                      <a:pt x="6476" y="1352"/>
                      <a:pt x="6476" y="1352"/>
                      <a:pt x="6476" y="1352"/>
                    </a:cubicBezTo>
                    <a:cubicBezTo>
                      <a:pt x="6406" y="1351"/>
                      <a:pt x="6406" y="1351"/>
                      <a:pt x="6406" y="1351"/>
                    </a:cubicBezTo>
                    <a:cubicBezTo>
                      <a:pt x="6352" y="1500"/>
                      <a:pt x="6352" y="1500"/>
                      <a:pt x="6352" y="1500"/>
                    </a:cubicBezTo>
                    <a:cubicBezTo>
                      <a:pt x="6413" y="1506"/>
                      <a:pt x="6413" y="1506"/>
                      <a:pt x="6413" y="1506"/>
                    </a:cubicBezTo>
                    <a:cubicBezTo>
                      <a:pt x="6412" y="1520"/>
                      <a:pt x="6412" y="1520"/>
                      <a:pt x="6412" y="1520"/>
                    </a:cubicBezTo>
                    <a:cubicBezTo>
                      <a:pt x="6348" y="1513"/>
                      <a:pt x="6348" y="1513"/>
                      <a:pt x="6348" y="1513"/>
                    </a:cubicBezTo>
                    <a:cubicBezTo>
                      <a:pt x="6299" y="1648"/>
                      <a:pt x="6299" y="1648"/>
                      <a:pt x="6299" y="1648"/>
                    </a:cubicBezTo>
                    <a:lnTo>
                      <a:pt x="6368" y="1658"/>
                    </a:lnTo>
                    <a:close/>
                    <a:moveTo>
                      <a:pt x="6430" y="1246"/>
                    </a:moveTo>
                    <a:cubicBezTo>
                      <a:pt x="6312" y="1201"/>
                      <a:pt x="6312" y="1201"/>
                      <a:pt x="6312" y="1201"/>
                    </a:cubicBezTo>
                    <a:cubicBezTo>
                      <a:pt x="6263" y="1335"/>
                      <a:pt x="6263" y="1335"/>
                      <a:pt x="6263" y="1335"/>
                    </a:cubicBezTo>
                    <a:cubicBezTo>
                      <a:pt x="6397" y="1337"/>
                      <a:pt x="6397" y="1337"/>
                      <a:pt x="6397" y="1337"/>
                    </a:cubicBezTo>
                    <a:lnTo>
                      <a:pt x="6430" y="1246"/>
                    </a:lnTo>
                    <a:close/>
                    <a:moveTo>
                      <a:pt x="6258" y="1349"/>
                    </a:moveTo>
                    <a:cubicBezTo>
                      <a:pt x="6210" y="1484"/>
                      <a:pt x="6210" y="1484"/>
                      <a:pt x="6210" y="1484"/>
                    </a:cubicBezTo>
                    <a:cubicBezTo>
                      <a:pt x="6339" y="1498"/>
                      <a:pt x="6339" y="1498"/>
                      <a:pt x="6339" y="1498"/>
                    </a:cubicBezTo>
                    <a:cubicBezTo>
                      <a:pt x="6392" y="1351"/>
                      <a:pt x="6392" y="1351"/>
                      <a:pt x="6392" y="1351"/>
                    </a:cubicBezTo>
                    <a:lnTo>
                      <a:pt x="6258" y="1349"/>
                    </a:lnTo>
                    <a:close/>
                    <a:moveTo>
                      <a:pt x="6245" y="1349"/>
                    </a:moveTo>
                    <a:cubicBezTo>
                      <a:pt x="5897" y="1344"/>
                      <a:pt x="5897" y="1344"/>
                      <a:pt x="5897" y="1344"/>
                    </a:cubicBezTo>
                    <a:cubicBezTo>
                      <a:pt x="5889" y="1377"/>
                      <a:pt x="5880" y="1412"/>
                      <a:pt x="5871" y="1448"/>
                    </a:cubicBezTo>
                    <a:cubicBezTo>
                      <a:pt x="6196" y="1483"/>
                      <a:pt x="6196" y="1483"/>
                      <a:pt x="6196" y="1483"/>
                    </a:cubicBezTo>
                    <a:lnTo>
                      <a:pt x="6245" y="1349"/>
                    </a:lnTo>
                    <a:close/>
                    <a:moveTo>
                      <a:pt x="5918" y="1204"/>
                    </a:moveTo>
                    <a:cubicBezTo>
                      <a:pt x="5922" y="1185"/>
                      <a:pt x="5926" y="1170"/>
                      <a:pt x="5929" y="1160"/>
                    </a:cubicBezTo>
                    <a:cubicBezTo>
                      <a:pt x="5929" y="1159"/>
                      <a:pt x="5929" y="1159"/>
                      <a:pt x="5929" y="1158"/>
                    </a:cubicBezTo>
                    <a:cubicBezTo>
                      <a:pt x="5758" y="1148"/>
                      <a:pt x="5566" y="1131"/>
                      <a:pt x="5401" y="1117"/>
                    </a:cubicBezTo>
                    <a:cubicBezTo>
                      <a:pt x="5406" y="1141"/>
                      <a:pt x="5412" y="1171"/>
                      <a:pt x="5418" y="1204"/>
                    </a:cubicBezTo>
                    <a:cubicBezTo>
                      <a:pt x="5450" y="1209"/>
                      <a:pt x="5549" y="1225"/>
                      <a:pt x="5649" y="1242"/>
                    </a:cubicBezTo>
                    <a:cubicBezTo>
                      <a:pt x="5770" y="1262"/>
                      <a:pt x="5895" y="1282"/>
                      <a:pt x="5896" y="1282"/>
                    </a:cubicBezTo>
                    <a:cubicBezTo>
                      <a:pt x="5896" y="1290"/>
                      <a:pt x="5896" y="1290"/>
                      <a:pt x="5896" y="1290"/>
                    </a:cubicBezTo>
                    <a:cubicBezTo>
                      <a:pt x="5904" y="1257"/>
                      <a:pt x="5912" y="1227"/>
                      <a:pt x="5918" y="1204"/>
                    </a:cubicBezTo>
                    <a:close/>
                    <a:moveTo>
                      <a:pt x="5396" y="1339"/>
                    </a:moveTo>
                    <a:cubicBezTo>
                      <a:pt x="5368" y="1356"/>
                      <a:pt x="5302" y="1394"/>
                      <a:pt x="5236" y="1432"/>
                    </a:cubicBezTo>
                    <a:cubicBezTo>
                      <a:pt x="5227" y="1437"/>
                      <a:pt x="5218" y="1442"/>
                      <a:pt x="5209" y="1447"/>
                    </a:cubicBezTo>
                    <a:cubicBezTo>
                      <a:pt x="5212" y="1455"/>
                      <a:pt x="5241" y="1532"/>
                      <a:pt x="5272" y="1609"/>
                    </a:cubicBezTo>
                    <a:cubicBezTo>
                      <a:pt x="5288" y="1649"/>
                      <a:pt x="5304" y="1690"/>
                      <a:pt x="5317" y="1721"/>
                    </a:cubicBezTo>
                    <a:cubicBezTo>
                      <a:pt x="5323" y="1736"/>
                      <a:pt x="5328" y="1749"/>
                      <a:pt x="5332" y="1758"/>
                    </a:cubicBezTo>
                    <a:cubicBezTo>
                      <a:pt x="5334" y="1761"/>
                      <a:pt x="5334" y="1762"/>
                      <a:pt x="5335" y="1764"/>
                    </a:cubicBezTo>
                    <a:cubicBezTo>
                      <a:pt x="5354" y="1745"/>
                      <a:pt x="5369" y="1728"/>
                      <a:pt x="5380" y="1715"/>
                    </a:cubicBezTo>
                    <a:cubicBezTo>
                      <a:pt x="5411" y="1682"/>
                      <a:pt x="5423" y="1634"/>
                      <a:pt x="5423" y="1572"/>
                    </a:cubicBezTo>
                    <a:cubicBezTo>
                      <a:pt x="5423" y="1536"/>
                      <a:pt x="5419" y="1495"/>
                      <a:pt x="5413" y="1453"/>
                    </a:cubicBezTo>
                    <a:cubicBezTo>
                      <a:pt x="5410" y="1423"/>
                      <a:pt x="5403" y="1383"/>
                      <a:pt x="5396" y="1339"/>
                    </a:cubicBezTo>
                    <a:close/>
                    <a:moveTo>
                      <a:pt x="5393" y="1325"/>
                    </a:moveTo>
                    <a:cubicBezTo>
                      <a:pt x="5380" y="1248"/>
                      <a:pt x="5364" y="1164"/>
                      <a:pt x="5355" y="1114"/>
                    </a:cubicBezTo>
                    <a:cubicBezTo>
                      <a:pt x="5276" y="1107"/>
                      <a:pt x="5205" y="1102"/>
                      <a:pt x="5149" y="1100"/>
                    </a:cubicBezTo>
                    <a:cubicBezTo>
                      <a:pt x="5129" y="1099"/>
                      <a:pt x="5108" y="1098"/>
                      <a:pt x="5086" y="1097"/>
                    </a:cubicBezTo>
                    <a:cubicBezTo>
                      <a:pt x="5060" y="1513"/>
                      <a:pt x="5060" y="1513"/>
                      <a:pt x="5060" y="1513"/>
                    </a:cubicBezTo>
                    <a:cubicBezTo>
                      <a:pt x="5092" y="1497"/>
                      <a:pt x="5166" y="1455"/>
                      <a:pt x="5237" y="1415"/>
                    </a:cubicBezTo>
                    <a:cubicBezTo>
                      <a:pt x="5305" y="1376"/>
                      <a:pt x="5370" y="1338"/>
                      <a:pt x="5393" y="1325"/>
                    </a:cubicBezTo>
                    <a:close/>
                    <a:moveTo>
                      <a:pt x="5072" y="1097"/>
                    </a:moveTo>
                    <a:cubicBezTo>
                      <a:pt x="5010" y="1095"/>
                      <a:pt x="4940" y="1093"/>
                      <a:pt x="4865" y="1093"/>
                    </a:cubicBezTo>
                    <a:cubicBezTo>
                      <a:pt x="4862" y="1093"/>
                      <a:pt x="4858" y="1093"/>
                      <a:pt x="4855" y="1093"/>
                    </a:cubicBezTo>
                    <a:cubicBezTo>
                      <a:pt x="4827" y="1093"/>
                      <a:pt x="4798" y="1093"/>
                      <a:pt x="4768" y="1094"/>
                    </a:cubicBezTo>
                    <a:cubicBezTo>
                      <a:pt x="4837" y="1481"/>
                      <a:pt x="4837" y="1481"/>
                      <a:pt x="4837" y="1481"/>
                    </a:cubicBezTo>
                    <a:cubicBezTo>
                      <a:pt x="4941" y="1501"/>
                      <a:pt x="5041" y="1520"/>
                      <a:pt x="5046" y="1520"/>
                    </a:cubicBezTo>
                    <a:cubicBezTo>
                      <a:pt x="5046" y="1519"/>
                      <a:pt x="5046" y="1519"/>
                      <a:pt x="5046" y="1519"/>
                    </a:cubicBezTo>
                    <a:cubicBezTo>
                      <a:pt x="5046" y="1519"/>
                      <a:pt x="5046" y="1519"/>
                      <a:pt x="5046" y="1519"/>
                    </a:cubicBezTo>
                    <a:cubicBezTo>
                      <a:pt x="5046" y="1519"/>
                      <a:pt x="5046" y="1519"/>
                      <a:pt x="5046" y="1519"/>
                    </a:cubicBezTo>
                    <a:lnTo>
                      <a:pt x="5072" y="1097"/>
                    </a:lnTo>
                    <a:close/>
                    <a:moveTo>
                      <a:pt x="4577" y="1445"/>
                    </a:moveTo>
                    <a:cubicBezTo>
                      <a:pt x="4496" y="1501"/>
                      <a:pt x="4496" y="1501"/>
                      <a:pt x="4496" y="1501"/>
                    </a:cubicBezTo>
                    <a:cubicBezTo>
                      <a:pt x="4486" y="2031"/>
                      <a:pt x="4486" y="2031"/>
                      <a:pt x="4486" y="2031"/>
                    </a:cubicBezTo>
                    <a:cubicBezTo>
                      <a:pt x="4578" y="2024"/>
                      <a:pt x="4678" y="2016"/>
                      <a:pt x="4769" y="2007"/>
                    </a:cubicBezTo>
                    <a:cubicBezTo>
                      <a:pt x="4668" y="1463"/>
                      <a:pt x="4668" y="1463"/>
                      <a:pt x="4668" y="1463"/>
                    </a:cubicBezTo>
                    <a:cubicBezTo>
                      <a:pt x="4622" y="1454"/>
                      <a:pt x="4587" y="1447"/>
                      <a:pt x="4577" y="1445"/>
                    </a:cubicBezTo>
                    <a:close/>
                    <a:moveTo>
                      <a:pt x="3080" y="1664"/>
                    </a:moveTo>
                    <a:cubicBezTo>
                      <a:pt x="2946" y="1735"/>
                      <a:pt x="2803" y="1811"/>
                      <a:pt x="2655" y="1890"/>
                    </a:cubicBezTo>
                    <a:cubicBezTo>
                      <a:pt x="3224" y="2688"/>
                      <a:pt x="3224" y="2688"/>
                      <a:pt x="3224" y="2688"/>
                    </a:cubicBezTo>
                    <a:cubicBezTo>
                      <a:pt x="3239" y="2674"/>
                      <a:pt x="3253" y="2656"/>
                      <a:pt x="3274" y="2627"/>
                    </a:cubicBezTo>
                    <a:cubicBezTo>
                      <a:pt x="3314" y="2572"/>
                      <a:pt x="3338" y="2488"/>
                      <a:pt x="3355" y="2405"/>
                    </a:cubicBezTo>
                    <a:cubicBezTo>
                      <a:pt x="3364" y="2358"/>
                      <a:pt x="3371" y="2311"/>
                      <a:pt x="3378" y="2269"/>
                    </a:cubicBezTo>
                    <a:lnTo>
                      <a:pt x="3080" y="1664"/>
                    </a:lnTo>
                    <a:close/>
                    <a:moveTo>
                      <a:pt x="2643" y="1896"/>
                    </a:moveTo>
                    <a:cubicBezTo>
                      <a:pt x="2572" y="1934"/>
                      <a:pt x="2500" y="1973"/>
                      <a:pt x="2428" y="2011"/>
                    </a:cubicBezTo>
                    <a:cubicBezTo>
                      <a:pt x="2785" y="2918"/>
                      <a:pt x="2785" y="2918"/>
                      <a:pt x="2785" y="2918"/>
                    </a:cubicBezTo>
                    <a:cubicBezTo>
                      <a:pt x="2823" y="2904"/>
                      <a:pt x="2861" y="2887"/>
                      <a:pt x="2899" y="2867"/>
                    </a:cubicBezTo>
                    <a:cubicBezTo>
                      <a:pt x="3049" y="2783"/>
                      <a:pt x="3124" y="2751"/>
                      <a:pt x="3170" y="2726"/>
                    </a:cubicBezTo>
                    <a:cubicBezTo>
                      <a:pt x="3188" y="2716"/>
                      <a:pt x="3202" y="2708"/>
                      <a:pt x="3214" y="2697"/>
                    </a:cubicBezTo>
                    <a:lnTo>
                      <a:pt x="2643" y="1896"/>
                    </a:lnTo>
                    <a:close/>
                    <a:moveTo>
                      <a:pt x="2416" y="2018"/>
                    </a:moveTo>
                    <a:cubicBezTo>
                      <a:pt x="2352" y="2052"/>
                      <a:pt x="2287" y="2087"/>
                      <a:pt x="2223" y="2121"/>
                    </a:cubicBezTo>
                    <a:cubicBezTo>
                      <a:pt x="2219" y="2166"/>
                      <a:pt x="2201" y="2338"/>
                      <a:pt x="2183" y="2511"/>
                    </a:cubicBezTo>
                    <a:cubicBezTo>
                      <a:pt x="2172" y="2611"/>
                      <a:pt x="2162" y="2712"/>
                      <a:pt x="2153" y="2787"/>
                    </a:cubicBezTo>
                    <a:cubicBezTo>
                      <a:pt x="2149" y="2825"/>
                      <a:pt x="2145" y="2856"/>
                      <a:pt x="2143" y="2878"/>
                    </a:cubicBezTo>
                    <a:cubicBezTo>
                      <a:pt x="2141" y="2889"/>
                      <a:pt x="2140" y="2898"/>
                      <a:pt x="2139" y="2904"/>
                    </a:cubicBezTo>
                    <a:cubicBezTo>
                      <a:pt x="2139" y="2905"/>
                      <a:pt x="2139" y="2905"/>
                      <a:pt x="2139" y="2906"/>
                    </a:cubicBezTo>
                    <a:cubicBezTo>
                      <a:pt x="2144" y="2909"/>
                      <a:pt x="2150" y="2912"/>
                      <a:pt x="2156" y="2914"/>
                    </a:cubicBezTo>
                    <a:cubicBezTo>
                      <a:pt x="2189" y="2928"/>
                      <a:pt x="2236" y="2940"/>
                      <a:pt x="2274" y="2949"/>
                    </a:cubicBezTo>
                    <a:cubicBezTo>
                      <a:pt x="2312" y="2958"/>
                      <a:pt x="2341" y="2963"/>
                      <a:pt x="2342" y="2963"/>
                    </a:cubicBezTo>
                    <a:cubicBezTo>
                      <a:pt x="2347" y="2964"/>
                      <a:pt x="2354" y="2964"/>
                      <a:pt x="2362" y="2965"/>
                    </a:cubicBezTo>
                    <a:cubicBezTo>
                      <a:pt x="2387" y="2968"/>
                      <a:pt x="2418" y="2972"/>
                      <a:pt x="2462" y="2972"/>
                    </a:cubicBezTo>
                    <a:cubicBezTo>
                      <a:pt x="2545" y="2972"/>
                      <a:pt x="2657" y="2962"/>
                      <a:pt x="2772" y="2922"/>
                    </a:cubicBezTo>
                    <a:lnTo>
                      <a:pt x="2416" y="2018"/>
                    </a:lnTo>
                    <a:close/>
                    <a:moveTo>
                      <a:pt x="2206" y="2131"/>
                    </a:moveTo>
                    <a:cubicBezTo>
                      <a:pt x="2176" y="2147"/>
                      <a:pt x="2146" y="2163"/>
                      <a:pt x="2116" y="2179"/>
                    </a:cubicBezTo>
                    <a:cubicBezTo>
                      <a:pt x="2094" y="2200"/>
                      <a:pt x="2094" y="2200"/>
                      <a:pt x="2094" y="2200"/>
                    </a:cubicBezTo>
                    <a:cubicBezTo>
                      <a:pt x="2093" y="2201"/>
                      <a:pt x="2093" y="2201"/>
                      <a:pt x="2093" y="2201"/>
                    </a:cubicBezTo>
                    <a:cubicBezTo>
                      <a:pt x="1781" y="2369"/>
                      <a:pt x="1491" y="2525"/>
                      <a:pt x="1249" y="2656"/>
                    </a:cubicBezTo>
                    <a:cubicBezTo>
                      <a:pt x="1262" y="2668"/>
                      <a:pt x="1281" y="2684"/>
                      <a:pt x="1299" y="2699"/>
                    </a:cubicBezTo>
                    <a:cubicBezTo>
                      <a:pt x="1324" y="2721"/>
                      <a:pt x="1349" y="2741"/>
                      <a:pt x="1358" y="2749"/>
                    </a:cubicBezTo>
                    <a:cubicBezTo>
                      <a:pt x="1366" y="2739"/>
                      <a:pt x="1366" y="2739"/>
                      <a:pt x="1366" y="2739"/>
                    </a:cubicBezTo>
                    <a:cubicBezTo>
                      <a:pt x="1623" y="2957"/>
                      <a:pt x="1623" y="2957"/>
                      <a:pt x="1623" y="2957"/>
                    </a:cubicBezTo>
                    <a:cubicBezTo>
                      <a:pt x="2006" y="2795"/>
                      <a:pt x="2006" y="2795"/>
                      <a:pt x="2006" y="2795"/>
                    </a:cubicBezTo>
                    <a:cubicBezTo>
                      <a:pt x="2017" y="2808"/>
                      <a:pt x="2017" y="2808"/>
                      <a:pt x="2017" y="2808"/>
                    </a:cubicBezTo>
                    <a:cubicBezTo>
                      <a:pt x="2017" y="2808"/>
                      <a:pt x="2021" y="2812"/>
                      <a:pt x="2028" y="2820"/>
                    </a:cubicBezTo>
                    <a:cubicBezTo>
                      <a:pt x="2045" y="2838"/>
                      <a:pt x="2082" y="2873"/>
                      <a:pt x="2123" y="2898"/>
                    </a:cubicBezTo>
                    <a:cubicBezTo>
                      <a:pt x="2130" y="2852"/>
                      <a:pt x="2150" y="2671"/>
                      <a:pt x="2168" y="2495"/>
                    </a:cubicBezTo>
                    <a:cubicBezTo>
                      <a:pt x="2184" y="2339"/>
                      <a:pt x="2200" y="2187"/>
                      <a:pt x="2206" y="2131"/>
                    </a:cubicBezTo>
                    <a:close/>
                    <a:moveTo>
                      <a:pt x="1239" y="2670"/>
                    </a:moveTo>
                    <a:cubicBezTo>
                      <a:pt x="1237" y="2668"/>
                      <a:pt x="1236" y="2666"/>
                      <a:pt x="1233" y="2665"/>
                    </a:cubicBezTo>
                    <a:cubicBezTo>
                      <a:pt x="1193" y="2687"/>
                      <a:pt x="1153" y="2708"/>
                      <a:pt x="1115" y="2729"/>
                    </a:cubicBezTo>
                    <a:cubicBezTo>
                      <a:pt x="860" y="2867"/>
                      <a:pt x="691" y="2958"/>
                      <a:pt x="677" y="2966"/>
                    </a:cubicBezTo>
                    <a:cubicBezTo>
                      <a:pt x="674" y="2968"/>
                      <a:pt x="661" y="2976"/>
                      <a:pt x="642" y="2987"/>
                    </a:cubicBezTo>
                    <a:cubicBezTo>
                      <a:pt x="656" y="3004"/>
                      <a:pt x="672" y="3022"/>
                      <a:pt x="688" y="3041"/>
                    </a:cubicBezTo>
                    <a:cubicBezTo>
                      <a:pt x="739" y="3021"/>
                      <a:pt x="782" y="3007"/>
                      <a:pt x="807" y="3006"/>
                    </a:cubicBezTo>
                    <a:cubicBezTo>
                      <a:pt x="808" y="3006"/>
                      <a:pt x="808" y="3006"/>
                      <a:pt x="808" y="3006"/>
                    </a:cubicBezTo>
                    <a:cubicBezTo>
                      <a:pt x="808" y="3006"/>
                      <a:pt x="808" y="3006"/>
                      <a:pt x="810" y="3007"/>
                    </a:cubicBezTo>
                    <a:cubicBezTo>
                      <a:pt x="832" y="3009"/>
                      <a:pt x="849" y="3026"/>
                      <a:pt x="870" y="3050"/>
                    </a:cubicBezTo>
                    <a:cubicBezTo>
                      <a:pt x="933" y="3125"/>
                      <a:pt x="1011" y="3276"/>
                      <a:pt x="1040" y="3341"/>
                    </a:cubicBezTo>
                    <a:cubicBezTo>
                      <a:pt x="1057" y="3379"/>
                      <a:pt x="1122" y="3460"/>
                      <a:pt x="1182" y="3530"/>
                    </a:cubicBezTo>
                    <a:cubicBezTo>
                      <a:pt x="1232" y="3588"/>
                      <a:pt x="1279" y="3638"/>
                      <a:pt x="1293" y="3653"/>
                    </a:cubicBezTo>
                    <a:cubicBezTo>
                      <a:pt x="1295" y="3652"/>
                      <a:pt x="1297" y="3651"/>
                      <a:pt x="1299" y="3650"/>
                    </a:cubicBezTo>
                    <a:cubicBezTo>
                      <a:pt x="1306" y="3647"/>
                      <a:pt x="1313" y="3643"/>
                      <a:pt x="1320" y="3640"/>
                    </a:cubicBezTo>
                    <a:cubicBezTo>
                      <a:pt x="1296" y="3613"/>
                      <a:pt x="1273" y="3587"/>
                      <a:pt x="1257" y="3568"/>
                    </a:cubicBezTo>
                    <a:cubicBezTo>
                      <a:pt x="1200" y="3502"/>
                      <a:pt x="1177" y="3459"/>
                      <a:pt x="1149" y="3411"/>
                    </a:cubicBezTo>
                    <a:cubicBezTo>
                      <a:pt x="1120" y="3362"/>
                      <a:pt x="856" y="2894"/>
                      <a:pt x="852" y="2889"/>
                    </a:cubicBezTo>
                    <a:cubicBezTo>
                      <a:pt x="912" y="2855"/>
                      <a:pt x="912" y="2855"/>
                      <a:pt x="912" y="2855"/>
                    </a:cubicBezTo>
                    <a:cubicBezTo>
                      <a:pt x="915" y="2860"/>
                      <a:pt x="915" y="2860"/>
                      <a:pt x="915" y="2860"/>
                    </a:cubicBezTo>
                    <a:cubicBezTo>
                      <a:pt x="916" y="2860"/>
                      <a:pt x="982" y="2977"/>
                      <a:pt x="1051" y="3100"/>
                    </a:cubicBezTo>
                    <a:cubicBezTo>
                      <a:pt x="1121" y="3223"/>
                      <a:pt x="1195" y="3353"/>
                      <a:pt x="1209" y="3377"/>
                    </a:cubicBezTo>
                    <a:cubicBezTo>
                      <a:pt x="1223" y="3402"/>
                      <a:pt x="1235" y="3423"/>
                      <a:pt x="1251" y="3446"/>
                    </a:cubicBezTo>
                    <a:cubicBezTo>
                      <a:pt x="1583" y="3265"/>
                      <a:pt x="1583" y="3265"/>
                      <a:pt x="1583" y="3265"/>
                    </a:cubicBezTo>
                    <a:cubicBezTo>
                      <a:pt x="1589" y="3193"/>
                      <a:pt x="1589" y="3193"/>
                      <a:pt x="1589" y="3193"/>
                    </a:cubicBezTo>
                    <a:cubicBezTo>
                      <a:pt x="1578" y="3192"/>
                      <a:pt x="1578" y="3192"/>
                      <a:pt x="1578" y="3192"/>
                    </a:cubicBezTo>
                    <a:cubicBezTo>
                      <a:pt x="1578" y="3189"/>
                      <a:pt x="1578" y="3189"/>
                      <a:pt x="1578" y="3189"/>
                    </a:cubicBezTo>
                    <a:cubicBezTo>
                      <a:pt x="1578" y="3189"/>
                      <a:pt x="1583" y="3140"/>
                      <a:pt x="1588" y="3090"/>
                    </a:cubicBezTo>
                    <a:cubicBezTo>
                      <a:pt x="1591" y="3052"/>
                      <a:pt x="1595" y="3011"/>
                      <a:pt x="1596" y="2993"/>
                    </a:cubicBezTo>
                    <a:cubicBezTo>
                      <a:pt x="1337" y="2774"/>
                      <a:pt x="1337" y="2774"/>
                      <a:pt x="1337" y="2774"/>
                    </a:cubicBezTo>
                    <a:cubicBezTo>
                      <a:pt x="1347" y="2761"/>
                      <a:pt x="1347" y="2761"/>
                      <a:pt x="1347" y="2761"/>
                    </a:cubicBezTo>
                    <a:cubicBezTo>
                      <a:pt x="1338" y="2753"/>
                      <a:pt x="1311" y="2731"/>
                      <a:pt x="1285" y="2709"/>
                    </a:cubicBezTo>
                    <a:cubicBezTo>
                      <a:pt x="1268" y="2695"/>
                      <a:pt x="1252" y="2681"/>
                      <a:pt x="1239" y="2670"/>
                    </a:cubicBezTo>
                    <a:close/>
                    <a:moveTo>
                      <a:pt x="705" y="3061"/>
                    </a:moveTo>
                    <a:cubicBezTo>
                      <a:pt x="779" y="3147"/>
                      <a:pt x="868" y="3249"/>
                      <a:pt x="956" y="3351"/>
                    </a:cubicBezTo>
                    <a:cubicBezTo>
                      <a:pt x="1060" y="3471"/>
                      <a:pt x="1162" y="3589"/>
                      <a:pt x="1239" y="3678"/>
                    </a:cubicBezTo>
                    <a:cubicBezTo>
                      <a:pt x="1249" y="3673"/>
                      <a:pt x="1259" y="3669"/>
                      <a:pt x="1269" y="3664"/>
                    </a:cubicBezTo>
                    <a:cubicBezTo>
                      <a:pt x="1226" y="3617"/>
                      <a:pt x="1053" y="3429"/>
                      <a:pt x="1017" y="3351"/>
                    </a:cubicBezTo>
                    <a:cubicBezTo>
                      <a:pt x="999" y="3309"/>
                      <a:pt x="958" y="3228"/>
                      <a:pt x="915" y="3157"/>
                    </a:cubicBezTo>
                    <a:cubicBezTo>
                      <a:pt x="893" y="3122"/>
                      <a:pt x="871" y="3089"/>
                      <a:pt x="851" y="3066"/>
                    </a:cubicBezTo>
                    <a:cubicBezTo>
                      <a:pt x="832" y="3042"/>
                      <a:pt x="813" y="3030"/>
                      <a:pt x="808" y="3031"/>
                    </a:cubicBezTo>
                    <a:cubicBezTo>
                      <a:pt x="808" y="3031"/>
                      <a:pt x="808" y="3031"/>
                      <a:pt x="808" y="3031"/>
                    </a:cubicBezTo>
                    <a:cubicBezTo>
                      <a:pt x="807" y="3031"/>
                      <a:pt x="807" y="3031"/>
                      <a:pt x="807" y="3031"/>
                    </a:cubicBezTo>
                    <a:cubicBezTo>
                      <a:pt x="806" y="3031"/>
                      <a:pt x="806" y="3031"/>
                      <a:pt x="806" y="3031"/>
                    </a:cubicBezTo>
                    <a:cubicBezTo>
                      <a:pt x="789" y="3031"/>
                      <a:pt x="751" y="3043"/>
                      <a:pt x="705" y="3061"/>
                    </a:cubicBezTo>
                    <a:close/>
                    <a:moveTo>
                      <a:pt x="1193" y="3730"/>
                    </a:moveTo>
                    <a:cubicBezTo>
                      <a:pt x="1177" y="3738"/>
                      <a:pt x="1165" y="3746"/>
                      <a:pt x="1161" y="3750"/>
                    </a:cubicBezTo>
                    <a:cubicBezTo>
                      <a:pt x="1151" y="3761"/>
                      <a:pt x="1148" y="3776"/>
                      <a:pt x="1148" y="3792"/>
                    </a:cubicBezTo>
                    <a:cubicBezTo>
                      <a:pt x="1148" y="3805"/>
                      <a:pt x="1150" y="3817"/>
                      <a:pt x="1153" y="3825"/>
                    </a:cubicBezTo>
                    <a:cubicBezTo>
                      <a:pt x="1153" y="3825"/>
                      <a:pt x="1154" y="3825"/>
                      <a:pt x="1155" y="3825"/>
                    </a:cubicBezTo>
                    <a:cubicBezTo>
                      <a:pt x="1199" y="3825"/>
                      <a:pt x="1231" y="3852"/>
                      <a:pt x="1253" y="3881"/>
                    </a:cubicBezTo>
                    <a:cubicBezTo>
                      <a:pt x="1271" y="3867"/>
                      <a:pt x="1287" y="3856"/>
                      <a:pt x="1297" y="3850"/>
                    </a:cubicBezTo>
                    <a:cubicBezTo>
                      <a:pt x="1276" y="3825"/>
                      <a:pt x="1239" y="3783"/>
                      <a:pt x="1193" y="3730"/>
                    </a:cubicBezTo>
                    <a:close/>
                    <a:moveTo>
                      <a:pt x="1112" y="3860"/>
                    </a:moveTo>
                    <a:cubicBezTo>
                      <a:pt x="988" y="3918"/>
                      <a:pt x="950" y="3970"/>
                      <a:pt x="950" y="4014"/>
                    </a:cubicBezTo>
                    <a:cubicBezTo>
                      <a:pt x="950" y="4014"/>
                      <a:pt x="950" y="4014"/>
                      <a:pt x="950" y="4014"/>
                    </a:cubicBezTo>
                    <a:cubicBezTo>
                      <a:pt x="950" y="4029"/>
                      <a:pt x="970" y="4072"/>
                      <a:pt x="992" y="4120"/>
                    </a:cubicBezTo>
                    <a:cubicBezTo>
                      <a:pt x="1001" y="4142"/>
                      <a:pt x="1011" y="4166"/>
                      <a:pt x="1019" y="4190"/>
                    </a:cubicBezTo>
                    <a:cubicBezTo>
                      <a:pt x="1026" y="4169"/>
                      <a:pt x="1037" y="4142"/>
                      <a:pt x="1052" y="4114"/>
                    </a:cubicBezTo>
                    <a:cubicBezTo>
                      <a:pt x="1075" y="4070"/>
                      <a:pt x="1106" y="4028"/>
                      <a:pt x="1133" y="3996"/>
                    </a:cubicBezTo>
                    <a:cubicBezTo>
                      <a:pt x="1152" y="3973"/>
                      <a:pt x="1176" y="3947"/>
                      <a:pt x="1202" y="3924"/>
                    </a:cubicBezTo>
                    <a:cubicBezTo>
                      <a:pt x="1212" y="3914"/>
                      <a:pt x="1223" y="3905"/>
                      <a:pt x="1234" y="3897"/>
                    </a:cubicBezTo>
                    <a:cubicBezTo>
                      <a:pt x="1214" y="3871"/>
                      <a:pt x="1187" y="3849"/>
                      <a:pt x="1155" y="3850"/>
                    </a:cubicBezTo>
                    <a:cubicBezTo>
                      <a:pt x="1142" y="3850"/>
                      <a:pt x="1128" y="3853"/>
                      <a:pt x="1112" y="3860"/>
                    </a:cubicBezTo>
                    <a:close/>
                    <a:moveTo>
                      <a:pt x="962" y="4210"/>
                    </a:moveTo>
                    <a:cubicBezTo>
                      <a:pt x="949" y="4202"/>
                      <a:pt x="933" y="4192"/>
                      <a:pt x="913" y="4181"/>
                    </a:cubicBezTo>
                    <a:cubicBezTo>
                      <a:pt x="905" y="4228"/>
                      <a:pt x="885" y="4318"/>
                      <a:pt x="844" y="4391"/>
                    </a:cubicBezTo>
                    <a:cubicBezTo>
                      <a:pt x="860" y="4397"/>
                      <a:pt x="877" y="4402"/>
                      <a:pt x="895" y="4402"/>
                    </a:cubicBezTo>
                    <a:cubicBezTo>
                      <a:pt x="928" y="4402"/>
                      <a:pt x="963" y="4388"/>
                      <a:pt x="996" y="4334"/>
                    </a:cubicBezTo>
                    <a:cubicBezTo>
                      <a:pt x="1006" y="4317"/>
                      <a:pt x="1010" y="4298"/>
                      <a:pt x="1010" y="4277"/>
                    </a:cubicBezTo>
                    <a:cubicBezTo>
                      <a:pt x="1010" y="4265"/>
                      <a:pt x="1009" y="4254"/>
                      <a:pt x="1007" y="4242"/>
                    </a:cubicBezTo>
                    <a:cubicBezTo>
                      <a:pt x="989" y="4228"/>
                      <a:pt x="973" y="4217"/>
                      <a:pt x="962" y="4210"/>
                    </a:cubicBezTo>
                    <a:close/>
                    <a:moveTo>
                      <a:pt x="831" y="4412"/>
                    </a:moveTo>
                    <a:cubicBezTo>
                      <a:pt x="827" y="4419"/>
                      <a:pt x="822" y="4425"/>
                      <a:pt x="818" y="4431"/>
                    </a:cubicBezTo>
                    <a:cubicBezTo>
                      <a:pt x="779" y="4480"/>
                      <a:pt x="742" y="4512"/>
                      <a:pt x="714" y="4531"/>
                    </a:cubicBezTo>
                    <a:cubicBezTo>
                      <a:pt x="699" y="4540"/>
                      <a:pt x="687" y="4547"/>
                      <a:pt x="678" y="4551"/>
                    </a:cubicBezTo>
                    <a:cubicBezTo>
                      <a:pt x="674" y="4553"/>
                      <a:pt x="672" y="4554"/>
                      <a:pt x="668" y="4555"/>
                    </a:cubicBezTo>
                    <a:cubicBezTo>
                      <a:pt x="667" y="4554"/>
                      <a:pt x="667" y="4554"/>
                      <a:pt x="667" y="4554"/>
                    </a:cubicBezTo>
                    <a:cubicBezTo>
                      <a:pt x="690" y="4585"/>
                      <a:pt x="711" y="4615"/>
                      <a:pt x="731" y="4643"/>
                    </a:cubicBezTo>
                    <a:cubicBezTo>
                      <a:pt x="776" y="4706"/>
                      <a:pt x="813" y="4758"/>
                      <a:pt x="840" y="4795"/>
                    </a:cubicBezTo>
                    <a:cubicBezTo>
                      <a:pt x="847" y="4806"/>
                      <a:pt x="854" y="4815"/>
                      <a:pt x="860" y="4823"/>
                    </a:cubicBezTo>
                    <a:cubicBezTo>
                      <a:pt x="859" y="4822"/>
                      <a:pt x="859" y="4822"/>
                      <a:pt x="859" y="4822"/>
                    </a:cubicBezTo>
                    <a:cubicBezTo>
                      <a:pt x="1123" y="4758"/>
                      <a:pt x="1123" y="4758"/>
                      <a:pt x="1123" y="4758"/>
                    </a:cubicBezTo>
                    <a:cubicBezTo>
                      <a:pt x="1068" y="4527"/>
                      <a:pt x="1068" y="4527"/>
                      <a:pt x="1068" y="4527"/>
                    </a:cubicBezTo>
                    <a:cubicBezTo>
                      <a:pt x="946" y="4416"/>
                      <a:pt x="946" y="4416"/>
                      <a:pt x="946" y="4416"/>
                    </a:cubicBezTo>
                    <a:cubicBezTo>
                      <a:pt x="929" y="4423"/>
                      <a:pt x="912" y="4427"/>
                      <a:pt x="895" y="4427"/>
                    </a:cubicBezTo>
                    <a:cubicBezTo>
                      <a:pt x="872" y="4427"/>
                      <a:pt x="850" y="4420"/>
                      <a:pt x="831" y="4412"/>
                    </a:cubicBezTo>
                    <a:close/>
                    <a:moveTo>
                      <a:pt x="347" y="4962"/>
                    </a:moveTo>
                    <a:cubicBezTo>
                      <a:pt x="365" y="4985"/>
                      <a:pt x="365" y="4985"/>
                      <a:pt x="365" y="4985"/>
                    </a:cubicBezTo>
                    <a:cubicBezTo>
                      <a:pt x="399" y="4960"/>
                      <a:pt x="399" y="4960"/>
                      <a:pt x="399" y="4960"/>
                    </a:cubicBezTo>
                    <a:cubicBezTo>
                      <a:pt x="444" y="5020"/>
                      <a:pt x="444" y="5020"/>
                      <a:pt x="444" y="5020"/>
                    </a:cubicBezTo>
                    <a:cubicBezTo>
                      <a:pt x="816" y="4874"/>
                      <a:pt x="816" y="4874"/>
                      <a:pt x="816" y="4874"/>
                    </a:cubicBezTo>
                    <a:cubicBezTo>
                      <a:pt x="808" y="4863"/>
                      <a:pt x="796" y="4847"/>
                      <a:pt x="782" y="4826"/>
                    </a:cubicBezTo>
                    <a:cubicBezTo>
                      <a:pt x="768" y="4808"/>
                      <a:pt x="753" y="4786"/>
                      <a:pt x="735" y="4761"/>
                    </a:cubicBezTo>
                    <a:lnTo>
                      <a:pt x="347" y="4962"/>
                    </a:lnTo>
                    <a:close/>
                    <a:moveTo>
                      <a:pt x="335" y="4968"/>
                    </a:moveTo>
                    <a:cubicBezTo>
                      <a:pt x="322" y="4975"/>
                      <a:pt x="322" y="4975"/>
                      <a:pt x="322" y="4975"/>
                    </a:cubicBezTo>
                    <a:cubicBezTo>
                      <a:pt x="286" y="5002"/>
                      <a:pt x="286" y="5002"/>
                      <a:pt x="286" y="5002"/>
                    </a:cubicBezTo>
                    <a:cubicBezTo>
                      <a:pt x="332" y="5064"/>
                      <a:pt x="332" y="5064"/>
                      <a:pt x="332" y="5064"/>
                    </a:cubicBezTo>
                    <a:cubicBezTo>
                      <a:pt x="431" y="5025"/>
                      <a:pt x="431" y="5025"/>
                      <a:pt x="431" y="5025"/>
                    </a:cubicBezTo>
                    <a:cubicBezTo>
                      <a:pt x="396" y="4978"/>
                      <a:pt x="396" y="4978"/>
                      <a:pt x="396" y="4978"/>
                    </a:cubicBezTo>
                    <a:cubicBezTo>
                      <a:pt x="362" y="5004"/>
                      <a:pt x="362" y="5004"/>
                      <a:pt x="362" y="5004"/>
                    </a:cubicBezTo>
                    <a:lnTo>
                      <a:pt x="335" y="4968"/>
                    </a:lnTo>
                    <a:close/>
                    <a:moveTo>
                      <a:pt x="340" y="5076"/>
                    </a:moveTo>
                    <a:cubicBezTo>
                      <a:pt x="395" y="5150"/>
                      <a:pt x="395" y="5150"/>
                      <a:pt x="395" y="5150"/>
                    </a:cubicBezTo>
                    <a:cubicBezTo>
                      <a:pt x="444" y="5114"/>
                      <a:pt x="444" y="5114"/>
                      <a:pt x="444" y="5114"/>
                    </a:cubicBezTo>
                    <a:cubicBezTo>
                      <a:pt x="416" y="5076"/>
                      <a:pt x="416" y="5076"/>
                      <a:pt x="416" y="5076"/>
                    </a:cubicBezTo>
                    <a:cubicBezTo>
                      <a:pt x="450" y="5051"/>
                      <a:pt x="450" y="5051"/>
                      <a:pt x="450" y="5051"/>
                    </a:cubicBezTo>
                    <a:cubicBezTo>
                      <a:pt x="440" y="5037"/>
                      <a:pt x="440" y="5037"/>
                      <a:pt x="440" y="5037"/>
                    </a:cubicBezTo>
                    <a:lnTo>
                      <a:pt x="340" y="5076"/>
                    </a:lnTo>
                    <a:close/>
                    <a:moveTo>
                      <a:pt x="375" y="5185"/>
                    </a:moveTo>
                    <a:cubicBezTo>
                      <a:pt x="388" y="5202"/>
                      <a:pt x="399" y="5217"/>
                      <a:pt x="407" y="5228"/>
                    </a:cubicBezTo>
                    <a:cubicBezTo>
                      <a:pt x="421" y="5248"/>
                      <a:pt x="442" y="5279"/>
                      <a:pt x="467" y="5316"/>
                    </a:cubicBezTo>
                    <a:cubicBezTo>
                      <a:pt x="475" y="5313"/>
                      <a:pt x="485" y="5310"/>
                      <a:pt x="495" y="5306"/>
                    </a:cubicBezTo>
                    <a:cubicBezTo>
                      <a:pt x="446" y="5240"/>
                      <a:pt x="446" y="5240"/>
                      <a:pt x="446" y="5240"/>
                    </a:cubicBezTo>
                    <a:cubicBezTo>
                      <a:pt x="451" y="5236"/>
                      <a:pt x="451" y="5236"/>
                      <a:pt x="451" y="5236"/>
                    </a:cubicBezTo>
                    <a:cubicBezTo>
                      <a:pt x="515" y="5189"/>
                      <a:pt x="515" y="5189"/>
                      <a:pt x="515" y="5189"/>
                    </a:cubicBezTo>
                    <a:cubicBezTo>
                      <a:pt x="543" y="5226"/>
                      <a:pt x="543" y="5226"/>
                      <a:pt x="543" y="5226"/>
                    </a:cubicBezTo>
                    <a:cubicBezTo>
                      <a:pt x="578" y="5201"/>
                      <a:pt x="578" y="5201"/>
                      <a:pt x="578" y="5201"/>
                    </a:cubicBezTo>
                    <a:cubicBezTo>
                      <a:pt x="623" y="5262"/>
                      <a:pt x="623" y="5262"/>
                      <a:pt x="623" y="5262"/>
                    </a:cubicBezTo>
                    <a:cubicBezTo>
                      <a:pt x="769" y="5211"/>
                      <a:pt x="947" y="5147"/>
                      <a:pt x="994" y="5131"/>
                    </a:cubicBezTo>
                    <a:cubicBezTo>
                      <a:pt x="905" y="5003"/>
                      <a:pt x="905" y="5003"/>
                      <a:pt x="905" y="5003"/>
                    </a:cubicBezTo>
                    <a:lnTo>
                      <a:pt x="375" y="5185"/>
                    </a:lnTo>
                    <a:close/>
                    <a:moveTo>
                      <a:pt x="517" y="5314"/>
                    </a:moveTo>
                    <a:cubicBezTo>
                      <a:pt x="574" y="5391"/>
                      <a:pt x="574" y="5391"/>
                      <a:pt x="574" y="5391"/>
                    </a:cubicBezTo>
                    <a:cubicBezTo>
                      <a:pt x="622" y="5355"/>
                      <a:pt x="622" y="5355"/>
                      <a:pt x="622" y="5355"/>
                    </a:cubicBezTo>
                    <a:cubicBezTo>
                      <a:pt x="594" y="5317"/>
                      <a:pt x="594" y="5317"/>
                      <a:pt x="594" y="5317"/>
                    </a:cubicBezTo>
                    <a:cubicBezTo>
                      <a:pt x="629" y="5292"/>
                      <a:pt x="629" y="5292"/>
                      <a:pt x="629" y="5292"/>
                    </a:cubicBezTo>
                    <a:cubicBezTo>
                      <a:pt x="619" y="5279"/>
                      <a:pt x="619" y="5279"/>
                      <a:pt x="619" y="5279"/>
                    </a:cubicBezTo>
                    <a:cubicBezTo>
                      <a:pt x="586" y="5290"/>
                      <a:pt x="555" y="5301"/>
                      <a:pt x="528" y="5310"/>
                    </a:cubicBezTo>
                    <a:cubicBezTo>
                      <a:pt x="524" y="5311"/>
                      <a:pt x="520" y="5313"/>
                      <a:pt x="517" y="5314"/>
                    </a:cubicBezTo>
                    <a:close/>
                    <a:moveTo>
                      <a:pt x="523" y="5297"/>
                    </a:moveTo>
                    <a:cubicBezTo>
                      <a:pt x="549" y="5288"/>
                      <a:pt x="579" y="5278"/>
                      <a:pt x="610" y="5267"/>
                    </a:cubicBezTo>
                    <a:cubicBezTo>
                      <a:pt x="575" y="5219"/>
                      <a:pt x="575" y="5219"/>
                      <a:pt x="575" y="5219"/>
                    </a:cubicBezTo>
                    <a:cubicBezTo>
                      <a:pt x="540" y="5245"/>
                      <a:pt x="540" y="5245"/>
                      <a:pt x="540" y="5245"/>
                    </a:cubicBezTo>
                    <a:cubicBezTo>
                      <a:pt x="512" y="5207"/>
                      <a:pt x="512" y="5207"/>
                      <a:pt x="512" y="5207"/>
                    </a:cubicBezTo>
                    <a:cubicBezTo>
                      <a:pt x="464" y="5243"/>
                      <a:pt x="464" y="5243"/>
                      <a:pt x="464" y="5243"/>
                    </a:cubicBezTo>
                    <a:cubicBezTo>
                      <a:pt x="508" y="5302"/>
                      <a:pt x="508" y="5302"/>
                      <a:pt x="508" y="5302"/>
                    </a:cubicBezTo>
                    <a:cubicBezTo>
                      <a:pt x="513" y="5300"/>
                      <a:pt x="518" y="5299"/>
                      <a:pt x="523" y="5297"/>
                    </a:cubicBezTo>
                    <a:close/>
                    <a:moveTo>
                      <a:pt x="475" y="5328"/>
                    </a:moveTo>
                    <a:cubicBezTo>
                      <a:pt x="499" y="5363"/>
                      <a:pt x="525" y="5403"/>
                      <a:pt x="550" y="5441"/>
                    </a:cubicBezTo>
                    <a:cubicBezTo>
                      <a:pt x="567" y="5436"/>
                      <a:pt x="593" y="5428"/>
                      <a:pt x="622" y="5419"/>
                    </a:cubicBezTo>
                    <a:cubicBezTo>
                      <a:pt x="764" y="5374"/>
                      <a:pt x="1011" y="5291"/>
                      <a:pt x="1089" y="5265"/>
                    </a:cubicBezTo>
                    <a:cubicBezTo>
                      <a:pt x="1003" y="5142"/>
                      <a:pt x="1003" y="5142"/>
                      <a:pt x="1003" y="5142"/>
                    </a:cubicBezTo>
                    <a:cubicBezTo>
                      <a:pt x="970" y="5154"/>
                      <a:pt x="850" y="5197"/>
                      <a:pt x="727" y="5241"/>
                    </a:cubicBezTo>
                    <a:cubicBezTo>
                      <a:pt x="695" y="5252"/>
                      <a:pt x="663" y="5263"/>
                      <a:pt x="632" y="5274"/>
                    </a:cubicBezTo>
                    <a:cubicBezTo>
                      <a:pt x="647" y="5294"/>
                      <a:pt x="647" y="5294"/>
                      <a:pt x="647" y="5294"/>
                    </a:cubicBezTo>
                    <a:cubicBezTo>
                      <a:pt x="612" y="5320"/>
                      <a:pt x="612" y="5320"/>
                      <a:pt x="612" y="5320"/>
                    </a:cubicBezTo>
                    <a:cubicBezTo>
                      <a:pt x="640" y="5358"/>
                      <a:pt x="640" y="5358"/>
                      <a:pt x="640" y="5358"/>
                    </a:cubicBezTo>
                    <a:cubicBezTo>
                      <a:pt x="571" y="5409"/>
                      <a:pt x="571" y="5409"/>
                      <a:pt x="571" y="5409"/>
                    </a:cubicBezTo>
                    <a:cubicBezTo>
                      <a:pt x="504" y="5318"/>
                      <a:pt x="504" y="5318"/>
                      <a:pt x="504" y="5318"/>
                    </a:cubicBezTo>
                    <a:cubicBezTo>
                      <a:pt x="493" y="5322"/>
                      <a:pt x="484" y="5325"/>
                      <a:pt x="475" y="5328"/>
                    </a:cubicBezTo>
                    <a:close/>
                    <a:moveTo>
                      <a:pt x="614" y="6425"/>
                    </a:moveTo>
                    <a:cubicBezTo>
                      <a:pt x="613" y="6444"/>
                      <a:pt x="631" y="6496"/>
                      <a:pt x="651" y="6522"/>
                    </a:cubicBezTo>
                    <a:cubicBezTo>
                      <a:pt x="651" y="6522"/>
                      <a:pt x="652" y="6522"/>
                      <a:pt x="652" y="6523"/>
                    </a:cubicBezTo>
                    <a:cubicBezTo>
                      <a:pt x="665" y="6533"/>
                      <a:pt x="741" y="6585"/>
                      <a:pt x="780" y="6610"/>
                    </a:cubicBezTo>
                    <a:cubicBezTo>
                      <a:pt x="800" y="6623"/>
                      <a:pt x="819" y="6634"/>
                      <a:pt x="833" y="6643"/>
                    </a:cubicBezTo>
                    <a:cubicBezTo>
                      <a:pt x="835" y="6644"/>
                      <a:pt x="836" y="6645"/>
                      <a:pt x="838" y="6646"/>
                    </a:cubicBezTo>
                    <a:cubicBezTo>
                      <a:pt x="839" y="6645"/>
                      <a:pt x="839" y="6645"/>
                      <a:pt x="839" y="6645"/>
                    </a:cubicBezTo>
                    <a:cubicBezTo>
                      <a:pt x="840" y="6646"/>
                      <a:pt x="840" y="6646"/>
                      <a:pt x="840" y="6646"/>
                    </a:cubicBezTo>
                    <a:cubicBezTo>
                      <a:pt x="1128" y="6160"/>
                      <a:pt x="1128" y="6160"/>
                      <a:pt x="1128" y="6160"/>
                    </a:cubicBezTo>
                    <a:cubicBezTo>
                      <a:pt x="1126" y="6157"/>
                      <a:pt x="1126" y="6157"/>
                      <a:pt x="1126" y="6157"/>
                    </a:cubicBezTo>
                    <a:cubicBezTo>
                      <a:pt x="1112" y="6146"/>
                      <a:pt x="1112" y="6146"/>
                      <a:pt x="1112" y="6146"/>
                    </a:cubicBezTo>
                    <a:cubicBezTo>
                      <a:pt x="1112" y="6146"/>
                      <a:pt x="1112" y="6146"/>
                      <a:pt x="1112" y="6146"/>
                    </a:cubicBezTo>
                    <a:cubicBezTo>
                      <a:pt x="1007" y="6049"/>
                      <a:pt x="1007" y="6049"/>
                      <a:pt x="1007" y="6049"/>
                    </a:cubicBezTo>
                    <a:cubicBezTo>
                      <a:pt x="674" y="6053"/>
                      <a:pt x="674" y="6053"/>
                      <a:pt x="674" y="6053"/>
                    </a:cubicBezTo>
                    <a:cubicBezTo>
                      <a:pt x="670" y="6108"/>
                      <a:pt x="666" y="6157"/>
                      <a:pt x="659" y="6186"/>
                    </a:cubicBezTo>
                    <a:cubicBezTo>
                      <a:pt x="642" y="6260"/>
                      <a:pt x="619" y="6391"/>
                      <a:pt x="614" y="6421"/>
                    </a:cubicBezTo>
                    <a:cubicBezTo>
                      <a:pt x="614" y="6422"/>
                      <a:pt x="614" y="6423"/>
                      <a:pt x="614" y="6425"/>
                    </a:cubicBezTo>
                    <a:close/>
                    <a:moveTo>
                      <a:pt x="854" y="6654"/>
                    </a:moveTo>
                    <a:cubicBezTo>
                      <a:pt x="1118" y="6820"/>
                      <a:pt x="1118" y="6820"/>
                      <a:pt x="1118" y="6820"/>
                    </a:cubicBezTo>
                    <a:cubicBezTo>
                      <a:pt x="1118" y="6819"/>
                      <a:pt x="1119" y="6819"/>
                      <a:pt x="1119" y="6819"/>
                    </a:cubicBezTo>
                    <a:cubicBezTo>
                      <a:pt x="1121" y="6816"/>
                      <a:pt x="1122" y="6814"/>
                      <a:pt x="1125" y="6810"/>
                    </a:cubicBezTo>
                    <a:cubicBezTo>
                      <a:pt x="1151" y="6776"/>
                      <a:pt x="1240" y="6661"/>
                      <a:pt x="1240" y="6661"/>
                    </a:cubicBezTo>
                    <a:cubicBezTo>
                      <a:pt x="1420" y="6414"/>
                      <a:pt x="1420" y="6414"/>
                      <a:pt x="1420" y="6414"/>
                    </a:cubicBezTo>
                    <a:cubicBezTo>
                      <a:pt x="1144" y="6174"/>
                      <a:pt x="1144" y="6174"/>
                      <a:pt x="1144" y="6174"/>
                    </a:cubicBezTo>
                    <a:cubicBezTo>
                      <a:pt x="1144" y="6174"/>
                      <a:pt x="1144" y="6174"/>
                      <a:pt x="1144" y="6174"/>
                    </a:cubicBezTo>
                    <a:cubicBezTo>
                      <a:pt x="1140" y="6171"/>
                      <a:pt x="1140" y="6171"/>
                      <a:pt x="1140" y="6171"/>
                    </a:cubicBezTo>
                    <a:lnTo>
                      <a:pt x="854" y="6654"/>
                    </a:lnTo>
                    <a:close/>
                    <a:moveTo>
                      <a:pt x="988" y="7054"/>
                    </a:moveTo>
                    <a:cubicBezTo>
                      <a:pt x="988" y="7054"/>
                      <a:pt x="988" y="7054"/>
                      <a:pt x="988" y="7054"/>
                    </a:cubicBezTo>
                    <a:cubicBezTo>
                      <a:pt x="1221" y="7180"/>
                      <a:pt x="1221" y="7180"/>
                      <a:pt x="1221" y="7180"/>
                    </a:cubicBezTo>
                    <a:cubicBezTo>
                      <a:pt x="1403" y="6799"/>
                      <a:pt x="1403" y="6799"/>
                      <a:pt x="1403" y="6799"/>
                    </a:cubicBezTo>
                    <a:cubicBezTo>
                      <a:pt x="1298" y="6699"/>
                      <a:pt x="1298" y="6699"/>
                      <a:pt x="1298" y="6699"/>
                    </a:cubicBezTo>
                    <a:cubicBezTo>
                      <a:pt x="1295" y="6703"/>
                      <a:pt x="1295" y="6703"/>
                      <a:pt x="1295" y="6703"/>
                    </a:cubicBezTo>
                    <a:cubicBezTo>
                      <a:pt x="1294" y="6704"/>
                      <a:pt x="1264" y="6742"/>
                      <a:pt x="1234" y="6781"/>
                    </a:cubicBezTo>
                    <a:cubicBezTo>
                      <a:pt x="1219" y="6801"/>
                      <a:pt x="1204" y="6820"/>
                      <a:pt x="1193" y="6835"/>
                    </a:cubicBezTo>
                    <a:cubicBezTo>
                      <a:pt x="1187" y="6842"/>
                      <a:pt x="1183" y="6848"/>
                      <a:pt x="1179" y="6853"/>
                    </a:cubicBezTo>
                    <a:cubicBezTo>
                      <a:pt x="1178" y="6855"/>
                      <a:pt x="1177" y="6856"/>
                      <a:pt x="1176" y="6857"/>
                    </a:cubicBezTo>
                    <a:cubicBezTo>
                      <a:pt x="1175" y="6860"/>
                      <a:pt x="1174" y="6859"/>
                      <a:pt x="1174" y="6861"/>
                    </a:cubicBezTo>
                    <a:cubicBezTo>
                      <a:pt x="1170" y="6865"/>
                      <a:pt x="1170" y="6865"/>
                      <a:pt x="1167" y="6868"/>
                    </a:cubicBezTo>
                    <a:cubicBezTo>
                      <a:pt x="1146" y="6891"/>
                      <a:pt x="1065" y="6975"/>
                      <a:pt x="988" y="7054"/>
                    </a:cubicBezTo>
                    <a:close/>
                    <a:moveTo>
                      <a:pt x="976" y="7066"/>
                    </a:moveTo>
                    <a:cubicBezTo>
                      <a:pt x="942" y="7102"/>
                      <a:pt x="909" y="7135"/>
                      <a:pt x="884" y="7161"/>
                    </a:cubicBezTo>
                    <a:cubicBezTo>
                      <a:pt x="871" y="7175"/>
                      <a:pt x="859" y="7187"/>
                      <a:pt x="851" y="7195"/>
                    </a:cubicBezTo>
                    <a:cubicBezTo>
                      <a:pt x="847" y="7199"/>
                      <a:pt x="843" y="7203"/>
                      <a:pt x="841" y="7205"/>
                    </a:cubicBezTo>
                    <a:cubicBezTo>
                      <a:pt x="840" y="7206"/>
                      <a:pt x="839" y="7207"/>
                      <a:pt x="838" y="7208"/>
                    </a:cubicBezTo>
                    <a:cubicBezTo>
                      <a:pt x="838" y="7208"/>
                      <a:pt x="838" y="7209"/>
                      <a:pt x="837" y="7209"/>
                    </a:cubicBezTo>
                    <a:cubicBezTo>
                      <a:pt x="836" y="7210"/>
                      <a:pt x="837" y="7209"/>
                      <a:pt x="836" y="7210"/>
                    </a:cubicBezTo>
                    <a:cubicBezTo>
                      <a:pt x="831" y="7215"/>
                      <a:pt x="807" y="7240"/>
                      <a:pt x="785" y="7266"/>
                    </a:cubicBezTo>
                    <a:cubicBezTo>
                      <a:pt x="773" y="7281"/>
                      <a:pt x="761" y="7295"/>
                      <a:pt x="752" y="7307"/>
                    </a:cubicBezTo>
                    <a:cubicBezTo>
                      <a:pt x="747" y="7313"/>
                      <a:pt x="743" y="7319"/>
                      <a:pt x="741" y="7323"/>
                    </a:cubicBezTo>
                    <a:cubicBezTo>
                      <a:pt x="1044" y="7552"/>
                      <a:pt x="1044" y="7552"/>
                      <a:pt x="1044" y="7552"/>
                    </a:cubicBezTo>
                    <a:cubicBezTo>
                      <a:pt x="1214" y="7195"/>
                      <a:pt x="1214" y="7195"/>
                      <a:pt x="1214" y="7195"/>
                    </a:cubicBezTo>
                    <a:lnTo>
                      <a:pt x="976" y="7066"/>
                    </a:lnTo>
                    <a:close/>
                    <a:moveTo>
                      <a:pt x="726" y="7398"/>
                    </a:moveTo>
                    <a:cubicBezTo>
                      <a:pt x="719" y="7425"/>
                      <a:pt x="706" y="7472"/>
                      <a:pt x="692" y="7514"/>
                    </a:cubicBezTo>
                    <a:cubicBezTo>
                      <a:pt x="678" y="7555"/>
                      <a:pt x="648" y="7649"/>
                      <a:pt x="611" y="7723"/>
                    </a:cubicBezTo>
                    <a:cubicBezTo>
                      <a:pt x="778" y="7836"/>
                      <a:pt x="778" y="7836"/>
                      <a:pt x="778" y="7836"/>
                    </a:cubicBezTo>
                    <a:cubicBezTo>
                      <a:pt x="711" y="8103"/>
                      <a:pt x="711" y="8103"/>
                      <a:pt x="711" y="8103"/>
                    </a:cubicBezTo>
                    <a:cubicBezTo>
                      <a:pt x="894" y="8176"/>
                      <a:pt x="894" y="8176"/>
                      <a:pt x="894" y="8176"/>
                    </a:cubicBezTo>
                    <a:cubicBezTo>
                      <a:pt x="974" y="7875"/>
                      <a:pt x="974" y="7875"/>
                      <a:pt x="974" y="7875"/>
                    </a:cubicBezTo>
                    <a:cubicBezTo>
                      <a:pt x="927" y="7750"/>
                      <a:pt x="927" y="7750"/>
                      <a:pt x="927" y="7750"/>
                    </a:cubicBezTo>
                    <a:cubicBezTo>
                      <a:pt x="1028" y="7625"/>
                      <a:pt x="1028" y="7625"/>
                      <a:pt x="1028" y="7625"/>
                    </a:cubicBezTo>
                    <a:lnTo>
                      <a:pt x="726" y="7398"/>
                    </a:lnTo>
                    <a:close/>
                    <a:moveTo>
                      <a:pt x="618" y="7517"/>
                    </a:moveTo>
                    <a:cubicBezTo>
                      <a:pt x="613" y="7513"/>
                      <a:pt x="606" y="7508"/>
                      <a:pt x="599" y="7502"/>
                    </a:cubicBezTo>
                    <a:cubicBezTo>
                      <a:pt x="585" y="7492"/>
                      <a:pt x="571" y="7480"/>
                      <a:pt x="556" y="7469"/>
                    </a:cubicBezTo>
                    <a:cubicBezTo>
                      <a:pt x="550" y="7503"/>
                      <a:pt x="542" y="7542"/>
                      <a:pt x="533" y="7581"/>
                    </a:cubicBezTo>
                    <a:cubicBezTo>
                      <a:pt x="514" y="7654"/>
                      <a:pt x="492" y="7725"/>
                      <a:pt x="462" y="7762"/>
                    </a:cubicBezTo>
                    <a:cubicBezTo>
                      <a:pt x="444" y="7785"/>
                      <a:pt x="419" y="7841"/>
                      <a:pt x="400" y="7903"/>
                    </a:cubicBezTo>
                    <a:cubicBezTo>
                      <a:pt x="463" y="7819"/>
                      <a:pt x="513" y="7752"/>
                      <a:pt x="526" y="7733"/>
                    </a:cubicBezTo>
                    <a:cubicBezTo>
                      <a:pt x="561" y="7684"/>
                      <a:pt x="598" y="7578"/>
                      <a:pt x="618" y="7517"/>
                    </a:cubicBezTo>
                    <a:close/>
                    <a:moveTo>
                      <a:pt x="1322" y="8617"/>
                    </a:moveTo>
                    <a:cubicBezTo>
                      <a:pt x="1393" y="8679"/>
                      <a:pt x="1504" y="8775"/>
                      <a:pt x="1559" y="8828"/>
                    </a:cubicBezTo>
                    <a:cubicBezTo>
                      <a:pt x="1788" y="8489"/>
                      <a:pt x="1788" y="8489"/>
                      <a:pt x="1788" y="8489"/>
                    </a:cubicBezTo>
                    <a:cubicBezTo>
                      <a:pt x="1884" y="8546"/>
                      <a:pt x="1884" y="8546"/>
                      <a:pt x="1884" y="8546"/>
                    </a:cubicBezTo>
                    <a:cubicBezTo>
                      <a:pt x="1997" y="8353"/>
                      <a:pt x="1997" y="8353"/>
                      <a:pt x="1997" y="8353"/>
                    </a:cubicBezTo>
                    <a:cubicBezTo>
                      <a:pt x="1999" y="8352"/>
                      <a:pt x="1999" y="8352"/>
                      <a:pt x="1999" y="8352"/>
                    </a:cubicBezTo>
                    <a:cubicBezTo>
                      <a:pt x="1999" y="8352"/>
                      <a:pt x="2001" y="8352"/>
                      <a:pt x="2001" y="8352"/>
                    </a:cubicBezTo>
                    <a:cubicBezTo>
                      <a:pt x="1876" y="8259"/>
                      <a:pt x="1690" y="8120"/>
                      <a:pt x="1515" y="7989"/>
                    </a:cubicBezTo>
                    <a:cubicBezTo>
                      <a:pt x="1208" y="8360"/>
                      <a:pt x="1208" y="8360"/>
                      <a:pt x="1208" y="8360"/>
                    </a:cubicBezTo>
                    <a:cubicBezTo>
                      <a:pt x="1397" y="8527"/>
                      <a:pt x="1397" y="8527"/>
                      <a:pt x="1397" y="8527"/>
                    </a:cubicBezTo>
                    <a:lnTo>
                      <a:pt x="1322" y="8617"/>
                    </a:lnTo>
                    <a:close/>
                    <a:moveTo>
                      <a:pt x="1914" y="8947"/>
                    </a:moveTo>
                    <a:cubicBezTo>
                      <a:pt x="1798" y="9054"/>
                      <a:pt x="1798" y="9054"/>
                      <a:pt x="1798" y="9054"/>
                    </a:cubicBezTo>
                    <a:cubicBezTo>
                      <a:pt x="1799" y="9055"/>
                      <a:pt x="1799" y="9055"/>
                      <a:pt x="1800" y="9056"/>
                    </a:cubicBezTo>
                    <a:cubicBezTo>
                      <a:pt x="1874" y="9125"/>
                      <a:pt x="1941" y="9188"/>
                      <a:pt x="1965" y="9211"/>
                    </a:cubicBezTo>
                    <a:cubicBezTo>
                      <a:pt x="2113" y="9037"/>
                      <a:pt x="2113" y="9037"/>
                      <a:pt x="2113" y="9037"/>
                    </a:cubicBezTo>
                    <a:cubicBezTo>
                      <a:pt x="2092" y="9028"/>
                      <a:pt x="2068" y="9017"/>
                      <a:pt x="2045" y="9007"/>
                    </a:cubicBezTo>
                    <a:cubicBezTo>
                      <a:pt x="2011" y="8992"/>
                      <a:pt x="1978" y="8977"/>
                      <a:pt x="1952" y="8965"/>
                    </a:cubicBezTo>
                    <a:cubicBezTo>
                      <a:pt x="1940" y="8959"/>
                      <a:pt x="1929" y="8955"/>
                      <a:pt x="1922" y="8951"/>
                    </a:cubicBezTo>
                    <a:cubicBezTo>
                      <a:pt x="1919" y="8950"/>
                      <a:pt x="1916" y="8948"/>
                      <a:pt x="1914" y="8947"/>
                    </a:cubicBezTo>
                    <a:close/>
                    <a:moveTo>
                      <a:pt x="1916" y="8946"/>
                    </a:moveTo>
                    <a:cubicBezTo>
                      <a:pt x="1916" y="8945"/>
                      <a:pt x="1916" y="8945"/>
                      <a:pt x="1916" y="8945"/>
                    </a:cubicBezTo>
                    <a:cubicBezTo>
                      <a:pt x="1916" y="8946"/>
                      <a:pt x="1916" y="8946"/>
                      <a:pt x="1916" y="8946"/>
                    </a:cubicBezTo>
                    <a:cubicBezTo>
                      <a:pt x="1916" y="8946"/>
                      <a:pt x="1916" y="8946"/>
                      <a:pt x="1916" y="8946"/>
                    </a:cubicBezTo>
                    <a:close/>
                    <a:moveTo>
                      <a:pt x="2015" y="8854"/>
                    </a:moveTo>
                    <a:cubicBezTo>
                      <a:pt x="1925" y="8937"/>
                      <a:pt x="1925" y="8937"/>
                      <a:pt x="1925" y="8937"/>
                    </a:cubicBezTo>
                    <a:cubicBezTo>
                      <a:pt x="1945" y="8946"/>
                      <a:pt x="2001" y="8972"/>
                      <a:pt x="2055" y="8996"/>
                    </a:cubicBezTo>
                    <a:cubicBezTo>
                      <a:pt x="2117" y="9023"/>
                      <a:pt x="2177" y="9050"/>
                      <a:pt x="2184" y="9053"/>
                    </a:cubicBezTo>
                    <a:cubicBezTo>
                      <a:pt x="2573" y="9117"/>
                      <a:pt x="2573" y="9117"/>
                      <a:pt x="2573" y="9117"/>
                    </a:cubicBezTo>
                    <a:cubicBezTo>
                      <a:pt x="2574" y="9046"/>
                      <a:pt x="2574" y="8982"/>
                      <a:pt x="2575" y="8929"/>
                    </a:cubicBezTo>
                    <a:cubicBezTo>
                      <a:pt x="2187" y="8909"/>
                      <a:pt x="2187" y="8909"/>
                      <a:pt x="2187" y="8909"/>
                    </a:cubicBezTo>
                    <a:cubicBezTo>
                      <a:pt x="2015" y="8851"/>
                      <a:pt x="2015" y="8851"/>
                      <a:pt x="2015" y="8851"/>
                    </a:cubicBezTo>
                    <a:lnTo>
                      <a:pt x="2015" y="8854"/>
                    </a:lnTo>
                    <a:close/>
                    <a:moveTo>
                      <a:pt x="2572" y="9438"/>
                    </a:moveTo>
                    <a:cubicBezTo>
                      <a:pt x="2572" y="9328"/>
                      <a:pt x="2573" y="9224"/>
                      <a:pt x="2573" y="9131"/>
                    </a:cubicBezTo>
                    <a:cubicBezTo>
                      <a:pt x="2293" y="9085"/>
                      <a:pt x="2293" y="9085"/>
                      <a:pt x="2293" y="9085"/>
                    </a:cubicBezTo>
                    <a:cubicBezTo>
                      <a:pt x="2227" y="9266"/>
                      <a:pt x="2227" y="9266"/>
                      <a:pt x="2227" y="9266"/>
                    </a:cubicBezTo>
                    <a:cubicBezTo>
                      <a:pt x="2362" y="9471"/>
                      <a:pt x="2362" y="9471"/>
                      <a:pt x="2362" y="9471"/>
                    </a:cubicBezTo>
                    <a:cubicBezTo>
                      <a:pt x="2394" y="9475"/>
                      <a:pt x="2429" y="9478"/>
                      <a:pt x="2461" y="9480"/>
                    </a:cubicBezTo>
                    <a:cubicBezTo>
                      <a:pt x="2505" y="9483"/>
                      <a:pt x="2545" y="9484"/>
                      <a:pt x="2572" y="9485"/>
                    </a:cubicBezTo>
                    <a:cubicBezTo>
                      <a:pt x="2572" y="9469"/>
                      <a:pt x="2572" y="9453"/>
                      <a:pt x="2572" y="9438"/>
                    </a:cubicBezTo>
                    <a:close/>
                    <a:moveTo>
                      <a:pt x="2211" y="9268"/>
                    </a:moveTo>
                    <a:cubicBezTo>
                      <a:pt x="2279" y="9083"/>
                      <a:pt x="2279" y="9083"/>
                      <a:pt x="2279" y="9083"/>
                    </a:cubicBezTo>
                    <a:cubicBezTo>
                      <a:pt x="2180" y="9067"/>
                      <a:pt x="2180" y="9067"/>
                      <a:pt x="2180" y="9067"/>
                    </a:cubicBezTo>
                    <a:cubicBezTo>
                      <a:pt x="2179" y="9066"/>
                      <a:pt x="2179" y="9066"/>
                      <a:pt x="2179" y="9066"/>
                    </a:cubicBezTo>
                    <a:cubicBezTo>
                      <a:pt x="2179" y="9066"/>
                      <a:pt x="2157" y="9057"/>
                      <a:pt x="2126" y="9043"/>
                    </a:cubicBezTo>
                    <a:cubicBezTo>
                      <a:pt x="1975" y="9220"/>
                      <a:pt x="1975" y="9220"/>
                      <a:pt x="1975" y="9220"/>
                    </a:cubicBezTo>
                    <a:cubicBezTo>
                      <a:pt x="2001" y="9243"/>
                      <a:pt x="2049" y="9289"/>
                      <a:pt x="2103" y="9336"/>
                    </a:cubicBezTo>
                    <a:cubicBezTo>
                      <a:pt x="2158" y="9383"/>
                      <a:pt x="2219" y="9431"/>
                      <a:pt x="2257" y="9448"/>
                    </a:cubicBezTo>
                    <a:cubicBezTo>
                      <a:pt x="2275" y="9456"/>
                      <a:pt x="2306" y="9463"/>
                      <a:pt x="2343" y="9468"/>
                    </a:cubicBezTo>
                    <a:lnTo>
                      <a:pt x="2211" y="9268"/>
                    </a:lnTo>
                    <a:close/>
                    <a:moveTo>
                      <a:pt x="1734" y="9084"/>
                    </a:moveTo>
                    <a:cubicBezTo>
                      <a:pt x="1623" y="9219"/>
                      <a:pt x="1623" y="9219"/>
                      <a:pt x="1623" y="9219"/>
                    </a:cubicBezTo>
                    <a:cubicBezTo>
                      <a:pt x="1650" y="9242"/>
                      <a:pt x="1650" y="9242"/>
                      <a:pt x="1650" y="9242"/>
                    </a:cubicBezTo>
                    <a:cubicBezTo>
                      <a:pt x="1721" y="9152"/>
                      <a:pt x="1721" y="9152"/>
                      <a:pt x="1721" y="9152"/>
                    </a:cubicBezTo>
                    <a:cubicBezTo>
                      <a:pt x="1826" y="9235"/>
                      <a:pt x="1826" y="9235"/>
                      <a:pt x="1826" y="9235"/>
                    </a:cubicBezTo>
                    <a:cubicBezTo>
                      <a:pt x="1821" y="9240"/>
                      <a:pt x="1821" y="9240"/>
                      <a:pt x="1821" y="9240"/>
                    </a:cubicBezTo>
                    <a:cubicBezTo>
                      <a:pt x="1752" y="9327"/>
                      <a:pt x="1752" y="9327"/>
                      <a:pt x="1752" y="9327"/>
                    </a:cubicBezTo>
                    <a:cubicBezTo>
                      <a:pt x="2021" y="9553"/>
                      <a:pt x="2021" y="9553"/>
                      <a:pt x="2021" y="9553"/>
                    </a:cubicBezTo>
                    <a:cubicBezTo>
                      <a:pt x="2034" y="9511"/>
                      <a:pt x="2046" y="9471"/>
                      <a:pt x="2056" y="9439"/>
                    </a:cubicBezTo>
                    <a:cubicBezTo>
                      <a:pt x="2062" y="9421"/>
                      <a:pt x="2067" y="9405"/>
                      <a:pt x="2070" y="9394"/>
                    </a:cubicBezTo>
                    <a:cubicBezTo>
                      <a:pt x="2067" y="9391"/>
                      <a:pt x="2063" y="9388"/>
                      <a:pt x="2060" y="9385"/>
                    </a:cubicBezTo>
                    <a:cubicBezTo>
                      <a:pt x="2004" y="9336"/>
                      <a:pt x="1953" y="9287"/>
                      <a:pt x="1930" y="9268"/>
                    </a:cubicBezTo>
                    <a:cubicBezTo>
                      <a:pt x="1930" y="9268"/>
                      <a:pt x="1930" y="9268"/>
                      <a:pt x="1930" y="9268"/>
                    </a:cubicBezTo>
                    <a:cubicBezTo>
                      <a:pt x="1929" y="9267"/>
                      <a:pt x="1929" y="9267"/>
                      <a:pt x="1929" y="9267"/>
                    </a:cubicBezTo>
                    <a:cubicBezTo>
                      <a:pt x="1929" y="9267"/>
                      <a:pt x="1834" y="9178"/>
                      <a:pt x="1734" y="9084"/>
                    </a:cubicBezTo>
                    <a:close/>
                    <a:moveTo>
                      <a:pt x="1363" y="9538"/>
                    </a:moveTo>
                    <a:cubicBezTo>
                      <a:pt x="1360" y="9540"/>
                      <a:pt x="1346" y="9556"/>
                      <a:pt x="1347" y="9570"/>
                    </a:cubicBezTo>
                    <a:cubicBezTo>
                      <a:pt x="1347" y="9581"/>
                      <a:pt x="1351" y="9597"/>
                      <a:pt x="1383" y="9623"/>
                    </a:cubicBezTo>
                    <a:cubicBezTo>
                      <a:pt x="1473" y="9695"/>
                      <a:pt x="1646" y="9778"/>
                      <a:pt x="1712" y="9820"/>
                    </a:cubicBezTo>
                    <a:cubicBezTo>
                      <a:pt x="1754" y="9847"/>
                      <a:pt x="1795" y="9871"/>
                      <a:pt x="1828" y="9905"/>
                    </a:cubicBezTo>
                    <a:cubicBezTo>
                      <a:pt x="1936" y="9794"/>
                      <a:pt x="1936" y="9794"/>
                      <a:pt x="1936" y="9794"/>
                    </a:cubicBezTo>
                    <a:cubicBezTo>
                      <a:pt x="1911" y="9773"/>
                      <a:pt x="1805" y="9683"/>
                      <a:pt x="1700" y="9593"/>
                    </a:cubicBezTo>
                    <a:cubicBezTo>
                      <a:pt x="1667" y="9566"/>
                      <a:pt x="1635" y="9538"/>
                      <a:pt x="1605" y="9513"/>
                    </a:cubicBezTo>
                    <a:cubicBezTo>
                      <a:pt x="1542" y="9592"/>
                      <a:pt x="1542" y="9592"/>
                      <a:pt x="1542" y="9592"/>
                    </a:cubicBezTo>
                    <a:cubicBezTo>
                      <a:pt x="1437" y="9508"/>
                      <a:pt x="1437" y="9508"/>
                      <a:pt x="1437" y="9508"/>
                    </a:cubicBezTo>
                    <a:cubicBezTo>
                      <a:pt x="1504" y="9425"/>
                      <a:pt x="1504" y="9425"/>
                      <a:pt x="1504" y="9425"/>
                    </a:cubicBezTo>
                    <a:cubicBezTo>
                      <a:pt x="1494" y="9416"/>
                      <a:pt x="1485" y="9408"/>
                      <a:pt x="1478" y="9402"/>
                    </a:cubicBezTo>
                    <a:cubicBezTo>
                      <a:pt x="1477" y="9401"/>
                      <a:pt x="1477" y="9401"/>
                      <a:pt x="1476" y="9400"/>
                    </a:cubicBezTo>
                    <a:cubicBezTo>
                      <a:pt x="1365" y="9536"/>
                      <a:pt x="1365" y="9536"/>
                      <a:pt x="1365" y="9536"/>
                    </a:cubicBezTo>
                    <a:cubicBezTo>
                      <a:pt x="1363" y="9538"/>
                      <a:pt x="1363" y="9538"/>
                      <a:pt x="1363" y="9538"/>
                    </a:cubicBezTo>
                    <a:close/>
                    <a:moveTo>
                      <a:pt x="1651" y="9261"/>
                    </a:moveTo>
                    <a:cubicBezTo>
                      <a:pt x="1523" y="9422"/>
                      <a:pt x="1523" y="9422"/>
                      <a:pt x="1523" y="9422"/>
                    </a:cubicBezTo>
                    <a:cubicBezTo>
                      <a:pt x="1545" y="9442"/>
                      <a:pt x="1573" y="9466"/>
                      <a:pt x="1604" y="9493"/>
                    </a:cubicBezTo>
                    <a:cubicBezTo>
                      <a:pt x="1734" y="9330"/>
                      <a:pt x="1734" y="9330"/>
                      <a:pt x="1734" y="9330"/>
                    </a:cubicBezTo>
                    <a:lnTo>
                      <a:pt x="1651" y="9261"/>
                    </a:lnTo>
                    <a:close/>
                    <a:moveTo>
                      <a:pt x="1742" y="9319"/>
                    </a:moveTo>
                    <a:cubicBezTo>
                      <a:pt x="1807" y="9237"/>
                      <a:pt x="1807" y="9237"/>
                      <a:pt x="1807" y="9237"/>
                    </a:cubicBezTo>
                    <a:cubicBezTo>
                      <a:pt x="1723" y="9171"/>
                      <a:pt x="1723" y="9171"/>
                      <a:pt x="1723" y="9171"/>
                    </a:cubicBezTo>
                    <a:cubicBezTo>
                      <a:pt x="1660" y="9250"/>
                      <a:pt x="1660" y="9250"/>
                      <a:pt x="1660" y="9250"/>
                    </a:cubicBezTo>
                    <a:lnTo>
                      <a:pt x="1742" y="9319"/>
                    </a:lnTo>
                    <a:close/>
                    <a:moveTo>
                      <a:pt x="1533" y="9450"/>
                    </a:moveTo>
                    <a:cubicBezTo>
                      <a:pt x="1526" y="9444"/>
                      <a:pt x="1520" y="9439"/>
                      <a:pt x="1514" y="9433"/>
                    </a:cubicBezTo>
                    <a:cubicBezTo>
                      <a:pt x="1456" y="9506"/>
                      <a:pt x="1456" y="9506"/>
                      <a:pt x="1456" y="9506"/>
                    </a:cubicBezTo>
                    <a:cubicBezTo>
                      <a:pt x="1540" y="9574"/>
                      <a:pt x="1540" y="9574"/>
                      <a:pt x="1540" y="9574"/>
                    </a:cubicBezTo>
                    <a:cubicBezTo>
                      <a:pt x="1595" y="9504"/>
                      <a:pt x="1595" y="9504"/>
                      <a:pt x="1595" y="9504"/>
                    </a:cubicBezTo>
                    <a:cubicBezTo>
                      <a:pt x="1573" y="9485"/>
                      <a:pt x="1552" y="9466"/>
                      <a:pt x="1533" y="9450"/>
                    </a:cubicBezTo>
                    <a:close/>
                    <a:moveTo>
                      <a:pt x="1641" y="9252"/>
                    </a:moveTo>
                    <a:cubicBezTo>
                      <a:pt x="1614" y="9230"/>
                      <a:pt x="1614" y="9230"/>
                      <a:pt x="1614" y="9230"/>
                    </a:cubicBezTo>
                    <a:cubicBezTo>
                      <a:pt x="1485" y="9389"/>
                      <a:pt x="1485" y="9389"/>
                      <a:pt x="1485" y="9389"/>
                    </a:cubicBezTo>
                    <a:cubicBezTo>
                      <a:pt x="1492" y="9396"/>
                      <a:pt x="1502" y="9404"/>
                      <a:pt x="1513" y="9414"/>
                    </a:cubicBezTo>
                    <a:lnTo>
                      <a:pt x="1641" y="9252"/>
                    </a:lnTo>
                    <a:close/>
                    <a:moveTo>
                      <a:pt x="1948" y="9787"/>
                    </a:moveTo>
                    <a:cubicBezTo>
                      <a:pt x="1958" y="9762"/>
                      <a:pt x="1986" y="9668"/>
                      <a:pt x="2014" y="9577"/>
                    </a:cubicBezTo>
                    <a:cubicBezTo>
                      <a:pt x="2015" y="9573"/>
                      <a:pt x="2016" y="9570"/>
                      <a:pt x="2017" y="9567"/>
                    </a:cubicBezTo>
                    <a:cubicBezTo>
                      <a:pt x="2017" y="9567"/>
                      <a:pt x="2017" y="9567"/>
                      <a:pt x="2017" y="9567"/>
                    </a:cubicBezTo>
                    <a:cubicBezTo>
                      <a:pt x="1744" y="9338"/>
                      <a:pt x="1744" y="9338"/>
                      <a:pt x="1744" y="9338"/>
                    </a:cubicBezTo>
                    <a:cubicBezTo>
                      <a:pt x="1614" y="9502"/>
                      <a:pt x="1614" y="9502"/>
                      <a:pt x="1614" y="9502"/>
                    </a:cubicBezTo>
                    <a:cubicBezTo>
                      <a:pt x="1646" y="9529"/>
                      <a:pt x="1680" y="9558"/>
                      <a:pt x="1714" y="9588"/>
                    </a:cubicBezTo>
                    <a:cubicBezTo>
                      <a:pt x="1823" y="9681"/>
                      <a:pt x="1931" y="9772"/>
                      <a:pt x="1948" y="9787"/>
                    </a:cubicBezTo>
                    <a:close/>
                    <a:moveTo>
                      <a:pt x="972" y="9515"/>
                    </a:moveTo>
                    <a:cubicBezTo>
                      <a:pt x="968" y="9533"/>
                      <a:pt x="953" y="9577"/>
                      <a:pt x="939" y="9621"/>
                    </a:cubicBezTo>
                    <a:cubicBezTo>
                      <a:pt x="925" y="9662"/>
                      <a:pt x="911" y="9702"/>
                      <a:pt x="906" y="9714"/>
                    </a:cubicBezTo>
                    <a:cubicBezTo>
                      <a:pt x="1038" y="9820"/>
                      <a:pt x="1038" y="9820"/>
                      <a:pt x="1038" y="9820"/>
                    </a:cubicBezTo>
                    <a:cubicBezTo>
                      <a:pt x="1054" y="9809"/>
                      <a:pt x="1113" y="9768"/>
                      <a:pt x="1173" y="9727"/>
                    </a:cubicBezTo>
                    <a:cubicBezTo>
                      <a:pt x="1207" y="9702"/>
                      <a:pt x="1242" y="9678"/>
                      <a:pt x="1268" y="9659"/>
                    </a:cubicBezTo>
                    <a:cubicBezTo>
                      <a:pt x="1281" y="9650"/>
                      <a:pt x="1292" y="9642"/>
                      <a:pt x="1299" y="9636"/>
                    </a:cubicBezTo>
                    <a:cubicBezTo>
                      <a:pt x="1301" y="9635"/>
                      <a:pt x="1302" y="9634"/>
                      <a:pt x="1303" y="9633"/>
                    </a:cubicBezTo>
                    <a:cubicBezTo>
                      <a:pt x="1289" y="9612"/>
                      <a:pt x="1281" y="9591"/>
                      <a:pt x="1281" y="9570"/>
                    </a:cubicBezTo>
                    <a:cubicBezTo>
                      <a:pt x="1281" y="9561"/>
                      <a:pt x="1283" y="9553"/>
                      <a:pt x="1285" y="9546"/>
                    </a:cubicBezTo>
                    <a:lnTo>
                      <a:pt x="972" y="9515"/>
                    </a:lnTo>
                    <a:close/>
                    <a:moveTo>
                      <a:pt x="1048" y="9830"/>
                    </a:moveTo>
                    <a:cubicBezTo>
                      <a:pt x="1212" y="10045"/>
                      <a:pt x="1212" y="10045"/>
                      <a:pt x="1212" y="10045"/>
                    </a:cubicBezTo>
                    <a:cubicBezTo>
                      <a:pt x="1514" y="10132"/>
                      <a:pt x="1514" y="10132"/>
                      <a:pt x="1514" y="10132"/>
                    </a:cubicBezTo>
                    <a:cubicBezTo>
                      <a:pt x="1636" y="9851"/>
                      <a:pt x="1636" y="9851"/>
                      <a:pt x="1636" y="9851"/>
                    </a:cubicBezTo>
                    <a:cubicBezTo>
                      <a:pt x="1583" y="9822"/>
                      <a:pt x="1505" y="9781"/>
                      <a:pt x="1434" y="9738"/>
                    </a:cubicBezTo>
                    <a:cubicBezTo>
                      <a:pt x="1216" y="10040"/>
                      <a:pt x="1216" y="10040"/>
                      <a:pt x="1216" y="10040"/>
                    </a:cubicBezTo>
                    <a:cubicBezTo>
                      <a:pt x="1204" y="10032"/>
                      <a:pt x="1204" y="10032"/>
                      <a:pt x="1204" y="10032"/>
                    </a:cubicBezTo>
                    <a:cubicBezTo>
                      <a:pt x="1422" y="9730"/>
                      <a:pt x="1422" y="9730"/>
                      <a:pt x="1422" y="9730"/>
                    </a:cubicBezTo>
                    <a:cubicBezTo>
                      <a:pt x="1393" y="9712"/>
                      <a:pt x="1365" y="9693"/>
                      <a:pt x="1342" y="9675"/>
                    </a:cubicBezTo>
                    <a:cubicBezTo>
                      <a:pt x="1329" y="9665"/>
                      <a:pt x="1320" y="9655"/>
                      <a:pt x="1311" y="9644"/>
                    </a:cubicBezTo>
                    <a:cubicBezTo>
                      <a:pt x="1304" y="9650"/>
                      <a:pt x="1294" y="9657"/>
                      <a:pt x="1281" y="9667"/>
                    </a:cubicBezTo>
                    <a:cubicBezTo>
                      <a:pt x="1282" y="9667"/>
                      <a:pt x="1282" y="9667"/>
                      <a:pt x="1282" y="9667"/>
                    </a:cubicBezTo>
                    <a:cubicBezTo>
                      <a:pt x="1396" y="9733"/>
                      <a:pt x="1396" y="9733"/>
                      <a:pt x="1396" y="9733"/>
                    </a:cubicBezTo>
                    <a:cubicBezTo>
                      <a:pt x="1326" y="9852"/>
                      <a:pt x="1326" y="9852"/>
                      <a:pt x="1326" y="9852"/>
                    </a:cubicBezTo>
                    <a:cubicBezTo>
                      <a:pt x="1207" y="9783"/>
                      <a:pt x="1207" y="9783"/>
                      <a:pt x="1207" y="9783"/>
                    </a:cubicBezTo>
                    <a:cubicBezTo>
                      <a:pt x="1270" y="9674"/>
                      <a:pt x="1270" y="9674"/>
                      <a:pt x="1270" y="9674"/>
                    </a:cubicBezTo>
                    <a:cubicBezTo>
                      <a:pt x="1199" y="9725"/>
                      <a:pt x="1075" y="9811"/>
                      <a:pt x="1048" y="9830"/>
                    </a:cubicBezTo>
                    <a:close/>
                    <a:moveTo>
                      <a:pt x="1225" y="9778"/>
                    </a:moveTo>
                    <a:cubicBezTo>
                      <a:pt x="1321" y="9834"/>
                      <a:pt x="1321" y="9834"/>
                      <a:pt x="1321" y="9834"/>
                    </a:cubicBezTo>
                    <a:cubicBezTo>
                      <a:pt x="1378" y="9738"/>
                      <a:pt x="1378" y="9738"/>
                      <a:pt x="1378" y="9738"/>
                    </a:cubicBezTo>
                    <a:cubicBezTo>
                      <a:pt x="1281" y="9682"/>
                      <a:pt x="1281" y="9682"/>
                      <a:pt x="1281" y="9682"/>
                    </a:cubicBezTo>
                    <a:lnTo>
                      <a:pt x="1225" y="9778"/>
                    </a:lnTo>
                    <a:close/>
                    <a:moveTo>
                      <a:pt x="1527" y="10136"/>
                    </a:moveTo>
                    <a:cubicBezTo>
                      <a:pt x="1810" y="10217"/>
                      <a:pt x="1810" y="10217"/>
                      <a:pt x="1810" y="10217"/>
                    </a:cubicBezTo>
                    <a:cubicBezTo>
                      <a:pt x="1855" y="10107"/>
                      <a:pt x="1855" y="10107"/>
                      <a:pt x="1855" y="10107"/>
                    </a:cubicBezTo>
                    <a:cubicBezTo>
                      <a:pt x="1848" y="10093"/>
                      <a:pt x="1844" y="10078"/>
                      <a:pt x="1837" y="10058"/>
                    </a:cubicBezTo>
                    <a:cubicBezTo>
                      <a:pt x="1831" y="10037"/>
                      <a:pt x="1822" y="10012"/>
                      <a:pt x="1811" y="9991"/>
                    </a:cubicBezTo>
                    <a:cubicBezTo>
                      <a:pt x="1790" y="9947"/>
                      <a:pt x="1741" y="9916"/>
                      <a:pt x="1677" y="9875"/>
                    </a:cubicBezTo>
                    <a:cubicBezTo>
                      <a:pt x="1669" y="9870"/>
                      <a:pt x="1659" y="9865"/>
                      <a:pt x="1648" y="9858"/>
                    </a:cubicBezTo>
                    <a:lnTo>
                      <a:pt x="1527" y="10136"/>
                    </a:lnTo>
                    <a:close/>
                    <a:moveTo>
                      <a:pt x="2201" y="9972"/>
                    </a:moveTo>
                    <a:cubicBezTo>
                      <a:pt x="2440" y="10011"/>
                      <a:pt x="2440" y="10011"/>
                      <a:pt x="2440" y="10011"/>
                    </a:cubicBezTo>
                    <a:cubicBezTo>
                      <a:pt x="2439" y="9853"/>
                      <a:pt x="2439" y="9853"/>
                      <a:pt x="2439" y="9853"/>
                    </a:cubicBezTo>
                    <a:cubicBezTo>
                      <a:pt x="2215" y="9838"/>
                      <a:pt x="2215" y="9838"/>
                      <a:pt x="2215" y="9838"/>
                    </a:cubicBezTo>
                    <a:cubicBezTo>
                      <a:pt x="2216" y="9824"/>
                      <a:pt x="2216" y="9824"/>
                      <a:pt x="2216" y="9824"/>
                    </a:cubicBezTo>
                    <a:cubicBezTo>
                      <a:pt x="2439" y="9839"/>
                      <a:pt x="2439" y="9839"/>
                      <a:pt x="2439" y="9839"/>
                    </a:cubicBezTo>
                    <a:cubicBezTo>
                      <a:pt x="2439" y="9731"/>
                      <a:pt x="2439" y="9731"/>
                      <a:pt x="2439" y="9731"/>
                    </a:cubicBezTo>
                    <a:cubicBezTo>
                      <a:pt x="2223" y="9709"/>
                      <a:pt x="2223" y="9709"/>
                      <a:pt x="2223" y="9709"/>
                    </a:cubicBezTo>
                    <a:cubicBezTo>
                      <a:pt x="2224" y="9695"/>
                      <a:pt x="2224" y="9695"/>
                      <a:pt x="2224" y="9695"/>
                    </a:cubicBezTo>
                    <a:cubicBezTo>
                      <a:pt x="2439" y="9717"/>
                      <a:pt x="2439" y="9717"/>
                      <a:pt x="2439" y="9717"/>
                    </a:cubicBezTo>
                    <a:cubicBezTo>
                      <a:pt x="2438" y="9617"/>
                      <a:pt x="2438" y="9617"/>
                      <a:pt x="2438" y="9617"/>
                    </a:cubicBezTo>
                    <a:cubicBezTo>
                      <a:pt x="2346" y="9610"/>
                      <a:pt x="2245" y="9602"/>
                      <a:pt x="2231" y="9601"/>
                    </a:cubicBezTo>
                    <a:lnTo>
                      <a:pt x="2201" y="9972"/>
                    </a:lnTo>
                    <a:close/>
                    <a:moveTo>
                      <a:pt x="2569" y="9627"/>
                    </a:moveTo>
                    <a:cubicBezTo>
                      <a:pt x="2570" y="9731"/>
                      <a:pt x="2570" y="9731"/>
                      <a:pt x="2570" y="9731"/>
                    </a:cubicBezTo>
                    <a:cubicBezTo>
                      <a:pt x="2574" y="9731"/>
                      <a:pt x="2574" y="9731"/>
                      <a:pt x="2574" y="9731"/>
                    </a:cubicBezTo>
                    <a:cubicBezTo>
                      <a:pt x="2574" y="9730"/>
                      <a:pt x="2573" y="9730"/>
                      <a:pt x="2573" y="9729"/>
                    </a:cubicBezTo>
                    <a:cubicBezTo>
                      <a:pt x="2573" y="9695"/>
                      <a:pt x="2573" y="9661"/>
                      <a:pt x="2573" y="9627"/>
                    </a:cubicBezTo>
                    <a:cubicBezTo>
                      <a:pt x="2572" y="9627"/>
                      <a:pt x="2570" y="9627"/>
                      <a:pt x="2569" y="9627"/>
                    </a:cubicBezTo>
                    <a:close/>
                    <a:moveTo>
                      <a:pt x="2570" y="9745"/>
                    </a:moveTo>
                    <a:cubicBezTo>
                      <a:pt x="2572" y="9848"/>
                      <a:pt x="2572" y="9848"/>
                      <a:pt x="2572" y="9848"/>
                    </a:cubicBezTo>
                    <a:cubicBezTo>
                      <a:pt x="2575" y="9848"/>
                      <a:pt x="2575" y="9848"/>
                      <a:pt x="2575" y="9848"/>
                    </a:cubicBezTo>
                    <a:cubicBezTo>
                      <a:pt x="2574" y="9814"/>
                      <a:pt x="2574" y="9780"/>
                      <a:pt x="2574" y="9745"/>
                    </a:cubicBezTo>
                    <a:lnTo>
                      <a:pt x="2570" y="9745"/>
                    </a:lnTo>
                    <a:close/>
                    <a:moveTo>
                      <a:pt x="2572" y="9862"/>
                    </a:moveTo>
                    <a:cubicBezTo>
                      <a:pt x="2574" y="10033"/>
                      <a:pt x="2574" y="10033"/>
                      <a:pt x="2574" y="10033"/>
                    </a:cubicBezTo>
                    <a:cubicBezTo>
                      <a:pt x="2578" y="10034"/>
                      <a:pt x="2578" y="10034"/>
                      <a:pt x="2578" y="10034"/>
                    </a:cubicBezTo>
                    <a:cubicBezTo>
                      <a:pt x="2577" y="9979"/>
                      <a:pt x="2576" y="9921"/>
                      <a:pt x="2575" y="9862"/>
                    </a:cubicBezTo>
                    <a:lnTo>
                      <a:pt x="2572" y="9862"/>
                    </a:lnTo>
                    <a:close/>
                    <a:moveTo>
                      <a:pt x="2580" y="8755"/>
                    </a:moveTo>
                    <a:cubicBezTo>
                      <a:pt x="2343" y="8722"/>
                      <a:pt x="2343" y="8722"/>
                      <a:pt x="2343" y="8722"/>
                    </a:cubicBezTo>
                    <a:cubicBezTo>
                      <a:pt x="2336" y="8703"/>
                      <a:pt x="2336" y="8703"/>
                      <a:pt x="2336" y="8703"/>
                    </a:cubicBezTo>
                    <a:cubicBezTo>
                      <a:pt x="2336" y="8703"/>
                      <a:pt x="2336" y="8702"/>
                      <a:pt x="2334" y="8698"/>
                    </a:cubicBezTo>
                    <a:cubicBezTo>
                      <a:pt x="2334" y="8697"/>
                      <a:pt x="2333" y="8695"/>
                      <a:pt x="2332" y="8694"/>
                    </a:cubicBezTo>
                    <a:cubicBezTo>
                      <a:pt x="2331" y="8694"/>
                      <a:pt x="2331" y="8694"/>
                      <a:pt x="2328" y="8695"/>
                    </a:cubicBezTo>
                    <a:cubicBezTo>
                      <a:pt x="2293" y="8699"/>
                      <a:pt x="2050" y="8729"/>
                      <a:pt x="2007" y="8734"/>
                    </a:cubicBezTo>
                    <a:cubicBezTo>
                      <a:pt x="2014" y="8836"/>
                      <a:pt x="2014" y="8836"/>
                      <a:pt x="2014" y="8836"/>
                    </a:cubicBezTo>
                    <a:cubicBezTo>
                      <a:pt x="2189" y="8895"/>
                      <a:pt x="2189" y="8895"/>
                      <a:pt x="2189" y="8895"/>
                    </a:cubicBezTo>
                    <a:cubicBezTo>
                      <a:pt x="2575" y="8915"/>
                      <a:pt x="2575" y="8915"/>
                      <a:pt x="2575" y="8915"/>
                    </a:cubicBezTo>
                    <a:cubicBezTo>
                      <a:pt x="2575" y="8874"/>
                      <a:pt x="2575" y="8839"/>
                      <a:pt x="2575" y="8814"/>
                    </a:cubicBezTo>
                    <a:cubicBezTo>
                      <a:pt x="2575" y="8794"/>
                      <a:pt x="2577" y="8774"/>
                      <a:pt x="2580" y="8755"/>
                    </a:cubicBezTo>
                    <a:close/>
                    <a:moveTo>
                      <a:pt x="2326" y="8681"/>
                    </a:moveTo>
                    <a:cubicBezTo>
                      <a:pt x="2305" y="8637"/>
                      <a:pt x="2245" y="8533"/>
                      <a:pt x="2118" y="8439"/>
                    </a:cubicBezTo>
                    <a:cubicBezTo>
                      <a:pt x="2095" y="8421"/>
                      <a:pt x="2059" y="8394"/>
                      <a:pt x="2014" y="8361"/>
                    </a:cubicBezTo>
                    <a:cubicBezTo>
                      <a:pt x="2011" y="8363"/>
                      <a:pt x="2008" y="8364"/>
                      <a:pt x="2006" y="8365"/>
                    </a:cubicBezTo>
                    <a:cubicBezTo>
                      <a:pt x="1889" y="8565"/>
                      <a:pt x="1889" y="8565"/>
                      <a:pt x="1889" y="8565"/>
                    </a:cubicBezTo>
                    <a:cubicBezTo>
                      <a:pt x="1792" y="8508"/>
                      <a:pt x="1792" y="8508"/>
                      <a:pt x="1792" y="8508"/>
                    </a:cubicBezTo>
                    <a:cubicBezTo>
                      <a:pt x="1569" y="8838"/>
                      <a:pt x="1569" y="8838"/>
                      <a:pt x="1569" y="8838"/>
                    </a:cubicBezTo>
                    <a:cubicBezTo>
                      <a:pt x="1606" y="8872"/>
                      <a:pt x="1700" y="8961"/>
                      <a:pt x="1788" y="9045"/>
                    </a:cubicBezTo>
                    <a:cubicBezTo>
                      <a:pt x="2001" y="8848"/>
                      <a:pt x="2001" y="8848"/>
                      <a:pt x="2001" y="8848"/>
                    </a:cubicBezTo>
                    <a:cubicBezTo>
                      <a:pt x="1992" y="8722"/>
                      <a:pt x="1992" y="8722"/>
                      <a:pt x="1992" y="8722"/>
                    </a:cubicBezTo>
                    <a:cubicBezTo>
                      <a:pt x="1999" y="8721"/>
                      <a:pt x="1999" y="8721"/>
                      <a:pt x="1999" y="8721"/>
                    </a:cubicBezTo>
                    <a:cubicBezTo>
                      <a:pt x="1999" y="8721"/>
                      <a:pt x="2082" y="8711"/>
                      <a:pt x="2165" y="8701"/>
                    </a:cubicBezTo>
                    <a:cubicBezTo>
                      <a:pt x="2206" y="8696"/>
                      <a:pt x="2248" y="8691"/>
                      <a:pt x="2279" y="8687"/>
                    </a:cubicBezTo>
                    <a:cubicBezTo>
                      <a:pt x="2294" y="8685"/>
                      <a:pt x="2307" y="8683"/>
                      <a:pt x="2316" y="8682"/>
                    </a:cubicBezTo>
                    <a:cubicBezTo>
                      <a:pt x="2321" y="8681"/>
                      <a:pt x="2324" y="8681"/>
                      <a:pt x="2326" y="8681"/>
                    </a:cubicBezTo>
                    <a:close/>
                    <a:moveTo>
                      <a:pt x="2292" y="8340"/>
                    </a:moveTo>
                    <a:cubicBezTo>
                      <a:pt x="2354" y="8327"/>
                      <a:pt x="2421" y="8300"/>
                      <a:pt x="2472" y="8277"/>
                    </a:cubicBezTo>
                    <a:cubicBezTo>
                      <a:pt x="2497" y="8265"/>
                      <a:pt x="2519" y="8254"/>
                      <a:pt x="2534" y="8246"/>
                    </a:cubicBezTo>
                    <a:cubicBezTo>
                      <a:pt x="2543" y="8241"/>
                      <a:pt x="2550" y="8237"/>
                      <a:pt x="2554" y="8235"/>
                    </a:cubicBezTo>
                    <a:cubicBezTo>
                      <a:pt x="2566" y="8223"/>
                      <a:pt x="2597" y="8193"/>
                      <a:pt x="2639" y="8152"/>
                    </a:cubicBezTo>
                    <a:cubicBezTo>
                      <a:pt x="2587" y="7897"/>
                      <a:pt x="2587" y="7897"/>
                      <a:pt x="2587" y="7897"/>
                    </a:cubicBezTo>
                    <a:cubicBezTo>
                      <a:pt x="2388" y="7693"/>
                      <a:pt x="2388" y="7693"/>
                      <a:pt x="2388" y="7693"/>
                    </a:cubicBezTo>
                    <a:cubicBezTo>
                      <a:pt x="2363" y="7741"/>
                      <a:pt x="2146" y="8153"/>
                      <a:pt x="2059" y="8312"/>
                    </a:cubicBezTo>
                    <a:cubicBezTo>
                      <a:pt x="2093" y="8338"/>
                      <a:pt x="2122" y="8360"/>
                      <a:pt x="2144" y="8376"/>
                    </a:cubicBezTo>
                    <a:cubicBezTo>
                      <a:pt x="2165" y="8369"/>
                      <a:pt x="2208" y="8358"/>
                      <a:pt x="2292" y="8340"/>
                    </a:cubicBezTo>
                    <a:close/>
                    <a:moveTo>
                      <a:pt x="2520" y="8326"/>
                    </a:moveTo>
                    <a:cubicBezTo>
                      <a:pt x="2524" y="8333"/>
                      <a:pt x="2529" y="8340"/>
                      <a:pt x="2534" y="8348"/>
                    </a:cubicBezTo>
                    <a:cubicBezTo>
                      <a:pt x="2558" y="8385"/>
                      <a:pt x="2593" y="8438"/>
                      <a:pt x="2622" y="8482"/>
                    </a:cubicBezTo>
                    <a:cubicBezTo>
                      <a:pt x="2636" y="8503"/>
                      <a:pt x="2649" y="8523"/>
                      <a:pt x="2659" y="8538"/>
                    </a:cubicBezTo>
                    <a:cubicBezTo>
                      <a:pt x="2663" y="8545"/>
                      <a:pt x="2667" y="8552"/>
                      <a:pt x="2670" y="8556"/>
                    </a:cubicBezTo>
                    <a:cubicBezTo>
                      <a:pt x="2670" y="8557"/>
                      <a:pt x="2670" y="8557"/>
                      <a:pt x="2670" y="8557"/>
                    </a:cubicBezTo>
                    <a:cubicBezTo>
                      <a:pt x="2691" y="8532"/>
                      <a:pt x="2714" y="8510"/>
                      <a:pt x="2736" y="8492"/>
                    </a:cubicBezTo>
                    <a:cubicBezTo>
                      <a:pt x="2807" y="8434"/>
                      <a:pt x="2876" y="8407"/>
                      <a:pt x="2892" y="8401"/>
                    </a:cubicBezTo>
                    <a:cubicBezTo>
                      <a:pt x="3043" y="8317"/>
                      <a:pt x="3043" y="8317"/>
                      <a:pt x="3043" y="8317"/>
                    </a:cubicBezTo>
                    <a:cubicBezTo>
                      <a:pt x="3025" y="8292"/>
                      <a:pt x="2979" y="8232"/>
                      <a:pt x="2933" y="8174"/>
                    </a:cubicBezTo>
                    <a:cubicBezTo>
                      <a:pt x="2905" y="8137"/>
                      <a:pt x="2876" y="8101"/>
                      <a:pt x="2855" y="8074"/>
                    </a:cubicBezTo>
                    <a:cubicBezTo>
                      <a:pt x="2850" y="8067"/>
                      <a:pt x="2845" y="8060"/>
                      <a:pt x="2840" y="8054"/>
                    </a:cubicBezTo>
                    <a:cubicBezTo>
                      <a:pt x="2721" y="8163"/>
                      <a:pt x="2615" y="8267"/>
                      <a:pt x="2596" y="8285"/>
                    </a:cubicBezTo>
                    <a:cubicBezTo>
                      <a:pt x="2593" y="8288"/>
                      <a:pt x="2593" y="8288"/>
                      <a:pt x="2593" y="8288"/>
                    </a:cubicBezTo>
                    <a:cubicBezTo>
                      <a:pt x="2590" y="8290"/>
                      <a:pt x="2590" y="8290"/>
                      <a:pt x="2590" y="8290"/>
                    </a:cubicBezTo>
                    <a:cubicBezTo>
                      <a:pt x="2589" y="8290"/>
                      <a:pt x="2562" y="8306"/>
                      <a:pt x="2520" y="8326"/>
                    </a:cubicBezTo>
                    <a:close/>
                    <a:moveTo>
                      <a:pt x="2654" y="8723"/>
                    </a:moveTo>
                    <a:cubicBezTo>
                      <a:pt x="3152" y="8775"/>
                      <a:pt x="3152" y="8775"/>
                      <a:pt x="3152" y="8775"/>
                    </a:cubicBezTo>
                    <a:cubicBezTo>
                      <a:pt x="3156" y="8736"/>
                      <a:pt x="3159" y="8705"/>
                      <a:pt x="3159" y="8699"/>
                    </a:cubicBezTo>
                    <a:cubicBezTo>
                      <a:pt x="3159" y="8699"/>
                      <a:pt x="3159" y="8699"/>
                      <a:pt x="3159" y="8699"/>
                    </a:cubicBezTo>
                    <a:cubicBezTo>
                      <a:pt x="3159" y="8698"/>
                      <a:pt x="3159" y="8698"/>
                      <a:pt x="3159" y="8698"/>
                    </a:cubicBezTo>
                    <a:cubicBezTo>
                      <a:pt x="3159" y="8698"/>
                      <a:pt x="3159" y="8698"/>
                      <a:pt x="3159" y="8698"/>
                    </a:cubicBezTo>
                    <a:cubicBezTo>
                      <a:pt x="3138" y="8678"/>
                      <a:pt x="3089" y="8630"/>
                      <a:pt x="3040" y="8581"/>
                    </a:cubicBezTo>
                    <a:cubicBezTo>
                      <a:pt x="3008" y="8549"/>
                      <a:pt x="2975" y="8517"/>
                      <a:pt x="2951" y="8493"/>
                    </a:cubicBezTo>
                    <a:cubicBezTo>
                      <a:pt x="2939" y="8481"/>
                      <a:pt x="2929" y="8471"/>
                      <a:pt x="2922" y="8464"/>
                    </a:cubicBezTo>
                    <a:cubicBezTo>
                      <a:pt x="2921" y="8463"/>
                      <a:pt x="2920" y="8462"/>
                      <a:pt x="2919" y="8461"/>
                    </a:cubicBezTo>
                    <a:cubicBezTo>
                      <a:pt x="2917" y="8462"/>
                      <a:pt x="2917" y="8462"/>
                      <a:pt x="2917" y="8462"/>
                    </a:cubicBezTo>
                    <a:cubicBezTo>
                      <a:pt x="2917" y="8462"/>
                      <a:pt x="2913" y="8463"/>
                      <a:pt x="2906" y="8466"/>
                    </a:cubicBezTo>
                    <a:cubicBezTo>
                      <a:pt x="2879" y="8477"/>
                      <a:pt x="2811" y="8509"/>
                      <a:pt x="2752" y="8565"/>
                    </a:cubicBezTo>
                    <a:cubicBezTo>
                      <a:pt x="2710" y="8606"/>
                      <a:pt x="2672" y="8657"/>
                      <a:pt x="2654" y="8723"/>
                    </a:cubicBezTo>
                    <a:close/>
                    <a:moveTo>
                      <a:pt x="3138" y="9018"/>
                    </a:moveTo>
                    <a:cubicBezTo>
                      <a:pt x="3198" y="9074"/>
                      <a:pt x="3198" y="9074"/>
                      <a:pt x="3198" y="9074"/>
                    </a:cubicBezTo>
                    <a:cubicBezTo>
                      <a:pt x="3089" y="9433"/>
                      <a:pt x="3089" y="9433"/>
                      <a:pt x="3089" y="9433"/>
                    </a:cubicBezTo>
                    <a:cubicBezTo>
                      <a:pt x="3146" y="9427"/>
                      <a:pt x="3199" y="9420"/>
                      <a:pt x="3243" y="9414"/>
                    </a:cubicBezTo>
                    <a:cubicBezTo>
                      <a:pt x="3278" y="9410"/>
                      <a:pt x="3308" y="9406"/>
                      <a:pt x="3328" y="9402"/>
                    </a:cubicBezTo>
                    <a:cubicBezTo>
                      <a:pt x="3338" y="9401"/>
                      <a:pt x="3346" y="9399"/>
                      <a:pt x="3351" y="9398"/>
                    </a:cubicBezTo>
                    <a:cubicBezTo>
                      <a:pt x="3351" y="9398"/>
                      <a:pt x="3351" y="9398"/>
                      <a:pt x="3352" y="9398"/>
                    </a:cubicBezTo>
                    <a:cubicBezTo>
                      <a:pt x="3355" y="9396"/>
                      <a:pt x="3359" y="9394"/>
                      <a:pt x="3364" y="9394"/>
                    </a:cubicBezTo>
                    <a:cubicBezTo>
                      <a:pt x="3369" y="9394"/>
                      <a:pt x="3371" y="9395"/>
                      <a:pt x="3374" y="9396"/>
                    </a:cubicBezTo>
                    <a:cubicBezTo>
                      <a:pt x="3570" y="9070"/>
                      <a:pt x="3570" y="9070"/>
                      <a:pt x="3570" y="9070"/>
                    </a:cubicBezTo>
                    <a:cubicBezTo>
                      <a:pt x="3446" y="8826"/>
                      <a:pt x="3446" y="8826"/>
                      <a:pt x="3446" y="8826"/>
                    </a:cubicBezTo>
                    <a:cubicBezTo>
                      <a:pt x="3172" y="8710"/>
                      <a:pt x="3172" y="8710"/>
                      <a:pt x="3172" y="8710"/>
                    </a:cubicBezTo>
                    <a:cubicBezTo>
                      <a:pt x="3168" y="8766"/>
                      <a:pt x="3142" y="8988"/>
                      <a:pt x="3138" y="9018"/>
                    </a:cubicBezTo>
                    <a:close/>
                    <a:moveTo>
                      <a:pt x="4806" y="8905"/>
                    </a:moveTo>
                    <a:cubicBezTo>
                      <a:pt x="4815" y="8658"/>
                      <a:pt x="4815" y="8658"/>
                      <a:pt x="4815" y="8658"/>
                    </a:cubicBezTo>
                    <a:cubicBezTo>
                      <a:pt x="4723" y="8639"/>
                      <a:pt x="4723" y="8639"/>
                      <a:pt x="4723" y="8639"/>
                    </a:cubicBezTo>
                    <a:cubicBezTo>
                      <a:pt x="4720" y="8639"/>
                      <a:pt x="4647" y="8657"/>
                      <a:pt x="4577" y="8674"/>
                    </a:cubicBezTo>
                    <a:cubicBezTo>
                      <a:pt x="4524" y="8687"/>
                      <a:pt x="4472" y="8701"/>
                      <a:pt x="4448" y="8707"/>
                    </a:cubicBezTo>
                    <a:cubicBezTo>
                      <a:pt x="4449" y="8712"/>
                      <a:pt x="4450" y="8717"/>
                      <a:pt x="4451" y="8723"/>
                    </a:cubicBezTo>
                    <a:cubicBezTo>
                      <a:pt x="4466" y="8798"/>
                      <a:pt x="4479" y="8868"/>
                      <a:pt x="4486" y="8908"/>
                    </a:cubicBezTo>
                    <a:lnTo>
                      <a:pt x="4806" y="8905"/>
                    </a:lnTo>
                    <a:close/>
                    <a:moveTo>
                      <a:pt x="5120" y="8903"/>
                    </a:moveTo>
                    <a:cubicBezTo>
                      <a:pt x="5568" y="8899"/>
                      <a:pt x="5568" y="8899"/>
                      <a:pt x="5568" y="8899"/>
                    </a:cubicBezTo>
                    <a:cubicBezTo>
                      <a:pt x="5553" y="8688"/>
                      <a:pt x="5553" y="8688"/>
                      <a:pt x="5553" y="8688"/>
                    </a:cubicBezTo>
                    <a:cubicBezTo>
                      <a:pt x="5529" y="8688"/>
                      <a:pt x="5440" y="8688"/>
                      <a:pt x="5351" y="8689"/>
                    </a:cubicBezTo>
                    <a:cubicBezTo>
                      <a:pt x="5298" y="8690"/>
                      <a:pt x="5245" y="8691"/>
                      <a:pt x="5205" y="8691"/>
                    </a:cubicBezTo>
                    <a:cubicBezTo>
                      <a:pt x="5184" y="8692"/>
                      <a:pt x="5167" y="8692"/>
                      <a:pt x="5155" y="8693"/>
                    </a:cubicBezTo>
                    <a:cubicBezTo>
                      <a:pt x="5149" y="8693"/>
                      <a:pt x="5144" y="8693"/>
                      <a:pt x="5140" y="8693"/>
                    </a:cubicBezTo>
                    <a:cubicBezTo>
                      <a:pt x="5139" y="8693"/>
                      <a:pt x="5137" y="8693"/>
                      <a:pt x="5136" y="8694"/>
                    </a:cubicBezTo>
                    <a:cubicBezTo>
                      <a:pt x="5136" y="8693"/>
                      <a:pt x="5136" y="8693"/>
                      <a:pt x="5136" y="8693"/>
                    </a:cubicBezTo>
                    <a:cubicBezTo>
                      <a:pt x="5131" y="8682"/>
                      <a:pt x="5131" y="8682"/>
                      <a:pt x="5131" y="8682"/>
                    </a:cubicBezTo>
                    <a:lnTo>
                      <a:pt x="5120" y="8903"/>
                    </a:lnTo>
                    <a:close/>
                    <a:moveTo>
                      <a:pt x="5582" y="8899"/>
                    </a:moveTo>
                    <a:cubicBezTo>
                      <a:pt x="5915" y="8896"/>
                      <a:pt x="5915" y="8896"/>
                      <a:pt x="5915" y="8896"/>
                    </a:cubicBezTo>
                    <a:cubicBezTo>
                      <a:pt x="6140" y="8730"/>
                      <a:pt x="6140" y="8730"/>
                      <a:pt x="6140" y="8730"/>
                    </a:cubicBezTo>
                    <a:cubicBezTo>
                      <a:pt x="6128" y="8575"/>
                      <a:pt x="6128" y="8575"/>
                      <a:pt x="6128" y="8575"/>
                    </a:cubicBezTo>
                    <a:cubicBezTo>
                      <a:pt x="5826" y="8504"/>
                      <a:pt x="5826" y="8504"/>
                      <a:pt x="5826" y="8504"/>
                    </a:cubicBezTo>
                    <a:cubicBezTo>
                      <a:pt x="5826" y="8499"/>
                      <a:pt x="5826" y="8499"/>
                      <a:pt x="5826" y="8499"/>
                    </a:cubicBezTo>
                    <a:cubicBezTo>
                      <a:pt x="5826" y="8499"/>
                      <a:pt x="5819" y="8443"/>
                      <a:pt x="5811" y="8388"/>
                    </a:cubicBezTo>
                    <a:cubicBezTo>
                      <a:pt x="5807" y="8360"/>
                      <a:pt x="5803" y="8332"/>
                      <a:pt x="5799" y="8311"/>
                    </a:cubicBezTo>
                    <a:cubicBezTo>
                      <a:pt x="5797" y="8301"/>
                      <a:pt x="5795" y="8292"/>
                      <a:pt x="5794" y="8286"/>
                    </a:cubicBezTo>
                    <a:cubicBezTo>
                      <a:pt x="5793" y="8285"/>
                      <a:pt x="5793" y="8284"/>
                      <a:pt x="5793" y="8283"/>
                    </a:cubicBezTo>
                    <a:cubicBezTo>
                      <a:pt x="5765" y="8291"/>
                      <a:pt x="5613" y="8336"/>
                      <a:pt x="5464" y="8381"/>
                    </a:cubicBezTo>
                    <a:cubicBezTo>
                      <a:pt x="5316" y="8425"/>
                      <a:pt x="5170" y="8469"/>
                      <a:pt x="5142" y="8477"/>
                    </a:cubicBezTo>
                    <a:cubicBezTo>
                      <a:pt x="5131" y="8680"/>
                      <a:pt x="5131" y="8680"/>
                      <a:pt x="5131" y="8680"/>
                    </a:cubicBezTo>
                    <a:cubicBezTo>
                      <a:pt x="5136" y="8679"/>
                      <a:pt x="5142" y="8679"/>
                      <a:pt x="5155" y="8679"/>
                    </a:cubicBezTo>
                    <a:cubicBezTo>
                      <a:pt x="5241" y="8675"/>
                      <a:pt x="5560" y="8674"/>
                      <a:pt x="5560" y="8674"/>
                    </a:cubicBezTo>
                    <a:cubicBezTo>
                      <a:pt x="5566" y="8674"/>
                      <a:pt x="5566" y="8674"/>
                      <a:pt x="5566" y="8674"/>
                    </a:cubicBezTo>
                    <a:lnTo>
                      <a:pt x="5582" y="8899"/>
                    </a:lnTo>
                    <a:close/>
                    <a:moveTo>
                      <a:pt x="5962" y="8943"/>
                    </a:moveTo>
                    <a:cubicBezTo>
                      <a:pt x="5978" y="9021"/>
                      <a:pt x="6035" y="9300"/>
                      <a:pt x="6049" y="9471"/>
                    </a:cubicBezTo>
                    <a:cubicBezTo>
                      <a:pt x="6052" y="9471"/>
                      <a:pt x="6055" y="9471"/>
                      <a:pt x="6058" y="9471"/>
                    </a:cubicBezTo>
                    <a:cubicBezTo>
                      <a:pt x="6099" y="9472"/>
                      <a:pt x="6166" y="9461"/>
                      <a:pt x="6206" y="9422"/>
                    </a:cubicBezTo>
                    <a:cubicBezTo>
                      <a:pt x="6229" y="9400"/>
                      <a:pt x="6246" y="9356"/>
                      <a:pt x="6248" y="9295"/>
                    </a:cubicBezTo>
                    <a:cubicBezTo>
                      <a:pt x="6255" y="9113"/>
                      <a:pt x="6256" y="8857"/>
                      <a:pt x="6256" y="8780"/>
                    </a:cubicBezTo>
                    <a:cubicBezTo>
                      <a:pt x="6185" y="8778"/>
                      <a:pt x="6185" y="8778"/>
                      <a:pt x="6185" y="8778"/>
                    </a:cubicBezTo>
                    <a:lnTo>
                      <a:pt x="5962" y="8943"/>
                    </a:lnTo>
                    <a:close/>
                    <a:moveTo>
                      <a:pt x="6508" y="9921"/>
                    </a:moveTo>
                    <a:cubicBezTo>
                      <a:pt x="6825" y="9991"/>
                      <a:pt x="6825" y="9991"/>
                      <a:pt x="6825" y="9991"/>
                    </a:cubicBezTo>
                    <a:cubicBezTo>
                      <a:pt x="6922" y="10170"/>
                      <a:pt x="6922" y="10170"/>
                      <a:pt x="6922" y="10170"/>
                    </a:cubicBezTo>
                    <a:cubicBezTo>
                      <a:pt x="6983" y="10032"/>
                      <a:pt x="7058" y="9861"/>
                      <a:pt x="7135" y="9685"/>
                    </a:cubicBezTo>
                    <a:cubicBezTo>
                      <a:pt x="6740" y="9641"/>
                      <a:pt x="6740" y="9641"/>
                      <a:pt x="6740" y="9641"/>
                    </a:cubicBezTo>
                    <a:cubicBezTo>
                      <a:pt x="6741" y="9632"/>
                      <a:pt x="6741" y="9632"/>
                      <a:pt x="6741" y="9632"/>
                    </a:cubicBezTo>
                    <a:cubicBezTo>
                      <a:pt x="6716" y="9648"/>
                      <a:pt x="6559" y="9752"/>
                      <a:pt x="6537" y="9766"/>
                    </a:cubicBezTo>
                    <a:cubicBezTo>
                      <a:pt x="6536" y="9771"/>
                      <a:pt x="6531" y="9794"/>
                      <a:pt x="6526" y="9822"/>
                    </a:cubicBezTo>
                    <a:cubicBezTo>
                      <a:pt x="6521" y="9850"/>
                      <a:pt x="6514" y="9885"/>
                      <a:pt x="6508" y="9921"/>
                    </a:cubicBezTo>
                    <a:close/>
                    <a:moveTo>
                      <a:pt x="7141" y="9672"/>
                    </a:moveTo>
                    <a:cubicBezTo>
                      <a:pt x="7157" y="9635"/>
                      <a:pt x="7174" y="9598"/>
                      <a:pt x="7190" y="9561"/>
                    </a:cubicBezTo>
                    <a:cubicBezTo>
                      <a:pt x="7243" y="9440"/>
                      <a:pt x="7296" y="9320"/>
                      <a:pt x="7344" y="9210"/>
                    </a:cubicBezTo>
                    <a:cubicBezTo>
                      <a:pt x="7172" y="9182"/>
                      <a:pt x="7172" y="9182"/>
                      <a:pt x="7172" y="9182"/>
                    </a:cubicBezTo>
                    <a:cubicBezTo>
                      <a:pt x="7157" y="9190"/>
                      <a:pt x="7055" y="9241"/>
                      <a:pt x="7047" y="9245"/>
                    </a:cubicBezTo>
                    <a:cubicBezTo>
                      <a:pt x="7043" y="9246"/>
                      <a:pt x="7040" y="9246"/>
                      <a:pt x="7033" y="9247"/>
                    </a:cubicBezTo>
                    <a:cubicBezTo>
                      <a:pt x="6994" y="9250"/>
                      <a:pt x="6871" y="9253"/>
                      <a:pt x="6841" y="9253"/>
                    </a:cubicBezTo>
                    <a:cubicBezTo>
                      <a:pt x="6834" y="9297"/>
                      <a:pt x="6829" y="9325"/>
                      <a:pt x="6829" y="9326"/>
                    </a:cubicBezTo>
                    <a:cubicBezTo>
                      <a:pt x="6829" y="9329"/>
                      <a:pt x="6829" y="9329"/>
                      <a:pt x="6829" y="9329"/>
                    </a:cubicBezTo>
                    <a:cubicBezTo>
                      <a:pt x="6715" y="9388"/>
                      <a:pt x="6715" y="9388"/>
                      <a:pt x="6715" y="9388"/>
                    </a:cubicBezTo>
                    <a:cubicBezTo>
                      <a:pt x="6748" y="9627"/>
                      <a:pt x="6748" y="9627"/>
                      <a:pt x="6748" y="9627"/>
                    </a:cubicBezTo>
                    <a:cubicBezTo>
                      <a:pt x="6747" y="9628"/>
                      <a:pt x="6747" y="9628"/>
                      <a:pt x="6747" y="9628"/>
                    </a:cubicBezTo>
                    <a:lnTo>
                      <a:pt x="7141" y="9672"/>
                    </a:lnTo>
                    <a:close/>
                    <a:moveTo>
                      <a:pt x="7350" y="9196"/>
                    </a:moveTo>
                    <a:cubicBezTo>
                      <a:pt x="7387" y="9113"/>
                      <a:pt x="7421" y="9035"/>
                      <a:pt x="7451" y="8967"/>
                    </a:cubicBezTo>
                    <a:cubicBezTo>
                      <a:pt x="7476" y="8909"/>
                      <a:pt x="7498" y="8859"/>
                      <a:pt x="7516" y="8818"/>
                    </a:cubicBezTo>
                    <a:cubicBezTo>
                      <a:pt x="6918" y="8800"/>
                      <a:pt x="6918" y="8800"/>
                      <a:pt x="6918" y="8800"/>
                    </a:cubicBezTo>
                    <a:cubicBezTo>
                      <a:pt x="6906" y="8866"/>
                      <a:pt x="6866" y="9108"/>
                      <a:pt x="6844" y="9239"/>
                    </a:cubicBezTo>
                    <a:cubicBezTo>
                      <a:pt x="6861" y="9239"/>
                      <a:pt x="6898" y="9238"/>
                      <a:pt x="6936" y="9237"/>
                    </a:cubicBezTo>
                    <a:cubicBezTo>
                      <a:pt x="6962" y="9236"/>
                      <a:pt x="6987" y="9235"/>
                      <a:pt x="7007" y="9234"/>
                    </a:cubicBezTo>
                    <a:cubicBezTo>
                      <a:pt x="7017" y="9234"/>
                      <a:pt x="7026" y="9233"/>
                      <a:pt x="7032" y="9233"/>
                    </a:cubicBezTo>
                    <a:cubicBezTo>
                      <a:pt x="7035" y="9233"/>
                      <a:pt x="7038" y="9232"/>
                      <a:pt x="7039" y="9232"/>
                    </a:cubicBezTo>
                    <a:cubicBezTo>
                      <a:pt x="7040" y="9232"/>
                      <a:pt x="7041" y="9232"/>
                      <a:pt x="7041" y="9232"/>
                    </a:cubicBezTo>
                    <a:cubicBezTo>
                      <a:pt x="7041" y="9232"/>
                      <a:pt x="7041" y="9232"/>
                      <a:pt x="7041" y="9232"/>
                    </a:cubicBezTo>
                    <a:cubicBezTo>
                      <a:pt x="7041" y="9232"/>
                      <a:pt x="7041" y="9232"/>
                      <a:pt x="7041" y="9232"/>
                    </a:cubicBezTo>
                    <a:cubicBezTo>
                      <a:pt x="7052" y="9226"/>
                      <a:pt x="7168" y="9169"/>
                      <a:pt x="7168" y="9169"/>
                    </a:cubicBezTo>
                    <a:cubicBezTo>
                      <a:pt x="7170" y="9168"/>
                      <a:pt x="7170" y="9168"/>
                      <a:pt x="7170" y="9168"/>
                    </a:cubicBezTo>
                    <a:lnTo>
                      <a:pt x="7350" y="9196"/>
                    </a:lnTo>
                    <a:close/>
                    <a:moveTo>
                      <a:pt x="7424" y="8514"/>
                    </a:moveTo>
                    <a:cubicBezTo>
                      <a:pt x="7416" y="8514"/>
                      <a:pt x="7416" y="8514"/>
                      <a:pt x="7416" y="8514"/>
                    </a:cubicBezTo>
                    <a:cubicBezTo>
                      <a:pt x="7421" y="8522"/>
                      <a:pt x="7427" y="8531"/>
                      <a:pt x="7432" y="8539"/>
                    </a:cubicBezTo>
                    <a:cubicBezTo>
                      <a:pt x="7440" y="8551"/>
                      <a:pt x="7447" y="8562"/>
                      <a:pt x="7455" y="8574"/>
                    </a:cubicBezTo>
                    <a:cubicBezTo>
                      <a:pt x="7524" y="8573"/>
                      <a:pt x="7524" y="8573"/>
                      <a:pt x="7524" y="8573"/>
                    </a:cubicBezTo>
                    <a:cubicBezTo>
                      <a:pt x="7525" y="8429"/>
                      <a:pt x="7525" y="8429"/>
                      <a:pt x="7525" y="8429"/>
                    </a:cubicBezTo>
                    <a:cubicBezTo>
                      <a:pt x="7421" y="8430"/>
                      <a:pt x="7421" y="8430"/>
                      <a:pt x="7421" y="8430"/>
                    </a:cubicBezTo>
                    <a:lnTo>
                      <a:pt x="7424" y="8514"/>
                    </a:lnTo>
                    <a:close/>
                    <a:moveTo>
                      <a:pt x="7399" y="8514"/>
                    </a:moveTo>
                    <a:cubicBezTo>
                      <a:pt x="7340" y="8515"/>
                      <a:pt x="7340" y="8515"/>
                      <a:pt x="7340" y="8515"/>
                    </a:cubicBezTo>
                    <a:cubicBezTo>
                      <a:pt x="7342" y="8671"/>
                      <a:pt x="7342" y="8671"/>
                      <a:pt x="7342" y="8671"/>
                    </a:cubicBezTo>
                    <a:cubicBezTo>
                      <a:pt x="7438" y="8671"/>
                      <a:pt x="7438" y="8671"/>
                      <a:pt x="7438" y="8671"/>
                    </a:cubicBezTo>
                    <a:cubicBezTo>
                      <a:pt x="7439" y="8575"/>
                      <a:pt x="7439" y="8575"/>
                      <a:pt x="7439" y="8575"/>
                    </a:cubicBezTo>
                    <a:cubicBezTo>
                      <a:pt x="7426" y="8555"/>
                      <a:pt x="7412" y="8535"/>
                      <a:pt x="7399" y="8514"/>
                    </a:cubicBezTo>
                    <a:close/>
                    <a:moveTo>
                      <a:pt x="7557" y="8726"/>
                    </a:moveTo>
                    <a:cubicBezTo>
                      <a:pt x="7562" y="8715"/>
                      <a:pt x="7565" y="8707"/>
                      <a:pt x="7567" y="8703"/>
                    </a:cubicBezTo>
                    <a:cubicBezTo>
                      <a:pt x="7625" y="8347"/>
                      <a:pt x="7625" y="8347"/>
                      <a:pt x="7625" y="8347"/>
                    </a:cubicBezTo>
                    <a:cubicBezTo>
                      <a:pt x="7598" y="8341"/>
                      <a:pt x="7543" y="8330"/>
                      <a:pt x="7489" y="8318"/>
                    </a:cubicBezTo>
                    <a:cubicBezTo>
                      <a:pt x="7427" y="8305"/>
                      <a:pt x="7366" y="8293"/>
                      <a:pt x="7349" y="8289"/>
                    </a:cubicBezTo>
                    <a:cubicBezTo>
                      <a:pt x="7345" y="8295"/>
                      <a:pt x="7338" y="8306"/>
                      <a:pt x="7331" y="8318"/>
                    </a:cubicBezTo>
                    <a:cubicBezTo>
                      <a:pt x="7326" y="8326"/>
                      <a:pt x="7320" y="8335"/>
                      <a:pt x="7315" y="8341"/>
                    </a:cubicBezTo>
                    <a:cubicBezTo>
                      <a:pt x="7313" y="8345"/>
                      <a:pt x="7311" y="8348"/>
                      <a:pt x="7309" y="8350"/>
                    </a:cubicBezTo>
                    <a:cubicBezTo>
                      <a:pt x="7320" y="8367"/>
                      <a:pt x="7361" y="8431"/>
                      <a:pt x="7407" y="8501"/>
                    </a:cubicBezTo>
                    <a:cubicBezTo>
                      <a:pt x="7410" y="8501"/>
                      <a:pt x="7410" y="8501"/>
                      <a:pt x="7410" y="8501"/>
                    </a:cubicBezTo>
                    <a:cubicBezTo>
                      <a:pt x="7407" y="8417"/>
                      <a:pt x="7407" y="8417"/>
                      <a:pt x="7407" y="8417"/>
                    </a:cubicBezTo>
                    <a:cubicBezTo>
                      <a:pt x="7538" y="8415"/>
                      <a:pt x="7538" y="8415"/>
                      <a:pt x="7538" y="8415"/>
                    </a:cubicBezTo>
                    <a:cubicBezTo>
                      <a:pt x="7537" y="8586"/>
                      <a:pt x="7537" y="8586"/>
                      <a:pt x="7537" y="8586"/>
                    </a:cubicBezTo>
                    <a:cubicBezTo>
                      <a:pt x="7463" y="8587"/>
                      <a:pt x="7463" y="8587"/>
                      <a:pt x="7463" y="8587"/>
                    </a:cubicBezTo>
                    <a:cubicBezTo>
                      <a:pt x="7484" y="8618"/>
                      <a:pt x="7504" y="8648"/>
                      <a:pt x="7520" y="8673"/>
                    </a:cubicBezTo>
                    <a:cubicBezTo>
                      <a:pt x="7533" y="8691"/>
                      <a:pt x="7543" y="8706"/>
                      <a:pt x="7551" y="8717"/>
                    </a:cubicBezTo>
                    <a:cubicBezTo>
                      <a:pt x="7553" y="8721"/>
                      <a:pt x="7555" y="8723"/>
                      <a:pt x="7557" y="8726"/>
                    </a:cubicBezTo>
                    <a:close/>
                    <a:moveTo>
                      <a:pt x="7627" y="8333"/>
                    </a:moveTo>
                    <a:cubicBezTo>
                      <a:pt x="7666" y="8099"/>
                      <a:pt x="7666" y="8099"/>
                      <a:pt x="7666" y="8099"/>
                    </a:cubicBezTo>
                    <a:cubicBezTo>
                      <a:pt x="7644" y="8095"/>
                      <a:pt x="7644" y="8095"/>
                      <a:pt x="7644" y="8095"/>
                    </a:cubicBezTo>
                    <a:cubicBezTo>
                      <a:pt x="7636" y="8151"/>
                      <a:pt x="7636" y="8151"/>
                      <a:pt x="7636" y="8151"/>
                    </a:cubicBezTo>
                    <a:cubicBezTo>
                      <a:pt x="7593" y="8145"/>
                      <a:pt x="7593" y="8145"/>
                      <a:pt x="7593" y="8145"/>
                    </a:cubicBezTo>
                    <a:cubicBezTo>
                      <a:pt x="7586" y="8191"/>
                      <a:pt x="7586" y="8191"/>
                      <a:pt x="7586" y="8191"/>
                    </a:cubicBezTo>
                    <a:cubicBezTo>
                      <a:pt x="7501" y="8178"/>
                      <a:pt x="7501" y="8178"/>
                      <a:pt x="7501" y="8178"/>
                    </a:cubicBezTo>
                    <a:cubicBezTo>
                      <a:pt x="7517" y="8074"/>
                      <a:pt x="7517" y="8074"/>
                      <a:pt x="7517" y="8074"/>
                    </a:cubicBezTo>
                    <a:cubicBezTo>
                      <a:pt x="7183" y="8018"/>
                      <a:pt x="7183" y="8018"/>
                      <a:pt x="7183" y="8018"/>
                    </a:cubicBezTo>
                    <a:cubicBezTo>
                      <a:pt x="7108" y="8032"/>
                      <a:pt x="7108" y="8032"/>
                      <a:pt x="7108" y="8032"/>
                    </a:cubicBezTo>
                    <a:cubicBezTo>
                      <a:pt x="7112" y="8308"/>
                      <a:pt x="7112" y="8308"/>
                      <a:pt x="7112" y="8308"/>
                    </a:cubicBezTo>
                    <a:cubicBezTo>
                      <a:pt x="7175" y="8338"/>
                      <a:pt x="7175" y="8338"/>
                      <a:pt x="7175" y="8338"/>
                    </a:cubicBezTo>
                    <a:cubicBezTo>
                      <a:pt x="7179" y="8370"/>
                      <a:pt x="7179" y="8370"/>
                      <a:pt x="7179" y="8370"/>
                    </a:cubicBezTo>
                    <a:cubicBezTo>
                      <a:pt x="7193" y="8367"/>
                      <a:pt x="7287" y="8345"/>
                      <a:pt x="7297" y="8342"/>
                    </a:cubicBezTo>
                    <a:cubicBezTo>
                      <a:pt x="7300" y="8340"/>
                      <a:pt x="7311" y="8323"/>
                      <a:pt x="7320" y="8309"/>
                    </a:cubicBezTo>
                    <a:cubicBezTo>
                      <a:pt x="7330" y="8293"/>
                      <a:pt x="7339" y="8278"/>
                      <a:pt x="7339" y="8278"/>
                    </a:cubicBezTo>
                    <a:cubicBezTo>
                      <a:pt x="7342" y="8273"/>
                      <a:pt x="7342" y="8273"/>
                      <a:pt x="7342" y="8273"/>
                    </a:cubicBezTo>
                    <a:cubicBezTo>
                      <a:pt x="7347" y="8274"/>
                      <a:pt x="7347" y="8274"/>
                      <a:pt x="7347" y="8274"/>
                    </a:cubicBezTo>
                    <a:cubicBezTo>
                      <a:pt x="7347" y="8274"/>
                      <a:pt x="7421" y="8290"/>
                      <a:pt x="7495" y="8305"/>
                    </a:cubicBezTo>
                    <a:cubicBezTo>
                      <a:pt x="7533" y="8313"/>
                      <a:pt x="7570" y="8321"/>
                      <a:pt x="7598" y="8327"/>
                    </a:cubicBezTo>
                    <a:cubicBezTo>
                      <a:pt x="7610" y="8330"/>
                      <a:pt x="7620" y="8332"/>
                      <a:pt x="7627" y="8333"/>
                    </a:cubicBezTo>
                    <a:close/>
                    <a:moveTo>
                      <a:pt x="7596" y="8040"/>
                    </a:moveTo>
                    <a:cubicBezTo>
                      <a:pt x="7603" y="7994"/>
                      <a:pt x="7603" y="7994"/>
                      <a:pt x="7603" y="7994"/>
                    </a:cubicBezTo>
                    <a:cubicBezTo>
                      <a:pt x="7544" y="7985"/>
                      <a:pt x="7544" y="7985"/>
                      <a:pt x="7544" y="7985"/>
                    </a:cubicBezTo>
                    <a:cubicBezTo>
                      <a:pt x="7532" y="8062"/>
                      <a:pt x="7532" y="8062"/>
                      <a:pt x="7532" y="8062"/>
                    </a:cubicBezTo>
                    <a:cubicBezTo>
                      <a:pt x="7634" y="8080"/>
                      <a:pt x="7634" y="8080"/>
                      <a:pt x="7634" y="8080"/>
                    </a:cubicBezTo>
                    <a:cubicBezTo>
                      <a:pt x="7639" y="8047"/>
                      <a:pt x="7639" y="8047"/>
                      <a:pt x="7639" y="8047"/>
                    </a:cubicBezTo>
                    <a:lnTo>
                      <a:pt x="7596" y="8040"/>
                    </a:lnTo>
                    <a:close/>
                    <a:moveTo>
                      <a:pt x="7530" y="8076"/>
                    </a:moveTo>
                    <a:cubicBezTo>
                      <a:pt x="7516" y="8167"/>
                      <a:pt x="7516" y="8167"/>
                      <a:pt x="7516" y="8167"/>
                    </a:cubicBezTo>
                    <a:cubicBezTo>
                      <a:pt x="7575" y="8176"/>
                      <a:pt x="7575" y="8176"/>
                      <a:pt x="7575" y="8176"/>
                    </a:cubicBezTo>
                    <a:cubicBezTo>
                      <a:pt x="7582" y="8130"/>
                      <a:pt x="7582" y="8130"/>
                      <a:pt x="7582" y="8130"/>
                    </a:cubicBezTo>
                    <a:cubicBezTo>
                      <a:pt x="7625" y="8136"/>
                      <a:pt x="7625" y="8136"/>
                      <a:pt x="7625" y="8136"/>
                    </a:cubicBezTo>
                    <a:cubicBezTo>
                      <a:pt x="7632" y="8093"/>
                      <a:pt x="7632" y="8093"/>
                      <a:pt x="7632" y="8093"/>
                    </a:cubicBezTo>
                    <a:lnTo>
                      <a:pt x="7530" y="8076"/>
                    </a:lnTo>
                    <a:close/>
                    <a:moveTo>
                      <a:pt x="7668" y="8085"/>
                    </a:moveTo>
                    <a:cubicBezTo>
                      <a:pt x="7689" y="7959"/>
                      <a:pt x="7689" y="7959"/>
                      <a:pt x="7689" y="7959"/>
                    </a:cubicBezTo>
                    <a:cubicBezTo>
                      <a:pt x="7654" y="7952"/>
                      <a:pt x="7549" y="7929"/>
                      <a:pt x="7443" y="7906"/>
                    </a:cubicBezTo>
                    <a:cubicBezTo>
                      <a:pt x="7335" y="7882"/>
                      <a:pt x="7224" y="7858"/>
                      <a:pt x="7191" y="7851"/>
                    </a:cubicBezTo>
                    <a:cubicBezTo>
                      <a:pt x="7191" y="7926"/>
                      <a:pt x="7190" y="7987"/>
                      <a:pt x="7190" y="8005"/>
                    </a:cubicBezTo>
                    <a:cubicBezTo>
                      <a:pt x="7519" y="8060"/>
                      <a:pt x="7519" y="8060"/>
                      <a:pt x="7519" y="8060"/>
                    </a:cubicBezTo>
                    <a:cubicBezTo>
                      <a:pt x="7533" y="7970"/>
                      <a:pt x="7533" y="7970"/>
                      <a:pt x="7533" y="7970"/>
                    </a:cubicBezTo>
                    <a:cubicBezTo>
                      <a:pt x="7539" y="7971"/>
                      <a:pt x="7539" y="7971"/>
                      <a:pt x="7539" y="7971"/>
                    </a:cubicBezTo>
                    <a:cubicBezTo>
                      <a:pt x="7618" y="7983"/>
                      <a:pt x="7618" y="7983"/>
                      <a:pt x="7618" y="7983"/>
                    </a:cubicBezTo>
                    <a:cubicBezTo>
                      <a:pt x="7611" y="8029"/>
                      <a:pt x="7611" y="8029"/>
                      <a:pt x="7611" y="8029"/>
                    </a:cubicBezTo>
                    <a:cubicBezTo>
                      <a:pt x="7653" y="8036"/>
                      <a:pt x="7653" y="8036"/>
                      <a:pt x="7653" y="8036"/>
                    </a:cubicBezTo>
                    <a:cubicBezTo>
                      <a:pt x="7647" y="8082"/>
                      <a:pt x="7647" y="8082"/>
                      <a:pt x="7647" y="8082"/>
                    </a:cubicBezTo>
                    <a:lnTo>
                      <a:pt x="7668" y="8085"/>
                    </a:lnTo>
                    <a:close/>
                    <a:moveTo>
                      <a:pt x="7691" y="7946"/>
                    </a:moveTo>
                    <a:cubicBezTo>
                      <a:pt x="7710" y="7827"/>
                      <a:pt x="7710" y="7827"/>
                      <a:pt x="7710" y="7827"/>
                    </a:cubicBezTo>
                    <a:cubicBezTo>
                      <a:pt x="7685" y="7822"/>
                      <a:pt x="7685" y="7822"/>
                      <a:pt x="7685" y="7822"/>
                    </a:cubicBezTo>
                    <a:cubicBezTo>
                      <a:pt x="7676" y="7879"/>
                      <a:pt x="7676" y="7879"/>
                      <a:pt x="7676" y="7879"/>
                    </a:cubicBezTo>
                    <a:cubicBezTo>
                      <a:pt x="7633" y="7872"/>
                      <a:pt x="7633" y="7872"/>
                      <a:pt x="7633" y="7872"/>
                    </a:cubicBezTo>
                    <a:cubicBezTo>
                      <a:pt x="7626" y="7919"/>
                      <a:pt x="7626" y="7919"/>
                      <a:pt x="7626" y="7919"/>
                    </a:cubicBezTo>
                    <a:cubicBezTo>
                      <a:pt x="7541" y="7906"/>
                      <a:pt x="7541" y="7906"/>
                      <a:pt x="7541" y="7906"/>
                    </a:cubicBezTo>
                    <a:cubicBezTo>
                      <a:pt x="7558" y="7797"/>
                      <a:pt x="7558" y="7797"/>
                      <a:pt x="7558" y="7797"/>
                    </a:cubicBezTo>
                    <a:cubicBezTo>
                      <a:pt x="7192" y="7726"/>
                      <a:pt x="7192" y="7726"/>
                      <a:pt x="7192" y="7726"/>
                    </a:cubicBezTo>
                    <a:cubicBezTo>
                      <a:pt x="7192" y="7764"/>
                      <a:pt x="7192" y="7802"/>
                      <a:pt x="7191" y="7837"/>
                    </a:cubicBezTo>
                    <a:cubicBezTo>
                      <a:pt x="7225" y="7844"/>
                      <a:pt x="7335" y="7868"/>
                      <a:pt x="7446" y="7892"/>
                    </a:cubicBezTo>
                    <a:cubicBezTo>
                      <a:pt x="7551" y="7915"/>
                      <a:pt x="7656" y="7938"/>
                      <a:pt x="7691" y="7946"/>
                    </a:cubicBezTo>
                    <a:close/>
                    <a:moveTo>
                      <a:pt x="7713" y="7813"/>
                    </a:moveTo>
                    <a:cubicBezTo>
                      <a:pt x="7726" y="7731"/>
                      <a:pt x="7726" y="7731"/>
                      <a:pt x="7726" y="7731"/>
                    </a:cubicBezTo>
                    <a:cubicBezTo>
                      <a:pt x="7710" y="7727"/>
                      <a:pt x="7686" y="7722"/>
                      <a:pt x="7657" y="7716"/>
                    </a:cubicBezTo>
                    <a:cubicBezTo>
                      <a:pt x="7651" y="7757"/>
                      <a:pt x="7651" y="7757"/>
                      <a:pt x="7651" y="7757"/>
                    </a:cubicBezTo>
                    <a:cubicBezTo>
                      <a:pt x="7694" y="7763"/>
                      <a:pt x="7694" y="7763"/>
                      <a:pt x="7694" y="7763"/>
                    </a:cubicBezTo>
                    <a:cubicBezTo>
                      <a:pt x="7687" y="7808"/>
                      <a:pt x="7687" y="7808"/>
                      <a:pt x="7687" y="7808"/>
                    </a:cubicBezTo>
                    <a:lnTo>
                      <a:pt x="7713" y="7813"/>
                    </a:lnTo>
                    <a:close/>
                    <a:moveTo>
                      <a:pt x="7727" y="7717"/>
                    </a:moveTo>
                    <a:cubicBezTo>
                      <a:pt x="7728" y="7717"/>
                      <a:pt x="7728" y="7717"/>
                      <a:pt x="7728" y="7717"/>
                    </a:cubicBezTo>
                    <a:cubicBezTo>
                      <a:pt x="7749" y="7591"/>
                      <a:pt x="7749" y="7591"/>
                      <a:pt x="7749" y="7591"/>
                    </a:cubicBezTo>
                    <a:cubicBezTo>
                      <a:pt x="7743" y="7589"/>
                      <a:pt x="7736" y="7588"/>
                      <a:pt x="7729" y="7587"/>
                    </a:cubicBezTo>
                    <a:cubicBezTo>
                      <a:pt x="7720" y="7645"/>
                      <a:pt x="7720" y="7645"/>
                      <a:pt x="7720" y="7645"/>
                    </a:cubicBezTo>
                    <a:cubicBezTo>
                      <a:pt x="7677" y="7638"/>
                      <a:pt x="7677" y="7638"/>
                      <a:pt x="7677" y="7638"/>
                    </a:cubicBezTo>
                    <a:cubicBezTo>
                      <a:pt x="7670" y="7685"/>
                      <a:pt x="7670" y="7685"/>
                      <a:pt x="7670" y="7685"/>
                    </a:cubicBezTo>
                    <a:cubicBezTo>
                      <a:pt x="7585" y="7672"/>
                      <a:pt x="7585" y="7672"/>
                      <a:pt x="7585" y="7672"/>
                    </a:cubicBezTo>
                    <a:cubicBezTo>
                      <a:pt x="7601" y="7564"/>
                      <a:pt x="7601" y="7564"/>
                      <a:pt x="7601" y="7564"/>
                    </a:cubicBezTo>
                    <a:cubicBezTo>
                      <a:pt x="7450" y="7536"/>
                      <a:pt x="7249" y="7498"/>
                      <a:pt x="7193" y="7487"/>
                    </a:cubicBezTo>
                    <a:cubicBezTo>
                      <a:pt x="7193" y="7495"/>
                      <a:pt x="7193" y="7504"/>
                      <a:pt x="7193" y="7514"/>
                    </a:cubicBezTo>
                    <a:cubicBezTo>
                      <a:pt x="7193" y="7538"/>
                      <a:pt x="7193" y="7567"/>
                      <a:pt x="7193" y="7600"/>
                    </a:cubicBezTo>
                    <a:cubicBezTo>
                      <a:pt x="7209" y="7604"/>
                      <a:pt x="7339" y="7632"/>
                      <a:pt x="7470" y="7661"/>
                    </a:cubicBezTo>
                    <a:cubicBezTo>
                      <a:pt x="7540" y="7676"/>
                      <a:pt x="7610" y="7691"/>
                      <a:pt x="7663" y="7703"/>
                    </a:cubicBezTo>
                    <a:cubicBezTo>
                      <a:pt x="7689" y="7709"/>
                      <a:pt x="7712" y="7714"/>
                      <a:pt x="7727" y="7717"/>
                    </a:cubicBezTo>
                    <a:close/>
                    <a:moveTo>
                      <a:pt x="7680" y="7534"/>
                    </a:moveTo>
                    <a:cubicBezTo>
                      <a:pt x="7687" y="7488"/>
                      <a:pt x="7687" y="7488"/>
                      <a:pt x="7687" y="7488"/>
                    </a:cubicBezTo>
                    <a:cubicBezTo>
                      <a:pt x="7628" y="7479"/>
                      <a:pt x="7628" y="7479"/>
                      <a:pt x="7628" y="7479"/>
                    </a:cubicBezTo>
                    <a:cubicBezTo>
                      <a:pt x="7616" y="7552"/>
                      <a:pt x="7616" y="7552"/>
                      <a:pt x="7616" y="7552"/>
                    </a:cubicBezTo>
                    <a:cubicBezTo>
                      <a:pt x="7655" y="7559"/>
                      <a:pt x="7691" y="7566"/>
                      <a:pt x="7718" y="7571"/>
                    </a:cubicBezTo>
                    <a:cubicBezTo>
                      <a:pt x="7723" y="7541"/>
                      <a:pt x="7723" y="7541"/>
                      <a:pt x="7723" y="7541"/>
                    </a:cubicBezTo>
                    <a:lnTo>
                      <a:pt x="7680" y="7534"/>
                    </a:lnTo>
                    <a:close/>
                    <a:moveTo>
                      <a:pt x="7614" y="7566"/>
                    </a:moveTo>
                    <a:cubicBezTo>
                      <a:pt x="7600" y="7661"/>
                      <a:pt x="7600" y="7661"/>
                      <a:pt x="7600" y="7661"/>
                    </a:cubicBezTo>
                    <a:cubicBezTo>
                      <a:pt x="7659" y="7670"/>
                      <a:pt x="7659" y="7670"/>
                      <a:pt x="7659" y="7670"/>
                    </a:cubicBezTo>
                    <a:cubicBezTo>
                      <a:pt x="7666" y="7624"/>
                      <a:pt x="7666" y="7624"/>
                      <a:pt x="7666" y="7624"/>
                    </a:cubicBezTo>
                    <a:cubicBezTo>
                      <a:pt x="7709" y="7630"/>
                      <a:pt x="7709" y="7630"/>
                      <a:pt x="7709" y="7630"/>
                    </a:cubicBezTo>
                    <a:cubicBezTo>
                      <a:pt x="7716" y="7585"/>
                      <a:pt x="7716" y="7585"/>
                      <a:pt x="7716" y="7585"/>
                    </a:cubicBezTo>
                    <a:cubicBezTo>
                      <a:pt x="7688" y="7580"/>
                      <a:pt x="7653" y="7573"/>
                      <a:pt x="7614" y="7566"/>
                    </a:cubicBezTo>
                    <a:close/>
                    <a:moveTo>
                      <a:pt x="7751" y="7577"/>
                    </a:moveTo>
                    <a:cubicBezTo>
                      <a:pt x="7768" y="7473"/>
                      <a:pt x="7768" y="7473"/>
                      <a:pt x="7768" y="7473"/>
                    </a:cubicBezTo>
                    <a:cubicBezTo>
                      <a:pt x="7595" y="7398"/>
                      <a:pt x="7595" y="7398"/>
                      <a:pt x="7595" y="7398"/>
                    </a:cubicBezTo>
                    <a:cubicBezTo>
                      <a:pt x="7521" y="7441"/>
                      <a:pt x="7426" y="7478"/>
                      <a:pt x="7314" y="7480"/>
                    </a:cubicBezTo>
                    <a:cubicBezTo>
                      <a:pt x="7292" y="7481"/>
                      <a:pt x="7266" y="7481"/>
                      <a:pt x="7236" y="7481"/>
                    </a:cubicBezTo>
                    <a:cubicBezTo>
                      <a:pt x="7292" y="7492"/>
                      <a:pt x="7384" y="7509"/>
                      <a:pt x="7477" y="7526"/>
                    </a:cubicBezTo>
                    <a:cubicBezTo>
                      <a:pt x="7520" y="7534"/>
                      <a:pt x="7563" y="7542"/>
                      <a:pt x="7604" y="7550"/>
                    </a:cubicBezTo>
                    <a:cubicBezTo>
                      <a:pt x="7617" y="7464"/>
                      <a:pt x="7617" y="7464"/>
                      <a:pt x="7617" y="7464"/>
                    </a:cubicBezTo>
                    <a:cubicBezTo>
                      <a:pt x="7623" y="7465"/>
                      <a:pt x="7623" y="7465"/>
                      <a:pt x="7623" y="7465"/>
                    </a:cubicBezTo>
                    <a:cubicBezTo>
                      <a:pt x="7702" y="7477"/>
                      <a:pt x="7702" y="7477"/>
                      <a:pt x="7702" y="7477"/>
                    </a:cubicBezTo>
                    <a:cubicBezTo>
                      <a:pt x="7695" y="7523"/>
                      <a:pt x="7695" y="7523"/>
                      <a:pt x="7695" y="7523"/>
                    </a:cubicBezTo>
                    <a:cubicBezTo>
                      <a:pt x="7737" y="7529"/>
                      <a:pt x="7737" y="7529"/>
                      <a:pt x="7737" y="7529"/>
                    </a:cubicBezTo>
                    <a:cubicBezTo>
                      <a:pt x="7731" y="7573"/>
                      <a:pt x="7731" y="7573"/>
                      <a:pt x="7731" y="7573"/>
                    </a:cubicBezTo>
                    <a:cubicBezTo>
                      <a:pt x="7738" y="7574"/>
                      <a:pt x="7745" y="7576"/>
                      <a:pt x="7751" y="7577"/>
                    </a:cubicBezTo>
                    <a:close/>
                    <a:moveTo>
                      <a:pt x="7771" y="7459"/>
                    </a:moveTo>
                    <a:cubicBezTo>
                      <a:pt x="7794" y="7315"/>
                      <a:pt x="7794" y="7315"/>
                      <a:pt x="7794" y="7315"/>
                    </a:cubicBezTo>
                    <a:cubicBezTo>
                      <a:pt x="7784" y="7308"/>
                      <a:pt x="7775" y="7301"/>
                      <a:pt x="7767" y="7295"/>
                    </a:cubicBezTo>
                    <a:cubicBezTo>
                      <a:pt x="7758" y="7289"/>
                      <a:pt x="7752" y="7284"/>
                      <a:pt x="7745" y="7280"/>
                    </a:cubicBezTo>
                    <a:cubicBezTo>
                      <a:pt x="7720" y="7306"/>
                      <a:pt x="7674" y="7349"/>
                      <a:pt x="7610" y="7389"/>
                    </a:cubicBezTo>
                    <a:lnTo>
                      <a:pt x="7771" y="7459"/>
                    </a:lnTo>
                    <a:close/>
                    <a:moveTo>
                      <a:pt x="8114" y="6499"/>
                    </a:moveTo>
                    <a:cubicBezTo>
                      <a:pt x="8114" y="6519"/>
                      <a:pt x="8114" y="6519"/>
                      <a:pt x="8114" y="6519"/>
                    </a:cubicBezTo>
                    <a:cubicBezTo>
                      <a:pt x="8270" y="6512"/>
                      <a:pt x="8270" y="6512"/>
                      <a:pt x="8270" y="6512"/>
                    </a:cubicBezTo>
                    <a:cubicBezTo>
                      <a:pt x="8270" y="6219"/>
                      <a:pt x="8270" y="6219"/>
                      <a:pt x="8270" y="6219"/>
                    </a:cubicBezTo>
                    <a:cubicBezTo>
                      <a:pt x="8223" y="6220"/>
                      <a:pt x="8170" y="6222"/>
                      <a:pt x="8114" y="6223"/>
                    </a:cubicBezTo>
                    <a:cubicBezTo>
                      <a:pt x="8114" y="6428"/>
                      <a:pt x="8114" y="6428"/>
                      <a:pt x="8114" y="6428"/>
                    </a:cubicBezTo>
                    <a:cubicBezTo>
                      <a:pt x="8119" y="6428"/>
                      <a:pt x="8119" y="6428"/>
                      <a:pt x="8119" y="6428"/>
                    </a:cubicBezTo>
                    <a:cubicBezTo>
                      <a:pt x="8264" y="6425"/>
                      <a:pt x="8264" y="6425"/>
                      <a:pt x="8264" y="6425"/>
                    </a:cubicBezTo>
                    <a:cubicBezTo>
                      <a:pt x="8266" y="6496"/>
                      <a:pt x="8266" y="6496"/>
                      <a:pt x="8266" y="6496"/>
                    </a:cubicBezTo>
                    <a:lnTo>
                      <a:pt x="8114" y="6499"/>
                    </a:lnTo>
                    <a:close/>
                    <a:moveTo>
                      <a:pt x="8127" y="6485"/>
                    </a:moveTo>
                    <a:cubicBezTo>
                      <a:pt x="8252" y="6483"/>
                      <a:pt x="8252" y="6483"/>
                      <a:pt x="8252" y="6483"/>
                    </a:cubicBezTo>
                    <a:cubicBezTo>
                      <a:pt x="8251" y="6438"/>
                      <a:pt x="8251" y="6438"/>
                      <a:pt x="8251" y="6438"/>
                    </a:cubicBezTo>
                    <a:cubicBezTo>
                      <a:pt x="8126" y="6441"/>
                      <a:pt x="8126" y="6441"/>
                      <a:pt x="8126" y="6441"/>
                    </a:cubicBezTo>
                    <a:lnTo>
                      <a:pt x="8127" y="6485"/>
                    </a:lnTo>
                    <a:close/>
                    <a:moveTo>
                      <a:pt x="8455" y="6505"/>
                    </a:moveTo>
                    <a:cubicBezTo>
                      <a:pt x="8455" y="6213"/>
                      <a:pt x="8455" y="6213"/>
                      <a:pt x="8455" y="6213"/>
                    </a:cubicBezTo>
                    <a:cubicBezTo>
                      <a:pt x="8435" y="6214"/>
                      <a:pt x="8371" y="6216"/>
                      <a:pt x="8284" y="6218"/>
                    </a:cubicBezTo>
                    <a:cubicBezTo>
                      <a:pt x="8284" y="6512"/>
                      <a:pt x="8284" y="6512"/>
                      <a:pt x="8284" y="6512"/>
                    </a:cubicBezTo>
                    <a:lnTo>
                      <a:pt x="8455" y="6505"/>
                    </a:lnTo>
                    <a:close/>
                    <a:moveTo>
                      <a:pt x="9348" y="5075"/>
                    </a:moveTo>
                    <a:cubicBezTo>
                      <a:pt x="9399" y="4967"/>
                      <a:pt x="9399" y="4967"/>
                      <a:pt x="9399" y="4967"/>
                    </a:cubicBezTo>
                    <a:cubicBezTo>
                      <a:pt x="8067" y="4287"/>
                      <a:pt x="8067" y="4287"/>
                      <a:pt x="8067" y="4287"/>
                    </a:cubicBezTo>
                    <a:cubicBezTo>
                      <a:pt x="7386" y="5685"/>
                      <a:pt x="7386" y="5685"/>
                      <a:pt x="7386" y="5685"/>
                    </a:cubicBezTo>
                    <a:cubicBezTo>
                      <a:pt x="7342" y="6236"/>
                      <a:pt x="7342" y="6236"/>
                      <a:pt x="7342" y="6236"/>
                    </a:cubicBezTo>
                    <a:cubicBezTo>
                      <a:pt x="7347" y="6236"/>
                      <a:pt x="7351" y="6235"/>
                      <a:pt x="7356" y="6235"/>
                    </a:cubicBezTo>
                    <a:cubicBezTo>
                      <a:pt x="7587" y="6224"/>
                      <a:pt x="8462" y="6199"/>
                      <a:pt x="8462" y="6199"/>
                    </a:cubicBezTo>
                    <a:cubicBezTo>
                      <a:pt x="8469" y="6199"/>
                      <a:pt x="8469" y="6199"/>
                      <a:pt x="8469" y="6199"/>
                    </a:cubicBezTo>
                    <a:cubicBezTo>
                      <a:pt x="8469" y="6504"/>
                      <a:pt x="8469" y="6504"/>
                      <a:pt x="8469" y="6504"/>
                    </a:cubicBezTo>
                    <a:cubicBezTo>
                      <a:pt x="8665" y="6497"/>
                      <a:pt x="8665" y="6497"/>
                      <a:pt x="8665" y="6497"/>
                    </a:cubicBezTo>
                    <a:cubicBezTo>
                      <a:pt x="8694" y="6493"/>
                      <a:pt x="8694" y="6493"/>
                      <a:pt x="8694" y="6493"/>
                    </a:cubicBezTo>
                    <a:lnTo>
                      <a:pt x="9348" y="5075"/>
                    </a:lnTo>
                    <a:close/>
                    <a:moveTo>
                      <a:pt x="9427" y="4907"/>
                    </a:moveTo>
                    <a:cubicBezTo>
                      <a:pt x="10618" y="2384"/>
                      <a:pt x="10618" y="2384"/>
                      <a:pt x="10618" y="2384"/>
                    </a:cubicBezTo>
                    <a:cubicBezTo>
                      <a:pt x="10577" y="2365"/>
                      <a:pt x="10491" y="2325"/>
                      <a:pt x="10394" y="2280"/>
                    </a:cubicBezTo>
                    <a:cubicBezTo>
                      <a:pt x="10259" y="2217"/>
                      <a:pt x="10103" y="2146"/>
                      <a:pt x="10022" y="2112"/>
                    </a:cubicBezTo>
                    <a:cubicBezTo>
                      <a:pt x="9865" y="2045"/>
                      <a:pt x="9483" y="1838"/>
                      <a:pt x="9307" y="1743"/>
                    </a:cubicBezTo>
                    <a:cubicBezTo>
                      <a:pt x="8096" y="4228"/>
                      <a:pt x="8096" y="4228"/>
                      <a:pt x="8096" y="4228"/>
                    </a:cubicBezTo>
                    <a:lnTo>
                      <a:pt x="9427" y="4907"/>
                    </a:lnTo>
                    <a:close/>
                    <a:moveTo>
                      <a:pt x="8369" y="211"/>
                    </a:moveTo>
                    <a:cubicBezTo>
                      <a:pt x="8364" y="225"/>
                      <a:pt x="8349" y="268"/>
                      <a:pt x="8336" y="308"/>
                    </a:cubicBezTo>
                    <a:cubicBezTo>
                      <a:pt x="8328" y="331"/>
                      <a:pt x="8320" y="354"/>
                      <a:pt x="8313" y="372"/>
                    </a:cubicBezTo>
                    <a:cubicBezTo>
                      <a:pt x="8310" y="381"/>
                      <a:pt x="8307" y="388"/>
                      <a:pt x="8304" y="393"/>
                    </a:cubicBezTo>
                    <a:cubicBezTo>
                      <a:pt x="8303" y="396"/>
                      <a:pt x="8302" y="398"/>
                      <a:pt x="8301" y="400"/>
                    </a:cubicBezTo>
                    <a:cubicBezTo>
                      <a:pt x="8300" y="400"/>
                      <a:pt x="8300" y="401"/>
                      <a:pt x="8299" y="402"/>
                    </a:cubicBezTo>
                    <a:cubicBezTo>
                      <a:pt x="8589" y="649"/>
                      <a:pt x="8589" y="649"/>
                      <a:pt x="8589" y="649"/>
                    </a:cubicBezTo>
                    <a:cubicBezTo>
                      <a:pt x="8590" y="648"/>
                      <a:pt x="8592" y="647"/>
                      <a:pt x="8593" y="646"/>
                    </a:cubicBezTo>
                    <a:cubicBezTo>
                      <a:pt x="8611" y="633"/>
                      <a:pt x="8626" y="621"/>
                      <a:pt x="8640" y="610"/>
                    </a:cubicBezTo>
                    <a:cubicBezTo>
                      <a:pt x="8606" y="568"/>
                      <a:pt x="8576" y="524"/>
                      <a:pt x="8555" y="477"/>
                    </a:cubicBezTo>
                    <a:cubicBezTo>
                      <a:pt x="8531" y="423"/>
                      <a:pt x="8519" y="366"/>
                      <a:pt x="8512" y="310"/>
                    </a:cubicBezTo>
                    <a:cubicBezTo>
                      <a:pt x="8510" y="309"/>
                      <a:pt x="8509" y="308"/>
                      <a:pt x="8506" y="306"/>
                    </a:cubicBezTo>
                    <a:cubicBezTo>
                      <a:pt x="8479" y="288"/>
                      <a:pt x="8426" y="251"/>
                      <a:pt x="8369" y="211"/>
                    </a:cubicBezTo>
                    <a:close/>
                    <a:moveTo>
                      <a:pt x="8015" y="160"/>
                    </a:moveTo>
                    <a:cubicBezTo>
                      <a:pt x="8288" y="392"/>
                      <a:pt x="8288" y="392"/>
                      <a:pt x="8288" y="392"/>
                    </a:cubicBezTo>
                    <a:cubicBezTo>
                      <a:pt x="8288" y="392"/>
                      <a:pt x="8289" y="392"/>
                      <a:pt x="8290" y="392"/>
                    </a:cubicBezTo>
                    <a:cubicBezTo>
                      <a:pt x="8292" y="388"/>
                      <a:pt x="8297" y="375"/>
                      <a:pt x="8303" y="360"/>
                    </a:cubicBezTo>
                    <a:cubicBezTo>
                      <a:pt x="8313" y="332"/>
                      <a:pt x="8326" y="292"/>
                      <a:pt x="8338" y="259"/>
                    </a:cubicBezTo>
                    <a:cubicBezTo>
                      <a:pt x="8343" y="243"/>
                      <a:pt x="8348" y="228"/>
                      <a:pt x="8352" y="217"/>
                    </a:cubicBezTo>
                    <a:cubicBezTo>
                      <a:pt x="8354" y="211"/>
                      <a:pt x="8356" y="207"/>
                      <a:pt x="8357" y="204"/>
                    </a:cubicBezTo>
                    <a:cubicBezTo>
                      <a:pt x="8358" y="203"/>
                      <a:pt x="8358" y="203"/>
                      <a:pt x="8358" y="202"/>
                    </a:cubicBezTo>
                    <a:cubicBezTo>
                      <a:pt x="8265" y="136"/>
                      <a:pt x="8168" y="64"/>
                      <a:pt x="8158" y="57"/>
                    </a:cubicBezTo>
                    <a:cubicBezTo>
                      <a:pt x="8115" y="94"/>
                      <a:pt x="8068" y="129"/>
                      <a:pt x="8015" y="160"/>
                    </a:cubicBezTo>
                    <a:close/>
                    <a:moveTo>
                      <a:pt x="7519" y="360"/>
                    </a:moveTo>
                    <a:cubicBezTo>
                      <a:pt x="7616" y="557"/>
                      <a:pt x="7616" y="557"/>
                      <a:pt x="7616" y="557"/>
                    </a:cubicBezTo>
                    <a:cubicBezTo>
                      <a:pt x="7723" y="591"/>
                      <a:pt x="7832" y="646"/>
                      <a:pt x="7921" y="696"/>
                    </a:cubicBezTo>
                    <a:cubicBezTo>
                      <a:pt x="7990" y="735"/>
                      <a:pt x="8047" y="770"/>
                      <a:pt x="8077" y="790"/>
                    </a:cubicBezTo>
                    <a:cubicBezTo>
                      <a:pt x="8087" y="789"/>
                      <a:pt x="8101" y="787"/>
                      <a:pt x="8117" y="786"/>
                    </a:cubicBezTo>
                    <a:cubicBezTo>
                      <a:pt x="7675" y="317"/>
                      <a:pt x="7675" y="317"/>
                      <a:pt x="7675" y="317"/>
                    </a:cubicBezTo>
                    <a:cubicBezTo>
                      <a:pt x="7685" y="307"/>
                      <a:pt x="7685" y="307"/>
                      <a:pt x="7685" y="307"/>
                    </a:cubicBezTo>
                    <a:cubicBezTo>
                      <a:pt x="7900" y="535"/>
                      <a:pt x="7900" y="535"/>
                      <a:pt x="7900" y="535"/>
                    </a:cubicBezTo>
                    <a:cubicBezTo>
                      <a:pt x="7916" y="529"/>
                      <a:pt x="7992" y="500"/>
                      <a:pt x="8074" y="470"/>
                    </a:cubicBezTo>
                    <a:cubicBezTo>
                      <a:pt x="7959" y="353"/>
                      <a:pt x="7854" y="246"/>
                      <a:pt x="7854" y="246"/>
                    </a:cubicBezTo>
                    <a:cubicBezTo>
                      <a:pt x="7864" y="236"/>
                      <a:pt x="7864" y="236"/>
                      <a:pt x="7864" y="236"/>
                    </a:cubicBezTo>
                    <a:cubicBezTo>
                      <a:pt x="7864" y="236"/>
                      <a:pt x="7971" y="346"/>
                      <a:pt x="8088" y="465"/>
                    </a:cubicBezTo>
                    <a:cubicBezTo>
                      <a:pt x="8089" y="464"/>
                      <a:pt x="8089" y="464"/>
                      <a:pt x="8090" y="464"/>
                    </a:cubicBezTo>
                    <a:cubicBezTo>
                      <a:pt x="8139" y="446"/>
                      <a:pt x="8188" y="428"/>
                      <a:pt x="8225" y="414"/>
                    </a:cubicBezTo>
                    <a:cubicBezTo>
                      <a:pt x="8244" y="407"/>
                      <a:pt x="8259" y="402"/>
                      <a:pt x="8271" y="398"/>
                    </a:cubicBezTo>
                    <a:cubicBezTo>
                      <a:pt x="8271" y="398"/>
                      <a:pt x="8272" y="397"/>
                      <a:pt x="8272" y="397"/>
                    </a:cubicBezTo>
                    <a:cubicBezTo>
                      <a:pt x="8005" y="169"/>
                      <a:pt x="8005" y="169"/>
                      <a:pt x="8005" y="169"/>
                    </a:cubicBezTo>
                    <a:cubicBezTo>
                      <a:pt x="8010" y="163"/>
                      <a:pt x="8010" y="163"/>
                      <a:pt x="8010" y="163"/>
                    </a:cubicBezTo>
                    <a:cubicBezTo>
                      <a:pt x="7987" y="177"/>
                      <a:pt x="7964" y="189"/>
                      <a:pt x="7939" y="201"/>
                    </a:cubicBezTo>
                    <a:cubicBezTo>
                      <a:pt x="7792" y="270"/>
                      <a:pt x="7646" y="322"/>
                      <a:pt x="7519" y="360"/>
                    </a:cubicBezTo>
                    <a:close/>
                    <a:moveTo>
                      <a:pt x="7144" y="452"/>
                    </a:moveTo>
                    <a:cubicBezTo>
                      <a:pt x="7144" y="462"/>
                      <a:pt x="7146" y="482"/>
                      <a:pt x="7149" y="500"/>
                    </a:cubicBezTo>
                    <a:cubicBezTo>
                      <a:pt x="7170" y="499"/>
                      <a:pt x="7193" y="498"/>
                      <a:pt x="7215" y="498"/>
                    </a:cubicBezTo>
                    <a:cubicBezTo>
                      <a:pt x="7321" y="498"/>
                      <a:pt x="7438" y="510"/>
                      <a:pt x="7563" y="542"/>
                    </a:cubicBezTo>
                    <a:cubicBezTo>
                      <a:pt x="7575" y="544"/>
                      <a:pt x="7587" y="548"/>
                      <a:pt x="7598" y="551"/>
                    </a:cubicBezTo>
                    <a:cubicBezTo>
                      <a:pt x="7506" y="364"/>
                      <a:pt x="7506" y="364"/>
                      <a:pt x="7506" y="364"/>
                    </a:cubicBezTo>
                    <a:cubicBezTo>
                      <a:pt x="7466" y="376"/>
                      <a:pt x="7427" y="386"/>
                      <a:pt x="7392" y="396"/>
                    </a:cubicBezTo>
                    <a:cubicBezTo>
                      <a:pt x="7317" y="415"/>
                      <a:pt x="7255" y="428"/>
                      <a:pt x="7211" y="437"/>
                    </a:cubicBezTo>
                    <a:cubicBezTo>
                      <a:pt x="7189" y="442"/>
                      <a:pt x="7171" y="445"/>
                      <a:pt x="7159" y="447"/>
                    </a:cubicBezTo>
                    <a:cubicBezTo>
                      <a:pt x="7153" y="448"/>
                      <a:pt x="7148" y="449"/>
                      <a:pt x="7145" y="450"/>
                    </a:cubicBezTo>
                    <a:cubicBezTo>
                      <a:pt x="7144" y="450"/>
                      <a:pt x="7144" y="450"/>
                      <a:pt x="7144" y="450"/>
                    </a:cubicBezTo>
                    <a:cubicBezTo>
                      <a:pt x="7144" y="451"/>
                      <a:pt x="7144" y="451"/>
                      <a:pt x="7144" y="452"/>
                    </a:cubicBezTo>
                    <a:close/>
                    <a:moveTo>
                      <a:pt x="7003" y="777"/>
                    </a:moveTo>
                    <a:cubicBezTo>
                      <a:pt x="7019" y="780"/>
                      <a:pt x="7019" y="780"/>
                      <a:pt x="7019" y="780"/>
                    </a:cubicBezTo>
                    <a:cubicBezTo>
                      <a:pt x="7058" y="664"/>
                      <a:pt x="7058" y="664"/>
                      <a:pt x="7058" y="664"/>
                    </a:cubicBezTo>
                    <a:cubicBezTo>
                      <a:pt x="7207" y="715"/>
                      <a:pt x="7207" y="715"/>
                      <a:pt x="7207" y="715"/>
                    </a:cubicBezTo>
                    <a:cubicBezTo>
                      <a:pt x="7175" y="810"/>
                      <a:pt x="7175" y="810"/>
                      <a:pt x="7175" y="810"/>
                    </a:cubicBezTo>
                    <a:cubicBezTo>
                      <a:pt x="7412" y="856"/>
                      <a:pt x="7412" y="856"/>
                      <a:pt x="7412" y="856"/>
                    </a:cubicBezTo>
                    <a:cubicBezTo>
                      <a:pt x="7470" y="677"/>
                      <a:pt x="7470" y="677"/>
                      <a:pt x="7470" y="677"/>
                    </a:cubicBezTo>
                    <a:cubicBezTo>
                      <a:pt x="7378" y="659"/>
                      <a:pt x="7293" y="651"/>
                      <a:pt x="7215" y="651"/>
                    </a:cubicBezTo>
                    <a:cubicBezTo>
                      <a:pt x="7153" y="651"/>
                      <a:pt x="7095" y="656"/>
                      <a:pt x="7041" y="663"/>
                    </a:cubicBezTo>
                    <a:cubicBezTo>
                      <a:pt x="7033" y="688"/>
                      <a:pt x="7020" y="727"/>
                      <a:pt x="7003" y="777"/>
                    </a:cubicBezTo>
                    <a:close/>
                    <a:moveTo>
                      <a:pt x="6949" y="937"/>
                    </a:moveTo>
                    <a:cubicBezTo>
                      <a:pt x="6953" y="938"/>
                      <a:pt x="6959" y="939"/>
                      <a:pt x="6964" y="940"/>
                    </a:cubicBezTo>
                    <a:cubicBezTo>
                      <a:pt x="7014" y="794"/>
                      <a:pt x="7014" y="794"/>
                      <a:pt x="7014" y="794"/>
                    </a:cubicBezTo>
                    <a:cubicBezTo>
                      <a:pt x="6998" y="791"/>
                      <a:pt x="6998" y="791"/>
                      <a:pt x="6998" y="791"/>
                    </a:cubicBezTo>
                    <a:cubicBezTo>
                      <a:pt x="6984" y="833"/>
                      <a:pt x="6967" y="882"/>
                      <a:pt x="6949" y="937"/>
                    </a:cubicBezTo>
                    <a:close/>
                    <a:moveTo>
                      <a:pt x="6036" y="2791"/>
                    </a:moveTo>
                    <a:cubicBezTo>
                      <a:pt x="6161" y="2785"/>
                      <a:pt x="6241" y="2784"/>
                      <a:pt x="6253" y="2783"/>
                    </a:cubicBezTo>
                    <a:cubicBezTo>
                      <a:pt x="6258" y="2770"/>
                      <a:pt x="6263" y="2754"/>
                      <a:pt x="6270" y="2735"/>
                    </a:cubicBezTo>
                    <a:cubicBezTo>
                      <a:pt x="6341" y="2523"/>
                      <a:pt x="6521" y="1994"/>
                      <a:pt x="6683" y="1517"/>
                    </a:cubicBezTo>
                    <a:cubicBezTo>
                      <a:pt x="6764" y="1279"/>
                      <a:pt x="6840" y="1053"/>
                      <a:pt x="6896" y="888"/>
                    </a:cubicBezTo>
                    <a:cubicBezTo>
                      <a:pt x="6924" y="805"/>
                      <a:pt x="6947" y="736"/>
                      <a:pt x="6963" y="689"/>
                    </a:cubicBezTo>
                    <a:cubicBezTo>
                      <a:pt x="6964" y="685"/>
                      <a:pt x="6965" y="682"/>
                      <a:pt x="6967" y="679"/>
                    </a:cubicBezTo>
                    <a:cubicBezTo>
                      <a:pt x="6925" y="691"/>
                      <a:pt x="6894" y="711"/>
                      <a:pt x="6874" y="729"/>
                    </a:cubicBezTo>
                    <a:cubicBezTo>
                      <a:pt x="6861" y="740"/>
                      <a:pt x="6851" y="751"/>
                      <a:pt x="6846" y="758"/>
                    </a:cubicBezTo>
                    <a:cubicBezTo>
                      <a:pt x="6843" y="761"/>
                      <a:pt x="6841" y="764"/>
                      <a:pt x="6840" y="765"/>
                    </a:cubicBezTo>
                    <a:cubicBezTo>
                      <a:pt x="6840" y="765"/>
                      <a:pt x="6840" y="765"/>
                      <a:pt x="6840" y="766"/>
                    </a:cubicBezTo>
                    <a:cubicBezTo>
                      <a:pt x="6821" y="801"/>
                      <a:pt x="6802" y="839"/>
                      <a:pt x="6788" y="869"/>
                    </a:cubicBezTo>
                    <a:cubicBezTo>
                      <a:pt x="6773" y="899"/>
                      <a:pt x="6764" y="920"/>
                      <a:pt x="6764" y="920"/>
                    </a:cubicBezTo>
                    <a:cubicBezTo>
                      <a:pt x="6757" y="936"/>
                      <a:pt x="6757" y="936"/>
                      <a:pt x="6757" y="936"/>
                    </a:cubicBezTo>
                    <a:cubicBezTo>
                      <a:pt x="6742" y="948"/>
                      <a:pt x="6742" y="948"/>
                      <a:pt x="6742" y="948"/>
                    </a:cubicBezTo>
                    <a:cubicBezTo>
                      <a:pt x="6721" y="965"/>
                      <a:pt x="6699" y="972"/>
                      <a:pt x="6679" y="976"/>
                    </a:cubicBezTo>
                    <a:lnTo>
                      <a:pt x="6036" y="2791"/>
                    </a:lnTo>
                    <a:close/>
                    <a:moveTo>
                      <a:pt x="6509" y="976"/>
                    </a:moveTo>
                    <a:cubicBezTo>
                      <a:pt x="6503" y="993"/>
                      <a:pt x="6497" y="1010"/>
                      <a:pt x="6488" y="1027"/>
                    </a:cubicBezTo>
                    <a:cubicBezTo>
                      <a:pt x="6466" y="1072"/>
                      <a:pt x="6433" y="1118"/>
                      <a:pt x="6378" y="1142"/>
                    </a:cubicBezTo>
                    <a:cubicBezTo>
                      <a:pt x="6348" y="1155"/>
                      <a:pt x="6320" y="1159"/>
                      <a:pt x="6286" y="1162"/>
                    </a:cubicBezTo>
                    <a:cubicBezTo>
                      <a:pt x="6253" y="1166"/>
                      <a:pt x="6214" y="1167"/>
                      <a:pt x="6171" y="1167"/>
                    </a:cubicBezTo>
                    <a:cubicBezTo>
                      <a:pt x="6105" y="1167"/>
                      <a:pt x="6027" y="1164"/>
                      <a:pt x="5944" y="1159"/>
                    </a:cubicBezTo>
                    <a:cubicBezTo>
                      <a:pt x="5939" y="1176"/>
                      <a:pt x="5930" y="1211"/>
                      <a:pt x="5919" y="1256"/>
                    </a:cubicBezTo>
                    <a:cubicBezTo>
                      <a:pt x="5913" y="1278"/>
                      <a:pt x="5907" y="1304"/>
                      <a:pt x="5900" y="1330"/>
                    </a:cubicBezTo>
                    <a:cubicBezTo>
                      <a:pt x="6250" y="1335"/>
                      <a:pt x="6250" y="1335"/>
                      <a:pt x="6250" y="1335"/>
                    </a:cubicBezTo>
                    <a:cubicBezTo>
                      <a:pt x="6304" y="1184"/>
                      <a:pt x="6304" y="1184"/>
                      <a:pt x="6304" y="1184"/>
                    </a:cubicBezTo>
                    <a:cubicBezTo>
                      <a:pt x="6446" y="1238"/>
                      <a:pt x="6446" y="1238"/>
                      <a:pt x="6446" y="1238"/>
                    </a:cubicBezTo>
                    <a:cubicBezTo>
                      <a:pt x="6411" y="1337"/>
                      <a:pt x="6411" y="1337"/>
                      <a:pt x="6411" y="1337"/>
                    </a:cubicBezTo>
                    <a:cubicBezTo>
                      <a:pt x="6481" y="1338"/>
                      <a:pt x="6481" y="1338"/>
                      <a:pt x="6481" y="1338"/>
                    </a:cubicBezTo>
                    <a:cubicBezTo>
                      <a:pt x="6607" y="981"/>
                      <a:pt x="6607" y="981"/>
                      <a:pt x="6607" y="981"/>
                    </a:cubicBezTo>
                    <a:cubicBezTo>
                      <a:pt x="6599" y="981"/>
                      <a:pt x="6590" y="981"/>
                      <a:pt x="6582" y="981"/>
                    </a:cubicBezTo>
                    <a:cubicBezTo>
                      <a:pt x="6576" y="980"/>
                      <a:pt x="6550" y="979"/>
                      <a:pt x="6509" y="976"/>
                    </a:cubicBezTo>
                    <a:close/>
                    <a:moveTo>
                      <a:pt x="6363" y="965"/>
                    </a:moveTo>
                    <a:cubicBezTo>
                      <a:pt x="6348" y="995"/>
                      <a:pt x="6334" y="1009"/>
                      <a:pt x="6321" y="1015"/>
                    </a:cubicBezTo>
                    <a:cubicBezTo>
                      <a:pt x="6319" y="1016"/>
                      <a:pt x="6318" y="1016"/>
                      <a:pt x="6316" y="1017"/>
                    </a:cubicBezTo>
                    <a:cubicBezTo>
                      <a:pt x="6308" y="1019"/>
                      <a:pt x="6293" y="1022"/>
                      <a:pt x="6273" y="1024"/>
                    </a:cubicBezTo>
                    <a:cubicBezTo>
                      <a:pt x="6246" y="1026"/>
                      <a:pt x="6211" y="1028"/>
                      <a:pt x="6171" y="1028"/>
                    </a:cubicBezTo>
                    <a:cubicBezTo>
                      <a:pt x="6171" y="1028"/>
                      <a:pt x="6170" y="1028"/>
                      <a:pt x="6170" y="1028"/>
                    </a:cubicBezTo>
                    <a:cubicBezTo>
                      <a:pt x="5900" y="1028"/>
                      <a:pt x="5402" y="972"/>
                      <a:pt x="5155" y="961"/>
                    </a:cubicBezTo>
                    <a:cubicBezTo>
                      <a:pt x="5076" y="957"/>
                      <a:pt x="4976" y="954"/>
                      <a:pt x="4865" y="954"/>
                    </a:cubicBezTo>
                    <a:cubicBezTo>
                      <a:pt x="4812" y="954"/>
                      <a:pt x="4755" y="955"/>
                      <a:pt x="4697" y="957"/>
                    </a:cubicBezTo>
                    <a:cubicBezTo>
                      <a:pt x="4601" y="973"/>
                      <a:pt x="4507" y="986"/>
                      <a:pt x="4437" y="992"/>
                    </a:cubicBezTo>
                    <a:cubicBezTo>
                      <a:pt x="4405" y="994"/>
                      <a:pt x="4374" y="995"/>
                      <a:pt x="4345" y="995"/>
                    </a:cubicBezTo>
                    <a:cubicBezTo>
                      <a:pt x="4322" y="995"/>
                      <a:pt x="4301" y="995"/>
                      <a:pt x="4280" y="994"/>
                    </a:cubicBezTo>
                    <a:cubicBezTo>
                      <a:pt x="4114" y="1019"/>
                      <a:pt x="3951" y="1061"/>
                      <a:pt x="3810" y="1126"/>
                    </a:cubicBezTo>
                    <a:cubicBezTo>
                      <a:pt x="3857" y="1240"/>
                      <a:pt x="3857" y="1240"/>
                      <a:pt x="3857" y="1240"/>
                    </a:cubicBezTo>
                    <a:cubicBezTo>
                      <a:pt x="3990" y="1177"/>
                      <a:pt x="4152" y="1137"/>
                      <a:pt x="4319" y="1112"/>
                    </a:cubicBezTo>
                    <a:cubicBezTo>
                      <a:pt x="4318" y="1106"/>
                      <a:pt x="4318" y="1106"/>
                      <a:pt x="4318" y="1106"/>
                    </a:cubicBezTo>
                    <a:cubicBezTo>
                      <a:pt x="4331" y="1102"/>
                      <a:pt x="4331" y="1102"/>
                      <a:pt x="4331" y="1102"/>
                    </a:cubicBezTo>
                    <a:cubicBezTo>
                      <a:pt x="4333" y="1110"/>
                      <a:pt x="4333" y="1110"/>
                      <a:pt x="4333" y="1110"/>
                    </a:cubicBezTo>
                    <a:cubicBezTo>
                      <a:pt x="4413" y="1099"/>
                      <a:pt x="4494" y="1091"/>
                      <a:pt x="4574" y="1086"/>
                    </a:cubicBezTo>
                    <a:cubicBezTo>
                      <a:pt x="4574" y="1084"/>
                      <a:pt x="4574" y="1082"/>
                      <a:pt x="4574" y="1082"/>
                    </a:cubicBezTo>
                    <a:cubicBezTo>
                      <a:pt x="4588" y="1082"/>
                      <a:pt x="4588" y="1082"/>
                      <a:pt x="4588" y="1082"/>
                    </a:cubicBezTo>
                    <a:cubicBezTo>
                      <a:pt x="4588" y="1082"/>
                      <a:pt x="4588" y="1084"/>
                      <a:pt x="4588" y="1085"/>
                    </a:cubicBezTo>
                    <a:cubicBezTo>
                      <a:pt x="4643" y="1081"/>
                      <a:pt x="4698" y="1079"/>
                      <a:pt x="4751" y="1078"/>
                    </a:cubicBezTo>
                    <a:cubicBezTo>
                      <a:pt x="4750" y="1073"/>
                      <a:pt x="4750" y="1073"/>
                      <a:pt x="4750" y="1073"/>
                    </a:cubicBezTo>
                    <a:cubicBezTo>
                      <a:pt x="4764" y="1071"/>
                      <a:pt x="4764" y="1071"/>
                      <a:pt x="4764" y="1071"/>
                    </a:cubicBezTo>
                    <a:cubicBezTo>
                      <a:pt x="4765" y="1078"/>
                      <a:pt x="4765" y="1078"/>
                      <a:pt x="4765" y="1078"/>
                    </a:cubicBezTo>
                    <a:cubicBezTo>
                      <a:pt x="4796" y="1077"/>
                      <a:pt x="4826" y="1077"/>
                      <a:pt x="4855" y="1077"/>
                    </a:cubicBezTo>
                    <a:cubicBezTo>
                      <a:pt x="4858" y="1077"/>
                      <a:pt x="4862" y="1077"/>
                      <a:pt x="4865" y="1077"/>
                    </a:cubicBezTo>
                    <a:cubicBezTo>
                      <a:pt x="4941" y="1077"/>
                      <a:pt x="5011" y="1078"/>
                      <a:pt x="5073" y="1080"/>
                    </a:cubicBezTo>
                    <a:cubicBezTo>
                      <a:pt x="5073" y="1073"/>
                      <a:pt x="5073" y="1073"/>
                      <a:pt x="5073" y="1073"/>
                    </a:cubicBezTo>
                    <a:cubicBezTo>
                      <a:pt x="5087" y="1074"/>
                      <a:pt x="5087" y="1074"/>
                      <a:pt x="5087" y="1074"/>
                    </a:cubicBezTo>
                    <a:cubicBezTo>
                      <a:pt x="5087" y="1081"/>
                      <a:pt x="5087" y="1081"/>
                      <a:pt x="5087" y="1081"/>
                    </a:cubicBezTo>
                    <a:cubicBezTo>
                      <a:pt x="5109" y="1082"/>
                      <a:pt x="5130" y="1083"/>
                      <a:pt x="5150" y="1083"/>
                    </a:cubicBezTo>
                    <a:cubicBezTo>
                      <a:pt x="5331" y="1092"/>
                      <a:pt x="5662" y="1126"/>
                      <a:pt x="5934" y="1142"/>
                    </a:cubicBezTo>
                    <a:cubicBezTo>
                      <a:pt x="5934" y="1142"/>
                      <a:pt x="5935" y="1141"/>
                      <a:pt x="5937" y="1139"/>
                    </a:cubicBezTo>
                    <a:cubicBezTo>
                      <a:pt x="5939" y="1142"/>
                      <a:pt x="5939" y="1142"/>
                      <a:pt x="5939" y="1142"/>
                    </a:cubicBezTo>
                    <a:cubicBezTo>
                      <a:pt x="6024" y="1147"/>
                      <a:pt x="6104" y="1151"/>
                      <a:pt x="6171" y="1151"/>
                    </a:cubicBezTo>
                    <a:cubicBezTo>
                      <a:pt x="6214" y="1151"/>
                      <a:pt x="6252" y="1149"/>
                      <a:pt x="6285" y="1146"/>
                    </a:cubicBezTo>
                    <a:cubicBezTo>
                      <a:pt x="6318" y="1143"/>
                      <a:pt x="6344" y="1139"/>
                      <a:pt x="6371" y="1127"/>
                    </a:cubicBezTo>
                    <a:cubicBezTo>
                      <a:pt x="6421" y="1105"/>
                      <a:pt x="6453" y="1063"/>
                      <a:pt x="6474" y="1019"/>
                    </a:cubicBezTo>
                    <a:cubicBezTo>
                      <a:pt x="6481" y="1005"/>
                      <a:pt x="6487" y="990"/>
                      <a:pt x="6493" y="975"/>
                    </a:cubicBezTo>
                    <a:cubicBezTo>
                      <a:pt x="6457" y="972"/>
                      <a:pt x="6414" y="969"/>
                      <a:pt x="6363" y="965"/>
                    </a:cubicBezTo>
                    <a:close/>
                    <a:moveTo>
                      <a:pt x="5119" y="877"/>
                    </a:moveTo>
                    <a:cubicBezTo>
                      <a:pt x="5081" y="884"/>
                      <a:pt x="4951" y="911"/>
                      <a:pt x="4806" y="938"/>
                    </a:cubicBezTo>
                    <a:cubicBezTo>
                      <a:pt x="4826" y="937"/>
                      <a:pt x="4846" y="937"/>
                      <a:pt x="4865" y="937"/>
                    </a:cubicBezTo>
                    <a:cubicBezTo>
                      <a:pt x="4976" y="937"/>
                      <a:pt x="5076" y="941"/>
                      <a:pt x="5156" y="944"/>
                    </a:cubicBezTo>
                    <a:cubicBezTo>
                      <a:pt x="5404" y="955"/>
                      <a:pt x="5902" y="1011"/>
                      <a:pt x="6170" y="1011"/>
                    </a:cubicBezTo>
                    <a:cubicBezTo>
                      <a:pt x="6171" y="1011"/>
                      <a:pt x="6171" y="1011"/>
                      <a:pt x="6171" y="1011"/>
                    </a:cubicBezTo>
                    <a:cubicBezTo>
                      <a:pt x="6211" y="1011"/>
                      <a:pt x="6245" y="1010"/>
                      <a:pt x="6271" y="1007"/>
                    </a:cubicBezTo>
                    <a:cubicBezTo>
                      <a:pt x="6284" y="1006"/>
                      <a:pt x="6295" y="1005"/>
                      <a:pt x="6303" y="1003"/>
                    </a:cubicBezTo>
                    <a:cubicBezTo>
                      <a:pt x="6306" y="1002"/>
                      <a:pt x="6310" y="1001"/>
                      <a:pt x="6312" y="1001"/>
                    </a:cubicBezTo>
                    <a:cubicBezTo>
                      <a:pt x="6313" y="1001"/>
                      <a:pt x="6313" y="1000"/>
                      <a:pt x="6314" y="1000"/>
                    </a:cubicBezTo>
                    <a:cubicBezTo>
                      <a:pt x="6314" y="1000"/>
                      <a:pt x="6314" y="1000"/>
                      <a:pt x="6314" y="1000"/>
                    </a:cubicBezTo>
                    <a:cubicBezTo>
                      <a:pt x="6315" y="1000"/>
                      <a:pt x="6315" y="1000"/>
                      <a:pt x="6315" y="1000"/>
                    </a:cubicBezTo>
                    <a:cubicBezTo>
                      <a:pt x="6322" y="997"/>
                      <a:pt x="6333" y="987"/>
                      <a:pt x="6345" y="964"/>
                    </a:cubicBezTo>
                    <a:cubicBezTo>
                      <a:pt x="5956" y="937"/>
                      <a:pt x="5216" y="884"/>
                      <a:pt x="5119" y="877"/>
                    </a:cubicBezTo>
                    <a:close/>
                    <a:moveTo>
                      <a:pt x="5387" y="551"/>
                    </a:moveTo>
                    <a:cubicBezTo>
                      <a:pt x="5312" y="545"/>
                      <a:pt x="5312" y="545"/>
                      <a:pt x="5312" y="545"/>
                    </a:cubicBezTo>
                    <a:cubicBezTo>
                      <a:pt x="5303" y="674"/>
                      <a:pt x="5303" y="674"/>
                      <a:pt x="5303" y="674"/>
                    </a:cubicBezTo>
                    <a:cubicBezTo>
                      <a:pt x="5386" y="681"/>
                      <a:pt x="5386" y="681"/>
                      <a:pt x="5386" y="681"/>
                    </a:cubicBezTo>
                    <a:lnTo>
                      <a:pt x="5387" y="551"/>
                    </a:lnTo>
                    <a:close/>
                    <a:moveTo>
                      <a:pt x="6172" y="762"/>
                    </a:moveTo>
                    <a:cubicBezTo>
                      <a:pt x="6169" y="799"/>
                      <a:pt x="6169" y="799"/>
                      <a:pt x="6169" y="799"/>
                    </a:cubicBezTo>
                    <a:cubicBezTo>
                      <a:pt x="6215" y="802"/>
                      <a:pt x="6259" y="805"/>
                      <a:pt x="6300" y="808"/>
                    </a:cubicBezTo>
                    <a:cubicBezTo>
                      <a:pt x="6302" y="801"/>
                      <a:pt x="6302" y="801"/>
                      <a:pt x="6302" y="801"/>
                    </a:cubicBezTo>
                    <a:cubicBezTo>
                      <a:pt x="6301" y="806"/>
                      <a:pt x="6301" y="806"/>
                      <a:pt x="6301" y="806"/>
                    </a:cubicBezTo>
                    <a:cubicBezTo>
                      <a:pt x="6301" y="806"/>
                      <a:pt x="6301" y="806"/>
                      <a:pt x="6301" y="806"/>
                    </a:cubicBezTo>
                    <a:cubicBezTo>
                      <a:pt x="6297" y="802"/>
                      <a:pt x="6297" y="802"/>
                      <a:pt x="6297" y="802"/>
                    </a:cubicBezTo>
                    <a:cubicBezTo>
                      <a:pt x="6298" y="802"/>
                      <a:pt x="6298" y="802"/>
                      <a:pt x="6298" y="802"/>
                    </a:cubicBezTo>
                    <a:cubicBezTo>
                      <a:pt x="6297" y="802"/>
                      <a:pt x="6297" y="802"/>
                      <a:pt x="6297" y="802"/>
                    </a:cubicBezTo>
                    <a:cubicBezTo>
                      <a:pt x="6301" y="795"/>
                      <a:pt x="6309" y="747"/>
                      <a:pt x="6313" y="703"/>
                    </a:cubicBezTo>
                    <a:cubicBezTo>
                      <a:pt x="6317" y="667"/>
                      <a:pt x="6320" y="633"/>
                      <a:pt x="6321" y="621"/>
                    </a:cubicBezTo>
                    <a:cubicBezTo>
                      <a:pt x="6192" y="551"/>
                      <a:pt x="6192" y="551"/>
                      <a:pt x="6192" y="551"/>
                    </a:cubicBezTo>
                    <a:cubicBezTo>
                      <a:pt x="6187" y="605"/>
                      <a:pt x="6187" y="605"/>
                      <a:pt x="6187" y="605"/>
                    </a:cubicBezTo>
                    <a:cubicBezTo>
                      <a:pt x="6257" y="611"/>
                      <a:pt x="6257" y="611"/>
                      <a:pt x="6257" y="611"/>
                    </a:cubicBezTo>
                    <a:cubicBezTo>
                      <a:pt x="6247" y="768"/>
                      <a:pt x="6247" y="768"/>
                      <a:pt x="6247" y="768"/>
                    </a:cubicBezTo>
                    <a:cubicBezTo>
                      <a:pt x="6240" y="768"/>
                      <a:pt x="6240" y="768"/>
                      <a:pt x="6240" y="768"/>
                    </a:cubicBezTo>
                    <a:lnTo>
                      <a:pt x="6172" y="762"/>
                    </a:lnTo>
                    <a:close/>
                    <a:moveTo>
                      <a:pt x="6235" y="754"/>
                    </a:moveTo>
                    <a:cubicBezTo>
                      <a:pt x="6244" y="623"/>
                      <a:pt x="6244" y="623"/>
                      <a:pt x="6244" y="623"/>
                    </a:cubicBezTo>
                    <a:cubicBezTo>
                      <a:pt x="6186" y="618"/>
                      <a:pt x="6186" y="618"/>
                      <a:pt x="6186" y="618"/>
                    </a:cubicBezTo>
                    <a:cubicBezTo>
                      <a:pt x="6173" y="749"/>
                      <a:pt x="6173" y="749"/>
                      <a:pt x="6173" y="749"/>
                    </a:cubicBezTo>
                    <a:lnTo>
                      <a:pt x="6235" y="754"/>
                    </a:lnTo>
                    <a:close/>
                    <a:moveTo>
                      <a:pt x="6172" y="617"/>
                    </a:moveTo>
                    <a:cubicBezTo>
                      <a:pt x="5934" y="597"/>
                      <a:pt x="5934" y="597"/>
                      <a:pt x="5934" y="597"/>
                    </a:cubicBezTo>
                    <a:cubicBezTo>
                      <a:pt x="5944" y="639"/>
                      <a:pt x="5957" y="690"/>
                      <a:pt x="5966" y="731"/>
                    </a:cubicBezTo>
                    <a:cubicBezTo>
                      <a:pt x="6159" y="748"/>
                      <a:pt x="6159" y="748"/>
                      <a:pt x="6159" y="748"/>
                    </a:cubicBezTo>
                    <a:lnTo>
                      <a:pt x="6172" y="617"/>
                    </a:lnTo>
                    <a:close/>
                    <a:moveTo>
                      <a:pt x="5968" y="744"/>
                    </a:moveTo>
                    <a:cubicBezTo>
                      <a:pt x="5972" y="762"/>
                      <a:pt x="5974" y="776"/>
                      <a:pt x="5975" y="785"/>
                    </a:cubicBezTo>
                    <a:cubicBezTo>
                      <a:pt x="6037" y="789"/>
                      <a:pt x="6097" y="794"/>
                      <a:pt x="6155" y="798"/>
                    </a:cubicBezTo>
                    <a:cubicBezTo>
                      <a:pt x="6158" y="761"/>
                      <a:pt x="6158" y="761"/>
                      <a:pt x="6158" y="761"/>
                    </a:cubicBezTo>
                    <a:lnTo>
                      <a:pt x="5968" y="744"/>
                    </a:lnTo>
                    <a:close/>
                    <a:moveTo>
                      <a:pt x="5954" y="743"/>
                    </a:moveTo>
                    <a:cubicBezTo>
                      <a:pt x="5826" y="732"/>
                      <a:pt x="5826" y="732"/>
                      <a:pt x="5826" y="732"/>
                    </a:cubicBezTo>
                    <a:cubicBezTo>
                      <a:pt x="5831" y="775"/>
                      <a:pt x="5831" y="775"/>
                      <a:pt x="5831" y="775"/>
                    </a:cubicBezTo>
                    <a:cubicBezTo>
                      <a:pt x="5833" y="775"/>
                      <a:pt x="5836" y="775"/>
                      <a:pt x="5838" y="775"/>
                    </a:cubicBezTo>
                    <a:cubicBezTo>
                      <a:pt x="5879" y="778"/>
                      <a:pt x="5920" y="781"/>
                      <a:pt x="5961" y="784"/>
                    </a:cubicBezTo>
                    <a:cubicBezTo>
                      <a:pt x="5960" y="775"/>
                      <a:pt x="5957" y="761"/>
                      <a:pt x="5954" y="743"/>
                    </a:cubicBezTo>
                    <a:close/>
                    <a:moveTo>
                      <a:pt x="5932" y="648"/>
                    </a:moveTo>
                    <a:cubicBezTo>
                      <a:pt x="5928" y="630"/>
                      <a:pt x="5923" y="612"/>
                      <a:pt x="5919" y="596"/>
                    </a:cubicBezTo>
                    <a:cubicBezTo>
                      <a:pt x="5809" y="586"/>
                      <a:pt x="5809" y="586"/>
                      <a:pt x="5809" y="586"/>
                    </a:cubicBezTo>
                    <a:cubicBezTo>
                      <a:pt x="5825" y="719"/>
                      <a:pt x="5825" y="719"/>
                      <a:pt x="5825" y="719"/>
                    </a:cubicBezTo>
                    <a:cubicBezTo>
                      <a:pt x="5951" y="730"/>
                      <a:pt x="5951" y="730"/>
                      <a:pt x="5951" y="730"/>
                    </a:cubicBezTo>
                    <a:cubicBezTo>
                      <a:pt x="5946" y="705"/>
                      <a:pt x="5939" y="676"/>
                      <a:pt x="5932" y="648"/>
                    </a:cubicBezTo>
                    <a:close/>
                    <a:moveTo>
                      <a:pt x="5812" y="731"/>
                    </a:moveTo>
                    <a:cubicBezTo>
                      <a:pt x="5605" y="713"/>
                      <a:pt x="5605" y="713"/>
                      <a:pt x="5605" y="713"/>
                    </a:cubicBezTo>
                    <a:cubicBezTo>
                      <a:pt x="5605" y="759"/>
                      <a:pt x="5605" y="759"/>
                      <a:pt x="5605" y="759"/>
                    </a:cubicBezTo>
                    <a:cubicBezTo>
                      <a:pt x="5673" y="763"/>
                      <a:pt x="5745" y="769"/>
                      <a:pt x="5817" y="774"/>
                    </a:cubicBezTo>
                    <a:lnTo>
                      <a:pt x="5812" y="731"/>
                    </a:lnTo>
                    <a:close/>
                    <a:moveTo>
                      <a:pt x="5795" y="585"/>
                    </a:moveTo>
                    <a:cubicBezTo>
                      <a:pt x="5603" y="569"/>
                      <a:pt x="5603" y="569"/>
                      <a:pt x="5603" y="569"/>
                    </a:cubicBezTo>
                    <a:cubicBezTo>
                      <a:pt x="5604" y="700"/>
                      <a:pt x="5604" y="700"/>
                      <a:pt x="5604" y="700"/>
                    </a:cubicBezTo>
                    <a:cubicBezTo>
                      <a:pt x="5810" y="718"/>
                      <a:pt x="5810" y="718"/>
                      <a:pt x="5810" y="718"/>
                    </a:cubicBezTo>
                    <a:lnTo>
                      <a:pt x="5795" y="585"/>
                    </a:lnTo>
                    <a:close/>
                    <a:moveTo>
                      <a:pt x="4820" y="780"/>
                    </a:moveTo>
                    <a:cubicBezTo>
                      <a:pt x="4818" y="766"/>
                      <a:pt x="4814" y="738"/>
                      <a:pt x="4808" y="702"/>
                    </a:cubicBezTo>
                    <a:cubicBezTo>
                      <a:pt x="4703" y="717"/>
                      <a:pt x="4703" y="717"/>
                      <a:pt x="4703" y="717"/>
                    </a:cubicBezTo>
                    <a:cubicBezTo>
                      <a:pt x="4717" y="799"/>
                      <a:pt x="4717" y="799"/>
                      <a:pt x="4717" y="799"/>
                    </a:cubicBezTo>
                    <a:cubicBezTo>
                      <a:pt x="4752" y="793"/>
                      <a:pt x="4786" y="786"/>
                      <a:pt x="4820" y="780"/>
                    </a:cubicBezTo>
                    <a:close/>
                    <a:moveTo>
                      <a:pt x="4834" y="777"/>
                    </a:moveTo>
                    <a:cubicBezTo>
                      <a:pt x="4835" y="777"/>
                      <a:pt x="4836" y="777"/>
                      <a:pt x="4837" y="777"/>
                    </a:cubicBezTo>
                    <a:cubicBezTo>
                      <a:pt x="4877" y="769"/>
                      <a:pt x="4915" y="762"/>
                      <a:pt x="4949" y="755"/>
                    </a:cubicBezTo>
                    <a:cubicBezTo>
                      <a:pt x="4938" y="684"/>
                      <a:pt x="4938" y="684"/>
                      <a:pt x="4938" y="684"/>
                    </a:cubicBezTo>
                    <a:cubicBezTo>
                      <a:pt x="4822" y="700"/>
                      <a:pt x="4822" y="700"/>
                      <a:pt x="4822" y="700"/>
                    </a:cubicBezTo>
                    <a:cubicBezTo>
                      <a:pt x="4828" y="736"/>
                      <a:pt x="4832" y="763"/>
                      <a:pt x="4834" y="777"/>
                    </a:cubicBezTo>
                    <a:close/>
                    <a:moveTo>
                      <a:pt x="4949" y="669"/>
                    </a:moveTo>
                    <a:cubicBezTo>
                      <a:pt x="5055" y="654"/>
                      <a:pt x="5055" y="654"/>
                      <a:pt x="5055" y="654"/>
                    </a:cubicBezTo>
                    <a:cubicBezTo>
                      <a:pt x="5034" y="524"/>
                      <a:pt x="5034" y="524"/>
                      <a:pt x="5034" y="524"/>
                    </a:cubicBezTo>
                    <a:cubicBezTo>
                      <a:pt x="4928" y="539"/>
                      <a:pt x="4928" y="539"/>
                      <a:pt x="4928" y="539"/>
                    </a:cubicBezTo>
                    <a:lnTo>
                      <a:pt x="4949" y="669"/>
                    </a:lnTo>
                    <a:close/>
                    <a:moveTo>
                      <a:pt x="4914" y="541"/>
                    </a:moveTo>
                    <a:cubicBezTo>
                      <a:pt x="4801" y="558"/>
                      <a:pt x="4801" y="558"/>
                      <a:pt x="4801" y="558"/>
                    </a:cubicBezTo>
                    <a:cubicBezTo>
                      <a:pt x="4808" y="603"/>
                      <a:pt x="4815" y="648"/>
                      <a:pt x="4820" y="687"/>
                    </a:cubicBezTo>
                    <a:cubicBezTo>
                      <a:pt x="4936" y="671"/>
                      <a:pt x="4936" y="671"/>
                      <a:pt x="4936" y="671"/>
                    </a:cubicBezTo>
                    <a:lnTo>
                      <a:pt x="4914" y="541"/>
                    </a:lnTo>
                    <a:close/>
                    <a:moveTo>
                      <a:pt x="4787" y="562"/>
                    </a:moveTo>
                    <a:cubicBezTo>
                      <a:pt x="4787" y="561"/>
                      <a:pt x="4787" y="560"/>
                      <a:pt x="4787" y="559"/>
                    </a:cubicBezTo>
                    <a:cubicBezTo>
                      <a:pt x="4680" y="575"/>
                      <a:pt x="4680" y="575"/>
                      <a:pt x="4680" y="575"/>
                    </a:cubicBezTo>
                    <a:cubicBezTo>
                      <a:pt x="4701" y="704"/>
                      <a:pt x="4701" y="704"/>
                      <a:pt x="4701" y="704"/>
                    </a:cubicBezTo>
                    <a:cubicBezTo>
                      <a:pt x="4807" y="689"/>
                      <a:pt x="4807" y="689"/>
                      <a:pt x="4807" y="689"/>
                    </a:cubicBezTo>
                    <a:cubicBezTo>
                      <a:pt x="4801" y="651"/>
                      <a:pt x="4794" y="607"/>
                      <a:pt x="4787" y="562"/>
                    </a:cubicBezTo>
                    <a:close/>
                    <a:moveTo>
                      <a:pt x="4471" y="834"/>
                    </a:moveTo>
                    <a:cubicBezTo>
                      <a:pt x="4457" y="837"/>
                      <a:pt x="4457" y="837"/>
                      <a:pt x="4457" y="837"/>
                    </a:cubicBezTo>
                    <a:cubicBezTo>
                      <a:pt x="4524" y="830"/>
                      <a:pt x="4612" y="816"/>
                      <a:pt x="4703" y="801"/>
                    </a:cubicBezTo>
                    <a:cubicBezTo>
                      <a:pt x="4689" y="719"/>
                      <a:pt x="4689" y="719"/>
                      <a:pt x="4689" y="719"/>
                    </a:cubicBezTo>
                    <a:cubicBezTo>
                      <a:pt x="4453" y="752"/>
                      <a:pt x="4453" y="752"/>
                      <a:pt x="4453" y="752"/>
                    </a:cubicBezTo>
                    <a:lnTo>
                      <a:pt x="4471" y="834"/>
                    </a:lnTo>
                    <a:close/>
                    <a:moveTo>
                      <a:pt x="4667" y="576"/>
                    </a:moveTo>
                    <a:cubicBezTo>
                      <a:pt x="4423" y="611"/>
                      <a:pt x="4423" y="611"/>
                      <a:pt x="4423" y="611"/>
                    </a:cubicBezTo>
                    <a:cubicBezTo>
                      <a:pt x="4451" y="739"/>
                      <a:pt x="4451" y="739"/>
                      <a:pt x="4451" y="739"/>
                    </a:cubicBezTo>
                    <a:cubicBezTo>
                      <a:pt x="4687" y="706"/>
                      <a:pt x="4687" y="706"/>
                      <a:pt x="4687" y="706"/>
                    </a:cubicBezTo>
                    <a:lnTo>
                      <a:pt x="4667" y="576"/>
                    </a:lnTo>
                    <a:close/>
                    <a:moveTo>
                      <a:pt x="4437" y="754"/>
                    </a:moveTo>
                    <a:cubicBezTo>
                      <a:pt x="4340" y="768"/>
                      <a:pt x="4340" y="768"/>
                      <a:pt x="4340" y="768"/>
                    </a:cubicBezTo>
                    <a:cubicBezTo>
                      <a:pt x="4355" y="842"/>
                      <a:pt x="4355" y="842"/>
                      <a:pt x="4355" y="842"/>
                    </a:cubicBezTo>
                    <a:cubicBezTo>
                      <a:pt x="4378" y="842"/>
                      <a:pt x="4401" y="842"/>
                      <a:pt x="4426" y="840"/>
                    </a:cubicBezTo>
                    <a:cubicBezTo>
                      <a:pt x="4435" y="839"/>
                      <a:pt x="4445" y="838"/>
                      <a:pt x="4455" y="837"/>
                    </a:cubicBezTo>
                    <a:lnTo>
                      <a:pt x="4437" y="754"/>
                    </a:lnTo>
                    <a:close/>
                    <a:moveTo>
                      <a:pt x="6433" y="682"/>
                    </a:moveTo>
                    <a:cubicBezTo>
                      <a:pt x="6334" y="628"/>
                      <a:pt x="6334" y="628"/>
                      <a:pt x="6334" y="628"/>
                    </a:cubicBezTo>
                    <a:cubicBezTo>
                      <a:pt x="6333" y="645"/>
                      <a:pt x="6330" y="679"/>
                      <a:pt x="6326" y="713"/>
                    </a:cubicBezTo>
                    <a:cubicBezTo>
                      <a:pt x="6323" y="737"/>
                      <a:pt x="6320" y="761"/>
                      <a:pt x="6317" y="779"/>
                    </a:cubicBezTo>
                    <a:cubicBezTo>
                      <a:pt x="6315" y="788"/>
                      <a:pt x="6314" y="796"/>
                      <a:pt x="6312" y="801"/>
                    </a:cubicBezTo>
                    <a:cubicBezTo>
                      <a:pt x="6311" y="804"/>
                      <a:pt x="6310" y="807"/>
                      <a:pt x="6309" y="809"/>
                    </a:cubicBezTo>
                    <a:cubicBezTo>
                      <a:pt x="6339" y="811"/>
                      <a:pt x="6368" y="813"/>
                      <a:pt x="6395" y="815"/>
                    </a:cubicBezTo>
                    <a:cubicBezTo>
                      <a:pt x="6399" y="799"/>
                      <a:pt x="6403" y="783"/>
                      <a:pt x="6408" y="766"/>
                    </a:cubicBezTo>
                    <a:cubicBezTo>
                      <a:pt x="6415" y="739"/>
                      <a:pt x="6424" y="711"/>
                      <a:pt x="6433" y="682"/>
                    </a:cubicBezTo>
                    <a:close/>
                    <a:moveTo>
                      <a:pt x="6193" y="536"/>
                    </a:moveTo>
                    <a:cubicBezTo>
                      <a:pt x="6438" y="669"/>
                      <a:pt x="6438" y="669"/>
                      <a:pt x="6438" y="669"/>
                    </a:cubicBezTo>
                    <a:cubicBezTo>
                      <a:pt x="6452" y="629"/>
                      <a:pt x="6471" y="589"/>
                      <a:pt x="6495" y="551"/>
                    </a:cubicBezTo>
                    <a:cubicBezTo>
                      <a:pt x="6400" y="481"/>
                      <a:pt x="6400" y="481"/>
                      <a:pt x="6400" y="481"/>
                    </a:cubicBezTo>
                    <a:cubicBezTo>
                      <a:pt x="6386" y="551"/>
                      <a:pt x="6386" y="551"/>
                      <a:pt x="6386" y="551"/>
                    </a:cubicBezTo>
                    <a:cubicBezTo>
                      <a:pt x="6380" y="549"/>
                      <a:pt x="6380" y="549"/>
                      <a:pt x="6380" y="549"/>
                    </a:cubicBezTo>
                    <a:cubicBezTo>
                      <a:pt x="6238" y="522"/>
                      <a:pt x="6238" y="522"/>
                      <a:pt x="6238" y="522"/>
                    </a:cubicBezTo>
                    <a:cubicBezTo>
                      <a:pt x="6252" y="448"/>
                      <a:pt x="6252" y="448"/>
                      <a:pt x="6252" y="448"/>
                    </a:cubicBezTo>
                    <a:cubicBezTo>
                      <a:pt x="6391" y="474"/>
                      <a:pt x="6391" y="474"/>
                      <a:pt x="6391" y="474"/>
                    </a:cubicBezTo>
                    <a:cubicBezTo>
                      <a:pt x="6257" y="376"/>
                      <a:pt x="6257" y="376"/>
                      <a:pt x="6257" y="376"/>
                    </a:cubicBezTo>
                    <a:cubicBezTo>
                      <a:pt x="6202" y="438"/>
                      <a:pt x="6202" y="438"/>
                      <a:pt x="6202" y="438"/>
                    </a:cubicBezTo>
                    <a:lnTo>
                      <a:pt x="6193" y="536"/>
                    </a:lnTo>
                    <a:close/>
                    <a:moveTo>
                      <a:pt x="6262" y="463"/>
                    </a:moveTo>
                    <a:cubicBezTo>
                      <a:pt x="6253" y="512"/>
                      <a:pt x="6253" y="512"/>
                      <a:pt x="6253" y="512"/>
                    </a:cubicBezTo>
                    <a:cubicBezTo>
                      <a:pt x="6376" y="535"/>
                      <a:pt x="6376" y="535"/>
                      <a:pt x="6376" y="535"/>
                    </a:cubicBezTo>
                    <a:cubicBezTo>
                      <a:pt x="6385" y="487"/>
                      <a:pt x="6385" y="487"/>
                      <a:pt x="6385" y="487"/>
                    </a:cubicBezTo>
                    <a:lnTo>
                      <a:pt x="6262" y="463"/>
                    </a:lnTo>
                    <a:close/>
                    <a:moveTo>
                      <a:pt x="5916" y="527"/>
                    </a:moveTo>
                    <a:cubicBezTo>
                      <a:pt x="5918" y="533"/>
                      <a:pt x="5924" y="555"/>
                      <a:pt x="5931" y="583"/>
                    </a:cubicBezTo>
                    <a:cubicBezTo>
                      <a:pt x="6173" y="604"/>
                      <a:pt x="6173" y="604"/>
                      <a:pt x="6173" y="604"/>
                    </a:cubicBezTo>
                    <a:cubicBezTo>
                      <a:pt x="6189" y="432"/>
                      <a:pt x="6189" y="432"/>
                      <a:pt x="6189" y="432"/>
                    </a:cubicBezTo>
                    <a:cubicBezTo>
                      <a:pt x="6195" y="426"/>
                      <a:pt x="6195" y="426"/>
                      <a:pt x="6195" y="426"/>
                    </a:cubicBezTo>
                    <a:cubicBezTo>
                      <a:pt x="6196" y="423"/>
                      <a:pt x="6196" y="423"/>
                      <a:pt x="6196" y="423"/>
                    </a:cubicBezTo>
                    <a:cubicBezTo>
                      <a:pt x="6196" y="423"/>
                      <a:pt x="6196" y="423"/>
                      <a:pt x="6196" y="423"/>
                    </a:cubicBezTo>
                    <a:cubicBezTo>
                      <a:pt x="6191" y="427"/>
                      <a:pt x="6191" y="427"/>
                      <a:pt x="6191" y="427"/>
                    </a:cubicBezTo>
                    <a:cubicBezTo>
                      <a:pt x="6190" y="427"/>
                      <a:pt x="6190" y="427"/>
                      <a:pt x="6190" y="427"/>
                    </a:cubicBezTo>
                    <a:cubicBezTo>
                      <a:pt x="6190" y="427"/>
                      <a:pt x="6190" y="427"/>
                      <a:pt x="6190" y="427"/>
                    </a:cubicBezTo>
                    <a:cubicBezTo>
                      <a:pt x="6185" y="421"/>
                      <a:pt x="6137" y="382"/>
                      <a:pt x="6092" y="344"/>
                    </a:cubicBezTo>
                    <a:cubicBezTo>
                      <a:pt x="6053" y="312"/>
                      <a:pt x="6015" y="280"/>
                      <a:pt x="6002" y="269"/>
                    </a:cubicBezTo>
                    <a:cubicBezTo>
                      <a:pt x="5962" y="309"/>
                      <a:pt x="5962" y="309"/>
                      <a:pt x="5962" y="309"/>
                    </a:cubicBezTo>
                    <a:lnTo>
                      <a:pt x="5916" y="527"/>
                    </a:lnTo>
                    <a:close/>
                    <a:moveTo>
                      <a:pt x="5829" y="241"/>
                    </a:moveTo>
                    <a:cubicBezTo>
                      <a:pt x="5793" y="454"/>
                      <a:pt x="5793" y="454"/>
                      <a:pt x="5793" y="454"/>
                    </a:cubicBezTo>
                    <a:cubicBezTo>
                      <a:pt x="5807" y="573"/>
                      <a:pt x="5807" y="573"/>
                      <a:pt x="5807" y="573"/>
                    </a:cubicBezTo>
                    <a:cubicBezTo>
                      <a:pt x="5916" y="582"/>
                      <a:pt x="5916" y="582"/>
                      <a:pt x="5916" y="582"/>
                    </a:cubicBezTo>
                    <a:cubicBezTo>
                      <a:pt x="5908" y="551"/>
                      <a:pt x="5903" y="529"/>
                      <a:pt x="5903" y="529"/>
                    </a:cubicBezTo>
                    <a:cubicBezTo>
                      <a:pt x="5902" y="528"/>
                      <a:pt x="5902" y="528"/>
                      <a:pt x="5902" y="528"/>
                    </a:cubicBezTo>
                    <a:cubicBezTo>
                      <a:pt x="5948" y="309"/>
                      <a:pt x="5948" y="309"/>
                      <a:pt x="5948" y="309"/>
                    </a:cubicBezTo>
                    <a:lnTo>
                      <a:pt x="5829" y="241"/>
                    </a:lnTo>
                    <a:close/>
                    <a:moveTo>
                      <a:pt x="5599" y="173"/>
                    </a:moveTo>
                    <a:cubicBezTo>
                      <a:pt x="5603" y="556"/>
                      <a:pt x="5603" y="556"/>
                      <a:pt x="5603" y="556"/>
                    </a:cubicBezTo>
                    <a:cubicBezTo>
                      <a:pt x="5793" y="572"/>
                      <a:pt x="5793" y="572"/>
                      <a:pt x="5793" y="572"/>
                    </a:cubicBezTo>
                    <a:cubicBezTo>
                      <a:pt x="5779" y="453"/>
                      <a:pt x="5779" y="453"/>
                      <a:pt x="5779" y="453"/>
                    </a:cubicBezTo>
                    <a:cubicBezTo>
                      <a:pt x="5816" y="233"/>
                      <a:pt x="5816" y="233"/>
                      <a:pt x="5816" y="233"/>
                    </a:cubicBezTo>
                    <a:cubicBezTo>
                      <a:pt x="5741" y="190"/>
                      <a:pt x="5741" y="190"/>
                      <a:pt x="5741" y="190"/>
                    </a:cubicBezTo>
                    <a:cubicBezTo>
                      <a:pt x="5740" y="192"/>
                      <a:pt x="5740" y="192"/>
                      <a:pt x="5740" y="192"/>
                    </a:cubicBezTo>
                    <a:cubicBezTo>
                      <a:pt x="5676" y="181"/>
                      <a:pt x="5676" y="181"/>
                      <a:pt x="5676" y="181"/>
                    </a:cubicBezTo>
                    <a:cubicBezTo>
                      <a:pt x="5677" y="174"/>
                      <a:pt x="5677" y="174"/>
                      <a:pt x="5677" y="174"/>
                    </a:cubicBezTo>
                    <a:lnTo>
                      <a:pt x="5599" y="173"/>
                    </a:lnTo>
                    <a:close/>
                    <a:moveTo>
                      <a:pt x="5591" y="712"/>
                    </a:moveTo>
                    <a:cubicBezTo>
                      <a:pt x="5400" y="696"/>
                      <a:pt x="5400" y="696"/>
                      <a:pt x="5400" y="696"/>
                    </a:cubicBezTo>
                    <a:cubicBezTo>
                      <a:pt x="5399" y="744"/>
                      <a:pt x="5399" y="744"/>
                      <a:pt x="5399" y="744"/>
                    </a:cubicBezTo>
                    <a:cubicBezTo>
                      <a:pt x="5458" y="748"/>
                      <a:pt x="5523" y="753"/>
                      <a:pt x="5591" y="758"/>
                    </a:cubicBezTo>
                    <a:lnTo>
                      <a:pt x="5591" y="712"/>
                    </a:lnTo>
                    <a:close/>
                    <a:moveTo>
                      <a:pt x="5589" y="568"/>
                    </a:moveTo>
                    <a:cubicBezTo>
                      <a:pt x="5401" y="552"/>
                      <a:pt x="5401" y="552"/>
                      <a:pt x="5401" y="552"/>
                    </a:cubicBezTo>
                    <a:cubicBezTo>
                      <a:pt x="5400" y="683"/>
                      <a:pt x="5400" y="683"/>
                      <a:pt x="5400" y="683"/>
                    </a:cubicBezTo>
                    <a:cubicBezTo>
                      <a:pt x="5590" y="699"/>
                      <a:pt x="5590" y="699"/>
                      <a:pt x="5590" y="699"/>
                    </a:cubicBezTo>
                    <a:lnTo>
                      <a:pt x="5589" y="568"/>
                    </a:lnTo>
                    <a:close/>
                    <a:moveTo>
                      <a:pt x="5181" y="216"/>
                    </a:moveTo>
                    <a:cubicBezTo>
                      <a:pt x="5183" y="221"/>
                      <a:pt x="5183" y="221"/>
                      <a:pt x="5183" y="221"/>
                    </a:cubicBezTo>
                    <a:cubicBezTo>
                      <a:pt x="5243" y="733"/>
                      <a:pt x="5243" y="733"/>
                      <a:pt x="5243" y="733"/>
                    </a:cubicBezTo>
                    <a:cubicBezTo>
                      <a:pt x="5283" y="735"/>
                      <a:pt x="5331" y="739"/>
                      <a:pt x="5385" y="743"/>
                    </a:cubicBezTo>
                    <a:cubicBezTo>
                      <a:pt x="5386" y="695"/>
                      <a:pt x="5386" y="695"/>
                      <a:pt x="5386" y="695"/>
                    </a:cubicBezTo>
                    <a:cubicBezTo>
                      <a:pt x="5289" y="686"/>
                      <a:pt x="5289" y="686"/>
                      <a:pt x="5289" y="686"/>
                    </a:cubicBezTo>
                    <a:cubicBezTo>
                      <a:pt x="5300" y="530"/>
                      <a:pt x="5300" y="530"/>
                      <a:pt x="5300" y="530"/>
                    </a:cubicBezTo>
                    <a:cubicBezTo>
                      <a:pt x="5387" y="538"/>
                      <a:pt x="5387" y="538"/>
                      <a:pt x="5387" y="538"/>
                    </a:cubicBezTo>
                    <a:cubicBezTo>
                      <a:pt x="5391" y="176"/>
                      <a:pt x="5391" y="176"/>
                      <a:pt x="5391" y="176"/>
                    </a:cubicBezTo>
                    <a:cubicBezTo>
                      <a:pt x="5405" y="176"/>
                      <a:pt x="5405" y="176"/>
                      <a:pt x="5405" y="176"/>
                    </a:cubicBezTo>
                    <a:cubicBezTo>
                      <a:pt x="5401" y="539"/>
                      <a:pt x="5401" y="539"/>
                      <a:pt x="5401" y="539"/>
                    </a:cubicBezTo>
                    <a:cubicBezTo>
                      <a:pt x="5589" y="555"/>
                      <a:pt x="5589" y="555"/>
                      <a:pt x="5589" y="555"/>
                    </a:cubicBezTo>
                    <a:cubicBezTo>
                      <a:pt x="5585" y="172"/>
                      <a:pt x="5585" y="172"/>
                      <a:pt x="5585" y="172"/>
                    </a:cubicBezTo>
                    <a:cubicBezTo>
                      <a:pt x="5258" y="168"/>
                      <a:pt x="5258" y="168"/>
                      <a:pt x="5258" y="168"/>
                    </a:cubicBezTo>
                    <a:lnTo>
                      <a:pt x="5181" y="216"/>
                    </a:lnTo>
                    <a:close/>
                    <a:moveTo>
                      <a:pt x="5032" y="309"/>
                    </a:moveTo>
                    <a:cubicBezTo>
                      <a:pt x="5042" y="308"/>
                      <a:pt x="5042" y="308"/>
                      <a:pt x="5042" y="308"/>
                    </a:cubicBezTo>
                    <a:cubicBezTo>
                      <a:pt x="5105" y="724"/>
                      <a:pt x="5105" y="724"/>
                      <a:pt x="5105" y="724"/>
                    </a:cubicBezTo>
                    <a:cubicBezTo>
                      <a:pt x="5109" y="723"/>
                      <a:pt x="5109" y="723"/>
                      <a:pt x="5109" y="723"/>
                    </a:cubicBezTo>
                    <a:cubicBezTo>
                      <a:pt x="5119" y="724"/>
                      <a:pt x="5119" y="724"/>
                      <a:pt x="5119" y="724"/>
                    </a:cubicBezTo>
                    <a:cubicBezTo>
                      <a:pt x="5120" y="724"/>
                      <a:pt x="5161" y="727"/>
                      <a:pt x="5229" y="732"/>
                    </a:cubicBezTo>
                    <a:cubicBezTo>
                      <a:pt x="5170" y="224"/>
                      <a:pt x="5170" y="224"/>
                      <a:pt x="5170" y="224"/>
                    </a:cubicBezTo>
                    <a:cubicBezTo>
                      <a:pt x="5169" y="224"/>
                      <a:pt x="5169" y="224"/>
                      <a:pt x="5169" y="224"/>
                    </a:cubicBezTo>
                    <a:lnTo>
                      <a:pt x="5032" y="309"/>
                    </a:lnTo>
                    <a:close/>
                    <a:moveTo>
                      <a:pt x="4904" y="389"/>
                    </a:moveTo>
                    <a:cubicBezTo>
                      <a:pt x="4926" y="527"/>
                      <a:pt x="4926" y="527"/>
                      <a:pt x="4926" y="527"/>
                    </a:cubicBezTo>
                    <a:cubicBezTo>
                      <a:pt x="5045" y="510"/>
                      <a:pt x="5045" y="510"/>
                      <a:pt x="5045" y="510"/>
                    </a:cubicBezTo>
                    <a:cubicBezTo>
                      <a:pt x="5070" y="665"/>
                      <a:pt x="5070" y="665"/>
                      <a:pt x="5070" y="665"/>
                    </a:cubicBezTo>
                    <a:cubicBezTo>
                      <a:pt x="5063" y="666"/>
                      <a:pt x="5063" y="666"/>
                      <a:pt x="5063" y="666"/>
                    </a:cubicBezTo>
                    <a:cubicBezTo>
                      <a:pt x="4951" y="682"/>
                      <a:pt x="4951" y="682"/>
                      <a:pt x="4951" y="682"/>
                    </a:cubicBezTo>
                    <a:cubicBezTo>
                      <a:pt x="4963" y="753"/>
                      <a:pt x="4963" y="753"/>
                      <a:pt x="4963" y="753"/>
                    </a:cubicBezTo>
                    <a:cubicBezTo>
                      <a:pt x="5027" y="740"/>
                      <a:pt x="5075" y="730"/>
                      <a:pt x="5091" y="727"/>
                    </a:cubicBezTo>
                    <a:cubicBezTo>
                      <a:pt x="5028" y="312"/>
                      <a:pt x="5028" y="312"/>
                      <a:pt x="5028" y="312"/>
                    </a:cubicBezTo>
                    <a:lnTo>
                      <a:pt x="4904" y="389"/>
                    </a:lnTo>
                    <a:close/>
                    <a:moveTo>
                      <a:pt x="4765" y="345"/>
                    </a:moveTo>
                    <a:cubicBezTo>
                      <a:pt x="4766" y="348"/>
                      <a:pt x="4767" y="351"/>
                      <a:pt x="4768" y="356"/>
                    </a:cubicBezTo>
                    <a:cubicBezTo>
                      <a:pt x="4775" y="393"/>
                      <a:pt x="4787" y="468"/>
                      <a:pt x="4799" y="545"/>
                    </a:cubicBezTo>
                    <a:cubicBezTo>
                      <a:pt x="4912" y="528"/>
                      <a:pt x="4912" y="528"/>
                      <a:pt x="4912" y="528"/>
                    </a:cubicBezTo>
                    <a:cubicBezTo>
                      <a:pt x="4890" y="391"/>
                      <a:pt x="4890" y="391"/>
                      <a:pt x="4890" y="391"/>
                    </a:cubicBezTo>
                    <a:lnTo>
                      <a:pt x="4765" y="345"/>
                    </a:lnTo>
                    <a:close/>
                    <a:moveTo>
                      <a:pt x="4645" y="411"/>
                    </a:moveTo>
                    <a:cubicBezTo>
                      <a:pt x="4654" y="409"/>
                      <a:pt x="4654" y="409"/>
                      <a:pt x="4654" y="409"/>
                    </a:cubicBezTo>
                    <a:cubicBezTo>
                      <a:pt x="4678" y="562"/>
                      <a:pt x="4678" y="562"/>
                      <a:pt x="4678" y="562"/>
                    </a:cubicBezTo>
                    <a:cubicBezTo>
                      <a:pt x="4785" y="546"/>
                      <a:pt x="4785" y="546"/>
                      <a:pt x="4785" y="546"/>
                    </a:cubicBezTo>
                    <a:cubicBezTo>
                      <a:pt x="4777" y="495"/>
                      <a:pt x="4769" y="444"/>
                      <a:pt x="4762" y="406"/>
                    </a:cubicBezTo>
                    <a:cubicBezTo>
                      <a:pt x="4759" y="384"/>
                      <a:pt x="4755" y="367"/>
                      <a:pt x="4753" y="354"/>
                    </a:cubicBezTo>
                    <a:cubicBezTo>
                      <a:pt x="4752" y="350"/>
                      <a:pt x="4751" y="347"/>
                      <a:pt x="4751" y="344"/>
                    </a:cubicBezTo>
                    <a:lnTo>
                      <a:pt x="4645" y="411"/>
                    </a:lnTo>
                    <a:close/>
                    <a:moveTo>
                      <a:pt x="4411" y="558"/>
                    </a:moveTo>
                    <a:cubicBezTo>
                      <a:pt x="4420" y="598"/>
                      <a:pt x="4420" y="598"/>
                      <a:pt x="4420" y="598"/>
                    </a:cubicBezTo>
                    <a:cubicBezTo>
                      <a:pt x="4664" y="563"/>
                      <a:pt x="4664" y="563"/>
                      <a:pt x="4664" y="563"/>
                    </a:cubicBezTo>
                    <a:cubicBezTo>
                      <a:pt x="4640" y="414"/>
                      <a:pt x="4640" y="414"/>
                      <a:pt x="4640" y="414"/>
                    </a:cubicBezTo>
                    <a:lnTo>
                      <a:pt x="4411" y="558"/>
                    </a:lnTo>
                    <a:close/>
                    <a:moveTo>
                      <a:pt x="4406" y="613"/>
                    </a:moveTo>
                    <a:cubicBezTo>
                      <a:pt x="4311" y="627"/>
                      <a:pt x="4311" y="627"/>
                      <a:pt x="4311" y="627"/>
                    </a:cubicBezTo>
                    <a:cubicBezTo>
                      <a:pt x="4337" y="755"/>
                      <a:pt x="4337" y="755"/>
                      <a:pt x="4337" y="755"/>
                    </a:cubicBezTo>
                    <a:cubicBezTo>
                      <a:pt x="4434" y="741"/>
                      <a:pt x="4434" y="741"/>
                      <a:pt x="4434" y="741"/>
                    </a:cubicBezTo>
                    <a:lnTo>
                      <a:pt x="4406" y="613"/>
                    </a:lnTo>
                    <a:close/>
                    <a:moveTo>
                      <a:pt x="4256" y="362"/>
                    </a:moveTo>
                    <a:cubicBezTo>
                      <a:pt x="4308" y="614"/>
                      <a:pt x="4308" y="614"/>
                      <a:pt x="4308" y="614"/>
                    </a:cubicBezTo>
                    <a:cubicBezTo>
                      <a:pt x="4404" y="600"/>
                      <a:pt x="4404" y="600"/>
                      <a:pt x="4404" y="600"/>
                    </a:cubicBezTo>
                    <a:cubicBezTo>
                      <a:pt x="4341" y="311"/>
                      <a:pt x="4341" y="311"/>
                      <a:pt x="4341" y="311"/>
                    </a:cubicBezTo>
                    <a:cubicBezTo>
                      <a:pt x="4313" y="330"/>
                      <a:pt x="4283" y="348"/>
                      <a:pt x="4256" y="362"/>
                    </a:cubicBezTo>
                    <a:close/>
                    <a:moveTo>
                      <a:pt x="4140" y="421"/>
                    </a:moveTo>
                    <a:cubicBezTo>
                      <a:pt x="4187" y="631"/>
                      <a:pt x="4187" y="631"/>
                      <a:pt x="4187" y="631"/>
                    </a:cubicBezTo>
                    <a:cubicBezTo>
                      <a:pt x="4292" y="616"/>
                      <a:pt x="4292" y="616"/>
                      <a:pt x="4292" y="616"/>
                    </a:cubicBezTo>
                    <a:cubicBezTo>
                      <a:pt x="4241" y="370"/>
                      <a:pt x="4241" y="370"/>
                      <a:pt x="4241" y="370"/>
                    </a:cubicBezTo>
                    <a:cubicBezTo>
                      <a:pt x="4225" y="378"/>
                      <a:pt x="4212" y="385"/>
                      <a:pt x="4200" y="390"/>
                    </a:cubicBezTo>
                    <a:lnTo>
                      <a:pt x="4140" y="421"/>
                    </a:lnTo>
                    <a:close/>
                    <a:moveTo>
                      <a:pt x="3907" y="48"/>
                    </a:moveTo>
                    <a:cubicBezTo>
                      <a:pt x="3907" y="48"/>
                      <a:pt x="3907" y="48"/>
                      <a:pt x="3907" y="48"/>
                    </a:cubicBezTo>
                    <a:cubicBezTo>
                      <a:pt x="3907" y="48"/>
                      <a:pt x="3907" y="48"/>
                      <a:pt x="3907" y="48"/>
                    </a:cubicBezTo>
                    <a:cubicBezTo>
                      <a:pt x="3907" y="48"/>
                      <a:pt x="3907" y="48"/>
                      <a:pt x="3907" y="48"/>
                    </a:cubicBezTo>
                    <a:close/>
                    <a:moveTo>
                      <a:pt x="3903" y="54"/>
                    </a:moveTo>
                    <a:cubicBezTo>
                      <a:pt x="3903" y="54"/>
                      <a:pt x="3903" y="54"/>
                      <a:pt x="3903" y="54"/>
                    </a:cubicBezTo>
                    <a:cubicBezTo>
                      <a:pt x="3903" y="54"/>
                      <a:pt x="3903" y="54"/>
                      <a:pt x="3904" y="54"/>
                    </a:cubicBezTo>
                    <a:cubicBezTo>
                      <a:pt x="3904" y="54"/>
                      <a:pt x="3904" y="54"/>
                      <a:pt x="3904" y="53"/>
                    </a:cubicBezTo>
                    <a:cubicBezTo>
                      <a:pt x="3904" y="54"/>
                      <a:pt x="3903" y="54"/>
                      <a:pt x="3903" y="54"/>
                    </a:cubicBezTo>
                    <a:close/>
                    <a:moveTo>
                      <a:pt x="3711" y="170"/>
                    </a:moveTo>
                    <a:cubicBezTo>
                      <a:pt x="3905" y="396"/>
                      <a:pt x="3905" y="396"/>
                      <a:pt x="3905" y="396"/>
                    </a:cubicBezTo>
                    <a:cubicBezTo>
                      <a:pt x="3907" y="399"/>
                      <a:pt x="3907" y="399"/>
                      <a:pt x="3907" y="399"/>
                    </a:cubicBezTo>
                    <a:cubicBezTo>
                      <a:pt x="3909" y="402"/>
                      <a:pt x="3916" y="414"/>
                      <a:pt x="3919" y="435"/>
                    </a:cubicBezTo>
                    <a:cubicBezTo>
                      <a:pt x="3920" y="439"/>
                      <a:pt x="3920" y="443"/>
                      <a:pt x="3921" y="447"/>
                    </a:cubicBezTo>
                    <a:cubicBezTo>
                      <a:pt x="4034" y="398"/>
                      <a:pt x="4034" y="398"/>
                      <a:pt x="4034" y="398"/>
                    </a:cubicBezTo>
                    <a:cubicBezTo>
                      <a:pt x="4145" y="343"/>
                      <a:pt x="4145" y="343"/>
                      <a:pt x="4145" y="343"/>
                    </a:cubicBezTo>
                    <a:cubicBezTo>
                      <a:pt x="4144" y="340"/>
                      <a:pt x="4144" y="340"/>
                      <a:pt x="4144" y="340"/>
                    </a:cubicBezTo>
                    <a:cubicBezTo>
                      <a:pt x="4144" y="340"/>
                      <a:pt x="4144" y="340"/>
                      <a:pt x="4144" y="340"/>
                    </a:cubicBezTo>
                    <a:cubicBezTo>
                      <a:pt x="4144" y="340"/>
                      <a:pt x="4159" y="334"/>
                      <a:pt x="4182" y="323"/>
                    </a:cubicBezTo>
                    <a:cubicBezTo>
                      <a:pt x="4167" y="309"/>
                      <a:pt x="4103" y="250"/>
                      <a:pt x="4040" y="190"/>
                    </a:cubicBezTo>
                    <a:cubicBezTo>
                      <a:pt x="4003" y="156"/>
                      <a:pt x="3966" y="122"/>
                      <a:pt x="3939" y="96"/>
                    </a:cubicBezTo>
                    <a:cubicBezTo>
                      <a:pt x="3925" y="83"/>
                      <a:pt x="3914" y="73"/>
                      <a:pt x="3906" y="65"/>
                    </a:cubicBezTo>
                    <a:cubicBezTo>
                      <a:pt x="3902" y="61"/>
                      <a:pt x="3899" y="58"/>
                      <a:pt x="3897" y="56"/>
                    </a:cubicBezTo>
                    <a:cubicBezTo>
                      <a:pt x="3896" y="56"/>
                      <a:pt x="3896" y="55"/>
                      <a:pt x="3896" y="55"/>
                    </a:cubicBezTo>
                    <a:cubicBezTo>
                      <a:pt x="3887" y="54"/>
                      <a:pt x="3867" y="51"/>
                      <a:pt x="3859" y="50"/>
                    </a:cubicBezTo>
                    <a:lnTo>
                      <a:pt x="3711" y="170"/>
                    </a:lnTo>
                    <a:close/>
                    <a:moveTo>
                      <a:pt x="3648" y="204"/>
                    </a:moveTo>
                    <a:cubicBezTo>
                      <a:pt x="3558" y="248"/>
                      <a:pt x="3558" y="248"/>
                      <a:pt x="3558" y="248"/>
                    </a:cubicBezTo>
                    <a:cubicBezTo>
                      <a:pt x="3527" y="371"/>
                      <a:pt x="3527" y="371"/>
                      <a:pt x="3527" y="371"/>
                    </a:cubicBezTo>
                    <a:cubicBezTo>
                      <a:pt x="3585" y="526"/>
                      <a:pt x="3585" y="526"/>
                      <a:pt x="3585" y="526"/>
                    </a:cubicBezTo>
                    <a:cubicBezTo>
                      <a:pt x="3855" y="471"/>
                      <a:pt x="3855" y="471"/>
                      <a:pt x="3855" y="471"/>
                    </a:cubicBezTo>
                    <a:cubicBezTo>
                      <a:pt x="3854" y="463"/>
                      <a:pt x="3853" y="454"/>
                      <a:pt x="3851" y="447"/>
                    </a:cubicBezTo>
                    <a:cubicBezTo>
                      <a:pt x="3850" y="442"/>
                      <a:pt x="3849" y="438"/>
                      <a:pt x="3848" y="436"/>
                    </a:cubicBezTo>
                    <a:lnTo>
                      <a:pt x="3648" y="204"/>
                    </a:lnTo>
                    <a:close/>
                    <a:moveTo>
                      <a:pt x="3261" y="143"/>
                    </a:moveTo>
                    <a:cubicBezTo>
                      <a:pt x="3430" y="342"/>
                      <a:pt x="3430" y="342"/>
                      <a:pt x="3430" y="342"/>
                    </a:cubicBezTo>
                    <a:cubicBezTo>
                      <a:pt x="3430" y="343"/>
                      <a:pt x="3430" y="343"/>
                      <a:pt x="3430" y="343"/>
                    </a:cubicBezTo>
                    <a:cubicBezTo>
                      <a:pt x="3431" y="343"/>
                      <a:pt x="3431" y="343"/>
                      <a:pt x="3431" y="343"/>
                    </a:cubicBezTo>
                    <a:cubicBezTo>
                      <a:pt x="3512" y="362"/>
                      <a:pt x="3512" y="362"/>
                      <a:pt x="3512" y="362"/>
                    </a:cubicBezTo>
                    <a:cubicBezTo>
                      <a:pt x="3544" y="237"/>
                      <a:pt x="3544" y="237"/>
                      <a:pt x="3544" y="237"/>
                    </a:cubicBezTo>
                    <a:cubicBezTo>
                      <a:pt x="3636" y="191"/>
                      <a:pt x="3636" y="191"/>
                      <a:pt x="3636" y="191"/>
                    </a:cubicBezTo>
                    <a:cubicBezTo>
                      <a:pt x="3636" y="191"/>
                      <a:pt x="3636" y="191"/>
                      <a:pt x="3636" y="191"/>
                    </a:cubicBezTo>
                    <a:cubicBezTo>
                      <a:pt x="3637" y="191"/>
                      <a:pt x="3637" y="191"/>
                      <a:pt x="3637" y="191"/>
                    </a:cubicBezTo>
                    <a:cubicBezTo>
                      <a:pt x="3632" y="184"/>
                      <a:pt x="3615" y="161"/>
                      <a:pt x="3570" y="113"/>
                    </a:cubicBezTo>
                    <a:cubicBezTo>
                      <a:pt x="3558" y="101"/>
                      <a:pt x="3546" y="89"/>
                      <a:pt x="3534" y="76"/>
                    </a:cubicBezTo>
                    <a:cubicBezTo>
                      <a:pt x="3514" y="79"/>
                      <a:pt x="3471" y="85"/>
                      <a:pt x="3422" y="94"/>
                    </a:cubicBezTo>
                    <a:cubicBezTo>
                      <a:pt x="3365" y="106"/>
                      <a:pt x="3298" y="124"/>
                      <a:pt x="3261" y="143"/>
                    </a:cubicBezTo>
                    <a:close/>
                    <a:moveTo>
                      <a:pt x="2890" y="324"/>
                    </a:moveTo>
                    <a:cubicBezTo>
                      <a:pt x="2974" y="573"/>
                      <a:pt x="2974" y="573"/>
                      <a:pt x="2974" y="573"/>
                    </a:cubicBezTo>
                    <a:cubicBezTo>
                      <a:pt x="2974" y="573"/>
                      <a:pt x="2974" y="573"/>
                      <a:pt x="2974" y="573"/>
                    </a:cubicBezTo>
                    <a:cubicBezTo>
                      <a:pt x="2979" y="578"/>
                      <a:pt x="2979" y="578"/>
                      <a:pt x="2979" y="578"/>
                    </a:cubicBezTo>
                    <a:cubicBezTo>
                      <a:pt x="2979" y="578"/>
                      <a:pt x="3006" y="604"/>
                      <a:pt x="3045" y="643"/>
                    </a:cubicBezTo>
                    <a:cubicBezTo>
                      <a:pt x="3419" y="352"/>
                      <a:pt x="3419" y="352"/>
                      <a:pt x="3419" y="352"/>
                    </a:cubicBezTo>
                    <a:cubicBezTo>
                      <a:pt x="3248" y="151"/>
                      <a:pt x="3248" y="151"/>
                      <a:pt x="3248" y="151"/>
                    </a:cubicBezTo>
                    <a:cubicBezTo>
                      <a:pt x="3247" y="151"/>
                      <a:pt x="3246" y="152"/>
                      <a:pt x="3245" y="152"/>
                    </a:cubicBezTo>
                    <a:cubicBezTo>
                      <a:pt x="3176" y="199"/>
                      <a:pt x="3045" y="307"/>
                      <a:pt x="2890" y="324"/>
                    </a:cubicBezTo>
                    <a:close/>
                    <a:moveTo>
                      <a:pt x="2714" y="304"/>
                    </a:moveTo>
                    <a:cubicBezTo>
                      <a:pt x="2511" y="762"/>
                      <a:pt x="2511" y="762"/>
                      <a:pt x="2511" y="762"/>
                    </a:cubicBezTo>
                    <a:cubicBezTo>
                      <a:pt x="2513" y="763"/>
                      <a:pt x="2513" y="763"/>
                      <a:pt x="2513" y="763"/>
                    </a:cubicBezTo>
                    <a:cubicBezTo>
                      <a:pt x="2512" y="763"/>
                      <a:pt x="2512" y="763"/>
                      <a:pt x="2512" y="763"/>
                    </a:cubicBezTo>
                    <a:cubicBezTo>
                      <a:pt x="2562" y="776"/>
                      <a:pt x="2646" y="798"/>
                      <a:pt x="2664" y="804"/>
                    </a:cubicBezTo>
                    <a:cubicBezTo>
                      <a:pt x="2962" y="582"/>
                      <a:pt x="2962" y="582"/>
                      <a:pt x="2962" y="582"/>
                    </a:cubicBezTo>
                    <a:cubicBezTo>
                      <a:pt x="2876" y="326"/>
                      <a:pt x="2876" y="326"/>
                      <a:pt x="2876" y="326"/>
                    </a:cubicBezTo>
                    <a:cubicBezTo>
                      <a:pt x="2867" y="326"/>
                      <a:pt x="2858" y="327"/>
                      <a:pt x="2849" y="327"/>
                    </a:cubicBezTo>
                    <a:cubicBezTo>
                      <a:pt x="2835" y="327"/>
                      <a:pt x="2821" y="326"/>
                      <a:pt x="2807" y="324"/>
                    </a:cubicBezTo>
                    <a:cubicBezTo>
                      <a:pt x="2773" y="320"/>
                      <a:pt x="2743" y="313"/>
                      <a:pt x="2714" y="304"/>
                    </a:cubicBezTo>
                    <a:close/>
                    <a:moveTo>
                      <a:pt x="1885" y="867"/>
                    </a:moveTo>
                    <a:cubicBezTo>
                      <a:pt x="2119" y="977"/>
                      <a:pt x="2119" y="977"/>
                      <a:pt x="2119" y="977"/>
                    </a:cubicBezTo>
                    <a:cubicBezTo>
                      <a:pt x="2459" y="749"/>
                      <a:pt x="2459" y="749"/>
                      <a:pt x="2459" y="749"/>
                    </a:cubicBezTo>
                    <a:cubicBezTo>
                      <a:pt x="2664" y="287"/>
                      <a:pt x="2664" y="287"/>
                      <a:pt x="2664" y="287"/>
                    </a:cubicBezTo>
                    <a:cubicBezTo>
                      <a:pt x="2559" y="245"/>
                      <a:pt x="2480" y="181"/>
                      <a:pt x="2419" y="139"/>
                    </a:cubicBezTo>
                    <a:cubicBezTo>
                      <a:pt x="2414" y="135"/>
                      <a:pt x="2409" y="131"/>
                      <a:pt x="2403" y="127"/>
                    </a:cubicBezTo>
                    <a:cubicBezTo>
                      <a:pt x="2397" y="141"/>
                      <a:pt x="2389" y="161"/>
                      <a:pt x="2380" y="185"/>
                    </a:cubicBezTo>
                    <a:cubicBezTo>
                      <a:pt x="2330" y="315"/>
                      <a:pt x="2242" y="561"/>
                      <a:pt x="2242" y="561"/>
                    </a:cubicBezTo>
                    <a:cubicBezTo>
                      <a:pt x="2241" y="564"/>
                      <a:pt x="2241" y="564"/>
                      <a:pt x="2241" y="564"/>
                    </a:cubicBezTo>
                    <a:cubicBezTo>
                      <a:pt x="2238" y="565"/>
                      <a:pt x="2238" y="565"/>
                      <a:pt x="2238" y="565"/>
                    </a:cubicBezTo>
                    <a:cubicBezTo>
                      <a:pt x="2238" y="565"/>
                      <a:pt x="2158" y="607"/>
                      <a:pt x="2078" y="649"/>
                    </a:cubicBezTo>
                    <a:cubicBezTo>
                      <a:pt x="2037" y="670"/>
                      <a:pt x="1995" y="693"/>
                      <a:pt x="1964" y="709"/>
                    </a:cubicBezTo>
                    <a:cubicBezTo>
                      <a:pt x="1949" y="717"/>
                      <a:pt x="1936" y="723"/>
                      <a:pt x="1926" y="728"/>
                    </a:cubicBezTo>
                    <a:lnTo>
                      <a:pt x="1885" y="867"/>
                    </a:lnTo>
                    <a:close/>
                    <a:moveTo>
                      <a:pt x="1829" y="696"/>
                    </a:moveTo>
                    <a:cubicBezTo>
                      <a:pt x="1812" y="709"/>
                      <a:pt x="1745" y="763"/>
                      <a:pt x="1678" y="817"/>
                    </a:cubicBezTo>
                    <a:cubicBezTo>
                      <a:pt x="1639" y="848"/>
                      <a:pt x="1601" y="879"/>
                      <a:pt x="1571" y="903"/>
                    </a:cubicBezTo>
                    <a:cubicBezTo>
                      <a:pt x="1558" y="915"/>
                      <a:pt x="1547" y="924"/>
                      <a:pt x="1538" y="932"/>
                    </a:cubicBezTo>
                    <a:cubicBezTo>
                      <a:pt x="1665" y="1089"/>
                      <a:pt x="1665" y="1089"/>
                      <a:pt x="1665" y="1089"/>
                    </a:cubicBezTo>
                    <a:cubicBezTo>
                      <a:pt x="1990" y="1064"/>
                      <a:pt x="1990" y="1064"/>
                      <a:pt x="1990" y="1064"/>
                    </a:cubicBezTo>
                    <a:cubicBezTo>
                      <a:pt x="2103" y="988"/>
                      <a:pt x="2103" y="988"/>
                      <a:pt x="2103" y="988"/>
                    </a:cubicBezTo>
                    <a:cubicBezTo>
                      <a:pt x="1865" y="876"/>
                      <a:pt x="1865" y="876"/>
                      <a:pt x="1865" y="876"/>
                    </a:cubicBezTo>
                    <a:cubicBezTo>
                      <a:pt x="1907" y="736"/>
                      <a:pt x="1907" y="736"/>
                      <a:pt x="1907" y="736"/>
                    </a:cubicBezTo>
                    <a:cubicBezTo>
                      <a:pt x="1906" y="736"/>
                      <a:pt x="1906" y="736"/>
                      <a:pt x="1906" y="736"/>
                    </a:cubicBezTo>
                    <a:cubicBezTo>
                      <a:pt x="1906" y="729"/>
                      <a:pt x="1906" y="729"/>
                      <a:pt x="1906" y="729"/>
                    </a:cubicBezTo>
                    <a:cubicBezTo>
                      <a:pt x="1897" y="726"/>
                      <a:pt x="1884" y="720"/>
                      <a:pt x="1870" y="714"/>
                    </a:cubicBezTo>
                    <a:cubicBezTo>
                      <a:pt x="1859" y="709"/>
                      <a:pt x="1847" y="704"/>
                      <a:pt x="1839" y="700"/>
                    </a:cubicBezTo>
                    <a:cubicBezTo>
                      <a:pt x="1835" y="699"/>
                      <a:pt x="1832" y="697"/>
                      <a:pt x="1829" y="696"/>
                    </a:cubicBezTo>
                    <a:close/>
                    <a:moveTo>
                      <a:pt x="1498" y="458"/>
                    </a:moveTo>
                    <a:cubicBezTo>
                      <a:pt x="1507" y="469"/>
                      <a:pt x="1523" y="487"/>
                      <a:pt x="1539" y="506"/>
                    </a:cubicBezTo>
                    <a:cubicBezTo>
                      <a:pt x="1551" y="521"/>
                      <a:pt x="1564" y="536"/>
                      <a:pt x="1573" y="547"/>
                    </a:cubicBezTo>
                    <a:cubicBezTo>
                      <a:pt x="1578" y="553"/>
                      <a:pt x="1582" y="557"/>
                      <a:pt x="1585" y="561"/>
                    </a:cubicBezTo>
                    <a:cubicBezTo>
                      <a:pt x="1586" y="562"/>
                      <a:pt x="1586" y="563"/>
                      <a:pt x="1587" y="564"/>
                    </a:cubicBezTo>
                    <a:cubicBezTo>
                      <a:pt x="1620" y="565"/>
                      <a:pt x="1814" y="573"/>
                      <a:pt x="1836" y="574"/>
                    </a:cubicBezTo>
                    <a:cubicBezTo>
                      <a:pt x="1838" y="557"/>
                      <a:pt x="1841" y="539"/>
                      <a:pt x="1843" y="521"/>
                    </a:cubicBezTo>
                    <a:cubicBezTo>
                      <a:pt x="1850" y="458"/>
                      <a:pt x="1857" y="397"/>
                      <a:pt x="1859" y="382"/>
                    </a:cubicBezTo>
                    <a:cubicBezTo>
                      <a:pt x="1850" y="371"/>
                      <a:pt x="1813" y="327"/>
                      <a:pt x="1777" y="282"/>
                    </a:cubicBezTo>
                    <a:cubicBezTo>
                      <a:pt x="1756" y="256"/>
                      <a:pt x="1735" y="230"/>
                      <a:pt x="1719" y="210"/>
                    </a:cubicBezTo>
                    <a:cubicBezTo>
                      <a:pt x="1711" y="200"/>
                      <a:pt x="1704" y="192"/>
                      <a:pt x="1700" y="186"/>
                    </a:cubicBezTo>
                    <a:cubicBezTo>
                      <a:pt x="1697" y="183"/>
                      <a:pt x="1696" y="180"/>
                      <a:pt x="1694" y="178"/>
                    </a:cubicBezTo>
                    <a:lnTo>
                      <a:pt x="1498" y="458"/>
                    </a:lnTo>
                    <a:close/>
                    <a:moveTo>
                      <a:pt x="946" y="378"/>
                    </a:moveTo>
                    <a:cubicBezTo>
                      <a:pt x="1091" y="470"/>
                      <a:pt x="1091" y="470"/>
                      <a:pt x="1091" y="470"/>
                    </a:cubicBezTo>
                    <a:cubicBezTo>
                      <a:pt x="1182" y="732"/>
                      <a:pt x="1182" y="732"/>
                      <a:pt x="1182" y="732"/>
                    </a:cubicBezTo>
                    <a:cubicBezTo>
                      <a:pt x="1289" y="646"/>
                      <a:pt x="1289" y="646"/>
                      <a:pt x="1289" y="646"/>
                    </a:cubicBezTo>
                    <a:cubicBezTo>
                      <a:pt x="1538" y="290"/>
                      <a:pt x="1538" y="290"/>
                      <a:pt x="1538" y="290"/>
                    </a:cubicBezTo>
                    <a:cubicBezTo>
                      <a:pt x="1517" y="279"/>
                      <a:pt x="1479" y="255"/>
                      <a:pt x="1442" y="231"/>
                    </a:cubicBezTo>
                    <a:cubicBezTo>
                      <a:pt x="1399" y="204"/>
                      <a:pt x="1360" y="179"/>
                      <a:pt x="1360" y="179"/>
                    </a:cubicBezTo>
                    <a:cubicBezTo>
                      <a:pt x="1360" y="179"/>
                      <a:pt x="1360" y="179"/>
                      <a:pt x="1360" y="179"/>
                    </a:cubicBezTo>
                    <a:cubicBezTo>
                      <a:pt x="1245" y="317"/>
                      <a:pt x="1245" y="317"/>
                      <a:pt x="1245" y="317"/>
                    </a:cubicBezTo>
                    <a:cubicBezTo>
                      <a:pt x="1041" y="135"/>
                      <a:pt x="1041" y="135"/>
                      <a:pt x="1041" y="135"/>
                    </a:cubicBezTo>
                    <a:lnTo>
                      <a:pt x="946" y="378"/>
                    </a:lnTo>
                    <a:close/>
                    <a:moveTo>
                      <a:pt x="881" y="439"/>
                    </a:moveTo>
                    <a:cubicBezTo>
                      <a:pt x="915" y="600"/>
                      <a:pt x="915" y="600"/>
                      <a:pt x="915" y="600"/>
                    </a:cubicBezTo>
                    <a:cubicBezTo>
                      <a:pt x="872" y="624"/>
                      <a:pt x="872" y="624"/>
                      <a:pt x="872" y="624"/>
                    </a:cubicBezTo>
                    <a:cubicBezTo>
                      <a:pt x="854" y="773"/>
                      <a:pt x="854" y="773"/>
                      <a:pt x="854" y="773"/>
                    </a:cubicBezTo>
                    <a:cubicBezTo>
                      <a:pt x="917" y="828"/>
                      <a:pt x="917" y="828"/>
                      <a:pt x="917" y="828"/>
                    </a:cubicBezTo>
                    <a:cubicBezTo>
                      <a:pt x="940" y="929"/>
                      <a:pt x="940" y="929"/>
                      <a:pt x="940" y="929"/>
                    </a:cubicBezTo>
                    <a:cubicBezTo>
                      <a:pt x="1169" y="743"/>
                      <a:pt x="1169" y="743"/>
                      <a:pt x="1169" y="743"/>
                    </a:cubicBezTo>
                    <a:cubicBezTo>
                      <a:pt x="1077" y="481"/>
                      <a:pt x="1077" y="481"/>
                      <a:pt x="1077" y="481"/>
                    </a:cubicBezTo>
                    <a:cubicBezTo>
                      <a:pt x="935" y="391"/>
                      <a:pt x="935" y="391"/>
                      <a:pt x="935" y="391"/>
                    </a:cubicBezTo>
                    <a:lnTo>
                      <a:pt x="881" y="439"/>
                    </a:lnTo>
                    <a:close/>
                    <a:moveTo>
                      <a:pt x="367" y="285"/>
                    </a:moveTo>
                    <a:cubicBezTo>
                      <a:pt x="614" y="628"/>
                      <a:pt x="614" y="628"/>
                      <a:pt x="614" y="628"/>
                    </a:cubicBezTo>
                    <a:cubicBezTo>
                      <a:pt x="852" y="374"/>
                      <a:pt x="852" y="374"/>
                      <a:pt x="852" y="374"/>
                    </a:cubicBezTo>
                    <a:cubicBezTo>
                      <a:pt x="852" y="374"/>
                      <a:pt x="852" y="374"/>
                      <a:pt x="852" y="374"/>
                    </a:cubicBezTo>
                    <a:cubicBezTo>
                      <a:pt x="855" y="372"/>
                      <a:pt x="855" y="372"/>
                      <a:pt x="855" y="372"/>
                    </a:cubicBezTo>
                    <a:cubicBezTo>
                      <a:pt x="857" y="369"/>
                      <a:pt x="857" y="369"/>
                      <a:pt x="857" y="369"/>
                    </a:cubicBezTo>
                    <a:cubicBezTo>
                      <a:pt x="857" y="369"/>
                      <a:pt x="857" y="369"/>
                      <a:pt x="857" y="369"/>
                    </a:cubicBezTo>
                    <a:cubicBezTo>
                      <a:pt x="885" y="344"/>
                      <a:pt x="885" y="344"/>
                      <a:pt x="885" y="344"/>
                    </a:cubicBezTo>
                    <a:cubicBezTo>
                      <a:pt x="921" y="257"/>
                      <a:pt x="921" y="257"/>
                      <a:pt x="921" y="257"/>
                    </a:cubicBezTo>
                    <a:cubicBezTo>
                      <a:pt x="881" y="222"/>
                      <a:pt x="760" y="116"/>
                      <a:pt x="638" y="9"/>
                    </a:cubicBezTo>
                    <a:cubicBezTo>
                      <a:pt x="638" y="9"/>
                      <a:pt x="637" y="8"/>
                      <a:pt x="636" y="8"/>
                    </a:cubicBezTo>
                    <a:cubicBezTo>
                      <a:pt x="638" y="11"/>
                      <a:pt x="638" y="11"/>
                      <a:pt x="638" y="11"/>
                    </a:cubicBezTo>
                    <a:cubicBezTo>
                      <a:pt x="636" y="11"/>
                      <a:pt x="615" y="31"/>
                      <a:pt x="587" y="59"/>
                    </a:cubicBezTo>
                    <a:cubicBezTo>
                      <a:pt x="520" y="126"/>
                      <a:pt x="408" y="242"/>
                      <a:pt x="367" y="285"/>
                    </a:cubicBezTo>
                    <a:close/>
                    <a:moveTo>
                      <a:pt x="251" y="1015"/>
                    </a:moveTo>
                    <a:cubicBezTo>
                      <a:pt x="252" y="1014"/>
                      <a:pt x="252" y="1014"/>
                      <a:pt x="252" y="1014"/>
                    </a:cubicBezTo>
                    <a:cubicBezTo>
                      <a:pt x="583" y="662"/>
                      <a:pt x="583" y="662"/>
                      <a:pt x="583" y="662"/>
                    </a:cubicBezTo>
                    <a:cubicBezTo>
                      <a:pt x="342" y="327"/>
                      <a:pt x="342" y="327"/>
                      <a:pt x="342" y="327"/>
                    </a:cubicBezTo>
                    <a:cubicBezTo>
                      <a:pt x="331" y="358"/>
                      <a:pt x="311" y="409"/>
                      <a:pt x="291" y="461"/>
                    </a:cubicBezTo>
                    <a:cubicBezTo>
                      <a:pt x="275" y="502"/>
                      <a:pt x="259" y="542"/>
                      <a:pt x="247" y="573"/>
                    </a:cubicBezTo>
                    <a:cubicBezTo>
                      <a:pt x="240" y="588"/>
                      <a:pt x="235" y="601"/>
                      <a:pt x="231" y="610"/>
                    </a:cubicBezTo>
                    <a:cubicBezTo>
                      <a:pt x="228" y="615"/>
                      <a:pt x="227" y="618"/>
                      <a:pt x="225" y="621"/>
                    </a:cubicBezTo>
                    <a:cubicBezTo>
                      <a:pt x="224" y="622"/>
                      <a:pt x="224" y="623"/>
                      <a:pt x="223" y="624"/>
                    </a:cubicBezTo>
                    <a:cubicBezTo>
                      <a:pt x="222" y="625"/>
                      <a:pt x="222" y="627"/>
                      <a:pt x="216" y="628"/>
                    </a:cubicBezTo>
                    <a:cubicBezTo>
                      <a:pt x="207" y="628"/>
                      <a:pt x="145" y="620"/>
                      <a:pt x="130" y="619"/>
                    </a:cubicBezTo>
                    <a:cubicBezTo>
                      <a:pt x="127" y="624"/>
                      <a:pt x="118" y="640"/>
                      <a:pt x="107" y="661"/>
                    </a:cubicBezTo>
                    <a:cubicBezTo>
                      <a:pt x="79" y="717"/>
                      <a:pt x="36" y="808"/>
                      <a:pt x="18" y="846"/>
                    </a:cubicBezTo>
                    <a:cubicBezTo>
                      <a:pt x="34" y="856"/>
                      <a:pt x="50" y="865"/>
                      <a:pt x="66" y="875"/>
                    </a:cubicBezTo>
                    <a:cubicBezTo>
                      <a:pt x="153" y="932"/>
                      <a:pt x="221" y="988"/>
                      <a:pt x="251" y="1015"/>
                    </a:cubicBezTo>
                    <a:close/>
                    <a:moveTo>
                      <a:pt x="330" y="1436"/>
                    </a:moveTo>
                    <a:cubicBezTo>
                      <a:pt x="700" y="1128"/>
                      <a:pt x="700" y="1128"/>
                      <a:pt x="700" y="1128"/>
                    </a:cubicBezTo>
                    <a:cubicBezTo>
                      <a:pt x="480" y="866"/>
                      <a:pt x="480" y="866"/>
                      <a:pt x="480" y="866"/>
                    </a:cubicBezTo>
                    <a:cubicBezTo>
                      <a:pt x="300" y="1059"/>
                      <a:pt x="300" y="1059"/>
                      <a:pt x="300" y="1059"/>
                    </a:cubicBezTo>
                    <a:cubicBezTo>
                      <a:pt x="269" y="1090"/>
                      <a:pt x="228" y="1138"/>
                      <a:pt x="165" y="1187"/>
                    </a:cubicBezTo>
                    <a:cubicBezTo>
                      <a:pt x="243" y="1270"/>
                      <a:pt x="243" y="1270"/>
                      <a:pt x="243" y="1270"/>
                    </a:cubicBezTo>
                    <a:cubicBezTo>
                      <a:pt x="200" y="1316"/>
                      <a:pt x="200" y="1316"/>
                      <a:pt x="200" y="1316"/>
                    </a:cubicBezTo>
                    <a:cubicBezTo>
                      <a:pt x="206" y="1310"/>
                      <a:pt x="206" y="1310"/>
                      <a:pt x="206" y="1310"/>
                    </a:cubicBezTo>
                    <a:lnTo>
                      <a:pt x="330" y="1436"/>
                    </a:lnTo>
                    <a:close/>
                    <a:moveTo>
                      <a:pt x="342" y="1821"/>
                    </a:moveTo>
                    <a:cubicBezTo>
                      <a:pt x="537" y="1726"/>
                      <a:pt x="537" y="1726"/>
                      <a:pt x="537" y="1726"/>
                    </a:cubicBezTo>
                    <a:cubicBezTo>
                      <a:pt x="537" y="1706"/>
                      <a:pt x="534" y="1632"/>
                      <a:pt x="534" y="1606"/>
                    </a:cubicBezTo>
                    <a:cubicBezTo>
                      <a:pt x="534" y="1604"/>
                      <a:pt x="534" y="1602"/>
                      <a:pt x="534" y="1600"/>
                    </a:cubicBezTo>
                    <a:cubicBezTo>
                      <a:pt x="535" y="1598"/>
                      <a:pt x="534" y="1598"/>
                      <a:pt x="535" y="1595"/>
                    </a:cubicBezTo>
                    <a:cubicBezTo>
                      <a:pt x="506" y="1569"/>
                      <a:pt x="436" y="1499"/>
                      <a:pt x="399" y="1463"/>
                    </a:cubicBezTo>
                    <a:cubicBezTo>
                      <a:pt x="156" y="1666"/>
                      <a:pt x="156" y="1666"/>
                      <a:pt x="156" y="1666"/>
                    </a:cubicBezTo>
                    <a:lnTo>
                      <a:pt x="342" y="1821"/>
                    </a:lnTo>
                    <a:close/>
                    <a:moveTo>
                      <a:pt x="258" y="2049"/>
                    </a:moveTo>
                    <a:cubicBezTo>
                      <a:pt x="278" y="2041"/>
                      <a:pt x="304" y="2032"/>
                      <a:pt x="341" y="2030"/>
                    </a:cubicBezTo>
                    <a:cubicBezTo>
                      <a:pt x="343" y="2030"/>
                      <a:pt x="346" y="2030"/>
                      <a:pt x="348" y="2030"/>
                    </a:cubicBezTo>
                    <a:cubicBezTo>
                      <a:pt x="409" y="2031"/>
                      <a:pt x="480" y="2063"/>
                      <a:pt x="520" y="2076"/>
                    </a:cubicBezTo>
                    <a:cubicBezTo>
                      <a:pt x="528" y="2045"/>
                      <a:pt x="540" y="2001"/>
                      <a:pt x="553" y="1957"/>
                    </a:cubicBezTo>
                    <a:cubicBezTo>
                      <a:pt x="564" y="1916"/>
                      <a:pt x="575" y="1876"/>
                      <a:pt x="583" y="1845"/>
                    </a:cubicBezTo>
                    <a:cubicBezTo>
                      <a:pt x="587" y="1830"/>
                      <a:pt x="591" y="1817"/>
                      <a:pt x="593" y="1808"/>
                    </a:cubicBezTo>
                    <a:cubicBezTo>
                      <a:pt x="594" y="1803"/>
                      <a:pt x="595" y="1799"/>
                      <a:pt x="596" y="1797"/>
                    </a:cubicBezTo>
                    <a:cubicBezTo>
                      <a:pt x="596" y="1796"/>
                      <a:pt x="596" y="1795"/>
                      <a:pt x="596" y="1794"/>
                    </a:cubicBezTo>
                    <a:cubicBezTo>
                      <a:pt x="597" y="1794"/>
                      <a:pt x="597" y="1793"/>
                      <a:pt x="597" y="1793"/>
                    </a:cubicBezTo>
                    <a:cubicBezTo>
                      <a:pt x="600" y="1794"/>
                      <a:pt x="600" y="1794"/>
                      <a:pt x="600" y="1794"/>
                    </a:cubicBezTo>
                    <a:cubicBezTo>
                      <a:pt x="573" y="1769"/>
                      <a:pt x="552" y="1749"/>
                      <a:pt x="544" y="1741"/>
                    </a:cubicBezTo>
                    <a:cubicBezTo>
                      <a:pt x="346" y="1837"/>
                      <a:pt x="346" y="1837"/>
                      <a:pt x="346" y="1837"/>
                    </a:cubicBezTo>
                    <a:lnTo>
                      <a:pt x="258" y="2049"/>
                    </a:lnTo>
                    <a:close/>
                    <a:moveTo>
                      <a:pt x="273" y="2583"/>
                    </a:moveTo>
                    <a:cubicBezTo>
                      <a:pt x="139" y="2332"/>
                      <a:pt x="139" y="2332"/>
                      <a:pt x="139" y="2332"/>
                    </a:cubicBezTo>
                    <a:cubicBezTo>
                      <a:pt x="48" y="2356"/>
                      <a:pt x="48" y="2356"/>
                      <a:pt x="48" y="2356"/>
                    </a:cubicBezTo>
                    <a:cubicBezTo>
                      <a:pt x="46" y="2369"/>
                      <a:pt x="40" y="2403"/>
                      <a:pt x="33" y="2438"/>
                    </a:cubicBezTo>
                    <a:cubicBezTo>
                      <a:pt x="26" y="2478"/>
                      <a:pt x="18" y="2522"/>
                      <a:pt x="17" y="2535"/>
                    </a:cubicBezTo>
                    <a:cubicBezTo>
                      <a:pt x="28" y="2543"/>
                      <a:pt x="58" y="2572"/>
                      <a:pt x="88" y="2600"/>
                    </a:cubicBezTo>
                    <a:cubicBezTo>
                      <a:pt x="103" y="2615"/>
                      <a:pt x="118" y="2628"/>
                      <a:pt x="130" y="2639"/>
                    </a:cubicBezTo>
                    <a:cubicBezTo>
                      <a:pt x="135" y="2644"/>
                      <a:pt x="140" y="2648"/>
                      <a:pt x="143" y="2651"/>
                    </a:cubicBezTo>
                    <a:cubicBezTo>
                      <a:pt x="144" y="2652"/>
                      <a:pt x="145" y="2653"/>
                      <a:pt x="145" y="2653"/>
                    </a:cubicBezTo>
                    <a:cubicBezTo>
                      <a:pt x="156" y="2649"/>
                      <a:pt x="187" y="2631"/>
                      <a:pt x="216" y="2615"/>
                    </a:cubicBezTo>
                    <a:cubicBezTo>
                      <a:pt x="239" y="2602"/>
                      <a:pt x="262" y="2589"/>
                      <a:pt x="273" y="2583"/>
                    </a:cubicBezTo>
                    <a:close/>
                    <a:moveTo>
                      <a:pt x="430" y="2730"/>
                    </a:moveTo>
                    <a:cubicBezTo>
                      <a:pt x="435" y="2728"/>
                      <a:pt x="439" y="2726"/>
                      <a:pt x="441" y="2725"/>
                    </a:cubicBezTo>
                    <a:cubicBezTo>
                      <a:pt x="561" y="2661"/>
                      <a:pt x="561" y="2661"/>
                      <a:pt x="561" y="2661"/>
                    </a:cubicBezTo>
                    <a:cubicBezTo>
                      <a:pt x="550" y="2631"/>
                      <a:pt x="528" y="2568"/>
                      <a:pt x="505" y="2504"/>
                    </a:cubicBezTo>
                    <a:cubicBezTo>
                      <a:pt x="489" y="2460"/>
                      <a:pt x="474" y="2416"/>
                      <a:pt x="462" y="2382"/>
                    </a:cubicBezTo>
                    <a:cubicBezTo>
                      <a:pt x="456" y="2365"/>
                      <a:pt x="451" y="2351"/>
                      <a:pt x="448" y="2340"/>
                    </a:cubicBezTo>
                    <a:cubicBezTo>
                      <a:pt x="444" y="2329"/>
                      <a:pt x="442" y="2325"/>
                      <a:pt x="442" y="2320"/>
                    </a:cubicBezTo>
                    <a:cubicBezTo>
                      <a:pt x="442" y="2320"/>
                      <a:pt x="442" y="2320"/>
                      <a:pt x="442" y="2320"/>
                    </a:cubicBezTo>
                    <a:cubicBezTo>
                      <a:pt x="442" y="2319"/>
                      <a:pt x="442" y="2319"/>
                      <a:pt x="442" y="2319"/>
                    </a:cubicBezTo>
                    <a:cubicBezTo>
                      <a:pt x="442" y="2317"/>
                      <a:pt x="442" y="2317"/>
                      <a:pt x="442" y="2317"/>
                    </a:cubicBezTo>
                    <a:cubicBezTo>
                      <a:pt x="443" y="2314"/>
                      <a:pt x="483" y="2194"/>
                      <a:pt x="500" y="2142"/>
                    </a:cubicBezTo>
                    <a:cubicBezTo>
                      <a:pt x="457" y="2127"/>
                      <a:pt x="386" y="2098"/>
                      <a:pt x="348" y="2099"/>
                    </a:cubicBezTo>
                    <a:cubicBezTo>
                      <a:pt x="347" y="2099"/>
                      <a:pt x="346" y="2099"/>
                      <a:pt x="345" y="2099"/>
                    </a:cubicBezTo>
                    <a:cubicBezTo>
                      <a:pt x="299" y="2101"/>
                      <a:pt x="282" y="2114"/>
                      <a:pt x="250" y="2126"/>
                    </a:cubicBezTo>
                    <a:cubicBezTo>
                      <a:pt x="241" y="2129"/>
                      <a:pt x="202" y="2146"/>
                      <a:pt x="169" y="2161"/>
                    </a:cubicBezTo>
                    <a:cubicBezTo>
                      <a:pt x="155" y="2168"/>
                      <a:pt x="142" y="2174"/>
                      <a:pt x="131" y="2179"/>
                    </a:cubicBezTo>
                    <a:lnTo>
                      <a:pt x="430" y="2730"/>
                    </a:lnTo>
                    <a:close/>
                    <a:moveTo>
                      <a:pt x="472" y="2895"/>
                    </a:moveTo>
                    <a:cubicBezTo>
                      <a:pt x="471" y="2894"/>
                      <a:pt x="471" y="2893"/>
                      <a:pt x="470" y="2892"/>
                    </a:cubicBezTo>
                    <a:cubicBezTo>
                      <a:pt x="469" y="2892"/>
                      <a:pt x="469" y="2891"/>
                      <a:pt x="468" y="2891"/>
                    </a:cubicBezTo>
                    <a:cubicBezTo>
                      <a:pt x="468" y="2890"/>
                      <a:pt x="468" y="2890"/>
                      <a:pt x="467" y="2888"/>
                    </a:cubicBezTo>
                    <a:cubicBezTo>
                      <a:pt x="467" y="2888"/>
                      <a:pt x="466" y="2887"/>
                      <a:pt x="466" y="2886"/>
                    </a:cubicBezTo>
                    <a:cubicBezTo>
                      <a:pt x="462" y="2889"/>
                      <a:pt x="459" y="2891"/>
                      <a:pt x="456" y="2893"/>
                    </a:cubicBezTo>
                    <a:cubicBezTo>
                      <a:pt x="464" y="2895"/>
                      <a:pt x="470" y="2897"/>
                      <a:pt x="475" y="2898"/>
                    </a:cubicBezTo>
                    <a:cubicBezTo>
                      <a:pt x="474" y="2897"/>
                      <a:pt x="473" y="2896"/>
                      <a:pt x="472" y="2895"/>
                    </a:cubicBezTo>
                    <a:close/>
                    <a:moveTo>
                      <a:pt x="571" y="3010"/>
                    </a:moveTo>
                    <a:cubicBezTo>
                      <a:pt x="545" y="2980"/>
                      <a:pt x="523" y="2955"/>
                      <a:pt x="506" y="2935"/>
                    </a:cubicBezTo>
                    <a:cubicBezTo>
                      <a:pt x="499" y="2927"/>
                      <a:pt x="493" y="2920"/>
                      <a:pt x="488" y="2914"/>
                    </a:cubicBezTo>
                    <a:cubicBezTo>
                      <a:pt x="487" y="2914"/>
                      <a:pt x="486" y="2915"/>
                      <a:pt x="484" y="2916"/>
                    </a:cubicBezTo>
                    <a:cubicBezTo>
                      <a:pt x="481" y="2917"/>
                      <a:pt x="481" y="2917"/>
                      <a:pt x="481" y="2917"/>
                    </a:cubicBezTo>
                    <a:cubicBezTo>
                      <a:pt x="478" y="2916"/>
                      <a:pt x="478" y="2916"/>
                      <a:pt x="478" y="2916"/>
                    </a:cubicBezTo>
                    <a:cubicBezTo>
                      <a:pt x="474" y="2915"/>
                      <a:pt x="460" y="2911"/>
                      <a:pt x="440" y="2906"/>
                    </a:cubicBezTo>
                    <a:cubicBezTo>
                      <a:pt x="438" y="2908"/>
                      <a:pt x="436" y="2909"/>
                      <a:pt x="435" y="2911"/>
                    </a:cubicBezTo>
                    <a:cubicBezTo>
                      <a:pt x="426" y="2920"/>
                      <a:pt x="343" y="3010"/>
                      <a:pt x="239" y="3121"/>
                    </a:cubicBezTo>
                    <a:cubicBezTo>
                      <a:pt x="261" y="3119"/>
                      <a:pt x="282" y="3116"/>
                      <a:pt x="301" y="3113"/>
                    </a:cubicBezTo>
                    <a:cubicBezTo>
                      <a:pt x="387" y="3098"/>
                      <a:pt x="387" y="3098"/>
                      <a:pt x="387" y="3098"/>
                    </a:cubicBezTo>
                    <a:cubicBezTo>
                      <a:pt x="388" y="3098"/>
                      <a:pt x="388" y="3098"/>
                      <a:pt x="388" y="3098"/>
                    </a:cubicBezTo>
                    <a:cubicBezTo>
                      <a:pt x="391" y="3098"/>
                      <a:pt x="414" y="3092"/>
                      <a:pt x="433" y="3086"/>
                    </a:cubicBezTo>
                    <a:cubicBezTo>
                      <a:pt x="450" y="3081"/>
                      <a:pt x="465" y="3076"/>
                      <a:pt x="470" y="3075"/>
                    </a:cubicBezTo>
                    <a:cubicBezTo>
                      <a:pt x="506" y="3051"/>
                      <a:pt x="535" y="3032"/>
                      <a:pt x="571" y="3010"/>
                    </a:cubicBezTo>
                    <a:close/>
                    <a:moveTo>
                      <a:pt x="631" y="2974"/>
                    </a:moveTo>
                    <a:cubicBezTo>
                      <a:pt x="651" y="2962"/>
                      <a:pt x="665" y="2954"/>
                      <a:pt x="669" y="2952"/>
                    </a:cubicBezTo>
                    <a:cubicBezTo>
                      <a:pt x="683" y="2944"/>
                      <a:pt x="853" y="2852"/>
                      <a:pt x="1107" y="2714"/>
                    </a:cubicBezTo>
                    <a:cubicBezTo>
                      <a:pt x="1143" y="2695"/>
                      <a:pt x="1182" y="2674"/>
                      <a:pt x="1221" y="2653"/>
                    </a:cubicBezTo>
                    <a:cubicBezTo>
                      <a:pt x="1220" y="2653"/>
                      <a:pt x="1220" y="2652"/>
                      <a:pt x="1220" y="2652"/>
                    </a:cubicBezTo>
                    <a:cubicBezTo>
                      <a:pt x="1219" y="2651"/>
                      <a:pt x="1219" y="2651"/>
                      <a:pt x="1218" y="2650"/>
                    </a:cubicBezTo>
                    <a:cubicBezTo>
                      <a:pt x="1218" y="2649"/>
                      <a:pt x="1217" y="2651"/>
                      <a:pt x="1216" y="2645"/>
                    </a:cubicBezTo>
                    <a:cubicBezTo>
                      <a:pt x="1216" y="2642"/>
                      <a:pt x="1218" y="2638"/>
                      <a:pt x="1220" y="2637"/>
                    </a:cubicBezTo>
                    <a:cubicBezTo>
                      <a:pt x="1221" y="2637"/>
                      <a:pt x="1222" y="2636"/>
                      <a:pt x="1223" y="2636"/>
                    </a:cubicBezTo>
                    <a:cubicBezTo>
                      <a:pt x="1224" y="2636"/>
                      <a:pt x="1224" y="2636"/>
                      <a:pt x="1224" y="2636"/>
                    </a:cubicBezTo>
                    <a:cubicBezTo>
                      <a:pt x="1224" y="2636"/>
                      <a:pt x="1224" y="2636"/>
                      <a:pt x="1224" y="2636"/>
                    </a:cubicBezTo>
                    <a:cubicBezTo>
                      <a:pt x="1224" y="2636"/>
                      <a:pt x="1224" y="2636"/>
                      <a:pt x="1224" y="2636"/>
                    </a:cubicBezTo>
                    <a:cubicBezTo>
                      <a:pt x="1224" y="2636"/>
                      <a:pt x="1224" y="2636"/>
                      <a:pt x="1224" y="2636"/>
                    </a:cubicBezTo>
                    <a:cubicBezTo>
                      <a:pt x="1224" y="2636"/>
                      <a:pt x="1224" y="2636"/>
                      <a:pt x="1224" y="2636"/>
                    </a:cubicBezTo>
                    <a:cubicBezTo>
                      <a:pt x="1225" y="2636"/>
                      <a:pt x="1226" y="2636"/>
                      <a:pt x="1227" y="2637"/>
                    </a:cubicBezTo>
                    <a:cubicBezTo>
                      <a:pt x="1228" y="2637"/>
                      <a:pt x="1229" y="2637"/>
                      <a:pt x="1229" y="2638"/>
                    </a:cubicBezTo>
                    <a:cubicBezTo>
                      <a:pt x="1230" y="2638"/>
                      <a:pt x="1230" y="2638"/>
                      <a:pt x="1230" y="2639"/>
                    </a:cubicBezTo>
                    <a:cubicBezTo>
                      <a:pt x="1230" y="2639"/>
                      <a:pt x="1231" y="2639"/>
                      <a:pt x="1231" y="2640"/>
                    </a:cubicBezTo>
                    <a:cubicBezTo>
                      <a:pt x="1231" y="2640"/>
                      <a:pt x="1231" y="2640"/>
                      <a:pt x="1231" y="2641"/>
                    </a:cubicBezTo>
                    <a:cubicBezTo>
                      <a:pt x="1232" y="2642"/>
                      <a:pt x="1234" y="2643"/>
                      <a:pt x="1236" y="2645"/>
                    </a:cubicBezTo>
                    <a:cubicBezTo>
                      <a:pt x="1479" y="2513"/>
                      <a:pt x="1771" y="2356"/>
                      <a:pt x="2084" y="2187"/>
                    </a:cubicBezTo>
                    <a:cubicBezTo>
                      <a:pt x="2106" y="2166"/>
                      <a:pt x="2106" y="2166"/>
                      <a:pt x="2106" y="2166"/>
                    </a:cubicBezTo>
                    <a:cubicBezTo>
                      <a:pt x="2107" y="2166"/>
                      <a:pt x="2107" y="2166"/>
                      <a:pt x="2107" y="2166"/>
                    </a:cubicBezTo>
                    <a:cubicBezTo>
                      <a:pt x="2140" y="2147"/>
                      <a:pt x="2174" y="2129"/>
                      <a:pt x="2208" y="2111"/>
                    </a:cubicBezTo>
                    <a:cubicBezTo>
                      <a:pt x="2208" y="2109"/>
                      <a:pt x="2208" y="2108"/>
                      <a:pt x="2208" y="2108"/>
                    </a:cubicBezTo>
                    <a:cubicBezTo>
                      <a:pt x="2212" y="2109"/>
                      <a:pt x="2212" y="2109"/>
                      <a:pt x="2212" y="2109"/>
                    </a:cubicBezTo>
                    <a:cubicBezTo>
                      <a:pt x="2278" y="2073"/>
                      <a:pt x="2344" y="2038"/>
                      <a:pt x="2410" y="2003"/>
                    </a:cubicBezTo>
                    <a:cubicBezTo>
                      <a:pt x="2405" y="1991"/>
                      <a:pt x="2405" y="1991"/>
                      <a:pt x="2405" y="1991"/>
                    </a:cubicBezTo>
                    <a:cubicBezTo>
                      <a:pt x="2418" y="1986"/>
                      <a:pt x="2418" y="1986"/>
                      <a:pt x="2418" y="1986"/>
                    </a:cubicBezTo>
                    <a:cubicBezTo>
                      <a:pt x="2422" y="1996"/>
                      <a:pt x="2422" y="1996"/>
                      <a:pt x="2422" y="1996"/>
                    </a:cubicBezTo>
                    <a:cubicBezTo>
                      <a:pt x="2493" y="1958"/>
                      <a:pt x="2564" y="1920"/>
                      <a:pt x="2633" y="1883"/>
                    </a:cubicBezTo>
                    <a:cubicBezTo>
                      <a:pt x="2625" y="1872"/>
                      <a:pt x="2625" y="1872"/>
                      <a:pt x="2625" y="1872"/>
                    </a:cubicBezTo>
                    <a:cubicBezTo>
                      <a:pt x="2636" y="1863"/>
                      <a:pt x="2636" y="1863"/>
                      <a:pt x="2636" y="1863"/>
                    </a:cubicBezTo>
                    <a:cubicBezTo>
                      <a:pt x="2646" y="1876"/>
                      <a:pt x="2646" y="1876"/>
                      <a:pt x="2646" y="1876"/>
                    </a:cubicBezTo>
                    <a:cubicBezTo>
                      <a:pt x="2794" y="1797"/>
                      <a:pt x="2938" y="1720"/>
                      <a:pt x="3072" y="1649"/>
                    </a:cubicBezTo>
                    <a:cubicBezTo>
                      <a:pt x="3071" y="1647"/>
                      <a:pt x="3071" y="1647"/>
                      <a:pt x="3071" y="1647"/>
                    </a:cubicBezTo>
                    <a:cubicBezTo>
                      <a:pt x="3084" y="1641"/>
                      <a:pt x="3084" y="1641"/>
                      <a:pt x="3084" y="1641"/>
                    </a:cubicBezTo>
                    <a:cubicBezTo>
                      <a:pt x="3085" y="1643"/>
                      <a:pt x="3085" y="1643"/>
                      <a:pt x="3085" y="1643"/>
                    </a:cubicBezTo>
                    <a:cubicBezTo>
                      <a:pt x="3408" y="1471"/>
                      <a:pt x="3671" y="1333"/>
                      <a:pt x="3798" y="1269"/>
                    </a:cubicBezTo>
                    <a:cubicBezTo>
                      <a:pt x="3751" y="1155"/>
                      <a:pt x="3751" y="1155"/>
                      <a:pt x="3751" y="1155"/>
                    </a:cubicBezTo>
                    <a:cubicBezTo>
                      <a:pt x="3540" y="1264"/>
                      <a:pt x="2907" y="1614"/>
                      <a:pt x="2276" y="1954"/>
                    </a:cubicBezTo>
                    <a:cubicBezTo>
                      <a:pt x="1447" y="2401"/>
                      <a:pt x="610" y="2844"/>
                      <a:pt x="609" y="2844"/>
                    </a:cubicBezTo>
                    <a:cubicBezTo>
                      <a:pt x="609" y="2845"/>
                      <a:pt x="609" y="2845"/>
                      <a:pt x="609" y="2845"/>
                    </a:cubicBezTo>
                    <a:cubicBezTo>
                      <a:pt x="608" y="2845"/>
                      <a:pt x="608" y="2845"/>
                      <a:pt x="608" y="2845"/>
                    </a:cubicBezTo>
                    <a:cubicBezTo>
                      <a:pt x="601" y="2849"/>
                      <a:pt x="600" y="2850"/>
                      <a:pt x="549" y="2879"/>
                    </a:cubicBezTo>
                    <a:cubicBezTo>
                      <a:pt x="567" y="2901"/>
                      <a:pt x="596" y="2934"/>
                      <a:pt x="631" y="2974"/>
                    </a:cubicBezTo>
                    <a:close/>
                    <a:moveTo>
                      <a:pt x="499" y="3153"/>
                    </a:moveTo>
                    <a:cubicBezTo>
                      <a:pt x="588" y="3311"/>
                      <a:pt x="588" y="3311"/>
                      <a:pt x="588" y="3311"/>
                    </a:cubicBezTo>
                    <a:cubicBezTo>
                      <a:pt x="707" y="3243"/>
                      <a:pt x="707" y="3243"/>
                      <a:pt x="707" y="3243"/>
                    </a:cubicBezTo>
                    <a:cubicBezTo>
                      <a:pt x="711" y="3250"/>
                      <a:pt x="711" y="3250"/>
                      <a:pt x="711" y="3250"/>
                    </a:cubicBezTo>
                    <a:cubicBezTo>
                      <a:pt x="711" y="3250"/>
                      <a:pt x="788" y="3371"/>
                      <a:pt x="865" y="3492"/>
                    </a:cubicBezTo>
                    <a:cubicBezTo>
                      <a:pt x="904" y="3553"/>
                      <a:pt x="942" y="3614"/>
                      <a:pt x="971" y="3660"/>
                    </a:cubicBezTo>
                    <a:cubicBezTo>
                      <a:pt x="986" y="3682"/>
                      <a:pt x="998" y="3702"/>
                      <a:pt x="1006" y="3715"/>
                    </a:cubicBezTo>
                    <a:cubicBezTo>
                      <a:pt x="1010" y="3722"/>
                      <a:pt x="1013" y="3728"/>
                      <a:pt x="1016" y="3731"/>
                    </a:cubicBezTo>
                    <a:cubicBezTo>
                      <a:pt x="1017" y="3733"/>
                      <a:pt x="1018" y="3735"/>
                      <a:pt x="1018" y="3736"/>
                    </a:cubicBezTo>
                    <a:cubicBezTo>
                      <a:pt x="1019" y="3736"/>
                      <a:pt x="1019" y="3737"/>
                      <a:pt x="1019" y="3737"/>
                    </a:cubicBezTo>
                    <a:cubicBezTo>
                      <a:pt x="1020" y="3738"/>
                      <a:pt x="1020" y="3737"/>
                      <a:pt x="1020" y="3742"/>
                    </a:cubicBezTo>
                    <a:cubicBezTo>
                      <a:pt x="1020" y="3747"/>
                      <a:pt x="1017" y="3748"/>
                      <a:pt x="1016" y="3749"/>
                    </a:cubicBezTo>
                    <a:cubicBezTo>
                      <a:pt x="1015" y="3749"/>
                      <a:pt x="1015" y="3750"/>
                      <a:pt x="1012" y="3750"/>
                    </a:cubicBezTo>
                    <a:cubicBezTo>
                      <a:pt x="1007" y="3752"/>
                      <a:pt x="984" y="3767"/>
                      <a:pt x="964" y="3781"/>
                    </a:cubicBezTo>
                    <a:cubicBezTo>
                      <a:pt x="945" y="3794"/>
                      <a:pt x="927" y="3806"/>
                      <a:pt x="922" y="3809"/>
                    </a:cubicBezTo>
                    <a:cubicBezTo>
                      <a:pt x="759" y="4036"/>
                      <a:pt x="759" y="4036"/>
                      <a:pt x="759" y="4036"/>
                    </a:cubicBezTo>
                    <a:cubicBezTo>
                      <a:pt x="835" y="4085"/>
                      <a:pt x="937" y="4142"/>
                      <a:pt x="986" y="4172"/>
                    </a:cubicBezTo>
                    <a:cubicBezTo>
                      <a:pt x="986" y="4172"/>
                      <a:pt x="986" y="4172"/>
                      <a:pt x="986" y="4172"/>
                    </a:cubicBezTo>
                    <a:cubicBezTo>
                      <a:pt x="981" y="4158"/>
                      <a:pt x="975" y="4143"/>
                      <a:pt x="969" y="4130"/>
                    </a:cubicBezTo>
                    <a:cubicBezTo>
                      <a:pt x="948" y="4081"/>
                      <a:pt x="926" y="4042"/>
                      <a:pt x="926" y="4014"/>
                    </a:cubicBezTo>
                    <a:cubicBezTo>
                      <a:pt x="926" y="4014"/>
                      <a:pt x="926" y="4014"/>
                      <a:pt x="926" y="4014"/>
                    </a:cubicBezTo>
                    <a:cubicBezTo>
                      <a:pt x="927" y="3954"/>
                      <a:pt x="975" y="3896"/>
                      <a:pt x="1102" y="3838"/>
                    </a:cubicBezTo>
                    <a:cubicBezTo>
                      <a:pt x="1111" y="3834"/>
                      <a:pt x="1119" y="3831"/>
                      <a:pt x="1128" y="3829"/>
                    </a:cubicBezTo>
                    <a:cubicBezTo>
                      <a:pt x="1126" y="3819"/>
                      <a:pt x="1123" y="3806"/>
                      <a:pt x="1123" y="3792"/>
                    </a:cubicBezTo>
                    <a:cubicBezTo>
                      <a:pt x="1123" y="3773"/>
                      <a:pt x="1127" y="3751"/>
                      <a:pt x="1143" y="3733"/>
                    </a:cubicBezTo>
                    <a:cubicBezTo>
                      <a:pt x="1150" y="3727"/>
                      <a:pt x="1162" y="3719"/>
                      <a:pt x="1176" y="3711"/>
                    </a:cubicBezTo>
                    <a:cubicBezTo>
                      <a:pt x="1098" y="3620"/>
                      <a:pt x="996" y="3502"/>
                      <a:pt x="893" y="3383"/>
                    </a:cubicBezTo>
                    <a:cubicBezTo>
                      <a:pt x="802" y="3279"/>
                      <a:pt x="712" y="3174"/>
                      <a:pt x="638" y="3088"/>
                    </a:cubicBezTo>
                    <a:cubicBezTo>
                      <a:pt x="590" y="3109"/>
                      <a:pt x="541" y="3132"/>
                      <a:pt x="499" y="3153"/>
                    </a:cubicBezTo>
                    <a:close/>
                    <a:moveTo>
                      <a:pt x="911" y="3798"/>
                    </a:moveTo>
                    <a:cubicBezTo>
                      <a:pt x="912" y="3797"/>
                      <a:pt x="912" y="3797"/>
                      <a:pt x="912" y="3797"/>
                    </a:cubicBezTo>
                    <a:cubicBezTo>
                      <a:pt x="912" y="3797"/>
                      <a:pt x="934" y="3781"/>
                      <a:pt x="957" y="3766"/>
                    </a:cubicBezTo>
                    <a:cubicBezTo>
                      <a:pt x="968" y="3758"/>
                      <a:pt x="980" y="3750"/>
                      <a:pt x="989" y="3744"/>
                    </a:cubicBezTo>
                    <a:cubicBezTo>
                      <a:pt x="994" y="3742"/>
                      <a:pt x="997" y="3739"/>
                      <a:pt x="1000" y="3738"/>
                    </a:cubicBezTo>
                    <a:cubicBezTo>
                      <a:pt x="983" y="3709"/>
                      <a:pt x="916" y="3602"/>
                      <a:pt x="850" y="3498"/>
                    </a:cubicBezTo>
                    <a:cubicBezTo>
                      <a:pt x="784" y="3394"/>
                      <a:pt x="719" y="3292"/>
                      <a:pt x="702" y="3265"/>
                    </a:cubicBezTo>
                    <a:cubicBezTo>
                      <a:pt x="596" y="3325"/>
                      <a:pt x="596" y="3325"/>
                      <a:pt x="596" y="3325"/>
                    </a:cubicBezTo>
                    <a:cubicBezTo>
                      <a:pt x="741" y="3585"/>
                      <a:pt x="741" y="3585"/>
                      <a:pt x="741" y="3585"/>
                    </a:cubicBezTo>
                    <a:cubicBezTo>
                      <a:pt x="630" y="3640"/>
                      <a:pt x="630" y="3640"/>
                      <a:pt x="630" y="3640"/>
                    </a:cubicBezTo>
                    <a:cubicBezTo>
                      <a:pt x="724" y="3799"/>
                      <a:pt x="724" y="3799"/>
                      <a:pt x="724" y="3799"/>
                    </a:cubicBezTo>
                    <a:cubicBezTo>
                      <a:pt x="632" y="3910"/>
                      <a:pt x="632" y="3910"/>
                      <a:pt x="632" y="3910"/>
                    </a:cubicBezTo>
                    <a:cubicBezTo>
                      <a:pt x="650" y="3934"/>
                      <a:pt x="697" y="3991"/>
                      <a:pt x="746" y="4027"/>
                    </a:cubicBezTo>
                    <a:lnTo>
                      <a:pt x="911" y="3798"/>
                    </a:lnTo>
                    <a:close/>
                    <a:moveTo>
                      <a:pt x="447" y="3180"/>
                    </a:moveTo>
                    <a:cubicBezTo>
                      <a:pt x="493" y="3156"/>
                      <a:pt x="493" y="3156"/>
                      <a:pt x="493" y="3156"/>
                    </a:cubicBezTo>
                    <a:cubicBezTo>
                      <a:pt x="476" y="3164"/>
                      <a:pt x="461" y="3172"/>
                      <a:pt x="449" y="3179"/>
                    </a:cubicBezTo>
                    <a:cubicBezTo>
                      <a:pt x="448" y="3179"/>
                      <a:pt x="448" y="3179"/>
                      <a:pt x="447" y="3180"/>
                    </a:cubicBezTo>
                    <a:close/>
                    <a:moveTo>
                      <a:pt x="352" y="3321"/>
                    </a:moveTo>
                    <a:cubicBezTo>
                      <a:pt x="352" y="3320"/>
                      <a:pt x="352" y="3320"/>
                      <a:pt x="352" y="3320"/>
                    </a:cubicBezTo>
                    <a:cubicBezTo>
                      <a:pt x="358" y="3333"/>
                      <a:pt x="358" y="3333"/>
                      <a:pt x="358" y="3333"/>
                    </a:cubicBezTo>
                    <a:cubicBezTo>
                      <a:pt x="358" y="3333"/>
                      <a:pt x="446" y="3554"/>
                      <a:pt x="503" y="3676"/>
                    </a:cubicBezTo>
                    <a:cubicBezTo>
                      <a:pt x="531" y="3736"/>
                      <a:pt x="562" y="3797"/>
                      <a:pt x="591" y="3845"/>
                    </a:cubicBezTo>
                    <a:cubicBezTo>
                      <a:pt x="621" y="3895"/>
                      <a:pt x="621" y="3895"/>
                      <a:pt x="621" y="3895"/>
                    </a:cubicBezTo>
                    <a:cubicBezTo>
                      <a:pt x="621" y="3895"/>
                      <a:pt x="621" y="3895"/>
                      <a:pt x="621" y="3895"/>
                    </a:cubicBezTo>
                    <a:cubicBezTo>
                      <a:pt x="621" y="3895"/>
                      <a:pt x="622" y="3896"/>
                      <a:pt x="622" y="3896"/>
                    </a:cubicBezTo>
                    <a:cubicBezTo>
                      <a:pt x="704" y="3797"/>
                      <a:pt x="704" y="3797"/>
                      <a:pt x="704" y="3797"/>
                    </a:cubicBezTo>
                    <a:cubicBezTo>
                      <a:pt x="607" y="3633"/>
                      <a:pt x="607" y="3633"/>
                      <a:pt x="607" y="3633"/>
                    </a:cubicBezTo>
                    <a:cubicBezTo>
                      <a:pt x="718" y="3578"/>
                      <a:pt x="718" y="3578"/>
                      <a:pt x="718" y="3578"/>
                    </a:cubicBezTo>
                    <a:cubicBezTo>
                      <a:pt x="493" y="3174"/>
                      <a:pt x="493" y="3174"/>
                      <a:pt x="493" y="3174"/>
                    </a:cubicBezTo>
                    <a:cubicBezTo>
                      <a:pt x="325" y="3262"/>
                      <a:pt x="325" y="3262"/>
                      <a:pt x="325" y="3262"/>
                    </a:cubicBezTo>
                    <a:lnTo>
                      <a:pt x="352" y="3321"/>
                    </a:lnTo>
                    <a:close/>
                    <a:moveTo>
                      <a:pt x="118" y="3771"/>
                    </a:moveTo>
                    <a:cubicBezTo>
                      <a:pt x="433" y="3631"/>
                      <a:pt x="433" y="3631"/>
                      <a:pt x="433" y="3631"/>
                    </a:cubicBezTo>
                    <a:cubicBezTo>
                      <a:pt x="403" y="3563"/>
                      <a:pt x="371" y="3484"/>
                      <a:pt x="347" y="3427"/>
                    </a:cubicBezTo>
                    <a:cubicBezTo>
                      <a:pt x="345" y="3428"/>
                      <a:pt x="345" y="3428"/>
                      <a:pt x="345" y="3428"/>
                    </a:cubicBezTo>
                    <a:cubicBezTo>
                      <a:pt x="345" y="3428"/>
                      <a:pt x="330" y="3439"/>
                      <a:pt x="307" y="3455"/>
                    </a:cubicBezTo>
                    <a:cubicBezTo>
                      <a:pt x="380" y="3604"/>
                      <a:pt x="380" y="3604"/>
                      <a:pt x="380" y="3604"/>
                    </a:cubicBezTo>
                    <a:cubicBezTo>
                      <a:pt x="373" y="3607"/>
                      <a:pt x="373" y="3607"/>
                      <a:pt x="373" y="3607"/>
                    </a:cubicBezTo>
                    <a:cubicBezTo>
                      <a:pt x="189" y="3683"/>
                      <a:pt x="189" y="3683"/>
                      <a:pt x="189" y="3683"/>
                    </a:cubicBezTo>
                    <a:cubicBezTo>
                      <a:pt x="170" y="3613"/>
                      <a:pt x="170" y="3613"/>
                      <a:pt x="170" y="3613"/>
                    </a:cubicBezTo>
                    <a:cubicBezTo>
                      <a:pt x="295" y="3463"/>
                      <a:pt x="295" y="3463"/>
                      <a:pt x="295" y="3463"/>
                    </a:cubicBezTo>
                    <a:cubicBezTo>
                      <a:pt x="266" y="3483"/>
                      <a:pt x="229" y="3509"/>
                      <a:pt x="191" y="3536"/>
                    </a:cubicBezTo>
                    <a:cubicBezTo>
                      <a:pt x="152" y="3563"/>
                      <a:pt x="113" y="3590"/>
                      <a:pt x="85" y="3611"/>
                    </a:cubicBezTo>
                    <a:cubicBezTo>
                      <a:pt x="73" y="3619"/>
                      <a:pt x="63" y="3627"/>
                      <a:pt x="34" y="3648"/>
                    </a:cubicBezTo>
                    <a:cubicBezTo>
                      <a:pt x="34" y="3648"/>
                      <a:pt x="34" y="3648"/>
                      <a:pt x="34" y="3648"/>
                    </a:cubicBezTo>
                    <a:cubicBezTo>
                      <a:pt x="34" y="3648"/>
                      <a:pt x="34" y="3648"/>
                      <a:pt x="34" y="3648"/>
                    </a:cubicBezTo>
                    <a:cubicBezTo>
                      <a:pt x="46" y="3664"/>
                      <a:pt x="46" y="3664"/>
                      <a:pt x="46" y="3664"/>
                    </a:cubicBezTo>
                    <a:cubicBezTo>
                      <a:pt x="52" y="3675"/>
                      <a:pt x="79" y="3714"/>
                      <a:pt x="118" y="3771"/>
                    </a:cubicBezTo>
                    <a:close/>
                    <a:moveTo>
                      <a:pt x="186" y="3617"/>
                    </a:moveTo>
                    <a:cubicBezTo>
                      <a:pt x="199" y="3663"/>
                      <a:pt x="199" y="3663"/>
                      <a:pt x="199" y="3663"/>
                    </a:cubicBezTo>
                    <a:cubicBezTo>
                      <a:pt x="360" y="3597"/>
                      <a:pt x="360" y="3597"/>
                      <a:pt x="360" y="3597"/>
                    </a:cubicBezTo>
                    <a:cubicBezTo>
                      <a:pt x="302" y="3478"/>
                      <a:pt x="302" y="3478"/>
                      <a:pt x="302" y="3478"/>
                    </a:cubicBezTo>
                    <a:lnTo>
                      <a:pt x="186" y="3617"/>
                    </a:lnTo>
                    <a:close/>
                    <a:moveTo>
                      <a:pt x="459" y="4259"/>
                    </a:moveTo>
                    <a:cubicBezTo>
                      <a:pt x="710" y="4056"/>
                      <a:pt x="710" y="4056"/>
                      <a:pt x="710" y="4056"/>
                    </a:cubicBezTo>
                    <a:cubicBezTo>
                      <a:pt x="640" y="4003"/>
                      <a:pt x="594" y="3932"/>
                      <a:pt x="593" y="3931"/>
                    </a:cubicBezTo>
                    <a:cubicBezTo>
                      <a:pt x="593" y="3931"/>
                      <a:pt x="593" y="3931"/>
                      <a:pt x="593" y="3931"/>
                    </a:cubicBezTo>
                    <a:cubicBezTo>
                      <a:pt x="564" y="3888"/>
                      <a:pt x="506" y="3789"/>
                      <a:pt x="462" y="3695"/>
                    </a:cubicBezTo>
                    <a:cubicBezTo>
                      <a:pt x="455" y="3680"/>
                      <a:pt x="447" y="3662"/>
                      <a:pt x="439" y="3644"/>
                    </a:cubicBezTo>
                    <a:cubicBezTo>
                      <a:pt x="126" y="3783"/>
                      <a:pt x="126" y="3783"/>
                      <a:pt x="126" y="3783"/>
                    </a:cubicBezTo>
                    <a:cubicBezTo>
                      <a:pt x="197" y="3884"/>
                      <a:pt x="303" y="4037"/>
                      <a:pt x="414" y="4195"/>
                    </a:cubicBezTo>
                    <a:cubicBezTo>
                      <a:pt x="429" y="4217"/>
                      <a:pt x="444" y="4238"/>
                      <a:pt x="459" y="4259"/>
                    </a:cubicBezTo>
                    <a:close/>
                    <a:moveTo>
                      <a:pt x="641" y="4517"/>
                    </a:moveTo>
                    <a:cubicBezTo>
                      <a:pt x="650" y="4514"/>
                      <a:pt x="650" y="4514"/>
                      <a:pt x="650" y="4514"/>
                    </a:cubicBezTo>
                    <a:cubicBezTo>
                      <a:pt x="655" y="4513"/>
                      <a:pt x="716" y="4488"/>
                      <a:pt x="782" y="4403"/>
                    </a:cubicBezTo>
                    <a:cubicBezTo>
                      <a:pt x="816" y="4360"/>
                      <a:pt x="840" y="4295"/>
                      <a:pt x="854" y="4241"/>
                    </a:cubicBezTo>
                    <a:cubicBezTo>
                      <a:pt x="864" y="4204"/>
                      <a:pt x="869" y="4174"/>
                      <a:pt x="872" y="4157"/>
                    </a:cubicBezTo>
                    <a:cubicBezTo>
                      <a:pt x="826" y="4130"/>
                      <a:pt x="774" y="4100"/>
                      <a:pt x="731" y="4071"/>
                    </a:cubicBezTo>
                    <a:cubicBezTo>
                      <a:pt x="728" y="4069"/>
                      <a:pt x="725" y="4067"/>
                      <a:pt x="722" y="4065"/>
                    </a:cubicBezTo>
                    <a:cubicBezTo>
                      <a:pt x="467" y="4271"/>
                      <a:pt x="467" y="4271"/>
                      <a:pt x="467" y="4271"/>
                    </a:cubicBezTo>
                    <a:cubicBezTo>
                      <a:pt x="527" y="4356"/>
                      <a:pt x="586" y="4440"/>
                      <a:pt x="641" y="4517"/>
                    </a:cubicBezTo>
                    <a:close/>
                    <a:moveTo>
                      <a:pt x="227" y="5008"/>
                    </a:moveTo>
                    <a:cubicBezTo>
                      <a:pt x="319" y="4961"/>
                      <a:pt x="319" y="4961"/>
                      <a:pt x="319" y="4961"/>
                    </a:cubicBezTo>
                    <a:cubicBezTo>
                      <a:pt x="337" y="4948"/>
                      <a:pt x="337" y="4948"/>
                      <a:pt x="337" y="4948"/>
                    </a:cubicBezTo>
                    <a:cubicBezTo>
                      <a:pt x="339" y="4951"/>
                      <a:pt x="339" y="4951"/>
                      <a:pt x="339" y="4951"/>
                    </a:cubicBezTo>
                    <a:cubicBezTo>
                      <a:pt x="727" y="4750"/>
                      <a:pt x="727" y="4750"/>
                      <a:pt x="727" y="4750"/>
                    </a:cubicBezTo>
                    <a:cubicBezTo>
                      <a:pt x="693" y="4702"/>
                      <a:pt x="652" y="4645"/>
                      <a:pt x="607" y="4583"/>
                    </a:cubicBezTo>
                    <a:cubicBezTo>
                      <a:pt x="150" y="4804"/>
                      <a:pt x="150" y="4804"/>
                      <a:pt x="150" y="4804"/>
                    </a:cubicBezTo>
                    <a:cubicBezTo>
                      <a:pt x="115" y="4948"/>
                      <a:pt x="115" y="4948"/>
                      <a:pt x="115" y="4948"/>
                    </a:cubicBezTo>
                    <a:cubicBezTo>
                      <a:pt x="141" y="4955"/>
                      <a:pt x="166" y="4963"/>
                      <a:pt x="185" y="4975"/>
                    </a:cubicBezTo>
                    <a:cubicBezTo>
                      <a:pt x="199" y="4983"/>
                      <a:pt x="213" y="4995"/>
                      <a:pt x="227" y="5008"/>
                    </a:cubicBezTo>
                    <a:close/>
                    <a:moveTo>
                      <a:pt x="292" y="5080"/>
                    </a:moveTo>
                    <a:cubicBezTo>
                      <a:pt x="319" y="5069"/>
                      <a:pt x="319" y="5069"/>
                      <a:pt x="319" y="5069"/>
                    </a:cubicBezTo>
                    <a:cubicBezTo>
                      <a:pt x="269" y="5002"/>
                      <a:pt x="269" y="5002"/>
                      <a:pt x="269" y="5002"/>
                    </a:cubicBezTo>
                    <a:cubicBezTo>
                      <a:pt x="237" y="5019"/>
                      <a:pt x="237" y="5019"/>
                      <a:pt x="237" y="5019"/>
                    </a:cubicBezTo>
                    <a:cubicBezTo>
                      <a:pt x="255" y="5037"/>
                      <a:pt x="274" y="5057"/>
                      <a:pt x="292" y="5080"/>
                    </a:cubicBezTo>
                    <a:close/>
                    <a:moveTo>
                      <a:pt x="367" y="5173"/>
                    </a:moveTo>
                    <a:cubicBezTo>
                      <a:pt x="390" y="5165"/>
                      <a:pt x="390" y="5165"/>
                      <a:pt x="390" y="5165"/>
                    </a:cubicBezTo>
                    <a:cubicBezTo>
                      <a:pt x="328" y="5081"/>
                      <a:pt x="328" y="5081"/>
                      <a:pt x="328" y="5081"/>
                    </a:cubicBezTo>
                    <a:cubicBezTo>
                      <a:pt x="302" y="5091"/>
                      <a:pt x="302" y="5091"/>
                      <a:pt x="302" y="5091"/>
                    </a:cubicBezTo>
                    <a:cubicBezTo>
                      <a:pt x="303" y="5092"/>
                      <a:pt x="304" y="5093"/>
                      <a:pt x="305" y="5094"/>
                    </a:cubicBezTo>
                    <a:cubicBezTo>
                      <a:pt x="327" y="5121"/>
                      <a:pt x="348" y="5149"/>
                      <a:pt x="367" y="5173"/>
                    </a:cubicBezTo>
                    <a:close/>
                    <a:moveTo>
                      <a:pt x="261" y="5591"/>
                    </a:moveTo>
                    <a:cubicBezTo>
                      <a:pt x="291" y="5584"/>
                      <a:pt x="336" y="5574"/>
                      <a:pt x="382" y="5563"/>
                    </a:cubicBezTo>
                    <a:cubicBezTo>
                      <a:pt x="442" y="5550"/>
                      <a:pt x="500" y="5536"/>
                      <a:pt x="528" y="5531"/>
                    </a:cubicBezTo>
                    <a:cubicBezTo>
                      <a:pt x="473" y="5439"/>
                      <a:pt x="387" y="5313"/>
                      <a:pt x="353" y="5266"/>
                    </a:cubicBezTo>
                    <a:cubicBezTo>
                      <a:pt x="344" y="5252"/>
                      <a:pt x="330" y="5233"/>
                      <a:pt x="314" y="5212"/>
                    </a:cubicBezTo>
                    <a:cubicBezTo>
                      <a:pt x="127" y="5436"/>
                      <a:pt x="127" y="5436"/>
                      <a:pt x="127" y="5436"/>
                    </a:cubicBezTo>
                    <a:cubicBezTo>
                      <a:pt x="152" y="5451"/>
                      <a:pt x="185" y="5475"/>
                      <a:pt x="214" y="5513"/>
                    </a:cubicBezTo>
                    <a:cubicBezTo>
                      <a:pt x="228" y="5532"/>
                      <a:pt x="246" y="5559"/>
                      <a:pt x="261" y="5591"/>
                    </a:cubicBezTo>
                    <a:close/>
                    <a:moveTo>
                      <a:pt x="243" y="6442"/>
                    </a:moveTo>
                    <a:cubicBezTo>
                      <a:pt x="556" y="6470"/>
                      <a:pt x="556" y="6470"/>
                      <a:pt x="556" y="6470"/>
                    </a:cubicBezTo>
                    <a:cubicBezTo>
                      <a:pt x="552" y="6454"/>
                      <a:pt x="549" y="6439"/>
                      <a:pt x="548" y="6425"/>
                    </a:cubicBezTo>
                    <a:cubicBezTo>
                      <a:pt x="548" y="6420"/>
                      <a:pt x="549" y="6415"/>
                      <a:pt x="549" y="6410"/>
                    </a:cubicBezTo>
                    <a:cubicBezTo>
                      <a:pt x="553" y="6387"/>
                      <a:pt x="567" y="6307"/>
                      <a:pt x="581" y="6236"/>
                    </a:cubicBezTo>
                    <a:cubicBezTo>
                      <a:pt x="515" y="6214"/>
                      <a:pt x="329" y="6146"/>
                      <a:pt x="271" y="6124"/>
                    </a:cubicBezTo>
                    <a:cubicBezTo>
                      <a:pt x="160" y="6294"/>
                      <a:pt x="160" y="6294"/>
                      <a:pt x="160" y="6294"/>
                    </a:cubicBezTo>
                    <a:lnTo>
                      <a:pt x="243" y="6442"/>
                    </a:lnTo>
                    <a:close/>
                    <a:moveTo>
                      <a:pt x="159" y="6674"/>
                    </a:moveTo>
                    <a:cubicBezTo>
                      <a:pt x="250" y="6729"/>
                      <a:pt x="523" y="6905"/>
                      <a:pt x="560" y="6930"/>
                    </a:cubicBezTo>
                    <a:cubicBezTo>
                      <a:pt x="748" y="6670"/>
                      <a:pt x="748" y="6670"/>
                      <a:pt x="748" y="6670"/>
                    </a:cubicBezTo>
                    <a:cubicBezTo>
                      <a:pt x="753" y="6671"/>
                      <a:pt x="753" y="6671"/>
                      <a:pt x="753" y="6671"/>
                    </a:cubicBezTo>
                    <a:cubicBezTo>
                      <a:pt x="748" y="6668"/>
                      <a:pt x="748" y="6668"/>
                      <a:pt x="748" y="6668"/>
                    </a:cubicBezTo>
                    <a:cubicBezTo>
                      <a:pt x="749" y="6668"/>
                      <a:pt x="749" y="6668"/>
                      <a:pt x="749" y="6668"/>
                    </a:cubicBezTo>
                    <a:cubicBezTo>
                      <a:pt x="708" y="6640"/>
                      <a:pt x="708" y="6640"/>
                      <a:pt x="708" y="6640"/>
                    </a:cubicBezTo>
                    <a:cubicBezTo>
                      <a:pt x="685" y="6624"/>
                      <a:pt x="685" y="6624"/>
                      <a:pt x="685" y="6624"/>
                    </a:cubicBezTo>
                    <a:cubicBezTo>
                      <a:pt x="665" y="6612"/>
                      <a:pt x="656" y="6606"/>
                      <a:pt x="640" y="6595"/>
                    </a:cubicBezTo>
                    <a:cubicBezTo>
                      <a:pt x="624" y="6583"/>
                      <a:pt x="613" y="6576"/>
                      <a:pt x="604" y="6567"/>
                    </a:cubicBezTo>
                    <a:cubicBezTo>
                      <a:pt x="602" y="6566"/>
                      <a:pt x="602" y="6566"/>
                      <a:pt x="602" y="6566"/>
                    </a:cubicBezTo>
                    <a:cubicBezTo>
                      <a:pt x="601" y="6564"/>
                      <a:pt x="601" y="6564"/>
                      <a:pt x="601" y="6564"/>
                    </a:cubicBezTo>
                    <a:cubicBezTo>
                      <a:pt x="584" y="6541"/>
                      <a:pt x="570" y="6513"/>
                      <a:pt x="560" y="6484"/>
                    </a:cubicBezTo>
                    <a:cubicBezTo>
                      <a:pt x="244" y="6456"/>
                      <a:pt x="244" y="6456"/>
                      <a:pt x="244" y="6456"/>
                    </a:cubicBezTo>
                    <a:lnTo>
                      <a:pt x="159" y="6674"/>
                    </a:lnTo>
                    <a:close/>
                    <a:moveTo>
                      <a:pt x="648" y="7011"/>
                    </a:moveTo>
                    <a:cubicBezTo>
                      <a:pt x="551" y="6943"/>
                      <a:pt x="551" y="6943"/>
                      <a:pt x="551" y="6943"/>
                    </a:cubicBezTo>
                    <a:cubicBezTo>
                      <a:pt x="552" y="6941"/>
                      <a:pt x="552" y="6941"/>
                      <a:pt x="552" y="6941"/>
                    </a:cubicBezTo>
                    <a:cubicBezTo>
                      <a:pt x="530" y="6927"/>
                      <a:pt x="436" y="6868"/>
                      <a:pt x="342" y="6807"/>
                    </a:cubicBezTo>
                    <a:cubicBezTo>
                      <a:pt x="289" y="6773"/>
                      <a:pt x="235" y="6738"/>
                      <a:pt x="194" y="6712"/>
                    </a:cubicBezTo>
                    <a:cubicBezTo>
                      <a:pt x="178" y="6702"/>
                      <a:pt x="165" y="6694"/>
                      <a:pt x="154" y="6687"/>
                    </a:cubicBezTo>
                    <a:cubicBezTo>
                      <a:pt x="40" y="6978"/>
                      <a:pt x="40" y="6978"/>
                      <a:pt x="40" y="6978"/>
                    </a:cubicBezTo>
                    <a:cubicBezTo>
                      <a:pt x="464" y="7314"/>
                      <a:pt x="464" y="7314"/>
                      <a:pt x="464" y="7314"/>
                    </a:cubicBezTo>
                    <a:lnTo>
                      <a:pt x="648" y="7011"/>
                    </a:lnTo>
                    <a:close/>
                    <a:moveTo>
                      <a:pt x="549" y="7377"/>
                    </a:moveTo>
                    <a:cubicBezTo>
                      <a:pt x="571" y="7297"/>
                      <a:pt x="662" y="7188"/>
                      <a:pt x="683" y="7146"/>
                    </a:cubicBezTo>
                    <a:cubicBezTo>
                      <a:pt x="685" y="7141"/>
                      <a:pt x="686" y="7137"/>
                      <a:pt x="686" y="7133"/>
                    </a:cubicBezTo>
                    <a:cubicBezTo>
                      <a:pt x="687" y="7121"/>
                      <a:pt x="675" y="7107"/>
                      <a:pt x="661" y="7096"/>
                    </a:cubicBezTo>
                    <a:cubicBezTo>
                      <a:pt x="648" y="7085"/>
                      <a:pt x="634" y="7079"/>
                      <a:pt x="634" y="7079"/>
                    </a:cubicBezTo>
                    <a:cubicBezTo>
                      <a:pt x="644" y="7056"/>
                      <a:pt x="644" y="7056"/>
                      <a:pt x="644" y="7056"/>
                    </a:cubicBezTo>
                    <a:cubicBezTo>
                      <a:pt x="645" y="7057"/>
                      <a:pt x="660" y="7064"/>
                      <a:pt x="676" y="7077"/>
                    </a:cubicBezTo>
                    <a:cubicBezTo>
                      <a:pt x="692" y="7089"/>
                      <a:pt x="710" y="7107"/>
                      <a:pt x="711" y="7133"/>
                    </a:cubicBezTo>
                    <a:cubicBezTo>
                      <a:pt x="711" y="7141"/>
                      <a:pt x="709" y="7149"/>
                      <a:pt x="705" y="7157"/>
                    </a:cubicBezTo>
                    <a:cubicBezTo>
                      <a:pt x="680" y="7206"/>
                      <a:pt x="582" y="7324"/>
                      <a:pt x="570" y="7393"/>
                    </a:cubicBezTo>
                    <a:cubicBezTo>
                      <a:pt x="575" y="7397"/>
                      <a:pt x="580" y="7401"/>
                      <a:pt x="585" y="7404"/>
                    </a:cubicBezTo>
                    <a:cubicBezTo>
                      <a:pt x="605" y="7420"/>
                      <a:pt x="624" y="7435"/>
                      <a:pt x="641" y="7448"/>
                    </a:cubicBezTo>
                    <a:cubicBezTo>
                      <a:pt x="652" y="7410"/>
                      <a:pt x="661" y="7375"/>
                      <a:pt x="662" y="7368"/>
                    </a:cubicBezTo>
                    <a:cubicBezTo>
                      <a:pt x="664" y="7361"/>
                      <a:pt x="662" y="7340"/>
                      <a:pt x="672" y="7308"/>
                    </a:cubicBezTo>
                    <a:cubicBezTo>
                      <a:pt x="678" y="7291"/>
                      <a:pt x="686" y="7280"/>
                      <a:pt x="698" y="7265"/>
                    </a:cubicBezTo>
                    <a:cubicBezTo>
                      <a:pt x="714" y="7243"/>
                      <a:pt x="736" y="7217"/>
                      <a:pt x="754" y="7197"/>
                    </a:cubicBezTo>
                    <a:cubicBezTo>
                      <a:pt x="763" y="7187"/>
                      <a:pt x="772" y="7178"/>
                      <a:pt x="778" y="7171"/>
                    </a:cubicBezTo>
                    <a:cubicBezTo>
                      <a:pt x="781" y="7168"/>
                      <a:pt x="783" y="7165"/>
                      <a:pt x="785" y="7163"/>
                    </a:cubicBezTo>
                    <a:cubicBezTo>
                      <a:pt x="786" y="7162"/>
                      <a:pt x="787" y="7162"/>
                      <a:pt x="788" y="7161"/>
                    </a:cubicBezTo>
                    <a:cubicBezTo>
                      <a:pt x="788" y="7160"/>
                      <a:pt x="789" y="7160"/>
                      <a:pt x="789" y="7159"/>
                    </a:cubicBezTo>
                    <a:cubicBezTo>
                      <a:pt x="789" y="7159"/>
                      <a:pt x="790" y="7159"/>
                      <a:pt x="790" y="7159"/>
                    </a:cubicBezTo>
                    <a:cubicBezTo>
                      <a:pt x="790" y="7159"/>
                      <a:pt x="790" y="7159"/>
                      <a:pt x="790" y="7159"/>
                    </a:cubicBezTo>
                    <a:cubicBezTo>
                      <a:pt x="797" y="7152"/>
                      <a:pt x="881" y="7066"/>
                      <a:pt x="961" y="6982"/>
                    </a:cubicBezTo>
                    <a:cubicBezTo>
                      <a:pt x="1001" y="6942"/>
                      <a:pt x="1040" y="6901"/>
                      <a:pt x="1069" y="6870"/>
                    </a:cubicBezTo>
                    <a:cubicBezTo>
                      <a:pt x="763" y="6678"/>
                      <a:pt x="763" y="6678"/>
                      <a:pt x="763" y="6678"/>
                    </a:cubicBezTo>
                    <a:cubicBezTo>
                      <a:pt x="574" y="6939"/>
                      <a:pt x="574" y="6939"/>
                      <a:pt x="574" y="6939"/>
                    </a:cubicBezTo>
                    <a:cubicBezTo>
                      <a:pt x="670" y="7006"/>
                      <a:pt x="670" y="7006"/>
                      <a:pt x="670" y="7006"/>
                    </a:cubicBezTo>
                    <a:cubicBezTo>
                      <a:pt x="477" y="7324"/>
                      <a:pt x="477" y="7324"/>
                      <a:pt x="477" y="7324"/>
                    </a:cubicBezTo>
                    <a:cubicBezTo>
                      <a:pt x="493" y="7335"/>
                      <a:pt x="522" y="7356"/>
                      <a:pt x="549" y="7377"/>
                    </a:cubicBezTo>
                    <a:close/>
                    <a:moveTo>
                      <a:pt x="221" y="8137"/>
                    </a:moveTo>
                    <a:cubicBezTo>
                      <a:pt x="238" y="8115"/>
                      <a:pt x="256" y="8092"/>
                      <a:pt x="273" y="8069"/>
                    </a:cubicBezTo>
                    <a:cubicBezTo>
                      <a:pt x="302" y="8031"/>
                      <a:pt x="332" y="7992"/>
                      <a:pt x="360" y="7954"/>
                    </a:cubicBezTo>
                    <a:cubicBezTo>
                      <a:pt x="379" y="7869"/>
                      <a:pt x="415" y="7782"/>
                      <a:pt x="443" y="7747"/>
                    </a:cubicBezTo>
                    <a:cubicBezTo>
                      <a:pt x="468" y="7717"/>
                      <a:pt x="491" y="7646"/>
                      <a:pt x="509" y="7575"/>
                    </a:cubicBezTo>
                    <a:cubicBezTo>
                      <a:pt x="519" y="7532"/>
                      <a:pt x="528" y="7488"/>
                      <a:pt x="535" y="7452"/>
                    </a:cubicBezTo>
                    <a:cubicBezTo>
                      <a:pt x="526" y="7445"/>
                      <a:pt x="517" y="7439"/>
                      <a:pt x="509" y="7433"/>
                    </a:cubicBezTo>
                    <a:cubicBezTo>
                      <a:pt x="394" y="7704"/>
                      <a:pt x="394" y="7704"/>
                      <a:pt x="394" y="7704"/>
                    </a:cubicBezTo>
                    <a:cubicBezTo>
                      <a:pt x="289" y="7662"/>
                      <a:pt x="289" y="7662"/>
                      <a:pt x="289" y="7662"/>
                    </a:cubicBezTo>
                    <a:cubicBezTo>
                      <a:pt x="82" y="8018"/>
                      <a:pt x="82" y="8018"/>
                      <a:pt x="82" y="8018"/>
                    </a:cubicBezTo>
                    <a:cubicBezTo>
                      <a:pt x="145" y="8072"/>
                      <a:pt x="194" y="8114"/>
                      <a:pt x="221" y="8137"/>
                    </a:cubicBezTo>
                    <a:close/>
                    <a:moveTo>
                      <a:pt x="714" y="8540"/>
                    </a:moveTo>
                    <a:cubicBezTo>
                      <a:pt x="797" y="8350"/>
                      <a:pt x="797" y="8350"/>
                      <a:pt x="797" y="8350"/>
                    </a:cubicBezTo>
                    <a:cubicBezTo>
                      <a:pt x="780" y="8345"/>
                      <a:pt x="764" y="8339"/>
                      <a:pt x="745" y="8334"/>
                    </a:cubicBezTo>
                    <a:cubicBezTo>
                      <a:pt x="638" y="8305"/>
                      <a:pt x="498" y="8271"/>
                      <a:pt x="385" y="8255"/>
                    </a:cubicBezTo>
                    <a:cubicBezTo>
                      <a:pt x="330" y="8247"/>
                      <a:pt x="288" y="8242"/>
                      <a:pt x="260" y="8238"/>
                    </a:cubicBezTo>
                    <a:cubicBezTo>
                      <a:pt x="247" y="8236"/>
                      <a:pt x="238" y="8235"/>
                      <a:pt x="231" y="8234"/>
                    </a:cubicBezTo>
                    <a:cubicBezTo>
                      <a:pt x="181" y="8299"/>
                      <a:pt x="140" y="8352"/>
                      <a:pt x="121" y="8376"/>
                    </a:cubicBezTo>
                    <a:lnTo>
                      <a:pt x="714" y="8540"/>
                    </a:lnTo>
                    <a:close/>
                    <a:moveTo>
                      <a:pt x="1142" y="8692"/>
                    </a:moveTo>
                    <a:cubicBezTo>
                      <a:pt x="1214" y="8614"/>
                      <a:pt x="1214" y="8614"/>
                      <a:pt x="1214" y="8614"/>
                    </a:cubicBezTo>
                    <a:cubicBezTo>
                      <a:pt x="1204" y="8604"/>
                      <a:pt x="1184" y="8585"/>
                      <a:pt x="1157" y="8562"/>
                    </a:cubicBezTo>
                    <a:cubicBezTo>
                      <a:pt x="1150" y="8573"/>
                      <a:pt x="1141" y="8584"/>
                      <a:pt x="1128" y="8594"/>
                    </a:cubicBezTo>
                    <a:cubicBezTo>
                      <a:pt x="1098" y="8617"/>
                      <a:pt x="1069" y="8627"/>
                      <a:pt x="1042" y="8627"/>
                    </a:cubicBezTo>
                    <a:cubicBezTo>
                      <a:pt x="999" y="8627"/>
                      <a:pt x="964" y="8602"/>
                      <a:pt x="937" y="8577"/>
                    </a:cubicBezTo>
                    <a:cubicBezTo>
                      <a:pt x="910" y="8552"/>
                      <a:pt x="887" y="8526"/>
                      <a:pt x="877" y="8524"/>
                    </a:cubicBezTo>
                    <a:cubicBezTo>
                      <a:pt x="873" y="8523"/>
                      <a:pt x="868" y="8522"/>
                      <a:pt x="863" y="8522"/>
                    </a:cubicBezTo>
                    <a:cubicBezTo>
                      <a:pt x="846" y="8522"/>
                      <a:pt x="824" y="8530"/>
                      <a:pt x="808" y="8544"/>
                    </a:cubicBezTo>
                    <a:cubicBezTo>
                      <a:pt x="791" y="8558"/>
                      <a:pt x="779" y="8577"/>
                      <a:pt x="779" y="8601"/>
                    </a:cubicBezTo>
                    <a:cubicBezTo>
                      <a:pt x="779" y="8605"/>
                      <a:pt x="781" y="8619"/>
                      <a:pt x="781" y="8624"/>
                    </a:cubicBezTo>
                    <a:cubicBezTo>
                      <a:pt x="781" y="8624"/>
                      <a:pt x="755" y="8609"/>
                      <a:pt x="755" y="8609"/>
                    </a:cubicBezTo>
                    <a:cubicBezTo>
                      <a:pt x="755" y="8606"/>
                      <a:pt x="755" y="8603"/>
                      <a:pt x="755" y="8601"/>
                    </a:cubicBezTo>
                    <a:cubicBezTo>
                      <a:pt x="756" y="8536"/>
                      <a:pt x="816" y="8498"/>
                      <a:pt x="863" y="8497"/>
                    </a:cubicBezTo>
                    <a:cubicBezTo>
                      <a:pt x="871" y="8497"/>
                      <a:pt x="878" y="8498"/>
                      <a:pt x="884" y="8501"/>
                    </a:cubicBezTo>
                    <a:cubicBezTo>
                      <a:pt x="908" y="8509"/>
                      <a:pt x="927" y="8535"/>
                      <a:pt x="953" y="8559"/>
                    </a:cubicBezTo>
                    <a:cubicBezTo>
                      <a:pt x="979" y="8582"/>
                      <a:pt x="1009" y="8603"/>
                      <a:pt x="1042" y="8603"/>
                    </a:cubicBezTo>
                    <a:cubicBezTo>
                      <a:pt x="1063" y="8603"/>
                      <a:pt x="1086" y="8595"/>
                      <a:pt x="1113" y="8574"/>
                    </a:cubicBezTo>
                    <a:cubicBezTo>
                      <a:pt x="1125" y="8565"/>
                      <a:pt x="1133" y="8555"/>
                      <a:pt x="1139" y="8546"/>
                    </a:cubicBezTo>
                    <a:cubicBezTo>
                      <a:pt x="1138" y="8546"/>
                      <a:pt x="1138" y="8546"/>
                      <a:pt x="1137" y="8545"/>
                    </a:cubicBezTo>
                    <a:cubicBezTo>
                      <a:pt x="1090" y="8505"/>
                      <a:pt x="1031" y="8459"/>
                      <a:pt x="995" y="8441"/>
                    </a:cubicBezTo>
                    <a:cubicBezTo>
                      <a:pt x="931" y="8408"/>
                      <a:pt x="879" y="8380"/>
                      <a:pt x="812" y="8356"/>
                    </a:cubicBezTo>
                    <a:cubicBezTo>
                      <a:pt x="695" y="8623"/>
                      <a:pt x="695" y="8623"/>
                      <a:pt x="695" y="8623"/>
                    </a:cubicBezTo>
                    <a:lnTo>
                      <a:pt x="1142" y="8692"/>
                    </a:lnTo>
                    <a:close/>
                    <a:moveTo>
                      <a:pt x="843" y="9006"/>
                    </a:moveTo>
                    <a:cubicBezTo>
                      <a:pt x="846" y="9025"/>
                      <a:pt x="882" y="9236"/>
                      <a:pt x="886" y="9285"/>
                    </a:cubicBezTo>
                    <a:cubicBezTo>
                      <a:pt x="900" y="9284"/>
                      <a:pt x="914" y="9283"/>
                      <a:pt x="927" y="9281"/>
                    </a:cubicBezTo>
                    <a:cubicBezTo>
                      <a:pt x="979" y="9277"/>
                      <a:pt x="1030" y="9273"/>
                      <a:pt x="1069" y="9269"/>
                    </a:cubicBezTo>
                    <a:cubicBezTo>
                      <a:pt x="1088" y="9268"/>
                      <a:pt x="1104" y="9266"/>
                      <a:pt x="1115" y="9265"/>
                    </a:cubicBezTo>
                    <a:cubicBezTo>
                      <a:pt x="1121" y="9265"/>
                      <a:pt x="1126" y="9264"/>
                      <a:pt x="1129" y="9264"/>
                    </a:cubicBezTo>
                    <a:cubicBezTo>
                      <a:pt x="1130" y="9264"/>
                      <a:pt x="1131" y="9263"/>
                      <a:pt x="1132" y="9263"/>
                    </a:cubicBezTo>
                    <a:cubicBezTo>
                      <a:pt x="1138" y="9257"/>
                      <a:pt x="1162" y="9221"/>
                      <a:pt x="1183" y="9187"/>
                    </a:cubicBezTo>
                    <a:cubicBezTo>
                      <a:pt x="1206" y="9151"/>
                      <a:pt x="1227" y="9117"/>
                      <a:pt x="1227" y="9117"/>
                    </a:cubicBezTo>
                    <a:cubicBezTo>
                      <a:pt x="1230" y="9111"/>
                      <a:pt x="1230" y="9111"/>
                      <a:pt x="1230" y="9111"/>
                    </a:cubicBezTo>
                    <a:cubicBezTo>
                      <a:pt x="1313" y="9149"/>
                      <a:pt x="1313" y="9149"/>
                      <a:pt x="1313" y="9149"/>
                    </a:cubicBezTo>
                    <a:cubicBezTo>
                      <a:pt x="1326" y="9134"/>
                      <a:pt x="1374" y="9077"/>
                      <a:pt x="1422" y="9019"/>
                    </a:cubicBezTo>
                    <a:cubicBezTo>
                      <a:pt x="1450" y="8985"/>
                      <a:pt x="1478" y="8951"/>
                      <a:pt x="1499" y="8924"/>
                    </a:cubicBezTo>
                    <a:cubicBezTo>
                      <a:pt x="1510" y="8911"/>
                      <a:pt x="1518" y="8900"/>
                      <a:pt x="1524" y="8892"/>
                    </a:cubicBezTo>
                    <a:cubicBezTo>
                      <a:pt x="1526" y="8890"/>
                      <a:pt x="1526" y="8889"/>
                      <a:pt x="1527" y="8888"/>
                    </a:cubicBezTo>
                    <a:cubicBezTo>
                      <a:pt x="1526" y="8887"/>
                      <a:pt x="1524" y="8885"/>
                      <a:pt x="1523" y="8884"/>
                    </a:cubicBezTo>
                    <a:cubicBezTo>
                      <a:pt x="1487" y="8849"/>
                      <a:pt x="1409" y="8781"/>
                      <a:pt x="1342" y="8723"/>
                    </a:cubicBezTo>
                    <a:cubicBezTo>
                      <a:pt x="1291" y="8680"/>
                      <a:pt x="1246" y="8642"/>
                      <a:pt x="1226" y="8625"/>
                    </a:cubicBezTo>
                    <a:cubicBezTo>
                      <a:pt x="1149" y="8710"/>
                      <a:pt x="1149" y="8710"/>
                      <a:pt x="1149" y="8710"/>
                    </a:cubicBezTo>
                    <a:cubicBezTo>
                      <a:pt x="914" y="8673"/>
                      <a:pt x="914" y="8673"/>
                      <a:pt x="914" y="8673"/>
                    </a:cubicBezTo>
                    <a:lnTo>
                      <a:pt x="843" y="9006"/>
                    </a:lnTo>
                    <a:close/>
                    <a:moveTo>
                      <a:pt x="117" y="8616"/>
                    </a:moveTo>
                    <a:cubicBezTo>
                      <a:pt x="183" y="8529"/>
                      <a:pt x="183" y="8529"/>
                      <a:pt x="183" y="8529"/>
                    </a:cubicBezTo>
                    <a:cubicBezTo>
                      <a:pt x="95" y="8465"/>
                      <a:pt x="95" y="8465"/>
                      <a:pt x="95" y="8465"/>
                    </a:cubicBezTo>
                    <a:cubicBezTo>
                      <a:pt x="19" y="8565"/>
                      <a:pt x="19" y="8565"/>
                      <a:pt x="19" y="8565"/>
                    </a:cubicBezTo>
                    <a:lnTo>
                      <a:pt x="117" y="8616"/>
                    </a:lnTo>
                    <a:close/>
                    <a:moveTo>
                      <a:pt x="699" y="9296"/>
                    </a:moveTo>
                    <a:cubicBezTo>
                      <a:pt x="700" y="9297"/>
                      <a:pt x="701" y="9297"/>
                      <a:pt x="701" y="9298"/>
                    </a:cubicBezTo>
                    <a:cubicBezTo>
                      <a:pt x="715" y="9298"/>
                      <a:pt x="789" y="9292"/>
                      <a:pt x="872" y="9286"/>
                    </a:cubicBezTo>
                    <a:cubicBezTo>
                      <a:pt x="869" y="9240"/>
                      <a:pt x="829" y="9007"/>
                      <a:pt x="829" y="9007"/>
                    </a:cubicBezTo>
                    <a:cubicBezTo>
                      <a:pt x="829" y="9005"/>
                      <a:pt x="829" y="9005"/>
                      <a:pt x="829" y="9005"/>
                    </a:cubicBezTo>
                    <a:cubicBezTo>
                      <a:pt x="829" y="9004"/>
                      <a:pt x="829" y="9004"/>
                      <a:pt x="829" y="9004"/>
                    </a:cubicBezTo>
                    <a:cubicBezTo>
                      <a:pt x="121" y="8634"/>
                      <a:pt x="121" y="8634"/>
                      <a:pt x="121" y="8634"/>
                    </a:cubicBezTo>
                    <a:cubicBezTo>
                      <a:pt x="28" y="8757"/>
                      <a:pt x="28" y="8757"/>
                      <a:pt x="28" y="8757"/>
                    </a:cubicBezTo>
                    <a:cubicBezTo>
                      <a:pt x="384" y="8945"/>
                      <a:pt x="384" y="8945"/>
                      <a:pt x="384" y="8945"/>
                    </a:cubicBezTo>
                    <a:cubicBezTo>
                      <a:pt x="384" y="8946"/>
                      <a:pt x="384" y="8946"/>
                      <a:pt x="384" y="8946"/>
                    </a:cubicBezTo>
                    <a:cubicBezTo>
                      <a:pt x="385" y="8946"/>
                      <a:pt x="462" y="9034"/>
                      <a:pt x="541" y="9122"/>
                    </a:cubicBezTo>
                    <a:cubicBezTo>
                      <a:pt x="581" y="9166"/>
                      <a:pt x="620" y="9210"/>
                      <a:pt x="651" y="9244"/>
                    </a:cubicBezTo>
                    <a:cubicBezTo>
                      <a:pt x="666" y="9260"/>
                      <a:pt x="679" y="9274"/>
                      <a:pt x="688" y="9284"/>
                    </a:cubicBezTo>
                    <a:cubicBezTo>
                      <a:pt x="692" y="9289"/>
                      <a:pt x="696" y="9293"/>
                      <a:pt x="699" y="9296"/>
                    </a:cubicBezTo>
                    <a:close/>
                    <a:moveTo>
                      <a:pt x="492" y="9930"/>
                    </a:moveTo>
                    <a:cubicBezTo>
                      <a:pt x="497" y="9923"/>
                      <a:pt x="504" y="9913"/>
                      <a:pt x="512" y="9902"/>
                    </a:cubicBezTo>
                    <a:cubicBezTo>
                      <a:pt x="431" y="9838"/>
                      <a:pt x="431" y="9838"/>
                      <a:pt x="431" y="9838"/>
                    </a:cubicBezTo>
                    <a:cubicBezTo>
                      <a:pt x="435" y="9833"/>
                      <a:pt x="435" y="9833"/>
                      <a:pt x="435" y="9833"/>
                    </a:cubicBezTo>
                    <a:cubicBezTo>
                      <a:pt x="485" y="9771"/>
                      <a:pt x="485" y="9771"/>
                      <a:pt x="485" y="9771"/>
                    </a:cubicBezTo>
                    <a:cubicBezTo>
                      <a:pt x="522" y="9800"/>
                      <a:pt x="522" y="9800"/>
                      <a:pt x="522" y="9800"/>
                    </a:cubicBezTo>
                    <a:cubicBezTo>
                      <a:pt x="549" y="9766"/>
                      <a:pt x="549" y="9766"/>
                      <a:pt x="549" y="9766"/>
                    </a:cubicBezTo>
                    <a:cubicBezTo>
                      <a:pt x="588" y="9798"/>
                      <a:pt x="588" y="9798"/>
                      <a:pt x="588" y="9798"/>
                    </a:cubicBezTo>
                    <a:cubicBezTo>
                      <a:pt x="591" y="9793"/>
                      <a:pt x="595" y="9789"/>
                      <a:pt x="598" y="9785"/>
                    </a:cubicBezTo>
                    <a:cubicBezTo>
                      <a:pt x="627" y="9745"/>
                      <a:pt x="656" y="9706"/>
                      <a:pt x="678" y="9676"/>
                    </a:cubicBezTo>
                    <a:cubicBezTo>
                      <a:pt x="689" y="9661"/>
                      <a:pt x="699" y="9648"/>
                      <a:pt x="706" y="9639"/>
                    </a:cubicBezTo>
                    <a:cubicBezTo>
                      <a:pt x="709" y="9635"/>
                      <a:pt x="712" y="9631"/>
                      <a:pt x="714" y="9629"/>
                    </a:cubicBezTo>
                    <a:cubicBezTo>
                      <a:pt x="717" y="9626"/>
                      <a:pt x="716" y="9625"/>
                      <a:pt x="721" y="9623"/>
                    </a:cubicBezTo>
                    <a:cubicBezTo>
                      <a:pt x="722" y="9622"/>
                      <a:pt x="723" y="9622"/>
                      <a:pt x="724" y="9622"/>
                    </a:cubicBezTo>
                    <a:cubicBezTo>
                      <a:pt x="724" y="9622"/>
                      <a:pt x="724" y="9622"/>
                      <a:pt x="724" y="9622"/>
                    </a:cubicBezTo>
                    <a:cubicBezTo>
                      <a:pt x="731" y="9623"/>
                      <a:pt x="741" y="9628"/>
                      <a:pt x="759" y="9637"/>
                    </a:cubicBezTo>
                    <a:cubicBezTo>
                      <a:pt x="802" y="9657"/>
                      <a:pt x="873" y="9695"/>
                      <a:pt x="894" y="9707"/>
                    </a:cubicBezTo>
                    <a:cubicBezTo>
                      <a:pt x="900" y="9691"/>
                      <a:pt x="913" y="9655"/>
                      <a:pt x="925" y="9617"/>
                    </a:cubicBezTo>
                    <a:cubicBezTo>
                      <a:pt x="942" y="9569"/>
                      <a:pt x="958" y="9517"/>
                      <a:pt x="959" y="9509"/>
                    </a:cubicBezTo>
                    <a:cubicBezTo>
                      <a:pt x="959" y="9509"/>
                      <a:pt x="959" y="9509"/>
                      <a:pt x="959" y="9508"/>
                    </a:cubicBezTo>
                    <a:cubicBezTo>
                      <a:pt x="959" y="9508"/>
                      <a:pt x="959" y="9508"/>
                      <a:pt x="959" y="9508"/>
                    </a:cubicBezTo>
                    <a:cubicBezTo>
                      <a:pt x="964" y="9508"/>
                      <a:pt x="964" y="9508"/>
                      <a:pt x="964" y="9508"/>
                    </a:cubicBezTo>
                    <a:cubicBezTo>
                      <a:pt x="966" y="9501"/>
                      <a:pt x="966" y="9501"/>
                      <a:pt x="966" y="9501"/>
                    </a:cubicBezTo>
                    <a:cubicBezTo>
                      <a:pt x="930" y="9295"/>
                      <a:pt x="930" y="9295"/>
                      <a:pt x="930" y="9295"/>
                    </a:cubicBezTo>
                    <a:cubicBezTo>
                      <a:pt x="915" y="9296"/>
                      <a:pt x="899" y="9298"/>
                      <a:pt x="884" y="9299"/>
                    </a:cubicBezTo>
                    <a:cubicBezTo>
                      <a:pt x="883" y="9300"/>
                      <a:pt x="881" y="9301"/>
                      <a:pt x="878" y="9302"/>
                    </a:cubicBezTo>
                    <a:cubicBezTo>
                      <a:pt x="878" y="9299"/>
                      <a:pt x="878" y="9299"/>
                      <a:pt x="878" y="9299"/>
                    </a:cubicBezTo>
                    <a:cubicBezTo>
                      <a:pt x="793" y="9306"/>
                      <a:pt x="716" y="9312"/>
                      <a:pt x="701" y="9312"/>
                    </a:cubicBezTo>
                    <a:cubicBezTo>
                      <a:pt x="701" y="9312"/>
                      <a:pt x="701" y="9312"/>
                      <a:pt x="701" y="9312"/>
                    </a:cubicBezTo>
                    <a:cubicBezTo>
                      <a:pt x="695" y="9317"/>
                      <a:pt x="669" y="9348"/>
                      <a:pt x="637" y="9391"/>
                    </a:cubicBezTo>
                    <a:cubicBezTo>
                      <a:pt x="540" y="9519"/>
                      <a:pt x="370" y="9752"/>
                      <a:pt x="344" y="9788"/>
                    </a:cubicBezTo>
                    <a:lnTo>
                      <a:pt x="492" y="9930"/>
                    </a:lnTo>
                    <a:close/>
                    <a:moveTo>
                      <a:pt x="531" y="9901"/>
                    </a:moveTo>
                    <a:cubicBezTo>
                      <a:pt x="594" y="9951"/>
                      <a:pt x="594" y="9951"/>
                      <a:pt x="594" y="9951"/>
                    </a:cubicBezTo>
                    <a:cubicBezTo>
                      <a:pt x="632" y="9904"/>
                      <a:pt x="632" y="9904"/>
                      <a:pt x="632" y="9904"/>
                    </a:cubicBezTo>
                    <a:cubicBezTo>
                      <a:pt x="595" y="9875"/>
                      <a:pt x="595" y="9875"/>
                      <a:pt x="595" y="9875"/>
                    </a:cubicBezTo>
                    <a:cubicBezTo>
                      <a:pt x="621" y="9841"/>
                      <a:pt x="621" y="9841"/>
                      <a:pt x="621" y="9841"/>
                    </a:cubicBezTo>
                    <a:cubicBezTo>
                      <a:pt x="591" y="9817"/>
                      <a:pt x="591" y="9817"/>
                      <a:pt x="591" y="9817"/>
                    </a:cubicBezTo>
                    <a:cubicBezTo>
                      <a:pt x="569" y="9848"/>
                      <a:pt x="548" y="9877"/>
                      <a:pt x="531" y="9901"/>
                    </a:cubicBezTo>
                    <a:close/>
                    <a:moveTo>
                      <a:pt x="580" y="9808"/>
                    </a:moveTo>
                    <a:cubicBezTo>
                      <a:pt x="551" y="9785"/>
                      <a:pt x="551" y="9785"/>
                      <a:pt x="551" y="9785"/>
                    </a:cubicBezTo>
                    <a:cubicBezTo>
                      <a:pt x="524" y="9819"/>
                      <a:pt x="524" y="9819"/>
                      <a:pt x="524" y="9819"/>
                    </a:cubicBezTo>
                    <a:cubicBezTo>
                      <a:pt x="487" y="9789"/>
                      <a:pt x="487" y="9789"/>
                      <a:pt x="487" y="9789"/>
                    </a:cubicBezTo>
                    <a:cubicBezTo>
                      <a:pt x="450" y="9836"/>
                      <a:pt x="450" y="9836"/>
                      <a:pt x="450" y="9836"/>
                    </a:cubicBezTo>
                    <a:cubicBezTo>
                      <a:pt x="520" y="9892"/>
                      <a:pt x="520" y="9892"/>
                      <a:pt x="520" y="9892"/>
                    </a:cubicBezTo>
                    <a:cubicBezTo>
                      <a:pt x="537" y="9868"/>
                      <a:pt x="558" y="9839"/>
                      <a:pt x="580" y="9808"/>
                    </a:cubicBezTo>
                    <a:close/>
                    <a:moveTo>
                      <a:pt x="703" y="10129"/>
                    </a:moveTo>
                    <a:cubicBezTo>
                      <a:pt x="965" y="9779"/>
                      <a:pt x="965" y="9779"/>
                      <a:pt x="965" y="9779"/>
                    </a:cubicBezTo>
                    <a:cubicBezTo>
                      <a:pt x="894" y="9722"/>
                      <a:pt x="894" y="9722"/>
                      <a:pt x="894" y="9722"/>
                    </a:cubicBezTo>
                    <a:cubicBezTo>
                      <a:pt x="889" y="9720"/>
                      <a:pt x="852" y="9699"/>
                      <a:pt x="812" y="9679"/>
                    </a:cubicBezTo>
                    <a:cubicBezTo>
                      <a:pt x="791" y="9668"/>
                      <a:pt x="770" y="9657"/>
                      <a:pt x="753" y="9649"/>
                    </a:cubicBezTo>
                    <a:cubicBezTo>
                      <a:pt x="745" y="9645"/>
                      <a:pt x="737" y="9642"/>
                      <a:pt x="732" y="9639"/>
                    </a:cubicBezTo>
                    <a:cubicBezTo>
                      <a:pt x="729" y="9638"/>
                      <a:pt x="727" y="9637"/>
                      <a:pt x="726" y="9637"/>
                    </a:cubicBezTo>
                    <a:cubicBezTo>
                      <a:pt x="714" y="9650"/>
                      <a:pt x="659" y="9725"/>
                      <a:pt x="606" y="9796"/>
                    </a:cubicBezTo>
                    <a:cubicBezTo>
                      <a:pt x="604" y="9800"/>
                      <a:pt x="602" y="9803"/>
                      <a:pt x="599" y="9806"/>
                    </a:cubicBezTo>
                    <a:cubicBezTo>
                      <a:pt x="640" y="9839"/>
                      <a:pt x="640" y="9839"/>
                      <a:pt x="640" y="9839"/>
                    </a:cubicBezTo>
                    <a:cubicBezTo>
                      <a:pt x="613" y="9873"/>
                      <a:pt x="613" y="9873"/>
                      <a:pt x="613" y="9873"/>
                    </a:cubicBezTo>
                    <a:cubicBezTo>
                      <a:pt x="650" y="9902"/>
                      <a:pt x="650" y="9902"/>
                      <a:pt x="650" y="9902"/>
                    </a:cubicBezTo>
                    <a:cubicBezTo>
                      <a:pt x="596" y="9969"/>
                      <a:pt x="596" y="9969"/>
                      <a:pt x="596" y="9969"/>
                    </a:cubicBezTo>
                    <a:cubicBezTo>
                      <a:pt x="523" y="9911"/>
                      <a:pt x="523" y="9911"/>
                      <a:pt x="523" y="9911"/>
                    </a:cubicBezTo>
                    <a:cubicBezTo>
                      <a:pt x="514" y="9923"/>
                      <a:pt x="507" y="9933"/>
                      <a:pt x="503" y="9939"/>
                    </a:cubicBezTo>
                    <a:cubicBezTo>
                      <a:pt x="700" y="10127"/>
                      <a:pt x="700" y="10127"/>
                      <a:pt x="700" y="10127"/>
                    </a:cubicBezTo>
                    <a:lnTo>
                      <a:pt x="703" y="10129"/>
                    </a:lnTo>
                    <a:close/>
                    <a:moveTo>
                      <a:pt x="958" y="10186"/>
                    </a:moveTo>
                    <a:cubicBezTo>
                      <a:pt x="881" y="10141"/>
                      <a:pt x="881" y="10141"/>
                      <a:pt x="881" y="10141"/>
                    </a:cubicBezTo>
                    <a:cubicBezTo>
                      <a:pt x="885" y="10135"/>
                      <a:pt x="885" y="10135"/>
                      <a:pt x="885" y="10135"/>
                    </a:cubicBezTo>
                    <a:cubicBezTo>
                      <a:pt x="925" y="10067"/>
                      <a:pt x="925" y="10067"/>
                      <a:pt x="925" y="10067"/>
                    </a:cubicBezTo>
                    <a:cubicBezTo>
                      <a:pt x="965" y="10090"/>
                      <a:pt x="965" y="10090"/>
                      <a:pt x="965" y="10090"/>
                    </a:cubicBezTo>
                    <a:cubicBezTo>
                      <a:pt x="987" y="10053"/>
                      <a:pt x="987" y="10053"/>
                      <a:pt x="987" y="10053"/>
                    </a:cubicBezTo>
                    <a:cubicBezTo>
                      <a:pt x="1032" y="10079"/>
                      <a:pt x="1032" y="10079"/>
                      <a:pt x="1032" y="10079"/>
                    </a:cubicBezTo>
                    <a:cubicBezTo>
                      <a:pt x="1055" y="10046"/>
                      <a:pt x="1077" y="10014"/>
                      <a:pt x="1095" y="9989"/>
                    </a:cubicBezTo>
                    <a:cubicBezTo>
                      <a:pt x="1104" y="9977"/>
                      <a:pt x="1111" y="9966"/>
                      <a:pt x="1117" y="9959"/>
                    </a:cubicBezTo>
                    <a:cubicBezTo>
                      <a:pt x="1119" y="9956"/>
                      <a:pt x="1121" y="9953"/>
                      <a:pt x="1123" y="9951"/>
                    </a:cubicBezTo>
                    <a:cubicBezTo>
                      <a:pt x="1033" y="9834"/>
                      <a:pt x="1033" y="9834"/>
                      <a:pt x="1033" y="9834"/>
                    </a:cubicBezTo>
                    <a:cubicBezTo>
                      <a:pt x="976" y="9788"/>
                      <a:pt x="976" y="9788"/>
                      <a:pt x="976" y="9788"/>
                    </a:cubicBezTo>
                    <a:cubicBezTo>
                      <a:pt x="716" y="10135"/>
                      <a:pt x="716" y="10135"/>
                      <a:pt x="716" y="10135"/>
                    </a:cubicBezTo>
                    <a:cubicBezTo>
                      <a:pt x="928" y="10226"/>
                      <a:pt x="928" y="10226"/>
                      <a:pt x="928" y="10226"/>
                    </a:cubicBezTo>
                    <a:cubicBezTo>
                      <a:pt x="934" y="10219"/>
                      <a:pt x="944" y="10204"/>
                      <a:pt x="958" y="10186"/>
                    </a:cubicBezTo>
                    <a:close/>
                    <a:moveTo>
                      <a:pt x="977" y="10182"/>
                    </a:moveTo>
                    <a:cubicBezTo>
                      <a:pt x="1058" y="10230"/>
                      <a:pt x="1058" y="10230"/>
                      <a:pt x="1058" y="10230"/>
                    </a:cubicBezTo>
                    <a:cubicBezTo>
                      <a:pt x="1089" y="10178"/>
                      <a:pt x="1089" y="10178"/>
                      <a:pt x="1089" y="10178"/>
                    </a:cubicBezTo>
                    <a:cubicBezTo>
                      <a:pt x="1048" y="10154"/>
                      <a:pt x="1048" y="10154"/>
                      <a:pt x="1048" y="10154"/>
                    </a:cubicBezTo>
                    <a:cubicBezTo>
                      <a:pt x="1070" y="10117"/>
                      <a:pt x="1070" y="10117"/>
                      <a:pt x="1070" y="10117"/>
                    </a:cubicBezTo>
                    <a:cubicBezTo>
                      <a:pt x="1036" y="10097"/>
                      <a:pt x="1036" y="10097"/>
                      <a:pt x="1036" y="10097"/>
                    </a:cubicBezTo>
                    <a:cubicBezTo>
                      <a:pt x="1034" y="10101"/>
                      <a:pt x="1031" y="10105"/>
                      <a:pt x="1029" y="10109"/>
                    </a:cubicBezTo>
                    <a:cubicBezTo>
                      <a:pt x="1011" y="10135"/>
                      <a:pt x="993" y="10160"/>
                      <a:pt x="977" y="10182"/>
                    </a:cubicBezTo>
                    <a:close/>
                    <a:moveTo>
                      <a:pt x="1024" y="10090"/>
                    </a:moveTo>
                    <a:cubicBezTo>
                      <a:pt x="992" y="10071"/>
                      <a:pt x="992" y="10071"/>
                      <a:pt x="992" y="10071"/>
                    </a:cubicBezTo>
                    <a:cubicBezTo>
                      <a:pt x="970" y="10108"/>
                      <a:pt x="970" y="10108"/>
                      <a:pt x="970" y="10108"/>
                    </a:cubicBezTo>
                    <a:cubicBezTo>
                      <a:pt x="930" y="10085"/>
                      <a:pt x="930" y="10085"/>
                      <a:pt x="930" y="10085"/>
                    </a:cubicBezTo>
                    <a:cubicBezTo>
                      <a:pt x="899" y="10136"/>
                      <a:pt x="899" y="10136"/>
                      <a:pt x="899" y="10136"/>
                    </a:cubicBezTo>
                    <a:cubicBezTo>
                      <a:pt x="965" y="10175"/>
                      <a:pt x="965" y="10175"/>
                      <a:pt x="965" y="10175"/>
                    </a:cubicBezTo>
                    <a:cubicBezTo>
                      <a:pt x="983" y="10150"/>
                      <a:pt x="1004" y="10120"/>
                      <a:pt x="1024" y="10090"/>
                    </a:cubicBezTo>
                    <a:close/>
                    <a:moveTo>
                      <a:pt x="1580" y="10434"/>
                    </a:moveTo>
                    <a:cubicBezTo>
                      <a:pt x="1668" y="10191"/>
                      <a:pt x="1668" y="10191"/>
                      <a:pt x="1668" y="10191"/>
                    </a:cubicBezTo>
                    <a:cubicBezTo>
                      <a:pt x="1204" y="10057"/>
                      <a:pt x="1204" y="10057"/>
                      <a:pt x="1204" y="10057"/>
                    </a:cubicBezTo>
                    <a:cubicBezTo>
                      <a:pt x="1132" y="9963"/>
                      <a:pt x="1132" y="9963"/>
                      <a:pt x="1132" y="9963"/>
                    </a:cubicBezTo>
                    <a:cubicBezTo>
                      <a:pt x="1118" y="9980"/>
                      <a:pt x="1082" y="10032"/>
                      <a:pt x="1044" y="10087"/>
                    </a:cubicBezTo>
                    <a:cubicBezTo>
                      <a:pt x="1088" y="10112"/>
                      <a:pt x="1088" y="10112"/>
                      <a:pt x="1088" y="10112"/>
                    </a:cubicBezTo>
                    <a:cubicBezTo>
                      <a:pt x="1066" y="10149"/>
                      <a:pt x="1066" y="10149"/>
                      <a:pt x="1066" y="10149"/>
                    </a:cubicBezTo>
                    <a:cubicBezTo>
                      <a:pt x="1107" y="10173"/>
                      <a:pt x="1107" y="10173"/>
                      <a:pt x="1107" y="10173"/>
                    </a:cubicBezTo>
                    <a:cubicBezTo>
                      <a:pt x="1063" y="10248"/>
                      <a:pt x="1063" y="10248"/>
                      <a:pt x="1063" y="10248"/>
                    </a:cubicBezTo>
                    <a:cubicBezTo>
                      <a:pt x="970" y="10193"/>
                      <a:pt x="970" y="10193"/>
                      <a:pt x="970" y="10193"/>
                    </a:cubicBezTo>
                    <a:cubicBezTo>
                      <a:pt x="968" y="10196"/>
                      <a:pt x="966" y="10199"/>
                      <a:pt x="964" y="10201"/>
                    </a:cubicBezTo>
                    <a:cubicBezTo>
                      <a:pt x="955" y="10214"/>
                      <a:pt x="947" y="10224"/>
                      <a:pt x="942" y="10231"/>
                    </a:cubicBezTo>
                    <a:cubicBezTo>
                      <a:pt x="941" y="10232"/>
                      <a:pt x="941" y="10232"/>
                      <a:pt x="941" y="10232"/>
                    </a:cubicBezTo>
                    <a:cubicBezTo>
                      <a:pt x="1255" y="10369"/>
                      <a:pt x="1255" y="10369"/>
                      <a:pt x="1255" y="10369"/>
                    </a:cubicBezTo>
                    <a:cubicBezTo>
                      <a:pt x="1255" y="10369"/>
                      <a:pt x="1256" y="10369"/>
                      <a:pt x="1257" y="10369"/>
                    </a:cubicBezTo>
                    <a:cubicBezTo>
                      <a:pt x="1281" y="10313"/>
                      <a:pt x="1281" y="10313"/>
                      <a:pt x="1281" y="10313"/>
                    </a:cubicBezTo>
                    <a:cubicBezTo>
                      <a:pt x="1196" y="10280"/>
                      <a:pt x="1196" y="10280"/>
                      <a:pt x="1196" y="10280"/>
                    </a:cubicBezTo>
                    <a:cubicBezTo>
                      <a:pt x="1199" y="10274"/>
                      <a:pt x="1199" y="10274"/>
                      <a:pt x="1199" y="10274"/>
                    </a:cubicBezTo>
                    <a:cubicBezTo>
                      <a:pt x="1227" y="10200"/>
                      <a:pt x="1227" y="10200"/>
                      <a:pt x="1227" y="10200"/>
                    </a:cubicBezTo>
                    <a:cubicBezTo>
                      <a:pt x="1271" y="10217"/>
                      <a:pt x="1271" y="10217"/>
                      <a:pt x="1271" y="10217"/>
                    </a:cubicBezTo>
                    <a:cubicBezTo>
                      <a:pt x="1286" y="10176"/>
                      <a:pt x="1286" y="10176"/>
                      <a:pt x="1286" y="10176"/>
                    </a:cubicBezTo>
                    <a:cubicBezTo>
                      <a:pt x="1332" y="10194"/>
                      <a:pt x="1332" y="10194"/>
                      <a:pt x="1332" y="10194"/>
                    </a:cubicBezTo>
                    <a:cubicBezTo>
                      <a:pt x="1371" y="10106"/>
                      <a:pt x="1371" y="10106"/>
                      <a:pt x="1371" y="10106"/>
                    </a:cubicBezTo>
                    <a:cubicBezTo>
                      <a:pt x="1384" y="10111"/>
                      <a:pt x="1384" y="10111"/>
                      <a:pt x="1384" y="10111"/>
                    </a:cubicBezTo>
                    <a:cubicBezTo>
                      <a:pt x="1346" y="10199"/>
                      <a:pt x="1346" y="10199"/>
                      <a:pt x="1346" y="10199"/>
                    </a:cubicBezTo>
                    <a:cubicBezTo>
                      <a:pt x="1395" y="10218"/>
                      <a:pt x="1395" y="10218"/>
                      <a:pt x="1395" y="10218"/>
                    </a:cubicBezTo>
                    <a:cubicBezTo>
                      <a:pt x="1380" y="10259"/>
                      <a:pt x="1380" y="10259"/>
                      <a:pt x="1380" y="10259"/>
                    </a:cubicBezTo>
                    <a:cubicBezTo>
                      <a:pt x="1424" y="10276"/>
                      <a:pt x="1424" y="10276"/>
                      <a:pt x="1424" y="10276"/>
                    </a:cubicBezTo>
                    <a:cubicBezTo>
                      <a:pt x="1393" y="10356"/>
                      <a:pt x="1393" y="10356"/>
                      <a:pt x="1393" y="10356"/>
                    </a:cubicBezTo>
                    <a:cubicBezTo>
                      <a:pt x="1294" y="10318"/>
                      <a:pt x="1294" y="10318"/>
                      <a:pt x="1294" y="10318"/>
                    </a:cubicBezTo>
                    <a:cubicBezTo>
                      <a:pt x="1271" y="10372"/>
                      <a:pt x="1271" y="10372"/>
                      <a:pt x="1271" y="10372"/>
                    </a:cubicBezTo>
                    <a:cubicBezTo>
                      <a:pt x="1313" y="10381"/>
                      <a:pt x="1434" y="10405"/>
                      <a:pt x="1580" y="10434"/>
                    </a:cubicBezTo>
                    <a:close/>
                    <a:moveTo>
                      <a:pt x="1363" y="10266"/>
                    </a:moveTo>
                    <a:cubicBezTo>
                      <a:pt x="1378" y="10226"/>
                      <a:pt x="1378" y="10226"/>
                      <a:pt x="1378" y="10226"/>
                    </a:cubicBezTo>
                    <a:cubicBezTo>
                      <a:pt x="1340" y="10211"/>
                      <a:pt x="1340" y="10211"/>
                      <a:pt x="1340" y="10211"/>
                    </a:cubicBezTo>
                    <a:cubicBezTo>
                      <a:pt x="1299" y="10306"/>
                      <a:pt x="1299" y="10306"/>
                      <a:pt x="1299" y="10306"/>
                    </a:cubicBezTo>
                    <a:cubicBezTo>
                      <a:pt x="1385" y="10339"/>
                      <a:pt x="1385" y="10339"/>
                      <a:pt x="1385" y="10339"/>
                    </a:cubicBezTo>
                    <a:cubicBezTo>
                      <a:pt x="1407" y="10283"/>
                      <a:pt x="1407" y="10283"/>
                      <a:pt x="1407" y="10283"/>
                    </a:cubicBezTo>
                    <a:lnTo>
                      <a:pt x="1363" y="10266"/>
                    </a:lnTo>
                    <a:close/>
                    <a:moveTo>
                      <a:pt x="1327" y="10206"/>
                    </a:moveTo>
                    <a:cubicBezTo>
                      <a:pt x="1294" y="10193"/>
                      <a:pt x="1294" y="10193"/>
                      <a:pt x="1294" y="10193"/>
                    </a:cubicBezTo>
                    <a:cubicBezTo>
                      <a:pt x="1279" y="10234"/>
                      <a:pt x="1279" y="10234"/>
                      <a:pt x="1279" y="10234"/>
                    </a:cubicBezTo>
                    <a:cubicBezTo>
                      <a:pt x="1235" y="10217"/>
                      <a:pt x="1235" y="10217"/>
                      <a:pt x="1235" y="10217"/>
                    </a:cubicBezTo>
                    <a:cubicBezTo>
                      <a:pt x="1213" y="10273"/>
                      <a:pt x="1213" y="10273"/>
                      <a:pt x="1213" y="10273"/>
                    </a:cubicBezTo>
                    <a:cubicBezTo>
                      <a:pt x="1286" y="10301"/>
                      <a:pt x="1286" y="10301"/>
                      <a:pt x="1286" y="10301"/>
                    </a:cubicBezTo>
                    <a:lnTo>
                      <a:pt x="1327" y="10206"/>
                    </a:lnTo>
                    <a:close/>
                    <a:moveTo>
                      <a:pt x="2521" y="10204"/>
                    </a:moveTo>
                    <a:cubicBezTo>
                      <a:pt x="1895" y="10089"/>
                      <a:pt x="1895" y="10089"/>
                      <a:pt x="1895" y="10089"/>
                    </a:cubicBezTo>
                    <a:cubicBezTo>
                      <a:pt x="1893" y="10090"/>
                      <a:pt x="1893" y="10090"/>
                      <a:pt x="1893" y="10090"/>
                    </a:cubicBezTo>
                    <a:cubicBezTo>
                      <a:pt x="1874" y="10129"/>
                      <a:pt x="1874" y="10129"/>
                      <a:pt x="1874" y="10129"/>
                    </a:cubicBezTo>
                    <a:cubicBezTo>
                      <a:pt x="1869" y="10126"/>
                      <a:pt x="1866" y="10124"/>
                      <a:pt x="1864" y="10122"/>
                    </a:cubicBezTo>
                    <a:cubicBezTo>
                      <a:pt x="1818" y="10234"/>
                      <a:pt x="1818" y="10234"/>
                      <a:pt x="1818" y="10234"/>
                    </a:cubicBezTo>
                    <a:cubicBezTo>
                      <a:pt x="1682" y="10195"/>
                      <a:pt x="1682" y="10195"/>
                      <a:pt x="1682" y="10195"/>
                    </a:cubicBezTo>
                    <a:cubicBezTo>
                      <a:pt x="1594" y="10437"/>
                      <a:pt x="1594" y="10437"/>
                      <a:pt x="1594" y="10437"/>
                    </a:cubicBezTo>
                    <a:cubicBezTo>
                      <a:pt x="1655" y="10450"/>
                      <a:pt x="1720" y="10463"/>
                      <a:pt x="1786" y="10476"/>
                    </a:cubicBezTo>
                    <a:cubicBezTo>
                      <a:pt x="2037" y="10526"/>
                      <a:pt x="2293" y="10577"/>
                      <a:pt x="2323" y="10583"/>
                    </a:cubicBezTo>
                    <a:cubicBezTo>
                      <a:pt x="2394" y="10498"/>
                      <a:pt x="2494" y="10466"/>
                      <a:pt x="2518" y="10460"/>
                    </a:cubicBezTo>
                    <a:lnTo>
                      <a:pt x="2521" y="10204"/>
                    </a:lnTo>
                    <a:close/>
                    <a:moveTo>
                      <a:pt x="2582" y="10201"/>
                    </a:moveTo>
                    <a:cubicBezTo>
                      <a:pt x="2580" y="10153"/>
                      <a:pt x="2579" y="10102"/>
                      <a:pt x="2578" y="10048"/>
                    </a:cubicBezTo>
                    <a:cubicBezTo>
                      <a:pt x="2574" y="10047"/>
                      <a:pt x="2574" y="10047"/>
                      <a:pt x="2574" y="10047"/>
                    </a:cubicBezTo>
                    <a:cubicBezTo>
                      <a:pt x="2575" y="10149"/>
                      <a:pt x="2575" y="10149"/>
                      <a:pt x="2575" y="10149"/>
                    </a:cubicBezTo>
                    <a:cubicBezTo>
                      <a:pt x="2441" y="10155"/>
                      <a:pt x="2441" y="10155"/>
                      <a:pt x="2441" y="10155"/>
                    </a:cubicBezTo>
                    <a:cubicBezTo>
                      <a:pt x="2440" y="10025"/>
                      <a:pt x="2440" y="10025"/>
                      <a:pt x="2440" y="10025"/>
                    </a:cubicBezTo>
                    <a:cubicBezTo>
                      <a:pt x="2200" y="9985"/>
                      <a:pt x="2200" y="9985"/>
                      <a:pt x="2200" y="9985"/>
                    </a:cubicBezTo>
                    <a:cubicBezTo>
                      <a:pt x="2188" y="10129"/>
                      <a:pt x="2188" y="10129"/>
                      <a:pt x="2188" y="10129"/>
                    </a:cubicBezTo>
                    <a:lnTo>
                      <a:pt x="2582" y="10201"/>
                    </a:lnTo>
                    <a:close/>
                    <a:moveTo>
                      <a:pt x="2595" y="8691"/>
                    </a:moveTo>
                    <a:cubicBezTo>
                      <a:pt x="2611" y="8644"/>
                      <a:pt x="2634" y="8603"/>
                      <a:pt x="2661" y="8569"/>
                    </a:cubicBezTo>
                    <a:cubicBezTo>
                      <a:pt x="2658" y="8562"/>
                      <a:pt x="2616" y="8498"/>
                      <a:pt x="2576" y="8438"/>
                    </a:cubicBezTo>
                    <a:cubicBezTo>
                      <a:pt x="2555" y="8406"/>
                      <a:pt x="2535" y="8375"/>
                      <a:pt x="2519" y="8351"/>
                    </a:cubicBezTo>
                    <a:cubicBezTo>
                      <a:pt x="2515" y="8344"/>
                      <a:pt x="2511" y="8338"/>
                      <a:pt x="2507" y="8332"/>
                    </a:cubicBezTo>
                    <a:cubicBezTo>
                      <a:pt x="2453" y="8358"/>
                      <a:pt x="2379" y="8389"/>
                      <a:pt x="2306" y="8404"/>
                    </a:cubicBezTo>
                    <a:cubicBezTo>
                      <a:pt x="2263" y="8413"/>
                      <a:pt x="2231" y="8421"/>
                      <a:pt x="2208" y="8427"/>
                    </a:cubicBezTo>
                    <a:cubicBezTo>
                      <a:pt x="2319" y="8524"/>
                      <a:pt x="2372" y="8622"/>
                      <a:pt x="2390" y="8662"/>
                    </a:cubicBezTo>
                    <a:lnTo>
                      <a:pt x="2595" y="8691"/>
                    </a:lnTo>
                    <a:close/>
                    <a:moveTo>
                      <a:pt x="2638" y="9484"/>
                    </a:moveTo>
                    <a:cubicBezTo>
                      <a:pt x="2703" y="9477"/>
                      <a:pt x="2842" y="9462"/>
                      <a:pt x="2981" y="9446"/>
                    </a:cubicBezTo>
                    <a:cubicBezTo>
                      <a:pt x="3012" y="9443"/>
                      <a:pt x="3044" y="9439"/>
                      <a:pt x="3074" y="9435"/>
                    </a:cubicBezTo>
                    <a:cubicBezTo>
                      <a:pt x="3182" y="9079"/>
                      <a:pt x="3182" y="9079"/>
                      <a:pt x="3182" y="9079"/>
                    </a:cubicBezTo>
                    <a:cubicBezTo>
                      <a:pt x="3124" y="9024"/>
                      <a:pt x="3124" y="9024"/>
                      <a:pt x="3124" y="9024"/>
                    </a:cubicBezTo>
                    <a:cubicBezTo>
                      <a:pt x="3124" y="9020"/>
                      <a:pt x="3124" y="9020"/>
                      <a:pt x="3124" y="9020"/>
                    </a:cubicBezTo>
                    <a:cubicBezTo>
                      <a:pt x="3124" y="9020"/>
                      <a:pt x="3140" y="8884"/>
                      <a:pt x="3150" y="8789"/>
                    </a:cubicBezTo>
                    <a:cubicBezTo>
                      <a:pt x="2650" y="8737"/>
                      <a:pt x="2650" y="8737"/>
                      <a:pt x="2650" y="8737"/>
                    </a:cubicBezTo>
                    <a:cubicBezTo>
                      <a:pt x="2644" y="8761"/>
                      <a:pt x="2641" y="8787"/>
                      <a:pt x="2641" y="8814"/>
                    </a:cubicBezTo>
                    <a:cubicBezTo>
                      <a:pt x="2641" y="8859"/>
                      <a:pt x="2640" y="8933"/>
                      <a:pt x="2640" y="9026"/>
                    </a:cubicBezTo>
                    <a:cubicBezTo>
                      <a:pt x="3123" y="9012"/>
                      <a:pt x="3123" y="9012"/>
                      <a:pt x="3123" y="9012"/>
                    </a:cubicBezTo>
                    <a:cubicBezTo>
                      <a:pt x="3123" y="9026"/>
                      <a:pt x="3123" y="9026"/>
                      <a:pt x="3123" y="9026"/>
                    </a:cubicBezTo>
                    <a:cubicBezTo>
                      <a:pt x="2639" y="9039"/>
                      <a:pt x="2639" y="9039"/>
                      <a:pt x="2639" y="9039"/>
                    </a:cubicBezTo>
                    <a:cubicBezTo>
                      <a:pt x="2639" y="9152"/>
                      <a:pt x="2638" y="9290"/>
                      <a:pt x="2638" y="9438"/>
                    </a:cubicBezTo>
                    <a:cubicBezTo>
                      <a:pt x="2638" y="9453"/>
                      <a:pt x="2638" y="9469"/>
                      <a:pt x="2638" y="9484"/>
                    </a:cubicBezTo>
                    <a:close/>
                    <a:moveTo>
                      <a:pt x="2967" y="9648"/>
                    </a:moveTo>
                    <a:cubicBezTo>
                      <a:pt x="2849" y="9664"/>
                      <a:pt x="2849" y="9664"/>
                      <a:pt x="2849" y="9664"/>
                    </a:cubicBezTo>
                    <a:cubicBezTo>
                      <a:pt x="2865" y="9771"/>
                      <a:pt x="2865" y="9771"/>
                      <a:pt x="2865" y="9771"/>
                    </a:cubicBezTo>
                    <a:cubicBezTo>
                      <a:pt x="2880" y="9769"/>
                      <a:pt x="2922" y="9763"/>
                      <a:pt x="2974" y="9756"/>
                    </a:cubicBezTo>
                    <a:cubicBezTo>
                      <a:pt x="2972" y="9725"/>
                      <a:pt x="2970" y="9689"/>
                      <a:pt x="2968" y="9653"/>
                    </a:cubicBezTo>
                    <a:cubicBezTo>
                      <a:pt x="2967" y="9651"/>
                      <a:pt x="2967" y="9650"/>
                      <a:pt x="2967" y="9648"/>
                    </a:cubicBezTo>
                    <a:close/>
                    <a:moveTo>
                      <a:pt x="2978" y="9821"/>
                    </a:moveTo>
                    <a:cubicBezTo>
                      <a:pt x="2977" y="9809"/>
                      <a:pt x="2976" y="9790"/>
                      <a:pt x="2975" y="9769"/>
                    </a:cubicBezTo>
                    <a:cubicBezTo>
                      <a:pt x="2909" y="9778"/>
                      <a:pt x="2860" y="9785"/>
                      <a:pt x="2860" y="9785"/>
                    </a:cubicBezTo>
                    <a:cubicBezTo>
                      <a:pt x="2854" y="9786"/>
                      <a:pt x="2854" y="9786"/>
                      <a:pt x="2854" y="9786"/>
                    </a:cubicBezTo>
                    <a:cubicBezTo>
                      <a:pt x="2834" y="9653"/>
                      <a:pt x="2834" y="9653"/>
                      <a:pt x="2834" y="9653"/>
                    </a:cubicBezTo>
                    <a:cubicBezTo>
                      <a:pt x="2966" y="9635"/>
                      <a:pt x="2966" y="9635"/>
                      <a:pt x="2966" y="9635"/>
                    </a:cubicBezTo>
                    <a:cubicBezTo>
                      <a:pt x="2964" y="9595"/>
                      <a:pt x="2961" y="9556"/>
                      <a:pt x="2959" y="9526"/>
                    </a:cubicBezTo>
                    <a:cubicBezTo>
                      <a:pt x="2958" y="9514"/>
                      <a:pt x="2957" y="9503"/>
                      <a:pt x="2956" y="9495"/>
                    </a:cubicBezTo>
                    <a:cubicBezTo>
                      <a:pt x="2823" y="9510"/>
                      <a:pt x="2696" y="9523"/>
                      <a:pt x="2638" y="9530"/>
                    </a:cubicBezTo>
                    <a:cubicBezTo>
                      <a:pt x="2638" y="9596"/>
                      <a:pt x="2638" y="9662"/>
                      <a:pt x="2639" y="9728"/>
                    </a:cubicBezTo>
                    <a:cubicBezTo>
                      <a:pt x="2640" y="9779"/>
                      <a:pt x="2640" y="9829"/>
                      <a:pt x="2641" y="9879"/>
                    </a:cubicBezTo>
                    <a:lnTo>
                      <a:pt x="2978" y="9821"/>
                    </a:lnTo>
                    <a:close/>
                    <a:moveTo>
                      <a:pt x="2980" y="9634"/>
                    </a:moveTo>
                    <a:cubicBezTo>
                      <a:pt x="3163" y="9609"/>
                      <a:pt x="3163" y="9609"/>
                      <a:pt x="3163" y="9609"/>
                    </a:cubicBezTo>
                    <a:cubicBezTo>
                      <a:pt x="3163" y="9582"/>
                      <a:pt x="3163" y="9555"/>
                      <a:pt x="3162" y="9532"/>
                    </a:cubicBezTo>
                    <a:cubicBezTo>
                      <a:pt x="3162" y="9509"/>
                      <a:pt x="3162" y="9490"/>
                      <a:pt x="3161" y="9477"/>
                    </a:cubicBezTo>
                    <a:cubicBezTo>
                      <a:pt x="3161" y="9474"/>
                      <a:pt x="3161" y="9472"/>
                      <a:pt x="3161" y="9470"/>
                    </a:cubicBezTo>
                    <a:cubicBezTo>
                      <a:pt x="3101" y="9478"/>
                      <a:pt x="3035" y="9485"/>
                      <a:pt x="2970" y="9493"/>
                    </a:cubicBezTo>
                    <a:cubicBezTo>
                      <a:pt x="2973" y="9523"/>
                      <a:pt x="2977" y="9577"/>
                      <a:pt x="2980" y="9634"/>
                    </a:cubicBezTo>
                    <a:close/>
                    <a:moveTo>
                      <a:pt x="2988" y="9754"/>
                    </a:moveTo>
                    <a:cubicBezTo>
                      <a:pt x="3015" y="9750"/>
                      <a:pt x="3045" y="9746"/>
                      <a:pt x="3075" y="9742"/>
                    </a:cubicBezTo>
                    <a:cubicBezTo>
                      <a:pt x="3105" y="9738"/>
                      <a:pt x="3135" y="9734"/>
                      <a:pt x="3163" y="9730"/>
                    </a:cubicBezTo>
                    <a:cubicBezTo>
                      <a:pt x="3163" y="9715"/>
                      <a:pt x="3163" y="9700"/>
                      <a:pt x="3163" y="9683"/>
                    </a:cubicBezTo>
                    <a:cubicBezTo>
                      <a:pt x="3163" y="9664"/>
                      <a:pt x="3163" y="9643"/>
                      <a:pt x="3163" y="9623"/>
                    </a:cubicBezTo>
                    <a:cubicBezTo>
                      <a:pt x="2981" y="9647"/>
                      <a:pt x="2981" y="9647"/>
                      <a:pt x="2981" y="9647"/>
                    </a:cubicBezTo>
                    <a:cubicBezTo>
                      <a:pt x="2983" y="9684"/>
                      <a:pt x="2986" y="9722"/>
                      <a:pt x="2988" y="9754"/>
                    </a:cubicBezTo>
                    <a:close/>
                    <a:moveTo>
                      <a:pt x="3163" y="9789"/>
                    </a:moveTo>
                    <a:cubicBezTo>
                      <a:pt x="3163" y="9778"/>
                      <a:pt x="3163" y="9762"/>
                      <a:pt x="3163" y="9743"/>
                    </a:cubicBezTo>
                    <a:cubicBezTo>
                      <a:pt x="3108" y="9751"/>
                      <a:pt x="3043" y="9759"/>
                      <a:pt x="2988" y="9767"/>
                    </a:cubicBezTo>
                    <a:cubicBezTo>
                      <a:pt x="2990" y="9788"/>
                      <a:pt x="2991" y="9806"/>
                      <a:pt x="2991" y="9818"/>
                    </a:cubicBezTo>
                    <a:lnTo>
                      <a:pt x="3163" y="9789"/>
                    </a:lnTo>
                    <a:close/>
                    <a:moveTo>
                      <a:pt x="3208" y="10331"/>
                    </a:moveTo>
                    <a:cubicBezTo>
                      <a:pt x="3205" y="10333"/>
                      <a:pt x="3205" y="10333"/>
                      <a:pt x="3205" y="10333"/>
                    </a:cubicBezTo>
                    <a:cubicBezTo>
                      <a:pt x="3205" y="10333"/>
                      <a:pt x="3205" y="10333"/>
                      <a:pt x="3205" y="10333"/>
                    </a:cubicBezTo>
                    <a:lnTo>
                      <a:pt x="3208" y="10331"/>
                    </a:lnTo>
                    <a:close/>
                    <a:moveTo>
                      <a:pt x="3713" y="10042"/>
                    </a:moveTo>
                    <a:cubicBezTo>
                      <a:pt x="3662" y="9749"/>
                      <a:pt x="3662" y="9749"/>
                      <a:pt x="3662" y="9749"/>
                    </a:cubicBezTo>
                    <a:cubicBezTo>
                      <a:pt x="3019" y="9859"/>
                      <a:pt x="3019" y="9859"/>
                      <a:pt x="3019" y="9859"/>
                    </a:cubicBezTo>
                    <a:cubicBezTo>
                      <a:pt x="3074" y="10072"/>
                      <a:pt x="3074" y="10072"/>
                      <a:pt x="3074" y="10072"/>
                    </a:cubicBezTo>
                    <a:cubicBezTo>
                      <a:pt x="3192" y="10321"/>
                      <a:pt x="3192" y="10321"/>
                      <a:pt x="3192" y="10321"/>
                    </a:cubicBezTo>
                    <a:cubicBezTo>
                      <a:pt x="3199" y="10328"/>
                      <a:pt x="3199" y="10328"/>
                      <a:pt x="3199" y="10328"/>
                    </a:cubicBezTo>
                    <a:cubicBezTo>
                      <a:pt x="3200" y="10328"/>
                      <a:pt x="3200" y="10328"/>
                      <a:pt x="3200" y="10328"/>
                    </a:cubicBezTo>
                    <a:cubicBezTo>
                      <a:pt x="3230" y="10304"/>
                      <a:pt x="3666" y="10068"/>
                      <a:pt x="3713" y="10042"/>
                    </a:cubicBezTo>
                    <a:close/>
                    <a:moveTo>
                      <a:pt x="4506" y="10274"/>
                    </a:moveTo>
                    <a:cubicBezTo>
                      <a:pt x="4493" y="10273"/>
                      <a:pt x="4493" y="10273"/>
                      <a:pt x="4493" y="10273"/>
                    </a:cubicBezTo>
                    <a:cubicBezTo>
                      <a:pt x="4493" y="10273"/>
                      <a:pt x="4498" y="10200"/>
                      <a:pt x="4504" y="10127"/>
                    </a:cubicBezTo>
                    <a:cubicBezTo>
                      <a:pt x="4507" y="10091"/>
                      <a:pt x="4510" y="10055"/>
                      <a:pt x="4513" y="10027"/>
                    </a:cubicBezTo>
                    <a:cubicBezTo>
                      <a:pt x="4514" y="10018"/>
                      <a:pt x="4515" y="10011"/>
                      <a:pt x="4515" y="10004"/>
                    </a:cubicBezTo>
                    <a:cubicBezTo>
                      <a:pt x="4509" y="10005"/>
                      <a:pt x="4503" y="10005"/>
                      <a:pt x="4497" y="10005"/>
                    </a:cubicBezTo>
                    <a:cubicBezTo>
                      <a:pt x="4492" y="10005"/>
                      <a:pt x="4486" y="10005"/>
                      <a:pt x="4481" y="10004"/>
                    </a:cubicBezTo>
                    <a:cubicBezTo>
                      <a:pt x="4481" y="10006"/>
                      <a:pt x="4481" y="10006"/>
                      <a:pt x="4481" y="10006"/>
                    </a:cubicBezTo>
                    <a:cubicBezTo>
                      <a:pt x="4481" y="10006"/>
                      <a:pt x="4481" y="10006"/>
                      <a:pt x="4481" y="10006"/>
                    </a:cubicBezTo>
                    <a:cubicBezTo>
                      <a:pt x="4477" y="10006"/>
                      <a:pt x="4474" y="10005"/>
                      <a:pt x="4471" y="10004"/>
                    </a:cubicBezTo>
                    <a:cubicBezTo>
                      <a:pt x="4399" y="10004"/>
                      <a:pt x="4328" y="10000"/>
                      <a:pt x="4267" y="9989"/>
                    </a:cubicBezTo>
                    <a:cubicBezTo>
                      <a:pt x="4222" y="9981"/>
                      <a:pt x="4173" y="9971"/>
                      <a:pt x="4128" y="9949"/>
                    </a:cubicBezTo>
                    <a:cubicBezTo>
                      <a:pt x="4019" y="10198"/>
                      <a:pt x="4019" y="10198"/>
                      <a:pt x="4019" y="10198"/>
                    </a:cubicBezTo>
                    <a:cubicBezTo>
                      <a:pt x="4006" y="10193"/>
                      <a:pt x="4006" y="10193"/>
                      <a:pt x="4006" y="10193"/>
                    </a:cubicBezTo>
                    <a:cubicBezTo>
                      <a:pt x="4116" y="9943"/>
                      <a:pt x="4116" y="9943"/>
                      <a:pt x="4116" y="9943"/>
                    </a:cubicBezTo>
                    <a:cubicBezTo>
                      <a:pt x="4096" y="9932"/>
                      <a:pt x="4078" y="9920"/>
                      <a:pt x="4060" y="9903"/>
                    </a:cubicBezTo>
                    <a:cubicBezTo>
                      <a:pt x="4013" y="9859"/>
                      <a:pt x="3981" y="9793"/>
                      <a:pt x="3968" y="9696"/>
                    </a:cubicBezTo>
                    <a:cubicBezTo>
                      <a:pt x="3706" y="9741"/>
                      <a:pt x="3706" y="9741"/>
                      <a:pt x="3706" y="9741"/>
                    </a:cubicBezTo>
                    <a:cubicBezTo>
                      <a:pt x="3788" y="10202"/>
                      <a:pt x="3788" y="10202"/>
                      <a:pt x="3788" y="10202"/>
                    </a:cubicBezTo>
                    <a:cubicBezTo>
                      <a:pt x="3850" y="10201"/>
                      <a:pt x="4010" y="10197"/>
                      <a:pt x="4010" y="10197"/>
                    </a:cubicBezTo>
                    <a:cubicBezTo>
                      <a:pt x="4012" y="10197"/>
                      <a:pt x="4012" y="10197"/>
                      <a:pt x="4012" y="10197"/>
                    </a:cubicBezTo>
                    <a:cubicBezTo>
                      <a:pt x="4262" y="10356"/>
                      <a:pt x="4262" y="10356"/>
                      <a:pt x="4262" y="10356"/>
                    </a:cubicBezTo>
                    <a:cubicBezTo>
                      <a:pt x="4255" y="10368"/>
                      <a:pt x="4255" y="10368"/>
                      <a:pt x="4255" y="10368"/>
                    </a:cubicBezTo>
                    <a:cubicBezTo>
                      <a:pt x="4255" y="10368"/>
                      <a:pt x="4255" y="10368"/>
                      <a:pt x="4255" y="10368"/>
                    </a:cubicBezTo>
                    <a:cubicBezTo>
                      <a:pt x="4008" y="10211"/>
                      <a:pt x="4008" y="10211"/>
                      <a:pt x="4008" y="10211"/>
                    </a:cubicBezTo>
                    <a:cubicBezTo>
                      <a:pt x="3997" y="10211"/>
                      <a:pt x="3942" y="10212"/>
                      <a:pt x="3887" y="10214"/>
                    </a:cubicBezTo>
                    <a:cubicBezTo>
                      <a:pt x="3857" y="10215"/>
                      <a:pt x="3826" y="10215"/>
                      <a:pt x="3803" y="10216"/>
                    </a:cubicBezTo>
                    <a:cubicBezTo>
                      <a:pt x="3798" y="10216"/>
                      <a:pt x="3794" y="10216"/>
                      <a:pt x="3790" y="10216"/>
                    </a:cubicBezTo>
                    <a:cubicBezTo>
                      <a:pt x="3847" y="10540"/>
                      <a:pt x="3847" y="10540"/>
                      <a:pt x="3847" y="10540"/>
                    </a:cubicBezTo>
                    <a:cubicBezTo>
                      <a:pt x="4169" y="10576"/>
                      <a:pt x="4169" y="10576"/>
                      <a:pt x="4169" y="10576"/>
                    </a:cubicBezTo>
                    <a:cubicBezTo>
                      <a:pt x="4174" y="10565"/>
                      <a:pt x="4194" y="10520"/>
                      <a:pt x="4215" y="10474"/>
                    </a:cubicBezTo>
                    <a:cubicBezTo>
                      <a:pt x="4227" y="10448"/>
                      <a:pt x="4239" y="10421"/>
                      <a:pt x="4248" y="10400"/>
                    </a:cubicBezTo>
                    <a:cubicBezTo>
                      <a:pt x="4252" y="10389"/>
                      <a:pt x="4256" y="10380"/>
                      <a:pt x="4258" y="10373"/>
                    </a:cubicBezTo>
                    <a:cubicBezTo>
                      <a:pt x="4259" y="10370"/>
                      <a:pt x="4260" y="10367"/>
                      <a:pt x="4261" y="10365"/>
                    </a:cubicBezTo>
                    <a:cubicBezTo>
                      <a:pt x="4261" y="10364"/>
                      <a:pt x="4262" y="10364"/>
                      <a:pt x="4262" y="10363"/>
                    </a:cubicBezTo>
                    <a:cubicBezTo>
                      <a:pt x="4262" y="10363"/>
                      <a:pt x="4261" y="10362"/>
                      <a:pt x="4261" y="10362"/>
                    </a:cubicBezTo>
                    <a:cubicBezTo>
                      <a:pt x="4263" y="10354"/>
                      <a:pt x="4265" y="10356"/>
                      <a:pt x="4266" y="10355"/>
                    </a:cubicBezTo>
                    <a:cubicBezTo>
                      <a:pt x="4281" y="10346"/>
                      <a:pt x="4480" y="10282"/>
                      <a:pt x="4506" y="10274"/>
                    </a:cubicBezTo>
                    <a:close/>
                    <a:moveTo>
                      <a:pt x="5035" y="10530"/>
                    </a:moveTo>
                    <a:cubicBezTo>
                      <a:pt x="5035" y="10435"/>
                      <a:pt x="5034" y="10344"/>
                      <a:pt x="5030" y="10270"/>
                    </a:cubicBezTo>
                    <a:cubicBezTo>
                      <a:pt x="5027" y="10193"/>
                      <a:pt x="5020" y="10133"/>
                      <a:pt x="5013" y="10109"/>
                    </a:cubicBezTo>
                    <a:cubicBezTo>
                      <a:pt x="4996" y="10055"/>
                      <a:pt x="4974" y="10029"/>
                      <a:pt x="4950" y="10014"/>
                    </a:cubicBezTo>
                    <a:cubicBezTo>
                      <a:pt x="4925" y="9999"/>
                      <a:pt x="4892" y="9994"/>
                      <a:pt x="4851" y="9994"/>
                    </a:cubicBezTo>
                    <a:cubicBezTo>
                      <a:pt x="4821" y="9994"/>
                      <a:pt x="4787" y="9997"/>
                      <a:pt x="4751" y="9998"/>
                    </a:cubicBezTo>
                    <a:cubicBezTo>
                      <a:pt x="4690" y="10000"/>
                      <a:pt x="4611" y="10003"/>
                      <a:pt x="4530" y="10004"/>
                    </a:cubicBezTo>
                    <a:cubicBezTo>
                      <a:pt x="4526" y="10032"/>
                      <a:pt x="4521" y="10085"/>
                      <a:pt x="4517" y="10135"/>
                    </a:cubicBezTo>
                    <a:cubicBezTo>
                      <a:pt x="4512" y="10204"/>
                      <a:pt x="4507" y="10270"/>
                      <a:pt x="4507" y="10273"/>
                    </a:cubicBezTo>
                    <a:cubicBezTo>
                      <a:pt x="4507" y="10273"/>
                      <a:pt x="4508" y="10273"/>
                      <a:pt x="4508" y="10273"/>
                    </a:cubicBezTo>
                    <a:cubicBezTo>
                      <a:pt x="4513" y="10271"/>
                      <a:pt x="4513" y="10271"/>
                      <a:pt x="4513" y="10271"/>
                    </a:cubicBezTo>
                    <a:cubicBezTo>
                      <a:pt x="4721" y="10567"/>
                      <a:pt x="4721" y="10567"/>
                      <a:pt x="4721" y="10567"/>
                    </a:cubicBezTo>
                    <a:lnTo>
                      <a:pt x="5035" y="10530"/>
                    </a:lnTo>
                    <a:close/>
                    <a:moveTo>
                      <a:pt x="5989" y="9709"/>
                    </a:moveTo>
                    <a:cubicBezTo>
                      <a:pt x="5989" y="9632"/>
                      <a:pt x="5987" y="9564"/>
                      <a:pt x="5987" y="9525"/>
                    </a:cubicBezTo>
                    <a:cubicBezTo>
                      <a:pt x="5985" y="9442"/>
                      <a:pt x="5962" y="9293"/>
                      <a:pt x="5939" y="9167"/>
                    </a:cubicBezTo>
                    <a:cubicBezTo>
                      <a:pt x="5923" y="9078"/>
                      <a:pt x="5907" y="9000"/>
                      <a:pt x="5899" y="8962"/>
                    </a:cubicBezTo>
                    <a:cubicBezTo>
                      <a:pt x="4519" y="8973"/>
                      <a:pt x="4519" y="8973"/>
                      <a:pt x="4519" y="8973"/>
                    </a:cubicBezTo>
                    <a:cubicBezTo>
                      <a:pt x="4546" y="9018"/>
                      <a:pt x="4578" y="9094"/>
                      <a:pt x="4579" y="9201"/>
                    </a:cubicBezTo>
                    <a:cubicBezTo>
                      <a:pt x="4579" y="9246"/>
                      <a:pt x="4572" y="9297"/>
                      <a:pt x="4558" y="9353"/>
                    </a:cubicBezTo>
                    <a:cubicBezTo>
                      <a:pt x="4503" y="9559"/>
                      <a:pt x="4490" y="9646"/>
                      <a:pt x="4490" y="9711"/>
                    </a:cubicBezTo>
                    <a:cubicBezTo>
                      <a:pt x="4490" y="9729"/>
                      <a:pt x="4491" y="9745"/>
                      <a:pt x="4492" y="9763"/>
                    </a:cubicBezTo>
                    <a:cubicBezTo>
                      <a:pt x="4496" y="9808"/>
                      <a:pt x="4496" y="9860"/>
                      <a:pt x="4498" y="9900"/>
                    </a:cubicBezTo>
                    <a:cubicBezTo>
                      <a:pt x="4499" y="9916"/>
                      <a:pt x="4500" y="9929"/>
                      <a:pt x="4501" y="9939"/>
                    </a:cubicBezTo>
                    <a:cubicBezTo>
                      <a:pt x="4590" y="9939"/>
                      <a:pt x="4680" y="9935"/>
                      <a:pt x="4749" y="9932"/>
                    </a:cubicBezTo>
                    <a:cubicBezTo>
                      <a:pt x="4783" y="9931"/>
                      <a:pt x="4818" y="9929"/>
                      <a:pt x="4851" y="9929"/>
                    </a:cubicBezTo>
                    <a:cubicBezTo>
                      <a:pt x="4897" y="9929"/>
                      <a:pt x="4942" y="9933"/>
                      <a:pt x="4983" y="9958"/>
                    </a:cubicBezTo>
                    <a:cubicBezTo>
                      <a:pt x="5025" y="9982"/>
                      <a:pt x="5056" y="10026"/>
                      <a:pt x="5076" y="10090"/>
                    </a:cubicBezTo>
                    <a:cubicBezTo>
                      <a:pt x="5077" y="10095"/>
                      <a:pt x="5078" y="10101"/>
                      <a:pt x="5079" y="10106"/>
                    </a:cubicBezTo>
                    <a:cubicBezTo>
                      <a:pt x="5146" y="10116"/>
                      <a:pt x="5568" y="10184"/>
                      <a:pt x="5716" y="10215"/>
                    </a:cubicBezTo>
                    <a:cubicBezTo>
                      <a:pt x="5791" y="10230"/>
                      <a:pt x="5876" y="10250"/>
                      <a:pt x="5958" y="10270"/>
                    </a:cubicBezTo>
                    <a:cubicBezTo>
                      <a:pt x="5963" y="10217"/>
                      <a:pt x="5975" y="10101"/>
                      <a:pt x="5983" y="9972"/>
                    </a:cubicBezTo>
                    <a:cubicBezTo>
                      <a:pt x="5987" y="9890"/>
                      <a:pt x="5989" y="9793"/>
                      <a:pt x="5989" y="9709"/>
                    </a:cubicBezTo>
                    <a:close/>
                    <a:moveTo>
                      <a:pt x="6321" y="10369"/>
                    </a:moveTo>
                    <a:cubicBezTo>
                      <a:pt x="6399" y="10127"/>
                      <a:pt x="6399" y="10127"/>
                      <a:pt x="6399" y="10127"/>
                    </a:cubicBezTo>
                    <a:cubicBezTo>
                      <a:pt x="6462" y="10104"/>
                      <a:pt x="6462" y="10104"/>
                      <a:pt x="6462" y="10104"/>
                    </a:cubicBezTo>
                    <a:cubicBezTo>
                      <a:pt x="6465" y="10086"/>
                      <a:pt x="6478" y="10011"/>
                      <a:pt x="6491" y="9935"/>
                    </a:cubicBezTo>
                    <a:cubicBezTo>
                      <a:pt x="6495" y="9915"/>
                      <a:pt x="6498" y="9895"/>
                      <a:pt x="6502" y="9877"/>
                    </a:cubicBezTo>
                    <a:cubicBezTo>
                      <a:pt x="6491" y="9876"/>
                      <a:pt x="6446" y="9865"/>
                      <a:pt x="6399" y="9853"/>
                    </a:cubicBezTo>
                    <a:cubicBezTo>
                      <a:pt x="6356" y="9842"/>
                      <a:pt x="6312" y="9831"/>
                      <a:pt x="6304" y="9830"/>
                    </a:cubicBezTo>
                    <a:cubicBezTo>
                      <a:pt x="6294" y="9835"/>
                      <a:pt x="6246" y="9863"/>
                      <a:pt x="6246" y="9863"/>
                    </a:cubicBezTo>
                    <a:cubicBezTo>
                      <a:pt x="6244" y="9864"/>
                      <a:pt x="6244" y="9864"/>
                      <a:pt x="6244" y="9864"/>
                    </a:cubicBezTo>
                    <a:cubicBezTo>
                      <a:pt x="6053" y="9854"/>
                      <a:pt x="6053" y="9854"/>
                      <a:pt x="6053" y="9854"/>
                    </a:cubicBezTo>
                    <a:cubicBezTo>
                      <a:pt x="6052" y="9895"/>
                      <a:pt x="6050" y="9937"/>
                      <a:pt x="6048" y="9975"/>
                    </a:cubicBezTo>
                    <a:cubicBezTo>
                      <a:pt x="6040" y="10114"/>
                      <a:pt x="6027" y="10237"/>
                      <a:pt x="6022" y="10285"/>
                    </a:cubicBezTo>
                    <a:cubicBezTo>
                      <a:pt x="6089" y="10302"/>
                      <a:pt x="6150" y="10318"/>
                      <a:pt x="6195" y="10329"/>
                    </a:cubicBezTo>
                    <a:cubicBezTo>
                      <a:pt x="6237" y="10340"/>
                      <a:pt x="6274" y="10354"/>
                      <a:pt x="6321" y="10369"/>
                    </a:cubicBezTo>
                    <a:close/>
                    <a:moveTo>
                      <a:pt x="6915" y="10186"/>
                    </a:moveTo>
                    <a:cubicBezTo>
                      <a:pt x="6816" y="10003"/>
                      <a:pt x="6816" y="10003"/>
                      <a:pt x="6816" y="10003"/>
                    </a:cubicBezTo>
                    <a:cubicBezTo>
                      <a:pt x="6505" y="9935"/>
                      <a:pt x="6505" y="9935"/>
                      <a:pt x="6505" y="9935"/>
                    </a:cubicBezTo>
                    <a:cubicBezTo>
                      <a:pt x="6490" y="10022"/>
                      <a:pt x="6475" y="10111"/>
                      <a:pt x="6475" y="10111"/>
                    </a:cubicBezTo>
                    <a:cubicBezTo>
                      <a:pt x="6474" y="10115"/>
                      <a:pt x="6474" y="10115"/>
                      <a:pt x="6474" y="10115"/>
                    </a:cubicBezTo>
                    <a:cubicBezTo>
                      <a:pt x="6410" y="10137"/>
                      <a:pt x="6410" y="10137"/>
                      <a:pt x="6410" y="10137"/>
                    </a:cubicBezTo>
                    <a:cubicBezTo>
                      <a:pt x="6335" y="10373"/>
                      <a:pt x="6335" y="10373"/>
                      <a:pt x="6335" y="10373"/>
                    </a:cubicBezTo>
                    <a:cubicBezTo>
                      <a:pt x="6417" y="10397"/>
                      <a:pt x="6533" y="10424"/>
                      <a:pt x="6761" y="10447"/>
                    </a:cubicBezTo>
                    <a:cubicBezTo>
                      <a:pt x="6773" y="10448"/>
                      <a:pt x="6785" y="10449"/>
                      <a:pt x="6798" y="10451"/>
                    </a:cubicBezTo>
                    <a:cubicBezTo>
                      <a:pt x="6817" y="10407"/>
                      <a:pt x="6860" y="10311"/>
                      <a:pt x="6915" y="10186"/>
                    </a:cubicBezTo>
                    <a:close/>
                    <a:moveTo>
                      <a:pt x="8725" y="7965"/>
                    </a:moveTo>
                    <a:cubicBezTo>
                      <a:pt x="8646" y="7910"/>
                      <a:pt x="8444" y="7769"/>
                      <a:pt x="8241" y="7628"/>
                    </a:cubicBezTo>
                    <a:cubicBezTo>
                      <a:pt x="8111" y="7538"/>
                      <a:pt x="7982" y="7447"/>
                      <a:pt x="7884" y="7379"/>
                    </a:cubicBezTo>
                    <a:cubicBezTo>
                      <a:pt x="7874" y="7371"/>
                      <a:pt x="7864" y="7364"/>
                      <a:pt x="7854" y="7357"/>
                    </a:cubicBezTo>
                    <a:cubicBezTo>
                      <a:pt x="7630" y="8722"/>
                      <a:pt x="7630" y="8722"/>
                      <a:pt x="7630" y="8722"/>
                    </a:cubicBezTo>
                    <a:cubicBezTo>
                      <a:pt x="7629" y="8726"/>
                      <a:pt x="7629" y="8726"/>
                      <a:pt x="7629" y="8726"/>
                    </a:cubicBezTo>
                    <a:cubicBezTo>
                      <a:pt x="7629" y="8726"/>
                      <a:pt x="7434" y="9169"/>
                      <a:pt x="7238" y="9614"/>
                    </a:cubicBezTo>
                    <a:cubicBezTo>
                      <a:pt x="7141" y="9836"/>
                      <a:pt x="7043" y="10058"/>
                      <a:pt x="6969" y="10225"/>
                    </a:cubicBezTo>
                    <a:cubicBezTo>
                      <a:pt x="6932" y="10309"/>
                      <a:pt x="6902" y="10378"/>
                      <a:pt x="6880" y="10427"/>
                    </a:cubicBezTo>
                    <a:cubicBezTo>
                      <a:pt x="6874" y="10440"/>
                      <a:pt x="6869" y="10451"/>
                      <a:pt x="6865" y="10461"/>
                    </a:cubicBezTo>
                    <a:cubicBezTo>
                      <a:pt x="7231" y="10527"/>
                      <a:pt x="7628" y="10735"/>
                      <a:pt x="7630" y="10736"/>
                    </a:cubicBezTo>
                    <a:cubicBezTo>
                      <a:pt x="7631" y="10736"/>
                      <a:pt x="7631" y="10736"/>
                      <a:pt x="7631" y="10736"/>
                    </a:cubicBezTo>
                    <a:cubicBezTo>
                      <a:pt x="7637" y="10740"/>
                      <a:pt x="7637" y="10740"/>
                      <a:pt x="7637" y="10740"/>
                    </a:cubicBezTo>
                    <a:cubicBezTo>
                      <a:pt x="8541" y="9100"/>
                      <a:pt x="8541" y="9100"/>
                      <a:pt x="8541" y="9100"/>
                    </a:cubicBezTo>
                    <a:cubicBezTo>
                      <a:pt x="8543" y="9009"/>
                      <a:pt x="8558" y="8258"/>
                      <a:pt x="8562" y="8208"/>
                    </a:cubicBezTo>
                    <a:cubicBezTo>
                      <a:pt x="8576" y="8075"/>
                      <a:pt x="8652" y="8000"/>
                      <a:pt x="8725" y="7965"/>
                    </a:cubicBezTo>
                    <a:close/>
                    <a:moveTo>
                      <a:pt x="9099" y="9364"/>
                    </a:moveTo>
                    <a:cubicBezTo>
                      <a:pt x="9105" y="9243"/>
                      <a:pt x="9135" y="8868"/>
                      <a:pt x="9138" y="8792"/>
                    </a:cubicBezTo>
                    <a:cubicBezTo>
                      <a:pt x="9136" y="8793"/>
                      <a:pt x="9136" y="8793"/>
                      <a:pt x="9136" y="8793"/>
                    </a:cubicBezTo>
                    <a:cubicBezTo>
                      <a:pt x="9134" y="8793"/>
                      <a:pt x="9134" y="8793"/>
                      <a:pt x="9134" y="8793"/>
                    </a:cubicBezTo>
                    <a:cubicBezTo>
                      <a:pt x="9133" y="8792"/>
                      <a:pt x="8999" y="8759"/>
                      <a:pt x="8863" y="8725"/>
                    </a:cubicBezTo>
                    <a:cubicBezTo>
                      <a:pt x="8765" y="8701"/>
                      <a:pt x="8665" y="8677"/>
                      <a:pt x="8616" y="8665"/>
                    </a:cubicBezTo>
                    <a:cubicBezTo>
                      <a:pt x="8612" y="8850"/>
                      <a:pt x="8608" y="9033"/>
                      <a:pt x="8607" y="9090"/>
                    </a:cubicBezTo>
                    <a:cubicBezTo>
                      <a:pt x="8643" y="9112"/>
                      <a:pt x="8734" y="9167"/>
                      <a:pt x="8838" y="9226"/>
                    </a:cubicBezTo>
                    <a:cubicBezTo>
                      <a:pt x="8926" y="9276"/>
                      <a:pt x="9023" y="9329"/>
                      <a:pt x="9099" y="9364"/>
                    </a:cubicBezTo>
                    <a:close/>
                    <a:moveTo>
                      <a:pt x="9674" y="9546"/>
                    </a:moveTo>
                    <a:cubicBezTo>
                      <a:pt x="9680" y="9522"/>
                      <a:pt x="9691" y="9477"/>
                      <a:pt x="9703" y="9419"/>
                    </a:cubicBezTo>
                    <a:cubicBezTo>
                      <a:pt x="9755" y="9184"/>
                      <a:pt x="9846" y="8744"/>
                      <a:pt x="9852" y="8714"/>
                    </a:cubicBezTo>
                    <a:cubicBezTo>
                      <a:pt x="9520" y="8609"/>
                      <a:pt x="9520" y="8609"/>
                      <a:pt x="9520" y="8609"/>
                    </a:cubicBezTo>
                    <a:cubicBezTo>
                      <a:pt x="9153" y="8785"/>
                      <a:pt x="9153" y="8785"/>
                      <a:pt x="9153" y="8785"/>
                    </a:cubicBezTo>
                    <a:cubicBezTo>
                      <a:pt x="9151" y="8843"/>
                      <a:pt x="9118" y="9253"/>
                      <a:pt x="9112" y="9370"/>
                    </a:cubicBezTo>
                    <a:cubicBezTo>
                      <a:pt x="9145" y="9385"/>
                      <a:pt x="9174" y="9397"/>
                      <a:pt x="9195" y="9403"/>
                    </a:cubicBezTo>
                    <a:cubicBezTo>
                      <a:pt x="9344" y="9446"/>
                      <a:pt x="9525" y="9486"/>
                      <a:pt x="9674" y="9546"/>
                    </a:cubicBezTo>
                    <a:close/>
                    <a:moveTo>
                      <a:pt x="9826" y="9700"/>
                    </a:moveTo>
                    <a:cubicBezTo>
                      <a:pt x="9826" y="9700"/>
                      <a:pt x="9826" y="9700"/>
                      <a:pt x="9826" y="9700"/>
                    </a:cubicBezTo>
                    <a:cubicBezTo>
                      <a:pt x="9822" y="9710"/>
                      <a:pt x="9822" y="9710"/>
                      <a:pt x="9822" y="9710"/>
                    </a:cubicBezTo>
                    <a:lnTo>
                      <a:pt x="9826" y="9700"/>
                    </a:lnTo>
                    <a:close/>
                    <a:moveTo>
                      <a:pt x="10417" y="9692"/>
                    </a:moveTo>
                    <a:cubicBezTo>
                      <a:pt x="10415" y="9691"/>
                      <a:pt x="10415" y="9691"/>
                      <a:pt x="10415" y="9691"/>
                    </a:cubicBezTo>
                    <a:cubicBezTo>
                      <a:pt x="10267" y="9462"/>
                      <a:pt x="10267" y="9462"/>
                      <a:pt x="10267" y="9462"/>
                    </a:cubicBezTo>
                    <a:cubicBezTo>
                      <a:pt x="10481" y="9178"/>
                      <a:pt x="10481" y="9178"/>
                      <a:pt x="10481" y="9178"/>
                    </a:cubicBezTo>
                    <a:cubicBezTo>
                      <a:pt x="10130" y="8802"/>
                      <a:pt x="10130" y="8802"/>
                      <a:pt x="10130" y="8802"/>
                    </a:cubicBezTo>
                    <a:cubicBezTo>
                      <a:pt x="9865" y="8718"/>
                      <a:pt x="9865" y="8718"/>
                      <a:pt x="9865" y="8718"/>
                    </a:cubicBezTo>
                    <a:cubicBezTo>
                      <a:pt x="9860" y="8744"/>
                      <a:pt x="9819" y="8942"/>
                      <a:pt x="9777" y="9141"/>
                    </a:cubicBezTo>
                    <a:cubicBezTo>
                      <a:pt x="9755" y="9247"/>
                      <a:pt x="9732" y="9354"/>
                      <a:pt x="9714" y="9434"/>
                    </a:cubicBezTo>
                    <a:cubicBezTo>
                      <a:pt x="9705" y="9474"/>
                      <a:pt x="9698" y="9508"/>
                      <a:pt x="9692" y="9531"/>
                    </a:cubicBezTo>
                    <a:cubicBezTo>
                      <a:pt x="9690" y="9539"/>
                      <a:pt x="9688" y="9545"/>
                      <a:pt x="9687" y="9551"/>
                    </a:cubicBezTo>
                    <a:cubicBezTo>
                      <a:pt x="9687" y="9551"/>
                      <a:pt x="9688" y="9551"/>
                      <a:pt x="9688" y="9551"/>
                    </a:cubicBezTo>
                    <a:cubicBezTo>
                      <a:pt x="9766" y="9584"/>
                      <a:pt x="9867" y="9646"/>
                      <a:pt x="9956" y="9708"/>
                    </a:cubicBezTo>
                    <a:cubicBezTo>
                      <a:pt x="10045" y="9772"/>
                      <a:pt x="10120" y="9832"/>
                      <a:pt x="10151" y="9872"/>
                    </a:cubicBezTo>
                    <a:cubicBezTo>
                      <a:pt x="10155" y="9878"/>
                      <a:pt x="10159" y="9884"/>
                      <a:pt x="10162" y="9892"/>
                    </a:cubicBezTo>
                    <a:cubicBezTo>
                      <a:pt x="10203" y="9859"/>
                      <a:pt x="10297" y="9786"/>
                      <a:pt x="10417" y="9692"/>
                    </a:cubicBezTo>
                    <a:close/>
                    <a:moveTo>
                      <a:pt x="10746" y="9435"/>
                    </a:moveTo>
                    <a:cubicBezTo>
                      <a:pt x="10785" y="9404"/>
                      <a:pt x="10824" y="9374"/>
                      <a:pt x="10863" y="9344"/>
                    </a:cubicBezTo>
                    <a:cubicBezTo>
                      <a:pt x="10493" y="9186"/>
                      <a:pt x="10493" y="9186"/>
                      <a:pt x="10493" y="9186"/>
                    </a:cubicBezTo>
                    <a:cubicBezTo>
                      <a:pt x="10284" y="9462"/>
                      <a:pt x="10284" y="9462"/>
                      <a:pt x="10284" y="9462"/>
                    </a:cubicBezTo>
                    <a:cubicBezTo>
                      <a:pt x="10426" y="9682"/>
                      <a:pt x="10426" y="9682"/>
                      <a:pt x="10426" y="9682"/>
                    </a:cubicBezTo>
                    <a:cubicBezTo>
                      <a:pt x="10428" y="9684"/>
                      <a:pt x="10428" y="9684"/>
                      <a:pt x="10428" y="9684"/>
                    </a:cubicBezTo>
                    <a:cubicBezTo>
                      <a:pt x="10524" y="9608"/>
                      <a:pt x="10635" y="9522"/>
                      <a:pt x="10746" y="9435"/>
                    </a:cubicBezTo>
                    <a:close/>
                    <a:moveTo>
                      <a:pt x="11530" y="9831"/>
                    </a:moveTo>
                    <a:cubicBezTo>
                      <a:pt x="11530" y="9812"/>
                      <a:pt x="11529" y="9793"/>
                      <a:pt x="11529" y="9785"/>
                    </a:cubicBezTo>
                    <a:cubicBezTo>
                      <a:pt x="10907" y="9366"/>
                      <a:pt x="10907" y="9366"/>
                      <a:pt x="10907" y="9366"/>
                    </a:cubicBezTo>
                    <a:cubicBezTo>
                      <a:pt x="10856" y="9406"/>
                      <a:pt x="10804" y="9446"/>
                      <a:pt x="10753" y="9487"/>
                    </a:cubicBezTo>
                    <a:cubicBezTo>
                      <a:pt x="10651" y="9566"/>
                      <a:pt x="10551" y="9645"/>
                      <a:pt x="10462" y="9714"/>
                    </a:cubicBezTo>
                    <a:cubicBezTo>
                      <a:pt x="10844" y="10051"/>
                      <a:pt x="10844" y="10051"/>
                      <a:pt x="10844" y="10051"/>
                    </a:cubicBezTo>
                    <a:cubicBezTo>
                      <a:pt x="11490" y="9904"/>
                      <a:pt x="11490" y="9904"/>
                      <a:pt x="11490" y="9904"/>
                    </a:cubicBezTo>
                    <a:cubicBezTo>
                      <a:pt x="11489" y="9886"/>
                      <a:pt x="11489" y="9869"/>
                      <a:pt x="11488" y="9854"/>
                    </a:cubicBezTo>
                    <a:cubicBezTo>
                      <a:pt x="11530" y="9854"/>
                      <a:pt x="11530" y="9854"/>
                      <a:pt x="11530" y="9854"/>
                    </a:cubicBezTo>
                    <a:cubicBezTo>
                      <a:pt x="11530" y="9847"/>
                      <a:pt x="11530" y="9839"/>
                      <a:pt x="11530" y="9831"/>
                    </a:cubicBezTo>
                    <a:close/>
                    <a:moveTo>
                      <a:pt x="11537" y="9774"/>
                    </a:moveTo>
                    <a:cubicBezTo>
                      <a:pt x="11552" y="9768"/>
                      <a:pt x="11617" y="9743"/>
                      <a:pt x="11683" y="9717"/>
                    </a:cubicBezTo>
                    <a:cubicBezTo>
                      <a:pt x="11720" y="9702"/>
                      <a:pt x="11758" y="9687"/>
                      <a:pt x="11787" y="9676"/>
                    </a:cubicBezTo>
                    <a:cubicBezTo>
                      <a:pt x="11796" y="9673"/>
                      <a:pt x="11803" y="9670"/>
                      <a:pt x="11810" y="9667"/>
                    </a:cubicBezTo>
                    <a:cubicBezTo>
                      <a:pt x="11690" y="9386"/>
                      <a:pt x="11690" y="9386"/>
                      <a:pt x="11690" y="9386"/>
                    </a:cubicBezTo>
                    <a:cubicBezTo>
                      <a:pt x="11690" y="9387"/>
                      <a:pt x="11689" y="9384"/>
                      <a:pt x="11686" y="9378"/>
                    </a:cubicBezTo>
                    <a:cubicBezTo>
                      <a:pt x="11667" y="9340"/>
                      <a:pt x="11576" y="9178"/>
                      <a:pt x="11366" y="9011"/>
                    </a:cubicBezTo>
                    <a:cubicBezTo>
                      <a:pt x="11302" y="9059"/>
                      <a:pt x="11121" y="9199"/>
                      <a:pt x="10918" y="9357"/>
                    </a:cubicBezTo>
                    <a:lnTo>
                      <a:pt x="11537" y="9774"/>
                    </a:lnTo>
                    <a:close/>
                    <a:moveTo>
                      <a:pt x="11816" y="9680"/>
                    </a:moveTo>
                    <a:cubicBezTo>
                      <a:pt x="11809" y="9682"/>
                      <a:pt x="11801" y="9685"/>
                      <a:pt x="11792" y="9689"/>
                    </a:cubicBezTo>
                    <a:cubicBezTo>
                      <a:pt x="11714" y="9720"/>
                      <a:pt x="11571" y="9775"/>
                      <a:pt x="11543" y="9786"/>
                    </a:cubicBezTo>
                    <a:cubicBezTo>
                      <a:pt x="11543" y="9795"/>
                      <a:pt x="11544" y="9813"/>
                      <a:pt x="11544" y="9831"/>
                    </a:cubicBezTo>
                    <a:cubicBezTo>
                      <a:pt x="11544" y="9839"/>
                      <a:pt x="11544" y="9846"/>
                      <a:pt x="11544" y="9854"/>
                    </a:cubicBezTo>
                    <a:cubicBezTo>
                      <a:pt x="11554" y="9853"/>
                      <a:pt x="11554" y="9853"/>
                      <a:pt x="11554" y="9853"/>
                    </a:cubicBezTo>
                    <a:cubicBezTo>
                      <a:pt x="11556" y="9945"/>
                      <a:pt x="11565" y="10079"/>
                      <a:pt x="11584" y="10222"/>
                    </a:cubicBezTo>
                    <a:cubicBezTo>
                      <a:pt x="11603" y="10371"/>
                      <a:pt x="11636" y="10532"/>
                      <a:pt x="11680" y="10615"/>
                    </a:cubicBezTo>
                    <a:cubicBezTo>
                      <a:pt x="11724" y="10701"/>
                      <a:pt x="11761" y="10755"/>
                      <a:pt x="11787" y="10789"/>
                    </a:cubicBezTo>
                    <a:cubicBezTo>
                      <a:pt x="12099" y="10341"/>
                      <a:pt x="12099" y="10341"/>
                      <a:pt x="12099" y="10341"/>
                    </a:cubicBezTo>
                    <a:lnTo>
                      <a:pt x="11816" y="9680"/>
                    </a:lnTo>
                    <a:close/>
                    <a:moveTo>
                      <a:pt x="13671" y="8034"/>
                    </a:moveTo>
                    <a:cubicBezTo>
                      <a:pt x="13755" y="7502"/>
                      <a:pt x="14120" y="5294"/>
                      <a:pt x="14181" y="4925"/>
                    </a:cubicBezTo>
                    <a:cubicBezTo>
                      <a:pt x="11731" y="5611"/>
                      <a:pt x="11731" y="5611"/>
                      <a:pt x="11731" y="5611"/>
                    </a:cubicBezTo>
                    <a:cubicBezTo>
                      <a:pt x="11781" y="5666"/>
                      <a:pt x="11851" y="5737"/>
                      <a:pt x="11913" y="5798"/>
                    </a:cubicBezTo>
                    <a:cubicBezTo>
                      <a:pt x="11979" y="5863"/>
                      <a:pt x="12036" y="5917"/>
                      <a:pt x="12048" y="5928"/>
                    </a:cubicBezTo>
                    <a:cubicBezTo>
                      <a:pt x="12069" y="5942"/>
                      <a:pt x="12210" y="6030"/>
                      <a:pt x="12363" y="6123"/>
                    </a:cubicBezTo>
                    <a:cubicBezTo>
                      <a:pt x="12528" y="6224"/>
                      <a:pt x="12710" y="6332"/>
                      <a:pt x="12759" y="6354"/>
                    </a:cubicBezTo>
                    <a:cubicBezTo>
                      <a:pt x="12836" y="6386"/>
                      <a:pt x="12863" y="6434"/>
                      <a:pt x="12862" y="6470"/>
                    </a:cubicBezTo>
                    <a:cubicBezTo>
                      <a:pt x="12862" y="6485"/>
                      <a:pt x="12858" y="6496"/>
                      <a:pt x="12855" y="6501"/>
                    </a:cubicBezTo>
                    <a:cubicBezTo>
                      <a:pt x="12785" y="6705"/>
                      <a:pt x="12785" y="6705"/>
                      <a:pt x="12785" y="6705"/>
                    </a:cubicBezTo>
                    <a:cubicBezTo>
                      <a:pt x="12601" y="6986"/>
                      <a:pt x="12601" y="6986"/>
                      <a:pt x="12601" y="6986"/>
                    </a:cubicBezTo>
                    <a:cubicBezTo>
                      <a:pt x="12657" y="7240"/>
                      <a:pt x="12657" y="7240"/>
                      <a:pt x="12657" y="7240"/>
                    </a:cubicBezTo>
                    <a:cubicBezTo>
                      <a:pt x="12609" y="7231"/>
                      <a:pt x="12609" y="7231"/>
                      <a:pt x="12609" y="7231"/>
                    </a:cubicBezTo>
                    <a:cubicBezTo>
                      <a:pt x="12608" y="7231"/>
                      <a:pt x="12460" y="7204"/>
                      <a:pt x="12286" y="7173"/>
                    </a:cubicBezTo>
                    <a:cubicBezTo>
                      <a:pt x="12112" y="7141"/>
                      <a:pt x="11912" y="7106"/>
                      <a:pt x="11812" y="7091"/>
                    </a:cubicBezTo>
                    <a:cubicBezTo>
                      <a:pt x="11803" y="7090"/>
                      <a:pt x="11795" y="7089"/>
                      <a:pt x="11787" y="7089"/>
                    </a:cubicBezTo>
                    <a:cubicBezTo>
                      <a:pt x="11752" y="7089"/>
                      <a:pt x="11728" y="7101"/>
                      <a:pt x="11707" y="7119"/>
                    </a:cubicBezTo>
                    <a:cubicBezTo>
                      <a:pt x="11677" y="7147"/>
                      <a:pt x="11657" y="7193"/>
                      <a:pt x="11647" y="7234"/>
                    </a:cubicBezTo>
                    <a:cubicBezTo>
                      <a:pt x="11642" y="7254"/>
                      <a:pt x="11639" y="7272"/>
                      <a:pt x="11637" y="7285"/>
                    </a:cubicBezTo>
                    <a:cubicBezTo>
                      <a:pt x="11636" y="7295"/>
                      <a:pt x="11635" y="7302"/>
                      <a:pt x="11635" y="7304"/>
                    </a:cubicBezTo>
                    <a:cubicBezTo>
                      <a:pt x="11656" y="7677"/>
                      <a:pt x="11656" y="7677"/>
                      <a:pt x="11656" y="7677"/>
                    </a:cubicBezTo>
                    <a:cubicBezTo>
                      <a:pt x="11837" y="7764"/>
                      <a:pt x="11891" y="7897"/>
                      <a:pt x="11889" y="8003"/>
                    </a:cubicBezTo>
                    <a:cubicBezTo>
                      <a:pt x="11889" y="8106"/>
                      <a:pt x="11846" y="8183"/>
                      <a:pt x="11841" y="8192"/>
                    </a:cubicBezTo>
                    <a:cubicBezTo>
                      <a:pt x="11431" y="8979"/>
                      <a:pt x="11431" y="8979"/>
                      <a:pt x="11431" y="8979"/>
                    </a:cubicBezTo>
                    <a:cubicBezTo>
                      <a:pt x="11666" y="9174"/>
                      <a:pt x="11749" y="9357"/>
                      <a:pt x="11750" y="9360"/>
                    </a:cubicBezTo>
                    <a:cubicBezTo>
                      <a:pt x="11801" y="9479"/>
                      <a:pt x="11801" y="9479"/>
                      <a:pt x="11801" y="9479"/>
                    </a:cubicBezTo>
                    <a:cubicBezTo>
                      <a:pt x="11828" y="9469"/>
                      <a:pt x="11916" y="9435"/>
                      <a:pt x="12015" y="9396"/>
                    </a:cubicBezTo>
                    <a:cubicBezTo>
                      <a:pt x="12134" y="9349"/>
                      <a:pt x="12270" y="9294"/>
                      <a:pt x="12328" y="9265"/>
                    </a:cubicBezTo>
                    <a:cubicBezTo>
                      <a:pt x="12386" y="9236"/>
                      <a:pt x="12419" y="9218"/>
                      <a:pt x="12434" y="9200"/>
                    </a:cubicBezTo>
                    <a:cubicBezTo>
                      <a:pt x="12448" y="9183"/>
                      <a:pt x="12455" y="9162"/>
                      <a:pt x="12455" y="9106"/>
                    </a:cubicBezTo>
                    <a:cubicBezTo>
                      <a:pt x="12455" y="9098"/>
                      <a:pt x="12455" y="9089"/>
                      <a:pt x="12455" y="9080"/>
                    </a:cubicBezTo>
                    <a:cubicBezTo>
                      <a:pt x="12455" y="9078"/>
                      <a:pt x="12455" y="9075"/>
                      <a:pt x="12455" y="9073"/>
                    </a:cubicBezTo>
                    <a:cubicBezTo>
                      <a:pt x="12454" y="8993"/>
                      <a:pt x="12498" y="8940"/>
                      <a:pt x="12539" y="8913"/>
                    </a:cubicBezTo>
                    <a:cubicBezTo>
                      <a:pt x="12580" y="8885"/>
                      <a:pt x="12619" y="8877"/>
                      <a:pt x="12621" y="8876"/>
                    </a:cubicBezTo>
                    <a:cubicBezTo>
                      <a:pt x="12624" y="8876"/>
                      <a:pt x="12624" y="8876"/>
                      <a:pt x="12624" y="8876"/>
                    </a:cubicBezTo>
                    <a:cubicBezTo>
                      <a:pt x="13631" y="8842"/>
                      <a:pt x="13631" y="8842"/>
                      <a:pt x="13631" y="8842"/>
                    </a:cubicBezTo>
                    <a:cubicBezTo>
                      <a:pt x="13626" y="8816"/>
                      <a:pt x="13616" y="8749"/>
                      <a:pt x="13616" y="8629"/>
                    </a:cubicBezTo>
                    <a:cubicBezTo>
                      <a:pt x="13616" y="8499"/>
                      <a:pt x="13627" y="8306"/>
                      <a:pt x="13671" y="8034"/>
                    </a:cubicBezTo>
                    <a:close/>
                    <a:moveTo>
                      <a:pt x="13707" y="8851"/>
                    </a:moveTo>
                    <a:cubicBezTo>
                      <a:pt x="13683" y="8852"/>
                      <a:pt x="13683" y="8852"/>
                      <a:pt x="13683" y="8852"/>
                    </a:cubicBezTo>
                    <a:cubicBezTo>
                      <a:pt x="13685" y="8906"/>
                      <a:pt x="13685" y="8906"/>
                      <a:pt x="13685" y="8906"/>
                    </a:cubicBezTo>
                    <a:cubicBezTo>
                      <a:pt x="13679" y="8906"/>
                      <a:pt x="13679" y="8906"/>
                      <a:pt x="13679" y="8906"/>
                    </a:cubicBezTo>
                    <a:cubicBezTo>
                      <a:pt x="13679" y="8906"/>
                      <a:pt x="13680" y="8907"/>
                      <a:pt x="13680" y="8907"/>
                    </a:cubicBezTo>
                    <a:cubicBezTo>
                      <a:pt x="13694" y="8912"/>
                      <a:pt x="13703" y="8912"/>
                      <a:pt x="13706" y="8912"/>
                    </a:cubicBezTo>
                    <a:cubicBezTo>
                      <a:pt x="13707" y="8912"/>
                      <a:pt x="13707" y="8912"/>
                      <a:pt x="13707" y="8912"/>
                    </a:cubicBezTo>
                    <a:lnTo>
                      <a:pt x="13707" y="8851"/>
                    </a:lnTo>
                    <a:close/>
                    <a:moveTo>
                      <a:pt x="13750" y="8899"/>
                    </a:moveTo>
                    <a:cubicBezTo>
                      <a:pt x="13718" y="8851"/>
                      <a:pt x="13718" y="8851"/>
                      <a:pt x="13718" y="8851"/>
                    </a:cubicBezTo>
                    <a:cubicBezTo>
                      <a:pt x="13718" y="8851"/>
                      <a:pt x="13718" y="8851"/>
                      <a:pt x="13718" y="8851"/>
                    </a:cubicBezTo>
                    <a:lnTo>
                      <a:pt x="13750" y="8899"/>
                    </a:lnTo>
                    <a:close/>
                    <a:moveTo>
                      <a:pt x="15332" y="6264"/>
                    </a:moveTo>
                    <a:cubicBezTo>
                      <a:pt x="15225" y="6404"/>
                      <a:pt x="15057" y="6627"/>
                      <a:pt x="15002" y="6731"/>
                    </a:cubicBezTo>
                    <a:cubicBezTo>
                      <a:pt x="15000" y="6734"/>
                      <a:pt x="15000" y="6734"/>
                      <a:pt x="15000" y="6734"/>
                    </a:cubicBezTo>
                    <a:cubicBezTo>
                      <a:pt x="14997" y="6737"/>
                      <a:pt x="14997" y="6737"/>
                      <a:pt x="14997" y="6737"/>
                    </a:cubicBezTo>
                    <a:cubicBezTo>
                      <a:pt x="14997" y="6737"/>
                      <a:pt x="14997" y="6737"/>
                      <a:pt x="14997" y="6737"/>
                    </a:cubicBezTo>
                    <a:cubicBezTo>
                      <a:pt x="14993" y="6742"/>
                      <a:pt x="14917" y="6837"/>
                      <a:pt x="14875" y="7164"/>
                    </a:cubicBezTo>
                    <a:cubicBezTo>
                      <a:pt x="14852" y="7340"/>
                      <a:pt x="14832" y="7548"/>
                      <a:pt x="14818" y="7712"/>
                    </a:cubicBezTo>
                    <a:cubicBezTo>
                      <a:pt x="14804" y="7876"/>
                      <a:pt x="14796" y="7995"/>
                      <a:pt x="14796" y="7996"/>
                    </a:cubicBezTo>
                    <a:cubicBezTo>
                      <a:pt x="14796" y="7997"/>
                      <a:pt x="14796" y="7997"/>
                      <a:pt x="14796" y="7997"/>
                    </a:cubicBezTo>
                    <a:cubicBezTo>
                      <a:pt x="14796" y="7998"/>
                      <a:pt x="14796" y="7998"/>
                      <a:pt x="14796" y="7998"/>
                    </a:cubicBezTo>
                    <a:cubicBezTo>
                      <a:pt x="14796" y="8000"/>
                      <a:pt x="14766" y="8232"/>
                      <a:pt x="14626" y="8487"/>
                    </a:cubicBezTo>
                    <a:cubicBezTo>
                      <a:pt x="14558" y="8609"/>
                      <a:pt x="14540" y="8766"/>
                      <a:pt x="14540" y="8887"/>
                    </a:cubicBezTo>
                    <a:cubicBezTo>
                      <a:pt x="14540" y="8942"/>
                      <a:pt x="14544" y="8990"/>
                      <a:pt x="14547" y="9024"/>
                    </a:cubicBezTo>
                    <a:cubicBezTo>
                      <a:pt x="14549" y="9039"/>
                      <a:pt x="14550" y="9051"/>
                      <a:pt x="14552" y="9060"/>
                    </a:cubicBezTo>
                    <a:cubicBezTo>
                      <a:pt x="15369" y="9047"/>
                      <a:pt x="16559" y="9029"/>
                      <a:pt x="16677" y="9029"/>
                    </a:cubicBezTo>
                    <a:cubicBezTo>
                      <a:pt x="16684" y="9029"/>
                      <a:pt x="16684" y="9029"/>
                      <a:pt x="16684" y="9029"/>
                    </a:cubicBezTo>
                    <a:cubicBezTo>
                      <a:pt x="16685" y="9029"/>
                      <a:pt x="16686" y="9029"/>
                      <a:pt x="16687" y="9029"/>
                    </a:cubicBezTo>
                    <a:cubicBezTo>
                      <a:pt x="16687" y="9029"/>
                      <a:pt x="16688" y="9030"/>
                      <a:pt x="16689" y="9030"/>
                    </a:cubicBezTo>
                    <a:cubicBezTo>
                      <a:pt x="16689" y="9030"/>
                      <a:pt x="16690" y="9030"/>
                      <a:pt x="16690" y="9030"/>
                    </a:cubicBezTo>
                    <a:cubicBezTo>
                      <a:pt x="16694" y="9030"/>
                      <a:pt x="16700" y="9030"/>
                      <a:pt x="16708" y="9030"/>
                    </a:cubicBezTo>
                    <a:cubicBezTo>
                      <a:pt x="16760" y="9030"/>
                      <a:pt x="16896" y="9033"/>
                      <a:pt x="17066" y="9078"/>
                    </a:cubicBezTo>
                    <a:cubicBezTo>
                      <a:pt x="17067" y="9076"/>
                      <a:pt x="17067" y="9076"/>
                      <a:pt x="17068" y="9074"/>
                    </a:cubicBezTo>
                    <a:cubicBezTo>
                      <a:pt x="17104" y="9012"/>
                      <a:pt x="17254" y="8734"/>
                      <a:pt x="17254" y="8352"/>
                    </a:cubicBezTo>
                    <a:cubicBezTo>
                      <a:pt x="17254" y="8215"/>
                      <a:pt x="17235" y="8065"/>
                      <a:pt x="17184" y="7906"/>
                    </a:cubicBezTo>
                    <a:cubicBezTo>
                      <a:pt x="17184" y="7904"/>
                      <a:pt x="17184" y="7904"/>
                      <a:pt x="17184" y="7904"/>
                    </a:cubicBezTo>
                    <a:cubicBezTo>
                      <a:pt x="17183" y="7902"/>
                      <a:pt x="17183" y="7902"/>
                      <a:pt x="17183" y="7902"/>
                    </a:cubicBezTo>
                    <a:cubicBezTo>
                      <a:pt x="17183" y="7902"/>
                      <a:pt x="17181" y="7891"/>
                      <a:pt x="17176" y="7870"/>
                    </a:cubicBezTo>
                    <a:cubicBezTo>
                      <a:pt x="17143" y="7721"/>
                      <a:pt x="16972" y="7086"/>
                      <a:pt x="16463" y="6585"/>
                    </a:cubicBezTo>
                    <a:cubicBezTo>
                      <a:pt x="16111" y="6237"/>
                      <a:pt x="15671" y="6097"/>
                      <a:pt x="15476" y="6049"/>
                    </a:cubicBezTo>
                    <a:cubicBezTo>
                      <a:pt x="15475" y="6053"/>
                      <a:pt x="15473" y="6056"/>
                      <a:pt x="15472" y="6059"/>
                    </a:cubicBezTo>
                    <a:cubicBezTo>
                      <a:pt x="15469" y="6067"/>
                      <a:pt x="15466" y="6072"/>
                      <a:pt x="15461" y="6079"/>
                    </a:cubicBezTo>
                    <a:cubicBezTo>
                      <a:pt x="15459" y="6081"/>
                      <a:pt x="15456" y="6083"/>
                      <a:pt x="15453" y="6085"/>
                    </a:cubicBezTo>
                    <a:cubicBezTo>
                      <a:pt x="15440" y="6110"/>
                      <a:pt x="15403" y="6173"/>
                      <a:pt x="15332" y="6264"/>
                    </a:cubicBezTo>
                    <a:close/>
                    <a:moveTo>
                      <a:pt x="14192" y="5794"/>
                    </a:moveTo>
                    <a:cubicBezTo>
                      <a:pt x="14060" y="6598"/>
                      <a:pt x="13877" y="7703"/>
                      <a:pt x="13821" y="8058"/>
                    </a:cubicBezTo>
                    <a:cubicBezTo>
                      <a:pt x="13779" y="8323"/>
                      <a:pt x="13768" y="8508"/>
                      <a:pt x="13768" y="8629"/>
                    </a:cubicBezTo>
                    <a:cubicBezTo>
                      <a:pt x="13768" y="8699"/>
                      <a:pt x="13772" y="8748"/>
                      <a:pt x="13775" y="8778"/>
                    </a:cubicBezTo>
                    <a:cubicBezTo>
                      <a:pt x="13777" y="8793"/>
                      <a:pt x="13779" y="8804"/>
                      <a:pt x="13780" y="8810"/>
                    </a:cubicBezTo>
                    <a:cubicBezTo>
                      <a:pt x="13780" y="8813"/>
                      <a:pt x="13781" y="8815"/>
                      <a:pt x="13781" y="8816"/>
                    </a:cubicBezTo>
                    <a:cubicBezTo>
                      <a:pt x="13781" y="8817"/>
                      <a:pt x="13781" y="8817"/>
                      <a:pt x="13781" y="8817"/>
                    </a:cubicBezTo>
                    <a:cubicBezTo>
                      <a:pt x="13782" y="8820"/>
                      <a:pt x="13783" y="8824"/>
                      <a:pt x="13783" y="8827"/>
                    </a:cubicBezTo>
                    <a:cubicBezTo>
                      <a:pt x="13784" y="8833"/>
                      <a:pt x="13784" y="8837"/>
                      <a:pt x="13783" y="8841"/>
                    </a:cubicBezTo>
                    <a:cubicBezTo>
                      <a:pt x="13784" y="8846"/>
                      <a:pt x="13784" y="8858"/>
                      <a:pt x="13785" y="8872"/>
                    </a:cubicBezTo>
                    <a:cubicBezTo>
                      <a:pt x="13788" y="8913"/>
                      <a:pt x="13794" y="8982"/>
                      <a:pt x="13802" y="9072"/>
                    </a:cubicBezTo>
                    <a:cubicBezTo>
                      <a:pt x="13875" y="9071"/>
                      <a:pt x="14141" y="9066"/>
                      <a:pt x="14486" y="9061"/>
                    </a:cubicBezTo>
                    <a:cubicBezTo>
                      <a:pt x="14481" y="9028"/>
                      <a:pt x="14475" y="8965"/>
                      <a:pt x="14475" y="8887"/>
                    </a:cubicBezTo>
                    <a:cubicBezTo>
                      <a:pt x="14475" y="8760"/>
                      <a:pt x="14492" y="8594"/>
                      <a:pt x="14568" y="8455"/>
                    </a:cubicBezTo>
                    <a:cubicBezTo>
                      <a:pt x="14635" y="8333"/>
                      <a:pt x="14676" y="8216"/>
                      <a:pt x="14700" y="8130"/>
                    </a:cubicBezTo>
                    <a:cubicBezTo>
                      <a:pt x="14712" y="8087"/>
                      <a:pt x="14720" y="8051"/>
                      <a:pt x="14725" y="8027"/>
                    </a:cubicBezTo>
                    <a:cubicBezTo>
                      <a:pt x="14729" y="8005"/>
                      <a:pt x="14731" y="7992"/>
                      <a:pt x="14731" y="7990"/>
                    </a:cubicBezTo>
                    <a:cubicBezTo>
                      <a:pt x="14733" y="7961"/>
                      <a:pt x="14765" y="7499"/>
                      <a:pt x="14810" y="7156"/>
                    </a:cubicBezTo>
                    <a:cubicBezTo>
                      <a:pt x="14852" y="6829"/>
                      <a:pt x="14928" y="6718"/>
                      <a:pt x="14945" y="6697"/>
                    </a:cubicBezTo>
                    <a:cubicBezTo>
                      <a:pt x="15008" y="6582"/>
                      <a:pt x="15173" y="6365"/>
                      <a:pt x="15280" y="6224"/>
                    </a:cubicBezTo>
                    <a:cubicBezTo>
                      <a:pt x="15325" y="6166"/>
                      <a:pt x="15355" y="6121"/>
                      <a:pt x="15374" y="6090"/>
                    </a:cubicBezTo>
                    <a:cubicBezTo>
                      <a:pt x="15384" y="6074"/>
                      <a:pt x="15391" y="6063"/>
                      <a:pt x="15395" y="6055"/>
                    </a:cubicBezTo>
                    <a:cubicBezTo>
                      <a:pt x="15399" y="6047"/>
                      <a:pt x="15401" y="6044"/>
                      <a:pt x="15401" y="6044"/>
                    </a:cubicBezTo>
                    <a:cubicBezTo>
                      <a:pt x="15407" y="6033"/>
                      <a:pt x="15407" y="6033"/>
                      <a:pt x="15407" y="6033"/>
                    </a:cubicBezTo>
                    <a:cubicBezTo>
                      <a:pt x="15397" y="6031"/>
                      <a:pt x="15390" y="6029"/>
                      <a:pt x="15385" y="6028"/>
                    </a:cubicBezTo>
                    <a:lnTo>
                      <a:pt x="14192" y="5794"/>
                    </a:lnTo>
                    <a:close/>
                    <a:moveTo>
                      <a:pt x="12697" y="3742"/>
                    </a:moveTo>
                    <a:cubicBezTo>
                      <a:pt x="12684" y="3755"/>
                      <a:pt x="12550" y="3888"/>
                      <a:pt x="12405" y="4030"/>
                    </a:cubicBezTo>
                    <a:cubicBezTo>
                      <a:pt x="12386" y="4048"/>
                      <a:pt x="12368" y="4065"/>
                      <a:pt x="12350" y="4083"/>
                    </a:cubicBezTo>
                    <a:cubicBezTo>
                      <a:pt x="12400" y="4151"/>
                      <a:pt x="12533" y="4357"/>
                      <a:pt x="12533" y="4358"/>
                    </a:cubicBezTo>
                    <a:cubicBezTo>
                      <a:pt x="12535" y="4361"/>
                      <a:pt x="12535" y="4361"/>
                      <a:pt x="12535" y="4361"/>
                    </a:cubicBezTo>
                    <a:cubicBezTo>
                      <a:pt x="12475" y="4509"/>
                      <a:pt x="12475" y="4509"/>
                      <a:pt x="12475" y="4509"/>
                    </a:cubicBezTo>
                    <a:cubicBezTo>
                      <a:pt x="12475" y="4509"/>
                      <a:pt x="12475" y="4509"/>
                      <a:pt x="12475" y="4509"/>
                    </a:cubicBezTo>
                    <a:cubicBezTo>
                      <a:pt x="12475" y="4510"/>
                      <a:pt x="12475" y="4510"/>
                      <a:pt x="12475" y="4510"/>
                    </a:cubicBezTo>
                    <a:cubicBezTo>
                      <a:pt x="12419" y="4649"/>
                      <a:pt x="12419" y="4649"/>
                      <a:pt x="12419" y="4649"/>
                    </a:cubicBezTo>
                    <a:cubicBezTo>
                      <a:pt x="12090" y="4846"/>
                      <a:pt x="12090" y="4846"/>
                      <a:pt x="12090" y="4846"/>
                    </a:cubicBezTo>
                    <a:cubicBezTo>
                      <a:pt x="12137" y="4944"/>
                      <a:pt x="12184" y="5042"/>
                      <a:pt x="12219" y="5117"/>
                    </a:cubicBezTo>
                    <a:cubicBezTo>
                      <a:pt x="12238" y="5155"/>
                      <a:pt x="12254" y="5187"/>
                      <a:pt x="12265" y="5209"/>
                    </a:cubicBezTo>
                    <a:cubicBezTo>
                      <a:pt x="12269" y="5218"/>
                      <a:pt x="12292" y="5269"/>
                      <a:pt x="12295" y="5275"/>
                    </a:cubicBezTo>
                    <a:cubicBezTo>
                      <a:pt x="12234" y="5299"/>
                      <a:pt x="12234" y="5299"/>
                      <a:pt x="12234" y="5299"/>
                    </a:cubicBezTo>
                    <a:cubicBezTo>
                      <a:pt x="12204" y="5240"/>
                      <a:pt x="12109" y="5040"/>
                      <a:pt x="12029" y="4872"/>
                    </a:cubicBezTo>
                    <a:cubicBezTo>
                      <a:pt x="11039" y="5187"/>
                      <a:pt x="11039" y="5187"/>
                      <a:pt x="11039" y="5187"/>
                    </a:cubicBezTo>
                    <a:cubicBezTo>
                      <a:pt x="11176" y="5580"/>
                      <a:pt x="11176" y="5580"/>
                      <a:pt x="11176" y="5580"/>
                    </a:cubicBezTo>
                    <a:cubicBezTo>
                      <a:pt x="11182" y="5595"/>
                      <a:pt x="11182" y="5595"/>
                      <a:pt x="11182" y="5595"/>
                    </a:cubicBezTo>
                    <a:cubicBezTo>
                      <a:pt x="11125" y="5615"/>
                      <a:pt x="11125" y="5615"/>
                      <a:pt x="11125" y="5615"/>
                    </a:cubicBezTo>
                    <a:cubicBezTo>
                      <a:pt x="11125" y="5615"/>
                      <a:pt x="11125" y="5615"/>
                      <a:pt x="11125" y="5615"/>
                    </a:cubicBezTo>
                    <a:cubicBezTo>
                      <a:pt x="11125" y="5615"/>
                      <a:pt x="10992" y="5658"/>
                      <a:pt x="10792" y="5722"/>
                    </a:cubicBezTo>
                    <a:cubicBezTo>
                      <a:pt x="10737" y="5740"/>
                      <a:pt x="10675" y="5760"/>
                      <a:pt x="10611" y="5781"/>
                    </a:cubicBezTo>
                    <a:cubicBezTo>
                      <a:pt x="10611" y="5783"/>
                      <a:pt x="10612" y="5785"/>
                      <a:pt x="10612" y="5785"/>
                    </a:cubicBezTo>
                    <a:cubicBezTo>
                      <a:pt x="10599" y="5789"/>
                      <a:pt x="10599" y="5789"/>
                      <a:pt x="10599" y="5789"/>
                    </a:cubicBezTo>
                    <a:cubicBezTo>
                      <a:pt x="10599" y="5789"/>
                      <a:pt x="10599" y="5789"/>
                      <a:pt x="10599" y="5789"/>
                    </a:cubicBezTo>
                    <a:cubicBezTo>
                      <a:pt x="10599" y="5789"/>
                      <a:pt x="10598" y="5788"/>
                      <a:pt x="10597" y="5785"/>
                    </a:cubicBezTo>
                    <a:cubicBezTo>
                      <a:pt x="10317" y="5875"/>
                      <a:pt x="9970" y="5987"/>
                      <a:pt x="9670" y="6084"/>
                    </a:cubicBezTo>
                    <a:cubicBezTo>
                      <a:pt x="9483" y="6144"/>
                      <a:pt x="9315" y="6199"/>
                      <a:pt x="9193" y="6239"/>
                    </a:cubicBezTo>
                    <a:cubicBezTo>
                      <a:pt x="9133" y="6259"/>
                      <a:pt x="9084" y="6275"/>
                      <a:pt x="9050" y="6286"/>
                    </a:cubicBezTo>
                    <a:cubicBezTo>
                      <a:pt x="9033" y="6292"/>
                      <a:pt x="9020" y="6297"/>
                      <a:pt x="9011" y="6300"/>
                    </a:cubicBezTo>
                    <a:cubicBezTo>
                      <a:pt x="9006" y="6301"/>
                      <a:pt x="9003" y="6302"/>
                      <a:pt x="9001" y="6303"/>
                    </a:cubicBezTo>
                    <a:cubicBezTo>
                      <a:pt x="9000" y="6304"/>
                      <a:pt x="9000" y="6305"/>
                      <a:pt x="8996" y="6305"/>
                    </a:cubicBezTo>
                    <a:cubicBezTo>
                      <a:pt x="8994" y="6305"/>
                      <a:pt x="8994" y="6305"/>
                      <a:pt x="8993" y="6305"/>
                    </a:cubicBezTo>
                    <a:cubicBezTo>
                      <a:pt x="8988" y="6303"/>
                      <a:pt x="8988" y="6303"/>
                      <a:pt x="8988" y="6303"/>
                    </a:cubicBezTo>
                    <a:cubicBezTo>
                      <a:pt x="8988" y="6302"/>
                      <a:pt x="8988" y="6302"/>
                      <a:pt x="8988" y="6302"/>
                    </a:cubicBezTo>
                    <a:cubicBezTo>
                      <a:pt x="8973" y="6296"/>
                      <a:pt x="8928" y="6277"/>
                      <a:pt x="8928" y="6277"/>
                    </a:cubicBezTo>
                    <a:cubicBezTo>
                      <a:pt x="8921" y="6274"/>
                      <a:pt x="8921" y="6274"/>
                      <a:pt x="8921" y="6274"/>
                    </a:cubicBezTo>
                    <a:cubicBezTo>
                      <a:pt x="8924" y="6268"/>
                      <a:pt x="8924" y="6268"/>
                      <a:pt x="8924" y="6268"/>
                    </a:cubicBezTo>
                    <a:cubicBezTo>
                      <a:pt x="8924" y="6268"/>
                      <a:pt x="9001" y="6103"/>
                      <a:pt x="9080" y="5938"/>
                    </a:cubicBezTo>
                    <a:cubicBezTo>
                      <a:pt x="9119" y="5856"/>
                      <a:pt x="9158" y="5773"/>
                      <a:pt x="9189" y="5711"/>
                    </a:cubicBezTo>
                    <a:cubicBezTo>
                      <a:pt x="9204" y="5680"/>
                      <a:pt x="9217" y="5655"/>
                      <a:pt x="9227" y="5637"/>
                    </a:cubicBezTo>
                    <a:cubicBezTo>
                      <a:pt x="9232" y="5627"/>
                      <a:pt x="9236" y="5620"/>
                      <a:pt x="9239" y="5615"/>
                    </a:cubicBezTo>
                    <a:cubicBezTo>
                      <a:pt x="9240" y="5613"/>
                      <a:pt x="9242" y="5611"/>
                      <a:pt x="9243" y="5609"/>
                    </a:cubicBezTo>
                    <a:cubicBezTo>
                      <a:pt x="9244" y="5608"/>
                      <a:pt x="9244" y="5607"/>
                      <a:pt x="9247" y="5605"/>
                    </a:cubicBezTo>
                    <a:cubicBezTo>
                      <a:pt x="9249" y="5603"/>
                      <a:pt x="9255" y="5591"/>
                      <a:pt x="9262" y="5577"/>
                    </a:cubicBezTo>
                    <a:cubicBezTo>
                      <a:pt x="9293" y="5514"/>
                      <a:pt x="9357" y="5370"/>
                      <a:pt x="9413" y="5241"/>
                    </a:cubicBezTo>
                    <a:cubicBezTo>
                      <a:pt x="9439" y="5181"/>
                      <a:pt x="9464" y="5125"/>
                      <a:pt x="9482" y="5082"/>
                    </a:cubicBezTo>
                    <a:cubicBezTo>
                      <a:pt x="9481" y="5078"/>
                      <a:pt x="9481" y="5078"/>
                      <a:pt x="9481" y="5078"/>
                    </a:cubicBezTo>
                    <a:cubicBezTo>
                      <a:pt x="9485" y="5077"/>
                      <a:pt x="9485" y="5077"/>
                      <a:pt x="9485" y="5077"/>
                    </a:cubicBezTo>
                    <a:cubicBezTo>
                      <a:pt x="9494" y="5055"/>
                      <a:pt x="9502" y="5037"/>
                      <a:pt x="9508" y="5023"/>
                    </a:cubicBezTo>
                    <a:cubicBezTo>
                      <a:pt x="9487" y="5014"/>
                      <a:pt x="9470" y="5005"/>
                      <a:pt x="9457" y="4998"/>
                    </a:cubicBezTo>
                    <a:cubicBezTo>
                      <a:pt x="9407" y="5103"/>
                      <a:pt x="9407" y="5103"/>
                      <a:pt x="9407" y="5103"/>
                    </a:cubicBezTo>
                    <a:cubicBezTo>
                      <a:pt x="8770" y="6485"/>
                      <a:pt x="8770" y="6485"/>
                      <a:pt x="8770" y="6485"/>
                    </a:cubicBezTo>
                    <a:cubicBezTo>
                      <a:pt x="8775" y="6485"/>
                      <a:pt x="8781" y="6485"/>
                      <a:pt x="8789" y="6485"/>
                    </a:cubicBezTo>
                    <a:cubicBezTo>
                      <a:pt x="8788" y="6482"/>
                      <a:pt x="8788" y="6482"/>
                      <a:pt x="8788" y="6482"/>
                    </a:cubicBezTo>
                    <a:cubicBezTo>
                      <a:pt x="8788" y="6482"/>
                      <a:pt x="8788" y="6482"/>
                      <a:pt x="8788" y="6482"/>
                    </a:cubicBezTo>
                    <a:cubicBezTo>
                      <a:pt x="9677" y="6180"/>
                      <a:pt x="9677" y="6180"/>
                      <a:pt x="9677" y="6180"/>
                    </a:cubicBezTo>
                    <a:cubicBezTo>
                      <a:pt x="10984" y="5751"/>
                      <a:pt x="10984" y="5751"/>
                      <a:pt x="10984" y="5751"/>
                    </a:cubicBezTo>
                    <a:cubicBezTo>
                      <a:pt x="14193" y="4854"/>
                      <a:pt x="14193" y="4854"/>
                      <a:pt x="14193" y="4854"/>
                    </a:cubicBezTo>
                    <a:cubicBezTo>
                      <a:pt x="14195" y="4840"/>
                      <a:pt x="14195" y="4840"/>
                      <a:pt x="14195" y="4840"/>
                    </a:cubicBezTo>
                    <a:cubicBezTo>
                      <a:pt x="14222" y="4822"/>
                      <a:pt x="14222" y="4822"/>
                      <a:pt x="14222" y="4822"/>
                    </a:cubicBezTo>
                    <a:cubicBezTo>
                      <a:pt x="14222" y="4822"/>
                      <a:pt x="14224" y="4821"/>
                      <a:pt x="14229" y="4817"/>
                    </a:cubicBezTo>
                    <a:cubicBezTo>
                      <a:pt x="14264" y="4794"/>
                      <a:pt x="14416" y="4681"/>
                      <a:pt x="14514" y="4546"/>
                    </a:cubicBezTo>
                    <a:cubicBezTo>
                      <a:pt x="14571" y="4467"/>
                      <a:pt x="14617" y="4378"/>
                      <a:pt x="14649" y="4309"/>
                    </a:cubicBezTo>
                    <a:cubicBezTo>
                      <a:pt x="14665" y="4275"/>
                      <a:pt x="14677" y="4246"/>
                      <a:pt x="14685" y="4225"/>
                    </a:cubicBezTo>
                    <a:cubicBezTo>
                      <a:pt x="14689" y="4215"/>
                      <a:pt x="14692" y="4207"/>
                      <a:pt x="14694" y="4201"/>
                    </a:cubicBezTo>
                    <a:cubicBezTo>
                      <a:pt x="14696" y="4196"/>
                      <a:pt x="14697" y="4194"/>
                      <a:pt x="14697" y="4194"/>
                    </a:cubicBezTo>
                    <a:cubicBezTo>
                      <a:pt x="14700" y="4183"/>
                      <a:pt x="14700" y="4183"/>
                      <a:pt x="14700" y="4183"/>
                    </a:cubicBezTo>
                    <a:cubicBezTo>
                      <a:pt x="14983" y="3794"/>
                      <a:pt x="14983" y="3794"/>
                      <a:pt x="14983" y="3794"/>
                    </a:cubicBezTo>
                    <a:cubicBezTo>
                      <a:pt x="14964" y="3781"/>
                      <a:pt x="14936" y="3760"/>
                      <a:pt x="14902" y="3728"/>
                    </a:cubicBezTo>
                    <a:cubicBezTo>
                      <a:pt x="14889" y="3717"/>
                      <a:pt x="14875" y="3702"/>
                      <a:pt x="14857" y="3682"/>
                    </a:cubicBezTo>
                    <a:cubicBezTo>
                      <a:pt x="14730" y="3543"/>
                      <a:pt x="14419" y="3165"/>
                      <a:pt x="14418" y="3164"/>
                    </a:cubicBezTo>
                    <a:cubicBezTo>
                      <a:pt x="14412" y="3158"/>
                      <a:pt x="14412" y="3158"/>
                      <a:pt x="14412" y="3158"/>
                    </a:cubicBezTo>
                    <a:cubicBezTo>
                      <a:pt x="14408" y="3150"/>
                      <a:pt x="14408" y="3150"/>
                      <a:pt x="14408" y="3150"/>
                    </a:cubicBezTo>
                    <a:cubicBezTo>
                      <a:pt x="14408" y="3149"/>
                      <a:pt x="14408" y="3149"/>
                      <a:pt x="14408" y="3149"/>
                    </a:cubicBezTo>
                    <a:cubicBezTo>
                      <a:pt x="14402" y="3136"/>
                      <a:pt x="14326" y="2997"/>
                      <a:pt x="14206" y="2922"/>
                    </a:cubicBezTo>
                    <a:cubicBezTo>
                      <a:pt x="14142" y="2882"/>
                      <a:pt x="14063" y="2856"/>
                      <a:pt x="13984" y="2836"/>
                    </a:cubicBezTo>
                    <a:cubicBezTo>
                      <a:pt x="13935" y="2824"/>
                      <a:pt x="13888" y="2814"/>
                      <a:pt x="13843" y="2804"/>
                    </a:cubicBezTo>
                    <a:lnTo>
                      <a:pt x="12697" y="3742"/>
                    </a:lnTo>
                    <a:close/>
                    <a:moveTo>
                      <a:pt x="13319" y="2423"/>
                    </a:moveTo>
                    <a:cubicBezTo>
                      <a:pt x="13315" y="2388"/>
                      <a:pt x="13315" y="2388"/>
                      <a:pt x="13315" y="2388"/>
                    </a:cubicBezTo>
                    <a:cubicBezTo>
                      <a:pt x="13318" y="2357"/>
                      <a:pt x="13318" y="2357"/>
                      <a:pt x="13318" y="2357"/>
                    </a:cubicBezTo>
                    <a:cubicBezTo>
                      <a:pt x="13318" y="2358"/>
                      <a:pt x="13318" y="2358"/>
                      <a:pt x="13318" y="2358"/>
                    </a:cubicBezTo>
                    <a:cubicBezTo>
                      <a:pt x="13318" y="2358"/>
                      <a:pt x="13318" y="2358"/>
                      <a:pt x="13318" y="2358"/>
                    </a:cubicBezTo>
                    <a:cubicBezTo>
                      <a:pt x="13319" y="2353"/>
                      <a:pt x="13325" y="2326"/>
                      <a:pt x="13330" y="2293"/>
                    </a:cubicBezTo>
                    <a:cubicBezTo>
                      <a:pt x="13334" y="2259"/>
                      <a:pt x="13338" y="2218"/>
                      <a:pt x="13338" y="2175"/>
                    </a:cubicBezTo>
                    <a:cubicBezTo>
                      <a:pt x="13338" y="2125"/>
                      <a:pt x="13333" y="2074"/>
                      <a:pt x="13320" y="2037"/>
                    </a:cubicBezTo>
                    <a:cubicBezTo>
                      <a:pt x="13301" y="1979"/>
                      <a:pt x="13264" y="1928"/>
                      <a:pt x="13194" y="1880"/>
                    </a:cubicBezTo>
                    <a:cubicBezTo>
                      <a:pt x="13125" y="1832"/>
                      <a:pt x="13022" y="1789"/>
                      <a:pt x="12880" y="1756"/>
                    </a:cubicBezTo>
                    <a:cubicBezTo>
                      <a:pt x="12594" y="1687"/>
                      <a:pt x="12336" y="1678"/>
                      <a:pt x="12127" y="1668"/>
                    </a:cubicBezTo>
                    <a:cubicBezTo>
                      <a:pt x="12021" y="1664"/>
                      <a:pt x="11793" y="1649"/>
                      <a:pt x="11589" y="1636"/>
                    </a:cubicBezTo>
                    <a:cubicBezTo>
                      <a:pt x="11488" y="1629"/>
                      <a:pt x="11393" y="1623"/>
                      <a:pt x="11323" y="1618"/>
                    </a:cubicBezTo>
                    <a:cubicBezTo>
                      <a:pt x="11291" y="1616"/>
                      <a:pt x="11264" y="1614"/>
                      <a:pt x="11245" y="1613"/>
                    </a:cubicBezTo>
                    <a:cubicBezTo>
                      <a:pt x="11239" y="1702"/>
                      <a:pt x="11214" y="1891"/>
                      <a:pt x="11095" y="2018"/>
                    </a:cubicBezTo>
                    <a:cubicBezTo>
                      <a:pt x="10986" y="2134"/>
                      <a:pt x="10810" y="2293"/>
                      <a:pt x="10724" y="2371"/>
                    </a:cubicBezTo>
                    <a:cubicBezTo>
                      <a:pt x="10796" y="2419"/>
                      <a:pt x="10942" y="2516"/>
                      <a:pt x="11085" y="2609"/>
                    </a:cubicBezTo>
                    <a:cubicBezTo>
                      <a:pt x="11287" y="2741"/>
                      <a:pt x="11410" y="2848"/>
                      <a:pt x="11411" y="2848"/>
                    </a:cubicBezTo>
                    <a:cubicBezTo>
                      <a:pt x="11413" y="2850"/>
                      <a:pt x="11413" y="2850"/>
                      <a:pt x="11413" y="2850"/>
                    </a:cubicBezTo>
                    <a:cubicBezTo>
                      <a:pt x="11688" y="3196"/>
                      <a:pt x="11688" y="3196"/>
                      <a:pt x="11688" y="3196"/>
                    </a:cubicBezTo>
                    <a:cubicBezTo>
                      <a:pt x="11703" y="3186"/>
                      <a:pt x="11731" y="3166"/>
                      <a:pt x="11776" y="3126"/>
                    </a:cubicBezTo>
                    <a:cubicBezTo>
                      <a:pt x="11822" y="3085"/>
                      <a:pt x="11872" y="3072"/>
                      <a:pt x="11912" y="3072"/>
                    </a:cubicBezTo>
                    <a:cubicBezTo>
                      <a:pt x="11969" y="3072"/>
                      <a:pt x="12008" y="3097"/>
                      <a:pt x="12011" y="3098"/>
                    </a:cubicBezTo>
                    <a:cubicBezTo>
                      <a:pt x="12013" y="3100"/>
                      <a:pt x="12013" y="3100"/>
                      <a:pt x="12013" y="3100"/>
                    </a:cubicBezTo>
                    <a:cubicBezTo>
                      <a:pt x="12685" y="3667"/>
                      <a:pt x="12685" y="3667"/>
                      <a:pt x="12685" y="3667"/>
                    </a:cubicBezTo>
                    <a:cubicBezTo>
                      <a:pt x="13766" y="2782"/>
                      <a:pt x="13766" y="2782"/>
                      <a:pt x="13766" y="2782"/>
                    </a:cubicBezTo>
                    <a:cubicBezTo>
                      <a:pt x="13763" y="2782"/>
                      <a:pt x="13760" y="2781"/>
                      <a:pt x="13758" y="2780"/>
                    </a:cubicBezTo>
                    <a:cubicBezTo>
                      <a:pt x="13686" y="2755"/>
                      <a:pt x="13600" y="2703"/>
                      <a:pt x="13518" y="2639"/>
                    </a:cubicBezTo>
                    <a:cubicBezTo>
                      <a:pt x="13437" y="2575"/>
                      <a:pt x="13361" y="2503"/>
                      <a:pt x="13319" y="2423"/>
                    </a:cubicBezTo>
                    <a:close/>
                    <a:moveTo>
                      <a:pt x="8472" y="481"/>
                    </a:moveTo>
                    <a:cubicBezTo>
                      <a:pt x="8369" y="370"/>
                      <a:pt x="8369" y="370"/>
                      <a:pt x="8369" y="370"/>
                    </a:cubicBezTo>
                    <a:cubicBezTo>
                      <a:pt x="8424" y="319"/>
                      <a:pt x="8424" y="319"/>
                      <a:pt x="8424" y="319"/>
                    </a:cubicBezTo>
                    <a:cubicBezTo>
                      <a:pt x="8429" y="323"/>
                      <a:pt x="8429" y="323"/>
                      <a:pt x="8429" y="323"/>
                    </a:cubicBezTo>
                    <a:cubicBezTo>
                      <a:pt x="8527" y="430"/>
                      <a:pt x="8527" y="430"/>
                      <a:pt x="8527" y="430"/>
                    </a:cubicBezTo>
                    <a:lnTo>
                      <a:pt x="8472" y="481"/>
                    </a:lnTo>
                    <a:close/>
                    <a:moveTo>
                      <a:pt x="8387" y="371"/>
                    </a:moveTo>
                    <a:cubicBezTo>
                      <a:pt x="8472" y="463"/>
                      <a:pt x="8472" y="463"/>
                      <a:pt x="8472" y="463"/>
                    </a:cubicBezTo>
                    <a:cubicBezTo>
                      <a:pt x="8509" y="429"/>
                      <a:pt x="8509" y="429"/>
                      <a:pt x="8509" y="429"/>
                    </a:cubicBezTo>
                    <a:cubicBezTo>
                      <a:pt x="8424" y="337"/>
                      <a:pt x="8424" y="337"/>
                      <a:pt x="8424" y="337"/>
                    </a:cubicBezTo>
                    <a:lnTo>
                      <a:pt x="8387" y="371"/>
                    </a:lnTo>
                    <a:close/>
                    <a:moveTo>
                      <a:pt x="11524" y="9501"/>
                    </a:moveTo>
                    <a:cubicBezTo>
                      <a:pt x="11608" y="9575"/>
                      <a:pt x="11608" y="9575"/>
                      <a:pt x="11608" y="9575"/>
                    </a:cubicBezTo>
                    <a:cubicBezTo>
                      <a:pt x="11505" y="9691"/>
                      <a:pt x="11505" y="9691"/>
                      <a:pt x="11505" y="9691"/>
                    </a:cubicBezTo>
                    <a:cubicBezTo>
                      <a:pt x="11422" y="9618"/>
                      <a:pt x="11422" y="9618"/>
                      <a:pt x="11422" y="9618"/>
                    </a:cubicBezTo>
                    <a:cubicBezTo>
                      <a:pt x="11426" y="9613"/>
                      <a:pt x="11426" y="9613"/>
                      <a:pt x="11426" y="9613"/>
                    </a:cubicBezTo>
                    <a:lnTo>
                      <a:pt x="11524" y="9501"/>
                    </a:lnTo>
                    <a:close/>
                    <a:moveTo>
                      <a:pt x="11525" y="9520"/>
                    </a:moveTo>
                    <a:cubicBezTo>
                      <a:pt x="11440" y="9617"/>
                      <a:pt x="11440" y="9617"/>
                      <a:pt x="11440" y="9617"/>
                    </a:cubicBezTo>
                    <a:cubicBezTo>
                      <a:pt x="11504" y="9673"/>
                      <a:pt x="11504" y="9673"/>
                      <a:pt x="11504" y="9673"/>
                    </a:cubicBezTo>
                    <a:cubicBezTo>
                      <a:pt x="11589" y="9576"/>
                      <a:pt x="11589" y="9576"/>
                      <a:pt x="11589" y="9576"/>
                    </a:cubicBezTo>
                    <a:lnTo>
                      <a:pt x="11525" y="9520"/>
                    </a:lnTo>
                    <a:close/>
                    <a:moveTo>
                      <a:pt x="2438" y="7"/>
                    </a:moveTo>
                    <a:cubicBezTo>
                      <a:pt x="2440" y="0"/>
                      <a:pt x="2440" y="0"/>
                      <a:pt x="2440" y="0"/>
                    </a:cubicBezTo>
                    <a:cubicBezTo>
                      <a:pt x="2428" y="0"/>
                      <a:pt x="2428" y="0"/>
                      <a:pt x="2428" y="0"/>
                    </a:cubicBezTo>
                    <a:lnTo>
                      <a:pt x="2438" y="7"/>
                    </a:lnTo>
                    <a:close/>
                    <a:moveTo>
                      <a:pt x="1227" y="2637"/>
                    </a:moveTo>
                    <a:cubicBezTo>
                      <a:pt x="1227" y="2637"/>
                      <a:pt x="1227" y="2637"/>
                      <a:pt x="1227" y="2637"/>
                    </a:cubicBezTo>
                    <a:cubicBezTo>
                      <a:pt x="1227" y="2637"/>
                      <a:pt x="1227" y="2637"/>
                      <a:pt x="1227" y="2637"/>
                    </a:cubicBezTo>
                    <a:cubicBezTo>
                      <a:pt x="1227" y="2637"/>
                      <a:pt x="1227" y="2637"/>
                      <a:pt x="1227" y="2637"/>
                    </a:cubicBezTo>
                    <a:close/>
                    <a:moveTo>
                      <a:pt x="13585" y="4408"/>
                    </a:moveTo>
                    <a:cubicBezTo>
                      <a:pt x="13389" y="4190"/>
                      <a:pt x="13389" y="4190"/>
                      <a:pt x="13389" y="4190"/>
                    </a:cubicBezTo>
                    <a:cubicBezTo>
                      <a:pt x="14082" y="3573"/>
                      <a:pt x="14082" y="3573"/>
                      <a:pt x="14082" y="3573"/>
                    </a:cubicBezTo>
                    <a:cubicBezTo>
                      <a:pt x="14088" y="3568"/>
                      <a:pt x="14088" y="3568"/>
                      <a:pt x="14088" y="3568"/>
                    </a:cubicBezTo>
                    <a:cubicBezTo>
                      <a:pt x="14243" y="3746"/>
                      <a:pt x="14243" y="3746"/>
                      <a:pt x="14243" y="3746"/>
                    </a:cubicBezTo>
                    <a:cubicBezTo>
                      <a:pt x="14463" y="3553"/>
                      <a:pt x="14463" y="3553"/>
                      <a:pt x="14463" y="3553"/>
                    </a:cubicBezTo>
                    <a:cubicBezTo>
                      <a:pt x="14646" y="3756"/>
                      <a:pt x="14646" y="3756"/>
                      <a:pt x="14646" y="3756"/>
                    </a:cubicBezTo>
                    <a:cubicBezTo>
                      <a:pt x="14306" y="4058"/>
                      <a:pt x="14306" y="4058"/>
                      <a:pt x="14306" y="4058"/>
                    </a:cubicBezTo>
                    <a:cubicBezTo>
                      <a:pt x="14516" y="4295"/>
                      <a:pt x="14516" y="4295"/>
                      <a:pt x="14516" y="4295"/>
                    </a:cubicBezTo>
                    <a:cubicBezTo>
                      <a:pt x="14339" y="4453"/>
                      <a:pt x="14339" y="4453"/>
                      <a:pt x="14339" y="4453"/>
                    </a:cubicBezTo>
                    <a:cubicBezTo>
                      <a:pt x="14243" y="4342"/>
                      <a:pt x="14243" y="4342"/>
                      <a:pt x="14243" y="4342"/>
                    </a:cubicBezTo>
                    <a:cubicBezTo>
                      <a:pt x="13990" y="4563"/>
                      <a:pt x="13990" y="4563"/>
                      <a:pt x="13990" y="4563"/>
                    </a:cubicBezTo>
                    <a:cubicBezTo>
                      <a:pt x="13929" y="4494"/>
                      <a:pt x="13929" y="4494"/>
                      <a:pt x="13929" y="4494"/>
                    </a:cubicBezTo>
                    <a:cubicBezTo>
                      <a:pt x="14178" y="4267"/>
                      <a:pt x="14178" y="4267"/>
                      <a:pt x="14178" y="4267"/>
                    </a:cubicBezTo>
                    <a:cubicBezTo>
                      <a:pt x="14073" y="4150"/>
                      <a:pt x="14073" y="4150"/>
                      <a:pt x="14073" y="4150"/>
                    </a:cubicBezTo>
                    <a:cubicBezTo>
                      <a:pt x="14126" y="4098"/>
                      <a:pt x="14126" y="4098"/>
                      <a:pt x="14126" y="4098"/>
                    </a:cubicBezTo>
                    <a:cubicBezTo>
                      <a:pt x="14042" y="4000"/>
                      <a:pt x="14042" y="4000"/>
                      <a:pt x="14042" y="4000"/>
                    </a:cubicBezTo>
                    <a:cubicBezTo>
                      <a:pt x="13804" y="4215"/>
                      <a:pt x="13804" y="4215"/>
                      <a:pt x="13804" y="4215"/>
                    </a:cubicBezTo>
                    <a:cubicBezTo>
                      <a:pt x="13880" y="4302"/>
                      <a:pt x="13880" y="4302"/>
                      <a:pt x="13880" y="4302"/>
                    </a:cubicBezTo>
                    <a:cubicBezTo>
                      <a:pt x="13721" y="4447"/>
                      <a:pt x="13721" y="4447"/>
                      <a:pt x="13721" y="4447"/>
                    </a:cubicBezTo>
                    <a:cubicBezTo>
                      <a:pt x="13642" y="4356"/>
                      <a:pt x="13642" y="4356"/>
                      <a:pt x="13642" y="4356"/>
                    </a:cubicBezTo>
                    <a:lnTo>
                      <a:pt x="13585" y="4408"/>
                    </a:lnTo>
                    <a:close/>
                    <a:moveTo>
                      <a:pt x="13410" y="4191"/>
                    </a:moveTo>
                    <a:cubicBezTo>
                      <a:pt x="13586" y="4387"/>
                      <a:pt x="13586" y="4387"/>
                      <a:pt x="13586" y="4387"/>
                    </a:cubicBezTo>
                    <a:cubicBezTo>
                      <a:pt x="13643" y="4335"/>
                      <a:pt x="13643" y="4335"/>
                      <a:pt x="13643" y="4335"/>
                    </a:cubicBezTo>
                    <a:cubicBezTo>
                      <a:pt x="13722" y="4426"/>
                      <a:pt x="13722" y="4426"/>
                      <a:pt x="13722" y="4426"/>
                    </a:cubicBezTo>
                    <a:cubicBezTo>
                      <a:pt x="13859" y="4301"/>
                      <a:pt x="13859" y="4301"/>
                      <a:pt x="13859" y="4301"/>
                    </a:cubicBezTo>
                    <a:cubicBezTo>
                      <a:pt x="13783" y="4214"/>
                      <a:pt x="13783" y="4214"/>
                      <a:pt x="13783" y="4214"/>
                    </a:cubicBezTo>
                    <a:cubicBezTo>
                      <a:pt x="14044" y="3979"/>
                      <a:pt x="14044" y="3979"/>
                      <a:pt x="14044" y="3979"/>
                    </a:cubicBezTo>
                    <a:cubicBezTo>
                      <a:pt x="14146" y="4099"/>
                      <a:pt x="14146" y="4099"/>
                      <a:pt x="14146" y="4099"/>
                    </a:cubicBezTo>
                    <a:cubicBezTo>
                      <a:pt x="14094" y="4151"/>
                      <a:pt x="14094" y="4151"/>
                      <a:pt x="14094" y="4151"/>
                    </a:cubicBezTo>
                    <a:cubicBezTo>
                      <a:pt x="14198" y="4268"/>
                      <a:pt x="14198" y="4268"/>
                      <a:pt x="14198" y="4268"/>
                    </a:cubicBezTo>
                    <a:cubicBezTo>
                      <a:pt x="13949" y="4495"/>
                      <a:pt x="13949" y="4495"/>
                      <a:pt x="13949" y="4495"/>
                    </a:cubicBezTo>
                    <a:cubicBezTo>
                      <a:pt x="13992" y="4543"/>
                      <a:pt x="13992" y="4543"/>
                      <a:pt x="13992" y="4543"/>
                    </a:cubicBezTo>
                    <a:cubicBezTo>
                      <a:pt x="14244" y="4321"/>
                      <a:pt x="14244" y="4321"/>
                      <a:pt x="14244" y="4321"/>
                    </a:cubicBezTo>
                    <a:cubicBezTo>
                      <a:pt x="14340" y="4432"/>
                      <a:pt x="14340" y="4432"/>
                      <a:pt x="14340" y="4432"/>
                    </a:cubicBezTo>
                    <a:cubicBezTo>
                      <a:pt x="14495" y="4294"/>
                      <a:pt x="14495" y="4294"/>
                      <a:pt x="14495" y="4294"/>
                    </a:cubicBezTo>
                    <a:cubicBezTo>
                      <a:pt x="14285" y="4057"/>
                      <a:pt x="14285" y="4057"/>
                      <a:pt x="14285" y="4057"/>
                    </a:cubicBezTo>
                    <a:cubicBezTo>
                      <a:pt x="14625" y="3754"/>
                      <a:pt x="14625" y="3754"/>
                      <a:pt x="14625" y="3754"/>
                    </a:cubicBezTo>
                    <a:cubicBezTo>
                      <a:pt x="14462" y="3573"/>
                      <a:pt x="14462" y="3573"/>
                      <a:pt x="14462" y="3573"/>
                    </a:cubicBezTo>
                    <a:cubicBezTo>
                      <a:pt x="14242" y="3767"/>
                      <a:pt x="14242" y="3767"/>
                      <a:pt x="14242" y="3767"/>
                    </a:cubicBezTo>
                    <a:cubicBezTo>
                      <a:pt x="14086" y="3589"/>
                      <a:pt x="14086" y="3589"/>
                      <a:pt x="14086" y="3589"/>
                    </a:cubicBezTo>
                    <a:lnTo>
                      <a:pt x="13410" y="4191"/>
                    </a:lnTo>
                    <a:close/>
                    <a:moveTo>
                      <a:pt x="614" y="4378"/>
                    </a:moveTo>
                    <a:cubicBezTo>
                      <a:pt x="631" y="4316"/>
                      <a:pt x="631" y="4316"/>
                      <a:pt x="631" y="4316"/>
                    </a:cubicBezTo>
                    <a:cubicBezTo>
                      <a:pt x="584" y="4313"/>
                      <a:pt x="584" y="4313"/>
                      <a:pt x="584" y="4313"/>
                    </a:cubicBezTo>
                    <a:cubicBezTo>
                      <a:pt x="540" y="4259"/>
                      <a:pt x="540" y="4259"/>
                      <a:pt x="540" y="4259"/>
                    </a:cubicBezTo>
                    <a:cubicBezTo>
                      <a:pt x="675" y="4156"/>
                      <a:pt x="675" y="4156"/>
                      <a:pt x="675" y="4156"/>
                    </a:cubicBezTo>
                    <a:cubicBezTo>
                      <a:pt x="747" y="4392"/>
                      <a:pt x="747" y="4392"/>
                      <a:pt x="747" y="4392"/>
                    </a:cubicBezTo>
                    <a:cubicBezTo>
                      <a:pt x="649" y="4461"/>
                      <a:pt x="649" y="4461"/>
                      <a:pt x="649" y="4461"/>
                    </a:cubicBezTo>
                    <a:cubicBezTo>
                      <a:pt x="646" y="4453"/>
                      <a:pt x="646" y="4453"/>
                      <a:pt x="646" y="4453"/>
                    </a:cubicBezTo>
                    <a:lnTo>
                      <a:pt x="614" y="4378"/>
                    </a:lnTo>
                    <a:close/>
                    <a:moveTo>
                      <a:pt x="650" y="4303"/>
                    </a:moveTo>
                    <a:cubicBezTo>
                      <a:pt x="630" y="4377"/>
                      <a:pt x="630" y="4377"/>
                      <a:pt x="630" y="4377"/>
                    </a:cubicBezTo>
                    <a:cubicBezTo>
                      <a:pt x="656" y="4438"/>
                      <a:pt x="656" y="4438"/>
                      <a:pt x="656" y="4438"/>
                    </a:cubicBezTo>
                    <a:cubicBezTo>
                      <a:pt x="730" y="4386"/>
                      <a:pt x="730" y="4386"/>
                      <a:pt x="730" y="4386"/>
                    </a:cubicBezTo>
                    <a:cubicBezTo>
                      <a:pt x="667" y="4181"/>
                      <a:pt x="667" y="4181"/>
                      <a:pt x="667" y="4181"/>
                    </a:cubicBezTo>
                    <a:cubicBezTo>
                      <a:pt x="561" y="4261"/>
                      <a:pt x="561" y="4261"/>
                      <a:pt x="561" y="4261"/>
                    </a:cubicBezTo>
                    <a:cubicBezTo>
                      <a:pt x="591" y="4298"/>
                      <a:pt x="591" y="4298"/>
                      <a:pt x="591" y="4298"/>
                    </a:cubicBezTo>
                    <a:lnTo>
                      <a:pt x="650" y="4303"/>
                    </a:lnTo>
                    <a:close/>
                    <a:moveTo>
                      <a:pt x="8033" y="359"/>
                    </a:moveTo>
                    <a:cubicBezTo>
                      <a:pt x="7930" y="248"/>
                      <a:pt x="7930" y="248"/>
                      <a:pt x="7930" y="248"/>
                    </a:cubicBezTo>
                    <a:cubicBezTo>
                      <a:pt x="7986" y="197"/>
                      <a:pt x="7986" y="197"/>
                      <a:pt x="7986" y="197"/>
                    </a:cubicBezTo>
                    <a:cubicBezTo>
                      <a:pt x="7990" y="201"/>
                      <a:pt x="7990" y="201"/>
                      <a:pt x="7990" y="201"/>
                    </a:cubicBezTo>
                    <a:cubicBezTo>
                      <a:pt x="8089" y="308"/>
                      <a:pt x="8089" y="308"/>
                      <a:pt x="8089" y="308"/>
                    </a:cubicBezTo>
                    <a:lnTo>
                      <a:pt x="8033" y="359"/>
                    </a:lnTo>
                    <a:close/>
                    <a:moveTo>
                      <a:pt x="7949" y="249"/>
                    </a:moveTo>
                    <a:cubicBezTo>
                      <a:pt x="8034" y="341"/>
                      <a:pt x="8034" y="341"/>
                      <a:pt x="8034" y="341"/>
                    </a:cubicBezTo>
                    <a:cubicBezTo>
                      <a:pt x="8071" y="307"/>
                      <a:pt x="8071" y="307"/>
                      <a:pt x="8071" y="307"/>
                    </a:cubicBezTo>
                    <a:cubicBezTo>
                      <a:pt x="7985" y="215"/>
                      <a:pt x="7985" y="215"/>
                      <a:pt x="7985" y="215"/>
                    </a:cubicBezTo>
                    <a:lnTo>
                      <a:pt x="7949" y="249"/>
                    </a:lnTo>
                    <a:close/>
                    <a:moveTo>
                      <a:pt x="1165" y="77"/>
                    </a:moveTo>
                    <a:cubicBezTo>
                      <a:pt x="1298" y="196"/>
                      <a:pt x="1298" y="196"/>
                      <a:pt x="1298" y="196"/>
                    </a:cubicBezTo>
                    <a:cubicBezTo>
                      <a:pt x="1241" y="260"/>
                      <a:pt x="1241" y="260"/>
                      <a:pt x="1241" y="260"/>
                    </a:cubicBezTo>
                    <a:cubicBezTo>
                      <a:pt x="1239" y="260"/>
                      <a:pt x="1110" y="144"/>
                      <a:pt x="1110" y="144"/>
                    </a:cubicBezTo>
                    <a:lnTo>
                      <a:pt x="1165" y="77"/>
                    </a:lnTo>
                    <a:close/>
                    <a:moveTo>
                      <a:pt x="1167" y="97"/>
                    </a:moveTo>
                    <a:cubicBezTo>
                      <a:pt x="1129" y="142"/>
                      <a:pt x="1129" y="142"/>
                      <a:pt x="1129" y="142"/>
                    </a:cubicBezTo>
                    <a:cubicBezTo>
                      <a:pt x="1167" y="176"/>
                      <a:pt x="1219" y="222"/>
                      <a:pt x="1240" y="240"/>
                    </a:cubicBezTo>
                    <a:cubicBezTo>
                      <a:pt x="1279" y="197"/>
                      <a:pt x="1279" y="197"/>
                      <a:pt x="1279" y="197"/>
                    </a:cubicBezTo>
                    <a:lnTo>
                      <a:pt x="1167" y="97"/>
                    </a:lnTo>
                    <a:close/>
                    <a:moveTo>
                      <a:pt x="1231" y="2640"/>
                    </a:moveTo>
                    <a:cubicBezTo>
                      <a:pt x="1231" y="2640"/>
                      <a:pt x="1231" y="2640"/>
                      <a:pt x="1231" y="2640"/>
                    </a:cubicBezTo>
                    <a:cubicBezTo>
                      <a:pt x="1231" y="2640"/>
                      <a:pt x="1231" y="2640"/>
                      <a:pt x="1231" y="2640"/>
                    </a:cubicBezTo>
                    <a:cubicBezTo>
                      <a:pt x="1231" y="2640"/>
                      <a:pt x="1231" y="2640"/>
                      <a:pt x="1231" y="2640"/>
                    </a:cubicBezTo>
                    <a:close/>
                    <a:moveTo>
                      <a:pt x="9534" y="9107"/>
                    </a:moveTo>
                    <a:cubicBezTo>
                      <a:pt x="9465" y="9129"/>
                      <a:pt x="9465" y="9129"/>
                      <a:pt x="9465" y="9129"/>
                    </a:cubicBezTo>
                    <a:cubicBezTo>
                      <a:pt x="9488" y="9201"/>
                      <a:pt x="9488" y="9201"/>
                      <a:pt x="9488" y="9201"/>
                    </a:cubicBezTo>
                    <a:cubicBezTo>
                      <a:pt x="9416" y="9224"/>
                      <a:pt x="9416" y="9224"/>
                      <a:pt x="9416" y="9224"/>
                    </a:cubicBezTo>
                    <a:cubicBezTo>
                      <a:pt x="9414" y="9218"/>
                      <a:pt x="9414" y="9218"/>
                      <a:pt x="9414" y="9218"/>
                    </a:cubicBezTo>
                    <a:cubicBezTo>
                      <a:pt x="9358" y="9034"/>
                      <a:pt x="9358" y="9034"/>
                      <a:pt x="9358" y="9034"/>
                    </a:cubicBezTo>
                    <a:cubicBezTo>
                      <a:pt x="9405" y="9019"/>
                      <a:pt x="9405" y="9019"/>
                      <a:pt x="9405" y="9019"/>
                    </a:cubicBezTo>
                    <a:cubicBezTo>
                      <a:pt x="9401" y="9008"/>
                      <a:pt x="9401" y="9008"/>
                      <a:pt x="9401" y="9008"/>
                    </a:cubicBezTo>
                    <a:cubicBezTo>
                      <a:pt x="9399" y="9002"/>
                      <a:pt x="9399" y="9002"/>
                      <a:pt x="9399" y="9002"/>
                    </a:cubicBezTo>
                    <a:cubicBezTo>
                      <a:pt x="9491" y="8972"/>
                      <a:pt x="9491" y="8972"/>
                      <a:pt x="9491" y="8972"/>
                    </a:cubicBezTo>
                    <a:lnTo>
                      <a:pt x="9534" y="9107"/>
                    </a:lnTo>
                    <a:close/>
                    <a:moveTo>
                      <a:pt x="9448" y="9120"/>
                    </a:moveTo>
                    <a:cubicBezTo>
                      <a:pt x="9518" y="9098"/>
                      <a:pt x="9518" y="9098"/>
                      <a:pt x="9518" y="9098"/>
                    </a:cubicBezTo>
                    <a:cubicBezTo>
                      <a:pt x="9483" y="8989"/>
                      <a:pt x="9483" y="8989"/>
                      <a:pt x="9483" y="8989"/>
                    </a:cubicBezTo>
                    <a:cubicBezTo>
                      <a:pt x="9416" y="9010"/>
                      <a:pt x="9416" y="9010"/>
                      <a:pt x="9416" y="9010"/>
                    </a:cubicBezTo>
                    <a:cubicBezTo>
                      <a:pt x="9419" y="9021"/>
                      <a:pt x="9419" y="9021"/>
                      <a:pt x="9419" y="9021"/>
                    </a:cubicBezTo>
                    <a:cubicBezTo>
                      <a:pt x="9421" y="9028"/>
                      <a:pt x="9421" y="9028"/>
                      <a:pt x="9421" y="9028"/>
                    </a:cubicBezTo>
                    <a:cubicBezTo>
                      <a:pt x="9374" y="9043"/>
                      <a:pt x="9374" y="9043"/>
                      <a:pt x="9374" y="9043"/>
                    </a:cubicBezTo>
                    <a:cubicBezTo>
                      <a:pt x="9424" y="9208"/>
                      <a:pt x="9424" y="9208"/>
                      <a:pt x="9424" y="9208"/>
                    </a:cubicBezTo>
                    <a:cubicBezTo>
                      <a:pt x="9471" y="9193"/>
                      <a:pt x="9471" y="9193"/>
                      <a:pt x="9471" y="9193"/>
                    </a:cubicBezTo>
                    <a:lnTo>
                      <a:pt x="9448" y="9120"/>
                    </a:lnTo>
                    <a:close/>
                    <a:moveTo>
                      <a:pt x="3183" y="25"/>
                    </a:moveTo>
                    <a:cubicBezTo>
                      <a:pt x="3183" y="25"/>
                      <a:pt x="3183" y="26"/>
                      <a:pt x="3183" y="26"/>
                    </a:cubicBezTo>
                    <a:cubicBezTo>
                      <a:pt x="3118" y="56"/>
                      <a:pt x="3118" y="56"/>
                      <a:pt x="3118" y="56"/>
                    </a:cubicBezTo>
                    <a:cubicBezTo>
                      <a:pt x="3097" y="30"/>
                      <a:pt x="3097" y="30"/>
                      <a:pt x="3097" y="30"/>
                    </a:cubicBezTo>
                    <a:cubicBezTo>
                      <a:pt x="3061" y="48"/>
                      <a:pt x="3061" y="48"/>
                      <a:pt x="3061" y="48"/>
                    </a:cubicBezTo>
                    <a:cubicBezTo>
                      <a:pt x="3041" y="0"/>
                      <a:pt x="3041" y="0"/>
                      <a:pt x="3041" y="0"/>
                    </a:cubicBezTo>
                    <a:cubicBezTo>
                      <a:pt x="3025" y="0"/>
                      <a:pt x="3025" y="0"/>
                      <a:pt x="3025" y="0"/>
                    </a:cubicBezTo>
                    <a:cubicBezTo>
                      <a:pt x="3054" y="69"/>
                      <a:pt x="3054" y="69"/>
                      <a:pt x="3054" y="69"/>
                    </a:cubicBezTo>
                    <a:cubicBezTo>
                      <a:pt x="3093" y="49"/>
                      <a:pt x="3093" y="49"/>
                      <a:pt x="3093" y="49"/>
                    </a:cubicBezTo>
                    <a:cubicBezTo>
                      <a:pt x="3114" y="75"/>
                      <a:pt x="3114" y="75"/>
                      <a:pt x="3114" y="75"/>
                    </a:cubicBezTo>
                    <a:cubicBezTo>
                      <a:pt x="3199" y="34"/>
                      <a:pt x="3199" y="34"/>
                      <a:pt x="3199" y="34"/>
                    </a:cubicBezTo>
                    <a:cubicBezTo>
                      <a:pt x="3198" y="29"/>
                      <a:pt x="3198" y="29"/>
                      <a:pt x="3198" y="29"/>
                    </a:cubicBezTo>
                    <a:cubicBezTo>
                      <a:pt x="3198" y="29"/>
                      <a:pt x="3198" y="28"/>
                      <a:pt x="3198" y="25"/>
                    </a:cubicBezTo>
                    <a:cubicBezTo>
                      <a:pt x="3198" y="20"/>
                      <a:pt x="3199" y="10"/>
                      <a:pt x="3211" y="0"/>
                    </a:cubicBezTo>
                    <a:cubicBezTo>
                      <a:pt x="3191" y="0"/>
                      <a:pt x="3191" y="0"/>
                      <a:pt x="3191" y="0"/>
                    </a:cubicBezTo>
                    <a:cubicBezTo>
                      <a:pt x="3185" y="9"/>
                      <a:pt x="3183" y="19"/>
                      <a:pt x="3183" y="25"/>
                    </a:cubicBezTo>
                    <a:close/>
                    <a:moveTo>
                      <a:pt x="10002" y="8963"/>
                    </a:moveTo>
                    <a:cubicBezTo>
                      <a:pt x="10136" y="8963"/>
                      <a:pt x="10136" y="8963"/>
                      <a:pt x="10136" y="8963"/>
                    </a:cubicBezTo>
                    <a:cubicBezTo>
                      <a:pt x="10136" y="9132"/>
                      <a:pt x="10136" y="9132"/>
                      <a:pt x="10136" y="9132"/>
                    </a:cubicBezTo>
                    <a:cubicBezTo>
                      <a:pt x="10050" y="9132"/>
                      <a:pt x="10050" y="9132"/>
                      <a:pt x="10050" y="9132"/>
                    </a:cubicBezTo>
                    <a:cubicBezTo>
                      <a:pt x="10050" y="9234"/>
                      <a:pt x="10050" y="9234"/>
                      <a:pt x="10050" y="9234"/>
                    </a:cubicBezTo>
                    <a:cubicBezTo>
                      <a:pt x="9922" y="9234"/>
                      <a:pt x="9922" y="9234"/>
                      <a:pt x="9922" y="9234"/>
                    </a:cubicBezTo>
                    <a:cubicBezTo>
                      <a:pt x="9922" y="9051"/>
                      <a:pt x="9922" y="9051"/>
                      <a:pt x="9922" y="9051"/>
                    </a:cubicBezTo>
                    <a:cubicBezTo>
                      <a:pt x="10002" y="9051"/>
                      <a:pt x="10002" y="9051"/>
                      <a:pt x="10002" y="9051"/>
                    </a:cubicBezTo>
                    <a:lnTo>
                      <a:pt x="10002" y="8963"/>
                    </a:lnTo>
                    <a:close/>
                    <a:moveTo>
                      <a:pt x="10014" y="9063"/>
                    </a:moveTo>
                    <a:cubicBezTo>
                      <a:pt x="9934" y="9063"/>
                      <a:pt x="9934" y="9063"/>
                      <a:pt x="9934" y="9063"/>
                    </a:cubicBezTo>
                    <a:cubicBezTo>
                      <a:pt x="9934" y="9222"/>
                      <a:pt x="9934" y="9222"/>
                      <a:pt x="9934" y="9222"/>
                    </a:cubicBezTo>
                    <a:cubicBezTo>
                      <a:pt x="10038" y="9222"/>
                      <a:pt x="10038" y="9222"/>
                      <a:pt x="10038" y="9222"/>
                    </a:cubicBezTo>
                    <a:cubicBezTo>
                      <a:pt x="10038" y="9120"/>
                      <a:pt x="10038" y="9120"/>
                      <a:pt x="10038" y="9120"/>
                    </a:cubicBezTo>
                    <a:cubicBezTo>
                      <a:pt x="10044" y="9120"/>
                      <a:pt x="10044" y="9120"/>
                      <a:pt x="10044" y="9120"/>
                    </a:cubicBezTo>
                    <a:cubicBezTo>
                      <a:pt x="10124" y="9120"/>
                      <a:pt x="10124" y="9120"/>
                      <a:pt x="10124" y="9120"/>
                    </a:cubicBezTo>
                    <a:cubicBezTo>
                      <a:pt x="10124" y="8975"/>
                      <a:pt x="10124" y="8975"/>
                      <a:pt x="10124" y="8975"/>
                    </a:cubicBezTo>
                    <a:cubicBezTo>
                      <a:pt x="10014" y="8975"/>
                      <a:pt x="10014" y="8975"/>
                      <a:pt x="10014" y="8975"/>
                    </a:cubicBezTo>
                    <a:lnTo>
                      <a:pt x="10014" y="9063"/>
                    </a:lnTo>
                    <a:close/>
                    <a:moveTo>
                      <a:pt x="501" y="3608"/>
                    </a:moveTo>
                    <a:cubicBezTo>
                      <a:pt x="408" y="3345"/>
                      <a:pt x="408" y="3345"/>
                      <a:pt x="408" y="3345"/>
                    </a:cubicBezTo>
                    <a:cubicBezTo>
                      <a:pt x="482" y="3322"/>
                      <a:pt x="482" y="3322"/>
                      <a:pt x="482" y="3322"/>
                    </a:cubicBezTo>
                    <a:cubicBezTo>
                      <a:pt x="602" y="3567"/>
                      <a:pt x="602" y="3567"/>
                      <a:pt x="602" y="3567"/>
                    </a:cubicBezTo>
                    <a:cubicBezTo>
                      <a:pt x="594" y="3570"/>
                      <a:pt x="594" y="3570"/>
                      <a:pt x="594" y="3570"/>
                    </a:cubicBezTo>
                    <a:lnTo>
                      <a:pt x="501" y="3608"/>
                    </a:lnTo>
                    <a:close/>
                    <a:moveTo>
                      <a:pt x="427" y="3355"/>
                    </a:moveTo>
                    <a:cubicBezTo>
                      <a:pt x="509" y="3588"/>
                      <a:pt x="509" y="3588"/>
                      <a:pt x="509" y="3588"/>
                    </a:cubicBezTo>
                    <a:cubicBezTo>
                      <a:pt x="581" y="3559"/>
                      <a:pt x="581" y="3559"/>
                      <a:pt x="581" y="3559"/>
                    </a:cubicBezTo>
                    <a:cubicBezTo>
                      <a:pt x="474" y="3340"/>
                      <a:pt x="474" y="3340"/>
                      <a:pt x="474" y="3340"/>
                    </a:cubicBezTo>
                    <a:lnTo>
                      <a:pt x="427" y="3355"/>
                    </a:lnTo>
                    <a:close/>
                    <a:moveTo>
                      <a:pt x="7504" y="521"/>
                    </a:moveTo>
                    <a:cubicBezTo>
                      <a:pt x="7360" y="504"/>
                      <a:pt x="7360" y="504"/>
                      <a:pt x="7360" y="504"/>
                    </a:cubicBezTo>
                    <a:cubicBezTo>
                      <a:pt x="7369" y="428"/>
                      <a:pt x="7369" y="428"/>
                      <a:pt x="7369" y="428"/>
                    </a:cubicBezTo>
                    <a:cubicBezTo>
                      <a:pt x="7519" y="447"/>
                      <a:pt x="7519" y="447"/>
                      <a:pt x="7519" y="447"/>
                    </a:cubicBezTo>
                    <a:cubicBezTo>
                      <a:pt x="7510" y="522"/>
                      <a:pt x="7510" y="522"/>
                      <a:pt x="7510" y="522"/>
                    </a:cubicBezTo>
                    <a:lnTo>
                      <a:pt x="7504" y="521"/>
                    </a:lnTo>
                    <a:close/>
                    <a:moveTo>
                      <a:pt x="7499" y="507"/>
                    </a:moveTo>
                    <a:cubicBezTo>
                      <a:pt x="7505" y="458"/>
                      <a:pt x="7505" y="458"/>
                      <a:pt x="7505" y="458"/>
                    </a:cubicBezTo>
                    <a:cubicBezTo>
                      <a:pt x="7380" y="443"/>
                      <a:pt x="7380" y="443"/>
                      <a:pt x="7380" y="443"/>
                    </a:cubicBezTo>
                    <a:cubicBezTo>
                      <a:pt x="7374" y="492"/>
                      <a:pt x="7374" y="492"/>
                      <a:pt x="7374" y="492"/>
                    </a:cubicBezTo>
                    <a:lnTo>
                      <a:pt x="7499" y="507"/>
                    </a:lnTo>
                    <a:close/>
                    <a:moveTo>
                      <a:pt x="131" y="2352"/>
                    </a:moveTo>
                    <a:cubicBezTo>
                      <a:pt x="215" y="2511"/>
                      <a:pt x="215" y="2511"/>
                      <a:pt x="215" y="2511"/>
                    </a:cubicBezTo>
                    <a:cubicBezTo>
                      <a:pt x="140" y="2549"/>
                      <a:pt x="140" y="2549"/>
                      <a:pt x="140" y="2549"/>
                    </a:cubicBezTo>
                    <a:cubicBezTo>
                      <a:pt x="57" y="2391"/>
                      <a:pt x="57" y="2391"/>
                      <a:pt x="57" y="2391"/>
                    </a:cubicBezTo>
                    <a:lnTo>
                      <a:pt x="131" y="2352"/>
                    </a:lnTo>
                    <a:close/>
                    <a:moveTo>
                      <a:pt x="196" y="2505"/>
                    </a:moveTo>
                    <a:cubicBezTo>
                      <a:pt x="126" y="2371"/>
                      <a:pt x="126" y="2371"/>
                      <a:pt x="126" y="2371"/>
                    </a:cubicBezTo>
                    <a:cubicBezTo>
                      <a:pt x="76" y="2397"/>
                      <a:pt x="76" y="2397"/>
                      <a:pt x="76" y="2397"/>
                    </a:cubicBezTo>
                    <a:cubicBezTo>
                      <a:pt x="146" y="2531"/>
                      <a:pt x="146" y="2531"/>
                      <a:pt x="146" y="2531"/>
                    </a:cubicBezTo>
                    <a:lnTo>
                      <a:pt x="196" y="2505"/>
                    </a:lnTo>
                    <a:close/>
                    <a:moveTo>
                      <a:pt x="7651" y="506"/>
                    </a:moveTo>
                    <a:cubicBezTo>
                      <a:pt x="7564" y="383"/>
                      <a:pt x="7564" y="383"/>
                      <a:pt x="7564" y="383"/>
                    </a:cubicBezTo>
                    <a:cubicBezTo>
                      <a:pt x="7626" y="339"/>
                      <a:pt x="7626" y="339"/>
                      <a:pt x="7626" y="339"/>
                    </a:cubicBezTo>
                    <a:cubicBezTo>
                      <a:pt x="7629" y="344"/>
                      <a:pt x="7629" y="344"/>
                      <a:pt x="7629" y="344"/>
                    </a:cubicBezTo>
                    <a:cubicBezTo>
                      <a:pt x="7713" y="463"/>
                      <a:pt x="7713" y="463"/>
                      <a:pt x="7713" y="463"/>
                    </a:cubicBezTo>
                    <a:lnTo>
                      <a:pt x="7651" y="506"/>
                    </a:lnTo>
                    <a:close/>
                    <a:moveTo>
                      <a:pt x="7582" y="386"/>
                    </a:moveTo>
                    <a:cubicBezTo>
                      <a:pt x="7654" y="488"/>
                      <a:pt x="7654" y="488"/>
                      <a:pt x="7654" y="488"/>
                    </a:cubicBezTo>
                    <a:cubicBezTo>
                      <a:pt x="7694" y="460"/>
                      <a:pt x="7694" y="460"/>
                      <a:pt x="7694" y="460"/>
                    </a:cubicBezTo>
                    <a:cubicBezTo>
                      <a:pt x="7622" y="357"/>
                      <a:pt x="7622" y="357"/>
                      <a:pt x="7622" y="357"/>
                    </a:cubicBezTo>
                    <a:lnTo>
                      <a:pt x="7582" y="386"/>
                    </a:lnTo>
                    <a:close/>
                    <a:moveTo>
                      <a:pt x="1229" y="2638"/>
                    </a:moveTo>
                    <a:cubicBezTo>
                      <a:pt x="1229" y="2638"/>
                      <a:pt x="1229" y="2638"/>
                      <a:pt x="1229" y="2638"/>
                    </a:cubicBezTo>
                    <a:cubicBezTo>
                      <a:pt x="1229" y="2638"/>
                      <a:pt x="1229" y="2638"/>
                      <a:pt x="1229" y="2638"/>
                    </a:cubicBezTo>
                    <a:cubicBezTo>
                      <a:pt x="1229" y="2638"/>
                      <a:pt x="1229" y="2638"/>
                      <a:pt x="1229" y="2638"/>
                    </a:cubicBezTo>
                    <a:close/>
                    <a:moveTo>
                      <a:pt x="10551" y="9401"/>
                    </a:moveTo>
                    <a:cubicBezTo>
                      <a:pt x="10552" y="9512"/>
                      <a:pt x="10552" y="9512"/>
                      <a:pt x="10552" y="9512"/>
                    </a:cubicBezTo>
                    <a:cubicBezTo>
                      <a:pt x="10397" y="9513"/>
                      <a:pt x="10397" y="9513"/>
                      <a:pt x="10397" y="9513"/>
                    </a:cubicBezTo>
                    <a:cubicBezTo>
                      <a:pt x="10396" y="9402"/>
                      <a:pt x="10396" y="9402"/>
                      <a:pt x="10396" y="9402"/>
                    </a:cubicBezTo>
                    <a:cubicBezTo>
                      <a:pt x="10403" y="9402"/>
                      <a:pt x="10403" y="9402"/>
                      <a:pt x="10403" y="9402"/>
                    </a:cubicBezTo>
                    <a:lnTo>
                      <a:pt x="10551" y="9401"/>
                    </a:lnTo>
                    <a:close/>
                    <a:moveTo>
                      <a:pt x="10539" y="9499"/>
                    </a:moveTo>
                    <a:cubicBezTo>
                      <a:pt x="10538" y="9414"/>
                      <a:pt x="10538" y="9414"/>
                      <a:pt x="10538" y="9414"/>
                    </a:cubicBezTo>
                    <a:cubicBezTo>
                      <a:pt x="10409" y="9415"/>
                      <a:pt x="10409" y="9415"/>
                      <a:pt x="10409" y="9415"/>
                    </a:cubicBezTo>
                    <a:cubicBezTo>
                      <a:pt x="10410" y="9500"/>
                      <a:pt x="10410" y="9500"/>
                      <a:pt x="10410" y="9500"/>
                    </a:cubicBezTo>
                    <a:lnTo>
                      <a:pt x="10539" y="9499"/>
                    </a:lnTo>
                    <a:close/>
                    <a:moveTo>
                      <a:pt x="1227" y="2637"/>
                    </a:moveTo>
                    <a:cubicBezTo>
                      <a:pt x="1227" y="2637"/>
                      <a:pt x="1227" y="2637"/>
                      <a:pt x="1227" y="2637"/>
                    </a:cubicBezTo>
                    <a:cubicBezTo>
                      <a:pt x="1228" y="2637"/>
                      <a:pt x="1228" y="2637"/>
                      <a:pt x="1228" y="2637"/>
                    </a:cubicBezTo>
                    <a:cubicBezTo>
                      <a:pt x="1227" y="2637"/>
                      <a:pt x="1227" y="2637"/>
                      <a:pt x="1227" y="2637"/>
                    </a:cubicBezTo>
                    <a:close/>
                    <a:moveTo>
                      <a:pt x="8796" y="4057"/>
                    </a:moveTo>
                    <a:cubicBezTo>
                      <a:pt x="8796" y="4150"/>
                      <a:pt x="8796" y="4150"/>
                      <a:pt x="8796" y="4150"/>
                    </a:cubicBezTo>
                    <a:cubicBezTo>
                      <a:pt x="8861" y="4150"/>
                      <a:pt x="8861" y="4150"/>
                      <a:pt x="8861" y="4150"/>
                    </a:cubicBezTo>
                    <a:cubicBezTo>
                      <a:pt x="8861" y="4282"/>
                      <a:pt x="8861" y="4282"/>
                      <a:pt x="8861" y="4282"/>
                    </a:cubicBezTo>
                    <a:cubicBezTo>
                      <a:pt x="8318" y="4282"/>
                      <a:pt x="8318" y="4282"/>
                      <a:pt x="8318" y="4282"/>
                    </a:cubicBezTo>
                    <a:cubicBezTo>
                      <a:pt x="8318" y="4151"/>
                      <a:pt x="8318" y="4151"/>
                      <a:pt x="8318" y="4151"/>
                    </a:cubicBezTo>
                    <a:cubicBezTo>
                      <a:pt x="8381" y="4151"/>
                      <a:pt x="8381" y="4151"/>
                      <a:pt x="8381" y="4151"/>
                    </a:cubicBezTo>
                    <a:cubicBezTo>
                      <a:pt x="8381" y="4060"/>
                      <a:pt x="8381" y="4060"/>
                      <a:pt x="8381" y="4060"/>
                    </a:cubicBezTo>
                    <a:cubicBezTo>
                      <a:pt x="8316" y="4060"/>
                      <a:pt x="8316" y="4060"/>
                      <a:pt x="8316" y="4060"/>
                    </a:cubicBezTo>
                    <a:cubicBezTo>
                      <a:pt x="8316" y="3929"/>
                      <a:pt x="8316" y="3929"/>
                      <a:pt x="8316" y="3929"/>
                    </a:cubicBezTo>
                    <a:cubicBezTo>
                      <a:pt x="8860" y="3929"/>
                      <a:pt x="8860" y="3929"/>
                      <a:pt x="8860" y="3929"/>
                    </a:cubicBezTo>
                    <a:cubicBezTo>
                      <a:pt x="8860" y="3937"/>
                      <a:pt x="8860" y="3937"/>
                      <a:pt x="8860" y="3937"/>
                    </a:cubicBezTo>
                    <a:cubicBezTo>
                      <a:pt x="8862" y="4057"/>
                      <a:pt x="8862" y="4057"/>
                      <a:pt x="8862" y="4057"/>
                    </a:cubicBezTo>
                    <a:lnTo>
                      <a:pt x="8796" y="4057"/>
                    </a:lnTo>
                    <a:close/>
                    <a:moveTo>
                      <a:pt x="8782" y="4164"/>
                    </a:moveTo>
                    <a:cubicBezTo>
                      <a:pt x="8782" y="4043"/>
                      <a:pt x="8782" y="4043"/>
                      <a:pt x="8782" y="4043"/>
                    </a:cubicBezTo>
                    <a:cubicBezTo>
                      <a:pt x="8847" y="4043"/>
                      <a:pt x="8847" y="4043"/>
                      <a:pt x="8847" y="4043"/>
                    </a:cubicBezTo>
                    <a:cubicBezTo>
                      <a:pt x="8846" y="3944"/>
                      <a:pt x="8846" y="3944"/>
                      <a:pt x="8846" y="3944"/>
                    </a:cubicBezTo>
                    <a:cubicBezTo>
                      <a:pt x="8331" y="3944"/>
                      <a:pt x="8331" y="3944"/>
                      <a:pt x="8331" y="3944"/>
                    </a:cubicBezTo>
                    <a:cubicBezTo>
                      <a:pt x="8331" y="4045"/>
                      <a:pt x="8331" y="4045"/>
                      <a:pt x="8331" y="4045"/>
                    </a:cubicBezTo>
                    <a:cubicBezTo>
                      <a:pt x="8396" y="4045"/>
                      <a:pt x="8396" y="4045"/>
                      <a:pt x="8396" y="4045"/>
                    </a:cubicBezTo>
                    <a:cubicBezTo>
                      <a:pt x="8396" y="4166"/>
                      <a:pt x="8396" y="4166"/>
                      <a:pt x="8396" y="4166"/>
                    </a:cubicBezTo>
                    <a:cubicBezTo>
                      <a:pt x="8332" y="4166"/>
                      <a:pt x="8332" y="4166"/>
                      <a:pt x="8332" y="4166"/>
                    </a:cubicBezTo>
                    <a:cubicBezTo>
                      <a:pt x="8332" y="4267"/>
                      <a:pt x="8332" y="4267"/>
                      <a:pt x="8332" y="4267"/>
                    </a:cubicBezTo>
                    <a:cubicBezTo>
                      <a:pt x="8847" y="4267"/>
                      <a:pt x="8847" y="4267"/>
                      <a:pt x="8847" y="4267"/>
                    </a:cubicBezTo>
                    <a:cubicBezTo>
                      <a:pt x="8847" y="4164"/>
                      <a:pt x="8847" y="4164"/>
                      <a:pt x="8847" y="4164"/>
                    </a:cubicBezTo>
                    <a:lnTo>
                      <a:pt x="8782" y="4164"/>
                    </a:lnTo>
                    <a:close/>
                    <a:moveTo>
                      <a:pt x="2005" y="129"/>
                    </a:moveTo>
                    <a:cubicBezTo>
                      <a:pt x="1963" y="101"/>
                      <a:pt x="1963" y="101"/>
                      <a:pt x="1963" y="101"/>
                    </a:cubicBezTo>
                    <a:cubicBezTo>
                      <a:pt x="1905" y="187"/>
                      <a:pt x="1905" y="187"/>
                      <a:pt x="1905" y="187"/>
                    </a:cubicBezTo>
                    <a:cubicBezTo>
                      <a:pt x="1911" y="225"/>
                      <a:pt x="1911" y="225"/>
                      <a:pt x="1911" y="225"/>
                    </a:cubicBezTo>
                    <a:cubicBezTo>
                      <a:pt x="1872" y="278"/>
                      <a:pt x="1872" y="278"/>
                      <a:pt x="1872" y="278"/>
                    </a:cubicBezTo>
                    <a:cubicBezTo>
                      <a:pt x="1826" y="225"/>
                      <a:pt x="1826" y="225"/>
                      <a:pt x="1826" y="225"/>
                    </a:cubicBezTo>
                    <a:cubicBezTo>
                      <a:pt x="1835" y="136"/>
                      <a:pt x="1835" y="136"/>
                      <a:pt x="1835" y="136"/>
                    </a:cubicBezTo>
                    <a:cubicBezTo>
                      <a:pt x="1865" y="152"/>
                      <a:pt x="1865" y="152"/>
                      <a:pt x="1865" y="152"/>
                    </a:cubicBezTo>
                    <a:cubicBezTo>
                      <a:pt x="1991" y="0"/>
                      <a:pt x="1991" y="0"/>
                      <a:pt x="1991" y="0"/>
                    </a:cubicBezTo>
                    <a:cubicBezTo>
                      <a:pt x="1972" y="0"/>
                      <a:pt x="1972" y="0"/>
                      <a:pt x="1972" y="0"/>
                    </a:cubicBezTo>
                    <a:cubicBezTo>
                      <a:pt x="1861" y="133"/>
                      <a:pt x="1861" y="133"/>
                      <a:pt x="1861" y="133"/>
                    </a:cubicBezTo>
                    <a:cubicBezTo>
                      <a:pt x="1823" y="113"/>
                      <a:pt x="1823" y="113"/>
                      <a:pt x="1823" y="113"/>
                    </a:cubicBezTo>
                    <a:cubicBezTo>
                      <a:pt x="1810" y="230"/>
                      <a:pt x="1810" y="230"/>
                      <a:pt x="1810" y="230"/>
                    </a:cubicBezTo>
                    <a:cubicBezTo>
                      <a:pt x="1873" y="302"/>
                      <a:pt x="1873" y="302"/>
                      <a:pt x="1873" y="302"/>
                    </a:cubicBezTo>
                    <a:cubicBezTo>
                      <a:pt x="1927" y="228"/>
                      <a:pt x="1927" y="228"/>
                      <a:pt x="1927" y="228"/>
                    </a:cubicBezTo>
                    <a:cubicBezTo>
                      <a:pt x="1920" y="190"/>
                      <a:pt x="1920" y="190"/>
                      <a:pt x="1920" y="190"/>
                    </a:cubicBezTo>
                    <a:cubicBezTo>
                      <a:pt x="1967" y="122"/>
                      <a:pt x="1967" y="122"/>
                      <a:pt x="1967" y="122"/>
                    </a:cubicBezTo>
                    <a:cubicBezTo>
                      <a:pt x="2007" y="148"/>
                      <a:pt x="2007" y="148"/>
                      <a:pt x="2007" y="148"/>
                    </a:cubicBezTo>
                    <a:cubicBezTo>
                      <a:pt x="2168" y="4"/>
                      <a:pt x="2168" y="4"/>
                      <a:pt x="2168" y="4"/>
                    </a:cubicBezTo>
                    <a:cubicBezTo>
                      <a:pt x="2172" y="0"/>
                      <a:pt x="2172" y="0"/>
                      <a:pt x="2172" y="0"/>
                    </a:cubicBezTo>
                    <a:cubicBezTo>
                      <a:pt x="2150" y="0"/>
                      <a:pt x="2150" y="0"/>
                      <a:pt x="2150" y="0"/>
                    </a:cubicBezTo>
                    <a:lnTo>
                      <a:pt x="2005" y="129"/>
                    </a:lnTo>
                    <a:close/>
                    <a:moveTo>
                      <a:pt x="299" y="2401"/>
                    </a:moveTo>
                    <a:cubicBezTo>
                      <a:pt x="302" y="2347"/>
                      <a:pt x="302" y="2347"/>
                      <a:pt x="302" y="2347"/>
                    </a:cubicBezTo>
                    <a:cubicBezTo>
                      <a:pt x="260" y="2346"/>
                      <a:pt x="260" y="2346"/>
                      <a:pt x="260" y="2346"/>
                    </a:cubicBezTo>
                    <a:cubicBezTo>
                      <a:pt x="213" y="2259"/>
                      <a:pt x="213" y="2259"/>
                      <a:pt x="213" y="2259"/>
                    </a:cubicBezTo>
                    <a:cubicBezTo>
                      <a:pt x="225" y="2173"/>
                      <a:pt x="225" y="2173"/>
                      <a:pt x="225" y="2173"/>
                    </a:cubicBezTo>
                    <a:cubicBezTo>
                      <a:pt x="358" y="2125"/>
                      <a:pt x="358" y="2125"/>
                      <a:pt x="358" y="2125"/>
                    </a:cubicBezTo>
                    <a:cubicBezTo>
                      <a:pt x="398" y="2196"/>
                      <a:pt x="398" y="2196"/>
                      <a:pt x="398" y="2196"/>
                    </a:cubicBezTo>
                    <a:cubicBezTo>
                      <a:pt x="299" y="2197"/>
                      <a:pt x="299" y="2197"/>
                      <a:pt x="299" y="2197"/>
                    </a:cubicBezTo>
                    <a:cubicBezTo>
                      <a:pt x="292" y="2265"/>
                      <a:pt x="292" y="2265"/>
                      <a:pt x="292" y="2265"/>
                    </a:cubicBezTo>
                    <a:cubicBezTo>
                      <a:pt x="396" y="2265"/>
                      <a:pt x="396" y="2265"/>
                      <a:pt x="396" y="2265"/>
                    </a:cubicBezTo>
                    <a:cubicBezTo>
                      <a:pt x="383" y="2375"/>
                      <a:pt x="383" y="2375"/>
                      <a:pt x="383" y="2375"/>
                    </a:cubicBezTo>
                    <a:cubicBezTo>
                      <a:pt x="513" y="2647"/>
                      <a:pt x="513" y="2647"/>
                      <a:pt x="513" y="2647"/>
                    </a:cubicBezTo>
                    <a:cubicBezTo>
                      <a:pt x="445" y="2678"/>
                      <a:pt x="445" y="2678"/>
                      <a:pt x="445" y="2678"/>
                    </a:cubicBezTo>
                    <a:lnTo>
                      <a:pt x="299" y="2401"/>
                    </a:lnTo>
                    <a:close/>
                    <a:moveTo>
                      <a:pt x="303" y="2333"/>
                    </a:moveTo>
                    <a:cubicBezTo>
                      <a:pt x="317" y="2333"/>
                      <a:pt x="317" y="2333"/>
                      <a:pt x="317" y="2333"/>
                    </a:cubicBezTo>
                    <a:cubicBezTo>
                      <a:pt x="316" y="2348"/>
                      <a:pt x="316" y="2348"/>
                      <a:pt x="316" y="2348"/>
                    </a:cubicBezTo>
                    <a:cubicBezTo>
                      <a:pt x="313" y="2398"/>
                      <a:pt x="313" y="2398"/>
                      <a:pt x="313" y="2398"/>
                    </a:cubicBezTo>
                    <a:cubicBezTo>
                      <a:pt x="451" y="2660"/>
                      <a:pt x="451" y="2660"/>
                      <a:pt x="451" y="2660"/>
                    </a:cubicBezTo>
                    <a:cubicBezTo>
                      <a:pt x="494" y="2640"/>
                      <a:pt x="494" y="2640"/>
                      <a:pt x="494" y="2640"/>
                    </a:cubicBezTo>
                    <a:cubicBezTo>
                      <a:pt x="370" y="2381"/>
                      <a:pt x="370" y="2381"/>
                      <a:pt x="370" y="2381"/>
                    </a:cubicBezTo>
                    <a:cubicBezTo>
                      <a:pt x="368" y="2377"/>
                      <a:pt x="368" y="2377"/>
                      <a:pt x="368" y="2377"/>
                    </a:cubicBezTo>
                    <a:cubicBezTo>
                      <a:pt x="369" y="2373"/>
                      <a:pt x="369" y="2373"/>
                      <a:pt x="369" y="2373"/>
                    </a:cubicBezTo>
                    <a:cubicBezTo>
                      <a:pt x="380" y="2279"/>
                      <a:pt x="380" y="2279"/>
                      <a:pt x="380" y="2279"/>
                    </a:cubicBezTo>
                    <a:cubicBezTo>
                      <a:pt x="292" y="2279"/>
                      <a:pt x="292" y="2279"/>
                      <a:pt x="292" y="2279"/>
                    </a:cubicBezTo>
                    <a:cubicBezTo>
                      <a:pt x="276" y="2279"/>
                      <a:pt x="276" y="2279"/>
                      <a:pt x="276" y="2279"/>
                    </a:cubicBezTo>
                    <a:cubicBezTo>
                      <a:pt x="278" y="2263"/>
                      <a:pt x="278" y="2263"/>
                      <a:pt x="278" y="2263"/>
                    </a:cubicBezTo>
                    <a:cubicBezTo>
                      <a:pt x="285" y="2196"/>
                      <a:pt x="285" y="2196"/>
                      <a:pt x="285" y="2196"/>
                    </a:cubicBezTo>
                    <a:cubicBezTo>
                      <a:pt x="286" y="2183"/>
                      <a:pt x="286" y="2183"/>
                      <a:pt x="286" y="2183"/>
                    </a:cubicBezTo>
                    <a:cubicBezTo>
                      <a:pt x="299" y="2183"/>
                      <a:pt x="299" y="2183"/>
                      <a:pt x="299" y="2183"/>
                    </a:cubicBezTo>
                    <a:cubicBezTo>
                      <a:pt x="375" y="2182"/>
                      <a:pt x="375" y="2182"/>
                      <a:pt x="375" y="2182"/>
                    </a:cubicBezTo>
                    <a:cubicBezTo>
                      <a:pt x="352" y="2142"/>
                      <a:pt x="352" y="2142"/>
                      <a:pt x="352" y="2142"/>
                    </a:cubicBezTo>
                    <a:cubicBezTo>
                      <a:pt x="238" y="2183"/>
                      <a:pt x="238" y="2183"/>
                      <a:pt x="238" y="2183"/>
                    </a:cubicBezTo>
                    <a:cubicBezTo>
                      <a:pt x="227" y="2256"/>
                      <a:pt x="227" y="2256"/>
                      <a:pt x="227" y="2256"/>
                    </a:cubicBezTo>
                    <a:cubicBezTo>
                      <a:pt x="269" y="2332"/>
                      <a:pt x="269" y="2332"/>
                      <a:pt x="269" y="2332"/>
                    </a:cubicBezTo>
                    <a:lnTo>
                      <a:pt x="303" y="2333"/>
                    </a:lnTo>
                    <a:close/>
                    <a:moveTo>
                      <a:pt x="8719" y="4052"/>
                    </a:moveTo>
                    <a:cubicBezTo>
                      <a:pt x="8724" y="4163"/>
                      <a:pt x="8724" y="4163"/>
                      <a:pt x="8724" y="4163"/>
                    </a:cubicBezTo>
                    <a:cubicBezTo>
                      <a:pt x="8460" y="4163"/>
                      <a:pt x="8460" y="4163"/>
                      <a:pt x="8460" y="4163"/>
                    </a:cubicBezTo>
                    <a:cubicBezTo>
                      <a:pt x="8460" y="4045"/>
                      <a:pt x="8460" y="4045"/>
                      <a:pt x="8460" y="4045"/>
                    </a:cubicBezTo>
                    <a:cubicBezTo>
                      <a:pt x="8719" y="4045"/>
                      <a:pt x="8719" y="4045"/>
                      <a:pt x="8719" y="4045"/>
                    </a:cubicBezTo>
                    <a:lnTo>
                      <a:pt x="8719" y="4052"/>
                    </a:lnTo>
                    <a:close/>
                    <a:moveTo>
                      <a:pt x="8708" y="4148"/>
                    </a:moveTo>
                    <a:cubicBezTo>
                      <a:pt x="8705" y="4060"/>
                      <a:pt x="8705" y="4060"/>
                      <a:pt x="8705" y="4060"/>
                    </a:cubicBezTo>
                    <a:cubicBezTo>
                      <a:pt x="8474" y="4060"/>
                      <a:pt x="8474" y="4060"/>
                      <a:pt x="8474" y="4060"/>
                    </a:cubicBezTo>
                    <a:cubicBezTo>
                      <a:pt x="8474" y="4148"/>
                      <a:pt x="8474" y="4148"/>
                      <a:pt x="8474" y="4148"/>
                    </a:cubicBezTo>
                    <a:lnTo>
                      <a:pt x="8708" y="4148"/>
                    </a:lnTo>
                    <a:close/>
                    <a:moveTo>
                      <a:pt x="1228" y="2637"/>
                    </a:moveTo>
                    <a:cubicBezTo>
                      <a:pt x="1228" y="2637"/>
                      <a:pt x="1228" y="2637"/>
                      <a:pt x="1228" y="2637"/>
                    </a:cubicBezTo>
                    <a:cubicBezTo>
                      <a:pt x="1228" y="2637"/>
                      <a:pt x="1228" y="2637"/>
                      <a:pt x="1229" y="2637"/>
                    </a:cubicBezTo>
                    <a:lnTo>
                      <a:pt x="1228" y="2637"/>
                    </a:lnTo>
                    <a:close/>
                    <a:moveTo>
                      <a:pt x="1959" y="581"/>
                    </a:moveTo>
                    <a:cubicBezTo>
                      <a:pt x="1891" y="551"/>
                      <a:pt x="1891" y="551"/>
                      <a:pt x="1891" y="551"/>
                    </a:cubicBezTo>
                    <a:cubicBezTo>
                      <a:pt x="1911" y="385"/>
                      <a:pt x="1911" y="385"/>
                      <a:pt x="1911" y="385"/>
                    </a:cubicBezTo>
                    <a:cubicBezTo>
                      <a:pt x="1965" y="347"/>
                      <a:pt x="1965" y="347"/>
                      <a:pt x="1965" y="347"/>
                    </a:cubicBezTo>
                    <a:cubicBezTo>
                      <a:pt x="2004" y="375"/>
                      <a:pt x="2004" y="375"/>
                      <a:pt x="2004" y="375"/>
                    </a:cubicBezTo>
                    <a:cubicBezTo>
                      <a:pt x="2083" y="304"/>
                      <a:pt x="2083" y="304"/>
                      <a:pt x="2083" y="304"/>
                    </a:cubicBezTo>
                    <a:cubicBezTo>
                      <a:pt x="2055" y="264"/>
                      <a:pt x="2055" y="264"/>
                      <a:pt x="2055" y="264"/>
                    </a:cubicBezTo>
                    <a:cubicBezTo>
                      <a:pt x="2229" y="59"/>
                      <a:pt x="2229" y="59"/>
                      <a:pt x="2229" y="59"/>
                    </a:cubicBezTo>
                    <a:cubicBezTo>
                      <a:pt x="2344" y="131"/>
                      <a:pt x="2344" y="131"/>
                      <a:pt x="2344" y="131"/>
                    </a:cubicBezTo>
                    <a:cubicBezTo>
                      <a:pt x="2340" y="138"/>
                      <a:pt x="2340" y="138"/>
                      <a:pt x="2340" y="138"/>
                    </a:cubicBezTo>
                    <a:cubicBezTo>
                      <a:pt x="2192" y="369"/>
                      <a:pt x="2192" y="369"/>
                      <a:pt x="2192" y="369"/>
                    </a:cubicBezTo>
                    <a:cubicBezTo>
                      <a:pt x="2143" y="346"/>
                      <a:pt x="2143" y="346"/>
                      <a:pt x="2143" y="346"/>
                    </a:cubicBezTo>
                    <a:cubicBezTo>
                      <a:pt x="2089" y="410"/>
                      <a:pt x="2089" y="410"/>
                      <a:pt x="2089" y="410"/>
                    </a:cubicBezTo>
                    <a:cubicBezTo>
                      <a:pt x="2117" y="460"/>
                      <a:pt x="2117" y="460"/>
                      <a:pt x="2117" y="460"/>
                    </a:cubicBezTo>
                    <a:lnTo>
                      <a:pt x="1959" y="581"/>
                    </a:lnTo>
                    <a:close/>
                    <a:moveTo>
                      <a:pt x="1957" y="564"/>
                    </a:moveTo>
                    <a:cubicBezTo>
                      <a:pt x="2098" y="456"/>
                      <a:pt x="2098" y="456"/>
                      <a:pt x="2098" y="456"/>
                    </a:cubicBezTo>
                    <a:cubicBezTo>
                      <a:pt x="2071" y="408"/>
                      <a:pt x="2071" y="408"/>
                      <a:pt x="2071" y="408"/>
                    </a:cubicBezTo>
                    <a:cubicBezTo>
                      <a:pt x="2139" y="328"/>
                      <a:pt x="2139" y="328"/>
                      <a:pt x="2139" y="328"/>
                    </a:cubicBezTo>
                    <a:cubicBezTo>
                      <a:pt x="2187" y="350"/>
                      <a:pt x="2187" y="350"/>
                      <a:pt x="2187" y="350"/>
                    </a:cubicBezTo>
                    <a:cubicBezTo>
                      <a:pt x="2323" y="136"/>
                      <a:pt x="2323" y="136"/>
                      <a:pt x="2323" y="136"/>
                    </a:cubicBezTo>
                    <a:cubicBezTo>
                      <a:pt x="2232" y="78"/>
                      <a:pt x="2232" y="78"/>
                      <a:pt x="2232" y="78"/>
                    </a:cubicBezTo>
                    <a:cubicBezTo>
                      <a:pt x="2073" y="265"/>
                      <a:pt x="2073" y="265"/>
                      <a:pt x="2073" y="265"/>
                    </a:cubicBezTo>
                    <a:cubicBezTo>
                      <a:pt x="2102" y="307"/>
                      <a:pt x="2102" y="307"/>
                      <a:pt x="2102" y="307"/>
                    </a:cubicBezTo>
                    <a:cubicBezTo>
                      <a:pt x="2004" y="394"/>
                      <a:pt x="2004" y="394"/>
                      <a:pt x="2004" y="394"/>
                    </a:cubicBezTo>
                    <a:cubicBezTo>
                      <a:pt x="1965" y="365"/>
                      <a:pt x="1965" y="365"/>
                      <a:pt x="1965" y="365"/>
                    </a:cubicBezTo>
                    <a:cubicBezTo>
                      <a:pt x="1925" y="394"/>
                      <a:pt x="1925" y="394"/>
                      <a:pt x="1925" y="394"/>
                    </a:cubicBezTo>
                    <a:cubicBezTo>
                      <a:pt x="1907" y="542"/>
                      <a:pt x="1907" y="542"/>
                      <a:pt x="1907" y="542"/>
                    </a:cubicBezTo>
                    <a:lnTo>
                      <a:pt x="1957" y="564"/>
                    </a:lnTo>
                    <a:close/>
                    <a:moveTo>
                      <a:pt x="583" y="4010"/>
                    </a:moveTo>
                    <a:cubicBezTo>
                      <a:pt x="648" y="4060"/>
                      <a:pt x="648" y="4060"/>
                      <a:pt x="648" y="4060"/>
                    </a:cubicBezTo>
                    <a:cubicBezTo>
                      <a:pt x="640" y="4065"/>
                      <a:pt x="640" y="4065"/>
                      <a:pt x="640" y="4065"/>
                    </a:cubicBezTo>
                    <a:cubicBezTo>
                      <a:pt x="458" y="4194"/>
                      <a:pt x="458" y="4194"/>
                      <a:pt x="458" y="4194"/>
                    </a:cubicBezTo>
                    <a:cubicBezTo>
                      <a:pt x="172" y="3797"/>
                      <a:pt x="172" y="3797"/>
                      <a:pt x="172" y="3797"/>
                    </a:cubicBezTo>
                    <a:cubicBezTo>
                      <a:pt x="268" y="3768"/>
                      <a:pt x="268" y="3768"/>
                      <a:pt x="268" y="3768"/>
                    </a:cubicBezTo>
                    <a:cubicBezTo>
                      <a:pt x="337" y="3876"/>
                      <a:pt x="337" y="3876"/>
                      <a:pt x="337" y="3876"/>
                    </a:cubicBezTo>
                    <a:cubicBezTo>
                      <a:pt x="386" y="3853"/>
                      <a:pt x="386" y="3853"/>
                      <a:pt x="386" y="3853"/>
                    </a:cubicBezTo>
                    <a:cubicBezTo>
                      <a:pt x="447" y="3948"/>
                      <a:pt x="447" y="3948"/>
                      <a:pt x="447" y="3948"/>
                    </a:cubicBezTo>
                    <a:cubicBezTo>
                      <a:pt x="510" y="3922"/>
                      <a:pt x="510" y="3922"/>
                      <a:pt x="510" y="3922"/>
                    </a:cubicBezTo>
                    <a:cubicBezTo>
                      <a:pt x="552" y="3975"/>
                      <a:pt x="552" y="3975"/>
                      <a:pt x="552" y="3975"/>
                    </a:cubicBezTo>
                    <a:cubicBezTo>
                      <a:pt x="444" y="4042"/>
                      <a:pt x="444" y="4042"/>
                      <a:pt x="444" y="4042"/>
                    </a:cubicBezTo>
                    <a:cubicBezTo>
                      <a:pt x="472" y="4071"/>
                      <a:pt x="472" y="4071"/>
                      <a:pt x="472" y="4071"/>
                    </a:cubicBezTo>
                    <a:lnTo>
                      <a:pt x="583" y="4010"/>
                    </a:lnTo>
                    <a:close/>
                    <a:moveTo>
                      <a:pt x="623" y="4059"/>
                    </a:moveTo>
                    <a:cubicBezTo>
                      <a:pt x="582" y="4028"/>
                      <a:pt x="582" y="4028"/>
                      <a:pt x="582" y="4028"/>
                    </a:cubicBezTo>
                    <a:cubicBezTo>
                      <a:pt x="470" y="4089"/>
                      <a:pt x="470" y="4089"/>
                      <a:pt x="470" y="4089"/>
                    </a:cubicBezTo>
                    <a:cubicBezTo>
                      <a:pt x="420" y="4040"/>
                      <a:pt x="420" y="4040"/>
                      <a:pt x="420" y="4040"/>
                    </a:cubicBezTo>
                    <a:cubicBezTo>
                      <a:pt x="531" y="3972"/>
                      <a:pt x="531" y="3972"/>
                      <a:pt x="531" y="3972"/>
                    </a:cubicBezTo>
                    <a:cubicBezTo>
                      <a:pt x="505" y="3940"/>
                      <a:pt x="505" y="3940"/>
                      <a:pt x="505" y="3940"/>
                    </a:cubicBezTo>
                    <a:cubicBezTo>
                      <a:pt x="441" y="3966"/>
                      <a:pt x="441" y="3966"/>
                      <a:pt x="441" y="3966"/>
                    </a:cubicBezTo>
                    <a:cubicBezTo>
                      <a:pt x="381" y="3872"/>
                      <a:pt x="381" y="3872"/>
                      <a:pt x="381" y="3872"/>
                    </a:cubicBezTo>
                    <a:cubicBezTo>
                      <a:pt x="331" y="3895"/>
                      <a:pt x="331" y="3895"/>
                      <a:pt x="331" y="3895"/>
                    </a:cubicBezTo>
                    <a:cubicBezTo>
                      <a:pt x="262" y="3785"/>
                      <a:pt x="262" y="3785"/>
                      <a:pt x="262" y="3785"/>
                    </a:cubicBezTo>
                    <a:cubicBezTo>
                      <a:pt x="196" y="3805"/>
                      <a:pt x="196" y="3805"/>
                      <a:pt x="196" y="3805"/>
                    </a:cubicBezTo>
                    <a:cubicBezTo>
                      <a:pt x="461" y="4174"/>
                      <a:pt x="461" y="4174"/>
                      <a:pt x="461" y="4174"/>
                    </a:cubicBezTo>
                    <a:lnTo>
                      <a:pt x="623" y="4059"/>
                    </a:lnTo>
                    <a:close/>
                    <a:moveTo>
                      <a:pt x="2626" y="141"/>
                    </a:moveTo>
                    <a:cubicBezTo>
                      <a:pt x="2645" y="43"/>
                      <a:pt x="2645" y="43"/>
                      <a:pt x="2645" y="43"/>
                    </a:cubicBezTo>
                    <a:cubicBezTo>
                      <a:pt x="2770" y="84"/>
                      <a:pt x="2770" y="84"/>
                      <a:pt x="2770" y="84"/>
                    </a:cubicBezTo>
                    <a:cubicBezTo>
                      <a:pt x="2775" y="0"/>
                      <a:pt x="2775" y="0"/>
                      <a:pt x="2775" y="0"/>
                    </a:cubicBezTo>
                    <a:cubicBezTo>
                      <a:pt x="2761" y="0"/>
                      <a:pt x="2761" y="0"/>
                      <a:pt x="2761" y="0"/>
                    </a:cubicBezTo>
                    <a:cubicBezTo>
                      <a:pt x="2756" y="64"/>
                      <a:pt x="2756" y="64"/>
                      <a:pt x="2756" y="64"/>
                    </a:cubicBezTo>
                    <a:cubicBezTo>
                      <a:pt x="2634" y="23"/>
                      <a:pt x="2634" y="23"/>
                      <a:pt x="2634" y="23"/>
                    </a:cubicBezTo>
                    <a:cubicBezTo>
                      <a:pt x="2616" y="117"/>
                      <a:pt x="2616" y="117"/>
                      <a:pt x="2616" y="117"/>
                    </a:cubicBezTo>
                    <a:cubicBezTo>
                      <a:pt x="2531" y="64"/>
                      <a:pt x="2531" y="64"/>
                      <a:pt x="2531" y="64"/>
                    </a:cubicBezTo>
                    <a:cubicBezTo>
                      <a:pt x="2546" y="0"/>
                      <a:pt x="2546" y="0"/>
                      <a:pt x="2546" y="0"/>
                    </a:cubicBezTo>
                    <a:cubicBezTo>
                      <a:pt x="2530" y="0"/>
                      <a:pt x="2530" y="0"/>
                      <a:pt x="2530" y="0"/>
                    </a:cubicBezTo>
                    <a:cubicBezTo>
                      <a:pt x="2514" y="70"/>
                      <a:pt x="2514" y="70"/>
                      <a:pt x="2514" y="70"/>
                    </a:cubicBezTo>
                    <a:lnTo>
                      <a:pt x="2626" y="141"/>
                    </a:lnTo>
                    <a:close/>
                    <a:moveTo>
                      <a:pt x="2606" y="742"/>
                    </a:moveTo>
                    <a:cubicBezTo>
                      <a:pt x="2540" y="755"/>
                      <a:pt x="2540" y="755"/>
                      <a:pt x="2540" y="755"/>
                    </a:cubicBezTo>
                    <a:cubicBezTo>
                      <a:pt x="2727" y="347"/>
                      <a:pt x="2727" y="347"/>
                      <a:pt x="2727" y="347"/>
                    </a:cubicBezTo>
                    <a:cubicBezTo>
                      <a:pt x="2831" y="369"/>
                      <a:pt x="2831" y="369"/>
                      <a:pt x="2831" y="369"/>
                    </a:cubicBezTo>
                    <a:cubicBezTo>
                      <a:pt x="2832" y="373"/>
                      <a:pt x="2832" y="373"/>
                      <a:pt x="2832" y="373"/>
                    </a:cubicBezTo>
                    <a:cubicBezTo>
                      <a:pt x="2860" y="463"/>
                      <a:pt x="2860" y="463"/>
                      <a:pt x="2860" y="463"/>
                    </a:cubicBezTo>
                    <a:lnTo>
                      <a:pt x="2606" y="742"/>
                    </a:lnTo>
                    <a:close/>
                    <a:moveTo>
                      <a:pt x="2598" y="729"/>
                    </a:moveTo>
                    <a:cubicBezTo>
                      <a:pt x="2844" y="459"/>
                      <a:pt x="2844" y="459"/>
                      <a:pt x="2844" y="459"/>
                    </a:cubicBezTo>
                    <a:cubicBezTo>
                      <a:pt x="2819" y="382"/>
                      <a:pt x="2819" y="382"/>
                      <a:pt x="2819" y="382"/>
                    </a:cubicBezTo>
                    <a:cubicBezTo>
                      <a:pt x="2735" y="364"/>
                      <a:pt x="2735" y="364"/>
                      <a:pt x="2735" y="364"/>
                    </a:cubicBezTo>
                    <a:cubicBezTo>
                      <a:pt x="2565" y="735"/>
                      <a:pt x="2565" y="735"/>
                      <a:pt x="2565" y="735"/>
                    </a:cubicBezTo>
                    <a:lnTo>
                      <a:pt x="2598" y="729"/>
                    </a:lnTo>
                    <a:close/>
                    <a:moveTo>
                      <a:pt x="937" y="594"/>
                    </a:moveTo>
                    <a:cubicBezTo>
                      <a:pt x="992" y="568"/>
                      <a:pt x="992" y="568"/>
                      <a:pt x="992" y="568"/>
                    </a:cubicBezTo>
                    <a:cubicBezTo>
                      <a:pt x="977" y="525"/>
                      <a:pt x="977" y="525"/>
                      <a:pt x="977" y="525"/>
                    </a:cubicBezTo>
                    <a:cubicBezTo>
                      <a:pt x="1068" y="488"/>
                      <a:pt x="1068" y="488"/>
                      <a:pt x="1068" y="488"/>
                    </a:cubicBezTo>
                    <a:cubicBezTo>
                      <a:pt x="1102" y="586"/>
                      <a:pt x="1102" y="586"/>
                      <a:pt x="1102" y="586"/>
                    </a:cubicBezTo>
                    <a:cubicBezTo>
                      <a:pt x="1046" y="609"/>
                      <a:pt x="1046" y="609"/>
                      <a:pt x="1046" y="609"/>
                    </a:cubicBezTo>
                    <a:cubicBezTo>
                      <a:pt x="1053" y="628"/>
                      <a:pt x="1053" y="628"/>
                      <a:pt x="1053" y="628"/>
                    </a:cubicBezTo>
                    <a:cubicBezTo>
                      <a:pt x="1084" y="618"/>
                      <a:pt x="1084" y="618"/>
                      <a:pt x="1084" y="618"/>
                    </a:cubicBezTo>
                    <a:cubicBezTo>
                      <a:pt x="1117" y="717"/>
                      <a:pt x="1117" y="717"/>
                      <a:pt x="1117" y="717"/>
                    </a:cubicBezTo>
                    <a:cubicBezTo>
                      <a:pt x="1060" y="741"/>
                      <a:pt x="1060" y="741"/>
                      <a:pt x="1060" y="741"/>
                    </a:cubicBezTo>
                    <a:cubicBezTo>
                      <a:pt x="1073" y="783"/>
                      <a:pt x="1073" y="783"/>
                      <a:pt x="1073" y="783"/>
                    </a:cubicBezTo>
                    <a:cubicBezTo>
                      <a:pt x="985" y="818"/>
                      <a:pt x="985" y="818"/>
                      <a:pt x="985" y="818"/>
                    </a:cubicBezTo>
                    <a:cubicBezTo>
                      <a:pt x="950" y="724"/>
                      <a:pt x="950" y="724"/>
                      <a:pt x="950" y="724"/>
                    </a:cubicBezTo>
                    <a:cubicBezTo>
                      <a:pt x="1006" y="698"/>
                      <a:pt x="1006" y="698"/>
                      <a:pt x="1006" y="698"/>
                    </a:cubicBezTo>
                    <a:cubicBezTo>
                      <a:pt x="1000" y="680"/>
                      <a:pt x="1000" y="680"/>
                      <a:pt x="1000" y="680"/>
                    </a:cubicBezTo>
                    <a:cubicBezTo>
                      <a:pt x="968" y="689"/>
                      <a:pt x="968" y="689"/>
                      <a:pt x="968" y="689"/>
                    </a:cubicBezTo>
                    <a:lnTo>
                      <a:pt x="937" y="594"/>
                    </a:lnTo>
                    <a:close/>
                    <a:moveTo>
                      <a:pt x="1009" y="575"/>
                    </a:moveTo>
                    <a:cubicBezTo>
                      <a:pt x="998" y="581"/>
                      <a:pt x="998" y="581"/>
                      <a:pt x="998" y="581"/>
                    </a:cubicBezTo>
                    <a:cubicBezTo>
                      <a:pt x="954" y="601"/>
                      <a:pt x="954" y="601"/>
                      <a:pt x="954" y="601"/>
                    </a:cubicBezTo>
                    <a:cubicBezTo>
                      <a:pt x="977" y="672"/>
                      <a:pt x="977" y="672"/>
                      <a:pt x="977" y="672"/>
                    </a:cubicBezTo>
                    <a:cubicBezTo>
                      <a:pt x="996" y="666"/>
                      <a:pt x="996" y="666"/>
                      <a:pt x="996" y="666"/>
                    </a:cubicBezTo>
                    <a:cubicBezTo>
                      <a:pt x="1009" y="663"/>
                      <a:pt x="1009" y="663"/>
                      <a:pt x="1009" y="663"/>
                    </a:cubicBezTo>
                    <a:cubicBezTo>
                      <a:pt x="1013" y="675"/>
                      <a:pt x="1013" y="675"/>
                      <a:pt x="1013" y="675"/>
                    </a:cubicBezTo>
                    <a:cubicBezTo>
                      <a:pt x="1020" y="694"/>
                      <a:pt x="1020" y="694"/>
                      <a:pt x="1020" y="694"/>
                    </a:cubicBezTo>
                    <a:cubicBezTo>
                      <a:pt x="1024" y="706"/>
                      <a:pt x="1024" y="706"/>
                      <a:pt x="1024" y="706"/>
                    </a:cubicBezTo>
                    <a:cubicBezTo>
                      <a:pt x="1012" y="711"/>
                      <a:pt x="1012" y="711"/>
                      <a:pt x="1012" y="711"/>
                    </a:cubicBezTo>
                    <a:cubicBezTo>
                      <a:pt x="968" y="731"/>
                      <a:pt x="968" y="731"/>
                      <a:pt x="968" y="731"/>
                    </a:cubicBezTo>
                    <a:cubicBezTo>
                      <a:pt x="993" y="800"/>
                      <a:pt x="993" y="800"/>
                      <a:pt x="993" y="800"/>
                    </a:cubicBezTo>
                    <a:cubicBezTo>
                      <a:pt x="1056" y="775"/>
                      <a:pt x="1056" y="775"/>
                      <a:pt x="1056" y="775"/>
                    </a:cubicBezTo>
                    <a:cubicBezTo>
                      <a:pt x="1046" y="745"/>
                      <a:pt x="1046" y="745"/>
                      <a:pt x="1046" y="745"/>
                    </a:cubicBezTo>
                    <a:cubicBezTo>
                      <a:pt x="1043" y="733"/>
                      <a:pt x="1043" y="733"/>
                      <a:pt x="1043" y="733"/>
                    </a:cubicBezTo>
                    <a:cubicBezTo>
                      <a:pt x="1054" y="728"/>
                      <a:pt x="1054" y="728"/>
                      <a:pt x="1054" y="728"/>
                    </a:cubicBezTo>
                    <a:cubicBezTo>
                      <a:pt x="1100" y="709"/>
                      <a:pt x="1100" y="709"/>
                      <a:pt x="1100" y="709"/>
                    </a:cubicBezTo>
                    <a:cubicBezTo>
                      <a:pt x="1075" y="636"/>
                      <a:pt x="1075" y="636"/>
                      <a:pt x="1075" y="636"/>
                    </a:cubicBezTo>
                    <a:cubicBezTo>
                      <a:pt x="1058" y="642"/>
                      <a:pt x="1058" y="642"/>
                      <a:pt x="1058" y="642"/>
                    </a:cubicBezTo>
                    <a:cubicBezTo>
                      <a:pt x="1045" y="646"/>
                      <a:pt x="1045" y="646"/>
                      <a:pt x="1045" y="646"/>
                    </a:cubicBezTo>
                    <a:cubicBezTo>
                      <a:pt x="1040" y="633"/>
                      <a:pt x="1040" y="633"/>
                      <a:pt x="1040" y="633"/>
                    </a:cubicBezTo>
                    <a:cubicBezTo>
                      <a:pt x="1033" y="614"/>
                      <a:pt x="1033" y="614"/>
                      <a:pt x="1033" y="614"/>
                    </a:cubicBezTo>
                    <a:cubicBezTo>
                      <a:pt x="1029" y="601"/>
                      <a:pt x="1029" y="601"/>
                      <a:pt x="1029" y="601"/>
                    </a:cubicBezTo>
                    <a:cubicBezTo>
                      <a:pt x="1041" y="596"/>
                      <a:pt x="1041" y="596"/>
                      <a:pt x="1041" y="596"/>
                    </a:cubicBezTo>
                    <a:cubicBezTo>
                      <a:pt x="1084" y="578"/>
                      <a:pt x="1084" y="578"/>
                      <a:pt x="1084" y="578"/>
                    </a:cubicBezTo>
                    <a:cubicBezTo>
                      <a:pt x="1059" y="507"/>
                      <a:pt x="1059" y="507"/>
                      <a:pt x="1059" y="507"/>
                    </a:cubicBezTo>
                    <a:cubicBezTo>
                      <a:pt x="994" y="533"/>
                      <a:pt x="994" y="533"/>
                      <a:pt x="994" y="533"/>
                    </a:cubicBezTo>
                    <a:cubicBezTo>
                      <a:pt x="1005" y="563"/>
                      <a:pt x="1005" y="563"/>
                      <a:pt x="1005" y="563"/>
                    </a:cubicBezTo>
                    <a:lnTo>
                      <a:pt x="1009" y="575"/>
                    </a:lnTo>
                    <a:close/>
                    <a:moveTo>
                      <a:pt x="4133" y="129"/>
                    </a:moveTo>
                    <a:cubicBezTo>
                      <a:pt x="4090" y="124"/>
                      <a:pt x="4090" y="124"/>
                      <a:pt x="4090" y="124"/>
                    </a:cubicBezTo>
                    <a:cubicBezTo>
                      <a:pt x="4082" y="123"/>
                      <a:pt x="4082" y="123"/>
                      <a:pt x="4082" y="123"/>
                    </a:cubicBezTo>
                    <a:cubicBezTo>
                      <a:pt x="4077" y="131"/>
                      <a:pt x="4077" y="131"/>
                      <a:pt x="4077" y="131"/>
                    </a:cubicBezTo>
                    <a:cubicBezTo>
                      <a:pt x="4072" y="139"/>
                      <a:pt x="4072" y="139"/>
                      <a:pt x="4072" y="139"/>
                    </a:cubicBezTo>
                    <a:cubicBezTo>
                      <a:pt x="4052" y="125"/>
                      <a:pt x="4052" y="125"/>
                      <a:pt x="4052" y="125"/>
                    </a:cubicBezTo>
                    <a:cubicBezTo>
                      <a:pt x="4128" y="0"/>
                      <a:pt x="4128" y="0"/>
                      <a:pt x="4128" y="0"/>
                    </a:cubicBezTo>
                    <a:cubicBezTo>
                      <a:pt x="4111" y="0"/>
                      <a:pt x="4111" y="0"/>
                      <a:pt x="4111" y="0"/>
                    </a:cubicBezTo>
                    <a:cubicBezTo>
                      <a:pt x="4033" y="129"/>
                      <a:pt x="4033" y="129"/>
                      <a:pt x="4033" y="129"/>
                    </a:cubicBezTo>
                    <a:cubicBezTo>
                      <a:pt x="4076" y="159"/>
                      <a:pt x="4076" y="159"/>
                      <a:pt x="4076" y="159"/>
                    </a:cubicBezTo>
                    <a:cubicBezTo>
                      <a:pt x="4089" y="138"/>
                      <a:pt x="4089" y="138"/>
                      <a:pt x="4089" y="138"/>
                    </a:cubicBezTo>
                    <a:cubicBezTo>
                      <a:pt x="4144" y="144"/>
                      <a:pt x="4144" y="144"/>
                      <a:pt x="4144" y="144"/>
                    </a:cubicBezTo>
                    <a:cubicBezTo>
                      <a:pt x="4182" y="0"/>
                      <a:pt x="4182" y="0"/>
                      <a:pt x="4182" y="0"/>
                    </a:cubicBezTo>
                    <a:cubicBezTo>
                      <a:pt x="4168" y="0"/>
                      <a:pt x="4168" y="0"/>
                      <a:pt x="4168" y="0"/>
                    </a:cubicBezTo>
                    <a:lnTo>
                      <a:pt x="4133" y="129"/>
                    </a:lnTo>
                    <a:close/>
                    <a:moveTo>
                      <a:pt x="7589" y="24"/>
                    </a:moveTo>
                    <a:cubicBezTo>
                      <a:pt x="7565" y="0"/>
                      <a:pt x="7565" y="0"/>
                      <a:pt x="7565" y="0"/>
                    </a:cubicBezTo>
                    <a:cubicBezTo>
                      <a:pt x="7546" y="0"/>
                      <a:pt x="7546" y="0"/>
                      <a:pt x="7546" y="0"/>
                    </a:cubicBezTo>
                    <a:cubicBezTo>
                      <a:pt x="7584" y="38"/>
                      <a:pt x="7584" y="38"/>
                      <a:pt x="7584" y="38"/>
                    </a:cubicBezTo>
                    <a:cubicBezTo>
                      <a:pt x="7589" y="42"/>
                      <a:pt x="7589" y="42"/>
                      <a:pt x="7589" y="42"/>
                    </a:cubicBezTo>
                    <a:cubicBezTo>
                      <a:pt x="7630" y="0"/>
                      <a:pt x="7630" y="0"/>
                      <a:pt x="7630" y="0"/>
                    </a:cubicBezTo>
                    <a:cubicBezTo>
                      <a:pt x="7612" y="0"/>
                      <a:pt x="7612" y="0"/>
                      <a:pt x="7612" y="0"/>
                    </a:cubicBezTo>
                    <a:lnTo>
                      <a:pt x="7589" y="24"/>
                    </a:lnTo>
                    <a:close/>
                    <a:moveTo>
                      <a:pt x="3701" y="10402"/>
                    </a:moveTo>
                    <a:cubicBezTo>
                      <a:pt x="3688" y="10404"/>
                      <a:pt x="3688" y="10404"/>
                      <a:pt x="3688" y="10404"/>
                    </a:cubicBezTo>
                    <a:cubicBezTo>
                      <a:pt x="3697" y="10458"/>
                      <a:pt x="3697" y="10458"/>
                      <a:pt x="3697" y="10458"/>
                    </a:cubicBezTo>
                    <a:cubicBezTo>
                      <a:pt x="3489" y="10494"/>
                      <a:pt x="3489" y="10494"/>
                      <a:pt x="3489" y="10494"/>
                    </a:cubicBezTo>
                    <a:cubicBezTo>
                      <a:pt x="3475" y="10416"/>
                      <a:pt x="3475" y="10416"/>
                      <a:pt x="3475" y="10416"/>
                    </a:cubicBezTo>
                    <a:cubicBezTo>
                      <a:pt x="3561" y="10402"/>
                      <a:pt x="3561" y="10402"/>
                      <a:pt x="3561" y="10402"/>
                    </a:cubicBezTo>
                    <a:cubicBezTo>
                      <a:pt x="3558" y="10387"/>
                      <a:pt x="3558" y="10387"/>
                      <a:pt x="3558" y="10387"/>
                    </a:cubicBezTo>
                    <a:cubicBezTo>
                      <a:pt x="3371" y="10419"/>
                      <a:pt x="3371" y="10419"/>
                      <a:pt x="3371" y="10419"/>
                    </a:cubicBezTo>
                    <a:cubicBezTo>
                      <a:pt x="3359" y="10344"/>
                      <a:pt x="3359" y="10344"/>
                      <a:pt x="3359" y="10344"/>
                    </a:cubicBezTo>
                    <a:cubicBezTo>
                      <a:pt x="3428" y="10332"/>
                      <a:pt x="3428" y="10332"/>
                      <a:pt x="3428" y="10332"/>
                    </a:cubicBezTo>
                    <a:cubicBezTo>
                      <a:pt x="3415" y="10257"/>
                      <a:pt x="3415" y="10257"/>
                      <a:pt x="3415" y="10257"/>
                    </a:cubicBezTo>
                    <a:cubicBezTo>
                      <a:pt x="3562" y="10232"/>
                      <a:pt x="3562" y="10232"/>
                      <a:pt x="3562" y="10232"/>
                    </a:cubicBezTo>
                    <a:cubicBezTo>
                      <a:pt x="3577" y="10322"/>
                      <a:pt x="3577" y="10322"/>
                      <a:pt x="3577" y="10322"/>
                    </a:cubicBezTo>
                    <a:cubicBezTo>
                      <a:pt x="3684" y="10304"/>
                      <a:pt x="3684" y="10304"/>
                      <a:pt x="3684" y="10304"/>
                    </a:cubicBezTo>
                    <a:cubicBezTo>
                      <a:pt x="3685" y="10310"/>
                      <a:pt x="3685" y="10310"/>
                      <a:pt x="3685" y="10310"/>
                    </a:cubicBezTo>
                    <a:lnTo>
                      <a:pt x="3701" y="10402"/>
                    </a:lnTo>
                    <a:close/>
                    <a:moveTo>
                      <a:pt x="3672" y="10393"/>
                    </a:moveTo>
                    <a:cubicBezTo>
                      <a:pt x="3685" y="10391"/>
                      <a:pt x="3685" y="10391"/>
                      <a:pt x="3685" y="10391"/>
                    </a:cubicBezTo>
                    <a:cubicBezTo>
                      <a:pt x="3673" y="10319"/>
                      <a:pt x="3673" y="10319"/>
                      <a:pt x="3673" y="10319"/>
                    </a:cubicBezTo>
                    <a:cubicBezTo>
                      <a:pt x="3566" y="10338"/>
                      <a:pt x="3566" y="10338"/>
                      <a:pt x="3566" y="10338"/>
                    </a:cubicBezTo>
                    <a:cubicBezTo>
                      <a:pt x="3551" y="10247"/>
                      <a:pt x="3551" y="10247"/>
                      <a:pt x="3551" y="10247"/>
                    </a:cubicBezTo>
                    <a:cubicBezTo>
                      <a:pt x="3430" y="10268"/>
                      <a:pt x="3430" y="10268"/>
                      <a:pt x="3430" y="10268"/>
                    </a:cubicBezTo>
                    <a:cubicBezTo>
                      <a:pt x="3443" y="10343"/>
                      <a:pt x="3443" y="10343"/>
                      <a:pt x="3443" y="10343"/>
                    </a:cubicBezTo>
                    <a:cubicBezTo>
                      <a:pt x="3374" y="10355"/>
                      <a:pt x="3374" y="10355"/>
                      <a:pt x="3374" y="10355"/>
                    </a:cubicBezTo>
                    <a:cubicBezTo>
                      <a:pt x="3382" y="10403"/>
                      <a:pt x="3382" y="10403"/>
                      <a:pt x="3382" y="10403"/>
                    </a:cubicBezTo>
                    <a:cubicBezTo>
                      <a:pt x="3569" y="10371"/>
                      <a:pt x="3569" y="10371"/>
                      <a:pt x="3569" y="10371"/>
                    </a:cubicBezTo>
                    <a:cubicBezTo>
                      <a:pt x="3576" y="10413"/>
                      <a:pt x="3576" y="10413"/>
                      <a:pt x="3576" y="10413"/>
                    </a:cubicBezTo>
                    <a:cubicBezTo>
                      <a:pt x="3491" y="10427"/>
                      <a:pt x="3491" y="10427"/>
                      <a:pt x="3491" y="10427"/>
                    </a:cubicBezTo>
                    <a:cubicBezTo>
                      <a:pt x="3500" y="10478"/>
                      <a:pt x="3500" y="10478"/>
                      <a:pt x="3500" y="10478"/>
                    </a:cubicBezTo>
                    <a:cubicBezTo>
                      <a:pt x="3681" y="10447"/>
                      <a:pt x="3681" y="10447"/>
                      <a:pt x="3681" y="10447"/>
                    </a:cubicBezTo>
                    <a:lnTo>
                      <a:pt x="3672" y="10393"/>
                    </a:lnTo>
                    <a:close/>
                    <a:moveTo>
                      <a:pt x="161" y="6734"/>
                    </a:moveTo>
                    <a:cubicBezTo>
                      <a:pt x="422" y="6895"/>
                      <a:pt x="422" y="6895"/>
                      <a:pt x="422" y="6895"/>
                    </a:cubicBezTo>
                    <a:cubicBezTo>
                      <a:pt x="411" y="6901"/>
                      <a:pt x="411" y="6901"/>
                      <a:pt x="411" y="6901"/>
                    </a:cubicBezTo>
                    <a:cubicBezTo>
                      <a:pt x="352" y="6939"/>
                      <a:pt x="352" y="6939"/>
                      <a:pt x="352" y="6939"/>
                    </a:cubicBezTo>
                    <a:cubicBezTo>
                      <a:pt x="231" y="6874"/>
                      <a:pt x="231" y="6874"/>
                      <a:pt x="231" y="6874"/>
                    </a:cubicBezTo>
                    <a:cubicBezTo>
                      <a:pt x="157" y="6931"/>
                      <a:pt x="157" y="6931"/>
                      <a:pt x="157" y="6931"/>
                    </a:cubicBezTo>
                    <a:cubicBezTo>
                      <a:pt x="217" y="7015"/>
                      <a:pt x="217" y="7015"/>
                      <a:pt x="217" y="7015"/>
                    </a:cubicBezTo>
                    <a:cubicBezTo>
                      <a:pt x="182" y="7040"/>
                      <a:pt x="182" y="7040"/>
                      <a:pt x="182" y="7040"/>
                    </a:cubicBezTo>
                    <a:cubicBezTo>
                      <a:pt x="73" y="6968"/>
                      <a:pt x="73" y="6968"/>
                      <a:pt x="73" y="6968"/>
                    </a:cubicBezTo>
                    <a:lnTo>
                      <a:pt x="161" y="6734"/>
                    </a:lnTo>
                    <a:close/>
                    <a:moveTo>
                      <a:pt x="169" y="6756"/>
                    </a:moveTo>
                    <a:cubicBezTo>
                      <a:pt x="91" y="6962"/>
                      <a:pt x="91" y="6962"/>
                      <a:pt x="91" y="6962"/>
                    </a:cubicBezTo>
                    <a:cubicBezTo>
                      <a:pt x="182" y="7022"/>
                      <a:pt x="182" y="7022"/>
                      <a:pt x="182" y="7022"/>
                    </a:cubicBezTo>
                    <a:cubicBezTo>
                      <a:pt x="196" y="7012"/>
                      <a:pt x="196" y="7012"/>
                      <a:pt x="196" y="7012"/>
                    </a:cubicBezTo>
                    <a:cubicBezTo>
                      <a:pt x="137" y="6929"/>
                      <a:pt x="137" y="6929"/>
                      <a:pt x="137" y="6929"/>
                    </a:cubicBezTo>
                    <a:cubicBezTo>
                      <a:pt x="230" y="6856"/>
                      <a:pt x="230" y="6856"/>
                      <a:pt x="230" y="6856"/>
                    </a:cubicBezTo>
                    <a:cubicBezTo>
                      <a:pt x="351" y="6922"/>
                      <a:pt x="351" y="6922"/>
                      <a:pt x="351" y="6922"/>
                    </a:cubicBezTo>
                    <a:cubicBezTo>
                      <a:pt x="394" y="6895"/>
                      <a:pt x="394" y="6895"/>
                      <a:pt x="394" y="6895"/>
                    </a:cubicBezTo>
                    <a:lnTo>
                      <a:pt x="169" y="6756"/>
                    </a:lnTo>
                    <a:close/>
                    <a:moveTo>
                      <a:pt x="4008" y="22"/>
                    </a:moveTo>
                    <a:cubicBezTo>
                      <a:pt x="3937" y="33"/>
                      <a:pt x="3937" y="33"/>
                      <a:pt x="3937" y="33"/>
                    </a:cubicBezTo>
                    <a:cubicBezTo>
                      <a:pt x="3930" y="0"/>
                      <a:pt x="3930" y="0"/>
                      <a:pt x="3930" y="0"/>
                    </a:cubicBezTo>
                    <a:cubicBezTo>
                      <a:pt x="3916" y="0"/>
                      <a:pt x="3916" y="0"/>
                      <a:pt x="3916" y="0"/>
                    </a:cubicBezTo>
                    <a:cubicBezTo>
                      <a:pt x="3926" y="49"/>
                      <a:pt x="3926" y="49"/>
                      <a:pt x="3926" y="49"/>
                    </a:cubicBezTo>
                    <a:cubicBezTo>
                      <a:pt x="4024" y="34"/>
                      <a:pt x="4024" y="34"/>
                      <a:pt x="4024" y="34"/>
                    </a:cubicBezTo>
                    <a:cubicBezTo>
                      <a:pt x="4019" y="0"/>
                      <a:pt x="4019" y="0"/>
                      <a:pt x="4019" y="0"/>
                    </a:cubicBezTo>
                    <a:cubicBezTo>
                      <a:pt x="4005" y="0"/>
                      <a:pt x="4005" y="0"/>
                      <a:pt x="4005" y="0"/>
                    </a:cubicBezTo>
                    <a:lnTo>
                      <a:pt x="4008" y="22"/>
                    </a:lnTo>
                    <a:close/>
                    <a:moveTo>
                      <a:pt x="3893" y="344"/>
                    </a:moveTo>
                    <a:cubicBezTo>
                      <a:pt x="3936" y="299"/>
                      <a:pt x="3936" y="299"/>
                      <a:pt x="3936" y="299"/>
                    </a:cubicBezTo>
                    <a:cubicBezTo>
                      <a:pt x="3917" y="274"/>
                      <a:pt x="3917" y="274"/>
                      <a:pt x="3917" y="274"/>
                    </a:cubicBezTo>
                    <a:cubicBezTo>
                      <a:pt x="3966" y="229"/>
                      <a:pt x="3966" y="229"/>
                      <a:pt x="3966" y="229"/>
                    </a:cubicBezTo>
                    <a:cubicBezTo>
                      <a:pt x="3984" y="245"/>
                      <a:pt x="3984" y="245"/>
                      <a:pt x="3984" y="245"/>
                    </a:cubicBezTo>
                    <a:cubicBezTo>
                      <a:pt x="4030" y="205"/>
                      <a:pt x="4030" y="205"/>
                      <a:pt x="4030" y="205"/>
                    </a:cubicBezTo>
                    <a:cubicBezTo>
                      <a:pt x="4093" y="269"/>
                      <a:pt x="4093" y="269"/>
                      <a:pt x="4093" y="269"/>
                    </a:cubicBezTo>
                    <a:cubicBezTo>
                      <a:pt x="4046" y="316"/>
                      <a:pt x="4046" y="316"/>
                      <a:pt x="4046" y="316"/>
                    </a:cubicBezTo>
                    <a:cubicBezTo>
                      <a:pt x="4021" y="296"/>
                      <a:pt x="4021" y="296"/>
                      <a:pt x="4021" y="296"/>
                    </a:cubicBezTo>
                    <a:cubicBezTo>
                      <a:pt x="3983" y="338"/>
                      <a:pt x="3983" y="338"/>
                      <a:pt x="3983" y="338"/>
                    </a:cubicBezTo>
                    <a:cubicBezTo>
                      <a:pt x="4001" y="360"/>
                      <a:pt x="4001" y="360"/>
                      <a:pt x="4001" y="360"/>
                    </a:cubicBezTo>
                    <a:cubicBezTo>
                      <a:pt x="3953" y="408"/>
                      <a:pt x="3953" y="408"/>
                      <a:pt x="3953" y="408"/>
                    </a:cubicBezTo>
                    <a:lnTo>
                      <a:pt x="3893" y="344"/>
                    </a:lnTo>
                    <a:close/>
                    <a:moveTo>
                      <a:pt x="3955" y="300"/>
                    </a:moveTo>
                    <a:cubicBezTo>
                      <a:pt x="3946" y="309"/>
                      <a:pt x="3946" y="309"/>
                      <a:pt x="3946" y="309"/>
                    </a:cubicBezTo>
                    <a:cubicBezTo>
                      <a:pt x="3912" y="344"/>
                      <a:pt x="3912" y="344"/>
                      <a:pt x="3912" y="344"/>
                    </a:cubicBezTo>
                    <a:cubicBezTo>
                      <a:pt x="3954" y="388"/>
                      <a:pt x="3954" y="388"/>
                      <a:pt x="3954" y="388"/>
                    </a:cubicBezTo>
                    <a:cubicBezTo>
                      <a:pt x="3982" y="359"/>
                      <a:pt x="3982" y="359"/>
                      <a:pt x="3982" y="359"/>
                    </a:cubicBezTo>
                    <a:cubicBezTo>
                      <a:pt x="3972" y="347"/>
                      <a:pt x="3972" y="347"/>
                      <a:pt x="3972" y="347"/>
                    </a:cubicBezTo>
                    <a:cubicBezTo>
                      <a:pt x="3965" y="338"/>
                      <a:pt x="3965" y="338"/>
                      <a:pt x="3965" y="338"/>
                    </a:cubicBezTo>
                    <a:cubicBezTo>
                      <a:pt x="3973" y="329"/>
                      <a:pt x="3973" y="329"/>
                      <a:pt x="3973" y="329"/>
                    </a:cubicBezTo>
                    <a:cubicBezTo>
                      <a:pt x="4010" y="286"/>
                      <a:pt x="4010" y="286"/>
                      <a:pt x="4010" y="286"/>
                    </a:cubicBezTo>
                    <a:cubicBezTo>
                      <a:pt x="4019" y="276"/>
                      <a:pt x="4019" y="276"/>
                      <a:pt x="4019" y="276"/>
                    </a:cubicBezTo>
                    <a:cubicBezTo>
                      <a:pt x="4030" y="285"/>
                      <a:pt x="4030" y="285"/>
                      <a:pt x="4030" y="285"/>
                    </a:cubicBezTo>
                    <a:cubicBezTo>
                      <a:pt x="4045" y="297"/>
                      <a:pt x="4045" y="297"/>
                      <a:pt x="4045" y="297"/>
                    </a:cubicBezTo>
                    <a:cubicBezTo>
                      <a:pt x="4073" y="269"/>
                      <a:pt x="4073" y="269"/>
                      <a:pt x="4073" y="269"/>
                    </a:cubicBezTo>
                    <a:cubicBezTo>
                      <a:pt x="4029" y="224"/>
                      <a:pt x="4029" y="224"/>
                      <a:pt x="4029" y="224"/>
                    </a:cubicBezTo>
                    <a:cubicBezTo>
                      <a:pt x="3993" y="256"/>
                      <a:pt x="3993" y="256"/>
                      <a:pt x="3993" y="256"/>
                    </a:cubicBezTo>
                    <a:cubicBezTo>
                      <a:pt x="3984" y="264"/>
                      <a:pt x="3984" y="264"/>
                      <a:pt x="3984" y="264"/>
                    </a:cubicBezTo>
                    <a:cubicBezTo>
                      <a:pt x="3975" y="256"/>
                      <a:pt x="3975" y="256"/>
                      <a:pt x="3975" y="256"/>
                    </a:cubicBezTo>
                    <a:cubicBezTo>
                      <a:pt x="3966" y="248"/>
                      <a:pt x="3966" y="248"/>
                      <a:pt x="3966" y="248"/>
                    </a:cubicBezTo>
                    <a:cubicBezTo>
                      <a:pt x="3936" y="276"/>
                      <a:pt x="3936" y="276"/>
                      <a:pt x="3936" y="276"/>
                    </a:cubicBezTo>
                    <a:cubicBezTo>
                      <a:pt x="3947" y="290"/>
                      <a:pt x="3947" y="290"/>
                      <a:pt x="3947" y="290"/>
                    </a:cubicBezTo>
                    <a:lnTo>
                      <a:pt x="3955" y="300"/>
                    </a:lnTo>
                    <a:close/>
                    <a:moveTo>
                      <a:pt x="1124" y="470"/>
                    </a:moveTo>
                    <a:cubicBezTo>
                      <a:pt x="976" y="340"/>
                      <a:pt x="976" y="340"/>
                      <a:pt x="976" y="340"/>
                    </a:cubicBezTo>
                    <a:cubicBezTo>
                      <a:pt x="1042" y="159"/>
                      <a:pt x="1042" y="159"/>
                      <a:pt x="1042" y="159"/>
                    </a:cubicBezTo>
                    <a:cubicBezTo>
                      <a:pt x="1245" y="333"/>
                      <a:pt x="1245" y="333"/>
                      <a:pt x="1245" y="333"/>
                    </a:cubicBezTo>
                    <a:cubicBezTo>
                      <a:pt x="1363" y="194"/>
                      <a:pt x="1363" y="194"/>
                      <a:pt x="1363" y="194"/>
                    </a:cubicBezTo>
                    <a:cubicBezTo>
                      <a:pt x="1506" y="287"/>
                      <a:pt x="1506" y="287"/>
                      <a:pt x="1506" y="287"/>
                    </a:cubicBezTo>
                    <a:cubicBezTo>
                      <a:pt x="1419" y="413"/>
                      <a:pt x="1419" y="413"/>
                      <a:pt x="1419" y="413"/>
                    </a:cubicBezTo>
                    <a:cubicBezTo>
                      <a:pt x="1345" y="413"/>
                      <a:pt x="1345" y="413"/>
                      <a:pt x="1345" y="413"/>
                    </a:cubicBezTo>
                    <a:cubicBezTo>
                      <a:pt x="1313" y="457"/>
                      <a:pt x="1313" y="457"/>
                      <a:pt x="1313" y="457"/>
                    </a:cubicBezTo>
                    <a:cubicBezTo>
                      <a:pt x="1326" y="533"/>
                      <a:pt x="1326" y="533"/>
                      <a:pt x="1326" y="533"/>
                    </a:cubicBezTo>
                    <a:cubicBezTo>
                      <a:pt x="1263" y="628"/>
                      <a:pt x="1263" y="628"/>
                      <a:pt x="1263" y="628"/>
                    </a:cubicBezTo>
                    <a:cubicBezTo>
                      <a:pt x="1198" y="674"/>
                      <a:pt x="1198" y="674"/>
                      <a:pt x="1198" y="674"/>
                    </a:cubicBezTo>
                    <a:lnTo>
                      <a:pt x="1124" y="470"/>
                    </a:lnTo>
                    <a:close/>
                    <a:moveTo>
                      <a:pt x="992" y="336"/>
                    </a:moveTo>
                    <a:cubicBezTo>
                      <a:pt x="1133" y="460"/>
                      <a:pt x="1133" y="460"/>
                      <a:pt x="1133" y="460"/>
                    </a:cubicBezTo>
                    <a:cubicBezTo>
                      <a:pt x="1136" y="462"/>
                      <a:pt x="1136" y="462"/>
                      <a:pt x="1136" y="462"/>
                    </a:cubicBezTo>
                    <a:cubicBezTo>
                      <a:pt x="1137" y="465"/>
                      <a:pt x="1137" y="465"/>
                      <a:pt x="1137" y="465"/>
                    </a:cubicBezTo>
                    <a:cubicBezTo>
                      <a:pt x="1205" y="652"/>
                      <a:pt x="1205" y="652"/>
                      <a:pt x="1205" y="652"/>
                    </a:cubicBezTo>
                    <a:cubicBezTo>
                      <a:pt x="1253" y="618"/>
                      <a:pt x="1253" y="618"/>
                      <a:pt x="1253" y="618"/>
                    </a:cubicBezTo>
                    <a:cubicBezTo>
                      <a:pt x="1311" y="530"/>
                      <a:pt x="1311" y="530"/>
                      <a:pt x="1311" y="530"/>
                    </a:cubicBezTo>
                    <a:cubicBezTo>
                      <a:pt x="1299" y="460"/>
                      <a:pt x="1299" y="460"/>
                      <a:pt x="1299" y="460"/>
                    </a:cubicBezTo>
                    <a:cubicBezTo>
                      <a:pt x="1298" y="454"/>
                      <a:pt x="1298" y="454"/>
                      <a:pt x="1298" y="454"/>
                    </a:cubicBezTo>
                    <a:cubicBezTo>
                      <a:pt x="1301" y="449"/>
                      <a:pt x="1301" y="449"/>
                      <a:pt x="1301" y="449"/>
                    </a:cubicBezTo>
                    <a:cubicBezTo>
                      <a:pt x="1333" y="405"/>
                      <a:pt x="1333" y="405"/>
                      <a:pt x="1333" y="405"/>
                    </a:cubicBezTo>
                    <a:cubicBezTo>
                      <a:pt x="1337" y="399"/>
                      <a:pt x="1337" y="399"/>
                      <a:pt x="1337" y="399"/>
                    </a:cubicBezTo>
                    <a:cubicBezTo>
                      <a:pt x="1345" y="399"/>
                      <a:pt x="1345" y="399"/>
                      <a:pt x="1345" y="399"/>
                    </a:cubicBezTo>
                    <a:cubicBezTo>
                      <a:pt x="1412" y="399"/>
                      <a:pt x="1412" y="399"/>
                      <a:pt x="1412" y="399"/>
                    </a:cubicBezTo>
                    <a:cubicBezTo>
                      <a:pt x="1487" y="291"/>
                      <a:pt x="1487" y="291"/>
                      <a:pt x="1487" y="291"/>
                    </a:cubicBezTo>
                    <a:cubicBezTo>
                      <a:pt x="1366" y="212"/>
                      <a:pt x="1366" y="212"/>
                      <a:pt x="1366" y="212"/>
                    </a:cubicBezTo>
                    <a:cubicBezTo>
                      <a:pt x="1256" y="342"/>
                      <a:pt x="1256" y="342"/>
                      <a:pt x="1256" y="342"/>
                    </a:cubicBezTo>
                    <a:cubicBezTo>
                      <a:pt x="1247" y="352"/>
                      <a:pt x="1247" y="352"/>
                      <a:pt x="1247" y="352"/>
                    </a:cubicBezTo>
                    <a:cubicBezTo>
                      <a:pt x="1236" y="343"/>
                      <a:pt x="1236" y="343"/>
                      <a:pt x="1236" y="343"/>
                    </a:cubicBezTo>
                    <a:cubicBezTo>
                      <a:pt x="1048" y="183"/>
                      <a:pt x="1048" y="183"/>
                      <a:pt x="1048" y="183"/>
                    </a:cubicBezTo>
                    <a:lnTo>
                      <a:pt x="992" y="336"/>
                    </a:lnTo>
                    <a:close/>
                    <a:moveTo>
                      <a:pt x="3011" y="445"/>
                    </a:moveTo>
                    <a:cubicBezTo>
                      <a:pt x="2993" y="328"/>
                      <a:pt x="2993" y="328"/>
                      <a:pt x="2993" y="328"/>
                    </a:cubicBezTo>
                    <a:cubicBezTo>
                      <a:pt x="3000" y="327"/>
                      <a:pt x="3000" y="327"/>
                      <a:pt x="3000" y="327"/>
                    </a:cubicBezTo>
                    <a:cubicBezTo>
                      <a:pt x="3001" y="327"/>
                      <a:pt x="3001" y="327"/>
                      <a:pt x="3001" y="327"/>
                    </a:cubicBezTo>
                    <a:cubicBezTo>
                      <a:pt x="3004" y="327"/>
                      <a:pt x="3053" y="327"/>
                      <a:pt x="3102" y="304"/>
                    </a:cubicBezTo>
                    <a:cubicBezTo>
                      <a:pt x="3245" y="184"/>
                      <a:pt x="3245" y="184"/>
                      <a:pt x="3245" y="184"/>
                    </a:cubicBezTo>
                    <a:cubicBezTo>
                      <a:pt x="3364" y="338"/>
                      <a:pt x="3364" y="338"/>
                      <a:pt x="3364" y="338"/>
                    </a:cubicBezTo>
                    <a:cubicBezTo>
                      <a:pt x="3358" y="342"/>
                      <a:pt x="3358" y="342"/>
                      <a:pt x="3358" y="342"/>
                    </a:cubicBezTo>
                    <a:cubicBezTo>
                      <a:pt x="3283" y="392"/>
                      <a:pt x="3283" y="392"/>
                      <a:pt x="3283" y="392"/>
                    </a:cubicBezTo>
                    <a:cubicBezTo>
                      <a:pt x="3263" y="338"/>
                      <a:pt x="3263" y="338"/>
                      <a:pt x="3263" y="338"/>
                    </a:cubicBezTo>
                    <a:cubicBezTo>
                      <a:pt x="3249" y="363"/>
                      <a:pt x="3217" y="413"/>
                      <a:pt x="3176" y="427"/>
                    </a:cubicBezTo>
                    <a:cubicBezTo>
                      <a:pt x="3124" y="444"/>
                      <a:pt x="3018" y="444"/>
                      <a:pt x="3018" y="445"/>
                    </a:cubicBezTo>
                    <a:lnTo>
                      <a:pt x="3011" y="445"/>
                    </a:lnTo>
                    <a:close/>
                    <a:moveTo>
                      <a:pt x="3010" y="342"/>
                    </a:moveTo>
                    <a:cubicBezTo>
                      <a:pt x="3024" y="430"/>
                      <a:pt x="3024" y="430"/>
                      <a:pt x="3024" y="430"/>
                    </a:cubicBezTo>
                    <a:cubicBezTo>
                      <a:pt x="3047" y="429"/>
                      <a:pt x="3131" y="426"/>
                      <a:pt x="3171" y="413"/>
                    </a:cubicBezTo>
                    <a:cubicBezTo>
                      <a:pt x="3194" y="406"/>
                      <a:pt x="3216" y="382"/>
                      <a:pt x="3231" y="360"/>
                    </a:cubicBezTo>
                    <a:cubicBezTo>
                      <a:pt x="3247" y="337"/>
                      <a:pt x="3257" y="317"/>
                      <a:pt x="3257" y="317"/>
                    </a:cubicBezTo>
                    <a:cubicBezTo>
                      <a:pt x="3264" y="301"/>
                      <a:pt x="3264" y="301"/>
                      <a:pt x="3264" y="301"/>
                    </a:cubicBezTo>
                    <a:cubicBezTo>
                      <a:pt x="3290" y="370"/>
                      <a:pt x="3290" y="370"/>
                      <a:pt x="3290" y="370"/>
                    </a:cubicBezTo>
                    <a:cubicBezTo>
                      <a:pt x="3343" y="334"/>
                      <a:pt x="3343" y="334"/>
                      <a:pt x="3343" y="334"/>
                    </a:cubicBezTo>
                    <a:cubicBezTo>
                      <a:pt x="3243" y="205"/>
                      <a:pt x="3243" y="205"/>
                      <a:pt x="3243" y="205"/>
                    </a:cubicBezTo>
                    <a:cubicBezTo>
                      <a:pt x="3110" y="316"/>
                      <a:pt x="3110" y="316"/>
                      <a:pt x="3110" y="316"/>
                    </a:cubicBezTo>
                    <a:cubicBezTo>
                      <a:pt x="3110" y="317"/>
                      <a:pt x="3110" y="317"/>
                      <a:pt x="3110" y="317"/>
                    </a:cubicBezTo>
                    <a:cubicBezTo>
                      <a:pt x="3068" y="336"/>
                      <a:pt x="3027" y="341"/>
                      <a:pt x="3010" y="342"/>
                    </a:cubicBezTo>
                    <a:close/>
                    <a:moveTo>
                      <a:pt x="3510" y="197"/>
                    </a:moveTo>
                    <a:cubicBezTo>
                      <a:pt x="3425" y="264"/>
                      <a:pt x="3425" y="264"/>
                      <a:pt x="3425" y="264"/>
                    </a:cubicBezTo>
                    <a:cubicBezTo>
                      <a:pt x="3317" y="137"/>
                      <a:pt x="3317" y="137"/>
                      <a:pt x="3317" y="137"/>
                    </a:cubicBezTo>
                    <a:cubicBezTo>
                      <a:pt x="3503" y="113"/>
                      <a:pt x="3503" y="113"/>
                      <a:pt x="3503" y="113"/>
                    </a:cubicBezTo>
                    <a:cubicBezTo>
                      <a:pt x="3503" y="121"/>
                      <a:pt x="3503" y="121"/>
                      <a:pt x="3503" y="121"/>
                    </a:cubicBezTo>
                    <a:lnTo>
                      <a:pt x="3510" y="197"/>
                    </a:lnTo>
                    <a:close/>
                    <a:moveTo>
                      <a:pt x="3494" y="190"/>
                    </a:moveTo>
                    <a:cubicBezTo>
                      <a:pt x="3489" y="130"/>
                      <a:pt x="3489" y="130"/>
                      <a:pt x="3489" y="130"/>
                    </a:cubicBezTo>
                    <a:cubicBezTo>
                      <a:pt x="3346" y="149"/>
                      <a:pt x="3346" y="149"/>
                      <a:pt x="3346" y="149"/>
                    </a:cubicBezTo>
                    <a:cubicBezTo>
                      <a:pt x="3427" y="244"/>
                      <a:pt x="3427" y="244"/>
                      <a:pt x="3427" y="244"/>
                    </a:cubicBezTo>
                    <a:lnTo>
                      <a:pt x="3494" y="190"/>
                    </a:lnTo>
                    <a:close/>
                    <a:moveTo>
                      <a:pt x="6561" y="452"/>
                    </a:moveTo>
                    <a:cubicBezTo>
                      <a:pt x="6419" y="424"/>
                      <a:pt x="6419" y="424"/>
                      <a:pt x="6419" y="424"/>
                    </a:cubicBezTo>
                    <a:cubicBezTo>
                      <a:pt x="6433" y="350"/>
                      <a:pt x="6433" y="350"/>
                      <a:pt x="6433" y="350"/>
                    </a:cubicBezTo>
                    <a:cubicBezTo>
                      <a:pt x="6582" y="378"/>
                      <a:pt x="6582" y="378"/>
                      <a:pt x="6582" y="378"/>
                    </a:cubicBezTo>
                    <a:cubicBezTo>
                      <a:pt x="6568" y="453"/>
                      <a:pt x="6568" y="453"/>
                      <a:pt x="6568" y="453"/>
                    </a:cubicBezTo>
                    <a:lnTo>
                      <a:pt x="6561" y="452"/>
                    </a:lnTo>
                    <a:close/>
                    <a:moveTo>
                      <a:pt x="6557" y="437"/>
                    </a:moveTo>
                    <a:cubicBezTo>
                      <a:pt x="6567" y="389"/>
                      <a:pt x="6567" y="389"/>
                      <a:pt x="6567" y="389"/>
                    </a:cubicBezTo>
                    <a:cubicBezTo>
                      <a:pt x="6444" y="365"/>
                      <a:pt x="6444" y="365"/>
                      <a:pt x="6444" y="365"/>
                    </a:cubicBezTo>
                    <a:cubicBezTo>
                      <a:pt x="6434" y="414"/>
                      <a:pt x="6434" y="414"/>
                      <a:pt x="6434" y="414"/>
                    </a:cubicBezTo>
                    <a:lnTo>
                      <a:pt x="6557" y="437"/>
                    </a:lnTo>
                    <a:close/>
                    <a:moveTo>
                      <a:pt x="4950" y="10725"/>
                    </a:moveTo>
                    <a:cubicBezTo>
                      <a:pt x="4950" y="10715"/>
                      <a:pt x="4950" y="10715"/>
                      <a:pt x="4950" y="10715"/>
                    </a:cubicBezTo>
                    <a:cubicBezTo>
                      <a:pt x="4832" y="10715"/>
                      <a:pt x="4832" y="10715"/>
                      <a:pt x="4832" y="10715"/>
                    </a:cubicBezTo>
                    <a:cubicBezTo>
                      <a:pt x="4835" y="10801"/>
                      <a:pt x="4835" y="10801"/>
                      <a:pt x="4835" y="10801"/>
                    </a:cubicBezTo>
                    <a:cubicBezTo>
                      <a:pt x="4848" y="10801"/>
                      <a:pt x="4848" y="10801"/>
                      <a:pt x="4848" y="10801"/>
                    </a:cubicBezTo>
                    <a:cubicBezTo>
                      <a:pt x="4846" y="10728"/>
                      <a:pt x="4846" y="10728"/>
                      <a:pt x="4846" y="10728"/>
                    </a:cubicBezTo>
                    <a:cubicBezTo>
                      <a:pt x="4937" y="10728"/>
                      <a:pt x="4937" y="10728"/>
                      <a:pt x="4937" y="10728"/>
                    </a:cubicBezTo>
                    <a:cubicBezTo>
                      <a:pt x="4937" y="10738"/>
                      <a:pt x="4937" y="10738"/>
                      <a:pt x="4937" y="10738"/>
                    </a:cubicBezTo>
                    <a:cubicBezTo>
                      <a:pt x="4989" y="10738"/>
                      <a:pt x="4989" y="10738"/>
                      <a:pt x="4989" y="10738"/>
                    </a:cubicBezTo>
                    <a:cubicBezTo>
                      <a:pt x="4989" y="10801"/>
                      <a:pt x="4989" y="10801"/>
                      <a:pt x="4989" y="10801"/>
                    </a:cubicBezTo>
                    <a:cubicBezTo>
                      <a:pt x="5002" y="10801"/>
                      <a:pt x="5002" y="10801"/>
                      <a:pt x="5002" y="10801"/>
                    </a:cubicBezTo>
                    <a:cubicBezTo>
                      <a:pt x="5002" y="10725"/>
                      <a:pt x="5002" y="10725"/>
                      <a:pt x="5002" y="10725"/>
                    </a:cubicBezTo>
                    <a:lnTo>
                      <a:pt x="4950" y="10725"/>
                    </a:lnTo>
                    <a:close/>
                    <a:moveTo>
                      <a:pt x="4" y="8092"/>
                    </a:moveTo>
                    <a:cubicBezTo>
                      <a:pt x="123" y="8195"/>
                      <a:pt x="123" y="8195"/>
                      <a:pt x="123" y="8195"/>
                    </a:cubicBezTo>
                    <a:cubicBezTo>
                      <a:pt x="4" y="8341"/>
                      <a:pt x="4" y="8341"/>
                      <a:pt x="4" y="8341"/>
                    </a:cubicBezTo>
                    <a:cubicBezTo>
                      <a:pt x="4" y="8364"/>
                      <a:pt x="4" y="8364"/>
                      <a:pt x="4" y="8364"/>
                    </a:cubicBezTo>
                    <a:cubicBezTo>
                      <a:pt x="139" y="8198"/>
                      <a:pt x="139" y="8198"/>
                      <a:pt x="139" y="8198"/>
                    </a:cubicBezTo>
                    <a:cubicBezTo>
                      <a:pt x="144" y="8193"/>
                      <a:pt x="144" y="8193"/>
                      <a:pt x="144" y="8193"/>
                    </a:cubicBezTo>
                    <a:cubicBezTo>
                      <a:pt x="4" y="8073"/>
                      <a:pt x="4" y="8073"/>
                      <a:pt x="4" y="8073"/>
                    </a:cubicBezTo>
                    <a:lnTo>
                      <a:pt x="4" y="8092"/>
                    </a:lnTo>
                    <a:close/>
                    <a:moveTo>
                      <a:pt x="4" y="6083"/>
                    </a:moveTo>
                    <a:cubicBezTo>
                      <a:pt x="0" y="6083"/>
                      <a:pt x="0" y="6083"/>
                      <a:pt x="0" y="6083"/>
                    </a:cubicBezTo>
                    <a:cubicBezTo>
                      <a:pt x="4" y="6062"/>
                      <a:pt x="4" y="6062"/>
                      <a:pt x="4" y="6062"/>
                    </a:cubicBezTo>
                    <a:cubicBezTo>
                      <a:pt x="35" y="5900"/>
                      <a:pt x="35" y="5900"/>
                      <a:pt x="35" y="5900"/>
                    </a:cubicBezTo>
                    <a:cubicBezTo>
                      <a:pt x="86" y="5910"/>
                      <a:pt x="86" y="5910"/>
                      <a:pt x="86" y="5910"/>
                    </a:cubicBezTo>
                    <a:cubicBezTo>
                      <a:pt x="87" y="5906"/>
                      <a:pt x="87" y="5906"/>
                      <a:pt x="87" y="5906"/>
                    </a:cubicBezTo>
                    <a:cubicBezTo>
                      <a:pt x="88" y="5900"/>
                      <a:pt x="88" y="5900"/>
                      <a:pt x="88" y="5900"/>
                    </a:cubicBezTo>
                    <a:cubicBezTo>
                      <a:pt x="203" y="5921"/>
                      <a:pt x="203" y="5921"/>
                      <a:pt x="203" y="5921"/>
                    </a:cubicBezTo>
                    <a:cubicBezTo>
                      <a:pt x="178" y="6041"/>
                      <a:pt x="178" y="6041"/>
                      <a:pt x="178" y="6041"/>
                    </a:cubicBezTo>
                    <a:cubicBezTo>
                      <a:pt x="172" y="6040"/>
                      <a:pt x="172" y="6040"/>
                      <a:pt x="172" y="6040"/>
                    </a:cubicBezTo>
                    <a:cubicBezTo>
                      <a:pt x="122" y="6031"/>
                      <a:pt x="122" y="6031"/>
                      <a:pt x="122" y="6031"/>
                    </a:cubicBezTo>
                    <a:cubicBezTo>
                      <a:pt x="108" y="6103"/>
                      <a:pt x="108" y="6103"/>
                      <a:pt x="108" y="6103"/>
                    </a:cubicBezTo>
                    <a:lnTo>
                      <a:pt x="4" y="6083"/>
                    </a:lnTo>
                    <a:close/>
                    <a:moveTo>
                      <a:pt x="16" y="6072"/>
                    </a:moveTo>
                    <a:cubicBezTo>
                      <a:pt x="98" y="6087"/>
                      <a:pt x="98" y="6087"/>
                      <a:pt x="98" y="6087"/>
                    </a:cubicBezTo>
                    <a:cubicBezTo>
                      <a:pt x="111" y="6016"/>
                      <a:pt x="111" y="6016"/>
                      <a:pt x="111" y="6016"/>
                    </a:cubicBezTo>
                    <a:cubicBezTo>
                      <a:pt x="168" y="6026"/>
                      <a:pt x="168" y="6026"/>
                      <a:pt x="168" y="6026"/>
                    </a:cubicBezTo>
                    <a:cubicBezTo>
                      <a:pt x="188" y="5932"/>
                      <a:pt x="188" y="5932"/>
                      <a:pt x="188" y="5932"/>
                    </a:cubicBezTo>
                    <a:cubicBezTo>
                      <a:pt x="98" y="5915"/>
                      <a:pt x="98" y="5915"/>
                      <a:pt x="98" y="5915"/>
                    </a:cubicBezTo>
                    <a:cubicBezTo>
                      <a:pt x="98" y="5919"/>
                      <a:pt x="98" y="5919"/>
                      <a:pt x="98" y="5919"/>
                    </a:cubicBezTo>
                    <a:cubicBezTo>
                      <a:pt x="96" y="5925"/>
                      <a:pt x="96" y="5925"/>
                      <a:pt x="96" y="5925"/>
                    </a:cubicBezTo>
                    <a:cubicBezTo>
                      <a:pt x="45" y="5916"/>
                      <a:pt x="45" y="5916"/>
                      <a:pt x="45" y="5916"/>
                    </a:cubicBezTo>
                    <a:lnTo>
                      <a:pt x="16" y="6072"/>
                    </a:lnTo>
                    <a:close/>
                    <a:moveTo>
                      <a:pt x="4" y="8932"/>
                    </a:moveTo>
                    <a:cubicBezTo>
                      <a:pt x="75" y="8983"/>
                      <a:pt x="75" y="8983"/>
                      <a:pt x="75" y="8983"/>
                    </a:cubicBezTo>
                    <a:cubicBezTo>
                      <a:pt x="4" y="9081"/>
                      <a:pt x="4" y="9081"/>
                      <a:pt x="4" y="9081"/>
                    </a:cubicBezTo>
                    <a:cubicBezTo>
                      <a:pt x="4" y="9105"/>
                      <a:pt x="4" y="9105"/>
                      <a:pt x="4" y="9105"/>
                    </a:cubicBezTo>
                    <a:cubicBezTo>
                      <a:pt x="180" y="8860"/>
                      <a:pt x="180" y="8860"/>
                      <a:pt x="180" y="8860"/>
                    </a:cubicBezTo>
                    <a:cubicBezTo>
                      <a:pt x="169" y="8852"/>
                      <a:pt x="169" y="8852"/>
                      <a:pt x="169" y="8852"/>
                    </a:cubicBezTo>
                    <a:cubicBezTo>
                      <a:pt x="83" y="8972"/>
                      <a:pt x="83" y="8972"/>
                      <a:pt x="83" y="8972"/>
                    </a:cubicBezTo>
                    <a:cubicBezTo>
                      <a:pt x="4" y="8915"/>
                      <a:pt x="4" y="8915"/>
                      <a:pt x="4" y="8915"/>
                    </a:cubicBezTo>
                    <a:lnTo>
                      <a:pt x="4" y="8932"/>
                    </a:lnTo>
                    <a:close/>
                    <a:moveTo>
                      <a:pt x="4" y="7092"/>
                    </a:moveTo>
                    <a:cubicBezTo>
                      <a:pt x="49" y="7123"/>
                      <a:pt x="49" y="7123"/>
                      <a:pt x="49" y="7123"/>
                    </a:cubicBezTo>
                    <a:cubicBezTo>
                      <a:pt x="15" y="7172"/>
                      <a:pt x="15" y="7172"/>
                      <a:pt x="15" y="7172"/>
                    </a:cubicBezTo>
                    <a:cubicBezTo>
                      <a:pt x="4" y="7165"/>
                      <a:pt x="4" y="7165"/>
                      <a:pt x="4" y="7165"/>
                    </a:cubicBezTo>
                    <a:cubicBezTo>
                      <a:pt x="4" y="7181"/>
                      <a:pt x="4" y="7181"/>
                      <a:pt x="4" y="7181"/>
                    </a:cubicBezTo>
                    <a:cubicBezTo>
                      <a:pt x="18" y="7190"/>
                      <a:pt x="18" y="7190"/>
                      <a:pt x="18" y="7190"/>
                    </a:cubicBezTo>
                    <a:cubicBezTo>
                      <a:pt x="63" y="7125"/>
                      <a:pt x="63" y="7125"/>
                      <a:pt x="63" y="7125"/>
                    </a:cubicBezTo>
                    <a:cubicBezTo>
                      <a:pt x="67" y="7119"/>
                      <a:pt x="67" y="7119"/>
                      <a:pt x="67" y="7119"/>
                    </a:cubicBezTo>
                    <a:cubicBezTo>
                      <a:pt x="4" y="7076"/>
                      <a:pt x="4" y="7076"/>
                      <a:pt x="4" y="7076"/>
                    </a:cubicBezTo>
                    <a:lnTo>
                      <a:pt x="4" y="7092"/>
                    </a:lnTo>
                    <a:close/>
                    <a:moveTo>
                      <a:pt x="610" y="307"/>
                    </a:moveTo>
                    <a:cubicBezTo>
                      <a:pt x="654" y="264"/>
                      <a:pt x="654" y="264"/>
                      <a:pt x="654" y="264"/>
                    </a:cubicBezTo>
                    <a:cubicBezTo>
                      <a:pt x="634" y="229"/>
                      <a:pt x="634" y="229"/>
                      <a:pt x="634" y="229"/>
                    </a:cubicBezTo>
                    <a:cubicBezTo>
                      <a:pt x="528" y="307"/>
                      <a:pt x="528" y="307"/>
                      <a:pt x="528" y="307"/>
                    </a:cubicBezTo>
                    <a:cubicBezTo>
                      <a:pt x="507" y="280"/>
                      <a:pt x="507" y="280"/>
                      <a:pt x="507" y="280"/>
                    </a:cubicBezTo>
                    <a:cubicBezTo>
                      <a:pt x="526" y="251"/>
                      <a:pt x="526" y="251"/>
                      <a:pt x="526" y="251"/>
                    </a:cubicBezTo>
                    <a:cubicBezTo>
                      <a:pt x="479" y="207"/>
                      <a:pt x="479" y="207"/>
                      <a:pt x="479" y="207"/>
                    </a:cubicBezTo>
                    <a:cubicBezTo>
                      <a:pt x="643" y="58"/>
                      <a:pt x="643" y="58"/>
                      <a:pt x="643" y="58"/>
                    </a:cubicBezTo>
                    <a:cubicBezTo>
                      <a:pt x="862" y="261"/>
                      <a:pt x="862" y="261"/>
                      <a:pt x="862" y="261"/>
                    </a:cubicBezTo>
                    <a:cubicBezTo>
                      <a:pt x="857" y="267"/>
                      <a:pt x="857" y="267"/>
                      <a:pt x="857" y="267"/>
                    </a:cubicBezTo>
                    <a:cubicBezTo>
                      <a:pt x="798" y="328"/>
                      <a:pt x="798" y="328"/>
                      <a:pt x="798" y="328"/>
                    </a:cubicBezTo>
                    <a:cubicBezTo>
                      <a:pt x="753" y="285"/>
                      <a:pt x="753" y="285"/>
                      <a:pt x="753" y="285"/>
                    </a:cubicBezTo>
                    <a:cubicBezTo>
                      <a:pt x="679" y="348"/>
                      <a:pt x="679" y="348"/>
                      <a:pt x="679" y="348"/>
                    </a:cubicBezTo>
                    <a:lnTo>
                      <a:pt x="610" y="307"/>
                    </a:lnTo>
                    <a:close/>
                    <a:moveTo>
                      <a:pt x="672" y="267"/>
                    </a:moveTo>
                    <a:cubicBezTo>
                      <a:pt x="634" y="304"/>
                      <a:pt x="634" y="304"/>
                      <a:pt x="634" y="304"/>
                    </a:cubicBezTo>
                    <a:cubicBezTo>
                      <a:pt x="677" y="330"/>
                      <a:pt x="677" y="330"/>
                      <a:pt x="677" y="330"/>
                    </a:cubicBezTo>
                    <a:cubicBezTo>
                      <a:pt x="754" y="265"/>
                      <a:pt x="754" y="265"/>
                      <a:pt x="754" y="265"/>
                    </a:cubicBezTo>
                    <a:cubicBezTo>
                      <a:pt x="798" y="307"/>
                      <a:pt x="798" y="307"/>
                      <a:pt x="798" y="307"/>
                    </a:cubicBezTo>
                    <a:cubicBezTo>
                      <a:pt x="841" y="262"/>
                      <a:pt x="841" y="262"/>
                      <a:pt x="841" y="262"/>
                    </a:cubicBezTo>
                    <a:cubicBezTo>
                      <a:pt x="643" y="78"/>
                      <a:pt x="643" y="78"/>
                      <a:pt x="643" y="78"/>
                    </a:cubicBezTo>
                    <a:cubicBezTo>
                      <a:pt x="501" y="207"/>
                      <a:pt x="501" y="207"/>
                      <a:pt x="501" y="207"/>
                    </a:cubicBezTo>
                    <a:cubicBezTo>
                      <a:pt x="545" y="249"/>
                      <a:pt x="545" y="249"/>
                      <a:pt x="545" y="249"/>
                    </a:cubicBezTo>
                    <a:cubicBezTo>
                      <a:pt x="525" y="280"/>
                      <a:pt x="525" y="280"/>
                      <a:pt x="525" y="280"/>
                    </a:cubicBezTo>
                    <a:cubicBezTo>
                      <a:pt x="531" y="287"/>
                      <a:pt x="531" y="287"/>
                      <a:pt x="531" y="287"/>
                    </a:cubicBezTo>
                    <a:cubicBezTo>
                      <a:pt x="639" y="207"/>
                      <a:pt x="639" y="207"/>
                      <a:pt x="639" y="207"/>
                    </a:cubicBezTo>
                    <a:lnTo>
                      <a:pt x="672" y="267"/>
                    </a:lnTo>
                    <a:close/>
                    <a:moveTo>
                      <a:pt x="3933" y="195"/>
                    </a:moveTo>
                    <a:cubicBezTo>
                      <a:pt x="3883" y="239"/>
                      <a:pt x="3883" y="239"/>
                      <a:pt x="3883" y="239"/>
                    </a:cubicBezTo>
                    <a:cubicBezTo>
                      <a:pt x="3865" y="223"/>
                      <a:pt x="3865" y="223"/>
                      <a:pt x="3865" y="223"/>
                    </a:cubicBezTo>
                    <a:cubicBezTo>
                      <a:pt x="3818" y="262"/>
                      <a:pt x="3818" y="262"/>
                      <a:pt x="3818" y="262"/>
                    </a:cubicBezTo>
                    <a:cubicBezTo>
                      <a:pt x="3756" y="197"/>
                      <a:pt x="3756" y="197"/>
                      <a:pt x="3756" y="197"/>
                    </a:cubicBezTo>
                    <a:cubicBezTo>
                      <a:pt x="3804" y="151"/>
                      <a:pt x="3804" y="151"/>
                      <a:pt x="3804" y="151"/>
                    </a:cubicBezTo>
                    <a:cubicBezTo>
                      <a:pt x="3829" y="172"/>
                      <a:pt x="3829" y="172"/>
                      <a:pt x="3829" y="172"/>
                    </a:cubicBezTo>
                    <a:cubicBezTo>
                      <a:pt x="3867" y="130"/>
                      <a:pt x="3867" y="130"/>
                      <a:pt x="3867" y="130"/>
                    </a:cubicBezTo>
                    <a:cubicBezTo>
                      <a:pt x="3843" y="106"/>
                      <a:pt x="3843" y="106"/>
                      <a:pt x="3843" y="106"/>
                    </a:cubicBezTo>
                    <a:cubicBezTo>
                      <a:pt x="3895" y="60"/>
                      <a:pt x="3895" y="60"/>
                      <a:pt x="3895" y="60"/>
                    </a:cubicBezTo>
                    <a:cubicBezTo>
                      <a:pt x="3958" y="126"/>
                      <a:pt x="3958" y="126"/>
                      <a:pt x="3958" y="126"/>
                    </a:cubicBezTo>
                    <a:cubicBezTo>
                      <a:pt x="3914" y="170"/>
                      <a:pt x="3914" y="170"/>
                      <a:pt x="3914" y="170"/>
                    </a:cubicBezTo>
                    <a:lnTo>
                      <a:pt x="3933" y="195"/>
                    </a:lnTo>
                    <a:close/>
                    <a:moveTo>
                      <a:pt x="3883" y="221"/>
                    </a:moveTo>
                    <a:cubicBezTo>
                      <a:pt x="3914" y="193"/>
                      <a:pt x="3914" y="193"/>
                      <a:pt x="3914" y="193"/>
                    </a:cubicBezTo>
                    <a:cubicBezTo>
                      <a:pt x="3903" y="178"/>
                      <a:pt x="3903" y="178"/>
                      <a:pt x="3903" y="178"/>
                    </a:cubicBezTo>
                    <a:cubicBezTo>
                      <a:pt x="3895" y="169"/>
                      <a:pt x="3895" y="169"/>
                      <a:pt x="3895" y="169"/>
                    </a:cubicBezTo>
                    <a:cubicBezTo>
                      <a:pt x="3904" y="160"/>
                      <a:pt x="3904" y="160"/>
                      <a:pt x="3904" y="160"/>
                    </a:cubicBezTo>
                    <a:cubicBezTo>
                      <a:pt x="3938" y="126"/>
                      <a:pt x="3938" y="126"/>
                      <a:pt x="3938" y="126"/>
                    </a:cubicBezTo>
                    <a:cubicBezTo>
                      <a:pt x="3894" y="79"/>
                      <a:pt x="3894" y="79"/>
                      <a:pt x="3894" y="79"/>
                    </a:cubicBezTo>
                    <a:cubicBezTo>
                      <a:pt x="3863" y="106"/>
                      <a:pt x="3863" y="106"/>
                      <a:pt x="3863" y="106"/>
                    </a:cubicBezTo>
                    <a:cubicBezTo>
                      <a:pt x="3877" y="120"/>
                      <a:pt x="3877" y="120"/>
                      <a:pt x="3877" y="120"/>
                    </a:cubicBezTo>
                    <a:cubicBezTo>
                      <a:pt x="3887" y="130"/>
                      <a:pt x="3887" y="130"/>
                      <a:pt x="3887" y="130"/>
                    </a:cubicBezTo>
                    <a:cubicBezTo>
                      <a:pt x="3878" y="140"/>
                      <a:pt x="3878" y="140"/>
                      <a:pt x="3878" y="140"/>
                    </a:cubicBezTo>
                    <a:cubicBezTo>
                      <a:pt x="3839" y="181"/>
                      <a:pt x="3839" y="181"/>
                      <a:pt x="3839" y="181"/>
                    </a:cubicBezTo>
                    <a:cubicBezTo>
                      <a:pt x="3830" y="191"/>
                      <a:pt x="3830" y="191"/>
                      <a:pt x="3830" y="191"/>
                    </a:cubicBezTo>
                    <a:cubicBezTo>
                      <a:pt x="3820" y="183"/>
                      <a:pt x="3820" y="183"/>
                      <a:pt x="3820" y="183"/>
                    </a:cubicBezTo>
                    <a:cubicBezTo>
                      <a:pt x="3805" y="170"/>
                      <a:pt x="3805" y="170"/>
                      <a:pt x="3805" y="170"/>
                    </a:cubicBezTo>
                    <a:cubicBezTo>
                      <a:pt x="3776" y="198"/>
                      <a:pt x="3776" y="198"/>
                      <a:pt x="3776" y="198"/>
                    </a:cubicBezTo>
                    <a:cubicBezTo>
                      <a:pt x="3819" y="243"/>
                      <a:pt x="3819" y="243"/>
                      <a:pt x="3819" y="243"/>
                    </a:cubicBezTo>
                    <a:cubicBezTo>
                      <a:pt x="3856" y="212"/>
                      <a:pt x="3856" y="212"/>
                      <a:pt x="3856" y="212"/>
                    </a:cubicBezTo>
                    <a:cubicBezTo>
                      <a:pt x="3865" y="204"/>
                      <a:pt x="3865" y="204"/>
                      <a:pt x="3865" y="204"/>
                    </a:cubicBezTo>
                    <a:cubicBezTo>
                      <a:pt x="3874" y="213"/>
                      <a:pt x="3874" y="213"/>
                      <a:pt x="3874" y="213"/>
                    </a:cubicBezTo>
                    <a:lnTo>
                      <a:pt x="3883" y="221"/>
                    </a:lnTo>
                    <a:close/>
                    <a:moveTo>
                      <a:pt x="4" y="5895"/>
                    </a:moveTo>
                    <a:cubicBezTo>
                      <a:pt x="4" y="5966"/>
                      <a:pt x="4" y="5966"/>
                      <a:pt x="4" y="5966"/>
                    </a:cubicBezTo>
                    <a:cubicBezTo>
                      <a:pt x="6" y="5953"/>
                      <a:pt x="7" y="5941"/>
                      <a:pt x="7" y="5929"/>
                    </a:cubicBezTo>
                    <a:cubicBezTo>
                      <a:pt x="7" y="5917"/>
                      <a:pt x="6" y="5906"/>
                      <a:pt x="4" y="5895"/>
                    </a:cubicBezTo>
                    <a:close/>
                    <a:moveTo>
                      <a:pt x="4" y="6330"/>
                    </a:moveTo>
                    <a:cubicBezTo>
                      <a:pt x="69" y="6362"/>
                      <a:pt x="69" y="6362"/>
                      <a:pt x="69" y="6362"/>
                    </a:cubicBezTo>
                    <a:cubicBezTo>
                      <a:pt x="47" y="6406"/>
                      <a:pt x="47" y="6406"/>
                      <a:pt x="47" y="6406"/>
                    </a:cubicBezTo>
                    <a:cubicBezTo>
                      <a:pt x="4" y="6385"/>
                      <a:pt x="4" y="6385"/>
                      <a:pt x="4" y="6385"/>
                    </a:cubicBezTo>
                    <a:cubicBezTo>
                      <a:pt x="4" y="6400"/>
                      <a:pt x="4" y="6400"/>
                      <a:pt x="4" y="6400"/>
                    </a:cubicBezTo>
                    <a:cubicBezTo>
                      <a:pt x="47" y="6421"/>
                      <a:pt x="47" y="6421"/>
                      <a:pt x="47" y="6421"/>
                    </a:cubicBezTo>
                    <a:cubicBezTo>
                      <a:pt x="52" y="6424"/>
                      <a:pt x="52" y="6424"/>
                      <a:pt x="52" y="6424"/>
                    </a:cubicBezTo>
                    <a:cubicBezTo>
                      <a:pt x="86" y="6356"/>
                      <a:pt x="86" y="6356"/>
                      <a:pt x="86" y="6356"/>
                    </a:cubicBezTo>
                    <a:cubicBezTo>
                      <a:pt x="4" y="6315"/>
                      <a:pt x="4" y="6315"/>
                      <a:pt x="4" y="6315"/>
                    </a:cubicBezTo>
                    <a:lnTo>
                      <a:pt x="4" y="6330"/>
                    </a:lnTo>
                    <a:close/>
                    <a:moveTo>
                      <a:pt x="3573" y="402"/>
                    </a:moveTo>
                    <a:cubicBezTo>
                      <a:pt x="3570" y="401"/>
                      <a:pt x="3592" y="398"/>
                      <a:pt x="3592" y="398"/>
                    </a:cubicBezTo>
                    <a:cubicBezTo>
                      <a:pt x="3578" y="321"/>
                      <a:pt x="3578" y="321"/>
                      <a:pt x="3578" y="321"/>
                    </a:cubicBezTo>
                    <a:cubicBezTo>
                      <a:pt x="3660" y="305"/>
                      <a:pt x="3660" y="305"/>
                      <a:pt x="3660" y="305"/>
                    </a:cubicBezTo>
                    <a:cubicBezTo>
                      <a:pt x="3677" y="384"/>
                      <a:pt x="3677" y="384"/>
                      <a:pt x="3677" y="384"/>
                    </a:cubicBezTo>
                    <a:cubicBezTo>
                      <a:pt x="3751" y="371"/>
                      <a:pt x="3751" y="371"/>
                      <a:pt x="3751" y="371"/>
                    </a:cubicBezTo>
                    <a:cubicBezTo>
                      <a:pt x="3765" y="456"/>
                      <a:pt x="3765" y="456"/>
                      <a:pt x="3765" y="456"/>
                    </a:cubicBezTo>
                    <a:cubicBezTo>
                      <a:pt x="3589" y="482"/>
                      <a:pt x="3589" y="482"/>
                      <a:pt x="3589" y="482"/>
                    </a:cubicBezTo>
                    <a:cubicBezTo>
                      <a:pt x="3589" y="482"/>
                      <a:pt x="3575" y="403"/>
                      <a:pt x="3573" y="402"/>
                    </a:cubicBezTo>
                    <a:close/>
                    <a:moveTo>
                      <a:pt x="3590" y="412"/>
                    </a:moveTo>
                    <a:cubicBezTo>
                      <a:pt x="3592" y="423"/>
                      <a:pt x="3595" y="440"/>
                      <a:pt x="3600" y="467"/>
                    </a:cubicBezTo>
                    <a:cubicBezTo>
                      <a:pt x="3749" y="444"/>
                      <a:pt x="3749" y="444"/>
                      <a:pt x="3749" y="444"/>
                    </a:cubicBezTo>
                    <a:cubicBezTo>
                      <a:pt x="3740" y="388"/>
                      <a:pt x="3740" y="388"/>
                      <a:pt x="3740" y="388"/>
                    </a:cubicBezTo>
                    <a:cubicBezTo>
                      <a:pt x="3679" y="398"/>
                      <a:pt x="3679" y="398"/>
                      <a:pt x="3679" y="398"/>
                    </a:cubicBezTo>
                    <a:cubicBezTo>
                      <a:pt x="3666" y="400"/>
                      <a:pt x="3666" y="400"/>
                      <a:pt x="3666" y="400"/>
                    </a:cubicBezTo>
                    <a:cubicBezTo>
                      <a:pt x="3663" y="387"/>
                      <a:pt x="3663" y="387"/>
                      <a:pt x="3663" y="387"/>
                    </a:cubicBezTo>
                    <a:cubicBezTo>
                      <a:pt x="3649" y="321"/>
                      <a:pt x="3649" y="321"/>
                      <a:pt x="3649" y="321"/>
                    </a:cubicBezTo>
                    <a:cubicBezTo>
                      <a:pt x="3595" y="332"/>
                      <a:pt x="3595" y="332"/>
                      <a:pt x="3595" y="332"/>
                    </a:cubicBezTo>
                    <a:cubicBezTo>
                      <a:pt x="3606" y="395"/>
                      <a:pt x="3606" y="395"/>
                      <a:pt x="3606" y="395"/>
                    </a:cubicBezTo>
                    <a:cubicBezTo>
                      <a:pt x="3608" y="409"/>
                      <a:pt x="3608" y="409"/>
                      <a:pt x="3608" y="409"/>
                    </a:cubicBezTo>
                    <a:cubicBezTo>
                      <a:pt x="3594" y="412"/>
                      <a:pt x="3594" y="412"/>
                      <a:pt x="3594" y="412"/>
                    </a:cubicBezTo>
                    <a:cubicBezTo>
                      <a:pt x="3593" y="412"/>
                      <a:pt x="3591" y="412"/>
                      <a:pt x="3590" y="412"/>
                    </a:cubicBezTo>
                    <a:close/>
                    <a:moveTo>
                      <a:pt x="916" y="9232"/>
                    </a:moveTo>
                    <a:cubicBezTo>
                      <a:pt x="873" y="8987"/>
                      <a:pt x="873" y="8987"/>
                      <a:pt x="873" y="8987"/>
                    </a:cubicBezTo>
                    <a:cubicBezTo>
                      <a:pt x="940" y="8728"/>
                      <a:pt x="940" y="8728"/>
                      <a:pt x="940" y="8728"/>
                    </a:cubicBezTo>
                    <a:cubicBezTo>
                      <a:pt x="1099" y="8756"/>
                      <a:pt x="1099" y="8756"/>
                      <a:pt x="1099" y="8756"/>
                    </a:cubicBezTo>
                    <a:cubicBezTo>
                      <a:pt x="1068" y="8913"/>
                      <a:pt x="1068" y="8913"/>
                      <a:pt x="1068" y="8913"/>
                    </a:cubicBezTo>
                    <a:cubicBezTo>
                      <a:pt x="1139" y="8962"/>
                      <a:pt x="1139" y="8962"/>
                      <a:pt x="1139" y="8962"/>
                    </a:cubicBezTo>
                    <a:cubicBezTo>
                      <a:pt x="1243" y="8839"/>
                      <a:pt x="1243" y="8839"/>
                      <a:pt x="1243" y="8839"/>
                    </a:cubicBezTo>
                    <a:cubicBezTo>
                      <a:pt x="1332" y="8880"/>
                      <a:pt x="1332" y="8880"/>
                      <a:pt x="1332" y="8880"/>
                    </a:cubicBezTo>
                    <a:cubicBezTo>
                      <a:pt x="1385" y="8812"/>
                      <a:pt x="1385" y="8812"/>
                      <a:pt x="1385" y="8812"/>
                    </a:cubicBezTo>
                    <a:cubicBezTo>
                      <a:pt x="1480" y="8894"/>
                      <a:pt x="1480" y="8894"/>
                      <a:pt x="1480" y="8894"/>
                    </a:cubicBezTo>
                    <a:cubicBezTo>
                      <a:pt x="1476" y="8900"/>
                      <a:pt x="1476" y="8900"/>
                      <a:pt x="1476" y="8900"/>
                    </a:cubicBezTo>
                    <a:cubicBezTo>
                      <a:pt x="1313" y="9108"/>
                      <a:pt x="1313" y="9108"/>
                      <a:pt x="1313" y="9108"/>
                    </a:cubicBezTo>
                    <a:cubicBezTo>
                      <a:pt x="1216" y="9053"/>
                      <a:pt x="1216" y="9053"/>
                      <a:pt x="1216" y="9053"/>
                    </a:cubicBezTo>
                    <a:cubicBezTo>
                      <a:pt x="1111" y="9219"/>
                      <a:pt x="1111" y="9219"/>
                      <a:pt x="1111" y="9219"/>
                    </a:cubicBezTo>
                    <a:lnTo>
                      <a:pt x="916" y="9232"/>
                    </a:lnTo>
                    <a:close/>
                    <a:moveTo>
                      <a:pt x="888" y="8988"/>
                    </a:moveTo>
                    <a:cubicBezTo>
                      <a:pt x="928" y="9216"/>
                      <a:pt x="928" y="9216"/>
                      <a:pt x="928" y="9216"/>
                    </a:cubicBezTo>
                    <a:cubicBezTo>
                      <a:pt x="1103" y="9205"/>
                      <a:pt x="1103" y="9205"/>
                      <a:pt x="1103" y="9205"/>
                    </a:cubicBezTo>
                    <a:cubicBezTo>
                      <a:pt x="1211" y="9034"/>
                      <a:pt x="1211" y="9034"/>
                      <a:pt x="1211" y="9034"/>
                    </a:cubicBezTo>
                    <a:cubicBezTo>
                      <a:pt x="1310" y="9089"/>
                      <a:pt x="1310" y="9089"/>
                      <a:pt x="1310" y="9089"/>
                    </a:cubicBezTo>
                    <a:cubicBezTo>
                      <a:pt x="1460" y="8896"/>
                      <a:pt x="1460" y="8896"/>
                      <a:pt x="1460" y="8896"/>
                    </a:cubicBezTo>
                    <a:cubicBezTo>
                      <a:pt x="1387" y="8833"/>
                      <a:pt x="1387" y="8833"/>
                      <a:pt x="1387" y="8833"/>
                    </a:cubicBezTo>
                    <a:cubicBezTo>
                      <a:pt x="1336" y="8898"/>
                      <a:pt x="1336" y="8898"/>
                      <a:pt x="1336" y="8898"/>
                    </a:cubicBezTo>
                    <a:cubicBezTo>
                      <a:pt x="1247" y="8857"/>
                      <a:pt x="1247" y="8857"/>
                      <a:pt x="1247" y="8857"/>
                    </a:cubicBezTo>
                    <a:cubicBezTo>
                      <a:pt x="1142" y="8982"/>
                      <a:pt x="1142" y="8982"/>
                      <a:pt x="1142" y="8982"/>
                    </a:cubicBezTo>
                    <a:cubicBezTo>
                      <a:pt x="1052" y="8920"/>
                      <a:pt x="1052" y="8920"/>
                      <a:pt x="1052" y="8920"/>
                    </a:cubicBezTo>
                    <a:cubicBezTo>
                      <a:pt x="1082" y="8768"/>
                      <a:pt x="1082" y="8768"/>
                      <a:pt x="1082" y="8768"/>
                    </a:cubicBezTo>
                    <a:cubicBezTo>
                      <a:pt x="951" y="8745"/>
                      <a:pt x="951" y="8745"/>
                      <a:pt x="951" y="8745"/>
                    </a:cubicBezTo>
                    <a:lnTo>
                      <a:pt x="888" y="8988"/>
                    </a:lnTo>
                    <a:close/>
                    <a:moveTo>
                      <a:pt x="1167" y="432"/>
                    </a:moveTo>
                    <a:cubicBezTo>
                      <a:pt x="1046" y="324"/>
                      <a:pt x="1046" y="324"/>
                      <a:pt x="1046" y="324"/>
                    </a:cubicBezTo>
                    <a:cubicBezTo>
                      <a:pt x="1039" y="318"/>
                      <a:pt x="1039" y="318"/>
                      <a:pt x="1039" y="318"/>
                    </a:cubicBezTo>
                    <a:cubicBezTo>
                      <a:pt x="1042" y="309"/>
                      <a:pt x="1042" y="309"/>
                      <a:pt x="1042" y="309"/>
                    </a:cubicBezTo>
                    <a:cubicBezTo>
                      <a:pt x="1058" y="259"/>
                      <a:pt x="1058" y="259"/>
                      <a:pt x="1058" y="259"/>
                    </a:cubicBezTo>
                    <a:cubicBezTo>
                      <a:pt x="1064" y="239"/>
                      <a:pt x="1064" y="239"/>
                      <a:pt x="1064" y="239"/>
                    </a:cubicBezTo>
                    <a:cubicBezTo>
                      <a:pt x="1080" y="253"/>
                      <a:pt x="1080" y="253"/>
                      <a:pt x="1080" y="253"/>
                    </a:cubicBezTo>
                    <a:cubicBezTo>
                      <a:pt x="1204" y="362"/>
                      <a:pt x="1204" y="362"/>
                      <a:pt x="1204" y="362"/>
                    </a:cubicBezTo>
                    <a:cubicBezTo>
                      <a:pt x="1212" y="368"/>
                      <a:pt x="1212" y="368"/>
                      <a:pt x="1212" y="368"/>
                    </a:cubicBezTo>
                    <a:cubicBezTo>
                      <a:pt x="1208" y="377"/>
                      <a:pt x="1208" y="377"/>
                      <a:pt x="1208" y="377"/>
                    </a:cubicBezTo>
                    <a:cubicBezTo>
                      <a:pt x="1189" y="427"/>
                      <a:pt x="1189" y="427"/>
                      <a:pt x="1189" y="427"/>
                    </a:cubicBezTo>
                    <a:cubicBezTo>
                      <a:pt x="1182" y="445"/>
                      <a:pt x="1182" y="445"/>
                      <a:pt x="1182" y="445"/>
                    </a:cubicBezTo>
                    <a:lnTo>
                      <a:pt x="1167" y="432"/>
                    </a:lnTo>
                    <a:close/>
                    <a:moveTo>
                      <a:pt x="1055" y="313"/>
                    </a:moveTo>
                    <a:cubicBezTo>
                      <a:pt x="1176" y="421"/>
                      <a:pt x="1176" y="421"/>
                      <a:pt x="1176" y="421"/>
                    </a:cubicBezTo>
                    <a:cubicBezTo>
                      <a:pt x="1195" y="372"/>
                      <a:pt x="1195" y="372"/>
                      <a:pt x="1195" y="372"/>
                    </a:cubicBezTo>
                    <a:cubicBezTo>
                      <a:pt x="1071" y="264"/>
                      <a:pt x="1071" y="264"/>
                      <a:pt x="1071" y="264"/>
                    </a:cubicBezTo>
                    <a:lnTo>
                      <a:pt x="1055" y="313"/>
                    </a:lnTo>
                    <a:close/>
                    <a:moveTo>
                      <a:pt x="8366" y="10514"/>
                    </a:moveTo>
                    <a:cubicBezTo>
                      <a:pt x="8461" y="10515"/>
                      <a:pt x="8461" y="10515"/>
                      <a:pt x="8461" y="10515"/>
                    </a:cubicBezTo>
                    <a:cubicBezTo>
                      <a:pt x="8461" y="10610"/>
                      <a:pt x="8461" y="10610"/>
                      <a:pt x="8461" y="10610"/>
                    </a:cubicBezTo>
                    <a:cubicBezTo>
                      <a:pt x="8454" y="10610"/>
                      <a:pt x="8454" y="10610"/>
                      <a:pt x="8454" y="10610"/>
                    </a:cubicBezTo>
                    <a:cubicBezTo>
                      <a:pt x="8366" y="10609"/>
                      <a:pt x="8366" y="10609"/>
                      <a:pt x="8366" y="10609"/>
                    </a:cubicBezTo>
                    <a:lnTo>
                      <a:pt x="8366" y="10514"/>
                    </a:lnTo>
                    <a:close/>
                    <a:moveTo>
                      <a:pt x="8379" y="10596"/>
                    </a:moveTo>
                    <a:cubicBezTo>
                      <a:pt x="8448" y="10597"/>
                      <a:pt x="8448" y="10597"/>
                      <a:pt x="8448" y="10597"/>
                    </a:cubicBezTo>
                    <a:cubicBezTo>
                      <a:pt x="8448" y="10528"/>
                      <a:pt x="8448" y="10528"/>
                      <a:pt x="8448" y="10528"/>
                    </a:cubicBezTo>
                    <a:cubicBezTo>
                      <a:pt x="8379" y="10527"/>
                      <a:pt x="8379" y="10527"/>
                      <a:pt x="8379" y="10527"/>
                    </a:cubicBezTo>
                    <a:lnTo>
                      <a:pt x="8379" y="10596"/>
                    </a:lnTo>
                    <a:close/>
                    <a:moveTo>
                      <a:pt x="6390" y="95"/>
                    </a:moveTo>
                    <a:cubicBezTo>
                      <a:pt x="6415" y="0"/>
                      <a:pt x="6415" y="0"/>
                      <a:pt x="6415" y="0"/>
                    </a:cubicBezTo>
                    <a:cubicBezTo>
                      <a:pt x="6400" y="0"/>
                      <a:pt x="6400" y="0"/>
                      <a:pt x="6400" y="0"/>
                    </a:cubicBezTo>
                    <a:cubicBezTo>
                      <a:pt x="6377" y="92"/>
                      <a:pt x="6377" y="92"/>
                      <a:pt x="6377" y="92"/>
                    </a:cubicBezTo>
                    <a:lnTo>
                      <a:pt x="6390" y="95"/>
                    </a:lnTo>
                    <a:close/>
                    <a:moveTo>
                      <a:pt x="730" y="8383"/>
                    </a:moveTo>
                    <a:cubicBezTo>
                      <a:pt x="675" y="8454"/>
                      <a:pt x="675" y="8454"/>
                      <a:pt x="675" y="8454"/>
                    </a:cubicBezTo>
                    <a:cubicBezTo>
                      <a:pt x="675" y="8454"/>
                      <a:pt x="642" y="8438"/>
                      <a:pt x="613" y="8424"/>
                    </a:cubicBezTo>
                    <a:cubicBezTo>
                      <a:pt x="584" y="8411"/>
                      <a:pt x="574" y="8439"/>
                      <a:pt x="574" y="8439"/>
                    </a:cubicBezTo>
                    <a:cubicBezTo>
                      <a:pt x="505" y="8406"/>
                      <a:pt x="505" y="8406"/>
                      <a:pt x="505" y="8406"/>
                    </a:cubicBezTo>
                    <a:cubicBezTo>
                      <a:pt x="505" y="8406"/>
                      <a:pt x="422" y="8399"/>
                      <a:pt x="422" y="8397"/>
                    </a:cubicBezTo>
                    <a:cubicBezTo>
                      <a:pt x="421" y="8351"/>
                      <a:pt x="307" y="8368"/>
                      <a:pt x="307" y="8368"/>
                    </a:cubicBezTo>
                    <a:cubicBezTo>
                      <a:pt x="299" y="8282"/>
                      <a:pt x="299" y="8282"/>
                      <a:pt x="299" y="8282"/>
                    </a:cubicBezTo>
                    <a:cubicBezTo>
                      <a:pt x="299" y="8282"/>
                      <a:pt x="416" y="8260"/>
                      <a:pt x="537" y="8284"/>
                    </a:cubicBezTo>
                    <a:cubicBezTo>
                      <a:pt x="656" y="8306"/>
                      <a:pt x="730" y="8383"/>
                      <a:pt x="730" y="8383"/>
                    </a:cubicBezTo>
                    <a:close/>
                    <a:moveTo>
                      <a:pt x="711" y="8385"/>
                    </a:moveTo>
                    <a:cubicBezTo>
                      <a:pt x="689" y="8365"/>
                      <a:pt x="625" y="8314"/>
                      <a:pt x="535" y="8297"/>
                    </a:cubicBezTo>
                    <a:cubicBezTo>
                      <a:pt x="498" y="8290"/>
                      <a:pt x="458" y="8287"/>
                      <a:pt x="416" y="8287"/>
                    </a:cubicBezTo>
                    <a:cubicBezTo>
                      <a:pt x="370" y="8287"/>
                      <a:pt x="333" y="8291"/>
                      <a:pt x="314" y="8294"/>
                    </a:cubicBezTo>
                    <a:cubicBezTo>
                      <a:pt x="320" y="8352"/>
                      <a:pt x="320" y="8352"/>
                      <a:pt x="320" y="8352"/>
                    </a:cubicBezTo>
                    <a:cubicBezTo>
                      <a:pt x="328" y="8352"/>
                      <a:pt x="339" y="8351"/>
                      <a:pt x="352" y="8351"/>
                    </a:cubicBezTo>
                    <a:cubicBezTo>
                      <a:pt x="408" y="8351"/>
                      <a:pt x="428" y="8367"/>
                      <a:pt x="434" y="8385"/>
                    </a:cubicBezTo>
                    <a:cubicBezTo>
                      <a:pt x="448" y="8387"/>
                      <a:pt x="478" y="8389"/>
                      <a:pt x="506" y="8392"/>
                    </a:cubicBezTo>
                    <a:cubicBezTo>
                      <a:pt x="509" y="8392"/>
                      <a:pt x="509" y="8392"/>
                      <a:pt x="509" y="8392"/>
                    </a:cubicBezTo>
                    <a:cubicBezTo>
                      <a:pt x="511" y="8393"/>
                      <a:pt x="511" y="8393"/>
                      <a:pt x="511" y="8393"/>
                    </a:cubicBezTo>
                    <a:cubicBezTo>
                      <a:pt x="569" y="8421"/>
                      <a:pt x="569" y="8421"/>
                      <a:pt x="569" y="8421"/>
                    </a:cubicBezTo>
                    <a:cubicBezTo>
                      <a:pt x="575" y="8413"/>
                      <a:pt x="585" y="8407"/>
                      <a:pt x="598" y="8407"/>
                    </a:cubicBezTo>
                    <a:cubicBezTo>
                      <a:pt x="605" y="8407"/>
                      <a:pt x="612" y="8408"/>
                      <a:pt x="619" y="8411"/>
                    </a:cubicBezTo>
                    <a:cubicBezTo>
                      <a:pt x="638" y="8420"/>
                      <a:pt x="659" y="8431"/>
                      <a:pt x="671" y="8436"/>
                    </a:cubicBezTo>
                    <a:lnTo>
                      <a:pt x="711" y="8385"/>
                    </a:lnTo>
                    <a:close/>
                    <a:moveTo>
                      <a:pt x="5509" y="0"/>
                    </a:moveTo>
                    <a:cubicBezTo>
                      <a:pt x="5625" y="0"/>
                      <a:pt x="5625" y="0"/>
                      <a:pt x="5625" y="0"/>
                    </a:cubicBezTo>
                    <a:cubicBezTo>
                      <a:pt x="5661" y="4"/>
                      <a:pt x="5661" y="4"/>
                      <a:pt x="5661" y="4"/>
                    </a:cubicBezTo>
                    <a:cubicBezTo>
                      <a:pt x="5652" y="79"/>
                      <a:pt x="5652" y="79"/>
                      <a:pt x="5652" y="79"/>
                    </a:cubicBezTo>
                    <a:cubicBezTo>
                      <a:pt x="5646" y="79"/>
                      <a:pt x="5646" y="79"/>
                      <a:pt x="5646" y="79"/>
                    </a:cubicBezTo>
                    <a:cubicBezTo>
                      <a:pt x="5502" y="61"/>
                      <a:pt x="5502" y="61"/>
                      <a:pt x="5502" y="61"/>
                    </a:cubicBezTo>
                    <a:lnTo>
                      <a:pt x="5509" y="0"/>
                    </a:lnTo>
                    <a:close/>
                    <a:moveTo>
                      <a:pt x="5522" y="0"/>
                    </a:moveTo>
                    <a:cubicBezTo>
                      <a:pt x="5516" y="50"/>
                      <a:pt x="5516" y="50"/>
                      <a:pt x="5516" y="50"/>
                    </a:cubicBezTo>
                    <a:cubicBezTo>
                      <a:pt x="5641" y="65"/>
                      <a:pt x="5641" y="65"/>
                      <a:pt x="5641" y="65"/>
                    </a:cubicBezTo>
                    <a:cubicBezTo>
                      <a:pt x="5647" y="16"/>
                      <a:pt x="5647" y="16"/>
                      <a:pt x="5647" y="16"/>
                    </a:cubicBezTo>
                    <a:lnTo>
                      <a:pt x="5522" y="0"/>
                    </a:lnTo>
                    <a:close/>
                    <a:moveTo>
                      <a:pt x="1081" y="9064"/>
                    </a:moveTo>
                    <a:cubicBezTo>
                      <a:pt x="972" y="9137"/>
                      <a:pt x="972" y="9137"/>
                      <a:pt x="972" y="9137"/>
                    </a:cubicBezTo>
                    <a:cubicBezTo>
                      <a:pt x="1018" y="8996"/>
                      <a:pt x="1018" y="8996"/>
                      <a:pt x="1018" y="8996"/>
                    </a:cubicBezTo>
                    <a:cubicBezTo>
                      <a:pt x="1089" y="9058"/>
                      <a:pt x="1089" y="9058"/>
                      <a:pt x="1089" y="9058"/>
                    </a:cubicBezTo>
                    <a:lnTo>
                      <a:pt x="1081" y="9064"/>
                    </a:lnTo>
                    <a:close/>
                    <a:moveTo>
                      <a:pt x="1065" y="9057"/>
                    </a:moveTo>
                    <a:cubicBezTo>
                      <a:pt x="1025" y="9022"/>
                      <a:pt x="1025" y="9022"/>
                      <a:pt x="1025" y="9022"/>
                    </a:cubicBezTo>
                    <a:cubicBezTo>
                      <a:pt x="999" y="9101"/>
                      <a:pt x="999" y="9101"/>
                      <a:pt x="999" y="9101"/>
                    </a:cubicBezTo>
                    <a:lnTo>
                      <a:pt x="1065" y="9057"/>
                    </a:lnTo>
                    <a:close/>
                    <a:moveTo>
                      <a:pt x="5778" y="98"/>
                    </a:moveTo>
                    <a:cubicBezTo>
                      <a:pt x="5788" y="23"/>
                      <a:pt x="5788" y="23"/>
                      <a:pt x="5788" y="23"/>
                    </a:cubicBezTo>
                    <a:cubicBezTo>
                      <a:pt x="5938" y="41"/>
                      <a:pt x="5938" y="41"/>
                      <a:pt x="5938" y="41"/>
                    </a:cubicBezTo>
                    <a:cubicBezTo>
                      <a:pt x="5929" y="116"/>
                      <a:pt x="5929" y="116"/>
                      <a:pt x="5929" y="116"/>
                    </a:cubicBezTo>
                    <a:cubicBezTo>
                      <a:pt x="5922" y="116"/>
                      <a:pt x="5922" y="116"/>
                      <a:pt x="5922" y="116"/>
                    </a:cubicBezTo>
                    <a:lnTo>
                      <a:pt x="5778" y="98"/>
                    </a:lnTo>
                    <a:close/>
                    <a:moveTo>
                      <a:pt x="5793" y="86"/>
                    </a:moveTo>
                    <a:cubicBezTo>
                      <a:pt x="5917" y="102"/>
                      <a:pt x="5917" y="102"/>
                      <a:pt x="5917" y="102"/>
                    </a:cubicBezTo>
                    <a:cubicBezTo>
                      <a:pt x="5923" y="53"/>
                      <a:pt x="5923" y="53"/>
                      <a:pt x="5923" y="53"/>
                    </a:cubicBezTo>
                    <a:cubicBezTo>
                      <a:pt x="5799" y="37"/>
                      <a:pt x="5799" y="37"/>
                      <a:pt x="5799" y="37"/>
                    </a:cubicBezTo>
                    <a:lnTo>
                      <a:pt x="5793" y="86"/>
                    </a:lnTo>
                    <a:close/>
                    <a:moveTo>
                      <a:pt x="831" y="7061"/>
                    </a:moveTo>
                    <a:cubicBezTo>
                      <a:pt x="663" y="6954"/>
                      <a:pt x="663" y="6954"/>
                      <a:pt x="663" y="6954"/>
                    </a:cubicBezTo>
                    <a:cubicBezTo>
                      <a:pt x="799" y="6706"/>
                      <a:pt x="799" y="6706"/>
                      <a:pt x="799" y="6706"/>
                    </a:cubicBezTo>
                    <a:cubicBezTo>
                      <a:pt x="1036" y="6854"/>
                      <a:pt x="1036" y="6854"/>
                      <a:pt x="1036" y="6854"/>
                    </a:cubicBezTo>
                    <a:lnTo>
                      <a:pt x="831" y="7061"/>
                    </a:lnTo>
                    <a:close/>
                    <a:moveTo>
                      <a:pt x="829" y="7043"/>
                    </a:moveTo>
                    <a:cubicBezTo>
                      <a:pt x="1014" y="6856"/>
                      <a:pt x="1014" y="6856"/>
                      <a:pt x="1014" y="6856"/>
                    </a:cubicBezTo>
                    <a:cubicBezTo>
                      <a:pt x="804" y="6726"/>
                      <a:pt x="804" y="6726"/>
                      <a:pt x="804" y="6726"/>
                    </a:cubicBezTo>
                    <a:cubicBezTo>
                      <a:pt x="682" y="6949"/>
                      <a:pt x="682" y="6949"/>
                      <a:pt x="682" y="6949"/>
                    </a:cubicBezTo>
                    <a:lnTo>
                      <a:pt x="829" y="7043"/>
                    </a:lnTo>
                    <a:close/>
                    <a:moveTo>
                      <a:pt x="1733" y="405"/>
                    </a:moveTo>
                    <a:cubicBezTo>
                      <a:pt x="1730" y="405"/>
                      <a:pt x="1764" y="307"/>
                      <a:pt x="1764" y="307"/>
                    </a:cubicBezTo>
                    <a:cubicBezTo>
                      <a:pt x="1825" y="378"/>
                      <a:pt x="1825" y="378"/>
                      <a:pt x="1825" y="378"/>
                    </a:cubicBezTo>
                    <a:cubicBezTo>
                      <a:pt x="1813" y="544"/>
                      <a:pt x="1813" y="544"/>
                      <a:pt x="1813" y="544"/>
                    </a:cubicBezTo>
                    <a:cubicBezTo>
                      <a:pt x="1733" y="538"/>
                      <a:pt x="1733" y="538"/>
                      <a:pt x="1733" y="538"/>
                    </a:cubicBezTo>
                    <a:cubicBezTo>
                      <a:pt x="1741" y="476"/>
                      <a:pt x="1741" y="476"/>
                      <a:pt x="1741" y="476"/>
                    </a:cubicBezTo>
                    <a:cubicBezTo>
                      <a:pt x="1741" y="476"/>
                      <a:pt x="1765" y="436"/>
                      <a:pt x="1762" y="436"/>
                    </a:cubicBezTo>
                    <a:cubicBezTo>
                      <a:pt x="1759" y="436"/>
                      <a:pt x="1736" y="405"/>
                      <a:pt x="1733" y="405"/>
                    </a:cubicBezTo>
                    <a:close/>
                    <a:moveTo>
                      <a:pt x="1748" y="400"/>
                    </a:moveTo>
                    <a:cubicBezTo>
                      <a:pt x="1751" y="403"/>
                      <a:pt x="1754" y="407"/>
                      <a:pt x="1758" y="411"/>
                    </a:cubicBezTo>
                    <a:cubicBezTo>
                      <a:pt x="1761" y="415"/>
                      <a:pt x="1764" y="419"/>
                      <a:pt x="1767" y="422"/>
                    </a:cubicBezTo>
                    <a:cubicBezTo>
                      <a:pt x="1770" y="422"/>
                      <a:pt x="1770" y="422"/>
                      <a:pt x="1770" y="422"/>
                    </a:cubicBezTo>
                    <a:cubicBezTo>
                      <a:pt x="1774" y="429"/>
                      <a:pt x="1774" y="429"/>
                      <a:pt x="1774" y="429"/>
                    </a:cubicBezTo>
                    <a:cubicBezTo>
                      <a:pt x="1778" y="436"/>
                      <a:pt x="1779" y="438"/>
                      <a:pt x="1755" y="480"/>
                    </a:cubicBezTo>
                    <a:cubicBezTo>
                      <a:pt x="1749" y="526"/>
                      <a:pt x="1749" y="526"/>
                      <a:pt x="1749" y="526"/>
                    </a:cubicBezTo>
                    <a:cubicBezTo>
                      <a:pt x="1800" y="529"/>
                      <a:pt x="1800" y="529"/>
                      <a:pt x="1800" y="529"/>
                    </a:cubicBezTo>
                    <a:cubicBezTo>
                      <a:pt x="1811" y="383"/>
                      <a:pt x="1811" y="383"/>
                      <a:pt x="1811" y="383"/>
                    </a:cubicBezTo>
                    <a:cubicBezTo>
                      <a:pt x="1769" y="334"/>
                      <a:pt x="1769" y="334"/>
                      <a:pt x="1769" y="334"/>
                    </a:cubicBezTo>
                    <a:cubicBezTo>
                      <a:pt x="1760" y="362"/>
                      <a:pt x="1751" y="388"/>
                      <a:pt x="1748" y="400"/>
                    </a:cubicBezTo>
                    <a:close/>
                    <a:moveTo>
                      <a:pt x="929" y="6866"/>
                    </a:moveTo>
                    <a:cubicBezTo>
                      <a:pt x="911" y="6878"/>
                      <a:pt x="911" y="6878"/>
                      <a:pt x="911" y="6878"/>
                    </a:cubicBezTo>
                    <a:cubicBezTo>
                      <a:pt x="785" y="6962"/>
                      <a:pt x="785" y="6962"/>
                      <a:pt x="785" y="6962"/>
                    </a:cubicBezTo>
                    <a:cubicBezTo>
                      <a:pt x="780" y="6966"/>
                      <a:pt x="780" y="6966"/>
                      <a:pt x="780" y="6966"/>
                    </a:cubicBezTo>
                    <a:cubicBezTo>
                      <a:pt x="774" y="6965"/>
                      <a:pt x="774" y="6965"/>
                      <a:pt x="774" y="6965"/>
                    </a:cubicBezTo>
                    <a:cubicBezTo>
                      <a:pt x="747" y="6959"/>
                      <a:pt x="747" y="6959"/>
                      <a:pt x="747" y="6959"/>
                    </a:cubicBezTo>
                    <a:cubicBezTo>
                      <a:pt x="728" y="6956"/>
                      <a:pt x="728" y="6956"/>
                      <a:pt x="728" y="6956"/>
                    </a:cubicBezTo>
                    <a:cubicBezTo>
                      <a:pt x="738" y="6939"/>
                      <a:pt x="738" y="6939"/>
                      <a:pt x="738" y="6939"/>
                    </a:cubicBezTo>
                    <a:cubicBezTo>
                      <a:pt x="813" y="6813"/>
                      <a:pt x="813" y="6813"/>
                      <a:pt x="813" y="6813"/>
                    </a:cubicBezTo>
                    <a:cubicBezTo>
                      <a:pt x="820" y="6801"/>
                      <a:pt x="820" y="6801"/>
                      <a:pt x="820" y="6801"/>
                    </a:cubicBezTo>
                    <a:cubicBezTo>
                      <a:pt x="832" y="6808"/>
                      <a:pt x="832" y="6808"/>
                      <a:pt x="832" y="6808"/>
                    </a:cubicBezTo>
                    <a:cubicBezTo>
                      <a:pt x="910" y="6855"/>
                      <a:pt x="910" y="6855"/>
                      <a:pt x="910" y="6855"/>
                    </a:cubicBezTo>
                    <a:lnTo>
                      <a:pt x="929" y="6866"/>
                    </a:lnTo>
                    <a:close/>
                    <a:moveTo>
                      <a:pt x="903" y="6867"/>
                    </a:moveTo>
                    <a:cubicBezTo>
                      <a:pt x="825" y="6820"/>
                      <a:pt x="825" y="6820"/>
                      <a:pt x="825" y="6820"/>
                    </a:cubicBezTo>
                    <a:cubicBezTo>
                      <a:pt x="750" y="6946"/>
                      <a:pt x="750" y="6946"/>
                      <a:pt x="750" y="6946"/>
                    </a:cubicBezTo>
                    <a:cubicBezTo>
                      <a:pt x="777" y="6951"/>
                      <a:pt x="777" y="6951"/>
                      <a:pt x="777" y="6951"/>
                    </a:cubicBezTo>
                    <a:lnTo>
                      <a:pt x="903" y="6867"/>
                    </a:lnTo>
                    <a:close/>
                    <a:moveTo>
                      <a:pt x="4701" y="74"/>
                    </a:moveTo>
                    <a:cubicBezTo>
                      <a:pt x="4715" y="0"/>
                      <a:pt x="4715" y="0"/>
                      <a:pt x="4715" y="0"/>
                    </a:cubicBezTo>
                    <a:cubicBezTo>
                      <a:pt x="4702" y="0"/>
                      <a:pt x="4702" y="0"/>
                      <a:pt x="4702" y="0"/>
                    </a:cubicBezTo>
                    <a:cubicBezTo>
                      <a:pt x="4691" y="59"/>
                      <a:pt x="4691" y="59"/>
                      <a:pt x="4691" y="59"/>
                    </a:cubicBezTo>
                    <a:cubicBezTo>
                      <a:pt x="4562" y="38"/>
                      <a:pt x="4562" y="38"/>
                      <a:pt x="4562" y="38"/>
                    </a:cubicBezTo>
                    <a:cubicBezTo>
                      <a:pt x="4569" y="0"/>
                      <a:pt x="4569" y="0"/>
                      <a:pt x="4569" y="0"/>
                    </a:cubicBezTo>
                    <a:cubicBezTo>
                      <a:pt x="4556" y="0"/>
                      <a:pt x="4556" y="0"/>
                      <a:pt x="4556" y="0"/>
                    </a:cubicBezTo>
                    <a:cubicBezTo>
                      <a:pt x="4547" y="49"/>
                      <a:pt x="4547" y="49"/>
                      <a:pt x="4547" y="49"/>
                    </a:cubicBezTo>
                    <a:lnTo>
                      <a:pt x="4701" y="74"/>
                    </a:lnTo>
                    <a:close/>
                    <a:moveTo>
                      <a:pt x="7330" y="114"/>
                    </a:moveTo>
                    <a:cubicBezTo>
                      <a:pt x="7253" y="80"/>
                      <a:pt x="7253" y="80"/>
                      <a:pt x="7253" y="80"/>
                    </a:cubicBezTo>
                    <a:cubicBezTo>
                      <a:pt x="7283" y="10"/>
                      <a:pt x="7283" y="10"/>
                      <a:pt x="7283" y="10"/>
                    </a:cubicBezTo>
                    <a:cubicBezTo>
                      <a:pt x="7367" y="47"/>
                      <a:pt x="7367" y="47"/>
                      <a:pt x="7367" y="47"/>
                    </a:cubicBezTo>
                    <a:cubicBezTo>
                      <a:pt x="7336" y="116"/>
                      <a:pt x="7336" y="116"/>
                      <a:pt x="7336" y="116"/>
                    </a:cubicBezTo>
                    <a:lnTo>
                      <a:pt x="7330" y="114"/>
                    </a:lnTo>
                    <a:close/>
                    <a:moveTo>
                      <a:pt x="7330" y="99"/>
                    </a:moveTo>
                    <a:cubicBezTo>
                      <a:pt x="7349" y="54"/>
                      <a:pt x="7349" y="54"/>
                      <a:pt x="7349" y="54"/>
                    </a:cubicBezTo>
                    <a:cubicBezTo>
                      <a:pt x="7290" y="27"/>
                      <a:pt x="7290" y="27"/>
                      <a:pt x="7290" y="27"/>
                    </a:cubicBezTo>
                    <a:cubicBezTo>
                      <a:pt x="7270" y="73"/>
                      <a:pt x="7270" y="73"/>
                      <a:pt x="7270" y="73"/>
                    </a:cubicBezTo>
                    <a:lnTo>
                      <a:pt x="7330" y="99"/>
                    </a:lnTo>
                    <a:close/>
                    <a:moveTo>
                      <a:pt x="2103" y="882"/>
                    </a:moveTo>
                    <a:cubicBezTo>
                      <a:pt x="1956" y="824"/>
                      <a:pt x="1956" y="824"/>
                      <a:pt x="1956" y="824"/>
                    </a:cubicBezTo>
                    <a:cubicBezTo>
                      <a:pt x="1993" y="745"/>
                      <a:pt x="1993" y="745"/>
                      <a:pt x="1993" y="745"/>
                    </a:cubicBezTo>
                    <a:cubicBezTo>
                      <a:pt x="2261" y="656"/>
                      <a:pt x="2261" y="656"/>
                      <a:pt x="2261" y="656"/>
                    </a:cubicBezTo>
                    <a:cubicBezTo>
                      <a:pt x="2287" y="558"/>
                      <a:pt x="2287" y="558"/>
                      <a:pt x="2287" y="558"/>
                    </a:cubicBezTo>
                    <a:cubicBezTo>
                      <a:pt x="2323" y="554"/>
                      <a:pt x="2323" y="554"/>
                      <a:pt x="2323" y="554"/>
                    </a:cubicBezTo>
                    <a:cubicBezTo>
                      <a:pt x="2383" y="450"/>
                      <a:pt x="2383" y="450"/>
                      <a:pt x="2383" y="450"/>
                    </a:cubicBezTo>
                    <a:cubicBezTo>
                      <a:pt x="2356" y="422"/>
                      <a:pt x="2356" y="422"/>
                      <a:pt x="2356" y="422"/>
                    </a:cubicBezTo>
                    <a:cubicBezTo>
                      <a:pt x="2429" y="203"/>
                      <a:pt x="2429" y="203"/>
                      <a:pt x="2429" y="203"/>
                    </a:cubicBezTo>
                    <a:cubicBezTo>
                      <a:pt x="2599" y="312"/>
                      <a:pt x="2599" y="312"/>
                      <a:pt x="2599" y="312"/>
                    </a:cubicBezTo>
                    <a:cubicBezTo>
                      <a:pt x="2595" y="318"/>
                      <a:pt x="2595" y="318"/>
                      <a:pt x="2595" y="318"/>
                    </a:cubicBezTo>
                    <a:cubicBezTo>
                      <a:pt x="2427" y="605"/>
                      <a:pt x="2427" y="605"/>
                      <a:pt x="2427" y="605"/>
                    </a:cubicBezTo>
                    <a:cubicBezTo>
                      <a:pt x="2382" y="609"/>
                      <a:pt x="2382" y="609"/>
                      <a:pt x="2382" y="609"/>
                    </a:cubicBezTo>
                    <a:cubicBezTo>
                      <a:pt x="2358" y="726"/>
                      <a:pt x="2358" y="726"/>
                      <a:pt x="2358" y="726"/>
                    </a:cubicBezTo>
                    <a:cubicBezTo>
                      <a:pt x="2187" y="807"/>
                      <a:pt x="2187" y="807"/>
                      <a:pt x="2187" y="807"/>
                    </a:cubicBezTo>
                    <a:cubicBezTo>
                      <a:pt x="2158" y="794"/>
                      <a:pt x="2158" y="794"/>
                      <a:pt x="2158" y="794"/>
                    </a:cubicBezTo>
                    <a:lnTo>
                      <a:pt x="2103" y="882"/>
                    </a:lnTo>
                    <a:close/>
                    <a:moveTo>
                      <a:pt x="2097" y="863"/>
                    </a:moveTo>
                    <a:cubicBezTo>
                      <a:pt x="2152" y="775"/>
                      <a:pt x="2152" y="775"/>
                      <a:pt x="2152" y="775"/>
                    </a:cubicBezTo>
                    <a:cubicBezTo>
                      <a:pt x="2186" y="791"/>
                      <a:pt x="2186" y="791"/>
                      <a:pt x="2186" y="791"/>
                    </a:cubicBezTo>
                    <a:cubicBezTo>
                      <a:pt x="2345" y="716"/>
                      <a:pt x="2345" y="716"/>
                      <a:pt x="2345" y="716"/>
                    </a:cubicBezTo>
                    <a:cubicBezTo>
                      <a:pt x="2369" y="595"/>
                      <a:pt x="2369" y="595"/>
                      <a:pt x="2369" y="595"/>
                    </a:cubicBezTo>
                    <a:cubicBezTo>
                      <a:pt x="2418" y="591"/>
                      <a:pt x="2418" y="591"/>
                      <a:pt x="2418" y="591"/>
                    </a:cubicBezTo>
                    <a:cubicBezTo>
                      <a:pt x="2579" y="317"/>
                      <a:pt x="2579" y="317"/>
                      <a:pt x="2579" y="317"/>
                    </a:cubicBezTo>
                    <a:cubicBezTo>
                      <a:pt x="2437" y="225"/>
                      <a:pt x="2437" y="225"/>
                      <a:pt x="2437" y="225"/>
                    </a:cubicBezTo>
                    <a:cubicBezTo>
                      <a:pt x="2373" y="418"/>
                      <a:pt x="2373" y="418"/>
                      <a:pt x="2373" y="418"/>
                    </a:cubicBezTo>
                    <a:cubicBezTo>
                      <a:pt x="2401" y="448"/>
                      <a:pt x="2401" y="448"/>
                      <a:pt x="2401" y="448"/>
                    </a:cubicBezTo>
                    <a:cubicBezTo>
                      <a:pt x="2332" y="568"/>
                      <a:pt x="2332" y="568"/>
                      <a:pt x="2332" y="568"/>
                    </a:cubicBezTo>
                    <a:cubicBezTo>
                      <a:pt x="2298" y="572"/>
                      <a:pt x="2298" y="572"/>
                      <a:pt x="2298" y="572"/>
                    </a:cubicBezTo>
                    <a:cubicBezTo>
                      <a:pt x="2273" y="667"/>
                      <a:pt x="2273" y="667"/>
                      <a:pt x="2273" y="667"/>
                    </a:cubicBezTo>
                    <a:cubicBezTo>
                      <a:pt x="2004" y="757"/>
                      <a:pt x="2004" y="757"/>
                      <a:pt x="2004" y="757"/>
                    </a:cubicBezTo>
                    <a:cubicBezTo>
                      <a:pt x="1976" y="816"/>
                      <a:pt x="1976" y="816"/>
                      <a:pt x="1976" y="816"/>
                    </a:cubicBezTo>
                    <a:lnTo>
                      <a:pt x="2097" y="863"/>
                    </a:lnTo>
                    <a:close/>
                    <a:moveTo>
                      <a:pt x="794" y="9218"/>
                    </a:moveTo>
                    <a:cubicBezTo>
                      <a:pt x="682" y="9227"/>
                      <a:pt x="682" y="9227"/>
                      <a:pt x="682" y="9227"/>
                    </a:cubicBezTo>
                    <a:cubicBezTo>
                      <a:pt x="418" y="8920"/>
                      <a:pt x="418" y="8920"/>
                      <a:pt x="418" y="8920"/>
                    </a:cubicBezTo>
                    <a:cubicBezTo>
                      <a:pt x="432" y="8836"/>
                      <a:pt x="432" y="8836"/>
                      <a:pt x="432" y="8836"/>
                    </a:cubicBezTo>
                    <a:cubicBezTo>
                      <a:pt x="783" y="9014"/>
                      <a:pt x="783" y="9014"/>
                      <a:pt x="783" y="9014"/>
                    </a:cubicBezTo>
                    <a:cubicBezTo>
                      <a:pt x="802" y="9217"/>
                      <a:pt x="802" y="9217"/>
                      <a:pt x="802" y="9217"/>
                    </a:cubicBezTo>
                    <a:lnTo>
                      <a:pt x="794" y="9218"/>
                    </a:lnTo>
                    <a:close/>
                    <a:moveTo>
                      <a:pt x="786" y="9203"/>
                    </a:moveTo>
                    <a:cubicBezTo>
                      <a:pt x="769" y="9024"/>
                      <a:pt x="769" y="9024"/>
                      <a:pt x="769" y="9024"/>
                    </a:cubicBezTo>
                    <a:cubicBezTo>
                      <a:pt x="444" y="8859"/>
                      <a:pt x="444" y="8859"/>
                      <a:pt x="444" y="8859"/>
                    </a:cubicBezTo>
                    <a:cubicBezTo>
                      <a:pt x="434" y="8916"/>
                      <a:pt x="434" y="8916"/>
                      <a:pt x="434" y="8916"/>
                    </a:cubicBezTo>
                    <a:cubicBezTo>
                      <a:pt x="688" y="9211"/>
                      <a:pt x="688" y="9211"/>
                      <a:pt x="688" y="9211"/>
                    </a:cubicBezTo>
                    <a:lnTo>
                      <a:pt x="786" y="9203"/>
                    </a:lnTo>
                    <a:close/>
                    <a:moveTo>
                      <a:pt x="1744" y="791"/>
                    </a:moveTo>
                    <a:cubicBezTo>
                      <a:pt x="1846" y="842"/>
                      <a:pt x="1846" y="842"/>
                      <a:pt x="1846" y="842"/>
                    </a:cubicBezTo>
                    <a:cubicBezTo>
                      <a:pt x="1846" y="842"/>
                      <a:pt x="1832" y="892"/>
                      <a:pt x="1829" y="892"/>
                    </a:cubicBezTo>
                    <a:cubicBezTo>
                      <a:pt x="1826" y="892"/>
                      <a:pt x="2014" y="983"/>
                      <a:pt x="2014" y="983"/>
                    </a:cubicBezTo>
                    <a:cubicBezTo>
                      <a:pt x="2014" y="983"/>
                      <a:pt x="1948" y="1030"/>
                      <a:pt x="1945" y="1030"/>
                    </a:cubicBezTo>
                    <a:cubicBezTo>
                      <a:pt x="1942" y="1030"/>
                      <a:pt x="1697" y="1038"/>
                      <a:pt x="1695" y="1038"/>
                    </a:cubicBezTo>
                    <a:cubicBezTo>
                      <a:pt x="1693" y="1038"/>
                      <a:pt x="1600" y="915"/>
                      <a:pt x="1600" y="915"/>
                    </a:cubicBezTo>
                    <a:lnTo>
                      <a:pt x="1744" y="791"/>
                    </a:lnTo>
                    <a:close/>
                    <a:moveTo>
                      <a:pt x="1746" y="808"/>
                    </a:moveTo>
                    <a:cubicBezTo>
                      <a:pt x="1619" y="918"/>
                      <a:pt x="1619" y="918"/>
                      <a:pt x="1619" y="918"/>
                    </a:cubicBezTo>
                    <a:cubicBezTo>
                      <a:pt x="1648" y="956"/>
                      <a:pt x="1689" y="1009"/>
                      <a:pt x="1701" y="1024"/>
                    </a:cubicBezTo>
                    <a:cubicBezTo>
                      <a:pt x="1716" y="1024"/>
                      <a:pt x="1757" y="1023"/>
                      <a:pt x="1801" y="1021"/>
                    </a:cubicBezTo>
                    <a:cubicBezTo>
                      <a:pt x="1889" y="1018"/>
                      <a:pt x="1930" y="1017"/>
                      <a:pt x="1942" y="1016"/>
                    </a:cubicBezTo>
                    <a:cubicBezTo>
                      <a:pt x="1948" y="1012"/>
                      <a:pt x="1967" y="1000"/>
                      <a:pt x="1987" y="985"/>
                    </a:cubicBezTo>
                    <a:cubicBezTo>
                      <a:pt x="1969" y="977"/>
                      <a:pt x="1942" y="964"/>
                      <a:pt x="1915" y="951"/>
                    </a:cubicBezTo>
                    <a:cubicBezTo>
                      <a:pt x="1813" y="900"/>
                      <a:pt x="1813" y="900"/>
                      <a:pt x="1816" y="889"/>
                    </a:cubicBezTo>
                    <a:cubicBezTo>
                      <a:pt x="1818" y="878"/>
                      <a:pt x="1818" y="878"/>
                      <a:pt x="1818" y="878"/>
                    </a:cubicBezTo>
                    <a:cubicBezTo>
                      <a:pt x="1821" y="878"/>
                      <a:pt x="1821" y="878"/>
                      <a:pt x="1821" y="878"/>
                    </a:cubicBezTo>
                    <a:cubicBezTo>
                      <a:pt x="1823" y="871"/>
                      <a:pt x="1826" y="860"/>
                      <a:pt x="1829" y="849"/>
                    </a:cubicBezTo>
                    <a:lnTo>
                      <a:pt x="1746" y="808"/>
                    </a:lnTo>
                    <a:close/>
                    <a:moveTo>
                      <a:pt x="8268" y="10533"/>
                    </a:moveTo>
                    <a:cubicBezTo>
                      <a:pt x="8269" y="10724"/>
                      <a:pt x="8269" y="10724"/>
                      <a:pt x="8269" y="10724"/>
                    </a:cubicBezTo>
                    <a:cubicBezTo>
                      <a:pt x="8262" y="10724"/>
                      <a:pt x="8262" y="10724"/>
                      <a:pt x="8262" y="10724"/>
                    </a:cubicBezTo>
                    <a:cubicBezTo>
                      <a:pt x="8179" y="10727"/>
                      <a:pt x="8179" y="10727"/>
                      <a:pt x="8179" y="10727"/>
                    </a:cubicBezTo>
                    <a:cubicBezTo>
                      <a:pt x="8179" y="10769"/>
                      <a:pt x="8179" y="10769"/>
                      <a:pt x="8179" y="10769"/>
                    </a:cubicBezTo>
                    <a:cubicBezTo>
                      <a:pt x="8096" y="10768"/>
                      <a:pt x="8096" y="10768"/>
                      <a:pt x="8096" y="10768"/>
                    </a:cubicBezTo>
                    <a:cubicBezTo>
                      <a:pt x="8091" y="10725"/>
                      <a:pt x="8091" y="10725"/>
                      <a:pt x="8091" y="10725"/>
                    </a:cubicBezTo>
                    <a:cubicBezTo>
                      <a:pt x="7956" y="10726"/>
                      <a:pt x="7956" y="10726"/>
                      <a:pt x="7956" y="10726"/>
                    </a:cubicBezTo>
                    <a:cubicBezTo>
                      <a:pt x="7954" y="10670"/>
                      <a:pt x="7954" y="10670"/>
                      <a:pt x="7954" y="10670"/>
                    </a:cubicBezTo>
                    <a:cubicBezTo>
                      <a:pt x="7934" y="10669"/>
                      <a:pt x="7934" y="10669"/>
                      <a:pt x="7934" y="10669"/>
                    </a:cubicBezTo>
                    <a:cubicBezTo>
                      <a:pt x="7928" y="10669"/>
                      <a:pt x="7928" y="10669"/>
                      <a:pt x="7928" y="10669"/>
                    </a:cubicBezTo>
                    <a:cubicBezTo>
                      <a:pt x="7926" y="10601"/>
                      <a:pt x="7926" y="10601"/>
                      <a:pt x="7926" y="10601"/>
                    </a:cubicBezTo>
                    <a:cubicBezTo>
                      <a:pt x="7959" y="10599"/>
                      <a:pt x="7959" y="10599"/>
                      <a:pt x="7959" y="10599"/>
                    </a:cubicBezTo>
                    <a:cubicBezTo>
                      <a:pt x="7956" y="10533"/>
                      <a:pt x="7956" y="10533"/>
                      <a:pt x="7956" y="10533"/>
                    </a:cubicBezTo>
                    <a:cubicBezTo>
                      <a:pt x="8031" y="10532"/>
                      <a:pt x="8031" y="10532"/>
                      <a:pt x="8031" y="10532"/>
                    </a:cubicBezTo>
                    <a:cubicBezTo>
                      <a:pt x="8030" y="10514"/>
                      <a:pt x="8030" y="10514"/>
                      <a:pt x="8030" y="10514"/>
                    </a:cubicBezTo>
                    <a:cubicBezTo>
                      <a:pt x="8030" y="10507"/>
                      <a:pt x="8030" y="10507"/>
                      <a:pt x="8030" y="10507"/>
                    </a:cubicBezTo>
                    <a:cubicBezTo>
                      <a:pt x="8131" y="10503"/>
                      <a:pt x="8131" y="10503"/>
                      <a:pt x="8131" y="10503"/>
                    </a:cubicBezTo>
                    <a:cubicBezTo>
                      <a:pt x="8133" y="10532"/>
                      <a:pt x="8133" y="10532"/>
                      <a:pt x="8133" y="10532"/>
                    </a:cubicBezTo>
                    <a:lnTo>
                      <a:pt x="8268" y="10533"/>
                    </a:lnTo>
                    <a:close/>
                    <a:moveTo>
                      <a:pt x="8256" y="10711"/>
                    </a:moveTo>
                    <a:cubicBezTo>
                      <a:pt x="8255" y="10546"/>
                      <a:pt x="8255" y="10546"/>
                      <a:pt x="8255" y="10546"/>
                    </a:cubicBezTo>
                    <a:cubicBezTo>
                      <a:pt x="8121" y="10545"/>
                      <a:pt x="8121" y="10545"/>
                      <a:pt x="8121" y="10545"/>
                    </a:cubicBezTo>
                    <a:cubicBezTo>
                      <a:pt x="8119" y="10517"/>
                      <a:pt x="8119" y="10517"/>
                      <a:pt x="8119" y="10517"/>
                    </a:cubicBezTo>
                    <a:cubicBezTo>
                      <a:pt x="8044" y="10520"/>
                      <a:pt x="8044" y="10520"/>
                      <a:pt x="8044" y="10520"/>
                    </a:cubicBezTo>
                    <a:cubicBezTo>
                      <a:pt x="8045" y="10539"/>
                      <a:pt x="8045" y="10539"/>
                      <a:pt x="8045" y="10539"/>
                    </a:cubicBezTo>
                    <a:cubicBezTo>
                      <a:pt x="8045" y="10545"/>
                      <a:pt x="8045" y="10545"/>
                      <a:pt x="8045" y="10545"/>
                    </a:cubicBezTo>
                    <a:cubicBezTo>
                      <a:pt x="7970" y="10546"/>
                      <a:pt x="7970" y="10546"/>
                      <a:pt x="7970" y="10546"/>
                    </a:cubicBezTo>
                    <a:cubicBezTo>
                      <a:pt x="7973" y="10611"/>
                      <a:pt x="7973" y="10611"/>
                      <a:pt x="7973" y="10611"/>
                    </a:cubicBezTo>
                    <a:cubicBezTo>
                      <a:pt x="7940" y="10614"/>
                      <a:pt x="7940" y="10614"/>
                      <a:pt x="7940" y="10614"/>
                    </a:cubicBezTo>
                    <a:cubicBezTo>
                      <a:pt x="7941" y="10657"/>
                      <a:pt x="7941" y="10657"/>
                      <a:pt x="7941" y="10657"/>
                    </a:cubicBezTo>
                    <a:cubicBezTo>
                      <a:pt x="7960" y="10658"/>
                      <a:pt x="7960" y="10658"/>
                      <a:pt x="7960" y="10658"/>
                    </a:cubicBezTo>
                    <a:cubicBezTo>
                      <a:pt x="7966" y="10658"/>
                      <a:pt x="7966" y="10658"/>
                      <a:pt x="7966" y="10658"/>
                    </a:cubicBezTo>
                    <a:cubicBezTo>
                      <a:pt x="7969" y="10713"/>
                      <a:pt x="7969" y="10713"/>
                      <a:pt x="7969" y="10713"/>
                    </a:cubicBezTo>
                    <a:cubicBezTo>
                      <a:pt x="8103" y="10712"/>
                      <a:pt x="8103" y="10712"/>
                      <a:pt x="8103" y="10712"/>
                    </a:cubicBezTo>
                    <a:cubicBezTo>
                      <a:pt x="8108" y="10755"/>
                      <a:pt x="8108" y="10755"/>
                      <a:pt x="8108" y="10755"/>
                    </a:cubicBezTo>
                    <a:cubicBezTo>
                      <a:pt x="8166" y="10756"/>
                      <a:pt x="8166" y="10756"/>
                      <a:pt x="8166" y="10756"/>
                    </a:cubicBezTo>
                    <a:cubicBezTo>
                      <a:pt x="8166" y="10714"/>
                      <a:pt x="8166" y="10714"/>
                      <a:pt x="8166" y="10714"/>
                    </a:cubicBezTo>
                    <a:lnTo>
                      <a:pt x="8256" y="10711"/>
                    </a:lnTo>
                    <a:close/>
                    <a:moveTo>
                      <a:pt x="1606" y="533"/>
                    </a:moveTo>
                    <a:cubicBezTo>
                      <a:pt x="1546" y="455"/>
                      <a:pt x="1546" y="455"/>
                      <a:pt x="1546" y="455"/>
                    </a:cubicBezTo>
                    <a:cubicBezTo>
                      <a:pt x="1691" y="240"/>
                      <a:pt x="1691" y="240"/>
                      <a:pt x="1691" y="240"/>
                    </a:cubicBezTo>
                    <a:cubicBezTo>
                      <a:pt x="1730" y="282"/>
                      <a:pt x="1730" y="282"/>
                      <a:pt x="1730" y="282"/>
                    </a:cubicBezTo>
                    <a:cubicBezTo>
                      <a:pt x="1675" y="441"/>
                      <a:pt x="1675" y="441"/>
                      <a:pt x="1675" y="441"/>
                    </a:cubicBezTo>
                    <a:cubicBezTo>
                      <a:pt x="1710" y="476"/>
                      <a:pt x="1710" y="476"/>
                      <a:pt x="1710" y="476"/>
                    </a:cubicBezTo>
                    <a:cubicBezTo>
                      <a:pt x="1701" y="538"/>
                      <a:pt x="1701" y="538"/>
                      <a:pt x="1701" y="538"/>
                    </a:cubicBezTo>
                    <a:lnTo>
                      <a:pt x="1606" y="533"/>
                    </a:lnTo>
                    <a:close/>
                    <a:moveTo>
                      <a:pt x="1564" y="455"/>
                    </a:moveTo>
                    <a:cubicBezTo>
                      <a:pt x="1613" y="520"/>
                      <a:pt x="1613" y="520"/>
                      <a:pt x="1613" y="520"/>
                    </a:cubicBezTo>
                    <a:cubicBezTo>
                      <a:pt x="1689" y="524"/>
                      <a:pt x="1689" y="524"/>
                      <a:pt x="1689" y="524"/>
                    </a:cubicBezTo>
                    <a:cubicBezTo>
                      <a:pt x="1696" y="481"/>
                      <a:pt x="1696" y="481"/>
                      <a:pt x="1696" y="481"/>
                    </a:cubicBezTo>
                    <a:cubicBezTo>
                      <a:pt x="1665" y="451"/>
                      <a:pt x="1665" y="451"/>
                      <a:pt x="1665" y="451"/>
                    </a:cubicBezTo>
                    <a:cubicBezTo>
                      <a:pt x="1658" y="445"/>
                      <a:pt x="1658" y="445"/>
                      <a:pt x="1658" y="445"/>
                    </a:cubicBezTo>
                    <a:cubicBezTo>
                      <a:pt x="1661" y="436"/>
                      <a:pt x="1661" y="436"/>
                      <a:pt x="1661" y="436"/>
                    </a:cubicBezTo>
                    <a:cubicBezTo>
                      <a:pt x="1714" y="285"/>
                      <a:pt x="1714" y="285"/>
                      <a:pt x="1714" y="285"/>
                    </a:cubicBezTo>
                    <a:cubicBezTo>
                      <a:pt x="1693" y="262"/>
                      <a:pt x="1693" y="262"/>
                      <a:pt x="1693" y="262"/>
                    </a:cubicBezTo>
                    <a:lnTo>
                      <a:pt x="1564" y="455"/>
                    </a:lnTo>
                    <a:close/>
                    <a:moveTo>
                      <a:pt x="7111" y="0"/>
                    </a:moveTo>
                    <a:cubicBezTo>
                      <a:pt x="7127" y="0"/>
                      <a:pt x="7127" y="0"/>
                      <a:pt x="7127" y="0"/>
                    </a:cubicBezTo>
                    <a:cubicBezTo>
                      <a:pt x="7197" y="30"/>
                      <a:pt x="7197" y="30"/>
                      <a:pt x="7197" y="30"/>
                    </a:cubicBezTo>
                    <a:cubicBezTo>
                      <a:pt x="7167" y="100"/>
                      <a:pt x="7167" y="100"/>
                      <a:pt x="7167" y="100"/>
                    </a:cubicBezTo>
                    <a:cubicBezTo>
                      <a:pt x="7161" y="97"/>
                      <a:pt x="7161" y="97"/>
                      <a:pt x="7161" y="97"/>
                    </a:cubicBezTo>
                    <a:cubicBezTo>
                      <a:pt x="7083" y="63"/>
                      <a:pt x="7083" y="63"/>
                      <a:pt x="7083" y="63"/>
                    </a:cubicBezTo>
                    <a:lnTo>
                      <a:pt x="7111" y="0"/>
                    </a:lnTo>
                    <a:close/>
                    <a:moveTo>
                      <a:pt x="7180" y="37"/>
                    </a:moveTo>
                    <a:cubicBezTo>
                      <a:pt x="7120" y="11"/>
                      <a:pt x="7120" y="11"/>
                      <a:pt x="7120" y="11"/>
                    </a:cubicBezTo>
                    <a:cubicBezTo>
                      <a:pt x="7101" y="56"/>
                      <a:pt x="7101" y="56"/>
                      <a:pt x="7101" y="56"/>
                    </a:cubicBezTo>
                    <a:cubicBezTo>
                      <a:pt x="7160" y="83"/>
                      <a:pt x="7160" y="83"/>
                      <a:pt x="7160" y="83"/>
                    </a:cubicBezTo>
                    <a:lnTo>
                      <a:pt x="7180" y="37"/>
                    </a:lnTo>
                    <a:close/>
                    <a:moveTo>
                      <a:pt x="8304" y="0"/>
                    </a:moveTo>
                    <a:cubicBezTo>
                      <a:pt x="8336" y="0"/>
                      <a:pt x="8336" y="0"/>
                      <a:pt x="8336" y="0"/>
                    </a:cubicBezTo>
                    <a:cubicBezTo>
                      <a:pt x="8440" y="68"/>
                      <a:pt x="8440" y="68"/>
                      <a:pt x="8440" y="68"/>
                    </a:cubicBezTo>
                    <a:cubicBezTo>
                      <a:pt x="8398" y="131"/>
                      <a:pt x="8398" y="131"/>
                      <a:pt x="8398" y="131"/>
                    </a:cubicBezTo>
                    <a:cubicBezTo>
                      <a:pt x="8272" y="48"/>
                      <a:pt x="8272" y="48"/>
                      <a:pt x="8272" y="48"/>
                    </a:cubicBezTo>
                    <a:lnTo>
                      <a:pt x="8304" y="0"/>
                    </a:lnTo>
                    <a:close/>
                    <a:moveTo>
                      <a:pt x="8422" y="72"/>
                    </a:moveTo>
                    <a:cubicBezTo>
                      <a:pt x="8317" y="3"/>
                      <a:pt x="8317" y="3"/>
                      <a:pt x="8317" y="3"/>
                    </a:cubicBezTo>
                    <a:cubicBezTo>
                      <a:pt x="8290" y="45"/>
                      <a:pt x="8290" y="45"/>
                      <a:pt x="8290" y="45"/>
                    </a:cubicBezTo>
                    <a:cubicBezTo>
                      <a:pt x="8395" y="113"/>
                      <a:pt x="8395" y="113"/>
                      <a:pt x="8395" y="113"/>
                    </a:cubicBezTo>
                    <a:lnTo>
                      <a:pt x="8422" y="72"/>
                    </a:lnTo>
                    <a:close/>
                    <a:moveTo>
                      <a:pt x="481" y="7411"/>
                    </a:moveTo>
                    <a:cubicBezTo>
                      <a:pt x="481" y="7411"/>
                      <a:pt x="481" y="7411"/>
                      <a:pt x="481" y="7411"/>
                    </a:cubicBezTo>
                    <a:cubicBezTo>
                      <a:pt x="481" y="7411"/>
                      <a:pt x="481" y="7411"/>
                      <a:pt x="481" y="7411"/>
                    </a:cubicBezTo>
                    <a:close/>
                    <a:moveTo>
                      <a:pt x="345" y="675"/>
                    </a:moveTo>
                    <a:cubicBezTo>
                      <a:pt x="258" y="630"/>
                      <a:pt x="258" y="630"/>
                      <a:pt x="258" y="630"/>
                    </a:cubicBezTo>
                    <a:cubicBezTo>
                      <a:pt x="369" y="408"/>
                      <a:pt x="369" y="408"/>
                      <a:pt x="369" y="408"/>
                    </a:cubicBezTo>
                    <a:cubicBezTo>
                      <a:pt x="540" y="636"/>
                      <a:pt x="540" y="636"/>
                      <a:pt x="540" y="636"/>
                    </a:cubicBezTo>
                    <a:cubicBezTo>
                      <a:pt x="535" y="641"/>
                      <a:pt x="535" y="641"/>
                      <a:pt x="535" y="641"/>
                    </a:cubicBezTo>
                    <a:cubicBezTo>
                      <a:pt x="492" y="682"/>
                      <a:pt x="492" y="682"/>
                      <a:pt x="492" y="682"/>
                    </a:cubicBezTo>
                    <a:cubicBezTo>
                      <a:pt x="423" y="637"/>
                      <a:pt x="423" y="637"/>
                      <a:pt x="423" y="637"/>
                    </a:cubicBezTo>
                    <a:lnTo>
                      <a:pt x="345" y="675"/>
                    </a:lnTo>
                    <a:close/>
                    <a:moveTo>
                      <a:pt x="278" y="624"/>
                    </a:moveTo>
                    <a:cubicBezTo>
                      <a:pt x="345" y="658"/>
                      <a:pt x="345" y="658"/>
                      <a:pt x="345" y="658"/>
                    </a:cubicBezTo>
                    <a:cubicBezTo>
                      <a:pt x="424" y="620"/>
                      <a:pt x="424" y="620"/>
                      <a:pt x="424" y="620"/>
                    </a:cubicBezTo>
                    <a:cubicBezTo>
                      <a:pt x="490" y="663"/>
                      <a:pt x="490" y="663"/>
                      <a:pt x="490" y="663"/>
                    </a:cubicBezTo>
                    <a:cubicBezTo>
                      <a:pt x="520" y="635"/>
                      <a:pt x="520" y="635"/>
                      <a:pt x="520" y="635"/>
                    </a:cubicBezTo>
                    <a:cubicBezTo>
                      <a:pt x="372" y="436"/>
                      <a:pt x="372" y="436"/>
                      <a:pt x="372" y="436"/>
                    </a:cubicBezTo>
                    <a:lnTo>
                      <a:pt x="278" y="624"/>
                    </a:lnTo>
                    <a:close/>
                    <a:moveTo>
                      <a:pt x="3915" y="9742"/>
                    </a:moveTo>
                    <a:cubicBezTo>
                      <a:pt x="3976" y="9827"/>
                      <a:pt x="3976" y="9827"/>
                      <a:pt x="3976" y="9827"/>
                    </a:cubicBezTo>
                    <a:cubicBezTo>
                      <a:pt x="3855" y="9912"/>
                      <a:pt x="3855" y="9912"/>
                      <a:pt x="3855" y="9912"/>
                    </a:cubicBezTo>
                    <a:cubicBezTo>
                      <a:pt x="3851" y="9907"/>
                      <a:pt x="3851" y="9907"/>
                      <a:pt x="3851" y="9907"/>
                    </a:cubicBezTo>
                    <a:cubicBezTo>
                      <a:pt x="3795" y="9827"/>
                      <a:pt x="3795" y="9827"/>
                      <a:pt x="3795" y="9827"/>
                    </a:cubicBezTo>
                    <a:lnTo>
                      <a:pt x="3915" y="9742"/>
                    </a:lnTo>
                    <a:close/>
                    <a:moveTo>
                      <a:pt x="3958" y="9824"/>
                    </a:moveTo>
                    <a:cubicBezTo>
                      <a:pt x="3912" y="9760"/>
                      <a:pt x="3912" y="9760"/>
                      <a:pt x="3912" y="9760"/>
                    </a:cubicBezTo>
                    <a:cubicBezTo>
                      <a:pt x="3813" y="9830"/>
                      <a:pt x="3813" y="9830"/>
                      <a:pt x="3813" y="9830"/>
                    </a:cubicBezTo>
                    <a:cubicBezTo>
                      <a:pt x="3858" y="9894"/>
                      <a:pt x="3858" y="9894"/>
                      <a:pt x="3858" y="9894"/>
                    </a:cubicBezTo>
                    <a:lnTo>
                      <a:pt x="3958" y="9824"/>
                    </a:lnTo>
                    <a:close/>
                    <a:moveTo>
                      <a:pt x="260" y="899"/>
                    </a:moveTo>
                    <a:cubicBezTo>
                      <a:pt x="236" y="976"/>
                      <a:pt x="236" y="976"/>
                      <a:pt x="236" y="976"/>
                    </a:cubicBezTo>
                    <a:cubicBezTo>
                      <a:pt x="228" y="970"/>
                      <a:pt x="228" y="970"/>
                      <a:pt x="228" y="970"/>
                    </a:cubicBezTo>
                    <a:cubicBezTo>
                      <a:pt x="57" y="849"/>
                      <a:pt x="57" y="849"/>
                      <a:pt x="57" y="849"/>
                    </a:cubicBezTo>
                    <a:cubicBezTo>
                      <a:pt x="150" y="668"/>
                      <a:pt x="150" y="668"/>
                      <a:pt x="150" y="668"/>
                    </a:cubicBezTo>
                    <a:cubicBezTo>
                      <a:pt x="233" y="821"/>
                      <a:pt x="233" y="821"/>
                      <a:pt x="233" y="821"/>
                    </a:cubicBezTo>
                    <a:cubicBezTo>
                      <a:pt x="214" y="881"/>
                      <a:pt x="214" y="881"/>
                      <a:pt x="214" y="881"/>
                    </a:cubicBezTo>
                    <a:lnTo>
                      <a:pt x="260" y="899"/>
                    </a:lnTo>
                    <a:close/>
                    <a:moveTo>
                      <a:pt x="242" y="908"/>
                    </a:moveTo>
                    <a:cubicBezTo>
                      <a:pt x="196" y="890"/>
                      <a:pt x="196" y="890"/>
                      <a:pt x="196" y="890"/>
                    </a:cubicBezTo>
                    <a:cubicBezTo>
                      <a:pt x="217" y="822"/>
                      <a:pt x="217" y="822"/>
                      <a:pt x="217" y="822"/>
                    </a:cubicBezTo>
                    <a:cubicBezTo>
                      <a:pt x="150" y="699"/>
                      <a:pt x="150" y="699"/>
                      <a:pt x="150" y="699"/>
                    </a:cubicBezTo>
                    <a:cubicBezTo>
                      <a:pt x="76" y="844"/>
                      <a:pt x="76" y="844"/>
                      <a:pt x="76" y="844"/>
                    </a:cubicBezTo>
                    <a:cubicBezTo>
                      <a:pt x="228" y="952"/>
                      <a:pt x="228" y="952"/>
                      <a:pt x="228" y="952"/>
                    </a:cubicBezTo>
                    <a:lnTo>
                      <a:pt x="242" y="908"/>
                    </a:lnTo>
                    <a:close/>
                    <a:moveTo>
                      <a:pt x="4" y="9186"/>
                    </a:moveTo>
                    <a:cubicBezTo>
                      <a:pt x="29" y="9236"/>
                      <a:pt x="29" y="9236"/>
                      <a:pt x="29" y="9236"/>
                    </a:cubicBezTo>
                    <a:cubicBezTo>
                      <a:pt x="4" y="9264"/>
                      <a:pt x="4" y="9264"/>
                      <a:pt x="4" y="9264"/>
                    </a:cubicBezTo>
                    <a:cubicBezTo>
                      <a:pt x="4" y="9284"/>
                      <a:pt x="4" y="9284"/>
                      <a:pt x="4" y="9284"/>
                    </a:cubicBezTo>
                    <a:cubicBezTo>
                      <a:pt x="46" y="9239"/>
                      <a:pt x="46" y="9239"/>
                      <a:pt x="46" y="9239"/>
                    </a:cubicBezTo>
                    <a:cubicBezTo>
                      <a:pt x="4" y="9154"/>
                      <a:pt x="4" y="9154"/>
                      <a:pt x="4" y="9154"/>
                    </a:cubicBezTo>
                    <a:lnTo>
                      <a:pt x="4" y="9186"/>
                    </a:lnTo>
                    <a:close/>
                    <a:moveTo>
                      <a:pt x="179" y="7329"/>
                    </a:moveTo>
                    <a:cubicBezTo>
                      <a:pt x="140" y="7302"/>
                      <a:pt x="140" y="7302"/>
                      <a:pt x="140" y="7302"/>
                    </a:cubicBezTo>
                    <a:cubicBezTo>
                      <a:pt x="189" y="7231"/>
                      <a:pt x="189" y="7231"/>
                      <a:pt x="189" y="7231"/>
                    </a:cubicBezTo>
                    <a:cubicBezTo>
                      <a:pt x="363" y="7350"/>
                      <a:pt x="363" y="7350"/>
                      <a:pt x="363" y="7350"/>
                    </a:cubicBezTo>
                    <a:cubicBezTo>
                      <a:pt x="359" y="7356"/>
                      <a:pt x="359" y="7356"/>
                      <a:pt x="359" y="7356"/>
                    </a:cubicBezTo>
                    <a:cubicBezTo>
                      <a:pt x="314" y="7421"/>
                      <a:pt x="314" y="7421"/>
                      <a:pt x="314" y="7421"/>
                    </a:cubicBezTo>
                    <a:cubicBezTo>
                      <a:pt x="275" y="7395"/>
                      <a:pt x="275" y="7395"/>
                      <a:pt x="275" y="7395"/>
                    </a:cubicBezTo>
                    <a:cubicBezTo>
                      <a:pt x="250" y="7430"/>
                      <a:pt x="250" y="7430"/>
                      <a:pt x="250" y="7430"/>
                    </a:cubicBezTo>
                    <a:cubicBezTo>
                      <a:pt x="154" y="7364"/>
                      <a:pt x="154" y="7364"/>
                      <a:pt x="154" y="7364"/>
                    </a:cubicBezTo>
                    <a:lnTo>
                      <a:pt x="179" y="7329"/>
                    </a:lnTo>
                    <a:close/>
                    <a:moveTo>
                      <a:pt x="197" y="7325"/>
                    </a:moveTo>
                    <a:cubicBezTo>
                      <a:pt x="173" y="7361"/>
                      <a:pt x="173" y="7361"/>
                      <a:pt x="173" y="7361"/>
                    </a:cubicBezTo>
                    <a:cubicBezTo>
                      <a:pt x="247" y="7412"/>
                      <a:pt x="247" y="7412"/>
                      <a:pt x="247" y="7412"/>
                    </a:cubicBezTo>
                    <a:cubicBezTo>
                      <a:pt x="272" y="7377"/>
                      <a:pt x="272" y="7377"/>
                      <a:pt x="272" y="7377"/>
                    </a:cubicBezTo>
                    <a:cubicBezTo>
                      <a:pt x="310" y="7403"/>
                      <a:pt x="310" y="7403"/>
                      <a:pt x="310" y="7403"/>
                    </a:cubicBezTo>
                    <a:cubicBezTo>
                      <a:pt x="344" y="7354"/>
                      <a:pt x="344" y="7354"/>
                      <a:pt x="344" y="7354"/>
                    </a:cubicBezTo>
                    <a:cubicBezTo>
                      <a:pt x="192" y="7249"/>
                      <a:pt x="192" y="7249"/>
                      <a:pt x="192" y="7249"/>
                    </a:cubicBezTo>
                    <a:cubicBezTo>
                      <a:pt x="158" y="7298"/>
                      <a:pt x="158" y="7298"/>
                      <a:pt x="158" y="7298"/>
                    </a:cubicBezTo>
                    <a:lnTo>
                      <a:pt x="197" y="7325"/>
                    </a:lnTo>
                    <a:close/>
                    <a:moveTo>
                      <a:pt x="58" y="3824"/>
                    </a:moveTo>
                    <a:cubicBezTo>
                      <a:pt x="54" y="3816"/>
                      <a:pt x="54" y="3816"/>
                      <a:pt x="54" y="3816"/>
                    </a:cubicBezTo>
                    <a:cubicBezTo>
                      <a:pt x="4" y="3860"/>
                      <a:pt x="4" y="3860"/>
                      <a:pt x="4" y="3860"/>
                    </a:cubicBezTo>
                    <a:cubicBezTo>
                      <a:pt x="4" y="3880"/>
                      <a:pt x="4" y="3880"/>
                      <a:pt x="4" y="3880"/>
                    </a:cubicBezTo>
                    <a:cubicBezTo>
                      <a:pt x="50" y="3839"/>
                      <a:pt x="50" y="3839"/>
                      <a:pt x="50" y="3839"/>
                    </a:cubicBezTo>
                    <a:cubicBezTo>
                      <a:pt x="162" y="4031"/>
                      <a:pt x="162" y="4031"/>
                      <a:pt x="162" y="4031"/>
                    </a:cubicBezTo>
                    <a:cubicBezTo>
                      <a:pt x="4" y="4115"/>
                      <a:pt x="4" y="4115"/>
                      <a:pt x="4" y="4115"/>
                    </a:cubicBezTo>
                    <a:cubicBezTo>
                      <a:pt x="4" y="4131"/>
                      <a:pt x="4" y="4131"/>
                      <a:pt x="4" y="4131"/>
                    </a:cubicBezTo>
                    <a:cubicBezTo>
                      <a:pt x="182" y="4037"/>
                      <a:pt x="182" y="4037"/>
                      <a:pt x="182" y="4037"/>
                    </a:cubicBezTo>
                    <a:lnTo>
                      <a:pt x="58" y="3824"/>
                    </a:lnTo>
                    <a:close/>
                    <a:moveTo>
                      <a:pt x="797" y="8902"/>
                    </a:moveTo>
                    <a:cubicBezTo>
                      <a:pt x="388" y="8712"/>
                      <a:pt x="388" y="8712"/>
                      <a:pt x="388" y="8712"/>
                    </a:cubicBezTo>
                    <a:cubicBezTo>
                      <a:pt x="512" y="8529"/>
                      <a:pt x="512" y="8529"/>
                      <a:pt x="512" y="8529"/>
                    </a:cubicBezTo>
                    <a:cubicBezTo>
                      <a:pt x="646" y="8663"/>
                      <a:pt x="646" y="8663"/>
                      <a:pt x="646" y="8663"/>
                    </a:cubicBezTo>
                    <a:cubicBezTo>
                      <a:pt x="834" y="8706"/>
                      <a:pt x="834" y="8706"/>
                      <a:pt x="834" y="8706"/>
                    </a:cubicBezTo>
                    <a:cubicBezTo>
                      <a:pt x="833" y="8713"/>
                      <a:pt x="833" y="8713"/>
                      <a:pt x="833" y="8713"/>
                    </a:cubicBezTo>
                    <a:lnTo>
                      <a:pt x="797" y="8902"/>
                    </a:lnTo>
                    <a:close/>
                    <a:moveTo>
                      <a:pt x="786" y="8881"/>
                    </a:moveTo>
                    <a:cubicBezTo>
                      <a:pt x="817" y="8717"/>
                      <a:pt x="817" y="8717"/>
                      <a:pt x="817" y="8717"/>
                    </a:cubicBezTo>
                    <a:cubicBezTo>
                      <a:pt x="639" y="8676"/>
                      <a:pt x="639" y="8676"/>
                      <a:pt x="639" y="8676"/>
                    </a:cubicBezTo>
                    <a:cubicBezTo>
                      <a:pt x="514" y="8552"/>
                      <a:pt x="514" y="8552"/>
                      <a:pt x="514" y="8552"/>
                    </a:cubicBezTo>
                    <a:cubicBezTo>
                      <a:pt x="410" y="8706"/>
                      <a:pt x="410" y="8706"/>
                      <a:pt x="410" y="8706"/>
                    </a:cubicBezTo>
                    <a:lnTo>
                      <a:pt x="786" y="8881"/>
                    </a:lnTo>
                    <a:close/>
                    <a:moveTo>
                      <a:pt x="3301" y="9869"/>
                    </a:moveTo>
                    <a:cubicBezTo>
                      <a:pt x="3370" y="9936"/>
                      <a:pt x="3370" y="9936"/>
                      <a:pt x="3370" y="9936"/>
                    </a:cubicBezTo>
                    <a:cubicBezTo>
                      <a:pt x="3271" y="10037"/>
                      <a:pt x="3271" y="10037"/>
                      <a:pt x="3271" y="10037"/>
                    </a:cubicBezTo>
                    <a:cubicBezTo>
                      <a:pt x="3219" y="9986"/>
                      <a:pt x="3219" y="9986"/>
                      <a:pt x="3219" y="9986"/>
                    </a:cubicBezTo>
                    <a:cubicBezTo>
                      <a:pt x="3166" y="10040"/>
                      <a:pt x="3166" y="10040"/>
                      <a:pt x="3166" y="10040"/>
                    </a:cubicBezTo>
                    <a:cubicBezTo>
                      <a:pt x="3111" y="9986"/>
                      <a:pt x="3111" y="9986"/>
                      <a:pt x="3111" y="9986"/>
                    </a:cubicBezTo>
                    <a:cubicBezTo>
                      <a:pt x="3116" y="9982"/>
                      <a:pt x="3116" y="9982"/>
                      <a:pt x="3116" y="9982"/>
                    </a:cubicBezTo>
                    <a:cubicBezTo>
                      <a:pt x="3252" y="9847"/>
                      <a:pt x="3252" y="9847"/>
                      <a:pt x="3252" y="9847"/>
                    </a:cubicBezTo>
                    <a:cubicBezTo>
                      <a:pt x="3288" y="9882"/>
                      <a:pt x="3288" y="9882"/>
                      <a:pt x="3288" y="9882"/>
                    </a:cubicBezTo>
                    <a:cubicBezTo>
                      <a:pt x="3296" y="9873"/>
                      <a:pt x="3296" y="9873"/>
                      <a:pt x="3296" y="9873"/>
                    </a:cubicBezTo>
                    <a:lnTo>
                      <a:pt x="3301" y="9869"/>
                    </a:lnTo>
                    <a:close/>
                    <a:moveTo>
                      <a:pt x="3301" y="9887"/>
                    </a:moveTo>
                    <a:cubicBezTo>
                      <a:pt x="3293" y="9895"/>
                      <a:pt x="3293" y="9895"/>
                      <a:pt x="3293" y="9895"/>
                    </a:cubicBezTo>
                    <a:cubicBezTo>
                      <a:pt x="3288" y="9900"/>
                      <a:pt x="3288" y="9900"/>
                      <a:pt x="3288" y="9900"/>
                    </a:cubicBezTo>
                    <a:cubicBezTo>
                      <a:pt x="3253" y="9865"/>
                      <a:pt x="3253" y="9865"/>
                      <a:pt x="3253" y="9865"/>
                    </a:cubicBezTo>
                    <a:cubicBezTo>
                      <a:pt x="3130" y="9986"/>
                      <a:pt x="3130" y="9986"/>
                      <a:pt x="3130" y="9986"/>
                    </a:cubicBezTo>
                    <a:cubicBezTo>
                      <a:pt x="3165" y="10021"/>
                      <a:pt x="3165" y="10021"/>
                      <a:pt x="3165" y="10021"/>
                    </a:cubicBezTo>
                    <a:cubicBezTo>
                      <a:pt x="3218" y="9967"/>
                      <a:pt x="3218" y="9967"/>
                      <a:pt x="3218" y="9967"/>
                    </a:cubicBezTo>
                    <a:cubicBezTo>
                      <a:pt x="3271" y="10018"/>
                      <a:pt x="3271" y="10018"/>
                      <a:pt x="3271" y="10018"/>
                    </a:cubicBezTo>
                    <a:cubicBezTo>
                      <a:pt x="3351" y="9936"/>
                      <a:pt x="3351" y="9936"/>
                      <a:pt x="3351" y="9936"/>
                    </a:cubicBezTo>
                    <a:lnTo>
                      <a:pt x="3301" y="9887"/>
                    </a:lnTo>
                    <a:close/>
                    <a:moveTo>
                      <a:pt x="3978" y="10352"/>
                    </a:moveTo>
                    <a:cubicBezTo>
                      <a:pt x="4039" y="10437"/>
                      <a:pt x="4039" y="10437"/>
                      <a:pt x="4039" y="10437"/>
                    </a:cubicBezTo>
                    <a:cubicBezTo>
                      <a:pt x="3918" y="10522"/>
                      <a:pt x="3918" y="10522"/>
                      <a:pt x="3918" y="10522"/>
                    </a:cubicBezTo>
                    <a:cubicBezTo>
                      <a:pt x="3914" y="10517"/>
                      <a:pt x="3914" y="10517"/>
                      <a:pt x="3914" y="10517"/>
                    </a:cubicBezTo>
                    <a:cubicBezTo>
                      <a:pt x="3858" y="10437"/>
                      <a:pt x="3858" y="10437"/>
                      <a:pt x="3858" y="10437"/>
                    </a:cubicBezTo>
                    <a:lnTo>
                      <a:pt x="3978" y="10352"/>
                    </a:lnTo>
                    <a:close/>
                    <a:moveTo>
                      <a:pt x="4021" y="10434"/>
                    </a:moveTo>
                    <a:cubicBezTo>
                      <a:pt x="3975" y="10370"/>
                      <a:pt x="3975" y="10370"/>
                      <a:pt x="3975" y="10370"/>
                    </a:cubicBezTo>
                    <a:cubicBezTo>
                      <a:pt x="3876" y="10440"/>
                      <a:pt x="3876" y="10440"/>
                      <a:pt x="3876" y="10440"/>
                    </a:cubicBezTo>
                    <a:cubicBezTo>
                      <a:pt x="3921" y="10504"/>
                      <a:pt x="3921" y="10504"/>
                      <a:pt x="3921" y="10504"/>
                    </a:cubicBezTo>
                    <a:lnTo>
                      <a:pt x="4021" y="10434"/>
                    </a:lnTo>
                    <a:close/>
                    <a:moveTo>
                      <a:pt x="493" y="1705"/>
                    </a:moveTo>
                    <a:cubicBezTo>
                      <a:pt x="333" y="1795"/>
                      <a:pt x="333" y="1795"/>
                      <a:pt x="333" y="1795"/>
                    </a:cubicBezTo>
                    <a:cubicBezTo>
                      <a:pt x="191" y="1656"/>
                      <a:pt x="191" y="1656"/>
                      <a:pt x="191" y="1656"/>
                    </a:cubicBezTo>
                    <a:cubicBezTo>
                      <a:pt x="260" y="1600"/>
                      <a:pt x="260" y="1600"/>
                      <a:pt x="260" y="1600"/>
                    </a:cubicBezTo>
                    <a:cubicBezTo>
                      <a:pt x="295" y="1621"/>
                      <a:pt x="295" y="1621"/>
                      <a:pt x="295" y="1621"/>
                    </a:cubicBezTo>
                    <a:cubicBezTo>
                      <a:pt x="321" y="1606"/>
                      <a:pt x="321" y="1606"/>
                      <a:pt x="321" y="1606"/>
                    </a:cubicBezTo>
                    <a:cubicBezTo>
                      <a:pt x="297" y="1567"/>
                      <a:pt x="297" y="1567"/>
                      <a:pt x="297" y="1567"/>
                    </a:cubicBezTo>
                    <a:cubicBezTo>
                      <a:pt x="393" y="1495"/>
                      <a:pt x="393" y="1495"/>
                      <a:pt x="393" y="1495"/>
                    </a:cubicBezTo>
                    <a:cubicBezTo>
                      <a:pt x="511" y="1599"/>
                      <a:pt x="511" y="1599"/>
                      <a:pt x="511" y="1599"/>
                    </a:cubicBezTo>
                    <a:cubicBezTo>
                      <a:pt x="496" y="1703"/>
                      <a:pt x="496" y="1703"/>
                      <a:pt x="496" y="1703"/>
                    </a:cubicBezTo>
                    <a:lnTo>
                      <a:pt x="493" y="1705"/>
                    </a:lnTo>
                    <a:close/>
                    <a:moveTo>
                      <a:pt x="482" y="1694"/>
                    </a:moveTo>
                    <a:cubicBezTo>
                      <a:pt x="495" y="1605"/>
                      <a:pt x="495" y="1605"/>
                      <a:pt x="495" y="1605"/>
                    </a:cubicBezTo>
                    <a:cubicBezTo>
                      <a:pt x="392" y="1514"/>
                      <a:pt x="392" y="1514"/>
                      <a:pt x="392" y="1514"/>
                    </a:cubicBezTo>
                    <a:cubicBezTo>
                      <a:pt x="317" y="1571"/>
                      <a:pt x="317" y="1571"/>
                      <a:pt x="317" y="1571"/>
                    </a:cubicBezTo>
                    <a:cubicBezTo>
                      <a:pt x="341" y="1612"/>
                      <a:pt x="341" y="1612"/>
                      <a:pt x="341" y="1612"/>
                    </a:cubicBezTo>
                    <a:cubicBezTo>
                      <a:pt x="295" y="1638"/>
                      <a:pt x="295" y="1638"/>
                      <a:pt x="295" y="1638"/>
                    </a:cubicBezTo>
                    <a:cubicBezTo>
                      <a:pt x="261" y="1618"/>
                      <a:pt x="261" y="1618"/>
                      <a:pt x="261" y="1618"/>
                    </a:cubicBezTo>
                    <a:cubicBezTo>
                      <a:pt x="213" y="1657"/>
                      <a:pt x="213" y="1657"/>
                      <a:pt x="213" y="1657"/>
                    </a:cubicBezTo>
                    <a:cubicBezTo>
                      <a:pt x="336" y="1777"/>
                      <a:pt x="336" y="1777"/>
                      <a:pt x="336" y="1777"/>
                    </a:cubicBezTo>
                    <a:lnTo>
                      <a:pt x="482" y="1694"/>
                    </a:lnTo>
                    <a:close/>
                    <a:moveTo>
                      <a:pt x="4913" y="10124"/>
                    </a:moveTo>
                    <a:cubicBezTo>
                      <a:pt x="4956" y="10148"/>
                      <a:pt x="4956" y="10148"/>
                      <a:pt x="4956" y="10148"/>
                    </a:cubicBezTo>
                    <a:cubicBezTo>
                      <a:pt x="4860" y="10322"/>
                      <a:pt x="4860" y="10322"/>
                      <a:pt x="4860" y="10322"/>
                    </a:cubicBezTo>
                    <a:cubicBezTo>
                      <a:pt x="4854" y="10319"/>
                      <a:pt x="4854" y="10319"/>
                      <a:pt x="4854" y="10319"/>
                    </a:cubicBezTo>
                    <a:cubicBezTo>
                      <a:pt x="4794" y="10284"/>
                      <a:pt x="4794" y="10284"/>
                      <a:pt x="4794" y="10284"/>
                    </a:cubicBezTo>
                    <a:cubicBezTo>
                      <a:pt x="4831" y="10219"/>
                      <a:pt x="4831" y="10219"/>
                      <a:pt x="4831" y="10219"/>
                    </a:cubicBezTo>
                    <a:cubicBezTo>
                      <a:pt x="4768" y="10182"/>
                      <a:pt x="4768" y="10182"/>
                      <a:pt x="4768" y="10182"/>
                    </a:cubicBezTo>
                    <a:cubicBezTo>
                      <a:pt x="4838" y="10060"/>
                      <a:pt x="4838" y="10060"/>
                      <a:pt x="4838" y="10060"/>
                    </a:cubicBezTo>
                    <a:cubicBezTo>
                      <a:pt x="4922" y="10108"/>
                      <a:pt x="4922" y="10108"/>
                      <a:pt x="4922" y="10108"/>
                    </a:cubicBezTo>
                    <a:lnTo>
                      <a:pt x="4913" y="10124"/>
                    </a:lnTo>
                    <a:close/>
                    <a:moveTo>
                      <a:pt x="4895" y="10129"/>
                    </a:moveTo>
                    <a:cubicBezTo>
                      <a:pt x="4904" y="10113"/>
                      <a:pt x="4904" y="10113"/>
                      <a:pt x="4904" y="10113"/>
                    </a:cubicBezTo>
                    <a:cubicBezTo>
                      <a:pt x="4843" y="10078"/>
                      <a:pt x="4843" y="10078"/>
                      <a:pt x="4843" y="10078"/>
                    </a:cubicBezTo>
                    <a:cubicBezTo>
                      <a:pt x="4786" y="10178"/>
                      <a:pt x="4786" y="10178"/>
                      <a:pt x="4786" y="10178"/>
                    </a:cubicBezTo>
                    <a:cubicBezTo>
                      <a:pt x="4849" y="10214"/>
                      <a:pt x="4849" y="10214"/>
                      <a:pt x="4849" y="10214"/>
                    </a:cubicBezTo>
                    <a:cubicBezTo>
                      <a:pt x="4812" y="10280"/>
                      <a:pt x="4812" y="10280"/>
                      <a:pt x="4812" y="10280"/>
                    </a:cubicBezTo>
                    <a:cubicBezTo>
                      <a:pt x="4854" y="10304"/>
                      <a:pt x="4854" y="10304"/>
                      <a:pt x="4854" y="10304"/>
                    </a:cubicBezTo>
                    <a:cubicBezTo>
                      <a:pt x="4938" y="10153"/>
                      <a:pt x="4938" y="10153"/>
                      <a:pt x="4938" y="10153"/>
                    </a:cubicBezTo>
                    <a:lnTo>
                      <a:pt x="4895" y="10129"/>
                    </a:lnTo>
                    <a:close/>
                    <a:moveTo>
                      <a:pt x="5450" y="9173"/>
                    </a:moveTo>
                    <a:cubicBezTo>
                      <a:pt x="5632" y="9173"/>
                      <a:pt x="5632" y="9173"/>
                      <a:pt x="5632" y="9173"/>
                    </a:cubicBezTo>
                    <a:cubicBezTo>
                      <a:pt x="5632" y="9181"/>
                      <a:pt x="5632" y="9181"/>
                      <a:pt x="5632" y="9181"/>
                    </a:cubicBezTo>
                    <a:cubicBezTo>
                      <a:pt x="5631" y="9394"/>
                      <a:pt x="5631" y="9394"/>
                      <a:pt x="5631" y="9394"/>
                    </a:cubicBezTo>
                    <a:cubicBezTo>
                      <a:pt x="5545" y="9394"/>
                      <a:pt x="5545" y="9394"/>
                      <a:pt x="5545" y="9394"/>
                    </a:cubicBezTo>
                    <a:cubicBezTo>
                      <a:pt x="5545" y="9498"/>
                      <a:pt x="5545" y="9498"/>
                      <a:pt x="5545" y="9498"/>
                    </a:cubicBezTo>
                    <a:cubicBezTo>
                      <a:pt x="5393" y="9498"/>
                      <a:pt x="5393" y="9498"/>
                      <a:pt x="5393" y="9498"/>
                    </a:cubicBezTo>
                    <a:cubicBezTo>
                      <a:pt x="5393" y="9395"/>
                      <a:pt x="5393" y="9395"/>
                      <a:pt x="5393" y="9395"/>
                    </a:cubicBezTo>
                    <a:cubicBezTo>
                      <a:pt x="5118" y="9395"/>
                      <a:pt x="5118" y="9395"/>
                      <a:pt x="5118" y="9395"/>
                    </a:cubicBezTo>
                    <a:cubicBezTo>
                      <a:pt x="5118" y="9656"/>
                      <a:pt x="5118" y="9656"/>
                      <a:pt x="5118" y="9656"/>
                    </a:cubicBezTo>
                    <a:cubicBezTo>
                      <a:pt x="5005" y="9656"/>
                      <a:pt x="5005" y="9656"/>
                      <a:pt x="5005" y="9656"/>
                    </a:cubicBezTo>
                    <a:cubicBezTo>
                      <a:pt x="5005" y="9394"/>
                      <a:pt x="5005" y="9394"/>
                      <a:pt x="5005" y="9394"/>
                    </a:cubicBezTo>
                    <a:cubicBezTo>
                      <a:pt x="4944" y="9394"/>
                      <a:pt x="4944" y="9394"/>
                      <a:pt x="4944" y="9394"/>
                    </a:cubicBezTo>
                    <a:cubicBezTo>
                      <a:pt x="4944" y="9172"/>
                      <a:pt x="4944" y="9172"/>
                      <a:pt x="4944" y="9172"/>
                    </a:cubicBezTo>
                    <a:cubicBezTo>
                      <a:pt x="5079" y="9172"/>
                      <a:pt x="5079" y="9172"/>
                      <a:pt x="5079" y="9172"/>
                    </a:cubicBezTo>
                    <a:cubicBezTo>
                      <a:pt x="5079" y="9102"/>
                      <a:pt x="5079" y="9102"/>
                      <a:pt x="5079" y="9102"/>
                    </a:cubicBezTo>
                    <a:cubicBezTo>
                      <a:pt x="5450" y="9102"/>
                      <a:pt x="5450" y="9102"/>
                      <a:pt x="5450" y="9102"/>
                    </a:cubicBezTo>
                    <a:lnTo>
                      <a:pt x="5450" y="9173"/>
                    </a:lnTo>
                    <a:close/>
                    <a:moveTo>
                      <a:pt x="5435" y="9188"/>
                    </a:moveTo>
                    <a:cubicBezTo>
                      <a:pt x="5435" y="9116"/>
                      <a:pt x="5435" y="9116"/>
                      <a:pt x="5435" y="9116"/>
                    </a:cubicBezTo>
                    <a:cubicBezTo>
                      <a:pt x="5093" y="9116"/>
                      <a:pt x="5093" y="9116"/>
                      <a:pt x="5093" y="9116"/>
                    </a:cubicBezTo>
                    <a:cubicBezTo>
                      <a:pt x="5093" y="9187"/>
                      <a:pt x="5093" y="9187"/>
                      <a:pt x="5093" y="9187"/>
                    </a:cubicBezTo>
                    <a:cubicBezTo>
                      <a:pt x="4958" y="9187"/>
                      <a:pt x="4958" y="9187"/>
                      <a:pt x="4958" y="9187"/>
                    </a:cubicBezTo>
                    <a:cubicBezTo>
                      <a:pt x="4958" y="9379"/>
                      <a:pt x="4958" y="9379"/>
                      <a:pt x="4958" y="9379"/>
                    </a:cubicBezTo>
                    <a:cubicBezTo>
                      <a:pt x="5020" y="9379"/>
                      <a:pt x="5020" y="9379"/>
                      <a:pt x="5020" y="9379"/>
                    </a:cubicBezTo>
                    <a:cubicBezTo>
                      <a:pt x="5020" y="9641"/>
                      <a:pt x="5020" y="9641"/>
                      <a:pt x="5020" y="9641"/>
                    </a:cubicBezTo>
                    <a:cubicBezTo>
                      <a:pt x="5103" y="9641"/>
                      <a:pt x="5103" y="9641"/>
                      <a:pt x="5103" y="9641"/>
                    </a:cubicBezTo>
                    <a:cubicBezTo>
                      <a:pt x="5103" y="9381"/>
                      <a:pt x="5103" y="9381"/>
                      <a:pt x="5103" y="9381"/>
                    </a:cubicBezTo>
                    <a:cubicBezTo>
                      <a:pt x="5408" y="9381"/>
                      <a:pt x="5408" y="9381"/>
                      <a:pt x="5408" y="9381"/>
                    </a:cubicBezTo>
                    <a:cubicBezTo>
                      <a:pt x="5408" y="9483"/>
                      <a:pt x="5408" y="9483"/>
                      <a:pt x="5408" y="9483"/>
                    </a:cubicBezTo>
                    <a:cubicBezTo>
                      <a:pt x="5531" y="9483"/>
                      <a:pt x="5531" y="9483"/>
                      <a:pt x="5531" y="9483"/>
                    </a:cubicBezTo>
                    <a:cubicBezTo>
                      <a:pt x="5531" y="9379"/>
                      <a:pt x="5531" y="9379"/>
                      <a:pt x="5531" y="9379"/>
                    </a:cubicBezTo>
                    <a:cubicBezTo>
                      <a:pt x="5616" y="9379"/>
                      <a:pt x="5616" y="9379"/>
                      <a:pt x="5616" y="9379"/>
                    </a:cubicBezTo>
                    <a:cubicBezTo>
                      <a:pt x="5617" y="9188"/>
                      <a:pt x="5617" y="9188"/>
                      <a:pt x="5617" y="9188"/>
                    </a:cubicBezTo>
                    <a:lnTo>
                      <a:pt x="5435" y="9188"/>
                    </a:lnTo>
                    <a:close/>
                    <a:moveTo>
                      <a:pt x="908" y="132"/>
                    </a:moveTo>
                    <a:cubicBezTo>
                      <a:pt x="766" y="30"/>
                      <a:pt x="766" y="30"/>
                      <a:pt x="766" y="30"/>
                    </a:cubicBezTo>
                    <a:cubicBezTo>
                      <a:pt x="775" y="0"/>
                      <a:pt x="775" y="0"/>
                      <a:pt x="775" y="0"/>
                    </a:cubicBezTo>
                    <a:cubicBezTo>
                      <a:pt x="760" y="0"/>
                      <a:pt x="760" y="0"/>
                      <a:pt x="760" y="0"/>
                    </a:cubicBezTo>
                    <a:cubicBezTo>
                      <a:pt x="749" y="36"/>
                      <a:pt x="749" y="36"/>
                      <a:pt x="749" y="36"/>
                    </a:cubicBezTo>
                    <a:cubicBezTo>
                      <a:pt x="907" y="150"/>
                      <a:pt x="907" y="150"/>
                      <a:pt x="907" y="150"/>
                    </a:cubicBezTo>
                    <a:cubicBezTo>
                      <a:pt x="915" y="156"/>
                      <a:pt x="915" y="156"/>
                      <a:pt x="915" y="156"/>
                    </a:cubicBezTo>
                    <a:cubicBezTo>
                      <a:pt x="971" y="0"/>
                      <a:pt x="971" y="0"/>
                      <a:pt x="971" y="0"/>
                    </a:cubicBezTo>
                    <a:cubicBezTo>
                      <a:pt x="956" y="0"/>
                      <a:pt x="956" y="0"/>
                      <a:pt x="956" y="0"/>
                    </a:cubicBezTo>
                    <a:lnTo>
                      <a:pt x="908" y="132"/>
                    </a:lnTo>
                    <a:close/>
                    <a:moveTo>
                      <a:pt x="4172" y="10048"/>
                    </a:moveTo>
                    <a:cubicBezTo>
                      <a:pt x="4357" y="10054"/>
                      <a:pt x="4357" y="10054"/>
                      <a:pt x="4357" y="10054"/>
                    </a:cubicBezTo>
                    <a:cubicBezTo>
                      <a:pt x="4354" y="10163"/>
                      <a:pt x="4354" y="10163"/>
                      <a:pt x="4354" y="10163"/>
                    </a:cubicBezTo>
                    <a:cubicBezTo>
                      <a:pt x="4281" y="10161"/>
                      <a:pt x="4281" y="10161"/>
                      <a:pt x="4281" y="10161"/>
                    </a:cubicBezTo>
                    <a:cubicBezTo>
                      <a:pt x="4279" y="10218"/>
                      <a:pt x="4279" y="10218"/>
                      <a:pt x="4279" y="10218"/>
                    </a:cubicBezTo>
                    <a:cubicBezTo>
                      <a:pt x="4273" y="10218"/>
                      <a:pt x="4273" y="10218"/>
                      <a:pt x="4273" y="10218"/>
                    </a:cubicBezTo>
                    <a:cubicBezTo>
                      <a:pt x="4156" y="10217"/>
                      <a:pt x="4156" y="10217"/>
                      <a:pt x="4156" y="10217"/>
                    </a:cubicBezTo>
                    <a:cubicBezTo>
                      <a:pt x="4160" y="10100"/>
                      <a:pt x="4160" y="10100"/>
                      <a:pt x="4160" y="10100"/>
                    </a:cubicBezTo>
                    <a:cubicBezTo>
                      <a:pt x="4170" y="10100"/>
                      <a:pt x="4170" y="10100"/>
                      <a:pt x="4170" y="10100"/>
                    </a:cubicBezTo>
                    <a:lnTo>
                      <a:pt x="4172" y="10048"/>
                    </a:lnTo>
                    <a:close/>
                    <a:moveTo>
                      <a:pt x="4173" y="10113"/>
                    </a:moveTo>
                    <a:cubicBezTo>
                      <a:pt x="4170" y="10204"/>
                      <a:pt x="4170" y="10204"/>
                      <a:pt x="4170" y="10204"/>
                    </a:cubicBezTo>
                    <a:cubicBezTo>
                      <a:pt x="4266" y="10205"/>
                      <a:pt x="4266" y="10205"/>
                      <a:pt x="4266" y="10205"/>
                    </a:cubicBezTo>
                    <a:cubicBezTo>
                      <a:pt x="4268" y="10148"/>
                      <a:pt x="4268" y="10148"/>
                      <a:pt x="4268" y="10148"/>
                    </a:cubicBezTo>
                    <a:cubicBezTo>
                      <a:pt x="4341" y="10150"/>
                      <a:pt x="4341" y="10150"/>
                      <a:pt x="4341" y="10150"/>
                    </a:cubicBezTo>
                    <a:cubicBezTo>
                      <a:pt x="4344" y="10066"/>
                      <a:pt x="4344" y="10066"/>
                      <a:pt x="4344" y="10066"/>
                    </a:cubicBezTo>
                    <a:cubicBezTo>
                      <a:pt x="4185" y="10061"/>
                      <a:pt x="4185" y="10061"/>
                      <a:pt x="4185" y="10061"/>
                    </a:cubicBezTo>
                    <a:cubicBezTo>
                      <a:pt x="4183" y="10113"/>
                      <a:pt x="4183" y="10113"/>
                      <a:pt x="4183" y="10113"/>
                    </a:cubicBezTo>
                    <a:lnTo>
                      <a:pt x="4173" y="10113"/>
                    </a:lnTo>
                    <a:close/>
                    <a:moveTo>
                      <a:pt x="295" y="5545"/>
                    </a:moveTo>
                    <a:cubicBezTo>
                      <a:pt x="225" y="5426"/>
                      <a:pt x="225" y="5426"/>
                      <a:pt x="225" y="5426"/>
                    </a:cubicBezTo>
                    <a:cubicBezTo>
                      <a:pt x="344" y="5356"/>
                      <a:pt x="344" y="5356"/>
                      <a:pt x="344" y="5356"/>
                    </a:cubicBezTo>
                    <a:cubicBezTo>
                      <a:pt x="347" y="5362"/>
                      <a:pt x="347" y="5362"/>
                      <a:pt x="347" y="5362"/>
                    </a:cubicBezTo>
                    <a:cubicBezTo>
                      <a:pt x="414" y="5475"/>
                      <a:pt x="414" y="5475"/>
                      <a:pt x="414" y="5475"/>
                    </a:cubicBezTo>
                    <a:lnTo>
                      <a:pt x="295" y="5545"/>
                    </a:lnTo>
                    <a:close/>
                    <a:moveTo>
                      <a:pt x="243" y="5431"/>
                    </a:moveTo>
                    <a:cubicBezTo>
                      <a:pt x="300" y="5527"/>
                      <a:pt x="300" y="5527"/>
                      <a:pt x="300" y="5527"/>
                    </a:cubicBezTo>
                    <a:cubicBezTo>
                      <a:pt x="396" y="5470"/>
                      <a:pt x="396" y="5470"/>
                      <a:pt x="396" y="5470"/>
                    </a:cubicBezTo>
                    <a:cubicBezTo>
                      <a:pt x="339" y="5374"/>
                      <a:pt x="339" y="5374"/>
                      <a:pt x="339" y="5374"/>
                    </a:cubicBezTo>
                    <a:lnTo>
                      <a:pt x="243" y="5431"/>
                    </a:lnTo>
                    <a:close/>
                    <a:moveTo>
                      <a:pt x="414" y="1102"/>
                    </a:moveTo>
                    <a:cubicBezTo>
                      <a:pt x="366" y="1030"/>
                      <a:pt x="366" y="1030"/>
                      <a:pt x="366" y="1030"/>
                    </a:cubicBezTo>
                    <a:cubicBezTo>
                      <a:pt x="490" y="895"/>
                      <a:pt x="490" y="895"/>
                      <a:pt x="490" y="895"/>
                    </a:cubicBezTo>
                    <a:cubicBezTo>
                      <a:pt x="660" y="1115"/>
                      <a:pt x="660" y="1115"/>
                      <a:pt x="660" y="1115"/>
                    </a:cubicBezTo>
                    <a:cubicBezTo>
                      <a:pt x="654" y="1120"/>
                      <a:pt x="654" y="1120"/>
                      <a:pt x="654" y="1120"/>
                    </a:cubicBezTo>
                    <a:cubicBezTo>
                      <a:pt x="444" y="1292"/>
                      <a:pt x="444" y="1292"/>
                      <a:pt x="444" y="1292"/>
                    </a:cubicBezTo>
                    <a:cubicBezTo>
                      <a:pt x="385" y="1200"/>
                      <a:pt x="385" y="1200"/>
                      <a:pt x="385" y="1200"/>
                    </a:cubicBezTo>
                    <a:cubicBezTo>
                      <a:pt x="481" y="1108"/>
                      <a:pt x="481" y="1108"/>
                      <a:pt x="481" y="1108"/>
                    </a:cubicBezTo>
                    <a:cubicBezTo>
                      <a:pt x="461" y="1065"/>
                      <a:pt x="461" y="1065"/>
                      <a:pt x="461" y="1065"/>
                    </a:cubicBezTo>
                    <a:lnTo>
                      <a:pt x="414" y="1102"/>
                    </a:lnTo>
                    <a:close/>
                    <a:moveTo>
                      <a:pt x="385" y="1031"/>
                    </a:moveTo>
                    <a:cubicBezTo>
                      <a:pt x="417" y="1080"/>
                      <a:pt x="417" y="1080"/>
                      <a:pt x="417" y="1080"/>
                    </a:cubicBezTo>
                    <a:cubicBezTo>
                      <a:pt x="467" y="1042"/>
                      <a:pt x="467" y="1042"/>
                      <a:pt x="467" y="1042"/>
                    </a:cubicBezTo>
                    <a:cubicBezTo>
                      <a:pt x="498" y="1112"/>
                      <a:pt x="498" y="1112"/>
                      <a:pt x="498" y="1112"/>
                    </a:cubicBezTo>
                    <a:cubicBezTo>
                      <a:pt x="404" y="1203"/>
                      <a:pt x="404" y="1203"/>
                      <a:pt x="404" y="1203"/>
                    </a:cubicBezTo>
                    <a:cubicBezTo>
                      <a:pt x="447" y="1270"/>
                      <a:pt x="447" y="1270"/>
                      <a:pt x="447" y="1270"/>
                    </a:cubicBezTo>
                    <a:cubicBezTo>
                      <a:pt x="639" y="1113"/>
                      <a:pt x="639" y="1113"/>
                      <a:pt x="639" y="1113"/>
                    </a:cubicBezTo>
                    <a:cubicBezTo>
                      <a:pt x="489" y="918"/>
                      <a:pt x="489" y="918"/>
                      <a:pt x="489" y="918"/>
                    </a:cubicBezTo>
                    <a:lnTo>
                      <a:pt x="385" y="1031"/>
                    </a:lnTo>
                    <a:close/>
                    <a:moveTo>
                      <a:pt x="13" y="4215"/>
                    </a:moveTo>
                    <a:cubicBezTo>
                      <a:pt x="10" y="4208"/>
                      <a:pt x="10" y="4208"/>
                      <a:pt x="10" y="4208"/>
                    </a:cubicBezTo>
                    <a:cubicBezTo>
                      <a:pt x="4" y="4210"/>
                      <a:pt x="4" y="4210"/>
                      <a:pt x="4" y="4210"/>
                    </a:cubicBezTo>
                    <a:cubicBezTo>
                      <a:pt x="4" y="4234"/>
                      <a:pt x="4" y="4234"/>
                      <a:pt x="4" y="4234"/>
                    </a:cubicBezTo>
                    <a:cubicBezTo>
                      <a:pt x="22" y="4278"/>
                      <a:pt x="22" y="4278"/>
                      <a:pt x="22" y="4278"/>
                    </a:cubicBezTo>
                    <a:cubicBezTo>
                      <a:pt x="4" y="4289"/>
                      <a:pt x="4" y="4289"/>
                      <a:pt x="4" y="4289"/>
                    </a:cubicBezTo>
                    <a:cubicBezTo>
                      <a:pt x="4" y="4307"/>
                      <a:pt x="4" y="4307"/>
                      <a:pt x="4" y="4307"/>
                    </a:cubicBezTo>
                    <a:cubicBezTo>
                      <a:pt x="40" y="4284"/>
                      <a:pt x="40" y="4284"/>
                      <a:pt x="40" y="4284"/>
                    </a:cubicBezTo>
                    <a:lnTo>
                      <a:pt x="13" y="4215"/>
                    </a:lnTo>
                    <a:close/>
                    <a:moveTo>
                      <a:pt x="443" y="118"/>
                    </a:moveTo>
                    <a:cubicBezTo>
                      <a:pt x="393" y="151"/>
                      <a:pt x="393" y="151"/>
                      <a:pt x="393" y="151"/>
                    </a:cubicBezTo>
                    <a:cubicBezTo>
                      <a:pt x="367" y="112"/>
                      <a:pt x="367" y="112"/>
                      <a:pt x="367" y="112"/>
                    </a:cubicBezTo>
                    <a:cubicBezTo>
                      <a:pt x="319" y="144"/>
                      <a:pt x="319" y="144"/>
                      <a:pt x="319" y="144"/>
                    </a:cubicBezTo>
                    <a:cubicBezTo>
                      <a:pt x="281" y="85"/>
                      <a:pt x="281" y="85"/>
                      <a:pt x="281" y="85"/>
                    </a:cubicBezTo>
                    <a:cubicBezTo>
                      <a:pt x="328" y="53"/>
                      <a:pt x="328" y="53"/>
                      <a:pt x="328" y="53"/>
                    </a:cubicBezTo>
                    <a:cubicBezTo>
                      <a:pt x="303" y="14"/>
                      <a:pt x="303" y="14"/>
                      <a:pt x="303" y="14"/>
                    </a:cubicBezTo>
                    <a:cubicBezTo>
                      <a:pt x="324" y="0"/>
                      <a:pt x="324" y="0"/>
                      <a:pt x="324" y="0"/>
                    </a:cubicBezTo>
                    <a:cubicBezTo>
                      <a:pt x="300" y="0"/>
                      <a:pt x="300" y="0"/>
                      <a:pt x="300" y="0"/>
                    </a:cubicBezTo>
                    <a:cubicBezTo>
                      <a:pt x="284" y="10"/>
                      <a:pt x="284" y="10"/>
                      <a:pt x="284" y="10"/>
                    </a:cubicBezTo>
                    <a:cubicBezTo>
                      <a:pt x="310" y="49"/>
                      <a:pt x="310" y="49"/>
                      <a:pt x="310" y="49"/>
                    </a:cubicBezTo>
                    <a:cubicBezTo>
                      <a:pt x="262" y="81"/>
                      <a:pt x="262" y="81"/>
                      <a:pt x="262" y="81"/>
                    </a:cubicBezTo>
                    <a:cubicBezTo>
                      <a:pt x="316" y="162"/>
                      <a:pt x="316" y="162"/>
                      <a:pt x="316" y="162"/>
                    </a:cubicBezTo>
                    <a:cubicBezTo>
                      <a:pt x="364" y="130"/>
                      <a:pt x="364" y="130"/>
                      <a:pt x="364" y="130"/>
                    </a:cubicBezTo>
                    <a:cubicBezTo>
                      <a:pt x="390" y="169"/>
                      <a:pt x="390" y="169"/>
                      <a:pt x="390" y="169"/>
                    </a:cubicBezTo>
                    <a:cubicBezTo>
                      <a:pt x="456" y="125"/>
                      <a:pt x="456" y="125"/>
                      <a:pt x="456" y="125"/>
                    </a:cubicBezTo>
                    <a:cubicBezTo>
                      <a:pt x="462" y="122"/>
                      <a:pt x="462" y="122"/>
                      <a:pt x="462" y="122"/>
                    </a:cubicBezTo>
                    <a:cubicBezTo>
                      <a:pt x="381" y="0"/>
                      <a:pt x="381" y="0"/>
                      <a:pt x="381" y="0"/>
                    </a:cubicBezTo>
                    <a:cubicBezTo>
                      <a:pt x="365" y="0"/>
                      <a:pt x="365" y="0"/>
                      <a:pt x="365" y="0"/>
                    </a:cubicBezTo>
                    <a:lnTo>
                      <a:pt x="443" y="118"/>
                    </a:lnTo>
                    <a:close/>
                    <a:moveTo>
                      <a:pt x="11053" y="20"/>
                    </a:moveTo>
                    <a:cubicBezTo>
                      <a:pt x="11204" y="31"/>
                      <a:pt x="11355" y="42"/>
                      <a:pt x="11356" y="42"/>
                    </a:cubicBezTo>
                    <a:cubicBezTo>
                      <a:pt x="11356" y="42"/>
                      <a:pt x="11543" y="52"/>
                      <a:pt x="11643" y="52"/>
                    </a:cubicBezTo>
                    <a:cubicBezTo>
                      <a:pt x="11658" y="52"/>
                      <a:pt x="11672" y="52"/>
                      <a:pt x="11683" y="51"/>
                    </a:cubicBezTo>
                    <a:cubicBezTo>
                      <a:pt x="11693" y="50"/>
                      <a:pt x="11699" y="50"/>
                      <a:pt x="11709" y="48"/>
                    </a:cubicBezTo>
                    <a:cubicBezTo>
                      <a:pt x="11747" y="40"/>
                      <a:pt x="11781" y="22"/>
                      <a:pt x="11811" y="0"/>
                    </a:cubicBezTo>
                    <a:cubicBezTo>
                      <a:pt x="10785" y="0"/>
                      <a:pt x="10785" y="0"/>
                      <a:pt x="10785" y="0"/>
                    </a:cubicBezTo>
                    <a:cubicBezTo>
                      <a:pt x="10801" y="1"/>
                      <a:pt x="10821" y="2"/>
                      <a:pt x="10845" y="4"/>
                    </a:cubicBezTo>
                    <a:cubicBezTo>
                      <a:pt x="10902" y="8"/>
                      <a:pt x="10978" y="14"/>
                      <a:pt x="11053" y="20"/>
                    </a:cubicBezTo>
                    <a:close/>
                    <a:moveTo>
                      <a:pt x="566" y="6723"/>
                    </a:moveTo>
                    <a:cubicBezTo>
                      <a:pt x="548" y="6739"/>
                      <a:pt x="513" y="6750"/>
                      <a:pt x="481" y="6750"/>
                    </a:cubicBezTo>
                    <a:cubicBezTo>
                      <a:pt x="479" y="6750"/>
                      <a:pt x="477" y="6750"/>
                      <a:pt x="475" y="6750"/>
                    </a:cubicBezTo>
                    <a:cubicBezTo>
                      <a:pt x="441" y="6748"/>
                      <a:pt x="401" y="6720"/>
                      <a:pt x="384" y="6711"/>
                    </a:cubicBezTo>
                    <a:cubicBezTo>
                      <a:pt x="368" y="6703"/>
                      <a:pt x="314" y="6701"/>
                      <a:pt x="301" y="6698"/>
                    </a:cubicBezTo>
                    <a:cubicBezTo>
                      <a:pt x="291" y="6695"/>
                      <a:pt x="282" y="6690"/>
                      <a:pt x="281" y="6680"/>
                    </a:cubicBezTo>
                    <a:cubicBezTo>
                      <a:pt x="281" y="6676"/>
                      <a:pt x="283" y="6672"/>
                      <a:pt x="287" y="6670"/>
                    </a:cubicBezTo>
                    <a:cubicBezTo>
                      <a:pt x="293" y="6665"/>
                      <a:pt x="302" y="6664"/>
                      <a:pt x="314" y="6664"/>
                    </a:cubicBezTo>
                    <a:cubicBezTo>
                      <a:pt x="336" y="6664"/>
                      <a:pt x="364" y="6668"/>
                      <a:pt x="378" y="6670"/>
                    </a:cubicBezTo>
                    <a:cubicBezTo>
                      <a:pt x="393" y="6673"/>
                      <a:pt x="416" y="6678"/>
                      <a:pt x="442" y="6678"/>
                    </a:cubicBezTo>
                    <a:cubicBezTo>
                      <a:pt x="452" y="6678"/>
                      <a:pt x="462" y="6677"/>
                      <a:pt x="473" y="6676"/>
                    </a:cubicBezTo>
                    <a:cubicBezTo>
                      <a:pt x="510" y="6669"/>
                      <a:pt x="571" y="6638"/>
                      <a:pt x="578" y="6634"/>
                    </a:cubicBezTo>
                    <a:cubicBezTo>
                      <a:pt x="578" y="6634"/>
                      <a:pt x="579" y="6633"/>
                      <a:pt x="581" y="6633"/>
                    </a:cubicBezTo>
                    <a:cubicBezTo>
                      <a:pt x="586" y="6635"/>
                      <a:pt x="584" y="6637"/>
                      <a:pt x="585" y="6637"/>
                    </a:cubicBezTo>
                    <a:cubicBezTo>
                      <a:pt x="586" y="6643"/>
                      <a:pt x="587" y="6662"/>
                      <a:pt x="591" y="6669"/>
                    </a:cubicBezTo>
                    <a:cubicBezTo>
                      <a:pt x="592" y="6671"/>
                      <a:pt x="593" y="6674"/>
                      <a:pt x="593" y="6677"/>
                    </a:cubicBezTo>
                    <a:cubicBezTo>
                      <a:pt x="592" y="6691"/>
                      <a:pt x="581" y="6709"/>
                      <a:pt x="566" y="6723"/>
                    </a:cubicBezTo>
                    <a:close/>
                    <a:moveTo>
                      <a:pt x="560" y="6717"/>
                    </a:moveTo>
                    <a:cubicBezTo>
                      <a:pt x="574" y="6704"/>
                      <a:pt x="585" y="6686"/>
                      <a:pt x="584" y="6677"/>
                    </a:cubicBezTo>
                    <a:cubicBezTo>
                      <a:pt x="584" y="6675"/>
                      <a:pt x="584" y="6674"/>
                      <a:pt x="584" y="6673"/>
                    </a:cubicBezTo>
                    <a:cubicBezTo>
                      <a:pt x="581" y="6667"/>
                      <a:pt x="579" y="6658"/>
                      <a:pt x="579" y="6651"/>
                    </a:cubicBezTo>
                    <a:cubicBezTo>
                      <a:pt x="578" y="6648"/>
                      <a:pt x="578" y="6646"/>
                      <a:pt x="578" y="6644"/>
                    </a:cubicBezTo>
                    <a:cubicBezTo>
                      <a:pt x="562" y="6651"/>
                      <a:pt x="509" y="6678"/>
                      <a:pt x="474" y="6684"/>
                    </a:cubicBezTo>
                    <a:cubicBezTo>
                      <a:pt x="463" y="6686"/>
                      <a:pt x="452" y="6686"/>
                      <a:pt x="442" y="6686"/>
                    </a:cubicBezTo>
                    <a:cubicBezTo>
                      <a:pt x="415" y="6686"/>
                      <a:pt x="391" y="6681"/>
                      <a:pt x="376" y="6678"/>
                    </a:cubicBezTo>
                    <a:cubicBezTo>
                      <a:pt x="363" y="6676"/>
                      <a:pt x="335" y="6672"/>
                      <a:pt x="314" y="6672"/>
                    </a:cubicBezTo>
                    <a:cubicBezTo>
                      <a:pt x="303" y="6672"/>
                      <a:pt x="294" y="6674"/>
                      <a:pt x="292" y="6676"/>
                    </a:cubicBezTo>
                    <a:cubicBezTo>
                      <a:pt x="290" y="6678"/>
                      <a:pt x="289" y="6679"/>
                      <a:pt x="289" y="6680"/>
                    </a:cubicBezTo>
                    <a:cubicBezTo>
                      <a:pt x="289" y="6682"/>
                      <a:pt x="295" y="6688"/>
                      <a:pt x="303" y="6690"/>
                    </a:cubicBezTo>
                    <a:cubicBezTo>
                      <a:pt x="314" y="6693"/>
                      <a:pt x="368" y="6695"/>
                      <a:pt x="388" y="6704"/>
                    </a:cubicBezTo>
                    <a:cubicBezTo>
                      <a:pt x="406" y="6713"/>
                      <a:pt x="446" y="6741"/>
                      <a:pt x="475" y="6742"/>
                    </a:cubicBezTo>
                    <a:cubicBezTo>
                      <a:pt x="477" y="6742"/>
                      <a:pt x="479" y="6742"/>
                      <a:pt x="481" y="6742"/>
                    </a:cubicBezTo>
                    <a:cubicBezTo>
                      <a:pt x="510" y="6742"/>
                      <a:pt x="545" y="6731"/>
                      <a:pt x="560" y="6717"/>
                    </a:cubicBezTo>
                    <a:close/>
                    <a:moveTo>
                      <a:pt x="77" y="1144"/>
                    </a:moveTo>
                    <a:cubicBezTo>
                      <a:pt x="4" y="1039"/>
                      <a:pt x="4" y="1039"/>
                      <a:pt x="4" y="1039"/>
                    </a:cubicBezTo>
                    <a:cubicBezTo>
                      <a:pt x="4" y="1062"/>
                      <a:pt x="4" y="1062"/>
                      <a:pt x="4" y="1062"/>
                    </a:cubicBezTo>
                    <a:cubicBezTo>
                      <a:pt x="59" y="1140"/>
                      <a:pt x="59" y="1140"/>
                      <a:pt x="59" y="1140"/>
                    </a:cubicBezTo>
                    <a:cubicBezTo>
                      <a:pt x="18" y="1169"/>
                      <a:pt x="18" y="1169"/>
                      <a:pt x="18" y="1169"/>
                    </a:cubicBezTo>
                    <a:cubicBezTo>
                      <a:pt x="4" y="1149"/>
                      <a:pt x="4" y="1149"/>
                      <a:pt x="4" y="1149"/>
                    </a:cubicBezTo>
                    <a:cubicBezTo>
                      <a:pt x="4" y="1172"/>
                      <a:pt x="4" y="1172"/>
                      <a:pt x="4" y="1172"/>
                    </a:cubicBezTo>
                    <a:cubicBezTo>
                      <a:pt x="15" y="1187"/>
                      <a:pt x="15" y="1187"/>
                      <a:pt x="15" y="1187"/>
                    </a:cubicBezTo>
                    <a:lnTo>
                      <a:pt x="77" y="1144"/>
                    </a:lnTo>
                    <a:close/>
                    <a:moveTo>
                      <a:pt x="69" y="1459"/>
                    </a:moveTo>
                    <a:cubicBezTo>
                      <a:pt x="4" y="1477"/>
                      <a:pt x="4" y="1477"/>
                      <a:pt x="4" y="1477"/>
                    </a:cubicBezTo>
                    <a:cubicBezTo>
                      <a:pt x="4" y="1492"/>
                      <a:pt x="4" y="1492"/>
                      <a:pt x="4" y="1492"/>
                    </a:cubicBezTo>
                    <a:cubicBezTo>
                      <a:pt x="62" y="1476"/>
                      <a:pt x="62" y="1476"/>
                      <a:pt x="62" y="1476"/>
                    </a:cubicBezTo>
                    <a:cubicBezTo>
                      <a:pt x="109" y="1558"/>
                      <a:pt x="109" y="1558"/>
                      <a:pt x="109" y="1558"/>
                    </a:cubicBezTo>
                    <a:cubicBezTo>
                      <a:pt x="4" y="1647"/>
                      <a:pt x="4" y="1647"/>
                      <a:pt x="4" y="1647"/>
                    </a:cubicBezTo>
                    <a:cubicBezTo>
                      <a:pt x="4" y="1666"/>
                      <a:pt x="4" y="1666"/>
                      <a:pt x="4" y="1666"/>
                    </a:cubicBezTo>
                    <a:cubicBezTo>
                      <a:pt x="128" y="1561"/>
                      <a:pt x="128" y="1561"/>
                      <a:pt x="128" y="1561"/>
                    </a:cubicBezTo>
                    <a:lnTo>
                      <a:pt x="69" y="1459"/>
                    </a:lnTo>
                    <a:close/>
                    <a:moveTo>
                      <a:pt x="51" y="1301"/>
                    </a:moveTo>
                    <a:cubicBezTo>
                      <a:pt x="23" y="1312"/>
                      <a:pt x="23" y="1312"/>
                      <a:pt x="23" y="1312"/>
                    </a:cubicBezTo>
                    <a:cubicBezTo>
                      <a:pt x="23" y="1312"/>
                      <a:pt x="16" y="1315"/>
                      <a:pt x="4" y="1320"/>
                    </a:cubicBezTo>
                    <a:cubicBezTo>
                      <a:pt x="4" y="1355"/>
                      <a:pt x="4" y="1355"/>
                      <a:pt x="4" y="1355"/>
                    </a:cubicBezTo>
                    <a:cubicBezTo>
                      <a:pt x="31" y="1324"/>
                      <a:pt x="31" y="1324"/>
                      <a:pt x="31" y="1324"/>
                    </a:cubicBezTo>
                    <a:lnTo>
                      <a:pt x="51" y="1301"/>
                    </a:lnTo>
                    <a:close/>
                    <a:moveTo>
                      <a:pt x="3098" y="9170"/>
                    </a:moveTo>
                    <a:cubicBezTo>
                      <a:pt x="2977" y="9256"/>
                      <a:pt x="2977" y="9256"/>
                      <a:pt x="2977" y="9256"/>
                    </a:cubicBezTo>
                    <a:cubicBezTo>
                      <a:pt x="2974" y="9250"/>
                      <a:pt x="2974" y="9250"/>
                      <a:pt x="2974" y="9250"/>
                    </a:cubicBezTo>
                    <a:cubicBezTo>
                      <a:pt x="2917" y="9171"/>
                      <a:pt x="2917" y="9171"/>
                      <a:pt x="2917" y="9171"/>
                    </a:cubicBezTo>
                    <a:cubicBezTo>
                      <a:pt x="3037" y="9085"/>
                      <a:pt x="3037" y="9085"/>
                      <a:pt x="3037" y="9085"/>
                    </a:cubicBezTo>
                    <a:lnTo>
                      <a:pt x="3098" y="9170"/>
                    </a:lnTo>
                    <a:close/>
                    <a:moveTo>
                      <a:pt x="2980" y="9238"/>
                    </a:moveTo>
                    <a:cubicBezTo>
                      <a:pt x="3080" y="9167"/>
                      <a:pt x="3080" y="9167"/>
                      <a:pt x="3080" y="9167"/>
                    </a:cubicBezTo>
                    <a:cubicBezTo>
                      <a:pt x="3034" y="9103"/>
                      <a:pt x="3034" y="9103"/>
                      <a:pt x="3034" y="9103"/>
                    </a:cubicBezTo>
                    <a:cubicBezTo>
                      <a:pt x="2935" y="9174"/>
                      <a:pt x="2935" y="9174"/>
                      <a:pt x="2935" y="9174"/>
                    </a:cubicBezTo>
                    <a:lnTo>
                      <a:pt x="2980" y="9238"/>
                    </a:lnTo>
                    <a:close/>
                    <a:moveTo>
                      <a:pt x="3739" y="48"/>
                    </a:moveTo>
                    <a:cubicBezTo>
                      <a:pt x="3719" y="40"/>
                      <a:pt x="3719" y="40"/>
                      <a:pt x="3719" y="40"/>
                    </a:cubicBezTo>
                    <a:cubicBezTo>
                      <a:pt x="3732" y="0"/>
                      <a:pt x="3732" y="0"/>
                      <a:pt x="3732" y="0"/>
                    </a:cubicBezTo>
                    <a:cubicBezTo>
                      <a:pt x="3716" y="0"/>
                      <a:pt x="3716" y="0"/>
                      <a:pt x="3716" y="0"/>
                    </a:cubicBezTo>
                    <a:cubicBezTo>
                      <a:pt x="3701" y="49"/>
                      <a:pt x="3701" y="49"/>
                      <a:pt x="3701" y="49"/>
                    </a:cubicBezTo>
                    <a:cubicBezTo>
                      <a:pt x="3743" y="66"/>
                      <a:pt x="3743" y="66"/>
                      <a:pt x="3743" y="66"/>
                    </a:cubicBezTo>
                    <a:cubicBezTo>
                      <a:pt x="3813" y="0"/>
                      <a:pt x="3813" y="0"/>
                      <a:pt x="3813" y="0"/>
                    </a:cubicBezTo>
                    <a:cubicBezTo>
                      <a:pt x="3792" y="0"/>
                      <a:pt x="3792" y="0"/>
                      <a:pt x="3792" y="0"/>
                    </a:cubicBezTo>
                    <a:lnTo>
                      <a:pt x="3739" y="48"/>
                    </a:lnTo>
                    <a:close/>
                    <a:moveTo>
                      <a:pt x="2739" y="8792"/>
                    </a:moveTo>
                    <a:cubicBezTo>
                      <a:pt x="2883" y="8806"/>
                      <a:pt x="2883" y="8806"/>
                      <a:pt x="2883" y="8806"/>
                    </a:cubicBezTo>
                    <a:cubicBezTo>
                      <a:pt x="2876" y="8882"/>
                      <a:pt x="2876" y="8882"/>
                      <a:pt x="2876" y="8882"/>
                    </a:cubicBezTo>
                    <a:cubicBezTo>
                      <a:pt x="2725" y="8867"/>
                      <a:pt x="2725" y="8867"/>
                      <a:pt x="2725" y="8867"/>
                    </a:cubicBezTo>
                    <a:cubicBezTo>
                      <a:pt x="2732" y="8792"/>
                      <a:pt x="2732" y="8792"/>
                      <a:pt x="2732" y="8792"/>
                    </a:cubicBezTo>
                    <a:lnTo>
                      <a:pt x="2739" y="8792"/>
                    </a:lnTo>
                    <a:close/>
                    <a:moveTo>
                      <a:pt x="2739" y="8855"/>
                    </a:moveTo>
                    <a:cubicBezTo>
                      <a:pt x="2864" y="8867"/>
                      <a:pt x="2864" y="8867"/>
                      <a:pt x="2864" y="8867"/>
                    </a:cubicBezTo>
                    <a:cubicBezTo>
                      <a:pt x="2869" y="8818"/>
                      <a:pt x="2869" y="8818"/>
                      <a:pt x="2869" y="8818"/>
                    </a:cubicBezTo>
                    <a:cubicBezTo>
                      <a:pt x="2744" y="8806"/>
                      <a:pt x="2744" y="8806"/>
                      <a:pt x="2744" y="8806"/>
                    </a:cubicBezTo>
                    <a:lnTo>
                      <a:pt x="2739" y="8855"/>
                    </a:lnTo>
                    <a:close/>
                    <a:moveTo>
                      <a:pt x="151" y="4553"/>
                    </a:moveTo>
                    <a:cubicBezTo>
                      <a:pt x="126" y="4518"/>
                      <a:pt x="126" y="4518"/>
                      <a:pt x="126" y="4518"/>
                    </a:cubicBezTo>
                    <a:cubicBezTo>
                      <a:pt x="267" y="4421"/>
                      <a:pt x="267" y="4421"/>
                      <a:pt x="267" y="4421"/>
                    </a:cubicBezTo>
                    <a:cubicBezTo>
                      <a:pt x="292" y="4454"/>
                      <a:pt x="292" y="4454"/>
                      <a:pt x="292" y="4454"/>
                    </a:cubicBezTo>
                    <a:cubicBezTo>
                      <a:pt x="242" y="4498"/>
                      <a:pt x="242" y="4498"/>
                      <a:pt x="242" y="4498"/>
                    </a:cubicBezTo>
                    <a:cubicBezTo>
                      <a:pt x="315" y="4581"/>
                      <a:pt x="315" y="4581"/>
                      <a:pt x="315" y="4581"/>
                    </a:cubicBezTo>
                    <a:cubicBezTo>
                      <a:pt x="432" y="4528"/>
                      <a:pt x="432" y="4528"/>
                      <a:pt x="432" y="4528"/>
                    </a:cubicBezTo>
                    <a:cubicBezTo>
                      <a:pt x="461" y="4571"/>
                      <a:pt x="461" y="4571"/>
                      <a:pt x="461" y="4571"/>
                    </a:cubicBezTo>
                    <a:cubicBezTo>
                      <a:pt x="545" y="4546"/>
                      <a:pt x="545" y="4546"/>
                      <a:pt x="545" y="4546"/>
                    </a:cubicBezTo>
                    <a:cubicBezTo>
                      <a:pt x="555" y="4543"/>
                      <a:pt x="555" y="4543"/>
                      <a:pt x="555" y="4543"/>
                    </a:cubicBezTo>
                    <a:cubicBezTo>
                      <a:pt x="340" y="4250"/>
                      <a:pt x="340" y="4250"/>
                      <a:pt x="340" y="4250"/>
                    </a:cubicBezTo>
                    <a:cubicBezTo>
                      <a:pt x="4" y="4474"/>
                      <a:pt x="4" y="4474"/>
                      <a:pt x="4" y="4474"/>
                    </a:cubicBezTo>
                    <a:cubicBezTo>
                      <a:pt x="4" y="4492"/>
                      <a:pt x="4" y="4492"/>
                      <a:pt x="4" y="4492"/>
                    </a:cubicBezTo>
                    <a:cubicBezTo>
                      <a:pt x="336" y="4270"/>
                      <a:pt x="336" y="4270"/>
                      <a:pt x="336" y="4270"/>
                    </a:cubicBezTo>
                    <a:cubicBezTo>
                      <a:pt x="531" y="4534"/>
                      <a:pt x="531" y="4534"/>
                      <a:pt x="531" y="4534"/>
                    </a:cubicBezTo>
                    <a:cubicBezTo>
                      <a:pt x="467" y="4553"/>
                      <a:pt x="467" y="4553"/>
                      <a:pt x="467" y="4553"/>
                    </a:cubicBezTo>
                    <a:cubicBezTo>
                      <a:pt x="437" y="4509"/>
                      <a:pt x="437" y="4509"/>
                      <a:pt x="437" y="4509"/>
                    </a:cubicBezTo>
                    <a:cubicBezTo>
                      <a:pt x="319" y="4563"/>
                      <a:pt x="319" y="4563"/>
                      <a:pt x="319" y="4563"/>
                    </a:cubicBezTo>
                    <a:cubicBezTo>
                      <a:pt x="263" y="4499"/>
                      <a:pt x="263" y="4499"/>
                      <a:pt x="263" y="4499"/>
                    </a:cubicBezTo>
                    <a:cubicBezTo>
                      <a:pt x="312" y="4456"/>
                      <a:pt x="312" y="4456"/>
                      <a:pt x="312" y="4456"/>
                    </a:cubicBezTo>
                    <a:cubicBezTo>
                      <a:pt x="270" y="4401"/>
                      <a:pt x="270" y="4401"/>
                      <a:pt x="270" y="4401"/>
                    </a:cubicBezTo>
                    <a:cubicBezTo>
                      <a:pt x="105" y="4514"/>
                      <a:pt x="105" y="4514"/>
                      <a:pt x="105" y="4514"/>
                    </a:cubicBezTo>
                    <a:cubicBezTo>
                      <a:pt x="130" y="4549"/>
                      <a:pt x="130" y="4549"/>
                      <a:pt x="130" y="4549"/>
                    </a:cubicBezTo>
                    <a:cubicBezTo>
                      <a:pt x="10" y="4629"/>
                      <a:pt x="10" y="4629"/>
                      <a:pt x="10" y="4629"/>
                    </a:cubicBezTo>
                    <a:cubicBezTo>
                      <a:pt x="4" y="4626"/>
                      <a:pt x="4" y="4626"/>
                      <a:pt x="4" y="4626"/>
                    </a:cubicBezTo>
                    <a:cubicBezTo>
                      <a:pt x="4" y="4643"/>
                      <a:pt x="4" y="4643"/>
                      <a:pt x="4" y="4643"/>
                    </a:cubicBezTo>
                    <a:cubicBezTo>
                      <a:pt x="11" y="4646"/>
                      <a:pt x="11" y="4646"/>
                      <a:pt x="11" y="4646"/>
                    </a:cubicBezTo>
                    <a:lnTo>
                      <a:pt x="151" y="4553"/>
                    </a:lnTo>
                    <a:close/>
                    <a:moveTo>
                      <a:pt x="183" y="1935"/>
                    </a:moveTo>
                    <a:cubicBezTo>
                      <a:pt x="293" y="1835"/>
                      <a:pt x="293" y="1835"/>
                      <a:pt x="293" y="1835"/>
                    </a:cubicBezTo>
                    <a:cubicBezTo>
                      <a:pt x="299" y="1829"/>
                      <a:pt x="299" y="1829"/>
                      <a:pt x="299" y="1829"/>
                    </a:cubicBezTo>
                    <a:cubicBezTo>
                      <a:pt x="152" y="1695"/>
                      <a:pt x="152" y="1695"/>
                      <a:pt x="152" y="1695"/>
                    </a:cubicBezTo>
                    <a:cubicBezTo>
                      <a:pt x="4" y="1809"/>
                      <a:pt x="4" y="1809"/>
                      <a:pt x="4" y="1809"/>
                    </a:cubicBezTo>
                    <a:cubicBezTo>
                      <a:pt x="4" y="1828"/>
                      <a:pt x="4" y="1828"/>
                      <a:pt x="4" y="1828"/>
                    </a:cubicBezTo>
                    <a:cubicBezTo>
                      <a:pt x="151" y="1715"/>
                      <a:pt x="151" y="1715"/>
                      <a:pt x="151" y="1715"/>
                    </a:cubicBezTo>
                    <a:cubicBezTo>
                      <a:pt x="277" y="1829"/>
                      <a:pt x="277" y="1829"/>
                      <a:pt x="277" y="1829"/>
                    </a:cubicBezTo>
                    <a:cubicBezTo>
                      <a:pt x="177" y="1920"/>
                      <a:pt x="177" y="1920"/>
                      <a:pt x="177" y="1920"/>
                    </a:cubicBezTo>
                    <a:cubicBezTo>
                      <a:pt x="37" y="1913"/>
                      <a:pt x="37" y="1913"/>
                      <a:pt x="37" y="1913"/>
                    </a:cubicBezTo>
                    <a:cubicBezTo>
                      <a:pt x="4" y="1859"/>
                      <a:pt x="4" y="1859"/>
                      <a:pt x="4" y="1859"/>
                    </a:cubicBezTo>
                    <a:cubicBezTo>
                      <a:pt x="4" y="1887"/>
                      <a:pt x="4" y="1887"/>
                      <a:pt x="4" y="1887"/>
                    </a:cubicBezTo>
                    <a:cubicBezTo>
                      <a:pt x="28" y="1927"/>
                      <a:pt x="28" y="1927"/>
                      <a:pt x="28" y="1927"/>
                    </a:cubicBezTo>
                    <a:lnTo>
                      <a:pt x="183" y="1935"/>
                    </a:lnTo>
                    <a:close/>
                    <a:moveTo>
                      <a:pt x="54" y="2215"/>
                    </a:moveTo>
                    <a:cubicBezTo>
                      <a:pt x="4" y="2136"/>
                      <a:pt x="4" y="2136"/>
                      <a:pt x="4" y="2136"/>
                    </a:cubicBezTo>
                    <a:cubicBezTo>
                      <a:pt x="4" y="2164"/>
                      <a:pt x="4" y="2164"/>
                      <a:pt x="4" y="2164"/>
                    </a:cubicBezTo>
                    <a:cubicBezTo>
                      <a:pt x="38" y="2217"/>
                      <a:pt x="38" y="2217"/>
                      <a:pt x="38" y="2217"/>
                    </a:cubicBezTo>
                    <a:cubicBezTo>
                      <a:pt x="11" y="2302"/>
                      <a:pt x="11" y="2302"/>
                      <a:pt x="11" y="2302"/>
                    </a:cubicBezTo>
                    <a:cubicBezTo>
                      <a:pt x="4" y="2303"/>
                      <a:pt x="4" y="2303"/>
                      <a:pt x="4" y="2303"/>
                    </a:cubicBezTo>
                    <a:cubicBezTo>
                      <a:pt x="4" y="2318"/>
                      <a:pt x="4" y="2318"/>
                      <a:pt x="4" y="2318"/>
                    </a:cubicBezTo>
                    <a:cubicBezTo>
                      <a:pt x="23" y="2315"/>
                      <a:pt x="23" y="2315"/>
                      <a:pt x="23" y="2315"/>
                    </a:cubicBezTo>
                    <a:lnTo>
                      <a:pt x="54" y="2215"/>
                    </a:lnTo>
                    <a:close/>
                    <a:moveTo>
                      <a:pt x="522" y="6400"/>
                    </a:moveTo>
                    <a:cubicBezTo>
                      <a:pt x="384" y="6397"/>
                      <a:pt x="384" y="6397"/>
                      <a:pt x="384" y="6397"/>
                    </a:cubicBezTo>
                    <a:cubicBezTo>
                      <a:pt x="387" y="6260"/>
                      <a:pt x="387" y="6260"/>
                      <a:pt x="387" y="6260"/>
                    </a:cubicBezTo>
                    <a:cubicBezTo>
                      <a:pt x="393" y="6260"/>
                      <a:pt x="393" y="6260"/>
                      <a:pt x="393" y="6260"/>
                    </a:cubicBezTo>
                    <a:cubicBezTo>
                      <a:pt x="525" y="6262"/>
                      <a:pt x="525" y="6262"/>
                      <a:pt x="525" y="6262"/>
                    </a:cubicBezTo>
                    <a:lnTo>
                      <a:pt x="522" y="6400"/>
                    </a:lnTo>
                    <a:close/>
                    <a:moveTo>
                      <a:pt x="511" y="6275"/>
                    </a:moveTo>
                    <a:cubicBezTo>
                      <a:pt x="400" y="6273"/>
                      <a:pt x="400" y="6273"/>
                      <a:pt x="400" y="6273"/>
                    </a:cubicBezTo>
                    <a:cubicBezTo>
                      <a:pt x="398" y="6385"/>
                      <a:pt x="398" y="6385"/>
                      <a:pt x="398" y="6385"/>
                    </a:cubicBezTo>
                    <a:cubicBezTo>
                      <a:pt x="509" y="6387"/>
                      <a:pt x="509" y="6387"/>
                      <a:pt x="509" y="6387"/>
                    </a:cubicBezTo>
                    <a:lnTo>
                      <a:pt x="511" y="6275"/>
                    </a:lnTo>
                    <a:close/>
                    <a:moveTo>
                      <a:pt x="56" y="4838"/>
                    </a:moveTo>
                    <a:cubicBezTo>
                      <a:pt x="4" y="4824"/>
                      <a:pt x="4" y="4824"/>
                      <a:pt x="4" y="4824"/>
                    </a:cubicBezTo>
                    <a:cubicBezTo>
                      <a:pt x="4" y="4839"/>
                      <a:pt x="4" y="4839"/>
                      <a:pt x="4" y="4839"/>
                    </a:cubicBezTo>
                    <a:cubicBezTo>
                      <a:pt x="20" y="4843"/>
                      <a:pt x="20" y="4843"/>
                      <a:pt x="20" y="4843"/>
                    </a:cubicBezTo>
                    <a:cubicBezTo>
                      <a:pt x="4" y="4853"/>
                      <a:pt x="4" y="4853"/>
                      <a:pt x="4" y="4853"/>
                    </a:cubicBezTo>
                    <a:cubicBezTo>
                      <a:pt x="4" y="4870"/>
                      <a:pt x="4" y="4870"/>
                      <a:pt x="4" y="4870"/>
                    </a:cubicBezTo>
                    <a:cubicBezTo>
                      <a:pt x="42" y="4847"/>
                      <a:pt x="42" y="4847"/>
                      <a:pt x="42" y="4847"/>
                    </a:cubicBezTo>
                    <a:lnTo>
                      <a:pt x="56" y="4838"/>
                    </a:lnTo>
                    <a:close/>
                    <a:moveTo>
                      <a:pt x="10007" y="37"/>
                    </a:moveTo>
                    <a:cubicBezTo>
                      <a:pt x="10143" y="0"/>
                      <a:pt x="10143" y="0"/>
                      <a:pt x="10143" y="0"/>
                    </a:cubicBezTo>
                    <a:cubicBezTo>
                      <a:pt x="10088" y="0"/>
                      <a:pt x="10088" y="0"/>
                      <a:pt x="10088" y="0"/>
                    </a:cubicBezTo>
                    <a:cubicBezTo>
                      <a:pt x="10017" y="19"/>
                      <a:pt x="10017" y="19"/>
                      <a:pt x="10017" y="19"/>
                    </a:cubicBezTo>
                    <a:cubicBezTo>
                      <a:pt x="10011" y="0"/>
                      <a:pt x="10011" y="0"/>
                      <a:pt x="10011" y="0"/>
                    </a:cubicBezTo>
                    <a:cubicBezTo>
                      <a:pt x="9996" y="0"/>
                      <a:pt x="9996" y="0"/>
                      <a:pt x="9996" y="0"/>
                    </a:cubicBezTo>
                    <a:lnTo>
                      <a:pt x="10007" y="37"/>
                    </a:lnTo>
                    <a:close/>
                    <a:moveTo>
                      <a:pt x="46" y="4813"/>
                    </a:moveTo>
                    <a:cubicBezTo>
                      <a:pt x="61" y="4806"/>
                      <a:pt x="61" y="4806"/>
                      <a:pt x="61" y="4806"/>
                    </a:cubicBezTo>
                    <a:cubicBezTo>
                      <a:pt x="75" y="4800"/>
                      <a:pt x="75" y="4800"/>
                      <a:pt x="75" y="4800"/>
                    </a:cubicBezTo>
                    <a:cubicBezTo>
                      <a:pt x="4" y="4762"/>
                      <a:pt x="4" y="4762"/>
                      <a:pt x="4" y="4762"/>
                    </a:cubicBezTo>
                    <a:cubicBezTo>
                      <a:pt x="4" y="4779"/>
                      <a:pt x="4" y="4779"/>
                      <a:pt x="4" y="4779"/>
                    </a:cubicBezTo>
                    <a:cubicBezTo>
                      <a:pt x="37" y="4797"/>
                      <a:pt x="37" y="4797"/>
                      <a:pt x="37" y="4797"/>
                    </a:cubicBezTo>
                    <a:cubicBezTo>
                      <a:pt x="4" y="4786"/>
                      <a:pt x="4" y="4786"/>
                      <a:pt x="4" y="4786"/>
                    </a:cubicBezTo>
                    <a:cubicBezTo>
                      <a:pt x="4" y="4802"/>
                      <a:pt x="4" y="4802"/>
                      <a:pt x="4" y="4802"/>
                    </a:cubicBezTo>
                    <a:cubicBezTo>
                      <a:pt x="43" y="4814"/>
                      <a:pt x="43" y="4814"/>
                      <a:pt x="43" y="4814"/>
                    </a:cubicBezTo>
                    <a:lnTo>
                      <a:pt x="46" y="4813"/>
                    </a:lnTo>
                    <a:close/>
                    <a:moveTo>
                      <a:pt x="88" y="5226"/>
                    </a:moveTo>
                    <a:cubicBezTo>
                      <a:pt x="101" y="5224"/>
                      <a:pt x="101" y="5224"/>
                      <a:pt x="101" y="5224"/>
                    </a:cubicBezTo>
                    <a:cubicBezTo>
                      <a:pt x="84" y="5133"/>
                      <a:pt x="84" y="5133"/>
                      <a:pt x="84" y="5133"/>
                    </a:cubicBezTo>
                    <a:cubicBezTo>
                      <a:pt x="83" y="5126"/>
                      <a:pt x="83" y="5126"/>
                      <a:pt x="83" y="5126"/>
                    </a:cubicBezTo>
                    <a:cubicBezTo>
                      <a:pt x="4" y="5141"/>
                      <a:pt x="4" y="5141"/>
                      <a:pt x="4" y="5141"/>
                    </a:cubicBezTo>
                    <a:cubicBezTo>
                      <a:pt x="4" y="5154"/>
                      <a:pt x="4" y="5154"/>
                      <a:pt x="4" y="5154"/>
                    </a:cubicBezTo>
                    <a:cubicBezTo>
                      <a:pt x="72" y="5142"/>
                      <a:pt x="72" y="5142"/>
                      <a:pt x="72" y="5142"/>
                    </a:cubicBezTo>
                    <a:cubicBezTo>
                      <a:pt x="86" y="5213"/>
                      <a:pt x="86" y="5213"/>
                      <a:pt x="86" y="5213"/>
                    </a:cubicBezTo>
                    <a:cubicBezTo>
                      <a:pt x="73" y="5216"/>
                      <a:pt x="73" y="5216"/>
                      <a:pt x="73" y="5216"/>
                    </a:cubicBezTo>
                    <a:cubicBezTo>
                      <a:pt x="83" y="5270"/>
                      <a:pt x="83" y="5270"/>
                      <a:pt x="83" y="5270"/>
                    </a:cubicBezTo>
                    <a:cubicBezTo>
                      <a:pt x="4" y="5284"/>
                      <a:pt x="4" y="5284"/>
                      <a:pt x="4" y="5284"/>
                    </a:cubicBezTo>
                    <a:cubicBezTo>
                      <a:pt x="4" y="5298"/>
                      <a:pt x="4" y="5298"/>
                      <a:pt x="4" y="5298"/>
                    </a:cubicBezTo>
                    <a:cubicBezTo>
                      <a:pt x="98" y="5280"/>
                      <a:pt x="98" y="5280"/>
                      <a:pt x="98" y="5280"/>
                    </a:cubicBezTo>
                    <a:lnTo>
                      <a:pt x="88" y="5226"/>
                    </a:lnTo>
                    <a:close/>
                    <a:moveTo>
                      <a:pt x="57" y="5657"/>
                    </a:moveTo>
                    <a:cubicBezTo>
                      <a:pt x="63" y="5658"/>
                      <a:pt x="63" y="5658"/>
                      <a:pt x="63" y="5658"/>
                    </a:cubicBezTo>
                    <a:cubicBezTo>
                      <a:pt x="89" y="5538"/>
                      <a:pt x="89" y="5538"/>
                      <a:pt x="89" y="5538"/>
                    </a:cubicBezTo>
                    <a:cubicBezTo>
                      <a:pt x="4" y="5522"/>
                      <a:pt x="4" y="5522"/>
                      <a:pt x="4" y="5522"/>
                    </a:cubicBezTo>
                    <a:cubicBezTo>
                      <a:pt x="4" y="5536"/>
                      <a:pt x="4" y="5536"/>
                      <a:pt x="4" y="5536"/>
                    </a:cubicBezTo>
                    <a:cubicBezTo>
                      <a:pt x="73" y="5549"/>
                      <a:pt x="73" y="5549"/>
                      <a:pt x="73" y="5549"/>
                    </a:cubicBezTo>
                    <a:cubicBezTo>
                      <a:pt x="53" y="5643"/>
                      <a:pt x="53" y="5643"/>
                      <a:pt x="53" y="5643"/>
                    </a:cubicBezTo>
                    <a:cubicBezTo>
                      <a:pt x="4" y="5634"/>
                      <a:pt x="4" y="5634"/>
                      <a:pt x="4" y="5634"/>
                    </a:cubicBezTo>
                    <a:cubicBezTo>
                      <a:pt x="4" y="5663"/>
                      <a:pt x="4" y="5663"/>
                      <a:pt x="4" y="5663"/>
                    </a:cubicBezTo>
                    <a:cubicBezTo>
                      <a:pt x="7" y="5648"/>
                      <a:pt x="7" y="5648"/>
                      <a:pt x="7" y="5648"/>
                    </a:cubicBezTo>
                    <a:lnTo>
                      <a:pt x="57" y="5657"/>
                    </a:lnTo>
                    <a:close/>
                    <a:moveTo>
                      <a:pt x="10286" y="278"/>
                    </a:moveTo>
                    <a:cubicBezTo>
                      <a:pt x="10142" y="318"/>
                      <a:pt x="10142" y="318"/>
                      <a:pt x="10142" y="318"/>
                    </a:cubicBezTo>
                    <a:cubicBezTo>
                      <a:pt x="10227" y="622"/>
                      <a:pt x="10227" y="622"/>
                      <a:pt x="10227" y="622"/>
                    </a:cubicBezTo>
                    <a:cubicBezTo>
                      <a:pt x="9554" y="797"/>
                      <a:pt x="9554" y="797"/>
                      <a:pt x="9554" y="797"/>
                    </a:cubicBezTo>
                    <a:cubicBezTo>
                      <a:pt x="9511" y="643"/>
                      <a:pt x="9511" y="643"/>
                      <a:pt x="9511" y="643"/>
                    </a:cubicBezTo>
                    <a:cubicBezTo>
                      <a:pt x="9581" y="620"/>
                      <a:pt x="9581" y="620"/>
                      <a:pt x="9581" y="620"/>
                    </a:cubicBezTo>
                    <a:cubicBezTo>
                      <a:pt x="9512" y="389"/>
                      <a:pt x="9512" y="389"/>
                      <a:pt x="9512" y="389"/>
                    </a:cubicBezTo>
                    <a:cubicBezTo>
                      <a:pt x="9437" y="405"/>
                      <a:pt x="9437" y="405"/>
                      <a:pt x="9437" y="405"/>
                    </a:cubicBezTo>
                    <a:cubicBezTo>
                      <a:pt x="9379" y="195"/>
                      <a:pt x="9379" y="195"/>
                      <a:pt x="9379" y="195"/>
                    </a:cubicBezTo>
                    <a:cubicBezTo>
                      <a:pt x="9679" y="113"/>
                      <a:pt x="9679" y="113"/>
                      <a:pt x="9679" y="113"/>
                    </a:cubicBezTo>
                    <a:cubicBezTo>
                      <a:pt x="9667" y="72"/>
                      <a:pt x="9667" y="72"/>
                      <a:pt x="9667" y="72"/>
                    </a:cubicBezTo>
                    <a:cubicBezTo>
                      <a:pt x="9928" y="0"/>
                      <a:pt x="9928" y="0"/>
                      <a:pt x="9928" y="0"/>
                    </a:cubicBezTo>
                    <a:cubicBezTo>
                      <a:pt x="9872" y="0"/>
                      <a:pt x="9872" y="0"/>
                      <a:pt x="9872" y="0"/>
                    </a:cubicBezTo>
                    <a:cubicBezTo>
                      <a:pt x="9649" y="61"/>
                      <a:pt x="9649" y="61"/>
                      <a:pt x="9649" y="61"/>
                    </a:cubicBezTo>
                    <a:cubicBezTo>
                      <a:pt x="9661" y="103"/>
                      <a:pt x="9661" y="103"/>
                      <a:pt x="9661" y="103"/>
                    </a:cubicBezTo>
                    <a:cubicBezTo>
                      <a:pt x="9368" y="183"/>
                      <a:pt x="9368" y="183"/>
                      <a:pt x="9368" y="183"/>
                    </a:cubicBezTo>
                    <a:cubicBezTo>
                      <a:pt x="9361" y="185"/>
                      <a:pt x="9361" y="185"/>
                      <a:pt x="9361" y="185"/>
                    </a:cubicBezTo>
                    <a:cubicBezTo>
                      <a:pt x="9426" y="423"/>
                      <a:pt x="9426" y="423"/>
                      <a:pt x="9426" y="423"/>
                    </a:cubicBezTo>
                    <a:cubicBezTo>
                      <a:pt x="9502" y="406"/>
                      <a:pt x="9502" y="406"/>
                      <a:pt x="9502" y="406"/>
                    </a:cubicBezTo>
                    <a:cubicBezTo>
                      <a:pt x="9563" y="610"/>
                      <a:pt x="9563" y="610"/>
                      <a:pt x="9563" y="610"/>
                    </a:cubicBezTo>
                    <a:cubicBezTo>
                      <a:pt x="9493" y="633"/>
                      <a:pt x="9493" y="633"/>
                      <a:pt x="9493" y="633"/>
                    </a:cubicBezTo>
                    <a:cubicBezTo>
                      <a:pt x="9544" y="815"/>
                      <a:pt x="9544" y="815"/>
                      <a:pt x="9544" y="815"/>
                    </a:cubicBezTo>
                    <a:cubicBezTo>
                      <a:pt x="10245" y="633"/>
                      <a:pt x="10245" y="633"/>
                      <a:pt x="10245" y="633"/>
                    </a:cubicBezTo>
                    <a:cubicBezTo>
                      <a:pt x="10161" y="329"/>
                      <a:pt x="10161" y="329"/>
                      <a:pt x="10161" y="329"/>
                    </a:cubicBezTo>
                    <a:cubicBezTo>
                      <a:pt x="10305" y="288"/>
                      <a:pt x="10305" y="288"/>
                      <a:pt x="10305" y="288"/>
                    </a:cubicBezTo>
                    <a:cubicBezTo>
                      <a:pt x="10222" y="0"/>
                      <a:pt x="10222" y="0"/>
                      <a:pt x="10222" y="0"/>
                    </a:cubicBezTo>
                    <a:cubicBezTo>
                      <a:pt x="10206" y="0"/>
                      <a:pt x="10206" y="0"/>
                      <a:pt x="10206" y="0"/>
                    </a:cubicBezTo>
                    <a:lnTo>
                      <a:pt x="10286" y="278"/>
                    </a:lnTo>
                    <a:close/>
                    <a:moveTo>
                      <a:pt x="156" y="403"/>
                    </a:moveTo>
                    <a:cubicBezTo>
                      <a:pt x="60" y="238"/>
                      <a:pt x="60" y="238"/>
                      <a:pt x="60" y="238"/>
                    </a:cubicBezTo>
                    <a:cubicBezTo>
                      <a:pt x="65" y="235"/>
                      <a:pt x="65" y="235"/>
                      <a:pt x="65" y="235"/>
                    </a:cubicBezTo>
                    <a:cubicBezTo>
                      <a:pt x="134" y="195"/>
                      <a:pt x="134" y="195"/>
                      <a:pt x="134" y="195"/>
                    </a:cubicBezTo>
                    <a:cubicBezTo>
                      <a:pt x="158" y="235"/>
                      <a:pt x="158" y="235"/>
                      <a:pt x="158" y="235"/>
                    </a:cubicBezTo>
                    <a:cubicBezTo>
                      <a:pt x="207" y="206"/>
                      <a:pt x="207" y="206"/>
                      <a:pt x="207" y="206"/>
                    </a:cubicBezTo>
                    <a:cubicBezTo>
                      <a:pt x="256" y="290"/>
                      <a:pt x="256" y="290"/>
                      <a:pt x="256" y="290"/>
                    </a:cubicBezTo>
                    <a:cubicBezTo>
                      <a:pt x="207" y="319"/>
                      <a:pt x="207" y="319"/>
                      <a:pt x="207" y="319"/>
                    </a:cubicBezTo>
                    <a:cubicBezTo>
                      <a:pt x="230" y="359"/>
                      <a:pt x="230" y="359"/>
                      <a:pt x="230" y="359"/>
                    </a:cubicBezTo>
                    <a:lnTo>
                      <a:pt x="156" y="403"/>
                    </a:lnTo>
                    <a:close/>
                    <a:moveTo>
                      <a:pt x="78" y="243"/>
                    </a:moveTo>
                    <a:cubicBezTo>
                      <a:pt x="161" y="385"/>
                      <a:pt x="161" y="385"/>
                      <a:pt x="161" y="385"/>
                    </a:cubicBezTo>
                    <a:cubicBezTo>
                      <a:pt x="212" y="355"/>
                      <a:pt x="212" y="355"/>
                      <a:pt x="212" y="355"/>
                    </a:cubicBezTo>
                    <a:cubicBezTo>
                      <a:pt x="189" y="314"/>
                      <a:pt x="189" y="314"/>
                      <a:pt x="189" y="314"/>
                    </a:cubicBezTo>
                    <a:cubicBezTo>
                      <a:pt x="238" y="285"/>
                      <a:pt x="238" y="285"/>
                      <a:pt x="238" y="285"/>
                    </a:cubicBezTo>
                    <a:cubicBezTo>
                      <a:pt x="203" y="224"/>
                      <a:pt x="203" y="224"/>
                      <a:pt x="203" y="224"/>
                    </a:cubicBezTo>
                    <a:cubicBezTo>
                      <a:pt x="153" y="253"/>
                      <a:pt x="153" y="253"/>
                      <a:pt x="153" y="253"/>
                    </a:cubicBezTo>
                    <a:cubicBezTo>
                      <a:pt x="129" y="213"/>
                      <a:pt x="129" y="213"/>
                      <a:pt x="129" y="213"/>
                    </a:cubicBezTo>
                    <a:lnTo>
                      <a:pt x="78" y="243"/>
                    </a:lnTo>
                    <a:close/>
                    <a:moveTo>
                      <a:pt x="4359" y="10714"/>
                    </a:moveTo>
                    <a:cubicBezTo>
                      <a:pt x="4353" y="10801"/>
                      <a:pt x="4353" y="10801"/>
                      <a:pt x="4353" y="10801"/>
                    </a:cubicBezTo>
                    <a:cubicBezTo>
                      <a:pt x="4366" y="10801"/>
                      <a:pt x="4366" y="10801"/>
                      <a:pt x="4366" y="10801"/>
                    </a:cubicBezTo>
                    <a:cubicBezTo>
                      <a:pt x="4371" y="10727"/>
                      <a:pt x="4371" y="10727"/>
                      <a:pt x="4371" y="10727"/>
                    </a:cubicBezTo>
                    <a:cubicBezTo>
                      <a:pt x="4493" y="10737"/>
                      <a:pt x="4493" y="10737"/>
                      <a:pt x="4493" y="10737"/>
                    </a:cubicBezTo>
                    <a:cubicBezTo>
                      <a:pt x="4488" y="10801"/>
                      <a:pt x="4488" y="10801"/>
                      <a:pt x="4488" y="10801"/>
                    </a:cubicBezTo>
                    <a:cubicBezTo>
                      <a:pt x="4501" y="10801"/>
                      <a:pt x="4501" y="10801"/>
                      <a:pt x="4501" y="10801"/>
                    </a:cubicBezTo>
                    <a:cubicBezTo>
                      <a:pt x="4507" y="10725"/>
                      <a:pt x="4507" y="10725"/>
                      <a:pt x="4507" y="10725"/>
                    </a:cubicBezTo>
                    <a:lnTo>
                      <a:pt x="4359" y="10714"/>
                    </a:lnTo>
                    <a:close/>
                    <a:moveTo>
                      <a:pt x="3285" y="9126"/>
                    </a:moveTo>
                    <a:cubicBezTo>
                      <a:pt x="3282" y="9010"/>
                      <a:pt x="3282" y="9010"/>
                      <a:pt x="3282" y="9010"/>
                    </a:cubicBezTo>
                    <a:cubicBezTo>
                      <a:pt x="3399" y="9009"/>
                      <a:pt x="3399" y="9009"/>
                      <a:pt x="3399" y="9009"/>
                    </a:cubicBezTo>
                    <a:cubicBezTo>
                      <a:pt x="3400" y="9020"/>
                      <a:pt x="3400" y="9020"/>
                      <a:pt x="3400" y="9020"/>
                    </a:cubicBezTo>
                    <a:cubicBezTo>
                      <a:pt x="3452" y="9019"/>
                      <a:pt x="3452" y="9019"/>
                      <a:pt x="3452" y="9019"/>
                    </a:cubicBezTo>
                    <a:cubicBezTo>
                      <a:pt x="3453" y="9205"/>
                      <a:pt x="3453" y="9205"/>
                      <a:pt x="3453" y="9205"/>
                    </a:cubicBezTo>
                    <a:cubicBezTo>
                      <a:pt x="3343" y="9206"/>
                      <a:pt x="3343" y="9206"/>
                      <a:pt x="3343" y="9206"/>
                    </a:cubicBezTo>
                    <a:cubicBezTo>
                      <a:pt x="3343" y="9132"/>
                      <a:pt x="3343" y="9132"/>
                      <a:pt x="3343" y="9132"/>
                    </a:cubicBezTo>
                    <a:cubicBezTo>
                      <a:pt x="3286" y="9133"/>
                      <a:pt x="3286" y="9133"/>
                      <a:pt x="3286" y="9133"/>
                    </a:cubicBezTo>
                    <a:lnTo>
                      <a:pt x="3285" y="9126"/>
                    </a:lnTo>
                    <a:close/>
                    <a:moveTo>
                      <a:pt x="3295" y="9023"/>
                    </a:moveTo>
                    <a:cubicBezTo>
                      <a:pt x="3298" y="9120"/>
                      <a:pt x="3298" y="9120"/>
                      <a:pt x="3298" y="9120"/>
                    </a:cubicBezTo>
                    <a:cubicBezTo>
                      <a:pt x="3356" y="9119"/>
                      <a:pt x="3356" y="9119"/>
                      <a:pt x="3356" y="9119"/>
                    </a:cubicBezTo>
                    <a:cubicBezTo>
                      <a:pt x="3356" y="9192"/>
                      <a:pt x="3356" y="9192"/>
                      <a:pt x="3356" y="9192"/>
                    </a:cubicBezTo>
                    <a:cubicBezTo>
                      <a:pt x="3440" y="9192"/>
                      <a:pt x="3440" y="9192"/>
                      <a:pt x="3440" y="9192"/>
                    </a:cubicBezTo>
                    <a:cubicBezTo>
                      <a:pt x="3439" y="9033"/>
                      <a:pt x="3439" y="9033"/>
                      <a:pt x="3439" y="9033"/>
                    </a:cubicBezTo>
                    <a:cubicBezTo>
                      <a:pt x="3387" y="9033"/>
                      <a:pt x="3387" y="9033"/>
                      <a:pt x="3387" y="9033"/>
                    </a:cubicBezTo>
                    <a:cubicBezTo>
                      <a:pt x="3386" y="9022"/>
                      <a:pt x="3386" y="9022"/>
                      <a:pt x="3386" y="9022"/>
                    </a:cubicBezTo>
                    <a:lnTo>
                      <a:pt x="3295" y="9023"/>
                    </a:lnTo>
                    <a:close/>
                    <a:moveTo>
                      <a:pt x="5868" y="6895"/>
                    </a:moveTo>
                    <a:cubicBezTo>
                      <a:pt x="5787" y="7116"/>
                      <a:pt x="5787" y="7116"/>
                      <a:pt x="5787" y="7116"/>
                    </a:cubicBezTo>
                    <a:cubicBezTo>
                      <a:pt x="5631" y="6996"/>
                      <a:pt x="5631" y="6996"/>
                      <a:pt x="5631" y="6996"/>
                    </a:cubicBezTo>
                    <a:cubicBezTo>
                      <a:pt x="5720" y="6817"/>
                      <a:pt x="5720" y="6817"/>
                      <a:pt x="5720" y="6817"/>
                    </a:cubicBezTo>
                    <a:cubicBezTo>
                      <a:pt x="5801" y="6768"/>
                      <a:pt x="5801" y="6768"/>
                      <a:pt x="5801" y="6768"/>
                    </a:cubicBezTo>
                    <a:cubicBezTo>
                      <a:pt x="6174" y="6770"/>
                      <a:pt x="6174" y="6770"/>
                      <a:pt x="6174" y="6770"/>
                    </a:cubicBezTo>
                    <a:cubicBezTo>
                      <a:pt x="6173" y="6779"/>
                      <a:pt x="6173" y="6779"/>
                      <a:pt x="6173" y="6779"/>
                    </a:cubicBezTo>
                    <a:cubicBezTo>
                      <a:pt x="6124" y="7005"/>
                      <a:pt x="6124" y="7005"/>
                      <a:pt x="6124" y="7005"/>
                    </a:cubicBezTo>
                    <a:lnTo>
                      <a:pt x="5868" y="6895"/>
                    </a:lnTo>
                    <a:close/>
                    <a:moveTo>
                      <a:pt x="5859" y="6875"/>
                    </a:moveTo>
                    <a:cubicBezTo>
                      <a:pt x="6113" y="6984"/>
                      <a:pt x="6113" y="6984"/>
                      <a:pt x="6113" y="6984"/>
                    </a:cubicBezTo>
                    <a:cubicBezTo>
                      <a:pt x="6156" y="6785"/>
                      <a:pt x="6156" y="6785"/>
                      <a:pt x="6156" y="6785"/>
                    </a:cubicBezTo>
                    <a:cubicBezTo>
                      <a:pt x="5805" y="6783"/>
                      <a:pt x="5805" y="6783"/>
                      <a:pt x="5805" y="6783"/>
                    </a:cubicBezTo>
                    <a:cubicBezTo>
                      <a:pt x="5731" y="6827"/>
                      <a:pt x="5731" y="6827"/>
                      <a:pt x="5731" y="6827"/>
                    </a:cubicBezTo>
                    <a:cubicBezTo>
                      <a:pt x="5649" y="6991"/>
                      <a:pt x="5649" y="6991"/>
                      <a:pt x="5649" y="6991"/>
                    </a:cubicBezTo>
                    <a:cubicBezTo>
                      <a:pt x="5780" y="7092"/>
                      <a:pt x="5780" y="7092"/>
                      <a:pt x="5780" y="7092"/>
                    </a:cubicBezTo>
                    <a:lnTo>
                      <a:pt x="5859" y="6875"/>
                    </a:lnTo>
                    <a:close/>
                    <a:moveTo>
                      <a:pt x="5529" y="6759"/>
                    </a:moveTo>
                    <a:cubicBezTo>
                      <a:pt x="5116" y="6879"/>
                      <a:pt x="5116" y="6879"/>
                      <a:pt x="5116" y="6879"/>
                    </a:cubicBezTo>
                    <a:cubicBezTo>
                      <a:pt x="5096" y="6823"/>
                      <a:pt x="5096" y="6823"/>
                      <a:pt x="5096" y="6823"/>
                    </a:cubicBezTo>
                    <a:cubicBezTo>
                      <a:pt x="5370" y="6704"/>
                      <a:pt x="5370" y="6704"/>
                      <a:pt x="5370" y="6704"/>
                    </a:cubicBezTo>
                    <a:cubicBezTo>
                      <a:pt x="5425" y="6575"/>
                      <a:pt x="5425" y="6575"/>
                      <a:pt x="5425" y="6575"/>
                    </a:cubicBezTo>
                    <a:cubicBezTo>
                      <a:pt x="5486" y="6580"/>
                      <a:pt x="5486" y="6580"/>
                      <a:pt x="5486" y="6580"/>
                    </a:cubicBezTo>
                    <a:cubicBezTo>
                      <a:pt x="5487" y="6585"/>
                      <a:pt x="5487" y="6585"/>
                      <a:pt x="5487" y="6585"/>
                    </a:cubicBezTo>
                    <a:lnTo>
                      <a:pt x="5529" y="6759"/>
                    </a:lnTo>
                    <a:close/>
                    <a:moveTo>
                      <a:pt x="5125" y="6861"/>
                    </a:moveTo>
                    <a:cubicBezTo>
                      <a:pt x="5511" y="6749"/>
                      <a:pt x="5511" y="6749"/>
                      <a:pt x="5511" y="6749"/>
                    </a:cubicBezTo>
                    <a:cubicBezTo>
                      <a:pt x="5474" y="6594"/>
                      <a:pt x="5474" y="6594"/>
                      <a:pt x="5474" y="6594"/>
                    </a:cubicBezTo>
                    <a:cubicBezTo>
                      <a:pt x="5434" y="6591"/>
                      <a:pt x="5434" y="6591"/>
                      <a:pt x="5434" y="6591"/>
                    </a:cubicBezTo>
                    <a:cubicBezTo>
                      <a:pt x="5381" y="6715"/>
                      <a:pt x="5381" y="6715"/>
                      <a:pt x="5381" y="6715"/>
                    </a:cubicBezTo>
                    <a:cubicBezTo>
                      <a:pt x="5115" y="6831"/>
                      <a:pt x="5115" y="6831"/>
                      <a:pt x="5115" y="6831"/>
                    </a:cubicBezTo>
                    <a:lnTo>
                      <a:pt x="5125" y="6861"/>
                    </a:lnTo>
                    <a:close/>
                    <a:moveTo>
                      <a:pt x="5161" y="7083"/>
                    </a:moveTo>
                    <a:cubicBezTo>
                      <a:pt x="5031" y="6818"/>
                      <a:pt x="5031" y="6818"/>
                      <a:pt x="5031" y="6818"/>
                    </a:cubicBezTo>
                    <a:cubicBezTo>
                      <a:pt x="5270" y="6648"/>
                      <a:pt x="5270" y="6648"/>
                      <a:pt x="5270" y="6648"/>
                    </a:cubicBezTo>
                    <a:cubicBezTo>
                      <a:pt x="5385" y="6401"/>
                      <a:pt x="5385" y="6401"/>
                      <a:pt x="5385" y="6401"/>
                    </a:cubicBezTo>
                    <a:cubicBezTo>
                      <a:pt x="5633" y="6446"/>
                      <a:pt x="5633" y="6446"/>
                      <a:pt x="5633" y="6446"/>
                    </a:cubicBezTo>
                    <a:cubicBezTo>
                      <a:pt x="5632" y="6453"/>
                      <a:pt x="5632" y="6453"/>
                      <a:pt x="5632" y="6453"/>
                    </a:cubicBezTo>
                    <a:cubicBezTo>
                      <a:pt x="5600" y="6759"/>
                      <a:pt x="5600" y="6759"/>
                      <a:pt x="5600" y="6759"/>
                    </a:cubicBezTo>
                    <a:lnTo>
                      <a:pt x="5161" y="7083"/>
                    </a:lnTo>
                    <a:close/>
                    <a:moveTo>
                      <a:pt x="5050" y="6823"/>
                    </a:moveTo>
                    <a:cubicBezTo>
                      <a:pt x="5166" y="7061"/>
                      <a:pt x="5166" y="7061"/>
                      <a:pt x="5166" y="7061"/>
                    </a:cubicBezTo>
                    <a:cubicBezTo>
                      <a:pt x="5586" y="6751"/>
                      <a:pt x="5586" y="6751"/>
                      <a:pt x="5586" y="6751"/>
                    </a:cubicBezTo>
                    <a:cubicBezTo>
                      <a:pt x="5617" y="6458"/>
                      <a:pt x="5617" y="6458"/>
                      <a:pt x="5617" y="6458"/>
                    </a:cubicBezTo>
                    <a:cubicBezTo>
                      <a:pt x="5394" y="6418"/>
                      <a:pt x="5394" y="6418"/>
                      <a:pt x="5394" y="6418"/>
                    </a:cubicBezTo>
                    <a:cubicBezTo>
                      <a:pt x="5281" y="6658"/>
                      <a:pt x="5281" y="6658"/>
                      <a:pt x="5281" y="6658"/>
                    </a:cubicBezTo>
                    <a:lnTo>
                      <a:pt x="5050" y="6823"/>
                    </a:lnTo>
                    <a:close/>
                    <a:moveTo>
                      <a:pt x="3604" y="3033"/>
                    </a:moveTo>
                    <a:cubicBezTo>
                      <a:pt x="3651" y="3018"/>
                      <a:pt x="3651" y="3018"/>
                      <a:pt x="3651" y="3018"/>
                    </a:cubicBezTo>
                    <a:cubicBezTo>
                      <a:pt x="3648" y="3007"/>
                      <a:pt x="3648" y="3007"/>
                      <a:pt x="3648" y="3007"/>
                    </a:cubicBezTo>
                    <a:cubicBezTo>
                      <a:pt x="3645" y="3000"/>
                      <a:pt x="3645" y="3000"/>
                      <a:pt x="3645" y="3000"/>
                    </a:cubicBezTo>
                    <a:cubicBezTo>
                      <a:pt x="3737" y="2970"/>
                      <a:pt x="3737" y="2970"/>
                      <a:pt x="3737" y="2970"/>
                    </a:cubicBezTo>
                    <a:cubicBezTo>
                      <a:pt x="3782" y="3104"/>
                      <a:pt x="3782" y="3104"/>
                      <a:pt x="3782" y="3104"/>
                    </a:cubicBezTo>
                    <a:cubicBezTo>
                      <a:pt x="3712" y="3127"/>
                      <a:pt x="3712" y="3127"/>
                      <a:pt x="3712" y="3127"/>
                    </a:cubicBezTo>
                    <a:cubicBezTo>
                      <a:pt x="3736" y="3199"/>
                      <a:pt x="3736" y="3199"/>
                      <a:pt x="3736" y="3199"/>
                    </a:cubicBezTo>
                    <a:cubicBezTo>
                      <a:pt x="3664" y="3223"/>
                      <a:pt x="3664" y="3223"/>
                      <a:pt x="3664" y="3223"/>
                    </a:cubicBezTo>
                    <a:cubicBezTo>
                      <a:pt x="3662" y="3216"/>
                      <a:pt x="3662" y="3216"/>
                      <a:pt x="3662" y="3216"/>
                    </a:cubicBezTo>
                    <a:lnTo>
                      <a:pt x="3604" y="3033"/>
                    </a:lnTo>
                    <a:close/>
                    <a:moveTo>
                      <a:pt x="3668" y="3026"/>
                    </a:moveTo>
                    <a:cubicBezTo>
                      <a:pt x="3621" y="3042"/>
                      <a:pt x="3621" y="3042"/>
                      <a:pt x="3621" y="3042"/>
                    </a:cubicBezTo>
                    <a:cubicBezTo>
                      <a:pt x="3672" y="3206"/>
                      <a:pt x="3672" y="3206"/>
                      <a:pt x="3672" y="3206"/>
                    </a:cubicBezTo>
                    <a:cubicBezTo>
                      <a:pt x="3719" y="3190"/>
                      <a:pt x="3719" y="3190"/>
                      <a:pt x="3719" y="3190"/>
                    </a:cubicBezTo>
                    <a:cubicBezTo>
                      <a:pt x="3696" y="3118"/>
                      <a:pt x="3696" y="3118"/>
                      <a:pt x="3696" y="3118"/>
                    </a:cubicBezTo>
                    <a:cubicBezTo>
                      <a:pt x="3765" y="3096"/>
                      <a:pt x="3765" y="3096"/>
                      <a:pt x="3765" y="3096"/>
                    </a:cubicBezTo>
                    <a:cubicBezTo>
                      <a:pt x="3729" y="2987"/>
                      <a:pt x="3729" y="2987"/>
                      <a:pt x="3729" y="2987"/>
                    </a:cubicBezTo>
                    <a:cubicBezTo>
                      <a:pt x="3662" y="3009"/>
                      <a:pt x="3662" y="3009"/>
                      <a:pt x="3662" y="3009"/>
                    </a:cubicBezTo>
                    <a:cubicBezTo>
                      <a:pt x="3666" y="3020"/>
                      <a:pt x="3666" y="3020"/>
                      <a:pt x="3666" y="3020"/>
                    </a:cubicBezTo>
                    <a:lnTo>
                      <a:pt x="3668" y="3026"/>
                    </a:lnTo>
                    <a:close/>
                    <a:moveTo>
                      <a:pt x="3123" y="3189"/>
                    </a:moveTo>
                    <a:cubicBezTo>
                      <a:pt x="3277" y="3117"/>
                      <a:pt x="3277" y="3117"/>
                      <a:pt x="3277" y="3117"/>
                    </a:cubicBezTo>
                    <a:cubicBezTo>
                      <a:pt x="3281" y="3122"/>
                      <a:pt x="3281" y="3122"/>
                      <a:pt x="3281" y="3122"/>
                    </a:cubicBezTo>
                    <a:cubicBezTo>
                      <a:pt x="3281" y="3122"/>
                      <a:pt x="3293" y="3136"/>
                      <a:pt x="3305" y="3151"/>
                    </a:cubicBezTo>
                    <a:cubicBezTo>
                      <a:pt x="3311" y="3158"/>
                      <a:pt x="3318" y="3165"/>
                      <a:pt x="3323" y="3170"/>
                    </a:cubicBezTo>
                    <a:cubicBezTo>
                      <a:pt x="3326" y="3173"/>
                      <a:pt x="3328" y="3175"/>
                      <a:pt x="3329" y="3177"/>
                    </a:cubicBezTo>
                    <a:cubicBezTo>
                      <a:pt x="3330" y="3177"/>
                      <a:pt x="3330" y="3177"/>
                      <a:pt x="3330" y="3177"/>
                    </a:cubicBezTo>
                    <a:cubicBezTo>
                      <a:pt x="3342" y="3177"/>
                      <a:pt x="3342" y="3177"/>
                      <a:pt x="3342" y="3177"/>
                    </a:cubicBezTo>
                    <a:cubicBezTo>
                      <a:pt x="3335" y="3188"/>
                      <a:pt x="3335" y="3188"/>
                      <a:pt x="3335" y="3188"/>
                    </a:cubicBezTo>
                    <a:cubicBezTo>
                      <a:pt x="3335" y="3188"/>
                      <a:pt x="3325" y="3206"/>
                      <a:pt x="3315" y="3225"/>
                    </a:cubicBezTo>
                    <a:cubicBezTo>
                      <a:pt x="3310" y="3234"/>
                      <a:pt x="3304" y="3244"/>
                      <a:pt x="3301" y="3251"/>
                    </a:cubicBezTo>
                    <a:cubicBezTo>
                      <a:pt x="3299" y="3255"/>
                      <a:pt x="3297" y="3258"/>
                      <a:pt x="3296" y="3260"/>
                    </a:cubicBezTo>
                    <a:cubicBezTo>
                      <a:pt x="3297" y="3261"/>
                      <a:pt x="3298" y="3261"/>
                      <a:pt x="3298" y="3261"/>
                    </a:cubicBezTo>
                    <a:cubicBezTo>
                      <a:pt x="3319" y="3276"/>
                      <a:pt x="3373" y="3331"/>
                      <a:pt x="3373" y="3331"/>
                    </a:cubicBezTo>
                    <a:cubicBezTo>
                      <a:pt x="3384" y="3342"/>
                      <a:pt x="3384" y="3342"/>
                      <a:pt x="3384" y="3342"/>
                    </a:cubicBezTo>
                    <a:cubicBezTo>
                      <a:pt x="3153" y="3361"/>
                      <a:pt x="3153" y="3361"/>
                      <a:pt x="3153" y="3361"/>
                    </a:cubicBezTo>
                    <a:cubicBezTo>
                      <a:pt x="3151" y="3365"/>
                      <a:pt x="3148" y="3371"/>
                      <a:pt x="3145" y="3378"/>
                    </a:cubicBezTo>
                    <a:cubicBezTo>
                      <a:pt x="3141" y="3386"/>
                      <a:pt x="3137" y="3396"/>
                      <a:pt x="3135" y="3400"/>
                    </a:cubicBezTo>
                    <a:cubicBezTo>
                      <a:pt x="3136" y="3401"/>
                      <a:pt x="3136" y="3402"/>
                      <a:pt x="3137" y="3404"/>
                    </a:cubicBezTo>
                    <a:cubicBezTo>
                      <a:pt x="3135" y="3412"/>
                      <a:pt x="3133" y="3409"/>
                      <a:pt x="3133" y="3410"/>
                    </a:cubicBezTo>
                    <a:cubicBezTo>
                      <a:pt x="3128" y="3414"/>
                      <a:pt x="3079" y="3434"/>
                      <a:pt x="3029" y="3456"/>
                    </a:cubicBezTo>
                    <a:cubicBezTo>
                      <a:pt x="3004" y="3466"/>
                      <a:pt x="2979" y="3477"/>
                      <a:pt x="2961" y="3485"/>
                    </a:cubicBezTo>
                    <a:cubicBezTo>
                      <a:pt x="2952" y="3489"/>
                      <a:pt x="2944" y="3492"/>
                      <a:pt x="2939" y="3494"/>
                    </a:cubicBezTo>
                    <a:cubicBezTo>
                      <a:pt x="2936" y="3496"/>
                      <a:pt x="2934" y="3497"/>
                      <a:pt x="2933" y="3497"/>
                    </a:cubicBezTo>
                    <a:cubicBezTo>
                      <a:pt x="2932" y="3497"/>
                      <a:pt x="2932" y="3498"/>
                      <a:pt x="2932" y="3498"/>
                    </a:cubicBezTo>
                    <a:cubicBezTo>
                      <a:pt x="2931" y="3498"/>
                      <a:pt x="2929" y="3499"/>
                      <a:pt x="2927" y="3499"/>
                    </a:cubicBezTo>
                    <a:cubicBezTo>
                      <a:pt x="2927" y="3499"/>
                      <a:pt x="2925" y="3499"/>
                      <a:pt x="2923" y="3498"/>
                    </a:cubicBezTo>
                    <a:cubicBezTo>
                      <a:pt x="2921" y="3497"/>
                      <a:pt x="2920" y="3493"/>
                      <a:pt x="2920" y="3492"/>
                    </a:cubicBezTo>
                    <a:cubicBezTo>
                      <a:pt x="2920" y="3491"/>
                      <a:pt x="2920" y="3490"/>
                      <a:pt x="2921" y="3489"/>
                    </a:cubicBezTo>
                    <a:cubicBezTo>
                      <a:pt x="2921" y="3489"/>
                      <a:pt x="2921" y="3489"/>
                      <a:pt x="2921" y="3489"/>
                    </a:cubicBezTo>
                    <a:cubicBezTo>
                      <a:pt x="2921" y="3469"/>
                      <a:pt x="2896" y="3323"/>
                      <a:pt x="2896" y="3323"/>
                    </a:cubicBezTo>
                    <a:cubicBezTo>
                      <a:pt x="2894" y="3315"/>
                      <a:pt x="2894" y="3315"/>
                      <a:pt x="2894" y="3315"/>
                    </a:cubicBezTo>
                    <a:cubicBezTo>
                      <a:pt x="3091" y="3290"/>
                      <a:pt x="3091" y="3290"/>
                      <a:pt x="3091" y="3290"/>
                    </a:cubicBezTo>
                    <a:lnTo>
                      <a:pt x="3123" y="3189"/>
                    </a:lnTo>
                    <a:close/>
                    <a:moveTo>
                      <a:pt x="3135" y="3200"/>
                    </a:moveTo>
                    <a:cubicBezTo>
                      <a:pt x="3102" y="3304"/>
                      <a:pt x="3102" y="3304"/>
                      <a:pt x="3102" y="3304"/>
                    </a:cubicBezTo>
                    <a:cubicBezTo>
                      <a:pt x="2911" y="3328"/>
                      <a:pt x="2911" y="3328"/>
                      <a:pt x="2911" y="3328"/>
                    </a:cubicBezTo>
                    <a:cubicBezTo>
                      <a:pt x="2916" y="3355"/>
                      <a:pt x="2932" y="3446"/>
                      <a:pt x="2935" y="3480"/>
                    </a:cubicBezTo>
                    <a:cubicBezTo>
                      <a:pt x="2941" y="3477"/>
                      <a:pt x="2949" y="3474"/>
                      <a:pt x="2959" y="3470"/>
                    </a:cubicBezTo>
                    <a:cubicBezTo>
                      <a:pt x="2987" y="3457"/>
                      <a:pt x="3029" y="3439"/>
                      <a:pt x="3064" y="3425"/>
                    </a:cubicBezTo>
                    <a:cubicBezTo>
                      <a:pt x="3081" y="3417"/>
                      <a:pt x="3097" y="3411"/>
                      <a:pt x="3108" y="3406"/>
                    </a:cubicBezTo>
                    <a:cubicBezTo>
                      <a:pt x="3113" y="3404"/>
                      <a:pt x="3117" y="3402"/>
                      <a:pt x="3120" y="3400"/>
                    </a:cubicBezTo>
                    <a:cubicBezTo>
                      <a:pt x="3123" y="3385"/>
                      <a:pt x="3142" y="3351"/>
                      <a:pt x="3142" y="3350"/>
                    </a:cubicBezTo>
                    <a:cubicBezTo>
                      <a:pt x="3144" y="3347"/>
                      <a:pt x="3144" y="3347"/>
                      <a:pt x="3144" y="3347"/>
                    </a:cubicBezTo>
                    <a:cubicBezTo>
                      <a:pt x="3351" y="3330"/>
                      <a:pt x="3351" y="3330"/>
                      <a:pt x="3351" y="3330"/>
                    </a:cubicBezTo>
                    <a:cubicBezTo>
                      <a:pt x="3344" y="3323"/>
                      <a:pt x="3335" y="3314"/>
                      <a:pt x="3326" y="3305"/>
                    </a:cubicBezTo>
                    <a:cubicBezTo>
                      <a:pt x="3317" y="3297"/>
                      <a:pt x="3307" y="3288"/>
                      <a:pt x="3299" y="3281"/>
                    </a:cubicBezTo>
                    <a:cubicBezTo>
                      <a:pt x="3296" y="3278"/>
                      <a:pt x="3292" y="3275"/>
                      <a:pt x="3290" y="3273"/>
                    </a:cubicBezTo>
                    <a:cubicBezTo>
                      <a:pt x="3289" y="3273"/>
                      <a:pt x="3288" y="3272"/>
                      <a:pt x="3287" y="3272"/>
                    </a:cubicBezTo>
                    <a:cubicBezTo>
                      <a:pt x="3285" y="3272"/>
                      <a:pt x="3282" y="3270"/>
                      <a:pt x="3281" y="3268"/>
                    </a:cubicBezTo>
                    <a:cubicBezTo>
                      <a:pt x="3280" y="3266"/>
                      <a:pt x="3280" y="3265"/>
                      <a:pt x="3280" y="3264"/>
                    </a:cubicBezTo>
                    <a:cubicBezTo>
                      <a:pt x="3281" y="3257"/>
                      <a:pt x="3283" y="3253"/>
                      <a:pt x="3287" y="3245"/>
                    </a:cubicBezTo>
                    <a:cubicBezTo>
                      <a:pt x="3296" y="3227"/>
                      <a:pt x="3312" y="3199"/>
                      <a:pt x="3319" y="3187"/>
                    </a:cubicBezTo>
                    <a:cubicBezTo>
                      <a:pt x="3307" y="3176"/>
                      <a:pt x="3282" y="3147"/>
                      <a:pt x="3273" y="3135"/>
                    </a:cubicBezTo>
                    <a:lnTo>
                      <a:pt x="3135" y="3200"/>
                    </a:lnTo>
                    <a:close/>
                    <a:moveTo>
                      <a:pt x="5628" y="1593"/>
                    </a:moveTo>
                    <a:cubicBezTo>
                      <a:pt x="5486" y="1568"/>
                      <a:pt x="5486" y="1568"/>
                      <a:pt x="5486" y="1568"/>
                    </a:cubicBezTo>
                    <a:cubicBezTo>
                      <a:pt x="5498" y="1498"/>
                      <a:pt x="5498" y="1498"/>
                      <a:pt x="5498" y="1498"/>
                    </a:cubicBezTo>
                    <a:cubicBezTo>
                      <a:pt x="5647" y="1524"/>
                      <a:pt x="5647" y="1524"/>
                      <a:pt x="5647" y="1524"/>
                    </a:cubicBezTo>
                    <a:cubicBezTo>
                      <a:pt x="5635" y="1594"/>
                      <a:pt x="5635" y="1594"/>
                      <a:pt x="5635" y="1594"/>
                    </a:cubicBezTo>
                    <a:lnTo>
                      <a:pt x="5628" y="1593"/>
                    </a:lnTo>
                    <a:close/>
                    <a:moveTo>
                      <a:pt x="5624" y="1580"/>
                    </a:moveTo>
                    <a:cubicBezTo>
                      <a:pt x="5632" y="1534"/>
                      <a:pt x="5632" y="1534"/>
                      <a:pt x="5632" y="1534"/>
                    </a:cubicBezTo>
                    <a:cubicBezTo>
                      <a:pt x="5508" y="1513"/>
                      <a:pt x="5508" y="1513"/>
                      <a:pt x="5508" y="1513"/>
                    </a:cubicBezTo>
                    <a:cubicBezTo>
                      <a:pt x="5500" y="1558"/>
                      <a:pt x="5500" y="1558"/>
                      <a:pt x="5500" y="1558"/>
                    </a:cubicBezTo>
                    <a:lnTo>
                      <a:pt x="5624" y="1580"/>
                    </a:lnTo>
                    <a:close/>
                    <a:moveTo>
                      <a:pt x="4475" y="7190"/>
                    </a:moveTo>
                    <a:cubicBezTo>
                      <a:pt x="4521" y="7336"/>
                      <a:pt x="4521" y="7336"/>
                      <a:pt x="4521" y="7336"/>
                    </a:cubicBezTo>
                    <a:cubicBezTo>
                      <a:pt x="4376" y="7400"/>
                      <a:pt x="4376" y="7400"/>
                      <a:pt x="4376" y="7400"/>
                    </a:cubicBezTo>
                    <a:cubicBezTo>
                      <a:pt x="4352" y="7361"/>
                      <a:pt x="4352" y="7361"/>
                      <a:pt x="4352" y="7361"/>
                    </a:cubicBezTo>
                    <a:cubicBezTo>
                      <a:pt x="4167" y="7634"/>
                      <a:pt x="4167" y="7634"/>
                      <a:pt x="4167" y="7634"/>
                    </a:cubicBezTo>
                    <a:cubicBezTo>
                      <a:pt x="4029" y="7720"/>
                      <a:pt x="4029" y="7720"/>
                      <a:pt x="4029" y="7720"/>
                    </a:cubicBezTo>
                    <a:cubicBezTo>
                      <a:pt x="3994" y="7628"/>
                      <a:pt x="3994" y="7628"/>
                      <a:pt x="3994" y="7628"/>
                    </a:cubicBezTo>
                    <a:cubicBezTo>
                      <a:pt x="4331" y="7225"/>
                      <a:pt x="4331" y="7225"/>
                      <a:pt x="4331" y="7225"/>
                    </a:cubicBezTo>
                    <a:cubicBezTo>
                      <a:pt x="4358" y="7238"/>
                      <a:pt x="4358" y="7238"/>
                      <a:pt x="4358" y="7238"/>
                    </a:cubicBezTo>
                    <a:cubicBezTo>
                      <a:pt x="4472" y="7182"/>
                      <a:pt x="4472" y="7182"/>
                      <a:pt x="4472" y="7182"/>
                    </a:cubicBezTo>
                    <a:lnTo>
                      <a:pt x="4475" y="7190"/>
                    </a:lnTo>
                    <a:close/>
                    <a:moveTo>
                      <a:pt x="4503" y="7327"/>
                    </a:moveTo>
                    <a:cubicBezTo>
                      <a:pt x="4463" y="7202"/>
                      <a:pt x="4463" y="7202"/>
                      <a:pt x="4463" y="7202"/>
                    </a:cubicBezTo>
                    <a:cubicBezTo>
                      <a:pt x="4359" y="7254"/>
                      <a:pt x="4359" y="7254"/>
                      <a:pt x="4359" y="7254"/>
                    </a:cubicBezTo>
                    <a:cubicBezTo>
                      <a:pt x="4335" y="7244"/>
                      <a:pt x="4335" y="7244"/>
                      <a:pt x="4335" y="7244"/>
                    </a:cubicBezTo>
                    <a:cubicBezTo>
                      <a:pt x="4011" y="7631"/>
                      <a:pt x="4011" y="7631"/>
                      <a:pt x="4011" y="7631"/>
                    </a:cubicBezTo>
                    <a:cubicBezTo>
                      <a:pt x="4037" y="7698"/>
                      <a:pt x="4037" y="7698"/>
                      <a:pt x="4037" y="7698"/>
                    </a:cubicBezTo>
                    <a:cubicBezTo>
                      <a:pt x="4156" y="7623"/>
                      <a:pt x="4156" y="7623"/>
                      <a:pt x="4156" y="7623"/>
                    </a:cubicBezTo>
                    <a:cubicBezTo>
                      <a:pt x="4352" y="7334"/>
                      <a:pt x="4352" y="7334"/>
                      <a:pt x="4352" y="7334"/>
                    </a:cubicBezTo>
                    <a:cubicBezTo>
                      <a:pt x="4382" y="7381"/>
                      <a:pt x="4382" y="7381"/>
                      <a:pt x="4382" y="7381"/>
                    </a:cubicBezTo>
                    <a:lnTo>
                      <a:pt x="4503" y="7327"/>
                    </a:lnTo>
                    <a:close/>
                    <a:moveTo>
                      <a:pt x="5486" y="1381"/>
                    </a:moveTo>
                    <a:cubicBezTo>
                      <a:pt x="5635" y="1407"/>
                      <a:pt x="5635" y="1407"/>
                      <a:pt x="5635" y="1407"/>
                    </a:cubicBezTo>
                    <a:cubicBezTo>
                      <a:pt x="5623" y="1477"/>
                      <a:pt x="5623" y="1477"/>
                      <a:pt x="5623" y="1477"/>
                    </a:cubicBezTo>
                    <a:cubicBezTo>
                      <a:pt x="5617" y="1476"/>
                      <a:pt x="5617" y="1476"/>
                      <a:pt x="5617" y="1476"/>
                    </a:cubicBezTo>
                    <a:cubicBezTo>
                      <a:pt x="5474" y="1451"/>
                      <a:pt x="5474" y="1451"/>
                      <a:pt x="5474" y="1451"/>
                    </a:cubicBezTo>
                    <a:lnTo>
                      <a:pt x="5486" y="1381"/>
                    </a:lnTo>
                    <a:close/>
                    <a:moveTo>
                      <a:pt x="5489" y="1441"/>
                    </a:moveTo>
                    <a:cubicBezTo>
                      <a:pt x="5613" y="1463"/>
                      <a:pt x="5613" y="1463"/>
                      <a:pt x="5613" y="1463"/>
                    </a:cubicBezTo>
                    <a:cubicBezTo>
                      <a:pt x="5620" y="1417"/>
                      <a:pt x="5620" y="1417"/>
                      <a:pt x="5620" y="1417"/>
                    </a:cubicBezTo>
                    <a:cubicBezTo>
                      <a:pt x="5497" y="1396"/>
                      <a:pt x="5497" y="1396"/>
                      <a:pt x="5497" y="1396"/>
                    </a:cubicBezTo>
                    <a:lnTo>
                      <a:pt x="5489" y="1441"/>
                    </a:lnTo>
                    <a:close/>
                    <a:moveTo>
                      <a:pt x="4628" y="7392"/>
                    </a:moveTo>
                    <a:cubicBezTo>
                      <a:pt x="4593" y="7245"/>
                      <a:pt x="4593" y="7245"/>
                      <a:pt x="4593" y="7245"/>
                    </a:cubicBezTo>
                    <a:cubicBezTo>
                      <a:pt x="4881" y="7123"/>
                      <a:pt x="4881" y="7123"/>
                      <a:pt x="4881" y="7123"/>
                    </a:cubicBezTo>
                    <a:cubicBezTo>
                      <a:pt x="4893" y="7036"/>
                      <a:pt x="4893" y="7036"/>
                      <a:pt x="4893" y="7036"/>
                    </a:cubicBezTo>
                    <a:cubicBezTo>
                      <a:pt x="4984" y="7004"/>
                      <a:pt x="4984" y="7004"/>
                      <a:pt x="4984" y="7004"/>
                    </a:cubicBezTo>
                    <a:cubicBezTo>
                      <a:pt x="4988" y="7008"/>
                      <a:pt x="4988" y="7008"/>
                      <a:pt x="4988" y="7008"/>
                    </a:cubicBezTo>
                    <a:cubicBezTo>
                      <a:pt x="5039" y="7074"/>
                      <a:pt x="5039" y="7074"/>
                      <a:pt x="5039" y="7074"/>
                    </a:cubicBezTo>
                    <a:cubicBezTo>
                      <a:pt x="4963" y="7115"/>
                      <a:pt x="4963" y="7115"/>
                      <a:pt x="4963" y="7115"/>
                    </a:cubicBezTo>
                    <a:cubicBezTo>
                      <a:pt x="4964" y="7189"/>
                      <a:pt x="4964" y="7189"/>
                      <a:pt x="4964" y="7189"/>
                    </a:cubicBezTo>
                    <a:lnTo>
                      <a:pt x="4628" y="7392"/>
                    </a:lnTo>
                    <a:close/>
                    <a:moveTo>
                      <a:pt x="4610" y="7254"/>
                    </a:moveTo>
                    <a:cubicBezTo>
                      <a:pt x="4638" y="7369"/>
                      <a:pt x="4638" y="7369"/>
                      <a:pt x="4638" y="7369"/>
                    </a:cubicBezTo>
                    <a:cubicBezTo>
                      <a:pt x="4949" y="7181"/>
                      <a:pt x="4949" y="7181"/>
                      <a:pt x="4949" y="7181"/>
                    </a:cubicBezTo>
                    <a:cubicBezTo>
                      <a:pt x="4949" y="7106"/>
                      <a:pt x="4949" y="7106"/>
                      <a:pt x="4949" y="7106"/>
                    </a:cubicBezTo>
                    <a:cubicBezTo>
                      <a:pt x="5016" y="7070"/>
                      <a:pt x="5016" y="7070"/>
                      <a:pt x="5016" y="7070"/>
                    </a:cubicBezTo>
                    <a:cubicBezTo>
                      <a:pt x="4979" y="7021"/>
                      <a:pt x="4979" y="7021"/>
                      <a:pt x="4979" y="7021"/>
                    </a:cubicBezTo>
                    <a:cubicBezTo>
                      <a:pt x="4906" y="7047"/>
                      <a:pt x="4906" y="7047"/>
                      <a:pt x="4906" y="7047"/>
                    </a:cubicBezTo>
                    <a:cubicBezTo>
                      <a:pt x="4895" y="7133"/>
                      <a:pt x="4895" y="7133"/>
                      <a:pt x="4895" y="7133"/>
                    </a:cubicBezTo>
                    <a:lnTo>
                      <a:pt x="4610" y="7254"/>
                    </a:lnTo>
                    <a:close/>
                    <a:moveTo>
                      <a:pt x="6485" y="7099"/>
                    </a:moveTo>
                    <a:cubicBezTo>
                      <a:pt x="6602" y="7110"/>
                      <a:pt x="6602" y="7110"/>
                      <a:pt x="6602" y="7110"/>
                    </a:cubicBezTo>
                    <a:cubicBezTo>
                      <a:pt x="6587" y="7232"/>
                      <a:pt x="6587" y="7232"/>
                      <a:pt x="6587" y="7232"/>
                    </a:cubicBezTo>
                    <a:cubicBezTo>
                      <a:pt x="6581" y="7231"/>
                      <a:pt x="6581" y="7231"/>
                      <a:pt x="6581" y="7231"/>
                    </a:cubicBezTo>
                    <a:cubicBezTo>
                      <a:pt x="6530" y="7226"/>
                      <a:pt x="6530" y="7226"/>
                      <a:pt x="6530" y="7226"/>
                    </a:cubicBezTo>
                    <a:cubicBezTo>
                      <a:pt x="6524" y="7299"/>
                      <a:pt x="6524" y="7299"/>
                      <a:pt x="6524" y="7299"/>
                    </a:cubicBezTo>
                    <a:cubicBezTo>
                      <a:pt x="6414" y="7289"/>
                      <a:pt x="6414" y="7289"/>
                      <a:pt x="6414" y="7289"/>
                    </a:cubicBezTo>
                    <a:cubicBezTo>
                      <a:pt x="6432" y="7104"/>
                      <a:pt x="6432" y="7104"/>
                      <a:pt x="6432" y="7104"/>
                    </a:cubicBezTo>
                    <a:cubicBezTo>
                      <a:pt x="6484" y="7109"/>
                      <a:pt x="6484" y="7109"/>
                      <a:pt x="6484" y="7109"/>
                    </a:cubicBezTo>
                    <a:cubicBezTo>
                      <a:pt x="6484" y="7105"/>
                      <a:pt x="6484" y="7105"/>
                      <a:pt x="6484" y="7105"/>
                    </a:cubicBezTo>
                    <a:lnTo>
                      <a:pt x="6485" y="7099"/>
                    </a:lnTo>
                    <a:close/>
                    <a:moveTo>
                      <a:pt x="6495" y="7123"/>
                    </a:moveTo>
                    <a:cubicBezTo>
                      <a:pt x="6443" y="7118"/>
                      <a:pt x="6443" y="7118"/>
                      <a:pt x="6443" y="7118"/>
                    </a:cubicBezTo>
                    <a:cubicBezTo>
                      <a:pt x="6429" y="7277"/>
                      <a:pt x="6429" y="7277"/>
                      <a:pt x="6429" y="7277"/>
                    </a:cubicBezTo>
                    <a:cubicBezTo>
                      <a:pt x="6512" y="7285"/>
                      <a:pt x="6512" y="7285"/>
                      <a:pt x="6512" y="7285"/>
                    </a:cubicBezTo>
                    <a:cubicBezTo>
                      <a:pt x="6518" y="7212"/>
                      <a:pt x="6518" y="7212"/>
                      <a:pt x="6518" y="7212"/>
                    </a:cubicBezTo>
                    <a:cubicBezTo>
                      <a:pt x="6576" y="7217"/>
                      <a:pt x="6576" y="7217"/>
                      <a:pt x="6576" y="7217"/>
                    </a:cubicBezTo>
                    <a:cubicBezTo>
                      <a:pt x="6587" y="7122"/>
                      <a:pt x="6587" y="7122"/>
                      <a:pt x="6587" y="7122"/>
                    </a:cubicBezTo>
                    <a:cubicBezTo>
                      <a:pt x="6496" y="7113"/>
                      <a:pt x="6496" y="7113"/>
                      <a:pt x="6496" y="7113"/>
                    </a:cubicBezTo>
                    <a:cubicBezTo>
                      <a:pt x="6496" y="7117"/>
                      <a:pt x="6496" y="7117"/>
                      <a:pt x="6496" y="7117"/>
                    </a:cubicBezTo>
                    <a:lnTo>
                      <a:pt x="6495" y="7123"/>
                    </a:lnTo>
                    <a:close/>
                    <a:moveTo>
                      <a:pt x="7093" y="6807"/>
                    </a:moveTo>
                    <a:cubicBezTo>
                      <a:pt x="7076" y="6916"/>
                      <a:pt x="7076" y="6916"/>
                      <a:pt x="7076" y="6916"/>
                    </a:cubicBezTo>
                    <a:cubicBezTo>
                      <a:pt x="7004" y="6905"/>
                      <a:pt x="7004" y="6905"/>
                      <a:pt x="7004" y="6905"/>
                    </a:cubicBezTo>
                    <a:cubicBezTo>
                      <a:pt x="6995" y="6961"/>
                      <a:pt x="6995" y="6961"/>
                      <a:pt x="6995" y="6961"/>
                    </a:cubicBezTo>
                    <a:cubicBezTo>
                      <a:pt x="6989" y="6960"/>
                      <a:pt x="6989" y="6960"/>
                      <a:pt x="6989" y="6960"/>
                    </a:cubicBezTo>
                    <a:cubicBezTo>
                      <a:pt x="6874" y="6946"/>
                      <a:pt x="6874" y="6946"/>
                      <a:pt x="6874" y="6946"/>
                    </a:cubicBezTo>
                    <a:cubicBezTo>
                      <a:pt x="6891" y="6829"/>
                      <a:pt x="6891" y="6829"/>
                      <a:pt x="6891" y="6829"/>
                    </a:cubicBezTo>
                    <a:cubicBezTo>
                      <a:pt x="6901" y="6831"/>
                      <a:pt x="6901" y="6831"/>
                      <a:pt x="6901" y="6831"/>
                    </a:cubicBezTo>
                    <a:cubicBezTo>
                      <a:pt x="6909" y="6779"/>
                      <a:pt x="6909" y="6779"/>
                      <a:pt x="6909" y="6779"/>
                    </a:cubicBezTo>
                    <a:lnTo>
                      <a:pt x="7093" y="6807"/>
                    </a:lnTo>
                    <a:close/>
                    <a:moveTo>
                      <a:pt x="7078" y="6818"/>
                    </a:moveTo>
                    <a:cubicBezTo>
                      <a:pt x="6920" y="6794"/>
                      <a:pt x="6920" y="6794"/>
                      <a:pt x="6920" y="6794"/>
                    </a:cubicBezTo>
                    <a:cubicBezTo>
                      <a:pt x="6913" y="6846"/>
                      <a:pt x="6913" y="6846"/>
                      <a:pt x="6913" y="6846"/>
                    </a:cubicBezTo>
                    <a:cubicBezTo>
                      <a:pt x="6902" y="6844"/>
                      <a:pt x="6902" y="6844"/>
                      <a:pt x="6902" y="6844"/>
                    </a:cubicBezTo>
                    <a:cubicBezTo>
                      <a:pt x="6889" y="6935"/>
                      <a:pt x="6889" y="6935"/>
                      <a:pt x="6889" y="6935"/>
                    </a:cubicBezTo>
                    <a:cubicBezTo>
                      <a:pt x="6984" y="6947"/>
                      <a:pt x="6984" y="6947"/>
                      <a:pt x="6984" y="6947"/>
                    </a:cubicBezTo>
                    <a:cubicBezTo>
                      <a:pt x="6993" y="6890"/>
                      <a:pt x="6993" y="6890"/>
                      <a:pt x="6993" y="6890"/>
                    </a:cubicBezTo>
                    <a:cubicBezTo>
                      <a:pt x="7065" y="6901"/>
                      <a:pt x="7065" y="6901"/>
                      <a:pt x="7065" y="6901"/>
                    </a:cubicBezTo>
                    <a:lnTo>
                      <a:pt x="7078" y="6818"/>
                    </a:lnTo>
                    <a:close/>
                    <a:moveTo>
                      <a:pt x="7009" y="7189"/>
                    </a:moveTo>
                    <a:cubicBezTo>
                      <a:pt x="7126" y="7200"/>
                      <a:pt x="7126" y="7200"/>
                      <a:pt x="7126" y="7200"/>
                    </a:cubicBezTo>
                    <a:cubicBezTo>
                      <a:pt x="7112" y="7322"/>
                      <a:pt x="7112" y="7322"/>
                      <a:pt x="7112" y="7322"/>
                    </a:cubicBezTo>
                    <a:cubicBezTo>
                      <a:pt x="7105" y="7321"/>
                      <a:pt x="7105" y="7321"/>
                      <a:pt x="7105" y="7321"/>
                    </a:cubicBezTo>
                    <a:cubicBezTo>
                      <a:pt x="7055" y="7317"/>
                      <a:pt x="7055" y="7317"/>
                      <a:pt x="7055" y="7317"/>
                    </a:cubicBezTo>
                    <a:cubicBezTo>
                      <a:pt x="7048" y="7390"/>
                      <a:pt x="7048" y="7390"/>
                      <a:pt x="7048" y="7390"/>
                    </a:cubicBezTo>
                    <a:cubicBezTo>
                      <a:pt x="6939" y="7379"/>
                      <a:pt x="6939" y="7379"/>
                      <a:pt x="6939" y="7379"/>
                    </a:cubicBezTo>
                    <a:cubicBezTo>
                      <a:pt x="6956" y="7195"/>
                      <a:pt x="6956" y="7195"/>
                      <a:pt x="6956" y="7195"/>
                    </a:cubicBezTo>
                    <a:cubicBezTo>
                      <a:pt x="7008" y="7199"/>
                      <a:pt x="7008" y="7199"/>
                      <a:pt x="7008" y="7199"/>
                    </a:cubicBezTo>
                    <a:cubicBezTo>
                      <a:pt x="7008" y="7196"/>
                      <a:pt x="7008" y="7196"/>
                      <a:pt x="7008" y="7196"/>
                    </a:cubicBezTo>
                    <a:lnTo>
                      <a:pt x="7009" y="7189"/>
                    </a:lnTo>
                    <a:close/>
                    <a:moveTo>
                      <a:pt x="7020" y="7214"/>
                    </a:moveTo>
                    <a:cubicBezTo>
                      <a:pt x="6968" y="7209"/>
                      <a:pt x="6968" y="7209"/>
                      <a:pt x="6968" y="7209"/>
                    </a:cubicBezTo>
                    <a:cubicBezTo>
                      <a:pt x="6953" y="7367"/>
                      <a:pt x="6953" y="7367"/>
                      <a:pt x="6953" y="7367"/>
                    </a:cubicBezTo>
                    <a:cubicBezTo>
                      <a:pt x="7036" y="7375"/>
                      <a:pt x="7036" y="7375"/>
                      <a:pt x="7036" y="7375"/>
                    </a:cubicBezTo>
                    <a:cubicBezTo>
                      <a:pt x="7043" y="7302"/>
                      <a:pt x="7043" y="7302"/>
                      <a:pt x="7043" y="7302"/>
                    </a:cubicBezTo>
                    <a:cubicBezTo>
                      <a:pt x="7100" y="7308"/>
                      <a:pt x="7100" y="7308"/>
                      <a:pt x="7100" y="7308"/>
                    </a:cubicBezTo>
                    <a:cubicBezTo>
                      <a:pt x="7111" y="7212"/>
                      <a:pt x="7111" y="7212"/>
                      <a:pt x="7111" y="7212"/>
                    </a:cubicBezTo>
                    <a:cubicBezTo>
                      <a:pt x="7021" y="7203"/>
                      <a:pt x="7021" y="7203"/>
                      <a:pt x="7021" y="7203"/>
                    </a:cubicBezTo>
                    <a:cubicBezTo>
                      <a:pt x="7020" y="7207"/>
                      <a:pt x="7020" y="7207"/>
                      <a:pt x="7020" y="7207"/>
                    </a:cubicBezTo>
                    <a:lnTo>
                      <a:pt x="7020" y="7214"/>
                    </a:lnTo>
                    <a:close/>
                    <a:moveTo>
                      <a:pt x="6799" y="6748"/>
                    </a:moveTo>
                    <a:cubicBezTo>
                      <a:pt x="6783" y="6856"/>
                      <a:pt x="6783" y="6856"/>
                      <a:pt x="6783" y="6856"/>
                    </a:cubicBezTo>
                    <a:cubicBezTo>
                      <a:pt x="6711" y="6845"/>
                      <a:pt x="6711" y="6845"/>
                      <a:pt x="6711" y="6845"/>
                    </a:cubicBezTo>
                    <a:cubicBezTo>
                      <a:pt x="6702" y="6902"/>
                      <a:pt x="6702" y="6902"/>
                      <a:pt x="6702" y="6902"/>
                    </a:cubicBezTo>
                    <a:cubicBezTo>
                      <a:pt x="6696" y="6901"/>
                      <a:pt x="6696" y="6901"/>
                      <a:pt x="6696" y="6901"/>
                    </a:cubicBezTo>
                    <a:cubicBezTo>
                      <a:pt x="6580" y="6886"/>
                      <a:pt x="6580" y="6886"/>
                      <a:pt x="6580" y="6886"/>
                    </a:cubicBezTo>
                    <a:cubicBezTo>
                      <a:pt x="6598" y="6770"/>
                      <a:pt x="6598" y="6770"/>
                      <a:pt x="6598" y="6770"/>
                    </a:cubicBezTo>
                    <a:cubicBezTo>
                      <a:pt x="6608" y="6772"/>
                      <a:pt x="6608" y="6772"/>
                      <a:pt x="6608" y="6772"/>
                    </a:cubicBezTo>
                    <a:cubicBezTo>
                      <a:pt x="6616" y="6720"/>
                      <a:pt x="6616" y="6720"/>
                      <a:pt x="6616" y="6720"/>
                    </a:cubicBezTo>
                    <a:lnTo>
                      <a:pt x="6799" y="6748"/>
                    </a:lnTo>
                    <a:close/>
                    <a:moveTo>
                      <a:pt x="6785" y="6759"/>
                    </a:moveTo>
                    <a:cubicBezTo>
                      <a:pt x="6627" y="6735"/>
                      <a:pt x="6627" y="6735"/>
                      <a:pt x="6627" y="6735"/>
                    </a:cubicBezTo>
                    <a:cubicBezTo>
                      <a:pt x="6619" y="6787"/>
                      <a:pt x="6619" y="6787"/>
                      <a:pt x="6619" y="6787"/>
                    </a:cubicBezTo>
                    <a:cubicBezTo>
                      <a:pt x="6609" y="6785"/>
                      <a:pt x="6609" y="6785"/>
                      <a:pt x="6609" y="6785"/>
                    </a:cubicBezTo>
                    <a:cubicBezTo>
                      <a:pt x="6595" y="6875"/>
                      <a:pt x="6595" y="6875"/>
                      <a:pt x="6595" y="6875"/>
                    </a:cubicBezTo>
                    <a:cubicBezTo>
                      <a:pt x="6691" y="6887"/>
                      <a:pt x="6691" y="6887"/>
                      <a:pt x="6691" y="6887"/>
                    </a:cubicBezTo>
                    <a:cubicBezTo>
                      <a:pt x="6700" y="6830"/>
                      <a:pt x="6700" y="6830"/>
                      <a:pt x="6700" y="6830"/>
                    </a:cubicBezTo>
                    <a:cubicBezTo>
                      <a:pt x="6772" y="6841"/>
                      <a:pt x="6772" y="6841"/>
                      <a:pt x="6772" y="6841"/>
                    </a:cubicBezTo>
                    <a:lnTo>
                      <a:pt x="6785" y="6759"/>
                    </a:lnTo>
                    <a:close/>
                    <a:moveTo>
                      <a:pt x="6770" y="7091"/>
                    </a:moveTo>
                    <a:cubicBezTo>
                      <a:pt x="6887" y="7102"/>
                      <a:pt x="6887" y="7102"/>
                      <a:pt x="6887" y="7102"/>
                    </a:cubicBezTo>
                    <a:cubicBezTo>
                      <a:pt x="6873" y="7224"/>
                      <a:pt x="6873" y="7224"/>
                      <a:pt x="6873" y="7224"/>
                    </a:cubicBezTo>
                    <a:cubicBezTo>
                      <a:pt x="6866" y="7223"/>
                      <a:pt x="6866" y="7223"/>
                      <a:pt x="6866" y="7223"/>
                    </a:cubicBezTo>
                    <a:cubicBezTo>
                      <a:pt x="6816" y="7219"/>
                      <a:pt x="6816" y="7219"/>
                      <a:pt x="6816" y="7219"/>
                    </a:cubicBezTo>
                    <a:cubicBezTo>
                      <a:pt x="6809" y="7291"/>
                      <a:pt x="6809" y="7291"/>
                      <a:pt x="6809" y="7291"/>
                    </a:cubicBezTo>
                    <a:cubicBezTo>
                      <a:pt x="6700" y="7281"/>
                      <a:pt x="6700" y="7281"/>
                      <a:pt x="6700" y="7281"/>
                    </a:cubicBezTo>
                    <a:cubicBezTo>
                      <a:pt x="6717" y="7096"/>
                      <a:pt x="6717" y="7096"/>
                      <a:pt x="6717" y="7096"/>
                    </a:cubicBezTo>
                    <a:cubicBezTo>
                      <a:pt x="6769" y="7101"/>
                      <a:pt x="6769" y="7101"/>
                      <a:pt x="6769" y="7101"/>
                    </a:cubicBezTo>
                    <a:cubicBezTo>
                      <a:pt x="6769" y="7097"/>
                      <a:pt x="6769" y="7097"/>
                      <a:pt x="6769" y="7097"/>
                    </a:cubicBezTo>
                    <a:lnTo>
                      <a:pt x="6770" y="7091"/>
                    </a:lnTo>
                    <a:close/>
                    <a:moveTo>
                      <a:pt x="6781" y="7116"/>
                    </a:moveTo>
                    <a:cubicBezTo>
                      <a:pt x="6729" y="7111"/>
                      <a:pt x="6729" y="7111"/>
                      <a:pt x="6729" y="7111"/>
                    </a:cubicBezTo>
                    <a:cubicBezTo>
                      <a:pt x="6714" y="7269"/>
                      <a:pt x="6714" y="7269"/>
                      <a:pt x="6714" y="7269"/>
                    </a:cubicBezTo>
                    <a:cubicBezTo>
                      <a:pt x="6797" y="7277"/>
                      <a:pt x="6797" y="7277"/>
                      <a:pt x="6797" y="7277"/>
                    </a:cubicBezTo>
                    <a:cubicBezTo>
                      <a:pt x="6804" y="7204"/>
                      <a:pt x="6804" y="7204"/>
                      <a:pt x="6804" y="7204"/>
                    </a:cubicBezTo>
                    <a:cubicBezTo>
                      <a:pt x="6861" y="7210"/>
                      <a:pt x="6861" y="7210"/>
                      <a:pt x="6861" y="7210"/>
                    </a:cubicBezTo>
                    <a:cubicBezTo>
                      <a:pt x="6873" y="7114"/>
                      <a:pt x="6873" y="7114"/>
                      <a:pt x="6873" y="7114"/>
                    </a:cubicBezTo>
                    <a:cubicBezTo>
                      <a:pt x="6782" y="7105"/>
                      <a:pt x="6782" y="7105"/>
                      <a:pt x="6782" y="7105"/>
                    </a:cubicBezTo>
                    <a:cubicBezTo>
                      <a:pt x="6781" y="7109"/>
                      <a:pt x="6781" y="7109"/>
                      <a:pt x="6781" y="7109"/>
                    </a:cubicBezTo>
                    <a:lnTo>
                      <a:pt x="6781" y="7116"/>
                    </a:lnTo>
                    <a:close/>
                    <a:moveTo>
                      <a:pt x="6475" y="7594"/>
                    </a:moveTo>
                    <a:cubicBezTo>
                      <a:pt x="6400" y="7594"/>
                      <a:pt x="6400" y="7594"/>
                      <a:pt x="6400" y="7594"/>
                    </a:cubicBezTo>
                    <a:cubicBezTo>
                      <a:pt x="6400" y="7587"/>
                      <a:pt x="6400" y="7587"/>
                      <a:pt x="6400" y="7587"/>
                    </a:cubicBezTo>
                    <a:cubicBezTo>
                      <a:pt x="6400" y="7503"/>
                      <a:pt x="6400" y="7503"/>
                      <a:pt x="6400" y="7503"/>
                    </a:cubicBezTo>
                    <a:cubicBezTo>
                      <a:pt x="6475" y="7503"/>
                      <a:pt x="6475" y="7503"/>
                      <a:pt x="6475" y="7503"/>
                    </a:cubicBezTo>
                    <a:lnTo>
                      <a:pt x="6475" y="7594"/>
                    </a:lnTo>
                    <a:close/>
                    <a:moveTo>
                      <a:pt x="6462" y="7516"/>
                    </a:moveTo>
                    <a:cubicBezTo>
                      <a:pt x="6413" y="7516"/>
                      <a:pt x="6413" y="7516"/>
                      <a:pt x="6413" y="7516"/>
                    </a:cubicBezTo>
                    <a:cubicBezTo>
                      <a:pt x="6413" y="7581"/>
                      <a:pt x="6413" y="7581"/>
                      <a:pt x="6413" y="7581"/>
                    </a:cubicBezTo>
                    <a:cubicBezTo>
                      <a:pt x="6462" y="7581"/>
                      <a:pt x="6462" y="7581"/>
                      <a:pt x="6462" y="7581"/>
                    </a:cubicBezTo>
                    <a:lnTo>
                      <a:pt x="6462" y="7516"/>
                    </a:lnTo>
                    <a:close/>
                    <a:moveTo>
                      <a:pt x="3993" y="7920"/>
                    </a:moveTo>
                    <a:cubicBezTo>
                      <a:pt x="4046" y="8011"/>
                      <a:pt x="4046" y="8011"/>
                      <a:pt x="4046" y="8011"/>
                    </a:cubicBezTo>
                    <a:cubicBezTo>
                      <a:pt x="3918" y="8085"/>
                      <a:pt x="3918" y="8085"/>
                      <a:pt x="3918" y="8085"/>
                    </a:cubicBezTo>
                    <a:cubicBezTo>
                      <a:pt x="3915" y="8079"/>
                      <a:pt x="3915" y="8079"/>
                      <a:pt x="3915" y="8079"/>
                    </a:cubicBezTo>
                    <a:cubicBezTo>
                      <a:pt x="3865" y="7995"/>
                      <a:pt x="3865" y="7995"/>
                      <a:pt x="3865" y="7995"/>
                    </a:cubicBezTo>
                    <a:lnTo>
                      <a:pt x="3993" y="7920"/>
                    </a:lnTo>
                    <a:close/>
                    <a:moveTo>
                      <a:pt x="4028" y="8006"/>
                    </a:moveTo>
                    <a:cubicBezTo>
                      <a:pt x="3989" y="7938"/>
                      <a:pt x="3989" y="7938"/>
                      <a:pt x="3989" y="7938"/>
                    </a:cubicBezTo>
                    <a:cubicBezTo>
                      <a:pt x="3883" y="7999"/>
                      <a:pt x="3883" y="7999"/>
                      <a:pt x="3883" y="7999"/>
                    </a:cubicBezTo>
                    <a:cubicBezTo>
                      <a:pt x="3922" y="8067"/>
                      <a:pt x="3922" y="8067"/>
                      <a:pt x="3922" y="8067"/>
                    </a:cubicBezTo>
                    <a:lnTo>
                      <a:pt x="4028" y="8006"/>
                    </a:lnTo>
                    <a:close/>
                    <a:moveTo>
                      <a:pt x="6105" y="7054"/>
                    </a:moveTo>
                    <a:cubicBezTo>
                      <a:pt x="6025" y="7311"/>
                      <a:pt x="6025" y="7311"/>
                      <a:pt x="6025" y="7311"/>
                    </a:cubicBezTo>
                    <a:cubicBezTo>
                      <a:pt x="5812" y="7138"/>
                      <a:pt x="5812" y="7138"/>
                      <a:pt x="5812" y="7138"/>
                    </a:cubicBezTo>
                    <a:cubicBezTo>
                      <a:pt x="5886" y="6939"/>
                      <a:pt x="5886" y="6939"/>
                      <a:pt x="5886" y="6939"/>
                    </a:cubicBezTo>
                    <a:cubicBezTo>
                      <a:pt x="6107" y="7048"/>
                      <a:pt x="6107" y="7048"/>
                      <a:pt x="6107" y="7048"/>
                    </a:cubicBezTo>
                    <a:lnTo>
                      <a:pt x="6105" y="7054"/>
                    </a:lnTo>
                    <a:close/>
                    <a:moveTo>
                      <a:pt x="6089" y="7056"/>
                    </a:moveTo>
                    <a:cubicBezTo>
                      <a:pt x="5894" y="6959"/>
                      <a:pt x="5894" y="6959"/>
                      <a:pt x="5894" y="6959"/>
                    </a:cubicBezTo>
                    <a:cubicBezTo>
                      <a:pt x="5830" y="7133"/>
                      <a:pt x="5830" y="7133"/>
                      <a:pt x="5830" y="7133"/>
                    </a:cubicBezTo>
                    <a:cubicBezTo>
                      <a:pt x="6017" y="7286"/>
                      <a:pt x="6017" y="7286"/>
                      <a:pt x="6017" y="7286"/>
                    </a:cubicBezTo>
                    <a:lnTo>
                      <a:pt x="6089" y="7056"/>
                    </a:lnTo>
                    <a:close/>
                    <a:moveTo>
                      <a:pt x="5878" y="7121"/>
                    </a:moveTo>
                    <a:cubicBezTo>
                      <a:pt x="5914" y="7016"/>
                      <a:pt x="5914" y="7016"/>
                      <a:pt x="5914" y="7016"/>
                    </a:cubicBezTo>
                    <a:cubicBezTo>
                      <a:pt x="6033" y="7082"/>
                      <a:pt x="6033" y="7082"/>
                      <a:pt x="6033" y="7082"/>
                    </a:cubicBezTo>
                    <a:cubicBezTo>
                      <a:pt x="6030" y="7088"/>
                      <a:pt x="6030" y="7088"/>
                      <a:pt x="6030" y="7088"/>
                    </a:cubicBezTo>
                    <a:cubicBezTo>
                      <a:pt x="5996" y="7162"/>
                      <a:pt x="5996" y="7162"/>
                      <a:pt x="5996" y="7162"/>
                    </a:cubicBezTo>
                    <a:lnTo>
                      <a:pt x="5878" y="7121"/>
                    </a:lnTo>
                    <a:close/>
                    <a:moveTo>
                      <a:pt x="5897" y="7112"/>
                    </a:moveTo>
                    <a:cubicBezTo>
                      <a:pt x="5988" y="7144"/>
                      <a:pt x="5988" y="7144"/>
                      <a:pt x="5988" y="7144"/>
                    </a:cubicBezTo>
                    <a:cubicBezTo>
                      <a:pt x="6014" y="7088"/>
                      <a:pt x="6014" y="7088"/>
                      <a:pt x="6014" y="7088"/>
                    </a:cubicBezTo>
                    <a:cubicBezTo>
                      <a:pt x="5922" y="7038"/>
                      <a:pt x="5922" y="7038"/>
                      <a:pt x="5922" y="7038"/>
                    </a:cubicBezTo>
                    <a:lnTo>
                      <a:pt x="5897" y="7112"/>
                    </a:lnTo>
                    <a:close/>
                    <a:moveTo>
                      <a:pt x="4358" y="7104"/>
                    </a:moveTo>
                    <a:cubicBezTo>
                      <a:pt x="4358" y="7104"/>
                      <a:pt x="4358" y="7104"/>
                      <a:pt x="4358" y="7104"/>
                    </a:cubicBezTo>
                    <a:cubicBezTo>
                      <a:pt x="4358" y="7104"/>
                      <a:pt x="4358" y="7104"/>
                      <a:pt x="4358" y="7104"/>
                    </a:cubicBezTo>
                    <a:close/>
                    <a:moveTo>
                      <a:pt x="5574" y="2257"/>
                    </a:moveTo>
                    <a:cubicBezTo>
                      <a:pt x="5431" y="2232"/>
                      <a:pt x="5431" y="2232"/>
                      <a:pt x="5431" y="2232"/>
                    </a:cubicBezTo>
                    <a:cubicBezTo>
                      <a:pt x="5443" y="2161"/>
                      <a:pt x="5443" y="2161"/>
                      <a:pt x="5443" y="2161"/>
                    </a:cubicBezTo>
                    <a:cubicBezTo>
                      <a:pt x="5592" y="2188"/>
                      <a:pt x="5592" y="2188"/>
                      <a:pt x="5592" y="2188"/>
                    </a:cubicBezTo>
                    <a:cubicBezTo>
                      <a:pt x="5580" y="2258"/>
                      <a:pt x="5580" y="2258"/>
                      <a:pt x="5580" y="2258"/>
                    </a:cubicBezTo>
                    <a:lnTo>
                      <a:pt x="5574" y="2257"/>
                    </a:lnTo>
                    <a:close/>
                    <a:moveTo>
                      <a:pt x="5570" y="2243"/>
                    </a:moveTo>
                    <a:cubicBezTo>
                      <a:pt x="5578" y="2198"/>
                      <a:pt x="5578" y="2198"/>
                      <a:pt x="5578" y="2198"/>
                    </a:cubicBezTo>
                    <a:cubicBezTo>
                      <a:pt x="5454" y="2176"/>
                      <a:pt x="5454" y="2176"/>
                      <a:pt x="5454" y="2176"/>
                    </a:cubicBezTo>
                    <a:cubicBezTo>
                      <a:pt x="5446" y="2221"/>
                      <a:pt x="5446" y="2221"/>
                      <a:pt x="5446" y="2221"/>
                    </a:cubicBezTo>
                    <a:lnTo>
                      <a:pt x="5570" y="2243"/>
                    </a:lnTo>
                    <a:close/>
                    <a:moveTo>
                      <a:pt x="5495" y="1618"/>
                    </a:moveTo>
                    <a:cubicBezTo>
                      <a:pt x="5644" y="1644"/>
                      <a:pt x="5644" y="1644"/>
                      <a:pt x="5644" y="1644"/>
                    </a:cubicBezTo>
                    <a:cubicBezTo>
                      <a:pt x="5632" y="1714"/>
                      <a:pt x="5632" y="1714"/>
                      <a:pt x="5632" y="1714"/>
                    </a:cubicBezTo>
                    <a:cubicBezTo>
                      <a:pt x="5626" y="1713"/>
                      <a:pt x="5626" y="1713"/>
                      <a:pt x="5626" y="1713"/>
                    </a:cubicBezTo>
                    <a:cubicBezTo>
                      <a:pt x="5483" y="1688"/>
                      <a:pt x="5483" y="1688"/>
                      <a:pt x="5483" y="1688"/>
                    </a:cubicBezTo>
                    <a:lnTo>
                      <a:pt x="5495" y="1618"/>
                    </a:lnTo>
                    <a:close/>
                    <a:moveTo>
                      <a:pt x="5498" y="1678"/>
                    </a:moveTo>
                    <a:cubicBezTo>
                      <a:pt x="5622" y="1699"/>
                      <a:pt x="5622" y="1699"/>
                      <a:pt x="5622" y="1699"/>
                    </a:cubicBezTo>
                    <a:cubicBezTo>
                      <a:pt x="5630" y="1654"/>
                      <a:pt x="5630" y="1654"/>
                      <a:pt x="5630" y="1654"/>
                    </a:cubicBezTo>
                    <a:cubicBezTo>
                      <a:pt x="5506" y="1632"/>
                      <a:pt x="5506" y="1632"/>
                      <a:pt x="5506" y="1632"/>
                    </a:cubicBezTo>
                    <a:lnTo>
                      <a:pt x="5498" y="1678"/>
                    </a:lnTo>
                    <a:close/>
                    <a:moveTo>
                      <a:pt x="3556" y="7508"/>
                    </a:moveTo>
                    <a:cubicBezTo>
                      <a:pt x="3417" y="7499"/>
                      <a:pt x="3417" y="7499"/>
                      <a:pt x="3417" y="7499"/>
                    </a:cubicBezTo>
                    <a:cubicBezTo>
                      <a:pt x="3449" y="7215"/>
                      <a:pt x="3449" y="7215"/>
                      <a:pt x="3449" y="7215"/>
                    </a:cubicBezTo>
                    <a:cubicBezTo>
                      <a:pt x="3779" y="7295"/>
                      <a:pt x="3779" y="7295"/>
                      <a:pt x="3779" y="7295"/>
                    </a:cubicBezTo>
                    <a:cubicBezTo>
                      <a:pt x="3778" y="7301"/>
                      <a:pt x="3778" y="7301"/>
                      <a:pt x="3778" y="7301"/>
                    </a:cubicBezTo>
                    <a:cubicBezTo>
                      <a:pt x="3768" y="7371"/>
                      <a:pt x="3768" y="7371"/>
                      <a:pt x="3768" y="7371"/>
                    </a:cubicBezTo>
                    <a:cubicBezTo>
                      <a:pt x="3576" y="7332"/>
                      <a:pt x="3576" y="7332"/>
                      <a:pt x="3576" y="7332"/>
                    </a:cubicBezTo>
                    <a:lnTo>
                      <a:pt x="3556" y="7508"/>
                    </a:lnTo>
                    <a:close/>
                    <a:moveTo>
                      <a:pt x="3543" y="7492"/>
                    </a:moveTo>
                    <a:cubicBezTo>
                      <a:pt x="3564" y="7314"/>
                      <a:pt x="3564" y="7314"/>
                      <a:pt x="3564" y="7314"/>
                    </a:cubicBezTo>
                    <a:cubicBezTo>
                      <a:pt x="3755" y="7354"/>
                      <a:pt x="3755" y="7354"/>
                      <a:pt x="3755" y="7354"/>
                    </a:cubicBezTo>
                    <a:cubicBezTo>
                      <a:pt x="3762" y="7306"/>
                      <a:pt x="3762" y="7306"/>
                      <a:pt x="3762" y="7306"/>
                    </a:cubicBezTo>
                    <a:cubicBezTo>
                      <a:pt x="3462" y="7234"/>
                      <a:pt x="3462" y="7234"/>
                      <a:pt x="3462" y="7234"/>
                    </a:cubicBezTo>
                    <a:cubicBezTo>
                      <a:pt x="3434" y="7485"/>
                      <a:pt x="3434" y="7485"/>
                      <a:pt x="3434" y="7485"/>
                    </a:cubicBezTo>
                    <a:lnTo>
                      <a:pt x="3543" y="7492"/>
                    </a:lnTo>
                    <a:close/>
                    <a:moveTo>
                      <a:pt x="5602" y="5455"/>
                    </a:moveTo>
                    <a:cubicBezTo>
                      <a:pt x="5456" y="5429"/>
                      <a:pt x="5456" y="5429"/>
                      <a:pt x="5456" y="5429"/>
                    </a:cubicBezTo>
                    <a:cubicBezTo>
                      <a:pt x="5458" y="5423"/>
                      <a:pt x="5458" y="5423"/>
                      <a:pt x="5458" y="5423"/>
                    </a:cubicBezTo>
                    <a:cubicBezTo>
                      <a:pt x="5475" y="5326"/>
                      <a:pt x="5475" y="5326"/>
                      <a:pt x="5475" y="5326"/>
                    </a:cubicBezTo>
                    <a:cubicBezTo>
                      <a:pt x="5621" y="5353"/>
                      <a:pt x="5621" y="5353"/>
                      <a:pt x="5621" y="5353"/>
                    </a:cubicBezTo>
                    <a:lnTo>
                      <a:pt x="5602" y="5455"/>
                    </a:lnTo>
                    <a:close/>
                    <a:moveTo>
                      <a:pt x="5592" y="5440"/>
                    </a:moveTo>
                    <a:cubicBezTo>
                      <a:pt x="5606" y="5363"/>
                      <a:pt x="5606" y="5363"/>
                      <a:pt x="5606" y="5363"/>
                    </a:cubicBezTo>
                    <a:cubicBezTo>
                      <a:pt x="5485" y="5341"/>
                      <a:pt x="5485" y="5341"/>
                      <a:pt x="5485" y="5341"/>
                    </a:cubicBezTo>
                    <a:cubicBezTo>
                      <a:pt x="5471" y="5419"/>
                      <a:pt x="5471" y="5419"/>
                      <a:pt x="5471" y="5419"/>
                    </a:cubicBezTo>
                    <a:lnTo>
                      <a:pt x="5592" y="5440"/>
                    </a:lnTo>
                    <a:close/>
                    <a:moveTo>
                      <a:pt x="5567" y="5488"/>
                    </a:moveTo>
                    <a:cubicBezTo>
                      <a:pt x="5712" y="5515"/>
                      <a:pt x="5712" y="5515"/>
                      <a:pt x="5712" y="5515"/>
                    </a:cubicBezTo>
                    <a:cubicBezTo>
                      <a:pt x="5694" y="5618"/>
                      <a:pt x="5694" y="5618"/>
                      <a:pt x="5694" y="5618"/>
                    </a:cubicBezTo>
                    <a:cubicBezTo>
                      <a:pt x="5548" y="5591"/>
                      <a:pt x="5548" y="5591"/>
                      <a:pt x="5548" y="5591"/>
                    </a:cubicBezTo>
                    <a:cubicBezTo>
                      <a:pt x="5549" y="5585"/>
                      <a:pt x="5549" y="5585"/>
                      <a:pt x="5549" y="5585"/>
                    </a:cubicBezTo>
                    <a:lnTo>
                      <a:pt x="5567" y="5488"/>
                    </a:lnTo>
                    <a:close/>
                    <a:moveTo>
                      <a:pt x="5577" y="5503"/>
                    </a:moveTo>
                    <a:cubicBezTo>
                      <a:pt x="5563" y="5581"/>
                      <a:pt x="5563" y="5581"/>
                      <a:pt x="5563" y="5581"/>
                    </a:cubicBezTo>
                    <a:cubicBezTo>
                      <a:pt x="5683" y="5603"/>
                      <a:pt x="5683" y="5603"/>
                      <a:pt x="5683" y="5603"/>
                    </a:cubicBezTo>
                    <a:cubicBezTo>
                      <a:pt x="5697" y="5525"/>
                      <a:pt x="5697" y="5525"/>
                      <a:pt x="5697" y="5525"/>
                    </a:cubicBezTo>
                    <a:lnTo>
                      <a:pt x="5577" y="5503"/>
                    </a:lnTo>
                    <a:close/>
                    <a:moveTo>
                      <a:pt x="2114" y="5816"/>
                    </a:moveTo>
                    <a:cubicBezTo>
                      <a:pt x="1989" y="5781"/>
                      <a:pt x="1989" y="5781"/>
                      <a:pt x="1989" y="5781"/>
                    </a:cubicBezTo>
                    <a:cubicBezTo>
                      <a:pt x="2087" y="5558"/>
                      <a:pt x="2087" y="5558"/>
                      <a:pt x="2087" y="5558"/>
                    </a:cubicBezTo>
                    <a:cubicBezTo>
                      <a:pt x="2233" y="5606"/>
                      <a:pt x="2233" y="5606"/>
                      <a:pt x="2233" y="5606"/>
                    </a:cubicBezTo>
                    <a:cubicBezTo>
                      <a:pt x="2333" y="5761"/>
                      <a:pt x="2333" y="5761"/>
                      <a:pt x="2333" y="5761"/>
                    </a:cubicBezTo>
                    <a:cubicBezTo>
                      <a:pt x="2565" y="5828"/>
                      <a:pt x="2565" y="5828"/>
                      <a:pt x="2565" y="5828"/>
                    </a:cubicBezTo>
                    <a:cubicBezTo>
                      <a:pt x="2562" y="5835"/>
                      <a:pt x="2562" y="5835"/>
                      <a:pt x="2562" y="5835"/>
                    </a:cubicBezTo>
                    <a:cubicBezTo>
                      <a:pt x="2510" y="5992"/>
                      <a:pt x="2510" y="5992"/>
                      <a:pt x="2510" y="5992"/>
                    </a:cubicBezTo>
                    <a:cubicBezTo>
                      <a:pt x="2390" y="5955"/>
                      <a:pt x="2390" y="5955"/>
                      <a:pt x="2390" y="5955"/>
                    </a:cubicBezTo>
                    <a:cubicBezTo>
                      <a:pt x="2404" y="5919"/>
                      <a:pt x="2404" y="5919"/>
                      <a:pt x="2404" y="5919"/>
                    </a:cubicBezTo>
                    <a:cubicBezTo>
                      <a:pt x="2239" y="5876"/>
                      <a:pt x="2239" y="5876"/>
                      <a:pt x="2239" y="5876"/>
                    </a:cubicBezTo>
                    <a:cubicBezTo>
                      <a:pt x="2158" y="5745"/>
                      <a:pt x="2158" y="5745"/>
                      <a:pt x="2158" y="5745"/>
                    </a:cubicBezTo>
                    <a:cubicBezTo>
                      <a:pt x="2156" y="5745"/>
                      <a:pt x="2154" y="5744"/>
                      <a:pt x="2151" y="5743"/>
                    </a:cubicBezTo>
                    <a:cubicBezTo>
                      <a:pt x="2150" y="5743"/>
                      <a:pt x="2149" y="5743"/>
                      <a:pt x="2148" y="5742"/>
                    </a:cubicBezTo>
                    <a:cubicBezTo>
                      <a:pt x="2139" y="5761"/>
                      <a:pt x="2116" y="5810"/>
                      <a:pt x="2116" y="5810"/>
                    </a:cubicBezTo>
                    <a:lnTo>
                      <a:pt x="2114" y="5816"/>
                    </a:lnTo>
                    <a:close/>
                    <a:moveTo>
                      <a:pt x="2106" y="5798"/>
                    </a:moveTo>
                    <a:cubicBezTo>
                      <a:pt x="2109" y="5791"/>
                      <a:pt x="2114" y="5779"/>
                      <a:pt x="2120" y="5767"/>
                    </a:cubicBezTo>
                    <a:cubicBezTo>
                      <a:pt x="2124" y="5758"/>
                      <a:pt x="2128" y="5749"/>
                      <a:pt x="2131" y="5742"/>
                    </a:cubicBezTo>
                    <a:cubicBezTo>
                      <a:pt x="2133" y="5739"/>
                      <a:pt x="2134" y="5736"/>
                      <a:pt x="2135" y="5734"/>
                    </a:cubicBezTo>
                    <a:cubicBezTo>
                      <a:pt x="2136" y="5733"/>
                      <a:pt x="2136" y="5732"/>
                      <a:pt x="2136" y="5731"/>
                    </a:cubicBezTo>
                    <a:cubicBezTo>
                      <a:pt x="2136" y="5731"/>
                      <a:pt x="2136" y="5731"/>
                      <a:pt x="2136" y="5731"/>
                    </a:cubicBezTo>
                    <a:cubicBezTo>
                      <a:pt x="2136" y="5730"/>
                      <a:pt x="2137" y="5730"/>
                      <a:pt x="2137" y="5729"/>
                    </a:cubicBezTo>
                    <a:cubicBezTo>
                      <a:pt x="2137" y="5729"/>
                      <a:pt x="2137" y="5729"/>
                      <a:pt x="2137" y="5729"/>
                    </a:cubicBezTo>
                    <a:cubicBezTo>
                      <a:pt x="2137" y="5729"/>
                      <a:pt x="2137" y="5729"/>
                      <a:pt x="2137" y="5729"/>
                    </a:cubicBezTo>
                    <a:cubicBezTo>
                      <a:pt x="2137" y="5729"/>
                      <a:pt x="2137" y="5728"/>
                      <a:pt x="2138" y="5728"/>
                    </a:cubicBezTo>
                    <a:cubicBezTo>
                      <a:pt x="2138" y="5728"/>
                      <a:pt x="2138" y="5728"/>
                      <a:pt x="2138" y="5728"/>
                    </a:cubicBezTo>
                    <a:cubicBezTo>
                      <a:pt x="2138" y="5728"/>
                      <a:pt x="2138" y="5728"/>
                      <a:pt x="2138" y="5728"/>
                    </a:cubicBezTo>
                    <a:cubicBezTo>
                      <a:pt x="2138" y="5728"/>
                      <a:pt x="2138" y="5728"/>
                      <a:pt x="2138" y="5728"/>
                    </a:cubicBezTo>
                    <a:cubicBezTo>
                      <a:pt x="2138" y="5728"/>
                      <a:pt x="2138" y="5728"/>
                      <a:pt x="2138" y="5728"/>
                    </a:cubicBezTo>
                    <a:cubicBezTo>
                      <a:pt x="2139" y="5727"/>
                      <a:pt x="2140" y="5726"/>
                      <a:pt x="2141" y="5726"/>
                    </a:cubicBezTo>
                    <a:cubicBezTo>
                      <a:pt x="2141" y="5726"/>
                      <a:pt x="2142" y="5725"/>
                      <a:pt x="2143" y="5725"/>
                    </a:cubicBezTo>
                    <a:cubicBezTo>
                      <a:pt x="2145" y="5725"/>
                      <a:pt x="2146" y="5726"/>
                      <a:pt x="2147" y="5727"/>
                    </a:cubicBezTo>
                    <a:cubicBezTo>
                      <a:pt x="2151" y="5728"/>
                      <a:pt x="2165" y="5732"/>
                      <a:pt x="2165" y="5732"/>
                    </a:cubicBezTo>
                    <a:cubicBezTo>
                      <a:pt x="2168" y="5733"/>
                      <a:pt x="2168" y="5733"/>
                      <a:pt x="2168" y="5733"/>
                    </a:cubicBezTo>
                    <a:cubicBezTo>
                      <a:pt x="2248" y="5863"/>
                      <a:pt x="2248" y="5863"/>
                      <a:pt x="2248" y="5863"/>
                    </a:cubicBezTo>
                    <a:cubicBezTo>
                      <a:pt x="2424" y="5909"/>
                      <a:pt x="2424" y="5909"/>
                      <a:pt x="2424" y="5909"/>
                    </a:cubicBezTo>
                    <a:cubicBezTo>
                      <a:pt x="2410" y="5946"/>
                      <a:pt x="2410" y="5946"/>
                      <a:pt x="2410" y="5946"/>
                    </a:cubicBezTo>
                    <a:cubicBezTo>
                      <a:pt x="2500" y="5974"/>
                      <a:pt x="2500" y="5974"/>
                      <a:pt x="2500" y="5974"/>
                    </a:cubicBezTo>
                    <a:cubicBezTo>
                      <a:pt x="2546" y="5838"/>
                      <a:pt x="2546" y="5838"/>
                      <a:pt x="2546" y="5838"/>
                    </a:cubicBezTo>
                    <a:cubicBezTo>
                      <a:pt x="2324" y="5774"/>
                      <a:pt x="2324" y="5774"/>
                      <a:pt x="2324" y="5774"/>
                    </a:cubicBezTo>
                    <a:cubicBezTo>
                      <a:pt x="2224" y="5618"/>
                      <a:pt x="2224" y="5618"/>
                      <a:pt x="2224" y="5618"/>
                    </a:cubicBezTo>
                    <a:cubicBezTo>
                      <a:pt x="2095" y="5576"/>
                      <a:pt x="2095" y="5576"/>
                      <a:pt x="2095" y="5576"/>
                    </a:cubicBezTo>
                    <a:cubicBezTo>
                      <a:pt x="2010" y="5771"/>
                      <a:pt x="2010" y="5771"/>
                      <a:pt x="2010" y="5771"/>
                    </a:cubicBezTo>
                    <a:lnTo>
                      <a:pt x="2106" y="5798"/>
                    </a:lnTo>
                    <a:close/>
                    <a:moveTo>
                      <a:pt x="5389" y="4142"/>
                    </a:moveTo>
                    <a:cubicBezTo>
                      <a:pt x="5408" y="4258"/>
                      <a:pt x="5408" y="4258"/>
                      <a:pt x="5408" y="4258"/>
                    </a:cubicBezTo>
                    <a:cubicBezTo>
                      <a:pt x="5286" y="4276"/>
                      <a:pt x="5286" y="4276"/>
                      <a:pt x="5286" y="4276"/>
                    </a:cubicBezTo>
                    <a:cubicBezTo>
                      <a:pt x="5285" y="4269"/>
                      <a:pt x="5285" y="4269"/>
                      <a:pt x="5285" y="4269"/>
                    </a:cubicBezTo>
                    <a:cubicBezTo>
                      <a:pt x="5277" y="4219"/>
                      <a:pt x="5277" y="4219"/>
                      <a:pt x="5277" y="4219"/>
                    </a:cubicBezTo>
                    <a:cubicBezTo>
                      <a:pt x="5205" y="4231"/>
                      <a:pt x="5205" y="4231"/>
                      <a:pt x="5205" y="4231"/>
                    </a:cubicBezTo>
                    <a:cubicBezTo>
                      <a:pt x="5187" y="4123"/>
                      <a:pt x="5187" y="4123"/>
                      <a:pt x="5187" y="4123"/>
                    </a:cubicBezTo>
                    <a:cubicBezTo>
                      <a:pt x="5370" y="4092"/>
                      <a:pt x="5370" y="4092"/>
                      <a:pt x="5370" y="4092"/>
                    </a:cubicBezTo>
                    <a:cubicBezTo>
                      <a:pt x="5378" y="4144"/>
                      <a:pt x="5378" y="4144"/>
                      <a:pt x="5378" y="4144"/>
                    </a:cubicBezTo>
                    <a:cubicBezTo>
                      <a:pt x="5382" y="4143"/>
                      <a:pt x="5382" y="4143"/>
                      <a:pt x="5382" y="4143"/>
                    </a:cubicBezTo>
                    <a:lnTo>
                      <a:pt x="5389" y="4142"/>
                    </a:lnTo>
                    <a:close/>
                    <a:moveTo>
                      <a:pt x="5393" y="4247"/>
                    </a:moveTo>
                    <a:cubicBezTo>
                      <a:pt x="5378" y="4157"/>
                      <a:pt x="5378" y="4157"/>
                      <a:pt x="5378" y="4157"/>
                    </a:cubicBezTo>
                    <a:cubicBezTo>
                      <a:pt x="5374" y="4158"/>
                      <a:pt x="5374" y="4158"/>
                      <a:pt x="5374" y="4158"/>
                    </a:cubicBezTo>
                    <a:cubicBezTo>
                      <a:pt x="5368" y="4159"/>
                      <a:pt x="5368" y="4159"/>
                      <a:pt x="5368" y="4159"/>
                    </a:cubicBezTo>
                    <a:cubicBezTo>
                      <a:pt x="5359" y="4107"/>
                      <a:pt x="5359" y="4107"/>
                      <a:pt x="5359" y="4107"/>
                    </a:cubicBezTo>
                    <a:cubicBezTo>
                      <a:pt x="5202" y="4134"/>
                      <a:pt x="5202" y="4134"/>
                      <a:pt x="5202" y="4134"/>
                    </a:cubicBezTo>
                    <a:cubicBezTo>
                      <a:pt x="5216" y="4216"/>
                      <a:pt x="5216" y="4216"/>
                      <a:pt x="5216" y="4216"/>
                    </a:cubicBezTo>
                    <a:cubicBezTo>
                      <a:pt x="5288" y="4204"/>
                      <a:pt x="5288" y="4204"/>
                      <a:pt x="5288" y="4204"/>
                    </a:cubicBezTo>
                    <a:cubicBezTo>
                      <a:pt x="5297" y="4261"/>
                      <a:pt x="5297" y="4261"/>
                      <a:pt x="5297" y="4261"/>
                    </a:cubicBezTo>
                    <a:lnTo>
                      <a:pt x="5393" y="4247"/>
                    </a:lnTo>
                    <a:close/>
                    <a:moveTo>
                      <a:pt x="1379" y="5500"/>
                    </a:moveTo>
                    <a:cubicBezTo>
                      <a:pt x="1337" y="5408"/>
                      <a:pt x="1337" y="5408"/>
                      <a:pt x="1337" y="5408"/>
                    </a:cubicBezTo>
                    <a:cubicBezTo>
                      <a:pt x="1549" y="5349"/>
                      <a:pt x="1549" y="5349"/>
                      <a:pt x="1549" y="5349"/>
                    </a:cubicBezTo>
                    <a:cubicBezTo>
                      <a:pt x="1659" y="5390"/>
                      <a:pt x="1659" y="5390"/>
                      <a:pt x="1659" y="5390"/>
                    </a:cubicBezTo>
                    <a:cubicBezTo>
                      <a:pt x="1518" y="5561"/>
                      <a:pt x="1518" y="5561"/>
                      <a:pt x="1518" y="5561"/>
                    </a:cubicBezTo>
                    <a:lnTo>
                      <a:pt x="1379" y="5500"/>
                    </a:lnTo>
                    <a:close/>
                    <a:moveTo>
                      <a:pt x="1357" y="5417"/>
                    </a:moveTo>
                    <a:cubicBezTo>
                      <a:pt x="1390" y="5489"/>
                      <a:pt x="1390" y="5489"/>
                      <a:pt x="1390" y="5489"/>
                    </a:cubicBezTo>
                    <a:cubicBezTo>
                      <a:pt x="1514" y="5544"/>
                      <a:pt x="1514" y="5544"/>
                      <a:pt x="1514" y="5544"/>
                    </a:cubicBezTo>
                    <a:cubicBezTo>
                      <a:pt x="1636" y="5396"/>
                      <a:pt x="1636" y="5396"/>
                      <a:pt x="1636" y="5396"/>
                    </a:cubicBezTo>
                    <a:cubicBezTo>
                      <a:pt x="1548" y="5364"/>
                      <a:pt x="1548" y="5364"/>
                      <a:pt x="1548" y="5364"/>
                    </a:cubicBezTo>
                    <a:lnTo>
                      <a:pt x="1357" y="5417"/>
                    </a:lnTo>
                    <a:close/>
                    <a:moveTo>
                      <a:pt x="5430" y="4647"/>
                    </a:moveTo>
                    <a:cubicBezTo>
                      <a:pt x="5359" y="4642"/>
                      <a:pt x="5359" y="4642"/>
                      <a:pt x="5359" y="4642"/>
                    </a:cubicBezTo>
                    <a:cubicBezTo>
                      <a:pt x="5360" y="4636"/>
                      <a:pt x="5360" y="4636"/>
                      <a:pt x="5360" y="4636"/>
                    </a:cubicBezTo>
                    <a:cubicBezTo>
                      <a:pt x="5370" y="4491"/>
                      <a:pt x="5370" y="4491"/>
                      <a:pt x="5370" y="4491"/>
                    </a:cubicBezTo>
                    <a:cubicBezTo>
                      <a:pt x="5440" y="4496"/>
                      <a:pt x="5440" y="4496"/>
                      <a:pt x="5440" y="4496"/>
                    </a:cubicBezTo>
                    <a:lnTo>
                      <a:pt x="5430" y="4647"/>
                    </a:lnTo>
                    <a:close/>
                    <a:moveTo>
                      <a:pt x="5427" y="4508"/>
                    </a:moveTo>
                    <a:cubicBezTo>
                      <a:pt x="5382" y="4505"/>
                      <a:pt x="5382" y="4505"/>
                      <a:pt x="5382" y="4505"/>
                    </a:cubicBezTo>
                    <a:cubicBezTo>
                      <a:pt x="5373" y="4630"/>
                      <a:pt x="5373" y="4630"/>
                      <a:pt x="5373" y="4630"/>
                    </a:cubicBezTo>
                    <a:cubicBezTo>
                      <a:pt x="5418" y="4633"/>
                      <a:pt x="5418" y="4633"/>
                      <a:pt x="5418" y="4633"/>
                    </a:cubicBezTo>
                    <a:lnTo>
                      <a:pt x="5427" y="4508"/>
                    </a:lnTo>
                    <a:close/>
                    <a:moveTo>
                      <a:pt x="1856" y="6114"/>
                    </a:moveTo>
                    <a:cubicBezTo>
                      <a:pt x="1682" y="6020"/>
                      <a:pt x="1682" y="6020"/>
                      <a:pt x="1682" y="6020"/>
                    </a:cubicBezTo>
                    <a:cubicBezTo>
                      <a:pt x="1719" y="5951"/>
                      <a:pt x="1719" y="5951"/>
                      <a:pt x="1719" y="5951"/>
                    </a:cubicBezTo>
                    <a:cubicBezTo>
                      <a:pt x="1786" y="5984"/>
                      <a:pt x="1786" y="5984"/>
                      <a:pt x="1786" y="5984"/>
                    </a:cubicBezTo>
                    <a:cubicBezTo>
                      <a:pt x="1815" y="5930"/>
                      <a:pt x="1815" y="5930"/>
                      <a:pt x="1815" y="5930"/>
                    </a:cubicBezTo>
                    <a:cubicBezTo>
                      <a:pt x="1801" y="5922"/>
                      <a:pt x="1801" y="5922"/>
                      <a:pt x="1801" y="5922"/>
                    </a:cubicBezTo>
                    <a:cubicBezTo>
                      <a:pt x="1827" y="5864"/>
                      <a:pt x="1827" y="5864"/>
                      <a:pt x="1827" y="5864"/>
                    </a:cubicBezTo>
                    <a:cubicBezTo>
                      <a:pt x="1720" y="5801"/>
                      <a:pt x="1720" y="5801"/>
                      <a:pt x="1720" y="5801"/>
                    </a:cubicBezTo>
                    <a:cubicBezTo>
                      <a:pt x="1795" y="5661"/>
                      <a:pt x="1795" y="5661"/>
                      <a:pt x="1795" y="5661"/>
                    </a:cubicBezTo>
                    <a:cubicBezTo>
                      <a:pt x="1814" y="5667"/>
                      <a:pt x="1814" y="5667"/>
                      <a:pt x="1814" y="5667"/>
                    </a:cubicBezTo>
                    <a:cubicBezTo>
                      <a:pt x="1838" y="5627"/>
                      <a:pt x="1838" y="5627"/>
                      <a:pt x="1838" y="5627"/>
                    </a:cubicBezTo>
                    <a:cubicBezTo>
                      <a:pt x="1742" y="5571"/>
                      <a:pt x="1742" y="5571"/>
                      <a:pt x="1742" y="5571"/>
                    </a:cubicBezTo>
                    <a:cubicBezTo>
                      <a:pt x="1824" y="5430"/>
                      <a:pt x="1824" y="5430"/>
                      <a:pt x="1824" y="5430"/>
                    </a:cubicBezTo>
                    <a:cubicBezTo>
                      <a:pt x="1840" y="5438"/>
                      <a:pt x="1840" y="5438"/>
                      <a:pt x="1840" y="5438"/>
                    </a:cubicBezTo>
                    <a:cubicBezTo>
                      <a:pt x="1862" y="5401"/>
                      <a:pt x="1862" y="5401"/>
                      <a:pt x="1862" y="5401"/>
                    </a:cubicBezTo>
                    <a:cubicBezTo>
                      <a:pt x="1840" y="5387"/>
                      <a:pt x="1840" y="5387"/>
                      <a:pt x="1840" y="5387"/>
                    </a:cubicBezTo>
                    <a:cubicBezTo>
                      <a:pt x="1922" y="5247"/>
                      <a:pt x="1922" y="5247"/>
                      <a:pt x="1922" y="5247"/>
                    </a:cubicBezTo>
                    <a:cubicBezTo>
                      <a:pt x="1939" y="5253"/>
                      <a:pt x="1939" y="5253"/>
                      <a:pt x="1939" y="5253"/>
                    </a:cubicBezTo>
                    <a:cubicBezTo>
                      <a:pt x="1965" y="5209"/>
                      <a:pt x="1965" y="5209"/>
                      <a:pt x="1965" y="5209"/>
                    </a:cubicBezTo>
                    <a:cubicBezTo>
                      <a:pt x="2070" y="5269"/>
                      <a:pt x="2070" y="5269"/>
                      <a:pt x="2070" y="5269"/>
                    </a:cubicBezTo>
                    <a:cubicBezTo>
                      <a:pt x="2038" y="5327"/>
                      <a:pt x="2038" y="5327"/>
                      <a:pt x="2038" y="5327"/>
                    </a:cubicBezTo>
                    <a:cubicBezTo>
                      <a:pt x="2019" y="5321"/>
                      <a:pt x="2019" y="5321"/>
                      <a:pt x="2019" y="5321"/>
                    </a:cubicBezTo>
                    <a:cubicBezTo>
                      <a:pt x="1989" y="5376"/>
                      <a:pt x="1989" y="5376"/>
                      <a:pt x="1989" y="5376"/>
                    </a:cubicBezTo>
                    <a:cubicBezTo>
                      <a:pt x="2053" y="5413"/>
                      <a:pt x="2053" y="5413"/>
                      <a:pt x="2053" y="5413"/>
                    </a:cubicBezTo>
                    <a:cubicBezTo>
                      <a:pt x="2016" y="5483"/>
                      <a:pt x="2016" y="5483"/>
                      <a:pt x="2016" y="5483"/>
                    </a:cubicBezTo>
                    <a:cubicBezTo>
                      <a:pt x="1971" y="5460"/>
                      <a:pt x="1971" y="5460"/>
                      <a:pt x="1971" y="5460"/>
                    </a:cubicBezTo>
                    <a:cubicBezTo>
                      <a:pt x="1941" y="5513"/>
                      <a:pt x="1941" y="5513"/>
                      <a:pt x="1941" y="5513"/>
                    </a:cubicBezTo>
                    <a:cubicBezTo>
                      <a:pt x="1921" y="5506"/>
                      <a:pt x="1921" y="5506"/>
                      <a:pt x="1921" y="5506"/>
                    </a:cubicBezTo>
                    <a:cubicBezTo>
                      <a:pt x="1892" y="5561"/>
                      <a:pt x="1892" y="5561"/>
                      <a:pt x="1892" y="5561"/>
                    </a:cubicBezTo>
                    <a:cubicBezTo>
                      <a:pt x="1956" y="5596"/>
                      <a:pt x="1956" y="5596"/>
                      <a:pt x="1956" y="5596"/>
                    </a:cubicBezTo>
                    <a:cubicBezTo>
                      <a:pt x="1917" y="5667"/>
                      <a:pt x="1917" y="5667"/>
                      <a:pt x="1917" y="5667"/>
                    </a:cubicBezTo>
                    <a:cubicBezTo>
                      <a:pt x="1950" y="5682"/>
                      <a:pt x="1950" y="5682"/>
                      <a:pt x="1950" y="5682"/>
                    </a:cubicBezTo>
                    <a:cubicBezTo>
                      <a:pt x="1918" y="5744"/>
                      <a:pt x="1918" y="5744"/>
                      <a:pt x="1918" y="5744"/>
                    </a:cubicBezTo>
                    <a:cubicBezTo>
                      <a:pt x="1896" y="5734"/>
                      <a:pt x="1896" y="5734"/>
                      <a:pt x="1896" y="5734"/>
                    </a:cubicBezTo>
                    <a:cubicBezTo>
                      <a:pt x="1864" y="5788"/>
                      <a:pt x="1864" y="5788"/>
                      <a:pt x="1864" y="5788"/>
                    </a:cubicBezTo>
                    <a:cubicBezTo>
                      <a:pt x="1934" y="5826"/>
                      <a:pt x="1934" y="5826"/>
                      <a:pt x="1934" y="5826"/>
                    </a:cubicBezTo>
                    <a:cubicBezTo>
                      <a:pt x="1896" y="5892"/>
                      <a:pt x="1896" y="5892"/>
                      <a:pt x="1896" y="5892"/>
                    </a:cubicBezTo>
                    <a:cubicBezTo>
                      <a:pt x="1940" y="5916"/>
                      <a:pt x="1940" y="5916"/>
                      <a:pt x="1940" y="5916"/>
                    </a:cubicBezTo>
                    <a:cubicBezTo>
                      <a:pt x="1916" y="5961"/>
                      <a:pt x="1916" y="5961"/>
                      <a:pt x="1916" y="5961"/>
                    </a:cubicBezTo>
                    <a:cubicBezTo>
                      <a:pt x="1933" y="5974"/>
                      <a:pt x="1933" y="5974"/>
                      <a:pt x="1933" y="5974"/>
                    </a:cubicBezTo>
                    <a:lnTo>
                      <a:pt x="1856" y="6114"/>
                    </a:lnTo>
                    <a:close/>
                    <a:moveTo>
                      <a:pt x="1850" y="6095"/>
                    </a:moveTo>
                    <a:cubicBezTo>
                      <a:pt x="1915" y="5978"/>
                      <a:pt x="1915" y="5978"/>
                      <a:pt x="1915" y="5978"/>
                    </a:cubicBezTo>
                    <a:cubicBezTo>
                      <a:pt x="1908" y="5972"/>
                      <a:pt x="1908" y="5972"/>
                      <a:pt x="1908" y="5972"/>
                    </a:cubicBezTo>
                    <a:cubicBezTo>
                      <a:pt x="1899" y="5965"/>
                      <a:pt x="1899" y="5965"/>
                      <a:pt x="1899" y="5965"/>
                    </a:cubicBezTo>
                    <a:cubicBezTo>
                      <a:pt x="1904" y="5954"/>
                      <a:pt x="1904" y="5954"/>
                      <a:pt x="1904" y="5954"/>
                    </a:cubicBezTo>
                    <a:cubicBezTo>
                      <a:pt x="1921" y="5922"/>
                      <a:pt x="1921" y="5922"/>
                      <a:pt x="1921" y="5922"/>
                    </a:cubicBezTo>
                    <a:cubicBezTo>
                      <a:pt x="1889" y="5905"/>
                      <a:pt x="1889" y="5905"/>
                      <a:pt x="1889" y="5905"/>
                    </a:cubicBezTo>
                    <a:cubicBezTo>
                      <a:pt x="1877" y="5898"/>
                      <a:pt x="1877" y="5898"/>
                      <a:pt x="1877" y="5898"/>
                    </a:cubicBezTo>
                    <a:cubicBezTo>
                      <a:pt x="1884" y="5885"/>
                      <a:pt x="1884" y="5885"/>
                      <a:pt x="1884" y="5885"/>
                    </a:cubicBezTo>
                    <a:cubicBezTo>
                      <a:pt x="1915" y="5831"/>
                      <a:pt x="1915" y="5831"/>
                      <a:pt x="1915" y="5831"/>
                    </a:cubicBezTo>
                    <a:cubicBezTo>
                      <a:pt x="1858" y="5800"/>
                      <a:pt x="1858" y="5800"/>
                      <a:pt x="1858" y="5800"/>
                    </a:cubicBezTo>
                    <a:cubicBezTo>
                      <a:pt x="1845" y="5793"/>
                      <a:pt x="1845" y="5793"/>
                      <a:pt x="1845" y="5793"/>
                    </a:cubicBezTo>
                    <a:cubicBezTo>
                      <a:pt x="1852" y="5781"/>
                      <a:pt x="1852" y="5781"/>
                      <a:pt x="1852" y="5781"/>
                    </a:cubicBezTo>
                    <a:cubicBezTo>
                      <a:pt x="1884" y="5727"/>
                      <a:pt x="1884" y="5727"/>
                      <a:pt x="1884" y="5727"/>
                    </a:cubicBezTo>
                    <a:cubicBezTo>
                      <a:pt x="1890" y="5717"/>
                      <a:pt x="1890" y="5717"/>
                      <a:pt x="1890" y="5717"/>
                    </a:cubicBezTo>
                    <a:cubicBezTo>
                      <a:pt x="1901" y="5721"/>
                      <a:pt x="1901" y="5721"/>
                      <a:pt x="1901" y="5721"/>
                    </a:cubicBezTo>
                    <a:cubicBezTo>
                      <a:pt x="1912" y="5726"/>
                      <a:pt x="1912" y="5726"/>
                      <a:pt x="1912" y="5726"/>
                    </a:cubicBezTo>
                    <a:cubicBezTo>
                      <a:pt x="1931" y="5689"/>
                      <a:pt x="1931" y="5689"/>
                      <a:pt x="1931" y="5689"/>
                    </a:cubicBezTo>
                    <a:cubicBezTo>
                      <a:pt x="1912" y="5679"/>
                      <a:pt x="1912" y="5679"/>
                      <a:pt x="1912" y="5679"/>
                    </a:cubicBezTo>
                    <a:cubicBezTo>
                      <a:pt x="1898" y="5673"/>
                      <a:pt x="1898" y="5673"/>
                      <a:pt x="1898" y="5673"/>
                    </a:cubicBezTo>
                    <a:cubicBezTo>
                      <a:pt x="1905" y="5660"/>
                      <a:pt x="1905" y="5660"/>
                      <a:pt x="1905" y="5660"/>
                    </a:cubicBezTo>
                    <a:cubicBezTo>
                      <a:pt x="1937" y="5602"/>
                      <a:pt x="1937" y="5602"/>
                      <a:pt x="1937" y="5602"/>
                    </a:cubicBezTo>
                    <a:cubicBezTo>
                      <a:pt x="1885" y="5573"/>
                      <a:pt x="1885" y="5573"/>
                      <a:pt x="1885" y="5573"/>
                    </a:cubicBezTo>
                    <a:cubicBezTo>
                      <a:pt x="1873" y="5567"/>
                      <a:pt x="1873" y="5567"/>
                      <a:pt x="1873" y="5567"/>
                    </a:cubicBezTo>
                    <a:cubicBezTo>
                      <a:pt x="1879" y="5555"/>
                      <a:pt x="1879" y="5555"/>
                      <a:pt x="1879" y="5555"/>
                    </a:cubicBezTo>
                    <a:cubicBezTo>
                      <a:pt x="1908" y="5499"/>
                      <a:pt x="1908" y="5499"/>
                      <a:pt x="1908" y="5499"/>
                    </a:cubicBezTo>
                    <a:cubicBezTo>
                      <a:pt x="1914" y="5489"/>
                      <a:pt x="1914" y="5489"/>
                      <a:pt x="1914" y="5489"/>
                    </a:cubicBezTo>
                    <a:cubicBezTo>
                      <a:pt x="1925" y="5493"/>
                      <a:pt x="1925" y="5493"/>
                      <a:pt x="1925" y="5493"/>
                    </a:cubicBezTo>
                    <a:cubicBezTo>
                      <a:pt x="1935" y="5496"/>
                      <a:pt x="1935" y="5496"/>
                      <a:pt x="1935" y="5496"/>
                    </a:cubicBezTo>
                    <a:cubicBezTo>
                      <a:pt x="1959" y="5453"/>
                      <a:pt x="1959" y="5453"/>
                      <a:pt x="1959" y="5453"/>
                    </a:cubicBezTo>
                    <a:cubicBezTo>
                      <a:pt x="1965" y="5441"/>
                      <a:pt x="1965" y="5441"/>
                      <a:pt x="1965" y="5441"/>
                    </a:cubicBezTo>
                    <a:cubicBezTo>
                      <a:pt x="1977" y="5447"/>
                      <a:pt x="1977" y="5447"/>
                      <a:pt x="1977" y="5447"/>
                    </a:cubicBezTo>
                    <a:cubicBezTo>
                      <a:pt x="2010" y="5464"/>
                      <a:pt x="2010" y="5464"/>
                      <a:pt x="2010" y="5464"/>
                    </a:cubicBezTo>
                    <a:cubicBezTo>
                      <a:pt x="2034" y="5418"/>
                      <a:pt x="2034" y="5418"/>
                      <a:pt x="2034" y="5418"/>
                    </a:cubicBezTo>
                    <a:cubicBezTo>
                      <a:pt x="1982" y="5388"/>
                      <a:pt x="1982" y="5388"/>
                      <a:pt x="1982" y="5388"/>
                    </a:cubicBezTo>
                    <a:cubicBezTo>
                      <a:pt x="1970" y="5381"/>
                      <a:pt x="1970" y="5381"/>
                      <a:pt x="1970" y="5381"/>
                    </a:cubicBezTo>
                    <a:cubicBezTo>
                      <a:pt x="1977" y="5369"/>
                      <a:pt x="1977" y="5369"/>
                      <a:pt x="1977" y="5369"/>
                    </a:cubicBezTo>
                    <a:cubicBezTo>
                      <a:pt x="2007" y="5315"/>
                      <a:pt x="2007" y="5315"/>
                      <a:pt x="2007" y="5315"/>
                    </a:cubicBezTo>
                    <a:cubicBezTo>
                      <a:pt x="2012" y="5305"/>
                      <a:pt x="2012" y="5305"/>
                      <a:pt x="2012" y="5305"/>
                    </a:cubicBezTo>
                    <a:cubicBezTo>
                      <a:pt x="2023" y="5308"/>
                      <a:pt x="2023" y="5308"/>
                      <a:pt x="2023" y="5308"/>
                    </a:cubicBezTo>
                    <a:cubicBezTo>
                      <a:pt x="2032" y="5311"/>
                      <a:pt x="2032" y="5311"/>
                      <a:pt x="2032" y="5311"/>
                    </a:cubicBezTo>
                    <a:cubicBezTo>
                      <a:pt x="2051" y="5274"/>
                      <a:pt x="2051" y="5274"/>
                      <a:pt x="2051" y="5274"/>
                    </a:cubicBezTo>
                    <a:cubicBezTo>
                      <a:pt x="1970" y="5228"/>
                      <a:pt x="1970" y="5228"/>
                      <a:pt x="1970" y="5228"/>
                    </a:cubicBezTo>
                    <a:cubicBezTo>
                      <a:pt x="1951" y="5260"/>
                      <a:pt x="1951" y="5260"/>
                      <a:pt x="1951" y="5260"/>
                    </a:cubicBezTo>
                    <a:cubicBezTo>
                      <a:pt x="1945" y="5270"/>
                      <a:pt x="1945" y="5270"/>
                      <a:pt x="1945" y="5270"/>
                    </a:cubicBezTo>
                    <a:cubicBezTo>
                      <a:pt x="1934" y="5266"/>
                      <a:pt x="1934" y="5266"/>
                      <a:pt x="1934" y="5266"/>
                    </a:cubicBezTo>
                    <a:cubicBezTo>
                      <a:pt x="1928" y="5264"/>
                      <a:pt x="1928" y="5264"/>
                      <a:pt x="1928" y="5264"/>
                    </a:cubicBezTo>
                    <a:cubicBezTo>
                      <a:pt x="1858" y="5382"/>
                      <a:pt x="1858" y="5382"/>
                      <a:pt x="1858" y="5382"/>
                    </a:cubicBezTo>
                    <a:cubicBezTo>
                      <a:pt x="1870" y="5390"/>
                      <a:pt x="1870" y="5390"/>
                      <a:pt x="1870" y="5390"/>
                    </a:cubicBezTo>
                    <a:cubicBezTo>
                      <a:pt x="1881" y="5397"/>
                      <a:pt x="1881" y="5397"/>
                      <a:pt x="1881" y="5397"/>
                    </a:cubicBezTo>
                    <a:cubicBezTo>
                      <a:pt x="1874" y="5409"/>
                      <a:pt x="1874" y="5409"/>
                      <a:pt x="1874" y="5409"/>
                    </a:cubicBezTo>
                    <a:cubicBezTo>
                      <a:pt x="1851" y="5445"/>
                      <a:pt x="1851" y="5445"/>
                      <a:pt x="1851" y="5445"/>
                    </a:cubicBezTo>
                    <a:cubicBezTo>
                      <a:pt x="1845" y="5457"/>
                      <a:pt x="1845" y="5457"/>
                      <a:pt x="1845" y="5457"/>
                    </a:cubicBezTo>
                    <a:cubicBezTo>
                      <a:pt x="1833" y="5450"/>
                      <a:pt x="1833" y="5450"/>
                      <a:pt x="1833" y="5450"/>
                    </a:cubicBezTo>
                    <a:cubicBezTo>
                      <a:pt x="1830" y="5449"/>
                      <a:pt x="1830" y="5449"/>
                      <a:pt x="1830" y="5449"/>
                    </a:cubicBezTo>
                    <a:cubicBezTo>
                      <a:pt x="1761" y="5566"/>
                      <a:pt x="1761" y="5566"/>
                      <a:pt x="1761" y="5566"/>
                    </a:cubicBezTo>
                    <a:cubicBezTo>
                      <a:pt x="1845" y="5615"/>
                      <a:pt x="1845" y="5615"/>
                      <a:pt x="1845" y="5615"/>
                    </a:cubicBezTo>
                    <a:cubicBezTo>
                      <a:pt x="1857" y="5622"/>
                      <a:pt x="1857" y="5622"/>
                      <a:pt x="1857" y="5622"/>
                    </a:cubicBezTo>
                    <a:cubicBezTo>
                      <a:pt x="1850" y="5634"/>
                      <a:pt x="1850" y="5634"/>
                      <a:pt x="1850" y="5634"/>
                    </a:cubicBezTo>
                    <a:cubicBezTo>
                      <a:pt x="1826" y="5674"/>
                      <a:pt x="1826" y="5674"/>
                      <a:pt x="1826" y="5674"/>
                    </a:cubicBezTo>
                    <a:cubicBezTo>
                      <a:pt x="1820" y="5684"/>
                      <a:pt x="1820" y="5684"/>
                      <a:pt x="1820" y="5684"/>
                    </a:cubicBezTo>
                    <a:cubicBezTo>
                      <a:pt x="1810" y="5680"/>
                      <a:pt x="1810" y="5680"/>
                      <a:pt x="1810" y="5680"/>
                    </a:cubicBezTo>
                    <a:cubicBezTo>
                      <a:pt x="1802" y="5677"/>
                      <a:pt x="1802" y="5677"/>
                      <a:pt x="1802" y="5677"/>
                    </a:cubicBezTo>
                    <a:cubicBezTo>
                      <a:pt x="1738" y="5796"/>
                      <a:pt x="1738" y="5796"/>
                      <a:pt x="1738" y="5796"/>
                    </a:cubicBezTo>
                    <a:cubicBezTo>
                      <a:pt x="1834" y="5851"/>
                      <a:pt x="1834" y="5851"/>
                      <a:pt x="1834" y="5851"/>
                    </a:cubicBezTo>
                    <a:cubicBezTo>
                      <a:pt x="1845" y="5858"/>
                      <a:pt x="1845" y="5858"/>
                      <a:pt x="1845" y="5858"/>
                    </a:cubicBezTo>
                    <a:cubicBezTo>
                      <a:pt x="1840" y="5869"/>
                      <a:pt x="1840" y="5869"/>
                      <a:pt x="1840" y="5869"/>
                    </a:cubicBezTo>
                    <a:cubicBezTo>
                      <a:pt x="1819" y="5916"/>
                      <a:pt x="1819" y="5916"/>
                      <a:pt x="1819" y="5916"/>
                    </a:cubicBezTo>
                    <a:cubicBezTo>
                      <a:pt x="1822" y="5918"/>
                      <a:pt x="1822" y="5918"/>
                      <a:pt x="1822" y="5918"/>
                    </a:cubicBezTo>
                    <a:cubicBezTo>
                      <a:pt x="1834" y="5925"/>
                      <a:pt x="1834" y="5925"/>
                      <a:pt x="1834" y="5925"/>
                    </a:cubicBezTo>
                    <a:cubicBezTo>
                      <a:pt x="1827" y="5937"/>
                      <a:pt x="1827" y="5937"/>
                      <a:pt x="1827" y="5937"/>
                    </a:cubicBezTo>
                    <a:cubicBezTo>
                      <a:pt x="1799" y="5991"/>
                      <a:pt x="1799" y="5991"/>
                      <a:pt x="1799" y="5991"/>
                    </a:cubicBezTo>
                    <a:cubicBezTo>
                      <a:pt x="1792" y="6003"/>
                      <a:pt x="1792" y="6003"/>
                      <a:pt x="1792" y="6003"/>
                    </a:cubicBezTo>
                    <a:cubicBezTo>
                      <a:pt x="1780" y="5997"/>
                      <a:pt x="1780" y="5997"/>
                      <a:pt x="1780" y="5997"/>
                    </a:cubicBezTo>
                    <a:cubicBezTo>
                      <a:pt x="1725" y="5969"/>
                      <a:pt x="1725" y="5969"/>
                      <a:pt x="1725" y="5969"/>
                    </a:cubicBezTo>
                    <a:cubicBezTo>
                      <a:pt x="1701" y="6015"/>
                      <a:pt x="1701" y="6015"/>
                      <a:pt x="1701" y="6015"/>
                    </a:cubicBezTo>
                    <a:lnTo>
                      <a:pt x="1850" y="6095"/>
                    </a:lnTo>
                    <a:close/>
                    <a:moveTo>
                      <a:pt x="3655" y="7174"/>
                    </a:moveTo>
                    <a:cubicBezTo>
                      <a:pt x="3479" y="7128"/>
                      <a:pt x="3479" y="7128"/>
                      <a:pt x="3479" y="7128"/>
                    </a:cubicBezTo>
                    <a:cubicBezTo>
                      <a:pt x="3494" y="7011"/>
                      <a:pt x="3494" y="7011"/>
                      <a:pt x="3494" y="7011"/>
                    </a:cubicBezTo>
                    <a:cubicBezTo>
                      <a:pt x="3617" y="7049"/>
                      <a:pt x="3617" y="7049"/>
                      <a:pt x="3617" y="7049"/>
                    </a:cubicBezTo>
                    <a:cubicBezTo>
                      <a:pt x="3628" y="6952"/>
                      <a:pt x="3628" y="6952"/>
                      <a:pt x="3628" y="6952"/>
                    </a:cubicBezTo>
                    <a:cubicBezTo>
                      <a:pt x="4175" y="7141"/>
                      <a:pt x="4175" y="7141"/>
                      <a:pt x="4175" y="7141"/>
                    </a:cubicBezTo>
                    <a:cubicBezTo>
                      <a:pt x="4155" y="7148"/>
                      <a:pt x="4155" y="7148"/>
                      <a:pt x="4155" y="7148"/>
                    </a:cubicBezTo>
                    <a:cubicBezTo>
                      <a:pt x="4019" y="7196"/>
                      <a:pt x="4019" y="7196"/>
                      <a:pt x="4019" y="7196"/>
                    </a:cubicBezTo>
                    <a:cubicBezTo>
                      <a:pt x="3820" y="7145"/>
                      <a:pt x="3820" y="7145"/>
                      <a:pt x="3820" y="7145"/>
                    </a:cubicBezTo>
                    <a:lnTo>
                      <a:pt x="3655" y="7174"/>
                    </a:lnTo>
                    <a:close/>
                    <a:moveTo>
                      <a:pt x="3495" y="7117"/>
                    </a:moveTo>
                    <a:cubicBezTo>
                      <a:pt x="3656" y="7159"/>
                      <a:pt x="3656" y="7159"/>
                      <a:pt x="3656" y="7159"/>
                    </a:cubicBezTo>
                    <a:cubicBezTo>
                      <a:pt x="3821" y="7130"/>
                      <a:pt x="3821" y="7130"/>
                      <a:pt x="3821" y="7130"/>
                    </a:cubicBezTo>
                    <a:cubicBezTo>
                      <a:pt x="4018" y="7180"/>
                      <a:pt x="4018" y="7180"/>
                      <a:pt x="4018" y="7180"/>
                    </a:cubicBezTo>
                    <a:cubicBezTo>
                      <a:pt x="4130" y="7142"/>
                      <a:pt x="4130" y="7142"/>
                      <a:pt x="4130" y="7142"/>
                    </a:cubicBezTo>
                    <a:cubicBezTo>
                      <a:pt x="3640" y="6972"/>
                      <a:pt x="3640" y="6972"/>
                      <a:pt x="3640" y="6972"/>
                    </a:cubicBezTo>
                    <a:cubicBezTo>
                      <a:pt x="3630" y="7068"/>
                      <a:pt x="3630" y="7068"/>
                      <a:pt x="3630" y="7068"/>
                    </a:cubicBezTo>
                    <a:cubicBezTo>
                      <a:pt x="3506" y="7030"/>
                      <a:pt x="3506" y="7030"/>
                      <a:pt x="3506" y="7030"/>
                    </a:cubicBezTo>
                    <a:lnTo>
                      <a:pt x="3495" y="7117"/>
                    </a:lnTo>
                    <a:close/>
                    <a:moveTo>
                      <a:pt x="4369" y="8170"/>
                    </a:moveTo>
                    <a:cubicBezTo>
                      <a:pt x="4308" y="8170"/>
                      <a:pt x="4308" y="8170"/>
                      <a:pt x="4308" y="8170"/>
                    </a:cubicBezTo>
                    <a:cubicBezTo>
                      <a:pt x="4308" y="8164"/>
                      <a:pt x="4308" y="8164"/>
                      <a:pt x="4308" y="8164"/>
                    </a:cubicBezTo>
                    <a:cubicBezTo>
                      <a:pt x="4308" y="8079"/>
                      <a:pt x="4308" y="8079"/>
                      <a:pt x="4308" y="8079"/>
                    </a:cubicBezTo>
                    <a:cubicBezTo>
                      <a:pt x="4353" y="8079"/>
                      <a:pt x="4353" y="8079"/>
                      <a:pt x="4353" y="8079"/>
                    </a:cubicBezTo>
                    <a:cubicBezTo>
                      <a:pt x="4353" y="8011"/>
                      <a:pt x="4353" y="8011"/>
                      <a:pt x="4353" y="8011"/>
                    </a:cubicBezTo>
                    <a:cubicBezTo>
                      <a:pt x="4429" y="8011"/>
                      <a:pt x="4429" y="8011"/>
                      <a:pt x="4429" y="8011"/>
                    </a:cubicBezTo>
                    <a:cubicBezTo>
                      <a:pt x="4429" y="8103"/>
                      <a:pt x="4429" y="8103"/>
                      <a:pt x="4429" y="8103"/>
                    </a:cubicBezTo>
                    <a:cubicBezTo>
                      <a:pt x="4384" y="8103"/>
                      <a:pt x="4384" y="8103"/>
                      <a:pt x="4384" y="8103"/>
                    </a:cubicBezTo>
                    <a:cubicBezTo>
                      <a:pt x="4384" y="8118"/>
                      <a:pt x="4384" y="8118"/>
                      <a:pt x="4384" y="8118"/>
                    </a:cubicBezTo>
                    <a:cubicBezTo>
                      <a:pt x="4445" y="8118"/>
                      <a:pt x="4445" y="8118"/>
                      <a:pt x="4445" y="8118"/>
                    </a:cubicBezTo>
                    <a:cubicBezTo>
                      <a:pt x="4445" y="8210"/>
                      <a:pt x="4445" y="8210"/>
                      <a:pt x="4445" y="8210"/>
                    </a:cubicBezTo>
                    <a:cubicBezTo>
                      <a:pt x="4369" y="8210"/>
                      <a:pt x="4369" y="8210"/>
                      <a:pt x="4369" y="8210"/>
                    </a:cubicBezTo>
                    <a:cubicBezTo>
                      <a:pt x="4369" y="8203"/>
                      <a:pt x="4369" y="8203"/>
                      <a:pt x="4369" y="8203"/>
                    </a:cubicBezTo>
                    <a:lnTo>
                      <a:pt x="4369" y="8170"/>
                    </a:lnTo>
                    <a:close/>
                    <a:moveTo>
                      <a:pt x="4384" y="8132"/>
                    </a:moveTo>
                    <a:cubicBezTo>
                      <a:pt x="4384" y="8170"/>
                      <a:pt x="4384" y="8170"/>
                      <a:pt x="4384" y="8170"/>
                    </a:cubicBezTo>
                    <a:cubicBezTo>
                      <a:pt x="4382" y="8170"/>
                      <a:pt x="4382" y="8170"/>
                      <a:pt x="4382" y="8170"/>
                    </a:cubicBezTo>
                    <a:cubicBezTo>
                      <a:pt x="4382" y="8197"/>
                      <a:pt x="4382" y="8197"/>
                      <a:pt x="4382" y="8197"/>
                    </a:cubicBezTo>
                    <a:cubicBezTo>
                      <a:pt x="4432" y="8197"/>
                      <a:pt x="4432" y="8197"/>
                      <a:pt x="4432" y="8197"/>
                    </a:cubicBezTo>
                    <a:cubicBezTo>
                      <a:pt x="4432" y="8132"/>
                      <a:pt x="4432" y="8132"/>
                      <a:pt x="4432" y="8132"/>
                    </a:cubicBezTo>
                    <a:lnTo>
                      <a:pt x="4384" y="8132"/>
                    </a:lnTo>
                    <a:close/>
                    <a:moveTo>
                      <a:pt x="4366" y="8079"/>
                    </a:moveTo>
                    <a:cubicBezTo>
                      <a:pt x="4384" y="8079"/>
                      <a:pt x="4384" y="8079"/>
                      <a:pt x="4384" y="8079"/>
                    </a:cubicBezTo>
                    <a:cubicBezTo>
                      <a:pt x="4384" y="8090"/>
                      <a:pt x="4384" y="8090"/>
                      <a:pt x="4384" y="8090"/>
                    </a:cubicBezTo>
                    <a:cubicBezTo>
                      <a:pt x="4416" y="8090"/>
                      <a:pt x="4416" y="8090"/>
                      <a:pt x="4416" y="8090"/>
                    </a:cubicBezTo>
                    <a:cubicBezTo>
                      <a:pt x="4416" y="8024"/>
                      <a:pt x="4416" y="8024"/>
                      <a:pt x="4416" y="8024"/>
                    </a:cubicBezTo>
                    <a:cubicBezTo>
                      <a:pt x="4366" y="8024"/>
                      <a:pt x="4366" y="8024"/>
                      <a:pt x="4366" y="8024"/>
                    </a:cubicBezTo>
                    <a:lnTo>
                      <a:pt x="4366" y="8079"/>
                    </a:lnTo>
                    <a:close/>
                    <a:moveTo>
                      <a:pt x="4369" y="8157"/>
                    </a:moveTo>
                    <a:cubicBezTo>
                      <a:pt x="4369" y="8118"/>
                      <a:pt x="4369" y="8118"/>
                      <a:pt x="4369" y="8118"/>
                    </a:cubicBezTo>
                    <a:cubicBezTo>
                      <a:pt x="4371" y="8118"/>
                      <a:pt x="4371" y="8118"/>
                      <a:pt x="4371" y="8118"/>
                    </a:cubicBezTo>
                    <a:cubicBezTo>
                      <a:pt x="4371" y="8103"/>
                      <a:pt x="4371" y="8103"/>
                      <a:pt x="4371" y="8103"/>
                    </a:cubicBezTo>
                    <a:cubicBezTo>
                      <a:pt x="4353" y="8103"/>
                      <a:pt x="4353" y="8103"/>
                      <a:pt x="4353" y="8103"/>
                    </a:cubicBezTo>
                    <a:cubicBezTo>
                      <a:pt x="4353" y="8096"/>
                      <a:pt x="4353" y="8096"/>
                      <a:pt x="4353" y="8096"/>
                    </a:cubicBezTo>
                    <a:cubicBezTo>
                      <a:pt x="4353" y="8092"/>
                      <a:pt x="4353" y="8092"/>
                      <a:pt x="4353" y="8092"/>
                    </a:cubicBezTo>
                    <a:cubicBezTo>
                      <a:pt x="4322" y="8092"/>
                      <a:pt x="4322" y="8092"/>
                      <a:pt x="4322" y="8092"/>
                    </a:cubicBezTo>
                    <a:cubicBezTo>
                      <a:pt x="4322" y="8157"/>
                      <a:pt x="4322" y="8157"/>
                      <a:pt x="4322" y="8157"/>
                    </a:cubicBezTo>
                    <a:lnTo>
                      <a:pt x="4369" y="8157"/>
                    </a:lnTo>
                    <a:close/>
                    <a:moveTo>
                      <a:pt x="7083" y="6232"/>
                    </a:moveTo>
                    <a:cubicBezTo>
                      <a:pt x="7213" y="6231"/>
                      <a:pt x="7213" y="6231"/>
                      <a:pt x="7213" y="6231"/>
                    </a:cubicBezTo>
                    <a:cubicBezTo>
                      <a:pt x="7212" y="6402"/>
                      <a:pt x="7212" y="6402"/>
                      <a:pt x="7212" y="6402"/>
                    </a:cubicBezTo>
                    <a:cubicBezTo>
                      <a:pt x="7125" y="6402"/>
                      <a:pt x="7125" y="6402"/>
                      <a:pt x="7125" y="6402"/>
                    </a:cubicBezTo>
                    <a:cubicBezTo>
                      <a:pt x="7125" y="6500"/>
                      <a:pt x="7125" y="6500"/>
                      <a:pt x="7125" y="6500"/>
                    </a:cubicBezTo>
                    <a:cubicBezTo>
                      <a:pt x="7002" y="6500"/>
                      <a:pt x="7002" y="6500"/>
                      <a:pt x="7002" y="6500"/>
                    </a:cubicBezTo>
                    <a:cubicBezTo>
                      <a:pt x="7000" y="6318"/>
                      <a:pt x="7000" y="6318"/>
                      <a:pt x="7000" y="6318"/>
                    </a:cubicBezTo>
                    <a:cubicBezTo>
                      <a:pt x="7083" y="6316"/>
                      <a:pt x="7083" y="6316"/>
                      <a:pt x="7083" y="6316"/>
                    </a:cubicBezTo>
                    <a:lnTo>
                      <a:pt x="7083" y="6232"/>
                    </a:lnTo>
                    <a:close/>
                    <a:moveTo>
                      <a:pt x="7096" y="6245"/>
                    </a:moveTo>
                    <a:cubicBezTo>
                      <a:pt x="7097" y="6329"/>
                      <a:pt x="7097" y="6329"/>
                      <a:pt x="7097" y="6329"/>
                    </a:cubicBezTo>
                    <a:cubicBezTo>
                      <a:pt x="7013" y="6331"/>
                      <a:pt x="7013" y="6331"/>
                      <a:pt x="7013" y="6331"/>
                    </a:cubicBezTo>
                    <a:cubicBezTo>
                      <a:pt x="7015" y="6487"/>
                      <a:pt x="7015" y="6487"/>
                      <a:pt x="7015" y="6487"/>
                    </a:cubicBezTo>
                    <a:cubicBezTo>
                      <a:pt x="7112" y="6487"/>
                      <a:pt x="7112" y="6487"/>
                      <a:pt x="7112" y="6487"/>
                    </a:cubicBezTo>
                    <a:cubicBezTo>
                      <a:pt x="7112" y="6389"/>
                      <a:pt x="7112" y="6389"/>
                      <a:pt x="7112" y="6389"/>
                    </a:cubicBezTo>
                    <a:cubicBezTo>
                      <a:pt x="7119" y="6389"/>
                      <a:pt x="7119" y="6389"/>
                      <a:pt x="7119" y="6389"/>
                    </a:cubicBezTo>
                    <a:cubicBezTo>
                      <a:pt x="7199" y="6388"/>
                      <a:pt x="7199" y="6388"/>
                      <a:pt x="7199" y="6388"/>
                    </a:cubicBezTo>
                    <a:cubicBezTo>
                      <a:pt x="7200" y="6244"/>
                      <a:pt x="7200" y="6244"/>
                      <a:pt x="7200" y="6244"/>
                    </a:cubicBezTo>
                    <a:lnTo>
                      <a:pt x="7096" y="6245"/>
                    </a:lnTo>
                    <a:close/>
                    <a:moveTo>
                      <a:pt x="5539" y="2111"/>
                    </a:moveTo>
                    <a:cubicBezTo>
                      <a:pt x="5396" y="2086"/>
                      <a:pt x="5396" y="2086"/>
                      <a:pt x="5396" y="2086"/>
                    </a:cubicBezTo>
                    <a:cubicBezTo>
                      <a:pt x="5408" y="2016"/>
                      <a:pt x="5408" y="2016"/>
                      <a:pt x="5408" y="2016"/>
                    </a:cubicBezTo>
                    <a:cubicBezTo>
                      <a:pt x="5557" y="2042"/>
                      <a:pt x="5557" y="2042"/>
                      <a:pt x="5557" y="2042"/>
                    </a:cubicBezTo>
                    <a:cubicBezTo>
                      <a:pt x="5545" y="2112"/>
                      <a:pt x="5545" y="2112"/>
                      <a:pt x="5545" y="2112"/>
                    </a:cubicBezTo>
                    <a:lnTo>
                      <a:pt x="5539" y="2111"/>
                    </a:lnTo>
                    <a:close/>
                    <a:moveTo>
                      <a:pt x="5535" y="2097"/>
                    </a:moveTo>
                    <a:cubicBezTo>
                      <a:pt x="5542" y="2052"/>
                      <a:pt x="5542" y="2052"/>
                      <a:pt x="5542" y="2052"/>
                    </a:cubicBezTo>
                    <a:cubicBezTo>
                      <a:pt x="5419" y="2030"/>
                      <a:pt x="5419" y="2030"/>
                      <a:pt x="5419" y="2030"/>
                    </a:cubicBezTo>
                    <a:cubicBezTo>
                      <a:pt x="5411" y="2076"/>
                      <a:pt x="5411" y="2076"/>
                      <a:pt x="5411" y="2076"/>
                    </a:cubicBezTo>
                    <a:lnTo>
                      <a:pt x="5535" y="2097"/>
                    </a:lnTo>
                    <a:close/>
                    <a:moveTo>
                      <a:pt x="4267" y="7742"/>
                    </a:moveTo>
                    <a:cubicBezTo>
                      <a:pt x="4368" y="7919"/>
                      <a:pt x="4368" y="7919"/>
                      <a:pt x="4368" y="7919"/>
                    </a:cubicBezTo>
                    <a:cubicBezTo>
                      <a:pt x="4362" y="7923"/>
                      <a:pt x="4362" y="7923"/>
                      <a:pt x="4362" y="7923"/>
                    </a:cubicBezTo>
                    <a:cubicBezTo>
                      <a:pt x="4287" y="7971"/>
                      <a:pt x="4287" y="7971"/>
                      <a:pt x="4287" y="7971"/>
                    </a:cubicBezTo>
                    <a:cubicBezTo>
                      <a:pt x="4242" y="7898"/>
                      <a:pt x="4242" y="7898"/>
                      <a:pt x="4242" y="7898"/>
                    </a:cubicBezTo>
                    <a:cubicBezTo>
                      <a:pt x="4158" y="7939"/>
                      <a:pt x="4158" y="7939"/>
                      <a:pt x="4158" y="7939"/>
                    </a:cubicBezTo>
                    <a:cubicBezTo>
                      <a:pt x="4088" y="7833"/>
                      <a:pt x="4088" y="7833"/>
                      <a:pt x="4088" y="7833"/>
                    </a:cubicBezTo>
                    <a:lnTo>
                      <a:pt x="4267" y="7742"/>
                    </a:lnTo>
                    <a:close/>
                    <a:moveTo>
                      <a:pt x="4348" y="7915"/>
                    </a:moveTo>
                    <a:cubicBezTo>
                      <a:pt x="4262" y="7762"/>
                      <a:pt x="4262" y="7762"/>
                      <a:pt x="4262" y="7762"/>
                    </a:cubicBezTo>
                    <a:cubicBezTo>
                      <a:pt x="4109" y="7838"/>
                      <a:pt x="4109" y="7838"/>
                      <a:pt x="4109" y="7838"/>
                    </a:cubicBezTo>
                    <a:cubicBezTo>
                      <a:pt x="4163" y="7920"/>
                      <a:pt x="4163" y="7920"/>
                      <a:pt x="4163" y="7920"/>
                    </a:cubicBezTo>
                    <a:cubicBezTo>
                      <a:pt x="4248" y="7879"/>
                      <a:pt x="4248" y="7879"/>
                      <a:pt x="4248" y="7879"/>
                    </a:cubicBezTo>
                    <a:cubicBezTo>
                      <a:pt x="4292" y="7950"/>
                      <a:pt x="4292" y="7950"/>
                      <a:pt x="4292" y="7950"/>
                    </a:cubicBezTo>
                    <a:lnTo>
                      <a:pt x="4348" y="7915"/>
                    </a:lnTo>
                    <a:close/>
                    <a:moveTo>
                      <a:pt x="4968" y="2889"/>
                    </a:moveTo>
                    <a:cubicBezTo>
                      <a:pt x="4957" y="2635"/>
                      <a:pt x="4957" y="2635"/>
                      <a:pt x="4957" y="2635"/>
                    </a:cubicBezTo>
                    <a:cubicBezTo>
                      <a:pt x="5041" y="2631"/>
                      <a:pt x="5041" y="2631"/>
                      <a:pt x="5041" y="2631"/>
                    </a:cubicBezTo>
                    <a:cubicBezTo>
                      <a:pt x="5052" y="2891"/>
                      <a:pt x="5052" y="2891"/>
                      <a:pt x="5052" y="2891"/>
                    </a:cubicBezTo>
                    <a:cubicBezTo>
                      <a:pt x="4968" y="2895"/>
                      <a:pt x="4968" y="2895"/>
                      <a:pt x="4968" y="2895"/>
                    </a:cubicBezTo>
                    <a:lnTo>
                      <a:pt x="4968" y="2889"/>
                    </a:lnTo>
                    <a:close/>
                    <a:moveTo>
                      <a:pt x="4970" y="2648"/>
                    </a:moveTo>
                    <a:cubicBezTo>
                      <a:pt x="4981" y="2881"/>
                      <a:pt x="4981" y="2881"/>
                      <a:pt x="4981" y="2881"/>
                    </a:cubicBezTo>
                    <a:cubicBezTo>
                      <a:pt x="5039" y="2879"/>
                      <a:pt x="5039" y="2879"/>
                      <a:pt x="5039" y="2879"/>
                    </a:cubicBezTo>
                    <a:cubicBezTo>
                      <a:pt x="5028" y="2645"/>
                      <a:pt x="5028" y="2645"/>
                      <a:pt x="5028" y="2645"/>
                    </a:cubicBezTo>
                    <a:lnTo>
                      <a:pt x="4970" y="2648"/>
                    </a:lnTo>
                    <a:close/>
                    <a:moveTo>
                      <a:pt x="3834" y="7523"/>
                    </a:moveTo>
                    <a:cubicBezTo>
                      <a:pt x="3879" y="7312"/>
                      <a:pt x="3879" y="7312"/>
                      <a:pt x="3879" y="7312"/>
                    </a:cubicBezTo>
                    <a:cubicBezTo>
                      <a:pt x="4016" y="7349"/>
                      <a:pt x="4016" y="7349"/>
                      <a:pt x="4016" y="7349"/>
                    </a:cubicBezTo>
                    <a:cubicBezTo>
                      <a:pt x="4010" y="7358"/>
                      <a:pt x="4010" y="7358"/>
                      <a:pt x="4010" y="7358"/>
                    </a:cubicBezTo>
                    <a:cubicBezTo>
                      <a:pt x="3892" y="7518"/>
                      <a:pt x="3892" y="7518"/>
                      <a:pt x="3892" y="7518"/>
                    </a:cubicBezTo>
                    <a:lnTo>
                      <a:pt x="3834" y="7523"/>
                    </a:lnTo>
                    <a:close/>
                    <a:moveTo>
                      <a:pt x="3852" y="7507"/>
                    </a:moveTo>
                    <a:cubicBezTo>
                      <a:pt x="3885" y="7504"/>
                      <a:pt x="3885" y="7504"/>
                      <a:pt x="3885" y="7504"/>
                    </a:cubicBezTo>
                    <a:cubicBezTo>
                      <a:pt x="3991" y="7358"/>
                      <a:pt x="3991" y="7358"/>
                      <a:pt x="3991" y="7358"/>
                    </a:cubicBezTo>
                    <a:cubicBezTo>
                      <a:pt x="3890" y="7330"/>
                      <a:pt x="3890" y="7330"/>
                      <a:pt x="3890" y="7330"/>
                    </a:cubicBezTo>
                    <a:lnTo>
                      <a:pt x="3852" y="7507"/>
                    </a:lnTo>
                    <a:close/>
                    <a:moveTo>
                      <a:pt x="5237" y="2836"/>
                    </a:moveTo>
                    <a:cubicBezTo>
                      <a:pt x="5226" y="2583"/>
                      <a:pt x="5226" y="2583"/>
                      <a:pt x="5226" y="2583"/>
                    </a:cubicBezTo>
                    <a:cubicBezTo>
                      <a:pt x="5310" y="2579"/>
                      <a:pt x="5310" y="2579"/>
                      <a:pt x="5310" y="2579"/>
                    </a:cubicBezTo>
                    <a:cubicBezTo>
                      <a:pt x="5321" y="2839"/>
                      <a:pt x="5321" y="2839"/>
                      <a:pt x="5321" y="2839"/>
                    </a:cubicBezTo>
                    <a:cubicBezTo>
                      <a:pt x="5237" y="2843"/>
                      <a:pt x="5237" y="2843"/>
                      <a:pt x="5237" y="2843"/>
                    </a:cubicBezTo>
                    <a:lnTo>
                      <a:pt x="5237" y="2836"/>
                    </a:lnTo>
                    <a:close/>
                    <a:moveTo>
                      <a:pt x="5239" y="2595"/>
                    </a:moveTo>
                    <a:cubicBezTo>
                      <a:pt x="5250" y="2829"/>
                      <a:pt x="5250" y="2829"/>
                      <a:pt x="5250" y="2829"/>
                    </a:cubicBezTo>
                    <a:cubicBezTo>
                      <a:pt x="5308" y="2826"/>
                      <a:pt x="5308" y="2826"/>
                      <a:pt x="5308" y="2826"/>
                    </a:cubicBezTo>
                    <a:cubicBezTo>
                      <a:pt x="5297" y="2593"/>
                      <a:pt x="5297" y="2593"/>
                      <a:pt x="5297" y="2593"/>
                    </a:cubicBezTo>
                    <a:lnTo>
                      <a:pt x="5239" y="2595"/>
                    </a:lnTo>
                    <a:close/>
                    <a:moveTo>
                      <a:pt x="5217" y="2235"/>
                    </a:moveTo>
                    <a:cubicBezTo>
                      <a:pt x="5311" y="2235"/>
                      <a:pt x="5311" y="2235"/>
                      <a:pt x="5311" y="2235"/>
                    </a:cubicBezTo>
                    <a:cubicBezTo>
                      <a:pt x="5310" y="2416"/>
                      <a:pt x="5310" y="2416"/>
                      <a:pt x="5310" y="2416"/>
                    </a:cubicBezTo>
                    <a:cubicBezTo>
                      <a:pt x="5303" y="2416"/>
                      <a:pt x="5303" y="2416"/>
                      <a:pt x="5303" y="2416"/>
                    </a:cubicBezTo>
                    <a:cubicBezTo>
                      <a:pt x="5216" y="2416"/>
                      <a:pt x="5216" y="2416"/>
                      <a:pt x="5216" y="2416"/>
                    </a:cubicBezTo>
                    <a:cubicBezTo>
                      <a:pt x="5216" y="2371"/>
                      <a:pt x="5216" y="2371"/>
                      <a:pt x="5216" y="2371"/>
                    </a:cubicBezTo>
                    <a:cubicBezTo>
                      <a:pt x="5154" y="2371"/>
                      <a:pt x="5154" y="2371"/>
                      <a:pt x="5154" y="2371"/>
                    </a:cubicBezTo>
                    <a:cubicBezTo>
                      <a:pt x="5155" y="2279"/>
                      <a:pt x="5155" y="2279"/>
                      <a:pt x="5155" y="2279"/>
                    </a:cubicBezTo>
                    <a:cubicBezTo>
                      <a:pt x="5217" y="2279"/>
                      <a:pt x="5217" y="2279"/>
                      <a:pt x="5217" y="2279"/>
                    </a:cubicBezTo>
                    <a:lnTo>
                      <a:pt x="5217" y="2235"/>
                    </a:lnTo>
                    <a:close/>
                    <a:moveTo>
                      <a:pt x="5230" y="2293"/>
                    </a:moveTo>
                    <a:cubicBezTo>
                      <a:pt x="5168" y="2292"/>
                      <a:pt x="5168" y="2292"/>
                      <a:pt x="5168" y="2292"/>
                    </a:cubicBezTo>
                    <a:cubicBezTo>
                      <a:pt x="5168" y="2358"/>
                      <a:pt x="5168" y="2358"/>
                      <a:pt x="5168" y="2358"/>
                    </a:cubicBezTo>
                    <a:cubicBezTo>
                      <a:pt x="5230" y="2358"/>
                      <a:pt x="5230" y="2358"/>
                      <a:pt x="5230" y="2358"/>
                    </a:cubicBezTo>
                    <a:cubicBezTo>
                      <a:pt x="5229" y="2403"/>
                      <a:pt x="5229" y="2403"/>
                      <a:pt x="5229" y="2403"/>
                    </a:cubicBezTo>
                    <a:cubicBezTo>
                      <a:pt x="5297" y="2403"/>
                      <a:pt x="5297" y="2403"/>
                      <a:pt x="5297" y="2403"/>
                    </a:cubicBezTo>
                    <a:cubicBezTo>
                      <a:pt x="5298" y="2248"/>
                      <a:pt x="5298" y="2248"/>
                      <a:pt x="5298" y="2248"/>
                    </a:cubicBezTo>
                    <a:cubicBezTo>
                      <a:pt x="5230" y="2248"/>
                      <a:pt x="5230" y="2248"/>
                      <a:pt x="5230" y="2248"/>
                    </a:cubicBezTo>
                    <a:lnTo>
                      <a:pt x="5230" y="2293"/>
                    </a:lnTo>
                    <a:close/>
                    <a:moveTo>
                      <a:pt x="5433" y="2489"/>
                    </a:moveTo>
                    <a:cubicBezTo>
                      <a:pt x="5584" y="2492"/>
                      <a:pt x="5584" y="2492"/>
                      <a:pt x="5584" y="2492"/>
                    </a:cubicBezTo>
                    <a:cubicBezTo>
                      <a:pt x="5583" y="2563"/>
                      <a:pt x="5583" y="2563"/>
                      <a:pt x="5583" y="2563"/>
                    </a:cubicBezTo>
                    <a:cubicBezTo>
                      <a:pt x="5577" y="2563"/>
                      <a:pt x="5577" y="2563"/>
                      <a:pt x="5577" y="2563"/>
                    </a:cubicBezTo>
                    <a:cubicBezTo>
                      <a:pt x="5432" y="2561"/>
                      <a:pt x="5432" y="2561"/>
                      <a:pt x="5432" y="2561"/>
                    </a:cubicBezTo>
                    <a:lnTo>
                      <a:pt x="5433" y="2489"/>
                    </a:lnTo>
                    <a:close/>
                    <a:moveTo>
                      <a:pt x="5445" y="2548"/>
                    </a:moveTo>
                    <a:cubicBezTo>
                      <a:pt x="5570" y="2550"/>
                      <a:pt x="5570" y="2550"/>
                      <a:pt x="5570" y="2550"/>
                    </a:cubicBezTo>
                    <a:cubicBezTo>
                      <a:pt x="5571" y="2504"/>
                      <a:pt x="5571" y="2504"/>
                      <a:pt x="5571" y="2504"/>
                    </a:cubicBezTo>
                    <a:cubicBezTo>
                      <a:pt x="5446" y="2502"/>
                      <a:pt x="5446" y="2502"/>
                      <a:pt x="5446" y="2502"/>
                    </a:cubicBezTo>
                    <a:lnTo>
                      <a:pt x="5445" y="2548"/>
                    </a:lnTo>
                    <a:close/>
                    <a:moveTo>
                      <a:pt x="2156" y="6260"/>
                    </a:moveTo>
                    <a:cubicBezTo>
                      <a:pt x="1995" y="5883"/>
                      <a:pt x="1995" y="5883"/>
                      <a:pt x="1995" y="5883"/>
                    </a:cubicBezTo>
                    <a:cubicBezTo>
                      <a:pt x="2101" y="5918"/>
                      <a:pt x="2101" y="5918"/>
                      <a:pt x="2101" y="5918"/>
                    </a:cubicBezTo>
                    <a:cubicBezTo>
                      <a:pt x="2178" y="6074"/>
                      <a:pt x="2178" y="6074"/>
                      <a:pt x="2178" y="6074"/>
                    </a:cubicBezTo>
                    <a:cubicBezTo>
                      <a:pt x="2270" y="6107"/>
                      <a:pt x="2270" y="6107"/>
                      <a:pt x="2270" y="6107"/>
                    </a:cubicBezTo>
                    <a:cubicBezTo>
                      <a:pt x="2303" y="6042"/>
                      <a:pt x="2303" y="6042"/>
                      <a:pt x="2303" y="6042"/>
                    </a:cubicBezTo>
                    <a:cubicBezTo>
                      <a:pt x="2472" y="6097"/>
                      <a:pt x="2472" y="6097"/>
                      <a:pt x="2472" y="6097"/>
                    </a:cubicBezTo>
                    <a:cubicBezTo>
                      <a:pt x="2469" y="6105"/>
                      <a:pt x="2469" y="6105"/>
                      <a:pt x="2469" y="6105"/>
                    </a:cubicBezTo>
                    <a:cubicBezTo>
                      <a:pt x="2405" y="6266"/>
                      <a:pt x="2405" y="6266"/>
                      <a:pt x="2405" y="6266"/>
                    </a:cubicBezTo>
                    <a:cubicBezTo>
                      <a:pt x="2364" y="6252"/>
                      <a:pt x="2364" y="6252"/>
                      <a:pt x="2364" y="6252"/>
                    </a:cubicBezTo>
                    <a:cubicBezTo>
                      <a:pt x="2337" y="6320"/>
                      <a:pt x="2337" y="6320"/>
                      <a:pt x="2337" y="6320"/>
                    </a:cubicBezTo>
                    <a:lnTo>
                      <a:pt x="2156" y="6260"/>
                    </a:lnTo>
                    <a:close/>
                    <a:moveTo>
                      <a:pt x="2021" y="5907"/>
                    </a:moveTo>
                    <a:cubicBezTo>
                      <a:pt x="2167" y="6248"/>
                      <a:pt x="2167" y="6248"/>
                      <a:pt x="2167" y="6248"/>
                    </a:cubicBezTo>
                    <a:cubicBezTo>
                      <a:pt x="2328" y="6301"/>
                      <a:pt x="2328" y="6301"/>
                      <a:pt x="2328" y="6301"/>
                    </a:cubicBezTo>
                    <a:cubicBezTo>
                      <a:pt x="2356" y="6234"/>
                      <a:pt x="2356" y="6234"/>
                      <a:pt x="2356" y="6234"/>
                    </a:cubicBezTo>
                    <a:cubicBezTo>
                      <a:pt x="2396" y="6247"/>
                      <a:pt x="2396" y="6247"/>
                      <a:pt x="2396" y="6247"/>
                    </a:cubicBezTo>
                    <a:cubicBezTo>
                      <a:pt x="2453" y="6106"/>
                      <a:pt x="2453" y="6106"/>
                      <a:pt x="2453" y="6106"/>
                    </a:cubicBezTo>
                    <a:cubicBezTo>
                      <a:pt x="2310" y="6060"/>
                      <a:pt x="2310" y="6060"/>
                      <a:pt x="2310" y="6060"/>
                    </a:cubicBezTo>
                    <a:cubicBezTo>
                      <a:pt x="2278" y="6125"/>
                      <a:pt x="2278" y="6125"/>
                      <a:pt x="2278" y="6125"/>
                    </a:cubicBezTo>
                    <a:cubicBezTo>
                      <a:pt x="2167" y="6086"/>
                      <a:pt x="2167" y="6086"/>
                      <a:pt x="2167" y="6086"/>
                    </a:cubicBezTo>
                    <a:cubicBezTo>
                      <a:pt x="2091" y="5930"/>
                      <a:pt x="2091" y="5930"/>
                      <a:pt x="2091" y="5930"/>
                    </a:cubicBezTo>
                    <a:lnTo>
                      <a:pt x="2021" y="5907"/>
                    </a:lnTo>
                    <a:close/>
                    <a:moveTo>
                      <a:pt x="5582" y="2682"/>
                    </a:moveTo>
                    <a:cubicBezTo>
                      <a:pt x="5596" y="2786"/>
                      <a:pt x="5596" y="2786"/>
                      <a:pt x="5596" y="2786"/>
                    </a:cubicBezTo>
                    <a:cubicBezTo>
                      <a:pt x="5449" y="2805"/>
                      <a:pt x="5449" y="2805"/>
                      <a:pt x="5449" y="2805"/>
                    </a:cubicBezTo>
                    <a:cubicBezTo>
                      <a:pt x="5448" y="2798"/>
                      <a:pt x="5448" y="2798"/>
                      <a:pt x="5448" y="2798"/>
                    </a:cubicBezTo>
                    <a:cubicBezTo>
                      <a:pt x="5436" y="2701"/>
                      <a:pt x="5436" y="2701"/>
                      <a:pt x="5436" y="2701"/>
                    </a:cubicBezTo>
                    <a:lnTo>
                      <a:pt x="5582" y="2682"/>
                    </a:lnTo>
                    <a:close/>
                    <a:moveTo>
                      <a:pt x="5581" y="2774"/>
                    </a:moveTo>
                    <a:cubicBezTo>
                      <a:pt x="5571" y="2697"/>
                      <a:pt x="5571" y="2697"/>
                      <a:pt x="5571" y="2697"/>
                    </a:cubicBezTo>
                    <a:cubicBezTo>
                      <a:pt x="5450" y="2712"/>
                      <a:pt x="5450" y="2712"/>
                      <a:pt x="5450" y="2712"/>
                    </a:cubicBezTo>
                    <a:cubicBezTo>
                      <a:pt x="5460" y="2790"/>
                      <a:pt x="5460" y="2790"/>
                      <a:pt x="5460" y="2790"/>
                    </a:cubicBezTo>
                    <a:lnTo>
                      <a:pt x="5581" y="2774"/>
                    </a:lnTo>
                    <a:close/>
                    <a:moveTo>
                      <a:pt x="5447" y="2325"/>
                    </a:moveTo>
                    <a:cubicBezTo>
                      <a:pt x="5596" y="2351"/>
                      <a:pt x="5596" y="2351"/>
                      <a:pt x="5596" y="2351"/>
                    </a:cubicBezTo>
                    <a:cubicBezTo>
                      <a:pt x="5584" y="2422"/>
                      <a:pt x="5584" y="2422"/>
                      <a:pt x="5584" y="2422"/>
                    </a:cubicBezTo>
                    <a:cubicBezTo>
                      <a:pt x="5578" y="2421"/>
                      <a:pt x="5578" y="2421"/>
                      <a:pt x="5578" y="2421"/>
                    </a:cubicBezTo>
                    <a:cubicBezTo>
                      <a:pt x="5435" y="2396"/>
                      <a:pt x="5435" y="2396"/>
                      <a:pt x="5435" y="2396"/>
                    </a:cubicBezTo>
                    <a:lnTo>
                      <a:pt x="5447" y="2325"/>
                    </a:lnTo>
                    <a:close/>
                    <a:moveTo>
                      <a:pt x="5450" y="2385"/>
                    </a:moveTo>
                    <a:cubicBezTo>
                      <a:pt x="5574" y="2407"/>
                      <a:pt x="5574" y="2407"/>
                      <a:pt x="5574" y="2407"/>
                    </a:cubicBezTo>
                    <a:cubicBezTo>
                      <a:pt x="5581" y="2362"/>
                      <a:pt x="5581" y="2362"/>
                      <a:pt x="5581" y="2362"/>
                    </a:cubicBezTo>
                    <a:cubicBezTo>
                      <a:pt x="5458" y="2340"/>
                      <a:pt x="5458" y="2340"/>
                      <a:pt x="5458" y="2340"/>
                    </a:cubicBezTo>
                    <a:lnTo>
                      <a:pt x="5450" y="2385"/>
                    </a:lnTo>
                    <a:close/>
                    <a:moveTo>
                      <a:pt x="5758" y="2923"/>
                    </a:moveTo>
                    <a:cubicBezTo>
                      <a:pt x="5906" y="2932"/>
                      <a:pt x="5906" y="2932"/>
                      <a:pt x="5906" y="2932"/>
                    </a:cubicBezTo>
                    <a:cubicBezTo>
                      <a:pt x="5899" y="3036"/>
                      <a:pt x="5899" y="3036"/>
                      <a:pt x="5899" y="3036"/>
                    </a:cubicBezTo>
                    <a:cubicBezTo>
                      <a:pt x="5752" y="3027"/>
                      <a:pt x="5752" y="3027"/>
                      <a:pt x="5752" y="3027"/>
                    </a:cubicBezTo>
                    <a:cubicBezTo>
                      <a:pt x="5752" y="3020"/>
                      <a:pt x="5752" y="3020"/>
                      <a:pt x="5752" y="3020"/>
                    </a:cubicBezTo>
                    <a:lnTo>
                      <a:pt x="5758" y="2923"/>
                    </a:lnTo>
                    <a:close/>
                    <a:moveTo>
                      <a:pt x="5765" y="3015"/>
                    </a:moveTo>
                    <a:cubicBezTo>
                      <a:pt x="5887" y="3022"/>
                      <a:pt x="5887" y="3022"/>
                      <a:pt x="5887" y="3022"/>
                    </a:cubicBezTo>
                    <a:cubicBezTo>
                      <a:pt x="5892" y="2944"/>
                      <a:pt x="5892" y="2944"/>
                      <a:pt x="5892" y="2944"/>
                    </a:cubicBezTo>
                    <a:cubicBezTo>
                      <a:pt x="5770" y="2936"/>
                      <a:pt x="5770" y="2936"/>
                      <a:pt x="5770" y="2936"/>
                    </a:cubicBezTo>
                    <a:lnTo>
                      <a:pt x="5765" y="3015"/>
                    </a:lnTo>
                    <a:close/>
                    <a:moveTo>
                      <a:pt x="5465" y="1244"/>
                    </a:moveTo>
                    <a:cubicBezTo>
                      <a:pt x="5614" y="1270"/>
                      <a:pt x="5614" y="1270"/>
                      <a:pt x="5614" y="1270"/>
                    </a:cubicBezTo>
                    <a:cubicBezTo>
                      <a:pt x="5602" y="1341"/>
                      <a:pt x="5602" y="1341"/>
                      <a:pt x="5602" y="1341"/>
                    </a:cubicBezTo>
                    <a:cubicBezTo>
                      <a:pt x="5596" y="1340"/>
                      <a:pt x="5596" y="1340"/>
                      <a:pt x="5596" y="1340"/>
                    </a:cubicBezTo>
                    <a:cubicBezTo>
                      <a:pt x="5453" y="1315"/>
                      <a:pt x="5453" y="1315"/>
                      <a:pt x="5453" y="1315"/>
                    </a:cubicBezTo>
                    <a:lnTo>
                      <a:pt x="5465" y="1244"/>
                    </a:lnTo>
                    <a:close/>
                    <a:moveTo>
                      <a:pt x="5468" y="1304"/>
                    </a:moveTo>
                    <a:cubicBezTo>
                      <a:pt x="5592" y="1326"/>
                      <a:pt x="5592" y="1326"/>
                      <a:pt x="5592" y="1326"/>
                    </a:cubicBezTo>
                    <a:cubicBezTo>
                      <a:pt x="5600" y="1281"/>
                      <a:pt x="5600" y="1281"/>
                      <a:pt x="5600" y="1281"/>
                    </a:cubicBezTo>
                    <a:cubicBezTo>
                      <a:pt x="5476" y="1259"/>
                      <a:pt x="5476" y="1259"/>
                      <a:pt x="5476" y="1259"/>
                    </a:cubicBezTo>
                    <a:lnTo>
                      <a:pt x="5468" y="1304"/>
                    </a:lnTo>
                    <a:close/>
                    <a:moveTo>
                      <a:pt x="5192" y="2991"/>
                    </a:moveTo>
                    <a:cubicBezTo>
                      <a:pt x="5209" y="3095"/>
                      <a:pt x="5209" y="3095"/>
                      <a:pt x="5209" y="3095"/>
                    </a:cubicBezTo>
                    <a:cubicBezTo>
                      <a:pt x="5063" y="3118"/>
                      <a:pt x="5063" y="3118"/>
                      <a:pt x="5063" y="3118"/>
                    </a:cubicBezTo>
                    <a:cubicBezTo>
                      <a:pt x="5061" y="3111"/>
                      <a:pt x="5061" y="3111"/>
                      <a:pt x="5061" y="3111"/>
                    </a:cubicBezTo>
                    <a:cubicBezTo>
                      <a:pt x="5046" y="3015"/>
                      <a:pt x="5046" y="3015"/>
                      <a:pt x="5046" y="3015"/>
                    </a:cubicBezTo>
                    <a:lnTo>
                      <a:pt x="5192" y="2991"/>
                    </a:lnTo>
                    <a:close/>
                    <a:moveTo>
                      <a:pt x="5194" y="3084"/>
                    </a:moveTo>
                    <a:cubicBezTo>
                      <a:pt x="5181" y="3006"/>
                      <a:pt x="5181" y="3006"/>
                      <a:pt x="5181" y="3006"/>
                    </a:cubicBezTo>
                    <a:cubicBezTo>
                      <a:pt x="5061" y="3025"/>
                      <a:pt x="5061" y="3025"/>
                      <a:pt x="5061" y="3025"/>
                    </a:cubicBezTo>
                    <a:cubicBezTo>
                      <a:pt x="5073" y="3103"/>
                      <a:pt x="5073" y="3103"/>
                      <a:pt x="5073" y="3103"/>
                    </a:cubicBezTo>
                    <a:lnTo>
                      <a:pt x="5194" y="3084"/>
                    </a:lnTo>
                    <a:close/>
                    <a:moveTo>
                      <a:pt x="5364" y="3576"/>
                    </a:moveTo>
                    <a:cubicBezTo>
                      <a:pt x="5318" y="3585"/>
                      <a:pt x="5318" y="3585"/>
                      <a:pt x="5318" y="3585"/>
                    </a:cubicBezTo>
                    <a:cubicBezTo>
                      <a:pt x="5326" y="3627"/>
                      <a:pt x="5326" y="3627"/>
                      <a:pt x="5326" y="3627"/>
                    </a:cubicBezTo>
                    <a:cubicBezTo>
                      <a:pt x="5212" y="3650"/>
                      <a:pt x="5212" y="3650"/>
                      <a:pt x="5212" y="3650"/>
                    </a:cubicBezTo>
                    <a:cubicBezTo>
                      <a:pt x="5203" y="3608"/>
                      <a:pt x="5203" y="3608"/>
                      <a:pt x="5203" y="3608"/>
                    </a:cubicBezTo>
                    <a:cubicBezTo>
                      <a:pt x="5157" y="3617"/>
                      <a:pt x="5157" y="3617"/>
                      <a:pt x="5157" y="3617"/>
                    </a:cubicBezTo>
                    <a:cubicBezTo>
                      <a:pt x="5140" y="3532"/>
                      <a:pt x="5140" y="3532"/>
                      <a:pt x="5140" y="3532"/>
                    </a:cubicBezTo>
                    <a:cubicBezTo>
                      <a:pt x="5347" y="3491"/>
                      <a:pt x="5347" y="3491"/>
                      <a:pt x="5347" y="3491"/>
                    </a:cubicBezTo>
                    <a:cubicBezTo>
                      <a:pt x="5348" y="3498"/>
                      <a:pt x="5348" y="3498"/>
                      <a:pt x="5348" y="3498"/>
                    </a:cubicBezTo>
                    <a:lnTo>
                      <a:pt x="5364" y="3576"/>
                    </a:lnTo>
                    <a:close/>
                    <a:moveTo>
                      <a:pt x="5302" y="3575"/>
                    </a:moveTo>
                    <a:cubicBezTo>
                      <a:pt x="5348" y="3565"/>
                      <a:pt x="5348" y="3565"/>
                      <a:pt x="5348" y="3565"/>
                    </a:cubicBezTo>
                    <a:cubicBezTo>
                      <a:pt x="5336" y="3507"/>
                      <a:pt x="5336" y="3507"/>
                      <a:pt x="5336" y="3507"/>
                    </a:cubicBezTo>
                    <a:cubicBezTo>
                      <a:pt x="5156" y="3543"/>
                      <a:pt x="5156" y="3543"/>
                      <a:pt x="5156" y="3543"/>
                    </a:cubicBezTo>
                    <a:cubicBezTo>
                      <a:pt x="5167" y="3602"/>
                      <a:pt x="5167" y="3602"/>
                      <a:pt x="5167" y="3602"/>
                    </a:cubicBezTo>
                    <a:cubicBezTo>
                      <a:pt x="5213" y="3592"/>
                      <a:pt x="5213" y="3592"/>
                      <a:pt x="5213" y="3592"/>
                    </a:cubicBezTo>
                    <a:cubicBezTo>
                      <a:pt x="5222" y="3635"/>
                      <a:pt x="5222" y="3635"/>
                      <a:pt x="5222" y="3635"/>
                    </a:cubicBezTo>
                    <a:cubicBezTo>
                      <a:pt x="5311" y="3617"/>
                      <a:pt x="5311" y="3617"/>
                      <a:pt x="5311" y="3617"/>
                    </a:cubicBezTo>
                    <a:lnTo>
                      <a:pt x="5302" y="3575"/>
                    </a:lnTo>
                    <a:close/>
                    <a:moveTo>
                      <a:pt x="6858" y="4595"/>
                    </a:moveTo>
                    <a:cubicBezTo>
                      <a:pt x="6933" y="4602"/>
                      <a:pt x="6933" y="4602"/>
                      <a:pt x="6933" y="4602"/>
                    </a:cubicBezTo>
                    <a:cubicBezTo>
                      <a:pt x="6926" y="4678"/>
                      <a:pt x="6926" y="4678"/>
                      <a:pt x="6926" y="4678"/>
                    </a:cubicBezTo>
                    <a:cubicBezTo>
                      <a:pt x="6920" y="4677"/>
                      <a:pt x="6920" y="4677"/>
                      <a:pt x="6920" y="4677"/>
                    </a:cubicBezTo>
                    <a:cubicBezTo>
                      <a:pt x="6729" y="4657"/>
                      <a:pt x="6729" y="4657"/>
                      <a:pt x="6729" y="4657"/>
                    </a:cubicBezTo>
                    <a:cubicBezTo>
                      <a:pt x="6733" y="4608"/>
                      <a:pt x="6733" y="4608"/>
                      <a:pt x="6733" y="4608"/>
                    </a:cubicBezTo>
                    <a:cubicBezTo>
                      <a:pt x="6722" y="4607"/>
                      <a:pt x="6722" y="4607"/>
                      <a:pt x="6722" y="4607"/>
                    </a:cubicBezTo>
                    <a:cubicBezTo>
                      <a:pt x="6715" y="4606"/>
                      <a:pt x="6715" y="4606"/>
                      <a:pt x="6715" y="4606"/>
                    </a:cubicBezTo>
                    <a:cubicBezTo>
                      <a:pt x="6724" y="4510"/>
                      <a:pt x="6724" y="4510"/>
                      <a:pt x="6724" y="4510"/>
                    </a:cubicBezTo>
                    <a:cubicBezTo>
                      <a:pt x="6864" y="4523"/>
                      <a:pt x="6864" y="4523"/>
                      <a:pt x="6864" y="4523"/>
                    </a:cubicBezTo>
                    <a:lnTo>
                      <a:pt x="6858" y="4595"/>
                    </a:lnTo>
                    <a:close/>
                    <a:moveTo>
                      <a:pt x="6844" y="4607"/>
                    </a:moveTo>
                    <a:cubicBezTo>
                      <a:pt x="6850" y="4535"/>
                      <a:pt x="6850" y="4535"/>
                      <a:pt x="6850" y="4535"/>
                    </a:cubicBezTo>
                    <a:cubicBezTo>
                      <a:pt x="6736" y="4524"/>
                      <a:pt x="6736" y="4524"/>
                      <a:pt x="6736" y="4524"/>
                    </a:cubicBezTo>
                    <a:cubicBezTo>
                      <a:pt x="6729" y="4594"/>
                      <a:pt x="6729" y="4594"/>
                      <a:pt x="6729" y="4594"/>
                    </a:cubicBezTo>
                    <a:cubicBezTo>
                      <a:pt x="6741" y="4595"/>
                      <a:pt x="6741" y="4595"/>
                      <a:pt x="6741" y="4595"/>
                    </a:cubicBezTo>
                    <a:cubicBezTo>
                      <a:pt x="6748" y="4596"/>
                      <a:pt x="6748" y="4596"/>
                      <a:pt x="6748" y="4596"/>
                    </a:cubicBezTo>
                    <a:cubicBezTo>
                      <a:pt x="6743" y="4645"/>
                      <a:pt x="6743" y="4645"/>
                      <a:pt x="6743" y="4645"/>
                    </a:cubicBezTo>
                    <a:cubicBezTo>
                      <a:pt x="6914" y="4664"/>
                      <a:pt x="6914" y="4664"/>
                      <a:pt x="6914" y="4664"/>
                    </a:cubicBezTo>
                    <a:cubicBezTo>
                      <a:pt x="6919" y="4614"/>
                      <a:pt x="6919" y="4614"/>
                      <a:pt x="6919" y="4614"/>
                    </a:cubicBezTo>
                    <a:lnTo>
                      <a:pt x="6844" y="4607"/>
                    </a:lnTo>
                    <a:close/>
                    <a:moveTo>
                      <a:pt x="5466" y="1946"/>
                    </a:moveTo>
                    <a:cubicBezTo>
                      <a:pt x="5323" y="1921"/>
                      <a:pt x="5323" y="1921"/>
                      <a:pt x="5323" y="1921"/>
                    </a:cubicBezTo>
                    <a:cubicBezTo>
                      <a:pt x="5335" y="1851"/>
                      <a:pt x="5335" y="1851"/>
                      <a:pt x="5335" y="1851"/>
                    </a:cubicBezTo>
                    <a:cubicBezTo>
                      <a:pt x="5484" y="1877"/>
                      <a:pt x="5484" y="1877"/>
                      <a:pt x="5484" y="1877"/>
                    </a:cubicBezTo>
                    <a:cubicBezTo>
                      <a:pt x="5472" y="1947"/>
                      <a:pt x="5472" y="1947"/>
                      <a:pt x="5472" y="1947"/>
                    </a:cubicBezTo>
                    <a:lnTo>
                      <a:pt x="5466" y="1946"/>
                    </a:lnTo>
                    <a:close/>
                    <a:moveTo>
                      <a:pt x="5462" y="1932"/>
                    </a:moveTo>
                    <a:cubicBezTo>
                      <a:pt x="5470" y="1887"/>
                      <a:pt x="5470" y="1887"/>
                      <a:pt x="5470" y="1887"/>
                    </a:cubicBezTo>
                    <a:cubicBezTo>
                      <a:pt x="5346" y="1865"/>
                      <a:pt x="5346" y="1865"/>
                      <a:pt x="5346" y="1865"/>
                    </a:cubicBezTo>
                    <a:cubicBezTo>
                      <a:pt x="5338" y="1911"/>
                      <a:pt x="5338" y="1911"/>
                      <a:pt x="5338" y="1911"/>
                    </a:cubicBezTo>
                    <a:lnTo>
                      <a:pt x="5462" y="1932"/>
                    </a:lnTo>
                    <a:close/>
                    <a:moveTo>
                      <a:pt x="5327" y="3305"/>
                    </a:moveTo>
                    <a:cubicBezTo>
                      <a:pt x="5256" y="3322"/>
                      <a:pt x="5256" y="3322"/>
                      <a:pt x="5256" y="3322"/>
                    </a:cubicBezTo>
                    <a:cubicBezTo>
                      <a:pt x="5269" y="3377"/>
                      <a:pt x="5269" y="3377"/>
                      <a:pt x="5269" y="3377"/>
                    </a:cubicBezTo>
                    <a:cubicBezTo>
                      <a:pt x="5263" y="3379"/>
                      <a:pt x="5263" y="3379"/>
                      <a:pt x="5263" y="3379"/>
                    </a:cubicBezTo>
                    <a:cubicBezTo>
                      <a:pt x="5150" y="3409"/>
                      <a:pt x="5150" y="3409"/>
                      <a:pt x="5150" y="3409"/>
                    </a:cubicBezTo>
                    <a:cubicBezTo>
                      <a:pt x="5123" y="3295"/>
                      <a:pt x="5123" y="3295"/>
                      <a:pt x="5123" y="3295"/>
                    </a:cubicBezTo>
                    <a:cubicBezTo>
                      <a:pt x="5133" y="3292"/>
                      <a:pt x="5133" y="3292"/>
                      <a:pt x="5133" y="3292"/>
                    </a:cubicBezTo>
                    <a:cubicBezTo>
                      <a:pt x="5121" y="3241"/>
                      <a:pt x="5121" y="3241"/>
                      <a:pt x="5121" y="3241"/>
                    </a:cubicBezTo>
                    <a:cubicBezTo>
                      <a:pt x="5301" y="3198"/>
                      <a:pt x="5301" y="3198"/>
                      <a:pt x="5301" y="3198"/>
                    </a:cubicBezTo>
                    <a:lnTo>
                      <a:pt x="5327" y="3305"/>
                    </a:lnTo>
                    <a:close/>
                    <a:moveTo>
                      <a:pt x="5240" y="3312"/>
                    </a:moveTo>
                    <a:cubicBezTo>
                      <a:pt x="5311" y="3295"/>
                      <a:pt x="5311" y="3295"/>
                      <a:pt x="5311" y="3295"/>
                    </a:cubicBezTo>
                    <a:cubicBezTo>
                      <a:pt x="5291" y="3214"/>
                      <a:pt x="5291" y="3214"/>
                      <a:pt x="5291" y="3214"/>
                    </a:cubicBezTo>
                    <a:cubicBezTo>
                      <a:pt x="5136" y="3251"/>
                      <a:pt x="5136" y="3251"/>
                      <a:pt x="5136" y="3251"/>
                    </a:cubicBezTo>
                    <a:cubicBezTo>
                      <a:pt x="5149" y="3302"/>
                      <a:pt x="5149" y="3302"/>
                      <a:pt x="5149" y="3302"/>
                    </a:cubicBezTo>
                    <a:cubicBezTo>
                      <a:pt x="5139" y="3304"/>
                      <a:pt x="5139" y="3304"/>
                      <a:pt x="5139" y="3304"/>
                    </a:cubicBezTo>
                    <a:cubicBezTo>
                      <a:pt x="5160" y="3393"/>
                      <a:pt x="5160" y="3393"/>
                      <a:pt x="5160" y="3393"/>
                    </a:cubicBezTo>
                    <a:cubicBezTo>
                      <a:pt x="5253" y="3368"/>
                      <a:pt x="5253" y="3368"/>
                      <a:pt x="5253" y="3368"/>
                    </a:cubicBezTo>
                    <a:lnTo>
                      <a:pt x="5240" y="3312"/>
                    </a:lnTo>
                    <a:close/>
                    <a:moveTo>
                      <a:pt x="6884" y="4257"/>
                    </a:moveTo>
                    <a:cubicBezTo>
                      <a:pt x="6960" y="4264"/>
                      <a:pt x="6960" y="4264"/>
                      <a:pt x="6960" y="4264"/>
                    </a:cubicBezTo>
                    <a:cubicBezTo>
                      <a:pt x="6953" y="4340"/>
                      <a:pt x="6953" y="4340"/>
                      <a:pt x="6953" y="4340"/>
                    </a:cubicBezTo>
                    <a:cubicBezTo>
                      <a:pt x="6946" y="4339"/>
                      <a:pt x="6946" y="4339"/>
                      <a:pt x="6946" y="4339"/>
                    </a:cubicBezTo>
                    <a:cubicBezTo>
                      <a:pt x="6756" y="4319"/>
                      <a:pt x="6756" y="4319"/>
                      <a:pt x="6756" y="4319"/>
                    </a:cubicBezTo>
                    <a:cubicBezTo>
                      <a:pt x="6760" y="4270"/>
                      <a:pt x="6760" y="4270"/>
                      <a:pt x="6760" y="4270"/>
                    </a:cubicBezTo>
                    <a:cubicBezTo>
                      <a:pt x="6748" y="4269"/>
                      <a:pt x="6748" y="4269"/>
                      <a:pt x="6748" y="4269"/>
                    </a:cubicBezTo>
                    <a:cubicBezTo>
                      <a:pt x="6742" y="4268"/>
                      <a:pt x="6742" y="4268"/>
                      <a:pt x="6742" y="4268"/>
                    </a:cubicBezTo>
                    <a:cubicBezTo>
                      <a:pt x="6751" y="4172"/>
                      <a:pt x="6751" y="4172"/>
                      <a:pt x="6751" y="4172"/>
                    </a:cubicBezTo>
                    <a:cubicBezTo>
                      <a:pt x="6891" y="4185"/>
                      <a:pt x="6891" y="4185"/>
                      <a:pt x="6891" y="4185"/>
                    </a:cubicBezTo>
                    <a:lnTo>
                      <a:pt x="6884" y="4257"/>
                    </a:lnTo>
                    <a:close/>
                    <a:moveTo>
                      <a:pt x="6870" y="4269"/>
                    </a:moveTo>
                    <a:cubicBezTo>
                      <a:pt x="6877" y="4196"/>
                      <a:pt x="6877" y="4196"/>
                      <a:pt x="6877" y="4196"/>
                    </a:cubicBezTo>
                    <a:cubicBezTo>
                      <a:pt x="6763" y="4186"/>
                      <a:pt x="6763" y="4186"/>
                      <a:pt x="6763" y="4186"/>
                    </a:cubicBezTo>
                    <a:cubicBezTo>
                      <a:pt x="6756" y="4256"/>
                      <a:pt x="6756" y="4256"/>
                      <a:pt x="6756" y="4256"/>
                    </a:cubicBezTo>
                    <a:cubicBezTo>
                      <a:pt x="6768" y="4257"/>
                      <a:pt x="6768" y="4257"/>
                      <a:pt x="6768" y="4257"/>
                    </a:cubicBezTo>
                    <a:cubicBezTo>
                      <a:pt x="6774" y="4258"/>
                      <a:pt x="6774" y="4258"/>
                      <a:pt x="6774" y="4258"/>
                    </a:cubicBezTo>
                    <a:cubicBezTo>
                      <a:pt x="6770" y="4307"/>
                      <a:pt x="6770" y="4307"/>
                      <a:pt x="6770" y="4307"/>
                    </a:cubicBezTo>
                    <a:cubicBezTo>
                      <a:pt x="6941" y="4325"/>
                      <a:pt x="6941" y="4325"/>
                      <a:pt x="6941" y="4325"/>
                    </a:cubicBezTo>
                    <a:cubicBezTo>
                      <a:pt x="6946" y="4276"/>
                      <a:pt x="6946" y="4276"/>
                      <a:pt x="6946" y="4276"/>
                    </a:cubicBezTo>
                    <a:lnTo>
                      <a:pt x="6870" y="4269"/>
                    </a:lnTo>
                    <a:close/>
                    <a:moveTo>
                      <a:pt x="5207" y="1669"/>
                    </a:moveTo>
                    <a:cubicBezTo>
                      <a:pt x="5231" y="1770"/>
                      <a:pt x="5231" y="1770"/>
                      <a:pt x="5231" y="1770"/>
                    </a:cubicBezTo>
                    <a:cubicBezTo>
                      <a:pt x="5087" y="1804"/>
                      <a:pt x="5087" y="1804"/>
                      <a:pt x="5087" y="1804"/>
                    </a:cubicBezTo>
                    <a:cubicBezTo>
                      <a:pt x="5086" y="1798"/>
                      <a:pt x="5086" y="1798"/>
                      <a:pt x="5086" y="1798"/>
                    </a:cubicBezTo>
                    <a:cubicBezTo>
                      <a:pt x="5063" y="1703"/>
                      <a:pt x="5063" y="1703"/>
                      <a:pt x="5063" y="1703"/>
                    </a:cubicBezTo>
                    <a:lnTo>
                      <a:pt x="5207" y="1669"/>
                    </a:lnTo>
                    <a:close/>
                    <a:moveTo>
                      <a:pt x="5216" y="1761"/>
                    </a:moveTo>
                    <a:cubicBezTo>
                      <a:pt x="5197" y="1684"/>
                      <a:pt x="5197" y="1684"/>
                      <a:pt x="5197" y="1684"/>
                    </a:cubicBezTo>
                    <a:cubicBezTo>
                      <a:pt x="5079" y="1713"/>
                      <a:pt x="5079" y="1713"/>
                      <a:pt x="5079" y="1713"/>
                    </a:cubicBezTo>
                    <a:cubicBezTo>
                      <a:pt x="5097" y="1789"/>
                      <a:pt x="5097" y="1789"/>
                      <a:pt x="5097" y="1789"/>
                    </a:cubicBezTo>
                    <a:lnTo>
                      <a:pt x="5216" y="1761"/>
                    </a:lnTo>
                    <a:close/>
                    <a:moveTo>
                      <a:pt x="4789" y="1565"/>
                    </a:moveTo>
                    <a:cubicBezTo>
                      <a:pt x="4893" y="1566"/>
                      <a:pt x="4893" y="1566"/>
                      <a:pt x="4893" y="1566"/>
                    </a:cubicBezTo>
                    <a:cubicBezTo>
                      <a:pt x="4892" y="1714"/>
                      <a:pt x="4892" y="1714"/>
                      <a:pt x="4892" y="1714"/>
                    </a:cubicBezTo>
                    <a:cubicBezTo>
                      <a:pt x="4886" y="1714"/>
                      <a:pt x="4886" y="1714"/>
                      <a:pt x="4886" y="1714"/>
                    </a:cubicBezTo>
                    <a:cubicBezTo>
                      <a:pt x="4788" y="1713"/>
                      <a:pt x="4788" y="1713"/>
                      <a:pt x="4788" y="1713"/>
                    </a:cubicBezTo>
                    <a:lnTo>
                      <a:pt x="4789" y="1565"/>
                    </a:lnTo>
                    <a:close/>
                    <a:moveTo>
                      <a:pt x="4801" y="1701"/>
                    </a:moveTo>
                    <a:cubicBezTo>
                      <a:pt x="4879" y="1701"/>
                      <a:pt x="4879" y="1701"/>
                      <a:pt x="4879" y="1701"/>
                    </a:cubicBezTo>
                    <a:cubicBezTo>
                      <a:pt x="4880" y="1579"/>
                      <a:pt x="4880" y="1579"/>
                      <a:pt x="4880" y="1579"/>
                    </a:cubicBezTo>
                    <a:cubicBezTo>
                      <a:pt x="4802" y="1578"/>
                      <a:pt x="4802" y="1578"/>
                      <a:pt x="4802" y="1578"/>
                    </a:cubicBezTo>
                    <a:lnTo>
                      <a:pt x="4801" y="1701"/>
                    </a:lnTo>
                    <a:close/>
                    <a:moveTo>
                      <a:pt x="3935" y="2554"/>
                    </a:moveTo>
                    <a:cubicBezTo>
                      <a:pt x="3935" y="2554"/>
                      <a:pt x="3935" y="2554"/>
                      <a:pt x="3935" y="2554"/>
                    </a:cubicBezTo>
                    <a:cubicBezTo>
                      <a:pt x="3935" y="2554"/>
                      <a:pt x="3935" y="2554"/>
                      <a:pt x="3935" y="2554"/>
                    </a:cubicBezTo>
                    <a:close/>
                    <a:moveTo>
                      <a:pt x="983" y="4921"/>
                    </a:moveTo>
                    <a:cubicBezTo>
                      <a:pt x="1048" y="4858"/>
                      <a:pt x="1048" y="4858"/>
                      <a:pt x="1048" y="4858"/>
                    </a:cubicBezTo>
                    <a:cubicBezTo>
                      <a:pt x="1018" y="4810"/>
                      <a:pt x="1018" y="4810"/>
                      <a:pt x="1018" y="4810"/>
                    </a:cubicBezTo>
                    <a:cubicBezTo>
                      <a:pt x="1119" y="4795"/>
                      <a:pt x="1119" y="4795"/>
                      <a:pt x="1119" y="4795"/>
                    </a:cubicBezTo>
                    <a:cubicBezTo>
                      <a:pt x="1152" y="4831"/>
                      <a:pt x="1152" y="4831"/>
                      <a:pt x="1152" y="4831"/>
                    </a:cubicBezTo>
                    <a:cubicBezTo>
                      <a:pt x="1323" y="4810"/>
                      <a:pt x="1323" y="4810"/>
                      <a:pt x="1323" y="4810"/>
                    </a:cubicBezTo>
                    <a:cubicBezTo>
                      <a:pt x="1383" y="4936"/>
                      <a:pt x="1383" y="4936"/>
                      <a:pt x="1383" y="4936"/>
                    </a:cubicBezTo>
                    <a:cubicBezTo>
                      <a:pt x="1160" y="5156"/>
                      <a:pt x="1160" y="5156"/>
                      <a:pt x="1160" y="5156"/>
                    </a:cubicBezTo>
                    <a:lnTo>
                      <a:pt x="983" y="4921"/>
                    </a:lnTo>
                    <a:close/>
                    <a:moveTo>
                      <a:pt x="1066" y="4860"/>
                    </a:moveTo>
                    <a:cubicBezTo>
                      <a:pt x="1058" y="4868"/>
                      <a:pt x="1058" y="4868"/>
                      <a:pt x="1058" y="4868"/>
                    </a:cubicBezTo>
                    <a:cubicBezTo>
                      <a:pt x="1001" y="4922"/>
                      <a:pt x="1001" y="4922"/>
                      <a:pt x="1001" y="4922"/>
                    </a:cubicBezTo>
                    <a:cubicBezTo>
                      <a:pt x="1162" y="5135"/>
                      <a:pt x="1162" y="5135"/>
                      <a:pt x="1162" y="5135"/>
                    </a:cubicBezTo>
                    <a:cubicBezTo>
                      <a:pt x="1366" y="4933"/>
                      <a:pt x="1366" y="4933"/>
                      <a:pt x="1366" y="4933"/>
                    </a:cubicBezTo>
                    <a:cubicBezTo>
                      <a:pt x="1315" y="4825"/>
                      <a:pt x="1315" y="4825"/>
                      <a:pt x="1315" y="4825"/>
                    </a:cubicBezTo>
                    <a:cubicBezTo>
                      <a:pt x="1154" y="4845"/>
                      <a:pt x="1154" y="4845"/>
                      <a:pt x="1154" y="4845"/>
                    </a:cubicBezTo>
                    <a:cubicBezTo>
                      <a:pt x="1147" y="4846"/>
                      <a:pt x="1147" y="4846"/>
                      <a:pt x="1147" y="4846"/>
                    </a:cubicBezTo>
                    <a:cubicBezTo>
                      <a:pt x="1142" y="4840"/>
                      <a:pt x="1142" y="4840"/>
                      <a:pt x="1142" y="4840"/>
                    </a:cubicBezTo>
                    <a:cubicBezTo>
                      <a:pt x="1114" y="4810"/>
                      <a:pt x="1114" y="4810"/>
                      <a:pt x="1114" y="4810"/>
                    </a:cubicBezTo>
                    <a:cubicBezTo>
                      <a:pt x="1041" y="4821"/>
                      <a:pt x="1041" y="4821"/>
                      <a:pt x="1041" y="4821"/>
                    </a:cubicBezTo>
                    <a:cubicBezTo>
                      <a:pt x="1060" y="4851"/>
                      <a:pt x="1060" y="4851"/>
                      <a:pt x="1060" y="4851"/>
                    </a:cubicBezTo>
                    <a:lnTo>
                      <a:pt x="1066" y="4860"/>
                    </a:lnTo>
                    <a:close/>
                    <a:moveTo>
                      <a:pt x="7215" y="6655"/>
                    </a:moveTo>
                    <a:cubicBezTo>
                      <a:pt x="7399" y="6683"/>
                      <a:pt x="7399" y="6683"/>
                      <a:pt x="7399" y="6683"/>
                    </a:cubicBezTo>
                    <a:cubicBezTo>
                      <a:pt x="7382" y="6792"/>
                      <a:pt x="7382" y="6792"/>
                      <a:pt x="7382" y="6792"/>
                    </a:cubicBezTo>
                    <a:cubicBezTo>
                      <a:pt x="7310" y="6781"/>
                      <a:pt x="7310" y="6781"/>
                      <a:pt x="7310" y="6781"/>
                    </a:cubicBezTo>
                    <a:cubicBezTo>
                      <a:pt x="7302" y="6837"/>
                      <a:pt x="7302" y="6837"/>
                      <a:pt x="7302" y="6837"/>
                    </a:cubicBezTo>
                    <a:cubicBezTo>
                      <a:pt x="7295" y="6836"/>
                      <a:pt x="7295" y="6836"/>
                      <a:pt x="7295" y="6836"/>
                    </a:cubicBezTo>
                    <a:cubicBezTo>
                      <a:pt x="7180" y="6822"/>
                      <a:pt x="7180" y="6822"/>
                      <a:pt x="7180" y="6822"/>
                    </a:cubicBezTo>
                    <a:cubicBezTo>
                      <a:pt x="7197" y="6705"/>
                      <a:pt x="7197" y="6705"/>
                      <a:pt x="7197" y="6705"/>
                    </a:cubicBezTo>
                    <a:cubicBezTo>
                      <a:pt x="7208" y="6707"/>
                      <a:pt x="7208" y="6707"/>
                      <a:pt x="7208" y="6707"/>
                    </a:cubicBezTo>
                    <a:lnTo>
                      <a:pt x="7215" y="6655"/>
                    </a:lnTo>
                    <a:close/>
                    <a:moveTo>
                      <a:pt x="7219" y="6722"/>
                    </a:moveTo>
                    <a:cubicBezTo>
                      <a:pt x="7208" y="6720"/>
                      <a:pt x="7208" y="6720"/>
                      <a:pt x="7208" y="6720"/>
                    </a:cubicBezTo>
                    <a:cubicBezTo>
                      <a:pt x="7195" y="6811"/>
                      <a:pt x="7195" y="6811"/>
                      <a:pt x="7195" y="6811"/>
                    </a:cubicBezTo>
                    <a:cubicBezTo>
                      <a:pt x="7290" y="6823"/>
                      <a:pt x="7290" y="6823"/>
                      <a:pt x="7290" y="6823"/>
                    </a:cubicBezTo>
                    <a:cubicBezTo>
                      <a:pt x="7299" y="6766"/>
                      <a:pt x="7299" y="6766"/>
                      <a:pt x="7299" y="6766"/>
                    </a:cubicBezTo>
                    <a:cubicBezTo>
                      <a:pt x="7371" y="6777"/>
                      <a:pt x="7371" y="6777"/>
                      <a:pt x="7371" y="6777"/>
                    </a:cubicBezTo>
                    <a:cubicBezTo>
                      <a:pt x="7384" y="6694"/>
                      <a:pt x="7384" y="6694"/>
                      <a:pt x="7384" y="6694"/>
                    </a:cubicBezTo>
                    <a:cubicBezTo>
                      <a:pt x="7226" y="6670"/>
                      <a:pt x="7226" y="6670"/>
                      <a:pt x="7226" y="6670"/>
                    </a:cubicBezTo>
                    <a:lnTo>
                      <a:pt x="7219" y="6722"/>
                    </a:lnTo>
                    <a:close/>
                    <a:moveTo>
                      <a:pt x="4727" y="2359"/>
                    </a:moveTo>
                    <a:cubicBezTo>
                      <a:pt x="4716" y="2106"/>
                      <a:pt x="4716" y="2106"/>
                      <a:pt x="4716" y="2106"/>
                    </a:cubicBezTo>
                    <a:cubicBezTo>
                      <a:pt x="4800" y="2102"/>
                      <a:pt x="4800" y="2102"/>
                      <a:pt x="4800" y="2102"/>
                    </a:cubicBezTo>
                    <a:cubicBezTo>
                      <a:pt x="4811" y="2362"/>
                      <a:pt x="4811" y="2362"/>
                      <a:pt x="4811" y="2362"/>
                    </a:cubicBezTo>
                    <a:cubicBezTo>
                      <a:pt x="4727" y="2365"/>
                      <a:pt x="4727" y="2365"/>
                      <a:pt x="4727" y="2365"/>
                    </a:cubicBezTo>
                    <a:lnTo>
                      <a:pt x="4727" y="2359"/>
                    </a:lnTo>
                    <a:close/>
                    <a:moveTo>
                      <a:pt x="4729" y="2118"/>
                    </a:moveTo>
                    <a:cubicBezTo>
                      <a:pt x="4740" y="2352"/>
                      <a:pt x="4740" y="2352"/>
                      <a:pt x="4740" y="2352"/>
                    </a:cubicBezTo>
                    <a:cubicBezTo>
                      <a:pt x="4798" y="2349"/>
                      <a:pt x="4798" y="2349"/>
                      <a:pt x="4798" y="2349"/>
                    </a:cubicBezTo>
                    <a:cubicBezTo>
                      <a:pt x="4787" y="2116"/>
                      <a:pt x="4787" y="2116"/>
                      <a:pt x="4787" y="2116"/>
                    </a:cubicBezTo>
                    <a:lnTo>
                      <a:pt x="4729" y="2118"/>
                    </a:lnTo>
                    <a:close/>
                    <a:moveTo>
                      <a:pt x="3979" y="2420"/>
                    </a:moveTo>
                    <a:cubicBezTo>
                      <a:pt x="3936" y="2460"/>
                      <a:pt x="3936" y="2460"/>
                      <a:pt x="3936" y="2460"/>
                    </a:cubicBezTo>
                    <a:cubicBezTo>
                      <a:pt x="3849" y="2346"/>
                      <a:pt x="3849" y="2346"/>
                      <a:pt x="3849" y="2346"/>
                    </a:cubicBezTo>
                    <a:cubicBezTo>
                      <a:pt x="3896" y="2309"/>
                      <a:pt x="3896" y="2309"/>
                      <a:pt x="3896" y="2309"/>
                    </a:cubicBezTo>
                    <a:cubicBezTo>
                      <a:pt x="3860" y="2262"/>
                      <a:pt x="3860" y="2262"/>
                      <a:pt x="3860" y="2262"/>
                    </a:cubicBezTo>
                    <a:cubicBezTo>
                      <a:pt x="3813" y="2299"/>
                      <a:pt x="3813" y="2299"/>
                      <a:pt x="3813" y="2299"/>
                    </a:cubicBezTo>
                    <a:cubicBezTo>
                      <a:pt x="3723" y="2180"/>
                      <a:pt x="3723" y="2180"/>
                      <a:pt x="3723" y="2180"/>
                    </a:cubicBezTo>
                    <a:cubicBezTo>
                      <a:pt x="3767" y="2152"/>
                      <a:pt x="3767" y="2152"/>
                      <a:pt x="3767" y="2152"/>
                    </a:cubicBezTo>
                    <a:cubicBezTo>
                      <a:pt x="3732" y="2103"/>
                      <a:pt x="3732" y="2103"/>
                      <a:pt x="3732" y="2103"/>
                    </a:cubicBezTo>
                    <a:cubicBezTo>
                      <a:pt x="3686" y="2133"/>
                      <a:pt x="3686" y="2133"/>
                      <a:pt x="3686" y="2133"/>
                    </a:cubicBezTo>
                    <a:cubicBezTo>
                      <a:pt x="3620" y="2038"/>
                      <a:pt x="3620" y="2038"/>
                      <a:pt x="3620" y="2038"/>
                    </a:cubicBezTo>
                    <a:cubicBezTo>
                      <a:pt x="3758" y="1983"/>
                      <a:pt x="3758" y="1983"/>
                      <a:pt x="3758" y="1983"/>
                    </a:cubicBezTo>
                    <a:cubicBezTo>
                      <a:pt x="3736" y="1930"/>
                      <a:pt x="3736" y="1930"/>
                      <a:pt x="3736" y="1930"/>
                    </a:cubicBezTo>
                    <a:cubicBezTo>
                      <a:pt x="4012" y="1855"/>
                      <a:pt x="4012" y="1855"/>
                      <a:pt x="4012" y="1855"/>
                    </a:cubicBezTo>
                    <a:cubicBezTo>
                      <a:pt x="4109" y="2075"/>
                      <a:pt x="4109" y="2075"/>
                      <a:pt x="4109" y="2075"/>
                    </a:cubicBezTo>
                    <a:cubicBezTo>
                      <a:pt x="4070" y="2092"/>
                      <a:pt x="4070" y="2092"/>
                      <a:pt x="4070" y="2092"/>
                    </a:cubicBezTo>
                    <a:cubicBezTo>
                      <a:pt x="4156" y="2276"/>
                      <a:pt x="4156" y="2276"/>
                      <a:pt x="4156" y="2276"/>
                    </a:cubicBezTo>
                    <a:cubicBezTo>
                      <a:pt x="4153" y="2280"/>
                      <a:pt x="4153" y="2280"/>
                      <a:pt x="4153" y="2280"/>
                    </a:cubicBezTo>
                    <a:cubicBezTo>
                      <a:pt x="4139" y="2298"/>
                      <a:pt x="4139" y="2298"/>
                      <a:pt x="4139" y="2298"/>
                    </a:cubicBezTo>
                    <a:cubicBezTo>
                      <a:pt x="4161" y="2328"/>
                      <a:pt x="4161" y="2328"/>
                      <a:pt x="4161" y="2328"/>
                    </a:cubicBezTo>
                    <a:cubicBezTo>
                      <a:pt x="3999" y="2446"/>
                      <a:pt x="3999" y="2446"/>
                      <a:pt x="3999" y="2446"/>
                    </a:cubicBezTo>
                    <a:lnTo>
                      <a:pt x="3979" y="2420"/>
                    </a:lnTo>
                    <a:close/>
                    <a:moveTo>
                      <a:pt x="3938" y="2438"/>
                    </a:moveTo>
                    <a:cubicBezTo>
                      <a:pt x="3981" y="2399"/>
                      <a:pt x="3981" y="2399"/>
                      <a:pt x="3981" y="2399"/>
                    </a:cubicBezTo>
                    <a:cubicBezTo>
                      <a:pt x="4002" y="2426"/>
                      <a:pt x="4002" y="2426"/>
                      <a:pt x="4002" y="2426"/>
                    </a:cubicBezTo>
                    <a:cubicBezTo>
                      <a:pt x="4140" y="2325"/>
                      <a:pt x="4140" y="2325"/>
                      <a:pt x="4140" y="2325"/>
                    </a:cubicBezTo>
                    <a:cubicBezTo>
                      <a:pt x="4120" y="2298"/>
                      <a:pt x="4120" y="2298"/>
                      <a:pt x="4120" y="2298"/>
                    </a:cubicBezTo>
                    <a:cubicBezTo>
                      <a:pt x="4138" y="2274"/>
                      <a:pt x="4138" y="2274"/>
                      <a:pt x="4138" y="2274"/>
                    </a:cubicBezTo>
                    <a:cubicBezTo>
                      <a:pt x="4050" y="2085"/>
                      <a:pt x="4050" y="2085"/>
                      <a:pt x="4050" y="2085"/>
                    </a:cubicBezTo>
                    <a:cubicBezTo>
                      <a:pt x="4090" y="2067"/>
                      <a:pt x="4090" y="2067"/>
                      <a:pt x="4090" y="2067"/>
                    </a:cubicBezTo>
                    <a:cubicBezTo>
                      <a:pt x="4004" y="1873"/>
                      <a:pt x="4004" y="1873"/>
                      <a:pt x="4004" y="1873"/>
                    </a:cubicBezTo>
                    <a:cubicBezTo>
                      <a:pt x="3756" y="1940"/>
                      <a:pt x="3756" y="1940"/>
                      <a:pt x="3756" y="1940"/>
                    </a:cubicBezTo>
                    <a:cubicBezTo>
                      <a:pt x="3778" y="1992"/>
                      <a:pt x="3778" y="1992"/>
                      <a:pt x="3778" y="1992"/>
                    </a:cubicBezTo>
                    <a:cubicBezTo>
                      <a:pt x="3643" y="2045"/>
                      <a:pt x="3643" y="2045"/>
                      <a:pt x="3643" y="2045"/>
                    </a:cubicBezTo>
                    <a:cubicBezTo>
                      <a:pt x="3690" y="2113"/>
                      <a:pt x="3690" y="2113"/>
                      <a:pt x="3690" y="2113"/>
                    </a:cubicBezTo>
                    <a:cubicBezTo>
                      <a:pt x="3736" y="2082"/>
                      <a:pt x="3736" y="2082"/>
                      <a:pt x="3736" y="2082"/>
                    </a:cubicBezTo>
                    <a:cubicBezTo>
                      <a:pt x="3787" y="2156"/>
                      <a:pt x="3787" y="2156"/>
                      <a:pt x="3787" y="2156"/>
                    </a:cubicBezTo>
                    <a:cubicBezTo>
                      <a:pt x="3745" y="2184"/>
                      <a:pt x="3745" y="2184"/>
                      <a:pt x="3745" y="2184"/>
                    </a:cubicBezTo>
                    <a:cubicBezTo>
                      <a:pt x="3816" y="2278"/>
                      <a:pt x="3816" y="2278"/>
                      <a:pt x="3816" y="2278"/>
                    </a:cubicBezTo>
                    <a:cubicBezTo>
                      <a:pt x="3863" y="2241"/>
                      <a:pt x="3863" y="2241"/>
                      <a:pt x="3863" y="2241"/>
                    </a:cubicBezTo>
                    <a:cubicBezTo>
                      <a:pt x="3916" y="2312"/>
                      <a:pt x="3916" y="2312"/>
                      <a:pt x="3916" y="2312"/>
                    </a:cubicBezTo>
                    <a:cubicBezTo>
                      <a:pt x="3870" y="2348"/>
                      <a:pt x="3870" y="2348"/>
                      <a:pt x="3870" y="2348"/>
                    </a:cubicBezTo>
                    <a:lnTo>
                      <a:pt x="3938" y="2438"/>
                    </a:lnTo>
                    <a:close/>
                    <a:moveTo>
                      <a:pt x="3660" y="2571"/>
                    </a:moveTo>
                    <a:cubicBezTo>
                      <a:pt x="3542" y="2623"/>
                      <a:pt x="3542" y="2623"/>
                      <a:pt x="3542" y="2623"/>
                    </a:cubicBezTo>
                    <a:cubicBezTo>
                      <a:pt x="3564" y="2308"/>
                      <a:pt x="3564" y="2308"/>
                      <a:pt x="3564" y="2308"/>
                    </a:cubicBezTo>
                    <a:cubicBezTo>
                      <a:pt x="3578" y="2306"/>
                      <a:pt x="3578" y="2306"/>
                      <a:pt x="3578" y="2306"/>
                    </a:cubicBezTo>
                    <a:cubicBezTo>
                      <a:pt x="3666" y="2568"/>
                      <a:pt x="3666" y="2568"/>
                      <a:pt x="3666" y="2568"/>
                    </a:cubicBezTo>
                    <a:lnTo>
                      <a:pt x="3660" y="2571"/>
                    </a:lnTo>
                    <a:close/>
                    <a:moveTo>
                      <a:pt x="3648" y="2560"/>
                    </a:moveTo>
                    <a:cubicBezTo>
                      <a:pt x="3576" y="2346"/>
                      <a:pt x="3576" y="2346"/>
                      <a:pt x="3576" y="2346"/>
                    </a:cubicBezTo>
                    <a:cubicBezTo>
                      <a:pt x="3558" y="2599"/>
                      <a:pt x="3558" y="2599"/>
                      <a:pt x="3558" y="2599"/>
                    </a:cubicBezTo>
                    <a:lnTo>
                      <a:pt x="3648" y="2560"/>
                    </a:lnTo>
                    <a:close/>
                    <a:moveTo>
                      <a:pt x="3878" y="2556"/>
                    </a:moveTo>
                    <a:cubicBezTo>
                      <a:pt x="3883" y="2563"/>
                      <a:pt x="3883" y="2563"/>
                      <a:pt x="3883" y="2563"/>
                    </a:cubicBezTo>
                    <a:cubicBezTo>
                      <a:pt x="3876" y="2567"/>
                      <a:pt x="3876" y="2567"/>
                      <a:pt x="3876" y="2567"/>
                    </a:cubicBezTo>
                    <a:cubicBezTo>
                      <a:pt x="3875" y="2567"/>
                      <a:pt x="3827" y="2596"/>
                      <a:pt x="3779" y="2626"/>
                    </a:cubicBezTo>
                    <a:cubicBezTo>
                      <a:pt x="3755" y="2641"/>
                      <a:pt x="3730" y="2656"/>
                      <a:pt x="3712" y="2667"/>
                    </a:cubicBezTo>
                    <a:cubicBezTo>
                      <a:pt x="3703" y="2673"/>
                      <a:pt x="3696" y="2678"/>
                      <a:pt x="3691" y="2681"/>
                    </a:cubicBezTo>
                    <a:cubicBezTo>
                      <a:pt x="3688" y="2682"/>
                      <a:pt x="3686" y="2684"/>
                      <a:pt x="3685" y="2685"/>
                    </a:cubicBezTo>
                    <a:cubicBezTo>
                      <a:pt x="3684" y="2688"/>
                      <a:pt x="3683" y="2690"/>
                      <a:pt x="3680" y="2694"/>
                    </a:cubicBezTo>
                    <a:cubicBezTo>
                      <a:pt x="3670" y="2714"/>
                      <a:pt x="3643" y="2756"/>
                      <a:pt x="3620" y="2795"/>
                    </a:cubicBezTo>
                    <a:cubicBezTo>
                      <a:pt x="3608" y="2814"/>
                      <a:pt x="3597" y="2833"/>
                      <a:pt x="3589" y="2846"/>
                    </a:cubicBezTo>
                    <a:cubicBezTo>
                      <a:pt x="3585" y="2853"/>
                      <a:pt x="3582" y="2859"/>
                      <a:pt x="3579" y="2863"/>
                    </a:cubicBezTo>
                    <a:cubicBezTo>
                      <a:pt x="3578" y="2865"/>
                      <a:pt x="3577" y="2867"/>
                      <a:pt x="3577" y="2868"/>
                    </a:cubicBezTo>
                    <a:cubicBezTo>
                      <a:pt x="3577" y="2869"/>
                      <a:pt x="3577" y="2870"/>
                      <a:pt x="3576" y="2871"/>
                    </a:cubicBezTo>
                    <a:cubicBezTo>
                      <a:pt x="3575" y="2874"/>
                      <a:pt x="3571" y="2875"/>
                      <a:pt x="3569" y="2875"/>
                    </a:cubicBezTo>
                    <a:cubicBezTo>
                      <a:pt x="3569" y="2875"/>
                      <a:pt x="3569" y="2875"/>
                      <a:pt x="3569" y="2875"/>
                    </a:cubicBezTo>
                    <a:cubicBezTo>
                      <a:pt x="3567" y="2875"/>
                      <a:pt x="3564" y="2873"/>
                      <a:pt x="3563" y="2871"/>
                    </a:cubicBezTo>
                    <a:cubicBezTo>
                      <a:pt x="3562" y="2870"/>
                      <a:pt x="3562" y="2869"/>
                      <a:pt x="3562" y="2868"/>
                    </a:cubicBezTo>
                    <a:cubicBezTo>
                      <a:pt x="3557" y="2857"/>
                      <a:pt x="3519" y="2790"/>
                      <a:pt x="3483" y="2727"/>
                    </a:cubicBezTo>
                    <a:cubicBezTo>
                      <a:pt x="3445" y="2660"/>
                      <a:pt x="3407" y="2595"/>
                      <a:pt x="3407" y="2595"/>
                    </a:cubicBezTo>
                    <a:cubicBezTo>
                      <a:pt x="3405" y="2593"/>
                      <a:pt x="3405" y="2593"/>
                      <a:pt x="3405" y="2593"/>
                    </a:cubicBezTo>
                    <a:cubicBezTo>
                      <a:pt x="3522" y="2098"/>
                      <a:pt x="3522" y="2098"/>
                      <a:pt x="3522" y="2098"/>
                    </a:cubicBezTo>
                    <a:cubicBezTo>
                      <a:pt x="3876" y="2554"/>
                      <a:pt x="3876" y="2554"/>
                      <a:pt x="3876" y="2554"/>
                    </a:cubicBezTo>
                    <a:lnTo>
                      <a:pt x="3878" y="2556"/>
                    </a:lnTo>
                    <a:close/>
                    <a:moveTo>
                      <a:pt x="3861" y="2559"/>
                    </a:moveTo>
                    <a:cubicBezTo>
                      <a:pt x="3529" y="2132"/>
                      <a:pt x="3529" y="2132"/>
                      <a:pt x="3529" y="2132"/>
                    </a:cubicBezTo>
                    <a:cubicBezTo>
                      <a:pt x="3421" y="2590"/>
                      <a:pt x="3421" y="2590"/>
                      <a:pt x="3421" y="2590"/>
                    </a:cubicBezTo>
                    <a:cubicBezTo>
                      <a:pt x="3429" y="2603"/>
                      <a:pt x="3463" y="2663"/>
                      <a:pt x="3498" y="2723"/>
                    </a:cubicBezTo>
                    <a:cubicBezTo>
                      <a:pt x="3517" y="2757"/>
                      <a:pt x="3537" y="2791"/>
                      <a:pt x="3552" y="2817"/>
                    </a:cubicBezTo>
                    <a:cubicBezTo>
                      <a:pt x="3559" y="2831"/>
                      <a:pt x="3565" y="2842"/>
                      <a:pt x="3569" y="2850"/>
                    </a:cubicBezTo>
                    <a:cubicBezTo>
                      <a:pt x="3569" y="2850"/>
                      <a:pt x="3569" y="2850"/>
                      <a:pt x="3570" y="2850"/>
                    </a:cubicBezTo>
                    <a:cubicBezTo>
                      <a:pt x="3581" y="2830"/>
                      <a:pt x="3606" y="2790"/>
                      <a:pt x="3628" y="2754"/>
                    </a:cubicBezTo>
                    <a:cubicBezTo>
                      <a:pt x="3639" y="2734"/>
                      <a:pt x="3651" y="2716"/>
                      <a:pt x="3659" y="2702"/>
                    </a:cubicBezTo>
                    <a:cubicBezTo>
                      <a:pt x="3663" y="2695"/>
                      <a:pt x="3666" y="2689"/>
                      <a:pt x="3668" y="2685"/>
                    </a:cubicBezTo>
                    <a:cubicBezTo>
                      <a:pt x="3669" y="2683"/>
                      <a:pt x="3670" y="2682"/>
                      <a:pt x="3671" y="2680"/>
                    </a:cubicBezTo>
                    <a:cubicBezTo>
                      <a:pt x="3671" y="2680"/>
                      <a:pt x="3671" y="2680"/>
                      <a:pt x="3671" y="2680"/>
                    </a:cubicBezTo>
                    <a:cubicBezTo>
                      <a:pt x="3672" y="2676"/>
                      <a:pt x="3673" y="2676"/>
                      <a:pt x="3673" y="2676"/>
                    </a:cubicBezTo>
                    <a:cubicBezTo>
                      <a:pt x="3677" y="2672"/>
                      <a:pt x="3688" y="2665"/>
                      <a:pt x="3707" y="2653"/>
                    </a:cubicBezTo>
                    <a:cubicBezTo>
                      <a:pt x="3754" y="2624"/>
                      <a:pt x="3836" y="2573"/>
                      <a:pt x="3861" y="2559"/>
                    </a:cubicBezTo>
                    <a:close/>
                    <a:moveTo>
                      <a:pt x="5568" y="1826"/>
                    </a:moveTo>
                    <a:cubicBezTo>
                      <a:pt x="5426" y="1801"/>
                      <a:pt x="5426" y="1801"/>
                      <a:pt x="5426" y="1801"/>
                    </a:cubicBezTo>
                    <a:cubicBezTo>
                      <a:pt x="5438" y="1731"/>
                      <a:pt x="5438" y="1731"/>
                      <a:pt x="5438" y="1731"/>
                    </a:cubicBezTo>
                    <a:cubicBezTo>
                      <a:pt x="5587" y="1757"/>
                      <a:pt x="5587" y="1757"/>
                      <a:pt x="5587" y="1757"/>
                    </a:cubicBezTo>
                    <a:cubicBezTo>
                      <a:pt x="5575" y="1827"/>
                      <a:pt x="5575" y="1827"/>
                      <a:pt x="5575" y="1827"/>
                    </a:cubicBezTo>
                    <a:lnTo>
                      <a:pt x="5568" y="1826"/>
                    </a:lnTo>
                    <a:close/>
                    <a:moveTo>
                      <a:pt x="5564" y="1813"/>
                    </a:moveTo>
                    <a:cubicBezTo>
                      <a:pt x="5572" y="1767"/>
                      <a:pt x="5572" y="1767"/>
                      <a:pt x="5572" y="1767"/>
                    </a:cubicBezTo>
                    <a:cubicBezTo>
                      <a:pt x="5449" y="1746"/>
                      <a:pt x="5449" y="1746"/>
                      <a:pt x="5449" y="1746"/>
                    </a:cubicBezTo>
                    <a:cubicBezTo>
                      <a:pt x="5441" y="1791"/>
                      <a:pt x="5441" y="1791"/>
                      <a:pt x="5441" y="1791"/>
                    </a:cubicBezTo>
                    <a:lnTo>
                      <a:pt x="5564" y="1813"/>
                    </a:lnTo>
                    <a:close/>
                    <a:moveTo>
                      <a:pt x="5854" y="6593"/>
                    </a:moveTo>
                    <a:cubicBezTo>
                      <a:pt x="5848" y="6593"/>
                      <a:pt x="5848" y="6593"/>
                      <a:pt x="5848" y="6593"/>
                    </a:cubicBezTo>
                    <a:cubicBezTo>
                      <a:pt x="5850" y="6496"/>
                      <a:pt x="5850" y="6496"/>
                      <a:pt x="5850" y="6496"/>
                    </a:cubicBezTo>
                    <a:cubicBezTo>
                      <a:pt x="5991" y="6500"/>
                      <a:pt x="5991" y="6500"/>
                      <a:pt x="5991" y="6500"/>
                    </a:cubicBezTo>
                    <a:cubicBezTo>
                      <a:pt x="5989" y="6573"/>
                      <a:pt x="5989" y="6573"/>
                      <a:pt x="5989" y="6573"/>
                    </a:cubicBezTo>
                    <a:cubicBezTo>
                      <a:pt x="6065" y="6574"/>
                      <a:pt x="6065" y="6574"/>
                      <a:pt x="6065" y="6574"/>
                    </a:cubicBezTo>
                    <a:cubicBezTo>
                      <a:pt x="6063" y="6650"/>
                      <a:pt x="6063" y="6650"/>
                      <a:pt x="6063" y="6650"/>
                    </a:cubicBezTo>
                    <a:cubicBezTo>
                      <a:pt x="6057" y="6650"/>
                      <a:pt x="6057" y="6650"/>
                      <a:pt x="6057" y="6650"/>
                    </a:cubicBezTo>
                    <a:cubicBezTo>
                      <a:pt x="5865" y="6643"/>
                      <a:pt x="5865" y="6643"/>
                      <a:pt x="5865" y="6643"/>
                    </a:cubicBezTo>
                    <a:cubicBezTo>
                      <a:pt x="5866" y="6593"/>
                      <a:pt x="5866" y="6593"/>
                      <a:pt x="5866" y="6593"/>
                    </a:cubicBezTo>
                    <a:lnTo>
                      <a:pt x="5854" y="6593"/>
                    </a:lnTo>
                    <a:close/>
                    <a:moveTo>
                      <a:pt x="5861" y="6580"/>
                    </a:moveTo>
                    <a:cubicBezTo>
                      <a:pt x="5873" y="6580"/>
                      <a:pt x="5873" y="6580"/>
                      <a:pt x="5873" y="6580"/>
                    </a:cubicBezTo>
                    <a:cubicBezTo>
                      <a:pt x="5879" y="6581"/>
                      <a:pt x="5879" y="6581"/>
                      <a:pt x="5879" y="6581"/>
                    </a:cubicBezTo>
                    <a:cubicBezTo>
                      <a:pt x="5878" y="6630"/>
                      <a:pt x="5878" y="6630"/>
                      <a:pt x="5878" y="6630"/>
                    </a:cubicBezTo>
                    <a:cubicBezTo>
                      <a:pt x="6050" y="6637"/>
                      <a:pt x="6050" y="6637"/>
                      <a:pt x="6050" y="6637"/>
                    </a:cubicBezTo>
                    <a:cubicBezTo>
                      <a:pt x="6052" y="6587"/>
                      <a:pt x="6052" y="6587"/>
                      <a:pt x="6052" y="6587"/>
                    </a:cubicBezTo>
                    <a:cubicBezTo>
                      <a:pt x="5976" y="6586"/>
                      <a:pt x="5976" y="6586"/>
                      <a:pt x="5976" y="6586"/>
                    </a:cubicBezTo>
                    <a:cubicBezTo>
                      <a:pt x="5978" y="6512"/>
                      <a:pt x="5978" y="6512"/>
                      <a:pt x="5978" y="6512"/>
                    </a:cubicBezTo>
                    <a:cubicBezTo>
                      <a:pt x="5863" y="6510"/>
                      <a:pt x="5863" y="6510"/>
                      <a:pt x="5863" y="6510"/>
                    </a:cubicBezTo>
                    <a:lnTo>
                      <a:pt x="5861" y="6580"/>
                    </a:lnTo>
                    <a:close/>
                    <a:moveTo>
                      <a:pt x="7749" y="2049"/>
                    </a:moveTo>
                    <a:cubicBezTo>
                      <a:pt x="7801" y="2103"/>
                      <a:pt x="7801" y="2103"/>
                      <a:pt x="7801" y="2103"/>
                    </a:cubicBezTo>
                    <a:cubicBezTo>
                      <a:pt x="7747" y="2156"/>
                      <a:pt x="7747" y="2156"/>
                      <a:pt x="7747" y="2156"/>
                    </a:cubicBezTo>
                    <a:cubicBezTo>
                      <a:pt x="7742" y="2151"/>
                      <a:pt x="7742" y="2151"/>
                      <a:pt x="7742" y="2151"/>
                    </a:cubicBezTo>
                    <a:cubicBezTo>
                      <a:pt x="7611" y="2012"/>
                      <a:pt x="7611" y="2012"/>
                      <a:pt x="7611" y="2012"/>
                    </a:cubicBezTo>
                    <a:cubicBezTo>
                      <a:pt x="7646" y="1977"/>
                      <a:pt x="7646" y="1977"/>
                      <a:pt x="7646" y="1977"/>
                    </a:cubicBezTo>
                    <a:cubicBezTo>
                      <a:pt x="7638" y="1969"/>
                      <a:pt x="7638" y="1969"/>
                      <a:pt x="7638" y="1969"/>
                    </a:cubicBezTo>
                    <a:cubicBezTo>
                      <a:pt x="7633" y="1964"/>
                      <a:pt x="7633" y="1964"/>
                      <a:pt x="7633" y="1964"/>
                    </a:cubicBezTo>
                    <a:cubicBezTo>
                      <a:pt x="7703" y="1897"/>
                      <a:pt x="7703" y="1897"/>
                      <a:pt x="7703" y="1897"/>
                    </a:cubicBezTo>
                    <a:cubicBezTo>
                      <a:pt x="7801" y="1998"/>
                      <a:pt x="7801" y="1998"/>
                      <a:pt x="7801" y="1998"/>
                    </a:cubicBezTo>
                    <a:lnTo>
                      <a:pt x="7749" y="2049"/>
                    </a:lnTo>
                    <a:close/>
                    <a:moveTo>
                      <a:pt x="7730" y="2049"/>
                    </a:moveTo>
                    <a:cubicBezTo>
                      <a:pt x="7782" y="1998"/>
                      <a:pt x="7782" y="1998"/>
                      <a:pt x="7782" y="1998"/>
                    </a:cubicBezTo>
                    <a:cubicBezTo>
                      <a:pt x="7702" y="1915"/>
                      <a:pt x="7702" y="1915"/>
                      <a:pt x="7702" y="1915"/>
                    </a:cubicBezTo>
                    <a:cubicBezTo>
                      <a:pt x="7652" y="1965"/>
                      <a:pt x="7652" y="1965"/>
                      <a:pt x="7652" y="1965"/>
                    </a:cubicBezTo>
                    <a:cubicBezTo>
                      <a:pt x="7660" y="1973"/>
                      <a:pt x="7660" y="1973"/>
                      <a:pt x="7660" y="1973"/>
                    </a:cubicBezTo>
                    <a:cubicBezTo>
                      <a:pt x="7665" y="1978"/>
                      <a:pt x="7665" y="1978"/>
                      <a:pt x="7665" y="1978"/>
                    </a:cubicBezTo>
                    <a:cubicBezTo>
                      <a:pt x="7629" y="2012"/>
                      <a:pt x="7629" y="2012"/>
                      <a:pt x="7629" y="2012"/>
                    </a:cubicBezTo>
                    <a:cubicBezTo>
                      <a:pt x="7747" y="2137"/>
                      <a:pt x="7747" y="2137"/>
                      <a:pt x="7747" y="2137"/>
                    </a:cubicBezTo>
                    <a:cubicBezTo>
                      <a:pt x="7783" y="2103"/>
                      <a:pt x="7783" y="2103"/>
                      <a:pt x="7783" y="2103"/>
                    </a:cubicBezTo>
                    <a:lnTo>
                      <a:pt x="7730" y="2049"/>
                    </a:lnTo>
                    <a:close/>
                    <a:moveTo>
                      <a:pt x="6281" y="6440"/>
                    </a:moveTo>
                    <a:cubicBezTo>
                      <a:pt x="6165" y="6435"/>
                      <a:pt x="6165" y="6435"/>
                      <a:pt x="6165" y="6435"/>
                    </a:cubicBezTo>
                    <a:cubicBezTo>
                      <a:pt x="6173" y="6318"/>
                      <a:pt x="6173" y="6318"/>
                      <a:pt x="6173" y="6318"/>
                    </a:cubicBezTo>
                    <a:cubicBezTo>
                      <a:pt x="6183" y="6318"/>
                      <a:pt x="6183" y="6318"/>
                      <a:pt x="6183" y="6318"/>
                    </a:cubicBezTo>
                    <a:cubicBezTo>
                      <a:pt x="6187" y="6266"/>
                      <a:pt x="6187" y="6266"/>
                      <a:pt x="6187" y="6266"/>
                    </a:cubicBezTo>
                    <a:cubicBezTo>
                      <a:pt x="6372" y="6279"/>
                      <a:pt x="6372" y="6279"/>
                      <a:pt x="6372" y="6279"/>
                    </a:cubicBezTo>
                    <a:cubicBezTo>
                      <a:pt x="6364" y="6388"/>
                      <a:pt x="6364" y="6388"/>
                      <a:pt x="6364" y="6388"/>
                    </a:cubicBezTo>
                    <a:cubicBezTo>
                      <a:pt x="6292" y="6383"/>
                      <a:pt x="6292" y="6383"/>
                      <a:pt x="6292" y="6383"/>
                    </a:cubicBezTo>
                    <a:cubicBezTo>
                      <a:pt x="6288" y="6440"/>
                      <a:pt x="6288" y="6440"/>
                      <a:pt x="6288" y="6440"/>
                    </a:cubicBezTo>
                    <a:lnTo>
                      <a:pt x="6281" y="6440"/>
                    </a:lnTo>
                    <a:close/>
                    <a:moveTo>
                      <a:pt x="6279" y="6369"/>
                    </a:moveTo>
                    <a:cubicBezTo>
                      <a:pt x="6352" y="6374"/>
                      <a:pt x="6352" y="6374"/>
                      <a:pt x="6352" y="6374"/>
                    </a:cubicBezTo>
                    <a:cubicBezTo>
                      <a:pt x="6358" y="6291"/>
                      <a:pt x="6358" y="6291"/>
                      <a:pt x="6358" y="6291"/>
                    </a:cubicBezTo>
                    <a:cubicBezTo>
                      <a:pt x="6199" y="6280"/>
                      <a:pt x="6199" y="6280"/>
                      <a:pt x="6199" y="6280"/>
                    </a:cubicBezTo>
                    <a:cubicBezTo>
                      <a:pt x="6196" y="6332"/>
                      <a:pt x="6196" y="6332"/>
                      <a:pt x="6196" y="6332"/>
                    </a:cubicBezTo>
                    <a:cubicBezTo>
                      <a:pt x="6185" y="6332"/>
                      <a:pt x="6185" y="6332"/>
                      <a:pt x="6185" y="6332"/>
                    </a:cubicBezTo>
                    <a:cubicBezTo>
                      <a:pt x="6179" y="6422"/>
                      <a:pt x="6179" y="6422"/>
                      <a:pt x="6179" y="6422"/>
                    </a:cubicBezTo>
                    <a:cubicBezTo>
                      <a:pt x="6275" y="6427"/>
                      <a:pt x="6275" y="6427"/>
                      <a:pt x="6275" y="6427"/>
                    </a:cubicBezTo>
                    <a:lnTo>
                      <a:pt x="6279" y="6369"/>
                    </a:lnTo>
                    <a:close/>
                    <a:moveTo>
                      <a:pt x="7606" y="2303"/>
                    </a:moveTo>
                    <a:cubicBezTo>
                      <a:pt x="7659" y="2357"/>
                      <a:pt x="7659" y="2357"/>
                      <a:pt x="7659" y="2357"/>
                    </a:cubicBezTo>
                    <a:cubicBezTo>
                      <a:pt x="7605" y="2410"/>
                      <a:pt x="7605" y="2410"/>
                      <a:pt x="7605" y="2410"/>
                    </a:cubicBezTo>
                    <a:cubicBezTo>
                      <a:pt x="7600" y="2406"/>
                      <a:pt x="7600" y="2406"/>
                      <a:pt x="7600" y="2406"/>
                    </a:cubicBezTo>
                    <a:cubicBezTo>
                      <a:pt x="7468" y="2266"/>
                      <a:pt x="7468" y="2266"/>
                      <a:pt x="7468" y="2266"/>
                    </a:cubicBezTo>
                    <a:cubicBezTo>
                      <a:pt x="7504" y="2232"/>
                      <a:pt x="7504" y="2232"/>
                      <a:pt x="7504" y="2232"/>
                    </a:cubicBezTo>
                    <a:cubicBezTo>
                      <a:pt x="7496" y="2223"/>
                      <a:pt x="7496" y="2223"/>
                      <a:pt x="7496" y="2223"/>
                    </a:cubicBezTo>
                    <a:cubicBezTo>
                      <a:pt x="7491" y="2218"/>
                      <a:pt x="7491" y="2218"/>
                      <a:pt x="7491" y="2218"/>
                    </a:cubicBezTo>
                    <a:cubicBezTo>
                      <a:pt x="7561" y="2151"/>
                      <a:pt x="7561" y="2151"/>
                      <a:pt x="7561" y="2151"/>
                    </a:cubicBezTo>
                    <a:cubicBezTo>
                      <a:pt x="7659" y="2252"/>
                      <a:pt x="7659" y="2252"/>
                      <a:pt x="7659" y="2252"/>
                    </a:cubicBezTo>
                    <a:lnTo>
                      <a:pt x="7606" y="2303"/>
                    </a:lnTo>
                    <a:close/>
                    <a:moveTo>
                      <a:pt x="7588" y="2303"/>
                    </a:moveTo>
                    <a:cubicBezTo>
                      <a:pt x="7640" y="2252"/>
                      <a:pt x="7640" y="2252"/>
                      <a:pt x="7640" y="2252"/>
                    </a:cubicBezTo>
                    <a:cubicBezTo>
                      <a:pt x="7560" y="2170"/>
                      <a:pt x="7560" y="2170"/>
                      <a:pt x="7560" y="2170"/>
                    </a:cubicBezTo>
                    <a:cubicBezTo>
                      <a:pt x="7510" y="2219"/>
                      <a:pt x="7510" y="2219"/>
                      <a:pt x="7510" y="2219"/>
                    </a:cubicBezTo>
                    <a:cubicBezTo>
                      <a:pt x="7518" y="2227"/>
                      <a:pt x="7518" y="2227"/>
                      <a:pt x="7518" y="2227"/>
                    </a:cubicBezTo>
                    <a:cubicBezTo>
                      <a:pt x="7523" y="2232"/>
                      <a:pt x="7523" y="2232"/>
                      <a:pt x="7523" y="2232"/>
                    </a:cubicBezTo>
                    <a:cubicBezTo>
                      <a:pt x="7487" y="2266"/>
                      <a:pt x="7487" y="2266"/>
                      <a:pt x="7487" y="2266"/>
                    </a:cubicBezTo>
                    <a:cubicBezTo>
                      <a:pt x="7605" y="2392"/>
                      <a:pt x="7605" y="2392"/>
                      <a:pt x="7605" y="2392"/>
                    </a:cubicBezTo>
                    <a:cubicBezTo>
                      <a:pt x="7641" y="2357"/>
                      <a:pt x="7641" y="2357"/>
                      <a:pt x="7641" y="2357"/>
                    </a:cubicBezTo>
                    <a:lnTo>
                      <a:pt x="7588" y="2303"/>
                    </a:lnTo>
                    <a:close/>
                    <a:moveTo>
                      <a:pt x="7004" y="5052"/>
                    </a:moveTo>
                    <a:cubicBezTo>
                      <a:pt x="6916" y="5172"/>
                      <a:pt x="6916" y="5172"/>
                      <a:pt x="6916" y="5172"/>
                    </a:cubicBezTo>
                    <a:cubicBezTo>
                      <a:pt x="6855" y="5127"/>
                      <a:pt x="6855" y="5127"/>
                      <a:pt x="6855" y="5127"/>
                    </a:cubicBezTo>
                    <a:cubicBezTo>
                      <a:pt x="6814" y="5184"/>
                      <a:pt x="6814" y="5184"/>
                      <a:pt x="6814" y="5184"/>
                    </a:cubicBezTo>
                    <a:cubicBezTo>
                      <a:pt x="6752" y="5139"/>
                      <a:pt x="6752" y="5139"/>
                      <a:pt x="6752" y="5139"/>
                    </a:cubicBezTo>
                    <a:cubicBezTo>
                      <a:pt x="6864" y="4986"/>
                      <a:pt x="6864" y="4986"/>
                      <a:pt x="6864" y="4986"/>
                    </a:cubicBezTo>
                    <a:cubicBezTo>
                      <a:pt x="6852" y="4977"/>
                      <a:pt x="6852" y="4977"/>
                      <a:pt x="6852" y="4977"/>
                    </a:cubicBezTo>
                    <a:cubicBezTo>
                      <a:pt x="6801" y="5047"/>
                      <a:pt x="6801" y="5047"/>
                      <a:pt x="6801" y="5047"/>
                    </a:cubicBezTo>
                    <a:cubicBezTo>
                      <a:pt x="6737" y="5001"/>
                      <a:pt x="6737" y="5001"/>
                      <a:pt x="6737" y="5001"/>
                    </a:cubicBezTo>
                    <a:cubicBezTo>
                      <a:pt x="6862" y="4830"/>
                      <a:pt x="6862" y="4830"/>
                      <a:pt x="6862" y="4830"/>
                    </a:cubicBezTo>
                    <a:cubicBezTo>
                      <a:pt x="6906" y="4863"/>
                      <a:pt x="6906" y="4863"/>
                      <a:pt x="6906" y="4863"/>
                    </a:cubicBezTo>
                    <a:cubicBezTo>
                      <a:pt x="6910" y="4857"/>
                      <a:pt x="6910" y="4857"/>
                      <a:pt x="6910" y="4857"/>
                    </a:cubicBezTo>
                    <a:cubicBezTo>
                      <a:pt x="6914" y="4852"/>
                      <a:pt x="6914" y="4852"/>
                      <a:pt x="6914" y="4852"/>
                    </a:cubicBezTo>
                    <a:cubicBezTo>
                      <a:pt x="6994" y="4910"/>
                      <a:pt x="6994" y="4910"/>
                      <a:pt x="6994" y="4910"/>
                    </a:cubicBezTo>
                    <a:cubicBezTo>
                      <a:pt x="6990" y="4916"/>
                      <a:pt x="6990" y="4916"/>
                      <a:pt x="6990" y="4916"/>
                    </a:cubicBezTo>
                    <a:cubicBezTo>
                      <a:pt x="6930" y="4998"/>
                      <a:pt x="6930" y="4998"/>
                      <a:pt x="6930" y="4998"/>
                    </a:cubicBezTo>
                    <a:lnTo>
                      <a:pt x="7004" y="5052"/>
                    </a:lnTo>
                    <a:close/>
                    <a:moveTo>
                      <a:pt x="6985" y="5055"/>
                    </a:moveTo>
                    <a:cubicBezTo>
                      <a:pt x="6912" y="5001"/>
                      <a:pt x="6912" y="5001"/>
                      <a:pt x="6912" y="5001"/>
                    </a:cubicBezTo>
                    <a:cubicBezTo>
                      <a:pt x="6976" y="4913"/>
                      <a:pt x="6976" y="4913"/>
                      <a:pt x="6976" y="4913"/>
                    </a:cubicBezTo>
                    <a:cubicBezTo>
                      <a:pt x="6917" y="4870"/>
                      <a:pt x="6917" y="4870"/>
                      <a:pt x="6917" y="4870"/>
                    </a:cubicBezTo>
                    <a:cubicBezTo>
                      <a:pt x="6913" y="4876"/>
                      <a:pt x="6913" y="4876"/>
                      <a:pt x="6913" y="4876"/>
                    </a:cubicBezTo>
                    <a:cubicBezTo>
                      <a:pt x="6909" y="4881"/>
                      <a:pt x="6909" y="4881"/>
                      <a:pt x="6909" y="4881"/>
                    </a:cubicBezTo>
                    <a:cubicBezTo>
                      <a:pt x="6865" y="4849"/>
                      <a:pt x="6865" y="4849"/>
                      <a:pt x="6865" y="4849"/>
                    </a:cubicBezTo>
                    <a:cubicBezTo>
                      <a:pt x="6756" y="4998"/>
                      <a:pt x="6756" y="4998"/>
                      <a:pt x="6756" y="4998"/>
                    </a:cubicBezTo>
                    <a:cubicBezTo>
                      <a:pt x="6798" y="5029"/>
                      <a:pt x="6798" y="5029"/>
                      <a:pt x="6798" y="5029"/>
                    </a:cubicBezTo>
                    <a:cubicBezTo>
                      <a:pt x="6849" y="4959"/>
                      <a:pt x="6849" y="4959"/>
                      <a:pt x="6849" y="4959"/>
                    </a:cubicBezTo>
                    <a:cubicBezTo>
                      <a:pt x="6883" y="4983"/>
                      <a:pt x="6883" y="4983"/>
                      <a:pt x="6883" y="4983"/>
                    </a:cubicBezTo>
                    <a:cubicBezTo>
                      <a:pt x="6771" y="5137"/>
                      <a:pt x="6771" y="5137"/>
                      <a:pt x="6771" y="5137"/>
                    </a:cubicBezTo>
                    <a:cubicBezTo>
                      <a:pt x="6811" y="5166"/>
                      <a:pt x="6811" y="5166"/>
                      <a:pt x="6811" y="5166"/>
                    </a:cubicBezTo>
                    <a:cubicBezTo>
                      <a:pt x="6852" y="5109"/>
                      <a:pt x="6852" y="5109"/>
                      <a:pt x="6852" y="5109"/>
                    </a:cubicBezTo>
                    <a:cubicBezTo>
                      <a:pt x="6914" y="5153"/>
                      <a:pt x="6914" y="5153"/>
                      <a:pt x="6914" y="5153"/>
                    </a:cubicBezTo>
                    <a:lnTo>
                      <a:pt x="6985" y="5055"/>
                    </a:lnTo>
                    <a:close/>
                    <a:moveTo>
                      <a:pt x="6259" y="7307"/>
                    </a:moveTo>
                    <a:cubicBezTo>
                      <a:pt x="6149" y="7297"/>
                      <a:pt x="6149" y="7297"/>
                      <a:pt x="6149" y="7297"/>
                    </a:cubicBezTo>
                    <a:cubicBezTo>
                      <a:pt x="6167" y="7112"/>
                      <a:pt x="6167" y="7112"/>
                      <a:pt x="6167" y="7112"/>
                    </a:cubicBezTo>
                    <a:cubicBezTo>
                      <a:pt x="6219" y="7117"/>
                      <a:pt x="6219" y="7117"/>
                      <a:pt x="6219" y="7117"/>
                    </a:cubicBezTo>
                    <a:cubicBezTo>
                      <a:pt x="6219" y="7113"/>
                      <a:pt x="6219" y="7113"/>
                      <a:pt x="6219" y="7113"/>
                    </a:cubicBezTo>
                    <a:cubicBezTo>
                      <a:pt x="6220" y="7106"/>
                      <a:pt x="6220" y="7106"/>
                      <a:pt x="6220" y="7106"/>
                    </a:cubicBezTo>
                    <a:cubicBezTo>
                      <a:pt x="6337" y="7117"/>
                      <a:pt x="6337" y="7117"/>
                      <a:pt x="6337" y="7117"/>
                    </a:cubicBezTo>
                    <a:cubicBezTo>
                      <a:pt x="6323" y="7239"/>
                      <a:pt x="6323" y="7239"/>
                      <a:pt x="6323" y="7239"/>
                    </a:cubicBezTo>
                    <a:cubicBezTo>
                      <a:pt x="6316" y="7239"/>
                      <a:pt x="6316" y="7239"/>
                      <a:pt x="6316" y="7239"/>
                    </a:cubicBezTo>
                    <a:cubicBezTo>
                      <a:pt x="6266" y="7234"/>
                      <a:pt x="6266" y="7234"/>
                      <a:pt x="6266" y="7234"/>
                    </a:cubicBezTo>
                    <a:lnTo>
                      <a:pt x="6259" y="7307"/>
                    </a:lnTo>
                    <a:close/>
                    <a:moveTo>
                      <a:pt x="6254" y="7220"/>
                    </a:moveTo>
                    <a:cubicBezTo>
                      <a:pt x="6311" y="7225"/>
                      <a:pt x="6311" y="7225"/>
                      <a:pt x="6311" y="7225"/>
                    </a:cubicBezTo>
                    <a:cubicBezTo>
                      <a:pt x="6322" y="7129"/>
                      <a:pt x="6322" y="7129"/>
                      <a:pt x="6322" y="7129"/>
                    </a:cubicBezTo>
                    <a:cubicBezTo>
                      <a:pt x="6232" y="7121"/>
                      <a:pt x="6232" y="7121"/>
                      <a:pt x="6232" y="7121"/>
                    </a:cubicBezTo>
                    <a:cubicBezTo>
                      <a:pt x="6231" y="7125"/>
                      <a:pt x="6231" y="7125"/>
                      <a:pt x="6231" y="7125"/>
                    </a:cubicBezTo>
                    <a:cubicBezTo>
                      <a:pt x="6231" y="7131"/>
                      <a:pt x="6231" y="7131"/>
                      <a:pt x="6231" y="7131"/>
                    </a:cubicBezTo>
                    <a:cubicBezTo>
                      <a:pt x="6179" y="7126"/>
                      <a:pt x="6179" y="7126"/>
                      <a:pt x="6179" y="7126"/>
                    </a:cubicBezTo>
                    <a:cubicBezTo>
                      <a:pt x="6164" y="7285"/>
                      <a:pt x="6164" y="7285"/>
                      <a:pt x="6164" y="7285"/>
                    </a:cubicBezTo>
                    <a:cubicBezTo>
                      <a:pt x="6247" y="7293"/>
                      <a:pt x="6247" y="7293"/>
                      <a:pt x="6247" y="7293"/>
                    </a:cubicBezTo>
                    <a:lnTo>
                      <a:pt x="6254" y="7220"/>
                    </a:lnTo>
                    <a:close/>
                    <a:moveTo>
                      <a:pt x="7111" y="4029"/>
                    </a:moveTo>
                    <a:cubicBezTo>
                      <a:pt x="6910" y="3966"/>
                      <a:pt x="6910" y="3966"/>
                      <a:pt x="6910" y="3966"/>
                    </a:cubicBezTo>
                    <a:cubicBezTo>
                      <a:pt x="6912" y="3959"/>
                      <a:pt x="6912" y="3959"/>
                      <a:pt x="6912" y="3959"/>
                    </a:cubicBezTo>
                    <a:cubicBezTo>
                      <a:pt x="6936" y="3883"/>
                      <a:pt x="6936" y="3883"/>
                      <a:pt x="6936" y="3883"/>
                    </a:cubicBezTo>
                    <a:cubicBezTo>
                      <a:pt x="6981" y="3897"/>
                      <a:pt x="6981" y="3897"/>
                      <a:pt x="6981" y="3897"/>
                    </a:cubicBezTo>
                    <a:cubicBezTo>
                      <a:pt x="6994" y="3856"/>
                      <a:pt x="6994" y="3856"/>
                      <a:pt x="6994" y="3856"/>
                    </a:cubicBezTo>
                    <a:cubicBezTo>
                      <a:pt x="7105" y="3891"/>
                      <a:pt x="7105" y="3891"/>
                      <a:pt x="7105" y="3891"/>
                    </a:cubicBezTo>
                    <a:cubicBezTo>
                      <a:pt x="7092" y="3933"/>
                      <a:pt x="7092" y="3933"/>
                      <a:pt x="7092" y="3933"/>
                    </a:cubicBezTo>
                    <a:cubicBezTo>
                      <a:pt x="7137" y="3947"/>
                      <a:pt x="7137" y="3947"/>
                      <a:pt x="7137" y="3947"/>
                    </a:cubicBezTo>
                    <a:lnTo>
                      <a:pt x="7111" y="4029"/>
                    </a:lnTo>
                    <a:close/>
                    <a:moveTo>
                      <a:pt x="7102" y="4012"/>
                    </a:moveTo>
                    <a:cubicBezTo>
                      <a:pt x="7120" y="3955"/>
                      <a:pt x="7120" y="3955"/>
                      <a:pt x="7120" y="3955"/>
                    </a:cubicBezTo>
                    <a:cubicBezTo>
                      <a:pt x="7076" y="3941"/>
                      <a:pt x="7076" y="3941"/>
                      <a:pt x="7076" y="3941"/>
                    </a:cubicBezTo>
                    <a:cubicBezTo>
                      <a:pt x="7088" y="3900"/>
                      <a:pt x="7088" y="3900"/>
                      <a:pt x="7088" y="3900"/>
                    </a:cubicBezTo>
                    <a:cubicBezTo>
                      <a:pt x="7002" y="3873"/>
                      <a:pt x="7002" y="3873"/>
                      <a:pt x="7002" y="3873"/>
                    </a:cubicBezTo>
                    <a:cubicBezTo>
                      <a:pt x="6989" y="3914"/>
                      <a:pt x="6989" y="3914"/>
                      <a:pt x="6989" y="3914"/>
                    </a:cubicBezTo>
                    <a:cubicBezTo>
                      <a:pt x="6945" y="3900"/>
                      <a:pt x="6945" y="3900"/>
                      <a:pt x="6945" y="3900"/>
                    </a:cubicBezTo>
                    <a:cubicBezTo>
                      <a:pt x="6926" y="3957"/>
                      <a:pt x="6926" y="3957"/>
                      <a:pt x="6926" y="3957"/>
                    </a:cubicBezTo>
                    <a:lnTo>
                      <a:pt x="7102" y="4012"/>
                    </a:lnTo>
                    <a:close/>
                    <a:moveTo>
                      <a:pt x="6698" y="5948"/>
                    </a:moveTo>
                    <a:cubicBezTo>
                      <a:pt x="6773" y="5953"/>
                      <a:pt x="6773" y="5953"/>
                      <a:pt x="6773" y="5953"/>
                    </a:cubicBezTo>
                    <a:cubicBezTo>
                      <a:pt x="6769" y="6029"/>
                      <a:pt x="6769" y="6029"/>
                      <a:pt x="6769" y="6029"/>
                    </a:cubicBezTo>
                    <a:cubicBezTo>
                      <a:pt x="6762" y="6028"/>
                      <a:pt x="6762" y="6028"/>
                      <a:pt x="6762" y="6028"/>
                    </a:cubicBezTo>
                    <a:cubicBezTo>
                      <a:pt x="6571" y="6014"/>
                      <a:pt x="6571" y="6014"/>
                      <a:pt x="6571" y="6014"/>
                    </a:cubicBezTo>
                    <a:cubicBezTo>
                      <a:pt x="6574" y="5964"/>
                      <a:pt x="6574" y="5964"/>
                      <a:pt x="6574" y="5964"/>
                    </a:cubicBezTo>
                    <a:cubicBezTo>
                      <a:pt x="6562" y="5964"/>
                      <a:pt x="6562" y="5964"/>
                      <a:pt x="6562" y="5964"/>
                    </a:cubicBezTo>
                    <a:cubicBezTo>
                      <a:pt x="6556" y="5963"/>
                      <a:pt x="6556" y="5963"/>
                      <a:pt x="6556" y="5963"/>
                    </a:cubicBezTo>
                    <a:cubicBezTo>
                      <a:pt x="6562" y="5867"/>
                      <a:pt x="6562" y="5867"/>
                      <a:pt x="6562" y="5867"/>
                    </a:cubicBezTo>
                    <a:cubicBezTo>
                      <a:pt x="6702" y="5875"/>
                      <a:pt x="6702" y="5875"/>
                      <a:pt x="6702" y="5875"/>
                    </a:cubicBezTo>
                    <a:lnTo>
                      <a:pt x="6698" y="5948"/>
                    </a:lnTo>
                    <a:close/>
                    <a:moveTo>
                      <a:pt x="6684" y="5961"/>
                    </a:moveTo>
                    <a:cubicBezTo>
                      <a:pt x="6689" y="5888"/>
                      <a:pt x="6689" y="5888"/>
                      <a:pt x="6689" y="5888"/>
                    </a:cubicBezTo>
                    <a:cubicBezTo>
                      <a:pt x="6574" y="5881"/>
                      <a:pt x="6574" y="5881"/>
                      <a:pt x="6574" y="5881"/>
                    </a:cubicBezTo>
                    <a:cubicBezTo>
                      <a:pt x="6570" y="5951"/>
                      <a:pt x="6570" y="5951"/>
                      <a:pt x="6570" y="5951"/>
                    </a:cubicBezTo>
                    <a:cubicBezTo>
                      <a:pt x="6581" y="5952"/>
                      <a:pt x="6581" y="5952"/>
                      <a:pt x="6581" y="5952"/>
                    </a:cubicBezTo>
                    <a:cubicBezTo>
                      <a:pt x="6588" y="5952"/>
                      <a:pt x="6588" y="5952"/>
                      <a:pt x="6588" y="5952"/>
                    </a:cubicBezTo>
                    <a:cubicBezTo>
                      <a:pt x="6585" y="6002"/>
                      <a:pt x="6585" y="6002"/>
                      <a:pt x="6585" y="6002"/>
                    </a:cubicBezTo>
                    <a:cubicBezTo>
                      <a:pt x="6757" y="6015"/>
                      <a:pt x="6757" y="6015"/>
                      <a:pt x="6757" y="6015"/>
                    </a:cubicBezTo>
                    <a:cubicBezTo>
                      <a:pt x="6760" y="5965"/>
                      <a:pt x="6760" y="5965"/>
                      <a:pt x="6760" y="5965"/>
                    </a:cubicBezTo>
                    <a:lnTo>
                      <a:pt x="6684" y="5961"/>
                    </a:lnTo>
                    <a:close/>
                    <a:moveTo>
                      <a:pt x="6293" y="6812"/>
                    </a:moveTo>
                    <a:cubicBezTo>
                      <a:pt x="6477" y="6839"/>
                      <a:pt x="6477" y="6839"/>
                      <a:pt x="6477" y="6839"/>
                    </a:cubicBezTo>
                    <a:cubicBezTo>
                      <a:pt x="6460" y="6948"/>
                      <a:pt x="6460" y="6948"/>
                      <a:pt x="6460" y="6948"/>
                    </a:cubicBezTo>
                    <a:cubicBezTo>
                      <a:pt x="6388" y="6937"/>
                      <a:pt x="6388" y="6937"/>
                      <a:pt x="6388" y="6937"/>
                    </a:cubicBezTo>
                    <a:cubicBezTo>
                      <a:pt x="6379" y="6994"/>
                      <a:pt x="6379" y="6994"/>
                      <a:pt x="6379" y="6994"/>
                    </a:cubicBezTo>
                    <a:cubicBezTo>
                      <a:pt x="6373" y="6993"/>
                      <a:pt x="6373" y="6993"/>
                      <a:pt x="6373" y="6993"/>
                    </a:cubicBezTo>
                    <a:cubicBezTo>
                      <a:pt x="6258" y="6978"/>
                      <a:pt x="6258" y="6978"/>
                      <a:pt x="6258" y="6978"/>
                    </a:cubicBezTo>
                    <a:cubicBezTo>
                      <a:pt x="6275" y="6862"/>
                      <a:pt x="6275" y="6862"/>
                      <a:pt x="6275" y="6862"/>
                    </a:cubicBezTo>
                    <a:cubicBezTo>
                      <a:pt x="6285" y="6863"/>
                      <a:pt x="6285" y="6863"/>
                      <a:pt x="6285" y="6863"/>
                    </a:cubicBezTo>
                    <a:lnTo>
                      <a:pt x="6293" y="6812"/>
                    </a:lnTo>
                    <a:close/>
                    <a:moveTo>
                      <a:pt x="6296" y="6878"/>
                    </a:moveTo>
                    <a:cubicBezTo>
                      <a:pt x="6286" y="6877"/>
                      <a:pt x="6286" y="6877"/>
                      <a:pt x="6286" y="6877"/>
                    </a:cubicBezTo>
                    <a:cubicBezTo>
                      <a:pt x="6273" y="6967"/>
                      <a:pt x="6273" y="6967"/>
                      <a:pt x="6273" y="6967"/>
                    </a:cubicBezTo>
                    <a:cubicBezTo>
                      <a:pt x="6368" y="6979"/>
                      <a:pt x="6368" y="6979"/>
                      <a:pt x="6368" y="6979"/>
                    </a:cubicBezTo>
                    <a:cubicBezTo>
                      <a:pt x="6377" y="6922"/>
                      <a:pt x="6377" y="6922"/>
                      <a:pt x="6377" y="6922"/>
                    </a:cubicBezTo>
                    <a:cubicBezTo>
                      <a:pt x="6449" y="6933"/>
                      <a:pt x="6449" y="6933"/>
                      <a:pt x="6449" y="6933"/>
                    </a:cubicBezTo>
                    <a:cubicBezTo>
                      <a:pt x="6462" y="6850"/>
                      <a:pt x="6462" y="6850"/>
                      <a:pt x="6462" y="6850"/>
                    </a:cubicBezTo>
                    <a:cubicBezTo>
                      <a:pt x="6304" y="6827"/>
                      <a:pt x="6304" y="6827"/>
                      <a:pt x="6304" y="6827"/>
                    </a:cubicBezTo>
                    <a:lnTo>
                      <a:pt x="6296" y="6878"/>
                    </a:lnTo>
                    <a:close/>
                    <a:moveTo>
                      <a:pt x="6601" y="6299"/>
                    </a:moveTo>
                    <a:cubicBezTo>
                      <a:pt x="6731" y="6297"/>
                      <a:pt x="6731" y="6297"/>
                      <a:pt x="6731" y="6297"/>
                    </a:cubicBezTo>
                    <a:cubicBezTo>
                      <a:pt x="6730" y="6468"/>
                      <a:pt x="6730" y="6468"/>
                      <a:pt x="6730" y="6468"/>
                    </a:cubicBezTo>
                    <a:cubicBezTo>
                      <a:pt x="6643" y="6469"/>
                      <a:pt x="6643" y="6469"/>
                      <a:pt x="6643" y="6469"/>
                    </a:cubicBezTo>
                    <a:cubicBezTo>
                      <a:pt x="6643" y="6566"/>
                      <a:pt x="6643" y="6566"/>
                      <a:pt x="6643" y="6566"/>
                    </a:cubicBezTo>
                    <a:cubicBezTo>
                      <a:pt x="6520" y="6566"/>
                      <a:pt x="6520" y="6566"/>
                      <a:pt x="6520" y="6566"/>
                    </a:cubicBezTo>
                    <a:cubicBezTo>
                      <a:pt x="6518" y="6384"/>
                      <a:pt x="6518" y="6384"/>
                      <a:pt x="6518" y="6384"/>
                    </a:cubicBezTo>
                    <a:cubicBezTo>
                      <a:pt x="6601" y="6383"/>
                      <a:pt x="6601" y="6383"/>
                      <a:pt x="6601" y="6383"/>
                    </a:cubicBezTo>
                    <a:lnTo>
                      <a:pt x="6601" y="6299"/>
                    </a:lnTo>
                    <a:close/>
                    <a:moveTo>
                      <a:pt x="6614" y="6312"/>
                    </a:moveTo>
                    <a:cubicBezTo>
                      <a:pt x="6615" y="6396"/>
                      <a:pt x="6615" y="6396"/>
                      <a:pt x="6615" y="6396"/>
                    </a:cubicBezTo>
                    <a:cubicBezTo>
                      <a:pt x="6531" y="6397"/>
                      <a:pt x="6531" y="6397"/>
                      <a:pt x="6531" y="6397"/>
                    </a:cubicBezTo>
                    <a:cubicBezTo>
                      <a:pt x="6533" y="6553"/>
                      <a:pt x="6533" y="6553"/>
                      <a:pt x="6533" y="6553"/>
                    </a:cubicBezTo>
                    <a:cubicBezTo>
                      <a:pt x="6630" y="6553"/>
                      <a:pt x="6630" y="6553"/>
                      <a:pt x="6630" y="6553"/>
                    </a:cubicBezTo>
                    <a:cubicBezTo>
                      <a:pt x="6630" y="6456"/>
                      <a:pt x="6630" y="6456"/>
                      <a:pt x="6630" y="6456"/>
                    </a:cubicBezTo>
                    <a:cubicBezTo>
                      <a:pt x="6637" y="6456"/>
                      <a:pt x="6637" y="6456"/>
                      <a:pt x="6637" y="6456"/>
                    </a:cubicBezTo>
                    <a:cubicBezTo>
                      <a:pt x="6717" y="6455"/>
                      <a:pt x="6717" y="6455"/>
                      <a:pt x="6717" y="6455"/>
                    </a:cubicBezTo>
                    <a:cubicBezTo>
                      <a:pt x="6718" y="6311"/>
                      <a:pt x="6718" y="6311"/>
                      <a:pt x="6718" y="6311"/>
                    </a:cubicBezTo>
                    <a:lnTo>
                      <a:pt x="6614" y="6312"/>
                    </a:lnTo>
                    <a:close/>
                    <a:moveTo>
                      <a:pt x="6755" y="5501"/>
                    </a:moveTo>
                    <a:cubicBezTo>
                      <a:pt x="6831" y="5508"/>
                      <a:pt x="6831" y="5508"/>
                      <a:pt x="6831" y="5508"/>
                    </a:cubicBezTo>
                    <a:cubicBezTo>
                      <a:pt x="6824" y="5584"/>
                      <a:pt x="6824" y="5584"/>
                      <a:pt x="6824" y="5584"/>
                    </a:cubicBezTo>
                    <a:cubicBezTo>
                      <a:pt x="6817" y="5583"/>
                      <a:pt x="6817" y="5583"/>
                      <a:pt x="6817" y="5583"/>
                    </a:cubicBezTo>
                    <a:cubicBezTo>
                      <a:pt x="6626" y="5563"/>
                      <a:pt x="6626" y="5563"/>
                      <a:pt x="6626" y="5563"/>
                    </a:cubicBezTo>
                    <a:cubicBezTo>
                      <a:pt x="6631" y="5514"/>
                      <a:pt x="6631" y="5514"/>
                      <a:pt x="6631" y="5514"/>
                    </a:cubicBezTo>
                    <a:cubicBezTo>
                      <a:pt x="6619" y="5513"/>
                      <a:pt x="6619" y="5513"/>
                      <a:pt x="6619" y="5513"/>
                    </a:cubicBezTo>
                    <a:cubicBezTo>
                      <a:pt x="6613" y="5512"/>
                      <a:pt x="6613" y="5512"/>
                      <a:pt x="6613" y="5512"/>
                    </a:cubicBezTo>
                    <a:cubicBezTo>
                      <a:pt x="6622" y="5416"/>
                      <a:pt x="6622" y="5416"/>
                      <a:pt x="6622" y="5416"/>
                    </a:cubicBezTo>
                    <a:cubicBezTo>
                      <a:pt x="6762" y="5429"/>
                      <a:pt x="6762" y="5429"/>
                      <a:pt x="6762" y="5429"/>
                    </a:cubicBezTo>
                    <a:lnTo>
                      <a:pt x="6755" y="5501"/>
                    </a:lnTo>
                    <a:close/>
                    <a:moveTo>
                      <a:pt x="6741" y="5513"/>
                    </a:moveTo>
                    <a:cubicBezTo>
                      <a:pt x="6748" y="5441"/>
                      <a:pt x="6748" y="5441"/>
                      <a:pt x="6748" y="5441"/>
                    </a:cubicBezTo>
                    <a:cubicBezTo>
                      <a:pt x="6633" y="5430"/>
                      <a:pt x="6633" y="5430"/>
                      <a:pt x="6633" y="5430"/>
                    </a:cubicBezTo>
                    <a:cubicBezTo>
                      <a:pt x="6627" y="5500"/>
                      <a:pt x="6627" y="5500"/>
                      <a:pt x="6627" y="5500"/>
                    </a:cubicBezTo>
                    <a:cubicBezTo>
                      <a:pt x="6639" y="5501"/>
                      <a:pt x="6639" y="5501"/>
                      <a:pt x="6639" y="5501"/>
                    </a:cubicBezTo>
                    <a:cubicBezTo>
                      <a:pt x="6645" y="5502"/>
                      <a:pt x="6645" y="5502"/>
                      <a:pt x="6645" y="5502"/>
                    </a:cubicBezTo>
                    <a:cubicBezTo>
                      <a:pt x="6641" y="5551"/>
                      <a:pt x="6641" y="5551"/>
                      <a:pt x="6641" y="5551"/>
                    </a:cubicBezTo>
                    <a:cubicBezTo>
                      <a:pt x="6812" y="5570"/>
                      <a:pt x="6812" y="5570"/>
                      <a:pt x="6812" y="5570"/>
                    </a:cubicBezTo>
                    <a:cubicBezTo>
                      <a:pt x="6816" y="5520"/>
                      <a:pt x="6816" y="5520"/>
                      <a:pt x="6816" y="5520"/>
                    </a:cubicBezTo>
                    <a:lnTo>
                      <a:pt x="6741" y="5513"/>
                    </a:lnTo>
                    <a:close/>
                    <a:moveTo>
                      <a:pt x="7190" y="3598"/>
                    </a:moveTo>
                    <a:cubicBezTo>
                      <a:pt x="7245" y="3615"/>
                      <a:pt x="7245" y="3615"/>
                      <a:pt x="7245" y="3615"/>
                    </a:cubicBezTo>
                    <a:cubicBezTo>
                      <a:pt x="7243" y="3621"/>
                      <a:pt x="7243" y="3621"/>
                      <a:pt x="7243" y="3621"/>
                    </a:cubicBezTo>
                    <a:cubicBezTo>
                      <a:pt x="7212" y="3733"/>
                      <a:pt x="7212" y="3733"/>
                      <a:pt x="7212" y="3733"/>
                    </a:cubicBezTo>
                    <a:cubicBezTo>
                      <a:pt x="7102" y="3701"/>
                      <a:pt x="7102" y="3701"/>
                      <a:pt x="7102" y="3701"/>
                    </a:cubicBezTo>
                    <a:cubicBezTo>
                      <a:pt x="7106" y="3687"/>
                      <a:pt x="7106" y="3687"/>
                      <a:pt x="7106" y="3687"/>
                    </a:cubicBezTo>
                    <a:cubicBezTo>
                      <a:pt x="7056" y="3673"/>
                      <a:pt x="7056" y="3673"/>
                      <a:pt x="7056" y="3673"/>
                    </a:cubicBezTo>
                    <a:cubicBezTo>
                      <a:pt x="7106" y="3494"/>
                      <a:pt x="7106" y="3494"/>
                      <a:pt x="7106" y="3494"/>
                    </a:cubicBezTo>
                    <a:cubicBezTo>
                      <a:pt x="7211" y="3524"/>
                      <a:pt x="7211" y="3524"/>
                      <a:pt x="7211" y="3524"/>
                    </a:cubicBezTo>
                    <a:lnTo>
                      <a:pt x="7190" y="3598"/>
                    </a:lnTo>
                    <a:close/>
                    <a:moveTo>
                      <a:pt x="7173" y="3606"/>
                    </a:moveTo>
                    <a:cubicBezTo>
                      <a:pt x="7195" y="3533"/>
                      <a:pt x="7195" y="3533"/>
                      <a:pt x="7195" y="3533"/>
                    </a:cubicBezTo>
                    <a:cubicBezTo>
                      <a:pt x="7115" y="3510"/>
                      <a:pt x="7115" y="3510"/>
                      <a:pt x="7115" y="3510"/>
                    </a:cubicBezTo>
                    <a:cubicBezTo>
                      <a:pt x="7072" y="3664"/>
                      <a:pt x="7072" y="3664"/>
                      <a:pt x="7072" y="3664"/>
                    </a:cubicBezTo>
                    <a:cubicBezTo>
                      <a:pt x="7123" y="3678"/>
                      <a:pt x="7123" y="3678"/>
                      <a:pt x="7123" y="3678"/>
                    </a:cubicBezTo>
                    <a:cubicBezTo>
                      <a:pt x="7118" y="3692"/>
                      <a:pt x="7118" y="3692"/>
                      <a:pt x="7118" y="3692"/>
                    </a:cubicBezTo>
                    <a:cubicBezTo>
                      <a:pt x="7203" y="3717"/>
                      <a:pt x="7203" y="3717"/>
                      <a:pt x="7203" y="3717"/>
                    </a:cubicBezTo>
                    <a:cubicBezTo>
                      <a:pt x="7229" y="3624"/>
                      <a:pt x="7229" y="3624"/>
                      <a:pt x="7229" y="3624"/>
                    </a:cubicBezTo>
                    <a:lnTo>
                      <a:pt x="7173" y="3606"/>
                    </a:lnTo>
                    <a:close/>
                    <a:moveTo>
                      <a:pt x="7399" y="3632"/>
                    </a:moveTo>
                    <a:cubicBezTo>
                      <a:pt x="7404" y="3618"/>
                      <a:pt x="7404" y="3618"/>
                      <a:pt x="7404" y="3618"/>
                    </a:cubicBezTo>
                    <a:cubicBezTo>
                      <a:pt x="7354" y="3604"/>
                      <a:pt x="7354" y="3604"/>
                      <a:pt x="7354" y="3604"/>
                    </a:cubicBezTo>
                    <a:cubicBezTo>
                      <a:pt x="7403" y="3425"/>
                      <a:pt x="7403" y="3425"/>
                      <a:pt x="7403" y="3425"/>
                    </a:cubicBezTo>
                    <a:cubicBezTo>
                      <a:pt x="7509" y="3454"/>
                      <a:pt x="7509" y="3454"/>
                      <a:pt x="7509" y="3454"/>
                    </a:cubicBezTo>
                    <a:cubicBezTo>
                      <a:pt x="7487" y="3529"/>
                      <a:pt x="7487" y="3529"/>
                      <a:pt x="7487" y="3529"/>
                    </a:cubicBezTo>
                    <a:cubicBezTo>
                      <a:pt x="7542" y="3546"/>
                      <a:pt x="7542" y="3546"/>
                      <a:pt x="7542" y="3546"/>
                    </a:cubicBezTo>
                    <a:cubicBezTo>
                      <a:pt x="7540" y="3552"/>
                      <a:pt x="7540" y="3552"/>
                      <a:pt x="7540" y="3552"/>
                    </a:cubicBezTo>
                    <a:cubicBezTo>
                      <a:pt x="7510" y="3664"/>
                      <a:pt x="7510" y="3664"/>
                      <a:pt x="7510" y="3664"/>
                    </a:cubicBezTo>
                    <a:lnTo>
                      <a:pt x="7399" y="3632"/>
                    </a:lnTo>
                    <a:close/>
                    <a:moveTo>
                      <a:pt x="7420" y="3609"/>
                    </a:moveTo>
                    <a:cubicBezTo>
                      <a:pt x="7416" y="3623"/>
                      <a:pt x="7416" y="3623"/>
                      <a:pt x="7416" y="3623"/>
                    </a:cubicBezTo>
                    <a:cubicBezTo>
                      <a:pt x="7501" y="3648"/>
                      <a:pt x="7501" y="3648"/>
                      <a:pt x="7501" y="3648"/>
                    </a:cubicBezTo>
                    <a:cubicBezTo>
                      <a:pt x="7526" y="3555"/>
                      <a:pt x="7526" y="3555"/>
                      <a:pt x="7526" y="3555"/>
                    </a:cubicBezTo>
                    <a:cubicBezTo>
                      <a:pt x="7471" y="3537"/>
                      <a:pt x="7471" y="3537"/>
                      <a:pt x="7471" y="3537"/>
                    </a:cubicBezTo>
                    <a:cubicBezTo>
                      <a:pt x="7493" y="3463"/>
                      <a:pt x="7493" y="3463"/>
                      <a:pt x="7493" y="3463"/>
                    </a:cubicBezTo>
                    <a:cubicBezTo>
                      <a:pt x="7412" y="3441"/>
                      <a:pt x="7412" y="3441"/>
                      <a:pt x="7412" y="3441"/>
                    </a:cubicBezTo>
                    <a:cubicBezTo>
                      <a:pt x="7370" y="3595"/>
                      <a:pt x="7370" y="3595"/>
                      <a:pt x="7370" y="3595"/>
                    </a:cubicBezTo>
                    <a:lnTo>
                      <a:pt x="7420" y="3609"/>
                    </a:lnTo>
                    <a:close/>
                    <a:moveTo>
                      <a:pt x="6897" y="3323"/>
                    </a:moveTo>
                    <a:cubicBezTo>
                      <a:pt x="6840" y="3313"/>
                      <a:pt x="6840" y="3313"/>
                      <a:pt x="6840" y="3313"/>
                    </a:cubicBezTo>
                    <a:cubicBezTo>
                      <a:pt x="6841" y="3307"/>
                      <a:pt x="6841" y="3307"/>
                      <a:pt x="6841" y="3307"/>
                    </a:cubicBezTo>
                    <a:cubicBezTo>
                      <a:pt x="6856" y="3191"/>
                      <a:pt x="6856" y="3191"/>
                      <a:pt x="6856" y="3191"/>
                    </a:cubicBezTo>
                    <a:cubicBezTo>
                      <a:pt x="6970" y="3209"/>
                      <a:pt x="6970" y="3209"/>
                      <a:pt x="6970" y="3209"/>
                    </a:cubicBezTo>
                    <a:cubicBezTo>
                      <a:pt x="6968" y="3223"/>
                      <a:pt x="6968" y="3223"/>
                      <a:pt x="6968" y="3223"/>
                    </a:cubicBezTo>
                    <a:cubicBezTo>
                      <a:pt x="7019" y="3230"/>
                      <a:pt x="7019" y="3230"/>
                      <a:pt x="7019" y="3230"/>
                    </a:cubicBezTo>
                    <a:cubicBezTo>
                      <a:pt x="6994" y="3414"/>
                      <a:pt x="6994" y="3414"/>
                      <a:pt x="6994" y="3414"/>
                    </a:cubicBezTo>
                    <a:cubicBezTo>
                      <a:pt x="6885" y="3399"/>
                      <a:pt x="6885" y="3399"/>
                      <a:pt x="6885" y="3399"/>
                    </a:cubicBezTo>
                    <a:lnTo>
                      <a:pt x="6897" y="3323"/>
                    </a:lnTo>
                    <a:close/>
                    <a:moveTo>
                      <a:pt x="6912" y="3312"/>
                    </a:moveTo>
                    <a:cubicBezTo>
                      <a:pt x="6900" y="3388"/>
                      <a:pt x="6900" y="3388"/>
                      <a:pt x="6900" y="3388"/>
                    </a:cubicBezTo>
                    <a:cubicBezTo>
                      <a:pt x="6983" y="3399"/>
                      <a:pt x="6983" y="3399"/>
                      <a:pt x="6983" y="3399"/>
                    </a:cubicBezTo>
                    <a:cubicBezTo>
                      <a:pt x="7004" y="3242"/>
                      <a:pt x="7004" y="3242"/>
                      <a:pt x="7004" y="3242"/>
                    </a:cubicBezTo>
                    <a:cubicBezTo>
                      <a:pt x="6952" y="3235"/>
                      <a:pt x="6952" y="3235"/>
                      <a:pt x="6952" y="3235"/>
                    </a:cubicBezTo>
                    <a:cubicBezTo>
                      <a:pt x="6955" y="3220"/>
                      <a:pt x="6955" y="3220"/>
                      <a:pt x="6955" y="3220"/>
                    </a:cubicBezTo>
                    <a:cubicBezTo>
                      <a:pt x="6867" y="3206"/>
                      <a:pt x="6867" y="3206"/>
                      <a:pt x="6867" y="3206"/>
                    </a:cubicBezTo>
                    <a:cubicBezTo>
                      <a:pt x="6855" y="3302"/>
                      <a:pt x="6855" y="3302"/>
                      <a:pt x="6855" y="3302"/>
                    </a:cubicBezTo>
                    <a:lnTo>
                      <a:pt x="6912" y="3312"/>
                    </a:lnTo>
                    <a:close/>
                    <a:moveTo>
                      <a:pt x="7453" y="2555"/>
                    </a:moveTo>
                    <a:cubicBezTo>
                      <a:pt x="7506" y="2609"/>
                      <a:pt x="7506" y="2609"/>
                      <a:pt x="7506" y="2609"/>
                    </a:cubicBezTo>
                    <a:cubicBezTo>
                      <a:pt x="7452" y="2662"/>
                      <a:pt x="7452" y="2662"/>
                      <a:pt x="7452" y="2662"/>
                    </a:cubicBezTo>
                    <a:cubicBezTo>
                      <a:pt x="7447" y="2657"/>
                      <a:pt x="7447" y="2657"/>
                      <a:pt x="7447" y="2657"/>
                    </a:cubicBezTo>
                    <a:cubicBezTo>
                      <a:pt x="7315" y="2518"/>
                      <a:pt x="7315" y="2518"/>
                      <a:pt x="7315" y="2518"/>
                    </a:cubicBezTo>
                    <a:cubicBezTo>
                      <a:pt x="7351" y="2483"/>
                      <a:pt x="7351" y="2483"/>
                      <a:pt x="7351" y="2483"/>
                    </a:cubicBezTo>
                    <a:cubicBezTo>
                      <a:pt x="7343" y="2475"/>
                      <a:pt x="7343" y="2475"/>
                      <a:pt x="7343" y="2475"/>
                    </a:cubicBezTo>
                    <a:cubicBezTo>
                      <a:pt x="7338" y="2470"/>
                      <a:pt x="7338" y="2470"/>
                      <a:pt x="7338" y="2470"/>
                    </a:cubicBezTo>
                    <a:cubicBezTo>
                      <a:pt x="7407" y="2402"/>
                      <a:pt x="7407" y="2402"/>
                      <a:pt x="7407" y="2402"/>
                    </a:cubicBezTo>
                    <a:cubicBezTo>
                      <a:pt x="7506" y="2504"/>
                      <a:pt x="7506" y="2504"/>
                      <a:pt x="7506" y="2504"/>
                    </a:cubicBezTo>
                    <a:lnTo>
                      <a:pt x="7453" y="2555"/>
                    </a:lnTo>
                    <a:close/>
                    <a:moveTo>
                      <a:pt x="7435" y="2554"/>
                    </a:moveTo>
                    <a:cubicBezTo>
                      <a:pt x="7487" y="2503"/>
                      <a:pt x="7487" y="2503"/>
                      <a:pt x="7487" y="2503"/>
                    </a:cubicBezTo>
                    <a:cubicBezTo>
                      <a:pt x="7407" y="2421"/>
                      <a:pt x="7407" y="2421"/>
                      <a:pt x="7407" y="2421"/>
                    </a:cubicBezTo>
                    <a:cubicBezTo>
                      <a:pt x="7357" y="2470"/>
                      <a:pt x="7357" y="2470"/>
                      <a:pt x="7357" y="2470"/>
                    </a:cubicBezTo>
                    <a:cubicBezTo>
                      <a:pt x="7365" y="2479"/>
                      <a:pt x="7365" y="2479"/>
                      <a:pt x="7365" y="2479"/>
                    </a:cubicBezTo>
                    <a:cubicBezTo>
                      <a:pt x="7369" y="2483"/>
                      <a:pt x="7369" y="2483"/>
                      <a:pt x="7369" y="2483"/>
                    </a:cubicBezTo>
                    <a:cubicBezTo>
                      <a:pt x="7334" y="2518"/>
                      <a:pt x="7334" y="2518"/>
                      <a:pt x="7334" y="2518"/>
                    </a:cubicBezTo>
                    <a:cubicBezTo>
                      <a:pt x="7452" y="2643"/>
                      <a:pt x="7452" y="2643"/>
                      <a:pt x="7452" y="2643"/>
                    </a:cubicBezTo>
                    <a:cubicBezTo>
                      <a:pt x="7488" y="2609"/>
                      <a:pt x="7488" y="2609"/>
                      <a:pt x="7488" y="2609"/>
                    </a:cubicBezTo>
                    <a:lnTo>
                      <a:pt x="7435" y="2554"/>
                    </a:lnTo>
                    <a:close/>
                    <a:moveTo>
                      <a:pt x="7276" y="2776"/>
                    </a:moveTo>
                    <a:cubicBezTo>
                      <a:pt x="7329" y="2830"/>
                      <a:pt x="7329" y="2830"/>
                      <a:pt x="7329" y="2830"/>
                    </a:cubicBezTo>
                    <a:cubicBezTo>
                      <a:pt x="7274" y="2883"/>
                      <a:pt x="7274" y="2883"/>
                      <a:pt x="7274" y="2883"/>
                    </a:cubicBezTo>
                    <a:cubicBezTo>
                      <a:pt x="7270" y="2878"/>
                      <a:pt x="7270" y="2878"/>
                      <a:pt x="7270" y="2878"/>
                    </a:cubicBezTo>
                    <a:cubicBezTo>
                      <a:pt x="7138" y="2739"/>
                      <a:pt x="7138" y="2739"/>
                      <a:pt x="7138" y="2739"/>
                    </a:cubicBezTo>
                    <a:cubicBezTo>
                      <a:pt x="7173" y="2704"/>
                      <a:pt x="7173" y="2704"/>
                      <a:pt x="7173" y="2704"/>
                    </a:cubicBezTo>
                    <a:cubicBezTo>
                      <a:pt x="7165" y="2696"/>
                      <a:pt x="7165" y="2696"/>
                      <a:pt x="7165" y="2696"/>
                    </a:cubicBezTo>
                    <a:cubicBezTo>
                      <a:pt x="7161" y="2691"/>
                      <a:pt x="7161" y="2691"/>
                      <a:pt x="7161" y="2691"/>
                    </a:cubicBezTo>
                    <a:cubicBezTo>
                      <a:pt x="7230" y="2624"/>
                      <a:pt x="7230" y="2624"/>
                      <a:pt x="7230" y="2624"/>
                    </a:cubicBezTo>
                    <a:cubicBezTo>
                      <a:pt x="7328" y="2725"/>
                      <a:pt x="7328" y="2725"/>
                      <a:pt x="7328" y="2725"/>
                    </a:cubicBezTo>
                    <a:lnTo>
                      <a:pt x="7276" y="2776"/>
                    </a:lnTo>
                    <a:close/>
                    <a:moveTo>
                      <a:pt x="7257" y="2776"/>
                    </a:moveTo>
                    <a:cubicBezTo>
                      <a:pt x="7310" y="2725"/>
                      <a:pt x="7310" y="2725"/>
                      <a:pt x="7310" y="2725"/>
                    </a:cubicBezTo>
                    <a:cubicBezTo>
                      <a:pt x="7230" y="2642"/>
                      <a:pt x="7230" y="2642"/>
                      <a:pt x="7230" y="2642"/>
                    </a:cubicBezTo>
                    <a:cubicBezTo>
                      <a:pt x="7179" y="2692"/>
                      <a:pt x="7179" y="2692"/>
                      <a:pt x="7179" y="2692"/>
                    </a:cubicBezTo>
                    <a:cubicBezTo>
                      <a:pt x="7187" y="2700"/>
                      <a:pt x="7187" y="2700"/>
                      <a:pt x="7187" y="2700"/>
                    </a:cubicBezTo>
                    <a:cubicBezTo>
                      <a:pt x="7192" y="2705"/>
                      <a:pt x="7192" y="2705"/>
                      <a:pt x="7192" y="2705"/>
                    </a:cubicBezTo>
                    <a:cubicBezTo>
                      <a:pt x="7156" y="2739"/>
                      <a:pt x="7156" y="2739"/>
                      <a:pt x="7156" y="2739"/>
                    </a:cubicBezTo>
                    <a:cubicBezTo>
                      <a:pt x="7275" y="2864"/>
                      <a:pt x="7275" y="2864"/>
                      <a:pt x="7275" y="2864"/>
                    </a:cubicBezTo>
                    <a:cubicBezTo>
                      <a:pt x="7310" y="2830"/>
                      <a:pt x="7310" y="2830"/>
                      <a:pt x="7310" y="2830"/>
                    </a:cubicBezTo>
                    <a:lnTo>
                      <a:pt x="7257" y="2776"/>
                    </a:lnTo>
                    <a:close/>
                    <a:moveTo>
                      <a:pt x="6238" y="7589"/>
                    </a:moveTo>
                    <a:cubicBezTo>
                      <a:pt x="6162" y="7589"/>
                      <a:pt x="6162" y="7589"/>
                      <a:pt x="6162" y="7589"/>
                    </a:cubicBezTo>
                    <a:cubicBezTo>
                      <a:pt x="6162" y="7582"/>
                      <a:pt x="6162" y="7582"/>
                      <a:pt x="6162" y="7582"/>
                    </a:cubicBezTo>
                    <a:cubicBezTo>
                      <a:pt x="6162" y="7497"/>
                      <a:pt x="6162" y="7497"/>
                      <a:pt x="6162" y="7497"/>
                    </a:cubicBezTo>
                    <a:cubicBezTo>
                      <a:pt x="6238" y="7497"/>
                      <a:pt x="6238" y="7497"/>
                      <a:pt x="6238" y="7497"/>
                    </a:cubicBezTo>
                    <a:lnTo>
                      <a:pt x="6238" y="7589"/>
                    </a:lnTo>
                    <a:close/>
                    <a:moveTo>
                      <a:pt x="6225" y="7510"/>
                    </a:moveTo>
                    <a:cubicBezTo>
                      <a:pt x="6175" y="7510"/>
                      <a:pt x="6175" y="7510"/>
                      <a:pt x="6175" y="7510"/>
                    </a:cubicBezTo>
                    <a:cubicBezTo>
                      <a:pt x="6175" y="7576"/>
                      <a:pt x="6175" y="7576"/>
                      <a:pt x="6175" y="7576"/>
                    </a:cubicBezTo>
                    <a:cubicBezTo>
                      <a:pt x="6225" y="7576"/>
                      <a:pt x="6225" y="7576"/>
                      <a:pt x="6225" y="7576"/>
                    </a:cubicBezTo>
                    <a:lnTo>
                      <a:pt x="6225" y="7510"/>
                    </a:lnTo>
                    <a:close/>
                    <a:moveTo>
                      <a:pt x="7242" y="5987"/>
                    </a:moveTo>
                    <a:cubicBezTo>
                      <a:pt x="7044" y="5973"/>
                      <a:pt x="7044" y="5973"/>
                      <a:pt x="7044" y="5973"/>
                    </a:cubicBezTo>
                    <a:cubicBezTo>
                      <a:pt x="7045" y="5967"/>
                      <a:pt x="7045" y="5967"/>
                      <a:pt x="7045" y="5967"/>
                    </a:cubicBezTo>
                    <a:cubicBezTo>
                      <a:pt x="7051" y="5898"/>
                      <a:pt x="7051" y="5898"/>
                      <a:pt x="7051" y="5898"/>
                    </a:cubicBezTo>
                    <a:cubicBezTo>
                      <a:pt x="7126" y="5904"/>
                      <a:pt x="7126" y="5904"/>
                      <a:pt x="7126" y="5904"/>
                    </a:cubicBezTo>
                    <a:cubicBezTo>
                      <a:pt x="7132" y="5831"/>
                      <a:pt x="7132" y="5831"/>
                      <a:pt x="7132" y="5831"/>
                    </a:cubicBezTo>
                    <a:cubicBezTo>
                      <a:pt x="7273" y="5843"/>
                      <a:pt x="7273" y="5843"/>
                      <a:pt x="7273" y="5843"/>
                    </a:cubicBezTo>
                    <a:cubicBezTo>
                      <a:pt x="7265" y="5940"/>
                      <a:pt x="7265" y="5940"/>
                      <a:pt x="7265" y="5940"/>
                    </a:cubicBezTo>
                    <a:cubicBezTo>
                      <a:pt x="7246" y="5938"/>
                      <a:pt x="7246" y="5938"/>
                      <a:pt x="7246" y="5938"/>
                    </a:cubicBezTo>
                    <a:lnTo>
                      <a:pt x="7242" y="5987"/>
                    </a:lnTo>
                    <a:close/>
                    <a:moveTo>
                      <a:pt x="7234" y="5924"/>
                    </a:moveTo>
                    <a:cubicBezTo>
                      <a:pt x="7253" y="5926"/>
                      <a:pt x="7253" y="5926"/>
                      <a:pt x="7253" y="5926"/>
                    </a:cubicBezTo>
                    <a:cubicBezTo>
                      <a:pt x="7259" y="5855"/>
                      <a:pt x="7259" y="5855"/>
                      <a:pt x="7259" y="5855"/>
                    </a:cubicBezTo>
                    <a:cubicBezTo>
                      <a:pt x="7144" y="5845"/>
                      <a:pt x="7144" y="5845"/>
                      <a:pt x="7144" y="5845"/>
                    </a:cubicBezTo>
                    <a:cubicBezTo>
                      <a:pt x="7138" y="5918"/>
                      <a:pt x="7138" y="5918"/>
                      <a:pt x="7138" y="5918"/>
                    </a:cubicBezTo>
                    <a:cubicBezTo>
                      <a:pt x="7063" y="5912"/>
                      <a:pt x="7063" y="5912"/>
                      <a:pt x="7063" y="5912"/>
                    </a:cubicBezTo>
                    <a:cubicBezTo>
                      <a:pt x="7058" y="5961"/>
                      <a:pt x="7058" y="5961"/>
                      <a:pt x="7058" y="5961"/>
                    </a:cubicBezTo>
                    <a:cubicBezTo>
                      <a:pt x="7230" y="5973"/>
                      <a:pt x="7230" y="5973"/>
                      <a:pt x="7230" y="5973"/>
                    </a:cubicBezTo>
                    <a:lnTo>
                      <a:pt x="7234" y="5924"/>
                    </a:lnTo>
                    <a:close/>
                    <a:moveTo>
                      <a:pt x="7069" y="2995"/>
                    </a:moveTo>
                    <a:cubicBezTo>
                      <a:pt x="7121" y="3049"/>
                      <a:pt x="7121" y="3049"/>
                      <a:pt x="7121" y="3049"/>
                    </a:cubicBezTo>
                    <a:cubicBezTo>
                      <a:pt x="7067" y="3102"/>
                      <a:pt x="7067" y="3102"/>
                      <a:pt x="7067" y="3102"/>
                    </a:cubicBezTo>
                    <a:cubicBezTo>
                      <a:pt x="7062" y="3097"/>
                      <a:pt x="7062" y="3097"/>
                      <a:pt x="7062" y="3097"/>
                    </a:cubicBezTo>
                    <a:cubicBezTo>
                      <a:pt x="6931" y="2958"/>
                      <a:pt x="6931" y="2958"/>
                      <a:pt x="6931" y="2958"/>
                    </a:cubicBezTo>
                    <a:cubicBezTo>
                      <a:pt x="6966" y="2923"/>
                      <a:pt x="6966" y="2923"/>
                      <a:pt x="6966" y="2923"/>
                    </a:cubicBezTo>
                    <a:cubicBezTo>
                      <a:pt x="6958" y="2915"/>
                      <a:pt x="6958" y="2915"/>
                      <a:pt x="6958" y="2915"/>
                    </a:cubicBezTo>
                    <a:cubicBezTo>
                      <a:pt x="6953" y="2910"/>
                      <a:pt x="6953" y="2910"/>
                      <a:pt x="6953" y="2910"/>
                    </a:cubicBezTo>
                    <a:cubicBezTo>
                      <a:pt x="7023" y="2843"/>
                      <a:pt x="7023" y="2843"/>
                      <a:pt x="7023" y="2843"/>
                    </a:cubicBezTo>
                    <a:cubicBezTo>
                      <a:pt x="7121" y="2944"/>
                      <a:pt x="7121" y="2944"/>
                      <a:pt x="7121" y="2944"/>
                    </a:cubicBezTo>
                    <a:lnTo>
                      <a:pt x="7069" y="2995"/>
                    </a:lnTo>
                    <a:close/>
                    <a:moveTo>
                      <a:pt x="7050" y="2995"/>
                    </a:moveTo>
                    <a:cubicBezTo>
                      <a:pt x="7102" y="2944"/>
                      <a:pt x="7102" y="2944"/>
                      <a:pt x="7102" y="2944"/>
                    </a:cubicBezTo>
                    <a:cubicBezTo>
                      <a:pt x="7022" y="2861"/>
                      <a:pt x="7022" y="2861"/>
                      <a:pt x="7022" y="2861"/>
                    </a:cubicBezTo>
                    <a:cubicBezTo>
                      <a:pt x="6972" y="2910"/>
                      <a:pt x="6972" y="2910"/>
                      <a:pt x="6972" y="2910"/>
                    </a:cubicBezTo>
                    <a:cubicBezTo>
                      <a:pt x="6980" y="2919"/>
                      <a:pt x="6980" y="2919"/>
                      <a:pt x="6980" y="2919"/>
                    </a:cubicBezTo>
                    <a:cubicBezTo>
                      <a:pt x="6985" y="2924"/>
                      <a:pt x="6985" y="2924"/>
                      <a:pt x="6985" y="2924"/>
                    </a:cubicBezTo>
                    <a:cubicBezTo>
                      <a:pt x="6949" y="2958"/>
                      <a:pt x="6949" y="2958"/>
                      <a:pt x="6949" y="2958"/>
                    </a:cubicBezTo>
                    <a:cubicBezTo>
                      <a:pt x="7067" y="3083"/>
                      <a:pt x="7067" y="3083"/>
                      <a:pt x="7067" y="3083"/>
                    </a:cubicBezTo>
                    <a:cubicBezTo>
                      <a:pt x="7103" y="3049"/>
                      <a:pt x="7103" y="3049"/>
                      <a:pt x="7103" y="3049"/>
                    </a:cubicBezTo>
                    <a:lnTo>
                      <a:pt x="7050" y="2995"/>
                    </a:lnTo>
                    <a:close/>
                    <a:moveTo>
                      <a:pt x="3092" y="5124"/>
                    </a:moveTo>
                    <a:cubicBezTo>
                      <a:pt x="3297" y="5128"/>
                      <a:pt x="3297" y="5128"/>
                      <a:pt x="3297" y="5128"/>
                    </a:cubicBezTo>
                    <a:cubicBezTo>
                      <a:pt x="3293" y="5138"/>
                      <a:pt x="3293" y="5138"/>
                      <a:pt x="3293" y="5138"/>
                    </a:cubicBezTo>
                    <a:cubicBezTo>
                      <a:pt x="3226" y="5282"/>
                      <a:pt x="3226" y="5282"/>
                      <a:pt x="3226" y="5282"/>
                    </a:cubicBezTo>
                    <a:cubicBezTo>
                      <a:pt x="3045" y="5214"/>
                      <a:pt x="3045" y="5214"/>
                      <a:pt x="3045" y="5214"/>
                    </a:cubicBezTo>
                    <a:lnTo>
                      <a:pt x="3092" y="5124"/>
                    </a:lnTo>
                    <a:close/>
                    <a:moveTo>
                      <a:pt x="3101" y="5139"/>
                    </a:moveTo>
                    <a:cubicBezTo>
                      <a:pt x="3066" y="5206"/>
                      <a:pt x="3066" y="5206"/>
                      <a:pt x="3066" y="5206"/>
                    </a:cubicBezTo>
                    <a:cubicBezTo>
                      <a:pt x="3219" y="5263"/>
                      <a:pt x="3219" y="5263"/>
                      <a:pt x="3219" y="5263"/>
                    </a:cubicBezTo>
                    <a:cubicBezTo>
                      <a:pt x="3274" y="5142"/>
                      <a:pt x="3274" y="5142"/>
                      <a:pt x="3274" y="5142"/>
                    </a:cubicBezTo>
                    <a:lnTo>
                      <a:pt x="3101" y="5139"/>
                    </a:lnTo>
                    <a:close/>
                    <a:moveTo>
                      <a:pt x="4875" y="5447"/>
                    </a:moveTo>
                    <a:cubicBezTo>
                      <a:pt x="4821" y="5513"/>
                      <a:pt x="4821" y="5513"/>
                      <a:pt x="4821" y="5513"/>
                    </a:cubicBezTo>
                    <a:cubicBezTo>
                      <a:pt x="4583" y="5219"/>
                      <a:pt x="4583" y="5219"/>
                      <a:pt x="4583" y="5219"/>
                    </a:cubicBezTo>
                    <a:cubicBezTo>
                      <a:pt x="4650" y="5162"/>
                      <a:pt x="4650" y="5162"/>
                      <a:pt x="4650" y="5162"/>
                    </a:cubicBezTo>
                    <a:cubicBezTo>
                      <a:pt x="4878" y="5443"/>
                      <a:pt x="4878" y="5443"/>
                      <a:pt x="4878" y="5443"/>
                    </a:cubicBezTo>
                    <a:lnTo>
                      <a:pt x="4875" y="5447"/>
                    </a:lnTo>
                    <a:close/>
                    <a:moveTo>
                      <a:pt x="4859" y="5443"/>
                    </a:moveTo>
                    <a:cubicBezTo>
                      <a:pt x="4648" y="5183"/>
                      <a:pt x="4648" y="5183"/>
                      <a:pt x="4648" y="5183"/>
                    </a:cubicBezTo>
                    <a:cubicBezTo>
                      <a:pt x="4603" y="5221"/>
                      <a:pt x="4603" y="5221"/>
                      <a:pt x="4603" y="5221"/>
                    </a:cubicBezTo>
                    <a:cubicBezTo>
                      <a:pt x="4821" y="5489"/>
                      <a:pt x="4821" y="5489"/>
                      <a:pt x="4821" y="5489"/>
                    </a:cubicBezTo>
                    <a:lnTo>
                      <a:pt x="4859" y="5443"/>
                    </a:lnTo>
                    <a:close/>
                    <a:moveTo>
                      <a:pt x="3785" y="6618"/>
                    </a:moveTo>
                    <a:cubicBezTo>
                      <a:pt x="3929" y="6771"/>
                      <a:pt x="3929" y="6771"/>
                      <a:pt x="3929" y="6771"/>
                    </a:cubicBezTo>
                    <a:cubicBezTo>
                      <a:pt x="3928" y="6775"/>
                      <a:pt x="3928" y="6775"/>
                      <a:pt x="3928" y="6775"/>
                    </a:cubicBezTo>
                    <a:cubicBezTo>
                      <a:pt x="3904" y="6838"/>
                      <a:pt x="3904" y="6838"/>
                      <a:pt x="3904" y="6838"/>
                    </a:cubicBezTo>
                    <a:cubicBezTo>
                      <a:pt x="3706" y="6761"/>
                      <a:pt x="3706" y="6761"/>
                      <a:pt x="3706" y="6761"/>
                    </a:cubicBezTo>
                    <a:cubicBezTo>
                      <a:pt x="3722" y="6386"/>
                      <a:pt x="3722" y="6386"/>
                      <a:pt x="3722" y="6386"/>
                    </a:cubicBezTo>
                    <a:cubicBezTo>
                      <a:pt x="3796" y="6378"/>
                      <a:pt x="3796" y="6378"/>
                      <a:pt x="3796" y="6378"/>
                    </a:cubicBezTo>
                    <a:lnTo>
                      <a:pt x="3785" y="6618"/>
                    </a:lnTo>
                    <a:close/>
                    <a:moveTo>
                      <a:pt x="3770" y="6623"/>
                    </a:moveTo>
                    <a:cubicBezTo>
                      <a:pt x="3781" y="6394"/>
                      <a:pt x="3781" y="6394"/>
                      <a:pt x="3781" y="6394"/>
                    </a:cubicBezTo>
                    <a:cubicBezTo>
                      <a:pt x="3737" y="6399"/>
                      <a:pt x="3737" y="6399"/>
                      <a:pt x="3737" y="6399"/>
                    </a:cubicBezTo>
                    <a:cubicBezTo>
                      <a:pt x="3722" y="6752"/>
                      <a:pt x="3722" y="6752"/>
                      <a:pt x="3722" y="6752"/>
                    </a:cubicBezTo>
                    <a:cubicBezTo>
                      <a:pt x="3895" y="6819"/>
                      <a:pt x="3895" y="6819"/>
                      <a:pt x="3895" y="6819"/>
                    </a:cubicBezTo>
                    <a:cubicBezTo>
                      <a:pt x="3912" y="6774"/>
                      <a:pt x="3912" y="6774"/>
                      <a:pt x="3912" y="6774"/>
                    </a:cubicBezTo>
                    <a:lnTo>
                      <a:pt x="3770" y="6623"/>
                    </a:lnTo>
                    <a:close/>
                    <a:moveTo>
                      <a:pt x="4636" y="5686"/>
                    </a:moveTo>
                    <a:cubicBezTo>
                      <a:pt x="4487" y="5708"/>
                      <a:pt x="4487" y="5708"/>
                      <a:pt x="4487" y="5708"/>
                    </a:cubicBezTo>
                    <a:cubicBezTo>
                      <a:pt x="4537" y="5543"/>
                      <a:pt x="4537" y="5543"/>
                      <a:pt x="4537" y="5543"/>
                    </a:cubicBezTo>
                    <a:cubicBezTo>
                      <a:pt x="4615" y="5553"/>
                      <a:pt x="4615" y="5553"/>
                      <a:pt x="4615" y="5553"/>
                    </a:cubicBezTo>
                    <a:cubicBezTo>
                      <a:pt x="4616" y="5559"/>
                      <a:pt x="4616" y="5559"/>
                      <a:pt x="4616" y="5559"/>
                    </a:cubicBezTo>
                    <a:lnTo>
                      <a:pt x="4636" y="5686"/>
                    </a:lnTo>
                    <a:close/>
                    <a:moveTo>
                      <a:pt x="4508" y="5690"/>
                    </a:moveTo>
                    <a:cubicBezTo>
                      <a:pt x="4619" y="5673"/>
                      <a:pt x="4619" y="5673"/>
                      <a:pt x="4619" y="5673"/>
                    </a:cubicBezTo>
                    <a:cubicBezTo>
                      <a:pt x="4602" y="5567"/>
                      <a:pt x="4602" y="5567"/>
                      <a:pt x="4602" y="5567"/>
                    </a:cubicBezTo>
                    <a:cubicBezTo>
                      <a:pt x="4548" y="5560"/>
                      <a:pt x="4548" y="5560"/>
                      <a:pt x="4548" y="5560"/>
                    </a:cubicBezTo>
                    <a:lnTo>
                      <a:pt x="4508" y="5690"/>
                    </a:lnTo>
                    <a:close/>
                    <a:moveTo>
                      <a:pt x="4721" y="5630"/>
                    </a:moveTo>
                    <a:cubicBezTo>
                      <a:pt x="4635" y="5774"/>
                      <a:pt x="4635" y="5774"/>
                      <a:pt x="4635" y="5774"/>
                    </a:cubicBezTo>
                    <a:cubicBezTo>
                      <a:pt x="4442" y="5722"/>
                      <a:pt x="4442" y="5722"/>
                      <a:pt x="4442" y="5722"/>
                    </a:cubicBezTo>
                    <a:cubicBezTo>
                      <a:pt x="4452" y="5539"/>
                      <a:pt x="4452" y="5539"/>
                      <a:pt x="4452" y="5539"/>
                    </a:cubicBezTo>
                    <a:cubicBezTo>
                      <a:pt x="4273" y="5249"/>
                      <a:pt x="4273" y="5249"/>
                      <a:pt x="4273" y="5249"/>
                    </a:cubicBezTo>
                    <a:cubicBezTo>
                      <a:pt x="4311" y="5213"/>
                      <a:pt x="4311" y="5213"/>
                      <a:pt x="4311" y="5213"/>
                    </a:cubicBezTo>
                    <a:cubicBezTo>
                      <a:pt x="4304" y="5120"/>
                      <a:pt x="4304" y="5120"/>
                      <a:pt x="4304" y="5120"/>
                    </a:cubicBezTo>
                    <a:cubicBezTo>
                      <a:pt x="4357" y="5110"/>
                      <a:pt x="4357" y="5110"/>
                      <a:pt x="4357" y="5110"/>
                    </a:cubicBezTo>
                    <a:cubicBezTo>
                      <a:pt x="4723" y="5626"/>
                      <a:pt x="4723" y="5626"/>
                      <a:pt x="4723" y="5626"/>
                    </a:cubicBezTo>
                    <a:lnTo>
                      <a:pt x="4721" y="5630"/>
                    </a:lnTo>
                    <a:close/>
                    <a:moveTo>
                      <a:pt x="4706" y="5626"/>
                    </a:moveTo>
                    <a:cubicBezTo>
                      <a:pt x="4351" y="5126"/>
                      <a:pt x="4351" y="5126"/>
                      <a:pt x="4351" y="5126"/>
                    </a:cubicBezTo>
                    <a:cubicBezTo>
                      <a:pt x="4319" y="5132"/>
                      <a:pt x="4319" y="5132"/>
                      <a:pt x="4319" y="5132"/>
                    </a:cubicBezTo>
                    <a:cubicBezTo>
                      <a:pt x="4327" y="5219"/>
                      <a:pt x="4327" y="5219"/>
                      <a:pt x="4327" y="5219"/>
                    </a:cubicBezTo>
                    <a:cubicBezTo>
                      <a:pt x="4292" y="5252"/>
                      <a:pt x="4292" y="5252"/>
                      <a:pt x="4292" y="5252"/>
                    </a:cubicBezTo>
                    <a:cubicBezTo>
                      <a:pt x="4467" y="5535"/>
                      <a:pt x="4467" y="5535"/>
                      <a:pt x="4467" y="5535"/>
                    </a:cubicBezTo>
                    <a:cubicBezTo>
                      <a:pt x="4457" y="5711"/>
                      <a:pt x="4457" y="5711"/>
                      <a:pt x="4457" y="5711"/>
                    </a:cubicBezTo>
                    <a:cubicBezTo>
                      <a:pt x="4628" y="5757"/>
                      <a:pt x="4628" y="5757"/>
                      <a:pt x="4628" y="5757"/>
                    </a:cubicBezTo>
                    <a:lnTo>
                      <a:pt x="4706" y="5626"/>
                    </a:lnTo>
                    <a:close/>
                    <a:moveTo>
                      <a:pt x="4639" y="5016"/>
                    </a:moveTo>
                    <a:cubicBezTo>
                      <a:pt x="4522" y="5094"/>
                      <a:pt x="4522" y="5094"/>
                      <a:pt x="4522" y="5094"/>
                    </a:cubicBezTo>
                    <a:cubicBezTo>
                      <a:pt x="4319" y="4841"/>
                      <a:pt x="4319" y="4841"/>
                      <a:pt x="4319" y="4841"/>
                    </a:cubicBezTo>
                    <a:cubicBezTo>
                      <a:pt x="4409" y="4776"/>
                      <a:pt x="4409" y="4776"/>
                      <a:pt x="4409" y="4776"/>
                    </a:cubicBezTo>
                    <a:cubicBezTo>
                      <a:pt x="4442" y="4604"/>
                      <a:pt x="4442" y="4604"/>
                      <a:pt x="4442" y="4604"/>
                    </a:cubicBezTo>
                    <a:cubicBezTo>
                      <a:pt x="4861" y="4911"/>
                      <a:pt x="4861" y="4911"/>
                      <a:pt x="4861" y="4911"/>
                    </a:cubicBezTo>
                    <a:cubicBezTo>
                      <a:pt x="4858" y="4917"/>
                      <a:pt x="4858" y="4917"/>
                      <a:pt x="4858" y="4917"/>
                    </a:cubicBezTo>
                    <a:cubicBezTo>
                      <a:pt x="4858" y="4917"/>
                      <a:pt x="4818" y="4984"/>
                      <a:pt x="4795" y="5030"/>
                    </a:cubicBezTo>
                    <a:cubicBezTo>
                      <a:pt x="4782" y="5056"/>
                      <a:pt x="4779" y="5088"/>
                      <a:pt x="4779" y="5111"/>
                    </a:cubicBezTo>
                    <a:cubicBezTo>
                      <a:pt x="4779" y="5126"/>
                      <a:pt x="4781" y="5137"/>
                      <a:pt x="4781" y="5137"/>
                    </a:cubicBezTo>
                    <a:cubicBezTo>
                      <a:pt x="4767" y="5142"/>
                      <a:pt x="4767" y="5142"/>
                      <a:pt x="4767" y="5142"/>
                    </a:cubicBezTo>
                    <a:cubicBezTo>
                      <a:pt x="4580" y="4870"/>
                      <a:pt x="4580" y="4870"/>
                      <a:pt x="4580" y="4870"/>
                    </a:cubicBezTo>
                    <a:cubicBezTo>
                      <a:pt x="4546" y="4882"/>
                      <a:pt x="4546" y="4882"/>
                      <a:pt x="4546" y="4882"/>
                    </a:cubicBezTo>
                    <a:lnTo>
                      <a:pt x="4639" y="5016"/>
                    </a:lnTo>
                    <a:close/>
                    <a:moveTo>
                      <a:pt x="4525" y="5075"/>
                    </a:moveTo>
                    <a:cubicBezTo>
                      <a:pt x="4618" y="5013"/>
                      <a:pt x="4618" y="5013"/>
                      <a:pt x="4618" y="5013"/>
                    </a:cubicBezTo>
                    <a:cubicBezTo>
                      <a:pt x="4523" y="4874"/>
                      <a:pt x="4523" y="4874"/>
                      <a:pt x="4523" y="4874"/>
                    </a:cubicBezTo>
                    <a:cubicBezTo>
                      <a:pt x="4586" y="4853"/>
                      <a:pt x="4586" y="4853"/>
                      <a:pt x="4586" y="4853"/>
                    </a:cubicBezTo>
                    <a:cubicBezTo>
                      <a:pt x="4765" y="5112"/>
                      <a:pt x="4765" y="5112"/>
                      <a:pt x="4765" y="5112"/>
                    </a:cubicBezTo>
                    <a:cubicBezTo>
                      <a:pt x="4765" y="5111"/>
                      <a:pt x="4765" y="5111"/>
                      <a:pt x="4765" y="5111"/>
                    </a:cubicBezTo>
                    <a:cubicBezTo>
                      <a:pt x="4765" y="5087"/>
                      <a:pt x="4767" y="5053"/>
                      <a:pt x="4782" y="5024"/>
                    </a:cubicBezTo>
                    <a:cubicBezTo>
                      <a:pt x="4801" y="4985"/>
                      <a:pt x="4831" y="4932"/>
                      <a:pt x="4842" y="4915"/>
                    </a:cubicBezTo>
                    <a:cubicBezTo>
                      <a:pt x="4452" y="4629"/>
                      <a:pt x="4452" y="4629"/>
                      <a:pt x="4452" y="4629"/>
                    </a:cubicBezTo>
                    <a:cubicBezTo>
                      <a:pt x="4422" y="4784"/>
                      <a:pt x="4422" y="4784"/>
                      <a:pt x="4422" y="4784"/>
                    </a:cubicBezTo>
                    <a:cubicBezTo>
                      <a:pt x="4340" y="4844"/>
                      <a:pt x="4340" y="4844"/>
                      <a:pt x="4340" y="4844"/>
                    </a:cubicBezTo>
                    <a:lnTo>
                      <a:pt x="4525" y="5075"/>
                    </a:lnTo>
                    <a:close/>
                    <a:moveTo>
                      <a:pt x="4437" y="4076"/>
                    </a:moveTo>
                    <a:cubicBezTo>
                      <a:pt x="4554" y="4097"/>
                      <a:pt x="4554" y="4097"/>
                      <a:pt x="4554" y="4097"/>
                    </a:cubicBezTo>
                    <a:cubicBezTo>
                      <a:pt x="4556" y="4100"/>
                      <a:pt x="4556" y="4100"/>
                      <a:pt x="4556" y="4100"/>
                    </a:cubicBezTo>
                    <a:cubicBezTo>
                      <a:pt x="4890" y="4534"/>
                      <a:pt x="4890" y="4534"/>
                      <a:pt x="4890" y="4534"/>
                    </a:cubicBezTo>
                    <a:cubicBezTo>
                      <a:pt x="4861" y="4545"/>
                      <a:pt x="4861" y="4545"/>
                      <a:pt x="4861" y="4545"/>
                    </a:cubicBezTo>
                    <a:cubicBezTo>
                      <a:pt x="4526" y="4288"/>
                      <a:pt x="4526" y="4288"/>
                      <a:pt x="4526" y="4288"/>
                    </a:cubicBezTo>
                    <a:lnTo>
                      <a:pt x="4437" y="4076"/>
                    </a:lnTo>
                    <a:close/>
                    <a:moveTo>
                      <a:pt x="4546" y="4111"/>
                    </a:moveTo>
                    <a:cubicBezTo>
                      <a:pt x="4462" y="4095"/>
                      <a:pt x="4462" y="4095"/>
                      <a:pt x="4462" y="4095"/>
                    </a:cubicBezTo>
                    <a:cubicBezTo>
                      <a:pt x="4538" y="4278"/>
                      <a:pt x="4538" y="4278"/>
                      <a:pt x="4538" y="4278"/>
                    </a:cubicBezTo>
                    <a:cubicBezTo>
                      <a:pt x="4863" y="4529"/>
                      <a:pt x="4863" y="4529"/>
                      <a:pt x="4863" y="4529"/>
                    </a:cubicBezTo>
                    <a:cubicBezTo>
                      <a:pt x="4867" y="4527"/>
                      <a:pt x="4867" y="4527"/>
                      <a:pt x="4867" y="4527"/>
                    </a:cubicBezTo>
                    <a:lnTo>
                      <a:pt x="4546" y="4111"/>
                    </a:lnTo>
                    <a:close/>
                    <a:moveTo>
                      <a:pt x="3346" y="6326"/>
                    </a:moveTo>
                    <a:cubicBezTo>
                      <a:pt x="3574" y="6301"/>
                      <a:pt x="3574" y="6301"/>
                      <a:pt x="3574" y="6301"/>
                    </a:cubicBezTo>
                    <a:cubicBezTo>
                      <a:pt x="3574" y="6310"/>
                      <a:pt x="3574" y="6310"/>
                      <a:pt x="3574" y="6310"/>
                    </a:cubicBezTo>
                    <a:cubicBezTo>
                      <a:pt x="3542" y="6773"/>
                      <a:pt x="3542" y="6773"/>
                      <a:pt x="3542" y="6773"/>
                    </a:cubicBezTo>
                    <a:cubicBezTo>
                      <a:pt x="3205" y="6652"/>
                      <a:pt x="3205" y="6652"/>
                      <a:pt x="3205" y="6652"/>
                    </a:cubicBezTo>
                    <a:cubicBezTo>
                      <a:pt x="3279" y="6501"/>
                      <a:pt x="3279" y="6501"/>
                      <a:pt x="3279" y="6501"/>
                    </a:cubicBezTo>
                    <a:cubicBezTo>
                      <a:pt x="3352" y="6541"/>
                      <a:pt x="3352" y="6541"/>
                      <a:pt x="3352" y="6541"/>
                    </a:cubicBezTo>
                    <a:cubicBezTo>
                      <a:pt x="3342" y="6628"/>
                      <a:pt x="3342" y="6628"/>
                      <a:pt x="3342" y="6628"/>
                    </a:cubicBezTo>
                    <a:cubicBezTo>
                      <a:pt x="3400" y="6644"/>
                      <a:pt x="3400" y="6644"/>
                      <a:pt x="3400" y="6644"/>
                    </a:cubicBezTo>
                    <a:cubicBezTo>
                      <a:pt x="3472" y="6381"/>
                      <a:pt x="3472" y="6381"/>
                      <a:pt x="3472" y="6381"/>
                    </a:cubicBezTo>
                    <a:cubicBezTo>
                      <a:pt x="3403" y="6386"/>
                      <a:pt x="3403" y="6386"/>
                      <a:pt x="3403" y="6386"/>
                    </a:cubicBezTo>
                    <a:cubicBezTo>
                      <a:pt x="3379" y="6450"/>
                      <a:pt x="3379" y="6450"/>
                      <a:pt x="3379" y="6450"/>
                    </a:cubicBezTo>
                    <a:cubicBezTo>
                      <a:pt x="3287" y="6452"/>
                      <a:pt x="3287" y="6452"/>
                      <a:pt x="3287" y="6452"/>
                    </a:cubicBezTo>
                    <a:lnTo>
                      <a:pt x="3346" y="6326"/>
                    </a:lnTo>
                    <a:close/>
                    <a:moveTo>
                      <a:pt x="3355" y="6340"/>
                    </a:moveTo>
                    <a:cubicBezTo>
                      <a:pt x="3311" y="6437"/>
                      <a:pt x="3311" y="6437"/>
                      <a:pt x="3311" y="6437"/>
                    </a:cubicBezTo>
                    <a:cubicBezTo>
                      <a:pt x="3369" y="6436"/>
                      <a:pt x="3369" y="6436"/>
                      <a:pt x="3369" y="6436"/>
                    </a:cubicBezTo>
                    <a:cubicBezTo>
                      <a:pt x="3392" y="6372"/>
                      <a:pt x="3392" y="6372"/>
                      <a:pt x="3392" y="6372"/>
                    </a:cubicBezTo>
                    <a:cubicBezTo>
                      <a:pt x="3492" y="6365"/>
                      <a:pt x="3492" y="6365"/>
                      <a:pt x="3492" y="6365"/>
                    </a:cubicBezTo>
                    <a:cubicBezTo>
                      <a:pt x="3410" y="6663"/>
                      <a:pt x="3410" y="6663"/>
                      <a:pt x="3410" y="6663"/>
                    </a:cubicBezTo>
                    <a:cubicBezTo>
                      <a:pt x="3326" y="6639"/>
                      <a:pt x="3326" y="6639"/>
                      <a:pt x="3326" y="6639"/>
                    </a:cubicBezTo>
                    <a:cubicBezTo>
                      <a:pt x="3336" y="6550"/>
                      <a:pt x="3336" y="6550"/>
                      <a:pt x="3336" y="6550"/>
                    </a:cubicBezTo>
                    <a:cubicBezTo>
                      <a:pt x="3286" y="6522"/>
                      <a:pt x="3286" y="6522"/>
                      <a:pt x="3286" y="6522"/>
                    </a:cubicBezTo>
                    <a:cubicBezTo>
                      <a:pt x="3226" y="6644"/>
                      <a:pt x="3226" y="6644"/>
                      <a:pt x="3226" y="6644"/>
                    </a:cubicBezTo>
                    <a:cubicBezTo>
                      <a:pt x="3529" y="6753"/>
                      <a:pt x="3529" y="6753"/>
                      <a:pt x="3529" y="6753"/>
                    </a:cubicBezTo>
                    <a:cubicBezTo>
                      <a:pt x="3558" y="6318"/>
                      <a:pt x="3558" y="6318"/>
                      <a:pt x="3558" y="6318"/>
                    </a:cubicBezTo>
                    <a:lnTo>
                      <a:pt x="3355" y="6340"/>
                    </a:lnTo>
                    <a:close/>
                    <a:moveTo>
                      <a:pt x="2357" y="5057"/>
                    </a:moveTo>
                    <a:cubicBezTo>
                      <a:pt x="2394" y="4826"/>
                      <a:pt x="2394" y="4826"/>
                      <a:pt x="2394" y="4826"/>
                    </a:cubicBezTo>
                    <a:cubicBezTo>
                      <a:pt x="2570" y="4833"/>
                      <a:pt x="2570" y="4833"/>
                      <a:pt x="2570" y="4833"/>
                    </a:cubicBezTo>
                    <a:cubicBezTo>
                      <a:pt x="2542" y="4938"/>
                      <a:pt x="2542" y="4938"/>
                      <a:pt x="2542" y="4938"/>
                    </a:cubicBezTo>
                    <a:cubicBezTo>
                      <a:pt x="2821" y="5007"/>
                      <a:pt x="2821" y="5007"/>
                      <a:pt x="2821" y="5007"/>
                    </a:cubicBezTo>
                    <a:cubicBezTo>
                      <a:pt x="2822" y="5012"/>
                      <a:pt x="2822" y="5012"/>
                      <a:pt x="2822" y="5012"/>
                    </a:cubicBezTo>
                    <a:cubicBezTo>
                      <a:pt x="2839" y="5166"/>
                      <a:pt x="2839" y="5166"/>
                      <a:pt x="2839" y="5166"/>
                    </a:cubicBezTo>
                    <a:cubicBezTo>
                      <a:pt x="2573" y="5132"/>
                      <a:pt x="2573" y="5132"/>
                      <a:pt x="2573" y="5132"/>
                    </a:cubicBezTo>
                    <a:cubicBezTo>
                      <a:pt x="2581" y="5097"/>
                      <a:pt x="2581" y="5097"/>
                      <a:pt x="2581" y="5097"/>
                    </a:cubicBezTo>
                    <a:cubicBezTo>
                      <a:pt x="2465" y="5063"/>
                      <a:pt x="2465" y="5063"/>
                      <a:pt x="2465" y="5063"/>
                    </a:cubicBezTo>
                    <a:lnTo>
                      <a:pt x="2357" y="5057"/>
                    </a:lnTo>
                    <a:close/>
                    <a:moveTo>
                      <a:pt x="2374" y="5043"/>
                    </a:moveTo>
                    <a:cubicBezTo>
                      <a:pt x="2467" y="5049"/>
                      <a:pt x="2467" y="5049"/>
                      <a:pt x="2467" y="5049"/>
                    </a:cubicBezTo>
                    <a:cubicBezTo>
                      <a:pt x="2599" y="5087"/>
                      <a:pt x="2599" y="5087"/>
                      <a:pt x="2599" y="5087"/>
                    </a:cubicBezTo>
                    <a:cubicBezTo>
                      <a:pt x="2591" y="5119"/>
                      <a:pt x="2591" y="5119"/>
                      <a:pt x="2591" y="5119"/>
                    </a:cubicBezTo>
                    <a:cubicBezTo>
                      <a:pt x="2822" y="5149"/>
                      <a:pt x="2822" y="5149"/>
                      <a:pt x="2822" y="5149"/>
                    </a:cubicBezTo>
                    <a:cubicBezTo>
                      <a:pt x="2808" y="5019"/>
                      <a:pt x="2808" y="5019"/>
                      <a:pt x="2808" y="5019"/>
                    </a:cubicBezTo>
                    <a:cubicBezTo>
                      <a:pt x="2524" y="4948"/>
                      <a:pt x="2524" y="4948"/>
                      <a:pt x="2524" y="4948"/>
                    </a:cubicBezTo>
                    <a:cubicBezTo>
                      <a:pt x="2551" y="4847"/>
                      <a:pt x="2551" y="4847"/>
                      <a:pt x="2551" y="4847"/>
                    </a:cubicBezTo>
                    <a:cubicBezTo>
                      <a:pt x="2406" y="4841"/>
                      <a:pt x="2406" y="4841"/>
                      <a:pt x="2406" y="4841"/>
                    </a:cubicBezTo>
                    <a:lnTo>
                      <a:pt x="2374" y="5043"/>
                    </a:lnTo>
                    <a:close/>
                    <a:moveTo>
                      <a:pt x="4489" y="4287"/>
                    </a:moveTo>
                    <a:cubicBezTo>
                      <a:pt x="5000" y="4714"/>
                      <a:pt x="5000" y="4714"/>
                      <a:pt x="5000" y="4714"/>
                    </a:cubicBezTo>
                    <a:cubicBezTo>
                      <a:pt x="4931" y="4833"/>
                      <a:pt x="4931" y="4833"/>
                      <a:pt x="4931" y="4833"/>
                    </a:cubicBezTo>
                    <a:cubicBezTo>
                      <a:pt x="4438" y="4470"/>
                      <a:pt x="4438" y="4470"/>
                      <a:pt x="4438" y="4470"/>
                    </a:cubicBezTo>
                    <a:cubicBezTo>
                      <a:pt x="4188" y="3887"/>
                      <a:pt x="4188" y="3887"/>
                      <a:pt x="4188" y="3887"/>
                    </a:cubicBezTo>
                    <a:cubicBezTo>
                      <a:pt x="4483" y="3950"/>
                      <a:pt x="4483" y="3950"/>
                      <a:pt x="4483" y="3950"/>
                    </a:cubicBezTo>
                    <a:cubicBezTo>
                      <a:pt x="4484" y="3954"/>
                      <a:pt x="4484" y="3954"/>
                      <a:pt x="4484" y="3954"/>
                    </a:cubicBezTo>
                    <a:cubicBezTo>
                      <a:pt x="4524" y="4056"/>
                      <a:pt x="4524" y="4056"/>
                      <a:pt x="4524" y="4056"/>
                    </a:cubicBezTo>
                    <a:cubicBezTo>
                      <a:pt x="4393" y="4040"/>
                      <a:pt x="4393" y="4040"/>
                      <a:pt x="4393" y="4040"/>
                    </a:cubicBezTo>
                    <a:lnTo>
                      <a:pt x="4489" y="4287"/>
                    </a:lnTo>
                    <a:close/>
                    <a:moveTo>
                      <a:pt x="4981" y="4718"/>
                    </a:moveTo>
                    <a:cubicBezTo>
                      <a:pt x="4476" y="4295"/>
                      <a:pt x="4476" y="4295"/>
                      <a:pt x="4476" y="4295"/>
                    </a:cubicBezTo>
                    <a:cubicBezTo>
                      <a:pt x="4370" y="4023"/>
                      <a:pt x="4370" y="4023"/>
                      <a:pt x="4370" y="4023"/>
                    </a:cubicBezTo>
                    <a:cubicBezTo>
                      <a:pt x="4501" y="4038"/>
                      <a:pt x="4501" y="4038"/>
                      <a:pt x="4501" y="4038"/>
                    </a:cubicBezTo>
                    <a:cubicBezTo>
                      <a:pt x="4472" y="3963"/>
                      <a:pt x="4472" y="3963"/>
                      <a:pt x="4472" y="3963"/>
                    </a:cubicBezTo>
                    <a:cubicBezTo>
                      <a:pt x="4213" y="3907"/>
                      <a:pt x="4213" y="3907"/>
                      <a:pt x="4213" y="3907"/>
                    </a:cubicBezTo>
                    <a:cubicBezTo>
                      <a:pt x="4450" y="4461"/>
                      <a:pt x="4450" y="4461"/>
                      <a:pt x="4450" y="4461"/>
                    </a:cubicBezTo>
                    <a:cubicBezTo>
                      <a:pt x="4927" y="4812"/>
                      <a:pt x="4927" y="4812"/>
                      <a:pt x="4927" y="4812"/>
                    </a:cubicBezTo>
                    <a:lnTo>
                      <a:pt x="4981" y="4718"/>
                    </a:lnTo>
                    <a:close/>
                    <a:moveTo>
                      <a:pt x="3329" y="6273"/>
                    </a:moveTo>
                    <a:cubicBezTo>
                      <a:pt x="3130" y="6138"/>
                      <a:pt x="3130" y="6138"/>
                      <a:pt x="3130" y="6138"/>
                    </a:cubicBezTo>
                    <a:cubicBezTo>
                      <a:pt x="3322" y="6111"/>
                      <a:pt x="3322" y="6111"/>
                      <a:pt x="3322" y="6111"/>
                    </a:cubicBezTo>
                    <a:cubicBezTo>
                      <a:pt x="3383" y="6170"/>
                      <a:pt x="3383" y="6170"/>
                      <a:pt x="3383" y="6170"/>
                    </a:cubicBezTo>
                    <a:cubicBezTo>
                      <a:pt x="3746" y="6157"/>
                      <a:pt x="3746" y="6157"/>
                      <a:pt x="3746" y="6157"/>
                    </a:cubicBezTo>
                    <a:cubicBezTo>
                      <a:pt x="3748" y="6158"/>
                      <a:pt x="3748" y="6158"/>
                      <a:pt x="3748" y="6158"/>
                    </a:cubicBezTo>
                    <a:cubicBezTo>
                      <a:pt x="3846" y="6194"/>
                      <a:pt x="3846" y="6194"/>
                      <a:pt x="3846" y="6194"/>
                    </a:cubicBezTo>
                    <a:lnTo>
                      <a:pt x="3329" y="6273"/>
                    </a:lnTo>
                    <a:close/>
                    <a:moveTo>
                      <a:pt x="3170" y="6148"/>
                    </a:moveTo>
                    <a:cubicBezTo>
                      <a:pt x="3333" y="6258"/>
                      <a:pt x="3333" y="6258"/>
                      <a:pt x="3333" y="6258"/>
                    </a:cubicBezTo>
                    <a:cubicBezTo>
                      <a:pt x="3788" y="6188"/>
                      <a:pt x="3788" y="6188"/>
                      <a:pt x="3788" y="6188"/>
                    </a:cubicBezTo>
                    <a:cubicBezTo>
                      <a:pt x="3744" y="6172"/>
                      <a:pt x="3744" y="6172"/>
                      <a:pt x="3744" y="6172"/>
                    </a:cubicBezTo>
                    <a:cubicBezTo>
                      <a:pt x="3377" y="6185"/>
                      <a:pt x="3377" y="6185"/>
                      <a:pt x="3377" y="6185"/>
                    </a:cubicBezTo>
                    <a:cubicBezTo>
                      <a:pt x="3317" y="6127"/>
                      <a:pt x="3317" y="6127"/>
                      <a:pt x="3317" y="6127"/>
                    </a:cubicBezTo>
                    <a:lnTo>
                      <a:pt x="3170" y="6148"/>
                    </a:lnTo>
                    <a:close/>
                    <a:moveTo>
                      <a:pt x="4109" y="6992"/>
                    </a:moveTo>
                    <a:cubicBezTo>
                      <a:pt x="3612" y="6801"/>
                      <a:pt x="3612" y="6801"/>
                      <a:pt x="3612" y="6801"/>
                    </a:cubicBezTo>
                    <a:cubicBezTo>
                      <a:pt x="3648" y="6294"/>
                      <a:pt x="3648" y="6294"/>
                      <a:pt x="3648" y="6294"/>
                    </a:cubicBezTo>
                    <a:cubicBezTo>
                      <a:pt x="3883" y="6264"/>
                      <a:pt x="3883" y="6264"/>
                      <a:pt x="3883" y="6264"/>
                    </a:cubicBezTo>
                    <a:cubicBezTo>
                      <a:pt x="3883" y="6273"/>
                      <a:pt x="3883" y="6273"/>
                      <a:pt x="3883" y="6273"/>
                    </a:cubicBezTo>
                    <a:cubicBezTo>
                      <a:pt x="3873" y="6575"/>
                      <a:pt x="3873" y="6575"/>
                      <a:pt x="3873" y="6575"/>
                    </a:cubicBezTo>
                    <a:cubicBezTo>
                      <a:pt x="4074" y="6787"/>
                      <a:pt x="4074" y="6787"/>
                      <a:pt x="4074" y="6787"/>
                    </a:cubicBezTo>
                    <a:cubicBezTo>
                      <a:pt x="4049" y="6882"/>
                      <a:pt x="4049" y="6882"/>
                      <a:pt x="4049" y="6882"/>
                    </a:cubicBezTo>
                    <a:lnTo>
                      <a:pt x="4109" y="6992"/>
                    </a:lnTo>
                    <a:close/>
                    <a:moveTo>
                      <a:pt x="3627" y="6791"/>
                    </a:moveTo>
                    <a:cubicBezTo>
                      <a:pt x="4077" y="6963"/>
                      <a:pt x="4077" y="6963"/>
                      <a:pt x="4077" y="6963"/>
                    </a:cubicBezTo>
                    <a:cubicBezTo>
                      <a:pt x="4033" y="6884"/>
                      <a:pt x="4033" y="6884"/>
                      <a:pt x="4033" y="6884"/>
                    </a:cubicBezTo>
                    <a:cubicBezTo>
                      <a:pt x="4057" y="6791"/>
                      <a:pt x="4057" y="6791"/>
                      <a:pt x="4057" y="6791"/>
                    </a:cubicBezTo>
                    <a:cubicBezTo>
                      <a:pt x="3858" y="6581"/>
                      <a:pt x="3858" y="6581"/>
                      <a:pt x="3858" y="6581"/>
                    </a:cubicBezTo>
                    <a:cubicBezTo>
                      <a:pt x="3868" y="6281"/>
                      <a:pt x="3868" y="6281"/>
                      <a:pt x="3868" y="6281"/>
                    </a:cubicBezTo>
                    <a:cubicBezTo>
                      <a:pt x="3662" y="6307"/>
                      <a:pt x="3662" y="6307"/>
                      <a:pt x="3662" y="6307"/>
                    </a:cubicBezTo>
                    <a:lnTo>
                      <a:pt x="3627" y="6791"/>
                    </a:lnTo>
                    <a:close/>
                    <a:moveTo>
                      <a:pt x="3202" y="5738"/>
                    </a:moveTo>
                    <a:cubicBezTo>
                      <a:pt x="3211" y="5645"/>
                      <a:pt x="3211" y="5645"/>
                      <a:pt x="3211" y="5645"/>
                    </a:cubicBezTo>
                    <a:cubicBezTo>
                      <a:pt x="3211" y="5641"/>
                      <a:pt x="3215" y="5638"/>
                      <a:pt x="3219" y="5639"/>
                    </a:cubicBezTo>
                    <a:cubicBezTo>
                      <a:pt x="3276" y="5642"/>
                      <a:pt x="3276" y="5642"/>
                      <a:pt x="3276" y="5642"/>
                    </a:cubicBezTo>
                    <a:cubicBezTo>
                      <a:pt x="3283" y="5539"/>
                      <a:pt x="3283" y="5539"/>
                      <a:pt x="3283" y="5539"/>
                    </a:cubicBezTo>
                    <a:cubicBezTo>
                      <a:pt x="3284" y="5535"/>
                      <a:pt x="3284" y="5535"/>
                      <a:pt x="3284" y="5535"/>
                    </a:cubicBezTo>
                    <a:cubicBezTo>
                      <a:pt x="3336" y="5468"/>
                      <a:pt x="3336" y="5468"/>
                      <a:pt x="3336" y="5468"/>
                    </a:cubicBezTo>
                    <a:cubicBezTo>
                      <a:pt x="3338" y="5465"/>
                      <a:pt x="3343" y="5464"/>
                      <a:pt x="3346" y="5467"/>
                    </a:cubicBezTo>
                    <a:cubicBezTo>
                      <a:pt x="3346" y="5467"/>
                      <a:pt x="3450" y="5540"/>
                      <a:pt x="3504" y="5602"/>
                    </a:cubicBezTo>
                    <a:cubicBezTo>
                      <a:pt x="3530" y="5633"/>
                      <a:pt x="3548" y="5672"/>
                      <a:pt x="3548" y="5715"/>
                    </a:cubicBezTo>
                    <a:cubicBezTo>
                      <a:pt x="3548" y="5761"/>
                      <a:pt x="3529" y="5813"/>
                      <a:pt x="3483" y="5866"/>
                    </a:cubicBezTo>
                    <a:cubicBezTo>
                      <a:pt x="3391" y="5972"/>
                      <a:pt x="3094" y="6033"/>
                      <a:pt x="3094" y="6034"/>
                    </a:cubicBezTo>
                    <a:cubicBezTo>
                      <a:pt x="3093" y="6034"/>
                      <a:pt x="3093" y="6034"/>
                      <a:pt x="3092" y="6034"/>
                    </a:cubicBezTo>
                    <a:cubicBezTo>
                      <a:pt x="3090" y="6034"/>
                      <a:pt x="3087" y="6032"/>
                      <a:pt x="3086" y="6030"/>
                    </a:cubicBezTo>
                    <a:cubicBezTo>
                      <a:pt x="3070" y="6001"/>
                      <a:pt x="3070" y="6001"/>
                      <a:pt x="3070" y="6001"/>
                    </a:cubicBezTo>
                    <a:cubicBezTo>
                      <a:pt x="3068" y="5997"/>
                      <a:pt x="3069" y="5993"/>
                      <a:pt x="3072" y="5991"/>
                    </a:cubicBezTo>
                    <a:cubicBezTo>
                      <a:pt x="3072" y="5991"/>
                      <a:pt x="3123" y="5961"/>
                      <a:pt x="3180" y="5916"/>
                    </a:cubicBezTo>
                    <a:cubicBezTo>
                      <a:pt x="3233" y="5873"/>
                      <a:pt x="3291" y="5815"/>
                      <a:pt x="3315" y="5757"/>
                    </a:cubicBezTo>
                    <a:cubicBezTo>
                      <a:pt x="3286" y="5755"/>
                      <a:pt x="3209" y="5746"/>
                      <a:pt x="3209" y="5746"/>
                    </a:cubicBezTo>
                    <a:cubicBezTo>
                      <a:pt x="3205" y="5746"/>
                      <a:pt x="3202" y="5742"/>
                      <a:pt x="3202" y="5738"/>
                    </a:cubicBezTo>
                    <a:close/>
                    <a:moveTo>
                      <a:pt x="3218" y="5733"/>
                    </a:moveTo>
                    <a:cubicBezTo>
                      <a:pt x="3241" y="5735"/>
                      <a:pt x="3312" y="5742"/>
                      <a:pt x="3323" y="5742"/>
                    </a:cubicBezTo>
                    <a:cubicBezTo>
                      <a:pt x="3324" y="5742"/>
                      <a:pt x="3324" y="5742"/>
                      <a:pt x="3324" y="5742"/>
                    </a:cubicBezTo>
                    <a:cubicBezTo>
                      <a:pt x="3325" y="5742"/>
                      <a:pt x="3326" y="5742"/>
                      <a:pt x="3327" y="5742"/>
                    </a:cubicBezTo>
                    <a:cubicBezTo>
                      <a:pt x="3331" y="5743"/>
                      <a:pt x="3333" y="5746"/>
                      <a:pt x="3333" y="5750"/>
                    </a:cubicBezTo>
                    <a:cubicBezTo>
                      <a:pt x="3332" y="5751"/>
                      <a:pt x="3332" y="5751"/>
                      <a:pt x="3332" y="5752"/>
                    </a:cubicBezTo>
                    <a:cubicBezTo>
                      <a:pt x="3332" y="5752"/>
                      <a:pt x="3332" y="5752"/>
                      <a:pt x="3332" y="5752"/>
                    </a:cubicBezTo>
                    <a:cubicBezTo>
                      <a:pt x="3291" y="5872"/>
                      <a:pt x="3121" y="5979"/>
                      <a:pt x="3086" y="6000"/>
                    </a:cubicBezTo>
                    <a:cubicBezTo>
                      <a:pt x="3096" y="6018"/>
                      <a:pt x="3096" y="6018"/>
                      <a:pt x="3096" y="6018"/>
                    </a:cubicBezTo>
                    <a:cubicBezTo>
                      <a:pt x="3114" y="6014"/>
                      <a:pt x="3178" y="5999"/>
                      <a:pt x="3250" y="5975"/>
                    </a:cubicBezTo>
                    <a:cubicBezTo>
                      <a:pt x="3334" y="5947"/>
                      <a:pt x="3430" y="5906"/>
                      <a:pt x="3472" y="5857"/>
                    </a:cubicBezTo>
                    <a:cubicBezTo>
                      <a:pt x="3516" y="5805"/>
                      <a:pt x="3533" y="5757"/>
                      <a:pt x="3533" y="5715"/>
                    </a:cubicBezTo>
                    <a:cubicBezTo>
                      <a:pt x="3533" y="5676"/>
                      <a:pt x="3517" y="5641"/>
                      <a:pt x="3493" y="5612"/>
                    </a:cubicBezTo>
                    <a:cubicBezTo>
                      <a:pt x="3448" y="5560"/>
                      <a:pt x="3366" y="5499"/>
                      <a:pt x="3343" y="5483"/>
                    </a:cubicBezTo>
                    <a:cubicBezTo>
                      <a:pt x="3297" y="5542"/>
                      <a:pt x="3297" y="5542"/>
                      <a:pt x="3297" y="5542"/>
                    </a:cubicBezTo>
                    <a:cubicBezTo>
                      <a:pt x="3290" y="5651"/>
                      <a:pt x="3290" y="5651"/>
                      <a:pt x="3290" y="5651"/>
                    </a:cubicBezTo>
                    <a:cubicBezTo>
                      <a:pt x="3290" y="5655"/>
                      <a:pt x="3286" y="5658"/>
                      <a:pt x="3282" y="5658"/>
                    </a:cubicBezTo>
                    <a:cubicBezTo>
                      <a:pt x="3225" y="5654"/>
                      <a:pt x="3225" y="5654"/>
                      <a:pt x="3225" y="5654"/>
                    </a:cubicBezTo>
                    <a:lnTo>
                      <a:pt x="3218" y="5733"/>
                    </a:lnTo>
                    <a:close/>
                    <a:moveTo>
                      <a:pt x="2729" y="5542"/>
                    </a:moveTo>
                    <a:cubicBezTo>
                      <a:pt x="2656" y="5514"/>
                      <a:pt x="2656" y="5514"/>
                      <a:pt x="2656" y="5514"/>
                    </a:cubicBezTo>
                    <a:cubicBezTo>
                      <a:pt x="2731" y="5317"/>
                      <a:pt x="2731" y="5317"/>
                      <a:pt x="2731" y="5317"/>
                    </a:cubicBezTo>
                    <a:cubicBezTo>
                      <a:pt x="2782" y="5336"/>
                      <a:pt x="2782" y="5336"/>
                      <a:pt x="2782" y="5336"/>
                    </a:cubicBezTo>
                    <a:cubicBezTo>
                      <a:pt x="2784" y="5330"/>
                      <a:pt x="2784" y="5330"/>
                      <a:pt x="2784" y="5330"/>
                    </a:cubicBezTo>
                    <a:cubicBezTo>
                      <a:pt x="2787" y="5323"/>
                      <a:pt x="2787" y="5323"/>
                      <a:pt x="2787" y="5323"/>
                    </a:cubicBezTo>
                    <a:cubicBezTo>
                      <a:pt x="2880" y="5359"/>
                      <a:pt x="2880" y="5359"/>
                      <a:pt x="2880" y="5359"/>
                    </a:cubicBezTo>
                    <a:cubicBezTo>
                      <a:pt x="2877" y="5365"/>
                      <a:pt x="2877" y="5365"/>
                      <a:pt x="2877" y="5365"/>
                    </a:cubicBezTo>
                    <a:cubicBezTo>
                      <a:pt x="2841" y="5460"/>
                      <a:pt x="2841" y="5460"/>
                      <a:pt x="2841" y="5460"/>
                    </a:cubicBezTo>
                    <a:cubicBezTo>
                      <a:pt x="2927" y="5492"/>
                      <a:pt x="2927" y="5492"/>
                      <a:pt x="2927" y="5492"/>
                    </a:cubicBezTo>
                    <a:cubicBezTo>
                      <a:pt x="2874" y="5631"/>
                      <a:pt x="2874" y="5631"/>
                      <a:pt x="2874" y="5631"/>
                    </a:cubicBezTo>
                    <a:cubicBezTo>
                      <a:pt x="2803" y="5605"/>
                      <a:pt x="2803" y="5605"/>
                      <a:pt x="2803" y="5605"/>
                    </a:cubicBezTo>
                    <a:cubicBezTo>
                      <a:pt x="2778" y="5671"/>
                      <a:pt x="2778" y="5671"/>
                      <a:pt x="2778" y="5671"/>
                    </a:cubicBezTo>
                    <a:cubicBezTo>
                      <a:pt x="2707" y="5644"/>
                      <a:pt x="2707" y="5644"/>
                      <a:pt x="2707" y="5644"/>
                    </a:cubicBezTo>
                    <a:cubicBezTo>
                      <a:pt x="2774" y="5466"/>
                      <a:pt x="2774" y="5466"/>
                      <a:pt x="2774" y="5466"/>
                    </a:cubicBezTo>
                    <a:cubicBezTo>
                      <a:pt x="2760" y="5461"/>
                      <a:pt x="2760" y="5461"/>
                      <a:pt x="2760" y="5461"/>
                    </a:cubicBezTo>
                    <a:lnTo>
                      <a:pt x="2729" y="5542"/>
                    </a:lnTo>
                    <a:close/>
                    <a:moveTo>
                      <a:pt x="2722" y="5525"/>
                    </a:moveTo>
                    <a:cubicBezTo>
                      <a:pt x="2752" y="5444"/>
                      <a:pt x="2752" y="5444"/>
                      <a:pt x="2752" y="5444"/>
                    </a:cubicBezTo>
                    <a:cubicBezTo>
                      <a:pt x="2792" y="5458"/>
                      <a:pt x="2792" y="5458"/>
                      <a:pt x="2792" y="5458"/>
                    </a:cubicBezTo>
                    <a:cubicBezTo>
                      <a:pt x="2725" y="5636"/>
                      <a:pt x="2725" y="5636"/>
                      <a:pt x="2725" y="5636"/>
                    </a:cubicBezTo>
                    <a:cubicBezTo>
                      <a:pt x="2771" y="5653"/>
                      <a:pt x="2771" y="5653"/>
                      <a:pt x="2771" y="5653"/>
                    </a:cubicBezTo>
                    <a:cubicBezTo>
                      <a:pt x="2796" y="5587"/>
                      <a:pt x="2796" y="5587"/>
                      <a:pt x="2796" y="5587"/>
                    </a:cubicBezTo>
                    <a:cubicBezTo>
                      <a:pt x="2866" y="5614"/>
                      <a:pt x="2866" y="5614"/>
                      <a:pt x="2866" y="5614"/>
                    </a:cubicBezTo>
                    <a:cubicBezTo>
                      <a:pt x="2910" y="5500"/>
                      <a:pt x="2910" y="5500"/>
                      <a:pt x="2910" y="5500"/>
                    </a:cubicBezTo>
                    <a:cubicBezTo>
                      <a:pt x="2824" y="5468"/>
                      <a:pt x="2824" y="5468"/>
                      <a:pt x="2824" y="5468"/>
                    </a:cubicBezTo>
                    <a:cubicBezTo>
                      <a:pt x="2863" y="5366"/>
                      <a:pt x="2863" y="5366"/>
                      <a:pt x="2863" y="5366"/>
                    </a:cubicBezTo>
                    <a:cubicBezTo>
                      <a:pt x="2794" y="5341"/>
                      <a:pt x="2794" y="5341"/>
                      <a:pt x="2794" y="5341"/>
                    </a:cubicBezTo>
                    <a:cubicBezTo>
                      <a:pt x="2792" y="5347"/>
                      <a:pt x="2792" y="5347"/>
                      <a:pt x="2792" y="5347"/>
                    </a:cubicBezTo>
                    <a:cubicBezTo>
                      <a:pt x="2790" y="5353"/>
                      <a:pt x="2790" y="5353"/>
                      <a:pt x="2790" y="5353"/>
                    </a:cubicBezTo>
                    <a:cubicBezTo>
                      <a:pt x="2738" y="5334"/>
                      <a:pt x="2738" y="5334"/>
                      <a:pt x="2738" y="5334"/>
                    </a:cubicBezTo>
                    <a:cubicBezTo>
                      <a:pt x="2673" y="5506"/>
                      <a:pt x="2673" y="5506"/>
                      <a:pt x="2673" y="5506"/>
                    </a:cubicBezTo>
                    <a:lnTo>
                      <a:pt x="2722" y="5525"/>
                    </a:lnTo>
                    <a:close/>
                    <a:moveTo>
                      <a:pt x="3395" y="6085"/>
                    </a:moveTo>
                    <a:cubicBezTo>
                      <a:pt x="3394" y="6083"/>
                      <a:pt x="3396" y="6080"/>
                      <a:pt x="3398" y="6078"/>
                    </a:cubicBezTo>
                    <a:cubicBezTo>
                      <a:pt x="3401" y="6077"/>
                      <a:pt x="3402" y="6077"/>
                      <a:pt x="3403" y="6077"/>
                    </a:cubicBezTo>
                    <a:cubicBezTo>
                      <a:pt x="3405" y="6078"/>
                      <a:pt x="3457" y="6060"/>
                      <a:pt x="3516" y="6023"/>
                    </a:cubicBezTo>
                    <a:cubicBezTo>
                      <a:pt x="3545" y="6005"/>
                      <a:pt x="3571" y="5974"/>
                      <a:pt x="3590" y="5948"/>
                    </a:cubicBezTo>
                    <a:cubicBezTo>
                      <a:pt x="3609" y="5922"/>
                      <a:pt x="3620" y="5900"/>
                      <a:pt x="3620" y="5900"/>
                    </a:cubicBezTo>
                    <a:cubicBezTo>
                      <a:pt x="3623" y="5894"/>
                      <a:pt x="3623" y="5894"/>
                      <a:pt x="3623" y="5894"/>
                    </a:cubicBezTo>
                    <a:cubicBezTo>
                      <a:pt x="3747" y="5936"/>
                      <a:pt x="3747" y="5936"/>
                      <a:pt x="3747" y="5936"/>
                    </a:cubicBezTo>
                    <a:cubicBezTo>
                      <a:pt x="3747" y="5942"/>
                      <a:pt x="3747" y="5942"/>
                      <a:pt x="3747" y="5942"/>
                    </a:cubicBezTo>
                    <a:cubicBezTo>
                      <a:pt x="3747" y="6083"/>
                      <a:pt x="3747" y="6083"/>
                      <a:pt x="3747" y="6083"/>
                    </a:cubicBezTo>
                    <a:cubicBezTo>
                      <a:pt x="3424" y="6112"/>
                      <a:pt x="3424" y="6112"/>
                      <a:pt x="3424" y="6112"/>
                    </a:cubicBezTo>
                    <a:cubicBezTo>
                      <a:pt x="3422" y="6111"/>
                      <a:pt x="3422" y="6111"/>
                      <a:pt x="3422" y="6111"/>
                    </a:cubicBezTo>
                    <a:cubicBezTo>
                      <a:pt x="3422" y="6111"/>
                      <a:pt x="3416" y="6107"/>
                      <a:pt x="3410" y="6102"/>
                    </a:cubicBezTo>
                    <a:cubicBezTo>
                      <a:pt x="3406" y="6100"/>
                      <a:pt x="3403" y="6097"/>
                      <a:pt x="3401" y="6095"/>
                    </a:cubicBezTo>
                    <a:cubicBezTo>
                      <a:pt x="3398" y="6092"/>
                      <a:pt x="3396" y="6093"/>
                      <a:pt x="3395" y="6085"/>
                    </a:cubicBezTo>
                    <a:close/>
                    <a:moveTo>
                      <a:pt x="3416" y="6089"/>
                    </a:moveTo>
                    <a:cubicBezTo>
                      <a:pt x="3420" y="6092"/>
                      <a:pt x="3425" y="6095"/>
                      <a:pt x="3428" y="6097"/>
                    </a:cubicBezTo>
                    <a:cubicBezTo>
                      <a:pt x="3732" y="6070"/>
                      <a:pt x="3732" y="6070"/>
                      <a:pt x="3732" y="6070"/>
                    </a:cubicBezTo>
                    <a:cubicBezTo>
                      <a:pt x="3732" y="5947"/>
                      <a:pt x="3732" y="5947"/>
                      <a:pt x="3732" y="5947"/>
                    </a:cubicBezTo>
                    <a:cubicBezTo>
                      <a:pt x="3630" y="5912"/>
                      <a:pt x="3630" y="5912"/>
                      <a:pt x="3630" y="5912"/>
                    </a:cubicBezTo>
                    <a:cubicBezTo>
                      <a:pt x="3619" y="5933"/>
                      <a:pt x="3578" y="6002"/>
                      <a:pt x="3524" y="6036"/>
                    </a:cubicBezTo>
                    <a:cubicBezTo>
                      <a:pt x="3476" y="6065"/>
                      <a:pt x="3437" y="6082"/>
                      <a:pt x="3416" y="6089"/>
                    </a:cubicBezTo>
                    <a:close/>
                    <a:moveTo>
                      <a:pt x="3213" y="5793"/>
                    </a:moveTo>
                    <a:cubicBezTo>
                      <a:pt x="3029" y="5946"/>
                      <a:pt x="3029" y="5946"/>
                      <a:pt x="3029" y="5946"/>
                    </a:cubicBezTo>
                    <a:cubicBezTo>
                      <a:pt x="2945" y="5894"/>
                      <a:pt x="2945" y="5894"/>
                      <a:pt x="2945" y="5894"/>
                    </a:cubicBezTo>
                    <a:cubicBezTo>
                      <a:pt x="3146" y="5701"/>
                      <a:pt x="3146" y="5701"/>
                      <a:pt x="3146" y="5701"/>
                    </a:cubicBezTo>
                    <a:cubicBezTo>
                      <a:pt x="3147" y="5767"/>
                      <a:pt x="3147" y="5767"/>
                      <a:pt x="3147" y="5767"/>
                    </a:cubicBezTo>
                    <a:cubicBezTo>
                      <a:pt x="3225" y="5783"/>
                      <a:pt x="3225" y="5783"/>
                      <a:pt x="3225" y="5783"/>
                    </a:cubicBezTo>
                    <a:lnTo>
                      <a:pt x="3213" y="5793"/>
                    </a:lnTo>
                    <a:close/>
                    <a:moveTo>
                      <a:pt x="3192" y="5791"/>
                    </a:moveTo>
                    <a:cubicBezTo>
                      <a:pt x="3133" y="5779"/>
                      <a:pt x="3133" y="5779"/>
                      <a:pt x="3133" y="5779"/>
                    </a:cubicBezTo>
                    <a:cubicBezTo>
                      <a:pt x="3132" y="5735"/>
                      <a:pt x="3132" y="5735"/>
                      <a:pt x="3132" y="5735"/>
                    </a:cubicBezTo>
                    <a:cubicBezTo>
                      <a:pt x="2969" y="5891"/>
                      <a:pt x="2969" y="5891"/>
                      <a:pt x="2969" y="5891"/>
                    </a:cubicBezTo>
                    <a:cubicBezTo>
                      <a:pt x="3028" y="5927"/>
                      <a:pt x="3028" y="5927"/>
                      <a:pt x="3028" y="5927"/>
                    </a:cubicBezTo>
                    <a:lnTo>
                      <a:pt x="3192" y="5791"/>
                    </a:lnTo>
                    <a:close/>
                    <a:moveTo>
                      <a:pt x="4169" y="6687"/>
                    </a:moveTo>
                    <a:cubicBezTo>
                      <a:pt x="4169" y="6687"/>
                      <a:pt x="4120" y="6669"/>
                      <a:pt x="4082" y="6627"/>
                    </a:cubicBezTo>
                    <a:cubicBezTo>
                      <a:pt x="4045" y="6586"/>
                      <a:pt x="4042" y="6524"/>
                      <a:pt x="4042" y="6524"/>
                    </a:cubicBezTo>
                    <a:cubicBezTo>
                      <a:pt x="4023" y="6522"/>
                      <a:pt x="4023" y="6522"/>
                      <a:pt x="4023" y="6522"/>
                    </a:cubicBezTo>
                    <a:cubicBezTo>
                      <a:pt x="4022" y="6068"/>
                      <a:pt x="4022" y="6068"/>
                      <a:pt x="4022" y="6068"/>
                    </a:cubicBezTo>
                    <a:cubicBezTo>
                      <a:pt x="4109" y="6067"/>
                      <a:pt x="4109" y="6067"/>
                      <a:pt x="4109" y="6067"/>
                    </a:cubicBezTo>
                    <a:cubicBezTo>
                      <a:pt x="4109" y="6067"/>
                      <a:pt x="4118" y="6046"/>
                      <a:pt x="4136" y="6023"/>
                    </a:cubicBezTo>
                    <a:cubicBezTo>
                      <a:pt x="4150" y="6007"/>
                      <a:pt x="4171" y="5990"/>
                      <a:pt x="4188" y="5979"/>
                    </a:cubicBezTo>
                    <a:cubicBezTo>
                      <a:pt x="4227" y="5953"/>
                      <a:pt x="4302" y="5953"/>
                      <a:pt x="4302" y="5953"/>
                    </a:cubicBezTo>
                    <a:cubicBezTo>
                      <a:pt x="4361" y="5904"/>
                      <a:pt x="4361" y="5904"/>
                      <a:pt x="4361" y="5904"/>
                    </a:cubicBezTo>
                    <a:cubicBezTo>
                      <a:pt x="4472" y="6029"/>
                      <a:pt x="4472" y="6029"/>
                      <a:pt x="4472" y="6029"/>
                    </a:cubicBezTo>
                    <a:cubicBezTo>
                      <a:pt x="4472" y="6029"/>
                      <a:pt x="4452" y="6052"/>
                      <a:pt x="4452" y="6053"/>
                    </a:cubicBezTo>
                    <a:cubicBezTo>
                      <a:pt x="4483" y="6096"/>
                      <a:pt x="4474" y="6152"/>
                      <a:pt x="4474" y="6152"/>
                    </a:cubicBezTo>
                    <a:cubicBezTo>
                      <a:pt x="4474" y="6152"/>
                      <a:pt x="4427" y="6495"/>
                      <a:pt x="4419" y="6549"/>
                    </a:cubicBezTo>
                    <a:cubicBezTo>
                      <a:pt x="4410" y="6603"/>
                      <a:pt x="4365" y="6648"/>
                      <a:pt x="4365" y="6648"/>
                    </a:cubicBezTo>
                    <a:cubicBezTo>
                      <a:pt x="4363" y="6728"/>
                      <a:pt x="4363" y="6728"/>
                      <a:pt x="4363" y="6728"/>
                    </a:cubicBezTo>
                    <a:cubicBezTo>
                      <a:pt x="4169" y="6727"/>
                      <a:pt x="4169" y="6727"/>
                      <a:pt x="4169" y="6727"/>
                    </a:cubicBezTo>
                    <a:lnTo>
                      <a:pt x="4169" y="6687"/>
                    </a:lnTo>
                    <a:close/>
                    <a:moveTo>
                      <a:pt x="4174" y="6674"/>
                    </a:moveTo>
                    <a:cubicBezTo>
                      <a:pt x="4183" y="6677"/>
                      <a:pt x="4183" y="6677"/>
                      <a:pt x="4183" y="6677"/>
                    </a:cubicBezTo>
                    <a:cubicBezTo>
                      <a:pt x="4183" y="6687"/>
                      <a:pt x="4183" y="6687"/>
                      <a:pt x="4183" y="6687"/>
                    </a:cubicBezTo>
                    <a:cubicBezTo>
                      <a:pt x="4183" y="6713"/>
                      <a:pt x="4183" y="6713"/>
                      <a:pt x="4183" y="6713"/>
                    </a:cubicBezTo>
                    <a:cubicBezTo>
                      <a:pt x="4349" y="6714"/>
                      <a:pt x="4349" y="6714"/>
                      <a:pt x="4349" y="6714"/>
                    </a:cubicBezTo>
                    <a:cubicBezTo>
                      <a:pt x="4351" y="6647"/>
                      <a:pt x="4351" y="6647"/>
                      <a:pt x="4351" y="6647"/>
                    </a:cubicBezTo>
                    <a:cubicBezTo>
                      <a:pt x="4351" y="6642"/>
                      <a:pt x="4351" y="6642"/>
                      <a:pt x="4351" y="6642"/>
                    </a:cubicBezTo>
                    <a:cubicBezTo>
                      <a:pt x="4355" y="6638"/>
                      <a:pt x="4355" y="6638"/>
                      <a:pt x="4355" y="6638"/>
                    </a:cubicBezTo>
                    <a:cubicBezTo>
                      <a:pt x="4355" y="6637"/>
                      <a:pt x="4397" y="6596"/>
                      <a:pt x="4405" y="6547"/>
                    </a:cubicBezTo>
                    <a:cubicBezTo>
                      <a:pt x="4413" y="6494"/>
                      <a:pt x="4460" y="6154"/>
                      <a:pt x="4460" y="6151"/>
                    </a:cubicBezTo>
                    <a:cubicBezTo>
                      <a:pt x="4461" y="6150"/>
                      <a:pt x="4467" y="6099"/>
                      <a:pt x="4441" y="6061"/>
                    </a:cubicBezTo>
                    <a:cubicBezTo>
                      <a:pt x="4439" y="6058"/>
                      <a:pt x="4439" y="6058"/>
                      <a:pt x="4439" y="6058"/>
                    </a:cubicBezTo>
                    <a:cubicBezTo>
                      <a:pt x="4439" y="6053"/>
                      <a:pt x="4439" y="6053"/>
                      <a:pt x="4439" y="6053"/>
                    </a:cubicBezTo>
                    <a:cubicBezTo>
                      <a:pt x="4439" y="6049"/>
                      <a:pt x="4439" y="6047"/>
                      <a:pt x="4454" y="6029"/>
                    </a:cubicBezTo>
                    <a:cubicBezTo>
                      <a:pt x="4359" y="5923"/>
                      <a:pt x="4359" y="5923"/>
                      <a:pt x="4359" y="5923"/>
                    </a:cubicBezTo>
                    <a:cubicBezTo>
                      <a:pt x="4311" y="5964"/>
                      <a:pt x="4311" y="5964"/>
                      <a:pt x="4311" y="5964"/>
                    </a:cubicBezTo>
                    <a:cubicBezTo>
                      <a:pt x="4307" y="5967"/>
                      <a:pt x="4307" y="5967"/>
                      <a:pt x="4307" y="5967"/>
                    </a:cubicBezTo>
                    <a:cubicBezTo>
                      <a:pt x="4302" y="5967"/>
                      <a:pt x="4302" y="5967"/>
                      <a:pt x="4302" y="5967"/>
                    </a:cubicBezTo>
                    <a:cubicBezTo>
                      <a:pt x="4275" y="5967"/>
                      <a:pt x="4223" y="5972"/>
                      <a:pt x="4196" y="5991"/>
                    </a:cubicBezTo>
                    <a:cubicBezTo>
                      <a:pt x="4186" y="5997"/>
                      <a:pt x="4162" y="6014"/>
                      <a:pt x="4147" y="6032"/>
                    </a:cubicBezTo>
                    <a:cubicBezTo>
                      <a:pt x="4130" y="6052"/>
                      <a:pt x="4122" y="6072"/>
                      <a:pt x="4122" y="6072"/>
                    </a:cubicBezTo>
                    <a:cubicBezTo>
                      <a:pt x="4119" y="6081"/>
                      <a:pt x="4119" y="6081"/>
                      <a:pt x="4119" y="6081"/>
                    </a:cubicBezTo>
                    <a:cubicBezTo>
                      <a:pt x="4109" y="6081"/>
                      <a:pt x="4109" y="6081"/>
                      <a:pt x="4109" y="6081"/>
                    </a:cubicBezTo>
                    <a:cubicBezTo>
                      <a:pt x="4036" y="6081"/>
                      <a:pt x="4036" y="6081"/>
                      <a:pt x="4036" y="6081"/>
                    </a:cubicBezTo>
                    <a:cubicBezTo>
                      <a:pt x="4037" y="6509"/>
                      <a:pt x="4037" y="6509"/>
                      <a:pt x="4037" y="6509"/>
                    </a:cubicBezTo>
                    <a:cubicBezTo>
                      <a:pt x="4043" y="6510"/>
                      <a:pt x="4043" y="6510"/>
                      <a:pt x="4043" y="6510"/>
                    </a:cubicBezTo>
                    <a:cubicBezTo>
                      <a:pt x="4056" y="6511"/>
                      <a:pt x="4056" y="6511"/>
                      <a:pt x="4056" y="6511"/>
                    </a:cubicBezTo>
                    <a:cubicBezTo>
                      <a:pt x="4056" y="6523"/>
                      <a:pt x="4056" y="6523"/>
                      <a:pt x="4056" y="6523"/>
                    </a:cubicBezTo>
                    <a:cubicBezTo>
                      <a:pt x="4056" y="6524"/>
                      <a:pt x="4059" y="6581"/>
                      <a:pt x="4092" y="6618"/>
                    </a:cubicBezTo>
                    <a:cubicBezTo>
                      <a:pt x="4127" y="6656"/>
                      <a:pt x="4174" y="6673"/>
                      <a:pt x="4174" y="6674"/>
                    </a:cubicBezTo>
                    <a:close/>
                    <a:moveTo>
                      <a:pt x="4217" y="6635"/>
                    </a:moveTo>
                    <a:cubicBezTo>
                      <a:pt x="4122" y="6621"/>
                      <a:pt x="4102" y="6528"/>
                      <a:pt x="4105" y="6481"/>
                    </a:cubicBezTo>
                    <a:cubicBezTo>
                      <a:pt x="4107" y="6468"/>
                      <a:pt x="4144" y="6184"/>
                      <a:pt x="4155" y="6130"/>
                    </a:cubicBezTo>
                    <a:cubicBezTo>
                      <a:pt x="4166" y="6077"/>
                      <a:pt x="4211" y="6020"/>
                      <a:pt x="4283" y="6020"/>
                    </a:cubicBezTo>
                    <a:cubicBezTo>
                      <a:pt x="4288" y="6020"/>
                      <a:pt x="4294" y="6020"/>
                      <a:pt x="4299" y="6021"/>
                    </a:cubicBezTo>
                    <a:cubicBezTo>
                      <a:pt x="4391" y="6031"/>
                      <a:pt x="4414" y="6122"/>
                      <a:pt x="4414" y="6168"/>
                    </a:cubicBezTo>
                    <a:cubicBezTo>
                      <a:pt x="4414" y="6169"/>
                      <a:pt x="4414" y="6169"/>
                      <a:pt x="4414" y="6169"/>
                    </a:cubicBezTo>
                    <a:cubicBezTo>
                      <a:pt x="4414" y="6170"/>
                      <a:pt x="4414" y="6170"/>
                      <a:pt x="4414" y="6170"/>
                    </a:cubicBezTo>
                    <a:cubicBezTo>
                      <a:pt x="4365" y="6519"/>
                      <a:pt x="4365" y="6519"/>
                      <a:pt x="4365" y="6519"/>
                    </a:cubicBezTo>
                    <a:cubicBezTo>
                      <a:pt x="4356" y="6560"/>
                      <a:pt x="4318" y="6637"/>
                      <a:pt x="4238" y="6637"/>
                    </a:cubicBezTo>
                    <a:cubicBezTo>
                      <a:pt x="4231" y="6637"/>
                      <a:pt x="4224" y="6636"/>
                      <a:pt x="4217" y="6635"/>
                    </a:cubicBezTo>
                    <a:close/>
                    <a:moveTo>
                      <a:pt x="4219" y="6621"/>
                    </a:moveTo>
                    <a:cubicBezTo>
                      <a:pt x="4326" y="6637"/>
                      <a:pt x="4351" y="6517"/>
                      <a:pt x="4351" y="6517"/>
                    </a:cubicBezTo>
                    <a:cubicBezTo>
                      <a:pt x="4400" y="6168"/>
                      <a:pt x="4400" y="6168"/>
                      <a:pt x="4400" y="6168"/>
                    </a:cubicBezTo>
                    <a:cubicBezTo>
                      <a:pt x="4400" y="6168"/>
                      <a:pt x="4401" y="6047"/>
                      <a:pt x="4298" y="6035"/>
                    </a:cubicBezTo>
                    <a:cubicBezTo>
                      <a:pt x="4227" y="6026"/>
                      <a:pt x="4180" y="6079"/>
                      <a:pt x="4169" y="6133"/>
                    </a:cubicBezTo>
                    <a:cubicBezTo>
                      <a:pt x="4157" y="6187"/>
                      <a:pt x="4119" y="6482"/>
                      <a:pt x="4119" y="6482"/>
                    </a:cubicBezTo>
                    <a:cubicBezTo>
                      <a:pt x="4119" y="6482"/>
                      <a:pt x="4112" y="6605"/>
                      <a:pt x="4219" y="6621"/>
                    </a:cubicBezTo>
                    <a:close/>
                    <a:moveTo>
                      <a:pt x="4213" y="6919"/>
                    </a:moveTo>
                    <a:cubicBezTo>
                      <a:pt x="4141" y="6887"/>
                      <a:pt x="4141" y="6887"/>
                      <a:pt x="4141" y="6887"/>
                    </a:cubicBezTo>
                    <a:cubicBezTo>
                      <a:pt x="4151" y="6825"/>
                      <a:pt x="4151" y="6825"/>
                      <a:pt x="4151" y="6825"/>
                    </a:cubicBezTo>
                    <a:cubicBezTo>
                      <a:pt x="4395" y="6862"/>
                      <a:pt x="4395" y="6862"/>
                      <a:pt x="4395" y="6862"/>
                    </a:cubicBezTo>
                    <a:cubicBezTo>
                      <a:pt x="4378" y="6920"/>
                      <a:pt x="4378" y="6920"/>
                      <a:pt x="4378" y="6920"/>
                    </a:cubicBezTo>
                    <a:cubicBezTo>
                      <a:pt x="4314" y="6909"/>
                      <a:pt x="4314" y="6909"/>
                      <a:pt x="4314" y="6909"/>
                    </a:cubicBezTo>
                    <a:cubicBezTo>
                      <a:pt x="4303" y="6980"/>
                      <a:pt x="4303" y="6980"/>
                      <a:pt x="4303" y="6980"/>
                    </a:cubicBezTo>
                    <a:cubicBezTo>
                      <a:pt x="4211" y="6992"/>
                      <a:pt x="4211" y="6992"/>
                      <a:pt x="4211" y="6992"/>
                    </a:cubicBezTo>
                    <a:lnTo>
                      <a:pt x="4213" y="6919"/>
                    </a:lnTo>
                    <a:close/>
                    <a:moveTo>
                      <a:pt x="4218" y="6906"/>
                    </a:moveTo>
                    <a:cubicBezTo>
                      <a:pt x="4227" y="6910"/>
                      <a:pt x="4227" y="6910"/>
                      <a:pt x="4227" y="6910"/>
                    </a:cubicBezTo>
                    <a:cubicBezTo>
                      <a:pt x="4227" y="6919"/>
                      <a:pt x="4227" y="6919"/>
                      <a:pt x="4227" y="6919"/>
                    </a:cubicBezTo>
                    <a:cubicBezTo>
                      <a:pt x="4225" y="6976"/>
                      <a:pt x="4225" y="6976"/>
                      <a:pt x="4225" y="6976"/>
                    </a:cubicBezTo>
                    <a:cubicBezTo>
                      <a:pt x="4291" y="6967"/>
                      <a:pt x="4291" y="6967"/>
                      <a:pt x="4291" y="6967"/>
                    </a:cubicBezTo>
                    <a:cubicBezTo>
                      <a:pt x="4300" y="6907"/>
                      <a:pt x="4300" y="6907"/>
                      <a:pt x="4300" y="6907"/>
                    </a:cubicBezTo>
                    <a:cubicBezTo>
                      <a:pt x="4303" y="6893"/>
                      <a:pt x="4303" y="6893"/>
                      <a:pt x="4303" y="6893"/>
                    </a:cubicBezTo>
                    <a:cubicBezTo>
                      <a:pt x="4317" y="6895"/>
                      <a:pt x="4317" y="6895"/>
                      <a:pt x="4317" y="6895"/>
                    </a:cubicBezTo>
                    <a:cubicBezTo>
                      <a:pt x="4368" y="6904"/>
                      <a:pt x="4368" y="6904"/>
                      <a:pt x="4368" y="6904"/>
                    </a:cubicBezTo>
                    <a:cubicBezTo>
                      <a:pt x="4377" y="6874"/>
                      <a:pt x="4377" y="6874"/>
                      <a:pt x="4377" y="6874"/>
                    </a:cubicBezTo>
                    <a:cubicBezTo>
                      <a:pt x="4163" y="6841"/>
                      <a:pt x="4163" y="6841"/>
                      <a:pt x="4163" y="6841"/>
                    </a:cubicBezTo>
                    <a:cubicBezTo>
                      <a:pt x="4156" y="6879"/>
                      <a:pt x="4156" y="6879"/>
                      <a:pt x="4156" y="6879"/>
                    </a:cubicBezTo>
                    <a:lnTo>
                      <a:pt x="4218" y="6906"/>
                    </a:lnTo>
                    <a:close/>
                    <a:moveTo>
                      <a:pt x="3044" y="6320"/>
                    </a:moveTo>
                    <a:cubicBezTo>
                      <a:pt x="3096" y="6365"/>
                      <a:pt x="3096" y="6365"/>
                      <a:pt x="3096" y="6365"/>
                    </a:cubicBezTo>
                    <a:cubicBezTo>
                      <a:pt x="3091" y="6371"/>
                      <a:pt x="3091" y="6371"/>
                      <a:pt x="3091" y="6371"/>
                    </a:cubicBezTo>
                    <a:cubicBezTo>
                      <a:pt x="3051" y="6412"/>
                      <a:pt x="3051" y="6412"/>
                      <a:pt x="3051" y="6412"/>
                    </a:cubicBezTo>
                    <a:cubicBezTo>
                      <a:pt x="2994" y="6386"/>
                      <a:pt x="2994" y="6386"/>
                      <a:pt x="2994" y="6386"/>
                    </a:cubicBezTo>
                    <a:cubicBezTo>
                      <a:pt x="3007" y="6338"/>
                      <a:pt x="3007" y="6338"/>
                      <a:pt x="3007" y="6338"/>
                    </a:cubicBezTo>
                    <a:lnTo>
                      <a:pt x="3044" y="6320"/>
                    </a:lnTo>
                    <a:close/>
                    <a:moveTo>
                      <a:pt x="3075" y="6366"/>
                    </a:moveTo>
                    <a:cubicBezTo>
                      <a:pt x="3042" y="6337"/>
                      <a:pt x="3042" y="6337"/>
                      <a:pt x="3042" y="6337"/>
                    </a:cubicBezTo>
                    <a:cubicBezTo>
                      <a:pt x="3020" y="6349"/>
                      <a:pt x="3020" y="6349"/>
                      <a:pt x="3020" y="6349"/>
                    </a:cubicBezTo>
                    <a:cubicBezTo>
                      <a:pt x="3012" y="6378"/>
                      <a:pt x="3012" y="6378"/>
                      <a:pt x="3012" y="6378"/>
                    </a:cubicBezTo>
                    <a:cubicBezTo>
                      <a:pt x="3047" y="6394"/>
                      <a:pt x="3047" y="6394"/>
                      <a:pt x="3047" y="6394"/>
                    </a:cubicBezTo>
                    <a:lnTo>
                      <a:pt x="3075" y="6366"/>
                    </a:lnTo>
                    <a:close/>
                    <a:moveTo>
                      <a:pt x="3207" y="6449"/>
                    </a:moveTo>
                    <a:cubicBezTo>
                      <a:pt x="3138" y="6630"/>
                      <a:pt x="3138" y="6630"/>
                      <a:pt x="3138" y="6630"/>
                    </a:cubicBezTo>
                    <a:cubicBezTo>
                      <a:pt x="2770" y="6503"/>
                      <a:pt x="2770" y="6503"/>
                      <a:pt x="2770" y="6503"/>
                    </a:cubicBezTo>
                    <a:cubicBezTo>
                      <a:pt x="2772" y="6497"/>
                      <a:pt x="2772" y="6497"/>
                      <a:pt x="2772" y="6497"/>
                    </a:cubicBezTo>
                    <a:cubicBezTo>
                      <a:pt x="2772" y="6496"/>
                      <a:pt x="2793" y="6389"/>
                      <a:pt x="2808" y="6342"/>
                    </a:cubicBezTo>
                    <a:cubicBezTo>
                      <a:pt x="2822" y="6293"/>
                      <a:pt x="2861" y="6247"/>
                      <a:pt x="2862" y="6247"/>
                    </a:cubicBezTo>
                    <a:cubicBezTo>
                      <a:pt x="2866" y="6242"/>
                      <a:pt x="2866" y="6242"/>
                      <a:pt x="2866" y="6242"/>
                    </a:cubicBezTo>
                    <a:cubicBezTo>
                      <a:pt x="2974" y="6313"/>
                      <a:pt x="2974" y="6313"/>
                      <a:pt x="2974" y="6313"/>
                    </a:cubicBezTo>
                    <a:cubicBezTo>
                      <a:pt x="2955" y="6420"/>
                      <a:pt x="2955" y="6420"/>
                      <a:pt x="2955" y="6420"/>
                    </a:cubicBezTo>
                    <a:cubicBezTo>
                      <a:pt x="3050" y="6467"/>
                      <a:pt x="3050" y="6467"/>
                      <a:pt x="3050" y="6467"/>
                    </a:cubicBezTo>
                    <a:cubicBezTo>
                      <a:pt x="3158" y="6401"/>
                      <a:pt x="3158" y="6401"/>
                      <a:pt x="3158" y="6401"/>
                    </a:cubicBezTo>
                    <a:cubicBezTo>
                      <a:pt x="3209" y="6444"/>
                      <a:pt x="3209" y="6444"/>
                      <a:pt x="3209" y="6444"/>
                    </a:cubicBezTo>
                    <a:lnTo>
                      <a:pt x="3207" y="6449"/>
                    </a:lnTo>
                    <a:close/>
                    <a:moveTo>
                      <a:pt x="3191" y="6449"/>
                    </a:moveTo>
                    <a:cubicBezTo>
                      <a:pt x="3156" y="6420"/>
                      <a:pt x="3156" y="6420"/>
                      <a:pt x="3156" y="6420"/>
                    </a:cubicBezTo>
                    <a:cubicBezTo>
                      <a:pt x="3051" y="6484"/>
                      <a:pt x="3051" y="6484"/>
                      <a:pt x="3051" y="6484"/>
                    </a:cubicBezTo>
                    <a:cubicBezTo>
                      <a:pt x="2938" y="6429"/>
                      <a:pt x="2938" y="6429"/>
                      <a:pt x="2938" y="6429"/>
                    </a:cubicBezTo>
                    <a:cubicBezTo>
                      <a:pt x="2958" y="6320"/>
                      <a:pt x="2958" y="6320"/>
                      <a:pt x="2958" y="6320"/>
                    </a:cubicBezTo>
                    <a:cubicBezTo>
                      <a:pt x="2869" y="6261"/>
                      <a:pt x="2869" y="6261"/>
                      <a:pt x="2869" y="6261"/>
                    </a:cubicBezTo>
                    <a:cubicBezTo>
                      <a:pt x="2859" y="6274"/>
                      <a:pt x="2832" y="6310"/>
                      <a:pt x="2822" y="6346"/>
                    </a:cubicBezTo>
                    <a:cubicBezTo>
                      <a:pt x="2810" y="6385"/>
                      <a:pt x="2792" y="6469"/>
                      <a:pt x="2787" y="6493"/>
                    </a:cubicBezTo>
                    <a:cubicBezTo>
                      <a:pt x="3130" y="6611"/>
                      <a:pt x="3130" y="6611"/>
                      <a:pt x="3130" y="6611"/>
                    </a:cubicBezTo>
                    <a:lnTo>
                      <a:pt x="3191" y="6449"/>
                    </a:lnTo>
                    <a:close/>
                    <a:moveTo>
                      <a:pt x="2177" y="4201"/>
                    </a:moveTo>
                    <a:cubicBezTo>
                      <a:pt x="2247" y="4224"/>
                      <a:pt x="2247" y="4224"/>
                      <a:pt x="2247" y="4224"/>
                    </a:cubicBezTo>
                    <a:cubicBezTo>
                      <a:pt x="2239" y="4308"/>
                      <a:pt x="2239" y="4308"/>
                      <a:pt x="2239" y="4308"/>
                    </a:cubicBezTo>
                    <a:cubicBezTo>
                      <a:pt x="2001" y="4252"/>
                      <a:pt x="2001" y="4252"/>
                      <a:pt x="2001" y="4252"/>
                    </a:cubicBezTo>
                    <a:cubicBezTo>
                      <a:pt x="2048" y="4084"/>
                      <a:pt x="2048" y="4084"/>
                      <a:pt x="2048" y="4084"/>
                    </a:cubicBezTo>
                    <a:cubicBezTo>
                      <a:pt x="2185" y="4127"/>
                      <a:pt x="2185" y="4127"/>
                      <a:pt x="2185" y="4127"/>
                    </a:cubicBezTo>
                    <a:lnTo>
                      <a:pt x="2177" y="4201"/>
                    </a:lnTo>
                    <a:close/>
                    <a:moveTo>
                      <a:pt x="2173" y="4214"/>
                    </a:moveTo>
                    <a:cubicBezTo>
                      <a:pt x="2162" y="4211"/>
                      <a:pt x="2162" y="4211"/>
                      <a:pt x="2162" y="4211"/>
                    </a:cubicBezTo>
                    <a:cubicBezTo>
                      <a:pt x="2163" y="4200"/>
                      <a:pt x="2163" y="4200"/>
                      <a:pt x="2163" y="4200"/>
                    </a:cubicBezTo>
                    <a:cubicBezTo>
                      <a:pt x="2170" y="4137"/>
                      <a:pt x="2170" y="4137"/>
                      <a:pt x="2170" y="4137"/>
                    </a:cubicBezTo>
                    <a:cubicBezTo>
                      <a:pt x="2057" y="4102"/>
                      <a:pt x="2057" y="4102"/>
                      <a:pt x="2057" y="4102"/>
                    </a:cubicBezTo>
                    <a:cubicBezTo>
                      <a:pt x="2018" y="4242"/>
                      <a:pt x="2018" y="4242"/>
                      <a:pt x="2018" y="4242"/>
                    </a:cubicBezTo>
                    <a:cubicBezTo>
                      <a:pt x="2227" y="4291"/>
                      <a:pt x="2227" y="4291"/>
                      <a:pt x="2227" y="4291"/>
                    </a:cubicBezTo>
                    <a:cubicBezTo>
                      <a:pt x="2232" y="4234"/>
                      <a:pt x="2232" y="4234"/>
                      <a:pt x="2232" y="4234"/>
                    </a:cubicBezTo>
                    <a:lnTo>
                      <a:pt x="2173" y="4214"/>
                    </a:lnTo>
                    <a:close/>
                    <a:moveTo>
                      <a:pt x="2594" y="4129"/>
                    </a:moveTo>
                    <a:cubicBezTo>
                      <a:pt x="2594" y="4129"/>
                      <a:pt x="2594" y="4129"/>
                      <a:pt x="2594" y="4129"/>
                    </a:cubicBezTo>
                    <a:cubicBezTo>
                      <a:pt x="2594" y="4129"/>
                      <a:pt x="2594" y="4129"/>
                      <a:pt x="2594" y="4129"/>
                    </a:cubicBezTo>
                    <a:close/>
                    <a:moveTo>
                      <a:pt x="2798" y="3836"/>
                    </a:moveTo>
                    <a:cubicBezTo>
                      <a:pt x="2883" y="3724"/>
                      <a:pt x="2883" y="3724"/>
                      <a:pt x="2883" y="3724"/>
                    </a:cubicBezTo>
                    <a:cubicBezTo>
                      <a:pt x="3094" y="3807"/>
                      <a:pt x="3094" y="3807"/>
                      <a:pt x="3094" y="3807"/>
                    </a:cubicBezTo>
                    <a:cubicBezTo>
                      <a:pt x="3161" y="3949"/>
                      <a:pt x="3161" y="3949"/>
                      <a:pt x="3161" y="3949"/>
                    </a:cubicBezTo>
                    <a:cubicBezTo>
                      <a:pt x="3139" y="4006"/>
                      <a:pt x="3139" y="4006"/>
                      <a:pt x="3139" y="4006"/>
                    </a:cubicBezTo>
                    <a:cubicBezTo>
                      <a:pt x="3034" y="4146"/>
                      <a:pt x="3034" y="4146"/>
                      <a:pt x="3034" y="4146"/>
                    </a:cubicBezTo>
                    <a:cubicBezTo>
                      <a:pt x="2979" y="4085"/>
                      <a:pt x="2979" y="4085"/>
                      <a:pt x="2979" y="4085"/>
                    </a:cubicBezTo>
                    <a:cubicBezTo>
                      <a:pt x="3010" y="3976"/>
                      <a:pt x="3010" y="3976"/>
                      <a:pt x="3010" y="3976"/>
                    </a:cubicBezTo>
                    <a:cubicBezTo>
                      <a:pt x="2977" y="3962"/>
                      <a:pt x="2977" y="3962"/>
                      <a:pt x="2977" y="3962"/>
                    </a:cubicBezTo>
                    <a:cubicBezTo>
                      <a:pt x="2972" y="3901"/>
                      <a:pt x="2972" y="3901"/>
                      <a:pt x="2972" y="3901"/>
                    </a:cubicBezTo>
                    <a:lnTo>
                      <a:pt x="2798" y="3836"/>
                    </a:lnTo>
                    <a:close/>
                    <a:moveTo>
                      <a:pt x="2820" y="3830"/>
                    </a:moveTo>
                    <a:cubicBezTo>
                      <a:pt x="2977" y="3888"/>
                      <a:pt x="2977" y="3888"/>
                      <a:pt x="2977" y="3888"/>
                    </a:cubicBezTo>
                    <a:cubicBezTo>
                      <a:pt x="2986" y="3891"/>
                      <a:pt x="2986" y="3891"/>
                      <a:pt x="2986" y="3891"/>
                    </a:cubicBezTo>
                    <a:cubicBezTo>
                      <a:pt x="2986" y="3900"/>
                      <a:pt x="2986" y="3900"/>
                      <a:pt x="2986" y="3900"/>
                    </a:cubicBezTo>
                    <a:cubicBezTo>
                      <a:pt x="2990" y="3952"/>
                      <a:pt x="2990" y="3952"/>
                      <a:pt x="2990" y="3952"/>
                    </a:cubicBezTo>
                    <a:cubicBezTo>
                      <a:pt x="3016" y="3963"/>
                      <a:pt x="3016" y="3963"/>
                      <a:pt x="3016" y="3963"/>
                    </a:cubicBezTo>
                    <a:cubicBezTo>
                      <a:pt x="3027" y="3968"/>
                      <a:pt x="3027" y="3968"/>
                      <a:pt x="3027" y="3968"/>
                    </a:cubicBezTo>
                    <a:cubicBezTo>
                      <a:pt x="3024" y="3979"/>
                      <a:pt x="3024" y="3979"/>
                      <a:pt x="3024" y="3979"/>
                    </a:cubicBezTo>
                    <a:cubicBezTo>
                      <a:pt x="2995" y="4081"/>
                      <a:pt x="2995" y="4081"/>
                      <a:pt x="2995" y="4081"/>
                    </a:cubicBezTo>
                    <a:cubicBezTo>
                      <a:pt x="3033" y="4124"/>
                      <a:pt x="3033" y="4124"/>
                      <a:pt x="3033" y="4124"/>
                    </a:cubicBezTo>
                    <a:cubicBezTo>
                      <a:pt x="3127" y="3999"/>
                      <a:pt x="3127" y="3999"/>
                      <a:pt x="3127" y="3999"/>
                    </a:cubicBezTo>
                    <a:cubicBezTo>
                      <a:pt x="3145" y="3949"/>
                      <a:pt x="3145" y="3949"/>
                      <a:pt x="3145" y="3949"/>
                    </a:cubicBezTo>
                    <a:cubicBezTo>
                      <a:pt x="3083" y="3818"/>
                      <a:pt x="3083" y="3818"/>
                      <a:pt x="3083" y="3818"/>
                    </a:cubicBezTo>
                    <a:cubicBezTo>
                      <a:pt x="2888" y="3741"/>
                      <a:pt x="2888" y="3741"/>
                      <a:pt x="2888" y="3741"/>
                    </a:cubicBezTo>
                    <a:lnTo>
                      <a:pt x="2820" y="3830"/>
                    </a:lnTo>
                    <a:close/>
                    <a:moveTo>
                      <a:pt x="4126" y="3475"/>
                    </a:moveTo>
                    <a:cubicBezTo>
                      <a:pt x="4186" y="3533"/>
                      <a:pt x="4186" y="3533"/>
                      <a:pt x="4186" y="3533"/>
                    </a:cubicBezTo>
                    <a:cubicBezTo>
                      <a:pt x="4185" y="3538"/>
                      <a:pt x="4185" y="3538"/>
                      <a:pt x="4185" y="3538"/>
                    </a:cubicBezTo>
                    <a:cubicBezTo>
                      <a:pt x="4090" y="3773"/>
                      <a:pt x="4090" y="3773"/>
                      <a:pt x="4090" y="3773"/>
                    </a:cubicBezTo>
                    <a:cubicBezTo>
                      <a:pt x="4022" y="3790"/>
                      <a:pt x="4022" y="3790"/>
                      <a:pt x="4022" y="3790"/>
                    </a:cubicBezTo>
                    <a:cubicBezTo>
                      <a:pt x="4012" y="3735"/>
                      <a:pt x="4012" y="3735"/>
                      <a:pt x="4012" y="3735"/>
                    </a:cubicBezTo>
                    <a:cubicBezTo>
                      <a:pt x="3814" y="3777"/>
                      <a:pt x="3814" y="3777"/>
                      <a:pt x="3814" y="3777"/>
                    </a:cubicBezTo>
                    <a:cubicBezTo>
                      <a:pt x="3821" y="3854"/>
                      <a:pt x="3821" y="3854"/>
                      <a:pt x="3821" y="3854"/>
                    </a:cubicBezTo>
                    <a:cubicBezTo>
                      <a:pt x="3646" y="3905"/>
                      <a:pt x="3646" y="3905"/>
                      <a:pt x="3646" y="3905"/>
                    </a:cubicBezTo>
                    <a:cubicBezTo>
                      <a:pt x="3513" y="3743"/>
                      <a:pt x="3513" y="3743"/>
                      <a:pt x="3513" y="3743"/>
                    </a:cubicBezTo>
                    <a:cubicBezTo>
                      <a:pt x="3676" y="3666"/>
                      <a:pt x="3676" y="3666"/>
                      <a:pt x="3676" y="3666"/>
                    </a:cubicBezTo>
                    <a:cubicBezTo>
                      <a:pt x="3647" y="3629"/>
                      <a:pt x="3647" y="3629"/>
                      <a:pt x="3647" y="3629"/>
                    </a:cubicBezTo>
                    <a:cubicBezTo>
                      <a:pt x="3742" y="3582"/>
                      <a:pt x="3742" y="3582"/>
                      <a:pt x="3742" y="3582"/>
                    </a:cubicBezTo>
                    <a:cubicBezTo>
                      <a:pt x="3802" y="3619"/>
                      <a:pt x="3802" y="3619"/>
                      <a:pt x="3802" y="3619"/>
                    </a:cubicBezTo>
                    <a:cubicBezTo>
                      <a:pt x="4026" y="3570"/>
                      <a:pt x="4026" y="3570"/>
                      <a:pt x="4026" y="3570"/>
                    </a:cubicBezTo>
                    <a:cubicBezTo>
                      <a:pt x="4018" y="3514"/>
                      <a:pt x="4018" y="3514"/>
                      <a:pt x="4018" y="3514"/>
                    </a:cubicBezTo>
                    <a:lnTo>
                      <a:pt x="4126" y="3475"/>
                    </a:lnTo>
                    <a:close/>
                    <a:moveTo>
                      <a:pt x="4169" y="3537"/>
                    </a:moveTo>
                    <a:cubicBezTo>
                      <a:pt x="4122" y="3492"/>
                      <a:pt x="4122" y="3492"/>
                      <a:pt x="4122" y="3492"/>
                    </a:cubicBezTo>
                    <a:cubicBezTo>
                      <a:pt x="4034" y="3524"/>
                      <a:pt x="4034" y="3524"/>
                      <a:pt x="4034" y="3524"/>
                    </a:cubicBezTo>
                    <a:cubicBezTo>
                      <a:pt x="4043" y="3582"/>
                      <a:pt x="4043" y="3582"/>
                      <a:pt x="4043" y="3582"/>
                    </a:cubicBezTo>
                    <a:cubicBezTo>
                      <a:pt x="3800" y="3635"/>
                      <a:pt x="3800" y="3635"/>
                      <a:pt x="3800" y="3635"/>
                    </a:cubicBezTo>
                    <a:cubicBezTo>
                      <a:pt x="3741" y="3599"/>
                      <a:pt x="3741" y="3599"/>
                      <a:pt x="3741" y="3599"/>
                    </a:cubicBezTo>
                    <a:cubicBezTo>
                      <a:pt x="3670" y="3634"/>
                      <a:pt x="3670" y="3634"/>
                      <a:pt x="3670" y="3634"/>
                    </a:cubicBezTo>
                    <a:cubicBezTo>
                      <a:pt x="3699" y="3672"/>
                      <a:pt x="3699" y="3672"/>
                      <a:pt x="3699" y="3672"/>
                    </a:cubicBezTo>
                    <a:cubicBezTo>
                      <a:pt x="3536" y="3749"/>
                      <a:pt x="3536" y="3749"/>
                      <a:pt x="3536" y="3749"/>
                    </a:cubicBezTo>
                    <a:cubicBezTo>
                      <a:pt x="3652" y="3888"/>
                      <a:pt x="3652" y="3888"/>
                      <a:pt x="3652" y="3888"/>
                    </a:cubicBezTo>
                    <a:cubicBezTo>
                      <a:pt x="3805" y="3843"/>
                      <a:pt x="3805" y="3843"/>
                      <a:pt x="3805" y="3843"/>
                    </a:cubicBezTo>
                    <a:cubicBezTo>
                      <a:pt x="3798" y="3766"/>
                      <a:pt x="3798" y="3766"/>
                      <a:pt x="3798" y="3766"/>
                    </a:cubicBezTo>
                    <a:cubicBezTo>
                      <a:pt x="4023" y="3718"/>
                      <a:pt x="4023" y="3718"/>
                      <a:pt x="4023" y="3718"/>
                    </a:cubicBezTo>
                    <a:cubicBezTo>
                      <a:pt x="4034" y="3772"/>
                      <a:pt x="4034" y="3772"/>
                      <a:pt x="4034" y="3772"/>
                    </a:cubicBezTo>
                    <a:cubicBezTo>
                      <a:pt x="4079" y="3761"/>
                      <a:pt x="4079" y="3761"/>
                      <a:pt x="4079" y="3761"/>
                    </a:cubicBezTo>
                    <a:lnTo>
                      <a:pt x="4169" y="3537"/>
                    </a:lnTo>
                    <a:close/>
                    <a:moveTo>
                      <a:pt x="3164" y="3542"/>
                    </a:moveTo>
                    <a:cubicBezTo>
                      <a:pt x="3337" y="3760"/>
                      <a:pt x="3337" y="3760"/>
                      <a:pt x="3337" y="3760"/>
                    </a:cubicBezTo>
                    <a:cubicBezTo>
                      <a:pt x="3335" y="3837"/>
                      <a:pt x="3335" y="3837"/>
                      <a:pt x="3335" y="3837"/>
                    </a:cubicBezTo>
                    <a:cubicBezTo>
                      <a:pt x="3228" y="3897"/>
                      <a:pt x="3228" y="3897"/>
                      <a:pt x="3228" y="3897"/>
                    </a:cubicBezTo>
                    <a:cubicBezTo>
                      <a:pt x="3117" y="3745"/>
                      <a:pt x="3117" y="3745"/>
                      <a:pt x="3117" y="3745"/>
                    </a:cubicBezTo>
                    <a:cubicBezTo>
                      <a:pt x="2947" y="3676"/>
                      <a:pt x="2947" y="3676"/>
                      <a:pt x="2947" y="3676"/>
                    </a:cubicBezTo>
                    <a:cubicBezTo>
                      <a:pt x="2949" y="3669"/>
                      <a:pt x="2949" y="3669"/>
                      <a:pt x="2949" y="3669"/>
                    </a:cubicBezTo>
                    <a:cubicBezTo>
                      <a:pt x="2950" y="3667"/>
                      <a:pt x="2957" y="3649"/>
                      <a:pt x="3001" y="3619"/>
                    </a:cubicBezTo>
                    <a:cubicBezTo>
                      <a:pt x="3045" y="3589"/>
                      <a:pt x="3155" y="3540"/>
                      <a:pt x="3155" y="3540"/>
                    </a:cubicBezTo>
                    <a:cubicBezTo>
                      <a:pt x="3161" y="3537"/>
                      <a:pt x="3161" y="3537"/>
                      <a:pt x="3161" y="3537"/>
                    </a:cubicBezTo>
                    <a:lnTo>
                      <a:pt x="3164" y="3542"/>
                    </a:lnTo>
                    <a:close/>
                    <a:moveTo>
                      <a:pt x="3322" y="3765"/>
                    </a:moveTo>
                    <a:cubicBezTo>
                      <a:pt x="3156" y="3556"/>
                      <a:pt x="3156" y="3556"/>
                      <a:pt x="3156" y="3556"/>
                    </a:cubicBezTo>
                    <a:cubicBezTo>
                      <a:pt x="3134" y="3566"/>
                      <a:pt x="3045" y="3607"/>
                      <a:pt x="3009" y="3632"/>
                    </a:cubicBezTo>
                    <a:cubicBezTo>
                      <a:pt x="2988" y="3646"/>
                      <a:pt x="2976" y="3657"/>
                      <a:pt x="2970" y="3664"/>
                    </a:cubicBezTo>
                    <a:cubicBezTo>
                      <a:pt x="2969" y="3666"/>
                      <a:pt x="2968" y="3667"/>
                      <a:pt x="2967" y="3668"/>
                    </a:cubicBezTo>
                    <a:cubicBezTo>
                      <a:pt x="3127" y="3733"/>
                      <a:pt x="3127" y="3733"/>
                      <a:pt x="3127" y="3733"/>
                    </a:cubicBezTo>
                    <a:cubicBezTo>
                      <a:pt x="3232" y="3877"/>
                      <a:pt x="3232" y="3877"/>
                      <a:pt x="3232" y="3877"/>
                    </a:cubicBezTo>
                    <a:cubicBezTo>
                      <a:pt x="3321" y="3828"/>
                      <a:pt x="3321" y="3828"/>
                      <a:pt x="3321" y="3828"/>
                    </a:cubicBezTo>
                    <a:lnTo>
                      <a:pt x="3322" y="3765"/>
                    </a:lnTo>
                    <a:close/>
                    <a:moveTo>
                      <a:pt x="2001" y="3838"/>
                    </a:moveTo>
                    <a:cubicBezTo>
                      <a:pt x="2015" y="3876"/>
                      <a:pt x="2015" y="3876"/>
                      <a:pt x="2015" y="3876"/>
                    </a:cubicBezTo>
                    <a:cubicBezTo>
                      <a:pt x="1980" y="3959"/>
                      <a:pt x="1980" y="3959"/>
                      <a:pt x="1980" y="3959"/>
                    </a:cubicBezTo>
                    <a:cubicBezTo>
                      <a:pt x="1901" y="3874"/>
                      <a:pt x="1901" y="3874"/>
                      <a:pt x="1901" y="3874"/>
                    </a:cubicBezTo>
                    <a:lnTo>
                      <a:pt x="2001" y="3838"/>
                    </a:lnTo>
                    <a:close/>
                    <a:moveTo>
                      <a:pt x="2000" y="3875"/>
                    </a:moveTo>
                    <a:cubicBezTo>
                      <a:pt x="1993" y="3856"/>
                      <a:pt x="1993" y="3856"/>
                      <a:pt x="1993" y="3856"/>
                    </a:cubicBezTo>
                    <a:cubicBezTo>
                      <a:pt x="1926" y="3880"/>
                      <a:pt x="1926" y="3880"/>
                      <a:pt x="1926" y="3880"/>
                    </a:cubicBezTo>
                    <a:cubicBezTo>
                      <a:pt x="1976" y="3934"/>
                      <a:pt x="1976" y="3934"/>
                      <a:pt x="1976" y="3934"/>
                    </a:cubicBezTo>
                    <a:lnTo>
                      <a:pt x="2000" y="3875"/>
                    </a:lnTo>
                    <a:close/>
                    <a:moveTo>
                      <a:pt x="1770" y="3841"/>
                    </a:moveTo>
                    <a:cubicBezTo>
                      <a:pt x="1672" y="3874"/>
                      <a:pt x="1672" y="3874"/>
                      <a:pt x="1672" y="3874"/>
                    </a:cubicBezTo>
                    <a:cubicBezTo>
                      <a:pt x="1577" y="3780"/>
                      <a:pt x="1577" y="3780"/>
                      <a:pt x="1577" y="3780"/>
                    </a:cubicBezTo>
                    <a:cubicBezTo>
                      <a:pt x="1751" y="3707"/>
                      <a:pt x="1751" y="3707"/>
                      <a:pt x="1751" y="3707"/>
                    </a:cubicBezTo>
                    <a:cubicBezTo>
                      <a:pt x="1933" y="3646"/>
                      <a:pt x="1933" y="3646"/>
                      <a:pt x="1933" y="3646"/>
                    </a:cubicBezTo>
                    <a:cubicBezTo>
                      <a:pt x="1977" y="3766"/>
                      <a:pt x="1977" y="3766"/>
                      <a:pt x="1977" y="3766"/>
                    </a:cubicBezTo>
                    <a:cubicBezTo>
                      <a:pt x="1869" y="3801"/>
                      <a:pt x="1869" y="3801"/>
                      <a:pt x="1869" y="3801"/>
                    </a:cubicBezTo>
                    <a:cubicBezTo>
                      <a:pt x="1848" y="3781"/>
                      <a:pt x="1848" y="3781"/>
                      <a:pt x="1848" y="3781"/>
                    </a:cubicBezTo>
                    <a:cubicBezTo>
                      <a:pt x="1749" y="3816"/>
                      <a:pt x="1749" y="3816"/>
                      <a:pt x="1749" y="3816"/>
                    </a:cubicBezTo>
                    <a:lnTo>
                      <a:pt x="1770" y="3841"/>
                    </a:lnTo>
                    <a:close/>
                    <a:moveTo>
                      <a:pt x="1746" y="3835"/>
                    </a:moveTo>
                    <a:cubicBezTo>
                      <a:pt x="1738" y="3825"/>
                      <a:pt x="1738" y="3825"/>
                      <a:pt x="1738" y="3825"/>
                    </a:cubicBezTo>
                    <a:cubicBezTo>
                      <a:pt x="1725" y="3809"/>
                      <a:pt x="1725" y="3809"/>
                      <a:pt x="1725" y="3809"/>
                    </a:cubicBezTo>
                    <a:cubicBezTo>
                      <a:pt x="1744" y="3802"/>
                      <a:pt x="1744" y="3802"/>
                      <a:pt x="1744" y="3802"/>
                    </a:cubicBezTo>
                    <a:cubicBezTo>
                      <a:pt x="1844" y="3768"/>
                      <a:pt x="1844" y="3768"/>
                      <a:pt x="1844" y="3768"/>
                    </a:cubicBezTo>
                    <a:cubicBezTo>
                      <a:pt x="1852" y="3765"/>
                      <a:pt x="1852" y="3765"/>
                      <a:pt x="1852" y="3765"/>
                    </a:cubicBezTo>
                    <a:cubicBezTo>
                      <a:pt x="1858" y="3771"/>
                      <a:pt x="1858" y="3771"/>
                      <a:pt x="1858" y="3771"/>
                    </a:cubicBezTo>
                    <a:cubicBezTo>
                      <a:pt x="1873" y="3785"/>
                      <a:pt x="1873" y="3785"/>
                      <a:pt x="1873" y="3785"/>
                    </a:cubicBezTo>
                    <a:cubicBezTo>
                      <a:pt x="1959" y="3757"/>
                      <a:pt x="1959" y="3757"/>
                      <a:pt x="1959" y="3757"/>
                    </a:cubicBezTo>
                    <a:cubicBezTo>
                      <a:pt x="1924" y="3664"/>
                      <a:pt x="1924" y="3664"/>
                      <a:pt x="1924" y="3664"/>
                    </a:cubicBezTo>
                    <a:cubicBezTo>
                      <a:pt x="1755" y="3720"/>
                      <a:pt x="1755" y="3720"/>
                      <a:pt x="1755" y="3720"/>
                    </a:cubicBezTo>
                    <a:cubicBezTo>
                      <a:pt x="1601" y="3785"/>
                      <a:pt x="1601" y="3785"/>
                      <a:pt x="1601" y="3785"/>
                    </a:cubicBezTo>
                    <a:cubicBezTo>
                      <a:pt x="1675" y="3859"/>
                      <a:pt x="1675" y="3859"/>
                      <a:pt x="1675" y="3859"/>
                    </a:cubicBezTo>
                    <a:lnTo>
                      <a:pt x="1746" y="3835"/>
                    </a:lnTo>
                    <a:close/>
                    <a:moveTo>
                      <a:pt x="2075" y="4000"/>
                    </a:moveTo>
                    <a:cubicBezTo>
                      <a:pt x="2118" y="3871"/>
                      <a:pt x="2118" y="3871"/>
                      <a:pt x="2118" y="3871"/>
                    </a:cubicBezTo>
                    <a:cubicBezTo>
                      <a:pt x="2397" y="3875"/>
                      <a:pt x="2397" y="3875"/>
                      <a:pt x="2397" y="3875"/>
                    </a:cubicBezTo>
                    <a:cubicBezTo>
                      <a:pt x="2362" y="3955"/>
                      <a:pt x="2362" y="3955"/>
                      <a:pt x="2362" y="3955"/>
                    </a:cubicBezTo>
                    <a:cubicBezTo>
                      <a:pt x="2240" y="3952"/>
                      <a:pt x="2240" y="3952"/>
                      <a:pt x="2240" y="3952"/>
                    </a:cubicBezTo>
                    <a:cubicBezTo>
                      <a:pt x="2218" y="4038"/>
                      <a:pt x="2218" y="4038"/>
                      <a:pt x="2218" y="4038"/>
                    </a:cubicBezTo>
                    <a:lnTo>
                      <a:pt x="2075" y="4000"/>
                    </a:lnTo>
                    <a:close/>
                    <a:moveTo>
                      <a:pt x="2093" y="3990"/>
                    </a:moveTo>
                    <a:cubicBezTo>
                      <a:pt x="2208" y="4021"/>
                      <a:pt x="2208" y="4021"/>
                      <a:pt x="2208" y="4021"/>
                    </a:cubicBezTo>
                    <a:cubicBezTo>
                      <a:pt x="2227" y="3949"/>
                      <a:pt x="2227" y="3949"/>
                      <a:pt x="2227" y="3949"/>
                    </a:cubicBezTo>
                    <a:cubicBezTo>
                      <a:pt x="2230" y="3938"/>
                      <a:pt x="2230" y="3938"/>
                      <a:pt x="2230" y="3938"/>
                    </a:cubicBezTo>
                    <a:cubicBezTo>
                      <a:pt x="2241" y="3938"/>
                      <a:pt x="2241" y="3938"/>
                      <a:pt x="2241" y="3938"/>
                    </a:cubicBezTo>
                    <a:cubicBezTo>
                      <a:pt x="2353" y="3941"/>
                      <a:pt x="2353" y="3941"/>
                      <a:pt x="2353" y="3941"/>
                    </a:cubicBezTo>
                    <a:cubicBezTo>
                      <a:pt x="2376" y="3889"/>
                      <a:pt x="2376" y="3889"/>
                      <a:pt x="2376" y="3889"/>
                    </a:cubicBezTo>
                    <a:cubicBezTo>
                      <a:pt x="2128" y="3885"/>
                      <a:pt x="2128" y="3885"/>
                      <a:pt x="2128" y="3885"/>
                    </a:cubicBezTo>
                    <a:lnTo>
                      <a:pt x="2093" y="3990"/>
                    </a:lnTo>
                    <a:close/>
                    <a:moveTo>
                      <a:pt x="2621" y="4114"/>
                    </a:moveTo>
                    <a:cubicBezTo>
                      <a:pt x="2689" y="3998"/>
                      <a:pt x="2760" y="3966"/>
                      <a:pt x="2801" y="3966"/>
                    </a:cubicBezTo>
                    <a:cubicBezTo>
                      <a:pt x="2812" y="3966"/>
                      <a:pt x="2820" y="3968"/>
                      <a:pt x="2827" y="3972"/>
                    </a:cubicBezTo>
                    <a:cubicBezTo>
                      <a:pt x="2840" y="3981"/>
                      <a:pt x="2848" y="3991"/>
                      <a:pt x="2849" y="4031"/>
                    </a:cubicBezTo>
                    <a:cubicBezTo>
                      <a:pt x="2849" y="4031"/>
                      <a:pt x="2849" y="4032"/>
                      <a:pt x="2849" y="4033"/>
                    </a:cubicBezTo>
                    <a:cubicBezTo>
                      <a:pt x="2849" y="4075"/>
                      <a:pt x="2806" y="4111"/>
                      <a:pt x="2795" y="4149"/>
                    </a:cubicBezTo>
                    <a:cubicBezTo>
                      <a:pt x="2790" y="4168"/>
                      <a:pt x="2789" y="4196"/>
                      <a:pt x="2789" y="4220"/>
                    </a:cubicBezTo>
                    <a:cubicBezTo>
                      <a:pt x="2789" y="4245"/>
                      <a:pt x="2790" y="4266"/>
                      <a:pt x="2790" y="4266"/>
                    </a:cubicBezTo>
                    <a:cubicBezTo>
                      <a:pt x="2778" y="4340"/>
                      <a:pt x="2710" y="4361"/>
                      <a:pt x="2653" y="4386"/>
                    </a:cubicBezTo>
                    <a:cubicBezTo>
                      <a:pt x="2595" y="4411"/>
                      <a:pt x="2543" y="4414"/>
                      <a:pt x="2543" y="4414"/>
                    </a:cubicBezTo>
                    <a:cubicBezTo>
                      <a:pt x="2536" y="4414"/>
                      <a:pt x="2536" y="4414"/>
                      <a:pt x="2536" y="4414"/>
                    </a:cubicBezTo>
                    <a:cubicBezTo>
                      <a:pt x="2539" y="4408"/>
                      <a:pt x="2539" y="4408"/>
                      <a:pt x="2539" y="4408"/>
                    </a:cubicBezTo>
                    <a:cubicBezTo>
                      <a:pt x="2539" y="4407"/>
                      <a:pt x="2543" y="4399"/>
                      <a:pt x="2572" y="4372"/>
                    </a:cubicBezTo>
                    <a:cubicBezTo>
                      <a:pt x="2625" y="4323"/>
                      <a:pt x="2615" y="4235"/>
                      <a:pt x="2620" y="4217"/>
                    </a:cubicBezTo>
                    <a:cubicBezTo>
                      <a:pt x="2620" y="4215"/>
                      <a:pt x="2621" y="4214"/>
                      <a:pt x="2621" y="4212"/>
                    </a:cubicBezTo>
                    <a:cubicBezTo>
                      <a:pt x="2621" y="4200"/>
                      <a:pt x="2614" y="4178"/>
                      <a:pt x="2614" y="4153"/>
                    </a:cubicBezTo>
                    <a:cubicBezTo>
                      <a:pt x="2614" y="4140"/>
                      <a:pt x="2616" y="4127"/>
                      <a:pt x="2621" y="4114"/>
                    </a:cubicBezTo>
                    <a:close/>
                    <a:moveTo>
                      <a:pt x="2622" y="4153"/>
                    </a:moveTo>
                    <a:cubicBezTo>
                      <a:pt x="2622" y="4176"/>
                      <a:pt x="2629" y="4198"/>
                      <a:pt x="2629" y="4212"/>
                    </a:cubicBezTo>
                    <a:cubicBezTo>
                      <a:pt x="2629" y="4214"/>
                      <a:pt x="2629" y="4217"/>
                      <a:pt x="2628" y="4219"/>
                    </a:cubicBezTo>
                    <a:cubicBezTo>
                      <a:pt x="2624" y="4232"/>
                      <a:pt x="2635" y="4326"/>
                      <a:pt x="2577" y="4378"/>
                    </a:cubicBezTo>
                    <a:cubicBezTo>
                      <a:pt x="2563" y="4391"/>
                      <a:pt x="2556" y="4400"/>
                      <a:pt x="2551" y="4405"/>
                    </a:cubicBezTo>
                    <a:cubicBezTo>
                      <a:pt x="2568" y="4403"/>
                      <a:pt x="2607" y="4397"/>
                      <a:pt x="2650" y="4378"/>
                    </a:cubicBezTo>
                    <a:cubicBezTo>
                      <a:pt x="2708" y="4353"/>
                      <a:pt x="2771" y="4333"/>
                      <a:pt x="2782" y="4266"/>
                    </a:cubicBezTo>
                    <a:cubicBezTo>
                      <a:pt x="2782" y="4266"/>
                      <a:pt x="2781" y="4245"/>
                      <a:pt x="2781" y="4220"/>
                    </a:cubicBezTo>
                    <a:cubicBezTo>
                      <a:pt x="2781" y="4196"/>
                      <a:pt x="2782" y="4167"/>
                      <a:pt x="2787" y="4147"/>
                    </a:cubicBezTo>
                    <a:cubicBezTo>
                      <a:pt x="2799" y="4106"/>
                      <a:pt x="2842" y="4069"/>
                      <a:pt x="2841" y="4033"/>
                    </a:cubicBezTo>
                    <a:cubicBezTo>
                      <a:pt x="2841" y="4032"/>
                      <a:pt x="2841" y="4032"/>
                      <a:pt x="2841" y="4031"/>
                    </a:cubicBezTo>
                    <a:cubicBezTo>
                      <a:pt x="2839" y="3991"/>
                      <a:pt x="2834" y="3987"/>
                      <a:pt x="2822" y="3979"/>
                    </a:cubicBezTo>
                    <a:cubicBezTo>
                      <a:pt x="2818" y="3976"/>
                      <a:pt x="2810" y="3974"/>
                      <a:pt x="2801" y="3974"/>
                    </a:cubicBezTo>
                    <a:cubicBezTo>
                      <a:pt x="2764" y="3974"/>
                      <a:pt x="2695" y="4004"/>
                      <a:pt x="2628" y="4118"/>
                    </a:cubicBezTo>
                    <a:cubicBezTo>
                      <a:pt x="2624" y="4129"/>
                      <a:pt x="2622" y="4141"/>
                      <a:pt x="2622" y="4153"/>
                    </a:cubicBezTo>
                    <a:close/>
                    <a:moveTo>
                      <a:pt x="4712" y="3760"/>
                    </a:moveTo>
                    <a:cubicBezTo>
                      <a:pt x="4691" y="3613"/>
                      <a:pt x="4691" y="3613"/>
                      <a:pt x="4691" y="3613"/>
                    </a:cubicBezTo>
                    <a:cubicBezTo>
                      <a:pt x="4794" y="3599"/>
                      <a:pt x="4794" y="3599"/>
                      <a:pt x="4794" y="3599"/>
                    </a:cubicBezTo>
                    <a:cubicBezTo>
                      <a:pt x="4815" y="3745"/>
                      <a:pt x="4815" y="3745"/>
                      <a:pt x="4815" y="3745"/>
                    </a:cubicBezTo>
                    <a:cubicBezTo>
                      <a:pt x="4809" y="3746"/>
                      <a:pt x="4809" y="3746"/>
                      <a:pt x="4809" y="3746"/>
                    </a:cubicBezTo>
                    <a:lnTo>
                      <a:pt x="4712" y="3760"/>
                    </a:lnTo>
                    <a:close/>
                    <a:moveTo>
                      <a:pt x="4706" y="3624"/>
                    </a:moveTo>
                    <a:cubicBezTo>
                      <a:pt x="4723" y="3745"/>
                      <a:pt x="4723" y="3745"/>
                      <a:pt x="4723" y="3745"/>
                    </a:cubicBezTo>
                    <a:cubicBezTo>
                      <a:pt x="4800" y="3734"/>
                      <a:pt x="4800" y="3734"/>
                      <a:pt x="4800" y="3734"/>
                    </a:cubicBezTo>
                    <a:cubicBezTo>
                      <a:pt x="4783" y="3613"/>
                      <a:pt x="4783" y="3613"/>
                      <a:pt x="4783" y="3613"/>
                    </a:cubicBezTo>
                    <a:lnTo>
                      <a:pt x="4706" y="3624"/>
                    </a:lnTo>
                    <a:close/>
                    <a:moveTo>
                      <a:pt x="4905" y="3036"/>
                    </a:moveTo>
                    <a:cubicBezTo>
                      <a:pt x="4930" y="3137"/>
                      <a:pt x="4930" y="3137"/>
                      <a:pt x="4930" y="3137"/>
                    </a:cubicBezTo>
                    <a:cubicBezTo>
                      <a:pt x="4786" y="3172"/>
                      <a:pt x="4786" y="3172"/>
                      <a:pt x="4786" y="3172"/>
                    </a:cubicBezTo>
                    <a:cubicBezTo>
                      <a:pt x="4784" y="3165"/>
                      <a:pt x="4784" y="3165"/>
                      <a:pt x="4784" y="3165"/>
                    </a:cubicBezTo>
                    <a:cubicBezTo>
                      <a:pt x="4761" y="3070"/>
                      <a:pt x="4761" y="3070"/>
                      <a:pt x="4761" y="3070"/>
                    </a:cubicBezTo>
                    <a:lnTo>
                      <a:pt x="4905" y="3036"/>
                    </a:lnTo>
                    <a:close/>
                    <a:moveTo>
                      <a:pt x="4914" y="3128"/>
                    </a:moveTo>
                    <a:cubicBezTo>
                      <a:pt x="4896" y="3051"/>
                      <a:pt x="4896" y="3051"/>
                      <a:pt x="4896" y="3051"/>
                    </a:cubicBezTo>
                    <a:cubicBezTo>
                      <a:pt x="4777" y="3080"/>
                      <a:pt x="4777" y="3080"/>
                      <a:pt x="4777" y="3080"/>
                    </a:cubicBezTo>
                    <a:cubicBezTo>
                      <a:pt x="4795" y="3156"/>
                      <a:pt x="4795" y="3156"/>
                      <a:pt x="4795" y="3156"/>
                    </a:cubicBezTo>
                    <a:lnTo>
                      <a:pt x="4914" y="3128"/>
                    </a:lnTo>
                    <a:close/>
                    <a:moveTo>
                      <a:pt x="2891" y="6216"/>
                    </a:moveTo>
                    <a:cubicBezTo>
                      <a:pt x="2889" y="6211"/>
                      <a:pt x="2889" y="6211"/>
                      <a:pt x="2889" y="6211"/>
                    </a:cubicBezTo>
                    <a:cubicBezTo>
                      <a:pt x="2894" y="6207"/>
                      <a:pt x="2894" y="6207"/>
                      <a:pt x="2894" y="6207"/>
                    </a:cubicBezTo>
                    <a:cubicBezTo>
                      <a:pt x="2933" y="6178"/>
                      <a:pt x="3058" y="6159"/>
                      <a:pt x="3058" y="6159"/>
                    </a:cubicBezTo>
                    <a:cubicBezTo>
                      <a:pt x="3061" y="6158"/>
                      <a:pt x="3061" y="6158"/>
                      <a:pt x="3061" y="6158"/>
                    </a:cubicBezTo>
                    <a:cubicBezTo>
                      <a:pt x="3279" y="6305"/>
                      <a:pt x="3279" y="6305"/>
                      <a:pt x="3279" y="6305"/>
                    </a:cubicBezTo>
                    <a:cubicBezTo>
                      <a:pt x="3276" y="6311"/>
                      <a:pt x="3276" y="6311"/>
                      <a:pt x="3276" y="6311"/>
                    </a:cubicBezTo>
                    <a:cubicBezTo>
                      <a:pt x="3225" y="6417"/>
                      <a:pt x="3225" y="6417"/>
                      <a:pt x="3225" y="6417"/>
                    </a:cubicBezTo>
                    <a:cubicBezTo>
                      <a:pt x="3077" y="6255"/>
                      <a:pt x="3077" y="6255"/>
                      <a:pt x="3077" y="6255"/>
                    </a:cubicBezTo>
                    <a:cubicBezTo>
                      <a:pt x="3000" y="6283"/>
                      <a:pt x="3000" y="6283"/>
                      <a:pt x="3000" y="6283"/>
                    </a:cubicBezTo>
                    <a:cubicBezTo>
                      <a:pt x="2997" y="6281"/>
                      <a:pt x="2997" y="6281"/>
                      <a:pt x="2997" y="6281"/>
                    </a:cubicBezTo>
                    <a:cubicBezTo>
                      <a:pt x="2997" y="6281"/>
                      <a:pt x="2972" y="6267"/>
                      <a:pt x="2946" y="6252"/>
                    </a:cubicBezTo>
                    <a:cubicBezTo>
                      <a:pt x="2933" y="6244"/>
                      <a:pt x="2921" y="6237"/>
                      <a:pt x="2911" y="6231"/>
                    </a:cubicBezTo>
                    <a:cubicBezTo>
                      <a:pt x="2906" y="6228"/>
                      <a:pt x="2902" y="6225"/>
                      <a:pt x="2899" y="6223"/>
                    </a:cubicBezTo>
                    <a:cubicBezTo>
                      <a:pt x="2897" y="6222"/>
                      <a:pt x="2896" y="6221"/>
                      <a:pt x="2895" y="6221"/>
                    </a:cubicBezTo>
                    <a:cubicBezTo>
                      <a:pt x="2894" y="6219"/>
                      <a:pt x="2893" y="6220"/>
                      <a:pt x="2891" y="6216"/>
                    </a:cubicBezTo>
                    <a:close/>
                    <a:moveTo>
                      <a:pt x="2911" y="6214"/>
                    </a:moveTo>
                    <a:cubicBezTo>
                      <a:pt x="2921" y="6220"/>
                      <a:pt x="2939" y="6231"/>
                      <a:pt x="2956" y="6240"/>
                    </a:cubicBezTo>
                    <a:cubicBezTo>
                      <a:pt x="2975" y="6252"/>
                      <a:pt x="2994" y="6263"/>
                      <a:pt x="3001" y="6267"/>
                    </a:cubicBezTo>
                    <a:cubicBezTo>
                      <a:pt x="3081" y="6238"/>
                      <a:pt x="3081" y="6238"/>
                      <a:pt x="3081" y="6238"/>
                    </a:cubicBezTo>
                    <a:cubicBezTo>
                      <a:pt x="3221" y="6391"/>
                      <a:pt x="3221" y="6391"/>
                      <a:pt x="3221" y="6391"/>
                    </a:cubicBezTo>
                    <a:cubicBezTo>
                      <a:pt x="3260" y="6310"/>
                      <a:pt x="3260" y="6310"/>
                      <a:pt x="3260" y="6310"/>
                    </a:cubicBezTo>
                    <a:cubicBezTo>
                      <a:pt x="3058" y="6174"/>
                      <a:pt x="3058" y="6174"/>
                      <a:pt x="3058" y="6174"/>
                    </a:cubicBezTo>
                    <a:cubicBezTo>
                      <a:pt x="3049" y="6175"/>
                      <a:pt x="3023" y="6180"/>
                      <a:pt x="2994" y="6187"/>
                    </a:cubicBezTo>
                    <a:cubicBezTo>
                      <a:pt x="2964" y="6194"/>
                      <a:pt x="2930" y="6204"/>
                      <a:pt x="2911" y="6214"/>
                    </a:cubicBezTo>
                    <a:close/>
                    <a:moveTo>
                      <a:pt x="4505" y="3733"/>
                    </a:moveTo>
                    <a:cubicBezTo>
                      <a:pt x="4506" y="3734"/>
                      <a:pt x="4508" y="3736"/>
                      <a:pt x="4508" y="3738"/>
                    </a:cubicBezTo>
                    <a:cubicBezTo>
                      <a:pt x="4506" y="3745"/>
                      <a:pt x="4505" y="3744"/>
                      <a:pt x="4504" y="3746"/>
                    </a:cubicBezTo>
                    <a:cubicBezTo>
                      <a:pt x="4497" y="3751"/>
                      <a:pt x="4476" y="3761"/>
                      <a:pt x="4475" y="3762"/>
                    </a:cubicBezTo>
                    <a:cubicBezTo>
                      <a:pt x="4472" y="3763"/>
                      <a:pt x="4472" y="3763"/>
                      <a:pt x="4472" y="3763"/>
                    </a:cubicBezTo>
                    <a:cubicBezTo>
                      <a:pt x="4284" y="3649"/>
                      <a:pt x="4284" y="3649"/>
                      <a:pt x="4284" y="3649"/>
                    </a:cubicBezTo>
                    <a:cubicBezTo>
                      <a:pt x="4409" y="3560"/>
                      <a:pt x="4409" y="3560"/>
                      <a:pt x="4409" y="3560"/>
                    </a:cubicBezTo>
                    <a:lnTo>
                      <a:pt x="4505" y="3733"/>
                    </a:lnTo>
                    <a:close/>
                    <a:moveTo>
                      <a:pt x="4490" y="3737"/>
                    </a:moveTo>
                    <a:cubicBezTo>
                      <a:pt x="4404" y="3581"/>
                      <a:pt x="4404" y="3581"/>
                      <a:pt x="4404" y="3581"/>
                    </a:cubicBezTo>
                    <a:cubicBezTo>
                      <a:pt x="4310" y="3648"/>
                      <a:pt x="4310" y="3648"/>
                      <a:pt x="4310" y="3648"/>
                    </a:cubicBezTo>
                    <a:cubicBezTo>
                      <a:pt x="4472" y="3746"/>
                      <a:pt x="4472" y="3746"/>
                      <a:pt x="4472" y="3746"/>
                    </a:cubicBezTo>
                    <a:cubicBezTo>
                      <a:pt x="4475" y="3745"/>
                      <a:pt x="4479" y="3743"/>
                      <a:pt x="4483" y="3741"/>
                    </a:cubicBezTo>
                    <a:cubicBezTo>
                      <a:pt x="4485" y="3740"/>
                      <a:pt x="4488" y="3738"/>
                      <a:pt x="4490" y="3737"/>
                    </a:cubicBezTo>
                    <a:close/>
                    <a:moveTo>
                      <a:pt x="4618" y="3768"/>
                    </a:moveTo>
                    <a:cubicBezTo>
                      <a:pt x="4613" y="3771"/>
                      <a:pt x="4613" y="3771"/>
                      <a:pt x="4613" y="3771"/>
                    </a:cubicBezTo>
                    <a:cubicBezTo>
                      <a:pt x="4484" y="3846"/>
                      <a:pt x="4484" y="3846"/>
                      <a:pt x="4484" y="3846"/>
                    </a:cubicBezTo>
                    <a:cubicBezTo>
                      <a:pt x="4198" y="3766"/>
                      <a:pt x="4198" y="3766"/>
                      <a:pt x="4198" y="3766"/>
                    </a:cubicBezTo>
                    <a:cubicBezTo>
                      <a:pt x="4273" y="3584"/>
                      <a:pt x="4273" y="3584"/>
                      <a:pt x="4273" y="3584"/>
                    </a:cubicBezTo>
                    <a:cubicBezTo>
                      <a:pt x="4358" y="3524"/>
                      <a:pt x="4358" y="3524"/>
                      <a:pt x="4358" y="3524"/>
                    </a:cubicBezTo>
                    <a:cubicBezTo>
                      <a:pt x="4527" y="3508"/>
                      <a:pt x="4527" y="3508"/>
                      <a:pt x="4527" y="3508"/>
                    </a:cubicBezTo>
                    <a:lnTo>
                      <a:pt x="4618" y="3768"/>
                    </a:lnTo>
                    <a:close/>
                    <a:moveTo>
                      <a:pt x="4600" y="3762"/>
                    </a:moveTo>
                    <a:cubicBezTo>
                      <a:pt x="4517" y="3524"/>
                      <a:pt x="4517" y="3524"/>
                      <a:pt x="4517" y="3524"/>
                    </a:cubicBezTo>
                    <a:cubicBezTo>
                      <a:pt x="4363" y="3539"/>
                      <a:pt x="4363" y="3539"/>
                      <a:pt x="4363" y="3539"/>
                    </a:cubicBezTo>
                    <a:cubicBezTo>
                      <a:pt x="4285" y="3593"/>
                      <a:pt x="4285" y="3593"/>
                      <a:pt x="4285" y="3593"/>
                    </a:cubicBezTo>
                    <a:cubicBezTo>
                      <a:pt x="4218" y="3757"/>
                      <a:pt x="4218" y="3757"/>
                      <a:pt x="4218" y="3757"/>
                    </a:cubicBezTo>
                    <a:cubicBezTo>
                      <a:pt x="4482" y="3830"/>
                      <a:pt x="4482" y="3830"/>
                      <a:pt x="4482" y="3830"/>
                    </a:cubicBezTo>
                    <a:lnTo>
                      <a:pt x="4600" y="3762"/>
                    </a:lnTo>
                    <a:close/>
                    <a:moveTo>
                      <a:pt x="4704" y="3078"/>
                    </a:moveTo>
                    <a:cubicBezTo>
                      <a:pt x="4728" y="3180"/>
                      <a:pt x="4728" y="3180"/>
                      <a:pt x="4728" y="3180"/>
                    </a:cubicBezTo>
                    <a:cubicBezTo>
                      <a:pt x="4584" y="3214"/>
                      <a:pt x="4584" y="3214"/>
                      <a:pt x="4584" y="3214"/>
                    </a:cubicBezTo>
                    <a:cubicBezTo>
                      <a:pt x="4583" y="3208"/>
                      <a:pt x="4583" y="3208"/>
                      <a:pt x="4583" y="3208"/>
                    </a:cubicBezTo>
                    <a:cubicBezTo>
                      <a:pt x="4560" y="3113"/>
                      <a:pt x="4560" y="3113"/>
                      <a:pt x="4560" y="3113"/>
                    </a:cubicBezTo>
                    <a:lnTo>
                      <a:pt x="4704" y="3078"/>
                    </a:lnTo>
                    <a:close/>
                    <a:moveTo>
                      <a:pt x="4713" y="3170"/>
                    </a:moveTo>
                    <a:cubicBezTo>
                      <a:pt x="4694" y="3094"/>
                      <a:pt x="4694" y="3094"/>
                      <a:pt x="4694" y="3094"/>
                    </a:cubicBezTo>
                    <a:cubicBezTo>
                      <a:pt x="4575" y="3122"/>
                      <a:pt x="4575" y="3122"/>
                      <a:pt x="4575" y="3122"/>
                    </a:cubicBezTo>
                    <a:cubicBezTo>
                      <a:pt x="4594" y="3199"/>
                      <a:pt x="4594" y="3199"/>
                      <a:pt x="4594" y="3199"/>
                    </a:cubicBezTo>
                    <a:lnTo>
                      <a:pt x="4713" y="3170"/>
                    </a:lnTo>
                    <a:close/>
                    <a:moveTo>
                      <a:pt x="4332" y="3180"/>
                    </a:moveTo>
                    <a:cubicBezTo>
                      <a:pt x="4356" y="3282"/>
                      <a:pt x="4356" y="3282"/>
                      <a:pt x="4356" y="3282"/>
                    </a:cubicBezTo>
                    <a:cubicBezTo>
                      <a:pt x="4213" y="3316"/>
                      <a:pt x="4213" y="3316"/>
                      <a:pt x="4213" y="3316"/>
                    </a:cubicBezTo>
                    <a:cubicBezTo>
                      <a:pt x="4211" y="3310"/>
                      <a:pt x="4211" y="3310"/>
                      <a:pt x="4211" y="3310"/>
                    </a:cubicBezTo>
                    <a:cubicBezTo>
                      <a:pt x="4188" y="3215"/>
                      <a:pt x="4188" y="3215"/>
                      <a:pt x="4188" y="3215"/>
                    </a:cubicBezTo>
                    <a:lnTo>
                      <a:pt x="4332" y="3180"/>
                    </a:lnTo>
                    <a:close/>
                    <a:moveTo>
                      <a:pt x="4341" y="3272"/>
                    </a:moveTo>
                    <a:cubicBezTo>
                      <a:pt x="4322" y="3196"/>
                      <a:pt x="4322" y="3196"/>
                      <a:pt x="4322" y="3196"/>
                    </a:cubicBezTo>
                    <a:cubicBezTo>
                      <a:pt x="4204" y="3224"/>
                      <a:pt x="4204" y="3224"/>
                      <a:pt x="4204" y="3224"/>
                    </a:cubicBezTo>
                    <a:cubicBezTo>
                      <a:pt x="4222" y="3301"/>
                      <a:pt x="4222" y="3301"/>
                      <a:pt x="4222" y="3301"/>
                    </a:cubicBezTo>
                    <a:lnTo>
                      <a:pt x="4341" y="3272"/>
                    </a:lnTo>
                    <a:close/>
                    <a:moveTo>
                      <a:pt x="3596" y="3646"/>
                    </a:moveTo>
                    <a:cubicBezTo>
                      <a:pt x="3455" y="3697"/>
                      <a:pt x="3455" y="3697"/>
                      <a:pt x="3455" y="3697"/>
                    </a:cubicBezTo>
                    <a:cubicBezTo>
                      <a:pt x="3302" y="3490"/>
                      <a:pt x="3302" y="3490"/>
                      <a:pt x="3302" y="3490"/>
                    </a:cubicBezTo>
                    <a:cubicBezTo>
                      <a:pt x="4098" y="3250"/>
                      <a:pt x="4098" y="3250"/>
                      <a:pt x="4098" y="3250"/>
                    </a:cubicBezTo>
                    <a:cubicBezTo>
                      <a:pt x="4098" y="3260"/>
                      <a:pt x="4098" y="3260"/>
                      <a:pt x="4098" y="3260"/>
                    </a:cubicBezTo>
                    <a:cubicBezTo>
                      <a:pt x="4097" y="3354"/>
                      <a:pt x="4097" y="3354"/>
                      <a:pt x="4097" y="3354"/>
                    </a:cubicBezTo>
                    <a:cubicBezTo>
                      <a:pt x="3967" y="3393"/>
                      <a:pt x="3967" y="3393"/>
                      <a:pt x="3967" y="3393"/>
                    </a:cubicBezTo>
                    <a:cubicBezTo>
                      <a:pt x="3986" y="3489"/>
                      <a:pt x="3986" y="3489"/>
                      <a:pt x="3986" y="3489"/>
                    </a:cubicBezTo>
                    <a:cubicBezTo>
                      <a:pt x="3772" y="3536"/>
                      <a:pt x="3772" y="3536"/>
                      <a:pt x="3772" y="3536"/>
                    </a:cubicBezTo>
                    <a:cubicBezTo>
                      <a:pt x="3719" y="3484"/>
                      <a:pt x="3719" y="3484"/>
                      <a:pt x="3719" y="3484"/>
                    </a:cubicBezTo>
                    <a:cubicBezTo>
                      <a:pt x="3573" y="3600"/>
                      <a:pt x="3573" y="3600"/>
                      <a:pt x="3573" y="3600"/>
                    </a:cubicBezTo>
                    <a:lnTo>
                      <a:pt x="3596" y="3646"/>
                    </a:lnTo>
                    <a:close/>
                    <a:moveTo>
                      <a:pt x="3460" y="3680"/>
                    </a:moveTo>
                    <a:cubicBezTo>
                      <a:pt x="3576" y="3638"/>
                      <a:pt x="3576" y="3638"/>
                      <a:pt x="3576" y="3638"/>
                    </a:cubicBezTo>
                    <a:cubicBezTo>
                      <a:pt x="3555" y="3596"/>
                      <a:pt x="3555" y="3596"/>
                      <a:pt x="3555" y="3596"/>
                    </a:cubicBezTo>
                    <a:cubicBezTo>
                      <a:pt x="3720" y="3464"/>
                      <a:pt x="3720" y="3464"/>
                      <a:pt x="3720" y="3464"/>
                    </a:cubicBezTo>
                    <a:cubicBezTo>
                      <a:pt x="3777" y="3520"/>
                      <a:pt x="3777" y="3520"/>
                      <a:pt x="3777" y="3520"/>
                    </a:cubicBezTo>
                    <a:cubicBezTo>
                      <a:pt x="3969" y="3478"/>
                      <a:pt x="3969" y="3478"/>
                      <a:pt x="3969" y="3478"/>
                    </a:cubicBezTo>
                    <a:cubicBezTo>
                      <a:pt x="3950" y="3382"/>
                      <a:pt x="3950" y="3382"/>
                      <a:pt x="3950" y="3382"/>
                    </a:cubicBezTo>
                    <a:cubicBezTo>
                      <a:pt x="4082" y="3343"/>
                      <a:pt x="4082" y="3343"/>
                      <a:pt x="4082" y="3343"/>
                    </a:cubicBezTo>
                    <a:cubicBezTo>
                      <a:pt x="4083" y="3270"/>
                      <a:pt x="4083" y="3270"/>
                      <a:pt x="4083" y="3270"/>
                    </a:cubicBezTo>
                    <a:cubicBezTo>
                      <a:pt x="3327" y="3498"/>
                      <a:pt x="3327" y="3498"/>
                      <a:pt x="3327" y="3498"/>
                    </a:cubicBezTo>
                    <a:lnTo>
                      <a:pt x="3460" y="3680"/>
                    </a:lnTo>
                    <a:close/>
                    <a:moveTo>
                      <a:pt x="2423" y="5496"/>
                    </a:moveTo>
                    <a:cubicBezTo>
                      <a:pt x="2316" y="5476"/>
                      <a:pt x="2316" y="5476"/>
                      <a:pt x="2316" y="5476"/>
                    </a:cubicBezTo>
                    <a:cubicBezTo>
                      <a:pt x="2349" y="5294"/>
                      <a:pt x="2349" y="5294"/>
                      <a:pt x="2349" y="5294"/>
                    </a:cubicBezTo>
                    <a:cubicBezTo>
                      <a:pt x="2400" y="5303"/>
                      <a:pt x="2400" y="5303"/>
                      <a:pt x="2400" y="5303"/>
                    </a:cubicBezTo>
                    <a:cubicBezTo>
                      <a:pt x="2401" y="5299"/>
                      <a:pt x="2401" y="5299"/>
                      <a:pt x="2401" y="5299"/>
                    </a:cubicBezTo>
                    <a:cubicBezTo>
                      <a:pt x="2402" y="5293"/>
                      <a:pt x="2402" y="5293"/>
                      <a:pt x="2402" y="5293"/>
                    </a:cubicBezTo>
                    <a:cubicBezTo>
                      <a:pt x="2518" y="5314"/>
                      <a:pt x="2518" y="5314"/>
                      <a:pt x="2518" y="5314"/>
                    </a:cubicBezTo>
                    <a:cubicBezTo>
                      <a:pt x="2493" y="5434"/>
                      <a:pt x="2493" y="5434"/>
                      <a:pt x="2493" y="5434"/>
                    </a:cubicBezTo>
                    <a:cubicBezTo>
                      <a:pt x="2487" y="5433"/>
                      <a:pt x="2487" y="5433"/>
                      <a:pt x="2487" y="5433"/>
                    </a:cubicBezTo>
                    <a:cubicBezTo>
                      <a:pt x="2437" y="5424"/>
                      <a:pt x="2437" y="5424"/>
                      <a:pt x="2437" y="5424"/>
                    </a:cubicBezTo>
                    <a:lnTo>
                      <a:pt x="2423" y="5496"/>
                    </a:lnTo>
                    <a:close/>
                    <a:moveTo>
                      <a:pt x="2413" y="5480"/>
                    </a:moveTo>
                    <a:cubicBezTo>
                      <a:pt x="2426" y="5408"/>
                      <a:pt x="2426" y="5408"/>
                      <a:pt x="2426" y="5408"/>
                    </a:cubicBezTo>
                    <a:cubicBezTo>
                      <a:pt x="2483" y="5419"/>
                      <a:pt x="2483" y="5419"/>
                      <a:pt x="2483" y="5419"/>
                    </a:cubicBezTo>
                    <a:cubicBezTo>
                      <a:pt x="2502" y="5324"/>
                      <a:pt x="2502" y="5324"/>
                      <a:pt x="2502" y="5324"/>
                    </a:cubicBezTo>
                    <a:cubicBezTo>
                      <a:pt x="2412" y="5308"/>
                      <a:pt x="2412" y="5308"/>
                      <a:pt x="2412" y="5308"/>
                    </a:cubicBezTo>
                    <a:cubicBezTo>
                      <a:pt x="2412" y="5312"/>
                      <a:pt x="2412" y="5312"/>
                      <a:pt x="2412" y="5312"/>
                    </a:cubicBezTo>
                    <a:cubicBezTo>
                      <a:pt x="2411" y="5318"/>
                      <a:pt x="2411" y="5318"/>
                      <a:pt x="2411" y="5318"/>
                    </a:cubicBezTo>
                    <a:cubicBezTo>
                      <a:pt x="2359" y="5309"/>
                      <a:pt x="2359" y="5309"/>
                      <a:pt x="2359" y="5309"/>
                    </a:cubicBezTo>
                    <a:cubicBezTo>
                      <a:pt x="2331" y="5465"/>
                      <a:pt x="2331" y="5465"/>
                      <a:pt x="2331" y="5465"/>
                    </a:cubicBezTo>
                    <a:lnTo>
                      <a:pt x="2413" y="5480"/>
                    </a:lnTo>
                    <a:close/>
                    <a:moveTo>
                      <a:pt x="1707" y="5342"/>
                    </a:moveTo>
                    <a:cubicBezTo>
                      <a:pt x="1586" y="5304"/>
                      <a:pt x="1586" y="5304"/>
                      <a:pt x="1586" y="5304"/>
                    </a:cubicBezTo>
                    <a:cubicBezTo>
                      <a:pt x="1603" y="5074"/>
                      <a:pt x="1603" y="5074"/>
                      <a:pt x="1603" y="5074"/>
                    </a:cubicBezTo>
                    <a:cubicBezTo>
                      <a:pt x="1862" y="5149"/>
                      <a:pt x="1862" y="5149"/>
                      <a:pt x="1862" y="5149"/>
                    </a:cubicBezTo>
                    <a:lnTo>
                      <a:pt x="1707" y="5342"/>
                    </a:lnTo>
                    <a:close/>
                    <a:moveTo>
                      <a:pt x="1702" y="5326"/>
                    </a:moveTo>
                    <a:cubicBezTo>
                      <a:pt x="1838" y="5157"/>
                      <a:pt x="1838" y="5157"/>
                      <a:pt x="1838" y="5157"/>
                    </a:cubicBezTo>
                    <a:cubicBezTo>
                      <a:pt x="1616" y="5093"/>
                      <a:pt x="1616" y="5093"/>
                      <a:pt x="1616" y="5093"/>
                    </a:cubicBezTo>
                    <a:cubicBezTo>
                      <a:pt x="1601" y="5294"/>
                      <a:pt x="1601" y="5294"/>
                      <a:pt x="1601" y="5294"/>
                    </a:cubicBezTo>
                    <a:lnTo>
                      <a:pt x="1702" y="5326"/>
                    </a:lnTo>
                    <a:close/>
                    <a:moveTo>
                      <a:pt x="4519" y="3126"/>
                    </a:moveTo>
                    <a:cubicBezTo>
                      <a:pt x="4543" y="3227"/>
                      <a:pt x="4543" y="3227"/>
                      <a:pt x="4543" y="3227"/>
                    </a:cubicBezTo>
                    <a:cubicBezTo>
                      <a:pt x="4399" y="3262"/>
                      <a:pt x="4399" y="3262"/>
                      <a:pt x="4399" y="3262"/>
                    </a:cubicBezTo>
                    <a:cubicBezTo>
                      <a:pt x="4398" y="3256"/>
                      <a:pt x="4398" y="3256"/>
                      <a:pt x="4398" y="3256"/>
                    </a:cubicBezTo>
                    <a:cubicBezTo>
                      <a:pt x="4375" y="3160"/>
                      <a:pt x="4375" y="3160"/>
                      <a:pt x="4375" y="3160"/>
                    </a:cubicBezTo>
                    <a:lnTo>
                      <a:pt x="4519" y="3126"/>
                    </a:lnTo>
                    <a:close/>
                    <a:moveTo>
                      <a:pt x="4527" y="3218"/>
                    </a:moveTo>
                    <a:cubicBezTo>
                      <a:pt x="4509" y="3141"/>
                      <a:pt x="4509" y="3141"/>
                      <a:pt x="4509" y="3141"/>
                    </a:cubicBezTo>
                    <a:cubicBezTo>
                      <a:pt x="4390" y="3170"/>
                      <a:pt x="4390" y="3170"/>
                      <a:pt x="4390" y="3170"/>
                    </a:cubicBezTo>
                    <a:cubicBezTo>
                      <a:pt x="4409" y="3246"/>
                      <a:pt x="4409" y="3246"/>
                      <a:pt x="4409" y="3246"/>
                    </a:cubicBezTo>
                    <a:lnTo>
                      <a:pt x="4527" y="3218"/>
                    </a:lnTo>
                    <a:close/>
                    <a:moveTo>
                      <a:pt x="4245" y="5439"/>
                    </a:moveTo>
                    <a:cubicBezTo>
                      <a:pt x="4292" y="5487"/>
                      <a:pt x="4292" y="5487"/>
                      <a:pt x="4292" y="5487"/>
                    </a:cubicBezTo>
                    <a:cubicBezTo>
                      <a:pt x="4251" y="5577"/>
                      <a:pt x="4251" y="5577"/>
                      <a:pt x="4251" y="5577"/>
                    </a:cubicBezTo>
                    <a:cubicBezTo>
                      <a:pt x="4145" y="5488"/>
                      <a:pt x="4145" y="5488"/>
                      <a:pt x="4145" y="5488"/>
                    </a:cubicBezTo>
                    <a:cubicBezTo>
                      <a:pt x="4224" y="5319"/>
                      <a:pt x="4224" y="5319"/>
                      <a:pt x="4224" y="5319"/>
                    </a:cubicBezTo>
                    <a:cubicBezTo>
                      <a:pt x="4258" y="5386"/>
                      <a:pt x="4258" y="5386"/>
                      <a:pt x="4258" y="5386"/>
                    </a:cubicBezTo>
                    <a:lnTo>
                      <a:pt x="4245" y="5439"/>
                    </a:lnTo>
                    <a:close/>
                    <a:moveTo>
                      <a:pt x="4235" y="5449"/>
                    </a:moveTo>
                    <a:cubicBezTo>
                      <a:pt x="4229" y="5443"/>
                      <a:pt x="4229" y="5443"/>
                      <a:pt x="4229" y="5443"/>
                    </a:cubicBezTo>
                    <a:cubicBezTo>
                      <a:pt x="4231" y="5435"/>
                      <a:pt x="4231" y="5435"/>
                      <a:pt x="4231" y="5435"/>
                    </a:cubicBezTo>
                    <a:cubicBezTo>
                      <a:pt x="4243" y="5387"/>
                      <a:pt x="4243" y="5387"/>
                      <a:pt x="4243" y="5387"/>
                    </a:cubicBezTo>
                    <a:cubicBezTo>
                      <a:pt x="4225" y="5350"/>
                      <a:pt x="4225" y="5350"/>
                      <a:pt x="4225" y="5350"/>
                    </a:cubicBezTo>
                    <a:cubicBezTo>
                      <a:pt x="4162" y="5484"/>
                      <a:pt x="4162" y="5484"/>
                      <a:pt x="4162" y="5484"/>
                    </a:cubicBezTo>
                    <a:cubicBezTo>
                      <a:pt x="4246" y="5554"/>
                      <a:pt x="4246" y="5554"/>
                      <a:pt x="4246" y="5554"/>
                    </a:cubicBezTo>
                    <a:cubicBezTo>
                      <a:pt x="4276" y="5490"/>
                      <a:pt x="4276" y="5490"/>
                      <a:pt x="4276" y="5490"/>
                    </a:cubicBezTo>
                    <a:lnTo>
                      <a:pt x="4235" y="5449"/>
                    </a:lnTo>
                    <a:close/>
                    <a:moveTo>
                      <a:pt x="4113" y="2698"/>
                    </a:moveTo>
                    <a:cubicBezTo>
                      <a:pt x="4276" y="2629"/>
                      <a:pt x="4276" y="2629"/>
                      <a:pt x="4276" y="2629"/>
                    </a:cubicBezTo>
                    <a:cubicBezTo>
                      <a:pt x="4337" y="2787"/>
                      <a:pt x="4337" y="2787"/>
                      <a:pt x="4337" y="2787"/>
                    </a:cubicBezTo>
                    <a:cubicBezTo>
                      <a:pt x="4241" y="2827"/>
                      <a:pt x="4241" y="2827"/>
                      <a:pt x="4241" y="2827"/>
                    </a:cubicBezTo>
                    <a:cubicBezTo>
                      <a:pt x="4280" y="2918"/>
                      <a:pt x="4280" y="2918"/>
                      <a:pt x="4280" y="2918"/>
                    </a:cubicBezTo>
                    <a:cubicBezTo>
                      <a:pt x="4126" y="2984"/>
                      <a:pt x="4126" y="2984"/>
                      <a:pt x="4126" y="2984"/>
                    </a:cubicBezTo>
                    <a:cubicBezTo>
                      <a:pt x="4061" y="2830"/>
                      <a:pt x="4061" y="2830"/>
                      <a:pt x="4061" y="2830"/>
                    </a:cubicBezTo>
                    <a:cubicBezTo>
                      <a:pt x="4147" y="2793"/>
                      <a:pt x="4147" y="2793"/>
                      <a:pt x="4147" y="2793"/>
                    </a:cubicBezTo>
                    <a:lnTo>
                      <a:pt x="4113" y="2698"/>
                    </a:lnTo>
                    <a:close/>
                    <a:moveTo>
                      <a:pt x="4269" y="2647"/>
                    </a:moveTo>
                    <a:cubicBezTo>
                      <a:pt x="4129" y="2705"/>
                      <a:pt x="4129" y="2705"/>
                      <a:pt x="4129" y="2705"/>
                    </a:cubicBezTo>
                    <a:cubicBezTo>
                      <a:pt x="4164" y="2800"/>
                      <a:pt x="4164" y="2800"/>
                      <a:pt x="4164" y="2800"/>
                    </a:cubicBezTo>
                    <a:cubicBezTo>
                      <a:pt x="4078" y="2837"/>
                      <a:pt x="4078" y="2837"/>
                      <a:pt x="4078" y="2837"/>
                    </a:cubicBezTo>
                    <a:cubicBezTo>
                      <a:pt x="4133" y="2966"/>
                      <a:pt x="4133" y="2966"/>
                      <a:pt x="4133" y="2966"/>
                    </a:cubicBezTo>
                    <a:cubicBezTo>
                      <a:pt x="4263" y="2911"/>
                      <a:pt x="4263" y="2911"/>
                      <a:pt x="4263" y="2911"/>
                    </a:cubicBezTo>
                    <a:cubicBezTo>
                      <a:pt x="4224" y="2820"/>
                      <a:pt x="4224" y="2820"/>
                      <a:pt x="4224" y="2820"/>
                    </a:cubicBezTo>
                    <a:cubicBezTo>
                      <a:pt x="4230" y="2817"/>
                      <a:pt x="4230" y="2817"/>
                      <a:pt x="4230" y="2817"/>
                    </a:cubicBezTo>
                    <a:cubicBezTo>
                      <a:pt x="4320" y="2780"/>
                      <a:pt x="4320" y="2780"/>
                      <a:pt x="4320" y="2780"/>
                    </a:cubicBezTo>
                    <a:lnTo>
                      <a:pt x="4269" y="2647"/>
                    </a:lnTo>
                    <a:close/>
                    <a:moveTo>
                      <a:pt x="4186" y="5283"/>
                    </a:moveTo>
                    <a:cubicBezTo>
                      <a:pt x="4115" y="5453"/>
                      <a:pt x="4115" y="5453"/>
                      <a:pt x="4115" y="5453"/>
                    </a:cubicBezTo>
                    <a:cubicBezTo>
                      <a:pt x="4023" y="5375"/>
                      <a:pt x="4023" y="5375"/>
                      <a:pt x="4023" y="5375"/>
                    </a:cubicBezTo>
                    <a:cubicBezTo>
                      <a:pt x="4023" y="5375"/>
                      <a:pt x="4044" y="5324"/>
                      <a:pt x="4059" y="5274"/>
                    </a:cubicBezTo>
                    <a:cubicBezTo>
                      <a:pt x="4072" y="5228"/>
                      <a:pt x="4079" y="5183"/>
                      <a:pt x="4086" y="5156"/>
                    </a:cubicBezTo>
                    <a:cubicBezTo>
                      <a:pt x="4101" y="5099"/>
                      <a:pt x="4164" y="5030"/>
                      <a:pt x="4164" y="5030"/>
                    </a:cubicBezTo>
                    <a:cubicBezTo>
                      <a:pt x="4215" y="5175"/>
                      <a:pt x="4215" y="5175"/>
                      <a:pt x="4215" y="5175"/>
                    </a:cubicBezTo>
                    <a:cubicBezTo>
                      <a:pt x="4154" y="5227"/>
                      <a:pt x="4154" y="5227"/>
                      <a:pt x="4154" y="5227"/>
                    </a:cubicBezTo>
                    <a:lnTo>
                      <a:pt x="4186" y="5283"/>
                    </a:lnTo>
                    <a:close/>
                    <a:moveTo>
                      <a:pt x="4170" y="5284"/>
                    </a:moveTo>
                    <a:cubicBezTo>
                      <a:pt x="4142" y="5234"/>
                      <a:pt x="4142" y="5234"/>
                      <a:pt x="4142" y="5234"/>
                    </a:cubicBezTo>
                    <a:cubicBezTo>
                      <a:pt x="4137" y="5224"/>
                      <a:pt x="4137" y="5224"/>
                      <a:pt x="4137" y="5224"/>
                    </a:cubicBezTo>
                    <a:cubicBezTo>
                      <a:pt x="4145" y="5217"/>
                      <a:pt x="4145" y="5217"/>
                      <a:pt x="4145" y="5217"/>
                    </a:cubicBezTo>
                    <a:cubicBezTo>
                      <a:pt x="4198" y="5171"/>
                      <a:pt x="4198" y="5171"/>
                      <a:pt x="4198" y="5171"/>
                    </a:cubicBezTo>
                    <a:cubicBezTo>
                      <a:pt x="4159" y="5058"/>
                      <a:pt x="4159" y="5058"/>
                      <a:pt x="4159" y="5058"/>
                    </a:cubicBezTo>
                    <a:cubicBezTo>
                      <a:pt x="4140" y="5081"/>
                      <a:pt x="4109" y="5123"/>
                      <a:pt x="4100" y="5160"/>
                    </a:cubicBezTo>
                    <a:cubicBezTo>
                      <a:pt x="4097" y="5170"/>
                      <a:pt x="4094" y="5183"/>
                      <a:pt x="4091" y="5197"/>
                    </a:cubicBezTo>
                    <a:cubicBezTo>
                      <a:pt x="4086" y="5221"/>
                      <a:pt x="4081" y="5249"/>
                      <a:pt x="4072" y="5277"/>
                    </a:cubicBezTo>
                    <a:cubicBezTo>
                      <a:pt x="4061" y="5315"/>
                      <a:pt x="4047" y="5353"/>
                      <a:pt x="4040" y="5371"/>
                    </a:cubicBezTo>
                    <a:cubicBezTo>
                      <a:pt x="4109" y="5430"/>
                      <a:pt x="4109" y="5430"/>
                      <a:pt x="4109" y="5430"/>
                    </a:cubicBezTo>
                    <a:lnTo>
                      <a:pt x="4170" y="5284"/>
                    </a:lnTo>
                    <a:close/>
                    <a:moveTo>
                      <a:pt x="2579" y="3743"/>
                    </a:moveTo>
                    <a:cubicBezTo>
                      <a:pt x="2578" y="3636"/>
                      <a:pt x="2578" y="3636"/>
                      <a:pt x="2578" y="3636"/>
                    </a:cubicBezTo>
                    <a:cubicBezTo>
                      <a:pt x="2760" y="3664"/>
                      <a:pt x="2760" y="3664"/>
                      <a:pt x="2760" y="3664"/>
                    </a:cubicBezTo>
                    <a:cubicBezTo>
                      <a:pt x="2676" y="3758"/>
                      <a:pt x="2676" y="3758"/>
                      <a:pt x="2676" y="3758"/>
                    </a:cubicBezTo>
                    <a:lnTo>
                      <a:pt x="2579" y="3743"/>
                    </a:lnTo>
                    <a:close/>
                    <a:moveTo>
                      <a:pt x="2592" y="3652"/>
                    </a:moveTo>
                    <a:cubicBezTo>
                      <a:pt x="2593" y="3731"/>
                      <a:pt x="2593" y="3731"/>
                      <a:pt x="2593" y="3731"/>
                    </a:cubicBezTo>
                    <a:cubicBezTo>
                      <a:pt x="2670" y="3743"/>
                      <a:pt x="2670" y="3743"/>
                      <a:pt x="2670" y="3743"/>
                    </a:cubicBezTo>
                    <a:cubicBezTo>
                      <a:pt x="2733" y="3674"/>
                      <a:pt x="2733" y="3674"/>
                      <a:pt x="2733" y="3674"/>
                    </a:cubicBezTo>
                    <a:lnTo>
                      <a:pt x="2592" y="3652"/>
                    </a:lnTo>
                    <a:close/>
                    <a:moveTo>
                      <a:pt x="4964" y="3577"/>
                    </a:moveTo>
                    <a:cubicBezTo>
                      <a:pt x="4984" y="3723"/>
                      <a:pt x="4984" y="3723"/>
                      <a:pt x="4984" y="3723"/>
                    </a:cubicBezTo>
                    <a:cubicBezTo>
                      <a:pt x="4978" y="3724"/>
                      <a:pt x="4978" y="3724"/>
                      <a:pt x="4978" y="3724"/>
                    </a:cubicBezTo>
                    <a:cubicBezTo>
                      <a:pt x="4881" y="3738"/>
                      <a:pt x="4881" y="3738"/>
                      <a:pt x="4881" y="3738"/>
                    </a:cubicBezTo>
                    <a:cubicBezTo>
                      <a:pt x="4861" y="3591"/>
                      <a:pt x="4861" y="3591"/>
                      <a:pt x="4861" y="3591"/>
                    </a:cubicBezTo>
                    <a:lnTo>
                      <a:pt x="4964" y="3577"/>
                    </a:lnTo>
                    <a:close/>
                    <a:moveTo>
                      <a:pt x="4970" y="3712"/>
                    </a:moveTo>
                    <a:cubicBezTo>
                      <a:pt x="4953" y="3592"/>
                      <a:pt x="4953" y="3592"/>
                      <a:pt x="4953" y="3592"/>
                    </a:cubicBezTo>
                    <a:cubicBezTo>
                      <a:pt x="4875" y="3602"/>
                      <a:pt x="4875" y="3602"/>
                      <a:pt x="4875" y="3602"/>
                    </a:cubicBezTo>
                    <a:cubicBezTo>
                      <a:pt x="4892" y="3723"/>
                      <a:pt x="4892" y="3723"/>
                      <a:pt x="4892" y="3723"/>
                    </a:cubicBezTo>
                    <a:lnTo>
                      <a:pt x="4970" y="3712"/>
                    </a:lnTo>
                    <a:close/>
                    <a:moveTo>
                      <a:pt x="2586" y="4724"/>
                    </a:moveTo>
                    <a:cubicBezTo>
                      <a:pt x="2453" y="4720"/>
                      <a:pt x="2453" y="4720"/>
                      <a:pt x="2453" y="4720"/>
                    </a:cubicBezTo>
                    <a:cubicBezTo>
                      <a:pt x="2541" y="4588"/>
                      <a:pt x="2541" y="4588"/>
                      <a:pt x="2541" y="4588"/>
                    </a:cubicBezTo>
                    <a:cubicBezTo>
                      <a:pt x="2711" y="4564"/>
                      <a:pt x="2711" y="4564"/>
                      <a:pt x="2711" y="4564"/>
                    </a:cubicBezTo>
                    <a:cubicBezTo>
                      <a:pt x="2677" y="4642"/>
                      <a:pt x="2677" y="4642"/>
                      <a:pt x="2677" y="4642"/>
                    </a:cubicBezTo>
                    <a:cubicBezTo>
                      <a:pt x="2617" y="4642"/>
                      <a:pt x="2617" y="4642"/>
                      <a:pt x="2617" y="4642"/>
                    </a:cubicBezTo>
                    <a:lnTo>
                      <a:pt x="2586" y="4724"/>
                    </a:lnTo>
                    <a:close/>
                    <a:moveTo>
                      <a:pt x="2576" y="4710"/>
                    </a:moveTo>
                    <a:cubicBezTo>
                      <a:pt x="2604" y="4637"/>
                      <a:pt x="2604" y="4637"/>
                      <a:pt x="2604" y="4637"/>
                    </a:cubicBezTo>
                    <a:cubicBezTo>
                      <a:pt x="2608" y="4628"/>
                      <a:pt x="2608" y="4628"/>
                      <a:pt x="2608" y="4628"/>
                    </a:cubicBezTo>
                    <a:cubicBezTo>
                      <a:pt x="2617" y="4628"/>
                      <a:pt x="2617" y="4628"/>
                      <a:pt x="2617" y="4628"/>
                    </a:cubicBezTo>
                    <a:cubicBezTo>
                      <a:pt x="2668" y="4628"/>
                      <a:pt x="2668" y="4628"/>
                      <a:pt x="2668" y="4628"/>
                    </a:cubicBezTo>
                    <a:cubicBezTo>
                      <a:pt x="2689" y="4582"/>
                      <a:pt x="2689" y="4582"/>
                      <a:pt x="2689" y="4582"/>
                    </a:cubicBezTo>
                    <a:cubicBezTo>
                      <a:pt x="2549" y="4601"/>
                      <a:pt x="2549" y="4601"/>
                      <a:pt x="2549" y="4601"/>
                    </a:cubicBezTo>
                    <a:cubicBezTo>
                      <a:pt x="2479" y="4707"/>
                      <a:pt x="2479" y="4707"/>
                      <a:pt x="2479" y="4707"/>
                    </a:cubicBezTo>
                    <a:lnTo>
                      <a:pt x="2576" y="4710"/>
                    </a:lnTo>
                    <a:close/>
                    <a:moveTo>
                      <a:pt x="3637" y="5432"/>
                    </a:moveTo>
                    <a:cubicBezTo>
                      <a:pt x="3518" y="5134"/>
                      <a:pt x="3518" y="5134"/>
                      <a:pt x="3518" y="5134"/>
                    </a:cubicBezTo>
                    <a:cubicBezTo>
                      <a:pt x="3603" y="5067"/>
                      <a:pt x="3603" y="5067"/>
                      <a:pt x="3603" y="5067"/>
                    </a:cubicBezTo>
                    <a:cubicBezTo>
                      <a:pt x="3639" y="5122"/>
                      <a:pt x="3639" y="5122"/>
                      <a:pt x="3639" y="5122"/>
                    </a:cubicBezTo>
                    <a:cubicBezTo>
                      <a:pt x="3630" y="5155"/>
                      <a:pt x="3630" y="5155"/>
                      <a:pt x="3630" y="5155"/>
                    </a:cubicBezTo>
                    <a:cubicBezTo>
                      <a:pt x="3665" y="5234"/>
                      <a:pt x="3665" y="5234"/>
                      <a:pt x="3665" y="5234"/>
                    </a:cubicBezTo>
                    <a:cubicBezTo>
                      <a:pt x="3726" y="5230"/>
                      <a:pt x="3726" y="5230"/>
                      <a:pt x="3726" y="5230"/>
                    </a:cubicBezTo>
                    <a:cubicBezTo>
                      <a:pt x="3762" y="5335"/>
                      <a:pt x="3762" y="5335"/>
                      <a:pt x="3762" y="5335"/>
                    </a:cubicBezTo>
                    <a:cubicBezTo>
                      <a:pt x="3790" y="5320"/>
                      <a:pt x="3790" y="5320"/>
                      <a:pt x="3790" y="5320"/>
                    </a:cubicBezTo>
                    <a:cubicBezTo>
                      <a:pt x="3821" y="5419"/>
                      <a:pt x="3821" y="5419"/>
                      <a:pt x="3821" y="5419"/>
                    </a:cubicBezTo>
                    <a:cubicBezTo>
                      <a:pt x="3797" y="5422"/>
                      <a:pt x="3797" y="5422"/>
                      <a:pt x="3797" y="5422"/>
                    </a:cubicBezTo>
                    <a:cubicBezTo>
                      <a:pt x="3804" y="5455"/>
                      <a:pt x="3804" y="5455"/>
                      <a:pt x="3804" y="5455"/>
                    </a:cubicBezTo>
                    <a:cubicBezTo>
                      <a:pt x="3722" y="5483"/>
                      <a:pt x="3722" y="5483"/>
                      <a:pt x="3722" y="5483"/>
                    </a:cubicBezTo>
                    <a:lnTo>
                      <a:pt x="3637" y="5432"/>
                    </a:lnTo>
                    <a:close/>
                    <a:moveTo>
                      <a:pt x="3534" y="5138"/>
                    </a:moveTo>
                    <a:cubicBezTo>
                      <a:pt x="3648" y="5422"/>
                      <a:pt x="3648" y="5422"/>
                      <a:pt x="3648" y="5422"/>
                    </a:cubicBezTo>
                    <a:cubicBezTo>
                      <a:pt x="3723" y="5468"/>
                      <a:pt x="3723" y="5468"/>
                      <a:pt x="3723" y="5468"/>
                    </a:cubicBezTo>
                    <a:cubicBezTo>
                      <a:pt x="3787" y="5446"/>
                      <a:pt x="3787" y="5446"/>
                      <a:pt x="3787" y="5446"/>
                    </a:cubicBezTo>
                    <a:cubicBezTo>
                      <a:pt x="3783" y="5425"/>
                      <a:pt x="3783" y="5425"/>
                      <a:pt x="3783" y="5425"/>
                    </a:cubicBezTo>
                    <a:cubicBezTo>
                      <a:pt x="3780" y="5410"/>
                      <a:pt x="3780" y="5410"/>
                      <a:pt x="3780" y="5410"/>
                    </a:cubicBezTo>
                    <a:cubicBezTo>
                      <a:pt x="3795" y="5408"/>
                      <a:pt x="3795" y="5408"/>
                      <a:pt x="3795" y="5408"/>
                    </a:cubicBezTo>
                    <a:cubicBezTo>
                      <a:pt x="3803" y="5407"/>
                      <a:pt x="3803" y="5407"/>
                      <a:pt x="3803" y="5407"/>
                    </a:cubicBezTo>
                    <a:cubicBezTo>
                      <a:pt x="3781" y="5341"/>
                      <a:pt x="3781" y="5341"/>
                      <a:pt x="3781" y="5341"/>
                    </a:cubicBezTo>
                    <a:cubicBezTo>
                      <a:pt x="3769" y="5347"/>
                      <a:pt x="3769" y="5347"/>
                      <a:pt x="3769" y="5347"/>
                    </a:cubicBezTo>
                    <a:cubicBezTo>
                      <a:pt x="3755" y="5355"/>
                      <a:pt x="3755" y="5355"/>
                      <a:pt x="3755" y="5355"/>
                    </a:cubicBezTo>
                    <a:cubicBezTo>
                      <a:pt x="3749" y="5340"/>
                      <a:pt x="3749" y="5340"/>
                      <a:pt x="3749" y="5340"/>
                    </a:cubicBezTo>
                    <a:cubicBezTo>
                      <a:pt x="3716" y="5245"/>
                      <a:pt x="3716" y="5245"/>
                      <a:pt x="3716" y="5245"/>
                    </a:cubicBezTo>
                    <a:cubicBezTo>
                      <a:pt x="3666" y="5248"/>
                      <a:pt x="3666" y="5248"/>
                      <a:pt x="3666" y="5248"/>
                    </a:cubicBezTo>
                    <a:cubicBezTo>
                      <a:pt x="3656" y="5249"/>
                      <a:pt x="3656" y="5249"/>
                      <a:pt x="3656" y="5249"/>
                    </a:cubicBezTo>
                    <a:cubicBezTo>
                      <a:pt x="3652" y="5240"/>
                      <a:pt x="3652" y="5240"/>
                      <a:pt x="3652" y="5240"/>
                    </a:cubicBezTo>
                    <a:cubicBezTo>
                      <a:pt x="3617" y="5160"/>
                      <a:pt x="3617" y="5160"/>
                      <a:pt x="3617" y="5160"/>
                    </a:cubicBezTo>
                    <a:cubicBezTo>
                      <a:pt x="3615" y="5156"/>
                      <a:pt x="3615" y="5156"/>
                      <a:pt x="3615" y="5156"/>
                    </a:cubicBezTo>
                    <a:cubicBezTo>
                      <a:pt x="3616" y="5151"/>
                      <a:pt x="3616" y="5151"/>
                      <a:pt x="3616" y="5151"/>
                    </a:cubicBezTo>
                    <a:cubicBezTo>
                      <a:pt x="3624" y="5124"/>
                      <a:pt x="3624" y="5124"/>
                      <a:pt x="3624" y="5124"/>
                    </a:cubicBezTo>
                    <a:cubicBezTo>
                      <a:pt x="3599" y="5087"/>
                      <a:pt x="3599" y="5087"/>
                      <a:pt x="3599" y="5087"/>
                    </a:cubicBezTo>
                    <a:lnTo>
                      <a:pt x="3534" y="5138"/>
                    </a:lnTo>
                    <a:close/>
                    <a:moveTo>
                      <a:pt x="4924" y="3849"/>
                    </a:moveTo>
                    <a:cubicBezTo>
                      <a:pt x="5005" y="3881"/>
                      <a:pt x="5005" y="3881"/>
                      <a:pt x="5005" y="3881"/>
                    </a:cubicBezTo>
                    <a:cubicBezTo>
                      <a:pt x="4980" y="3944"/>
                      <a:pt x="4980" y="3944"/>
                      <a:pt x="4980" y="3944"/>
                    </a:cubicBezTo>
                    <a:cubicBezTo>
                      <a:pt x="4974" y="3942"/>
                      <a:pt x="4974" y="3942"/>
                      <a:pt x="4974" y="3942"/>
                    </a:cubicBezTo>
                    <a:cubicBezTo>
                      <a:pt x="4899" y="3912"/>
                      <a:pt x="4899" y="3912"/>
                      <a:pt x="4899" y="3912"/>
                    </a:cubicBezTo>
                    <a:lnTo>
                      <a:pt x="4924" y="3849"/>
                    </a:lnTo>
                    <a:close/>
                    <a:moveTo>
                      <a:pt x="4932" y="3866"/>
                    </a:moveTo>
                    <a:cubicBezTo>
                      <a:pt x="4916" y="3905"/>
                      <a:pt x="4916" y="3905"/>
                      <a:pt x="4916" y="3905"/>
                    </a:cubicBezTo>
                    <a:cubicBezTo>
                      <a:pt x="4972" y="3927"/>
                      <a:pt x="4972" y="3927"/>
                      <a:pt x="4972" y="3927"/>
                    </a:cubicBezTo>
                    <a:cubicBezTo>
                      <a:pt x="4988" y="3888"/>
                      <a:pt x="4988" y="3888"/>
                      <a:pt x="4988" y="3888"/>
                    </a:cubicBezTo>
                    <a:lnTo>
                      <a:pt x="4932" y="3866"/>
                    </a:lnTo>
                    <a:close/>
                    <a:moveTo>
                      <a:pt x="4832" y="2658"/>
                    </a:moveTo>
                    <a:cubicBezTo>
                      <a:pt x="4844" y="2918"/>
                      <a:pt x="4844" y="2918"/>
                      <a:pt x="4844" y="2918"/>
                    </a:cubicBezTo>
                    <a:cubicBezTo>
                      <a:pt x="4760" y="2921"/>
                      <a:pt x="4760" y="2921"/>
                      <a:pt x="4760" y="2921"/>
                    </a:cubicBezTo>
                    <a:cubicBezTo>
                      <a:pt x="4760" y="2915"/>
                      <a:pt x="4760" y="2915"/>
                      <a:pt x="4760" y="2915"/>
                    </a:cubicBezTo>
                    <a:cubicBezTo>
                      <a:pt x="4748" y="2661"/>
                      <a:pt x="4748" y="2661"/>
                      <a:pt x="4748" y="2661"/>
                    </a:cubicBezTo>
                    <a:lnTo>
                      <a:pt x="4832" y="2658"/>
                    </a:lnTo>
                    <a:close/>
                    <a:moveTo>
                      <a:pt x="4830" y="2905"/>
                    </a:moveTo>
                    <a:cubicBezTo>
                      <a:pt x="4820" y="2671"/>
                      <a:pt x="4820" y="2671"/>
                      <a:pt x="4820" y="2671"/>
                    </a:cubicBezTo>
                    <a:cubicBezTo>
                      <a:pt x="4762" y="2674"/>
                      <a:pt x="4762" y="2674"/>
                      <a:pt x="4762" y="2674"/>
                    </a:cubicBezTo>
                    <a:cubicBezTo>
                      <a:pt x="4773" y="2908"/>
                      <a:pt x="4773" y="2908"/>
                      <a:pt x="4773" y="2908"/>
                    </a:cubicBezTo>
                    <a:lnTo>
                      <a:pt x="4830" y="2905"/>
                    </a:lnTo>
                    <a:close/>
                    <a:moveTo>
                      <a:pt x="5067" y="5901"/>
                    </a:moveTo>
                    <a:cubicBezTo>
                      <a:pt x="5045" y="5814"/>
                      <a:pt x="4999" y="5737"/>
                      <a:pt x="4999" y="5737"/>
                    </a:cubicBezTo>
                    <a:cubicBezTo>
                      <a:pt x="4991" y="5724"/>
                      <a:pt x="4991" y="5724"/>
                      <a:pt x="4991" y="5724"/>
                    </a:cubicBezTo>
                    <a:cubicBezTo>
                      <a:pt x="5309" y="5763"/>
                      <a:pt x="5309" y="5763"/>
                      <a:pt x="5309" y="5763"/>
                    </a:cubicBezTo>
                    <a:cubicBezTo>
                      <a:pt x="5310" y="5768"/>
                      <a:pt x="5310" y="5768"/>
                      <a:pt x="5310" y="5768"/>
                    </a:cubicBezTo>
                    <a:cubicBezTo>
                      <a:pt x="5333" y="5925"/>
                      <a:pt x="5333" y="5925"/>
                      <a:pt x="5333" y="5925"/>
                    </a:cubicBezTo>
                    <a:cubicBezTo>
                      <a:pt x="5244" y="5913"/>
                      <a:pt x="5244" y="5913"/>
                      <a:pt x="5244" y="5913"/>
                    </a:cubicBezTo>
                    <a:cubicBezTo>
                      <a:pt x="5214" y="5987"/>
                      <a:pt x="5214" y="5987"/>
                      <a:pt x="5214" y="5987"/>
                    </a:cubicBezTo>
                    <a:cubicBezTo>
                      <a:pt x="5320" y="5964"/>
                      <a:pt x="5320" y="5964"/>
                      <a:pt x="5320" y="5964"/>
                    </a:cubicBezTo>
                    <a:cubicBezTo>
                      <a:pt x="5317" y="5975"/>
                      <a:pt x="5317" y="5975"/>
                      <a:pt x="5317" y="5975"/>
                    </a:cubicBezTo>
                    <a:cubicBezTo>
                      <a:pt x="5317" y="5975"/>
                      <a:pt x="5310" y="6013"/>
                      <a:pt x="5302" y="6051"/>
                    </a:cubicBezTo>
                    <a:cubicBezTo>
                      <a:pt x="5298" y="6070"/>
                      <a:pt x="5294" y="6089"/>
                      <a:pt x="5292" y="6103"/>
                    </a:cubicBezTo>
                    <a:cubicBezTo>
                      <a:pt x="5290" y="6110"/>
                      <a:pt x="5289" y="6116"/>
                      <a:pt x="5288" y="6121"/>
                    </a:cubicBezTo>
                    <a:cubicBezTo>
                      <a:pt x="5288" y="6123"/>
                      <a:pt x="5287" y="6124"/>
                      <a:pt x="5287" y="6126"/>
                    </a:cubicBezTo>
                    <a:cubicBezTo>
                      <a:pt x="5287" y="6126"/>
                      <a:pt x="5287" y="6126"/>
                      <a:pt x="5287" y="6126"/>
                    </a:cubicBezTo>
                    <a:cubicBezTo>
                      <a:pt x="5287" y="6129"/>
                      <a:pt x="5286" y="6129"/>
                      <a:pt x="5286" y="6130"/>
                    </a:cubicBezTo>
                    <a:cubicBezTo>
                      <a:pt x="5280" y="6127"/>
                      <a:pt x="5280" y="6127"/>
                      <a:pt x="5280" y="6127"/>
                    </a:cubicBezTo>
                    <a:cubicBezTo>
                      <a:pt x="5280" y="6134"/>
                      <a:pt x="5280" y="6134"/>
                      <a:pt x="5280" y="6134"/>
                    </a:cubicBezTo>
                    <a:cubicBezTo>
                      <a:pt x="5279" y="6134"/>
                      <a:pt x="5279" y="6134"/>
                      <a:pt x="5279" y="6134"/>
                    </a:cubicBezTo>
                    <a:cubicBezTo>
                      <a:pt x="5279" y="6134"/>
                      <a:pt x="5278" y="6133"/>
                      <a:pt x="5277" y="6133"/>
                    </a:cubicBezTo>
                    <a:cubicBezTo>
                      <a:pt x="5263" y="6131"/>
                      <a:pt x="5095" y="6126"/>
                      <a:pt x="5095" y="6126"/>
                    </a:cubicBezTo>
                    <a:cubicBezTo>
                      <a:pt x="5087" y="6125"/>
                      <a:pt x="5087" y="6125"/>
                      <a:pt x="5087" y="6125"/>
                    </a:cubicBezTo>
                    <a:cubicBezTo>
                      <a:pt x="5088" y="6118"/>
                      <a:pt x="5088" y="6118"/>
                      <a:pt x="5088" y="6118"/>
                    </a:cubicBezTo>
                    <a:cubicBezTo>
                      <a:pt x="5088" y="6118"/>
                      <a:pt x="5088" y="6112"/>
                      <a:pt x="5088" y="6101"/>
                    </a:cubicBezTo>
                    <a:cubicBezTo>
                      <a:pt x="5088" y="6064"/>
                      <a:pt x="5086" y="5974"/>
                      <a:pt x="5067" y="5901"/>
                    </a:cubicBezTo>
                    <a:close/>
                    <a:moveTo>
                      <a:pt x="5019" y="5742"/>
                    </a:moveTo>
                    <a:cubicBezTo>
                      <a:pt x="5033" y="5768"/>
                      <a:pt x="5064" y="5829"/>
                      <a:pt x="5081" y="5897"/>
                    </a:cubicBezTo>
                    <a:cubicBezTo>
                      <a:pt x="5100" y="5972"/>
                      <a:pt x="5103" y="6063"/>
                      <a:pt x="5103" y="6101"/>
                    </a:cubicBezTo>
                    <a:cubicBezTo>
                      <a:pt x="5103" y="6105"/>
                      <a:pt x="5103" y="6108"/>
                      <a:pt x="5103" y="6111"/>
                    </a:cubicBezTo>
                    <a:cubicBezTo>
                      <a:pt x="5117" y="6112"/>
                      <a:pt x="5152" y="6113"/>
                      <a:pt x="5188" y="6114"/>
                    </a:cubicBezTo>
                    <a:cubicBezTo>
                      <a:pt x="5211" y="6115"/>
                      <a:pt x="5234" y="6116"/>
                      <a:pt x="5251" y="6117"/>
                    </a:cubicBezTo>
                    <a:cubicBezTo>
                      <a:pt x="5260" y="6117"/>
                      <a:pt x="5267" y="6118"/>
                      <a:pt x="5272" y="6118"/>
                    </a:cubicBezTo>
                    <a:cubicBezTo>
                      <a:pt x="5273" y="6118"/>
                      <a:pt x="5273" y="6118"/>
                      <a:pt x="5274" y="6118"/>
                    </a:cubicBezTo>
                    <a:cubicBezTo>
                      <a:pt x="5276" y="6105"/>
                      <a:pt x="5282" y="6077"/>
                      <a:pt x="5288" y="6048"/>
                    </a:cubicBezTo>
                    <a:cubicBezTo>
                      <a:pt x="5293" y="6022"/>
                      <a:pt x="5298" y="5997"/>
                      <a:pt x="5301" y="5983"/>
                    </a:cubicBezTo>
                    <a:cubicBezTo>
                      <a:pt x="5189" y="6007"/>
                      <a:pt x="5189" y="6007"/>
                      <a:pt x="5189" y="6007"/>
                    </a:cubicBezTo>
                    <a:cubicBezTo>
                      <a:pt x="5234" y="5897"/>
                      <a:pt x="5234" y="5897"/>
                      <a:pt x="5234" y="5897"/>
                    </a:cubicBezTo>
                    <a:cubicBezTo>
                      <a:pt x="5315" y="5908"/>
                      <a:pt x="5315" y="5908"/>
                      <a:pt x="5315" y="5908"/>
                    </a:cubicBezTo>
                    <a:cubicBezTo>
                      <a:pt x="5296" y="5776"/>
                      <a:pt x="5296" y="5776"/>
                      <a:pt x="5296" y="5776"/>
                    </a:cubicBezTo>
                    <a:lnTo>
                      <a:pt x="5019" y="5742"/>
                    </a:lnTo>
                    <a:close/>
                    <a:moveTo>
                      <a:pt x="5411" y="4800"/>
                    </a:moveTo>
                    <a:cubicBezTo>
                      <a:pt x="5260" y="4790"/>
                      <a:pt x="5260" y="4790"/>
                      <a:pt x="5260" y="4790"/>
                    </a:cubicBezTo>
                    <a:cubicBezTo>
                      <a:pt x="5265" y="4719"/>
                      <a:pt x="5265" y="4719"/>
                      <a:pt x="5265" y="4719"/>
                    </a:cubicBezTo>
                    <a:cubicBezTo>
                      <a:pt x="5271" y="4720"/>
                      <a:pt x="5271" y="4720"/>
                      <a:pt x="5271" y="4720"/>
                    </a:cubicBezTo>
                    <a:cubicBezTo>
                      <a:pt x="5416" y="4729"/>
                      <a:pt x="5416" y="4729"/>
                      <a:pt x="5416" y="4729"/>
                    </a:cubicBezTo>
                    <a:lnTo>
                      <a:pt x="5411" y="4800"/>
                    </a:lnTo>
                    <a:close/>
                    <a:moveTo>
                      <a:pt x="5402" y="4742"/>
                    </a:moveTo>
                    <a:cubicBezTo>
                      <a:pt x="5277" y="4733"/>
                      <a:pt x="5277" y="4733"/>
                      <a:pt x="5277" y="4733"/>
                    </a:cubicBezTo>
                    <a:cubicBezTo>
                      <a:pt x="5274" y="4778"/>
                      <a:pt x="5274" y="4778"/>
                      <a:pt x="5274" y="4778"/>
                    </a:cubicBezTo>
                    <a:cubicBezTo>
                      <a:pt x="5399" y="4786"/>
                      <a:pt x="5399" y="4786"/>
                      <a:pt x="5399" y="4786"/>
                    </a:cubicBezTo>
                    <a:lnTo>
                      <a:pt x="5402" y="4742"/>
                    </a:lnTo>
                    <a:close/>
                    <a:moveTo>
                      <a:pt x="2690" y="4717"/>
                    </a:moveTo>
                    <a:cubicBezTo>
                      <a:pt x="2795" y="4717"/>
                      <a:pt x="2795" y="4717"/>
                      <a:pt x="2795" y="4717"/>
                    </a:cubicBezTo>
                    <a:cubicBezTo>
                      <a:pt x="2830" y="4612"/>
                      <a:pt x="2830" y="4612"/>
                      <a:pt x="2830" y="4612"/>
                    </a:cubicBezTo>
                    <a:cubicBezTo>
                      <a:pt x="2955" y="4604"/>
                      <a:pt x="2955" y="4604"/>
                      <a:pt x="2955" y="4604"/>
                    </a:cubicBezTo>
                    <a:cubicBezTo>
                      <a:pt x="2874" y="4850"/>
                      <a:pt x="2874" y="4850"/>
                      <a:pt x="2874" y="4850"/>
                    </a:cubicBezTo>
                    <a:cubicBezTo>
                      <a:pt x="2647" y="4838"/>
                      <a:pt x="2647" y="4838"/>
                      <a:pt x="2647" y="4838"/>
                    </a:cubicBezTo>
                    <a:lnTo>
                      <a:pt x="2690" y="4717"/>
                    </a:lnTo>
                    <a:close/>
                    <a:moveTo>
                      <a:pt x="2699" y="4731"/>
                    </a:moveTo>
                    <a:cubicBezTo>
                      <a:pt x="2666" y="4825"/>
                      <a:pt x="2666" y="4825"/>
                      <a:pt x="2666" y="4825"/>
                    </a:cubicBezTo>
                    <a:cubicBezTo>
                      <a:pt x="2864" y="4835"/>
                      <a:pt x="2864" y="4835"/>
                      <a:pt x="2864" y="4835"/>
                    </a:cubicBezTo>
                    <a:cubicBezTo>
                      <a:pt x="2935" y="4619"/>
                      <a:pt x="2935" y="4619"/>
                      <a:pt x="2935" y="4619"/>
                    </a:cubicBezTo>
                    <a:cubicBezTo>
                      <a:pt x="2840" y="4625"/>
                      <a:pt x="2840" y="4625"/>
                      <a:pt x="2840" y="4625"/>
                    </a:cubicBezTo>
                    <a:cubicBezTo>
                      <a:pt x="2808" y="4722"/>
                      <a:pt x="2808" y="4722"/>
                      <a:pt x="2808" y="4722"/>
                    </a:cubicBezTo>
                    <a:cubicBezTo>
                      <a:pt x="2805" y="4731"/>
                      <a:pt x="2805" y="4731"/>
                      <a:pt x="2805" y="4731"/>
                    </a:cubicBezTo>
                    <a:cubicBezTo>
                      <a:pt x="2795" y="4731"/>
                      <a:pt x="2795" y="4731"/>
                      <a:pt x="2795" y="4731"/>
                    </a:cubicBezTo>
                    <a:lnTo>
                      <a:pt x="2699" y="4731"/>
                    </a:lnTo>
                    <a:close/>
                    <a:moveTo>
                      <a:pt x="5194" y="4481"/>
                    </a:moveTo>
                    <a:cubicBezTo>
                      <a:pt x="5264" y="4486"/>
                      <a:pt x="5264" y="4486"/>
                      <a:pt x="5264" y="4486"/>
                    </a:cubicBezTo>
                    <a:cubicBezTo>
                      <a:pt x="5254" y="4637"/>
                      <a:pt x="5254" y="4637"/>
                      <a:pt x="5254" y="4637"/>
                    </a:cubicBezTo>
                    <a:cubicBezTo>
                      <a:pt x="5183" y="4632"/>
                      <a:pt x="5183" y="4632"/>
                      <a:pt x="5183" y="4632"/>
                    </a:cubicBezTo>
                    <a:cubicBezTo>
                      <a:pt x="5184" y="4625"/>
                      <a:pt x="5184" y="4625"/>
                      <a:pt x="5184" y="4625"/>
                    </a:cubicBezTo>
                    <a:lnTo>
                      <a:pt x="5194" y="4481"/>
                    </a:lnTo>
                    <a:close/>
                    <a:moveTo>
                      <a:pt x="5197" y="4620"/>
                    </a:moveTo>
                    <a:cubicBezTo>
                      <a:pt x="5242" y="4623"/>
                      <a:pt x="5242" y="4623"/>
                      <a:pt x="5242" y="4623"/>
                    </a:cubicBezTo>
                    <a:cubicBezTo>
                      <a:pt x="5250" y="4498"/>
                      <a:pt x="5250" y="4498"/>
                      <a:pt x="5250" y="4498"/>
                    </a:cubicBezTo>
                    <a:cubicBezTo>
                      <a:pt x="5206" y="4495"/>
                      <a:pt x="5206" y="4495"/>
                      <a:pt x="5206" y="4495"/>
                    </a:cubicBezTo>
                    <a:lnTo>
                      <a:pt x="5197" y="4620"/>
                    </a:lnTo>
                    <a:close/>
                    <a:moveTo>
                      <a:pt x="4939" y="3996"/>
                    </a:moveTo>
                    <a:cubicBezTo>
                      <a:pt x="5020" y="4028"/>
                      <a:pt x="5020" y="4028"/>
                      <a:pt x="5020" y="4028"/>
                    </a:cubicBezTo>
                    <a:cubicBezTo>
                      <a:pt x="4994" y="4092"/>
                      <a:pt x="4994" y="4092"/>
                      <a:pt x="4994" y="4092"/>
                    </a:cubicBezTo>
                    <a:cubicBezTo>
                      <a:pt x="4988" y="4089"/>
                      <a:pt x="4988" y="4089"/>
                      <a:pt x="4988" y="4089"/>
                    </a:cubicBezTo>
                    <a:cubicBezTo>
                      <a:pt x="4914" y="4060"/>
                      <a:pt x="4914" y="4060"/>
                      <a:pt x="4914" y="4060"/>
                    </a:cubicBezTo>
                    <a:lnTo>
                      <a:pt x="4939" y="3996"/>
                    </a:lnTo>
                    <a:close/>
                    <a:moveTo>
                      <a:pt x="4947" y="4013"/>
                    </a:moveTo>
                    <a:cubicBezTo>
                      <a:pt x="4931" y="4053"/>
                      <a:pt x="4931" y="4053"/>
                      <a:pt x="4931" y="4053"/>
                    </a:cubicBezTo>
                    <a:cubicBezTo>
                      <a:pt x="4987" y="4075"/>
                      <a:pt x="4987" y="4075"/>
                      <a:pt x="4987" y="4075"/>
                    </a:cubicBezTo>
                    <a:cubicBezTo>
                      <a:pt x="5003" y="4036"/>
                      <a:pt x="5003" y="4036"/>
                      <a:pt x="5003" y="4036"/>
                    </a:cubicBezTo>
                    <a:lnTo>
                      <a:pt x="4947" y="4013"/>
                    </a:lnTo>
                    <a:close/>
                    <a:moveTo>
                      <a:pt x="1431" y="4598"/>
                    </a:moveTo>
                    <a:cubicBezTo>
                      <a:pt x="1394" y="4478"/>
                      <a:pt x="1394" y="4478"/>
                      <a:pt x="1394" y="4478"/>
                    </a:cubicBezTo>
                    <a:cubicBezTo>
                      <a:pt x="1781" y="4428"/>
                      <a:pt x="1781" y="4428"/>
                      <a:pt x="1781" y="4428"/>
                    </a:cubicBezTo>
                    <a:cubicBezTo>
                      <a:pt x="1781" y="4428"/>
                      <a:pt x="1841" y="4493"/>
                      <a:pt x="1916" y="4536"/>
                    </a:cubicBezTo>
                    <a:cubicBezTo>
                      <a:pt x="1991" y="4578"/>
                      <a:pt x="2120" y="4612"/>
                      <a:pt x="2120" y="4612"/>
                    </a:cubicBezTo>
                    <a:cubicBezTo>
                      <a:pt x="2060" y="4872"/>
                      <a:pt x="2060" y="4872"/>
                      <a:pt x="2060" y="4872"/>
                    </a:cubicBezTo>
                    <a:cubicBezTo>
                      <a:pt x="1952" y="5002"/>
                      <a:pt x="1952" y="5002"/>
                      <a:pt x="1952" y="5002"/>
                    </a:cubicBezTo>
                    <a:cubicBezTo>
                      <a:pt x="1876" y="4980"/>
                      <a:pt x="1876" y="4980"/>
                      <a:pt x="1876" y="4980"/>
                    </a:cubicBezTo>
                    <a:cubicBezTo>
                      <a:pt x="1948" y="4712"/>
                      <a:pt x="1948" y="4712"/>
                      <a:pt x="1948" y="4712"/>
                    </a:cubicBezTo>
                    <a:cubicBezTo>
                      <a:pt x="1948" y="4712"/>
                      <a:pt x="1851" y="4686"/>
                      <a:pt x="1808" y="4659"/>
                    </a:cubicBezTo>
                    <a:cubicBezTo>
                      <a:pt x="1766" y="4631"/>
                      <a:pt x="1722" y="4567"/>
                      <a:pt x="1722" y="4567"/>
                    </a:cubicBezTo>
                    <a:lnTo>
                      <a:pt x="1431" y="4598"/>
                    </a:lnTo>
                    <a:close/>
                    <a:moveTo>
                      <a:pt x="1412" y="4490"/>
                    </a:moveTo>
                    <a:cubicBezTo>
                      <a:pt x="1441" y="4583"/>
                      <a:pt x="1441" y="4583"/>
                      <a:pt x="1441" y="4583"/>
                    </a:cubicBezTo>
                    <a:cubicBezTo>
                      <a:pt x="1721" y="4553"/>
                      <a:pt x="1721" y="4553"/>
                      <a:pt x="1721" y="4553"/>
                    </a:cubicBezTo>
                    <a:cubicBezTo>
                      <a:pt x="1729" y="4552"/>
                      <a:pt x="1729" y="4552"/>
                      <a:pt x="1729" y="4552"/>
                    </a:cubicBezTo>
                    <a:cubicBezTo>
                      <a:pt x="1734" y="4559"/>
                      <a:pt x="1734" y="4559"/>
                      <a:pt x="1734" y="4559"/>
                    </a:cubicBezTo>
                    <a:cubicBezTo>
                      <a:pt x="1734" y="4560"/>
                      <a:pt x="1776" y="4621"/>
                      <a:pt x="1816" y="4647"/>
                    </a:cubicBezTo>
                    <a:cubicBezTo>
                      <a:pt x="1856" y="4673"/>
                      <a:pt x="1950" y="4698"/>
                      <a:pt x="1951" y="4698"/>
                    </a:cubicBezTo>
                    <a:cubicBezTo>
                      <a:pt x="1965" y="4702"/>
                      <a:pt x="1965" y="4702"/>
                      <a:pt x="1965" y="4702"/>
                    </a:cubicBezTo>
                    <a:cubicBezTo>
                      <a:pt x="1961" y="4715"/>
                      <a:pt x="1961" y="4715"/>
                      <a:pt x="1961" y="4715"/>
                    </a:cubicBezTo>
                    <a:cubicBezTo>
                      <a:pt x="1893" y="4970"/>
                      <a:pt x="1893" y="4970"/>
                      <a:pt x="1893" y="4970"/>
                    </a:cubicBezTo>
                    <a:cubicBezTo>
                      <a:pt x="1947" y="4986"/>
                      <a:pt x="1947" y="4986"/>
                      <a:pt x="1947" y="4986"/>
                    </a:cubicBezTo>
                    <a:cubicBezTo>
                      <a:pt x="2047" y="4865"/>
                      <a:pt x="2047" y="4865"/>
                      <a:pt x="2047" y="4865"/>
                    </a:cubicBezTo>
                    <a:cubicBezTo>
                      <a:pt x="2103" y="4622"/>
                      <a:pt x="2103" y="4622"/>
                      <a:pt x="2103" y="4622"/>
                    </a:cubicBezTo>
                    <a:cubicBezTo>
                      <a:pt x="2068" y="4612"/>
                      <a:pt x="1972" y="4583"/>
                      <a:pt x="1909" y="4548"/>
                    </a:cubicBezTo>
                    <a:cubicBezTo>
                      <a:pt x="1845" y="4511"/>
                      <a:pt x="1792" y="4459"/>
                      <a:pt x="1776" y="4442"/>
                    </a:cubicBezTo>
                    <a:lnTo>
                      <a:pt x="1412" y="4490"/>
                    </a:lnTo>
                    <a:close/>
                    <a:moveTo>
                      <a:pt x="2719" y="6280"/>
                    </a:moveTo>
                    <a:cubicBezTo>
                      <a:pt x="2676" y="6453"/>
                      <a:pt x="2676" y="6453"/>
                      <a:pt x="2676" y="6453"/>
                    </a:cubicBezTo>
                    <a:cubicBezTo>
                      <a:pt x="2440" y="6368"/>
                      <a:pt x="2440" y="6368"/>
                      <a:pt x="2440" y="6368"/>
                    </a:cubicBezTo>
                    <a:cubicBezTo>
                      <a:pt x="2648" y="5877"/>
                      <a:pt x="2648" y="5877"/>
                      <a:pt x="2648" y="5877"/>
                    </a:cubicBezTo>
                    <a:cubicBezTo>
                      <a:pt x="2864" y="5932"/>
                      <a:pt x="2864" y="5932"/>
                      <a:pt x="2864" y="5932"/>
                    </a:cubicBezTo>
                    <a:cubicBezTo>
                      <a:pt x="2919" y="6096"/>
                      <a:pt x="2919" y="6096"/>
                      <a:pt x="2919" y="6096"/>
                    </a:cubicBezTo>
                    <a:cubicBezTo>
                      <a:pt x="2910" y="6097"/>
                      <a:pt x="2910" y="6097"/>
                      <a:pt x="2910" y="6097"/>
                    </a:cubicBezTo>
                    <a:cubicBezTo>
                      <a:pt x="2843" y="6105"/>
                      <a:pt x="2805" y="6128"/>
                      <a:pt x="2784" y="6148"/>
                    </a:cubicBezTo>
                    <a:cubicBezTo>
                      <a:pt x="2774" y="6158"/>
                      <a:pt x="2768" y="6168"/>
                      <a:pt x="2764" y="6175"/>
                    </a:cubicBezTo>
                    <a:cubicBezTo>
                      <a:pt x="2760" y="6182"/>
                      <a:pt x="2759" y="6186"/>
                      <a:pt x="2759" y="6186"/>
                    </a:cubicBezTo>
                    <a:cubicBezTo>
                      <a:pt x="2757" y="6194"/>
                      <a:pt x="2757" y="6194"/>
                      <a:pt x="2757" y="6194"/>
                    </a:cubicBezTo>
                    <a:cubicBezTo>
                      <a:pt x="2683" y="6168"/>
                      <a:pt x="2683" y="6168"/>
                      <a:pt x="2683" y="6168"/>
                    </a:cubicBezTo>
                    <a:cubicBezTo>
                      <a:pt x="2728" y="6060"/>
                      <a:pt x="2728" y="6060"/>
                      <a:pt x="2728" y="6060"/>
                    </a:cubicBezTo>
                    <a:cubicBezTo>
                      <a:pt x="2671" y="6050"/>
                      <a:pt x="2671" y="6050"/>
                      <a:pt x="2671" y="6050"/>
                    </a:cubicBezTo>
                    <a:cubicBezTo>
                      <a:pt x="2561" y="6315"/>
                      <a:pt x="2561" y="6315"/>
                      <a:pt x="2561" y="6315"/>
                    </a:cubicBezTo>
                    <a:cubicBezTo>
                      <a:pt x="2593" y="6325"/>
                      <a:pt x="2593" y="6325"/>
                      <a:pt x="2593" y="6325"/>
                    </a:cubicBezTo>
                    <a:cubicBezTo>
                      <a:pt x="2623" y="6255"/>
                      <a:pt x="2623" y="6255"/>
                      <a:pt x="2623" y="6255"/>
                    </a:cubicBezTo>
                    <a:lnTo>
                      <a:pt x="2719" y="6280"/>
                    </a:lnTo>
                    <a:close/>
                    <a:moveTo>
                      <a:pt x="2701" y="6290"/>
                    </a:moveTo>
                    <a:cubicBezTo>
                      <a:pt x="2631" y="6272"/>
                      <a:pt x="2631" y="6272"/>
                      <a:pt x="2631" y="6272"/>
                    </a:cubicBezTo>
                    <a:cubicBezTo>
                      <a:pt x="2601" y="6344"/>
                      <a:pt x="2601" y="6344"/>
                      <a:pt x="2601" y="6344"/>
                    </a:cubicBezTo>
                    <a:cubicBezTo>
                      <a:pt x="2541" y="6324"/>
                      <a:pt x="2541" y="6324"/>
                      <a:pt x="2541" y="6324"/>
                    </a:cubicBezTo>
                    <a:cubicBezTo>
                      <a:pt x="2662" y="6034"/>
                      <a:pt x="2662" y="6034"/>
                      <a:pt x="2662" y="6034"/>
                    </a:cubicBezTo>
                    <a:cubicBezTo>
                      <a:pt x="2748" y="6049"/>
                      <a:pt x="2748" y="6049"/>
                      <a:pt x="2748" y="6049"/>
                    </a:cubicBezTo>
                    <a:cubicBezTo>
                      <a:pt x="2703" y="6159"/>
                      <a:pt x="2703" y="6159"/>
                      <a:pt x="2703" y="6159"/>
                    </a:cubicBezTo>
                    <a:cubicBezTo>
                      <a:pt x="2748" y="6175"/>
                      <a:pt x="2748" y="6175"/>
                      <a:pt x="2748" y="6175"/>
                    </a:cubicBezTo>
                    <a:cubicBezTo>
                      <a:pt x="2756" y="6154"/>
                      <a:pt x="2791" y="6099"/>
                      <a:pt x="2899" y="6084"/>
                    </a:cubicBezTo>
                    <a:cubicBezTo>
                      <a:pt x="2853" y="5944"/>
                      <a:pt x="2853" y="5944"/>
                      <a:pt x="2853" y="5944"/>
                    </a:cubicBezTo>
                    <a:cubicBezTo>
                      <a:pt x="2657" y="5894"/>
                      <a:pt x="2657" y="5894"/>
                      <a:pt x="2657" y="5894"/>
                    </a:cubicBezTo>
                    <a:cubicBezTo>
                      <a:pt x="2460" y="6359"/>
                      <a:pt x="2460" y="6359"/>
                      <a:pt x="2460" y="6359"/>
                    </a:cubicBezTo>
                    <a:cubicBezTo>
                      <a:pt x="2666" y="6433"/>
                      <a:pt x="2666" y="6433"/>
                      <a:pt x="2666" y="6433"/>
                    </a:cubicBezTo>
                    <a:lnTo>
                      <a:pt x="2701" y="6290"/>
                    </a:lnTo>
                    <a:close/>
                    <a:moveTo>
                      <a:pt x="2199" y="3622"/>
                    </a:moveTo>
                    <a:cubicBezTo>
                      <a:pt x="2309" y="3619"/>
                      <a:pt x="2309" y="3619"/>
                      <a:pt x="2309" y="3619"/>
                    </a:cubicBezTo>
                    <a:cubicBezTo>
                      <a:pt x="2309" y="3619"/>
                      <a:pt x="2309" y="3619"/>
                      <a:pt x="2309" y="3619"/>
                    </a:cubicBezTo>
                    <a:cubicBezTo>
                      <a:pt x="2309" y="3619"/>
                      <a:pt x="2309" y="3619"/>
                      <a:pt x="2309" y="3619"/>
                    </a:cubicBezTo>
                    <a:cubicBezTo>
                      <a:pt x="2311" y="3619"/>
                      <a:pt x="2311" y="3619"/>
                      <a:pt x="2311" y="3619"/>
                    </a:cubicBezTo>
                    <a:cubicBezTo>
                      <a:pt x="2478" y="3626"/>
                      <a:pt x="2478" y="3626"/>
                      <a:pt x="2478" y="3626"/>
                    </a:cubicBezTo>
                    <a:cubicBezTo>
                      <a:pt x="2391" y="3797"/>
                      <a:pt x="2391" y="3797"/>
                      <a:pt x="2391" y="3797"/>
                    </a:cubicBezTo>
                    <a:cubicBezTo>
                      <a:pt x="2210" y="3798"/>
                      <a:pt x="2210" y="3798"/>
                      <a:pt x="2210" y="3798"/>
                    </a:cubicBezTo>
                    <a:cubicBezTo>
                      <a:pt x="2210" y="3798"/>
                      <a:pt x="2210" y="3798"/>
                      <a:pt x="2210" y="3798"/>
                    </a:cubicBezTo>
                    <a:cubicBezTo>
                      <a:pt x="2202" y="3798"/>
                      <a:pt x="2202" y="3798"/>
                      <a:pt x="2202" y="3798"/>
                    </a:cubicBezTo>
                    <a:cubicBezTo>
                      <a:pt x="2202" y="3798"/>
                      <a:pt x="2202" y="3798"/>
                      <a:pt x="2202" y="3798"/>
                    </a:cubicBezTo>
                    <a:cubicBezTo>
                      <a:pt x="2095" y="3798"/>
                      <a:pt x="2095" y="3798"/>
                      <a:pt x="2095" y="3798"/>
                    </a:cubicBezTo>
                    <a:cubicBezTo>
                      <a:pt x="2044" y="3635"/>
                      <a:pt x="2044" y="3635"/>
                      <a:pt x="2044" y="3635"/>
                    </a:cubicBezTo>
                    <a:cubicBezTo>
                      <a:pt x="2193" y="3623"/>
                      <a:pt x="2193" y="3623"/>
                      <a:pt x="2193" y="3623"/>
                    </a:cubicBezTo>
                    <a:cubicBezTo>
                      <a:pt x="2196" y="3622"/>
                      <a:pt x="2196" y="3622"/>
                      <a:pt x="2196" y="3622"/>
                    </a:cubicBezTo>
                    <a:cubicBezTo>
                      <a:pt x="2199" y="3622"/>
                      <a:pt x="2199" y="3622"/>
                      <a:pt x="2199" y="3622"/>
                    </a:cubicBezTo>
                    <a:cubicBezTo>
                      <a:pt x="2199" y="3622"/>
                      <a:pt x="2199" y="3622"/>
                      <a:pt x="2199" y="3622"/>
                    </a:cubicBezTo>
                    <a:close/>
                    <a:moveTo>
                      <a:pt x="2201" y="3784"/>
                    </a:moveTo>
                    <a:cubicBezTo>
                      <a:pt x="2200" y="3767"/>
                      <a:pt x="2199" y="3740"/>
                      <a:pt x="2197" y="3712"/>
                    </a:cubicBezTo>
                    <a:cubicBezTo>
                      <a:pt x="2196" y="3690"/>
                      <a:pt x="2194" y="3668"/>
                      <a:pt x="2193" y="3652"/>
                    </a:cubicBezTo>
                    <a:cubicBezTo>
                      <a:pt x="2192" y="3648"/>
                      <a:pt x="2192" y="3644"/>
                      <a:pt x="2192" y="3637"/>
                    </a:cubicBezTo>
                    <a:cubicBezTo>
                      <a:pt x="2062" y="3647"/>
                      <a:pt x="2062" y="3647"/>
                      <a:pt x="2062" y="3647"/>
                    </a:cubicBezTo>
                    <a:cubicBezTo>
                      <a:pt x="2105" y="3784"/>
                      <a:pt x="2105" y="3784"/>
                      <a:pt x="2105" y="3784"/>
                    </a:cubicBezTo>
                    <a:lnTo>
                      <a:pt x="2201" y="3784"/>
                    </a:lnTo>
                    <a:close/>
                    <a:moveTo>
                      <a:pt x="2308" y="3783"/>
                    </a:moveTo>
                    <a:cubicBezTo>
                      <a:pt x="2383" y="3783"/>
                      <a:pt x="2383" y="3783"/>
                      <a:pt x="2383" y="3783"/>
                    </a:cubicBezTo>
                    <a:cubicBezTo>
                      <a:pt x="2456" y="3639"/>
                      <a:pt x="2456" y="3639"/>
                      <a:pt x="2456" y="3639"/>
                    </a:cubicBezTo>
                    <a:cubicBezTo>
                      <a:pt x="2317" y="3633"/>
                      <a:pt x="2317" y="3633"/>
                      <a:pt x="2317" y="3633"/>
                    </a:cubicBezTo>
                    <a:lnTo>
                      <a:pt x="2308" y="3783"/>
                    </a:lnTo>
                    <a:close/>
                    <a:moveTo>
                      <a:pt x="2200" y="3636"/>
                    </a:moveTo>
                    <a:cubicBezTo>
                      <a:pt x="2204" y="3681"/>
                      <a:pt x="2208" y="3753"/>
                      <a:pt x="2209" y="3784"/>
                    </a:cubicBezTo>
                    <a:cubicBezTo>
                      <a:pt x="2300" y="3783"/>
                      <a:pt x="2300" y="3783"/>
                      <a:pt x="2300" y="3783"/>
                    </a:cubicBezTo>
                    <a:cubicBezTo>
                      <a:pt x="2309" y="3633"/>
                      <a:pt x="2309" y="3633"/>
                      <a:pt x="2309" y="3633"/>
                    </a:cubicBezTo>
                    <a:cubicBezTo>
                      <a:pt x="2308" y="3633"/>
                      <a:pt x="2308" y="3633"/>
                      <a:pt x="2308" y="3633"/>
                    </a:cubicBezTo>
                    <a:lnTo>
                      <a:pt x="2200" y="3636"/>
                    </a:lnTo>
                    <a:close/>
                    <a:moveTo>
                      <a:pt x="5296" y="5278"/>
                    </a:moveTo>
                    <a:cubicBezTo>
                      <a:pt x="5196" y="5394"/>
                      <a:pt x="5196" y="5394"/>
                      <a:pt x="5196" y="5394"/>
                    </a:cubicBezTo>
                    <a:cubicBezTo>
                      <a:pt x="5260" y="5433"/>
                      <a:pt x="5260" y="5433"/>
                      <a:pt x="5260" y="5433"/>
                    </a:cubicBezTo>
                    <a:cubicBezTo>
                      <a:pt x="5269" y="5666"/>
                      <a:pt x="5269" y="5666"/>
                      <a:pt x="5269" y="5666"/>
                    </a:cubicBezTo>
                    <a:cubicBezTo>
                      <a:pt x="5261" y="5666"/>
                      <a:pt x="5261" y="5666"/>
                      <a:pt x="5261" y="5666"/>
                    </a:cubicBezTo>
                    <a:cubicBezTo>
                      <a:pt x="5005" y="5640"/>
                      <a:pt x="5005" y="5640"/>
                      <a:pt x="5005" y="5640"/>
                    </a:cubicBezTo>
                    <a:cubicBezTo>
                      <a:pt x="4962" y="5603"/>
                      <a:pt x="4962" y="5603"/>
                      <a:pt x="4962" y="5603"/>
                    </a:cubicBezTo>
                    <a:cubicBezTo>
                      <a:pt x="4968" y="5598"/>
                      <a:pt x="4968" y="5598"/>
                      <a:pt x="4968" y="5598"/>
                    </a:cubicBezTo>
                    <a:cubicBezTo>
                      <a:pt x="4968" y="5598"/>
                      <a:pt x="4990" y="5575"/>
                      <a:pt x="5012" y="5538"/>
                    </a:cubicBezTo>
                    <a:cubicBezTo>
                      <a:pt x="5035" y="5500"/>
                      <a:pt x="5057" y="5447"/>
                      <a:pt x="5057" y="5387"/>
                    </a:cubicBezTo>
                    <a:cubicBezTo>
                      <a:pt x="5057" y="5376"/>
                      <a:pt x="5056" y="5366"/>
                      <a:pt x="5055" y="5355"/>
                    </a:cubicBezTo>
                    <a:cubicBezTo>
                      <a:pt x="5046" y="5285"/>
                      <a:pt x="5027" y="5235"/>
                      <a:pt x="5010" y="5203"/>
                    </a:cubicBezTo>
                    <a:cubicBezTo>
                      <a:pt x="4994" y="5171"/>
                      <a:pt x="4980" y="5157"/>
                      <a:pt x="4980" y="5157"/>
                    </a:cubicBezTo>
                    <a:cubicBezTo>
                      <a:pt x="4976" y="5153"/>
                      <a:pt x="4976" y="5153"/>
                      <a:pt x="4976" y="5153"/>
                    </a:cubicBezTo>
                    <a:cubicBezTo>
                      <a:pt x="5048" y="5007"/>
                      <a:pt x="5048" y="5007"/>
                      <a:pt x="5048" y="5007"/>
                    </a:cubicBezTo>
                    <a:cubicBezTo>
                      <a:pt x="5351" y="5026"/>
                      <a:pt x="5351" y="5026"/>
                      <a:pt x="5351" y="5026"/>
                    </a:cubicBezTo>
                    <a:cubicBezTo>
                      <a:pt x="5323" y="5136"/>
                      <a:pt x="5323" y="5136"/>
                      <a:pt x="5323" y="5136"/>
                    </a:cubicBezTo>
                    <a:cubicBezTo>
                      <a:pt x="5155" y="5127"/>
                      <a:pt x="5155" y="5127"/>
                      <a:pt x="5155" y="5127"/>
                    </a:cubicBezTo>
                    <a:lnTo>
                      <a:pt x="5296" y="5278"/>
                    </a:lnTo>
                    <a:close/>
                    <a:moveTo>
                      <a:pt x="5173" y="5397"/>
                    </a:moveTo>
                    <a:cubicBezTo>
                      <a:pt x="5276" y="5279"/>
                      <a:pt x="5276" y="5279"/>
                      <a:pt x="5276" y="5279"/>
                    </a:cubicBezTo>
                    <a:cubicBezTo>
                      <a:pt x="5119" y="5111"/>
                      <a:pt x="5119" y="5111"/>
                      <a:pt x="5119" y="5111"/>
                    </a:cubicBezTo>
                    <a:cubicBezTo>
                      <a:pt x="5312" y="5121"/>
                      <a:pt x="5312" y="5121"/>
                      <a:pt x="5312" y="5121"/>
                    </a:cubicBezTo>
                    <a:cubicBezTo>
                      <a:pt x="5333" y="5040"/>
                      <a:pt x="5333" y="5040"/>
                      <a:pt x="5333" y="5040"/>
                    </a:cubicBezTo>
                    <a:cubicBezTo>
                      <a:pt x="5057" y="5022"/>
                      <a:pt x="5057" y="5022"/>
                      <a:pt x="5057" y="5022"/>
                    </a:cubicBezTo>
                    <a:cubicBezTo>
                      <a:pt x="4994" y="5151"/>
                      <a:pt x="4994" y="5151"/>
                      <a:pt x="4994" y="5151"/>
                    </a:cubicBezTo>
                    <a:cubicBezTo>
                      <a:pt x="5007" y="5167"/>
                      <a:pt x="5053" y="5230"/>
                      <a:pt x="5070" y="5353"/>
                    </a:cubicBezTo>
                    <a:cubicBezTo>
                      <a:pt x="5071" y="5364"/>
                      <a:pt x="5072" y="5376"/>
                      <a:pt x="5072" y="5387"/>
                    </a:cubicBezTo>
                    <a:cubicBezTo>
                      <a:pt x="5072" y="5497"/>
                      <a:pt x="5004" y="5580"/>
                      <a:pt x="4984" y="5602"/>
                    </a:cubicBezTo>
                    <a:cubicBezTo>
                      <a:pt x="5011" y="5625"/>
                      <a:pt x="5011" y="5625"/>
                      <a:pt x="5011" y="5625"/>
                    </a:cubicBezTo>
                    <a:cubicBezTo>
                      <a:pt x="5254" y="5650"/>
                      <a:pt x="5254" y="5650"/>
                      <a:pt x="5254" y="5650"/>
                    </a:cubicBezTo>
                    <a:cubicBezTo>
                      <a:pt x="5246" y="5442"/>
                      <a:pt x="5246" y="5442"/>
                      <a:pt x="5246" y="5442"/>
                    </a:cubicBezTo>
                    <a:lnTo>
                      <a:pt x="5173" y="5397"/>
                    </a:lnTo>
                    <a:close/>
                    <a:moveTo>
                      <a:pt x="1695" y="4741"/>
                    </a:moveTo>
                    <a:cubicBezTo>
                      <a:pt x="1734" y="4782"/>
                      <a:pt x="1803" y="4797"/>
                      <a:pt x="1803" y="4797"/>
                    </a:cubicBezTo>
                    <a:cubicBezTo>
                      <a:pt x="1764" y="4946"/>
                      <a:pt x="1764" y="4946"/>
                      <a:pt x="1764" y="4946"/>
                    </a:cubicBezTo>
                    <a:cubicBezTo>
                      <a:pt x="1764" y="4946"/>
                      <a:pt x="1609" y="4896"/>
                      <a:pt x="1550" y="4858"/>
                    </a:cubicBezTo>
                    <a:cubicBezTo>
                      <a:pt x="1491" y="4820"/>
                      <a:pt x="1451" y="4682"/>
                      <a:pt x="1451" y="4682"/>
                    </a:cubicBezTo>
                    <a:cubicBezTo>
                      <a:pt x="1639" y="4656"/>
                      <a:pt x="1639" y="4656"/>
                      <a:pt x="1639" y="4656"/>
                    </a:cubicBezTo>
                    <a:cubicBezTo>
                      <a:pt x="1639" y="4656"/>
                      <a:pt x="1655" y="4700"/>
                      <a:pt x="1695" y="4741"/>
                    </a:cubicBezTo>
                    <a:close/>
                    <a:moveTo>
                      <a:pt x="1786" y="4807"/>
                    </a:moveTo>
                    <a:cubicBezTo>
                      <a:pt x="1763" y="4800"/>
                      <a:pt x="1716" y="4783"/>
                      <a:pt x="1685" y="4750"/>
                    </a:cubicBezTo>
                    <a:cubicBezTo>
                      <a:pt x="1655" y="4719"/>
                      <a:pt x="1638" y="4687"/>
                      <a:pt x="1630" y="4671"/>
                    </a:cubicBezTo>
                    <a:cubicBezTo>
                      <a:pt x="1470" y="4693"/>
                      <a:pt x="1470" y="4693"/>
                      <a:pt x="1470" y="4693"/>
                    </a:cubicBezTo>
                    <a:cubicBezTo>
                      <a:pt x="1482" y="4730"/>
                      <a:pt x="1515" y="4819"/>
                      <a:pt x="1557" y="4846"/>
                    </a:cubicBezTo>
                    <a:cubicBezTo>
                      <a:pt x="1604" y="4877"/>
                      <a:pt x="1715" y="4915"/>
                      <a:pt x="1755" y="4928"/>
                    </a:cubicBezTo>
                    <a:lnTo>
                      <a:pt x="1786" y="4807"/>
                    </a:lnTo>
                    <a:close/>
                    <a:moveTo>
                      <a:pt x="3095" y="4659"/>
                    </a:moveTo>
                    <a:cubicBezTo>
                      <a:pt x="3355" y="4754"/>
                      <a:pt x="3355" y="4754"/>
                      <a:pt x="3355" y="4754"/>
                    </a:cubicBezTo>
                    <a:cubicBezTo>
                      <a:pt x="3393" y="4869"/>
                      <a:pt x="3393" y="4869"/>
                      <a:pt x="3393" y="4869"/>
                    </a:cubicBezTo>
                    <a:cubicBezTo>
                      <a:pt x="3382" y="4894"/>
                      <a:pt x="3382" y="4894"/>
                      <a:pt x="3382" y="4894"/>
                    </a:cubicBezTo>
                    <a:cubicBezTo>
                      <a:pt x="3244" y="4890"/>
                      <a:pt x="3244" y="4890"/>
                      <a:pt x="3244" y="4890"/>
                    </a:cubicBezTo>
                    <a:cubicBezTo>
                      <a:pt x="3210" y="4844"/>
                      <a:pt x="3210" y="4844"/>
                      <a:pt x="3210" y="4844"/>
                    </a:cubicBezTo>
                    <a:cubicBezTo>
                      <a:pt x="3227" y="4795"/>
                      <a:pt x="3227" y="4795"/>
                      <a:pt x="3227" y="4795"/>
                    </a:cubicBezTo>
                    <a:cubicBezTo>
                      <a:pt x="3065" y="4738"/>
                      <a:pt x="3065" y="4738"/>
                      <a:pt x="3065" y="4738"/>
                    </a:cubicBezTo>
                    <a:lnTo>
                      <a:pt x="3095" y="4659"/>
                    </a:lnTo>
                    <a:close/>
                    <a:moveTo>
                      <a:pt x="3104" y="4676"/>
                    </a:moveTo>
                    <a:cubicBezTo>
                      <a:pt x="3083" y="4729"/>
                      <a:pt x="3083" y="4729"/>
                      <a:pt x="3083" y="4729"/>
                    </a:cubicBezTo>
                    <a:cubicBezTo>
                      <a:pt x="3231" y="4782"/>
                      <a:pt x="3231" y="4782"/>
                      <a:pt x="3231" y="4782"/>
                    </a:cubicBezTo>
                    <a:cubicBezTo>
                      <a:pt x="3244" y="4787"/>
                      <a:pt x="3244" y="4787"/>
                      <a:pt x="3244" y="4787"/>
                    </a:cubicBezTo>
                    <a:cubicBezTo>
                      <a:pt x="3240" y="4800"/>
                      <a:pt x="3240" y="4800"/>
                      <a:pt x="3240" y="4800"/>
                    </a:cubicBezTo>
                    <a:cubicBezTo>
                      <a:pt x="3226" y="4842"/>
                      <a:pt x="3226" y="4842"/>
                      <a:pt x="3226" y="4842"/>
                    </a:cubicBezTo>
                    <a:cubicBezTo>
                      <a:pt x="3251" y="4876"/>
                      <a:pt x="3251" y="4876"/>
                      <a:pt x="3251" y="4876"/>
                    </a:cubicBezTo>
                    <a:cubicBezTo>
                      <a:pt x="3373" y="4879"/>
                      <a:pt x="3373" y="4879"/>
                      <a:pt x="3373" y="4879"/>
                    </a:cubicBezTo>
                    <a:cubicBezTo>
                      <a:pt x="3378" y="4868"/>
                      <a:pt x="3378" y="4868"/>
                      <a:pt x="3378" y="4868"/>
                    </a:cubicBezTo>
                    <a:cubicBezTo>
                      <a:pt x="3344" y="4765"/>
                      <a:pt x="3344" y="4765"/>
                      <a:pt x="3344" y="4765"/>
                    </a:cubicBezTo>
                    <a:lnTo>
                      <a:pt x="3104" y="4676"/>
                    </a:lnTo>
                    <a:close/>
                    <a:moveTo>
                      <a:pt x="4026" y="5783"/>
                    </a:moveTo>
                    <a:cubicBezTo>
                      <a:pt x="4011" y="5799"/>
                      <a:pt x="4013" y="5852"/>
                      <a:pt x="4009" y="5867"/>
                    </a:cubicBezTo>
                    <a:cubicBezTo>
                      <a:pt x="4007" y="5877"/>
                      <a:pt x="3999" y="5882"/>
                      <a:pt x="3990" y="5882"/>
                    </a:cubicBezTo>
                    <a:cubicBezTo>
                      <a:pt x="3990" y="5882"/>
                      <a:pt x="3990" y="5882"/>
                      <a:pt x="3989" y="5882"/>
                    </a:cubicBezTo>
                    <a:cubicBezTo>
                      <a:pt x="3984" y="5882"/>
                      <a:pt x="3977" y="5881"/>
                      <a:pt x="3970" y="5880"/>
                    </a:cubicBezTo>
                    <a:cubicBezTo>
                      <a:pt x="3950" y="5874"/>
                      <a:pt x="3939" y="5831"/>
                      <a:pt x="3938" y="5800"/>
                    </a:cubicBezTo>
                    <a:cubicBezTo>
                      <a:pt x="3938" y="5796"/>
                      <a:pt x="3939" y="5791"/>
                      <a:pt x="3939" y="5787"/>
                    </a:cubicBezTo>
                    <a:cubicBezTo>
                      <a:pt x="3930" y="5788"/>
                      <a:pt x="3902" y="5801"/>
                      <a:pt x="3889" y="5809"/>
                    </a:cubicBezTo>
                    <a:cubicBezTo>
                      <a:pt x="3880" y="5815"/>
                      <a:pt x="3870" y="5820"/>
                      <a:pt x="3859" y="5820"/>
                    </a:cubicBezTo>
                    <a:cubicBezTo>
                      <a:pt x="3850" y="5820"/>
                      <a:pt x="3840" y="5817"/>
                      <a:pt x="3831" y="5809"/>
                    </a:cubicBezTo>
                    <a:cubicBezTo>
                      <a:pt x="3823" y="5803"/>
                      <a:pt x="3820" y="5796"/>
                      <a:pt x="3820" y="5788"/>
                    </a:cubicBezTo>
                    <a:cubicBezTo>
                      <a:pt x="3820" y="5770"/>
                      <a:pt x="3835" y="5752"/>
                      <a:pt x="3852" y="5743"/>
                    </a:cubicBezTo>
                    <a:cubicBezTo>
                      <a:pt x="3876" y="5731"/>
                      <a:pt x="3911" y="5729"/>
                      <a:pt x="3940" y="5726"/>
                    </a:cubicBezTo>
                    <a:cubicBezTo>
                      <a:pt x="3970" y="5724"/>
                      <a:pt x="4012" y="5715"/>
                      <a:pt x="4020" y="5695"/>
                    </a:cubicBezTo>
                    <a:cubicBezTo>
                      <a:pt x="4020" y="5694"/>
                      <a:pt x="4020" y="5694"/>
                      <a:pt x="4020" y="5694"/>
                    </a:cubicBezTo>
                    <a:cubicBezTo>
                      <a:pt x="4020" y="5694"/>
                      <a:pt x="4020" y="5692"/>
                      <a:pt x="4016" y="5690"/>
                    </a:cubicBezTo>
                    <a:cubicBezTo>
                      <a:pt x="3987" y="5674"/>
                      <a:pt x="3864" y="5666"/>
                      <a:pt x="3841" y="5662"/>
                    </a:cubicBezTo>
                    <a:cubicBezTo>
                      <a:pt x="3817" y="5657"/>
                      <a:pt x="3804" y="5640"/>
                      <a:pt x="3804" y="5626"/>
                    </a:cubicBezTo>
                    <a:cubicBezTo>
                      <a:pt x="3804" y="5622"/>
                      <a:pt x="3804" y="5619"/>
                      <a:pt x="3806" y="5616"/>
                    </a:cubicBezTo>
                    <a:cubicBezTo>
                      <a:pt x="3809" y="5612"/>
                      <a:pt x="3814" y="5610"/>
                      <a:pt x="3818" y="5610"/>
                    </a:cubicBezTo>
                    <a:cubicBezTo>
                      <a:pt x="3829" y="5611"/>
                      <a:pt x="3844" y="5619"/>
                      <a:pt x="3848" y="5621"/>
                    </a:cubicBezTo>
                    <a:cubicBezTo>
                      <a:pt x="3862" y="5620"/>
                      <a:pt x="4007" y="5615"/>
                      <a:pt x="4065" y="5615"/>
                    </a:cubicBezTo>
                    <a:cubicBezTo>
                      <a:pt x="4071" y="5615"/>
                      <a:pt x="4077" y="5615"/>
                      <a:pt x="4081" y="5616"/>
                    </a:cubicBezTo>
                    <a:cubicBezTo>
                      <a:pt x="4124" y="5617"/>
                      <a:pt x="4150" y="5636"/>
                      <a:pt x="4150" y="5636"/>
                    </a:cubicBezTo>
                    <a:cubicBezTo>
                      <a:pt x="4148" y="5640"/>
                      <a:pt x="4148" y="5640"/>
                      <a:pt x="4148" y="5640"/>
                    </a:cubicBezTo>
                    <a:cubicBezTo>
                      <a:pt x="4151" y="5637"/>
                      <a:pt x="4151" y="5637"/>
                      <a:pt x="4151" y="5637"/>
                    </a:cubicBezTo>
                    <a:cubicBezTo>
                      <a:pt x="4155" y="5642"/>
                      <a:pt x="4156" y="5648"/>
                      <a:pt x="4156" y="5654"/>
                    </a:cubicBezTo>
                    <a:cubicBezTo>
                      <a:pt x="4156" y="5672"/>
                      <a:pt x="4146" y="5693"/>
                      <a:pt x="4142" y="5700"/>
                    </a:cubicBezTo>
                    <a:cubicBezTo>
                      <a:pt x="4137" y="5705"/>
                      <a:pt x="4114" y="5720"/>
                      <a:pt x="4088" y="5738"/>
                    </a:cubicBezTo>
                    <a:cubicBezTo>
                      <a:pt x="4062" y="5756"/>
                      <a:pt x="4034" y="5775"/>
                      <a:pt x="4026" y="5783"/>
                    </a:cubicBezTo>
                    <a:close/>
                    <a:moveTo>
                      <a:pt x="4020" y="5778"/>
                    </a:moveTo>
                    <a:cubicBezTo>
                      <a:pt x="4030" y="5768"/>
                      <a:pt x="4057" y="5749"/>
                      <a:pt x="4083" y="5731"/>
                    </a:cubicBezTo>
                    <a:cubicBezTo>
                      <a:pt x="4109" y="5714"/>
                      <a:pt x="4134" y="5697"/>
                      <a:pt x="4135" y="5695"/>
                    </a:cubicBezTo>
                    <a:cubicBezTo>
                      <a:pt x="4138" y="5691"/>
                      <a:pt x="4148" y="5669"/>
                      <a:pt x="4148" y="5654"/>
                    </a:cubicBezTo>
                    <a:cubicBezTo>
                      <a:pt x="4148" y="5649"/>
                      <a:pt x="4147" y="5645"/>
                      <a:pt x="4145" y="5643"/>
                    </a:cubicBezTo>
                    <a:cubicBezTo>
                      <a:pt x="4142" y="5641"/>
                      <a:pt x="4119" y="5625"/>
                      <a:pt x="4081" y="5624"/>
                    </a:cubicBezTo>
                    <a:cubicBezTo>
                      <a:pt x="4077" y="5624"/>
                      <a:pt x="4071" y="5624"/>
                      <a:pt x="4065" y="5624"/>
                    </a:cubicBezTo>
                    <a:cubicBezTo>
                      <a:pt x="4004" y="5624"/>
                      <a:pt x="3847" y="5629"/>
                      <a:pt x="3847" y="5629"/>
                    </a:cubicBezTo>
                    <a:cubicBezTo>
                      <a:pt x="3846" y="5629"/>
                      <a:pt x="3846" y="5629"/>
                      <a:pt x="3846" y="5629"/>
                    </a:cubicBezTo>
                    <a:cubicBezTo>
                      <a:pt x="3845" y="5629"/>
                      <a:pt x="3845" y="5629"/>
                      <a:pt x="3845" y="5629"/>
                    </a:cubicBezTo>
                    <a:cubicBezTo>
                      <a:pt x="3845" y="5628"/>
                      <a:pt x="3827" y="5618"/>
                      <a:pt x="3818" y="5619"/>
                    </a:cubicBezTo>
                    <a:cubicBezTo>
                      <a:pt x="3815" y="5619"/>
                      <a:pt x="3814" y="5619"/>
                      <a:pt x="3813" y="5620"/>
                    </a:cubicBezTo>
                    <a:cubicBezTo>
                      <a:pt x="3812" y="5622"/>
                      <a:pt x="3812" y="5624"/>
                      <a:pt x="3812" y="5626"/>
                    </a:cubicBezTo>
                    <a:cubicBezTo>
                      <a:pt x="3812" y="5635"/>
                      <a:pt x="3822" y="5650"/>
                      <a:pt x="3842" y="5654"/>
                    </a:cubicBezTo>
                    <a:cubicBezTo>
                      <a:pt x="3855" y="5656"/>
                      <a:pt x="3901" y="5660"/>
                      <a:pt x="3943" y="5666"/>
                    </a:cubicBezTo>
                    <a:cubicBezTo>
                      <a:pt x="3965" y="5668"/>
                      <a:pt x="3985" y="5672"/>
                      <a:pt x="4000" y="5676"/>
                    </a:cubicBezTo>
                    <a:cubicBezTo>
                      <a:pt x="4016" y="5681"/>
                      <a:pt x="4027" y="5684"/>
                      <a:pt x="4028" y="5694"/>
                    </a:cubicBezTo>
                    <a:cubicBezTo>
                      <a:pt x="4028" y="5695"/>
                      <a:pt x="4028" y="5697"/>
                      <a:pt x="4028" y="5698"/>
                    </a:cubicBezTo>
                    <a:cubicBezTo>
                      <a:pt x="4015" y="5725"/>
                      <a:pt x="3971" y="5731"/>
                      <a:pt x="3941" y="5734"/>
                    </a:cubicBezTo>
                    <a:cubicBezTo>
                      <a:pt x="3912" y="5737"/>
                      <a:pt x="3878" y="5739"/>
                      <a:pt x="3856" y="5751"/>
                    </a:cubicBezTo>
                    <a:cubicBezTo>
                      <a:pt x="3841" y="5758"/>
                      <a:pt x="3828" y="5775"/>
                      <a:pt x="3828" y="5788"/>
                    </a:cubicBezTo>
                    <a:cubicBezTo>
                      <a:pt x="3828" y="5793"/>
                      <a:pt x="3830" y="5798"/>
                      <a:pt x="3836" y="5803"/>
                    </a:cubicBezTo>
                    <a:cubicBezTo>
                      <a:pt x="3844" y="5810"/>
                      <a:pt x="3852" y="5812"/>
                      <a:pt x="3859" y="5812"/>
                    </a:cubicBezTo>
                    <a:cubicBezTo>
                      <a:pt x="3867" y="5812"/>
                      <a:pt x="3876" y="5808"/>
                      <a:pt x="3885" y="5802"/>
                    </a:cubicBezTo>
                    <a:cubicBezTo>
                      <a:pt x="3900" y="5794"/>
                      <a:pt x="3928" y="5779"/>
                      <a:pt x="3941" y="5779"/>
                    </a:cubicBezTo>
                    <a:cubicBezTo>
                      <a:pt x="3943" y="5779"/>
                      <a:pt x="3948" y="5780"/>
                      <a:pt x="3948" y="5785"/>
                    </a:cubicBezTo>
                    <a:cubicBezTo>
                      <a:pt x="3948" y="5786"/>
                      <a:pt x="3948" y="5786"/>
                      <a:pt x="3948" y="5787"/>
                    </a:cubicBezTo>
                    <a:cubicBezTo>
                      <a:pt x="3947" y="5790"/>
                      <a:pt x="3947" y="5795"/>
                      <a:pt x="3947" y="5800"/>
                    </a:cubicBezTo>
                    <a:cubicBezTo>
                      <a:pt x="3946" y="5828"/>
                      <a:pt x="3961" y="5872"/>
                      <a:pt x="3972" y="5872"/>
                    </a:cubicBezTo>
                    <a:cubicBezTo>
                      <a:pt x="3979" y="5873"/>
                      <a:pt x="3985" y="5874"/>
                      <a:pt x="3989" y="5874"/>
                    </a:cubicBezTo>
                    <a:cubicBezTo>
                      <a:pt x="3997" y="5873"/>
                      <a:pt x="3999" y="5873"/>
                      <a:pt x="4001" y="5865"/>
                    </a:cubicBezTo>
                    <a:cubicBezTo>
                      <a:pt x="4005" y="5853"/>
                      <a:pt x="4001" y="5799"/>
                      <a:pt x="4020" y="5778"/>
                    </a:cubicBezTo>
                    <a:close/>
                    <a:moveTo>
                      <a:pt x="5526" y="5939"/>
                    </a:moveTo>
                    <a:cubicBezTo>
                      <a:pt x="5671" y="5965"/>
                      <a:pt x="5671" y="5965"/>
                      <a:pt x="5671" y="5965"/>
                    </a:cubicBezTo>
                    <a:cubicBezTo>
                      <a:pt x="5653" y="6068"/>
                      <a:pt x="5653" y="6068"/>
                      <a:pt x="5653" y="6068"/>
                    </a:cubicBezTo>
                    <a:cubicBezTo>
                      <a:pt x="5507" y="6042"/>
                      <a:pt x="5507" y="6042"/>
                      <a:pt x="5507" y="6042"/>
                    </a:cubicBezTo>
                    <a:cubicBezTo>
                      <a:pt x="5508" y="6035"/>
                      <a:pt x="5508" y="6035"/>
                      <a:pt x="5508" y="6035"/>
                    </a:cubicBezTo>
                    <a:lnTo>
                      <a:pt x="5526" y="5939"/>
                    </a:lnTo>
                    <a:close/>
                    <a:moveTo>
                      <a:pt x="5536" y="5954"/>
                    </a:moveTo>
                    <a:cubicBezTo>
                      <a:pt x="5522" y="6031"/>
                      <a:pt x="5522" y="6031"/>
                      <a:pt x="5522" y="6031"/>
                    </a:cubicBezTo>
                    <a:cubicBezTo>
                      <a:pt x="5642" y="6053"/>
                      <a:pt x="5642" y="6053"/>
                      <a:pt x="5642" y="6053"/>
                    </a:cubicBezTo>
                    <a:cubicBezTo>
                      <a:pt x="5656" y="5976"/>
                      <a:pt x="5656" y="5976"/>
                      <a:pt x="5656" y="5976"/>
                    </a:cubicBezTo>
                    <a:lnTo>
                      <a:pt x="5536" y="5954"/>
                    </a:lnTo>
                    <a:close/>
                    <a:moveTo>
                      <a:pt x="5511" y="5788"/>
                    </a:moveTo>
                    <a:cubicBezTo>
                      <a:pt x="5657" y="5815"/>
                      <a:pt x="5657" y="5815"/>
                      <a:pt x="5657" y="5815"/>
                    </a:cubicBezTo>
                    <a:cubicBezTo>
                      <a:pt x="5638" y="5917"/>
                      <a:pt x="5638" y="5917"/>
                      <a:pt x="5638" y="5917"/>
                    </a:cubicBezTo>
                    <a:cubicBezTo>
                      <a:pt x="5492" y="5891"/>
                      <a:pt x="5492" y="5891"/>
                      <a:pt x="5492" y="5891"/>
                    </a:cubicBezTo>
                    <a:cubicBezTo>
                      <a:pt x="5494" y="5885"/>
                      <a:pt x="5494" y="5885"/>
                      <a:pt x="5494" y="5885"/>
                    </a:cubicBezTo>
                    <a:lnTo>
                      <a:pt x="5511" y="5788"/>
                    </a:lnTo>
                    <a:close/>
                    <a:moveTo>
                      <a:pt x="5522" y="5803"/>
                    </a:moveTo>
                    <a:cubicBezTo>
                      <a:pt x="5508" y="5880"/>
                      <a:pt x="5508" y="5880"/>
                      <a:pt x="5508" y="5880"/>
                    </a:cubicBezTo>
                    <a:cubicBezTo>
                      <a:pt x="5628" y="5902"/>
                      <a:pt x="5628" y="5902"/>
                      <a:pt x="5628" y="5902"/>
                    </a:cubicBezTo>
                    <a:cubicBezTo>
                      <a:pt x="5642" y="5825"/>
                      <a:pt x="5642" y="5825"/>
                      <a:pt x="5642" y="5825"/>
                    </a:cubicBezTo>
                    <a:lnTo>
                      <a:pt x="5522" y="5803"/>
                    </a:lnTo>
                    <a:close/>
                    <a:moveTo>
                      <a:pt x="4107" y="4835"/>
                    </a:moveTo>
                    <a:cubicBezTo>
                      <a:pt x="4136" y="4877"/>
                      <a:pt x="4136" y="4877"/>
                      <a:pt x="4136" y="4877"/>
                    </a:cubicBezTo>
                    <a:cubicBezTo>
                      <a:pt x="3981" y="4971"/>
                      <a:pt x="3981" y="4971"/>
                      <a:pt x="3981" y="4971"/>
                    </a:cubicBezTo>
                    <a:cubicBezTo>
                      <a:pt x="3928" y="4883"/>
                      <a:pt x="3928" y="4883"/>
                      <a:pt x="3928" y="4883"/>
                    </a:cubicBezTo>
                    <a:cubicBezTo>
                      <a:pt x="4012" y="4830"/>
                      <a:pt x="4012" y="4830"/>
                      <a:pt x="4012" y="4830"/>
                    </a:cubicBezTo>
                    <a:cubicBezTo>
                      <a:pt x="3996" y="4802"/>
                      <a:pt x="3996" y="4802"/>
                      <a:pt x="3996" y="4802"/>
                    </a:cubicBezTo>
                    <a:cubicBezTo>
                      <a:pt x="4082" y="4752"/>
                      <a:pt x="4082" y="4752"/>
                      <a:pt x="4082" y="4752"/>
                    </a:cubicBezTo>
                    <a:cubicBezTo>
                      <a:pt x="4125" y="4824"/>
                      <a:pt x="4125" y="4824"/>
                      <a:pt x="4125" y="4824"/>
                    </a:cubicBezTo>
                    <a:lnTo>
                      <a:pt x="4107" y="4835"/>
                    </a:lnTo>
                    <a:close/>
                    <a:moveTo>
                      <a:pt x="4095" y="4842"/>
                    </a:moveTo>
                    <a:cubicBezTo>
                      <a:pt x="4087" y="4830"/>
                      <a:pt x="4087" y="4830"/>
                      <a:pt x="4087" y="4830"/>
                    </a:cubicBezTo>
                    <a:cubicBezTo>
                      <a:pt x="4100" y="4822"/>
                      <a:pt x="4100" y="4822"/>
                      <a:pt x="4100" y="4822"/>
                    </a:cubicBezTo>
                    <a:cubicBezTo>
                      <a:pt x="4106" y="4819"/>
                      <a:pt x="4106" y="4819"/>
                      <a:pt x="4106" y="4819"/>
                    </a:cubicBezTo>
                    <a:cubicBezTo>
                      <a:pt x="4077" y="4771"/>
                      <a:pt x="4077" y="4771"/>
                      <a:pt x="4077" y="4771"/>
                    </a:cubicBezTo>
                    <a:cubicBezTo>
                      <a:pt x="4015" y="4807"/>
                      <a:pt x="4015" y="4807"/>
                      <a:pt x="4015" y="4807"/>
                    </a:cubicBezTo>
                    <a:cubicBezTo>
                      <a:pt x="4024" y="4823"/>
                      <a:pt x="4024" y="4823"/>
                      <a:pt x="4024" y="4823"/>
                    </a:cubicBezTo>
                    <a:cubicBezTo>
                      <a:pt x="4032" y="4834"/>
                      <a:pt x="4032" y="4834"/>
                      <a:pt x="4032" y="4834"/>
                    </a:cubicBezTo>
                    <a:cubicBezTo>
                      <a:pt x="4020" y="4842"/>
                      <a:pt x="4020" y="4842"/>
                      <a:pt x="4020" y="4842"/>
                    </a:cubicBezTo>
                    <a:cubicBezTo>
                      <a:pt x="3947" y="4887"/>
                      <a:pt x="3947" y="4887"/>
                      <a:pt x="3947" y="4887"/>
                    </a:cubicBezTo>
                    <a:cubicBezTo>
                      <a:pt x="3986" y="4952"/>
                      <a:pt x="3986" y="4952"/>
                      <a:pt x="3986" y="4952"/>
                    </a:cubicBezTo>
                    <a:cubicBezTo>
                      <a:pt x="4116" y="4872"/>
                      <a:pt x="4116" y="4872"/>
                      <a:pt x="4116" y="4872"/>
                    </a:cubicBezTo>
                    <a:lnTo>
                      <a:pt x="4095" y="4842"/>
                    </a:lnTo>
                    <a:close/>
                    <a:moveTo>
                      <a:pt x="5012" y="6702"/>
                    </a:moveTo>
                    <a:cubicBezTo>
                      <a:pt x="5009" y="6642"/>
                      <a:pt x="5009" y="6642"/>
                      <a:pt x="5009" y="6642"/>
                    </a:cubicBezTo>
                    <a:cubicBezTo>
                      <a:pt x="5071" y="6285"/>
                      <a:pt x="5071" y="6285"/>
                      <a:pt x="5071" y="6285"/>
                    </a:cubicBezTo>
                    <a:cubicBezTo>
                      <a:pt x="5263" y="6195"/>
                      <a:pt x="5263" y="6195"/>
                      <a:pt x="5263" y="6195"/>
                    </a:cubicBezTo>
                    <a:cubicBezTo>
                      <a:pt x="5328" y="6214"/>
                      <a:pt x="5328" y="6214"/>
                      <a:pt x="5328" y="6214"/>
                    </a:cubicBezTo>
                    <a:cubicBezTo>
                      <a:pt x="5288" y="6386"/>
                      <a:pt x="5288" y="6386"/>
                      <a:pt x="5288" y="6386"/>
                    </a:cubicBezTo>
                    <a:cubicBezTo>
                      <a:pt x="5252" y="6282"/>
                      <a:pt x="5252" y="6282"/>
                      <a:pt x="5252" y="6282"/>
                    </a:cubicBezTo>
                    <a:cubicBezTo>
                      <a:pt x="5180" y="6340"/>
                      <a:pt x="5180" y="6340"/>
                      <a:pt x="5180" y="6340"/>
                    </a:cubicBezTo>
                    <a:cubicBezTo>
                      <a:pt x="5174" y="6408"/>
                      <a:pt x="5174" y="6408"/>
                      <a:pt x="5174" y="6408"/>
                    </a:cubicBezTo>
                    <a:cubicBezTo>
                      <a:pt x="5243" y="6438"/>
                      <a:pt x="5243" y="6438"/>
                      <a:pt x="5243" y="6438"/>
                    </a:cubicBezTo>
                    <a:cubicBezTo>
                      <a:pt x="5201" y="6517"/>
                      <a:pt x="5201" y="6517"/>
                      <a:pt x="5201" y="6517"/>
                    </a:cubicBezTo>
                    <a:cubicBezTo>
                      <a:pt x="5150" y="6512"/>
                      <a:pt x="5150" y="6512"/>
                      <a:pt x="5150" y="6512"/>
                    </a:cubicBezTo>
                    <a:cubicBezTo>
                      <a:pt x="5129" y="6611"/>
                      <a:pt x="5129" y="6611"/>
                      <a:pt x="5129" y="6611"/>
                    </a:cubicBezTo>
                    <a:lnTo>
                      <a:pt x="5012" y="6702"/>
                    </a:lnTo>
                    <a:close/>
                    <a:moveTo>
                      <a:pt x="5023" y="6643"/>
                    </a:moveTo>
                    <a:cubicBezTo>
                      <a:pt x="5025" y="6675"/>
                      <a:pt x="5025" y="6675"/>
                      <a:pt x="5025" y="6675"/>
                    </a:cubicBezTo>
                    <a:cubicBezTo>
                      <a:pt x="5117" y="6603"/>
                      <a:pt x="5117" y="6603"/>
                      <a:pt x="5117" y="6603"/>
                    </a:cubicBezTo>
                    <a:cubicBezTo>
                      <a:pt x="5136" y="6510"/>
                      <a:pt x="5136" y="6510"/>
                      <a:pt x="5136" y="6510"/>
                    </a:cubicBezTo>
                    <a:cubicBezTo>
                      <a:pt x="5138" y="6497"/>
                      <a:pt x="5138" y="6497"/>
                      <a:pt x="5138" y="6497"/>
                    </a:cubicBezTo>
                    <a:cubicBezTo>
                      <a:pt x="5151" y="6498"/>
                      <a:pt x="5151" y="6498"/>
                      <a:pt x="5151" y="6498"/>
                    </a:cubicBezTo>
                    <a:cubicBezTo>
                      <a:pt x="5193" y="6502"/>
                      <a:pt x="5193" y="6502"/>
                      <a:pt x="5193" y="6502"/>
                    </a:cubicBezTo>
                    <a:cubicBezTo>
                      <a:pt x="5223" y="6445"/>
                      <a:pt x="5223" y="6445"/>
                      <a:pt x="5223" y="6445"/>
                    </a:cubicBezTo>
                    <a:cubicBezTo>
                      <a:pt x="5169" y="6421"/>
                      <a:pt x="5169" y="6421"/>
                      <a:pt x="5169" y="6421"/>
                    </a:cubicBezTo>
                    <a:cubicBezTo>
                      <a:pt x="5160" y="6417"/>
                      <a:pt x="5160" y="6417"/>
                      <a:pt x="5160" y="6417"/>
                    </a:cubicBezTo>
                    <a:cubicBezTo>
                      <a:pt x="5160" y="6407"/>
                      <a:pt x="5160" y="6407"/>
                      <a:pt x="5160" y="6407"/>
                    </a:cubicBezTo>
                    <a:cubicBezTo>
                      <a:pt x="5166" y="6339"/>
                      <a:pt x="5166" y="6339"/>
                      <a:pt x="5166" y="6339"/>
                    </a:cubicBezTo>
                    <a:cubicBezTo>
                      <a:pt x="5167" y="6333"/>
                      <a:pt x="5167" y="6333"/>
                      <a:pt x="5167" y="6333"/>
                    </a:cubicBezTo>
                    <a:cubicBezTo>
                      <a:pt x="5172" y="6329"/>
                      <a:pt x="5172" y="6329"/>
                      <a:pt x="5172" y="6329"/>
                    </a:cubicBezTo>
                    <a:cubicBezTo>
                      <a:pt x="5243" y="6272"/>
                      <a:pt x="5243" y="6272"/>
                      <a:pt x="5243" y="6272"/>
                    </a:cubicBezTo>
                    <a:cubicBezTo>
                      <a:pt x="5258" y="6259"/>
                      <a:pt x="5258" y="6259"/>
                      <a:pt x="5258" y="6259"/>
                    </a:cubicBezTo>
                    <a:cubicBezTo>
                      <a:pt x="5265" y="6278"/>
                      <a:pt x="5265" y="6278"/>
                      <a:pt x="5265" y="6278"/>
                    </a:cubicBezTo>
                    <a:cubicBezTo>
                      <a:pt x="5285" y="6336"/>
                      <a:pt x="5285" y="6336"/>
                      <a:pt x="5285" y="6336"/>
                    </a:cubicBezTo>
                    <a:cubicBezTo>
                      <a:pt x="5311" y="6224"/>
                      <a:pt x="5311" y="6224"/>
                      <a:pt x="5311" y="6224"/>
                    </a:cubicBezTo>
                    <a:cubicBezTo>
                      <a:pt x="5264" y="6209"/>
                      <a:pt x="5264" y="6209"/>
                      <a:pt x="5264" y="6209"/>
                    </a:cubicBezTo>
                    <a:cubicBezTo>
                      <a:pt x="5083" y="6294"/>
                      <a:pt x="5083" y="6294"/>
                      <a:pt x="5083" y="6294"/>
                    </a:cubicBezTo>
                    <a:lnTo>
                      <a:pt x="5023" y="6643"/>
                    </a:lnTo>
                    <a:close/>
                    <a:moveTo>
                      <a:pt x="4964" y="4142"/>
                    </a:moveTo>
                    <a:cubicBezTo>
                      <a:pt x="5044" y="4174"/>
                      <a:pt x="5044" y="4174"/>
                      <a:pt x="5044" y="4174"/>
                    </a:cubicBezTo>
                    <a:cubicBezTo>
                      <a:pt x="5019" y="4238"/>
                      <a:pt x="5019" y="4238"/>
                      <a:pt x="5019" y="4238"/>
                    </a:cubicBezTo>
                    <a:cubicBezTo>
                      <a:pt x="5013" y="4235"/>
                      <a:pt x="5013" y="4235"/>
                      <a:pt x="5013" y="4235"/>
                    </a:cubicBezTo>
                    <a:cubicBezTo>
                      <a:pt x="4939" y="4206"/>
                      <a:pt x="4939" y="4206"/>
                      <a:pt x="4939" y="4206"/>
                    </a:cubicBezTo>
                    <a:lnTo>
                      <a:pt x="4964" y="4142"/>
                    </a:lnTo>
                    <a:close/>
                    <a:moveTo>
                      <a:pt x="4971" y="4159"/>
                    </a:moveTo>
                    <a:cubicBezTo>
                      <a:pt x="4956" y="4198"/>
                      <a:pt x="4956" y="4198"/>
                      <a:pt x="4956" y="4198"/>
                    </a:cubicBezTo>
                    <a:cubicBezTo>
                      <a:pt x="5012" y="4221"/>
                      <a:pt x="5012" y="4221"/>
                      <a:pt x="5012" y="4221"/>
                    </a:cubicBezTo>
                    <a:cubicBezTo>
                      <a:pt x="5027" y="4182"/>
                      <a:pt x="5027" y="4182"/>
                      <a:pt x="5027" y="4182"/>
                    </a:cubicBezTo>
                    <a:lnTo>
                      <a:pt x="4971" y="4159"/>
                    </a:lnTo>
                    <a:close/>
                    <a:moveTo>
                      <a:pt x="3402" y="4016"/>
                    </a:moveTo>
                    <a:cubicBezTo>
                      <a:pt x="3429" y="3968"/>
                      <a:pt x="3429" y="3968"/>
                      <a:pt x="3429" y="3968"/>
                    </a:cubicBezTo>
                    <a:cubicBezTo>
                      <a:pt x="3429" y="3968"/>
                      <a:pt x="3563" y="4036"/>
                      <a:pt x="3565" y="4036"/>
                    </a:cubicBezTo>
                    <a:cubicBezTo>
                      <a:pt x="3567" y="4036"/>
                      <a:pt x="3507" y="4153"/>
                      <a:pt x="3507" y="4153"/>
                    </a:cubicBezTo>
                    <a:cubicBezTo>
                      <a:pt x="3481" y="4139"/>
                      <a:pt x="3481" y="4139"/>
                      <a:pt x="3481" y="4139"/>
                    </a:cubicBezTo>
                    <a:cubicBezTo>
                      <a:pt x="3443" y="4210"/>
                      <a:pt x="3443" y="4210"/>
                      <a:pt x="3443" y="4210"/>
                    </a:cubicBezTo>
                    <a:cubicBezTo>
                      <a:pt x="3197" y="4082"/>
                      <a:pt x="3197" y="4082"/>
                      <a:pt x="3197" y="4082"/>
                    </a:cubicBezTo>
                    <a:cubicBezTo>
                      <a:pt x="3267" y="3947"/>
                      <a:pt x="3267" y="3947"/>
                      <a:pt x="3267" y="3947"/>
                    </a:cubicBezTo>
                    <a:lnTo>
                      <a:pt x="3402" y="4016"/>
                    </a:lnTo>
                    <a:close/>
                    <a:moveTo>
                      <a:pt x="3408" y="4035"/>
                    </a:moveTo>
                    <a:cubicBezTo>
                      <a:pt x="3396" y="4029"/>
                      <a:pt x="3396" y="4029"/>
                      <a:pt x="3396" y="4029"/>
                    </a:cubicBezTo>
                    <a:cubicBezTo>
                      <a:pt x="3273" y="3966"/>
                      <a:pt x="3273" y="3966"/>
                      <a:pt x="3273" y="3966"/>
                    </a:cubicBezTo>
                    <a:cubicBezTo>
                      <a:pt x="3216" y="4076"/>
                      <a:pt x="3216" y="4076"/>
                      <a:pt x="3216" y="4076"/>
                    </a:cubicBezTo>
                    <a:cubicBezTo>
                      <a:pt x="3437" y="4192"/>
                      <a:pt x="3437" y="4192"/>
                      <a:pt x="3437" y="4192"/>
                    </a:cubicBezTo>
                    <a:cubicBezTo>
                      <a:pt x="3468" y="4132"/>
                      <a:pt x="3468" y="4132"/>
                      <a:pt x="3468" y="4132"/>
                    </a:cubicBezTo>
                    <a:cubicBezTo>
                      <a:pt x="3475" y="4120"/>
                      <a:pt x="3475" y="4120"/>
                      <a:pt x="3475" y="4120"/>
                    </a:cubicBezTo>
                    <a:cubicBezTo>
                      <a:pt x="3487" y="4126"/>
                      <a:pt x="3487" y="4126"/>
                      <a:pt x="3487" y="4126"/>
                    </a:cubicBezTo>
                    <a:cubicBezTo>
                      <a:pt x="3501" y="4134"/>
                      <a:pt x="3501" y="4134"/>
                      <a:pt x="3501" y="4134"/>
                    </a:cubicBezTo>
                    <a:cubicBezTo>
                      <a:pt x="3520" y="4098"/>
                      <a:pt x="3538" y="4061"/>
                      <a:pt x="3547" y="4043"/>
                    </a:cubicBezTo>
                    <a:cubicBezTo>
                      <a:pt x="3531" y="4036"/>
                      <a:pt x="3500" y="4020"/>
                      <a:pt x="3435" y="3986"/>
                    </a:cubicBezTo>
                    <a:cubicBezTo>
                      <a:pt x="3414" y="4023"/>
                      <a:pt x="3414" y="4023"/>
                      <a:pt x="3414" y="4023"/>
                    </a:cubicBezTo>
                    <a:lnTo>
                      <a:pt x="3408" y="4035"/>
                    </a:lnTo>
                    <a:close/>
                    <a:moveTo>
                      <a:pt x="5627" y="6356"/>
                    </a:moveTo>
                    <a:cubicBezTo>
                      <a:pt x="5481" y="6330"/>
                      <a:pt x="5481" y="6330"/>
                      <a:pt x="5481" y="6330"/>
                    </a:cubicBezTo>
                    <a:cubicBezTo>
                      <a:pt x="5482" y="6324"/>
                      <a:pt x="5482" y="6324"/>
                      <a:pt x="5482" y="6324"/>
                    </a:cubicBezTo>
                    <a:cubicBezTo>
                      <a:pt x="5500" y="6227"/>
                      <a:pt x="5500" y="6227"/>
                      <a:pt x="5500" y="6227"/>
                    </a:cubicBezTo>
                    <a:cubicBezTo>
                      <a:pt x="5645" y="6254"/>
                      <a:pt x="5645" y="6254"/>
                      <a:pt x="5645" y="6254"/>
                    </a:cubicBezTo>
                    <a:lnTo>
                      <a:pt x="5627" y="6356"/>
                    </a:lnTo>
                    <a:close/>
                    <a:moveTo>
                      <a:pt x="5616" y="6341"/>
                    </a:moveTo>
                    <a:cubicBezTo>
                      <a:pt x="5630" y="6264"/>
                      <a:pt x="5630" y="6264"/>
                      <a:pt x="5630" y="6264"/>
                    </a:cubicBezTo>
                    <a:cubicBezTo>
                      <a:pt x="5510" y="6242"/>
                      <a:pt x="5510" y="6242"/>
                      <a:pt x="5510" y="6242"/>
                    </a:cubicBezTo>
                    <a:cubicBezTo>
                      <a:pt x="5496" y="6320"/>
                      <a:pt x="5496" y="6320"/>
                      <a:pt x="5496" y="6320"/>
                    </a:cubicBezTo>
                    <a:lnTo>
                      <a:pt x="5616" y="6341"/>
                    </a:lnTo>
                    <a:close/>
                    <a:moveTo>
                      <a:pt x="3498" y="4257"/>
                    </a:moveTo>
                    <a:cubicBezTo>
                      <a:pt x="3764" y="4306"/>
                      <a:pt x="3764" y="4306"/>
                      <a:pt x="3764" y="4306"/>
                    </a:cubicBezTo>
                    <a:cubicBezTo>
                      <a:pt x="3791" y="4412"/>
                      <a:pt x="3791" y="4412"/>
                      <a:pt x="3791" y="4412"/>
                    </a:cubicBezTo>
                    <a:cubicBezTo>
                      <a:pt x="3791" y="4412"/>
                      <a:pt x="3791" y="4412"/>
                      <a:pt x="3791" y="4412"/>
                    </a:cubicBezTo>
                    <a:cubicBezTo>
                      <a:pt x="3792" y="4416"/>
                      <a:pt x="3792" y="4416"/>
                      <a:pt x="3792" y="4416"/>
                    </a:cubicBezTo>
                    <a:cubicBezTo>
                      <a:pt x="3923" y="4505"/>
                      <a:pt x="3923" y="4505"/>
                      <a:pt x="3923" y="4505"/>
                    </a:cubicBezTo>
                    <a:cubicBezTo>
                      <a:pt x="4038" y="4666"/>
                      <a:pt x="4038" y="4666"/>
                      <a:pt x="4038" y="4666"/>
                    </a:cubicBezTo>
                    <a:cubicBezTo>
                      <a:pt x="3834" y="4731"/>
                      <a:pt x="3834" y="4731"/>
                      <a:pt x="3834" y="4731"/>
                    </a:cubicBezTo>
                    <a:cubicBezTo>
                      <a:pt x="3769" y="4566"/>
                      <a:pt x="3769" y="4566"/>
                      <a:pt x="3769" y="4566"/>
                    </a:cubicBezTo>
                    <a:cubicBezTo>
                      <a:pt x="3582" y="4469"/>
                      <a:pt x="3582" y="4469"/>
                      <a:pt x="3582" y="4469"/>
                    </a:cubicBezTo>
                    <a:cubicBezTo>
                      <a:pt x="3581" y="4469"/>
                      <a:pt x="3580" y="4469"/>
                      <a:pt x="3580" y="4469"/>
                    </a:cubicBezTo>
                    <a:cubicBezTo>
                      <a:pt x="3579" y="4464"/>
                      <a:pt x="3579" y="4464"/>
                      <a:pt x="3579" y="4464"/>
                    </a:cubicBezTo>
                    <a:lnTo>
                      <a:pt x="3498" y="4257"/>
                    </a:lnTo>
                    <a:close/>
                    <a:moveTo>
                      <a:pt x="3909" y="4512"/>
                    </a:moveTo>
                    <a:cubicBezTo>
                      <a:pt x="3783" y="4563"/>
                      <a:pt x="3783" y="4563"/>
                      <a:pt x="3783" y="4563"/>
                    </a:cubicBezTo>
                    <a:cubicBezTo>
                      <a:pt x="3842" y="4714"/>
                      <a:pt x="3842" y="4714"/>
                      <a:pt x="3842" y="4714"/>
                    </a:cubicBezTo>
                    <a:cubicBezTo>
                      <a:pt x="4015" y="4659"/>
                      <a:pt x="4015" y="4659"/>
                      <a:pt x="4015" y="4659"/>
                    </a:cubicBezTo>
                    <a:cubicBezTo>
                      <a:pt x="3913" y="4515"/>
                      <a:pt x="3913" y="4515"/>
                      <a:pt x="3913" y="4515"/>
                    </a:cubicBezTo>
                    <a:lnTo>
                      <a:pt x="3909" y="4512"/>
                    </a:lnTo>
                    <a:close/>
                    <a:moveTo>
                      <a:pt x="3779" y="4423"/>
                    </a:moveTo>
                    <a:cubicBezTo>
                      <a:pt x="3743" y="4432"/>
                      <a:pt x="3647" y="4454"/>
                      <a:pt x="3603" y="4464"/>
                    </a:cubicBezTo>
                    <a:cubicBezTo>
                      <a:pt x="3775" y="4553"/>
                      <a:pt x="3775" y="4553"/>
                      <a:pt x="3775" y="4553"/>
                    </a:cubicBezTo>
                    <a:cubicBezTo>
                      <a:pt x="3779" y="4555"/>
                      <a:pt x="3779" y="4555"/>
                      <a:pt x="3779" y="4555"/>
                    </a:cubicBezTo>
                    <a:cubicBezTo>
                      <a:pt x="3901" y="4506"/>
                      <a:pt x="3901" y="4506"/>
                      <a:pt x="3901" y="4506"/>
                    </a:cubicBezTo>
                    <a:cubicBezTo>
                      <a:pt x="3784" y="4427"/>
                      <a:pt x="3784" y="4427"/>
                      <a:pt x="3784" y="4427"/>
                    </a:cubicBezTo>
                    <a:cubicBezTo>
                      <a:pt x="3779" y="4424"/>
                      <a:pt x="3779" y="4424"/>
                      <a:pt x="3779" y="4424"/>
                    </a:cubicBezTo>
                    <a:lnTo>
                      <a:pt x="3779" y="4423"/>
                    </a:lnTo>
                    <a:close/>
                    <a:moveTo>
                      <a:pt x="3753" y="4318"/>
                    </a:moveTo>
                    <a:cubicBezTo>
                      <a:pt x="3520" y="4275"/>
                      <a:pt x="3520" y="4275"/>
                      <a:pt x="3520" y="4275"/>
                    </a:cubicBezTo>
                    <a:cubicBezTo>
                      <a:pt x="3592" y="4458"/>
                      <a:pt x="3592" y="4458"/>
                      <a:pt x="3592" y="4458"/>
                    </a:cubicBezTo>
                    <a:cubicBezTo>
                      <a:pt x="3630" y="4449"/>
                      <a:pt x="3739" y="4424"/>
                      <a:pt x="3777" y="4415"/>
                    </a:cubicBezTo>
                    <a:lnTo>
                      <a:pt x="3753" y="4318"/>
                    </a:lnTo>
                    <a:close/>
                    <a:moveTo>
                      <a:pt x="3409" y="5067"/>
                    </a:moveTo>
                    <a:cubicBezTo>
                      <a:pt x="3537" y="5474"/>
                      <a:pt x="3537" y="5474"/>
                      <a:pt x="3537" y="5474"/>
                    </a:cubicBezTo>
                    <a:cubicBezTo>
                      <a:pt x="3517" y="5455"/>
                      <a:pt x="3517" y="5455"/>
                      <a:pt x="3517" y="5455"/>
                    </a:cubicBezTo>
                    <a:cubicBezTo>
                      <a:pt x="3431" y="5376"/>
                      <a:pt x="3431" y="5376"/>
                      <a:pt x="3431" y="5376"/>
                    </a:cubicBezTo>
                    <a:cubicBezTo>
                      <a:pt x="3408" y="5323"/>
                      <a:pt x="3408" y="5323"/>
                      <a:pt x="3408" y="5323"/>
                    </a:cubicBezTo>
                    <a:cubicBezTo>
                      <a:pt x="3397" y="5349"/>
                      <a:pt x="3397" y="5349"/>
                      <a:pt x="3397" y="5349"/>
                    </a:cubicBezTo>
                    <a:cubicBezTo>
                      <a:pt x="3289" y="5307"/>
                      <a:pt x="3289" y="5307"/>
                      <a:pt x="3289" y="5307"/>
                    </a:cubicBezTo>
                    <a:lnTo>
                      <a:pt x="3409" y="5067"/>
                    </a:lnTo>
                    <a:close/>
                    <a:moveTo>
                      <a:pt x="3507" y="5426"/>
                    </a:moveTo>
                    <a:cubicBezTo>
                      <a:pt x="3406" y="5106"/>
                      <a:pt x="3406" y="5106"/>
                      <a:pt x="3406" y="5106"/>
                    </a:cubicBezTo>
                    <a:cubicBezTo>
                      <a:pt x="3309" y="5299"/>
                      <a:pt x="3309" y="5299"/>
                      <a:pt x="3309" y="5299"/>
                    </a:cubicBezTo>
                    <a:cubicBezTo>
                      <a:pt x="3389" y="5330"/>
                      <a:pt x="3389" y="5330"/>
                      <a:pt x="3389" y="5330"/>
                    </a:cubicBezTo>
                    <a:cubicBezTo>
                      <a:pt x="3409" y="5287"/>
                      <a:pt x="3409" y="5287"/>
                      <a:pt x="3409" y="5287"/>
                    </a:cubicBezTo>
                    <a:cubicBezTo>
                      <a:pt x="3443" y="5367"/>
                      <a:pt x="3443" y="5367"/>
                      <a:pt x="3443" y="5367"/>
                    </a:cubicBezTo>
                    <a:lnTo>
                      <a:pt x="3507" y="5426"/>
                    </a:lnTo>
                    <a:close/>
                    <a:moveTo>
                      <a:pt x="5766" y="4512"/>
                    </a:moveTo>
                    <a:cubicBezTo>
                      <a:pt x="5836" y="4516"/>
                      <a:pt x="5836" y="4516"/>
                      <a:pt x="5836" y="4516"/>
                    </a:cubicBezTo>
                    <a:cubicBezTo>
                      <a:pt x="5826" y="4668"/>
                      <a:pt x="5826" y="4668"/>
                      <a:pt x="5826" y="4668"/>
                    </a:cubicBezTo>
                    <a:cubicBezTo>
                      <a:pt x="5755" y="4663"/>
                      <a:pt x="5755" y="4663"/>
                      <a:pt x="5755" y="4663"/>
                    </a:cubicBezTo>
                    <a:cubicBezTo>
                      <a:pt x="5756" y="4656"/>
                      <a:pt x="5756" y="4656"/>
                      <a:pt x="5756" y="4656"/>
                    </a:cubicBezTo>
                    <a:lnTo>
                      <a:pt x="5766" y="4512"/>
                    </a:lnTo>
                    <a:close/>
                    <a:moveTo>
                      <a:pt x="5769" y="4651"/>
                    </a:moveTo>
                    <a:cubicBezTo>
                      <a:pt x="5813" y="4654"/>
                      <a:pt x="5813" y="4654"/>
                      <a:pt x="5813" y="4654"/>
                    </a:cubicBezTo>
                    <a:cubicBezTo>
                      <a:pt x="5822" y="4529"/>
                      <a:pt x="5822" y="4529"/>
                      <a:pt x="5822" y="4529"/>
                    </a:cubicBezTo>
                    <a:cubicBezTo>
                      <a:pt x="5778" y="4526"/>
                      <a:pt x="5778" y="4526"/>
                      <a:pt x="5778" y="4526"/>
                    </a:cubicBezTo>
                    <a:lnTo>
                      <a:pt x="5769" y="4651"/>
                    </a:lnTo>
                    <a:close/>
                    <a:moveTo>
                      <a:pt x="5615" y="4749"/>
                    </a:moveTo>
                    <a:cubicBezTo>
                      <a:pt x="5798" y="4778"/>
                      <a:pt x="5798" y="4778"/>
                      <a:pt x="5798" y="4778"/>
                    </a:cubicBezTo>
                    <a:cubicBezTo>
                      <a:pt x="5780" y="4887"/>
                      <a:pt x="5780" y="4887"/>
                      <a:pt x="5780" y="4887"/>
                    </a:cubicBezTo>
                    <a:cubicBezTo>
                      <a:pt x="5708" y="4875"/>
                      <a:pt x="5708" y="4875"/>
                      <a:pt x="5708" y="4875"/>
                    </a:cubicBezTo>
                    <a:cubicBezTo>
                      <a:pt x="5699" y="4932"/>
                      <a:pt x="5699" y="4932"/>
                      <a:pt x="5699" y="4932"/>
                    </a:cubicBezTo>
                    <a:cubicBezTo>
                      <a:pt x="5693" y="4931"/>
                      <a:pt x="5693" y="4931"/>
                      <a:pt x="5693" y="4931"/>
                    </a:cubicBezTo>
                    <a:cubicBezTo>
                      <a:pt x="5577" y="4915"/>
                      <a:pt x="5577" y="4915"/>
                      <a:pt x="5577" y="4915"/>
                    </a:cubicBezTo>
                    <a:cubicBezTo>
                      <a:pt x="5596" y="4799"/>
                      <a:pt x="5596" y="4799"/>
                      <a:pt x="5596" y="4799"/>
                    </a:cubicBezTo>
                    <a:cubicBezTo>
                      <a:pt x="5607" y="4800"/>
                      <a:pt x="5607" y="4800"/>
                      <a:pt x="5607" y="4800"/>
                    </a:cubicBezTo>
                    <a:lnTo>
                      <a:pt x="5615" y="4749"/>
                    </a:lnTo>
                    <a:close/>
                    <a:moveTo>
                      <a:pt x="5617" y="4815"/>
                    </a:moveTo>
                    <a:cubicBezTo>
                      <a:pt x="5607" y="4814"/>
                      <a:pt x="5607" y="4814"/>
                      <a:pt x="5607" y="4814"/>
                    </a:cubicBezTo>
                    <a:cubicBezTo>
                      <a:pt x="5593" y="4904"/>
                      <a:pt x="5593" y="4904"/>
                      <a:pt x="5593" y="4904"/>
                    </a:cubicBezTo>
                    <a:cubicBezTo>
                      <a:pt x="5688" y="4917"/>
                      <a:pt x="5688" y="4917"/>
                      <a:pt x="5688" y="4917"/>
                    </a:cubicBezTo>
                    <a:cubicBezTo>
                      <a:pt x="5697" y="4860"/>
                      <a:pt x="5697" y="4860"/>
                      <a:pt x="5697" y="4860"/>
                    </a:cubicBezTo>
                    <a:cubicBezTo>
                      <a:pt x="5770" y="4872"/>
                      <a:pt x="5770" y="4872"/>
                      <a:pt x="5770" y="4872"/>
                    </a:cubicBezTo>
                    <a:cubicBezTo>
                      <a:pt x="5783" y="4789"/>
                      <a:pt x="5783" y="4789"/>
                      <a:pt x="5783" y="4789"/>
                    </a:cubicBezTo>
                    <a:cubicBezTo>
                      <a:pt x="5626" y="4764"/>
                      <a:pt x="5626" y="4764"/>
                      <a:pt x="5626" y="4764"/>
                    </a:cubicBezTo>
                    <a:lnTo>
                      <a:pt x="5617" y="4815"/>
                    </a:lnTo>
                    <a:close/>
                    <a:moveTo>
                      <a:pt x="5434" y="5613"/>
                    </a:moveTo>
                    <a:cubicBezTo>
                      <a:pt x="5580" y="5639"/>
                      <a:pt x="5580" y="5639"/>
                      <a:pt x="5580" y="5639"/>
                    </a:cubicBezTo>
                    <a:cubicBezTo>
                      <a:pt x="5561" y="5742"/>
                      <a:pt x="5561" y="5742"/>
                      <a:pt x="5561" y="5742"/>
                    </a:cubicBezTo>
                    <a:cubicBezTo>
                      <a:pt x="5415" y="5716"/>
                      <a:pt x="5415" y="5716"/>
                      <a:pt x="5415" y="5716"/>
                    </a:cubicBezTo>
                    <a:cubicBezTo>
                      <a:pt x="5417" y="5709"/>
                      <a:pt x="5417" y="5709"/>
                      <a:pt x="5417" y="5709"/>
                    </a:cubicBezTo>
                    <a:lnTo>
                      <a:pt x="5434" y="5613"/>
                    </a:lnTo>
                    <a:close/>
                    <a:moveTo>
                      <a:pt x="5445" y="5628"/>
                    </a:moveTo>
                    <a:cubicBezTo>
                      <a:pt x="5431" y="5705"/>
                      <a:pt x="5431" y="5705"/>
                      <a:pt x="5431" y="5705"/>
                    </a:cubicBezTo>
                    <a:cubicBezTo>
                      <a:pt x="5551" y="5727"/>
                      <a:pt x="5551" y="5727"/>
                      <a:pt x="5551" y="5727"/>
                    </a:cubicBezTo>
                    <a:cubicBezTo>
                      <a:pt x="5565" y="5650"/>
                      <a:pt x="5565" y="5650"/>
                      <a:pt x="5565" y="5650"/>
                    </a:cubicBezTo>
                    <a:lnTo>
                      <a:pt x="5445" y="5628"/>
                    </a:lnTo>
                    <a:close/>
                    <a:moveTo>
                      <a:pt x="5367" y="3808"/>
                    </a:moveTo>
                    <a:cubicBezTo>
                      <a:pt x="5384" y="3892"/>
                      <a:pt x="5384" y="3892"/>
                      <a:pt x="5384" y="3892"/>
                    </a:cubicBezTo>
                    <a:cubicBezTo>
                      <a:pt x="5177" y="3934"/>
                      <a:pt x="5177" y="3934"/>
                      <a:pt x="5177" y="3934"/>
                    </a:cubicBezTo>
                    <a:cubicBezTo>
                      <a:pt x="5176" y="3927"/>
                      <a:pt x="5176" y="3927"/>
                      <a:pt x="5176" y="3927"/>
                    </a:cubicBezTo>
                    <a:cubicBezTo>
                      <a:pt x="5161" y="3849"/>
                      <a:pt x="5161" y="3849"/>
                      <a:pt x="5161" y="3849"/>
                    </a:cubicBezTo>
                    <a:cubicBezTo>
                      <a:pt x="5207" y="3840"/>
                      <a:pt x="5207" y="3840"/>
                      <a:pt x="5207" y="3840"/>
                    </a:cubicBezTo>
                    <a:cubicBezTo>
                      <a:pt x="5198" y="3798"/>
                      <a:pt x="5198" y="3798"/>
                      <a:pt x="5198" y="3798"/>
                    </a:cubicBezTo>
                    <a:cubicBezTo>
                      <a:pt x="5313" y="3775"/>
                      <a:pt x="5313" y="3775"/>
                      <a:pt x="5313" y="3775"/>
                    </a:cubicBezTo>
                    <a:cubicBezTo>
                      <a:pt x="5321" y="3817"/>
                      <a:pt x="5321" y="3817"/>
                      <a:pt x="5321" y="3817"/>
                    </a:cubicBezTo>
                    <a:lnTo>
                      <a:pt x="5367" y="3808"/>
                    </a:lnTo>
                    <a:close/>
                    <a:moveTo>
                      <a:pt x="5369" y="3882"/>
                    </a:moveTo>
                    <a:cubicBezTo>
                      <a:pt x="5357" y="3823"/>
                      <a:pt x="5357" y="3823"/>
                      <a:pt x="5357" y="3823"/>
                    </a:cubicBezTo>
                    <a:cubicBezTo>
                      <a:pt x="5311" y="3832"/>
                      <a:pt x="5311" y="3832"/>
                      <a:pt x="5311" y="3832"/>
                    </a:cubicBezTo>
                    <a:cubicBezTo>
                      <a:pt x="5302" y="3790"/>
                      <a:pt x="5302" y="3790"/>
                      <a:pt x="5302" y="3790"/>
                    </a:cubicBezTo>
                    <a:cubicBezTo>
                      <a:pt x="5214" y="3808"/>
                      <a:pt x="5214" y="3808"/>
                      <a:pt x="5214" y="3808"/>
                    </a:cubicBezTo>
                    <a:cubicBezTo>
                      <a:pt x="5222" y="3850"/>
                      <a:pt x="5222" y="3850"/>
                      <a:pt x="5222" y="3850"/>
                    </a:cubicBezTo>
                    <a:cubicBezTo>
                      <a:pt x="5176" y="3859"/>
                      <a:pt x="5176" y="3859"/>
                      <a:pt x="5176" y="3859"/>
                    </a:cubicBezTo>
                    <a:cubicBezTo>
                      <a:pt x="5188" y="3918"/>
                      <a:pt x="5188" y="3918"/>
                      <a:pt x="5188" y="3918"/>
                    </a:cubicBezTo>
                    <a:lnTo>
                      <a:pt x="5369" y="3882"/>
                    </a:lnTo>
                    <a:close/>
                    <a:moveTo>
                      <a:pt x="4955" y="6019"/>
                    </a:moveTo>
                    <a:cubicBezTo>
                      <a:pt x="4958" y="6041"/>
                      <a:pt x="4959" y="6064"/>
                      <a:pt x="4959" y="6088"/>
                    </a:cubicBezTo>
                    <a:cubicBezTo>
                      <a:pt x="4959" y="6185"/>
                      <a:pt x="4937" y="6282"/>
                      <a:pt x="4937" y="6282"/>
                    </a:cubicBezTo>
                    <a:cubicBezTo>
                      <a:pt x="4936" y="6287"/>
                      <a:pt x="4936" y="6287"/>
                      <a:pt x="4936" y="6287"/>
                    </a:cubicBezTo>
                    <a:cubicBezTo>
                      <a:pt x="4777" y="6311"/>
                      <a:pt x="4777" y="6311"/>
                      <a:pt x="4777" y="6311"/>
                    </a:cubicBezTo>
                    <a:cubicBezTo>
                      <a:pt x="4634" y="6179"/>
                      <a:pt x="4634" y="6179"/>
                      <a:pt x="4634" y="6179"/>
                    </a:cubicBezTo>
                    <a:cubicBezTo>
                      <a:pt x="4675" y="6065"/>
                      <a:pt x="4675" y="6065"/>
                      <a:pt x="4675" y="6065"/>
                    </a:cubicBezTo>
                    <a:cubicBezTo>
                      <a:pt x="4779" y="6067"/>
                      <a:pt x="4779" y="6067"/>
                      <a:pt x="4779" y="6067"/>
                    </a:cubicBezTo>
                    <a:cubicBezTo>
                      <a:pt x="4782" y="6058"/>
                      <a:pt x="4787" y="6038"/>
                      <a:pt x="4787" y="6016"/>
                    </a:cubicBezTo>
                    <a:cubicBezTo>
                      <a:pt x="4787" y="6011"/>
                      <a:pt x="4786" y="6006"/>
                      <a:pt x="4786" y="6001"/>
                    </a:cubicBezTo>
                    <a:cubicBezTo>
                      <a:pt x="4782" y="5965"/>
                      <a:pt x="4741" y="5879"/>
                      <a:pt x="4741" y="5879"/>
                    </a:cubicBezTo>
                    <a:cubicBezTo>
                      <a:pt x="4738" y="5873"/>
                      <a:pt x="4738" y="5873"/>
                      <a:pt x="4738" y="5873"/>
                    </a:cubicBezTo>
                    <a:cubicBezTo>
                      <a:pt x="4860" y="5769"/>
                      <a:pt x="4860" y="5769"/>
                      <a:pt x="4860" y="5769"/>
                    </a:cubicBezTo>
                    <a:cubicBezTo>
                      <a:pt x="4865" y="5777"/>
                      <a:pt x="4865" y="5777"/>
                      <a:pt x="4865" y="5777"/>
                    </a:cubicBezTo>
                    <a:cubicBezTo>
                      <a:pt x="4865" y="5778"/>
                      <a:pt x="4939" y="5904"/>
                      <a:pt x="4955" y="6019"/>
                    </a:cubicBezTo>
                    <a:close/>
                    <a:moveTo>
                      <a:pt x="4944" y="6088"/>
                    </a:moveTo>
                    <a:cubicBezTo>
                      <a:pt x="4944" y="6065"/>
                      <a:pt x="4943" y="6042"/>
                      <a:pt x="4940" y="6021"/>
                    </a:cubicBezTo>
                    <a:cubicBezTo>
                      <a:pt x="4927" y="5926"/>
                      <a:pt x="4872" y="5821"/>
                      <a:pt x="4856" y="5792"/>
                    </a:cubicBezTo>
                    <a:cubicBezTo>
                      <a:pt x="4756" y="5877"/>
                      <a:pt x="4756" y="5877"/>
                      <a:pt x="4756" y="5877"/>
                    </a:cubicBezTo>
                    <a:cubicBezTo>
                      <a:pt x="4765" y="5896"/>
                      <a:pt x="4796" y="5964"/>
                      <a:pt x="4800" y="5999"/>
                    </a:cubicBezTo>
                    <a:cubicBezTo>
                      <a:pt x="4801" y="6005"/>
                      <a:pt x="4801" y="6010"/>
                      <a:pt x="4801" y="6016"/>
                    </a:cubicBezTo>
                    <a:cubicBezTo>
                      <a:pt x="4801" y="6049"/>
                      <a:pt x="4791" y="6076"/>
                      <a:pt x="4791" y="6077"/>
                    </a:cubicBezTo>
                    <a:cubicBezTo>
                      <a:pt x="4790" y="6082"/>
                      <a:pt x="4790" y="6082"/>
                      <a:pt x="4790" y="6082"/>
                    </a:cubicBezTo>
                    <a:cubicBezTo>
                      <a:pt x="4686" y="6080"/>
                      <a:pt x="4686" y="6080"/>
                      <a:pt x="4686" y="6080"/>
                    </a:cubicBezTo>
                    <a:cubicBezTo>
                      <a:pt x="4652" y="6175"/>
                      <a:pt x="4652" y="6175"/>
                      <a:pt x="4652" y="6175"/>
                    </a:cubicBezTo>
                    <a:cubicBezTo>
                      <a:pt x="4782" y="6295"/>
                      <a:pt x="4782" y="6295"/>
                      <a:pt x="4782" y="6295"/>
                    </a:cubicBezTo>
                    <a:cubicBezTo>
                      <a:pt x="4924" y="6274"/>
                      <a:pt x="4924" y="6274"/>
                      <a:pt x="4924" y="6274"/>
                    </a:cubicBezTo>
                    <a:cubicBezTo>
                      <a:pt x="4928" y="6253"/>
                      <a:pt x="4945" y="6170"/>
                      <a:pt x="4944" y="6088"/>
                    </a:cubicBezTo>
                    <a:close/>
                    <a:moveTo>
                      <a:pt x="2893" y="4987"/>
                    </a:moveTo>
                    <a:cubicBezTo>
                      <a:pt x="2947" y="4839"/>
                      <a:pt x="2947" y="4839"/>
                      <a:pt x="2947" y="4839"/>
                    </a:cubicBezTo>
                    <a:cubicBezTo>
                      <a:pt x="3141" y="4899"/>
                      <a:pt x="3141" y="4899"/>
                      <a:pt x="3141" y="4899"/>
                    </a:cubicBezTo>
                    <a:cubicBezTo>
                      <a:pt x="3085" y="5032"/>
                      <a:pt x="3085" y="5032"/>
                      <a:pt x="3085" y="5032"/>
                    </a:cubicBezTo>
                    <a:cubicBezTo>
                      <a:pt x="3017" y="5009"/>
                      <a:pt x="3017" y="5009"/>
                      <a:pt x="3017" y="5009"/>
                    </a:cubicBezTo>
                    <a:cubicBezTo>
                      <a:pt x="3001" y="5051"/>
                      <a:pt x="3001" y="5051"/>
                      <a:pt x="3001" y="5051"/>
                    </a:cubicBezTo>
                    <a:cubicBezTo>
                      <a:pt x="2998" y="5115"/>
                      <a:pt x="2998" y="5115"/>
                      <a:pt x="2998" y="5115"/>
                    </a:cubicBezTo>
                    <a:cubicBezTo>
                      <a:pt x="3059" y="5118"/>
                      <a:pt x="3059" y="5118"/>
                      <a:pt x="3059" y="5118"/>
                    </a:cubicBezTo>
                    <a:cubicBezTo>
                      <a:pt x="3019" y="5207"/>
                      <a:pt x="3019" y="5207"/>
                      <a:pt x="3019" y="5207"/>
                    </a:cubicBezTo>
                    <a:cubicBezTo>
                      <a:pt x="2907" y="5179"/>
                      <a:pt x="2907" y="5179"/>
                      <a:pt x="2907" y="5179"/>
                    </a:cubicBezTo>
                    <a:lnTo>
                      <a:pt x="2893" y="4987"/>
                    </a:lnTo>
                    <a:close/>
                    <a:moveTo>
                      <a:pt x="2908" y="4990"/>
                    </a:moveTo>
                    <a:cubicBezTo>
                      <a:pt x="2921" y="5167"/>
                      <a:pt x="2921" y="5167"/>
                      <a:pt x="2921" y="5167"/>
                    </a:cubicBezTo>
                    <a:cubicBezTo>
                      <a:pt x="3011" y="5189"/>
                      <a:pt x="3011" y="5189"/>
                      <a:pt x="3011" y="5189"/>
                    </a:cubicBezTo>
                    <a:cubicBezTo>
                      <a:pt x="3037" y="5132"/>
                      <a:pt x="3037" y="5132"/>
                      <a:pt x="3037" y="5132"/>
                    </a:cubicBezTo>
                    <a:cubicBezTo>
                      <a:pt x="2983" y="5129"/>
                      <a:pt x="2983" y="5129"/>
                      <a:pt x="2983" y="5129"/>
                    </a:cubicBezTo>
                    <a:cubicBezTo>
                      <a:pt x="2986" y="5048"/>
                      <a:pt x="2986" y="5048"/>
                      <a:pt x="2986" y="5048"/>
                    </a:cubicBezTo>
                    <a:cubicBezTo>
                      <a:pt x="3009" y="4990"/>
                      <a:pt x="3009" y="4990"/>
                      <a:pt x="3009" y="4990"/>
                    </a:cubicBezTo>
                    <a:cubicBezTo>
                      <a:pt x="3015" y="4992"/>
                      <a:pt x="3015" y="4992"/>
                      <a:pt x="3015" y="4992"/>
                    </a:cubicBezTo>
                    <a:cubicBezTo>
                      <a:pt x="3077" y="5014"/>
                      <a:pt x="3077" y="5014"/>
                      <a:pt x="3077" y="5014"/>
                    </a:cubicBezTo>
                    <a:cubicBezTo>
                      <a:pt x="3121" y="4908"/>
                      <a:pt x="3121" y="4908"/>
                      <a:pt x="3121" y="4908"/>
                    </a:cubicBezTo>
                    <a:cubicBezTo>
                      <a:pt x="2956" y="4857"/>
                      <a:pt x="2956" y="4857"/>
                      <a:pt x="2956" y="4857"/>
                    </a:cubicBezTo>
                    <a:lnTo>
                      <a:pt x="2908" y="4990"/>
                    </a:lnTo>
                    <a:close/>
                    <a:moveTo>
                      <a:pt x="1107" y="4949"/>
                    </a:moveTo>
                    <a:cubicBezTo>
                      <a:pt x="1093" y="4931"/>
                      <a:pt x="1093" y="4931"/>
                      <a:pt x="1093" y="4931"/>
                    </a:cubicBezTo>
                    <a:cubicBezTo>
                      <a:pt x="1115" y="4926"/>
                      <a:pt x="1115" y="4926"/>
                      <a:pt x="1115" y="4926"/>
                    </a:cubicBezTo>
                    <a:cubicBezTo>
                      <a:pt x="1268" y="4896"/>
                      <a:pt x="1268" y="4896"/>
                      <a:pt x="1268" y="4896"/>
                    </a:cubicBezTo>
                    <a:cubicBezTo>
                      <a:pt x="1314" y="4887"/>
                      <a:pt x="1314" y="4887"/>
                      <a:pt x="1314" y="4887"/>
                    </a:cubicBezTo>
                    <a:cubicBezTo>
                      <a:pt x="1281" y="4920"/>
                      <a:pt x="1281" y="4920"/>
                      <a:pt x="1281" y="4920"/>
                    </a:cubicBezTo>
                    <a:cubicBezTo>
                      <a:pt x="1181" y="5018"/>
                      <a:pt x="1181" y="5018"/>
                      <a:pt x="1181" y="5018"/>
                    </a:cubicBezTo>
                    <a:cubicBezTo>
                      <a:pt x="1170" y="5029"/>
                      <a:pt x="1170" y="5029"/>
                      <a:pt x="1170" y="5029"/>
                    </a:cubicBezTo>
                    <a:cubicBezTo>
                      <a:pt x="1160" y="5017"/>
                      <a:pt x="1160" y="5017"/>
                      <a:pt x="1160" y="5017"/>
                    </a:cubicBezTo>
                    <a:lnTo>
                      <a:pt x="1107" y="4949"/>
                    </a:lnTo>
                    <a:close/>
                    <a:moveTo>
                      <a:pt x="1118" y="4940"/>
                    </a:moveTo>
                    <a:cubicBezTo>
                      <a:pt x="1171" y="5008"/>
                      <a:pt x="1171" y="5008"/>
                      <a:pt x="1171" y="5008"/>
                    </a:cubicBezTo>
                    <a:cubicBezTo>
                      <a:pt x="1271" y="4910"/>
                      <a:pt x="1271" y="4910"/>
                      <a:pt x="1271" y="4910"/>
                    </a:cubicBezTo>
                    <a:lnTo>
                      <a:pt x="1118" y="4940"/>
                    </a:lnTo>
                    <a:close/>
                    <a:moveTo>
                      <a:pt x="5584" y="4970"/>
                    </a:moveTo>
                    <a:cubicBezTo>
                      <a:pt x="5767" y="5000"/>
                      <a:pt x="5767" y="5000"/>
                      <a:pt x="5767" y="5000"/>
                    </a:cubicBezTo>
                    <a:cubicBezTo>
                      <a:pt x="5750" y="5108"/>
                      <a:pt x="5750" y="5108"/>
                      <a:pt x="5750" y="5108"/>
                    </a:cubicBezTo>
                    <a:cubicBezTo>
                      <a:pt x="5678" y="5096"/>
                      <a:pt x="5678" y="5096"/>
                      <a:pt x="5678" y="5096"/>
                    </a:cubicBezTo>
                    <a:cubicBezTo>
                      <a:pt x="5668" y="5153"/>
                      <a:pt x="5668" y="5153"/>
                      <a:pt x="5668" y="5153"/>
                    </a:cubicBezTo>
                    <a:cubicBezTo>
                      <a:pt x="5662" y="5152"/>
                      <a:pt x="5662" y="5152"/>
                      <a:pt x="5662" y="5152"/>
                    </a:cubicBezTo>
                    <a:cubicBezTo>
                      <a:pt x="5547" y="5136"/>
                      <a:pt x="5547" y="5136"/>
                      <a:pt x="5547" y="5136"/>
                    </a:cubicBezTo>
                    <a:cubicBezTo>
                      <a:pt x="5566" y="5020"/>
                      <a:pt x="5566" y="5020"/>
                      <a:pt x="5566" y="5020"/>
                    </a:cubicBezTo>
                    <a:cubicBezTo>
                      <a:pt x="5576" y="5022"/>
                      <a:pt x="5576" y="5022"/>
                      <a:pt x="5576" y="5022"/>
                    </a:cubicBezTo>
                    <a:lnTo>
                      <a:pt x="5584" y="4970"/>
                    </a:lnTo>
                    <a:close/>
                    <a:moveTo>
                      <a:pt x="5587" y="5037"/>
                    </a:moveTo>
                    <a:cubicBezTo>
                      <a:pt x="5576" y="5035"/>
                      <a:pt x="5576" y="5035"/>
                      <a:pt x="5576" y="5035"/>
                    </a:cubicBezTo>
                    <a:cubicBezTo>
                      <a:pt x="5562" y="5125"/>
                      <a:pt x="5562" y="5125"/>
                      <a:pt x="5562" y="5125"/>
                    </a:cubicBezTo>
                    <a:cubicBezTo>
                      <a:pt x="5657" y="5138"/>
                      <a:pt x="5657" y="5138"/>
                      <a:pt x="5657" y="5138"/>
                    </a:cubicBezTo>
                    <a:cubicBezTo>
                      <a:pt x="5667" y="5081"/>
                      <a:pt x="5667" y="5081"/>
                      <a:pt x="5667" y="5081"/>
                    </a:cubicBezTo>
                    <a:cubicBezTo>
                      <a:pt x="5739" y="5093"/>
                      <a:pt x="5739" y="5093"/>
                      <a:pt x="5739" y="5093"/>
                    </a:cubicBezTo>
                    <a:cubicBezTo>
                      <a:pt x="5752" y="5011"/>
                      <a:pt x="5752" y="5011"/>
                      <a:pt x="5752" y="5011"/>
                    </a:cubicBezTo>
                    <a:cubicBezTo>
                      <a:pt x="5595" y="4985"/>
                      <a:pt x="5595" y="4985"/>
                      <a:pt x="5595" y="4985"/>
                    </a:cubicBezTo>
                    <a:lnTo>
                      <a:pt x="5587" y="5037"/>
                    </a:lnTo>
                    <a:close/>
                    <a:moveTo>
                      <a:pt x="4530" y="8254"/>
                    </a:moveTo>
                    <a:cubicBezTo>
                      <a:pt x="4590" y="8339"/>
                      <a:pt x="4590" y="8339"/>
                      <a:pt x="4590" y="8339"/>
                    </a:cubicBezTo>
                    <a:cubicBezTo>
                      <a:pt x="4469" y="8424"/>
                      <a:pt x="4469" y="8424"/>
                      <a:pt x="4469" y="8424"/>
                    </a:cubicBezTo>
                    <a:cubicBezTo>
                      <a:pt x="4465" y="8419"/>
                      <a:pt x="4465" y="8419"/>
                      <a:pt x="4465" y="8419"/>
                    </a:cubicBezTo>
                    <a:cubicBezTo>
                      <a:pt x="4409" y="8338"/>
                      <a:pt x="4409" y="8338"/>
                      <a:pt x="4409" y="8338"/>
                    </a:cubicBezTo>
                    <a:lnTo>
                      <a:pt x="4530" y="8254"/>
                    </a:lnTo>
                    <a:close/>
                    <a:moveTo>
                      <a:pt x="4572" y="8336"/>
                    </a:moveTo>
                    <a:cubicBezTo>
                      <a:pt x="4527" y="8272"/>
                      <a:pt x="4527" y="8272"/>
                      <a:pt x="4527" y="8272"/>
                    </a:cubicBezTo>
                    <a:cubicBezTo>
                      <a:pt x="4427" y="8342"/>
                      <a:pt x="4427" y="8342"/>
                      <a:pt x="4427" y="8342"/>
                    </a:cubicBezTo>
                    <a:cubicBezTo>
                      <a:pt x="4472" y="8406"/>
                      <a:pt x="4472" y="8406"/>
                      <a:pt x="4472" y="8406"/>
                    </a:cubicBezTo>
                    <a:lnTo>
                      <a:pt x="4572" y="8336"/>
                    </a:lnTo>
                    <a:close/>
                    <a:moveTo>
                      <a:pt x="4303" y="9306"/>
                    </a:moveTo>
                    <a:cubicBezTo>
                      <a:pt x="4350" y="9306"/>
                      <a:pt x="4350" y="9306"/>
                      <a:pt x="4350" y="9306"/>
                    </a:cubicBezTo>
                    <a:cubicBezTo>
                      <a:pt x="4350" y="9462"/>
                      <a:pt x="4350" y="9462"/>
                      <a:pt x="4350" y="9462"/>
                    </a:cubicBezTo>
                    <a:cubicBezTo>
                      <a:pt x="4272" y="9462"/>
                      <a:pt x="4272" y="9462"/>
                      <a:pt x="4272" y="9462"/>
                    </a:cubicBezTo>
                    <a:cubicBezTo>
                      <a:pt x="4272" y="9499"/>
                      <a:pt x="4272" y="9499"/>
                      <a:pt x="4272" y="9499"/>
                    </a:cubicBezTo>
                    <a:cubicBezTo>
                      <a:pt x="4175" y="9499"/>
                      <a:pt x="4175" y="9499"/>
                      <a:pt x="4175" y="9499"/>
                    </a:cubicBezTo>
                    <a:cubicBezTo>
                      <a:pt x="4175" y="9459"/>
                      <a:pt x="4175" y="9459"/>
                      <a:pt x="4175" y="9459"/>
                    </a:cubicBezTo>
                    <a:cubicBezTo>
                      <a:pt x="4165" y="9457"/>
                      <a:pt x="4165" y="9457"/>
                      <a:pt x="4165" y="9457"/>
                    </a:cubicBezTo>
                    <a:cubicBezTo>
                      <a:pt x="4160" y="9456"/>
                      <a:pt x="4160" y="9456"/>
                      <a:pt x="4160" y="9456"/>
                    </a:cubicBezTo>
                    <a:cubicBezTo>
                      <a:pt x="4160" y="9416"/>
                      <a:pt x="4160" y="9416"/>
                      <a:pt x="4160" y="9416"/>
                    </a:cubicBezTo>
                    <a:cubicBezTo>
                      <a:pt x="4145" y="9416"/>
                      <a:pt x="4145" y="9416"/>
                      <a:pt x="4145" y="9416"/>
                    </a:cubicBezTo>
                    <a:cubicBezTo>
                      <a:pt x="4139" y="9416"/>
                      <a:pt x="4139" y="9416"/>
                      <a:pt x="4139" y="9416"/>
                    </a:cubicBezTo>
                    <a:cubicBezTo>
                      <a:pt x="4139" y="9340"/>
                      <a:pt x="4139" y="9340"/>
                      <a:pt x="4139" y="9340"/>
                    </a:cubicBezTo>
                    <a:cubicBezTo>
                      <a:pt x="4165" y="9340"/>
                      <a:pt x="4165" y="9340"/>
                      <a:pt x="4165" y="9340"/>
                    </a:cubicBezTo>
                    <a:cubicBezTo>
                      <a:pt x="4165" y="9306"/>
                      <a:pt x="4165" y="9306"/>
                      <a:pt x="4165" y="9306"/>
                    </a:cubicBezTo>
                    <a:cubicBezTo>
                      <a:pt x="4228" y="9306"/>
                      <a:pt x="4228" y="9306"/>
                      <a:pt x="4228" y="9306"/>
                    </a:cubicBezTo>
                    <a:cubicBezTo>
                      <a:pt x="4228" y="9277"/>
                      <a:pt x="4228" y="9277"/>
                      <a:pt x="4228" y="9277"/>
                    </a:cubicBezTo>
                    <a:cubicBezTo>
                      <a:pt x="4303" y="9277"/>
                      <a:pt x="4303" y="9277"/>
                      <a:pt x="4303" y="9277"/>
                    </a:cubicBezTo>
                    <a:lnTo>
                      <a:pt x="4303" y="9306"/>
                    </a:lnTo>
                    <a:close/>
                    <a:moveTo>
                      <a:pt x="4290" y="9319"/>
                    </a:moveTo>
                    <a:cubicBezTo>
                      <a:pt x="4290" y="9290"/>
                      <a:pt x="4290" y="9290"/>
                      <a:pt x="4290" y="9290"/>
                    </a:cubicBezTo>
                    <a:cubicBezTo>
                      <a:pt x="4241" y="9290"/>
                      <a:pt x="4241" y="9290"/>
                      <a:pt x="4241" y="9290"/>
                    </a:cubicBezTo>
                    <a:cubicBezTo>
                      <a:pt x="4241" y="9319"/>
                      <a:pt x="4241" y="9319"/>
                      <a:pt x="4241" y="9319"/>
                    </a:cubicBezTo>
                    <a:cubicBezTo>
                      <a:pt x="4178" y="9319"/>
                      <a:pt x="4178" y="9319"/>
                      <a:pt x="4178" y="9319"/>
                    </a:cubicBezTo>
                    <a:cubicBezTo>
                      <a:pt x="4178" y="9353"/>
                      <a:pt x="4178" y="9353"/>
                      <a:pt x="4178" y="9353"/>
                    </a:cubicBezTo>
                    <a:cubicBezTo>
                      <a:pt x="4152" y="9353"/>
                      <a:pt x="4152" y="9353"/>
                      <a:pt x="4152" y="9353"/>
                    </a:cubicBezTo>
                    <a:cubicBezTo>
                      <a:pt x="4152" y="9402"/>
                      <a:pt x="4152" y="9402"/>
                      <a:pt x="4152" y="9402"/>
                    </a:cubicBezTo>
                    <a:cubicBezTo>
                      <a:pt x="4166" y="9402"/>
                      <a:pt x="4166" y="9402"/>
                      <a:pt x="4166" y="9402"/>
                    </a:cubicBezTo>
                    <a:cubicBezTo>
                      <a:pt x="4173" y="9402"/>
                      <a:pt x="4173" y="9402"/>
                      <a:pt x="4173" y="9402"/>
                    </a:cubicBezTo>
                    <a:cubicBezTo>
                      <a:pt x="4173" y="9445"/>
                      <a:pt x="4173" y="9445"/>
                      <a:pt x="4173" y="9445"/>
                    </a:cubicBezTo>
                    <a:cubicBezTo>
                      <a:pt x="4183" y="9447"/>
                      <a:pt x="4183" y="9447"/>
                      <a:pt x="4183" y="9447"/>
                    </a:cubicBezTo>
                    <a:cubicBezTo>
                      <a:pt x="4188" y="9448"/>
                      <a:pt x="4188" y="9448"/>
                      <a:pt x="4188" y="9448"/>
                    </a:cubicBezTo>
                    <a:cubicBezTo>
                      <a:pt x="4188" y="9453"/>
                      <a:pt x="4188" y="9453"/>
                      <a:pt x="4188" y="9453"/>
                    </a:cubicBezTo>
                    <a:cubicBezTo>
                      <a:pt x="4188" y="9486"/>
                      <a:pt x="4188" y="9486"/>
                      <a:pt x="4188" y="9486"/>
                    </a:cubicBezTo>
                    <a:cubicBezTo>
                      <a:pt x="4259" y="9486"/>
                      <a:pt x="4259" y="9486"/>
                      <a:pt x="4259" y="9486"/>
                    </a:cubicBezTo>
                    <a:cubicBezTo>
                      <a:pt x="4259" y="9449"/>
                      <a:pt x="4259" y="9449"/>
                      <a:pt x="4259" y="9449"/>
                    </a:cubicBezTo>
                    <a:cubicBezTo>
                      <a:pt x="4337" y="9449"/>
                      <a:pt x="4337" y="9449"/>
                      <a:pt x="4337" y="9449"/>
                    </a:cubicBezTo>
                    <a:cubicBezTo>
                      <a:pt x="4337" y="9319"/>
                      <a:pt x="4337" y="9319"/>
                      <a:pt x="4337" y="9319"/>
                    </a:cubicBezTo>
                    <a:lnTo>
                      <a:pt x="4290" y="9319"/>
                    </a:lnTo>
                    <a:close/>
                    <a:moveTo>
                      <a:pt x="3979" y="9309"/>
                    </a:moveTo>
                    <a:cubicBezTo>
                      <a:pt x="3858" y="9394"/>
                      <a:pt x="3858" y="9394"/>
                      <a:pt x="3858" y="9394"/>
                    </a:cubicBezTo>
                    <a:cubicBezTo>
                      <a:pt x="3855" y="9389"/>
                      <a:pt x="3855" y="9389"/>
                      <a:pt x="3855" y="9389"/>
                    </a:cubicBezTo>
                    <a:cubicBezTo>
                      <a:pt x="3798" y="9309"/>
                      <a:pt x="3798" y="9309"/>
                      <a:pt x="3798" y="9309"/>
                    </a:cubicBezTo>
                    <a:cubicBezTo>
                      <a:pt x="3919" y="9224"/>
                      <a:pt x="3919" y="9224"/>
                      <a:pt x="3919" y="9224"/>
                    </a:cubicBezTo>
                    <a:lnTo>
                      <a:pt x="3979" y="9309"/>
                    </a:lnTo>
                    <a:close/>
                    <a:moveTo>
                      <a:pt x="3861" y="9376"/>
                    </a:moveTo>
                    <a:cubicBezTo>
                      <a:pt x="3961" y="9306"/>
                      <a:pt x="3961" y="9306"/>
                      <a:pt x="3961" y="9306"/>
                    </a:cubicBezTo>
                    <a:cubicBezTo>
                      <a:pt x="3916" y="9242"/>
                      <a:pt x="3916" y="9242"/>
                      <a:pt x="3916" y="9242"/>
                    </a:cubicBezTo>
                    <a:cubicBezTo>
                      <a:pt x="3816" y="9312"/>
                      <a:pt x="3816" y="9312"/>
                      <a:pt x="3816" y="9312"/>
                    </a:cubicBezTo>
                    <a:lnTo>
                      <a:pt x="3861" y="9376"/>
                    </a:lnTo>
                    <a:close/>
                    <a:moveTo>
                      <a:pt x="683" y="6488"/>
                    </a:moveTo>
                    <a:cubicBezTo>
                      <a:pt x="657" y="6392"/>
                      <a:pt x="657" y="6392"/>
                      <a:pt x="657" y="6392"/>
                    </a:cubicBezTo>
                    <a:cubicBezTo>
                      <a:pt x="718" y="6244"/>
                      <a:pt x="718" y="6244"/>
                      <a:pt x="718" y="6244"/>
                    </a:cubicBezTo>
                    <a:cubicBezTo>
                      <a:pt x="839" y="6275"/>
                      <a:pt x="839" y="6275"/>
                      <a:pt x="839" y="6275"/>
                    </a:cubicBezTo>
                    <a:cubicBezTo>
                      <a:pt x="845" y="6202"/>
                      <a:pt x="845" y="6202"/>
                      <a:pt x="845" y="6202"/>
                    </a:cubicBezTo>
                    <a:cubicBezTo>
                      <a:pt x="692" y="6197"/>
                      <a:pt x="692" y="6197"/>
                      <a:pt x="692" y="6197"/>
                    </a:cubicBezTo>
                    <a:cubicBezTo>
                      <a:pt x="707" y="6088"/>
                      <a:pt x="707" y="6088"/>
                      <a:pt x="707" y="6088"/>
                    </a:cubicBezTo>
                    <a:cubicBezTo>
                      <a:pt x="987" y="6084"/>
                      <a:pt x="987" y="6084"/>
                      <a:pt x="987" y="6084"/>
                    </a:cubicBezTo>
                    <a:cubicBezTo>
                      <a:pt x="1050" y="6156"/>
                      <a:pt x="1050" y="6156"/>
                      <a:pt x="1050" y="6156"/>
                    </a:cubicBezTo>
                    <a:cubicBezTo>
                      <a:pt x="1048" y="6161"/>
                      <a:pt x="1048" y="6161"/>
                      <a:pt x="1048" y="6161"/>
                    </a:cubicBezTo>
                    <a:cubicBezTo>
                      <a:pt x="981" y="6311"/>
                      <a:pt x="981" y="6311"/>
                      <a:pt x="981" y="6311"/>
                    </a:cubicBezTo>
                    <a:cubicBezTo>
                      <a:pt x="833" y="6360"/>
                      <a:pt x="833" y="6360"/>
                      <a:pt x="833" y="6360"/>
                    </a:cubicBezTo>
                    <a:cubicBezTo>
                      <a:pt x="831" y="6371"/>
                      <a:pt x="831" y="6371"/>
                      <a:pt x="831" y="6371"/>
                    </a:cubicBezTo>
                    <a:cubicBezTo>
                      <a:pt x="908" y="6413"/>
                      <a:pt x="908" y="6413"/>
                      <a:pt x="908" y="6413"/>
                    </a:cubicBezTo>
                    <a:cubicBezTo>
                      <a:pt x="814" y="6570"/>
                      <a:pt x="814" y="6570"/>
                      <a:pt x="814" y="6570"/>
                    </a:cubicBezTo>
                    <a:lnTo>
                      <a:pt x="683" y="6488"/>
                    </a:lnTo>
                    <a:close/>
                    <a:moveTo>
                      <a:pt x="673" y="6393"/>
                    </a:moveTo>
                    <a:cubicBezTo>
                      <a:pt x="695" y="6478"/>
                      <a:pt x="695" y="6478"/>
                      <a:pt x="695" y="6478"/>
                    </a:cubicBezTo>
                    <a:cubicBezTo>
                      <a:pt x="809" y="6549"/>
                      <a:pt x="809" y="6549"/>
                      <a:pt x="809" y="6549"/>
                    </a:cubicBezTo>
                    <a:cubicBezTo>
                      <a:pt x="887" y="6418"/>
                      <a:pt x="887" y="6418"/>
                      <a:pt x="887" y="6418"/>
                    </a:cubicBezTo>
                    <a:cubicBezTo>
                      <a:pt x="814" y="6378"/>
                      <a:pt x="814" y="6378"/>
                      <a:pt x="814" y="6378"/>
                    </a:cubicBezTo>
                    <a:cubicBezTo>
                      <a:pt x="821" y="6348"/>
                      <a:pt x="821" y="6348"/>
                      <a:pt x="821" y="6348"/>
                    </a:cubicBezTo>
                    <a:cubicBezTo>
                      <a:pt x="970" y="6300"/>
                      <a:pt x="970" y="6300"/>
                      <a:pt x="970" y="6300"/>
                    </a:cubicBezTo>
                    <a:cubicBezTo>
                      <a:pt x="1033" y="6159"/>
                      <a:pt x="1033" y="6159"/>
                      <a:pt x="1033" y="6159"/>
                    </a:cubicBezTo>
                    <a:cubicBezTo>
                      <a:pt x="980" y="6099"/>
                      <a:pt x="980" y="6099"/>
                      <a:pt x="980" y="6099"/>
                    </a:cubicBezTo>
                    <a:cubicBezTo>
                      <a:pt x="720" y="6103"/>
                      <a:pt x="720" y="6103"/>
                      <a:pt x="720" y="6103"/>
                    </a:cubicBezTo>
                    <a:cubicBezTo>
                      <a:pt x="709" y="6182"/>
                      <a:pt x="709" y="6182"/>
                      <a:pt x="709" y="6182"/>
                    </a:cubicBezTo>
                    <a:cubicBezTo>
                      <a:pt x="861" y="6188"/>
                      <a:pt x="861" y="6188"/>
                      <a:pt x="861" y="6188"/>
                    </a:cubicBezTo>
                    <a:cubicBezTo>
                      <a:pt x="852" y="6293"/>
                      <a:pt x="852" y="6293"/>
                      <a:pt x="852" y="6293"/>
                    </a:cubicBezTo>
                    <a:cubicBezTo>
                      <a:pt x="727" y="6261"/>
                      <a:pt x="727" y="6261"/>
                      <a:pt x="727" y="6261"/>
                    </a:cubicBezTo>
                    <a:lnTo>
                      <a:pt x="673" y="6393"/>
                    </a:lnTo>
                    <a:close/>
                    <a:moveTo>
                      <a:pt x="1283" y="6538"/>
                    </a:moveTo>
                    <a:cubicBezTo>
                      <a:pt x="1112" y="6792"/>
                      <a:pt x="1112" y="6792"/>
                      <a:pt x="1112" y="6792"/>
                    </a:cubicBezTo>
                    <a:cubicBezTo>
                      <a:pt x="885" y="6651"/>
                      <a:pt x="885" y="6651"/>
                      <a:pt x="885" y="6651"/>
                    </a:cubicBezTo>
                    <a:cubicBezTo>
                      <a:pt x="1060" y="6384"/>
                      <a:pt x="1060" y="6384"/>
                      <a:pt x="1060" y="6384"/>
                    </a:cubicBezTo>
                    <a:cubicBezTo>
                      <a:pt x="1122" y="6345"/>
                      <a:pt x="1122" y="6345"/>
                      <a:pt x="1122" y="6345"/>
                    </a:cubicBezTo>
                    <a:cubicBezTo>
                      <a:pt x="1178" y="6223"/>
                      <a:pt x="1178" y="6223"/>
                      <a:pt x="1178" y="6223"/>
                    </a:cubicBezTo>
                    <a:cubicBezTo>
                      <a:pt x="1399" y="6406"/>
                      <a:pt x="1399" y="6406"/>
                      <a:pt x="1399" y="6406"/>
                    </a:cubicBezTo>
                    <a:cubicBezTo>
                      <a:pt x="1332" y="6473"/>
                      <a:pt x="1332" y="6473"/>
                      <a:pt x="1332" y="6473"/>
                    </a:cubicBezTo>
                    <a:cubicBezTo>
                      <a:pt x="1252" y="6429"/>
                      <a:pt x="1252" y="6429"/>
                      <a:pt x="1252" y="6429"/>
                    </a:cubicBezTo>
                    <a:cubicBezTo>
                      <a:pt x="1135" y="6448"/>
                      <a:pt x="1135" y="6448"/>
                      <a:pt x="1135" y="6448"/>
                    </a:cubicBezTo>
                    <a:cubicBezTo>
                      <a:pt x="1021" y="6621"/>
                      <a:pt x="1021" y="6621"/>
                      <a:pt x="1021" y="6621"/>
                    </a:cubicBezTo>
                    <a:cubicBezTo>
                      <a:pt x="1069" y="6654"/>
                      <a:pt x="1069" y="6654"/>
                      <a:pt x="1069" y="6654"/>
                    </a:cubicBezTo>
                    <a:cubicBezTo>
                      <a:pt x="1187" y="6476"/>
                      <a:pt x="1187" y="6476"/>
                      <a:pt x="1187" y="6476"/>
                    </a:cubicBezTo>
                    <a:lnTo>
                      <a:pt x="1283" y="6538"/>
                    </a:lnTo>
                    <a:close/>
                    <a:moveTo>
                      <a:pt x="1264" y="6542"/>
                    </a:moveTo>
                    <a:cubicBezTo>
                      <a:pt x="1191" y="6496"/>
                      <a:pt x="1191" y="6496"/>
                      <a:pt x="1191" y="6496"/>
                    </a:cubicBezTo>
                    <a:cubicBezTo>
                      <a:pt x="1080" y="6661"/>
                      <a:pt x="1080" y="6661"/>
                      <a:pt x="1080" y="6661"/>
                    </a:cubicBezTo>
                    <a:cubicBezTo>
                      <a:pt x="1073" y="6673"/>
                      <a:pt x="1073" y="6673"/>
                      <a:pt x="1073" y="6673"/>
                    </a:cubicBezTo>
                    <a:cubicBezTo>
                      <a:pt x="1061" y="6665"/>
                      <a:pt x="1061" y="6665"/>
                      <a:pt x="1061" y="6665"/>
                    </a:cubicBezTo>
                    <a:cubicBezTo>
                      <a:pt x="1013" y="6632"/>
                      <a:pt x="1013" y="6632"/>
                      <a:pt x="1013" y="6632"/>
                    </a:cubicBezTo>
                    <a:cubicBezTo>
                      <a:pt x="1001" y="6625"/>
                      <a:pt x="1001" y="6625"/>
                      <a:pt x="1001" y="6625"/>
                    </a:cubicBezTo>
                    <a:cubicBezTo>
                      <a:pt x="1009" y="6613"/>
                      <a:pt x="1009" y="6613"/>
                      <a:pt x="1009" y="6613"/>
                    </a:cubicBezTo>
                    <a:cubicBezTo>
                      <a:pt x="1124" y="6440"/>
                      <a:pt x="1124" y="6440"/>
                      <a:pt x="1124" y="6440"/>
                    </a:cubicBezTo>
                    <a:cubicBezTo>
                      <a:pt x="1127" y="6435"/>
                      <a:pt x="1127" y="6435"/>
                      <a:pt x="1127" y="6435"/>
                    </a:cubicBezTo>
                    <a:cubicBezTo>
                      <a:pt x="1133" y="6434"/>
                      <a:pt x="1133" y="6434"/>
                      <a:pt x="1133" y="6434"/>
                    </a:cubicBezTo>
                    <a:cubicBezTo>
                      <a:pt x="1250" y="6415"/>
                      <a:pt x="1250" y="6415"/>
                      <a:pt x="1250" y="6415"/>
                    </a:cubicBezTo>
                    <a:cubicBezTo>
                      <a:pt x="1255" y="6415"/>
                      <a:pt x="1255" y="6415"/>
                      <a:pt x="1255" y="6415"/>
                    </a:cubicBezTo>
                    <a:cubicBezTo>
                      <a:pt x="1259" y="6417"/>
                      <a:pt x="1259" y="6417"/>
                      <a:pt x="1259" y="6417"/>
                    </a:cubicBezTo>
                    <a:cubicBezTo>
                      <a:pt x="1330" y="6456"/>
                      <a:pt x="1330" y="6456"/>
                      <a:pt x="1330" y="6456"/>
                    </a:cubicBezTo>
                    <a:cubicBezTo>
                      <a:pt x="1378" y="6407"/>
                      <a:pt x="1378" y="6407"/>
                      <a:pt x="1378" y="6407"/>
                    </a:cubicBezTo>
                    <a:cubicBezTo>
                      <a:pt x="1183" y="6246"/>
                      <a:pt x="1183" y="6246"/>
                      <a:pt x="1183" y="6246"/>
                    </a:cubicBezTo>
                    <a:cubicBezTo>
                      <a:pt x="1135" y="6351"/>
                      <a:pt x="1135" y="6351"/>
                      <a:pt x="1135" y="6351"/>
                    </a:cubicBezTo>
                    <a:cubicBezTo>
                      <a:pt x="1133" y="6355"/>
                      <a:pt x="1133" y="6355"/>
                      <a:pt x="1133" y="6355"/>
                    </a:cubicBezTo>
                    <a:cubicBezTo>
                      <a:pt x="1130" y="6357"/>
                      <a:pt x="1130" y="6357"/>
                      <a:pt x="1130" y="6357"/>
                    </a:cubicBezTo>
                    <a:cubicBezTo>
                      <a:pt x="1070" y="6394"/>
                      <a:pt x="1070" y="6394"/>
                      <a:pt x="1070" y="6394"/>
                    </a:cubicBezTo>
                    <a:cubicBezTo>
                      <a:pt x="905" y="6646"/>
                      <a:pt x="905" y="6646"/>
                      <a:pt x="905" y="6646"/>
                    </a:cubicBezTo>
                    <a:cubicBezTo>
                      <a:pt x="1108" y="6773"/>
                      <a:pt x="1108" y="6773"/>
                      <a:pt x="1108" y="6773"/>
                    </a:cubicBezTo>
                    <a:lnTo>
                      <a:pt x="1264" y="6542"/>
                    </a:lnTo>
                    <a:close/>
                    <a:moveTo>
                      <a:pt x="4873" y="8576"/>
                    </a:moveTo>
                    <a:cubicBezTo>
                      <a:pt x="4766" y="8561"/>
                      <a:pt x="4766" y="8561"/>
                      <a:pt x="4766" y="8561"/>
                    </a:cubicBezTo>
                    <a:cubicBezTo>
                      <a:pt x="4726" y="8338"/>
                      <a:pt x="4726" y="8338"/>
                      <a:pt x="4726" y="8338"/>
                    </a:cubicBezTo>
                    <a:cubicBezTo>
                      <a:pt x="4932" y="8243"/>
                      <a:pt x="4932" y="8243"/>
                      <a:pt x="4932" y="8243"/>
                    </a:cubicBezTo>
                    <a:cubicBezTo>
                      <a:pt x="4963" y="8371"/>
                      <a:pt x="4963" y="8371"/>
                      <a:pt x="4963" y="8371"/>
                    </a:cubicBezTo>
                    <a:cubicBezTo>
                      <a:pt x="5076" y="8345"/>
                      <a:pt x="5076" y="8345"/>
                      <a:pt x="5076" y="8345"/>
                    </a:cubicBezTo>
                    <a:cubicBezTo>
                      <a:pt x="5075" y="8355"/>
                      <a:pt x="5075" y="8355"/>
                      <a:pt x="5075" y="8355"/>
                    </a:cubicBezTo>
                    <a:cubicBezTo>
                      <a:pt x="5052" y="8845"/>
                      <a:pt x="5052" y="8845"/>
                      <a:pt x="5052" y="8845"/>
                    </a:cubicBezTo>
                    <a:cubicBezTo>
                      <a:pt x="4875" y="8847"/>
                      <a:pt x="4875" y="8847"/>
                      <a:pt x="4875" y="8847"/>
                    </a:cubicBezTo>
                    <a:lnTo>
                      <a:pt x="4873" y="8576"/>
                    </a:lnTo>
                    <a:close/>
                    <a:moveTo>
                      <a:pt x="4779" y="8548"/>
                    </a:moveTo>
                    <a:cubicBezTo>
                      <a:pt x="4888" y="8563"/>
                      <a:pt x="4888" y="8563"/>
                      <a:pt x="4888" y="8563"/>
                    </a:cubicBezTo>
                    <a:cubicBezTo>
                      <a:pt x="4890" y="8832"/>
                      <a:pt x="4890" y="8832"/>
                      <a:pt x="4890" y="8832"/>
                    </a:cubicBezTo>
                    <a:cubicBezTo>
                      <a:pt x="5038" y="8831"/>
                      <a:pt x="5038" y="8831"/>
                      <a:pt x="5038" y="8831"/>
                    </a:cubicBezTo>
                    <a:cubicBezTo>
                      <a:pt x="5060" y="8364"/>
                      <a:pt x="5060" y="8364"/>
                      <a:pt x="5060" y="8364"/>
                    </a:cubicBezTo>
                    <a:cubicBezTo>
                      <a:pt x="4952" y="8389"/>
                      <a:pt x="4952" y="8389"/>
                      <a:pt x="4952" y="8389"/>
                    </a:cubicBezTo>
                    <a:cubicBezTo>
                      <a:pt x="4922" y="8264"/>
                      <a:pt x="4922" y="8264"/>
                      <a:pt x="4922" y="8264"/>
                    </a:cubicBezTo>
                    <a:cubicBezTo>
                      <a:pt x="4742" y="8347"/>
                      <a:pt x="4742" y="8347"/>
                      <a:pt x="4742" y="8347"/>
                    </a:cubicBezTo>
                    <a:lnTo>
                      <a:pt x="4779" y="8548"/>
                    </a:lnTo>
                    <a:close/>
                    <a:moveTo>
                      <a:pt x="650" y="7984"/>
                    </a:moveTo>
                    <a:cubicBezTo>
                      <a:pt x="659" y="7995"/>
                      <a:pt x="664" y="8007"/>
                      <a:pt x="664" y="8021"/>
                    </a:cubicBezTo>
                    <a:cubicBezTo>
                      <a:pt x="664" y="8042"/>
                      <a:pt x="652" y="8065"/>
                      <a:pt x="621" y="8094"/>
                    </a:cubicBezTo>
                    <a:cubicBezTo>
                      <a:pt x="590" y="8122"/>
                      <a:pt x="552" y="8135"/>
                      <a:pt x="517" y="8135"/>
                    </a:cubicBezTo>
                    <a:cubicBezTo>
                      <a:pt x="494" y="8135"/>
                      <a:pt x="472" y="8129"/>
                      <a:pt x="456" y="8116"/>
                    </a:cubicBezTo>
                    <a:cubicBezTo>
                      <a:pt x="445" y="8108"/>
                      <a:pt x="441" y="8097"/>
                      <a:pt x="441" y="8085"/>
                    </a:cubicBezTo>
                    <a:cubicBezTo>
                      <a:pt x="441" y="8049"/>
                      <a:pt x="476" y="8004"/>
                      <a:pt x="503" y="7985"/>
                    </a:cubicBezTo>
                    <a:cubicBezTo>
                      <a:pt x="524" y="7970"/>
                      <a:pt x="557" y="7959"/>
                      <a:pt x="589" y="7959"/>
                    </a:cubicBezTo>
                    <a:cubicBezTo>
                      <a:pt x="613" y="7959"/>
                      <a:pt x="636" y="7966"/>
                      <a:pt x="650" y="7984"/>
                    </a:cubicBezTo>
                    <a:close/>
                    <a:moveTo>
                      <a:pt x="656" y="8021"/>
                    </a:moveTo>
                    <a:cubicBezTo>
                      <a:pt x="656" y="8009"/>
                      <a:pt x="651" y="7999"/>
                      <a:pt x="643" y="7989"/>
                    </a:cubicBezTo>
                    <a:cubicBezTo>
                      <a:pt x="647" y="7986"/>
                      <a:pt x="647" y="7986"/>
                      <a:pt x="647" y="7986"/>
                    </a:cubicBezTo>
                    <a:cubicBezTo>
                      <a:pt x="643" y="7988"/>
                      <a:pt x="643" y="7988"/>
                      <a:pt x="643" y="7988"/>
                    </a:cubicBezTo>
                    <a:cubicBezTo>
                      <a:pt x="632" y="7974"/>
                      <a:pt x="612" y="7967"/>
                      <a:pt x="589" y="7967"/>
                    </a:cubicBezTo>
                    <a:cubicBezTo>
                      <a:pt x="559" y="7967"/>
                      <a:pt x="526" y="7978"/>
                      <a:pt x="508" y="7991"/>
                    </a:cubicBezTo>
                    <a:cubicBezTo>
                      <a:pt x="482" y="8009"/>
                      <a:pt x="449" y="8054"/>
                      <a:pt x="449" y="8085"/>
                    </a:cubicBezTo>
                    <a:cubicBezTo>
                      <a:pt x="449" y="8095"/>
                      <a:pt x="452" y="8103"/>
                      <a:pt x="461" y="8110"/>
                    </a:cubicBezTo>
                    <a:cubicBezTo>
                      <a:pt x="475" y="8121"/>
                      <a:pt x="495" y="8127"/>
                      <a:pt x="517" y="8127"/>
                    </a:cubicBezTo>
                    <a:cubicBezTo>
                      <a:pt x="549" y="8127"/>
                      <a:pt x="586" y="8115"/>
                      <a:pt x="615" y="8087"/>
                    </a:cubicBezTo>
                    <a:cubicBezTo>
                      <a:pt x="645" y="8060"/>
                      <a:pt x="656" y="8038"/>
                      <a:pt x="656" y="8021"/>
                    </a:cubicBezTo>
                    <a:close/>
                    <a:moveTo>
                      <a:pt x="1363" y="9391"/>
                    </a:moveTo>
                    <a:cubicBezTo>
                      <a:pt x="1260" y="9299"/>
                      <a:pt x="1260" y="9299"/>
                      <a:pt x="1260" y="9299"/>
                    </a:cubicBezTo>
                    <a:cubicBezTo>
                      <a:pt x="1351" y="9196"/>
                      <a:pt x="1351" y="9196"/>
                      <a:pt x="1351" y="9196"/>
                    </a:cubicBezTo>
                    <a:cubicBezTo>
                      <a:pt x="1356" y="9200"/>
                      <a:pt x="1356" y="9200"/>
                      <a:pt x="1356" y="9200"/>
                    </a:cubicBezTo>
                    <a:cubicBezTo>
                      <a:pt x="1454" y="9287"/>
                      <a:pt x="1454" y="9287"/>
                      <a:pt x="1454" y="9287"/>
                    </a:cubicBezTo>
                    <a:lnTo>
                      <a:pt x="1363" y="9391"/>
                    </a:lnTo>
                    <a:close/>
                    <a:moveTo>
                      <a:pt x="1362" y="9372"/>
                    </a:moveTo>
                    <a:cubicBezTo>
                      <a:pt x="1436" y="9288"/>
                      <a:pt x="1436" y="9288"/>
                      <a:pt x="1436" y="9288"/>
                    </a:cubicBezTo>
                    <a:cubicBezTo>
                      <a:pt x="1352" y="9214"/>
                      <a:pt x="1352" y="9214"/>
                      <a:pt x="1352" y="9214"/>
                    </a:cubicBezTo>
                    <a:cubicBezTo>
                      <a:pt x="1278" y="9298"/>
                      <a:pt x="1278" y="9298"/>
                      <a:pt x="1278" y="9298"/>
                    </a:cubicBezTo>
                    <a:lnTo>
                      <a:pt x="1362" y="9372"/>
                    </a:lnTo>
                    <a:close/>
                    <a:moveTo>
                      <a:pt x="1047" y="9318"/>
                    </a:moveTo>
                    <a:cubicBezTo>
                      <a:pt x="1177" y="9334"/>
                      <a:pt x="1177" y="9334"/>
                      <a:pt x="1177" y="9334"/>
                    </a:cubicBezTo>
                    <a:cubicBezTo>
                      <a:pt x="1160" y="9471"/>
                      <a:pt x="1160" y="9471"/>
                      <a:pt x="1160" y="9471"/>
                    </a:cubicBezTo>
                    <a:cubicBezTo>
                      <a:pt x="1023" y="9454"/>
                      <a:pt x="1023" y="9454"/>
                      <a:pt x="1023" y="9454"/>
                    </a:cubicBezTo>
                    <a:cubicBezTo>
                      <a:pt x="1040" y="9317"/>
                      <a:pt x="1040" y="9317"/>
                      <a:pt x="1040" y="9317"/>
                    </a:cubicBezTo>
                    <a:lnTo>
                      <a:pt x="1047" y="9318"/>
                    </a:lnTo>
                    <a:close/>
                    <a:moveTo>
                      <a:pt x="1052" y="9332"/>
                    </a:moveTo>
                    <a:cubicBezTo>
                      <a:pt x="1038" y="9442"/>
                      <a:pt x="1038" y="9442"/>
                      <a:pt x="1038" y="9442"/>
                    </a:cubicBezTo>
                    <a:cubicBezTo>
                      <a:pt x="1149" y="9456"/>
                      <a:pt x="1149" y="9456"/>
                      <a:pt x="1149" y="9456"/>
                    </a:cubicBezTo>
                    <a:cubicBezTo>
                      <a:pt x="1162" y="9345"/>
                      <a:pt x="1162" y="9345"/>
                      <a:pt x="1162" y="9345"/>
                    </a:cubicBezTo>
                    <a:lnTo>
                      <a:pt x="1052" y="9332"/>
                    </a:lnTo>
                    <a:close/>
                    <a:moveTo>
                      <a:pt x="3295" y="9725"/>
                    </a:moveTo>
                    <a:cubicBezTo>
                      <a:pt x="3295" y="9725"/>
                      <a:pt x="3295" y="9725"/>
                      <a:pt x="3295" y="9725"/>
                    </a:cubicBezTo>
                    <a:cubicBezTo>
                      <a:pt x="3295" y="9725"/>
                      <a:pt x="3295" y="9725"/>
                      <a:pt x="3295" y="9725"/>
                    </a:cubicBezTo>
                    <a:close/>
                    <a:moveTo>
                      <a:pt x="1216" y="2694"/>
                    </a:moveTo>
                    <a:cubicBezTo>
                      <a:pt x="1572" y="3002"/>
                      <a:pt x="1572" y="3002"/>
                      <a:pt x="1572" y="3002"/>
                    </a:cubicBezTo>
                    <a:cubicBezTo>
                      <a:pt x="1562" y="3125"/>
                      <a:pt x="1562" y="3125"/>
                      <a:pt x="1562" y="3125"/>
                    </a:cubicBezTo>
                    <a:cubicBezTo>
                      <a:pt x="1415" y="3112"/>
                      <a:pt x="1415" y="3112"/>
                      <a:pt x="1415" y="3112"/>
                    </a:cubicBezTo>
                    <a:cubicBezTo>
                      <a:pt x="1308" y="3007"/>
                      <a:pt x="1308" y="3007"/>
                      <a:pt x="1308" y="3007"/>
                    </a:cubicBezTo>
                    <a:cubicBezTo>
                      <a:pt x="1328" y="2991"/>
                      <a:pt x="1328" y="2991"/>
                      <a:pt x="1328" y="2991"/>
                    </a:cubicBezTo>
                    <a:cubicBezTo>
                      <a:pt x="1157" y="2826"/>
                      <a:pt x="1157" y="2826"/>
                      <a:pt x="1157" y="2826"/>
                    </a:cubicBezTo>
                    <a:cubicBezTo>
                      <a:pt x="1108" y="2853"/>
                      <a:pt x="1108" y="2853"/>
                      <a:pt x="1108" y="2853"/>
                    </a:cubicBezTo>
                    <a:cubicBezTo>
                      <a:pt x="1128" y="2888"/>
                      <a:pt x="1128" y="2888"/>
                      <a:pt x="1128" y="2888"/>
                    </a:cubicBezTo>
                    <a:cubicBezTo>
                      <a:pt x="1002" y="2948"/>
                      <a:pt x="1002" y="2948"/>
                      <a:pt x="1002" y="2948"/>
                    </a:cubicBezTo>
                    <a:cubicBezTo>
                      <a:pt x="936" y="2844"/>
                      <a:pt x="936" y="2844"/>
                      <a:pt x="936" y="2844"/>
                    </a:cubicBezTo>
                    <a:lnTo>
                      <a:pt x="1216" y="2694"/>
                    </a:lnTo>
                    <a:close/>
                    <a:moveTo>
                      <a:pt x="1557" y="3008"/>
                    </a:moveTo>
                    <a:cubicBezTo>
                      <a:pt x="1215" y="2711"/>
                      <a:pt x="1215" y="2711"/>
                      <a:pt x="1215" y="2711"/>
                    </a:cubicBezTo>
                    <a:cubicBezTo>
                      <a:pt x="956" y="2849"/>
                      <a:pt x="956" y="2849"/>
                      <a:pt x="956" y="2849"/>
                    </a:cubicBezTo>
                    <a:cubicBezTo>
                      <a:pt x="1007" y="2931"/>
                      <a:pt x="1007" y="2931"/>
                      <a:pt x="1007" y="2931"/>
                    </a:cubicBezTo>
                    <a:cubicBezTo>
                      <a:pt x="1109" y="2882"/>
                      <a:pt x="1109" y="2882"/>
                      <a:pt x="1109" y="2882"/>
                    </a:cubicBezTo>
                    <a:cubicBezTo>
                      <a:pt x="1096" y="2860"/>
                      <a:pt x="1096" y="2860"/>
                      <a:pt x="1096" y="2860"/>
                    </a:cubicBezTo>
                    <a:cubicBezTo>
                      <a:pt x="1089" y="2847"/>
                      <a:pt x="1089" y="2847"/>
                      <a:pt x="1089" y="2847"/>
                    </a:cubicBezTo>
                    <a:cubicBezTo>
                      <a:pt x="1102" y="2841"/>
                      <a:pt x="1102" y="2841"/>
                      <a:pt x="1102" y="2841"/>
                    </a:cubicBezTo>
                    <a:cubicBezTo>
                      <a:pt x="1150" y="2814"/>
                      <a:pt x="1150" y="2814"/>
                      <a:pt x="1150" y="2814"/>
                    </a:cubicBezTo>
                    <a:cubicBezTo>
                      <a:pt x="1159" y="2809"/>
                      <a:pt x="1159" y="2809"/>
                      <a:pt x="1159" y="2809"/>
                    </a:cubicBezTo>
                    <a:cubicBezTo>
                      <a:pt x="1167" y="2816"/>
                      <a:pt x="1167" y="2816"/>
                      <a:pt x="1167" y="2816"/>
                    </a:cubicBezTo>
                    <a:cubicBezTo>
                      <a:pt x="1338" y="2981"/>
                      <a:pt x="1338" y="2981"/>
                      <a:pt x="1338" y="2981"/>
                    </a:cubicBezTo>
                    <a:cubicBezTo>
                      <a:pt x="1350" y="2992"/>
                      <a:pt x="1350" y="2992"/>
                      <a:pt x="1350" y="2992"/>
                    </a:cubicBezTo>
                    <a:cubicBezTo>
                      <a:pt x="1337" y="3002"/>
                      <a:pt x="1337" y="3002"/>
                      <a:pt x="1337" y="3002"/>
                    </a:cubicBezTo>
                    <a:cubicBezTo>
                      <a:pt x="1329" y="3008"/>
                      <a:pt x="1329" y="3008"/>
                      <a:pt x="1329" y="3008"/>
                    </a:cubicBezTo>
                    <a:cubicBezTo>
                      <a:pt x="1421" y="3098"/>
                      <a:pt x="1421" y="3098"/>
                      <a:pt x="1421" y="3098"/>
                    </a:cubicBezTo>
                    <a:cubicBezTo>
                      <a:pt x="1549" y="3110"/>
                      <a:pt x="1549" y="3110"/>
                      <a:pt x="1549" y="3110"/>
                    </a:cubicBezTo>
                    <a:lnTo>
                      <a:pt x="1557" y="3008"/>
                    </a:lnTo>
                    <a:close/>
                    <a:moveTo>
                      <a:pt x="5003" y="8314"/>
                    </a:moveTo>
                    <a:cubicBezTo>
                      <a:pt x="4997" y="8094"/>
                      <a:pt x="4997" y="8094"/>
                      <a:pt x="4997" y="8094"/>
                    </a:cubicBezTo>
                    <a:cubicBezTo>
                      <a:pt x="5094" y="7965"/>
                      <a:pt x="5094" y="7965"/>
                      <a:pt x="5094" y="7965"/>
                    </a:cubicBezTo>
                    <a:cubicBezTo>
                      <a:pt x="5367" y="7952"/>
                      <a:pt x="5367" y="7952"/>
                      <a:pt x="5367" y="7952"/>
                    </a:cubicBezTo>
                    <a:cubicBezTo>
                      <a:pt x="5368" y="7959"/>
                      <a:pt x="5368" y="7959"/>
                      <a:pt x="5368" y="7959"/>
                    </a:cubicBezTo>
                    <a:cubicBezTo>
                      <a:pt x="5433" y="8317"/>
                      <a:pt x="5433" y="8317"/>
                      <a:pt x="5433" y="8317"/>
                    </a:cubicBezTo>
                    <a:cubicBezTo>
                      <a:pt x="5120" y="8407"/>
                      <a:pt x="5120" y="8407"/>
                      <a:pt x="5120" y="8407"/>
                    </a:cubicBezTo>
                    <a:cubicBezTo>
                      <a:pt x="5119" y="8287"/>
                      <a:pt x="5119" y="8287"/>
                      <a:pt x="5119" y="8287"/>
                    </a:cubicBezTo>
                    <a:lnTo>
                      <a:pt x="5003" y="8314"/>
                    </a:lnTo>
                    <a:close/>
                    <a:moveTo>
                      <a:pt x="5012" y="8099"/>
                    </a:moveTo>
                    <a:cubicBezTo>
                      <a:pt x="5017" y="8296"/>
                      <a:pt x="5017" y="8296"/>
                      <a:pt x="5017" y="8296"/>
                    </a:cubicBezTo>
                    <a:cubicBezTo>
                      <a:pt x="5134" y="8268"/>
                      <a:pt x="5134" y="8268"/>
                      <a:pt x="5134" y="8268"/>
                    </a:cubicBezTo>
                    <a:cubicBezTo>
                      <a:pt x="5135" y="8387"/>
                      <a:pt x="5135" y="8387"/>
                      <a:pt x="5135" y="8387"/>
                    </a:cubicBezTo>
                    <a:cubicBezTo>
                      <a:pt x="5416" y="8306"/>
                      <a:pt x="5416" y="8306"/>
                      <a:pt x="5416" y="8306"/>
                    </a:cubicBezTo>
                    <a:cubicBezTo>
                      <a:pt x="5355" y="7968"/>
                      <a:pt x="5355" y="7968"/>
                      <a:pt x="5355" y="7968"/>
                    </a:cubicBezTo>
                    <a:cubicBezTo>
                      <a:pt x="5102" y="7979"/>
                      <a:pt x="5102" y="7979"/>
                      <a:pt x="5102" y="7979"/>
                    </a:cubicBezTo>
                    <a:lnTo>
                      <a:pt x="5012" y="8099"/>
                    </a:lnTo>
                    <a:close/>
                    <a:moveTo>
                      <a:pt x="10540" y="8870"/>
                    </a:moveTo>
                    <a:cubicBezTo>
                      <a:pt x="10438" y="8927"/>
                      <a:pt x="10438" y="8927"/>
                      <a:pt x="10438" y="8927"/>
                    </a:cubicBezTo>
                    <a:cubicBezTo>
                      <a:pt x="10383" y="8823"/>
                      <a:pt x="10383" y="8823"/>
                      <a:pt x="10383" y="8823"/>
                    </a:cubicBezTo>
                    <a:cubicBezTo>
                      <a:pt x="10393" y="8818"/>
                      <a:pt x="10393" y="8818"/>
                      <a:pt x="10393" y="8818"/>
                    </a:cubicBezTo>
                    <a:cubicBezTo>
                      <a:pt x="10368" y="8772"/>
                      <a:pt x="10368" y="8772"/>
                      <a:pt x="10368" y="8772"/>
                    </a:cubicBezTo>
                    <a:cubicBezTo>
                      <a:pt x="10532" y="8685"/>
                      <a:pt x="10532" y="8685"/>
                      <a:pt x="10532" y="8685"/>
                    </a:cubicBezTo>
                    <a:cubicBezTo>
                      <a:pt x="10583" y="8782"/>
                      <a:pt x="10583" y="8782"/>
                      <a:pt x="10583" y="8782"/>
                    </a:cubicBezTo>
                    <a:cubicBezTo>
                      <a:pt x="10519" y="8816"/>
                      <a:pt x="10519" y="8816"/>
                      <a:pt x="10519" y="8816"/>
                    </a:cubicBezTo>
                    <a:cubicBezTo>
                      <a:pt x="10546" y="8867"/>
                      <a:pt x="10546" y="8867"/>
                      <a:pt x="10546" y="8867"/>
                    </a:cubicBezTo>
                    <a:lnTo>
                      <a:pt x="10540" y="8870"/>
                    </a:lnTo>
                    <a:close/>
                    <a:moveTo>
                      <a:pt x="10528" y="8861"/>
                    </a:moveTo>
                    <a:cubicBezTo>
                      <a:pt x="10501" y="8811"/>
                      <a:pt x="10501" y="8811"/>
                      <a:pt x="10501" y="8811"/>
                    </a:cubicBezTo>
                    <a:cubicBezTo>
                      <a:pt x="10566" y="8776"/>
                      <a:pt x="10566" y="8776"/>
                      <a:pt x="10566" y="8776"/>
                    </a:cubicBezTo>
                    <a:cubicBezTo>
                      <a:pt x="10526" y="8703"/>
                      <a:pt x="10526" y="8703"/>
                      <a:pt x="10526" y="8703"/>
                    </a:cubicBezTo>
                    <a:cubicBezTo>
                      <a:pt x="10386" y="8777"/>
                      <a:pt x="10386" y="8777"/>
                      <a:pt x="10386" y="8777"/>
                    </a:cubicBezTo>
                    <a:cubicBezTo>
                      <a:pt x="10410" y="8823"/>
                      <a:pt x="10410" y="8823"/>
                      <a:pt x="10410" y="8823"/>
                    </a:cubicBezTo>
                    <a:cubicBezTo>
                      <a:pt x="10401" y="8828"/>
                      <a:pt x="10401" y="8828"/>
                      <a:pt x="10401" y="8828"/>
                    </a:cubicBezTo>
                    <a:cubicBezTo>
                      <a:pt x="10444" y="8909"/>
                      <a:pt x="10444" y="8909"/>
                      <a:pt x="10444" y="8909"/>
                    </a:cubicBezTo>
                    <a:lnTo>
                      <a:pt x="10528" y="8861"/>
                    </a:lnTo>
                    <a:close/>
                    <a:moveTo>
                      <a:pt x="792" y="7718"/>
                    </a:moveTo>
                    <a:cubicBezTo>
                      <a:pt x="767" y="7706"/>
                      <a:pt x="767" y="7706"/>
                      <a:pt x="767" y="7706"/>
                    </a:cubicBezTo>
                    <a:cubicBezTo>
                      <a:pt x="798" y="7581"/>
                      <a:pt x="798" y="7581"/>
                      <a:pt x="798" y="7581"/>
                    </a:cubicBezTo>
                    <a:cubicBezTo>
                      <a:pt x="803" y="7559"/>
                      <a:pt x="803" y="7559"/>
                      <a:pt x="803" y="7559"/>
                    </a:cubicBezTo>
                    <a:cubicBezTo>
                      <a:pt x="821" y="7574"/>
                      <a:pt x="821" y="7574"/>
                      <a:pt x="821" y="7574"/>
                    </a:cubicBezTo>
                    <a:cubicBezTo>
                      <a:pt x="865" y="7610"/>
                      <a:pt x="865" y="7610"/>
                      <a:pt x="865" y="7610"/>
                    </a:cubicBezTo>
                    <a:cubicBezTo>
                      <a:pt x="875" y="7620"/>
                      <a:pt x="875" y="7620"/>
                      <a:pt x="875" y="7620"/>
                    </a:cubicBezTo>
                    <a:cubicBezTo>
                      <a:pt x="866" y="7630"/>
                      <a:pt x="866" y="7630"/>
                      <a:pt x="866" y="7630"/>
                    </a:cubicBezTo>
                    <a:lnTo>
                      <a:pt x="792" y="7718"/>
                    </a:lnTo>
                    <a:close/>
                    <a:moveTo>
                      <a:pt x="781" y="7709"/>
                    </a:moveTo>
                    <a:cubicBezTo>
                      <a:pt x="856" y="7621"/>
                      <a:pt x="856" y="7621"/>
                      <a:pt x="856" y="7621"/>
                    </a:cubicBezTo>
                    <a:cubicBezTo>
                      <a:pt x="812" y="7584"/>
                      <a:pt x="812" y="7584"/>
                      <a:pt x="812" y="7584"/>
                    </a:cubicBezTo>
                    <a:lnTo>
                      <a:pt x="781" y="7709"/>
                    </a:lnTo>
                    <a:close/>
                    <a:moveTo>
                      <a:pt x="713" y="7593"/>
                    </a:moveTo>
                    <a:cubicBezTo>
                      <a:pt x="737" y="7534"/>
                      <a:pt x="746" y="7445"/>
                      <a:pt x="746" y="7445"/>
                    </a:cubicBezTo>
                    <a:cubicBezTo>
                      <a:pt x="993" y="7625"/>
                      <a:pt x="993" y="7625"/>
                      <a:pt x="993" y="7625"/>
                    </a:cubicBezTo>
                    <a:cubicBezTo>
                      <a:pt x="895" y="7717"/>
                      <a:pt x="895" y="7717"/>
                      <a:pt x="895" y="7717"/>
                    </a:cubicBezTo>
                    <a:cubicBezTo>
                      <a:pt x="884" y="7871"/>
                      <a:pt x="884" y="7871"/>
                      <a:pt x="884" y="7871"/>
                    </a:cubicBezTo>
                    <a:cubicBezTo>
                      <a:pt x="654" y="7714"/>
                      <a:pt x="654" y="7714"/>
                      <a:pt x="654" y="7714"/>
                    </a:cubicBezTo>
                    <a:cubicBezTo>
                      <a:pt x="654" y="7714"/>
                      <a:pt x="690" y="7653"/>
                      <a:pt x="713" y="7593"/>
                    </a:cubicBezTo>
                    <a:close/>
                    <a:moveTo>
                      <a:pt x="726" y="7599"/>
                    </a:moveTo>
                    <a:cubicBezTo>
                      <a:pt x="708" y="7644"/>
                      <a:pt x="684" y="7689"/>
                      <a:pt x="672" y="7710"/>
                    </a:cubicBezTo>
                    <a:cubicBezTo>
                      <a:pt x="872" y="7846"/>
                      <a:pt x="872" y="7846"/>
                      <a:pt x="872" y="7846"/>
                    </a:cubicBezTo>
                    <a:cubicBezTo>
                      <a:pt x="881" y="7717"/>
                      <a:pt x="881" y="7717"/>
                      <a:pt x="881" y="7717"/>
                    </a:cubicBezTo>
                    <a:cubicBezTo>
                      <a:pt x="881" y="7711"/>
                      <a:pt x="881" y="7711"/>
                      <a:pt x="881" y="7711"/>
                    </a:cubicBezTo>
                    <a:cubicBezTo>
                      <a:pt x="885" y="7707"/>
                      <a:pt x="885" y="7707"/>
                      <a:pt x="885" y="7707"/>
                    </a:cubicBezTo>
                    <a:cubicBezTo>
                      <a:pt x="971" y="7627"/>
                      <a:pt x="971" y="7627"/>
                      <a:pt x="971" y="7627"/>
                    </a:cubicBezTo>
                    <a:cubicBezTo>
                      <a:pt x="757" y="7470"/>
                      <a:pt x="757" y="7470"/>
                      <a:pt x="757" y="7470"/>
                    </a:cubicBezTo>
                    <a:cubicBezTo>
                      <a:pt x="752" y="7501"/>
                      <a:pt x="743" y="7557"/>
                      <a:pt x="726" y="7599"/>
                    </a:cubicBezTo>
                    <a:close/>
                    <a:moveTo>
                      <a:pt x="8337" y="6777"/>
                    </a:moveTo>
                    <a:cubicBezTo>
                      <a:pt x="8775" y="6777"/>
                      <a:pt x="8775" y="6777"/>
                      <a:pt x="8775" y="6777"/>
                    </a:cubicBezTo>
                    <a:cubicBezTo>
                      <a:pt x="8777" y="6742"/>
                      <a:pt x="8777" y="6742"/>
                      <a:pt x="8777" y="6742"/>
                    </a:cubicBezTo>
                    <a:cubicBezTo>
                      <a:pt x="8787" y="6747"/>
                      <a:pt x="8787" y="6747"/>
                      <a:pt x="8787" y="6747"/>
                    </a:cubicBezTo>
                    <a:cubicBezTo>
                      <a:pt x="8787" y="6748"/>
                      <a:pt x="8879" y="6788"/>
                      <a:pt x="8882" y="6846"/>
                    </a:cubicBezTo>
                    <a:cubicBezTo>
                      <a:pt x="8881" y="6875"/>
                      <a:pt x="8856" y="6898"/>
                      <a:pt x="8832" y="6916"/>
                    </a:cubicBezTo>
                    <a:cubicBezTo>
                      <a:pt x="8809" y="6933"/>
                      <a:pt x="8785" y="6944"/>
                      <a:pt x="8785" y="6944"/>
                    </a:cubicBezTo>
                    <a:cubicBezTo>
                      <a:pt x="8775" y="6949"/>
                      <a:pt x="8775" y="6949"/>
                      <a:pt x="8775" y="6949"/>
                    </a:cubicBezTo>
                    <a:cubicBezTo>
                      <a:pt x="8775" y="6917"/>
                      <a:pt x="8775" y="6917"/>
                      <a:pt x="8775" y="6917"/>
                    </a:cubicBezTo>
                    <a:cubicBezTo>
                      <a:pt x="8333" y="6917"/>
                      <a:pt x="8333" y="6917"/>
                      <a:pt x="8333" y="6917"/>
                    </a:cubicBezTo>
                    <a:cubicBezTo>
                      <a:pt x="8333" y="6957"/>
                      <a:pt x="8333" y="6957"/>
                      <a:pt x="8333" y="6957"/>
                    </a:cubicBezTo>
                    <a:cubicBezTo>
                      <a:pt x="8324" y="6954"/>
                      <a:pt x="8324" y="6954"/>
                      <a:pt x="8324" y="6954"/>
                    </a:cubicBezTo>
                    <a:cubicBezTo>
                      <a:pt x="8324" y="6953"/>
                      <a:pt x="8213" y="6926"/>
                      <a:pt x="8211" y="6850"/>
                    </a:cubicBezTo>
                    <a:cubicBezTo>
                      <a:pt x="8213" y="6774"/>
                      <a:pt x="8327" y="6736"/>
                      <a:pt x="8327" y="6735"/>
                    </a:cubicBezTo>
                    <a:cubicBezTo>
                      <a:pt x="8337" y="6732"/>
                      <a:pt x="8337" y="6732"/>
                      <a:pt x="8337" y="6732"/>
                    </a:cubicBezTo>
                    <a:lnTo>
                      <a:pt x="8337" y="6777"/>
                    </a:lnTo>
                    <a:close/>
                    <a:moveTo>
                      <a:pt x="8322" y="6792"/>
                    </a:moveTo>
                    <a:cubicBezTo>
                      <a:pt x="8322" y="6753"/>
                      <a:pt x="8322" y="6753"/>
                      <a:pt x="8322" y="6753"/>
                    </a:cubicBezTo>
                    <a:cubicBezTo>
                      <a:pt x="8312" y="6757"/>
                      <a:pt x="8295" y="6765"/>
                      <a:pt x="8278" y="6777"/>
                    </a:cubicBezTo>
                    <a:cubicBezTo>
                      <a:pt x="8251" y="6795"/>
                      <a:pt x="8225" y="6820"/>
                      <a:pt x="8226" y="6850"/>
                    </a:cubicBezTo>
                    <a:cubicBezTo>
                      <a:pt x="8226" y="6879"/>
                      <a:pt x="8250" y="6902"/>
                      <a:pt x="8276" y="6917"/>
                    </a:cubicBezTo>
                    <a:cubicBezTo>
                      <a:pt x="8292" y="6927"/>
                      <a:pt x="8309" y="6933"/>
                      <a:pt x="8319" y="6937"/>
                    </a:cubicBezTo>
                    <a:cubicBezTo>
                      <a:pt x="8319" y="6902"/>
                      <a:pt x="8319" y="6902"/>
                      <a:pt x="8319" y="6902"/>
                    </a:cubicBezTo>
                    <a:cubicBezTo>
                      <a:pt x="8789" y="6902"/>
                      <a:pt x="8789" y="6902"/>
                      <a:pt x="8789" y="6902"/>
                    </a:cubicBezTo>
                    <a:cubicBezTo>
                      <a:pt x="8789" y="6926"/>
                      <a:pt x="8789" y="6926"/>
                      <a:pt x="8789" y="6926"/>
                    </a:cubicBezTo>
                    <a:cubicBezTo>
                      <a:pt x="8798" y="6921"/>
                      <a:pt x="8811" y="6913"/>
                      <a:pt x="8824" y="6904"/>
                    </a:cubicBezTo>
                    <a:cubicBezTo>
                      <a:pt x="8846" y="6888"/>
                      <a:pt x="8867" y="6865"/>
                      <a:pt x="8867" y="6846"/>
                    </a:cubicBezTo>
                    <a:cubicBezTo>
                      <a:pt x="8867" y="6826"/>
                      <a:pt x="8847" y="6804"/>
                      <a:pt x="8825" y="6787"/>
                    </a:cubicBezTo>
                    <a:cubicBezTo>
                      <a:pt x="8812" y="6778"/>
                      <a:pt x="8799" y="6770"/>
                      <a:pt x="8791" y="6766"/>
                    </a:cubicBezTo>
                    <a:cubicBezTo>
                      <a:pt x="8790" y="6792"/>
                      <a:pt x="8790" y="6792"/>
                      <a:pt x="8790" y="6792"/>
                    </a:cubicBezTo>
                    <a:cubicBezTo>
                      <a:pt x="8783" y="6792"/>
                      <a:pt x="8783" y="6792"/>
                      <a:pt x="8783" y="6792"/>
                    </a:cubicBezTo>
                    <a:lnTo>
                      <a:pt x="8322" y="6792"/>
                    </a:lnTo>
                    <a:close/>
                    <a:moveTo>
                      <a:pt x="5188" y="8239"/>
                    </a:moveTo>
                    <a:cubicBezTo>
                      <a:pt x="5188" y="8238"/>
                      <a:pt x="5160" y="8107"/>
                      <a:pt x="5160" y="8097"/>
                    </a:cubicBezTo>
                    <a:cubicBezTo>
                      <a:pt x="5160" y="8096"/>
                      <a:pt x="5160" y="8096"/>
                      <a:pt x="5160" y="8095"/>
                    </a:cubicBezTo>
                    <a:cubicBezTo>
                      <a:pt x="5160" y="8095"/>
                      <a:pt x="5160" y="8091"/>
                      <a:pt x="5165" y="8089"/>
                    </a:cubicBezTo>
                    <a:cubicBezTo>
                      <a:pt x="5165" y="8089"/>
                      <a:pt x="5165" y="8089"/>
                      <a:pt x="5165" y="8089"/>
                    </a:cubicBezTo>
                    <a:cubicBezTo>
                      <a:pt x="5168" y="8089"/>
                      <a:pt x="5168" y="8089"/>
                      <a:pt x="5169" y="8089"/>
                    </a:cubicBezTo>
                    <a:cubicBezTo>
                      <a:pt x="5170" y="8089"/>
                      <a:pt x="5171" y="8089"/>
                      <a:pt x="5172" y="8089"/>
                    </a:cubicBezTo>
                    <a:cubicBezTo>
                      <a:pt x="5193" y="8088"/>
                      <a:pt x="5270" y="8088"/>
                      <a:pt x="5270" y="8088"/>
                    </a:cubicBezTo>
                    <a:cubicBezTo>
                      <a:pt x="5277" y="8088"/>
                      <a:pt x="5277" y="8088"/>
                      <a:pt x="5277" y="8088"/>
                    </a:cubicBezTo>
                    <a:cubicBezTo>
                      <a:pt x="5278" y="8094"/>
                      <a:pt x="5278" y="8094"/>
                      <a:pt x="5278" y="8094"/>
                    </a:cubicBezTo>
                    <a:cubicBezTo>
                      <a:pt x="5293" y="8223"/>
                      <a:pt x="5293" y="8223"/>
                      <a:pt x="5293" y="8223"/>
                    </a:cubicBezTo>
                    <a:cubicBezTo>
                      <a:pt x="5190" y="8246"/>
                      <a:pt x="5190" y="8246"/>
                      <a:pt x="5190" y="8246"/>
                    </a:cubicBezTo>
                    <a:lnTo>
                      <a:pt x="5188" y="8239"/>
                    </a:lnTo>
                    <a:close/>
                    <a:moveTo>
                      <a:pt x="5176" y="8103"/>
                    </a:moveTo>
                    <a:cubicBezTo>
                      <a:pt x="5178" y="8116"/>
                      <a:pt x="5183" y="8143"/>
                      <a:pt x="5189" y="8168"/>
                    </a:cubicBezTo>
                    <a:cubicBezTo>
                      <a:pt x="5194" y="8193"/>
                      <a:pt x="5199" y="8217"/>
                      <a:pt x="5201" y="8228"/>
                    </a:cubicBezTo>
                    <a:cubicBezTo>
                      <a:pt x="5277" y="8211"/>
                      <a:pt x="5277" y="8211"/>
                      <a:pt x="5277" y="8211"/>
                    </a:cubicBezTo>
                    <a:cubicBezTo>
                      <a:pt x="5264" y="8103"/>
                      <a:pt x="5264" y="8103"/>
                      <a:pt x="5264" y="8103"/>
                    </a:cubicBezTo>
                    <a:cubicBezTo>
                      <a:pt x="5255" y="8103"/>
                      <a:pt x="5237" y="8103"/>
                      <a:pt x="5220" y="8103"/>
                    </a:cubicBezTo>
                    <a:cubicBezTo>
                      <a:pt x="5207" y="8103"/>
                      <a:pt x="5194" y="8103"/>
                      <a:pt x="5184" y="8103"/>
                    </a:cubicBezTo>
                    <a:cubicBezTo>
                      <a:pt x="5181" y="8103"/>
                      <a:pt x="5178" y="8103"/>
                      <a:pt x="5176" y="8103"/>
                    </a:cubicBezTo>
                    <a:close/>
                    <a:moveTo>
                      <a:pt x="1183" y="7106"/>
                    </a:moveTo>
                    <a:cubicBezTo>
                      <a:pt x="1044" y="7030"/>
                      <a:pt x="1044" y="7030"/>
                      <a:pt x="1044" y="7030"/>
                    </a:cubicBezTo>
                    <a:cubicBezTo>
                      <a:pt x="1125" y="6932"/>
                      <a:pt x="1125" y="6932"/>
                      <a:pt x="1125" y="6932"/>
                    </a:cubicBezTo>
                    <a:cubicBezTo>
                      <a:pt x="1193" y="6911"/>
                      <a:pt x="1193" y="6911"/>
                      <a:pt x="1193" y="6911"/>
                    </a:cubicBezTo>
                    <a:cubicBezTo>
                      <a:pt x="1256" y="6961"/>
                      <a:pt x="1256" y="6961"/>
                      <a:pt x="1256" y="6961"/>
                    </a:cubicBezTo>
                    <a:lnTo>
                      <a:pt x="1183" y="7106"/>
                    </a:lnTo>
                    <a:close/>
                    <a:moveTo>
                      <a:pt x="1177" y="7087"/>
                    </a:moveTo>
                    <a:cubicBezTo>
                      <a:pt x="1239" y="6965"/>
                      <a:pt x="1239" y="6965"/>
                      <a:pt x="1239" y="6965"/>
                    </a:cubicBezTo>
                    <a:cubicBezTo>
                      <a:pt x="1190" y="6926"/>
                      <a:pt x="1190" y="6926"/>
                      <a:pt x="1190" y="6926"/>
                    </a:cubicBezTo>
                    <a:cubicBezTo>
                      <a:pt x="1133" y="6944"/>
                      <a:pt x="1133" y="6944"/>
                      <a:pt x="1133" y="6944"/>
                    </a:cubicBezTo>
                    <a:cubicBezTo>
                      <a:pt x="1066" y="7026"/>
                      <a:pt x="1066" y="7026"/>
                      <a:pt x="1066" y="7026"/>
                    </a:cubicBezTo>
                    <a:lnTo>
                      <a:pt x="1177" y="7087"/>
                    </a:lnTo>
                    <a:close/>
                    <a:moveTo>
                      <a:pt x="6190" y="9532"/>
                    </a:moveTo>
                    <a:cubicBezTo>
                      <a:pt x="6306" y="9619"/>
                      <a:pt x="6306" y="9619"/>
                      <a:pt x="6306" y="9619"/>
                    </a:cubicBezTo>
                    <a:cubicBezTo>
                      <a:pt x="6261" y="9680"/>
                      <a:pt x="6261" y="9680"/>
                      <a:pt x="6261" y="9680"/>
                    </a:cubicBezTo>
                    <a:cubicBezTo>
                      <a:pt x="6140" y="9589"/>
                      <a:pt x="6140" y="9589"/>
                      <a:pt x="6140" y="9589"/>
                    </a:cubicBezTo>
                    <a:cubicBezTo>
                      <a:pt x="6185" y="9528"/>
                      <a:pt x="6185" y="9528"/>
                      <a:pt x="6185" y="9528"/>
                    </a:cubicBezTo>
                    <a:lnTo>
                      <a:pt x="6190" y="9532"/>
                    </a:lnTo>
                    <a:close/>
                    <a:moveTo>
                      <a:pt x="6288" y="9622"/>
                    </a:moveTo>
                    <a:cubicBezTo>
                      <a:pt x="6188" y="9547"/>
                      <a:pt x="6188" y="9547"/>
                      <a:pt x="6188" y="9547"/>
                    </a:cubicBezTo>
                    <a:cubicBezTo>
                      <a:pt x="6158" y="9586"/>
                      <a:pt x="6158" y="9586"/>
                      <a:pt x="6158" y="9586"/>
                    </a:cubicBezTo>
                    <a:cubicBezTo>
                      <a:pt x="6258" y="9662"/>
                      <a:pt x="6258" y="9662"/>
                      <a:pt x="6258" y="9662"/>
                    </a:cubicBezTo>
                    <a:lnTo>
                      <a:pt x="6288" y="9622"/>
                    </a:lnTo>
                    <a:close/>
                    <a:moveTo>
                      <a:pt x="924" y="7166"/>
                    </a:moveTo>
                    <a:cubicBezTo>
                      <a:pt x="998" y="7087"/>
                      <a:pt x="998" y="7087"/>
                      <a:pt x="998" y="7087"/>
                    </a:cubicBezTo>
                    <a:cubicBezTo>
                      <a:pt x="1151" y="7171"/>
                      <a:pt x="1151" y="7171"/>
                      <a:pt x="1151" y="7171"/>
                    </a:cubicBezTo>
                    <a:cubicBezTo>
                      <a:pt x="1000" y="7477"/>
                      <a:pt x="1000" y="7477"/>
                      <a:pt x="1000" y="7477"/>
                    </a:cubicBezTo>
                    <a:cubicBezTo>
                      <a:pt x="787" y="7324"/>
                      <a:pt x="787" y="7324"/>
                      <a:pt x="787" y="7324"/>
                    </a:cubicBezTo>
                    <a:cubicBezTo>
                      <a:pt x="886" y="7219"/>
                      <a:pt x="886" y="7219"/>
                      <a:pt x="886" y="7219"/>
                    </a:cubicBezTo>
                    <a:cubicBezTo>
                      <a:pt x="956" y="7354"/>
                      <a:pt x="956" y="7354"/>
                      <a:pt x="956" y="7354"/>
                    </a:cubicBezTo>
                    <a:cubicBezTo>
                      <a:pt x="1018" y="7228"/>
                      <a:pt x="1018" y="7228"/>
                      <a:pt x="1018" y="7228"/>
                    </a:cubicBezTo>
                    <a:lnTo>
                      <a:pt x="924" y="7166"/>
                    </a:lnTo>
                    <a:close/>
                    <a:moveTo>
                      <a:pt x="946" y="7164"/>
                    </a:moveTo>
                    <a:cubicBezTo>
                      <a:pt x="1025" y="7216"/>
                      <a:pt x="1025" y="7216"/>
                      <a:pt x="1025" y="7216"/>
                    </a:cubicBezTo>
                    <a:cubicBezTo>
                      <a:pt x="1036" y="7223"/>
                      <a:pt x="1036" y="7223"/>
                      <a:pt x="1036" y="7223"/>
                    </a:cubicBezTo>
                    <a:cubicBezTo>
                      <a:pt x="1030" y="7234"/>
                      <a:pt x="1030" y="7234"/>
                      <a:pt x="1030" y="7234"/>
                    </a:cubicBezTo>
                    <a:cubicBezTo>
                      <a:pt x="969" y="7360"/>
                      <a:pt x="969" y="7360"/>
                      <a:pt x="969" y="7360"/>
                    </a:cubicBezTo>
                    <a:cubicBezTo>
                      <a:pt x="957" y="7385"/>
                      <a:pt x="957" y="7385"/>
                      <a:pt x="957" y="7385"/>
                    </a:cubicBezTo>
                    <a:cubicBezTo>
                      <a:pt x="944" y="7360"/>
                      <a:pt x="944" y="7360"/>
                      <a:pt x="944" y="7360"/>
                    </a:cubicBezTo>
                    <a:cubicBezTo>
                      <a:pt x="883" y="7243"/>
                      <a:pt x="883" y="7243"/>
                      <a:pt x="883" y="7243"/>
                    </a:cubicBezTo>
                    <a:cubicBezTo>
                      <a:pt x="808" y="7322"/>
                      <a:pt x="808" y="7322"/>
                      <a:pt x="808" y="7322"/>
                    </a:cubicBezTo>
                    <a:cubicBezTo>
                      <a:pt x="995" y="7456"/>
                      <a:pt x="995" y="7456"/>
                      <a:pt x="995" y="7456"/>
                    </a:cubicBezTo>
                    <a:cubicBezTo>
                      <a:pt x="1132" y="7177"/>
                      <a:pt x="1132" y="7177"/>
                      <a:pt x="1132" y="7177"/>
                    </a:cubicBezTo>
                    <a:cubicBezTo>
                      <a:pt x="1001" y="7105"/>
                      <a:pt x="1001" y="7105"/>
                      <a:pt x="1001" y="7105"/>
                    </a:cubicBezTo>
                    <a:lnTo>
                      <a:pt x="946" y="7164"/>
                    </a:lnTo>
                    <a:close/>
                    <a:moveTo>
                      <a:pt x="1613" y="2605"/>
                    </a:moveTo>
                    <a:cubicBezTo>
                      <a:pt x="1582" y="2564"/>
                      <a:pt x="1582" y="2564"/>
                      <a:pt x="1582" y="2564"/>
                    </a:cubicBezTo>
                    <a:cubicBezTo>
                      <a:pt x="1585" y="2505"/>
                      <a:pt x="1585" y="2505"/>
                      <a:pt x="1585" y="2505"/>
                    </a:cubicBezTo>
                    <a:cubicBezTo>
                      <a:pt x="1807" y="2384"/>
                      <a:pt x="1807" y="2384"/>
                      <a:pt x="1807" y="2384"/>
                    </a:cubicBezTo>
                    <a:cubicBezTo>
                      <a:pt x="1831" y="2428"/>
                      <a:pt x="1831" y="2428"/>
                      <a:pt x="1831" y="2428"/>
                    </a:cubicBezTo>
                    <a:cubicBezTo>
                      <a:pt x="1824" y="2493"/>
                      <a:pt x="1824" y="2493"/>
                      <a:pt x="1824" y="2493"/>
                    </a:cubicBezTo>
                    <a:lnTo>
                      <a:pt x="1613" y="2605"/>
                    </a:lnTo>
                    <a:close/>
                    <a:moveTo>
                      <a:pt x="1596" y="2560"/>
                    </a:moveTo>
                    <a:cubicBezTo>
                      <a:pt x="1617" y="2587"/>
                      <a:pt x="1617" y="2587"/>
                      <a:pt x="1617" y="2587"/>
                    </a:cubicBezTo>
                    <a:cubicBezTo>
                      <a:pt x="1811" y="2484"/>
                      <a:pt x="1811" y="2484"/>
                      <a:pt x="1811" y="2484"/>
                    </a:cubicBezTo>
                    <a:cubicBezTo>
                      <a:pt x="1817" y="2431"/>
                      <a:pt x="1817" y="2431"/>
                      <a:pt x="1817" y="2431"/>
                    </a:cubicBezTo>
                    <a:cubicBezTo>
                      <a:pt x="1802" y="2403"/>
                      <a:pt x="1802" y="2403"/>
                      <a:pt x="1802" y="2403"/>
                    </a:cubicBezTo>
                    <a:cubicBezTo>
                      <a:pt x="1598" y="2513"/>
                      <a:pt x="1598" y="2513"/>
                      <a:pt x="1598" y="2513"/>
                    </a:cubicBezTo>
                    <a:lnTo>
                      <a:pt x="1596" y="2560"/>
                    </a:lnTo>
                    <a:close/>
                    <a:moveTo>
                      <a:pt x="2641" y="1926"/>
                    </a:moveTo>
                    <a:cubicBezTo>
                      <a:pt x="3164" y="2672"/>
                      <a:pt x="3164" y="2672"/>
                      <a:pt x="3164" y="2672"/>
                    </a:cubicBezTo>
                    <a:cubicBezTo>
                      <a:pt x="3158" y="2676"/>
                      <a:pt x="3158" y="2676"/>
                      <a:pt x="3158" y="2676"/>
                    </a:cubicBezTo>
                    <a:cubicBezTo>
                      <a:pt x="3023" y="2769"/>
                      <a:pt x="3023" y="2769"/>
                      <a:pt x="3023" y="2769"/>
                    </a:cubicBezTo>
                    <a:cubicBezTo>
                      <a:pt x="2874" y="2569"/>
                      <a:pt x="2874" y="2569"/>
                      <a:pt x="2874" y="2569"/>
                    </a:cubicBezTo>
                    <a:cubicBezTo>
                      <a:pt x="2932" y="2563"/>
                      <a:pt x="2932" y="2563"/>
                      <a:pt x="2932" y="2563"/>
                    </a:cubicBezTo>
                    <a:cubicBezTo>
                      <a:pt x="2645" y="2157"/>
                      <a:pt x="2645" y="2157"/>
                      <a:pt x="2645" y="2157"/>
                    </a:cubicBezTo>
                    <a:cubicBezTo>
                      <a:pt x="2642" y="2159"/>
                      <a:pt x="2642" y="2159"/>
                      <a:pt x="2642" y="2159"/>
                    </a:cubicBezTo>
                    <a:cubicBezTo>
                      <a:pt x="2838" y="2716"/>
                      <a:pt x="2838" y="2716"/>
                      <a:pt x="2838" y="2716"/>
                    </a:cubicBezTo>
                    <a:cubicBezTo>
                      <a:pt x="2897" y="2659"/>
                      <a:pt x="2897" y="2659"/>
                      <a:pt x="2897" y="2659"/>
                    </a:cubicBezTo>
                    <a:cubicBezTo>
                      <a:pt x="2942" y="2814"/>
                      <a:pt x="2942" y="2814"/>
                      <a:pt x="2942" y="2814"/>
                    </a:cubicBezTo>
                    <a:cubicBezTo>
                      <a:pt x="2800" y="2879"/>
                      <a:pt x="2800" y="2879"/>
                      <a:pt x="2800" y="2879"/>
                    </a:cubicBezTo>
                    <a:cubicBezTo>
                      <a:pt x="2469" y="2026"/>
                      <a:pt x="2469" y="2026"/>
                      <a:pt x="2469" y="2026"/>
                    </a:cubicBezTo>
                    <a:lnTo>
                      <a:pt x="2641" y="1926"/>
                    </a:lnTo>
                    <a:close/>
                    <a:moveTo>
                      <a:pt x="3144" y="2668"/>
                    </a:moveTo>
                    <a:cubicBezTo>
                      <a:pt x="2637" y="1946"/>
                      <a:pt x="2637" y="1946"/>
                      <a:pt x="2637" y="1946"/>
                    </a:cubicBezTo>
                    <a:cubicBezTo>
                      <a:pt x="2487" y="2033"/>
                      <a:pt x="2487" y="2033"/>
                      <a:pt x="2487" y="2033"/>
                    </a:cubicBezTo>
                    <a:cubicBezTo>
                      <a:pt x="2808" y="2859"/>
                      <a:pt x="2808" y="2859"/>
                      <a:pt x="2808" y="2859"/>
                    </a:cubicBezTo>
                    <a:cubicBezTo>
                      <a:pt x="2924" y="2806"/>
                      <a:pt x="2924" y="2806"/>
                      <a:pt x="2924" y="2806"/>
                    </a:cubicBezTo>
                    <a:cubicBezTo>
                      <a:pt x="2889" y="2687"/>
                      <a:pt x="2889" y="2687"/>
                      <a:pt x="2889" y="2687"/>
                    </a:cubicBezTo>
                    <a:cubicBezTo>
                      <a:pt x="2831" y="2742"/>
                      <a:pt x="2831" y="2742"/>
                      <a:pt x="2831" y="2742"/>
                    </a:cubicBezTo>
                    <a:cubicBezTo>
                      <a:pt x="2625" y="2154"/>
                      <a:pt x="2625" y="2154"/>
                      <a:pt x="2625" y="2154"/>
                    </a:cubicBezTo>
                    <a:cubicBezTo>
                      <a:pt x="2649" y="2137"/>
                      <a:pt x="2649" y="2137"/>
                      <a:pt x="2649" y="2137"/>
                    </a:cubicBezTo>
                    <a:cubicBezTo>
                      <a:pt x="2958" y="2575"/>
                      <a:pt x="2958" y="2575"/>
                      <a:pt x="2958" y="2575"/>
                    </a:cubicBezTo>
                    <a:cubicBezTo>
                      <a:pt x="2901" y="2581"/>
                      <a:pt x="2901" y="2581"/>
                      <a:pt x="2901" y="2581"/>
                    </a:cubicBezTo>
                    <a:cubicBezTo>
                      <a:pt x="3026" y="2749"/>
                      <a:pt x="3026" y="2749"/>
                      <a:pt x="3026" y="2749"/>
                    </a:cubicBezTo>
                    <a:lnTo>
                      <a:pt x="3144" y="2668"/>
                    </a:lnTo>
                    <a:close/>
                    <a:moveTo>
                      <a:pt x="2401" y="2082"/>
                    </a:moveTo>
                    <a:cubicBezTo>
                      <a:pt x="2641" y="2726"/>
                      <a:pt x="2641" y="2726"/>
                      <a:pt x="2641" y="2726"/>
                    </a:cubicBezTo>
                    <a:cubicBezTo>
                      <a:pt x="2628" y="2724"/>
                      <a:pt x="2628" y="2724"/>
                      <a:pt x="2628" y="2724"/>
                    </a:cubicBezTo>
                    <a:cubicBezTo>
                      <a:pt x="2628" y="2724"/>
                      <a:pt x="2518" y="2706"/>
                      <a:pt x="2477" y="2651"/>
                    </a:cubicBezTo>
                    <a:cubicBezTo>
                      <a:pt x="2477" y="2651"/>
                      <a:pt x="2477" y="2651"/>
                      <a:pt x="2477" y="2651"/>
                    </a:cubicBezTo>
                    <a:cubicBezTo>
                      <a:pt x="2476" y="2650"/>
                      <a:pt x="2476" y="2650"/>
                      <a:pt x="2476" y="2650"/>
                    </a:cubicBezTo>
                    <a:cubicBezTo>
                      <a:pt x="2476" y="2648"/>
                      <a:pt x="2365" y="2312"/>
                      <a:pt x="2352" y="2272"/>
                    </a:cubicBezTo>
                    <a:cubicBezTo>
                      <a:pt x="2271" y="2251"/>
                      <a:pt x="2271" y="2251"/>
                      <a:pt x="2271" y="2251"/>
                    </a:cubicBezTo>
                    <a:cubicBezTo>
                      <a:pt x="2244" y="2153"/>
                      <a:pt x="2244" y="2153"/>
                      <a:pt x="2244" y="2153"/>
                    </a:cubicBezTo>
                    <a:lnTo>
                      <a:pt x="2401" y="2082"/>
                    </a:lnTo>
                    <a:close/>
                    <a:moveTo>
                      <a:pt x="2618" y="2707"/>
                    </a:moveTo>
                    <a:cubicBezTo>
                      <a:pt x="2393" y="2102"/>
                      <a:pt x="2393" y="2102"/>
                      <a:pt x="2393" y="2102"/>
                    </a:cubicBezTo>
                    <a:cubicBezTo>
                      <a:pt x="2262" y="2162"/>
                      <a:pt x="2262" y="2162"/>
                      <a:pt x="2262" y="2162"/>
                    </a:cubicBezTo>
                    <a:cubicBezTo>
                      <a:pt x="2283" y="2239"/>
                      <a:pt x="2283" y="2239"/>
                      <a:pt x="2283" y="2239"/>
                    </a:cubicBezTo>
                    <a:cubicBezTo>
                      <a:pt x="2363" y="2260"/>
                      <a:pt x="2363" y="2260"/>
                      <a:pt x="2363" y="2260"/>
                    </a:cubicBezTo>
                    <a:cubicBezTo>
                      <a:pt x="2365" y="2264"/>
                      <a:pt x="2365" y="2264"/>
                      <a:pt x="2365" y="2264"/>
                    </a:cubicBezTo>
                    <a:cubicBezTo>
                      <a:pt x="2365" y="2264"/>
                      <a:pt x="2483" y="2623"/>
                      <a:pt x="2490" y="2644"/>
                    </a:cubicBezTo>
                    <a:cubicBezTo>
                      <a:pt x="2507" y="2667"/>
                      <a:pt x="2542" y="2684"/>
                      <a:pt x="2573" y="2694"/>
                    </a:cubicBezTo>
                    <a:cubicBezTo>
                      <a:pt x="2591" y="2700"/>
                      <a:pt x="2607" y="2705"/>
                      <a:pt x="2618" y="2707"/>
                    </a:cubicBezTo>
                    <a:close/>
                    <a:moveTo>
                      <a:pt x="1567" y="608"/>
                    </a:moveTo>
                    <a:cubicBezTo>
                      <a:pt x="1567" y="608"/>
                      <a:pt x="1769" y="621"/>
                      <a:pt x="1773" y="621"/>
                    </a:cubicBezTo>
                    <a:cubicBezTo>
                      <a:pt x="1767" y="674"/>
                      <a:pt x="1767" y="674"/>
                      <a:pt x="1767" y="674"/>
                    </a:cubicBezTo>
                    <a:cubicBezTo>
                      <a:pt x="1767" y="674"/>
                      <a:pt x="1720" y="713"/>
                      <a:pt x="1723" y="713"/>
                    </a:cubicBezTo>
                    <a:cubicBezTo>
                      <a:pt x="1726" y="713"/>
                      <a:pt x="1616" y="709"/>
                      <a:pt x="1616" y="709"/>
                    </a:cubicBezTo>
                    <a:cubicBezTo>
                      <a:pt x="1584" y="732"/>
                      <a:pt x="1584" y="732"/>
                      <a:pt x="1584" y="732"/>
                    </a:cubicBezTo>
                    <a:cubicBezTo>
                      <a:pt x="1632" y="788"/>
                      <a:pt x="1632" y="788"/>
                      <a:pt x="1632" y="788"/>
                    </a:cubicBezTo>
                    <a:cubicBezTo>
                      <a:pt x="1534" y="873"/>
                      <a:pt x="1534" y="873"/>
                      <a:pt x="1534" y="873"/>
                    </a:cubicBezTo>
                    <a:cubicBezTo>
                      <a:pt x="1376" y="687"/>
                      <a:pt x="1376" y="687"/>
                      <a:pt x="1376" y="687"/>
                    </a:cubicBezTo>
                    <a:cubicBezTo>
                      <a:pt x="1491" y="520"/>
                      <a:pt x="1491" y="520"/>
                      <a:pt x="1491" y="520"/>
                    </a:cubicBezTo>
                    <a:lnTo>
                      <a:pt x="1567" y="608"/>
                    </a:lnTo>
                    <a:close/>
                    <a:moveTo>
                      <a:pt x="1757" y="634"/>
                    </a:moveTo>
                    <a:cubicBezTo>
                      <a:pt x="1718" y="632"/>
                      <a:pt x="1615" y="625"/>
                      <a:pt x="1566" y="622"/>
                    </a:cubicBezTo>
                    <a:cubicBezTo>
                      <a:pt x="1560" y="621"/>
                      <a:pt x="1560" y="621"/>
                      <a:pt x="1560" y="621"/>
                    </a:cubicBezTo>
                    <a:cubicBezTo>
                      <a:pt x="1556" y="617"/>
                      <a:pt x="1556" y="617"/>
                      <a:pt x="1556" y="617"/>
                    </a:cubicBezTo>
                    <a:cubicBezTo>
                      <a:pt x="1492" y="543"/>
                      <a:pt x="1492" y="543"/>
                      <a:pt x="1492" y="543"/>
                    </a:cubicBezTo>
                    <a:cubicBezTo>
                      <a:pt x="1394" y="686"/>
                      <a:pt x="1394" y="686"/>
                      <a:pt x="1394" y="686"/>
                    </a:cubicBezTo>
                    <a:cubicBezTo>
                      <a:pt x="1536" y="854"/>
                      <a:pt x="1536" y="854"/>
                      <a:pt x="1536" y="854"/>
                    </a:cubicBezTo>
                    <a:cubicBezTo>
                      <a:pt x="1612" y="787"/>
                      <a:pt x="1612" y="787"/>
                      <a:pt x="1612" y="787"/>
                    </a:cubicBezTo>
                    <a:cubicBezTo>
                      <a:pt x="1574" y="741"/>
                      <a:pt x="1574" y="741"/>
                      <a:pt x="1574" y="741"/>
                    </a:cubicBezTo>
                    <a:cubicBezTo>
                      <a:pt x="1564" y="729"/>
                      <a:pt x="1564" y="729"/>
                      <a:pt x="1564" y="729"/>
                    </a:cubicBezTo>
                    <a:cubicBezTo>
                      <a:pt x="1576" y="721"/>
                      <a:pt x="1576" y="721"/>
                      <a:pt x="1576" y="721"/>
                    </a:cubicBezTo>
                    <a:cubicBezTo>
                      <a:pt x="1608" y="698"/>
                      <a:pt x="1608" y="698"/>
                      <a:pt x="1608" y="698"/>
                    </a:cubicBezTo>
                    <a:cubicBezTo>
                      <a:pt x="1612" y="695"/>
                      <a:pt x="1612" y="695"/>
                      <a:pt x="1612" y="695"/>
                    </a:cubicBezTo>
                    <a:cubicBezTo>
                      <a:pt x="1617" y="696"/>
                      <a:pt x="1617" y="696"/>
                      <a:pt x="1617" y="696"/>
                    </a:cubicBezTo>
                    <a:cubicBezTo>
                      <a:pt x="1617" y="696"/>
                      <a:pt x="1693" y="698"/>
                      <a:pt x="1716" y="698"/>
                    </a:cubicBezTo>
                    <a:cubicBezTo>
                      <a:pt x="1723" y="692"/>
                      <a:pt x="1734" y="682"/>
                      <a:pt x="1754" y="666"/>
                    </a:cubicBezTo>
                    <a:lnTo>
                      <a:pt x="1757" y="634"/>
                    </a:lnTo>
                    <a:close/>
                    <a:moveTo>
                      <a:pt x="1079" y="1204"/>
                    </a:moveTo>
                    <a:cubicBezTo>
                      <a:pt x="1316" y="1381"/>
                      <a:pt x="1316" y="1381"/>
                      <a:pt x="1316" y="1381"/>
                    </a:cubicBezTo>
                    <a:cubicBezTo>
                      <a:pt x="1341" y="1342"/>
                      <a:pt x="1341" y="1342"/>
                      <a:pt x="1341" y="1342"/>
                    </a:cubicBezTo>
                    <a:cubicBezTo>
                      <a:pt x="1428" y="1402"/>
                      <a:pt x="1428" y="1402"/>
                      <a:pt x="1428" y="1402"/>
                    </a:cubicBezTo>
                    <a:cubicBezTo>
                      <a:pt x="1363" y="1507"/>
                      <a:pt x="1363" y="1507"/>
                      <a:pt x="1363" y="1507"/>
                    </a:cubicBezTo>
                    <a:cubicBezTo>
                      <a:pt x="1041" y="1266"/>
                      <a:pt x="1041" y="1266"/>
                      <a:pt x="1041" y="1266"/>
                    </a:cubicBezTo>
                    <a:lnTo>
                      <a:pt x="1079" y="1204"/>
                    </a:lnTo>
                    <a:close/>
                    <a:moveTo>
                      <a:pt x="1083" y="1224"/>
                    </a:moveTo>
                    <a:cubicBezTo>
                      <a:pt x="1060" y="1262"/>
                      <a:pt x="1060" y="1262"/>
                      <a:pt x="1060" y="1262"/>
                    </a:cubicBezTo>
                    <a:cubicBezTo>
                      <a:pt x="1359" y="1487"/>
                      <a:pt x="1359" y="1487"/>
                      <a:pt x="1359" y="1487"/>
                    </a:cubicBezTo>
                    <a:cubicBezTo>
                      <a:pt x="1409" y="1406"/>
                      <a:pt x="1409" y="1406"/>
                      <a:pt x="1409" y="1406"/>
                    </a:cubicBezTo>
                    <a:cubicBezTo>
                      <a:pt x="1345" y="1361"/>
                      <a:pt x="1345" y="1361"/>
                      <a:pt x="1345" y="1361"/>
                    </a:cubicBezTo>
                    <a:cubicBezTo>
                      <a:pt x="1328" y="1389"/>
                      <a:pt x="1328" y="1389"/>
                      <a:pt x="1328" y="1389"/>
                    </a:cubicBezTo>
                    <a:cubicBezTo>
                      <a:pt x="1320" y="1402"/>
                      <a:pt x="1320" y="1402"/>
                      <a:pt x="1320" y="1402"/>
                    </a:cubicBezTo>
                    <a:cubicBezTo>
                      <a:pt x="1308" y="1392"/>
                      <a:pt x="1308" y="1392"/>
                      <a:pt x="1308" y="1392"/>
                    </a:cubicBezTo>
                    <a:lnTo>
                      <a:pt x="1083" y="1224"/>
                    </a:lnTo>
                    <a:close/>
                    <a:moveTo>
                      <a:pt x="2613" y="2821"/>
                    </a:moveTo>
                    <a:cubicBezTo>
                      <a:pt x="2616" y="2822"/>
                      <a:pt x="2688" y="2870"/>
                      <a:pt x="2688" y="2870"/>
                    </a:cubicBezTo>
                    <a:cubicBezTo>
                      <a:pt x="2700" y="2878"/>
                      <a:pt x="2700" y="2878"/>
                      <a:pt x="2700" y="2878"/>
                    </a:cubicBezTo>
                    <a:cubicBezTo>
                      <a:pt x="2686" y="2883"/>
                      <a:pt x="2686" y="2883"/>
                      <a:pt x="2686" y="2883"/>
                    </a:cubicBezTo>
                    <a:cubicBezTo>
                      <a:pt x="2686" y="2883"/>
                      <a:pt x="2582" y="2919"/>
                      <a:pt x="2466" y="2919"/>
                    </a:cubicBezTo>
                    <a:cubicBezTo>
                      <a:pt x="2460" y="2919"/>
                      <a:pt x="2454" y="2919"/>
                      <a:pt x="2448" y="2919"/>
                    </a:cubicBezTo>
                    <a:cubicBezTo>
                      <a:pt x="2325" y="2915"/>
                      <a:pt x="2225" y="2886"/>
                      <a:pt x="2225" y="2886"/>
                    </a:cubicBezTo>
                    <a:cubicBezTo>
                      <a:pt x="2219" y="2885"/>
                      <a:pt x="2219" y="2885"/>
                      <a:pt x="2219" y="2885"/>
                    </a:cubicBezTo>
                    <a:cubicBezTo>
                      <a:pt x="2266" y="2326"/>
                      <a:pt x="2266" y="2326"/>
                      <a:pt x="2266" y="2326"/>
                    </a:cubicBezTo>
                    <a:cubicBezTo>
                      <a:pt x="2314" y="2338"/>
                      <a:pt x="2314" y="2338"/>
                      <a:pt x="2314" y="2338"/>
                    </a:cubicBezTo>
                    <a:cubicBezTo>
                      <a:pt x="2450" y="2749"/>
                      <a:pt x="2450" y="2749"/>
                      <a:pt x="2450" y="2749"/>
                    </a:cubicBezTo>
                    <a:cubicBezTo>
                      <a:pt x="2455" y="2754"/>
                      <a:pt x="2472" y="2767"/>
                      <a:pt x="2497" y="2781"/>
                    </a:cubicBezTo>
                    <a:cubicBezTo>
                      <a:pt x="2526" y="2798"/>
                      <a:pt x="2567" y="2816"/>
                      <a:pt x="2610" y="2820"/>
                    </a:cubicBezTo>
                    <a:cubicBezTo>
                      <a:pt x="2610" y="2820"/>
                      <a:pt x="2610" y="2820"/>
                      <a:pt x="2610" y="2820"/>
                    </a:cubicBezTo>
                    <a:cubicBezTo>
                      <a:pt x="2613" y="2820"/>
                      <a:pt x="2613" y="2821"/>
                      <a:pt x="2613" y="2821"/>
                    </a:cubicBezTo>
                    <a:close/>
                    <a:moveTo>
                      <a:pt x="2618" y="2841"/>
                    </a:moveTo>
                    <a:cubicBezTo>
                      <a:pt x="2614" y="2839"/>
                      <a:pt x="2611" y="2837"/>
                      <a:pt x="2609" y="2836"/>
                    </a:cubicBezTo>
                    <a:cubicBezTo>
                      <a:pt x="2609" y="2835"/>
                      <a:pt x="2608" y="2835"/>
                      <a:pt x="2608" y="2835"/>
                    </a:cubicBezTo>
                    <a:cubicBezTo>
                      <a:pt x="2515" y="2825"/>
                      <a:pt x="2439" y="2760"/>
                      <a:pt x="2439" y="2759"/>
                    </a:cubicBezTo>
                    <a:cubicBezTo>
                      <a:pt x="2437" y="2758"/>
                      <a:pt x="2437" y="2758"/>
                      <a:pt x="2437" y="2758"/>
                    </a:cubicBezTo>
                    <a:cubicBezTo>
                      <a:pt x="2303" y="2350"/>
                      <a:pt x="2303" y="2350"/>
                      <a:pt x="2303" y="2350"/>
                    </a:cubicBezTo>
                    <a:cubicBezTo>
                      <a:pt x="2279" y="2344"/>
                      <a:pt x="2279" y="2344"/>
                      <a:pt x="2279" y="2344"/>
                    </a:cubicBezTo>
                    <a:cubicBezTo>
                      <a:pt x="2235" y="2874"/>
                      <a:pt x="2235" y="2874"/>
                      <a:pt x="2235" y="2874"/>
                    </a:cubicBezTo>
                    <a:cubicBezTo>
                      <a:pt x="2258" y="2880"/>
                      <a:pt x="2345" y="2901"/>
                      <a:pt x="2449" y="2904"/>
                    </a:cubicBezTo>
                    <a:cubicBezTo>
                      <a:pt x="2454" y="2904"/>
                      <a:pt x="2460" y="2904"/>
                      <a:pt x="2466" y="2904"/>
                    </a:cubicBezTo>
                    <a:cubicBezTo>
                      <a:pt x="2522" y="2904"/>
                      <a:pt x="2576" y="2896"/>
                      <a:pt x="2616" y="2887"/>
                    </a:cubicBezTo>
                    <a:cubicBezTo>
                      <a:pt x="2638" y="2882"/>
                      <a:pt x="2656" y="2877"/>
                      <a:pt x="2667" y="2874"/>
                    </a:cubicBezTo>
                    <a:cubicBezTo>
                      <a:pt x="2660" y="2869"/>
                      <a:pt x="2652" y="2864"/>
                      <a:pt x="2643" y="2858"/>
                    </a:cubicBezTo>
                    <a:cubicBezTo>
                      <a:pt x="2634" y="2852"/>
                      <a:pt x="2625" y="2846"/>
                      <a:pt x="2618" y="2841"/>
                    </a:cubicBezTo>
                    <a:close/>
                    <a:moveTo>
                      <a:pt x="2964" y="625"/>
                    </a:moveTo>
                    <a:cubicBezTo>
                      <a:pt x="2964" y="625"/>
                      <a:pt x="3317" y="960"/>
                      <a:pt x="3319" y="961"/>
                    </a:cubicBezTo>
                    <a:cubicBezTo>
                      <a:pt x="3214" y="1114"/>
                      <a:pt x="3214" y="1114"/>
                      <a:pt x="3214" y="1114"/>
                    </a:cubicBezTo>
                    <a:cubicBezTo>
                      <a:pt x="3149" y="995"/>
                      <a:pt x="3149" y="995"/>
                      <a:pt x="3149" y="995"/>
                    </a:cubicBezTo>
                    <a:cubicBezTo>
                      <a:pt x="3203" y="970"/>
                      <a:pt x="3203" y="970"/>
                      <a:pt x="3203" y="970"/>
                    </a:cubicBezTo>
                    <a:cubicBezTo>
                      <a:pt x="2972" y="740"/>
                      <a:pt x="2972" y="740"/>
                      <a:pt x="2972" y="740"/>
                    </a:cubicBezTo>
                    <a:cubicBezTo>
                      <a:pt x="2842" y="837"/>
                      <a:pt x="2842" y="837"/>
                      <a:pt x="2842" y="837"/>
                    </a:cubicBezTo>
                    <a:cubicBezTo>
                      <a:pt x="3050" y="1095"/>
                      <a:pt x="3050" y="1095"/>
                      <a:pt x="3050" y="1095"/>
                    </a:cubicBezTo>
                    <a:cubicBezTo>
                      <a:pt x="3089" y="1028"/>
                      <a:pt x="3089" y="1028"/>
                      <a:pt x="3089" y="1028"/>
                    </a:cubicBezTo>
                    <a:cubicBezTo>
                      <a:pt x="3160" y="1160"/>
                      <a:pt x="3160" y="1160"/>
                      <a:pt x="3160" y="1160"/>
                    </a:cubicBezTo>
                    <a:cubicBezTo>
                      <a:pt x="3160" y="1160"/>
                      <a:pt x="3036" y="1244"/>
                      <a:pt x="3037" y="1244"/>
                    </a:cubicBezTo>
                    <a:cubicBezTo>
                      <a:pt x="3038" y="1244"/>
                      <a:pt x="2705" y="810"/>
                      <a:pt x="2705" y="810"/>
                    </a:cubicBezTo>
                    <a:lnTo>
                      <a:pt x="2964" y="625"/>
                    </a:lnTo>
                    <a:close/>
                    <a:moveTo>
                      <a:pt x="3301" y="963"/>
                    </a:moveTo>
                    <a:cubicBezTo>
                      <a:pt x="3277" y="940"/>
                      <a:pt x="3203" y="870"/>
                      <a:pt x="2963" y="643"/>
                    </a:cubicBezTo>
                    <a:cubicBezTo>
                      <a:pt x="2724" y="813"/>
                      <a:pt x="2724" y="813"/>
                      <a:pt x="2724" y="813"/>
                    </a:cubicBezTo>
                    <a:cubicBezTo>
                      <a:pt x="2949" y="1106"/>
                      <a:pt x="3018" y="1197"/>
                      <a:pt x="3040" y="1225"/>
                    </a:cubicBezTo>
                    <a:cubicBezTo>
                      <a:pt x="3054" y="1215"/>
                      <a:pt x="3082" y="1196"/>
                      <a:pt x="3141" y="1156"/>
                    </a:cubicBezTo>
                    <a:cubicBezTo>
                      <a:pt x="3088" y="1057"/>
                      <a:pt x="3088" y="1057"/>
                      <a:pt x="3088" y="1057"/>
                    </a:cubicBezTo>
                    <a:cubicBezTo>
                      <a:pt x="3062" y="1102"/>
                      <a:pt x="3062" y="1102"/>
                      <a:pt x="3062" y="1102"/>
                    </a:cubicBezTo>
                    <a:cubicBezTo>
                      <a:pt x="3052" y="1119"/>
                      <a:pt x="3052" y="1119"/>
                      <a:pt x="3052" y="1119"/>
                    </a:cubicBezTo>
                    <a:cubicBezTo>
                      <a:pt x="3039" y="1104"/>
                      <a:pt x="3039" y="1104"/>
                      <a:pt x="3039" y="1104"/>
                    </a:cubicBezTo>
                    <a:cubicBezTo>
                      <a:pt x="2831" y="845"/>
                      <a:pt x="2831" y="845"/>
                      <a:pt x="2831" y="845"/>
                    </a:cubicBezTo>
                    <a:cubicBezTo>
                      <a:pt x="2822" y="834"/>
                      <a:pt x="2822" y="834"/>
                      <a:pt x="2822" y="834"/>
                    </a:cubicBezTo>
                    <a:cubicBezTo>
                      <a:pt x="2834" y="825"/>
                      <a:pt x="2834" y="825"/>
                      <a:pt x="2834" y="825"/>
                    </a:cubicBezTo>
                    <a:cubicBezTo>
                      <a:pt x="2964" y="729"/>
                      <a:pt x="2964" y="729"/>
                      <a:pt x="2964" y="729"/>
                    </a:cubicBezTo>
                    <a:cubicBezTo>
                      <a:pt x="2973" y="722"/>
                      <a:pt x="2973" y="722"/>
                      <a:pt x="2973" y="722"/>
                    </a:cubicBezTo>
                    <a:cubicBezTo>
                      <a:pt x="2982" y="730"/>
                      <a:pt x="2982" y="730"/>
                      <a:pt x="2982" y="730"/>
                    </a:cubicBezTo>
                    <a:cubicBezTo>
                      <a:pt x="3212" y="960"/>
                      <a:pt x="3212" y="960"/>
                      <a:pt x="3212" y="960"/>
                    </a:cubicBezTo>
                    <a:cubicBezTo>
                      <a:pt x="3226" y="974"/>
                      <a:pt x="3226" y="974"/>
                      <a:pt x="3226" y="974"/>
                    </a:cubicBezTo>
                    <a:cubicBezTo>
                      <a:pt x="3209" y="982"/>
                      <a:pt x="3209" y="982"/>
                      <a:pt x="3209" y="982"/>
                    </a:cubicBezTo>
                    <a:cubicBezTo>
                      <a:pt x="3169" y="1002"/>
                      <a:pt x="3169" y="1002"/>
                      <a:pt x="3169" y="1002"/>
                    </a:cubicBezTo>
                    <a:cubicBezTo>
                      <a:pt x="3215" y="1088"/>
                      <a:pt x="3215" y="1088"/>
                      <a:pt x="3215" y="1088"/>
                    </a:cubicBezTo>
                    <a:lnTo>
                      <a:pt x="3301" y="963"/>
                    </a:lnTo>
                    <a:close/>
                    <a:moveTo>
                      <a:pt x="2924" y="1883"/>
                    </a:moveTo>
                    <a:cubicBezTo>
                      <a:pt x="3092" y="1795"/>
                      <a:pt x="3092" y="1795"/>
                      <a:pt x="3092" y="1795"/>
                    </a:cubicBezTo>
                    <a:cubicBezTo>
                      <a:pt x="3345" y="2280"/>
                      <a:pt x="3345" y="2280"/>
                      <a:pt x="3345" y="2280"/>
                    </a:cubicBezTo>
                    <a:cubicBezTo>
                      <a:pt x="3344" y="2282"/>
                      <a:pt x="3344" y="2282"/>
                      <a:pt x="3344" y="2282"/>
                    </a:cubicBezTo>
                    <a:cubicBezTo>
                      <a:pt x="3344" y="2283"/>
                      <a:pt x="3317" y="2439"/>
                      <a:pt x="3285" y="2507"/>
                    </a:cubicBezTo>
                    <a:cubicBezTo>
                      <a:pt x="3284" y="2509"/>
                      <a:pt x="3281" y="2511"/>
                      <a:pt x="3278" y="2511"/>
                    </a:cubicBezTo>
                    <a:cubicBezTo>
                      <a:pt x="3273" y="2510"/>
                      <a:pt x="3274" y="2509"/>
                      <a:pt x="3273" y="2509"/>
                    </a:cubicBezTo>
                    <a:cubicBezTo>
                      <a:pt x="3265" y="2501"/>
                      <a:pt x="3238" y="2459"/>
                      <a:pt x="3210" y="2415"/>
                    </a:cubicBezTo>
                    <a:cubicBezTo>
                      <a:pt x="3183" y="2373"/>
                      <a:pt x="3157" y="2331"/>
                      <a:pt x="3157" y="2331"/>
                    </a:cubicBezTo>
                    <a:cubicBezTo>
                      <a:pt x="3155" y="2328"/>
                      <a:pt x="3155" y="2328"/>
                      <a:pt x="3155" y="2328"/>
                    </a:cubicBezTo>
                    <a:cubicBezTo>
                      <a:pt x="3157" y="2325"/>
                      <a:pt x="3157" y="2325"/>
                      <a:pt x="3157" y="2325"/>
                    </a:cubicBezTo>
                    <a:cubicBezTo>
                      <a:pt x="3157" y="2325"/>
                      <a:pt x="3181" y="2266"/>
                      <a:pt x="3184" y="2240"/>
                    </a:cubicBezTo>
                    <a:cubicBezTo>
                      <a:pt x="3179" y="2230"/>
                      <a:pt x="3145" y="2168"/>
                      <a:pt x="3112" y="2108"/>
                    </a:cubicBezTo>
                    <a:cubicBezTo>
                      <a:pt x="3084" y="2057"/>
                      <a:pt x="3056" y="2006"/>
                      <a:pt x="3046" y="1989"/>
                    </a:cubicBezTo>
                    <a:cubicBezTo>
                      <a:pt x="2988" y="2020"/>
                      <a:pt x="2988" y="2020"/>
                      <a:pt x="2988" y="2020"/>
                    </a:cubicBezTo>
                    <a:cubicBezTo>
                      <a:pt x="3101" y="2255"/>
                      <a:pt x="3101" y="2255"/>
                      <a:pt x="3101" y="2255"/>
                    </a:cubicBezTo>
                    <a:cubicBezTo>
                      <a:pt x="3071" y="2301"/>
                      <a:pt x="3071" y="2301"/>
                      <a:pt x="3071" y="2301"/>
                    </a:cubicBezTo>
                    <a:cubicBezTo>
                      <a:pt x="3256" y="2569"/>
                      <a:pt x="3256" y="2569"/>
                      <a:pt x="3256" y="2569"/>
                    </a:cubicBezTo>
                    <a:cubicBezTo>
                      <a:pt x="3213" y="2629"/>
                      <a:pt x="3213" y="2629"/>
                      <a:pt x="3213" y="2629"/>
                    </a:cubicBezTo>
                    <a:cubicBezTo>
                      <a:pt x="2736" y="1903"/>
                      <a:pt x="2736" y="1903"/>
                      <a:pt x="2736" y="1903"/>
                    </a:cubicBezTo>
                    <a:cubicBezTo>
                      <a:pt x="2893" y="1818"/>
                      <a:pt x="2893" y="1818"/>
                      <a:pt x="2893" y="1818"/>
                    </a:cubicBezTo>
                    <a:lnTo>
                      <a:pt x="2924" y="1883"/>
                    </a:lnTo>
                    <a:close/>
                    <a:moveTo>
                      <a:pt x="3085" y="1815"/>
                    </a:moveTo>
                    <a:cubicBezTo>
                      <a:pt x="2917" y="1904"/>
                      <a:pt x="2917" y="1904"/>
                      <a:pt x="2917" y="1904"/>
                    </a:cubicBezTo>
                    <a:cubicBezTo>
                      <a:pt x="2887" y="1839"/>
                      <a:pt x="2887" y="1839"/>
                      <a:pt x="2887" y="1839"/>
                    </a:cubicBezTo>
                    <a:cubicBezTo>
                      <a:pt x="2758" y="1909"/>
                      <a:pt x="2758" y="1909"/>
                      <a:pt x="2758" y="1909"/>
                    </a:cubicBezTo>
                    <a:cubicBezTo>
                      <a:pt x="3213" y="2603"/>
                      <a:pt x="3213" y="2603"/>
                      <a:pt x="3213" y="2603"/>
                    </a:cubicBezTo>
                    <a:cubicBezTo>
                      <a:pt x="3238" y="2569"/>
                      <a:pt x="3238" y="2569"/>
                      <a:pt x="3238" y="2569"/>
                    </a:cubicBezTo>
                    <a:cubicBezTo>
                      <a:pt x="3054" y="2302"/>
                      <a:pt x="3054" y="2302"/>
                      <a:pt x="3054" y="2302"/>
                    </a:cubicBezTo>
                    <a:cubicBezTo>
                      <a:pt x="3084" y="2254"/>
                      <a:pt x="3084" y="2254"/>
                      <a:pt x="3084" y="2254"/>
                    </a:cubicBezTo>
                    <a:cubicBezTo>
                      <a:pt x="2968" y="2014"/>
                      <a:pt x="2968" y="2014"/>
                      <a:pt x="2968" y="2014"/>
                    </a:cubicBezTo>
                    <a:cubicBezTo>
                      <a:pt x="3052" y="1969"/>
                      <a:pt x="3052" y="1969"/>
                      <a:pt x="3052" y="1969"/>
                    </a:cubicBezTo>
                    <a:cubicBezTo>
                      <a:pt x="3055" y="1975"/>
                      <a:pt x="3055" y="1975"/>
                      <a:pt x="3055" y="1975"/>
                    </a:cubicBezTo>
                    <a:cubicBezTo>
                      <a:pt x="3055" y="1975"/>
                      <a:pt x="3091" y="2039"/>
                      <a:pt x="3126" y="2104"/>
                    </a:cubicBezTo>
                    <a:cubicBezTo>
                      <a:pt x="3144" y="2136"/>
                      <a:pt x="3162" y="2169"/>
                      <a:pt x="3175" y="2193"/>
                    </a:cubicBezTo>
                    <a:cubicBezTo>
                      <a:pt x="3182" y="2205"/>
                      <a:pt x="3188" y="2216"/>
                      <a:pt x="3191" y="2223"/>
                    </a:cubicBezTo>
                    <a:cubicBezTo>
                      <a:pt x="3193" y="2227"/>
                      <a:pt x="3195" y="2230"/>
                      <a:pt x="3196" y="2232"/>
                    </a:cubicBezTo>
                    <a:cubicBezTo>
                      <a:pt x="3197" y="2233"/>
                      <a:pt x="3197" y="2234"/>
                      <a:pt x="3197" y="2234"/>
                    </a:cubicBezTo>
                    <a:cubicBezTo>
                      <a:pt x="3198" y="2236"/>
                      <a:pt x="3198" y="2234"/>
                      <a:pt x="3198" y="2239"/>
                    </a:cubicBezTo>
                    <a:cubicBezTo>
                      <a:pt x="3198" y="2239"/>
                      <a:pt x="3198" y="2239"/>
                      <a:pt x="3198" y="2239"/>
                    </a:cubicBezTo>
                    <a:cubicBezTo>
                      <a:pt x="3198" y="2239"/>
                      <a:pt x="3198" y="2239"/>
                      <a:pt x="3198" y="2239"/>
                    </a:cubicBezTo>
                    <a:cubicBezTo>
                      <a:pt x="3196" y="2265"/>
                      <a:pt x="3177" y="2313"/>
                      <a:pt x="3172" y="2327"/>
                    </a:cubicBezTo>
                    <a:cubicBezTo>
                      <a:pt x="3179" y="2337"/>
                      <a:pt x="3202" y="2375"/>
                      <a:pt x="3225" y="2412"/>
                    </a:cubicBezTo>
                    <a:cubicBezTo>
                      <a:pt x="3239" y="2434"/>
                      <a:pt x="3254" y="2456"/>
                      <a:pt x="3264" y="2472"/>
                    </a:cubicBezTo>
                    <a:cubicBezTo>
                      <a:pt x="3269" y="2479"/>
                      <a:pt x="3273" y="2485"/>
                      <a:pt x="3277" y="2490"/>
                    </a:cubicBezTo>
                    <a:cubicBezTo>
                      <a:pt x="3302" y="2426"/>
                      <a:pt x="3326" y="2301"/>
                      <a:pt x="3329" y="2282"/>
                    </a:cubicBezTo>
                    <a:lnTo>
                      <a:pt x="3085" y="1815"/>
                    </a:lnTo>
                    <a:close/>
                    <a:moveTo>
                      <a:pt x="3850" y="581"/>
                    </a:moveTo>
                    <a:cubicBezTo>
                      <a:pt x="3775" y="593"/>
                      <a:pt x="3775" y="593"/>
                      <a:pt x="3775" y="593"/>
                    </a:cubicBezTo>
                    <a:cubicBezTo>
                      <a:pt x="3790" y="674"/>
                      <a:pt x="3790" y="674"/>
                      <a:pt x="3790" y="674"/>
                    </a:cubicBezTo>
                    <a:cubicBezTo>
                      <a:pt x="3708" y="685"/>
                      <a:pt x="3708" y="685"/>
                      <a:pt x="3708" y="685"/>
                    </a:cubicBezTo>
                    <a:cubicBezTo>
                      <a:pt x="3690" y="607"/>
                      <a:pt x="3690" y="607"/>
                      <a:pt x="3690" y="607"/>
                    </a:cubicBezTo>
                    <a:cubicBezTo>
                      <a:pt x="3690" y="607"/>
                      <a:pt x="3669" y="611"/>
                      <a:pt x="3671" y="609"/>
                    </a:cubicBezTo>
                    <a:cubicBezTo>
                      <a:pt x="3672" y="607"/>
                      <a:pt x="3656" y="533"/>
                      <a:pt x="3656" y="533"/>
                    </a:cubicBezTo>
                    <a:cubicBezTo>
                      <a:pt x="3836" y="497"/>
                      <a:pt x="3836" y="497"/>
                      <a:pt x="3836" y="497"/>
                    </a:cubicBezTo>
                    <a:lnTo>
                      <a:pt x="3850" y="581"/>
                    </a:lnTo>
                    <a:close/>
                    <a:moveTo>
                      <a:pt x="3834" y="570"/>
                    </a:moveTo>
                    <a:cubicBezTo>
                      <a:pt x="3824" y="513"/>
                      <a:pt x="3824" y="513"/>
                      <a:pt x="3824" y="513"/>
                    </a:cubicBezTo>
                    <a:cubicBezTo>
                      <a:pt x="3673" y="544"/>
                      <a:pt x="3673" y="544"/>
                      <a:pt x="3673" y="544"/>
                    </a:cubicBezTo>
                    <a:cubicBezTo>
                      <a:pt x="3678" y="568"/>
                      <a:pt x="3681" y="584"/>
                      <a:pt x="3683" y="594"/>
                    </a:cubicBezTo>
                    <a:cubicBezTo>
                      <a:pt x="3685" y="594"/>
                      <a:pt x="3686" y="593"/>
                      <a:pt x="3688" y="593"/>
                    </a:cubicBezTo>
                    <a:cubicBezTo>
                      <a:pt x="3701" y="591"/>
                      <a:pt x="3701" y="591"/>
                      <a:pt x="3701" y="591"/>
                    </a:cubicBezTo>
                    <a:cubicBezTo>
                      <a:pt x="3704" y="604"/>
                      <a:pt x="3704" y="604"/>
                      <a:pt x="3704" y="604"/>
                    </a:cubicBezTo>
                    <a:cubicBezTo>
                      <a:pt x="3718" y="670"/>
                      <a:pt x="3718" y="670"/>
                      <a:pt x="3718" y="670"/>
                    </a:cubicBezTo>
                    <a:cubicBezTo>
                      <a:pt x="3773" y="663"/>
                      <a:pt x="3773" y="663"/>
                      <a:pt x="3773" y="663"/>
                    </a:cubicBezTo>
                    <a:cubicBezTo>
                      <a:pt x="3761" y="595"/>
                      <a:pt x="3761" y="595"/>
                      <a:pt x="3761" y="595"/>
                    </a:cubicBezTo>
                    <a:cubicBezTo>
                      <a:pt x="3759" y="581"/>
                      <a:pt x="3759" y="581"/>
                      <a:pt x="3759" y="581"/>
                    </a:cubicBezTo>
                    <a:cubicBezTo>
                      <a:pt x="3773" y="579"/>
                      <a:pt x="3773" y="579"/>
                      <a:pt x="3773" y="579"/>
                    </a:cubicBezTo>
                    <a:lnTo>
                      <a:pt x="3834" y="570"/>
                    </a:lnTo>
                    <a:close/>
                    <a:moveTo>
                      <a:pt x="1413" y="3155"/>
                    </a:moveTo>
                    <a:cubicBezTo>
                      <a:pt x="1551" y="3167"/>
                      <a:pt x="1551" y="3167"/>
                      <a:pt x="1551" y="3167"/>
                    </a:cubicBezTo>
                    <a:cubicBezTo>
                      <a:pt x="1546" y="3247"/>
                      <a:pt x="1546" y="3247"/>
                      <a:pt x="1546" y="3247"/>
                    </a:cubicBezTo>
                    <a:cubicBezTo>
                      <a:pt x="1306" y="3367"/>
                      <a:pt x="1306" y="3367"/>
                      <a:pt x="1306" y="3367"/>
                    </a:cubicBezTo>
                    <a:cubicBezTo>
                      <a:pt x="1275" y="3318"/>
                      <a:pt x="1275" y="3318"/>
                      <a:pt x="1275" y="3318"/>
                    </a:cubicBezTo>
                    <a:cubicBezTo>
                      <a:pt x="1223" y="3346"/>
                      <a:pt x="1223" y="3346"/>
                      <a:pt x="1223" y="3346"/>
                    </a:cubicBezTo>
                    <a:cubicBezTo>
                      <a:pt x="1020" y="2989"/>
                      <a:pt x="1020" y="2989"/>
                      <a:pt x="1020" y="2989"/>
                    </a:cubicBezTo>
                    <a:cubicBezTo>
                      <a:pt x="1133" y="2931"/>
                      <a:pt x="1133" y="2931"/>
                      <a:pt x="1133" y="2931"/>
                    </a:cubicBezTo>
                    <a:cubicBezTo>
                      <a:pt x="1240" y="3041"/>
                      <a:pt x="1240" y="3041"/>
                      <a:pt x="1240" y="3041"/>
                    </a:cubicBezTo>
                    <a:cubicBezTo>
                      <a:pt x="1279" y="3024"/>
                      <a:pt x="1279" y="3024"/>
                      <a:pt x="1279" y="3024"/>
                    </a:cubicBezTo>
                    <a:lnTo>
                      <a:pt x="1413" y="3155"/>
                    </a:lnTo>
                    <a:close/>
                    <a:moveTo>
                      <a:pt x="1536" y="3180"/>
                    </a:moveTo>
                    <a:cubicBezTo>
                      <a:pt x="1412" y="3169"/>
                      <a:pt x="1412" y="3169"/>
                      <a:pt x="1412" y="3169"/>
                    </a:cubicBezTo>
                    <a:cubicBezTo>
                      <a:pt x="1407" y="3169"/>
                      <a:pt x="1407" y="3169"/>
                      <a:pt x="1407" y="3169"/>
                    </a:cubicBezTo>
                    <a:cubicBezTo>
                      <a:pt x="1403" y="3165"/>
                      <a:pt x="1403" y="3165"/>
                      <a:pt x="1403" y="3165"/>
                    </a:cubicBezTo>
                    <a:cubicBezTo>
                      <a:pt x="1276" y="3041"/>
                      <a:pt x="1276" y="3041"/>
                      <a:pt x="1276" y="3041"/>
                    </a:cubicBezTo>
                    <a:cubicBezTo>
                      <a:pt x="1245" y="3054"/>
                      <a:pt x="1245" y="3054"/>
                      <a:pt x="1245" y="3054"/>
                    </a:cubicBezTo>
                    <a:cubicBezTo>
                      <a:pt x="1236" y="3058"/>
                      <a:pt x="1236" y="3058"/>
                      <a:pt x="1236" y="3058"/>
                    </a:cubicBezTo>
                    <a:cubicBezTo>
                      <a:pt x="1230" y="3051"/>
                      <a:pt x="1230" y="3051"/>
                      <a:pt x="1230" y="3051"/>
                    </a:cubicBezTo>
                    <a:cubicBezTo>
                      <a:pt x="1130" y="2948"/>
                      <a:pt x="1130" y="2948"/>
                      <a:pt x="1130" y="2948"/>
                    </a:cubicBezTo>
                    <a:cubicBezTo>
                      <a:pt x="1039" y="2994"/>
                      <a:pt x="1039" y="2994"/>
                      <a:pt x="1039" y="2994"/>
                    </a:cubicBezTo>
                    <a:cubicBezTo>
                      <a:pt x="1229" y="3327"/>
                      <a:pt x="1229" y="3327"/>
                      <a:pt x="1229" y="3327"/>
                    </a:cubicBezTo>
                    <a:cubicBezTo>
                      <a:pt x="1268" y="3306"/>
                      <a:pt x="1268" y="3306"/>
                      <a:pt x="1268" y="3306"/>
                    </a:cubicBezTo>
                    <a:cubicBezTo>
                      <a:pt x="1279" y="3300"/>
                      <a:pt x="1279" y="3300"/>
                      <a:pt x="1279" y="3300"/>
                    </a:cubicBezTo>
                    <a:cubicBezTo>
                      <a:pt x="1286" y="3311"/>
                      <a:pt x="1286" y="3311"/>
                      <a:pt x="1286" y="3311"/>
                    </a:cubicBezTo>
                    <a:cubicBezTo>
                      <a:pt x="1311" y="3349"/>
                      <a:pt x="1311" y="3349"/>
                      <a:pt x="1311" y="3349"/>
                    </a:cubicBezTo>
                    <a:cubicBezTo>
                      <a:pt x="1533" y="3238"/>
                      <a:pt x="1533" y="3238"/>
                      <a:pt x="1533" y="3238"/>
                    </a:cubicBezTo>
                    <a:lnTo>
                      <a:pt x="1536" y="3180"/>
                    </a:lnTo>
                    <a:close/>
                    <a:moveTo>
                      <a:pt x="3527" y="722"/>
                    </a:moveTo>
                    <a:cubicBezTo>
                      <a:pt x="3527" y="728"/>
                      <a:pt x="3526" y="734"/>
                      <a:pt x="3524" y="739"/>
                    </a:cubicBezTo>
                    <a:cubicBezTo>
                      <a:pt x="3514" y="773"/>
                      <a:pt x="3470" y="789"/>
                      <a:pt x="3423" y="789"/>
                    </a:cubicBezTo>
                    <a:cubicBezTo>
                      <a:pt x="3404" y="789"/>
                      <a:pt x="3384" y="786"/>
                      <a:pt x="3366" y="781"/>
                    </a:cubicBezTo>
                    <a:cubicBezTo>
                      <a:pt x="3309" y="764"/>
                      <a:pt x="3263" y="714"/>
                      <a:pt x="3263" y="671"/>
                    </a:cubicBezTo>
                    <a:cubicBezTo>
                      <a:pt x="3263" y="665"/>
                      <a:pt x="3264" y="658"/>
                      <a:pt x="3267" y="653"/>
                    </a:cubicBezTo>
                    <a:cubicBezTo>
                      <a:pt x="3278" y="623"/>
                      <a:pt x="3311" y="606"/>
                      <a:pt x="3356" y="606"/>
                    </a:cubicBezTo>
                    <a:cubicBezTo>
                      <a:pt x="3378" y="606"/>
                      <a:pt x="3404" y="610"/>
                      <a:pt x="3431" y="619"/>
                    </a:cubicBezTo>
                    <a:cubicBezTo>
                      <a:pt x="3488" y="638"/>
                      <a:pt x="3527" y="680"/>
                      <a:pt x="3527" y="722"/>
                    </a:cubicBezTo>
                    <a:close/>
                    <a:moveTo>
                      <a:pt x="3519" y="722"/>
                    </a:moveTo>
                    <a:cubicBezTo>
                      <a:pt x="3519" y="685"/>
                      <a:pt x="3483" y="645"/>
                      <a:pt x="3429" y="627"/>
                    </a:cubicBezTo>
                    <a:cubicBezTo>
                      <a:pt x="3402" y="619"/>
                      <a:pt x="3377" y="615"/>
                      <a:pt x="3356" y="615"/>
                    </a:cubicBezTo>
                    <a:cubicBezTo>
                      <a:pt x="3313" y="615"/>
                      <a:pt x="3284" y="630"/>
                      <a:pt x="3274" y="656"/>
                    </a:cubicBezTo>
                    <a:cubicBezTo>
                      <a:pt x="3272" y="660"/>
                      <a:pt x="3271" y="666"/>
                      <a:pt x="3271" y="671"/>
                    </a:cubicBezTo>
                    <a:cubicBezTo>
                      <a:pt x="3271" y="708"/>
                      <a:pt x="3314" y="758"/>
                      <a:pt x="3368" y="773"/>
                    </a:cubicBezTo>
                    <a:cubicBezTo>
                      <a:pt x="3386" y="778"/>
                      <a:pt x="3405" y="781"/>
                      <a:pt x="3423" y="781"/>
                    </a:cubicBezTo>
                    <a:cubicBezTo>
                      <a:pt x="3469" y="781"/>
                      <a:pt x="3509" y="765"/>
                      <a:pt x="3516" y="737"/>
                    </a:cubicBezTo>
                    <a:cubicBezTo>
                      <a:pt x="3518" y="732"/>
                      <a:pt x="3519" y="727"/>
                      <a:pt x="3519" y="722"/>
                    </a:cubicBezTo>
                    <a:close/>
                    <a:moveTo>
                      <a:pt x="1848" y="2363"/>
                    </a:moveTo>
                    <a:cubicBezTo>
                      <a:pt x="2127" y="2215"/>
                      <a:pt x="2127" y="2215"/>
                      <a:pt x="2127" y="2215"/>
                    </a:cubicBezTo>
                    <a:cubicBezTo>
                      <a:pt x="2066" y="2732"/>
                      <a:pt x="2066" y="2732"/>
                      <a:pt x="2066" y="2732"/>
                    </a:cubicBezTo>
                    <a:cubicBezTo>
                      <a:pt x="2008" y="2757"/>
                      <a:pt x="2008" y="2757"/>
                      <a:pt x="2008" y="2757"/>
                    </a:cubicBezTo>
                    <a:cubicBezTo>
                      <a:pt x="1827" y="2684"/>
                      <a:pt x="1827" y="2684"/>
                      <a:pt x="1827" y="2684"/>
                    </a:cubicBezTo>
                    <a:cubicBezTo>
                      <a:pt x="1903" y="2651"/>
                      <a:pt x="1903" y="2651"/>
                      <a:pt x="1903" y="2651"/>
                    </a:cubicBezTo>
                    <a:cubicBezTo>
                      <a:pt x="1935" y="2376"/>
                      <a:pt x="1935" y="2376"/>
                      <a:pt x="1935" y="2376"/>
                    </a:cubicBezTo>
                    <a:cubicBezTo>
                      <a:pt x="1872" y="2407"/>
                      <a:pt x="1872" y="2407"/>
                      <a:pt x="1872" y="2407"/>
                    </a:cubicBezTo>
                    <a:lnTo>
                      <a:pt x="1848" y="2363"/>
                    </a:lnTo>
                    <a:close/>
                    <a:moveTo>
                      <a:pt x="2110" y="2239"/>
                    </a:moveTo>
                    <a:cubicBezTo>
                      <a:pt x="1867" y="2368"/>
                      <a:pt x="1867" y="2368"/>
                      <a:pt x="1867" y="2368"/>
                    </a:cubicBezTo>
                    <a:cubicBezTo>
                      <a:pt x="1878" y="2389"/>
                      <a:pt x="1878" y="2389"/>
                      <a:pt x="1878" y="2389"/>
                    </a:cubicBezTo>
                    <a:cubicBezTo>
                      <a:pt x="1929" y="2364"/>
                      <a:pt x="1929" y="2364"/>
                      <a:pt x="1929" y="2364"/>
                    </a:cubicBezTo>
                    <a:cubicBezTo>
                      <a:pt x="1952" y="2353"/>
                      <a:pt x="1952" y="2353"/>
                      <a:pt x="1952" y="2353"/>
                    </a:cubicBezTo>
                    <a:cubicBezTo>
                      <a:pt x="1949" y="2378"/>
                      <a:pt x="1949" y="2378"/>
                      <a:pt x="1949" y="2378"/>
                    </a:cubicBezTo>
                    <a:cubicBezTo>
                      <a:pt x="1917" y="2653"/>
                      <a:pt x="1917" y="2653"/>
                      <a:pt x="1917" y="2653"/>
                    </a:cubicBezTo>
                    <a:cubicBezTo>
                      <a:pt x="1916" y="2661"/>
                      <a:pt x="1916" y="2661"/>
                      <a:pt x="1916" y="2661"/>
                    </a:cubicBezTo>
                    <a:cubicBezTo>
                      <a:pt x="1908" y="2664"/>
                      <a:pt x="1908" y="2664"/>
                      <a:pt x="1908" y="2664"/>
                    </a:cubicBezTo>
                    <a:cubicBezTo>
                      <a:pt x="1863" y="2683"/>
                      <a:pt x="1863" y="2683"/>
                      <a:pt x="1863" y="2683"/>
                    </a:cubicBezTo>
                    <a:cubicBezTo>
                      <a:pt x="2007" y="2742"/>
                      <a:pt x="2007" y="2742"/>
                      <a:pt x="2007" y="2742"/>
                    </a:cubicBezTo>
                    <a:cubicBezTo>
                      <a:pt x="2053" y="2722"/>
                      <a:pt x="2053" y="2722"/>
                      <a:pt x="2053" y="2722"/>
                    </a:cubicBezTo>
                    <a:lnTo>
                      <a:pt x="2110" y="2239"/>
                    </a:lnTo>
                    <a:close/>
                    <a:moveTo>
                      <a:pt x="1292" y="1321"/>
                    </a:moveTo>
                    <a:cubicBezTo>
                      <a:pt x="1206" y="1259"/>
                      <a:pt x="1206" y="1259"/>
                      <a:pt x="1206" y="1259"/>
                    </a:cubicBezTo>
                    <a:cubicBezTo>
                      <a:pt x="1336" y="1178"/>
                      <a:pt x="1336" y="1178"/>
                      <a:pt x="1336" y="1178"/>
                    </a:cubicBezTo>
                    <a:cubicBezTo>
                      <a:pt x="1488" y="1292"/>
                      <a:pt x="1488" y="1292"/>
                      <a:pt x="1488" y="1292"/>
                    </a:cubicBezTo>
                    <a:cubicBezTo>
                      <a:pt x="1448" y="1360"/>
                      <a:pt x="1448" y="1360"/>
                      <a:pt x="1448" y="1360"/>
                    </a:cubicBezTo>
                    <a:cubicBezTo>
                      <a:pt x="1346" y="1287"/>
                      <a:pt x="1346" y="1287"/>
                      <a:pt x="1346" y="1287"/>
                    </a:cubicBezTo>
                    <a:lnTo>
                      <a:pt x="1292" y="1321"/>
                    </a:lnTo>
                    <a:close/>
                    <a:moveTo>
                      <a:pt x="1231" y="1260"/>
                    </a:moveTo>
                    <a:cubicBezTo>
                      <a:pt x="1292" y="1304"/>
                      <a:pt x="1292" y="1304"/>
                      <a:pt x="1292" y="1304"/>
                    </a:cubicBezTo>
                    <a:cubicBezTo>
                      <a:pt x="1338" y="1275"/>
                      <a:pt x="1338" y="1275"/>
                      <a:pt x="1338" y="1275"/>
                    </a:cubicBezTo>
                    <a:cubicBezTo>
                      <a:pt x="1346" y="1270"/>
                      <a:pt x="1346" y="1270"/>
                      <a:pt x="1346" y="1270"/>
                    </a:cubicBezTo>
                    <a:cubicBezTo>
                      <a:pt x="1354" y="1275"/>
                      <a:pt x="1354" y="1275"/>
                      <a:pt x="1354" y="1275"/>
                    </a:cubicBezTo>
                    <a:cubicBezTo>
                      <a:pt x="1443" y="1340"/>
                      <a:pt x="1443" y="1340"/>
                      <a:pt x="1443" y="1340"/>
                    </a:cubicBezTo>
                    <a:cubicBezTo>
                      <a:pt x="1470" y="1296"/>
                      <a:pt x="1470" y="1296"/>
                      <a:pt x="1470" y="1296"/>
                    </a:cubicBezTo>
                    <a:cubicBezTo>
                      <a:pt x="1335" y="1195"/>
                      <a:pt x="1335" y="1195"/>
                      <a:pt x="1335" y="1195"/>
                    </a:cubicBezTo>
                    <a:lnTo>
                      <a:pt x="1231" y="1260"/>
                    </a:lnTo>
                    <a:close/>
                    <a:moveTo>
                      <a:pt x="450" y="5694"/>
                    </a:moveTo>
                    <a:cubicBezTo>
                      <a:pt x="581" y="5696"/>
                      <a:pt x="581" y="5696"/>
                      <a:pt x="581" y="5696"/>
                    </a:cubicBezTo>
                    <a:cubicBezTo>
                      <a:pt x="579" y="5834"/>
                      <a:pt x="579" y="5834"/>
                      <a:pt x="579" y="5834"/>
                    </a:cubicBezTo>
                    <a:cubicBezTo>
                      <a:pt x="441" y="5832"/>
                      <a:pt x="441" y="5832"/>
                      <a:pt x="441" y="5832"/>
                    </a:cubicBezTo>
                    <a:cubicBezTo>
                      <a:pt x="443" y="5694"/>
                      <a:pt x="443" y="5694"/>
                      <a:pt x="443" y="5694"/>
                    </a:cubicBezTo>
                    <a:lnTo>
                      <a:pt x="450" y="5694"/>
                    </a:lnTo>
                    <a:close/>
                    <a:moveTo>
                      <a:pt x="454" y="5819"/>
                    </a:moveTo>
                    <a:cubicBezTo>
                      <a:pt x="566" y="5821"/>
                      <a:pt x="566" y="5821"/>
                      <a:pt x="566" y="5821"/>
                    </a:cubicBezTo>
                    <a:cubicBezTo>
                      <a:pt x="568" y="5709"/>
                      <a:pt x="568" y="5709"/>
                      <a:pt x="568" y="5709"/>
                    </a:cubicBezTo>
                    <a:cubicBezTo>
                      <a:pt x="456" y="5707"/>
                      <a:pt x="456" y="5707"/>
                      <a:pt x="456" y="5707"/>
                    </a:cubicBezTo>
                    <a:lnTo>
                      <a:pt x="454" y="5819"/>
                    </a:lnTo>
                    <a:close/>
                    <a:moveTo>
                      <a:pt x="689" y="673"/>
                    </a:moveTo>
                    <a:cubicBezTo>
                      <a:pt x="868" y="841"/>
                      <a:pt x="868" y="841"/>
                      <a:pt x="868" y="841"/>
                    </a:cubicBezTo>
                    <a:cubicBezTo>
                      <a:pt x="863" y="846"/>
                      <a:pt x="863" y="846"/>
                      <a:pt x="863" y="846"/>
                    </a:cubicBezTo>
                    <a:cubicBezTo>
                      <a:pt x="815" y="897"/>
                      <a:pt x="815" y="897"/>
                      <a:pt x="815" y="897"/>
                    </a:cubicBezTo>
                    <a:cubicBezTo>
                      <a:pt x="759" y="841"/>
                      <a:pt x="759" y="841"/>
                      <a:pt x="759" y="841"/>
                    </a:cubicBezTo>
                    <a:cubicBezTo>
                      <a:pt x="722" y="962"/>
                      <a:pt x="722" y="962"/>
                      <a:pt x="722" y="962"/>
                    </a:cubicBezTo>
                    <a:cubicBezTo>
                      <a:pt x="707" y="961"/>
                      <a:pt x="707" y="961"/>
                      <a:pt x="707" y="961"/>
                    </a:cubicBezTo>
                    <a:cubicBezTo>
                      <a:pt x="686" y="833"/>
                      <a:pt x="686" y="833"/>
                      <a:pt x="686" y="833"/>
                    </a:cubicBezTo>
                    <a:cubicBezTo>
                      <a:pt x="617" y="932"/>
                      <a:pt x="617" y="932"/>
                      <a:pt x="617" y="932"/>
                    </a:cubicBezTo>
                    <a:cubicBezTo>
                      <a:pt x="536" y="846"/>
                      <a:pt x="536" y="846"/>
                      <a:pt x="536" y="846"/>
                    </a:cubicBezTo>
                    <a:lnTo>
                      <a:pt x="689" y="673"/>
                    </a:lnTo>
                    <a:close/>
                    <a:moveTo>
                      <a:pt x="690" y="694"/>
                    </a:moveTo>
                    <a:cubicBezTo>
                      <a:pt x="556" y="845"/>
                      <a:pt x="556" y="845"/>
                      <a:pt x="556" y="845"/>
                    </a:cubicBezTo>
                    <a:cubicBezTo>
                      <a:pt x="615" y="909"/>
                      <a:pt x="615" y="909"/>
                      <a:pt x="615" y="909"/>
                    </a:cubicBezTo>
                    <a:cubicBezTo>
                      <a:pt x="695" y="794"/>
                      <a:pt x="695" y="794"/>
                      <a:pt x="695" y="794"/>
                    </a:cubicBezTo>
                    <a:cubicBezTo>
                      <a:pt x="717" y="928"/>
                      <a:pt x="717" y="928"/>
                      <a:pt x="717" y="928"/>
                    </a:cubicBezTo>
                    <a:cubicBezTo>
                      <a:pt x="752" y="813"/>
                      <a:pt x="752" y="813"/>
                      <a:pt x="752" y="813"/>
                    </a:cubicBezTo>
                    <a:cubicBezTo>
                      <a:pt x="814" y="875"/>
                      <a:pt x="814" y="875"/>
                      <a:pt x="814" y="875"/>
                    </a:cubicBezTo>
                    <a:cubicBezTo>
                      <a:pt x="847" y="841"/>
                      <a:pt x="847" y="841"/>
                      <a:pt x="847" y="841"/>
                    </a:cubicBezTo>
                    <a:lnTo>
                      <a:pt x="690" y="694"/>
                    </a:lnTo>
                    <a:close/>
                    <a:moveTo>
                      <a:pt x="465" y="6109"/>
                    </a:moveTo>
                    <a:cubicBezTo>
                      <a:pt x="330" y="6079"/>
                      <a:pt x="330" y="6079"/>
                      <a:pt x="330" y="6079"/>
                    </a:cubicBezTo>
                    <a:cubicBezTo>
                      <a:pt x="360" y="5944"/>
                      <a:pt x="360" y="5944"/>
                      <a:pt x="360" y="5944"/>
                    </a:cubicBezTo>
                    <a:cubicBezTo>
                      <a:pt x="366" y="5946"/>
                      <a:pt x="366" y="5946"/>
                      <a:pt x="366" y="5946"/>
                    </a:cubicBezTo>
                    <a:cubicBezTo>
                      <a:pt x="494" y="5974"/>
                      <a:pt x="494" y="5974"/>
                      <a:pt x="494" y="5974"/>
                    </a:cubicBezTo>
                    <a:lnTo>
                      <a:pt x="465" y="6109"/>
                    </a:lnTo>
                    <a:close/>
                    <a:moveTo>
                      <a:pt x="455" y="6093"/>
                    </a:moveTo>
                    <a:cubicBezTo>
                      <a:pt x="479" y="5984"/>
                      <a:pt x="479" y="5984"/>
                      <a:pt x="479" y="5984"/>
                    </a:cubicBezTo>
                    <a:cubicBezTo>
                      <a:pt x="370" y="5960"/>
                      <a:pt x="370" y="5960"/>
                      <a:pt x="370" y="5960"/>
                    </a:cubicBezTo>
                    <a:cubicBezTo>
                      <a:pt x="346" y="6069"/>
                      <a:pt x="346" y="6069"/>
                      <a:pt x="346" y="6069"/>
                    </a:cubicBezTo>
                    <a:lnTo>
                      <a:pt x="455" y="6093"/>
                    </a:lnTo>
                    <a:close/>
                    <a:moveTo>
                      <a:pt x="725" y="1209"/>
                    </a:moveTo>
                    <a:cubicBezTo>
                      <a:pt x="804" y="1163"/>
                      <a:pt x="804" y="1163"/>
                      <a:pt x="804" y="1163"/>
                    </a:cubicBezTo>
                    <a:cubicBezTo>
                      <a:pt x="935" y="1290"/>
                      <a:pt x="935" y="1290"/>
                      <a:pt x="935" y="1290"/>
                    </a:cubicBezTo>
                    <a:cubicBezTo>
                      <a:pt x="932" y="1295"/>
                      <a:pt x="932" y="1295"/>
                      <a:pt x="932" y="1295"/>
                    </a:cubicBezTo>
                    <a:cubicBezTo>
                      <a:pt x="903" y="1350"/>
                      <a:pt x="903" y="1350"/>
                      <a:pt x="903" y="1350"/>
                    </a:cubicBezTo>
                    <a:cubicBezTo>
                      <a:pt x="846" y="1354"/>
                      <a:pt x="846" y="1354"/>
                      <a:pt x="846" y="1354"/>
                    </a:cubicBezTo>
                    <a:lnTo>
                      <a:pt x="725" y="1209"/>
                    </a:lnTo>
                    <a:close/>
                    <a:moveTo>
                      <a:pt x="802" y="1181"/>
                    </a:moveTo>
                    <a:cubicBezTo>
                      <a:pt x="748" y="1213"/>
                      <a:pt x="748" y="1213"/>
                      <a:pt x="748" y="1213"/>
                    </a:cubicBezTo>
                    <a:cubicBezTo>
                      <a:pt x="852" y="1339"/>
                      <a:pt x="852" y="1339"/>
                      <a:pt x="852" y="1339"/>
                    </a:cubicBezTo>
                    <a:cubicBezTo>
                      <a:pt x="894" y="1336"/>
                      <a:pt x="894" y="1336"/>
                      <a:pt x="894" y="1336"/>
                    </a:cubicBezTo>
                    <a:cubicBezTo>
                      <a:pt x="917" y="1293"/>
                      <a:pt x="917" y="1293"/>
                      <a:pt x="917" y="1293"/>
                    </a:cubicBezTo>
                    <a:lnTo>
                      <a:pt x="802" y="1181"/>
                    </a:lnTo>
                    <a:close/>
                    <a:moveTo>
                      <a:pt x="1717" y="2729"/>
                    </a:moveTo>
                    <a:cubicBezTo>
                      <a:pt x="1952" y="2779"/>
                      <a:pt x="1952" y="2779"/>
                      <a:pt x="1952" y="2779"/>
                    </a:cubicBezTo>
                    <a:cubicBezTo>
                      <a:pt x="1641" y="2910"/>
                      <a:pt x="1641" y="2910"/>
                      <a:pt x="1641" y="2910"/>
                    </a:cubicBezTo>
                    <a:cubicBezTo>
                      <a:pt x="1302" y="2653"/>
                      <a:pt x="1302" y="2653"/>
                      <a:pt x="1302" y="2653"/>
                    </a:cubicBezTo>
                    <a:cubicBezTo>
                      <a:pt x="1519" y="2537"/>
                      <a:pt x="1519" y="2537"/>
                      <a:pt x="1519" y="2537"/>
                    </a:cubicBezTo>
                    <a:cubicBezTo>
                      <a:pt x="1541" y="2582"/>
                      <a:pt x="1541" y="2582"/>
                      <a:pt x="1541" y="2582"/>
                    </a:cubicBezTo>
                    <a:cubicBezTo>
                      <a:pt x="1497" y="2607"/>
                      <a:pt x="1497" y="2607"/>
                      <a:pt x="1497" y="2607"/>
                    </a:cubicBezTo>
                    <a:cubicBezTo>
                      <a:pt x="1672" y="2746"/>
                      <a:pt x="1672" y="2746"/>
                      <a:pt x="1672" y="2746"/>
                    </a:cubicBezTo>
                    <a:lnTo>
                      <a:pt x="1717" y="2729"/>
                    </a:lnTo>
                    <a:close/>
                    <a:moveTo>
                      <a:pt x="1719" y="2743"/>
                    </a:moveTo>
                    <a:cubicBezTo>
                      <a:pt x="1677" y="2759"/>
                      <a:pt x="1677" y="2759"/>
                      <a:pt x="1677" y="2759"/>
                    </a:cubicBezTo>
                    <a:cubicBezTo>
                      <a:pt x="1670" y="2762"/>
                      <a:pt x="1670" y="2762"/>
                      <a:pt x="1670" y="2762"/>
                    </a:cubicBezTo>
                    <a:cubicBezTo>
                      <a:pt x="1664" y="2757"/>
                      <a:pt x="1664" y="2757"/>
                      <a:pt x="1664" y="2757"/>
                    </a:cubicBezTo>
                    <a:cubicBezTo>
                      <a:pt x="1489" y="2618"/>
                      <a:pt x="1489" y="2618"/>
                      <a:pt x="1489" y="2618"/>
                    </a:cubicBezTo>
                    <a:cubicBezTo>
                      <a:pt x="1473" y="2606"/>
                      <a:pt x="1473" y="2606"/>
                      <a:pt x="1473" y="2606"/>
                    </a:cubicBezTo>
                    <a:cubicBezTo>
                      <a:pt x="1490" y="2595"/>
                      <a:pt x="1490" y="2595"/>
                      <a:pt x="1490" y="2595"/>
                    </a:cubicBezTo>
                    <a:cubicBezTo>
                      <a:pt x="1522" y="2576"/>
                      <a:pt x="1522" y="2576"/>
                      <a:pt x="1522" y="2576"/>
                    </a:cubicBezTo>
                    <a:cubicBezTo>
                      <a:pt x="1513" y="2556"/>
                      <a:pt x="1513" y="2556"/>
                      <a:pt x="1513" y="2556"/>
                    </a:cubicBezTo>
                    <a:cubicBezTo>
                      <a:pt x="1328" y="2655"/>
                      <a:pt x="1328" y="2655"/>
                      <a:pt x="1328" y="2655"/>
                    </a:cubicBezTo>
                    <a:cubicBezTo>
                      <a:pt x="1643" y="2894"/>
                      <a:pt x="1643" y="2894"/>
                      <a:pt x="1643" y="2894"/>
                    </a:cubicBezTo>
                    <a:cubicBezTo>
                      <a:pt x="1906" y="2784"/>
                      <a:pt x="1906" y="2784"/>
                      <a:pt x="1906" y="2784"/>
                    </a:cubicBezTo>
                    <a:lnTo>
                      <a:pt x="1719" y="2743"/>
                    </a:lnTo>
                    <a:close/>
                    <a:moveTo>
                      <a:pt x="10812" y="8982"/>
                    </a:moveTo>
                    <a:cubicBezTo>
                      <a:pt x="10788" y="8936"/>
                      <a:pt x="10788" y="8936"/>
                      <a:pt x="10788" y="8936"/>
                    </a:cubicBezTo>
                    <a:cubicBezTo>
                      <a:pt x="10952" y="8849"/>
                      <a:pt x="10952" y="8849"/>
                      <a:pt x="10952" y="8849"/>
                    </a:cubicBezTo>
                    <a:cubicBezTo>
                      <a:pt x="11003" y="8946"/>
                      <a:pt x="11003" y="8946"/>
                      <a:pt x="11003" y="8946"/>
                    </a:cubicBezTo>
                    <a:cubicBezTo>
                      <a:pt x="10938" y="8980"/>
                      <a:pt x="10938" y="8980"/>
                      <a:pt x="10938" y="8980"/>
                    </a:cubicBezTo>
                    <a:cubicBezTo>
                      <a:pt x="10965" y="9031"/>
                      <a:pt x="10965" y="9031"/>
                      <a:pt x="10965" y="9031"/>
                    </a:cubicBezTo>
                    <a:cubicBezTo>
                      <a:pt x="10960" y="9034"/>
                      <a:pt x="10960" y="9034"/>
                      <a:pt x="10960" y="9034"/>
                    </a:cubicBezTo>
                    <a:cubicBezTo>
                      <a:pt x="10858" y="9091"/>
                      <a:pt x="10858" y="9091"/>
                      <a:pt x="10858" y="9091"/>
                    </a:cubicBezTo>
                    <a:cubicBezTo>
                      <a:pt x="10803" y="8987"/>
                      <a:pt x="10803" y="8987"/>
                      <a:pt x="10803" y="8987"/>
                    </a:cubicBezTo>
                    <a:lnTo>
                      <a:pt x="10812" y="8982"/>
                    </a:lnTo>
                    <a:close/>
                    <a:moveTo>
                      <a:pt x="10830" y="8988"/>
                    </a:moveTo>
                    <a:cubicBezTo>
                      <a:pt x="10821" y="8993"/>
                      <a:pt x="10821" y="8993"/>
                      <a:pt x="10821" y="8993"/>
                    </a:cubicBezTo>
                    <a:cubicBezTo>
                      <a:pt x="10863" y="9073"/>
                      <a:pt x="10863" y="9073"/>
                      <a:pt x="10863" y="9073"/>
                    </a:cubicBezTo>
                    <a:cubicBezTo>
                      <a:pt x="10948" y="9026"/>
                      <a:pt x="10948" y="9026"/>
                      <a:pt x="10948" y="9026"/>
                    </a:cubicBezTo>
                    <a:cubicBezTo>
                      <a:pt x="10921" y="8975"/>
                      <a:pt x="10921" y="8975"/>
                      <a:pt x="10921" y="8975"/>
                    </a:cubicBezTo>
                    <a:cubicBezTo>
                      <a:pt x="10985" y="8941"/>
                      <a:pt x="10985" y="8941"/>
                      <a:pt x="10985" y="8941"/>
                    </a:cubicBezTo>
                    <a:cubicBezTo>
                      <a:pt x="10946" y="8867"/>
                      <a:pt x="10946" y="8867"/>
                      <a:pt x="10946" y="8867"/>
                    </a:cubicBezTo>
                    <a:cubicBezTo>
                      <a:pt x="10806" y="8942"/>
                      <a:pt x="10806" y="8942"/>
                      <a:pt x="10806" y="8942"/>
                    </a:cubicBezTo>
                    <a:lnTo>
                      <a:pt x="10830" y="8988"/>
                    </a:lnTo>
                    <a:close/>
                    <a:moveTo>
                      <a:pt x="969" y="1254"/>
                    </a:moveTo>
                    <a:cubicBezTo>
                      <a:pt x="838" y="1126"/>
                      <a:pt x="838" y="1126"/>
                      <a:pt x="838" y="1126"/>
                    </a:cubicBezTo>
                    <a:cubicBezTo>
                      <a:pt x="943" y="1041"/>
                      <a:pt x="943" y="1041"/>
                      <a:pt x="943" y="1041"/>
                    </a:cubicBezTo>
                    <a:cubicBezTo>
                      <a:pt x="1020" y="1144"/>
                      <a:pt x="1020" y="1144"/>
                      <a:pt x="1020" y="1144"/>
                    </a:cubicBezTo>
                    <a:cubicBezTo>
                      <a:pt x="1018" y="1148"/>
                      <a:pt x="1018" y="1148"/>
                      <a:pt x="1018" y="1148"/>
                    </a:cubicBezTo>
                    <a:lnTo>
                      <a:pt x="969" y="1254"/>
                    </a:lnTo>
                    <a:close/>
                    <a:moveTo>
                      <a:pt x="964" y="1229"/>
                    </a:moveTo>
                    <a:cubicBezTo>
                      <a:pt x="1003" y="1145"/>
                      <a:pt x="1003" y="1145"/>
                      <a:pt x="1003" y="1145"/>
                    </a:cubicBezTo>
                    <a:cubicBezTo>
                      <a:pt x="940" y="1062"/>
                      <a:pt x="940" y="1062"/>
                      <a:pt x="940" y="1062"/>
                    </a:cubicBezTo>
                    <a:cubicBezTo>
                      <a:pt x="860" y="1127"/>
                      <a:pt x="860" y="1127"/>
                      <a:pt x="860" y="1127"/>
                    </a:cubicBezTo>
                    <a:lnTo>
                      <a:pt x="964" y="1229"/>
                    </a:lnTo>
                    <a:close/>
                    <a:moveTo>
                      <a:pt x="2340" y="8068"/>
                    </a:moveTo>
                    <a:cubicBezTo>
                      <a:pt x="2337" y="7952"/>
                      <a:pt x="2337" y="7952"/>
                      <a:pt x="2337" y="7952"/>
                    </a:cubicBezTo>
                    <a:cubicBezTo>
                      <a:pt x="2454" y="7951"/>
                      <a:pt x="2454" y="7951"/>
                      <a:pt x="2454" y="7951"/>
                    </a:cubicBezTo>
                    <a:cubicBezTo>
                      <a:pt x="2454" y="7961"/>
                      <a:pt x="2454" y="7961"/>
                      <a:pt x="2454" y="7961"/>
                    </a:cubicBezTo>
                    <a:cubicBezTo>
                      <a:pt x="2506" y="7961"/>
                      <a:pt x="2506" y="7961"/>
                      <a:pt x="2506" y="7961"/>
                    </a:cubicBezTo>
                    <a:cubicBezTo>
                      <a:pt x="2508" y="8146"/>
                      <a:pt x="2508" y="8146"/>
                      <a:pt x="2508" y="8146"/>
                    </a:cubicBezTo>
                    <a:cubicBezTo>
                      <a:pt x="2398" y="8147"/>
                      <a:pt x="2398" y="8147"/>
                      <a:pt x="2398" y="8147"/>
                    </a:cubicBezTo>
                    <a:cubicBezTo>
                      <a:pt x="2398" y="8074"/>
                      <a:pt x="2398" y="8074"/>
                      <a:pt x="2398" y="8074"/>
                    </a:cubicBezTo>
                    <a:cubicBezTo>
                      <a:pt x="2340" y="8074"/>
                      <a:pt x="2340" y="8074"/>
                      <a:pt x="2340" y="8074"/>
                    </a:cubicBezTo>
                    <a:lnTo>
                      <a:pt x="2340" y="8068"/>
                    </a:lnTo>
                    <a:close/>
                    <a:moveTo>
                      <a:pt x="2350" y="7965"/>
                    </a:moveTo>
                    <a:cubicBezTo>
                      <a:pt x="2353" y="8061"/>
                      <a:pt x="2353" y="8061"/>
                      <a:pt x="2353" y="8061"/>
                    </a:cubicBezTo>
                    <a:cubicBezTo>
                      <a:pt x="2411" y="8061"/>
                      <a:pt x="2411" y="8061"/>
                      <a:pt x="2411" y="8061"/>
                    </a:cubicBezTo>
                    <a:cubicBezTo>
                      <a:pt x="2411" y="8134"/>
                      <a:pt x="2411" y="8134"/>
                      <a:pt x="2411" y="8134"/>
                    </a:cubicBezTo>
                    <a:cubicBezTo>
                      <a:pt x="2495" y="8133"/>
                      <a:pt x="2495" y="8133"/>
                      <a:pt x="2495" y="8133"/>
                    </a:cubicBezTo>
                    <a:cubicBezTo>
                      <a:pt x="2493" y="7974"/>
                      <a:pt x="2493" y="7974"/>
                      <a:pt x="2493" y="7974"/>
                    </a:cubicBezTo>
                    <a:cubicBezTo>
                      <a:pt x="2441" y="7974"/>
                      <a:pt x="2441" y="7974"/>
                      <a:pt x="2441" y="7974"/>
                    </a:cubicBezTo>
                    <a:cubicBezTo>
                      <a:pt x="2441" y="7964"/>
                      <a:pt x="2441" y="7964"/>
                      <a:pt x="2441" y="7964"/>
                    </a:cubicBezTo>
                    <a:lnTo>
                      <a:pt x="2350" y="7965"/>
                    </a:lnTo>
                    <a:close/>
                    <a:moveTo>
                      <a:pt x="2778" y="8437"/>
                    </a:moveTo>
                    <a:cubicBezTo>
                      <a:pt x="2729" y="8353"/>
                      <a:pt x="2729" y="8353"/>
                      <a:pt x="2729" y="8353"/>
                    </a:cubicBezTo>
                    <a:cubicBezTo>
                      <a:pt x="2857" y="8279"/>
                      <a:pt x="2857" y="8279"/>
                      <a:pt x="2857" y="8279"/>
                    </a:cubicBezTo>
                    <a:cubicBezTo>
                      <a:pt x="2909" y="8369"/>
                      <a:pt x="2909" y="8369"/>
                      <a:pt x="2909" y="8369"/>
                    </a:cubicBezTo>
                    <a:cubicBezTo>
                      <a:pt x="2781" y="8443"/>
                      <a:pt x="2781" y="8443"/>
                      <a:pt x="2781" y="8443"/>
                    </a:cubicBezTo>
                    <a:lnTo>
                      <a:pt x="2778" y="8437"/>
                    </a:lnTo>
                    <a:close/>
                    <a:moveTo>
                      <a:pt x="2747" y="8357"/>
                    </a:moveTo>
                    <a:cubicBezTo>
                      <a:pt x="2786" y="8425"/>
                      <a:pt x="2786" y="8425"/>
                      <a:pt x="2786" y="8425"/>
                    </a:cubicBezTo>
                    <a:cubicBezTo>
                      <a:pt x="2892" y="8364"/>
                      <a:pt x="2892" y="8364"/>
                      <a:pt x="2892" y="8364"/>
                    </a:cubicBezTo>
                    <a:cubicBezTo>
                      <a:pt x="2852" y="8296"/>
                      <a:pt x="2852" y="8296"/>
                      <a:pt x="2852" y="8296"/>
                    </a:cubicBezTo>
                    <a:lnTo>
                      <a:pt x="2747" y="8357"/>
                    </a:lnTo>
                    <a:close/>
                    <a:moveTo>
                      <a:pt x="3105" y="8740"/>
                    </a:moveTo>
                    <a:cubicBezTo>
                      <a:pt x="2954" y="8726"/>
                      <a:pt x="2954" y="8726"/>
                      <a:pt x="2954" y="8726"/>
                    </a:cubicBezTo>
                    <a:cubicBezTo>
                      <a:pt x="2962" y="8650"/>
                      <a:pt x="2962" y="8650"/>
                      <a:pt x="2962" y="8650"/>
                    </a:cubicBezTo>
                    <a:cubicBezTo>
                      <a:pt x="2968" y="8651"/>
                      <a:pt x="2968" y="8651"/>
                      <a:pt x="2968" y="8651"/>
                    </a:cubicBezTo>
                    <a:cubicBezTo>
                      <a:pt x="3112" y="8665"/>
                      <a:pt x="3112" y="8665"/>
                      <a:pt x="3112" y="8665"/>
                    </a:cubicBezTo>
                    <a:lnTo>
                      <a:pt x="3105" y="8740"/>
                    </a:lnTo>
                    <a:close/>
                    <a:moveTo>
                      <a:pt x="3098" y="8677"/>
                    </a:moveTo>
                    <a:cubicBezTo>
                      <a:pt x="2973" y="8665"/>
                      <a:pt x="2973" y="8665"/>
                      <a:pt x="2973" y="8665"/>
                    </a:cubicBezTo>
                    <a:cubicBezTo>
                      <a:pt x="2969" y="8714"/>
                      <a:pt x="2969" y="8714"/>
                      <a:pt x="2969" y="8714"/>
                    </a:cubicBezTo>
                    <a:cubicBezTo>
                      <a:pt x="3093" y="8726"/>
                      <a:pt x="3093" y="8726"/>
                      <a:pt x="3093" y="8726"/>
                    </a:cubicBezTo>
                    <a:lnTo>
                      <a:pt x="3098" y="8677"/>
                    </a:lnTo>
                    <a:close/>
                    <a:moveTo>
                      <a:pt x="4525" y="1851"/>
                    </a:moveTo>
                    <a:cubicBezTo>
                      <a:pt x="4669" y="1816"/>
                      <a:pt x="4669" y="1816"/>
                      <a:pt x="4669" y="1816"/>
                    </a:cubicBezTo>
                    <a:cubicBezTo>
                      <a:pt x="4693" y="1918"/>
                      <a:pt x="4693" y="1918"/>
                      <a:pt x="4693" y="1918"/>
                    </a:cubicBezTo>
                    <a:cubicBezTo>
                      <a:pt x="4549" y="1952"/>
                      <a:pt x="4549" y="1952"/>
                      <a:pt x="4549" y="1952"/>
                    </a:cubicBezTo>
                    <a:cubicBezTo>
                      <a:pt x="4548" y="1946"/>
                      <a:pt x="4548" y="1946"/>
                      <a:pt x="4548" y="1946"/>
                    </a:cubicBezTo>
                    <a:lnTo>
                      <a:pt x="4525" y="1851"/>
                    </a:lnTo>
                    <a:close/>
                    <a:moveTo>
                      <a:pt x="4659" y="1832"/>
                    </a:moveTo>
                    <a:cubicBezTo>
                      <a:pt x="4541" y="1860"/>
                      <a:pt x="4541" y="1860"/>
                      <a:pt x="4541" y="1860"/>
                    </a:cubicBezTo>
                    <a:cubicBezTo>
                      <a:pt x="4559" y="1936"/>
                      <a:pt x="4559" y="1936"/>
                      <a:pt x="4559" y="1936"/>
                    </a:cubicBezTo>
                    <a:cubicBezTo>
                      <a:pt x="4678" y="1908"/>
                      <a:pt x="4678" y="1908"/>
                      <a:pt x="4678" y="1908"/>
                    </a:cubicBezTo>
                    <a:lnTo>
                      <a:pt x="4659" y="1832"/>
                    </a:lnTo>
                    <a:close/>
                    <a:moveTo>
                      <a:pt x="1821" y="3902"/>
                    </a:moveTo>
                    <a:cubicBezTo>
                      <a:pt x="1947" y="4033"/>
                      <a:pt x="1947" y="4033"/>
                      <a:pt x="1947" y="4033"/>
                    </a:cubicBezTo>
                    <a:cubicBezTo>
                      <a:pt x="1863" y="4110"/>
                      <a:pt x="1863" y="4110"/>
                      <a:pt x="1863" y="4110"/>
                    </a:cubicBezTo>
                    <a:cubicBezTo>
                      <a:pt x="1705" y="3943"/>
                      <a:pt x="1705" y="3943"/>
                      <a:pt x="1705" y="3943"/>
                    </a:cubicBezTo>
                    <a:lnTo>
                      <a:pt x="1821" y="3902"/>
                    </a:lnTo>
                    <a:close/>
                    <a:moveTo>
                      <a:pt x="1927" y="4032"/>
                    </a:moveTo>
                    <a:cubicBezTo>
                      <a:pt x="1817" y="3918"/>
                      <a:pt x="1817" y="3918"/>
                      <a:pt x="1817" y="3918"/>
                    </a:cubicBezTo>
                    <a:cubicBezTo>
                      <a:pt x="1730" y="3949"/>
                      <a:pt x="1730" y="3949"/>
                      <a:pt x="1730" y="3949"/>
                    </a:cubicBezTo>
                    <a:cubicBezTo>
                      <a:pt x="1863" y="4090"/>
                      <a:pt x="1863" y="4090"/>
                      <a:pt x="1863" y="4090"/>
                    </a:cubicBezTo>
                    <a:lnTo>
                      <a:pt x="1927" y="4032"/>
                    </a:lnTo>
                    <a:close/>
                    <a:moveTo>
                      <a:pt x="9927" y="5114"/>
                    </a:moveTo>
                    <a:cubicBezTo>
                      <a:pt x="9972" y="5259"/>
                      <a:pt x="9972" y="5259"/>
                      <a:pt x="9972" y="5259"/>
                    </a:cubicBezTo>
                    <a:cubicBezTo>
                      <a:pt x="9900" y="5281"/>
                      <a:pt x="9900" y="5281"/>
                      <a:pt x="9900" y="5281"/>
                    </a:cubicBezTo>
                    <a:cubicBezTo>
                      <a:pt x="9898" y="5275"/>
                      <a:pt x="9898" y="5275"/>
                      <a:pt x="9898" y="5275"/>
                    </a:cubicBezTo>
                    <a:cubicBezTo>
                      <a:pt x="9855" y="5137"/>
                      <a:pt x="9855" y="5137"/>
                      <a:pt x="9855" y="5137"/>
                    </a:cubicBezTo>
                    <a:lnTo>
                      <a:pt x="9927" y="5114"/>
                    </a:lnTo>
                    <a:close/>
                    <a:moveTo>
                      <a:pt x="9956" y="5250"/>
                    </a:moveTo>
                    <a:cubicBezTo>
                      <a:pt x="9919" y="5131"/>
                      <a:pt x="9919" y="5131"/>
                      <a:pt x="9919" y="5131"/>
                    </a:cubicBezTo>
                    <a:cubicBezTo>
                      <a:pt x="9871" y="5145"/>
                      <a:pt x="9871" y="5145"/>
                      <a:pt x="9871" y="5145"/>
                    </a:cubicBezTo>
                    <a:cubicBezTo>
                      <a:pt x="9908" y="5265"/>
                      <a:pt x="9908" y="5265"/>
                      <a:pt x="9908" y="5265"/>
                    </a:cubicBezTo>
                    <a:lnTo>
                      <a:pt x="9956" y="5250"/>
                    </a:lnTo>
                    <a:close/>
                    <a:moveTo>
                      <a:pt x="2150" y="8533"/>
                    </a:moveTo>
                    <a:cubicBezTo>
                      <a:pt x="2241" y="8635"/>
                      <a:pt x="2241" y="8635"/>
                      <a:pt x="2241" y="8635"/>
                    </a:cubicBezTo>
                    <a:cubicBezTo>
                      <a:pt x="1956" y="8715"/>
                      <a:pt x="1956" y="8715"/>
                      <a:pt x="1956" y="8715"/>
                    </a:cubicBezTo>
                    <a:cubicBezTo>
                      <a:pt x="1833" y="8699"/>
                      <a:pt x="1833" y="8699"/>
                      <a:pt x="1833" y="8699"/>
                    </a:cubicBezTo>
                    <a:cubicBezTo>
                      <a:pt x="1756" y="8794"/>
                      <a:pt x="1756" y="8794"/>
                      <a:pt x="1756" y="8794"/>
                    </a:cubicBezTo>
                    <a:cubicBezTo>
                      <a:pt x="1878" y="8903"/>
                      <a:pt x="1878" y="8903"/>
                      <a:pt x="1878" y="8903"/>
                    </a:cubicBezTo>
                    <a:cubicBezTo>
                      <a:pt x="1781" y="8994"/>
                      <a:pt x="1781" y="8994"/>
                      <a:pt x="1781" y="8994"/>
                    </a:cubicBezTo>
                    <a:cubicBezTo>
                      <a:pt x="1610" y="8834"/>
                      <a:pt x="1610" y="8834"/>
                      <a:pt x="1610" y="8834"/>
                    </a:cubicBezTo>
                    <a:cubicBezTo>
                      <a:pt x="1799" y="8553"/>
                      <a:pt x="1799" y="8553"/>
                      <a:pt x="1799" y="8553"/>
                    </a:cubicBezTo>
                    <a:cubicBezTo>
                      <a:pt x="1899" y="8620"/>
                      <a:pt x="1899" y="8620"/>
                      <a:pt x="1899" y="8620"/>
                    </a:cubicBezTo>
                    <a:cubicBezTo>
                      <a:pt x="2023" y="8413"/>
                      <a:pt x="2023" y="8413"/>
                      <a:pt x="2023" y="8413"/>
                    </a:cubicBezTo>
                    <a:cubicBezTo>
                      <a:pt x="2029" y="8419"/>
                      <a:pt x="2029" y="8419"/>
                      <a:pt x="2029" y="8419"/>
                    </a:cubicBezTo>
                    <a:lnTo>
                      <a:pt x="2150" y="8533"/>
                    </a:lnTo>
                    <a:close/>
                    <a:moveTo>
                      <a:pt x="2214" y="8627"/>
                    </a:moveTo>
                    <a:cubicBezTo>
                      <a:pt x="2140" y="8544"/>
                      <a:pt x="2140" y="8544"/>
                      <a:pt x="2140" y="8544"/>
                    </a:cubicBezTo>
                    <a:cubicBezTo>
                      <a:pt x="2026" y="8436"/>
                      <a:pt x="2026" y="8436"/>
                      <a:pt x="2026" y="8436"/>
                    </a:cubicBezTo>
                    <a:cubicBezTo>
                      <a:pt x="1904" y="8641"/>
                      <a:pt x="1904" y="8641"/>
                      <a:pt x="1904" y="8641"/>
                    </a:cubicBezTo>
                    <a:cubicBezTo>
                      <a:pt x="1803" y="8573"/>
                      <a:pt x="1803" y="8573"/>
                      <a:pt x="1803" y="8573"/>
                    </a:cubicBezTo>
                    <a:cubicBezTo>
                      <a:pt x="1629" y="8832"/>
                      <a:pt x="1629" y="8832"/>
                      <a:pt x="1629" y="8832"/>
                    </a:cubicBezTo>
                    <a:cubicBezTo>
                      <a:pt x="1781" y="8973"/>
                      <a:pt x="1781" y="8973"/>
                      <a:pt x="1781" y="8973"/>
                    </a:cubicBezTo>
                    <a:cubicBezTo>
                      <a:pt x="1856" y="8903"/>
                      <a:pt x="1856" y="8903"/>
                      <a:pt x="1856" y="8903"/>
                    </a:cubicBezTo>
                    <a:cubicBezTo>
                      <a:pt x="1735" y="8796"/>
                      <a:pt x="1735" y="8796"/>
                      <a:pt x="1735" y="8796"/>
                    </a:cubicBezTo>
                    <a:cubicBezTo>
                      <a:pt x="1827" y="8684"/>
                      <a:pt x="1827" y="8684"/>
                      <a:pt x="1827" y="8684"/>
                    </a:cubicBezTo>
                    <a:cubicBezTo>
                      <a:pt x="1954" y="8700"/>
                      <a:pt x="1954" y="8700"/>
                      <a:pt x="1954" y="8700"/>
                    </a:cubicBezTo>
                    <a:lnTo>
                      <a:pt x="2214" y="8627"/>
                    </a:lnTo>
                    <a:close/>
                    <a:moveTo>
                      <a:pt x="5604" y="8643"/>
                    </a:moveTo>
                    <a:cubicBezTo>
                      <a:pt x="5603" y="8472"/>
                      <a:pt x="5603" y="8472"/>
                      <a:pt x="5603" y="8472"/>
                    </a:cubicBezTo>
                    <a:cubicBezTo>
                      <a:pt x="5733" y="8473"/>
                      <a:pt x="5733" y="8473"/>
                      <a:pt x="5733" y="8473"/>
                    </a:cubicBezTo>
                    <a:cubicBezTo>
                      <a:pt x="5730" y="8558"/>
                      <a:pt x="5730" y="8558"/>
                      <a:pt x="5730" y="8558"/>
                    </a:cubicBezTo>
                    <a:cubicBezTo>
                      <a:pt x="5814" y="8559"/>
                      <a:pt x="5814" y="8559"/>
                      <a:pt x="5814" y="8559"/>
                    </a:cubicBezTo>
                    <a:cubicBezTo>
                      <a:pt x="5812" y="8741"/>
                      <a:pt x="5812" y="8741"/>
                      <a:pt x="5812" y="8741"/>
                    </a:cubicBezTo>
                    <a:cubicBezTo>
                      <a:pt x="5689" y="8741"/>
                      <a:pt x="5689" y="8741"/>
                      <a:pt x="5689" y="8741"/>
                    </a:cubicBezTo>
                    <a:cubicBezTo>
                      <a:pt x="5688" y="8644"/>
                      <a:pt x="5688" y="8644"/>
                      <a:pt x="5688" y="8644"/>
                    </a:cubicBezTo>
                    <a:lnTo>
                      <a:pt x="5604" y="8643"/>
                    </a:lnTo>
                    <a:close/>
                    <a:moveTo>
                      <a:pt x="5616" y="8486"/>
                    </a:moveTo>
                    <a:cubicBezTo>
                      <a:pt x="5617" y="8630"/>
                      <a:pt x="5617" y="8630"/>
                      <a:pt x="5617" y="8630"/>
                    </a:cubicBezTo>
                    <a:cubicBezTo>
                      <a:pt x="5701" y="8631"/>
                      <a:pt x="5701" y="8631"/>
                      <a:pt x="5701" y="8631"/>
                    </a:cubicBezTo>
                    <a:cubicBezTo>
                      <a:pt x="5701" y="8637"/>
                      <a:pt x="5701" y="8637"/>
                      <a:pt x="5701" y="8637"/>
                    </a:cubicBezTo>
                    <a:cubicBezTo>
                      <a:pt x="5702" y="8728"/>
                      <a:pt x="5702" y="8728"/>
                      <a:pt x="5702" y="8728"/>
                    </a:cubicBezTo>
                    <a:cubicBezTo>
                      <a:pt x="5799" y="8728"/>
                      <a:pt x="5799" y="8728"/>
                      <a:pt x="5799" y="8728"/>
                    </a:cubicBezTo>
                    <a:cubicBezTo>
                      <a:pt x="5801" y="8572"/>
                      <a:pt x="5801" y="8572"/>
                      <a:pt x="5801" y="8572"/>
                    </a:cubicBezTo>
                    <a:cubicBezTo>
                      <a:pt x="5717" y="8571"/>
                      <a:pt x="5717" y="8571"/>
                      <a:pt x="5717" y="8571"/>
                    </a:cubicBezTo>
                    <a:cubicBezTo>
                      <a:pt x="5720" y="8486"/>
                      <a:pt x="5720" y="8486"/>
                      <a:pt x="5720" y="8486"/>
                    </a:cubicBezTo>
                    <a:lnTo>
                      <a:pt x="5616" y="8486"/>
                    </a:lnTo>
                    <a:close/>
                    <a:moveTo>
                      <a:pt x="10218" y="5031"/>
                    </a:moveTo>
                    <a:cubicBezTo>
                      <a:pt x="10262" y="5176"/>
                      <a:pt x="10262" y="5176"/>
                      <a:pt x="10262" y="5176"/>
                    </a:cubicBezTo>
                    <a:cubicBezTo>
                      <a:pt x="10190" y="5198"/>
                      <a:pt x="10190" y="5198"/>
                      <a:pt x="10190" y="5198"/>
                    </a:cubicBezTo>
                    <a:cubicBezTo>
                      <a:pt x="10188" y="5192"/>
                      <a:pt x="10188" y="5192"/>
                      <a:pt x="10188" y="5192"/>
                    </a:cubicBezTo>
                    <a:cubicBezTo>
                      <a:pt x="10145" y="5053"/>
                      <a:pt x="10145" y="5053"/>
                      <a:pt x="10145" y="5053"/>
                    </a:cubicBezTo>
                    <a:lnTo>
                      <a:pt x="10218" y="5031"/>
                    </a:lnTo>
                    <a:close/>
                    <a:moveTo>
                      <a:pt x="10246" y="5167"/>
                    </a:moveTo>
                    <a:cubicBezTo>
                      <a:pt x="10209" y="5047"/>
                      <a:pt x="10209" y="5047"/>
                      <a:pt x="10209" y="5047"/>
                    </a:cubicBezTo>
                    <a:cubicBezTo>
                      <a:pt x="10162" y="5062"/>
                      <a:pt x="10162" y="5062"/>
                      <a:pt x="10162" y="5062"/>
                    </a:cubicBezTo>
                    <a:cubicBezTo>
                      <a:pt x="10199" y="5182"/>
                      <a:pt x="10199" y="5182"/>
                      <a:pt x="10199" y="5182"/>
                    </a:cubicBezTo>
                    <a:lnTo>
                      <a:pt x="10246" y="5167"/>
                    </a:lnTo>
                    <a:close/>
                    <a:moveTo>
                      <a:pt x="10114" y="5064"/>
                    </a:moveTo>
                    <a:cubicBezTo>
                      <a:pt x="10158" y="5208"/>
                      <a:pt x="10158" y="5208"/>
                      <a:pt x="10158" y="5208"/>
                    </a:cubicBezTo>
                    <a:cubicBezTo>
                      <a:pt x="10086" y="5231"/>
                      <a:pt x="10086" y="5231"/>
                      <a:pt x="10086" y="5231"/>
                    </a:cubicBezTo>
                    <a:cubicBezTo>
                      <a:pt x="10084" y="5224"/>
                      <a:pt x="10084" y="5224"/>
                      <a:pt x="10084" y="5224"/>
                    </a:cubicBezTo>
                    <a:cubicBezTo>
                      <a:pt x="10041" y="5086"/>
                      <a:pt x="10041" y="5086"/>
                      <a:pt x="10041" y="5086"/>
                    </a:cubicBezTo>
                    <a:lnTo>
                      <a:pt x="10114" y="5064"/>
                    </a:lnTo>
                    <a:close/>
                    <a:moveTo>
                      <a:pt x="10142" y="5200"/>
                    </a:moveTo>
                    <a:cubicBezTo>
                      <a:pt x="10105" y="5080"/>
                      <a:pt x="10105" y="5080"/>
                      <a:pt x="10105" y="5080"/>
                    </a:cubicBezTo>
                    <a:cubicBezTo>
                      <a:pt x="10058" y="5095"/>
                      <a:pt x="10058" y="5095"/>
                      <a:pt x="10058" y="5095"/>
                    </a:cubicBezTo>
                    <a:cubicBezTo>
                      <a:pt x="10095" y="5214"/>
                      <a:pt x="10095" y="5214"/>
                      <a:pt x="10095" y="5214"/>
                    </a:cubicBezTo>
                    <a:lnTo>
                      <a:pt x="10142" y="5200"/>
                    </a:lnTo>
                    <a:close/>
                    <a:moveTo>
                      <a:pt x="10505" y="4364"/>
                    </a:moveTo>
                    <a:cubicBezTo>
                      <a:pt x="10553" y="4510"/>
                      <a:pt x="10553" y="4510"/>
                      <a:pt x="10553" y="4510"/>
                    </a:cubicBezTo>
                    <a:cubicBezTo>
                      <a:pt x="10601" y="4497"/>
                      <a:pt x="10601" y="4497"/>
                      <a:pt x="10601" y="4497"/>
                    </a:cubicBezTo>
                    <a:cubicBezTo>
                      <a:pt x="10678" y="4743"/>
                      <a:pt x="10678" y="4743"/>
                      <a:pt x="10678" y="4743"/>
                    </a:cubicBezTo>
                    <a:cubicBezTo>
                      <a:pt x="10680" y="4750"/>
                      <a:pt x="10680" y="4750"/>
                      <a:pt x="10680" y="4750"/>
                    </a:cubicBezTo>
                    <a:cubicBezTo>
                      <a:pt x="10466" y="4817"/>
                      <a:pt x="10466" y="4817"/>
                      <a:pt x="10466" y="4817"/>
                    </a:cubicBezTo>
                    <a:cubicBezTo>
                      <a:pt x="10438" y="4727"/>
                      <a:pt x="10438" y="4727"/>
                      <a:pt x="10438" y="4727"/>
                    </a:cubicBezTo>
                    <a:cubicBezTo>
                      <a:pt x="10295" y="4770"/>
                      <a:pt x="10295" y="4770"/>
                      <a:pt x="10295" y="4770"/>
                    </a:cubicBezTo>
                    <a:cubicBezTo>
                      <a:pt x="10322" y="4860"/>
                      <a:pt x="10322" y="4860"/>
                      <a:pt x="10322" y="4860"/>
                    </a:cubicBezTo>
                    <a:cubicBezTo>
                      <a:pt x="10120" y="4926"/>
                      <a:pt x="10120" y="4926"/>
                      <a:pt x="10120" y="4926"/>
                    </a:cubicBezTo>
                    <a:cubicBezTo>
                      <a:pt x="10103" y="4875"/>
                      <a:pt x="10103" y="4875"/>
                      <a:pt x="10103" y="4875"/>
                    </a:cubicBezTo>
                    <a:cubicBezTo>
                      <a:pt x="10179" y="4850"/>
                      <a:pt x="10179" y="4850"/>
                      <a:pt x="10179" y="4850"/>
                    </a:cubicBezTo>
                    <a:cubicBezTo>
                      <a:pt x="10146" y="4745"/>
                      <a:pt x="10146" y="4745"/>
                      <a:pt x="10146" y="4745"/>
                    </a:cubicBezTo>
                    <a:cubicBezTo>
                      <a:pt x="10074" y="4766"/>
                      <a:pt x="10074" y="4766"/>
                      <a:pt x="10074" y="4766"/>
                    </a:cubicBezTo>
                    <a:cubicBezTo>
                      <a:pt x="10043" y="4667"/>
                      <a:pt x="10043" y="4667"/>
                      <a:pt x="10043" y="4667"/>
                    </a:cubicBezTo>
                    <a:cubicBezTo>
                      <a:pt x="10396" y="4557"/>
                      <a:pt x="10396" y="4557"/>
                      <a:pt x="10396" y="4557"/>
                    </a:cubicBezTo>
                    <a:cubicBezTo>
                      <a:pt x="10353" y="4413"/>
                      <a:pt x="10353" y="4413"/>
                      <a:pt x="10353" y="4413"/>
                    </a:cubicBezTo>
                    <a:lnTo>
                      <a:pt x="10505" y="4364"/>
                    </a:lnTo>
                    <a:close/>
                    <a:moveTo>
                      <a:pt x="10543" y="4528"/>
                    </a:moveTo>
                    <a:cubicBezTo>
                      <a:pt x="10496" y="4383"/>
                      <a:pt x="10496" y="4383"/>
                      <a:pt x="10496" y="4383"/>
                    </a:cubicBezTo>
                    <a:cubicBezTo>
                      <a:pt x="10372" y="4423"/>
                      <a:pt x="10372" y="4423"/>
                      <a:pt x="10372" y="4423"/>
                    </a:cubicBezTo>
                    <a:cubicBezTo>
                      <a:pt x="10415" y="4567"/>
                      <a:pt x="10415" y="4567"/>
                      <a:pt x="10415" y="4567"/>
                    </a:cubicBezTo>
                    <a:cubicBezTo>
                      <a:pt x="10061" y="4677"/>
                      <a:pt x="10061" y="4677"/>
                      <a:pt x="10061" y="4677"/>
                    </a:cubicBezTo>
                    <a:cubicBezTo>
                      <a:pt x="10084" y="4748"/>
                      <a:pt x="10084" y="4748"/>
                      <a:pt x="10084" y="4748"/>
                    </a:cubicBezTo>
                    <a:cubicBezTo>
                      <a:pt x="10156" y="4727"/>
                      <a:pt x="10156" y="4727"/>
                      <a:pt x="10156" y="4727"/>
                    </a:cubicBezTo>
                    <a:cubicBezTo>
                      <a:pt x="10197" y="4859"/>
                      <a:pt x="10197" y="4859"/>
                      <a:pt x="10197" y="4859"/>
                    </a:cubicBezTo>
                    <a:cubicBezTo>
                      <a:pt x="10122" y="4884"/>
                      <a:pt x="10122" y="4884"/>
                      <a:pt x="10122" y="4884"/>
                    </a:cubicBezTo>
                    <a:cubicBezTo>
                      <a:pt x="10129" y="4908"/>
                      <a:pt x="10129" y="4908"/>
                      <a:pt x="10129" y="4908"/>
                    </a:cubicBezTo>
                    <a:cubicBezTo>
                      <a:pt x="10303" y="4850"/>
                      <a:pt x="10303" y="4850"/>
                      <a:pt x="10303" y="4850"/>
                    </a:cubicBezTo>
                    <a:cubicBezTo>
                      <a:pt x="10276" y="4760"/>
                      <a:pt x="10276" y="4760"/>
                      <a:pt x="10276" y="4760"/>
                    </a:cubicBezTo>
                    <a:cubicBezTo>
                      <a:pt x="10447" y="4708"/>
                      <a:pt x="10447" y="4708"/>
                      <a:pt x="10447" y="4708"/>
                    </a:cubicBezTo>
                    <a:cubicBezTo>
                      <a:pt x="10476" y="4798"/>
                      <a:pt x="10476" y="4798"/>
                      <a:pt x="10476" y="4798"/>
                    </a:cubicBezTo>
                    <a:cubicBezTo>
                      <a:pt x="10661" y="4740"/>
                      <a:pt x="10661" y="4740"/>
                      <a:pt x="10661" y="4740"/>
                    </a:cubicBezTo>
                    <a:cubicBezTo>
                      <a:pt x="10591" y="4515"/>
                      <a:pt x="10591" y="4515"/>
                      <a:pt x="10591" y="4515"/>
                    </a:cubicBezTo>
                    <a:lnTo>
                      <a:pt x="10543" y="4528"/>
                    </a:lnTo>
                    <a:close/>
                    <a:moveTo>
                      <a:pt x="9360" y="5948"/>
                    </a:moveTo>
                    <a:cubicBezTo>
                      <a:pt x="9360" y="5948"/>
                      <a:pt x="9360" y="5948"/>
                      <a:pt x="9360" y="5948"/>
                    </a:cubicBezTo>
                    <a:cubicBezTo>
                      <a:pt x="9360" y="5948"/>
                      <a:pt x="9360" y="5948"/>
                      <a:pt x="9360" y="5948"/>
                    </a:cubicBezTo>
                    <a:close/>
                    <a:moveTo>
                      <a:pt x="9861" y="8322"/>
                    </a:moveTo>
                    <a:cubicBezTo>
                      <a:pt x="9775" y="8322"/>
                      <a:pt x="9775" y="8322"/>
                      <a:pt x="9775" y="8322"/>
                    </a:cubicBezTo>
                    <a:cubicBezTo>
                      <a:pt x="9775" y="8153"/>
                      <a:pt x="9775" y="8153"/>
                      <a:pt x="9775" y="8153"/>
                    </a:cubicBezTo>
                    <a:cubicBezTo>
                      <a:pt x="9909" y="8153"/>
                      <a:pt x="9909" y="8153"/>
                      <a:pt x="9909" y="8153"/>
                    </a:cubicBezTo>
                    <a:cubicBezTo>
                      <a:pt x="9909" y="8242"/>
                      <a:pt x="9909" y="8242"/>
                      <a:pt x="9909" y="8242"/>
                    </a:cubicBezTo>
                    <a:cubicBezTo>
                      <a:pt x="9989" y="8242"/>
                      <a:pt x="9989" y="8242"/>
                      <a:pt x="9989" y="8242"/>
                    </a:cubicBezTo>
                    <a:cubicBezTo>
                      <a:pt x="9989" y="8424"/>
                      <a:pt x="9989" y="8424"/>
                      <a:pt x="9989" y="8424"/>
                    </a:cubicBezTo>
                    <a:cubicBezTo>
                      <a:pt x="9861" y="8424"/>
                      <a:pt x="9861" y="8424"/>
                      <a:pt x="9861" y="8424"/>
                    </a:cubicBezTo>
                    <a:lnTo>
                      <a:pt x="9861" y="8322"/>
                    </a:lnTo>
                    <a:close/>
                    <a:moveTo>
                      <a:pt x="9873" y="8311"/>
                    </a:moveTo>
                    <a:cubicBezTo>
                      <a:pt x="9873" y="8317"/>
                      <a:pt x="9873" y="8317"/>
                      <a:pt x="9873" y="8317"/>
                    </a:cubicBezTo>
                    <a:cubicBezTo>
                      <a:pt x="9873" y="8412"/>
                      <a:pt x="9873" y="8412"/>
                      <a:pt x="9873" y="8412"/>
                    </a:cubicBezTo>
                    <a:cubicBezTo>
                      <a:pt x="9977" y="8412"/>
                      <a:pt x="9977" y="8412"/>
                      <a:pt x="9977" y="8412"/>
                    </a:cubicBezTo>
                    <a:cubicBezTo>
                      <a:pt x="9977" y="8253"/>
                      <a:pt x="9977" y="8253"/>
                      <a:pt x="9977" y="8253"/>
                    </a:cubicBezTo>
                    <a:cubicBezTo>
                      <a:pt x="9897" y="8253"/>
                      <a:pt x="9897" y="8253"/>
                      <a:pt x="9897" y="8253"/>
                    </a:cubicBezTo>
                    <a:cubicBezTo>
                      <a:pt x="9897" y="8165"/>
                      <a:pt x="9897" y="8165"/>
                      <a:pt x="9897" y="8165"/>
                    </a:cubicBezTo>
                    <a:cubicBezTo>
                      <a:pt x="9787" y="8165"/>
                      <a:pt x="9787" y="8165"/>
                      <a:pt x="9787" y="8165"/>
                    </a:cubicBezTo>
                    <a:cubicBezTo>
                      <a:pt x="9787" y="8311"/>
                      <a:pt x="9787" y="8311"/>
                      <a:pt x="9787" y="8311"/>
                    </a:cubicBezTo>
                    <a:lnTo>
                      <a:pt x="9873" y="8311"/>
                    </a:lnTo>
                    <a:close/>
                    <a:moveTo>
                      <a:pt x="9515" y="5187"/>
                    </a:moveTo>
                    <a:cubicBezTo>
                      <a:pt x="9560" y="5332"/>
                      <a:pt x="9560" y="5332"/>
                      <a:pt x="9560" y="5332"/>
                    </a:cubicBezTo>
                    <a:cubicBezTo>
                      <a:pt x="9487" y="5354"/>
                      <a:pt x="9487" y="5354"/>
                      <a:pt x="9487" y="5354"/>
                    </a:cubicBezTo>
                    <a:cubicBezTo>
                      <a:pt x="9485" y="5348"/>
                      <a:pt x="9485" y="5348"/>
                      <a:pt x="9485" y="5348"/>
                    </a:cubicBezTo>
                    <a:cubicBezTo>
                      <a:pt x="9442" y="5210"/>
                      <a:pt x="9442" y="5210"/>
                      <a:pt x="9442" y="5210"/>
                    </a:cubicBezTo>
                    <a:lnTo>
                      <a:pt x="9515" y="5187"/>
                    </a:lnTo>
                    <a:close/>
                    <a:moveTo>
                      <a:pt x="9543" y="5323"/>
                    </a:moveTo>
                    <a:cubicBezTo>
                      <a:pt x="9506" y="5204"/>
                      <a:pt x="9506" y="5204"/>
                      <a:pt x="9506" y="5204"/>
                    </a:cubicBezTo>
                    <a:cubicBezTo>
                      <a:pt x="9459" y="5218"/>
                      <a:pt x="9459" y="5218"/>
                      <a:pt x="9459" y="5218"/>
                    </a:cubicBezTo>
                    <a:cubicBezTo>
                      <a:pt x="9496" y="5338"/>
                      <a:pt x="9496" y="5338"/>
                      <a:pt x="9496" y="5338"/>
                    </a:cubicBezTo>
                    <a:lnTo>
                      <a:pt x="9543" y="5323"/>
                    </a:lnTo>
                    <a:close/>
                    <a:moveTo>
                      <a:pt x="4460" y="2233"/>
                    </a:moveTo>
                    <a:cubicBezTo>
                      <a:pt x="4390" y="2256"/>
                      <a:pt x="4390" y="2256"/>
                      <a:pt x="4390" y="2256"/>
                    </a:cubicBezTo>
                    <a:cubicBezTo>
                      <a:pt x="4414" y="2328"/>
                      <a:pt x="4414" y="2328"/>
                      <a:pt x="4414" y="2328"/>
                    </a:cubicBezTo>
                    <a:cubicBezTo>
                      <a:pt x="4342" y="2352"/>
                      <a:pt x="4342" y="2352"/>
                      <a:pt x="4342" y="2352"/>
                    </a:cubicBezTo>
                    <a:cubicBezTo>
                      <a:pt x="4340" y="2345"/>
                      <a:pt x="4340" y="2345"/>
                      <a:pt x="4340" y="2345"/>
                    </a:cubicBezTo>
                    <a:cubicBezTo>
                      <a:pt x="4282" y="2162"/>
                      <a:pt x="4282" y="2162"/>
                      <a:pt x="4282" y="2162"/>
                    </a:cubicBezTo>
                    <a:cubicBezTo>
                      <a:pt x="4329" y="2147"/>
                      <a:pt x="4329" y="2147"/>
                      <a:pt x="4329" y="2147"/>
                    </a:cubicBezTo>
                    <a:cubicBezTo>
                      <a:pt x="4326" y="2136"/>
                      <a:pt x="4326" y="2136"/>
                      <a:pt x="4326" y="2136"/>
                    </a:cubicBezTo>
                    <a:cubicBezTo>
                      <a:pt x="4323" y="2130"/>
                      <a:pt x="4323" y="2130"/>
                      <a:pt x="4323" y="2130"/>
                    </a:cubicBezTo>
                    <a:cubicBezTo>
                      <a:pt x="4415" y="2099"/>
                      <a:pt x="4415" y="2099"/>
                      <a:pt x="4415" y="2099"/>
                    </a:cubicBezTo>
                    <a:lnTo>
                      <a:pt x="4460" y="2233"/>
                    </a:lnTo>
                    <a:close/>
                    <a:moveTo>
                      <a:pt x="4374" y="2248"/>
                    </a:moveTo>
                    <a:cubicBezTo>
                      <a:pt x="4443" y="2225"/>
                      <a:pt x="4443" y="2225"/>
                      <a:pt x="4443" y="2225"/>
                    </a:cubicBezTo>
                    <a:cubicBezTo>
                      <a:pt x="4407" y="2116"/>
                      <a:pt x="4407" y="2116"/>
                      <a:pt x="4407" y="2116"/>
                    </a:cubicBezTo>
                    <a:cubicBezTo>
                      <a:pt x="4340" y="2138"/>
                      <a:pt x="4340" y="2138"/>
                      <a:pt x="4340" y="2138"/>
                    </a:cubicBezTo>
                    <a:cubicBezTo>
                      <a:pt x="4344" y="2149"/>
                      <a:pt x="4344" y="2149"/>
                      <a:pt x="4344" y="2149"/>
                    </a:cubicBezTo>
                    <a:cubicBezTo>
                      <a:pt x="4346" y="2155"/>
                      <a:pt x="4346" y="2155"/>
                      <a:pt x="4346" y="2155"/>
                    </a:cubicBezTo>
                    <a:cubicBezTo>
                      <a:pt x="4299" y="2171"/>
                      <a:pt x="4299" y="2171"/>
                      <a:pt x="4299" y="2171"/>
                    </a:cubicBezTo>
                    <a:cubicBezTo>
                      <a:pt x="4350" y="2335"/>
                      <a:pt x="4350" y="2335"/>
                      <a:pt x="4350" y="2335"/>
                    </a:cubicBezTo>
                    <a:cubicBezTo>
                      <a:pt x="4397" y="2320"/>
                      <a:pt x="4397" y="2320"/>
                      <a:pt x="4397" y="2320"/>
                    </a:cubicBezTo>
                    <a:lnTo>
                      <a:pt x="4374" y="2248"/>
                    </a:lnTo>
                    <a:close/>
                    <a:moveTo>
                      <a:pt x="6905" y="9334"/>
                    </a:moveTo>
                    <a:cubicBezTo>
                      <a:pt x="7023" y="9335"/>
                      <a:pt x="7023" y="9335"/>
                      <a:pt x="7023" y="9335"/>
                    </a:cubicBezTo>
                    <a:cubicBezTo>
                      <a:pt x="7019" y="9457"/>
                      <a:pt x="7019" y="9457"/>
                      <a:pt x="7019" y="9457"/>
                    </a:cubicBezTo>
                    <a:cubicBezTo>
                      <a:pt x="7013" y="9457"/>
                      <a:pt x="7013" y="9457"/>
                      <a:pt x="7013" y="9457"/>
                    </a:cubicBezTo>
                    <a:cubicBezTo>
                      <a:pt x="6962" y="9457"/>
                      <a:pt x="6962" y="9457"/>
                      <a:pt x="6962" y="9457"/>
                    </a:cubicBezTo>
                    <a:cubicBezTo>
                      <a:pt x="6962" y="9530"/>
                      <a:pt x="6962" y="9530"/>
                      <a:pt x="6962" y="9530"/>
                    </a:cubicBezTo>
                    <a:cubicBezTo>
                      <a:pt x="6852" y="9529"/>
                      <a:pt x="6852" y="9529"/>
                      <a:pt x="6852" y="9529"/>
                    </a:cubicBezTo>
                    <a:cubicBezTo>
                      <a:pt x="6853" y="9344"/>
                      <a:pt x="6853" y="9344"/>
                      <a:pt x="6853" y="9344"/>
                    </a:cubicBezTo>
                    <a:cubicBezTo>
                      <a:pt x="6905" y="9344"/>
                      <a:pt x="6905" y="9344"/>
                      <a:pt x="6905" y="9344"/>
                    </a:cubicBezTo>
                    <a:cubicBezTo>
                      <a:pt x="6905" y="9340"/>
                      <a:pt x="6905" y="9340"/>
                      <a:pt x="6905" y="9340"/>
                    </a:cubicBezTo>
                    <a:lnTo>
                      <a:pt x="6905" y="9334"/>
                    </a:lnTo>
                    <a:close/>
                    <a:moveTo>
                      <a:pt x="6918" y="9358"/>
                    </a:moveTo>
                    <a:cubicBezTo>
                      <a:pt x="6866" y="9357"/>
                      <a:pt x="6866" y="9357"/>
                      <a:pt x="6866" y="9357"/>
                    </a:cubicBezTo>
                    <a:cubicBezTo>
                      <a:pt x="6865" y="9516"/>
                      <a:pt x="6865" y="9516"/>
                      <a:pt x="6865" y="9516"/>
                    </a:cubicBezTo>
                    <a:cubicBezTo>
                      <a:pt x="6948" y="9517"/>
                      <a:pt x="6948" y="9517"/>
                      <a:pt x="6948" y="9517"/>
                    </a:cubicBezTo>
                    <a:cubicBezTo>
                      <a:pt x="6949" y="9444"/>
                      <a:pt x="6949" y="9444"/>
                      <a:pt x="6949" y="9444"/>
                    </a:cubicBezTo>
                    <a:cubicBezTo>
                      <a:pt x="7007" y="9444"/>
                      <a:pt x="7007" y="9444"/>
                      <a:pt x="7007" y="9444"/>
                    </a:cubicBezTo>
                    <a:cubicBezTo>
                      <a:pt x="7009" y="9348"/>
                      <a:pt x="7009" y="9348"/>
                      <a:pt x="7009" y="9348"/>
                    </a:cubicBezTo>
                    <a:cubicBezTo>
                      <a:pt x="6918" y="9347"/>
                      <a:pt x="6918" y="9347"/>
                      <a:pt x="6918" y="9347"/>
                    </a:cubicBezTo>
                    <a:cubicBezTo>
                      <a:pt x="6918" y="9351"/>
                      <a:pt x="6918" y="9351"/>
                      <a:pt x="6918" y="9351"/>
                    </a:cubicBezTo>
                    <a:lnTo>
                      <a:pt x="6918" y="9358"/>
                    </a:lnTo>
                    <a:close/>
                    <a:moveTo>
                      <a:pt x="10447" y="5115"/>
                    </a:moveTo>
                    <a:cubicBezTo>
                      <a:pt x="10375" y="5137"/>
                      <a:pt x="10375" y="5137"/>
                      <a:pt x="10375" y="5137"/>
                    </a:cubicBezTo>
                    <a:cubicBezTo>
                      <a:pt x="10373" y="5131"/>
                      <a:pt x="10373" y="5131"/>
                      <a:pt x="10373" y="5131"/>
                    </a:cubicBezTo>
                    <a:cubicBezTo>
                      <a:pt x="10330" y="4992"/>
                      <a:pt x="10330" y="4992"/>
                      <a:pt x="10330" y="4992"/>
                    </a:cubicBezTo>
                    <a:cubicBezTo>
                      <a:pt x="10403" y="4970"/>
                      <a:pt x="10403" y="4970"/>
                      <a:pt x="10403" y="4970"/>
                    </a:cubicBezTo>
                    <a:lnTo>
                      <a:pt x="10447" y="5115"/>
                    </a:lnTo>
                    <a:close/>
                    <a:moveTo>
                      <a:pt x="10383" y="5121"/>
                    </a:moveTo>
                    <a:cubicBezTo>
                      <a:pt x="10431" y="5106"/>
                      <a:pt x="10431" y="5106"/>
                      <a:pt x="10431" y="5106"/>
                    </a:cubicBezTo>
                    <a:cubicBezTo>
                      <a:pt x="10394" y="4986"/>
                      <a:pt x="10394" y="4986"/>
                      <a:pt x="10394" y="4986"/>
                    </a:cubicBezTo>
                    <a:cubicBezTo>
                      <a:pt x="10346" y="5001"/>
                      <a:pt x="10346" y="5001"/>
                      <a:pt x="10346" y="5001"/>
                    </a:cubicBezTo>
                    <a:lnTo>
                      <a:pt x="10383" y="5121"/>
                    </a:lnTo>
                    <a:close/>
                    <a:moveTo>
                      <a:pt x="9619" y="5155"/>
                    </a:moveTo>
                    <a:cubicBezTo>
                      <a:pt x="9664" y="5299"/>
                      <a:pt x="9664" y="5299"/>
                      <a:pt x="9664" y="5299"/>
                    </a:cubicBezTo>
                    <a:cubicBezTo>
                      <a:pt x="9591" y="5322"/>
                      <a:pt x="9591" y="5322"/>
                      <a:pt x="9591" y="5322"/>
                    </a:cubicBezTo>
                    <a:cubicBezTo>
                      <a:pt x="9589" y="5316"/>
                      <a:pt x="9589" y="5316"/>
                      <a:pt x="9589" y="5316"/>
                    </a:cubicBezTo>
                    <a:cubicBezTo>
                      <a:pt x="9547" y="5177"/>
                      <a:pt x="9547" y="5177"/>
                      <a:pt x="9547" y="5177"/>
                    </a:cubicBezTo>
                    <a:lnTo>
                      <a:pt x="9619" y="5155"/>
                    </a:lnTo>
                    <a:close/>
                    <a:moveTo>
                      <a:pt x="9647" y="5291"/>
                    </a:moveTo>
                    <a:cubicBezTo>
                      <a:pt x="9610" y="5171"/>
                      <a:pt x="9610" y="5171"/>
                      <a:pt x="9610" y="5171"/>
                    </a:cubicBezTo>
                    <a:cubicBezTo>
                      <a:pt x="9563" y="5186"/>
                      <a:pt x="9563" y="5186"/>
                      <a:pt x="9563" y="5186"/>
                    </a:cubicBezTo>
                    <a:cubicBezTo>
                      <a:pt x="9600" y="5305"/>
                      <a:pt x="9600" y="5305"/>
                      <a:pt x="9600" y="5305"/>
                    </a:cubicBezTo>
                    <a:lnTo>
                      <a:pt x="9647" y="5291"/>
                    </a:lnTo>
                    <a:close/>
                    <a:moveTo>
                      <a:pt x="6887" y="9908"/>
                    </a:moveTo>
                    <a:cubicBezTo>
                      <a:pt x="6777" y="9909"/>
                      <a:pt x="6777" y="9909"/>
                      <a:pt x="6777" y="9909"/>
                    </a:cubicBezTo>
                    <a:cubicBezTo>
                      <a:pt x="6777" y="9835"/>
                      <a:pt x="6777" y="9835"/>
                      <a:pt x="6777" y="9835"/>
                    </a:cubicBezTo>
                    <a:cubicBezTo>
                      <a:pt x="6720" y="9836"/>
                      <a:pt x="6720" y="9836"/>
                      <a:pt x="6720" y="9836"/>
                    </a:cubicBezTo>
                    <a:cubicBezTo>
                      <a:pt x="6720" y="9829"/>
                      <a:pt x="6720" y="9829"/>
                      <a:pt x="6720" y="9829"/>
                    </a:cubicBezTo>
                    <a:cubicBezTo>
                      <a:pt x="6716" y="9713"/>
                      <a:pt x="6716" y="9713"/>
                      <a:pt x="6716" y="9713"/>
                    </a:cubicBezTo>
                    <a:cubicBezTo>
                      <a:pt x="6834" y="9712"/>
                      <a:pt x="6834" y="9712"/>
                      <a:pt x="6834" y="9712"/>
                    </a:cubicBezTo>
                    <a:cubicBezTo>
                      <a:pt x="6834" y="9723"/>
                      <a:pt x="6834" y="9723"/>
                      <a:pt x="6834" y="9723"/>
                    </a:cubicBezTo>
                    <a:cubicBezTo>
                      <a:pt x="6886" y="9722"/>
                      <a:pt x="6886" y="9722"/>
                      <a:pt x="6886" y="9722"/>
                    </a:cubicBezTo>
                    <a:lnTo>
                      <a:pt x="6887" y="9908"/>
                    </a:lnTo>
                    <a:close/>
                    <a:moveTo>
                      <a:pt x="6874" y="9895"/>
                    </a:moveTo>
                    <a:cubicBezTo>
                      <a:pt x="6873" y="9736"/>
                      <a:pt x="6873" y="9736"/>
                      <a:pt x="6873" y="9736"/>
                    </a:cubicBezTo>
                    <a:cubicBezTo>
                      <a:pt x="6821" y="9736"/>
                      <a:pt x="6821" y="9736"/>
                      <a:pt x="6821" y="9736"/>
                    </a:cubicBezTo>
                    <a:cubicBezTo>
                      <a:pt x="6821" y="9726"/>
                      <a:pt x="6821" y="9726"/>
                      <a:pt x="6821" y="9726"/>
                    </a:cubicBezTo>
                    <a:cubicBezTo>
                      <a:pt x="6729" y="9726"/>
                      <a:pt x="6729" y="9726"/>
                      <a:pt x="6729" y="9726"/>
                    </a:cubicBezTo>
                    <a:cubicBezTo>
                      <a:pt x="6732" y="9823"/>
                      <a:pt x="6732" y="9823"/>
                      <a:pt x="6732" y="9823"/>
                    </a:cubicBezTo>
                    <a:cubicBezTo>
                      <a:pt x="6790" y="9822"/>
                      <a:pt x="6790" y="9822"/>
                      <a:pt x="6790" y="9822"/>
                    </a:cubicBezTo>
                    <a:cubicBezTo>
                      <a:pt x="6791" y="9895"/>
                      <a:pt x="6791" y="9895"/>
                      <a:pt x="6791" y="9895"/>
                    </a:cubicBezTo>
                    <a:lnTo>
                      <a:pt x="6874" y="9895"/>
                    </a:lnTo>
                    <a:close/>
                    <a:moveTo>
                      <a:pt x="10740" y="5017"/>
                    </a:moveTo>
                    <a:cubicBezTo>
                      <a:pt x="10668" y="5039"/>
                      <a:pt x="10668" y="5039"/>
                      <a:pt x="10668" y="5039"/>
                    </a:cubicBezTo>
                    <a:cubicBezTo>
                      <a:pt x="10666" y="5033"/>
                      <a:pt x="10666" y="5033"/>
                      <a:pt x="10666" y="5033"/>
                    </a:cubicBezTo>
                    <a:cubicBezTo>
                      <a:pt x="10623" y="4895"/>
                      <a:pt x="10623" y="4895"/>
                      <a:pt x="10623" y="4895"/>
                    </a:cubicBezTo>
                    <a:cubicBezTo>
                      <a:pt x="10695" y="4872"/>
                      <a:pt x="10695" y="4872"/>
                      <a:pt x="10695" y="4872"/>
                    </a:cubicBezTo>
                    <a:lnTo>
                      <a:pt x="10740" y="5017"/>
                    </a:lnTo>
                    <a:close/>
                    <a:moveTo>
                      <a:pt x="10676" y="5023"/>
                    </a:moveTo>
                    <a:cubicBezTo>
                      <a:pt x="10724" y="5008"/>
                      <a:pt x="10724" y="5008"/>
                      <a:pt x="10724" y="5008"/>
                    </a:cubicBezTo>
                    <a:cubicBezTo>
                      <a:pt x="10687" y="4889"/>
                      <a:pt x="10687" y="4889"/>
                      <a:pt x="10687" y="4889"/>
                    </a:cubicBezTo>
                    <a:cubicBezTo>
                      <a:pt x="10639" y="4903"/>
                      <a:pt x="10639" y="4903"/>
                      <a:pt x="10639" y="4903"/>
                    </a:cubicBezTo>
                    <a:lnTo>
                      <a:pt x="10676" y="5023"/>
                    </a:lnTo>
                    <a:close/>
                    <a:moveTo>
                      <a:pt x="7366" y="9072"/>
                    </a:moveTo>
                    <a:cubicBezTo>
                      <a:pt x="7257" y="9073"/>
                      <a:pt x="7257" y="9073"/>
                      <a:pt x="7257" y="9073"/>
                    </a:cubicBezTo>
                    <a:cubicBezTo>
                      <a:pt x="7256" y="9000"/>
                      <a:pt x="7256" y="9000"/>
                      <a:pt x="7256" y="9000"/>
                    </a:cubicBezTo>
                    <a:cubicBezTo>
                      <a:pt x="7199" y="9000"/>
                      <a:pt x="7199" y="9000"/>
                      <a:pt x="7199" y="9000"/>
                    </a:cubicBezTo>
                    <a:cubicBezTo>
                      <a:pt x="7199" y="8994"/>
                      <a:pt x="7199" y="8994"/>
                      <a:pt x="7199" y="8994"/>
                    </a:cubicBezTo>
                    <a:cubicBezTo>
                      <a:pt x="7195" y="8878"/>
                      <a:pt x="7195" y="8878"/>
                      <a:pt x="7195" y="8878"/>
                    </a:cubicBezTo>
                    <a:cubicBezTo>
                      <a:pt x="7313" y="8877"/>
                      <a:pt x="7313" y="8877"/>
                      <a:pt x="7313" y="8877"/>
                    </a:cubicBezTo>
                    <a:cubicBezTo>
                      <a:pt x="7313" y="8887"/>
                      <a:pt x="7313" y="8887"/>
                      <a:pt x="7313" y="8887"/>
                    </a:cubicBezTo>
                    <a:cubicBezTo>
                      <a:pt x="7365" y="8887"/>
                      <a:pt x="7365" y="8887"/>
                      <a:pt x="7365" y="8887"/>
                    </a:cubicBezTo>
                    <a:lnTo>
                      <a:pt x="7366" y="9072"/>
                    </a:lnTo>
                    <a:close/>
                    <a:moveTo>
                      <a:pt x="7353" y="9059"/>
                    </a:moveTo>
                    <a:cubicBezTo>
                      <a:pt x="7352" y="8900"/>
                      <a:pt x="7352" y="8900"/>
                      <a:pt x="7352" y="8900"/>
                    </a:cubicBezTo>
                    <a:cubicBezTo>
                      <a:pt x="7300" y="8900"/>
                      <a:pt x="7300" y="8900"/>
                      <a:pt x="7300" y="8900"/>
                    </a:cubicBezTo>
                    <a:cubicBezTo>
                      <a:pt x="7300" y="8890"/>
                      <a:pt x="7300" y="8890"/>
                      <a:pt x="7300" y="8890"/>
                    </a:cubicBezTo>
                    <a:cubicBezTo>
                      <a:pt x="7209" y="8891"/>
                      <a:pt x="7209" y="8891"/>
                      <a:pt x="7209" y="8891"/>
                    </a:cubicBezTo>
                    <a:cubicBezTo>
                      <a:pt x="7212" y="8987"/>
                      <a:pt x="7212" y="8987"/>
                      <a:pt x="7212" y="8987"/>
                    </a:cubicBezTo>
                    <a:cubicBezTo>
                      <a:pt x="7269" y="8987"/>
                      <a:pt x="7269" y="8987"/>
                      <a:pt x="7269" y="8987"/>
                    </a:cubicBezTo>
                    <a:cubicBezTo>
                      <a:pt x="7270" y="9060"/>
                      <a:pt x="7270" y="9060"/>
                      <a:pt x="7270" y="9060"/>
                    </a:cubicBezTo>
                    <a:lnTo>
                      <a:pt x="7353" y="9059"/>
                    </a:lnTo>
                    <a:close/>
                    <a:moveTo>
                      <a:pt x="12057" y="4651"/>
                    </a:moveTo>
                    <a:cubicBezTo>
                      <a:pt x="12066" y="4646"/>
                      <a:pt x="12066" y="4646"/>
                      <a:pt x="12066" y="4646"/>
                    </a:cubicBezTo>
                    <a:cubicBezTo>
                      <a:pt x="12043" y="4600"/>
                      <a:pt x="12043" y="4600"/>
                      <a:pt x="12043" y="4600"/>
                    </a:cubicBezTo>
                    <a:cubicBezTo>
                      <a:pt x="12208" y="4515"/>
                      <a:pt x="12208" y="4515"/>
                      <a:pt x="12208" y="4515"/>
                    </a:cubicBezTo>
                    <a:cubicBezTo>
                      <a:pt x="12258" y="4613"/>
                      <a:pt x="12258" y="4613"/>
                      <a:pt x="12258" y="4613"/>
                    </a:cubicBezTo>
                    <a:cubicBezTo>
                      <a:pt x="12193" y="4646"/>
                      <a:pt x="12193" y="4646"/>
                      <a:pt x="12193" y="4646"/>
                    </a:cubicBezTo>
                    <a:cubicBezTo>
                      <a:pt x="12219" y="4697"/>
                      <a:pt x="12219" y="4697"/>
                      <a:pt x="12219" y="4697"/>
                    </a:cubicBezTo>
                    <a:cubicBezTo>
                      <a:pt x="12213" y="4701"/>
                      <a:pt x="12213" y="4701"/>
                      <a:pt x="12213" y="4701"/>
                    </a:cubicBezTo>
                    <a:cubicBezTo>
                      <a:pt x="12110" y="4756"/>
                      <a:pt x="12110" y="4756"/>
                      <a:pt x="12110" y="4756"/>
                    </a:cubicBezTo>
                    <a:lnTo>
                      <a:pt x="12057" y="4651"/>
                    </a:lnTo>
                    <a:close/>
                    <a:moveTo>
                      <a:pt x="12084" y="4652"/>
                    </a:moveTo>
                    <a:cubicBezTo>
                      <a:pt x="12075" y="4657"/>
                      <a:pt x="12075" y="4657"/>
                      <a:pt x="12075" y="4657"/>
                    </a:cubicBezTo>
                    <a:cubicBezTo>
                      <a:pt x="12116" y="4738"/>
                      <a:pt x="12116" y="4738"/>
                      <a:pt x="12116" y="4738"/>
                    </a:cubicBezTo>
                    <a:cubicBezTo>
                      <a:pt x="12201" y="4692"/>
                      <a:pt x="12201" y="4692"/>
                      <a:pt x="12201" y="4692"/>
                    </a:cubicBezTo>
                    <a:cubicBezTo>
                      <a:pt x="12175" y="4641"/>
                      <a:pt x="12175" y="4641"/>
                      <a:pt x="12175" y="4641"/>
                    </a:cubicBezTo>
                    <a:cubicBezTo>
                      <a:pt x="12240" y="4608"/>
                      <a:pt x="12240" y="4608"/>
                      <a:pt x="12240" y="4608"/>
                    </a:cubicBezTo>
                    <a:cubicBezTo>
                      <a:pt x="12202" y="4533"/>
                      <a:pt x="12202" y="4533"/>
                      <a:pt x="12202" y="4533"/>
                    </a:cubicBezTo>
                    <a:cubicBezTo>
                      <a:pt x="12060" y="4605"/>
                      <a:pt x="12060" y="4605"/>
                      <a:pt x="12060" y="4605"/>
                    </a:cubicBezTo>
                    <a:lnTo>
                      <a:pt x="12084" y="4652"/>
                    </a:lnTo>
                    <a:close/>
                    <a:moveTo>
                      <a:pt x="11717" y="4754"/>
                    </a:moveTo>
                    <a:cubicBezTo>
                      <a:pt x="11667" y="4738"/>
                      <a:pt x="11667" y="4738"/>
                      <a:pt x="11667" y="4738"/>
                    </a:cubicBezTo>
                    <a:cubicBezTo>
                      <a:pt x="11725" y="4562"/>
                      <a:pt x="11725" y="4562"/>
                      <a:pt x="11725" y="4562"/>
                    </a:cubicBezTo>
                    <a:cubicBezTo>
                      <a:pt x="11829" y="4596"/>
                      <a:pt x="11829" y="4596"/>
                      <a:pt x="11829" y="4596"/>
                    </a:cubicBezTo>
                    <a:cubicBezTo>
                      <a:pt x="11806" y="4665"/>
                      <a:pt x="11806" y="4665"/>
                      <a:pt x="11806" y="4665"/>
                    </a:cubicBezTo>
                    <a:cubicBezTo>
                      <a:pt x="11861" y="4683"/>
                      <a:pt x="11861" y="4683"/>
                      <a:pt x="11861" y="4683"/>
                    </a:cubicBezTo>
                    <a:cubicBezTo>
                      <a:pt x="11859" y="4689"/>
                      <a:pt x="11859" y="4689"/>
                      <a:pt x="11859" y="4689"/>
                    </a:cubicBezTo>
                    <a:cubicBezTo>
                      <a:pt x="11826" y="4801"/>
                      <a:pt x="11826" y="4801"/>
                      <a:pt x="11826" y="4801"/>
                    </a:cubicBezTo>
                    <a:cubicBezTo>
                      <a:pt x="11714" y="4764"/>
                      <a:pt x="11714" y="4764"/>
                      <a:pt x="11714" y="4764"/>
                    </a:cubicBezTo>
                    <a:lnTo>
                      <a:pt x="11717" y="4754"/>
                    </a:lnTo>
                    <a:close/>
                    <a:moveTo>
                      <a:pt x="11734" y="4746"/>
                    </a:moveTo>
                    <a:cubicBezTo>
                      <a:pt x="11730" y="4756"/>
                      <a:pt x="11730" y="4756"/>
                      <a:pt x="11730" y="4756"/>
                    </a:cubicBezTo>
                    <a:cubicBezTo>
                      <a:pt x="11817" y="4784"/>
                      <a:pt x="11817" y="4784"/>
                      <a:pt x="11817" y="4784"/>
                    </a:cubicBezTo>
                    <a:cubicBezTo>
                      <a:pt x="11845" y="4691"/>
                      <a:pt x="11845" y="4691"/>
                      <a:pt x="11845" y="4691"/>
                    </a:cubicBezTo>
                    <a:cubicBezTo>
                      <a:pt x="11790" y="4674"/>
                      <a:pt x="11790" y="4674"/>
                      <a:pt x="11790" y="4674"/>
                    </a:cubicBezTo>
                    <a:cubicBezTo>
                      <a:pt x="11812" y="4604"/>
                      <a:pt x="11812" y="4604"/>
                      <a:pt x="11812" y="4604"/>
                    </a:cubicBezTo>
                    <a:cubicBezTo>
                      <a:pt x="11733" y="4578"/>
                      <a:pt x="11733" y="4578"/>
                      <a:pt x="11733" y="4578"/>
                    </a:cubicBezTo>
                    <a:cubicBezTo>
                      <a:pt x="11684" y="4730"/>
                      <a:pt x="11684" y="4730"/>
                      <a:pt x="11684" y="4730"/>
                    </a:cubicBezTo>
                    <a:lnTo>
                      <a:pt x="11734" y="4746"/>
                    </a:lnTo>
                    <a:close/>
                    <a:moveTo>
                      <a:pt x="2452" y="9042"/>
                    </a:moveTo>
                    <a:cubicBezTo>
                      <a:pt x="2301" y="9027"/>
                      <a:pt x="2301" y="9027"/>
                      <a:pt x="2301" y="9027"/>
                    </a:cubicBezTo>
                    <a:cubicBezTo>
                      <a:pt x="2308" y="8952"/>
                      <a:pt x="2308" y="8952"/>
                      <a:pt x="2308" y="8952"/>
                    </a:cubicBezTo>
                    <a:cubicBezTo>
                      <a:pt x="2315" y="8953"/>
                      <a:pt x="2315" y="8953"/>
                      <a:pt x="2315" y="8953"/>
                    </a:cubicBezTo>
                    <a:cubicBezTo>
                      <a:pt x="2459" y="8967"/>
                      <a:pt x="2459" y="8967"/>
                      <a:pt x="2459" y="8967"/>
                    </a:cubicBezTo>
                    <a:lnTo>
                      <a:pt x="2452" y="9042"/>
                    </a:lnTo>
                    <a:close/>
                    <a:moveTo>
                      <a:pt x="2445" y="8978"/>
                    </a:moveTo>
                    <a:cubicBezTo>
                      <a:pt x="2320" y="8966"/>
                      <a:pt x="2320" y="8966"/>
                      <a:pt x="2320" y="8966"/>
                    </a:cubicBezTo>
                    <a:cubicBezTo>
                      <a:pt x="2315" y="9016"/>
                      <a:pt x="2315" y="9016"/>
                      <a:pt x="2315" y="9016"/>
                    </a:cubicBezTo>
                    <a:cubicBezTo>
                      <a:pt x="2440" y="9028"/>
                      <a:pt x="2440" y="9028"/>
                      <a:pt x="2440" y="9028"/>
                    </a:cubicBezTo>
                    <a:lnTo>
                      <a:pt x="2445" y="8978"/>
                    </a:lnTo>
                    <a:close/>
                    <a:moveTo>
                      <a:pt x="2504" y="9182"/>
                    </a:moveTo>
                    <a:cubicBezTo>
                      <a:pt x="2516" y="9285"/>
                      <a:pt x="2516" y="9285"/>
                      <a:pt x="2516" y="9285"/>
                    </a:cubicBezTo>
                    <a:cubicBezTo>
                      <a:pt x="2370" y="9303"/>
                      <a:pt x="2370" y="9303"/>
                      <a:pt x="2370" y="9303"/>
                    </a:cubicBezTo>
                    <a:cubicBezTo>
                      <a:pt x="2369" y="9297"/>
                      <a:pt x="2369" y="9297"/>
                      <a:pt x="2369" y="9297"/>
                    </a:cubicBezTo>
                    <a:cubicBezTo>
                      <a:pt x="2357" y="9200"/>
                      <a:pt x="2357" y="9200"/>
                      <a:pt x="2357" y="9200"/>
                    </a:cubicBezTo>
                    <a:lnTo>
                      <a:pt x="2504" y="9182"/>
                    </a:lnTo>
                    <a:close/>
                    <a:moveTo>
                      <a:pt x="2502" y="9274"/>
                    </a:moveTo>
                    <a:cubicBezTo>
                      <a:pt x="2492" y="9196"/>
                      <a:pt x="2492" y="9196"/>
                      <a:pt x="2492" y="9196"/>
                    </a:cubicBezTo>
                    <a:cubicBezTo>
                      <a:pt x="2371" y="9211"/>
                      <a:pt x="2371" y="9211"/>
                      <a:pt x="2371" y="9211"/>
                    </a:cubicBezTo>
                    <a:cubicBezTo>
                      <a:pt x="2381" y="9289"/>
                      <a:pt x="2381" y="9289"/>
                      <a:pt x="2381" y="9289"/>
                    </a:cubicBezTo>
                    <a:lnTo>
                      <a:pt x="2502" y="9274"/>
                    </a:lnTo>
                    <a:close/>
                    <a:moveTo>
                      <a:pt x="11407" y="4866"/>
                    </a:moveTo>
                    <a:cubicBezTo>
                      <a:pt x="11358" y="4850"/>
                      <a:pt x="11358" y="4850"/>
                      <a:pt x="11358" y="4850"/>
                    </a:cubicBezTo>
                    <a:cubicBezTo>
                      <a:pt x="11415" y="4674"/>
                      <a:pt x="11415" y="4674"/>
                      <a:pt x="11415" y="4674"/>
                    </a:cubicBezTo>
                    <a:cubicBezTo>
                      <a:pt x="11519" y="4708"/>
                      <a:pt x="11519" y="4708"/>
                      <a:pt x="11519" y="4708"/>
                    </a:cubicBezTo>
                    <a:cubicBezTo>
                      <a:pt x="11497" y="4777"/>
                      <a:pt x="11497" y="4777"/>
                      <a:pt x="11497" y="4777"/>
                    </a:cubicBezTo>
                    <a:cubicBezTo>
                      <a:pt x="11551" y="4795"/>
                      <a:pt x="11551" y="4795"/>
                      <a:pt x="11551" y="4795"/>
                    </a:cubicBezTo>
                    <a:cubicBezTo>
                      <a:pt x="11549" y="4801"/>
                      <a:pt x="11549" y="4801"/>
                      <a:pt x="11549" y="4801"/>
                    </a:cubicBezTo>
                    <a:cubicBezTo>
                      <a:pt x="11516" y="4913"/>
                      <a:pt x="11516" y="4913"/>
                      <a:pt x="11516" y="4913"/>
                    </a:cubicBezTo>
                    <a:cubicBezTo>
                      <a:pt x="11404" y="4876"/>
                      <a:pt x="11404" y="4876"/>
                      <a:pt x="11404" y="4876"/>
                    </a:cubicBezTo>
                    <a:lnTo>
                      <a:pt x="11407" y="4866"/>
                    </a:lnTo>
                    <a:close/>
                    <a:moveTo>
                      <a:pt x="11424" y="4858"/>
                    </a:moveTo>
                    <a:cubicBezTo>
                      <a:pt x="11421" y="4868"/>
                      <a:pt x="11421" y="4868"/>
                      <a:pt x="11421" y="4868"/>
                    </a:cubicBezTo>
                    <a:cubicBezTo>
                      <a:pt x="11507" y="4896"/>
                      <a:pt x="11507" y="4896"/>
                      <a:pt x="11507" y="4896"/>
                    </a:cubicBezTo>
                    <a:cubicBezTo>
                      <a:pt x="11535" y="4803"/>
                      <a:pt x="11535" y="4803"/>
                      <a:pt x="11535" y="4803"/>
                    </a:cubicBezTo>
                    <a:cubicBezTo>
                      <a:pt x="11480" y="4786"/>
                      <a:pt x="11480" y="4786"/>
                      <a:pt x="11480" y="4786"/>
                    </a:cubicBezTo>
                    <a:cubicBezTo>
                      <a:pt x="11503" y="4716"/>
                      <a:pt x="11503" y="4716"/>
                      <a:pt x="11503" y="4716"/>
                    </a:cubicBezTo>
                    <a:cubicBezTo>
                      <a:pt x="11423" y="4690"/>
                      <a:pt x="11423" y="4690"/>
                      <a:pt x="11423" y="4690"/>
                    </a:cubicBezTo>
                    <a:cubicBezTo>
                      <a:pt x="11374" y="4842"/>
                      <a:pt x="11374" y="4842"/>
                      <a:pt x="11374" y="4842"/>
                    </a:cubicBezTo>
                    <a:lnTo>
                      <a:pt x="11424" y="4858"/>
                    </a:lnTo>
                    <a:close/>
                    <a:moveTo>
                      <a:pt x="9302" y="8444"/>
                    </a:moveTo>
                    <a:cubicBezTo>
                      <a:pt x="9108" y="8506"/>
                      <a:pt x="9108" y="8506"/>
                      <a:pt x="9108" y="8506"/>
                    </a:cubicBezTo>
                    <a:cubicBezTo>
                      <a:pt x="9092" y="8454"/>
                      <a:pt x="9092" y="8454"/>
                      <a:pt x="9092" y="8454"/>
                    </a:cubicBezTo>
                    <a:cubicBezTo>
                      <a:pt x="9085" y="8456"/>
                      <a:pt x="9085" y="8456"/>
                      <a:pt x="9085" y="8456"/>
                    </a:cubicBezTo>
                    <a:cubicBezTo>
                      <a:pt x="9079" y="8458"/>
                      <a:pt x="9079" y="8458"/>
                      <a:pt x="9079" y="8458"/>
                    </a:cubicBezTo>
                    <a:cubicBezTo>
                      <a:pt x="9049" y="8364"/>
                      <a:pt x="9049" y="8364"/>
                      <a:pt x="9049" y="8364"/>
                    </a:cubicBezTo>
                    <a:cubicBezTo>
                      <a:pt x="9055" y="8362"/>
                      <a:pt x="9055" y="8362"/>
                      <a:pt x="9055" y="8362"/>
                    </a:cubicBezTo>
                    <a:cubicBezTo>
                      <a:pt x="9148" y="8332"/>
                      <a:pt x="9148" y="8332"/>
                      <a:pt x="9148" y="8332"/>
                    </a:cubicBezTo>
                    <a:cubicBezTo>
                      <a:pt x="9120" y="8245"/>
                      <a:pt x="9120" y="8245"/>
                      <a:pt x="9120" y="8245"/>
                    </a:cubicBezTo>
                    <a:cubicBezTo>
                      <a:pt x="9257" y="8201"/>
                      <a:pt x="9257" y="8201"/>
                      <a:pt x="9257" y="8201"/>
                    </a:cubicBezTo>
                    <a:cubicBezTo>
                      <a:pt x="9280" y="8273"/>
                      <a:pt x="9280" y="8273"/>
                      <a:pt x="9280" y="8273"/>
                    </a:cubicBezTo>
                    <a:cubicBezTo>
                      <a:pt x="9345" y="8252"/>
                      <a:pt x="9345" y="8252"/>
                      <a:pt x="9345" y="8252"/>
                    </a:cubicBezTo>
                    <a:cubicBezTo>
                      <a:pt x="9368" y="8324"/>
                      <a:pt x="9368" y="8324"/>
                      <a:pt x="9368" y="8324"/>
                    </a:cubicBezTo>
                    <a:cubicBezTo>
                      <a:pt x="9194" y="8380"/>
                      <a:pt x="9194" y="8380"/>
                      <a:pt x="9194" y="8380"/>
                    </a:cubicBezTo>
                    <a:cubicBezTo>
                      <a:pt x="9199" y="8395"/>
                      <a:pt x="9199" y="8395"/>
                      <a:pt x="9199" y="8395"/>
                    </a:cubicBezTo>
                    <a:cubicBezTo>
                      <a:pt x="9278" y="8369"/>
                      <a:pt x="9278" y="8369"/>
                      <a:pt x="9278" y="8369"/>
                    </a:cubicBezTo>
                    <a:lnTo>
                      <a:pt x="9302" y="8444"/>
                    </a:lnTo>
                    <a:close/>
                    <a:moveTo>
                      <a:pt x="9117" y="8490"/>
                    </a:moveTo>
                    <a:cubicBezTo>
                      <a:pt x="9286" y="8435"/>
                      <a:pt x="9286" y="8435"/>
                      <a:pt x="9286" y="8435"/>
                    </a:cubicBezTo>
                    <a:cubicBezTo>
                      <a:pt x="9270" y="8386"/>
                      <a:pt x="9270" y="8386"/>
                      <a:pt x="9270" y="8386"/>
                    </a:cubicBezTo>
                    <a:cubicBezTo>
                      <a:pt x="9190" y="8411"/>
                      <a:pt x="9190" y="8411"/>
                      <a:pt x="9190" y="8411"/>
                    </a:cubicBezTo>
                    <a:cubicBezTo>
                      <a:pt x="9177" y="8372"/>
                      <a:pt x="9177" y="8372"/>
                      <a:pt x="9177" y="8372"/>
                    </a:cubicBezTo>
                    <a:cubicBezTo>
                      <a:pt x="9351" y="8316"/>
                      <a:pt x="9351" y="8316"/>
                      <a:pt x="9351" y="8316"/>
                    </a:cubicBezTo>
                    <a:cubicBezTo>
                      <a:pt x="9336" y="8268"/>
                      <a:pt x="9336" y="8268"/>
                      <a:pt x="9336" y="8268"/>
                    </a:cubicBezTo>
                    <a:cubicBezTo>
                      <a:pt x="9271" y="8289"/>
                      <a:pt x="9271" y="8289"/>
                      <a:pt x="9271" y="8289"/>
                    </a:cubicBezTo>
                    <a:cubicBezTo>
                      <a:pt x="9248" y="8217"/>
                      <a:pt x="9248" y="8217"/>
                      <a:pt x="9248" y="8217"/>
                    </a:cubicBezTo>
                    <a:cubicBezTo>
                      <a:pt x="9136" y="8253"/>
                      <a:pt x="9136" y="8253"/>
                      <a:pt x="9136" y="8253"/>
                    </a:cubicBezTo>
                    <a:cubicBezTo>
                      <a:pt x="9165" y="8340"/>
                      <a:pt x="9165" y="8340"/>
                      <a:pt x="9165" y="8340"/>
                    </a:cubicBezTo>
                    <a:cubicBezTo>
                      <a:pt x="9065" y="8372"/>
                      <a:pt x="9065" y="8372"/>
                      <a:pt x="9065" y="8372"/>
                    </a:cubicBezTo>
                    <a:cubicBezTo>
                      <a:pt x="9088" y="8442"/>
                      <a:pt x="9088" y="8442"/>
                      <a:pt x="9088" y="8442"/>
                    </a:cubicBezTo>
                    <a:cubicBezTo>
                      <a:pt x="9094" y="8440"/>
                      <a:pt x="9094" y="8440"/>
                      <a:pt x="9094" y="8440"/>
                    </a:cubicBezTo>
                    <a:cubicBezTo>
                      <a:pt x="9100" y="8438"/>
                      <a:pt x="9100" y="8438"/>
                      <a:pt x="9100" y="8438"/>
                    </a:cubicBezTo>
                    <a:lnTo>
                      <a:pt x="9117" y="8490"/>
                    </a:lnTo>
                    <a:close/>
                    <a:moveTo>
                      <a:pt x="1602" y="8481"/>
                    </a:moveTo>
                    <a:cubicBezTo>
                      <a:pt x="1499" y="8720"/>
                      <a:pt x="1499" y="8720"/>
                      <a:pt x="1499" y="8720"/>
                    </a:cubicBezTo>
                    <a:cubicBezTo>
                      <a:pt x="1390" y="8615"/>
                      <a:pt x="1390" y="8615"/>
                      <a:pt x="1390" y="8615"/>
                    </a:cubicBezTo>
                    <a:cubicBezTo>
                      <a:pt x="1443" y="8527"/>
                      <a:pt x="1443" y="8527"/>
                      <a:pt x="1443" y="8527"/>
                    </a:cubicBezTo>
                    <a:cubicBezTo>
                      <a:pt x="1249" y="8363"/>
                      <a:pt x="1249" y="8363"/>
                      <a:pt x="1249" y="8363"/>
                    </a:cubicBezTo>
                    <a:cubicBezTo>
                      <a:pt x="1505" y="8048"/>
                      <a:pt x="1505" y="8048"/>
                      <a:pt x="1505" y="8048"/>
                    </a:cubicBezTo>
                    <a:cubicBezTo>
                      <a:pt x="1895" y="8347"/>
                      <a:pt x="1895" y="8347"/>
                      <a:pt x="1895" y="8347"/>
                    </a:cubicBezTo>
                    <a:cubicBezTo>
                      <a:pt x="1893" y="8352"/>
                      <a:pt x="1893" y="8352"/>
                      <a:pt x="1893" y="8352"/>
                    </a:cubicBezTo>
                    <a:cubicBezTo>
                      <a:pt x="1838" y="8469"/>
                      <a:pt x="1838" y="8469"/>
                      <a:pt x="1838" y="8469"/>
                    </a:cubicBezTo>
                    <a:cubicBezTo>
                      <a:pt x="1604" y="8338"/>
                      <a:pt x="1604" y="8338"/>
                      <a:pt x="1604" y="8338"/>
                    </a:cubicBezTo>
                    <a:cubicBezTo>
                      <a:pt x="1640" y="8285"/>
                      <a:pt x="1640" y="8285"/>
                      <a:pt x="1640" y="8285"/>
                    </a:cubicBezTo>
                    <a:cubicBezTo>
                      <a:pt x="1540" y="8221"/>
                      <a:pt x="1540" y="8221"/>
                      <a:pt x="1540" y="8221"/>
                    </a:cubicBezTo>
                    <a:cubicBezTo>
                      <a:pt x="1434" y="8355"/>
                      <a:pt x="1434" y="8355"/>
                      <a:pt x="1434" y="8355"/>
                    </a:cubicBezTo>
                    <a:lnTo>
                      <a:pt x="1602" y="8481"/>
                    </a:lnTo>
                    <a:close/>
                    <a:moveTo>
                      <a:pt x="1583" y="8486"/>
                    </a:moveTo>
                    <a:cubicBezTo>
                      <a:pt x="1413" y="8358"/>
                      <a:pt x="1413" y="8358"/>
                      <a:pt x="1413" y="8358"/>
                    </a:cubicBezTo>
                    <a:cubicBezTo>
                      <a:pt x="1536" y="8201"/>
                      <a:pt x="1536" y="8201"/>
                      <a:pt x="1536" y="8201"/>
                    </a:cubicBezTo>
                    <a:cubicBezTo>
                      <a:pt x="1660" y="8281"/>
                      <a:pt x="1660" y="8281"/>
                      <a:pt x="1660" y="8281"/>
                    </a:cubicBezTo>
                    <a:cubicBezTo>
                      <a:pt x="1625" y="8333"/>
                      <a:pt x="1625" y="8333"/>
                      <a:pt x="1625" y="8333"/>
                    </a:cubicBezTo>
                    <a:cubicBezTo>
                      <a:pt x="1831" y="8449"/>
                      <a:pt x="1831" y="8449"/>
                      <a:pt x="1831" y="8449"/>
                    </a:cubicBezTo>
                    <a:cubicBezTo>
                      <a:pt x="1877" y="8351"/>
                      <a:pt x="1877" y="8351"/>
                      <a:pt x="1877" y="8351"/>
                    </a:cubicBezTo>
                    <a:cubicBezTo>
                      <a:pt x="1507" y="8068"/>
                      <a:pt x="1507" y="8068"/>
                      <a:pt x="1507" y="8068"/>
                    </a:cubicBezTo>
                    <a:cubicBezTo>
                      <a:pt x="1269" y="8361"/>
                      <a:pt x="1269" y="8361"/>
                      <a:pt x="1269" y="8361"/>
                    </a:cubicBezTo>
                    <a:cubicBezTo>
                      <a:pt x="1462" y="8524"/>
                      <a:pt x="1462" y="8524"/>
                      <a:pt x="1462" y="8524"/>
                    </a:cubicBezTo>
                    <a:cubicBezTo>
                      <a:pt x="1409" y="8613"/>
                      <a:pt x="1409" y="8613"/>
                      <a:pt x="1409" y="8613"/>
                    </a:cubicBezTo>
                    <a:cubicBezTo>
                      <a:pt x="1494" y="8694"/>
                      <a:pt x="1494" y="8694"/>
                      <a:pt x="1494" y="8694"/>
                    </a:cubicBezTo>
                    <a:lnTo>
                      <a:pt x="1583" y="8486"/>
                    </a:lnTo>
                    <a:close/>
                    <a:moveTo>
                      <a:pt x="1867" y="9102"/>
                    </a:moveTo>
                    <a:cubicBezTo>
                      <a:pt x="1953" y="8982"/>
                      <a:pt x="1953" y="8982"/>
                      <a:pt x="1953" y="8982"/>
                    </a:cubicBezTo>
                    <a:cubicBezTo>
                      <a:pt x="2038" y="9043"/>
                      <a:pt x="2038" y="9043"/>
                      <a:pt x="2038" y="9043"/>
                    </a:cubicBezTo>
                    <a:cubicBezTo>
                      <a:pt x="1952" y="9163"/>
                      <a:pt x="1952" y="9163"/>
                      <a:pt x="1952" y="9163"/>
                    </a:cubicBezTo>
                    <a:cubicBezTo>
                      <a:pt x="1947" y="9159"/>
                      <a:pt x="1947" y="9159"/>
                      <a:pt x="1947" y="9159"/>
                    </a:cubicBezTo>
                    <a:lnTo>
                      <a:pt x="1867" y="9102"/>
                    </a:lnTo>
                    <a:close/>
                    <a:moveTo>
                      <a:pt x="1885" y="9100"/>
                    </a:moveTo>
                    <a:cubicBezTo>
                      <a:pt x="1949" y="9145"/>
                      <a:pt x="1949" y="9145"/>
                      <a:pt x="1949" y="9145"/>
                    </a:cubicBezTo>
                    <a:cubicBezTo>
                      <a:pt x="2020" y="9046"/>
                      <a:pt x="2020" y="9046"/>
                      <a:pt x="2020" y="9046"/>
                    </a:cubicBezTo>
                    <a:cubicBezTo>
                      <a:pt x="1956" y="9000"/>
                      <a:pt x="1956" y="9000"/>
                      <a:pt x="1956" y="9000"/>
                    </a:cubicBezTo>
                    <a:lnTo>
                      <a:pt x="1885" y="9100"/>
                    </a:lnTo>
                    <a:close/>
                    <a:moveTo>
                      <a:pt x="12363" y="4313"/>
                    </a:moveTo>
                    <a:cubicBezTo>
                      <a:pt x="12439" y="4313"/>
                      <a:pt x="12439" y="4313"/>
                      <a:pt x="12439" y="4313"/>
                    </a:cubicBezTo>
                    <a:cubicBezTo>
                      <a:pt x="12439" y="4404"/>
                      <a:pt x="12439" y="4404"/>
                      <a:pt x="12439" y="4404"/>
                    </a:cubicBezTo>
                    <a:cubicBezTo>
                      <a:pt x="12363" y="4404"/>
                      <a:pt x="12363" y="4404"/>
                      <a:pt x="12363" y="4404"/>
                    </a:cubicBezTo>
                    <a:cubicBezTo>
                      <a:pt x="12363" y="4397"/>
                      <a:pt x="12363" y="4397"/>
                      <a:pt x="12363" y="4397"/>
                    </a:cubicBezTo>
                    <a:lnTo>
                      <a:pt x="12363" y="4313"/>
                    </a:lnTo>
                    <a:close/>
                    <a:moveTo>
                      <a:pt x="12376" y="4391"/>
                    </a:moveTo>
                    <a:cubicBezTo>
                      <a:pt x="12426" y="4391"/>
                      <a:pt x="12426" y="4391"/>
                      <a:pt x="12426" y="4391"/>
                    </a:cubicBezTo>
                    <a:cubicBezTo>
                      <a:pt x="12426" y="4326"/>
                      <a:pt x="12426" y="4326"/>
                      <a:pt x="12426" y="4326"/>
                    </a:cubicBezTo>
                    <a:cubicBezTo>
                      <a:pt x="12376" y="4326"/>
                      <a:pt x="12376" y="4326"/>
                      <a:pt x="12376" y="4326"/>
                    </a:cubicBezTo>
                    <a:lnTo>
                      <a:pt x="12376" y="4391"/>
                    </a:lnTo>
                    <a:close/>
                    <a:moveTo>
                      <a:pt x="10844" y="4984"/>
                    </a:moveTo>
                    <a:cubicBezTo>
                      <a:pt x="10772" y="5007"/>
                      <a:pt x="10772" y="5007"/>
                      <a:pt x="10772" y="5007"/>
                    </a:cubicBezTo>
                    <a:cubicBezTo>
                      <a:pt x="10770" y="5001"/>
                      <a:pt x="10770" y="5001"/>
                      <a:pt x="10770" y="5001"/>
                    </a:cubicBezTo>
                    <a:cubicBezTo>
                      <a:pt x="10727" y="4862"/>
                      <a:pt x="10727" y="4862"/>
                      <a:pt x="10727" y="4862"/>
                    </a:cubicBezTo>
                    <a:cubicBezTo>
                      <a:pt x="10799" y="4840"/>
                      <a:pt x="10799" y="4840"/>
                      <a:pt x="10799" y="4840"/>
                    </a:cubicBezTo>
                    <a:lnTo>
                      <a:pt x="10844" y="4984"/>
                    </a:lnTo>
                    <a:close/>
                    <a:moveTo>
                      <a:pt x="10780" y="4990"/>
                    </a:moveTo>
                    <a:cubicBezTo>
                      <a:pt x="10828" y="4976"/>
                      <a:pt x="10828" y="4976"/>
                      <a:pt x="10828" y="4976"/>
                    </a:cubicBezTo>
                    <a:cubicBezTo>
                      <a:pt x="10791" y="4856"/>
                      <a:pt x="10791" y="4856"/>
                      <a:pt x="10791" y="4856"/>
                    </a:cubicBezTo>
                    <a:cubicBezTo>
                      <a:pt x="10743" y="4871"/>
                      <a:pt x="10743" y="4871"/>
                      <a:pt x="10743" y="4871"/>
                    </a:cubicBezTo>
                    <a:lnTo>
                      <a:pt x="10780" y="4990"/>
                    </a:lnTo>
                    <a:close/>
                    <a:moveTo>
                      <a:pt x="9342" y="5441"/>
                    </a:moveTo>
                    <a:cubicBezTo>
                      <a:pt x="9415" y="5419"/>
                      <a:pt x="9415" y="5419"/>
                      <a:pt x="9415" y="5419"/>
                    </a:cubicBezTo>
                    <a:cubicBezTo>
                      <a:pt x="9459" y="5564"/>
                      <a:pt x="9459" y="5564"/>
                      <a:pt x="9459" y="5564"/>
                    </a:cubicBezTo>
                    <a:cubicBezTo>
                      <a:pt x="9387" y="5586"/>
                      <a:pt x="9387" y="5586"/>
                      <a:pt x="9387" y="5586"/>
                    </a:cubicBezTo>
                    <a:cubicBezTo>
                      <a:pt x="9385" y="5580"/>
                      <a:pt x="9385" y="5580"/>
                      <a:pt x="9385" y="5580"/>
                    </a:cubicBezTo>
                    <a:lnTo>
                      <a:pt x="9342" y="5441"/>
                    </a:lnTo>
                    <a:close/>
                    <a:moveTo>
                      <a:pt x="9406" y="5435"/>
                    </a:moveTo>
                    <a:cubicBezTo>
                      <a:pt x="9359" y="5450"/>
                      <a:pt x="9359" y="5450"/>
                      <a:pt x="9359" y="5450"/>
                    </a:cubicBezTo>
                    <a:cubicBezTo>
                      <a:pt x="9396" y="5570"/>
                      <a:pt x="9396" y="5570"/>
                      <a:pt x="9396" y="5570"/>
                    </a:cubicBezTo>
                    <a:cubicBezTo>
                      <a:pt x="9443" y="5555"/>
                      <a:pt x="9443" y="5555"/>
                      <a:pt x="9443" y="5555"/>
                    </a:cubicBezTo>
                    <a:lnTo>
                      <a:pt x="9406" y="5435"/>
                    </a:lnTo>
                    <a:close/>
                    <a:moveTo>
                      <a:pt x="2146" y="8754"/>
                    </a:moveTo>
                    <a:cubicBezTo>
                      <a:pt x="2291" y="8768"/>
                      <a:pt x="2291" y="8768"/>
                      <a:pt x="2291" y="8768"/>
                    </a:cubicBezTo>
                    <a:cubicBezTo>
                      <a:pt x="2283" y="8844"/>
                      <a:pt x="2283" y="8844"/>
                      <a:pt x="2283" y="8844"/>
                    </a:cubicBezTo>
                    <a:cubicBezTo>
                      <a:pt x="2132" y="8829"/>
                      <a:pt x="2132" y="8829"/>
                      <a:pt x="2132" y="8829"/>
                    </a:cubicBezTo>
                    <a:cubicBezTo>
                      <a:pt x="2140" y="8754"/>
                      <a:pt x="2140" y="8754"/>
                      <a:pt x="2140" y="8754"/>
                    </a:cubicBezTo>
                    <a:lnTo>
                      <a:pt x="2146" y="8754"/>
                    </a:lnTo>
                    <a:close/>
                    <a:moveTo>
                      <a:pt x="2147" y="8817"/>
                    </a:moveTo>
                    <a:cubicBezTo>
                      <a:pt x="2272" y="8829"/>
                      <a:pt x="2272" y="8829"/>
                      <a:pt x="2272" y="8829"/>
                    </a:cubicBezTo>
                    <a:cubicBezTo>
                      <a:pt x="2276" y="8780"/>
                      <a:pt x="2276" y="8780"/>
                      <a:pt x="2276" y="8780"/>
                    </a:cubicBezTo>
                    <a:cubicBezTo>
                      <a:pt x="2152" y="8768"/>
                      <a:pt x="2152" y="8768"/>
                      <a:pt x="2152" y="8768"/>
                    </a:cubicBezTo>
                    <a:lnTo>
                      <a:pt x="2147" y="8817"/>
                    </a:lnTo>
                    <a:close/>
                    <a:moveTo>
                      <a:pt x="9751" y="5169"/>
                    </a:moveTo>
                    <a:cubicBezTo>
                      <a:pt x="9823" y="5147"/>
                      <a:pt x="9823" y="5147"/>
                      <a:pt x="9823" y="5147"/>
                    </a:cubicBezTo>
                    <a:cubicBezTo>
                      <a:pt x="9868" y="5292"/>
                      <a:pt x="9868" y="5292"/>
                      <a:pt x="9868" y="5292"/>
                    </a:cubicBezTo>
                    <a:cubicBezTo>
                      <a:pt x="9796" y="5314"/>
                      <a:pt x="9796" y="5314"/>
                      <a:pt x="9796" y="5314"/>
                    </a:cubicBezTo>
                    <a:cubicBezTo>
                      <a:pt x="9794" y="5308"/>
                      <a:pt x="9794" y="5308"/>
                      <a:pt x="9794" y="5308"/>
                    </a:cubicBezTo>
                    <a:lnTo>
                      <a:pt x="9751" y="5169"/>
                    </a:lnTo>
                    <a:close/>
                    <a:moveTo>
                      <a:pt x="9815" y="5163"/>
                    </a:moveTo>
                    <a:cubicBezTo>
                      <a:pt x="9767" y="5178"/>
                      <a:pt x="9767" y="5178"/>
                      <a:pt x="9767" y="5178"/>
                    </a:cubicBezTo>
                    <a:cubicBezTo>
                      <a:pt x="9804" y="5298"/>
                      <a:pt x="9804" y="5298"/>
                      <a:pt x="9804" y="5298"/>
                    </a:cubicBezTo>
                    <a:cubicBezTo>
                      <a:pt x="9852" y="5283"/>
                      <a:pt x="9852" y="5283"/>
                      <a:pt x="9852" y="5283"/>
                    </a:cubicBezTo>
                    <a:lnTo>
                      <a:pt x="9815" y="5163"/>
                    </a:lnTo>
                    <a:close/>
                    <a:moveTo>
                      <a:pt x="10551" y="5082"/>
                    </a:moveTo>
                    <a:cubicBezTo>
                      <a:pt x="10479" y="5104"/>
                      <a:pt x="10479" y="5104"/>
                      <a:pt x="10479" y="5104"/>
                    </a:cubicBezTo>
                    <a:cubicBezTo>
                      <a:pt x="10477" y="5098"/>
                      <a:pt x="10477" y="5098"/>
                      <a:pt x="10477" y="5098"/>
                    </a:cubicBezTo>
                    <a:cubicBezTo>
                      <a:pt x="10434" y="4960"/>
                      <a:pt x="10434" y="4960"/>
                      <a:pt x="10434" y="4960"/>
                    </a:cubicBezTo>
                    <a:cubicBezTo>
                      <a:pt x="10507" y="4937"/>
                      <a:pt x="10507" y="4937"/>
                      <a:pt x="10507" y="4937"/>
                    </a:cubicBezTo>
                    <a:lnTo>
                      <a:pt x="10551" y="5082"/>
                    </a:lnTo>
                    <a:close/>
                    <a:moveTo>
                      <a:pt x="10488" y="5088"/>
                    </a:moveTo>
                    <a:cubicBezTo>
                      <a:pt x="10535" y="5073"/>
                      <a:pt x="10535" y="5073"/>
                      <a:pt x="10535" y="5073"/>
                    </a:cubicBezTo>
                    <a:cubicBezTo>
                      <a:pt x="10498" y="4954"/>
                      <a:pt x="10498" y="4954"/>
                      <a:pt x="10498" y="4954"/>
                    </a:cubicBezTo>
                    <a:cubicBezTo>
                      <a:pt x="10451" y="4968"/>
                      <a:pt x="10451" y="4968"/>
                      <a:pt x="10451" y="4968"/>
                    </a:cubicBezTo>
                    <a:lnTo>
                      <a:pt x="10488" y="5088"/>
                    </a:lnTo>
                    <a:close/>
                    <a:moveTo>
                      <a:pt x="11223" y="4898"/>
                    </a:moveTo>
                    <a:cubicBezTo>
                      <a:pt x="11221" y="4904"/>
                      <a:pt x="11221" y="4904"/>
                      <a:pt x="11221" y="4904"/>
                    </a:cubicBezTo>
                    <a:cubicBezTo>
                      <a:pt x="11188" y="5015"/>
                      <a:pt x="11188" y="5015"/>
                      <a:pt x="11188" y="5015"/>
                    </a:cubicBezTo>
                    <a:cubicBezTo>
                      <a:pt x="11076" y="4979"/>
                      <a:pt x="11076" y="4979"/>
                      <a:pt x="11076" y="4979"/>
                    </a:cubicBezTo>
                    <a:cubicBezTo>
                      <a:pt x="11079" y="4969"/>
                      <a:pt x="11079" y="4969"/>
                      <a:pt x="11079" y="4969"/>
                    </a:cubicBezTo>
                    <a:cubicBezTo>
                      <a:pt x="11030" y="4953"/>
                      <a:pt x="11030" y="4953"/>
                      <a:pt x="11030" y="4953"/>
                    </a:cubicBezTo>
                    <a:cubicBezTo>
                      <a:pt x="11087" y="4777"/>
                      <a:pt x="11087" y="4777"/>
                      <a:pt x="11087" y="4777"/>
                    </a:cubicBezTo>
                    <a:cubicBezTo>
                      <a:pt x="11191" y="4810"/>
                      <a:pt x="11191" y="4810"/>
                      <a:pt x="11191" y="4810"/>
                    </a:cubicBezTo>
                    <a:cubicBezTo>
                      <a:pt x="11169" y="4880"/>
                      <a:pt x="11169" y="4880"/>
                      <a:pt x="11169" y="4880"/>
                    </a:cubicBezTo>
                    <a:lnTo>
                      <a:pt x="11223" y="4898"/>
                    </a:lnTo>
                    <a:close/>
                    <a:moveTo>
                      <a:pt x="11207" y="4906"/>
                    </a:moveTo>
                    <a:cubicBezTo>
                      <a:pt x="11152" y="4888"/>
                      <a:pt x="11152" y="4888"/>
                      <a:pt x="11152" y="4888"/>
                    </a:cubicBezTo>
                    <a:cubicBezTo>
                      <a:pt x="11175" y="4819"/>
                      <a:pt x="11175" y="4819"/>
                      <a:pt x="11175" y="4819"/>
                    </a:cubicBezTo>
                    <a:cubicBezTo>
                      <a:pt x="11095" y="4793"/>
                      <a:pt x="11095" y="4793"/>
                      <a:pt x="11095" y="4793"/>
                    </a:cubicBezTo>
                    <a:cubicBezTo>
                      <a:pt x="11046" y="4945"/>
                      <a:pt x="11046" y="4945"/>
                      <a:pt x="11046" y="4945"/>
                    </a:cubicBezTo>
                    <a:cubicBezTo>
                      <a:pt x="11096" y="4961"/>
                      <a:pt x="11096" y="4961"/>
                      <a:pt x="11096" y="4961"/>
                    </a:cubicBezTo>
                    <a:cubicBezTo>
                      <a:pt x="11093" y="4971"/>
                      <a:pt x="11093" y="4971"/>
                      <a:pt x="11093" y="4971"/>
                    </a:cubicBezTo>
                    <a:cubicBezTo>
                      <a:pt x="11179" y="4999"/>
                      <a:pt x="11179" y="4999"/>
                      <a:pt x="11179" y="4999"/>
                    </a:cubicBezTo>
                    <a:lnTo>
                      <a:pt x="11207" y="4906"/>
                    </a:lnTo>
                    <a:close/>
                    <a:moveTo>
                      <a:pt x="2216" y="9161"/>
                    </a:moveTo>
                    <a:cubicBezTo>
                      <a:pt x="2130" y="9282"/>
                      <a:pt x="2130" y="9282"/>
                      <a:pt x="2130" y="9282"/>
                    </a:cubicBezTo>
                    <a:cubicBezTo>
                      <a:pt x="2125" y="9278"/>
                      <a:pt x="2125" y="9278"/>
                      <a:pt x="2125" y="9278"/>
                    </a:cubicBezTo>
                    <a:cubicBezTo>
                      <a:pt x="2045" y="9221"/>
                      <a:pt x="2045" y="9221"/>
                      <a:pt x="2045" y="9221"/>
                    </a:cubicBezTo>
                    <a:cubicBezTo>
                      <a:pt x="2131" y="9100"/>
                      <a:pt x="2131" y="9100"/>
                      <a:pt x="2131" y="9100"/>
                    </a:cubicBezTo>
                    <a:lnTo>
                      <a:pt x="2216" y="9161"/>
                    </a:lnTo>
                    <a:close/>
                    <a:moveTo>
                      <a:pt x="2198" y="9164"/>
                    </a:moveTo>
                    <a:cubicBezTo>
                      <a:pt x="2134" y="9119"/>
                      <a:pt x="2134" y="9119"/>
                      <a:pt x="2134" y="9119"/>
                    </a:cubicBezTo>
                    <a:cubicBezTo>
                      <a:pt x="2063" y="9218"/>
                      <a:pt x="2063" y="9218"/>
                      <a:pt x="2063" y="9218"/>
                    </a:cubicBezTo>
                    <a:cubicBezTo>
                      <a:pt x="2127" y="9264"/>
                      <a:pt x="2127" y="9264"/>
                      <a:pt x="2127" y="9264"/>
                    </a:cubicBezTo>
                    <a:lnTo>
                      <a:pt x="2198" y="9164"/>
                    </a:lnTo>
                    <a:close/>
                    <a:moveTo>
                      <a:pt x="1024" y="9719"/>
                    </a:moveTo>
                    <a:cubicBezTo>
                      <a:pt x="1007" y="9582"/>
                      <a:pt x="1007" y="9582"/>
                      <a:pt x="1007" y="9582"/>
                    </a:cubicBezTo>
                    <a:cubicBezTo>
                      <a:pt x="1013" y="9581"/>
                      <a:pt x="1013" y="9581"/>
                      <a:pt x="1013" y="9581"/>
                    </a:cubicBezTo>
                    <a:cubicBezTo>
                      <a:pt x="1144" y="9564"/>
                      <a:pt x="1144" y="9564"/>
                      <a:pt x="1144" y="9564"/>
                    </a:cubicBezTo>
                    <a:cubicBezTo>
                      <a:pt x="1161" y="9701"/>
                      <a:pt x="1161" y="9701"/>
                      <a:pt x="1161" y="9701"/>
                    </a:cubicBezTo>
                    <a:lnTo>
                      <a:pt x="1024" y="9719"/>
                    </a:lnTo>
                    <a:close/>
                    <a:moveTo>
                      <a:pt x="1022" y="9593"/>
                    </a:moveTo>
                    <a:cubicBezTo>
                      <a:pt x="1036" y="9704"/>
                      <a:pt x="1036" y="9704"/>
                      <a:pt x="1036" y="9704"/>
                    </a:cubicBezTo>
                    <a:cubicBezTo>
                      <a:pt x="1147" y="9690"/>
                      <a:pt x="1147" y="9690"/>
                      <a:pt x="1147" y="9690"/>
                    </a:cubicBezTo>
                    <a:cubicBezTo>
                      <a:pt x="1132" y="9579"/>
                      <a:pt x="1132" y="9579"/>
                      <a:pt x="1132" y="9579"/>
                    </a:cubicBezTo>
                    <a:lnTo>
                      <a:pt x="1022" y="9593"/>
                    </a:lnTo>
                    <a:close/>
                    <a:moveTo>
                      <a:pt x="1516" y="9980"/>
                    </a:moveTo>
                    <a:cubicBezTo>
                      <a:pt x="1397" y="9911"/>
                      <a:pt x="1397" y="9911"/>
                      <a:pt x="1397" y="9911"/>
                    </a:cubicBezTo>
                    <a:cubicBezTo>
                      <a:pt x="1467" y="9792"/>
                      <a:pt x="1467" y="9792"/>
                      <a:pt x="1467" y="9792"/>
                    </a:cubicBezTo>
                    <a:cubicBezTo>
                      <a:pt x="1472" y="9795"/>
                      <a:pt x="1472" y="9795"/>
                      <a:pt x="1472" y="9795"/>
                    </a:cubicBezTo>
                    <a:cubicBezTo>
                      <a:pt x="1586" y="9861"/>
                      <a:pt x="1586" y="9861"/>
                      <a:pt x="1586" y="9861"/>
                    </a:cubicBezTo>
                    <a:lnTo>
                      <a:pt x="1516" y="9980"/>
                    </a:lnTo>
                    <a:close/>
                    <a:moveTo>
                      <a:pt x="1512" y="9962"/>
                    </a:moveTo>
                    <a:cubicBezTo>
                      <a:pt x="1568" y="9866"/>
                      <a:pt x="1568" y="9866"/>
                      <a:pt x="1568" y="9866"/>
                    </a:cubicBezTo>
                    <a:cubicBezTo>
                      <a:pt x="1471" y="9809"/>
                      <a:pt x="1471" y="9809"/>
                      <a:pt x="1471" y="9809"/>
                    </a:cubicBezTo>
                    <a:cubicBezTo>
                      <a:pt x="1415" y="9906"/>
                      <a:pt x="1415" y="9906"/>
                      <a:pt x="1415" y="9906"/>
                    </a:cubicBezTo>
                    <a:lnTo>
                      <a:pt x="1512" y="9962"/>
                    </a:lnTo>
                    <a:close/>
                    <a:moveTo>
                      <a:pt x="1674" y="9935"/>
                    </a:moveTo>
                    <a:cubicBezTo>
                      <a:pt x="1787" y="10001"/>
                      <a:pt x="1787" y="10001"/>
                      <a:pt x="1787" y="10001"/>
                    </a:cubicBezTo>
                    <a:cubicBezTo>
                      <a:pt x="1717" y="10120"/>
                      <a:pt x="1717" y="10120"/>
                      <a:pt x="1717" y="10120"/>
                    </a:cubicBezTo>
                    <a:cubicBezTo>
                      <a:pt x="1598" y="10051"/>
                      <a:pt x="1598" y="10051"/>
                      <a:pt x="1598" y="10051"/>
                    </a:cubicBezTo>
                    <a:cubicBezTo>
                      <a:pt x="1668" y="9932"/>
                      <a:pt x="1668" y="9932"/>
                      <a:pt x="1668" y="9932"/>
                    </a:cubicBezTo>
                    <a:lnTo>
                      <a:pt x="1674" y="9935"/>
                    </a:lnTo>
                    <a:close/>
                    <a:moveTo>
                      <a:pt x="1769" y="10006"/>
                    </a:moveTo>
                    <a:cubicBezTo>
                      <a:pt x="1673" y="9949"/>
                      <a:pt x="1673" y="9949"/>
                      <a:pt x="1673" y="9949"/>
                    </a:cubicBezTo>
                    <a:cubicBezTo>
                      <a:pt x="1616" y="10046"/>
                      <a:pt x="1616" y="10046"/>
                      <a:pt x="1616" y="10046"/>
                    </a:cubicBezTo>
                    <a:cubicBezTo>
                      <a:pt x="1713" y="10102"/>
                      <a:pt x="1713" y="10102"/>
                      <a:pt x="1713" y="10102"/>
                    </a:cubicBezTo>
                    <a:lnTo>
                      <a:pt x="1769" y="10006"/>
                    </a:lnTo>
                    <a:close/>
                    <a:moveTo>
                      <a:pt x="8436" y="6418"/>
                    </a:moveTo>
                    <a:cubicBezTo>
                      <a:pt x="8438" y="6488"/>
                      <a:pt x="8438" y="6488"/>
                      <a:pt x="8438" y="6488"/>
                    </a:cubicBezTo>
                    <a:cubicBezTo>
                      <a:pt x="8286" y="6492"/>
                      <a:pt x="8286" y="6492"/>
                      <a:pt x="8286" y="6492"/>
                    </a:cubicBezTo>
                    <a:cubicBezTo>
                      <a:pt x="8285" y="6421"/>
                      <a:pt x="8285" y="6421"/>
                      <a:pt x="8285" y="6421"/>
                    </a:cubicBezTo>
                    <a:cubicBezTo>
                      <a:pt x="8291" y="6421"/>
                      <a:pt x="8291" y="6421"/>
                      <a:pt x="8291" y="6421"/>
                    </a:cubicBezTo>
                    <a:lnTo>
                      <a:pt x="8436" y="6418"/>
                    </a:lnTo>
                    <a:close/>
                    <a:moveTo>
                      <a:pt x="8424" y="6476"/>
                    </a:moveTo>
                    <a:cubicBezTo>
                      <a:pt x="8423" y="6431"/>
                      <a:pt x="8423" y="6431"/>
                      <a:pt x="8423" y="6431"/>
                    </a:cubicBezTo>
                    <a:cubicBezTo>
                      <a:pt x="8298" y="6434"/>
                      <a:pt x="8298" y="6434"/>
                      <a:pt x="8298" y="6434"/>
                    </a:cubicBezTo>
                    <a:cubicBezTo>
                      <a:pt x="8299" y="6478"/>
                      <a:pt x="8299" y="6478"/>
                      <a:pt x="8299" y="6478"/>
                    </a:cubicBezTo>
                    <a:lnTo>
                      <a:pt x="8424" y="6476"/>
                    </a:lnTo>
                    <a:close/>
                    <a:moveTo>
                      <a:pt x="5857" y="8190"/>
                    </a:moveTo>
                    <a:cubicBezTo>
                      <a:pt x="5853" y="8073"/>
                      <a:pt x="5853" y="8073"/>
                      <a:pt x="5853" y="8073"/>
                    </a:cubicBezTo>
                    <a:cubicBezTo>
                      <a:pt x="5971" y="8073"/>
                      <a:pt x="5971" y="8073"/>
                      <a:pt x="5971" y="8073"/>
                    </a:cubicBezTo>
                    <a:cubicBezTo>
                      <a:pt x="5971" y="8083"/>
                      <a:pt x="5971" y="8083"/>
                      <a:pt x="5971" y="8083"/>
                    </a:cubicBezTo>
                    <a:cubicBezTo>
                      <a:pt x="6023" y="8083"/>
                      <a:pt x="6023" y="8083"/>
                      <a:pt x="6023" y="8083"/>
                    </a:cubicBezTo>
                    <a:cubicBezTo>
                      <a:pt x="6025" y="8268"/>
                      <a:pt x="6025" y="8268"/>
                      <a:pt x="6025" y="8268"/>
                    </a:cubicBezTo>
                    <a:cubicBezTo>
                      <a:pt x="5915" y="8269"/>
                      <a:pt x="5915" y="8269"/>
                      <a:pt x="5915" y="8269"/>
                    </a:cubicBezTo>
                    <a:cubicBezTo>
                      <a:pt x="5914" y="8196"/>
                      <a:pt x="5914" y="8196"/>
                      <a:pt x="5914" y="8196"/>
                    </a:cubicBezTo>
                    <a:cubicBezTo>
                      <a:pt x="5857" y="8196"/>
                      <a:pt x="5857" y="8196"/>
                      <a:pt x="5857" y="8196"/>
                    </a:cubicBezTo>
                    <a:lnTo>
                      <a:pt x="5857" y="8190"/>
                    </a:lnTo>
                    <a:close/>
                    <a:moveTo>
                      <a:pt x="5867" y="8086"/>
                    </a:moveTo>
                    <a:cubicBezTo>
                      <a:pt x="5870" y="8183"/>
                      <a:pt x="5870" y="8183"/>
                      <a:pt x="5870" y="8183"/>
                    </a:cubicBezTo>
                    <a:cubicBezTo>
                      <a:pt x="5927" y="8183"/>
                      <a:pt x="5927" y="8183"/>
                      <a:pt x="5927" y="8183"/>
                    </a:cubicBezTo>
                    <a:cubicBezTo>
                      <a:pt x="5928" y="8256"/>
                      <a:pt x="5928" y="8256"/>
                      <a:pt x="5928" y="8256"/>
                    </a:cubicBezTo>
                    <a:cubicBezTo>
                      <a:pt x="6011" y="8255"/>
                      <a:pt x="6011" y="8255"/>
                      <a:pt x="6011" y="8255"/>
                    </a:cubicBezTo>
                    <a:cubicBezTo>
                      <a:pt x="6010" y="8096"/>
                      <a:pt x="6010" y="8096"/>
                      <a:pt x="6010" y="8096"/>
                    </a:cubicBezTo>
                    <a:cubicBezTo>
                      <a:pt x="5958" y="8096"/>
                      <a:pt x="5958" y="8096"/>
                      <a:pt x="5958" y="8096"/>
                    </a:cubicBezTo>
                    <a:cubicBezTo>
                      <a:pt x="5958" y="8086"/>
                      <a:pt x="5958" y="8086"/>
                      <a:pt x="5958" y="8086"/>
                    </a:cubicBezTo>
                    <a:lnTo>
                      <a:pt x="5867" y="8086"/>
                    </a:lnTo>
                    <a:close/>
                    <a:moveTo>
                      <a:pt x="6652" y="7664"/>
                    </a:moveTo>
                    <a:cubicBezTo>
                      <a:pt x="6651" y="7513"/>
                      <a:pt x="6651" y="7513"/>
                      <a:pt x="6651" y="7513"/>
                    </a:cubicBezTo>
                    <a:cubicBezTo>
                      <a:pt x="6721" y="7512"/>
                      <a:pt x="6721" y="7512"/>
                      <a:pt x="6721" y="7512"/>
                    </a:cubicBezTo>
                    <a:cubicBezTo>
                      <a:pt x="6721" y="7519"/>
                      <a:pt x="6721" y="7519"/>
                      <a:pt x="6721" y="7519"/>
                    </a:cubicBezTo>
                    <a:cubicBezTo>
                      <a:pt x="6723" y="7664"/>
                      <a:pt x="6723" y="7664"/>
                      <a:pt x="6723" y="7664"/>
                    </a:cubicBezTo>
                    <a:lnTo>
                      <a:pt x="6652" y="7664"/>
                    </a:lnTo>
                    <a:close/>
                    <a:moveTo>
                      <a:pt x="6664" y="7526"/>
                    </a:moveTo>
                    <a:cubicBezTo>
                      <a:pt x="6665" y="7651"/>
                      <a:pt x="6665" y="7651"/>
                      <a:pt x="6665" y="7651"/>
                    </a:cubicBezTo>
                    <a:cubicBezTo>
                      <a:pt x="6709" y="7651"/>
                      <a:pt x="6709" y="7651"/>
                      <a:pt x="6709" y="7651"/>
                    </a:cubicBezTo>
                    <a:cubicBezTo>
                      <a:pt x="6708" y="7525"/>
                      <a:pt x="6708" y="7525"/>
                      <a:pt x="6708" y="7525"/>
                    </a:cubicBezTo>
                    <a:lnTo>
                      <a:pt x="6664" y="7526"/>
                    </a:lnTo>
                    <a:close/>
                    <a:moveTo>
                      <a:pt x="6408" y="8386"/>
                    </a:moveTo>
                    <a:cubicBezTo>
                      <a:pt x="6408" y="8315"/>
                      <a:pt x="6408" y="8315"/>
                      <a:pt x="6408" y="8315"/>
                    </a:cubicBezTo>
                    <a:cubicBezTo>
                      <a:pt x="6415" y="8315"/>
                      <a:pt x="6415" y="8315"/>
                      <a:pt x="6415" y="8315"/>
                    </a:cubicBezTo>
                    <a:cubicBezTo>
                      <a:pt x="6560" y="8315"/>
                      <a:pt x="6560" y="8315"/>
                      <a:pt x="6560" y="8315"/>
                    </a:cubicBezTo>
                    <a:cubicBezTo>
                      <a:pt x="6560" y="8385"/>
                      <a:pt x="6560" y="8385"/>
                      <a:pt x="6560" y="8385"/>
                    </a:cubicBezTo>
                    <a:lnTo>
                      <a:pt x="6408" y="8386"/>
                    </a:lnTo>
                    <a:close/>
                    <a:moveTo>
                      <a:pt x="6421" y="8328"/>
                    </a:moveTo>
                    <a:cubicBezTo>
                      <a:pt x="6421" y="8373"/>
                      <a:pt x="6421" y="8373"/>
                      <a:pt x="6421" y="8373"/>
                    </a:cubicBezTo>
                    <a:cubicBezTo>
                      <a:pt x="6547" y="8372"/>
                      <a:pt x="6547" y="8372"/>
                      <a:pt x="6547" y="8372"/>
                    </a:cubicBezTo>
                    <a:cubicBezTo>
                      <a:pt x="6546" y="8328"/>
                      <a:pt x="6546" y="8328"/>
                      <a:pt x="6546" y="8328"/>
                    </a:cubicBezTo>
                    <a:lnTo>
                      <a:pt x="6421" y="8328"/>
                    </a:lnTo>
                    <a:close/>
                    <a:moveTo>
                      <a:pt x="5487" y="7425"/>
                    </a:moveTo>
                    <a:cubicBezTo>
                      <a:pt x="5324" y="7216"/>
                      <a:pt x="5324" y="7216"/>
                      <a:pt x="5324" y="7216"/>
                    </a:cubicBezTo>
                    <a:cubicBezTo>
                      <a:pt x="5457" y="7120"/>
                      <a:pt x="5457" y="7120"/>
                      <a:pt x="5457" y="7120"/>
                    </a:cubicBezTo>
                    <a:cubicBezTo>
                      <a:pt x="5648" y="7304"/>
                      <a:pt x="5648" y="7304"/>
                      <a:pt x="5648" y="7304"/>
                    </a:cubicBezTo>
                    <a:cubicBezTo>
                      <a:pt x="5641" y="7309"/>
                      <a:pt x="5641" y="7309"/>
                      <a:pt x="5641" y="7309"/>
                    </a:cubicBezTo>
                    <a:lnTo>
                      <a:pt x="5487" y="7425"/>
                    </a:lnTo>
                    <a:close/>
                    <a:moveTo>
                      <a:pt x="5345" y="7219"/>
                    </a:moveTo>
                    <a:cubicBezTo>
                      <a:pt x="5490" y="7404"/>
                      <a:pt x="5490" y="7404"/>
                      <a:pt x="5490" y="7404"/>
                    </a:cubicBezTo>
                    <a:cubicBezTo>
                      <a:pt x="5626" y="7302"/>
                      <a:pt x="5626" y="7302"/>
                      <a:pt x="5626" y="7302"/>
                    </a:cubicBezTo>
                    <a:cubicBezTo>
                      <a:pt x="5456" y="7139"/>
                      <a:pt x="5456" y="7139"/>
                      <a:pt x="5456" y="7139"/>
                    </a:cubicBezTo>
                    <a:lnTo>
                      <a:pt x="5345" y="7219"/>
                    </a:lnTo>
                    <a:close/>
                    <a:moveTo>
                      <a:pt x="5089" y="7707"/>
                    </a:moveTo>
                    <a:cubicBezTo>
                      <a:pt x="4930" y="7469"/>
                      <a:pt x="4930" y="7469"/>
                      <a:pt x="4930" y="7469"/>
                    </a:cubicBezTo>
                    <a:cubicBezTo>
                      <a:pt x="5104" y="7379"/>
                      <a:pt x="5104" y="7379"/>
                      <a:pt x="5104" y="7379"/>
                    </a:cubicBezTo>
                    <a:cubicBezTo>
                      <a:pt x="5108" y="7385"/>
                      <a:pt x="5108" y="7385"/>
                      <a:pt x="5108" y="7385"/>
                    </a:cubicBezTo>
                    <a:cubicBezTo>
                      <a:pt x="5244" y="7606"/>
                      <a:pt x="5244" y="7606"/>
                      <a:pt x="5244" y="7606"/>
                    </a:cubicBezTo>
                    <a:lnTo>
                      <a:pt x="5089" y="7707"/>
                    </a:lnTo>
                    <a:close/>
                    <a:moveTo>
                      <a:pt x="4951" y="7475"/>
                    </a:moveTo>
                    <a:cubicBezTo>
                      <a:pt x="5093" y="7687"/>
                      <a:pt x="5093" y="7687"/>
                      <a:pt x="5093" y="7687"/>
                    </a:cubicBezTo>
                    <a:cubicBezTo>
                      <a:pt x="5224" y="7602"/>
                      <a:pt x="5224" y="7602"/>
                      <a:pt x="5224" y="7602"/>
                    </a:cubicBezTo>
                    <a:cubicBezTo>
                      <a:pt x="5099" y="7399"/>
                      <a:pt x="5099" y="7399"/>
                      <a:pt x="5099" y="7399"/>
                    </a:cubicBezTo>
                    <a:lnTo>
                      <a:pt x="4951" y="7475"/>
                    </a:lnTo>
                    <a:close/>
                    <a:moveTo>
                      <a:pt x="3741" y="8980"/>
                    </a:moveTo>
                    <a:cubicBezTo>
                      <a:pt x="3885" y="8994"/>
                      <a:pt x="3885" y="8994"/>
                      <a:pt x="3885" y="8994"/>
                    </a:cubicBezTo>
                    <a:cubicBezTo>
                      <a:pt x="3878" y="9069"/>
                      <a:pt x="3878" y="9069"/>
                      <a:pt x="3878" y="9069"/>
                    </a:cubicBezTo>
                    <a:cubicBezTo>
                      <a:pt x="3727" y="9055"/>
                      <a:pt x="3727" y="9055"/>
                      <a:pt x="3727" y="9055"/>
                    </a:cubicBezTo>
                    <a:cubicBezTo>
                      <a:pt x="3735" y="8979"/>
                      <a:pt x="3735" y="8979"/>
                      <a:pt x="3735" y="8979"/>
                    </a:cubicBezTo>
                    <a:lnTo>
                      <a:pt x="3741" y="8980"/>
                    </a:lnTo>
                    <a:close/>
                    <a:moveTo>
                      <a:pt x="3742" y="9043"/>
                    </a:moveTo>
                    <a:cubicBezTo>
                      <a:pt x="3866" y="9055"/>
                      <a:pt x="3866" y="9055"/>
                      <a:pt x="3866" y="9055"/>
                    </a:cubicBezTo>
                    <a:cubicBezTo>
                      <a:pt x="3871" y="9006"/>
                      <a:pt x="3871" y="9006"/>
                      <a:pt x="3871" y="9006"/>
                    </a:cubicBezTo>
                    <a:cubicBezTo>
                      <a:pt x="3746" y="8994"/>
                      <a:pt x="3746" y="8994"/>
                      <a:pt x="3746" y="8994"/>
                    </a:cubicBezTo>
                    <a:lnTo>
                      <a:pt x="3742" y="9043"/>
                    </a:lnTo>
                    <a:close/>
                    <a:moveTo>
                      <a:pt x="8404" y="4966"/>
                    </a:moveTo>
                    <a:cubicBezTo>
                      <a:pt x="8404" y="5030"/>
                      <a:pt x="8392" y="5085"/>
                      <a:pt x="8388" y="5099"/>
                    </a:cubicBezTo>
                    <a:cubicBezTo>
                      <a:pt x="8384" y="5113"/>
                      <a:pt x="8363" y="5180"/>
                      <a:pt x="8326" y="5243"/>
                    </a:cubicBezTo>
                    <a:cubicBezTo>
                      <a:pt x="8289" y="5307"/>
                      <a:pt x="8237" y="5369"/>
                      <a:pt x="8167" y="5369"/>
                    </a:cubicBezTo>
                    <a:cubicBezTo>
                      <a:pt x="8156" y="5369"/>
                      <a:pt x="8145" y="5368"/>
                      <a:pt x="8134" y="5364"/>
                    </a:cubicBezTo>
                    <a:cubicBezTo>
                      <a:pt x="8030" y="5335"/>
                      <a:pt x="8001" y="5229"/>
                      <a:pt x="8001" y="5131"/>
                    </a:cubicBezTo>
                    <a:cubicBezTo>
                      <a:pt x="8001" y="5082"/>
                      <a:pt x="8009" y="5034"/>
                      <a:pt x="8018" y="4997"/>
                    </a:cubicBezTo>
                    <a:cubicBezTo>
                      <a:pt x="8044" y="4898"/>
                      <a:pt x="8134" y="4739"/>
                      <a:pt x="8244" y="4737"/>
                    </a:cubicBezTo>
                    <a:cubicBezTo>
                      <a:pt x="8254" y="4737"/>
                      <a:pt x="8265" y="4739"/>
                      <a:pt x="8275" y="4742"/>
                    </a:cubicBezTo>
                    <a:cubicBezTo>
                      <a:pt x="8381" y="4773"/>
                      <a:pt x="8404" y="4879"/>
                      <a:pt x="8404" y="4966"/>
                    </a:cubicBezTo>
                    <a:close/>
                    <a:moveTo>
                      <a:pt x="8389" y="4966"/>
                    </a:moveTo>
                    <a:cubicBezTo>
                      <a:pt x="8389" y="4880"/>
                      <a:pt x="8367" y="4783"/>
                      <a:pt x="8271" y="4756"/>
                    </a:cubicBezTo>
                    <a:cubicBezTo>
                      <a:pt x="8273" y="4749"/>
                      <a:pt x="8273" y="4749"/>
                      <a:pt x="8273" y="4749"/>
                    </a:cubicBezTo>
                    <a:cubicBezTo>
                      <a:pt x="8271" y="4756"/>
                      <a:pt x="8271" y="4756"/>
                      <a:pt x="8271" y="4756"/>
                    </a:cubicBezTo>
                    <a:cubicBezTo>
                      <a:pt x="8262" y="4753"/>
                      <a:pt x="8253" y="4752"/>
                      <a:pt x="8244" y="4752"/>
                    </a:cubicBezTo>
                    <a:cubicBezTo>
                      <a:pt x="8149" y="4750"/>
                      <a:pt x="8056" y="4904"/>
                      <a:pt x="8032" y="5001"/>
                    </a:cubicBezTo>
                    <a:cubicBezTo>
                      <a:pt x="8023" y="5036"/>
                      <a:pt x="8016" y="5083"/>
                      <a:pt x="8016" y="5131"/>
                    </a:cubicBezTo>
                    <a:cubicBezTo>
                      <a:pt x="8016" y="5227"/>
                      <a:pt x="8044" y="5324"/>
                      <a:pt x="8138" y="5350"/>
                    </a:cubicBezTo>
                    <a:cubicBezTo>
                      <a:pt x="8148" y="5353"/>
                      <a:pt x="8157" y="5354"/>
                      <a:pt x="8167" y="5354"/>
                    </a:cubicBezTo>
                    <a:cubicBezTo>
                      <a:pt x="8227" y="5355"/>
                      <a:pt x="8278" y="5298"/>
                      <a:pt x="8313" y="5236"/>
                    </a:cubicBezTo>
                    <a:cubicBezTo>
                      <a:pt x="8349" y="5174"/>
                      <a:pt x="8370" y="5108"/>
                      <a:pt x="8374" y="5095"/>
                    </a:cubicBezTo>
                    <a:cubicBezTo>
                      <a:pt x="8377" y="5083"/>
                      <a:pt x="8389" y="5028"/>
                      <a:pt x="8389" y="4966"/>
                    </a:cubicBezTo>
                    <a:close/>
                    <a:moveTo>
                      <a:pt x="4051" y="8918"/>
                    </a:moveTo>
                    <a:cubicBezTo>
                      <a:pt x="3900" y="8903"/>
                      <a:pt x="3900" y="8903"/>
                      <a:pt x="3900" y="8903"/>
                    </a:cubicBezTo>
                    <a:cubicBezTo>
                      <a:pt x="3907" y="8828"/>
                      <a:pt x="3907" y="8828"/>
                      <a:pt x="3907" y="8828"/>
                    </a:cubicBezTo>
                    <a:cubicBezTo>
                      <a:pt x="3914" y="8828"/>
                      <a:pt x="3914" y="8828"/>
                      <a:pt x="3914" y="8828"/>
                    </a:cubicBezTo>
                    <a:cubicBezTo>
                      <a:pt x="4058" y="8842"/>
                      <a:pt x="4058" y="8842"/>
                      <a:pt x="4058" y="8842"/>
                    </a:cubicBezTo>
                    <a:lnTo>
                      <a:pt x="4051" y="8918"/>
                    </a:lnTo>
                    <a:close/>
                    <a:moveTo>
                      <a:pt x="4044" y="8854"/>
                    </a:moveTo>
                    <a:cubicBezTo>
                      <a:pt x="3919" y="8842"/>
                      <a:pt x="3919" y="8842"/>
                      <a:pt x="3919" y="8842"/>
                    </a:cubicBezTo>
                    <a:cubicBezTo>
                      <a:pt x="3914" y="8891"/>
                      <a:pt x="3914" y="8891"/>
                      <a:pt x="3914" y="8891"/>
                    </a:cubicBezTo>
                    <a:cubicBezTo>
                      <a:pt x="4039" y="8903"/>
                      <a:pt x="4039" y="8903"/>
                      <a:pt x="4039" y="8903"/>
                    </a:cubicBezTo>
                    <a:lnTo>
                      <a:pt x="4044" y="8854"/>
                    </a:lnTo>
                    <a:close/>
                    <a:moveTo>
                      <a:pt x="6588" y="8542"/>
                    </a:moveTo>
                    <a:cubicBezTo>
                      <a:pt x="6590" y="8687"/>
                      <a:pt x="6590" y="8687"/>
                      <a:pt x="6590" y="8687"/>
                    </a:cubicBezTo>
                    <a:cubicBezTo>
                      <a:pt x="6519" y="8687"/>
                      <a:pt x="6519" y="8687"/>
                      <a:pt x="6519" y="8687"/>
                    </a:cubicBezTo>
                    <a:cubicBezTo>
                      <a:pt x="6518" y="8536"/>
                      <a:pt x="6518" y="8536"/>
                      <a:pt x="6518" y="8536"/>
                    </a:cubicBezTo>
                    <a:cubicBezTo>
                      <a:pt x="6588" y="8535"/>
                      <a:pt x="6588" y="8535"/>
                      <a:pt x="6588" y="8535"/>
                    </a:cubicBezTo>
                    <a:lnTo>
                      <a:pt x="6588" y="8542"/>
                    </a:lnTo>
                    <a:close/>
                    <a:moveTo>
                      <a:pt x="6576" y="8674"/>
                    </a:moveTo>
                    <a:cubicBezTo>
                      <a:pt x="6575" y="8548"/>
                      <a:pt x="6575" y="8548"/>
                      <a:pt x="6575" y="8548"/>
                    </a:cubicBezTo>
                    <a:cubicBezTo>
                      <a:pt x="6531" y="8549"/>
                      <a:pt x="6531" y="8549"/>
                      <a:pt x="6531" y="8549"/>
                    </a:cubicBezTo>
                    <a:cubicBezTo>
                      <a:pt x="6532" y="8674"/>
                      <a:pt x="6532" y="8674"/>
                      <a:pt x="6532" y="8674"/>
                    </a:cubicBezTo>
                    <a:lnTo>
                      <a:pt x="6576" y="8674"/>
                    </a:lnTo>
                    <a:close/>
                    <a:moveTo>
                      <a:pt x="7551" y="6455"/>
                    </a:moveTo>
                    <a:cubicBezTo>
                      <a:pt x="7552" y="6525"/>
                      <a:pt x="7552" y="6525"/>
                      <a:pt x="7552" y="6525"/>
                    </a:cubicBezTo>
                    <a:cubicBezTo>
                      <a:pt x="7401" y="6529"/>
                      <a:pt x="7401" y="6529"/>
                      <a:pt x="7401" y="6529"/>
                    </a:cubicBezTo>
                    <a:cubicBezTo>
                      <a:pt x="7399" y="6458"/>
                      <a:pt x="7399" y="6458"/>
                      <a:pt x="7399" y="6458"/>
                    </a:cubicBezTo>
                    <a:cubicBezTo>
                      <a:pt x="7406" y="6458"/>
                      <a:pt x="7406" y="6458"/>
                      <a:pt x="7406" y="6458"/>
                    </a:cubicBezTo>
                    <a:lnTo>
                      <a:pt x="7551" y="6455"/>
                    </a:lnTo>
                    <a:close/>
                    <a:moveTo>
                      <a:pt x="7539" y="6513"/>
                    </a:moveTo>
                    <a:cubicBezTo>
                      <a:pt x="7538" y="6468"/>
                      <a:pt x="7538" y="6468"/>
                      <a:pt x="7538" y="6468"/>
                    </a:cubicBezTo>
                    <a:cubicBezTo>
                      <a:pt x="7413" y="6471"/>
                      <a:pt x="7413" y="6471"/>
                      <a:pt x="7413" y="6471"/>
                    </a:cubicBezTo>
                    <a:cubicBezTo>
                      <a:pt x="7414" y="6515"/>
                      <a:pt x="7414" y="6515"/>
                      <a:pt x="7414" y="6515"/>
                    </a:cubicBezTo>
                    <a:lnTo>
                      <a:pt x="7539" y="6513"/>
                    </a:lnTo>
                    <a:close/>
                    <a:moveTo>
                      <a:pt x="7730" y="6453"/>
                    </a:moveTo>
                    <a:cubicBezTo>
                      <a:pt x="7732" y="6523"/>
                      <a:pt x="7732" y="6523"/>
                      <a:pt x="7732" y="6523"/>
                    </a:cubicBezTo>
                    <a:cubicBezTo>
                      <a:pt x="7580" y="6527"/>
                      <a:pt x="7580" y="6527"/>
                      <a:pt x="7580" y="6527"/>
                    </a:cubicBezTo>
                    <a:cubicBezTo>
                      <a:pt x="7579" y="6456"/>
                      <a:pt x="7579" y="6456"/>
                      <a:pt x="7579" y="6456"/>
                    </a:cubicBezTo>
                    <a:cubicBezTo>
                      <a:pt x="7585" y="6456"/>
                      <a:pt x="7585" y="6456"/>
                      <a:pt x="7585" y="6456"/>
                    </a:cubicBezTo>
                    <a:lnTo>
                      <a:pt x="7730" y="6453"/>
                    </a:lnTo>
                    <a:close/>
                    <a:moveTo>
                      <a:pt x="7718" y="6510"/>
                    </a:moveTo>
                    <a:cubicBezTo>
                      <a:pt x="7717" y="6466"/>
                      <a:pt x="7717" y="6466"/>
                      <a:pt x="7717" y="6466"/>
                    </a:cubicBezTo>
                    <a:cubicBezTo>
                      <a:pt x="7592" y="6469"/>
                      <a:pt x="7592" y="6469"/>
                      <a:pt x="7592" y="6469"/>
                    </a:cubicBezTo>
                    <a:cubicBezTo>
                      <a:pt x="7593" y="6513"/>
                      <a:pt x="7593" y="6513"/>
                      <a:pt x="7593" y="6513"/>
                    </a:cubicBezTo>
                    <a:lnTo>
                      <a:pt x="7718" y="6510"/>
                    </a:lnTo>
                    <a:close/>
                    <a:moveTo>
                      <a:pt x="7917" y="6446"/>
                    </a:moveTo>
                    <a:cubicBezTo>
                      <a:pt x="7918" y="6516"/>
                      <a:pt x="7918" y="6516"/>
                      <a:pt x="7918" y="6516"/>
                    </a:cubicBezTo>
                    <a:cubicBezTo>
                      <a:pt x="7767" y="6519"/>
                      <a:pt x="7767" y="6519"/>
                      <a:pt x="7767" y="6519"/>
                    </a:cubicBezTo>
                    <a:cubicBezTo>
                      <a:pt x="7765" y="6449"/>
                      <a:pt x="7765" y="6449"/>
                      <a:pt x="7765" y="6449"/>
                    </a:cubicBezTo>
                    <a:cubicBezTo>
                      <a:pt x="7772" y="6449"/>
                      <a:pt x="7772" y="6449"/>
                      <a:pt x="7772" y="6449"/>
                    </a:cubicBezTo>
                    <a:lnTo>
                      <a:pt x="7917" y="6446"/>
                    </a:lnTo>
                    <a:close/>
                    <a:moveTo>
                      <a:pt x="7905" y="6503"/>
                    </a:moveTo>
                    <a:cubicBezTo>
                      <a:pt x="7904" y="6459"/>
                      <a:pt x="7904" y="6459"/>
                      <a:pt x="7904" y="6459"/>
                    </a:cubicBezTo>
                    <a:cubicBezTo>
                      <a:pt x="7779" y="6462"/>
                      <a:pt x="7779" y="6462"/>
                      <a:pt x="7779" y="6462"/>
                    </a:cubicBezTo>
                    <a:cubicBezTo>
                      <a:pt x="7780" y="6506"/>
                      <a:pt x="7780" y="6506"/>
                      <a:pt x="7780" y="6506"/>
                    </a:cubicBezTo>
                    <a:lnTo>
                      <a:pt x="7905" y="6503"/>
                    </a:lnTo>
                    <a:close/>
                    <a:moveTo>
                      <a:pt x="5456" y="7580"/>
                    </a:moveTo>
                    <a:cubicBezTo>
                      <a:pt x="5195" y="7189"/>
                      <a:pt x="5195" y="7189"/>
                      <a:pt x="5195" y="7189"/>
                    </a:cubicBezTo>
                    <a:cubicBezTo>
                      <a:pt x="5484" y="6998"/>
                      <a:pt x="5484" y="6998"/>
                      <a:pt x="5484" y="6998"/>
                    </a:cubicBezTo>
                    <a:cubicBezTo>
                      <a:pt x="5511" y="7039"/>
                      <a:pt x="5511" y="7039"/>
                      <a:pt x="5511" y="7039"/>
                    </a:cubicBezTo>
                    <a:cubicBezTo>
                      <a:pt x="5805" y="7298"/>
                      <a:pt x="5805" y="7298"/>
                      <a:pt x="5805" y="7298"/>
                    </a:cubicBezTo>
                    <a:cubicBezTo>
                      <a:pt x="5798" y="7304"/>
                      <a:pt x="5798" y="7304"/>
                      <a:pt x="5798" y="7304"/>
                    </a:cubicBezTo>
                    <a:lnTo>
                      <a:pt x="5456" y="7580"/>
                    </a:lnTo>
                    <a:close/>
                    <a:moveTo>
                      <a:pt x="5215" y="7193"/>
                    </a:moveTo>
                    <a:cubicBezTo>
                      <a:pt x="5459" y="7558"/>
                      <a:pt x="5459" y="7558"/>
                      <a:pt x="5459" y="7558"/>
                    </a:cubicBezTo>
                    <a:cubicBezTo>
                      <a:pt x="5782" y="7298"/>
                      <a:pt x="5782" y="7298"/>
                      <a:pt x="5782" y="7298"/>
                    </a:cubicBezTo>
                    <a:cubicBezTo>
                      <a:pt x="5499" y="7049"/>
                      <a:pt x="5499" y="7049"/>
                      <a:pt x="5499" y="7049"/>
                    </a:cubicBezTo>
                    <a:cubicBezTo>
                      <a:pt x="5480" y="7019"/>
                      <a:pt x="5480" y="7019"/>
                      <a:pt x="5480" y="7019"/>
                    </a:cubicBezTo>
                    <a:lnTo>
                      <a:pt x="5215" y="7193"/>
                    </a:lnTo>
                    <a:close/>
                    <a:moveTo>
                      <a:pt x="4995" y="7906"/>
                    </a:moveTo>
                    <a:cubicBezTo>
                      <a:pt x="4988" y="7910"/>
                      <a:pt x="4988" y="7910"/>
                      <a:pt x="4988" y="7910"/>
                    </a:cubicBezTo>
                    <a:cubicBezTo>
                      <a:pt x="4581" y="8140"/>
                      <a:pt x="4581" y="8140"/>
                      <a:pt x="4581" y="8140"/>
                    </a:cubicBezTo>
                    <a:cubicBezTo>
                      <a:pt x="4327" y="7699"/>
                      <a:pt x="4327" y="7699"/>
                      <a:pt x="4327" y="7699"/>
                    </a:cubicBezTo>
                    <a:cubicBezTo>
                      <a:pt x="4713" y="7482"/>
                      <a:pt x="4713" y="7482"/>
                      <a:pt x="4713" y="7482"/>
                    </a:cubicBezTo>
                    <a:lnTo>
                      <a:pt x="4995" y="7906"/>
                    </a:lnTo>
                    <a:close/>
                    <a:moveTo>
                      <a:pt x="4974" y="7901"/>
                    </a:moveTo>
                    <a:cubicBezTo>
                      <a:pt x="4708" y="7501"/>
                      <a:pt x="4708" y="7501"/>
                      <a:pt x="4708" y="7501"/>
                    </a:cubicBezTo>
                    <a:cubicBezTo>
                      <a:pt x="4347" y="7704"/>
                      <a:pt x="4347" y="7704"/>
                      <a:pt x="4347" y="7704"/>
                    </a:cubicBezTo>
                    <a:cubicBezTo>
                      <a:pt x="4586" y="8120"/>
                      <a:pt x="4586" y="8120"/>
                      <a:pt x="4586" y="8120"/>
                    </a:cubicBezTo>
                    <a:lnTo>
                      <a:pt x="4974" y="7901"/>
                    </a:lnTo>
                    <a:close/>
                    <a:moveTo>
                      <a:pt x="7943" y="6510"/>
                    </a:moveTo>
                    <a:cubicBezTo>
                      <a:pt x="7941" y="6439"/>
                      <a:pt x="7941" y="6439"/>
                      <a:pt x="7941" y="6439"/>
                    </a:cubicBezTo>
                    <a:cubicBezTo>
                      <a:pt x="7948" y="6439"/>
                      <a:pt x="7948" y="6439"/>
                      <a:pt x="7948" y="6439"/>
                    </a:cubicBezTo>
                    <a:cubicBezTo>
                      <a:pt x="8093" y="6436"/>
                      <a:pt x="8093" y="6436"/>
                      <a:pt x="8093" y="6436"/>
                    </a:cubicBezTo>
                    <a:cubicBezTo>
                      <a:pt x="8094" y="6507"/>
                      <a:pt x="8094" y="6507"/>
                      <a:pt x="8094" y="6507"/>
                    </a:cubicBezTo>
                    <a:lnTo>
                      <a:pt x="7943" y="6510"/>
                    </a:lnTo>
                    <a:close/>
                    <a:moveTo>
                      <a:pt x="7955" y="6452"/>
                    </a:moveTo>
                    <a:cubicBezTo>
                      <a:pt x="7956" y="6497"/>
                      <a:pt x="7956" y="6497"/>
                      <a:pt x="7956" y="6497"/>
                    </a:cubicBezTo>
                    <a:cubicBezTo>
                      <a:pt x="8081" y="6494"/>
                      <a:pt x="8081" y="6494"/>
                      <a:pt x="8081" y="6494"/>
                    </a:cubicBezTo>
                    <a:cubicBezTo>
                      <a:pt x="8080" y="6450"/>
                      <a:pt x="8080" y="6450"/>
                      <a:pt x="8080" y="6450"/>
                    </a:cubicBezTo>
                    <a:lnTo>
                      <a:pt x="7955" y="6452"/>
                    </a:lnTo>
                    <a:close/>
                    <a:moveTo>
                      <a:pt x="5872" y="7734"/>
                    </a:moveTo>
                    <a:cubicBezTo>
                      <a:pt x="5931" y="7733"/>
                      <a:pt x="5931" y="7733"/>
                      <a:pt x="5931" y="7733"/>
                    </a:cubicBezTo>
                    <a:cubicBezTo>
                      <a:pt x="5930" y="7603"/>
                      <a:pt x="5930" y="7603"/>
                      <a:pt x="5930" y="7603"/>
                    </a:cubicBezTo>
                    <a:cubicBezTo>
                      <a:pt x="6001" y="7603"/>
                      <a:pt x="6001" y="7603"/>
                      <a:pt x="6001" y="7603"/>
                    </a:cubicBezTo>
                    <a:cubicBezTo>
                      <a:pt x="6001" y="7609"/>
                      <a:pt x="6001" y="7609"/>
                      <a:pt x="6001" y="7609"/>
                    </a:cubicBezTo>
                    <a:cubicBezTo>
                      <a:pt x="6002" y="7754"/>
                      <a:pt x="6002" y="7754"/>
                      <a:pt x="6002" y="7754"/>
                    </a:cubicBezTo>
                    <a:cubicBezTo>
                      <a:pt x="5943" y="7755"/>
                      <a:pt x="5943" y="7755"/>
                      <a:pt x="5943" y="7755"/>
                    </a:cubicBezTo>
                    <a:cubicBezTo>
                      <a:pt x="5944" y="7885"/>
                      <a:pt x="5944" y="7885"/>
                      <a:pt x="5944" y="7885"/>
                    </a:cubicBezTo>
                    <a:cubicBezTo>
                      <a:pt x="5873" y="7885"/>
                      <a:pt x="5873" y="7885"/>
                      <a:pt x="5873" y="7885"/>
                    </a:cubicBezTo>
                    <a:lnTo>
                      <a:pt x="5872" y="7734"/>
                    </a:lnTo>
                    <a:close/>
                    <a:moveTo>
                      <a:pt x="5943" y="7616"/>
                    </a:moveTo>
                    <a:cubicBezTo>
                      <a:pt x="5944" y="7741"/>
                      <a:pt x="5944" y="7741"/>
                      <a:pt x="5944" y="7741"/>
                    </a:cubicBezTo>
                    <a:cubicBezTo>
                      <a:pt x="5989" y="7741"/>
                      <a:pt x="5989" y="7741"/>
                      <a:pt x="5989" y="7741"/>
                    </a:cubicBezTo>
                    <a:cubicBezTo>
                      <a:pt x="5988" y="7616"/>
                      <a:pt x="5988" y="7616"/>
                      <a:pt x="5988" y="7616"/>
                    </a:cubicBezTo>
                    <a:lnTo>
                      <a:pt x="5943" y="7616"/>
                    </a:lnTo>
                    <a:close/>
                    <a:moveTo>
                      <a:pt x="5885" y="7747"/>
                    </a:moveTo>
                    <a:cubicBezTo>
                      <a:pt x="5886" y="7872"/>
                      <a:pt x="5886" y="7872"/>
                      <a:pt x="5886" y="7872"/>
                    </a:cubicBezTo>
                    <a:cubicBezTo>
                      <a:pt x="5931" y="7872"/>
                      <a:pt x="5931" y="7872"/>
                      <a:pt x="5931" y="7872"/>
                    </a:cubicBezTo>
                    <a:cubicBezTo>
                      <a:pt x="5930" y="7746"/>
                      <a:pt x="5930" y="7746"/>
                      <a:pt x="5930" y="7746"/>
                    </a:cubicBezTo>
                    <a:lnTo>
                      <a:pt x="5885" y="7747"/>
                    </a:lnTo>
                    <a:close/>
                    <a:moveTo>
                      <a:pt x="6858" y="8374"/>
                    </a:moveTo>
                    <a:cubicBezTo>
                      <a:pt x="6918" y="8459"/>
                      <a:pt x="6918" y="8459"/>
                      <a:pt x="6918" y="8459"/>
                    </a:cubicBezTo>
                    <a:cubicBezTo>
                      <a:pt x="6798" y="8545"/>
                      <a:pt x="6798" y="8545"/>
                      <a:pt x="6798" y="8545"/>
                    </a:cubicBezTo>
                    <a:cubicBezTo>
                      <a:pt x="6794" y="8539"/>
                      <a:pt x="6794" y="8539"/>
                      <a:pt x="6794" y="8539"/>
                    </a:cubicBezTo>
                    <a:cubicBezTo>
                      <a:pt x="6737" y="8460"/>
                      <a:pt x="6737" y="8460"/>
                      <a:pt x="6737" y="8460"/>
                    </a:cubicBezTo>
                    <a:lnTo>
                      <a:pt x="6858" y="8374"/>
                    </a:lnTo>
                    <a:close/>
                    <a:moveTo>
                      <a:pt x="6900" y="8456"/>
                    </a:moveTo>
                    <a:cubicBezTo>
                      <a:pt x="6855" y="8392"/>
                      <a:pt x="6855" y="8392"/>
                      <a:pt x="6855" y="8392"/>
                    </a:cubicBezTo>
                    <a:cubicBezTo>
                      <a:pt x="6755" y="8463"/>
                      <a:pt x="6755" y="8463"/>
                      <a:pt x="6755" y="8463"/>
                    </a:cubicBezTo>
                    <a:cubicBezTo>
                      <a:pt x="6801" y="8527"/>
                      <a:pt x="6801" y="8527"/>
                      <a:pt x="6801" y="8527"/>
                    </a:cubicBezTo>
                    <a:lnTo>
                      <a:pt x="6900" y="8456"/>
                    </a:lnTo>
                    <a:close/>
                    <a:moveTo>
                      <a:pt x="5811" y="7532"/>
                    </a:moveTo>
                    <a:cubicBezTo>
                      <a:pt x="5754" y="7452"/>
                      <a:pt x="5754" y="7452"/>
                      <a:pt x="5754" y="7452"/>
                    </a:cubicBezTo>
                    <a:cubicBezTo>
                      <a:pt x="5875" y="7366"/>
                      <a:pt x="5875" y="7366"/>
                      <a:pt x="5875" y="7366"/>
                    </a:cubicBezTo>
                    <a:cubicBezTo>
                      <a:pt x="5935" y="7451"/>
                      <a:pt x="5935" y="7451"/>
                      <a:pt x="5935" y="7451"/>
                    </a:cubicBezTo>
                    <a:cubicBezTo>
                      <a:pt x="5815" y="7537"/>
                      <a:pt x="5815" y="7537"/>
                      <a:pt x="5815" y="7537"/>
                    </a:cubicBezTo>
                    <a:lnTo>
                      <a:pt x="5811" y="7532"/>
                    </a:lnTo>
                    <a:close/>
                    <a:moveTo>
                      <a:pt x="5772" y="7455"/>
                    </a:moveTo>
                    <a:cubicBezTo>
                      <a:pt x="5818" y="7519"/>
                      <a:pt x="5818" y="7519"/>
                      <a:pt x="5818" y="7519"/>
                    </a:cubicBezTo>
                    <a:cubicBezTo>
                      <a:pt x="5917" y="7448"/>
                      <a:pt x="5917" y="7448"/>
                      <a:pt x="5917" y="7448"/>
                    </a:cubicBezTo>
                    <a:cubicBezTo>
                      <a:pt x="5872" y="7384"/>
                      <a:pt x="5872" y="7384"/>
                      <a:pt x="5872" y="7384"/>
                    </a:cubicBezTo>
                    <a:lnTo>
                      <a:pt x="5772" y="7455"/>
                    </a:lnTo>
                    <a:close/>
                    <a:moveTo>
                      <a:pt x="7338" y="7192"/>
                    </a:moveTo>
                    <a:cubicBezTo>
                      <a:pt x="7287" y="7188"/>
                      <a:pt x="7287" y="7188"/>
                      <a:pt x="7287" y="7188"/>
                    </a:cubicBezTo>
                    <a:cubicBezTo>
                      <a:pt x="7280" y="7260"/>
                      <a:pt x="7280" y="7260"/>
                      <a:pt x="7280" y="7260"/>
                    </a:cubicBezTo>
                    <a:cubicBezTo>
                      <a:pt x="7171" y="7250"/>
                      <a:pt x="7171" y="7250"/>
                      <a:pt x="7171" y="7250"/>
                    </a:cubicBezTo>
                    <a:cubicBezTo>
                      <a:pt x="7188" y="7065"/>
                      <a:pt x="7188" y="7065"/>
                      <a:pt x="7188" y="7065"/>
                    </a:cubicBezTo>
                    <a:cubicBezTo>
                      <a:pt x="7240" y="7070"/>
                      <a:pt x="7240" y="7070"/>
                      <a:pt x="7240" y="7070"/>
                    </a:cubicBezTo>
                    <a:cubicBezTo>
                      <a:pt x="7241" y="7066"/>
                      <a:pt x="7241" y="7066"/>
                      <a:pt x="7241" y="7066"/>
                    </a:cubicBezTo>
                    <a:cubicBezTo>
                      <a:pt x="7241" y="7060"/>
                      <a:pt x="7241" y="7060"/>
                      <a:pt x="7241" y="7060"/>
                    </a:cubicBezTo>
                    <a:cubicBezTo>
                      <a:pt x="7358" y="7071"/>
                      <a:pt x="7358" y="7071"/>
                      <a:pt x="7358" y="7071"/>
                    </a:cubicBezTo>
                    <a:cubicBezTo>
                      <a:pt x="7344" y="7193"/>
                      <a:pt x="7344" y="7193"/>
                      <a:pt x="7344" y="7193"/>
                    </a:cubicBezTo>
                    <a:lnTo>
                      <a:pt x="7338" y="7192"/>
                    </a:lnTo>
                    <a:close/>
                    <a:moveTo>
                      <a:pt x="7333" y="7179"/>
                    </a:moveTo>
                    <a:cubicBezTo>
                      <a:pt x="7344" y="7083"/>
                      <a:pt x="7344" y="7083"/>
                      <a:pt x="7344" y="7083"/>
                    </a:cubicBezTo>
                    <a:cubicBezTo>
                      <a:pt x="7253" y="7074"/>
                      <a:pt x="7253" y="7074"/>
                      <a:pt x="7253" y="7074"/>
                    </a:cubicBezTo>
                    <a:cubicBezTo>
                      <a:pt x="7253" y="7078"/>
                      <a:pt x="7253" y="7078"/>
                      <a:pt x="7253" y="7078"/>
                    </a:cubicBezTo>
                    <a:cubicBezTo>
                      <a:pt x="7252" y="7085"/>
                      <a:pt x="7252" y="7085"/>
                      <a:pt x="7252" y="7085"/>
                    </a:cubicBezTo>
                    <a:cubicBezTo>
                      <a:pt x="7200" y="7080"/>
                      <a:pt x="7200" y="7080"/>
                      <a:pt x="7200" y="7080"/>
                    </a:cubicBezTo>
                    <a:cubicBezTo>
                      <a:pt x="7185" y="7238"/>
                      <a:pt x="7185" y="7238"/>
                      <a:pt x="7185" y="7238"/>
                    </a:cubicBezTo>
                    <a:cubicBezTo>
                      <a:pt x="7268" y="7246"/>
                      <a:pt x="7268" y="7246"/>
                      <a:pt x="7268" y="7246"/>
                    </a:cubicBezTo>
                    <a:cubicBezTo>
                      <a:pt x="7275" y="7173"/>
                      <a:pt x="7275" y="7173"/>
                      <a:pt x="7275" y="7173"/>
                    </a:cubicBezTo>
                    <a:lnTo>
                      <a:pt x="7333" y="7179"/>
                    </a:lnTo>
                    <a:close/>
                    <a:moveTo>
                      <a:pt x="5057" y="7879"/>
                    </a:moveTo>
                    <a:cubicBezTo>
                      <a:pt x="4758" y="7450"/>
                      <a:pt x="4758" y="7450"/>
                      <a:pt x="4758" y="7450"/>
                    </a:cubicBezTo>
                    <a:cubicBezTo>
                      <a:pt x="5161" y="7236"/>
                      <a:pt x="5161" y="7236"/>
                      <a:pt x="5161" y="7236"/>
                    </a:cubicBezTo>
                    <a:cubicBezTo>
                      <a:pt x="5404" y="7618"/>
                      <a:pt x="5404" y="7618"/>
                      <a:pt x="5404" y="7618"/>
                    </a:cubicBezTo>
                    <a:cubicBezTo>
                      <a:pt x="5398" y="7622"/>
                      <a:pt x="5398" y="7622"/>
                      <a:pt x="5398" y="7622"/>
                    </a:cubicBezTo>
                    <a:lnTo>
                      <a:pt x="5057" y="7879"/>
                    </a:lnTo>
                    <a:close/>
                    <a:moveTo>
                      <a:pt x="4779" y="7455"/>
                    </a:moveTo>
                    <a:cubicBezTo>
                      <a:pt x="5060" y="7858"/>
                      <a:pt x="5060" y="7858"/>
                      <a:pt x="5060" y="7858"/>
                    </a:cubicBezTo>
                    <a:cubicBezTo>
                      <a:pt x="5384" y="7614"/>
                      <a:pt x="5384" y="7614"/>
                      <a:pt x="5384" y="7614"/>
                    </a:cubicBezTo>
                    <a:cubicBezTo>
                      <a:pt x="5156" y="7256"/>
                      <a:pt x="5156" y="7256"/>
                      <a:pt x="5156" y="7256"/>
                    </a:cubicBezTo>
                    <a:lnTo>
                      <a:pt x="4779" y="7455"/>
                    </a:lnTo>
                    <a:close/>
                    <a:moveTo>
                      <a:pt x="2420" y="3160"/>
                    </a:moveTo>
                    <a:cubicBezTo>
                      <a:pt x="2501" y="3216"/>
                      <a:pt x="2501" y="3216"/>
                      <a:pt x="2501" y="3216"/>
                    </a:cubicBezTo>
                    <a:cubicBezTo>
                      <a:pt x="2561" y="3326"/>
                      <a:pt x="2561" y="3326"/>
                      <a:pt x="2561" y="3326"/>
                    </a:cubicBezTo>
                    <a:cubicBezTo>
                      <a:pt x="2304" y="3318"/>
                      <a:pt x="2304" y="3318"/>
                      <a:pt x="2304" y="3318"/>
                    </a:cubicBezTo>
                    <a:cubicBezTo>
                      <a:pt x="2343" y="3050"/>
                      <a:pt x="2343" y="3050"/>
                      <a:pt x="2343" y="3050"/>
                    </a:cubicBezTo>
                    <a:cubicBezTo>
                      <a:pt x="2428" y="3048"/>
                      <a:pt x="2428" y="3048"/>
                      <a:pt x="2428" y="3048"/>
                    </a:cubicBezTo>
                    <a:cubicBezTo>
                      <a:pt x="2428" y="3056"/>
                      <a:pt x="2428" y="3056"/>
                      <a:pt x="2428" y="3056"/>
                    </a:cubicBezTo>
                    <a:lnTo>
                      <a:pt x="2420" y="3160"/>
                    </a:lnTo>
                    <a:close/>
                    <a:moveTo>
                      <a:pt x="2404" y="3167"/>
                    </a:moveTo>
                    <a:cubicBezTo>
                      <a:pt x="2412" y="3063"/>
                      <a:pt x="2412" y="3063"/>
                      <a:pt x="2412" y="3063"/>
                    </a:cubicBezTo>
                    <a:cubicBezTo>
                      <a:pt x="2356" y="3064"/>
                      <a:pt x="2356" y="3064"/>
                      <a:pt x="2356" y="3064"/>
                    </a:cubicBezTo>
                    <a:cubicBezTo>
                      <a:pt x="2321" y="3304"/>
                      <a:pt x="2321" y="3304"/>
                      <a:pt x="2321" y="3304"/>
                    </a:cubicBezTo>
                    <a:cubicBezTo>
                      <a:pt x="2536" y="3310"/>
                      <a:pt x="2536" y="3310"/>
                      <a:pt x="2536" y="3310"/>
                    </a:cubicBezTo>
                    <a:cubicBezTo>
                      <a:pt x="2490" y="3226"/>
                      <a:pt x="2490" y="3226"/>
                      <a:pt x="2490" y="3226"/>
                    </a:cubicBezTo>
                    <a:lnTo>
                      <a:pt x="2404" y="3167"/>
                    </a:lnTo>
                    <a:close/>
                    <a:moveTo>
                      <a:pt x="3172" y="8375"/>
                    </a:moveTo>
                    <a:cubicBezTo>
                      <a:pt x="3224" y="8466"/>
                      <a:pt x="3224" y="8466"/>
                      <a:pt x="3224" y="8466"/>
                    </a:cubicBezTo>
                    <a:cubicBezTo>
                      <a:pt x="3096" y="8540"/>
                      <a:pt x="3096" y="8540"/>
                      <a:pt x="3096" y="8540"/>
                    </a:cubicBezTo>
                    <a:cubicBezTo>
                      <a:pt x="3093" y="8534"/>
                      <a:pt x="3093" y="8534"/>
                      <a:pt x="3093" y="8534"/>
                    </a:cubicBezTo>
                    <a:cubicBezTo>
                      <a:pt x="3044" y="8450"/>
                      <a:pt x="3044" y="8450"/>
                      <a:pt x="3044" y="8450"/>
                    </a:cubicBezTo>
                    <a:lnTo>
                      <a:pt x="3172" y="8375"/>
                    </a:lnTo>
                    <a:close/>
                    <a:moveTo>
                      <a:pt x="3206" y="8461"/>
                    </a:moveTo>
                    <a:cubicBezTo>
                      <a:pt x="3167" y="8393"/>
                      <a:pt x="3167" y="8393"/>
                      <a:pt x="3167" y="8393"/>
                    </a:cubicBezTo>
                    <a:cubicBezTo>
                      <a:pt x="3061" y="8454"/>
                      <a:pt x="3061" y="8454"/>
                      <a:pt x="3061" y="8454"/>
                    </a:cubicBezTo>
                    <a:cubicBezTo>
                      <a:pt x="3101" y="8522"/>
                      <a:pt x="3101" y="8522"/>
                      <a:pt x="3101" y="8522"/>
                    </a:cubicBezTo>
                    <a:lnTo>
                      <a:pt x="3206" y="8461"/>
                    </a:lnTo>
                    <a:close/>
                    <a:moveTo>
                      <a:pt x="1913" y="3015"/>
                    </a:moveTo>
                    <a:cubicBezTo>
                      <a:pt x="2074" y="2965"/>
                      <a:pt x="2074" y="2965"/>
                      <a:pt x="2074" y="2965"/>
                    </a:cubicBezTo>
                    <a:cubicBezTo>
                      <a:pt x="2042" y="3132"/>
                      <a:pt x="2042" y="3132"/>
                      <a:pt x="2042" y="3132"/>
                    </a:cubicBezTo>
                    <a:cubicBezTo>
                      <a:pt x="1915" y="3178"/>
                      <a:pt x="1915" y="3178"/>
                      <a:pt x="1915" y="3178"/>
                    </a:cubicBezTo>
                    <a:cubicBezTo>
                      <a:pt x="1779" y="3315"/>
                      <a:pt x="1779" y="3315"/>
                      <a:pt x="1779" y="3315"/>
                    </a:cubicBezTo>
                    <a:cubicBezTo>
                      <a:pt x="1654" y="3242"/>
                      <a:pt x="1654" y="3242"/>
                      <a:pt x="1654" y="3242"/>
                    </a:cubicBezTo>
                    <a:cubicBezTo>
                      <a:pt x="1669" y="3012"/>
                      <a:pt x="1669" y="3012"/>
                      <a:pt x="1669" y="3012"/>
                    </a:cubicBezTo>
                    <a:cubicBezTo>
                      <a:pt x="1811" y="2955"/>
                      <a:pt x="1811" y="2955"/>
                      <a:pt x="1811" y="2955"/>
                    </a:cubicBezTo>
                    <a:cubicBezTo>
                      <a:pt x="1799" y="3097"/>
                      <a:pt x="1799" y="3097"/>
                      <a:pt x="1799" y="3097"/>
                    </a:cubicBezTo>
                    <a:lnTo>
                      <a:pt x="1913" y="3015"/>
                    </a:lnTo>
                    <a:close/>
                    <a:moveTo>
                      <a:pt x="1919" y="3028"/>
                    </a:moveTo>
                    <a:cubicBezTo>
                      <a:pt x="1807" y="3108"/>
                      <a:pt x="1807" y="3108"/>
                      <a:pt x="1807" y="3108"/>
                    </a:cubicBezTo>
                    <a:cubicBezTo>
                      <a:pt x="1782" y="3126"/>
                      <a:pt x="1782" y="3126"/>
                      <a:pt x="1782" y="3126"/>
                    </a:cubicBezTo>
                    <a:cubicBezTo>
                      <a:pt x="1785" y="3096"/>
                      <a:pt x="1785" y="3096"/>
                      <a:pt x="1785" y="3096"/>
                    </a:cubicBezTo>
                    <a:cubicBezTo>
                      <a:pt x="1795" y="2976"/>
                      <a:pt x="1795" y="2976"/>
                      <a:pt x="1795" y="2976"/>
                    </a:cubicBezTo>
                    <a:cubicBezTo>
                      <a:pt x="1682" y="3021"/>
                      <a:pt x="1682" y="3021"/>
                      <a:pt x="1682" y="3021"/>
                    </a:cubicBezTo>
                    <a:cubicBezTo>
                      <a:pt x="1669" y="3234"/>
                      <a:pt x="1669" y="3234"/>
                      <a:pt x="1669" y="3234"/>
                    </a:cubicBezTo>
                    <a:cubicBezTo>
                      <a:pt x="1777" y="3298"/>
                      <a:pt x="1777" y="3298"/>
                      <a:pt x="1777" y="3298"/>
                    </a:cubicBezTo>
                    <a:cubicBezTo>
                      <a:pt x="1905" y="3168"/>
                      <a:pt x="1905" y="3168"/>
                      <a:pt x="1905" y="3168"/>
                    </a:cubicBezTo>
                    <a:cubicBezTo>
                      <a:pt x="1907" y="3166"/>
                      <a:pt x="1907" y="3166"/>
                      <a:pt x="1907" y="3166"/>
                    </a:cubicBezTo>
                    <a:cubicBezTo>
                      <a:pt x="1910" y="3165"/>
                      <a:pt x="1910" y="3165"/>
                      <a:pt x="1910" y="3165"/>
                    </a:cubicBezTo>
                    <a:cubicBezTo>
                      <a:pt x="2029" y="3121"/>
                      <a:pt x="2029" y="3121"/>
                      <a:pt x="2029" y="3121"/>
                    </a:cubicBezTo>
                    <a:cubicBezTo>
                      <a:pt x="2056" y="2985"/>
                      <a:pt x="2056" y="2985"/>
                      <a:pt x="2056" y="2985"/>
                    </a:cubicBezTo>
                    <a:lnTo>
                      <a:pt x="1919" y="3028"/>
                    </a:lnTo>
                    <a:close/>
                    <a:moveTo>
                      <a:pt x="993" y="7762"/>
                    </a:moveTo>
                    <a:cubicBezTo>
                      <a:pt x="1059" y="7688"/>
                      <a:pt x="1059" y="7688"/>
                      <a:pt x="1059" y="7688"/>
                    </a:cubicBezTo>
                    <a:cubicBezTo>
                      <a:pt x="1440" y="7980"/>
                      <a:pt x="1440" y="7980"/>
                      <a:pt x="1440" y="7980"/>
                    </a:cubicBezTo>
                    <a:cubicBezTo>
                      <a:pt x="1435" y="7986"/>
                      <a:pt x="1435" y="7986"/>
                      <a:pt x="1435" y="7986"/>
                    </a:cubicBezTo>
                    <a:cubicBezTo>
                      <a:pt x="1194" y="8301"/>
                      <a:pt x="1194" y="8301"/>
                      <a:pt x="1194" y="8301"/>
                    </a:cubicBezTo>
                    <a:cubicBezTo>
                      <a:pt x="1078" y="8200"/>
                      <a:pt x="1078" y="8200"/>
                      <a:pt x="1078" y="8200"/>
                    </a:cubicBezTo>
                    <a:cubicBezTo>
                      <a:pt x="1133" y="8095"/>
                      <a:pt x="1133" y="8095"/>
                      <a:pt x="1133" y="8095"/>
                    </a:cubicBezTo>
                    <a:cubicBezTo>
                      <a:pt x="1029" y="8013"/>
                      <a:pt x="1029" y="8013"/>
                      <a:pt x="1029" y="8013"/>
                    </a:cubicBezTo>
                    <a:cubicBezTo>
                      <a:pt x="1058" y="7899"/>
                      <a:pt x="1058" y="7899"/>
                      <a:pt x="1058" y="7899"/>
                    </a:cubicBezTo>
                    <a:lnTo>
                      <a:pt x="993" y="7762"/>
                    </a:lnTo>
                    <a:close/>
                    <a:moveTo>
                      <a:pt x="1011" y="7764"/>
                    </a:moveTo>
                    <a:cubicBezTo>
                      <a:pt x="1073" y="7897"/>
                      <a:pt x="1073" y="7897"/>
                      <a:pt x="1073" y="7897"/>
                    </a:cubicBezTo>
                    <a:cubicBezTo>
                      <a:pt x="1046" y="8007"/>
                      <a:pt x="1046" y="8007"/>
                      <a:pt x="1046" y="8007"/>
                    </a:cubicBezTo>
                    <a:cubicBezTo>
                      <a:pt x="1152" y="8091"/>
                      <a:pt x="1152" y="8091"/>
                      <a:pt x="1152" y="8091"/>
                    </a:cubicBezTo>
                    <a:cubicBezTo>
                      <a:pt x="1097" y="8196"/>
                      <a:pt x="1097" y="8196"/>
                      <a:pt x="1097" y="8196"/>
                    </a:cubicBezTo>
                    <a:cubicBezTo>
                      <a:pt x="1192" y="8279"/>
                      <a:pt x="1192" y="8279"/>
                      <a:pt x="1192" y="8279"/>
                    </a:cubicBezTo>
                    <a:cubicBezTo>
                      <a:pt x="1419" y="7983"/>
                      <a:pt x="1419" y="7983"/>
                      <a:pt x="1419" y="7983"/>
                    </a:cubicBezTo>
                    <a:cubicBezTo>
                      <a:pt x="1060" y="7708"/>
                      <a:pt x="1060" y="7708"/>
                      <a:pt x="1060" y="7708"/>
                    </a:cubicBezTo>
                    <a:lnTo>
                      <a:pt x="1011" y="7764"/>
                    </a:lnTo>
                    <a:close/>
                    <a:moveTo>
                      <a:pt x="1207" y="8024"/>
                    </a:moveTo>
                    <a:cubicBezTo>
                      <a:pt x="1124" y="7943"/>
                      <a:pt x="1124" y="7943"/>
                      <a:pt x="1124" y="7943"/>
                    </a:cubicBezTo>
                    <a:cubicBezTo>
                      <a:pt x="1131" y="7843"/>
                      <a:pt x="1131" y="7843"/>
                      <a:pt x="1131" y="7843"/>
                    </a:cubicBezTo>
                    <a:cubicBezTo>
                      <a:pt x="1257" y="7972"/>
                      <a:pt x="1257" y="7972"/>
                      <a:pt x="1257" y="7972"/>
                    </a:cubicBezTo>
                    <a:cubicBezTo>
                      <a:pt x="1252" y="7977"/>
                      <a:pt x="1252" y="7977"/>
                      <a:pt x="1252" y="7977"/>
                    </a:cubicBezTo>
                    <a:lnTo>
                      <a:pt x="1207" y="8024"/>
                    </a:lnTo>
                    <a:close/>
                    <a:moveTo>
                      <a:pt x="1207" y="8003"/>
                    </a:moveTo>
                    <a:cubicBezTo>
                      <a:pt x="1236" y="7972"/>
                      <a:pt x="1236" y="7972"/>
                      <a:pt x="1236" y="7972"/>
                    </a:cubicBezTo>
                    <a:cubicBezTo>
                      <a:pt x="1143" y="7877"/>
                      <a:pt x="1143" y="7877"/>
                      <a:pt x="1143" y="7877"/>
                    </a:cubicBezTo>
                    <a:cubicBezTo>
                      <a:pt x="1140" y="7937"/>
                      <a:pt x="1140" y="7937"/>
                      <a:pt x="1140" y="7937"/>
                    </a:cubicBezTo>
                    <a:lnTo>
                      <a:pt x="1207" y="8003"/>
                    </a:lnTo>
                    <a:close/>
                    <a:moveTo>
                      <a:pt x="4361" y="1895"/>
                    </a:moveTo>
                    <a:cubicBezTo>
                      <a:pt x="4263" y="1895"/>
                      <a:pt x="4263" y="1895"/>
                      <a:pt x="4263" y="1895"/>
                    </a:cubicBezTo>
                    <a:cubicBezTo>
                      <a:pt x="4264" y="1747"/>
                      <a:pt x="4264" y="1747"/>
                      <a:pt x="4264" y="1747"/>
                    </a:cubicBezTo>
                    <a:cubicBezTo>
                      <a:pt x="4368" y="1747"/>
                      <a:pt x="4368" y="1747"/>
                      <a:pt x="4368" y="1747"/>
                    </a:cubicBezTo>
                    <a:cubicBezTo>
                      <a:pt x="4367" y="1895"/>
                      <a:pt x="4367" y="1895"/>
                      <a:pt x="4367" y="1895"/>
                    </a:cubicBezTo>
                    <a:lnTo>
                      <a:pt x="4361" y="1895"/>
                    </a:lnTo>
                    <a:close/>
                    <a:moveTo>
                      <a:pt x="4355" y="1760"/>
                    </a:moveTo>
                    <a:cubicBezTo>
                      <a:pt x="4277" y="1760"/>
                      <a:pt x="4277" y="1760"/>
                      <a:pt x="4277" y="1760"/>
                    </a:cubicBezTo>
                    <a:cubicBezTo>
                      <a:pt x="4276" y="1882"/>
                      <a:pt x="4276" y="1882"/>
                      <a:pt x="4276" y="1882"/>
                    </a:cubicBezTo>
                    <a:cubicBezTo>
                      <a:pt x="4354" y="1882"/>
                      <a:pt x="4354" y="1882"/>
                      <a:pt x="4354" y="1882"/>
                    </a:cubicBezTo>
                    <a:lnTo>
                      <a:pt x="4355" y="1760"/>
                    </a:lnTo>
                    <a:close/>
                    <a:moveTo>
                      <a:pt x="2208" y="7767"/>
                    </a:moveTo>
                    <a:cubicBezTo>
                      <a:pt x="2134" y="7702"/>
                      <a:pt x="2134" y="7702"/>
                      <a:pt x="2134" y="7702"/>
                    </a:cubicBezTo>
                    <a:cubicBezTo>
                      <a:pt x="2231" y="7591"/>
                      <a:pt x="2231" y="7591"/>
                      <a:pt x="2231" y="7591"/>
                    </a:cubicBezTo>
                    <a:cubicBezTo>
                      <a:pt x="2309" y="7659"/>
                      <a:pt x="2309" y="7659"/>
                      <a:pt x="2309" y="7659"/>
                    </a:cubicBezTo>
                    <a:cubicBezTo>
                      <a:pt x="2212" y="7771"/>
                      <a:pt x="2212" y="7771"/>
                      <a:pt x="2212" y="7771"/>
                    </a:cubicBezTo>
                    <a:lnTo>
                      <a:pt x="2208" y="7767"/>
                    </a:lnTo>
                    <a:close/>
                    <a:moveTo>
                      <a:pt x="2152" y="7701"/>
                    </a:moveTo>
                    <a:cubicBezTo>
                      <a:pt x="2211" y="7753"/>
                      <a:pt x="2211" y="7753"/>
                      <a:pt x="2211" y="7753"/>
                    </a:cubicBezTo>
                    <a:cubicBezTo>
                      <a:pt x="2291" y="7660"/>
                      <a:pt x="2291" y="7660"/>
                      <a:pt x="2291" y="7660"/>
                    </a:cubicBezTo>
                    <a:cubicBezTo>
                      <a:pt x="2232" y="7609"/>
                      <a:pt x="2232" y="7609"/>
                      <a:pt x="2232" y="7609"/>
                    </a:cubicBezTo>
                    <a:lnTo>
                      <a:pt x="2152" y="7701"/>
                    </a:lnTo>
                    <a:close/>
                    <a:moveTo>
                      <a:pt x="2690" y="7686"/>
                    </a:moveTo>
                    <a:cubicBezTo>
                      <a:pt x="2672" y="7670"/>
                      <a:pt x="2613" y="7654"/>
                      <a:pt x="2565" y="7619"/>
                    </a:cubicBezTo>
                    <a:cubicBezTo>
                      <a:pt x="2517" y="7583"/>
                      <a:pt x="2442" y="7450"/>
                      <a:pt x="2406" y="7424"/>
                    </a:cubicBezTo>
                    <a:cubicBezTo>
                      <a:pt x="2370" y="7398"/>
                      <a:pt x="2229" y="7360"/>
                      <a:pt x="2156" y="7320"/>
                    </a:cubicBezTo>
                    <a:cubicBezTo>
                      <a:pt x="2082" y="7278"/>
                      <a:pt x="1995" y="7129"/>
                      <a:pt x="1995" y="7128"/>
                    </a:cubicBezTo>
                    <a:cubicBezTo>
                      <a:pt x="2002" y="7123"/>
                      <a:pt x="2002" y="7123"/>
                      <a:pt x="2002" y="7123"/>
                    </a:cubicBezTo>
                    <a:cubicBezTo>
                      <a:pt x="2002" y="7124"/>
                      <a:pt x="2132" y="7251"/>
                      <a:pt x="2178" y="7278"/>
                    </a:cubicBezTo>
                    <a:cubicBezTo>
                      <a:pt x="2224" y="7304"/>
                      <a:pt x="2379" y="7342"/>
                      <a:pt x="2449" y="7367"/>
                    </a:cubicBezTo>
                    <a:cubicBezTo>
                      <a:pt x="2522" y="7394"/>
                      <a:pt x="2607" y="7562"/>
                      <a:pt x="2640" y="7582"/>
                    </a:cubicBezTo>
                    <a:cubicBezTo>
                      <a:pt x="2672" y="7603"/>
                      <a:pt x="2775" y="7604"/>
                      <a:pt x="2813" y="7614"/>
                    </a:cubicBezTo>
                    <a:cubicBezTo>
                      <a:pt x="2829" y="7618"/>
                      <a:pt x="2834" y="7636"/>
                      <a:pt x="2834" y="7654"/>
                    </a:cubicBezTo>
                    <a:cubicBezTo>
                      <a:pt x="2833" y="7691"/>
                      <a:pt x="2816" y="7740"/>
                      <a:pt x="2792" y="7742"/>
                    </a:cubicBezTo>
                    <a:cubicBezTo>
                      <a:pt x="2762" y="7741"/>
                      <a:pt x="2710" y="7704"/>
                      <a:pt x="2690" y="7686"/>
                    </a:cubicBezTo>
                    <a:close/>
                    <a:moveTo>
                      <a:pt x="2570" y="7612"/>
                    </a:moveTo>
                    <a:cubicBezTo>
                      <a:pt x="2617" y="7647"/>
                      <a:pt x="2673" y="7661"/>
                      <a:pt x="2695" y="7680"/>
                    </a:cubicBezTo>
                    <a:cubicBezTo>
                      <a:pt x="2714" y="7697"/>
                      <a:pt x="2768" y="7734"/>
                      <a:pt x="2792" y="7734"/>
                    </a:cubicBezTo>
                    <a:cubicBezTo>
                      <a:pt x="2798" y="7734"/>
                      <a:pt x="2807" y="7724"/>
                      <a:pt x="2814" y="7708"/>
                    </a:cubicBezTo>
                    <a:cubicBezTo>
                      <a:pt x="2821" y="7692"/>
                      <a:pt x="2826" y="7671"/>
                      <a:pt x="2826" y="7654"/>
                    </a:cubicBezTo>
                    <a:cubicBezTo>
                      <a:pt x="2826" y="7636"/>
                      <a:pt x="2821" y="7624"/>
                      <a:pt x="2811" y="7622"/>
                    </a:cubicBezTo>
                    <a:cubicBezTo>
                      <a:pt x="2775" y="7612"/>
                      <a:pt x="2672" y="7613"/>
                      <a:pt x="2635" y="7589"/>
                    </a:cubicBezTo>
                    <a:cubicBezTo>
                      <a:pt x="2598" y="7564"/>
                      <a:pt x="2514" y="7398"/>
                      <a:pt x="2446" y="7375"/>
                    </a:cubicBezTo>
                    <a:cubicBezTo>
                      <a:pt x="2377" y="7350"/>
                      <a:pt x="2223" y="7313"/>
                      <a:pt x="2174" y="7285"/>
                    </a:cubicBezTo>
                    <a:cubicBezTo>
                      <a:pt x="2138" y="7264"/>
                      <a:pt x="2059" y="7190"/>
                      <a:pt x="2019" y="7152"/>
                    </a:cubicBezTo>
                    <a:cubicBezTo>
                      <a:pt x="2048" y="7197"/>
                      <a:pt x="2109" y="7284"/>
                      <a:pt x="2160" y="7312"/>
                    </a:cubicBezTo>
                    <a:cubicBezTo>
                      <a:pt x="2232" y="7352"/>
                      <a:pt x="2371" y="7389"/>
                      <a:pt x="2410" y="7418"/>
                    </a:cubicBezTo>
                    <a:cubicBezTo>
                      <a:pt x="2449" y="7446"/>
                      <a:pt x="2524" y="7578"/>
                      <a:pt x="2570" y="7612"/>
                    </a:cubicBezTo>
                    <a:close/>
                    <a:moveTo>
                      <a:pt x="2130" y="8085"/>
                    </a:moveTo>
                    <a:cubicBezTo>
                      <a:pt x="2033" y="8197"/>
                      <a:pt x="2033" y="8197"/>
                      <a:pt x="2033" y="8197"/>
                    </a:cubicBezTo>
                    <a:cubicBezTo>
                      <a:pt x="2028" y="8193"/>
                      <a:pt x="2028" y="8193"/>
                      <a:pt x="2028" y="8193"/>
                    </a:cubicBezTo>
                    <a:cubicBezTo>
                      <a:pt x="1954" y="8129"/>
                      <a:pt x="1954" y="8129"/>
                      <a:pt x="1954" y="8129"/>
                    </a:cubicBezTo>
                    <a:cubicBezTo>
                      <a:pt x="2051" y="8017"/>
                      <a:pt x="2051" y="8017"/>
                      <a:pt x="2051" y="8017"/>
                    </a:cubicBezTo>
                    <a:lnTo>
                      <a:pt x="2130" y="8085"/>
                    </a:lnTo>
                    <a:close/>
                    <a:moveTo>
                      <a:pt x="2112" y="8087"/>
                    </a:moveTo>
                    <a:cubicBezTo>
                      <a:pt x="2053" y="8035"/>
                      <a:pt x="2053" y="8035"/>
                      <a:pt x="2053" y="8035"/>
                    </a:cubicBezTo>
                    <a:cubicBezTo>
                      <a:pt x="1973" y="8127"/>
                      <a:pt x="1973" y="8127"/>
                      <a:pt x="1973" y="8127"/>
                    </a:cubicBezTo>
                    <a:cubicBezTo>
                      <a:pt x="2032" y="8179"/>
                      <a:pt x="2032" y="8179"/>
                      <a:pt x="2032" y="8179"/>
                    </a:cubicBezTo>
                    <a:lnTo>
                      <a:pt x="2112" y="8087"/>
                    </a:lnTo>
                    <a:close/>
                    <a:moveTo>
                      <a:pt x="3084" y="2864"/>
                    </a:moveTo>
                    <a:cubicBezTo>
                      <a:pt x="3120" y="3092"/>
                      <a:pt x="3120" y="3092"/>
                      <a:pt x="3120" y="3092"/>
                    </a:cubicBezTo>
                    <a:cubicBezTo>
                      <a:pt x="3083" y="3106"/>
                      <a:pt x="3083" y="3106"/>
                      <a:pt x="3083" y="3106"/>
                    </a:cubicBezTo>
                    <a:cubicBezTo>
                      <a:pt x="3027" y="3056"/>
                      <a:pt x="3027" y="3056"/>
                      <a:pt x="3027" y="3056"/>
                    </a:cubicBezTo>
                    <a:cubicBezTo>
                      <a:pt x="3018" y="3139"/>
                      <a:pt x="3018" y="3139"/>
                      <a:pt x="3018" y="3139"/>
                    </a:cubicBezTo>
                    <a:cubicBezTo>
                      <a:pt x="2833" y="3239"/>
                      <a:pt x="2833" y="3239"/>
                      <a:pt x="2833" y="3239"/>
                    </a:cubicBezTo>
                    <a:cubicBezTo>
                      <a:pt x="2651" y="3024"/>
                      <a:pt x="2651" y="3024"/>
                      <a:pt x="2651" y="3024"/>
                    </a:cubicBezTo>
                    <a:cubicBezTo>
                      <a:pt x="2796" y="3002"/>
                      <a:pt x="2796" y="3002"/>
                      <a:pt x="2796" y="3002"/>
                    </a:cubicBezTo>
                    <a:cubicBezTo>
                      <a:pt x="2899" y="3050"/>
                      <a:pt x="2899" y="3050"/>
                      <a:pt x="2899" y="3050"/>
                    </a:cubicBezTo>
                    <a:cubicBezTo>
                      <a:pt x="2911" y="2947"/>
                      <a:pt x="2911" y="2947"/>
                      <a:pt x="2911" y="2947"/>
                    </a:cubicBezTo>
                    <a:cubicBezTo>
                      <a:pt x="3082" y="2854"/>
                      <a:pt x="3082" y="2854"/>
                      <a:pt x="3082" y="2854"/>
                    </a:cubicBezTo>
                    <a:lnTo>
                      <a:pt x="3084" y="2864"/>
                    </a:lnTo>
                    <a:close/>
                    <a:moveTo>
                      <a:pt x="3104" y="3082"/>
                    </a:moveTo>
                    <a:cubicBezTo>
                      <a:pt x="3071" y="2877"/>
                      <a:pt x="3071" y="2877"/>
                      <a:pt x="3071" y="2877"/>
                    </a:cubicBezTo>
                    <a:cubicBezTo>
                      <a:pt x="2925" y="2956"/>
                      <a:pt x="2925" y="2956"/>
                      <a:pt x="2925" y="2956"/>
                    </a:cubicBezTo>
                    <a:cubicBezTo>
                      <a:pt x="2912" y="3072"/>
                      <a:pt x="2912" y="3072"/>
                      <a:pt x="2912" y="3072"/>
                    </a:cubicBezTo>
                    <a:cubicBezTo>
                      <a:pt x="2794" y="3017"/>
                      <a:pt x="2794" y="3017"/>
                      <a:pt x="2794" y="3017"/>
                    </a:cubicBezTo>
                    <a:cubicBezTo>
                      <a:pt x="2679" y="3035"/>
                      <a:pt x="2679" y="3035"/>
                      <a:pt x="2679" y="3035"/>
                    </a:cubicBezTo>
                    <a:cubicBezTo>
                      <a:pt x="2836" y="3220"/>
                      <a:pt x="2836" y="3220"/>
                      <a:pt x="2836" y="3220"/>
                    </a:cubicBezTo>
                    <a:cubicBezTo>
                      <a:pt x="3004" y="3130"/>
                      <a:pt x="3004" y="3130"/>
                      <a:pt x="3004" y="3130"/>
                    </a:cubicBezTo>
                    <a:cubicBezTo>
                      <a:pt x="3015" y="3026"/>
                      <a:pt x="3015" y="3026"/>
                      <a:pt x="3015" y="3026"/>
                    </a:cubicBezTo>
                    <a:cubicBezTo>
                      <a:pt x="3086" y="3089"/>
                      <a:pt x="3086" y="3089"/>
                      <a:pt x="3086" y="3089"/>
                    </a:cubicBezTo>
                    <a:lnTo>
                      <a:pt x="3104" y="3082"/>
                    </a:lnTo>
                    <a:close/>
                    <a:moveTo>
                      <a:pt x="4345" y="8787"/>
                    </a:moveTo>
                    <a:cubicBezTo>
                      <a:pt x="4272" y="8784"/>
                      <a:pt x="4272" y="8784"/>
                      <a:pt x="4272" y="8784"/>
                    </a:cubicBezTo>
                    <a:cubicBezTo>
                      <a:pt x="4269" y="8841"/>
                      <a:pt x="4269" y="8841"/>
                      <a:pt x="4269" y="8841"/>
                    </a:cubicBezTo>
                    <a:cubicBezTo>
                      <a:pt x="4263" y="8841"/>
                      <a:pt x="4263" y="8841"/>
                      <a:pt x="4263" y="8841"/>
                    </a:cubicBezTo>
                    <a:cubicBezTo>
                      <a:pt x="4146" y="8838"/>
                      <a:pt x="4146" y="8838"/>
                      <a:pt x="4146" y="8838"/>
                    </a:cubicBezTo>
                    <a:cubicBezTo>
                      <a:pt x="4152" y="8720"/>
                      <a:pt x="4152" y="8720"/>
                      <a:pt x="4152" y="8720"/>
                    </a:cubicBezTo>
                    <a:cubicBezTo>
                      <a:pt x="4163" y="8721"/>
                      <a:pt x="4163" y="8721"/>
                      <a:pt x="4163" y="8721"/>
                    </a:cubicBezTo>
                    <a:cubicBezTo>
                      <a:pt x="4165" y="8668"/>
                      <a:pt x="4165" y="8668"/>
                      <a:pt x="4165" y="8668"/>
                    </a:cubicBezTo>
                    <a:cubicBezTo>
                      <a:pt x="4350" y="8678"/>
                      <a:pt x="4350" y="8678"/>
                      <a:pt x="4350" y="8678"/>
                    </a:cubicBezTo>
                    <a:lnTo>
                      <a:pt x="4345" y="8787"/>
                    </a:lnTo>
                    <a:close/>
                    <a:moveTo>
                      <a:pt x="4337" y="8690"/>
                    </a:moveTo>
                    <a:cubicBezTo>
                      <a:pt x="4178" y="8682"/>
                      <a:pt x="4178" y="8682"/>
                      <a:pt x="4178" y="8682"/>
                    </a:cubicBezTo>
                    <a:cubicBezTo>
                      <a:pt x="4175" y="8734"/>
                      <a:pt x="4175" y="8734"/>
                      <a:pt x="4175" y="8734"/>
                    </a:cubicBezTo>
                    <a:cubicBezTo>
                      <a:pt x="4165" y="8734"/>
                      <a:pt x="4165" y="8734"/>
                      <a:pt x="4165" y="8734"/>
                    </a:cubicBezTo>
                    <a:cubicBezTo>
                      <a:pt x="4160" y="8825"/>
                      <a:pt x="4160" y="8825"/>
                      <a:pt x="4160" y="8825"/>
                    </a:cubicBezTo>
                    <a:cubicBezTo>
                      <a:pt x="4257" y="8827"/>
                      <a:pt x="4257" y="8827"/>
                      <a:pt x="4257" y="8827"/>
                    </a:cubicBezTo>
                    <a:cubicBezTo>
                      <a:pt x="4259" y="8770"/>
                      <a:pt x="4259" y="8770"/>
                      <a:pt x="4259" y="8770"/>
                    </a:cubicBezTo>
                    <a:cubicBezTo>
                      <a:pt x="4333" y="8774"/>
                      <a:pt x="4333" y="8774"/>
                      <a:pt x="4333" y="8774"/>
                    </a:cubicBezTo>
                    <a:lnTo>
                      <a:pt x="4337" y="8690"/>
                    </a:lnTo>
                    <a:close/>
                    <a:moveTo>
                      <a:pt x="3741" y="8740"/>
                    </a:moveTo>
                    <a:cubicBezTo>
                      <a:pt x="3678" y="8703"/>
                      <a:pt x="3678" y="8703"/>
                      <a:pt x="3678" y="8703"/>
                    </a:cubicBezTo>
                    <a:cubicBezTo>
                      <a:pt x="3748" y="8581"/>
                      <a:pt x="3748" y="8581"/>
                      <a:pt x="3748" y="8581"/>
                    </a:cubicBezTo>
                    <a:cubicBezTo>
                      <a:pt x="3832" y="8629"/>
                      <a:pt x="3832" y="8629"/>
                      <a:pt x="3832" y="8629"/>
                    </a:cubicBezTo>
                    <a:cubicBezTo>
                      <a:pt x="3823" y="8645"/>
                      <a:pt x="3823" y="8645"/>
                      <a:pt x="3823" y="8645"/>
                    </a:cubicBezTo>
                    <a:cubicBezTo>
                      <a:pt x="3866" y="8670"/>
                      <a:pt x="3866" y="8670"/>
                      <a:pt x="3866" y="8670"/>
                    </a:cubicBezTo>
                    <a:cubicBezTo>
                      <a:pt x="3769" y="8843"/>
                      <a:pt x="3769" y="8843"/>
                      <a:pt x="3769" y="8843"/>
                    </a:cubicBezTo>
                    <a:cubicBezTo>
                      <a:pt x="3763" y="8840"/>
                      <a:pt x="3763" y="8840"/>
                      <a:pt x="3763" y="8840"/>
                    </a:cubicBezTo>
                    <a:cubicBezTo>
                      <a:pt x="3703" y="8805"/>
                      <a:pt x="3703" y="8805"/>
                      <a:pt x="3703" y="8805"/>
                    </a:cubicBezTo>
                    <a:lnTo>
                      <a:pt x="3741" y="8740"/>
                    </a:lnTo>
                    <a:close/>
                    <a:moveTo>
                      <a:pt x="3759" y="8735"/>
                    </a:moveTo>
                    <a:cubicBezTo>
                      <a:pt x="3721" y="8801"/>
                      <a:pt x="3721" y="8801"/>
                      <a:pt x="3721" y="8801"/>
                    </a:cubicBezTo>
                    <a:cubicBezTo>
                      <a:pt x="3764" y="8825"/>
                      <a:pt x="3764" y="8825"/>
                      <a:pt x="3764" y="8825"/>
                    </a:cubicBezTo>
                    <a:cubicBezTo>
                      <a:pt x="3848" y="8675"/>
                      <a:pt x="3848" y="8675"/>
                      <a:pt x="3848" y="8675"/>
                    </a:cubicBezTo>
                    <a:cubicBezTo>
                      <a:pt x="3805" y="8650"/>
                      <a:pt x="3805" y="8650"/>
                      <a:pt x="3805" y="8650"/>
                    </a:cubicBezTo>
                    <a:cubicBezTo>
                      <a:pt x="3814" y="8634"/>
                      <a:pt x="3814" y="8634"/>
                      <a:pt x="3814" y="8634"/>
                    </a:cubicBezTo>
                    <a:cubicBezTo>
                      <a:pt x="3753" y="8599"/>
                      <a:pt x="3753" y="8599"/>
                      <a:pt x="3753" y="8599"/>
                    </a:cubicBezTo>
                    <a:cubicBezTo>
                      <a:pt x="3696" y="8699"/>
                      <a:pt x="3696" y="8699"/>
                      <a:pt x="3696" y="8699"/>
                    </a:cubicBezTo>
                    <a:lnTo>
                      <a:pt x="3759" y="8735"/>
                    </a:lnTo>
                    <a:close/>
                    <a:moveTo>
                      <a:pt x="4673" y="7646"/>
                    </a:moveTo>
                    <a:cubicBezTo>
                      <a:pt x="4810" y="7869"/>
                      <a:pt x="4810" y="7869"/>
                      <a:pt x="4810" y="7869"/>
                    </a:cubicBezTo>
                    <a:cubicBezTo>
                      <a:pt x="4633" y="7963"/>
                      <a:pt x="4633" y="7963"/>
                      <a:pt x="4633" y="7963"/>
                    </a:cubicBezTo>
                    <a:cubicBezTo>
                      <a:pt x="4494" y="7730"/>
                      <a:pt x="4494" y="7730"/>
                      <a:pt x="4494" y="7730"/>
                    </a:cubicBezTo>
                    <a:cubicBezTo>
                      <a:pt x="4669" y="7641"/>
                      <a:pt x="4669" y="7641"/>
                      <a:pt x="4669" y="7641"/>
                    </a:cubicBezTo>
                    <a:lnTo>
                      <a:pt x="4673" y="7646"/>
                    </a:lnTo>
                    <a:close/>
                    <a:moveTo>
                      <a:pt x="4789" y="7863"/>
                    </a:moveTo>
                    <a:cubicBezTo>
                      <a:pt x="4664" y="7660"/>
                      <a:pt x="4664" y="7660"/>
                      <a:pt x="4664" y="7660"/>
                    </a:cubicBezTo>
                    <a:cubicBezTo>
                      <a:pt x="4515" y="7736"/>
                      <a:pt x="4515" y="7736"/>
                      <a:pt x="4515" y="7736"/>
                    </a:cubicBezTo>
                    <a:cubicBezTo>
                      <a:pt x="4639" y="7943"/>
                      <a:pt x="4639" y="7943"/>
                      <a:pt x="4639" y="7943"/>
                    </a:cubicBezTo>
                    <a:lnTo>
                      <a:pt x="4789" y="7863"/>
                    </a:lnTo>
                    <a:close/>
                    <a:moveTo>
                      <a:pt x="3145" y="8212"/>
                    </a:moveTo>
                    <a:cubicBezTo>
                      <a:pt x="3096" y="8127"/>
                      <a:pt x="3096" y="8127"/>
                      <a:pt x="3096" y="8127"/>
                    </a:cubicBezTo>
                    <a:cubicBezTo>
                      <a:pt x="3224" y="8053"/>
                      <a:pt x="3224" y="8053"/>
                      <a:pt x="3224" y="8053"/>
                    </a:cubicBezTo>
                    <a:cubicBezTo>
                      <a:pt x="3276" y="8143"/>
                      <a:pt x="3276" y="8143"/>
                      <a:pt x="3276" y="8143"/>
                    </a:cubicBezTo>
                    <a:cubicBezTo>
                      <a:pt x="3148" y="8217"/>
                      <a:pt x="3148" y="8217"/>
                      <a:pt x="3148" y="8217"/>
                    </a:cubicBezTo>
                    <a:lnTo>
                      <a:pt x="3145" y="8212"/>
                    </a:lnTo>
                    <a:close/>
                    <a:moveTo>
                      <a:pt x="3113" y="8132"/>
                    </a:moveTo>
                    <a:cubicBezTo>
                      <a:pt x="3153" y="8199"/>
                      <a:pt x="3153" y="8199"/>
                      <a:pt x="3153" y="8199"/>
                    </a:cubicBezTo>
                    <a:cubicBezTo>
                      <a:pt x="3258" y="8138"/>
                      <a:pt x="3258" y="8138"/>
                      <a:pt x="3258" y="8138"/>
                    </a:cubicBezTo>
                    <a:cubicBezTo>
                      <a:pt x="3219" y="8070"/>
                      <a:pt x="3219" y="8070"/>
                      <a:pt x="3219" y="8070"/>
                    </a:cubicBezTo>
                    <a:lnTo>
                      <a:pt x="3113" y="8132"/>
                    </a:lnTo>
                    <a:close/>
                    <a:moveTo>
                      <a:pt x="864" y="5804"/>
                    </a:moveTo>
                    <a:cubicBezTo>
                      <a:pt x="1016" y="5881"/>
                      <a:pt x="1016" y="5881"/>
                      <a:pt x="1016" y="5881"/>
                    </a:cubicBezTo>
                    <a:cubicBezTo>
                      <a:pt x="1011" y="5983"/>
                      <a:pt x="1011" y="5983"/>
                      <a:pt x="1011" y="5983"/>
                    </a:cubicBezTo>
                    <a:cubicBezTo>
                      <a:pt x="697" y="5986"/>
                      <a:pt x="697" y="5986"/>
                      <a:pt x="697" y="5986"/>
                    </a:cubicBezTo>
                    <a:cubicBezTo>
                      <a:pt x="709" y="5744"/>
                      <a:pt x="709" y="5744"/>
                      <a:pt x="709" y="5744"/>
                    </a:cubicBezTo>
                    <a:cubicBezTo>
                      <a:pt x="926" y="5697"/>
                      <a:pt x="926" y="5697"/>
                      <a:pt x="926" y="5697"/>
                    </a:cubicBezTo>
                    <a:cubicBezTo>
                      <a:pt x="926" y="5707"/>
                      <a:pt x="926" y="5707"/>
                      <a:pt x="926" y="5707"/>
                    </a:cubicBezTo>
                    <a:cubicBezTo>
                      <a:pt x="925" y="5751"/>
                      <a:pt x="925" y="5751"/>
                      <a:pt x="925" y="5751"/>
                    </a:cubicBezTo>
                    <a:lnTo>
                      <a:pt x="864" y="5804"/>
                    </a:lnTo>
                    <a:close/>
                    <a:moveTo>
                      <a:pt x="838" y="5807"/>
                    </a:moveTo>
                    <a:cubicBezTo>
                      <a:pt x="910" y="5745"/>
                      <a:pt x="910" y="5745"/>
                      <a:pt x="910" y="5745"/>
                    </a:cubicBezTo>
                    <a:cubicBezTo>
                      <a:pt x="911" y="5716"/>
                      <a:pt x="911" y="5716"/>
                      <a:pt x="911" y="5716"/>
                    </a:cubicBezTo>
                    <a:cubicBezTo>
                      <a:pt x="723" y="5756"/>
                      <a:pt x="723" y="5756"/>
                      <a:pt x="723" y="5756"/>
                    </a:cubicBezTo>
                    <a:cubicBezTo>
                      <a:pt x="713" y="5972"/>
                      <a:pt x="713" y="5972"/>
                      <a:pt x="713" y="5972"/>
                    </a:cubicBezTo>
                    <a:cubicBezTo>
                      <a:pt x="997" y="5969"/>
                      <a:pt x="997" y="5969"/>
                      <a:pt x="997" y="5969"/>
                    </a:cubicBezTo>
                    <a:cubicBezTo>
                      <a:pt x="1000" y="5890"/>
                      <a:pt x="1000" y="5890"/>
                      <a:pt x="1000" y="5890"/>
                    </a:cubicBezTo>
                    <a:lnTo>
                      <a:pt x="838" y="5807"/>
                    </a:lnTo>
                    <a:close/>
                    <a:moveTo>
                      <a:pt x="1391" y="6963"/>
                    </a:moveTo>
                    <a:cubicBezTo>
                      <a:pt x="1443" y="6852"/>
                      <a:pt x="1443" y="6852"/>
                      <a:pt x="1443" y="6852"/>
                    </a:cubicBezTo>
                    <a:cubicBezTo>
                      <a:pt x="1504" y="6909"/>
                      <a:pt x="1504" y="6909"/>
                      <a:pt x="1504" y="6909"/>
                    </a:cubicBezTo>
                    <a:cubicBezTo>
                      <a:pt x="1453" y="7015"/>
                      <a:pt x="1453" y="7015"/>
                      <a:pt x="1453" y="7015"/>
                    </a:cubicBezTo>
                    <a:cubicBezTo>
                      <a:pt x="1456" y="7018"/>
                      <a:pt x="1456" y="7018"/>
                      <a:pt x="1456" y="7018"/>
                    </a:cubicBezTo>
                    <a:cubicBezTo>
                      <a:pt x="1450" y="7024"/>
                      <a:pt x="1450" y="7024"/>
                      <a:pt x="1450" y="7024"/>
                    </a:cubicBezTo>
                    <a:cubicBezTo>
                      <a:pt x="1449" y="7023"/>
                      <a:pt x="1449" y="7023"/>
                      <a:pt x="1449" y="7023"/>
                    </a:cubicBezTo>
                    <a:cubicBezTo>
                      <a:pt x="1399" y="7128"/>
                      <a:pt x="1399" y="7128"/>
                      <a:pt x="1399" y="7128"/>
                    </a:cubicBezTo>
                    <a:cubicBezTo>
                      <a:pt x="1401" y="7130"/>
                      <a:pt x="1401" y="7130"/>
                      <a:pt x="1401" y="7130"/>
                    </a:cubicBezTo>
                    <a:cubicBezTo>
                      <a:pt x="1396" y="7136"/>
                      <a:pt x="1396" y="7136"/>
                      <a:pt x="1396" y="7136"/>
                    </a:cubicBezTo>
                    <a:cubicBezTo>
                      <a:pt x="1395" y="7135"/>
                      <a:pt x="1395" y="7135"/>
                      <a:pt x="1395" y="7135"/>
                    </a:cubicBezTo>
                    <a:cubicBezTo>
                      <a:pt x="1344" y="7241"/>
                      <a:pt x="1344" y="7241"/>
                      <a:pt x="1344" y="7241"/>
                    </a:cubicBezTo>
                    <a:cubicBezTo>
                      <a:pt x="1347" y="7243"/>
                      <a:pt x="1347" y="7243"/>
                      <a:pt x="1347" y="7243"/>
                    </a:cubicBezTo>
                    <a:cubicBezTo>
                      <a:pt x="1342" y="7249"/>
                      <a:pt x="1342" y="7249"/>
                      <a:pt x="1342" y="7249"/>
                    </a:cubicBezTo>
                    <a:cubicBezTo>
                      <a:pt x="1341" y="7248"/>
                      <a:pt x="1341" y="7248"/>
                      <a:pt x="1341" y="7248"/>
                    </a:cubicBezTo>
                    <a:cubicBezTo>
                      <a:pt x="1285" y="7365"/>
                      <a:pt x="1285" y="7365"/>
                      <a:pt x="1285" y="7365"/>
                    </a:cubicBezTo>
                    <a:cubicBezTo>
                      <a:pt x="1287" y="7367"/>
                      <a:pt x="1287" y="7367"/>
                      <a:pt x="1287" y="7367"/>
                    </a:cubicBezTo>
                    <a:cubicBezTo>
                      <a:pt x="1282" y="7373"/>
                      <a:pt x="1282" y="7373"/>
                      <a:pt x="1282" y="7373"/>
                    </a:cubicBezTo>
                    <a:cubicBezTo>
                      <a:pt x="1281" y="7373"/>
                      <a:pt x="1281" y="7373"/>
                      <a:pt x="1281" y="7373"/>
                    </a:cubicBezTo>
                    <a:cubicBezTo>
                      <a:pt x="1227" y="7487"/>
                      <a:pt x="1227" y="7487"/>
                      <a:pt x="1227" y="7487"/>
                    </a:cubicBezTo>
                    <a:cubicBezTo>
                      <a:pt x="1230" y="7490"/>
                      <a:pt x="1230" y="7490"/>
                      <a:pt x="1230" y="7490"/>
                    </a:cubicBezTo>
                    <a:cubicBezTo>
                      <a:pt x="1225" y="7496"/>
                      <a:pt x="1225" y="7496"/>
                      <a:pt x="1225" y="7496"/>
                    </a:cubicBezTo>
                    <a:cubicBezTo>
                      <a:pt x="1223" y="7494"/>
                      <a:pt x="1223" y="7494"/>
                      <a:pt x="1223" y="7494"/>
                    </a:cubicBezTo>
                    <a:cubicBezTo>
                      <a:pt x="1168" y="7609"/>
                      <a:pt x="1168" y="7609"/>
                      <a:pt x="1168" y="7609"/>
                    </a:cubicBezTo>
                    <a:cubicBezTo>
                      <a:pt x="1104" y="7564"/>
                      <a:pt x="1104" y="7564"/>
                      <a:pt x="1104" y="7564"/>
                    </a:cubicBezTo>
                    <a:cubicBezTo>
                      <a:pt x="1162" y="7442"/>
                      <a:pt x="1162" y="7442"/>
                      <a:pt x="1162" y="7442"/>
                    </a:cubicBezTo>
                    <a:cubicBezTo>
                      <a:pt x="1159" y="7440"/>
                      <a:pt x="1159" y="7440"/>
                      <a:pt x="1159" y="7440"/>
                    </a:cubicBezTo>
                    <a:cubicBezTo>
                      <a:pt x="1164" y="7434"/>
                      <a:pt x="1164" y="7434"/>
                      <a:pt x="1164" y="7434"/>
                    </a:cubicBezTo>
                    <a:cubicBezTo>
                      <a:pt x="1166" y="7435"/>
                      <a:pt x="1166" y="7435"/>
                      <a:pt x="1166" y="7435"/>
                    </a:cubicBezTo>
                    <a:cubicBezTo>
                      <a:pt x="1220" y="7320"/>
                      <a:pt x="1220" y="7320"/>
                      <a:pt x="1220" y="7320"/>
                    </a:cubicBezTo>
                    <a:cubicBezTo>
                      <a:pt x="1216" y="7317"/>
                      <a:pt x="1216" y="7317"/>
                      <a:pt x="1216" y="7317"/>
                    </a:cubicBezTo>
                    <a:cubicBezTo>
                      <a:pt x="1222" y="7311"/>
                      <a:pt x="1222" y="7311"/>
                      <a:pt x="1222" y="7311"/>
                    </a:cubicBezTo>
                    <a:cubicBezTo>
                      <a:pt x="1224" y="7313"/>
                      <a:pt x="1224" y="7313"/>
                      <a:pt x="1224" y="7313"/>
                    </a:cubicBezTo>
                    <a:cubicBezTo>
                      <a:pt x="1279" y="7196"/>
                      <a:pt x="1279" y="7196"/>
                      <a:pt x="1279" y="7196"/>
                    </a:cubicBezTo>
                    <a:cubicBezTo>
                      <a:pt x="1276" y="7193"/>
                      <a:pt x="1276" y="7193"/>
                      <a:pt x="1276" y="7193"/>
                    </a:cubicBezTo>
                    <a:cubicBezTo>
                      <a:pt x="1281" y="7187"/>
                      <a:pt x="1281" y="7187"/>
                      <a:pt x="1281" y="7187"/>
                    </a:cubicBezTo>
                    <a:cubicBezTo>
                      <a:pt x="1283" y="7188"/>
                      <a:pt x="1283" y="7188"/>
                      <a:pt x="1283" y="7188"/>
                    </a:cubicBezTo>
                    <a:cubicBezTo>
                      <a:pt x="1333" y="7083"/>
                      <a:pt x="1333" y="7083"/>
                      <a:pt x="1333" y="7083"/>
                    </a:cubicBezTo>
                    <a:cubicBezTo>
                      <a:pt x="1330" y="7080"/>
                      <a:pt x="1330" y="7080"/>
                      <a:pt x="1330" y="7080"/>
                    </a:cubicBezTo>
                    <a:cubicBezTo>
                      <a:pt x="1336" y="7074"/>
                      <a:pt x="1336" y="7074"/>
                      <a:pt x="1336" y="7074"/>
                    </a:cubicBezTo>
                    <a:cubicBezTo>
                      <a:pt x="1337" y="7075"/>
                      <a:pt x="1337" y="7075"/>
                      <a:pt x="1337" y="7075"/>
                    </a:cubicBezTo>
                    <a:cubicBezTo>
                      <a:pt x="1387" y="6970"/>
                      <a:pt x="1387" y="6970"/>
                      <a:pt x="1387" y="6970"/>
                    </a:cubicBezTo>
                    <a:cubicBezTo>
                      <a:pt x="1384" y="6968"/>
                      <a:pt x="1384" y="6968"/>
                      <a:pt x="1384" y="6968"/>
                    </a:cubicBezTo>
                    <a:cubicBezTo>
                      <a:pt x="1390" y="6962"/>
                      <a:pt x="1390" y="6962"/>
                      <a:pt x="1390" y="6962"/>
                    </a:cubicBezTo>
                    <a:lnTo>
                      <a:pt x="1391" y="6963"/>
                    </a:lnTo>
                    <a:close/>
                    <a:moveTo>
                      <a:pt x="1212" y="7485"/>
                    </a:moveTo>
                    <a:cubicBezTo>
                      <a:pt x="1173" y="7452"/>
                      <a:pt x="1173" y="7452"/>
                      <a:pt x="1173" y="7452"/>
                    </a:cubicBezTo>
                    <a:cubicBezTo>
                      <a:pt x="1121" y="7560"/>
                      <a:pt x="1121" y="7560"/>
                      <a:pt x="1121" y="7560"/>
                    </a:cubicBezTo>
                    <a:cubicBezTo>
                      <a:pt x="1162" y="7588"/>
                      <a:pt x="1162" y="7588"/>
                      <a:pt x="1162" y="7588"/>
                    </a:cubicBezTo>
                    <a:lnTo>
                      <a:pt x="1212" y="7485"/>
                    </a:lnTo>
                    <a:close/>
                    <a:moveTo>
                      <a:pt x="1270" y="7363"/>
                    </a:moveTo>
                    <a:cubicBezTo>
                      <a:pt x="1231" y="7330"/>
                      <a:pt x="1231" y="7330"/>
                      <a:pt x="1231" y="7330"/>
                    </a:cubicBezTo>
                    <a:cubicBezTo>
                      <a:pt x="1177" y="7444"/>
                      <a:pt x="1177" y="7444"/>
                      <a:pt x="1177" y="7444"/>
                    </a:cubicBezTo>
                    <a:cubicBezTo>
                      <a:pt x="1216" y="7477"/>
                      <a:pt x="1216" y="7477"/>
                      <a:pt x="1216" y="7477"/>
                    </a:cubicBezTo>
                    <a:lnTo>
                      <a:pt x="1270" y="7363"/>
                    </a:lnTo>
                    <a:close/>
                    <a:moveTo>
                      <a:pt x="1330" y="7239"/>
                    </a:moveTo>
                    <a:cubicBezTo>
                      <a:pt x="1290" y="7205"/>
                      <a:pt x="1290" y="7205"/>
                      <a:pt x="1290" y="7205"/>
                    </a:cubicBezTo>
                    <a:cubicBezTo>
                      <a:pt x="1235" y="7322"/>
                      <a:pt x="1235" y="7322"/>
                      <a:pt x="1235" y="7322"/>
                    </a:cubicBezTo>
                    <a:cubicBezTo>
                      <a:pt x="1274" y="7356"/>
                      <a:pt x="1274" y="7356"/>
                      <a:pt x="1274" y="7356"/>
                    </a:cubicBezTo>
                    <a:lnTo>
                      <a:pt x="1330" y="7239"/>
                    </a:lnTo>
                    <a:close/>
                    <a:moveTo>
                      <a:pt x="1384" y="7126"/>
                    </a:moveTo>
                    <a:cubicBezTo>
                      <a:pt x="1344" y="7092"/>
                      <a:pt x="1344" y="7092"/>
                      <a:pt x="1344" y="7092"/>
                    </a:cubicBezTo>
                    <a:cubicBezTo>
                      <a:pt x="1294" y="7198"/>
                      <a:pt x="1294" y="7198"/>
                      <a:pt x="1294" y="7198"/>
                    </a:cubicBezTo>
                    <a:cubicBezTo>
                      <a:pt x="1334" y="7231"/>
                      <a:pt x="1334" y="7231"/>
                      <a:pt x="1334" y="7231"/>
                    </a:cubicBezTo>
                    <a:lnTo>
                      <a:pt x="1384" y="7126"/>
                    </a:lnTo>
                    <a:close/>
                    <a:moveTo>
                      <a:pt x="1402" y="6972"/>
                    </a:moveTo>
                    <a:cubicBezTo>
                      <a:pt x="1442" y="7006"/>
                      <a:pt x="1442" y="7006"/>
                      <a:pt x="1442" y="7006"/>
                    </a:cubicBezTo>
                    <a:cubicBezTo>
                      <a:pt x="1487" y="6912"/>
                      <a:pt x="1487" y="6912"/>
                      <a:pt x="1487" y="6912"/>
                    </a:cubicBezTo>
                    <a:cubicBezTo>
                      <a:pt x="1448" y="6876"/>
                      <a:pt x="1448" y="6876"/>
                      <a:pt x="1448" y="6876"/>
                    </a:cubicBezTo>
                    <a:lnTo>
                      <a:pt x="1402" y="6972"/>
                    </a:lnTo>
                    <a:close/>
                    <a:moveTo>
                      <a:pt x="1398" y="6980"/>
                    </a:moveTo>
                    <a:cubicBezTo>
                      <a:pt x="1348" y="7084"/>
                      <a:pt x="1348" y="7084"/>
                      <a:pt x="1348" y="7084"/>
                    </a:cubicBezTo>
                    <a:cubicBezTo>
                      <a:pt x="1388" y="7118"/>
                      <a:pt x="1388" y="7118"/>
                      <a:pt x="1388" y="7118"/>
                    </a:cubicBezTo>
                    <a:cubicBezTo>
                      <a:pt x="1438" y="7014"/>
                      <a:pt x="1438" y="7014"/>
                      <a:pt x="1438" y="7014"/>
                    </a:cubicBezTo>
                    <a:lnTo>
                      <a:pt x="1398" y="6980"/>
                    </a:lnTo>
                    <a:close/>
                    <a:moveTo>
                      <a:pt x="1198" y="5733"/>
                    </a:moveTo>
                    <a:cubicBezTo>
                      <a:pt x="1187" y="5716"/>
                      <a:pt x="1187" y="5716"/>
                      <a:pt x="1187" y="5716"/>
                    </a:cubicBezTo>
                    <a:cubicBezTo>
                      <a:pt x="1207" y="5712"/>
                      <a:pt x="1207" y="5712"/>
                      <a:pt x="1207" y="5712"/>
                    </a:cubicBezTo>
                    <a:cubicBezTo>
                      <a:pt x="1301" y="5692"/>
                      <a:pt x="1301" y="5692"/>
                      <a:pt x="1301" y="5692"/>
                    </a:cubicBezTo>
                    <a:cubicBezTo>
                      <a:pt x="1306" y="5691"/>
                      <a:pt x="1306" y="5691"/>
                      <a:pt x="1306" y="5691"/>
                    </a:cubicBezTo>
                    <a:cubicBezTo>
                      <a:pt x="1310" y="5693"/>
                      <a:pt x="1310" y="5693"/>
                      <a:pt x="1310" y="5693"/>
                    </a:cubicBezTo>
                    <a:cubicBezTo>
                      <a:pt x="1421" y="5757"/>
                      <a:pt x="1421" y="5757"/>
                      <a:pt x="1421" y="5757"/>
                    </a:cubicBezTo>
                    <a:cubicBezTo>
                      <a:pt x="1428" y="5760"/>
                      <a:pt x="1428" y="5760"/>
                      <a:pt x="1428" y="5760"/>
                    </a:cubicBezTo>
                    <a:cubicBezTo>
                      <a:pt x="1428" y="5767"/>
                      <a:pt x="1428" y="5767"/>
                      <a:pt x="1428" y="5767"/>
                    </a:cubicBezTo>
                    <a:cubicBezTo>
                      <a:pt x="1465" y="6064"/>
                      <a:pt x="1465" y="6064"/>
                      <a:pt x="1465" y="6064"/>
                    </a:cubicBezTo>
                    <a:cubicBezTo>
                      <a:pt x="1465" y="6069"/>
                      <a:pt x="1465" y="6069"/>
                      <a:pt x="1465" y="6069"/>
                    </a:cubicBezTo>
                    <a:cubicBezTo>
                      <a:pt x="1462" y="6073"/>
                      <a:pt x="1462" y="6073"/>
                      <a:pt x="1462" y="6073"/>
                    </a:cubicBezTo>
                    <a:cubicBezTo>
                      <a:pt x="1420" y="6135"/>
                      <a:pt x="1420" y="6135"/>
                      <a:pt x="1420" y="6135"/>
                    </a:cubicBezTo>
                    <a:cubicBezTo>
                      <a:pt x="1412" y="6147"/>
                      <a:pt x="1412" y="6147"/>
                      <a:pt x="1412" y="6147"/>
                    </a:cubicBezTo>
                    <a:cubicBezTo>
                      <a:pt x="1400" y="6138"/>
                      <a:pt x="1400" y="6138"/>
                      <a:pt x="1400" y="6138"/>
                    </a:cubicBezTo>
                    <a:cubicBezTo>
                      <a:pt x="1285" y="6049"/>
                      <a:pt x="1285" y="6049"/>
                      <a:pt x="1285" y="6049"/>
                    </a:cubicBezTo>
                    <a:cubicBezTo>
                      <a:pt x="1279" y="6045"/>
                      <a:pt x="1279" y="6045"/>
                      <a:pt x="1279" y="6045"/>
                    </a:cubicBezTo>
                    <a:cubicBezTo>
                      <a:pt x="1279" y="6039"/>
                      <a:pt x="1279" y="6039"/>
                      <a:pt x="1279" y="6039"/>
                    </a:cubicBezTo>
                    <a:cubicBezTo>
                      <a:pt x="1272" y="5846"/>
                      <a:pt x="1272" y="5846"/>
                      <a:pt x="1272" y="5846"/>
                    </a:cubicBezTo>
                    <a:lnTo>
                      <a:pt x="1198" y="5733"/>
                    </a:lnTo>
                    <a:close/>
                    <a:moveTo>
                      <a:pt x="1210" y="5725"/>
                    </a:moveTo>
                    <a:cubicBezTo>
                      <a:pt x="1285" y="5842"/>
                      <a:pt x="1285" y="5842"/>
                      <a:pt x="1285" y="5842"/>
                    </a:cubicBezTo>
                    <a:cubicBezTo>
                      <a:pt x="1293" y="6038"/>
                      <a:pt x="1293" y="6038"/>
                      <a:pt x="1293" y="6038"/>
                    </a:cubicBezTo>
                    <a:cubicBezTo>
                      <a:pt x="1409" y="6127"/>
                      <a:pt x="1409" y="6127"/>
                      <a:pt x="1409" y="6127"/>
                    </a:cubicBezTo>
                    <a:cubicBezTo>
                      <a:pt x="1451" y="6066"/>
                      <a:pt x="1451" y="6066"/>
                      <a:pt x="1451" y="6066"/>
                    </a:cubicBezTo>
                    <a:cubicBezTo>
                      <a:pt x="1415" y="5769"/>
                      <a:pt x="1415" y="5769"/>
                      <a:pt x="1415" y="5769"/>
                    </a:cubicBezTo>
                    <a:cubicBezTo>
                      <a:pt x="1304" y="5706"/>
                      <a:pt x="1304" y="5706"/>
                      <a:pt x="1304" y="5706"/>
                    </a:cubicBezTo>
                    <a:lnTo>
                      <a:pt x="1210" y="5725"/>
                    </a:lnTo>
                    <a:close/>
                    <a:moveTo>
                      <a:pt x="1696" y="6446"/>
                    </a:moveTo>
                    <a:cubicBezTo>
                      <a:pt x="1581" y="6407"/>
                      <a:pt x="1581" y="6407"/>
                      <a:pt x="1581" y="6407"/>
                    </a:cubicBezTo>
                    <a:cubicBezTo>
                      <a:pt x="1694" y="6233"/>
                      <a:pt x="1694" y="6233"/>
                      <a:pt x="1694" y="6233"/>
                    </a:cubicBezTo>
                    <a:cubicBezTo>
                      <a:pt x="1801" y="6274"/>
                      <a:pt x="1801" y="6274"/>
                      <a:pt x="1801" y="6274"/>
                    </a:cubicBezTo>
                    <a:lnTo>
                      <a:pt x="1696" y="6446"/>
                    </a:lnTo>
                    <a:close/>
                    <a:moveTo>
                      <a:pt x="1690" y="6429"/>
                    </a:moveTo>
                    <a:cubicBezTo>
                      <a:pt x="1780" y="6281"/>
                      <a:pt x="1780" y="6281"/>
                      <a:pt x="1780" y="6281"/>
                    </a:cubicBezTo>
                    <a:cubicBezTo>
                      <a:pt x="1700" y="6251"/>
                      <a:pt x="1700" y="6251"/>
                      <a:pt x="1700" y="6251"/>
                    </a:cubicBezTo>
                    <a:cubicBezTo>
                      <a:pt x="1603" y="6399"/>
                      <a:pt x="1603" y="6399"/>
                      <a:pt x="1603" y="6399"/>
                    </a:cubicBezTo>
                    <a:lnTo>
                      <a:pt x="1690" y="6429"/>
                    </a:lnTo>
                    <a:close/>
                    <a:moveTo>
                      <a:pt x="1409" y="6598"/>
                    </a:moveTo>
                    <a:cubicBezTo>
                      <a:pt x="1522" y="6425"/>
                      <a:pt x="1522" y="6425"/>
                      <a:pt x="1522" y="6425"/>
                    </a:cubicBezTo>
                    <a:cubicBezTo>
                      <a:pt x="1637" y="6470"/>
                      <a:pt x="1637" y="6470"/>
                      <a:pt x="1637" y="6470"/>
                    </a:cubicBezTo>
                    <a:cubicBezTo>
                      <a:pt x="1532" y="6641"/>
                      <a:pt x="1532" y="6641"/>
                      <a:pt x="1532" y="6641"/>
                    </a:cubicBezTo>
                    <a:lnTo>
                      <a:pt x="1409" y="6598"/>
                    </a:lnTo>
                    <a:close/>
                    <a:moveTo>
                      <a:pt x="1431" y="6591"/>
                    </a:moveTo>
                    <a:cubicBezTo>
                      <a:pt x="1526" y="6624"/>
                      <a:pt x="1526" y="6624"/>
                      <a:pt x="1526" y="6624"/>
                    </a:cubicBezTo>
                    <a:cubicBezTo>
                      <a:pt x="1616" y="6477"/>
                      <a:pt x="1616" y="6477"/>
                      <a:pt x="1616" y="6477"/>
                    </a:cubicBezTo>
                    <a:cubicBezTo>
                      <a:pt x="1527" y="6442"/>
                      <a:pt x="1527" y="6442"/>
                      <a:pt x="1527" y="6442"/>
                    </a:cubicBezTo>
                    <a:lnTo>
                      <a:pt x="1431" y="6591"/>
                    </a:lnTo>
                    <a:close/>
                    <a:moveTo>
                      <a:pt x="8011" y="3596"/>
                    </a:moveTo>
                    <a:cubicBezTo>
                      <a:pt x="8111" y="3643"/>
                      <a:pt x="8111" y="3643"/>
                      <a:pt x="8111" y="3643"/>
                    </a:cubicBezTo>
                    <a:cubicBezTo>
                      <a:pt x="7990" y="3878"/>
                      <a:pt x="7990" y="3878"/>
                      <a:pt x="7990" y="3878"/>
                    </a:cubicBezTo>
                    <a:cubicBezTo>
                      <a:pt x="7886" y="3824"/>
                      <a:pt x="7886" y="3824"/>
                      <a:pt x="7886" y="3824"/>
                    </a:cubicBezTo>
                    <a:cubicBezTo>
                      <a:pt x="8005" y="3593"/>
                      <a:pt x="8005" y="3593"/>
                      <a:pt x="8005" y="3593"/>
                    </a:cubicBezTo>
                    <a:lnTo>
                      <a:pt x="8011" y="3596"/>
                    </a:lnTo>
                    <a:close/>
                    <a:moveTo>
                      <a:pt x="8011" y="3613"/>
                    </a:moveTo>
                    <a:cubicBezTo>
                      <a:pt x="7906" y="3818"/>
                      <a:pt x="7906" y="3818"/>
                      <a:pt x="7906" y="3818"/>
                    </a:cubicBezTo>
                    <a:cubicBezTo>
                      <a:pt x="7984" y="3858"/>
                      <a:pt x="7984" y="3858"/>
                      <a:pt x="7984" y="3858"/>
                    </a:cubicBezTo>
                    <a:cubicBezTo>
                      <a:pt x="8091" y="3650"/>
                      <a:pt x="8091" y="3650"/>
                      <a:pt x="8091" y="3650"/>
                    </a:cubicBezTo>
                    <a:lnTo>
                      <a:pt x="8011" y="3613"/>
                    </a:lnTo>
                    <a:close/>
                    <a:moveTo>
                      <a:pt x="435" y="1447"/>
                    </a:moveTo>
                    <a:cubicBezTo>
                      <a:pt x="676" y="1253"/>
                      <a:pt x="676" y="1253"/>
                      <a:pt x="676" y="1253"/>
                    </a:cubicBezTo>
                    <a:cubicBezTo>
                      <a:pt x="676" y="1269"/>
                      <a:pt x="676" y="1269"/>
                      <a:pt x="676" y="1269"/>
                    </a:cubicBezTo>
                    <a:cubicBezTo>
                      <a:pt x="672" y="1460"/>
                      <a:pt x="672" y="1460"/>
                      <a:pt x="672" y="1460"/>
                    </a:cubicBezTo>
                    <a:cubicBezTo>
                      <a:pt x="538" y="1554"/>
                      <a:pt x="538" y="1554"/>
                      <a:pt x="538" y="1554"/>
                    </a:cubicBezTo>
                    <a:lnTo>
                      <a:pt x="435" y="1447"/>
                    </a:lnTo>
                    <a:close/>
                    <a:moveTo>
                      <a:pt x="661" y="1285"/>
                    </a:moveTo>
                    <a:cubicBezTo>
                      <a:pt x="457" y="1449"/>
                      <a:pt x="457" y="1449"/>
                      <a:pt x="457" y="1449"/>
                    </a:cubicBezTo>
                    <a:cubicBezTo>
                      <a:pt x="540" y="1535"/>
                      <a:pt x="540" y="1535"/>
                      <a:pt x="540" y="1535"/>
                    </a:cubicBezTo>
                    <a:cubicBezTo>
                      <a:pt x="657" y="1452"/>
                      <a:pt x="657" y="1452"/>
                      <a:pt x="657" y="1452"/>
                    </a:cubicBezTo>
                    <a:lnTo>
                      <a:pt x="661" y="1285"/>
                    </a:lnTo>
                    <a:close/>
                    <a:moveTo>
                      <a:pt x="8280" y="3575"/>
                    </a:moveTo>
                    <a:cubicBezTo>
                      <a:pt x="8031" y="4058"/>
                      <a:pt x="8031" y="4058"/>
                      <a:pt x="8031" y="4058"/>
                    </a:cubicBezTo>
                    <a:cubicBezTo>
                      <a:pt x="7915" y="3999"/>
                      <a:pt x="7915" y="3999"/>
                      <a:pt x="7915" y="3999"/>
                    </a:cubicBezTo>
                    <a:cubicBezTo>
                      <a:pt x="7944" y="3942"/>
                      <a:pt x="7944" y="3942"/>
                      <a:pt x="7944" y="3942"/>
                    </a:cubicBezTo>
                    <a:cubicBezTo>
                      <a:pt x="7863" y="3900"/>
                      <a:pt x="7863" y="3900"/>
                      <a:pt x="7863" y="3900"/>
                    </a:cubicBezTo>
                    <a:cubicBezTo>
                      <a:pt x="7833" y="3958"/>
                      <a:pt x="7833" y="3958"/>
                      <a:pt x="7833" y="3958"/>
                    </a:cubicBezTo>
                    <a:cubicBezTo>
                      <a:pt x="7717" y="3898"/>
                      <a:pt x="7717" y="3898"/>
                      <a:pt x="7717" y="3898"/>
                    </a:cubicBezTo>
                    <a:cubicBezTo>
                      <a:pt x="7966" y="3415"/>
                      <a:pt x="7966" y="3415"/>
                      <a:pt x="7966" y="3415"/>
                    </a:cubicBezTo>
                    <a:cubicBezTo>
                      <a:pt x="7972" y="3418"/>
                      <a:pt x="7972" y="3418"/>
                      <a:pt x="7972" y="3418"/>
                    </a:cubicBezTo>
                    <a:cubicBezTo>
                      <a:pt x="8080" y="3472"/>
                      <a:pt x="8080" y="3472"/>
                      <a:pt x="8080" y="3472"/>
                    </a:cubicBezTo>
                    <a:cubicBezTo>
                      <a:pt x="8051" y="3530"/>
                      <a:pt x="8051" y="3530"/>
                      <a:pt x="8051" y="3530"/>
                    </a:cubicBezTo>
                    <a:cubicBezTo>
                      <a:pt x="8133" y="3572"/>
                      <a:pt x="8133" y="3572"/>
                      <a:pt x="8133" y="3572"/>
                    </a:cubicBezTo>
                    <a:cubicBezTo>
                      <a:pt x="8162" y="3514"/>
                      <a:pt x="8162" y="3514"/>
                      <a:pt x="8162" y="3514"/>
                    </a:cubicBezTo>
                    <a:lnTo>
                      <a:pt x="8280" y="3575"/>
                    </a:lnTo>
                    <a:close/>
                    <a:moveTo>
                      <a:pt x="8260" y="3581"/>
                    </a:moveTo>
                    <a:cubicBezTo>
                      <a:pt x="8169" y="3534"/>
                      <a:pt x="8169" y="3534"/>
                      <a:pt x="8169" y="3534"/>
                    </a:cubicBezTo>
                    <a:cubicBezTo>
                      <a:pt x="8139" y="3592"/>
                      <a:pt x="8139" y="3592"/>
                      <a:pt x="8139" y="3592"/>
                    </a:cubicBezTo>
                    <a:cubicBezTo>
                      <a:pt x="8031" y="3537"/>
                      <a:pt x="8031" y="3537"/>
                      <a:pt x="8031" y="3537"/>
                    </a:cubicBezTo>
                    <a:cubicBezTo>
                      <a:pt x="8061" y="3479"/>
                      <a:pt x="8061" y="3479"/>
                      <a:pt x="8061" y="3479"/>
                    </a:cubicBezTo>
                    <a:cubicBezTo>
                      <a:pt x="7972" y="3435"/>
                      <a:pt x="7972" y="3435"/>
                      <a:pt x="7972" y="3435"/>
                    </a:cubicBezTo>
                    <a:cubicBezTo>
                      <a:pt x="7737" y="3892"/>
                      <a:pt x="7737" y="3892"/>
                      <a:pt x="7737" y="3892"/>
                    </a:cubicBezTo>
                    <a:cubicBezTo>
                      <a:pt x="7827" y="3938"/>
                      <a:pt x="7827" y="3938"/>
                      <a:pt x="7827" y="3938"/>
                    </a:cubicBezTo>
                    <a:cubicBezTo>
                      <a:pt x="7857" y="3880"/>
                      <a:pt x="7857" y="3880"/>
                      <a:pt x="7857" y="3880"/>
                    </a:cubicBezTo>
                    <a:cubicBezTo>
                      <a:pt x="7964" y="3935"/>
                      <a:pt x="7964" y="3935"/>
                      <a:pt x="7964" y="3935"/>
                    </a:cubicBezTo>
                    <a:cubicBezTo>
                      <a:pt x="7934" y="3992"/>
                      <a:pt x="7934" y="3992"/>
                      <a:pt x="7934" y="3992"/>
                    </a:cubicBezTo>
                    <a:cubicBezTo>
                      <a:pt x="8024" y="4039"/>
                      <a:pt x="8024" y="4039"/>
                      <a:pt x="8024" y="4039"/>
                    </a:cubicBezTo>
                    <a:lnTo>
                      <a:pt x="8260" y="3581"/>
                    </a:lnTo>
                    <a:close/>
                    <a:moveTo>
                      <a:pt x="8633" y="2713"/>
                    </a:moveTo>
                    <a:cubicBezTo>
                      <a:pt x="8531" y="2894"/>
                      <a:pt x="8531" y="2894"/>
                      <a:pt x="8531" y="2894"/>
                    </a:cubicBezTo>
                    <a:cubicBezTo>
                      <a:pt x="8411" y="2828"/>
                      <a:pt x="8411" y="2828"/>
                      <a:pt x="8411" y="2828"/>
                    </a:cubicBezTo>
                    <a:cubicBezTo>
                      <a:pt x="8545" y="2595"/>
                      <a:pt x="8545" y="2595"/>
                      <a:pt x="8545" y="2595"/>
                    </a:cubicBezTo>
                    <a:cubicBezTo>
                      <a:pt x="8422" y="2523"/>
                      <a:pt x="8422" y="2523"/>
                      <a:pt x="8422" y="2523"/>
                    </a:cubicBezTo>
                    <a:cubicBezTo>
                      <a:pt x="8288" y="2756"/>
                      <a:pt x="8288" y="2756"/>
                      <a:pt x="8288" y="2756"/>
                    </a:cubicBezTo>
                    <a:cubicBezTo>
                      <a:pt x="8210" y="2709"/>
                      <a:pt x="8210" y="2709"/>
                      <a:pt x="8210" y="2709"/>
                    </a:cubicBezTo>
                    <a:cubicBezTo>
                      <a:pt x="8371" y="2435"/>
                      <a:pt x="8371" y="2435"/>
                      <a:pt x="8371" y="2435"/>
                    </a:cubicBezTo>
                    <a:cubicBezTo>
                      <a:pt x="8309" y="2400"/>
                      <a:pt x="8309" y="2400"/>
                      <a:pt x="8309" y="2400"/>
                    </a:cubicBezTo>
                    <a:cubicBezTo>
                      <a:pt x="8229" y="2537"/>
                      <a:pt x="8229" y="2537"/>
                      <a:pt x="8229" y="2537"/>
                    </a:cubicBezTo>
                    <a:cubicBezTo>
                      <a:pt x="8162" y="2499"/>
                      <a:pt x="8162" y="2499"/>
                      <a:pt x="8162" y="2499"/>
                    </a:cubicBezTo>
                    <a:cubicBezTo>
                      <a:pt x="8241" y="2355"/>
                      <a:pt x="8241" y="2355"/>
                      <a:pt x="8241" y="2355"/>
                    </a:cubicBezTo>
                    <a:cubicBezTo>
                      <a:pt x="8183" y="2324"/>
                      <a:pt x="8183" y="2324"/>
                      <a:pt x="8183" y="2324"/>
                    </a:cubicBezTo>
                    <a:cubicBezTo>
                      <a:pt x="8241" y="2234"/>
                      <a:pt x="8241" y="2234"/>
                      <a:pt x="8241" y="2234"/>
                    </a:cubicBezTo>
                    <a:cubicBezTo>
                      <a:pt x="8247" y="2237"/>
                      <a:pt x="8247" y="2237"/>
                      <a:pt x="8247" y="2237"/>
                    </a:cubicBezTo>
                    <a:cubicBezTo>
                      <a:pt x="8423" y="2333"/>
                      <a:pt x="8423" y="2333"/>
                      <a:pt x="8423" y="2333"/>
                    </a:cubicBezTo>
                    <a:cubicBezTo>
                      <a:pt x="8481" y="2245"/>
                      <a:pt x="8481" y="2245"/>
                      <a:pt x="8481" y="2245"/>
                    </a:cubicBezTo>
                    <a:cubicBezTo>
                      <a:pt x="8797" y="2429"/>
                      <a:pt x="8797" y="2429"/>
                      <a:pt x="8797" y="2429"/>
                    </a:cubicBezTo>
                    <a:cubicBezTo>
                      <a:pt x="8741" y="2524"/>
                      <a:pt x="8741" y="2524"/>
                      <a:pt x="8741" y="2524"/>
                    </a:cubicBezTo>
                    <a:cubicBezTo>
                      <a:pt x="8680" y="2488"/>
                      <a:pt x="8680" y="2488"/>
                      <a:pt x="8680" y="2488"/>
                    </a:cubicBezTo>
                    <a:cubicBezTo>
                      <a:pt x="8579" y="2678"/>
                      <a:pt x="8579" y="2678"/>
                      <a:pt x="8579" y="2678"/>
                    </a:cubicBezTo>
                    <a:lnTo>
                      <a:pt x="8633" y="2713"/>
                    </a:lnTo>
                    <a:close/>
                    <a:moveTo>
                      <a:pt x="8613" y="2718"/>
                    </a:moveTo>
                    <a:cubicBezTo>
                      <a:pt x="8559" y="2683"/>
                      <a:pt x="8559" y="2683"/>
                      <a:pt x="8559" y="2683"/>
                    </a:cubicBezTo>
                    <a:cubicBezTo>
                      <a:pt x="8674" y="2467"/>
                      <a:pt x="8674" y="2467"/>
                      <a:pt x="8674" y="2467"/>
                    </a:cubicBezTo>
                    <a:cubicBezTo>
                      <a:pt x="8736" y="2504"/>
                      <a:pt x="8736" y="2504"/>
                      <a:pt x="8736" y="2504"/>
                    </a:cubicBezTo>
                    <a:cubicBezTo>
                      <a:pt x="8777" y="2434"/>
                      <a:pt x="8777" y="2434"/>
                      <a:pt x="8777" y="2434"/>
                    </a:cubicBezTo>
                    <a:cubicBezTo>
                      <a:pt x="8486" y="2265"/>
                      <a:pt x="8486" y="2265"/>
                      <a:pt x="8486" y="2265"/>
                    </a:cubicBezTo>
                    <a:cubicBezTo>
                      <a:pt x="8428" y="2353"/>
                      <a:pt x="8428" y="2353"/>
                      <a:pt x="8428" y="2353"/>
                    </a:cubicBezTo>
                    <a:cubicBezTo>
                      <a:pt x="8246" y="2254"/>
                      <a:pt x="8246" y="2254"/>
                      <a:pt x="8246" y="2254"/>
                    </a:cubicBezTo>
                    <a:cubicBezTo>
                      <a:pt x="8204" y="2318"/>
                      <a:pt x="8204" y="2318"/>
                      <a:pt x="8204" y="2318"/>
                    </a:cubicBezTo>
                    <a:cubicBezTo>
                      <a:pt x="8261" y="2349"/>
                      <a:pt x="8261" y="2349"/>
                      <a:pt x="8261" y="2349"/>
                    </a:cubicBezTo>
                    <a:cubicBezTo>
                      <a:pt x="8182" y="2494"/>
                      <a:pt x="8182" y="2494"/>
                      <a:pt x="8182" y="2494"/>
                    </a:cubicBezTo>
                    <a:cubicBezTo>
                      <a:pt x="8223" y="2517"/>
                      <a:pt x="8223" y="2517"/>
                      <a:pt x="8223" y="2517"/>
                    </a:cubicBezTo>
                    <a:cubicBezTo>
                      <a:pt x="8304" y="2380"/>
                      <a:pt x="8304" y="2380"/>
                      <a:pt x="8304" y="2380"/>
                    </a:cubicBezTo>
                    <a:cubicBezTo>
                      <a:pt x="8391" y="2429"/>
                      <a:pt x="8391" y="2429"/>
                      <a:pt x="8391" y="2429"/>
                    </a:cubicBezTo>
                    <a:cubicBezTo>
                      <a:pt x="8230" y="2704"/>
                      <a:pt x="8230" y="2704"/>
                      <a:pt x="8230" y="2704"/>
                    </a:cubicBezTo>
                    <a:cubicBezTo>
                      <a:pt x="8282" y="2736"/>
                      <a:pt x="8282" y="2736"/>
                      <a:pt x="8282" y="2736"/>
                    </a:cubicBezTo>
                    <a:cubicBezTo>
                      <a:pt x="8417" y="2502"/>
                      <a:pt x="8417" y="2502"/>
                      <a:pt x="8417" y="2502"/>
                    </a:cubicBezTo>
                    <a:cubicBezTo>
                      <a:pt x="8565" y="2589"/>
                      <a:pt x="8565" y="2589"/>
                      <a:pt x="8565" y="2589"/>
                    </a:cubicBezTo>
                    <a:cubicBezTo>
                      <a:pt x="8431" y="2822"/>
                      <a:pt x="8431" y="2822"/>
                      <a:pt x="8431" y="2822"/>
                    </a:cubicBezTo>
                    <a:cubicBezTo>
                      <a:pt x="8525" y="2874"/>
                      <a:pt x="8525" y="2874"/>
                      <a:pt x="8525" y="2874"/>
                    </a:cubicBezTo>
                    <a:lnTo>
                      <a:pt x="8613" y="2718"/>
                    </a:lnTo>
                    <a:close/>
                    <a:moveTo>
                      <a:pt x="1197" y="834"/>
                    </a:moveTo>
                    <a:cubicBezTo>
                      <a:pt x="1292" y="973"/>
                      <a:pt x="1292" y="973"/>
                      <a:pt x="1292" y="973"/>
                    </a:cubicBezTo>
                    <a:cubicBezTo>
                      <a:pt x="1275" y="1085"/>
                      <a:pt x="1275" y="1085"/>
                      <a:pt x="1275" y="1085"/>
                    </a:cubicBezTo>
                    <a:cubicBezTo>
                      <a:pt x="1120" y="1086"/>
                      <a:pt x="1120" y="1086"/>
                      <a:pt x="1120" y="1086"/>
                    </a:cubicBezTo>
                    <a:cubicBezTo>
                      <a:pt x="1128" y="892"/>
                      <a:pt x="1128" y="892"/>
                      <a:pt x="1128" y="892"/>
                    </a:cubicBezTo>
                    <a:lnTo>
                      <a:pt x="1197" y="834"/>
                    </a:lnTo>
                    <a:close/>
                    <a:moveTo>
                      <a:pt x="1278" y="976"/>
                    </a:moveTo>
                    <a:cubicBezTo>
                      <a:pt x="1195" y="855"/>
                      <a:pt x="1195" y="855"/>
                      <a:pt x="1195" y="855"/>
                    </a:cubicBezTo>
                    <a:cubicBezTo>
                      <a:pt x="1142" y="899"/>
                      <a:pt x="1142" y="899"/>
                      <a:pt x="1142" y="899"/>
                    </a:cubicBezTo>
                    <a:cubicBezTo>
                      <a:pt x="1134" y="1072"/>
                      <a:pt x="1134" y="1072"/>
                      <a:pt x="1134" y="1072"/>
                    </a:cubicBezTo>
                    <a:cubicBezTo>
                      <a:pt x="1263" y="1071"/>
                      <a:pt x="1263" y="1071"/>
                      <a:pt x="1263" y="1071"/>
                    </a:cubicBezTo>
                    <a:lnTo>
                      <a:pt x="1278" y="976"/>
                    </a:lnTo>
                    <a:close/>
                    <a:moveTo>
                      <a:pt x="659" y="1788"/>
                    </a:moveTo>
                    <a:cubicBezTo>
                      <a:pt x="591" y="1726"/>
                      <a:pt x="591" y="1726"/>
                      <a:pt x="591" y="1726"/>
                    </a:cubicBezTo>
                    <a:cubicBezTo>
                      <a:pt x="696" y="1661"/>
                      <a:pt x="696" y="1661"/>
                      <a:pt x="696" y="1661"/>
                    </a:cubicBezTo>
                    <a:cubicBezTo>
                      <a:pt x="766" y="1725"/>
                      <a:pt x="766" y="1725"/>
                      <a:pt x="766" y="1725"/>
                    </a:cubicBezTo>
                    <a:lnTo>
                      <a:pt x="659" y="1788"/>
                    </a:lnTo>
                    <a:close/>
                    <a:moveTo>
                      <a:pt x="614" y="1728"/>
                    </a:moveTo>
                    <a:cubicBezTo>
                      <a:pt x="660" y="1771"/>
                      <a:pt x="660" y="1771"/>
                      <a:pt x="660" y="1771"/>
                    </a:cubicBezTo>
                    <a:cubicBezTo>
                      <a:pt x="743" y="1723"/>
                      <a:pt x="743" y="1723"/>
                      <a:pt x="743" y="1723"/>
                    </a:cubicBezTo>
                    <a:cubicBezTo>
                      <a:pt x="694" y="1678"/>
                      <a:pt x="694" y="1678"/>
                      <a:pt x="694" y="1678"/>
                    </a:cubicBezTo>
                    <a:lnTo>
                      <a:pt x="614" y="1728"/>
                    </a:lnTo>
                    <a:close/>
                    <a:moveTo>
                      <a:pt x="597" y="2055"/>
                    </a:moveTo>
                    <a:cubicBezTo>
                      <a:pt x="643" y="1880"/>
                      <a:pt x="643" y="1880"/>
                      <a:pt x="643" y="1880"/>
                    </a:cubicBezTo>
                    <a:cubicBezTo>
                      <a:pt x="804" y="2043"/>
                      <a:pt x="804" y="2043"/>
                      <a:pt x="804" y="2043"/>
                    </a:cubicBezTo>
                    <a:lnTo>
                      <a:pt x="597" y="2055"/>
                    </a:lnTo>
                    <a:close/>
                    <a:moveTo>
                      <a:pt x="616" y="2040"/>
                    </a:moveTo>
                    <a:cubicBezTo>
                      <a:pt x="772" y="2031"/>
                      <a:pt x="772" y="2031"/>
                      <a:pt x="772" y="2031"/>
                    </a:cubicBezTo>
                    <a:cubicBezTo>
                      <a:pt x="651" y="1908"/>
                      <a:pt x="651" y="1908"/>
                      <a:pt x="651" y="1908"/>
                    </a:cubicBezTo>
                    <a:lnTo>
                      <a:pt x="616" y="2040"/>
                    </a:lnTo>
                    <a:close/>
                    <a:moveTo>
                      <a:pt x="1782" y="1352"/>
                    </a:moveTo>
                    <a:cubicBezTo>
                      <a:pt x="1798" y="1358"/>
                      <a:pt x="1855" y="1354"/>
                      <a:pt x="1882" y="1369"/>
                    </a:cubicBezTo>
                    <a:cubicBezTo>
                      <a:pt x="1893" y="1374"/>
                      <a:pt x="1899" y="1381"/>
                      <a:pt x="1899" y="1390"/>
                    </a:cubicBezTo>
                    <a:cubicBezTo>
                      <a:pt x="1898" y="1405"/>
                      <a:pt x="1883" y="1418"/>
                      <a:pt x="1855" y="1433"/>
                    </a:cubicBezTo>
                    <a:cubicBezTo>
                      <a:pt x="1811" y="1457"/>
                      <a:pt x="1762" y="1460"/>
                      <a:pt x="1740" y="1468"/>
                    </a:cubicBezTo>
                    <a:cubicBezTo>
                      <a:pt x="1717" y="1476"/>
                      <a:pt x="1707" y="1484"/>
                      <a:pt x="1696" y="1510"/>
                    </a:cubicBezTo>
                    <a:cubicBezTo>
                      <a:pt x="1684" y="1539"/>
                      <a:pt x="1656" y="1557"/>
                      <a:pt x="1656" y="1557"/>
                    </a:cubicBezTo>
                    <a:cubicBezTo>
                      <a:pt x="1654" y="1558"/>
                      <a:pt x="1654" y="1558"/>
                      <a:pt x="1654" y="1558"/>
                    </a:cubicBezTo>
                    <a:cubicBezTo>
                      <a:pt x="1653" y="1558"/>
                      <a:pt x="1653" y="1558"/>
                      <a:pt x="1653" y="1558"/>
                    </a:cubicBezTo>
                    <a:cubicBezTo>
                      <a:pt x="1636" y="1553"/>
                      <a:pt x="1631" y="1535"/>
                      <a:pt x="1631" y="1516"/>
                    </a:cubicBezTo>
                    <a:cubicBezTo>
                      <a:pt x="1631" y="1496"/>
                      <a:pt x="1636" y="1474"/>
                      <a:pt x="1643" y="1455"/>
                    </a:cubicBezTo>
                    <a:cubicBezTo>
                      <a:pt x="1657" y="1418"/>
                      <a:pt x="1683" y="1411"/>
                      <a:pt x="1691" y="1394"/>
                    </a:cubicBezTo>
                    <a:cubicBezTo>
                      <a:pt x="1693" y="1389"/>
                      <a:pt x="1694" y="1385"/>
                      <a:pt x="1694" y="1380"/>
                    </a:cubicBezTo>
                    <a:cubicBezTo>
                      <a:pt x="1694" y="1366"/>
                      <a:pt x="1685" y="1350"/>
                      <a:pt x="1677" y="1341"/>
                    </a:cubicBezTo>
                    <a:cubicBezTo>
                      <a:pt x="1673" y="1336"/>
                      <a:pt x="1670" y="1331"/>
                      <a:pt x="1671" y="1326"/>
                    </a:cubicBezTo>
                    <a:cubicBezTo>
                      <a:pt x="1671" y="1314"/>
                      <a:pt x="1680" y="1304"/>
                      <a:pt x="1689" y="1293"/>
                    </a:cubicBezTo>
                    <a:cubicBezTo>
                      <a:pt x="1703" y="1277"/>
                      <a:pt x="1741" y="1262"/>
                      <a:pt x="1744" y="1248"/>
                    </a:cubicBezTo>
                    <a:cubicBezTo>
                      <a:pt x="1749" y="1231"/>
                      <a:pt x="1754" y="1193"/>
                      <a:pt x="1798" y="1189"/>
                    </a:cubicBezTo>
                    <a:cubicBezTo>
                      <a:pt x="1800" y="1189"/>
                      <a:pt x="1801" y="1189"/>
                      <a:pt x="1802" y="1189"/>
                    </a:cubicBezTo>
                    <a:cubicBezTo>
                      <a:pt x="1836" y="1190"/>
                      <a:pt x="1844" y="1230"/>
                      <a:pt x="1844" y="1254"/>
                    </a:cubicBezTo>
                    <a:cubicBezTo>
                      <a:pt x="1844" y="1261"/>
                      <a:pt x="1843" y="1267"/>
                      <a:pt x="1842" y="1271"/>
                    </a:cubicBezTo>
                    <a:cubicBezTo>
                      <a:pt x="1835" y="1294"/>
                      <a:pt x="1788" y="1291"/>
                      <a:pt x="1768" y="1306"/>
                    </a:cubicBezTo>
                    <a:cubicBezTo>
                      <a:pt x="1762" y="1310"/>
                      <a:pt x="1760" y="1315"/>
                      <a:pt x="1760" y="1321"/>
                    </a:cubicBezTo>
                    <a:cubicBezTo>
                      <a:pt x="1760" y="1333"/>
                      <a:pt x="1772" y="1348"/>
                      <a:pt x="1782" y="1352"/>
                    </a:cubicBezTo>
                    <a:close/>
                    <a:moveTo>
                      <a:pt x="1879" y="1376"/>
                    </a:moveTo>
                    <a:cubicBezTo>
                      <a:pt x="1855" y="1363"/>
                      <a:pt x="1799" y="1367"/>
                      <a:pt x="1779" y="1360"/>
                    </a:cubicBezTo>
                    <a:cubicBezTo>
                      <a:pt x="1765" y="1354"/>
                      <a:pt x="1752" y="1337"/>
                      <a:pt x="1752" y="1321"/>
                    </a:cubicBezTo>
                    <a:cubicBezTo>
                      <a:pt x="1752" y="1313"/>
                      <a:pt x="1755" y="1305"/>
                      <a:pt x="1763" y="1299"/>
                    </a:cubicBezTo>
                    <a:cubicBezTo>
                      <a:pt x="1787" y="1284"/>
                      <a:pt x="1834" y="1281"/>
                      <a:pt x="1834" y="1269"/>
                    </a:cubicBezTo>
                    <a:cubicBezTo>
                      <a:pt x="1835" y="1266"/>
                      <a:pt x="1836" y="1260"/>
                      <a:pt x="1836" y="1254"/>
                    </a:cubicBezTo>
                    <a:cubicBezTo>
                      <a:pt x="1836" y="1243"/>
                      <a:pt x="1834" y="1228"/>
                      <a:pt x="1828" y="1216"/>
                    </a:cubicBezTo>
                    <a:cubicBezTo>
                      <a:pt x="1823" y="1205"/>
                      <a:pt x="1815" y="1197"/>
                      <a:pt x="1802" y="1197"/>
                    </a:cubicBezTo>
                    <a:cubicBezTo>
                      <a:pt x="1801" y="1197"/>
                      <a:pt x="1800" y="1197"/>
                      <a:pt x="1799" y="1197"/>
                    </a:cubicBezTo>
                    <a:cubicBezTo>
                      <a:pt x="1761" y="1201"/>
                      <a:pt x="1758" y="1232"/>
                      <a:pt x="1752" y="1250"/>
                    </a:cubicBezTo>
                    <a:cubicBezTo>
                      <a:pt x="1744" y="1272"/>
                      <a:pt x="1706" y="1284"/>
                      <a:pt x="1695" y="1298"/>
                    </a:cubicBezTo>
                    <a:cubicBezTo>
                      <a:pt x="1686" y="1309"/>
                      <a:pt x="1678" y="1319"/>
                      <a:pt x="1679" y="1326"/>
                    </a:cubicBezTo>
                    <a:cubicBezTo>
                      <a:pt x="1679" y="1329"/>
                      <a:pt x="1680" y="1332"/>
                      <a:pt x="1683" y="1335"/>
                    </a:cubicBezTo>
                    <a:cubicBezTo>
                      <a:pt x="1692" y="1346"/>
                      <a:pt x="1702" y="1363"/>
                      <a:pt x="1702" y="1380"/>
                    </a:cubicBezTo>
                    <a:cubicBezTo>
                      <a:pt x="1702" y="1386"/>
                      <a:pt x="1701" y="1392"/>
                      <a:pt x="1698" y="1397"/>
                    </a:cubicBezTo>
                    <a:cubicBezTo>
                      <a:pt x="1687" y="1419"/>
                      <a:pt x="1664" y="1424"/>
                      <a:pt x="1651" y="1458"/>
                    </a:cubicBezTo>
                    <a:cubicBezTo>
                      <a:pt x="1644" y="1476"/>
                      <a:pt x="1639" y="1498"/>
                      <a:pt x="1639" y="1516"/>
                    </a:cubicBezTo>
                    <a:cubicBezTo>
                      <a:pt x="1639" y="1534"/>
                      <a:pt x="1644" y="1546"/>
                      <a:pt x="1653" y="1549"/>
                    </a:cubicBezTo>
                    <a:cubicBezTo>
                      <a:pt x="1659" y="1545"/>
                      <a:pt x="1679" y="1529"/>
                      <a:pt x="1688" y="1507"/>
                    </a:cubicBezTo>
                    <a:cubicBezTo>
                      <a:pt x="1699" y="1479"/>
                      <a:pt x="1713" y="1468"/>
                      <a:pt x="1737" y="1460"/>
                    </a:cubicBezTo>
                    <a:cubicBezTo>
                      <a:pt x="1761" y="1451"/>
                      <a:pt x="1808" y="1449"/>
                      <a:pt x="1851" y="1426"/>
                    </a:cubicBezTo>
                    <a:cubicBezTo>
                      <a:pt x="1879" y="1412"/>
                      <a:pt x="1891" y="1398"/>
                      <a:pt x="1891" y="1390"/>
                    </a:cubicBezTo>
                    <a:cubicBezTo>
                      <a:pt x="1891" y="1385"/>
                      <a:pt x="1888" y="1381"/>
                      <a:pt x="1879" y="1376"/>
                    </a:cubicBezTo>
                    <a:close/>
                    <a:moveTo>
                      <a:pt x="716" y="1846"/>
                    </a:moveTo>
                    <a:cubicBezTo>
                      <a:pt x="817" y="1776"/>
                      <a:pt x="817" y="1776"/>
                      <a:pt x="817" y="1776"/>
                    </a:cubicBezTo>
                    <a:cubicBezTo>
                      <a:pt x="890" y="1844"/>
                      <a:pt x="890" y="1844"/>
                      <a:pt x="890" y="1844"/>
                    </a:cubicBezTo>
                    <a:cubicBezTo>
                      <a:pt x="966" y="1778"/>
                      <a:pt x="966" y="1778"/>
                      <a:pt x="966" y="1778"/>
                    </a:cubicBezTo>
                    <a:cubicBezTo>
                      <a:pt x="1029" y="1860"/>
                      <a:pt x="1029" y="1860"/>
                      <a:pt x="1029" y="1860"/>
                    </a:cubicBezTo>
                    <a:cubicBezTo>
                      <a:pt x="878" y="2003"/>
                      <a:pt x="878" y="2003"/>
                      <a:pt x="878" y="2003"/>
                    </a:cubicBezTo>
                    <a:lnTo>
                      <a:pt x="716" y="1846"/>
                    </a:lnTo>
                    <a:close/>
                    <a:moveTo>
                      <a:pt x="815" y="1794"/>
                    </a:moveTo>
                    <a:cubicBezTo>
                      <a:pt x="738" y="1848"/>
                      <a:pt x="738" y="1848"/>
                      <a:pt x="738" y="1848"/>
                    </a:cubicBezTo>
                    <a:cubicBezTo>
                      <a:pt x="878" y="1984"/>
                      <a:pt x="878" y="1984"/>
                      <a:pt x="878" y="1984"/>
                    </a:cubicBezTo>
                    <a:cubicBezTo>
                      <a:pt x="1010" y="1859"/>
                      <a:pt x="1010" y="1859"/>
                      <a:pt x="1010" y="1859"/>
                    </a:cubicBezTo>
                    <a:cubicBezTo>
                      <a:pt x="964" y="1799"/>
                      <a:pt x="964" y="1799"/>
                      <a:pt x="964" y="1799"/>
                    </a:cubicBezTo>
                    <a:cubicBezTo>
                      <a:pt x="899" y="1854"/>
                      <a:pt x="899" y="1854"/>
                      <a:pt x="899" y="1854"/>
                    </a:cubicBezTo>
                    <a:cubicBezTo>
                      <a:pt x="890" y="1862"/>
                      <a:pt x="890" y="1862"/>
                      <a:pt x="890" y="1862"/>
                    </a:cubicBezTo>
                    <a:cubicBezTo>
                      <a:pt x="881" y="1854"/>
                      <a:pt x="881" y="1854"/>
                      <a:pt x="881" y="1854"/>
                    </a:cubicBezTo>
                    <a:lnTo>
                      <a:pt x="815" y="1794"/>
                    </a:lnTo>
                    <a:close/>
                    <a:moveTo>
                      <a:pt x="2595" y="1023"/>
                    </a:moveTo>
                    <a:cubicBezTo>
                      <a:pt x="2621" y="1104"/>
                      <a:pt x="2621" y="1104"/>
                      <a:pt x="2621" y="1104"/>
                    </a:cubicBezTo>
                    <a:cubicBezTo>
                      <a:pt x="2443" y="1174"/>
                      <a:pt x="2443" y="1174"/>
                      <a:pt x="2443" y="1174"/>
                    </a:cubicBezTo>
                    <a:cubicBezTo>
                      <a:pt x="2310" y="912"/>
                      <a:pt x="2310" y="912"/>
                      <a:pt x="2310" y="912"/>
                    </a:cubicBezTo>
                    <a:cubicBezTo>
                      <a:pt x="2369" y="869"/>
                      <a:pt x="2369" y="869"/>
                      <a:pt x="2369" y="869"/>
                    </a:cubicBezTo>
                    <a:cubicBezTo>
                      <a:pt x="2511" y="1048"/>
                      <a:pt x="2511" y="1048"/>
                      <a:pt x="2511" y="1048"/>
                    </a:cubicBezTo>
                    <a:lnTo>
                      <a:pt x="2595" y="1023"/>
                    </a:lnTo>
                    <a:close/>
                    <a:moveTo>
                      <a:pt x="2603" y="1096"/>
                    </a:moveTo>
                    <a:cubicBezTo>
                      <a:pt x="2586" y="1040"/>
                      <a:pt x="2586" y="1040"/>
                      <a:pt x="2586" y="1040"/>
                    </a:cubicBezTo>
                    <a:cubicBezTo>
                      <a:pt x="2515" y="1061"/>
                      <a:pt x="2515" y="1061"/>
                      <a:pt x="2515" y="1061"/>
                    </a:cubicBezTo>
                    <a:cubicBezTo>
                      <a:pt x="2506" y="1064"/>
                      <a:pt x="2506" y="1064"/>
                      <a:pt x="2506" y="1064"/>
                    </a:cubicBezTo>
                    <a:cubicBezTo>
                      <a:pt x="2500" y="1056"/>
                      <a:pt x="2500" y="1056"/>
                      <a:pt x="2500" y="1056"/>
                    </a:cubicBezTo>
                    <a:cubicBezTo>
                      <a:pt x="2367" y="888"/>
                      <a:pt x="2367" y="888"/>
                      <a:pt x="2367" y="888"/>
                    </a:cubicBezTo>
                    <a:cubicBezTo>
                      <a:pt x="2328" y="917"/>
                      <a:pt x="2328" y="917"/>
                      <a:pt x="2328" y="917"/>
                    </a:cubicBezTo>
                    <a:cubicBezTo>
                      <a:pt x="2450" y="1156"/>
                      <a:pt x="2450" y="1156"/>
                      <a:pt x="2450" y="1156"/>
                    </a:cubicBezTo>
                    <a:lnTo>
                      <a:pt x="2603" y="1096"/>
                    </a:lnTo>
                    <a:close/>
                    <a:moveTo>
                      <a:pt x="1155" y="1491"/>
                    </a:moveTo>
                    <a:cubicBezTo>
                      <a:pt x="1295" y="1602"/>
                      <a:pt x="1295" y="1602"/>
                      <a:pt x="1295" y="1602"/>
                    </a:cubicBezTo>
                    <a:cubicBezTo>
                      <a:pt x="1241" y="1670"/>
                      <a:pt x="1241" y="1670"/>
                      <a:pt x="1241" y="1670"/>
                    </a:cubicBezTo>
                    <a:cubicBezTo>
                      <a:pt x="1103" y="1559"/>
                      <a:pt x="1103" y="1559"/>
                      <a:pt x="1103" y="1559"/>
                    </a:cubicBezTo>
                    <a:lnTo>
                      <a:pt x="1155" y="1491"/>
                    </a:lnTo>
                    <a:close/>
                    <a:moveTo>
                      <a:pt x="1157" y="1511"/>
                    </a:moveTo>
                    <a:cubicBezTo>
                      <a:pt x="1123" y="1556"/>
                      <a:pt x="1123" y="1556"/>
                      <a:pt x="1123" y="1556"/>
                    </a:cubicBezTo>
                    <a:cubicBezTo>
                      <a:pt x="1238" y="1650"/>
                      <a:pt x="1238" y="1650"/>
                      <a:pt x="1238" y="1650"/>
                    </a:cubicBezTo>
                    <a:cubicBezTo>
                      <a:pt x="1275" y="1604"/>
                      <a:pt x="1275" y="1604"/>
                      <a:pt x="1275" y="1604"/>
                    </a:cubicBezTo>
                    <a:lnTo>
                      <a:pt x="1157" y="1511"/>
                    </a:lnTo>
                    <a:close/>
                    <a:moveTo>
                      <a:pt x="1063" y="1960"/>
                    </a:moveTo>
                    <a:cubicBezTo>
                      <a:pt x="1479" y="1564"/>
                      <a:pt x="1479" y="1564"/>
                      <a:pt x="1479" y="1564"/>
                    </a:cubicBezTo>
                    <a:cubicBezTo>
                      <a:pt x="1542" y="1697"/>
                      <a:pt x="1542" y="1697"/>
                      <a:pt x="1542" y="1697"/>
                    </a:cubicBezTo>
                    <a:cubicBezTo>
                      <a:pt x="1052" y="2024"/>
                      <a:pt x="1052" y="2024"/>
                      <a:pt x="1052" y="2024"/>
                    </a:cubicBezTo>
                    <a:lnTo>
                      <a:pt x="1063" y="1960"/>
                    </a:lnTo>
                    <a:close/>
                    <a:moveTo>
                      <a:pt x="1071" y="1994"/>
                    </a:moveTo>
                    <a:cubicBezTo>
                      <a:pt x="1524" y="1692"/>
                      <a:pt x="1524" y="1692"/>
                      <a:pt x="1524" y="1692"/>
                    </a:cubicBezTo>
                    <a:cubicBezTo>
                      <a:pt x="1475" y="1588"/>
                      <a:pt x="1475" y="1588"/>
                      <a:pt x="1475" y="1588"/>
                    </a:cubicBezTo>
                    <a:cubicBezTo>
                      <a:pt x="1076" y="1967"/>
                      <a:pt x="1076" y="1967"/>
                      <a:pt x="1076" y="1967"/>
                    </a:cubicBezTo>
                    <a:lnTo>
                      <a:pt x="1071" y="1994"/>
                    </a:lnTo>
                    <a:close/>
                    <a:moveTo>
                      <a:pt x="7645" y="4923"/>
                    </a:moveTo>
                    <a:cubicBezTo>
                      <a:pt x="7447" y="4908"/>
                      <a:pt x="7447" y="4908"/>
                      <a:pt x="7447" y="4908"/>
                    </a:cubicBezTo>
                    <a:cubicBezTo>
                      <a:pt x="7448" y="4902"/>
                      <a:pt x="7448" y="4902"/>
                      <a:pt x="7448" y="4902"/>
                    </a:cubicBezTo>
                    <a:cubicBezTo>
                      <a:pt x="7453" y="4833"/>
                      <a:pt x="7453" y="4833"/>
                      <a:pt x="7453" y="4833"/>
                    </a:cubicBezTo>
                    <a:cubicBezTo>
                      <a:pt x="7529" y="4839"/>
                      <a:pt x="7529" y="4839"/>
                      <a:pt x="7529" y="4839"/>
                    </a:cubicBezTo>
                    <a:cubicBezTo>
                      <a:pt x="7535" y="4766"/>
                      <a:pt x="7535" y="4766"/>
                      <a:pt x="7535" y="4766"/>
                    </a:cubicBezTo>
                    <a:cubicBezTo>
                      <a:pt x="7676" y="4779"/>
                      <a:pt x="7676" y="4779"/>
                      <a:pt x="7676" y="4779"/>
                    </a:cubicBezTo>
                    <a:cubicBezTo>
                      <a:pt x="7667" y="4875"/>
                      <a:pt x="7667" y="4875"/>
                      <a:pt x="7667" y="4875"/>
                    </a:cubicBezTo>
                    <a:cubicBezTo>
                      <a:pt x="7649" y="4873"/>
                      <a:pt x="7649" y="4873"/>
                      <a:pt x="7649" y="4873"/>
                    </a:cubicBezTo>
                    <a:lnTo>
                      <a:pt x="7645" y="4923"/>
                    </a:lnTo>
                    <a:close/>
                    <a:moveTo>
                      <a:pt x="7637" y="4859"/>
                    </a:moveTo>
                    <a:cubicBezTo>
                      <a:pt x="7655" y="4861"/>
                      <a:pt x="7655" y="4861"/>
                      <a:pt x="7655" y="4861"/>
                    </a:cubicBezTo>
                    <a:cubicBezTo>
                      <a:pt x="7662" y="4790"/>
                      <a:pt x="7662" y="4790"/>
                      <a:pt x="7662" y="4790"/>
                    </a:cubicBezTo>
                    <a:cubicBezTo>
                      <a:pt x="7547" y="4781"/>
                      <a:pt x="7547" y="4781"/>
                      <a:pt x="7547" y="4781"/>
                    </a:cubicBezTo>
                    <a:cubicBezTo>
                      <a:pt x="7541" y="4853"/>
                      <a:pt x="7541" y="4853"/>
                      <a:pt x="7541" y="4853"/>
                    </a:cubicBezTo>
                    <a:cubicBezTo>
                      <a:pt x="7465" y="4847"/>
                      <a:pt x="7465" y="4847"/>
                      <a:pt x="7465" y="4847"/>
                    </a:cubicBezTo>
                    <a:cubicBezTo>
                      <a:pt x="7461" y="4896"/>
                      <a:pt x="7461" y="4896"/>
                      <a:pt x="7461" y="4896"/>
                    </a:cubicBezTo>
                    <a:cubicBezTo>
                      <a:pt x="7633" y="4909"/>
                      <a:pt x="7633" y="4909"/>
                      <a:pt x="7633" y="4909"/>
                    </a:cubicBezTo>
                    <a:lnTo>
                      <a:pt x="7637" y="4859"/>
                    </a:lnTo>
                    <a:close/>
                    <a:moveTo>
                      <a:pt x="5039" y="1260"/>
                    </a:moveTo>
                    <a:cubicBezTo>
                      <a:pt x="4941" y="1260"/>
                      <a:pt x="4941" y="1260"/>
                      <a:pt x="4941" y="1260"/>
                    </a:cubicBezTo>
                    <a:cubicBezTo>
                      <a:pt x="4942" y="1112"/>
                      <a:pt x="4942" y="1112"/>
                      <a:pt x="4942" y="1112"/>
                    </a:cubicBezTo>
                    <a:cubicBezTo>
                      <a:pt x="5047" y="1112"/>
                      <a:pt x="5047" y="1112"/>
                      <a:pt x="5047" y="1112"/>
                    </a:cubicBezTo>
                    <a:cubicBezTo>
                      <a:pt x="5046" y="1260"/>
                      <a:pt x="5046" y="1260"/>
                      <a:pt x="5046" y="1260"/>
                    </a:cubicBezTo>
                    <a:lnTo>
                      <a:pt x="5039" y="1260"/>
                    </a:lnTo>
                    <a:close/>
                    <a:moveTo>
                      <a:pt x="5034" y="1125"/>
                    </a:moveTo>
                    <a:cubicBezTo>
                      <a:pt x="4955" y="1125"/>
                      <a:pt x="4955" y="1125"/>
                      <a:pt x="4955" y="1125"/>
                    </a:cubicBezTo>
                    <a:cubicBezTo>
                      <a:pt x="4954" y="1247"/>
                      <a:pt x="4954" y="1247"/>
                      <a:pt x="4954" y="1247"/>
                    </a:cubicBezTo>
                    <a:cubicBezTo>
                      <a:pt x="5033" y="1247"/>
                      <a:pt x="5033" y="1247"/>
                      <a:pt x="5033" y="1247"/>
                    </a:cubicBezTo>
                    <a:lnTo>
                      <a:pt x="5034" y="1125"/>
                    </a:lnTo>
                    <a:close/>
                    <a:moveTo>
                      <a:pt x="2476" y="915"/>
                    </a:moveTo>
                    <a:cubicBezTo>
                      <a:pt x="2662" y="864"/>
                      <a:pt x="2662" y="864"/>
                      <a:pt x="2662" y="864"/>
                    </a:cubicBezTo>
                    <a:cubicBezTo>
                      <a:pt x="2927" y="1239"/>
                      <a:pt x="2927" y="1239"/>
                      <a:pt x="2927" y="1239"/>
                    </a:cubicBezTo>
                    <a:cubicBezTo>
                      <a:pt x="2928" y="1239"/>
                      <a:pt x="2711" y="1197"/>
                      <a:pt x="2711" y="1197"/>
                    </a:cubicBezTo>
                    <a:cubicBezTo>
                      <a:pt x="2630" y="975"/>
                      <a:pt x="2630" y="975"/>
                      <a:pt x="2630" y="975"/>
                    </a:cubicBezTo>
                    <a:cubicBezTo>
                      <a:pt x="2542" y="996"/>
                      <a:pt x="2542" y="996"/>
                      <a:pt x="2542" y="996"/>
                    </a:cubicBezTo>
                    <a:lnTo>
                      <a:pt x="2476" y="915"/>
                    </a:lnTo>
                    <a:close/>
                    <a:moveTo>
                      <a:pt x="2656" y="880"/>
                    </a:moveTo>
                    <a:cubicBezTo>
                      <a:pt x="2500" y="923"/>
                      <a:pt x="2500" y="923"/>
                      <a:pt x="2500" y="923"/>
                    </a:cubicBezTo>
                    <a:cubicBezTo>
                      <a:pt x="2547" y="981"/>
                      <a:pt x="2547" y="981"/>
                      <a:pt x="2547" y="981"/>
                    </a:cubicBezTo>
                    <a:cubicBezTo>
                      <a:pt x="2626" y="961"/>
                      <a:pt x="2626" y="961"/>
                      <a:pt x="2626" y="961"/>
                    </a:cubicBezTo>
                    <a:cubicBezTo>
                      <a:pt x="2639" y="958"/>
                      <a:pt x="2639" y="958"/>
                      <a:pt x="2639" y="958"/>
                    </a:cubicBezTo>
                    <a:cubicBezTo>
                      <a:pt x="2643" y="970"/>
                      <a:pt x="2643" y="970"/>
                      <a:pt x="2643" y="970"/>
                    </a:cubicBezTo>
                    <a:cubicBezTo>
                      <a:pt x="2721" y="1185"/>
                      <a:pt x="2721" y="1185"/>
                      <a:pt x="2721" y="1185"/>
                    </a:cubicBezTo>
                    <a:cubicBezTo>
                      <a:pt x="2815" y="1203"/>
                      <a:pt x="2867" y="1213"/>
                      <a:pt x="2895" y="1219"/>
                    </a:cubicBezTo>
                    <a:lnTo>
                      <a:pt x="2656" y="880"/>
                    </a:lnTo>
                    <a:close/>
                    <a:moveTo>
                      <a:pt x="5442" y="1129"/>
                    </a:moveTo>
                    <a:cubicBezTo>
                      <a:pt x="5591" y="1155"/>
                      <a:pt x="5591" y="1155"/>
                      <a:pt x="5591" y="1155"/>
                    </a:cubicBezTo>
                    <a:cubicBezTo>
                      <a:pt x="5579" y="1225"/>
                      <a:pt x="5579" y="1225"/>
                      <a:pt x="5579" y="1225"/>
                    </a:cubicBezTo>
                    <a:cubicBezTo>
                      <a:pt x="5572" y="1224"/>
                      <a:pt x="5572" y="1224"/>
                      <a:pt x="5572" y="1224"/>
                    </a:cubicBezTo>
                    <a:cubicBezTo>
                      <a:pt x="5430" y="1199"/>
                      <a:pt x="5430" y="1199"/>
                      <a:pt x="5430" y="1199"/>
                    </a:cubicBezTo>
                    <a:lnTo>
                      <a:pt x="5442" y="1129"/>
                    </a:lnTo>
                    <a:close/>
                    <a:moveTo>
                      <a:pt x="5445" y="1189"/>
                    </a:moveTo>
                    <a:cubicBezTo>
                      <a:pt x="5568" y="1210"/>
                      <a:pt x="5568" y="1210"/>
                      <a:pt x="5568" y="1210"/>
                    </a:cubicBezTo>
                    <a:cubicBezTo>
                      <a:pt x="5576" y="1165"/>
                      <a:pt x="5576" y="1165"/>
                      <a:pt x="5576" y="1165"/>
                    </a:cubicBezTo>
                    <a:cubicBezTo>
                      <a:pt x="5452" y="1143"/>
                      <a:pt x="5452" y="1143"/>
                      <a:pt x="5452" y="1143"/>
                    </a:cubicBezTo>
                    <a:lnTo>
                      <a:pt x="5445" y="1189"/>
                    </a:lnTo>
                    <a:close/>
                    <a:moveTo>
                      <a:pt x="2247" y="1071"/>
                    </a:moveTo>
                    <a:cubicBezTo>
                      <a:pt x="2270" y="1115"/>
                      <a:pt x="2270" y="1115"/>
                      <a:pt x="2270" y="1115"/>
                    </a:cubicBezTo>
                    <a:cubicBezTo>
                      <a:pt x="2294" y="1106"/>
                      <a:pt x="2294" y="1106"/>
                      <a:pt x="2294" y="1106"/>
                    </a:cubicBezTo>
                    <a:cubicBezTo>
                      <a:pt x="2347" y="1213"/>
                      <a:pt x="2347" y="1213"/>
                      <a:pt x="2347" y="1213"/>
                    </a:cubicBezTo>
                    <a:cubicBezTo>
                      <a:pt x="2072" y="1347"/>
                      <a:pt x="2072" y="1347"/>
                      <a:pt x="2072" y="1347"/>
                    </a:cubicBezTo>
                    <a:cubicBezTo>
                      <a:pt x="2019" y="1235"/>
                      <a:pt x="2019" y="1235"/>
                      <a:pt x="2019" y="1235"/>
                    </a:cubicBezTo>
                    <a:cubicBezTo>
                      <a:pt x="2136" y="1181"/>
                      <a:pt x="2136" y="1181"/>
                      <a:pt x="2136" y="1181"/>
                    </a:cubicBezTo>
                    <a:cubicBezTo>
                      <a:pt x="2129" y="1152"/>
                      <a:pt x="2129" y="1152"/>
                      <a:pt x="2129" y="1152"/>
                    </a:cubicBezTo>
                    <a:cubicBezTo>
                      <a:pt x="2143" y="1142"/>
                      <a:pt x="2143" y="1142"/>
                      <a:pt x="2143" y="1142"/>
                    </a:cubicBezTo>
                    <a:cubicBezTo>
                      <a:pt x="2117" y="1094"/>
                      <a:pt x="2117" y="1094"/>
                      <a:pt x="2117" y="1094"/>
                    </a:cubicBezTo>
                    <a:cubicBezTo>
                      <a:pt x="2147" y="1075"/>
                      <a:pt x="2147" y="1075"/>
                      <a:pt x="2147" y="1075"/>
                    </a:cubicBezTo>
                    <a:cubicBezTo>
                      <a:pt x="2163" y="1110"/>
                      <a:pt x="2163" y="1110"/>
                      <a:pt x="2163" y="1110"/>
                    </a:cubicBezTo>
                    <a:lnTo>
                      <a:pt x="2247" y="1071"/>
                    </a:lnTo>
                    <a:close/>
                    <a:moveTo>
                      <a:pt x="2258" y="1122"/>
                    </a:moveTo>
                    <a:cubicBezTo>
                      <a:pt x="2241" y="1089"/>
                      <a:pt x="2241" y="1089"/>
                      <a:pt x="2241" y="1089"/>
                    </a:cubicBezTo>
                    <a:cubicBezTo>
                      <a:pt x="2169" y="1123"/>
                      <a:pt x="2169" y="1123"/>
                      <a:pt x="2169" y="1123"/>
                    </a:cubicBezTo>
                    <a:cubicBezTo>
                      <a:pt x="2157" y="1129"/>
                      <a:pt x="2157" y="1129"/>
                      <a:pt x="2157" y="1129"/>
                    </a:cubicBezTo>
                    <a:cubicBezTo>
                      <a:pt x="2151" y="1116"/>
                      <a:pt x="2151" y="1116"/>
                      <a:pt x="2151" y="1116"/>
                    </a:cubicBezTo>
                    <a:cubicBezTo>
                      <a:pt x="2141" y="1095"/>
                      <a:pt x="2141" y="1095"/>
                      <a:pt x="2141" y="1095"/>
                    </a:cubicBezTo>
                    <a:cubicBezTo>
                      <a:pt x="2136" y="1099"/>
                      <a:pt x="2136" y="1099"/>
                      <a:pt x="2136" y="1099"/>
                    </a:cubicBezTo>
                    <a:cubicBezTo>
                      <a:pt x="2155" y="1135"/>
                      <a:pt x="2155" y="1135"/>
                      <a:pt x="2155" y="1135"/>
                    </a:cubicBezTo>
                    <a:cubicBezTo>
                      <a:pt x="2161" y="1146"/>
                      <a:pt x="2161" y="1146"/>
                      <a:pt x="2161" y="1146"/>
                    </a:cubicBezTo>
                    <a:cubicBezTo>
                      <a:pt x="2151" y="1153"/>
                      <a:pt x="2151" y="1153"/>
                      <a:pt x="2151" y="1153"/>
                    </a:cubicBezTo>
                    <a:cubicBezTo>
                      <a:pt x="2144" y="1158"/>
                      <a:pt x="2144" y="1158"/>
                      <a:pt x="2144" y="1158"/>
                    </a:cubicBezTo>
                    <a:cubicBezTo>
                      <a:pt x="2149" y="1178"/>
                      <a:pt x="2149" y="1178"/>
                      <a:pt x="2149" y="1178"/>
                    </a:cubicBezTo>
                    <a:cubicBezTo>
                      <a:pt x="2152" y="1189"/>
                      <a:pt x="2152" y="1189"/>
                      <a:pt x="2152" y="1189"/>
                    </a:cubicBezTo>
                    <a:cubicBezTo>
                      <a:pt x="2142" y="1194"/>
                      <a:pt x="2142" y="1194"/>
                      <a:pt x="2142" y="1194"/>
                    </a:cubicBezTo>
                    <a:cubicBezTo>
                      <a:pt x="2038" y="1242"/>
                      <a:pt x="2038" y="1242"/>
                      <a:pt x="2038" y="1242"/>
                    </a:cubicBezTo>
                    <a:cubicBezTo>
                      <a:pt x="2079" y="1328"/>
                      <a:pt x="2079" y="1328"/>
                      <a:pt x="2079" y="1328"/>
                    </a:cubicBezTo>
                    <a:cubicBezTo>
                      <a:pt x="2328" y="1206"/>
                      <a:pt x="2328" y="1206"/>
                      <a:pt x="2328" y="1206"/>
                    </a:cubicBezTo>
                    <a:cubicBezTo>
                      <a:pt x="2287" y="1124"/>
                      <a:pt x="2287" y="1124"/>
                      <a:pt x="2287" y="1124"/>
                    </a:cubicBezTo>
                    <a:cubicBezTo>
                      <a:pt x="2275" y="1128"/>
                      <a:pt x="2275" y="1128"/>
                      <a:pt x="2275" y="1128"/>
                    </a:cubicBezTo>
                    <a:cubicBezTo>
                      <a:pt x="2263" y="1133"/>
                      <a:pt x="2263" y="1133"/>
                      <a:pt x="2263" y="1133"/>
                    </a:cubicBezTo>
                    <a:lnTo>
                      <a:pt x="2258" y="1122"/>
                    </a:lnTo>
                    <a:close/>
                    <a:moveTo>
                      <a:pt x="1147" y="1434"/>
                    </a:moveTo>
                    <a:cubicBezTo>
                      <a:pt x="1092" y="1502"/>
                      <a:pt x="1092" y="1502"/>
                      <a:pt x="1092" y="1502"/>
                    </a:cubicBezTo>
                    <a:cubicBezTo>
                      <a:pt x="955" y="1391"/>
                      <a:pt x="955" y="1391"/>
                      <a:pt x="955" y="1391"/>
                    </a:cubicBezTo>
                    <a:cubicBezTo>
                      <a:pt x="1007" y="1324"/>
                      <a:pt x="1007" y="1324"/>
                      <a:pt x="1007" y="1324"/>
                    </a:cubicBezTo>
                    <a:lnTo>
                      <a:pt x="1147" y="1434"/>
                    </a:lnTo>
                    <a:close/>
                    <a:moveTo>
                      <a:pt x="1127" y="1436"/>
                    </a:moveTo>
                    <a:cubicBezTo>
                      <a:pt x="1009" y="1343"/>
                      <a:pt x="1009" y="1343"/>
                      <a:pt x="1009" y="1343"/>
                    </a:cubicBezTo>
                    <a:cubicBezTo>
                      <a:pt x="975" y="1388"/>
                      <a:pt x="975" y="1388"/>
                      <a:pt x="975" y="1388"/>
                    </a:cubicBezTo>
                    <a:cubicBezTo>
                      <a:pt x="1090" y="1482"/>
                      <a:pt x="1090" y="1482"/>
                      <a:pt x="1090" y="1482"/>
                    </a:cubicBezTo>
                    <a:lnTo>
                      <a:pt x="1127" y="1436"/>
                    </a:lnTo>
                    <a:close/>
                    <a:moveTo>
                      <a:pt x="5348" y="1432"/>
                    </a:moveTo>
                    <a:cubicBezTo>
                      <a:pt x="5392" y="1577"/>
                      <a:pt x="5392" y="1577"/>
                      <a:pt x="5392" y="1577"/>
                    </a:cubicBezTo>
                    <a:cubicBezTo>
                      <a:pt x="5324" y="1598"/>
                      <a:pt x="5324" y="1598"/>
                      <a:pt x="5324" y="1598"/>
                    </a:cubicBezTo>
                    <a:cubicBezTo>
                      <a:pt x="5322" y="1592"/>
                      <a:pt x="5322" y="1592"/>
                      <a:pt x="5322" y="1592"/>
                    </a:cubicBezTo>
                    <a:cubicBezTo>
                      <a:pt x="5280" y="1453"/>
                      <a:pt x="5280" y="1453"/>
                      <a:pt x="5280" y="1453"/>
                    </a:cubicBezTo>
                    <a:lnTo>
                      <a:pt x="5348" y="1432"/>
                    </a:lnTo>
                    <a:close/>
                    <a:moveTo>
                      <a:pt x="5376" y="1569"/>
                    </a:moveTo>
                    <a:cubicBezTo>
                      <a:pt x="5340" y="1448"/>
                      <a:pt x="5340" y="1448"/>
                      <a:pt x="5340" y="1448"/>
                    </a:cubicBezTo>
                    <a:cubicBezTo>
                      <a:pt x="5296" y="1462"/>
                      <a:pt x="5296" y="1462"/>
                      <a:pt x="5296" y="1462"/>
                    </a:cubicBezTo>
                    <a:cubicBezTo>
                      <a:pt x="5332" y="1582"/>
                      <a:pt x="5332" y="1582"/>
                      <a:pt x="5332" y="1582"/>
                    </a:cubicBezTo>
                    <a:lnTo>
                      <a:pt x="5376" y="1569"/>
                    </a:lnTo>
                    <a:close/>
                    <a:moveTo>
                      <a:pt x="7727" y="4149"/>
                    </a:moveTo>
                    <a:cubicBezTo>
                      <a:pt x="7713" y="4202"/>
                      <a:pt x="7713" y="4202"/>
                      <a:pt x="7713" y="4202"/>
                    </a:cubicBezTo>
                    <a:cubicBezTo>
                      <a:pt x="7720" y="4204"/>
                      <a:pt x="7720" y="4204"/>
                      <a:pt x="7720" y="4204"/>
                    </a:cubicBezTo>
                    <a:cubicBezTo>
                      <a:pt x="7726" y="4206"/>
                      <a:pt x="7726" y="4206"/>
                      <a:pt x="7726" y="4206"/>
                    </a:cubicBezTo>
                    <a:cubicBezTo>
                      <a:pt x="7701" y="4302"/>
                      <a:pt x="7701" y="4302"/>
                      <a:pt x="7701" y="4302"/>
                    </a:cubicBezTo>
                    <a:cubicBezTo>
                      <a:pt x="7695" y="4300"/>
                      <a:pt x="7695" y="4300"/>
                      <a:pt x="7695" y="4300"/>
                    </a:cubicBezTo>
                    <a:cubicBezTo>
                      <a:pt x="7596" y="4275"/>
                      <a:pt x="7596" y="4275"/>
                      <a:pt x="7596" y="4275"/>
                    </a:cubicBezTo>
                    <a:cubicBezTo>
                      <a:pt x="7573" y="4363"/>
                      <a:pt x="7573" y="4363"/>
                      <a:pt x="7573" y="4363"/>
                    </a:cubicBezTo>
                    <a:cubicBezTo>
                      <a:pt x="7429" y="4326"/>
                      <a:pt x="7429" y="4326"/>
                      <a:pt x="7429" y="4326"/>
                    </a:cubicBezTo>
                    <a:cubicBezTo>
                      <a:pt x="7448" y="4252"/>
                      <a:pt x="7448" y="4252"/>
                      <a:pt x="7448" y="4252"/>
                    </a:cubicBezTo>
                    <a:cubicBezTo>
                      <a:pt x="7380" y="4235"/>
                      <a:pt x="7380" y="4235"/>
                      <a:pt x="7380" y="4235"/>
                    </a:cubicBezTo>
                    <a:cubicBezTo>
                      <a:pt x="7399" y="4161"/>
                      <a:pt x="7399" y="4161"/>
                      <a:pt x="7399" y="4161"/>
                    </a:cubicBezTo>
                    <a:cubicBezTo>
                      <a:pt x="7583" y="4209"/>
                      <a:pt x="7583" y="4209"/>
                      <a:pt x="7583" y="4209"/>
                    </a:cubicBezTo>
                    <a:cubicBezTo>
                      <a:pt x="7587" y="4194"/>
                      <a:pt x="7587" y="4194"/>
                      <a:pt x="7587" y="4194"/>
                    </a:cubicBezTo>
                    <a:cubicBezTo>
                      <a:pt x="7503" y="4172"/>
                      <a:pt x="7503" y="4172"/>
                      <a:pt x="7503" y="4172"/>
                    </a:cubicBezTo>
                    <a:cubicBezTo>
                      <a:pt x="7523" y="4096"/>
                      <a:pt x="7523" y="4096"/>
                      <a:pt x="7523" y="4096"/>
                    </a:cubicBezTo>
                    <a:lnTo>
                      <a:pt x="7727" y="4149"/>
                    </a:lnTo>
                    <a:close/>
                    <a:moveTo>
                      <a:pt x="7697" y="4212"/>
                    </a:moveTo>
                    <a:cubicBezTo>
                      <a:pt x="7711" y="4159"/>
                      <a:pt x="7711" y="4159"/>
                      <a:pt x="7711" y="4159"/>
                    </a:cubicBezTo>
                    <a:cubicBezTo>
                      <a:pt x="7532" y="4112"/>
                      <a:pt x="7532" y="4112"/>
                      <a:pt x="7532" y="4112"/>
                    </a:cubicBezTo>
                    <a:cubicBezTo>
                      <a:pt x="7519" y="4163"/>
                      <a:pt x="7519" y="4163"/>
                      <a:pt x="7519" y="4163"/>
                    </a:cubicBezTo>
                    <a:cubicBezTo>
                      <a:pt x="7603" y="4184"/>
                      <a:pt x="7603" y="4184"/>
                      <a:pt x="7603" y="4184"/>
                    </a:cubicBezTo>
                    <a:cubicBezTo>
                      <a:pt x="7592" y="4225"/>
                      <a:pt x="7592" y="4225"/>
                      <a:pt x="7592" y="4225"/>
                    </a:cubicBezTo>
                    <a:cubicBezTo>
                      <a:pt x="7409" y="4177"/>
                      <a:pt x="7409" y="4177"/>
                      <a:pt x="7409" y="4177"/>
                    </a:cubicBezTo>
                    <a:cubicBezTo>
                      <a:pt x="7396" y="4225"/>
                      <a:pt x="7396" y="4225"/>
                      <a:pt x="7396" y="4225"/>
                    </a:cubicBezTo>
                    <a:cubicBezTo>
                      <a:pt x="7465" y="4243"/>
                      <a:pt x="7465" y="4243"/>
                      <a:pt x="7465" y="4243"/>
                    </a:cubicBezTo>
                    <a:cubicBezTo>
                      <a:pt x="7446" y="4316"/>
                      <a:pt x="7446" y="4316"/>
                      <a:pt x="7446" y="4316"/>
                    </a:cubicBezTo>
                    <a:cubicBezTo>
                      <a:pt x="7564" y="4347"/>
                      <a:pt x="7564" y="4347"/>
                      <a:pt x="7564" y="4347"/>
                    </a:cubicBezTo>
                    <a:cubicBezTo>
                      <a:pt x="7587" y="4258"/>
                      <a:pt x="7587" y="4258"/>
                      <a:pt x="7587" y="4258"/>
                    </a:cubicBezTo>
                    <a:cubicBezTo>
                      <a:pt x="7692" y="4286"/>
                      <a:pt x="7692" y="4286"/>
                      <a:pt x="7692" y="4286"/>
                    </a:cubicBezTo>
                    <a:cubicBezTo>
                      <a:pt x="7710" y="4215"/>
                      <a:pt x="7710" y="4215"/>
                      <a:pt x="7710" y="4215"/>
                    </a:cubicBezTo>
                    <a:cubicBezTo>
                      <a:pt x="7703" y="4214"/>
                      <a:pt x="7703" y="4214"/>
                      <a:pt x="7703" y="4214"/>
                    </a:cubicBezTo>
                    <a:lnTo>
                      <a:pt x="7697" y="4212"/>
                    </a:lnTo>
                    <a:close/>
                    <a:moveTo>
                      <a:pt x="5229" y="1122"/>
                    </a:moveTo>
                    <a:cubicBezTo>
                      <a:pt x="5333" y="1123"/>
                      <a:pt x="5333" y="1123"/>
                      <a:pt x="5333" y="1123"/>
                    </a:cubicBezTo>
                    <a:cubicBezTo>
                      <a:pt x="5332" y="1271"/>
                      <a:pt x="5332" y="1271"/>
                      <a:pt x="5332" y="1271"/>
                    </a:cubicBezTo>
                    <a:cubicBezTo>
                      <a:pt x="5325" y="1271"/>
                      <a:pt x="5325" y="1271"/>
                      <a:pt x="5325" y="1271"/>
                    </a:cubicBezTo>
                    <a:cubicBezTo>
                      <a:pt x="5227" y="1270"/>
                      <a:pt x="5227" y="1270"/>
                      <a:pt x="5227" y="1270"/>
                    </a:cubicBezTo>
                    <a:lnTo>
                      <a:pt x="5229" y="1122"/>
                    </a:lnTo>
                    <a:close/>
                    <a:moveTo>
                      <a:pt x="5240" y="1257"/>
                    </a:moveTo>
                    <a:cubicBezTo>
                      <a:pt x="5319" y="1258"/>
                      <a:pt x="5319" y="1258"/>
                      <a:pt x="5319" y="1258"/>
                    </a:cubicBezTo>
                    <a:cubicBezTo>
                      <a:pt x="5320" y="1136"/>
                      <a:pt x="5320" y="1136"/>
                      <a:pt x="5320" y="1136"/>
                    </a:cubicBezTo>
                    <a:cubicBezTo>
                      <a:pt x="5241" y="1135"/>
                      <a:pt x="5241" y="1135"/>
                      <a:pt x="5241" y="1135"/>
                    </a:cubicBezTo>
                    <a:lnTo>
                      <a:pt x="5240" y="1257"/>
                    </a:lnTo>
                    <a:close/>
                    <a:moveTo>
                      <a:pt x="4400" y="1456"/>
                    </a:moveTo>
                    <a:cubicBezTo>
                      <a:pt x="4417" y="1516"/>
                      <a:pt x="4417" y="1516"/>
                      <a:pt x="4417" y="1516"/>
                    </a:cubicBezTo>
                    <a:cubicBezTo>
                      <a:pt x="4093" y="1720"/>
                      <a:pt x="4093" y="1720"/>
                      <a:pt x="4093" y="1720"/>
                    </a:cubicBezTo>
                    <a:cubicBezTo>
                      <a:pt x="4015" y="1557"/>
                      <a:pt x="4015" y="1557"/>
                      <a:pt x="4015" y="1557"/>
                    </a:cubicBezTo>
                    <a:cubicBezTo>
                      <a:pt x="4072" y="1525"/>
                      <a:pt x="4072" y="1525"/>
                      <a:pt x="4072" y="1525"/>
                    </a:cubicBezTo>
                    <a:cubicBezTo>
                      <a:pt x="4063" y="1505"/>
                      <a:pt x="4063" y="1505"/>
                      <a:pt x="4063" y="1505"/>
                    </a:cubicBezTo>
                    <a:cubicBezTo>
                      <a:pt x="3981" y="1485"/>
                      <a:pt x="3981" y="1485"/>
                      <a:pt x="3981" y="1485"/>
                    </a:cubicBezTo>
                    <a:cubicBezTo>
                      <a:pt x="3889" y="1262"/>
                      <a:pt x="3889" y="1262"/>
                      <a:pt x="3889" y="1262"/>
                    </a:cubicBezTo>
                    <a:cubicBezTo>
                      <a:pt x="4018" y="1212"/>
                      <a:pt x="4018" y="1212"/>
                      <a:pt x="4018" y="1212"/>
                    </a:cubicBezTo>
                    <a:cubicBezTo>
                      <a:pt x="4123" y="1240"/>
                      <a:pt x="4123" y="1240"/>
                      <a:pt x="4123" y="1240"/>
                    </a:cubicBezTo>
                    <a:cubicBezTo>
                      <a:pt x="4154" y="1232"/>
                      <a:pt x="4154" y="1232"/>
                      <a:pt x="4154" y="1232"/>
                    </a:cubicBezTo>
                    <a:cubicBezTo>
                      <a:pt x="4137" y="1178"/>
                      <a:pt x="4137" y="1178"/>
                      <a:pt x="4137" y="1178"/>
                    </a:cubicBezTo>
                    <a:cubicBezTo>
                      <a:pt x="4313" y="1139"/>
                      <a:pt x="4313" y="1139"/>
                      <a:pt x="4313" y="1139"/>
                    </a:cubicBezTo>
                    <a:cubicBezTo>
                      <a:pt x="4314" y="1147"/>
                      <a:pt x="4314" y="1147"/>
                      <a:pt x="4314" y="1147"/>
                    </a:cubicBezTo>
                    <a:cubicBezTo>
                      <a:pt x="4336" y="1258"/>
                      <a:pt x="4336" y="1258"/>
                      <a:pt x="4336" y="1258"/>
                    </a:cubicBezTo>
                    <a:cubicBezTo>
                      <a:pt x="4357" y="1457"/>
                      <a:pt x="4357" y="1457"/>
                      <a:pt x="4357" y="1457"/>
                    </a:cubicBezTo>
                    <a:lnTo>
                      <a:pt x="4400" y="1456"/>
                    </a:lnTo>
                    <a:close/>
                    <a:moveTo>
                      <a:pt x="4400" y="1509"/>
                    </a:moveTo>
                    <a:cubicBezTo>
                      <a:pt x="4389" y="1471"/>
                      <a:pt x="4389" y="1471"/>
                      <a:pt x="4389" y="1471"/>
                    </a:cubicBezTo>
                    <a:cubicBezTo>
                      <a:pt x="4344" y="1472"/>
                      <a:pt x="4344" y="1472"/>
                      <a:pt x="4344" y="1472"/>
                    </a:cubicBezTo>
                    <a:cubicBezTo>
                      <a:pt x="4321" y="1261"/>
                      <a:pt x="4321" y="1261"/>
                      <a:pt x="4321" y="1261"/>
                    </a:cubicBezTo>
                    <a:cubicBezTo>
                      <a:pt x="4301" y="1157"/>
                      <a:pt x="4301" y="1157"/>
                      <a:pt x="4301" y="1157"/>
                    </a:cubicBezTo>
                    <a:cubicBezTo>
                      <a:pt x="4156" y="1189"/>
                      <a:pt x="4156" y="1189"/>
                      <a:pt x="4156" y="1189"/>
                    </a:cubicBezTo>
                    <a:cubicBezTo>
                      <a:pt x="4172" y="1242"/>
                      <a:pt x="4172" y="1242"/>
                      <a:pt x="4172" y="1242"/>
                    </a:cubicBezTo>
                    <a:cubicBezTo>
                      <a:pt x="4123" y="1255"/>
                      <a:pt x="4123" y="1255"/>
                      <a:pt x="4123" y="1255"/>
                    </a:cubicBezTo>
                    <a:cubicBezTo>
                      <a:pt x="4018" y="1228"/>
                      <a:pt x="4018" y="1228"/>
                      <a:pt x="4018" y="1228"/>
                    </a:cubicBezTo>
                    <a:cubicBezTo>
                      <a:pt x="3908" y="1270"/>
                      <a:pt x="3908" y="1270"/>
                      <a:pt x="3908" y="1270"/>
                    </a:cubicBezTo>
                    <a:cubicBezTo>
                      <a:pt x="3991" y="1472"/>
                      <a:pt x="3991" y="1472"/>
                      <a:pt x="3991" y="1472"/>
                    </a:cubicBezTo>
                    <a:cubicBezTo>
                      <a:pt x="4074" y="1492"/>
                      <a:pt x="4074" y="1492"/>
                      <a:pt x="4074" y="1492"/>
                    </a:cubicBezTo>
                    <a:cubicBezTo>
                      <a:pt x="4091" y="1531"/>
                      <a:pt x="4091" y="1531"/>
                      <a:pt x="4091" y="1531"/>
                    </a:cubicBezTo>
                    <a:cubicBezTo>
                      <a:pt x="4035" y="1563"/>
                      <a:pt x="4035" y="1563"/>
                      <a:pt x="4035" y="1563"/>
                    </a:cubicBezTo>
                    <a:cubicBezTo>
                      <a:pt x="4099" y="1699"/>
                      <a:pt x="4099" y="1699"/>
                      <a:pt x="4099" y="1699"/>
                    </a:cubicBezTo>
                    <a:lnTo>
                      <a:pt x="4400" y="1509"/>
                    </a:lnTo>
                    <a:close/>
                    <a:moveTo>
                      <a:pt x="6473" y="9029"/>
                    </a:moveTo>
                    <a:cubicBezTo>
                      <a:pt x="6473" y="9104"/>
                      <a:pt x="6473" y="9104"/>
                      <a:pt x="6473" y="9104"/>
                    </a:cubicBezTo>
                    <a:cubicBezTo>
                      <a:pt x="6322" y="9105"/>
                      <a:pt x="6322" y="9105"/>
                      <a:pt x="6322" y="9105"/>
                    </a:cubicBezTo>
                    <a:cubicBezTo>
                      <a:pt x="6321" y="9030"/>
                      <a:pt x="6321" y="9030"/>
                      <a:pt x="6321" y="9030"/>
                    </a:cubicBezTo>
                    <a:cubicBezTo>
                      <a:pt x="6328" y="9030"/>
                      <a:pt x="6328" y="9030"/>
                      <a:pt x="6328" y="9030"/>
                    </a:cubicBezTo>
                    <a:lnTo>
                      <a:pt x="6473" y="9029"/>
                    </a:lnTo>
                    <a:close/>
                    <a:moveTo>
                      <a:pt x="6460" y="9091"/>
                    </a:moveTo>
                    <a:cubicBezTo>
                      <a:pt x="6460" y="9042"/>
                      <a:pt x="6460" y="9042"/>
                      <a:pt x="6460" y="9042"/>
                    </a:cubicBezTo>
                    <a:cubicBezTo>
                      <a:pt x="6335" y="9043"/>
                      <a:pt x="6335" y="9043"/>
                      <a:pt x="6335" y="9043"/>
                    </a:cubicBezTo>
                    <a:cubicBezTo>
                      <a:pt x="6335" y="9092"/>
                      <a:pt x="6335" y="9092"/>
                      <a:pt x="6335" y="9092"/>
                    </a:cubicBezTo>
                    <a:lnTo>
                      <a:pt x="6460" y="9091"/>
                    </a:lnTo>
                    <a:close/>
                    <a:moveTo>
                      <a:pt x="8428" y="720"/>
                    </a:moveTo>
                    <a:cubicBezTo>
                      <a:pt x="8325" y="608"/>
                      <a:pt x="8325" y="608"/>
                      <a:pt x="8325" y="608"/>
                    </a:cubicBezTo>
                    <a:cubicBezTo>
                      <a:pt x="8380" y="557"/>
                      <a:pt x="8380" y="557"/>
                      <a:pt x="8380" y="557"/>
                    </a:cubicBezTo>
                    <a:cubicBezTo>
                      <a:pt x="8385" y="562"/>
                      <a:pt x="8385" y="562"/>
                      <a:pt x="8385" y="562"/>
                    </a:cubicBezTo>
                    <a:cubicBezTo>
                      <a:pt x="8483" y="668"/>
                      <a:pt x="8483" y="668"/>
                      <a:pt x="8483" y="668"/>
                    </a:cubicBezTo>
                    <a:lnTo>
                      <a:pt x="8428" y="720"/>
                    </a:lnTo>
                    <a:close/>
                    <a:moveTo>
                      <a:pt x="8343" y="609"/>
                    </a:moveTo>
                    <a:cubicBezTo>
                      <a:pt x="8428" y="701"/>
                      <a:pt x="8428" y="701"/>
                      <a:pt x="8428" y="701"/>
                    </a:cubicBezTo>
                    <a:cubicBezTo>
                      <a:pt x="8465" y="667"/>
                      <a:pt x="8465" y="667"/>
                      <a:pt x="8465" y="667"/>
                    </a:cubicBezTo>
                    <a:cubicBezTo>
                      <a:pt x="8380" y="575"/>
                      <a:pt x="8380" y="575"/>
                      <a:pt x="8380" y="575"/>
                    </a:cubicBezTo>
                    <a:lnTo>
                      <a:pt x="8343" y="609"/>
                    </a:lnTo>
                    <a:close/>
                    <a:moveTo>
                      <a:pt x="4509" y="1260"/>
                    </a:moveTo>
                    <a:cubicBezTo>
                      <a:pt x="4412" y="1270"/>
                      <a:pt x="4412" y="1270"/>
                      <a:pt x="4412" y="1270"/>
                    </a:cubicBezTo>
                    <a:cubicBezTo>
                      <a:pt x="4398" y="1122"/>
                      <a:pt x="4398" y="1122"/>
                      <a:pt x="4398" y="1122"/>
                    </a:cubicBezTo>
                    <a:cubicBezTo>
                      <a:pt x="4502" y="1113"/>
                      <a:pt x="4502" y="1113"/>
                      <a:pt x="4502" y="1113"/>
                    </a:cubicBezTo>
                    <a:cubicBezTo>
                      <a:pt x="4516" y="1260"/>
                      <a:pt x="4516" y="1260"/>
                      <a:pt x="4516" y="1260"/>
                    </a:cubicBezTo>
                    <a:lnTo>
                      <a:pt x="4509" y="1260"/>
                    </a:lnTo>
                    <a:close/>
                    <a:moveTo>
                      <a:pt x="4502" y="1248"/>
                    </a:moveTo>
                    <a:cubicBezTo>
                      <a:pt x="4490" y="1127"/>
                      <a:pt x="4490" y="1127"/>
                      <a:pt x="4490" y="1127"/>
                    </a:cubicBezTo>
                    <a:cubicBezTo>
                      <a:pt x="4412" y="1134"/>
                      <a:pt x="4412" y="1134"/>
                      <a:pt x="4412" y="1134"/>
                    </a:cubicBezTo>
                    <a:cubicBezTo>
                      <a:pt x="4423" y="1256"/>
                      <a:pt x="4423" y="1256"/>
                      <a:pt x="4423" y="1256"/>
                    </a:cubicBezTo>
                    <a:lnTo>
                      <a:pt x="4502" y="1248"/>
                    </a:lnTo>
                    <a:close/>
                    <a:moveTo>
                      <a:pt x="6468" y="9247"/>
                    </a:moveTo>
                    <a:cubicBezTo>
                      <a:pt x="6468" y="9322"/>
                      <a:pt x="6468" y="9322"/>
                      <a:pt x="6468" y="9322"/>
                    </a:cubicBezTo>
                    <a:cubicBezTo>
                      <a:pt x="6317" y="9324"/>
                      <a:pt x="6317" y="9324"/>
                      <a:pt x="6317" y="9324"/>
                    </a:cubicBezTo>
                    <a:cubicBezTo>
                      <a:pt x="6316" y="9248"/>
                      <a:pt x="6316" y="9248"/>
                      <a:pt x="6316" y="9248"/>
                    </a:cubicBezTo>
                    <a:cubicBezTo>
                      <a:pt x="6323" y="9248"/>
                      <a:pt x="6323" y="9248"/>
                      <a:pt x="6323" y="9248"/>
                    </a:cubicBezTo>
                    <a:lnTo>
                      <a:pt x="6468" y="9247"/>
                    </a:lnTo>
                    <a:close/>
                    <a:moveTo>
                      <a:pt x="6455" y="9310"/>
                    </a:moveTo>
                    <a:cubicBezTo>
                      <a:pt x="6455" y="9260"/>
                      <a:pt x="6455" y="9260"/>
                      <a:pt x="6455" y="9260"/>
                    </a:cubicBezTo>
                    <a:cubicBezTo>
                      <a:pt x="6329" y="9261"/>
                      <a:pt x="6329" y="9261"/>
                      <a:pt x="6329" y="9261"/>
                    </a:cubicBezTo>
                    <a:cubicBezTo>
                      <a:pt x="6330" y="9310"/>
                      <a:pt x="6330" y="9310"/>
                      <a:pt x="6330" y="9310"/>
                    </a:cubicBezTo>
                    <a:lnTo>
                      <a:pt x="6455" y="9310"/>
                    </a:lnTo>
                    <a:close/>
                    <a:moveTo>
                      <a:pt x="6224" y="8642"/>
                    </a:moveTo>
                    <a:cubicBezTo>
                      <a:pt x="6223" y="8490"/>
                      <a:pt x="6223" y="8490"/>
                      <a:pt x="6223" y="8490"/>
                    </a:cubicBezTo>
                    <a:cubicBezTo>
                      <a:pt x="6294" y="8490"/>
                      <a:pt x="6294" y="8490"/>
                      <a:pt x="6294" y="8490"/>
                    </a:cubicBezTo>
                    <a:cubicBezTo>
                      <a:pt x="6294" y="8496"/>
                      <a:pt x="6294" y="8496"/>
                      <a:pt x="6294" y="8496"/>
                    </a:cubicBezTo>
                    <a:cubicBezTo>
                      <a:pt x="6295" y="8641"/>
                      <a:pt x="6295" y="8641"/>
                      <a:pt x="6295" y="8641"/>
                    </a:cubicBezTo>
                    <a:lnTo>
                      <a:pt x="6224" y="8642"/>
                    </a:lnTo>
                    <a:close/>
                    <a:moveTo>
                      <a:pt x="6237" y="8503"/>
                    </a:moveTo>
                    <a:cubicBezTo>
                      <a:pt x="6237" y="8629"/>
                      <a:pt x="6237" y="8629"/>
                      <a:pt x="6237" y="8629"/>
                    </a:cubicBezTo>
                    <a:cubicBezTo>
                      <a:pt x="6282" y="8628"/>
                      <a:pt x="6282" y="8628"/>
                      <a:pt x="6282" y="8628"/>
                    </a:cubicBezTo>
                    <a:cubicBezTo>
                      <a:pt x="6281" y="8503"/>
                      <a:pt x="6281" y="8503"/>
                      <a:pt x="6281" y="8503"/>
                    </a:cubicBezTo>
                    <a:lnTo>
                      <a:pt x="6237" y="8503"/>
                    </a:lnTo>
                    <a:close/>
                    <a:moveTo>
                      <a:pt x="7458" y="5255"/>
                    </a:moveTo>
                    <a:cubicBezTo>
                      <a:pt x="7260" y="5240"/>
                      <a:pt x="7260" y="5240"/>
                      <a:pt x="7260" y="5240"/>
                    </a:cubicBezTo>
                    <a:cubicBezTo>
                      <a:pt x="7261" y="5234"/>
                      <a:pt x="7261" y="5234"/>
                      <a:pt x="7261" y="5234"/>
                    </a:cubicBezTo>
                    <a:cubicBezTo>
                      <a:pt x="7267" y="5165"/>
                      <a:pt x="7267" y="5165"/>
                      <a:pt x="7267" y="5165"/>
                    </a:cubicBezTo>
                    <a:cubicBezTo>
                      <a:pt x="7342" y="5171"/>
                      <a:pt x="7342" y="5171"/>
                      <a:pt x="7342" y="5171"/>
                    </a:cubicBezTo>
                    <a:cubicBezTo>
                      <a:pt x="7349" y="5098"/>
                      <a:pt x="7349" y="5098"/>
                      <a:pt x="7349" y="5098"/>
                    </a:cubicBezTo>
                    <a:cubicBezTo>
                      <a:pt x="7489" y="5111"/>
                      <a:pt x="7489" y="5111"/>
                      <a:pt x="7489" y="5111"/>
                    </a:cubicBezTo>
                    <a:cubicBezTo>
                      <a:pt x="7481" y="5207"/>
                      <a:pt x="7481" y="5207"/>
                      <a:pt x="7481" y="5207"/>
                    </a:cubicBezTo>
                    <a:cubicBezTo>
                      <a:pt x="7463" y="5205"/>
                      <a:pt x="7463" y="5205"/>
                      <a:pt x="7463" y="5205"/>
                    </a:cubicBezTo>
                    <a:lnTo>
                      <a:pt x="7458" y="5255"/>
                    </a:lnTo>
                    <a:close/>
                    <a:moveTo>
                      <a:pt x="7451" y="5191"/>
                    </a:moveTo>
                    <a:cubicBezTo>
                      <a:pt x="7469" y="5193"/>
                      <a:pt x="7469" y="5193"/>
                      <a:pt x="7469" y="5193"/>
                    </a:cubicBezTo>
                    <a:cubicBezTo>
                      <a:pt x="7475" y="5123"/>
                      <a:pt x="7475" y="5123"/>
                      <a:pt x="7475" y="5123"/>
                    </a:cubicBezTo>
                    <a:cubicBezTo>
                      <a:pt x="7361" y="5113"/>
                      <a:pt x="7361" y="5113"/>
                      <a:pt x="7361" y="5113"/>
                    </a:cubicBezTo>
                    <a:cubicBezTo>
                      <a:pt x="7354" y="5185"/>
                      <a:pt x="7354" y="5185"/>
                      <a:pt x="7354" y="5185"/>
                    </a:cubicBezTo>
                    <a:cubicBezTo>
                      <a:pt x="7279" y="5179"/>
                      <a:pt x="7279" y="5179"/>
                      <a:pt x="7279" y="5179"/>
                    </a:cubicBezTo>
                    <a:cubicBezTo>
                      <a:pt x="7275" y="5228"/>
                      <a:pt x="7275" y="5228"/>
                      <a:pt x="7275" y="5228"/>
                    </a:cubicBezTo>
                    <a:cubicBezTo>
                      <a:pt x="7446" y="5241"/>
                      <a:pt x="7446" y="5241"/>
                      <a:pt x="7446" y="5241"/>
                    </a:cubicBezTo>
                    <a:lnTo>
                      <a:pt x="7451" y="5191"/>
                    </a:lnTo>
                    <a:close/>
                    <a:moveTo>
                      <a:pt x="7754" y="4627"/>
                    </a:moveTo>
                    <a:cubicBezTo>
                      <a:pt x="7556" y="4613"/>
                      <a:pt x="7556" y="4613"/>
                      <a:pt x="7556" y="4613"/>
                    </a:cubicBezTo>
                    <a:cubicBezTo>
                      <a:pt x="7556" y="4607"/>
                      <a:pt x="7556" y="4607"/>
                      <a:pt x="7556" y="4607"/>
                    </a:cubicBezTo>
                    <a:cubicBezTo>
                      <a:pt x="7562" y="4538"/>
                      <a:pt x="7562" y="4538"/>
                      <a:pt x="7562" y="4538"/>
                    </a:cubicBezTo>
                    <a:cubicBezTo>
                      <a:pt x="7638" y="4544"/>
                      <a:pt x="7638" y="4544"/>
                      <a:pt x="7638" y="4544"/>
                    </a:cubicBezTo>
                    <a:cubicBezTo>
                      <a:pt x="7644" y="4471"/>
                      <a:pt x="7644" y="4471"/>
                      <a:pt x="7644" y="4471"/>
                    </a:cubicBezTo>
                    <a:cubicBezTo>
                      <a:pt x="7784" y="4483"/>
                      <a:pt x="7784" y="4483"/>
                      <a:pt x="7784" y="4483"/>
                    </a:cubicBezTo>
                    <a:cubicBezTo>
                      <a:pt x="7776" y="4580"/>
                      <a:pt x="7776" y="4580"/>
                      <a:pt x="7776" y="4580"/>
                    </a:cubicBezTo>
                    <a:cubicBezTo>
                      <a:pt x="7758" y="4578"/>
                      <a:pt x="7758" y="4578"/>
                      <a:pt x="7758" y="4578"/>
                    </a:cubicBezTo>
                    <a:lnTo>
                      <a:pt x="7754" y="4627"/>
                    </a:lnTo>
                    <a:close/>
                    <a:moveTo>
                      <a:pt x="7746" y="4564"/>
                    </a:moveTo>
                    <a:cubicBezTo>
                      <a:pt x="7764" y="4565"/>
                      <a:pt x="7764" y="4565"/>
                      <a:pt x="7764" y="4565"/>
                    </a:cubicBezTo>
                    <a:cubicBezTo>
                      <a:pt x="7770" y="4495"/>
                      <a:pt x="7770" y="4495"/>
                      <a:pt x="7770" y="4495"/>
                    </a:cubicBezTo>
                    <a:cubicBezTo>
                      <a:pt x="7656" y="4485"/>
                      <a:pt x="7656" y="4485"/>
                      <a:pt x="7656" y="4485"/>
                    </a:cubicBezTo>
                    <a:cubicBezTo>
                      <a:pt x="7649" y="4558"/>
                      <a:pt x="7649" y="4558"/>
                      <a:pt x="7649" y="4558"/>
                    </a:cubicBezTo>
                    <a:cubicBezTo>
                      <a:pt x="7574" y="4552"/>
                      <a:pt x="7574" y="4552"/>
                      <a:pt x="7574" y="4552"/>
                    </a:cubicBezTo>
                    <a:cubicBezTo>
                      <a:pt x="7570" y="4601"/>
                      <a:pt x="7570" y="4601"/>
                      <a:pt x="7570" y="4601"/>
                    </a:cubicBezTo>
                    <a:cubicBezTo>
                      <a:pt x="7742" y="4613"/>
                      <a:pt x="7742" y="4613"/>
                      <a:pt x="7742" y="4613"/>
                    </a:cubicBezTo>
                    <a:lnTo>
                      <a:pt x="7746" y="4564"/>
                    </a:lnTo>
                    <a:close/>
                    <a:moveTo>
                      <a:pt x="8039" y="1191"/>
                    </a:moveTo>
                    <a:cubicBezTo>
                      <a:pt x="8215" y="1287"/>
                      <a:pt x="8215" y="1287"/>
                      <a:pt x="8215" y="1287"/>
                    </a:cubicBezTo>
                    <a:cubicBezTo>
                      <a:pt x="8274" y="1199"/>
                      <a:pt x="8274" y="1199"/>
                      <a:pt x="8274" y="1199"/>
                    </a:cubicBezTo>
                    <a:cubicBezTo>
                      <a:pt x="8589" y="1383"/>
                      <a:pt x="8589" y="1383"/>
                      <a:pt x="8589" y="1383"/>
                    </a:cubicBezTo>
                    <a:cubicBezTo>
                      <a:pt x="8533" y="1477"/>
                      <a:pt x="8533" y="1477"/>
                      <a:pt x="8533" y="1477"/>
                    </a:cubicBezTo>
                    <a:cubicBezTo>
                      <a:pt x="8472" y="1442"/>
                      <a:pt x="8472" y="1442"/>
                      <a:pt x="8472" y="1442"/>
                    </a:cubicBezTo>
                    <a:cubicBezTo>
                      <a:pt x="8371" y="1632"/>
                      <a:pt x="8371" y="1632"/>
                      <a:pt x="8371" y="1632"/>
                    </a:cubicBezTo>
                    <a:cubicBezTo>
                      <a:pt x="8425" y="1667"/>
                      <a:pt x="8425" y="1667"/>
                      <a:pt x="8425" y="1667"/>
                    </a:cubicBezTo>
                    <a:cubicBezTo>
                      <a:pt x="8323" y="1848"/>
                      <a:pt x="8323" y="1848"/>
                      <a:pt x="8323" y="1848"/>
                    </a:cubicBezTo>
                    <a:cubicBezTo>
                      <a:pt x="8203" y="1782"/>
                      <a:pt x="8203" y="1782"/>
                      <a:pt x="8203" y="1782"/>
                    </a:cubicBezTo>
                    <a:cubicBezTo>
                      <a:pt x="8337" y="1548"/>
                      <a:pt x="8337" y="1548"/>
                      <a:pt x="8337" y="1548"/>
                    </a:cubicBezTo>
                    <a:cubicBezTo>
                      <a:pt x="8215" y="1476"/>
                      <a:pt x="8215" y="1476"/>
                      <a:pt x="8215" y="1476"/>
                    </a:cubicBezTo>
                    <a:cubicBezTo>
                      <a:pt x="8080" y="1710"/>
                      <a:pt x="8080" y="1710"/>
                      <a:pt x="8080" y="1710"/>
                    </a:cubicBezTo>
                    <a:cubicBezTo>
                      <a:pt x="8002" y="1662"/>
                      <a:pt x="8002" y="1662"/>
                      <a:pt x="8002" y="1662"/>
                    </a:cubicBezTo>
                    <a:cubicBezTo>
                      <a:pt x="8163" y="1388"/>
                      <a:pt x="8163" y="1388"/>
                      <a:pt x="8163" y="1388"/>
                    </a:cubicBezTo>
                    <a:cubicBezTo>
                      <a:pt x="8102" y="1353"/>
                      <a:pt x="8102" y="1353"/>
                      <a:pt x="8102" y="1353"/>
                    </a:cubicBezTo>
                    <a:cubicBezTo>
                      <a:pt x="8021" y="1491"/>
                      <a:pt x="8021" y="1491"/>
                      <a:pt x="8021" y="1491"/>
                    </a:cubicBezTo>
                    <a:cubicBezTo>
                      <a:pt x="7955" y="1453"/>
                      <a:pt x="7955" y="1453"/>
                      <a:pt x="7955" y="1453"/>
                    </a:cubicBezTo>
                    <a:cubicBezTo>
                      <a:pt x="8033" y="1309"/>
                      <a:pt x="8033" y="1309"/>
                      <a:pt x="8033" y="1309"/>
                    </a:cubicBezTo>
                    <a:cubicBezTo>
                      <a:pt x="7975" y="1277"/>
                      <a:pt x="7975" y="1277"/>
                      <a:pt x="7975" y="1277"/>
                    </a:cubicBezTo>
                    <a:cubicBezTo>
                      <a:pt x="8033" y="1188"/>
                      <a:pt x="8033" y="1188"/>
                      <a:pt x="8033" y="1188"/>
                    </a:cubicBezTo>
                    <a:lnTo>
                      <a:pt x="8039" y="1191"/>
                    </a:lnTo>
                    <a:close/>
                    <a:moveTo>
                      <a:pt x="8038" y="1207"/>
                    </a:moveTo>
                    <a:cubicBezTo>
                      <a:pt x="7996" y="1272"/>
                      <a:pt x="7996" y="1272"/>
                      <a:pt x="7996" y="1272"/>
                    </a:cubicBezTo>
                    <a:cubicBezTo>
                      <a:pt x="8054" y="1303"/>
                      <a:pt x="8054" y="1303"/>
                      <a:pt x="8054" y="1303"/>
                    </a:cubicBezTo>
                    <a:cubicBezTo>
                      <a:pt x="7975" y="1447"/>
                      <a:pt x="7975" y="1447"/>
                      <a:pt x="7975" y="1447"/>
                    </a:cubicBezTo>
                    <a:cubicBezTo>
                      <a:pt x="8016" y="1471"/>
                      <a:pt x="8016" y="1471"/>
                      <a:pt x="8016" y="1471"/>
                    </a:cubicBezTo>
                    <a:cubicBezTo>
                      <a:pt x="8096" y="1333"/>
                      <a:pt x="8096" y="1333"/>
                      <a:pt x="8096" y="1333"/>
                    </a:cubicBezTo>
                    <a:cubicBezTo>
                      <a:pt x="8184" y="1383"/>
                      <a:pt x="8184" y="1383"/>
                      <a:pt x="8184" y="1383"/>
                    </a:cubicBezTo>
                    <a:cubicBezTo>
                      <a:pt x="8022" y="1657"/>
                      <a:pt x="8022" y="1657"/>
                      <a:pt x="8022" y="1657"/>
                    </a:cubicBezTo>
                    <a:cubicBezTo>
                      <a:pt x="8075" y="1689"/>
                      <a:pt x="8075" y="1689"/>
                      <a:pt x="8075" y="1689"/>
                    </a:cubicBezTo>
                    <a:cubicBezTo>
                      <a:pt x="8209" y="1456"/>
                      <a:pt x="8209" y="1456"/>
                      <a:pt x="8209" y="1456"/>
                    </a:cubicBezTo>
                    <a:cubicBezTo>
                      <a:pt x="8357" y="1543"/>
                      <a:pt x="8357" y="1543"/>
                      <a:pt x="8357" y="1543"/>
                    </a:cubicBezTo>
                    <a:cubicBezTo>
                      <a:pt x="8223" y="1776"/>
                      <a:pt x="8223" y="1776"/>
                      <a:pt x="8223" y="1776"/>
                    </a:cubicBezTo>
                    <a:cubicBezTo>
                      <a:pt x="8317" y="1828"/>
                      <a:pt x="8317" y="1828"/>
                      <a:pt x="8317" y="1828"/>
                    </a:cubicBezTo>
                    <a:cubicBezTo>
                      <a:pt x="8405" y="1672"/>
                      <a:pt x="8405" y="1672"/>
                      <a:pt x="8405" y="1672"/>
                    </a:cubicBezTo>
                    <a:cubicBezTo>
                      <a:pt x="8351" y="1637"/>
                      <a:pt x="8351" y="1637"/>
                      <a:pt x="8351" y="1637"/>
                    </a:cubicBezTo>
                    <a:cubicBezTo>
                      <a:pt x="8467" y="1421"/>
                      <a:pt x="8467" y="1421"/>
                      <a:pt x="8467" y="1421"/>
                    </a:cubicBezTo>
                    <a:cubicBezTo>
                      <a:pt x="8528" y="1457"/>
                      <a:pt x="8528" y="1457"/>
                      <a:pt x="8528" y="1457"/>
                    </a:cubicBezTo>
                    <a:cubicBezTo>
                      <a:pt x="8569" y="1388"/>
                      <a:pt x="8569" y="1388"/>
                      <a:pt x="8569" y="1388"/>
                    </a:cubicBezTo>
                    <a:cubicBezTo>
                      <a:pt x="8278" y="1219"/>
                      <a:pt x="8278" y="1219"/>
                      <a:pt x="8278" y="1219"/>
                    </a:cubicBezTo>
                    <a:cubicBezTo>
                      <a:pt x="8220" y="1306"/>
                      <a:pt x="8220" y="1306"/>
                      <a:pt x="8220" y="1306"/>
                    </a:cubicBezTo>
                    <a:lnTo>
                      <a:pt x="8038" y="1207"/>
                    </a:lnTo>
                    <a:close/>
                    <a:moveTo>
                      <a:pt x="7534" y="6641"/>
                    </a:moveTo>
                    <a:cubicBezTo>
                      <a:pt x="7718" y="6669"/>
                      <a:pt x="7718" y="6669"/>
                      <a:pt x="7718" y="6669"/>
                    </a:cubicBezTo>
                    <a:cubicBezTo>
                      <a:pt x="7701" y="6777"/>
                      <a:pt x="7701" y="6777"/>
                      <a:pt x="7701" y="6777"/>
                    </a:cubicBezTo>
                    <a:cubicBezTo>
                      <a:pt x="7629" y="6766"/>
                      <a:pt x="7629" y="6766"/>
                      <a:pt x="7629" y="6766"/>
                    </a:cubicBezTo>
                    <a:cubicBezTo>
                      <a:pt x="7621" y="6823"/>
                      <a:pt x="7621" y="6823"/>
                      <a:pt x="7621" y="6823"/>
                    </a:cubicBezTo>
                    <a:cubicBezTo>
                      <a:pt x="7614" y="6822"/>
                      <a:pt x="7614" y="6822"/>
                      <a:pt x="7614" y="6822"/>
                    </a:cubicBezTo>
                    <a:cubicBezTo>
                      <a:pt x="7499" y="6808"/>
                      <a:pt x="7499" y="6808"/>
                      <a:pt x="7499" y="6808"/>
                    </a:cubicBezTo>
                    <a:cubicBezTo>
                      <a:pt x="7516" y="6691"/>
                      <a:pt x="7516" y="6691"/>
                      <a:pt x="7516" y="6691"/>
                    </a:cubicBezTo>
                    <a:cubicBezTo>
                      <a:pt x="7527" y="6693"/>
                      <a:pt x="7527" y="6693"/>
                      <a:pt x="7527" y="6693"/>
                    </a:cubicBezTo>
                    <a:lnTo>
                      <a:pt x="7534" y="6641"/>
                    </a:lnTo>
                    <a:close/>
                    <a:moveTo>
                      <a:pt x="7538" y="6708"/>
                    </a:moveTo>
                    <a:cubicBezTo>
                      <a:pt x="7527" y="6706"/>
                      <a:pt x="7527" y="6706"/>
                      <a:pt x="7527" y="6706"/>
                    </a:cubicBezTo>
                    <a:cubicBezTo>
                      <a:pt x="7514" y="6796"/>
                      <a:pt x="7514" y="6796"/>
                      <a:pt x="7514" y="6796"/>
                    </a:cubicBezTo>
                    <a:cubicBezTo>
                      <a:pt x="7609" y="6808"/>
                      <a:pt x="7609" y="6808"/>
                      <a:pt x="7609" y="6808"/>
                    </a:cubicBezTo>
                    <a:cubicBezTo>
                      <a:pt x="7618" y="6752"/>
                      <a:pt x="7618" y="6752"/>
                      <a:pt x="7618" y="6752"/>
                    </a:cubicBezTo>
                    <a:cubicBezTo>
                      <a:pt x="7690" y="6762"/>
                      <a:pt x="7690" y="6762"/>
                      <a:pt x="7690" y="6762"/>
                    </a:cubicBezTo>
                    <a:cubicBezTo>
                      <a:pt x="7703" y="6680"/>
                      <a:pt x="7703" y="6680"/>
                      <a:pt x="7703" y="6680"/>
                    </a:cubicBezTo>
                    <a:cubicBezTo>
                      <a:pt x="7545" y="6656"/>
                      <a:pt x="7545" y="6656"/>
                      <a:pt x="7545" y="6656"/>
                    </a:cubicBezTo>
                    <a:lnTo>
                      <a:pt x="7538" y="6708"/>
                    </a:lnTo>
                    <a:close/>
                    <a:moveTo>
                      <a:pt x="3345" y="1815"/>
                    </a:moveTo>
                    <a:cubicBezTo>
                      <a:pt x="3302" y="1733"/>
                      <a:pt x="3302" y="1733"/>
                      <a:pt x="3302" y="1733"/>
                    </a:cubicBezTo>
                    <a:cubicBezTo>
                      <a:pt x="3684" y="1547"/>
                      <a:pt x="3684" y="1547"/>
                      <a:pt x="3684" y="1547"/>
                    </a:cubicBezTo>
                    <a:cubicBezTo>
                      <a:pt x="3704" y="1589"/>
                      <a:pt x="3704" y="1589"/>
                      <a:pt x="3704" y="1589"/>
                    </a:cubicBezTo>
                    <a:cubicBezTo>
                      <a:pt x="3699" y="1593"/>
                      <a:pt x="3699" y="1593"/>
                      <a:pt x="3699" y="1593"/>
                    </a:cubicBezTo>
                    <a:cubicBezTo>
                      <a:pt x="3699" y="1593"/>
                      <a:pt x="3658" y="1618"/>
                      <a:pt x="3603" y="1651"/>
                    </a:cubicBezTo>
                    <a:cubicBezTo>
                      <a:pt x="3601" y="1652"/>
                      <a:pt x="3600" y="1654"/>
                      <a:pt x="3600" y="1659"/>
                    </a:cubicBezTo>
                    <a:cubicBezTo>
                      <a:pt x="3600" y="1670"/>
                      <a:pt x="3608" y="1689"/>
                      <a:pt x="3616" y="1705"/>
                    </a:cubicBezTo>
                    <a:cubicBezTo>
                      <a:pt x="3624" y="1720"/>
                      <a:pt x="3632" y="1732"/>
                      <a:pt x="3632" y="1732"/>
                    </a:cubicBezTo>
                    <a:cubicBezTo>
                      <a:pt x="3637" y="1740"/>
                      <a:pt x="3637" y="1740"/>
                      <a:pt x="3637" y="1740"/>
                    </a:cubicBezTo>
                    <a:cubicBezTo>
                      <a:pt x="3511" y="1797"/>
                      <a:pt x="3511" y="1797"/>
                      <a:pt x="3511" y="1797"/>
                    </a:cubicBezTo>
                    <a:cubicBezTo>
                      <a:pt x="3508" y="1793"/>
                      <a:pt x="3508" y="1793"/>
                      <a:pt x="3508" y="1793"/>
                    </a:cubicBezTo>
                    <a:cubicBezTo>
                      <a:pt x="3508" y="1793"/>
                      <a:pt x="3498" y="1783"/>
                      <a:pt x="3485" y="1772"/>
                    </a:cubicBezTo>
                    <a:cubicBezTo>
                      <a:pt x="3471" y="1762"/>
                      <a:pt x="3454" y="1752"/>
                      <a:pt x="3443" y="1753"/>
                    </a:cubicBezTo>
                    <a:cubicBezTo>
                      <a:pt x="3440" y="1753"/>
                      <a:pt x="3437" y="1753"/>
                      <a:pt x="3435" y="1755"/>
                    </a:cubicBezTo>
                    <a:cubicBezTo>
                      <a:pt x="3382" y="1787"/>
                      <a:pt x="3352" y="1810"/>
                      <a:pt x="3352" y="1810"/>
                    </a:cubicBezTo>
                    <a:lnTo>
                      <a:pt x="3345" y="1815"/>
                    </a:lnTo>
                    <a:close/>
                    <a:moveTo>
                      <a:pt x="3322" y="1740"/>
                    </a:moveTo>
                    <a:cubicBezTo>
                      <a:pt x="3350" y="1793"/>
                      <a:pt x="3350" y="1793"/>
                      <a:pt x="3350" y="1793"/>
                    </a:cubicBezTo>
                    <a:cubicBezTo>
                      <a:pt x="3362" y="1784"/>
                      <a:pt x="3389" y="1766"/>
                      <a:pt x="3427" y="1742"/>
                    </a:cubicBezTo>
                    <a:cubicBezTo>
                      <a:pt x="3432" y="1739"/>
                      <a:pt x="3438" y="1738"/>
                      <a:pt x="3443" y="1738"/>
                    </a:cubicBezTo>
                    <a:cubicBezTo>
                      <a:pt x="3472" y="1739"/>
                      <a:pt x="3504" y="1769"/>
                      <a:pt x="3515" y="1779"/>
                    </a:cubicBezTo>
                    <a:cubicBezTo>
                      <a:pt x="3615" y="1733"/>
                      <a:pt x="3615" y="1733"/>
                      <a:pt x="3615" y="1733"/>
                    </a:cubicBezTo>
                    <a:cubicBezTo>
                      <a:pt x="3606" y="1718"/>
                      <a:pt x="3586" y="1684"/>
                      <a:pt x="3585" y="1659"/>
                    </a:cubicBezTo>
                    <a:cubicBezTo>
                      <a:pt x="3585" y="1652"/>
                      <a:pt x="3588" y="1643"/>
                      <a:pt x="3595" y="1639"/>
                    </a:cubicBezTo>
                    <a:cubicBezTo>
                      <a:pt x="3638" y="1613"/>
                      <a:pt x="3672" y="1592"/>
                      <a:pt x="3685" y="1584"/>
                    </a:cubicBezTo>
                    <a:cubicBezTo>
                      <a:pt x="3677" y="1566"/>
                      <a:pt x="3677" y="1566"/>
                      <a:pt x="3677" y="1566"/>
                    </a:cubicBezTo>
                    <a:lnTo>
                      <a:pt x="3322" y="1740"/>
                    </a:lnTo>
                    <a:close/>
                    <a:moveTo>
                      <a:pt x="7590" y="7202"/>
                    </a:moveTo>
                    <a:cubicBezTo>
                      <a:pt x="7481" y="7192"/>
                      <a:pt x="7481" y="7192"/>
                      <a:pt x="7481" y="7192"/>
                    </a:cubicBezTo>
                    <a:cubicBezTo>
                      <a:pt x="7498" y="7007"/>
                      <a:pt x="7498" y="7007"/>
                      <a:pt x="7498" y="7007"/>
                    </a:cubicBezTo>
                    <a:cubicBezTo>
                      <a:pt x="7550" y="7012"/>
                      <a:pt x="7550" y="7012"/>
                      <a:pt x="7550" y="7012"/>
                    </a:cubicBezTo>
                    <a:cubicBezTo>
                      <a:pt x="7551" y="7008"/>
                      <a:pt x="7551" y="7008"/>
                      <a:pt x="7551" y="7008"/>
                    </a:cubicBezTo>
                    <a:cubicBezTo>
                      <a:pt x="7551" y="7002"/>
                      <a:pt x="7551" y="7002"/>
                      <a:pt x="7551" y="7002"/>
                    </a:cubicBezTo>
                    <a:cubicBezTo>
                      <a:pt x="7668" y="7013"/>
                      <a:pt x="7668" y="7013"/>
                      <a:pt x="7668" y="7013"/>
                    </a:cubicBezTo>
                    <a:cubicBezTo>
                      <a:pt x="7654" y="7135"/>
                      <a:pt x="7654" y="7135"/>
                      <a:pt x="7654" y="7135"/>
                    </a:cubicBezTo>
                    <a:cubicBezTo>
                      <a:pt x="7648" y="7134"/>
                      <a:pt x="7648" y="7134"/>
                      <a:pt x="7648" y="7134"/>
                    </a:cubicBezTo>
                    <a:cubicBezTo>
                      <a:pt x="7597" y="7129"/>
                      <a:pt x="7597" y="7129"/>
                      <a:pt x="7597" y="7129"/>
                    </a:cubicBezTo>
                    <a:lnTo>
                      <a:pt x="7590" y="7202"/>
                    </a:lnTo>
                    <a:close/>
                    <a:moveTo>
                      <a:pt x="7585" y="7115"/>
                    </a:moveTo>
                    <a:cubicBezTo>
                      <a:pt x="7643" y="7121"/>
                      <a:pt x="7643" y="7121"/>
                      <a:pt x="7643" y="7121"/>
                    </a:cubicBezTo>
                    <a:cubicBezTo>
                      <a:pt x="7654" y="7025"/>
                      <a:pt x="7654" y="7025"/>
                      <a:pt x="7654" y="7025"/>
                    </a:cubicBezTo>
                    <a:cubicBezTo>
                      <a:pt x="7563" y="7016"/>
                      <a:pt x="7563" y="7016"/>
                      <a:pt x="7563" y="7016"/>
                    </a:cubicBezTo>
                    <a:cubicBezTo>
                      <a:pt x="7563" y="7020"/>
                      <a:pt x="7563" y="7020"/>
                      <a:pt x="7563" y="7020"/>
                    </a:cubicBezTo>
                    <a:cubicBezTo>
                      <a:pt x="7562" y="7026"/>
                      <a:pt x="7562" y="7026"/>
                      <a:pt x="7562" y="7026"/>
                    </a:cubicBezTo>
                    <a:cubicBezTo>
                      <a:pt x="7510" y="7022"/>
                      <a:pt x="7510" y="7022"/>
                      <a:pt x="7510" y="7022"/>
                    </a:cubicBezTo>
                    <a:cubicBezTo>
                      <a:pt x="7495" y="7180"/>
                      <a:pt x="7495" y="7180"/>
                      <a:pt x="7495" y="7180"/>
                    </a:cubicBezTo>
                    <a:cubicBezTo>
                      <a:pt x="7578" y="7188"/>
                      <a:pt x="7578" y="7188"/>
                      <a:pt x="7578" y="7188"/>
                    </a:cubicBezTo>
                    <a:lnTo>
                      <a:pt x="7585" y="7115"/>
                    </a:lnTo>
                    <a:close/>
                    <a:moveTo>
                      <a:pt x="533" y="2229"/>
                    </a:moveTo>
                    <a:cubicBezTo>
                      <a:pt x="533" y="2217"/>
                      <a:pt x="539" y="2205"/>
                      <a:pt x="540" y="2201"/>
                    </a:cubicBezTo>
                    <a:cubicBezTo>
                      <a:pt x="540" y="2201"/>
                      <a:pt x="540" y="2200"/>
                      <a:pt x="540" y="2199"/>
                    </a:cubicBezTo>
                    <a:cubicBezTo>
                      <a:pt x="540" y="2195"/>
                      <a:pt x="544" y="2195"/>
                      <a:pt x="544" y="2195"/>
                    </a:cubicBezTo>
                    <a:cubicBezTo>
                      <a:pt x="545" y="2195"/>
                      <a:pt x="547" y="2195"/>
                      <a:pt x="548" y="2196"/>
                    </a:cubicBezTo>
                    <a:cubicBezTo>
                      <a:pt x="548" y="2197"/>
                      <a:pt x="548" y="2197"/>
                      <a:pt x="549" y="2198"/>
                    </a:cubicBezTo>
                    <a:cubicBezTo>
                      <a:pt x="557" y="2203"/>
                      <a:pt x="591" y="2220"/>
                      <a:pt x="599" y="2224"/>
                    </a:cubicBezTo>
                    <a:cubicBezTo>
                      <a:pt x="608" y="2229"/>
                      <a:pt x="649" y="2232"/>
                      <a:pt x="685" y="2241"/>
                    </a:cubicBezTo>
                    <a:cubicBezTo>
                      <a:pt x="722" y="2252"/>
                      <a:pt x="733" y="2283"/>
                      <a:pt x="738" y="2313"/>
                    </a:cubicBezTo>
                    <a:cubicBezTo>
                      <a:pt x="744" y="2342"/>
                      <a:pt x="752" y="2345"/>
                      <a:pt x="776" y="2361"/>
                    </a:cubicBezTo>
                    <a:cubicBezTo>
                      <a:pt x="780" y="2364"/>
                      <a:pt x="785" y="2365"/>
                      <a:pt x="791" y="2365"/>
                    </a:cubicBezTo>
                    <a:cubicBezTo>
                      <a:pt x="813" y="2365"/>
                      <a:pt x="847" y="2347"/>
                      <a:pt x="884" y="2328"/>
                    </a:cubicBezTo>
                    <a:cubicBezTo>
                      <a:pt x="899" y="2320"/>
                      <a:pt x="910" y="2317"/>
                      <a:pt x="919" y="2317"/>
                    </a:cubicBezTo>
                    <a:cubicBezTo>
                      <a:pt x="941" y="2317"/>
                      <a:pt x="947" y="2334"/>
                      <a:pt x="947" y="2334"/>
                    </a:cubicBezTo>
                    <a:cubicBezTo>
                      <a:pt x="948" y="2338"/>
                      <a:pt x="948" y="2338"/>
                      <a:pt x="948" y="2338"/>
                    </a:cubicBezTo>
                    <a:cubicBezTo>
                      <a:pt x="945" y="2339"/>
                      <a:pt x="945" y="2339"/>
                      <a:pt x="945" y="2339"/>
                    </a:cubicBezTo>
                    <a:cubicBezTo>
                      <a:pt x="940" y="2341"/>
                      <a:pt x="926" y="2366"/>
                      <a:pt x="913" y="2391"/>
                    </a:cubicBezTo>
                    <a:cubicBezTo>
                      <a:pt x="898" y="2416"/>
                      <a:pt x="866" y="2447"/>
                      <a:pt x="822" y="2476"/>
                    </a:cubicBezTo>
                    <a:cubicBezTo>
                      <a:pt x="794" y="2494"/>
                      <a:pt x="760" y="2501"/>
                      <a:pt x="734" y="2501"/>
                    </a:cubicBezTo>
                    <a:cubicBezTo>
                      <a:pt x="718" y="2501"/>
                      <a:pt x="705" y="2498"/>
                      <a:pt x="697" y="2495"/>
                    </a:cubicBezTo>
                    <a:cubicBezTo>
                      <a:pt x="676" y="2487"/>
                      <a:pt x="616" y="2460"/>
                      <a:pt x="616" y="2460"/>
                    </a:cubicBezTo>
                    <a:cubicBezTo>
                      <a:pt x="611" y="2457"/>
                      <a:pt x="611" y="2457"/>
                      <a:pt x="611" y="2457"/>
                    </a:cubicBezTo>
                    <a:cubicBezTo>
                      <a:pt x="615" y="2453"/>
                      <a:pt x="615" y="2453"/>
                      <a:pt x="615" y="2453"/>
                    </a:cubicBezTo>
                    <a:cubicBezTo>
                      <a:pt x="615" y="2453"/>
                      <a:pt x="646" y="2417"/>
                      <a:pt x="646" y="2376"/>
                    </a:cubicBezTo>
                    <a:cubicBezTo>
                      <a:pt x="646" y="2371"/>
                      <a:pt x="645" y="2365"/>
                      <a:pt x="644" y="2360"/>
                    </a:cubicBezTo>
                    <a:cubicBezTo>
                      <a:pt x="634" y="2313"/>
                      <a:pt x="583" y="2286"/>
                      <a:pt x="550" y="2261"/>
                    </a:cubicBezTo>
                    <a:cubicBezTo>
                      <a:pt x="537" y="2251"/>
                      <a:pt x="533" y="2239"/>
                      <a:pt x="533" y="2229"/>
                    </a:cubicBezTo>
                    <a:close/>
                    <a:moveTo>
                      <a:pt x="541" y="2229"/>
                    </a:moveTo>
                    <a:cubicBezTo>
                      <a:pt x="541" y="2237"/>
                      <a:pt x="544" y="2246"/>
                      <a:pt x="555" y="2254"/>
                    </a:cubicBezTo>
                    <a:cubicBezTo>
                      <a:pt x="587" y="2279"/>
                      <a:pt x="640" y="2306"/>
                      <a:pt x="652" y="2358"/>
                    </a:cubicBezTo>
                    <a:cubicBezTo>
                      <a:pt x="653" y="2364"/>
                      <a:pt x="654" y="2370"/>
                      <a:pt x="654" y="2376"/>
                    </a:cubicBezTo>
                    <a:cubicBezTo>
                      <a:pt x="654" y="2412"/>
                      <a:pt x="633" y="2443"/>
                      <a:pt x="624" y="2454"/>
                    </a:cubicBezTo>
                    <a:cubicBezTo>
                      <a:pt x="639" y="2461"/>
                      <a:pt x="683" y="2481"/>
                      <a:pt x="700" y="2488"/>
                    </a:cubicBezTo>
                    <a:cubicBezTo>
                      <a:pt x="707" y="2490"/>
                      <a:pt x="719" y="2492"/>
                      <a:pt x="734" y="2492"/>
                    </a:cubicBezTo>
                    <a:cubicBezTo>
                      <a:pt x="759" y="2492"/>
                      <a:pt x="791" y="2486"/>
                      <a:pt x="818" y="2469"/>
                    </a:cubicBezTo>
                    <a:cubicBezTo>
                      <a:pt x="861" y="2440"/>
                      <a:pt x="892" y="2410"/>
                      <a:pt x="905" y="2387"/>
                    </a:cubicBezTo>
                    <a:cubicBezTo>
                      <a:pt x="918" y="2365"/>
                      <a:pt x="928" y="2343"/>
                      <a:pt x="938" y="2334"/>
                    </a:cubicBezTo>
                    <a:cubicBezTo>
                      <a:pt x="936" y="2331"/>
                      <a:pt x="931" y="2326"/>
                      <a:pt x="919" y="2326"/>
                    </a:cubicBezTo>
                    <a:cubicBezTo>
                      <a:pt x="912" y="2326"/>
                      <a:pt x="902" y="2328"/>
                      <a:pt x="888" y="2335"/>
                    </a:cubicBezTo>
                    <a:cubicBezTo>
                      <a:pt x="850" y="2354"/>
                      <a:pt x="817" y="2373"/>
                      <a:pt x="791" y="2373"/>
                    </a:cubicBezTo>
                    <a:cubicBezTo>
                      <a:pt x="784" y="2373"/>
                      <a:pt x="777" y="2371"/>
                      <a:pt x="771" y="2368"/>
                    </a:cubicBezTo>
                    <a:cubicBezTo>
                      <a:pt x="749" y="2353"/>
                      <a:pt x="735" y="2346"/>
                      <a:pt x="730" y="2314"/>
                    </a:cubicBezTo>
                    <a:cubicBezTo>
                      <a:pt x="724" y="2284"/>
                      <a:pt x="716" y="2258"/>
                      <a:pt x="682" y="2249"/>
                    </a:cubicBezTo>
                    <a:cubicBezTo>
                      <a:pt x="647" y="2240"/>
                      <a:pt x="609" y="2237"/>
                      <a:pt x="596" y="2231"/>
                    </a:cubicBezTo>
                    <a:cubicBezTo>
                      <a:pt x="590" y="2229"/>
                      <a:pt x="577" y="2222"/>
                      <a:pt x="565" y="2216"/>
                    </a:cubicBezTo>
                    <a:cubicBezTo>
                      <a:pt x="559" y="2213"/>
                      <a:pt x="553" y="2210"/>
                      <a:pt x="549" y="2207"/>
                    </a:cubicBezTo>
                    <a:cubicBezTo>
                      <a:pt x="548" y="2207"/>
                      <a:pt x="547" y="2207"/>
                      <a:pt x="547" y="2206"/>
                    </a:cubicBezTo>
                    <a:cubicBezTo>
                      <a:pt x="544" y="2212"/>
                      <a:pt x="541" y="2220"/>
                      <a:pt x="541" y="2229"/>
                    </a:cubicBezTo>
                    <a:close/>
                    <a:moveTo>
                      <a:pt x="7337" y="5445"/>
                    </a:moveTo>
                    <a:cubicBezTo>
                      <a:pt x="7328" y="5541"/>
                      <a:pt x="7328" y="5541"/>
                      <a:pt x="7328" y="5541"/>
                    </a:cubicBezTo>
                    <a:cubicBezTo>
                      <a:pt x="7310" y="5539"/>
                      <a:pt x="7310" y="5539"/>
                      <a:pt x="7310" y="5539"/>
                    </a:cubicBezTo>
                    <a:cubicBezTo>
                      <a:pt x="7306" y="5589"/>
                      <a:pt x="7306" y="5589"/>
                      <a:pt x="7306" y="5589"/>
                    </a:cubicBezTo>
                    <a:cubicBezTo>
                      <a:pt x="7108" y="5574"/>
                      <a:pt x="7108" y="5574"/>
                      <a:pt x="7108" y="5574"/>
                    </a:cubicBezTo>
                    <a:cubicBezTo>
                      <a:pt x="7108" y="5568"/>
                      <a:pt x="7108" y="5568"/>
                      <a:pt x="7108" y="5568"/>
                    </a:cubicBezTo>
                    <a:cubicBezTo>
                      <a:pt x="7114" y="5499"/>
                      <a:pt x="7114" y="5499"/>
                      <a:pt x="7114" y="5499"/>
                    </a:cubicBezTo>
                    <a:cubicBezTo>
                      <a:pt x="7190" y="5505"/>
                      <a:pt x="7190" y="5505"/>
                      <a:pt x="7190" y="5505"/>
                    </a:cubicBezTo>
                    <a:cubicBezTo>
                      <a:pt x="7196" y="5433"/>
                      <a:pt x="7196" y="5433"/>
                      <a:pt x="7196" y="5433"/>
                    </a:cubicBezTo>
                    <a:lnTo>
                      <a:pt x="7337" y="5445"/>
                    </a:lnTo>
                    <a:close/>
                    <a:moveTo>
                      <a:pt x="7322" y="5457"/>
                    </a:moveTo>
                    <a:cubicBezTo>
                      <a:pt x="7208" y="5447"/>
                      <a:pt x="7208" y="5447"/>
                      <a:pt x="7208" y="5447"/>
                    </a:cubicBezTo>
                    <a:cubicBezTo>
                      <a:pt x="7202" y="5520"/>
                      <a:pt x="7202" y="5520"/>
                      <a:pt x="7202" y="5520"/>
                    </a:cubicBezTo>
                    <a:cubicBezTo>
                      <a:pt x="7126" y="5513"/>
                      <a:pt x="7126" y="5513"/>
                      <a:pt x="7126" y="5513"/>
                    </a:cubicBezTo>
                    <a:cubicBezTo>
                      <a:pt x="7122" y="5562"/>
                      <a:pt x="7122" y="5562"/>
                      <a:pt x="7122" y="5562"/>
                    </a:cubicBezTo>
                    <a:cubicBezTo>
                      <a:pt x="7294" y="5575"/>
                      <a:pt x="7294" y="5575"/>
                      <a:pt x="7294" y="5575"/>
                    </a:cubicBezTo>
                    <a:cubicBezTo>
                      <a:pt x="7298" y="5525"/>
                      <a:pt x="7298" y="5525"/>
                      <a:pt x="7298" y="5525"/>
                    </a:cubicBezTo>
                    <a:cubicBezTo>
                      <a:pt x="7316" y="5527"/>
                      <a:pt x="7316" y="5527"/>
                      <a:pt x="7316" y="5527"/>
                    </a:cubicBezTo>
                    <a:lnTo>
                      <a:pt x="7322" y="5457"/>
                    </a:lnTo>
                    <a:close/>
                    <a:moveTo>
                      <a:pt x="3259" y="1636"/>
                    </a:moveTo>
                    <a:cubicBezTo>
                      <a:pt x="3244" y="1604"/>
                      <a:pt x="3244" y="1604"/>
                      <a:pt x="3244" y="1604"/>
                    </a:cubicBezTo>
                    <a:cubicBezTo>
                      <a:pt x="3524" y="1462"/>
                      <a:pt x="3524" y="1462"/>
                      <a:pt x="3524" y="1462"/>
                    </a:cubicBezTo>
                    <a:cubicBezTo>
                      <a:pt x="3548" y="1517"/>
                      <a:pt x="3548" y="1517"/>
                      <a:pt x="3548" y="1517"/>
                    </a:cubicBezTo>
                    <a:cubicBezTo>
                      <a:pt x="3796" y="1402"/>
                      <a:pt x="3796" y="1402"/>
                      <a:pt x="3796" y="1402"/>
                    </a:cubicBezTo>
                    <a:cubicBezTo>
                      <a:pt x="3799" y="1409"/>
                      <a:pt x="3799" y="1409"/>
                      <a:pt x="3799" y="1409"/>
                    </a:cubicBezTo>
                    <a:cubicBezTo>
                      <a:pt x="3918" y="1686"/>
                      <a:pt x="3918" y="1686"/>
                      <a:pt x="3918" y="1686"/>
                    </a:cubicBezTo>
                    <a:cubicBezTo>
                      <a:pt x="3803" y="1730"/>
                      <a:pt x="3803" y="1730"/>
                      <a:pt x="3803" y="1730"/>
                    </a:cubicBezTo>
                    <a:cubicBezTo>
                      <a:pt x="3825" y="1779"/>
                      <a:pt x="3825" y="1779"/>
                      <a:pt x="3825" y="1779"/>
                    </a:cubicBezTo>
                    <a:cubicBezTo>
                      <a:pt x="3816" y="1781"/>
                      <a:pt x="3816" y="1781"/>
                      <a:pt x="3816" y="1781"/>
                    </a:cubicBezTo>
                    <a:cubicBezTo>
                      <a:pt x="3816" y="1781"/>
                      <a:pt x="3732" y="1802"/>
                      <a:pt x="3675" y="1828"/>
                    </a:cubicBezTo>
                    <a:cubicBezTo>
                      <a:pt x="3617" y="1854"/>
                      <a:pt x="3552" y="1897"/>
                      <a:pt x="3552" y="1897"/>
                    </a:cubicBezTo>
                    <a:cubicBezTo>
                      <a:pt x="3546" y="1901"/>
                      <a:pt x="3546" y="1901"/>
                      <a:pt x="3546" y="1901"/>
                    </a:cubicBezTo>
                    <a:cubicBezTo>
                      <a:pt x="3516" y="1856"/>
                      <a:pt x="3516" y="1856"/>
                      <a:pt x="3516" y="1856"/>
                    </a:cubicBezTo>
                    <a:cubicBezTo>
                      <a:pt x="3507" y="1863"/>
                      <a:pt x="3484" y="1880"/>
                      <a:pt x="3436" y="1914"/>
                    </a:cubicBezTo>
                    <a:cubicBezTo>
                      <a:pt x="3373" y="1956"/>
                      <a:pt x="3369" y="2088"/>
                      <a:pt x="3370" y="2102"/>
                    </a:cubicBezTo>
                    <a:cubicBezTo>
                      <a:pt x="3370" y="2103"/>
                      <a:pt x="3370" y="2103"/>
                      <a:pt x="3370" y="2103"/>
                    </a:cubicBezTo>
                    <a:cubicBezTo>
                      <a:pt x="3356" y="2106"/>
                      <a:pt x="3356" y="2106"/>
                      <a:pt x="3356" y="2106"/>
                    </a:cubicBezTo>
                    <a:cubicBezTo>
                      <a:pt x="3162" y="1685"/>
                      <a:pt x="3162" y="1685"/>
                      <a:pt x="3162" y="1685"/>
                    </a:cubicBezTo>
                    <a:lnTo>
                      <a:pt x="3259" y="1636"/>
                    </a:lnTo>
                    <a:close/>
                    <a:moveTo>
                      <a:pt x="3263" y="1610"/>
                    </a:moveTo>
                    <a:cubicBezTo>
                      <a:pt x="3278" y="1643"/>
                      <a:pt x="3278" y="1643"/>
                      <a:pt x="3278" y="1643"/>
                    </a:cubicBezTo>
                    <a:cubicBezTo>
                      <a:pt x="3181" y="1692"/>
                      <a:pt x="3181" y="1692"/>
                      <a:pt x="3181" y="1692"/>
                    </a:cubicBezTo>
                    <a:cubicBezTo>
                      <a:pt x="3356" y="2072"/>
                      <a:pt x="3356" y="2072"/>
                      <a:pt x="3356" y="2072"/>
                    </a:cubicBezTo>
                    <a:cubicBezTo>
                      <a:pt x="3360" y="2026"/>
                      <a:pt x="3373" y="1940"/>
                      <a:pt x="3427" y="1902"/>
                    </a:cubicBezTo>
                    <a:cubicBezTo>
                      <a:pt x="3498" y="1852"/>
                      <a:pt x="3513" y="1840"/>
                      <a:pt x="3514" y="1840"/>
                    </a:cubicBezTo>
                    <a:cubicBezTo>
                      <a:pt x="3520" y="1835"/>
                      <a:pt x="3520" y="1835"/>
                      <a:pt x="3520" y="1835"/>
                    </a:cubicBezTo>
                    <a:cubicBezTo>
                      <a:pt x="3550" y="1881"/>
                      <a:pt x="3550" y="1881"/>
                      <a:pt x="3550" y="1881"/>
                    </a:cubicBezTo>
                    <a:cubicBezTo>
                      <a:pt x="3568" y="1870"/>
                      <a:pt x="3620" y="1837"/>
                      <a:pt x="3668" y="1815"/>
                    </a:cubicBezTo>
                    <a:cubicBezTo>
                      <a:pt x="3716" y="1793"/>
                      <a:pt x="3781" y="1775"/>
                      <a:pt x="3804" y="1769"/>
                    </a:cubicBezTo>
                    <a:cubicBezTo>
                      <a:pt x="3783" y="1722"/>
                      <a:pt x="3783" y="1722"/>
                      <a:pt x="3783" y="1722"/>
                    </a:cubicBezTo>
                    <a:cubicBezTo>
                      <a:pt x="3898" y="1678"/>
                      <a:pt x="3898" y="1678"/>
                      <a:pt x="3898" y="1678"/>
                    </a:cubicBezTo>
                    <a:cubicBezTo>
                      <a:pt x="3788" y="1422"/>
                      <a:pt x="3788" y="1422"/>
                      <a:pt x="3788" y="1422"/>
                    </a:cubicBezTo>
                    <a:cubicBezTo>
                      <a:pt x="3540" y="1536"/>
                      <a:pt x="3540" y="1536"/>
                      <a:pt x="3540" y="1536"/>
                    </a:cubicBezTo>
                    <a:cubicBezTo>
                      <a:pt x="3517" y="1482"/>
                      <a:pt x="3517" y="1482"/>
                      <a:pt x="3517" y="1482"/>
                    </a:cubicBezTo>
                    <a:lnTo>
                      <a:pt x="3263" y="1610"/>
                    </a:lnTo>
                    <a:close/>
                    <a:moveTo>
                      <a:pt x="4181" y="1284"/>
                    </a:moveTo>
                    <a:cubicBezTo>
                      <a:pt x="4222" y="1498"/>
                      <a:pt x="4222" y="1498"/>
                      <a:pt x="4222" y="1498"/>
                    </a:cubicBezTo>
                    <a:cubicBezTo>
                      <a:pt x="4190" y="1512"/>
                      <a:pt x="4190" y="1512"/>
                      <a:pt x="4190" y="1512"/>
                    </a:cubicBezTo>
                    <a:cubicBezTo>
                      <a:pt x="4107" y="1308"/>
                      <a:pt x="4107" y="1308"/>
                      <a:pt x="4107" y="1308"/>
                    </a:cubicBezTo>
                    <a:cubicBezTo>
                      <a:pt x="4179" y="1275"/>
                      <a:pt x="4179" y="1275"/>
                      <a:pt x="4179" y="1275"/>
                    </a:cubicBezTo>
                    <a:lnTo>
                      <a:pt x="4181" y="1284"/>
                    </a:lnTo>
                    <a:close/>
                    <a:moveTo>
                      <a:pt x="4205" y="1489"/>
                    </a:moveTo>
                    <a:cubicBezTo>
                      <a:pt x="4168" y="1296"/>
                      <a:pt x="4168" y="1296"/>
                      <a:pt x="4168" y="1296"/>
                    </a:cubicBezTo>
                    <a:cubicBezTo>
                      <a:pt x="4126" y="1316"/>
                      <a:pt x="4126" y="1316"/>
                      <a:pt x="4126" y="1316"/>
                    </a:cubicBezTo>
                    <a:cubicBezTo>
                      <a:pt x="4198" y="1492"/>
                      <a:pt x="4198" y="1492"/>
                      <a:pt x="4198" y="1492"/>
                    </a:cubicBezTo>
                    <a:lnTo>
                      <a:pt x="4205" y="1489"/>
                    </a:lnTo>
                    <a:close/>
                    <a:moveTo>
                      <a:pt x="6996" y="8606"/>
                    </a:moveTo>
                    <a:cubicBezTo>
                      <a:pt x="6992" y="8489"/>
                      <a:pt x="6992" y="8489"/>
                      <a:pt x="6992" y="8489"/>
                    </a:cubicBezTo>
                    <a:cubicBezTo>
                      <a:pt x="7110" y="8488"/>
                      <a:pt x="7110" y="8488"/>
                      <a:pt x="7110" y="8488"/>
                    </a:cubicBezTo>
                    <a:cubicBezTo>
                      <a:pt x="7110" y="8499"/>
                      <a:pt x="7110" y="8499"/>
                      <a:pt x="7110" y="8499"/>
                    </a:cubicBezTo>
                    <a:cubicBezTo>
                      <a:pt x="7162" y="8499"/>
                      <a:pt x="7162" y="8499"/>
                      <a:pt x="7162" y="8499"/>
                    </a:cubicBezTo>
                    <a:cubicBezTo>
                      <a:pt x="7164" y="8684"/>
                      <a:pt x="7164" y="8684"/>
                      <a:pt x="7164" y="8684"/>
                    </a:cubicBezTo>
                    <a:cubicBezTo>
                      <a:pt x="7054" y="8685"/>
                      <a:pt x="7054" y="8685"/>
                      <a:pt x="7054" y="8685"/>
                    </a:cubicBezTo>
                    <a:cubicBezTo>
                      <a:pt x="7053" y="8612"/>
                      <a:pt x="7053" y="8612"/>
                      <a:pt x="7053" y="8612"/>
                    </a:cubicBezTo>
                    <a:cubicBezTo>
                      <a:pt x="6996" y="8612"/>
                      <a:pt x="6996" y="8612"/>
                      <a:pt x="6996" y="8612"/>
                    </a:cubicBezTo>
                    <a:lnTo>
                      <a:pt x="6996" y="8606"/>
                    </a:lnTo>
                    <a:close/>
                    <a:moveTo>
                      <a:pt x="7006" y="8502"/>
                    </a:moveTo>
                    <a:cubicBezTo>
                      <a:pt x="7009" y="8599"/>
                      <a:pt x="7009" y="8599"/>
                      <a:pt x="7009" y="8599"/>
                    </a:cubicBezTo>
                    <a:cubicBezTo>
                      <a:pt x="7066" y="8598"/>
                      <a:pt x="7066" y="8598"/>
                      <a:pt x="7066" y="8598"/>
                    </a:cubicBezTo>
                    <a:cubicBezTo>
                      <a:pt x="7067" y="8672"/>
                      <a:pt x="7067" y="8672"/>
                      <a:pt x="7067" y="8672"/>
                    </a:cubicBezTo>
                    <a:cubicBezTo>
                      <a:pt x="7150" y="8671"/>
                      <a:pt x="7150" y="8671"/>
                      <a:pt x="7150" y="8671"/>
                    </a:cubicBezTo>
                    <a:cubicBezTo>
                      <a:pt x="7149" y="8512"/>
                      <a:pt x="7149" y="8512"/>
                      <a:pt x="7149" y="8512"/>
                    </a:cubicBezTo>
                    <a:cubicBezTo>
                      <a:pt x="7097" y="8512"/>
                      <a:pt x="7097" y="8512"/>
                      <a:pt x="7097" y="8512"/>
                    </a:cubicBezTo>
                    <a:cubicBezTo>
                      <a:pt x="7097" y="8502"/>
                      <a:pt x="7097" y="8502"/>
                      <a:pt x="7097" y="8502"/>
                    </a:cubicBezTo>
                    <a:lnTo>
                      <a:pt x="7006" y="8502"/>
                    </a:lnTo>
                    <a:close/>
                    <a:moveTo>
                      <a:pt x="6486" y="8816"/>
                    </a:moveTo>
                    <a:cubicBezTo>
                      <a:pt x="6486" y="8891"/>
                      <a:pt x="6486" y="8891"/>
                      <a:pt x="6486" y="8891"/>
                    </a:cubicBezTo>
                    <a:cubicBezTo>
                      <a:pt x="6335" y="8893"/>
                      <a:pt x="6335" y="8893"/>
                      <a:pt x="6335" y="8893"/>
                    </a:cubicBezTo>
                    <a:cubicBezTo>
                      <a:pt x="6334" y="8817"/>
                      <a:pt x="6334" y="8817"/>
                      <a:pt x="6334" y="8817"/>
                    </a:cubicBezTo>
                    <a:cubicBezTo>
                      <a:pt x="6341" y="8817"/>
                      <a:pt x="6341" y="8817"/>
                      <a:pt x="6341" y="8817"/>
                    </a:cubicBezTo>
                    <a:lnTo>
                      <a:pt x="6486" y="8816"/>
                    </a:lnTo>
                    <a:close/>
                    <a:moveTo>
                      <a:pt x="6473" y="8878"/>
                    </a:moveTo>
                    <a:cubicBezTo>
                      <a:pt x="6472" y="8829"/>
                      <a:pt x="6472" y="8829"/>
                      <a:pt x="6472" y="8829"/>
                    </a:cubicBezTo>
                    <a:cubicBezTo>
                      <a:pt x="6347" y="8830"/>
                      <a:pt x="6347" y="8830"/>
                      <a:pt x="6347" y="8830"/>
                    </a:cubicBezTo>
                    <a:cubicBezTo>
                      <a:pt x="6348" y="8879"/>
                      <a:pt x="6348" y="8879"/>
                      <a:pt x="6348" y="8879"/>
                    </a:cubicBezTo>
                    <a:lnTo>
                      <a:pt x="6473" y="8878"/>
                    </a:lnTo>
                    <a:close/>
                  </a:path>
                </a:pathLst>
              </a:custGeom>
              <a:gradFill>
                <a:gsLst>
                  <a:gs pos="33000">
                    <a:srgbClr val="7B1919">
                      <a:alpha val="0"/>
                    </a:srgbClr>
                  </a:gs>
                  <a:gs pos="100000">
                    <a:srgbClr val="8B211F"/>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34" name="Freeform 27">
                <a:extLst>
                  <a:ext uri="{FF2B5EF4-FFF2-40B4-BE49-F238E27FC236}">
                    <a16:creationId xmlns:a16="http://schemas.microsoft.com/office/drawing/2014/main" id="{2453E3AF-2DA6-4F04-BFC9-22062AA083A3}"/>
                  </a:ext>
                </a:extLst>
              </p:cNvPr>
              <p:cNvSpPr>
                <a:spLocks noSelect="1"/>
              </p:cNvSpPr>
              <p:nvPr userDrawn="1"/>
            </p:nvSpPr>
            <p:spPr bwMode="gray">
              <a:xfrm>
                <a:off x="4079" y="1437"/>
                <a:ext cx="3603" cy="2160"/>
              </a:xfrm>
              <a:custGeom>
                <a:avLst/>
                <a:gdLst>
                  <a:gd name="T0" fmla="*/ 12533 w 18011"/>
                  <a:gd name="T1" fmla="*/ 1549 h 10812"/>
                  <a:gd name="T2" fmla="*/ 6978 w 18011"/>
                  <a:gd name="T3" fmla="*/ 550 h 10812"/>
                  <a:gd name="T4" fmla="*/ 3914 w 18011"/>
                  <a:gd name="T5" fmla="*/ 521 h 10812"/>
                  <a:gd name="T6" fmla="*/ 2472 w 18011"/>
                  <a:gd name="T7" fmla="*/ 763 h 10812"/>
                  <a:gd name="T8" fmla="*/ 347 w 18011"/>
                  <a:gd name="T9" fmla="*/ 2094 h 10812"/>
                  <a:gd name="T10" fmla="*/ 2541 w 18011"/>
                  <a:gd name="T11" fmla="*/ 1464 h 10812"/>
                  <a:gd name="T12" fmla="*/ 3586 w 18011"/>
                  <a:gd name="T13" fmla="*/ 1080 h 10812"/>
                  <a:gd name="T14" fmla="*/ 1944 w 18011"/>
                  <a:gd name="T15" fmla="*/ 5115 h 10812"/>
                  <a:gd name="T16" fmla="*/ 405 w 18011"/>
                  <a:gd name="T17" fmla="*/ 4215 h 10812"/>
                  <a:gd name="T18" fmla="*/ 612 w 18011"/>
                  <a:gd name="T19" fmla="*/ 6186 h 10812"/>
                  <a:gd name="T20" fmla="*/ 142 w 18011"/>
                  <a:gd name="T21" fmla="*/ 5466 h 10812"/>
                  <a:gd name="T22" fmla="*/ 227 w 18011"/>
                  <a:gd name="T23" fmla="*/ 8170 h 10812"/>
                  <a:gd name="T24" fmla="*/ 1860 w 18011"/>
                  <a:gd name="T25" fmla="*/ 9979 h 10812"/>
                  <a:gd name="T26" fmla="*/ 573 w 18011"/>
                  <a:gd name="T27" fmla="*/ 10351 h 10812"/>
                  <a:gd name="T28" fmla="*/ 4500 w 18011"/>
                  <a:gd name="T29" fmla="*/ 10001 h 10812"/>
                  <a:gd name="T30" fmla="*/ 9190 w 18011"/>
                  <a:gd name="T31" fmla="*/ 10812 h 10812"/>
                  <a:gd name="T32" fmla="*/ 12509 w 18011"/>
                  <a:gd name="T33" fmla="*/ 9090 h 10812"/>
                  <a:gd name="T34" fmla="*/ 17308 w 18011"/>
                  <a:gd name="T35" fmla="*/ 8363 h 10812"/>
                  <a:gd name="T36" fmla="*/ 14995 w 18011"/>
                  <a:gd name="T37" fmla="*/ 3640 h 10812"/>
                  <a:gd name="T38" fmla="*/ 10797 w 18011"/>
                  <a:gd name="T39" fmla="*/ 2250 h 10812"/>
                  <a:gd name="T40" fmla="*/ 11711 w 18011"/>
                  <a:gd name="T41" fmla="*/ 3255 h 10812"/>
                  <a:gd name="T42" fmla="*/ 7739 w 18011"/>
                  <a:gd name="T43" fmla="*/ 7137 h 10812"/>
                  <a:gd name="T44" fmla="*/ 4650 w 18011"/>
                  <a:gd name="T45" fmla="*/ 5879 h 10812"/>
                  <a:gd name="T46" fmla="*/ 4223 w 18011"/>
                  <a:gd name="T47" fmla="*/ 4876 h 10812"/>
                  <a:gd name="T48" fmla="*/ 4022 w 18011"/>
                  <a:gd name="T49" fmla="*/ 5157 h 10812"/>
                  <a:gd name="T50" fmla="*/ 8468 w 18011"/>
                  <a:gd name="T51" fmla="*/ 3093 h 10812"/>
                  <a:gd name="T52" fmla="*/ 5942 w 18011"/>
                  <a:gd name="T53" fmla="*/ 4455 h 10812"/>
                  <a:gd name="T54" fmla="*/ 4250 w 18011"/>
                  <a:gd name="T55" fmla="*/ 5633 h 10812"/>
                  <a:gd name="T56" fmla="*/ 4752 w 18011"/>
                  <a:gd name="T57" fmla="*/ 5501 h 10812"/>
                  <a:gd name="T58" fmla="*/ 6082 w 18011"/>
                  <a:gd name="T59" fmla="*/ 3729 h 10812"/>
                  <a:gd name="T60" fmla="*/ 5353 w 18011"/>
                  <a:gd name="T61" fmla="*/ 2880 h 10812"/>
                  <a:gd name="T62" fmla="*/ 5016 w 18011"/>
                  <a:gd name="T63" fmla="*/ 6132 h 10812"/>
                  <a:gd name="T64" fmla="*/ 4072 w 18011"/>
                  <a:gd name="T65" fmla="*/ 7813 h 10812"/>
                  <a:gd name="T66" fmla="*/ 8682 w 18011"/>
                  <a:gd name="T67" fmla="*/ 1361 h 10812"/>
                  <a:gd name="T68" fmla="*/ 6714 w 18011"/>
                  <a:gd name="T69" fmla="*/ 3702 h 10812"/>
                  <a:gd name="T70" fmla="*/ 5316 w 18011"/>
                  <a:gd name="T71" fmla="*/ 1990 h 10812"/>
                  <a:gd name="T72" fmla="*/ 3788 w 18011"/>
                  <a:gd name="T73" fmla="*/ 1115 h 10812"/>
                  <a:gd name="T74" fmla="*/ 3764 w 18011"/>
                  <a:gd name="T75" fmla="*/ 1152 h 10812"/>
                  <a:gd name="T76" fmla="*/ 2308 w 18011"/>
                  <a:gd name="T77" fmla="*/ 3003 h 10812"/>
                  <a:gd name="T78" fmla="*/ 1166 w 18011"/>
                  <a:gd name="T79" fmla="*/ 3415 h 10812"/>
                  <a:gd name="T80" fmla="*/ 2303 w 18011"/>
                  <a:gd name="T81" fmla="*/ 4613 h 10812"/>
                  <a:gd name="T82" fmla="*/ 2709 w 18011"/>
                  <a:gd name="T83" fmla="*/ 6522 h 10812"/>
                  <a:gd name="T84" fmla="*/ 1185 w 18011"/>
                  <a:gd name="T85" fmla="*/ 4393 h 10812"/>
                  <a:gd name="T86" fmla="*/ 611 w 18011"/>
                  <a:gd name="T87" fmla="*/ 5580 h 10812"/>
                  <a:gd name="T88" fmla="*/ 1147 w 18011"/>
                  <a:gd name="T89" fmla="*/ 6881 h 10812"/>
                  <a:gd name="T90" fmla="*/ 1266 w 18011"/>
                  <a:gd name="T91" fmla="*/ 8597 h 10812"/>
                  <a:gd name="T92" fmla="*/ 2608 w 18011"/>
                  <a:gd name="T93" fmla="*/ 8718 h 10812"/>
                  <a:gd name="T94" fmla="*/ 4160 w 18011"/>
                  <a:gd name="T95" fmla="*/ 8117 h 10812"/>
                  <a:gd name="T96" fmla="*/ 6000 w 18011"/>
                  <a:gd name="T97" fmla="*/ 9983 h 10812"/>
                  <a:gd name="T98" fmla="*/ 7466 w 18011"/>
                  <a:gd name="T99" fmla="*/ 8988 h 10812"/>
                  <a:gd name="T100" fmla="*/ 11316 w 18011"/>
                  <a:gd name="T101" fmla="*/ 9017 h 10812"/>
                  <a:gd name="T102" fmla="*/ 12550 w 18011"/>
                  <a:gd name="T103" fmla="*/ 6987 h 10812"/>
                  <a:gd name="T104" fmla="*/ 16680 w 18011"/>
                  <a:gd name="T105" fmla="*/ 9055 h 10812"/>
                  <a:gd name="T106" fmla="*/ 13766 w 18011"/>
                  <a:gd name="T107" fmla="*/ 8833 h 10812"/>
                  <a:gd name="T108" fmla="*/ 12291 w 18011"/>
                  <a:gd name="T109" fmla="*/ 7169 h 10812"/>
                  <a:gd name="T110" fmla="*/ 8796 w 18011"/>
                  <a:gd name="T111" fmla="*/ 6507 h 10812"/>
                  <a:gd name="T112" fmla="*/ 11080 w 18011"/>
                  <a:gd name="T113" fmla="*/ 2632 h 10812"/>
                  <a:gd name="T114" fmla="*/ 2827 w 18011"/>
                  <a:gd name="T115" fmla="*/ 3987 h 10812"/>
                  <a:gd name="T116" fmla="*/ 702 w 18011"/>
                  <a:gd name="T117" fmla="*/ 2502 h 10812"/>
                  <a:gd name="T118" fmla="*/ 1043 w 18011"/>
                  <a:gd name="T119" fmla="*/ 11 h 10812"/>
                  <a:gd name="T120" fmla="*/ 1562 w 18011"/>
                  <a:gd name="T121" fmla="*/ 274 h 10812"/>
                  <a:gd name="T122" fmla="*/ 1698 w 18011"/>
                  <a:gd name="T123" fmla="*/ 1406 h 10812"/>
                  <a:gd name="T124" fmla="*/ 2172 w 18011"/>
                  <a:gd name="T125" fmla="*/ 3389 h 10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11" h="10812">
                    <a:moveTo>
                      <a:pt x="17155" y="911"/>
                    </a:moveTo>
                    <a:cubicBezTo>
                      <a:pt x="17181" y="908"/>
                      <a:pt x="17403" y="881"/>
                      <a:pt x="17631" y="854"/>
                    </a:cubicBezTo>
                    <a:cubicBezTo>
                      <a:pt x="17770" y="838"/>
                      <a:pt x="17911" y="822"/>
                      <a:pt x="18011" y="810"/>
                    </a:cubicBezTo>
                    <a:cubicBezTo>
                      <a:pt x="18011" y="694"/>
                      <a:pt x="18011" y="694"/>
                      <a:pt x="18011" y="694"/>
                    </a:cubicBezTo>
                    <a:cubicBezTo>
                      <a:pt x="18001" y="696"/>
                      <a:pt x="17990" y="697"/>
                      <a:pt x="17978" y="698"/>
                    </a:cubicBezTo>
                    <a:cubicBezTo>
                      <a:pt x="17884" y="709"/>
                      <a:pt x="17760" y="724"/>
                      <a:pt x="17635" y="738"/>
                    </a:cubicBezTo>
                    <a:cubicBezTo>
                      <a:pt x="17387" y="768"/>
                      <a:pt x="17140" y="797"/>
                      <a:pt x="17140" y="797"/>
                    </a:cubicBezTo>
                    <a:cubicBezTo>
                      <a:pt x="17137" y="797"/>
                      <a:pt x="17137" y="797"/>
                      <a:pt x="17137" y="797"/>
                    </a:cubicBezTo>
                    <a:cubicBezTo>
                      <a:pt x="15704" y="1091"/>
                      <a:pt x="15704" y="1091"/>
                      <a:pt x="15704" y="1091"/>
                    </a:cubicBezTo>
                    <a:cubicBezTo>
                      <a:pt x="15698" y="1093"/>
                      <a:pt x="15698" y="1093"/>
                      <a:pt x="15698" y="1093"/>
                    </a:cubicBezTo>
                    <a:cubicBezTo>
                      <a:pt x="15698" y="1093"/>
                      <a:pt x="15685" y="1099"/>
                      <a:pt x="15667" y="1107"/>
                    </a:cubicBezTo>
                    <a:cubicBezTo>
                      <a:pt x="15665" y="1099"/>
                      <a:pt x="15662" y="1087"/>
                      <a:pt x="15662" y="1087"/>
                    </a:cubicBezTo>
                    <a:cubicBezTo>
                      <a:pt x="15662" y="1087"/>
                      <a:pt x="15662" y="1087"/>
                      <a:pt x="15662" y="1087"/>
                    </a:cubicBezTo>
                    <a:cubicBezTo>
                      <a:pt x="15639" y="904"/>
                      <a:pt x="15576" y="398"/>
                      <a:pt x="15527" y="11"/>
                    </a:cubicBezTo>
                    <a:cubicBezTo>
                      <a:pt x="15491" y="11"/>
                      <a:pt x="15491" y="11"/>
                      <a:pt x="15491" y="11"/>
                    </a:cubicBezTo>
                    <a:cubicBezTo>
                      <a:pt x="15514" y="198"/>
                      <a:pt x="15541" y="413"/>
                      <a:pt x="15566" y="607"/>
                    </a:cubicBezTo>
                    <a:cubicBezTo>
                      <a:pt x="15593" y="828"/>
                      <a:pt x="15617" y="1019"/>
                      <a:pt x="15628" y="1108"/>
                    </a:cubicBezTo>
                    <a:cubicBezTo>
                      <a:pt x="15628" y="1114"/>
                      <a:pt x="15629" y="1121"/>
                      <a:pt x="15629" y="1123"/>
                    </a:cubicBezTo>
                    <a:cubicBezTo>
                      <a:pt x="15594" y="1138"/>
                      <a:pt x="15555" y="1154"/>
                      <a:pt x="15541" y="1161"/>
                    </a:cubicBezTo>
                    <a:cubicBezTo>
                      <a:pt x="15535" y="1164"/>
                      <a:pt x="15532" y="1165"/>
                      <a:pt x="15524" y="1169"/>
                    </a:cubicBezTo>
                    <a:cubicBezTo>
                      <a:pt x="15518" y="1173"/>
                      <a:pt x="15509" y="1178"/>
                      <a:pt x="15498" y="1184"/>
                    </a:cubicBezTo>
                    <a:cubicBezTo>
                      <a:pt x="15477" y="1196"/>
                      <a:pt x="15448" y="1212"/>
                      <a:pt x="15414" y="1231"/>
                    </a:cubicBezTo>
                    <a:cubicBezTo>
                      <a:pt x="15344" y="1270"/>
                      <a:pt x="15252" y="1321"/>
                      <a:pt x="15153" y="1375"/>
                    </a:cubicBezTo>
                    <a:cubicBezTo>
                      <a:pt x="14956" y="1482"/>
                      <a:pt x="14729" y="1600"/>
                      <a:pt x="14614" y="1642"/>
                    </a:cubicBezTo>
                    <a:cubicBezTo>
                      <a:pt x="14499" y="1683"/>
                      <a:pt x="14391" y="1720"/>
                      <a:pt x="14306" y="1747"/>
                    </a:cubicBezTo>
                    <a:cubicBezTo>
                      <a:pt x="14224" y="1774"/>
                      <a:pt x="14161" y="1793"/>
                      <a:pt x="14148" y="1795"/>
                    </a:cubicBezTo>
                    <a:cubicBezTo>
                      <a:pt x="14143" y="1795"/>
                      <a:pt x="14143" y="1796"/>
                      <a:pt x="14140" y="1796"/>
                    </a:cubicBezTo>
                    <a:cubicBezTo>
                      <a:pt x="14138" y="1797"/>
                      <a:pt x="14135" y="1797"/>
                      <a:pt x="14132" y="1798"/>
                    </a:cubicBezTo>
                    <a:cubicBezTo>
                      <a:pt x="14125" y="1799"/>
                      <a:pt x="14116" y="1801"/>
                      <a:pt x="14105" y="1804"/>
                    </a:cubicBezTo>
                    <a:cubicBezTo>
                      <a:pt x="14083" y="1809"/>
                      <a:pt x="14053" y="1816"/>
                      <a:pt x="14018" y="1824"/>
                    </a:cubicBezTo>
                    <a:cubicBezTo>
                      <a:pt x="13947" y="1841"/>
                      <a:pt x="13854" y="1863"/>
                      <a:pt x="13762" y="1885"/>
                    </a:cubicBezTo>
                    <a:cubicBezTo>
                      <a:pt x="13629" y="1918"/>
                      <a:pt x="13497" y="1949"/>
                      <a:pt x="13434" y="1965"/>
                    </a:cubicBezTo>
                    <a:cubicBezTo>
                      <a:pt x="13401" y="1894"/>
                      <a:pt x="13348" y="1832"/>
                      <a:pt x="13273" y="1781"/>
                    </a:cubicBezTo>
                    <a:cubicBezTo>
                      <a:pt x="13184" y="1720"/>
                      <a:pt x="13066" y="1673"/>
                      <a:pt x="12914" y="1637"/>
                    </a:cubicBezTo>
                    <a:cubicBezTo>
                      <a:pt x="12783" y="1605"/>
                      <a:pt x="12658" y="1586"/>
                      <a:pt x="12541" y="1573"/>
                    </a:cubicBezTo>
                    <a:cubicBezTo>
                      <a:pt x="12533" y="1549"/>
                      <a:pt x="12533" y="1549"/>
                      <a:pt x="12533" y="1549"/>
                    </a:cubicBezTo>
                    <a:cubicBezTo>
                      <a:pt x="12533" y="1549"/>
                      <a:pt x="12532" y="1548"/>
                      <a:pt x="12532" y="1548"/>
                    </a:cubicBezTo>
                    <a:cubicBezTo>
                      <a:pt x="12067" y="36"/>
                      <a:pt x="12067" y="36"/>
                      <a:pt x="12067" y="36"/>
                    </a:cubicBezTo>
                    <a:cubicBezTo>
                      <a:pt x="12067" y="36"/>
                      <a:pt x="12064" y="26"/>
                      <a:pt x="12058" y="11"/>
                    </a:cubicBezTo>
                    <a:cubicBezTo>
                      <a:pt x="12019" y="11"/>
                      <a:pt x="12019" y="11"/>
                      <a:pt x="12019" y="11"/>
                    </a:cubicBezTo>
                    <a:cubicBezTo>
                      <a:pt x="12022" y="17"/>
                      <a:pt x="12024" y="23"/>
                      <a:pt x="12026" y="28"/>
                    </a:cubicBezTo>
                    <a:cubicBezTo>
                      <a:pt x="12031" y="39"/>
                      <a:pt x="12033" y="46"/>
                      <a:pt x="12033" y="46"/>
                    </a:cubicBezTo>
                    <a:cubicBezTo>
                      <a:pt x="12495" y="1550"/>
                      <a:pt x="12495" y="1550"/>
                      <a:pt x="12495" y="1550"/>
                    </a:cubicBezTo>
                    <a:cubicBezTo>
                      <a:pt x="12495" y="1553"/>
                      <a:pt x="12495" y="1562"/>
                      <a:pt x="12494" y="1568"/>
                    </a:cubicBezTo>
                    <a:cubicBezTo>
                      <a:pt x="12361" y="1555"/>
                      <a:pt x="12241" y="1551"/>
                      <a:pt x="12136" y="1546"/>
                    </a:cubicBezTo>
                    <a:cubicBezTo>
                      <a:pt x="11938" y="1537"/>
                      <a:pt x="11272" y="1492"/>
                      <a:pt x="11225" y="1488"/>
                    </a:cubicBezTo>
                    <a:cubicBezTo>
                      <a:pt x="11219" y="1487"/>
                      <a:pt x="11193" y="1483"/>
                      <a:pt x="11152" y="1474"/>
                    </a:cubicBezTo>
                    <a:cubicBezTo>
                      <a:pt x="11103" y="1465"/>
                      <a:pt x="11032" y="1451"/>
                      <a:pt x="10946" y="1431"/>
                    </a:cubicBezTo>
                    <a:cubicBezTo>
                      <a:pt x="10774" y="1393"/>
                      <a:pt x="10539" y="1333"/>
                      <a:pt x="10290" y="1251"/>
                    </a:cubicBezTo>
                    <a:cubicBezTo>
                      <a:pt x="10282" y="1248"/>
                      <a:pt x="10275" y="1246"/>
                      <a:pt x="10268" y="1244"/>
                    </a:cubicBezTo>
                    <a:cubicBezTo>
                      <a:pt x="10269" y="1220"/>
                      <a:pt x="10269" y="1220"/>
                      <a:pt x="10269" y="1220"/>
                    </a:cubicBezTo>
                    <a:cubicBezTo>
                      <a:pt x="10696" y="11"/>
                      <a:pt x="10696" y="11"/>
                      <a:pt x="10696" y="11"/>
                    </a:cubicBezTo>
                    <a:cubicBezTo>
                      <a:pt x="10658" y="11"/>
                      <a:pt x="10658" y="11"/>
                      <a:pt x="10658" y="11"/>
                    </a:cubicBezTo>
                    <a:cubicBezTo>
                      <a:pt x="10235" y="1206"/>
                      <a:pt x="10235" y="1206"/>
                      <a:pt x="10235" y="1206"/>
                    </a:cubicBezTo>
                    <a:cubicBezTo>
                      <a:pt x="10230" y="1213"/>
                      <a:pt x="10224" y="1222"/>
                      <a:pt x="10219" y="1227"/>
                    </a:cubicBezTo>
                    <a:cubicBezTo>
                      <a:pt x="9735" y="1062"/>
                      <a:pt x="9178" y="810"/>
                      <a:pt x="9023" y="743"/>
                    </a:cubicBezTo>
                    <a:cubicBezTo>
                      <a:pt x="8872" y="678"/>
                      <a:pt x="8729" y="547"/>
                      <a:pt x="8681" y="434"/>
                    </a:cubicBezTo>
                    <a:cubicBezTo>
                      <a:pt x="8651" y="367"/>
                      <a:pt x="8642" y="286"/>
                      <a:pt x="8642" y="203"/>
                    </a:cubicBezTo>
                    <a:cubicBezTo>
                      <a:pt x="8642" y="147"/>
                      <a:pt x="8646" y="91"/>
                      <a:pt x="8649" y="39"/>
                    </a:cubicBezTo>
                    <a:cubicBezTo>
                      <a:pt x="8649" y="32"/>
                      <a:pt x="8649" y="22"/>
                      <a:pt x="8650" y="11"/>
                    </a:cubicBezTo>
                    <a:cubicBezTo>
                      <a:pt x="8535" y="11"/>
                      <a:pt x="8535" y="11"/>
                      <a:pt x="8535" y="11"/>
                    </a:cubicBezTo>
                    <a:cubicBezTo>
                      <a:pt x="8535" y="20"/>
                      <a:pt x="8534" y="28"/>
                      <a:pt x="8534" y="34"/>
                    </a:cubicBezTo>
                    <a:cubicBezTo>
                      <a:pt x="8532" y="84"/>
                      <a:pt x="8527" y="142"/>
                      <a:pt x="8527" y="203"/>
                    </a:cubicBezTo>
                    <a:cubicBezTo>
                      <a:pt x="8528" y="293"/>
                      <a:pt x="8536" y="390"/>
                      <a:pt x="8576" y="481"/>
                    </a:cubicBezTo>
                    <a:cubicBezTo>
                      <a:pt x="8598" y="530"/>
                      <a:pt x="8631" y="578"/>
                      <a:pt x="8670" y="624"/>
                    </a:cubicBezTo>
                    <a:cubicBezTo>
                      <a:pt x="8653" y="638"/>
                      <a:pt x="8632" y="655"/>
                      <a:pt x="8607" y="672"/>
                    </a:cubicBezTo>
                    <a:cubicBezTo>
                      <a:pt x="8549" y="714"/>
                      <a:pt x="8474" y="757"/>
                      <a:pt x="8413" y="771"/>
                    </a:cubicBezTo>
                    <a:cubicBezTo>
                      <a:pt x="8343" y="787"/>
                      <a:pt x="8253" y="800"/>
                      <a:pt x="8181" y="809"/>
                    </a:cubicBezTo>
                    <a:cubicBezTo>
                      <a:pt x="8135" y="814"/>
                      <a:pt x="8096" y="818"/>
                      <a:pt x="8075" y="820"/>
                    </a:cubicBezTo>
                    <a:cubicBezTo>
                      <a:pt x="8008" y="777"/>
                      <a:pt x="7766" y="622"/>
                      <a:pt x="7562" y="571"/>
                    </a:cubicBezTo>
                    <a:cubicBezTo>
                      <a:pt x="7438" y="540"/>
                      <a:pt x="7323" y="528"/>
                      <a:pt x="7218" y="528"/>
                    </a:cubicBezTo>
                    <a:cubicBezTo>
                      <a:pt x="7130" y="528"/>
                      <a:pt x="7050" y="537"/>
                      <a:pt x="6978" y="550"/>
                    </a:cubicBezTo>
                    <a:cubicBezTo>
                      <a:pt x="6804" y="582"/>
                      <a:pt x="6732" y="702"/>
                      <a:pt x="6728" y="709"/>
                    </a:cubicBezTo>
                    <a:cubicBezTo>
                      <a:pt x="6727" y="710"/>
                      <a:pt x="6727" y="710"/>
                      <a:pt x="6727" y="710"/>
                    </a:cubicBezTo>
                    <a:cubicBezTo>
                      <a:pt x="6727" y="711"/>
                      <a:pt x="6727" y="711"/>
                      <a:pt x="6727" y="711"/>
                    </a:cubicBezTo>
                    <a:cubicBezTo>
                      <a:pt x="6696" y="766"/>
                      <a:pt x="6668" y="827"/>
                      <a:pt x="6654" y="857"/>
                    </a:cubicBezTo>
                    <a:cubicBezTo>
                      <a:pt x="6647" y="858"/>
                      <a:pt x="6636" y="859"/>
                      <a:pt x="6623" y="859"/>
                    </a:cubicBezTo>
                    <a:cubicBezTo>
                      <a:pt x="6613" y="859"/>
                      <a:pt x="6603" y="859"/>
                      <a:pt x="6591" y="858"/>
                    </a:cubicBezTo>
                    <a:cubicBezTo>
                      <a:pt x="6587" y="858"/>
                      <a:pt x="6570" y="857"/>
                      <a:pt x="6543" y="855"/>
                    </a:cubicBezTo>
                    <a:cubicBezTo>
                      <a:pt x="6566" y="767"/>
                      <a:pt x="6591" y="681"/>
                      <a:pt x="6632" y="627"/>
                    </a:cubicBezTo>
                    <a:cubicBezTo>
                      <a:pt x="6661" y="587"/>
                      <a:pt x="6682" y="559"/>
                      <a:pt x="6703" y="539"/>
                    </a:cubicBezTo>
                    <a:cubicBezTo>
                      <a:pt x="6724" y="520"/>
                      <a:pt x="6746" y="505"/>
                      <a:pt x="6785" y="489"/>
                    </a:cubicBezTo>
                    <a:cubicBezTo>
                      <a:pt x="6863" y="456"/>
                      <a:pt x="7008" y="424"/>
                      <a:pt x="7290" y="370"/>
                    </a:cubicBezTo>
                    <a:cubicBezTo>
                      <a:pt x="7654" y="300"/>
                      <a:pt x="7917" y="163"/>
                      <a:pt x="8098" y="11"/>
                    </a:cubicBezTo>
                    <a:cubicBezTo>
                      <a:pt x="7860" y="11"/>
                      <a:pt x="7860" y="11"/>
                      <a:pt x="7860" y="11"/>
                    </a:cubicBezTo>
                    <a:cubicBezTo>
                      <a:pt x="7709" y="104"/>
                      <a:pt x="7514" y="185"/>
                      <a:pt x="7263" y="233"/>
                    </a:cubicBezTo>
                    <a:cubicBezTo>
                      <a:pt x="7051" y="274"/>
                      <a:pt x="6915" y="302"/>
                      <a:pt x="6818" y="330"/>
                    </a:cubicBezTo>
                    <a:cubicBezTo>
                      <a:pt x="6721" y="358"/>
                      <a:pt x="6657" y="390"/>
                      <a:pt x="6607" y="438"/>
                    </a:cubicBezTo>
                    <a:cubicBezTo>
                      <a:pt x="6574" y="470"/>
                      <a:pt x="6549" y="504"/>
                      <a:pt x="6520" y="544"/>
                    </a:cubicBezTo>
                    <a:cubicBezTo>
                      <a:pt x="6466" y="617"/>
                      <a:pt x="6440" y="702"/>
                      <a:pt x="6419" y="780"/>
                    </a:cubicBezTo>
                    <a:cubicBezTo>
                      <a:pt x="6413" y="802"/>
                      <a:pt x="6407" y="824"/>
                      <a:pt x="6401" y="845"/>
                    </a:cubicBezTo>
                    <a:cubicBezTo>
                      <a:pt x="6256" y="835"/>
                      <a:pt x="6047" y="820"/>
                      <a:pt x="5840" y="805"/>
                    </a:cubicBezTo>
                    <a:cubicBezTo>
                      <a:pt x="5477" y="779"/>
                      <a:pt x="5122" y="754"/>
                      <a:pt x="5121" y="754"/>
                    </a:cubicBezTo>
                    <a:cubicBezTo>
                      <a:pt x="5113" y="753"/>
                      <a:pt x="5113" y="753"/>
                      <a:pt x="5113" y="753"/>
                    </a:cubicBezTo>
                    <a:cubicBezTo>
                      <a:pt x="5105" y="755"/>
                      <a:pt x="5105" y="755"/>
                      <a:pt x="5105" y="755"/>
                    </a:cubicBezTo>
                    <a:cubicBezTo>
                      <a:pt x="5105" y="755"/>
                      <a:pt x="4987" y="780"/>
                      <a:pt x="4844" y="806"/>
                    </a:cubicBezTo>
                    <a:cubicBezTo>
                      <a:pt x="4700" y="833"/>
                      <a:pt x="4530" y="862"/>
                      <a:pt x="4430" y="870"/>
                    </a:cubicBezTo>
                    <a:cubicBezTo>
                      <a:pt x="4401" y="872"/>
                      <a:pt x="4374" y="873"/>
                      <a:pt x="4348" y="873"/>
                    </a:cubicBezTo>
                    <a:cubicBezTo>
                      <a:pt x="4244" y="873"/>
                      <a:pt x="4157" y="858"/>
                      <a:pt x="4069" y="858"/>
                    </a:cubicBezTo>
                    <a:cubicBezTo>
                      <a:pt x="4042" y="858"/>
                      <a:pt x="4015" y="860"/>
                      <a:pt x="3987" y="864"/>
                    </a:cubicBezTo>
                    <a:cubicBezTo>
                      <a:pt x="3980" y="848"/>
                      <a:pt x="3980" y="848"/>
                      <a:pt x="3980" y="848"/>
                    </a:cubicBezTo>
                    <a:cubicBezTo>
                      <a:pt x="3979" y="847"/>
                      <a:pt x="3979" y="846"/>
                      <a:pt x="3978" y="844"/>
                    </a:cubicBezTo>
                    <a:cubicBezTo>
                      <a:pt x="3977" y="842"/>
                      <a:pt x="3975" y="838"/>
                      <a:pt x="3974" y="835"/>
                    </a:cubicBezTo>
                    <a:cubicBezTo>
                      <a:pt x="3970" y="827"/>
                      <a:pt x="3965" y="816"/>
                      <a:pt x="3960" y="804"/>
                    </a:cubicBezTo>
                    <a:cubicBezTo>
                      <a:pt x="3950" y="779"/>
                      <a:pt x="3942" y="750"/>
                      <a:pt x="3938" y="720"/>
                    </a:cubicBezTo>
                    <a:cubicBezTo>
                      <a:pt x="3939" y="716"/>
                      <a:pt x="3939" y="716"/>
                      <a:pt x="3939" y="716"/>
                    </a:cubicBezTo>
                    <a:cubicBezTo>
                      <a:pt x="3937" y="717"/>
                      <a:pt x="3937" y="717"/>
                      <a:pt x="3937" y="717"/>
                    </a:cubicBezTo>
                    <a:cubicBezTo>
                      <a:pt x="3932" y="686"/>
                      <a:pt x="3914" y="577"/>
                      <a:pt x="3914" y="521"/>
                    </a:cubicBezTo>
                    <a:cubicBezTo>
                      <a:pt x="4060" y="457"/>
                      <a:pt x="4060" y="457"/>
                      <a:pt x="4060" y="457"/>
                    </a:cubicBezTo>
                    <a:cubicBezTo>
                      <a:pt x="4213" y="381"/>
                      <a:pt x="4213" y="381"/>
                      <a:pt x="4213" y="381"/>
                    </a:cubicBezTo>
                    <a:cubicBezTo>
                      <a:pt x="4213" y="380"/>
                      <a:pt x="4213" y="380"/>
                      <a:pt x="4213" y="380"/>
                    </a:cubicBezTo>
                    <a:cubicBezTo>
                      <a:pt x="4258" y="358"/>
                      <a:pt x="4331" y="319"/>
                      <a:pt x="4377" y="277"/>
                    </a:cubicBezTo>
                    <a:cubicBezTo>
                      <a:pt x="4424" y="232"/>
                      <a:pt x="4469" y="136"/>
                      <a:pt x="4504" y="11"/>
                    </a:cubicBezTo>
                    <a:cubicBezTo>
                      <a:pt x="4467" y="11"/>
                      <a:pt x="4467" y="11"/>
                      <a:pt x="4467" y="11"/>
                    </a:cubicBezTo>
                    <a:cubicBezTo>
                      <a:pt x="4433" y="129"/>
                      <a:pt x="4390" y="216"/>
                      <a:pt x="4353" y="250"/>
                    </a:cubicBezTo>
                    <a:cubicBezTo>
                      <a:pt x="4322" y="279"/>
                      <a:pt x="4278" y="306"/>
                      <a:pt x="4235" y="327"/>
                    </a:cubicBezTo>
                    <a:cubicBezTo>
                      <a:pt x="4227" y="332"/>
                      <a:pt x="4227" y="332"/>
                      <a:pt x="4227" y="332"/>
                    </a:cubicBezTo>
                    <a:cubicBezTo>
                      <a:pt x="4218" y="337"/>
                      <a:pt x="4211" y="340"/>
                      <a:pt x="4206" y="343"/>
                    </a:cubicBezTo>
                    <a:cubicBezTo>
                      <a:pt x="4206" y="343"/>
                      <a:pt x="4206" y="343"/>
                      <a:pt x="4206" y="343"/>
                    </a:cubicBezTo>
                    <a:cubicBezTo>
                      <a:pt x="4173" y="359"/>
                      <a:pt x="4173" y="359"/>
                      <a:pt x="4173" y="359"/>
                    </a:cubicBezTo>
                    <a:cubicBezTo>
                      <a:pt x="4152" y="365"/>
                      <a:pt x="4152" y="365"/>
                      <a:pt x="4152" y="365"/>
                    </a:cubicBezTo>
                    <a:cubicBezTo>
                      <a:pt x="4154" y="368"/>
                      <a:pt x="4154" y="368"/>
                      <a:pt x="4154" y="368"/>
                    </a:cubicBezTo>
                    <a:cubicBezTo>
                      <a:pt x="4044" y="423"/>
                      <a:pt x="4044" y="423"/>
                      <a:pt x="4044" y="423"/>
                    </a:cubicBezTo>
                    <a:cubicBezTo>
                      <a:pt x="3911" y="481"/>
                      <a:pt x="3911" y="481"/>
                      <a:pt x="3911" y="481"/>
                    </a:cubicBezTo>
                    <a:cubicBezTo>
                      <a:pt x="3910" y="471"/>
                      <a:pt x="3909" y="459"/>
                      <a:pt x="3907" y="449"/>
                    </a:cubicBezTo>
                    <a:cubicBezTo>
                      <a:pt x="3904" y="430"/>
                      <a:pt x="3898" y="420"/>
                      <a:pt x="3897" y="418"/>
                    </a:cubicBezTo>
                    <a:cubicBezTo>
                      <a:pt x="3896" y="417"/>
                      <a:pt x="3896" y="417"/>
                      <a:pt x="3896" y="417"/>
                    </a:cubicBezTo>
                    <a:cubicBezTo>
                      <a:pt x="3708" y="199"/>
                      <a:pt x="3708" y="199"/>
                      <a:pt x="3708" y="199"/>
                    </a:cubicBezTo>
                    <a:cubicBezTo>
                      <a:pt x="3708" y="199"/>
                      <a:pt x="3708" y="199"/>
                      <a:pt x="3708" y="199"/>
                    </a:cubicBezTo>
                    <a:cubicBezTo>
                      <a:pt x="3708" y="199"/>
                      <a:pt x="3624" y="99"/>
                      <a:pt x="3532" y="11"/>
                    </a:cubicBezTo>
                    <a:cubicBezTo>
                      <a:pt x="3479" y="11"/>
                      <a:pt x="3479" y="11"/>
                      <a:pt x="3479" y="11"/>
                    </a:cubicBezTo>
                    <a:cubicBezTo>
                      <a:pt x="3489" y="20"/>
                      <a:pt x="3499" y="30"/>
                      <a:pt x="3510" y="39"/>
                    </a:cubicBezTo>
                    <a:cubicBezTo>
                      <a:pt x="3486" y="43"/>
                      <a:pt x="3452" y="48"/>
                      <a:pt x="3415" y="56"/>
                    </a:cubicBezTo>
                    <a:cubicBezTo>
                      <a:pt x="3346" y="70"/>
                      <a:pt x="3266" y="90"/>
                      <a:pt x="3220" y="121"/>
                    </a:cubicBezTo>
                    <a:cubicBezTo>
                      <a:pt x="3142" y="175"/>
                      <a:pt x="3000" y="288"/>
                      <a:pt x="2852" y="287"/>
                    </a:cubicBezTo>
                    <a:cubicBezTo>
                      <a:pt x="2840" y="287"/>
                      <a:pt x="2828" y="286"/>
                      <a:pt x="2816" y="285"/>
                    </a:cubicBezTo>
                    <a:cubicBezTo>
                      <a:pt x="2651" y="264"/>
                      <a:pt x="2540" y="171"/>
                      <a:pt x="2451" y="108"/>
                    </a:cubicBezTo>
                    <a:cubicBezTo>
                      <a:pt x="2421" y="87"/>
                      <a:pt x="2371" y="51"/>
                      <a:pt x="2316" y="11"/>
                    </a:cubicBezTo>
                    <a:cubicBezTo>
                      <a:pt x="2255" y="11"/>
                      <a:pt x="2255" y="11"/>
                      <a:pt x="2255" y="11"/>
                    </a:cubicBezTo>
                    <a:cubicBezTo>
                      <a:pt x="2325" y="62"/>
                      <a:pt x="2393" y="111"/>
                      <a:pt x="2431" y="138"/>
                    </a:cubicBezTo>
                    <a:cubicBezTo>
                      <a:pt x="2494" y="182"/>
                      <a:pt x="2573" y="246"/>
                      <a:pt x="2680" y="287"/>
                    </a:cubicBezTo>
                    <a:cubicBezTo>
                      <a:pt x="2675" y="304"/>
                      <a:pt x="2675" y="304"/>
                      <a:pt x="2675" y="304"/>
                    </a:cubicBezTo>
                    <a:cubicBezTo>
                      <a:pt x="2675" y="304"/>
                      <a:pt x="2675" y="304"/>
                      <a:pt x="2675" y="304"/>
                    </a:cubicBezTo>
                    <a:cubicBezTo>
                      <a:pt x="2472" y="763"/>
                      <a:pt x="2472" y="763"/>
                      <a:pt x="2472" y="763"/>
                    </a:cubicBezTo>
                    <a:cubicBezTo>
                      <a:pt x="1997" y="1085"/>
                      <a:pt x="1997" y="1085"/>
                      <a:pt x="1997" y="1085"/>
                    </a:cubicBezTo>
                    <a:cubicBezTo>
                      <a:pt x="1664" y="1111"/>
                      <a:pt x="1664" y="1111"/>
                      <a:pt x="1664" y="1111"/>
                    </a:cubicBezTo>
                    <a:cubicBezTo>
                      <a:pt x="1333" y="700"/>
                      <a:pt x="1333" y="700"/>
                      <a:pt x="1333" y="700"/>
                    </a:cubicBezTo>
                    <a:cubicBezTo>
                      <a:pt x="1314" y="716"/>
                      <a:pt x="1314" y="716"/>
                      <a:pt x="1314" y="716"/>
                    </a:cubicBezTo>
                    <a:cubicBezTo>
                      <a:pt x="1643" y="1125"/>
                      <a:pt x="1643" y="1125"/>
                      <a:pt x="1643" y="1125"/>
                    </a:cubicBezTo>
                    <a:cubicBezTo>
                      <a:pt x="1610" y="1182"/>
                      <a:pt x="1386" y="1567"/>
                      <a:pt x="1364" y="1605"/>
                    </a:cubicBezTo>
                    <a:cubicBezTo>
                      <a:pt x="1360" y="1609"/>
                      <a:pt x="1360" y="1609"/>
                      <a:pt x="1360" y="1609"/>
                    </a:cubicBezTo>
                    <a:cubicBezTo>
                      <a:pt x="1359" y="1610"/>
                      <a:pt x="1359" y="1610"/>
                      <a:pt x="1358" y="1611"/>
                    </a:cubicBezTo>
                    <a:cubicBezTo>
                      <a:pt x="1354" y="1615"/>
                      <a:pt x="1348" y="1620"/>
                      <a:pt x="1341" y="1627"/>
                    </a:cubicBezTo>
                    <a:cubicBezTo>
                      <a:pt x="1327" y="1640"/>
                      <a:pt x="1306" y="1660"/>
                      <a:pt x="1282" y="1683"/>
                    </a:cubicBezTo>
                    <a:cubicBezTo>
                      <a:pt x="1233" y="1729"/>
                      <a:pt x="1168" y="1791"/>
                      <a:pt x="1102" y="1853"/>
                    </a:cubicBezTo>
                    <a:cubicBezTo>
                      <a:pt x="972" y="1977"/>
                      <a:pt x="843" y="2100"/>
                      <a:pt x="843" y="2100"/>
                    </a:cubicBezTo>
                    <a:cubicBezTo>
                      <a:pt x="858" y="2116"/>
                      <a:pt x="858" y="2116"/>
                      <a:pt x="858" y="2116"/>
                    </a:cubicBezTo>
                    <a:cubicBezTo>
                      <a:pt x="847" y="2114"/>
                      <a:pt x="838" y="2113"/>
                      <a:pt x="829" y="2113"/>
                    </a:cubicBezTo>
                    <a:cubicBezTo>
                      <a:pt x="821" y="2112"/>
                      <a:pt x="814" y="2112"/>
                      <a:pt x="807" y="2112"/>
                    </a:cubicBezTo>
                    <a:cubicBezTo>
                      <a:pt x="779" y="2112"/>
                      <a:pt x="758" y="2116"/>
                      <a:pt x="740" y="2118"/>
                    </a:cubicBezTo>
                    <a:cubicBezTo>
                      <a:pt x="697" y="2124"/>
                      <a:pt x="672" y="2138"/>
                      <a:pt x="644" y="2138"/>
                    </a:cubicBezTo>
                    <a:cubicBezTo>
                      <a:pt x="617" y="2138"/>
                      <a:pt x="569" y="2118"/>
                      <a:pt x="527" y="2105"/>
                    </a:cubicBezTo>
                    <a:cubicBezTo>
                      <a:pt x="489" y="2093"/>
                      <a:pt x="411" y="2057"/>
                      <a:pt x="351" y="2056"/>
                    </a:cubicBezTo>
                    <a:cubicBezTo>
                      <a:pt x="349" y="2056"/>
                      <a:pt x="347" y="2057"/>
                      <a:pt x="345" y="2057"/>
                    </a:cubicBezTo>
                    <a:cubicBezTo>
                      <a:pt x="288" y="2059"/>
                      <a:pt x="257" y="2079"/>
                      <a:pt x="236" y="2086"/>
                    </a:cubicBezTo>
                    <a:cubicBezTo>
                      <a:pt x="215" y="2094"/>
                      <a:pt x="144" y="2127"/>
                      <a:pt x="107" y="2144"/>
                    </a:cubicBezTo>
                    <a:cubicBezTo>
                      <a:pt x="102" y="2144"/>
                      <a:pt x="95" y="2144"/>
                      <a:pt x="90" y="2141"/>
                    </a:cubicBezTo>
                    <a:cubicBezTo>
                      <a:pt x="88" y="2135"/>
                      <a:pt x="88" y="2135"/>
                      <a:pt x="88" y="2135"/>
                    </a:cubicBezTo>
                    <a:cubicBezTo>
                      <a:pt x="88" y="2135"/>
                      <a:pt x="88" y="2135"/>
                      <a:pt x="88" y="2135"/>
                    </a:cubicBezTo>
                    <a:cubicBezTo>
                      <a:pt x="7" y="1977"/>
                      <a:pt x="7" y="1977"/>
                      <a:pt x="7" y="1977"/>
                    </a:cubicBezTo>
                    <a:cubicBezTo>
                      <a:pt x="7" y="2057"/>
                      <a:pt x="7" y="2057"/>
                      <a:pt x="7" y="2057"/>
                    </a:cubicBezTo>
                    <a:cubicBezTo>
                      <a:pt x="55" y="2151"/>
                      <a:pt x="55" y="2151"/>
                      <a:pt x="55" y="2151"/>
                    </a:cubicBezTo>
                    <a:cubicBezTo>
                      <a:pt x="55" y="2151"/>
                      <a:pt x="55" y="2151"/>
                      <a:pt x="55" y="2151"/>
                    </a:cubicBezTo>
                    <a:cubicBezTo>
                      <a:pt x="389" y="2772"/>
                      <a:pt x="389" y="2772"/>
                      <a:pt x="389" y="2772"/>
                    </a:cubicBezTo>
                    <a:cubicBezTo>
                      <a:pt x="422" y="2754"/>
                      <a:pt x="422" y="2754"/>
                      <a:pt x="422" y="2754"/>
                    </a:cubicBezTo>
                    <a:cubicBezTo>
                      <a:pt x="117" y="2189"/>
                      <a:pt x="117" y="2189"/>
                      <a:pt x="117" y="2189"/>
                    </a:cubicBezTo>
                    <a:cubicBezTo>
                      <a:pt x="117" y="2186"/>
                      <a:pt x="118" y="2182"/>
                      <a:pt x="122" y="2179"/>
                    </a:cubicBezTo>
                    <a:cubicBezTo>
                      <a:pt x="133" y="2173"/>
                      <a:pt x="149" y="2166"/>
                      <a:pt x="166" y="2158"/>
                    </a:cubicBezTo>
                    <a:cubicBezTo>
                      <a:pt x="199" y="2143"/>
                      <a:pt x="237" y="2126"/>
                      <a:pt x="248" y="2122"/>
                    </a:cubicBezTo>
                    <a:cubicBezTo>
                      <a:pt x="277" y="2112"/>
                      <a:pt x="298" y="2097"/>
                      <a:pt x="347" y="2094"/>
                    </a:cubicBezTo>
                    <a:cubicBezTo>
                      <a:pt x="348" y="2094"/>
                      <a:pt x="349" y="2094"/>
                      <a:pt x="351" y="2094"/>
                    </a:cubicBezTo>
                    <a:cubicBezTo>
                      <a:pt x="396" y="2094"/>
                      <a:pt x="474" y="2127"/>
                      <a:pt x="515" y="2141"/>
                    </a:cubicBezTo>
                    <a:cubicBezTo>
                      <a:pt x="555" y="2153"/>
                      <a:pt x="603" y="2175"/>
                      <a:pt x="644" y="2176"/>
                    </a:cubicBezTo>
                    <a:cubicBezTo>
                      <a:pt x="684" y="2175"/>
                      <a:pt x="710" y="2160"/>
                      <a:pt x="745" y="2155"/>
                    </a:cubicBezTo>
                    <a:cubicBezTo>
                      <a:pt x="764" y="2153"/>
                      <a:pt x="783" y="2149"/>
                      <a:pt x="807" y="2149"/>
                    </a:cubicBezTo>
                    <a:cubicBezTo>
                      <a:pt x="813" y="2149"/>
                      <a:pt x="819" y="2150"/>
                      <a:pt x="826" y="2150"/>
                    </a:cubicBezTo>
                    <a:cubicBezTo>
                      <a:pt x="852" y="2152"/>
                      <a:pt x="881" y="2156"/>
                      <a:pt x="913" y="2175"/>
                    </a:cubicBezTo>
                    <a:cubicBezTo>
                      <a:pt x="946" y="2195"/>
                      <a:pt x="981" y="2257"/>
                      <a:pt x="1004" y="2313"/>
                    </a:cubicBezTo>
                    <a:cubicBezTo>
                      <a:pt x="1028" y="2370"/>
                      <a:pt x="1041" y="2420"/>
                      <a:pt x="1041" y="2421"/>
                    </a:cubicBezTo>
                    <a:cubicBezTo>
                      <a:pt x="1078" y="2411"/>
                      <a:pt x="1078" y="2411"/>
                      <a:pt x="1078" y="2411"/>
                    </a:cubicBezTo>
                    <a:cubicBezTo>
                      <a:pt x="1078" y="2410"/>
                      <a:pt x="1063" y="2358"/>
                      <a:pt x="1039" y="2299"/>
                    </a:cubicBezTo>
                    <a:cubicBezTo>
                      <a:pt x="1014" y="2240"/>
                      <a:pt x="980" y="2174"/>
                      <a:pt x="932" y="2143"/>
                    </a:cubicBezTo>
                    <a:cubicBezTo>
                      <a:pt x="907" y="2128"/>
                      <a:pt x="883" y="2121"/>
                      <a:pt x="861" y="2117"/>
                    </a:cubicBezTo>
                    <a:cubicBezTo>
                      <a:pt x="874" y="2104"/>
                      <a:pt x="993" y="1991"/>
                      <a:pt x="1115" y="1875"/>
                    </a:cubicBezTo>
                    <a:cubicBezTo>
                      <a:pt x="1239" y="1757"/>
                      <a:pt x="1366" y="1637"/>
                      <a:pt x="1379" y="1625"/>
                    </a:cubicBezTo>
                    <a:cubicBezTo>
                      <a:pt x="1379" y="1625"/>
                      <a:pt x="1379" y="1625"/>
                      <a:pt x="1379" y="1625"/>
                    </a:cubicBezTo>
                    <a:cubicBezTo>
                      <a:pt x="1380" y="1624"/>
                      <a:pt x="1380" y="1624"/>
                      <a:pt x="1381" y="1623"/>
                    </a:cubicBezTo>
                    <a:cubicBezTo>
                      <a:pt x="1381" y="1623"/>
                      <a:pt x="1382" y="1623"/>
                      <a:pt x="1382" y="1623"/>
                    </a:cubicBezTo>
                    <a:cubicBezTo>
                      <a:pt x="1382" y="1622"/>
                      <a:pt x="1382" y="1622"/>
                      <a:pt x="1382" y="1622"/>
                    </a:cubicBezTo>
                    <a:cubicBezTo>
                      <a:pt x="1382" y="1622"/>
                      <a:pt x="1383" y="1621"/>
                      <a:pt x="1383" y="1621"/>
                    </a:cubicBezTo>
                    <a:cubicBezTo>
                      <a:pt x="1383" y="1621"/>
                      <a:pt x="1383" y="1621"/>
                      <a:pt x="1383" y="1621"/>
                    </a:cubicBezTo>
                    <a:cubicBezTo>
                      <a:pt x="1383" y="1621"/>
                      <a:pt x="1383" y="1621"/>
                      <a:pt x="1383" y="1621"/>
                    </a:cubicBezTo>
                    <a:cubicBezTo>
                      <a:pt x="1383" y="1621"/>
                      <a:pt x="1383" y="1621"/>
                      <a:pt x="1383" y="1621"/>
                    </a:cubicBezTo>
                    <a:cubicBezTo>
                      <a:pt x="1383" y="1620"/>
                      <a:pt x="1383" y="1620"/>
                      <a:pt x="1384" y="1620"/>
                    </a:cubicBezTo>
                    <a:cubicBezTo>
                      <a:pt x="1384" y="1619"/>
                      <a:pt x="1385" y="1617"/>
                      <a:pt x="1386" y="1615"/>
                    </a:cubicBezTo>
                    <a:cubicBezTo>
                      <a:pt x="1388" y="1612"/>
                      <a:pt x="1391" y="1606"/>
                      <a:pt x="1395" y="1600"/>
                    </a:cubicBezTo>
                    <a:cubicBezTo>
                      <a:pt x="1403" y="1586"/>
                      <a:pt x="1414" y="1567"/>
                      <a:pt x="1428" y="1544"/>
                    </a:cubicBezTo>
                    <a:cubicBezTo>
                      <a:pt x="1454" y="1498"/>
                      <a:pt x="1490" y="1437"/>
                      <a:pt x="1526" y="1375"/>
                    </a:cubicBezTo>
                    <a:cubicBezTo>
                      <a:pt x="1588" y="1268"/>
                      <a:pt x="1651" y="1161"/>
                      <a:pt x="1665" y="1135"/>
                    </a:cubicBezTo>
                    <a:cubicBezTo>
                      <a:pt x="2005" y="1109"/>
                      <a:pt x="2005" y="1109"/>
                      <a:pt x="2005" y="1109"/>
                    </a:cubicBezTo>
                    <a:cubicBezTo>
                      <a:pt x="2258" y="937"/>
                      <a:pt x="2258" y="937"/>
                      <a:pt x="2258" y="937"/>
                    </a:cubicBezTo>
                    <a:cubicBezTo>
                      <a:pt x="2526" y="1497"/>
                      <a:pt x="2526" y="1497"/>
                      <a:pt x="2526" y="1497"/>
                    </a:cubicBezTo>
                    <a:cubicBezTo>
                      <a:pt x="2527" y="1496"/>
                      <a:pt x="2527" y="1496"/>
                      <a:pt x="2527" y="1496"/>
                    </a:cubicBezTo>
                    <a:cubicBezTo>
                      <a:pt x="2576" y="1599"/>
                      <a:pt x="2576" y="1599"/>
                      <a:pt x="2576" y="1599"/>
                    </a:cubicBezTo>
                    <a:cubicBezTo>
                      <a:pt x="2599" y="1588"/>
                      <a:pt x="2599" y="1588"/>
                      <a:pt x="2599" y="1588"/>
                    </a:cubicBezTo>
                    <a:cubicBezTo>
                      <a:pt x="2541" y="1464"/>
                      <a:pt x="2541" y="1464"/>
                      <a:pt x="2541" y="1464"/>
                    </a:cubicBezTo>
                    <a:cubicBezTo>
                      <a:pt x="2539" y="1466"/>
                      <a:pt x="2539" y="1466"/>
                      <a:pt x="2539" y="1466"/>
                    </a:cubicBezTo>
                    <a:cubicBezTo>
                      <a:pt x="2278" y="923"/>
                      <a:pt x="2278" y="923"/>
                      <a:pt x="2278" y="923"/>
                    </a:cubicBezTo>
                    <a:cubicBezTo>
                      <a:pt x="2500" y="773"/>
                      <a:pt x="2500" y="773"/>
                      <a:pt x="2500" y="773"/>
                    </a:cubicBezTo>
                    <a:cubicBezTo>
                      <a:pt x="2502" y="774"/>
                      <a:pt x="2502" y="774"/>
                      <a:pt x="2502" y="774"/>
                    </a:cubicBezTo>
                    <a:cubicBezTo>
                      <a:pt x="2504" y="771"/>
                      <a:pt x="2504" y="771"/>
                      <a:pt x="2504" y="771"/>
                    </a:cubicBezTo>
                    <a:cubicBezTo>
                      <a:pt x="2504" y="771"/>
                      <a:pt x="2504" y="771"/>
                      <a:pt x="2504" y="771"/>
                    </a:cubicBezTo>
                    <a:cubicBezTo>
                      <a:pt x="2504" y="770"/>
                      <a:pt x="2504" y="770"/>
                      <a:pt x="2504" y="770"/>
                    </a:cubicBezTo>
                    <a:cubicBezTo>
                      <a:pt x="2707" y="312"/>
                      <a:pt x="2707" y="312"/>
                      <a:pt x="2707" y="312"/>
                    </a:cubicBezTo>
                    <a:cubicBezTo>
                      <a:pt x="2714" y="299"/>
                      <a:pt x="2714" y="299"/>
                      <a:pt x="2714" y="299"/>
                    </a:cubicBezTo>
                    <a:cubicBezTo>
                      <a:pt x="2745" y="308"/>
                      <a:pt x="2777" y="316"/>
                      <a:pt x="2811" y="321"/>
                    </a:cubicBezTo>
                    <a:cubicBezTo>
                      <a:pt x="2825" y="322"/>
                      <a:pt x="2839" y="323"/>
                      <a:pt x="2852" y="323"/>
                    </a:cubicBezTo>
                    <a:cubicBezTo>
                      <a:pt x="3018" y="323"/>
                      <a:pt x="3164" y="203"/>
                      <a:pt x="3240" y="151"/>
                    </a:cubicBezTo>
                    <a:cubicBezTo>
                      <a:pt x="3277" y="126"/>
                      <a:pt x="3355" y="104"/>
                      <a:pt x="3423" y="91"/>
                    </a:cubicBezTo>
                    <a:cubicBezTo>
                      <a:pt x="3479" y="80"/>
                      <a:pt x="3527" y="73"/>
                      <a:pt x="3542" y="72"/>
                    </a:cubicBezTo>
                    <a:cubicBezTo>
                      <a:pt x="3556" y="86"/>
                      <a:pt x="3570" y="100"/>
                      <a:pt x="3583" y="114"/>
                    </a:cubicBezTo>
                    <a:cubicBezTo>
                      <a:pt x="3639" y="173"/>
                      <a:pt x="3676" y="220"/>
                      <a:pt x="3676" y="220"/>
                    </a:cubicBezTo>
                    <a:cubicBezTo>
                      <a:pt x="3678" y="221"/>
                      <a:pt x="3678" y="221"/>
                      <a:pt x="3678" y="221"/>
                    </a:cubicBezTo>
                    <a:cubicBezTo>
                      <a:pt x="3865" y="438"/>
                      <a:pt x="3865" y="438"/>
                      <a:pt x="3865" y="438"/>
                    </a:cubicBezTo>
                    <a:cubicBezTo>
                      <a:pt x="3865" y="439"/>
                      <a:pt x="3865" y="440"/>
                      <a:pt x="3866" y="441"/>
                    </a:cubicBezTo>
                    <a:cubicBezTo>
                      <a:pt x="3867" y="444"/>
                      <a:pt x="3868" y="449"/>
                      <a:pt x="3870" y="455"/>
                    </a:cubicBezTo>
                    <a:cubicBezTo>
                      <a:pt x="3873" y="475"/>
                      <a:pt x="3875" y="503"/>
                      <a:pt x="3876" y="512"/>
                    </a:cubicBezTo>
                    <a:cubicBezTo>
                      <a:pt x="3876" y="514"/>
                      <a:pt x="3876" y="517"/>
                      <a:pt x="3876" y="520"/>
                    </a:cubicBezTo>
                    <a:cubicBezTo>
                      <a:pt x="3876" y="581"/>
                      <a:pt x="3893" y="695"/>
                      <a:pt x="3898" y="728"/>
                    </a:cubicBezTo>
                    <a:cubicBezTo>
                      <a:pt x="3898" y="728"/>
                      <a:pt x="3898" y="728"/>
                      <a:pt x="3898" y="728"/>
                    </a:cubicBezTo>
                    <a:cubicBezTo>
                      <a:pt x="3898" y="729"/>
                      <a:pt x="3899" y="731"/>
                      <a:pt x="3899" y="733"/>
                    </a:cubicBezTo>
                    <a:cubicBezTo>
                      <a:pt x="3899" y="735"/>
                      <a:pt x="3900" y="737"/>
                      <a:pt x="3900" y="737"/>
                    </a:cubicBezTo>
                    <a:cubicBezTo>
                      <a:pt x="3900" y="743"/>
                      <a:pt x="3900" y="743"/>
                      <a:pt x="3900" y="743"/>
                    </a:cubicBezTo>
                    <a:cubicBezTo>
                      <a:pt x="3901" y="743"/>
                      <a:pt x="3901" y="743"/>
                      <a:pt x="3901" y="743"/>
                    </a:cubicBezTo>
                    <a:cubicBezTo>
                      <a:pt x="3911" y="793"/>
                      <a:pt x="3935" y="838"/>
                      <a:pt x="3943" y="855"/>
                    </a:cubicBezTo>
                    <a:cubicBezTo>
                      <a:pt x="3949" y="871"/>
                      <a:pt x="3949" y="871"/>
                      <a:pt x="3949" y="871"/>
                    </a:cubicBezTo>
                    <a:cubicBezTo>
                      <a:pt x="3946" y="872"/>
                      <a:pt x="3943" y="873"/>
                      <a:pt x="3940" y="874"/>
                    </a:cubicBezTo>
                    <a:cubicBezTo>
                      <a:pt x="3863" y="895"/>
                      <a:pt x="3795" y="934"/>
                      <a:pt x="3740" y="972"/>
                    </a:cubicBezTo>
                    <a:cubicBezTo>
                      <a:pt x="3686" y="1009"/>
                      <a:pt x="3643" y="1045"/>
                      <a:pt x="3626" y="1057"/>
                    </a:cubicBezTo>
                    <a:cubicBezTo>
                      <a:pt x="3626" y="1057"/>
                      <a:pt x="3625" y="1058"/>
                      <a:pt x="3624" y="1058"/>
                    </a:cubicBezTo>
                    <a:cubicBezTo>
                      <a:pt x="3622" y="1059"/>
                      <a:pt x="3620" y="1061"/>
                      <a:pt x="3616" y="1063"/>
                    </a:cubicBezTo>
                    <a:cubicBezTo>
                      <a:pt x="3609" y="1067"/>
                      <a:pt x="3599" y="1073"/>
                      <a:pt x="3586" y="1080"/>
                    </a:cubicBezTo>
                    <a:cubicBezTo>
                      <a:pt x="3561" y="1094"/>
                      <a:pt x="3525" y="1113"/>
                      <a:pt x="3482" y="1136"/>
                    </a:cubicBezTo>
                    <a:cubicBezTo>
                      <a:pt x="3397" y="1182"/>
                      <a:pt x="3281" y="1244"/>
                      <a:pt x="3154" y="1312"/>
                    </a:cubicBezTo>
                    <a:cubicBezTo>
                      <a:pt x="2900" y="1447"/>
                      <a:pt x="2600" y="1606"/>
                      <a:pt x="2400" y="1712"/>
                    </a:cubicBezTo>
                    <a:cubicBezTo>
                      <a:pt x="2267" y="1782"/>
                      <a:pt x="2208" y="1811"/>
                      <a:pt x="2208" y="1811"/>
                    </a:cubicBezTo>
                    <a:cubicBezTo>
                      <a:pt x="2204" y="1813"/>
                      <a:pt x="2204" y="1813"/>
                      <a:pt x="2204" y="1813"/>
                    </a:cubicBezTo>
                    <a:cubicBezTo>
                      <a:pt x="1283" y="2303"/>
                      <a:pt x="1283" y="2303"/>
                      <a:pt x="1283" y="2303"/>
                    </a:cubicBezTo>
                    <a:cubicBezTo>
                      <a:pt x="451" y="2749"/>
                      <a:pt x="451" y="2749"/>
                      <a:pt x="451" y="2749"/>
                    </a:cubicBezTo>
                    <a:cubicBezTo>
                      <a:pt x="445" y="2752"/>
                      <a:pt x="421" y="2764"/>
                      <a:pt x="399" y="2778"/>
                    </a:cubicBezTo>
                    <a:cubicBezTo>
                      <a:pt x="380" y="2791"/>
                      <a:pt x="358" y="2806"/>
                      <a:pt x="339" y="2826"/>
                    </a:cubicBezTo>
                    <a:cubicBezTo>
                      <a:pt x="334" y="2831"/>
                      <a:pt x="317" y="2849"/>
                      <a:pt x="292" y="2876"/>
                    </a:cubicBezTo>
                    <a:cubicBezTo>
                      <a:pt x="232" y="2866"/>
                      <a:pt x="169" y="2859"/>
                      <a:pt x="119" y="2864"/>
                    </a:cubicBezTo>
                    <a:cubicBezTo>
                      <a:pt x="78" y="2867"/>
                      <a:pt x="39" y="2882"/>
                      <a:pt x="7" y="2900"/>
                    </a:cubicBezTo>
                    <a:cubicBezTo>
                      <a:pt x="7" y="3164"/>
                      <a:pt x="7" y="3164"/>
                      <a:pt x="7" y="3164"/>
                    </a:cubicBezTo>
                    <a:cubicBezTo>
                      <a:pt x="14" y="3164"/>
                      <a:pt x="20" y="3163"/>
                      <a:pt x="26" y="3163"/>
                    </a:cubicBezTo>
                    <a:cubicBezTo>
                      <a:pt x="20" y="3169"/>
                      <a:pt x="14" y="3176"/>
                      <a:pt x="7" y="3183"/>
                    </a:cubicBezTo>
                    <a:cubicBezTo>
                      <a:pt x="7" y="3364"/>
                      <a:pt x="7" y="3364"/>
                      <a:pt x="7" y="3364"/>
                    </a:cubicBezTo>
                    <a:cubicBezTo>
                      <a:pt x="35" y="3334"/>
                      <a:pt x="63" y="3304"/>
                      <a:pt x="92" y="3273"/>
                    </a:cubicBezTo>
                    <a:cubicBezTo>
                      <a:pt x="132" y="3229"/>
                      <a:pt x="173" y="3186"/>
                      <a:pt x="211" y="3144"/>
                    </a:cubicBezTo>
                    <a:cubicBezTo>
                      <a:pt x="244" y="3141"/>
                      <a:pt x="277" y="3137"/>
                      <a:pt x="305" y="3132"/>
                    </a:cubicBezTo>
                    <a:cubicBezTo>
                      <a:pt x="391" y="3117"/>
                      <a:pt x="391" y="3117"/>
                      <a:pt x="391" y="3117"/>
                    </a:cubicBezTo>
                    <a:cubicBezTo>
                      <a:pt x="403" y="3116"/>
                      <a:pt x="476" y="3093"/>
                      <a:pt x="476" y="3093"/>
                    </a:cubicBezTo>
                    <a:cubicBezTo>
                      <a:pt x="518" y="3066"/>
                      <a:pt x="550" y="3045"/>
                      <a:pt x="593" y="3019"/>
                    </a:cubicBezTo>
                    <a:cubicBezTo>
                      <a:pt x="601" y="3029"/>
                      <a:pt x="609" y="3038"/>
                      <a:pt x="617" y="3048"/>
                    </a:cubicBezTo>
                    <a:cubicBezTo>
                      <a:pt x="696" y="3140"/>
                      <a:pt x="802" y="3262"/>
                      <a:pt x="908" y="3384"/>
                    </a:cubicBezTo>
                    <a:cubicBezTo>
                      <a:pt x="1119" y="3629"/>
                      <a:pt x="1331" y="3873"/>
                      <a:pt x="1331" y="3873"/>
                    </a:cubicBezTo>
                    <a:cubicBezTo>
                      <a:pt x="1799" y="4411"/>
                      <a:pt x="1799" y="4411"/>
                      <a:pt x="1799" y="4411"/>
                    </a:cubicBezTo>
                    <a:cubicBezTo>
                      <a:pt x="1800" y="4411"/>
                      <a:pt x="1800" y="4411"/>
                      <a:pt x="1800" y="4411"/>
                    </a:cubicBezTo>
                    <a:cubicBezTo>
                      <a:pt x="1800" y="4412"/>
                      <a:pt x="1888" y="4499"/>
                      <a:pt x="1999" y="4547"/>
                    </a:cubicBezTo>
                    <a:cubicBezTo>
                      <a:pt x="2091" y="4586"/>
                      <a:pt x="2188" y="4590"/>
                      <a:pt x="2227" y="4590"/>
                    </a:cubicBezTo>
                    <a:cubicBezTo>
                      <a:pt x="2241" y="4590"/>
                      <a:pt x="2256" y="4590"/>
                      <a:pt x="2271" y="4590"/>
                    </a:cubicBezTo>
                    <a:cubicBezTo>
                      <a:pt x="2270" y="4594"/>
                      <a:pt x="2268" y="4597"/>
                      <a:pt x="2267" y="4600"/>
                    </a:cubicBezTo>
                    <a:cubicBezTo>
                      <a:pt x="2239" y="4680"/>
                      <a:pt x="2232" y="4709"/>
                      <a:pt x="2230" y="4719"/>
                    </a:cubicBezTo>
                    <a:cubicBezTo>
                      <a:pt x="2224" y="4729"/>
                      <a:pt x="2203" y="4764"/>
                      <a:pt x="2171" y="4813"/>
                    </a:cubicBezTo>
                    <a:cubicBezTo>
                      <a:pt x="2134" y="4871"/>
                      <a:pt x="2081" y="4949"/>
                      <a:pt x="2023" y="5027"/>
                    </a:cubicBezTo>
                    <a:cubicBezTo>
                      <a:pt x="2001" y="5056"/>
                      <a:pt x="1978" y="5090"/>
                      <a:pt x="1957" y="5116"/>
                    </a:cubicBezTo>
                    <a:cubicBezTo>
                      <a:pt x="1952" y="5115"/>
                      <a:pt x="1947" y="5115"/>
                      <a:pt x="1944" y="5115"/>
                    </a:cubicBezTo>
                    <a:cubicBezTo>
                      <a:pt x="1918" y="5109"/>
                      <a:pt x="1886" y="5104"/>
                      <a:pt x="1846" y="5094"/>
                    </a:cubicBezTo>
                    <a:cubicBezTo>
                      <a:pt x="1742" y="5069"/>
                      <a:pt x="1601" y="5027"/>
                      <a:pt x="1523" y="4975"/>
                    </a:cubicBezTo>
                    <a:cubicBezTo>
                      <a:pt x="1414" y="4901"/>
                      <a:pt x="1403" y="4839"/>
                      <a:pt x="1392" y="4805"/>
                    </a:cubicBezTo>
                    <a:cubicBezTo>
                      <a:pt x="1382" y="4771"/>
                      <a:pt x="1355" y="4665"/>
                      <a:pt x="1338" y="4601"/>
                    </a:cubicBezTo>
                    <a:cubicBezTo>
                      <a:pt x="1319" y="4534"/>
                      <a:pt x="1257" y="4434"/>
                      <a:pt x="1203" y="4376"/>
                    </a:cubicBezTo>
                    <a:cubicBezTo>
                      <a:pt x="1167" y="4336"/>
                      <a:pt x="1101" y="4279"/>
                      <a:pt x="1046" y="4237"/>
                    </a:cubicBezTo>
                    <a:cubicBezTo>
                      <a:pt x="1052" y="4220"/>
                      <a:pt x="1065" y="4181"/>
                      <a:pt x="1086" y="4141"/>
                    </a:cubicBezTo>
                    <a:cubicBezTo>
                      <a:pt x="1107" y="4101"/>
                      <a:pt x="1137" y="4059"/>
                      <a:pt x="1162" y="4029"/>
                    </a:cubicBezTo>
                    <a:cubicBezTo>
                      <a:pt x="1181" y="4007"/>
                      <a:pt x="1204" y="3982"/>
                      <a:pt x="1228" y="3961"/>
                    </a:cubicBezTo>
                    <a:cubicBezTo>
                      <a:pt x="1277" y="3917"/>
                      <a:pt x="1328" y="3883"/>
                      <a:pt x="1328" y="3883"/>
                    </a:cubicBezTo>
                    <a:cubicBezTo>
                      <a:pt x="1328" y="3883"/>
                      <a:pt x="1328" y="3883"/>
                      <a:pt x="1328" y="3883"/>
                    </a:cubicBezTo>
                    <a:cubicBezTo>
                      <a:pt x="1314" y="3863"/>
                      <a:pt x="1314" y="3863"/>
                      <a:pt x="1314" y="3863"/>
                    </a:cubicBezTo>
                    <a:cubicBezTo>
                      <a:pt x="1314" y="3863"/>
                      <a:pt x="1262" y="3897"/>
                      <a:pt x="1211" y="3942"/>
                    </a:cubicBezTo>
                    <a:cubicBezTo>
                      <a:pt x="1186" y="3965"/>
                      <a:pt x="1163" y="3991"/>
                      <a:pt x="1144" y="4014"/>
                    </a:cubicBezTo>
                    <a:cubicBezTo>
                      <a:pt x="1117" y="4045"/>
                      <a:pt x="1087" y="4087"/>
                      <a:pt x="1064" y="4130"/>
                    </a:cubicBezTo>
                    <a:cubicBezTo>
                      <a:pt x="1045" y="4166"/>
                      <a:pt x="1032" y="4201"/>
                      <a:pt x="1026" y="4221"/>
                    </a:cubicBezTo>
                    <a:cubicBezTo>
                      <a:pt x="1009" y="4209"/>
                      <a:pt x="994" y="4198"/>
                      <a:pt x="983" y="4191"/>
                    </a:cubicBezTo>
                    <a:cubicBezTo>
                      <a:pt x="934" y="4161"/>
                      <a:pt x="829" y="4103"/>
                      <a:pt x="753" y="4053"/>
                    </a:cubicBezTo>
                    <a:cubicBezTo>
                      <a:pt x="716" y="4029"/>
                      <a:pt x="684" y="3996"/>
                      <a:pt x="661" y="3970"/>
                    </a:cubicBezTo>
                    <a:cubicBezTo>
                      <a:pt x="654" y="3962"/>
                      <a:pt x="647" y="3953"/>
                      <a:pt x="641" y="3945"/>
                    </a:cubicBezTo>
                    <a:cubicBezTo>
                      <a:pt x="644" y="3943"/>
                      <a:pt x="644" y="3943"/>
                      <a:pt x="644" y="3943"/>
                    </a:cubicBezTo>
                    <a:cubicBezTo>
                      <a:pt x="644" y="3943"/>
                      <a:pt x="634" y="3939"/>
                      <a:pt x="618" y="3914"/>
                    </a:cubicBezTo>
                    <a:cubicBezTo>
                      <a:pt x="587" y="3867"/>
                      <a:pt x="535" y="3772"/>
                      <a:pt x="498" y="3691"/>
                    </a:cubicBezTo>
                    <a:cubicBezTo>
                      <a:pt x="440" y="3569"/>
                      <a:pt x="350" y="3344"/>
                      <a:pt x="350" y="3343"/>
                    </a:cubicBezTo>
                    <a:cubicBezTo>
                      <a:pt x="328" y="3358"/>
                      <a:pt x="328" y="3358"/>
                      <a:pt x="328" y="3358"/>
                    </a:cubicBezTo>
                    <a:cubicBezTo>
                      <a:pt x="328" y="3359"/>
                      <a:pt x="416" y="3579"/>
                      <a:pt x="474" y="3702"/>
                    </a:cubicBezTo>
                    <a:cubicBezTo>
                      <a:pt x="515" y="3791"/>
                      <a:pt x="573" y="3888"/>
                      <a:pt x="602" y="3934"/>
                    </a:cubicBezTo>
                    <a:cubicBezTo>
                      <a:pt x="602" y="3934"/>
                      <a:pt x="602" y="3934"/>
                      <a:pt x="602" y="3934"/>
                    </a:cubicBezTo>
                    <a:cubicBezTo>
                      <a:pt x="603" y="3935"/>
                      <a:pt x="660" y="4022"/>
                      <a:pt x="739" y="4074"/>
                    </a:cubicBezTo>
                    <a:cubicBezTo>
                      <a:pt x="785" y="4103"/>
                      <a:pt x="839" y="4136"/>
                      <a:pt x="887" y="4163"/>
                    </a:cubicBezTo>
                    <a:cubicBezTo>
                      <a:pt x="885" y="4178"/>
                      <a:pt x="879" y="4212"/>
                      <a:pt x="868" y="4254"/>
                    </a:cubicBezTo>
                    <a:cubicBezTo>
                      <a:pt x="853" y="4309"/>
                      <a:pt x="829" y="4375"/>
                      <a:pt x="794" y="4420"/>
                    </a:cubicBezTo>
                    <a:cubicBezTo>
                      <a:pt x="726" y="4507"/>
                      <a:pt x="664" y="4532"/>
                      <a:pt x="657" y="4534"/>
                    </a:cubicBezTo>
                    <a:cubicBezTo>
                      <a:pt x="637" y="4540"/>
                      <a:pt x="637" y="4540"/>
                      <a:pt x="637" y="4540"/>
                    </a:cubicBezTo>
                    <a:cubicBezTo>
                      <a:pt x="635" y="4541"/>
                      <a:pt x="635" y="4541"/>
                      <a:pt x="635" y="4541"/>
                    </a:cubicBezTo>
                    <a:cubicBezTo>
                      <a:pt x="563" y="4440"/>
                      <a:pt x="483" y="4326"/>
                      <a:pt x="405" y="4215"/>
                    </a:cubicBezTo>
                    <a:cubicBezTo>
                      <a:pt x="222" y="3953"/>
                      <a:pt x="45" y="3699"/>
                      <a:pt x="32" y="3677"/>
                    </a:cubicBezTo>
                    <a:cubicBezTo>
                      <a:pt x="34" y="3677"/>
                      <a:pt x="34" y="3677"/>
                      <a:pt x="34" y="3677"/>
                    </a:cubicBezTo>
                    <a:cubicBezTo>
                      <a:pt x="33" y="3673"/>
                      <a:pt x="30" y="3670"/>
                      <a:pt x="26" y="3668"/>
                    </a:cubicBezTo>
                    <a:cubicBezTo>
                      <a:pt x="7" y="3639"/>
                      <a:pt x="7" y="3639"/>
                      <a:pt x="7" y="3639"/>
                    </a:cubicBezTo>
                    <a:cubicBezTo>
                      <a:pt x="7" y="3669"/>
                      <a:pt x="7" y="3669"/>
                      <a:pt x="7" y="3669"/>
                    </a:cubicBezTo>
                    <a:cubicBezTo>
                      <a:pt x="7" y="3670"/>
                      <a:pt x="6" y="3670"/>
                      <a:pt x="6" y="3670"/>
                    </a:cubicBezTo>
                    <a:cubicBezTo>
                      <a:pt x="1" y="3674"/>
                      <a:pt x="0" y="3680"/>
                      <a:pt x="0" y="3684"/>
                    </a:cubicBezTo>
                    <a:cubicBezTo>
                      <a:pt x="1" y="3692"/>
                      <a:pt x="1" y="3690"/>
                      <a:pt x="2" y="3692"/>
                    </a:cubicBezTo>
                    <a:cubicBezTo>
                      <a:pt x="2" y="3693"/>
                      <a:pt x="2" y="3693"/>
                      <a:pt x="3" y="3693"/>
                    </a:cubicBezTo>
                    <a:cubicBezTo>
                      <a:pt x="3" y="3694"/>
                      <a:pt x="4" y="3695"/>
                      <a:pt x="4" y="3697"/>
                    </a:cubicBezTo>
                    <a:cubicBezTo>
                      <a:pt x="5" y="3698"/>
                      <a:pt x="6" y="3700"/>
                      <a:pt x="7" y="3701"/>
                    </a:cubicBezTo>
                    <a:cubicBezTo>
                      <a:pt x="7" y="3705"/>
                      <a:pt x="7" y="3705"/>
                      <a:pt x="7" y="3705"/>
                    </a:cubicBezTo>
                    <a:cubicBezTo>
                      <a:pt x="32" y="3743"/>
                      <a:pt x="32" y="3743"/>
                      <a:pt x="32" y="3743"/>
                    </a:cubicBezTo>
                    <a:cubicBezTo>
                      <a:pt x="33" y="3745"/>
                      <a:pt x="33" y="3745"/>
                      <a:pt x="33" y="3745"/>
                    </a:cubicBezTo>
                    <a:cubicBezTo>
                      <a:pt x="35" y="3748"/>
                      <a:pt x="37" y="3751"/>
                      <a:pt x="39" y="3753"/>
                    </a:cubicBezTo>
                    <a:cubicBezTo>
                      <a:pt x="40" y="3756"/>
                      <a:pt x="40" y="3756"/>
                      <a:pt x="40" y="3756"/>
                    </a:cubicBezTo>
                    <a:cubicBezTo>
                      <a:pt x="40" y="3755"/>
                      <a:pt x="40" y="3755"/>
                      <a:pt x="40" y="3755"/>
                    </a:cubicBezTo>
                    <a:cubicBezTo>
                      <a:pt x="60" y="3783"/>
                      <a:pt x="89" y="3818"/>
                      <a:pt x="119" y="3863"/>
                    </a:cubicBezTo>
                    <a:cubicBezTo>
                      <a:pt x="187" y="3963"/>
                      <a:pt x="279" y="4098"/>
                      <a:pt x="375" y="4235"/>
                    </a:cubicBezTo>
                    <a:cubicBezTo>
                      <a:pt x="452" y="4346"/>
                      <a:pt x="532" y="4458"/>
                      <a:pt x="603" y="4558"/>
                    </a:cubicBezTo>
                    <a:cubicBezTo>
                      <a:pt x="603" y="4558"/>
                      <a:pt x="603" y="4558"/>
                      <a:pt x="602" y="4558"/>
                    </a:cubicBezTo>
                    <a:cubicBezTo>
                      <a:pt x="134" y="4785"/>
                      <a:pt x="134" y="4785"/>
                      <a:pt x="134" y="4785"/>
                    </a:cubicBezTo>
                    <a:cubicBezTo>
                      <a:pt x="7" y="4711"/>
                      <a:pt x="7" y="4711"/>
                      <a:pt x="7" y="4711"/>
                    </a:cubicBezTo>
                    <a:cubicBezTo>
                      <a:pt x="7" y="4741"/>
                      <a:pt x="7" y="4741"/>
                      <a:pt x="7" y="4741"/>
                    </a:cubicBezTo>
                    <a:cubicBezTo>
                      <a:pt x="118" y="4806"/>
                      <a:pt x="118" y="4806"/>
                      <a:pt x="118" y="4806"/>
                    </a:cubicBezTo>
                    <a:cubicBezTo>
                      <a:pt x="86" y="4941"/>
                      <a:pt x="86" y="4941"/>
                      <a:pt x="86" y="4941"/>
                    </a:cubicBezTo>
                    <a:cubicBezTo>
                      <a:pt x="73" y="4965"/>
                      <a:pt x="73" y="4965"/>
                      <a:pt x="73" y="4965"/>
                    </a:cubicBezTo>
                    <a:cubicBezTo>
                      <a:pt x="51" y="4961"/>
                      <a:pt x="28" y="4958"/>
                      <a:pt x="7" y="4957"/>
                    </a:cubicBezTo>
                    <a:cubicBezTo>
                      <a:pt x="7" y="4993"/>
                      <a:pt x="7" y="4993"/>
                      <a:pt x="7" y="4993"/>
                    </a:cubicBezTo>
                    <a:cubicBezTo>
                      <a:pt x="63" y="4997"/>
                      <a:pt x="131" y="5010"/>
                      <a:pt x="163" y="5030"/>
                    </a:cubicBezTo>
                    <a:cubicBezTo>
                      <a:pt x="185" y="5043"/>
                      <a:pt x="228" y="5088"/>
                      <a:pt x="268" y="5137"/>
                    </a:cubicBezTo>
                    <a:cubicBezTo>
                      <a:pt x="308" y="5186"/>
                      <a:pt x="347" y="5239"/>
                      <a:pt x="369" y="5269"/>
                    </a:cubicBezTo>
                    <a:cubicBezTo>
                      <a:pt x="411" y="5329"/>
                      <a:pt x="535" y="5510"/>
                      <a:pt x="579" y="5596"/>
                    </a:cubicBezTo>
                    <a:cubicBezTo>
                      <a:pt x="623" y="5683"/>
                      <a:pt x="632" y="5732"/>
                      <a:pt x="635" y="5778"/>
                    </a:cubicBezTo>
                    <a:cubicBezTo>
                      <a:pt x="635" y="5783"/>
                      <a:pt x="635" y="5793"/>
                      <a:pt x="635" y="5805"/>
                    </a:cubicBezTo>
                    <a:cubicBezTo>
                      <a:pt x="635" y="5892"/>
                      <a:pt x="627" y="6125"/>
                      <a:pt x="612" y="6186"/>
                    </a:cubicBezTo>
                    <a:cubicBezTo>
                      <a:pt x="595" y="6262"/>
                      <a:pt x="572" y="6393"/>
                      <a:pt x="567" y="6424"/>
                    </a:cubicBezTo>
                    <a:cubicBezTo>
                      <a:pt x="566" y="6428"/>
                      <a:pt x="566" y="6432"/>
                      <a:pt x="566" y="6436"/>
                    </a:cubicBezTo>
                    <a:cubicBezTo>
                      <a:pt x="567" y="6475"/>
                      <a:pt x="588" y="6530"/>
                      <a:pt x="616" y="6566"/>
                    </a:cubicBezTo>
                    <a:cubicBezTo>
                      <a:pt x="617" y="6567"/>
                      <a:pt x="617" y="6567"/>
                      <a:pt x="617" y="6567"/>
                    </a:cubicBezTo>
                    <a:cubicBezTo>
                      <a:pt x="617" y="6568"/>
                      <a:pt x="617" y="6568"/>
                      <a:pt x="617" y="6568"/>
                    </a:cubicBezTo>
                    <a:cubicBezTo>
                      <a:pt x="629" y="6579"/>
                      <a:pt x="655" y="6597"/>
                      <a:pt x="693" y="6622"/>
                    </a:cubicBezTo>
                    <a:cubicBezTo>
                      <a:pt x="702" y="6628"/>
                      <a:pt x="702" y="6628"/>
                      <a:pt x="702" y="6628"/>
                    </a:cubicBezTo>
                    <a:cubicBezTo>
                      <a:pt x="737" y="6650"/>
                      <a:pt x="757" y="6665"/>
                      <a:pt x="772" y="6674"/>
                    </a:cubicBezTo>
                    <a:cubicBezTo>
                      <a:pt x="771" y="6674"/>
                      <a:pt x="771" y="6674"/>
                      <a:pt x="771" y="6674"/>
                    </a:cubicBezTo>
                    <a:cubicBezTo>
                      <a:pt x="1097" y="6879"/>
                      <a:pt x="1097" y="6879"/>
                      <a:pt x="1097" y="6879"/>
                    </a:cubicBezTo>
                    <a:cubicBezTo>
                      <a:pt x="1093" y="6883"/>
                      <a:pt x="1089" y="6887"/>
                      <a:pt x="1085" y="6891"/>
                    </a:cubicBezTo>
                    <a:cubicBezTo>
                      <a:pt x="1054" y="6923"/>
                      <a:pt x="1013" y="6966"/>
                      <a:pt x="972" y="7008"/>
                    </a:cubicBezTo>
                    <a:cubicBezTo>
                      <a:pt x="892" y="7090"/>
                      <a:pt x="810" y="7175"/>
                      <a:pt x="804" y="7181"/>
                    </a:cubicBezTo>
                    <a:cubicBezTo>
                      <a:pt x="804" y="7181"/>
                      <a:pt x="804" y="7181"/>
                      <a:pt x="804" y="7181"/>
                    </a:cubicBezTo>
                    <a:cubicBezTo>
                      <a:pt x="802" y="7182"/>
                      <a:pt x="803" y="7182"/>
                      <a:pt x="802" y="7183"/>
                    </a:cubicBezTo>
                    <a:cubicBezTo>
                      <a:pt x="801" y="7184"/>
                      <a:pt x="800" y="7184"/>
                      <a:pt x="799" y="7185"/>
                    </a:cubicBezTo>
                    <a:cubicBezTo>
                      <a:pt x="798" y="7187"/>
                      <a:pt x="795" y="7190"/>
                      <a:pt x="792" y="7193"/>
                    </a:cubicBezTo>
                    <a:cubicBezTo>
                      <a:pt x="786" y="7199"/>
                      <a:pt x="778" y="7208"/>
                      <a:pt x="769" y="7218"/>
                    </a:cubicBezTo>
                    <a:cubicBezTo>
                      <a:pt x="751" y="7239"/>
                      <a:pt x="729" y="7264"/>
                      <a:pt x="713" y="7285"/>
                    </a:cubicBezTo>
                    <a:cubicBezTo>
                      <a:pt x="702" y="7300"/>
                      <a:pt x="694" y="7311"/>
                      <a:pt x="690" y="7323"/>
                    </a:cubicBezTo>
                    <a:cubicBezTo>
                      <a:pt x="680" y="7354"/>
                      <a:pt x="683" y="7371"/>
                      <a:pt x="681" y="7381"/>
                    </a:cubicBezTo>
                    <a:cubicBezTo>
                      <a:pt x="679" y="7392"/>
                      <a:pt x="666" y="7440"/>
                      <a:pt x="652" y="7485"/>
                    </a:cubicBezTo>
                    <a:cubicBezTo>
                      <a:pt x="649" y="7482"/>
                      <a:pt x="646" y="7480"/>
                      <a:pt x="642" y="7477"/>
                    </a:cubicBezTo>
                    <a:cubicBezTo>
                      <a:pt x="625" y="7463"/>
                      <a:pt x="601" y="7445"/>
                      <a:pt x="578" y="7427"/>
                    </a:cubicBezTo>
                    <a:cubicBezTo>
                      <a:pt x="540" y="7398"/>
                      <a:pt x="491" y="7362"/>
                      <a:pt x="474" y="7349"/>
                    </a:cubicBezTo>
                    <a:cubicBezTo>
                      <a:pt x="32" y="6999"/>
                      <a:pt x="32" y="6999"/>
                      <a:pt x="32" y="6999"/>
                    </a:cubicBezTo>
                    <a:cubicBezTo>
                      <a:pt x="35" y="6982"/>
                      <a:pt x="35" y="6982"/>
                      <a:pt x="35" y="6982"/>
                    </a:cubicBezTo>
                    <a:cubicBezTo>
                      <a:pt x="240" y="6462"/>
                      <a:pt x="240" y="6462"/>
                      <a:pt x="240" y="6462"/>
                    </a:cubicBezTo>
                    <a:cubicBezTo>
                      <a:pt x="153" y="6304"/>
                      <a:pt x="153" y="6304"/>
                      <a:pt x="153" y="6304"/>
                    </a:cubicBezTo>
                    <a:cubicBezTo>
                      <a:pt x="268" y="6127"/>
                      <a:pt x="268" y="6127"/>
                      <a:pt x="268" y="6127"/>
                    </a:cubicBezTo>
                    <a:cubicBezTo>
                      <a:pt x="268" y="6123"/>
                      <a:pt x="268" y="6123"/>
                      <a:pt x="268" y="6123"/>
                    </a:cubicBezTo>
                    <a:cubicBezTo>
                      <a:pt x="268" y="6123"/>
                      <a:pt x="268" y="6121"/>
                      <a:pt x="268" y="6118"/>
                    </a:cubicBezTo>
                    <a:cubicBezTo>
                      <a:pt x="268" y="6090"/>
                      <a:pt x="269" y="5961"/>
                      <a:pt x="291" y="5843"/>
                    </a:cubicBezTo>
                    <a:cubicBezTo>
                      <a:pt x="295" y="5821"/>
                      <a:pt x="297" y="5800"/>
                      <a:pt x="297" y="5779"/>
                    </a:cubicBezTo>
                    <a:cubicBezTo>
                      <a:pt x="296" y="5667"/>
                      <a:pt x="245" y="5576"/>
                      <a:pt x="209" y="5529"/>
                    </a:cubicBezTo>
                    <a:cubicBezTo>
                      <a:pt x="188" y="5501"/>
                      <a:pt x="163" y="5480"/>
                      <a:pt x="142" y="5466"/>
                    </a:cubicBezTo>
                    <a:cubicBezTo>
                      <a:pt x="120" y="5451"/>
                      <a:pt x="106" y="5443"/>
                      <a:pt x="92" y="5442"/>
                    </a:cubicBezTo>
                    <a:cubicBezTo>
                      <a:pt x="92" y="5442"/>
                      <a:pt x="92" y="5442"/>
                      <a:pt x="92" y="5442"/>
                    </a:cubicBezTo>
                    <a:cubicBezTo>
                      <a:pt x="91" y="5442"/>
                      <a:pt x="90" y="5442"/>
                      <a:pt x="89" y="5442"/>
                    </a:cubicBezTo>
                    <a:cubicBezTo>
                      <a:pt x="86" y="5441"/>
                      <a:pt x="82" y="5441"/>
                      <a:pt x="78" y="5440"/>
                    </a:cubicBezTo>
                    <a:cubicBezTo>
                      <a:pt x="69" y="5439"/>
                      <a:pt x="57" y="5437"/>
                      <a:pt x="44" y="5435"/>
                    </a:cubicBezTo>
                    <a:cubicBezTo>
                      <a:pt x="33" y="5433"/>
                      <a:pt x="20" y="5431"/>
                      <a:pt x="7" y="5429"/>
                    </a:cubicBezTo>
                    <a:cubicBezTo>
                      <a:pt x="7" y="5455"/>
                      <a:pt x="7" y="5455"/>
                      <a:pt x="7" y="5455"/>
                    </a:cubicBezTo>
                    <a:cubicBezTo>
                      <a:pt x="19" y="5457"/>
                      <a:pt x="30" y="5459"/>
                      <a:pt x="39" y="5461"/>
                    </a:cubicBezTo>
                    <a:cubicBezTo>
                      <a:pt x="68" y="5465"/>
                      <a:pt x="86" y="5468"/>
                      <a:pt x="92" y="5468"/>
                    </a:cubicBezTo>
                    <a:cubicBezTo>
                      <a:pt x="92" y="5468"/>
                      <a:pt x="92" y="5468"/>
                      <a:pt x="92" y="5468"/>
                    </a:cubicBezTo>
                    <a:cubicBezTo>
                      <a:pt x="93" y="5469"/>
                      <a:pt x="93" y="5469"/>
                      <a:pt x="94" y="5469"/>
                    </a:cubicBezTo>
                    <a:cubicBezTo>
                      <a:pt x="96" y="5470"/>
                      <a:pt x="99" y="5471"/>
                      <a:pt x="103" y="5472"/>
                    </a:cubicBezTo>
                    <a:cubicBezTo>
                      <a:pt x="109" y="5476"/>
                      <a:pt x="118" y="5481"/>
                      <a:pt x="127" y="5487"/>
                    </a:cubicBezTo>
                    <a:cubicBezTo>
                      <a:pt x="146" y="5500"/>
                      <a:pt x="169" y="5520"/>
                      <a:pt x="188" y="5545"/>
                    </a:cubicBezTo>
                    <a:cubicBezTo>
                      <a:pt x="222" y="5589"/>
                      <a:pt x="270" y="5675"/>
                      <a:pt x="270" y="5779"/>
                    </a:cubicBezTo>
                    <a:cubicBezTo>
                      <a:pt x="270" y="5798"/>
                      <a:pt x="269" y="5818"/>
                      <a:pt x="265" y="5838"/>
                    </a:cubicBezTo>
                    <a:cubicBezTo>
                      <a:pt x="243" y="5959"/>
                      <a:pt x="242" y="6089"/>
                      <a:pt x="242" y="6118"/>
                    </a:cubicBezTo>
                    <a:cubicBezTo>
                      <a:pt x="242" y="6120"/>
                      <a:pt x="242" y="6120"/>
                      <a:pt x="242" y="6120"/>
                    </a:cubicBezTo>
                    <a:cubicBezTo>
                      <a:pt x="122" y="6303"/>
                      <a:pt x="122" y="6303"/>
                      <a:pt x="122" y="6303"/>
                    </a:cubicBezTo>
                    <a:cubicBezTo>
                      <a:pt x="211" y="6464"/>
                      <a:pt x="211" y="6464"/>
                      <a:pt x="211" y="6464"/>
                    </a:cubicBezTo>
                    <a:cubicBezTo>
                      <a:pt x="15" y="6962"/>
                      <a:pt x="15" y="6962"/>
                      <a:pt x="15" y="6962"/>
                    </a:cubicBezTo>
                    <a:cubicBezTo>
                      <a:pt x="7" y="6970"/>
                      <a:pt x="7" y="6970"/>
                      <a:pt x="7" y="6970"/>
                    </a:cubicBezTo>
                    <a:cubicBezTo>
                      <a:pt x="2" y="6976"/>
                      <a:pt x="2" y="6976"/>
                      <a:pt x="2" y="6976"/>
                    </a:cubicBezTo>
                    <a:cubicBezTo>
                      <a:pt x="0" y="6978"/>
                      <a:pt x="0" y="6978"/>
                      <a:pt x="0" y="6978"/>
                    </a:cubicBezTo>
                    <a:cubicBezTo>
                      <a:pt x="6" y="6986"/>
                      <a:pt x="6" y="6986"/>
                      <a:pt x="6" y="6986"/>
                    </a:cubicBezTo>
                    <a:cubicBezTo>
                      <a:pt x="5" y="6988"/>
                      <a:pt x="5" y="6988"/>
                      <a:pt x="5" y="6988"/>
                    </a:cubicBezTo>
                    <a:cubicBezTo>
                      <a:pt x="5" y="6988"/>
                      <a:pt x="5" y="6988"/>
                      <a:pt x="5" y="6988"/>
                    </a:cubicBezTo>
                    <a:cubicBezTo>
                      <a:pt x="7" y="6989"/>
                      <a:pt x="7" y="6989"/>
                      <a:pt x="7" y="6989"/>
                    </a:cubicBezTo>
                    <a:cubicBezTo>
                      <a:pt x="7" y="7025"/>
                      <a:pt x="7" y="7025"/>
                      <a:pt x="7" y="7025"/>
                    </a:cubicBezTo>
                    <a:cubicBezTo>
                      <a:pt x="470" y="7392"/>
                      <a:pt x="470" y="7392"/>
                      <a:pt x="470" y="7392"/>
                    </a:cubicBezTo>
                    <a:cubicBezTo>
                      <a:pt x="470" y="7393"/>
                      <a:pt x="470" y="7393"/>
                      <a:pt x="470" y="7393"/>
                    </a:cubicBezTo>
                    <a:cubicBezTo>
                      <a:pt x="470" y="7394"/>
                      <a:pt x="560" y="7461"/>
                      <a:pt x="614" y="7503"/>
                    </a:cubicBezTo>
                    <a:cubicBezTo>
                      <a:pt x="625" y="7511"/>
                      <a:pt x="634" y="7518"/>
                      <a:pt x="640" y="7523"/>
                    </a:cubicBezTo>
                    <a:cubicBezTo>
                      <a:pt x="620" y="7582"/>
                      <a:pt x="581" y="7697"/>
                      <a:pt x="542" y="7753"/>
                    </a:cubicBezTo>
                    <a:cubicBezTo>
                      <a:pt x="520" y="7784"/>
                      <a:pt x="401" y="7941"/>
                      <a:pt x="288" y="8090"/>
                    </a:cubicBezTo>
                    <a:cubicBezTo>
                      <a:pt x="268" y="8117"/>
                      <a:pt x="247" y="8144"/>
                      <a:pt x="227" y="8170"/>
                    </a:cubicBezTo>
                    <a:cubicBezTo>
                      <a:pt x="200" y="8147"/>
                      <a:pt x="117" y="8075"/>
                      <a:pt x="7" y="7982"/>
                    </a:cubicBezTo>
                    <a:cubicBezTo>
                      <a:pt x="7" y="8029"/>
                      <a:pt x="7" y="8029"/>
                      <a:pt x="7" y="8029"/>
                    </a:cubicBezTo>
                    <a:cubicBezTo>
                      <a:pt x="108" y="8115"/>
                      <a:pt x="182" y="8179"/>
                      <a:pt x="205" y="8199"/>
                    </a:cubicBezTo>
                    <a:cubicBezTo>
                      <a:pt x="125" y="8303"/>
                      <a:pt x="60" y="8386"/>
                      <a:pt x="60" y="8386"/>
                    </a:cubicBezTo>
                    <a:cubicBezTo>
                      <a:pt x="61" y="8386"/>
                      <a:pt x="61" y="8386"/>
                      <a:pt x="61" y="8386"/>
                    </a:cubicBezTo>
                    <a:cubicBezTo>
                      <a:pt x="7" y="8455"/>
                      <a:pt x="7" y="8455"/>
                      <a:pt x="7" y="8455"/>
                    </a:cubicBezTo>
                    <a:cubicBezTo>
                      <a:pt x="7" y="8514"/>
                      <a:pt x="7" y="8514"/>
                      <a:pt x="7" y="8514"/>
                    </a:cubicBezTo>
                    <a:cubicBezTo>
                      <a:pt x="98" y="8397"/>
                      <a:pt x="98" y="8397"/>
                      <a:pt x="98" y="8397"/>
                    </a:cubicBezTo>
                    <a:cubicBezTo>
                      <a:pt x="98" y="8397"/>
                      <a:pt x="98" y="8397"/>
                      <a:pt x="98" y="8397"/>
                    </a:cubicBezTo>
                    <a:cubicBezTo>
                      <a:pt x="98" y="8397"/>
                      <a:pt x="151" y="8331"/>
                      <a:pt x="227" y="8231"/>
                    </a:cubicBezTo>
                    <a:cubicBezTo>
                      <a:pt x="228" y="8230"/>
                      <a:pt x="230" y="8229"/>
                      <a:pt x="232" y="8229"/>
                    </a:cubicBezTo>
                    <a:cubicBezTo>
                      <a:pt x="232" y="8229"/>
                      <a:pt x="233" y="8229"/>
                      <a:pt x="234" y="8229"/>
                    </a:cubicBezTo>
                    <a:cubicBezTo>
                      <a:pt x="241" y="8230"/>
                      <a:pt x="251" y="8232"/>
                      <a:pt x="265" y="8233"/>
                    </a:cubicBezTo>
                    <a:cubicBezTo>
                      <a:pt x="293" y="8237"/>
                      <a:pt x="335" y="8243"/>
                      <a:pt x="390" y="8251"/>
                    </a:cubicBezTo>
                    <a:cubicBezTo>
                      <a:pt x="504" y="8266"/>
                      <a:pt x="645" y="8300"/>
                      <a:pt x="752" y="8330"/>
                    </a:cubicBezTo>
                    <a:cubicBezTo>
                      <a:pt x="858" y="8359"/>
                      <a:pt x="921" y="8395"/>
                      <a:pt x="1005" y="8438"/>
                    </a:cubicBezTo>
                    <a:cubicBezTo>
                      <a:pt x="1043" y="8458"/>
                      <a:pt x="1102" y="8504"/>
                      <a:pt x="1150" y="8544"/>
                    </a:cubicBezTo>
                    <a:cubicBezTo>
                      <a:pt x="1199" y="8585"/>
                      <a:pt x="1236" y="8620"/>
                      <a:pt x="1236" y="8620"/>
                    </a:cubicBezTo>
                    <a:cubicBezTo>
                      <a:pt x="1241" y="8624"/>
                      <a:pt x="1241" y="8624"/>
                      <a:pt x="1241" y="8624"/>
                    </a:cubicBezTo>
                    <a:cubicBezTo>
                      <a:pt x="1241" y="8624"/>
                      <a:pt x="1241" y="8624"/>
                      <a:pt x="1241" y="8624"/>
                    </a:cubicBezTo>
                    <a:cubicBezTo>
                      <a:pt x="1262" y="8643"/>
                      <a:pt x="1306" y="8682"/>
                      <a:pt x="1354" y="8723"/>
                    </a:cubicBezTo>
                    <a:cubicBezTo>
                      <a:pt x="1422" y="8781"/>
                      <a:pt x="1500" y="8849"/>
                      <a:pt x="1537" y="8885"/>
                    </a:cubicBezTo>
                    <a:cubicBezTo>
                      <a:pt x="1566" y="8913"/>
                      <a:pt x="1636" y="8979"/>
                      <a:pt x="1709" y="9048"/>
                    </a:cubicBezTo>
                    <a:cubicBezTo>
                      <a:pt x="1332" y="9511"/>
                      <a:pt x="1332" y="9511"/>
                      <a:pt x="1332" y="9511"/>
                    </a:cubicBezTo>
                    <a:cubicBezTo>
                      <a:pt x="1325" y="9518"/>
                      <a:pt x="1299" y="9542"/>
                      <a:pt x="1299" y="9581"/>
                    </a:cubicBezTo>
                    <a:cubicBezTo>
                      <a:pt x="1299" y="9610"/>
                      <a:pt x="1314" y="9643"/>
                      <a:pt x="1354" y="9674"/>
                    </a:cubicBezTo>
                    <a:cubicBezTo>
                      <a:pt x="1452" y="9752"/>
                      <a:pt x="1627" y="9835"/>
                      <a:pt x="1688" y="9874"/>
                    </a:cubicBezTo>
                    <a:cubicBezTo>
                      <a:pt x="1752" y="9914"/>
                      <a:pt x="1803" y="9946"/>
                      <a:pt x="1828" y="9995"/>
                    </a:cubicBezTo>
                    <a:cubicBezTo>
                      <a:pt x="1847" y="10035"/>
                      <a:pt x="1858" y="10079"/>
                      <a:pt x="1867" y="10103"/>
                    </a:cubicBezTo>
                    <a:cubicBezTo>
                      <a:pt x="1871" y="10112"/>
                      <a:pt x="1870" y="10118"/>
                      <a:pt x="1883" y="10127"/>
                    </a:cubicBezTo>
                    <a:cubicBezTo>
                      <a:pt x="1894" y="10105"/>
                      <a:pt x="1894" y="10105"/>
                      <a:pt x="1894" y="10105"/>
                    </a:cubicBezTo>
                    <a:cubicBezTo>
                      <a:pt x="1903" y="10097"/>
                      <a:pt x="1903" y="10097"/>
                      <a:pt x="1903" y="10097"/>
                    </a:cubicBezTo>
                    <a:cubicBezTo>
                      <a:pt x="1903" y="10097"/>
                      <a:pt x="1903" y="10097"/>
                      <a:pt x="1903" y="10097"/>
                    </a:cubicBezTo>
                    <a:cubicBezTo>
                      <a:pt x="1903" y="10096"/>
                      <a:pt x="1902" y="10094"/>
                      <a:pt x="1901" y="10091"/>
                    </a:cubicBezTo>
                    <a:cubicBezTo>
                      <a:pt x="1898" y="10084"/>
                      <a:pt x="1895" y="10074"/>
                      <a:pt x="1891" y="10062"/>
                    </a:cubicBezTo>
                    <a:cubicBezTo>
                      <a:pt x="1884" y="10039"/>
                      <a:pt x="1874" y="10008"/>
                      <a:pt x="1860" y="9979"/>
                    </a:cubicBezTo>
                    <a:cubicBezTo>
                      <a:pt x="1829" y="9917"/>
                      <a:pt x="1770" y="9884"/>
                      <a:pt x="1707" y="9844"/>
                    </a:cubicBezTo>
                    <a:cubicBezTo>
                      <a:pt x="1642" y="9802"/>
                      <a:pt x="1470" y="9719"/>
                      <a:pt x="1376" y="9646"/>
                    </a:cubicBezTo>
                    <a:cubicBezTo>
                      <a:pt x="1342" y="9618"/>
                      <a:pt x="1335" y="9597"/>
                      <a:pt x="1335" y="9581"/>
                    </a:cubicBezTo>
                    <a:cubicBezTo>
                      <a:pt x="1335" y="9563"/>
                      <a:pt x="1347" y="9547"/>
                      <a:pt x="1354" y="9541"/>
                    </a:cubicBezTo>
                    <a:cubicBezTo>
                      <a:pt x="1356" y="9539"/>
                      <a:pt x="1356" y="9538"/>
                      <a:pt x="1356" y="9538"/>
                    </a:cubicBezTo>
                    <a:cubicBezTo>
                      <a:pt x="1358" y="9537"/>
                      <a:pt x="1358" y="9537"/>
                      <a:pt x="1358" y="9537"/>
                    </a:cubicBezTo>
                    <a:cubicBezTo>
                      <a:pt x="1735" y="9073"/>
                      <a:pt x="1735" y="9073"/>
                      <a:pt x="1735" y="9073"/>
                    </a:cubicBezTo>
                    <a:cubicBezTo>
                      <a:pt x="1839" y="9171"/>
                      <a:pt x="1942" y="9268"/>
                      <a:pt x="1943" y="9268"/>
                    </a:cubicBezTo>
                    <a:cubicBezTo>
                      <a:pt x="1990" y="9307"/>
                      <a:pt x="2143" y="9461"/>
                      <a:pt x="2239" y="9505"/>
                    </a:cubicBezTo>
                    <a:cubicBezTo>
                      <a:pt x="2290" y="9527"/>
                      <a:pt x="2380" y="9536"/>
                      <a:pt x="2461" y="9542"/>
                    </a:cubicBezTo>
                    <a:cubicBezTo>
                      <a:pt x="2516" y="9545"/>
                      <a:pt x="2564" y="9546"/>
                      <a:pt x="2590" y="9547"/>
                    </a:cubicBezTo>
                    <a:cubicBezTo>
                      <a:pt x="2590" y="9611"/>
                      <a:pt x="2591" y="9675"/>
                      <a:pt x="2591" y="9740"/>
                    </a:cubicBezTo>
                    <a:cubicBezTo>
                      <a:pt x="2595" y="10088"/>
                      <a:pt x="2605" y="10423"/>
                      <a:pt x="2608" y="10534"/>
                    </a:cubicBezTo>
                    <a:cubicBezTo>
                      <a:pt x="2608" y="10534"/>
                      <a:pt x="2607" y="10534"/>
                      <a:pt x="2607" y="10534"/>
                    </a:cubicBezTo>
                    <a:cubicBezTo>
                      <a:pt x="2606" y="10533"/>
                      <a:pt x="2605" y="10560"/>
                      <a:pt x="2605" y="10560"/>
                    </a:cubicBezTo>
                    <a:cubicBezTo>
                      <a:pt x="2605" y="10560"/>
                      <a:pt x="2605" y="10561"/>
                      <a:pt x="2604" y="10561"/>
                    </a:cubicBezTo>
                    <a:cubicBezTo>
                      <a:pt x="2514" y="10573"/>
                      <a:pt x="2435" y="10620"/>
                      <a:pt x="2381" y="10687"/>
                    </a:cubicBezTo>
                    <a:cubicBezTo>
                      <a:pt x="2339" y="10673"/>
                      <a:pt x="2257" y="10648"/>
                      <a:pt x="2138" y="10623"/>
                    </a:cubicBezTo>
                    <a:cubicBezTo>
                      <a:pt x="1963" y="10587"/>
                      <a:pt x="1790" y="10575"/>
                      <a:pt x="1626" y="10543"/>
                    </a:cubicBezTo>
                    <a:cubicBezTo>
                      <a:pt x="1457" y="10510"/>
                      <a:pt x="1224" y="10433"/>
                      <a:pt x="947" y="10328"/>
                    </a:cubicBezTo>
                    <a:cubicBezTo>
                      <a:pt x="868" y="10298"/>
                      <a:pt x="752" y="10226"/>
                      <a:pt x="628" y="10133"/>
                    </a:cubicBezTo>
                    <a:cubicBezTo>
                      <a:pt x="503" y="10041"/>
                      <a:pt x="367" y="9929"/>
                      <a:pt x="240" y="9817"/>
                    </a:cubicBezTo>
                    <a:cubicBezTo>
                      <a:pt x="157" y="9745"/>
                      <a:pt x="78" y="9674"/>
                      <a:pt x="7" y="9608"/>
                    </a:cubicBezTo>
                    <a:cubicBezTo>
                      <a:pt x="7" y="9673"/>
                      <a:pt x="7" y="9673"/>
                      <a:pt x="7" y="9673"/>
                    </a:cubicBezTo>
                    <a:cubicBezTo>
                      <a:pt x="7" y="9764"/>
                      <a:pt x="7" y="9764"/>
                      <a:pt x="7" y="9764"/>
                    </a:cubicBezTo>
                    <a:cubicBezTo>
                      <a:pt x="7" y="9844"/>
                      <a:pt x="7" y="9844"/>
                      <a:pt x="7" y="9844"/>
                    </a:cubicBezTo>
                    <a:cubicBezTo>
                      <a:pt x="21" y="9859"/>
                      <a:pt x="34" y="9872"/>
                      <a:pt x="44" y="9883"/>
                    </a:cubicBezTo>
                    <a:cubicBezTo>
                      <a:pt x="105" y="9943"/>
                      <a:pt x="201" y="10051"/>
                      <a:pt x="302" y="10141"/>
                    </a:cubicBezTo>
                    <a:cubicBezTo>
                      <a:pt x="320" y="10229"/>
                      <a:pt x="361" y="10435"/>
                      <a:pt x="370" y="10589"/>
                    </a:cubicBezTo>
                    <a:cubicBezTo>
                      <a:pt x="375" y="10672"/>
                      <a:pt x="382" y="10745"/>
                      <a:pt x="388" y="10812"/>
                    </a:cubicBezTo>
                    <a:cubicBezTo>
                      <a:pt x="414" y="10812"/>
                      <a:pt x="414" y="10812"/>
                      <a:pt x="414" y="10812"/>
                    </a:cubicBezTo>
                    <a:cubicBezTo>
                      <a:pt x="409" y="10744"/>
                      <a:pt x="401" y="10670"/>
                      <a:pt x="396" y="10587"/>
                    </a:cubicBezTo>
                    <a:cubicBezTo>
                      <a:pt x="388" y="10460"/>
                      <a:pt x="360" y="10298"/>
                      <a:pt x="339" y="10195"/>
                    </a:cubicBezTo>
                    <a:cubicBezTo>
                      <a:pt x="345" y="10179"/>
                      <a:pt x="345" y="10179"/>
                      <a:pt x="345" y="10179"/>
                    </a:cubicBezTo>
                    <a:cubicBezTo>
                      <a:pt x="394" y="10220"/>
                      <a:pt x="442" y="10256"/>
                      <a:pt x="481" y="10285"/>
                    </a:cubicBezTo>
                    <a:cubicBezTo>
                      <a:pt x="528" y="10319"/>
                      <a:pt x="565" y="10344"/>
                      <a:pt x="573" y="10351"/>
                    </a:cubicBezTo>
                    <a:cubicBezTo>
                      <a:pt x="612" y="10381"/>
                      <a:pt x="712" y="10450"/>
                      <a:pt x="827" y="10526"/>
                    </a:cubicBezTo>
                    <a:cubicBezTo>
                      <a:pt x="941" y="10602"/>
                      <a:pt x="1066" y="10682"/>
                      <a:pt x="1151" y="10731"/>
                    </a:cubicBezTo>
                    <a:cubicBezTo>
                      <a:pt x="1199" y="10759"/>
                      <a:pt x="1244" y="10786"/>
                      <a:pt x="1288" y="10812"/>
                    </a:cubicBezTo>
                    <a:cubicBezTo>
                      <a:pt x="1544" y="10812"/>
                      <a:pt x="1544" y="10812"/>
                      <a:pt x="1544" y="10812"/>
                    </a:cubicBezTo>
                    <a:cubicBezTo>
                      <a:pt x="1432" y="10768"/>
                      <a:pt x="1336" y="10705"/>
                      <a:pt x="1208" y="10632"/>
                    </a:cubicBezTo>
                    <a:cubicBezTo>
                      <a:pt x="1128" y="10585"/>
                      <a:pt x="1003" y="10505"/>
                      <a:pt x="890" y="10431"/>
                    </a:cubicBezTo>
                    <a:cubicBezTo>
                      <a:pt x="887" y="10428"/>
                      <a:pt x="883" y="10426"/>
                      <a:pt x="880" y="10424"/>
                    </a:cubicBezTo>
                    <a:cubicBezTo>
                      <a:pt x="889" y="10428"/>
                      <a:pt x="897" y="10432"/>
                      <a:pt x="906" y="10435"/>
                    </a:cubicBezTo>
                    <a:cubicBezTo>
                      <a:pt x="1186" y="10541"/>
                      <a:pt x="1422" y="10620"/>
                      <a:pt x="1604" y="10656"/>
                    </a:cubicBezTo>
                    <a:cubicBezTo>
                      <a:pt x="1777" y="10689"/>
                      <a:pt x="1949" y="10701"/>
                      <a:pt x="2115" y="10736"/>
                    </a:cubicBezTo>
                    <a:cubicBezTo>
                      <a:pt x="2211" y="10755"/>
                      <a:pt x="2282" y="10776"/>
                      <a:pt x="2325" y="10790"/>
                    </a:cubicBezTo>
                    <a:cubicBezTo>
                      <a:pt x="2322" y="10797"/>
                      <a:pt x="2320" y="10804"/>
                      <a:pt x="2318" y="10812"/>
                    </a:cubicBezTo>
                    <a:cubicBezTo>
                      <a:pt x="2446" y="10812"/>
                      <a:pt x="2446" y="10812"/>
                      <a:pt x="2446" y="10812"/>
                    </a:cubicBezTo>
                    <a:cubicBezTo>
                      <a:pt x="2481" y="10733"/>
                      <a:pt x="2559" y="10678"/>
                      <a:pt x="2651" y="10678"/>
                    </a:cubicBezTo>
                    <a:cubicBezTo>
                      <a:pt x="2742" y="10678"/>
                      <a:pt x="2821" y="10733"/>
                      <a:pt x="2856" y="10812"/>
                    </a:cubicBezTo>
                    <a:cubicBezTo>
                      <a:pt x="2983" y="10812"/>
                      <a:pt x="2983" y="10812"/>
                      <a:pt x="2983" y="10812"/>
                    </a:cubicBezTo>
                    <a:cubicBezTo>
                      <a:pt x="2943" y="10665"/>
                      <a:pt x="2810" y="10557"/>
                      <a:pt x="2651" y="10557"/>
                    </a:cubicBezTo>
                    <a:cubicBezTo>
                      <a:pt x="2650" y="10557"/>
                      <a:pt x="2648" y="10558"/>
                      <a:pt x="2647" y="10558"/>
                    </a:cubicBezTo>
                    <a:cubicBezTo>
                      <a:pt x="2645" y="10545"/>
                      <a:pt x="2645" y="10545"/>
                      <a:pt x="2645" y="10545"/>
                    </a:cubicBezTo>
                    <a:cubicBezTo>
                      <a:pt x="2642" y="10466"/>
                      <a:pt x="2634" y="10216"/>
                      <a:pt x="2630" y="9928"/>
                    </a:cubicBezTo>
                    <a:cubicBezTo>
                      <a:pt x="3672" y="9749"/>
                      <a:pt x="3672" y="9749"/>
                      <a:pt x="3672" y="9749"/>
                    </a:cubicBezTo>
                    <a:cubicBezTo>
                      <a:pt x="3820" y="10583"/>
                      <a:pt x="3820" y="10583"/>
                      <a:pt x="3820" y="10583"/>
                    </a:cubicBezTo>
                    <a:cubicBezTo>
                      <a:pt x="4296" y="10636"/>
                      <a:pt x="4296" y="10636"/>
                      <a:pt x="4296" y="10636"/>
                    </a:cubicBezTo>
                    <a:cubicBezTo>
                      <a:pt x="4279" y="10812"/>
                      <a:pt x="4279" y="10812"/>
                      <a:pt x="4279" y="10812"/>
                    </a:cubicBezTo>
                    <a:cubicBezTo>
                      <a:pt x="4305" y="10812"/>
                      <a:pt x="4305" y="10812"/>
                      <a:pt x="4305" y="10812"/>
                    </a:cubicBezTo>
                    <a:cubicBezTo>
                      <a:pt x="4325" y="10613"/>
                      <a:pt x="4325" y="10613"/>
                      <a:pt x="4325" y="10613"/>
                    </a:cubicBezTo>
                    <a:cubicBezTo>
                      <a:pt x="3842" y="10560"/>
                      <a:pt x="3842" y="10560"/>
                      <a:pt x="3842" y="10560"/>
                    </a:cubicBezTo>
                    <a:cubicBezTo>
                      <a:pt x="3698" y="9744"/>
                      <a:pt x="3698" y="9744"/>
                      <a:pt x="3698" y="9744"/>
                    </a:cubicBezTo>
                    <a:cubicBezTo>
                      <a:pt x="3973" y="9697"/>
                      <a:pt x="3973" y="9697"/>
                      <a:pt x="3973" y="9697"/>
                    </a:cubicBezTo>
                    <a:cubicBezTo>
                      <a:pt x="3985" y="9697"/>
                      <a:pt x="3985" y="9697"/>
                      <a:pt x="3985" y="9697"/>
                    </a:cubicBezTo>
                    <a:cubicBezTo>
                      <a:pt x="3996" y="9796"/>
                      <a:pt x="4028" y="9861"/>
                      <a:pt x="4073" y="9904"/>
                    </a:cubicBezTo>
                    <a:cubicBezTo>
                      <a:pt x="4130" y="9957"/>
                      <a:pt x="4204" y="9974"/>
                      <a:pt x="4273" y="9986"/>
                    </a:cubicBezTo>
                    <a:cubicBezTo>
                      <a:pt x="4332" y="9996"/>
                      <a:pt x="4403" y="10000"/>
                      <a:pt x="4475" y="10001"/>
                    </a:cubicBezTo>
                    <a:cubicBezTo>
                      <a:pt x="4478" y="10002"/>
                      <a:pt x="4481" y="10002"/>
                      <a:pt x="4484" y="10002"/>
                    </a:cubicBezTo>
                    <a:cubicBezTo>
                      <a:pt x="4484" y="10001"/>
                      <a:pt x="4484" y="10001"/>
                      <a:pt x="4484" y="10001"/>
                    </a:cubicBezTo>
                    <a:cubicBezTo>
                      <a:pt x="4489" y="10001"/>
                      <a:pt x="4495" y="10001"/>
                      <a:pt x="4500" y="10001"/>
                    </a:cubicBezTo>
                    <a:cubicBezTo>
                      <a:pt x="4592" y="10001"/>
                      <a:pt x="4684" y="9996"/>
                      <a:pt x="4754" y="9994"/>
                    </a:cubicBezTo>
                    <a:cubicBezTo>
                      <a:pt x="4790" y="9993"/>
                      <a:pt x="4823" y="9991"/>
                      <a:pt x="4854" y="9991"/>
                    </a:cubicBezTo>
                    <a:cubicBezTo>
                      <a:pt x="4896" y="9991"/>
                      <a:pt x="4932" y="9995"/>
                      <a:pt x="4960" y="10012"/>
                    </a:cubicBezTo>
                    <a:cubicBezTo>
                      <a:pt x="4989" y="10029"/>
                      <a:pt x="5013" y="10059"/>
                      <a:pt x="5030" y="10116"/>
                    </a:cubicBezTo>
                    <a:cubicBezTo>
                      <a:pt x="5047" y="10171"/>
                      <a:pt x="5053" y="10353"/>
                      <a:pt x="5053" y="10552"/>
                    </a:cubicBezTo>
                    <a:cubicBezTo>
                      <a:pt x="5053" y="10637"/>
                      <a:pt x="5052" y="10726"/>
                      <a:pt x="5051" y="10812"/>
                    </a:cubicBezTo>
                    <a:cubicBezTo>
                      <a:pt x="5087" y="10812"/>
                      <a:pt x="5087" y="10812"/>
                      <a:pt x="5087" y="10812"/>
                    </a:cubicBezTo>
                    <a:cubicBezTo>
                      <a:pt x="5088" y="10726"/>
                      <a:pt x="5089" y="10637"/>
                      <a:pt x="5089" y="10552"/>
                    </a:cubicBezTo>
                    <a:cubicBezTo>
                      <a:pt x="5089" y="10396"/>
                      <a:pt x="5086" y="10254"/>
                      <a:pt x="5076" y="10167"/>
                    </a:cubicBezTo>
                    <a:cubicBezTo>
                      <a:pt x="5108" y="10172"/>
                      <a:pt x="5211" y="10189"/>
                      <a:pt x="5327" y="10208"/>
                    </a:cubicBezTo>
                    <a:cubicBezTo>
                      <a:pt x="5468" y="10232"/>
                      <a:pt x="5630" y="10259"/>
                      <a:pt x="5709" y="10275"/>
                    </a:cubicBezTo>
                    <a:cubicBezTo>
                      <a:pt x="5867" y="10308"/>
                      <a:pt x="6075" y="10361"/>
                      <a:pt x="6185" y="10389"/>
                    </a:cubicBezTo>
                    <a:cubicBezTo>
                      <a:pt x="6292" y="10417"/>
                      <a:pt x="6379" y="10472"/>
                      <a:pt x="6759" y="10508"/>
                    </a:cubicBezTo>
                    <a:cubicBezTo>
                      <a:pt x="6772" y="10510"/>
                      <a:pt x="6785" y="10511"/>
                      <a:pt x="6797" y="10513"/>
                    </a:cubicBezTo>
                    <a:cubicBezTo>
                      <a:pt x="6796" y="10518"/>
                      <a:pt x="6795" y="10525"/>
                      <a:pt x="6794" y="10533"/>
                    </a:cubicBezTo>
                    <a:cubicBezTo>
                      <a:pt x="6790" y="10554"/>
                      <a:pt x="6785" y="10584"/>
                      <a:pt x="6779" y="10620"/>
                    </a:cubicBezTo>
                    <a:cubicBezTo>
                      <a:pt x="6770" y="10674"/>
                      <a:pt x="6758" y="10741"/>
                      <a:pt x="6747" y="10812"/>
                    </a:cubicBezTo>
                    <a:cubicBezTo>
                      <a:pt x="6783" y="10812"/>
                      <a:pt x="6783" y="10812"/>
                      <a:pt x="6783" y="10812"/>
                    </a:cubicBezTo>
                    <a:cubicBezTo>
                      <a:pt x="6806" y="10677"/>
                      <a:pt x="6826" y="10554"/>
                      <a:pt x="6833" y="10518"/>
                    </a:cubicBezTo>
                    <a:cubicBezTo>
                      <a:pt x="7097" y="10560"/>
                      <a:pt x="7392" y="10688"/>
                      <a:pt x="7530" y="10753"/>
                    </a:cubicBezTo>
                    <a:cubicBezTo>
                      <a:pt x="7579" y="10776"/>
                      <a:pt x="7608" y="10791"/>
                      <a:pt x="7609" y="10792"/>
                    </a:cubicBezTo>
                    <a:cubicBezTo>
                      <a:pt x="7628" y="10803"/>
                      <a:pt x="7628" y="10803"/>
                      <a:pt x="7628" y="10803"/>
                    </a:cubicBezTo>
                    <a:cubicBezTo>
                      <a:pt x="7624" y="10812"/>
                      <a:pt x="7624" y="10812"/>
                      <a:pt x="7624" y="10812"/>
                    </a:cubicBezTo>
                    <a:cubicBezTo>
                      <a:pt x="7713" y="10812"/>
                      <a:pt x="7713" y="10812"/>
                      <a:pt x="7713" y="10812"/>
                    </a:cubicBezTo>
                    <a:cubicBezTo>
                      <a:pt x="7677" y="10790"/>
                      <a:pt x="7677" y="10790"/>
                      <a:pt x="7677" y="10790"/>
                    </a:cubicBezTo>
                    <a:cubicBezTo>
                      <a:pt x="8584" y="9144"/>
                      <a:pt x="8584" y="9144"/>
                      <a:pt x="8584" y="9144"/>
                    </a:cubicBezTo>
                    <a:cubicBezTo>
                      <a:pt x="8665" y="9194"/>
                      <a:pt x="9041" y="9421"/>
                      <a:pt x="9184" y="9463"/>
                    </a:cubicBezTo>
                    <a:cubicBezTo>
                      <a:pt x="9340" y="9508"/>
                      <a:pt x="9527" y="9549"/>
                      <a:pt x="9672" y="9609"/>
                    </a:cubicBezTo>
                    <a:cubicBezTo>
                      <a:pt x="9713" y="9627"/>
                      <a:pt x="9765" y="9655"/>
                      <a:pt x="9818" y="9687"/>
                    </a:cubicBezTo>
                    <a:cubicBezTo>
                      <a:pt x="9815" y="9691"/>
                      <a:pt x="9813" y="9695"/>
                      <a:pt x="9809" y="9700"/>
                    </a:cubicBezTo>
                    <a:cubicBezTo>
                      <a:pt x="9801" y="9713"/>
                      <a:pt x="9790" y="9731"/>
                      <a:pt x="9776" y="9754"/>
                    </a:cubicBezTo>
                    <a:cubicBezTo>
                      <a:pt x="9748" y="9799"/>
                      <a:pt x="9710" y="9861"/>
                      <a:pt x="9665" y="9932"/>
                    </a:cubicBezTo>
                    <a:cubicBezTo>
                      <a:pt x="9576" y="10074"/>
                      <a:pt x="9463" y="10247"/>
                      <a:pt x="9366" y="10373"/>
                    </a:cubicBezTo>
                    <a:cubicBezTo>
                      <a:pt x="9203" y="10588"/>
                      <a:pt x="9187" y="10707"/>
                      <a:pt x="9187" y="10745"/>
                    </a:cubicBezTo>
                    <a:cubicBezTo>
                      <a:pt x="9187" y="10751"/>
                      <a:pt x="9187" y="10756"/>
                      <a:pt x="9187" y="10758"/>
                    </a:cubicBezTo>
                    <a:cubicBezTo>
                      <a:pt x="9190" y="10812"/>
                      <a:pt x="9190" y="10812"/>
                      <a:pt x="9190" y="10812"/>
                    </a:cubicBezTo>
                    <a:cubicBezTo>
                      <a:pt x="9227" y="10812"/>
                      <a:pt x="9227" y="10812"/>
                      <a:pt x="9227" y="10812"/>
                    </a:cubicBezTo>
                    <a:cubicBezTo>
                      <a:pt x="9223" y="10754"/>
                      <a:pt x="9223" y="10754"/>
                      <a:pt x="9223" y="10754"/>
                    </a:cubicBezTo>
                    <a:cubicBezTo>
                      <a:pt x="9223" y="10752"/>
                      <a:pt x="9223" y="10752"/>
                      <a:pt x="9223" y="10752"/>
                    </a:cubicBezTo>
                    <a:cubicBezTo>
                      <a:pt x="9223" y="10752"/>
                      <a:pt x="9223" y="10752"/>
                      <a:pt x="9223" y="10751"/>
                    </a:cubicBezTo>
                    <a:cubicBezTo>
                      <a:pt x="9223" y="10750"/>
                      <a:pt x="9223" y="10748"/>
                      <a:pt x="9223" y="10745"/>
                    </a:cubicBezTo>
                    <a:cubicBezTo>
                      <a:pt x="9223" y="10717"/>
                      <a:pt x="9235" y="10606"/>
                      <a:pt x="9395" y="10395"/>
                    </a:cubicBezTo>
                    <a:cubicBezTo>
                      <a:pt x="9538" y="10207"/>
                      <a:pt x="9715" y="9922"/>
                      <a:pt x="9801" y="9782"/>
                    </a:cubicBezTo>
                    <a:cubicBezTo>
                      <a:pt x="9824" y="9745"/>
                      <a:pt x="9842" y="9716"/>
                      <a:pt x="9848" y="9706"/>
                    </a:cubicBezTo>
                    <a:cubicBezTo>
                      <a:pt x="9876" y="9724"/>
                      <a:pt x="9903" y="9742"/>
                      <a:pt x="9929" y="9761"/>
                    </a:cubicBezTo>
                    <a:cubicBezTo>
                      <a:pt x="10016" y="9822"/>
                      <a:pt x="10092" y="9885"/>
                      <a:pt x="10113" y="9914"/>
                    </a:cubicBezTo>
                    <a:cubicBezTo>
                      <a:pt x="10122" y="9925"/>
                      <a:pt x="10139" y="9966"/>
                      <a:pt x="10157" y="10022"/>
                    </a:cubicBezTo>
                    <a:cubicBezTo>
                      <a:pt x="10175" y="10078"/>
                      <a:pt x="10195" y="10150"/>
                      <a:pt x="10216" y="10229"/>
                    </a:cubicBezTo>
                    <a:cubicBezTo>
                      <a:pt x="10258" y="10387"/>
                      <a:pt x="10302" y="10574"/>
                      <a:pt x="10334" y="10719"/>
                    </a:cubicBezTo>
                    <a:cubicBezTo>
                      <a:pt x="10342" y="10752"/>
                      <a:pt x="10345" y="10783"/>
                      <a:pt x="10346" y="10812"/>
                    </a:cubicBezTo>
                    <a:cubicBezTo>
                      <a:pt x="10382" y="10812"/>
                      <a:pt x="10382" y="10812"/>
                      <a:pt x="10382" y="10812"/>
                    </a:cubicBezTo>
                    <a:cubicBezTo>
                      <a:pt x="10381" y="10780"/>
                      <a:pt x="10378" y="10747"/>
                      <a:pt x="10370" y="10711"/>
                    </a:cubicBezTo>
                    <a:cubicBezTo>
                      <a:pt x="10320" y="10493"/>
                      <a:pt x="10246" y="10182"/>
                      <a:pt x="10191" y="10011"/>
                    </a:cubicBezTo>
                    <a:cubicBezTo>
                      <a:pt x="10183" y="9986"/>
                      <a:pt x="10175" y="9964"/>
                      <a:pt x="10168" y="9946"/>
                    </a:cubicBezTo>
                    <a:cubicBezTo>
                      <a:pt x="10193" y="9926"/>
                      <a:pt x="10349" y="9804"/>
                      <a:pt x="10543" y="9652"/>
                    </a:cubicBezTo>
                    <a:cubicBezTo>
                      <a:pt x="10754" y="9487"/>
                      <a:pt x="11009" y="9288"/>
                      <a:pt x="11183" y="9153"/>
                    </a:cubicBezTo>
                    <a:cubicBezTo>
                      <a:pt x="11275" y="9081"/>
                      <a:pt x="11345" y="9027"/>
                      <a:pt x="11373" y="9006"/>
                    </a:cubicBezTo>
                    <a:cubicBezTo>
                      <a:pt x="11556" y="9150"/>
                      <a:pt x="11651" y="9291"/>
                      <a:pt x="11688" y="9356"/>
                    </a:cubicBezTo>
                    <a:cubicBezTo>
                      <a:pt x="11701" y="9379"/>
                      <a:pt x="11707" y="9392"/>
                      <a:pt x="11706" y="9392"/>
                    </a:cubicBezTo>
                    <a:cubicBezTo>
                      <a:pt x="12119" y="10354"/>
                      <a:pt x="12119" y="10354"/>
                      <a:pt x="12119" y="10354"/>
                    </a:cubicBezTo>
                    <a:cubicBezTo>
                      <a:pt x="11800" y="10812"/>
                      <a:pt x="11800" y="10812"/>
                      <a:pt x="11800" y="10812"/>
                    </a:cubicBezTo>
                    <a:cubicBezTo>
                      <a:pt x="11844" y="10812"/>
                      <a:pt x="11844" y="10812"/>
                      <a:pt x="11844" y="10812"/>
                    </a:cubicBezTo>
                    <a:cubicBezTo>
                      <a:pt x="12137" y="10392"/>
                      <a:pt x="12137" y="10392"/>
                      <a:pt x="12137" y="10392"/>
                    </a:cubicBezTo>
                    <a:cubicBezTo>
                      <a:pt x="12886" y="10812"/>
                      <a:pt x="12886" y="10812"/>
                      <a:pt x="12886" y="10812"/>
                    </a:cubicBezTo>
                    <a:cubicBezTo>
                      <a:pt x="12960" y="10812"/>
                      <a:pt x="12960" y="10812"/>
                      <a:pt x="12960" y="10812"/>
                    </a:cubicBezTo>
                    <a:cubicBezTo>
                      <a:pt x="12143" y="10354"/>
                      <a:pt x="12143" y="10354"/>
                      <a:pt x="12143" y="10354"/>
                    </a:cubicBezTo>
                    <a:cubicBezTo>
                      <a:pt x="12156" y="10349"/>
                      <a:pt x="12156" y="10349"/>
                      <a:pt x="12156" y="10349"/>
                    </a:cubicBezTo>
                    <a:cubicBezTo>
                      <a:pt x="11810" y="9542"/>
                      <a:pt x="11810" y="9542"/>
                      <a:pt x="11810" y="9542"/>
                    </a:cubicBezTo>
                    <a:cubicBezTo>
                      <a:pt x="11860" y="9523"/>
                      <a:pt x="12236" y="9380"/>
                      <a:pt x="12354" y="9321"/>
                    </a:cubicBezTo>
                    <a:cubicBezTo>
                      <a:pt x="12411" y="9292"/>
                      <a:pt x="12449" y="9274"/>
                      <a:pt x="12475" y="9244"/>
                    </a:cubicBezTo>
                    <a:cubicBezTo>
                      <a:pt x="12501" y="9214"/>
                      <a:pt x="12509" y="9175"/>
                      <a:pt x="12509" y="9117"/>
                    </a:cubicBezTo>
                    <a:cubicBezTo>
                      <a:pt x="12509" y="9108"/>
                      <a:pt x="12509" y="9099"/>
                      <a:pt x="12509" y="9090"/>
                    </a:cubicBezTo>
                    <a:cubicBezTo>
                      <a:pt x="12509" y="9088"/>
                      <a:pt x="12509" y="9086"/>
                      <a:pt x="12509" y="9084"/>
                    </a:cubicBezTo>
                    <a:cubicBezTo>
                      <a:pt x="12508" y="8994"/>
                      <a:pt x="12578" y="8957"/>
                      <a:pt x="12615" y="8943"/>
                    </a:cubicBezTo>
                    <a:cubicBezTo>
                      <a:pt x="12624" y="8940"/>
                      <a:pt x="12630" y="8938"/>
                      <a:pt x="12633" y="8937"/>
                    </a:cubicBezTo>
                    <a:cubicBezTo>
                      <a:pt x="13641" y="8904"/>
                      <a:pt x="13641" y="8904"/>
                      <a:pt x="13641" y="8904"/>
                    </a:cubicBezTo>
                    <a:cubicBezTo>
                      <a:pt x="13656" y="8907"/>
                      <a:pt x="13656" y="8907"/>
                      <a:pt x="13656" y="8907"/>
                    </a:cubicBezTo>
                    <a:cubicBezTo>
                      <a:pt x="13658" y="8925"/>
                      <a:pt x="13660" y="8948"/>
                      <a:pt x="13662" y="8976"/>
                    </a:cubicBezTo>
                    <a:cubicBezTo>
                      <a:pt x="13667" y="9044"/>
                      <a:pt x="13676" y="9136"/>
                      <a:pt x="13685" y="9244"/>
                    </a:cubicBezTo>
                    <a:cubicBezTo>
                      <a:pt x="13705" y="9460"/>
                      <a:pt x="13731" y="9741"/>
                      <a:pt x="13757" y="10019"/>
                    </a:cubicBezTo>
                    <a:cubicBezTo>
                      <a:pt x="13784" y="10312"/>
                      <a:pt x="13812" y="10603"/>
                      <a:pt x="13831" y="10812"/>
                    </a:cubicBezTo>
                    <a:cubicBezTo>
                      <a:pt x="13947" y="10812"/>
                      <a:pt x="13947" y="10812"/>
                      <a:pt x="13947" y="10812"/>
                    </a:cubicBezTo>
                    <a:cubicBezTo>
                      <a:pt x="13932" y="10651"/>
                      <a:pt x="13912" y="10440"/>
                      <a:pt x="13890" y="10215"/>
                    </a:cubicBezTo>
                    <a:cubicBezTo>
                      <a:pt x="13854" y="9831"/>
                      <a:pt x="13815" y="9410"/>
                      <a:pt x="13791" y="9137"/>
                    </a:cubicBezTo>
                    <a:cubicBezTo>
                      <a:pt x="13803" y="9134"/>
                      <a:pt x="13803" y="9134"/>
                      <a:pt x="13803" y="9134"/>
                    </a:cubicBezTo>
                    <a:cubicBezTo>
                      <a:pt x="13851" y="9133"/>
                      <a:pt x="14003" y="9130"/>
                      <a:pt x="14213" y="9127"/>
                    </a:cubicBezTo>
                    <a:cubicBezTo>
                      <a:pt x="14303" y="9126"/>
                      <a:pt x="14405" y="9124"/>
                      <a:pt x="14513" y="9123"/>
                    </a:cubicBezTo>
                    <a:cubicBezTo>
                      <a:pt x="14544" y="9251"/>
                      <a:pt x="14687" y="9852"/>
                      <a:pt x="14818" y="10346"/>
                    </a:cubicBezTo>
                    <a:cubicBezTo>
                      <a:pt x="14853" y="10478"/>
                      <a:pt x="14898" y="10645"/>
                      <a:pt x="14944" y="10812"/>
                    </a:cubicBezTo>
                    <a:cubicBezTo>
                      <a:pt x="14982" y="10812"/>
                      <a:pt x="14982" y="10812"/>
                      <a:pt x="14982" y="10812"/>
                    </a:cubicBezTo>
                    <a:cubicBezTo>
                      <a:pt x="14935" y="10642"/>
                      <a:pt x="14888" y="10471"/>
                      <a:pt x="14853" y="10337"/>
                    </a:cubicBezTo>
                    <a:cubicBezTo>
                      <a:pt x="14779" y="10059"/>
                      <a:pt x="14701" y="9747"/>
                      <a:pt x="14642" y="9504"/>
                    </a:cubicBezTo>
                    <a:cubicBezTo>
                      <a:pt x="14598" y="9324"/>
                      <a:pt x="14565" y="9183"/>
                      <a:pt x="14550" y="9122"/>
                    </a:cubicBezTo>
                    <a:cubicBezTo>
                      <a:pt x="14741" y="9119"/>
                      <a:pt x="14952" y="9116"/>
                      <a:pt x="15166" y="9113"/>
                    </a:cubicBezTo>
                    <a:cubicBezTo>
                      <a:pt x="15867" y="9102"/>
                      <a:pt x="16590" y="9091"/>
                      <a:pt x="16680" y="9091"/>
                    </a:cubicBezTo>
                    <a:cubicBezTo>
                      <a:pt x="16682" y="9091"/>
                      <a:pt x="16684" y="9091"/>
                      <a:pt x="16685" y="9091"/>
                    </a:cubicBezTo>
                    <a:cubicBezTo>
                      <a:pt x="16686" y="9091"/>
                      <a:pt x="16686" y="9091"/>
                      <a:pt x="16686" y="9091"/>
                    </a:cubicBezTo>
                    <a:cubicBezTo>
                      <a:pt x="16688" y="9092"/>
                      <a:pt x="16688" y="9092"/>
                      <a:pt x="16689" y="9092"/>
                    </a:cubicBezTo>
                    <a:cubicBezTo>
                      <a:pt x="16690" y="9092"/>
                      <a:pt x="16691" y="9092"/>
                      <a:pt x="16692" y="9092"/>
                    </a:cubicBezTo>
                    <a:cubicBezTo>
                      <a:pt x="16696" y="9092"/>
                      <a:pt x="16702" y="9091"/>
                      <a:pt x="16711" y="9091"/>
                    </a:cubicBezTo>
                    <a:cubicBezTo>
                      <a:pt x="16799" y="9091"/>
                      <a:pt x="17144" y="9101"/>
                      <a:pt x="17476" y="9327"/>
                    </a:cubicBezTo>
                    <a:cubicBezTo>
                      <a:pt x="17686" y="9469"/>
                      <a:pt x="17851" y="9599"/>
                      <a:pt x="18008" y="9720"/>
                    </a:cubicBezTo>
                    <a:cubicBezTo>
                      <a:pt x="18009" y="9720"/>
                      <a:pt x="18010" y="9721"/>
                      <a:pt x="18011" y="9722"/>
                    </a:cubicBezTo>
                    <a:cubicBezTo>
                      <a:pt x="18011" y="9677"/>
                      <a:pt x="18011" y="9677"/>
                      <a:pt x="18011" y="9677"/>
                    </a:cubicBezTo>
                    <a:cubicBezTo>
                      <a:pt x="18010" y="9676"/>
                      <a:pt x="18009" y="9675"/>
                      <a:pt x="18008" y="9674"/>
                    </a:cubicBezTo>
                    <a:cubicBezTo>
                      <a:pt x="17858" y="9558"/>
                      <a:pt x="17697" y="9433"/>
                      <a:pt x="17497" y="9297"/>
                    </a:cubicBezTo>
                    <a:cubicBezTo>
                      <a:pt x="17365" y="9208"/>
                      <a:pt x="17231" y="9152"/>
                      <a:pt x="17112" y="9116"/>
                    </a:cubicBezTo>
                    <a:cubicBezTo>
                      <a:pt x="17144" y="9063"/>
                      <a:pt x="17308" y="8772"/>
                      <a:pt x="17308" y="8363"/>
                    </a:cubicBezTo>
                    <a:cubicBezTo>
                      <a:pt x="17308" y="8222"/>
                      <a:pt x="17288" y="8066"/>
                      <a:pt x="17236" y="7902"/>
                    </a:cubicBezTo>
                    <a:cubicBezTo>
                      <a:pt x="17229" y="7868"/>
                      <a:pt x="17083" y="7132"/>
                      <a:pt x="16502" y="6560"/>
                    </a:cubicBezTo>
                    <a:cubicBezTo>
                      <a:pt x="16130" y="6193"/>
                      <a:pt x="15667" y="6053"/>
                      <a:pt x="15476" y="6007"/>
                    </a:cubicBezTo>
                    <a:cubicBezTo>
                      <a:pt x="15477" y="6004"/>
                      <a:pt x="15477" y="6003"/>
                      <a:pt x="15477" y="6000"/>
                    </a:cubicBezTo>
                    <a:cubicBezTo>
                      <a:pt x="15527" y="5723"/>
                      <a:pt x="15683" y="5396"/>
                      <a:pt x="16223" y="5246"/>
                    </a:cubicBezTo>
                    <a:cubicBezTo>
                      <a:pt x="16630" y="5134"/>
                      <a:pt x="17137" y="5104"/>
                      <a:pt x="17399" y="5088"/>
                    </a:cubicBezTo>
                    <a:cubicBezTo>
                      <a:pt x="17487" y="5082"/>
                      <a:pt x="17545" y="5079"/>
                      <a:pt x="17569" y="5073"/>
                    </a:cubicBezTo>
                    <a:cubicBezTo>
                      <a:pt x="17622" y="5060"/>
                      <a:pt x="17799" y="5006"/>
                      <a:pt x="18008" y="4891"/>
                    </a:cubicBezTo>
                    <a:cubicBezTo>
                      <a:pt x="18009" y="4890"/>
                      <a:pt x="18010" y="4890"/>
                      <a:pt x="18011" y="4889"/>
                    </a:cubicBezTo>
                    <a:cubicBezTo>
                      <a:pt x="18011" y="4848"/>
                      <a:pt x="18011" y="4848"/>
                      <a:pt x="18011" y="4848"/>
                    </a:cubicBezTo>
                    <a:cubicBezTo>
                      <a:pt x="18010" y="4848"/>
                      <a:pt x="18009" y="4849"/>
                      <a:pt x="18008" y="4850"/>
                    </a:cubicBezTo>
                    <a:cubicBezTo>
                      <a:pt x="17795" y="4970"/>
                      <a:pt x="17612" y="5026"/>
                      <a:pt x="17560" y="5038"/>
                    </a:cubicBezTo>
                    <a:cubicBezTo>
                      <a:pt x="17545" y="5042"/>
                      <a:pt x="17484" y="5047"/>
                      <a:pt x="17397" y="5052"/>
                    </a:cubicBezTo>
                    <a:cubicBezTo>
                      <a:pt x="17310" y="5057"/>
                      <a:pt x="17195" y="5064"/>
                      <a:pt x="17065" y="5075"/>
                    </a:cubicBezTo>
                    <a:cubicBezTo>
                      <a:pt x="16806" y="5097"/>
                      <a:pt x="16488" y="5136"/>
                      <a:pt x="16213" y="5212"/>
                    </a:cubicBezTo>
                    <a:cubicBezTo>
                      <a:pt x="15661" y="5363"/>
                      <a:pt x="15491" y="5709"/>
                      <a:pt x="15442" y="5994"/>
                    </a:cubicBezTo>
                    <a:cubicBezTo>
                      <a:pt x="15442" y="5996"/>
                      <a:pt x="15441" y="5997"/>
                      <a:pt x="15441" y="5998"/>
                    </a:cubicBezTo>
                    <a:cubicBezTo>
                      <a:pt x="15422" y="5994"/>
                      <a:pt x="15407" y="5991"/>
                      <a:pt x="15398" y="5989"/>
                    </a:cubicBezTo>
                    <a:cubicBezTo>
                      <a:pt x="14206" y="5755"/>
                      <a:pt x="14206" y="5755"/>
                      <a:pt x="14206" y="5755"/>
                    </a:cubicBezTo>
                    <a:cubicBezTo>
                      <a:pt x="14200" y="5752"/>
                      <a:pt x="14192" y="5749"/>
                      <a:pt x="14186" y="5746"/>
                    </a:cubicBezTo>
                    <a:cubicBezTo>
                      <a:pt x="14212" y="5587"/>
                      <a:pt x="14236" y="5441"/>
                      <a:pt x="14256" y="5318"/>
                    </a:cubicBezTo>
                    <a:cubicBezTo>
                      <a:pt x="14289" y="5123"/>
                      <a:pt x="14312" y="4983"/>
                      <a:pt x="14321" y="4929"/>
                    </a:cubicBezTo>
                    <a:cubicBezTo>
                      <a:pt x="14374" y="4891"/>
                      <a:pt x="14519" y="4780"/>
                      <a:pt x="14625" y="4635"/>
                    </a:cubicBezTo>
                    <a:cubicBezTo>
                      <a:pt x="14739" y="4477"/>
                      <a:pt x="14808" y="4297"/>
                      <a:pt x="14823" y="4257"/>
                    </a:cubicBezTo>
                    <a:cubicBezTo>
                      <a:pt x="15130" y="3836"/>
                      <a:pt x="15130" y="3836"/>
                      <a:pt x="15130" y="3836"/>
                    </a:cubicBezTo>
                    <a:cubicBezTo>
                      <a:pt x="15317" y="3879"/>
                      <a:pt x="15767" y="3983"/>
                      <a:pt x="16050" y="4040"/>
                    </a:cubicBezTo>
                    <a:cubicBezTo>
                      <a:pt x="16228" y="4076"/>
                      <a:pt x="16770" y="4214"/>
                      <a:pt x="17266" y="4342"/>
                    </a:cubicBezTo>
                    <a:cubicBezTo>
                      <a:pt x="17556" y="4417"/>
                      <a:pt x="17830" y="4488"/>
                      <a:pt x="18008" y="4535"/>
                    </a:cubicBezTo>
                    <a:cubicBezTo>
                      <a:pt x="18009" y="4536"/>
                      <a:pt x="18010" y="4536"/>
                      <a:pt x="18011" y="4536"/>
                    </a:cubicBezTo>
                    <a:cubicBezTo>
                      <a:pt x="18011" y="4417"/>
                      <a:pt x="18011" y="4417"/>
                      <a:pt x="18011" y="4417"/>
                    </a:cubicBezTo>
                    <a:cubicBezTo>
                      <a:pt x="18010" y="4417"/>
                      <a:pt x="18009" y="4417"/>
                      <a:pt x="18008" y="4417"/>
                    </a:cubicBezTo>
                    <a:cubicBezTo>
                      <a:pt x="17508" y="4285"/>
                      <a:pt x="16358" y="3986"/>
                      <a:pt x="16073" y="3928"/>
                    </a:cubicBezTo>
                    <a:cubicBezTo>
                      <a:pt x="15893" y="3891"/>
                      <a:pt x="15642" y="3835"/>
                      <a:pt x="15436" y="3788"/>
                    </a:cubicBezTo>
                    <a:cubicBezTo>
                      <a:pt x="15256" y="3747"/>
                      <a:pt x="15111" y="3713"/>
                      <a:pt x="15078" y="3706"/>
                    </a:cubicBezTo>
                    <a:cubicBezTo>
                      <a:pt x="15075" y="3704"/>
                      <a:pt x="15070" y="3701"/>
                      <a:pt x="15064" y="3697"/>
                    </a:cubicBezTo>
                    <a:cubicBezTo>
                      <a:pt x="15050" y="3687"/>
                      <a:pt x="15027" y="3670"/>
                      <a:pt x="14995" y="3640"/>
                    </a:cubicBezTo>
                    <a:cubicBezTo>
                      <a:pt x="14983" y="3630"/>
                      <a:pt x="14943" y="3587"/>
                      <a:pt x="14896" y="3532"/>
                    </a:cubicBezTo>
                    <a:cubicBezTo>
                      <a:pt x="14849" y="3478"/>
                      <a:pt x="14792" y="3410"/>
                      <a:pt x="14737" y="3345"/>
                    </a:cubicBezTo>
                    <a:cubicBezTo>
                      <a:pt x="14638" y="3228"/>
                      <a:pt x="14547" y="3118"/>
                      <a:pt x="14528" y="3095"/>
                    </a:cubicBezTo>
                    <a:cubicBezTo>
                      <a:pt x="14510" y="3061"/>
                      <a:pt x="14429" y="2916"/>
                      <a:pt x="14280" y="2820"/>
                    </a:cubicBezTo>
                    <a:cubicBezTo>
                      <a:pt x="14196" y="2768"/>
                      <a:pt x="14104" y="2739"/>
                      <a:pt x="14019" y="2718"/>
                    </a:cubicBezTo>
                    <a:cubicBezTo>
                      <a:pt x="13934" y="2697"/>
                      <a:pt x="13856" y="2683"/>
                      <a:pt x="13804" y="2665"/>
                    </a:cubicBezTo>
                    <a:cubicBezTo>
                      <a:pt x="13757" y="2649"/>
                      <a:pt x="13675" y="2602"/>
                      <a:pt x="13603" y="2545"/>
                    </a:cubicBezTo>
                    <a:cubicBezTo>
                      <a:pt x="13540" y="2496"/>
                      <a:pt x="13483" y="2439"/>
                      <a:pt x="13452" y="2393"/>
                    </a:cubicBezTo>
                    <a:cubicBezTo>
                      <a:pt x="13456" y="2380"/>
                      <a:pt x="13459" y="2363"/>
                      <a:pt x="13462" y="2343"/>
                    </a:cubicBezTo>
                    <a:cubicBezTo>
                      <a:pt x="13469" y="2302"/>
                      <a:pt x="13475" y="2246"/>
                      <a:pt x="13475" y="2186"/>
                    </a:cubicBezTo>
                    <a:cubicBezTo>
                      <a:pt x="13475" y="2150"/>
                      <a:pt x="13472" y="2112"/>
                      <a:pt x="13466" y="2075"/>
                    </a:cubicBezTo>
                    <a:cubicBezTo>
                      <a:pt x="13573" y="2049"/>
                      <a:pt x="13852" y="1981"/>
                      <a:pt x="14024" y="1941"/>
                    </a:cubicBezTo>
                    <a:cubicBezTo>
                      <a:pt x="14094" y="1924"/>
                      <a:pt x="14149" y="1911"/>
                      <a:pt x="14161" y="1909"/>
                    </a:cubicBezTo>
                    <a:cubicBezTo>
                      <a:pt x="14166" y="1909"/>
                      <a:pt x="14168" y="1908"/>
                      <a:pt x="14171" y="1908"/>
                    </a:cubicBezTo>
                    <a:cubicBezTo>
                      <a:pt x="14175" y="1907"/>
                      <a:pt x="14179" y="1906"/>
                      <a:pt x="14183" y="1905"/>
                    </a:cubicBezTo>
                    <a:cubicBezTo>
                      <a:pt x="14192" y="1902"/>
                      <a:pt x="14204" y="1899"/>
                      <a:pt x="14217" y="1895"/>
                    </a:cubicBezTo>
                    <a:cubicBezTo>
                      <a:pt x="14244" y="1887"/>
                      <a:pt x="14281" y="1876"/>
                      <a:pt x="14325" y="1862"/>
                    </a:cubicBezTo>
                    <a:cubicBezTo>
                      <a:pt x="14413" y="1834"/>
                      <a:pt x="14529" y="1794"/>
                      <a:pt x="14653" y="1749"/>
                    </a:cubicBezTo>
                    <a:cubicBezTo>
                      <a:pt x="14750" y="1714"/>
                      <a:pt x="14897" y="1641"/>
                      <a:pt x="15048" y="1562"/>
                    </a:cubicBezTo>
                    <a:cubicBezTo>
                      <a:pt x="15200" y="1482"/>
                      <a:pt x="15354" y="1396"/>
                      <a:pt x="15460" y="1337"/>
                    </a:cubicBezTo>
                    <a:cubicBezTo>
                      <a:pt x="15530" y="1298"/>
                      <a:pt x="15580" y="1269"/>
                      <a:pt x="15588" y="1265"/>
                    </a:cubicBezTo>
                    <a:cubicBezTo>
                      <a:pt x="15588" y="1265"/>
                      <a:pt x="15588" y="1265"/>
                      <a:pt x="15588" y="1265"/>
                    </a:cubicBezTo>
                    <a:cubicBezTo>
                      <a:pt x="15613" y="1254"/>
                      <a:pt x="15714" y="1211"/>
                      <a:pt x="15738" y="1201"/>
                    </a:cubicBezTo>
                    <a:lnTo>
                      <a:pt x="17155" y="911"/>
                    </a:lnTo>
                    <a:close/>
                    <a:moveTo>
                      <a:pt x="8439" y="883"/>
                    </a:moveTo>
                    <a:cubicBezTo>
                      <a:pt x="8516" y="865"/>
                      <a:pt x="8588" y="823"/>
                      <a:pt x="8648" y="783"/>
                    </a:cubicBezTo>
                    <a:cubicBezTo>
                      <a:pt x="8691" y="754"/>
                      <a:pt x="8727" y="726"/>
                      <a:pt x="8752" y="705"/>
                    </a:cubicBezTo>
                    <a:cubicBezTo>
                      <a:pt x="8818" y="763"/>
                      <a:pt x="8896" y="812"/>
                      <a:pt x="8977" y="848"/>
                    </a:cubicBezTo>
                    <a:cubicBezTo>
                      <a:pt x="9139" y="918"/>
                      <a:pt x="9746" y="1193"/>
                      <a:pt x="10254" y="1360"/>
                    </a:cubicBezTo>
                    <a:cubicBezTo>
                      <a:pt x="10717" y="1512"/>
                      <a:pt x="11127" y="1587"/>
                      <a:pt x="11197" y="1600"/>
                    </a:cubicBezTo>
                    <a:cubicBezTo>
                      <a:pt x="11198" y="1603"/>
                      <a:pt x="11198" y="1608"/>
                      <a:pt x="11198" y="1612"/>
                    </a:cubicBezTo>
                    <a:cubicBezTo>
                      <a:pt x="11198" y="1618"/>
                      <a:pt x="11197" y="1624"/>
                      <a:pt x="11196" y="1632"/>
                    </a:cubicBezTo>
                    <a:cubicBezTo>
                      <a:pt x="11196" y="1632"/>
                      <a:pt x="11196" y="1632"/>
                      <a:pt x="11196" y="1632"/>
                    </a:cubicBezTo>
                    <a:cubicBezTo>
                      <a:pt x="11196" y="1632"/>
                      <a:pt x="11197" y="1632"/>
                      <a:pt x="11196" y="1632"/>
                    </a:cubicBezTo>
                    <a:cubicBezTo>
                      <a:pt x="11189" y="1720"/>
                      <a:pt x="11161" y="1890"/>
                      <a:pt x="11061" y="1994"/>
                    </a:cubicBezTo>
                    <a:cubicBezTo>
                      <a:pt x="10988" y="2071"/>
                      <a:pt x="10883" y="2170"/>
                      <a:pt x="10797" y="2250"/>
                    </a:cubicBezTo>
                    <a:cubicBezTo>
                      <a:pt x="10745" y="2297"/>
                      <a:pt x="10700" y="2338"/>
                      <a:pt x="10672" y="2363"/>
                    </a:cubicBezTo>
                    <a:cubicBezTo>
                      <a:pt x="10671" y="2362"/>
                      <a:pt x="10671" y="2362"/>
                      <a:pt x="10671" y="2362"/>
                    </a:cubicBezTo>
                    <a:cubicBezTo>
                      <a:pt x="10670" y="2362"/>
                      <a:pt x="10670" y="2362"/>
                      <a:pt x="10670" y="2362"/>
                    </a:cubicBezTo>
                    <a:cubicBezTo>
                      <a:pt x="10670" y="2362"/>
                      <a:pt x="10209" y="2146"/>
                      <a:pt x="10045" y="2076"/>
                    </a:cubicBezTo>
                    <a:cubicBezTo>
                      <a:pt x="9884" y="2007"/>
                      <a:pt x="9463" y="1779"/>
                      <a:pt x="9304" y="1693"/>
                    </a:cubicBezTo>
                    <a:cubicBezTo>
                      <a:pt x="9146" y="1608"/>
                      <a:pt x="8803" y="1392"/>
                      <a:pt x="8700" y="1330"/>
                    </a:cubicBezTo>
                    <a:cubicBezTo>
                      <a:pt x="8651" y="1301"/>
                      <a:pt x="8500" y="1191"/>
                      <a:pt x="8362" y="1090"/>
                    </a:cubicBezTo>
                    <a:cubicBezTo>
                      <a:pt x="8287" y="1035"/>
                      <a:pt x="8215" y="982"/>
                      <a:pt x="8166" y="945"/>
                    </a:cubicBezTo>
                    <a:cubicBezTo>
                      <a:pt x="8159" y="927"/>
                      <a:pt x="8159" y="927"/>
                      <a:pt x="8159" y="927"/>
                    </a:cubicBezTo>
                    <a:cubicBezTo>
                      <a:pt x="8237" y="918"/>
                      <a:pt x="8349" y="903"/>
                      <a:pt x="8439" y="883"/>
                    </a:cubicBezTo>
                    <a:close/>
                    <a:moveTo>
                      <a:pt x="12309" y="4066"/>
                    </a:moveTo>
                    <a:cubicBezTo>
                      <a:pt x="12177" y="4194"/>
                      <a:pt x="12049" y="4317"/>
                      <a:pt x="12010" y="4347"/>
                    </a:cubicBezTo>
                    <a:cubicBezTo>
                      <a:pt x="11941" y="4401"/>
                      <a:pt x="11890" y="4426"/>
                      <a:pt x="11870" y="4434"/>
                    </a:cubicBezTo>
                    <a:cubicBezTo>
                      <a:pt x="11863" y="4437"/>
                      <a:pt x="11860" y="4438"/>
                      <a:pt x="11860" y="4438"/>
                    </a:cubicBezTo>
                    <a:cubicBezTo>
                      <a:pt x="11860" y="4438"/>
                      <a:pt x="11762" y="4470"/>
                      <a:pt x="11609" y="4520"/>
                    </a:cubicBezTo>
                    <a:cubicBezTo>
                      <a:pt x="11457" y="4570"/>
                      <a:pt x="11251" y="4638"/>
                      <a:pt x="11036" y="4708"/>
                    </a:cubicBezTo>
                    <a:cubicBezTo>
                      <a:pt x="10607" y="4848"/>
                      <a:pt x="10142" y="4999"/>
                      <a:pt x="10004" y="5042"/>
                    </a:cubicBezTo>
                    <a:cubicBezTo>
                      <a:pt x="9952" y="5058"/>
                      <a:pt x="9901" y="5064"/>
                      <a:pt x="9850" y="5064"/>
                    </a:cubicBezTo>
                    <a:cubicBezTo>
                      <a:pt x="9693" y="5064"/>
                      <a:pt x="9551" y="5000"/>
                      <a:pt x="9491" y="4968"/>
                    </a:cubicBezTo>
                    <a:cubicBezTo>
                      <a:pt x="9481" y="4963"/>
                      <a:pt x="9474" y="4958"/>
                      <a:pt x="9469" y="4955"/>
                    </a:cubicBezTo>
                    <a:cubicBezTo>
                      <a:pt x="10669" y="2414"/>
                      <a:pt x="10669" y="2414"/>
                      <a:pt x="10669" y="2414"/>
                    </a:cubicBezTo>
                    <a:cubicBezTo>
                      <a:pt x="10670" y="2412"/>
                      <a:pt x="10672" y="2410"/>
                      <a:pt x="10675" y="2408"/>
                    </a:cubicBezTo>
                    <a:cubicBezTo>
                      <a:pt x="10734" y="2447"/>
                      <a:pt x="10899" y="2557"/>
                      <a:pt x="11060" y="2663"/>
                    </a:cubicBezTo>
                    <a:cubicBezTo>
                      <a:pt x="11160" y="2728"/>
                      <a:pt x="11240" y="2786"/>
                      <a:pt x="11295" y="2829"/>
                    </a:cubicBezTo>
                    <a:cubicBezTo>
                      <a:pt x="11344" y="2867"/>
                      <a:pt x="11373" y="2891"/>
                      <a:pt x="11379" y="2897"/>
                    </a:cubicBezTo>
                    <a:lnTo>
                      <a:pt x="12309" y="4066"/>
                    </a:lnTo>
                    <a:close/>
                    <a:moveTo>
                      <a:pt x="11711" y="3255"/>
                    </a:moveTo>
                    <a:cubicBezTo>
                      <a:pt x="11713" y="3254"/>
                      <a:pt x="11714" y="3253"/>
                      <a:pt x="11717" y="3252"/>
                    </a:cubicBezTo>
                    <a:cubicBezTo>
                      <a:pt x="11734" y="3240"/>
                      <a:pt x="11763" y="3218"/>
                      <a:pt x="11812" y="3175"/>
                    </a:cubicBezTo>
                    <a:cubicBezTo>
                      <a:pt x="11850" y="3143"/>
                      <a:pt x="11885" y="3134"/>
                      <a:pt x="11915" y="3134"/>
                    </a:cubicBezTo>
                    <a:cubicBezTo>
                      <a:pt x="11947" y="3134"/>
                      <a:pt x="11972" y="3145"/>
                      <a:pt x="11982" y="3150"/>
                    </a:cubicBezTo>
                    <a:cubicBezTo>
                      <a:pt x="11984" y="3151"/>
                      <a:pt x="11985" y="3151"/>
                      <a:pt x="11986" y="3152"/>
                    </a:cubicBezTo>
                    <a:cubicBezTo>
                      <a:pt x="12660" y="3721"/>
                      <a:pt x="12660" y="3721"/>
                      <a:pt x="12660" y="3721"/>
                    </a:cubicBezTo>
                    <a:cubicBezTo>
                      <a:pt x="12636" y="3745"/>
                      <a:pt x="12509" y="3871"/>
                      <a:pt x="12372" y="4005"/>
                    </a:cubicBezTo>
                    <a:cubicBezTo>
                      <a:pt x="12360" y="4017"/>
                      <a:pt x="12347" y="4029"/>
                      <a:pt x="12335" y="4041"/>
                    </a:cubicBezTo>
                    <a:lnTo>
                      <a:pt x="11711" y="3255"/>
                    </a:lnTo>
                    <a:close/>
                    <a:moveTo>
                      <a:pt x="8380" y="7672"/>
                    </a:moveTo>
                    <a:cubicBezTo>
                      <a:pt x="8161" y="7520"/>
                      <a:pt x="7915" y="7348"/>
                      <a:pt x="7809" y="7272"/>
                    </a:cubicBezTo>
                    <a:cubicBezTo>
                      <a:pt x="7790" y="7258"/>
                      <a:pt x="7775" y="7247"/>
                      <a:pt x="7766" y="7241"/>
                    </a:cubicBezTo>
                    <a:cubicBezTo>
                      <a:pt x="7767" y="7237"/>
                      <a:pt x="7767" y="7232"/>
                      <a:pt x="7768" y="7227"/>
                    </a:cubicBezTo>
                    <a:cubicBezTo>
                      <a:pt x="7770" y="7212"/>
                      <a:pt x="7772" y="7192"/>
                      <a:pt x="7773" y="7168"/>
                    </a:cubicBezTo>
                    <a:cubicBezTo>
                      <a:pt x="7776" y="7119"/>
                      <a:pt x="7780" y="7052"/>
                      <a:pt x="7783" y="6980"/>
                    </a:cubicBezTo>
                    <a:cubicBezTo>
                      <a:pt x="7791" y="6836"/>
                      <a:pt x="7802" y="6671"/>
                      <a:pt x="7819" y="6593"/>
                    </a:cubicBezTo>
                    <a:cubicBezTo>
                      <a:pt x="7816" y="6593"/>
                      <a:pt x="7816" y="6593"/>
                      <a:pt x="7816" y="6593"/>
                    </a:cubicBezTo>
                    <a:cubicBezTo>
                      <a:pt x="8672" y="6558"/>
                      <a:pt x="8672" y="6558"/>
                      <a:pt x="8672" y="6558"/>
                    </a:cubicBezTo>
                    <a:cubicBezTo>
                      <a:pt x="8762" y="6546"/>
                      <a:pt x="8762" y="6546"/>
                      <a:pt x="8762" y="6546"/>
                    </a:cubicBezTo>
                    <a:cubicBezTo>
                      <a:pt x="8793" y="6547"/>
                      <a:pt x="9258" y="6564"/>
                      <a:pt x="9596" y="6564"/>
                    </a:cubicBezTo>
                    <a:cubicBezTo>
                      <a:pt x="9654" y="6564"/>
                      <a:pt x="9709" y="6564"/>
                      <a:pt x="9757" y="6562"/>
                    </a:cubicBezTo>
                    <a:cubicBezTo>
                      <a:pt x="9762" y="6562"/>
                      <a:pt x="9766" y="6562"/>
                      <a:pt x="9771" y="6562"/>
                    </a:cubicBezTo>
                    <a:cubicBezTo>
                      <a:pt x="9907" y="6562"/>
                      <a:pt x="9984" y="6609"/>
                      <a:pt x="10029" y="6659"/>
                    </a:cubicBezTo>
                    <a:cubicBezTo>
                      <a:pt x="10074" y="6710"/>
                      <a:pt x="10088" y="6767"/>
                      <a:pt x="10092" y="6790"/>
                    </a:cubicBezTo>
                    <a:cubicBezTo>
                      <a:pt x="10093" y="6794"/>
                      <a:pt x="10093" y="6797"/>
                      <a:pt x="10093" y="6798"/>
                    </a:cubicBezTo>
                    <a:cubicBezTo>
                      <a:pt x="10093" y="6810"/>
                      <a:pt x="10095" y="6980"/>
                      <a:pt x="10097" y="7191"/>
                    </a:cubicBezTo>
                    <a:cubicBezTo>
                      <a:pt x="10098" y="7410"/>
                      <a:pt x="10100" y="7672"/>
                      <a:pt x="10100" y="7846"/>
                    </a:cubicBezTo>
                    <a:cubicBezTo>
                      <a:pt x="10100" y="7945"/>
                      <a:pt x="10099" y="8019"/>
                      <a:pt x="10098" y="8032"/>
                    </a:cubicBezTo>
                    <a:cubicBezTo>
                      <a:pt x="8892" y="7951"/>
                      <a:pt x="8892" y="7951"/>
                      <a:pt x="8892" y="7951"/>
                    </a:cubicBezTo>
                    <a:cubicBezTo>
                      <a:pt x="8892" y="7951"/>
                      <a:pt x="8891" y="7951"/>
                      <a:pt x="8890" y="7951"/>
                    </a:cubicBezTo>
                    <a:cubicBezTo>
                      <a:pt x="8883" y="7951"/>
                      <a:pt x="8838" y="7951"/>
                      <a:pt x="8784" y="7969"/>
                    </a:cubicBezTo>
                    <a:cubicBezTo>
                      <a:pt x="8791" y="7958"/>
                      <a:pt x="8791" y="7958"/>
                      <a:pt x="8791" y="7958"/>
                    </a:cubicBezTo>
                    <a:cubicBezTo>
                      <a:pt x="8791" y="7958"/>
                      <a:pt x="8599" y="7824"/>
                      <a:pt x="8380" y="7672"/>
                    </a:cubicBezTo>
                    <a:close/>
                    <a:moveTo>
                      <a:pt x="6194" y="8739"/>
                    </a:moveTo>
                    <a:cubicBezTo>
                      <a:pt x="6093" y="7454"/>
                      <a:pt x="6093" y="7454"/>
                      <a:pt x="6093" y="7454"/>
                    </a:cubicBezTo>
                    <a:cubicBezTo>
                      <a:pt x="5591" y="7013"/>
                      <a:pt x="5591" y="7013"/>
                      <a:pt x="5591" y="7013"/>
                    </a:cubicBezTo>
                    <a:cubicBezTo>
                      <a:pt x="5656" y="6844"/>
                      <a:pt x="5656" y="6844"/>
                      <a:pt x="5656" y="6844"/>
                    </a:cubicBezTo>
                    <a:cubicBezTo>
                      <a:pt x="5658" y="6835"/>
                      <a:pt x="5658" y="6835"/>
                      <a:pt x="5658" y="6835"/>
                    </a:cubicBezTo>
                    <a:cubicBezTo>
                      <a:pt x="5788" y="6742"/>
                      <a:pt x="5788" y="6742"/>
                      <a:pt x="5788" y="6742"/>
                    </a:cubicBezTo>
                    <a:cubicBezTo>
                      <a:pt x="5839" y="6742"/>
                      <a:pt x="6213" y="6741"/>
                      <a:pt x="6367" y="6726"/>
                    </a:cubicBezTo>
                    <a:cubicBezTo>
                      <a:pt x="6531" y="6709"/>
                      <a:pt x="6694" y="6689"/>
                      <a:pt x="6854" y="6656"/>
                    </a:cubicBezTo>
                    <a:cubicBezTo>
                      <a:pt x="6932" y="6640"/>
                      <a:pt x="7055" y="6629"/>
                      <a:pt x="7159" y="6622"/>
                    </a:cubicBezTo>
                    <a:cubicBezTo>
                      <a:pt x="7262" y="6614"/>
                      <a:pt x="7345" y="6611"/>
                      <a:pt x="7345" y="6611"/>
                    </a:cubicBezTo>
                    <a:cubicBezTo>
                      <a:pt x="7782" y="6594"/>
                      <a:pt x="7782" y="6594"/>
                      <a:pt x="7782" y="6594"/>
                    </a:cubicBezTo>
                    <a:cubicBezTo>
                      <a:pt x="7757" y="6716"/>
                      <a:pt x="7748" y="6985"/>
                      <a:pt x="7739" y="7137"/>
                    </a:cubicBezTo>
                    <a:cubicBezTo>
                      <a:pt x="7736" y="7185"/>
                      <a:pt x="7733" y="7223"/>
                      <a:pt x="7730" y="7235"/>
                    </a:cubicBezTo>
                    <a:cubicBezTo>
                      <a:pt x="7730" y="7235"/>
                      <a:pt x="7730" y="7235"/>
                      <a:pt x="7730" y="7235"/>
                    </a:cubicBezTo>
                    <a:cubicBezTo>
                      <a:pt x="7729" y="7236"/>
                      <a:pt x="7720" y="7248"/>
                      <a:pt x="7702" y="7266"/>
                    </a:cubicBezTo>
                    <a:cubicBezTo>
                      <a:pt x="7682" y="7285"/>
                      <a:pt x="7654" y="7311"/>
                      <a:pt x="7618" y="7336"/>
                    </a:cubicBezTo>
                    <a:cubicBezTo>
                      <a:pt x="7545" y="7387"/>
                      <a:pt x="7441" y="7438"/>
                      <a:pt x="7316" y="7440"/>
                    </a:cubicBezTo>
                    <a:cubicBezTo>
                      <a:pt x="7185" y="7442"/>
                      <a:pt x="6880" y="7443"/>
                      <a:pt x="6608" y="7444"/>
                    </a:cubicBezTo>
                    <a:cubicBezTo>
                      <a:pt x="6336" y="7444"/>
                      <a:pt x="6096" y="7444"/>
                      <a:pt x="6096" y="7445"/>
                    </a:cubicBezTo>
                    <a:cubicBezTo>
                      <a:pt x="6096" y="7481"/>
                      <a:pt x="6096" y="7481"/>
                      <a:pt x="6096" y="7481"/>
                    </a:cubicBezTo>
                    <a:cubicBezTo>
                      <a:pt x="6096" y="7481"/>
                      <a:pt x="7055" y="7481"/>
                      <a:pt x="7316" y="7477"/>
                    </a:cubicBezTo>
                    <a:cubicBezTo>
                      <a:pt x="7547" y="7472"/>
                      <a:pt x="7704" y="7318"/>
                      <a:pt x="7747" y="7271"/>
                    </a:cubicBezTo>
                    <a:cubicBezTo>
                      <a:pt x="7754" y="7277"/>
                      <a:pt x="7765" y="7284"/>
                      <a:pt x="7778" y="7294"/>
                    </a:cubicBezTo>
                    <a:cubicBezTo>
                      <a:pt x="7791" y="7303"/>
                      <a:pt x="7807" y="7315"/>
                      <a:pt x="7824" y="7327"/>
                    </a:cubicBezTo>
                    <a:cubicBezTo>
                      <a:pt x="7812" y="7325"/>
                      <a:pt x="7812" y="7325"/>
                      <a:pt x="7812" y="7325"/>
                    </a:cubicBezTo>
                    <a:cubicBezTo>
                      <a:pt x="7584" y="8718"/>
                      <a:pt x="7584" y="8718"/>
                      <a:pt x="7584" y="8718"/>
                    </a:cubicBezTo>
                    <a:cubicBezTo>
                      <a:pt x="7581" y="8727"/>
                      <a:pt x="7566" y="8759"/>
                      <a:pt x="7544" y="8810"/>
                    </a:cubicBezTo>
                    <a:cubicBezTo>
                      <a:pt x="7545" y="8779"/>
                      <a:pt x="7545" y="8779"/>
                      <a:pt x="7545" y="8779"/>
                    </a:cubicBezTo>
                    <a:lnTo>
                      <a:pt x="6194" y="8739"/>
                    </a:lnTo>
                    <a:close/>
                    <a:moveTo>
                      <a:pt x="3617" y="5610"/>
                    </a:moveTo>
                    <a:cubicBezTo>
                      <a:pt x="3651" y="5601"/>
                      <a:pt x="3823" y="5558"/>
                      <a:pt x="3892" y="5500"/>
                    </a:cubicBezTo>
                    <a:cubicBezTo>
                      <a:pt x="3930" y="5467"/>
                      <a:pt x="3951" y="5437"/>
                      <a:pt x="3965" y="5411"/>
                    </a:cubicBezTo>
                    <a:cubicBezTo>
                      <a:pt x="3988" y="5433"/>
                      <a:pt x="4083" y="5520"/>
                      <a:pt x="4153" y="5582"/>
                    </a:cubicBezTo>
                    <a:cubicBezTo>
                      <a:pt x="4191" y="5616"/>
                      <a:pt x="4222" y="5641"/>
                      <a:pt x="4230" y="5648"/>
                    </a:cubicBezTo>
                    <a:cubicBezTo>
                      <a:pt x="4230" y="5648"/>
                      <a:pt x="4230" y="5648"/>
                      <a:pt x="4230" y="5648"/>
                    </a:cubicBezTo>
                    <a:cubicBezTo>
                      <a:pt x="4230" y="5648"/>
                      <a:pt x="4230" y="5648"/>
                      <a:pt x="4230" y="5648"/>
                    </a:cubicBezTo>
                    <a:cubicBezTo>
                      <a:pt x="4231" y="5649"/>
                      <a:pt x="4232" y="5650"/>
                      <a:pt x="4232" y="5651"/>
                    </a:cubicBezTo>
                    <a:cubicBezTo>
                      <a:pt x="4234" y="5653"/>
                      <a:pt x="4236" y="5655"/>
                      <a:pt x="4239" y="5659"/>
                    </a:cubicBezTo>
                    <a:cubicBezTo>
                      <a:pt x="4244" y="5665"/>
                      <a:pt x="4251" y="5674"/>
                      <a:pt x="4258" y="5684"/>
                    </a:cubicBezTo>
                    <a:cubicBezTo>
                      <a:pt x="4271" y="5704"/>
                      <a:pt x="4284" y="5729"/>
                      <a:pt x="4284" y="5748"/>
                    </a:cubicBezTo>
                    <a:cubicBezTo>
                      <a:pt x="4284" y="5753"/>
                      <a:pt x="4283" y="5758"/>
                      <a:pt x="4281" y="5762"/>
                    </a:cubicBezTo>
                    <a:cubicBezTo>
                      <a:pt x="4282" y="5762"/>
                      <a:pt x="4282" y="5762"/>
                      <a:pt x="4282" y="5762"/>
                    </a:cubicBezTo>
                    <a:cubicBezTo>
                      <a:pt x="4282" y="5763"/>
                      <a:pt x="4281" y="5764"/>
                      <a:pt x="4281" y="5765"/>
                    </a:cubicBezTo>
                    <a:cubicBezTo>
                      <a:pt x="4281" y="5773"/>
                      <a:pt x="4286" y="5773"/>
                      <a:pt x="4286" y="5773"/>
                    </a:cubicBezTo>
                    <a:cubicBezTo>
                      <a:pt x="4291" y="5774"/>
                      <a:pt x="4291" y="5774"/>
                      <a:pt x="4291" y="5774"/>
                    </a:cubicBezTo>
                    <a:cubicBezTo>
                      <a:pt x="4637" y="5873"/>
                      <a:pt x="4637" y="5873"/>
                      <a:pt x="4637" y="5873"/>
                    </a:cubicBezTo>
                    <a:cubicBezTo>
                      <a:pt x="4637" y="5873"/>
                      <a:pt x="4637" y="5873"/>
                      <a:pt x="4637" y="5873"/>
                    </a:cubicBezTo>
                    <a:cubicBezTo>
                      <a:pt x="4637" y="5873"/>
                      <a:pt x="4646" y="5877"/>
                      <a:pt x="4650" y="5879"/>
                    </a:cubicBezTo>
                    <a:cubicBezTo>
                      <a:pt x="4654" y="5881"/>
                      <a:pt x="4653" y="5882"/>
                      <a:pt x="4653" y="5882"/>
                    </a:cubicBezTo>
                    <a:cubicBezTo>
                      <a:pt x="4653" y="5882"/>
                      <a:pt x="4653" y="5882"/>
                      <a:pt x="4653" y="5882"/>
                    </a:cubicBezTo>
                    <a:cubicBezTo>
                      <a:pt x="4653" y="5882"/>
                      <a:pt x="4623" y="5957"/>
                      <a:pt x="4608" y="5996"/>
                    </a:cubicBezTo>
                    <a:cubicBezTo>
                      <a:pt x="4578" y="6075"/>
                      <a:pt x="4546" y="6157"/>
                      <a:pt x="4541" y="6186"/>
                    </a:cubicBezTo>
                    <a:cubicBezTo>
                      <a:pt x="4531" y="6235"/>
                      <a:pt x="4512" y="6347"/>
                      <a:pt x="4506" y="6397"/>
                    </a:cubicBezTo>
                    <a:cubicBezTo>
                      <a:pt x="4501" y="6445"/>
                      <a:pt x="4446" y="6822"/>
                      <a:pt x="4434" y="6869"/>
                    </a:cubicBezTo>
                    <a:cubicBezTo>
                      <a:pt x="4422" y="6919"/>
                      <a:pt x="4409" y="6954"/>
                      <a:pt x="4384" y="6993"/>
                    </a:cubicBezTo>
                    <a:cubicBezTo>
                      <a:pt x="4359" y="7030"/>
                      <a:pt x="4312" y="7092"/>
                      <a:pt x="4305" y="7101"/>
                    </a:cubicBezTo>
                    <a:cubicBezTo>
                      <a:pt x="2739" y="6533"/>
                      <a:pt x="2739" y="6533"/>
                      <a:pt x="2739" y="6533"/>
                    </a:cubicBezTo>
                    <a:cubicBezTo>
                      <a:pt x="2738" y="6527"/>
                      <a:pt x="2737" y="6522"/>
                      <a:pt x="2737" y="6517"/>
                    </a:cubicBezTo>
                    <a:cubicBezTo>
                      <a:pt x="2741" y="6497"/>
                      <a:pt x="2747" y="6469"/>
                      <a:pt x="2755" y="6437"/>
                    </a:cubicBezTo>
                    <a:cubicBezTo>
                      <a:pt x="2772" y="6373"/>
                      <a:pt x="2798" y="6295"/>
                      <a:pt x="2834" y="6239"/>
                    </a:cubicBezTo>
                    <a:cubicBezTo>
                      <a:pt x="2857" y="6201"/>
                      <a:pt x="2902" y="6183"/>
                      <a:pt x="2965" y="6162"/>
                    </a:cubicBezTo>
                    <a:cubicBezTo>
                      <a:pt x="3069" y="6125"/>
                      <a:pt x="3271" y="6109"/>
                      <a:pt x="3367" y="6074"/>
                    </a:cubicBezTo>
                    <a:cubicBezTo>
                      <a:pt x="3367" y="6074"/>
                      <a:pt x="3367" y="6074"/>
                      <a:pt x="3367" y="6074"/>
                    </a:cubicBezTo>
                    <a:cubicBezTo>
                      <a:pt x="3368" y="6074"/>
                      <a:pt x="3368" y="6074"/>
                      <a:pt x="3368" y="6074"/>
                    </a:cubicBezTo>
                    <a:cubicBezTo>
                      <a:pt x="3369" y="6073"/>
                      <a:pt x="3580" y="5974"/>
                      <a:pt x="3631" y="5834"/>
                    </a:cubicBezTo>
                    <a:cubicBezTo>
                      <a:pt x="3645" y="5794"/>
                      <a:pt x="3651" y="5759"/>
                      <a:pt x="3651" y="5727"/>
                    </a:cubicBezTo>
                    <a:cubicBezTo>
                      <a:pt x="3651" y="5682"/>
                      <a:pt x="3638" y="5644"/>
                      <a:pt x="3617" y="5610"/>
                    </a:cubicBezTo>
                    <a:close/>
                    <a:moveTo>
                      <a:pt x="2871" y="4226"/>
                    </a:moveTo>
                    <a:cubicBezTo>
                      <a:pt x="2902" y="4083"/>
                      <a:pt x="2902" y="4083"/>
                      <a:pt x="2902" y="4083"/>
                    </a:cubicBezTo>
                    <a:cubicBezTo>
                      <a:pt x="2902" y="4081"/>
                      <a:pt x="2902" y="4081"/>
                      <a:pt x="2902" y="4081"/>
                    </a:cubicBezTo>
                    <a:cubicBezTo>
                      <a:pt x="2902" y="4081"/>
                      <a:pt x="2904" y="4002"/>
                      <a:pt x="2904" y="3966"/>
                    </a:cubicBezTo>
                    <a:cubicBezTo>
                      <a:pt x="2904" y="3958"/>
                      <a:pt x="2904" y="3952"/>
                      <a:pt x="2903" y="3948"/>
                    </a:cubicBezTo>
                    <a:cubicBezTo>
                      <a:pt x="2903" y="3947"/>
                      <a:pt x="2904" y="3947"/>
                      <a:pt x="2902" y="3942"/>
                    </a:cubicBezTo>
                    <a:cubicBezTo>
                      <a:pt x="2901" y="3941"/>
                      <a:pt x="2901" y="3939"/>
                      <a:pt x="2898" y="3938"/>
                    </a:cubicBezTo>
                    <a:cubicBezTo>
                      <a:pt x="2897" y="3936"/>
                      <a:pt x="2895" y="3934"/>
                      <a:pt x="2892" y="3932"/>
                    </a:cubicBezTo>
                    <a:cubicBezTo>
                      <a:pt x="2886" y="3927"/>
                      <a:pt x="2875" y="3922"/>
                      <a:pt x="2854" y="3916"/>
                    </a:cubicBezTo>
                    <a:cubicBezTo>
                      <a:pt x="2826" y="3907"/>
                      <a:pt x="2746" y="3882"/>
                      <a:pt x="2703" y="3869"/>
                    </a:cubicBezTo>
                    <a:cubicBezTo>
                      <a:pt x="2703" y="3869"/>
                      <a:pt x="2704" y="3868"/>
                      <a:pt x="2705" y="3867"/>
                    </a:cubicBezTo>
                    <a:cubicBezTo>
                      <a:pt x="2751" y="3808"/>
                      <a:pt x="2804" y="3755"/>
                      <a:pt x="2844" y="3716"/>
                    </a:cubicBezTo>
                    <a:cubicBezTo>
                      <a:pt x="2868" y="3693"/>
                      <a:pt x="2885" y="3678"/>
                      <a:pt x="2895" y="3668"/>
                    </a:cubicBezTo>
                    <a:cubicBezTo>
                      <a:pt x="2993" y="3578"/>
                      <a:pt x="3122" y="3526"/>
                      <a:pt x="3173" y="3506"/>
                    </a:cubicBezTo>
                    <a:cubicBezTo>
                      <a:pt x="3414" y="3818"/>
                      <a:pt x="3414" y="3818"/>
                      <a:pt x="3414" y="3818"/>
                    </a:cubicBezTo>
                    <a:cubicBezTo>
                      <a:pt x="3414" y="3818"/>
                      <a:pt x="3414" y="3818"/>
                      <a:pt x="3414" y="3818"/>
                    </a:cubicBezTo>
                    <a:cubicBezTo>
                      <a:pt x="4223" y="4876"/>
                      <a:pt x="4223" y="4876"/>
                      <a:pt x="4223" y="4876"/>
                    </a:cubicBezTo>
                    <a:cubicBezTo>
                      <a:pt x="4223" y="4879"/>
                      <a:pt x="4223" y="4879"/>
                      <a:pt x="4223" y="4879"/>
                    </a:cubicBezTo>
                    <a:cubicBezTo>
                      <a:pt x="4223" y="4879"/>
                      <a:pt x="4224" y="4880"/>
                      <a:pt x="4226" y="4883"/>
                    </a:cubicBezTo>
                    <a:cubicBezTo>
                      <a:pt x="4217" y="4896"/>
                      <a:pt x="4217" y="4896"/>
                      <a:pt x="4217" y="4896"/>
                    </a:cubicBezTo>
                    <a:cubicBezTo>
                      <a:pt x="4222" y="4902"/>
                      <a:pt x="4222" y="4902"/>
                      <a:pt x="4222" y="4902"/>
                    </a:cubicBezTo>
                    <a:cubicBezTo>
                      <a:pt x="4217" y="4896"/>
                      <a:pt x="4217" y="4896"/>
                      <a:pt x="4217" y="4896"/>
                    </a:cubicBezTo>
                    <a:cubicBezTo>
                      <a:pt x="4216" y="4897"/>
                      <a:pt x="4184" y="4922"/>
                      <a:pt x="4151" y="4953"/>
                    </a:cubicBezTo>
                    <a:cubicBezTo>
                      <a:pt x="4128" y="4973"/>
                      <a:pt x="4106" y="4997"/>
                      <a:pt x="4089" y="5016"/>
                    </a:cubicBezTo>
                    <a:cubicBezTo>
                      <a:pt x="4076" y="5031"/>
                      <a:pt x="4066" y="5047"/>
                      <a:pt x="4058" y="5063"/>
                    </a:cubicBezTo>
                    <a:cubicBezTo>
                      <a:pt x="4053" y="5059"/>
                      <a:pt x="4047" y="5054"/>
                      <a:pt x="4040" y="5047"/>
                    </a:cubicBezTo>
                    <a:cubicBezTo>
                      <a:pt x="4023" y="5033"/>
                      <a:pt x="4002" y="5014"/>
                      <a:pt x="3980" y="4995"/>
                    </a:cubicBezTo>
                    <a:cubicBezTo>
                      <a:pt x="3942" y="4962"/>
                      <a:pt x="3904" y="4929"/>
                      <a:pt x="3896" y="4922"/>
                    </a:cubicBezTo>
                    <a:cubicBezTo>
                      <a:pt x="3756" y="4628"/>
                      <a:pt x="3756" y="4628"/>
                      <a:pt x="3756" y="4628"/>
                    </a:cubicBezTo>
                    <a:cubicBezTo>
                      <a:pt x="3754" y="4627"/>
                      <a:pt x="3754" y="4627"/>
                      <a:pt x="3754" y="4627"/>
                    </a:cubicBezTo>
                    <a:cubicBezTo>
                      <a:pt x="3754" y="4627"/>
                      <a:pt x="3708" y="4593"/>
                      <a:pt x="3662" y="4559"/>
                    </a:cubicBezTo>
                    <a:cubicBezTo>
                      <a:pt x="3619" y="4528"/>
                      <a:pt x="3578" y="4498"/>
                      <a:pt x="3566" y="4490"/>
                    </a:cubicBezTo>
                    <a:cubicBezTo>
                      <a:pt x="3565" y="4489"/>
                      <a:pt x="3564" y="4487"/>
                      <a:pt x="3563" y="4484"/>
                    </a:cubicBezTo>
                    <a:cubicBezTo>
                      <a:pt x="3560" y="4479"/>
                      <a:pt x="3556" y="4470"/>
                      <a:pt x="3552" y="4460"/>
                    </a:cubicBezTo>
                    <a:cubicBezTo>
                      <a:pt x="3543" y="4440"/>
                      <a:pt x="3530" y="4414"/>
                      <a:pt x="3518" y="4387"/>
                    </a:cubicBezTo>
                    <a:cubicBezTo>
                      <a:pt x="3494" y="4334"/>
                      <a:pt x="3470" y="4281"/>
                      <a:pt x="3470" y="4281"/>
                    </a:cubicBezTo>
                    <a:cubicBezTo>
                      <a:pt x="3469" y="4277"/>
                      <a:pt x="3469" y="4277"/>
                      <a:pt x="3469" y="4277"/>
                    </a:cubicBezTo>
                    <a:cubicBezTo>
                      <a:pt x="3164" y="4114"/>
                      <a:pt x="3164" y="4114"/>
                      <a:pt x="3164" y="4114"/>
                    </a:cubicBezTo>
                    <a:cubicBezTo>
                      <a:pt x="3152" y="4135"/>
                      <a:pt x="3152" y="4135"/>
                      <a:pt x="3152" y="4135"/>
                    </a:cubicBezTo>
                    <a:cubicBezTo>
                      <a:pt x="3450" y="4295"/>
                      <a:pt x="3450" y="4295"/>
                      <a:pt x="3450" y="4295"/>
                    </a:cubicBezTo>
                    <a:cubicBezTo>
                      <a:pt x="3462" y="4322"/>
                      <a:pt x="3536" y="4488"/>
                      <a:pt x="3545" y="4504"/>
                    </a:cubicBezTo>
                    <a:cubicBezTo>
                      <a:pt x="3546" y="4505"/>
                      <a:pt x="3546" y="4505"/>
                      <a:pt x="3548" y="4508"/>
                    </a:cubicBezTo>
                    <a:cubicBezTo>
                      <a:pt x="3549" y="4508"/>
                      <a:pt x="3549" y="4509"/>
                      <a:pt x="3551" y="4510"/>
                    </a:cubicBezTo>
                    <a:cubicBezTo>
                      <a:pt x="3552" y="4510"/>
                      <a:pt x="3552" y="4510"/>
                      <a:pt x="3552" y="4511"/>
                    </a:cubicBezTo>
                    <a:cubicBezTo>
                      <a:pt x="3554" y="4511"/>
                      <a:pt x="3556" y="4513"/>
                      <a:pt x="3558" y="4515"/>
                    </a:cubicBezTo>
                    <a:cubicBezTo>
                      <a:pt x="3564" y="4518"/>
                      <a:pt x="3571" y="4524"/>
                      <a:pt x="3580" y="4530"/>
                    </a:cubicBezTo>
                    <a:cubicBezTo>
                      <a:pt x="3598" y="4543"/>
                      <a:pt x="3622" y="4560"/>
                      <a:pt x="3645" y="4578"/>
                    </a:cubicBezTo>
                    <a:cubicBezTo>
                      <a:pt x="3686" y="4607"/>
                      <a:pt x="3726" y="4637"/>
                      <a:pt x="3737" y="4644"/>
                    </a:cubicBezTo>
                    <a:cubicBezTo>
                      <a:pt x="3876" y="4937"/>
                      <a:pt x="3876" y="4937"/>
                      <a:pt x="3876" y="4937"/>
                    </a:cubicBezTo>
                    <a:cubicBezTo>
                      <a:pt x="3877" y="4939"/>
                      <a:pt x="3877" y="4939"/>
                      <a:pt x="3877" y="4939"/>
                    </a:cubicBezTo>
                    <a:cubicBezTo>
                      <a:pt x="3877" y="4939"/>
                      <a:pt x="3971" y="5021"/>
                      <a:pt x="4021" y="5064"/>
                    </a:cubicBezTo>
                    <a:cubicBezTo>
                      <a:pt x="4033" y="5074"/>
                      <a:pt x="4042" y="5081"/>
                      <a:pt x="4047" y="5086"/>
                    </a:cubicBezTo>
                    <a:cubicBezTo>
                      <a:pt x="4035" y="5114"/>
                      <a:pt x="4028" y="5140"/>
                      <a:pt x="4022" y="5157"/>
                    </a:cubicBezTo>
                    <a:cubicBezTo>
                      <a:pt x="4011" y="5190"/>
                      <a:pt x="3980" y="5305"/>
                      <a:pt x="3966" y="5342"/>
                    </a:cubicBezTo>
                    <a:cubicBezTo>
                      <a:pt x="3953" y="5378"/>
                      <a:pt x="3945" y="5415"/>
                      <a:pt x="3892" y="5466"/>
                    </a:cubicBezTo>
                    <a:cubicBezTo>
                      <a:pt x="3811" y="5198"/>
                      <a:pt x="3811" y="5198"/>
                      <a:pt x="3811" y="5198"/>
                    </a:cubicBezTo>
                    <a:cubicBezTo>
                      <a:pt x="3611" y="4996"/>
                      <a:pt x="3611" y="4996"/>
                      <a:pt x="3611" y="4996"/>
                    </a:cubicBezTo>
                    <a:cubicBezTo>
                      <a:pt x="3391" y="4716"/>
                      <a:pt x="3391" y="4716"/>
                      <a:pt x="3391" y="4716"/>
                    </a:cubicBezTo>
                    <a:cubicBezTo>
                      <a:pt x="3242" y="4640"/>
                      <a:pt x="3242" y="4640"/>
                      <a:pt x="3242" y="4640"/>
                    </a:cubicBezTo>
                    <a:cubicBezTo>
                      <a:pt x="2899" y="4521"/>
                      <a:pt x="2899" y="4521"/>
                      <a:pt x="2899" y="4521"/>
                    </a:cubicBezTo>
                    <a:cubicBezTo>
                      <a:pt x="2801" y="4410"/>
                      <a:pt x="2801" y="4410"/>
                      <a:pt x="2801" y="4410"/>
                    </a:cubicBezTo>
                    <a:lnTo>
                      <a:pt x="2871" y="4226"/>
                    </a:lnTo>
                    <a:close/>
                    <a:moveTo>
                      <a:pt x="2777" y="4404"/>
                    </a:moveTo>
                    <a:cubicBezTo>
                      <a:pt x="2681" y="4497"/>
                      <a:pt x="2681" y="4497"/>
                      <a:pt x="2681" y="4497"/>
                    </a:cubicBezTo>
                    <a:cubicBezTo>
                      <a:pt x="2509" y="4547"/>
                      <a:pt x="2509" y="4547"/>
                      <a:pt x="2509" y="4547"/>
                    </a:cubicBezTo>
                    <a:cubicBezTo>
                      <a:pt x="2335" y="4561"/>
                      <a:pt x="2335" y="4561"/>
                      <a:pt x="2335" y="4561"/>
                    </a:cubicBezTo>
                    <a:cubicBezTo>
                      <a:pt x="2330" y="4560"/>
                      <a:pt x="2322" y="4560"/>
                      <a:pt x="2322" y="4560"/>
                    </a:cubicBezTo>
                    <a:cubicBezTo>
                      <a:pt x="2360" y="4462"/>
                      <a:pt x="2418" y="4332"/>
                      <a:pt x="2482" y="4209"/>
                    </a:cubicBezTo>
                    <a:cubicBezTo>
                      <a:pt x="2517" y="4143"/>
                      <a:pt x="2546" y="4095"/>
                      <a:pt x="2577" y="4047"/>
                    </a:cubicBezTo>
                    <a:cubicBezTo>
                      <a:pt x="2609" y="3995"/>
                      <a:pt x="2644" y="3946"/>
                      <a:pt x="2686" y="3890"/>
                    </a:cubicBezTo>
                    <a:cubicBezTo>
                      <a:pt x="2688" y="3891"/>
                      <a:pt x="2690" y="3891"/>
                      <a:pt x="2693" y="3892"/>
                    </a:cubicBezTo>
                    <a:cubicBezTo>
                      <a:pt x="2707" y="3896"/>
                      <a:pt x="2725" y="3902"/>
                      <a:pt x="2745" y="3908"/>
                    </a:cubicBezTo>
                    <a:cubicBezTo>
                      <a:pt x="2784" y="3920"/>
                      <a:pt x="2828" y="3933"/>
                      <a:pt x="2847" y="3939"/>
                    </a:cubicBezTo>
                    <a:cubicBezTo>
                      <a:pt x="2864" y="3944"/>
                      <a:pt x="2872" y="3948"/>
                      <a:pt x="2876" y="3951"/>
                    </a:cubicBezTo>
                    <a:cubicBezTo>
                      <a:pt x="2878" y="3952"/>
                      <a:pt x="2879" y="3953"/>
                      <a:pt x="2879" y="3953"/>
                    </a:cubicBezTo>
                    <a:cubicBezTo>
                      <a:pt x="2879" y="3956"/>
                      <a:pt x="2879" y="3960"/>
                      <a:pt x="2879" y="3966"/>
                    </a:cubicBezTo>
                    <a:cubicBezTo>
                      <a:pt x="2879" y="3999"/>
                      <a:pt x="2877" y="4070"/>
                      <a:pt x="2877" y="4080"/>
                    </a:cubicBezTo>
                    <a:cubicBezTo>
                      <a:pt x="2847" y="4219"/>
                      <a:pt x="2847" y="4219"/>
                      <a:pt x="2847" y="4219"/>
                    </a:cubicBezTo>
                    <a:lnTo>
                      <a:pt x="2777" y="4404"/>
                    </a:lnTo>
                    <a:close/>
                    <a:moveTo>
                      <a:pt x="8468" y="3093"/>
                    </a:moveTo>
                    <a:cubicBezTo>
                      <a:pt x="8499" y="3113"/>
                      <a:pt x="8525" y="3130"/>
                      <a:pt x="8546" y="3144"/>
                    </a:cubicBezTo>
                    <a:cubicBezTo>
                      <a:pt x="8568" y="3161"/>
                      <a:pt x="8568" y="3161"/>
                      <a:pt x="8568" y="3161"/>
                    </a:cubicBezTo>
                    <a:cubicBezTo>
                      <a:pt x="8047" y="4229"/>
                      <a:pt x="8047" y="4229"/>
                      <a:pt x="8047" y="4229"/>
                    </a:cubicBezTo>
                    <a:cubicBezTo>
                      <a:pt x="8004" y="4206"/>
                      <a:pt x="7837" y="4120"/>
                      <a:pt x="7514" y="3964"/>
                    </a:cubicBezTo>
                    <a:cubicBezTo>
                      <a:pt x="7515" y="3958"/>
                      <a:pt x="7515" y="3958"/>
                      <a:pt x="7515" y="3958"/>
                    </a:cubicBezTo>
                    <a:cubicBezTo>
                      <a:pt x="7526" y="3916"/>
                      <a:pt x="7587" y="3701"/>
                      <a:pt x="7656" y="3457"/>
                    </a:cubicBezTo>
                    <a:cubicBezTo>
                      <a:pt x="7732" y="3187"/>
                      <a:pt x="7820" y="2883"/>
                      <a:pt x="7861" y="2751"/>
                    </a:cubicBezTo>
                    <a:cubicBezTo>
                      <a:pt x="7868" y="2729"/>
                      <a:pt x="7874" y="2711"/>
                      <a:pt x="7878" y="2700"/>
                    </a:cubicBezTo>
                    <a:cubicBezTo>
                      <a:pt x="7947" y="2746"/>
                      <a:pt x="8280" y="2970"/>
                      <a:pt x="8468" y="3093"/>
                    </a:cubicBezTo>
                    <a:close/>
                    <a:moveTo>
                      <a:pt x="7892" y="2677"/>
                    </a:moveTo>
                    <a:cubicBezTo>
                      <a:pt x="7893" y="2676"/>
                      <a:pt x="7894" y="2675"/>
                      <a:pt x="7895" y="2673"/>
                    </a:cubicBezTo>
                    <a:cubicBezTo>
                      <a:pt x="7902" y="2663"/>
                      <a:pt x="7912" y="2649"/>
                      <a:pt x="7924" y="2631"/>
                    </a:cubicBezTo>
                    <a:cubicBezTo>
                      <a:pt x="7948" y="2596"/>
                      <a:pt x="7982" y="2545"/>
                      <a:pt x="8023" y="2483"/>
                    </a:cubicBezTo>
                    <a:cubicBezTo>
                      <a:pt x="8103" y="2361"/>
                      <a:pt x="8209" y="2197"/>
                      <a:pt x="8315" y="2034"/>
                    </a:cubicBezTo>
                    <a:cubicBezTo>
                      <a:pt x="8497" y="1753"/>
                      <a:pt x="8677" y="1472"/>
                      <a:pt x="8723" y="1399"/>
                    </a:cubicBezTo>
                    <a:cubicBezTo>
                      <a:pt x="8734" y="1393"/>
                      <a:pt x="8734" y="1393"/>
                      <a:pt x="8734" y="1393"/>
                    </a:cubicBezTo>
                    <a:cubicBezTo>
                      <a:pt x="8866" y="1474"/>
                      <a:pt x="9128" y="1638"/>
                      <a:pt x="9271" y="1716"/>
                    </a:cubicBezTo>
                    <a:cubicBezTo>
                      <a:pt x="8585" y="3125"/>
                      <a:pt x="8585" y="3125"/>
                      <a:pt x="8585" y="3125"/>
                    </a:cubicBezTo>
                    <a:cubicBezTo>
                      <a:pt x="8578" y="3125"/>
                      <a:pt x="8570" y="3124"/>
                      <a:pt x="8562" y="3123"/>
                    </a:cubicBezTo>
                    <a:cubicBezTo>
                      <a:pt x="8543" y="3111"/>
                      <a:pt x="8520" y="3096"/>
                      <a:pt x="8492" y="3077"/>
                    </a:cubicBezTo>
                    <a:cubicBezTo>
                      <a:pt x="8423" y="3032"/>
                      <a:pt x="8332" y="2972"/>
                      <a:pt x="8241" y="2911"/>
                    </a:cubicBezTo>
                    <a:cubicBezTo>
                      <a:pt x="8087" y="2808"/>
                      <a:pt x="7935" y="2706"/>
                      <a:pt x="7892" y="2677"/>
                    </a:cubicBezTo>
                    <a:close/>
                    <a:moveTo>
                      <a:pt x="7904" y="4196"/>
                    </a:moveTo>
                    <a:cubicBezTo>
                      <a:pt x="7972" y="4230"/>
                      <a:pt x="8013" y="4252"/>
                      <a:pt x="8031" y="4261"/>
                    </a:cubicBezTo>
                    <a:cubicBezTo>
                      <a:pt x="7339" y="5683"/>
                      <a:pt x="7339" y="5683"/>
                      <a:pt x="7339" y="5683"/>
                    </a:cubicBezTo>
                    <a:cubicBezTo>
                      <a:pt x="7294" y="6250"/>
                      <a:pt x="7294" y="6250"/>
                      <a:pt x="7294" y="6250"/>
                    </a:cubicBezTo>
                    <a:cubicBezTo>
                      <a:pt x="7294" y="6251"/>
                      <a:pt x="7294" y="6251"/>
                      <a:pt x="7294" y="6251"/>
                    </a:cubicBezTo>
                    <a:cubicBezTo>
                      <a:pt x="7294" y="6251"/>
                      <a:pt x="7294" y="6395"/>
                      <a:pt x="7329" y="6576"/>
                    </a:cubicBezTo>
                    <a:cubicBezTo>
                      <a:pt x="7261" y="6579"/>
                      <a:pt x="6989" y="6592"/>
                      <a:pt x="6847" y="6621"/>
                    </a:cubicBezTo>
                    <a:cubicBezTo>
                      <a:pt x="6711" y="6648"/>
                      <a:pt x="6572" y="6667"/>
                      <a:pt x="6433" y="6682"/>
                    </a:cubicBezTo>
                    <a:cubicBezTo>
                      <a:pt x="6746" y="3741"/>
                      <a:pt x="6746" y="3741"/>
                      <a:pt x="6746" y="3741"/>
                    </a:cubicBezTo>
                    <a:cubicBezTo>
                      <a:pt x="6755" y="3743"/>
                      <a:pt x="6769" y="3745"/>
                      <a:pt x="6786" y="3748"/>
                    </a:cubicBezTo>
                    <a:cubicBezTo>
                      <a:pt x="6823" y="3756"/>
                      <a:pt x="6876" y="3767"/>
                      <a:pt x="6942" y="3785"/>
                    </a:cubicBezTo>
                    <a:cubicBezTo>
                      <a:pt x="7074" y="3820"/>
                      <a:pt x="7256" y="3880"/>
                      <a:pt x="7459" y="3978"/>
                    </a:cubicBezTo>
                    <a:cubicBezTo>
                      <a:pt x="7663" y="4076"/>
                      <a:pt x="7809" y="4148"/>
                      <a:pt x="7904" y="4196"/>
                    </a:cubicBezTo>
                    <a:close/>
                    <a:moveTo>
                      <a:pt x="6396" y="6685"/>
                    </a:moveTo>
                    <a:cubicBezTo>
                      <a:pt x="6396" y="6685"/>
                      <a:pt x="6396" y="6685"/>
                      <a:pt x="6396" y="6685"/>
                    </a:cubicBezTo>
                    <a:cubicBezTo>
                      <a:pt x="6400" y="6686"/>
                      <a:pt x="6400" y="6686"/>
                      <a:pt x="6400" y="6686"/>
                    </a:cubicBezTo>
                    <a:cubicBezTo>
                      <a:pt x="6388" y="6687"/>
                      <a:pt x="6376" y="6688"/>
                      <a:pt x="6363" y="6690"/>
                    </a:cubicBezTo>
                    <a:cubicBezTo>
                      <a:pt x="6283" y="6698"/>
                      <a:pt x="6137" y="6702"/>
                      <a:pt x="6012" y="6704"/>
                    </a:cubicBezTo>
                    <a:cubicBezTo>
                      <a:pt x="5887" y="6706"/>
                      <a:pt x="5782" y="6706"/>
                      <a:pt x="5782" y="6706"/>
                    </a:cubicBezTo>
                    <a:cubicBezTo>
                      <a:pt x="5776" y="6706"/>
                      <a:pt x="5776" y="6706"/>
                      <a:pt x="5776" y="6706"/>
                    </a:cubicBezTo>
                    <a:cubicBezTo>
                      <a:pt x="5671" y="6782"/>
                      <a:pt x="5671" y="6782"/>
                      <a:pt x="5671" y="6782"/>
                    </a:cubicBezTo>
                    <a:cubicBezTo>
                      <a:pt x="5685" y="6723"/>
                      <a:pt x="5685" y="6723"/>
                      <a:pt x="5685" y="6723"/>
                    </a:cubicBezTo>
                    <a:cubicBezTo>
                      <a:pt x="5942" y="4455"/>
                      <a:pt x="5942" y="4455"/>
                      <a:pt x="5942" y="4455"/>
                    </a:cubicBezTo>
                    <a:cubicBezTo>
                      <a:pt x="6020" y="4227"/>
                      <a:pt x="6020" y="4227"/>
                      <a:pt x="6020" y="4227"/>
                    </a:cubicBezTo>
                    <a:cubicBezTo>
                      <a:pt x="6118" y="3736"/>
                      <a:pt x="6118" y="3736"/>
                      <a:pt x="6118" y="3736"/>
                    </a:cubicBezTo>
                    <a:cubicBezTo>
                      <a:pt x="6119" y="3731"/>
                      <a:pt x="6119" y="3731"/>
                      <a:pt x="6119" y="3731"/>
                    </a:cubicBezTo>
                    <a:cubicBezTo>
                      <a:pt x="6710" y="3738"/>
                      <a:pt x="6710" y="3738"/>
                      <a:pt x="6710" y="3738"/>
                    </a:cubicBezTo>
                    <a:lnTo>
                      <a:pt x="6396" y="6685"/>
                    </a:lnTo>
                    <a:close/>
                    <a:moveTo>
                      <a:pt x="4859" y="5634"/>
                    </a:moveTo>
                    <a:cubicBezTo>
                      <a:pt x="4859" y="5633"/>
                      <a:pt x="4860" y="5631"/>
                      <a:pt x="4861" y="5630"/>
                    </a:cubicBezTo>
                    <a:cubicBezTo>
                      <a:pt x="4907" y="5575"/>
                      <a:pt x="4953" y="5509"/>
                      <a:pt x="4953" y="5408"/>
                    </a:cubicBezTo>
                    <a:cubicBezTo>
                      <a:pt x="4953" y="5372"/>
                      <a:pt x="4947" y="5332"/>
                      <a:pt x="4935" y="5286"/>
                    </a:cubicBezTo>
                    <a:cubicBezTo>
                      <a:pt x="4916" y="5221"/>
                      <a:pt x="4900" y="5168"/>
                      <a:pt x="4900" y="5120"/>
                    </a:cubicBezTo>
                    <a:cubicBezTo>
                      <a:pt x="4900" y="5082"/>
                      <a:pt x="4909" y="5047"/>
                      <a:pt x="4937" y="5007"/>
                    </a:cubicBezTo>
                    <a:cubicBezTo>
                      <a:pt x="5002" y="4911"/>
                      <a:pt x="5091" y="4801"/>
                      <a:pt x="5115" y="4698"/>
                    </a:cubicBezTo>
                    <a:cubicBezTo>
                      <a:pt x="5115" y="4696"/>
                      <a:pt x="5115" y="4694"/>
                      <a:pt x="5116" y="4693"/>
                    </a:cubicBezTo>
                    <a:cubicBezTo>
                      <a:pt x="5126" y="4689"/>
                      <a:pt x="5126" y="4689"/>
                      <a:pt x="5126" y="4689"/>
                    </a:cubicBezTo>
                    <a:cubicBezTo>
                      <a:pt x="5856" y="4753"/>
                      <a:pt x="5856" y="4753"/>
                      <a:pt x="5856" y="4753"/>
                    </a:cubicBezTo>
                    <a:cubicBezTo>
                      <a:pt x="5862" y="4756"/>
                      <a:pt x="5868" y="4759"/>
                      <a:pt x="5871" y="4759"/>
                    </a:cubicBezTo>
                    <a:cubicBezTo>
                      <a:pt x="5650" y="6717"/>
                      <a:pt x="5650" y="6717"/>
                      <a:pt x="5650" y="6717"/>
                    </a:cubicBezTo>
                    <a:cubicBezTo>
                      <a:pt x="5626" y="6814"/>
                      <a:pt x="5626" y="6814"/>
                      <a:pt x="5626" y="6814"/>
                    </a:cubicBezTo>
                    <a:cubicBezTo>
                      <a:pt x="5149" y="7158"/>
                      <a:pt x="5149" y="7158"/>
                      <a:pt x="5149" y="7158"/>
                    </a:cubicBezTo>
                    <a:cubicBezTo>
                      <a:pt x="5146" y="7154"/>
                      <a:pt x="5142" y="7150"/>
                      <a:pt x="5139" y="7146"/>
                    </a:cubicBezTo>
                    <a:cubicBezTo>
                      <a:pt x="5124" y="7109"/>
                      <a:pt x="5098" y="7048"/>
                      <a:pt x="5058" y="6980"/>
                    </a:cubicBezTo>
                    <a:cubicBezTo>
                      <a:pt x="5027" y="6928"/>
                      <a:pt x="5007" y="6879"/>
                      <a:pt x="4994" y="6843"/>
                    </a:cubicBezTo>
                    <a:cubicBezTo>
                      <a:pt x="4992" y="6837"/>
                      <a:pt x="4991" y="6833"/>
                      <a:pt x="4989" y="6828"/>
                    </a:cubicBezTo>
                    <a:cubicBezTo>
                      <a:pt x="4989" y="6826"/>
                      <a:pt x="4989" y="6826"/>
                      <a:pt x="4989" y="6826"/>
                    </a:cubicBezTo>
                    <a:cubicBezTo>
                      <a:pt x="4989" y="6826"/>
                      <a:pt x="4982" y="6796"/>
                      <a:pt x="4981" y="6783"/>
                    </a:cubicBezTo>
                    <a:cubicBezTo>
                      <a:pt x="4979" y="6770"/>
                      <a:pt x="4978" y="6748"/>
                      <a:pt x="4978" y="6728"/>
                    </a:cubicBezTo>
                    <a:cubicBezTo>
                      <a:pt x="4978" y="6707"/>
                      <a:pt x="4979" y="6687"/>
                      <a:pt x="4979" y="6679"/>
                    </a:cubicBezTo>
                    <a:cubicBezTo>
                      <a:pt x="4987" y="6589"/>
                      <a:pt x="5004" y="6472"/>
                      <a:pt x="5009" y="6437"/>
                    </a:cubicBezTo>
                    <a:cubicBezTo>
                      <a:pt x="5014" y="6405"/>
                      <a:pt x="5024" y="6332"/>
                      <a:pt x="5031" y="6266"/>
                    </a:cubicBezTo>
                    <a:cubicBezTo>
                      <a:pt x="5035" y="6231"/>
                      <a:pt x="5038" y="6197"/>
                      <a:pt x="5040" y="6179"/>
                    </a:cubicBezTo>
                    <a:cubicBezTo>
                      <a:pt x="5041" y="6176"/>
                      <a:pt x="5042" y="6159"/>
                      <a:pt x="5042" y="6132"/>
                    </a:cubicBezTo>
                    <a:cubicBezTo>
                      <a:pt x="5042" y="6034"/>
                      <a:pt x="5027" y="5805"/>
                      <a:pt x="4859" y="5634"/>
                    </a:cubicBezTo>
                    <a:close/>
                    <a:moveTo>
                      <a:pt x="4308" y="5754"/>
                    </a:moveTo>
                    <a:cubicBezTo>
                      <a:pt x="4308" y="5752"/>
                      <a:pt x="4308" y="5750"/>
                      <a:pt x="4308" y="5748"/>
                    </a:cubicBezTo>
                    <a:cubicBezTo>
                      <a:pt x="4307" y="5698"/>
                      <a:pt x="4259" y="5646"/>
                      <a:pt x="4251" y="5634"/>
                    </a:cubicBezTo>
                    <a:cubicBezTo>
                      <a:pt x="4250" y="5634"/>
                      <a:pt x="4250" y="5633"/>
                      <a:pt x="4250" y="5633"/>
                    </a:cubicBezTo>
                    <a:cubicBezTo>
                      <a:pt x="4250" y="5633"/>
                      <a:pt x="4249" y="5633"/>
                      <a:pt x="4249" y="5633"/>
                    </a:cubicBezTo>
                    <a:cubicBezTo>
                      <a:pt x="4249" y="5633"/>
                      <a:pt x="4249" y="5633"/>
                      <a:pt x="4249" y="5632"/>
                    </a:cubicBezTo>
                    <a:cubicBezTo>
                      <a:pt x="4249" y="5632"/>
                      <a:pt x="4249" y="5632"/>
                      <a:pt x="4248" y="5631"/>
                    </a:cubicBezTo>
                    <a:cubicBezTo>
                      <a:pt x="4248" y="5631"/>
                      <a:pt x="4248" y="5631"/>
                      <a:pt x="4247" y="5630"/>
                    </a:cubicBezTo>
                    <a:cubicBezTo>
                      <a:pt x="4247" y="5630"/>
                      <a:pt x="4246" y="5630"/>
                      <a:pt x="4246" y="5629"/>
                    </a:cubicBezTo>
                    <a:cubicBezTo>
                      <a:pt x="4245" y="5628"/>
                      <a:pt x="4243" y="5627"/>
                      <a:pt x="4241" y="5625"/>
                    </a:cubicBezTo>
                    <a:cubicBezTo>
                      <a:pt x="4237" y="5622"/>
                      <a:pt x="4232" y="5617"/>
                      <a:pt x="4225" y="5612"/>
                    </a:cubicBezTo>
                    <a:cubicBezTo>
                      <a:pt x="4211" y="5600"/>
                      <a:pt x="4191" y="5583"/>
                      <a:pt x="4169" y="5564"/>
                    </a:cubicBezTo>
                    <a:cubicBezTo>
                      <a:pt x="4089" y="5492"/>
                      <a:pt x="3976" y="5388"/>
                      <a:pt x="3976" y="5388"/>
                    </a:cubicBezTo>
                    <a:cubicBezTo>
                      <a:pt x="3976" y="5388"/>
                      <a:pt x="3976" y="5388"/>
                      <a:pt x="3976" y="5388"/>
                    </a:cubicBezTo>
                    <a:cubicBezTo>
                      <a:pt x="3975" y="5389"/>
                      <a:pt x="3975" y="5389"/>
                      <a:pt x="3975" y="5389"/>
                    </a:cubicBezTo>
                    <a:cubicBezTo>
                      <a:pt x="3981" y="5375"/>
                      <a:pt x="3985" y="5362"/>
                      <a:pt x="3989" y="5351"/>
                    </a:cubicBezTo>
                    <a:cubicBezTo>
                      <a:pt x="4004" y="5311"/>
                      <a:pt x="4035" y="5196"/>
                      <a:pt x="4046" y="5165"/>
                    </a:cubicBezTo>
                    <a:cubicBezTo>
                      <a:pt x="4057" y="5132"/>
                      <a:pt x="4069" y="5078"/>
                      <a:pt x="4108" y="5032"/>
                    </a:cubicBezTo>
                    <a:cubicBezTo>
                      <a:pt x="4124" y="5013"/>
                      <a:pt x="4145" y="4991"/>
                      <a:pt x="4167" y="4971"/>
                    </a:cubicBezTo>
                    <a:cubicBezTo>
                      <a:pt x="4200" y="4941"/>
                      <a:pt x="4230" y="4918"/>
                      <a:pt x="4230" y="4918"/>
                    </a:cubicBezTo>
                    <a:cubicBezTo>
                      <a:pt x="4233" y="4915"/>
                      <a:pt x="4233" y="4915"/>
                      <a:pt x="4233" y="4915"/>
                    </a:cubicBezTo>
                    <a:cubicBezTo>
                      <a:pt x="4240" y="4923"/>
                      <a:pt x="4240" y="4923"/>
                      <a:pt x="4240" y="4923"/>
                    </a:cubicBezTo>
                    <a:cubicBezTo>
                      <a:pt x="4242" y="4903"/>
                      <a:pt x="4242" y="4903"/>
                      <a:pt x="4242" y="4903"/>
                    </a:cubicBezTo>
                    <a:cubicBezTo>
                      <a:pt x="4271" y="4941"/>
                      <a:pt x="4333" y="5020"/>
                      <a:pt x="4406" y="5113"/>
                    </a:cubicBezTo>
                    <a:cubicBezTo>
                      <a:pt x="4508" y="5244"/>
                      <a:pt x="4631" y="5403"/>
                      <a:pt x="4716" y="5513"/>
                    </a:cubicBezTo>
                    <a:cubicBezTo>
                      <a:pt x="4763" y="5574"/>
                      <a:pt x="4798" y="5621"/>
                      <a:pt x="4810" y="5637"/>
                    </a:cubicBezTo>
                    <a:cubicBezTo>
                      <a:pt x="4760" y="5704"/>
                      <a:pt x="4695" y="5806"/>
                      <a:pt x="4669" y="5848"/>
                    </a:cubicBezTo>
                    <a:cubicBezTo>
                      <a:pt x="4667" y="5849"/>
                      <a:pt x="4664" y="5857"/>
                      <a:pt x="4664" y="5857"/>
                    </a:cubicBezTo>
                    <a:cubicBezTo>
                      <a:pt x="4647" y="5851"/>
                      <a:pt x="4647" y="5851"/>
                      <a:pt x="4647" y="5851"/>
                    </a:cubicBezTo>
                    <a:cubicBezTo>
                      <a:pt x="4643" y="5859"/>
                      <a:pt x="4643" y="5859"/>
                      <a:pt x="4643" y="5859"/>
                    </a:cubicBezTo>
                    <a:cubicBezTo>
                      <a:pt x="4647" y="5851"/>
                      <a:pt x="4647" y="5851"/>
                      <a:pt x="4647" y="5851"/>
                    </a:cubicBezTo>
                    <a:lnTo>
                      <a:pt x="4308" y="5754"/>
                    </a:lnTo>
                    <a:close/>
                    <a:moveTo>
                      <a:pt x="4228" y="5637"/>
                    </a:moveTo>
                    <a:cubicBezTo>
                      <a:pt x="4227" y="5637"/>
                      <a:pt x="4227" y="5638"/>
                      <a:pt x="4227" y="5638"/>
                    </a:cubicBezTo>
                    <a:cubicBezTo>
                      <a:pt x="4227" y="5637"/>
                      <a:pt x="4227" y="5637"/>
                      <a:pt x="4228" y="5637"/>
                    </a:cubicBezTo>
                    <a:close/>
                    <a:moveTo>
                      <a:pt x="4227" y="5640"/>
                    </a:moveTo>
                    <a:cubicBezTo>
                      <a:pt x="4227" y="5640"/>
                      <a:pt x="4227" y="5640"/>
                      <a:pt x="4227" y="5640"/>
                    </a:cubicBezTo>
                    <a:cubicBezTo>
                      <a:pt x="4227" y="5640"/>
                      <a:pt x="4227" y="5640"/>
                      <a:pt x="4227" y="5640"/>
                    </a:cubicBezTo>
                    <a:cubicBezTo>
                      <a:pt x="4227" y="5640"/>
                      <a:pt x="4227" y="5640"/>
                      <a:pt x="4227" y="5640"/>
                    </a:cubicBezTo>
                    <a:close/>
                    <a:moveTo>
                      <a:pt x="4752" y="5501"/>
                    </a:moveTo>
                    <a:cubicBezTo>
                      <a:pt x="4696" y="5429"/>
                      <a:pt x="4622" y="5333"/>
                      <a:pt x="4548" y="5237"/>
                    </a:cubicBezTo>
                    <a:cubicBezTo>
                      <a:pt x="4427" y="5082"/>
                      <a:pt x="4292" y="4905"/>
                      <a:pt x="4247" y="4846"/>
                    </a:cubicBezTo>
                    <a:cubicBezTo>
                      <a:pt x="4247" y="4846"/>
                      <a:pt x="4247" y="4846"/>
                      <a:pt x="4247" y="4846"/>
                    </a:cubicBezTo>
                    <a:cubicBezTo>
                      <a:pt x="4247" y="4845"/>
                      <a:pt x="4247" y="4845"/>
                      <a:pt x="4247" y="4845"/>
                    </a:cubicBezTo>
                    <a:cubicBezTo>
                      <a:pt x="4237" y="4832"/>
                      <a:pt x="4231" y="4825"/>
                      <a:pt x="4231" y="4825"/>
                    </a:cubicBezTo>
                    <a:cubicBezTo>
                      <a:pt x="4231" y="4825"/>
                      <a:pt x="4231" y="4825"/>
                      <a:pt x="4231" y="4825"/>
                    </a:cubicBezTo>
                    <a:cubicBezTo>
                      <a:pt x="3618" y="4023"/>
                      <a:pt x="3618" y="4023"/>
                      <a:pt x="3618" y="4023"/>
                    </a:cubicBezTo>
                    <a:cubicBezTo>
                      <a:pt x="3631" y="4016"/>
                      <a:pt x="3631" y="4016"/>
                      <a:pt x="3631" y="4016"/>
                    </a:cubicBezTo>
                    <a:cubicBezTo>
                      <a:pt x="3965" y="3901"/>
                      <a:pt x="3965" y="3901"/>
                      <a:pt x="3965" y="3901"/>
                    </a:cubicBezTo>
                    <a:cubicBezTo>
                      <a:pt x="3964" y="3900"/>
                      <a:pt x="3964" y="3900"/>
                      <a:pt x="3964" y="3900"/>
                    </a:cubicBezTo>
                    <a:cubicBezTo>
                      <a:pt x="4135" y="3849"/>
                      <a:pt x="4135" y="3849"/>
                      <a:pt x="4135" y="3849"/>
                    </a:cubicBezTo>
                    <a:cubicBezTo>
                      <a:pt x="4536" y="3924"/>
                      <a:pt x="4536" y="3924"/>
                      <a:pt x="4536" y="3924"/>
                    </a:cubicBezTo>
                    <a:cubicBezTo>
                      <a:pt x="4535" y="3930"/>
                      <a:pt x="4533" y="3935"/>
                      <a:pt x="4533" y="3942"/>
                    </a:cubicBezTo>
                    <a:cubicBezTo>
                      <a:pt x="4533" y="3968"/>
                      <a:pt x="4543" y="3997"/>
                      <a:pt x="4565" y="4029"/>
                    </a:cubicBezTo>
                    <a:cubicBezTo>
                      <a:pt x="4636" y="4133"/>
                      <a:pt x="5026" y="4632"/>
                      <a:pt x="5077" y="4698"/>
                    </a:cubicBezTo>
                    <a:cubicBezTo>
                      <a:pt x="5054" y="4786"/>
                      <a:pt x="4971" y="4892"/>
                      <a:pt x="4907" y="4986"/>
                    </a:cubicBezTo>
                    <a:cubicBezTo>
                      <a:pt x="4876" y="5032"/>
                      <a:pt x="4864" y="5076"/>
                      <a:pt x="4864" y="5120"/>
                    </a:cubicBezTo>
                    <a:cubicBezTo>
                      <a:pt x="4864" y="5176"/>
                      <a:pt x="4882" y="5231"/>
                      <a:pt x="4900" y="5296"/>
                    </a:cubicBezTo>
                    <a:cubicBezTo>
                      <a:pt x="4912" y="5339"/>
                      <a:pt x="4917" y="5376"/>
                      <a:pt x="4917" y="5408"/>
                    </a:cubicBezTo>
                    <a:cubicBezTo>
                      <a:pt x="4917" y="5498"/>
                      <a:pt x="4878" y="5553"/>
                      <a:pt x="4833" y="5607"/>
                    </a:cubicBezTo>
                    <a:cubicBezTo>
                      <a:pt x="4833" y="5607"/>
                      <a:pt x="4833" y="5608"/>
                      <a:pt x="4833" y="5608"/>
                    </a:cubicBezTo>
                    <a:cubicBezTo>
                      <a:pt x="4829" y="5602"/>
                      <a:pt x="4825" y="5596"/>
                      <a:pt x="4819" y="5589"/>
                    </a:cubicBezTo>
                    <a:cubicBezTo>
                      <a:pt x="4803" y="5567"/>
                      <a:pt x="4780" y="5537"/>
                      <a:pt x="4752" y="5501"/>
                    </a:cubicBezTo>
                    <a:close/>
                    <a:moveTo>
                      <a:pt x="4570" y="3942"/>
                    </a:moveTo>
                    <a:cubicBezTo>
                      <a:pt x="4570" y="3919"/>
                      <a:pt x="4580" y="3902"/>
                      <a:pt x="4595" y="3888"/>
                    </a:cubicBezTo>
                    <a:cubicBezTo>
                      <a:pt x="4609" y="3874"/>
                      <a:pt x="4628" y="3865"/>
                      <a:pt x="4639" y="3861"/>
                    </a:cubicBezTo>
                    <a:cubicBezTo>
                      <a:pt x="4644" y="3859"/>
                      <a:pt x="4675" y="3852"/>
                      <a:pt x="4715" y="3845"/>
                    </a:cubicBezTo>
                    <a:cubicBezTo>
                      <a:pt x="4756" y="3838"/>
                      <a:pt x="4807" y="3830"/>
                      <a:pt x="4857" y="3822"/>
                    </a:cubicBezTo>
                    <a:cubicBezTo>
                      <a:pt x="4940" y="3809"/>
                      <a:pt x="5019" y="3797"/>
                      <a:pt x="5043" y="3793"/>
                    </a:cubicBezTo>
                    <a:cubicBezTo>
                      <a:pt x="5075" y="4061"/>
                      <a:pt x="5105" y="4303"/>
                      <a:pt x="5114" y="4351"/>
                    </a:cubicBezTo>
                    <a:cubicBezTo>
                      <a:pt x="5119" y="4375"/>
                      <a:pt x="5121" y="4401"/>
                      <a:pt x="5121" y="4427"/>
                    </a:cubicBezTo>
                    <a:cubicBezTo>
                      <a:pt x="5121" y="4503"/>
                      <a:pt x="5104" y="4585"/>
                      <a:pt x="5088" y="4653"/>
                    </a:cubicBezTo>
                    <a:cubicBezTo>
                      <a:pt x="5049" y="4604"/>
                      <a:pt x="4968" y="4499"/>
                      <a:pt x="4881" y="4387"/>
                    </a:cubicBezTo>
                    <a:cubicBezTo>
                      <a:pt x="4761" y="4232"/>
                      <a:pt x="4631" y="4063"/>
                      <a:pt x="4595" y="4009"/>
                    </a:cubicBezTo>
                    <a:cubicBezTo>
                      <a:pt x="4576" y="3981"/>
                      <a:pt x="4570" y="3959"/>
                      <a:pt x="4570" y="3942"/>
                    </a:cubicBezTo>
                    <a:close/>
                    <a:moveTo>
                      <a:pt x="6082" y="3729"/>
                    </a:moveTo>
                    <a:cubicBezTo>
                      <a:pt x="5985" y="4218"/>
                      <a:pt x="5985" y="4218"/>
                      <a:pt x="5985" y="4218"/>
                    </a:cubicBezTo>
                    <a:cubicBezTo>
                      <a:pt x="5922" y="4402"/>
                      <a:pt x="5922" y="4402"/>
                      <a:pt x="5922" y="4402"/>
                    </a:cubicBezTo>
                    <a:cubicBezTo>
                      <a:pt x="5895" y="4341"/>
                      <a:pt x="5895" y="4341"/>
                      <a:pt x="5895" y="4341"/>
                    </a:cubicBezTo>
                    <a:cubicBezTo>
                      <a:pt x="6007" y="2855"/>
                      <a:pt x="6007" y="2855"/>
                      <a:pt x="6007" y="2855"/>
                    </a:cubicBezTo>
                    <a:cubicBezTo>
                      <a:pt x="6144" y="2847"/>
                      <a:pt x="6235" y="2846"/>
                      <a:pt x="6254" y="2845"/>
                    </a:cubicBezTo>
                    <a:cubicBezTo>
                      <a:pt x="6254" y="2845"/>
                      <a:pt x="6254" y="2846"/>
                      <a:pt x="6254" y="2846"/>
                    </a:cubicBezTo>
                    <a:cubicBezTo>
                      <a:pt x="6254" y="2847"/>
                      <a:pt x="6254" y="2847"/>
                      <a:pt x="6254" y="2847"/>
                    </a:cubicBezTo>
                    <a:lnTo>
                      <a:pt x="6082" y="3729"/>
                    </a:lnTo>
                    <a:close/>
                    <a:moveTo>
                      <a:pt x="5858" y="4348"/>
                    </a:moveTo>
                    <a:cubicBezTo>
                      <a:pt x="5906" y="4454"/>
                      <a:pt x="5906" y="4454"/>
                      <a:pt x="5906" y="4454"/>
                    </a:cubicBezTo>
                    <a:cubicBezTo>
                      <a:pt x="5875" y="4729"/>
                      <a:pt x="5875" y="4729"/>
                      <a:pt x="5875" y="4729"/>
                    </a:cubicBezTo>
                    <a:cubicBezTo>
                      <a:pt x="5870" y="4729"/>
                      <a:pt x="5870" y="4729"/>
                      <a:pt x="5870" y="4729"/>
                    </a:cubicBezTo>
                    <a:cubicBezTo>
                      <a:pt x="5870" y="4728"/>
                      <a:pt x="5870" y="4728"/>
                      <a:pt x="5870" y="4728"/>
                    </a:cubicBezTo>
                    <a:cubicBezTo>
                      <a:pt x="5130" y="4663"/>
                      <a:pt x="5130" y="4663"/>
                      <a:pt x="5130" y="4663"/>
                    </a:cubicBezTo>
                    <a:cubicBezTo>
                      <a:pt x="5123" y="4661"/>
                      <a:pt x="5123" y="4661"/>
                      <a:pt x="5123" y="4661"/>
                    </a:cubicBezTo>
                    <a:cubicBezTo>
                      <a:pt x="5139" y="4592"/>
                      <a:pt x="5157" y="4508"/>
                      <a:pt x="5157" y="4427"/>
                    </a:cubicBezTo>
                    <a:cubicBezTo>
                      <a:pt x="5157" y="4399"/>
                      <a:pt x="5155" y="4371"/>
                      <a:pt x="5150" y="4345"/>
                    </a:cubicBezTo>
                    <a:cubicBezTo>
                      <a:pt x="5139" y="4290"/>
                      <a:pt x="5097" y="3945"/>
                      <a:pt x="5059" y="3617"/>
                    </a:cubicBezTo>
                    <a:cubicBezTo>
                      <a:pt x="5022" y="3307"/>
                      <a:pt x="4988" y="3010"/>
                      <a:pt x="4984" y="2977"/>
                    </a:cubicBezTo>
                    <a:cubicBezTo>
                      <a:pt x="5270" y="2920"/>
                      <a:pt x="5565" y="2887"/>
                      <a:pt x="5799" y="2869"/>
                    </a:cubicBezTo>
                    <a:cubicBezTo>
                      <a:pt x="5861" y="2864"/>
                      <a:pt x="5918" y="2860"/>
                      <a:pt x="5971" y="2857"/>
                    </a:cubicBezTo>
                    <a:lnTo>
                      <a:pt x="5858" y="4348"/>
                    </a:lnTo>
                    <a:close/>
                    <a:moveTo>
                      <a:pt x="5353" y="2880"/>
                    </a:moveTo>
                    <a:cubicBezTo>
                      <a:pt x="5185" y="2902"/>
                      <a:pt x="5008" y="2932"/>
                      <a:pt x="4839" y="2972"/>
                    </a:cubicBezTo>
                    <a:cubicBezTo>
                      <a:pt x="4770" y="2988"/>
                      <a:pt x="4697" y="3006"/>
                      <a:pt x="4623" y="3025"/>
                    </a:cubicBezTo>
                    <a:cubicBezTo>
                      <a:pt x="4197" y="2097"/>
                      <a:pt x="4197" y="2097"/>
                      <a:pt x="4197" y="2097"/>
                    </a:cubicBezTo>
                    <a:cubicBezTo>
                      <a:pt x="4197" y="2096"/>
                      <a:pt x="4197" y="2096"/>
                      <a:pt x="4197" y="2096"/>
                    </a:cubicBezTo>
                    <a:cubicBezTo>
                      <a:pt x="4323" y="2090"/>
                      <a:pt x="4752" y="2064"/>
                      <a:pt x="4962" y="2030"/>
                    </a:cubicBezTo>
                    <a:cubicBezTo>
                      <a:pt x="5075" y="2012"/>
                      <a:pt x="5166" y="1965"/>
                      <a:pt x="5237" y="1913"/>
                    </a:cubicBezTo>
                    <a:cubicBezTo>
                      <a:pt x="5243" y="1919"/>
                      <a:pt x="5250" y="1928"/>
                      <a:pt x="5258" y="1938"/>
                    </a:cubicBezTo>
                    <a:cubicBezTo>
                      <a:pt x="5272" y="1957"/>
                      <a:pt x="5287" y="1981"/>
                      <a:pt x="5291" y="1996"/>
                    </a:cubicBezTo>
                    <a:cubicBezTo>
                      <a:pt x="5297" y="2019"/>
                      <a:pt x="5320" y="2066"/>
                      <a:pt x="5344" y="2125"/>
                    </a:cubicBezTo>
                    <a:cubicBezTo>
                      <a:pt x="5368" y="2184"/>
                      <a:pt x="5392" y="2253"/>
                      <a:pt x="5397" y="2313"/>
                    </a:cubicBezTo>
                    <a:cubicBezTo>
                      <a:pt x="5397" y="2325"/>
                      <a:pt x="5398" y="2341"/>
                      <a:pt x="5398" y="2359"/>
                    </a:cubicBezTo>
                    <a:cubicBezTo>
                      <a:pt x="5398" y="2497"/>
                      <a:pt x="5373" y="2778"/>
                      <a:pt x="5365" y="2862"/>
                    </a:cubicBezTo>
                    <a:lnTo>
                      <a:pt x="5353" y="2880"/>
                    </a:lnTo>
                    <a:close/>
                    <a:moveTo>
                      <a:pt x="4847" y="3007"/>
                    </a:moveTo>
                    <a:cubicBezTo>
                      <a:pt x="4880" y="2999"/>
                      <a:pt x="4914" y="2992"/>
                      <a:pt x="4948" y="2985"/>
                    </a:cubicBezTo>
                    <a:cubicBezTo>
                      <a:pt x="4954" y="3036"/>
                      <a:pt x="4997" y="3411"/>
                      <a:pt x="5039" y="3757"/>
                    </a:cubicBezTo>
                    <a:cubicBezTo>
                      <a:pt x="5001" y="3763"/>
                      <a:pt x="4819" y="3790"/>
                      <a:pt x="4709" y="3810"/>
                    </a:cubicBezTo>
                    <a:cubicBezTo>
                      <a:pt x="4668" y="3817"/>
                      <a:pt x="4639" y="3823"/>
                      <a:pt x="4626" y="3827"/>
                    </a:cubicBezTo>
                    <a:cubicBezTo>
                      <a:pt x="4612" y="3833"/>
                      <a:pt x="4590" y="3843"/>
                      <a:pt x="4570" y="3862"/>
                    </a:cubicBezTo>
                    <a:cubicBezTo>
                      <a:pt x="4560" y="3871"/>
                      <a:pt x="4550" y="3884"/>
                      <a:pt x="4543" y="3899"/>
                    </a:cubicBezTo>
                    <a:cubicBezTo>
                      <a:pt x="4535" y="3897"/>
                      <a:pt x="4535" y="3897"/>
                      <a:pt x="4535" y="3897"/>
                    </a:cubicBezTo>
                    <a:cubicBezTo>
                      <a:pt x="4134" y="3823"/>
                      <a:pt x="4134" y="3823"/>
                      <a:pt x="4134" y="3823"/>
                    </a:cubicBezTo>
                    <a:cubicBezTo>
                      <a:pt x="3938" y="3880"/>
                      <a:pt x="3938" y="3880"/>
                      <a:pt x="3938" y="3880"/>
                    </a:cubicBezTo>
                    <a:cubicBezTo>
                      <a:pt x="3938" y="3881"/>
                      <a:pt x="3938" y="3881"/>
                      <a:pt x="3938" y="3881"/>
                    </a:cubicBezTo>
                    <a:cubicBezTo>
                      <a:pt x="3609" y="3988"/>
                      <a:pt x="3609" y="3988"/>
                      <a:pt x="3609" y="3988"/>
                    </a:cubicBezTo>
                    <a:cubicBezTo>
                      <a:pt x="3609" y="3989"/>
                      <a:pt x="3609" y="3989"/>
                      <a:pt x="3609" y="3989"/>
                    </a:cubicBezTo>
                    <a:cubicBezTo>
                      <a:pt x="3594" y="3992"/>
                      <a:pt x="3594" y="3992"/>
                      <a:pt x="3594" y="3992"/>
                    </a:cubicBezTo>
                    <a:cubicBezTo>
                      <a:pt x="3444" y="3796"/>
                      <a:pt x="3444" y="3796"/>
                      <a:pt x="3444" y="3796"/>
                    </a:cubicBezTo>
                    <a:cubicBezTo>
                      <a:pt x="3443" y="3797"/>
                      <a:pt x="3443" y="3797"/>
                      <a:pt x="3443" y="3797"/>
                    </a:cubicBezTo>
                    <a:cubicBezTo>
                      <a:pt x="3211" y="3489"/>
                      <a:pt x="3211" y="3489"/>
                      <a:pt x="3211" y="3489"/>
                    </a:cubicBezTo>
                    <a:cubicBezTo>
                      <a:pt x="3218" y="3487"/>
                      <a:pt x="3226" y="3484"/>
                      <a:pt x="3236" y="3480"/>
                    </a:cubicBezTo>
                    <a:cubicBezTo>
                      <a:pt x="3265" y="3470"/>
                      <a:pt x="3307" y="3456"/>
                      <a:pt x="3359" y="3439"/>
                    </a:cubicBezTo>
                    <a:cubicBezTo>
                      <a:pt x="3463" y="3405"/>
                      <a:pt x="3608" y="3358"/>
                      <a:pt x="3774" y="3307"/>
                    </a:cubicBezTo>
                    <a:cubicBezTo>
                      <a:pt x="4106" y="3204"/>
                      <a:pt x="4520" y="3083"/>
                      <a:pt x="4847" y="3007"/>
                    </a:cubicBezTo>
                    <a:close/>
                    <a:moveTo>
                      <a:pt x="4349" y="7106"/>
                    </a:moveTo>
                    <a:cubicBezTo>
                      <a:pt x="4367" y="7082"/>
                      <a:pt x="4396" y="7042"/>
                      <a:pt x="4415" y="7014"/>
                    </a:cubicBezTo>
                    <a:cubicBezTo>
                      <a:pt x="4444" y="6971"/>
                      <a:pt x="4458" y="6930"/>
                      <a:pt x="4471" y="6878"/>
                    </a:cubicBezTo>
                    <a:cubicBezTo>
                      <a:pt x="4484" y="6824"/>
                      <a:pt x="4538" y="6453"/>
                      <a:pt x="4544" y="6402"/>
                    </a:cubicBezTo>
                    <a:cubicBezTo>
                      <a:pt x="4549" y="6354"/>
                      <a:pt x="4568" y="6241"/>
                      <a:pt x="4578" y="6193"/>
                    </a:cubicBezTo>
                    <a:cubicBezTo>
                      <a:pt x="4581" y="6172"/>
                      <a:pt x="4613" y="6087"/>
                      <a:pt x="4643" y="6010"/>
                    </a:cubicBezTo>
                    <a:cubicBezTo>
                      <a:pt x="4667" y="5949"/>
                      <a:pt x="4690" y="5891"/>
                      <a:pt x="4699" y="5870"/>
                    </a:cubicBezTo>
                    <a:cubicBezTo>
                      <a:pt x="4700" y="5868"/>
                      <a:pt x="4701" y="5866"/>
                      <a:pt x="4701" y="5865"/>
                    </a:cubicBezTo>
                    <a:cubicBezTo>
                      <a:pt x="4702" y="5864"/>
                      <a:pt x="4702" y="5863"/>
                      <a:pt x="4703" y="5862"/>
                    </a:cubicBezTo>
                    <a:cubicBezTo>
                      <a:pt x="4703" y="5862"/>
                      <a:pt x="4703" y="5862"/>
                      <a:pt x="4703" y="5862"/>
                    </a:cubicBezTo>
                    <a:cubicBezTo>
                      <a:pt x="4703" y="5862"/>
                      <a:pt x="4703" y="5862"/>
                      <a:pt x="4703" y="5862"/>
                    </a:cubicBezTo>
                    <a:cubicBezTo>
                      <a:pt x="4715" y="5843"/>
                      <a:pt x="4732" y="5816"/>
                      <a:pt x="4752" y="5786"/>
                    </a:cubicBezTo>
                    <a:cubicBezTo>
                      <a:pt x="4780" y="5742"/>
                      <a:pt x="4814" y="5693"/>
                      <a:pt x="4841" y="5656"/>
                    </a:cubicBezTo>
                    <a:cubicBezTo>
                      <a:pt x="4848" y="5661"/>
                      <a:pt x="4848" y="5661"/>
                      <a:pt x="4848" y="5661"/>
                    </a:cubicBezTo>
                    <a:cubicBezTo>
                      <a:pt x="5001" y="5822"/>
                      <a:pt x="5016" y="6039"/>
                      <a:pt x="5016" y="6132"/>
                    </a:cubicBezTo>
                    <a:cubicBezTo>
                      <a:pt x="5016" y="6147"/>
                      <a:pt x="5016" y="6159"/>
                      <a:pt x="5016" y="6167"/>
                    </a:cubicBezTo>
                    <a:cubicBezTo>
                      <a:pt x="5016" y="6170"/>
                      <a:pt x="5015" y="6173"/>
                      <a:pt x="5015" y="6177"/>
                    </a:cubicBezTo>
                    <a:cubicBezTo>
                      <a:pt x="5013" y="6177"/>
                      <a:pt x="5013" y="6177"/>
                      <a:pt x="5013" y="6177"/>
                    </a:cubicBezTo>
                    <a:cubicBezTo>
                      <a:pt x="5015" y="6177"/>
                      <a:pt x="5015" y="6177"/>
                      <a:pt x="5015" y="6177"/>
                    </a:cubicBezTo>
                    <a:cubicBezTo>
                      <a:pt x="5014" y="6197"/>
                      <a:pt x="5011" y="6229"/>
                      <a:pt x="5007" y="6264"/>
                    </a:cubicBezTo>
                    <a:cubicBezTo>
                      <a:pt x="5000" y="6328"/>
                      <a:pt x="4989" y="6402"/>
                      <a:pt x="4985" y="6433"/>
                    </a:cubicBezTo>
                    <a:cubicBezTo>
                      <a:pt x="4979" y="6469"/>
                      <a:pt x="4963" y="6586"/>
                      <a:pt x="4955" y="6677"/>
                    </a:cubicBezTo>
                    <a:cubicBezTo>
                      <a:pt x="4954" y="6686"/>
                      <a:pt x="4953" y="6706"/>
                      <a:pt x="4953" y="6728"/>
                    </a:cubicBezTo>
                    <a:cubicBezTo>
                      <a:pt x="4953" y="6749"/>
                      <a:pt x="4952" y="6763"/>
                      <a:pt x="4954" y="6786"/>
                    </a:cubicBezTo>
                    <a:cubicBezTo>
                      <a:pt x="4954" y="6787"/>
                      <a:pt x="4954" y="6789"/>
                      <a:pt x="4955" y="6790"/>
                    </a:cubicBezTo>
                    <a:cubicBezTo>
                      <a:pt x="4952" y="6791"/>
                      <a:pt x="4952" y="6791"/>
                      <a:pt x="4952" y="6791"/>
                    </a:cubicBezTo>
                    <a:cubicBezTo>
                      <a:pt x="4952" y="6791"/>
                      <a:pt x="4955" y="6807"/>
                      <a:pt x="4963" y="6831"/>
                    </a:cubicBezTo>
                    <a:cubicBezTo>
                      <a:pt x="4964" y="6836"/>
                      <a:pt x="4965" y="6840"/>
                      <a:pt x="4965" y="6840"/>
                    </a:cubicBezTo>
                    <a:cubicBezTo>
                      <a:pt x="4966" y="6842"/>
                      <a:pt x="4966" y="6842"/>
                      <a:pt x="4966" y="6842"/>
                    </a:cubicBezTo>
                    <a:cubicBezTo>
                      <a:pt x="4979" y="6879"/>
                      <a:pt x="5000" y="6934"/>
                      <a:pt x="5035" y="6993"/>
                    </a:cubicBezTo>
                    <a:cubicBezTo>
                      <a:pt x="5066" y="7046"/>
                      <a:pt x="5089" y="7095"/>
                      <a:pt x="5104" y="7131"/>
                    </a:cubicBezTo>
                    <a:cubicBezTo>
                      <a:pt x="5111" y="7146"/>
                      <a:pt x="5115" y="7158"/>
                      <a:pt x="5119" y="7168"/>
                    </a:cubicBezTo>
                    <a:cubicBezTo>
                      <a:pt x="5119" y="7171"/>
                      <a:pt x="5119" y="7173"/>
                      <a:pt x="5120" y="7175"/>
                    </a:cubicBezTo>
                    <a:cubicBezTo>
                      <a:pt x="4054" y="7782"/>
                      <a:pt x="4054" y="7782"/>
                      <a:pt x="4054" y="7782"/>
                    </a:cubicBezTo>
                    <a:cubicBezTo>
                      <a:pt x="4011" y="7806"/>
                      <a:pt x="4011" y="7806"/>
                      <a:pt x="4011" y="7806"/>
                    </a:cubicBezTo>
                    <a:cubicBezTo>
                      <a:pt x="3942" y="7641"/>
                      <a:pt x="3942" y="7641"/>
                      <a:pt x="3942" y="7641"/>
                    </a:cubicBezTo>
                    <a:cubicBezTo>
                      <a:pt x="4349" y="7106"/>
                      <a:pt x="4349" y="7106"/>
                      <a:pt x="4349" y="7106"/>
                    </a:cubicBezTo>
                    <a:close/>
                    <a:moveTo>
                      <a:pt x="4072" y="7813"/>
                    </a:moveTo>
                    <a:cubicBezTo>
                      <a:pt x="5167" y="7190"/>
                      <a:pt x="5167" y="7190"/>
                      <a:pt x="5167" y="7190"/>
                    </a:cubicBezTo>
                    <a:cubicBezTo>
                      <a:pt x="5606" y="6873"/>
                      <a:pt x="5606" y="6873"/>
                      <a:pt x="5606" y="6873"/>
                    </a:cubicBezTo>
                    <a:cubicBezTo>
                      <a:pt x="5548" y="7023"/>
                      <a:pt x="5548" y="7023"/>
                      <a:pt x="5548" y="7023"/>
                    </a:cubicBezTo>
                    <a:cubicBezTo>
                      <a:pt x="6058" y="7471"/>
                      <a:pt x="6058" y="7471"/>
                      <a:pt x="6058" y="7471"/>
                    </a:cubicBezTo>
                    <a:cubicBezTo>
                      <a:pt x="6159" y="8748"/>
                      <a:pt x="6159" y="8748"/>
                      <a:pt x="6159" y="8748"/>
                    </a:cubicBezTo>
                    <a:cubicBezTo>
                      <a:pt x="5923" y="8922"/>
                      <a:pt x="5923" y="8922"/>
                      <a:pt x="5923" y="8922"/>
                    </a:cubicBezTo>
                    <a:cubicBezTo>
                      <a:pt x="4477" y="8934"/>
                      <a:pt x="4477" y="8934"/>
                      <a:pt x="4477" y="8934"/>
                    </a:cubicBezTo>
                    <a:cubicBezTo>
                      <a:pt x="4461" y="8847"/>
                      <a:pt x="4403" y="8529"/>
                      <a:pt x="4370" y="8431"/>
                    </a:cubicBezTo>
                    <a:cubicBezTo>
                      <a:pt x="4353" y="8379"/>
                      <a:pt x="4271" y="8234"/>
                      <a:pt x="4192" y="8099"/>
                    </a:cubicBezTo>
                    <a:cubicBezTo>
                      <a:pt x="4113" y="7964"/>
                      <a:pt x="4038" y="7841"/>
                      <a:pt x="4038" y="7841"/>
                    </a:cubicBezTo>
                    <a:cubicBezTo>
                      <a:pt x="4037" y="7838"/>
                      <a:pt x="4037" y="7838"/>
                      <a:pt x="4037" y="7838"/>
                    </a:cubicBezTo>
                    <a:cubicBezTo>
                      <a:pt x="4033" y="7835"/>
                      <a:pt x="4033" y="7835"/>
                      <a:pt x="4033" y="7835"/>
                    </a:cubicBezTo>
                    <a:lnTo>
                      <a:pt x="4072" y="7813"/>
                    </a:lnTo>
                    <a:close/>
                    <a:moveTo>
                      <a:pt x="6183" y="8774"/>
                    </a:moveTo>
                    <a:cubicBezTo>
                      <a:pt x="6274" y="8777"/>
                      <a:pt x="6274" y="8777"/>
                      <a:pt x="6274" y="8777"/>
                    </a:cubicBezTo>
                    <a:cubicBezTo>
                      <a:pt x="6274" y="8828"/>
                      <a:pt x="6273" y="9110"/>
                      <a:pt x="6266" y="9306"/>
                    </a:cubicBezTo>
                    <a:cubicBezTo>
                      <a:pt x="6263" y="9370"/>
                      <a:pt x="6247" y="9418"/>
                      <a:pt x="6219" y="9443"/>
                    </a:cubicBezTo>
                    <a:cubicBezTo>
                      <a:pt x="6175" y="9487"/>
                      <a:pt x="6104" y="9497"/>
                      <a:pt x="6061" y="9497"/>
                    </a:cubicBezTo>
                    <a:cubicBezTo>
                      <a:pt x="6052" y="9497"/>
                      <a:pt x="6044" y="9497"/>
                      <a:pt x="6038" y="9496"/>
                    </a:cubicBezTo>
                    <a:cubicBezTo>
                      <a:pt x="6026" y="9322"/>
                      <a:pt x="5962" y="9010"/>
                      <a:pt x="5949" y="8947"/>
                    </a:cubicBezTo>
                    <a:lnTo>
                      <a:pt x="6183" y="8774"/>
                    </a:lnTo>
                    <a:close/>
                    <a:moveTo>
                      <a:pt x="8669" y="6522"/>
                    </a:moveTo>
                    <a:cubicBezTo>
                      <a:pt x="7344" y="6575"/>
                      <a:pt x="7344" y="6575"/>
                      <a:pt x="7344" y="6575"/>
                    </a:cubicBezTo>
                    <a:cubicBezTo>
                      <a:pt x="7344" y="6575"/>
                      <a:pt x="7339" y="6576"/>
                      <a:pt x="7331" y="6576"/>
                    </a:cubicBezTo>
                    <a:cubicBezTo>
                      <a:pt x="7364" y="6570"/>
                      <a:pt x="7364" y="6570"/>
                      <a:pt x="7364" y="6570"/>
                    </a:cubicBezTo>
                    <a:cubicBezTo>
                      <a:pt x="7347" y="6481"/>
                      <a:pt x="7338" y="6401"/>
                      <a:pt x="7334" y="6343"/>
                    </a:cubicBezTo>
                    <a:cubicBezTo>
                      <a:pt x="7330" y="6290"/>
                      <a:pt x="7330" y="6256"/>
                      <a:pt x="7330" y="6251"/>
                    </a:cubicBezTo>
                    <a:cubicBezTo>
                      <a:pt x="7375" y="5692"/>
                      <a:pt x="7375" y="5692"/>
                      <a:pt x="7375" y="5692"/>
                    </a:cubicBezTo>
                    <a:cubicBezTo>
                      <a:pt x="8064" y="4278"/>
                      <a:pt x="8064" y="4278"/>
                      <a:pt x="8064" y="4278"/>
                    </a:cubicBezTo>
                    <a:cubicBezTo>
                      <a:pt x="9422" y="4971"/>
                      <a:pt x="9422" y="4971"/>
                      <a:pt x="9422" y="4971"/>
                    </a:cubicBezTo>
                    <a:cubicBezTo>
                      <a:pt x="9364" y="5092"/>
                      <a:pt x="9364" y="5092"/>
                      <a:pt x="9364" y="5092"/>
                    </a:cubicBezTo>
                    <a:cubicBezTo>
                      <a:pt x="8707" y="6517"/>
                      <a:pt x="8707" y="6517"/>
                      <a:pt x="8707" y="6517"/>
                    </a:cubicBezTo>
                    <a:lnTo>
                      <a:pt x="8669" y="6522"/>
                    </a:lnTo>
                    <a:close/>
                    <a:moveTo>
                      <a:pt x="8079" y="4246"/>
                    </a:moveTo>
                    <a:cubicBezTo>
                      <a:pt x="8600" y="3177"/>
                      <a:pt x="8600" y="3177"/>
                      <a:pt x="8600" y="3177"/>
                    </a:cubicBezTo>
                    <a:cubicBezTo>
                      <a:pt x="8601" y="3177"/>
                      <a:pt x="8602" y="3177"/>
                      <a:pt x="8603" y="3177"/>
                    </a:cubicBezTo>
                    <a:cubicBezTo>
                      <a:pt x="8603" y="3170"/>
                      <a:pt x="8603" y="3170"/>
                      <a:pt x="8603" y="3170"/>
                    </a:cubicBezTo>
                    <a:cubicBezTo>
                      <a:pt x="9303" y="1734"/>
                      <a:pt x="9303" y="1734"/>
                      <a:pt x="9303" y="1734"/>
                    </a:cubicBezTo>
                    <a:cubicBezTo>
                      <a:pt x="9473" y="1825"/>
                      <a:pt x="9871" y="2041"/>
                      <a:pt x="10031" y="2109"/>
                    </a:cubicBezTo>
                    <a:cubicBezTo>
                      <a:pt x="10112" y="2144"/>
                      <a:pt x="10268" y="2215"/>
                      <a:pt x="10404" y="2278"/>
                    </a:cubicBezTo>
                    <a:cubicBezTo>
                      <a:pt x="10513" y="2329"/>
                      <a:pt x="10610" y="2373"/>
                      <a:pt x="10642" y="2389"/>
                    </a:cubicBezTo>
                    <a:cubicBezTo>
                      <a:pt x="10642" y="2389"/>
                      <a:pt x="10642" y="2389"/>
                      <a:pt x="10642" y="2389"/>
                    </a:cubicBezTo>
                    <a:cubicBezTo>
                      <a:pt x="10639" y="2392"/>
                      <a:pt x="10639" y="2392"/>
                      <a:pt x="10639" y="2392"/>
                    </a:cubicBezTo>
                    <a:cubicBezTo>
                      <a:pt x="9437" y="4938"/>
                      <a:pt x="9437" y="4938"/>
                      <a:pt x="9437" y="4938"/>
                    </a:cubicBezTo>
                    <a:lnTo>
                      <a:pt x="8079" y="4246"/>
                    </a:lnTo>
                    <a:close/>
                    <a:moveTo>
                      <a:pt x="8064" y="936"/>
                    </a:moveTo>
                    <a:cubicBezTo>
                      <a:pt x="8065" y="936"/>
                      <a:pt x="8065" y="936"/>
                      <a:pt x="8065" y="936"/>
                    </a:cubicBezTo>
                    <a:cubicBezTo>
                      <a:pt x="8065" y="936"/>
                      <a:pt x="8074" y="935"/>
                      <a:pt x="8090" y="934"/>
                    </a:cubicBezTo>
                    <a:cubicBezTo>
                      <a:pt x="8171" y="994"/>
                      <a:pt x="8588" y="1305"/>
                      <a:pt x="8682" y="1361"/>
                    </a:cubicBezTo>
                    <a:cubicBezTo>
                      <a:pt x="8688" y="1365"/>
                      <a:pt x="8695" y="1369"/>
                      <a:pt x="8702" y="1374"/>
                    </a:cubicBezTo>
                    <a:cubicBezTo>
                      <a:pt x="8703" y="1382"/>
                      <a:pt x="8703" y="1382"/>
                      <a:pt x="8703" y="1382"/>
                    </a:cubicBezTo>
                    <a:cubicBezTo>
                      <a:pt x="8673" y="1430"/>
                      <a:pt x="8576" y="1581"/>
                      <a:pt x="8458" y="1764"/>
                    </a:cubicBezTo>
                    <a:cubicBezTo>
                      <a:pt x="8315" y="1986"/>
                      <a:pt x="8141" y="2255"/>
                      <a:pt x="8018" y="2443"/>
                    </a:cubicBezTo>
                    <a:cubicBezTo>
                      <a:pt x="7937" y="2567"/>
                      <a:pt x="7877" y="2656"/>
                      <a:pt x="7865" y="2669"/>
                    </a:cubicBezTo>
                    <a:cubicBezTo>
                      <a:pt x="7861" y="2671"/>
                      <a:pt x="7862" y="2673"/>
                      <a:pt x="7860" y="2674"/>
                    </a:cubicBezTo>
                    <a:cubicBezTo>
                      <a:pt x="7860" y="2676"/>
                      <a:pt x="7859" y="2677"/>
                      <a:pt x="7858" y="2678"/>
                    </a:cubicBezTo>
                    <a:cubicBezTo>
                      <a:pt x="7857" y="2681"/>
                      <a:pt x="7855" y="2685"/>
                      <a:pt x="7854" y="2690"/>
                    </a:cubicBezTo>
                    <a:cubicBezTo>
                      <a:pt x="7850" y="2700"/>
                      <a:pt x="7845" y="2714"/>
                      <a:pt x="7840" y="2731"/>
                    </a:cubicBezTo>
                    <a:cubicBezTo>
                      <a:pt x="7829" y="2767"/>
                      <a:pt x="7813" y="2817"/>
                      <a:pt x="7796" y="2877"/>
                    </a:cubicBezTo>
                    <a:cubicBezTo>
                      <a:pt x="7760" y="2997"/>
                      <a:pt x="7714" y="3157"/>
                      <a:pt x="7668" y="3318"/>
                    </a:cubicBezTo>
                    <a:cubicBezTo>
                      <a:pt x="7590" y="3591"/>
                      <a:pt x="7514" y="3863"/>
                      <a:pt x="7493" y="3938"/>
                    </a:cubicBezTo>
                    <a:cubicBezTo>
                      <a:pt x="7490" y="3940"/>
                      <a:pt x="7484" y="3944"/>
                      <a:pt x="7479" y="3947"/>
                    </a:cubicBezTo>
                    <a:cubicBezTo>
                      <a:pt x="7478" y="3947"/>
                      <a:pt x="7476" y="3946"/>
                      <a:pt x="7475" y="3945"/>
                    </a:cubicBezTo>
                    <a:cubicBezTo>
                      <a:pt x="7114" y="3772"/>
                      <a:pt x="6818" y="3716"/>
                      <a:pt x="6750" y="3705"/>
                    </a:cubicBezTo>
                    <a:cubicBezTo>
                      <a:pt x="6844" y="2818"/>
                      <a:pt x="6844" y="2818"/>
                      <a:pt x="6844" y="2818"/>
                    </a:cubicBezTo>
                    <a:cubicBezTo>
                      <a:pt x="6847" y="2810"/>
                      <a:pt x="6847" y="2810"/>
                      <a:pt x="6847" y="2810"/>
                    </a:cubicBezTo>
                    <a:cubicBezTo>
                      <a:pt x="6849" y="2813"/>
                      <a:pt x="6849" y="2813"/>
                      <a:pt x="6849" y="2813"/>
                    </a:cubicBezTo>
                    <a:cubicBezTo>
                      <a:pt x="7248" y="2537"/>
                      <a:pt x="7248" y="2537"/>
                      <a:pt x="7248" y="2537"/>
                    </a:cubicBezTo>
                    <a:cubicBezTo>
                      <a:pt x="8054" y="950"/>
                      <a:pt x="8054" y="950"/>
                      <a:pt x="8054" y="950"/>
                    </a:cubicBezTo>
                    <a:lnTo>
                      <a:pt x="8064" y="936"/>
                    </a:lnTo>
                    <a:close/>
                    <a:moveTo>
                      <a:pt x="7532" y="682"/>
                    </a:moveTo>
                    <a:cubicBezTo>
                      <a:pt x="7533" y="682"/>
                      <a:pt x="7534" y="682"/>
                      <a:pt x="7534" y="682"/>
                    </a:cubicBezTo>
                    <a:cubicBezTo>
                      <a:pt x="7686" y="719"/>
                      <a:pt x="7891" y="839"/>
                      <a:pt x="7980" y="896"/>
                    </a:cubicBezTo>
                    <a:cubicBezTo>
                      <a:pt x="8005" y="912"/>
                      <a:pt x="8021" y="922"/>
                      <a:pt x="8025" y="925"/>
                    </a:cubicBezTo>
                    <a:cubicBezTo>
                      <a:pt x="8024" y="928"/>
                      <a:pt x="8023" y="930"/>
                      <a:pt x="8022" y="933"/>
                    </a:cubicBezTo>
                    <a:cubicBezTo>
                      <a:pt x="7220" y="2513"/>
                      <a:pt x="7220" y="2513"/>
                      <a:pt x="7220" y="2513"/>
                    </a:cubicBezTo>
                    <a:cubicBezTo>
                      <a:pt x="6863" y="2760"/>
                      <a:pt x="6863" y="2760"/>
                      <a:pt x="6863" y="2760"/>
                    </a:cubicBezTo>
                    <a:cubicBezTo>
                      <a:pt x="7524" y="693"/>
                      <a:pt x="7524" y="693"/>
                      <a:pt x="7524" y="693"/>
                    </a:cubicBezTo>
                    <a:cubicBezTo>
                      <a:pt x="7527" y="689"/>
                      <a:pt x="7530" y="685"/>
                      <a:pt x="7532" y="682"/>
                    </a:cubicBezTo>
                    <a:close/>
                    <a:moveTo>
                      <a:pt x="7037" y="656"/>
                    </a:moveTo>
                    <a:cubicBezTo>
                      <a:pt x="7093" y="648"/>
                      <a:pt x="7153" y="643"/>
                      <a:pt x="7218" y="643"/>
                    </a:cubicBezTo>
                    <a:cubicBezTo>
                      <a:pt x="7301" y="643"/>
                      <a:pt x="7392" y="652"/>
                      <a:pt x="7489" y="673"/>
                    </a:cubicBezTo>
                    <a:cubicBezTo>
                      <a:pt x="7488" y="680"/>
                      <a:pt x="7487" y="690"/>
                      <a:pt x="7486" y="693"/>
                    </a:cubicBezTo>
                    <a:cubicBezTo>
                      <a:pt x="6809" y="2811"/>
                      <a:pt x="6809" y="2811"/>
                      <a:pt x="6809" y="2811"/>
                    </a:cubicBezTo>
                    <a:cubicBezTo>
                      <a:pt x="6714" y="3702"/>
                      <a:pt x="6714" y="3702"/>
                      <a:pt x="6714" y="3702"/>
                    </a:cubicBezTo>
                    <a:cubicBezTo>
                      <a:pt x="6126" y="3695"/>
                      <a:pt x="6126" y="3695"/>
                      <a:pt x="6126" y="3695"/>
                    </a:cubicBezTo>
                    <a:cubicBezTo>
                      <a:pt x="6289" y="2856"/>
                      <a:pt x="6289" y="2856"/>
                      <a:pt x="6289" y="2856"/>
                    </a:cubicBezTo>
                    <a:cubicBezTo>
                      <a:pt x="6306" y="2806"/>
                      <a:pt x="6951" y="907"/>
                      <a:pt x="7031" y="666"/>
                    </a:cubicBezTo>
                    <a:lnTo>
                      <a:pt x="7037" y="656"/>
                    </a:lnTo>
                    <a:close/>
                    <a:moveTo>
                      <a:pt x="6672" y="970"/>
                    </a:moveTo>
                    <a:cubicBezTo>
                      <a:pt x="6692" y="967"/>
                      <a:pt x="6713" y="960"/>
                      <a:pt x="6733" y="944"/>
                    </a:cubicBezTo>
                    <a:cubicBezTo>
                      <a:pt x="6744" y="936"/>
                      <a:pt x="6744" y="936"/>
                      <a:pt x="6744" y="936"/>
                    </a:cubicBezTo>
                    <a:cubicBezTo>
                      <a:pt x="6750" y="923"/>
                      <a:pt x="6750" y="923"/>
                      <a:pt x="6750" y="923"/>
                    </a:cubicBezTo>
                    <a:cubicBezTo>
                      <a:pt x="6750" y="923"/>
                      <a:pt x="6759" y="902"/>
                      <a:pt x="6774" y="872"/>
                    </a:cubicBezTo>
                    <a:cubicBezTo>
                      <a:pt x="6788" y="842"/>
                      <a:pt x="6807" y="803"/>
                      <a:pt x="6827" y="767"/>
                    </a:cubicBezTo>
                    <a:cubicBezTo>
                      <a:pt x="6827" y="766"/>
                      <a:pt x="6827" y="766"/>
                      <a:pt x="6828" y="766"/>
                    </a:cubicBezTo>
                    <a:cubicBezTo>
                      <a:pt x="6829" y="764"/>
                      <a:pt x="6831" y="761"/>
                      <a:pt x="6834" y="757"/>
                    </a:cubicBezTo>
                    <a:cubicBezTo>
                      <a:pt x="6840" y="749"/>
                      <a:pt x="6850" y="738"/>
                      <a:pt x="6864" y="726"/>
                    </a:cubicBezTo>
                    <a:cubicBezTo>
                      <a:pt x="6890" y="703"/>
                      <a:pt x="6929" y="679"/>
                      <a:pt x="6985" y="666"/>
                    </a:cubicBezTo>
                    <a:cubicBezTo>
                      <a:pt x="6986" y="688"/>
                      <a:pt x="6986" y="688"/>
                      <a:pt x="6986" y="688"/>
                    </a:cubicBezTo>
                    <a:cubicBezTo>
                      <a:pt x="6974" y="723"/>
                      <a:pt x="6957" y="774"/>
                      <a:pt x="6936" y="836"/>
                    </a:cubicBezTo>
                    <a:cubicBezTo>
                      <a:pt x="6893" y="963"/>
                      <a:pt x="6834" y="1138"/>
                      <a:pt x="6768" y="1333"/>
                    </a:cubicBezTo>
                    <a:cubicBezTo>
                      <a:pt x="6636" y="1722"/>
                      <a:pt x="6477" y="2189"/>
                      <a:pt x="6372" y="2500"/>
                    </a:cubicBezTo>
                    <a:cubicBezTo>
                      <a:pt x="6313" y="2671"/>
                      <a:pt x="6271" y="2795"/>
                      <a:pt x="6258" y="2833"/>
                    </a:cubicBezTo>
                    <a:cubicBezTo>
                      <a:pt x="6258" y="2809"/>
                      <a:pt x="6258" y="2809"/>
                      <a:pt x="6258" y="2809"/>
                    </a:cubicBezTo>
                    <a:cubicBezTo>
                      <a:pt x="6258" y="2809"/>
                      <a:pt x="6166" y="2810"/>
                      <a:pt x="6018" y="2818"/>
                    </a:cubicBezTo>
                    <a:lnTo>
                      <a:pt x="6672" y="970"/>
                    </a:lnTo>
                    <a:close/>
                    <a:moveTo>
                      <a:pt x="6484" y="1034"/>
                    </a:moveTo>
                    <a:cubicBezTo>
                      <a:pt x="6495" y="1013"/>
                      <a:pt x="6503" y="990"/>
                      <a:pt x="6511" y="968"/>
                    </a:cubicBezTo>
                    <a:cubicBezTo>
                      <a:pt x="6553" y="971"/>
                      <a:pt x="6580" y="972"/>
                      <a:pt x="6586" y="973"/>
                    </a:cubicBezTo>
                    <a:cubicBezTo>
                      <a:pt x="6598" y="973"/>
                      <a:pt x="6610" y="974"/>
                      <a:pt x="6623" y="974"/>
                    </a:cubicBezTo>
                    <a:cubicBezTo>
                      <a:pt x="6625" y="974"/>
                      <a:pt x="6626" y="974"/>
                      <a:pt x="6628" y="974"/>
                    </a:cubicBezTo>
                    <a:cubicBezTo>
                      <a:pt x="6623" y="993"/>
                      <a:pt x="6623" y="993"/>
                      <a:pt x="6623" y="993"/>
                    </a:cubicBezTo>
                    <a:cubicBezTo>
                      <a:pt x="6626" y="994"/>
                      <a:pt x="6626" y="994"/>
                      <a:pt x="6626" y="994"/>
                    </a:cubicBezTo>
                    <a:cubicBezTo>
                      <a:pt x="5979" y="2820"/>
                      <a:pt x="5979" y="2820"/>
                      <a:pt x="5979" y="2820"/>
                    </a:cubicBezTo>
                    <a:cubicBezTo>
                      <a:pt x="5824" y="2829"/>
                      <a:pt x="5619" y="2845"/>
                      <a:pt x="5397" y="2874"/>
                    </a:cubicBezTo>
                    <a:cubicBezTo>
                      <a:pt x="5392" y="2856"/>
                      <a:pt x="5392" y="2856"/>
                      <a:pt x="5392" y="2856"/>
                    </a:cubicBezTo>
                    <a:cubicBezTo>
                      <a:pt x="5401" y="2763"/>
                      <a:pt x="5424" y="2495"/>
                      <a:pt x="5424" y="2359"/>
                    </a:cubicBezTo>
                    <a:cubicBezTo>
                      <a:pt x="5424" y="2341"/>
                      <a:pt x="5424" y="2325"/>
                      <a:pt x="5423" y="2311"/>
                    </a:cubicBezTo>
                    <a:cubicBezTo>
                      <a:pt x="5418" y="2246"/>
                      <a:pt x="5393" y="2175"/>
                      <a:pt x="5369" y="2115"/>
                    </a:cubicBezTo>
                    <a:cubicBezTo>
                      <a:pt x="5344" y="2056"/>
                      <a:pt x="5320" y="2006"/>
                      <a:pt x="5316" y="1990"/>
                    </a:cubicBezTo>
                    <a:cubicBezTo>
                      <a:pt x="5307" y="1956"/>
                      <a:pt x="5274" y="1916"/>
                      <a:pt x="5259" y="1897"/>
                    </a:cubicBezTo>
                    <a:cubicBezTo>
                      <a:pt x="5331" y="1841"/>
                      <a:pt x="5381" y="1781"/>
                      <a:pt x="5410" y="1750"/>
                    </a:cubicBezTo>
                    <a:cubicBezTo>
                      <a:pt x="5449" y="1707"/>
                      <a:pt x="5461" y="1648"/>
                      <a:pt x="5461" y="1583"/>
                    </a:cubicBezTo>
                    <a:cubicBezTo>
                      <a:pt x="5461" y="1544"/>
                      <a:pt x="5457" y="1502"/>
                      <a:pt x="5452" y="1459"/>
                    </a:cubicBezTo>
                    <a:cubicBezTo>
                      <a:pt x="5441" y="1373"/>
                      <a:pt x="5409" y="1202"/>
                      <a:pt x="5393" y="1119"/>
                    </a:cubicBezTo>
                    <a:cubicBezTo>
                      <a:pt x="5645" y="1140"/>
                      <a:pt x="5967" y="1170"/>
                      <a:pt x="6174" y="1170"/>
                    </a:cubicBezTo>
                    <a:cubicBezTo>
                      <a:pt x="6217" y="1170"/>
                      <a:pt x="6255" y="1169"/>
                      <a:pt x="6288" y="1165"/>
                    </a:cubicBezTo>
                    <a:cubicBezTo>
                      <a:pt x="6322" y="1162"/>
                      <a:pt x="6349" y="1158"/>
                      <a:pt x="6377" y="1146"/>
                    </a:cubicBezTo>
                    <a:cubicBezTo>
                      <a:pt x="6430" y="1122"/>
                      <a:pt x="6463" y="1078"/>
                      <a:pt x="6484" y="1034"/>
                    </a:cubicBezTo>
                    <a:close/>
                    <a:moveTo>
                      <a:pt x="5121" y="869"/>
                    </a:moveTo>
                    <a:cubicBezTo>
                      <a:pt x="5207" y="875"/>
                      <a:pt x="5978" y="930"/>
                      <a:pt x="6366" y="958"/>
                    </a:cubicBezTo>
                    <a:cubicBezTo>
                      <a:pt x="6364" y="963"/>
                      <a:pt x="6361" y="968"/>
                      <a:pt x="6359" y="973"/>
                    </a:cubicBezTo>
                    <a:cubicBezTo>
                      <a:pt x="6345" y="1002"/>
                      <a:pt x="6332" y="1014"/>
                      <a:pt x="6321" y="1018"/>
                    </a:cubicBezTo>
                    <a:cubicBezTo>
                      <a:pt x="6320" y="1019"/>
                      <a:pt x="6301" y="1024"/>
                      <a:pt x="6275" y="1027"/>
                    </a:cubicBezTo>
                    <a:cubicBezTo>
                      <a:pt x="6249" y="1029"/>
                      <a:pt x="6214" y="1030"/>
                      <a:pt x="6174" y="1030"/>
                    </a:cubicBezTo>
                    <a:cubicBezTo>
                      <a:pt x="5906" y="1031"/>
                      <a:pt x="5406" y="975"/>
                      <a:pt x="5158" y="963"/>
                    </a:cubicBezTo>
                    <a:cubicBezTo>
                      <a:pt x="5079" y="960"/>
                      <a:pt x="4979" y="956"/>
                      <a:pt x="4868" y="956"/>
                    </a:cubicBezTo>
                    <a:cubicBezTo>
                      <a:pt x="4786" y="957"/>
                      <a:pt x="4697" y="958"/>
                      <a:pt x="4606" y="964"/>
                    </a:cubicBezTo>
                    <a:cubicBezTo>
                      <a:pt x="4814" y="932"/>
                      <a:pt x="5072" y="879"/>
                      <a:pt x="5121" y="869"/>
                    </a:cubicBezTo>
                    <a:close/>
                    <a:moveTo>
                      <a:pt x="4868" y="1096"/>
                    </a:moveTo>
                    <a:cubicBezTo>
                      <a:pt x="4976" y="1096"/>
                      <a:pt x="5074" y="1099"/>
                      <a:pt x="5152" y="1103"/>
                    </a:cubicBezTo>
                    <a:cubicBezTo>
                      <a:pt x="5210" y="1105"/>
                      <a:pt x="5284" y="1111"/>
                      <a:pt x="5366" y="1117"/>
                    </a:cubicBezTo>
                    <a:cubicBezTo>
                      <a:pt x="5381" y="1197"/>
                      <a:pt x="5415" y="1375"/>
                      <a:pt x="5426" y="1462"/>
                    </a:cubicBezTo>
                    <a:cubicBezTo>
                      <a:pt x="5431" y="1505"/>
                      <a:pt x="5435" y="1546"/>
                      <a:pt x="5435" y="1583"/>
                    </a:cubicBezTo>
                    <a:cubicBezTo>
                      <a:pt x="5435" y="1646"/>
                      <a:pt x="5423" y="1697"/>
                      <a:pt x="5390" y="1733"/>
                    </a:cubicBezTo>
                    <a:cubicBezTo>
                      <a:pt x="5332" y="1796"/>
                      <a:pt x="5194" y="1966"/>
                      <a:pt x="4958" y="2004"/>
                    </a:cubicBezTo>
                    <a:cubicBezTo>
                      <a:pt x="4747" y="2038"/>
                      <a:pt x="4301" y="2065"/>
                      <a:pt x="4188" y="2071"/>
                    </a:cubicBezTo>
                    <a:cubicBezTo>
                      <a:pt x="4185" y="2070"/>
                      <a:pt x="4185" y="2070"/>
                      <a:pt x="4185" y="2070"/>
                    </a:cubicBezTo>
                    <a:cubicBezTo>
                      <a:pt x="3850" y="1265"/>
                      <a:pt x="3850" y="1265"/>
                      <a:pt x="3850" y="1265"/>
                    </a:cubicBezTo>
                    <a:cubicBezTo>
                      <a:pt x="4128" y="1128"/>
                      <a:pt x="4546" y="1095"/>
                      <a:pt x="4868" y="1096"/>
                    </a:cubicBezTo>
                    <a:close/>
                    <a:moveTo>
                      <a:pt x="3804" y="1067"/>
                    </a:moveTo>
                    <a:cubicBezTo>
                      <a:pt x="3853" y="1033"/>
                      <a:pt x="3912" y="1000"/>
                      <a:pt x="3970" y="984"/>
                    </a:cubicBezTo>
                    <a:cubicBezTo>
                      <a:pt x="4001" y="976"/>
                      <a:pt x="4033" y="973"/>
                      <a:pt x="4069" y="973"/>
                    </a:cubicBezTo>
                    <a:cubicBezTo>
                      <a:pt x="4143" y="973"/>
                      <a:pt x="4233" y="987"/>
                      <a:pt x="4346" y="987"/>
                    </a:cubicBezTo>
                    <a:cubicBezTo>
                      <a:pt x="4152" y="1013"/>
                      <a:pt x="3960" y="1058"/>
                      <a:pt x="3796" y="1136"/>
                    </a:cubicBezTo>
                    <a:cubicBezTo>
                      <a:pt x="3788" y="1115"/>
                      <a:pt x="3788" y="1115"/>
                      <a:pt x="3788" y="1115"/>
                    </a:cubicBezTo>
                    <a:cubicBezTo>
                      <a:pt x="3779" y="1085"/>
                      <a:pt x="3779" y="1085"/>
                      <a:pt x="3779" y="1085"/>
                    </a:cubicBezTo>
                    <a:cubicBezTo>
                      <a:pt x="3787" y="1079"/>
                      <a:pt x="3795" y="1073"/>
                      <a:pt x="3804" y="1067"/>
                    </a:cubicBezTo>
                    <a:close/>
                    <a:moveTo>
                      <a:pt x="483" y="2919"/>
                    </a:moveTo>
                    <a:cubicBezTo>
                      <a:pt x="479" y="2918"/>
                      <a:pt x="460" y="2913"/>
                      <a:pt x="433" y="2906"/>
                    </a:cubicBezTo>
                    <a:cubicBezTo>
                      <a:pt x="441" y="2899"/>
                      <a:pt x="454" y="2889"/>
                      <a:pt x="466" y="2882"/>
                    </a:cubicBezTo>
                    <a:cubicBezTo>
                      <a:pt x="471" y="2878"/>
                      <a:pt x="477" y="2874"/>
                      <a:pt x="484" y="2871"/>
                    </a:cubicBezTo>
                    <a:cubicBezTo>
                      <a:pt x="483" y="2873"/>
                      <a:pt x="482" y="2874"/>
                      <a:pt x="481" y="2876"/>
                    </a:cubicBezTo>
                    <a:cubicBezTo>
                      <a:pt x="481" y="2877"/>
                      <a:pt x="480" y="2879"/>
                      <a:pt x="480" y="2881"/>
                    </a:cubicBezTo>
                    <a:cubicBezTo>
                      <a:pt x="481" y="2888"/>
                      <a:pt x="482" y="2888"/>
                      <a:pt x="482" y="2889"/>
                    </a:cubicBezTo>
                    <a:cubicBezTo>
                      <a:pt x="483" y="2890"/>
                      <a:pt x="483" y="2891"/>
                      <a:pt x="483" y="2891"/>
                    </a:cubicBezTo>
                    <a:cubicBezTo>
                      <a:pt x="484" y="2892"/>
                      <a:pt x="484" y="2892"/>
                      <a:pt x="484" y="2892"/>
                    </a:cubicBezTo>
                    <a:cubicBezTo>
                      <a:pt x="484" y="2893"/>
                      <a:pt x="485" y="2893"/>
                      <a:pt x="485" y="2894"/>
                    </a:cubicBezTo>
                    <a:cubicBezTo>
                      <a:pt x="486" y="2894"/>
                      <a:pt x="486" y="2895"/>
                      <a:pt x="487" y="2896"/>
                    </a:cubicBezTo>
                    <a:cubicBezTo>
                      <a:pt x="489" y="2898"/>
                      <a:pt x="491" y="2901"/>
                      <a:pt x="494" y="2905"/>
                    </a:cubicBezTo>
                    <a:cubicBezTo>
                      <a:pt x="496" y="2906"/>
                      <a:pt x="498" y="2909"/>
                      <a:pt x="499" y="2910"/>
                    </a:cubicBezTo>
                    <a:cubicBezTo>
                      <a:pt x="494" y="2913"/>
                      <a:pt x="489" y="2916"/>
                      <a:pt x="483" y="2919"/>
                    </a:cubicBezTo>
                    <a:close/>
                    <a:moveTo>
                      <a:pt x="609" y="2848"/>
                    </a:moveTo>
                    <a:cubicBezTo>
                      <a:pt x="608" y="2848"/>
                      <a:pt x="608" y="2848"/>
                      <a:pt x="608" y="2848"/>
                    </a:cubicBezTo>
                    <a:cubicBezTo>
                      <a:pt x="607" y="2849"/>
                      <a:pt x="607" y="2849"/>
                      <a:pt x="607" y="2849"/>
                    </a:cubicBezTo>
                    <a:cubicBezTo>
                      <a:pt x="600" y="2854"/>
                      <a:pt x="599" y="2854"/>
                      <a:pt x="533" y="2891"/>
                    </a:cubicBezTo>
                    <a:cubicBezTo>
                      <a:pt x="523" y="2880"/>
                      <a:pt x="516" y="2873"/>
                      <a:pt x="515" y="2871"/>
                    </a:cubicBezTo>
                    <a:cubicBezTo>
                      <a:pt x="514" y="2870"/>
                      <a:pt x="513" y="2869"/>
                      <a:pt x="513" y="2868"/>
                    </a:cubicBezTo>
                    <a:cubicBezTo>
                      <a:pt x="509" y="2864"/>
                      <a:pt x="505" y="2862"/>
                      <a:pt x="500" y="2862"/>
                    </a:cubicBezTo>
                    <a:cubicBezTo>
                      <a:pt x="503" y="2860"/>
                      <a:pt x="506" y="2859"/>
                      <a:pt x="506" y="2859"/>
                    </a:cubicBezTo>
                    <a:cubicBezTo>
                      <a:pt x="507" y="2859"/>
                      <a:pt x="507" y="2859"/>
                      <a:pt x="507" y="2859"/>
                    </a:cubicBezTo>
                    <a:cubicBezTo>
                      <a:pt x="1341" y="2412"/>
                      <a:pt x="1341" y="2412"/>
                      <a:pt x="1341" y="2412"/>
                    </a:cubicBezTo>
                    <a:cubicBezTo>
                      <a:pt x="2234" y="1929"/>
                      <a:pt x="2234" y="1929"/>
                      <a:pt x="2234" y="1929"/>
                    </a:cubicBezTo>
                    <a:cubicBezTo>
                      <a:pt x="2235" y="1930"/>
                      <a:pt x="2235" y="1930"/>
                      <a:pt x="2235" y="1930"/>
                    </a:cubicBezTo>
                    <a:cubicBezTo>
                      <a:pt x="2234" y="1929"/>
                      <a:pt x="2244" y="1924"/>
                      <a:pt x="2261" y="1915"/>
                    </a:cubicBezTo>
                    <a:cubicBezTo>
                      <a:pt x="2263" y="1913"/>
                      <a:pt x="2263" y="1913"/>
                      <a:pt x="2263" y="1913"/>
                    </a:cubicBezTo>
                    <a:cubicBezTo>
                      <a:pt x="2263" y="1913"/>
                      <a:pt x="2263" y="1913"/>
                      <a:pt x="2263" y="1913"/>
                    </a:cubicBezTo>
                    <a:cubicBezTo>
                      <a:pt x="2449" y="1812"/>
                      <a:pt x="3491" y="1265"/>
                      <a:pt x="3664" y="1168"/>
                    </a:cubicBezTo>
                    <a:cubicBezTo>
                      <a:pt x="3678" y="1160"/>
                      <a:pt x="3684" y="1157"/>
                      <a:pt x="3693" y="1151"/>
                    </a:cubicBezTo>
                    <a:cubicBezTo>
                      <a:pt x="3706" y="1141"/>
                      <a:pt x="3723" y="1127"/>
                      <a:pt x="3744" y="1111"/>
                    </a:cubicBezTo>
                    <a:cubicBezTo>
                      <a:pt x="3745" y="1112"/>
                      <a:pt x="3747" y="1113"/>
                      <a:pt x="3748" y="1115"/>
                    </a:cubicBezTo>
                    <a:cubicBezTo>
                      <a:pt x="3764" y="1152"/>
                      <a:pt x="3764" y="1152"/>
                      <a:pt x="3764" y="1152"/>
                    </a:cubicBezTo>
                    <a:cubicBezTo>
                      <a:pt x="3567" y="1252"/>
                      <a:pt x="2920" y="1610"/>
                      <a:pt x="2275" y="1958"/>
                    </a:cubicBezTo>
                    <a:cubicBezTo>
                      <a:pt x="1446" y="2405"/>
                      <a:pt x="609" y="2848"/>
                      <a:pt x="609" y="2848"/>
                    </a:cubicBezTo>
                    <a:close/>
                    <a:moveTo>
                      <a:pt x="1096" y="3544"/>
                    </a:moveTo>
                    <a:cubicBezTo>
                      <a:pt x="949" y="3375"/>
                      <a:pt x="773" y="3170"/>
                      <a:pt x="653" y="3031"/>
                    </a:cubicBezTo>
                    <a:cubicBezTo>
                      <a:pt x="643" y="3020"/>
                      <a:pt x="634" y="3010"/>
                      <a:pt x="626" y="3000"/>
                    </a:cubicBezTo>
                    <a:cubicBezTo>
                      <a:pt x="652" y="2984"/>
                      <a:pt x="672" y="2972"/>
                      <a:pt x="676" y="2970"/>
                    </a:cubicBezTo>
                    <a:cubicBezTo>
                      <a:pt x="690" y="2962"/>
                      <a:pt x="859" y="2870"/>
                      <a:pt x="1114" y="2732"/>
                    </a:cubicBezTo>
                    <a:cubicBezTo>
                      <a:pt x="1380" y="2589"/>
                      <a:pt x="1721" y="2405"/>
                      <a:pt x="2092" y="2204"/>
                    </a:cubicBezTo>
                    <a:cubicBezTo>
                      <a:pt x="2114" y="2184"/>
                      <a:pt x="2114" y="2184"/>
                      <a:pt x="2114" y="2184"/>
                    </a:cubicBezTo>
                    <a:cubicBezTo>
                      <a:pt x="2829" y="1797"/>
                      <a:pt x="3589" y="1397"/>
                      <a:pt x="3817" y="1281"/>
                    </a:cubicBezTo>
                    <a:cubicBezTo>
                      <a:pt x="4025" y="1781"/>
                      <a:pt x="4025" y="1781"/>
                      <a:pt x="4025" y="1781"/>
                    </a:cubicBezTo>
                    <a:cubicBezTo>
                      <a:pt x="4018" y="1786"/>
                      <a:pt x="4010" y="1792"/>
                      <a:pt x="4006" y="1796"/>
                    </a:cubicBezTo>
                    <a:cubicBezTo>
                      <a:pt x="3952" y="1810"/>
                      <a:pt x="3845" y="1839"/>
                      <a:pt x="3741" y="1872"/>
                    </a:cubicBezTo>
                    <a:cubicBezTo>
                      <a:pt x="3597" y="1917"/>
                      <a:pt x="3520" y="1971"/>
                      <a:pt x="3476" y="2028"/>
                    </a:cubicBezTo>
                    <a:cubicBezTo>
                      <a:pt x="3432" y="2086"/>
                      <a:pt x="3422" y="2146"/>
                      <a:pt x="3408" y="2198"/>
                    </a:cubicBezTo>
                    <a:cubicBezTo>
                      <a:pt x="3379" y="2307"/>
                      <a:pt x="3368" y="2528"/>
                      <a:pt x="3284" y="2643"/>
                    </a:cubicBezTo>
                    <a:cubicBezTo>
                      <a:pt x="3241" y="2704"/>
                      <a:pt x="3223" y="2721"/>
                      <a:pt x="3177" y="2746"/>
                    </a:cubicBezTo>
                    <a:cubicBezTo>
                      <a:pt x="3131" y="2771"/>
                      <a:pt x="3056" y="2803"/>
                      <a:pt x="2906" y="2886"/>
                    </a:cubicBezTo>
                    <a:cubicBezTo>
                      <a:pt x="2748" y="2974"/>
                      <a:pt x="2580" y="2993"/>
                      <a:pt x="2465" y="2993"/>
                    </a:cubicBezTo>
                    <a:cubicBezTo>
                      <a:pt x="2376" y="2993"/>
                      <a:pt x="2335" y="2982"/>
                      <a:pt x="2336" y="2982"/>
                    </a:cubicBezTo>
                    <a:cubicBezTo>
                      <a:pt x="2334" y="2982"/>
                      <a:pt x="2334" y="2982"/>
                      <a:pt x="2334" y="2982"/>
                    </a:cubicBezTo>
                    <a:cubicBezTo>
                      <a:pt x="2298" y="2976"/>
                      <a:pt x="2210" y="2958"/>
                      <a:pt x="2155" y="2935"/>
                    </a:cubicBezTo>
                    <a:cubicBezTo>
                      <a:pt x="2118" y="2919"/>
                      <a:pt x="2082" y="2892"/>
                      <a:pt x="2055" y="2868"/>
                    </a:cubicBezTo>
                    <a:cubicBezTo>
                      <a:pt x="2029" y="2845"/>
                      <a:pt x="2012" y="2826"/>
                      <a:pt x="2012" y="2826"/>
                    </a:cubicBezTo>
                    <a:cubicBezTo>
                      <a:pt x="2006" y="2819"/>
                      <a:pt x="2006" y="2819"/>
                      <a:pt x="2006" y="2819"/>
                    </a:cubicBezTo>
                    <a:cubicBezTo>
                      <a:pt x="1624" y="2980"/>
                      <a:pt x="1624" y="2980"/>
                      <a:pt x="1624" y="2980"/>
                    </a:cubicBezTo>
                    <a:cubicBezTo>
                      <a:pt x="1366" y="2761"/>
                      <a:pt x="1366" y="2761"/>
                      <a:pt x="1366" y="2761"/>
                    </a:cubicBezTo>
                    <a:cubicBezTo>
                      <a:pt x="1351" y="2780"/>
                      <a:pt x="1351" y="2780"/>
                      <a:pt x="1351" y="2780"/>
                    </a:cubicBezTo>
                    <a:cubicBezTo>
                      <a:pt x="1610" y="3000"/>
                      <a:pt x="1610" y="3000"/>
                      <a:pt x="1610" y="3000"/>
                    </a:cubicBezTo>
                    <a:cubicBezTo>
                      <a:pt x="1608" y="3032"/>
                      <a:pt x="1592" y="3200"/>
                      <a:pt x="1592" y="3201"/>
                    </a:cubicBezTo>
                    <a:cubicBezTo>
                      <a:pt x="1592" y="3201"/>
                      <a:pt x="1592" y="3201"/>
                      <a:pt x="1592" y="3201"/>
                    </a:cubicBezTo>
                    <a:cubicBezTo>
                      <a:pt x="1616" y="3203"/>
                      <a:pt x="1616" y="3203"/>
                      <a:pt x="1616" y="3203"/>
                    </a:cubicBezTo>
                    <a:cubicBezTo>
                      <a:pt x="1616" y="3202"/>
                      <a:pt x="1632" y="3041"/>
                      <a:pt x="1634" y="3003"/>
                    </a:cubicBezTo>
                    <a:cubicBezTo>
                      <a:pt x="1999" y="2848"/>
                      <a:pt x="1999" y="2848"/>
                      <a:pt x="1999" y="2848"/>
                    </a:cubicBezTo>
                    <a:cubicBezTo>
                      <a:pt x="2018" y="2868"/>
                      <a:pt x="2077" y="2929"/>
                      <a:pt x="2146" y="2957"/>
                    </a:cubicBezTo>
                    <a:cubicBezTo>
                      <a:pt x="2196" y="2978"/>
                      <a:pt x="2268" y="2994"/>
                      <a:pt x="2308" y="3003"/>
                    </a:cubicBezTo>
                    <a:cubicBezTo>
                      <a:pt x="2199" y="3546"/>
                      <a:pt x="2199" y="3546"/>
                      <a:pt x="2199" y="3546"/>
                    </a:cubicBezTo>
                    <a:cubicBezTo>
                      <a:pt x="2223" y="3551"/>
                      <a:pt x="2223" y="3551"/>
                      <a:pt x="2223" y="3551"/>
                    </a:cubicBezTo>
                    <a:cubicBezTo>
                      <a:pt x="2332" y="3007"/>
                      <a:pt x="2332" y="3007"/>
                      <a:pt x="2332" y="3007"/>
                    </a:cubicBezTo>
                    <a:cubicBezTo>
                      <a:pt x="2336" y="3008"/>
                      <a:pt x="2339" y="3008"/>
                      <a:pt x="2339" y="3008"/>
                    </a:cubicBezTo>
                    <a:cubicBezTo>
                      <a:pt x="2339" y="3009"/>
                      <a:pt x="2339" y="3009"/>
                      <a:pt x="2339" y="3009"/>
                    </a:cubicBezTo>
                    <a:cubicBezTo>
                      <a:pt x="2362" y="3013"/>
                      <a:pt x="2405" y="3019"/>
                      <a:pt x="2465" y="3019"/>
                    </a:cubicBezTo>
                    <a:cubicBezTo>
                      <a:pt x="2583" y="3019"/>
                      <a:pt x="2755" y="2999"/>
                      <a:pt x="2919" y="2909"/>
                    </a:cubicBezTo>
                    <a:cubicBezTo>
                      <a:pt x="3069" y="2826"/>
                      <a:pt x="3141" y="2795"/>
                      <a:pt x="3190" y="2769"/>
                    </a:cubicBezTo>
                    <a:cubicBezTo>
                      <a:pt x="3238" y="2743"/>
                      <a:pt x="3262" y="2719"/>
                      <a:pt x="3306" y="2659"/>
                    </a:cubicBezTo>
                    <a:cubicBezTo>
                      <a:pt x="3396" y="2532"/>
                      <a:pt x="3405" y="2309"/>
                      <a:pt x="3433" y="2205"/>
                    </a:cubicBezTo>
                    <a:cubicBezTo>
                      <a:pt x="3448" y="2151"/>
                      <a:pt x="3457" y="2096"/>
                      <a:pt x="3497" y="2044"/>
                    </a:cubicBezTo>
                    <a:cubicBezTo>
                      <a:pt x="3537" y="1992"/>
                      <a:pt x="3608" y="1941"/>
                      <a:pt x="3749" y="1897"/>
                    </a:cubicBezTo>
                    <a:cubicBezTo>
                      <a:pt x="3863" y="1861"/>
                      <a:pt x="3981" y="1830"/>
                      <a:pt x="4027" y="1818"/>
                    </a:cubicBezTo>
                    <a:cubicBezTo>
                      <a:pt x="4032" y="1818"/>
                      <a:pt x="4037" y="1819"/>
                      <a:pt x="4042" y="1819"/>
                    </a:cubicBezTo>
                    <a:cubicBezTo>
                      <a:pt x="4156" y="2094"/>
                      <a:pt x="4156" y="2094"/>
                      <a:pt x="4156" y="2094"/>
                    </a:cubicBezTo>
                    <a:cubicBezTo>
                      <a:pt x="4587" y="3034"/>
                      <a:pt x="4587" y="3034"/>
                      <a:pt x="4587" y="3034"/>
                    </a:cubicBezTo>
                    <a:cubicBezTo>
                      <a:pt x="3982" y="3193"/>
                      <a:pt x="3250" y="3434"/>
                      <a:pt x="3184" y="3461"/>
                    </a:cubicBezTo>
                    <a:cubicBezTo>
                      <a:pt x="3181" y="3463"/>
                      <a:pt x="3180" y="3462"/>
                      <a:pt x="3175" y="3466"/>
                    </a:cubicBezTo>
                    <a:cubicBezTo>
                      <a:pt x="3175" y="3466"/>
                      <a:pt x="3174" y="3467"/>
                      <a:pt x="3173" y="3468"/>
                    </a:cubicBezTo>
                    <a:cubicBezTo>
                      <a:pt x="3172" y="3468"/>
                      <a:pt x="3172" y="3468"/>
                      <a:pt x="3171" y="3468"/>
                    </a:cubicBezTo>
                    <a:cubicBezTo>
                      <a:pt x="3166" y="3471"/>
                      <a:pt x="3158" y="3474"/>
                      <a:pt x="3148" y="3477"/>
                    </a:cubicBezTo>
                    <a:cubicBezTo>
                      <a:pt x="3127" y="3485"/>
                      <a:pt x="3098" y="3496"/>
                      <a:pt x="3066" y="3510"/>
                    </a:cubicBezTo>
                    <a:cubicBezTo>
                      <a:pt x="3010" y="3535"/>
                      <a:pt x="2954" y="3571"/>
                      <a:pt x="2899" y="3618"/>
                    </a:cubicBezTo>
                    <a:cubicBezTo>
                      <a:pt x="2898" y="3616"/>
                      <a:pt x="2898" y="3616"/>
                      <a:pt x="2898" y="3616"/>
                    </a:cubicBezTo>
                    <a:cubicBezTo>
                      <a:pt x="2898" y="3616"/>
                      <a:pt x="2892" y="3621"/>
                      <a:pt x="2883" y="3629"/>
                    </a:cubicBezTo>
                    <a:cubicBezTo>
                      <a:pt x="2849" y="3621"/>
                      <a:pt x="2677" y="3581"/>
                      <a:pt x="2462" y="3569"/>
                    </a:cubicBezTo>
                    <a:cubicBezTo>
                      <a:pt x="2365" y="3563"/>
                      <a:pt x="2282" y="3560"/>
                      <a:pt x="2211" y="3560"/>
                    </a:cubicBezTo>
                    <a:cubicBezTo>
                      <a:pt x="2108" y="3560"/>
                      <a:pt x="2029" y="3566"/>
                      <a:pt x="1966" y="3580"/>
                    </a:cubicBezTo>
                    <a:cubicBezTo>
                      <a:pt x="1860" y="3604"/>
                      <a:pt x="1626" y="3699"/>
                      <a:pt x="1543" y="3735"/>
                    </a:cubicBezTo>
                    <a:cubicBezTo>
                      <a:pt x="1527" y="3742"/>
                      <a:pt x="1510" y="3750"/>
                      <a:pt x="1493" y="3758"/>
                    </a:cubicBezTo>
                    <a:cubicBezTo>
                      <a:pt x="1473" y="3737"/>
                      <a:pt x="1351" y="3603"/>
                      <a:pt x="1301" y="3545"/>
                    </a:cubicBezTo>
                    <a:cubicBezTo>
                      <a:pt x="1247" y="3481"/>
                      <a:pt x="1227" y="3444"/>
                      <a:pt x="1198" y="3395"/>
                    </a:cubicBezTo>
                    <a:cubicBezTo>
                      <a:pt x="1184" y="3372"/>
                      <a:pt x="1111" y="3242"/>
                      <a:pt x="1041" y="3119"/>
                    </a:cubicBezTo>
                    <a:cubicBezTo>
                      <a:pt x="991" y="3031"/>
                      <a:pt x="928" y="2920"/>
                      <a:pt x="910" y="2887"/>
                    </a:cubicBezTo>
                    <a:cubicBezTo>
                      <a:pt x="876" y="2905"/>
                      <a:pt x="876" y="2905"/>
                      <a:pt x="876" y="2905"/>
                    </a:cubicBezTo>
                    <a:cubicBezTo>
                      <a:pt x="919" y="2981"/>
                      <a:pt x="1139" y="3370"/>
                      <a:pt x="1166" y="3415"/>
                    </a:cubicBezTo>
                    <a:cubicBezTo>
                      <a:pt x="1194" y="3463"/>
                      <a:pt x="1216" y="3504"/>
                      <a:pt x="1272" y="3569"/>
                    </a:cubicBezTo>
                    <a:cubicBezTo>
                      <a:pt x="1318" y="3624"/>
                      <a:pt x="1424" y="3739"/>
                      <a:pt x="1457" y="3775"/>
                    </a:cubicBezTo>
                    <a:cubicBezTo>
                      <a:pt x="1403" y="3802"/>
                      <a:pt x="1354" y="3827"/>
                      <a:pt x="1345" y="3831"/>
                    </a:cubicBezTo>
                    <a:cubicBezTo>
                      <a:pt x="1310" y="3791"/>
                      <a:pt x="1212" y="3679"/>
                      <a:pt x="1096" y="3544"/>
                    </a:cubicBezTo>
                    <a:close/>
                    <a:moveTo>
                      <a:pt x="2227" y="4552"/>
                    </a:moveTo>
                    <a:cubicBezTo>
                      <a:pt x="2190" y="4552"/>
                      <a:pt x="2097" y="4548"/>
                      <a:pt x="2014" y="4512"/>
                    </a:cubicBezTo>
                    <a:cubicBezTo>
                      <a:pt x="1963" y="4490"/>
                      <a:pt x="1915" y="4458"/>
                      <a:pt x="1881" y="4432"/>
                    </a:cubicBezTo>
                    <a:cubicBezTo>
                      <a:pt x="1849" y="4407"/>
                      <a:pt x="1829" y="4387"/>
                      <a:pt x="1826" y="4385"/>
                    </a:cubicBezTo>
                    <a:cubicBezTo>
                      <a:pt x="1370" y="3861"/>
                      <a:pt x="1370" y="3861"/>
                      <a:pt x="1370" y="3861"/>
                    </a:cubicBezTo>
                    <a:cubicBezTo>
                      <a:pt x="1373" y="3859"/>
                      <a:pt x="1376" y="3858"/>
                      <a:pt x="1380" y="3856"/>
                    </a:cubicBezTo>
                    <a:cubicBezTo>
                      <a:pt x="1393" y="3850"/>
                      <a:pt x="1410" y="3841"/>
                      <a:pt x="1430" y="3831"/>
                    </a:cubicBezTo>
                    <a:cubicBezTo>
                      <a:pt x="1469" y="3812"/>
                      <a:pt x="1518" y="3788"/>
                      <a:pt x="1558" y="3770"/>
                    </a:cubicBezTo>
                    <a:cubicBezTo>
                      <a:pt x="1638" y="3734"/>
                      <a:pt x="1875" y="3639"/>
                      <a:pt x="1974" y="3617"/>
                    </a:cubicBezTo>
                    <a:cubicBezTo>
                      <a:pt x="2033" y="3604"/>
                      <a:pt x="2109" y="3598"/>
                      <a:pt x="2211" y="3598"/>
                    </a:cubicBezTo>
                    <a:cubicBezTo>
                      <a:pt x="2281" y="3598"/>
                      <a:pt x="2363" y="3601"/>
                      <a:pt x="2460" y="3606"/>
                    </a:cubicBezTo>
                    <a:cubicBezTo>
                      <a:pt x="2578" y="3613"/>
                      <a:pt x="2681" y="3627"/>
                      <a:pt x="2754" y="3640"/>
                    </a:cubicBezTo>
                    <a:cubicBezTo>
                      <a:pt x="2797" y="3648"/>
                      <a:pt x="2830" y="3655"/>
                      <a:pt x="2849" y="3660"/>
                    </a:cubicBezTo>
                    <a:cubicBezTo>
                      <a:pt x="2804" y="3701"/>
                      <a:pt x="2734" y="3769"/>
                      <a:pt x="2675" y="3843"/>
                    </a:cubicBezTo>
                    <a:cubicBezTo>
                      <a:pt x="2670" y="3850"/>
                      <a:pt x="2666" y="3856"/>
                      <a:pt x="2661" y="3862"/>
                    </a:cubicBezTo>
                    <a:cubicBezTo>
                      <a:pt x="2656" y="3862"/>
                      <a:pt x="2649" y="3862"/>
                      <a:pt x="2640" y="3862"/>
                    </a:cubicBezTo>
                    <a:cubicBezTo>
                      <a:pt x="2622" y="3862"/>
                      <a:pt x="2599" y="3862"/>
                      <a:pt x="2575" y="3862"/>
                    </a:cubicBezTo>
                    <a:cubicBezTo>
                      <a:pt x="2527" y="3862"/>
                      <a:pt x="2482" y="3862"/>
                      <a:pt x="2482" y="3862"/>
                    </a:cubicBezTo>
                    <a:cubicBezTo>
                      <a:pt x="2482" y="3887"/>
                      <a:pt x="2482" y="3887"/>
                      <a:pt x="2482" y="3887"/>
                    </a:cubicBezTo>
                    <a:cubicBezTo>
                      <a:pt x="2482" y="3887"/>
                      <a:pt x="2527" y="3887"/>
                      <a:pt x="2575" y="3887"/>
                    </a:cubicBezTo>
                    <a:cubicBezTo>
                      <a:pt x="2600" y="3887"/>
                      <a:pt x="2624" y="3887"/>
                      <a:pt x="2642" y="3887"/>
                    </a:cubicBezTo>
                    <a:cubicBezTo>
                      <a:pt x="2605" y="3935"/>
                      <a:pt x="2574" y="3980"/>
                      <a:pt x="2545" y="4027"/>
                    </a:cubicBezTo>
                    <a:cubicBezTo>
                      <a:pt x="2514" y="4075"/>
                      <a:pt x="2484" y="4125"/>
                      <a:pt x="2449" y="4191"/>
                    </a:cubicBezTo>
                    <a:cubicBezTo>
                      <a:pt x="2382" y="4318"/>
                      <a:pt x="2322" y="4453"/>
                      <a:pt x="2284" y="4553"/>
                    </a:cubicBezTo>
                    <a:cubicBezTo>
                      <a:pt x="2266" y="4553"/>
                      <a:pt x="2245" y="4552"/>
                      <a:pt x="2227" y="4552"/>
                    </a:cubicBezTo>
                    <a:close/>
                    <a:moveTo>
                      <a:pt x="2053" y="5050"/>
                    </a:moveTo>
                    <a:cubicBezTo>
                      <a:pt x="2172" y="4892"/>
                      <a:pt x="2264" y="4735"/>
                      <a:pt x="2265" y="4735"/>
                    </a:cubicBezTo>
                    <a:cubicBezTo>
                      <a:pt x="2267" y="4731"/>
                      <a:pt x="2267" y="4731"/>
                      <a:pt x="2267" y="4731"/>
                    </a:cubicBezTo>
                    <a:cubicBezTo>
                      <a:pt x="2267" y="4727"/>
                      <a:pt x="2267" y="4727"/>
                      <a:pt x="2267" y="4727"/>
                    </a:cubicBezTo>
                    <a:cubicBezTo>
                      <a:pt x="2267" y="4727"/>
                      <a:pt x="2267" y="4726"/>
                      <a:pt x="2268" y="4725"/>
                    </a:cubicBezTo>
                    <a:cubicBezTo>
                      <a:pt x="2268" y="4722"/>
                      <a:pt x="2269" y="4717"/>
                      <a:pt x="2272" y="4709"/>
                    </a:cubicBezTo>
                    <a:cubicBezTo>
                      <a:pt x="2276" y="4692"/>
                      <a:pt x="2285" y="4663"/>
                      <a:pt x="2303" y="4613"/>
                    </a:cubicBezTo>
                    <a:cubicBezTo>
                      <a:pt x="2306" y="4604"/>
                      <a:pt x="2309" y="4595"/>
                      <a:pt x="2312" y="4586"/>
                    </a:cubicBezTo>
                    <a:cubicBezTo>
                      <a:pt x="2313" y="4586"/>
                      <a:pt x="2313" y="4586"/>
                      <a:pt x="2313" y="4586"/>
                    </a:cubicBezTo>
                    <a:cubicBezTo>
                      <a:pt x="2313" y="4587"/>
                      <a:pt x="2313" y="4587"/>
                      <a:pt x="2313" y="4587"/>
                    </a:cubicBezTo>
                    <a:cubicBezTo>
                      <a:pt x="2513" y="4571"/>
                      <a:pt x="2513" y="4571"/>
                      <a:pt x="2513" y="4571"/>
                    </a:cubicBezTo>
                    <a:cubicBezTo>
                      <a:pt x="2694" y="4519"/>
                      <a:pt x="2694" y="4519"/>
                      <a:pt x="2694" y="4519"/>
                    </a:cubicBezTo>
                    <a:cubicBezTo>
                      <a:pt x="2785" y="4430"/>
                      <a:pt x="2785" y="4430"/>
                      <a:pt x="2785" y="4430"/>
                    </a:cubicBezTo>
                    <a:cubicBezTo>
                      <a:pt x="2885" y="4542"/>
                      <a:pt x="2885" y="4542"/>
                      <a:pt x="2885" y="4542"/>
                    </a:cubicBezTo>
                    <a:cubicBezTo>
                      <a:pt x="3232" y="4663"/>
                      <a:pt x="3232" y="4663"/>
                      <a:pt x="3232" y="4663"/>
                    </a:cubicBezTo>
                    <a:cubicBezTo>
                      <a:pt x="3375" y="4736"/>
                      <a:pt x="3375" y="4736"/>
                      <a:pt x="3375" y="4736"/>
                    </a:cubicBezTo>
                    <a:cubicBezTo>
                      <a:pt x="3593" y="5012"/>
                      <a:pt x="3593" y="5012"/>
                      <a:pt x="3593" y="5012"/>
                    </a:cubicBezTo>
                    <a:cubicBezTo>
                      <a:pt x="3789" y="5211"/>
                      <a:pt x="3789" y="5211"/>
                      <a:pt x="3789" y="5211"/>
                    </a:cubicBezTo>
                    <a:cubicBezTo>
                      <a:pt x="3872" y="5484"/>
                      <a:pt x="3872" y="5484"/>
                      <a:pt x="3872" y="5484"/>
                    </a:cubicBezTo>
                    <a:cubicBezTo>
                      <a:pt x="3838" y="5511"/>
                      <a:pt x="3774" y="5537"/>
                      <a:pt x="3718" y="5555"/>
                    </a:cubicBezTo>
                    <a:cubicBezTo>
                      <a:pt x="3666" y="5572"/>
                      <a:pt x="3614" y="5586"/>
                      <a:pt x="3603" y="5589"/>
                    </a:cubicBezTo>
                    <a:cubicBezTo>
                      <a:pt x="3590" y="5571"/>
                      <a:pt x="3575" y="5554"/>
                      <a:pt x="3558" y="5538"/>
                    </a:cubicBezTo>
                    <a:cubicBezTo>
                      <a:pt x="3481" y="5463"/>
                      <a:pt x="3304" y="5339"/>
                      <a:pt x="3152" y="5293"/>
                    </a:cubicBezTo>
                    <a:cubicBezTo>
                      <a:pt x="3004" y="5249"/>
                      <a:pt x="2870" y="5204"/>
                      <a:pt x="2628" y="5180"/>
                    </a:cubicBezTo>
                    <a:cubicBezTo>
                      <a:pt x="2473" y="5165"/>
                      <a:pt x="2378" y="5155"/>
                      <a:pt x="2328" y="5150"/>
                    </a:cubicBezTo>
                    <a:cubicBezTo>
                      <a:pt x="2319" y="5149"/>
                      <a:pt x="2319" y="5149"/>
                      <a:pt x="2319" y="5149"/>
                    </a:cubicBezTo>
                    <a:cubicBezTo>
                      <a:pt x="2319" y="5149"/>
                      <a:pt x="2112" y="5129"/>
                      <a:pt x="2002" y="5119"/>
                    </a:cubicBezTo>
                    <a:cubicBezTo>
                      <a:pt x="2020" y="5096"/>
                      <a:pt x="2037" y="5071"/>
                      <a:pt x="2053" y="5050"/>
                    </a:cubicBezTo>
                    <a:close/>
                    <a:moveTo>
                      <a:pt x="1984" y="5142"/>
                    </a:moveTo>
                    <a:cubicBezTo>
                      <a:pt x="2071" y="5150"/>
                      <a:pt x="2246" y="5166"/>
                      <a:pt x="2300" y="5172"/>
                    </a:cubicBezTo>
                    <a:cubicBezTo>
                      <a:pt x="2337" y="5176"/>
                      <a:pt x="2438" y="5187"/>
                      <a:pt x="2625" y="5206"/>
                    </a:cubicBezTo>
                    <a:cubicBezTo>
                      <a:pt x="2865" y="5230"/>
                      <a:pt x="2995" y="5274"/>
                      <a:pt x="3145" y="5318"/>
                    </a:cubicBezTo>
                    <a:cubicBezTo>
                      <a:pt x="3290" y="5362"/>
                      <a:pt x="3466" y="5485"/>
                      <a:pt x="3539" y="5556"/>
                    </a:cubicBezTo>
                    <a:cubicBezTo>
                      <a:pt x="3592" y="5608"/>
                      <a:pt x="3625" y="5658"/>
                      <a:pt x="3625" y="5727"/>
                    </a:cubicBezTo>
                    <a:cubicBezTo>
                      <a:pt x="3625" y="5756"/>
                      <a:pt x="3619" y="5788"/>
                      <a:pt x="3606" y="5825"/>
                    </a:cubicBezTo>
                    <a:cubicBezTo>
                      <a:pt x="3585" y="5886"/>
                      <a:pt x="3523" y="5943"/>
                      <a:pt x="3465" y="5984"/>
                    </a:cubicBezTo>
                    <a:cubicBezTo>
                      <a:pt x="3411" y="6023"/>
                      <a:pt x="3363" y="6047"/>
                      <a:pt x="3357" y="6050"/>
                    </a:cubicBezTo>
                    <a:cubicBezTo>
                      <a:pt x="3268" y="6083"/>
                      <a:pt x="3066" y="6098"/>
                      <a:pt x="2956" y="6137"/>
                    </a:cubicBezTo>
                    <a:cubicBezTo>
                      <a:pt x="2894" y="6159"/>
                      <a:pt x="2842" y="6177"/>
                      <a:pt x="2811" y="6225"/>
                    </a:cubicBezTo>
                    <a:cubicBezTo>
                      <a:pt x="2759" y="6308"/>
                      <a:pt x="2728" y="6431"/>
                      <a:pt x="2714" y="6499"/>
                    </a:cubicBezTo>
                    <a:cubicBezTo>
                      <a:pt x="2713" y="6498"/>
                      <a:pt x="2713" y="6498"/>
                      <a:pt x="2713" y="6498"/>
                    </a:cubicBezTo>
                    <a:cubicBezTo>
                      <a:pt x="2713" y="6498"/>
                      <a:pt x="2713" y="6501"/>
                      <a:pt x="2713" y="6504"/>
                    </a:cubicBezTo>
                    <a:cubicBezTo>
                      <a:pt x="2711" y="6510"/>
                      <a:pt x="2710" y="6516"/>
                      <a:pt x="2709" y="6522"/>
                    </a:cubicBezTo>
                    <a:cubicBezTo>
                      <a:pt x="2709" y="6522"/>
                      <a:pt x="2709" y="6522"/>
                      <a:pt x="2709" y="6522"/>
                    </a:cubicBezTo>
                    <a:cubicBezTo>
                      <a:pt x="1908" y="6231"/>
                      <a:pt x="1908" y="6231"/>
                      <a:pt x="1908" y="6231"/>
                    </a:cubicBezTo>
                    <a:cubicBezTo>
                      <a:pt x="1908" y="6231"/>
                      <a:pt x="1908" y="6231"/>
                      <a:pt x="1908" y="6231"/>
                    </a:cubicBezTo>
                    <a:cubicBezTo>
                      <a:pt x="1662" y="6143"/>
                      <a:pt x="1662" y="6143"/>
                      <a:pt x="1662" y="6143"/>
                    </a:cubicBezTo>
                    <a:cubicBezTo>
                      <a:pt x="1595" y="5667"/>
                      <a:pt x="1595" y="5667"/>
                      <a:pt x="1595" y="5667"/>
                    </a:cubicBezTo>
                    <a:cubicBezTo>
                      <a:pt x="1562" y="5650"/>
                      <a:pt x="1562" y="5650"/>
                      <a:pt x="1562" y="5650"/>
                    </a:cubicBezTo>
                    <a:cubicBezTo>
                      <a:pt x="1601" y="5604"/>
                      <a:pt x="1721" y="5463"/>
                      <a:pt x="1833" y="5328"/>
                    </a:cubicBezTo>
                    <a:cubicBezTo>
                      <a:pt x="1890" y="5261"/>
                      <a:pt x="1941" y="5193"/>
                      <a:pt x="1984" y="5142"/>
                    </a:cubicBezTo>
                    <a:close/>
                    <a:moveTo>
                      <a:pt x="671" y="5776"/>
                    </a:moveTo>
                    <a:cubicBezTo>
                      <a:pt x="670" y="5759"/>
                      <a:pt x="668" y="5742"/>
                      <a:pt x="664" y="5723"/>
                    </a:cubicBezTo>
                    <a:cubicBezTo>
                      <a:pt x="673" y="5721"/>
                      <a:pt x="686" y="5718"/>
                      <a:pt x="702" y="5714"/>
                    </a:cubicBezTo>
                    <a:cubicBezTo>
                      <a:pt x="733" y="5707"/>
                      <a:pt x="772" y="5699"/>
                      <a:pt x="815" y="5690"/>
                    </a:cubicBezTo>
                    <a:cubicBezTo>
                      <a:pt x="815" y="5690"/>
                      <a:pt x="931" y="5666"/>
                      <a:pt x="969" y="5658"/>
                    </a:cubicBezTo>
                    <a:cubicBezTo>
                      <a:pt x="969" y="5658"/>
                      <a:pt x="969" y="5658"/>
                      <a:pt x="969" y="5658"/>
                    </a:cubicBezTo>
                    <a:cubicBezTo>
                      <a:pt x="969" y="5658"/>
                      <a:pt x="980" y="5656"/>
                      <a:pt x="985" y="5654"/>
                    </a:cubicBezTo>
                    <a:cubicBezTo>
                      <a:pt x="995" y="5652"/>
                      <a:pt x="1010" y="5649"/>
                      <a:pt x="1027" y="5645"/>
                    </a:cubicBezTo>
                    <a:cubicBezTo>
                      <a:pt x="1061" y="5637"/>
                      <a:pt x="1107" y="5627"/>
                      <a:pt x="1153" y="5617"/>
                    </a:cubicBezTo>
                    <a:cubicBezTo>
                      <a:pt x="1230" y="5599"/>
                      <a:pt x="1307" y="5583"/>
                      <a:pt x="1329" y="5578"/>
                    </a:cubicBezTo>
                    <a:cubicBezTo>
                      <a:pt x="1561" y="5692"/>
                      <a:pt x="1561" y="5692"/>
                      <a:pt x="1561" y="5692"/>
                    </a:cubicBezTo>
                    <a:cubicBezTo>
                      <a:pt x="1625" y="6152"/>
                      <a:pt x="1625" y="6152"/>
                      <a:pt x="1625" y="6152"/>
                    </a:cubicBezTo>
                    <a:cubicBezTo>
                      <a:pt x="1625" y="6153"/>
                      <a:pt x="1624" y="6154"/>
                      <a:pt x="1623" y="6155"/>
                    </a:cubicBezTo>
                    <a:cubicBezTo>
                      <a:pt x="1620" y="6160"/>
                      <a:pt x="1615" y="6168"/>
                      <a:pt x="1609" y="6177"/>
                    </a:cubicBezTo>
                    <a:cubicBezTo>
                      <a:pt x="1597" y="6196"/>
                      <a:pt x="1581" y="6220"/>
                      <a:pt x="1565" y="6245"/>
                    </a:cubicBezTo>
                    <a:cubicBezTo>
                      <a:pt x="1534" y="6293"/>
                      <a:pt x="1503" y="6341"/>
                      <a:pt x="1503" y="6341"/>
                    </a:cubicBezTo>
                    <a:cubicBezTo>
                      <a:pt x="1456" y="6407"/>
                      <a:pt x="1456" y="6407"/>
                      <a:pt x="1456" y="6407"/>
                    </a:cubicBezTo>
                    <a:cubicBezTo>
                      <a:pt x="1126" y="6118"/>
                      <a:pt x="1126" y="6118"/>
                      <a:pt x="1126" y="6118"/>
                    </a:cubicBezTo>
                    <a:cubicBezTo>
                      <a:pt x="1024" y="6024"/>
                      <a:pt x="1024" y="6024"/>
                      <a:pt x="1024" y="6024"/>
                    </a:cubicBezTo>
                    <a:cubicBezTo>
                      <a:pt x="664" y="6028"/>
                      <a:pt x="664" y="6028"/>
                      <a:pt x="664" y="6028"/>
                    </a:cubicBezTo>
                    <a:cubicBezTo>
                      <a:pt x="669" y="5945"/>
                      <a:pt x="671" y="5854"/>
                      <a:pt x="671" y="5805"/>
                    </a:cubicBezTo>
                    <a:cubicBezTo>
                      <a:pt x="671" y="5792"/>
                      <a:pt x="671" y="5783"/>
                      <a:pt x="671" y="5776"/>
                    </a:cubicBezTo>
                    <a:close/>
                    <a:moveTo>
                      <a:pt x="678" y="4552"/>
                    </a:moveTo>
                    <a:cubicBezTo>
                      <a:pt x="686" y="4548"/>
                      <a:pt x="698" y="4542"/>
                      <a:pt x="712" y="4533"/>
                    </a:cubicBezTo>
                    <a:cubicBezTo>
                      <a:pt x="739" y="4514"/>
                      <a:pt x="775" y="4484"/>
                      <a:pt x="813" y="4435"/>
                    </a:cubicBezTo>
                    <a:cubicBezTo>
                      <a:pt x="876" y="4354"/>
                      <a:pt x="902" y="4223"/>
                      <a:pt x="909" y="4176"/>
                    </a:cubicBezTo>
                    <a:cubicBezTo>
                      <a:pt x="934" y="4190"/>
                      <a:pt x="955" y="4203"/>
                      <a:pt x="970" y="4212"/>
                    </a:cubicBezTo>
                    <a:cubicBezTo>
                      <a:pt x="1017" y="4241"/>
                      <a:pt x="1135" y="4338"/>
                      <a:pt x="1185" y="4393"/>
                    </a:cubicBezTo>
                    <a:cubicBezTo>
                      <a:pt x="1236" y="4447"/>
                      <a:pt x="1298" y="4548"/>
                      <a:pt x="1314" y="4608"/>
                    </a:cubicBezTo>
                    <a:cubicBezTo>
                      <a:pt x="1332" y="4671"/>
                      <a:pt x="1358" y="4776"/>
                      <a:pt x="1368" y="4811"/>
                    </a:cubicBezTo>
                    <a:cubicBezTo>
                      <a:pt x="1378" y="4846"/>
                      <a:pt x="1395" y="4920"/>
                      <a:pt x="1510" y="4995"/>
                    </a:cubicBezTo>
                    <a:cubicBezTo>
                      <a:pt x="1593" y="5051"/>
                      <a:pt x="1735" y="5093"/>
                      <a:pt x="1840" y="5118"/>
                    </a:cubicBezTo>
                    <a:cubicBezTo>
                      <a:pt x="1881" y="5128"/>
                      <a:pt x="1914" y="5133"/>
                      <a:pt x="1938" y="5139"/>
                    </a:cubicBezTo>
                    <a:cubicBezTo>
                      <a:pt x="1899" y="5187"/>
                      <a:pt x="1853" y="5245"/>
                      <a:pt x="1804" y="5304"/>
                    </a:cubicBezTo>
                    <a:cubicBezTo>
                      <a:pt x="1685" y="5447"/>
                      <a:pt x="1558" y="5596"/>
                      <a:pt x="1527" y="5633"/>
                    </a:cubicBezTo>
                    <a:cubicBezTo>
                      <a:pt x="1344" y="5543"/>
                      <a:pt x="1344" y="5543"/>
                      <a:pt x="1344" y="5543"/>
                    </a:cubicBezTo>
                    <a:cubicBezTo>
                      <a:pt x="875" y="4878"/>
                      <a:pt x="875" y="4878"/>
                      <a:pt x="875" y="4878"/>
                    </a:cubicBezTo>
                    <a:cubicBezTo>
                      <a:pt x="874" y="4875"/>
                      <a:pt x="874" y="4876"/>
                      <a:pt x="873" y="4875"/>
                    </a:cubicBezTo>
                    <a:cubicBezTo>
                      <a:pt x="873" y="4874"/>
                      <a:pt x="873" y="4874"/>
                      <a:pt x="873" y="4874"/>
                    </a:cubicBezTo>
                    <a:cubicBezTo>
                      <a:pt x="872" y="4873"/>
                      <a:pt x="872" y="4873"/>
                      <a:pt x="872" y="4872"/>
                    </a:cubicBezTo>
                    <a:cubicBezTo>
                      <a:pt x="871" y="4872"/>
                      <a:pt x="871" y="4870"/>
                      <a:pt x="870" y="4869"/>
                    </a:cubicBezTo>
                    <a:cubicBezTo>
                      <a:pt x="868" y="4866"/>
                      <a:pt x="865" y="4862"/>
                      <a:pt x="861" y="4857"/>
                    </a:cubicBezTo>
                    <a:cubicBezTo>
                      <a:pt x="854" y="4847"/>
                      <a:pt x="844" y="4833"/>
                      <a:pt x="831" y="4814"/>
                    </a:cubicBezTo>
                    <a:cubicBezTo>
                      <a:pt x="804" y="4777"/>
                      <a:pt x="767" y="4725"/>
                      <a:pt x="722" y="4663"/>
                    </a:cubicBezTo>
                    <a:cubicBezTo>
                      <a:pt x="700" y="4632"/>
                      <a:pt x="676" y="4598"/>
                      <a:pt x="650" y="4562"/>
                    </a:cubicBezTo>
                    <a:cubicBezTo>
                      <a:pt x="665" y="4558"/>
                      <a:pt x="669" y="4556"/>
                      <a:pt x="678" y="4552"/>
                    </a:cubicBezTo>
                    <a:close/>
                    <a:moveTo>
                      <a:pt x="611" y="5580"/>
                    </a:moveTo>
                    <a:cubicBezTo>
                      <a:pt x="564" y="5490"/>
                      <a:pt x="441" y="5309"/>
                      <a:pt x="398" y="5248"/>
                    </a:cubicBezTo>
                    <a:cubicBezTo>
                      <a:pt x="376" y="5217"/>
                      <a:pt x="337" y="5164"/>
                      <a:pt x="296" y="5114"/>
                    </a:cubicBezTo>
                    <a:cubicBezTo>
                      <a:pt x="255" y="5064"/>
                      <a:pt x="213" y="5018"/>
                      <a:pt x="181" y="4999"/>
                    </a:cubicBezTo>
                    <a:cubicBezTo>
                      <a:pt x="161" y="4987"/>
                      <a:pt x="134" y="4978"/>
                      <a:pt x="106" y="4971"/>
                    </a:cubicBezTo>
                    <a:cubicBezTo>
                      <a:pt x="144" y="4809"/>
                      <a:pt x="144" y="4809"/>
                      <a:pt x="144" y="4809"/>
                    </a:cubicBezTo>
                    <a:cubicBezTo>
                      <a:pt x="608" y="4584"/>
                      <a:pt x="608" y="4584"/>
                      <a:pt x="608" y="4584"/>
                    </a:cubicBezTo>
                    <a:cubicBezTo>
                      <a:pt x="621" y="4583"/>
                      <a:pt x="621" y="4583"/>
                      <a:pt x="621" y="4583"/>
                    </a:cubicBezTo>
                    <a:cubicBezTo>
                      <a:pt x="721" y="4724"/>
                      <a:pt x="802" y="4836"/>
                      <a:pt x="831" y="4877"/>
                    </a:cubicBezTo>
                    <a:cubicBezTo>
                      <a:pt x="830" y="4877"/>
                      <a:pt x="830" y="4877"/>
                      <a:pt x="830" y="4877"/>
                    </a:cubicBezTo>
                    <a:cubicBezTo>
                      <a:pt x="1299" y="5546"/>
                      <a:pt x="1299" y="5546"/>
                      <a:pt x="1299" y="5546"/>
                    </a:cubicBezTo>
                    <a:cubicBezTo>
                      <a:pt x="1232" y="5561"/>
                      <a:pt x="1060" y="5599"/>
                      <a:pt x="995" y="5613"/>
                    </a:cubicBezTo>
                    <a:cubicBezTo>
                      <a:pt x="993" y="5613"/>
                      <a:pt x="992" y="5614"/>
                      <a:pt x="989" y="5614"/>
                    </a:cubicBezTo>
                    <a:cubicBezTo>
                      <a:pt x="986" y="5615"/>
                      <a:pt x="982" y="5615"/>
                      <a:pt x="977" y="5616"/>
                    </a:cubicBezTo>
                    <a:cubicBezTo>
                      <a:pt x="967" y="5618"/>
                      <a:pt x="953" y="5621"/>
                      <a:pt x="937" y="5625"/>
                    </a:cubicBezTo>
                    <a:cubicBezTo>
                      <a:pt x="905" y="5632"/>
                      <a:pt x="862" y="5641"/>
                      <a:pt x="819" y="5651"/>
                    </a:cubicBezTo>
                    <a:cubicBezTo>
                      <a:pt x="751" y="5666"/>
                      <a:pt x="685" y="5681"/>
                      <a:pt x="656" y="5688"/>
                    </a:cubicBezTo>
                    <a:cubicBezTo>
                      <a:pt x="647" y="5657"/>
                      <a:pt x="633" y="5622"/>
                      <a:pt x="611" y="5580"/>
                    </a:cubicBezTo>
                    <a:close/>
                    <a:moveTo>
                      <a:pt x="825" y="6662"/>
                    </a:moveTo>
                    <a:cubicBezTo>
                      <a:pt x="824" y="6662"/>
                      <a:pt x="824" y="6662"/>
                      <a:pt x="824" y="6662"/>
                    </a:cubicBezTo>
                    <a:cubicBezTo>
                      <a:pt x="814" y="6656"/>
                      <a:pt x="811" y="6654"/>
                      <a:pt x="796" y="6645"/>
                    </a:cubicBezTo>
                    <a:cubicBezTo>
                      <a:pt x="790" y="6641"/>
                      <a:pt x="790" y="6641"/>
                      <a:pt x="790" y="6641"/>
                    </a:cubicBezTo>
                    <a:cubicBezTo>
                      <a:pt x="760" y="6623"/>
                      <a:pt x="700" y="6583"/>
                      <a:pt x="675" y="6566"/>
                    </a:cubicBezTo>
                    <a:cubicBezTo>
                      <a:pt x="659" y="6555"/>
                      <a:pt x="647" y="6546"/>
                      <a:pt x="643" y="6543"/>
                    </a:cubicBezTo>
                    <a:cubicBezTo>
                      <a:pt x="621" y="6515"/>
                      <a:pt x="601" y="6461"/>
                      <a:pt x="602" y="6436"/>
                    </a:cubicBezTo>
                    <a:cubicBezTo>
                      <a:pt x="602" y="6433"/>
                      <a:pt x="602" y="6431"/>
                      <a:pt x="602" y="6430"/>
                    </a:cubicBezTo>
                    <a:cubicBezTo>
                      <a:pt x="607" y="6400"/>
                      <a:pt x="630" y="6269"/>
                      <a:pt x="648" y="6194"/>
                    </a:cubicBezTo>
                    <a:cubicBezTo>
                      <a:pt x="654" y="6166"/>
                      <a:pt x="659" y="6113"/>
                      <a:pt x="663" y="6055"/>
                    </a:cubicBezTo>
                    <a:cubicBezTo>
                      <a:pt x="663" y="6054"/>
                      <a:pt x="663" y="6054"/>
                      <a:pt x="663" y="6054"/>
                    </a:cubicBezTo>
                    <a:cubicBezTo>
                      <a:pt x="1014" y="6051"/>
                      <a:pt x="1014" y="6051"/>
                      <a:pt x="1014" y="6051"/>
                    </a:cubicBezTo>
                    <a:cubicBezTo>
                      <a:pt x="1113" y="6142"/>
                      <a:pt x="1113" y="6142"/>
                      <a:pt x="1113" y="6142"/>
                    </a:cubicBezTo>
                    <a:cubicBezTo>
                      <a:pt x="1113" y="6142"/>
                      <a:pt x="1113" y="6142"/>
                      <a:pt x="1113" y="6142"/>
                    </a:cubicBezTo>
                    <a:cubicBezTo>
                      <a:pt x="1121" y="6149"/>
                      <a:pt x="1121" y="6149"/>
                      <a:pt x="1121" y="6149"/>
                    </a:cubicBezTo>
                    <a:cubicBezTo>
                      <a:pt x="1153" y="6178"/>
                      <a:pt x="1153" y="6178"/>
                      <a:pt x="1153" y="6178"/>
                    </a:cubicBezTo>
                    <a:cubicBezTo>
                      <a:pt x="1153" y="6178"/>
                      <a:pt x="1153" y="6178"/>
                      <a:pt x="1153" y="6178"/>
                    </a:cubicBezTo>
                    <a:cubicBezTo>
                      <a:pt x="1154" y="6177"/>
                      <a:pt x="1154" y="6177"/>
                      <a:pt x="1154" y="6177"/>
                    </a:cubicBezTo>
                    <a:cubicBezTo>
                      <a:pt x="1441" y="6427"/>
                      <a:pt x="1441" y="6427"/>
                      <a:pt x="1441" y="6427"/>
                    </a:cubicBezTo>
                    <a:cubicBezTo>
                      <a:pt x="1255" y="6682"/>
                      <a:pt x="1255" y="6682"/>
                      <a:pt x="1255" y="6682"/>
                    </a:cubicBezTo>
                    <a:cubicBezTo>
                      <a:pt x="1255" y="6682"/>
                      <a:pt x="1143" y="6826"/>
                      <a:pt x="1134" y="6839"/>
                    </a:cubicBezTo>
                    <a:cubicBezTo>
                      <a:pt x="1134" y="6839"/>
                      <a:pt x="1134" y="6839"/>
                      <a:pt x="1134" y="6839"/>
                    </a:cubicBezTo>
                    <a:cubicBezTo>
                      <a:pt x="1134" y="6840"/>
                      <a:pt x="1133" y="6841"/>
                      <a:pt x="1132" y="6842"/>
                    </a:cubicBezTo>
                    <a:cubicBezTo>
                      <a:pt x="1130" y="6844"/>
                      <a:pt x="1127" y="6847"/>
                      <a:pt x="1124" y="6851"/>
                    </a:cubicBezTo>
                    <a:lnTo>
                      <a:pt x="825" y="6662"/>
                    </a:lnTo>
                    <a:close/>
                    <a:moveTo>
                      <a:pt x="726" y="7334"/>
                    </a:moveTo>
                    <a:cubicBezTo>
                      <a:pt x="726" y="7333"/>
                      <a:pt x="733" y="7321"/>
                      <a:pt x="742" y="7309"/>
                    </a:cubicBezTo>
                    <a:cubicBezTo>
                      <a:pt x="752" y="7296"/>
                      <a:pt x="764" y="7282"/>
                      <a:pt x="776" y="7267"/>
                    </a:cubicBezTo>
                    <a:cubicBezTo>
                      <a:pt x="800" y="7240"/>
                      <a:pt x="824" y="7213"/>
                      <a:pt x="828" y="7210"/>
                    </a:cubicBezTo>
                    <a:cubicBezTo>
                      <a:pt x="829" y="7209"/>
                      <a:pt x="829" y="7209"/>
                      <a:pt x="829" y="7209"/>
                    </a:cubicBezTo>
                    <a:cubicBezTo>
                      <a:pt x="830" y="7208"/>
                      <a:pt x="830" y="7208"/>
                      <a:pt x="830" y="7208"/>
                    </a:cubicBezTo>
                    <a:cubicBezTo>
                      <a:pt x="831" y="7207"/>
                      <a:pt x="832" y="7206"/>
                      <a:pt x="833" y="7205"/>
                    </a:cubicBezTo>
                    <a:cubicBezTo>
                      <a:pt x="835" y="7203"/>
                      <a:pt x="838" y="7201"/>
                      <a:pt x="841" y="7197"/>
                    </a:cubicBezTo>
                    <a:cubicBezTo>
                      <a:pt x="848" y="7190"/>
                      <a:pt x="858" y="7179"/>
                      <a:pt x="871" y="7166"/>
                    </a:cubicBezTo>
                    <a:cubicBezTo>
                      <a:pt x="896" y="7141"/>
                      <a:pt x="929" y="7107"/>
                      <a:pt x="964" y="7070"/>
                    </a:cubicBezTo>
                    <a:cubicBezTo>
                      <a:pt x="1035" y="6997"/>
                      <a:pt x="1114" y="6915"/>
                      <a:pt x="1147" y="6881"/>
                    </a:cubicBezTo>
                    <a:cubicBezTo>
                      <a:pt x="1157" y="6870"/>
                      <a:pt x="1161" y="6866"/>
                      <a:pt x="1164" y="6862"/>
                    </a:cubicBezTo>
                    <a:cubicBezTo>
                      <a:pt x="1165" y="6861"/>
                      <a:pt x="1165" y="6862"/>
                      <a:pt x="1166" y="6860"/>
                    </a:cubicBezTo>
                    <a:cubicBezTo>
                      <a:pt x="1166" y="6860"/>
                      <a:pt x="1166" y="6860"/>
                      <a:pt x="1166" y="6859"/>
                    </a:cubicBezTo>
                    <a:cubicBezTo>
                      <a:pt x="1167" y="6858"/>
                      <a:pt x="1168" y="6857"/>
                      <a:pt x="1170" y="6854"/>
                    </a:cubicBezTo>
                    <a:cubicBezTo>
                      <a:pt x="1173" y="6850"/>
                      <a:pt x="1178" y="6844"/>
                      <a:pt x="1184" y="6836"/>
                    </a:cubicBezTo>
                    <a:cubicBezTo>
                      <a:pt x="1195" y="6822"/>
                      <a:pt x="1210" y="6802"/>
                      <a:pt x="1225" y="6783"/>
                    </a:cubicBezTo>
                    <a:cubicBezTo>
                      <a:pt x="1255" y="6744"/>
                      <a:pt x="1285" y="6705"/>
                      <a:pt x="1285" y="6705"/>
                    </a:cubicBezTo>
                    <a:cubicBezTo>
                      <a:pt x="1535" y="6362"/>
                      <a:pt x="1535" y="6362"/>
                      <a:pt x="1535" y="6362"/>
                    </a:cubicBezTo>
                    <a:cubicBezTo>
                      <a:pt x="1535" y="6362"/>
                      <a:pt x="1564" y="6317"/>
                      <a:pt x="1594" y="6269"/>
                    </a:cubicBezTo>
                    <a:cubicBezTo>
                      <a:pt x="1617" y="6234"/>
                      <a:pt x="1641" y="6197"/>
                      <a:pt x="1652" y="6179"/>
                    </a:cubicBezTo>
                    <a:cubicBezTo>
                      <a:pt x="1911" y="6271"/>
                      <a:pt x="1911" y="6271"/>
                      <a:pt x="1911" y="6271"/>
                    </a:cubicBezTo>
                    <a:cubicBezTo>
                      <a:pt x="1911" y="6271"/>
                      <a:pt x="1911" y="6271"/>
                      <a:pt x="1911" y="6271"/>
                    </a:cubicBezTo>
                    <a:cubicBezTo>
                      <a:pt x="4286" y="7132"/>
                      <a:pt x="4286" y="7132"/>
                      <a:pt x="4286" y="7132"/>
                    </a:cubicBezTo>
                    <a:cubicBezTo>
                      <a:pt x="3912" y="7620"/>
                      <a:pt x="3912" y="7620"/>
                      <a:pt x="3912" y="7620"/>
                    </a:cubicBezTo>
                    <a:cubicBezTo>
                      <a:pt x="3887" y="7618"/>
                      <a:pt x="3809" y="7615"/>
                      <a:pt x="3716" y="7615"/>
                    </a:cubicBezTo>
                    <a:cubicBezTo>
                      <a:pt x="3606" y="7615"/>
                      <a:pt x="3478" y="7620"/>
                      <a:pt x="3397" y="7640"/>
                    </a:cubicBezTo>
                    <a:cubicBezTo>
                      <a:pt x="3381" y="7642"/>
                      <a:pt x="3246" y="7658"/>
                      <a:pt x="3111" y="7778"/>
                    </a:cubicBezTo>
                    <a:cubicBezTo>
                      <a:pt x="3058" y="7825"/>
                      <a:pt x="2962" y="7893"/>
                      <a:pt x="2869" y="7974"/>
                    </a:cubicBezTo>
                    <a:cubicBezTo>
                      <a:pt x="2729" y="8097"/>
                      <a:pt x="2591" y="8234"/>
                      <a:pt x="2566" y="8258"/>
                    </a:cubicBezTo>
                    <a:cubicBezTo>
                      <a:pt x="2558" y="8262"/>
                      <a:pt x="2526" y="8280"/>
                      <a:pt x="2481" y="8301"/>
                    </a:cubicBezTo>
                    <a:cubicBezTo>
                      <a:pt x="2429" y="8325"/>
                      <a:pt x="2362" y="8352"/>
                      <a:pt x="2298" y="8365"/>
                    </a:cubicBezTo>
                    <a:cubicBezTo>
                      <a:pt x="2203" y="8386"/>
                      <a:pt x="2161" y="8398"/>
                      <a:pt x="2144" y="8403"/>
                    </a:cubicBezTo>
                    <a:cubicBezTo>
                      <a:pt x="2049" y="8333"/>
                      <a:pt x="1792" y="8139"/>
                      <a:pt x="1554" y="7961"/>
                    </a:cubicBezTo>
                    <a:cubicBezTo>
                      <a:pt x="1311" y="7778"/>
                      <a:pt x="1091" y="7614"/>
                      <a:pt x="1090" y="7614"/>
                    </a:cubicBezTo>
                    <a:cubicBezTo>
                      <a:pt x="1089" y="7611"/>
                      <a:pt x="1089" y="7611"/>
                      <a:pt x="1089" y="7611"/>
                    </a:cubicBezTo>
                    <a:cubicBezTo>
                      <a:pt x="1088" y="7612"/>
                      <a:pt x="1088" y="7612"/>
                      <a:pt x="1088" y="7612"/>
                    </a:cubicBezTo>
                    <a:cubicBezTo>
                      <a:pt x="725" y="7339"/>
                      <a:pt x="725" y="7339"/>
                      <a:pt x="725" y="7339"/>
                    </a:cubicBezTo>
                    <a:cubicBezTo>
                      <a:pt x="725" y="7337"/>
                      <a:pt x="725" y="7336"/>
                      <a:pt x="726" y="7334"/>
                    </a:cubicBezTo>
                    <a:close/>
                    <a:moveTo>
                      <a:pt x="2593" y="8825"/>
                    </a:moveTo>
                    <a:cubicBezTo>
                      <a:pt x="2593" y="8924"/>
                      <a:pt x="2590" y="9171"/>
                      <a:pt x="2590" y="9449"/>
                    </a:cubicBezTo>
                    <a:cubicBezTo>
                      <a:pt x="2590" y="9469"/>
                      <a:pt x="2590" y="9490"/>
                      <a:pt x="2590" y="9511"/>
                    </a:cubicBezTo>
                    <a:cubicBezTo>
                      <a:pt x="2565" y="9510"/>
                      <a:pt x="2517" y="9509"/>
                      <a:pt x="2463" y="9506"/>
                    </a:cubicBezTo>
                    <a:cubicBezTo>
                      <a:pt x="2385" y="9501"/>
                      <a:pt x="2294" y="9490"/>
                      <a:pt x="2254" y="9472"/>
                    </a:cubicBezTo>
                    <a:cubicBezTo>
                      <a:pt x="2169" y="9435"/>
                      <a:pt x="2015" y="9282"/>
                      <a:pt x="1967" y="9241"/>
                    </a:cubicBezTo>
                    <a:cubicBezTo>
                      <a:pt x="1966" y="9241"/>
                      <a:pt x="1637" y="8931"/>
                      <a:pt x="1562" y="8859"/>
                    </a:cubicBezTo>
                    <a:cubicBezTo>
                      <a:pt x="1497" y="8796"/>
                      <a:pt x="1319" y="8642"/>
                      <a:pt x="1266" y="8597"/>
                    </a:cubicBezTo>
                    <a:cubicBezTo>
                      <a:pt x="1266" y="8597"/>
                      <a:pt x="1266" y="8597"/>
                      <a:pt x="1266" y="8597"/>
                    </a:cubicBezTo>
                    <a:cubicBezTo>
                      <a:pt x="1262" y="8593"/>
                      <a:pt x="1262" y="8593"/>
                      <a:pt x="1262" y="8593"/>
                    </a:cubicBezTo>
                    <a:cubicBezTo>
                      <a:pt x="1261" y="8592"/>
                      <a:pt x="1110" y="8450"/>
                      <a:pt x="1022" y="8404"/>
                    </a:cubicBezTo>
                    <a:cubicBezTo>
                      <a:pt x="939" y="8362"/>
                      <a:pt x="872" y="8324"/>
                      <a:pt x="762" y="8294"/>
                    </a:cubicBezTo>
                    <a:cubicBezTo>
                      <a:pt x="654" y="8264"/>
                      <a:pt x="512" y="8229"/>
                      <a:pt x="396" y="8213"/>
                    </a:cubicBezTo>
                    <a:cubicBezTo>
                      <a:pt x="330" y="8204"/>
                      <a:pt x="283" y="8198"/>
                      <a:pt x="256" y="8194"/>
                    </a:cubicBezTo>
                    <a:cubicBezTo>
                      <a:pt x="383" y="8027"/>
                      <a:pt x="546" y="7814"/>
                      <a:pt x="573" y="7774"/>
                    </a:cubicBezTo>
                    <a:cubicBezTo>
                      <a:pt x="621" y="7704"/>
                      <a:pt x="663" y="7571"/>
                      <a:pt x="680" y="7520"/>
                    </a:cubicBezTo>
                    <a:cubicBezTo>
                      <a:pt x="698" y="7467"/>
                      <a:pt x="715" y="7405"/>
                      <a:pt x="718" y="7388"/>
                    </a:cubicBezTo>
                    <a:cubicBezTo>
                      <a:pt x="718" y="7385"/>
                      <a:pt x="718" y="7383"/>
                      <a:pt x="718" y="7381"/>
                    </a:cubicBezTo>
                    <a:cubicBezTo>
                      <a:pt x="1061" y="7640"/>
                      <a:pt x="1061" y="7640"/>
                      <a:pt x="1061" y="7640"/>
                    </a:cubicBezTo>
                    <a:cubicBezTo>
                      <a:pt x="1061" y="7640"/>
                      <a:pt x="1061" y="7640"/>
                      <a:pt x="1061" y="7640"/>
                    </a:cubicBezTo>
                    <a:cubicBezTo>
                      <a:pt x="1075" y="7650"/>
                      <a:pt x="1955" y="8308"/>
                      <a:pt x="2130" y="8438"/>
                    </a:cubicBezTo>
                    <a:cubicBezTo>
                      <a:pt x="2259" y="8534"/>
                      <a:pt x="2321" y="8639"/>
                      <a:pt x="2343" y="8685"/>
                    </a:cubicBezTo>
                    <a:cubicBezTo>
                      <a:pt x="2350" y="8701"/>
                      <a:pt x="2353" y="8709"/>
                      <a:pt x="2353" y="8709"/>
                    </a:cubicBezTo>
                    <a:cubicBezTo>
                      <a:pt x="2357" y="8719"/>
                      <a:pt x="2357" y="8719"/>
                      <a:pt x="2357" y="8719"/>
                    </a:cubicBezTo>
                    <a:cubicBezTo>
                      <a:pt x="2600" y="8754"/>
                      <a:pt x="2600" y="8754"/>
                      <a:pt x="2600" y="8754"/>
                    </a:cubicBezTo>
                    <a:cubicBezTo>
                      <a:pt x="2596" y="8776"/>
                      <a:pt x="2593" y="8800"/>
                      <a:pt x="2593" y="8825"/>
                    </a:cubicBezTo>
                    <a:close/>
                    <a:moveTo>
                      <a:pt x="2383" y="8686"/>
                    </a:moveTo>
                    <a:cubicBezTo>
                      <a:pt x="2368" y="8652"/>
                      <a:pt x="2312" y="8539"/>
                      <a:pt x="2178" y="8431"/>
                    </a:cubicBezTo>
                    <a:cubicBezTo>
                      <a:pt x="2202" y="8424"/>
                      <a:pt x="2242" y="8414"/>
                      <a:pt x="2306" y="8401"/>
                    </a:cubicBezTo>
                    <a:cubicBezTo>
                      <a:pt x="2441" y="8372"/>
                      <a:pt x="2585" y="8288"/>
                      <a:pt x="2586" y="8288"/>
                    </a:cubicBezTo>
                    <a:cubicBezTo>
                      <a:pt x="2587" y="8287"/>
                      <a:pt x="2587" y="8287"/>
                      <a:pt x="2587" y="8287"/>
                    </a:cubicBezTo>
                    <a:cubicBezTo>
                      <a:pt x="2589" y="8286"/>
                      <a:pt x="2589" y="8286"/>
                      <a:pt x="2589" y="8286"/>
                    </a:cubicBezTo>
                    <a:cubicBezTo>
                      <a:pt x="2611" y="8265"/>
                      <a:pt x="2751" y="8126"/>
                      <a:pt x="2893" y="8001"/>
                    </a:cubicBezTo>
                    <a:cubicBezTo>
                      <a:pt x="2984" y="7922"/>
                      <a:pt x="3079" y="7854"/>
                      <a:pt x="3135" y="7805"/>
                    </a:cubicBezTo>
                    <a:cubicBezTo>
                      <a:pt x="3236" y="7715"/>
                      <a:pt x="3336" y="7687"/>
                      <a:pt x="3379" y="7679"/>
                    </a:cubicBezTo>
                    <a:cubicBezTo>
                      <a:pt x="3394" y="7676"/>
                      <a:pt x="3401" y="7676"/>
                      <a:pt x="3401" y="7676"/>
                    </a:cubicBezTo>
                    <a:cubicBezTo>
                      <a:pt x="3403" y="7676"/>
                      <a:pt x="3403" y="7676"/>
                      <a:pt x="3403" y="7676"/>
                    </a:cubicBezTo>
                    <a:cubicBezTo>
                      <a:pt x="3404" y="7675"/>
                      <a:pt x="3404" y="7675"/>
                      <a:pt x="3404" y="7675"/>
                    </a:cubicBezTo>
                    <a:cubicBezTo>
                      <a:pt x="3478" y="7656"/>
                      <a:pt x="3607" y="7651"/>
                      <a:pt x="3716" y="7651"/>
                    </a:cubicBezTo>
                    <a:cubicBezTo>
                      <a:pt x="3806" y="7651"/>
                      <a:pt x="3882" y="7654"/>
                      <a:pt x="3909" y="7655"/>
                    </a:cubicBezTo>
                    <a:cubicBezTo>
                      <a:pt x="3979" y="7824"/>
                      <a:pt x="3979" y="7824"/>
                      <a:pt x="3979" y="7824"/>
                    </a:cubicBezTo>
                    <a:cubicBezTo>
                      <a:pt x="2901" y="8425"/>
                      <a:pt x="2901" y="8425"/>
                      <a:pt x="2901" y="8425"/>
                    </a:cubicBezTo>
                    <a:cubicBezTo>
                      <a:pt x="2889" y="8430"/>
                      <a:pt x="2819" y="8456"/>
                      <a:pt x="2749" y="8514"/>
                    </a:cubicBezTo>
                    <a:cubicBezTo>
                      <a:pt x="2692" y="8560"/>
                      <a:pt x="2635" y="8627"/>
                      <a:pt x="2608" y="8718"/>
                    </a:cubicBezTo>
                    <a:lnTo>
                      <a:pt x="2383" y="8686"/>
                    </a:lnTo>
                    <a:close/>
                    <a:moveTo>
                      <a:pt x="3982" y="9669"/>
                    </a:moveTo>
                    <a:cubicBezTo>
                      <a:pt x="2641" y="9900"/>
                      <a:pt x="2641" y="9900"/>
                      <a:pt x="2641" y="9900"/>
                    </a:cubicBezTo>
                    <a:cubicBezTo>
                      <a:pt x="2637" y="9899"/>
                      <a:pt x="2633" y="9898"/>
                      <a:pt x="2629" y="9897"/>
                    </a:cubicBezTo>
                    <a:cubicBezTo>
                      <a:pt x="2629" y="9845"/>
                      <a:pt x="2628" y="9793"/>
                      <a:pt x="2627" y="9739"/>
                    </a:cubicBezTo>
                    <a:cubicBezTo>
                      <a:pt x="2627" y="9671"/>
                      <a:pt x="2626" y="9603"/>
                      <a:pt x="2626" y="9535"/>
                    </a:cubicBezTo>
                    <a:cubicBezTo>
                      <a:pt x="2637" y="9532"/>
                      <a:pt x="2637" y="9532"/>
                      <a:pt x="2637" y="9532"/>
                    </a:cubicBezTo>
                    <a:cubicBezTo>
                      <a:pt x="2766" y="9518"/>
                      <a:pt x="3264" y="9464"/>
                      <a:pt x="3356" y="9445"/>
                    </a:cubicBezTo>
                    <a:cubicBezTo>
                      <a:pt x="3360" y="9475"/>
                      <a:pt x="3370" y="9538"/>
                      <a:pt x="3379" y="9603"/>
                    </a:cubicBezTo>
                    <a:cubicBezTo>
                      <a:pt x="3391" y="9685"/>
                      <a:pt x="3404" y="9766"/>
                      <a:pt x="3404" y="9766"/>
                    </a:cubicBezTo>
                    <a:cubicBezTo>
                      <a:pt x="3404" y="9766"/>
                      <a:pt x="3404" y="9766"/>
                      <a:pt x="3404" y="9766"/>
                    </a:cubicBezTo>
                    <a:cubicBezTo>
                      <a:pt x="3430" y="9762"/>
                      <a:pt x="3430" y="9762"/>
                      <a:pt x="3430" y="9762"/>
                    </a:cubicBezTo>
                    <a:cubicBezTo>
                      <a:pt x="3430" y="9762"/>
                      <a:pt x="3417" y="9681"/>
                      <a:pt x="3405" y="9599"/>
                    </a:cubicBezTo>
                    <a:cubicBezTo>
                      <a:pt x="3394" y="9522"/>
                      <a:pt x="3382" y="9441"/>
                      <a:pt x="3381" y="9429"/>
                    </a:cubicBezTo>
                    <a:cubicBezTo>
                      <a:pt x="3381" y="9429"/>
                      <a:pt x="3381" y="9428"/>
                      <a:pt x="3381" y="9428"/>
                    </a:cubicBezTo>
                    <a:cubicBezTo>
                      <a:pt x="3381" y="9427"/>
                      <a:pt x="3381" y="9427"/>
                      <a:pt x="3381" y="9426"/>
                    </a:cubicBezTo>
                    <a:cubicBezTo>
                      <a:pt x="3381" y="9426"/>
                      <a:pt x="3381" y="9426"/>
                      <a:pt x="3381" y="9426"/>
                    </a:cubicBezTo>
                    <a:cubicBezTo>
                      <a:pt x="3380" y="9425"/>
                      <a:pt x="3380" y="9424"/>
                      <a:pt x="3380" y="9423"/>
                    </a:cubicBezTo>
                    <a:cubicBezTo>
                      <a:pt x="3379" y="9421"/>
                      <a:pt x="3379" y="9421"/>
                      <a:pt x="3379" y="9421"/>
                    </a:cubicBezTo>
                    <a:cubicBezTo>
                      <a:pt x="3379" y="9421"/>
                      <a:pt x="3379" y="9421"/>
                      <a:pt x="3379" y="9421"/>
                    </a:cubicBezTo>
                    <a:cubicBezTo>
                      <a:pt x="3378" y="9419"/>
                      <a:pt x="3376" y="9415"/>
                      <a:pt x="3367" y="9414"/>
                    </a:cubicBezTo>
                    <a:cubicBezTo>
                      <a:pt x="3363" y="9414"/>
                      <a:pt x="3361" y="9416"/>
                      <a:pt x="3359" y="9417"/>
                    </a:cubicBezTo>
                    <a:cubicBezTo>
                      <a:pt x="3358" y="9418"/>
                      <a:pt x="3357" y="9418"/>
                      <a:pt x="3356" y="9418"/>
                    </a:cubicBezTo>
                    <a:cubicBezTo>
                      <a:pt x="3351" y="9419"/>
                      <a:pt x="3343" y="9421"/>
                      <a:pt x="3333" y="9423"/>
                    </a:cubicBezTo>
                    <a:cubicBezTo>
                      <a:pt x="3312" y="9426"/>
                      <a:pt x="3282" y="9430"/>
                      <a:pt x="3247" y="9435"/>
                    </a:cubicBezTo>
                    <a:cubicBezTo>
                      <a:pt x="3175" y="9444"/>
                      <a:pt x="3080" y="9456"/>
                      <a:pt x="2985" y="9467"/>
                    </a:cubicBezTo>
                    <a:cubicBezTo>
                      <a:pt x="2838" y="9483"/>
                      <a:pt x="2692" y="9499"/>
                      <a:pt x="2632" y="9506"/>
                    </a:cubicBezTo>
                    <a:cubicBezTo>
                      <a:pt x="2630" y="9506"/>
                      <a:pt x="2628" y="9505"/>
                      <a:pt x="2626" y="9505"/>
                    </a:cubicBezTo>
                    <a:cubicBezTo>
                      <a:pt x="2626" y="9486"/>
                      <a:pt x="2626" y="9467"/>
                      <a:pt x="2626" y="9449"/>
                    </a:cubicBezTo>
                    <a:cubicBezTo>
                      <a:pt x="2626" y="9171"/>
                      <a:pt x="2629" y="8925"/>
                      <a:pt x="2629" y="8825"/>
                    </a:cubicBezTo>
                    <a:cubicBezTo>
                      <a:pt x="2629" y="8625"/>
                      <a:pt x="2789" y="8519"/>
                      <a:pt x="2870" y="8478"/>
                    </a:cubicBezTo>
                    <a:cubicBezTo>
                      <a:pt x="2897" y="8465"/>
                      <a:pt x="2915" y="8459"/>
                      <a:pt x="2915" y="8459"/>
                    </a:cubicBezTo>
                    <a:cubicBezTo>
                      <a:pt x="2916" y="8458"/>
                      <a:pt x="2916" y="8458"/>
                      <a:pt x="2916" y="8458"/>
                    </a:cubicBezTo>
                    <a:cubicBezTo>
                      <a:pt x="3999" y="7854"/>
                      <a:pt x="3999" y="7854"/>
                      <a:pt x="3999" y="7854"/>
                    </a:cubicBezTo>
                    <a:cubicBezTo>
                      <a:pt x="4009" y="7862"/>
                      <a:pt x="4009" y="7862"/>
                      <a:pt x="4009" y="7862"/>
                    </a:cubicBezTo>
                    <a:cubicBezTo>
                      <a:pt x="4020" y="7881"/>
                      <a:pt x="4089" y="7994"/>
                      <a:pt x="4160" y="8117"/>
                    </a:cubicBezTo>
                    <a:cubicBezTo>
                      <a:pt x="4239" y="8251"/>
                      <a:pt x="4322" y="8399"/>
                      <a:pt x="4336" y="8443"/>
                    </a:cubicBezTo>
                    <a:cubicBezTo>
                      <a:pt x="4354" y="8496"/>
                      <a:pt x="4381" y="8627"/>
                      <a:pt x="4404" y="8743"/>
                    </a:cubicBezTo>
                    <a:cubicBezTo>
                      <a:pt x="4423" y="8838"/>
                      <a:pt x="4438" y="8923"/>
                      <a:pt x="4444" y="8953"/>
                    </a:cubicBezTo>
                    <a:cubicBezTo>
                      <a:pt x="4411" y="8976"/>
                      <a:pt x="4345" y="9022"/>
                      <a:pt x="4276" y="9070"/>
                    </a:cubicBezTo>
                    <a:cubicBezTo>
                      <a:pt x="4180" y="9139"/>
                      <a:pt x="4081" y="9209"/>
                      <a:pt x="4066" y="9223"/>
                    </a:cubicBezTo>
                    <a:cubicBezTo>
                      <a:pt x="4064" y="9224"/>
                      <a:pt x="4064" y="9223"/>
                      <a:pt x="4061" y="9228"/>
                    </a:cubicBezTo>
                    <a:cubicBezTo>
                      <a:pt x="4061" y="9228"/>
                      <a:pt x="4061" y="9228"/>
                      <a:pt x="4061" y="9228"/>
                    </a:cubicBezTo>
                    <a:cubicBezTo>
                      <a:pt x="4061" y="9228"/>
                      <a:pt x="4061" y="9228"/>
                      <a:pt x="4061" y="9228"/>
                    </a:cubicBezTo>
                    <a:cubicBezTo>
                      <a:pt x="4061" y="9228"/>
                      <a:pt x="4060" y="9228"/>
                      <a:pt x="4060" y="9228"/>
                    </a:cubicBezTo>
                    <a:cubicBezTo>
                      <a:pt x="4060" y="9229"/>
                      <a:pt x="4059" y="9230"/>
                      <a:pt x="4058" y="9232"/>
                    </a:cubicBezTo>
                    <a:cubicBezTo>
                      <a:pt x="4055" y="9235"/>
                      <a:pt x="4052" y="9239"/>
                      <a:pt x="4048" y="9245"/>
                    </a:cubicBezTo>
                    <a:cubicBezTo>
                      <a:pt x="4040" y="9258"/>
                      <a:pt x="4030" y="9276"/>
                      <a:pt x="4020" y="9303"/>
                    </a:cubicBezTo>
                    <a:cubicBezTo>
                      <a:pt x="4001" y="9358"/>
                      <a:pt x="3982" y="9448"/>
                      <a:pt x="3980" y="9601"/>
                    </a:cubicBezTo>
                    <a:cubicBezTo>
                      <a:pt x="3980" y="9605"/>
                      <a:pt x="3980" y="9609"/>
                      <a:pt x="3980" y="9613"/>
                    </a:cubicBezTo>
                    <a:cubicBezTo>
                      <a:pt x="3980" y="9633"/>
                      <a:pt x="3981" y="9651"/>
                      <a:pt x="3982" y="9669"/>
                    </a:cubicBezTo>
                    <a:close/>
                    <a:moveTo>
                      <a:pt x="4444" y="9778"/>
                    </a:moveTo>
                    <a:cubicBezTo>
                      <a:pt x="4448" y="9815"/>
                      <a:pt x="4448" y="9859"/>
                      <a:pt x="4450" y="9897"/>
                    </a:cubicBezTo>
                    <a:cubicBezTo>
                      <a:pt x="4451" y="9924"/>
                      <a:pt x="4452" y="9946"/>
                      <a:pt x="4455" y="9964"/>
                    </a:cubicBezTo>
                    <a:cubicBezTo>
                      <a:pt x="4391" y="9963"/>
                      <a:pt x="4330" y="9959"/>
                      <a:pt x="4279" y="9950"/>
                    </a:cubicBezTo>
                    <a:cubicBezTo>
                      <a:pt x="4211" y="9938"/>
                      <a:pt x="4146" y="9923"/>
                      <a:pt x="4098" y="9877"/>
                    </a:cubicBezTo>
                    <a:cubicBezTo>
                      <a:pt x="4051" y="9833"/>
                      <a:pt x="4016" y="9756"/>
                      <a:pt x="4016" y="9613"/>
                    </a:cubicBezTo>
                    <a:cubicBezTo>
                      <a:pt x="4016" y="9609"/>
                      <a:pt x="4016" y="9605"/>
                      <a:pt x="4016" y="9601"/>
                    </a:cubicBezTo>
                    <a:cubicBezTo>
                      <a:pt x="4020" y="9339"/>
                      <a:pt x="4073" y="9271"/>
                      <a:pt x="4086" y="9255"/>
                    </a:cubicBezTo>
                    <a:cubicBezTo>
                      <a:pt x="4087" y="9252"/>
                      <a:pt x="4088" y="9252"/>
                      <a:pt x="4090" y="9249"/>
                    </a:cubicBezTo>
                    <a:cubicBezTo>
                      <a:pt x="4091" y="9249"/>
                      <a:pt x="4091" y="9248"/>
                      <a:pt x="4092" y="9247"/>
                    </a:cubicBezTo>
                    <a:cubicBezTo>
                      <a:pt x="4095" y="9245"/>
                      <a:pt x="4100" y="9242"/>
                      <a:pt x="4105" y="9237"/>
                    </a:cubicBezTo>
                    <a:cubicBezTo>
                      <a:pt x="4116" y="9229"/>
                      <a:pt x="4132" y="9218"/>
                      <a:pt x="4151" y="9204"/>
                    </a:cubicBezTo>
                    <a:cubicBezTo>
                      <a:pt x="4188" y="9177"/>
                      <a:pt x="4238" y="9142"/>
                      <a:pt x="4288" y="9106"/>
                    </a:cubicBezTo>
                    <a:cubicBezTo>
                      <a:pt x="4357" y="9058"/>
                      <a:pt x="4425" y="9010"/>
                      <a:pt x="4461" y="8985"/>
                    </a:cubicBezTo>
                    <a:cubicBezTo>
                      <a:pt x="4461" y="8986"/>
                      <a:pt x="4462" y="8986"/>
                      <a:pt x="4462" y="8987"/>
                    </a:cubicBezTo>
                    <a:cubicBezTo>
                      <a:pt x="4470" y="8997"/>
                      <a:pt x="4480" y="9012"/>
                      <a:pt x="4490" y="9032"/>
                    </a:cubicBezTo>
                    <a:cubicBezTo>
                      <a:pt x="4510" y="9072"/>
                      <a:pt x="4531" y="9132"/>
                      <a:pt x="4531" y="9212"/>
                    </a:cubicBezTo>
                    <a:cubicBezTo>
                      <a:pt x="4531" y="9253"/>
                      <a:pt x="4525" y="9299"/>
                      <a:pt x="4511" y="9351"/>
                    </a:cubicBezTo>
                    <a:cubicBezTo>
                      <a:pt x="4457" y="9558"/>
                      <a:pt x="4442" y="9649"/>
                      <a:pt x="4442" y="9722"/>
                    </a:cubicBezTo>
                    <a:cubicBezTo>
                      <a:pt x="4442" y="9741"/>
                      <a:pt x="4443" y="9759"/>
                      <a:pt x="4444" y="9778"/>
                    </a:cubicBezTo>
                    <a:close/>
                    <a:moveTo>
                      <a:pt x="6000" y="9983"/>
                    </a:moveTo>
                    <a:cubicBezTo>
                      <a:pt x="5992" y="10129"/>
                      <a:pt x="5978" y="10258"/>
                      <a:pt x="5973" y="10299"/>
                    </a:cubicBezTo>
                    <a:cubicBezTo>
                      <a:pt x="5888" y="10278"/>
                      <a:pt x="5796" y="10256"/>
                      <a:pt x="5716" y="10240"/>
                    </a:cubicBezTo>
                    <a:cubicBezTo>
                      <a:pt x="5556" y="10207"/>
                      <a:pt x="5071" y="10130"/>
                      <a:pt x="5070" y="10130"/>
                    </a:cubicBezTo>
                    <a:cubicBezTo>
                      <a:pt x="5070" y="10131"/>
                      <a:pt x="5070" y="10131"/>
                      <a:pt x="5070" y="10131"/>
                    </a:cubicBezTo>
                    <a:cubicBezTo>
                      <a:pt x="5068" y="10121"/>
                      <a:pt x="5066" y="10113"/>
                      <a:pt x="5064" y="10106"/>
                    </a:cubicBezTo>
                    <a:cubicBezTo>
                      <a:pt x="5046" y="10043"/>
                      <a:pt x="5016" y="10004"/>
                      <a:pt x="4979" y="9981"/>
                    </a:cubicBezTo>
                    <a:cubicBezTo>
                      <a:pt x="4941" y="9959"/>
                      <a:pt x="4899" y="9955"/>
                      <a:pt x="4854" y="9954"/>
                    </a:cubicBezTo>
                    <a:cubicBezTo>
                      <a:pt x="4821" y="9954"/>
                      <a:pt x="4787" y="9957"/>
                      <a:pt x="4753" y="9958"/>
                    </a:cubicBezTo>
                    <a:cubicBezTo>
                      <a:pt x="4683" y="9960"/>
                      <a:pt x="4591" y="9965"/>
                      <a:pt x="4500" y="9965"/>
                    </a:cubicBezTo>
                    <a:cubicBezTo>
                      <a:pt x="4497" y="9965"/>
                      <a:pt x="4495" y="9965"/>
                      <a:pt x="4492" y="9965"/>
                    </a:cubicBezTo>
                    <a:cubicBezTo>
                      <a:pt x="4491" y="9963"/>
                      <a:pt x="4491" y="9962"/>
                      <a:pt x="4491" y="9961"/>
                    </a:cubicBezTo>
                    <a:cubicBezTo>
                      <a:pt x="4489" y="9950"/>
                      <a:pt x="4487" y="9932"/>
                      <a:pt x="4486" y="9912"/>
                    </a:cubicBezTo>
                    <a:cubicBezTo>
                      <a:pt x="4484" y="9871"/>
                      <a:pt x="4484" y="9819"/>
                      <a:pt x="4480" y="9775"/>
                    </a:cubicBezTo>
                    <a:cubicBezTo>
                      <a:pt x="4479" y="9757"/>
                      <a:pt x="4478" y="9740"/>
                      <a:pt x="4478" y="9722"/>
                    </a:cubicBezTo>
                    <a:cubicBezTo>
                      <a:pt x="4478" y="9654"/>
                      <a:pt x="4492" y="9567"/>
                      <a:pt x="4546" y="9361"/>
                    </a:cubicBezTo>
                    <a:cubicBezTo>
                      <a:pt x="4561" y="9306"/>
                      <a:pt x="4567" y="9256"/>
                      <a:pt x="4567" y="9212"/>
                    </a:cubicBezTo>
                    <a:cubicBezTo>
                      <a:pt x="4567" y="9087"/>
                      <a:pt x="4521" y="9006"/>
                      <a:pt x="4494" y="8970"/>
                    </a:cubicBezTo>
                    <a:cubicBezTo>
                      <a:pt x="5914" y="8958"/>
                      <a:pt x="5914" y="8958"/>
                      <a:pt x="5914" y="8958"/>
                    </a:cubicBezTo>
                    <a:cubicBezTo>
                      <a:pt x="5921" y="8991"/>
                      <a:pt x="5938" y="9076"/>
                      <a:pt x="5956" y="9175"/>
                    </a:cubicBezTo>
                    <a:cubicBezTo>
                      <a:pt x="5979" y="9302"/>
                      <a:pt x="6002" y="9451"/>
                      <a:pt x="6004" y="9536"/>
                    </a:cubicBezTo>
                    <a:cubicBezTo>
                      <a:pt x="6005" y="9575"/>
                      <a:pt x="6006" y="9643"/>
                      <a:pt x="6006" y="9720"/>
                    </a:cubicBezTo>
                    <a:cubicBezTo>
                      <a:pt x="6006" y="9804"/>
                      <a:pt x="6005" y="9901"/>
                      <a:pt x="6000" y="9983"/>
                    </a:cubicBezTo>
                    <a:close/>
                    <a:moveTo>
                      <a:pt x="6810" y="10478"/>
                    </a:moveTo>
                    <a:cubicBezTo>
                      <a:pt x="6794" y="10476"/>
                      <a:pt x="6778" y="10474"/>
                      <a:pt x="6763" y="10472"/>
                    </a:cubicBezTo>
                    <a:cubicBezTo>
                      <a:pt x="6384" y="10436"/>
                      <a:pt x="6308" y="10384"/>
                      <a:pt x="6194" y="10355"/>
                    </a:cubicBezTo>
                    <a:cubicBezTo>
                      <a:pt x="6147" y="10342"/>
                      <a:pt x="6081" y="10325"/>
                      <a:pt x="6009" y="10308"/>
                    </a:cubicBezTo>
                    <a:cubicBezTo>
                      <a:pt x="6013" y="10272"/>
                      <a:pt x="6028" y="10138"/>
                      <a:pt x="6036" y="9985"/>
                    </a:cubicBezTo>
                    <a:cubicBezTo>
                      <a:pt x="6041" y="9902"/>
                      <a:pt x="6043" y="9805"/>
                      <a:pt x="6043" y="9720"/>
                    </a:cubicBezTo>
                    <a:cubicBezTo>
                      <a:pt x="6043" y="9642"/>
                      <a:pt x="6041" y="9574"/>
                      <a:pt x="6040" y="9535"/>
                    </a:cubicBezTo>
                    <a:cubicBezTo>
                      <a:pt x="6040" y="9534"/>
                      <a:pt x="6040" y="9533"/>
                      <a:pt x="6040" y="9532"/>
                    </a:cubicBezTo>
                    <a:cubicBezTo>
                      <a:pt x="6047" y="9533"/>
                      <a:pt x="6053" y="9533"/>
                      <a:pt x="6061" y="9533"/>
                    </a:cubicBezTo>
                    <a:cubicBezTo>
                      <a:pt x="6109" y="9533"/>
                      <a:pt x="6188" y="9523"/>
                      <a:pt x="6244" y="9469"/>
                    </a:cubicBezTo>
                    <a:cubicBezTo>
                      <a:pt x="6282" y="9433"/>
                      <a:pt x="6299" y="9376"/>
                      <a:pt x="6302" y="9308"/>
                    </a:cubicBezTo>
                    <a:cubicBezTo>
                      <a:pt x="6309" y="9112"/>
                      <a:pt x="6310" y="8832"/>
                      <a:pt x="6310" y="8778"/>
                    </a:cubicBezTo>
                    <a:cubicBezTo>
                      <a:pt x="7542" y="8815"/>
                      <a:pt x="7542" y="8815"/>
                      <a:pt x="7542" y="8815"/>
                    </a:cubicBezTo>
                    <a:cubicBezTo>
                      <a:pt x="7522" y="8860"/>
                      <a:pt x="7496" y="8919"/>
                      <a:pt x="7466" y="8988"/>
                    </a:cubicBezTo>
                    <a:cubicBezTo>
                      <a:pt x="7394" y="9151"/>
                      <a:pt x="7298" y="9369"/>
                      <a:pt x="7202" y="9589"/>
                    </a:cubicBezTo>
                    <a:cubicBezTo>
                      <a:pt x="7026" y="9988"/>
                      <a:pt x="6848" y="10393"/>
                      <a:pt x="6810" y="10478"/>
                    </a:cubicBezTo>
                    <a:close/>
                    <a:moveTo>
                      <a:pt x="8579" y="8220"/>
                    </a:moveTo>
                    <a:cubicBezTo>
                      <a:pt x="8575" y="8270"/>
                      <a:pt x="8560" y="9045"/>
                      <a:pt x="8559" y="9115"/>
                    </a:cubicBezTo>
                    <a:cubicBezTo>
                      <a:pt x="7646" y="10772"/>
                      <a:pt x="7646" y="10772"/>
                      <a:pt x="7646" y="10772"/>
                    </a:cubicBezTo>
                    <a:cubicBezTo>
                      <a:pt x="7626" y="10760"/>
                      <a:pt x="7626" y="10760"/>
                      <a:pt x="7626" y="10760"/>
                    </a:cubicBezTo>
                    <a:cubicBezTo>
                      <a:pt x="7625" y="10760"/>
                      <a:pt x="7214" y="10545"/>
                      <a:pt x="6847" y="10484"/>
                    </a:cubicBezTo>
                    <a:cubicBezTo>
                      <a:pt x="6852" y="10471"/>
                      <a:pt x="6860" y="10454"/>
                      <a:pt x="6869" y="10432"/>
                    </a:cubicBezTo>
                    <a:cubicBezTo>
                      <a:pt x="6891" y="10383"/>
                      <a:pt x="6922" y="10314"/>
                      <a:pt x="6959" y="10230"/>
                    </a:cubicBezTo>
                    <a:cubicBezTo>
                      <a:pt x="7032" y="10063"/>
                      <a:pt x="7130" y="9841"/>
                      <a:pt x="7228" y="9619"/>
                    </a:cubicBezTo>
                    <a:cubicBezTo>
                      <a:pt x="7423" y="9175"/>
                      <a:pt x="7618" y="8731"/>
                      <a:pt x="7618" y="8731"/>
                    </a:cubicBezTo>
                    <a:cubicBezTo>
                      <a:pt x="7619" y="8729"/>
                      <a:pt x="7619" y="8729"/>
                      <a:pt x="7619" y="8729"/>
                    </a:cubicBezTo>
                    <a:cubicBezTo>
                      <a:pt x="7846" y="7342"/>
                      <a:pt x="7846" y="7342"/>
                      <a:pt x="7846" y="7342"/>
                    </a:cubicBezTo>
                    <a:cubicBezTo>
                      <a:pt x="7862" y="7353"/>
                      <a:pt x="7878" y="7365"/>
                      <a:pt x="7896" y="7378"/>
                    </a:cubicBezTo>
                    <a:cubicBezTo>
                      <a:pt x="7993" y="7446"/>
                      <a:pt x="8123" y="7537"/>
                      <a:pt x="8252" y="7627"/>
                    </a:cubicBezTo>
                    <a:cubicBezTo>
                      <a:pt x="8477" y="7784"/>
                      <a:pt x="8702" y="7940"/>
                      <a:pt x="8757" y="7978"/>
                    </a:cubicBezTo>
                    <a:cubicBezTo>
                      <a:pt x="8752" y="7981"/>
                      <a:pt x="8746" y="7983"/>
                      <a:pt x="8741" y="7985"/>
                    </a:cubicBezTo>
                    <a:cubicBezTo>
                      <a:pt x="8669" y="8019"/>
                      <a:pt x="8594" y="8089"/>
                      <a:pt x="8579" y="8220"/>
                    </a:cubicBezTo>
                    <a:close/>
                    <a:moveTo>
                      <a:pt x="11316" y="9017"/>
                    </a:moveTo>
                    <a:cubicBezTo>
                      <a:pt x="11281" y="9043"/>
                      <a:pt x="11233" y="9081"/>
                      <a:pt x="11175" y="9126"/>
                    </a:cubicBezTo>
                    <a:cubicBezTo>
                      <a:pt x="11060" y="9215"/>
                      <a:pt x="10907" y="9334"/>
                      <a:pt x="10755" y="9453"/>
                    </a:cubicBezTo>
                    <a:cubicBezTo>
                      <a:pt x="10481" y="9667"/>
                      <a:pt x="10209" y="9880"/>
                      <a:pt x="10158" y="9921"/>
                    </a:cubicBezTo>
                    <a:cubicBezTo>
                      <a:pt x="10152" y="9909"/>
                      <a:pt x="10147" y="9899"/>
                      <a:pt x="10142" y="9892"/>
                    </a:cubicBezTo>
                    <a:cubicBezTo>
                      <a:pt x="10114" y="9855"/>
                      <a:pt x="10039" y="9794"/>
                      <a:pt x="9950" y="9731"/>
                    </a:cubicBezTo>
                    <a:cubicBezTo>
                      <a:pt x="9862" y="9669"/>
                      <a:pt x="9761" y="9608"/>
                      <a:pt x="9686" y="9576"/>
                    </a:cubicBezTo>
                    <a:cubicBezTo>
                      <a:pt x="9536" y="9514"/>
                      <a:pt x="9348" y="9473"/>
                      <a:pt x="9194" y="9428"/>
                    </a:cubicBezTo>
                    <a:cubicBezTo>
                      <a:pt x="9120" y="9407"/>
                      <a:pt x="8967" y="9326"/>
                      <a:pt x="8834" y="9250"/>
                    </a:cubicBezTo>
                    <a:cubicBezTo>
                      <a:pt x="8722" y="9186"/>
                      <a:pt x="8624" y="9127"/>
                      <a:pt x="8595" y="9109"/>
                    </a:cubicBezTo>
                    <a:cubicBezTo>
                      <a:pt x="8597" y="9015"/>
                      <a:pt x="8612" y="8267"/>
                      <a:pt x="8615" y="8224"/>
                    </a:cubicBezTo>
                    <a:cubicBezTo>
                      <a:pt x="8629" y="8105"/>
                      <a:pt x="8692" y="8049"/>
                      <a:pt x="8756" y="8018"/>
                    </a:cubicBezTo>
                    <a:cubicBezTo>
                      <a:pt x="8820" y="7988"/>
                      <a:pt x="8884" y="7986"/>
                      <a:pt x="8890" y="7987"/>
                    </a:cubicBezTo>
                    <a:cubicBezTo>
                      <a:pt x="10096" y="8068"/>
                      <a:pt x="10096" y="8068"/>
                      <a:pt x="10096" y="8068"/>
                    </a:cubicBezTo>
                    <a:cubicBezTo>
                      <a:pt x="10132" y="8095"/>
                      <a:pt x="10377" y="8282"/>
                      <a:pt x="10525" y="8395"/>
                    </a:cubicBezTo>
                    <a:cubicBezTo>
                      <a:pt x="10685" y="8518"/>
                      <a:pt x="11027" y="8755"/>
                      <a:pt x="11321" y="8967"/>
                    </a:cubicBezTo>
                    <a:cubicBezTo>
                      <a:pt x="11331" y="8974"/>
                      <a:pt x="11342" y="8982"/>
                      <a:pt x="11352" y="8990"/>
                    </a:cubicBezTo>
                    <a:cubicBezTo>
                      <a:pt x="11342" y="8997"/>
                      <a:pt x="11331" y="9006"/>
                      <a:pt x="11316" y="9017"/>
                    </a:cubicBezTo>
                    <a:close/>
                    <a:moveTo>
                      <a:pt x="10102" y="8026"/>
                    </a:moveTo>
                    <a:cubicBezTo>
                      <a:pt x="10109" y="8032"/>
                      <a:pt x="10109" y="8032"/>
                      <a:pt x="10109" y="8032"/>
                    </a:cubicBezTo>
                    <a:cubicBezTo>
                      <a:pt x="10109" y="8032"/>
                      <a:pt x="10109" y="8032"/>
                      <a:pt x="10109" y="8032"/>
                    </a:cubicBezTo>
                    <a:lnTo>
                      <a:pt x="10102" y="8026"/>
                    </a:lnTo>
                    <a:close/>
                    <a:moveTo>
                      <a:pt x="11342" y="8937"/>
                    </a:moveTo>
                    <a:cubicBezTo>
                      <a:pt x="11048" y="8725"/>
                      <a:pt x="10705" y="8488"/>
                      <a:pt x="10547" y="8366"/>
                    </a:cubicBezTo>
                    <a:cubicBezTo>
                      <a:pt x="10410" y="8261"/>
                      <a:pt x="10190" y="8094"/>
                      <a:pt x="10130" y="8048"/>
                    </a:cubicBezTo>
                    <a:cubicBezTo>
                      <a:pt x="10131" y="8047"/>
                      <a:pt x="10132" y="8045"/>
                      <a:pt x="10132" y="8044"/>
                    </a:cubicBezTo>
                    <a:cubicBezTo>
                      <a:pt x="10133" y="8042"/>
                      <a:pt x="10133" y="8041"/>
                      <a:pt x="10133" y="8041"/>
                    </a:cubicBezTo>
                    <a:cubicBezTo>
                      <a:pt x="10134" y="8039"/>
                      <a:pt x="10134" y="8038"/>
                      <a:pt x="10134" y="8036"/>
                    </a:cubicBezTo>
                    <a:cubicBezTo>
                      <a:pt x="10134" y="8033"/>
                      <a:pt x="10134" y="8030"/>
                      <a:pt x="10135" y="8025"/>
                    </a:cubicBezTo>
                    <a:cubicBezTo>
                      <a:pt x="10135" y="8016"/>
                      <a:pt x="10135" y="8002"/>
                      <a:pt x="10136" y="7985"/>
                    </a:cubicBezTo>
                    <a:cubicBezTo>
                      <a:pt x="10136" y="7952"/>
                      <a:pt x="10136" y="7904"/>
                      <a:pt x="10136" y="7846"/>
                    </a:cubicBezTo>
                    <a:cubicBezTo>
                      <a:pt x="10136" y="7498"/>
                      <a:pt x="10129" y="6797"/>
                      <a:pt x="10129" y="6797"/>
                    </a:cubicBezTo>
                    <a:cubicBezTo>
                      <a:pt x="10129" y="6797"/>
                      <a:pt x="10129" y="6797"/>
                      <a:pt x="10129" y="6797"/>
                    </a:cubicBezTo>
                    <a:cubicBezTo>
                      <a:pt x="10129" y="6796"/>
                      <a:pt x="10129" y="6796"/>
                      <a:pt x="10129" y="6796"/>
                    </a:cubicBezTo>
                    <a:cubicBezTo>
                      <a:pt x="10129" y="6794"/>
                      <a:pt x="10124" y="6728"/>
                      <a:pt x="10076" y="6660"/>
                    </a:cubicBezTo>
                    <a:cubicBezTo>
                      <a:pt x="10028" y="6593"/>
                      <a:pt x="9936" y="6526"/>
                      <a:pt x="9771" y="6526"/>
                    </a:cubicBezTo>
                    <a:cubicBezTo>
                      <a:pt x="9766" y="6526"/>
                      <a:pt x="9761" y="6526"/>
                      <a:pt x="9756" y="6526"/>
                    </a:cubicBezTo>
                    <a:cubicBezTo>
                      <a:pt x="9708" y="6528"/>
                      <a:pt x="9654" y="6528"/>
                      <a:pt x="9596" y="6528"/>
                    </a:cubicBezTo>
                    <a:cubicBezTo>
                      <a:pt x="9421" y="6528"/>
                      <a:pt x="9213" y="6524"/>
                      <a:pt x="9048" y="6519"/>
                    </a:cubicBezTo>
                    <a:cubicBezTo>
                      <a:pt x="8986" y="6517"/>
                      <a:pt x="8931" y="6516"/>
                      <a:pt x="8886" y="6514"/>
                    </a:cubicBezTo>
                    <a:cubicBezTo>
                      <a:pt x="9697" y="6239"/>
                      <a:pt x="9697" y="6239"/>
                      <a:pt x="9697" y="6239"/>
                    </a:cubicBezTo>
                    <a:cubicBezTo>
                      <a:pt x="11002" y="5811"/>
                      <a:pt x="11002" y="5811"/>
                      <a:pt x="11002" y="5811"/>
                    </a:cubicBezTo>
                    <a:cubicBezTo>
                      <a:pt x="11668" y="5625"/>
                      <a:pt x="11668" y="5625"/>
                      <a:pt x="11668" y="5625"/>
                    </a:cubicBezTo>
                    <a:cubicBezTo>
                      <a:pt x="11772" y="5745"/>
                      <a:pt x="12018" y="5978"/>
                      <a:pt x="12018" y="5978"/>
                    </a:cubicBezTo>
                    <a:cubicBezTo>
                      <a:pt x="12019" y="5980"/>
                      <a:pt x="12019" y="5980"/>
                      <a:pt x="12019" y="5980"/>
                    </a:cubicBezTo>
                    <a:cubicBezTo>
                      <a:pt x="12021" y="5981"/>
                      <a:pt x="12021" y="5981"/>
                      <a:pt x="12021" y="5981"/>
                    </a:cubicBezTo>
                    <a:cubicBezTo>
                      <a:pt x="12021" y="5981"/>
                      <a:pt x="12173" y="6076"/>
                      <a:pt x="12339" y="6177"/>
                    </a:cubicBezTo>
                    <a:cubicBezTo>
                      <a:pt x="12506" y="6279"/>
                      <a:pt x="12684" y="6386"/>
                      <a:pt x="12742" y="6411"/>
                    </a:cubicBezTo>
                    <a:cubicBezTo>
                      <a:pt x="12809" y="6441"/>
                      <a:pt x="12813" y="6468"/>
                      <a:pt x="12814" y="6481"/>
                    </a:cubicBezTo>
                    <a:cubicBezTo>
                      <a:pt x="12814" y="6487"/>
                      <a:pt x="12812" y="6491"/>
                      <a:pt x="12812" y="6492"/>
                    </a:cubicBezTo>
                    <a:cubicBezTo>
                      <a:pt x="12812" y="6492"/>
                      <a:pt x="12812" y="6492"/>
                      <a:pt x="12812" y="6492"/>
                    </a:cubicBezTo>
                    <a:cubicBezTo>
                      <a:pt x="12811" y="6493"/>
                      <a:pt x="12811" y="6493"/>
                      <a:pt x="12811" y="6493"/>
                    </a:cubicBezTo>
                    <a:cubicBezTo>
                      <a:pt x="12742" y="6694"/>
                      <a:pt x="12742" y="6694"/>
                      <a:pt x="12742" y="6694"/>
                    </a:cubicBezTo>
                    <a:cubicBezTo>
                      <a:pt x="12550" y="6987"/>
                      <a:pt x="12550" y="6987"/>
                      <a:pt x="12550" y="6987"/>
                    </a:cubicBezTo>
                    <a:cubicBezTo>
                      <a:pt x="12594" y="7187"/>
                      <a:pt x="12594" y="7187"/>
                      <a:pt x="12594" y="7187"/>
                    </a:cubicBezTo>
                    <a:cubicBezTo>
                      <a:pt x="12476" y="7166"/>
                      <a:pt x="11999" y="7079"/>
                      <a:pt x="11823" y="7052"/>
                    </a:cubicBezTo>
                    <a:cubicBezTo>
                      <a:pt x="11811" y="7050"/>
                      <a:pt x="11800" y="7049"/>
                      <a:pt x="11790" y="7049"/>
                    </a:cubicBezTo>
                    <a:cubicBezTo>
                      <a:pt x="11693" y="7049"/>
                      <a:pt x="11641" y="7120"/>
                      <a:pt x="11616" y="7185"/>
                    </a:cubicBezTo>
                    <a:cubicBezTo>
                      <a:pt x="11590" y="7250"/>
                      <a:pt x="11587" y="7313"/>
                      <a:pt x="11587" y="7314"/>
                    </a:cubicBezTo>
                    <a:cubicBezTo>
                      <a:pt x="11587" y="7315"/>
                      <a:pt x="11587" y="7315"/>
                      <a:pt x="11587" y="7315"/>
                    </a:cubicBezTo>
                    <a:cubicBezTo>
                      <a:pt x="11610" y="7721"/>
                      <a:pt x="11610" y="7721"/>
                      <a:pt x="11610" y="7721"/>
                    </a:cubicBezTo>
                    <a:cubicBezTo>
                      <a:pt x="11620" y="7726"/>
                      <a:pt x="11620" y="7726"/>
                      <a:pt x="11620" y="7726"/>
                    </a:cubicBezTo>
                    <a:cubicBezTo>
                      <a:pt x="11801" y="7809"/>
                      <a:pt x="11841" y="7921"/>
                      <a:pt x="11841" y="8014"/>
                    </a:cubicBezTo>
                    <a:cubicBezTo>
                      <a:pt x="11842" y="8083"/>
                      <a:pt x="11818" y="8142"/>
                      <a:pt x="11806" y="8166"/>
                    </a:cubicBezTo>
                    <a:cubicBezTo>
                      <a:pt x="11802" y="8174"/>
                      <a:pt x="11800" y="8178"/>
                      <a:pt x="11800" y="8179"/>
                    </a:cubicBezTo>
                    <a:cubicBezTo>
                      <a:pt x="11386" y="8971"/>
                      <a:pt x="11386" y="8971"/>
                      <a:pt x="11386" y="8971"/>
                    </a:cubicBezTo>
                    <a:cubicBezTo>
                      <a:pt x="11372" y="8960"/>
                      <a:pt x="11357" y="8949"/>
                      <a:pt x="11342" y="8937"/>
                    </a:cubicBezTo>
                    <a:close/>
                    <a:moveTo>
                      <a:pt x="13766" y="8856"/>
                    </a:moveTo>
                    <a:cubicBezTo>
                      <a:pt x="13766" y="8856"/>
                      <a:pt x="13766" y="8856"/>
                      <a:pt x="13766" y="8856"/>
                    </a:cubicBezTo>
                    <a:cubicBezTo>
                      <a:pt x="13767" y="8856"/>
                      <a:pt x="13767" y="8856"/>
                      <a:pt x="13767" y="8856"/>
                    </a:cubicBezTo>
                    <a:lnTo>
                      <a:pt x="13766" y="8856"/>
                    </a:lnTo>
                    <a:close/>
                    <a:moveTo>
                      <a:pt x="15445" y="6085"/>
                    </a:moveTo>
                    <a:cubicBezTo>
                      <a:pt x="15448" y="6084"/>
                      <a:pt x="15451" y="6082"/>
                      <a:pt x="15453" y="6080"/>
                    </a:cubicBezTo>
                    <a:cubicBezTo>
                      <a:pt x="15456" y="6076"/>
                      <a:pt x="15459" y="6071"/>
                      <a:pt x="15461" y="6065"/>
                    </a:cubicBezTo>
                    <a:cubicBezTo>
                      <a:pt x="15464" y="6059"/>
                      <a:pt x="15466" y="6051"/>
                      <a:pt x="15469" y="6042"/>
                    </a:cubicBezTo>
                    <a:cubicBezTo>
                      <a:pt x="15657" y="6087"/>
                      <a:pt x="16112" y="6226"/>
                      <a:pt x="16477" y="6585"/>
                    </a:cubicBezTo>
                    <a:cubicBezTo>
                      <a:pt x="16916" y="7018"/>
                      <a:pt x="17104" y="7547"/>
                      <a:pt x="17170" y="7785"/>
                    </a:cubicBezTo>
                    <a:cubicBezTo>
                      <a:pt x="17192" y="7864"/>
                      <a:pt x="17201" y="7910"/>
                      <a:pt x="17201" y="7910"/>
                    </a:cubicBezTo>
                    <a:cubicBezTo>
                      <a:pt x="17201" y="7911"/>
                      <a:pt x="17201" y="7911"/>
                      <a:pt x="17201" y="7911"/>
                    </a:cubicBezTo>
                    <a:cubicBezTo>
                      <a:pt x="17201" y="7912"/>
                      <a:pt x="17201" y="7912"/>
                      <a:pt x="17201" y="7912"/>
                    </a:cubicBezTo>
                    <a:cubicBezTo>
                      <a:pt x="17252" y="8073"/>
                      <a:pt x="17272" y="8225"/>
                      <a:pt x="17272" y="8363"/>
                    </a:cubicBezTo>
                    <a:cubicBezTo>
                      <a:pt x="17272" y="8694"/>
                      <a:pt x="17161" y="8947"/>
                      <a:pt x="17106" y="9053"/>
                    </a:cubicBezTo>
                    <a:cubicBezTo>
                      <a:pt x="17088" y="9087"/>
                      <a:pt x="17076" y="9105"/>
                      <a:pt x="17076" y="9106"/>
                    </a:cubicBezTo>
                    <a:cubicBezTo>
                      <a:pt x="16902" y="9059"/>
                      <a:pt x="16763" y="9055"/>
                      <a:pt x="16711" y="9055"/>
                    </a:cubicBezTo>
                    <a:cubicBezTo>
                      <a:pt x="16702" y="9055"/>
                      <a:pt x="16695" y="9056"/>
                      <a:pt x="16692" y="9056"/>
                    </a:cubicBezTo>
                    <a:cubicBezTo>
                      <a:pt x="16692" y="9056"/>
                      <a:pt x="16692" y="9056"/>
                      <a:pt x="16692" y="9056"/>
                    </a:cubicBezTo>
                    <a:cubicBezTo>
                      <a:pt x="16691" y="9055"/>
                      <a:pt x="16691" y="9055"/>
                      <a:pt x="16690" y="9055"/>
                    </a:cubicBezTo>
                    <a:cubicBezTo>
                      <a:pt x="16690" y="9055"/>
                      <a:pt x="16689" y="9055"/>
                      <a:pt x="16689" y="9055"/>
                    </a:cubicBezTo>
                    <a:cubicBezTo>
                      <a:pt x="16688" y="9055"/>
                      <a:pt x="16688" y="9055"/>
                      <a:pt x="16687" y="9055"/>
                    </a:cubicBezTo>
                    <a:cubicBezTo>
                      <a:pt x="16685" y="9055"/>
                      <a:pt x="16683" y="9055"/>
                      <a:pt x="16680" y="9055"/>
                    </a:cubicBezTo>
                    <a:cubicBezTo>
                      <a:pt x="16562" y="9055"/>
                      <a:pt x="15359" y="9073"/>
                      <a:pt x="14542" y="9086"/>
                    </a:cubicBezTo>
                    <a:cubicBezTo>
                      <a:pt x="14539" y="9070"/>
                      <a:pt x="14529" y="8997"/>
                      <a:pt x="14529" y="8898"/>
                    </a:cubicBezTo>
                    <a:cubicBezTo>
                      <a:pt x="14529" y="8776"/>
                      <a:pt x="14546" y="8616"/>
                      <a:pt x="14616" y="8490"/>
                    </a:cubicBezTo>
                    <a:cubicBezTo>
                      <a:pt x="14755" y="8239"/>
                      <a:pt x="14784" y="8008"/>
                      <a:pt x="14784" y="8007"/>
                    </a:cubicBezTo>
                    <a:cubicBezTo>
                      <a:pt x="14785" y="8006"/>
                      <a:pt x="14785" y="8006"/>
                      <a:pt x="14785" y="8006"/>
                    </a:cubicBezTo>
                    <a:cubicBezTo>
                      <a:pt x="14785" y="8006"/>
                      <a:pt x="14785" y="8006"/>
                      <a:pt x="14785" y="8006"/>
                    </a:cubicBezTo>
                    <a:cubicBezTo>
                      <a:pt x="14785" y="8005"/>
                      <a:pt x="14793" y="7886"/>
                      <a:pt x="14807" y="7722"/>
                    </a:cubicBezTo>
                    <a:cubicBezTo>
                      <a:pt x="14820" y="7557"/>
                      <a:pt x="14840" y="7349"/>
                      <a:pt x="14863" y="7173"/>
                    </a:cubicBezTo>
                    <a:cubicBezTo>
                      <a:pt x="14903" y="6866"/>
                      <a:pt x="14972" y="6761"/>
                      <a:pt x="14986" y="6742"/>
                    </a:cubicBezTo>
                    <a:cubicBezTo>
                      <a:pt x="14988" y="6739"/>
                      <a:pt x="14989" y="6738"/>
                      <a:pt x="14989" y="6738"/>
                    </a:cubicBezTo>
                    <a:cubicBezTo>
                      <a:pt x="14991" y="6737"/>
                      <a:pt x="14991" y="6737"/>
                      <a:pt x="14991" y="6737"/>
                    </a:cubicBezTo>
                    <a:cubicBezTo>
                      <a:pt x="14992" y="6735"/>
                      <a:pt x="14992" y="6735"/>
                      <a:pt x="14992" y="6735"/>
                    </a:cubicBezTo>
                    <a:cubicBezTo>
                      <a:pt x="15048" y="6628"/>
                      <a:pt x="15216" y="6407"/>
                      <a:pt x="15324" y="6266"/>
                    </a:cubicBezTo>
                    <a:cubicBezTo>
                      <a:pt x="15397" y="6171"/>
                      <a:pt x="15434" y="6107"/>
                      <a:pt x="15445" y="6085"/>
                    </a:cubicBezTo>
                    <a:close/>
                    <a:moveTo>
                      <a:pt x="14189" y="5789"/>
                    </a:moveTo>
                    <a:cubicBezTo>
                      <a:pt x="15391" y="6025"/>
                      <a:pt x="15391" y="6025"/>
                      <a:pt x="15391" y="6025"/>
                    </a:cubicBezTo>
                    <a:cubicBezTo>
                      <a:pt x="15399" y="6026"/>
                      <a:pt x="15414" y="6029"/>
                      <a:pt x="15433" y="6034"/>
                    </a:cubicBezTo>
                    <a:cubicBezTo>
                      <a:pt x="15433" y="6036"/>
                      <a:pt x="15432" y="6038"/>
                      <a:pt x="15432" y="6040"/>
                    </a:cubicBezTo>
                    <a:cubicBezTo>
                      <a:pt x="15429" y="6037"/>
                      <a:pt x="15429" y="6037"/>
                      <a:pt x="15429" y="6037"/>
                    </a:cubicBezTo>
                    <a:cubicBezTo>
                      <a:pt x="15417" y="6061"/>
                      <a:pt x="15417" y="6061"/>
                      <a:pt x="15417" y="6061"/>
                    </a:cubicBezTo>
                    <a:cubicBezTo>
                      <a:pt x="15417" y="6061"/>
                      <a:pt x="15409" y="6077"/>
                      <a:pt x="15390" y="6109"/>
                    </a:cubicBezTo>
                    <a:cubicBezTo>
                      <a:pt x="15371" y="6140"/>
                      <a:pt x="15340" y="6186"/>
                      <a:pt x="15295" y="6244"/>
                    </a:cubicBezTo>
                    <a:cubicBezTo>
                      <a:pt x="15187" y="6385"/>
                      <a:pt x="15021" y="6604"/>
                      <a:pt x="14961" y="6716"/>
                    </a:cubicBezTo>
                    <a:cubicBezTo>
                      <a:pt x="14948" y="6732"/>
                      <a:pt x="14870" y="6837"/>
                      <a:pt x="14827" y="7168"/>
                    </a:cubicBezTo>
                    <a:cubicBezTo>
                      <a:pt x="14783" y="7513"/>
                      <a:pt x="14750" y="7977"/>
                      <a:pt x="14749" y="8002"/>
                    </a:cubicBezTo>
                    <a:cubicBezTo>
                      <a:pt x="14749" y="8002"/>
                      <a:pt x="14747" y="8016"/>
                      <a:pt x="14742" y="8041"/>
                    </a:cubicBezTo>
                    <a:cubicBezTo>
                      <a:pt x="14737" y="8066"/>
                      <a:pt x="14729" y="8101"/>
                      <a:pt x="14717" y="8145"/>
                    </a:cubicBezTo>
                    <a:cubicBezTo>
                      <a:pt x="14693" y="8232"/>
                      <a:pt x="14652" y="8350"/>
                      <a:pt x="14584" y="8473"/>
                    </a:cubicBezTo>
                    <a:cubicBezTo>
                      <a:pt x="14510" y="8608"/>
                      <a:pt x="14493" y="8772"/>
                      <a:pt x="14493" y="8898"/>
                    </a:cubicBezTo>
                    <a:cubicBezTo>
                      <a:pt x="14493" y="8991"/>
                      <a:pt x="14502" y="9063"/>
                      <a:pt x="14505" y="9087"/>
                    </a:cubicBezTo>
                    <a:cubicBezTo>
                      <a:pt x="14153" y="9092"/>
                      <a:pt x="13879" y="9096"/>
                      <a:pt x="13805" y="9098"/>
                    </a:cubicBezTo>
                    <a:cubicBezTo>
                      <a:pt x="13787" y="9095"/>
                      <a:pt x="13787" y="9095"/>
                      <a:pt x="13787" y="9095"/>
                    </a:cubicBezTo>
                    <a:cubicBezTo>
                      <a:pt x="13783" y="9046"/>
                      <a:pt x="13779" y="9002"/>
                      <a:pt x="13776" y="8966"/>
                    </a:cubicBezTo>
                    <a:cubicBezTo>
                      <a:pt x="13771" y="8906"/>
                      <a:pt x="13768" y="8863"/>
                      <a:pt x="13767" y="8852"/>
                    </a:cubicBezTo>
                    <a:cubicBezTo>
                      <a:pt x="13768" y="8849"/>
                      <a:pt x="13768" y="8845"/>
                      <a:pt x="13767" y="8840"/>
                    </a:cubicBezTo>
                    <a:cubicBezTo>
                      <a:pt x="13767" y="8838"/>
                      <a:pt x="13767" y="8835"/>
                      <a:pt x="13766" y="8833"/>
                    </a:cubicBezTo>
                    <a:cubicBezTo>
                      <a:pt x="13766" y="8832"/>
                      <a:pt x="13766" y="8832"/>
                      <a:pt x="13766" y="8832"/>
                    </a:cubicBezTo>
                    <a:cubicBezTo>
                      <a:pt x="13766" y="8832"/>
                      <a:pt x="13766" y="8832"/>
                      <a:pt x="13766" y="8832"/>
                    </a:cubicBezTo>
                    <a:cubicBezTo>
                      <a:pt x="13766" y="8832"/>
                      <a:pt x="13766" y="8832"/>
                      <a:pt x="13766" y="8831"/>
                    </a:cubicBezTo>
                    <a:cubicBezTo>
                      <a:pt x="13765" y="8830"/>
                      <a:pt x="13765" y="8828"/>
                      <a:pt x="13764" y="8825"/>
                    </a:cubicBezTo>
                    <a:cubicBezTo>
                      <a:pt x="13763" y="8818"/>
                      <a:pt x="13761" y="8807"/>
                      <a:pt x="13760" y="8791"/>
                    </a:cubicBezTo>
                    <a:cubicBezTo>
                      <a:pt x="13756" y="8760"/>
                      <a:pt x="13752" y="8711"/>
                      <a:pt x="13752" y="8640"/>
                    </a:cubicBezTo>
                    <a:cubicBezTo>
                      <a:pt x="13752" y="8518"/>
                      <a:pt x="13763" y="8332"/>
                      <a:pt x="13806" y="8066"/>
                    </a:cubicBezTo>
                    <a:cubicBezTo>
                      <a:pt x="13862" y="7709"/>
                      <a:pt x="14046" y="6593"/>
                      <a:pt x="14179" y="5788"/>
                    </a:cubicBezTo>
                    <a:lnTo>
                      <a:pt x="14189" y="5789"/>
                    </a:lnTo>
                    <a:close/>
                    <a:moveTo>
                      <a:pt x="13692" y="8048"/>
                    </a:moveTo>
                    <a:cubicBezTo>
                      <a:pt x="13649" y="8319"/>
                      <a:pt x="13637" y="8511"/>
                      <a:pt x="13637" y="8640"/>
                    </a:cubicBezTo>
                    <a:cubicBezTo>
                      <a:pt x="13637" y="8763"/>
                      <a:pt x="13648" y="8829"/>
                      <a:pt x="13653" y="8852"/>
                    </a:cubicBezTo>
                    <a:cubicBezTo>
                      <a:pt x="13653" y="8855"/>
                      <a:pt x="13653" y="8859"/>
                      <a:pt x="13653" y="8864"/>
                    </a:cubicBezTo>
                    <a:cubicBezTo>
                      <a:pt x="13648" y="8865"/>
                      <a:pt x="13642" y="8867"/>
                      <a:pt x="13637" y="8868"/>
                    </a:cubicBezTo>
                    <a:cubicBezTo>
                      <a:pt x="12629" y="8901"/>
                      <a:pt x="12629" y="8901"/>
                      <a:pt x="12629" y="8901"/>
                    </a:cubicBezTo>
                    <a:cubicBezTo>
                      <a:pt x="12627" y="8902"/>
                      <a:pt x="12627" y="8902"/>
                      <a:pt x="12627" y="8902"/>
                    </a:cubicBezTo>
                    <a:cubicBezTo>
                      <a:pt x="12626" y="8902"/>
                      <a:pt x="12589" y="8910"/>
                      <a:pt x="12550" y="8936"/>
                    </a:cubicBezTo>
                    <a:cubicBezTo>
                      <a:pt x="12512" y="8962"/>
                      <a:pt x="12472" y="9010"/>
                      <a:pt x="12472" y="9084"/>
                    </a:cubicBezTo>
                    <a:cubicBezTo>
                      <a:pt x="12472" y="9086"/>
                      <a:pt x="12473" y="9088"/>
                      <a:pt x="12473" y="9091"/>
                    </a:cubicBezTo>
                    <a:cubicBezTo>
                      <a:pt x="12473" y="9100"/>
                      <a:pt x="12473" y="9108"/>
                      <a:pt x="12473" y="9117"/>
                    </a:cubicBezTo>
                    <a:cubicBezTo>
                      <a:pt x="12473" y="9173"/>
                      <a:pt x="12466" y="9200"/>
                      <a:pt x="12448" y="9221"/>
                    </a:cubicBezTo>
                    <a:cubicBezTo>
                      <a:pt x="12430" y="9242"/>
                      <a:pt x="12395" y="9260"/>
                      <a:pt x="12338" y="9289"/>
                    </a:cubicBezTo>
                    <a:cubicBezTo>
                      <a:pt x="12278" y="9319"/>
                      <a:pt x="12143" y="9374"/>
                      <a:pt x="12024" y="9421"/>
                    </a:cubicBezTo>
                    <a:cubicBezTo>
                      <a:pt x="11904" y="9468"/>
                      <a:pt x="11801" y="9507"/>
                      <a:pt x="11800" y="9507"/>
                    </a:cubicBezTo>
                    <a:cubicBezTo>
                      <a:pt x="11796" y="9509"/>
                      <a:pt x="11796" y="9509"/>
                      <a:pt x="11796" y="9509"/>
                    </a:cubicBezTo>
                    <a:cubicBezTo>
                      <a:pt x="11740" y="9377"/>
                      <a:pt x="11740" y="9377"/>
                      <a:pt x="11740" y="9377"/>
                    </a:cubicBezTo>
                    <a:cubicBezTo>
                      <a:pt x="11739" y="9375"/>
                      <a:pt x="11655" y="9189"/>
                      <a:pt x="11415" y="8994"/>
                    </a:cubicBezTo>
                    <a:cubicBezTo>
                      <a:pt x="11831" y="8196"/>
                      <a:pt x="11831" y="8196"/>
                      <a:pt x="11831" y="8196"/>
                    </a:cubicBezTo>
                    <a:cubicBezTo>
                      <a:pt x="11832" y="8195"/>
                      <a:pt x="11877" y="8117"/>
                      <a:pt x="11878" y="8014"/>
                    </a:cubicBezTo>
                    <a:cubicBezTo>
                      <a:pt x="11878" y="7911"/>
                      <a:pt x="11828" y="7783"/>
                      <a:pt x="11645" y="7698"/>
                    </a:cubicBezTo>
                    <a:cubicBezTo>
                      <a:pt x="11623" y="7315"/>
                      <a:pt x="11623" y="7315"/>
                      <a:pt x="11623" y="7315"/>
                    </a:cubicBezTo>
                    <a:cubicBezTo>
                      <a:pt x="11624" y="7312"/>
                      <a:pt x="11624" y="7299"/>
                      <a:pt x="11628" y="7279"/>
                    </a:cubicBezTo>
                    <a:cubicBezTo>
                      <a:pt x="11631" y="7257"/>
                      <a:pt x="11638" y="7227"/>
                      <a:pt x="11650" y="7198"/>
                    </a:cubicBezTo>
                    <a:cubicBezTo>
                      <a:pt x="11674" y="7139"/>
                      <a:pt x="11714" y="7085"/>
                      <a:pt x="11790" y="7085"/>
                    </a:cubicBezTo>
                    <a:cubicBezTo>
                      <a:pt x="11798" y="7085"/>
                      <a:pt x="11808" y="7086"/>
                      <a:pt x="11817" y="7088"/>
                    </a:cubicBezTo>
                    <a:cubicBezTo>
                      <a:pt x="11918" y="7103"/>
                      <a:pt x="12117" y="7138"/>
                      <a:pt x="12291" y="7169"/>
                    </a:cubicBezTo>
                    <a:cubicBezTo>
                      <a:pt x="12465" y="7200"/>
                      <a:pt x="12614" y="7228"/>
                      <a:pt x="12614" y="7228"/>
                    </a:cubicBezTo>
                    <a:cubicBezTo>
                      <a:pt x="12641" y="7233"/>
                      <a:pt x="12641" y="7233"/>
                      <a:pt x="12641" y="7233"/>
                    </a:cubicBezTo>
                    <a:cubicBezTo>
                      <a:pt x="12589" y="6994"/>
                      <a:pt x="12589" y="6994"/>
                      <a:pt x="12589" y="6994"/>
                    </a:cubicBezTo>
                    <a:cubicBezTo>
                      <a:pt x="12774" y="6710"/>
                      <a:pt x="12774" y="6710"/>
                      <a:pt x="12774" y="6710"/>
                    </a:cubicBezTo>
                    <a:cubicBezTo>
                      <a:pt x="12845" y="6507"/>
                      <a:pt x="12845" y="6507"/>
                      <a:pt x="12845" y="6507"/>
                    </a:cubicBezTo>
                    <a:cubicBezTo>
                      <a:pt x="12847" y="6503"/>
                      <a:pt x="12850" y="6494"/>
                      <a:pt x="12850" y="6481"/>
                    </a:cubicBezTo>
                    <a:cubicBezTo>
                      <a:pt x="12851" y="6452"/>
                      <a:pt x="12830" y="6410"/>
                      <a:pt x="12756" y="6378"/>
                    </a:cubicBezTo>
                    <a:cubicBezTo>
                      <a:pt x="12704" y="6356"/>
                      <a:pt x="12524" y="6248"/>
                      <a:pt x="12358" y="6147"/>
                    </a:cubicBezTo>
                    <a:cubicBezTo>
                      <a:pt x="12202" y="6051"/>
                      <a:pt x="12058" y="5961"/>
                      <a:pt x="12042" y="5951"/>
                    </a:cubicBezTo>
                    <a:cubicBezTo>
                      <a:pt x="12032" y="5942"/>
                      <a:pt x="11974" y="5887"/>
                      <a:pt x="11906" y="5819"/>
                    </a:cubicBezTo>
                    <a:cubicBezTo>
                      <a:pt x="11837" y="5752"/>
                      <a:pt x="11758" y="5672"/>
                      <a:pt x="11707" y="5614"/>
                    </a:cubicBezTo>
                    <a:cubicBezTo>
                      <a:pt x="14189" y="4920"/>
                      <a:pt x="14189" y="4920"/>
                      <a:pt x="14189" y="4920"/>
                    </a:cubicBezTo>
                    <a:cubicBezTo>
                      <a:pt x="14206" y="4918"/>
                      <a:pt x="14206" y="4918"/>
                      <a:pt x="14206" y="4918"/>
                    </a:cubicBezTo>
                    <a:cubicBezTo>
                      <a:pt x="14158" y="5212"/>
                      <a:pt x="13778" y="7505"/>
                      <a:pt x="13692" y="8048"/>
                    </a:cubicBezTo>
                    <a:close/>
                    <a:moveTo>
                      <a:pt x="13846" y="2795"/>
                    </a:moveTo>
                    <a:cubicBezTo>
                      <a:pt x="13892" y="2806"/>
                      <a:pt x="13941" y="2816"/>
                      <a:pt x="13991" y="2829"/>
                    </a:cubicBezTo>
                    <a:cubicBezTo>
                      <a:pt x="14071" y="2849"/>
                      <a:pt x="14152" y="2875"/>
                      <a:pt x="14219" y="2917"/>
                    </a:cubicBezTo>
                    <a:cubicBezTo>
                      <a:pt x="14336" y="2991"/>
                      <a:pt x="14411" y="3119"/>
                      <a:pt x="14426" y="3147"/>
                    </a:cubicBezTo>
                    <a:cubicBezTo>
                      <a:pt x="14428" y="3151"/>
                      <a:pt x="14428" y="3152"/>
                      <a:pt x="14428" y="3152"/>
                    </a:cubicBezTo>
                    <a:cubicBezTo>
                      <a:pt x="14431" y="3158"/>
                      <a:pt x="14431" y="3158"/>
                      <a:pt x="14431" y="3158"/>
                    </a:cubicBezTo>
                    <a:cubicBezTo>
                      <a:pt x="14436" y="3163"/>
                      <a:pt x="14436" y="3163"/>
                      <a:pt x="14436" y="3163"/>
                    </a:cubicBezTo>
                    <a:cubicBezTo>
                      <a:pt x="14436" y="3164"/>
                      <a:pt x="14666" y="3442"/>
                      <a:pt x="14810" y="3608"/>
                    </a:cubicBezTo>
                    <a:cubicBezTo>
                      <a:pt x="14859" y="3664"/>
                      <a:pt x="14895" y="3705"/>
                      <a:pt x="14917" y="3725"/>
                    </a:cubicBezTo>
                    <a:cubicBezTo>
                      <a:pt x="14962" y="3766"/>
                      <a:pt x="14994" y="3789"/>
                      <a:pt x="15013" y="3801"/>
                    </a:cubicBezTo>
                    <a:cubicBezTo>
                      <a:pt x="14720" y="4203"/>
                      <a:pt x="14720" y="4203"/>
                      <a:pt x="14720" y="4203"/>
                    </a:cubicBezTo>
                    <a:cubicBezTo>
                      <a:pt x="14718" y="4211"/>
                      <a:pt x="14718" y="4211"/>
                      <a:pt x="14718" y="4211"/>
                    </a:cubicBezTo>
                    <a:cubicBezTo>
                      <a:pt x="14718" y="4211"/>
                      <a:pt x="14714" y="4222"/>
                      <a:pt x="14705" y="4243"/>
                    </a:cubicBezTo>
                    <a:cubicBezTo>
                      <a:pt x="14697" y="4264"/>
                      <a:pt x="14685" y="4293"/>
                      <a:pt x="14669" y="4328"/>
                    </a:cubicBezTo>
                    <a:cubicBezTo>
                      <a:pt x="14637" y="4398"/>
                      <a:pt x="14590" y="4488"/>
                      <a:pt x="14532" y="4568"/>
                    </a:cubicBezTo>
                    <a:cubicBezTo>
                      <a:pt x="14432" y="4706"/>
                      <a:pt x="14278" y="4819"/>
                      <a:pt x="14243" y="4844"/>
                    </a:cubicBezTo>
                    <a:cubicBezTo>
                      <a:pt x="14238" y="4847"/>
                      <a:pt x="14236" y="4849"/>
                      <a:pt x="14236" y="4849"/>
                    </a:cubicBezTo>
                    <a:cubicBezTo>
                      <a:pt x="14215" y="4862"/>
                      <a:pt x="14215" y="4862"/>
                      <a:pt x="14215" y="4862"/>
                    </a:cubicBezTo>
                    <a:cubicBezTo>
                      <a:pt x="14213" y="4876"/>
                      <a:pt x="14213" y="4876"/>
                      <a:pt x="14213" y="4876"/>
                    </a:cubicBezTo>
                    <a:cubicBezTo>
                      <a:pt x="10991" y="5776"/>
                      <a:pt x="10991" y="5776"/>
                      <a:pt x="10991" y="5776"/>
                    </a:cubicBezTo>
                    <a:cubicBezTo>
                      <a:pt x="9685" y="6205"/>
                      <a:pt x="9685" y="6205"/>
                      <a:pt x="9685" y="6205"/>
                    </a:cubicBezTo>
                    <a:cubicBezTo>
                      <a:pt x="8796" y="6507"/>
                      <a:pt x="8796" y="6507"/>
                      <a:pt x="8796" y="6507"/>
                    </a:cubicBezTo>
                    <a:cubicBezTo>
                      <a:pt x="8796" y="6507"/>
                      <a:pt x="8796" y="6507"/>
                      <a:pt x="8796" y="6507"/>
                    </a:cubicBezTo>
                    <a:cubicBezTo>
                      <a:pt x="8797" y="6511"/>
                      <a:pt x="8797" y="6511"/>
                      <a:pt x="8797" y="6511"/>
                    </a:cubicBezTo>
                    <a:cubicBezTo>
                      <a:pt x="8774" y="6511"/>
                      <a:pt x="8761" y="6510"/>
                      <a:pt x="8761" y="6510"/>
                    </a:cubicBezTo>
                    <a:cubicBezTo>
                      <a:pt x="8760" y="6510"/>
                      <a:pt x="8760" y="6510"/>
                      <a:pt x="8760" y="6510"/>
                    </a:cubicBezTo>
                    <a:cubicBezTo>
                      <a:pt x="8749" y="6511"/>
                      <a:pt x="8749" y="6511"/>
                      <a:pt x="8749" y="6511"/>
                    </a:cubicBezTo>
                    <a:cubicBezTo>
                      <a:pt x="9397" y="5108"/>
                      <a:pt x="9397" y="5108"/>
                      <a:pt x="9397" y="5108"/>
                    </a:cubicBezTo>
                    <a:cubicBezTo>
                      <a:pt x="9453" y="4988"/>
                      <a:pt x="9453" y="4988"/>
                      <a:pt x="9453" y="4988"/>
                    </a:cubicBezTo>
                    <a:cubicBezTo>
                      <a:pt x="9499" y="5015"/>
                      <a:pt x="9661" y="5100"/>
                      <a:pt x="9850" y="5100"/>
                    </a:cubicBezTo>
                    <a:cubicBezTo>
                      <a:pt x="9904" y="5100"/>
                      <a:pt x="9959" y="5093"/>
                      <a:pt x="10015" y="5076"/>
                    </a:cubicBezTo>
                    <a:cubicBezTo>
                      <a:pt x="10133" y="5040"/>
                      <a:pt x="10486" y="4925"/>
                      <a:pt x="10853" y="4806"/>
                    </a:cubicBezTo>
                    <a:cubicBezTo>
                      <a:pt x="11131" y="5608"/>
                      <a:pt x="11131" y="5608"/>
                      <a:pt x="11131" y="5608"/>
                    </a:cubicBezTo>
                    <a:cubicBezTo>
                      <a:pt x="11165" y="5596"/>
                      <a:pt x="11165" y="5596"/>
                      <a:pt x="11165" y="5596"/>
                    </a:cubicBezTo>
                    <a:cubicBezTo>
                      <a:pt x="10887" y="4794"/>
                      <a:pt x="10887" y="4794"/>
                      <a:pt x="10887" y="4794"/>
                    </a:cubicBezTo>
                    <a:cubicBezTo>
                      <a:pt x="11324" y="4652"/>
                      <a:pt x="11770" y="4506"/>
                      <a:pt x="11856" y="4477"/>
                    </a:cubicBezTo>
                    <a:cubicBezTo>
                      <a:pt x="11898" y="4565"/>
                      <a:pt x="12119" y="5031"/>
                      <a:pt x="12241" y="5285"/>
                    </a:cubicBezTo>
                    <a:cubicBezTo>
                      <a:pt x="12274" y="5272"/>
                      <a:pt x="12274" y="5272"/>
                      <a:pt x="12274" y="5272"/>
                    </a:cubicBezTo>
                    <a:cubicBezTo>
                      <a:pt x="12230" y="5177"/>
                      <a:pt x="12220" y="5157"/>
                      <a:pt x="12209" y="5134"/>
                    </a:cubicBezTo>
                    <a:cubicBezTo>
                      <a:pt x="12172" y="5058"/>
                      <a:pt x="12123" y="4956"/>
                      <a:pt x="12075" y="4854"/>
                    </a:cubicBezTo>
                    <a:cubicBezTo>
                      <a:pt x="11995" y="4685"/>
                      <a:pt x="11915" y="4517"/>
                      <a:pt x="11890" y="4465"/>
                    </a:cubicBezTo>
                    <a:cubicBezTo>
                      <a:pt x="11916" y="4453"/>
                      <a:pt x="11966" y="4427"/>
                      <a:pt x="12032" y="4376"/>
                    </a:cubicBezTo>
                    <a:cubicBezTo>
                      <a:pt x="12127" y="4301"/>
                      <a:pt x="12666" y="3766"/>
                      <a:pt x="12690" y="3742"/>
                    </a:cubicBezTo>
                    <a:lnTo>
                      <a:pt x="13846" y="2795"/>
                    </a:lnTo>
                    <a:close/>
                    <a:moveTo>
                      <a:pt x="13533" y="2635"/>
                    </a:moveTo>
                    <a:cubicBezTo>
                      <a:pt x="13613" y="2698"/>
                      <a:pt x="13698" y="2749"/>
                      <a:pt x="13767" y="2773"/>
                    </a:cubicBezTo>
                    <a:cubicBezTo>
                      <a:pt x="13774" y="2776"/>
                      <a:pt x="13782" y="2778"/>
                      <a:pt x="13789" y="2780"/>
                    </a:cubicBezTo>
                    <a:cubicBezTo>
                      <a:pt x="13788" y="2787"/>
                      <a:pt x="13785" y="2795"/>
                      <a:pt x="13784" y="2800"/>
                    </a:cubicBezTo>
                    <a:cubicBezTo>
                      <a:pt x="12673" y="3710"/>
                      <a:pt x="12673" y="3710"/>
                      <a:pt x="12673" y="3710"/>
                    </a:cubicBezTo>
                    <a:cubicBezTo>
                      <a:pt x="12685" y="3695"/>
                      <a:pt x="12685" y="3695"/>
                      <a:pt x="12685" y="3695"/>
                    </a:cubicBezTo>
                    <a:cubicBezTo>
                      <a:pt x="12007" y="3123"/>
                      <a:pt x="12007" y="3123"/>
                      <a:pt x="12007" y="3123"/>
                    </a:cubicBezTo>
                    <a:cubicBezTo>
                      <a:pt x="12006" y="3122"/>
                      <a:pt x="12006" y="3122"/>
                      <a:pt x="12006" y="3122"/>
                    </a:cubicBezTo>
                    <a:cubicBezTo>
                      <a:pt x="12004" y="3121"/>
                      <a:pt x="11968" y="3098"/>
                      <a:pt x="11915" y="3098"/>
                    </a:cubicBezTo>
                    <a:cubicBezTo>
                      <a:pt x="11878" y="3098"/>
                      <a:pt x="11832" y="3110"/>
                      <a:pt x="11789" y="3148"/>
                    </a:cubicBezTo>
                    <a:cubicBezTo>
                      <a:pt x="11728" y="3201"/>
                      <a:pt x="11699" y="3221"/>
                      <a:pt x="11688" y="3227"/>
                    </a:cubicBezTo>
                    <a:cubicBezTo>
                      <a:pt x="11406" y="2872"/>
                      <a:pt x="11406" y="2872"/>
                      <a:pt x="11406" y="2872"/>
                    </a:cubicBezTo>
                    <a:cubicBezTo>
                      <a:pt x="11404" y="2870"/>
                      <a:pt x="11404" y="2870"/>
                      <a:pt x="11404" y="2870"/>
                    </a:cubicBezTo>
                    <a:cubicBezTo>
                      <a:pt x="11404" y="2870"/>
                      <a:pt x="11281" y="2764"/>
                      <a:pt x="11080" y="2632"/>
                    </a:cubicBezTo>
                    <a:cubicBezTo>
                      <a:pt x="10926" y="2532"/>
                      <a:pt x="10767" y="2426"/>
                      <a:pt x="10703" y="2383"/>
                    </a:cubicBezTo>
                    <a:cubicBezTo>
                      <a:pt x="10782" y="2313"/>
                      <a:pt x="10972" y="2141"/>
                      <a:pt x="11087" y="2019"/>
                    </a:cubicBezTo>
                    <a:cubicBezTo>
                      <a:pt x="11201" y="1898"/>
                      <a:pt x="11227" y="1714"/>
                      <a:pt x="11233" y="1626"/>
                    </a:cubicBezTo>
                    <a:cubicBezTo>
                      <a:pt x="11243" y="1604"/>
                      <a:pt x="11243" y="1604"/>
                      <a:pt x="11243" y="1604"/>
                    </a:cubicBezTo>
                    <a:cubicBezTo>
                      <a:pt x="11243" y="1604"/>
                      <a:pt x="11244" y="1604"/>
                      <a:pt x="11244" y="1605"/>
                    </a:cubicBezTo>
                    <a:cubicBezTo>
                      <a:pt x="11264" y="1606"/>
                      <a:pt x="11293" y="1608"/>
                      <a:pt x="11328" y="1610"/>
                    </a:cubicBezTo>
                    <a:cubicBezTo>
                      <a:pt x="11397" y="1615"/>
                      <a:pt x="11492" y="1622"/>
                      <a:pt x="11594" y="1628"/>
                    </a:cubicBezTo>
                    <a:cubicBezTo>
                      <a:pt x="11797" y="1642"/>
                      <a:pt x="12026" y="1656"/>
                      <a:pt x="12131" y="1661"/>
                    </a:cubicBezTo>
                    <a:cubicBezTo>
                      <a:pt x="12340" y="1670"/>
                      <a:pt x="12599" y="1679"/>
                      <a:pt x="12888" y="1748"/>
                    </a:cubicBezTo>
                    <a:cubicBezTo>
                      <a:pt x="13031" y="1782"/>
                      <a:pt x="13136" y="1826"/>
                      <a:pt x="13208" y="1876"/>
                    </a:cubicBezTo>
                    <a:cubicBezTo>
                      <a:pt x="13280" y="1926"/>
                      <a:pt x="13320" y="1980"/>
                      <a:pt x="13341" y="2042"/>
                    </a:cubicBezTo>
                    <a:cubicBezTo>
                      <a:pt x="13354" y="2082"/>
                      <a:pt x="13360" y="2135"/>
                      <a:pt x="13360" y="2186"/>
                    </a:cubicBezTo>
                    <a:cubicBezTo>
                      <a:pt x="13360" y="2232"/>
                      <a:pt x="13356" y="2277"/>
                      <a:pt x="13351" y="2312"/>
                    </a:cubicBezTo>
                    <a:cubicBezTo>
                      <a:pt x="13346" y="2343"/>
                      <a:pt x="13340" y="2369"/>
                      <a:pt x="13339" y="2374"/>
                    </a:cubicBezTo>
                    <a:cubicBezTo>
                      <a:pt x="13338" y="2375"/>
                      <a:pt x="13338" y="2375"/>
                      <a:pt x="13338" y="2375"/>
                    </a:cubicBezTo>
                    <a:cubicBezTo>
                      <a:pt x="13337" y="2401"/>
                      <a:pt x="13337" y="2401"/>
                      <a:pt x="13337" y="2401"/>
                    </a:cubicBezTo>
                    <a:cubicBezTo>
                      <a:pt x="13339" y="2426"/>
                      <a:pt x="13339" y="2426"/>
                      <a:pt x="13339" y="2426"/>
                    </a:cubicBezTo>
                    <a:cubicBezTo>
                      <a:pt x="13379" y="2500"/>
                      <a:pt x="13452" y="2572"/>
                      <a:pt x="13533" y="2635"/>
                    </a:cubicBezTo>
                    <a:close/>
                    <a:moveTo>
                      <a:pt x="11670" y="10633"/>
                    </a:moveTo>
                    <a:cubicBezTo>
                      <a:pt x="11716" y="10723"/>
                      <a:pt x="11753" y="10778"/>
                      <a:pt x="11781" y="10812"/>
                    </a:cubicBezTo>
                    <a:cubicBezTo>
                      <a:pt x="11735" y="10812"/>
                      <a:pt x="11735" y="10812"/>
                      <a:pt x="11735" y="10812"/>
                    </a:cubicBezTo>
                    <a:cubicBezTo>
                      <a:pt x="11709" y="10775"/>
                      <a:pt x="11676" y="10724"/>
                      <a:pt x="11638" y="10650"/>
                    </a:cubicBezTo>
                    <a:cubicBezTo>
                      <a:pt x="11540" y="10459"/>
                      <a:pt x="11508" y="9998"/>
                      <a:pt x="11508" y="9897"/>
                    </a:cubicBezTo>
                    <a:cubicBezTo>
                      <a:pt x="11507" y="9876"/>
                      <a:pt x="11507" y="9876"/>
                      <a:pt x="11507" y="9876"/>
                    </a:cubicBezTo>
                    <a:cubicBezTo>
                      <a:pt x="11544" y="9876"/>
                      <a:pt x="11544" y="9876"/>
                      <a:pt x="11544" y="9876"/>
                    </a:cubicBezTo>
                    <a:cubicBezTo>
                      <a:pt x="11544" y="9897"/>
                      <a:pt x="11544" y="9897"/>
                      <a:pt x="11544" y="9897"/>
                    </a:cubicBezTo>
                    <a:cubicBezTo>
                      <a:pt x="11543" y="9992"/>
                      <a:pt x="11578" y="10458"/>
                      <a:pt x="11670" y="10633"/>
                    </a:cubicBezTo>
                    <a:close/>
                    <a:moveTo>
                      <a:pt x="2848" y="4042"/>
                    </a:moveTo>
                    <a:cubicBezTo>
                      <a:pt x="2850" y="4082"/>
                      <a:pt x="2806" y="4119"/>
                      <a:pt x="2794" y="4159"/>
                    </a:cubicBezTo>
                    <a:cubicBezTo>
                      <a:pt x="2783" y="4200"/>
                      <a:pt x="2789" y="4277"/>
                      <a:pt x="2789" y="4277"/>
                    </a:cubicBezTo>
                    <a:cubicBezTo>
                      <a:pt x="2777" y="4348"/>
                      <a:pt x="2712" y="4368"/>
                      <a:pt x="2655" y="4393"/>
                    </a:cubicBezTo>
                    <a:cubicBezTo>
                      <a:pt x="2597" y="4418"/>
                      <a:pt x="2546" y="4421"/>
                      <a:pt x="2546" y="4421"/>
                    </a:cubicBezTo>
                    <a:cubicBezTo>
                      <a:pt x="2546" y="4421"/>
                      <a:pt x="2549" y="4413"/>
                      <a:pt x="2578" y="4386"/>
                    </a:cubicBezTo>
                    <a:cubicBezTo>
                      <a:pt x="2633" y="4335"/>
                      <a:pt x="2623" y="4244"/>
                      <a:pt x="2627" y="4229"/>
                    </a:cubicBezTo>
                    <a:cubicBezTo>
                      <a:pt x="2631" y="4213"/>
                      <a:pt x="2611" y="4167"/>
                      <a:pt x="2628" y="4127"/>
                    </a:cubicBezTo>
                    <a:cubicBezTo>
                      <a:pt x="2713" y="3981"/>
                      <a:pt x="2802" y="3971"/>
                      <a:pt x="2827" y="3987"/>
                    </a:cubicBezTo>
                    <a:cubicBezTo>
                      <a:pt x="2840" y="3995"/>
                      <a:pt x="2847" y="4002"/>
                      <a:pt x="2848" y="4042"/>
                    </a:cubicBezTo>
                    <a:close/>
                    <a:moveTo>
                      <a:pt x="650" y="7997"/>
                    </a:moveTo>
                    <a:cubicBezTo>
                      <a:pt x="670" y="8024"/>
                      <a:pt x="672" y="8054"/>
                      <a:pt x="621" y="8102"/>
                    </a:cubicBezTo>
                    <a:cubicBezTo>
                      <a:pt x="570" y="8149"/>
                      <a:pt x="498" y="8153"/>
                      <a:pt x="461" y="8124"/>
                    </a:cubicBezTo>
                    <a:cubicBezTo>
                      <a:pt x="424" y="8095"/>
                      <a:pt x="473" y="8024"/>
                      <a:pt x="508" y="7999"/>
                    </a:cubicBezTo>
                    <a:cubicBezTo>
                      <a:pt x="543" y="7974"/>
                      <a:pt x="620" y="7959"/>
                      <a:pt x="650" y="7997"/>
                    </a:cubicBezTo>
                    <a:close/>
                    <a:moveTo>
                      <a:pt x="7023" y="252"/>
                    </a:moveTo>
                    <a:cubicBezTo>
                      <a:pt x="6987" y="247"/>
                      <a:pt x="6987" y="247"/>
                      <a:pt x="6987" y="247"/>
                    </a:cubicBezTo>
                    <a:cubicBezTo>
                      <a:pt x="7021" y="11"/>
                      <a:pt x="7021" y="11"/>
                      <a:pt x="7021" y="11"/>
                    </a:cubicBezTo>
                    <a:cubicBezTo>
                      <a:pt x="7058" y="11"/>
                      <a:pt x="7058" y="11"/>
                      <a:pt x="7058" y="11"/>
                    </a:cubicBezTo>
                    <a:lnTo>
                      <a:pt x="7023" y="252"/>
                    </a:lnTo>
                    <a:close/>
                    <a:moveTo>
                      <a:pt x="11057" y="16"/>
                    </a:moveTo>
                    <a:cubicBezTo>
                      <a:pt x="11034" y="14"/>
                      <a:pt x="11010" y="12"/>
                      <a:pt x="10987" y="11"/>
                    </a:cubicBezTo>
                    <a:cubicBezTo>
                      <a:pt x="11571" y="11"/>
                      <a:pt x="11571" y="11"/>
                      <a:pt x="11571" y="11"/>
                    </a:cubicBezTo>
                    <a:cubicBezTo>
                      <a:pt x="11599" y="11"/>
                      <a:pt x="11625" y="12"/>
                      <a:pt x="11646" y="12"/>
                    </a:cubicBezTo>
                    <a:cubicBezTo>
                      <a:pt x="11661" y="12"/>
                      <a:pt x="11673" y="12"/>
                      <a:pt x="11683" y="11"/>
                    </a:cubicBezTo>
                    <a:cubicBezTo>
                      <a:pt x="11686" y="11"/>
                      <a:pt x="11688" y="11"/>
                      <a:pt x="11690" y="11"/>
                    </a:cubicBezTo>
                    <a:cubicBezTo>
                      <a:pt x="11788" y="11"/>
                      <a:pt x="11788" y="11"/>
                      <a:pt x="11788" y="11"/>
                    </a:cubicBezTo>
                    <a:cubicBezTo>
                      <a:pt x="11764" y="26"/>
                      <a:pt x="11737" y="38"/>
                      <a:pt x="11708" y="44"/>
                    </a:cubicBezTo>
                    <a:cubicBezTo>
                      <a:pt x="11701" y="46"/>
                      <a:pt x="11695" y="47"/>
                      <a:pt x="11685" y="47"/>
                    </a:cubicBezTo>
                    <a:cubicBezTo>
                      <a:pt x="11674" y="48"/>
                      <a:pt x="11661" y="48"/>
                      <a:pt x="11646" y="48"/>
                    </a:cubicBezTo>
                    <a:cubicBezTo>
                      <a:pt x="11547" y="48"/>
                      <a:pt x="11360" y="38"/>
                      <a:pt x="11360" y="38"/>
                    </a:cubicBezTo>
                    <a:cubicBezTo>
                      <a:pt x="11359" y="38"/>
                      <a:pt x="11208" y="27"/>
                      <a:pt x="11057" y="16"/>
                    </a:cubicBezTo>
                    <a:close/>
                    <a:moveTo>
                      <a:pt x="621" y="2467"/>
                    </a:moveTo>
                    <a:cubicBezTo>
                      <a:pt x="621" y="2467"/>
                      <a:pt x="662" y="2419"/>
                      <a:pt x="651" y="2370"/>
                    </a:cubicBezTo>
                    <a:cubicBezTo>
                      <a:pt x="640" y="2321"/>
                      <a:pt x="588" y="2293"/>
                      <a:pt x="555" y="2269"/>
                    </a:cubicBezTo>
                    <a:cubicBezTo>
                      <a:pt x="526" y="2246"/>
                      <a:pt x="547" y="2216"/>
                      <a:pt x="548" y="2211"/>
                    </a:cubicBezTo>
                    <a:cubicBezTo>
                      <a:pt x="553" y="2216"/>
                      <a:pt x="591" y="2234"/>
                      <a:pt x="600" y="2239"/>
                    </a:cubicBezTo>
                    <a:cubicBezTo>
                      <a:pt x="611" y="2244"/>
                      <a:pt x="651" y="2247"/>
                      <a:pt x="687" y="2256"/>
                    </a:cubicBezTo>
                    <a:cubicBezTo>
                      <a:pt x="722" y="2266"/>
                      <a:pt x="732" y="2295"/>
                      <a:pt x="737" y="2325"/>
                    </a:cubicBezTo>
                    <a:cubicBezTo>
                      <a:pt x="743" y="2355"/>
                      <a:pt x="753" y="2360"/>
                      <a:pt x="777" y="2375"/>
                    </a:cubicBezTo>
                    <a:cubicBezTo>
                      <a:pt x="800" y="2390"/>
                      <a:pt x="841" y="2367"/>
                      <a:pt x="889" y="2342"/>
                    </a:cubicBezTo>
                    <a:cubicBezTo>
                      <a:pt x="937" y="2318"/>
                      <a:pt x="946" y="2347"/>
                      <a:pt x="946" y="2347"/>
                    </a:cubicBezTo>
                    <a:cubicBezTo>
                      <a:pt x="938" y="2351"/>
                      <a:pt x="926" y="2375"/>
                      <a:pt x="912" y="2400"/>
                    </a:cubicBezTo>
                    <a:cubicBezTo>
                      <a:pt x="898" y="2424"/>
                      <a:pt x="867" y="2455"/>
                      <a:pt x="823" y="2483"/>
                    </a:cubicBezTo>
                    <a:cubicBezTo>
                      <a:pt x="779" y="2512"/>
                      <a:pt x="722" y="2511"/>
                      <a:pt x="702" y="2502"/>
                    </a:cubicBezTo>
                    <a:cubicBezTo>
                      <a:pt x="681" y="2494"/>
                      <a:pt x="621" y="2467"/>
                      <a:pt x="621" y="2467"/>
                    </a:cubicBezTo>
                    <a:close/>
                    <a:moveTo>
                      <a:pt x="5733" y="183"/>
                    </a:moveTo>
                    <a:cubicBezTo>
                      <a:pt x="5697" y="177"/>
                      <a:pt x="5697" y="177"/>
                      <a:pt x="5697" y="177"/>
                    </a:cubicBezTo>
                    <a:cubicBezTo>
                      <a:pt x="5726" y="11"/>
                      <a:pt x="5726" y="11"/>
                      <a:pt x="5726" y="11"/>
                    </a:cubicBezTo>
                    <a:cubicBezTo>
                      <a:pt x="5763" y="11"/>
                      <a:pt x="5763" y="11"/>
                      <a:pt x="5763" y="11"/>
                    </a:cubicBezTo>
                    <a:lnTo>
                      <a:pt x="5733" y="183"/>
                    </a:lnTo>
                    <a:close/>
                    <a:moveTo>
                      <a:pt x="3370" y="788"/>
                    </a:moveTo>
                    <a:cubicBezTo>
                      <a:pt x="3306" y="770"/>
                      <a:pt x="3257" y="706"/>
                      <a:pt x="3273" y="665"/>
                    </a:cubicBezTo>
                    <a:cubicBezTo>
                      <a:pt x="3290" y="624"/>
                      <a:pt x="3351" y="608"/>
                      <a:pt x="3433" y="634"/>
                    </a:cubicBezTo>
                    <a:cubicBezTo>
                      <a:pt x="3497" y="655"/>
                      <a:pt x="3536" y="706"/>
                      <a:pt x="3523" y="749"/>
                    </a:cubicBezTo>
                    <a:cubicBezTo>
                      <a:pt x="3511" y="792"/>
                      <a:pt x="3433" y="807"/>
                      <a:pt x="3370" y="788"/>
                    </a:cubicBezTo>
                    <a:close/>
                    <a:moveTo>
                      <a:pt x="7" y="1274"/>
                    </a:moveTo>
                    <a:cubicBezTo>
                      <a:pt x="7" y="1235"/>
                      <a:pt x="7" y="1235"/>
                      <a:pt x="7" y="1235"/>
                    </a:cubicBezTo>
                    <a:cubicBezTo>
                      <a:pt x="117" y="1186"/>
                      <a:pt x="182" y="1122"/>
                      <a:pt x="230" y="1072"/>
                    </a:cubicBezTo>
                    <a:cubicBezTo>
                      <a:pt x="222" y="1064"/>
                      <a:pt x="206" y="1051"/>
                      <a:pt x="183" y="1032"/>
                    </a:cubicBezTo>
                    <a:cubicBezTo>
                      <a:pt x="142" y="999"/>
                      <a:pt x="80" y="952"/>
                      <a:pt x="7" y="908"/>
                    </a:cubicBezTo>
                    <a:cubicBezTo>
                      <a:pt x="7" y="866"/>
                      <a:pt x="7" y="866"/>
                      <a:pt x="7" y="866"/>
                    </a:cubicBezTo>
                    <a:cubicBezTo>
                      <a:pt x="133" y="940"/>
                      <a:pt x="230" y="1024"/>
                      <a:pt x="255" y="1046"/>
                    </a:cubicBezTo>
                    <a:cubicBezTo>
                      <a:pt x="259" y="1042"/>
                      <a:pt x="262" y="1039"/>
                      <a:pt x="266" y="1035"/>
                    </a:cubicBezTo>
                    <a:cubicBezTo>
                      <a:pt x="603" y="676"/>
                      <a:pt x="603" y="676"/>
                      <a:pt x="603" y="676"/>
                    </a:cubicBezTo>
                    <a:cubicBezTo>
                      <a:pt x="601" y="673"/>
                      <a:pt x="601" y="673"/>
                      <a:pt x="601" y="673"/>
                    </a:cubicBezTo>
                    <a:cubicBezTo>
                      <a:pt x="599" y="675"/>
                      <a:pt x="599" y="675"/>
                      <a:pt x="599" y="675"/>
                    </a:cubicBezTo>
                    <a:cubicBezTo>
                      <a:pt x="180" y="93"/>
                      <a:pt x="180" y="93"/>
                      <a:pt x="180" y="93"/>
                    </a:cubicBezTo>
                    <a:cubicBezTo>
                      <a:pt x="7" y="28"/>
                      <a:pt x="7" y="28"/>
                      <a:pt x="7" y="28"/>
                    </a:cubicBezTo>
                    <a:cubicBezTo>
                      <a:pt x="7" y="11"/>
                      <a:pt x="7" y="11"/>
                      <a:pt x="7" y="11"/>
                    </a:cubicBezTo>
                    <a:cubicBezTo>
                      <a:pt x="7" y="0"/>
                      <a:pt x="7" y="0"/>
                      <a:pt x="7" y="0"/>
                    </a:cubicBezTo>
                    <a:cubicBezTo>
                      <a:pt x="37" y="11"/>
                      <a:pt x="37" y="11"/>
                      <a:pt x="37" y="11"/>
                    </a:cubicBezTo>
                    <a:cubicBezTo>
                      <a:pt x="197" y="71"/>
                      <a:pt x="197" y="71"/>
                      <a:pt x="197" y="71"/>
                    </a:cubicBezTo>
                    <a:cubicBezTo>
                      <a:pt x="615" y="653"/>
                      <a:pt x="615" y="653"/>
                      <a:pt x="615" y="653"/>
                    </a:cubicBezTo>
                    <a:cubicBezTo>
                      <a:pt x="617" y="654"/>
                      <a:pt x="619" y="656"/>
                      <a:pt x="621" y="657"/>
                    </a:cubicBezTo>
                    <a:cubicBezTo>
                      <a:pt x="871" y="390"/>
                      <a:pt x="871" y="390"/>
                      <a:pt x="871" y="390"/>
                    </a:cubicBezTo>
                    <a:cubicBezTo>
                      <a:pt x="871" y="392"/>
                      <a:pt x="871" y="392"/>
                      <a:pt x="871" y="392"/>
                    </a:cubicBezTo>
                    <a:cubicBezTo>
                      <a:pt x="901" y="364"/>
                      <a:pt x="901" y="364"/>
                      <a:pt x="901" y="364"/>
                    </a:cubicBezTo>
                    <a:cubicBezTo>
                      <a:pt x="1030" y="46"/>
                      <a:pt x="1030" y="46"/>
                      <a:pt x="1030" y="46"/>
                    </a:cubicBezTo>
                    <a:cubicBezTo>
                      <a:pt x="1030" y="46"/>
                      <a:pt x="1030" y="46"/>
                      <a:pt x="1030" y="46"/>
                    </a:cubicBezTo>
                    <a:cubicBezTo>
                      <a:pt x="1043" y="11"/>
                      <a:pt x="1043" y="11"/>
                      <a:pt x="1043" y="11"/>
                    </a:cubicBezTo>
                    <a:cubicBezTo>
                      <a:pt x="1082" y="11"/>
                      <a:pt x="1082" y="11"/>
                      <a:pt x="1082" y="11"/>
                    </a:cubicBezTo>
                    <a:cubicBezTo>
                      <a:pt x="1056" y="81"/>
                      <a:pt x="1056" y="81"/>
                      <a:pt x="1056" y="81"/>
                    </a:cubicBezTo>
                    <a:cubicBezTo>
                      <a:pt x="1054" y="81"/>
                      <a:pt x="1054" y="81"/>
                      <a:pt x="1054" y="81"/>
                    </a:cubicBezTo>
                    <a:cubicBezTo>
                      <a:pt x="933" y="386"/>
                      <a:pt x="933" y="386"/>
                      <a:pt x="933" y="386"/>
                    </a:cubicBezTo>
                    <a:cubicBezTo>
                      <a:pt x="931" y="390"/>
                      <a:pt x="931" y="390"/>
                      <a:pt x="931" y="390"/>
                    </a:cubicBezTo>
                    <a:cubicBezTo>
                      <a:pt x="866" y="445"/>
                      <a:pt x="866" y="445"/>
                      <a:pt x="866" y="445"/>
                    </a:cubicBezTo>
                    <a:cubicBezTo>
                      <a:pt x="292" y="1060"/>
                      <a:pt x="292" y="1060"/>
                      <a:pt x="292" y="1060"/>
                    </a:cubicBezTo>
                    <a:cubicBezTo>
                      <a:pt x="240" y="1112"/>
                      <a:pt x="164" y="1208"/>
                      <a:pt x="7" y="1274"/>
                    </a:cubicBezTo>
                    <a:close/>
                    <a:moveTo>
                      <a:pt x="4350" y="7106"/>
                    </a:moveTo>
                    <a:cubicBezTo>
                      <a:pt x="4349" y="7106"/>
                      <a:pt x="4349" y="7106"/>
                      <a:pt x="4349" y="7106"/>
                    </a:cubicBezTo>
                    <a:cubicBezTo>
                      <a:pt x="4350" y="7106"/>
                      <a:pt x="4350" y="7106"/>
                      <a:pt x="4350" y="7106"/>
                    </a:cubicBezTo>
                    <a:close/>
                    <a:moveTo>
                      <a:pt x="949" y="1001"/>
                    </a:moveTo>
                    <a:cubicBezTo>
                      <a:pt x="7" y="1784"/>
                      <a:pt x="7" y="1784"/>
                      <a:pt x="7" y="1784"/>
                    </a:cubicBezTo>
                    <a:cubicBezTo>
                      <a:pt x="7" y="1737"/>
                      <a:pt x="7" y="1737"/>
                      <a:pt x="7" y="1737"/>
                    </a:cubicBezTo>
                    <a:cubicBezTo>
                      <a:pt x="931" y="968"/>
                      <a:pt x="931" y="968"/>
                      <a:pt x="931" y="968"/>
                    </a:cubicBezTo>
                    <a:cubicBezTo>
                      <a:pt x="931" y="968"/>
                      <a:pt x="931" y="968"/>
                      <a:pt x="931" y="968"/>
                    </a:cubicBezTo>
                    <a:cubicBezTo>
                      <a:pt x="934" y="966"/>
                      <a:pt x="934" y="966"/>
                      <a:pt x="934" y="966"/>
                    </a:cubicBezTo>
                    <a:cubicBezTo>
                      <a:pt x="940" y="961"/>
                      <a:pt x="940" y="961"/>
                      <a:pt x="940" y="961"/>
                    </a:cubicBezTo>
                    <a:cubicBezTo>
                      <a:pt x="940" y="961"/>
                      <a:pt x="940" y="961"/>
                      <a:pt x="940" y="961"/>
                    </a:cubicBezTo>
                    <a:cubicBezTo>
                      <a:pt x="1289" y="676"/>
                      <a:pt x="1289" y="676"/>
                      <a:pt x="1289" y="676"/>
                    </a:cubicBezTo>
                    <a:cubicBezTo>
                      <a:pt x="1560" y="298"/>
                      <a:pt x="1560" y="298"/>
                      <a:pt x="1560" y="298"/>
                    </a:cubicBezTo>
                    <a:cubicBezTo>
                      <a:pt x="1556" y="298"/>
                      <a:pt x="1555" y="297"/>
                      <a:pt x="1553" y="296"/>
                    </a:cubicBezTo>
                    <a:cubicBezTo>
                      <a:pt x="1524" y="282"/>
                      <a:pt x="1369" y="182"/>
                      <a:pt x="1369" y="181"/>
                    </a:cubicBezTo>
                    <a:cubicBezTo>
                      <a:pt x="1362" y="177"/>
                      <a:pt x="1362" y="177"/>
                      <a:pt x="1362" y="177"/>
                    </a:cubicBezTo>
                    <a:cubicBezTo>
                      <a:pt x="1395" y="15"/>
                      <a:pt x="1395" y="15"/>
                      <a:pt x="1395" y="15"/>
                    </a:cubicBezTo>
                    <a:cubicBezTo>
                      <a:pt x="1392" y="11"/>
                      <a:pt x="1392" y="11"/>
                      <a:pt x="1392" y="11"/>
                    </a:cubicBezTo>
                    <a:cubicBezTo>
                      <a:pt x="1421" y="11"/>
                      <a:pt x="1421" y="11"/>
                      <a:pt x="1421" y="11"/>
                    </a:cubicBezTo>
                    <a:cubicBezTo>
                      <a:pt x="1422" y="11"/>
                      <a:pt x="1422" y="11"/>
                      <a:pt x="1422" y="11"/>
                    </a:cubicBezTo>
                    <a:cubicBezTo>
                      <a:pt x="1389" y="165"/>
                      <a:pt x="1389" y="165"/>
                      <a:pt x="1389" y="165"/>
                    </a:cubicBezTo>
                    <a:cubicBezTo>
                      <a:pt x="1403" y="175"/>
                      <a:pt x="1437" y="196"/>
                      <a:pt x="1472" y="218"/>
                    </a:cubicBezTo>
                    <a:cubicBezTo>
                      <a:pt x="1495" y="233"/>
                      <a:pt x="1518" y="247"/>
                      <a:pt x="1535" y="258"/>
                    </a:cubicBezTo>
                    <a:cubicBezTo>
                      <a:pt x="1544" y="263"/>
                      <a:pt x="1552" y="268"/>
                      <a:pt x="1557" y="271"/>
                    </a:cubicBezTo>
                    <a:cubicBezTo>
                      <a:pt x="1560" y="272"/>
                      <a:pt x="1562" y="273"/>
                      <a:pt x="1563" y="274"/>
                    </a:cubicBezTo>
                    <a:cubicBezTo>
                      <a:pt x="1564" y="274"/>
                      <a:pt x="1565" y="274"/>
                      <a:pt x="1565" y="274"/>
                    </a:cubicBezTo>
                    <a:cubicBezTo>
                      <a:pt x="1562" y="283"/>
                      <a:pt x="1562" y="283"/>
                      <a:pt x="1562" y="283"/>
                    </a:cubicBezTo>
                    <a:cubicBezTo>
                      <a:pt x="1562" y="274"/>
                      <a:pt x="1562" y="274"/>
                      <a:pt x="1562" y="274"/>
                    </a:cubicBezTo>
                    <a:cubicBezTo>
                      <a:pt x="1562" y="286"/>
                      <a:pt x="1562" y="286"/>
                      <a:pt x="1562" y="286"/>
                    </a:cubicBezTo>
                    <a:cubicBezTo>
                      <a:pt x="1563" y="293"/>
                      <a:pt x="1563" y="293"/>
                      <a:pt x="1563" y="293"/>
                    </a:cubicBezTo>
                    <a:cubicBezTo>
                      <a:pt x="1650" y="172"/>
                      <a:pt x="1650" y="172"/>
                      <a:pt x="1650" y="172"/>
                    </a:cubicBezTo>
                    <a:cubicBezTo>
                      <a:pt x="1647" y="169"/>
                      <a:pt x="1647" y="169"/>
                      <a:pt x="1647" y="169"/>
                    </a:cubicBezTo>
                    <a:cubicBezTo>
                      <a:pt x="1647" y="169"/>
                      <a:pt x="1647" y="169"/>
                      <a:pt x="1647" y="169"/>
                    </a:cubicBezTo>
                    <a:cubicBezTo>
                      <a:pt x="1647" y="169"/>
                      <a:pt x="1647" y="169"/>
                      <a:pt x="1647" y="169"/>
                    </a:cubicBezTo>
                    <a:cubicBezTo>
                      <a:pt x="1652" y="165"/>
                      <a:pt x="1673" y="136"/>
                      <a:pt x="1698" y="101"/>
                    </a:cubicBezTo>
                    <a:cubicBezTo>
                      <a:pt x="1698" y="104"/>
                      <a:pt x="1698" y="104"/>
                      <a:pt x="1698" y="104"/>
                    </a:cubicBezTo>
                    <a:cubicBezTo>
                      <a:pt x="1716" y="79"/>
                      <a:pt x="1716" y="79"/>
                      <a:pt x="1716" y="79"/>
                    </a:cubicBezTo>
                    <a:cubicBezTo>
                      <a:pt x="1731" y="58"/>
                      <a:pt x="1746" y="35"/>
                      <a:pt x="1761" y="11"/>
                    </a:cubicBezTo>
                    <a:cubicBezTo>
                      <a:pt x="1803" y="11"/>
                      <a:pt x="1803" y="11"/>
                      <a:pt x="1803" y="11"/>
                    </a:cubicBezTo>
                    <a:cubicBezTo>
                      <a:pt x="1788" y="33"/>
                      <a:pt x="1773" y="55"/>
                      <a:pt x="1759" y="75"/>
                    </a:cubicBezTo>
                    <a:cubicBezTo>
                      <a:pt x="1738" y="106"/>
                      <a:pt x="1719" y="132"/>
                      <a:pt x="1704" y="153"/>
                    </a:cubicBezTo>
                    <a:cubicBezTo>
                      <a:pt x="1317" y="702"/>
                      <a:pt x="1317" y="702"/>
                      <a:pt x="1317" y="702"/>
                    </a:cubicBezTo>
                    <a:cubicBezTo>
                      <a:pt x="1319" y="703"/>
                      <a:pt x="1319" y="703"/>
                      <a:pt x="1319" y="703"/>
                    </a:cubicBezTo>
                    <a:lnTo>
                      <a:pt x="949" y="1001"/>
                    </a:lnTo>
                    <a:close/>
                    <a:moveTo>
                      <a:pt x="3813" y="5629"/>
                    </a:moveTo>
                    <a:cubicBezTo>
                      <a:pt x="3820" y="5618"/>
                      <a:pt x="3850" y="5636"/>
                      <a:pt x="3850" y="5636"/>
                    </a:cubicBezTo>
                    <a:cubicBezTo>
                      <a:pt x="3850" y="5636"/>
                      <a:pt x="4042" y="5629"/>
                      <a:pt x="4084" y="5631"/>
                    </a:cubicBezTo>
                    <a:cubicBezTo>
                      <a:pt x="4126" y="5632"/>
                      <a:pt x="4151" y="5651"/>
                      <a:pt x="4151" y="5651"/>
                    </a:cubicBezTo>
                    <a:cubicBezTo>
                      <a:pt x="4162" y="5665"/>
                      <a:pt x="4147" y="5701"/>
                      <a:pt x="4141" y="5708"/>
                    </a:cubicBezTo>
                    <a:cubicBezTo>
                      <a:pt x="4136" y="5716"/>
                      <a:pt x="4043" y="5773"/>
                      <a:pt x="4026" y="5792"/>
                    </a:cubicBezTo>
                    <a:cubicBezTo>
                      <a:pt x="4009" y="5810"/>
                      <a:pt x="4012" y="5863"/>
                      <a:pt x="4008" y="5877"/>
                    </a:cubicBezTo>
                    <a:cubicBezTo>
                      <a:pt x="4005" y="5892"/>
                      <a:pt x="3993" y="5890"/>
                      <a:pt x="3974" y="5887"/>
                    </a:cubicBezTo>
                    <a:cubicBezTo>
                      <a:pt x="3956" y="5883"/>
                      <a:pt x="3941" y="5824"/>
                      <a:pt x="3947" y="5797"/>
                    </a:cubicBezTo>
                    <a:cubicBezTo>
                      <a:pt x="3949" y="5787"/>
                      <a:pt x="3907" y="5806"/>
                      <a:pt x="3890" y="5817"/>
                    </a:cubicBezTo>
                    <a:cubicBezTo>
                      <a:pt x="3873" y="5828"/>
                      <a:pt x="3857" y="5834"/>
                      <a:pt x="3836" y="5817"/>
                    </a:cubicBezTo>
                    <a:cubicBezTo>
                      <a:pt x="3816" y="5800"/>
                      <a:pt x="3834" y="5770"/>
                      <a:pt x="3857" y="5758"/>
                    </a:cubicBezTo>
                    <a:cubicBezTo>
                      <a:pt x="3880" y="5746"/>
                      <a:pt x="3915" y="5744"/>
                      <a:pt x="3944" y="5741"/>
                    </a:cubicBezTo>
                    <a:cubicBezTo>
                      <a:pt x="3973" y="5738"/>
                      <a:pt x="4017" y="5731"/>
                      <a:pt x="4027" y="5707"/>
                    </a:cubicBezTo>
                    <a:cubicBezTo>
                      <a:pt x="4037" y="5684"/>
                      <a:pt x="3872" y="5674"/>
                      <a:pt x="3844" y="5669"/>
                    </a:cubicBezTo>
                    <a:cubicBezTo>
                      <a:pt x="3817" y="5663"/>
                      <a:pt x="3806" y="5640"/>
                      <a:pt x="3813" y="5629"/>
                    </a:cubicBezTo>
                    <a:close/>
                    <a:moveTo>
                      <a:pt x="1041" y="2421"/>
                    </a:moveTo>
                    <a:cubicBezTo>
                      <a:pt x="1041" y="2421"/>
                      <a:pt x="1041" y="2421"/>
                      <a:pt x="1041" y="2421"/>
                    </a:cubicBezTo>
                    <a:cubicBezTo>
                      <a:pt x="1041" y="2421"/>
                      <a:pt x="1041" y="2421"/>
                      <a:pt x="1041" y="2421"/>
                    </a:cubicBezTo>
                    <a:close/>
                    <a:moveTo>
                      <a:pt x="1698" y="1406"/>
                    </a:moveTo>
                    <a:cubicBezTo>
                      <a:pt x="1707" y="1387"/>
                      <a:pt x="1695" y="1363"/>
                      <a:pt x="1683" y="1349"/>
                    </a:cubicBezTo>
                    <a:cubicBezTo>
                      <a:pt x="1670" y="1335"/>
                      <a:pt x="1683" y="1322"/>
                      <a:pt x="1695" y="1307"/>
                    </a:cubicBezTo>
                    <a:cubicBezTo>
                      <a:pt x="1707" y="1292"/>
                      <a:pt x="1746" y="1278"/>
                      <a:pt x="1751" y="1260"/>
                    </a:cubicBezTo>
                    <a:cubicBezTo>
                      <a:pt x="1756" y="1242"/>
                      <a:pt x="1761" y="1208"/>
                      <a:pt x="1802" y="1204"/>
                    </a:cubicBezTo>
                    <a:cubicBezTo>
                      <a:pt x="1843" y="1200"/>
                      <a:pt x="1845" y="1263"/>
                      <a:pt x="1841" y="1281"/>
                    </a:cubicBezTo>
                    <a:cubicBezTo>
                      <a:pt x="1837" y="1298"/>
                      <a:pt x="1791" y="1298"/>
                      <a:pt x="1769" y="1314"/>
                    </a:cubicBezTo>
                    <a:cubicBezTo>
                      <a:pt x="1747" y="1329"/>
                      <a:pt x="1766" y="1360"/>
                      <a:pt x="1784" y="1367"/>
                    </a:cubicBezTo>
                    <a:cubicBezTo>
                      <a:pt x="1802" y="1374"/>
                      <a:pt x="1858" y="1370"/>
                      <a:pt x="1884" y="1383"/>
                    </a:cubicBezTo>
                    <a:cubicBezTo>
                      <a:pt x="1909" y="1397"/>
                      <a:pt x="1900" y="1417"/>
                      <a:pt x="1856" y="1441"/>
                    </a:cubicBezTo>
                    <a:cubicBezTo>
                      <a:pt x="1812" y="1464"/>
                      <a:pt x="1765" y="1467"/>
                      <a:pt x="1741" y="1475"/>
                    </a:cubicBezTo>
                    <a:cubicBezTo>
                      <a:pt x="1718" y="1483"/>
                      <a:pt x="1706" y="1493"/>
                      <a:pt x="1695" y="1520"/>
                    </a:cubicBezTo>
                    <a:cubicBezTo>
                      <a:pt x="1684" y="1547"/>
                      <a:pt x="1657" y="1565"/>
                      <a:pt x="1657" y="1565"/>
                    </a:cubicBezTo>
                    <a:cubicBezTo>
                      <a:pt x="1629" y="1558"/>
                      <a:pt x="1636" y="1503"/>
                      <a:pt x="1650" y="1468"/>
                    </a:cubicBezTo>
                    <a:cubicBezTo>
                      <a:pt x="1664" y="1432"/>
                      <a:pt x="1688" y="1426"/>
                      <a:pt x="1698" y="1406"/>
                    </a:cubicBezTo>
                    <a:close/>
                    <a:moveTo>
                      <a:pt x="2429" y="4229"/>
                    </a:moveTo>
                    <a:cubicBezTo>
                      <a:pt x="2256" y="4147"/>
                      <a:pt x="2256" y="4147"/>
                      <a:pt x="2256" y="4147"/>
                    </a:cubicBezTo>
                    <a:cubicBezTo>
                      <a:pt x="2249" y="4144"/>
                      <a:pt x="2194" y="4126"/>
                      <a:pt x="2139" y="4108"/>
                    </a:cubicBezTo>
                    <a:cubicBezTo>
                      <a:pt x="2110" y="4098"/>
                      <a:pt x="2080" y="4089"/>
                      <a:pt x="2058" y="4081"/>
                    </a:cubicBezTo>
                    <a:cubicBezTo>
                      <a:pt x="2047" y="4078"/>
                      <a:pt x="2037" y="4075"/>
                      <a:pt x="2031" y="4072"/>
                    </a:cubicBezTo>
                    <a:cubicBezTo>
                      <a:pt x="2030" y="4072"/>
                      <a:pt x="2030" y="4072"/>
                      <a:pt x="2029" y="4072"/>
                    </a:cubicBezTo>
                    <a:cubicBezTo>
                      <a:pt x="1992" y="4175"/>
                      <a:pt x="1992" y="4175"/>
                      <a:pt x="1992" y="4175"/>
                    </a:cubicBezTo>
                    <a:cubicBezTo>
                      <a:pt x="1800" y="4331"/>
                      <a:pt x="1800" y="4331"/>
                      <a:pt x="1800" y="4331"/>
                    </a:cubicBezTo>
                    <a:cubicBezTo>
                      <a:pt x="1783" y="4313"/>
                      <a:pt x="1783" y="4313"/>
                      <a:pt x="1783" y="4313"/>
                    </a:cubicBezTo>
                    <a:cubicBezTo>
                      <a:pt x="1971" y="4160"/>
                      <a:pt x="1971" y="4160"/>
                      <a:pt x="1971" y="4160"/>
                    </a:cubicBezTo>
                    <a:cubicBezTo>
                      <a:pt x="2071" y="3885"/>
                      <a:pt x="2071" y="3885"/>
                      <a:pt x="2071" y="3885"/>
                    </a:cubicBezTo>
                    <a:cubicBezTo>
                      <a:pt x="2094" y="3893"/>
                      <a:pt x="2094" y="3893"/>
                      <a:pt x="2094" y="3893"/>
                    </a:cubicBezTo>
                    <a:cubicBezTo>
                      <a:pt x="2038" y="4049"/>
                      <a:pt x="2038" y="4049"/>
                      <a:pt x="2038" y="4049"/>
                    </a:cubicBezTo>
                    <a:cubicBezTo>
                      <a:pt x="2083" y="4064"/>
                      <a:pt x="2265" y="4124"/>
                      <a:pt x="2265" y="4124"/>
                    </a:cubicBezTo>
                    <a:cubicBezTo>
                      <a:pt x="2266" y="4124"/>
                      <a:pt x="2266" y="4124"/>
                      <a:pt x="2266" y="4124"/>
                    </a:cubicBezTo>
                    <a:cubicBezTo>
                      <a:pt x="2439" y="4207"/>
                      <a:pt x="2439" y="4207"/>
                      <a:pt x="2439" y="4207"/>
                    </a:cubicBezTo>
                    <a:cubicBezTo>
                      <a:pt x="2429" y="4229"/>
                      <a:pt x="2429" y="4229"/>
                      <a:pt x="2429" y="4229"/>
                    </a:cubicBezTo>
                    <a:close/>
                    <a:moveTo>
                      <a:pt x="1662" y="3616"/>
                    </a:moveTo>
                    <a:cubicBezTo>
                      <a:pt x="1661" y="3606"/>
                      <a:pt x="1756" y="3549"/>
                      <a:pt x="1807" y="3529"/>
                    </a:cubicBezTo>
                    <a:cubicBezTo>
                      <a:pt x="1858" y="3508"/>
                      <a:pt x="1918" y="3467"/>
                      <a:pt x="1978" y="3399"/>
                    </a:cubicBezTo>
                    <a:cubicBezTo>
                      <a:pt x="2038" y="3330"/>
                      <a:pt x="2100" y="3308"/>
                      <a:pt x="2127" y="3320"/>
                    </a:cubicBezTo>
                    <a:cubicBezTo>
                      <a:pt x="2162" y="3335"/>
                      <a:pt x="2180" y="3367"/>
                      <a:pt x="2172" y="3389"/>
                    </a:cubicBezTo>
                    <a:cubicBezTo>
                      <a:pt x="2164" y="3411"/>
                      <a:pt x="2124" y="3393"/>
                      <a:pt x="2075" y="3393"/>
                    </a:cubicBezTo>
                    <a:cubicBezTo>
                      <a:pt x="2026" y="3393"/>
                      <a:pt x="2011" y="3433"/>
                      <a:pt x="1987" y="3474"/>
                    </a:cubicBezTo>
                    <a:cubicBezTo>
                      <a:pt x="1964" y="3515"/>
                      <a:pt x="1933" y="3516"/>
                      <a:pt x="1896" y="3530"/>
                    </a:cubicBezTo>
                    <a:cubicBezTo>
                      <a:pt x="1859" y="3544"/>
                      <a:pt x="1800" y="3567"/>
                      <a:pt x="1759" y="3593"/>
                    </a:cubicBezTo>
                    <a:cubicBezTo>
                      <a:pt x="1718" y="3619"/>
                      <a:pt x="1664" y="3626"/>
                      <a:pt x="1662" y="3616"/>
                    </a:cubicBezTo>
                    <a:close/>
                  </a:path>
                </a:pathLst>
              </a:custGeom>
              <a:solidFill>
                <a:srgbClr val="C737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grpSp>
      </p:grpSp>
      <p:sp>
        <p:nvSpPr>
          <p:cNvPr id="2" name="***Titel 1"/>
          <p:cNvSpPr>
            <a:spLocks noGrp="1" noSelect="1"/>
          </p:cNvSpPr>
          <p:nvPr>
            <p:ph type="ctrTitle" hasCustomPrompt="1"/>
          </p:nvPr>
        </p:nvSpPr>
        <p:spPr bwMode="gray">
          <a:xfrm>
            <a:off x="1152000" y="3831183"/>
            <a:ext cx="10404000" cy="1470025"/>
          </a:xfrm>
        </p:spPr>
        <p:txBody>
          <a:bodyPr anchor="t" anchorCtr="0"/>
          <a:lstStyle>
            <a:lvl1pPr algn="l">
              <a:lnSpc>
                <a:spcPct val="96000"/>
              </a:lnSpc>
              <a:defRPr sz="4700" b="0" spc="-180" baseline="0">
                <a:latin typeface="Univers" panose="020B0603020202030204" pitchFamily="34" charset="0"/>
              </a:defRPr>
            </a:lvl1pPr>
          </a:lstStyle>
          <a:p>
            <a:r>
              <a:rPr lang="nl-NL" noProof="1"/>
              <a:t>[Titel,</a:t>
            </a:r>
            <a:br>
              <a:rPr lang="nl-NL" noProof="1"/>
            </a:br>
            <a:r>
              <a:rPr lang="nl-NL" noProof="1"/>
              <a:t>maximaal 2 regels]</a:t>
            </a:r>
          </a:p>
        </p:txBody>
      </p:sp>
      <p:grpSp>
        <p:nvGrpSpPr>
          <p:cNvPr id="17" name="logo">
            <a:extLst>
              <a:ext uri="{FF2B5EF4-FFF2-40B4-BE49-F238E27FC236}">
                <a16:creationId xmlns:a16="http://schemas.microsoft.com/office/drawing/2014/main" id="{3D914ECC-8068-414F-AA0F-262DD3112D62}"/>
              </a:ext>
            </a:extLst>
          </p:cNvPr>
          <p:cNvGrpSpPr>
            <a:grpSpLocks noSelect="1" noChangeAspect="1"/>
          </p:cNvGrpSpPr>
          <p:nvPr userDrawn="1"/>
        </p:nvGrpSpPr>
        <p:grpSpPr bwMode="gray">
          <a:xfrm>
            <a:off x="638175" y="6030913"/>
            <a:ext cx="2481263" cy="508000"/>
            <a:chOff x="402" y="3799"/>
            <a:chExt cx="1563" cy="320"/>
          </a:xfrm>
        </p:grpSpPr>
        <p:sp>
          <p:nvSpPr>
            <p:cNvPr id="18" name="Freeform 21">
              <a:extLst>
                <a:ext uri="{FF2B5EF4-FFF2-40B4-BE49-F238E27FC236}">
                  <a16:creationId xmlns:a16="http://schemas.microsoft.com/office/drawing/2014/main" id="{B89CFD78-1671-45B4-A5BB-E8CDF8C13424}"/>
                </a:ext>
              </a:extLst>
            </p:cNvPr>
            <p:cNvSpPr>
              <a:spLocks noSelect="1"/>
            </p:cNvSpPr>
            <p:nvPr userDrawn="1"/>
          </p:nvSpPr>
          <p:spPr bwMode="gray">
            <a:xfrm>
              <a:off x="722" y="3799"/>
              <a:ext cx="1243" cy="320"/>
            </a:xfrm>
            <a:custGeom>
              <a:avLst/>
              <a:gdLst>
                <a:gd name="T0" fmla="*/ 92 w 6217"/>
                <a:gd name="T1" fmla="*/ 0 h 1604"/>
                <a:gd name="T2" fmla="*/ 92 w 6217"/>
                <a:gd name="T3" fmla="*/ 525 h 1604"/>
                <a:gd name="T4" fmla="*/ 762 w 6217"/>
                <a:gd name="T5" fmla="*/ 330 h 1604"/>
                <a:gd name="T6" fmla="*/ 957 w 6217"/>
                <a:gd name="T7" fmla="*/ 729 h 1604"/>
                <a:gd name="T8" fmla="*/ 1912 w 6217"/>
                <a:gd name="T9" fmla="*/ 0 h 1604"/>
                <a:gd name="T10" fmla="*/ 1821 w 6217"/>
                <a:gd name="T11" fmla="*/ 525 h 1604"/>
                <a:gd name="T12" fmla="*/ 3952 w 6217"/>
                <a:gd name="T13" fmla="*/ 1512 h 1604"/>
                <a:gd name="T14" fmla="*/ 3958 w 6217"/>
                <a:gd name="T15" fmla="*/ 1482 h 1604"/>
                <a:gd name="T16" fmla="*/ 4276 w 6217"/>
                <a:gd name="T17" fmla="*/ 1472 h 1604"/>
                <a:gd name="T18" fmla="*/ 4192 w 6217"/>
                <a:gd name="T19" fmla="*/ 1341 h 1604"/>
                <a:gd name="T20" fmla="*/ 4342 w 6217"/>
                <a:gd name="T21" fmla="*/ 1317 h 1604"/>
                <a:gd name="T22" fmla="*/ 4671 w 6217"/>
                <a:gd name="T23" fmla="*/ 1454 h 1604"/>
                <a:gd name="T24" fmla="*/ 4667 w 6217"/>
                <a:gd name="T25" fmla="*/ 1395 h 1604"/>
                <a:gd name="T26" fmla="*/ 4833 w 6217"/>
                <a:gd name="T27" fmla="*/ 1412 h 1604"/>
                <a:gd name="T28" fmla="*/ 4934 w 6217"/>
                <a:gd name="T29" fmla="*/ 1482 h 1604"/>
                <a:gd name="T30" fmla="*/ 5113 w 6217"/>
                <a:gd name="T31" fmla="*/ 1473 h 1604"/>
                <a:gd name="T32" fmla="*/ 5247 w 6217"/>
                <a:gd name="T33" fmla="*/ 1412 h 1604"/>
                <a:gd name="T34" fmla="*/ 5486 w 6217"/>
                <a:gd name="T35" fmla="*/ 1507 h 1604"/>
                <a:gd name="T36" fmla="*/ 5325 w 6217"/>
                <a:gd name="T37" fmla="*/ 1317 h 1604"/>
                <a:gd name="T38" fmla="*/ 5756 w 6217"/>
                <a:gd name="T39" fmla="*/ 1312 h 1604"/>
                <a:gd name="T40" fmla="*/ 5846 w 6217"/>
                <a:gd name="T41" fmla="*/ 1411 h 1604"/>
                <a:gd name="T42" fmla="*/ 6025 w 6217"/>
                <a:gd name="T43" fmla="*/ 1507 h 1604"/>
                <a:gd name="T44" fmla="*/ 5919 w 6217"/>
                <a:gd name="T45" fmla="*/ 1317 h 1604"/>
                <a:gd name="T46" fmla="*/ 6128 w 6217"/>
                <a:gd name="T47" fmla="*/ 1343 h 1604"/>
                <a:gd name="T48" fmla="*/ 6215 w 6217"/>
                <a:gd name="T49" fmla="*/ 1343 h 1604"/>
                <a:gd name="T50" fmla="*/ 2173 w 6217"/>
                <a:gd name="T51" fmla="*/ 1344 h 1604"/>
                <a:gd name="T52" fmla="*/ 2342 w 6217"/>
                <a:gd name="T53" fmla="*/ 1412 h 1604"/>
                <a:gd name="T54" fmla="*/ 2491 w 6217"/>
                <a:gd name="T55" fmla="*/ 1314 h 1604"/>
                <a:gd name="T56" fmla="*/ 2413 w 6217"/>
                <a:gd name="T57" fmla="*/ 1317 h 1604"/>
                <a:gd name="T58" fmla="*/ 2606 w 6217"/>
                <a:gd name="T59" fmla="*/ 1312 h 1604"/>
                <a:gd name="T60" fmla="*/ 2784 w 6217"/>
                <a:gd name="T61" fmla="*/ 1344 h 1604"/>
                <a:gd name="T62" fmla="*/ 2953 w 6217"/>
                <a:gd name="T63" fmla="*/ 1412 h 1604"/>
                <a:gd name="T64" fmla="*/ 2988 w 6217"/>
                <a:gd name="T65" fmla="*/ 1412 h 1604"/>
                <a:gd name="T66" fmla="*/ 3086 w 6217"/>
                <a:gd name="T67" fmla="*/ 1312 h 1604"/>
                <a:gd name="T68" fmla="*/ 3316 w 6217"/>
                <a:gd name="T69" fmla="*/ 1343 h 1604"/>
                <a:gd name="T70" fmla="*/ 3258 w 6217"/>
                <a:gd name="T71" fmla="*/ 1348 h 1604"/>
                <a:gd name="T72" fmla="*/ 3363 w 6217"/>
                <a:gd name="T73" fmla="*/ 1317 h 1604"/>
                <a:gd name="T74" fmla="*/ 3436 w 6217"/>
                <a:gd name="T75" fmla="*/ 1439 h 1604"/>
                <a:gd name="T76" fmla="*/ 3529 w 6217"/>
                <a:gd name="T77" fmla="*/ 1572 h 1604"/>
                <a:gd name="T78" fmla="*/ 3674 w 6217"/>
                <a:gd name="T79" fmla="*/ 1317 h 1604"/>
                <a:gd name="T80" fmla="*/ 32 w 6217"/>
                <a:gd name="T81" fmla="*/ 1473 h 1604"/>
                <a:gd name="T82" fmla="*/ 167 w 6217"/>
                <a:gd name="T83" fmla="*/ 1412 h 1604"/>
                <a:gd name="T84" fmla="*/ 266 w 6217"/>
                <a:gd name="T85" fmla="*/ 1412 h 1604"/>
                <a:gd name="T86" fmla="*/ 608 w 6217"/>
                <a:gd name="T87" fmla="*/ 1476 h 1604"/>
                <a:gd name="T88" fmla="*/ 606 w 6217"/>
                <a:gd name="T89" fmla="*/ 1317 h 1604"/>
                <a:gd name="T90" fmla="*/ 1032 w 6217"/>
                <a:gd name="T91" fmla="*/ 1507 h 1604"/>
                <a:gd name="T92" fmla="*/ 814 w 6217"/>
                <a:gd name="T93" fmla="*/ 1361 h 1604"/>
                <a:gd name="T94" fmla="*/ 833 w 6217"/>
                <a:gd name="T95" fmla="*/ 1317 h 1604"/>
                <a:gd name="T96" fmla="*/ 1068 w 6217"/>
                <a:gd name="T97" fmla="*/ 1195 h 1604"/>
                <a:gd name="T98" fmla="*/ 1293 w 6217"/>
                <a:gd name="T99" fmla="*/ 1412 h 1604"/>
                <a:gd name="T100" fmla="*/ 1497 w 6217"/>
                <a:gd name="T101" fmla="*/ 1507 h 1604"/>
                <a:gd name="T102" fmla="*/ 1330 w 6217"/>
                <a:gd name="T103" fmla="*/ 1317 h 1604"/>
                <a:gd name="T104" fmla="*/ 1638 w 6217"/>
                <a:gd name="T105" fmla="*/ 1312 h 1604"/>
                <a:gd name="T106" fmla="*/ 1707 w 6217"/>
                <a:gd name="T107" fmla="*/ 1200 h 1604"/>
                <a:gd name="T108" fmla="*/ 1854 w 6217"/>
                <a:gd name="T109" fmla="*/ 1512 h 1604"/>
                <a:gd name="T110" fmla="*/ 1923 w 6217"/>
                <a:gd name="T111" fmla="*/ 1346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17" h="1604">
                  <a:moveTo>
                    <a:pt x="92" y="702"/>
                  </a:moveTo>
                  <a:cubicBezTo>
                    <a:pt x="94" y="702"/>
                    <a:pt x="94" y="702"/>
                    <a:pt x="94" y="702"/>
                  </a:cubicBezTo>
                  <a:cubicBezTo>
                    <a:pt x="128" y="764"/>
                    <a:pt x="207" y="814"/>
                    <a:pt x="305" y="814"/>
                  </a:cubicBezTo>
                  <a:cubicBezTo>
                    <a:pt x="459" y="814"/>
                    <a:pt x="580" y="689"/>
                    <a:pt x="580" y="525"/>
                  </a:cubicBezTo>
                  <a:cubicBezTo>
                    <a:pt x="580" y="358"/>
                    <a:pt x="464" y="236"/>
                    <a:pt x="291" y="236"/>
                  </a:cubicBezTo>
                  <a:cubicBezTo>
                    <a:pt x="212" y="236"/>
                    <a:pt x="145" y="271"/>
                    <a:pt x="94" y="330"/>
                  </a:cubicBezTo>
                  <a:cubicBezTo>
                    <a:pt x="92" y="330"/>
                    <a:pt x="92" y="330"/>
                    <a:pt x="92" y="330"/>
                  </a:cubicBezTo>
                  <a:cubicBezTo>
                    <a:pt x="92" y="0"/>
                    <a:pt x="92" y="0"/>
                    <a:pt x="92" y="0"/>
                  </a:cubicBezTo>
                  <a:cubicBezTo>
                    <a:pt x="0" y="0"/>
                    <a:pt x="0" y="0"/>
                    <a:pt x="0" y="0"/>
                  </a:cubicBezTo>
                  <a:cubicBezTo>
                    <a:pt x="0" y="799"/>
                    <a:pt x="0" y="799"/>
                    <a:pt x="0" y="799"/>
                  </a:cubicBezTo>
                  <a:cubicBezTo>
                    <a:pt x="92" y="799"/>
                    <a:pt x="92" y="799"/>
                    <a:pt x="92" y="799"/>
                  </a:cubicBezTo>
                  <a:lnTo>
                    <a:pt x="92" y="702"/>
                  </a:lnTo>
                  <a:close/>
                  <a:moveTo>
                    <a:pt x="287" y="320"/>
                  </a:moveTo>
                  <a:cubicBezTo>
                    <a:pt x="405" y="320"/>
                    <a:pt x="482" y="410"/>
                    <a:pt x="482" y="525"/>
                  </a:cubicBezTo>
                  <a:cubicBezTo>
                    <a:pt x="482" y="640"/>
                    <a:pt x="405" y="729"/>
                    <a:pt x="287" y="729"/>
                  </a:cubicBezTo>
                  <a:cubicBezTo>
                    <a:pt x="168" y="729"/>
                    <a:pt x="92" y="640"/>
                    <a:pt x="92" y="525"/>
                  </a:cubicBezTo>
                  <a:cubicBezTo>
                    <a:pt x="92" y="410"/>
                    <a:pt x="168" y="320"/>
                    <a:pt x="287" y="320"/>
                  </a:cubicBezTo>
                  <a:close/>
                  <a:moveTo>
                    <a:pt x="762" y="702"/>
                  </a:moveTo>
                  <a:cubicBezTo>
                    <a:pt x="765" y="702"/>
                    <a:pt x="765" y="702"/>
                    <a:pt x="765" y="702"/>
                  </a:cubicBezTo>
                  <a:cubicBezTo>
                    <a:pt x="799" y="764"/>
                    <a:pt x="877" y="813"/>
                    <a:pt x="976" y="813"/>
                  </a:cubicBezTo>
                  <a:cubicBezTo>
                    <a:pt x="1130" y="813"/>
                    <a:pt x="1251" y="689"/>
                    <a:pt x="1251" y="525"/>
                  </a:cubicBezTo>
                  <a:cubicBezTo>
                    <a:pt x="1251" y="358"/>
                    <a:pt x="1135" y="236"/>
                    <a:pt x="962" y="236"/>
                  </a:cubicBezTo>
                  <a:cubicBezTo>
                    <a:pt x="882" y="236"/>
                    <a:pt x="815" y="271"/>
                    <a:pt x="765" y="330"/>
                  </a:cubicBezTo>
                  <a:cubicBezTo>
                    <a:pt x="762" y="330"/>
                    <a:pt x="762" y="330"/>
                    <a:pt x="762" y="330"/>
                  </a:cubicBezTo>
                  <a:cubicBezTo>
                    <a:pt x="762" y="250"/>
                    <a:pt x="762" y="250"/>
                    <a:pt x="762" y="250"/>
                  </a:cubicBezTo>
                  <a:cubicBezTo>
                    <a:pt x="671" y="250"/>
                    <a:pt x="671" y="250"/>
                    <a:pt x="671" y="250"/>
                  </a:cubicBezTo>
                  <a:cubicBezTo>
                    <a:pt x="671" y="1057"/>
                    <a:pt x="671" y="1057"/>
                    <a:pt x="671" y="1057"/>
                  </a:cubicBezTo>
                  <a:cubicBezTo>
                    <a:pt x="762" y="1057"/>
                    <a:pt x="762" y="1057"/>
                    <a:pt x="762" y="1057"/>
                  </a:cubicBezTo>
                  <a:lnTo>
                    <a:pt x="762" y="702"/>
                  </a:lnTo>
                  <a:close/>
                  <a:moveTo>
                    <a:pt x="957" y="320"/>
                  </a:moveTo>
                  <a:cubicBezTo>
                    <a:pt x="1076" y="320"/>
                    <a:pt x="1152" y="410"/>
                    <a:pt x="1152" y="525"/>
                  </a:cubicBezTo>
                  <a:cubicBezTo>
                    <a:pt x="1152" y="640"/>
                    <a:pt x="1076" y="729"/>
                    <a:pt x="957" y="729"/>
                  </a:cubicBezTo>
                  <a:cubicBezTo>
                    <a:pt x="839" y="729"/>
                    <a:pt x="762" y="640"/>
                    <a:pt x="762" y="525"/>
                  </a:cubicBezTo>
                  <a:cubicBezTo>
                    <a:pt x="762" y="410"/>
                    <a:pt x="839" y="320"/>
                    <a:pt x="957" y="320"/>
                  </a:cubicBezTo>
                  <a:close/>
                  <a:moveTo>
                    <a:pt x="1607" y="813"/>
                  </a:moveTo>
                  <a:cubicBezTo>
                    <a:pt x="1706" y="813"/>
                    <a:pt x="1785" y="764"/>
                    <a:pt x="1819" y="702"/>
                  </a:cubicBezTo>
                  <a:cubicBezTo>
                    <a:pt x="1821" y="702"/>
                    <a:pt x="1821" y="702"/>
                    <a:pt x="1821" y="702"/>
                  </a:cubicBezTo>
                  <a:cubicBezTo>
                    <a:pt x="1821" y="799"/>
                    <a:pt x="1821" y="799"/>
                    <a:pt x="1821" y="799"/>
                  </a:cubicBezTo>
                  <a:cubicBezTo>
                    <a:pt x="1912" y="799"/>
                    <a:pt x="1912" y="799"/>
                    <a:pt x="1912" y="799"/>
                  </a:cubicBezTo>
                  <a:cubicBezTo>
                    <a:pt x="1912" y="0"/>
                    <a:pt x="1912" y="0"/>
                    <a:pt x="1912" y="0"/>
                  </a:cubicBezTo>
                  <a:cubicBezTo>
                    <a:pt x="1821" y="0"/>
                    <a:pt x="1821" y="0"/>
                    <a:pt x="1821" y="0"/>
                  </a:cubicBezTo>
                  <a:cubicBezTo>
                    <a:pt x="1821" y="330"/>
                    <a:pt x="1821" y="330"/>
                    <a:pt x="1821" y="330"/>
                  </a:cubicBezTo>
                  <a:cubicBezTo>
                    <a:pt x="1819" y="330"/>
                    <a:pt x="1819" y="330"/>
                    <a:pt x="1819" y="330"/>
                  </a:cubicBezTo>
                  <a:cubicBezTo>
                    <a:pt x="1768" y="271"/>
                    <a:pt x="1701" y="236"/>
                    <a:pt x="1621" y="236"/>
                  </a:cubicBezTo>
                  <a:cubicBezTo>
                    <a:pt x="1449" y="236"/>
                    <a:pt x="1333" y="358"/>
                    <a:pt x="1333" y="525"/>
                  </a:cubicBezTo>
                  <a:cubicBezTo>
                    <a:pt x="1333" y="689"/>
                    <a:pt x="1454" y="813"/>
                    <a:pt x="1607" y="813"/>
                  </a:cubicBezTo>
                  <a:close/>
                  <a:moveTo>
                    <a:pt x="1626" y="320"/>
                  </a:moveTo>
                  <a:cubicBezTo>
                    <a:pt x="1745" y="320"/>
                    <a:pt x="1821" y="410"/>
                    <a:pt x="1821" y="525"/>
                  </a:cubicBezTo>
                  <a:cubicBezTo>
                    <a:pt x="1821" y="640"/>
                    <a:pt x="1745" y="729"/>
                    <a:pt x="1626" y="729"/>
                  </a:cubicBezTo>
                  <a:cubicBezTo>
                    <a:pt x="1507" y="729"/>
                    <a:pt x="1431" y="640"/>
                    <a:pt x="1431" y="525"/>
                  </a:cubicBezTo>
                  <a:cubicBezTo>
                    <a:pt x="1431" y="410"/>
                    <a:pt x="1507" y="320"/>
                    <a:pt x="1626" y="320"/>
                  </a:cubicBezTo>
                  <a:close/>
                  <a:moveTo>
                    <a:pt x="4026" y="1344"/>
                  </a:moveTo>
                  <a:cubicBezTo>
                    <a:pt x="4025" y="1344"/>
                    <a:pt x="4025" y="1344"/>
                    <a:pt x="4025" y="1344"/>
                  </a:cubicBezTo>
                  <a:cubicBezTo>
                    <a:pt x="4007" y="1324"/>
                    <a:pt x="3984" y="1312"/>
                    <a:pt x="3957" y="1312"/>
                  </a:cubicBezTo>
                  <a:cubicBezTo>
                    <a:pt x="3897" y="1312"/>
                    <a:pt x="3857" y="1354"/>
                    <a:pt x="3857" y="1412"/>
                  </a:cubicBezTo>
                  <a:cubicBezTo>
                    <a:pt x="3857" y="1469"/>
                    <a:pt x="3898" y="1512"/>
                    <a:pt x="3952" y="1512"/>
                  </a:cubicBezTo>
                  <a:cubicBezTo>
                    <a:pt x="3986" y="1512"/>
                    <a:pt x="4013" y="1495"/>
                    <a:pt x="4025" y="1473"/>
                  </a:cubicBezTo>
                  <a:cubicBezTo>
                    <a:pt x="4026" y="1473"/>
                    <a:pt x="4026" y="1473"/>
                    <a:pt x="4026" y="1473"/>
                  </a:cubicBezTo>
                  <a:cubicBezTo>
                    <a:pt x="4026" y="1507"/>
                    <a:pt x="4026" y="1507"/>
                    <a:pt x="4026" y="1507"/>
                  </a:cubicBezTo>
                  <a:cubicBezTo>
                    <a:pt x="4057" y="1507"/>
                    <a:pt x="4057" y="1507"/>
                    <a:pt x="4057" y="1507"/>
                  </a:cubicBezTo>
                  <a:cubicBezTo>
                    <a:pt x="4057" y="1200"/>
                    <a:pt x="4057" y="1200"/>
                    <a:pt x="4057" y="1200"/>
                  </a:cubicBezTo>
                  <a:cubicBezTo>
                    <a:pt x="4026" y="1200"/>
                    <a:pt x="4026" y="1200"/>
                    <a:pt x="4026" y="1200"/>
                  </a:cubicBezTo>
                  <a:lnTo>
                    <a:pt x="4026" y="1344"/>
                  </a:lnTo>
                  <a:close/>
                  <a:moveTo>
                    <a:pt x="3958" y="1482"/>
                  </a:moveTo>
                  <a:cubicBezTo>
                    <a:pt x="3917" y="1482"/>
                    <a:pt x="3891" y="1452"/>
                    <a:pt x="3891" y="1412"/>
                  </a:cubicBezTo>
                  <a:cubicBezTo>
                    <a:pt x="3891" y="1372"/>
                    <a:pt x="3917" y="1341"/>
                    <a:pt x="3958" y="1341"/>
                  </a:cubicBezTo>
                  <a:cubicBezTo>
                    <a:pt x="3999" y="1341"/>
                    <a:pt x="4026" y="1372"/>
                    <a:pt x="4026" y="1412"/>
                  </a:cubicBezTo>
                  <a:cubicBezTo>
                    <a:pt x="4026" y="1452"/>
                    <a:pt x="3999" y="1482"/>
                    <a:pt x="3958" y="1482"/>
                  </a:cubicBezTo>
                  <a:close/>
                  <a:moveTo>
                    <a:pt x="4193" y="1312"/>
                  </a:moveTo>
                  <a:cubicBezTo>
                    <a:pt x="4137" y="1312"/>
                    <a:pt x="4095" y="1353"/>
                    <a:pt x="4095" y="1412"/>
                  </a:cubicBezTo>
                  <a:cubicBezTo>
                    <a:pt x="4095" y="1467"/>
                    <a:pt x="4132" y="1512"/>
                    <a:pt x="4192" y="1512"/>
                  </a:cubicBezTo>
                  <a:cubicBezTo>
                    <a:pt x="4227" y="1512"/>
                    <a:pt x="4254" y="1501"/>
                    <a:pt x="4276" y="1472"/>
                  </a:cubicBezTo>
                  <a:cubicBezTo>
                    <a:pt x="4252" y="1454"/>
                    <a:pt x="4252" y="1454"/>
                    <a:pt x="4252" y="1454"/>
                  </a:cubicBezTo>
                  <a:cubicBezTo>
                    <a:pt x="4237" y="1473"/>
                    <a:pt x="4219" y="1482"/>
                    <a:pt x="4192" y="1482"/>
                  </a:cubicBezTo>
                  <a:cubicBezTo>
                    <a:pt x="4157" y="1482"/>
                    <a:pt x="4132" y="1454"/>
                    <a:pt x="4129" y="1421"/>
                  </a:cubicBezTo>
                  <a:cubicBezTo>
                    <a:pt x="4283" y="1421"/>
                    <a:pt x="4283" y="1421"/>
                    <a:pt x="4283" y="1421"/>
                  </a:cubicBezTo>
                  <a:cubicBezTo>
                    <a:pt x="4283" y="1411"/>
                    <a:pt x="4283" y="1411"/>
                    <a:pt x="4283" y="1411"/>
                  </a:cubicBezTo>
                  <a:cubicBezTo>
                    <a:pt x="4283" y="1348"/>
                    <a:pt x="4246" y="1312"/>
                    <a:pt x="4193" y="1312"/>
                  </a:cubicBezTo>
                  <a:close/>
                  <a:moveTo>
                    <a:pt x="4129" y="1395"/>
                  </a:moveTo>
                  <a:cubicBezTo>
                    <a:pt x="4133" y="1363"/>
                    <a:pt x="4157" y="1341"/>
                    <a:pt x="4192" y="1341"/>
                  </a:cubicBezTo>
                  <a:cubicBezTo>
                    <a:pt x="4227" y="1341"/>
                    <a:pt x="4248" y="1363"/>
                    <a:pt x="4249" y="1395"/>
                  </a:cubicBezTo>
                  <a:lnTo>
                    <a:pt x="4129" y="1395"/>
                  </a:lnTo>
                  <a:close/>
                  <a:moveTo>
                    <a:pt x="4459" y="1317"/>
                  </a:moveTo>
                  <a:cubicBezTo>
                    <a:pt x="4493" y="1317"/>
                    <a:pt x="4493" y="1317"/>
                    <a:pt x="4493" y="1317"/>
                  </a:cubicBezTo>
                  <a:cubicBezTo>
                    <a:pt x="4418" y="1507"/>
                    <a:pt x="4418" y="1507"/>
                    <a:pt x="4418" y="1507"/>
                  </a:cubicBezTo>
                  <a:cubicBezTo>
                    <a:pt x="4383" y="1507"/>
                    <a:pt x="4383" y="1507"/>
                    <a:pt x="4383" y="1507"/>
                  </a:cubicBezTo>
                  <a:cubicBezTo>
                    <a:pt x="4305" y="1317"/>
                    <a:pt x="4305" y="1317"/>
                    <a:pt x="4305" y="1317"/>
                  </a:cubicBezTo>
                  <a:cubicBezTo>
                    <a:pt x="4342" y="1317"/>
                    <a:pt x="4342" y="1317"/>
                    <a:pt x="4342" y="1317"/>
                  </a:cubicBezTo>
                  <a:cubicBezTo>
                    <a:pt x="4401" y="1466"/>
                    <a:pt x="4401" y="1466"/>
                    <a:pt x="4401" y="1466"/>
                  </a:cubicBezTo>
                  <a:cubicBezTo>
                    <a:pt x="4402" y="1466"/>
                    <a:pt x="4402" y="1466"/>
                    <a:pt x="4402" y="1466"/>
                  </a:cubicBezTo>
                  <a:lnTo>
                    <a:pt x="4459" y="1317"/>
                  </a:lnTo>
                  <a:close/>
                  <a:moveTo>
                    <a:pt x="4611" y="1312"/>
                  </a:moveTo>
                  <a:cubicBezTo>
                    <a:pt x="4555" y="1312"/>
                    <a:pt x="4514" y="1353"/>
                    <a:pt x="4514" y="1412"/>
                  </a:cubicBezTo>
                  <a:cubicBezTo>
                    <a:pt x="4514" y="1467"/>
                    <a:pt x="4550" y="1512"/>
                    <a:pt x="4610" y="1512"/>
                  </a:cubicBezTo>
                  <a:cubicBezTo>
                    <a:pt x="4645" y="1512"/>
                    <a:pt x="4672" y="1501"/>
                    <a:pt x="4695" y="1472"/>
                  </a:cubicBezTo>
                  <a:cubicBezTo>
                    <a:pt x="4671" y="1454"/>
                    <a:pt x="4671" y="1454"/>
                    <a:pt x="4671" y="1454"/>
                  </a:cubicBezTo>
                  <a:cubicBezTo>
                    <a:pt x="4656" y="1473"/>
                    <a:pt x="4637" y="1482"/>
                    <a:pt x="4610" y="1482"/>
                  </a:cubicBezTo>
                  <a:cubicBezTo>
                    <a:pt x="4576" y="1482"/>
                    <a:pt x="4550" y="1454"/>
                    <a:pt x="4548" y="1421"/>
                  </a:cubicBezTo>
                  <a:cubicBezTo>
                    <a:pt x="4702" y="1421"/>
                    <a:pt x="4702" y="1421"/>
                    <a:pt x="4702" y="1421"/>
                  </a:cubicBezTo>
                  <a:cubicBezTo>
                    <a:pt x="4702" y="1411"/>
                    <a:pt x="4702" y="1411"/>
                    <a:pt x="4702" y="1411"/>
                  </a:cubicBezTo>
                  <a:cubicBezTo>
                    <a:pt x="4702" y="1348"/>
                    <a:pt x="4665" y="1312"/>
                    <a:pt x="4611" y="1312"/>
                  </a:cubicBezTo>
                  <a:close/>
                  <a:moveTo>
                    <a:pt x="4548" y="1395"/>
                  </a:moveTo>
                  <a:cubicBezTo>
                    <a:pt x="4552" y="1363"/>
                    <a:pt x="4575" y="1341"/>
                    <a:pt x="4610" y="1341"/>
                  </a:cubicBezTo>
                  <a:cubicBezTo>
                    <a:pt x="4645" y="1341"/>
                    <a:pt x="4666" y="1363"/>
                    <a:pt x="4667" y="1395"/>
                  </a:cubicBezTo>
                  <a:lnTo>
                    <a:pt x="4548" y="1395"/>
                  </a:lnTo>
                  <a:close/>
                  <a:moveTo>
                    <a:pt x="4754" y="1200"/>
                  </a:moveTo>
                  <a:cubicBezTo>
                    <a:pt x="4786" y="1200"/>
                    <a:pt x="4786" y="1200"/>
                    <a:pt x="4786" y="1200"/>
                  </a:cubicBezTo>
                  <a:cubicBezTo>
                    <a:pt x="4786" y="1507"/>
                    <a:pt x="4786" y="1507"/>
                    <a:pt x="4786" y="1507"/>
                  </a:cubicBezTo>
                  <a:cubicBezTo>
                    <a:pt x="4754" y="1507"/>
                    <a:pt x="4754" y="1507"/>
                    <a:pt x="4754" y="1507"/>
                  </a:cubicBezTo>
                  <a:lnTo>
                    <a:pt x="4754" y="1200"/>
                  </a:lnTo>
                  <a:close/>
                  <a:moveTo>
                    <a:pt x="4934" y="1312"/>
                  </a:moveTo>
                  <a:cubicBezTo>
                    <a:pt x="4876" y="1312"/>
                    <a:pt x="4833" y="1352"/>
                    <a:pt x="4833" y="1412"/>
                  </a:cubicBezTo>
                  <a:cubicBezTo>
                    <a:pt x="4833" y="1471"/>
                    <a:pt x="4876" y="1512"/>
                    <a:pt x="4934" y="1512"/>
                  </a:cubicBezTo>
                  <a:cubicBezTo>
                    <a:pt x="4993" y="1512"/>
                    <a:pt x="5036" y="1471"/>
                    <a:pt x="5036" y="1412"/>
                  </a:cubicBezTo>
                  <a:cubicBezTo>
                    <a:pt x="5036" y="1352"/>
                    <a:pt x="4993" y="1312"/>
                    <a:pt x="4934" y="1312"/>
                  </a:cubicBezTo>
                  <a:close/>
                  <a:moveTo>
                    <a:pt x="4934" y="1482"/>
                  </a:moveTo>
                  <a:cubicBezTo>
                    <a:pt x="4893" y="1482"/>
                    <a:pt x="4867" y="1452"/>
                    <a:pt x="4867" y="1412"/>
                  </a:cubicBezTo>
                  <a:cubicBezTo>
                    <a:pt x="4867" y="1372"/>
                    <a:pt x="4893" y="1341"/>
                    <a:pt x="4934" y="1341"/>
                  </a:cubicBezTo>
                  <a:cubicBezTo>
                    <a:pt x="4975" y="1341"/>
                    <a:pt x="5002" y="1372"/>
                    <a:pt x="5002" y="1412"/>
                  </a:cubicBezTo>
                  <a:cubicBezTo>
                    <a:pt x="5002" y="1452"/>
                    <a:pt x="4975" y="1482"/>
                    <a:pt x="4934" y="1482"/>
                  </a:cubicBezTo>
                  <a:close/>
                  <a:moveTo>
                    <a:pt x="5182" y="1312"/>
                  </a:moveTo>
                  <a:cubicBezTo>
                    <a:pt x="5154" y="1312"/>
                    <a:pt x="5131" y="1324"/>
                    <a:pt x="5113" y="1344"/>
                  </a:cubicBezTo>
                  <a:cubicBezTo>
                    <a:pt x="5113" y="1344"/>
                    <a:pt x="5113" y="1344"/>
                    <a:pt x="5113" y="1344"/>
                  </a:cubicBezTo>
                  <a:cubicBezTo>
                    <a:pt x="5113" y="1317"/>
                    <a:pt x="5113" y="1317"/>
                    <a:pt x="5113" y="1317"/>
                  </a:cubicBezTo>
                  <a:cubicBezTo>
                    <a:pt x="5081" y="1317"/>
                    <a:pt x="5081" y="1317"/>
                    <a:pt x="5081" y="1317"/>
                  </a:cubicBezTo>
                  <a:cubicBezTo>
                    <a:pt x="5081" y="1600"/>
                    <a:pt x="5081" y="1600"/>
                    <a:pt x="5081" y="1600"/>
                  </a:cubicBezTo>
                  <a:cubicBezTo>
                    <a:pt x="5113" y="1600"/>
                    <a:pt x="5113" y="1600"/>
                    <a:pt x="5113" y="1600"/>
                  </a:cubicBezTo>
                  <a:cubicBezTo>
                    <a:pt x="5113" y="1473"/>
                    <a:pt x="5113" y="1473"/>
                    <a:pt x="5113" y="1473"/>
                  </a:cubicBezTo>
                  <a:cubicBezTo>
                    <a:pt x="5113" y="1473"/>
                    <a:pt x="5113" y="1473"/>
                    <a:pt x="5113" y="1473"/>
                  </a:cubicBezTo>
                  <a:cubicBezTo>
                    <a:pt x="5125" y="1495"/>
                    <a:pt x="5152" y="1512"/>
                    <a:pt x="5186" y="1512"/>
                  </a:cubicBezTo>
                  <a:cubicBezTo>
                    <a:pt x="5240" y="1512"/>
                    <a:pt x="5282" y="1469"/>
                    <a:pt x="5282" y="1412"/>
                  </a:cubicBezTo>
                  <a:cubicBezTo>
                    <a:pt x="5282" y="1354"/>
                    <a:pt x="5241" y="1312"/>
                    <a:pt x="5182" y="1312"/>
                  </a:cubicBezTo>
                  <a:close/>
                  <a:moveTo>
                    <a:pt x="5180" y="1482"/>
                  </a:moveTo>
                  <a:cubicBezTo>
                    <a:pt x="5139" y="1482"/>
                    <a:pt x="5113" y="1452"/>
                    <a:pt x="5113" y="1412"/>
                  </a:cubicBezTo>
                  <a:cubicBezTo>
                    <a:pt x="5113" y="1372"/>
                    <a:pt x="5139" y="1341"/>
                    <a:pt x="5180" y="1341"/>
                  </a:cubicBezTo>
                  <a:cubicBezTo>
                    <a:pt x="5221" y="1341"/>
                    <a:pt x="5247" y="1372"/>
                    <a:pt x="5247" y="1412"/>
                  </a:cubicBezTo>
                  <a:cubicBezTo>
                    <a:pt x="5247" y="1452"/>
                    <a:pt x="5221" y="1482"/>
                    <a:pt x="5180" y="1482"/>
                  </a:cubicBezTo>
                  <a:close/>
                  <a:moveTo>
                    <a:pt x="5613" y="1391"/>
                  </a:moveTo>
                  <a:cubicBezTo>
                    <a:pt x="5613" y="1507"/>
                    <a:pt x="5613" y="1507"/>
                    <a:pt x="5613" y="1507"/>
                  </a:cubicBezTo>
                  <a:cubicBezTo>
                    <a:pt x="5581" y="1507"/>
                    <a:pt x="5581" y="1507"/>
                    <a:pt x="5581" y="1507"/>
                  </a:cubicBezTo>
                  <a:cubicBezTo>
                    <a:pt x="5581" y="1393"/>
                    <a:pt x="5581" y="1393"/>
                    <a:pt x="5581" y="1393"/>
                  </a:cubicBezTo>
                  <a:cubicBezTo>
                    <a:pt x="5581" y="1367"/>
                    <a:pt x="5572" y="1341"/>
                    <a:pt x="5535" y="1341"/>
                  </a:cubicBezTo>
                  <a:cubicBezTo>
                    <a:pt x="5508" y="1341"/>
                    <a:pt x="5486" y="1363"/>
                    <a:pt x="5486" y="1397"/>
                  </a:cubicBezTo>
                  <a:cubicBezTo>
                    <a:pt x="5486" y="1507"/>
                    <a:pt x="5486" y="1507"/>
                    <a:pt x="5486" y="1507"/>
                  </a:cubicBezTo>
                  <a:cubicBezTo>
                    <a:pt x="5454" y="1507"/>
                    <a:pt x="5454" y="1507"/>
                    <a:pt x="5454" y="1507"/>
                  </a:cubicBezTo>
                  <a:cubicBezTo>
                    <a:pt x="5454" y="1399"/>
                    <a:pt x="5454" y="1399"/>
                    <a:pt x="5454" y="1399"/>
                  </a:cubicBezTo>
                  <a:cubicBezTo>
                    <a:pt x="5454" y="1357"/>
                    <a:pt x="5443" y="1341"/>
                    <a:pt x="5417" y="1341"/>
                  </a:cubicBezTo>
                  <a:cubicBezTo>
                    <a:pt x="5376" y="1341"/>
                    <a:pt x="5358" y="1371"/>
                    <a:pt x="5358" y="1414"/>
                  </a:cubicBezTo>
                  <a:cubicBezTo>
                    <a:pt x="5358" y="1507"/>
                    <a:pt x="5358" y="1507"/>
                    <a:pt x="5358" y="1507"/>
                  </a:cubicBezTo>
                  <a:cubicBezTo>
                    <a:pt x="5327" y="1507"/>
                    <a:pt x="5327" y="1507"/>
                    <a:pt x="5327" y="1507"/>
                  </a:cubicBezTo>
                  <a:cubicBezTo>
                    <a:pt x="5327" y="1362"/>
                    <a:pt x="5327" y="1362"/>
                    <a:pt x="5327" y="1362"/>
                  </a:cubicBezTo>
                  <a:cubicBezTo>
                    <a:pt x="5327" y="1344"/>
                    <a:pt x="5325" y="1329"/>
                    <a:pt x="5325" y="1317"/>
                  </a:cubicBezTo>
                  <a:cubicBezTo>
                    <a:pt x="5355" y="1317"/>
                    <a:pt x="5355" y="1317"/>
                    <a:pt x="5355" y="1317"/>
                  </a:cubicBezTo>
                  <a:cubicBezTo>
                    <a:pt x="5355" y="1327"/>
                    <a:pt x="5356" y="1337"/>
                    <a:pt x="5356" y="1348"/>
                  </a:cubicBezTo>
                  <a:cubicBezTo>
                    <a:pt x="5357" y="1348"/>
                    <a:pt x="5357" y="1348"/>
                    <a:pt x="5357" y="1348"/>
                  </a:cubicBezTo>
                  <a:cubicBezTo>
                    <a:pt x="5365" y="1329"/>
                    <a:pt x="5389" y="1312"/>
                    <a:pt x="5420" y="1312"/>
                  </a:cubicBezTo>
                  <a:cubicBezTo>
                    <a:pt x="5461" y="1312"/>
                    <a:pt x="5474" y="1335"/>
                    <a:pt x="5480" y="1348"/>
                  </a:cubicBezTo>
                  <a:cubicBezTo>
                    <a:pt x="5494" y="1326"/>
                    <a:pt x="5512" y="1312"/>
                    <a:pt x="5540" y="1312"/>
                  </a:cubicBezTo>
                  <a:cubicBezTo>
                    <a:pt x="5595" y="1312"/>
                    <a:pt x="5613" y="1342"/>
                    <a:pt x="5613" y="1391"/>
                  </a:cubicBezTo>
                  <a:close/>
                  <a:moveTo>
                    <a:pt x="5756" y="1312"/>
                  </a:moveTo>
                  <a:cubicBezTo>
                    <a:pt x="5700" y="1312"/>
                    <a:pt x="5658" y="1353"/>
                    <a:pt x="5658" y="1412"/>
                  </a:cubicBezTo>
                  <a:cubicBezTo>
                    <a:pt x="5658" y="1467"/>
                    <a:pt x="5695" y="1512"/>
                    <a:pt x="5754" y="1512"/>
                  </a:cubicBezTo>
                  <a:cubicBezTo>
                    <a:pt x="5790" y="1512"/>
                    <a:pt x="5817" y="1501"/>
                    <a:pt x="5839" y="1472"/>
                  </a:cubicBezTo>
                  <a:cubicBezTo>
                    <a:pt x="5815" y="1454"/>
                    <a:pt x="5815" y="1454"/>
                    <a:pt x="5815" y="1454"/>
                  </a:cubicBezTo>
                  <a:cubicBezTo>
                    <a:pt x="5800" y="1473"/>
                    <a:pt x="5782" y="1482"/>
                    <a:pt x="5754" y="1482"/>
                  </a:cubicBezTo>
                  <a:cubicBezTo>
                    <a:pt x="5720" y="1482"/>
                    <a:pt x="5695" y="1454"/>
                    <a:pt x="5692" y="1421"/>
                  </a:cubicBezTo>
                  <a:cubicBezTo>
                    <a:pt x="5846" y="1421"/>
                    <a:pt x="5846" y="1421"/>
                    <a:pt x="5846" y="1421"/>
                  </a:cubicBezTo>
                  <a:cubicBezTo>
                    <a:pt x="5846" y="1411"/>
                    <a:pt x="5846" y="1411"/>
                    <a:pt x="5846" y="1411"/>
                  </a:cubicBezTo>
                  <a:cubicBezTo>
                    <a:pt x="5846" y="1348"/>
                    <a:pt x="5809" y="1312"/>
                    <a:pt x="5756" y="1312"/>
                  </a:cubicBezTo>
                  <a:close/>
                  <a:moveTo>
                    <a:pt x="5692" y="1395"/>
                  </a:moveTo>
                  <a:cubicBezTo>
                    <a:pt x="5696" y="1363"/>
                    <a:pt x="5720" y="1341"/>
                    <a:pt x="5754" y="1341"/>
                  </a:cubicBezTo>
                  <a:cubicBezTo>
                    <a:pt x="5789" y="1341"/>
                    <a:pt x="5811" y="1363"/>
                    <a:pt x="5812" y="1395"/>
                  </a:cubicBezTo>
                  <a:lnTo>
                    <a:pt x="5692" y="1395"/>
                  </a:lnTo>
                  <a:close/>
                  <a:moveTo>
                    <a:pt x="6057" y="1389"/>
                  </a:moveTo>
                  <a:cubicBezTo>
                    <a:pt x="6057" y="1507"/>
                    <a:pt x="6057" y="1507"/>
                    <a:pt x="6057" y="1507"/>
                  </a:cubicBezTo>
                  <a:cubicBezTo>
                    <a:pt x="6025" y="1507"/>
                    <a:pt x="6025" y="1507"/>
                    <a:pt x="6025" y="1507"/>
                  </a:cubicBezTo>
                  <a:cubicBezTo>
                    <a:pt x="6025" y="1393"/>
                    <a:pt x="6025" y="1393"/>
                    <a:pt x="6025" y="1393"/>
                  </a:cubicBezTo>
                  <a:cubicBezTo>
                    <a:pt x="6025" y="1361"/>
                    <a:pt x="6011" y="1341"/>
                    <a:pt x="5982" y="1341"/>
                  </a:cubicBezTo>
                  <a:cubicBezTo>
                    <a:pt x="5941" y="1341"/>
                    <a:pt x="5923" y="1371"/>
                    <a:pt x="5923" y="1414"/>
                  </a:cubicBezTo>
                  <a:cubicBezTo>
                    <a:pt x="5923" y="1507"/>
                    <a:pt x="5923" y="1507"/>
                    <a:pt x="5923" y="1507"/>
                  </a:cubicBezTo>
                  <a:cubicBezTo>
                    <a:pt x="5891" y="1507"/>
                    <a:pt x="5891" y="1507"/>
                    <a:pt x="5891" y="1507"/>
                  </a:cubicBezTo>
                  <a:cubicBezTo>
                    <a:pt x="5891" y="1362"/>
                    <a:pt x="5891" y="1362"/>
                    <a:pt x="5891" y="1362"/>
                  </a:cubicBezTo>
                  <a:cubicBezTo>
                    <a:pt x="5891" y="1344"/>
                    <a:pt x="5889" y="1329"/>
                    <a:pt x="5889" y="1317"/>
                  </a:cubicBezTo>
                  <a:cubicBezTo>
                    <a:pt x="5919" y="1317"/>
                    <a:pt x="5919" y="1317"/>
                    <a:pt x="5919" y="1317"/>
                  </a:cubicBezTo>
                  <a:cubicBezTo>
                    <a:pt x="5919" y="1327"/>
                    <a:pt x="5920" y="1337"/>
                    <a:pt x="5920" y="1348"/>
                  </a:cubicBezTo>
                  <a:cubicBezTo>
                    <a:pt x="5921" y="1348"/>
                    <a:pt x="5921" y="1348"/>
                    <a:pt x="5921" y="1348"/>
                  </a:cubicBezTo>
                  <a:cubicBezTo>
                    <a:pt x="5930" y="1329"/>
                    <a:pt x="5953" y="1312"/>
                    <a:pt x="5984" y="1312"/>
                  </a:cubicBezTo>
                  <a:cubicBezTo>
                    <a:pt x="6034" y="1312"/>
                    <a:pt x="6057" y="1343"/>
                    <a:pt x="6057" y="1389"/>
                  </a:cubicBezTo>
                  <a:close/>
                  <a:moveTo>
                    <a:pt x="6217" y="1505"/>
                  </a:moveTo>
                  <a:cubicBezTo>
                    <a:pt x="6206" y="1510"/>
                    <a:pt x="6192" y="1512"/>
                    <a:pt x="6180" y="1512"/>
                  </a:cubicBezTo>
                  <a:cubicBezTo>
                    <a:pt x="6135" y="1512"/>
                    <a:pt x="6128" y="1487"/>
                    <a:pt x="6128" y="1448"/>
                  </a:cubicBezTo>
                  <a:cubicBezTo>
                    <a:pt x="6128" y="1343"/>
                    <a:pt x="6128" y="1343"/>
                    <a:pt x="6128" y="1343"/>
                  </a:cubicBezTo>
                  <a:cubicBezTo>
                    <a:pt x="6086" y="1343"/>
                    <a:pt x="6086" y="1343"/>
                    <a:pt x="6086" y="1343"/>
                  </a:cubicBezTo>
                  <a:cubicBezTo>
                    <a:pt x="6086" y="1317"/>
                    <a:pt x="6086" y="1317"/>
                    <a:pt x="6086" y="1317"/>
                  </a:cubicBezTo>
                  <a:cubicBezTo>
                    <a:pt x="6128" y="1317"/>
                    <a:pt x="6128" y="1317"/>
                    <a:pt x="6128" y="1317"/>
                  </a:cubicBezTo>
                  <a:cubicBezTo>
                    <a:pt x="6128" y="1263"/>
                    <a:pt x="6128" y="1263"/>
                    <a:pt x="6128" y="1263"/>
                  </a:cubicBezTo>
                  <a:cubicBezTo>
                    <a:pt x="6159" y="1263"/>
                    <a:pt x="6159" y="1263"/>
                    <a:pt x="6159" y="1263"/>
                  </a:cubicBezTo>
                  <a:cubicBezTo>
                    <a:pt x="6159" y="1317"/>
                    <a:pt x="6159" y="1317"/>
                    <a:pt x="6159" y="1317"/>
                  </a:cubicBezTo>
                  <a:cubicBezTo>
                    <a:pt x="6215" y="1317"/>
                    <a:pt x="6215" y="1317"/>
                    <a:pt x="6215" y="1317"/>
                  </a:cubicBezTo>
                  <a:cubicBezTo>
                    <a:pt x="6215" y="1343"/>
                    <a:pt x="6215" y="1343"/>
                    <a:pt x="6215" y="1343"/>
                  </a:cubicBezTo>
                  <a:cubicBezTo>
                    <a:pt x="6159" y="1343"/>
                    <a:pt x="6159" y="1343"/>
                    <a:pt x="6159" y="1343"/>
                  </a:cubicBezTo>
                  <a:cubicBezTo>
                    <a:pt x="6159" y="1439"/>
                    <a:pt x="6159" y="1439"/>
                    <a:pt x="6159" y="1439"/>
                  </a:cubicBezTo>
                  <a:cubicBezTo>
                    <a:pt x="6159" y="1463"/>
                    <a:pt x="6160" y="1482"/>
                    <a:pt x="6188" y="1482"/>
                  </a:cubicBezTo>
                  <a:cubicBezTo>
                    <a:pt x="6197" y="1482"/>
                    <a:pt x="6207" y="1480"/>
                    <a:pt x="6216" y="1476"/>
                  </a:cubicBezTo>
                  <a:lnTo>
                    <a:pt x="6217" y="1505"/>
                  </a:lnTo>
                  <a:close/>
                  <a:moveTo>
                    <a:pt x="2242" y="1312"/>
                  </a:moveTo>
                  <a:cubicBezTo>
                    <a:pt x="2215" y="1312"/>
                    <a:pt x="2191" y="1324"/>
                    <a:pt x="2174" y="1344"/>
                  </a:cubicBezTo>
                  <a:cubicBezTo>
                    <a:pt x="2173" y="1344"/>
                    <a:pt x="2173" y="1344"/>
                    <a:pt x="2173" y="1344"/>
                  </a:cubicBezTo>
                  <a:cubicBezTo>
                    <a:pt x="2173" y="1317"/>
                    <a:pt x="2173" y="1317"/>
                    <a:pt x="2173" y="1317"/>
                  </a:cubicBezTo>
                  <a:cubicBezTo>
                    <a:pt x="2141" y="1317"/>
                    <a:pt x="2141" y="1317"/>
                    <a:pt x="2141" y="1317"/>
                  </a:cubicBezTo>
                  <a:cubicBezTo>
                    <a:pt x="2141" y="1600"/>
                    <a:pt x="2141" y="1600"/>
                    <a:pt x="2141" y="1600"/>
                  </a:cubicBezTo>
                  <a:cubicBezTo>
                    <a:pt x="2173" y="1600"/>
                    <a:pt x="2173" y="1600"/>
                    <a:pt x="2173" y="1600"/>
                  </a:cubicBezTo>
                  <a:cubicBezTo>
                    <a:pt x="2173" y="1473"/>
                    <a:pt x="2173" y="1473"/>
                    <a:pt x="2173" y="1473"/>
                  </a:cubicBezTo>
                  <a:cubicBezTo>
                    <a:pt x="2174" y="1473"/>
                    <a:pt x="2174" y="1473"/>
                    <a:pt x="2174" y="1473"/>
                  </a:cubicBezTo>
                  <a:cubicBezTo>
                    <a:pt x="2186" y="1495"/>
                    <a:pt x="2213" y="1512"/>
                    <a:pt x="2247" y="1512"/>
                  </a:cubicBezTo>
                  <a:cubicBezTo>
                    <a:pt x="2300" y="1512"/>
                    <a:pt x="2342" y="1469"/>
                    <a:pt x="2342" y="1412"/>
                  </a:cubicBezTo>
                  <a:cubicBezTo>
                    <a:pt x="2342" y="1354"/>
                    <a:pt x="2302" y="1312"/>
                    <a:pt x="2242" y="1312"/>
                  </a:cubicBezTo>
                  <a:close/>
                  <a:moveTo>
                    <a:pt x="2241" y="1482"/>
                  </a:moveTo>
                  <a:cubicBezTo>
                    <a:pt x="2200" y="1482"/>
                    <a:pt x="2173" y="1452"/>
                    <a:pt x="2173" y="1412"/>
                  </a:cubicBezTo>
                  <a:cubicBezTo>
                    <a:pt x="2173" y="1372"/>
                    <a:pt x="2200" y="1341"/>
                    <a:pt x="2241" y="1341"/>
                  </a:cubicBezTo>
                  <a:cubicBezTo>
                    <a:pt x="2282" y="1341"/>
                    <a:pt x="2308" y="1372"/>
                    <a:pt x="2308" y="1412"/>
                  </a:cubicBezTo>
                  <a:cubicBezTo>
                    <a:pt x="2308" y="1452"/>
                    <a:pt x="2282" y="1482"/>
                    <a:pt x="2241" y="1482"/>
                  </a:cubicBezTo>
                  <a:close/>
                  <a:moveTo>
                    <a:pt x="2478" y="1312"/>
                  </a:moveTo>
                  <a:cubicBezTo>
                    <a:pt x="2482" y="1312"/>
                    <a:pt x="2487" y="1312"/>
                    <a:pt x="2491" y="1314"/>
                  </a:cubicBezTo>
                  <a:cubicBezTo>
                    <a:pt x="2489" y="1346"/>
                    <a:pt x="2489" y="1346"/>
                    <a:pt x="2489" y="1346"/>
                  </a:cubicBezTo>
                  <a:cubicBezTo>
                    <a:pt x="2484" y="1344"/>
                    <a:pt x="2478" y="1343"/>
                    <a:pt x="2472" y="1343"/>
                  </a:cubicBezTo>
                  <a:cubicBezTo>
                    <a:pt x="2433" y="1343"/>
                    <a:pt x="2416" y="1371"/>
                    <a:pt x="2416" y="1414"/>
                  </a:cubicBezTo>
                  <a:cubicBezTo>
                    <a:pt x="2416" y="1507"/>
                    <a:pt x="2416" y="1507"/>
                    <a:pt x="2416" y="1507"/>
                  </a:cubicBezTo>
                  <a:cubicBezTo>
                    <a:pt x="2385" y="1507"/>
                    <a:pt x="2385" y="1507"/>
                    <a:pt x="2385" y="1507"/>
                  </a:cubicBezTo>
                  <a:cubicBezTo>
                    <a:pt x="2385" y="1362"/>
                    <a:pt x="2385" y="1362"/>
                    <a:pt x="2385" y="1362"/>
                  </a:cubicBezTo>
                  <a:cubicBezTo>
                    <a:pt x="2385" y="1344"/>
                    <a:pt x="2383" y="1329"/>
                    <a:pt x="2383" y="1317"/>
                  </a:cubicBezTo>
                  <a:cubicBezTo>
                    <a:pt x="2413" y="1317"/>
                    <a:pt x="2413" y="1317"/>
                    <a:pt x="2413" y="1317"/>
                  </a:cubicBezTo>
                  <a:cubicBezTo>
                    <a:pt x="2413" y="1327"/>
                    <a:pt x="2414" y="1337"/>
                    <a:pt x="2414" y="1348"/>
                  </a:cubicBezTo>
                  <a:cubicBezTo>
                    <a:pt x="2415" y="1348"/>
                    <a:pt x="2415" y="1348"/>
                    <a:pt x="2415" y="1348"/>
                  </a:cubicBezTo>
                  <a:cubicBezTo>
                    <a:pt x="2423" y="1329"/>
                    <a:pt x="2447" y="1312"/>
                    <a:pt x="2478" y="1312"/>
                  </a:cubicBezTo>
                  <a:close/>
                  <a:moveTo>
                    <a:pt x="2606" y="1312"/>
                  </a:moveTo>
                  <a:cubicBezTo>
                    <a:pt x="2547" y="1312"/>
                    <a:pt x="2504" y="1352"/>
                    <a:pt x="2504" y="1412"/>
                  </a:cubicBezTo>
                  <a:cubicBezTo>
                    <a:pt x="2504" y="1471"/>
                    <a:pt x="2547" y="1512"/>
                    <a:pt x="2606" y="1512"/>
                  </a:cubicBezTo>
                  <a:cubicBezTo>
                    <a:pt x="2664" y="1512"/>
                    <a:pt x="2707" y="1471"/>
                    <a:pt x="2707" y="1412"/>
                  </a:cubicBezTo>
                  <a:cubicBezTo>
                    <a:pt x="2707" y="1352"/>
                    <a:pt x="2664" y="1312"/>
                    <a:pt x="2606" y="1312"/>
                  </a:cubicBezTo>
                  <a:close/>
                  <a:moveTo>
                    <a:pt x="2606" y="1482"/>
                  </a:moveTo>
                  <a:cubicBezTo>
                    <a:pt x="2565" y="1482"/>
                    <a:pt x="2538" y="1452"/>
                    <a:pt x="2538" y="1412"/>
                  </a:cubicBezTo>
                  <a:cubicBezTo>
                    <a:pt x="2538" y="1372"/>
                    <a:pt x="2565" y="1341"/>
                    <a:pt x="2606" y="1341"/>
                  </a:cubicBezTo>
                  <a:cubicBezTo>
                    <a:pt x="2647" y="1341"/>
                    <a:pt x="2673" y="1372"/>
                    <a:pt x="2673" y="1412"/>
                  </a:cubicBezTo>
                  <a:cubicBezTo>
                    <a:pt x="2673" y="1452"/>
                    <a:pt x="2647" y="1482"/>
                    <a:pt x="2606" y="1482"/>
                  </a:cubicBezTo>
                  <a:close/>
                  <a:moveTo>
                    <a:pt x="2853" y="1312"/>
                  </a:moveTo>
                  <a:cubicBezTo>
                    <a:pt x="2825" y="1312"/>
                    <a:pt x="2802" y="1324"/>
                    <a:pt x="2785" y="1344"/>
                  </a:cubicBezTo>
                  <a:cubicBezTo>
                    <a:pt x="2784" y="1344"/>
                    <a:pt x="2784" y="1344"/>
                    <a:pt x="2784" y="1344"/>
                  </a:cubicBezTo>
                  <a:cubicBezTo>
                    <a:pt x="2784" y="1317"/>
                    <a:pt x="2784" y="1317"/>
                    <a:pt x="2784" y="1317"/>
                  </a:cubicBezTo>
                  <a:cubicBezTo>
                    <a:pt x="2752" y="1317"/>
                    <a:pt x="2752" y="1317"/>
                    <a:pt x="2752" y="1317"/>
                  </a:cubicBezTo>
                  <a:cubicBezTo>
                    <a:pt x="2752" y="1600"/>
                    <a:pt x="2752" y="1600"/>
                    <a:pt x="2752" y="1600"/>
                  </a:cubicBezTo>
                  <a:cubicBezTo>
                    <a:pt x="2784" y="1600"/>
                    <a:pt x="2784" y="1600"/>
                    <a:pt x="2784" y="1600"/>
                  </a:cubicBezTo>
                  <a:cubicBezTo>
                    <a:pt x="2784" y="1473"/>
                    <a:pt x="2784" y="1473"/>
                    <a:pt x="2784" y="1473"/>
                  </a:cubicBezTo>
                  <a:cubicBezTo>
                    <a:pt x="2785" y="1473"/>
                    <a:pt x="2785" y="1473"/>
                    <a:pt x="2785" y="1473"/>
                  </a:cubicBezTo>
                  <a:cubicBezTo>
                    <a:pt x="2796" y="1495"/>
                    <a:pt x="2824" y="1512"/>
                    <a:pt x="2858" y="1512"/>
                  </a:cubicBezTo>
                  <a:cubicBezTo>
                    <a:pt x="2911" y="1512"/>
                    <a:pt x="2953" y="1469"/>
                    <a:pt x="2953" y="1412"/>
                  </a:cubicBezTo>
                  <a:cubicBezTo>
                    <a:pt x="2953" y="1354"/>
                    <a:pt x="2913" y="1312"/>
                    <a:pt x="2853" y="1312"/>
                  </a:cubicBezTo>
                  <a:close/>
                  <a:moveTo>
                    <a:pt x="2851" y="1482"/>
                  </a:moveTo>
                  <a:cubicBezTo>
                    <a:pt x="2810" y="1482"/>
                    <a:pt x="2784" y="1452"/>
                    <a:pt x="2784" y="1412"/>
                  </a:cubicBezTo>
                  <a:cubicBezTo>
                    <a:pt x="2784" y="1372"/>
                    <a:pt x="2810" y="1341"/>
                    <a:pt x="2851" y="1341"/>
                  </a:cubicBezTo>
                  <a:cubicBezTo>
                    <a:pt x="2892" y="1341"/>
                    <a:pt x="2919" y="1372"/>
                    <a:pt x="2919" y="1412"/>
                  </a:cubicBezTo>
                  <a:cubicBezTo>
                    <a:pt x="2919" y="1452"/>
                    <a:pt x="2892" y="1482"/>
                    <a:pt x="2851" y="1482"/>
                  </a:cubicBezTo>
                  <a:close/>
                  <a:moveTo>
                    <a:pt x="3086" y="1312"/>
                  </a:moveTo>
                  <a:cubicBezTo>
                    <a:pt x="3030" y="1312"/>
                    <a:pt x="2988" y="1353"/>
                    <a:pt x="2988" y="1412"/>
                  </a:cubicBezTo>
                  <a:cubicBezTo>
                    <a:pt x="2988" y="1467"/>
                    <a:pt x="3025" y="1512"/>
                    <a:pt x="3085" y="1512"/>
                  </a:cubicBezTo>
                  <a:cubicBezTo>
                    <a:pt x="3120" y="1512"/>
                    <a:pt x="3147" y="1501"/>
                    <a:pt x="3169" y="1472"/>
                  </a:cubicBezTo>
                  <a:cubicBezTo>
                    <a:pt x="3145" y="1454"/>
                    <a:pt x="3145" y="1454"/>
                    <a:pt x="3145" y="1454"/>
                  </a:cubicBezTo>
                  <a:cubicBezTo>
                    <a:pt x="3130" y="1473"/>
                    <a:pt x="3112" y="1482"/>
                    <a:pt x="3085" y="1482"/>
                  </a:cubicBezTo>
                  <a:cubicBezTo>
                    <a:pt x="3050" y="1482"/>
                    <a:pt x="3025" y="1454"/>
                    <a:pt x="3023" y="1421"/>
                  </a:cubicBezTo>
                  <a:cubicBezTo>
                    <a:pt x="3176" y="1421"/>
                    <a:pt x="3176" y="1421"/>
                    <a:pt x="3176" y="1421"/>
                  </a:cubicBezTo>
                  <a:cubicBezTo>
                    <a:pt x="3176" y="1411"/>
                    <a:pt x="3176" y="1411"/>
                    <a:pt x="3176" y="1411"/>
                  </a:cubicBezTo>
                  <a:cubicBezTo>
                    <a:pt x="3176" y="1348"/>
                    <a:pt x="3140" y="1312"/>
                    <a:pt x="3086" y="1312"/>
                  </a:cubicBezTo>
                  <a:close/>
                  <a:moveTo>
                    <a:pt x="3023" y="1395"/>
                  </a:moveTo>
                  <a:cubicBezTo>
                    <a:pt x="3027" y="1363"/>
                    <a:pt x="3050" y="1341"/>
                    <a:pt x="3085" y="1341"/>
                  </a:cubicBezTo>
                  <a:cubicBezTo>
                    <a:pt x="3120" y="1341"/>
                    <a:pt x="3141" y="1363"/>
                    <a:pt x="3142" y="1395"/>
                  </a:cubicBezTo>
                  <a:lnTo>
                    <a:pt x="3023" y="1395"/>
                  </a:lnTo>
                  <a:close/>
                  <a:moveTo>
                    <a:pt x="3322" y="1312"/>
                  </a:moveTo>
                  <a:cubicBezTo>
                    <a:pt x="3326" y="1312"/>
                    <a:pt x="3330" y="1312"/>
                    <a:pt x="3335" y="1314"/>
                  </a:cubicBezTo>
                  <a:cubicBezTo>
                    <a:pt x="3333" y="1346"/>
                    <a:pt x="3333" y="1346"/>
                    <a:pt x="3333" y="1346"/>
                  </a:cubicBezTo>
                  <a:cubicBezTo>
                    <a:pt x="3327" y="1344"/>
                    <a:pt x="3321" y="1343"/>
                    <a:pt x="3316" y="1343"/>
                  </a:cubicBezTo>
                  <a:cubicBezTo>
                    <a:pt x="3277" y="1343"/>
                    <a:pt x="3260" y="1371"/>
                    <a:pt x="3260" y="1414"/>
                  </a:cubicBezTo>
                  <a:cubicBezTo>
                    <a:pt x="3260" y="1507"/>
                    <a:pt x="3260" y="1507"/>
                    <a:pt x="3260" y="1507"/>
                  </a:cubicBezTo>
                  <a:cubicBezTo>
                    <a:pt x="3228" y="1507"/>
                    <a:pt x="3228" y="1507"/>
                    <a:pt x="3228" y="1507"/>
                  </a:cubicBezTo>
                  <a:cubicBezTo>
                    <a:pt x="3228" y="1362"/>
                    <a:pt x="3228" y="1362"/>
                    <a:pt x="3228" y="1362"/>
                  </a:cubicBezTo>
                  <a:cubicBezTo>
                    <a:pt x="3228" y="1344"/>
                    <a:pt x="3227" y="1329"/>
                    <a:pt x="3227" y="1317"/>
                  </a:cubicBezTo>
                  <a:cubicBezTo>
                    <a:pt x="3257" y="1317"/>
                    <a:pt x="3257" y="1317"/>
                    <a:pt x="3257" y="1317"/>
                  </a:cubicBezTo>
                  <a:cubicBezTo>
                    <a:pt x="3257" y="1327"/>
                    <a:pt x="3258" y="1337"/>
                    <a:pt x="3258" y="1348"/>
                  </a:cubicBezTo>
                  <a:cubicBezTo>
                    <a:pt x="3258" y="1348"/>
                    <a:pt x="3258" y="1348"/>
                    <a:pt x="3258" y="1348"/>
                  </a:cubicBezTo>
                  <a:cubicBezTo>
                    <a:pt x="3267" y="1329"/>
                    <a:pt x="3290" y="1312"/>
                    <a:pt x="3322" y="1312"/>
                  </a:cubicBezTo>
                  <a:close/>
                  <a:moveTo>
                    <a:pt x="3492" y="1476"/>
                  </a:moveTo>
                  <a:cubicBezTo>
                    <a:pt x="3494" y="1505"/>
                    <a:pt x="3494" y="1505"/>
                    <a:pt x="3494" y="1505"/>
                  </a:cubicBezTo>
                  <a:cubicBezTo>
                    <a:pt x="3483" y="1510"/>
                    <a:pt x="3468" y="1512"/>
                    <a:pt x="3457" y="1512"/>
                  </a:cubicBezTo>
                  <a:cubicBezTo>
                    <a:pt x="3412" y="1512"/>
                    <a:pt x="3404" y="1487"/>
                    <a:pt x="3404" y="1448"/>
                  </a:cubicBezTo>
                  <a:cubicBezTo>
                    <a:pt x="3404" y="1343"/>
                    <a:pt x="3404" y="1343"/>
                    <a:pt x="3404" y="1343"/>
                  </a:cubicBezTo>
                  <a:cubicBezTo>
                    <a:pt x="3363" y="1343"/>
                    <a:pt x="3363" y="1343"/>
                    <a:pt x="3363" y="1343"/>
                  </a:cubicBezTo>
                  <a:cubicBezTo>
                    <a:pt x="3363" y="1317"/>
                    <a:pt x="3363" y="1317"/>
                    <a:pt x="3363" y="1317"/>
                  </a:cubicBezTo>
                  <a:cubicBezTo>
                    <a:pt x="3404" y="1317"/>
                    <a:pt x="3404" y="1317"/>
                    <a:pt x="3404" y="1317"/>
                  </a:cubicBezTo>
                  <a:cubicBezTo>
                    <a:pt x="3404" y="1263"/>
                    <a:pt x="3404" y="1263"/>
                    <a:pt x="3404" y="1263"/>
                  </a:cubicBezTo>
                  <a:cubicBezTo>
                    <a:pt x="3436" y="1263"/>
                    <a:pt x="3436" y="1263"/>
                    <a:pt x="3436" y="1263"/>
                  </a:cubicBezTo>
                  <a:cubicBezTo>
                    <a:pt x="3436" y="1317"/>
                    <a:pt x="3436" y="1317"/>
                    <a:pt x="3436" y="1317"/>
                  </a:cubicBezTo>
                  <a:cubicBezTo>
                    <a:pt x="3492" y="1317"/>
                    <a:pt x="3492" y="1317"/>
                    <a:pt x="3492" y="1317"/>
                  </a:cubicBezTo>
                  <a:cubicBezTo>
                    <a:pt x="3492" y="1343"/>
                    <a:pt x="3492" y="1343"/>
                    <a:pt x="3492" y="1343"/>
                  </a:cubicBezTo>
                  <a:cubicBezTo>
                    <a:pt x="3436" y="1343"/>
                    <a:pt x="3436" y="1343"/>
                    <a:pt x="3436" y="1343"/>
                  </a:cubicBezTo>
                  <a:cubicBezTo>
                    <a:pt x="3436" y="1439"/>
                    <a:pt x="3436" y="1439"/>
                    <a:pt x="3436" y="1439"/>
                  </a:cubicBezTo>
                  <a:cubicBezTo>
                    <a:pt x="3436" y="1463"/>
                    <a:pt x="3436" y="1482"/>
                    <a:pt x="3464" y="1482"/>
                  </a:cubicBezTo>
                  <a:cubicBezTo>
                    <a:pt x="3474" y="1482"/>
                    <a:pt x="3484" y="1480"/>
                    <a:pt x="3492" y="1476"/>
                  </a:cubicBezTo>
                  <a:close/>
                  <a:moveTo>
                    <a:pt x="3674" y="1317"/>
                  </a:moveTo>
                  <a:cubicBezTo>
                    <a:pt x="3709" y="1317"/>
                    <a:pt x="3709" y="1317"/>
                    <a:pt x="3709" y="1317"/>
                  </a:cubicBezTo>
                  <a:cubicBezTo>
                    <a:pt x="3617" y="1550"/>
                    <a:pt x="3617" y="1550"/>
                    <a:pt x="3617" y="1550"/>
                  </a:cubicBezTo>
                  <a:cubicBezTo>
                    <a:pt x="3604" y="1582"/>
                    <a:pt x="3592" y="1604"/>
                    <a:pt x="3553" y="1604"/>
                  </a:cubicBezTo>
                  <a:cubicBezTo>
                    <a:pt x="3545" y="1604"/>
                    <a:pt x="3533" y="1604"/>
                    <a:pt x="3525" y="1600"/>
                  </a:cubicBezTo>
                  <a:cubicBezTo>
                    <a:pt x="3529" y="1572"/>
                    <a:pt x="3529" y="1572"/>
                    <a:pt x="3529" y="1572"/>
                  </a:cubicBezTo>
                  <a:cubicBezTo>
                    <a:pt x="3536" y="1574"/>
                    <a:pt x="3542" y="1575"/>
                    <a:pt x="3551" y="1575"/>
                  </a:cubicBezTo>
                  <a:cubicBezTo>
                    <a:pt x="3572" y="1575"/>
                    <a:pt x="3580" y="1563"/>
                    <a:pt x="3587" y="1544"/>
                  </a:cubicBezTo>
                  <a:cubicBezTo>
                    <a:pt x="3600" y="1508"/>
                    <a:pt x="3600" y="1508"/>
                    <a:pt x="3600" y="1508"/>
                  </a:cubicBezTo>
                  <a:cubicBezTo>
                    <a:pt x="3521" y="1317"/>
                    <a:pt x="3521" y="1317"/>
                    <a:pt x="3521" y="1317"/>
                  </a:cubicBezTo>
                  <a:cubicBezTo>
                    <a:pt x="3558" y="1317"/>
                    <a:pt x="3558" y="1317"/>
                    <a:pt x="3558" y="1317"/>
                  </a:cubicBezTo>
                  <a:cubicBezTo>
                    <a:pt x="3617" y="1466"/>
                    <a:pt x="3617" y="1466"/>
                    <a:pt x="3617" y="1466"/>
                  </a:cubicBezTo>
                  <a:cubicBezTo>
                    <a:pt x="3618" y="1466"/>
                    <a:pt x="3618" y="1466"/>
                    <a:pt x="3618" y="1466"/>
                  </a:cubicBezTo>
                  <a:lnTo>
                    <a:pt x="3674" y="1317"/>
                  </a:lnTo>
                  <a:close/>
                  <a:moveTo>
                    <a:pt x="101" y="1312"/>
                  </a:moveTo>
                  <a:cubicBezTo>
                    <a:pt x="73" y="1312"/>
                    <a:pt x="50" y="1324"/>
                    <a:pt x="33" y="1344"/>
                  </a:cubicBezTo>
                  <a:cubicBezTo>
                    <a:pt x="32" y="1344"/>
                    <a:pt x="32" y="1344"/>
                    <a:pt x="32" y="1344"/>
                  </a:cubicBezTo>
                  <a:cubicBezTo>
                    <a:pt x="32" y="1200"/>
                    <a:pt x="32" y="1200"/>
                    <a:pt x="32" y="1200"/>
                  </a:cubicBezTo>
                  <a:cubicBezTo>
                    <a:pt x="0" y="1200"/>
                    <a:pt x="0" y="1200"/>
                    <a:pt x="0" y="1200"/>
                  </a:cubicBezTo>
                  <a:cubicBezTo>
                    <a:pt x="0" y="1507"/>
                    <a:pt x="0" y="1507"/>
                    <a:pt x="0" y="1507"/>
                  </a:cubicBezTo>
                  <a:cubicBezTo>
                    <a:pt x="32" y="1507"/>
                    <a:pt x="32" y="1507"/>
                    <a:pt x="32" y="1507"/>
                  </a:cubicBezTo>
                  <a:cubicBezTo>
                    <a:pt x="32" y="1473"/>
                    <a:pt x="32" y="1473"/>
                    <a:pt x="32" y="1473"/>
                  </a:cubicBezTo>
                  <a:cubicBezTo>
                    <a:pt x="33" y="1473"/>
                    <a:pt x="33" y="1473"/>
                    <a:pt x="33" y="1473"/>
                  </a:cubicBezTo>
                  <a:cubicBezTo>
                    <a:pt x="45" y="1495"/>
                    <a:pt x="72" y="1512"/>
                    <a:pt x="106" y="1512"/>
                  </a:cubicBezTo>
                  <a:cubicBezTo>
                    <a:pt x="159" y="1512"/>
                    <a:pt x="201" y="1469"/>
                    <a:pt x="201" y="1412"/>
                  </a:cubicBezTo>
                  <a:cubicBezTo>
                    <a:pt x="201" y="1354"/>
                    <a:pt x="161" y="1312"/>
                    <a:pt x="101" y="1312"/>
                  </a:cubicBezTo>
                  <a:close/>
                  <a:moveTo>
                    <a:pt x="99" y="1482"/>
                  </a:moveTo>
                  <a:cubicBezTo>
                    <a:pt x="58" y="1482"/>
                    <a:pt x="32" y="1452"/>
                    <a:pt x="32" y="1412"/>
                  </a:cubicBezTo>
                  <a:cubicBezTo>
                    <a:pt x="32" y="1372"/>
                    <a:pt x="58" y="1341"/>
                    <a:pt x="99" y="1341"/>
                  </a:cubicBezTo>
                  <a:cubicBezTo>
                    <a:pt x="140" y="1341"/>
                    <a:pt x="167" y="1372"/>
                    <a:pt x="167" y="1412"/>
                  </a:cubicBezTo>
                  <a:cubicBezTo>
                    <a:pt x="167" y="1452"/>
                    <a:pt x="140" y="1482"/>
                    <a:pt x="99" y="1482"/>
                  </a:cubicBezTo>
                  <a:close/>
                  <a:moveTo>
                    <a:pt x="333" y="1312"/>
                  </a:moveTo>
                  <a:cubicBezTo>
                    <a:pt x="275" y="1312"/>
                    <a:pt x="232" y="1352"/>
                    <a:pt x="232" y="1412"/>
                  </a:cubicBezTo>
                  <a:cubicBezTo>
                    <a:pt x="232" y="1471"/>
                    <a:pt x="275" y="1512"/>
                    <a:pt x="333" y="1512"/>
                  </a:cubicBezTo>
                  <a:cubicBezTo>
                    <a:pt x="392" y="1512"/>
                    <a:pt x="435" y="1471"/>
                    <a:pt x="435" y="1412"/>
                  </a:cubicBezTo>
                  <a:cubicBezTo>
                    <a:pt x="435" y="1352"/>
                    <a:pt x="392" y="1312"/>
                    <a:pt x="333" y="1312"/>
                  </a:cubicBezTo>
                  <a:close/>
                  <a:moveTo>
                    <a:pt x="333" y="1482"/>
                  </a:moveTo>
                  <a:cubicBezTo>
                    <a:pt x="292" y="1482"/>
                    <a:pt x="266" y="1452"/>
                    <a:pt x="266" y="1412"/>
                  </a:cubicBezTo>
                  <a:cubicBezTo>
                    <a:pt x="266" y="1372"/>
                    <a:pt x="292" y="1341"/>
                    <a:pt x="333" y="1341"/>
                  </a:cubicBezTo>
                  <a:cubicBezTo>
                    <a:pt x="374" y="1341"/>
                    <a:pt x="401" y="1372"/>
                    <a:pt x="401" y="1412"/>
                  </a:cubicBezTo>
                  <a:cubicBezTo>
                    <a:pt x="401" y="1452"/>
                    <a:pt x="374" y="1482"/>
                    <a:pt x="333" y="1482"/>
                  </a:cubicBezTo>
                  <a:close/>
                  <a:moveTo>
                    <a:pt x="638" y="1462"/>
                  </a:moveTo>
                  <a:cubicBezTo>
                    <a:pt x="638" y="1479"/>
                    <a:pt x="640" y="1494"/>
                    <a:pt x="640" y="1507"/>
                  </a:cubicBezTo>
                  <a:cubicBezTo>
                    <a:pt x="610" y="1507"/>
                    <a:pt x="610" y="1507"/>
                    <a:pt x="610" y="1507"/>
                  </a:cubicBezTo>
                  <a:cubicBezTo>
                    <a:pt x="610" y="1497"/>
                    <a:pt x="609" y="1486"/>
                    <a:pt x="609" y="1476"/>
                  </a:cubicBezTo>
                  <a:cubicBezTo>
                    <a:pt x="608" y="1476"/>
                    <a:pt x="608" y="1476"/>
                    <a:pt x="608" y="1476"/>
                  </a:cubicBezTo>
                  <a:cubicBezTo>
                    <a:pt x="599" y="1494"/>
                    <a:pt x="576" y="1512"/>
                    <a:pt x="545" y="1512"/>
                  </a:cubicBezTo>
                  <a:cubicBezTo>
                    <a:pt x="495" y="1512"/>
                    <a:pt x="472" y="1480"/>
                    <a:pt x="472" y="1434"/>
                  </a:cubicBezTo>
                  <a:cubicBezTo>
                    <a:pt x="472" y="1317"/>
                    <a:pt x="472" y="1317"/>
                    <a:pt x="472" y="1317"/>
                  </a:cubicBezTo>
                  <a:cubicBezTo>
                    <a:pt x="504" y="1317"/>
                    <a:pt x="504" y="1317"/>
                    <a:pt x="504" y="1317"/>
                  </a:cubicBezTo>
                  <a:cubicBezTo>
                    <a:pt x="504" y="1431"/>
                    <a:pt x="504" y="1431"/>
                    <a:pt x="504" y="1431"/>
                  </a:cubicBezTo>
                  <a:cubicBezTo>
                    <a:pt x="504" y="1462"/>
                    <a:pt x="518" y="1482"/>
                    <a:pt x="547" y="1482"/>
                  </a:cubicBezTo>
                  <a:cubicBezTo>
                    <a:pt x="588" y="1482"/>
                    <a:pt x="606" y="1453"/>
                    <a:pt x="606" y="1409"/>
                  </a:cubicBezTo>
                  <a:cubicBezTo>
                    <a:pt x="606" y="1317"/>
                    <a:pt x="606" y="1317"/>
                    <a:pt x="606" y="1317"/>
                  </a:cubicBezTo>
                  <a:cubicBezTo>
                    <a:pt x="638" y="1317"/>
                    <a:pt x="638" y="1317"/>
                    <a:pt x="638" y="1317"/>
                  </a:cubicBezTo>
                  <a:lnTo>
                    <a:pt x="638" y="1462"/>
                  </a:lnTo>
                  <a:close/>
                  <a:moveTo>
                    <a:pt x="1032" y="1281"/>
                  </a:moveTo>
                  <a:cubicBezTo>
                    <a:pt x="1032" y="1317"/>
                    <a:pt x="1032" y="1317"/>
                    <a:pt x="1032" y="1317"/>
                  </a:cubicBezTo>
                  <a:cubicBezTo>
                    <a:pt x="1078" y="1317"/>
                    <a:pt x="1078" y="1317"/>
                    <a:pt x="1078" y="1317"/>
                  </a:cubicBezTo>
                  <a:cubicBezTo>
                    <a:pt x="1078" y="1343"/>
                    <a:pt x="1078" y="1343"/>
                    <a:pt x="1078" y="1343"/>
                  </a:cubicBezTo>
                  <a:cubicBezTo>
                    <a:pt x="1032" y="1343"/>
                    <a:pt x="1032" y="1343"/>
                    <a:pt x="1032" y="1343"/>
                  </a:cubicBezTo>
                  <a:cubicBezTo>
                    <a:pt x="1032" y="1507"/>
                    <a:pt x="1032" y="1507"/>
                    <a:pt x="1032" y="1507"/>
                  </a:cubicBezTo>
                  <a:cubicBezTo>
                    <a:pt x="1000" y="1507"/>
                    <a:pt x="1000" y="1507"/>
                    <a:pt x="1000" y="1507"/>
                  </a:cubicBezTo>
                  <a:cubicBezTo>
                    <a:pt x="1000" y="1343"/>
                    <a:pt x="1000" y="1343"/>
                    <a:pt x="1000" y="1343"/>
                  </a:cubicBezTo>
                  <a:cubicBezTo>
                    <a:pt x="953" y="1343"/>
                    <a:pt x="953" y="1343"/>
                    <a:pt x="953" y="1343"/>
                  </a:cubicBezTo>
                  <a:cubicBezTo>
                    <a:pt x="953" y="1343"/>
                    <a:pt x="953" y="1343"/>
                    <a:pt x="953" y="1343"/>
                  </a:cubicBezTo>
                  <a:cubicBezTo>
                    <a:pt x="900" y="1507"/>
                    <a:pt x="900" y="1507"/>
                    <a:pt x="900" y="1507"/>
                  </a:cubicBezTo>
                  <a:cubicBezTo>
                    <a:pt x="869" y="1507"/>
                    <a:pt x="869" y="1507"/>
                    <a:pt x="869" y="1507"/>
                  </a:cubicBezTo>
                  <a:cubicBezTo>
                    <a:pt x="815" y="1361"/>
                    <a:pt x="815" y="1361"/>
                    <a:pt x="815" y="1361"/>
                  </a:cubicBezTo>
                  <a:cubicBezTo>
                    <a:pt x="814" y="1361"/>
                    <a:pt x="814" y="1361"/>
                    <a:pt x="814" y="1361"/>
                  </a:cubicBezTo>
                  <a:cubicBezTo>
                    <a:pt x="766" y="1507"/>
                    <a:pt x="766" y="1507"/>
                    <a:pt x="766" y="1507"/>
                  </a:cubicBezTo>
                  <a:cubicBezTo>
                    <a:pt x="733" y="1507"/>
                    <a:pt x="733" y="1507"/>
                    <a:pt x="733" y="1507"/>
                  </a:cubicBezTo>
                  <a:cubicBezTo>
                    <a:pt x="671" y="1317"/>
                    <a:pt x="671" y="1317"/>
                    <a:pt x="671" y="1317"/>
                  </a:cubicBezTo>
                  <a:cubicBezTo>
                    <a:pt x="706" y="1317"/>
                    <a:pt x="706" y="1317"/>
                    <a:pt x="706" y="1317"/>
                  </a:cubicBezTo>
                  <a:cubicBezTo>
                    <a:pt x="750" y="1463"/>
                    <a:pt x="750" y="1463"/>
                    <a:pt x="750" y="1463"/>
                  </a:cubicBezTo>
                  <a:cubicBezTo>
                    <a:pt x="751" y="1463"/>
                    <a:pt x="751" y="1463"/>
                    <a:pt x="751" y="1463"/>
                  </a:cubicBezTo>
                  <a:cubicBezTo>
                    <a:pt x="800" y="1317"/>
                    <a:pt x="800" y="1317"/>
                    <a:pt x="800" y="1317"/>
                  </a:cubicBezTo>
                  <a:cubicBezTo>
                    <a:pt x="833" y="1317"/>
                    <a:pt x="833" y="1317"/>
                    <a:pt x="833" y="1317"/>
                  </a:cubicBezTo>
                  <a:cubicBezTo>
                    <a:pt x="883" y="1463"/>
                    <a:pt x="883" y="1463"/>
                    <a:pt x="883" y="1463"/>
                  </a:cubicBezTo>
                  <a:cubicBezTo>
                    <a:pt x="884" y="1463"/>
                    <a:pt x="884" y="1463"/>
                    <a:pt x="884" y="1463"/>
                  </a:cubicBezTo>
                  <a:cubicBezTo>
                    <a:pt x="927" y="1317"/>
                    <a:pt x="927" y="1317"/>
                    <a:pt x="927" y="1317"/>
                  </a:cubicBezTo>
                  <a:cubicBezTo>
                    <a:pt x="953" y="1317"/>
                    <a:pt x="953" y="1317"/>
                    <a:pt x="953" y="1317"/>
                  </a:cubicBezTo>
                  <a:cubicBezTo>
                    <a:pt x="961" y="1317"/>
                    <a:pt x="961" y="1317"/>
                    <a:pt x="961" y="1317"/>
                  </a:cubicBezTo>
                  <a:cubicBezTo>
                    <a:pt x="1000" y="1317"/>
                    <a:pt x="1000" y="1317"/>
                    <a:pt x="1000" y="1317"/>
                  </a:cubicBezTo>
                  <a:cubicBezTo>
                    <a:pt x="1000" y="1274"/>
                    <a:pt x="1000" y="1274"/>
                    <a:pt x="1000" y="1274"/>
                  </a:cubicBezTo>
                  <a:cubicBezTo>
                    <a:pt x="1000" y="1228"/>
                    <a:pt x="1016" y="1195"/>
                    <a:pt x="1068" y="1195"/>
                  </a:cubicBezTo>
                  <a:cubicBezTo>
                    <a:pt x="1076" y="1195"/>
                    <a:pt x="1086" y="1196"/>
                    <a:pt x="1092" y="1200"/>
                  </a:cubicBezTo>
                  <a:cubicBezTo>
                    <a:pt x="1088" y="1228"/>
                    <a:pt x="1088" y="1228"/>
                    <a:pt x="1088" y="1228"/>
                  </a:cubicBezTo>
                  <a:cubicBezTo>
                    <a:pt x="1081" y="1226"/>
                    <a:pt x="1073" y="1224"/>
                    <a:pt x="1066" y="1224"/>
                  </a:cubicBezTo>
                  <a:cubicBezTo>
                    <a:pt x="1033" y="1224"/>
                    <a:pt x="1032" y="1248"/>
                    <a:pt x="1032" y="1281"/>
                  </a:cubicBezTo>
                  <a:close/>
                  <a:moveTo>
                    <a:pt x="1191" y="1312"/>
                  </a:moveTo>
                  <a:cubicBezTo>
                    <a:pt x="1133" y="1312"/>
                    <a:pt x="1090" y="1352"/>
                    <a:pt x="1090" y="1412"/>
                  </a:cubicBezTo>
                  <a:cubicBezTo>
                    <a:pt x="1090" y="1471"/>
                    <a:pt x="1133" y="1512"/>
                    <a:pt x="1191" y="1512"/>
                  </a:cubicBezTo>
                  <a:cubicBezTo>
                    <a:pt x="1250" y="1512"/>
                    <a:pt x="1293" y="1471"/>
                    <a:pt x="1293" y="1412"/>
                  </a:cubicBezTo>
                  <a:cubicBezTo>
                    <a:pt x="1293" y="1352"/>
                    <a:pt x="1250" y="1312"/>
                    <a:pt x="1191" y="1312"/>
                  </a:cubicBezTo>
                  <a:close/>
                  <a:moveTo>
                    <a:pt x="1191" y="1482"/>
                  </a:moveTo>
                  <a:cubicBezTo>
                    <a:pt x="1150" y="1482"/>
                    <a:pt x="1124" y="1452"/>
                    <a:pt x="1124" y="1412"/>
                  </a:cubicBezTo>
                  <a:cubicBezTo>
                    <a:pt x="1124" y="1372"/>
                    <a:pt x="1150" y="1341"/>
                    <a:pt x="1191" y="1341"/>
                  </a:cubicBezTo>
                  <a:cubicBezTo>
                    <a:pt x="1233" y="1341"/>
                    <a:pt x="1259" y="1372"/>
                    <a:pt x="1259" y="1412"/>
                  </a:cubicBezTo>
                  <a:cubicBezTo>
                    <a:pt x="1259" y="1452"/>
                    <a:pt x="1233" y="1482"/>
                    <a:pt x="1191" y="1482"/>
                  </a:cubicBezTo>
                  <a:close/>
                  <a:moveTo>
                    <a:pt x="1497" y="1389"/>
                  </a:moveTo>
                  <a:cubicBezTo>
                    <a:pt x="1497" y="1507"/>
                    <a:pt x="1497" y="1507"/>
                    <a:pt x="1497" y="1507"/>
                  </a:cubicBezTo>
                  <a:cubicBezTo>
                    <a:pt x="1465" y="1507"/>
                    <a:pt x="1465" y="1507"/>
                    <a:pt x="1465" y="1507"/>
                  </a:cubicBezTo>
                  <a:cubicBezTo>
                    <a:pt x="1465" y="1393"/>
                    <a:pt x="1465" y="1393"/>
                    <a:pt x="1465" y="1393"/>
                  </a:cubicBezTo>
                  <a:cubicBezTo>
                    <a:pt x="1465" y="1361"/>
                    <a:pt x="1452" y="1341"/>
                    <a:pt x="1422" y="1341"/>
                  </a:cubicBezTo>
                  <a:cubicBezTo>
                    <a:pt x="1381" y="1341"/>
                    <a:pt x="1363" y="1371"/>
                    <a:pt x="1363" y="1414"/>
                  </a:cubicBezTo>
                  <a:cubicBezTo>
                    <a:pt x="1363" y="1507"/>
                    <a:pt x="1363" y="1507"/>
                    <a:pt x="1363" y="1507"/>
                  </a:cubicBezTo>
                  <a:cubicBezTo>
                    <a:pt x="1331" y="1507"/>
                    <a:pt x="1331" y="1507"/>
                    <a:pt x="1331" y="1507"/>
                  </a:cubicBezTo>
                  <a:cubicBezTo>
                    <a:pt x="1331" y="1362"/>
                    <a:pt x="1331" y="1362"/>
                    <a:pt x="1331" y="1362"/>
                  </a:cubicBezTo>
                  <a:cubicBezTo>
                    <a:pt x="1331" y="1344"/>
                    <a:pt x="1330" y="1329"/>
                    <a:pt x="1330" y="1317"/>
                  </a:cubicBezTo>
                  <a:cubicBezTo>
                    <a:pt x="1360" y="1317"/>
                    <a:pt x="1360" y="1317"/>
                    <a:pt x="1360" y="1317"/>
                  </a:cubicBezTo>
                  <a:cubicBezTo>
                    <a:pt x="1360" y="1327"/>
                    <a:pt x="1360" y="1337"/>
                    <a:pt x="1360" y="1348"/>
                  </a:cubicBezTo>
                  <a:cubicBezTo>
                    <a:pt x="1361" y="1348"/>
                    <a:pt x="1361" y="1348"/>
                    <a:pt x="1361" y="1348"/>
                  </a:cubicBezTo>
                  <a:cubicBezTo>
                    <a:pt x="1370" y="1329"/>
                    <a:pt x="1393" y="1312"/>
                    <a:pt x="1425" y="1312"/>
                  </a:cubicBezTo>
                  <a:cubicBezTo>
                    <a:pt x="1475" y="1312"/>
                    <a:pt x="1497" y="1343"/>
                    <a:pt x="1497" y="1389"/>
                  </a:cubicBezTo>
                  <a:close/>
                  <a:moveTo>
                    <a:pt x="1707" y="1344"/>
                  </a:moveTo>
                  <a:cubicBezTo>
                    <a:pt x="1706" y="1344"/>
                    <a:pt x="1706" y="1344"/>
                    <a:pt x="1706" y="1344"/>
                  </a:cubicBezTo>
                  <a:cubicBezTo>
                    <a:pt x="1689" y="1324"/>
                    <a:pt x="1666" y="1312"/>
                    <a:pt x="1638" y="1312"/>
                  </a:cubicBezTo>
                  <a:cubicBezTo>
                    <a:pt x="1578" y="1312"/>
                    <a:pt x="1538" y="1354"/>
                    <a:pt x="1538" y="1412"/>
                  </a:cubicBezTo>
                  <a:cubicBezTo>
                    <a:pt x="1538" y="1469"/>
                    <a:pt x="1580" y="1512"/>
                    <a:pt x="1633" y="1512"/>
                  </a:cubicBezTo>
                  <a:cubicBezTo>
                    <a:pt x="1667" y="1512"/>
                    <a:pt x="1695" y="1495"/>
                    <a:pt x="1706" y="1473"/>
                  </a:cubicBezTo>
                  <a:cubicBezTo>
                    <a:pt x="1707" y="1473"/>
                    <a:pt x="1707" y="1473"/>
                    <a:pt x="1707" y="1473"/>
                  </a:cubicBezTo>
                  <a:cubicBezTo>
                    <a:pt x="1707" y="1507"/>
                    <a:pt x="1707" y="1507"/>
                    <a:pt x="1707" y="1507"/>
                  </a:cubicBezTo>
                  <a:cubicBezTo>
                    <a:pt x="1739" y="1507"/>
                    <a:pt x="1739" y="1507"/>
                    <a:pt x="1739" y="1507"/>
                  </a:cubicBezTo>
                  <a:cubicBezTo>
                    <a:pt x="1739" y="1200"/>
                    <a:pt x="1739" y="1200"/>
                    <a:pt x="1739" y="1200"/>
                  </a:cubicBezTo>
                  <a:cubicBezTo>
                    <a:pt x="1707" y="1200"/>
                    <a:pt x="1707" y="1200"/>
                    <a:pt x="1707" y="1200"/>
                  </a:cubicBezTo>
                  <a:lnTo>
                    <a:pt x="1707" y="1344"/>
                  </a:lnTo>
                  <a:close/>
                  <a:moveTo>
                    <a:pt x="1640" y="1482"/>
                  </a:moveTo>
                  <a:cubicBezTo>
                    <a:pt x="1599" y="1482"/>
                    <a:pt x="1572" y="1452"/>
                    <a:pt x="1572" y="1412"/>
                  </a:cubicBezTo>
                  <a:cubicBezTo>
                    <a:pt x="1572" y="1372"/>
                    <a:pt x="1599" y="1341"/>
                    <a:pt x="1640" y="1341"/>
                  </a:cubicBezTo>
                  <a:cubicBezTo>
                    <a:pt x="1681" y="1341"/>
                    <a:pt x="1707" y="1372"/>
                    <a:pt x="1707" y="1412"/>
                  </a:cubicBezTo>
                  <a:cubicBezTo>
                    <a:pt x="1707" y="1452"/>
                    <a:pt x="1681" y="1482"/>
                    <a:pt x="1640" y="1482"/>
                  </a:cubicBezTo>
                  <a:close/>
                  <a:moveTo>
                    <a:pt x="1930" y="1452"/>
                  </a:moveTo>
                  <a:cubicBezTo>
                    <a:pt x="1930" y="1495"/>
                    <a:pt x="1891" y="1512"/>
                    <a:pt x="1854" y="1512"/>
                  </a:cubicBezTo>
                  <a:cubicBezTo>
                    <a:pt x="1821" y="1512"/>
                    <a:pt x="1798" y="1503"/>
                    <a:pt x="1780" y="1476"/>
                  </a:cubicBezTo>
                  <a:cubicBezTo>
                    <a:pt x="1805" y="1457"/>
                    <a:pt x="1805" y="1457"/>
                    <a:pt x="1805" y="1457"/>
                  </a:cubicBezTo>
                  <a:cubicBezTo>
                    <a:pt x="1817" y="1472"/>
                    <a:pt x="1831" y="1482"/>
                    <a:pt x="1854" y="1482"/>
                  </a:cubicBezTo>
                  <a:cubicBezTo>
                    <a:pt x="1873" y="1482"/>
                    <a:pt x="1895" y="1474"/>
                    <a:pt x="1895" y="1453"/>
                  </a:cubicBezTo>
                  <a:cubicBezTo>
                    <a:pt x="1895" y="1433"/>
                    <a:pt x="1875" y="1428"/>
                    <a:pt x="1855" y="1423"/>
                  </a:cubicBezTo>
                  <a:cubicBezTo>
                    <a:pt x="1819" y="1415"/>
                    <a:pt x="1788" y="1407"/>
                    <a:pt x="1788" y="1368"/>
                  </a:cubicBezTo>
                  <a:cubicBezTo>
                    <a:pt x="1788" y="1331"/>
                    <a:pt x="1823" y="1312"/>
                    <a:pt x="1859" y="1312"/>
                  </a:cubicBezTo>
                  <a:cubicBezTo>
                    <a:pt x="1886" y="1312"/>
                    <a:pt x="1910" y="1322"/>
                    <a:pt x="1923" y="1346"/>
                  </a:cubicBezTo>
                  <a:cubicBezTo>
                    <a:pt x="1897" y="1364"/>
                    <a:pt x="1897" y="1364"/>
                    <a:pt x="1897" y="1364"/>
                  </a:cubicBezTo>
                  <a:cubicBezTo>
                    <a:pt x="1889" y="1350"/>
                    <a:pt x="1875" y="1341"/>
                    <a:pt x="1857" y="1341"/>
                  </a:cubicBezTo>
                  <a:cubicBezTo>
                    <a:pt x="1839" y="1341"/>
                    <a:pt x="1819" y="1350"/>
                    <a:pt x="1819" y="1367"/>
                  </a:cubicBezTo>
                  <a:cubicBezTo>
                    <a:pt x="1819" y="1383"/>
                    <a:pt x="1842" y="1390"/>
                    <a:pt x="1867" y="1395"/>
                  </a:cubicBezTo>
                  <a:cubicBezTo>
                    <a:pt x="1901" y="1402"/>
                    <a:pt x="1930" y="1414"/>
                    <a:pt x="1930" y="14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19" name="Freeform 22">
              <a:extLst>
                <a:ext uri="{FF2B5EF4-FFF2-40B4-BE49-F238E27FC236}">
                  <a16:creationId xmlns:a16="http://schemas.microsoft.com/office/drawing/2014/main" id="{056F825F-F1D7-4C48-9C9A-4621405E9A59}"/>
                </a:ext>
              </a:extLst>
            </p:cNvPr>
            <p:cNvSpPr>
              <a:spLocks noSelect="1"/>
            </p:cNvSpPr>
            <p:nvPr userDrawn="1"/>
          </p:nvSpPr>
          <p:spPr bwMode="gray">
            <a:xfrm>
              <a:off x="402" y="3915"/>
              <a:ext cx="124" cy="124"/>
            </a:xfrm>
            <a:custGeom>
              <a:avLst/>
              <a:gdLst>
                <a:gd name="T0" fmla="*/ 124 w 124"/>
                <a:gd name="T1" fmla="*/ 80 h 124"/>
                <a:gd name="T2" fmla="*/ 80 w 124"/>
                <a:gd name="T3" fmla="*/ 124 h 124"/>
                <a:gd name="T4" fmla="*/ 0 w 124"/>
                <a:gd name="T5" fmla="*/ 44 h 124"/>
                <a:gd name="T6" fmla="*/ 43 w 124"/>
                <a:gd name="T7" fmla="*/ 0 h 124"/>
                <a:gd name="T8" fmla="*/ 84 w 124"/>
                <a:gd name="T9" fmla="*/ 40 h 124"/>
                <a:gd name="T10" fmla="*/ 124 w 124"/>
                <a:gd name="T11" fmla="*/ 80 h 124"/>
              </a:gdLst>
              <a:ahLst/>
              <a:cxnLst>
                <a:cxn ang="0">
                  <a:pos x="T0" y="T1"/>
                </a:cxn>
                <a:cxn ang="0">
                  <a:pos x="T2" y="T3"/>
                </a:cxn>
                <a:cxn ang="0">
                  <a:pos x="T4" y="T5"/>
                </a:cxn>
                <a:cxn ang="0">
                  <a:pos x="T6" y="T7"/>
                </a:cxn>
                <a:cxn ang="0">
                  <a:pos x="T8" y="T9"/>
                </a:cxn>
                <a:cxn ang="0">
                  <a:pos x="T10" y="T11"/>
                </a:cxn>
              </a:cxnLst>
              <a:rect l="0" t="0" r="r" b="b"/>
              <a:pathLst>
                <a:path w="124" h="124">
                  <a:moveTo>
                    <a:pt x="124" y="80"/>
                  </a:moveTo>
                  <a:lnTo>
                    <a:pt x="80" y="124"/>
                  </a:lnTo>
                  <a:lnTo>
                    <a:pt x="0" y="44"/>
                  </a:lnTo>
                  <a:lnTo>
                    <a:pt x="43" y="0"/>
                  </a:lnTo>
                  <a:lnTo>
                    <a:pt x="84" y="40"/>
                  </a:lnTo>
                  <a:lnTo>
                    <a:pt x="124" y="80"/>
                  </a:lnTo>
                  <a:close/>
                </a:path>
              </a:pathLst>
            </a:custGeom>
            <a:solidFill>
              <a:srgbClr val="C737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0" name="Freeform 23">
              <a:extLst>
                <a:ext uri="{FF2B5EF4-FFF2-40B4-BE49-F238E27FC236}">
                  <a16:creationId xmlns:a16="http://schemas.microsoft.com/office/drawing/2014/main" id="{20761D69-0BF0-4357-8229-0996157BCDCD}"/>
                </a:ext>
              </a:extLst>
            </p:cNvPr>
            <p:cNvSpPr>
              <a:spLocks noSelect="1"/>
            </p:cNvSpPr>
            <p:nvPr userDrawn="1"/>
          </p:nvSpPr>
          <p:spPr bwMode="gray">
            <a:xfrm>
              <a:off x="438" y="3873"/>
              <a:ext cx="124" cy="89"/>
            </a:xfrm>
            <a:custGeom>
              <a:avLst/>
              <a:gdLst>
                <a:gd name="T0" fmla="*/ 124 w 124"/>
                <a:gd name="T1" fmla="*/ 6 h 89"/>
                <a:gd name="T2" fmla="*/ 120 w 124"/>
                <a:gd name="T3" fmla="*/ 14 h 89"/>
                <a:gd name="T4" fmla="*/ 47 w 124"/>
                <a:gd name="T5" fmla="*/ 89 h 89"/>
                <a:gd name="T6" fmla="*/ 0 w 124"/>
                <a:gd name="T7" fmla="*/ 41 h 89"/>
                <a:gd name="T8" fmla="*/ 44 w 124"/>
                <a:gd name="T9" fmla="*/ 0 h 89"/>
                <a:gd name="T10" fmla="*/ 124 w 124"/>
                <a:gd name="T11" fmla="*/ 6 h 89"/>
              </a:gdLst>
              <a:ahLst/>
              <a:cxnLst>
                <a:cxn ang="0">
                  <a:pos x="T0" y="T1"/>
                </a:cxn>
                <a:cxn ang="0">
                  <a:pos x="T2" y="T3"/>
                </a:cxn>
                <a:cxn ang="0">
                  <a:pos x="T4" y="T5"/>
                </a:cxn>
                <a:cxn ang="0">
                  <a:pos x="T6" y="T7"/>
                </a:cxn>
                <a:cxn ang="0">
                  <a:pos x="T8" y="T9"/>
                </a:cxn>
                <a:cxn ang="0">
                  <a:pos x="T10" y="T11"/>
                </a:cxn>
              </a:cxnLst>
              <a:rect l="0" t="0" r="r" b="b"/>
              <a:pathLst>
                <a:path w="124" h="89">
                  <a:moveTo>
                    <a:pt x="124" y="6"/>
                  </a:moveTo>
                  <a:lnTo>
                    <a:pt x="120" y="14"/>
                  </a:lnTo>
                  <a:lnTo>
                    <a:pt x="47" y="89"/>
                  </a:lnTo>
                  <a:lnTo>
                    <a:pt x="0" y="41"/>
                  </a:lnTo>
                  <a:lnTo>
                    <a:pt x="44" y="0"/>
                  </a:lnTo>
                  <a:lnTo>
                    <a:pt x="124" y="6"/>
                  </a:lnTo>
                  <a:close/>
                </a:path>
              </a:pathLst>
            </a:custGeom>
            <a:solidFill>
              <a:srgbClr val="9C1E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1" name="Freeform 24">
              <a:extLst>
                <a:ext uri="{FF2B5EF4-FFF2-40B4-BE49-F238E27FC236}">
                  <a16:creationId xmlns:a16="http://schemas.microsoft.com/office/drawing/2014/main" id="{4C3FBA13-5216-47D4-9895-D18AEC111867}"/>
                </a:ext>
              </a:extLst>
            </p:cNvPr>
            <p:cNvSpPr>
              <a:spLocks noSelect="1"/>
            </p:cNvSpPr>
            <p:nvPr userDrawn="1"/>
          </p:nvSpPr>
          <p:spPr bwMode="gray">
            <a:xfrm>
              <a:off x="482" y="3879"/>
              <a:ext cx="83" cy="122"/>
            </a:xfrm>
            <a:custGeom>
              <a:avLst/>
              <a:gdLst>
                <a:gd name="T0" fmla="*/ 80 w 83"/>
                <a:gd name="T1" fmla="*/ 0 h 122"/>
                <a:gd name="T2" fmla="*/ 83 w 83"/>
                <a:gd name="T3" fmla="*/ 80 h 122"/>
                <a:gd name="T4" fmla="*/ 42 w 83"/>
                <a:gd name="T5" fmla="*/ 122 h 122"/>
                <a:gd name="T6" fmla="*/ 0 w 83"/>
                <a:gd name="T7" fmla="*/ 80 h 122"/>
                <a:gd name="T8" fmla="*/ 80 w 83"/>
                <a:gd name="T9" fmla="*/ 0 h 122"/>
              </a:gdLst>
              <a:ahLst/>
              <a:cxnLst>
                <a:cxn ang="0">
                  <a:pos x="T0" y="T1"/>
                </a:cxn>
                <a:cxn ang="0">
                  <a:pos x="T2" y="T3"/>
                </a:cxn>
                <a:cxn ang="0">
                  <a:pos x="T4" y="T5"/>
                </a:cxn>
                <a:cxn ang="0">
                  <a:pos x="T6" y="T7"/>
                </a:cxn>
                <a:cxn ang="0">
                  <a:pos x="T8" y="T9"/>
                </a:cxn>
              </a:cxnLst>
              <a:rect l="0" t="0" r="r" b="b"/>
              <a:pathLst>
                <a:path w="83" h="122">
                  <a:moveTo>
                    <a:pt x="80" y="0"/>
                  </a:moveTo>
                  <a:lnTo>
                    <a:pt x="83" y="80"/>
                  </a:lnTo>
                  <a:lnTo>
                    <a:pt x="42" y="122"/>
                  </a:lnTo>
                  <a:lnTo>
                    <a:pt x="0" y="80"/>
                  </a:lnTo>
                  <a:lnTo>
                    <a:pt x="80" y="0"/>
                  </a:lnTo>
                  <a:close/>
                </a:path>
              </a:pathLst>
            </a:custGeom>
            <a:solidFill>
              <a:srgbClr val="C816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2" name="Freeform 25">
              <a:extLst>
                <a:ext uri="{FF2B5EF4-FFF2-40B4-BE49-F238E27FC236}">
                  <a16:creationId xmlns:a16="http://schemas.microsoft.com/office/drawing/2014/main" id="{63FE74A7-7D46-4DDA-9223-2CC2BBEA887D}"/>
                </a:ext>
              </a:extLst>
            </p:cNvPr>
            <p:cNvSpPr>
              <a:spLocks noSelect="1"/>
            </p:cNvSpPr>
            <p:nvPr userDrawn="1"/>
          </p:nvSpPr>
          <p:spPr bwMode="gray">
            <a:xfrm>
              <a:off x="522" y="3879"/>
              <a:ext cx="120" cy="160"/>
            </a:xfrm>
            <a:custGeom>
              <a:avLst/>
              <a:gdLst>
                <a:gd name="T0" fmla="*/ 120 w 120"/>
                <a:gd name="T1" fmla="*/ 0 h 160"/>
                <a:gd name="T2" fmla="*/ 120 w 120"/>
                <a:gd name="T3" fmla="*/ 80 h 160"/>
                <a:gd name="T4" fmla="*/ 40 w 120"/>
                <a:gd name="T5" fmla="*/ 160 h 160"/>
                <a:gd name="T6" fmla="*/ 0 w 120"/>
                <a:gd name="T7" fmla="*/ 120 h 160"/>
                <a:gd name="T8" fmla="*/ 40 w 120"/>
                <a:gd name="T9" fmla="*/ 80 h 160"/>
                <a:gd name="T10" fmla="*/ 40 w 120"/>
                <a:gd name="T11" fmla="*/ 0 h 160"/>
                <a:gd name="T12" fmla="*/ 120 w 120"/>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20" h="160">
                  <a:moveTo>
                    <a:pt x="120" y="0"/>
                  </a:moveTo>
                  <a:lnTo>
                    <a:pt x="120" y="80"/>
                  </a:lnTo>
                  <a:lnTo>
                    <a:pt x="40" y="160"/>
                  </a:lnTo>
                  <a:lnTo>
                    <a:pt x="0" y="120"/>
                  </a:lnTo>
                  <a:lnTo>
                    <a:pt x="40" y="80"/>
                  </a:lnTo>
                  <a:lnTo>
                    <a:pt x="40" y="0"/>
                  </a:lnTo>
                  <a:lnTo>
                    <a:pt x="120" y="0"/>
                  </a:lnTo>
                  <a:close/>
                </a:path>
              </a:pathLst>
            </a:custGeom>
            <a:solidFill>
              <a:srgbClr val="BFCE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3" name="Freeform 26">
              <a:extLst>
                <a:ext uri="{FF2B5EF4-FFF2-40B4-BE49-F238E27FC236}">
                  <a16:creationId xmlns:a16="http://schemas.microsoft.com/office/drawing/2014/main" id="{AE6F7C02-17F5-4A71-95E5-AB7D4FD984E8}"/>
                </a:ext>
              </a:extLst>
            </p:cNvPr>
            <p:cNvSpPr>
              <a:spLocks noSelect="1"/>
            </p:cNvSpPr>
            <p:nvPr userDrawn="1"/>
          </p:nvSpPr>
          <p:spPr bwMode="gray">
            <a:xfrm>
              <a:off x="402" y="3799"/>
              <a:ext cx="160" cy="120"/>
            </a:xfrm>
            <a:custGeom>
              <a:avLst/>
              <a:gdLst>
                <a:gd name="T0" fmla="*/ 160 w 160"/>
                <a:gd name="T1" fmla="*/ 0 h 120"/>
                <a:gd name="T2" fmla="*/ 160 w 160"/>
                <a:gd name="T3" fmla="*/ 80 h 120"/>
                <a:gd name="T4" fmla="*/ 80 w 160"/>
                <a:gd name="T5" fmla="*/ 80 h 120"/>
                <a:gd name="T6" fmla="*/ 40 w 160"/>
                <a:gd name="T7" fmla="*/ 120 h 120"/>
                <a:gd name="T8" fmla="*/ 0 w 160"/>
                <a:gd name="T9" fmla="*/ 80 h 120"/>
                <a:gd name="T10" fmla="*/ 80 w 160"/>
                <a:gd name="T11" fmla="*/ 0 h 120"/>
                <a:gd name="T12" fmla="*/ 160 w 160"/>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60" h="120">
                  <a:moveTo>
                    <a:pt x="160" y="0"/>
                  </a:moveTo>
                  <a:lnTo>
                    <a:pt x="160" y="80"/>
                  </a:lnTo>
                  <a:lnTo>
                    <a:pt x="80" y="80"/>
                  </a:lnTo>
                  <a:lnTo>
                    <a:pt x="40" y="120"/>
                  </a:lnTo>
                  <a:lnTo>
                    <a:pt x="0" y="80"/>
                  </a:lnTo>
                  <a:lnTo>
                    <a:pt x="80" y="0"/>
                  </a:lnTo>
                  <a:lnTo>
                    <a:pt x="160" y="0"/>
                  </a:lnTo>
                  <a:close/>
                </a:path>
              </a:pathLst>
            </a:custGeom>
            <a:solidFill>
              <a:srgbClr val="78BC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grpSp>
      <p:sp>
        <p:nvSpPr>
          <p:cNvPr id="27" name="Tijdelijke aanduiding voor afbeelding 18">
            <a:extLst>
              <a:ext uri="{FF2B5EF4-FFF2-40B4-BE49-F238E27FC236}">
                <a16:creationId xmlns:a16="http://schemas.microsoft.com/office/drawing/2014/main" id="{723EA62C-02CD-4C68-B68D-DEC4F61E0C2F}"/>
              </a:ext>
            </a:extLst>
          </p:cNvPr>
          <p:cNvSpPr>
            <a:spLocks noGrp="1" noSelect="1"/>
          </p:cNvSpPr>
          <p:nvPr>
            <p:ph type="pic" idx="1002" hasCustomPrompt="1"/>
          </p:nvPr>
        </p:nvSpPr>
        <p:spPr bwMode="gray">
          <a:xfrm>
            <a:off x="0" y="1588"/>
            <a:ext cx="12195001" cy="3424172"/>
          </a:xfrm>
          <a:custGeom>
            <a:avLst/>
            <a:gdLst>
              <a:gd name="connsiteX0" fmla="*/ 0 w 12195001"/>
              <a:gd name="connsiteY0" fmla="*/ 0 h 3424172"/>
              <a:gd name="connsiteX1" fmla="*/ 12195001 w 12195001"/>
              <a:gd name="connsiteY1" fmla="*/ 0 h 3424172"/>
              <a:gd name="connsiteX2" fmla="*/ 12195001 w 12195001"/>
              <a:gd name="connsiteY2" fmla="*/ 3424172 h 3424172"/>
              <a:gd name="connsiteX3" fmla="*/ 1144522 w 12195001"/>
              <a:gd name="connsiteY3" fmla="*/ 3424172 h 3424172"/>
              <a:gd name="connsiteX4" fmla="*/ 0 w 12195001"/>
              <a:gd name="connsiteY4" fmla="*/ 2282825 h 3424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5001" h="3424172">
                <a:moveTo>
                  <a:pt x="0" y="0"/>
                </a:moveTo>
                <a:lnTo>
                  <a:pt x="12195001" y="0"/>
                </a:lnTo>
                <a:lnTo>
                  <a:pt x="12195001" y="3424172"/>
                </a:lnTo>
                <a:lnTo>
                  <a:pt x="1144522" y="3424172"/>
                </a:lnTo>
                <a:lnTo>
                  <a:pt x="0" y="2282825"/>
                </a:lnTo>
                <a:close/>
              </a:path>
            </a:pathLst>
          </a:custGeom>
          <a:blipFill>
            <a:blip r:embed="rId4"/>
            <a:stretch>
              <a:fillRect/>
            </a:stretch>
          </a:blipFill>
        </p:spPr>
        <p:txBody>
          <a:bodyPr wrap="square">
            <a:noAutofit/>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28" name="+++Freeform 7 (PHJU)">
            <a:extLst>
              <a:ext uri="{FF2B5EF4-FFF2-40B4-BE49-F238E27FC236}">
                <a16:creationId xmlns:a16="http://schemas.microsoft.com/office/drawing/2014/main" id="{A0A06089-3BC5-4754-BE2B-DA06BCF70FED}"/>
              </a:ext>
            </a:extLst>
          </p:cNvPr>
          <p:cNvSpPr>
            <a:spLocks noGrp="1" noSelect="1"/>
          </p:cNvSpPr>
          <p:nvPr>
            <p:ph type="body" idx="1001" hasCustomPrompt="1"/>
            <p:custDataLst>
              <p:custData r:id="rId1"/>
            </p:custDataLst>
          </p:nvPr>
        </p:nvSpPr>
        <p:spPr bwMode="gray">
          <a:xfrm>
            <a:off x="570600" y="2286720"/>
            <a:ext cx="11626921" cy="1147680"/>
          </a:xfrm>
          <a:custGeom>
            <a:avLst/>
            <a:gdLst>
              <a:gd name="T0" fmla="*/ 363 w 7324"/>
              <a:gd name="T1" fmla="*/ 723 h 723"/>
              <a:gd name="T2" fmla="*/ 7324 w 7324"/>
              <a:gd name="T3" fmla="*/ 723 h 723"/>
              <a:gd name="T4" fmla="*/ 7324 w 7324"/>
              <a:gd name="T5" fmla="*/ 0 h 723"/>
              <a:gd name="T6" fmla="*/ 363 w 7324"/>
              <a:gd name="T7" fmla="*/ 0 h 723"/>
              <a:gd name="T8" fmla="*/ 0 w 7324"/>
              <a:gd name="T9" fmla="*/ 362 h 723"/>
              <a:gd name="T10" fmla="*/ 363 w 7324"/>
              <a:gd name="T11" fmla="*/ 723 h 723"/>
            </a:gdLst>
            <a:ahLst/>
            <a:cxnLst>
              <a:cxn ang="0">
                <a:pos x="T0" y="T1"/>
              </a:cxn>
              <a:cxn ang="0">
                <a:pos x="T2" y="T3"/>
              </a:cxn>
              <a:cxn ang="0">
                <a:pos x="T4" y="T5"/>
              </a:cxn>
              <a:cxn ang="0">
                <a:pos x="T6" y="T7"/>
              </a:cxn>
              <a:cxn ang="0">
                <a:pos x="T8" y="T9"/>
              </a:cxn>
              <a:cxn ang="0">
                <a:pos x="T10" y="T11"/>
              </a:cxn>
            </a:cxnLst>
            <a:rect l="0" t="0" r="r" b="b"/>
            <a:pathLst>
              <a:path w="7324" h="723">
                <a:moveTo>
                  <a:pt x="363" y="723"/>
                </a:moveTo>
                <a:lnTo>
                  <a:pt x="7324" y="723"/>
                </a:lnTo>
                <a:lnTo>
                  <a:pt x="7324" y="0"/>
                </a:lnTo>
                <a:lnTo>
                  <a:pt x="363" y="0"/>
                </a:lnTo>
                <a:lnTo>
                  <a:pt x="0" y="362"/>
                </a:lnTo>
                <a:lnTo>
                  <a:pt x="363" y="723"/>
                </a:lnTo>
                <a:close/>
              </a:path>
            </a:pathLst>
          </a:custGeom>
          <a:solidFill>
            <a:srgbClr val="58525A">
              <a:alpha val="80000"/>
            </a:srgbClr>
          </a:solidFill>
          <a:ln>
            <a:noFill/>
          </a:ln>
        </p:spPr>
        <p:txBody>
          <a:bodyPr vert="horz" wrap="square" lIns="91440" tIns="45720" rIns="91440" bIns="45720" numCol="1" anchor="t" anchorCtr="0" compatLnSpc="1">
            <a:prstTxWarp prst="textNoShape">
              <a:avLst/>
            </a:prstTxWarp>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25" name="+++Freeform 7 (PHJU)">
            <a:extLst>
              <a:ext uri="{FF2B5EF4-FFF2-40B4-BE49-F238E27FC236}">
                <a16:creationId xmlns:a16="http://schemas.microsoft.com/office/drawing/2014/main" id="{9928A58C-0207-499D-AEDF-3756447297BD}"/>
              </a:ext>
            </a:extLst>
          </p:cNvPr>
          <p:cNvSpPr>
            <a:spLocks noGrp="1" noSelect="1"/>
          </p:cNvSpPr>
          <p:nvPr>
            <p:ph type="body" idx="1003" hasCustomPrompt="1"/>
            <p:custDataLst>
              <p:custData r:id="rId2"/>
            </p:custDataLst>
          </p:nvPr>
        </p:nvSpPr>
        <p:spPr bwMode="gray">
          <a:xfrm>
            <a:off x="560519" y="2286722"/>
            <a:ext cx="11636640" cy="1147680"/>
          </a:xfrm>
          <a:custGeom>
            <a:avLst/>
            <a:gdLst>
              <a:gd name="T0" fmla="*/ 363 w 7324"/>
              <a:gd name="T1" fmla="*/ 723 h 723"/>
              <a:gd name="T2" fmla="*/ 7324 w 7324"/>
              <a:gd name="T3" fmla="*/ 723 h 723"/>
              <a:gd name="T4" fmla="*/ 7324 w 7324"/>
              <a:gd name="T5" fmla="*/ 0 h 723"/>
              <a:gd name="T6" fmla="*/ 363 w 7324"/>
              <a:gd name="T7" fmla="*/ 0 h 723"/>
              <a:gd name="T8" fmla="*/ 0 w 7324"/>
              <a:gd name="T9" fmla="*/ 362 h 723"/>
              <a:gd name="T10" fmla="*/ 363 w 7324"/>
              <a:gd name="T11" fmla="*/ 723 h 723"/>
            </a:gdLst>
            <a:ahLst/>
            <a:cxnLst>
              <a:cxn ang="0">
                <a:pos x="T0" y="T1"/>
              </a:cxn>
              <a:cxn ang="0">
                <a:pos x="T2" y="T3"/>
              </a:cxn>
              <a:cxn ang="0">
                <a:pos x="T4" y="T5"/>
              </a:cxn>
              <a:cxn ang="0">
                <a:pos x="T6" y="T7"/>
              </a:cxn>
              <a:cxn ang="0">
                <a:pos x="T8" y="T9"/>
              </a:cxn>
              <a:cxn ang="0">
                <a:pos x="T10" y="T11"/>
              </a:cxn>
            </a:cxnLst>
            <a:rect l="0" t="0" r="r" b="b"/>
            <a:pathLst>
              <a:path w="7324" h="723">
                <a:moveTo>
                  <a:pt x="363" y="723"/>
                </a:moveTo>
                <a:lnTo>
                  <a:pt x="7324" y="723"/>
                </a:lnTo>
                <a:lnTo>
                  <a:pt x="7324" y="0"/>
                </a:lnTo>
                <a:lnTo>
                  <a:pt x="363" y="0"/>
                </a:lnTo>
                <a:lnTo>
                  <a:pt x="0" y="362"/>
                </a:lnTo>
                <a:lnTo>
                  <a:pt x="363" y="723"/>
                </a:lnTo>
                <a:close/>
              </a:path>
            </a:pathLst>
          </a:custGeom>
          <a:solidFill>
            <a:srgbClr val="C73735">
              <a:alpha val="80000"/>
            </a:srgbClr>
          </a:solidFill>
          <a:ln>
            <a:noFill/>
          </a:ln>
        </p:spPr>
        <p:txBody>
          <a:bodyPr vert="horz" wrap="square" lIns="91440" tIns="45720" rIns="91440" bIns="45720" numCol="1" anchor="t" anchorCtr="0" compatLnSpc="1">
            <a:prstTxWarp prst="textNoShape">
              <a:avLst/>
            </a:prstTxWarp>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3" name="Ondertitel 2"/>
          <p:cNvSpPr>
            <a:spLocks noGrp="1" noSelect="1"/>
          </p:cNvSpPr>
          <p:nvPr>
            <p:ph type="subTitle" idx="1" hasCustomPrompt="1"/>
          </p:nvPr>
        </p:nvSpPr>
        <p:spPr bwMode="gray">
          <a:xfrm>
            <a:off x="1152000" y="2697840"/>
            <a:ext cx="10404000" cy="324000"/>
          </a:xfrm>
        </p:spPr>
        <p:txBody>
          <a:bodyPr anchor="ctr" anchorCtr="0">
            <a:noAutofit/>
          </a:bodyPr>
          <a:lstStyle>
            <a:lvl1pPr marL="0" indent="0" algn="l">
              <a:lnSpc>
                <a:spcPct val="100000"/>
              </a:lnSpc>
              <a:buNone/>
              <a:defRPr sz="1800" b="1" i="0" cap="all" spc="70" baseline="0">
                <a:solidFill>
                  <a:schemeClr val="bg1"/>
                </a:solidFill>
                <a:latin typeface="Univers" panose="020B0603020202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noProof="1"/>
              <a:t>[presentator en/of datum]</a:t>
            </a:r>
          </a:p>
        </p:txBody>
      </p:sp>
      <p:sp>
        <p:nvSpPr>
          <p:cNvPr id="35" name="witdriehoek">
            <a:extLst>
              <a:ext uri="{FF2B5EF4-FFF2-40B4-BE49-F238E27FC236}">
                <a16:creationId xmlns:a16="http://schemas.microsoft.com/office/drawing/2014/main" id="{A23ECEBB-E203-4DB6-929E-388329F41EA3}"/>
              </a:ext>
            </a:extLst>
          </p:cNvPr>
          <p:cNvSpPr>
            <a:spLocks noSelect="1"/>
          </p:cNvSpPr>
          <p:nvPr userDrawn="1"/>
        </p:nvSpPr>
        <p:spPr bwMode="auto">
          <a:xfrm>
            <a:off x="0" y="2287588"/>
            <a:ext cx="571500" cy="1141413"/>
          </a:xfrm>
          <a:custGeom>
            <a:avLst/>
            <a:gdLst>
              <a:gd name="T0" fmla="*/ 360 w 360"/>
              <a:gd name="T1" fmla="*/ 360 h 719"/>
              <a:gd name="T2" fmla="*/ 0 w 360"/>
              <a:gd name="T3" fmla="*/ 719 h 719"/>
              <a:gd name="T4" fmla="*/ 0 w 360"/>
              <a:gd name="T5" fmla="*/ 0 h 719"/>
              <a:gd name="T6" fmla="*/ 360 w 360"/>
              <a:gd name="T7" fmla="*/ 360 h 719"/>
            </a:gdLst>
            <a:ahLst/>
            <a:cxnLst>
              <a:cxn ang="0">
                <a:pos x="T0" y="T1"/>
              </a:cxn>
              <a:cxn ang="0">
                <a:pos x="T2" y="T3"/>
              </a:cxn>
              <a:cxn ang="0">
                <a:pos x="T4" y="T5"/>
              </a:cxn>
              <a:cxn ang="0">
                <a:pos x="T6" y="T7"/>
              </a:cxn>
            </a:cxnLst>
            <a:rect l="0" t="0" r="r" b="b"/>
            <a:pathLst>
              <a:path w="360" h="719">
                <a:moveTo>
                  <a:pt x="360" y="360"/>
                </a:moveTo>
                <a:lnTo>
                  <a:pt x="0" y="719"/>
                </a:lnTo>
                <a:lnTo>
                  <a:pt x="0" y="0"/>
                </a:lnTo>
                <a:lnTo>
                  <a:pt x="360" y="3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x-none"/>
          </a:p>
        </p:txBody>
      </p:sp>
      <p:sp>
        <p:nvSpPr>
          <p:cNvPr id="36" name="kleurdriehoek">
            <a:extLst>
              <a:ext uri="{FF2B5EF4-FFF2-40B4-BE49-F238E27FC236}">
                <a16:creationId xmlns:a16="http://schemas.microsoft.com/office/drawing/2014/main" id="{738822A3-2E2B-4C87-A572-2F11EB242026}"/>
              </a:ext>
            </a:extLst>
          </p:cNvPr>
          <p:cNvSpPr>
            <a:spLocks noSelect="1"/>
          </p:cNvSpPr>
          <p:nvPr userDrawn="1"/>
        </p:nvSpPr>
        <p:spPr bwMode="auto">
          <a:xfrm>
            <a:off x="0" y="2859088"/>
            <a:ext cx="1144588" cy="569913"/>
          </a:xfrm>
          <a:custGeom>
            <a:avLst/>
            <a:gdLst>
              <a:gd name="T0" fmla="*/ 360 w 721"/>
              <a:gd name="T1" fmla="*/ 0 h 359"/>
              <a:gd name="T2" fmla="*/ 721 w 721"/>
              <a:gd name="T3" fmla="*/ 359 h 359"/>
              <a:gd name="T4" fmla="*/ 0 w 721"/>
              <a:gd name="T5" fmla="*/ 359 h 359"/>
              <a:gd name="T6" fmla="*/ 360 w 721"/>
              <a:gd name="T7" fmla="*/ 0 h 359"/>
            </a:gdLst>
            <a:ahLst/>
            <a:cxnLst>
              <a:cxn ang="0">
                <a:pos x="T0" y="T1"/>
              </a:cxn>
              <a:cxn ang="0">
                <a:pos x="T2" y="T3"/>
              </a:cxn>
              <a:cxn ang="0">
                <a:pos x="T4" y="T5"/>
              </a:cxn>
              <a:cxn ang="0">
                <a:pos x="T6" y="T7"/>
              </a:cxn>
            </a:cxnLst>
            <a:rect l="0" t="0" r="r" b="b"/>
            <a:pathLst>
              <a:path w="721" h="359">
                <a:moveTo>
                  <a:pt x="360" y="0"/>
                </a:moveTo>
                <a:lnTo>
                  <a:pt x="721" y="359"/>
                </a:lnTo>
                <a:lnTo>
                  <a:pt x="0" y="359"/>
                </a:lnTo>
                <a:lnTo>
                  <a:pt x="360" y="0"/>
                </a:lnTo>
                <a:close/>
              </a:path>
            </a:pathLst>
          </a:custGeom>
          <a:solidFill>
            <a:srgbClr val="C73735"/>
          </a:solidFill>
          <a:ln>
            <a:noFill/>
          </a:ln>
        </p:spPr>
        <p:txBody>
          <a:bodyPr vert="horz" wrap="square" lIns="91440" tIns="45720" rIns="91440" bIns="45720" numCol="1" anchor="t" anchorCtr="0" compatLnSpc="1">
            <a:prstTxWarp prst="textNoShape">
              <a:avLst/>
            </a:prstTxWarp>
          </a:bodyPr>
          <a:lstStyle/>
          <a:p>
            <a:endParaRPr lang="x-none"/>
          </a:p>
        </p:txBody>
      </p:sp>
    </p:spTree>
    <p:extLst>
      <p:ext uri="{BB962C8B-B14F-4D97-AF65-F5344CB8AC3E}">
        <p14:creationId xmlns:p14="http://schemas.microsoft.com/office/powerpoint/2010/main" val="39337477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5000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700" fill="hold"/>
                                        <p:tgtEl>
                                          <p:spTgt spid="27"/>
                                        </p:tgtEl>
                                        <p:attrNameLst>
                                          <p:attrName>ppt_x</p:attrName>
                                        </p:attrNameLst>
                                      </p:cBhvr>
                                      <p:tavLst>
                                        <p:tav tm="0">
                                          <p:val>
                                            <p:strVal val="#ppt_x"/>
                                          </p:val>
                                        </p:tav>
                                        <p:tav tm="100000">
                                          <p:val>
                                            <p:strVal val="#ppt_x"/>
                                          </p:val>
                                        </p:tav>
                                      </p:tavLst>
                                    </p:anim>
                                    <p:anim calcmode="lin" valueType="num">
                                      <p:cBhvr additive="base">
                                        <p:cTn id="8" dur="700" fill="hold"/>
                                        <p:tgtEl>
                                          <p:spTgt spid="27"/>
                                        </p:tgtEl>
                                        <p:attrNameLst>
                                          <p:attrName>ppt_y</p:attrName>
                                        </p:attrNameLst>
                                      </p:cBhvr>
                                      <p:tavLst>
                                        <p:tav tm="0">
                                          <p:val>
                                            <p:strVal val="0-#ppt_h/2"/>
                                          </p:val>
                                        </p:tav>
                                        <p:tav tm="100000">
                                          <p:val>
                                            <p:strVal val="#ppt_y"/>
                                          </p:val>
                                        </p:tav>
                                      </p:tavLst>
                                    </p:anim>
                                  </p:childTnLst>
                                </p:cTn>
                              </p:par>
                              <p:par>
                                <p:cTn id="9" presetID="2" presetClass="entr" presetSubtype="4" decel="50000" fill="hold" nodeType="withEffect">
                                  <p:stCondLst>
                                    <p:cond delay="0"/>
                                  </p:stCondLst>
                                  <p:childTnLst>
                                    <p:set>
                                      <p:cBhvr>
                                        <p:cTn id="10" dur="1" fill="hold">
                                          <p:stCondLst>
                                            <p:cond delay="0"/>
                                          </p:stCondLst>
                                        </p:cTn>
                                        <p:tgtEl>
                                          <p:spTgt spid="24"/>
                                        </p:tgtEl>
                                        <p:attrNameLst>
                                          <p:attrName>style.visibility</p:attrName>
                                        </p:attrNameLst>
                                      </p:cBhvr>
                                      <p:to>
                                        <p:strVal val="visible"/>
                                      </p:to>
                                    </p:set>
                                    <p:anim calcmode="lin" valueType="num">
                                      <p:cBhvr additive="base">
                                        <p:cTn id="11" dur="700" fill="hold"/>
                                        <p:tgtEl>
                                          <p:spTgt spid="24"/>
                                        </p:tgtEl>
                                        <p:attrNameLst>
                                          <p:attrName>ppt_x</p:attrName>
                                        </p:attrNameLst>
                                      </p:cBhvr>
                                      <p:tavLst>
                                        <p:tav tm="0">
                                          <p:val>
                                            <p:strVal val="#ppt_x"/>
                                          </p:val>
                                        </p:tav>
                                        <p:tav tm="100000">
                                          <p:val>
                                            <p:strVal val="#ppt_x"/>
                                          </p:val>
                                        </p:tav>
                                      </p:tavLst>
                                    </p:anim>
                                    <p:anim calcmode="lin" valueType="num">
                                      <p:cBhvr additive="base">
                                        <p:cTn id="12" dur="700" fill="hold"/>
                                        <p:tgtEl>
                                          <p:spTgt spid="24"/>
                                        </p:tgtEl>
                                        <p:attrNameLst>
                                          <p:attrName>ppt_y</p:attrName>
                                        </p:attrNameLst>
                                      </p:cBhvr>
                                      <p:tavLst>
                                        <p:tav tm="0">
                                          <p:val>
                                            <p:strVal val="1+#ppt_h/2"/>
                                          </p:val>
                                        </p:tav>
                                        <p:tav tm="100000">
                                          <p:val>
                                            <p:strVal val="#ppt_y"/>
                                          </p:val>
                                        </p:tav>
                                      </p:tavLst>
                                    </p:anim>
                                  </p:childTnLst>
                                </p:cTn>
                              </p:par>
                              <p:par>
                                <p:cTn id="13" presetID="64" presetClass="path" presetSubtype="0" decel="62500" fill="hold" grpId="0" nodeType="withEffect">
                                  <p:stCondLst>
                                    <p:cond delay="0"/>
                                  </p:stCondLst>
                                  <p:childTnLst>
                                    <p:animMotion origin="layout" path="M 1.91617E-6 -0.57523 L 1.91617E-6 -7.40741E-7 " pathEditMode="relative" rAng="0" ptsTypes="AA">
                                      <p:cBhvr>
                                        <p:cTn id="14" dur="800" fill="hold"/>
                                        <p:tgtEl>
                                          <p:spTgt spid="2"/>
                                        </p:tgtEl>
                                        <p:attrNameLst>
                                          <p:attrName>ppt_x</p:attrName>
                                          <p:attrName>ppt_y</p:attrName>
                                        </p:attrNameLst>
                                      </p:cBhvr>
                                      <p:rCtr x="0" y="28750"/>
                                    </p:animMotion>
                                  </p:childTnLst>
                                </p:cTn>
                              </p:par>
                              <p:par>
                                <p:cTn id="15" presetID="10" presetClass="entr" presetSubtype="0" fill="hold" grpId="0" nodeType="withEffect">
                                  <p:stCondLst>
                                    <p:cond delay="500"/>
                                  </p:stCondLst>
                                  <p:childTnLst>
                                    <p:set>
                                      <p:cBhvr>
                                        <p:cTn id="16" dur="1" fill="hold">
                                          <p:stCondLst>
                                            <p:cond delay="0"/>
                                          </p:stCondLst>
                                        </p:cTn>
                                        <p:tgtEl>
                                          <p:spTgt spid="28">
                                            <p:bg/>
                                          </p:spTgt>
                                        </p:tgtEl>
                                        <p:attrNameLst>
                                          <p:attrName>style.visibility</p:attrName>
                                        </p:attrNameLst>
                                      </p:cBhvr>
                                      <p:to>
                                        <p:strVal val="visible"/>
                                      </p:to>
                                    </p:set>
                                    <p:animEffect transition="in" filter="fade">
                                      <p:cBhvr>
                                        <p:cTn id="17" dur="200"/>
                                        <p:tgtEl>
                                          <p:spTgt spid="28">
                                            <p:bg/>
                                          </p:spTgt>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28">
                                            <p:txEl>
                                              <p:pRg st="0" end="0"/>
                                            </p:txEl>
                                          </p:spTgt>
                                        </p:tgtEl>
                                        <p:attrNameLst>
                                          <p:attrName>style.visibility</p:attrName>
                                        </p:attrNameLst>
                                      </p:cBhvr>
                                      <p:to>
                                        <p:strVal val="visible"/>
                                      </p:to>
                                    </p:set>
                                    <p:animEffect transition="in" filter="fade">
                                      <p:cBhvr>
                                        <p:cTn id="20" dur="200"/>
                                        <p:tgtEl>
                                          <p:spTgt spid="28">
                                            <p:txEl>
                                              <p:pRg st="0" end="0"/>
                                            </p:txEl>
                                          </p:spTgt>
                                        </p:tgtEl>
                                      </p:cBhvr>
                                    </p:animEffect>
                                  </p:childTnLst>
                                </p:cTn>
                              </p:par>
                              <p:par>
                                <p:cTn id="21" presetID="10" presetClass="entr" presetSubtype="0" fill="hold" grpId="0" nodeType="withEffect">
                                  <p:stCondLst>
                                    <p:cond delay="500"/>
                                  </p:stCondLst>
                                  <p:childTnLst>
                                    <p:set>
                                      <p:cBhvr>
                                        <p:cTn id="22" dur="1" fill="hold">
                                          <p:stCondLst>
                                            <p:cond delay="0"/>
                                          </p:stCondLst>
                                        </p:cTn>
                                        <p:tgtEl>
                                          <p:spTgt spid="25">
                                            <p:bg/>
                                          </p:spTgt>
                                        </p:tgtEl>
                                        <p:attrNameLst>
                                          <p:attrName>style.visibility</p:attrName>
                                        </p:attrNameLst>
                                      </p:cBhvr>
                                      <p:to>
                                        <p:strVal val="visible"/>
                                      </p:to>
                                    </p:set>
                                    <p:animEffect transition="in" filter="fade">
                                      <p:cBhvr>
                                        <p:cTn id="23" dur="200"/>
                                        <p:tgtEl>
                                          <p:spTgt spid="25">
                                            <p:bg/>
                                          </p:spTgt>
                                        </p:tgtEl>
                                      </p:cBhvr>
                                    </p:animEffect>
                                  </p:childTnLst>
                                </p:cTn>
                              </p:par>
                              <p:par>
                                <p:cTn id="24" presetID="10" presetClass="entr" presetSubtype="0" fill="hold" grpId="0" nodeType="withEffect">
                                  <p:stCondLst>
                                    <p:cond delay="500"/>
                                  </p:stCondLst>
                                  <p:childTnLst>
                                    <p:set>
                                      <p:cBhvr>
                                        <p:cTn id="25" dur="1" fill="hold">
                                          <p:stCondLst>
                                            <p:cond delay="0"/>
                                          </p:stCondLst>
                                        </p:cTn>
                                        <p:tgtEl>
                                          <p:spTgt spid="25">
                                            <p:txEl>
                                              <p:pRg st="0" end="0"/>
                                            </p:txEl>
                                          </p:spTgt>
                                        </p:tgtEl>
                                        <p:attrNameLst>
                                          <p:attrName>style.visibility</p:attrName>
                                        </p:attrNameLst>
                                      </p:cBhvr>
                                      <p:to>
                                        <p:strVal val="visible"/>
                                      </p:to>
                                    </p:set>
                                    <p:animEffect transition="in" filter="fade">
                                      <p:cBhvr>
                                        <p:cTn id="26" dur="200"/>
                                        <p:tgtEl>
                                          <p:spTgt spid="25">
                                            <p:txEl>
                                              <p:pRg st="0" end="0"/>
                                            </p:txEl>
                                          </p:spTgt>
                                        </p:tgtEl>
                                      </p:cBhvr>
                                    </p:animEffect>
                                  </p:childTnLst>
                                </p:cTn>
                              </p:par>
                            </p:childTnLst>
                          </p:cTn>
                        </p:par>
                        <p:par>
                          <p:cTn id="27" fill="hold">
                            <p:stCondLst>
                              <p:cond delay="800"/>
                            </p:stCondLst>
                            <p:childTnLst>
                              <p:par>
                                <p:cTn id="28" presetID="10" presetClass="entr" presetSubtype="0" fill="hold" grpId="0" nodeType="afterEffect">
                                  <p:stCondLst>
                                    <p:cond delay="0"/>
                                  </p:stCondLst>
                                  <p:childTnLst>
                                    <p:set>
                                      <p:cBhvr>
                                        <p:cTn id="29" dur="1" fill="hold">
                                          <p:stCondLst>
                                            <p:cond delay="0"/>
                                          </p:stCondLst>
                                        </p:cTn>
                                        <p:tgtEl>
                                          <p:spTgt spid="3">
                                            <p:txEl>
                                              <p:pRg st="0" end="0"/>
                                            </p:txEl>
                                          </p:spTgt>
                                        </p:tgtEl>
                                        <p:attrNameLst>
                                          <p:attrName>style.visibility</p:attrName>
                                        </p:attrNameLst>
                                      </p:cBhvr>
                                      <p:to>
                                        <p:strVal val="visible"/>
                                      </p:to>
                                    </p:set>
                                    <p:animEffect transition="in" filter="fade">
                                      <p:cBhvr>
                                        <p:cTn id="30" dur="500"/>
                                        <p:tgtEl>
                                          <p:spTgt spid="3">
                                            <p:txEl>
                                              <p:pRg st="0" end="0"/>
                                            </p:txEl>
                                          </p:spTgt>
                                        </p:tgtEl>
                                      </p:cBhvr>
                                    </p:animEffect>
                                  </p:childTnLst>
                                </p:cTn>
                              </p:par>
                            </p:childTnLst>
                          </p:cTn>
                        </p:par>
                        <p:par>
                          <p:cTn id="31" fill="hold">
                            <p:stCondLst>
                              <p:cond delay="1300"/>
                            </p:stCondLst>
                            <p:childTnLst>
                              <p:par>
                                <p:cTn id="32" presetID="1" presetClass="entr" presetSubtype="0" fill="hold" grpId="0" nodeType="afterEffect">
                                  <p:stCondLst>
                                    <p:cond delay="0"/>
                                  </p:stCondLst>
                                  <p:childTnLst>
                                    <p:set>
                                      <p:cBhvr>
                                        <p:cTn id="33"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7" grpId="0" animBg="1"/>
      <p:bldP spid="28" grpId="0" build="p" animBg="1">
        <p:tmplLst>
          <p:tmpl>
            <p:tnLst>
              <p:par>
                <p:cTn presetID="10" presetClass="entr" presetSubtype="0" fill="hold" nodeType="withEffect">
                  <p:stCondLst>
                    <p:cond delay="500"/>
                  </p:stCondLst>
                  <p:childTnLst>
                    <p:set>
                      <p:cBhvr>
                        <p:cTn dur="1" fill="hold">
                          <p:stCondLst>
                            <p:cond delay="0"/>
                          </p:stCondLst>
                        </p:cTn>
                        <p:tgtEl>
                          <p:spTgt spid="28"/>
                        </p:tgtEl>
                        <p:attrNameLst>
                          <p:attrName>style.visibility</p:attrName>
                        </p:attrNameLst>
                      </p:cBhvr>
                      <p:to>
                        <p:strVal val="visible"/>
                      </p:to>
                    </p:set>
                    <p:animEffect transition="in" filter="fade">
                      <p:cBhvr>
                        <p:cTn dur="200"/>
                        <p:tgtEl>
                          <p:spTgt spid="28"/>
                        </p:tgtEl>
                      </p:cBhvr>
                    </p:animEffect>
                  </p:childTnLst>
                </p:cTn>
              </p:par>
            </p:tnLst>
          </p:tmpl>
          <p:tmpl lvl="1">
            <p:tnLst>
              <p:par>
                <p:cTn presetID="10" presetClass="entr" presetSubtype="0" fill="hold" nodeType="withEffect">
                  <p:stCondLst>
                    <p:cond delay="500"/>
                  </p:stCondLst>
                  <p:childTnLst>
                    <p:set>
                      <p:cBhvr>
                        <p:cTn dur="1" fill="hold">
                          <p:stCondLst>
                            <p:cond delay="0"/>
                          </p:stCondLst>
                        </p:cTn>
                        <p:tgtEl>
                          <p:spTgt spid="28"/>
                        </p:tgtEl>
                        <p:attrNameLst>
                          <p:attrName>style.visibility</p:attrName>
                        </p:attrNameLst>
                      </p:cBhvr>
                      <p:to>
                        <p:strVal val="visible"/>
                      </p:to>
                    </p:set>
                    <p:animEffect transition="in" filter="fade">
                      <p:cBhvr>
                        <p:cTn dur="200"/>
                        <p:tgtEl>
                          <p:spTgt spid="28"/>
                        </p:tgtEl>
                      </p:cBhvr>
                    </p:animEffect>
                  </p:childTnLst>
                </p:cTn>
              </p:par>
            </p:tnLst>
          </p:tmpl>
        </p:tmplLst>
      </p:bldP>
      <p:bldP spid="25" grpId="0" uiExpand="1" build="p" animBg="1">
        <p:tmplLst>
          <p:tmpl>
            <p:tnLst>
              <p:par>
                <p:cTn presetID="10" presetClass="entr" presetSubtype="0" fill="hold" nodeType="withEffect">
                  <p:stCondLst>
                    <p:cond delay="500"/>
                  </p:stCondLst>
                  <p:childTnLst>
                    <p:set>
                      <p:cBhvr>
                        <p:cTn dur="1" fill="hold">
                          <p:stCondLst>
                            <p:cond delay="0"/>
                          </p:stCondLst>
                        </p:cTn>
                        <p:tgtEl>
                          <p:spTgt spid="25"/>
                        </p:tgtEl>
                        <p:attrNameLst>
                          <p:attrName>style.visibility</p:attrName>
                        </p:attrNameLst>
                      </p:cBhvr>
                      <p:to>
                        <p:strVal val="visible"/>
                      </p:to>
                    </p:set>
                    <p:animEffect transition="in" filter="fade">
                      <p:cBhvr>
                        <p:cTn dur="200"/>
                        <p:tgtEl>
                          <p:spTgt spid="25"/>
                        </p:tgtEl>
                      </p:cBhvr>
                    </p:animEffect>
                  </p:childTnLst>
                </p:cTn>
              </p:par>
            </p:tnLst>
          </p:tmpl>
          <p:tmpl lvl="1">
            <p:tnLst>
              <p:par>
                <p:cTn presetID="10" presetClass="entr" presetSubtype="0" fill="hold" nodeType="withEffect">
                  <p:stCondLst>
                    <p:cond delay="500"/>
                  </p:stCondLst>
                  <p:childTnLst>
                    <p:set>
                      <p:cBhvr>
                        <p:cTn dur="1" fill="hold">
                          <p:stCondLst>
                            <p:cond delay="0"/>
                          </p:stCondLst>
                        </p:cTn>
                        <p:tgtEl>
                          <p:spTgt spid="25"/>
                        </p:tgtEl>
                        <p:attrNameLst>
                          <p:attrName>style.visibility</p:attrName>
                        </p:attrNameLst>
                      </p:cBhvr>
                      <p:to>
                        <p:strVal val="visible"/>
                      </p:to>
                    </p:set>
                    <p:animEffect transition="in" filter="fade">
                      <p:cBhvr>
                        <p:cTn dur="200"/>
                        <p:tgtEl>
                          <p:spTgt spid="25"/>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36" grpId="0" animBg="1"/>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dia (paars)">
    <p:spTree>
      <p:nvGrpSpPr>
        <p:cNvPr id="1" name=""/>
        <p:cNvGrpSpPr/>
        <p:nvPr/>
      </p:nvGrpSpPr>
      <p:grpSpPr>
        <a:xfrm>
          <a:off x="0" y="0"/>
          <a:ext cx="0" cy="0"/>
          <a:chOff x="0" y="0"/>
          <a:chExt cx="0" cy="0"/>
        </a:xfrm>
      </p:grpSpPr>
      <p:sp>
        <p:nvSpPr>
          <p:cNvPr id="34" name="Rechthoek 33">
            <a:extLst>
              <a:ext uri="{FF2B5EF4-FFF2-40B4-BE49-F238E27FC236}">
                <a16:creationId xmlns:a16="http://schemas.microsoft.com/office/drawing/2014/main" id="{718EC266-BF8E-4109-A338-D19DEDE2FF93}"/>
              </a:ext>
            </a:extLst>
          </p:cNvPr>
          <p:cNvSpPr>
            <a:spLocks noSelect="1"/>
          </p:cNvSpPr>
          <p:nvPr userDrawn="1"/>
        </p:nvSpPr>
        <p:spPr>
          <a:xfrm>
            <a:off x="568800" y="5913276"/>
            <a:ext cx="2648467" cy="79208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29" name="Groep 28"/>
          <p:cNvGrpSpPr>
            <a:grpSpLocks noSelect="1"/>
          </p:cNvGrpSpPr>
          <p:nvPr userDrawn="1"/>
        </p:nvGrpSpPr>
        <p:grpSpPr bwMode="gray">
          <a:xfrm>
            <a:off x="0" y="0"/>
            <a:ext cx="12195361" cy="3430800"/>
            <a:chOff x="0" y="0"/>
            <a:chExt cx="12195361" cy="3430800"/>
          </a:xfrm>
        </p:grpSpPr>
        <p:sp>
          <p:nvSpPr>
            <p:cNvPr id="30" name="Vrije vorm: vorm 21">
              <a:extLst>
                <a:ext uri="{FF2B5EF4-FFF2-40B4-BE49-F238E27FC236}">
                  <a16:creationId xmlns:a16="http://schemas.microsoft.com/office/drawing/2014/main" id="{42B59DBA-BA95-45B7-ADE2-AE5D47A19F6A}"/>
                </a:ext>
              </a:extLst>
            </p:cNvPr>
            <p:cNvSpPr>
              <a:spLocks noSelect="1"/>
            </p:cNvSpPr>
            <p:nvPr userDrawn="1"/>
          </p:nvSpPr>
          <p:spPr bwMode="gray">
            <a:xfrm>
              <a:off x="0" y="1588"/>
              <a:ext cx="12195361" cy="3428492"/>
            </a:xfrm>
            <a:custGeom>
              <a:avLst/>
              <a:gdLst>
                <a:gd name="connsiteX0" fmla="*/ 0 w 12195361"/>
                <a:gd name="connsiteY0" fmla="*/ 0 h 3428492"/>
                <a:gd name="connsiteX1" fmla="*/ 12195175 w 12195361"/>
                <a:gd name="connsiteY1" fmla="*/ 0 h 3428492"/>
                <a:gd name="connsiteX2" fmla="*/ 12195175 w 12195361"/>
                <a:gd name="connsiteY2" fmla="*/ 2280812 h 3428492"/>
                <a:gd name="connsiteX3" fmla="*/ 12195361 w 12195361"/>
                <a:gd name="connsiteY3" fmla="*/ 2280812 h 3428492"/>
                <a:gd name="connsiteX4" fmla="*/ 12195361 w 12195361"/>
                <a:gd name="connsiteY4" fmla="*/ 3428492 h 3428492"/>
                <a:gd name="connsiteX5" fmla="*/ 1144706 w 12195361"/>
                <a:gd name="connsiteY5" fmla="*/ 3428492 h 3428492"/>
                <a:gd name="connsiteX6" fmla="*/ 568440 w 12195361"/>
                <a:gd name="connsiteY6" fmla="*/ 2855446 h 3428492"/>
                <a:gd name="connsiteX7" fmla="*/ 571327 w 12195361"/>
                <a:gd name="connsiteY7" fmla="*/ 2852567 h 3428492"/>
                <a:gd name="connsiteX8" fmla="*/ 0 w 12195361"/>
                <a:gd name="connsiteY8" fmla="*/ 2282825 h 3428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5361" h="3428492">
                  <a:moveTo>
                    <a:pt x="0" y="0"/>
                  </a:moveTo>
                  <a:lnTo>
                    <a:pt x="12195175" y="0"/>
                  </a:lnTo>
                  <a:lnTo>
                    <a:pt x="12195175" y="2280812"/>
                  </a:lnTo>
                  <a:lnTo>
                    <a:pt x="12195361" y="2280812"/>
                  </a:lnTo>
                  <a:lnTo>
                    <a:pt x="12195361" y="3428492"/>
                  </a:lnTo>
                  <a:lnTo>
                    <a:pt x="1144706" y="3428492"/>
                  </a:lnTo>
                  <a:lnTo>
                    <a:pt x="568440" y="2855446"/>
                  </a:lnTo>
                  <a:lnTo>
                    <a:pt x="571327" y="2852567"/>
                  </a:lnTo>
                  <a:lnTo>
                    <a:pt x="0" y="2282825"/>
                  </a:ln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nl-NL" dirty="0"/>
            </a:p>
          </p:txBody>
        </p:sp>
        <p:grpSp>
          <p:nvGrpSpPr>
            <p:cNvPr id="31" name="Groep 30">
              <a:extLst>
                <a:ext uri="{FF2B5EF4-FFF2-40B4-BE49-F238E27FC236}">
                  <a16:creationId xmlns:a16="http://schemas.microsoft.com/office/drawing/2014/main" id="{3873E23E-2AA0-4882-B53A-EBC2D14DD876}"/>
                </a:ext>
              </a:extLst>
            </p:cNvPr>
            <p:cNvGrpSpPr>
              <a:grpSpLocks noSelect="1"/>
            </p:cNvGrpSpPr>
            <p:nvPr userDrawn="1"/>
          </p:nvGrpSpPr>
          <p:grpSpPr bwMode="gray">
            <a:xfrm>
              <a:off x="6477000" y="0"/>
              <a:ext cx="5718176" cy="3430800"/>
              <a:chOff x="6477000" y="0"/>
              <a:chExt cx="5718176" cy="3433763"/>
            </a:xfrm>
          </p:grpSpPr>
          <p:sp>
            <p:nvSpPr>
              <p:cNvPr id="32" name="gradient">
                <a:extLst>
                  <a:ext uri="{FF2B5EF4-FFF2-40B4-BE49-F238E27FC236}">
                    <a16:creationId xmlns:a16="http://schemas.microsoft.com/office/drawing/2014/main" id="{3C3E3EA2-EE28-49B3-BD2C-C03B459A331A}"/>
                  </a:ext>
                </a:extLst>
              </p:cNvPr>
              <p:cNvSpPr>
                <a:spLocks noSelect="1"/>
              </p:cNvSpPr>
              <p:nvPr userDrawn="1"/>
            </p:nvSpPr>
            <p:spPr bwMode="gray">
              <a:xfrm>
                <a:off x="6477000" y="0"/>
                <a:ext cx="5718175" cy="3433763"/>
              </a:xfrm>
              <a:custGeom>
                <a:avLst/>
                <a:gdLst>
                  <a:gd name="T0" fmla="*/ 6507 w 18007"/>
                  <a:gd name="T1" fmla="*/ 10581 h 10826"/>
                  <a:gd name="T2" fmla="*/ 649 w 18007"/>
                  <a:gd name="T3" fmla="*/ 10821 h 10826"/>
                  <a:gd name="T4" fmla="*/ 341 w 18007"/>
                  <a:gd name="T5" fmla="*/ 6929 h 10826"/>
                  <a:gd name="T6" fmla="*/ 11206 w 18007"/>
                  <a:gd name="T7" fmla="*/ 0 h 10826"/>
                  <a:gd name="T8" fmla="*/ 12553 w 18007"/>
                  <a:gd name="T9" fmla="*/ 1161 h 10826"/>
                  <a:gd name="T10" fmla="*/ 851 w 18007"/>
                  <a:gd name="T11" fmla="*/ 7565 h 10826"/>
                  <a:gd name="T12" fmla="*/ 5780 w 18007"/>
                  <a:gd name="T13" fmla="*/ 8936 h 10826"/>
                  <a:gd name="T14" fmla="*/ 4332 w 18007"/>
                  <a:gd name="T15" fmla="*/ 8301 h 10826"/>
                  <a:gd name="T16" fmla="*/ 7549 w 18007"/>
                  <a:gd name="T17" fmla="*/ 7278 h 10826"/>
                  <a:gd name="T18" fmla="*/ 2858 w 18007"/>
                  <a:gd name="T19" fmla="*/ 4471 h 10826"/>
                  <a:gd name="T20" fmla="*/ 6022 w 18007"/>
                  <a:gd name="T21" fmla="*/ 7243 h 10826"/>
                  <a:gd name="T22" fmla="*/ 2192 w 18007"/>
                  <a:gd name="T23" fmla="*/ 5715 h 10826"/>
                  <a:gd name="T24" fmla="*/ 5080 w 18007"/>
                  <a:gd name="T25" fmla="*/ 6914 h 10826"/>
                  <a:gd name="T26" fmla="*/ 5807 w 18007"/>
                  <a:gd name="T27" fmla="*/ 6996 h 10826"/>
                  <a:gd name="T28" fmla="*/ 6220 w 18007"/>
                  <a:gd name="T29" fmla="*/ 6242 h 10826"/>
                  <a:gd name="T30" fmla="*/ 4024 w 18007"/>
                  <a:gd name="T31" fmla="*/ 5405 h 10826"/>
                  <a:gd name="T32" fmla="*/ 2887 w 18007"/>
                  <a:gd name="T33" fmla="*/ 6684 h 10826"/>
                  <a:gd name="T34" fmla="*/ 3064 w 18007"/>
                  <a:gd name="T35" fmla="*/ 6526 h 10826"/>
                  <a:gd name="T36" fmla="*/ 5105 w 18007"/>
                  <a:gd name="T37" fmla="*/ 7252 h 10826"/>
                  <a:gd name="T38" fmla="*/ 7524 w 18007"/>
                  <a:gd name="T39" fmla="*/ 6421 h 10826"/>
                  <a:gd name="T40" fmla="*/ 2318 w 18007"/>
                  <a:gd name="T41" fmla="*/ 5443 h 10826"/>
                  <a:gd name="T42" fmla="*/ 1668 w 18007"/>
                  <a:gd name="T43" fmla="*/ 8325 h 10826"/>
                  <a:gd name="T44" fmla="*/ 2265 w 18007"/>
                  <a:gd name="T45" fmla="*/ 8625 h 10826"/>
                  <a:gd name="T46" fmla="*/ 7826 w 18007"/>
                  <a:gd name="T47" fmla="*/ 4965 h 10826"/>
                  <a:gd name="T48" fmla="*/ 2021 w 18007"/>
                  <a:gd name="T49" fmla="*/ 5129 h 10826"/>
                  <a:gd name="T50" fmla="*/ 1149 w 18007"/>
                  <a:gd name="T51" fmla="*/ 9500 h 10826"/>
                  <a:gd name="T52" fmla="*/ 4117 w 18007"/>
                  <a:gd name="T53" fmla="*/ 7990 h 10826"/>
                  <a:gd name="T54" fmla="*/ 4155 w 18007"/>
                  <a:gd name="T55" fmla="*/ 3711 h 10826"/>
                  <a:gd name="T56" fmla="*/ 924 w 18007"/>
                  <a:gd name="T57" fmla="*/ 8131 h 10826"/>
                  <a:gd name="T58" fmla="*/ 1765 w 18007"/>
                  <a:gd name="T59" fmla="*/ 10564 h 10826"/>
                  <a:gd name="T60" fmla="*/ 6634 w 18007"/>
                  <a:gd name="T61" fmla="*/ 7811 h 10826"/>
                  <a:gd name="T62" fmla="*/ 6911 w 18007"/>
                  <a:gd name="T63" fmla="*/ 8325 h 10826"/>
                  <a:gd name="T64" fmla="*/ 6457 w 18007"/>
                  <a:gd name="T65" fmla="*/ 9575 h 10826"/>
                  <a:gd name="T66" fmla="*/ 13236 w 18007"/>
                  <a:gd name="T67" fmla="*/ 4171 h 10826"/>
                  <a:gd name="T68" fmla="*/ 7287 w 18007"/>
                  <a:gd name="T69" fmla="*/ 1281 h 10826"/>
                  <a:gd name="T70" fmla="*/ 370 w 18007"/>
                  <a:gd name="T71" fmla="*/ 5948 h 10826"/>
                  <a:gd name="T72" fmla="*/ 3070 w 18007"/>
                  <a:gd name="T73" fmla="*/ 8838 h 10826"/>
                  <a:gd name="T74" fmla="*/ 4979 w 18007"/>
                  <a:gd name="T75" fmla="*/ 10591 h 10826"/>
                  <a:gd name="T76" fmla="*/ 11900 w 18007"/>
                  <a:gd name="T77" fmla="*/ 7091 h 10826"/>
                  <a:gd name="T78" fmla="*/ 7434 w 18007"/>
                  <a:gd name="T79" fmla="*/ 9745 h 10826"/>
                  <a:gd name="T80" fmla="*/ 5078 w 18007"/>
                  <a:gd name="T81" fmla="*/ 8904 h 10826"/>
                  <a:gd name="T82" fmla="*/ 6309 w 18007"/>
                  <a:gd name="T83" fmla="*/ 3223 h 10826"/>
                  <a:gd name="T84" fmla="*/ 3211 w 18007"/>
                  <a:gd name="T85" fmla="*/ 8151 h 10826"/>
                  <a:gd name="T86" fmla="*/ 4954 w 18007"/>
                  <a:gd name="T87" fmla="*/ 8316 h 10826"/>
                  <a:gd name="T88" fmla="*/ 7486 w 18007"/>
                  <a:gd name="T89" fmla="*/ 10720 h 10826"/>
                  <a:gd name="T90" fmla="*/ 3759 w 18007"/>
                  <a:gd name="T91" fmla="*/ 6843 h 10826"/>
                  <a:gd name="T92" fmla="*/ 1305 w 18007"/>
                  <a:gd name="T93" fmla="*/ 10558 h 10826"/>
                  <a:gd name="T94" fmla="*/ 4051 w 18007"/>
                  <a:gd name="T95" fmla="*/ 6831 h 10826"/>
                  <a:gd name="T96" fmla="*/ 2660 w 18007"/>
                  <a:gd name="T97" fmla="*/ 4348 h 10826"/>
                  <a:gd name="T98" fmla="*/ 8588 w 18007"/>
                  <a:gd name="T99" fmla="*/ 8574 h 10826"/>
                  <a:gd name="T100" fmla="*/ 344 w 18007"/>
                  <a:gd name="T101" fmla="*/ 7849 h 10826"/>
                  <a:gd name="T102" fmla="*/ 4888 w 18007"/>
                  <a:gd name="T103" fmla="*/ 5007 h 10826"/>
                  <a:gd name="T104" fmla="*/ 7659 w 18007"/>
                  <a:gd name="T105" fmla="*/ 9164 h 10826"/>
                  <a:gd name="T106" fmla="*/ 7948 w 18007"/>
                  <a:gd name="T107" fmla="*/ 7440 h 10826"/>
                  <a:gd name="T108" fmla="*/ 1008 w 18007"/>
                  <a:gd name="T109" fmla="*/ 7766 h 10826"/>
                  <a:gd name="T110" fmla="*/ 3513 w 18007"/>
                  <a:gd name="T111" fmla="*/ 9031 h 10826"/>
                  <a:gd name="T112" fmla="*/ 5580 w 18007"/>
                  <a:gd name="T113" fmla="*/ 9553 h 10826"/>
                  <a:gd name="T114" fmla="*/ 483 w 18007"/>
                  <a:gd name="T115" fmla="*/ 3708 h 10826"/>
                  <a:gd name="T116" fmla="*/ 1778 w 18007"/>
                  <a:gd name="T117" fmla="*/ 8551 h 10826"/>
                  <a:gd name="T118" fmla="*/ 3379 w 18007"/>
                  <a:gd name="T119" fmla="*/ 5194 h 10826"/>
                  <a:gd name="T120" fmla="*/ 1669 w 18007"/>
                  <a:gd name="T121" fmla="*/ 9953 h 10826"/>
                  <a:gd name="T122" fmla="*/ 212 w 18007"/>
                  <a:gd name="T123" fmla="*/ 9450 h 10826"/>
                  <a:gd name="T124" fmla="*/ 3295 w 18007"/>
                  <a:gd name="T125" fmla="*/ 10451 h 10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07" h="10826">
                    <a:moveTo>
                      <a:pt x="6493" y="10821"/>
                    </a:moveTo>
                    <a:cubicBezTo>
                      <a:pt x="6492" y="10821"/>
                      <a:pt x="6492" y="10821"/>
                      <a:pt x="6492" y="10821"/>
                    </a:cubicBezTo>
                    <a:cubicBezTo>
                      <a:pt x="6493" y="10821"/>
                      <a:pt x="6493" y="10821"/>
                      <a:pt x="6493" y="10821"/>
                    </a:cubicBezTo>
                    <a:close/>
                    <a:moveTo>
                      <a:pt x="3819" y="10821"/>
                    </a:moveTo>
                    <a:cubicBezTo>
                      <a:pt x="3791" y="10821"/>
                      <a:pt x="3791" y="10821"/>
                      <a:pt x="3791" y="10821"/>
                    </a:cubicBezTo>
                    <a:cubicBezTo>
                      <a:pt x="3799" y="10826"/>
                      <a:pt x="3799" y="10826"/>
                      <a:pt x="3799" y="10826"/>
                    </a:cubicBezTo>
                    <a:lnTo>
                      <a:pt x="3819" y="10821"/>
                    </a:lnTo>
                    <a:close/>
                    <a:moveTo>
                      <a:pt x="17889" y="692"/>
                    </a:moveTo>
                    <a:cubicBezTo>
                      <a:pt x="17927" y="666"/>
                      <a:pt x="17967" y="639"/>
                      <a:pt x="18007" y="610"/>
                    </a:cubicBezTo>
                    <a:cubicBezTo>
                      <a:pt x="18007" y="690"/>
                      <a:pt x="18007" y="690"/>
                      <a:pt x="18007" y="690"/>
                    </a:cubicBezTo>
                    <a:cubicBezTo>
                      <a:pt x="17980" y="709"/>
                      <a:pt x="17954" y="727"/>
                      <a:pt x="17929" y="744"/>
                    </a:cubicBezTo>
                    <a:cubicBezTo>
                      <a:pt x="17955" y="783"/>
                      <a:pt x="17981" y="825"/>
                      <a:pt x="18007" y="871"/>
                    </a:cubicBezTo>
                    <a:cubicBezTo>
                      <a:pt x="18007" y="1015"/>
                      <a:pt x="18007" y="1015"/>
                      <a:pt x="18007" y="1015"/>
                    </a:cubicBezTo>
                    <a:cubicBezTo>
                      <a:pt x="17965" y="924"/>
                      <a:pt x="17920" y="846"/>
                      <a:pt x="17874" y="781"/>
                    </a:cubicBezTo>
                    <a:cubicBezTo>
                      <a:pt x="17427" y="1074"/>
                      <a:pt x="16722" y="1603"/>
                      <a:pt x="16212" y="1739"/>
                    </a:cubicBezTo>
                    <a:cubicBezTo>
                      <a:pt x="16181" y="1747"/>
                      <a:pt x="16150" y="1755"/>
                      <a:pt x="16118" y="1763"/>
                    </a:cubicBezTo>
                    <a:cubicBezTo>
                      <a:pt x="16119" y="1764"/>
                      <a:pt x="16119" y="1764"/>
                      <a:pt x="16119" y="1764"/>
                    </a:cubicBezTo>
                    <a:cubicBezTo>
                      <a:pt x="16123" y="1768"/>
                      <a:pt x="16123" y="1768"/>
                      <a:pt x="16123" y="1768"/>
                    </a:cubicBezTo>
                    <a:cubicBezTo>
                      <a:pt x="16118" y="1772"/>
                      <a:pt x="16091" y="1801"/>
                      <a:pt x="16056" y="1842"/>
                    </a:cubicBezTo>
                    <a:cubicBezTo>
                      <a:pt x="15950" y="1964"/>
                      <a:pt x="15758" y="2210"/>
                      <a:pt x="15723" y="2346"/>
                    </a:cubicBezTo>
                    <a:cubicBezTo>
                      <a:pt x="15691" y="2461"/>
                      <a:pt x="15660" y="2677"/>
                      <a:pt x="15660" y="2932"/>
                    </a:cubicBezTo>
                    <a:cubicBezTo>
                      <a:pt x="15660" y="3115"/>
                      <a:pt x="15676" y="3319"/>
                      <a:pt x="15719" y="3523"/>
                    </a:cubicBezTo>
                    <a:cubicBezTo>
                      <a:pt x="15770" y="3765"/>
                      <a:pt x="15847" y="4048"/>
                      <a:pt x="15911" y="4273"/>
                    </a:cubicBezTo>
                    <a:cubicBezTo>
                      <a:pt x="15943" y="4385"/>
                      <a:pt x="15972" y="4483"/>
                      <a:pt x="15993" y="4554"/>
                    </a:cubicBezTo>
                    <a:cubicBezTo>
                      <a:pt x="16003" y="4590"/>
                      <a:pt x="16012" y="4619"/>
                      <a:pt x="16018" y="4640"/>
                    </a:cubicBezTo>
                    <a:cubicBezTo>
                      <a:pt x="16020" y="4648"/>
                      <a:pt x="16022" y="4654"/>
                      <a:pt x="16023" y="4660"/>
                    </a:cubicBezTo>
                    <a:cubicBezTo>
                      <a:pt x="16097" y="4645"/>
                      <a:pt x="16097" y="4645"/>
                      <a:pt x="16097" y="4645"/>
                    </a:cubicBezTo>
                    <a:cubicBezTo>
                      <a:pt x="16099" y="4645"/>
                      <a:pt x="16570" y="4556"/>
                      <a:pt x="16970" y="4556"/>
                    </a:cubicBezTo>
                    <a:cubicBezTo>
                      <a:pt x="17009" y="4556"/>
                      <a:pt x="17047" y="4556"/>
                      <a:pt x="17084" y="4558"/>
                    </a:cubicBezTo>
                    <a:cubicBezTo>
                      <a:pt x="17429" y="4576"/>
                      <a:pt x="17809" y="4624"/>
                      <a:pt x="18007" y="4651"/>
                    </a:cubicBezTo>
                    <a:cubicBezTo>
                      <a:pt x="18007" y="4717"/>
                      <a:pt x="18007" y="4717"/>
                      <a:pt x="18007" y="4717"/>
                    </a:cubicBezTo>
                    <a:cubicBezTo>
                      <a:pt x="17813" y="4690"/>
                      <a:pt x="17427" y="4641"/>
                      <a:pt x="17081" y="4624"/>
                    </a:cubicBezTo>
                    <a:cubicBezTo>
                      <a:pt x="17045" y="4622"/>
                      <a:pt x="17008" y="4621"/>
                      <a:pt x="16970" y="4621"/>
                    </a:cubicBezTo>
                    <a:cubicBezTo>
                      <a:pt x="16775" y="4621"/>
                      <a:pt x="16559" y="4643"/>
                      <a:pt x="16393" y="4665"/>
                    </a:cubicBezTo>
                    <a:cubicBezTo>
                      <a:pt x="16227" y="4687"/>
                      <a:pt x="16110" y="4709"/>
                      <a:pt x="16110" y="4709"/>
                    </a:cubicBezTo>
                    <a:cubicBezTo>
                      <a:pt x="16049" y="4722"/>
                      <a:pt x="16049" y="4722"/>
                      <a:pt x="16049" y="4722"/>
                    </a:cubicBezTo>
                    <a:cubicBezTo>
                      <a:pt x="16068" y="4782"/>
                      <a:pt x="16094" y="4892"/>
                      <a:pt x="16094" y="5035"/>
                    </a:cubicBezTo>
                    <a:cubicBezTo>
                      <a:pt x="16094" y="5114"/>
                      <a:pt x="16086" y="5204"/>
                      <a:pt x="16063" y="5300"/>
                    </a:cubicBezTo>
                    <a:cubicBezTo>
                      <a:pt x="15977" y="5658"/>
                      <a:pt x="15708" y="5879"/>
                      <a:pt x="15617" y="6106"/>
                    </a:cubicBezTo>
                    <a:cubicBezTo>
                      <a:pt x="15541" y="6290"/>
                      <a:pt x="15483" y="6405"/>
                      <a:pt x="15483" y="6641"/>
                    </a:cubicBezTo>
                    <a:cubicBezTo>
                      <a:pt x="15483" y="6714"/>
                      <a:pt x="15488" y="6798"/>
                      <a:pt x="15501" y="6900"/>
                    </a:cubicBezTo>
                    <a:cubicBezTo>
                      <a:pt x="15548" y="7264"/>
                      <a:pt x="15642" y="8024"/>
                      <a:pt x="15672" y="8262"/>
                    </a:cubicBezTo>
                    <a:cubicBezTo>
                      <a:pt x="15681" y="8258"/>
                      <a:pt x="15687" y="8256"/>
                      <a:pt x="15687" y="8256"/>
                    </a:cubicBezTo>
                    <a:cubicBezTo>
                      <a:pt x="15694" y="8253"/>
                      <a:pt x="15694" y="8253"/>
                      <a:pt x="15694" y="8253"/>
                    </a:cubicBezTo>
                    <a:cubicBezTo>
                      <a:pt x="17130" y="7958"/>
                      <a:pt x="17130" y="7958"/>
                      <a:pt x="17130" y="7958"/>
                    </a:cubicBezTo>
                    <a:cubicBezTo>
                      <a:pt x="17133" y="7958"/>
                      <a:pt x="17133" y="7958"/>
                      <a:pt x="17133" y="7958"/>
                    </a:cubicBezTo>
                    <a:cubicBezTo>
                      <a:pt x="17133" y="7958"/>
                      <a:pt x="17381" y="7929"/>
                      <a:pt x="17629" y="7900"/>
                    </a:cubicBezTo>
                    <a:cubicBezTo>
                      <a:pt x="17753" y="7885"/>
                      <a:pt x="17878" y="7871"/>
                      <a:pt x="17972" y="7860"/>
                    </a:cubicBezTo>
                    <a:cubicBezTo>
                      <a:pt x="17984" y="7858"/>
                      <a:pt x="17996" y="7857"/>
                      <a:pt x="18007" y="7855"/>
                    </a:cubicBezTo>
                    <a:cubicBezTo>
                      <a:pt x="18007" y="8009"/>
                      <a:pt x="18007" y="8009"/>
                      <a:pt x="18007" y="8009"/>
                    </a:cubicBezTo>
                    <a:cubicBezTo>
                      <a:pt x="17909" y="8020"/>
                      <a:pt x="17771" y="8037"/>
                      <a:pt x="17635" y="8053"/>
                    </a:cubicBezTo>
                    <a:cubicBezTo>
                      <a:pt x="17407" y="8079"/>
                      <a:pt x="17184" y="8106"/>
                      <a:pt x="17154" y="8109"/>
                    </a:cubicBezTo>
                    <a:cubicBezTo>
                      <a:pt x="15740" y="8399"/>
                      <a:pt x="15740" y="8399"/>
                      <a:pt x="15740" y="8399"/>
                    </a:cubicBezTo>
                    <a:cubicBezTo>
                      <a:pt x="15713" y="8410"/>
                      <a:pt x="15614" y="8453"/>
                      <a:pt x="15591" y="8463"/>
                    </a:cubicBezTo>
                    <a:cubicBezTo>
                      <a:pt x="15591" y="8463"/>
                      <a:pt x="15591" y="8463"/>
                      <a:pt x="15591" y="8463"/>
                    </a:cubicBezTo>
                    <a:cubicBezTo>
                      <a:pt x="15578" y="8470"/>
                      <a:pt x="15526" y="8499"/>
                      <a:pt x="15455" y="8539"/>
                    </a:cubicBezTo>
                    <a:cubicBezTo>
                      <a:pt x="15348" y="8599"/>
                      <a:pt x="15195" y="8684"/>
                      <a:pt x="15046" y="8762"/>
                    </a:cubicBezTo>
                    <a:cubicBezTo>
                      <a:pt x="14896" y="8840"/>
                      <a:pt x="14753" y="8912"/>
                      <a:pt x="14655" y="8947"/>
                    </a:cubicBezTo>
                    <a:cubicBezTo>
                      <a:pt x="14532" y="8992"/>
                      <a:pt x="14415" y="9031"/>
                      <a:pt x="14327" y="9060"/>
                    </a:cubicBezTo>
                    <a:cubicBezTo>
                      <a:pt x="14283" y="9074"/>
                      <a:pt x="14246" y="9085"/>
                      <a:pt x="14218" y="9093"/>
                    </a:cubicBezTo>
                    <a:cubicBezTo>
                      <a:pt x="14205" y="9097"/>
                      <a:pt x="14193" y="9101"/>
                      <a:pt x="14184" y="9103"/>
                    </a:cubicBezTo>
                    <a:cubicBezTo>
                      <a:pt x="14179" y="9104"/>
                      <a:pt x="14175" y="9105"/>
                      <a:pt x="14171" y="9106"/>
                    </a:cubicBezTo>
                    <a:cubicBezTo>
                      <a:pt x="14167" y="9107"/>
                      <a:pt x="14165" y="9107"/>
                      <a:pt x="14159" y="9108"/>
                    </a:cubicBezTo>
                    <a:cubicBezTo>
                      <a:pt x="14147" y="9110"/>
                      <a:pt x="14093" y="9123"/>
                      <a:pt x="14025" y="9139"/>
                    </a:cubicBezTo>
                    <a:cubicBezTo>
                      <a:pt x="13861" y="9178"/>
                      <a:pt x="13601" y="9241"/>
                      <a:pt x="13483" y="9269"/>
                    </a:cubicBezTo>
                    <a:cubicBezTo>
                      <a:pt x="13488" y="9302"/>
                      <a:pt x="13489" y="9335"/>
                      <a:pt x="13489" y="9366"/>
                    </a:cubicBezTo>
                    <a:cubicBezTo>
                      <a:pt x="13489" y="9427"/>
                      <a:pt x="13483" y="9484"/>
                      <a:pt x="13477" y="9526"/>
                    </a:cubicBezTo>
                    <a:cubicBezTo>
                      <a:pt x="13474" y="9543"/>
                      <a:pt x="13471" y="9557"/>
                      <a:pt x="13469" y="9569"/>
                    </a:cubicBezTo>
                    <a:cubicBezTo>
                      <a:pt x="13498" y="9611"/>
                      <a:pt x="13552" y="9665"/>
                      <a:pt x="13611" y="9710"/>
                    </a:cubicBezTo>
                    <a:cubicBezTo>
                      <a:pt x="13682" y="9766"/>
                      <a:pt x="13762" y="9812"/>
                      <a:pt x="13806" y="9827"/>
                    </a:cubicBezTo>
                    <a:cubicBezTo>
                      <a:pt x="13855" y="9844"/>
                      <a:pt x="13934" y="9858"/>
                      <a:pt x="14019" y="9879"/>
                    </a:cubicBezTo>
                    <a:cubicBezTo>
                      <a:pt x="14105" y="9901"/>
                      <a:pt x="14200" y="9930"/>
                      <a:pt x="14286" y="9984"/>
                    </a:cubicBezTo>
                    <a:cubicBezTo>
                      <a:pt x="14437" y="10081"/>
                      <a:pt x="14519" y="10226"/>
                      <a:pt x="14539" y="10264"/>
                    </a:cubicBezTo>
                    <a:cubicBezTo>
                      <a:pt x="14560" y="10289"/>
                      <a:pt x="14650" y="10398"/>
                      <a:pt x="14747" y="10513"/>
                    </a:cubicBezTo>
                    <a:cubicBezTo>
                      <a:pt x="14802" y="10578"/>
                      <a:pt x="14859" y="10646"/>
                      <a:pt x="14907" y="10700"/>
                    </a:cubicBezTo>
                    <a:cubicBezTo>
                      <a:pt x="14930" y="10727"/>
                      <a:pt x="14952" y="10751"/>
                      <a:pt x="14969" y="10770"/>
                    </a:cubicBezTo>
                    <a:cubicBezTo>
                      <a:pt x="14985" y="10789"/>
                      <a:pt x="14999" y="10803"/>
                      <a:pt x="15003" y="10806"/>
                    </a:cubicBezTo>
                    <a:cubicBezTo>
                      <a:pt x="15009" y="10812"/>
                      <a:pt x="15015" y="10816"/>
                      <a:pt x="15020" y="10821"/>
                    </a:cubicBezTo>
                    <a:cubicBezTo>
                      <a:pt x="14810" y="10821"/>
                      <a:pt x="14810" y="10821"/>
                      <a:pt x="14810" y="10821"/>
                    </a:cubicBezTo>
                    <a:cubicBezTo>
                      <a:pt x="14667" y="10658"/>
                      <a:pt x="14418" y="10356"/>
                      <a:pt x="14417" y="10355"/>
                    </a:cubicBezTo>
                    <a:cubicBezTo>
                      <a:pt x="14411" y="10349"/>
                      <a:pt x="14411" y="10349"/>
                      <a:pt x="14411" y="10349"/>
                    </a:cubicBezTo>
                    <a:cubicBezTo>
                      <a:pt x="14407" y="10341"/>
                      <a:pt x="14407" y="10341"/>
                      <a:pt x="14407" y="10341"/>
                    </a:cubicBezTo>
                    <a:cubicBezTo>
                      <a:pt x="14407" y="10340"/>
                      <a:pt x="14407" y="10340"/>
                      <a:pt x="14407" y="10340"/>
                    </a:cubicBezTo>
                    <a:cubicBezTo>
                      <a:pt x="14401" y="10327"/>
                      <a:pt x="14325" y="10188"/>
                      <a:pt x="14205" y="10113"/>
                    </a:cubicBezTo>
                    <a:cubicBezTo>
                      <a:pt x="14141" y="10073"/>
                      <a:pt x="14062" y="10047"/>
                      <a:pt x="13983" y="10027"/>
                    </a:cubicBezTo>
                    <a:cubicBezTo>
                      <a:pt x="13934" y="10015"/>
                      <a:pt x="13887" y="10005"/>
                      <a:pt x="13842" y="9995"/>
                    </a:cubicBezTo>
                    <a:cubicBezTo>
                      <a:pt x="12833" y="10821"/>
                      <a:pt x="12833" y="10821"/>
                      <a:pt x="12833" y="10821"/>
                    </a:cubicBezTo>
                    <a:cubicBezTo>
                      <a:pt x="12729" y="10821"/>
                      <a:pt x="12729" y="10821"/>
                      <a:pt x="12729" y="10821"/>
                    </a:cubicBezTo>
                    <a:cubicBezTo>
                      <a:pt x="13765" y="9973"/>
                      <a:pt x="13765" y="9973"/>
                      <a:pt x="13765" y="9973"/>
                    </a:cubicBezTo>
                    <a:cubicBezTo>
                      <a:pt x="13762" y="9973"/>
                      <a:pt x="13759" y="9972"/>
                      <a:pt x="13757" y="9971"/>
                    </a:cubicBezTo>
                    <a:cubicBezTo>
                      <a:pt x="13685" y="9946"/>
                      <a:pt x="13599" y="9894"/>
                      <a:pt x="13517" y="9830"/>
                    </a:cubicBezTo>
                    <a:cubicBezTo>
                      <a:pt x="13436" y="9766"/>
                      <a:pt x="13360" y="9694"/>
                      <a:pt x="13318" y="9614"/>
                    </a:cubicBezTo>
                    <a:cubicBezTo>
                      <a:pt x="13314" y="9579"/>
                      <a:pt x="13314" y="9579"/>
                      <a:pt x="13314" y="9579"/>
                    </a:cubicBezTo>
                    <a:cubicBezTo>
                      <a:pt x="13317" y="9548"/>
                      <a:pt x="13317" y="9548"/>
                      <a:pt x="13317" y="9548"/>
                    </a:cubicBezTo>
                    <a:cubicBezTo>
                      <a:pt x="13317" y="9549"/>
                      <a:pt x="13317" y="9549"/>
                      <a:pt x="13317" y="9549"/>
                    </a:cubicBezTo>
                    <a:cubicBezTo>
                      <a:pt x="13317" y="9549"/>
                      <a:pt x="13317" y="9549"/>
                      <a:pt x="13317" y="9549"/>
                    </a:cubicBezTo>
                    <a:cubicBezTo>
                      <a:pt x="13318" y="9544"/>
                      <a:pt x="13324" y="9517"/>
                      <a:pt x="13329" y="9484"/>
                    </a:cubicBezTo>
                    <a:cubicBezTo>
                      <a:pt x="13333" y="9450"/>
                      <a:pt x="13337" y="9409"/>
                      <a:pt x="13337" y="9366"/>
                    </a:cubicBezTo>
                    <a:cubicBezTo>
                      <a:pt x="13337" y="9316"/>
                      <a:pt x="13332" y="9265"/>
                      <a:pt x="13319" y="9228"/>
                    </a:cubicBezTo>
                    <a:cubicBezTo>
                      <a:pt x="13300" y="9170"/>
                      <a:pt x="13263" y="9119"/>
                      <a:pt x="13193" y="9071"/>
                    </a:cubicBezTo>
                    <a:cubicBezTo>
                      <a:pt x="13124" y="9023"/>
                      <a:pt x="13021" y="8980"/>
                      <a:pt x="12879" y="8947"/>
                    </a:cubicBezTo>
                    <a:cubicBezTo>
                      <a:pt x="12593" y="8878"/>
                      <a:pt x="12335" y="8869"/>
                      <a:pt x="12126" y="8859"/>
                    </a:cubicBezTo>
                    <a:cubicBezTo>
                      <a:pt x="12020" y="8855"/>
                      <a:pt x="11792" y="8840"/>
                      <a:pt x="11588" y="8827"/>
                    </a:cubicBezTo>
                    <a:cubicBezTo>
                      <a:pt x="11487" y="8820"/>
                      <a:pt x="11392" y="8814"/>
                      <a:pt x="11322" y="8809"/>
                    </a:cubicBezTo>
                    <a:cubicBezTo>
                      <a:pt x="11290" y="8807"/>
                      <a:pt x="11263" y="8805"/>
                      <a:pt x="11244" y="8804"/>
                    </a:cubicBezTo>
                    <a:cubicBezTo>
                      <a:pt x="11238" y="8893"/>
                      <a:pt x="11213" y="9082"/>
                      <a:pt x="11094" y="9209"/>
                    </a:cubicBezTo>
                    <a:cubicBezTo>
                      <a:pt x="10985" y="9325"/>
                      <a:pt x="10809" y="9484"/>
                      <a:pt x="10723" y="9562"/>
                    </a:cubicBezTo>
                    <a:cubicBezTo>
                      <a:pt x="10795" y="9610"/>
                      <a:pt x="10941" y="9707"/>
                      <a:pt x="11084" y="9800"/>
                    </a:cubicBezTo>
                    <a:cubicBezTo>
                      <a:pt x="11286" y="9932"/>
                      <a:pt x="11409" y="10039"/>
                      <a:pt x="11410" y="10039"/>
                    </a:cubicBezTo>
                    <a:cubicBezTo>
                      <a:pt x="11412" y="10041"/>
                      <a:pt x="11412" y="10041"/>
                      <a:pt x="11412" y="10041"/>
                    </a:cubicBezTo>
                    <a:cubicBezTo>
                      <a:pt x="11687" y="10387"/>
                      <a:pt x="11687" y="10387"/>
                      <a:pt x="11687" y="10387"/>
                    </a:cubicBezTo>
                    <a:cubicBezTo>
                      <a:pt x="11702" y="10377"/>
                      <a:pt x="11730" y="10357"/>
                      <a:pt x="11775" y="10317"/>
                    </a:cubicBezTo>
                    <a:cubicBezTo>
                      <a:pt x="11821" y="10276"/>
                      <a:pt x="11871" y="10263"/>
                      <a:pt x="11911" y="10263"/>
                    </a:cubicBezTo>
                    <a:cubicBezTo>
                      <a:pt x="11968" y="10263"/>
                      <a:pt x="12007" y="10288"/>
                      <a:pt x="12010" y="10289"/>
                    </a:cubicBezTo>
                    <a:cubicBezTo>
                      <a:pt x="12012" y="10291"/>
                      <a:pt x="12012" y="10291"/>
                      <a:pt x="12012" y="10291"/>
                    </a:cubicBezTo>
                    <a:cubicBezTo>
                      <a:pt x="12641" y="10821"/>
                      <a:pt x="12641" y="10821"/>
                      <a:pt x="12641" y="10821"/>
                    </a:cubicBezTo>
                    <a:cubicBezTo>
                      <a:pt x="12539" y="10821"/>
                      <a:pt x="12539" y="10821"/>
                      <a:pt x="12539" y="10821"/>
                    </a:cubicBezTo>
                    <a:cubicBezTo>
                      <a:pt x="11974" y="10344"/>
                      <a:pt x="11974" y="10344"/>
                      <a:pt x="11974" y="10344"/>
                    </a:cubicBezTo>
                    <a:cubicBezTo>
                      <a:pt x="11967" y="10340"/>
                      <a:pt x="11942" y="10329"/>
                      <a:pt x="11911" y="10329"/>
                    </a:cubicBezTo>
                    <a:cubicBezTo>
                      <a:pt x="11884" y="10329"/>
                      <a:pt x="11853" y="10336"/>
                      <a:pt x="11818" y="10366"/>
                    </a:cubicBezTo>
                    <a:cubicBezTo>
                      <a:pt x="11774" y="10405"/>
                      <a:pt x="11747" y="10426"/>
                      <a:pt x="11728" y="10439"/>
                    </a:cubicBezTo>
                    <a:cubicBezTo>
                      <a:pt x="12032" y="10821"/>
                      <a:pt x="12032" y="10821"/>
                      <a:pt x="12032" y="10821"/>
                    </a:cubicBezTo>
                    <a:cubicBezTo>
                      <a:pt x="11948" y="10821"/>
                      <a:pt x="11948" y="10821"/>
                      <a:pt x="11948" y="10821"/>
                    </a:cubicBezTo>
                    <a:cubicBezTo>
                      <a:pt x="11365" y="10087"/>
                      <a:pt x="11365" y="10087"/>
                      <a:pt x="11365" y="10087"/>
                    </a:cubicBezTo>
                    <a:cubicBezTo>
                      <a:pt x="11357" y="10080"/>
                      <a:pt x="11328" y="10056"/>
                      <a:pt x="11282" y="10021"/>
                    </a:cubicBezTo>
                    <a:cubicBezTo>
                      <a:pt x="11227" y="9978"/>
                      <a:pt x="11147" y="9920"/>
                      <a:pt x="11048" y="9855"/>
                    </a:cubicBezTo>
                    <a:cubicBezTo>
                      <a:pt x="10897" y="9756"/>
                      <a:pt x="10741" y="9653"/>
                      <a:pt x="10674" y="9608"/>
                    </a:cubicBezTo>
                    <a:cubicBezTo>
                      <a:pt x="10102" y="10821"/>
                      <a:pt x="10102" y="10821"/>
                      <a:pt x="10102" y="10821"/>
                    </a:cubicBezTo>
                    <a:cubicBezTo>
                      <a:pt x="10029" y="10821"/>
                      <a:pt x="10029" y="10821"/>
                      <a:pt x="10029" y="10821"/>
                    </a:cubicBezTo>
                    <a:cubicBezTo>
                      <a:pt x="10617" y="9575"/>
                      <a:pt x="10617" y="9575"/>
                      <a:pt x="10617" y="9575"/>
                    </a:cubicBezTo>
                    <a:cubicBezTo>
                      <a:pt x="10576" y="9556"/>
                      <a:pt x="10490" y="9516"/>
                      <a:pt x="10393" y="9471"/>
                    </a:cubicBezTo>
                    <a:cubicBezTo>
                      <a:pt x="10258" y="9408"/>
                      <a:pt x="10102" y="9337"/>
                      <a:pt x="10021" y="9303"/>
                    </a:cubicBezTo>
                    <a:cubicBezTo>
                      <a:pt x="9864" y="9236"/>
                      <a:pt x="9482" y="9029"/>
                      <a:pt x="9306" y="8934"/>
                    </a:cubicBezTo>
                    <a:cubicBezTo>
                      <a:pt x="8386" y="10821"/>
                      <a:pt x="8386" y="10821"/>
                      <a:pt x="8386" y="10821"/>
                    </a:cubicBezTo>
                    <a:cubicBezTo>
                      <a:pt x="8313" y="10821"/>
                      <a:pt x="8313" y="10821"/>
                      <a:pt x="8313" y="10821"/>
                    </a:cubicBezTo>
                    <a:cubicBezTo>
                      <a:pt x="8548" y="10339"/>
                      <a:pt x="8548" y="10339"/>
                      <a:pt x="8548" y="10339"/>
                    </a:cubicBezTo>
                    <a:cubicBezTo>
                      <a:pt x="8547" y="10339"/>
                      <a:pt x="8547" y="10338"/>
                      <a:pt x="8546" y="10338"/>
                    </a:cubicBezTo>
                    <a:cubicBezTo>
                      <a:pt x="8410" y="10250"/>
                      <a:pt x="7983" y="9964"/>
                      <a:pt x="7879" y="9894"/>
                    </a:cubicBezTo>
                    <a:cubicBezTo>
                      <a:pt x="7875" y="9906"/>
                      <a:pt x="7870" y="9922"/>
                      <a:pt x="7864" y="9940"/>
                    </a:cubicBezTo>
                    <a:cubicBezTo>
                      <a:pt x="7822" y="10076"/>
                      <a:pt x="7735" y="10378"/>
                      <a:pt x="7659" y="10646"/>
                    </a:cubicBezTo>
                    <a:cubicBezTo>
                      <a:pt x="7642" y="10707"/>
                      <a:pt x="7625" y="10766"/>
                      <a:pt x="7610" y="10821"/>
                    </a:cubicBezTo>
                    <a:cubicBezTo>
                      <a:pt x="7563" y="10821"/>
                      <a:pt x="7563" y="10821"/>
                      <a:pt x="7563" y="10821"/>
                    </a:cubicBezTo>
                    <a:cubicBezTo>
                      <a:pt x="7580" y="10760"/>
                      <a:pt x="7599" y="10694"/>
                      <a:pt x="7618" y="10625"/>
                    </a:cubicBezTo>
                    <a:cubicBezTo>
                      <a:pt x="7612" y="10623"/>
                      <a:pt x="7604" y="10620"/>
                      <a:pt x="7595" y="10616"/>
                    </a:cubicBezTo>
                    <a:cubicBezTo>
                      <a:pt x="7544" y="10595"/>
                      <a:pt x="7452" y="10554"/>
                      <a:pt x="7348" y="10509"/>
                    </a:cubicBezTo>
                    <a:cubicBezTo>
                      <a:pt x="7299" y="10821"/>
                      <a:pt x="7299" y="10821"/>
                      <a:pt x="7299" y="10821"/>
                    </a:cubicBezTo>
                    <a:cubicBezTo>
                      <a:pt x="7285" y="10821"/>
                      <a:pt x="7285" y="10821"/>
                      <a:pt x="7285" y="10821"/>
                    </a:cubicBezTo>
                    <a:cubicBezTo>
                      <a:pt x="7335" y="10503"/>
                      <a:pt x="7335" y="10503"/>
                      <a:pt x="7335" y="10503"/>
                    </a:cubicBezTo>
                    <a:cubicBezTo>
                      <a:pt x="7249" y="10465"/>
                      <a:pt x="7157" y="10423"/>
                      <a:pt x="7073" y="10385"/>
                    </a:cubicBezTo>
                    <a:cubicBezTo>
                      <a:pt x="6991" y="10821"/>
                      <a:pt x="6991" y="10821"/>
                      <a:pt x="6991" y="10821"/>
                    </a:cubicBezTo>
                    <a:cubicBezTo>
                      <a:pt x="6977" y="10821"/>
                      <a:pt x="6977" y="10821"/>
                      <a:pt x="6977" y="10821"/>
                    </a:cubicBezTo>
                    <a:cubicBezTo>
                      <a:pt x="7059" y="10381"/>
                      <a:pt x="7059" y="10381"/>
                      <a:pt x="7059" y="10381"/>
                    </a:cubicBezTo>
                    <a:cubicBezTo>
                      <a:pt x="7064" y="10382"/>
                      <a:pt x="7064" y="10382"/>
                      <a:pt x="7064" y="10382"/>
                    </a:cubicBezTo>
                    <a:cubicBezTo>
                      <a:pt x="6959" y="10335"/>
                      <a:pt x="6869" y="10294"/>
                      <a:pt x="6826" y="10274"/>
                    </a:cubicBezTo>
                    <a:cubicBezTo>
                      <a:pt x="6767" y="10821"/>
                      <a:pt x="6767" y="10821"/>
                      <a:pt x="6767" y="10821"/>
                    </a:cubicBezTo>
                    <a:cubicBezTo>
                      <a:pt x="6701" y="10821"/>
                      <a:pt x="6701" y="10821"/>
                      <a:pt x="6701" y="10821"/>
                    </a:cubicBezTo>
                    <a:cubicBezTo>
                      <a:pt x="6731" y="10539"/>
                      <a:pt x="6731" y="10539"/>
                      <a:pt x="6731" y="10539"/>
                    </a:cubicBezTo>
                    <a:cubicBezTo>
                      <a:pt x="6683" y="10536"/>
                      <a:pt x="6575" y="10528"/>
                      <a:pt x="6468" y="10520"/>
                    </a:cubicBezTo>
                    <a:cubicBezTo>
                      <a:pt x="6452" y="10624"/>
                      <a:pt x="6452" y="10624"/>
                      <a:pt x="6452" y="10624"/>
                    </a:cubicBezTo>
                    <a:cubicBezTo>
                      <a:pt x="6507" y="10581"/>
                      <a:pt x="6507" y="10581"/>
                      <a:pt x="6507" y="10581"/>
                    </a:cubicBezTo>
                    <a:cubicBezTo>
                      <a:pt x="6624" y="10715"/>
                      <a:pt x="6624" y="10715"/>
                      <a:pt x="6624" y="10715"/>
                    </a:cubicBezTo>
                    <a:cubicBezTo>
                      <a:pt x="6493" y="10821"/>
                      <a:pt x="6493" y="10821"/>
                      <a:pt x="6493" y="10821"/>
                    </a:cubicBezTo>
                    <a:cubicBezTo>
                      <a:pt x="6492" y="10821"/>
                      <a:pt x="6492" y="10821"/>
                      <a:pt x="6492" y="10821"/>
                    </a:cubicBezTo>
                    <a:cubicBezTo>
                      <a:pt x="6433" y="10752"/>
                      <a:pt x="6433" y="10752"/>
                      <a:pt x="6433" y="10752"/>
                    </a:cubicBezTo>
                    <a:cubicBezTo>
                      <a:pt x="6422" y="10821"/>
                      <a:pt x="6422" y="10821"/>
                      <a:pt x="6422" y="10821"/>
                    </a:cubicBezTo>
                    <a:cubicBezTo>
                      <a:pt x="6408" y="10821"/>
                      <a:pt x="6408" y="10821"/>
                      <a:pt x="6408" y="10821"/>
                    </a:cubicBezTo>
                    <a:cubicBezTo>
                      <a:pt x="6419" y="10747"/>
                      <a:pt x="6419" y="10747"/>
                      <a:pt x="6419" y="10747"/>
                    </a:cubicBezTo>
                    <a:cubicBezTo>
                      <a:pt x="6350" y="10808"/>
                      <a:pt x="6350" y="10808"/>
                      <a:pt x="6350" y="10808"/>
                    </a:cubicBezTo>
                    <a:cubicBezTo>
                      <a:pt x="6240" y="10682"/>
                      <a:pt x="6240" y="10682"/>
                      <a:pt x="6240" y="10682"/>
                    </a:cubicBezTo>
                    <a:cubicBezTo>
                      <a:pt x="6366" y="10572"/>
                      <a:pt x="6366" y="10572"/>
                      <a:pt x="6366" y="10572"/>
                    </a:cubicBezTo>
                    <a:cubicBezTo>
                      <a:pt x="6428" y="10643"/>
                      <a:pt x="6428" y="10643"/>
                      <a:pt x="6428" y="10643"/>
                    </a:cubicBezTo>
                    <a:cubicBezTo>
                      <a:pt x="6436" y="10636"/>
                      <a:pt x="6436" y="10636"/>
                      <a:pt x="6436" y="10636"/>
                    </a:cubicBezTo>
                    <a:cubicBezTo>
                      <a:pt x="6454" y="10519"/>
                      <a:pt x="6454" y="10519"/>
                      <a:pt x="6454" y="10519"/>
                    </a:cubicBezTo>
                    <a:cubicBezTo>
                      <a:pt x="6354" y="10511"/>
                      <a:pt x="6256" y="10503"/>
                      <a:pt x="6210" y="10499"/>
                    </a:cubicBezTo>
                    <a:cubicBezTo>
                      <a:pt x="6147" y="10821"/>
                      <a:pt x="6147" y="10821"/>
                      <a:pt x="6147" y="10821"/>
                    </a:cubicBezTo>
                    <a:cubicBezTo>
                      <a:pt x="6080" y="10821"/>
                      <a:pt x="6080" y="10821"/>
                      <a:pt x="6080" y="10821"/>
                    </a:cubicBezTo>
                    <a:cubicBezTo>
                      <a:pt x="6232" y="10040"/>
                      <a:pt x="6232" y="10040"/>
                      <a:pt x="6232" y="10040"/>
                    </a:cubicBezTo>
                    <a:cubicBezTo>
                      <a:pt x="6211" y="10041"/>
                      <a:pt x="6175" y="10042"/>
                      <a:pt x="6127" y="10044"/>
                    </a:cubicBezTo>
                    <a:cubicBezTo>
                      <a:pt x="6095" y="10045"/>
                      <a:pt x="6058" y="10047"/>
                      <a:pt x="6017" y="10049"/>
                    </a:cubicBezTo>
                    <a:cubicBezTo>
                      <a:pt x="5958" y="10821"/>
                      <a:pt x="5958" y="10821"/>
                      <a:pt x="5958" y="10821"/>
                    </a:cubicBezTo>
                    <a:cubicBezTo>
                      <a:pt x="5893" y="10821"/>
                      <a:pt x="5893" y="10821"/>
                      <a:pt x="5893" y="10821"/>
                    </a:cubicBezTo>
                    <a:cubicBezTo>
                      <a:pt x="5910" y="10590"/>
                      <a:pt x="5910" y="10590"/>
                      <a:pt x="5910" y="10590"/>
                    </a:cubicBezTo>
                    <a:cubicBezTo>
                      <a:pt x="5901" y="10590"/>
                      <a:pt x="5888" y="10590"/>
                      <a:pt x="5873" y="10590"/>
                    </a:cubicBezTo>
                    <a:cubicBezTo>
                      <a:pt x="5738" y="10590"/>
                      <a:pt x="5412" y="10592"/>
                      <a:pt x="5396" y="10593"/>
                    </a:cubicBezTo>
                    <a:cubicBezTo>
                      <a:pt x="5053" y="10661"/>
                      <a:pt x="5053" y="10661"/>
                      <a:pt x="5053" y="10661"/>
                    </a:cubicBezTo>
                    <a:cubicBezTo>
                      <a:pt x="5058" y="10705"/>
                      <a:pt x="5064" y="10750"/>
                      <a:pt x="5069" y="10795"/>
                    </a:cubicBezTo>
                    <a:cubicBezTo>
                      <a:pt x="5070" y="10804"/>
                      <a:pt x="5071" y="10813"/>
                      <a:pt x="5072" y="10821"/>
                    </a:cubicBezTo>
                    <a:cubicBezTo>
                      <a:pt x="5006" y="10821"/>
                      <a:pt x="5006" y="10821"/>
                      <a:pt x="5006" y="10821"/>
                    </a:cubicBezTo>
                    <a:cubicBezTo>
                      <a:pt x="5005" y="10815"/>
                      <a:pt x="5005" y="10809"/>
                      <a:pt x="5004" y="10803"/>
                    </a:cubicBezTo>
                    <a:cubicBezTo>
                      <a:pt x="4996" y="10735"/>
                      <a:pt x="4988" y="10668"/>
                      <a:pt x="4981" y="10604"/>
                    </a:cubicBezTo>
                    <a:cubicBezTo>
                      <a:pt x="4951" y="10607"/>
                      <a:pt x="4890" y="10612"/>
                      <a:pt x="4817" y="10619"/>
                    </a:cubicBezTo>
                    <a:cubicBezTo>
                      <a:pt x="4852" y="10821"/>
                      <a:pt x="4852" y="10821"/>
                      <a:pt x="4852" y="10821"/>
                    </a:cubicBezTo>
                    <a:cubicBezTo>
                      <a:pt x="4838" y="10821"/>
                      <a:pt x="4838" y="10821"/>
                      <a:pt x="4838" y="10821"/>
                    </a:cubicBezTo>
                    <a:cubicBezTo>
                      <a:pt x="4803" y="10620"/>
                      <a:pt x="4803" y="10620"/>
                      <a:pt x="4803" y="10620"/>
                    </a:cubicBezTo>
                    <a:cubicBezTo>
                      <a:pt x="4758" y="10624"/>
                      <a:pt x="4709" y="10628"/>
                      <a:pt x="4660" y="10633"/>
                    </a:cubicBezTo>
                    <a:cubicBezTo>
                      <a:pt x="4633" y="10635"/>
                      <a:pt x="4606" y="10638"/>
                      <a:pt x="4580" y="10640"/>
                    </a:cubicBezTo>
                    <a:cubicBezTo>
                      <a:pt x="4641" y="10821"/>
                      <a:pt x="4641" y="10821"/>
                      <a:pt x="4641" y="10821"/>
                    </a:cubicBezTo>
                    <a:cubicBezTo>
                      <a:pt x="4626" y="10821"/>
                      <a:pt x="4626" y="10821"/>
                      <a:pt x="4626" y="10821"/>
                    </a:cubicBezTo>
                    <a:cubicBezTo>
                      <a:pt x="4566" y="10641"/>
                      <a:pt x="4566" y="10641"/>
                      <a:pt x="4566" y="10641"/>
                    </a:cubicBezTo>
                    <a:cubicBezTo>
                      <a:pt x="4514" y="10646"/>
                      <a:pt x="4465" y="10650"/>
                      <a:pt x="4425" y="10654"/>
                    </a:cubicBezTo>
                    <a:cubicBezTo>
                      <a:pt x="4393" y="10657"/>
                      <a:pt x="4366" y="10659"/>
                      <a:pt x="4347" y="10661"/>
                    </a:cubicBezTo>
                    <a:cubicBezTo>
                      <a:pt x="4337" y="10662"/>
                      <a:pt x="4329" y="10663"/>
                      <a:pt x="4324" y="10663"/>
                    </a:cubicBezTo>
                    <a:cubicBezTo>
                      <a:pt x="4321" y="10663"/>
                      <a:pt x="4319" y="10664"/>
                      <a:pt x="4318" y="10664"/>
                    </a:cubicBezTo>
                    <a:cubicBezTo>
                      <a:pt x="4317" y="10664"/>
                      <a:pt x="4317" y="10664"/>
                      <a:pt x="4316" y="10664"/>
                    </a:cubicBezTo>
                    <a:cubicBezTo>
                      <a:pt x="4316" y="10664"/>
                      <a:pt x="4316" y="10664"/>
                      <a:pt x="4316" y="10664"/>
                    </a:cubicBezTo>
                    <a:cubicBezTo>
                      <a:pt x="4309" y="10667"/>
                      <a:pt x="4254" y="10690"/>
                      <a:pt x="4240" y="10695"/>
                    </a:cubicBezTo>
                    <a:cubicBezTo>
                      <a:pt x="4196" y="10821"/>
                      <a:pt x="4196" y="10821"/>
                      <a:pt x="4196" y="10821"/>
                    </a:cubicBezTo>
                    <a:cubicBezTo>
                      <a:pt x="4181" y="10821"/>
                      <a:pt x="4181" y="10821"/>
                      <a:pt x="4181" y="10821"/>
                    </a:cubicBezTo>
                    <a:cubicBezTo>
                      <a:pt x="4229" y="10685"/>
                      <a:pt x="4229" y="10685"/>
                      <a:pt x="4229" y="10685"/>
                    </a:cubicBezTo>
                    <a:cubicBezTo>
                      <a:pt x="4232" y="10684"/>
                      <a:pt x="4232" y="10684"/>
                      <a:pt x="4232" y="10684"/>
                    </a:cubicBezTo>
                    <a:cubicBezTo>
                      <a:pt x="4232" y="10684"/>
                      <a:pt x="4238" y="10681"/>
                      <a:pt x="4246" y="10678"/>
                    </a:cubicBezTo>
                    <a:cubicBezTo>
                      <a:pt x="4245" y="10675"/>
                      <a:pt x="4217" y="10603"/>
                      <a:pt x="4189" y="10530"/>
                    </a:cubicBezTo>
                    <a:cubicBezTo>
                      <a:pt x="4175" y="10492"/>
                      <a:pt x="4160" y="10454"/>
                      <a:pt x="4150" y="10425"/>
                    </a:cubicBezTo>
                    <a:cubicBezTo>
                      <a:pt x="4145" y="10411"/>
                      <a:pt x="4140" y="10400"/>
                      <a:pt x="4137" y="10392"/>
                    </a:cubicBezTo>
                    <a:cubicBezTo>
                      <a:pt x="4012" y="10428"/>
                      <a:pt x="3888" y="10466"/>
                      <a:pt x="3775" y="10501"/>
                    </a:cubicBezTo>
                    <a:cubicBezTo>
                      <a:pt x="3609" y="10552"/>
                      <a:pt x="3463" y="10599"/>
                      <a:pt x="3359" y="10633"/>
                    </a:cubicBezTo>
                    <a:cubicBezTo>
                      <a:pt x="3307" y="10650"/>
                      <a:pt x="3266" y="10664"/>
                      <a:pt x="3237" y="10674"/>
                    </a:cubicBezTo>
                    <a:cubicBezTo>
                      <a:pt x="3235" y="10675"/>
                      <a:pt x="3233" y="10676"/>
                      <a:pt x="3231" y="10676"/>
                    </a:cubicBezTo>
                    <a:cubicBezTo>
                      <a:pt x="3340" y="10821"/>
                      <a:pt x="3340" y="10821"/>
                      <a:pt x="3340" y="10821"/>
                    </a:cubicBezTo>
                    <a:cubicBezTo>
                      <a:pt x="3258" y="10821"/>
                      <a:pt x="3258" y="10821"/>
                      <a:pt x="3258" y="10821"/>
                    </a:cubicBezTo>
                    <a:cubicBezTo>
                      <a:pt x="3168" y="10702"/>
                      <a:pt x="3168" y="10702"/>
                      <a:pt x="3168" y="10702"/>
                    </a:cubicBezTo>
                    <a:cubicBezTo>
                      <a:pt x="3144" y="10711"/>
                      <a:pt x="3108" y="10725"/>
                      <a:pt x="3065" y="10745"/>
                    </a:cubicBezTo>
                    <a:cubicBezTo>
                      <a:pt x="3022" y="10764"/>
                      <a:pt x="2983" y="10790"/>
                      <a:pt x="2945" y="10821"/>
                    </a:cubicBezTo>
                    <a:cubicBezTo>
                      <a:pt x="2653" y="10821"/>
                      <a:pt x="2653" y="10821"/>
                      <a:pt x="2653" y="10821"/>
                    </a:cubicBezTo>
                    <a:cubicBezTo>
                      <a:pt x="2596" y="10813"/>
                      <a:pt x="2529" y="10806"/>
                      <a:pt x="2455" y="10802"/>
                    </a:cubicBezTo>
                    <a:cubicBezTo>
                      <a:pt x="2359" y="10796"/>
                      <a:pt x="2277" y="10793"/>
                      <a:pt x="2207" y="10793"/>
                    </a:cubicBezTo>
                    <a:cubicBezTo>
                      <a:pt x="2118" y="10793"/>
                      <a:pt x="2049" y="10798"/>
                      <a:pt x="1995" y="10808"/>
                    </a:cubicBezTo>
                    <a:cubicBezTo>
                      <a:pt x="2000" y="10821"/>
                      <a:pt x="2000" y="10821"/>
                      <a:pt x="2000" y="10821"/>
                    </a:cubicBezTo>
                    <a:cubicBezTo>
                      <a:pt x="1982" y="10821"/>
                      <a:pt x="1982" y="10821"/>
                      <a:pt x="1982" y="10821"/>
                    </a:cubicBezTo>
                    <a:cubicBezTo>
                      <a:pt x="1979" y="10811"/>
                      <a:pt x="1979" y="10811"/>
                      <a:pt x="1979" y="10811"/>
                    </a:cubicBezTo>
                    <a:cubicBezTo>
                      <a:pt x="1977" y="10812"/>
                      <a:pt x="1975" y="10812"/>
                      <a:pt x="1974" y="10812"/>
                    </a:cubicBezTo>
                    <a:cubicBezTo>
                      <a:pt x="1964" y="10815"/>
                      <a:pt x="1952" y="10818"/>
                      <a:pt x="1940" y="10821"/>
                    </a:cubicBezTo>
                    <a:cubicBezTo>
                      <a:pt x="1729" y="10821"/>
                      <a:pt x="1729" y="10821"/>
                      <a:pt x="1729" y="10821"/>
                    </a:cubicBezTo>
                    <a:cubicBezTo>
                      <a:pt x="1814" y="10789"/>
                      <a:pt x="1903" y="10758"/>
                      <a:pt x="1959" y="10745"/>
                    </a:cubicBezTo>
                    <a:cubicBezTo>
                      <a:pt x="2019" y="10732"/>
                      <a:pt x="2093" y="10726"/>
                      <a:pt x="2186" y="10725"/>
                    </a:cubicBezTo>
                    <a:cubicBezTo>
                      <a:pt x="2185" y="10724"/>
                      <a:pt x="2185" y="10724"/>
                      <a:pt x="2185" y="10724"/>
                    </a:cubicBezTo>
                    <a:cubicBezTo>
                      <a:pt x="2212" y="10590"/>
                      <a:pt x="2212" y="10590"/>
                      <a:pt x="2212" y="10590"/>
                    </a:cubicBezTo>
                    <a:cubicBezTo>
                      <a:pt x="2198" y="10571"/>
                      <a:pt x="2188" y="10547"/>
                      <a:pt x="2183" y="10515"/>
                    </a:cubicBezTo>
                    <a:cubicBezTo>
                      <a:pt x="2162" y="10503"/>
                      <a:pt x="2141" y="10497"/>
                      <a:pt x="2121" y="10495"/>
                    </a:cubicBezTo>
                    <a:cubicBezTo>
                      <a:pt x="2122" y="10496"/>
                      <a:pt x="2124" y="10495"/>
                      <a:pt x="2124" y="10496"/>
                    </a:cubicBezTo>
                    <a:cubicBezTo>
                      <a:pt x="2155" y="10509"/>
                      <a:pt x="2174" y="10535"/>
                      <a:pt x="2174" y="10558"/>
                    </a:cubicBezTo>
                    <a:cubicBezTo>
                      <a:pt x="2174" y="10562"/>
                      <a:pt x="2173" y="10567"/>
                      <a:pt x="2172" y="10571"/>
                    </a:cubicBezTo>
                    <a:cubicBezTo>
                      <a:pt x="2168" y="10581"/>
                      <a:pt x="2157" y="10584"/>
                      <a:pt x="2146" y="10584"/>
                    </a:cubicBezTo>
                    <a:cubicBezTo>
                      <a:pt x="2127" y="10584"/>
                      <a:pt x="2101" y="10577"/>
                      <a:pt x="2071" y="10577"/>
                    </a:cubicBezTo>
                    <a:cubicBezTo>
                      <a:pt x="2025" y="10577"/>
                      <a:pt x="2011" y="10614"/>
                      <a:pt x="1987" y="10656"/>
                    </a:cubicBezTo>
                    <a:cubicBezTo>
                      <a:pt x="1963" y="10699"/>
                      <a:pt x="1929" y="10700"/>
                      <a:pt x="1893" y="10714"/>
                    </a:cubicBezTo>
                    <a:cubicBezTo>
                      <a:pt x="1857" y="10727"/>
                      <a:pt x="1798" y="10751"/>
                      <a:pt x="1757" y="10776"/>
                    </a:cubicBezTo>
                    <a:cubicBezTo>
                      <a:pt x="1727" y="10795"/>
                      <a:pt x="1691" y="10804"/>
                      <a:pt x="1671" y="10804"/>
                    </a:cubicBezTo>
                    <a:cubicBezTo>
                      <a:pt x="1663" y="10804"/>
                      <a:pt x="1657" y="10804"/>
                      <a:pt x="1654" y="10797"/>
                    </a:cubicBezTo>
                    <a:cubicBezTo>
                      <a:pt x="1654" y="10796"/>
                      <a:pt x="1654" y="10796"/>
                      <a:pt x="1654" y="10796"/>
                    </a:cubicBezTo>
                    <a:cubicBezTo>
                      <a:pt x="1654" y="10796"/>
                      <a:pt x="1654" y="10796"/>
                      <a:pt x="1654" y="10796"/>
                    </a:cubicBezTo>
                    <a:cubicBezTo>
                      <a:pt x="1654" y="10795"/>
                      <a:pt x="1654" y="10795"/>
                      <a:pt x="1654" y="10795"/>
                    </a:cubicBezTo>
                    <a:cubicBezTo>
                      <a:pt x="1654" y="10795"/>
                      <a:pt x="1654" y="10795"/>
                      <a:pt x="1654" y="10795"/>
                    </a:cubicBezTo>
                    <a:cubicBezTo>
                      <a:pt x="1656" y="10788"/>
                      <a:pt x="1662" y="10785"/>
                      <a:pt x="1671" y="10777"/>
                    </a:cubicBezTo>
                    <a:cubicBezTo>
                      <a:pt x="1701" y="10756"/>
                      <a:pt x="1763" y="10720"/>
                      <a:pt x="1801" y="10705"/>
                    </a:cubicBezTo>
                    <a:cubicBezTo>
                      <a:pt x="1851" y="10685"/>
                      <a:pt x="1911" y="10644"/>
                      <a:pt x="1971" y="10576"/>
                    </a:cubicBezTo>
                    <a:cubicBezTo>
                      <a:pt x="2007" y="10534"/>
                      <a:pt x="2045" y="10510"/>
                      <a:pt x="2075" y="10499"/>
                    </a:cubicBezTo>
                    <a:cubicBezTo>
                      <a:pt x="2015" y="10514"/>
                      <a:pt x="1962" y="10563"/>
                      <a:pt x="1936" y="10590"/>
                    </a:cubicBezTo>
                    <a:cubicBezTo>
                      <a:pt x="1892" y="10635"/>
                      <a:pt x="1811" y="10697"/>
                      <a:pt x="1760" y="10721"/>
                    </a:cubicBezTo>
                    <a:cubicBezTo>
                      <a:pt x="1732" y="10733"/>
                      <a:pt x="1676" y="10740"/>
                      <a:pt x="1619" y="10749"/>
                    </a:cubicBezTo>
                    <a:cubicBezTo>
                      <a:pt x="1561" y="10758"/>
                      <a:pt x="1503" y="10769"/>
                      <a:pt x="1479" y="10783"/>
                    </a:cubicBezTo>
                    <a:cubicBezTo>
                      <a:pt x="1463" y="10792"/>
                      <a:pt x="1435" y="10805"/>
                      <a:pt x="1402" y="10820"/>
                    </a:cubicBezTo>
                    <a:cubicBezTo>
                      <a:pt x="1403" y="10821"/>
                      <a:pt x="1403" y="10821"/>
                      <a:pt x="1403" y="10821"/>
                    </a:cubicBezTo>
                    <a:cubicBezTo>
                      <a:pt x="1310" y="10821"/>
                      <a:pt x="1310" y="10821"/>
                      <a:pt x="1310" y="10821"/>
                    </a:cubicBezTo>
                    <a:cubicBezTo>
                      <a:pt x="1289" y="10798"/>
                      <a:pt x="1270" y="10776"/>
                      <a:pt x="1256" y="10759"/>
                    </a:cubicBezTo>
                    <a:cubicBezTo>
                      <a:pt x="1199" y="10693"/>
                      <a:pt x="1176" y="10650"/>
                      <a:pt x="1148" y="10602"/>
                    </a:cubicBezTo>
                    <a:cubicBezTo>
                      <a:pt x="1119" y="10553"/>
                      <a:pt x="855" y="10085"/>
                      <a:pt x="851" y="10080"/>
                    </a:cubicBezTo>
                    <a:cubicBezTo>
                      <a:pt x="911" y="10046"/>
                      <a:pt x="911" y="10046"/>
                      <a:pt x="911" y="10046"/>
                    </a:cubicBezTo>
                    <a:cubicBezTo>
                      <a:pt x="914" y="10051"/>
                      <a:pt x="914" y="10051"/>
                      <a:pt x="914" y="10051"/>
                    </a:cubicBezTo>
                    <a:cubicBezTo>
                      <a:pt x="915" y="10051"/>
                      <a:pt x="981" y="10168"/>
                      <a:pt x="1050" y="10291"/>
                    </a:cubicBezTo>
                    <a:cubicBezTo>
                      <a:pt x="1120" y="10414"/>
                      <a:pt x="1194" y="10544"/>
                      <a:pt x="1208" y="10568"/>
                    </a:cubicBezTo>
                    <a:cubicBezTo>
                      <a:pt x="1222" y="10593"/>
                      <a:pt x="1234" y="10614"/>
                      <a:pt x="1250" y="10637"/>
                    </a:cubicBezTo>
                    <a:cubicBezTo>
                      <a:pt x="1582" y="10456"/>
                      <a:pt x="1582" y="10456"/>
                      <a:pt x="1582" y="10456"/>
                    </a:cubicBezTo>
                    <a:cubicBezTo>
                      <a:pt x="1588" y="10384"/>
                      <a:pt x="1588" y="10384"/>
                      <a:pt x="1588" y="10384"/>
                    </a:cubicBezTo>
                    <a:cubicBezTo>
                      <a:pt x="1577" y="10383"/>
                      <a:pt x="1577" y="10383"/>
                      <a:pt x="1577" y="10383"/>
                    </a:cubicBezTo>
                    <a:cubicBezTo>
                      <a:pt x="1577" y="10380"/>
                      <a:pt x="1577" y="10380"/>
                      <a:pt x="1577" y="10380"/>
                    </a:cubicBezTo>
                    <a:cubicBezTo>
                      <a:pt x="1577" y="10380"/>
                      <a:pt x="1582" y="10331"/>
                      <a:pt x="1587" y="10281"/>
                    </a:cubicBezTo>
                    <a:cubicBezTo>
                      <a:pt x="1590" y="10243"/>
                      <a:pt x="1594" y="10202"/>
                      <a:pt x="1595" y="10184"/>
                    </a:cubicBezTo>
                    <a:cubicBezTo>
                      <a:pt x="1336" y="9965"/>
                      <a:pt x="1336" y="9965"/>
                      <a:pt x="1336" y="9965"/>
                    </a:cubicBezTo>
                    <a:cubicBezTo>
                      <a:pt x="1346" y="9952"/>
                      <a:pt x="1346" y="9952"/>
                      <a:pt x="1346" y="9952"/>
                    </a:cubicBezTo>
                    <a:cubicBezTo>
                      <a:pt x="1337" y="9944"/>
                      <a:pt x="1310" y="9922"/>
                      <a:pt x="1284" y="9900"/>
                    </a:cubicBezTo>
                    <a:cubicBezTo>
                      <a:pt x="1267" y="9886"/>
                      <a:pt x="1251" y="9872"/>
                      <a:pt x="1238" y="9861"/>
                    </a:cubicBezTo>
                    <a:cubicBezTo>
                      <a:pt x="1236" y="9859"/>
                      <a:pt x="1235" y="9857"/>
                      <a:pt x="1232" y="9856"/>
                    </a:cubicBezTo>
                    <a:cubicBezTo>
                      <a:pt x="1192" y="9878"/>
                      <a:pt x="1152" y="9899"/>
                      <a:pt x="1114" y="9920"/>
                    </a:cubicBezTo>
                    <a:cubicBezTo>
                      <a:pt x="859" y="10058"/>
                      <a:pt x="690" y="10149"/>
                      <a:pt x="676" y="10157"/>
                    </a:cubicBezTo>
                    <a:cubicBezTo>
                      <a:pt x="673" y="10159"/>
                      <a:pt x="660" y="10167"/>
                      <a:pt x="641" y="10178"/>
                    </a:cubicBezTo>
                    <a:cubicBezTo>
                      <a:pt x="655" y="10195"/>
                      <a:pt x="671" y="10213"/>
                      <a:pt x="687" y="10232"/>
                    </a:cubicBezTo>
                    <a:cubicBezTo>
                      <a:pt x="738" y="10212"/>
                      <a:pt x="781" y="10198"/>
                      <a:pt x="806" y="10197"/>
                    </a:cubicBezTo>
                    <a:cubicBezTo>
                      <a:pt x="807" y="10197"/>
                      <a:pt x="807" y="10197"/>
                      <a:pt x="807" y="10197"/>
                    </a:cubicBezTo>
                    <a:cubicBezTo>
                      <a:pt x="807" y="10197"/>
                      <a:pt x="807" y="10197"/>
                      <a:pt x="809" y="10198"/>
                    </a:cubicBezTo>
                    <a:cubicBezTo>
                      <a:pt x="831" y="10200"/>
                      <a:pt x="848" y="10217"/>
                      <a:pt x="869" y="10241"/>
                    </a:cubicBezTo>
                    <a:cubicBezTo>
                      <a:pt x="932" y="10316"/>
                      <a:pt x="1010" y="10467"/>
                      <a:pt x="1039" y="10532"/>
                    </a:cubicBezTo>
                    <a:cubicBezTo>
                      <a:pt x="1056" y="10570"/>
                      <a:pt x="1121" y="10651"/>
                      <a:pt x="1181" y="10721"/>
                    </a:cubicBezTo>
                    <a:cubicBezTo>
                      <a:pt x="1216" y="10761"/>
                      <a:pt x="1249" y="10797"/>
                      <a:pt x="1271" y="10821"/>
                    </a:cubicBezTo>
                    <a:cubicBezTo>
                      <a:pt x="1237" y="10821"/>
                      <a:pt x="1237" y="10821"/>
                      <a:pt x="1237" y="10821"/>
                    </a:cubicBezTo>
                    <a:cubicBezTo>
                      <a:pt x="1171" y="10749"/>
                      <a:pt x="1046" y="10607"/>
                      <a:pt x="1016" y="10542"/>
                    </a:cubicBezTo>
                    <a:cubicBezTo>
                      <a:pt x="998" y="10500"/>
                      <a:pt x="957" y="10419"/>
                      <a:pt x="914" y="10348"/>
                    </a:cubicBezTo>
                    <a:cubicBezTo>
                      <a:pt x="892" y="10313"/>
                      <a:pt x="870" y="10280"/>
                      <a:pt x="850" y="10257"/>
                    </a:cubicBezTo>
                    <a:cubicBezTo>
                      <a:pt x="831" y="10233"/>
                      <a:pt x="812" y="10221"/>
                      <a:pt x="807" y="10222"/>
                    </a:cubicBezTo>
                    <a:cubicBezTo>
                      <a:pt x="807" y="10222"/>
                      <a:pt x="807" y="10222"/>
                      <a:pt x="807" y="10222"/>
                    </a:cubicBezTo>
                    <a:cubicBezTo>
                      <a:pt x="806" y="10222"/>
                      <a:pt x="806" y="10222"/>
                      <a:pt x="806" y="10222"/>
                    </a:cubicBezTo>
                    <a:cubicBezTo>
                      <a:pt x="805" y="10222"/>
                      <a:pt x="805" y="10222"/>
                      <a:pt x="805" y="10222"/>
                    </a:cubicBezTo>
                    <a:cubicBezTo>
                      <a:pt x="788" y="10222"/>
                      <a:pt x="750" y="10234"/>
                      <a:pt x="704" y="10252"/>
                    </a:cubicBezTo>
                    <a:cubicBezTo>
                      <a:pt x="778" y="10338"/>
                      <a:pt x="867" y="10440"/>
                      <a:pt x="955" y="10542"/>
                    </a:cubicBezTo>
                    <a:cubicBezTo>
                      <a:pt x="1041" y="10641"/>
                      <a:pt x="1126" y="10740"/>
                      <a:pt x="1197" y="10821"/>
                    </a:cubicBezTo>
                    <a:cubicBezTo>
                      <a:pt x="1105" y="10821"/>
                      <a:pt x="1105" y="10821"/>
                      <a:pt x="1105" y="10821"/>
                    </a:cubicBezTo>
                    <a:cubicBezTo>
                      <a:pt x="1040" y="10746"/>
                      <a:pt x="966" y="10660"/>
                      <a:pt x="892" y="10574"/>
                    </a:cubicBezTo>
                    <a:cubicBezTo>
                      <a:pt x="801" y="10470"/>
                      <a:pt x="711" y="10365"/>
                      <a:pt x="637" y="10279"/>
                    </a:cubicBezTo>
                    <a:cubicBezTo>
                      <a:pt x="589" y="10300"/>
                      <a:pt x="540" y="10323"/>
                      <a:pt x="498" y="10344"/>
                    </a:cubicBezTo>
                    <a:cubicBezTo>
                      <a:pt x="587" y="10502"/>
                      <a:pt x="587" y="10502"/>
                      <a:pt x="587" y="10502"/>
                    </a:cubicBezTo>
                    <a:cubicBezTo>
                      <a:pt x="706" y="10434"/>
                      <a:pt x="706" y="10434"/>
                      <a:pt x="706" y="10434"/>
                    </a:cubicBezTo>
                    <a:cubicBezTo>
                      <a:pt x="710" y="10441"/>
                      <a:pt x="710" y="10441"/>
                      <a:pt x="710" y="10441"/>
                    </a:cubicBezTo>
                    <a:cubicBezTo>
                      <a:pt x="710" y="10441"/>
                      <a:pt x="787" y="10562"/>
                      <a:pt x="864" y="10683"/>
                    </a:cubicBezTo>
                    <a:cubicBezTo>
                      <a:pt x="895" y="10732"/>
                      <a:pt x="926" y="10780"/>
                      <a:pt x="952" y="10821"/>
                    </a:cubicBezTo>
                    <a:cubicBezTo>
                      <a:pt x="932" y="10821"/>
                      <a:pt x="932" y="10821"/>
                      <a:pt x="932" y="10821"/>
                    </a:cubicBezTo>
                    <a:cubicBezTo>
                      <a:pt x="907" y="10781"/>
                      <a:pt x="878" y="10735"/>
                      <a:pt x="849" y="10689"/>
                    </a:cubicBezTo>
                    <a:cubicBezTo>
                      <a:pt x="783" y="10585"/>
                      <a:pt x="718" y="10483"/>
                      <a:pt x="701" y="10456"/>
                    </a:cubicBezTo>
                    <a:cubicBezTo>
                      <a:pt x="595" y="10516"/>
                      <a:pt x="595" y="10516"/>
                      <a:pt x="595" y="10516"/>
                    </a:cubicBezTo>
                    <a:cubicBezTo>
                      <a:pt x="740" y="10776"/>
                      <a:pt x="740" y="10776"/>
                      <a:pt x="740" y="10776"/>
                    </a:cubicBezTo>
                    <a:cubicBezTo>
                      <a:pt x="649" y="10821"/>
                      <a:pt x="649" y="10821"/>
                      <a:pt x="649" y="10821"/>
                    </a:cubicBezTo>
                    <a:cubicBezTo>
                      <a:pt x="612" y="10821"/>
                      <a:pt x="612" y="10821"/>
                      <a:pt x="612" y="10821"/>
                    </a:cubicBezTo>
                    <a:cubicBezTo>
                      <a:pt x="717" y="10769"/>
                      <a:pt x="717" y="10769"/>
                      <a:pt x="717" y="10769"/>
                    </a:cubicBezTo>
                    <a:cubicBezTo>
                      <a:pt x="492" y="10365"/>
                      <a:pt x="492" y="10365"/>
                      <a:pt x="492" y="10365"/>
                    </a:cubicBezTo>
                    <a:cubicBezTo>
                      <a:pt x="324" y="10453"/>
                      <a:pt x="324" y="10453"/>
                      <a:pt x="324" y="10453"/>
                    </a:cubicBezTo>
                    <a:cubicBezTo>
                      <a:pt x="351" y="10512"/>
                      <a:pt x="351" y="10512"/>
                      <a:pt x="351" y="10512"/>
                    </a:cubicBezTo>
                    <a:cubicBezTo>
                      <a:pt x="351" y="10511"/>
                      <a:pt x="351" y="10511"/>
                      <a:pt x="351" y="10511"/>
                    </a:cubicBezTo>
                    <a:cubicBezTo>
                      <a:pt x="357" y="10524"/>
                      <a:pt x="357" y="10524"/>
                      <a:pt x="357" y="10524"/>
                    </a:cubicBezTo>
                    <a:cubicBezTo>
                      <a:pt x="357" y="10524"/>
                      <a:pt x="426" y="10697"/>
                      <a:pt x="481" y="10821"/>
                    </a:cubicBezTo>
                    <a:cubicBezTo>
                      <a:pt x="432" y="10821"/>
                      <a:pt x="432" y="10821"/>
                      <a:pt x="432" y="10821"/>
                    </a:cubicBezTo>
                    <a:cubicBezTo>
                      <a:pt x="402" y="10753"/>
                      <a:pt x="369" y="10675"/>
                      <a:pt x="346" y="10618"/>
                    </a:cubicBezTo>
                    <a:cubicBezTo>
                      <a:pt x="344" y="10619"/>
                      <a:pt x="344" y="10619"/>
                      <a:pt x="344" y="10619"/>
                    </a:cubicBezTo>
                    <a:cubicBezTo>
                      <a:pt x="344" y="10619"/>
                      <a:pt x="329" y="10630"/>
                      <a:pt x="306" y="10646"/>
                    </a:cubicBezTo>
                    <a:cubicBezTo>
                      <a:pt x="379" y="10795"/>
                      <a:pt x="379" y="10795"/>
                      <a:pt x="379" y="10795"/>
                    </a:cubicBezTo>
                    <a:cubicBezTo>
                      <a:pt x="372" y="10798"/>
                      <a:pt x="372" y="10798"/>
                      <a:pt x="372" y="10798"/>
                    </a:cubicBezTo>
                    <a:cubicBezTo>
                      <a:pt x="317" y="10821"/>
                      <a:pt x="317" y="10821"/>
                      <a:pt x="317" y="10821"/>
                    </a:cubicBezTo>
                    <a:cubicBezTo>
                      <a:pt x="278" y="10821"/>
                      <a:pt x="278" y="10821"/>
                      <a:pt x="278" y="10821"/>
                    </a:cubicBezTo>
                    <a:cubicBezTo>
                      <a:pt x="359" y="10788"/>
                      <a:pt x="359" y="10788"/>
                      <a:pt x="359" y="10788"/>
                    </a:cubicBezTo>
                    <a:cubicBezTo>
                      <a:pt x="301" y="10669"/>
                      <a:pt x="301" y="10669"/>
                      <a:pt x="301" y="10669"/>
                    </a:cubicBezTo>
                    <a:cubicBezTo>
                      <a:pt x="185" y="10808"/>
                      <a:pt x="185" y="10808"/>
                      <a:pt x="185" y="10808"/>
                    </a:cubicBezTo>
                    <a:cubicBezTo>
                      <a:pt x="189" y="10821"/>
                      <a:pt x="189" y="10821"/>
                      <a:pt x="189" y="10821"/>
                    </a:cubicBezTo>
                    <a:cubicBezTo>
                      <a:pt x="174" y="10821"/>
                      <a:pt x="174" y="10821"/>
                      <a:pt x="174" y="10821"/>
                    </a:cubicBezTo>
                    <a:cubicBezTo>
                      <a:pt x="169" y="10804"/>
                      <a:pt x="169" y="10804"/>
                      <a:pt x="169" y="10804"/>
                    </a:cubicBezTo>
                    <a:cubicBezTo>
                      <a:pt x="294" y="10654"/>
                      <a:pt x="294" y="10654"/>
                      <a:pt x="294" y="10654"/>
                    </a:cubicBezTo>
                    <a:cubicBezTo>
                      <a:pt x="265" y="10674"/>
                      <a:pt x="228" y="10700"/>
                      <a:pt x="190" y="10727"/>
                    </a:cubicBezTo>
                    <a:cubicBezTo>
                      <a:pt x="151" y="10754"/>
                      <a:pt x="112" y="10781"/>
                      <a:pt x="84" y="10802"/>
                    </a:cubicBezTo>
                    <a:cubicBezTo>
                      <a:pt x="76" y="10807"/>
                      <a:pt x="69" y="10813"/>
                      <a:pt x="57" y="10821"/>
                    </a:cubicBezTo>
                    <a:cubicBezTo>
                      <a:pt x="30" y="10821"/>
                      <a:pt x="30" y="10821"/>
                      <a:pt x="30" y="10821"/>
                    </a:cubicBezTo>
                    <a:cubicBezTo>
                      <a:pt x="54" y="10803"/>
                      <a:pt x="66" y="10795"/>
                      <a:pt x="78" y="10786"/>
                    </a:cubicBezTo>
                    <a:cubicBezTo>
                      <a:pt x="166" y="10723"/>
                      <a:pt x="336" y="10605"/>
                      <a:pt x="340" y="10602"/>
                    </a:cubicBezTo>
                    <a:cubicBezTo>
                      <a:pt x="324" y="10563"/>
                      <a:pt x="313" y="10537"/>
                      <a:pt x="313" y="10537"/>
                    </a:cubicBezTo>
                    <a:cubicBezTo>
                      <a:pt x="345" y="10515"/>
                      <a:pt x="345" y="10515"/>
                      <a:pt x="345" y="10515"/>
                    </a:cubicBezTo>
                    <a:cubicBezTo>
                      <a:pt x="337" y="10521"/>
                      <a:pt x="337" y="10521"/>
                      <a:pt x="337" y="10521"/>
                    </a:cubicBezTo>
                    <a:cubicBezTo>
                      <a:pt x="302" y="10446"/>
                      <a:pt x="302" y="10446"/>
                      <a:pt x="302" y="10446"/>
                    </a:cubicBezTo>
                    <a:cubicBezTo>
                      <a:pt x="248" y="10476"/>
                      <a:pt x="197" y="10510"/>
                      <a:pt x="157" y="10554"/>
                    </a:cubicBezTo>
                    <a:cubicBezTo>
                      <a:pt x="102" y="10615"/>
                      <a:pt x="37" y="10696"/>
                      <a:pt x="3" y="10737"/>
                    </a:cubicBezTo>
                    <a:cubicBezTo>
                      <a:pt x="3" y="10698"/>
                      <a:pt x="3" y="10698"/>
                      <a:pt x="3" y="10698"/>
                    </a:cubicBezTo>
                    <a:cubicBezTo>
                      <a:pt x="39" y="10654"/>
                      <a:pt x="92" y="10589"/>
                      <a:pt x="139" y="10538"/>
                    </a:cubicBezTo>
                    <a:cubicBezTo>
                      <a:pt x="220" y="10449"/>
                      <a:pt x="341" y="10400"/>
                      <a:pt x="436" y="10348"/>
                    </a:cubicBezTo>
                    <a:cubicBezTo>
                      <a:pt x="481" y="10324"/>
                      <a:pt x="552" y="10289"/>
                      <a:pt x="620" y="10260"/>
                    </a:cubicBezTo>
                    <a:cubicBezTo>
                      <a:pt x="614" y="10252"/>
                      <a:pt x="607" y="10245"/>
                      <a:pt x="601" y="10238"/>
                    </a:cubicBezTo>
                    <a:cubicBezTo>
                      <a:pt x="594" y="10230"/>
                      <a:pt x="587" y="10222"/>
                      <a:pt x="581" y="10214"/>
                    </a:cubicBezTo>
                    <a:cubicBezTo>
                      <a:pt x="544" y="10236"/>
                      <a:pt x="514" y="10255"/>
                      <a:pt x="477" y="10280"/>
                    </a:cubicBezTo>
                    <a:cubicBezTo>
                      <a:pt x="476" y="10280"/>
                      <a:pt x="476" y="10280"/>
                      <a:pt x="476" y="10280"/>
                    </a:cubicBezTo>
                    <a:cubicBezTo>
                      <a:pt x="475" y="10281"/>
                      <a:pt x="475" y="10281"/>
                      <a:pt x="475" y="10281"/>
                    </a:cubicBezTo>
                    <a:cubicBezTo>
                      <a:pt x="474" y="10281"/>
                      <a:pt x="405" y="10304"/>
                      <a:pt x="388" y="10305"/>
                    </a:cubicBezTo>
                    <a:cubicBezTo>
                      <a:pt x="303" y="10320"/>
                      <a:pt x="303" y="10320"/>
                      <a:pt x="303" y="10320"/>
                    </a:cubicBezTo>
                    <a:cubicBezTo>
                      <a:pt x="278" y="10324"/>
                      <a:pt x="250" y="10328"/>
                      <a:pt x="221" y="10331"/>
                    </a:cubicBezTo>
                    <a:cubicBezTo>
                      <a:pt x="182" y="10373"/>
                      <a:pt x="140" y="10418"/>
                      <a:pt x="99" y="10463"/>
                    </a:cubicBezTo>
                    <a:cubicBezTo>
                      <a:pt x="66" y="10498"/>
                      <a:pt x="34" y="10533"/>
                      <a:pt x="3" y="10566"/>
                    </a:cubicBezTo>
                    <a:cubicBezTo>
                      <a:pt x="3" y="10336"/>
                      <a:pt x="3" y="10336"/>
                      <a:pt x="3" y="10336"/>
                    </a:cubicBezTo>
                    <a:cubicBezTo>
                      <a:pt x="5" y="10336"/>
                      <a:pt x="7" y="10336"/>
                      <a:pt x="9" y="10336"/>
                    </a:cubicBezTo>
                    <a:cubicBezTo>
                      <a:pt x="107" y="10229"/>
                      <a:pt x="204" y="10125"/>
                      <a:pt x="264" y="10061"/>
                    </a:cubicBezTo>
                    <a:cubicBezTo>
                      <a:pt x="224" y="10055"/>
                      <a:pt x="184" y="10050"/>
                      <a:pt x="148" y="10050"/>
                    </a:cubicBezTo>
                    <a:cubicBezTo>
                      <a:pt x="136" y="10050"/>
                      <a:pt x="126" y="10051"/>
                      <a:pt x="116" y="10052"/>
                    </a:cubicBezTo>
                    <a:cubicBezTo>
                      <a:pt x="74" y="10055"/>
                      <a:pt x="35" y="10071"/>
                      <a:pt x="3" y="10089"/>
                    </a:cubicBezTo>
                    <a:cubicBezTo>
                      <a:pt x="3" y="10070"/>
                      <a:pt x="3" y="10070"/>
                      <a:pt x="3" y="10070"/>
                    </a:cubicBezTo>
                    <a:cubicBezTo>
                      <a:pt x="35" y="10054"/>
                      <a:pt x="73" y="10039"/>
                      <a:pt x="114" y="10035"/>
                    </a:cubicBezTo>
                    <a:cubicBezTo>
                      <a:pt x="125" y="10034"/>
                      <a:pt x="136" y="10034"/>
                      <a:pt x="148" y="10034"/>
                    </a:cubicBezTo>
                    <a:cubicBezTo>
                      <a:pt x="188" y="10034"/>
                      <a:pt x="233" y="10039"/>
                      <a:pt x="277" y="10046"/>
                    </a:cubicBezTo>
                    <a:cubicBezTo>
                      <a:pt x="302" y="10019"/>
                      <a:pt x="319" y="10001"/>
                      <a:pt x="324" y="9996"/>
                    </a:cubicBezTo>
                    <a:cubicBezTo>
                      <a:pt x="336" y="9984"/>
                      <a:pt x="355" y="9968"/>
                      <a:pt x="370" y="9957"/>
                    </a:cubicBezTo>
                    <a:cubicBezTo>
                      <a:pt x="280" y="9788"/>
                      <a:pt x="280" y="9788"/>
                      <a:pt x="280" y="9788"/>
                    </a:cubicBezTo>
                    <a:cubicBezTo>
                      <a:pt x="268" y="9795"/>
                      <a:pt x="244" y="9808"/>
                      <a:pt x="220" y="9822"/>
                    </a:cubicBezTo>
                    <a:cubicBezTo>
                      <a:pt x="203" y="9832"/>
                      <a:pt x="185" y="9842"/>
                      <a:pt x="172" y="9849"/>
                    </a:cubicBezTo>
                    <a:cubicBezTo>
                      <a:pt x="165" y="9852"/>
                      <a:pt x="159" y="9856"/>
                      <a:pt x="155" y="9858"/>
                    </a:cubicBezTo>
                    <a:cubicBezTo>
                      <a:pt x="149" y="9860"/>
                      <a:pt x="149" y="9861"/>
                      <a:pt x="143" y="9862"/>
                    </a:cubicBezTo>
                    <a:cubicBezTo>
                      <a:pt x="143" y="9862"/>
                      <a:pt x="143" y="9862"/>
                      <a:pt x="143" y="9862"/>
                    </a:cubicBezTo>
                    <a:cubicBezTo>
                      <a:pt x="143" y="9862"/>
                      <a:pt x="142" y="9862"/>
                      <a:pt x="142" y="9862"/>
                    </a:cubicBezTo>
                    <a:cubicBezTo>
                      <a:pt x="141" y="9862"/>
                      <a:pt x="141" y="9862"/>
                      <a:pt x="141" y="9862"/>
                    </a:cubicBezTo>
                    <a:cubicBezTo>
                      <a:pt x="140" y="9861"/>
                      <a:pt x="140" y="9861"/>
                      <a:pt x="140" y="9861"/>
                    </a:cubicBezTo>
                    <a:cubicBezTo>
                      <a:pt x="137" y="9860"/>
                      <a:pt x="137" y="9860"/>
                      <a:pt x="135" y="9858"/>
                    </a:cubicBezTo>
                    <a:cubicBezTo>
                      <a:pt x="130" y="9854"/>
                      <a:pt x="117" y="9841"/>
                      <a:pt x="101" y="9827"/>
                    </a:cubicBezTo>
                    <a:cubicBezTo>
                      <a:pt x="86" y="9851"/>
                      <a:pt x="45" y="9914"/>
                      <a:pt x="3" y="9980"/>
                    </a:cubicBezTo>
                    <a:cubicBezTo>
                      <a:pt x="3" y="9949"/>
                      <a:pt x="3" y="9949"/>
                      <a:pt x="3" y="9949"/>
                    </a:cubicBezTo>
                    <a:cubicBezTo>
                      <a:pt x="42" y="9889"/>
                      <a:pt x="77" y="9834"/>
                      <a:pt x="89" y="9815"/>
                    </a:cubicBezTo>
                    <a:cubicBezTo>
                      <a:pt x="81" y="9807"/>
                      <a:pt x="72" y="9800"/>
                      <a:pt x="64" y="9792"/>
                    </a:cubicBezTo>
                    <a:cubicBezTo>
                      <a:pt x="49" y="9777"/>
                      <a:pt x="34" y="9763"/>
                      <a:pt x="22" y="9753"/>
                    </a:cubicBezTo>
                    <a:cubicBezTo>
                      <a:pt x="17" y="9748"/>
                      <a:pt x="12" y="9744"/>
                      <a:pt x="9" y="9741"/>
                    </a:cubicBezTo>
                    <a:cubicBezTo>
                      <a:pt x="7" y="9740"/>
                      <a:pt x="6" y="9738"/>
                      <a:pt x="5" y="9738"/>
                    </a:cubicBezTo>
                    <a:cubicBezTo>
                      <a:pt x="5" y="9738"/>
                      <a:pt x="4" y="9737"/>
                      <a:pt x="4" y="9737"/>
                    </a:cubicBezTo>
                    <a:cubicBezTo>
                      <a:pt x="4" y="9737"/>
                      <a:pt x="4" y="9737"/>
                      <a:pt x="4" y="9737"/>
                    </a:cubicBezTo>
                    <a:cubicBezTo>
                      <a:pt x="4" y="9737"/>
                      <a:pt x="4" y="9737"/>
                      <a:pt x="3" y="9736"/>
                    </a:cubicBezTo>
                    <a:cubicBezTo>
                      <a:pt x="0" y="9734"/>
                      <a:pt x="0" y="9732"/>
                      <a:pt x="0" y="9731"/>
                    </a:cubicBezTo>
                    <a:cubicBezTo>
                      <a:pt x="0" y="9730"/>
                      <a:pt x="0" y="9729"/>
                      <a:pt x="0" y="9728"/>
                    </a:cubicBezTo>
                    <a:cubicBezTo>
                      <a:pt x="0" y="9724"/>
                      <a:pt x="1" y="9713"/>
                      <a:pt x="3" y="9699"/>
                    </a:cubicBezTo>
                    <a:cubicBezTo>
                      <a:pt x="10" y="9655"/>
                      <a:pt x="25" y="9577"/>
                      <a:pt x="30" y="9550"/>
                    </a:cubicBezTo>
                    <a:cubicBezTo>
                      <a:pt x="3" y="9557"/>
                      <a:pt x="3" y="9557"/>
                      <a:pt x="3" y="9557"/>
                    </a:cubicBezTo>
                    <a:cubicBezTo>
                      <a:pt x="3" y="9543"/>
                      <a:pt x="3" y="9543"/>
                      <a:pt x="3" y="9543"/>
                    </a:cubicBezTo>
                    <a:cubicBezTo>
                      <a:pt x="33" y="9534"/>
                      <a:pt x="33" y="9534"/>
                      <a:pt x="33" y="9534"/>
                    </a:cubicBezTo>
                    <a:cubicBezTo>
                      <a:pt x="33" y="9534"/>
                      <a:pt x="33" y="9534"/>
                      <a:pt x="33" y="9534"/>
                    </a:cubicBezTo>
                    <a:cubicBezTo>
                      <a:pt x="130" y="9508"/>
                      <a:pt x="130" y="9508"/>
                      <a:pt x="130" y="9508"/>
                    </a:cubicBezTo>
                    <a:cubicBezTo>
                      <a:pt x="38" y="9337"/>
                      <a:pt x="38" y="9337"/>
                      <a:pt x="38" y="9337"/>
                    </a:cubicBezTo>
                    <a:cubicBezTo>
                      <a:pt x="38" y="9337"/>
                      <a:pt x="38" y="9337"/>
                      <a:pt x="38" y="9337"/>
                    </a:cubicBezTo>
                    <a:cubicBezTo>
                      <a:pt x="3" y="9268"/>
                      <a:pt x="3" y="9268"/>
                      <a:pt x="3" y="9268"/>
                    </a:cubicBezTo>
                    <a:cubicBezTo>
                      <a:pt x="3" y="9125"/>
                      <a:pt x="3" y="9125"/>
                      <a:pt x="3" y="9125"/>
                    </a:cubicBezTo>
                    <a:cubicBezTo>
                      <a:pt x="97" y="9309"/>
                      <a:pt x="97" y="9309"/>
                      <a:pt x="97" y="9309"/>
                    </a:cubicBezTo>
                    <a:cubicBezTo>
                      <a:pt x="109" y="9304"/>
                      <a:pt x="124" y="9297"/>
                      <a:pt x="139" y="9290"/>
                    </a:cubicBezTo>
                    <a:cubicBezTo>
                      <a:pt x="174" y="9274"/>
                      <a:pt x="210" y="9258"/>
                      <a:pt x="226" y="9252"/>
                    </a:cubicBezTo>
                    <a:cubicBezTo>
                      <a:pt x="229" y="9251"/>
                      <a:pt x="232" y="9249"/>
                      <a:pt x="235" y="9248"/>
                    </a:cubicBezTo>
                    <a:cubicBezTo>
                      <a:pt x="330" y="9020"/>
                      <a:pt x="330" y="9020"/>
                      <a:pt x="330" y="9020"/>
                    </a:cubicBezTo>
                    <a:cubicBezTo>
                      <a:pt x="144" y="8866"/>
                      <a:pt x="144" y="8866"/>
                      <a:pt x="144" y="8866"/>
                    </a:cubicBezTo>
                    <a:cubicBezTo>
                      <a:pt x="3" y="8983"/>
                      <a:pt x="3" y="8983"/>
                      <a:pt x="3" y="8983"/>
                    </a:cubicBezTo>
                    <a:cubicBezTo>
                      <a:pt x="3" y="8897"/>
                      <a:pt x="3" y="8897"/>
                      <a:pt x="3" y="8897"/>
                    </a:cubicBezTo>
                    <a:cubicBezTo>
                      <a:pt x="318" y="8636"/>
                      <a:pt x="318" y="8636"/>
                      <a:pt x="318" y="8636"/>
                    </a:cubicBezTo>
                    <a:cubicBezTo>
                      <a:pt x="196" y="8510"/>
                      <a:pt x="196" y="8510"/>
                      <a:pt x="196" y="8510"/>
                    </a:cubicBezTo>
                    <a:cubicBezTo>
                      <a:pt x="196" y="8510"/>
                      <a:pt x="196" y="8510"/>
                      <a:pt x="196" y="8510"/>
                    </a:cubicBezTo>
                    <a:cubicBezTo>
                      <a:pt x="185" y="8501"/>
                      <a:pt x="185" y="8501"/>
                      <a:pt x="185" y="8501"/>
                    </a:cubicBezTo>
                    <a:cubicBezTo>
                      <a:pt x="185" y="8501"/>
                      <a:pt x="185" y="8501"/>
                      <a:pt x="185" y="8501"/>
                    </a:cubicBezTo>
                    <a:cubicBezTo>
                      <a:pt x="224" y="8461"/>
                      <a:pt x="224" y="8461"/>
                      <a:pt x="224" y="8461"/>
                    </a:cubicBezTo>
                    <a:cubicBezTo>
                      <a:pt x="153" y="8386"/>
                      <a:pt x="153" y="8386"/>
                      <a:pt x="153" y="8386"/>
                    </a:cubicBezTo>
                    <a:cubicBezTo>
                      <a:pt x="113" y="8416"/>
                      <a:pt x="63" y="8445"/>
                      <a:pt x="3" y="8470"/>
                    </a:cubicBezTo>
                    <a:cubicBezTo>
                      <a:pt x="3" y="8399"/>
                      <a:pt x="3" y="8399"/>
                      <a:pt x="3" y="8399"/>
                    </a:cubicBezTo>
                    <a:cubicBezTo>
                      <a:pt x="99" y="8355"/>
                      <a:pt x="159" y="8300"/>
                      <a:pt x="205" y="8253"/>
                    </a:cubicBezTo>
                    <a:cubicBezTo>
                      <a:pt x="196" y="8245"/>
                      <a:pt x="184" y="8235"/>
                      <a:pt x="170" y="8223"/>
                    </a:cubicBezTo>
                    <a:cubicBezTo>
                      <a:pt x="130" y="8191"/>
                      <a:pt x="72" y="8147"/>
                      <a:pt x="3" y="8105"/>
                    </a:cubicBezTo>
                    <a:cubicBezTo>
                      <a:pt x="3" y="8029"/>
                      <a:pt x="3" y="8029"/>
                      <a:pt x="3" y="8029"/>
                    </a:cubicBezTo>
                    <a:cubicBezTo>
                      <a:pt x="4" y="8029"/>
                      <a:pt x="4" y="8030"/>
                      <a:pt x="5" y="8030"/>
                    </a:cubicBezTo>
                    <a:cubicBezTo>
                      <a:pt x="16" y="8007"/>
                      <a:pt x="35" y="7966"/>
                      <a:pt x="55" y="7924"/>
                    </a:cubicBezTo>
                    <a:cubicBezTo>
                      <a:pt x="70" y="7893"/>
                      <a:pt x="85" y="7862"/>
                      <a:pt x="97" y="7839"/>
                    </a:cubicBezTo>
                    <a:cubicBezTo>
                      <a:pt x="103" y="7827"/>
                      <a:pt x="109" y="7817"/>
                      <a:pt x="113" y="7810"/>
                    </a:cubicBezTo>
                    <a:cubicBezTo>
                      <a:pt x="115" y="7807"/>
                      <a:pt x="117" y="7804"/>
                      <a:pt x="118" y="7802"/>
                    </a:cubicBezTo>
                    <a:cubicBezTo>
                      <a:pt x="121" y="7800"/>
                      <a:pt x="119" y="7798"/>
                      <a:pt x="127" y="7796"/>
                    </a:cubicBezTo>
                    <a:cubicBezTo>
                      <a:pt x="136" y="7796"/>
                      <a:pt x="196" y="7804"/>
                      <a:pt x="212" y="7805"/>
                    </a:cubicBezTo>
                    <a:cubicBezTo>
                      <a:pt x="220" y="7791"/>
                      <a:pt x="252" y="7713"/>
                      <a:pt x="280" y="7640"/>
                    </a:cubicBezTo>
                    <a:cubicBezTo>
                      <a:pt x="301" y="7585"/>
                      <a:pt x="321" y="7532"/>
                      <a:pt x="331" y="7504"/>
                    </a:cubicBezTo>
                    <a:cubicBezTo>
                      <a:pt x="170" y="7280"/>
                      <a:pt x="170" y="7280"/>
                      <a:pt x="170" y="7280"/>
                    </a:cubicBezTo>
                    <a:cubicBezTo>
                      <a:pt x="169" y="7280"/>
                      <a:pt x="169" y="7280"/>
                      <a:pt x="169" y="7280"/>
                    </a:cubicBezTo>
                    <a:cubicBezTo>
                      <a:pt x="147" y="7294"/>
                      <a:pt x="106" y="7321"/>
                      <a:pt x="67" y="7348"/>
                    </a:cubicBezTo>
                    <a:cubicBezTo>
                      <a:pt x="44" y="7363"/>
                      <a:pt x="22" y="7379"/>
                      <a:pt x="3" y="7391"/>
                    </a:cubicBezTo>
                    <a:cubicBezTo>
                      <a:pt x="3" y="7374"/>
                      <a:pt x="3" y="7374"/>
                      <a:pt x="3" y="7374"/>
                    </a:cubicBezTo>
                    <a:cubicBezTo>
                      <a:pt x="22" y="7362"/>
                      <a:pt x="43" y="7347"/>
                      <a:pt x="65" y="7333"/>
                    </a:cubicBezTo>
                    <a:cubicBezTo>
                      <a:pt x="93" y="7314"/>
                      <a:pt x="121" y="7295"/>
                      <a:pt x="143" y="7281"/>
                    </a:cubicBezTo>
                    <a:cubicBezTo>
                      <a:pt x="146" y="7278"/>
                      <a:pt x="150" y="7276"/>
                      <a:pt x="153" y="7274"/>
                    </a:cubicBezTo>
                    <a:cubicBezTo>
                      <a:pt x="3" y="7218"/>
                      <a:pt x="3" y="7218"/>
                      <a:pt x="3" y="7218"/>
                    </a:cubicBezTo>
                    <a:cubicBezTo>
                      <a:pt x="3" y="7170"/>
                      <a:pt x="3" y="7170"/>
                      <a:pt x="3" y="7170"/>
                    </a:cubicBezTo>
                    <a:cubicBezTo>
                      <a:pt x="191" y="7240"/>
                      <a:pt x="191" y="7240"/>
                      <a:pt x="191" y="7240"/>
                    </a:cubicBezTo>
                    <a:cubicBezTo>
                      <a:pt x="204" y="7211"/>
                      <a:pt x="229" y="7152"/>
                      <a:pt x="253" y="7095"/>
                    </a:cubicBezTo>
                    <a:cubicBezTo>
                      <a:pt x="269" y="7057"/>
                      <a:pt x="285" y="7019"/>
                      <a:pt x="298" y="6991"/>
                    </a:cubicBezTo>
                    <a:cubicBezTo>
                      <a:pt x="305" y="6977"/>
                      <a:pt x="310" y="6965"/>
                      <a:pt x="315" y="6957"/>
                    </a:cubicBezTo>
                    <a:cubicBezTo>
                      <a:pt x="317" y="6952"/>
                      <a:pt x="319" y="6949"/>
                      <a:pt x="321" y="6947"/>
                    </a:cubicBezTo>
                    <a:cubicBezTo>
                      <a:pt x="323" y="6944"/>
                      <a:pt x="323" y="6942"/>
                      <a:pt x="328" y="6941"/>
                    </a:cubicBezTo>
                    <a:cubicBezTo>
                      <a:pt x="329" y="6940"/>
                      <a:pt x="329" y="6940"/>
                      <a:pt x="330" y="6940"/>
                    </a:cubicBezTo>
                    <a:cubicBezTo>
                      <a:pt x="327" y="6938"/>
                      <a:pt x="324" y="6937"/>
                      <a:pt x="320" y="6935"/>
                    </a:cubicBezTo>
                    <a:cubicBezTo>
                      <a:pt x="285" y="6920"/>
                      <a:pt x="206" y="6884"/>
                      <a:pt x="134" y="6851"/>
                    </a:cubicBezTo>
                    <a:cubicBezTo>
                      <a:pt x="98" y="6834"/>
                      <a:pt x="64" y="6819"/>
                      <a:pt x="38" y="6807"/>
                    </a:cubicBezTo>
                    <a:cubicBezTo>
                      <a:pt x="26" y="6801"/>
                      <a:pt x="15" y="6797"/>
                      <a:pt x="8" y="6794"/>
                    </a:cubicBezTo>
                    <a:cubicBezTo>
                      <a:pt x="7" y="6793"/>
                      <a:pt x="6" y="6793"/>
                      <a:pt x="5" y="6793"/>
                    </a:cubicBezTo>
                    <a:cubicBezTo>
                      <a:pt x="5" y="6793"/>
                      <a:pt x="5" y="6793"/>
                      <a:pt x="5" y="6794"/>
                    </a:cubicBezTo>
                    <a:cubicBezTo>
                      <a:pt x="5" y="6804"/>
                      <a:pt x="4" y="6820"/>
                      <a:pt x="3" y="6837"/>
                    </a:cubicBezTo>
                    <a:cubicBezTo>
                      <a:pt x="3" y="6777"/>
                      <a:pt x="3" y="6777"/>
                      <a:pt x="3" y="6777"/>
                    </a:cubicBezTo>
                    <a:cubicBezTo>
                      <a:pt x="6" y="6778"/>
                      <a:pt x="10" y="6780"/>
                      <a:pt x="16" y="6782"/>
                    </a:cubicBezTo>
                    <a:cubicBezTo>
                      <a:pt x="51" y="6797"/>
                      <a:pt x="130" y="6834"/>
                      <a:pt x="202" y="6867"/>
                    </a:cubicBezTo>
                    <a:cubicBezTo>
                      <a:pt x="238" y="6883"/>
                      <a:pt x="272" y="6899"/>
                      <a:pt x="297" y="6910"/>
                    </a:cubicBezTo>
                    <a:cubicBezTo>
                      <a:pt x="310" y="6916"/>
                      <a:pt x="321" y="6921"/>
                      <a:pt x="328" y="6924"/>
                    </a:cubicBezTo>
                    <a:cubicBezTo>
                      <a:pt x="332" y="6926"/>
                      <a:pt x="335" y="6927"/>
                      <a:pt x="337" y="6928"/>
                    </a:cubicBezTo>
                    <a:cubicBezTo>
                      <a:pt x="339" y="6928"/>
                      <a:pt x="339" y="6928"/>
                      <a:pt x="340" y="6928"/>
                    </a:cubicBezTo>
                    <a:cubicBezTo>
                      <a:pt x="340" y="6929"/>
                      <a:pt x="340" y="6929"/>
                      <a:pt x="340" y="6929"/>
                    </a:cubicBezTo>
                    <a:cubicBezTo>
                      <a:pt x="340" y="6929"/>
                      <a:pt x="340" y="6929"/>
                      <a:pt x="340" y="6929"/>
                    </a:cubicBezTo>
                    <a:cubicBezTo>
                      <a:pt x="340" y="6929"/>
                      <a:pt x="340" y="6929"/>
                      <a:pt x="340" y="6929"/>
                    </a:cubicBezTo>
                    <a:cubicBezTo>
                      <a:pt x="341" y="6929"/>
                      <a:pt x="341" y="6929"/>
                      <a:pt x="341" y="6929"/>
                    </a:cubicBezTo>
                    <a:cubicBezTo>
                      <a:pt x="357" y="6913"/>
                      <a:pt x="385" y="6884"/>
                      <a:pt x="418" y="6847"/>
                    </a:cubicBezTo>
                    <a:cubicBezTo>
                      <a:pt x="485" y="6774"/>
                      <a:pt x="577" y="6672"/>
                      <a:pt x="658" y="6581"/>
                    </a:cubicBezTo>
                    <a:cubicBezTo>
                      <a:pt x="499" y="6451"/>
                      <a:pt x="315" y="6338"/>
                      <a:pt x="186" y="6279"/>
                    </a:cubicBezTo>
                    <a:cubicBezTo>
                      <a:pt x="158" y="6312"/>
                      <a:pt x="116" y="6388"/>
                      <a:pt x="13" y="6450"/>
                    </a:cubicBezTo>
                    <a:cubicBezTo>
                      <a:pt x="10" y="6452"/>
                      <a:pt x="6" y="6454"/>
                      <a:pt x="3" y="6456"/>
                    </a:cubicBezTo>
                    <a:cubicBezTo>
                      <a:pt x="3" y="6378"/>
                      <a:pt x="3" y="6378"/>
                      <a:pt x="3" y="6378"/>
                    </a:cubicBezTo>
                    <a:cubicBezTo>
                      <a:pt x="65" y="6334"/>
                      <a:pt x="95" y="6289"/>
                      <a:pt x="123" y="6252"/>
                    </a:cubicBezTo>
                    <a:cubicBezTo>
                      <a:pt x="114" y="6249"/>
                      <a:pt x="105" y="6246"/>
                      <a:pt x="96" y="6243"/>
                    </a:cubicBezTo>
                    <a:cubicBezTo>
                      <a:pt x="69" y="6235"/>
                      <a:pt x="38" y="6226"/>
                      <a:pt x="3" y="6218"/>
                    </a:cubicBezTo>
                    <a:cubicBezTo>
                      <a:pt x="3" y="6151"/>
                      <a:pt x="3" y="6151"/>
                      <a:pt x="3" y="6151"/>
                    </a:cubicBezTo>
                    <a:cubicBezTo>
                      <a:pt x="45" y="6161"/>
                      <a:pt x="83" y="6171"/>
                      <a:pt x="115" y="6180"/>
                    </a:cubicBezTo>
                    <a:cubicBezTo>
                      <a:pt x="129" y="6185"/>
                      <a:pt x="144" y="6190"/>
                      <a:pt x="159" y="6196"/>
                    </a:cubicBezTo>
                    <a:cubicBezTo>
                      <a:pt x="1258" y="4186"/>
                      <a:pt x="1258" y="4186"/>
                      <a:pt x="1258" y="4186"/>
                    </a:cubicBezTo>
                    <a:cubicBezTo>
                      <a:pt x="1257" y="4185"/>
                      <a:pt x="1257" y="4185"/>
                      <a:pt x="1256" y="4184"/>
                    </a:cubicBezTo>
                    <a:cubicBezTo>
                      <a:pt x="1236" y="4163"/>
                      <a:pt x="1182" y="4096"/>
                      <a:pt x="1109" y="4003"/>
                    </a:cubicBezTo>
                    <a:cubicBezTo>
                      <a:pt x="924" y="3768"/>
                      <a:pt x="625" y="3377"/>
                      <a:pt x="535" y="3260"/>
                    </a:cubicBezTo>
                    <a:cubicBezTo>
                      <a:pt x="3" y="3829"/>
                      <a:pt x="3" y="3829"/>
                      <a:pt x="3" y="3829"/>
                    </a:cubicBezTo>
                    <a:cubicBezTo>
                      <a:pt x="3" y="3733"/>
                      <a:pt x="3" y="3733"/>
                      <a:pt x="3" y="3733"/>
                    </a:cubicBezTo>
                    <a:cubicBezTo>
                      <a:pt x="1226" y="2425"/>
                      <a:pt x="1226" y="2425"/>
                      <a:pt x="1226" y="2425"/>
                    </a:cubicBezTo>
                    <a:cubicBezTo>
                      <a:pt x="796" y="2093"/>
                      <a:pt x="796" y="2093"/>
                      <a:pt x="796" y="2093"/>
                    </a:cubicBezTo>
                    <a:cubicBezTo>
                      <a:pt x="793" y="2089"/>
                      <a:pt x="793" y="2089"/>
                      <a:pt x="793" y="2089"/>
                    </a:cubicBezTo>
                    <a:cubicBezTo>
                      <a:pt x="792" y="2088"/>
                      <a:pt x="728" y="1999"/>
                      <a:pt x="695" y="1899"/>
                    </a:cubicBezTo>
                    <a:cubicBezTo>
                      <a:pt x="686" y="1890"/>
                      <a:pt x="661" y="1869"/>
                      <a:pt x="627" y="1840"/>
                    </a:cubicBezTo>
                    <a:cubicBezTo>
                      <a:pt x="505" y="1738"/>
                      <a:pt x="254" y="1532"/>
                      <a:pt x="3" y="1328"/>
                    </a:cubicBezTo>
                    <a:cubicBezTo>
                      <a:pt x="3" y="1243"/>
                      <a:pt x="3" y="1243"/>
                      <a:pt x="3" y="1243"/>
                    </a:cubicBezTo>
                    <a:cubicBezTo>
                      <a:pt x="18" y="1255"/>
                      <a:pt x="32" y="1267"/>
                      <a:pt x="46" y="1278"/>
                    </a:cubicBezTo>
                    <a:cubicBezTo>
                      <a:pt x="219" y="1419"/>
                      <a:pt x="393" y="1561"/>
                      <a:pt x="524" y="1669"/>
                    </a:cubicBezTo>
                    <a:cubicBezTo>
                      <a:pt x="589" y="1723"/>
                      <a:pt x="644" y="1769"/>
                      <a:pt x="682" y="1801"/>
                    </a:cubicBezTo>
                    <a:cubicBezTo>
                      <a:pt x="702" y="1818"/>
                      <a:pt x="717" y="1831"/>
                      <a:pt x="728" y="1841"/>
                    </a:cubicBezTo>
                    <a:cubicBezTo>
                      <a:pt x="734" y="1846"/>
                      <a:pt x="738" y="1850"/>
                      <a:pt x="741" y="1853"/>
                    </a:cubicBezTo>
                    <a:cubicBezTo>
                      <a:pt x="743" y="1855"/>
                      <a:pt x="745" y="1856"/>
                      <a:pt x="746" y="1858"/>
                    </a:cubicBezTo>
                    <a:cubicBezTo>
                      <a:pt x="748" y="1860"/>
                      <a:pt x="749" y="1859"/>
                      <a:pt x="754" y="1870"/>
                    </a:cubicBezTo>
                    <a:cubicBezTo>
                      <a:pt x="754" y="1871"/>
                      <a:pt x="754" y="1871"/>
                      <a:pt x="754" y="1871"/>
                    </a:cubicBezTo>
                    <a:cubicBezTo>
                      <a:pt x="755" y="1872"/>
                      <a:pt x="755" y="1872"/>
                      <a:pt x="755" y="1872"/>
                    </a:cubicBezTo>
                    <a:cubicBezTo>
                      <a:pt x="769" y="1916"/>
                      <a:pt x="792" y="1962"/>
                      <a:pt x="812" y="1996"/>
                    </a:cubicBezTo>
                    <a:cubicBezTo>
                      <a:pt x="821" y="2013"/>
                      <a:pt x="830" y="2027"/>
                      <a:pt x="837" y="2036"/>
                    </a:cubicBezTo>
                    <a:cubicBezTo>
                      <a:pt x="840" y="2041"/>
                      <a:pt x="842" y="2045"/>
                      <a:pt x="844" y="2047"/>
                    </a:cubicBezTo>
                    <a:cubicBezTo>
                      <a:pt x="1275" y="2380"/>
                      <a:pt x="1275" y="2380"/>
                      <a:pt x="1275" y="2380"/>
                    </a:cubicBezTo>
                    <a:cubicBezTo>
                      <a:pt x="1364" y="2302"/>
                      <a:pt x="1622" y="2078"/>
                      <a:pt x="1880" y="1855"/>
                    </a:cubicBezTo>
                    <a:cubicBezTo>
                      <a:pt x="2041" y="1716"/>
                      <a:pt x="2201" y="1577"/>
                      <a:pt x="2323" y="1473"/>
                    </a:cubicBezTo>
                    <a:cubicBezTo>
                      <a:pt x="2384" y="1421"/>
                      <a:pt x="2435" y="1378"/>
                      <a:pt x="2471" y="1348"/>
                    </a:cubicBezTo>
                    <a:cubicBezTo>
                      <a:pt x="2489" y="1332"/>
                      <a:pt x="2503" y="1320"/>
                      <a:pt x="2514" y="1312"/>
                    </a:cubicBezTo>
                    <a:cubicBezTo>
                      <a:pt x="2516" y="1310"/>
                      <a:pt x="2518" y="1309"/>
                      <a:pt x="2520" y="1307"/>
                    </a:cubicBezTo>
                    <a:cubicBezTo>
                      <a:pt x="2518" y="1304"/>
                      <a:pt x="2515" y="1300"/>
                      <a:pt x="2513" y="1297"/>
                    </a:cubicBezTo>
                    <a:cubicBezTo>
                      <a:pt x="2489" y="1246"/>
                      <a:pt x="2473" y="1180"/>
                      <a:pt x="2460" y="1122"/>
                    </a:cubicBezTo>
                    <a:cubicBezTo>
                      <a:pt x="2448" y="1071"/>
                      <a:pt x="2441" y="1028"/>
                      <a:pt x="2439" y="1020"/>
                    </a:cubicBezTo>
                    <a:cubicBezTo>
                      <a:pt x="2230" y="0"/>
                      <a:pt x="2230" y="0"/>
                      <a:pt x="2230" y="0"/>
                    </a:cubicBezTo>
                    <a:cubicBezTo>
                      <a:pt x="2386" y="0"/>
                      <a:pt x="2386" y="0"/>
                      <a:pt x="2386" y="0"/>
                    </a:cubicBezTo>
                    <a:cubicBezTo>
                      <a:pt x="2589" y="991"/>
                      <a:pt x="2589" y="991"/>
                      <a:pt x="2589" y="991"/>
                    </a:cubicBezTo>
                    <a:cubicBezTo>
                      <a:pt x="2590" y="993"/>
                      <a:pt x="2590" y="993"/>
                      <a:pt x="2590" y="993"/>
                    </a:cubicBezTo>
                    <a:cubicBezTo>
                      <a:pt x="2590" y="993"/>
                      <a:pt x="2591" y="1003"/>
                      <a:pt x="2595" y="1021"/>
                    </a:cubicBezTo>
                    <a:cubicBezTo>
                      <a:pt x="2600" y="1047"/>
                      <a:pt x="2608" y="1089"/>
                      <a:pt x="2618" y="1130"/>
                    </a:cubicBezTo>
                    <a:cubicBezTo>
                      <a:pt x="2628" y="1170"/>
                      <a:pt x="2641" y="1211"/>
                      <a:pt x="2651" y="1231"/>
                    </a:cubicBezTo>
                    <a:cubicBezTo>
                      <a:pt x="2660" y="1250"/>
                      <a:pt x="2680" y="1269"/>
                      <a:pt x="2708" y="1287"/>
                    </a:cubicBezTo>
                    <a:cubicBezTo>
                      <a:pt x="2737" y="1304"/>
                      <a:pt x="2770" y="1317"/>
                      <a:pt x="2799" y="1327"/>
                    </a:cubicBezTo>
                    <a:cubicBezTo>
                      <a:pt x="2856" y="1348"/>
                      <a:pt x="3625" y="1625"/>
                      <a:pt x="3902" y="1716"/>
                    </a:cubicBezTo>
                    <a:cubicBezTo>
                      <a:pt x="3923" y="1723"/>
                      <a:pt x="3943" y="1731"/>
                      <a:pt x="3964" y="1739"/>
                    </a:cubicBezTo>
                    <a:cubicBezTo>
                      <a:pt x="4031" y="1405"/>
                      <a:pt x="4031" y="1405"/>
                      <a:pt x="4031" y="1405"/>
                    </a:cubicBezTo>
                    <a:cubicBezTo>
                      <a:pt x="4033" y="1400"/>
                      <a:pt x="4033" y="1400"/>
                      <a:pt x="4033" y="1400"/>
                    </a:cubicBezTo>
                    <a:cubicBezTo>
                      <a:pt x="4033" y="1400"/>
                      <a:pt x="4061" y="1348"/>
                      <a:pt x="4103" y="1279"/>
                    </a:cubicBezTo>
                    <a:cubicBezTo>
                      <a:pt x="4121" y="1249"/>
                      <a:pt x="4140" y="1199"/>
                      <a:pt x="4153" y="1157"/>
                    </a:cubicBezTo>
                    <a:cubicBezTo>
                      <a:pt x="4166" y="1115"/>
                      <a:pt x="4175" y="1082"/>
                      <a:pt x="4175" y="1082"/>
                    </a:cubicBezTo>
                    <a:cubicBezTo>
                      <a:pt x="4175" y="1078"/>
                      <a:pt x="4175" y="1078"/>
                      <a:pt x="4175" y="1078"/>
                    </a:cubicBezTo>
                    <a:cubicBezTo>
                      <a:pt x="4414" y="616"/>
                      <a:pt x="4414" y="616"/>
                      <a:pt x="4414" y="616"/>
                    </a:cubicBezTo>
                    <a:cubicBezTo>
                      <a:pt x="4390" y="59"/>
                      <a:pt x="4390" y="59"/>
                      <a:pt x="4390" y="59"/>
                    </a:cubicBezTo>
                    <a:cubicBezTo>
                      <a:pt x="4338" y="0"/>
                      <a:pt x="4338" y="0"/>
                      <a:pt x="4338" y="0"/>
                    </a:cubicBezTo>
                    <a:cubicBezTo>
                      <a:pt x="4426" y="0"/>
                      <a:pt x="4426" y="0"/>
                      <a:pt x="4426" y="0"/>
                    </a:cubicBezTo>
                    <a:cubicBezTo>
                      <a:pt x="4437" y="13"/>
                      <a:pt x="4437" y="13"/>
                      <a:pt x="4437" y="13"/>
                    </a:cubicBezTo>
                    <a:cubicBezTo>
                      <a:pt x="4505" y="10"/>
                      <a:pt x="4566" y="5"/>
                      <a:pt x="4623" y="0"/>
                    </a:cubicBezTo>
                    <a:cubicBezTo>
                      <a:pt x="5023" y="0"/>
                      <a:pt x="5023" y="0"/>
                      <a:pt x="5023" y="0"/>
                    </a:cubicBezTo>
                    <a:cubicBezTo>
                      <a:pt x="4940" y="23"/>
                      <a:pt x="4754" y="63"/>
                      <a:pt x="4457" y="77"/>
                    </a:cubicBezTo>
                    <a:cubicBezTo>
                      <a:pt x="4478" y="594"/>
                      <a:pt x="4478" y="594"/>
                      <a:pt x="4478" y="594"/>
                    </a:cubicBezTo>
                    <a:cubicBezTo>
                      <a:pt x="4483" y="596"/>
                      <a:pt x="4492" y="601"/>
                      <a:pt x="4504" y="607"/>
                    </a:cubicBezTo>
                    <a:cubicBezTo>
                      <a:pt x="4568" y="638"/>
                      <a:pt x="4723" y="710"/>
                      <a:pt x="4937" y="773"/>
                    </a:cubicBezTo>
                    <a:cubicBezTo>
                      <a:pt x="5094" y="820"/>
                      <a:pt x="5255" y="868"/>
                      <a:pt x="5387" y="903"/>
                    </a:cubicBezTo>
                    <a:cubicBezTo>
                      <a:pt x="5394" y="880"/>
                      <a:pt x="5404" y="844"/>
                      <a:pt x="5414" y="805"/>
                    </a:cubicBezTo>
                    <a:cubicBezTo>
                      <a:pt x="5432" y="739"/>
                      <a:pt x="5450" y="662"/>
                      <a:pt x="5451" y="635"/>
                    </a:cubicBezTo>
                    <a:cubicBezTo>
                      <a:pt x="5454" y="562"/>
                      <a:pt x="5471" y="532"/>
                      <a:pt x="5490" y="481"/>
                    </a:cubicBezTo>
                    <a:cubicBezTo>
                      <a:pt x="5498" y="462"/>
                      <a:pt x="5509" y="453"/>
                      <a:pt x="5524" y="439"/>
                    </a:cubicBezTo>
                    <a:cubicBezTo>
                      <a:pt x="5574" y="394"/>
                      <a:pt x="5677" y="326"/>
                      <a:pt x="5770" y="268"/>
                    </a:cubicBezTo>
                    <a:cubicBezTo>
                      <a:pt x="5817" y="239"/>
                      <a:pt x="5860" y="212"/>
                      <a:pt x="5892" y="193"/>
                    </a:cubicBezTo>
                    <a:cubicBezTo>
                      <a:pt x="5905" y="186"/>
                      <a:pt x="5916" y="179"/>
                      <a:pt x="5954" y="156"/>
                    </a:cubicBezTo>
                    <a:cubicBezTo>
                      <a:pt x="5989" y="212"/>
                      <a:pt x="5989" y="212"/>
                      <a:pt x="5989" y="212"/>
                    </a:cubicBezTo>
                    <a:cubicBezTo>
                      <a:pt x="5923" y="251"/>
                      <a:pt x="5835" y="303"/>
                      <a:pt x="5750" y="358"/>
                    </a:cubicBezTo>
                    <a:cubicBezTo>
                      <a:pt x="5700" y="391"/>
                      <a:pt x="5650" y="424"/>
                      <a:pt x="5612" y="453"/>
                    </a:cubicBezTo>
                    <a:cubicBezTo>
                      <a:pt x="5593" y="467"/>
                      <a:pt x="5577" y="479"/>
                      <a:pt x="5566" y="489"/>
                    </a:cubicBezTo>
                    <a:cubicBezTo>
                      <a:pt x="5561" y="494"/>
                      <a:pt x="5556" y="499"/>
                      <a:pt x="5554" y="502"/>
                    </a:cubicBezTo>
                    <a:cubicBezTo>
                      <a:pt x="5553" y="503"/>
                      <a:pt x="5552" y="504"/>
                      <a:pt x="5551" y="505"/>
                    </a:cubicBezTo>
                    <a:cubicBezTo>
                      <a:pt x="5530" y="563"/>
                      <a:pt x="5520" y="574"/>
                      <a:pt x="5516" y="638"/>
                    </a:cubicBezTo>
                    <a:cubicBezTo>
                      <a:pt x="5514" y="680"/>
                      <a:pt x="5495" y="753"/>
                      <a:pt x="5478" y="822"/>
                    </a:cubicBezTo>
                    <a:cubicBezTo>
                      <a:pt x="5468" y="860"/>
                      <a:pt x="5458" y="896"/>
                      <a:pt x="5451" y="919"/>
                    </a:cubicBezTo>
                    <a:cubicBezTo>
                      <a:pt x="5530" y="939"/>
                      <a:pt x="5595" y="952"/>
                      <a:pt x="5636" y="954"/>
                    </a:cubicBezTo>
                    <a:cubicBezTo>
                      <a:pt x="5648" y="955"/>
                      <a:pt x="5659" y="955"/>
                      <a:pt x="5670" y="955"/>
                    </a:cubicBezTo>
                    <a:cubicBezTo>
                      <a:pt x="5765" y="955"/>
                      <a:pt x="5819" y="931"/>
                      <a:pt x="5921" y="876"/>
                    </a:cubicBezTo>
                    <a:cubicBezTo>
                      <a:pt x="6033" y="814"/>
                      <a:pt x="6263" y="680"/>
                      <a:pt x="6263" y="680"/>
                    </a:cubicBezTo>
                    <a:cubicBezTo>
                      <a:pt x="6264" y="680"/>
                      <a:pt x="6264" y="680"/>
                      <a:pt x="6264" y="680"/>
                    </a:cubicBezTo>
                    <a:cubicBezTo>
                      <a:pt x="6265" y="679"/>
                      <a:pt x="6265" y="679"/>
                      <a:pt x="6265" y="679"/>
                    </a:cubicBezTo>
                    <a:cubicBezTo>
                      <a:pt x="6268" y="678"/>
                      <a:pt x="6320" y="652"/>
                      <a:pt x="6391" y="652"/>
                    </a:cubicBezTo>
                    <a:cubicBezTo>
                      <a:pt x="6465" y="651"/>
                      <a:pt x="6562" y="684"/>
                      <a:pt x="6627" y="798"/>
                    </a:cubicBezTo>
                    <a:cubicBezTo>
                      <a:pt x="6906" y="1300"/>
                      <a:pt x="6906" y="1300"/>
                      <a:pt x="6906" y="1300"/>
                    </a:cubicBezTo>
                    <a:cubicBezTo>
                      <a:pt x="6906" y="1300"/>
                      <a:pt x="6907" y="1303"/>
                      <a:pt x="6911" y="1309"/>
                    </a:cubicBezTo>
                    <a:cubicBezTo>
                      <a:pt x="6922" y="1327"/>
                      <a:pt x="6949" y="1369"/>
                      <a:pt x="6986" y="1406"/>
                    </a:cubicBezTo>
                    <a:cubicBezTo>
                      <a:pt x="7002" y="1423"/>
                      <a:pt x="7025" y="1438"/>
                      <a:pt x="7050" y="1455"/>
                    </a:cubicBezTo>
                    <a:cubicBezTo>
                      <a:pt x="7051" y="1447"/>
                      <a:pt x="7053" y="1440"/>
                      <a:pt x="7054" y="1432"/>
                    </a:cubicBezTo>
                    <a:cubicBezTo>
                      <a:pt x="7058" y="1413"/>
                      <a:pt x="7061" y="1393"/>
                      <a:pt x="7064" y="1377"/>
                    </a:cubicBezTo>
                    <a:cubicBezTo>
                      <a:pt x="7066" y="1368"/>
                      <a:pt x="7067" y="1359"/>
                      <a:pt x="7068" y="1354"/>
                    </a:cubicBezTo>
                    <a:cubicBezTo>
                      <a:pt x="7067" y="1351"/>
                      <a:pt x="7066" y="1349"/>
                      <a:pt x="7066" y="1347"/>
                    </a:cubicBezTo>
                    <a:cubicBezTo>
                      <a:pt x="7065" y="1343"/>
                      <a:pt x="7065" y="1340"/>
                      <a:pt x="7065" y="1338"/>
                    </a:cubicBezTo>
                    <a:cubicBezTo>
                      <a:pt x="7065" y="1323"/>
                      <a:pt x="7069" y="1306"/>
                      <a:pt x="7078" y="1287"/>
                    </a:cubicBezTo>
                    <a:cubicBezTo>
                      <a:pt x="7088" y="1269"/>
                      <a:pt x="7106" y="1248"/>
                      <a:pt x="7136" y="1243"/>
                    </a:cubicBezTo>
                    <a:cubicBezTo>
                      <a:pt x="7156" y="1239"/>
                      <a:pt x="7214" y="1229"/>
                      <a:pt x="7274" y="1217"/>
                    </a:cubicBezTo>
                    <a:cubicBezTo>
                      <a:pt x="7334" y="1205"/>
                      <a:pt x="7397" y="1189"/>
                      <a:pt x="7421" y="1179"/>
                    </a:cubicBezTo>
                    <a:cubicBezTo>
                      <a:pt x="7479" y="1156"/>
                      <a:pt x="7641" y="1121"/>
                      <a:pt x="7740" y="1109"/>
                    </a:cubicBezTo>
                    <a:cubicBezTo>
                      <a:pt x="7750" y="593"/>
                      <a:pt x="7750" y="593"/>
                      <a:pt x="7750" y="593"/>
                    </a:cubicBezTo>
                    <a:cubicBezTo>
                      <a:pt x="7588" y="275"/>
                      <a:pt x="7588" y="275"/>
                      <a:pt x="7588" y="275"/>
                    </a:cubicBezTo>
                    <a:cubicBezTo>
                      <a:pt x="7581" y="262"/>
                      <a:pt x="7511" y="146"/>
                      <a:pt x="7441" y="28"/>
                    </a:cubicBezTo>
                    <a:cubicBezTo>
                      <a:pt x="7436" y="19"/>
                      <a:pt x="7430" y="9"/>
                      <a:pt x="7425" y="0"/>
                    </a:cubicBezTo>
                    <a:cubicBezTo>
                      <a:pt x="7501" y="0"/>
                      <a:pt x="7501" y="0"/>
                      <a:pt x="7501" y="0"/>
                    </a:cubicBezTo>
                    <a:cubicBezTo>
                      <a:pt x="7574" y="122"/>
                      <a:pt x="7645" y="242"/>
                      <a:pt x="7645" y="242"/>
                    </a:cubicBezTo>
                    <a:cubicBezTo>
                      <a:pt x="7646" y="243"/>
                      <a:pt x="7646" y="243"/>
                      <a:pt x="7646" y="243"/>
                    </a:cubicBezTo>
                    <a:cubicBezTo>
                      <a:pt x="7816" y="578"/>
                      <a:pt x="7816" y="578"/>
                      <a:pt x="7816" y="578"/>
                    </a:cubicBezTo>
                    <a:cubicBezTo>
                      <a:pt x="7806" y="1105"/>
                      <a:pt x="7806" y="1105"/>
                      <a:pt x="7806" y="1105"/>
                    </a:cubicBezTo>
                    <a:cubicBezTo>
                      <a:pt x="7923" y="1105"/>
                      <a:pt x="8280" y="1126"/>
                      <a:pt x="8461" y="1132"/>
                    </a:cubicBezTo>
                    <a:cubicBezTo>
                      <a:pt x="8485" y="1133"/>
                      <a:pt x="8517" y="1134"/>
                      <a:pt x="8555" y="1134"/>
                    </a:cubicBezTo>
                    <a:cubicBezTo>
                      <a:pt x="8800" y="1134"/>
                      <a:pt x="9274" y="1118"/>
                      <a:pt x="9355" y="1118"/>
                    </a:cubicBezTo>
                    <a:cubicBezTo>
                      <a:pt x="9356" y="1118"/>
                      <a:pt x="9358" y="1118"/>
                      <a:pt x="9360" y="1118"/>
                    </a:cubicBezTo>
                    <a:cubicBezTo>
                      <a:pt x="9383" y="1105"/>
                      <a:pt x="9463" y="1049"/>
                      <a:pt x="9535" y="997"/>
                    </a:cubicBezTo>
                    <a:cubicBezTo>
                      <a:pt x="9574" y="970"/>
                      <a:pt x="9612" y="943"/>
                      <a:pt x="9640" y="924"/>
                    </a:cubicBezTo>
                    <a:cubicBezTo>
                      <a:pt x="9655" y="914"/>
                      <a:pt x="9667" y="905"/>
                      <a:pt x="9676" y="899"/>
                    </a:cubicBezTo>
                    <a:cubicBezTo>
                      <a:pt x="9680" y="896"/>
                      <a:pt x="9684" y="894"/>
                      <a:pt x="9688" y="892"/>
                    </a:cubicBezTo>
                    <a:cubicBezTo>
                      <a:pt x="9689" y="891"/>
                      <a:pt x="9691" y="890"/>
                      <a:pt x="9693" y="889"/>
                    </a:cubicBezTo>
                    <a:cubicBezTo>
                      <a:pt x="9696" y="888"/>
                      <a:pt x="9696" y="886"/>
                      <a:pt x="9709" y="885"/>
                    </a:cubicBezTo>
                    <a:cubicBezTo>
                      <a:pt x="9797" y="885"/>
                      <a:pt x="9797" y="885"/>
                      <a:pt x="9797" y="885"/>
                    </a:cubicBezTo>
                    <a:cubicBezTo>
                      <a:pt x="9795" y="793"/>
                      <a:pt x="9784" y="510"/>
                      <a:pt x="9773" y="241"/>
                    </a:cubicBezTo>
                    <a:cubicBezTo>
                      <a:pt x="9769" y="157"/>
                      <a:pt x="9766" y="75"/>
                      <a:pt x="9762" y="0"/>
                    </a:cubicBezTo>
                    <a:cubicBezTo>
                      <a:pt x="9828" y="0"/>
                      <a:pt x="9828" y="0"/>
                      <a:pt x="9828" y="0"/>
                    </a:cubicBezTo>
                    <a:cubicBezTo>
                      <a:pt x="9831" y="71"/>
                      <a:pt x="9834" y="149"/>
                      <a:pt x="9838" y="228"/>
                    </a:cubicBezTo>
                    <a:cubicBezTo>
                      <a:pt x="9993" y="225"/>
                      <a:pt x="9993" y="225"/>
                      <a:pt x="9993" y="225"/>
                    </a:cubicBezTo>
                    <a:cubicBezTo>
                      <a:pt x="9980" y="0"/>
                      <a:pt x="9980" y="0"/>
                      <a:pt x="9980" y="0"/>
                    </a:cubicBezTo>
                    <a:cubicBezTo>
                      <a:pt x="9994" y="0"/>
                      <a:pt x="9994" y="0"/>
                      <a:pt x="9994" y="0"/>
                    </a:cubicBezTo>
                    <a:cubicBezTo>
                      <a:pt x="10007" y="224"/>
                      <a:pt x="10007" y="224"/>
                      <a:pt x="10007" y="224"/>
                    </a:cubicBezTo>
                    <a:cubicBezTo>
                      <a:pt x="10196" y="220"/>
                      <a:pt x="10196" y="220"/>
                      <a:pt x="10196" y="220"/>
                    </a:cubicBezTo>
                    <a:cubicBezTo>
                      <a:pt x="10181" y="0"/>
                      <a:pt x="10181" y="0"/>
                      <a:pt x="10181" y="0"/>
                    </a:cubicBezTo>
                    <a:cubicBezTo>
                      <a:pt x="10195" y="0"/>
                      <a:pt x="10195" y="0"/>
                      <a:pt x="10195" y="0"/>
                    </a:cubicBezTo>
                    <a:cubicBezTo>
                      <a:pt x="10210" y="220"/>
                      <a:pt x="10210" y="220"/>
                      <a:pt x="10210" y="220"/>
                    </a:cubicBezTo>
                    <a:cubicBezTo>
                      <a:pt x="10591" y="212"/>
                      <a:pt x="10591" y="212"/>
                      <a:pt x="10591" y="212"/>
                    </a:cubicBezTo>
                    <a:cubicBezTo>
                      <a:pt x="10602" y="208"/>
                      <a:pt x="10715" y="167"/>
                      <a:pt x="10739" y="158"/>
                    </a:cubicBezTo>
                    <a:cubicBezTo>
                      <a:pt x="10714" y="0"/>
                      <a:pt x="10714" y="0"/>
                      <a:pt x="10714" y="0"/>
                    </a:cubicBezTo>
                    <a:cubicBezTo>
                      <a:pt x="10728" y="0"/>
                      <a:pt x="10728" y="0"/>
                      <a:pt x="10728" y="0"/>
                    </a:cubicBezTo>
                    <a:cubicBezTo>
                      <a:pt x="10753" y="156"/>
                      <a:pt x="10753" y="156"/>
                      <a:pt x="10753" y="156"/>
                    </a:cubicBezTo>
                    <a:cubicBezTo>
                      <a:pt x="10886" y="157"/>
                      <a:pt x="10886" y="157"/>
                      <a:pt x="10886" y="157"/>
                    </a:cubicBezTo>
                    <a:cubicBezTo>
                      <a:pt x="10877" y="0"/>
                      <a:pt x="10877" y="0"/>
                      <a:pt x="10877" y="0"/>
                    </a:cubicBezTo>
                    <a:cubicBezTo>
                      <a:pt x="10891" y="0"/>
                      <a:pt x="10891" y="0"/>
                      <a:pt x="10891" y="0"/>
                    </a:cubicBezTo>
                    <a:cubicBezTo>
                      <a:pt x="10900" y="158"/>
                      <a:pt x="10900" y="158"/>
                      <a:pt x="10900" y="158"/>
                    </a:cubicBezTo>
                    <a:cubicBezTo>
                      <a:pt x="11075" y="160"/>
                      <a:pt x="11075" y="160"/>
                      <a:pt x="11075" y="160"/>
                    </a:cubicBezTo>
                    <a:cubicBezTo>
                      <a:pt x="11063" y="0"/>
                      <a:pt x="11063" y="0"/>
                      <a:pt x="11063" y="0"/>
                    </a:cubicBezTo>
                    <a:cubicBezTo>
                      <a:pt x="11077" y="0"/>
                      <a:pt x="11077" y="0"/>
                      <a:pt x="11077" y="0"/>
                    </a:cubicBezTo>
                    <a:cubicBezTo>
                      <a:pt x="11089" y="160"/>
                      <a:pt x="11089" y="160"/>
                      <a:pt x="11089" y="160"/>
                    </a:cubicBezTo>
                    <a:cubicBezTo>
                      <a:pt x="11217" y="162"/>
                      <a:pt x="11217" y="162"/>
                      <a:pt x="11217" y="162"/>
                    </a:cubicBezTo>
                    <a:cubicBezTo>
                      <a:pt x="11206" y="0"/>
                      <a:pt x="11206" y="0"/>
                      <a:pt x="11206" y="0"/>
                    </a:cubicBezTo>
                    <a:cubicBezTo>
                      <a:pt x="11220" y="0"/>
                      <a:pt x="11220" y="0"/>
                      <a:pt x="11220" y="0"/>
                    </a:cubicBezTo>
                    <a:cubicBezTo>
                      <a:pt x="11231" y="162"/>
                      <a:pt x="11231" y="162"/>
                      <a:pt x="11231" y="162"/>
                    </a:cubicBezTo>
                    <a:cubicBezTo>
                      <a:pt x="11393" y="165"/>
                      <a:pt x="11393" y="165"/>
                      <a:pt x="11393" y="165"/>
                    </a:cubicBezTo>
                    <a:cubicBezTo>
                      <a:pt x="11384" y="0"/>
                      <a:pt x="11384" y="0"/>
                      <a:pt x="11384" y="0"/>
                    </a:cubicBezTo>
                    <a:cubicBezTo>
                      <a:pt x="11398" y="0"/>
                      <a:pt x="11398" y="0"/>
                      <a:pt x="11398" y="0"/>
                    </a:cubicBezTo>
                    <a:cubicBezTo>
                      <a:pt x="11407" y="165"/>
                      <a:pt x="11407" y="165"/>
                      <a:pt x="11407" y="165"/>
                    </a:cubicBezTo>
                    <a:cubicBezTo>
                      <a:pt x="11563" y="167"/>
                      <a:pt x="11563" y="167"/>
                      <a:pt x="11563" y="167"/>
                    </a:cubicBezTo>
                    <a:cubicBezTo>
                      <a:pt x="11563" y="108"/>
                      <a:pt x="11562" y="53"/>
                      <a:pt x="11561" y="0"/>
                    </a:cubicBezTo>
                    <a:cubicBezTo>
                      <a:pt x="11662" y="0"/>
                      <a:pt x="11662" y="0"/>
                      <a:pt x="11662" y="0"/>
                    </a:cubicBezTo>
                    <a:cubicBezTo>
                      <a:pt x="11626" y="4"/>
                      <a:pt x="11626" y="4"/>
                      <a:pt x="11626" y="4"/>
                    </a:cubicBezTo>
                    <a:cubicBezTo>
                      <a:pt x="11628" y="80"/>
                      <a:pt x="11629" y="163"/>
                      <a:pt x="11630" y="252"/>
                    </a:cubicBezTo>
                    <a:cubicBezTo>
                      <a:pt x="11631" y="492"/>
                      <a:pt x="11677" y="672"/>
                      <a:pt x="11722" y="792"/>
                    </a:cubicBezTo>
                    <a:cubicBezTo>
                      <a:pt x="11744" y="853"/>
                      <a:pt x="11766" y="898"/>
                      <a:pt x="11783" y="928"/>
                    </a:cubicBezTo>
                    <a:cubicBezTo>
                      <a:pt x="11784" y="931"/>
                      <a:pt x="11786" y="933"/>
                      <a:pt x="11787" y="936"/>
                    </a:cubicBezTo>
                    <a:cubicBezTo>
                      <a:pt x="11811" y="903"/>
                      <a:pt x="11846" y="863"/>
                      <a:pt x="11889" y="821"/>
                    </a:cubicBezTo>
                    <a:cubicBezTo>
                      <a:pt x="11938" y="774"/>
                      <a:pt x="11994" y="727"/>
                      <a:pt x="12057" y="698"/>
                    </a:cubicBezTo>
                    <a:cubicBezTo>
                      <a:pt x="12175" y="646"/>
                      <a:pt x="12296" y="645"/>
                      <a:pt x="12417" y="640"/>
                    </a:cubicBezTo>
                    <a:cubicBezTo>
                      <a:pt x="12483" y="638"/>
                      <a:pt x="12922" y="636"/>
                      <a:pt x="13365" y="633"/>
                    </a:cubicBezTo>
                    <a:cubicBezTo>
                      <a:pt x="13587" y="632"/>
                      <a:pt x="13808" y="631"/>
                      <a:pt x="13982" y="629"/>
                    </a:cubicBezTo>
                    <a:cubicBezTo>
                      <a:pt x="13987" y="629"/>
                      <a:pt x="13992" y="629"/>
                      <a:pt x="13998" y="629"/>
                    </a:cubicBezTo>
                    <a:cubicBezTo>
                      <a:pt x="14004" y="613"/>
                      <a:pt x="14015" y="583"/>
                      <a:pt x="14028" y="546"/>
                    </a:cubicBezTo>
                    <a:cubicBezTo>
                      <a:pt x="14070" y="424"/>
                      <a:pt x="14135" y="226"/>
                      <a:pt x="14155" y="165"/>
                    </a:cubicBezTo>
                    <a:cubicBezTo>
                      <a:pt x="13995" y="0"/>
                      <a:pt x="13995" y="0"/>
                      <a:pt x="13995" y="0"/>
                    </a:cubicBezTo>
                    <a:cubicBezTo>
                      <a:pt x="14087" y="0"/>
                      <a:pt x="14087" y="0"/>
                      <a:pt x="14087" y="0"/>
                    </a:cubicBezTo>
                    <a:cubicBezTo>
                      <a:pt x="14098" y="11"/>
                      <a:pt x="14098" y="11"/>
                      <a:pt x="14098" y="11"/>
                    </a:cubicBezTo>
                    <a:cubicBezTo>
                      <a:pt x="14228" y="143"/>
                      <a:pt x="14228" y="143"/>
                      <a:pt x="14228" y="143"/>
                    </a:cubicBezTo>
                    <a:cubicBezTo>
                      <a:pt x="14227" y="145"/>
                      <a:pt x="14227" y="145"/>
                      <a:pt x="14227" y="145"/>
                    </a:cubicBezTo>
                    <a:cubicBezTo>
                      <a:pt x="14229" y="147"/>
                      <a:pt x="14229" y="147"/>
                      <a:pt x="14229" y="147"/>
                    </a:cubicBezTo>
                    <a:cubicBezTo>
                      <a:pt x="14223" y="166"/>
                      <a:pt x="14223" y="166"/>
                      <a:pt x="14223" y="166"/>
                    </a:cubicBezTo>
                    <a:cubicBezTo>
                      <a:pt x="14223" y="166"/>
                      <a:pt x="14194" y="256"/>
                      <a:pt x="14160" y="360"/>
                    </a:cubicBezTo>
                    <a:cubicBezTo>
                      <a:pt x="14154" y="377"/>
                      <a:pt x="14149" y="395"/>
                      <a:pt x="14143" y="412"/>
                    </a:cubicBezTo>
                    <a:cubicBezTo>
                      <a:pt x="14122" y="476"/>
                      <a:pt x="14101" y="541"/>
                      <a:pt x="14084" y="589"/>
                    </a:cubicBezTo>
                    <a:cubicBezTo>
                      <a:pt x="14078" y="604"/>
                      <a:pt x="14074" y="617"/>
                      <a:pt x="14069" y="628"/>
                    </a:cubicBezTo>
                    <a:cubicBezTo>
                      <a:pt x="14197" y="627"/>
                      <a:pt x="14289" y="625"/>
                      <a:pt x="14309" y="623"/>
                    </a:cubicBezTo>
                    <a:cubicBezTo>
                      <a:pt x="14373" y="618"/>
                      <a:pt x="14454" y="612"/>
                      <a:pt x="14526" y="598"/>
                    </a:cubicBezTo>
                    <a:cubicBezTo>
                      <a:pt x="14599" y="585"/>
                      <a:pt x="14663" y="560"/>
                      <a:pt x="14684" y="539"/>
                    </a:cubicBezTo>
                    <a:cubicBezTo>
                      <a:pt x="14755" y="477"/>
                      <a:pt x="14814" y="365"/>
                      <a:pt x="14825" y="338"/>
                    </a:cubicBezTo>
                    <a:cubicBezTo>
                      <a:pt x="14830" y="328"/>
                      <a:pt x="14896" y="185"/>
                      <a:pt x="14982" y="0"/>
                    </a:cubicBezTo>
                    <a:cubicBezTo>
                      <a:pt x="15149" y="0"/>
                      <a:pt x="15149" y="0"/>
                      <a:pt x="15149" y="0"/>
                    </a:cubicBezTo>
                    <a:cubicBezTo>
                      <a:pt x="15050" y="215"/>
                      <a:pt x="14969" y="390"/>
                      <a:pt x="14964" y="402"/>
                    </a:cubicBezTo>
                    <a:cubicBezTo>
                      <a:pt x="14946" y="439"/>
                      <a:pt x="14887" y="562"/>
                      <a:pt x="14785" y="653"/>
                    </a:cubicBezTo>
                    <a:cubicBezTo>
                      <a:pt x="14721" y="708"/>
                      <a:pt x="14639" y="730"/>
                      <a:pt x="14555" y="747"/>
                    </a:cubicBezTo>
                    <a:cubicBezTo>
                      <a:pt x="14471" y="763"/>
                      <a:pt x="14385" y="770"/>
                      <a:pt x="14321" y="775"/>
                    </a:cubicBezTo>
                    <a:cubicBezTo>
                      <a:pt x="14282" y="778"/>
                      <a:pt x="14159" y="780"/>
                      <a:pt x="13983" y="782"/>
                    </a:cubicBezTo>
                    <a:cubicBezTo>
                      <a:pt x="13722" y="784"/>
                      <a:pt x="13354" y="786"/>
                      <a:pt x="13040" y="788"/>
                    </a:cubicBezTo>
                    <a:cubicBezTo>
                      <a:pt x="12981" y="788"/>
                      <a:pt x="12923" y="788"/>
                      <a:pt x="12868" y="789"/>
                    </a:cubicBezTo>
                    <a:cubicBezTo>
                      <a:pt x="12872" y="809"/>
                      <a:pt x="12878" y="837"/>
                      <a:pt x="12886" y="871"/>
                    </a:cubicBezTo>
                    <a:cubicBezTo>
                      <a:pt x="12989" y="868"/>
                      <a:pt x="13100" y="866"/>
                      <a:pt x="13217" y="866"/>
                    </a:cubicBezTo>
                    <a:cubicBezTo>
                      <a:pt x="13440" y="866"/>
                      <a:pt x="13684" y="871"/>
                      <a:pt x="13930" y="871"/>
                    </a:cubicBezTo>
                    <a:cubicBezTo>
                      <a:pt x="13952" y="871"/>
                      <a:pt x="13975" y="871"/>
                      <a:pt x="13998" y="871"/>
                    </a:cubicBezTo>
                    <a:cubicBezTo>
                      <a:pt x="14327" y="869"/>
                      <a:pt x="14534" y="848"/>
                      <a:pt x="14676" y="815"/>
                    </a:cubicBezTo>
                    <a:cubicBezTo>
                      <a:pt x="14817" y="781"/>
                      <a:pt x="14893" y="739"/>
                      <a:pt x="14975" y="686"/>
                    </a:cubicBezTo>
                    <a:cubicBezTo>
                      <a:pt x="14975" y="686"/>
                      <a:pt x="14975" y="686"/>
                      <a:pt x="14975" y="686"/>
                    </a:cubicBezTo>
                    <a:cubicBezTo>
                      <a:pt x="14976" y="686"/>
                      <a:pt x="14978" y="684"/>
                      <a:pt x="14980" y="681"/>
                    </a:cubicBezTo>
                    <a:cubicBezTo>
                      <a:pt x="14996" y="666"/>
                      <a:pt x="15029" y="623"/>
                      <a:pt x="15065" y="564"/>
                    </a:cubicBezTo>
                    <a:cubicBezTo>
                      <a:pt x="15148" y="433"/>
                      <a:pt x="15260" y="224"/>
                      <a:pt x="15374" y="0"/>
                    </a:cubicBezTo>
                    <a:cubicBezTo>
                      <a:pt x="15392" y="0"/>
                      <a:pt x="15392" y="0"/>
                      <a:pt x="15392" y="0"/>
                    </a:cubicBezTo>
                    <a:cubicBezTo>
                      <a:pt x="15277" y="227"/>
                      <a:pt x="15163" y="440"/>
                      <a:pt x="15079" y="573"/>
                    </a:cubicBezTo>
                    <a:cubicBezTo>
                      <a:pt x="15042" y="632"/>
                      <a:pt x="15010" y="676"/>
                      <a:pt x="14992" y="693"/>
                    </a:cubicBezTo>
                    <a:cubicBezTo>
                      <a:pt x="14990" y="695"/>
                      <a:pt x="14988" y="697"/>
                      <a:pt x="14986" y="698"/>
                    </a:cubicBezTo>
                    <a:cubicBezTo>
                      <a:pt x="14986" y="698"/>
                      <a:pt x="14986" y="698"/>
                      <a:pt x="14986" y="698"/>
                    </a:cubicBezTo>
                    <a:cubicBezTo>
                      <a:pt x="14986" y="699"/>
                      <a:pt x="14986" y="699"/>
                      <a:pt x="14986" y="699"/>
                    </a:cubicBezTo>
                    <a:cubicBezTo>
                      <a:pt x="14984" y="700"/>
                      <a:pt x="14984" y="700"/>
                      <a:pt x="14984" y="700"/>
                    </a:cubicBezTo>
                    <a:cubicBezTo>
                      <a:pt x="14985" y="699"/>
                      <a:pt x="14985" y="699"/>
                      <a:pt x="14985" y="699"/>
                    </a:cubicBezTo>
                    <a:cubicBezTo>
                      <a:pt x="14985" y="699"/>
                      <a:pt x="14984" y="700"/>
                      <a:pt x="14984" y="700"/>
                    </a:cubicBezTo>
                    <a:cubicBezTo>
                      <a:pt x="14984" y="700"/>
                      <a:pt x="14984" y="700"/>
                      <a:pt x="14984" y="700"/>
                    </a:cubicBezTo>
                    <a:cubicBezTo>
                      <a:pt x="14984" y="700"/>
                      <a:pt x="14984" y="700"/>
                      <a:pt x="14984" y="700"/>
                    </a:cubicBezTo>
                    <a:cubicBezTo>
                      <a:pt x="14983" y="700"/>
                      <a:pt x="14983" y="700"/>
                      <a:pt x="14983" y="700"/>
                    </a:cubicBezTo>
                    <a:cubicBezTo>
                      <a:pt x="14983" y="700"/>
                      <a:pt x="14983" y="700"/>
                      <a:pt x="14983" y="700"/>
                    </a:cubicBezTo>
                    <a:cubicBezTo>
                      <a:pt x="14983" y="700"/>
                      <a:pt x="14983" y="700"/>
                      <a:pt x="14983" y="700"/>
                    </a:cubicBezTo>
                    <a:cubicBezTo>
                      <a:pt x="14983" y="700"/>
                      <a:pt x="14983" y="700"/>
                      <a:pt x="14983" y="701"/>
                    </a:cubicBezTo>
                    <a:cubicBezTo>
                      <a:pt x="14901" y="754"/>
                      <a:pt x="14822" y="797"/>
                      <a:pt x="14679" y="831"/>
                    </a:cubicBezTo>
                    <a:cubicBezTo>
                      <a:pt x="14536" y="864"/>
                      <a:pt x="14328" y="886"/>
                      <a:pt x="13998" y="887"/>
                    </a:cubicBezTo>
                    <a:cubicBezTo>
                      <a:pt x="13975" y="887"/>
                      <a:pt x="13952" y="887"/>
                      <a:pt x="13930" y="887"/>
                    </a:cubicBezTo>
                    <a:cubicBezTo>
                      <a:pt x="13684" y="887"/>
                      <a:pt x="13440" y="883"/>
                      <a:pt x="13217" y="883"/>
                    </a:cubicBezTo>
                    <a:cubicBezTo>
                      <a:pt x="13101" y="883"/>
                      <a:pt x="12992" y="884"/>
                      <a:pt x="12890" y="888"/>
                    </a:cubicBezTo>
                    <a:cubicBezTo>
                      <a:pt x="12901" y="931"/>
                      <a:pt x="12916" y="982"/>
                      <a:pt x="12936" y="1034"/>
                    </a:cubicBezTo>
                    <a:cubicBezTo>
                      <a:pt x="12940" y="1043"/>
                      <a:pt x="12944" y="1054"/>
                      <a:pt x="12948" y="1065"/>
                    </a:cubicBezTo>
                    <a:cubicBezTo>
                      <a:pt x="13057" y="1042"/>
                      <a:pt x="13152" y="1020"/>
                      <a:pt x="13217" y="1012"/>
                    </a:cubicBezTo>
                    <a:cubicBezTo>
                      <a:pt x="13217" y="1006"/>
                      <a:pt x="13217" y="1006"/>
                      <a:pt x="13217" y="1006"/>
                    </a:cubicBezTo>
                    <a:cubicBezTo>
                      <a:pt x="13217" y="1006"/>
                      <a:pt x="13217" y="1006"/>
                      <a:pt x="13217" y="1006"/>
                    </a:cubicBezTo>
                    <a:cubicBezTo>
                      <a:pt x="13439" y="1006"/>
                      <a:pt x="13683" y="1010"/>
                      <a:pt x="13930" y="1010"/>
                    </a:cubicBezTo>
                    <a:cubicBezTo>
                      <a:pt x="13953" y="1010"/>
                      <a:pt x="13975" y="1010"/>
                      <a:pt x="13998" y="1010"/>
                    </a:cubicBezTo>
                    <a:cubicBezTo>
                      <a:pt x="14333" y="1009"/>
                      <a:pt x="14550" y="987"/>
                      <a:pt x="14707" y="951"/>
                    </a:cubicBezTo>
                    <a:cubicBezTo>
                      <a:pt x="14865" y="914"/>
                      <a:pt x="14964" y="860"/>
                      <a:pt x="15051" y="803"/>
                    </a:cubicBezTo>
                    <a:cubicBezTo>
                      <a:pt x="15071" y="789"/>
                      <a:pt x="15086" y="773"/>
                      <a:pt x="15103" y="753"/>
                    </a:cubicBezTo>
                    <a:cubicBezTo>
                      <a:pt x="15120" y="732"/>
                      <a:pt x="15138" y="708"/>
                      <a:pt x="15157" y="679"/>
                    </a:cubicBezTo>
                    <a:cubicBezTo>
                      <a:pt x="15195" y="621"/>
                      <a:pt x="15239" y="548"/>
                      <a:pt x="15287" y="462"/>
                    </a:cubicBezTo>
                    <a:cubicBezTo>
                      <a:pt x="15362" y="328"/>
                      <a:pt x="15446" y="166"/>
                      <a:pt x="15530" y="0"/>
                    </a:cubicBezTo>
                    <a:cubicBezTo>
                      <a:pt x="15548" y="0"/>
                      <a:pt x="15548" y="0"/>
                      <a:pt x="15548" y="0"/>
                    </a:cubicBezTo>
                    <a:cubicBezTo>
                      <a:pt x="15463" y="169"/>
                      <a:pt x="15377" y="334"/>
                      <a:pt x="15301" y="470"/>
                    </a:cubicBezTo>
                    <a:cubicBezTo>
                      <a:pt x="15253" y="556"/>
                      <a:pt x="15209" y="630"/>
                      <a:pt x="15171" y="688"/>
                    </a:cubicBezTo>
                    <a:cubicBezTo>
                      <a:pt x="15151" y="717"/>
                      <a:pt x="15133" y="742"/>
                      <a:pt x="15116" y="763"/>
                    </a:cubicBezTo>
                    <a:cubicBezTo>
                      <a:pt x="15098" y="784"/>
                      <a:pt x="15082" y="802"/>
                      <a:pt x="15060" y="817"/>
                    </a:cubicBezTo>
                    <a:cubicBezTo>
                      <a:pt x="14972" y="874"/>
                      <a:pt x="14870" y="930"/>
                      <a:pt x="14711" y="967"/>
                    </a:cubicBezTo>
                    <a:cubicBezTo>
                      <a:pt x="14551" y="1004"/>
                      <a:pt x="14334" y="1025"/>
                      <a:pt x="13998" y="1026"/>
                    </a:cubicBezTo>
                    <a:cubicBezTo>
                      <a:pt x="13975" y="1026"/>
                      <a:pt x="13953" y="1026"/>
                      <a:pt x="13930" y="1026"/>
                    </a:cubicBezTo>
                    <a:cubicBezTo>
                      <a:pt x="13701" y="1026"/>
                      <a:pt x="13475" y="1023"/>
                      <a:pt x="13267" y="1022"/>
                    </a:cubicBezTo>
                    <a:cubicBezTo>
                      <a:pt x="13267" y="1024"/>
                      <a:pt x="13267" y="1024"/>
                      <a:pt x="13267" y="1024"/>
                    </a:cubicBezTo>
                    <a:cubicBezTo>
                      <a:pt x="13267" y="1024"/>
                      <a:pt x="13267" y="1024"/>
                      <a:pt x="13267" y="1024"/>
                    </a:cubicBezTo>
                    <a:cubicBezTo>
                      <a:pt x="13213" y="1024"/>
                      <a:pt x="13095" y="1050"/>
                      <a:pt x="12954" y="1080"/>
                    </a:cubicBezTo>
                    <a:cubicBezTo>
                      <a:pt x="13018" y="1247"/>
                      <a:pt x="13122" y="1545"/>
                      <a:pt x="13150" y="1652"/>
                    </a:cubicBezTo>
                    <a:cubicBezTo>
                      <a:pt x="13172" y="1739"/>
                      <a:pt x="13192" y="1855"/>
                      <a:pt x="13201" y="1909"/>
                    </a:cubicBezTo>
                    <a:cubicBezTo>
                      <a:pt x="13263" y="1887"/>
                      <a:pt x="13323" y="1886"/>
                      <a:pt x="13367" y="1884"/>
                    </a:cubicBezTo>
                    <a:cubicBezTo>
                      <a:pt x="13368" y="1884"/>
                      <a:pt x="13368" y="1884"/>
                      <a:pt x="13368" y="1884"/>
                    </a:cubicBezTo>
                    <a:cubicBezTo>
                      <a:pt x="13369" y="1884"/>
                      <a:pt x="13369" y="1884"/>
                      <a:pt x="13369" y="1884"/>
                    </a:cubicBezTo>
                    <a:cubicBezTo>
                      <a:pt x="13369" y="1884"/>
                      <a:pt x="13524" y="1888"/>
                      <a:pt x="13738" y="1891"/>
                    </a:cubicBezTo>
                    <a:cubicBezTo>
                      <a:pt x="13952" y="1894"/>
                      <a:pt x="14224" y="1898"/>
                      <a:pt x="14458" y="1898"/>
                    </a:cubicBezTo>
                    <a:cubicBezTo>
                      <a:pt x="14690" y="1898"/>
                      <a:pt x="14887" y="1894"/>
                      <a:pt x="14938" y="1885"/>
                    </a:cubicBezTo>
                    <a:cubicBezTo>
                      <a:pt x="15117" y="1853"/>
                      <a:pt x="15694" y="1809"/>
                      <a:pt x="16195" y="1676"/>
                    </a:cubicBezTo>
                    <a:cubicBezTo>
                      <a:pt x="16682" y="1548"/>
                      <a:pt x="17387" y="1023"/>
                      <a:pt x="17835" y="728"/>
                    </a:cubicBezTo>
                    <a:cubicBezTo>
                      <a:pt x="17831" y="723"/>
                      <a:pt x="17827" y="717"/>
                      <a:pt x="17822" y="712"/>
                    </a:cubicBezTo>
                    <a:cubicBezTo>
                      <a:pt x="17691" y="551"/>
                      <a:pt x="17471" y="305"/>
                      <a:pt x="16993" y="0"/>
                    </a:cubicBezTo>
                    <a:cubicBezTo>
                      <a:pt x="17113" y="0"/>
                      <a:pt x="17113" y="0"/>
                      <a:pt x="17113" y="0"/>
                    </a:cubicBezTo>
                    <a:cubicBezTo>
                      <a:pt x="17539" y="284"/>
                      <a:pt x="17748" y="516"/>
                      <a:pt x="17873" y="671"/>
                    </a:cubicBezTo>
                    <a:cubicBezTo>
                      <a:pt x="17879" y="677"/>
                      <a:pt x="17884" y="685"/>
                      <a:pt x="17889" y="692"/>
                    </a:cubicBezTo>
                    <a:close/>
                    <a:moveTo>
                      <a:pt x="14971" y="695"/>
                    </a:moveTo>
                    <a:cubicBezTo>
                      <a:pt x="14971" y="695"/>
                      <a:pt x="14971" y="695"/>
                      <a:pt x="14971" y="695"/>
                    </a:cubicBezTo>
                    <a:cubicBezTo>
                      <a:pt x="14971" y="695"/>
                      <a:pt x="14971" y="695"/>
                      <a:pt x="14971" y="695"/>
                    </a:cubicBezTo>
                    <a:close/>
                    <a:moveTo>
                      <a:pt x="492" y="10347"/>
                    </a:moveTo>
                    <a:cubicBezTo>
                      <a:pt x="475" y="10355"/>
                      <a:pt x="460" y="10363"/>
                      <a:pt x="448" y="10370"/>
                    </a:cubicBezTo>
                    <a:cubicBezTo>
                      <a:pt x="447" y="10370"/>
                      <a:pt x="447" y="10370"/>
                      <a:pt x="446" y="10371"/>
                    </a:cubicBezTo>
                    <a:lnTo>
                      <a:pt x="492" y="10347"/>
                    </a:lnTo>
                    <a:close/>
                    <a:moveTo>
                      <a:pt x="6433" y="10655"/>
                    </a:moveTo>
                    <a:cubicBezTo>
                      <a:pt x="6426" y="10661"/>
                      <a:pt x="6426" y="10661"/>
                      <a:pt x="6426" y="10661"/>
                    </a:cubicBezTo>
                    <a:cubicBezTo>
                      <a:pt x="6365" y="10590"/>
                      <a:pt x="6365" y="10590"/>
                      <a:pt x="6365" y="10590"/>
                    </a:cubicBezTo>
                    <a:cubicBezTo>
                      <a:pt x="6259" y="10683"/>
                      <a:pt x="6259" y="10683"/>
                      <a:pt x="6259" y="10683"/>
                    </a:cubicBezTo>
                    <a:cubicBezTo>
                      <a:pt x="6352" y="10789"/>
                      <a:pt x="6352" y="10789"/>
                      <a:pt x="6352" y="10789"/>
                    </a:cubicBezTo>
                    <a:cubicBezTo>
                      <a:pt x="6423" y="10727"/>
                      <a:pt x="6423" y="10727"/>
                      <a:pt x="6423" y="10727"/>
                    </a:cubicBezTo>
                    <a:lnTo>
                      <a:pt x="6433" y="10655"/>
                    </a:lnTo>
                    <a:close/>
                    <a:moveTo>
                      <a:pt x="6449" y="10643"/>
                    </a:moveTo>
                    <a:cubicBezTo>
                      <a:pt x="6435" y="10735"/>
                      <a:pt x="6435" y="10735"/>
                      <a:pt x="6435" y="10735"/>
                    </a:cubicBezTo>
                    <a:cubicBezTo>
                      <a:pt x="6494" y="10803"/>
                      <a:pt x="6494" y="10803"/>
                      <a:pt x="6494" y="10803"/>
                    </a:cubicBezTo>
                    <a:cubicBezTo>
                      <a:pt x="6605" y="10713"/>
                      <a:pt x="6605" y="10713"/>
                      <a:pt x="6605" y="10713"/>
                    </a:cubicBezTo>
                    <a:cubicBezTo>
                      <a:pt x="6506" y="10599"/>
                      <a:pt x="6506" y="10599"/>
                      <a:pt x="6506" y="10599"/>
                    </a:cubicBezTo>
                    <a:lnTo>
                      <a:pt x="6449" y="10643"/>
                    </a:lnTo>
                    <a:close/>
                    <a:moveTo>
                      <a:pt x="12553" y="1161"/>
                    </a:moveTo>
                    <a:cubicBezTo>
                      <a:pt x="12380" y="1208"/>
                      <a:pt x="12268" y="1262"/>
                      <a:pt x="12241" y="1277"/>
                    </a:cubicBezTo>
                    <a:cubicBezTo>
                      <a:pt x="12173" y="1315"/>
                      <a:pt x="11806" y="1612"/>
                      <a:pt x="11626" y="1737"/>
                    </a:cubicBezTo>
                    <a:cubicBezTo>
                      <a:pt x="11580" y="1780"/>
                      <a:pt x="11533" y="1824"/>
                      <a:pt x="11487" y="1867"/>
                    </a:cubicBezTo>
                    <a:cubicBezTo>
                      <a:pt x="11342" y="2003"/>
                      <a:pt x="11204" y="2133"/>
                      <a:pt x="11093" y="2236"/>
                    </a:cubicBezTo>
                    <a:cubicBezTo>
                      <a:pt x="11038" y="2287"/>
                      <a:pt x="10989" y="2331"/>
                      <a:pt x="10948" y="2366"/>
                    </a:cubicBezTo>
                    <a:cubicBezTo>
                      <a:pt x="10908" y="2401"/>
                      <a:pt x="10877" y="2425"/>
                      <a:pt x="10850" y="2442"/>
                    </a:cubicBezTo>
                    <a:cubicBezTo>
                      <a:pt x="10829" y="2454"/>
                      <a:pt x="10807" y="2463"/>
                      <a:pt x="10775" y="2475"/>
                    </a:cubicBezTo>
                    <a:cubicBezTo>
                      <a:pt x="10731" y="2491"/>
                      <a:pt x="10670" y="2511"/>
                      <a:pt x="10596" y="2534"/>
                    </a:cubicBezTo>
                    <a:cubicBezTo>
                      <a:pt x="10627" y="2650"/>
                      <a:pt x="10666" y="2794"/>
                      <a:pt x="10703" y="2941"/>
                    </a:cubicBezTo>
                    <a:cubicBezTo>
                      <a:pt x="10754" y="2940"/>
                      <a:pt x="11122" y="2932"/>
                      <a:pt x="11492" y="2924"/>
                    </a:cubicBezTo>
                    <a:cubicBezTo>
                      <a:pt x="11889" y="2916"/>
                      <a:pt x="12286" y="2907"/>
                      <a:pt x="12286" y="2907"/>
                    </a:cubicBezTo>
                    <a:cubicBezTo>
                      <a:pt x="12286" y="2907"/>
                      <a:pt x="12286" y="2907"/>
                      <a:pt x="12286" y="2907"/>
                    </a:cubicBezTo>
                    <a:cubicBezTo>
                      <a:pt x="12288" y="2907"/>
                      <a:pt x="12290" y="2907"/>
                      <a:pt x="12294" y="2907"/>
                    </a:cubicBezTo>
                    <a:cubicBezTo>
                      <a:pt x="12313" y="2907"/>
                      <a:pt x="12358" y="2909"/>
                      <a:pt x="12410" y="2924"/>
                    </a:cubicBezTo>
                    <a:cubicBezTo>
                      <a:pt x="12426" y="2886"/>
                      <a:pt x="12461" y="2806"/>
                      <a:pt x="12477" y="2772"/>
                    </a:cubicBezTo>
                    <a:cubicBezTo>
                      <a:pt x="12482" y="2760"/>
                      <a:pt x="12490" y="2749"/>
                      <a:pt x="12503" y="2731"/>
                    </a:cubicBezTo>
                    <a:cubicBezTo>
                      <a:pt x="12589" y="2613"/>
                      <a:pt x="12867" y="2274"/>
                      <a:pt x="12885" y="2251"/>
                    </a:cubicBezTo>
                    <a:cubicBezTo>
                      <a:pt x="12896" y="2235"/>
                      <a:pt x="12999" y="2082"/>
                      <a:pt x="13079" y="1991"/>
                    </a:cubicBezTo>
                    <a:cubicBezTo>
                      <a:pt x="13098" y="1970"/>
                      <a:pt x="13119" y="1953"/>
                      <a:pt x="13140" y="1939"/>
                    </a:cubicBezTo>
                    <a:cubicBezTo>
                      <a:pt x="13137" y="1924"/>
                      <a:pt x="13132" y="1891"/>
                      <a:pt x="13125" y="1851"/>
                    </a:cubicBezTo>
                    <a:cubicBezTo>
                      <a:pt x="13115" y="1795"/>
                      <a:pt x="13101" y="1724"/>
                      <a:pt x="13086" y="1668"/>
                    </a:cubicBezTo>
                    <a:cubicBezTo>
                      <a:pt x="13060" y="1566"/>
                      <a:pt x="12951" y="1257"/>
                      <a:pt x="12889" y="1094"/>
                    </a:cubicBezTo>
                    <a:cubicBezTo>
                      <a:pt x="12778" y="1116"/>
                      <a:pt x="12653" y="1133"/>
                      <a:pt x="12553" y="1161"/>
                    </a:cubicBezTo>
                    <a:close/>
                    <a:moveTo>
                      <a:pt x="8677" y="6528"/>
                    </a:moveTo>
                    <a:cubicBezTo>
                      <a:pt x="8677" y="6822"/>
                      <a:pt x="8668" y="7133"/>
                      <a:pt x="8663" y="7220"/>
                    </a:cubicBezTo>
                    <a:cubicBezTo>
                      <a:pt x="8661" y="7273"/>
                      <a:pt x="8657" y="7328"/>
                      <a:pt x="8657" y="7383"/>
                    </a:cubicBezTo>
                    <a:cubicBezTo>
                      <a:pt x="8657" y="7465"/>
                      <a:pt x="8666" y="7544"/>
                      <a:pt x="8694" y="7607"/>
                    </a:cubicBezTo>
                    <a:cubicBezTo>
                      <a:pt x="8739" y="7714"/>
                      <a:pt x="8880" y="7843"/>
                      <a:pt x="9026" y="7905"/>
                    </a:cubicBezTo>
                    <a:cubicBezTo>
                      <a:pt x="9182" y="7973"/>
                      <a:pt x="9734" y="8222"/>
                      <a:pt x="10215" y="8387"/>
                    </a:cubicBezTo>
                    <a:cubicBezTo>
                      <a:pt x="10658" y="7134"/>
                      <a:pt x="10658" y="7134"/>
                      <a:pt x="10658" y="7134"/>
                    </a:cubicBezTo>
                    <a:cubicBezTo>
                      <a:pt x="10575" y="7084"/>
                      <a:pt x="10436" y="7001"/>
                      <a:pt x="10309" y="6926"/>
                    </a:cubicBezTo>
                    <a:cubicBezTo>
                      <a:pt x="10236" y="6883"/>
                      <a:pt x="10166" y="6842"/>
                      <a:pt x="10114" y="6812"/>
                    </a:cubicBezTo>
                    <a:cubicBezTo>
                      <a:pt x="10088" y="6797"/>
                      <a:pt x="10067" y="6784"/>
                      <a:pt x="10052" y="6776"/>
                    </a:cubicBezTo>
                    <a:cubicBezTo>
                      <a:pt x="10044" y="6771"/>
                      <a:pt x="10038" y="6768"/>
                      <a:pt x="10034" y="6766"/>
                    </a:cubicBezTo>
                    <a:cubicBezTo>
                      <a:pt x="10032" y="6765"/>
                      <a:pt x="10031" y="6764"/>
                      <a:pt x="10030" y="6763"/>
                    </a:cubicBezTo>
                    <a:cubicBezTo>
                      <a:pt x="10029" y="6763"/>
                      <a:pt x="10029" y="6763"/>
                      <a:pt x="10029" y="6763"/>
                    </a:cubicBezTo>
                    <a:cubicBezTo>
                      <a:pt x="10029" y="6763"/>
                      <a:pt x="10029" y="6763"/>
                      <a:pt x="10029" y="6763"/>
                    </a:cubicBezTo>
                    <a:cubicBezTo>
                      <a:pt x="10014" y="6757"/>
                      <a:pt x="10009" y="6749"/>
                      <a:pt x="10000" y="6738"/>
                    </a:cubicBezTo>
                    <a:cubicBezTo>
                      <a:pt x="9975" y="6704"/>
                      <a:pt x="9947" y="6633"/>
                      <a:pt x="9947" y="6504"/>
                    </a:cubicBezTo>
                    <a:cubicBezTo>
                      <a:pt x="9947" y="6493"/>
                      <a:pt x="9947" y="6482"/>
                      <a:pt x="9947" y="6471"/>
                    </a:cubicBezTo>
                    <a:cubicBezTo>
                      <a:pt x="9952" y="6336"/>
                      <a:pt x="9976" y="6021"/>
                      <a:pt x="9976" y="5765"/>
                    </a:cubicBezTo>
                    <a:cubicBezTo>
                      <a:pt x="9976" y="5661"/>
                      <a:pt x="9972" y="5566"/>
                      <a:pt x="9961" y="5499"/>
                    </a:cubicBezTo>
                    <a:cubicBezTo>
                      <a:pt x="9943" y="5383"/>
                      <a:pt x="9856" y="5033"/>
                      <a:pt x="9773" y="4715"/>
                    </a:cubicBezTo>
                    <a:cubicBezTo>
                      <a:pt x="9700" y="4435"/>
                      <a:pt x="9631" y="4179"/>
                      <a:pt x="9615" y="4121"/>
                    </a:cubicBezTo>
                    <a:cubicBezTo>
                      <a:pt x="8039" y="4576"/>
                      <a:pt x="8039" y="4576"/>
                      <a:pt x="8039" y="4576"/>
                    </a:cubicBezTo>
                    <a:cubicBezTo>
                      <a:pt x="8348" y="5106"/>
                      <a:pt x="8348" y="5106"/>
                      <a:pt x="8348" y="5106"/>
                    </a:cubicBezTo>
                    <a:cubicBezTo>
                      <a:pt x="8348" y="5108"/>
                      <a:pt x="8348" y="5108"/>
                      <a:pt x="8348" y="5108"/>
                    </a:cubicBezTo>
                    <a:cubicBezTo>
                      <a:pt x="8469" y="5339"/>
                      <a:pt x="8648" y="5796"/>
                      <a:pt x="8669" y="6140"/>
                    </a:cubicBezTo>
                    <a:cubicBezTo>
                      <a:pt x="8675" y="6248"/>
                      <a:pt x="8677" y="6386"/>
                      <a:pt x="8677" y="6528"/>
                    </a:cubicBezTo>
                    <a:close/>
                    <a:moveTo>
                      <a:pt x="8203" y="7966"/>
                    </a:moveTo>
                    <a:cubicBezTo>
                      <a:pt x="8252" y="7960"/>
                      <a:pt x="8306" y="7952"/>
                      <a:pt x="8356" y="7943"/>
                    </a:cubicBezTo>
                    <a:cubicBezTo>
                      <a:pt x="8318" y="7909"/>
                      <a:pt x="8197" y="7787"/>
                      <a:pt x="8083" y="7672"/>
                    </a:cubicBezTo>
                    <a:cubicBezTo>
                      <a:pt x="8006" y="7700"/>
                      <a:pt x="7933" y="7728"/>
                      <a:pt x="7909" y="7737"/>
                    </a:cubicBezTo>
                    <a:cubicBezTo>
                      <a:pt x="8133" y="7975"/>
                      <a:pt x="8133" y="7975"/>
                      <a:pt x="8133" y="7975"/>
                    </a:cubicBezTo>
                    <a:cubicBezTo>
                      <a:pt x="8146" y="7973"/>
                      <a:pt x="8160" y="7972"/>
                      <a:pt x="8174" y="7970"/>
                    </a:cubicBezTo>
                    <a:cubicBezTo>
                      <a:pt x="8179" y="7969"/>
                      <a:pt x="8184" y="7969"/>
                      <a:pt x="8188" y="7968"/>
                    </a:cubicBezTo>
                    <a:cubicBezTo>
                      <a:pt x="8091" y="7863"/>
                      <a:pt x="8091" y="7863"/>
                      <a:pt x="8091" y="7863"/>
                    </a:cubicBezTo>
                    <a:cubicBezTo>
                      <a:pt x="8147" y="7812"/>
                      <a:pt x="8147" y="7812"/>
                      <a:pt x="8147" y="7812"/>
                    </a:cubicBezTo>
                    <a:cubicBezTo>
                      <a:pt x="8151" y="7817"/>
                      <a:pt x="8151" y="7817"/>
                      <a:pt x="8151" y="7817"/>
                    </a:cubicBezTo>
                    <a:cubicBezTo>
                      <a:pt x="8250" y="7923"/>
                      <a:pt x="8250" y="7923"/>
                      <a:pt x="8250" y="7923"/>
                    </a:cubicBezTo>
                    <a:lnTo>
                      <a:pt x="8203" y="7966"/>
                    </a:lnTo>
                    <a:close/>
                    <a:moveTo>
                      <a:pt x="8231" y="7922"/>
                    </a:moveTo>
                    <a:cubicBezTo>
                      <a:pt x="8146" y="7830"/>
                      <a:pt x="8146" y="7830"/>
                      <a:pt x="8146" y="7830"/>
                    </a:cubicBezTo>
                    <a:cubicBezTo>
                      <a:pt x="8110" y="7864"/>
                      <a:pt x="8110" y="7864"/>
                      <a:pt x="8110" y="7864"/>
                    </a:cubicBezTo>
                    <a:cubicBezTo>
                      <a:pt x="8195" y="7956"/>
                      <a:pt x="8195" y="7956"/>
                      <a:pt x="8195" y="7956"/>
                    </a:cubicBezTo>
                    <a:lnTo>
                      <a:pt x="8231" y="7922"/>
                    </a:lnTo>
                    <a:close/>
                    <a:moveTo>
                      <a:pt x="5957" y="9750"/>
                    </a:moveTo>
                    <a:cubicBezTo>
                      <a:pt x="5998" y="9636"/>
                      <a:pt x="5998" y="9636"/>
                      <a:pt x="5998" y="9636"/>
                    </a:cubicBezTo>
                    <a:cubicBezTo>
                      <a:pt x="5871" y="9616"/>
                      <a:pt x="5871" y="9616"/>
                      <a:pt x="5871" y="9616"/>
                    </a:cubicBezTo>
                    <a:cubicBezTo>
                      <a:pt x="5824" y="9745"/>
                      <a:pt x="5824" y="9745"/>
                      <a:pt x="5824" y="9745"/>
                    </a:cubicBezTo>
                    <a:cubicBezTo>
                      <a:pt x="5869" y="9747"/>
                      <a:pt x="5916" y="9749"/>
                      <a:pt x="5957" y="9750"/>
                    </a:cubicBezTo>
                    <a:close/>
                    <a:moveTo>
                      <a:pt x="5819" y="9759"/>
                    </a:moveTo>
                    <a:cubicBezTo>
                      <a:pt x="5775" y="9881"/>
                      <a:pt x="5775" y="9881"/>
                      <a:pt x="5775" y="9881"/>
                    </a:cubicBezTo>
                    <a:cubicBezTo>
                      <a:pt x="5893" y="9926"/>
                      <a:pt x="5893" y="9926"/>
                      <a:pt x="5893" y="9926"/>
                    </a:cubicBezTo>
                    <a:cubicBezTo>
                      <a:pt x="5952" y="9764"/>
                      <a:pt x="5952" y="9764"/>
                      <a:pt x="5952" y="9764"/>
                    </a:cubicBezTo>
                    <a:cubicBezTo>
                      <a:pt x="5911" y="9762"/>
                      <a:pt x="5863" y="9761"/>
                      <a:pt x="5819" y="9759"/>
                    </a:cubicBezTo>
                    <a:close/>
                    <a:moveTo>
                      <a:pt x="5380" y="9668"/>
                    </a:moveTo>
                    <a:cubicBezTo>
                      <a:pt x="5383" y="9620"/>
                      <a:pt x="5384" y="9574"/>
                      <a:pt x="5384" y="9539"/>
                    </a:cubicBezTo>
                    <a:cubicBezTo>
                      <a:pt x="5384" y="9521"/>
                      <a:pt x="5384" y="9506"/>
                      <a:pt x="5383" y="9494"/>
                    </a:cubicBezTo>
                    <a:cubicBezTo>
                      <a:pt x="5379" y="9436"/>
                      <a:pt x="5355" y="9367"/>
                      <a:pt x="5332" y="9309"/>
                    </a:cubicBezTo>
                    <a:cubicBezTo>
                      <a:pt x="5308" y="9249"/>
                      <a:pt x="5284" y="9204"/>
                      <a:pt x="5278" y="9179"/>
                    </a:cubicBezTo>
                    <a:cubicBezTo>
                      <a:pt x="5275" y="9166"/>
                      <a:pt x="5260" y="9142"/>
                      <a:pt x="5246" y="9124"/>
                    </a:cubicBezTo>
                    <a:cubicBezTo>
                      <a:pt x="5241" y="9117"/>
                      <a:pt x="5236" y="9111"/>
                      <a:pt x="5232" y="9106"/>
                    </a:cubicBezTo>
                    <a:cubicBezTo>
                      <a:pt x="5162" y="9155"/>
                      <a:pt x="5075" y="9199"/>
                      <a:pt x="4967" y="9218"/>
                    </a:cubicBezTo>
                    <a:cubicBezTo>
                      <a:pt x="5123" y="9674"/>
                      <a:pt x="5123" y="9674"/>
                      <a:pt x="5123" y="9674"/>
                    </a:cubicBezTo>
                    <a:cubicBezTo>
                      <a:pt x="5250" y="9671"/>
                      <a:pt x="5349" y="9669"/>
                      <a:pt x="5380" y="9668"/>
                    </a:cubicBezTo>
                    <a:close/>
                    <a:moveTo>
                      <a:pt x="5184" y="9686"/>
                    </a:moveTo>
                    <a:cubicBezTo>
                      <a:pt x="5171" y="10071"/>
                      <a:pt x="5171" y="10071"/>
                      <a:pt x="5171" y="10071"/>
                    </a:cubicBezTo>
                    <a:cubicBezTo>
                      <a:pt x="5232" y="10061"/>
                      <a:pt x="5292" y="10052"/>
                      <a:pt x="5351" y="10044"/>
                    </a:cubicBezTo>
                    <a:cubicBezTo>
                      <a:pt x="5354" y="10011"/>
                      <a:pt x="5361" y="9943"/>
                      <a:pt x="5367" y="9864"/>
                    </a:cubicBezTo>
                    <a:cubicBezTo>
                      <a:pt x="5371" y="9805"/>
                      <a:pt x="5376" y="9742"/>
                      <a:pt x="5379" y="9682"/>
                    </a:cubicBezTo>
                    <a:cubicBezTo>
                      <a:pt x="5353" y="9683"/>
                      <a:pt x="5280" y="9684"/>
                      <a:pt x="5184" y="9686"/>
                    </a:cubicBezTo>
                    <a:close/>
                    <a:moveTo>
                      <a:pt x="4530" y="9774"/>
                    </a:moveTo>
                    <a:cubicBezTo>
                      <a:pt x="4483" y="9790"/>
                      <a:pt x="4483" y="9790"/>
                      <a:pt x="4483" y="9790"/>
                    </a:cubicBezTo>
                    <a:cubicBezTo>
                      <a:pt x="4535" y="9954"/>
                      <a:pt x="4535" y="9954"/>
                      <a:pt x="4535" y="9954"/>
                    </a:cubicBezTo>
                    <a:cubicBezTo>
                      <a:pt x="4582" y="9939"/>
                      <a:pt x="4582" y="9939"/>
                      <a:pt x="4582" y="9939"/>
                    </a:cubicBezTo>
                    <a:cubicBezTo>
                      <a:pt x="4558" y="9867"/>
                      <a:pt x="4558" y="9867"/>
                      <a:pt x="4558" y="9867"/>
                    </a:cubicBezTo>
                    <a:cubicBezTo>
                      <a:pt x="4628" y="9844"/>
                      <a:pt x="4628" y="9844"/>
                      <a:pt x="4628" y="9844"/>
                    </a:cubicBezTo>
                    <a:cubicBezTo>
                      <a:pt x="4592" y="9735"/>
                      <a:pt x="4592" y="9735"/>
                      <a:pt x="4592" y="9735"/>
                    </a:cubicBezTo>
                    <a:cubicBezTo>
                      <a:pt x="4525" y="9757"/>
                      <a:pt x="4525" y="9757"/>
                      <a:pt x="4525" y="9757"/>
                    </a:cubicBezTo>
                    <a:cubicBezTo>
                      <a:pt x="4528" y="9768"/>
                      <a:pt x="4528" y="9768"/>
                      <a:pt x="4528" y="9768"/>
                    </a:cubicBezTo>
                    <a:lnTo>
                      <a:pt x="4530" y="9774"/>
                    </a:lnTo>
                    <a:close/>
                    <a:moveTo>
                      <a:pt x="4527" y="9971"/>
                    </a:moveTo>
                    <a:cubicBezTo>
                      <a:pt x="4627" y="10188"/>
                      <a:pt x="4627" y="10188"/>
                      <a:pt x="4627" y="10188"/>
                    </a:cubicBezTo>
                    <a:cubicBezTo>
                      <a:pt x="4661" y="10179"/>
                      <a:pt x="4694" y="10171"/>
                      <a:pt x="4727" y="10163"/>
                    </a:cubicBezTo>
                    <a:cubicBezTo>
                      <a:pt x="4641" y="9698"/>
                      <a:pt x="4641" y="9698"/>
                      <a:pt x="4641" y="9698"/>
                    </a:cubicBezTo>
                    <a:cubicBezTo>
                      <a:pt x="4545" y="9700"/>
                      <a:pt x="4460" y="9702"/>
                      <a:pt x="4405" y="9703"/>
                    </a:cubicBezTo>
                    <a:cubicBezTo>
                      <a:pt x="4524" y="9964"/>
                      <a:pt x="4524" y="9964"/>
                      <a:pt x="4524" y="9964"/>
                    </a:cubicBezTo>
                    <a:cubicBezTo>
                      <a:pt x="4467" y="9781"/>
                      <a:pt x="4467" y="9781"/>
                      <a:pt x="4467" y="9781"/>
                    </a:cubicBezTo>
                    <a:cubicBezTo>
                      <a:pt x="4514" y="9766"/>
                      <a:pt x="4514" y="9766"/>
                      <a:pt x="4514" y="9766"/>
                    </a:cubicBezTo>
                    <a:cubicBezTo>
                      <a:pt x="4510" y="9755"/>
                      <a:pt x="4510" y="9755"/>
                      <a:pt x="4510" y="9755"/>
                    </a:cubicBezTo>
                    <a:cubicBezTo>
                      <a:pt x="4508" y="9749"/>
                      <a:pt x="4508" y="9749"/>
                      <a:pt x="4508" y="9749"/>
                    </a:cubicBezTo>
                    <a:cubicBezTo>
                      <a:pt x="4600" y="9718"/>
                      <a:pt x="4600" y="9718"/>
                      <a:pt x="4600" y="9718"/>
                    </a:cubicBezTo>
                    <a:cubicBezTo>
                      <a:pt x="4644" y="9852"/>
                      <a:pt x="4644" y="9852"/>
                      <a:pt x="4644" y="9852"/>
                    </a:cubicBezTo>
                    <a:cubicBezTo>
                      <a:pt x="4575" y="9875"/>
                      <a:pt x="4575" y="9875"/>
                      <a:pt x="4575" y="9875"/>
                    </a:cubicBezTo>
                    <a:cubicBezTo>
                      <a:pt x="4598" y="9947"/>
                      <a:pt x="4598" y="9947"/>
                      <a:pt x="4598" y="9947"/>
                    </a:cubicBezTo>
                    <a:lnTo>
                      <a:pt x="4527" y="9971"/>
                    </a:lnTo>
                    <a:close/>
                    <a:moveTo>
                      <a:pt x="3556" y="10129"/>
                    </a:moveTo>
                    <a:cubicBezTo>
                      <a:pt x="3558" y="10126"/>
                      <a:pt x="3558" y="10126"/>
                      <a:pt x="3558" y="10126"/>
                    </a:cubicBezTo>
                    <a:cubicBezTo>
                      <a:pt x="3558" y="10126"/>
                      <a:pt x="3558" y="10126"/>
                      <a:pt x="3558" y="10126"/>
                    </a:cubicBezTo>
                    <a:cubicBezTo>
                      <a:pt x="3554" y="10130"/>
                      <a:pt x="3554" y="10130"/>
                      <a:pt x="3554" y="10130"/>
                    </a:cubicBezTo>
                    <a:cubicBezTo>
                      <a:pt x="3554" y="10133"/>
                      <a:pt x="3554" y="10133"/>
                      <a:pt x="3554" y="10133"/>
                    </a:cubicBezTo>
                    <a:cubicBezTo>
                      <a:pt x="3558" y="10127"/>
                      <a:pt x="3558" y="10127"/>
                      <a:pt x="3558" y="10127"/>
                    </a:cubicBezTo>
                    <a:lnTo>
                      <a:pt x="3556" y="10129"/>
                    </a:lnTo>
                    <a:close/>
                    <a:moveTo>
                      <a:pt x="3559" y="10125"/>
                    </a:moveTo>
                    <a:cubicBezTo>
                      <a:pt x="3695" y="9904"/>
                      <a:pt x="3695" y="9904"/>
                      <a:pt x="3695" y="9904"/>
                    </a:cubicBezTo>
                    <a:cubicBezTo>
                      <a:pt x="3696" y="9903"/>
                      <a:pt x="3696" y="9903"/>
                      <a:pt x="3696" y="9903"/>
                    </a:cubicBezTo>
                    <a:cubicBezTo>
                      <a:pt x="3696" y="9903"/>
                      <a:pt x="4166" y="9598"/>
                      <a:pt x="4257" y="9539"/>
                    </a:cubicBezTo>
                    <a:cubicBezTo>
                      <a:pt x="4138" y="9280"/>
                      <a:pt x="4138" y="9280"/>
                      <a:pt x="4138" y="9280"/>
                    </a:cubicBezTo>
                    <a:cubicBezTo>
                      <a:pt x="4025" y="9007"/>
                      <a:pt x="4025" y="9007"/>
                      <a:pt x="4025" y="9007"/>
                    </a:cubicBezTo>
                    <a:cubicBezTo>
                      <a:pt x="3977" y="9019"/>
                      <a:pt x="3860" y="9051"/>
                      <a:pt x="3748" y="9086"/>
                    </a:cubicBezTo>
                    <a:cubicBezTo>
                      <a:pt x="3637" y="9121"/>
                      <a:pt x="3571" y="9160"/>
                      <a:pt x="3529" y="9199"/>
                    </a:cubicBezTo>
                    <a:cubicBezTo>
                      <a:pt x="3610" y="9299"/>
                      <a:pt x="3945" y="9737"/>
                      <a:pt x="3945" y="9737"/>
                    </a:cubicBezTo>
                    <a:cubicBezTo>
                      <a:pt x="3934" y="9745"/>
                      <a:pt x="3934" y="9745"/>
                      <a:pt x="3934" y="9745"/>
                    </a:cubicBezTo>
                    <a:cubicBezTo>
                      <a:pt x="3933" y="9744"/>
                      <a:pt x="3827" y="9605"/>
                      <a:pt x="3720" y="9467"/>
                    </a:cubicBezTo>
                    <a:cubicBezTo>
                      <a:pt x="3666" y="9397"/>
                      <a:pt x="3612" y="9327"/>
                      <a:pt x="3571" y="9275"/>
                    </a:cubicBezTo>
                    <a:cubicBezTo>
                      <a:pt x="3551" y="9249"/>
                      <a:pt x="3534" y="9227"/>
                      <a:pt x="3522" y="9212"/>
                    </a:cubicBezTo>
                    <a:cubicBezTo>
                      <a:pt x="3521" y="9211"/>
                      <a:pt x="3520" y="9210"/>
                      <a:pt x="3519" y="9209"/>
                    </a:cubicBezTo>
                    <a:cubicBezTo>
                      <a:pt x="3512" y="9216"/>
                      <a:pt x="3506" y="9223"/>
                      <a:pt x="3501" y="9230"/>
                    </a:cubicBezTo>
                    <a:cubicBezTo>
                      <a:pt x="3463" y="9280"/>
                      <a:pt x="3453" y="9332"/>
                      <a:pt x="3438" y="9387"/>
                    </a:cubicBezTo>
                    <a:cubicBezTo>
                      <a:pt x="3414" y="9476"/>
                      <a:pt x="3404" y="9657"/>
                      <a:pt x="3342" y="9788"/>
                    </a:cubicBezTo>
                    <a:cubicBezTo>
                      <a:pt x="3356" y="9807"/>
                      <a:pt x="3406" y="9885"/>
                      <a:pt x="3456" y="9964"/>
                    </a:cubicBezTo>
                    <a:cubicBezTo>
                      <a:pt x="3482" y="10005"/>
                      <a:pt x="3508" y="10046"/>
                      <a:pt x="3527" y="10076"/>
                    </a:cubicBezTo>
                    <a:cubicBezTo>
                      <a:pt x="3537" y="10091"/>
                      <a:pt x="3545" y="10104"/>
                      <a:pt x="3551" y="10113"/>
                    </a:cubicBezTo>
                    <a:cubicBezTo>
                      <a:pt x="3554" y="10117"/>
                      <a:pt x="3556" y="10121"/>
                      <a:pt x="3557" y="10123"/>
                    </a:cubicBezTo>
                    <a:cubicBezTo>
                      <a:pt x="3558" y="10124"/>
                      <a:pt x="3559" y="10125"/>
                      <a:pt x="3559" y="10125"/>
                    </a:cubicBezTo>
                    <a:close/>
                    <a:moveTo>
                      <a:pt x="3151" y="10298"/>
                    </a:moveTo>
                    <a:cubicBezTo>
                      <a:pt x="3153" y="10298"/>
                      <a:pt x="3159" y="10295"/>
                      <a:pt x="3168" y="10292"/>
                    </a:cubicBezTo>
                    <a:cubicBezTo>
                      <a:pt x="3098" y="10003"/>
                      <a:pt x="3098" y="10003"/>
                      <a:pt x="3098" y="10003"/>
                    </a:cubicBezTo>
                    <a:cubicBezTo>
                      <a:pt x="3055" y="10025"/>
                      <a:pt x="2998" y="10054"/>
                      <a:pt x="2919" y="10097"/>
                    </a:cubicBezTo>
                    <a:cubicBezTo>
                      <a:pt x="2809" y="10158"/>
                      <a:pt x="2695" y="10187"/>
                      <a:pt x="2595" y="10200"/>
                    </a:cubicBezTo>
                    <a:cubicBezTo>
                      <a:pt x="2814" y="10490"/>
                      <a:pt x="2814" y="10490"/>
                      <a:pt x="2814" y="10490"/>
                    </a:cubicBezTo>
                    <a:cubicBezTo>
                      <a:pt x="2834" y="10479"/>
                      <a:pt x="2905" y="10437"/>
                      <a:pt x="2977" y="10396"/>
                    </a:cubicBezTo>
                    <a:cubicBezTo>
                      <a:pt x="3019" y="10372"/>
                      <a:pt x="3061" y="10347"/>
                      <a:pt x="3093" y="10329"/>
                    </a:cubicBezTo>
                    <a:cubicBezTo>
                      <a:pt x="3109" y="10320"/>
                      <a:pt x="3123" y="10312"/>
                      <a:pt x="3133" y="10307"/>
                    </a:cubicBezTo>
                    <a:cubicBezTo>
                      <a:pt x="3138" y="10304"/>
                      <a:pt x="3142" y="10302"/>
                      <a:pt x="3144" y="10301"/>
                    </a:cubicBezTo>
                    <a:cubicBezTo>
                      <a:pt x="3148" y="10299"/>
                      <a:pt x="3147" y="10299"/>
                      <a:pt x="3151" y="10298"/>
                    </a:cubicBezTo>
                    <a:close/>
                    <a:moveTo>
                      <a:pt x="2746" y="10510"/>
                    </a:moveTo>
                    <a:cubicBezTo>
                      <a:pt x="2801" y="10496"/>
                      <a:pt x="2801" y="10496"/>
                      <a:pt x="2801" y="10496"/>
                    </a:cubicBezTo>
                    <a:cubicBezTo>
                      <a:pt x="2580" y="10202"/>
                      <a:pt x="2580" y="10202"/>
                      <a:pt x="2580" y="10202"/>
                    </a:cubicBezTo>
                    <a:cubicBezTo>
                      <a:pt x="2536" y="10206"/>
                      <a:pt x="2496" y="10208"/>
                      <a:pt x="2461" y="10208"/>
                    </a:cubicBezTo>
                    <a:cubicBezTo>
                      <a:pt x="2403" y="10208"/>
                      <a:pt x="2361" y="10203"/>
                      <a:pt x="2336" y="10199"/>
                    </a:cubicBezTo>
                    <a:cubicBezTo>
                      <a:pt x="2269" y="10536"/>
                      <a:pt x="2269" y="10536"/>
                      <a:pt x="2269" y="10536"/>
                    </a:cubicBezTo>
                    <a:cubicBezTo>
                      <a:pt x="2493" y="10576"/>
                      <a:pt x="2493" y="10576"/>
                      <a:pt x="2493" y="10576"/>
                    </a:cubicBezTo>
                    <a:cubicBezTo>
                      <a:pt x="2540" y="10564"/>
                      <a:pt x="2540" y="10564"/>
                      <a:pt x="2540" y="10564"/>
                    </a:cubicBezTo>
                    <a:cubicBezTo>
                      <a:pt x="2534" y="10560"/>
                      <a:pt x="2534" y="10560"/>
                      <a:pt x="2534" y="10560"/>
                    </a:cubicBezTo>
                    <a:cubicBezTo>
                      <a:pt x="2555" y="10560"/>
                      <a:pt x="2555" y="10560"/>
                      <a:pt x="2555" y="10560"/>
                    </a:cubicBezTo>
                    <a:cubicBezTo>
                      <a:pt x="2743" y="10511"/>
                      <a:pt x="2743" y="10511"/>
                      <a:pt x="2743" y="10511"/>
                    </a:cubicBezTo>
                    <a:cubicBezTo>
                      <a:pt x="2733" y="10511"/>
                      <a:pt x="2733" y="10511"/>
                      <a:pt x="2733" y="10511"/>
                    </a:cubicBezTo>
                    <a:cubicBezTo>
                      <a:pt x="2652" y="10515"/>
                      <a:pt x="2652" y="10515"/>
                      <a:pt x="2652" y="10515"/>
                    </a:cubicBezTo>
                    <a:cubicBezTo>
                      <a:pt x="2467" y="10240"/>
                      <a:pt x="2467" y="10240"/>
                      <a:pt x="2467" y="10240"/>
                    </a:cubicBezTo>
                    <a:cubicBezTo>
                      <a:pt x="2549" y="10236"/>
                      <a:pt x="2549" y="10236"/>
                      <a:pt x="2549" y="10236"/>
                    </a:cubicBezTo>
                    <a:lnTo>
                      <a:pt x="2746" y="10510"/>
                    </a:lnTo>
                    <a:close/>
                    <a:moveTo>
                      <a:pt x="2542" y="10251"/>
                    </a:moveTo>
                    <a:cubicBezTo>
                      <a:pt x="2494" y="10253"/>
                      <a:pt x="2494" y="10253"/>
                      <a:pt x="2494" y="10253"/>
                    </a:cubicBezTo>
                    <a:cubicBezTo>
                      <a:pt x="2660" y="10500"/>
                      <a:pt x="2660" y="10500"/>
                      <a:pt x="2660" y="10500"/>
                    </a:cubicBezTo>
                    <a:cubicBezTo>
                      <a:pt x="2719" y="10497"/>
                      <a:pt x="2719" y="10497"/>
                      <a:pt x="2719" y="10497"/>
                    </a:cubicBezTo>
                    <a:lnTo>
                      <a:pt x="2542" y="10251"/>
                    </a:lnTo>
                    <a:close/>
                    <a:moveTo>
                      <a:pt x="637" y="7202"/>
                    </a:moveTo>
                    <a:cubicBezTo>
                      <a:pt x="635" y="7202"/>
                      <a:pt x="614" y="7222"/>
                      <a:pt x="586" y="7250"/>
                    </a:cubicBezTo>
                    <a:cubicBezTo>
                      <a:pt x="519" y="7317"/>
                      <a:pt x="407" y="7433"/>
                      <a:pt x="366" y="7476"/>
                    </a:cubicBezTo>
                    <a:cubicBezTo>
                      <a:pt x="613" y="7819"/>
                      <a:pt x="613" y="7819"/>
                      <a:pt x="613" y="7819"/>
                    </a:cubicBezTo>
                    <a:cubicBezTo>
                      <a:pt x="851" y="7565"/>
                      <a:pt x="851" y="7565"/>
                      <a:pt x="851" y="7565"/>
                    </a:cubicBezTo>
                    <a:cubicBezTo>
                      <a:pt x="851" y="7565"/>
                      <a:pt x="851" y="7565"/>
                      <a:pt x="851" y="7565"/>
                    </a:cubicBezTo>
                    <a:cubicBezTo>
                      <a:pt x="854" y="7563"/>
                      <a:pt x="854" y="7563"/>
                      <a:pt x="854" y="7563"/>
                    </a:cubicBezTo>
                    <a:cubicBezTo>
                      <a:pt x="856" y="7560"/>
                      <a:pt x="856" y="7560"/>
                      <a:pt x="856" y="7560"/>
                    </a:cubicBezTo>
                    <a:cubicBezTo>
                      <a:pt x="856" y="7560"/>
                      <a:pt x="856" y="7560"/>
                      <a:pt x="856" y="7560"/>
                    </a:cubicBezTo>
                    <a:cubicBezTo>
                      <a:pt x="884" y="7535"/>
                      <a:pt x="884" y="7535"/>
                      <a:pt x="884" y="7535"/>
                    </a:cubicBezTo>
                    <a:cubicBezTo>
                      <a:pt x="920" y="7448"/>
                      <a:pt x="920" y="7448"/>
                      <a:pt x="920" y="7448"/>
                    </a:cubicBezTo>
                    <a:cubicBezTo>
                      <a:pt x="880" y="7413"/>
                      <a:pt x="759" y="7307"/>
                      <a:pt x="637" y="7200"/>
                    </a:cubicBezTo>
                    <a:cubicBezTo>
                      <a:pt x="637" y="7200"/>
                      <a:pt x="636" y="7199"/>
                      <a:pt x="635" y="7199"/>
                    </a:cubicBezTo>
                    <a:lnTo>
                      <a:pt x="637" y="7202"/>
                    </a:lnTo>
                    <a:close/>
                    <a:moveTo>
                      <a:pt x="537" y="6042"/>
                    </a:moveTo>
                    <a:cubicBezTo>
                      <a:pt x="589" y="5946"/>
                      <a:pt x="589" y="5946"/>
                      <a:pt x="589" y="5946"/>
                    </a:cubicBezTo>
                    <a:cubicBezTo>
                      <a:pt x="475" y="5881"/>
                      <a:pt x="475" y="5881"/>
                      <a:pt x="475" y="5881"/>
                    </a:cubicBezTo>
                    <a:cubicBezTo>
                      <a:pt x="423" y="5977"/>
                      <a:pt x="423" y="5977"/>
                      <a:pt x="423" y="5977"/>
                    </a:cubicBezTo>
                    <a:lnTo>
                      <a:pt x="537" y="6042"/>
                    </a:lnTo>
                    <a:close/>
                    <a:moveTo>
                      <a:pt x="416" y="5990"/>
                    </a:moveTo>
                    <a:cubicBezTo>
                      <a:pt x="380" y="6056"/>
                      <a:pt x="380" y="6056"/>
                      <a:pt x="380" y="6056"/>
                    </a:cubicBezTo>
                    <a:cubicBezTo>
                      <a:pt x="495" y="6119"/>
                      <a:pt x="495" y="6119"/>
                      <a:pt x="495" y="6119"/>
                    </a:cubicBezTo>
                    <a:cubicBezTo>
                      <a:pt x="530" y="6055"/>
                      <a:pt x="530" y="6055"/>
                      <a:pt x="530" y="6055"/>
                    </a:cubicBezTo>
                    <a:lnTo>
                      <a:pt x="416" y="5990"/>
                    </a:lnTo>
                    <a:close/>
                    <a:moveTo>
                      <a:pt x="5209" y="3369"/>
                    </a:moveTo>
                    <a:cubicBezTo>
                      <a:pt x="5051" y="3735"/>
                      <a:pt x="5051" y="3735"/>
                      <a:pt x="5051" y="3735"/>
                    </a:cubicBezTo>
                    <a:cubicBezTo>
                      <a:pt x="5172" y="3771"/>
                      <a:pt x="5292" y="3810"/>
                      <a:pt x="5395" y="3854"/>
                    </a:cubicBezTo>
                    <a:cubicBezTo>
                      <a:pt x="5588" y="3938"/>
                      <a:pt x="5696" y="4065"/>
                      <a:pt x="5959" y="4211"/>
                    </a:cubicBezTo>
                    <a:cubicBezTo>
                      <a:pt x="6054" y="4264"/>
                      <a:pt x="6109" y="4353"/>
                      <a:pt x="6140" y="4446"/>
                    </a:cubicBezTo>
                    <a:cubicBezTo>
                      <a:pt x="6171" y="4538"/>
                      <a:pt x="6178" y="4636"/>
                      <a:pt x="6178" y="4713"/>
                    </a:cubicBezTo>
                    <a:cubicBezTo>
                      <a:pt x="6178" y="4761"/>
                      <a:pt x="6176" y="4800"/>
                      <a:pt x="6173" y="4826"/>
                    </a:cubicBezTo>
                    <a:cubicBezTo>
                      <a:pt x="7756" y="4896"/>
                      <a:pt x="7756" y="4896"/>
                      <a:pt x="7756" y="4896"/>
                    </a:cubicBezTo>
                    <a:cubicBezTo>
                      <a:pt x="7644" y="4747"/>
                      <a:pt x="7514" y="4605"/>
                      <a:pt x="7393" y="4471"/>
                    </a:cubicBezTo>
                    <a:cubicBezTo>
                      <a:pt x="7287" y="4354"/>
                      <a:pt x="7188" y="4242"/>
                      <a:pt x="7113" y="4132"/>
                    </a:cubicBezTo>
                    <a:cubicBezTo>
                      <a:pt x="7038" y="4022"/>
                      <a:pt x="6984" y="3911"/>
                      <a:pt x="6984" y="3791"/>
                    </a:cubicBezTo>
                    <a:cubicBezTo>
                      <a:pt x="6984" y="3774"/>
                      <a:pt x="6985" y="3756"/>
                      <a:pt x="6988" y="3738"/>
                    </a:cubicBezTo>
                    <a:cubicBezTo>
                      <a:pt x="7004" y="3625"/>
                      <a:pt x="7055" y="3533"/>
                      <a:pt x="7120" y="3462"/>
                    </a:cubicBezTo>
                    <a:cubicBezTo>
                      <a:pt x="7182" y="3395"/>
                      <a:pt x="7256" y="3346"/>
                      <a:pt x="7329" y="3308"/>
                    </a:cubicBezTo>
                    <a:cubicBezTo>
                      <a:pt x="7319" y="3287"/>
                      <a:pt x="7307" y="3263"/>
                      <a:pt x="7293" y="3240"/>
                    </a:cubicBezTo>
                    <a:cubicBezTo>
                      <a:pt x="7259" y="3176"/>
                      <a:pt x="7212" y="3111"/>
                      <a:pt x="7180" y="3087"/>
                    </a:cubicBezTo>
                    <a:cubicBezTo>
                      <a:pt x="7089" y="3015"/>
                      <a:pt x="6968" y="2994"/>
                      <a:pt x="6856" y="2969"/>
                    </a:cubicBezTo>
                    <a:cubicBezTo>
                      <a:pt x="6745" y="2944"/>
                      <a:pt x="6183" y="2800"/>
                      <a:pt x="6004" y="2747"/>
                    </a:cubicBezTo>
                    <a:cubicBezTo>
                      <a:pt x="5916" y="2720"/>
                      <a:pt x="5738" y="2667"/>
                      <a:pt x="5582" y="2621"/>
                    </a:cubicBezTo>
                    <a:cubicBezTo>
                      <a:pt x="5482" y="2591"/>
                      <a:pt x="5391" y="2564"/>
                      <a:pt x="5338" y="2549"/>
                    </a:cubicBezTo>
                    <a:cubicBezTo>
                      <a:pt x="5303" y="2675"/>
                      <a:pt x="5214" y="2949"/>
                      <a:pt x="5200" y="2991"/>
                    </a:cubicBezTo>
                    <a:lnTo>
                      <a:pt x="5209" y="3369"/>
                    </a:lnTo>
                    <a:close/>
                    <a:moveTo>
                      <a:pt x="10644" y="2975"/>
                    </a:moveTo>
                    <a:cubicBezTo>
                      <a:pt x="10605" y="2823"/>
                      <a:pt x="10566" y="2673"/>
                      <a:pt x="10533" y="2553"/>
                    </a:cubicBezTo>
                    <a:cubicBezTo>
                      <a:pt x="10417" y="2588"/>
                      <a:pt x="10274" y="2630"/>
                      <a:pt x="10114" y="2675"/>
                    </a:cubicBezTo>
                    <a:cubicBezTo>
                      <a:pt x="9663" y="2803"/>
                      <a:pt x="9082" y="2961"/>
                      <a:pt x="8606" y="3090"/>
                    </a:cubicBezTo>
                    <a:cubicBezTo>
                      <a:pt x="8368" y="3154"/>
                      <a:pt x="8156" y="3211"/>
                      <a:pt x="8000" y="3254"/>
                    </a:cubicBezTo>
                    <a:cubicBezTo>
                      <a:pt x="7922" y="3275"/>
                      <a:pt x="7858" y="3292"/>
                      <a:pt x="7812" y="3305"/>
                    </a:cubicBezTo>
                    <a:cubicBezTo>
                      <a:pt x="7789" y="3312"/>
                      <a:pt x="7771" y="3317"/>
                      <a:pt x="7758" y="3321"/>
                    </a:cubicBezTo>
                    <a:cubicBezTo>
                      <a:pt x="7751" y="3323"/>
                      <a:pt x="7746" y="3325"/>
                      <a:pt x="7742" y="3326"/>
                    </a:cubicBezTo>
                    <a:cubicBezTo>
                      <a:pt x="7740" y="3327"/>
                      <a:pt x="7739" y="3327"/>
                      <a:pt x="7738" y="3327"/>
                    </a:cubicBezTo>
                    <a:cubicBezTo>
                      <a:pt x="7721" y="3334"/>
                      <a:pt x="7703" y="3339"/>
                      <a:pt x="7680" y="3346"/>
                    </a:cubicBezTo>
                    <a:cubicBezTo>
                      <a:pt x="7641" y="3357"/>
                      <a:pt x="7589" y="3371"/>
                      <a:pt x="7532" y="3391"/>
                    </a:cubicBezTo>
                    <a:cubicBezTo>
                      <a:pt x="7934" y="4397"/>
                      <a:pt x="7934" y="4397"/>
                      <a:pt x="7934" y="4397"/>
                    </a:cubicBezTo>
                    <a:cubicBezTo>
                      <a:pt x="8004" y="4518"/>
                      <a:pt x="8004" y="4518"/>
                      <a:pt x="8004" y="4518"/>
                    </a:cubicBezTo>
                    <a:cubicBezTo>
                      <a:pt x="10822" y="3705"/>
                      <a:pt x="10822" y="3705"/>
                      <a:pt x="10822" y="3705"/>
                    </a:cubicBezTo>
                    <a:cubicBezTo>
                      <a:pt x="10821" y="3699"/>
                      <a:pt x="10820" y="3693"/>
                      <a:pt x="10818" y="3687"/>
                    </a:cubicBezTo>
                    <a:cubicBezTo>
                      <a:pt x="10783" y="3544"/>
                      <a:pt x="10715" y="3256"/>
                      <a:pt x="10644" y="2975"/>
                    </a:cubicBezTo>
                    <a:close/>
                    <a:moveTo>
                      <a:pt x="10708" y="2959"/>
                    </a:moveTo>
                    <a:cubicBezTo>
                      <a:pt x="10716" y="2947"/>
                      <a:pt x="10716" y="2947"/>
                      <a:pt x="10716" y="2947"/>
                    </a:cubicBezTo>
                    <a:cubicBezTo>
                      <a:pt x="10708" y="2959"/>
                      <a:pt x="10708" y="2959"/>
                      <a:pt x="10708" y="2959"/>
                    </a:cubicBezTo>
                    <a:cubicBezTo>
                      <a:pt x="10708" y="2959"/>
                      <a:pt x="10708" y="2959"/>
                      <a:pt x="10708" y="2959"/>
                    </a:cubicBezTo>
                    <a:close/>
                    <a:moveTo>
                      <a:pt x="6257" y="8540"/>
                    </a:moveTo>
                    <a:cubicBezTo>
                      <a:pt x="6209" y="8675"/>
                      <a:pt x="6209" y="8675"/>
                      <a:pt x="6209" y="8675"/>
                    </a:cubicBezTo>
                    <a:cubicBezTo>
                      <a:pt x="6338" y="8689"/>
                      <a:pt x="6338" y="8689"/>
                      <a:pt x="6338" y="8689"/>
                    </a:cubicBezTo>
                    <a:cubicBezTo>
                      <a:pt x="6391" y="8542"/>
                      <a:pt x="6391" y="8542"/>
                      <a:pt x="6391" y="8542"/>
                    </a:cubicBezTo>
                    <a:lnTo>
                      <a:pt x="6257" y="8540"/>
                    </a:lnTo>
                    <a:close/>
                    <a:moveTo>
                      <a:pt x="6396" y="8528"/>
                    </a:moveTo>
                    <a:cubicBezTo>
                      <a:pt x="6429" y="8437"/>
                      <a:pt x="6429" y="8437"/>
                      <a:pt x="6429" y="8437"/>
                    </a:cubicBezTo>
                    <a:cubicBezTo>
                      <a:pt x="6311" y="8392"/>
                      <a:pt x="6311" y="8392"/>
                      <a:pt x="6311" y="8392"/>
                    </a:cubicBezTo>
                    <a:cubicBezTo>
                      <a:pt x="6262" y="8526"/>
                      <a:pt x="6262" y="8526"/>
                      <a:pt x="6262" y="8526"/>
                    </a:cubicBezTo>
                    <a:lnTo>
                      <a:pt x="6396" y="8528"/>
                    </a:lnTo>
                    <a:close/>
                    <a:moveTo>
                      <a:pt x="6053" y="9483"/>
                    </a:moveTo>
                    <a:cubicBezTo>
                      <a:pt x="6098" y="9357"/>
                      <a:pt x="6098" y="9357"/>
                      <a:pt x="6098" y="9357"/>
                    </a:cubicBezTo>
                    <a:cubicBezTo>
                      <a:pt x="5972" y="9335"/>
                      <a:pt x="5972" y="9335"/>
                      <a:pt x="5972" y="9335"/>
                    </a:cubicBezTo>
                    <a:cubicBezTo>
                      <a:pt x="5926" y="9463"/>
                      <a:pt x="5926" y="9463"/>
                      <a:pt x="5926" y="9463"/>
                    </a:cubicBezTo>
                    <a:lnTo>
                      <a:pt x="6053" y="9483"/>
                    </a:lnTo>
                    <a:close/>
                    <a:moveTo>
                      <a:pt x="5921" y="9477"/>
                    </a:moveTo>
                    <a:cubicBezTo>
                      <a:pt x="5876" y="9602"/>
                      <a:pt x="5876" y="9602"/>
                      <a:pt x="5876" y="9602"/>
                    </a:cubicBezTo>
                    <a:cubicBezTo>
                      <a:pt x="6002" y="9623"/>
                      <a:pt x="6002" y="9623"/>
                      <a:pt x="6002" y="9623"/>
                    </a:cubicBezTo>
                    <a:cubicBezTo>
                      <a:pt x="6048" y="9496"/>
                      <a:pt x="6048" y="9496"/>
                      <a:pt x="6048" y="9496"/>
                    </a:cubicBezTo>
                    <a:lnTo>
                      <a:pt x="5921" y="9477"/>
                    </a:lnTo>
                    <a:close/>
                    <a:moveTo>
                      <a:pt x="4568" y="8625"/>
                    </a:moveTo>
                    <a:cubicBezTo>
                      <a:pt x="4568" y="8594"/>
                      <a:pt x="4572" y="8363"/>
                      <a:pt x="4573" y="8293"/>
                    </a:cubicBezTo>
                    <a:cubicBezTo>
                      <a:pt x="4494" y="8298"/>
                      <a:pt x="4415" y="8306"/>
                      <a:pt x="4337" y="8317"/>
                    </a:cubicBezTo>
                    <a:cubicBezTo>
                      <a:pt x="4441" y="8711"/>
                      <a:pt x="4441" y="8711"/>
                      <a:pt x="4441" y="8711"/>
                    </a:cubicBezTo>
                    <a:cubicBezTo>
                      <a:pt x="4428" y="8714"/>
                      <a:pt x="4428" y="8714"/>
                      <a:pt x="4428" y="8714"/>
                    </a:cubicBezTo>
                    <a:cubicBezTo>
                      <a:pt x="4323" y="8319"/>
                      <a:pt x="4323" y="8319"/>
                      <a:pt x="4323" y="8319"/>
                    </a:cubicBezTo>
                    <a:cubicBezTo>
                      <a:pt x="4155" y="8344"/>
                      <a:pt x="3994" y="8384"/>
                      <a:pt x="3862" y="8446"/>
                    </a:cubicBezTo>
                    <a:cubicBezTo>
                      <a:pt x="4076" y="8960"/>
                      <a:pt x="4076" y="8960"/>
                      <a:pt x="4076" y="8960"/>
                    </a:cubicBezTo>
                    <a:lnTo>
                      <a:pt x="4568" y="8625"/>
                    </a:lnTo>
                    <a:close/>
                    <a:moveTo>
                      <a:pt x="4082" y="8973"/>
                    </a:moveTo>
                    <a:cubicBezTo>
                      <a:pt x="4193" y="9241"/>
                      <a:pt x="4193" y="9241"/>
                      <a:pt x="4193" y="9241"/>
                    </a:cubicBezTo>
                    <a:cubicBezTo>
                      <a:pt x="4246" y="9238"/>
                      <a:pt x="4351" y="9232"/>
                      <a:pt x="4471" y="9223"/>
                    </a:cubicBezTo>
                    <a:cubicBezTo>
                      <a:pt x="4480" y="8701"/>
                      <a:pt x="4480" y="8701"/>
                      <a:pt x="4480" y="8701"/>
                    </a:cubicBezTo>
                    <a:lnTo>
                      <a:pt x="4082" y="8973"/>
                    </a:lnTo>
                    <a:close/>
                    <a:moveTo>
                      <a:pt x="4485" y="9222"/>
                    </a:moveTo>
                    <a:cubicBezTo>
                      <a:pt x="4577" y="9215"/>
                      <a:pt x="4677" y="9207"/>
                      <a:pt x="4768" y="9198"/>
                    </a:cubicBezTo>
                    <a:cubicBezTo>
                      <a:pt x="4667" y="8654"/>
                      <a:pt x="4667" y="8654"/>
                      <a:pt x="4667" y="8654"/>
                    </a:cubicBezTo>
                    <a:cubicBezTo>
                      <a:pt x="4621" y="8645"/>
                      <a:pt x="4586" y="8638"/>
                      <a:pt x="4576" y="8636"/>
                    </a:cubicBezTo>
                    <a:cubicBezTo>
                      <a:pt x="4495" y="8692"/>
                      <a:pt x="4495" y="8692"/>
                      <a:pt x="4495" y="8692"/>
                    </a:cubicBezTo>
                    <a:lnTo>
                      <a:pt x="4485" y="9222"/>
                    </a:lnTo>
                    <a:close/>
                    <a:moveTo>
                      <a:pt x="4755" y="8297"/>
                    </a:moveTo>
                    <a:cubicBezTo>
                      <a:pt x="4753" y="8285"/>
                      <a:pt x="4753" y="8285"/>
                      <a:pt x="4753" y="8285"/>
                    </a:cubicBezTo>
                    <a:cubicBezTo>
                      <a:pt x="4699" y="8286"/>
                      <a:pt x="4643" y="8289"/>
                      <a:pt x="4587" y="8292"/>
                    </a:cubicBezTo>
                    <a:cubicBezTo>
                      <a:pt x="4586" y="8359"/>
                      <a:pt x="4582" y="8585"/>
                      <a:pt x="4582" y="8623"/>
                    </a:cubicBezTo>
                    <a:cubicBezTo>
                      <a:pt x="4606" y="8628"/>
                      <a:pt x="4705" y="8647"/>
                      <a:pt x="4806" y="8666"/>
                    </a:cubicBezTo>
                    <a:cubicBezTo>
                      <a:pt x="4811" y="8667"/>
                      <a:pt x="4816" y="8668"/>
                      <a:pt x="4821" y="8669"/>
                    </a:cubicBezTo>
                    <a:cubicBezTo>
                      <a:pt x="4761" y="8328"/>
                      <a:pt x="4761" y="8328"/>
                      <a:pt x="4761" y="8328"/>
                    </a:cubicBezTo>
                    <a:cubicBezTo>
                      <a:pt x="4760" y="8445"/>
                      <a:pt x="4760" y="8445"/>
                      <a:pt x="4760" y="8445"/>
                    </a:cubicBezTo>
                    <a:cubicBezTo>
                      <a:pt x="4753" y="8445"/>
                      <a:pt x="4753" y="8445"/>
                      <a:pt x="4753" y="8445"/>
                    </a:cubicBezTo>
                    <a:cubicBezTo>
                      <a:pt x="4655" y="8444"/>
                      <a:pt x="4655" y="8444"/>
                      <a:pt x="4655" y="8444"/>
                    </a:cubicBezTo>
                    <a:cubicBezTo>
                      <a:pt x="4657" y="8296"/>
                      <a:pt x="4657" y="8296"/>
                      <a:pt x="4657" y="8296"/>
                    </a:cubicBezTo>
                    <a:lnTo>
                      <a:pt x="4755" y="8297"/>
                    </a:lnTo>
                    <a:close/>
                    <a:moveTo>
                      <a:pt x="4669" y="8309"/>
                    </a:moveTo>
                    <a:cubicBezTo>
                      <a:pt x="4668" y="8431"/>
                      <a:pt x="4668" y="8431"/>
                      <a:pt x="4668" y="8431"/>
                    </a:cubicBezTo>
                    <a:cubicBezTo>
                      <a:pt x="4747" y="8432"/>
                      <a:pt x="4747" y="8432"/>
                      <a:pt x="4747" y="8432"/>
                    </a:cubicBezTo>
                    <a:cubicBezTo>
                      <a:pt x="4748" y="8310"/>
                      <a:pt x="4748" y="8310"/>
                      <a:pt x="4748" y="8310"/>
                    </a:cubicBezTo>
                    <a:lnTo>
                      <a:pt x="4669" y="8309"/>
                    </a:lnTo>
                    <a:close/>
                    <a:moveTo>
                      <a:pt x="4782" y="9196"/>
                    </a:moveTo>
                    <a:cubicBezTo>
                      <a:pt x="4844" y="9190"/>
                      <a:pt x="4902" y="9183"/>
                      <a:pt x="4948" y="9176"/>
                    </a:cubicBezTo>
                    <a:cubicBezTo>
                      <a:pt x="4958" y="8709"/>
                      <a:pt x="4958" y="8709"/>
                      <a:pt x="4958" y="8709"/>
                    </a:cubicBezTo>
                    <a:cubicBezTo>
                      <a:pt x="4880" y="8695"/>
                      <a:pt x="4765" y="8673"/>
                      <a:pt x="4682" y="8657"/>
                    </a:cubicBezTo>
                    <a:lnTo>
                      <a:pt x="4782" y="9196"/>
                    </a:lnTo>
                    <a:close/>
                    <a:moveTo>
                      <a:pt x="5045" y="8711"/>
                    </a:moveTo>
                    <a:cubicBezTo>
                      <a:pt x="5045" y="8710"/>
                      <a:pt x="5045" y="8710"/>
                      <a:pt x="5045" y="8710"/>
                    </a:cubicBezTo>
                    <a:cubicBezTo>
                      <a:pt x="5045" y="8710"/>
                      <a:pt x="5045" y="8710"/>
                      <a:pt x="5045" y="8710"/>
                    </a:cubicBezTo>
                    <a:cubicBezTo>
                      <a:pt x="5045" y="8710"/>
                      <a:pt x="5045" y="8710"/>
                      <a:pt x="5045" y="8710"/>
                    </a:cubicBezTo>
                    <a:cubicBezTo>
                      <a:pt x="5071" y="8288"/>
                      <a:pt x="5071" y="8288"/>
                      <a:pt x="5071" y="8288"/>
                    </a:cubicBezTo>
                    <a:cubicBezTo>
                      <a:pt x="5009" y="8286"/>
                      <a:pt x="4939" y="8284"/>
                      <a:pt x="4864" y="8284"/>
                    </a:cubicBezTo>
                    <a:cubicBezTo>
                      <a:pt x="4861" y="8284"/>
                      <a:pt x="4857" y="8284"/>
                      <a:pt x="4854" y="8284"/>
                    </a:cubicBezTo>
                    <a:cubicBezTo>
                      <a:pt x="4826" y="8284"/>
                      <a:pt x="4797" y="8284"/>
                      <a:pt x="4767" y="8285"/>
                    </a:cubicBezTo>
                    <a:cubicBezTo>
                      <a:pt x="4836" y="8672"/>
                      <a:pt x="4836" y="8672"/>
                      <a:pt x="4836" y="8672"/>
                    </a:cubicBezTo>
                    <a:cubicBezTo>
                      <a:pt x="4940" y="8692"/>
                      <a:pt x="5040" y="8711"/>
                      <a:pt x="5045" y="8711"/>
                    </a:cubicBezTo>
                    <a:close/>
                    <a:moveTo>
                      <a:pt x="5879" y="8535"/>
                    </a:moveTo>
                    <a:cubicBezTo>
                      <a:pt x="5880" y="8521"/>
                      <a:pt x="5880" y="8521"/>
                      <a:pt x="5880" y="8521"/>
                    </a:cubicBezTo>
                    <a:cubicBezTo>
                      <a:pt x="5885" y="8521"/>
                      <a:pt x="5885" y="8521"/>
                      <a:pt x="5885" y="8521"/>
                    </a:cubicBezTo>
                    <a:cubicBezTo>
                      <a:pt x="5888" y="8509"/>
                      <a:pt x="5891" y="8498"/>
                      <a:pt x="5894" y="8487"/>
                    </a:cubicBezTo>
                    <a:cubicBezTo>
                      <a:pt x="5870" y="8484"/>
                      <a:pt x="5501" y="8423"/>
                      <a:pt x="5419" y="8409"/>
                    </a:cubicBezTo>
                    <a:cubicBezTo>
                      <a:pt x="5425" y="8442"/>
                      <a:pt x="5432" y="8477"/>
                      <a:pt x="5437" y="8511"/>
                    </a:cubicBezTo>
                    <a:cubicBezTo>
                      <a:pt x="5503" y="8519"/>
                      <a:pt x="5834" y="8579"/>
                      <a:pt x="5869" y="8585"/>
                    </a:cubicBezTo>
                    <a:cubicBezTo>
                      <a:pt x="5873" y="8570"/>
                      <a:pt x="5877" y="8555"/>
                      <a:pt x="5880" y="8540"/>
                    </a:cubicBezTo>
                    <a:cubicBezTo>
                      <a:pt x="5881" y="8538"/>
                      <a:pt x="5881" y="8537"/>
                      <a:pt x="5882" y="8535"/>
                    </a:cubicBezTo>
                    <a:lnTo>
                      <a:pt x="5879" y="8535"/>
                    </a:lnTo>
                    <a:close/>
                    <a:moveTo>
                      <a:pt x="5808" y="8892"/>
                    </a:moveTo>
                    <a:cubicBezTo>
                      <a:pt x="5811" y="8878"/>
                      <a:pt x="5811" y="8878"/>
                      <a:pt x="5811" y="8878"/>
                    </a:cubicBezTo>
                    <a:cubicBezTo>
                      <a:pt x="6103" y="8931"/>
                      <a:pt x="6103" y="8931"/>
                      <a:pt x="6103" y="8931"/>
                    </a:cubicBezTo>
                    <a:cubicBezTo>
                      <a:pt x="6139" y="8830"/>
                      <a:pt x="6139" y="8830"/>
                      <a:pt x="6139" y="8830"/>
                    </a:cubicBezTo>
                    <a:cubicBezTo>
                      <a:pt x="5833" y="8786"/>
                      <a:pt x="5833" y="8786"/>
                      <a:pt x="5833" y="8786"/>
                    </a:cubicBezTo>
                    <a:cubicBezTo>
                      <a:pt x="5832" y="8789"/>
                      <a:pt x="5832" y="8793"/>
                      <a:pt x="5831" y="8796"/>
                    </a:cubicBezTo>
                    <a:cubicBezTo>
                      <a:pt x="5816" y="8854"/>
                      <a:pt x="5803" y="8905"/>
                      <a:pt x="5793" y="8943"/>
                    </a:cubicBezTo>
                    <a:cubicBezTo>
                      <a:pt x="5788" y="8962"/>
                      <a:pt x="5784" y="8977"/>
                      <a:pt x="5781" y="8987"/>
                    </a:cubicBezTo>
                    <a:cubicBezTo>
                      <a:pt x="5779" y="8993"/>
                      <a:pt x="5778" y="8997"/>
                      <a:pt x="5777" y="9000"/>
                    </a:cubicBezTo>
                    <a:cubicBezTo>
                      <a:pt x="5776" y="9001"/>
                      <a:pt x="5776" y="9002"/>
                      <a:pt x="5775" y="9003"/>
                    </a:cubicBezTo>
                    <a:cubicBezTo>
                      <a:pt x="5775" y="9004"/>
                      <a:pt x="5775" y="9004"/>
                      <a:pt x="5775" y="9004"/>
                    </a:cubicBezTo>
                    <a:cubicBezTo>
                      <a:pt x="5775" y="9006"/>
                      <a:pt x="5776" y="9008"/>
                      <a:pt x="5776" y="9010"/>
                    </a:cubicBezTo>
                    <a:cubicBezTo>
                      <a:pt x="5778" y="9000"/>
                      <a:pt x="5778" y="9000"/>
                      <a:pt x="5778" y="9000"/>
                    </a:cubicBezTo>
                    <a:cubicBezTo>
                      <a:pt x="6056" y="9062"/>
                      <a:pt x="6056" y="9062"/>
                      <a:pt x="6056" y="9062"/>
                    </a:cubicBezTo>
                    <a:cubicBezTo>
                      <a:pt x="6098" y="8944"/>
                      <a:pt x="6098" y="8944"/>
                      <a:pt x="6098" y="8944"/>
                    </a:cubicBezTo>
                    <a:lnTo>
                      <a:pt x="5808" y="8892"/>
                    </a:lnTo>
                    <a:close/>
                    <a:moveTo>
                      <a:pt x="5780" y="8936"/>
                    </a:moveTo>
                    <a:cubicBezTo>
                      <a:pt x="5779" y="8941"/>
                      <a:pt x="5779" y="8941"/>
                      <a:pt x="5779" y="8941"/>
                    </a:cubicBezTo>
                    <a:cubicBezTo>
                      <a:pt x="5783" y="8925"/>
                      <a:pt x="5788" y="8907"/>
                      <a:pt x="5793" y="8887"/>
                    </a:cubicBezTo>
                    <a:cubicBezTo>
                      <a:pt x="5797" y="8870"/>
                      <a:pt x="5802" y="8852"/>
                      <a:pt x="5807" y="8833"/>
                    </a:cubicBezTo>
                    <a:cubicBezTo>
                      <a:pt x="5792" y="8831"/>
                      <a:pt x="5714" y="8817"/>
                      <a:pt x="5635" y="8802"/>
                    </a:cubicBezTo>
                    <a:cubicBezTo>
                      <a:pt x="5592" y="8794"/>
                      <a:pt x="5548" y="8786"/>
                      <a:pt x="5516" y="8780"/>
                    </a:cubicBezTo>
                    <a:cubicBezTo>
                      <a:pt x="5499" y="8777"/>
                      <a:pt x="5486" y="8774"/>
                      <a:pt x="5476" y="8772"/>
                    </a:cubicBezTo>
                    <a:cubicBezTo>
                      <a:pt x="5472" y="8771"/>
                      <a:pt x="5469" y="8771"/>
                      <a:pt x="5466" y="8770"/>
                    </a:cubicBezTo>
                    <a:cubicBezTo>
                      <a:pt x="5466" y="8810"/>
                      <a:pt x="5461" y="8848"/>
                      <a:pt x="5447" y="8881"/>
                    </a:cubicBezTo>
                    <a:cubicBezTo>
                      <a:pt x="5520" y="8893"/>
                      <a:pt x="5779" y="8936"/>
                      <a:pt x="5780" y="8936"/>
                    </a:cubicBezTo>
                    <a:close/>
                    <a:moveTo>
                      <a:pt x="5810" y="8820"/>
                    </a:moveTo>
                    <a:cubicBezTo>
                      <a:pt x="5817" y="8792"/>
                      <a:pt x="5825" y="8762"/>
                      <a:pt x="5833" y="8731"/>
                    </a:cubicBezTo>
                    <a:cubicBezTo>
                      <a:pt x="5461" y="8674"/>
                      <a:pt x="5461" y="8674"/>
                      <a:pt x="5461" y="8674"/>
                    </a:cubicBezTo>
                    <a:cubicBezTo>
                      <a:pt x="5464" y="8702"/>
                      <a:pt x="5466" y="8729"/>
                      <a:pt x="5466" y="8756"/>
                    </a:cubicBezTo>
                    <a:cubicBezTo>
                      <a:pt x="5493" y="8762"/>
                      <a:pt x="5788" y="8816"/>
                      <a:pt x="5810" y="8820"/>
                    </a:cubicBezTo>
                    <a:close/>
                    <a:moveTo>
                      <a:pt x="5836" y="8717"/>
                    </a:moveTo>
                    <a:cubicBezTo>
                      <a:pt x="5846" y="8678"/>
                      <a:pt x="5856" y="8638"/>
                      <a:pt x="5866" y="8599"/>
                    </a:cubicBezTo>
                    <a:cubicBezTo>
                      <a:pt x="5846" y="8595"/>
                      <a:pt x="5753" y="8579"/>
                      <a:pt x="5658" y="8562"/>
                    </a:cubicBezTo>
                    <a:cubicBezTo>
                      <a:pt x="5568" y="8546"/>
                      <a:pt x="5473" y="8530"/>
                      <a:pt x="5440" y="8526"/>
                    </a:cubicBezTo>
                    <a:cubicBezTo>
                      <a:pt x="5447" y="8568"/>
                      <a:pt x="5453" y="8608"/>
                      <a:pt x="5457" y="8638"/>
                    </a:cubicBezTo>
                    <a:cubicBezTo>
                      <a:pt x="5458" y="8645"/>
                      <a:pt x="5458" y="8652"/>
                      <a:pt x="5459" y="8659"/>
                    </a:cubicBezTo>
                    <a:lnTo>
                      <a:pt x="5836" y="8717"/>
                    </a:lnTo>
                    <a:close/>
                    <a:moveTo>
                      <a:pt x="5413" y="8937"/>
                    </a:moveTo>
                    <a:cubicBezTo>
                      <a:pt x="5400" y="8950"/>
                      <a:pt x="5383" y="8970"/>
                      <a:pt x="5361" y="8992"/>
                    </a:cubicBezTo>
                    <a:cubicBezTo>
                      <a:pt x="5406" y="9000"/>
                      <a:pt x="5480" y="9013"/>
                      <a:pt x="5555" y="9025"/>
                    </a:cubicBezTo>
                    <a:cubicBezTo>
                      <a:pt x="5652" y="9042"/>
                      <a:pt x="5750" y="9059"/>
                      <a:pt x="5778" y="9063"/>
                    </a:cubicBezTo>
                    <a:cubicBezTo>
                      <a:pt x="5769" y="9036"/>
                      <a:pt x="5761" y="9012"/>
                      <a:pt x="5761" y="9003"/>
                    </a:cubicBezTo>
                    <a:cubicBezTo>
                      <a:pt x="5761" y="9002"/>
                      <a:pt x="5761" y="9001"/>
                      <a:pt x="5761" y="8999"/>
                    </a:cubicBezTo>
                    <a:cubicBezTo>
                      <a:pt x="5762" y="8999"/>
                      <a:pt x="5762" y="8998"/>
                      <a:pt x="5763" y="8997"/>
                    </a:cubicBezTo>
                    <a:cubicBezTo>
                      <a:pt x="5765" y="8993"/>
                      <a:pt x="5770" y="8976"/>
                      <a:pt x="5777" y="8950"/>
                    </a:cubicBezTo>
                    <a:cubicBezTo>
                      <a:pt x="5772" y="8949"/>
                      <a:pt x="5689" y="8935"/>
                      <a:pt x="5604" y="8921"/>
                    </a:cubicBezTo>
                    <a:cubicBezTo>
                      <a:pt x="5537" y="8910"/>
                      <a:pt x="5469" y="8899"/>
                      <a:pt x="5441" y="8894"/>
                    </a:cubicBezTo>
                    <a:cubicBezTo>
                      <a:pt x="5434" y="8909"/>
                      <a:pt x="5424" y="8924"/>
                      <a:pt x="5413" y="8937"/>
                    </a:cubicBezTo>
                    <a:close/>
                    <a:moveTo>
                      <a:pt x="5800" y="9086"/>
                    </a:moveTo>
                    <a:cubicBezTo>
                      <a:pt x="5810" y="9116"/>
                      <a:pt x="5820" y="9145"/>
                      <a:pt x="5823" y="9154"/>
                    </a:cubicBezTo>
                    <a:cubicBezTo>
                      <a:pt x="6010" y="9189"/>
                      <a:pt x="6010" y="9189"/>
                      <a:pt x="6010" y="9189"/>
                    </a:cubicBezTo>
                    <a:cubicBezTo>
                      <a:pt x="6051" y="9075"/>
                      <a:pt x="6051" y="9075"/>
                      <a:pt x="6051" y="9075"/>
                    </a:cubicBezTo>
                    <a:cubicBezTo>
                      <a:pt x="5777" y="9014"/>
                      <a:pt x="5777" y="9014"/>
                      <a:pt x="5777" y="9014"/>
                    </a:cubicBezTo>
                    <a:cubicBezTo>
                      <a:pt x="5781" y="9029"/>
                      <a:pt x="5790" y="9059"/>
                      <a:pt x="5800" y="9086"/>
                    </a:cubicBezTo>
                    <a:close/>
                    <a:moveTo>
                      <a:pt x="6144" y="8817"/>
                    </a:moveTo>
                    <a:cubicBezTo>
                      <a:pt x="6191" y="8687"/>
                      <a:pt x="6191" y="8687"/>
                      <a:pt x="6191" y="8687"/>
                    </a:cubicBezTo>
                    <a:cubicBezTo>
                      <a:pt x="5866" y="8653"/>
                      <a:pt x="5866" y="8653"/>
                      <a:pt x="5866" y="8653"/>
                    </a:cubicBezTo>
                    <a:cubicBezTo>
                      <a:pt x="5856" y="8693"/>
                      <a:pt x="5846" y="8734"/>
                      <a:pt x="5837" y="8772"/>
                    </a:cubicBezTo>
                    <a:lnTo>
                      <a:pt x="6144" y="8817"/>
                    </a:lnTo>
                    <a:close/>
                    <a:moveTo>
                      <a:pt x="5412" y="8644"/>
                    </a:moveTo>
                    <a:cubicBezTo>
                      <a:pt x="5409" y="8614"/>
                      <a:pt x="5402" y="8574"/>
                      <a:pt x="5395" y="8530"/>
                    </a:cubicBezTo>
                    <a:cubicBezTo>
                      <a:pt x="5367" y="8547"/>
                      <a:pt x="5301" y="8585"/>
                      <a:pt x="5235" y="8623"/>
                    </a:cubicBezTo>
                    <a:cubicBezTo>
                      <a:pt x="5226" y="8628"/>
                      <a:pt x="5217" y="8633"/>
                      <a:pt x="5208" y="8638"/>
                    </a:cubicBezTo>
                    <a:cubicBezTo>
                      <a:pt x="5211" y="8646"/>
                      <a:pt x="5240" y="8723"/>
                      <a:pt x="5271" y="8800"/>
                    </a:cubicBezTo>
                    <a:cubicBezTo>
                      <a:pt x="5287" y="8840"/>
                      <a:pt x="5303" y="8881"/>
                      <a:pt x="5316" y="8912"/>
                    </a:cubicBezTo>
                    <a:cubicBezTo>
                      <a:pt x="5322" y="8927"/>
                      <a:pt x="5327" y="8940"/>
                      <a:pt x="5331" y="8949"/>
                    </a:cubicBezTo>
                    <a:cubicBezTo>
                      <a:pt x="5333" y="8952"/>
                      <a:pt x="5333" y="8953"/>
                      <a:pt x="5334" y="8955"/>
                    </a:cubicBezTo>
                    <a:cubicBezTo>
                      <a:pt x="5353" y="8936"/>
                      <a:pt x="5368" y="8919"/>
                      <a:pt x="5379" y="8906"/>
                    </a:cubicBezTo>
                    <a:cubicBezTo>
                      <a:pt x="5410" y="8873"/>
                      <a:pt x="5422" y="8825"/>
                      <a:pt x="5422" y="8763"/>
                    </a:cubicBezTo>
                    <a:cubicBezTo>
                      <a:pt x="5422" y="8727"/>
                      <a:pt x="5418" y="8686"/>
                      <a:pt x="5412" y="8644"/>
                    </a:cubicBezTo>
                    <a:close/>
                    <a:moveTo>
                      <a:pt x="5329" y="8960"/>
                    </a:moveTo>
                    <a:cubicBezTo>
                      <a:pt x="5329" y="8961"/>
                      <a:pt x="5329" y="8961"/>
                      <a:pt x="5329" y="8961"/>
                    </a:cubicBezTo>
                    <a:cubicBezTo>
                      <a:pt x="5329" y="8961"/>
                      <a:pt x="5329" y="8961"/>
                      <a:pt x="5329" y="8961"/>
                    </a:cubicBezTo>
                    <a:lnTo>
                      <a:pt x="5329" y="8960"/>
                    </a:lnTo>
                    <a:close/>
                    <a:moveTo>
                      <a:pt x="5392" y="8516"/>
                    </a:moveTo>
                    <a:cubicBezTo>
                      <a:pt x="5379" y="8439"/>
                      <a:pt x="5363" y="8355"/>
                      <a:pt x="5354" y="8305"/>
                    </a:cubicBezTo>
                    <a:cubicBezTo>
                      <a:pt x="5275" y="8298"/>
                      <a:pt x="5204" y="8293"/>
                      <a:pt x="5148" y="8291"/>
                    </a:cubicBezTo>
                    <a:cubicBezTo>
                      <a:pt x="5128" y="8290"/>
                      <a:pt x="5107" y="8289"/>
                      <a:pt x="5085" y="8288"/>
                    </a:cubicBezTo>
                    <a:cubicBezTo>
                      <a:pt x="5059" y="8704"/>
                      <a:pt x="5059" y="8704"/>
                      <a:pt x="5059" y="8704"/>
                    </a:cubicBezTo>
                    <a:cubicBezTo>
                      <a:pt x="5091" y="8688"/>
                      <a:pt x="5165" y="8646"/>
                      <a:pt x="5236" y="8606"/>
                    </a:cubicBezTo>
                    <a:cubicBezTo>
                      <a:pt x="5304" y="8567"/>
                      <a:pt x="5369" y="8529"/>
                      <a:pt x="5392" y="8516"/>
                    </a:cubicBezTo>
                    <a:close/>
                    <a:moveTo>
                      <a:pt x="4962" y="9173"/>
                    </a:moveTo>
                    <a:cubicBezTo>
                      <a:pt x="5134" y="9142"/>
                      <a:pt x="5252" y="9041"/>
                      <a:pt x="5324" y="8966"/>
                    </a:cubicBezTo>
                    <a:cubicBezTo>
                      <a:pt x="5315" y="8949"/>
                      <a:pt x="5285" y="8873"/>
                      <a:pt x="5255" y="8797"/>
                    </a:cubicBezTo>
                    <a:cubicBezTo>
                      <a:pt x="5228" y="8728"/>
                      <a:pt x="5202" y="8661"/>
                      <a:pt x="5196" y="8645"/>
                    </a:cubicBezTo>
                    <a:cubicBezTo>
                      <a:pt x="5165" y="8662"/>
                      <a:pt x="5136" y="8679"/>
                      <a:pt x="5111" y="8692"/>
                    </a:cubicBezTo>
                    <a:cubicBezTo>
                      <a:pt x="5094" y="8702"/>
                      <a:pt x="5079" y="8710"/>
                      <a:pt x="5068" y="8715"/>
                    </a:cubicBezTo>
                    <a:cubicBezTo>
                      <a:pt x="5056" y="8721"/>
                      <a:pt x="5051" y="8724"/>
                      <a:pt x="5045" y="8725"/>
                    </a:cubicBezTo>
                    <a:cubicBezTo>
                      <a:pt x="5041" y="8725"/>
                      <a:pt x="5012" y="8720"/>
                      <a:pt x="4972" y="8712"/>
                    </a:cubicBezTo>
                    <a:lnTo>
                      <a:pt x="4962" y="9173"/>
                    </a:lnTo>
                    <a:close/>
                    <a:moveTo>
                      <a:pt x="5268" y="9079"/>
                    </a:moveTo>
                    <a:cubicBezTo>
                      <a:pt x="5279" y="9092"/>
                      <a:pt x="5294" y="9111"/>
                      <a:pt x="5306" y="9133"/>
                    </a:cubicBezTo>
                    <a:cubicBezTo>
                      <a:pt x="5353" y="9142"/>
                      <a:pt x="5440" y="9158"/>
                      <a:pt x="5528" y="9175"/>
                    </a:cubicBezTo>
                    <a:cubicBezTo>
                      <a:pt x="5654" y="9199"/>
                      <a:pt x="5785" y="9223"/>
                      <a:pt x="5792" y="9224"/>
                    </a:cubicBezTo>
                    <a:cubicBezTo>
                      <a:pt x="5792" y="9224"/>
                      <a:pt x="5792" y="9224"/>
                      <a:pt x="5792" y="9224"/>
                    </a:cubicBezTo>
                    <a:cubicBezTo>
                      <a:pt x="5792" y="9225"/>
                      <a:pt x="5792" y="9225"/>
                      <a:pt x="5792" y="9225"/>
                    </a:cubicBezTo>
                    <a:cubicBezTo>
                      <a:pt x="5811" y="9161"/>
                      <a:pt x="5811" y="9161"/>
                      <a:pt x="5811" y="9161"/>
                    </a:cubicBezTo>
                    <a:cubicBezTo>
                      <a:pt x="5808" y="9153"/>
                      <a:pt x="5797" y="9122"/>
                      <a:pt x="5786" y="9090"/>
                    </a:cubicBezTo>
                    <a:cubicBezTo>
                      <a:pt x="5785" y="9086"/>
                      <a:pt x="5784" y="9082"/>
                      <a:pt x="5782" y="9078"/>
                    </a:cubicBezTo>
                    <a:cubicBezTo>
                      <a:pt x="5763" y="9075"/>
                      <a:pt x="5659" y="9057"/>
                      <a:pt x="5552" y="9039"/>
                    </a:cubicBezTo>
                    <a:cubicBezTo>
                      <a:pt x="5473" y="9025"/>
                      <a:pt x="5391" y="9012"/>
                      <a:pt x="5350" y="9005"/>
                    </a:cubicBezTo>
                    <a:cubicBezTo>
                      <a:pt x="5327" y="9028"/>
                      <a:pt x="5300" y="9053"/>
                      <a:pt x="5268" y="9079"/>
                    </a:cubicBezTo>
                    <a:close/>
                    <a:moveTo>
                      <a:pt x="5791" y="9224"/>
                    </a:moveTo>
                    <a:cubicBezTo>
                      <a:pt x="5792" y="9227"/>
                      <a:pt x="5792" y="9227"/>
                      <a:pt x="5792" y="9227"/>
                    </a:cubicBezTo>
                    <a:cubicBezTo>
                      <a:pt x="5792" y="9227"/>
                      <a:pt x="5792" y="9227"/>
                      <a:pt x="5792" y="9227"/>
                    </a:cubicBezTo>
                    <a:lnTo>
                      <a:pt x="5791" y="9224"/>
                    </a:lnTo>
                    <a:close/>
                    <a:moveTo>
                      <a:pt x="5788" y="9290"/>
                    </a:moveTo>
                    <a:cubicBezTo>
                      <a:pt x="5963" y="9320"/>
                      <a:pt x="5963" y="9320"/>
                      <a:pt x="5963" y="9320"/>
                    </a:cubicBezTo>
                    <a:cubicBezTo>
                      <a:pt x="6006" y="9202"/>
                      <a:pt x="6006" y="9202"/>
                      <a:pt x="6006" y="9202"/>
                    </a:cubicBezTo>
                    <a:cubicBezTo>
                      <a:pt x="5823" y="9168"/>
                      <a:pt x="5823" y="9168"/>
                      <a:pt x="5823" y="9168"/>
                    </a:cubicBezTo>
                    <a:lnTo>
                      <a:pt x="5788" y="9290"/>
                    </a:lnTo>
                    <a:close/>
                    <a:moveTo>
                      <a:pt x="6103" y="9344"/>
                    </a:moveTo>
                    <a:cubicBezTo>
                      <a:pt x="6144" y="9228"/>
                      <a:pt x="6144" y="9228"/>
                      <a:pt x="6144" y="9228"/>
                    </a:cubicBezTo>
                    <a:cubicBezTo>
                      <a:pt x="6019" y="9204"/>
                      <a:pt x="6019" y="9204"/>
                      <a:pt x="6019" y="9204"/>
                    </a:cubicBezTo>
                    <a:cubicBezTo>
                      <a:pt x="5976" y="9322"/>
                      <a:pt x="5976" y="9322"/>
                      <a:pt x="5976" y="9322"/>
                    </a:cubicBezTo>
                    <a:lnTo>
                      <a:pt x="6103" y="9344"/>
                    </a:lnTo>
                    <a:close/>
                    <a:moveTo>
                      <a:pt x="6149" y="9214"/>
                    </a:moveTo>
                    <a:cubicBezTo>
                      <a:pt x="6188" y="9106"/>
                      <a:pt x="6188" y="9106"/>
                      <a:pt x="6188" y="9106"/>
                    </a:cubicBezTo>
                    <a:cubicBezTo>
                      <a:pt x="6064" y="9078"/>
                      <a:pt x="6064" y="9078"/>
                      <a:pt x="6064" y="9078"/>
                    </a:cubicBezTo>
                    <a:cubicBezTo>
                      <a:pt x="6023" y="9191"/>
                      <a:pt x="6023" y="9191"/>
                      <a:pt x="6023" y="9191"/>
                    </a:cubicBezTo>
                    <a:lnTo>
                      <a:pt x="6149" y="9214"/>
                    </a:lnTo>
                    <a:close/>
                    <a:moveTo>
                      <a:pt x="6193" y="9092"/>
                    </a:moveTo>
                    <a:cubicBezTo>
                      <a:pt x="6237" y="8969"/>
                      <a:pt x="6237" y="8969"/>
                      <a:pt x="6237" y="8969"/>
                    </a:cubicBezTo>
                    <a:cubicBezTo>
                      <a:pt x="6111" y="8947"/>
                      <a:pt x="6111" y="8947"/>
                      <a:pt x="6111" y="8947"/>
                    </a:cubicBezTo>
                    <a:cubicBezTo>
                      <a:pt x="6069" y="9065"/>
                      <a:pt x="6069" y="9065"/>
                      <a:pt x="6069" y="9065"/>
                    </a:cubicBezTo>
                    <a:lnTo>
                      <a:pt x="6193" y="9092"/>
                    </a:lnTo>
                    <a:close/>
                    <a:moveTo>
                      <a:pt x="6242" y="8956"/>
                    </a:moveTo>
                    <a:cubicBezTo>
                      <a:pt x="6280" y="8851"/>
                      <a:pt x="6280" y="8851"/>
                      <a:pt x="6280" y="8851"/>
                    </a:cubicBezTo>
                    <a:cubicBezTo>
                      <a:pt x="6153" y="8832"/>
                      <a:pt x="6153" y="8832"/>
                      <a:pt x="6153" y="8832"/>
                    </a:cubicBezTo>
                    <a:cubicBezTo>
                      <a:pt x="6116" y="8933"/>
                      <a:pt x="6116" y="8933"/>
                      <a:pt x="6116" y="8933"/>
                    </a:cubicBezTo>
                    <a:lnTo>
                      <a:pt x="6242" y="8956"/>
                    </a:lnTo>
                    <a:close/>
                    <a:moveTo>
                      <a:pt x="6285" y="8837"/>
                    </a:moveTo>
                    <a:cubicBezTo>
                      <a:pt x="6333" y="8703"/>
                      <a:pt x="6333" y="8703"/>
                      <a:pt x="6333" y="8703"/>
                    </a:cubicBezTo>
                    <a:cubicBezTo>
                      <a:pt x="6204" y="8689"/>
                      <a:pt x="6204" y="8689"/>
                      <a:pt x="6204" y="8689"/>
                    </a:cubicBezTo>
                    <a:cubicBezTo>
                      <a:pt x="6157" y="8819"/>
                      <a:pt x="6157" y="8819"/>
                      <a:pt x="6157" y="8819"/>
                    </a:cubicBezTo>
                    <a:lnTo>
                      <a:pt x="6285" y="8837"/>
                    </a:lnTo>
                    <a:close/>
                    <a:moveTo>
                      <a:pt x="6244" y="8540"/>
                    </a:moveTo>
                    <a:cubicBezTo>
                      <a:pt x="5896" y="8535"/>
                      <a:pt x="5896" y="8535"/>
                      <a:pt x="5896" y="8535"/>
                    </a:cubicBezTo>
                    <a:cubicBezTo>
                      <a:pt x="5888" y="8568"/>
                      <a:pt x="5879" y="8603"/>
                      <a:pt x="5870" y="8639"/>
                    </a:cubicBezTo>
                    <a:cubicBezTo>
                      <a:pt x="6195" y="8674"/>
                      <a:pt x="6195" y="8674"/>
                      <a:pt x="6195" y="8674"/>
                    </a:cubicBezTo>
                    <a:lnTo>
                      <a:pt x="6244" y="8540"/>
                    </a:lnTo>
                    <a:close/>
                    <a:moveTo>
                      <a:pt x="5917" y="8395"/>
                    </a:moveTo>
                    <a:cubicBezTo>
                      <a:pt x="5921" y="8376"/>
                      <a:pt x="5925" y="8361"/>
                      <a:pt x="5928" y="8351"/>
                    </a:cubicBezTo>
                    <a:cubicBezTo>
                      <a:pt x="5928" y="8350"/>
                      <a:pt x="5928" y="8350"/>
                      <a:pt x="5928" y="8349"/>
                    </a:cubicBezTo>
                    <a:cubicBezTo>
                      <a:pt x="5757" y="8339"/>
                      <a:pt x="5565" y="8322"/>
                      <a:pt x="5400" y="8308"/>
                    </a:cubicBezTo>
                    <a:cubicBezTo>
                      <a:pt x="5405" y="8332"/>
                      <a:pt x="5411" y="8362"/>
                      <a:pt x="5417" y="8395"/>
                    </a:cubicBezTo>
                    <a:cubicBezTo>
                      <a:pt x="5449" y="8400"/>
                      <a:pt x="5548" y="8416"/>
                      <a:pt x="5648" y="8433"/>
                    </a:cubicBezTo>
                    <a:cubicBezTo>
                      <a:pt x="5769" y="8453"/>
                      <a:pt x="5894" y="8473"/>
                      <a:pt x="5895" y="8473"/>
                    </a:cubicBezTo>
                    <a:cubicBezTo>
                      <a:pt x="5895" y="8481"/>
                      <a:pt x="5895" y="8481"/>
                      <a:pt x="5895" y="8481"/>
                    </a:cubicBezTo>
                    <a:cubicBezTo>
                      <a:pt x="5903" y="8448"/>
                      <a:pt x="5911" y="8418"/>
                      <a:pt x="5917" y="8395"/>
                    </a:cubicBezTo>
                    <a:close/>
                    <a:moveTo>
                      <a:pt x="5933" y="8333"/>
                    </a:moveTo>
                    <a:cubicBezTo>
                      <a:pt x="5933" y="8333"/>
                      <a:pt x="5934" y="8332"/>
                      <a:pt x="5936" y="8330"/>
                    </a:cubicBezTo>
                    <a:cubicBezTo>
                      <a:pt x="5938" y="8333"/>
                      <a:pt x="5938" y="8333"/>
                      <a:pt x="5938" y="8333"/>
                    </a:cubicBezTo>
                    <a:cubicBezTo>
                      <a:pt x="6023" y="8338"/>
                      <a:pt x="6103" y="8342"/>
                      <a:pt x="6170" y="8342"/>
                    </a:cubicBezTo>
                    <a:cubicBezTo>
                      <a:pt x="6213" y="8342"/>
                      <a:pt x="6251" y="8340"/>
                      <a:pt x="6284" y="8337"/>
                    </a:cubicBezTo>
                    <a:cubicBezTo>
                      <a:pt x="6317" y="8334"/>
                      <a:pt x="6343" y="8330"/>
                      <a:pt x="6370" y="8318"/>
                    </a:cubicBezTo>
                    <a:cubicBezTo>
                      <a:pt x="6420" y="8296"/>
                      <a:pt x="6452" y="8254"/>
                      <a:pt x="6473" y="8210"/>
                    </a:cubicBezTo>
                    <a:cubicBezTo>
                      <a:pt x="6480" y="8196"/>
                      <a:pt x="6486" y="8181"/>
                      <a:pt x="6492" y="8166"/>
                    </a:cubicBezTo>
                    <a:cubicBezTo>
                      <a:pt x="6456" y="8163"/>
                      <a:pt x="6413" y="8160"/>
                      <a:pt x="6362" y="8156"/>
                    </a:cubicBezTo>
                    <a:cubicBezTo>
                      <a:pt x="6347" y="8186"/>
                      <a:pt x="6333" y="8200"/>
                      <a:pt x="6320" y="8206"/>
                    </a:cubicBezTo>
                    <a:cubicBezTo>
                      <a:pt x="6318" y="8207"/>
                      <a:pt x="6317" y="8207"/>
                      <a:pt x="6315" y="8208"/>
                    </a:cubicBezTo>
                    <a:cubicBezTo>
                      <a:pt x="6307" y="8210"/>
                      <a:pt x="6292" y="8213"/>
                      <a:pt x="6272" y="8215"/>
                    </a:cubicBezTo>
                    <a:cubicBezTo>
                      <a:pt x="6245" y="8217"/>
                      <a:pt x="6210" y="8219"/>
                      <a:pt x="6170" y="8219"/>
                    </a:cubicBezTo>
                    <a:cubicBezTo>
                      <a:pt x="6170" y="8219"/>
                      <a:pt x="6169" y="8219"/>
                      <a:pt x="6169" y="8219"/>
                    </a:cubicBezTo>
                    <a:cubicBezTo>
                      <a:pt x="5899" y="8219"/>
                      <a:pt x="5401" y="8163"/>
                      <a:pt x="5154" y="8152"/>
                    </a:cubicBezTo>
                    <a:cubicBezTo>
                      <a:pt x="5075" y="8148"/>
                      <a:pt x="4975" y="8145"/>
                      <a:pt x="4864" y="8145"/>
                    </a:cubicBezTo>
                    <a:cubicBezTo>
                      <a:pt x="4811" y="8145"/>
                      <a:pt x="4754" y="8146"/>
                      <a:pt x="4696" y="8148"/>
                    </a:cubicBezTo>
                    <a:cubicBezTo>
                      <a:pt x="4600" y="8164"/>
                      <a:pt x="4506" y="8177"/>
                      <a:pt x="4436" y="8183"/>
                    </a:cubicBezTo>
                    <a:cubicBezTo>
                      <a:pt x="4404" y="8185"/>
                      <a:pt x="4373" y="8186"/>
                      <a:pt x="4344" y="8186"/>
                    </a:cubicBezTo>
                    <a:cubicBezTo>
                      <a:pt x="4321" y="8186"/>
                      <a:pt x="4300" y="8186"/>
                      <a:pt x="4279" y="8185"/>
                    </a:cubicBezTo>
                    <a:cubicBezTo>
                      <a:pt x="4113" y="8210"/>
                      <a:pt x="3950" y="8252"/>
                      <a:pt x="3809" y="8317"/>
                    </a:cubicBezTo>
                    <a:cubicBezTo>
                      <a:pt x="3856" y="8431"/>
                      <a:pt x="3856" y="8431"/>
                      <a:pt x="3856" y="8431"/>
                    </a:cubicBezTo>
                    <a:cubicBezTo>
                      <a:pt x="3989" y="8368"/>
                      <a:pt x="4151" y="8328"/>
                      <a:pt x="4318" y="8303"/>
                    </a:cubicBezTo>
                    <a:cubicBezTo>
                      <a:pt x="4317" y="8297"/>
                      <a:pt x="4317" y="8297"/>
                      <a:pt x="4317" y="8297"/>
                    </a:cubicBezTo>
                    <a:cubicBezTo>
                      <a:pt x="4330" y="8293"/>
                      <a:pt x="4330" y="8293"/>
                      <a:pt x="4330" y="8293"/>
                    </a:cubicBezTo>
                    <a:cubicBezTo>
                      <a:pt x="4332" y="8301"/>
                      <a:pt x="4332" y="8301"/>
                      <a:pt x="4332" y="8301"/>
                    </a:cubicBezTo>
                    <a:cubicBezTo>
                      <a:pt x="4412" y="8290"/>
                      <a:pt x="4493" y="8282"/>
                      <a:pt x="4573" y="8277"/>
                    </a:cubicBezTo>
                    <a:cubicBezTo>
                      <a:pt x="4573" y="8275"/>
                      <a:pt x="4573" y="8273"/>
                      <a:pt x="4573" y="8273"/>
                    </a:cubicBezTo>
                    <a:cubicBezTo>
                      <a:pt x="4587" y="8273"/>
                      <a:pt x="4587" y="8273"/>
                      <a:pt x="4587" y="8273"/>
                    </a:cubicBezTo>
                    <a:cubicBezTo>
                      <a:pt x="4587" y="8273"/>
                      <a:pt x="4587" y="8275"/>
                      <a:pt x="4587" y="8276"/>
                    </a:cubicBezTo>
                    <a:cubicBezTo>
                      <a:pt x="4642" y="8272"/>
                      <a:pt x="4697" y="8270"/>
                      <a:pt x="4750" y="8269"/>
                    </a:cubicBezTo>
                    <a:cubicBezTo>
                      <a:pt x="4749" y="8264"/>
                      <a:pt x="4749" y="8264"/>
                      <a:pt x="4749" y="8264"/>
                    </a:cubicBezTo>
                    <a:cubicBezTo>
                      <a:pt x="4763" y="8262"/>
                      <a:pt x="4763" y="8262"/>
                      <a:pt x="4763" y="8262"/>
                    </a:cubicBezTo>
                    <a:cubicBezTo>
                      <a:pt x="4764" y="8269"/>
                      <a:pt x="4764" y="8269"/>
                      <a:pt x="4764" y="8269"/>
                    </a:cubicBezTo>
                    <a:cubicBezTo>
                      <a:pt x="4795" y="8268"/>
                      <a:pt x="4825" y="8268"/>
                      <a:pt x="4854" y="8268"/>
                    </a:cubicBezTo>
                    <a:cubicBezTo>
                      <a:pt x="4857" y="8268"/>
                      <a:pt x="4861" y="8268"/>
                      <a:pt x="4864" y="8268"/>
                    </a:cubicBezTo>
                    <a:cubicBezTo>
                      <a:pt x="4940" y="8268"/>
                      <a:pt x="5010" y="8269"/>
                      <a:pt x="5072" y="8271"/>
                    </a:cubicBezTo>
                    <a:cubicBezTo>
                      <a:pt x="5072" y="8264"/>
                      <a:pt x="5072" y="8264"/>
                      <a:pt x="5072" y="8264"/>
                    </a:cubicBezTo>
                    <a:cubicBezTo>
                      <a:pt x="5086" y="8265"/>
                      <a:pt x="5086" y="8265"/>
                      <a:pt x="5086" y="8265"/>
                    </a:cubicBezTo>
                    <a:cubicBezTo>
                      <a:pt x="5086" y="8272"/>
                      <a:pt x="5086" y="8272"/>
                      <a:pt x="5086" y="8272"/>
                    </a:cubicBezTo>
                    <a:cubicBezTo>
                      <a:pt x="5108" y="8273"/>
                      <a:pt x="5129" y="8274"/>
                      <a:pt x="5149" y="8274"/>
                    </a:cubicBezTo>
                    <a:cubicBezTo>
                      <a:pt x="5330" y="8283"/>
                      <a:pt x="5661" y="8317"/>
                      <a:pt x="5933" y="8333"/>
                    </a:cubicBezTo>
                    <a:close/>
                    <a:moveTo>
                      <a:pt x="3970" y="7978"/>
                    </a:moveTo>
                    <a:cubicBezTo>
                      <a:pt x="3975" y="7990"/>
                      <a:pt x="3979" y="8001"/>
                      <a:pt x="3983" y="8008"/>
                    </a:cubicBezTo>
                    <a:cubicBezTo>
                      <a:pt x="3985" y="8012"/>
                      <a:pt x="3986" y="8016"/>
                      <a:pt x="3988" y="8018"/>
                    </a:cubicBezTo>
                    <a:cubicBezTo>
                      <a:pt x="3988" y="8020"/>
                      <a:pt x="3989" y="8021"/>
                      <a:pt x="3989" y="8023"/>
                    </a:cubicBezTo>
                    <a:cubicBezTo>
                      <a:pt x="3990" y="8023"/>
                      <a:pt x="3990" y="8024"/>
                      <a:pt x="3990" y="8024"/>
                    </a:cubicBezTo>
                    <a:cubicBezTo>
                      <a:pt x="4015" y="8021"/>
                      <a:pt x="4040" y="8019"/>
                      <a:pt x="4065" y="8019"/>
                    </a:cubicBezTo>
                    <a:cubicBezTo>
                      <a:pt x="4072" y="8019"/>
                      <a:pt x="4079" y="8020"/>
                      <a:pt x="4086" y="8020"/>
                    </a:cubicBezTo>
                    <a:cubicBezTo>
                      <a:pt x="4002" y="7678"/>
                      <a:pt x="4002" y="7678"/>
                      <a:pt x="4002" y="7678"/>
                    </a:cubicBezTo>
                    <a:cubicBezTo>
                      <a:pt x="3926" y="7711"/>
                      <a:pt x="3926" y="7711"/>
                      <a:pt x="3926" y="7711"/>
                    </a:cubicBezTo>
                    <a:cubicBezTo>
                      <a:pt x="3927" y="7742"/>
                      <a:pt x="3932" y="7787"/>
                      <a:pt x="3938" y="7826"/>
                    </a:cubicBezTo>
                    <a:cubicBezTo>
                      <a:pt x="3943" y="7858"/>
                      <a:pt x="3947" y="7886"/>
                      <a:pt x="3949" y="7898"/>
                    </a:cubicBezTo>
                    <a:cubicBezTo>
                      <a:pt x="3950" y="7898"/>
                      <a:pt x="3950" y="7898"/>
                      <a:pt x="3950" y="7898"/>
                    </a:cubicBezTo>
                    <a:cubicBezTo>
                      <a:pt x="3953" y="7926"/>
                      <a:pt x="3960" y="7954"/>
                      <a:pt x="3970" y="7978"/>
                    </a:cubicBezTo>
                    <a:close/>
                    <a:moveTo>
                      <a:pt x="3931" y="8020"/>
                    </a:moveTo>
                    <a:cubicBezTo>
                      <a:pt x="3950" y="8031"/>
                      <a:pt x="3950" y="8031"/>
                      <a:pt x="3950" y="8031"/>
                    </a:cubicBezTo>
                    <a:cubicBezTo>
                      <a:pt x="3950" y="8031"/>
                      <a:pt x="3950" y="8031"/>
                      <a:pt x="3950" y="8031"/>
                    </a:cubicBezTo>
                    <a:lnTo>
                      <a:pt x="3931" y="8020"/>
                    </a:lnTo>
                    <a:close/>
                    <a:moveTo>
                      <a:pt x="3230" y="8421"/>
                    </a:moveTo>
                    <a:cubicBezTo>
                      <a:pt x="3342" y="8150"/>
                      <a:pt x="3342" y="8150"/>
                      <a:pt x="3342" y="8150"/>
                    </a:cubicBezTo>
                    <a:cubicBezTo>
                      <a:pt x="3307" y="8116"/>
                      <a:pt x="3014" y="7827"/>
                      <a:pt x="2972" y="7785"/>
                    </a:cubicBezTo>
                    <a:cubicBezTo>
                      <a:pt x="2676" y="8005"/>
                      <a:pt x="2676" y="8005"/>
                      <a:pt x="2676" y="8005"/>
                    </a:cubicBezTo>
                    <a:cubicBezTo>
                      <a:pt x="3046" y="8526"/>
                      <a:pt x="3046" y="8526"/>
                      <a:pt x="3046" y="8526"/>
                    </a:cubicBezTo>
                    <a:cubicBezTo>
                      <a:pt x="3078" y="8509"/>
                      <a:pt x="3110" y="8492"/>
                      <a:pt x="3141" y="8475"/>
                    </a:cubicBezTo>
                    <a:cubicBezTo>
                      <a:pt x="3174" y="8458"/>
                      <a:pt x="3207" y="8440"/>
                      <a:pt x="3238" y="8424"/>
                    </a:cubicBezTo>
                    <a:lnTo>
                      <a:pt x="3230" y="8421"/>
                    </a:lnTo>
                    <a:close/>
                    <a:moveTo>
                      <a:pt x="2872" y="8618"/>
                    </a:moveTo>
                    <a:cubicBezTo>
                      <a:pt x="2870" y="8620"/>
                      <a:pt x="2870" y="8620"/>
                      <a:pt x="2870" y="8620"/>
                    </a:cubicBezTo>
                    <a:cubicBezTo>
                      <a:pt x="2924" y="8591"/>
                      <a:pt x="2978" y="8562"/>
                      <a:pt x="3031" y="8534"/>
                    </a:cubicBezTo>
                    <a:cubicBezTo>
                      <a:pt x="2660" y="8011"/>
                      <a:pt x="2660" y="8011"/>
                      <a:pt x="2660" y="8011"/>
                    </a:cubicBezTo>
                    <a:cubicBezTo>
                      <a:pt x="2641" y="8006"/>
                      <a:pt x="2514" y="7973"/>
                      <a:pt x="2498" y="7968"/>
                    </a:cubicBezTo>
                    <a:cubicBezTo>
                      <a:pt x="2496" y="7968"/>
                      <a:pt x="2494" y="7967"/>
                      <a:pt x="2492" y="7967"/>
                    </a:cubicBezTo>
                    <a:cubicBezTo>
                      <a:pt x="2287" y="8106"/>
                      <a:pt x="2287" y="8106"/>
                      <a:pt x="2287" y="8106"/>
                    </a:cubicBezTo>
                    <a:cubicBezTo>
                      <a:pt x="2435" y="8413"/>
                      <a:pt x="2435" y="8413"/>
                      <a:pt x="2435" y="8413"/>
                    </a:cubicBezTo>
                    <a:cubicBezTo>
                      <a:pt x="2449" y="8407"/>
                      <a:pt x="2483" y="8394"/>
                      <a:pt x="2518" y="8381"/>
                    </a:cubicBezTo>
                    <a:cubicBezTo>
                      <a:pt x="2559" y="8366"/>
                      <a:pt x="2599" y="8351"/>
                      <a:pt x="2599" y="8351"/>
                    </a:cubicBezTo>
                    <a:cubicBezTo>
                      <a:pt x="2604" y="8349"/>
                      <a:pt x="2604" y="8349"/>
                      <a:pt x="2604" y="8349"/>
                    </a:cubicBezTo>
                    <a:lnTo>
                      <a:pt x="2872" y="8618"/>
                    </a:lnTo>
                    <a:close/>
                    <a:moveTo>
                      <a:pt x="2161" y="8990"/>
                    </a:moveTo>
                    <a:cubicBezTo>
                      <a:pt x="2161" y="8990"/>
                      <a:pt x="2168" y="8987"/>
                      <a:pt x="2179" y="8981"/>
                    </a:cubicBezTo>
                    <a:cubicBezTo>
                      <a:pt x="2154" y="8926"/>
                      <a:pt x="2154" y="8926"/>
                      <a:pt x="2154" y="8926"/>
                    </a:cubicBezTo>
                    <a:cubicBezTo>
                      <a:pt x="2074" y="8966"/>
                      <a:pt x="2074" y="8966"/>
                      <a:pt x="2074" y="8966"/>
                    </a:cubicBezTo>
                    <a:cubicBezTo>
                      <a:pt x="2101" y="9023"/>
                      <a:pt x="2101" y="9023"/>
                      <a:pt x="2101" y="9023"/>
                    </a:cubicBezTo>
                    <a:cubicBezTo>
                      <a:pt x="2162" y="8990"/>
                      <a:pt x="2162" y="8990"/>
                      <a:pt x="2162" y="8990"/>
                    </a:cubicBezTo>
                    <a:lnTo>
                      <a:pt x="2161" y="8990"/>
                    </a:lnTo>
                    <a:close/>
                    <a:moveTo>
                      <a:pt x="1090" y="8331"/>
                    </a:moveTo>
                    <a:cubicBezTo>
                      <a:pt x="1089" y="8336"/>
                      <a:pt x="1089" y="8334"/>
                      <a:pt x="1088" y="8336"/>
                    </a:cubicBezTo>
                    <a:cubicBezTo>
                      <a:pt x="1083" y="8346"/>
                      <a:pt x="1039" y="8413"/>
                      <a:pt x="999" y="8475"/>
                    </a:cubicBezTo>
                    <a:cubicBezTo>
                      <a:pt x="1018" y="8490"/>
                      <a:pt x="1100" y="8552"/>
                      <a:pt x="1182" y="8615"/>
                    </a:cubicBezTo>
                    <a:cubicBezTo>
                      <a:pt x="1229" y="8650"/>
                      <a:pt x="1276" y="8686"/>
                      <a:pt x="1311" y="8713"/>
                    </a:cubicBezTo>
                    <a:cubicBezTo>
                      <a:pt x="1326" y="8725"/>
                      <a:pt x="1339" y="8735"/>
                      <a:pt x="1365" y="8755"/>
                    </a:cubicBezTo>
                    <a:cubicBezTo>
                      <a:pt x="1391" y="8711"/>
                      <a:pt x="1442" y="8622"/>
                      <a:pt x="1494" y="8534"/>
                    </a:cubicBezTo>
                    <a:cubicBezTo>
                      <a:pt x="1505" y="8514"/>
                      <a:pt x="1517" y="8495"/>
                      <a:pt x="1528" y="8475"/>
                    </a:cubicBezTo>
                    <a:cubicBezTo>
                      <a:pt x="1315" y="8318"/>
                      <a:pt x="1315" y="8318"/>
                      <a:pt x="1315" y="8318"/>
                    </a:cubicBezTo>
                    <a:cubicBezTo>
                      <a:pt x="1090" y="8330"/>
                      <a:pt x="1090" y="8330"/>
                      <a:pt x="1090" y="8330"/>
                    </a:cubicBezTo>
                    <a:cubicBezTo>
                      <a:pt x="1090" y="8331"/>
                      <a:pt x="1090" y="8331"/>
                      <a:pt x="1090" y="8331"/>
                    </a:cubicBezTo>
                    <a:close/>
                    <a:moveTo>
                      <a:pt x="1402" y="7149"/>
                    </a:moveTo>
                    <a:cubicBezTo>
                      <a:pt x="1537" y="7145"/>
                      <a:pt x="1537" y="7145"/>
                      <a:pt x="1537" y="7145"/>
                    </a:cubicBezTo>
                    <a:cubicBezTo>
                      <a:pt x="1538" y="7146"/>
                      <a:pt x="1538" y="7146"/>
                      <a:pt x="1538" y="7146"/>
                    </a:cubicBezTo>
                    <a:cubicBezTo>
                      <a:pt x="1538" y="7146"/>
                      <a:pt x="1582" y="7162"/>
                      <a:pt x="1626" y="7179"/>
                    </a:cubicBezTo>
                    <a:cubicBezTo>
                      <a:pt x="1648" y="7187"/>
                      <a:pt x="1670" y="7195"/>
                      <a:pt x="1686" y="7202"/>
                    </a:cubicBezTo>
                    <a:cubicBezTo>
                      <a:pt x="1689" y="7203"/>
                      <a:pt x="1692" y="7204"/>
                      <a:pt x="1721" y="7216"/>
                    </a:cubicBezTo>
                    <a:cubicBezTo>
                      <a:pt x="1721" y="7218"/>
                      <a:pt x="1721" y="7218"/>
                      <a:pt x="1721" y="7218"/>
                    </a:cubicBezTo>
                    <a:cubicBezTo>
                      <a:pt x="1753" y="7169"/>
                      <a:pt x="1789" y="7114"/>
                      <a:pt x="1821" y="7068"/>
                    </a:cubicBezTo>
                    <a:cubicBezTo>
                      <a:pt x="1843" y="7035"/>
                      <a:pt x="1862" y="7007"/>
                      <a:pt x="1878" y="6985"/>
                    </a:cubicBezTo>
                    <a:cubicBezTo>
                      <a:pt x="1881" y="6981"/>
                      <a:pt x="1884" y="6978"/>
                      <a:pt x="1886" y="6974"/>
                    </a:cubicBezTo>
                    <a:cubicBezTo>
                      <a:pt x="1744" y="6891"/>
                      <a:pt x="1532" y="6766"/>
                      <a:pt x="1453" y="6719"/>
                    </a:cubicBezTo>
                    <a:cubicBezTo>
                      <a:pt x="1440" y="6746"/>
                      <a:pt x="1421" y="6786"/>
                      <a:pt x="1398" y="6829"/>
                    </a:cubicBezTo>
                    <a:cubicBezTo>
                      <a:pt x="1379" y="6867"/>
                      <a:pt x="1356" y="6906"/>
                      <a:pt x="1334" y="6940"/>
                    </a:cubicBezTo>
                    <a:cubicBezTo>
                      <a:pt x="1322" y="6958"/>
                      <a:pt x="1310" y="6974"/>
                      <a:pt x="1297" y="6988"/>
                    </a:cubicBezTo>
                    <a:lnTo>
                      <a:pt x="1402" y="7149"/>
                    </a:lnTo>
                    <a:close/>
                    <a:moveTo>
                      <a:pt x="1264" y="7018"/>
                    </a:moveTo>
                    <a:cubicBezTo>
                      <a:pt x="1264" y="7019"/>
                      <a:pt x="1263" y="7019"/>
                      <a:pt x="1263" y="7019"/>
                    </a:cubicBezTo>
                    <a:cubicBezTo>
                      <a:pt x="1215" y="7050"/>
                      <a:pt x="1170" y="7064"/>
                      <a:pt x="1138" y="7071"/>
                    </a:cubicBezTo>
                    <a:cubicBezTo>
                      <a:pt x="1086" y="7212"/>
                      <a:pt x="1086" y="7212"/>
                      <a:pt x="1086" y="7212"/>
                    </a:cubicBezTo>
                    <a:cubicBezTo>
                      <a:pt x="1149" y="7197"/>
                      <a:pt x="1320" y="7158"/>
                      <a:pt x="1351" y="7151"/>
                    </a:cubicBezTo>
                    <a:lnTo>
                      <a:pt x="1264" y="7018"/>
                    </a:lnTo>
                    <a:close/>
                    <a:moveTo>
                      <a:pt x="2087" y="4841"/>
                    </a:moveTo>
                    <a:cubicBezTo>
                      <a:pt x="2344" y="4987"/>
                      <a:pt x="2344" y="4987"/>
                      <a:pt x="2344" y="4987"/>
                    </a:cubicBezTo>
                    <a:cubicBezTo>
                      <a:pt x="2399" y="4889"/>
                      <a:pt x="2399" y="4889"/>
                      <a:pt x="2399" y="4889"/>
                    </a:cubicBezTo>
                    <a:cubicBezTo>
                      <a:pt x="2198" y="4743"/>
                      <a:pt x="2198" y="4743"/>
                      <a:pt x="2198" y="4743"/>
                    </a:cubicBezTo>
                    <a:lnTo>
                      <a:pt x="2087" y="4841"/>
                    </a:lnTo>
                    <a:close/>
                    <a:moveTo>
                      <a:pt x="2186" y="4735"/>
                    </a:moveTo>
                    <a:cubicBezTo>
                      <a:pt x="1921" y="4542"/>
                      <a:pt x="1921" y="4542"/>
                      <a:pt x="1921" y="4542"/>
                    </a:cubicBezTo>
                    <a:cubicBezTo>
                      <a:pt x="1796" y="4674"/>
                      <a:pt x="1796" y="4674"/>
                      <a:pt x="1796" y="4674"/>
                    </a:cubicBezTo>
                    <a:cubicBezTo>
                      <a:pt x="2075" y="4834"/>
                      <a:pt x="2075" y="4834"/>
                      <a:pt x="2075" y="4834"/>
                    </a:cubicBezTo>
                    <a:lnTo>
                      <a:pt x="2186" y="4735"/>
                    </a:lnTo>
                    <a:close/>
                    <a:moveTo>
                      <a:pt x="4153" y="4235"/>
                    </a:moveTo>
                    <a:cubicBezTo>
                      <a:pt x="4153" y="4317"/>
                      <a:pt x="4150" y="4396"/>
                      <a:pt x="4139" y="4456"/>
                    </a:cubicBezTo>
                    <a:cubicBezTo>
                      <a:pt x="4138" y="4462"/>
                      <a:pt x="4137" y="4468"/>
                      <a:pt x="4136" y="4474"/>
                    </a:cubicBezTo>
                    <a:cubicBezTo>
                      <a:pt x="4303" y="4506"/>
                      <a:pt x="4472" y="4537"/>
                      <a:pt x="4485" y="4538"/>
                    </a:cubicBezTo>
                    <a:cubicBezTo>
                      <a:pt x="4485" y="4538"/>
                      <a:pt x="4485" y="4538"/>
                      <a:pt x="4485" y="4538"/>
                    </a:cubicBezTo>
                    <a:cubicBezTo>
                      <a:pt x="4485" y="4538"/>
                      <a:pt x="4485" y="4538"/>
                      <a:pt x="4485" y="4538"/>
                    </a:cubicBezTo>
                    <a:cubicBezTo>
                      <a:pt x="4485" y="4543"/>
                      <a:pt x="4485" y="4543"/>
                      <a:pt x="4485" y="4543"/>
                    </a:cubicBezTo>
                    <a:cubicBezTo>
                      <a:pt x="4484" y="4538"/>
                      <a:pt x="4484" y="4538"/>
                      <a:pt x="4484" y="4538"/>
                    </a:cubicBezTo>
                    <a:cubicBezTo>
                      <a:pt x="4486" y="4547"/>
                      <a:pt x="4486" y="4547"/>
                      <a:pt x="4486" y="4547"/>
                    </a:cubicBezTo>
                    <a:cubicBezTo>
                      <a:pt x="4647" y="4219"/>
                      <a:pt x="4647" y="4219"/>
                      <a:pt x="4647" y="4219"/>
                    </a:cubicBezTo>
                    <a:cubicBezTo>
                      <a:pt x="4151" y="4111"/>
                      <a:pt x="4151" y="4111"/>
                      <a:pt x="4151" y="4111"/>
                    </a:cubicBezTo>
                    <a:cubicBezTo>
                      <a:pt x="4152" y="4151"/>
                      <a:pt x="4153" y="4193"/>
                      <a:pt x="4153" y="4235"/>
                    </a:cubicBezTo>
                    <a:close/>
                    <a:moveTo>
                      <a:pt x="7123" y="3793"/>
                    </a:moveTo>
                    <a:cubicBezTo>
                      <a:pt x="7123" y="3791"/>
                      <a:pt x="7123" y="3791"/>
                      <a:pt x="7123" y="3791"/>
                    </a:cubicBezTo>
                    <a:cubicBezTo>
                      <a:pt x="7123" y="3780"/>
                      <a:pt x="7124" y="3769"/>
                      <a:pt x="7126" y="3758"/>
                    </a:cubicBezTo>
                    <a:cubicBezTo>
                      <a:pt x="7147" y="3614"/>
                      <a:pt x="7240" y="3521"/>
                      <a:pt x="7355" y="3453"/>
                    </a:cubicBezTo>
                    <a:cubicBezTo>
                      <a:pt x="7365" y="3447"/>
                      <a:pt x="7375" y="3442"/>
                      <a:pt x="7386" y="3436"/>
                    </a:cubicBezTo>
                    <a:cubicBezTo>
                      <a:pt x="7371" y="3399"/>
                      <a:pt x="7371" y="3399"/>
                      <a:pt x="7371" y="3399"/>
                    </a:cubicBezTo>
                    <a:cubicBezTo>
                      <a:pt x="7371" y="3399"/>
                      <a:pt x="7370" y="3396"/>
                      <a:pt x="7367" y="3389"/>
                    </a:cubicBezTo>
                    <a:cubicBezTo>
                      <a:pt x="7361" y="3377"/>
                      <a:pt x="7351" y="3352"/>
                      <a:pt x="7336" y="3323"/>
                    </a:cubicBezTo>
                    <a:cubicBezTo>
                      <a:pt x="7264" y="3360"/>
                      <a:pt x="7192" y="3408"/>
                      <a:pt x="7132" y="3473"/>
                    </a:cubicBezTo>
                    <a:cubicBezTo>
                      <a:pt x="7069" y="3542"/>
                      <a:pt x="7020" y="3631"/>
                      <a:pt x="7004" y="3740"/>
                    </a:cubicBezTo>
                    <a:cubicBezTo>
                      <a:pt x="7001" y="3757"/>
                      <a:pt x="7000" y="3774"/>
                      <a:pt x="7000" y="3791"/>
                    </a:cubicBezTo>
                    <a:cubicBezTo>
                      <a:pt x="7001" y="3905"/>
                      <a:pt x="7052" y="4013"/>
                      <a:pt x="7126" y="4122"/>
                    </a:cubicBezTo>
                    <a:cubicBezTo>
                      <a:pt x="7200" y="4231"/>
                      <a:pt x="7299" y="4343"/>
                      <a:pt x="7405" y="4460"/>
                    </a:cubicBezTo>
                    <a:cubicBezTo>
                      <a:pt x="7529" y="4597"/>
                      <a:pt x="7663" y="4743"/>
                      <a:pt x="7777" y="4897"/>
                    </a:cubicBezTo>
                    <a:cubicBezTo>
                      <a:pt x="7933" y="4904"/>
                      <a:pt x="7933" y="4904"/>
                      <a:pt x="7933" y="4904"/>
                    </a:cubicBezTo>
                    <a:cubicBezTo>
                      <a:pt x="7849" y="4782"/>
                      <a:pt x="7754" y="4667"/>
                      <a:pt x="7659" y="4558"/>
                    </a:cubicBezTo>
                    <a:cubicBezTo>
                      <a:pt x="7494" y="4371"/>
                      <a:pt x="7329" y="4202"/>
                      <a:pt x="7228" y="4053"/>
                    </a:cubicBezTo>
                    <a:cubicBezTo>
                      <a:pt x="7160" y="3955"/>
                      <a:pt x="7123" y="3867"/>
                      <a:pt x="7123" y="3793"/>
                    </a:cubicBezTo>
                    <a:close/>
                    <a:moveTo>
                      <a:pt x="6273" y="7417"/>
                    </a:moveTo>
                    <a:cubicBezTo>
                      <a:pt x="6276" y="7404"/>
                      <a:pt x="6276" y="7404"/>
                      <a:pt x="6276" y="7404"/>
                    </a:cubicBezTo>
                    <a:cubicBezTo>
                      <a:pt x="6276" y="7404"/>
                      <a:pt x="6323" y="7414"/>
                      <a:pt x="6370" y="7424"/>
                    </a:cubicBezTo>
                    <a:cubicBezTo>
                      <a:pt x="6394" y="7430"/>
                      <a:pt x="6417" y="7435"/>
                      <a:pt x="6435" y="7439"/>
                    </a:cubicBezTo>
                    <a:cubicBezTo>
                      <a:pt x="6444" y="7441"/>
                      <a:pt x="6451" y="7443"/>
                      <a:pt x="6457" y="7444"/>
                    </a:cubicBezTo>
                    <a:cubicBezTo>
                      <a:pt x="6459" y="7445"/>
                      <a:pt x="6461" y="7446"/>
                      <a:pt x="6463" y="7446"/>
                    </a:cubicBezTo>
                    <a:cubicBezTo>
                      <a:pt x="6464" y="7446"/>
                      <a:pt x="6464" y="7446"/>
                      <a:pt x="6465" y="7447"/>
                    </a:cubicBezTo>
                    <a:cubicBezTo>
                      <a:pt x="6465" y="7447"/>
                      <a:pt x="6466" y="7447"/>
                      <a:pt x="6466" y="7447"/>
                    </a:cubicBezTo>
                    <a:cubicBezTo>
                      <a:pt x="6466" y="7448"/>
                      <a:pt x="6468" y="7447"/>
                      <a:pt x="6469" y="7451"/>
                    </a:cubicBezTo>
                    <a:cubicBezTo>
                      <a:pt x="6478" y="7458"/>
                      <a:pt x="6521" y="7486"/>
                      <a:pt x="6561" y="7511"/>
                    </a:cubicBezTo>
                    <a:cubicBezTo>
                      <a:pt x="6583" y="7525"/>
                      <a:pt x="6605" y="7539"/>
                      <a:pt x="6621" y="7549"/>
                    </a:cubicBezTo>
                    <a:cubicBezTo>
                      <a:pt x="6629" y="7555"/>
                      <a:pt x="6636" y="7559"/>
                      <a:pt x="6641" y="7562"/>
                    </a:cubicBezTo>
                    <a:cubicBezTo>
                      <a:pt x="6643" y="7564"/>
                      <a:pt x="6645" y="7565"/>
                      <a:pt x="6647" y="7566"/>
                    </a:cubicBezTo>
                    <a:cubicBezTo>
                      <a:pt x="6647" y="7567"/>
                      <a:pt x="6648" y="7567"/>
                      <a:pt x="6649" y="7568"/>
                    </a:cubicBezTo>
                    <a:cubicBezTo>
                      <a:pt x="6649" y="7569"/>
                      <a:pt x="6650" y="7568"/>
                      <a:pt x="6651" y="7571"/>
                    </a:cubicBezTo>
                    <a:cubicBezTo>
                      <a:pt x="6693" y="7543"/>
                      <a:pt x="6745" y="7522"/>
                      <a:pt x="6811" y="7502"/>
                    </a:cubicBezTo>
                    <a:cubicBezTo>
                      <a:pt x="6909" y="7474"/>
                      <a:pt x="7045" y="7446"/>
                      <a:pt x="7258" y="7405"/>
                    </a:cubicBezTo>
                    <a:cubicBezTo>
                      <a:pt x="7805" y="7300"/>
                      <a:pt x="8090" y="7037"/>
                      <a:pt x="8205" y="6839"/>
                    </a:cubicBezTo>
                    <a:cubicBezTo>
                      <a:pt x="8229" y="6800"/>
                      <a:pt x="8252" y="6689"/>
                      <a:pt x="8251" y="6546"/>
                    </a:cubicBezTo>
                    <a:cubicBezTo>
                      <a:pt x="8251" y="6543"/>
                      <a:pt x="8251" y="6540"/>
                      <a:pt x="8251" y="6536"/>
                    </a:cubicBezTo>
                    <a:cubicBezTo>
                      <a:pt x="8251" y="6534"/>
                      <a:pt x="8251" y="6534"/>
                      <a:pt x="8251" y="6534"/>
                    </a:cubicBezTo>
                    <a:cubicBezTo>
                      <a:pt x="8251" y="6515"/>
                      <a:pt x="8251" y="6496"/>
                      <a:pt x="8250" y="6476"/>
                    </a:cubicBezTo>
                    <a:cubicBezTo>
                      <a:pt x="8234" y="6474"/>
                      <a:pt x="8218" y="6473"/>
                      <a:pt x="8201" y="6471"/>
                    </a:cubicBezTo>
                    <a:cubicBezTo>
                      <a:pt x="8185" y="6660"/>
                      <a:pt x="8185" y="6660"/>
                      <a:pt x="8185" y="6660"/>
                    </a:cubicBezTo>
                    <a:cubicBezTo>
                      <a:pt x="8144" y="6840"/>
                      <a:pt x="8144" y="6840"/>
                      <a:pt x="8144" y="6840"/>
                    </a:cubicBezTo>
                    <a:cubicBezTo>
                      <a:pt x="8066" y="6975"/>
                      <a:pt x="8066" y="6975"/>
                      <a:pt x="8066" y="6975"/>
                    </a:cubicBezTo>
                    <a:cubicBezTo>
                      <a:pt x="7812" y="7145"/>
                      <a:pt x="7812" y="7145"/>
                      <a:pt x="7812" y="7145"/>
                    </a:cubicBezTo>
                    <a:cubicBezTo>
                      <a:pt x="7549" y="7278"/>
                      <a:pt x="7549" y="7278"/>
                      <a:pt x="7549" y="7278"/>
                    </a:cubicBezTo>
                    <a:cubicBezTo>
                      <a:pt x="7038" y="7396"/>
                      <a:pt x="7038" y="7396"/>
                      <a:pt x="7038" y="7396"/>
                    </a:cubicBezTo>
                    <a:cubicBezTo>
                      <a:pt x="7030" y="7449"/>
                      <a:pt x="7030" y="7449"/>
                      <a:pt x="7030" y="7449"/>
                    </a:cubicBezTo>
                    <a:cubicBezTo>
                      <a:pt x="6965" y="7440"/>
                      <a:pt x="6965" y="7440"/>
                      <a:pt x="6965" y="7440"/>
                    </a:cubicBezTo>
                    <a:cubicBezTo>
                      <a:pt x="6973" y="7389"/>
                      <a:pt x="6973" y="7389"/>
                      <a:pt x="6973" y="7389"/>
                    </a:cubicBezTo>
                    <a:cubicBezTo>
                      <a:pt x="6888" y="7371"/>
                      <a:pt x="6888" y="7371"/>
                      <a:pt x="6888" y="7371"/>
                    </a:cubicBezTo>
                    <a:cubicBezTo>
                      <a:pt x="6877" y="7432"/>
                      <a:pt x="6877" y="7432"/>
                      <a:pt x="6877" y="7432"/>
                    </a:cubicBezTo>
                    <a:cubicBezTo>
                      <a:pt x="6723" y="7406"/>
                      <a:pt x="6723" y="7406"/>
                      <a:pt x="6723" y="7406"/>
                    </a:cubicBezTo>
                    <a:cubicBezTo>
                      <a:pt x="6735" y="7340"/>
                      <a:pt x="6735" y="7340"/>
                      <a:pt x="6735" y="7340"/>
                    </a:cubicBezTo>
                    <a:cubicBezTo>
                      <a:pt x="6606" y="7313"/>
                      <a:pt x="6606" y="7313"/>
                      <a:pt x="6606" y="7313"/>
                    </a:cubicBezTo>
                    <a:cubicBezTo>
                      <a:pt x="6603" y="7316"/>
                      <a:pt x="6596" y="7321"/>
                      <a:pt x="6590" y="7327"/>
                    </a:cubicBezTo>
                    <a:cubicBezTo>
                      <a:pt x="6585" y="7331"/>
                      <a:pt x="6581" y="7335"/>
                      <a:pt x="6578" y="7338"/>
                    </a:cubicBezTo>
                    <a:cubicBezTo>
                      <a:pt x="6576" y="7340"/>
                      <a:pt x="6575" y="7341"/>
                      <a:pt x="6574" y="7342"/>
                    </a:cubicBezTo>
                    <a:cubicBezTo>
                      <a:pt x="6574" y="7342"/>
                      <a:pt x="6574" y="7343"/>
                      <a:pt x="6574" y="7343"/>
                    </a:cubicBezTo>
                    <a:cubicBezTo>
                      <a:pt x="6575" y="7345"/>
                      <a:pt x="6573" y="7347"/>
                      <a:pt x="6572" y="7348"/>
                    </a:cubicBezTo>
                    <a:cubicBezTo>
                      <a:pt x="6568" y="7350"/>
                      <a:pt x="6568" y="7350"/>
                      <a:pt x="6568" y="7350"/>
                    </a:cubicBezTo>
                    <a:cubicBezTo>
                      <a:pt x="6567" y="7350"/>
                      <a:pt x="6567" y="7350"/>
                      <a:pt x="6567" y="7350"/>
                    </a:cubicBezTo>
                    <a:cubicBezTo>
                      <a:pt x="6561" y="7349"/>
                      <a:pt x="6512" y="7337"/>
                      <a:pt x="6461" y="7323"/>
                    </a:cubicBezTo>
                    <a:cubicBezTo>
                      <a:pt x="6415" y="7312"/>
                      <a:pt x="6371" y="7300"/>
                      <a:pt x="6361" y="7298"/>
                    </a:cubicBezTo>
                    <a:cubicBezTo>
                      <a:pt x="6284" y="7321"/>
                      <a:pt x="6284" y="7321"/>
                      <a:pt x="6284" y="7321"/>
                    </a:cubicBezTo>
                    <a:cubicBezTo>
                      <a:pt x="6281" y="7334"/>
                      <a:pt x="6274" y="7388"/>
                      <a:pt x="6268" y="7439"/>
                    </a:cubicBezTo>
                    <a:cubicBezTo>
                      <a:pt x="6262" y="7487"/>
                      <a:pt x="6256" y="7533"/>
                      <a:pt x="6255" y="7548"/>
                    </a:cubicBezTo>
                    <a:cubicBezTo>
                      <a:pt x="6262" y="7554"/>
                      <a:pt x="6262" y="7554"/>
                      <a:pt x="6262" y="7554"/>
                    </a:cubicBezTo>
                    <a:cubicBezTo>
                      <a:pt x="6502" y="7730"/>
                      <a:pt x="6502" y="7730"/>
                      <a:pt x="6502" y="7730"/>
                    </a:cubicBezTo>
                    <a:cubicBezTo>
                      <a:pt x="6504" y="7726"/>
                      <a:pt x="6506" y="7723"/>
                      <a:pt x="6509" y="7719"/>
                    </a:cubicBezTo>
                    <a:cubicBezTo>
                      <a:pt x="6538" y="7679"/>
                      <a:pt x="6564" y="7644"/>
                      <a:pt x="6598" y="7612"/>
                    </a:cubicBezTo>
                    <a:cubicBezTo>
                      <a:pt x="6612" y="7599"/>
                      <a:pt x="6627" y="7586"/>
                      <a:pt x="6644" y="7575"/>
                    </a:cubicBezTo>
                    <a:cubicBezTo>
                      <a:pt x="6644" y="7574"/>
                      <a:pt x="6644" y="7574"/>
                      <a:pt x="6644" y="7574"/>
                    </a:cubicBezTo>
                    <a:cubicBezTo>
                      <a:pt x="6644" y="7574"/>
                      <a:pt x="6644" y="7574"/>
                      <a:pt x="6644" y="7574"/>
                    </a:cubicBezTo>
                    <a:cubicBezTo>
                      <a:pt x="6639" y="7578"/>
                      <a:pt x="6639" y="7578"/>
                      <a:pt x="6639" y="7578"/>
                    </a:cubicBezTo>
                    <a:cubicBezTo>
                      <a:pt x="6639" y="7578"/>
                      <a:pt x="6639" y="7578"/>
                      <a:pt x="6639" y="7578"/>
                    </a:cubicBezTo>
                    <a:cubicBezTo>
                      <a:pt x="6632" y="7572"/>
                      <a:pt x="6587" y="7544"/>
                      <a:pt x="6543" y="7516"/>
                    </a:cubicBezTo>
                    <a:cubicBezTo>
                      <a:pt x="6522" y="7502"/>
                      <a:pt x="6500" y="7489"/>
                      <a:pt x="6485" y="7478"/>
                    </a:cubicBezTo>
                    <a:cubicBezTo>
                      <a:pt x="6477" y="7473"/>
                      <a:pt x="6470" y="7469"/>
                      <a:pt x="6465" y="7465"/>
                    </a:cubicBezTo>
                    <a:cubicBezTo>
                      <a:pt x="6463" y="7464"/>
                      <a:pt x="6461" y="7462"/>
                      <a:pt x="6460" y="7461"/>
                    </a:cubicBezTo>
                    <a:cubicBezTo>
                      <a:pt x="6459" y="7460"/>
                      <a:pt x="6458" y="7460"/>
                      <a:pt x="6457" y="7459"/>
                    </a:cubicBezTo>
                    <a:cubicBezTo>
                      <a:pt x="6432" y="7452"/>
                      <a:pt x="6273" y="7417"/>
                      <a:pt x="6273" y="7417"/>
                    </a:cubicBezTo>
                    <a:close/>
                    <a:moveTo>
                      <a:pt x="4470" y="8025"/>
                    </a:moveTo>
                    <a:cubicBezTo>
                      <a:pt x="4456" y="8028"/>
                      <a:pt x="4456" y="8028"/>
                      <a:pt x="4456" y="8028"/>
                    </a:cubicBezTo>
                    <a:cubicBezTo>
                      <a:pt x="4523" y="8021"/>
                      <a:pt x="4611" y="8007"/>
                      <a:pt x="4702" y="7992"/>
                    </a:cubicBezTo>
                    <a:cubicBezTo>
                      <a:pt x="4688" y="7910"/>
                      <a:pt x="4688" y="7910"/>
                      <a:pt x="4688" y="7910"/>
                    </a:cubicBezTo>
                    <a:cubicBezTo>
                      <a:pt x="4452" y="7943"/>
                      <a:pt x="4452" y="7943"/>
                      <a:pt x="4452" y="7943"/>
                    </a:cubicBezTo>
                    <a:lnTo>
                      <a:pt x="4470" y="8025"/>
                    </a:lnTo>
                    <a:close/>
                    <a:moveTo>
                      <a:pt x="4086" y="7402"/>
                    </a:moveTo>
                    <a:cubicBezTo>
                      <a:pt x="4104" y="7391"/>
                      <a:pt x="4158" y="7354"/>
                      <a:pt x="4169" y="7346"/>
                    </a:cubicBezTo>
                    <a:cubicBezTo>
                      <a:pt x="4250" y="7107"/>
                      <a:pt x="4250" y="7107"/>
                      <a:pt x="4250" y="7107"/>
                    </a:cubicBezTo>
                    <a:cubicBezTo>
                      <a:pt x="4245" y="7106"/>
                      <a:pt x="4245" y="7106"/>
                      <a:pt x="4245" y="7106"/>
                    </a:cubicBezTo>
                    <a:cubicBezTo>
                      <a:pt x="4246" y="7098"/>
                      <a:pt x="4246" y="7098"/>
                      <a:pt x="4246" y="7098"/>
                    </a:cubicBezTo>
                    <a:cubicBezTo>
                      <a:pt x="4181" y="6998"/>
                      <a:pt x="4181" y="6998"/>
                      <a:pt x="4181" y="6998"/>
                    </a:cubicBezTo>
                    <a:cubicBezTo>
                      <a:pt x="4357" y="6630"/>
                      <a:pt x="4357" y="6630"/>
                      <a:pt x="4357" y="6630"/>
                    </a:cubicBezTo>
                    <a:cubicBezTo>
                      <a:pt x="4319" y="6556"/>
                      <a:pt x="4319" y="6556"/>
                      <a:pt x="4319" y="6556"/>
                    </a:cubicBezTo>
                    <a:cubicBezTo>
                      <a:pt x="4222" y="6513"/>
                      <a:pt x="4222" y="6513"/>
                      <a:pt x="4222" y="6513"/>
                    </a:cubicBezTo>
                    <a:cubicBezTo>
                      <a:pt x="3916" y="6912"/>
                      <a:pt x="3916" y="6912"/>
                      <a:pt x="3916" y="6912"/>
                    </a:cubicBezTo>
                    <a:cubicBezTo>
                      <a:pt x="3889" y="7077"/>
                      <a:pt x="3889" y="7077"/>
                      <a:pt x="3889" y="7077"/>
                    </a:cubicBezTo>
                    <a:cubicBezTo>
                      <a:pt x="3902" y="7231"/>
                      <a:pt x="3902" y="7231"/>
                      <a:pt x="3902" y="7231"/>
                    </a:cubicBezTo>
                    <a:cubicBezTo>
                      <a:pt x="3902" y="7231"/>
                      <a:pt x="3903" y="7231"/>
                      <a:pt x="3904" y="7232"/>
                    </a:cubicBezTo>
                    <a:cubicBezTo>
                      <a:pt x="3904" y="7232"/>
                      <a:pt x="3905" y="7233"/>
                      <a:pt x="3905" y="7233"/>
                    </a:cubicBezTo>
                    <a:cubicBezTo>
                      <a:pt x="3916" y="7244"/>
                      <a:pt x="4008" y="7330"/>
                      <a:pt x="4086" y="7402"/>
                    </a:cubicBezTo>
                    <a:close/>
                    <a:moveTo>
                      <a:pt x="3906" y="7239"/>
                    </a:moveTo>
                    <a:cubicBezTo>
                      <a:pt x="3906" y="7239"/>
                      <a:pt x="3906" y="7239"/>
                      <a:pt x="3906" y="7239"/>
                    </a:cubicBezTo>
                    <a:cubicBezTo>
                      <a:pt x="3906" y="7239"/>
                      <a:pt x="3906" y="7239"/>
                      <a:pt x="3906" y="7239"/>
                    </a:cubicBezTo>
                    <a:cubicBezTo>
                      <a:pt x="3906" y="7239"/>
                      <a:pt x="3906" y="7239"/>
                      <a:pt x="3906" y="7239"/>
                    </a:cubicBezTo>
                    <a:close/>
                    <a:moveTo>
                      <a:pt x="3902" y="7245"/>
                    </a:moveTo>
                    <a:cubicBezTo>
                      <a:pt x="3902" y="7245"/>
                      <a:pt x="3902" y="7245"/>
                      <a:pt x="3902" y="7245"/>
                    </a:cubicBezTo>
                    <a:cubicBezTo>
                      <a:pt x="3902" y="7245"/>
                      <a:pt x="3902" y="7245"/>
                      <a:pt x="3903" y="7245"/>
                    </a:cubicBezTo>
                    <a:cubicBezTo>
                      <a:pt x="3903" y="7245"/>
                      <a:pt x="3903" y="7245"/>
                      <a:pt x="3903" y="7244"/>
                    </a:cubicBezTo>
                    <a:cubicBezTo>
                      <a:pt x="3903" y="7245"/>
                      <a:pt x="3902" y="7245"/>
                      <a:pt x="3902" y="7245"/>
                    </a:cubicBezTo>
                    <a:close/>
                    <a:moveTo>
                      <a:pt x="3873" y="7076"/>
                    </a:moveTo>
                    <a:cubicBezTo>
                      <a:pt x="3898" y="6920"/>
                      <a:pt x="3898" y="6920"/>
                      <a:pt x="3898" y="6920"/>
                    </a:cubicBezTo>
                    <a:cubicBezTo>
                      <a:pt x="3701" y="6884"/>
                      <a:pt x="3701" y="6884"/>
                      <a:pt x="3701" y="6884"/>
                    </a:cubicBezTo>
                    <a:cubicBezTo>
                      <a:pt x="3700" y="6878"/>
                      <a:pt x="3700" y="6878"/>
                      <a:pt x="3700" y="6878"/>
                    </a:cubicBezTo>
                    <a:cubicBezTo>
                      <a:pt x="3700" y="6878"/>
                      <a:pt x="3699" y="6867"/>
                      <a:pt x="3698" y="6856"/>
                    </a:cubicBezTo>
                    <a:cubicBezTo>
                      <a:pt x="3697" y="6851"/>
                      <a:pt x="3696" y="6845"/>
                      <a:pt x="3695" y="6841"/>
                    </a:cubicBezTo>
                    <a:cubicBezTo>
                      <a:pt x="3695" y="6841"/>
                      <a:pt x="3695" y="6841"/>
                      <a:pt x="3695" y="6841"/>
                    </a:cubicBezTo>
                    <a:cubicBezTo>
                      <a:pt x="3681" y="6838"/>
                      <a:pt x="3647" y="6832"/>
                      <a:pt x="3612" y="6825"/>
                    </a:cubicBezTo>
                    <a:cubicBezTo>
                      <a:pt x="3591" y="6821"/>
                      <a:pt x="3570" y="6817"/>
                      <a:pt x="3554" y="6814"/>
                    </a:cubicBezTo>
                    <a:cubicBezTo>
                      <a:pt x="3547" y="6812"/>
                      <a:pt x="3540" y="6811"/>
                      <a:pt x="3536" y="6810"/>
                    </a:cubicBezTo>
                    <a:cubicBezTo>
                      <a:pt x="3535" y="6810"/>
                      <a:pt x="3535" y="6810"/>
                      <a:pt x="3535" y="6810"/>
                    </a:cubicBezTo>
                    <a:cubicBezTo>
                      <a:pt x="3441" y="7096"/>
                      <a:pt x="3441" y="7096"/>
                      <a:pt x="3441" y="7096"/>
                    </a:cubicBezTo>
                    <a:cubicBezTo>
                      <a:pt x="3559" y="7184"/>
                      <a:pt x="3691" y="7339"/>
                      <a:pt x="3699" y="7349"/>
                    </a:cubicBezTo>
                    <a:cubicBezTo>
                      <a:pt x="3854" y="7224"/>
                      <a:pt x="3854" y="7224"/>
                      <a:pt x="3854" y="7224"/>
                    </a:cubicBezTo>
                    <a:cubicBezTo>
                      <a:pt x="3857" y="7224"/>
                      <a:pt x="3857" y="7224"/>
                      <a:pt x="3857" y="7224"/>
                    </a:cubicBezTo>
                    <a:cubicBezTo>
                      <a:pt x="3857" y="7224"/>
                      <a:pt x="3873" y="7227"/>
                      <a:pt x="3885" y="7228"/>
                    </a:cubicBezTo>
                    <a:lnTo>
                      <a:pt x="3873" y="7076"/>
                    </a:lnTo>
                    <a:close/>
                    <a:moveTo>
                      <a:pt x="2512" y="7954"/>
                    </a:moveTo>
                    <a:cubicBezTo>
                      <a:pt x="2511" y="7954"/>
                      <a:pt x="2511" y="7954"/>
                      <a:pt x="2511" y="7954"/>
                    </a:cubicBezTo>
                    <a:cubicBezTo>
                      <a:pt x="2561" y="7967"/>
                      <a:pt x="2645" y="7989"/>
                      <a:pt x="2663" y="7995"/>
                    </a:cubicBezTo>
                    <a:cubicBezTo>
                      <a:pt x="2961" y="7773"/>
                      <a:pt x="2961" y="7773"/>
                      <a:pt x="2961" y="7773"/>
                    </a:cubicBezTo>
                    <a:cubicBezTo>
                      <a:pt x="2875" y="7517"/>
                      <a:pt x="2875" y="7517"/>
                      <a:pt x="2875" y="7517"/>
                    </a:cubicBezTo>
                    <a:cubicBezTo>
                      <a:pt x="2866" y="7517"/>
                      <a:pt x="2857" y="7518"/>
                      <a:pt x="2848" y="7518"/>
                    </a:cubicBezTo>
                    <a:cubicBezTo>
                      <a:pt x="2834" y="7518"/>
                      <a:pt x="2820" y="7517"/>
                      <a:pt x="2806" y="7515"/>
                    </a:cubicBezTo>
                    <a:cubicBezTo>
                      <a:pt x="2772" y="7511"/>
                      <a:pt x="2742" y="7504"/>
                      <a:pt x="2713" y="7495"/>
                    </a:cubicBezTo>
                    <a:cubicBezTo>
                      <a:pt x="2510" y="7953"/>
                      <a:pt x="2510" y="7953"/>
                      <a:pt x="2510" y="7953"/>
                    </a:cubicBezTo>
                    <a:lnTo>
                      <a:pt x="2512" y="7954"/>
                    </a:lnTo>
                    <a:close/>
                    <a:moveTo>
                      <a:pt x="1189" y="9306"/>
                    </a:moveTo>
                    <a:cubicBezTo>
                      <a:pt x="1190" y="9306"/>
                      <a:pt x="1190" y="9306"/>
                      <a:pt x="1190" y="9306"/>
                    </a:cubicBezTo>
                    <a:cubicBezTo>
                      <a:pt x="1146" y="9215"/>
                      <a:pt x="1146" y="9215"/>
                      <a:pt x="1146" y="9215"/>
                    </a:cubicBezTo>
                    <a:cubicBezTo>
                      <a:pt x="1065" y="9265"/>
                      <a:pt x="1065" y="9265"/>
                      <a:pt x="1065" y="9265"/>
                    </a:cubicBezTo>
                    <a:cubicBezTo>
                      <a:pt x="1071" y="9279"/>
                      <a:pt x="1085" y="9311"/>
                      <a:pt x="1102" y="9348"/>
                    </a:cubicBezTo>
                    <a:cubicBezTo>
                      <a:pt x="1189" y="9306"/>
                      <a:pt x="1189" y="9306"/>
                      <a:pt x="1189" y="9306"/>
                    </a:cubicBezTo>
                    <a:close/>
                    <a:moveTo>
                      <a:pt x="1198" y="9286"/>
                    </a:moveTo>
                    <a:cubicBezTo>
                      <a:pt x="1293" y="9239"/>
                      <a:pt x="1293" y="9239"/>
                      <a:pt x="1293" y="9239"/>
                    </a:cubicBezTo>
                    <a:cubicBezTo>
                      <a:pt x="1293" y="9238"/>
                      <a:pt x="1293" y="9238"/>
                      <a:pt x="1293" y="9238"/>
                    </a:cubicBezTo>
                    <a:cubicBezTo>
                      <a:pt x="1298" y="9235"/>
                      <a:pt x="1298" y="9235"/>
                      <a:pt x="1298" y="9235"/>
                    </a:cubicBezTo>
                    <a:cubicBezTo>
                      <a:pt x="1292" y="9222"/>
                      <a:pt x="1292" y="9222"/>
                      <a:pt x="1292" y="9222"/>
                    </a:cubicBezTo>
                    <a:cubicBezTo>
                      <a:pt x="1294" y="9221"/>
                      <a:pt x="1294" y="9221"/>
                      <a:pt x="1294" y="9221"/>
                    </a:cubicBezTo>
                    <a:cubicBezTo>
                      <a:pt x="1259" y="9144"/>
                      <a:pt x="1259" y="9144"/>
                      <a:pt x="1259" y="9144"/>
                    </a:cubicBezTo>
                    <a:cubicBezTo>
                      <a:pt x="1160" y="9207"/>
                      <a:pt x="1160" y="9207"/>
                      <a:pt x="1160" y="9207"/>
                    </a:cubicBezTo>
                    <a:lnTo>
                      <a:pt x="1198" y="9286"/>
                    </a:lnTo>
                    <a:close/>
                    <a:moveTo>
                      <a:pt x="2397" y="5317"/>
                    </a:moveTo>
                    <a:cubicBezTo>
                      <a:pt x="2413" y="5326"/>
                      <a:pt x="2430" y="5335"/>
                      <a:pt x="2447" y="5345"/>
                    </a:cubicBezTo>
                    <a:cubicBezTo>
                      <a:pt x="2497" y="5373"/>
                      <a:pt x="2547" y="5401"/>
                      <a:pt x="2586" y="5422"/>
                    </a:cubicBezTo>
                    <a:cubicBezTo>
                      <a:pt x="2605" y="5432"/>
                      <a:pt x="2622" y="5441"/>
                      <a:pt x="2633" y="5447"/>
                    </a:cubicBezTo>
                    <a:cubicBezTo>
                      <a:pt x="2638" y="5449"/>
                      <a:pt x="2642" y="5451"/>
                      <a:pt x="2645" y="5453"/>
                    </a:cubicBezTo>
                    <a:cubicBezTo>
                      <a:pt x="2648" y="5445"/>
                      <a:pt x="2652" y="5437"/>
                      <a:pt x="2655" y="5429"/>
                    </a:cubicBezTo>
                    <a:cubicBezTo>
                      <a:pt x="2668" y="5400"/>
                      <a:pt x="2681" y="5370"/>
                      <a:pt x="2693" y="5342"/>
                    </a:cubicBezTo>
                    <a:cubicBezTo>
                      <a:pt x="2444" y="5224"/>
                      <a:pt x="2444" y="5224"/>
                      <a:pt x="2444" y="5224"/>
                    </a:cubicBezTo>
                    <a:lnTo>
                      <a:pt x="2397" y="5317"/>
                    </a:lnTo>
                    <a:close/>
                    <a:moveTo>
                      <a:pt x="2450" y="5184"/>
                    </a:moveTo>
                    <a:cubicBezTo>
                      <a:pt x="2354" y="5138"/>
                      <a:pt x="2354" y="5138"/>
                      <a:pt x="2354" y="5138"/>
                    </a:cubicBezTo>
                    <a:cubicBezTo>
                      <a:pt x="2343" y="5160"/>
                      <a:pt x="2343" y="5160"/>
                      <a:pt x="2343" y="5160"/>
                    </a:cubicBezTo>
                    <a:cubicBezTo>
                      <a:pt x="2439" y="5205"/>
                      <a:pt x="2439" y="5205"/>
                      <a:pt x="2439" y="5205"/>
                    </a:cubicBezTo>
                    <a:lnTo>
                      <a:pt x="2450" y="5184"/>
                    </a:lnTo>
                    <a:close/>
                    <a:moveTo>
                      <a:pt x="2540" y="5066"/>
                    </a:moveTo>
                    <a:cubicBezTo>
                      <a:pt x="2563" y="5025"/>
                      <a:pt x="2563" y="5025"/>
                      <a:pt x="2563" y="5025"/>
                    </a:cubicBezTo>
                    <a:cubicBezTo>
                      <a:pt x="2467" y="4978"/>
                      <a:pt x="2467" y="4978"/>
                      <a:pt x="2467" y="4978"/>
                    </a:cubicBezTo>
                    <a:cubicBezTo>
                      <a:pt x="2442" y="5024"/>
                      <a:pt x="2442" y="5024"/>
                      <a:pt x="2442" y="5024"/>
                    </a:cubicBezTo>
                    <a:lnTo>
                      <a:pt x="2540" y="5066"/>
                    </a:lnTo>
                    <a:close/>
                    <a:moveTo>
                      <a:pt x="2436" y="5036"/>
                    </a:moveTo>
                    <a:cubicBezTo>
                      <a:pt x="2414" y="5077"/>
                      <a:pt x="2414" y="5077"/>
                      <a:pt x="2414" y="5077"/>
                    </a:cubicBezTo>
                    <a:cubicBezTo>
                      <a:pt x="2508" y="5123"/>
                      <a:pt x="2508" y="5123"/>
                      <a:pt x="2508" y="5123"/>
                    </a:cubicBezTo>
                    <a:cubicBezTo>
                      <a:pt x="2533" y="5078"/>
                      <a:pt x="2533" y="5078"/>
                      <a:pt x="2533" y="5078"/>
                    </a:cubicBezTo>
                    <a:lnTo>
                      <a:pt x="2436" y="5036"/>
                    </a:lnTo>
                    <a:close/>
                    <a:moveTo>
                      <a:pt x="2552" y="5071"/>
                    </a:moveTo>
                    <a:cubicBezTo>
                      <a:pt x="2771" y="5166"/>
                      <a:pt x="2771" y="5166"/>
                      <a:pt x="2771" y="5166"/>
                    </a:cubicBezTo>
                    <a:cubicBezTo>
                      <a:pt x="2775" y="5159"/>
                      <a:pt x="2778" y="5152"/>
                      <a:pt x="2781" y="5146"/>
                    </a:cubicBezTo>
                    <a:cubicBezTo>
                      <a:pt x="2798" y="5107"/>
                      <a:pt x="2813" y="5075"/>
                      <a:pt x="2823" y="5052"/>
                    </a:cubicBezTo>
                    <a:cubicBezTo>
                      <a:pt x="2826" y="5047"/>
                      <a:pt x="2828" y="5041"/>
                      <a:pt x="2831" y="5037"/>
                    </a:cubicBezTo>
                    <a:cubicBezTo>
                      <a:pt x="2457" y="4919"/>
                      <a:pt x="2457" y="4919"/>
                      <a:pt x="2457" y="4919"/>
                    </a:cubicBezTo>
                    <a:cubicBezTo>
                      <a:pt x="2407" y="5009"/>
                      <a:pt x="2407" y="5009"/>
                      <a:pt x="2407" y="5009"/>
                    </a:cubicBezTo>
                    <a:cubicBezTo>
                      <a:pt x="2430" y="5019"/>
                      <a:pt x="2430" y="5019"/>
                      <a:pt x="2430" y="5019"/>
                    </a:cubicBezTo>
                    <a:cubicBezTo>
                      <a:pt x="2461" y="4961"/>
                      <a:pt x="2461" y="4961"/>
                      <a:pt x="2461" y="4961"/>
                    </a:cubicBezTo>
                    <a:cubicBezTo>
                      <a:pt x="2581" y="5019"/>
                      <a:pt x="2581" y="5019"/>
                      <a:pt x="2581" y="5019"/>
                    </a:cubicBezTo>
                    <a:cubicBezTo>
                      <a:pt x="2578" y="5025"/>
                      <a:pt x="2578" y="5025"/>
                      <a:pt x="2578" y="5025"/>
                    </a:cubicBezTo>
                    <a:lnTo>
                      <a:pt x="2552" y="5071"/>
                    </a:lnTo>
                    <a:close/>
                    <a:moveTo>
                      <a:pt x="2976" y="4623"/>
                    </a:moveTo>
                    <a:cubicBezTo>
                      <a:pt x="2940" y="4648"/>
                      <a:pt x="2940" y="4648"/>
                      <a:pt x="2940" y="4648"/>
                    </a:cubicBezTo>
                    <a:cubicBezTo>
                      <a:pt x="2964" y="4683"/>
                      <a:pt x="2964" y="4683"/>
                      <a:pt x="2964" y="4683"/>
                    </a:cubicBezTo>
                    <a:cubicBezTo>
                      <a:pt x="2926" y="4710"/>
                      <a:pt x="2926" y="4710"/>
                      <a:pt x="2926" y="4710"/>
                    </a:cubicBezTo>
                    <a:cubicBezTo>
                      <a:pt x="2960" y="4759"/>
                      <a:pt x="2960" y="4759"/>
                      <a:pt x="2960" y="4759"/>
                    </a:cubicBezTo>
                    <a:cubicBezTo>
                      <a:pt x="3039" y="4704"/>
                      <a:pt x="3039" y="4704"/>
                      <a:pt x="3039" y="4704"/>
                    </a:cubicBezTo>
                    <a:lnTo>
                      <a:pt x="2976" y="4623"/>
                    </a:lnTo>
                    <a:close/>
                    <a:moveTo>
                      <a:pt x="3051" y="4696"/>
                    </a:moveTo>
                    <a:cubicBezTo>
                      <a:pt x="3112" y="4654"/>
                      <a:pt x="3112" y="4654"/>
                      <a:pt x="3112" y="4654"/>
                    </a:cubicBezTo>
                    <a:cubicBezTo>
                      <a:pt x="3077" y="4605"/>
                      <a:pt x="3077" y="4605"/>
                      <a:pt x="3077" y="4605"/>
                    </a:cubicBezTo>
                    <a:cubicBezTo>
                      <a:pt x="3039" y="4632"/>
                      <a:pt x="3039" y="4632"/>
                      <a:pt x="3039" y="4632"/>
                    </a:cubicBezTo>
                    <a:cubicBezTo>
                      <a:pt x="3014" y="4596"/>
                      <a:pt x="3014" y="4596"/>
                      <a:pt x="3014" y="4596"/>
                    </a:cubicBezTo>
                    <a:cubicBezTo>
                      <a:pt x="2987" y="4615"/>
                      <a:pt x="2987" y="4615"/>
                      <a:pt x="2987" y="4615"/>
                    </a:cubicBezTo>
                    <a:lnTo>
                      <a:pt x="3051" y="4696"/>
                    </a:lnTo>
                    <a:close/>
                    <a:moveTo>
                      <a:pt x="2968" y="4612"/>
                    </a:moveTo>
                    <a:cubicBezTo>
                      <a:pt x="2858" y="4471"/>
                      <a:pt x="2858" y="4471"/>
                      <a:pt x="2858" y="4471"/>
                    </a:cubicBezTo>
                    <a:cubicBezTo>
                      <a:pt x="2840" y="4492"/>
                      <a:pt x="2763" y="4583"/>
                      <a:pt x="2684" y="4675"/>
                    </a:cubicBezTo>
                    <a:cubicBezTo>
                      <a:pt x="2639" y="4727"/>
                      <a:pt x="2594" y="4779"/>
                      <a:pt x="2559" y="4818"/>
                    </a:cubicBezTo>
                    <a:cubicBezTo>
                      <a:pt x="2542" y="4838"/>
                      <a:pt x="2528" y="4854"/>
                      <a:pt x="2517" y="4865"/>
                    </a:cubicBezTo>
                    <a:cubicBezTo>
                      <a:pt x="2516" y="4866"/>
                      <a:pt x="2515" y="4867"/>
                      <a:pt x="2514" y="4868"/>
                    </a:cubicBezTo>
                    <a:cubicBezTo>
                      <a:pt x="2904" y="4991"/>
                      <a:pt x="2904" y="4991"/>
                      <a:pt x="2904" y="4991"/>
                    </a:cubicBezTo>
                    <a:cubicBezTo>
                      <a:pt x="2914" y="4967"/>
                      <a:pt x="2934" y="4918"/>
                      <a:pt x="2950" y="4880"/>
                    </a:cubicBezTo>
                    <a:cubicBezTo>
                      <a:pt x="2967" y="4840"/>
                      <a:pt x="2996" y="4782"/>
                      <a:pt x="3059" y="4730"/>
                    </a:cubicBezTo>
                    <a:cubicBezTo>
                      <a:pt x="3047" y="4715"/>
                      <a:pt x="3047" y="4715"/>
                      <a:pt x="3047" y="4715"/>
                    </a:cubicBezTo>
                    <a:cubicBezTo>
                      <a:pt x="2957" y="4777"/>
                      <a:pt x="2957" y="4777"/>
                      <a:pt x="2957" y="4777"/>
                    </a:cubicBezTo>
                    <a:cubicBezTo>
                      <a:pt x="2953" y="4772"/>
                      <a:pt x="2953" y="4772"/>
                      <a:pt x="2953" y="4772"/>
                    </a:cubicBezTo>
                    <a:cubicBezTo>
                      <a:pt x="2908" y="4706"/>
                      <a:pt x="2908" y="4706"/>
                      <a:pt x="2908" y="4706"/>
                    </a:cubicBezTo>
                    <a:cubicBezTo>
                      <a:pt x="2946" y="4680"/>
                      <a:pt x="2946" y="4680"/>
                      <a:pt x="2946" y="4680"/>
                    </a:cubicBezTo>
                    <a:cubicBezTo>
                      <a:pt x="2922" y="4644"/>
                      <a:pt x="2922" y="4644"/>
                      <a:pt x="2922" y="4644"/>
                    </a:cubicBezTo>
                    <a:lnTo>
                      <a:pt x="2968" y="4612"/>
                    </a:lnTo>
                    <a:close/>
                    <a:moveTo>
                      <a:pt x="3468" y="4736"/>
                    </a:moveTo>
                    <a:cubicBezTo>
                      <a:pt x="3393" y="4721"/>
                      <a:pt x="3334" y="4710"/>
                      <a:pt x="3285" y="4710"/>
                    </a:cubicBezTo>
                    <a:cubicBezTo>
                      <a:pt x="3244" y="4710"/>
                      <a:pt x="3210" y="4717"/>
                      <a:pt x="3174" y="4734"/>
                    </a:cubicBezTo>
                    <a:cubicBezTo>
                      <a:pt x="3079" y="4780"/>
                      <a:pt x="3042" y="4837"/>
                      <a:pt x="3020" y="4884"/>
                    </a:cubicBezTo>
                    <a:cubicBezTo>
                      <a:pt x="3264" y="4966"/>
                      <a:pt x="3264" y="4966"/>
                      <a:pt x="3264" y="4966"/>
                    </a:cubicBezTo>
                    <a:cubicBezTo>
                      <a:pt x="3418" y="5052"/>
                      <a:pt x="3418" y="5052"/>
                      <a:pt x="3418" y="5052"/>
                    </a:cubicBezTo>
                    <a:cubicBezTo>
                      <a:pt x="3411" y="5064"/>
                      <a:pt x="3411" y="5064"/>
                      <a:pt x="3411" y="5064"/>
                    </a:cubicBezTo>
                    <a:cubicBezTo>
                      <a:pt x="3258" y="4979"/>
                      <a:pt x="3258" y="4979"/>
                      <a:pt x="3258" y="4979"/>
                    </a:cubicBezTo>
                    <a:cubicBezTo>
                      <a:pt x="3014" y="4897"/>
                      <a:pt x="3014" y="4897"/>
                      <a:pt x="3014" y="4897"/>
                    </a:cubicBezTo>
                    <a:cubicBezTo>
                      <a:pt x="3013" y="4900"/>
                      <a:pt x="3012" y="4903"/>
                      <a:pt x="3011" y="4905"/>
                    </a:cubicBezTo>
                    <a:cubicBezTo>
                      <a:pt x="2996" y="4941"/>
                      <a:pt x="2978" y="4985"/>
                      <a:pt x="2967" y="5011"/>
                    </a:cubicBezTo>
                    <a:cubicBezTo>
                      <a:pt x="2970" y="5012"/>
                      <a:pt x="2970" y="5012"/>
                      <a:pt x="2970" y="5012"/>
                    </a:cubicBezTo>
                    <a:cubicBezTo>
                      <a:pt x="3262" y="5237"/>
                      <a:pt x="3262" y="5237"/>
                      <a:pt x="3262" y="5237"/>
                    </a:cubicBezTo>
                    <a:cubicBezTo>
                      <a:pt x="3462" y="5011"/>
                      <a:pt x="3462" y="5011"/>
                      <a:pt x="3462" y="5011"/>
                    </a:cubicBezTo>
                    <a:cubicBezTo>
                      <a:pt x="3558" y="4755"/>
                      <a:pt x="3558" y="4755"/>
                      <a:pt x="3558" y="4755"/>
                    </a:cubicBezTo>
                    <a:cubicBezTo>
                      <a:pt x="3526" y="4748"/>
                      <a:pt x="3497" y="4742"/>
                      <a:pt x="3470" y="4736"/>
                    </a:cubicBezTo>
                    <a:cubicBezTo>
                      <a:pt x="3542" y="4756"/>
                      <a:pt x="3542" y="4756"/>
                      <a:pt x="3542" y="4756"/>
                    </a:cubicBezTo>
                    <a:cubicBezTo>
                      <a:pt x="3502" y="4902"/>
                      <a:pt x="3502" y="4902"/>
                      <a:pt x="3502" y="4902"/>
                    </a:cubicBezTo>
                    <a:cubicBezTo>
                      <a:pt x="3429" y="4882"/>
                      <a:pt x="3429" y="4882"/>
                      <a:pt x="3429" y="4882"/>
                    </a:cubicBezTo>
                    <a:cubicBezTo>
                      <a:pt x="3431" y="4876"/>
                      <a:pt x="3431" y="4876"/>
                      <a:pt x="3431" y="4876"/>
                    </a:cubicBezTo>
                    <a:lnTo>
                      <a:pt x="3468" y="4736"/>
                    </a:lnTo>
                    <a:close/>
                    <a:moveTo>
                      <a:pt x="3445" y="4873"/>
                    </a:moveTo>
                    <a:cubicBezTo>
                      <a:pt x="3493" y="4886"/>
                      <a:pt x="3493" y="4886"/>
                      <a:pt x="3493" y="4886"/>
                    </a:cubicBezTo>
                    <a:cubicBezTo>
                      <a:pt x="3525" y="4765"/>
                      <a:pt x="3525" y="4765"/>
                      <a:pt x="3525" y="4765"/>
                    </a:cubicBezTo>
                    <a:cubicBezTo>
                      <a:pt x="3478" y="4752"/>
                      <a:pt x="3478" y="4752"/>
                      <a:pt x="3478" y="4752"/>
                    </a:cubicBezTo>
                    <a:lnTo>
                      <a:pt x="3445" y="4873"/>
                    </a:lnTo>
                    <a:close/>
                    <a:moveTo>
                      <a:pt x="3576" y="4586"/>
                    </a:moveTo>
                    <a:cubicBezTo>
                      <a:pt x="3585" y="4544"/>
                      <a:pt x="3585" y="4544"/>
                      <a:pt x="3585" y="4544"/>
                    </a:cubicBezTo>
                    <a:cubicBezTo>
                      <a:pt x="3523" y="4532"/>
                      <a:pt x="3523" y="4532"/>
                      <a:pt x="3523" y="4532"/>
                    </a:cubicBezTo>
                    <a:cubicBezTo>
                      <a:pt x="3533" y="4639"/>
                      <a:pt x="3533" y="4639"/>
                      <a:pt x="3533" y="4639"/>
                    </a:cubicBezTo>
                    <a:cubicBezTo>
                      <a:pt x="3611" y="4654"/>
                      <a:pt x="3611" y="4654"/>
                      <a:pt x="3611" y="4654"/>
                    </a:cubicBezTo>
                    <a:cubicBezTo>
                      <a:pt x="3623" y="4595"/>
                      <a:pt x="3623" y="4595"/>
                      <a:pt x="3623" y="4595"/>
                    </a:cubicBezTo>
                    <a:lnTo>
                      <a:pt x="3576" y="4586"/>
                    </a:lnTo>
                    <a:close/>
                    <a:moveTo>
                      <a:pt x="4850" y="5431"/>
                    </a:moveTo>
                    <a:cubicBezTo>
                      <a:pt x="4850" y="5483"/>
                      <a:pt x="4845" y="5518"/>
                      <a:pt x="4845" y="5519"/>
                    </a:cubicBezTo>
                    <a:cubicBezTo>
                      <a:pt x="4845" y="5521"/>
                      <a:pt x="4845" y="5521"/>
                      <a:pt x="4845" y="5521"/>
                    </a:cubicBezTo>
                    <a:cubicBezTo>
                      <a:pt x="4845" y="5522"/>
                      <a:pt x="4845" y="5522"/>
                      <a:pt x="4845" y="5522"/>
                    </a:cubicBezTo>
                    <a:cubicBezTo>
                      <a:pt x="4845" y="5522"/>
                      <a:pt x="4835" y="5568"/>
                      <a:pt x="4819" y="5643"/>
                    </a:cubicBezTo>
                    <a:cubicBezTo>
                      <a:pt x="5372" y="5660"/>
                      <a:pt x="5372" y="5660"/>
                      <a:pt x="5372" y="5660"/>
                    </a:cubicBezTo>
                    <a:cubicBezTo>
                      <a:pt x="5423" y="5229"/>
                      <a:pt x="5423" y="5229"/>
                      <a:pt x="5423" y="5229"/>
                    </a:cubicBezTo>
                    <a:cubicBezTo>
                      <a:pt x="4844" y="5330"/>
                      <a:pt x="4844" y="5330"/>
                      <a:pt x="4844" y="5330"/>
                    </a:cubicBezTo>
                    <a:cubicBezTo>
                      <a:pt x="4848" y="5367"/>
                      <a:pt x="4850" y="5402"/>
                      <a:pt x="4850" y="5431"/>
                    </a:cubicBezTo>
                    <a:close/>
                    <a:moveTo>
                      <a:pt x="5738" y="5720"/>
                    </a:moveTo>
                    <a:cubicBezTo>
                      <a:pt x="5668" y="5782"/>
                      <a:pt x="5668" y="5782"/>
                      <a:pt x="5668" y="5782"/>
                    </a:cubicBezTo>
                    <a:cubicBezTo>
                      <a:pt x="5762" y="5888"/>
                      <a:pt x="5762" y="5888"/>
                      <a:pt x="5762" y="5888"/>
                    </a:cubicBezTo>
                    <a:cubicBezTo>
                      <a:pt x="5867" y="5794"/>
                      <a:pt x="5867" y="5794"/>
                      <a:pt x="5867" y="5794"/>
                    </a:cubicBezTo>
                    <a:cubicBezTo>
                      <a:pt x="5809" y="5728"/>
                      <a:pt x="5809" y="5728"/>
                      <a:pt x="5809" y="5728"/>
                    </a:cubicBezTo>
                    <a:cubicBezTo>
                      <a:pt x="5738" y="5720"/>
                      <a:pt x="5738" y="5720"/>
                      <a:pt x="5738" y="5720"/>
                    </a:cubicBezTo>
                    <a:close/>
                    <a:moveTo>
                      <a:pt x="5880" y="5651"/>
                    </a:moveTo>
                    <a:cubicBezTo>
                      <a:pt x="5789" y="5541"/>
                      <a:pt x="5789" y="5541"/>
                      <a:pt x="5789" y="5541"/>
                    </a:cubicBezTo>
                    <a:cubicBezTo>
                      <a:pt x="5675" y="5641"/>
                      <a:pt x="5675" y="5641"/>
                      <a:pt x="5675" y="5641"/>
                    </a:cubicBezTo>
                    <a:cubicBezTo>
                      <a:pt x="5725" y="5704"/>
                      <a:pt x="5725" y="5704"/>
                      <a:pt x="5725" y="5704"/>
                    </a:cubicBezTo>
                    <a:cubicBezTo>
                      <a:pt x="5807" y="5714"/>
                      <a:pt x="5807" y="5714"/>
                      <a:pt x="5807" y="5714"/>
                    </a:cubicBezTo>
                    <a:lnTo>
                      <a:pt x="5880" y="5651"/>
                    </a:lnTo>
                    <a:close/>
                    <a:moveTo>
                      <a:pt x="5719" y="5717"/>
                    </a:moveTo>
                    <a:cubicBezTo>
                      <a:pt x="5385" y="5676"/>
                      <a:pt x="5385" y="5676"/>
                      <a:pt x="5385" y="5676"/>
                    </a:cubicBezTo>
                    <a:cubicBezTo>
                      <a:pt x="5343" y="6032"/>
                      <a:pt x="5343" y="6032"/>
                      <a:pt x="5343" y="6032"/>
                    </a:cubicBezTo>
                    <a:cubicBezTo>
                      <a:pt x="5890" y="6134"/>
                      <a:pt x="5890" y="6134"/>
                      <a:pt x="5890" y="6134"/>
                    </a:cubicBezTo>
                    <a:cubicBezTo>
                      <a:pt x="5955" y="5747"/>
                      <a:pt x="5955" y="5747"/>
                      <a:pt x="5955" y="5747"/>
                    </a:cubicBezTo>
                    <a:cubicBezTo>
                      <a:pt x="5829" y="5731"/>
                      <a:pt x="5829" y="5731"/>
                      <a:pt x="5829" y="5731"/>
                    </a:cubicBezTo>
                    <a:cubicBezTo>
                      <a:pt x="5886" y="5795"/>
                      <a:pt x="5886" y="5795"/>
                      <a:pt x="5886" y="5795"/>
                    </a:cubicBezTo>
                    <a:cubicBezTo>
                      <a:pt x="5761" y="5906"/>
                      <a:pt x="5761" y="5906"/>
                      <a:pt x="5761" y="5906"/>
                    </a:cubicBezTo>
                    <a:cubicBezTo>
                      <a:pt x="5650" y="5781"/>
                      <a:pt x="5650" y="5781"/>
                      <a:pt x="5650" y="5781"/>
                    </a:cubicBezTo>
                    <a:cubicBezTo>
                      <a:pt x="5720" y="5719"/>
                      <a:pt x="5720" y="5719"/>
                      <a:pt x="5720" y="5719"/>
                    </a:cubicBezTo>
                    <a:lnTo>
                      <a:pt x="5719" y="5717"/>
                    </a:lnTo>
                    <a:close/>
                    <a:moveTo>
                      <a:pt x="7799" y="6595"/>
                    </a:moveTo>
                    <a:cubicBezTo>
                      <a:pt x="7799" y="6595"/>
                      <a:pt x="7853" y="6479"/>
                      <a:pt x="7874" y="6433"/>
                    </a:cubicBezTo>
                    <a:cubicBezTo>
                      <a:pt x="7820" y="6427"/>
                      <a:pt x="7766" y="6421"/>
                      <a:pt x="7714" y="6416"/>
                    </a:cubicBezTo>
                    <a:cubicBezTo>
                      <a:pt x="7661" y="6410"/>
                      <a:pt x="7609" y="6404"/>
                      <a:pt x="7559" y="6398"/>
                    </a:cubicBezTo>
                    <a:cubicBezTo>
                      <a:pt x="7560" y="6402"/>
                      <a:pt x="7561" y="6406"/>
                      <a:pt x="7562" y="6411"/>
                    </a:cubicBezTo>
                    <a:cubicBezTo>
                      <a:pt x="7628" y="6416"/>
                      <a:pt x="7628" y="6416"/>
                      <a:pt x="7628" y="6416"/>
                    </a:cubicBezTo>
                    <a:cubicBezTo>
                      <a:pt x="7625" y="6459"/>
                      <a:pt x="7625" y="6459"/>
                      <a:pt x="7625" y="6459"/>
                    </a:cubicBezTo>
                    <a:cubicBezTo>
                      <a:pt x="7672" y="6462"/>
                      <a:pt x="7672" y="6462"/>
                      <a:pt x="7672" y="6462"/>
                    </a:cubicBezTo>
                    <a:cubicBezTo>
                      <a:pt x="7666" y="6548"/>
                      <a:pt x="7666" y="6548"/>
                      <a:pt x="7666" y="6548"/>
                    </a:cubicBezTo>
                    <a:cubicBezTo>
                      <a:pt x="7592" y="6543"/>
                      <a:pt x="7592" y="6543"/>
                      <a:pt x="7592" y="6543"/>
                    </a:cubicBezTo>
                    <a:cubicBezTo>
                      <a:pt x="7595" y="6556"/>
                      <a:pt x="7598" y="6569"/>
                      <a:pt x="7601" y="6581"/>
                    </a:cubicBezTo>
                    <a:cubicBezTo>
                      <a:pt x="7603" y="6581"/>
                      <a:pt x="7605" y="6581"/>
                      <a:pt x="7607" y="6581"/>
                    </a:cubicBezTo>
                    <a:cubicBezTo>
                      <a:pt x="7639" y="6581"/>
                      <a:pt x="7790" y="6597"/>
                      <a:pt x="7791" y="6597"/>
                    </a:cubicBezTo>
                    <a:cubicBezTo>
                      <a:pt x="7791" y="6597"/>
                      <a:pt x="7791" y="6597"/>
                      <a:pt x="7791" y="6597"/>
                    </a:cubicBezTo>
                    <a:cubicBezTo>
                      <a:pt x="7991" y="6647"/>
                      <a:pt x="7991" y="6647"/>
                      <a:pt x="7991" y="6647"/>
                    </a:cubicBezTo>
                    <a:cubicBezTo>
                      <a:pt x="8003" y="6589"/>
                      <a:pt x="8003" y="6589"/>
                      <a:pt x="8003" y="6589"/>
                    </a:cubicBezTo>
                    <a:cubicBezTo>
                      <a:pt x="7911" y="6583"/>
                      <a:pt x="7911" y="6583"/>
                      <a:pt x="7911" y="6583"/>
                    </a:cubicBezTo>
                    <a:cubicBezTo>
                      <a:pt x="7911" y="6576"/>
                      <a:pt x="7911" y="6576"/>
                      <a:pt x="7911" y="6576"/>
                    </a:cubicBezTo>
                    <a:cubicBezTo>
                      <a:pt x="7917" y="6497"/>
                      <a:pt x="7917" y="6497"/>
                      <a:pt x="7917" y="6497"/>
                    </a:cubicBezTo>
                    <a:cubicBezTo>
                      <a:pt x="7964" y="6500"/>
                      <a:pt x="7964" y="6500"/>
                      <a:pt x="7964" y="6500"/>
                    </a:cubicBezTo>
                    <a:cubicBezTo>
                      <a:pt x="7967" y="6457"/>
                      <a:pt x="7967" y="6457"/>
                      <a:pt x="7967" y="6457"/>
                    </a:cubicBezTo>
                    <a:cubicBezTo>
                      <a:pt x="8031" y="6462"/>
                      <a:pt x="8031" y="6462"/>
                      <a:pt x="8031" y="6462"/>
                    </a:cubicBezTo>
                    <a:cubicBezTo>
                      <a:pt x="8032" y="6454"/>
                      <a:pt x="8032" y="6454"/>
                      <a:pt x="8032" y="6454"/>
                    </a:cubicBezTo>
                    <a:cubicBezTo>
                      <a:pt x="8046" y="6457"/>
                      <a:pt x="8046" y="6457"/>
                      <a:pt x="8046" y="6457"/>
                    </a:cubicBezTo>
                    <a:cubicBezTo>
                      <a:pt x="8045" y="6463"/>
                      <a:pt x="8045" y="6463"/>
                      <a:pt x="8045" y="6463"/>
                    </a:cubicBezTo>
                    <a:cubicBezTo>
                      <a:pt x="8083" y="6465"/>
                      <a:pt x="8083" y="6465"/>
                      <a:pt x="8083" y="6465"/>
                    </a:cubicBezTo>
                    <a:cubicBezTo>
                      <a:pt x="8080" y="6508"/>
                      <a:pt x="8080" y="6508"/>
                      <a:pt x="8080" y="6508"/>
                    </a:cubicBezTo>
                    <a:cubicBezTo>
                      <a:pt x="8127" y="6512"/>
                      <a:pt x="8127" y="6512"/>
                      <a:pt x="8127" y="6512"/>
                    </a:cubicBezTo>
                    <a:cubicBezTo>
                      <a:pt x="8121" y="6598"/>
                      <a:pt x="8121" y="6598"/>
                      <a:pt x="8121" y="6598"/>
                    </a:cubicBezTo>
                    <a:cubicBezTo>
                      <a:pt x="8017" y="6590"/>
                      <a:pt x="8017" y="6590"/>
                      <a:pt x="8017" y="6590"/>
                    </a:cubicBezTo>
                    <a:cubicBezTo>
                      <a:pt x="8005" y="6649"/>
                      <a:pt x="8005" y="6649"/>
                      <a:pt x="8005" y="6649"/>
                    </a:cubicBezTo>
                    <a:cubicBezTo>
                      <a:pt x="8163" y="6655"/>
                      <a:pt x="8163" y="6655"/>
                      <a:pt x="8163" y="6655"/>
                    </a:cubicBezTo>
                    <a:cubicBezTo>
                      <a:pt x="8162" y="6669"/>
                      <a:pt x="8162" y="6669"/>
                      <a:pt x="8162" y="6669"/>
                    </a:cubicBezTo>
                    <a:cubicBezTo>
                      <a:pt x="7995" y="6663"/>
                      <a:pt x="7995" y="6663"/>
                      <a:pt x="7995" y="6663"/>
                    </a:cubicBezTo>
                    <a:cubicBezTo>
                      <a:pt x="7789" y="6611"/>
                      <a:pt x="7789" y="6611"/>
                      <a:pt x="7789" y="6611"/>
                    </a:cubicBezTo>
                    <a:cubicBezTo>
                      <a:pt x="7780" y="6610"/>
                      <a:pt x="7636" y="6595"/>
                      <a:pt x="7607" y="6595"/>
                    </a:cubicBezTo>
                    <a:cubicBezTo>
                      <a:pt x="7606" y="6595"/>
                      <a:pt x="7605" y="6595"/>
                      <a:pt x="7604" y="6595"/>
                    </a:cubicBezTo>
                    <a:cubicBezTo>
                      <a:pt x="7604" y="6595"/>
                      <a:pt x="7604" y="6595"/>
                      <a:pt x="7604" y="6595"/>
                    </a:cubicBezTo>
                    <a:cubicBezTo>
                      <a:pt x="7603" y="6591"/>
                      <a:pt x="7603" y="6591"/>
                      <a:pt x="7603" y="6591"/>
                    </a:cubicBezTo>
                    <a:cubicBezTo>
                      <a:pt x="7613" y="6636"/>
                      <a:pt x="7620" y="6673"/>
                      <a:pt x="7621" y="6685"/>
                    </a:cubicBezTo>
                    <a:cubicBezTo>
                      <a:pt x="7751" y="6780"/>
                      <a:pt x="7751" y="6780"/>
                      <a:pt x="7751" y="6780"/>
                    </a:cubicBezTo>
                    <a:cubicBezTo>
                      <a:pt x="7743" y="6791"/>
                      <a:pt x="7743" y="6791"/>
                      <a:pt x="7743" y="6791"/>
                    </a:cubicBezTo>
                    <a:cubicBezTo>
                      <a:pt x="7614" y="6697"/>
                      <a:pt x="7614" y="6697"/>
                      <a:pt x="7614" y="6697"/>
                    </a:cubicBezTo>
                    <a:cubicBezTo>
                      <a:pt x="7605" y="6697"/>
                      <a:pt x="7511" y="6704"/>
                      <a:pt x="7488" y="6706"/>
                    </a:cubicBezTo>
                    <a:cubicBezTo>
                      <a:pt x="7457" y="6858"/>
                      <a:pt x="7457" y="6858"/>
                      <a:pt x="7457" y="6858"/>
                    </a:cubicBezTo>
                    <a:cubicBezTo>
                      <a:pt x="7515" y="6897"/>
                      <a:pt x="7780" y="7094"/>
                      <a:pt x="7819" y="7124"/>
                    </a:cubicBezTo>
                    <a:cubicBezTo>
                      <a:pt x="7884" y="7081"/>
                      <a:pt x="7884" y="7081"/>
                      <a:pt x="7884" y="7081"/>
                    </a:cubicBezTo>
                    <a:cubicBezTo>
                      <a:pt x="7879" y="7077"/>
                      <a:pt x="7879" y="7077"/>
                      <a:pt x="7879" y="7077"/>
                    </a:cubicBezTo>
                    <a:cubicBezTo>
                      <a:pt x="7760" y="6994"/>
                      <a:pt x="7760" y="6994"/>
                      <a:pt x="7760" y="6994"/>
                    </a:cubicBezTo>
                    <a:cubicBezTo>
                      <a:pt x="7804" y="6932"/>
                      <a:pt x="7804" y="6932"/>
                      <a:pt x="7804" y="6932"/>
                    </a:cubicBezTo>
                    <a:cubicBezTo>
                      <a:pt x="7928" y="7019"/>
                      <a:pt x="7928" y="7019"/>
                      <a:pt x="7928" y="7019"/>
                    </a:cubicBezTo>
                    <a:cubicBezTo>
                      <a:pt x="7886" y="7079"/>
                      <a:pt x="7886" y="7079"/>
                      <a:pt x="7886" y="7079"/>
                    </a:cubicBezTo>
                    <a:cubicBezTo>
                      <a:pt x="8011" y="6995"/>
                      <a:pt x="8011" y="6995"/>
                      <a:pt x="8011" y="6995"/>
                    </a:cubicBezTo>
                    <a:cubicBezTo>
                      <a:pt x="7702" y="6859"/>
                      <a:pt x="7702" y="6859"/>
                      <a:pt x="7702" y="6859"/>
                    </a:cubicBezTo>
                    <a:cubicBezTo>
                      <a:pt x="7780" y="6741"/>
                      <a:pt x="7780" y="6741"/>
                      <a:pt x="7780" y="6741"/>
                    </a:cubicBezTo>
                    <a:cubicBezTo>
                      <a:pt x="8135" y="6818"/>
                      <a:pt x="8135" y="6818"/>
                      <a:pt x="8135" y="6818"/>
                    </a:cubicBezTo>
                    <a:cubicBezTo>
                      <a:pt x="8171" y="6658"/>
                      <a:pt x="8171" y="6658"/>
                      <a:pt x="8171" y="6658"/>
                    </a:cubicBezTo>
                    <a:cubicBezTo>
                      <a:pt x="8187" y="6469"/>
                      <a:pt x="8187" y="6469"/>
                      <a:pt x="8187" y="6469"/>
                    </a:cubicBezTo>
                    <a:cubicBezTo>
                      <a:pt x="8094" y="6458"/>
                      <a:pt x="7992" y="6447"/>
                      <a:pt x="7888" y="6435"/>
                    </a:cubicBezTo>
                    <a:cubicBezTo>
                      <a:pt x="7869" y="6476"/>
                      <a:pt x="7812" y="6600"/>
                      <a:pt x="7812" y="6600"/>
                    </a:cubicBezTo>
                    <a:lnTo>
                      <a:pt x="7799" y="6595"/>
                    </a:lnTo>
                    <a:close/>
                    <a:moveTo>
                      <a:pt x="8024" y="6985"/>
                    </a:moveTo>
                    <a:cubicBezTo>
                      <a:pt x="8023" y="6987"/>
                      <a:pt x="8023" y="6987"/>
                      <a:pt x="8023" y="6987"/>
                    </a:cubicBezTo>
                    <a:cubicBezTo>
                      <a:pt x="8056" y="6965"/>
                      <a:pt x="8056" y="6965"/>
                      <a:pt x="8056" y="6965"/>
                    </a:cubicBezTo>
                    <a:cubicBezTo>
                      <a:pt x="8131" y="6835"/>
                      <a:pt x="8131" y="6835"/>
                      <a:pt x="8131" y="6835"/>
                    </a:cubicBezTo>
                    <a:cubicBezTo>
                      <a:pt x="8132" y="6831"/>
                      <a:pt x="8132" y="6831"/>
                      <a:pt x="8132" y="6831"/>
                    </a:cubicBezTo>
                    <a:cubicBezTo>
                      <a:pt x="7787" y="6756"/>
                      <a:pt x="7787" y="6756"/>
                      <a:pt x="7787" y="6756"/>
                    </a:cubicBezTo>
                    <a:cubicBezTo>
                      <a:pt x="7723" y="6853"/>
                      <a:pt x="7723" y="6853"/>
                      <a:pt x="7723" y="6853"/>
                    </a:cubicBezTo>
                    <a:lnTo>
                      <a:pt x="8024" y="6985"/>
                    </a:lnTo>
                    <a:close/>
                    <a:moveTo>
                      <a:pt x="7910" y="7022"/>
                    </a:moveTo>
                    <a:cubicBezTo>
                      <a:pt x="7807" y="6950"/>
                      <a:pt x="7807" y="6950"/>
                      <a:pt x="7807" y="6950"/>
                    </a:cubicBezTo>
                    <a:cubicBezTo>
                      <a:pt x="7779" y="6991"/>
                      <a:pt x="7779" y="6991"/>
                      <a:pt x="7779" y="6991"/>
                    </a:cubicBezTo>
                    <a:cubicBezTo>
                      <a:pt x="7881" y="7063"/>
                      <a:pt x="7881" y="7063"/>
                      <a:pt x="7881" y="7063"/>
                    </a:cubicBezTo>
                    <a:lnTo>
                      <a:pt x="7910" y="7022"/>
                    </a:lnTo>
                    <a:close/>
                    <a:moveTo>
                      <a:pt x="6240" y="7555"/>
                    </a:moveTo>
                    <a:cubicBezTo>
                      <a:pt x="6240" y="7551"/>
                      <a:pt x="6240" y="7551"/>
                      <a:pt x="6240" y="7551"/>
                    </a:cubicBezTo>
                    <a:cubicBezTo>
                      <a:pt x="6240" y="7551"/>
                      <a:pt x="6247" y="7494"/>
                      <a:pt x="6254" y="7435"/>
                    </a:cubicBezTo>
                    <a:cubicBezTo>
                      <a:pt x="6258" y="7406"/>
                      <a:pt x="6262" y="7376"/>
                      <a:pt x="6265" y="7354"/>
                    </a:cubicBezTo>
                    <a:cubicBezTo>
                      <a:pt x="6266" y="7342"/>
                      <a:pt x="6268" y="7333"/>
                      <a:pt x="6269" y="7326"/>
                    </a:cubicBezTo>
                    <a:cubicBezTo>
                      <a:pt x="6269" y="7323"/>
                      <a:pt x="6269" y="7322"/>
                      <a:pt x="6270" y="7320"/>
                    </a:cubicBezTo>
                    <a:cubicBezTo>
                      <a:pt x="6243" y="7312"/>
                      <a:pt x="6132" y="7277"/>
                      <a:pt x="6022" y="7243"/>
                    </a:cubicBezTo>
                    <a:cubicBezTo>
                      <a:pt x="5958" y="7223"/>
                      <a:pt x="5895" y="7203"/>
                      <a:pt x="5847" y="7188"/>
                    </a:cubicBezTo>
                    <a:cubicBezTo>
                      <a:pt x="5823" y="7180"/>
                      <a:pt x="5803" y="7174"/>
                      <a:pt x="5789" y="7169"/>
                    </a:cubicBezTo>
                    <a:cubicBezTo>
                      <a:pt x="5785" y="7168"/>
                      <a:pt x="5781" y="7166"/>
                      <a:pt x="5777" y="7165"/>
                    </a:cubicBezTo>
                    <a:cubicBezTo>
                      <a:pt x="5742" y="7366"/>
                      <a:pt x="5742" y="7366"/>
                      <a:pt x="5742" y="7366"/>
                    </a:cubicBezTo>
                    <a:cubicBezTo>
                      <a:pt x="5953" y="7488"/>
                      <a:pt x="5953" y="7488"/>
                      <a:pt x="5953" y="7488"/>
                    </a:cubicBezTo>
                    <a:cubicBezTo>
                      <a:pt x="6000" y="7441"/>
                      <a:pt x="6000" y="7441"/>
                      <a:pt x="6000" y="7441"/>
                    </a:cubicBezTo>
                    <a:cubicBezTo>
                      <a:pt x="6005" y="7445"/>
                      <a:pt x="6005" y="7445"/>
                      <a:pt x="6005" y="7445"/>
                    </a:cubicBezTo>
                    <a:cubicBezTo>
                      <a:pt x="6005" y="7445"/>
                      <a:pt x="6054" y="7485"/>
                      <a:pt x="6102" y="7526"/>
                    </a:cubicBezTo>
                    <a:cubicBezTo>
                      <a:pt x="6127" y="7546"/>
                      <a:pt x="6151" y="7567"/>
                      <a:pt x="6169" y="7582"/>
                    </a:cubicBezTo>
                    <a:cubicBezTo>
                      <a:pt x="6178" y="7590"/>
                      <a:pt x="6186" y="7596"/>
                      <a:pt x="6191" y="7601"/>
                    </a:cubicBezTo>
                    <a:cubicBezTo>
                      <a:pt x="6194" y="7603"/>
                      <a:pt x="6196" y="7605"/>
                      <a:pt x="6197" y="7606"/>
                    </a:cubicBezTo>
                    <a:cubicBezTo>
                      <a:pt x="6198" y="7607"/>
                      <a:pt x="6199" y="7608"/>
                      <a:pt x="6199" y="7608"/>
                    </a:cubicBezTo>
                    <a:cubicBezTo>
                      <a:pt x="6199" y="7608"/>
                      <a:pt x="6200" y="7609"/>
                      <a:pt x="6200" y="7609"/>
                    </a:cubicBezTo>
                    <a:cubicBezTo>
                      <a:pt x="6200" y="7609"/>
                      <a:pt x="6200" y="7609"/>
                      <a:pt x="6200" y="7609"/>
                    </a:cubicBezTo>
                    <a:cubicBezTo>
                      <a:pt x="6244" y="7559"/>
                      <a:pt x="6244" y="7559"/>
                      <a:pt x="6244" y="7559"/>
                    </a:cubicBezTo>
                    <a:lnTo>
                      <a:pt x="6240" y="7555"/>
                    </a:lnTo>
                    <a:close/>
                    <a:moveTo>
                      <a:pt x="6297" y="7993"/>
                    </a:moveTo>
                    <a:cubicBezTo>
                      <a:pt x="6296" y="7993"/>
                      <a:pt x="6296" y="7993"/>
                      <a:pt x="6296" y="7993"/>
                    </a:cubicBezTo>
                    <a:cubicBezTo>
                      <a:pt x="6300" y="7986"/>
                      <a:pt x="6308" y="7938"/>
                      <a:pt x="6312" y="7894"/>
                    </a:cubicBezTo>
                    <a:cubicBezTo>
                      <a:pt x="6316" y="7858"/>
                      <a:pt x="6319" y="7824"/>
                      <a:pt x="6320" y="7812"/>
                    </a:cubicBezTo>
                    <a:cubicBezTo>
                      <a:pt x="6191" y="7742"/>
                      <a:pt x="6191" y="7742"/>
                      <a:pt x="6191" y="7742"/>
                    </a:cubicBezTo>
                    <a:cubicBezTo>
                      <a:pt x="6186" y="7796"/>
                      <a:pt x="6186" y="7796"/>
                      <a:pt x="6186" y="7796"/>
                    </a:cubicBezTo>
                    <a:cubicBezTo>
                      <a:pt x="6256" y="7802"/>
                      <a:pt x="6256" y="7802"/>
                      <a:pt x="6256" y="7802"/>
                    </a:cubicBezTo>
                    <a:cubicBezTo>
                      <a:pt x="6246" y="7959"/>
                      <a:pt x="6246" y="7959"/>
                      <a:pt x="6246" y="7959"/>
                    </a:cubicBezTo>
                    <a:cubicBezTo>
                      <a:pt x="6239" y="7959"/>
                      <a:pt x="6239" y="7959"/>
                      <a:pt x="6239" y="7959"/>
                    </a:cubicBezTo>
                    <a:cubicBezTo>
                      <a:pt x="6171" y="7953"/>
                      <a:pt x="6171" y="7953"/>
                      <a:pt x="6171" y="7953"/>
                    </a:cubicBezTo>
                    <a:cubicBezTo>
                      <a:pt x="6168" y="7990"/>
                      <a:pt x="6168" y="7990"/>
                      <a:pt x="6168" y="7990"/>
                    </a:cubicBezTo>
                    <a:cubicBezTo>
                      <a:pt x="6214" y="7993"/>
                      <a:pt x="6258" y="7996"/>
                      <a:pt x="6299" y="7999"/>
                    </a:cubicBezTo>
                    <a:cubicBezTo>
                      <a:pt x="6301" y="7992"/>
                      <a:pt x="6301" y="7992"/>
                      <a:pt x="6301" y="7992"/>
                    </a:cubicBezTo>
                    <a:cubicBezTo>
                      <a:pt x="6300" y="7997"/>
                      <a:pt x="6300" y="7997"/>
                      <a:pt x="6300" y="7997"/>
                    </a:cubicBezTo>
                    <a:cubicBezTo>
                      <a:pt x="6300" y="7997"/>
                      <a:pt x="6300" y="7997"/>
                      <a:pt x="6300" y="7997"/>
                    </a:cubicBezTo>
                    <a:cubicBezTo>
                      <a:pt x="6296" y="7993"/>
                      <a:pt x="6296" y="7993"/>
                      <a:pt x="6296" y="7993"/>
                    </a:cubicBezTo>
                    <a:lnTo>
                      <a:pt x="6297" y="7993"/>
                    </a:lnTo>
                    <a:close/>
                    <a:moveTo>
                      <a:pt x="6158" y="7939"/>
                    </a:moveTo>
                    <a:cubicBezTo>
                      <a:pt x="6171" y="7808"/>
                      <a:pt x="6171" y="7808"/>
                      <a:pt x="6171" y="7808"/>
                    </a:cubicBezTo>
                    <a:cubicBezTo>
                      <a:pt x="5933" y="7788"/>
                      <a:pt x="5933" y="7788"/>
                      <a:pt x="5933" y="7788"/>
                    </a:cubicBezTo>
                    <a:cubicBezTo>
                      <a:pt x="5943" y="7830"/>
                      <a:pt x="5956" y="7881"/>
                      <a:pt x="5965" y="7922"/>
                    </a:cubicBezTo>
                    <a:lnTo>
                      <a:pt x="6158" y="7939"/>
                    </a:lnTo>
                    <a:close/>
                    <a:moveTo>
                      <a:pt x="5967" y="7935"/>
                    </a:moveTo>
                    <a:cubicBezTo>
                      <a:pt x="5971" y="7953"/>
                      <a:pt x="5973" y="7967"/>
                      <a:pt x="5974" y="7976"/>
                    </a:cubicBezTo>
                    <a:cubicBezTo>
                      <a:pt x="6036" y="7980"/>
                      <a:pt x="6096" y="7985"/>
                      <a:pt x="6154" y="7989"/>
                    </a:cubicBezTo>
                    <a:cubicBezTo>
                      <a:pt x="6157" y="7952"/>
                      <a:pt x="6157" y="7952"/>
                      <a:pt x="6157" y="7952"/>
                    </a:cubicBezTo>
                    <a:lnTo>
                      <a:pt x="5967" y="7935"/>
                    </a:lnTo>
                    <a:close/>
                    <a:moveTo>
                      <a:pt x="5386" y="7729"/>
                    </a:moveTo>
                    <a:cubicBezTo>
                      <a:pt x="5390" y="7367"/>
                      <a:pt x="5390" y="7367"/>
                      <a:pt x="5390" y="7367"/>
                    </a:cubicBezTo>
                    <a:cubicBezTo>
                      <a:pt x="5404" y="7367"/>
                      <a:pt x="5404" y="7367"/>
                      <a:pt x="5404" y="7367"/>
                    </a:cubicBezTo>
                    <a:cubicBezTo>
                      <a:pt x="5400" y="7730"/>
                      <a:pt x="5400" y="7730"/>
                      <a:pt x="5400" y="7730"/>
                    </a:cubicBezTo>
                    <a:cubicBezTo>
                      <a:pt x="5588" y="7746"/>
                      <a:pt x="5588" y="7746"/>
                      <a:pt x="5588" y="7746"/>
                    </a:cubicBezTo>
                    <a:cubicBezTo>
                      <a:pt x="5584" y="7363"/>
                      <a:pt x="5584" y="7363"/>
                      <a:pt x="5584" y="7363"/>
                    </a:cubicBezTo>
                    <a:cubicBezTo>
                      <a:pt x="5257" y="7359"/>
                      <a:pt x="5257" y="7359"/>
                      <a:pt x="5257" y="7359"/>
                    </a:cubicBezTo>
                    <a:cubicBezTo>
                      <a:pt x="5180" y="7407"/>
                      <a:pt x="5180" y="7407"/>
                      <a:pt x="5180" y="7407"/>
                    </a:cubicBezTo>
                    <a:cubicBezTo>
                      <a:pt x="5182" y="7412"/>
                      <a:pt x="5182" y="7412"/>
                      <a:pt x="5182" y="7412"/>
                    </a:cubicBezTo>
                    <a:cubicBezTo>
                      <a:pt x="5242" y="7924"/>
                      <a:pt x="5242" y="7924"/>
                      <a:pt x="5242" y="7924"/>
                    </a:cubicBezTo>
                    <a:cubicBezTo>
                      <a:pt x="5282" y="7926"/>
                      <a:pt x="5330" y="7930"/>
                      <a:pt x="5384" y="7934"/>
                    </a:cubicBezTo>
                    <a:cubicBezTo>
                      <a:pt x="5385" y="7886"/>
                      <a:pt x="5385" y="7886"/>
                      <a:pt x="5385" y="7886"/>
                    </a:cubicBezTo>
                    <a:cubicBezTo>
                      <a:pt x="5288" y="7877"/>
                      <a:pt x="5288" y="7877"/>
                      <a:pt x="5288" y="7877"/>
                    </a:cubicBezTo>
                    <a:cubicBezTo>
                      <a:pt x="5299" y="7721"/>
                      <a:pt x="5299" y="7721"/>
                      <a:pt x="5299" y="7721"/>
                    </a:cubicBezTo>
                    <a:lnTo>
                      <a:pt x="5386" y="7729"/>
                    </a:lnTo>
                    <a:close/>
                    <a:moveTo>
                      <a:pt x="5311" y="7736"/>
                    </a:moveTo>
                    <a:cubicBezTo>
                      <a:pt x="5302" y="7865"/>
                      <a:pt x="5302" y="7865"/>
                      <a:pt x="5302" y="7865"/>
                    </a:cubicBezTo>
                    <a:cubicBezTo>
                      <a:pt x="5385" y="7872"/>
                      <a:pt x="5385" y="7872"/>
                      <a:pt x="5385" y="7872"/>
                    </a:cubicBezTo>
                    <a:cubicBezTo>
                      <a:pt x="5386" y="7742"/>
                      <a:pt x="5386" y="7742"/>
                      <a:pt x="5386" y="7742"/>
                    </a:cubicBezTo>
                    <a:lnTo>
                      <a:pt x="5311" y="7736"/>
                    </a:lnTo>
                    <a:close/>
                    <a:moveTo>
                      <a:pt x="4407" y="7735"/>
                    </a:moveTo>
                    <a:cubicBezTo>
                      <a:pt x="4753" y="7517"/>
                      <a:pt x="4753" y="7517"/>
                      <a:pt x="4753" y="7517"/>
                    </a:cubicBezTo>
                    <a:cubicBezTo>
                      <a:pt x="4894" y="7569"/>
                      <a:pt x="4894" y="7569"/>
                      <a:pt x="4894" y="7569"/>
                    </a:cubicBezTo>
                    <a:cubicBezTo>
                      <a:pt x="5162" y="7402"/>
                      <a:pt x="5162" y="7402"/>
                      <a:pt x="5162" y="7402"/>
                    </a:cubicBezTo>
                    <a:cubicBezTo>
                      <a:pt x="5092" y="7255"/>
                      <a:pt x="5092" y="7255"/>
                      <a:pt x="5092" y="7255"/>
                    </a:cubicBezTo>
                    <a:cubicBezTo>
                      <a:pt x="5091" y="7254"/>
                      <a:pt x="5091" y="7254"/>
                      <a:pt x="5091" y="7254"/>
                    </a:cubicBezTo>
                    <a:cubicBezTo>
                      <a:pt x="5091" y="7254"/>
                      <a:pt x="5091" y="7249"/>
                      <a:pt x="5091" y="7240"/>
                    </a:cubicBezTo>
                    <a:cubicBezTo>
                      <a:pt x="5091" y="7242"/>
                      <a:pt x="5091" y="7242"/>
                      <a:pt x="5091" y="7242"/>
                    </a:cubicBezTo>
                    <a:cubicBezTo>
                      <a:pt x="4718" y="7167"/>
                      <a:pt x="4718" y="7167"/>
                      <a:pt x="4718" y="7167"/>
                    </a:cubicBezTo>
                    <a:cubicBezTo>
                      <a:pt x="4700" y="7265"/>
                      <a:pt x="4700" y="7265"/>
                      <a:pt x="4700" y="7265"/>
                    </a:cubicBezTo>
                    <a:cubicBezTo>
                      <a:pt x="4546" y="7240"/>
                      <a:pt x="4546" y="7240"/>
                      <a:pt x="4546" y="7240"/>
                    </a:cubicBezTo>
                    <a:cubicBezTo>
                      <a:pt x="4565" y="7137"/>
                      <a:pt x="4565" y="7137"/>
                      <a:pt x="4565" y="7137"/>
                    </a:cubicBezTo>
                    <a:cubicBezTo>
                      <a:pt x="4531" y="7130"/>
                      <a:pt x="4531" y="7130"/>
                      <a:pt x="4531" y="7130"/>
                    </a:cubicBezTo>
                    <a:cubicBezTo>
                      <a:pt x="4518" y="7183"/>
                      <a:pt x="4504" y="7233"/>
                      <a:pt x="4488" y="7277"/>
                    </a:cubicBezTo>
                    <a:cubicBezTo>
                      <a:pt x="4458" y="7364"/>
                      <a:pt x="4424" y="7429"/>
                      <a:pt x="4383" y="7467"/>
                    </a:cubicBezTo>
                    <a:cubicBezTo>
                      <a:pt x="4375" y="7476"/>
                      <a:pt x="4365" y="7484"/>
                      <a:pt x="4354" y="7491"/>
                    </a:cubicBezTo>
                    <a:lnTo>
                      <a:pt x="4407" y="7735"/>
                    </a:lnTo>
                    <a:close/>
                    <a:moveTo>
                      <a:pt x="4340" y="7502"/>
                    </a:moveTo>
                    <a:cubicBezTo>
                      <a:pt x="4312" y="7521"/>
                      <a:pt x="4282" y="7539"/>
                      <a:pt x="4255" y="7553"/>
                    </a:cubicBezTo>
                    <a:cubicBezTo>
                      <a:pt x="4307" y="7805"/>
                      <a:pt x="4307" y="7805"/>
                      <a:pt x="4307" y="7805"/>
                    </a:cubicBezTo>
                    <a:cubicBezTo>
                      <a:pt x="4403" y="7791"/>
                      <a:pt x="4403" y="7791"/>
                      <a:pt x="4403" y="7791"/>
                    </a:cubicBezTo>
                    <a:lnTo>
                      <a:pt x="4340" y="7502"/>
                    </a:lnTo>
                    <a:close/>
                    <a:moveTo>
                      <a:pt x="3702" y="6825"/>
                    </a:moveTo>
                    <a:cubicBezTo>
                      <a:pt x="3702" y="6825"/>
                      <a:pt x="3702" y="6825"/>
                      <a:pt x="3702" y="6825"/>
                    </a:cubicBezTo>
                    <a:cubicBezTo>
                      <a:pt x="3708" y="6826"/>
                      <a:pt x="3708" y="6829"/>
                      <a:pt x="3709" y="6830"/>
                    </a:cubicBezTo>
                    <a:cubicBezTo>
                      <a:pt x="3712" y="6836"/>
                      <a:pt x="3712" y="6845"/>
                      <a:pt x="3714" y="6856"/>
                    </a:cubicBezTo>
                    <a:cubicBezTo>
                      <a:pt x="3715" y="6861"/>
                      <a:pt x="3715" y="6866"/>
                      <a:pt x="3716" y="6870"/>
                    </a:cubicBezTo>
                    <a:cubicBezTo>
                      <a:pt x="3901" y="6904"/>
                      <a:pt x="3901" y="6904"/>
                      <a:pt x="3901" y="6904"/>
                    </a:cubicBezTo>
                    <a:cubicBezTo>
                      <a:pt x="4062" y="6694"/>
                      <a:pt x="4062" y="6694"/>
                      <a:pt x="4062" y="6694"/>
                    </a:cubicBezTo>
                    <a:cubicBezTo>
                      <a:pt x="3797" y="6541"/>
                      <a:pt x="3797" y="6541"/>
                      <a:pt x="3797" y="6541"/>
                    </a:cubicBezTo>
                    <a:cubicBezTo>
                      <a:pt x="3552" y="6755"/>
                      <a:pt x="3552" y="6755"/>
                      <a:pt x="3552" y="6755"/>
                    </a:cubicBezTo>
                    <a:cubicBezTo>
                      <a:pt x="3540" y="6794"/>
                      <a:pt x="3540" y="6794"/>
                      <a:pt x="3540" y="6794"/>
                    </a:cubicBezTo>
                    <a:cubicBezTo>
                      <a:pt x="3544" y="6795"/>
                      <a:pt x="3550" y="6796"/>
                      <a:pt x="3558" y="6798"/>
                    </a:cubicBezTo>
                    <a:cubicBezTo>
                      <a:pt x="3603" y="6807"/>
                      <a:pt x="3695" y="6824"/>
                      <a:pt x="3701" y="6825"/>
                    </a:cubicBezTo>
                    <a:cubicBezTo>
                      <a:pt x="3701" y="6825"/>
                      <a:pt x="3701" y="6825"/>
                      <a:pt x="3701" y="6825"/>
                    </a:cubicBezTo>
                    <a:cubicBezTo>
                      <a:pt x="3701" y="6825"/>
                      <a:pt x="3702" y="6825"/>
                      <a:pt x="3702" y="6825"/>
                    </a:cubicBezTo>
                    <a:close/>
                    <a:moveTo>
                      <a:pt x="2592" y="6730"/>
                    </a:moveTo>
                    <a:cubicBezTo>
                      <a:pt x="2468" y="7285"/>
                      <a:pt x="2468" y="7285"/>
                      <a:pt x="2468" y="7285"/>
                    </a:cubicBezTo>
                    <a:cubicBezTo>
                      <a:pt x="2555" y="7347"/>
                      <a:pt x="2660" y="7431"/>
                      <a:pt x="2814" y="7450"/>
                    </a:cubicBezTo>
                    <a:cubicBezTo>
                      <a:pt x="2825" y="7452"/>
                      <a:pt x="2837" y="7452"/>
                      <a:pt x="2848" y="7452"/>
                    </a:cubicBezTo>
                    <a:cubicBezTo>
                      <a:pt x="2921" y="7453"/>
                      <a:pt x="2994" y="7424"/>
                      <a:pt x="3058" y="7388"/>
                    </a:cubicBezTo>
                    <a:cubicBezTo>
                      <a:pt x="3049" y="7371"/>
                      <a:pt x="3035" y="7340"/>
                      <a:pt x="3017" y="7300"/>
                    </a:cubicBezTo>
                    <a:cubicBezTo>
                      <a:pt x="2979" y="7215"/>
                      <a:pt x="2925" y="7091"/>
                      <a:pt x="2881" y="6988"/>
                    </a:cubicBezTo>
                    <a:cubicBezTo>
                      <a:pt x="2859" y="6937"/>
                      <a:pt x="2839" y="6891"/>
                      <a:pt x="2824" y="6857"/>
                    </a:cubicBezTo>
                    <a:cubicBezTo>
                      <a:pt x="2817" y="6841"/>
                      <a:pt x="2811" y="6827"/>
                      <a:pt x="2807" y="6818"/>
                    </a:cubicBezTo>
                    <a:cubicBezTo>
                      <a:pt x="2805" y="6813"/>
                      <a:pt x="2803" y="6809"/>
                      <a:pt x="2802" y="6807"/>
                    </a:cubicBezTo>
                    <a:cubicBezTo>
                      <a:pt x="2802" y="6806"/>
                      <a:pt x="2802" y="6806"/>
                      <a:pt x="2801" y="6805"/>
                    </a:cubicBezTo>
                    <a:cubicBezTo>
                      <a:pt x="2568" y="6720"/>
                      <a:pt x="2568" y="6720"/>
                      <a:pt x="2568" y="6720"/>
                    </a:cubicBezTo>
                    <a:cubicBezTo>
                      <a:pt x="2277" y="6555"/>
                      <a:pt x="2277" y="6555"/>
                      <a:pt x="2277" y="6555"/>
                    </a:cubicBezTo>
                    <a:cubicBezTo>
                      <a:pt x="2254" y="6591"/>
                      <a:pt x="2229" y="6629"/>
                      <a:pt x="2205" y="6667"/>
                    </a:cubicBezTo>
                    <a:cubicBezTo>
                      <a:pt x="2151" y="6749"/>
                      <a:pt x="2098" y="6832"/>
                      <a:pt x="2057" y="6894"/>
                    </a:cubicBezTo>
                    <a:cubicBezTo>
                      <a:pt x="2037" y="6924"/>
                      <a:pt x="2020" y="6950"/>
                      <a:pt x="2007" y="6968"/>
                    </a:cubicBezTo>
                    <a:cubicBezTo>
                      <a:pt x="2024" y="6978"/>
                      <a:pt x="2037" y="6985"/>
                      <a:pt x="2045" y="6989"/>
                    </a:cubicBezTo>
                    <a:cubicBezTo>
                      <a:pt x="2086" y="7011"/>
                      <a:pt x="2165" y="7067"/>
                      <a:pt x="2247" y="7126"/>
                    </a:cubicBezTo>
                    <a:cubicBezTo>
                      <a:pt x="2329" y="7184"/>
                      <a:pt x="2412" y="7246"/>
                      <a:pt x="2456" y="7276"/>
                    </a:cubicBezTo>
                    <a:cubicBezTo>
                      <a:pt x="2578" y="6727"/>
                      <a:pt x="2578" y="6727"/>
                      <a:pt x="2578" y="6727"/>
                    </a:cubicBezTo>
                    <a:lnTo>
                      <a:pt x="2592" y="6730"/>
                    </a:lnTo>
                    <a:close/>
                    <a:moveTo>
                      <a:pt x="2184" y="5689"/>
                    </a:moveTo>
                    <a:cubicBezTo>
                      <a:pt x="2184" y="5689"/>
                      <a:pt x="2184" y="5689"/>
                      <a:pt x="2184" y="5689"/>
                    </a:cubicBezTo>
                    <a:cubicBezTo>
                      <a:pt x="2187" y="5689"/>
                      <a:pt x="2188" y="5690"/>
                      <a:pt x="2189" y="5691"/>
                    </a:cubicBezTo>
                    <a:cubicBezTo>
                      <a:pt x="2247" y="5577"/>
                      <a:pt x="2247" y="5577"/>
                      <a:pt x="2247" y="5577"/>
                    </a:cubicBezTo>
                    <a:cubicBezTo>
                      <a:pt x="2151" y="5531"/>
                      <a:pt x="2151" y="5531"/>
                      <a:pt x="2151" y="5531"/>
                    </a:cubicBezTo>
                    <a:cubicBezTo>
                      <a:pt x="2095" y="5644"/>
                      <a:pt x="2095" y="5644"/>
                      <a:pt x="2095" y="5644"/>
                    </a:cubicBezTo>
                    <a:cubicBezTo>
                      <a:pt x="2100" y="5647"/>
                      <a:pt x="2106" y="5650"/>
                      <a:pt x="2111" y="5653"/>
                    </a:cubicBezTo>
                    <a:cubicBezTo>
                      <a:pt x="2129" y="5662"/>
                      <a:pt x="2147" y="5671"/>
                      <a:pt x="2161" y="5678"/>
                    </a:cubicBezTo>
                    <a:cubicBezTo>
                      <a:pt x="2167" y="5682"/>
                      <a:pt x="2173" y="5684"/>
                      <a:pt x="2178" y="5686"/>
                    </a:cubicBezTo>
                    <a:cubicBezTo>
                      <a:pt x="2180" y="5687"/>
                      <a:pt x="2182" y="5688"/>
                      <a:pt x="2183" y="5689"/>
                    </a:cubicBezTo>
                    <a:cubicBezTo>
                      <a:pt x="2184" y="5689"/>
                      <a:pt x="2184" y="5689"/>
                      <a:pt x="2184" y="5689"/>
                    </a:cubicBezTo>
                    <a:cubicBezTo>
                      <a:pt x="2184" y="5689"/>
                      <a:pt x="2184" y="5689"/>
                      <a:pt x="2184" y="5689"/>
                    </a:cubicBezTo>
                    <a:cubicBezTo>
                      <a:pt x="2184" y="5689"/>
                      <a:pt x="2184" y="5689"/>
                      <a:pt x="2184" y="5689"/>
                    </a:cubicBezTo>
                    <a:close/>
                    <a:moveTo>
                      <a:pt x="2088" y="5656"/>
                    </a:moveTo>
                    <a:cubicBezTo>
                      <a:pt x="2009" y="5815"/>
                      <a:pt x="2009" y="5815"/>
                      <a:pt x="2009" y="5815"/>
                    </a:cubicBezTo>
                    <a:cubicBezTo>
                      <a:pt x="2103" y="5860"/>
                      <a:pt x="2103" y="5860"/>
                      <a:pt x="2103" y="5860"/>
                    </a:cubicBezTo>
                    <a:cubicBezTo>
                      <a:pt x="2183" y="5704"/>
                      <a:pt x="2183" y="5704"/>
                      <a:pt x="2183" y="5704"/>
                    </a:cubicBezTo>
                    <a:cubicBezTo>
                      <a:pt x="2182" y="5703"/>
                      <a:pt x="2182" y="5703"/>
                      <a:pt x="2182" y="5703"/>
                    </a:cubicBezTo>
                    <a:cubicBezTo>
                      <a:pt x="2175" y="5701"/>
                      <a:pt x="2168" y="5697"/>
                      <a:pt x="2154" y="5691"/>
                    </a:cubicBezTo>
                    <a:cubicBezTo>
                      <a:pt x="2136" y="5681"/>
                      <a:pt x="2111" y="5668"/>
                      <a:pt x="2088" y="5656"/>
                    </a:cubicBezTo>
                    <a:close/>
                    <a:moveTo>
                      <a:pt x="2077" y="5650"/>
                    </a:moveTo>
                    <a:cubicBezTo>
                      <a:pt x="2068" y="5646"/>
                      <a:pt x="2061" y="5642"/>
                      <a:pt x="2054" y="5638"/>
                    </a:cubicBezTo>
                    <a:cubicBezTo>
                      <a:pt x="1929" y="5863"/>
                      <a:pt x="1929" y="5863"/>
                      <a:pt x="1929" y="5863"/>
                    </a:cubicBezTo>
                    <a:cubicBezTo>
                      <a:pt x="1949" y="5877"/>
                      <a:pt x="1983" y="5901"/>
                      <a:pt x="2018" y="5925"/>
                    </a:cubicBezTo>
                    <a:cubicBezTo>
                      <a:pt x="2045" y="5944"/>
                      <a:pt x="2072" y="5962"/>
                      <a:pt x="2093" y="5976"/>
                    </a:cubicBezTo>
                    <a:cubicBezTo>
                      <a:pt x="2104" y="5983"/>
                      <a:pt x="2113" y="5989"/>
                      <a:pt x="2119" y="5993"/>
                    </a:cubicBezTo>
                    <a:cubicBezTo>
                      <a:pt x="2123" y="5995"/>
                      <a:pt x="2125" y="5997"/>
                      <a:pt x="2127" y="5998"/>
                    </a:cubicBezTo>
                    <a:cubicBezTo>
                      <a:pt x="2128" y="5998"/>
                      <a:pt x="2128" y="5999"/>
                      <a:pt x="2129" y="5999"/>
                    </a:cubicBezTo>
                    <a:cubicBezTo>
                      <a:pt x="2151" y="6000"/>
                      <a:pt x="2426" y="6029"/>
                      <a:pt x="2454" y="6034"/>
                    </a:cubicBezTo>
                    <a:cubicBezTo>
                      <a:pt x="2470" y="6012"/>
                      <a:pt x="2485" y="5991"/>
                      <a:pt x="2498" y="5974"/>
                    </a:cubicBezTo>
                    <a:cubicBezTo>
                      <a:pt x="2507" y="5962"/>
                      <a:pt x="2514" y="5953"/>
                      <a:pt x="2520" y="5946"/>
                    </a:cubicBezTo>
                    <a:cubicBezTo>
                      <a:pt x="2524" y="5943"/>
                      <a:pt x="2526" y="5940"/>
                      <a:pt x="2528" y="5938"/>
                    </a:cubicBezTo>
                    <a:cubicBezTo>
                      <a:pt x="2477" y="5849"/>
                      <a:pt x="2477" y="5849"/>
                      <a:pt x="2477" y="5849"/>
                    </a:cubicBezTo>
                    <a:cubicBezTo>
                      <a:pt x="2467" y="5845"/>
                      <a:pt x="2412" y="5836"/>
                      <a:pt x="2361" y="5828"/>
                    </a:cubicBezTo>
                    <a:cubicBezTo>
                      <a:pt x="2306" y="5819"/>
                      <a:pt x="2254" y="5812"/>
                      <a:pt x="2254" y="5812"/>
                    </a:cubicBezTo>
                    <a:cubicBezTo>
                      <a:pt x="2250" y="5812"/>
                      <a:pt x="2250" y="5812"/>
                      <a:pt x="2250" y="5812"/>
                    </a:cubicBezTo>
                    <a:cubicBezTo>
                      <a:pt x="2249" y="5809"/>
                      <a:pt x="2249" y="5809"/>
                      <a:pt x="2249" y="5809"/>
                    </a:cubicBezTo>
                    <a:cubicBezTo>
                      <a:pt x="2248" y="5808"/>
                      <a:pt x="2233" y="5781"/>
                      <a:pt x="2217" y="5754"/>
                    </a:cubicBezTo>
                    <a:cubicBezTo>
                      <a:pt x="2208" y="5741"/>
                      <a:pt x="2200" y="5727"/>
                      <a:pt x="2193" y="5717"/>
                    </a:cubicBezTo>
                    <a:cubicBezTo>
                      <a:pt x="2192" y="5716"/>
                      <a:pt x="2192" y="5716"/>
                      <a:pt x="2192" y="5715"/>
                    </a:cubicBezTo>
                    <a:cubicBezTo>
                      <a:pt x="2109" y="5878"/>
                      <a:pt x="2109" y="5878"/>
                      <a:pt x="2109" y="5878"/>
                    </a:cubicBezTo>
                    <a:cubicBezTo>
                      <a:pt x="1992" y="5821"/>
                      <a:pt x="1992" y="5821"/>
                      <a:pt x="1992" y="5821"/>
                    </a:cubicBezTo>
                    <a:lnTo>
                      <a:pt x="2077" y="5650"/>
                    </a:lnTo>
                    <a:close/>
                    <a:moveTo>
                      <a:pt x="6113" y="6300"/>
                    </a:moveTo>
                    <a:cubicBezTo>
                      <a:pt x="6116" y="6257"/>
                      <a:pt x="6116" y="6257"/>
                      <a:pt x="6116" y="6257"/>
                    </a:cubicBezTo>
                    <a:cubicBezTo>
                      <a:pt x="6065" y="6253"/>
                      <a:pt x="6065" y="6253"/>
                      <a:pt x="6065" y="6253"/>
                    </a:cubicBezTo>
                    <a:cubicBezTo>
                      <a:pt x="6044" y="6355"/>
                      <a:pt x="6044" y="6355"/>
                      <a:pt x="6044" y="6355"/>
                    </a:cubicBezTo>
                    <a:cubicBezTo>
                      <a:pt x="6155" y="6363"/>
                      <a:pt x="6155" y="6363"/>
                      <a:pt x="6155" y="6363"/>
                    </a:cubicBezTo>
                    <a:cubicBezTo>
                      <a:pt x="6159" y="6304"/>
                      <a:pt x="6159" y="6304"/>
                      <a:pt x="6159" y="6304"/>
                    </a:cubicBezTo>
                    <a:lnTo>
                      <a:pt x="6113" y="6300"/>
                    </a:lnTo>
                    <a:close/>
                    <a:moveTo>
                      <a:pt x="6051" y="6252"/>
                    </a:moveTo>
                    <a:cubicBezTo>
                      <a:pt x="6026" y="6250"/>
                      <a:pt x="6026" y="6250"/>
                      <a:pt x="6026" y="6250"/>
                    </a:cubicBezTo>
                    <a:cubicBezTo>
                      <a:pt x="6022" y="6293"/>
                      <a:pt x="6022" y="6293"/>
                      <a:pt x="6022" y="6293"/>
                    </a:cubicBezTo>
                    <a:cubicBezTo>
                      <a:pt x="5976" y="6289"/>
                      <a:pt x="5976" y="6289"/>
                      <a:pt x="5976" y="6289"/>
                    </a:cubicBezTo>
                    <a:cubicBezTo>
                      <a:pt x="5971" y="6349"/>
                      <a:pt x="5971" y="6349"/>
                      <a:pt x="5971" y="6349"/>
                    </a:cubicBezTo>
                    <a:cubicBezTo>
                      <a:pt x="6030" y="6354"/>
                      <a:pt x="6030" y="6354"/>
                      <a:pt x="6030" y="6354"/>
                    </a:cubicBezTo>
                    <a:lnTo>
                      <a:pt x="6051" y="6252"/>
                    </a:lnTo>
                    <a:close/>
                    <a:moveTo>
                      <a:pt x="6024" y="6457"/>
                    </a:moveTo>
                    <a:cubicBezTo>
                      <a:pt x="6145" y="6471"/>
                      <a:pt x="6145" y="6471"/>
                      <a:pt x="6145" y="6471"/>
                    </a:cubicBezTo>
                    <a:cubicBezTo>
                      <a:pt x="6151" y="6508"/>
                      <a:pt x="6151" y="6508"/>
                      <a:pt x="6151" y="6508"/>
                    </a:cubicBezTo>
                    <a:cubicBezTo>
                      <a:pt x="6201" y="6513"/>
                      <a:pt x="6201" y="6513"/>
                      <a:pt x="6201" y="6513"/>
                    </a:cubicBezTo>
                    <a:cubicBezTo>
                      <a:pt x="6196" y="6510"/>
                      <a:pt x="6196" y="6510"/>
                      <a:pt x="6196" y="6510"/>
                    </a:cubicBezTo>
                    <a:cubicBezTo>
                      <a:pt x="6196" y="6510"/>
                      <a:pt x="6199" y="6488"/>
                      <a:pt x="6200" y="6460"/>
                    </a:cubicBezTo>
                    <a:cubicBezTo>
                      <a:pt x="6204" y="6394"/>
                      <a:pt x="6205" y="6285"/>
                      <a:pt x="6206" y="6240"/>
                    </a:cubicBezTo>
                    <a:cubicBezTo>
                      <a:pt x="6071" y="6224"/>
                      <a:pt x="6071" y="6224"/>
                      <a:pt x="6071" y="6224"/>
                    </a:cubicBezTo>
                    <a:cubicBezTo>
                      <a:pt x="6067" y="6240"/>
                      <a:pt x="6067" y="6240"/>
                      <a:pt x="6067" y="6240"/>
                    </a:cubicBezTo>
                    <a:cubicBezTo>
                      <a:pt x="6130" y="6245"/>
                      <a:pt x="6130" y="6245"/>
                      <a:pt x="6130" y="6245"/>
                    </a:cubicBezTo>
                    <a:cubicBezTo>
                      <a:pt x="6127" y="6288"/>
                      <a:pt x="6127" y="6288"/>
                      <a:pt x="6127" y="6288"/>
                    </a:cubicBezTo>
                    <a:cubicBezTo>
                      <a:pt x="6174" y="6292"/>
                      <a:pt x="6174" y="6292"/>
                      <a:pt x="6174" y="6292"/>
                    </a:cubicBezTo>
                    <a:cubicBezTo>
                      <a:pt x="6167" y="6378"/>
                      <a:pt x="6167" y="6378"/>
                      <a:pt x="6167" y="6378"/>
                    </a:cubicBezTo>
                    <a:cubicBezTo>
                      <a:pt x="6042" y="6368"/>
                      <a:pt x="6042" y="6368"/>
                      <a:pt x="6042" y="6368"/>
                    </a:cubicBezTo>
                    <a:lnTo>
                      <a:pt x="6024" y="6457"/>
                    </a:lnTo>
                    <a:close/>
                    <a:moveTo>
                      <a:pt x="7040" y="6401"/>
                    </a:moveTo>
                    <a:cubicBezTo>
                      <a:pt x="7044" y="6358"/>
                      <a:pt x="7044" y="6358"/>
                      <a:pt x="7044" y="6358"/>
                    </a:cubicBezTo>
                    <a:cubicBezTo>
                      <a:pt x="7014" y="6355"/>
                      <a:pt x="7014" y="6355"/>
                      <a:pt x="7014" y="6355"/>
                    </a:cubicBezTo>
                    <a:cubicBezTo>
                      <a:pt x="6997" y="6457"/>
                      <a:pt x="6997" y="6457"/>
                      <a:pt x="6997" y="6457"/>
                    </a:cubicBezTo>
                    <a:cubicBezTo>
                      <a:pt x="7082" y="6464"/>
                      <a:pt x="7082" y="6464"/>
                      <a:pt x="7082" y="6464"/>
                    </a:cubicBezTo>
                    <a:cubicBezTo>
                      <a:pt x="7087" y="6404"/>
                      <a:pt x="7087" y="6404"/>
                      <a:pt x="7087" y="6404"/>
                    </a:cubicBezTo>
                    <a:lnTo>
                      <a:pt x="7040" y="6401"/>
                    </a:lnTo>
                    <a:close/>
                    <a:moveTo>
                      <a:pt x="7000" y="6354"/>
                    </a:moveTo>
                    <a:cubicBezTo>
                      <a:pt x="6953" y="6351"/>
                      <a:pt x="6953" y="6351"/>
                      <a:pt x="6953" y="6351"/>
                    </a:cubicBezTo>
                    <a:cubicBezTo>
                      <a:pt x="6950" y="6394"/>
                      <a:pt x="6950" y="6394"/>
                      <a:pt x="6950" y="6394"/>
                    </a:cubicBezTo>
                    <a:cubicBezTo>
                      <a:pt x="6903" y="6390"/>
                      <a:pt x="6903" y="6390"/>
                      <a:pt x="6903" y="6390"/>
                    </a:cubicBezTo>
                    <a:cubicBezTo>
                      <a:pt x="6899" y="6450"/>
                      <a:pt x="6899" y="6450"/>
                      <a:pt x="6899" y="6450"/>
                    </a:cubicBezTo>
                    <a:cubicBezTo>
                      <a:pt x="6983" y="6456"/>
                      <a:pt x="6983" y="6456"/>
                      <a:pt x="6983" y="6456"/>
                    </a:cubicBezTo>
                    <a:lnTo>
                      <a:pt x="7000" y="6354"/>
                    </a:lnTo>
                    <a:close/>
                    <a:moveTo>
                      <a:pt x="7004" y="6335"/>
                    </a:moveTo>
                    <a:cubicBezTo>
                      <a:pt x="6869" y="6319"/>
                      <a:pt x="6869" y="6319"/>
                      <a:pt x="6869" y="6319"/>
                    </a:cubicBezTo>
                    <a:cubicBezTo>
                      <a:pt x="6866" y="6339"/>
                      <a:pt x="6860" y="6371"/>
                      <a:pt x="6854" y="6403"/>
                    </a:cubicBezTo>
                    <a:cubicBezTo>
                      <a:pt x="6849" y="6429"/>
                      <a:pt x="6843" y="6455"/>
                      <a:pt x="6838" y="6475"/>
                    </a:cubicBezTo>
                    <a:cubicBezTo>
                      <a:pt x="6836" y="6484"/>
                      <a:pt x="6834" y="6493"/>
                      <a:pt x="6832" y="6499"/>
                    </a:cubicBezTo>
                    <a:cubicBezTo>
                      <a:pt x="6831" y="6502"/>
                      <a:pt x="6830" y="6504"/>
                      <a:pt x="6829" y="6506"/>
                    </a:cubicBezTo>
                    <a:cubicBezTo>
                      <a:pt x="6828" y="6507"/>
                      <a:pt x="6827" y="6509"/>
                      <a:pt x="6825" y="6511"/>
                    </a:cubicBezTo>
                    <a:cubicBezTo>
                      <a:pt x="6895" y="6522"/>
                      <a:pt x="6964" y="6533"/>
                      <a:pt x="7017" y="6541"/>
                    </a:cubicBezTo>
                    <a:cubicBezTo>
                      <a:pt x="7045" y="6546"/>
                      <a:pt x="7068" y="6549"/>
                      <a:pt x="7085" y="6552"/>
                    </a:cubicBezTo>
                    <a:cubicBezTo>
                      <a:pt x="7088" y="6553"/>
                      <a:pt x="7092" y="6553"/>
                      <a:pt x="7095" y="6554"/>
                    </a:cubicBezTo>
                    <a:cubicBezTo>
                      <a:pt x="7124" y="6350"/>
                      <a:pt x="7124" y="6350"/>
                      <a:pt x="7124" y="6350"/>
                    </a:cubicBezTo>
                    <a:cubicBezTo>
                      <a:pt x="7017" y="6337"/>
                      <a:pt x="7017" y="6337"/>
                      <a:pt x="7017" y="6337"/>
                    </a:cubicBezTo>
                    <a:cubicBezTo>
                      <a:pt x="7017" y="6342"/>
                      <a:pt x="7017" y="6342"/>
                      <a:pt x="7017" y="6342"/>
                    </a:cubicBezTo>
                    <a:cubicBezTo>
                      <a:pt x="7058" y="6346"/>
                      <a:pt x="7058" y="6346"/>
                      <a:pt x="7058" y="6346"/>
                    </a:cubicBezTo>
                    <a:cubicBezTo>
                      <a:pt x="7054" y="6389"/>
                      <a:pt x="7054" y="6389"/>
                      <a:pt x="7054" y="6389"/>
                    </a:cubicBezTo>
                    <a:cubicBezTo>
                      <a:pt x="7101" y="6392"/>
                      <a:pt x="7101" y="6392"/>
                      <a:pt x="7101" y="6392"/>
                    </a:cubicBezTo>
                    <a:cubicBezTo>
                      <a:pt x="7094" y="6478"/>
                      <a:pt x="7094" y="6478"/>
                      <a:pt x="7094" y="6478"/>
                    </a:cubicBezTo>
                    <a:cubicBezTo>
                      <a:pt x="6994" y="6470"/>
                      <a:pt x="6994" y="6470"/>
                      <a:pt x="6994" y="6470"/>
                    </a:cubicBezTo>
                    <a:cubicBezTo>
                      <a:pt x="6984" y="6531"/>
                      <a:pt x="6984" y="6531"/>
                      <a:pt x="6984" y="6531"/>
                    </a:cubicBezTo>
                    <a:cubicBezTo>
                      <a:pt x="6970" y="6529"/>
                      <a:pt x="6970" y="6529"/>
                      <a:pt x="6970" y="6529"/>
                    </a:cubicBezTo>
                    <a:cubicBezTo>
                      <a:pt x="6980" y="6469"/>
                      <a:pt x="6980" y="6469"/>
                      <a:pt x="6980" y="6469"/>
                    </a:cubicBezTo>
                    <a:cubicBezTo>
                      <a:pt x="6884" y="6462"/>
                      <a:pt x="6884" y="6462"/>
                      <a:pt x="6884" y="6462"/>
                    </a:cubicBezTo>
                    <a:cubicBezTo>
                      <a:pt x="6885" y="6455"/>
                      <a:pt x="6885" y="6455"/>
                      <a:pt x="6885" y="6455"/>
                    </a:cubicBezTo>
                    <a:cubicBezTo>
                      <a:pt x="6891" y="6376"/>
                      <a:pt x="6891" y="6376"/>
                      <a:pt x="6891" y="6376"/>
                    </a:cubicBezTo>
                    <a:cubicBezTo>
                      <a:pt x="6938" y="6379"/>
                      <a:pt x="6938" y="6379"/>
                      <a:pt x="6938" y="6379"/>
                    </a:cubicBezTo>
                    <a:cubicBezTo>
                      <a:pt x="6941" y="6337"/>
                      <a:pt x="6941" y="6337"/>
                      <a:pt x="6941" y="6337"/>
                    </a:cubicBezTo>
                    <a:cubicBezTo>
                      <a:pt x="7003" y="6341"/>
                      <a:pt x="7003" y="6341"/>
                      <a:pt x="7003" y="6341"/>
                    </a:cubicBezTo>
                    <a:lnTo>
                      <a:pt x="7004" y="6335"/>
                    </a:lnTo>
                    <a:close/>
                    <a:moveTo>
                      <a:pt x="7158" y="6789"/>
                    </a:moveTo>
                    <a:cubicBezTo>
                      <a:pt x="7170" y="6729"/>
                      <a:pt x="7170" y="6729"/>
                      <a:pt x="7170" y="6729"/>
                    </a:cubicBezTo>
                    <a:cubicBezTo>
                      <a:pt x="7137" y="6718"/>
                      <a:pt x="7137" y="6718"/>
                      <a:pt x="7137" y="6718"/>
                    </a:cubicBezTo>
                    <a:cubicBezTo>
                      <a:pt x="7107" y="6926"/>
                      <a:pt x="7107" y="6926"/>
                      <a:pt x="7107" y="6926"/>
                    </a:cubicBezTo>
                    <a:cubicBezTo>
                      <a:pt x="7182" y="6940"/>
                      <a:pt x="7380" y="6977"/>
                      <a:pt x="7418" y="6984"/>
                    </a:cubicBezTo>
                    <a:cubicBezTo>
                      <a:pt x="7442" y="6864"/>
                      <a:pt x="7442" y="6864"/>
                      <a:pt x="7442" y="6864"/>
                    </a:cubicBezTo>
                    <a:cubicBezTo>
                      <a:pt x="7441" y="6864"/>
                      <a:pt x="7441" y="6863"/>
                      <a:pt x="7440" y="6863"/>
                    </a:cubicBezTo>
                    <a:cubicBezTo>
                      <a:pt x="7436" y="6862"/>
                      <a:pt x="7435" y="6861"/>
                      <a:pt x="7430" y="6858"/>
                    </a:cubicBezTo>
                    <a:cubicBezTo>
                      <a:pt x="7400" y="6841"/>
                      <a:pt x="7307" y="6777"/>
                      <a:pt x="7297" y="6770"/>
                    </a:cubicBezTo>
                    <a:cubicBezTo>
                      <a:pt x="7294" y="6769"/>
                      <a:pt x="7294" y="6769"/>
                      <a:pt x="7294" y="6769"/>
                    </a:cubicBezTo>
                    <a:cubicBezTo>
                      <a:pt x="7276" y="6860"/>
                      <a:pt x="7276" y="6860"/>
                      <a:pt x="7276" y="6860"/>
                    </a:cubicBezTo>
                    <a:cubicBezTo>
                      <a:pt x="7270" y="6859"/>
                      <a:pt x="7270" y="6859"/>
                      <a:pt x="7270" y="6859"/>
                    </a:cubicBezTo>
                    <a:cubicBezTo>
                      <a:pt x="7191" y="6843"/>
                      <a:pt x="7191" y="6843"/>
                      <a:pt x="7191" y="6843"/>
                    </a:cubicBezTo>
                    <a:cubicBezTo>
                      <a:pt x="7201" y="6797"/>
                      <a:pt x="7201" y="6797"/>
                      <a:pt x="7201" y="6797"/>
                    </a:cubicBezTo>
                    <a:lnTo>
                      <a:pt x="7158" y="6789"/>
                    </a:lnTo>
                    <a:close/>
                    <a:moveTo>
                      <a:pt x="7183" y="6733"/>
                    </a:moveTo>
                    <a:cubicBezTo>
                      <a:pt x="7174" y="6778"/>
                      <a:pt x="7174" y="6778"/>
                      <a:pt x="7174" y="6778"/>
                    </a:cubicBezTo>
                    <a:cubicBezTo>
                      <a:pt x="7216" y="6787"/>
                      <a:pt x="7216" y="6787"/>
                      <a:pt x="7216" y="6787"/>
                    </a:cubicBezTo>
                    <a:cubicBezTo>
                      <a:pt x="7207" y="6833"/>
                      <a:pt x="7207" y="6833"/>
                      <a:pt x="7207" y="6833"/>
                    </a:cubicBezTo>
                    <a:cubicBezTo>
                      <a:pt x="7266" y="6845"/>
                      <a:pt x="7266" y="6845"/>
                      <a:pt x="7266" y="6845"/>
                    </a:cubicBezTo>
                    <a:cubicBezTo>
                      <a:pt x="7281" y="6765"/>
                      <a:pt x="7281" y="6765"/>
                      <a:pt x="7281" y="6765"/>
                    </a:cubicBezTo>
                    <a:lnTo>
                      <a:pt x="7183" y="6733"/>
                    </a:lnTo>
                    <a:close/>
                    <a:moveTo>
                      <a:pt x="7284" y="6751"/>
                    </a:moveTo>
                    <a:cubicBezTo>
                      <a:pt x="7302" y="6664"/>
                      <a:pt x="7302" y="6664"/>
                      <a:pt x="7302" y="6664"/>
                    </a:cubicBezTo>
                    <a:cubicBezTo>
                      <a:pt x="7243" y="6652"/>
                      <a:pt x="7243" y="6652"/>
                      <a:pt x="7243" y="6652"/>
                    </a:cubicBezTo>
                    <a:cubicBezTo>
                      <a:pt x="7234" y="6698"/>
                      <a:pt x="7234" y="6698"/>
                      <a:pt x="7234" y="6698"/>
                    </a:cubicBezTo>
                    <a:cubicBezTo>
                      <a:pt x="7191" y="6690"/>
                      <a:pt x="7191" y="6690"/>
                      <a:pt x="7191" y="6690"/>
                    </a:cubicBezTo>
                    <a:cubicBezTo>
                      <a:pt x="7185" y="6719"/>
                      <a:pt x="7185" y="6719"/>
                      <a:pt x="7185" y="6719"/>
                    </a:cubicBezTo>
                    <a:lnTo>
                      <a:pt x="7284" y="6751"/>
                    </a:lnTo>
                    <a:close/>
                    <a:moveTo>
                      <a:pt x="7203" y="7103"/>
                    </a:moveTo>
                    <a:cubicBezTo>
                      <a:pt x="7349" y="7084"/>
                      <a:pt x="7349" y="7084"/>
                      <a:pt x="7349" y="7084"/>
                    </a:cubicBezTo>
                    <a:cubicBezTo>
                      <a:pt x="7411" y="6997"/>
                      <a:pt x="7411" y="6997"/>
                      <a:pt x="7411" y="6997"/>
                    </a:cubicBezTo>
                    <a:cubicBezTo>
                      <a:pt x="7366" y="6988"/>
                      <a:pt x="7179" y="6954"/>
                      <a:pt x="7105" y="6940"/>
                    </a:cubicBezTo>
                    <a:cubicBezTo>
                      <a:pt x="7075" y="7140"/>
                      <a:pt x="7075" y="7140"/>
                      <a:pt x="7075" y="7140"/>
                    </a:cubicBezTo>
                    <a:cubicBezTo>
                      <a:pt x="7209" y="7159"/>
                      <a:pt x="7209" y="7159"/>
                      <a:pt x="7209" y="7159"/>
                    </a:cubicBezTo>
                    <a:cubicBezTo>
                      <a:pt x="7206" y="7130"/>
                      <a:pt x="7204" y="7110"/>
                      <a:pt x="7204" y="7109"/>
                    </a:cubicBezTo>
                    <a:lnTo>
                      <a:pt x="7203" y="7103"/>
                    </a:lnTo>
                    <a:close/>
                    <a:moveTo>
                      <a:pt x="6433" y="7115"/>
                    </a:moveTo>
                    <a:cubicBezTo>
                      <a:pt x="6431" y="7123"/>
                      <a:pt x="6431" y="7123"/>
                      <a:pt x="6431" y="7123"/>
                    </a:cubicBezTo>
                    <a:cubicBezTo>
                      <a:pt x="6766" y="7166"/>
                      <a:pt x="6766" y="7166"/>
                      <a:pt x="6766" y="7166"/>
                    </a:cubicBezTo>
                    <a:cubicBezTo>
                      <a:pt x="6799" y="6985"/>
                      <a:pt x="6799" y="6985"/>
                      <a:pt x="6799" y="6985"/>
                    </a:cubicBezTo>
                    <a:cubicBezTo>
                      <a:pt x="6769" y="6980"/>
                      <a:pt x="6738" y="6975"/>
                      <a:pt x="6706" y="6971"/>
                    </a:cubicBezTo>
                    <a:cubicBezTo>
                      <a:pt x="6568" y="6950"/>
                      <a:pt x="6428" y="6930"/>
                      <a:pt x="6369" y="6922"/>
                    </a:cubicBezTo>
                    <a:cubicBezTo>
                      <a:pt x="6368" y="6924"/>
                      <a:pt x="6368" y="6924"/>
                      <a:pt x="6368" y="6924"/>
                    </a:cubicBezTo>
                    <a:lnTo>
                      <a:pt x="6433" y="7115"/>
                    </a:lnTo>
                    <a:close/>
                    <a:moveTo>
                      <a:pt x="5118" y="6838"/>
                    </a:moveTo>
                    <a:cubicBezTo>
                      <a:pt x="5122" y="6825"/>
                      <a:pt x="5122" y="6825"/>
                      <a:pt x="5122" y="6825"/>
                    </a:cubicBezTo>
                    <a:cubicBezTo>
                      <a:pt x="5742" y="6987"/>
                      <a:pt x="5742" y="6987"/>
                      <a:pt x="5742" y="6987"/>
                    </a:cubicBezTo>
                    <a:cubicBezTo>
                      <a:pt x="5772" y="6818"/>
                      <a:pt x="5772" y="6818"/>
                      <a:pt x="5772" y="6818"/>
                    </a:cubicBezTo>
                    <a:cubicBezTo>
                      <a:pt x="5211" y="6703"/>
                      <a:pt x="5211" y="6703"/>
                      <a:pt x="5211" y="6703"/>
                    </a:cubicBezTo>
                    <a:cubicBezTo>
                      <a:pt x="5165" y="6711"/>
                      <a:pt x="5165" y="6711"/>
                      <a:pt x="5165" y="6711"/>
                    </a:cubicBezTo>
                    <a:cubicBezTo>
                      <a:pt x="5160" y="6723"/>
                      <a:pt x="5145" y="6762"/>
                      <a:pt x="5129" y="6802"/>
                    </a:cubicBezTo>
                    <a:cubicBezTo>
                      <a:pt x="5111" y="6849"/>
                      <a:pt x="5093" y="6901"/>
                      <a:pt x="5093" y="6909"/>
                    </a:cubicBezTo>
                    <a:cubicBezTo>
                      <a:pt x="5094" y="6912"/>
                      <a:pt x="5094" y="6913"/>
                      <a:pt x="5094" y="6916"/>
                    </a:cubicBezTo>
                    <a:cubicBezTo>
                      <a:pt x="5097" y="6936"/>
                      <a:pt x="5099" y="7006"/>
                      <a:pt x="5101" y="7077"/>
                    </a:cubicBezTo>
                    <a:cubicBezTo>
                      <a:pt x="5101" y="7077"/>
                      <a:pt x="5102" y="7077"/>
                      <a:pt x="5102" y="7077"/>
                    </a:cubicBezTo>
                    <a:cubicBezTo>
                      <a:pt x="5102" y="7077"/>
                      <a:pt x="5102" y="7077"/>
                      <a:pt x="5102" y="7077"/>
                    </a:cubicBezTo>
                    <a:cubicBezTo>
                      <a:pt x="5112" y="7077"/>
                      <a:pt x="5278" y="7094"/>
                      <a:pt x="5443" y="7112"/>
                    </a:cubicBezTo>
                    <a:cubicBezTo>
                      <a:pt x="5526" y="7121"/>
                      <a:pt x="5608" y="7130"/>
                      <a:pt x="5669" y="7136"/>
                    </a:cubicBezTo>
                    <a:cubicBezTo>
                      <a:pt x="5686" y="7138"/>
                      <a:pt x="5702" y="7140"/>
                      <a:pt x="5716" y="7142"/>
                    </a:cubicBezTo>
                    <a:cubicBezTo>
                      <a:pt x="5740" y="7001"/>
                      <a:pt x="5740" y="7001"/>
                      <a:pt x="5740" y="7001"/>
                    </a:cubicBezTo>
                    <a:lnTo>
                      <a:pt x="5118" y="6838"/>
                    </a:lnTo>
                    <a:close/>
                    <a:moveTo>
                      <a:pt x="5102" y="7084"/>
                    </a:moveTo>
                    <a:cubicBezTo>
                      <a:pt x="5102" y="7084"/>
                      <a:pt x="5102" y="7084"/>
                      <a:pt x="5102" y="7084"/>
                    </a:cubicBezTo>
                    <a:cubicBezTo>
                      <a:pt x="5106" y="7078"/>
                      <a:pt x="5106" y="7078"/>
                      <a:pt x="5106" y="7078"/>
                    </a:cubicBezTo>
                    <a:lnTo>
                      <a:pt x="5102" y="7084"/>
                    </a:lnTo>
                    <a:close/>
                    <a:moveTo>
                      <a:pt x="5079" y="6910"/>
                    </a:moveTo>
                    <a:cubicBezTo>
                      <a:pt x="5079" y="6895"/>
                      <a:pt x="5098" y="6846"/>
                      <a:pt x="5116" y="6797"/>
                    </a:cubicBezTo>
                    <a:cubicBezTo>
                      <a:pt x="5135" y="6748"/>
                      <a:pt x="5154" y="6703"/>
                      <a:pt x="5154" y="6703"/>
                    </a:cubicBezTo>
                    <a:cubicBezTo>
                      <a:pt x="5155" y="6699"/>
                      <a:pt x="5155" y="6699"/>
                      <a:pt x="5155" y="6699"/>
                    </a:cubicBezTo>
                    <a:cubicBezTo>
                      <a:pt x="5220" y="6688"/>
                      <a:pt x="5220" y="6688"/>
                      <a:pt x="5220" y="6688"/>
                    </a:cubicBezTo>
                    <a:cubicBezTo>
                      <a:pt x="5224" y="6659"/>
                      <a:pt x="5233" y="6563"/>
                      <a:pt x="5243" y="6455"/>
                    </a:cubicBezTo>
                    <a:cubicBezTo>
                      <a:pt x="4860" y="6404"/>
                      <a:pt x="4860" y="6404"/>
                      <a:pt x="4860" y="6404"/>
                    </a:cubicBezTo>
                    <a:cubicBezTo>
                      <a:pt x="4810" y="6671"/>
                      <a:pt x="4810" y="6671"/>
                      <a:pt x="4810" y="6671"/>
                    </a:cubicBezTo>
                    <a:cubicBezTo>
                      <a:pt x="5134" y="6742"/>
                      <a:pt x="5134" y="6742"/>
                      <a:pt x="5134" y="6742"/>
                    </a:cubicBezTo>
                    <a:cubicBezTo>
                      <a:pt x="5131" y="6755"/>
                      <a:pt x="5131" y="6755"/>
                      <a:pt x="5131" y="6755"/>
                    </a:cubicBezTo>
                    <a:cubicBezTo>
                      <a:pt x="4808" y="6684"/>
                      <a:pt x="4808" y="6684"/>
                      <a:pt x="4808" y="6684"/>
                    </a:cubicBezTo>
                    <a:cubicBezTo>
                      <a:pt x="4721" y="7154"/>
                      <a:pt x="4721" y="7154"/>
                      <a:pt x="4721" y="7154"/>
                    </a:cubicBezTo>
                    <a:cubicBezTo>
                      <a:pt x="5091" y="7228"/>
                      <a:pt x="5091" y="7228"/>
                      <a:pt x="5091" y="7228"/>
                    </a:cubicBezTo>
                    <a:cubicBezTo>
                      <a:pt x="5090" y="7197"/>
                      <a:pt x="5089" y="7142"/>
                      <a:pt x="5088" y="7086"/>
                    </a:cubicBezTo>
                    <a:cubicBezTo>
                      <a:pt x="5086" y="7044"/>
                      <a:pt x="5085" y="7002"/>
                      <a:pt x="5084" y="6969"/>
                    </a:cubicBezTo>
                    <a:cubicBezTo>
                      <a:pt x="5083" y="6953"/>
                      <a:pt x="5082" y="6939"/>
                      <a:pt x="5081" y="6929"/>
                    </a:cubicBezTo>
                    <a:cubicBezTo>
                      <a:pt x="5081" y="6925"/>
                      <a:pt x="5081" y="6921"/>
                      <a:pt x="5080" y="6918"/>
                    </a:cubicBezTo>
                    <a:cubicBezTo>
                      <a:pt x="5080" y="6917"/>
                      <a:pt x="5080" y="6915"/>
                      <a:pt x="5080" y="6915"/>
                    </a:cubicBezTo>
                    <a:cubicBezTo>
                      <a:pt x="5080" y="6915"/>
                      <a:pt x="5080" y="6914"/>
                      <a:pt x="5080" y="6914"/>
                    </a:cubicBezTo>
                    <a:cubicBezTo>
                      <a:pt x="5080" y="6914"/>
                      <a:pt x="5080" y="6914"/>
                      <a:pt x="5080" y="6914"/>
                    </a:cubicBezTo>
                    <a:cubicBezTo>
                      <a:pt x="5079" y="6912"/>
                      <a:pt x="5079" y="6911"/>
                      <a:pt x="5079" y="6910"/>
                    </a:cubicBezTo>
                    <a:close/>
                    <a:moveTo>
                      <a:pt x="4875" y="6320"/>
                    </a:moveTo>
                    <a:cubicBezTo>
                      <a:pt x="4874" y="6327"/>
                      <a:pt x="4874" y="6327"/>
                      <a:pt x="4874" y="6327"/>
                    </a:cubicBezTo>
                    <a:cubicBezTo>
                      <a:pt x="4862" y="6390"/>
                      <a:pt x="4862" y="6390"/>
                      <a:pt x="4862" y="6390"/>
                    </a:cubicBezTo>
                    <a:cubicBezTo>
                      <a:pt x="5244" y="6442"/>
                      <a:pt x="5244" y="6442"/>
                      <a:pt x="5244" y="6442"/>
                    </a:cubicBezTo>
                    <a:cubicBezTo>
                      <a:pt x="5246" y="6419"/>
                      <a:pt x="5248" y="6396"/>
                      <a:pt x="5250" y="6373"/>
                    </a:cubicBezTo>
                    <a:cubicBezTo>
                      <a:pt x="5252" y="6355"/>
                      <a:pt x="5253" y="6338"/>
                      <a:pt x="5255" y="6320"/>
                    </a:cubicBezTo>
                    <a:cubicBezTo>
                      <a:pt x="4699" y="6231"/>
                      <a:pt x="4699" y="6231"/>
                      <a:pt x="4699" y="6231"/>
                    </a:cubicBezTo>
                    <a:cubicBezTo>
                      <a:pt x="4690" y="6275"/>
                      <a:pt x="4681" y="6320"/>
                      <a:pt x="4672" y="6364"/>
                    </a:cubicBezTo>
                    <a:cubicBezTo>
                      <a:pt x="4706" y="6369"/>
                      <a:pt x="4706" y="6369"/>
                      <a:pt x="4706" y="6369"/>
                    </a:cubicBezTo>
                    <a:cubicBezTo>
                      <a:pt x="4720" y="6294"/>
                      <a:pt x="4720" y="6294"/>
                      <a:pt x="4720" y="6294"/>
                    </a:cubicBezTo>
                    <a:lnTo>
                      <a:pt x="4875" y="6320"/>
                    </a:lnTo>
                    <a:close/>
                    <a:moveTo>
                      <a:pt x="4670" y="6640"/>
                    </a:moveTo>
                    <a:cubicBezTo>
                      <a:pt x="4798" y="6668"/>
                      <a:pt x="4798" y="6668"/>
                      <a:pt x="4798" y="6668"/>
                    </a:cubicBezTo>
                    <a:cubicBezTo>
                      <a:pt x="4847" y="6402"/>
                      <a:pt x="4847" y="6402"/>
                      <a:pt x="4847" y="6402"/>
                    </a:cubicBezTo>
                    <a:cubicBezTo>
                      <a:pt x="4717" y="6384"/>
                      <a:pt x="4717" y="6384"/>
                      <a:pt x="4717" y="6384"/>
                    </a:cubicBezTo>
                    <a:lnTo>
                      <a:pt x="4670" y="6640"/>
                    </a:lnTo>
                    <a:close/>
                    <a:moveTo>
                      <a:pt x="4704" y="6383"/>
                    </a:moveTo>
                    <a:cubicBezTo>
                      <a:pt x="4669" y="6378"/>
                      <a:pt x="4669" y="6378"/>
                      <a:pt x="4669" y="6378"/>
                    </a:cubicBezTo>
                    <a:cubicBezTo>
                      <a:pt x="4652" y="6466"/>
                      <a:pt x="4635" y="6551"/>
                      <a:pt x="4620" y="6629"/>
                    </a:cubicBezTo>
                    <a:cubicBezTo>
                      <a:pt x="4657" y="6637"/>
                      <a:pt x="4657" y="6637"/>
                      <a:pt x="4657" y="6637"/>
                    </a:cubicBezTo>
                    <a:lnTo>
                      <a:pt x="4704" y="6383"/>
                    </a:lnTo>
                    <a:close/>
                    <a:moveTo>
                      <a:pt x="4849" y="6388"/>
                    </a:moveTo>
                    <a:cubicBezTo>
                      <a:pt x="4860" y="6331"/>
                      <a:pt x="4860" y="6331"/>
                      <a:pt x="4860" y="6331"/>
                    </a:cubicBezTo>
                    <a:cubicBezTo>
                      <a:pt x="4730" y="6310"/>
                      <a:pt x="4730" y="6310"/>
                      <a:pt x="4730" y="6310"/>
                    </a:cubicBezTo>
                    <a:cubicBezTo>
                      <a:pt x="4719" y="6371"/>
                      <a:pt x="4719" y="6371"/>
                      <a:pt x="4719" y="6371"/>
                    </a:cubicBezTo>
                    <a:lnTo>
                      <a:pt x="4849" y="6388"/>
                    </a:lnTo>
                    <a:close/>
                    <a:moveTo>
                      <a:pt x="4740" y="5705"/>
                    </a:moveTo>
                    <a:cubicBezTo>
                      <a:pt x="4679" y="5699"/>
                      <a:pt x="4679" y="5699"/>
                      <a:pt x="4679" y="5699"/>
                    </a:cubicBezTo>
                    <a:cubicBezTo>
                      <a:pt x="4626" y="5986"/>
                      <a:pt x="4626" y="5986"/>
                      <a:pt x="4626" y="5986"/>
                    </a:cubicBezTo>
                    <a:cubicBezTo>
                      <a:pt x="4680" y="5996"/>
                      <a:pt x="4680" y="5996"/>
                      <a:pt x="4680" y="5996"/>
                    </a:cubicBezTo>
                    <a:cubicBezTo>
                      <a:pt x="4702" y="5887"/>
                      <a:pt x="4723" y="5786"/>
                      <a:pt x="4740" y="5705"/>
                    </a:cubicBezTo>
                    <a:close/>
                    <a:moveTo>
                      <a:pt x="4700" y="5514"/>
                    </a:moveTo>
                    <a:cubicBezTo>
                      <a:pt x="4570" y="5492"/>
                      <a:pt x="4570" y="5492"/>
                      <a:pt x="4570" y="5492"/>
                    </a:cubicBezTo>
                    <a:cubicBezTo>
                      <a:pt x="4537" y="5673"/>
                      <a:pt x="4537" y="5673"/>
                      <a:pt x="4537" y="5673"/>
                    </a:cubicBezTo>
                    <a:cubicBezTo>
                      <a:pt x="4668" y="5685"/>
                      <a:pt x="4668" y="5685"/>
                      <a:pt x="4668" y="5685"/>
                    </a:cubicBezTo>
                    <a:lnTo>
                      <a:pt x="4700" y="5514"/>
                    </a:lnTo>
                    <a:close/>
                    <a:moveTo>
                      <a:pt x="4534" y="5687"/>
                    </a:moveTo>
                    <a:cubicBezTo>
                      <a:pt x="4484" y="5960"/>
                      <a:pt x="4484" y="5960"/>
                      <a:pt x="4484" y="5960"/>
                    </a:cubicBezTo>
                    <a:cubicBezTo>
                      <a:pt x="4613" y="5984"/>
                      <a:pt x="4613" y="5984"/>
                      <a:pt x="4613" y="5984"/>
                    </a:cubicBezTo>
                    <a:cubicBezTo>
                      <a:pt x="4666" y="5698"/>
                      <a:pt x="4666" y="5698"/>
                      <a:pt x="4666" y="5698"/>
                    </a:cubicBezTo>
                    <a:lnTo>
                      <a:pt x="4534" y="5687"/>
                    </a:lnTo>
                    <a:close/>
                    <a:moveTo>
                      <a:pt x="4521" y="5685"/>
                    </a:moveTo>
                    <a:cubicBezTo>
                      <a:pt x="4019" y="5641"/>
                      <a:pt x="4019" y="5641"/>
                      <a:pt x="4019" y="5641"/>
                    </a:cubicBezTo>
                    <a:cubicBezTo>
                      <a:pt x="3991" y="5999"/>
                      <a:pt x="3991" y="5999"/>
                      <a:pt x="3991" y="5999"/>
                    </a:cubicBezTo>
                    <a:cubicBezTo>
                      <a:pt x="3886" y="6187"/>
                      <a:pt x="3886" y="6187"/>
                      <a:pt x="3886" y="6187"/>
                    </a:cubicBezTo>
                    <a:cubicBezTo>
                      <a:pt x="4244" y="6301"/>
                      <a:pt x="4244" y="6301"/>
                      <a:pt x="4244" y="6301"/>
                    </a:cubicBezTo>
                    <a:cubicBezTo>
                      <a:pt x="4404" y="6325"/>
                      <a:pt x="4404" y="6325"/>
                      <a:pt x="4404" y="6325"/>
                    </a:cubicBezTo>
                    <a:cubicBezTo>
                      <a:pt x="4469" y="5971"/>
                      <a:pt x="4469" y="5971"/>
                      <a:pt x="4469" y="5971"/>
                    </a:cubicBezTo>
                    <a:cubicBezTo>
                      <a:pt x="4001" y="5884"/>
                      <a:pt x="4001" y="5884"/>
                      <a:pt x="4001" y="5884"/>
                    </a:cubicBezTo>
                    <a:cubicBezTo>
                      <a:pt x="4003" y="5870"/>
                      <a:pt x="4003" y="5870"/>
                      <a:pt x="4003" y="5870"/>
                    </a:cubicBezTo>
                    <a:cubicBezTo>
                      <a:pt x="4471" y="5957"/>
                      <a:pt x="4471" y="5957"/>
                      <a:pt x="4471" y="5957"/>
                    </a:cubicBezTo>
                    <a:lnTo>
                      <a:pt x="4521" y="5685"/>
                    </a:lnTo>
                    <a:close/>
                    <a:moveTo>
                      <a:pt x="4401" y="6412"/>
                    </a:moveTo>
                    <a:cubicBezTo>
                      <a:pt x="4529" y="6433"/>
                      <a:pt x="4529" y="6433"/>
                      <a:pt x="4529" y="6433"/>
                    </a:cubicBezTo>
                    <a:cubicBezTo>
                      <a:pt x="4543" y="6360"/>
                      <a:pt x="4543" y="6360"/>
                      <a:pt x="4543" y="6360"/>
                    </a:cubicBezTo>
                    <a:cubicBezTo>
                      <a:pt x="4414" y="6341"/>
                      <a:pt x="4414" y="6341"/>
                      <a:pt x="4414" y="6341"/>
                    </a:cubicBezTo>
                    <a:lnTo>
                      <a:pt x="4401" y="6412"/>
                    </a:lnTo>
                    <a:close/>
                    <a:moveTo>
                      <a:pt x="4545" y="6346"/>
                    </a:moveTo>
                    <a:cubicBezTo>
                      <a:pt x="4610" y="5998"/>
                      <a:pt x="4610" y="5998"/>
                      <a:pt x="4610" y="5998"/>
                    </a:cubicBezTo>
                    <a:cubicBezTo>
                      <a:pt x="4482" y="5974"/>
                      <a:pt x="4482" y="5974"/>
                      <a:pt x="4482" y="5974"/>
                    </a:cubicBezTo>
                    <a:cubicBezTo>
                      <a:pt x="4417" y="6327"/>
                      <a:pt x="4417" y="6327"/>
                      <a:pt x="4417" y="6327"/>
                    </a:cubicBezTo>
                    <a:lnTo>
                      <a:pt x="4545" y="6346"/>
                    </a:lnTo>
                    <a:close/>
                    <a:moveTo>
                      <a:pt x="4558" y="6348"/>
                    </a:moveTo>
                    <a:cubicBezTo>
                      <a:pt x="4607" y="6355"/>
                      <a:pt x="4607" y="6355"/>
                      <a:pt x="4607" y="6355"/>
                    </a:cubicBezTo>
                    <a:cubicBezTo>
                      <a:pt x="4630" y="6240"/>
                      <a:pt x="4654" y="6121"/>
                      <a:pt x="4677" y="6010"/>
                    </a:cubicBezTo>
                    <a:cubicBezTo>
                      <a:pt x="4623" y="6000"/>
                      <a:pt x="4623" y="6000"/>
                      <a:pt x="4623" y="6000"/>
                    </a:cubicBezTo>
                    <a:lnTo>
                      <a:pt x="4558" y="6348"/>
                    </a:lnTo>
                    <a:close/>
                    <a:moveTo>
                      <a:pt x="4560" y="6966"/>
                    </a:moveTo>
                    <a:cubicBezTo>
                      <a:pt x="4553" y="7018"/>
                      <a:pt x="4544" y="7069"/>
                      <a:pt x="4533" y="7116"/>
                    </a:cubicBezTo>
                    <a:cubicBezTo>
                      <a:pt x="4567" y="7123"/>
                      <a:pt x="4567" y="7123"/>
                      <a:pt x="4567" y="7123"/>
                    </a:cubicBezTo>
                    <a:cubicBezTo>
                      <a:pt x="4654" y="6651"/>
                      <a:pt x="4654" y="6651"/>
                      <a:pt x="4654" y="6651"/>
                    </a:cubicBezTo>
                    <a:cubicBezTo>
                      <a:pt x="4617" y="6643"/>
                      <a:pt x="4617" y="6643"/>
                      <a:pt x="4617" y="6643"/>
                    </a:cubicBezTo>
                    <a:cubicBezTo>
                      <a:pt x="4589" y="6789"/>
                      <a:pt x="4568" y="6909"/>
                      <a:pt x="4560" y="6966"/>
                    </a:cubicBezTo>
                    <a:close/>
                    <a:moveTo>
                      <a:pt x="4561" y="7229"/>
                    </a:moveTo>
                    <a:cubicBezTo>
                      <a:pt x="4690" y="7250"/>
                      <a:pt x="4690" y="7250"/>
                      <a:pt x="4690" y="7250"/>
                    </a:cubicBezTo>
                    <a:cubicBezTo>
                      <a:pt x="4706" y="7165"/>
                      <a:pt x="4706" y="7165"/>
                      <a:pt x="4706" y="7165"/>
                    </a:cubicBezTo>
                    <a:cubicBezTo>
                      <a:pt x="4578" y="7139"/>
                      <a:pt x="4578" y="7139"/>
                      <a:pt x="4578" y="7139"/>
                    </a:cubicBezTo>
                    <a:lnTo>
                      <a:pt x="4561" y="7229"/>
                    </a:lnTo>
                    <a:close/>
                    <a:moveTo>
                      <a:pt x="4708" y="7151"/>
                    </a:moveTo>
                    <a:cubicBezTo>
                      <a:pt x="4795" y="6682"/>
                      <a:pt x="4795" y="6682"/>
                      <a:pt x="4795" y="6682"/>
                    </a:cubicBezTo>
                    <a:cubicBezTo>
                      <a:pt x="4667" y="6654"/>
                      <a:pt x="4667" y="6654"/>
                      <a:pt x="4667" y="6654"/>
                    </a:cubicBezTo>
                    <a:cubicBezTo>
                      <a:pt x="4580" y="7125"/>
                      <a:pt x="4580" y="7125"/>
                      <a:pt x="4580" y="7125"/>
                    </a:cubicBezTo>
                    <a:lnTo>
                      <a:pt x="4708" y="7151"/>
                    </a:lnTo>
                    <a:close/>
                    <a:moveTo>
                      <a:pt x="5774" y="6804"/>
                    </a:moveTo>
                    <a:cubicBezTo>
                      <a:pt x="5806" y="6619"/>
                      <a:pt x="5806" y="6619"/>
                      <a:pt x="5806" y="6619"/>
                    </a:cubicBezTo>
                    <a:cubicBezTo>
                      <a:pt x="5249" y="6537"/>
                      <a:pt x="5249" y="6537"/>
                      <a:pt x="5249" y="6537"/>
                    </a:cubicBezTo>
                    <a:cubicBezTo>
                      <a:pt x="5247" y="6559"/>
                      <a:pt x="5245" y="6580"/>
                      <a:pt x="5243" y="6599"/>
                    </a:cubicBezTo>
                    <a:cubicBezTo>
                      <a:pt x="5240" y="6628"/>
                      <a:pt x="5238" y="6653"/>
                      <a:pt x="5236" y="6671"/>
                    </a:cubicBezTo>
                    <a:cubicBezTo>
                      <a:pt x="5235" y="6680"/>
                      <a:pt x="5234" y="6687"/>
                      <a:pt x="5233" y="6692"/>
                    </a:cubicBezTo>
                    <a:cubicBezTo>
                      <a:pt x="5233" y="6693"/>
                      <a:pt x="5233" y="6693"/>
                      <a:pt x="5233" y="6694"/>
                    </a:cubicBezTo>
                    <a:lnTo>
                      <a:pt x="5774" y="6804"/>
                    </a:lnTo>
                    <a:close/>
                    <a:moveTo>
                      <a:pt x="5809" y="6606"/>
                    </a:moveTo>
                    <a:cubicBezTo>
                      <a:pt x="5836" y="6447"/>
                      <a:pt x="5836" y="6447"/>
                      <a:pt x="5836" y="6447"/>
                    </a:cubicBezTo>
                    <a:cubicBezTo>
                      <a:pt x="5619" y="6411"/>
                      <a:pt x="5619" y="6411"/>
                      <a:pt x="5619" y="6411"/>
                    </a:cubicBezTo>
                    <a:cubicBezTo>
                      <a:pt x="5618" y="6412"/>
                      <a:pt x="5616" y="6413"/>
                      <a:pt x="5613" y="6414"/>
                    </a:cubicBezTo>
                    <a:cubicBezTo>
                      <a:pt x="5613" y="6414"/>
                      <a:pt x="5613" y="6414"/>
                      <a:pt x="5613" y="6414"/>
                    </a:cubicBezTo>
                    <a:cubicBezTo>
                      <a:pt x="5612" y="6414"/>
                      <a:pt x="5612" y="6414"/>
                      <a:pt x="5611" y="6413"/>
                    </a:cubicBezTo>
                    <a:cubicBezTo>
                      <a:pt x="5612" y="6410"/>
                      <a:pt x="5612" y="6410"/>
                      <a:pt x="5612" y="6410"/>
                    </a:cubicBezTo>
                    <a:cubicBezTo>
                      <a:pt x="5503" y="6391"/>
                      <a:pt x="5503" y="6391"/>
                      <a:pt x="5503" y="6391"/>
                    </a:cubicBezTo>
                    <a:cubicBezTo>
                      <a:pt x="5502" y="6393"/>
                      <a:pt x="5500" y="6394"/>
                      <a:pt x="5496" y="6395"/>
                    </a:cubicBezTo>
                    <a:cubicBezTo>
                      <a:pt x="5496" y="6395"/>
                      <a:pt x="5495" y="6395"/>
                      <a:pt x="5494" y="6395"/>
                    </a:cubicBezTo>
                    <a:cubicBezTo>
                      <a:pt x="5495" y="6390"/>
                      <a:pt x="5495" y="6390"/>
                      <a:pt x="5495" y="6390"/>
                    </a:cubicBezTo>
                    <a:cubicBezTo>
                      <a:pt x="5381" y="6371"/>
                      <a:pt x="5381" y="6371"/>
                      <a:pt x="5381" y="6371"/>
                    </a:cubicBezTo>
                    <a:cubicBezTo>
                      <a:pt x="5380" y="6372"/>
                      <a:pt x="5379" y="6373"/>
                      <a:pt x="5376" y="6374"/>
                    </a:cubicBezTo>
                    <a:cubicBezTo>
                      <a:pt x="5376" y="6374"/>
                      <a:pt x="5376" y="6374"/>
                      <a:pt x="5376" y="6374"/>
                    </a:cubicBezTo>
                    <a:cubicBezTo>
                      <a:pt x="5375" y="6374"/>
                      <a:pt x="5375" y="6373"/>
                      <a:pt x="5374" y="6373"/>
                    </a:cubicBezTo>
                    <a:cubicBezTo>
                      <a:pt x="5375" y="6370"/>
                      <a:pt x="5375" y="6370"/>
                      <a:pt x="5375" y="6370"/>
                    </a:cubicBezTo>
                    <a:cubicBezTo>
                      <a:pt x="5267" y="6352"/>
                      <a:pt x="5267" y="6352"/>
                      <a:pt x="5267" y="6352"/>
                    </a:cubicBezTo>
                    <a:cubicBezTo>
                      <a:pt x="5269" y="6338"/>
                      <a:pt x="5269" y="6338"/>
                      <a:pt x="5269" y="6338"/>
                    </a:cubicBezTo>
                    <a:cubicBezTo>
                      <a:pt x="5373" y="6356"/>
                      <a:pt x="5373" y="6356"/>
                      <a:pt x="5373" y="6356"/>
                    </a:cubicBezTo>
                    <a:cubicBezTo>
                      <a:pt x="5375" y="6348"/>
                      <a:pt x="5378" y="6334"/>
                      <a:pt x="5381" y="6318"/>
                    </a:cubicBezTo>
                    <a:cubicBezTo>
                      <a:pt x="5382" y="6311"/>
                      <a:pt x="5383" y="6304"/>
                      <a:pt x="5384" y="6297"/>
                    </a:cubicBezTo>
                    <a:cubicBezTo>
                      <a:pt x="5272" y="6277"/>
                      <a:pt x="5272" y="6277"/>
                      <a:pt x="5272" y="6277"/>
                    </a:cubicBezTo>
                    <a:cubicBezTo>
                      <a:pt x="5269" y="6311"/>
                      <a:pt x="5266" y="6346"/>
                      <a:pt x="5263" y="6382"/>
                    </a:cubicBezTo>
                    <a:cubicBezTo>
                      <a:pt x="5259" y="6431"/>
                      <a:pt x="5255" y="6479"/>
                      <a:pt x="5250" y="6523"/>
                    </a:cubicBezTo>
                    <a:lnTo>
                      <a:pt x="5809" y="6606"/>
                    </a:lnTo>
                    <a:close/>
                    <a:moveTo>
                      <a:pt x="5271" y="6131"/>
                    </a:moveTo>
                    <a:cubicBezTo>
                      <a:pt x="4899" y="6065"/>
                      <a:pt x="4899" y="6065"/>
                      <a:pt x="4899" y="6065"/>
                    </a:cubicBezTo>
                    <a:cubicBezTo>
                      <a:pt x="4877" y="6194"/>
                      <a:pt x="4877" y="6194"/>
                      <a:pt x="4877" y="6194"/>
                    </a:cubicBezTo>
                    <a:cubicBezTo>
                      <a:pt x="5260" y="6262"/>
                      <a:pt x="5260" y="6262"/>
                      <a:pt x="5260" y="6262"/>
                    </a:cubicBezTo>
                    <a:cubicBezTo>
                      <a:pt x="5264" y="6211"/>
                      <a:pt x="5268" y="6165"/>
                      <a:pt x="5271" y="6131"/>
                    </a:cubicBezTo>
                    <a:close/>
                    <a:moveTo>
                      <a:pt x="5493" y="6376"/>
                    </a:moveTo>
                    <a:cubicBezTo>
                      <a:pt x="5496" y="6368"/>
                      <a:pt x="5498" y="6355"/>
                      <a:pt x="5501" y="6339"/>
                    </a:cubicBezTo>
                    <a:cubicBezTo>
                      <a:pt x="5502" y="6333"/>
                      <a:pt x="5503" y="6326"/>
                      <a:pt x="5505" y="6318"/>
                    </a:cubicBezTo>
                    <a:cubicBezTo>
                      <a:pt x="5398" y="6300"/>
                      <a:pt x="5398" y="6300"/>
                      <a:pt x="5398" y="6300"/>
                    </a:cubicBezTo>
                    <a:cubicBezTo>
                      <a:pt x="5397" y="6309"/>
                      <a:pt x="5395" y="6319"/>
                      <a:pt x="5393" y="6327"/>
                    </a:cubicBezTo>
                    <a:cubicBezTo>
                      <a:pt x="5391" y="6340"/>
                      <a:pt x="5389" y="6350"/>
                      <a:pt x="5387" y="6357"/>
                    </a:cubicBezTo>
                    <a:cubicBezTo>
                      <a:pt x="5387" y="6357"/>
                      <a:pt x="5387" y="6358"/>
                      <a:pt x="5387" y="6358"/>
                    </a:cubicBezTo>
                    <a:lnTo>
                      <a:pt x="5493" y="6376"/>
                    </a:lnTo>
                    <a:close/>
                    <a:moveTo>
                      <a:pt x="5610" y="6395"/>
                    </a:moveTo>
                    <a:cubicBezTo>
                      <a:pt x="5612" y="6388"/>
                      <a:pt x="5615" y="6374"/>
                      <a:pt x="5618" y="6358"/>
                    </a:cubicBezTo>
                    <a:cubicBezTo>
                      <a:pt x="5619" y="6352"/>
                      <a:pt x="5620" y="6346"/>
                      <a:pt x="5621" y="6339"/>
                    </a:cubicBezTo>
                    <a:cubicBezTo>
                      <a:pt x="5518" y="6321"/>
                      <a:pt x="5518" y="6321"/>
                      <a:pt x="5518" y="6321"/>
                    </a:cubicBezTo>
                    <a:cubicBezTo>
                      <a:pt x="5517" y="6331"/>
                      <a:pt x="5515" y="6340"/>
                      <a:pt x="5513" y="6349"/>
                    </a:cubicBezTo>
                    <a:cubicBezTo>
                      <a:pt x="5511" y="6361"/>
                      <a:pt x="5509" y="6371"/>
                      <a:pt x="5507" y="6378"/>
                    </a:cubicBezTo>
                    <a:lnTo>
                      <a:pt x="5610" y="6395"/>
                    </a:lnTo>
                    <a:close/>
                    <a:moveTo>
                      <a:pt x="5728" y="6414"/>
                    </a:moveTo>
                    <a:cubicBezTo>
                      <a:pt x="5728" y="6414"/>
                      <a:pt x="5728" y="6414"/>
                      <a:pt x="5728" y="6414"/>
                    </a:cubicBezTo>
                    <a:cubicBezTo>
                      <a:pt x="5728" y="6414"/>
                      <a:pt x="5728" y="6414"/>
                      <a:pt x="5728" y="6414"/>
                    </a:cubicBezTo>
                    <a:cubicBezTo>
                      <a:pt x="5729" y="6412"/>
                      <a:pt x="5734" y="6393"/>
                      <a:pt x="5738" y="6370"/>
                    </a:cubicBezTo>
                    <a:cubicBezTo>
                      <a:pt x="5739" y="6367"/>
                      <a:pt x="5739" y="6363"/>
                      <a:pt x="5740" y="6360"/>
                    </a:cubicBezTo>
                    <a:cubicBezTo>
                      <a:pt x="5635" y="6341"/>
                      <a:pt x="5635" y="6341"/>
                      <a:pt x="5635" y="6341"/>
                    </a:cubicBezTo>
                    <a:cubicBezTo>
                      <a:pt x="5633" y="6351"/>
                      <a:pt x="5632" y="6360"/>
                      <a:pt x="5630" y="6367"/>
                    </a:cubicBezTo>
                    <a:cubicBezTo>
                      <a:pt x="5628" y="6380"/>
                      <a:pt x="5626" y="6390"/>
                      <a:pt x="5624" y="6397"/>
                    </a:cubicBezTo>
                    <a:cubicBezTo>
                      <a:pt x="5624" y="6397"/>
                      <a:pt x="5624" y="6397"/>
                      <a:pt x="5624" y="6398"/>
                    </a:cubicBezTo>
                    <a:cubicBezTo>
                      <a:pt x="5730" y="6415"/>
                      <a:pt x="5730" y="6415"/>
                      <a:pt x="5730" y="6415"/>
                    </a:cubicBezTo>
                    <a:lnTo>
                      <a:pt x="5728" y="6414"/>
                    </a:lnTo>
                    <a:close/>
                    <a:moveTo>
                      <a:pt x="5807" y="6996"/>
                    </a:moveTo>
                    <a:cubicBezTo>
                      <a:pt x="6097" y="7022"/>
                      <a:pt x="6097" y="7022"/>
                      <a:pt x="6097" y="7022"/>
                    </a:cubicBezTo>
                    <a:cubicBezTo>
                      <a:pt x="6412" y="7120"/>
                      <a:pt x="6412" y="7120"/>
                      <a:pt x="6412" y="7120"/>
                    </a:cubicBezTo>
                    <a:cubicBezTo>
                      <a:pt x="6417" y="7121"/>
                      <a:pt x="6417" y="7121"/>
                      <a:pt x="6417" y="7121"/>
                    </a:cubicBezTo>
                    <a:cubicBezTo>
                      <a:pt x="6418" y="7115"/>
                      <a:pt x="6418" y="7115"/>
                      <a:pt x="6418" y="7115"/>
                    </a:cubicBezTo>
                    <a:cubicBezTo>
                      <a:pt x="6354" y="6924"/>
                      <a:pt x="6354" y="6924"/>
                      <a:pt x="6354" y="6924"/>
                    </a:cubicBezTo>
                    <a:cubicBezTo>
                      <a:pt x="6355" y="6920"/>
                      <a:pt x="6355" y="6920"/>
                      <a:pt x="6355" y="6920"/>
                    </a:cubicBezTo>
                    <a:cubicBezTo>
                      <a:pt x="6347" y="6919"/>
                      <a:pt x="6342" y="6919"/>
                      <a:pt x="6340" y="6919"/>
                    </a:cubicBezTo>
                    <a:cubicBezTo>
                      <a:pt x="6340" y="6919"/>
                      <a:pt x="6340" y="6919"/>
                      <a:pt x="6340" y="6919"/>
                    </a:cubicBezTo>
                    <a:cubicBezTo>
                      <a:pt x="6340" y="6919"/>
                      <a:pt x="6339" y="6919"/>
                      <a:pt x="6339" y="6919"/>
                    </a:cubicBezTo>
                    <a:cubicBezTo>
                      <a:pt x="6322" y="6918"/>
                      <a:pt x="5917" y="6846"/>
                      <a:pt x="5835" y="6832"/>
                    </a:cubicBezTo>
                    <a:lnTo>
                      <a:pt x="5807" y="6996"/>
                    </a:lnTo>
                    <a:close/>
                    <a:moveTo>
                      <a:pt x="6423" y="6335"/>
                    </a:moveTo>
                    <a:cubicBezTo>
                      <a:pt x="6427" y="6293"/>
                      <a:pt x="6427" y="6293"/>
                      <a:pt x="6427" y="6293"/>
                    </a:cubicBezTo>
                    <a:cubicBezTo>
                      <a:pt x="6374" y="6288"/>
                      <a:pt x="6374" y="6288"/>
                      <a:pt x="6374" y="6288"/>
                    </a:cubicBezTo>
                    <a:cubicBezTo>
                      <a:pt x="6369" y="6391"/>
                      <a:pt x="6369" y="6391"/>
                      <a:pt x="6369" y="6391"/>
                    </a:cubicBezTo>
                    <a:cubicBezTo>
                      <a:pt x="6465" y="6399"/>
                      <a:pt x="6465" y="6399"/>
                      <a:pt x="6465" y="6399"/>
                    </a:cubicBezTo>
                    <a:cubicBezTo>
                      <a:pt x="6470" y="6339"/>
                      <a:pt x="6470" y="6339"/>
                      <a:pt x="6470" y="6339"/>
                    </a:cubicBezTo>
                    <a:lnTo>
                      <a:pt x="6423" y="6335"/>
                    </a:lnTo>
                    <a:close/>
                    <a:moveTo>
                      <a:pt x="6368" y="6404"/>
                    </a:moveTo>
                    <a:cubicBezTo>
                      <a:pt x="6362" y="6530"/>
                      <a:pt x="6362" y="6530"/>
                      <a:pt x="6362" y="6530"/>
                    </a:cubicBezTo>
                    <a:cubicBezTo>
                      <a:pt x="6498" y="6543"/>
                      <a:pt x="6498" y="6543"/>
                      <a:pt x="6498" y="6543"/>
                    </a:cubicBezTo>
                    <a:cubicBezTo>
                      <a:pt x="6528" y="6279"/>
                      <a:pt x="6528" y="6279"/>
                      <a:pt x="6528" y="6279"/>
                    </a:cubicBezTo>
                    <a:cubicBezTo>
                      <a:pt x="6375" y="6260"/>
                      <a:pt x="6375" y="6260"/>
                      <a:pt x="6375" y="6260"/>
                    </a:cubicBezTo>
                    <a:cubicBezTo>
                      <a:pt x="6375" y="6275"/>
                      <a:pt x="6375" y="6275"/>
                      <a:pt x="6375" y="6275"/>
                    </a:cubicBezTo>
                    <a:cubicBezTo>
                      <a:pt x="6441" y="6280"/>
                      <a:pt x="6441" y="6280"/>
                      <a:pt x="6441" y="6280"/>
                    </a:cubicBezTo>
                    <a:cubicBezTo>
                      <a:pt x="6437" y="6323"/>
                      <a:pt x="6437" y="6323"/>
                      <a:pt x="6437" y="6323"/>
                    </a:cubicBezTo>
                    <a:cubicBezTo>
                      <a:pt x="6484" y="6327"/>
                      <a:pt x="6484" y="6327"/>
                      <a:pt x="6484" y="6327"/>
                    </a:cubicBezTo>
                    <a:cubicBezTo>
                      <a:pt x="6477" y="6413"/>
                      <a:pt x="6477" y="6413"/>
                      <a:pt x="6477" y="6413"/>
                    </a:cubicBezTo>
                    <a:lnTo>
                      <a:pt x="6368" y="6404"/>
                    </a:lnTo>
                    <a:close/>
                    <a:moveTo>
                      <a:pt x="6745" y="6371"/>
                    </a:moveTo>
                    <a:cubicBezTo>
                      <a:pt x="6749" y="6328"/>
                      <a:pt x="6749" y="6328"/>
                      <a:pt x="6749" y="6328"/>
                    </a:cubicBezTo>
                    <a:cubicBezTo>
                      <a:pt x="6709" y="6325"/>
                      <a:pt x="6709" y="6325"/>
                      <a:pt x="6709" y="6325"/>
                    </a:cubicBezTo>
                    <a:cubicBezTo>
                      <a:pt x="6696" y="6427"/>
                      <a:pt x="6696" y="6427"/>
                      <a:pt x="6696" y="6427"/>
                    </a:cubicBezTo>
                    <a:cubicBezTo>
                      <a:pt x="6787" y="6434"/>
                      <a:pt x="6787" y="6434"/>
                      <a:pt x="6787" y="6434"/>
                    </a:cubicBezTo>
                    <a:cubicBezTo>
                      <a:pt x="6792" y="6375"/>
                      <a:pt x="6792" y="6375"/>
                      <a:pt x="6792" y="6375"/>
                    </a:cubicBezTo>
                    <a:lnTo>
                      <a:pt x="6745" y="6371"/>
                    </a:lnTo>
                    <a:close/>
                    <a:moveTo>
                      <a:pt x="6699" y="6299"/>
                    </a:moveTo>
                    <a:cubicBezTo>
                      <a:pt x="6542" y="6280"/>
                      <a:pt x="6542" y="6280"/>
                      <a:pt x="6542" y="6280"/>
                    </a:cubicBezTo>
                    <a:cubicBezTo>
                      <a:pt x="6521" y="6463"/>
                      <a:pt x="6521" y="6463"/>
                      <a:pt x="6521" y="6463"/>
                    </a:cubicBezTo>
                    <a:cubicBezTo>
                      <a:pt x="6558" y="6469"/>
                      <a:pt x="6684" y="6488"/>
                      <a:pt x="6810" y="6508"/>
                    </a:cubicBezTo>
                    <a:cubicBezTo>
                      <a:pt x="6813" y="6509"/>
                      <a:pt x="6815" y="6509"/>
                      <a:pt x="6817" y="6509"/>
                    </a:cubicBezTo>
                    <a:cubicBezTo>
                      <a:pt x="6820" y="6504"/>
                      <a:pt x="6820" y="6504"/>
                      <a:pt x="6820" y="6504"/>
                    </a:cubicBezTo>
                    <a:cubicBezTo>
                      <a:pt x="6820" y="6498"/>
                      <a:pt x="6820" y="6498"/>
                      <a:pt x="6820" y="6498"/>
                    </a:cubicBezTo>
                    <a:cubicBezTo>
                      <a:pt x="6820" y="6504"/>
                      <a:pt x="6820" y="6504"/>
                      <a:pt x="6820" y="6504"/>
                    </a:cubicBezTo>
                    <a:cubicBezTo>
                      <a:pt x="6816" y="6500"/>
                      <a:pt x="6816" y="6500"/>
                      <a:pt x="6816" y="6500"/>
                    </a:cubicBezTo>
                    <a:cubicBezTo>
                      <a:pt x="6816" y="6500"/>
                      <a:pt x="6816" y="6500"/>
                      <a:pt x="6816" y="6500"/>
                    </a:cubicBezTo>
                    <a:cubicBezTo>
                      <a:pt x="6821" y="6491"/>
                      <a:pt x="6833" y="6439"/>
                      <a:pt x="6842" y="6391"/>
                    </a:cubicBezTo>
                    <a:cubicBezTo>
                      <a:pt x="6847" y="6363"/>
                      <a:pt x="6852" y="6335"/>
                      <a:pt x="6856" y="6318"/>
                    </a:cubicBezTo>
                    <a:cubicBezTo>
                      <a:pt x="6713" y="6301"/>
                      <a:pt x="6713" y="6301"/>
                      <a:pt x="6713" y="6301"/>
                    </a:cubicBezTo>
                    <a:cubicBezTo>
                      <a:pt x="6711" y="6312"/>
                      <a:pt x="6711" y="6312"/>
                      <a:pt x="6711" y="6312"/>
                    </a:cubicBezTo>
                    <a:cubicBezTo>
                      <a:pt x="6763" y="6316"/>
                      <a:pt x="6763" y="6316"/>
                      <a:pt x="6763" y="6316"/>
                    </a:cubicBezTo>
                    <a:cubicBezTo>
                      <a:pt x="6759" y="6359"/>
                      <a:pt x="6759" y="6359"/>
                      <a:pt x="6759" y="6359"/>
                    </a:cubicBezTo>
                    <a:cubicBezTo>
                      <a:pt x="6806" y="6363"/>
                      <a:pt x="6806" y="6363"/>
                      <a:pt x="6806" y="6363"/>
                    </a:cubicBezTo>
                    <a:cubicBezTo>
                      <a:pt x="6799" y="6448"/>
                      <a:pt x="6799" y="6448"/>
                      <a:pt x="6799" y="6448"/>
                    </a:cubicBezTo>
                    <a:cubicBezTo>
                      <a:pt x="6694" y="6440"/>
                      <a:pt x="6694" y="6440"/>
                      <a:pt x="6694" y="6440"/>
                    </a:cubicBezTo>
                    <a:cubicBezTo>
                      <a:pt x="6688" y="6484"/>
                      <a:pt x="6688" y="6484"/>
                      <a:pt x="6688" y="6484"/>
                    </a:cubicBezTo>
                    <a:cubicBezTo>
                      <a:pt x="6674" y="6483"/>
                      <a:pt x="6674" y="6483"/>
                      <a:pt x="6674" y="6483"/>
                    </a:cubicBezTo>
                    <a:cubicBezTo>
                      <a:pt x="6680" y="6439"/>
                      <a:pt x="6680" y="6439"/>
                      <a:pt x="6680" y="6439"/>
                    </a:cubicBezTo>
                    <a:cubicBezTo>
                      <a:pt x="6589" y="6432"/>
                      <a:pt x="6589" y="6432"/>
                      <a:pt x="6589" y="6432"/>
                    </a:cubicBezTo>
                    <a:cubicBezTo>
                      <a:pt x="6590" y="6425"/>
                      <a:pt x="6590" y="6425"/>
                      <a:pt x="6590" y="6425"/>
                    </a:cubicBezTo>
                    <a:cubicBezTo>
                      <a:pt x="6596" y="6346"/>
                      <a:pt x="6596" y="6346"/>
                      <a:pt x="6596" y="6346"/>
                    </a:cubicBezTo>
                    <a:cubicBezTo>
                      <a:pt x="6643" y="6350"/>
                      <a:pt x="6643" y="6350"/>
                      <a:pt x="6643" y="6350"/>
                    </a:cubicBezTo>
                    <a:cubicBezTo>
                      <a:pt x="6646" y="6307"/>
                      <a:pt x="6646" y="6307"/>
                      <a:pt x="6646" y="6307"/>
                    </a:cubicBezTo>
                    <a:cubicBezTo>
                      <a:pt x="6697" y="6311"/>
                      <a:pt x="6697" y="6311"/>
                      <a:pt x="6697" y="6311"/>
                    </a:cubicBezTo>
                    <a:lnTo>
                      <a:pt x="6699" y="6299"/>
                    </a:lnTo>
                    <a:close/>
                    <a:moveTo>
                      <a:pt x="6658" y="6321"/>
                    </a:moveTo>
                    <a:cubicBezTo>
                      <a:pt x="6655" y="6364"/>
                      <a:pt x="6655" y="6364"/>
                      <a:pt x="6655" y="6364"/>
                    </a:cubicBezTo>
                    <a:cubicBezTo>
                      <a:pt x="6608" y="6360"/>
                      <a:pt x="6608" y="6360"/>
                      <a:pt x="6608" y="6360"/>
                    </a:cubicBezTo>
                    <a:cubicBezTo>
                      <a:pt x="6604" y="6420"/>
                      <a:pt x="6604" y="6420"/>
                      <a:pt x="6604" y="6420"/>
                    </a:cubicBezTo>
                    <a:cubicBezTo>
                      <a:pt x="6682" y="6426"/>
                      <a:pt x="6682" y="6426"/>
                      <a:pt x="6682" y="6426"/>
                    </a:cubicBezTo>
                    <a:cubicBezTo>
                      <a:pt x="6695" y="6324"/>
                      <a:pt x="6695" y="6324"/>
                      <a:pt x="6695" y="6324"/>
                    </a:cubicBezTo>
                    <a:lnTo>
                      <a:pt x="6658" y="6321"/>
                    </a:lnTo>
                    <a:close/>
                    <a:moveTo>
                      <a:pt x="6486" y="6769"/>
                    </a:moveTo>
                    <a:cubicBezTo>
                      <a:pt x="6828" y="6825"/>
                      <a:pt x="6828" y="6825"/>
                      <a:pt x="6828" y="6825"/>
                    </a:cubicBezTo>
                    <a:cubicBezTo>
                      <a:pt x="6853" y="6690"/>
                      <a:pt x="6853" y="6690"/>
                      <a:pt x="6853" y="6690"/>
                    </a:cubicBezTo>
                    <a:cubicBezTo>
                      <a:pt x="6501" y="6632"/>
                      <a:pt x="6501" y="6632"/>
                      <a:pt x="6501" y="6632"/>
                    </a:cubicBezTo>
                    <a:lnTo>
                      <a:pt x="6486" y="6769"/>
                    </a:lnTo>
                    <a:close/>
                    <a:moveTo>
                      <a:pt x="6469" y="6780"/>
                    </a:moveTo>
                    <a:cubicBezTo>
                      <a:pt x="6404" y="6789"/>
                      <a:pt x="6404" y="6789"/>
                      <a:pt x="6404" y="6789"/>
                    </a:cubicBezTo>
                    <a:cubicBezTo>
                      <a:pt x="6372" y="6908"/>
                      <a:pt x="6372" y="6908"/>
                      <a:pt x="6372" y="6908"/>
                    </a:cubicBezTo>
                    <a:cubicBezTo>
                      <a:pt x="6448" y="6919"/>
                      <a:pt x="6639" y="6947"/>
                      <a:pt x="6802" y="6971"/>
                    </a:cubicBezTo>
                    <a:cubicBezTo>
                      <a:pt x="6826" y="6839"/>
                      <a:pt x="6826" y="6839"/>
                      <a:pt x="6826" y="6839"/>
                    </a:cubicBezTo>
                    <a:lnTo>
                      <a:pt x="6469" y="6780"/>
                    </a:lnTo>
                    <a:close/>
                    <a:moveTo>
                      <a:pt x="6779" y="7168"/>
                    </a:moveTo>
                    <a:cubicBezTo>
                      <a:pt x="6909" y="7185"/>
                      <a:pt x="6909" y="7185"/>
                      <a:pt x="6909" y="7185"/>
                    </a:cubicBezTo>
                    <a:cubicBezTo>
                      <a:pt x="6942" y="7006"/>
                      <a:pt x="6942" y="7006"/>
                      <a:pt x="6942" y="7006"/>
                    </a:cubicBezTo>
                    <a:cubicBezTo>
                      <a:pt x="6904" y="7000"/>
                      <a:pt x="6860" y="6994"/>
                      <a:pt x="6812" y="6986"/>
                    </a:cubicBezTo>
                    <a:lnTo>
                      <a:pt x="6779" y="7168"/>
                    </a:lnTo>
                    <a:close/>
                    <a:moveTo>
                      <a:pt x="6944" y="6992"/>
                    </a:moveTo>
                    <a:cubicBezTo>
                      <a:pt x="6968" y="6862"/>
                      <a:pt x="6968" y="6862"/>
                      <a:pt x="6968" y="6862"/>
                    </a:cubicBezTo>
                    <a:cubicBezTo>
                      <a:pt x="6839" y="6841"/>
                      <a:pt x="6839" y="6841"/>
                      <a:pt x="6839" y="6841"/>
                    </a:cubicBezTo>
                    <a:cubicBezTo>
                      <a:pt x="6815" y="6973"/>
                      <a:pt x="6815" y="6973"/>
                      <a:pt x="6815" y="6973"/>
                    </a:cubicBezTo>
                    <a:cubicBezTo>
                      <a:pt x="6862" y="6980"/>
                      <a:pt x="6907" y="6986"/>
                      <a:pt x="6944" y="6992"/>
                    </a:cubicBezTo>
                    <a:close/>
                    <a:moveTo>
                      <a:pt x="6971" y="6848"/>
                    </a:moveTo>
                    <a:cubicBezTo>
                      <a:pt x="6995" y="6714"/>
                      <a:pt x="6995" y="6714"/>
                      <a:pt x="6995" y="6714"/>
                    </a:cubicBezTo>
                    <a:cubicBezTo>
                      <a:pt x="6866" y="6693"/>
                      <a:pt x="6866" y="6693"/>
                      <a:pt x="6866" y="6693"/>
                    </a:cubicBezTo>
                    <a:cubicBezTo>
                      <a:pt x="6841" y="6827"/>
                      <a:pt x="6841" y="6827"/>
                      <a:pt x="6841" y="6827"/>
                    </a:cubicBezTo>
                    <a:lnTo>
                      <a:pt x="6971" y="6848"/>
                    </a:lnTo>
                    <a:close/>
                    <a:moveTo>
                      <a:pt x="6998" y="6701"/>
                    </a:moveTo>
                    <a:cubicBezTo>
                      <a:pt x="7005" y="6658"/>
                      <a:pt x="7005" y="6658"/>
                      <a:pt x="7005" y="6658"/>
                    </a:cubicBezTo>
                    <a:cubicBezTo>
                      <a:pt x="6876" y="6636"/>
                      <a:pt x="6876" y="6636"/>
                      <a:pt x="6876" y="6636"/>
                    </a:cubicBezTo>
                    <a:cubicBezTo>
                      <a:pt x="6868" y="6679"/>
                      <a:pt x="6868" y="6679"/>
                      <a:pt x="6868" y="6679"/>
                    </a:cubicBezTo>
                    <a:lnTo>
                      <a:pt x="6998" y="6701"/>
                    </a:lnTo>
                    <a:close/>
                    <a:moveTo>
                      <a:pt x="6984" y="6850"/>
                    </a:moveTo>
                    <a:cubicBezTo>
                      <a:pt x="7050" y="6861"/>
                      <a:pt x="7050" y="6861"/>
                      <a:pt x="7050" y="6861"/>
                    </a:cubicBezTo>
                    <a:cubicBezTo>
                      <a:pt x="7069" y="6727"/>
                      <a:pt x="7069" y="6727"/>
                      <a:pt x="7069" y="6727"/>
                    </a:cubicBezTo>
                    <a:cubicBezTo>
                      <a:pt x="7008" y="6716"/>
                      <a:pt x="7008" y="6716"/>
                      <a:pt x="7008" y="6716"/>
                    </a:cubicBezTo>
                    <a:lnTo>
                      <a:pt x="6984" y="6850"/>
                    </a:lnTo>
                    <a:close/>
                    <a:moveTo>
                      <a:pt x="7071" y="6713"/>
                    </a:moveTo>
                    <a:cubicBezTo>
                      <a:pt x="7093" y="6568"/>
                      <a:pt x="7093" y="6568"/>
                      <a:pt x="7093" y="6568"/>
                    </a:cubicBezTo>
                    <a:cubicBezTo>
                      <a:pt x="7007" y="6553"/>
                      <a:pt x="6593" y="6488"/>
                      <a:pt x="6519" y="6477"/>
                    </a:cubicBezTo>
                    <a:cubicBezTo>
                      <a:pt x="6503" y="6618"/>
                      <a:pt x="6503" y="6618"/>
                      <a:pt x="6503" y="6618"/>
                    </a:cubicBezTo>
                    <a:cubicBezTo>
                      <a:pt x="6855" y="6677"/>
                      <a:pt x="6855" y="6677"/>
                      <a:pt x="6855" y="6677"/>
                    </a:cubicBezTo>
                    <a:cubicBezTo>
                      <a:pt x="6865" y="6621"/>
                      <a:pt x="6865" y="6621"/>
                      <a:pt x="6865" y="6621"/>
                    </a:cubicBezTo>
                    <a:cubicBezTo>
                      <a:pt x="7021" y="6647"/>
                      <a:pt x="7021" y="6647"/>
                      <a:pt x="7021" y="6647"/>
                    </a:cubicBezTo>
                    <a:cubicBezTo>
                      <a:pt x="7020" y="6653"/>
                      <a:pt x="7020" y="6653"/>
                      <a:pt x="7020" y="6653"/>
                    </a:cubicBezTo>
                    <a:cubicBezTo>
                      <a:pt x="7011" y="6703"/>
                      <a:pt x="7011" y="6703"/>
                      <a:pt x="7011" y="6703"/>
                    </a:cubicBezTo>
                    <a:lnTo>
                      <a:pt x="7071" y="6713"/>
                    </a:lnTo>
                    <a:close/>
                    <a:moveTo>
                      <a:pt x="7013" y="6104"/>
                    </a:moveTo>
                    <a:cubicBezTo>
                      <a:pt x="6882" y="6090"/>
                      <a:pt x="6882" y="6090"/>
                      <a:pt x="6882" y="6090"/>
                    </a:cubicBezTo>
                    <a:cubicBezTo>
                      <a:pt x="6869" y="6216"/>
                      <a:pt x="6869" y="6216"/>
                      <a:pt x="6869" y="6216"/>
                    </a:cubicBezTo>
                    <a:cubicBezTo>
                      <a:pt x="7000" y="6230"/>
                      <a:pt x="7000" y="6230"/>
                      <a:pt x="7000" y="6230"/>
                    </a:cubicBezTo>
                    <a:lnTo>
                      <a:pt x="7013" y="6104"/>
                    </a:lnTo>
                    <a:close/>
                    <a:moveTo>
                      <a:pt x="6868" y="6229"/>
                    </a:moveTo>
                    <a:cubicBezTo>
                      <a:pt x="6866" y="6253"/>
                      <a:pt x="6866" y="6253"/>
                      <a:pt x="6866" y="6253"/>
                    </a:cubicBezTo>
                    <a:cubicBezTo>
                      <a:pt x="6997" y="6269"/>
                      <a:pt x="6997" y="6269"/>
                      <a:pt x="6997" y="6269"/>
                    </a:cubicBezTo>
                    <a:cubicBezTo>
                      <a:pt x="6999" y="6243"/>
                      <a:pt x="6999" y="6243"/>
                      <a:pt x="6999" y="6243"/>
                    </a:cubicBezTo>
                    <a:lnTo>
                      <a:pt x="6868" y="6229"/>
                    </a:lnTo>
                    <a:close/>
                    <a:moveTo>
                      <a:pt x="6868" y="6089"/>
                    </a:moveTo>
                    <a:cubicBezTo>
                      <a:pt x="6725" y="6073"/>
                      <a:pt x="6725" y="6073"/>
                      <a:pt x="6725" y="6073"/>
                    </a:cubicBezTo>
                    <a:cubicBezTo>
                      <a:pt x="6713" y="6199"/>
                      <a:pt x="6713" y="6199"/>
                      <a:pt x="6713" y="6199"/>
                    </a:cubicBezTo>
                    <a:cubicBezTo>
                      <a:pt x="6855" y="6215"/>
                      <a:pt x="6855" y="6215"/>
                      <a:pt x="6855" y="6215"/>
                    </a:cubicBezTo>
                    <a:lnTo>
                      <a:pt x="6868" y="6089"/>
                    </a:lnTo>
                    <a:close/>
                    <a:moveTo>
                      <a:pt x="6711" y="6212"/>
                    </a:moveTo>
                    <a:cubicBezTo>
                      <a:pt x="6709" y="6234"/>
                      <a:pt x="6709" y="6234"/>
                      <a:pt x="6709" y="6234"/>
                    </a:cubicBezTo>
                    <a:cubicBezTo>
                      <a:pt x="6852" y="6251"/>
                      <a:pt x="6852" y="6251"/>
                      <a:pt x="6852" y="6251"/>
                    </a:cubicBezTo>
                    <a:cubicBezTo>
                      <a:pt x="6854" y="6228"/>
                      <a:pt x="6854" y="6228"/>
                      <a:pt x="6854" y="6228"/>
                    </a:cubicBezTo>
                    <a:lnTo>
                      <a:pt x="6711" y="6212"/>
                    </a:lnTo>
                    <a:close/>
                    <a:moveTo>
                      <a:pt x="6711" y="6072"/>
                    </a:moveTo>
                    <a:cubicBezTo>
                      <a:pt x="6572" y="6057"/>
                      <a:pt x="6572" y="6057"/>
                      <a:pt x="6572" y="6057"/>
                    </a:cubicBezTo>
                    <a:cubicBezTo>
                      <a:pt x="6559" y="6183"/>
                      <a:pt x="6559" y="6183"/>
                      <a:pt x="6559" y="6183"/>
                    </a:cubicBezTo>
                    <a:cubicBezTo>
                      <a:pt x="6699" y="6198"/>
                      <a:pt x="6699" y="6198"/>
                      <a:pt x="6699" y="6198"/>
                    </a:cubicBezTo>
                    <a:lnTo>
                      <a:pt x="6711" y="6072"/>
                    </a:lnTo>
                    <a:close/>
                    <a:moveTo>
                      <a:pt x="6558" y="6196"/>
                    </a:moveTo>
                    <a:cubicBezTo>
                      <a:pt x="6556" y="6216"/>
                      <a:pt x="6556" y="6216"/>
                      <a:pt x="6556" y="6216"/>
                    </a:cubicBezTo>
                    <a:cubicBezTo>
                      <a:pt x="6695" y="6232"/>
                      <a:pt x="6695" y="6232"/>
                      <a:pt x="6695" y="6232"/>
                    </a:cubicBezTo>
                    <a:cubicBezTo>
                      <a:pt x="6697" y="6211"/>
                      <a:pt x="6697" y="6211"/>
                      <a:pt x="6697" y="6211"/>
                    </a:cubicBezTo>
                    <a:lnTo>
                      <a:pt x="6558" y="6196"/>
                    </a:lnTo>
                    <a:close/>
                    <a:moveTo>
                      <a:pt x="6558" y="6055"/>
                    </a:moveTo>
                    <a:cubicBezTo>
                      <a:pt x="6427" y="6041"/>
                      <a:pt x="6427" y="6041"/>
                      <a:pt x="6427" y="6041"/>
                    </a:cubicBezTo>
                    <a:cubicBezTo>
                      <a:pt x="6414" y="6167"/>
                      <a:pt x="6414" y="6167"/>
                      <a:pt x="6414" y="6167"/>
                    </a:cubicBezTo>
                    <a:cubicBezTo>
                      <a:pt x="6545" y="6181"/>
                      <a:pt x="6545" y="6181"/>
                      <a:pt x="6545" y="6181"/>
                    </a:cubicBezTo>
                    <a:lnTo>
                      <a:pt x="6558" y="6055"/>
                    </a:lnTo>
                    <a:close/>
                    <a:moveTo>
                      <a:pt x="6413" y="6180"/>
                    </a:moveTo>
                    <a:cubicBezTo>
                      <a:pt x="6411" y="6198"/>
                      <a:pt x="6411" y="6198"/>
                      <a:pt x="6411" y="6198"/>
                    </a:cubicBezTo>
                    <a:cubicBezTo>
                      <a:pt x="6542" y="6214"/>
                      <a:pt x="6542" y="6214"/>
                      <a:pt x="6542" y="6214"/>
                    </a:cubicBezTo>
                    <a:cubicBezTo>
                      <a:pt x="6544" y="6195"/>
                      <a:pt x="6544" y="6195"/>
                      <a:pt x="6544" y="6195"/>
                    </a:cubicBezTo>
                    <a:lnTo>
                      <a:pt x="6413" y="6180"/>
                    </a:lnTo>
                    <a:close/>
                    <a:moveTo>
                      <a:pt x="6413" y="6040"/>
                    </a:moveTo>
                    <a:cubicBezTo>
                      <a:pt x="6282" y="6026"/>
                      <a:pt x="6282" y="6026"/>
                      <a:pt x="6282" y="6026"/>
                    </a:cubicBezTo>
                    <a:cubicBezTo>
                      <a:pt x="6270" y="6152"/>
                      <a:pt x="6270" y="6152"/>
                      <a:pt x="6270" y="6152"/>
                    </a:cubicBezTo>
                    <a:cubicBezTo>
                      <a:pt x="6400" y="6166"/>
                      <a:pt x="6400" y="6166"/>
                      <a:pt x="6400" y="6166"/>
                    </a:cubicBezTo>
                    <a:lnTo>
                      <a:pt x="6413" y="6040"/>
                    </a:lnTo>
                    <a:close/>
                    <a:moveTo>
                      <a:pt x="6268" y="6165"/>
                    </a:moveTo>
                    <a:cubicBezTo>
                      <a:pt x="6267" y="6181"/>
                      <a:pt x="6267" y="6181"/>
                      <a:pt x="6267" y="6181"/>
                    </a:cubicBezTo>
                    <a:cubicBezTo>
                      <a:pt x="6397" y="6197"/>
                      <a:pt x="6397" y="6197"/>
                      <a:pt x="6397" y="6197"/>
                    </a:cubicBezTo>
                    <a:cubicBezTo>
                      <a:pt x="6399" y="6179"/>
                      <a:pt x="6399" y="6179"/>
                      <a:pt x="6399" y="6179"/>
                    </a:cubicBezTo>
                    <a:lnTo>
                      <a:pt x="6268" y="6165"/>
                    </a:lnTo>
                    <a:close/>
                    <a:moveTo>
                      <a:pt x="6361" y="6274"/>
                    </a:moveTo>
                    <a:cubicBezTo>
                      <a:pt x="6362" y="6259"/>
                      <a:pt x="6362" y="6259"/>
                      <a:pt x="6362" y="6259"/>
                    </a:cubicBezTo>
                    <a:cubicBezTo>
                      <a:pt x="6220" y="6242"/>
                      <a:pt x="6220" y="6242"/>
                      <a:pt x="6220" y="6242"/>
                    </a:cubicBezTo>
                    <a:cubicBezTo>
                      <a:pt x="6219" y="6269"/>
                      <a:pt x="6219" y="6318"/>
                      <a:pt x="6218" y="6367"/>
                    </a:cubicBezTo>
                    <a:cubicBezTo>
                      <a:pt x="6217" y="6404"/>
                      <a:pt x="6215" y="6441"/>
                      <a:pt x="6214" y="6469"/>
                    </a:cubicBezTo>
                    <a:cubicBezTo>
                      <a:pt x="6213" y="6483"/>
                      <a:pt x="6212" y="6494"/>
                      <a:pt x="6211" y="6502"/>
                    </a:cubicBezTo>
                    <a:cubicBezTo>
                      <a:pt x="6211" y="6507"/>
                      <a:pt x="6210" y="6510"/>
                      <a:pt x="6209" y="6513"/>
                    </a:cubicBezTo>
                    <a:cubicBezTo>
                      <a:pt x="6209" y="6513"/>
                      <a:pt x="6209" y="6513"/>
                      <a:pt x="6209" y="6514"/>
                    </a:cubicBezTo>
                    <a:cubicBezTo>
                      <a:pt x="6348" y="6528"/>
                      <a:pt x="6348" y="6528"/>
                      <a:pt x="6348" y="6528"/>
                    </a:cubicBezTo>
                    <a:cubicBezTo>
                      <a:pt x="6354" y="6403"/>
                      <a:pt x="6354" y="6403"/>
                      <a:pt x="6354" y="6403"/>
                    </a:cubicBezTo>
                    <a:cubicBezTo>
                      <a:pt x="6267" y="6397"/>
                      <a:pt x="6267" y="6397"/>
                      <a:pt x="6267" y="6397"/>
                    </a:cubicBezTo>
                    <a:cubicBezTo>
                      <a:pt x="6268" y="6390"/>
                      <a:pt x="6268" y="6390"/>
                      <a:pt x="6268" y="6390"/>
                    </a:cubicBezTo>
                    <a:cubicBezTo>
                      <a:pt x="6274" y="6311"/>
                      <a:pt x="6274" y="6311"/>
                      <a:pt x="6274" y="6311"/>
                    </a:cubicBezTo>
                    <a:cubicBezTo>
                      <a:pt x="6321" y="6314"/>
                      <a:pt x="6321" y="6314"/>
                      <a:pt x="6321" y="6314"/>
                    </a:cubicBezTo>
                    <a:cubicBezTo>
                      <a:pt x="6324" y="6271"/>
                      <a:pt x="6324" y="6271"/>
                      <a:pt x="6324" y="6271"/>
                    </a:cubicBezTo>
                    <a:lnTo>
                      <a:pt x="6361" y="6274"/>
                    </a:lnTo>
                    <a:close/>
                    <a:moveTo>
                      <a:pt x="6336" y="6285"/>
                    </a:moveTo>
                    <a:cubicBezTo>
                      <a:pt x="6333" y="6328"/>
                      <a:pt x="6333" y="6328"/>
                      <a:pt x="6333" y="6328"/>
                    </a:cubicBezTo>
                    <a:cubicBezTo>
                      <a:pt x="6286" y="6325"/>
                      <a:pt x="6286" y="6325"/>
                      <a:pt x="6286" y="6325"/>
                    </a:cubicBezTo>
                    <a:cubicBezTo>
                      <a:pt x="6282" y="6384"/>
                      <a:pt x="6282" y="6384"/>
                      <a:pt x="6282" y="6384"/>
                    </a:cubicBezTo>
                    <a:cubicBezTo>
                      <a:pt x="6355" y="6390"/>
                      <a:pt x="6355" y="6390"/>
                      <a:pt x="6355" y="6390"/>
                    </a:cubicBezTo>
                    <a:cubicBezTo>
                      <a:pt x="6360" y="6287"/>
                      <a:pt x="6360" y="6287"/>
                      <a:pt x="6360" y="6287"/>
                    </a:cubicBezTo>
                    <a:lnTo>
                      <a:pt x="6336" y="6285"/>
                    </a:lnTo>
                    <a:close/>
                    <a:moveTo>
                      <a:pt x="6268" y="6024"/>
                    </a:moveTo>
                    <a:cubicBezTo>
                      <a:pt x="6132" y="6010"/>
                      <a:pt x="6132" y="6010"/>
                      <a:pt x="6132" y="6010"/>
                    </a:cubicBezTo>
                    <a:cubicBezTo>
                      <a:pt x="6119" y="6136"/>
                      <a:pt x="6119" y="6136"/>
                      <a:pt x="6119" y="6136"/>
                    </a:cubicBezTo>
                    <a:cubicBezTo>
                      <a:pt x="6256" y="6150"/>
                      <a:pt x="6256" y="6150"/>
                      <a:pt x="6256" y="6150"/>
                    </a:cubicBezTo>
                    <a:lnTo>
                      <a:pt x="6268" y="6024"/>
                    </a:lnTo>
                    <a:close/>
                    <a:moveTo>
                      <a:pt x="6118" y="6149"/>
                    </a:moveTo>
                    <a:cubicBezTo>
                      <a:pt x="6116" y="6163"/>
                      <a:pt x="6116" y="6163"/>
                      <a:pt x="6116" y="6163"/>
                    </a:cubicBezTo>
                    <a:cubicBezTo>
                      <a:pt x="6253" y="6180"/>
                      <a:pt x="6253" y="6180"/>
                      <a:pt x="6253" y="6180"/>
                    </a:cubicBezTo>
                    <a:cubicBezTo>
                      <a:pt x="6254" y="6163"/>
                      <a:pt x="6254" y="6163"/>
                      <a:pt x="6254" y="6163"/>
                    </a:cubicBezTo>
                    <a:lnTo>
                      <a:pt x="6118" y="6149"/>
                    </a:lnTo>
                    <a:close/>
                    <a:moveTo>
                      <a:pt x="6118" y="6008"/>
                    </a:moveTo>
                    <a:cubicBezTo>
                      <a:pt x="6005" y="5996"/>
                      <a:pt x="6005" y="5996"/>
                      <a:pt x="6005" y="5996"/>
                    </a:cubicBezTo>
                    <a:cubicBezTo>
                      <a:pt x="5990" y="6122"/>
                      <a:pt x="5990" y="6122"/>
                      <a:pt x="5990" y="6122"/>
                    </a:cubicBezTo>
                    <a:cubicBezTo>
                      <a:pt x="6105" y="6134"/>
                      <a:pt x="6105" y="6134"/>
                      <a:pt x="6105" y="6134"/>
                    </a:cubicBezTo>
                    <a:lnTo>
                      <a:pt x="6118" y="6008"/>
                    </a:lnTo>
                    <a:close/>
                    <a:moveTo>
                      <a:pt x="6202" y="6510"/>
                    </a:moveTo>
                    <a:cubicBezTo>
                      <a:pt x="6202" y="6508"/>
                      <a:pt x="6202" y="6508"/>
                      <a:pt x="6202" y="6508"/>
                    </a:cubicBezTo>
                    <a:cubicBezTo>
                      <a:pt x="6202" y="6507"/>
                      <a:pt x="6202" y="6507"/>
                      <a:pt x="6202" y="6507"/>
                    </a:cubicBezTo>
                    <a:lnTo>
                      <a:pt x="6202" y="6510"/>
                    </a:lnTo>
                    <a:close/>
                    <a:moveTo>
                      <a:pt x="5901" y="6456"/>
                    </a:moveTo>
                    <a:cubicBezTo>
                      <a:pt x="5873" y="6615"/>
                      <a:pt x="5873" y="6615"/>
                      <a:pt x="5873" y="6615"/>
                    </a:cubicBezTo>
                    <a:cubicBezTo>
                      <a:pt x="6467" y="6695"/>
                      <a:pt x="6467" y="6695"/>
                      <a:pt x="6467" y="6695"/>
                    </a:cubicBezTo>
                    <a:cubicBezTo>
                      <a:pt x="6465" y="6709"/>
                      <a:pt x="6465" y="6709"/>
                      <a:pt x="6465" y="6709"/>
                    </a:cubicBezTo>
                    <a:cubicBezTo>
                      <a:pt x="5871" y="6628"/>
                      <a:pt x="5871" y="6628"/>
                      <a:pt x="5871" y="6628"/>
                    </a:cubicBezTo>
                    <a:cubicBezTo>
                      <a:pt x="5838" y="6817"/>
                      <a:pt x="5838" y="6817"/>
                      <a:pt x="5838" y="6817"/>
                    </a:cubicBezTo>
                    <a:cubicBezTo>
                      <a:pt x="5845" y="6819"/>
                      <a:pt x="5845" y="6819"/>
                      <a:pt x="5845" y="6819"/>
                    </a:cubicBezTo>
                    <a:cubicBezTo>
                      <a:pt x="5845" y="6819"/>
                      <a:pt x="5845" y="6819"/>
                      <a:pt x="5845" y="6819"/>
                    </a:cubicBezTo>
                    <a:cubicBezTo>
                      <a:pt x="5886" y="6827"/>
                      <a:pt x="5980" y="6843"/>
                      <a:pt x="6076" y="6860"/>
                    </a:cubicBezTo>
                    <a:cubicBezTo>
                      <a:pt x="6199" y="6882"/>
                      <a:pt x="6326" y="6904"/>
                      <a:pt x="6338" y="6905"/>
                    </a:cubicBezTo>
                    <a:cubicBezTo>
                      <a:pt x="6339" y="6904"/>
                      <a:pt x="6339" y="6905"/>
                      <a:pt x="6339" y="6905"/>
                    </a:cubicBezTo>
                    <a:cubicBezTo>
                      <a:pt x="6340" y="6905"/>
                      <a:pt x="6340" y="6905"/>
                      <a:pt x="6340" y="6905"/>
                    </a:cubicBezTo>
                    <a:cubicBezTo>
                      <a:pt x="6342" y="6905"/>
                      <a:pt x="6348" y="6905"/>
                      <a:pt x="6358" y="6907"/>
                    </a:cubicBezTo>
                    <a:cubicBezTo>
                      <a:pt x="6392" y="6776"/>
                      <a:pt x="6392" y="6776"/>
                      <a:pt x="6392" y="6776"/>
                    </a:cubicBezTo>
                    <a:cubicBezTo>
                      <a:pt x="6469" y="6766"/>
                      <a:pt x="6469" y="6766"/>
                      <a:pt x="6469" y="6766"/>
                    </a:cubicBezTo>
                    <a:cubicBezTo>
                      <a:pt x="6472" y="6766"/>
                      <a:pt x="6472" y="6766"/>
                      <a:pt x="6472" y="6766"/>
                    </a:cubicBezTo>
                    <a:cubicBezTo>
                      <a:pt x="6488" y="6629"/>
                      <a:pt x="6488" y="6629"/>
                      <a:pt x="6488" y="6629"/>
                    </a:cubicBezTo>
                    <a:cubicBezTo>
                      <a:pt x="6486" y="6629"/>
                      <a:pt x="6486" y="6629"/>
                      <a:pt x="6486" y="6629"/>
                    </a:cubicBezTo>
                    <a:cubicBezTo>
                      <a:pt x="6488" y="6615"/>
                      <a:pt x="6488" y="6615"/>
                      <a:pt x="6488" y="6615"/>
                    </a:cubicBezTo>
                    <a:cubicBezTo>
                      <a:pt x="6489" y="6615"/>
                      <a:pt x="6489" y="6615"/>
                      <a:pt x="6489" y="6615"/>
                    </a:cubicBezTo>
                    <a:cubicBezTo>
                      <a:pt x="6496" y="6557"/>
                      <a:pt x="6496" y="6557"/>
                      <a:pt x="6496" y="6557"/>
                    </a:cubicBezTo>
                    <a:cubicBezTo>
                      <a:pt x="6139" y="6521"/>
                      <a:pt x="6139" y="6521"/>
                      <a:pt x="6139" y="6521"/>
                    </a:cubicBezTo>
                    <a:cubicBezTo>
                      <a:pt x="6133" y="6484"/>
                      <a:pt x="6133" y="6484"/>
                      <a:pt x="6133" y="6484"/>
                    </a:cubicBezTo>
                    <a:lnTo>
                      <a:pt x="5901" y="6456"/>
                    </a:lnTo>
                    <a:close/>
                    <a:moveTo>
                      <a:pt x="5879" y="6199"/>
                    </a:moveTo>
                    <a:cubicBezTo>
                      <a:pt x="5780" y="6180"/>
                      <a:pt x="5780" y="6180"/>
                      <a:pt x="5780" y="6180"/>
                    </a:cubicBezTo>
                    <a:cubicBezTo>
                      <a:pt x="5779" y="6188"/>
                      <a:pt x="5778" y="6197"/>
                      <a:pt x="5777" y="6207"/>
                    </a:cubicBezTo>
                    <a:cubicBezTo>
                      <a:pt x="5834" y="6218"/>
                      <a:pt x="5834" y="6218"/>
                      <a:pt x="5834" y="6218"/>
                    </a:cubicBezTo>
                    <a:cubicBezTo>
                      <a:pt x="5809" y="6372"/>
                      <a:pt x="5809" y="6372"/>
                      <a:pt x="5809" y="6372"/>
                    </a:cubicBezTo>
                    <a:cubicBezTo>
                      <a:pt x="5754" y="6362"/>
                      <a:pt x="5754" y="6362"/>
                      <a:pt x="5754" y="6362"/>
                    </a:cubicBezTo>
                    <a:cubicBezTo>
                      <a:pt x="5753" y="6368"/>
                      <a:pt x="5752" y="6374"/>
                      <a:pt x="5751" y="6380"/>
                    </a:cubicBezTo>
                    <a:cubicBezTo>
                      <a:pt x="5748" y="6392"/>
                      <a:pt x="5746" y="6402"/>
                      <a:pt x="5744" y="6410"/>
                    </a:cubicBezTo>
                    <a:cubicBezTo>
                      <a:pt x="5743" y="6413"/>
                      <a:pt x="5743" y="6415"/>
                      <a:pt x="5742" y="6417"/>
                    </a:cubicBezTo>
                    <a:cubicBezTo>
                      <a:pt x="5838" y="6434"/>
                      <a:pt x="5838" y="6434"/>
                      <a:pt x="5838" y="6434"/>
                    </a:cubicBezTo>
                    <a:lnTo>
                      <a:pt x="5879" y="6199"/>
                    </a:lnTo>
                    <a:close/>
                    <a:moveTo>
                      <a:pt x="5775" y="6220"/>
                    </a:moveTo>
                    <a:cubicBezTo>
                      <a:pt x="5772" y="6241"/>
                      <a:pt x="5769" y="6266"/>
                      <a:pt x="5765" y="6291"/>
                    </a:cubicBezTo>
                    <a:cubicBezTo>
                      <a:pt x="5762" y="6311"/>
                      <a:pt x="5759" y="6331"/>
                      <a:pt x="5756" y="6349"/>
                    </a:cubicBezTo>
                    <a:cubicBezTo>
                      <a:pt x="5798" y="6357"/>
                      <a:pt x="5798" y="6357"/>
                      <a:pt x="5798" y="6357"/>
                    </a:cubicBezTo>
                    <a:cubicBezTo>
                      <a:pt x="5819" y="6228"/>
                      <a:pt x="5819" y="6228"/>
                      <a:pt x="5819" y="6228"/>
                    </a:cubicBezTo>
                    <a:lnTo>
                      <a:pt x="5775" y="6220"/>
                    </a:lnTo>
                    <a:close/>
                    <a:moveTo>
                      <a:pt x="5767" y="6178"/>
                    </a:moveTo>
                    <a:cubicBezTo>
                      <a:pt x="5662" y="6158"/>
                      <a:pt x="5662" y="6158"/>
                      <a:pt x="5662" y="6158"/>
                    </a:cubicBezTo>
                    <a:cubicBezTo>
                      <a:pt x="5661" y="6165"/>
                      <a:pt x="5659" y="6174"/>
                      <a:pt x="5658" y="6186"/>
                    </a:cubicBezTo>
                    <a:cubicBezTo>
                      <a:pt x="5763" y="6205"/>
                      <a:pt x="5763" y="6205"/>
                      <a:pt x="5763" y="6205"/>
                    </a:cubicBezTo>
                    <a:cubicBezTo>
                      <a:pt x="5764" y="6194"/>
                      <a:pt x="5766" y="6185"/>
                      <a:pt x="5767" y="6178"/>
                    </a:cubicBezTo>
                    <a:close/>
                    <a:moveTo>
                      <a:pt x="5656" y="6199"/>
                    </a:moveTo>
                    <a:cubicBezTo>
                      <a:pt x="5653" y="6222"/>
                      <a:pt x="5649" y="6250"/>
                      <a:pt x="5645" y="6278"/>
                    </a:cubicBezTo>
                    <a:cubicBezTo>
                      <a:pt x="5642" y="6295"/>
                      <a:pt x="5640" y="6312"/>
                      <a:pt x="5637" y="6328"/>
                    </a:cubicBezTo>
                    <a:cubicBezTo>
                      <a:pt x="5742" y="6347"/>
                      <a:pt x="5742" y="6347"/>
                      <a:pt x="5742" y="6347"/>
                    </a:cubicBezTo>
                    <a:cubicBezTo>
                      <a:pt x="5749" y="6306"/>
                      <a:pt x="5756" y="6256"/>
                      <a:pt x="5761" y="6218"/>
                    </a:cubicBezTo>
                    <a:lnTo>
                      <a:pt x="5656" y="6199"/>
                    </a:lnTo>
                    <a:close/>
                    <a:moveTo>
                      <a:pt x="5648" y="6155"/>
                    </a:moveTo>
                    <a:cubicBezTo>
                      <a:pt x="5545" y="6136"/>
                      <a:pt x="5545" y="6136"/>
                      <a:pt x="5545" y="6136"/>
                    </a:cubicBezTo>
                    <a:cubicBezTo>
                      <a:pt x="5544" y="6142"/>
                      <a:pt x="5543" y="6152"/>
                      <a:pt x="5541" y="6166"/>
                    </a:cubicBezTo>
                    <a:cubicBezTo>
                      <a:pt x="5644" y="6184"/>
                      <a:pt x="5644" y="6184"/>
                      <a:pt x="5644" y="6184"/>
                    </a:cubicBezTo>
                    <a:cubicBezTo>
                      <a:pt x="5646" y="6172"/>
                      <a:pt x="5647" y="6162"/>
                      <a:pt x="5648" y="6155"/>
                    </a:cubicBezTo>
                    <a:close/>
                    <a:moveTo>
                      <a:pt x="5539" y="6179"/>
                    </a:moveTo>
                    <a:cubicBezTo>
                      <a:pt x="5536" y="6202"/>
                      <a:pt x="5532" y="6231"/>
                      <a:pt x="5528" y="6260"/>
                    </a:cubicBezTo>
                    <a:cubicBezTo>
                      <a:pt x="5525" y="6276"/>
                      <a:pt x="5523" y="6292"/>
                      <a:pt x="5520" y="6308"/>
                    </a:cubicBezTo>
                    <a:cubicBezTo>
                      <a:pt x="5623" y="6326"/>
                      <a:pt x="5623" y="6326"/>
                      <a:pt x="5623" y="6326"/>
                    </a:cubicBezTo>
                    <a:cubicBezTo>
                      <a:pt x="5630" y="6284"/>
                      <a:pt x="5637" y="6234"/>
                      <a:pt x="5642" y="6197"/>
                    </a:cubicBezTo>
                    <a:lnTo>
                      <a:pt x="5539" y="6179"/>
                    </a:lnTo>
                    <a:close/>
                    <a:moveTo>
                      <a:pt x="5531" y="6134"/>
                    </a:moveTo>
                    <a:cubicBezTo>
                      <a:pt x="5425" y="6114"/>
                      <a:pt x="5425" y="6114"/>
                      <a:pt x="5425" y="6114"/>
                    </a:cubicBezTo>
                    <a:cubicBezTo>
                      <a:pt x="5424" y="6120"/>
                      <a:pt x="5423" y="6130"/>
                      <a:pt x="5421" y="6144"/>
                    </a:cubicBezTo>
                    <a:cubicBezTo>
                      <a:pt x="5527" y="6163"/>
                      <a:pt x="5527" y="6163"/>
                      <a:pt x="5527" y="6163"/>
                    </a:cubicBezTo>
                    <a:cubicBezTo>
                      <a:pt x="5529" y="6150"/>
                      <a:pt x="5530" y="6139"/>
                      <a:pt x="5531" y="6134"/>
                    </a:cubicBezTo>
                    <a:close/>
                    <a:moveTo>
                      <a:pt x="5419" y="6157"/>
                    </a:moveTo>
                    <a:cubicBezTo>
                      <a:pt x="5416" y="6180"/>
                      <a:pt x="5412" y="6209"/>
                      <a:pt x="5408" y="6238"/>
                    </a:cubicBezTo>
                    <a:cubicBezTo>
                      <a:pt x="5405" y="6255"/>
                      <a:pt x="5403" y="6271"/>
                      <a:pt x="5400" y="6287"/>
                    </a:cubicBezTo>
                    <a:cubicBezTo>
                      <a:pt x="5507" y="6305"/>
                      <a:pt x="5507" y="6305"/>
                      <a:pt x="5507" y="6305"/>
                    </a:cubicBezTo>
                    <a:cubicBezTo>
                      <a:pt x="5513" y="6263"/>
                      <a:pt x="5521" y="6212"/>
                      <a:pt x="5526" y="6176"/>
                    </a:cubicBezTo>
                    <a:lnTo>
                      <a:pt x="5419" y="6157"/>
                    </a:lnTo>
                    <a:close/>
                    <a:moveTo>
                      <a:pt x="5411" y="6111"/>
                    </a:moveTo>
                    <a:cubicBezTo>
                      <a:pt x="5288" y="6088"/>
                      <a:pt x="5288" y="6088"/>
                      <a:pt x="5288" y="6088"/>
                    </a:cubicBezTo>
                    <a:cubicBezTo>
                      <a:pt x="5288" y="6097"/>
                      <a:pt x="5287" y="6108"/>
                      <a:pt x="5286" y="6120"/>
                    </a:cubicBezTo>
                    <a:cubicBezTo>
                      <a:pt x="5407" y="6142"/>
                      <a:pt x="5407" y="6142"/>
                      <a:pt x="5407" y="6142"/>
                    </a:cubicBezTo>
                    <a:cubicBezTo>
                      <a:pt x="5409" y="6128"/>
                      <a:pt x="5410" y="6117"/>
                      <a:pt x="5411" y="6111"/>
                    </a:cubicBezTo>
                    <a:close/>
                    <a:moveTo>
                      <a:pt x="5285" y="6133"/>
                    </a:moveTo>
                    <a:cubicBezTo>
                      <a:pt x="5282" y="6168"/>
                      <a:pt x="5278" y="6214"/>
                      <a:pt x="5273" y="6264"/>
                    </a:cubicBezTo>
                    <a:cubicBezTo>
                      <a:pt x="5387" y="6284"/>
                      <a:pt x="5387" y="6284"/>
                      <a:pt x="5387" y="6284"/>
                    </a:cubicBezTo>
                    <a:cubicBezTo>
                      <a:pt x="5393" y="6242"/>
                      <a:pt x="5400" y="6191"/>
                      <a:pt x="5405" y="6155"/>
                    </a:cubicBezTo>
                    <a:lnTo>
                      <a:pt x="5285" y="6133"/>
                    </a:lnTo>
                    <a:close/>
                    <a:moveTo>
                      <a:pt x="5275" y="6086"/>
                    </a:moveTo>
                    <a:cubicBezTo>
                      <a:pt x="4748" y="5988"/>
                      <a:pt x="4748" y="5988"/>
                      <a:pt x="4748" y="5988"/>
                    </a:cubicBezTo>
                    <a:cubicBezTo>
                      <a:pt x="4737" y="6042"/>
                      <a:pt x="4725" y="6099"/>
                      <a:pt x="4714" y="6158"/>
                    </a:cubicBezTo>
                    <a:cubicBezTo>
                      <a:pt x="4710" y="6177"/>
                      <a:pt x="4706" y="6197"/>
                      <a:pt x="4702" y="6217"/>
                    </a:cubicBezTo>
                    <a:cubicBezTo>
                      <a:pt x="5256" y="6306"/>
                      <a:pt x="5256" y="6306"/>
                      <a:pt x="5256" y="6306"/>
                    </a:cubicBezTo>
                    <a:cubicBezTo>
                      <a:pt x="5257" y="6296"/>
                      <a:pt x="5258" y="6285"/>
                      <a:pt x="5259" y="6275"/>
                    </a:cubicBezTo>
                    <a:cubicBezTo>
                      <a:pt x="4862" y="6205"/>
                      <a:pt x="4862" y="6205"/>
                      <a:pt x="4862" y="6205"/>
                    </a:cubicBezTo>
                    <a:cubicBezTo>
                      <a:pt x="4888" y="6049"/>
                      <a:pt x="4888" y="6049"/>
                      <a:pt x="4888" y="6049"/>
                    </a:cubicBezTo>
                    <a:cubicBezTo>
                      <a:pt x="4894" y="6051"/>
                      <a:pt x="4894" y="6051"/>
                      <a:pt x="4894" y="6051"/>
                    </a:cubicBezTo>
                    <a:cubicBezTo>
                      <a:pt x="5272" y="6118"/>
                      <a:pt x="5272" y="6118"/>
                      <a:pt x="5272" y="6118"/>
                    </a:cubicBezTo>
                    <a:cubicBezTo>
                      <a:pt x="5273" y="6105"/>
                      <a:pt x="5274" y="6094"/>
                      <a:pt x="5275" y="6086"/>
                    </a:cubicBezTo>
                    <a:close/>
                    <a:moveTo>
                      <a:pt x="4780" y="5509"/>
                    </a:moveTo>
                    <a:cubicBezTo>
                      <a:pt x="4780" y="5507"/>
                      <a:pt x="4781" y="5500"/>
                      <a:pt x="4782" y="5489"/>
                    </a:cubicBezTo>
                    <a:cubicBezTo>
                      <a:pt x="4783" y="5480"/>
                      <a:pt x="4783" y="5468"/>
                      <a:pt x="4784" y="5455"/>
                    </a:cubicBezTo>
                    <a:cubicBezTo>
                      <a:pt x="4036" y="5419"/>
                      <a:pt x="4036" y="5419"/>
                      <a:pt x="4036" y="5419"/>
                    </a:cubicBezTo>
                    <a:cubicBezTo>
                      <a:pt x="4020" y="5627"/>
                      <a:pt x="4020" y="5627"/>
                      <a:pt x="4020" y="5627"/>
                    </a:cubicBezTo>
                    <a:cubicBezTo>
                      <a:pt x="4524" y="5672"/>
                      <a:pt x="4524" y="5672"/>
                      <a:pt x="4524" y="5672"/>
                    </a:cubicBezTo>
                    <a:cubicBezTo>
                      <a:pt x="4560" y="5477"/>
                      <a:pt x="4560" y="5477"/>
                      <a:pt x="4560" y="5477"/>
                    </a:cubicBezTo>
                    <a:cubicBezTo>
                      <a:pt x="4715" y="5503"/>
                      <a:pt x="4715" y="5503"/>
                      <a:pt x="4715" y="5503"/>
                    </a:cubicBezTo>
                    <a:cubicBezTo>
                      <a:pt x="4714" y="5510"/>
                      <a:pt x="4714" y="5510"/>
                      <a:pt x="4714" y="5510"/>
                    </a:cubicBezTo>
                    <a:cubicBezTo>
                      <a:pt x="4681" y="5686"/>
                      <a:pt x="4681" y="5686"/>
                      <a:pt x="4681" y="5686"/>
                    </a:cubicBezTo>
                    <a:cubicBezTo>
                      <a:pt x="4742" y="5691"/>
                      <a:pt x="4742" y="5691"/>
                      <a:pt x="4742" y="5691"/>
                    </a:cubicBezTo>
                    <a:cubicBezTo>
                      <a:pt x="4764" y="5588"/>
                      <a:pt x="4778" y="5519"/>
                      <a:pt x="4780" y="5509"/>
                    </a:cubicBezTo>
                    <a:close/>
                    <a:moveTo>
                      <a:pt x="4094" y="5408"/>
                    </a:moveTo>
                    <a:cubicBezTo>
                      <a:pt x="4154" y="5313"/>
                      <a:pt x="4154" y="5313"/>
                      <a:pt x="4154" y="5313"/>
                    </a:cubicBezTo>
                    <a:cubicBezTo>
                      <a:pt x="4153" y="5313"/>
                      <a:pt x="4153" y="5313"/>
                      <a:pt x="4152" y="5312"/>
                    </a:cubicBezTo>
                    <a:cubicBezTo>
                      <a:pt x="4122" y="5301"/>
                      <a:pt x="4022" y="5259"/>
                      <a:pt x="3907" y="5210"/>
                    </a:cubicBezTo>
                    <a:cubicBezTo>
                      <a:pt x="3743" y="5457"/>
                      <a:pt x="3743" y="5457"/>
                      <a:pt x="3743" y="5457"/>
                    </a:cubicBezTo>
                    <a:cubicBezTo>
                      <a:pt x="3586" y="5487"/>
                      <a:pt x="3586" y="5487"/>
                      <a:pt x="3586" y="5487"/>
                    </a:cubicBezTo>
                    <a:cubicBezTo>
                      <a:pt x="3588" y="5488"/>
                      <a:pt x="3588" y="5488"/>
                      <a:pt x="3588" y="5488"/>
                    </a:cubicBezTo>
                    <a:cubicBezTo>
                      <a:pt x="3575" y="5512"/>
                      <a:pt x="3575" y="5512"/>
                      <a:pt x="3575" y="5512"/>
                    </a:cubicBezTo>
                    <a:cubicBezTo>
                      <a:pt x="3575" y="5513"/>
                      <a:pt x="3560" y="5542"/>
                      <a:pt x="3535" y="5591"/>
                    </a:cubicBezTo>
                    <a:cubicBezTo>
                      <a:pt x="3595" y="5604"/>
                      <a:pt x="3736" y="5639"/>
                      <a:pt x="3767" y="5646"/>
                    </a:cubicBezTo>
                    <a:cubicBezTo>
                      <a:pt x="3796" y="5569"/>
                      <a:pt x="3796" y="5569"/>
                      <a:pt x="3796" y="5569"/>
                    </a:cubicBezTo>
                    <a:cubicBezTo>
                      <a:pt x="3800" y="5568"/>
                      <a:pt x="3800" y="5568"/>
                      <a:pt x="3800" y="5568"/>
                    </a:cubicBezTo>
                    <a:cubicBezTo>
                      <a:pt x="3801" y="5568"/>
                      <a:pt x="3977" y="5546"/>
                      <a:pt x="4013" y="5542"/>
                    </a:cubicBezTo>
                    <a:cubicBezTo>
                      <a:pt x="4024" y="5405"/>
                      <a:pt x="4024" y="5405"/>
                      <a:pt x="4024" y="5405"/>
                    </a:cubicBezTo>
                    <a:lnTo>
                      <a:pt x="4094" y="5408"/>
                    </a:lnTo>
                    <a:close/>
                    <a:moveTo>
                      <a:pt x="3894" y="5205"/>
                    </a:moveTo>
                    <a:cubicBezTo>
                      <a:pt x="3856" y="5189"/>
                      <a:pt x="3816" y="5172"/>
                      <a:pt x="3777" y="5156"/>
                    </a:cubicBezTo>
                    <a:cubicBezTo>
                      <a:pt x="3737" y="5139"/>
                      <a:pt x="3698" y="5122"/>
                      <a:pt x="3661" y="5106"/>
                    </a:cubicBezTo>
                    <a:cubicBezTo>
                      <a:pt x="3504" y="5424"/>
                      <a:pt x="3504" y="5424"/>
                      <a:pt x="3504" y="5424"/>
                    </a:cubicBezTo>
                    <a:cubicBezTo>
                      <a:pt x="3571" y="5475"/>
                      <a:pt x="3571" y="5475"/>
                      <a:pt x="3571" y="5475"/>
                    </a:cubicBezTo>
                    <a:cubicBezTo>
                      <a:pt x="3607" y="5469"/>
                      <a:pt x="3607" y="5469"/>
                      <a:pt x="3607" y="5469"/>
                    </a:cubicBezTo>
                    <a:cubicBezTo>
                      <a:pt x="3552" y="5439"/>
                      <a:pt x="3552" y="5439"/>
                      <a:pt x="3552" y="5439"/>
                    </a:cubicBezTo>
                    <a:cubicBezTo>
                      <a:pt x="3555" y="5434"/>
                      <a:pt x="3555" y="5434"/>
                      <a:pt x="3555" y="5434"/>
                    </a:cubicBezTo>
                    <a:cubicBezTo>
                      <a:pt x="3622" y="5305"/>
                      <a:pt x="3622" y="5305"/>
                      <a:pt x="3622" y="5305"/>
                    </a:cubicBezTo>
                    <a:cubicBezTo>
                      <a:pt x="3689" y="5341"/>
                      <a:pt x="3689" y="5341"/>
                      <a:pt x="3689" y="5341"/>
                    </a:cubicBezTo>
                    <a:cubicBezTo>
                      <a:pt x="3623" y="5466"/>
                      <a:pt x="3623" y="5466"/>
                      <a:pt x="3623" y="5466"/>
                    </a:cubicBezTo>
                    <a:cubicBezTo>
                      <a:pt x="3735" y="5445"/>
                      <a:pt x="3735" y="5445"/>
                      <a:pt x="3735" y="5445"/>
                    </a:cubicBezTo>
                    <a:lnTo>
                      <a:pt x="3894" y="5205"/>
                    </a:lnTo>
                    <a:close/>
                    <a:moveTo>
                      <a:pt x="3672" y="5346"/>
                    </a:moveTo>
                    <a:cubicBezTo>
                      <a:pt x="3628" y="5323"/>
                      <a:pt x="3628" y="5323"/>
                      <a:pt x="3628" y="5323"/>
                    </a:cubicBezTo>
                    <a:cubicBezTo>
                      <a:pt x="3569" y="5434"/>
                      <a:pt x="3569" y="5434"/>
                      <a:pt x="3569" y="5434"/>
                    </a:cubicBezTo>
                    <a:cubicBezTo>
                      <a:pt x="3613" y="5457"/>
                      <a:pt x="3613" y="5457"/>
                      <a:pt x="3613" y="5457"/>
                    </a:cubicBezTo>
                    <a:lnTo>
                      <a:pt x="3672" y="5346"/>
                    </a:lnTo>
                    <a:close/>
                    <a:moveTo>
                      <a:pt x="3648" y="5101"/>
                    </a:moveTo>
                    <a:cubicBezTo>
                      <a:pt x="3616" y="5087"/>
                      <a:pt x="3586" y="5074"/>
                      <a:pt x="3560" y="5063"/>
                    </a:cubicBezTo>
                    <a:cubicBezTo>
                      <a:pt x="3532" y="5051"/>
                      <a:pt x="3508" y="5040"/>
                      <a:pt x="3491" y="5033"/>
                    </a:cubicBezTo>
                    <a:cubicBezTo>
                      <a:pt x="3482" y="5029"/>
                      <a:pt x="3476" y="5026"/>
                      <a:pt x="3471" y="5024"/>
                    </a:cubicBezTo>
                    <a:cubicBezTo>
                      <a:pt x="3470" y="5024"/>
                      <a:pt x="3470" y="5023"/>
                      <a:pt x="3469" y="5023"/>
                    </a:cubicBezTo>
                    <a:cubicBezTo>
                      <a:pt x="3273" y="5246"/>
                      <a:pt x="3273" y="5246"/>
                      <a:pt x="3273" y="5246"/>
                    </a:cubicBezTo>
                    <a:cubicBezTo>
                      <a:pt x="3492" y="5415"/>
                      <a:pt x="3492" y="5415"/>
                      <a:pt x="3492" y="5415"/>
                    </a:cubicBezTo>
                    <a:lnTo>
                      <a:pt x="3648" y="5101"/>
                    </a:lnTo>
                    <a:close/>
                    <a:moveTo>
                      <a:pt x="3081" y="5180"/>
                    </a:moveTo>
                    <a:cubicBezTo>
                      <a:pt x="3019" y="5298"/>
                      <a:pt x="3019" y="5298"/>
                      <a:pt x="3019" y="5298"/>
                    </a:cubicBezTo>
                    <a:cubicBezTo>
                      <a:pt x="3332" y="5501"/>
                      <a:pt x="3332" y="5501"/>
                      <a:pt x="3332" y="5501"/>
                    </a:cubicBezTo>
                    <a:cubicBezTo>
                      <a:pt x="3352" y="5461"/>
                      <a:pt x="3352" y="5461"/>
                      <a:pt x="3352" y="5461"/>
                    </a:cubicBezTo>
                    <a:cubicBezTo>
                      <a:pt x="3472" y="5520"/>
                      <a:pt x="3472" y="5520"/>
                      <a:pt x="3472" y="5520"/>
                    </a:cubicBezTo>
                    <a:cubicBezTo>
                      <a:pt x="3469" y="5526"/>
                      <a:pt x="3469" y="5526"/>
                      <a:pt x="3469" y="5526"/>
                    </a:cubicBezTo>
                    <a:cubicBezTo>
                      <a:pt x="3444" y="5574"/>
                      <a:pt x="3444" y="5574"/>
                      <a:pt x="3444" y="5574"/>
                    </a:cubicBezTo>
                    <a:cubicBezTo>
                      <a:pt x="3460" y="5584"/>
                      <a:pt x="3460" y="5584"/>
                      <a:pt x="3460" y="5584"/>
                    </a:cubicBezTo>
                    <a:cubicBezTo>
                      <a:pt x="3452" y="5595"/>
                      <a:pt x="3452" y="5595"/>
                      <a:pt x="3452" y="5595"/>
                    </a:cubicBezTo>
                    <a:cubicBezTo>
                      <a:pt x="3438" y="5586"/>
                      <a:pt x="3438" y="5586"/>
                      <a:pt x="3438" y="5586"/>
                    </a:cubicBezTo>
                    <a:cubicBezTo>
                      <a:pt x="3390" y="5681"/>
                      <a:pt x="3390" y="5681"/>
                      <a:pt x="3390" y="5681"/>
                    </a:cubicBezTo>
                    <a:cubicBezTo>
                      <a:pt x="3393" y="5682"/>
                      <a:pt x="3396" y="5684"/>
                      <a:pt x="3399" y="5685"/>
                    </a:cubicBezTo>
                    <a:cubicBezTo>
                      <a:pt x="3403" y="5688"/>
                      <a:pt x="3407" y="5689"/>
                      <a:pt x="3410" y="5691"/>
                    </a:cubicBezTo>
                    <a:cubicBezTo>
                      <a:pt x="3453" y="5607"/>
                      <a:pt x="3487" y="5540"/>
                      <a:pt x="3504" y="5507"/>
                    </a:cubicBezTo>
                    <a:lnTo>
                      <a:pt x="3081" y="5180"/>
                    </a:lnTo>
                    <a:close/>
                    <a:moveTo>
                      <a:pt x="3326" y="5777"/>
                    </a:moveTo>
                    <a:cubicBezTo>
                      <a:pt x="3372" y="5687"/>
                      <a:pt x="3372" y="5687"/>
                      <a:pt x="3372" y="5687"/>
                    </a:cubicBezTo>
                    <a:cubicBezTo>
                      <a:pt x="3348" y="5674"/>
                      <a:pt x="3315" y="5657"/>
                      <a:pt x="3279" y="5638"/>
                    </a:cubicBezTo>
                    <a:cubicBezTo>
                      <a:pt x="3233" y="5730"/>
                      <a:pt x="3233" y="5730"/>
                      <a:pt x="3233" y="5730"/>
                    </a:cubicBezTo>
                    <a:cubicBezTo>
                      <a:pt x="3268" y="5748"/>
                      <a:pt x="3301" y="5764"/>
                      <a:pt x="3326" y="5777"/>
                    </a:cubicBezTo>
                    <a:close/>
                    <a:moveTo>
                      <a:pt x="3226" y="5743"/>
                    </a:moveTo>
                    <a:cubicBezTo>
                      <a:pt x="3216" y="5763"/>
                      <a:pt x="3216" y="5763"/>
                      <a:pt x="3216" y="5763"/>
                    </a:cubicBezTo>
                    <a:cubicBezTo>
                      <a:pt x="3310" y="5809"/>
                      <a:pt x="3310" y="5809"/>
                      <a:pt x="3310" y="5809"/>
                    </a:cubicBezTo>
                    <a:cubicBezTo>
                      <a:pt x="3320" y="5789"/>
                      <a:pt x="3320" y="5789"/>
                      <a:pt x="3320" y="5789"/>
                    </a:cubicBezTo>
                    <a:cubicBezTo>
                      <a:pt x="3294" y="5777"/>
                      <a:pt x="3262" y="5761"/>
                      <a:pt x="3226" y="5743"/>
                    </a:cubicBezTo>
                    <a:close/>
                    <a:moveTo>
                      <a:pt x="3337" y="5521"/>
                    </a:moveTo>
                    <a:cubicBezTo>
                      <a:pt x="3285" y="5625"/>
                      <a:pt x="3285" y="5625"/>
                      <a:pt x="3285" y="5625"/>
                    </a:cubicBezTo>
                    <a:cubicBezTo>
                      <a:pt x="3307" y="5637"/>
                      <a:pt x="3328" y="5648"/>
                      <a:pt x="3346" y="5658"/>
                    </a:cubicBezTo>
                    <a:cubicBezTo>
                      <a:pt x="3358" y="5664"/>
                      <a:pt x="3369" y="5670"/>
                      <a:pt x="3378" y="5675"/>
                    </a:cubicBezTo>
                    <a:cubicBezTo>
                      <a:pt x="3427" y="5579"/>
                      <a:pt x="3427" y="5579"/>
                      <a:pt x="3427" y="5579"/>
                    </a:cubicBezTo>
                    <a:lnTo>
                      <a:pt x="3337" y="5521"/>
                    </a:lnTo>
                    <a:close/>
                    <a:moveTo>
                      <a:pt x="3433" y="5567"/>
                    </a:moveTo>
                    <a:cubicBezTo>
                      <a:pt x="3454" y="5526"/>
                      <a:pt x="3454" y="5526"/>
                      <a:pt x="3454" y="5526"/>
                    </a:cubicBezTo>
                    <a:cubicBezTo>
                      <a:pt x="3358" y="5479"/>
                      <a:pt x="3358" y="5479"/>
                      <a:pt x="3358" y="5479"/>
                    </a:cubicBezTo>
                    <a:cubicBezTo>
                      <a:pt x="3343" y="5508"/>
                      <a:pt x="3343" y="5508"/>
                      <a:pt x="3343" y="5508"/>
                    </a:cubicBezTo>
                    <a:lnTo>
                      <a:pt x="3433" y="5567"/>
                    </a:lnTo>
                    <a:close/>
                    <a:moveTo>
                      <a:pt x="3338" y="5783"/>
                    </a:moveTo>
                    <a:cubicBezTo>
                      <a:pt x="3345" y="5787"/>
                      <a:pt x="3352" y="5790"/>
                      <a:pt x="3358" y="5793"/>
                    </a:cubicBezTo>
                    <a:cubicBezTo>
                      <a:pt x="3374" y="5761"/>
                      <a:pt x="3389" y="5731"/>
                      <a:pt x="3404" y="5703"/>
                    </a:cubicBezTo>
                    <a:cubicBezTo>
                      <a:pt x="3399" y="5701"/>
                      <a:pt x="3392" y="5697"/>
                      <a:pt x="3384" y="5693"/>
                    </a:cubicBezTo>
                    <a:lnTo>
                      <a:pt x="3338" y="5783"/>
                    </a:lnTo>
                    <a:close/>
                    <a:moveTo>
                      <a:pt x="3012" y="5310"/>
                    </a:moveTo>
                    <a:cubicBezTo>
                      <a:pt x="2943" y="5442"/>
                      <a:pt x="2943" y="5442"/>
                      <a:pt x="2943" y="5442"/>
                    </a:cubicBezTo>
                    <a:cubicBezTo>
                      <a:pt x="2971" y="5456"/>
                      <a:pt x="3081" y="5515"/>
                      <a:pt x="3189" y="5573"/>
                    </a:cubicBezTo>
                    <a:cubicBezTo>
                      <a:pt x="3218" y="5589"/>
                      <a:pt x="3246" y="5604"/>
                      <a:pt x="3273" y="5619"/>
                    </a:cubicBezTo>
                    <a:cubicBezTo>
                      <a:pt x="3326" y="5514"/>
                      <a:pt x="3326" y="5514"/>
                      <a:pt x="3326" y="5514"/>
                    </a:cubicBezTo>
                    <a:lnTo>
                      <a:pt x="3012" y="5310"/>
                    </a:lnTo>
                    <a:close/>
                    <a:moveTo>
                      <a:pt x="2936" y="5454"/>
                    </a:moveTo>
                    <a:cubicBezTo>
                      <a:pt x="2883" y="5555"/>
                      <a:pt x="2883" y="5555"/>
                      <a:pt x="2883" y="5555"/>
                    </a:cubicBezTo>
                    <a:cubicBezTo>
                      <a:pt x="2899" y="5564"/>
                      <a:pt x="3018" y="5623"/>
                      <a:pt x="3135" y="5682"/>
                    </a:cubicBezTo>
                    <a:cubicBezTo>
                      <a:pt x="3164" y="5696"/>
                      <a:pt x="3193" y="5711"/>
                      <a:pt x="3221" y="5724"/>
                    </a:cubicBezTo>
                    <a:cubicBezTo>
                      <a:pt x="3267" y="5631"/>
                      <a:pt x="3267" y="5631"/>
                      <a:pt x="3267" y="5631"/>
                    </a:cubicBezTo>
                    <a:cubicBezTo>
                      <a:pt x="3230" y="5611"/>
                      <a:pt x="3189" y="5589"/>
                      <a:pt x="3149" y="5568"/>
                    </a:cubicBezTo>
                    <a:cubicBezTo>
                      <a:pt x="3093" y="5538"/>
                      <a:pt x="3039" y="5508"/>
                      <a:pt x="2999" y="5487"/>
                    </a:cubicBezTo>
                    <a:cubicBezTo>
                      <a:pt x="2978" y="5476"/>
                      <a:pt x="2962" y="5467"/>
                      <a:pt x="2950" y="5461"/>
                    </a:cubicBezTo>
                    <a:cubicBezTo>
                      <a:pt x="2944" y="5458"/>
                      <a:pt x="2940" y="5456"/>
                      <a:pt x="2936" y="5454"/>
                    </a:cubicBezTo>
                    <a:close/>
                    <a:moveTo>
                      <a:pt x="2877" y="5568"/>
                    </a:moveTo>
                    <a:cubicBezTo>
                      <a:pt x="2658" y="5982"/>
                      <a:pt x="2658" y="5982"/>
                      <a:pt x="2658" y="5982"/>
                    </a:cubicBezTo>
                    <a:cubicBezTo>
                      <a:pt x="2887" y="6075"/>
                      <a:pt x="2887" y="6075"/>
                      <a:pt x="2887" y="6075"/>
                    </a:cubicBezTo>
                    <a:cubicBezTo>
                      <a:pt x="2987" y="6046"/>
                      <a:pt x="2987" y="6046"/>
                      <a:pt x="2987" y="6046"/>
                    </a:cubicBezTo>
                    <a:cubicBezTo>
                      <a:pt x="3043" y="6071"/>
                      <a:pt x="3043" y="6071"/>
                      <a:pt x="3043" y="6071"/>
                    </a:cubicBezTo>
                    <a:cubicBezTo>
                      <a:pt x="3130" y="5896"/>
                      <a:pt x="3130" y="5896"/>
                      <a:pt x="3130" y="5896"/>
                    </a:cubicBezTo>
                    <a:cubicBezTo>
                      <a:pt x="3063" y="5863"/>
                      <a:pt x="3063" y="5863"/>
                      <a:pt x="3063" y="5863"/>
                    </a:cubicBezTo>
                    <a:cubicBezTo>
                      <a:pt x="3019" y="5887"/>
                      <a:pt x="3019" y="5887"/>
                      <a:pt x="3019" y="5887"/>
                    </a:cubicBezTo>
                    <a:cubicBezTo>
                      <a:pt x="2774" y="5764"/>
                      <a:pt x="2774" y="5764"/>
                      <a:pt x="2774" y="5764"/>
                    </a:cubicBezTo>
                    <a:cubicBezTo>
                      <a:pt x="2780" y="5752"/>
                      <a:pt x="2780" y="5752"/>
                      <a:pt x="2780" y="5752"/>
                    </a:cubicBezTo>
                    <a:cubicBezTo>
                      <a:pt x="3019" y="5871"/>
                      <a:pt x="3019" y="5871"/>
                      <a:pt x="3019" y="5871"/>
                    </a:cubicBezTo>
                    <a:cubicBezTo>
                      <a:pt x="3063" y="5847"/>
                      <a:pt x="3063" y="5847"/>
                      <a:pt x="3063" y="5847"/>
                    </a:cubicBezTo>
                    <a:cubicBezTo>
                      <a:pt x="3136" y="5884"/>
                      <a:pt x="3136" y="5884"/>
                      <a:pt x="3136" y="5884"/>
                    </a:cubicBezTo>
                    <a:cubicBezTo>
                      <a:pt x="3156" y="5844"/>
                      <a:pt x="3156" y="5844"/>
                      <a:pt x="3156" y="5844"/>
                    </a:cubicBezTo>
                    <a:cubicBezTo>
                      <a:pt x="3276" y="5902"/>
                      <a:pt x="3276" y="5902"/>
                      <a:pt x="3276" y="5902"/>
                    </a:cubicBezTo>
                    <a:cubicBezTo>
                      <a:pt x="3273" y="5908"/>
                      <a:pt x="3273" y="5908"/>
                      <a:pt x="3273" y="5908"/>
                    </a:cubicBezTo>
                    <a:cubicBezTo>
                      <a:pt x="3255" y="5943"/>
                      <a:pt x="3255" y="5943"/>
                      <a:pt x="3255" y="5943"/>
                    </a:cubicBezTo>
                    <a:cubicBezTo>
                      <a:pt x="3276" y="5954"/>
                      <a:pt x="3276" y="5954"/>
                      <a:pt x="3276" y="5954"/>
                    </a:cubicBezTo>
                    <a:cubicBezTo>
                      <a:pt x="3302" y="5903"/>
                      <a:pt x="3327" y="5853"/>
                      <a:pt x="3352" y="5805"/>
                    </a:cubicBezTo>
                    <a:cubicBezTo>
                      <a:pt x="3346" y="5802"/>
                      <a:pt x="3339" y="5799"/>
                      <a:pt x="3332" y="5795"/>
                    </a:cubicBezTo>
                    <a:cubicBezTo>
                      <a:pt x="3316" y="5826"/>
                      <a:pt x="3316" y="5826"/>
                      <a:pt x="3316" y="5826"/>
                    </a:cubicBezTo>
                    <a:cubicBezTo>
                      <a:pt x="3199" y="5769"/>
                      <a:pt x="3199" y="5769"/>
                      <a:pt x="3199" y="5769"/>
                    </a:cubicBezTo>
                    <a:cubicBezTo>
                      <a:pt x="3215" y="5737"/>
                      <a:pt x="3215" y="5737"/>
                      <a:pt x="3215" y="5737"/>
                    </a:cubicBezTo>
                    <a:cubicBezTo>
                      <a:pt x="3078" y="5669"/>
                      <a:pt x="2902" y="5581"/>
                      <a:pt x="2877" y="5568"/>
                    </a:cubicBezTo>
                    <a:close/>
                    <a:moveTo>
                      <a:pt x="3151" y="6119"/>
                    </a:moveTo>
                    <a:cubicBezTo>
                      <a:pt x="3237" y="5950"/>
                      <a:pt x="3237" y="5950"/>
                      <a:pt x="3237" y="5950"/>
                    </a:cubicBezTo>
                    <a:cubicBezTo>
                      <a:pt x="3142" y="5902"/>
                      <a:pt x="3142" y="5902"/>
                      <a:pt x="3142" y="5902"/>
                    </a:cubicBezTo>
                    <a:cubicBezTo>
                      <a:pt x="3055" y="6076"/>
                      <a:pt x="3055" y="6076"/>
                      <a:pt x="3055" y="6076"/>
                    </a:cubicBezTo>
                    <a:lnTo>
                      <a:pt x="3151" y="6119"/>
                    </a:lnTo>
                    <a:close/>
                    <a:moveTo>
                      <a:pt x="3049" y="6088"/>
                    </a:moveTo>
                    <a:cubicBezTo>
                      <a:pt x="3021" y="6145"/>
                      <a:pt x="3021" y="6145"/>
                      <a:pt x="3021" y="6145"/>
                    </a:cubicBezTo>
                    <a:cubicBezTo>
                      <a:pt x="3114" y="6191"/>
                      <a:pt x="3114" y="6191"/>
                      <a:pt x="3114" y="6191"/>
                    </a:cubicBezTo>
                    <a:cubicBezTo>
                      <a:pt x="3145" y="6131"/>
                      <a:pt x="3145" y="6131"/>
                      <a:pt x="3145" y="6131"/>
                    </a:cubicBezTo>
                    <a:lnTo>
                      <a:pt x="3049" y="6088"/>
                    </a:lnTo>
                    <a:close/>
                    <a:moveTo>
                      <a:pt x="3243" y="5937"/>
                    </a:moveTo>
                    <a:cubicBezTo>
                      <a:pt x="3258" y="5908"/>
                      <a:pt x="3258" y="5908"/>
                      <a:pt x="3258" y="5908"/>
                    </a:cubicBezTo>
                    <a:cubicBezTo>
                      <a:pt x="3162" y="5862"/>
                      <a:pt x="3162" y="5862"/>
                      <a:pt x="3162" y="5862"/>
                    </a:cubicBezTo>
                    <a:cubicBezTo>
                      <a:pt x="3148" y="5890"/>
                      <a:pt x="3148" y="5890"/>
                      <a:pt x="3148" y="5890"/>
                    </a:cubicBezTo>
                    <a:lnTo>
                      <a:pt x="3243" y="5937"/>
                    </a:lnTo>
                    <a:close/>
                    <a:moveTo>
                      <a:pt x="3163" y="6124"/>
                    </a:moveTo>
                    <a:cubicBezTo>
                      <a:pt x="3185" y="6134"/>
                      <a:pt x="3185" y="6134"/>
                      <a:pt x="3185" y="6134"/>
                    </a:cubicBezTo>
                    <a:cubicBezTo>
                      <a:pt x="3213" y="6078"/>
                      <a:pt x="3242" y="6022"/>
                      <a:pt x="3270" y="5966"/>
                    </a:cubicBezTo>
                    <a:cubicBezTo>
                      <a:pt x="3249" y="5956"/>
                      <a:pt x="3249" y="5956"/>
                      <a:pt x="3249" y="5956"/>
                    </a:cubicBezTo>
                    <a:lnTo>
                      <a:pt x="3163" y="6124"/>
                    </a:lnTo>
                    <a:close/>
                    <a:moveTo>
                      <a:pt x="2538" y="5948"/>
                    </a:moveTo>
                    <a:cubicBezTo>
                      <a:pt x="2534" y="5951"/>
                      <a:pt x="2520" y="5967"/>
                      <a:pt x="2504" y="5988"/>
                    </a:cubicBezTo>
                    <a:cubicBezTo>
                      <a:pt x="2493" y="6003"/>
                      <a:pt x="2481" y="6021"/>
                      <a:pt x="2468" y="6039"/>
                    </a:cubicBezTo>
                    <a:cubicBezTo>
                      <a:pt x="2508" y="6056"/>
                      <a:pt x="2645" y="6120"/>
                      <a:pt x="2784" y="6185"/>
                    </a:cubicBezTo>
                    <a:cubicBezTo>
                      <a:pt x="2917" y="6247"/>
                      <a:pt x="3048" y="6308"/>
                      <a:pt x="3089" y="6327"/>
                    </a:cubicBezTo>
                    <a:cubicBezTo>
                      <a:pt x="3116" y="6271"/>
                      <a:pt x="3147" y="6209"/>
                      <a:pt x="3179" y="6146"/>
                    </a:cubicBezTo>
                    <a:cubicBezTo>
                      <a:pt x="3157" y="6136"/>
                      <a:pt x="3157" y="6136"/>
                      <a:pt x="3157" y="6136"/>
                    </a:cubicBezTo>
                    <a:cubicBezTo>
                      <a:pt x="3120" y="6209"/>
                      <a:pt x="3120" y="6209"/>
                      <a:pt x="3120" y="6209"/>
                    </a:cubicBezTo>
                    <a:cubicBezTo>
                      <a:pt x="3003" y="6151"/>
                      <a:pt x="3003" y="6151"/>
                      <a:pt x="3003" y="6151"/>
                    </a:cubicBezTo>
                    <a:cubicBezTo>
                      <a:pt x="3037" y="6083"/>
                      <a:pt x="3037" y="6083"/>
                      <a:pt x="3037" y="6083"/>
                    </a:cubicBezTo>
                    <a:cubicBezTo>
                      <a:pt x="2986" y="6060"/>
                      <a:pt x="2986" y="6060"/>
                      <a:pt x="2986" y="6060"/>
                    </a:cubicBezTo>
                    <a:cubicBezTo>
                      <a:pt x="2886" y="6090"/>
                      <a:pt x="2886" y="6090"/>
                      <a:pt x="2886" y="6090"/>
                    </a:cubicBezTo>
                    <a:lnTo>
                      <a:pt x="2538" y="5948"/>
                    </a:lnTo>
                    <a:close/>
                    <a:moveTo>
                      <a:pt x="2825" y="6545"/>
                    </a:moveTo>
                    <a:cubicBezTo>
                      <a:pt x="2787" y="6621"/>
                      <a:pt x="2787" y="6621"/>
                      <a:pt x="2787" y="6621"/>
                    </a:cubicBezTo>
                    <a:cubicBezTo>
                      <a:pt x="2881" y="6667"/>
                      <a:pt x="2881" y="6667"/>
                      <a:pt x="2881" y="6667"/>
                    </a:cubicBezTo>
                    <a:cubicBezTo>
                      <a:pt x="2919" y="6591"/>
                      <a:pt x="2919" y="6591"/>
                      <a:pt x="2919" y="6591"/>
                    </a:cubicBezTo>
                    <a:lnTo>
                      <a:pt x="2825" y="6545"/>
                    </a:lnTo>
                    <a:close/>
                    <a:moveTo>
                      <a:pt x="2925" y="6579"/>
                    </a:moveTo>
                    <a:cubicBezTo>
                      <a:pt x="3025" y="6384"/>
                      <a:pt x="3025" y="6384"/>
                      <a:pt x="3025" y="6384"/>
                    </a:cubicBezTo>
                    <a:cubicBezTo>
                      <a:pt x="2928" y="6337"/>
                      <a:pt x="2928" y="6337"/>
                      <a:pt x="2928" y="6337"/>
                    </a:cubicBezTo>
                    <a:cubicBezTo>
                      <a:pt x="2831" y="6532"/>
                      <a:pt x="2831" y="6532"/>
                      <a:pt x="2831" y="6532"/>
                    </a:cubicBezTo>
                    <a:lnTo>
                      <a:pt x="2925" y="6579"/>
                    </a:lnTo>
                    <a:close/>
                    <a:moveTo>
                      <a:pt x="2813" y="6539"/>
                    </a:moveTo>
                    <a:cubicBezTo>
                      <a:pt x="2414" y="6342"/>
                      <a:pt x="2414" y="6342"/>
                      <a:pt x="2414" y="6342"/>
                    </a:cubicBezTo>
                    <a:cubicBezTo>
                      <a:pt x="2401" y="6363"/>
                      <a:pt x="2348" y="6444"/>
                      <a:pt x="2284" y="6544"/>
                    </a:cubicBezTo>
                    <a:cubicBezTo>
                      <a:pt x="2573" y="6708"/>
                      <a:pt x="2573" y="6708"/>
                      <a:pt x="2573" y="6708"/>
                    </a:cubicBezTo>
                    <a:cubicBezTo>
                      <a:pt x="2807" y="6792"/>
                      <a:pt x="2807" y="6792"/>
                      <a:pt x="2807" y="6792"/>
                    </a:cubicBezTo>
                    <a:cubicBezTo>
                      <a:pt x="2971" y="6736"/>
                      <a:pt x="2971" y="6736"/>
                      <a:pt x="2971" y="6736"/>
                    </a:cubicBezTo>
                    <a:cubicBezTo>
                      <a:pt x="2960" y="6702"/>
                      <a:pt x="2954" y="6670"/>
                      <a:pt x="2954" y="6641"/>
                    </a:cubicBezTo>
                    <a:cubicBezTo>
                      <a:pt x="2954" y="6630"/>
                      <a:pt x="2955" y="6620"/>
                      <a:pt x="2957" y="6610"/>
                    </a:cubicBezTo>
                    <a:cubicBezTo>
                      <a:pt x="2931" y="6597"/>
                      <a:pt x="2931" y="6597"/>
                      <a:pt x="2931" y="6597"/>
                    </a:cubicBezTo>
                    <a:cubicBezTo>
                      <a:pt x="2887" y="6684"/>
                      <a:pt x="2887" y="6684"/>
                      <a:pt x="2887" y="6684"/>
                    </a:cubicBezTo>
                    <a:cubicBezTo>
                      <a:pt x="2769" y="6627"/>
                      <a:pt x="2769" y="6627"/>
                      <a:pt x="2769" y="6627"/>
                    </a:cubicBezTo>
                    <a:lnTo>
                      <a:pt x="2813" y="6539"/>
                    </a:lnTo>
                    <a:close/>
                    <a:moveTo>
                      <a:pt x="3082" y="6339"/>
                    </a:moveTo>
                    <a:cubicBezTo>
                      <a:pt x="3041" y="6320"/>
                      <a:pt x="2911" y="6259"/>
                      <a:pt x="2778" y="6198"/>
                    </a:cubicBezTo>
                    <a:cubicBezTo>
                      <a:pt x="2636" y="6131"/>
                      <a:pt x="2491" y="6064"/>
                      <a:pt x="2460" y="6051"/>
                    </a:cubicBezTo>
                    <a:cubicBezTo>
                      <a:pt x="2422" y="6106"/>
                      <a:pt x="2383" y="6165"/>
                      <a:pt x="2374" y="6178"/>
                    </a:cubicBezTo>
                    <a:cubicBezTo>
                      <a:pt x="2417" y="6329"/>
                      <a:pt x="2417" y="6329"/>
                      <a:pt x="2417" y="6329"/>
                    </a:cubicBezTo>
                    <a:cubicBezTo>
                      <a:pt x="2819" y="6527"/>
                      <a:pt x="2819" y="6527"/>
                      <a:pt x="2819" y="6527"/>
                    </a:cubicBezTo>
                    <a:cubicBezTo>
                      <a:pt x="2923" y="6320"/>
                      <a:pt x="2923" y="6320"/>
                      <a:pt x="2923" y="6320"/>
                    </a:cubicBezTo>
                    <a:cubicBezTo>
                      <a:pt x="3042" y="6378"/>
                      <a:pt x="3042" y="6378"/>
                      <a:pt x="3042" y="6378"/>
                    </a:cubicBezTo>
                    <a:cubicBezTo>
                      <a:pt x="3039" y="6384"/>
                      <a:pt x="3039" y="6384"/>
                      <a:pt x="3039" y="6384"/>
                    </a:cubicBezTo>
                    <a:cubicBezTo>
                      <a:pt x="2937" y="6585"/>
                      <a:pt x="2937" y="6585"/>
                      <a:pt x="2937" y="6585"/>
                    </a:cubicBezTo>
                    <a:cubicBezTo>
                      <a:pt x="2961" y="6596"/>
                      <a:pt x="2961" y="6596"/>
                      <a:pt x="2961" y="6596"/>
                    </a:cubicBezTo>
                    <a:cubicBezTo>
                      <a:pt x="2963" y="6591"/>
                      <a:pt x="2965" y="6586"/>
                      <a:pt x="2968" y="6580"/>
                    </a:cubicBezTo>
                    <a:cubicBezTo>
                      <a:pt x="2985" y="6537"/>
                      <a:pt x="3028" y="6449"/>
                      <a:pt x="3082" y="6339"/>
                    </a:cubicBezTo>
                    <a:close/>
                    <a:moveTo>
                      <a:pt x="1834" y="5897"/>
                    </a:moveTo>
                    <a:cubicBezTo>
                      <a:pt x="1900" y="5780"/>
                      <a:pt x="1900" y="5780"/>
                      <a:pt x="1900" y="5780"/>
                    </a:cubicBezTo>
                    <a:cubicBezTo>
                      <a:pt x="1849" y="5751"/>
                      <a:pt x="1849" y="5751"/>
                      <a:pt x="1849" y="5751"/>
                    </a:cubicBezTo>
                    <a:cubicBezTo>
                      <a:pt x="1782" y="5868"/>
                      <a:pt x="1782" y="5868"/>
                      <a:pt x="1782" y="5868"/>
                    </a:cubicBezTo>
                    <a:lnTo>
                      <a:pt x="1834" y="5897"/>
                    </a:lnTo>
                    <a:close/>
                    <a:moveTo>
                      <a:pt x="1776" y="5880"/>
                    </a:moveTo>
                    <a:cubicBezTo>
                      <a:pt x="1722" y="5974"/>
                      <a:pt x="1722" y="5974"/>
                      <a:pt x="1722" y="5974"/>
                    </a:cubicBezTo>
                    <a:cubicBezTo>
                      <a:pt x="1774" y="6004"/>
                      <a:pt x="1774" y="6004"/>
                      <a:pt x="1774" y="6004"/>
                    </a:cubicBezTo>
                    <a:cubicBezTo>
                      <a:pt x="1827" y="5909"/>
                      <a:pt x="1827" y="5909"/>
                      <a:pt x="1827" y="5909"/>
                    </a:cubicBezTo>
                    <a:lnTo>
                      <a:pt x="1776" y="5880"/>
                    </a:lnTo>
                    <a:close/>
                    <a:moveTo>
                      <a:pt x="1907" y="5768"/>
                    </a:moveTo>
                    <a:cubicBezTo>
                      <a:pt x="1960" y="5672"/>
                      <a:pt x="1960" y="5672"/>
                      <a:pt x="1960" y="5672"/>
                    </a:cubicBezTo>
                    <a:cubicBezTo>
                      <a:pt x="1910" y="5643"/>
                      <a:pt x="1910" y="5643"/>
                      <a:pt x="1910" y="5643"/>
                    </a:cubicBezTo>
                    <a:cubicBezTo>
                      <a:pt x="1856" y="5739"/>
                      <a:pt x="1856" y="5739"/>
                      <a:pt x="1856" y="5739"/>
                    </a:cubicBezTo>
                    <a:lnTo>
                      <a:pt x="1907" y="5768"/>
                    </a:lnTo>
                    <a:close/>
                    <a:moveTo>
                      <a:pt x="2091" y="5438"/>
                    </a:moveTo>
                    <a:cubicBezTo>
                      <a:pt x="2042" y="5410"/>
                      <a:pt x="2042" y="5410"/>
                      <a:pt x="2042" y="5410"/>
                    </a:cubicBezTo>
                    <a:cubicBezTo>
                      <a:pt x="1982" y="5516"/>
                      <a:pt x="1982" y="5516"/>
                      <a:pt x="1982" y="5516"/>
                    </a:cubicBezTo>
                    <a:cubicBezTo>
                      <a:pt x="2028" y="5542"/>
                      <a:pt x="2028" y="5542"/>
                      <a:pt x="2028" y="5542"/>
                    </a:cubicBezTo>
                    <a:cubicBezTo>
                      <a:pt x="2021" y="5554"/>
                      <a:pt x="2021" y="5554"/>
                      <a:pt x="2021" y="5554"/>
                    </a:cubicBezTo>
                    <a:cubicBezTo>
                      <a:pt x="1975" y="5528"/>
                      <a:pt x="1975" y="5528"/>
                      <a:pt x="1975" y="5528"/>
                    </a:cubicBezTo>
                    <a:cubicBezTo>
                      <a:pt x="1916" y="5631"/>
                      <a:pt x="1916" y="5631"/>
                      <a:pt x="1916" y="5631"/>
                    </a:cubicBezTo>
                    <a:cubicBezTo>
                      <a:pt x="1967" y="5660"/>
                      <a:pt x="1967" y="5660"/>
                      <a:pt x="1967" y="5660"/>
                    </a:cubicBezTo>
                    <a:lnTo>
                      <a:pt x="2091" y="5438"/>
                    </a:lnTo>
                    <a:close/>
                    <a:moveTo>
                      <a:pt x="2031" y="5403"/>
                    </a:moveTo>
                    <a:cubicBezTo>
                      <a:pt x="1917" y="5338"/>
                      <a:pt x="1917" y="5338"/>
                      <a:pt x="1917" y="5338"/>
                    </a:cubicBezTo>
                    <a:cubicBezTo>
                      <a:pt x="1856" y="5444"/>
                      <a:pt x="1856" y="5444"/>
                      <a:pt x="1856" y="5444"/>
                    </a:cubicBezTo>
                    <a:cubicBezTo>
                      <a:pt x="1970" y="5510"/>
                      <a:pt x="1970" y="5510"/>
                      <a:pt x="1970" y="5510"/>
                    </a:cubicBezTo>
                    <a:lnTo>
                      <a:pt x="2031" y="5403"/>
                    </a:lnTo>
                    <a:close/>
                    <a:moveTo>
                      <a:pt x="1850" y="5457"/>
                    </a:moveTo>
                    <a:cubicBezTo>
                      <a:pt x="1791" y="5560"/>
                      <a:pt x="1791" y="5560"/>
                      <a:pt x="1791" y="5560"/>
                    </a:cubicBezTo>
                    <a:cubicBezTo>
                      <a:pt x="1905" y="5625"/>
                      <a:pt x="1905" y="5625"/>
                      <a:pt x="1905" y="5625"/>
                    </a:cubicBezTo>
                    <a:cubicBezTo>
                      <a:pt x="1964" y="5522"/>
                      <a:pt x="1964" y="5522"/>
                      <a:pt x="1964" y="5522"/>
                    </a:cubicBezTo>
                    <a:lnTo>
                      <a:pt x="1850" y="5457"/>
                    </a:lnTo>
                    <a:close/>
                    <a:moveTo>
                      <a:pt x="1784" y="5572"/>
                    </a:moveTo>
                    <a:cubicBezTo>
                      <a:pt x="1730" y="5667"/>
                      <a:pt x="1730" y="5667"/>
                      <a:pt x="1730" y="5667"/>
                    </a:cubicBezTo>
                    <a:cubicBezTo>
                      <a:pt x="1844" y="5732"/>
                      <a:pt x="1844" y="5732"/>
                      <a:pt x="1844" y="5732"/>
                    </a:cubicBezTo>
                    <a:cubicBezTo>
                      <a:pt x="1898" y="5637"/>
                      <a:pt x="1898" y="5637"/>
                      <a:pt x="1898" y="5637"/>
                    </a:cubicBezTo>
                    <a:lnTo>
                      <a:pt x="1784" y="5572"/>
                    </a:lnTo>
                    <a:close/>
                    <a:moveTo>
                      <a:pt x="1723" y="5679"/>
                    </a:moveTo>
                    <a:cubicBezTo>
                      <a:pt x="1657" y="5796"/>
                      <a:pt x="1657" y="5796"/>
                      <a:pt x="1657" y="5796"/>
                    </a:cubicBezTo>
                    <a:cubicBezTo>
                      <a:pt x="1771" y="5861"/>
                      <a:pt x="1771" y="5861"/>
                      <a:pt x="1771" y="5861"/>
                    </a:cubicBezTo>
                    <a:cubicBezTo>
                      <a:pt x="1837" y="5744"/>
                      <a:pt x="1837" y="5744"/>
                      <a:pt x="1837" y="5744"/>
                    </a:cubicBezTo>
                    <a:lnTo>
                      <a:pt x="1723" y="5679"/>
                    </a:lnTo>
                    <a:close/>
                    <a:moveTo>
                      <a:pt x="1650" y="5808"/>
                    </a:moveTo>
                    <a:cubicBezTo>
                      <a:pt x="1596" y="5903"/>
                      <a:pt x="1596" y="5903"/>
                      <a:pt x="1596" y="5903"/>
                    </a:cubicBezTo>
                    <a:cubicBezTo>
                      <a:pt x="1710" y="5968"/>
                      <a:pt x="1710" y="5968"/>
                      <a:pt x="1710" y="5968"/>
                    </a:cubicBezTo>
                    <a:cubicBezTo>
                      <a:pt x="1764" y="5873"/>
                      <a:pt x="1764" y="5873"/>
                      <a:pt x="1764" y="5873"/>
                    </a:cubicBezTo>
                    <a:lnTo>
                      <a:pt x="1650" y="5808"/>
                    </a:lnTo>
                    <a:close/>
                    <a:moveTo>
                      <a:pt x="1590" y="5915"/>
                    </a:moveTo>
                    <a:cubicBezTo>
                      <a:pt x="1530" y="6020"/>
                      <a:pt x="1530" y="6020"/>
                      <a:pt x="1530" y="6020"/>
                    </a:cubicBezTo>
                    <a:cubicBezTo>
                      <a:pt x="1644" y="6085"/>
                      <a:pt x="1644" y="6085"/>
                      <a:pt x="1644" y="6085"/>
                    </a:cubicBezTo>
                    <a:cubicBezTo>
                      <a:pt x="1704" y="5980"/>
                      <a:pt x="1704" y="5980"/>
                      <a:pt x="1704" y="5980"/>
                    </a:cubicBezTo>
                    <a:lnTo>
                      <a:pt x="1590" y="5915"/>
                    </a:lnTo>
                    <a:close/>
                    <a:moveTo>
                      <a:pt x="1523" y="6032"/>
                    </a:moveTo>
                    <a:cubicBezTo>
                      <a:pt x="1471" y="6124"/>
                      <a:pt x="1471" y="6124"/>
                      <a:pt x="1471" y="6124"/>
                    </a:cubicBezTo>
                    <a:cubicBezTo>
                      <a:pt x="1585" y="6189"/>
                      <a:pt x="1585" y="6189"/>
                      <a:pt x="1585" y="6189"/>
                    </a:cubicBezTo>
                    <a:cubicBezTo>
                      <a:pt x="1637" y="6097"/>
                      <a:pt x="1637" y="6097"/>
                      <a:pt x="1637" y="6097"/>
                    </a:cubicBezTo>
                    <a:lnTo>
                      <a:pt x="1523" y="6032"/>
                    </a:lnTo>
                    <a:close/>
                    <a:moveTo>
                      <a:pt x="1464" y="6136"/>
                    </a:moveTo>
                    <a:cubicBezTo>
                      <a:pt x="1404" y="6243"/>
                      <a:pt x="1404" y="6243"/>
                      <a:pt x="1404" y="6243"/>
                    </a:cubicBezTo>
                    <a:cubicBezTo>
                      <a:pt x="1518" y="6308"/>
                      <a:pt x="1518" y="6308"/>
                      <a:pt x="1518" y="6308"/>
                    </a:cubicBezTo>
                    <a:cubicBezTo>
                      <a:pt x="1578" y="6201"/>
                      <a:pt x="1578" y="6201"/>
                      <a:pt x="1578" y="6201"/>
                    </a:cubicBezTo>
                    <a:lnTo>
                      <a:pt x="1464" y="6136"/>
                    </a:lnTo>
                    <a:close/>
                    <a:moveTo>
                      <a:pt x="1529" y="6314"/>
                    </a:moveTo>
                    <a:cubicBezTo>
                      <a:pt x="1583" y="6345"/>
                      <a:pt x="1583" y="6345"/>
                      <a:pt x="1583" y="6345"/>
                    </a:cubicBezTo>
                    <a:cubicBezTo>
                      <a:pt x="1643" y="6239"/>
                      <a:pt x="1643" y="6239"/>
                      <a:pt x="1643" y="6239"/>
                    </a:cubicBezTo>
                    <a:cubicBezTo>
                      <a:pt x="1589" y="6208"/>
                      <a:pt x="1589" y="6208"/>
                      <a:pt x="1589" y="6208"/>
                    </a:cubicBezTo>
                    <a:lnTo>
                      <a:pt x="1529" y="6314"/>
                    </a:lnTo>
                    <a:close/>
                    <a:moveTo>
                      <a:pt x="1650" y="6226"/>
                    </a:moveTo>
                    <a:cubicBezTo>
                      <a:pt x="1701" y="6134"/>
                      <a:pt x="1701" y="6134"/>
                      <a:pt x="1701" y="6134"/>
                    </a:cubicBezTo>
                    <a:cubicBezTo>
                      <a:pt x="1648" y="6104"/>
                      <a:pt x="1648" y="6104"/>
                      <a:pt x="1648" y="6104"/>
                    </a:cubicBezTo>
                    <a:cubicBezTo>
                      <a:pt x="1596" y="6196"/>
                      <a:pt x="1596" y="6196"/>
                      <a:pt x="1596" y="6196"/>
                    </a:cubicBezTo>
                    <a:lnTo>
                      <a:pt x="1650" y="6226"/>
                    </a:lnTo>
                    <a:close/>
                    <a:moveTo>
                      <a:pt x="1708" y="6122"/>
                    </a:moveTo>
                    <a:cubicBezTo>
                      <a:pt x="1767" y="6016"/>
                      <a:pt x="1767" y="6016"/>
                      <a:pt x="1767" y="6016"/>
                    </a:cubicBezTo>
                    <a:cubicBezTo>
                      <a:pt x="1715" y="5986"/>
                      <a:pt x="1715" y="5986"/>
                      <a:pt x="1715" y="5986"/>
                    </a:cubicBezTo>
                    <a:cubicBezTo>
                      <a:pt x="1655" y="6092"/>
                      <a:pt x="1655" y="6092"/>
                      <a:pt x="1655" y="6092"/>
                    </a:cubicBezTo>
                    <a:lnTo>
                      <a:pt x="1708" y="6122"/>
                    </a:lnTo>
                    <a:close/>
                    <a:moveTo>
                      <a:pt x="1725" y="6226"/>
                    </a:moveTo>
                    <a:cubicBezTo>
                      <a:pt x="2004" y="6385"/>
                      <a:pt x="2004" y="6385"/>
                      <a:pt x="2004" y="6385"/>
                    </a:cubicBezTo>
                    <a:cubicBezTo>
                      <a:pt x="2016" y="6368"/>
                      <a:pt x="2039" y="6337"/>
                      <a:pt x="2062" y="6305"/>
                    </a:cubicBezTo>
                    <a:cubicBezTo>
                      <a:pt x="2078" y="6282"/>
                      <a:pt x="2095" y="6259"/>
                      <a:pt x="2107" y="6241"/>
                    </a:cubicBezTo>
                    <a:cubicBezTo>
                      <a:pt x="2113" y="6232"/>
                      <a:pt x="2119" y="6224"/>
                      <a:pt x="2122" y="6219"/>
                    </a:cubicBezTo>
                    <a:cubicBezTo>
                      <a:pt x="2123" y="6217"/>
                      <a:pt x="2124" y="6216"/>
                      <a:pt x="2125" y="6214"/>
                    </a:cubicBezTo>
                    <a:cubicBezTo>
                      <a:pt x="2125" y="6214"/>
                      <a:pt x="2125" y="6214"/>
                      <a:pt x="2125" y="6214"/>
                    </a:cubicBezTo>
                    <a:cubicBezTo>
                      <a:pt x="2127" y="6210"/>
                      <a:pt x="2127" y="6210"/>
                      <a:pt x="2127" y="6210"/>
                    </a:cubicBezTo>
                    <a:cubicBezTo>
                      <a:pt x="2127" y="6210"/>
                      <a:pt x="2127" y="6209"/>
                      <a:pt x="2127" y="6209"/>
                    </a:cubicBezTo>
                    <a:cubicBezTo>
                      <a:pt x="2128" y="6207"/>
                      <a:pt x="2130" y="6207"/>
                      <a:pt x="2130" y="6206"/>
                    </a:cubicBezTo>
                    <a:cubicBezTo>
                      <a:pt x="2134" y="6204"/>
                      <a:pt x="2137" y="6204"/>
                      <a:pt x="2145" y="6203"/>
                    </a:cubicBezTo>
                    <a:cubicBezTo>
                      <a:pt x="2189" y="6194"/>
                      <a:pt x="2340" y="6174"/>
                      <a:pt x="2363" y="6171"/>
                    </a:cubicBezTo>
                    <a:cubicBezTo>
                      <a:pt x="2371" y="6158"/>
                      <a:pt x="2404" y="6107"/>
                      <a:pt x="2440" y="6055"/>
                    </a:cubicBezTo>
                    <a:cubicBezTo>
                      <a:pt x="2442" y="6052"/>
                      <a:pt x="2444" y="6050"/>
                      <a:pt x="2446" y="6047"/>
                    </a:cubicBezTo>
                    <a:cubicBezTo>
                      <a:pt x="2397" y="6040"/>
                      <a:pt x="2134" y="6013"/>
                      <a:pt x="2128" y="6013"/>
                    </a:cubicBezTo>
                    <a:cubicBezTo>
                      <a:pt x="2121" y="6012"/>
                      <a:pt x="2120" y="6009"/>
                      <a:pt x="2112" y="6005"/>
                    </a:cubicBezTo>
                    <a:cubicBezTo>
                      <a:pt x="2075" y="5982"/>
                      <a:pt x="1966" y="5906"/>
                      <a:pt x="1922" y="5875"/>
                    </a:cubicBezTo>
                    <a:cubicBezTo>
                      <a:pt x="1825" y="6048"/>
                      <a:pt x="1825" y="6048"/>
                      <a:pt x="1825" y="6048"/>
                    </a:cubicBezTo>
                    <a:cubicBezTo>
                      <a:pt x="1836" y="6056"/>
                      <a:pt x="1836" y="6056"/>
                      <a:pt x="1836" y="6056"/>
                    </a:cubicBezTo>
                    <a:cubicBezTo>
                      <a:pt x="1911" y="5904"/>
                      <a:pt x="1911" y="5904"/>
                      <a:pt x="1911" y="5904"/>
                    </a:cubicBezTo>
                    <a:cubicBezTo>
                      <a:pt x="2031" y="5962"/>
                      <a:pt x="2031" y="5962"/>
                      <a:pt x="2031" y="5962"/>
                    </a:cubicBezTo>
                    <a:cubicBezTo>
                      <a:pt x="2028" y="5968"/>
                      <a:pt x="2028" y="5968"/>
                      <a:pt x="2028" y="5968"/>
                    </a:cubicBezTo>
                    <a:cubicBezTo>
                      <a:pt x="1943" y="6135"/>
                      <a:pt x="1943" y="6135"/>
                      <a:pt x="1943" y="6135"/>
                    </a:cubicBezTo>
                    <a:cubicBezTo>
                      <a:pt x="2099" y="6251"/>
                      <a:pt x="2099" y="6251"/>
                      <a:pt x="2099" y="6251"/>
                    </a:cubicBezTo>
                    <a:cubicBezTo>
                      <a:pt x="2091" y="6262"/>
                      <a:pt x="2091" y="6262"/>
                      <a:pt x="2091" y="6262"/>
                    </a:cubicBezTo>
                    <a:cubicBezTo>
                      <a:pt x="1937" y="6148"/>
                      <a:pt x="1937" y="6148"/>
                      <a:pt x="1937" y="6148"/>
                    </a:cubicBezTo>
                    <a:cubicBezTo>
                      <a:pt x="1875" y="6269"/>
                      <a:pt x="1875" y="6269"/>
                      <a:pt x="1875" y="6269"/>
                    </a:cubicBezTo>
                    <a:cubicBezTo>
                      <a:pt x="1758" y="6211"/>
                      <a:pt x="1758" y="6211"/>
                      <a:pt x="1758" y="6211"/>
                    </a:cubicBezTo>
                    <a:cubicBezTo>
                      <a:pt x="1829" y="6069"/>
                      <a:pt x="1829" y="6069"/>
                      <a:pt x="1829" y="6069"/>
                    </a:cubicBezTo>
                    <a:cubicBezTo>
                      <a:pt x="1818" y="6060"/>
                      <a:pt x="1818" y="6060"/>
                      <a:pt x="1818" y="6060"/>
                    </a:cubicBezTo>
                    <a:lnTo>
                      <a:pt x="1725" y="6226"/>
                    </a:lnTo>
                    <a:close/>
                    <a:moveTo>
                      <a:pt x="1840" y="6076"/>
                    </a:moveTo>
                    <a:cubicBezTo>
                      <a:pt x="1776" y="6205"/>
                      <a:pt x="1776" y="6205"/>
                      <a:pt x="1776" y="6205"/>
                    </a:cubicBezTo>
                    <a:cubicBezTo>
                      <a:pt x="1870" y="6251"/>
                      <a:pt x="1870" y="6251"/>
                      <a:pt x="1870" y="6251"/>
                    </a:cubicBezTo>
                    <a:cubicBezTo>
                      <a:pt x="1926" y="6140"/>
                      <a:pt x="1926" y="6140"/>
                      <a:pt x="1926" y="6140"/>
                    </a:cubicBezTo>
                    <a:lnTo>
                      <a:pt x="1840" y="6076"/>
                    </a:lnTo>
                    <a:close/>
                    <a:moveTo>
                      <a:pt x="1932" y="6127"/>
                    </a:moveTo>
                    <a:cubicBezTo>
                      <a:pt x="2013" y="5968"/>
                      <a:pt x="2013" y="5968"/>
                      <a:pt x="2013" y="5968"/>
                    </a:cubicBezTo>
                    <a:cubicBezTo>
                      <a:pt x="1917" y="5922"/>
                      <a:pt x="1917" y="5922"/>
                      <a:pt x="1917" y="5922"/>
                    </a:cubicBezTo>
                    <a:cubicBezTo>
                      <a:pt x="1846" y="6064"/>
                      <a:pt x="1846" y="6064"/>
                      <a:pt x="1846" y="6064"/>
                    </a:cubicBezTo>
                    <a:lnTo>
                      <a:pt x="1932" y="6127"/>
                    </a:lnTo>
                    <a:close/>
                    <a:moveTo>
                      <a:pt x="2017" y="6392"/>
                    </a:moveTo>
                    <a:cubicBezTo>
                      <a:pt x="2272" y="6537"/>
                      <a:pt x="2272" y="6537"/>
                      <a:pt x="2272" y="6537"/>
                    </a:cubicBezTo>
                    <a:cubicBezTo>
                      <a:pt x="2339" y="6433"/>
                      <a:pt x="2393" y="6348"/>
                      <a:pt x="2403" y="6332"/>
                    </a:cubicBezTo>
                    <a:cubicBezTo>
                      <a:pt x="2362" y="6185"/>
                      <a:pt x="2362" y="6185"/>
                      <a:pt x="2362" y="6185"/>
                    </a:cubicBezTo>
                    <a:cubicBezTo>
                      <a:pt x="2346" y="6187"/>
                      <a:pt x="2299" y="6193"/>
                      <a:pt x="2251" y="6200"/>
                    </a:cubicBezTo>
                    <a:cubicBezTo>
                      <a:pt x="2222" y="6205"/>
                      <a:pt x="2193" y="6209"/>
                      <a:pt x="2171" y="6212"/>
                    </a:cubicBezTo>
                    <a:cubicBezTo>
                      <a:pt x="2160" y="6214"/>
                      <a:pt x="2151" y="6216"/>
                      <a:pt x="2145" y="6217"/>
                    </a:cubicBezTo>
                    <a:cubicBezTo>
                      <a:pt x="2143" y="6217"/>
                      <a:pt x="2141" y="6218"/>
                      <a:pt x="2139" y="6218"/>
                    </a:cubicBezTo>
                    <a:cubicBezTo>
                      <a:pt x="2138" y="6220"/>
                      <a:pt x="2136" y="6222"/>
                      <a:pt x="2134" y="6226"/>
                    </a:cubicBezTo>
                    <a:cubicBezTo>
                      <a:pt x="2113" y="6259"/>
                      <a:pt x="2043" y="6355"/>
                      <a:pt x="2017" y="6392"/>
                    </a:cubicBezTo>
                    <a:close/>
                    <a:moveTo>
                      <a:pt x="3065" y="7372"/>
                    </a:moveTo>
                    <a:cubicBezTo>
                      <a:pt x="3067" y="7375"/>
                      <a:pt x="3068" y="7378"/>
                      <a:pt x="3070" y="7381"/>
                    </a:cubicBezTo>
                    <a:cubicBezTo>
                      <a:pt x="3124" y="7349"/>
                      <a:pt x="3172" y="7314"/>
                      <a:pt x="3207" y="7289"/>
                    </a:cubicBezTo>
                    <a:cubicBezTo>
                      <a:pt x="3258" y="7255"/>
                      <a:pt x="3338" y="7236"/>
                      <a:pt x="3409" y="7221"/>
                    </a:cubicBezTo>
                    <a:cubicBezTo>
                      <a:pt x="3432" y="7216"/>
                      <a:pt x="3454" y="7213"/>
                      <a:pt x="3474" y="7209"/>
                    </a:cubicBezTo>
                    <a:cubicBezTo>
                      <a:pt x="3443" y="7181"/>
                      <a:pt x="3413" y="7156"/>
                      <a:pt x="3387" y="7137"/>
                    </a:cubicBezTo>
                    <a:cubicBezTo>
                      <a:pt x="3270" y="7055"/>
                      <a:pt x="3163" y="6993"/>
                      <a:pt x="3076" y="6906"/>
                    </a:cubicBezTo>
                    <a:cubicBezTo>
                      <a:pt x="3029" y="6859"/>
                      <a:pt x="2996" y="6803"/>
                      <a:pt x="2976" y="6749"/>
                    </a:cubicBezTo>
                    <a:cubicBezTo>
                      <a:pt x="2816" y="6804"/>
                      <a:pt x="2816" y="6804"/>
                      <a:pt x="2816" y="6804"/>
                    </a:cubicBezTo>
                    <a:cubicBezTo>
                      <a:pt x="2831" y="6836"/>
                      <a:pt x="2891" y="6976"/>
                      <a:pt x="2950" y="7112"/>
                    </a:cubicBezTo>
                    <a:cubicBezTo>
                      <a:pt x="2981" y="7184"/>
                      <a:pt x="3012" y="7255"/>
                      <a:pt x="3036" y="7308"/>
                    </a:cubicBezTo>
                    <a:cubicBezTo>
                      <a:pt x="3048" y="7334"/>
                      <a:pt x="3058" y="7356"/>
                      <a:pt x="3065" y="7372"/>
                    </a:cubicBezTo>
                    <a:close/>
                    <a:moveTo>
                      <a:pt x="3429" y="7087"/>
                    </a:moveTo>
                    <a:cubicBezTo>
                      <a:pt x="3538" y="6755"/>
                      <a:pt x="3538" y="6755"/>
                      <a:pt x="3538" y="6755"/>
                    </a:cubicBezTo>
                    <a:cubicBezTo>
                      <a:pt x="3064" y="6526"/>
                      <a:pt x="3064" y="6526"/>
                      <a:pt x="3064" y="6526"/>
                    </a:cubicBezTo>
                    <a:cubicBezTo>
                      <a:pt x="3058" y="6539"/>
                      <a:pt x="3052" y="6552"/>
                      <a:pt x="3047" y="6563"/>
                    </a:cubicBezTo>
                    <a:cubicBezTo>
                      <a:pt x="3039" y="6580"/>
                      <a:pt x="3032" y="6595"/>
                      <a:pt x="3028" y="6605"/>
                    </a:cubicBezTo>
                    <a:cubicBezTo>
                      <a:pt x="3026" y="6610"/>
                      <a:pt x="3024" y="6615"/>
                      <a:pt x="3023" y="6618"/>
                    </a:cubicBezTo>
                    <a:cubicBezTo>
                      <a:pt x="3022" y="6619"/>
                      <a:pt x="3022" y="6621"/>
                      <a:pt x="3022" y="6621"/>
                    </a:cubicBezTo>
                    <a:cubicBezTo>
                      <a:pt x="3021" y="6622"/>
                      <a:pt x="3021" y="6622"/>
                      <a:pt x="3021" y="6622"/>
                    </a:cubicBezTo>
                    <a:cubicBezTo>
                      <a:pt x="3021" y="6622"/>
                      <a:pt x="3021" y="6622"/>
                      <a:pt x="3021" y="6622"/>
                    </a:cubicBezTo>
                    <a:cubicBezTo>
                      <a:pt x="3020" y="6627"/>
                      <a:pt x="3020" y="6634"/>
                      <a:pt x="3020" y="6641"/>
                    </a:cubicBezTo>
                    <a:cubicBezTo>
                      <a:pt x="3019" y="6695"/>
                      <a:pt x="3056" y="6794"/>
                      <a:pt x="3122" y="6859"/>
                    </a:cubicBezTo>
                    <a:cubicBezTo>
                      <a:pt x="3201" y="6938"/>
                      <a:pt x="3305" y="6999"/>
                      <a:pt x="3425" y="7083"/>
                    </a:cubicBezTo>
                    <a:cubicBezTo>
                      <a:pt x="3426" y="7085"/>
                      <a:pt x="3428" y="7086"/>
                      <a:pt x="3429" y="7087"/>
                    </a:cubicBezTo>
                    <a:close/>
                    <a:moveTo>
                      <a:pt x="3545" y="6743"/>
                    </a:moveTo>
                    <a:cubicBezTo>
                      <a:pt x="3790" y="6529"/>
                      <a:pt x="3790" y="6529"/>
                      <a:pt x="3790" y="6529"/>
                    </a:cubicBezTo>
                    <a:cubicBezTo>
                      <a:pt x="3864" y="6347"/>
                      <a:pt x="3864" y="6347"/>
                      <a:pt x="3864" y="6347"/>
                    </a:cubicBezTo>
                    <a:cubicBezTo>
                      <a:pt x="3863" y="6347"/>
                      <a:pt x="3863" y="6346"/>
                      <a:pt x="3862" y="6346"/>
                    </a:cubicBezTo>
                    <a:cubicBezTo>
                      <a:pt x="3861" y="6345"/>
                      <a:pt x="3859" y="6346"/>
                      <a:pt x="3858" y="6339"/>
                    </a:cubicBezTo>
                    <a:cubicBezTo>
                      <a:pt x="3858" y="6335"/>
                      <a:pt x="3863" y="6332"/>
                      <a:pt x="3864" y="6332"/>
                    </a:cubicBezTo>
                    <a:cubicBezTo>
                      <a:pt x="3866" y="6339"/>
                      <a:pt x="3866" y="6339"/>
                      <a:pt x="3866" y="6339"/>
                    </a:cubicBezTo>
                    <a:cubicBezTo>
                      <a:pt x="3866" y="6339"/>
                      <a:pt x="3866" y="6339"/>
                      <a:pt x="3866" y="6339"/>
                    </a:cubicBezTo>
                    <a:cubicBezTo>
                      <a:pt x="3867" y="6338"/>
                      <a:pt x="3867" y="6338"/>
                      <a:pt x="3867" y="6338"/>
                    </a:cubicBezTo>
                    <a:cubicBezTo>
                      <a:pt x="3869" y="6334"/>
                      <a:pt x="3869" y="6334"/>
                      <a:pt x="3869" y="6334"/>
                    </a:cubicBezTo>
                    <a:cubicBezTo>
                      <a:pt x="3870" y="6326"/>
                      <a:pt x="3874" y="6270"/>
                      <a:pt x="3874" y="6231"/>
                    </a:cubicBezTo>
                    <a:cubicBezTo>
                      <a:pt x="3874" y="6221"/>
                      <a:pt x="3874" y="6211"/>
                      <a:pt x="3873" y="6205"/>
                    </a:cubicBezTo>
                    <a:cubicBezTo>
                      <a:pt x="3873" y="6201"/>
                      <a:pt x="3872" y="6199"/>
                      <a:pt x="3872" y="6197"/>
                    </a:cubicBezTo>
                    <a:cubicBezTo>
                      <a:pt x="3872" y="6197"/>
                      <a:pt x="3872" y="6197"/>
                      <a:pt x="3872" y="6197"/>
                    </a:cubicBezTo>
                    <a:cubicBezTo>
                      <a:pt x="3866" y="6195"/>
                      <a:pt x="3866" y="6195"/>
                      <a:pt x="3866" y="6195"/>
                    </a:cubicBezTo>
                    <a:cubicBezTo>
                      <a:pt x="3977" y="5995"/>
                      <a:pt x="3977" y="5995"/>
                      <a:pt x="3977" y="5995"/>
                    </a:cubicBezTo>
                    <a:cubicBezTo>
                      <a:pt x="4012" y="5556"/>
                      <a:pt x="4012" y="5556"/>
                      <a:pt x="4012" y="5556"/>
                    </a:cubicBezTo>
                    <a:cubicBezTo>
                      <a:pt x="3995" y="5558"/>
                      <a:pt x="3953" y="5563"/>
                      <a:pt x="3910" y="5569"/>
                    </a:cubicBezTo>
                    <a:cubicBezTo>
                      <a:pt x="3865" y="5574"/>
                      <a:pt x="3820" y="5580"/>
                      <a:pt x="3806" y="5581"/>
                    </a:cubicBezTo>
                    <a:cubicBezTo>
                      <a:pt x="3776" y="5663"/>
                      <a:pt x="3776" y="5663"/>
                      <a:pt x="3776" y="5663"/>
                    </a:cubicBezTo>
                    <a:cubicBezTo>
                      <a:pt x="3770" y="5661"/>
                      <a:pt x="3770" y="5661"/>
                      <a:pt x="3770" y="5661"/>
                    </a:cubicBezTo>
                    <a:cubicBezTo>
                      <a:pt x="3770" y="5661"/>
                      <a:pt x="3707" y="5646"/>
                      <a:pt x="3643" y="5630"/>
                    </a:cubicBezTo>
                    <a:cubicBezTo>
                      <a:pt x="3599" y="5620"/>
                      <a:pt x="3553" y="5609"/>
                      <a:pt x="3528" y="5603"/>
                    </a:cubicBezTo>
                    <a:cubicBezTo>
                      <a:pt x="3499" y="5661"/>
                      <a:pt x="3457" y="5742"/>
                      <a:pt x="3411" y="5834"/>
                    </a:cubicBezTo>
                    <a:cubicBezTo>
                      <a:pt x="3974" y="5990"/>
                      <a:pt x="3974" y="5990"/>
                      <a:pt x="3974" y="5990"/>
                    </a:cubicBezTo>
                    <a:cubicBezTo>
                      <a:pt x="3970" y="6004"/>
                      <a:pt x="3970" y="6004"/>
                      <a:pt x="3970" y="6004"/>
                    </a:cubicBezTo>
                    <a:cubicBezTo>
                      <a:pt x="3404" y="5847"/>
                      <a:pt x="3404" y="5847"/>
                      <a:pt x="3404" y="5847"/>
                    </a:cubicBezTo>
                    <a:cubicBezTo>
                      <a:pt x="3372" y="5910"/>
                      <a:pt x="3337" y="5979"/>
                      <a:pt x="3302" y="6048"/>
                    </a:cubicBezTo>
                    <a:cubicBezTo>
                      <a:pt x="3277" y="6097"/>
                      <a:pt x="3252" y="6146"/>
                      <a:pt x="3228" y="6195"/>
                    </a:cubicBezTo>
                    <a:cubicBezTo>
                      <a:pt x="3827" y="6433"/>
                      <a:pt x="3827" y="6433"/>
                      <a:pt x="3827" y="6433"/>
                    </a:cubicBezTo>
                    <a:cubicBezTo>
                      <a:pt x="3822" y="6446"/>
                      <a:pt x="3822" y="6446"/>
                      <a:pt x="3822" y="6446"/>
                    </a:cubicBezTo>
                    <a:cubicBezTo>
                      <a:pt x="3222" y="6207"/>
                      <a:pt x="3222" y="6207"/>
                      <a:pt x="3222" y="6207"/>
                    </a:cubicBezTo>
                    <a:cubicBezTo>
                      <a:pt x="3181" y="6287"/>
                      <a:pt x="3143" y="6364"/>
                      <a:pt x="3111" y="6429"/>
                    </a:cubicBezTo>
                    <a:cubicBezTo>
                      <a:pt x="3096" y="6460"/>
                      <a:pt x="3082" y="6488"/>
                      <a:pt x="3070" y="6513"/>
                    </a:cubicBezTo>
                    <a:lnTo>
                      <a:pt x="3545" y="6743"/>
                    </a:lnTo>
                    <a:close/>
                    <a:moveTo>
                      <a:pt x="4071" y="6683"/>
                    </a:moveTo>
                    <a:cubicBezTo>
                      <a:pt x="4207" y="6506"/>
                      <a:pt x="4207" y="6506"/>
                      <a:pt x="4207" y="6506"/>
                    </a:cubicBezTo>
                    <a:cubicBezTo>
                      <a:pt x="4186" y="6497"/>
                      <a:pt x="4112" y="6464"/>
                      <a:pt x="4038" y="6430"/>
                    </a:cubicBezTo>
                    <a:cubicBezTo>
                      <a:pt x="3994" y="6410"/>
                      <a:pt x="3950" y="6390"/>
                      <a:pt x="3917" y="6375"/>
                    </a:cubicBezTo>
                    <a:cubicBezTo>
                      <a:pt x="3901" y="6367"/>
                      <a:pt x="3887" y="6360"/>
                      <a:pt x="3877" y="6355"/>
                    </a:cubicBezTo>
                    <a:cubicBezTo>
                      <a:pt x="3877" y="6355"/>
                      <a:pt x="3876" y="6354"/>
                      <a:pt x="3876" y="6354"/>
                    </a:cubicBezTo>
                    <a:cubicBezTo>
                      <a:pt x="3805" y="6530"/>
                      <a:pt x="3805" y="6530"/>
                      <a:pt x="3805" y="6530"/>
                    </a:cubicBezTo>
                    <a:lnTo>
                      <a:pt x="4071" y="6683"/>
                    </a:lnTo>
                    <a:close/>
                    <a:moveTo>
                      <a:pt x="4216" y="6494"/>
                    </a:moveTo>
                    <a:cubicBezTo>
                      <a:pt x="4217" y="6493"/>
                      <a:pt x="4217" y="6493"/>
                      <a:pt x="4217" y="6493"/>
                    </a:cubicBezTo>
                    <a:cubicBezTo>
                      <a:pt x="4331" y="6543"/>
                      <a:pt x="4331" y="6543"/>
                      <a:pt x="4331" y="6543"/>
                    </a:cubicBezTo>
                    <a:cubicBezTo>
                      <a:pt x="4375" y="6629"/>
                      <a:pt x="4375" y="6629"/>
                      <a:pt x="4375" y="6629"/>
                    </a:cubicBezTo>
                    <a:cubicBezTo>
                      <a:pt x="4375" y="6629"/>
                      <a:pt x="4375" y="6629"/>
                      <a:pt x="4375" y="6629"/>
                    </a:cubicBezTo>
                    <a:cubicBezTo>
                      <a:pt x="4538" y="6710"/>
                      <a:pt x="4538" y="6710"/>
                      <a:pt x="4538" y="6710"/>
                    </a:cubicBezTo>
                    <a:cubicBezTo>
                      <a:pt x="4557" y="6610"/>
                      <a:pt x="4580" y="6492"/>
                      <a:pt x="4604" y="6369"/>
                    </a:cubicBezTo>
                    <a:cubicBezTo>
                      <a:pt x="4556" y="6362"/>
                      <a:pt x="4556" y="6362"/>
                      <a:pt x="4556" y="6362"/>
                    </a:cubicBezTo>
                    <a:cubicBezTo>
                      <a:pt x="4540" y="6448"/>
                      <a:pt x="4540" y="6448"/>
                      <a:pt x="4540" y="6448"/>
                    </a:cubicBezTo>
                    <a:cubicBezTo>
                      <a:pt x="4386" y="6422"/>
                      <a:pt x="4386" y="6422"/>
                      <a:pt x="4386" y="6422"/>
                    </a:cubicBezTo>
                    <a:cubicBezTo>
                      <a:pt x="4401" y="6339"/>
                      <a:pt x="4401" y="6339"/>
                      <a:pt x="4401" y="6339"/>
                    </a:cubicBezTo>
                    <a:cubicBezTo>
                      <a:pt x="4241" y="6315"/>
                      <a:pt x="4241" y="6315"/>
                      <a:pt x="4241" y="6315"/>
                    </a:cubicBezTo>
                    <a:cubicBezTo>
                      <a:pt x="3887" y="6202"/>
                      <a:pt x="3887" y="6202"/>
                      <a:pt x="3887" y="6202"/>
                    </a:cubicBezTo>
                    <a:cubicBezTo>
                      <a:pt x="3887" y="6202"/>
                      <a:pt x="3887" y="6203"/>
                      <a:pt x="3887" y="6203"/>
                    </a:cubicBezTo>
                    <a:cubicBezTo>
                      <a:pt x="3888" y="6211"/>
                      <a:pt x="3888" y="6220"/>
                      <a:pt x="3888" y="6231"/>
                    </a:cubicBezTo>
                    <a:cubicBezTo>
                      <a:pt x="3888" y="6275"/>
                      <a:pt x="3883" y="6336"/>
                      <a:pt x="3883" y="6336"/>
                    </a:cubicBezTo>
                    <a:cubicBezTo>
                      <a:pt x="3883" y="6337"/>
                      <a:pt x="3883" y="6337"/>
                      <a:pt x="3883" y="6337"/>
                    </a:cubicBezTo>
                    <a:cubicBezTo>
                      <a:pt x="3881" y="6341"/>
                      <a:pt x="3881" y="6341"/>
                      <a:pt x="3881" y="6341"/>
                    </a:cubicBezTo>
                    <a:cubicBezTo>
                      <a:pt x="3908" y="6355"/>
                      <a:pt x="3981" y="6389"/>
                      <a:pt x="4052" y="6421"/>
                    </a:cubicBezTo>
                    <a:cubicBezTo>
                      <a:pt x="4127" y="6455"/>
                      <a:pt x="4200" y="6488"/>
                      <a:pt x="4216" y="6494"/>
                    </a:cubicBezTo>
                    <a:close/>
                    <a:moveTo>
                      <a:pt x="4369" y="6642"/>
                    </a:moveTo>
                    <a:cubicBezTo>
                      <a:pt x="4200" y="6997"/>
                      <a:pt x="4200" y="6997"/>
                      <a:pt x="4200" y="6997"/>
                    </a:cubicBezTo>
                    <a:cubicBezTo>
                      <a:pt x="4262" y="7094"/>
                      <a:pt x="4262" y="7094"/>
                      <a:pt x="4262" y="7094"/>
                    </a:cubicBezTo>
                    <a:cubicBezTo>
                      <a:pt x="4468" y="7108"/>
                      <a:pt x="4468" y="7108"/>
                      <a:pt x="4468" y="7108"/>
                    </a:cubicBezTo>
                    <a:cubicBezTo>
                      <a:pt x="4479" y="7061"/>
                      <a:pt x="4488" y="7010"/>
                      <a:pt x="4495" y="6957"/>
                    </a:cubicBezTo>
                    <a:cubicBezTo>
                      <a:pt x="4501" y="6911"/>
                      <a:pt x="4516" y="6828"/>
                      <a:pt x="4535" y="6724"/>
                    </a:cubicBezTo>
                    <a:lnTo>
                      <a:pt x="4369" y="6642"/>
                    </a:lnTo>
                    <a:close/>
                    <a:moveTo>
                      <a:pt x="4410" y="7749"/>
                    </a:moveTo>
                    <a:cubicBezTo>
                      <a:pt x="4419" y="7789"/>
                      <a:pt x="4419" y="7789"/>
                      <a:pt x="4419" y="7789"/>
                    </a:cubicBezTo>
                    <a:cubicBezTo>
                      <a:pt x="4663" y="7754"/>
                      <a:pt x="4663" y="7754"/>
                      <a:pt x="4663" y="7754"/>
                    </a:cubicBezTo>
                    <a:cubicBezTo>
                      <a:pt x="4639" y="7605"/>
                      <a:pt x="4639" y="7605"/>
                      <a:pt x="4639" y="7605"/>
                    </a:cubicBezTo>
                    <a:lnTo>
                      <a:pt x="4410" y="7749"/>
                    </a:lnTo>
                    <a:close/>
                    <a:moveTo>
                      <a:pt x="4422" y="7802"/>
                    </a:moveTo>
                    <a:cubicBezTo>
                      <a:pt x="4450" y="7930"/>
                      <a:pt x="4450" y="7930"/>
                      <a:pt x="4450" y="7930"/>
                    </a:cubicBezTo>
                    <a:cubicBezTo>
                      <a:pt x="4686" y="7897"/>
                      <a:pt x="4686" y="7897"/>
                      <a:pt x="4686" y="7897"/>
                    </a:cubicBezTo>
                    <a:cubicBezTo>
                      <a:pt x="4666" y="7767"/>
                      <a:pt x="4666" y="7767"/>
                      <a:pt x="4666" y="7767"/>
                    </a:cubicBezTo>
                    <a:lnTo>
                      <a:pt x="4422" y="7802"/>
                    </a:lnTo>
                    <a:close/>
                    <a:moveTo>
                      <a:pt x="4677" y="7753"/>
                    </a:moveTo>
                    <a:cubicBezTo>
                      <a:pt x="4784" y="7737"/>
                      <a:pt x="4784" y="7737"/>
                      <a:pt x="4784" y="7737"/>
                    </a:cubicBezTo>
                    <a:cubicBezTo>
                      <a:pt x="4776" y="7686"/>
                      <a:pt x="4768" y="7635"/>
                      <a:pt x="4761" y="7597"/>
                    </a:cubicBezTo>
                    <a:cubicBezTo>
                      <a:pt x="4758" y="7575"/>
                      <a:pt x="4754" y="7558"/>
                      <a:pt x="4752" y="7545"/>
                    </a:cubicBezTo>
                    <a:cubicBezTo>
                      <a:pt x="4751" y="7541"/>
                      <a:pt x="4750" y="7538"/>
                      <a:pt x="4750" y="7535"/>
                    </a:cubicBezTo>
                    <a:cubicBezTo>
                      <a:pt x="4644" y="7602"/>
                      <a:pt x="4644" y="7602"/>
                      <a:pt x="4644" y="7602"/>
                    </a:cubicBezTo>
                    <a:cubicBezTo>
                      <a:pt x="4653" y="7600"/>
                      <a:pt x="4653" y="7600"/>
                      <a:pt x="4653" y="7600"/>
                    </a:cubicBezTo>
                    <a:lnTo>
                      <a:pt x="4677" y="7753"/>
                    </a:lnTo>
                    <a:close/>
                    <a:moveTo>
                      <a:pt x="4798" y="7736"/>
                    </a:moveTo>
                    <a:cubicBezTo>
                      <a:pt x="4911" y="7719"/>
                      <a:pt x="4911" y="7719"/>
                      <a:pt x="4911" y="7719"/>
                    </a:cubicBezTo>
                    <a:cubicBezTo>
                      <a:pt x="4889" y="7582"/>
                      <a:pt x="4889" y="7582"/>
                      <a:pt x="4889" y="7582"/>
                    </a:cubicBezTo>
                    <a:cubicBezTo>
                      <a:pt x="4764" y="7536"/>
                      <a:pt x="4764" y="7536"/>
                      <a:pt x="4764" y="7536"/>
                    </a:cubicBezTo>
                    <a:cubicBezTo>
                      <a:pt x="4765" y="7539"/>
                      <a:pt x="4766" y="7542"/>
                      <a:pt x="4767" y="7547"/>
                    </a:cubicBezTo>
                    <a:cubicBezTo>
                      <a:pt x="4774" y="7584"/>
                      <a:pt x="4786" y="7659"/>
                      <a:pt x="4798" y="7736"/>
                    </a:cubicBezTo>
                    <a:close/>
                    <a:moveTo>
                      <a:pt x="4800" y="7749"/>
                    </a:moveTo>
                    <a:cubicBezTo>
                      <a:pt x="4807" y="7794"/>
                      <a:pt x="4814" y="7839"/>
                      <a:pt x="4819" y="7878"/>
                    </a:cubicBezTo>
                    <a:cubicBezTo>
                      <a:pt x="4935" y="7862"/>
                      <a:pt x="4935" y="7862"/>
                      <a:pt x="4935" y="7862"/>
                    </a:cubicBezTo>
                    <a:cubicBezTo>
                      <a:pt x="4913" y="7732"/>
                      <a:pt x="4913" y="7732"/>
                      <a:pt x="4913" y="7732"/>
                    </a:cubicBezTo>
                    <a:lnTo>
                      <a:pt x="4800" y="7749"/>
                    </a:lnTo>
                    <a:close/>
                    <a:moveTo>
                      <a:pt x="4821" y="7891"/>
                    </a:moveTo>
                    <a:cubicBezTo>
                      <a:pt x="4827" y="7927"/>
                      <a:pt x="4831" y="7954"/>
                      <a:pt x="4833" y="7968"/>
                    </a:cubicBezTo>
                    <a:cubicBezTo>
                      <a:pt x="4834" y="7968"/>
                      <a:pt x="4835" y="7968"/>
                      <a:pt x="4836" y="7968"/>
                    </a:cubicBezTo>
                    <a:cubicBezTo>
                      <a:pt x="4876" y="7960"/>
                      <a:pt x="4914" y="7953"/>
                      <a:pt x="4948" y="7946"/>
                    </a:cubicBezTo>
                    <a:cubicBezTo>
                      <a:pt x="4937" y="7875"/>
                      <a:pt x="4937" y="7875"/>
                      <a:pt x="4937" y="7875"/>
                    </a:cubicBezTo>
                    <a:lnTo>
                      <a:pt x="4821" y="7891"/>
                    </a:lnTo>
                    <a:close/>
                    <a:moveTo>
                      <a:pt x="4948" y="7860"/>
                    </a:moveTo>
                    <a:cubicBezTo>
                      <a:pt x="5054" y="7845"/>
                      <a:pt x="5054" y="7845"/>
                      <a:pt x="5054" y="7845"/>
                    </a:cubicBezTo>
                    <a:cubicBezTo>
                      <a:pt x="5033" y="7715"/>
                      <a:pt x="5033" y="7715"/>
                      <a:pt x="5033" y="7715"/>
                    </a:cubicBezTo>
                    <a:cubicBezTo>
                      <a:pt x="4927" y="7730"/>
                      <a:pt x="4927" y="7730"/>
                      <a:pt x="4927" y="7730"/>
                    </a:cubicBezTo>
                    <a:lnTo>
                      <a:pt x="4948" y="7860"/>
                    </a:lnTo>
                    <a:close/>
                    <a:moveTo>
                      <a:pt x="4950" y="7873"/>
                    </a:moveTo>
                    <a:cubicBezTo>
                      <a:pt x="4962" y="7944"/>
                      <a:pt x="4962" y="7944"/>
                      <a:pt x="4962" y="7944"/>
                    </a:cubicBezTo>
                    <a:cubicBezTo>
                      <a:pt x="5026" y="7931"/>
                      <a:pt x="5074" y="7921"/>
                      <a:pt x="5090" y="7918"/>
                    </a:cubicBezTo>
                    <a:cubicBezTo>
                      <a:pt x="5027" y="7503"/>
                      <a:pt x="5027" y="7503"/>
                      <a:pt x="5027" y="7503"/>
                    </a:cubicBezTo>
                    <a:cubicBezTo>
                      <a:pt x="4903" y="7580"/>
                      <a:pt x="4903" y="7580"/>
                      <a:pt x="4903" y="7580"/>
                    </a:cubicBezTo>
                    <a:cubicBezTo>
                      <a:pt x="4925" y="7718"/>
                      <a:pt x="4925" y="7718"/>
                      <a:pt x="4925" y="7718"/>
                    </a:cubicBezTo>
                    <a:cubicBezTo>
                      <a:pt x="5044" y="7701"/>
                      <a:pt x="5044" y="7701"/>
                      <a:pt x="5044" y="7701"/>
                    </a:cubicBezTo>
                    <a:cubicBezTo>
                      <a:pt x="5069" y="7856"/>
                      <a:pt x="5069" y="7856"/>
                      <a:pt x="5069" y="7856"/>
                    </a:cubicBezTo>
                    <a:cubicBezTo>
                      <a:pt x="5062" y="7857"/>
                      <a:pt x="5062" y="7857"/>
                      <a:pt x="5062" y="7857"/>
                    </a:cubicBezTo>
                    <a:lnTo>
                      <a:pt x="4950" y="7873"/>
                    </a:lnTo>
                    <a:close/>
                    <a:moveTo>
                      <a:pt x="5104" y="7915"/>
                    </a:moveTo>
                    <a:cubicBezTo>
                      <a:pt x="5108" y="7914"/>
                      <a:pt x="5108" y="7914"/>
                      <a:pt x="5108" y="7914"/>
                    </a:cubicBezTo>
                    <a:cubicBezTo>
                      <a:pt x="5118" y="7915"/>
                      <a:pt x="5118" y="7915"/>
                      <a:pt x="5118" y="7915"/>
                    </a:cubicBezTo>
                    <a:cubicBezTo>
                      <a:pt x="5119" y="7915"/>
                      <a:pt x="5160" y="7918"/>
                      <a:pt x="5228" y="7923"/>
                    </a:cubicBezTo>
                    <a:cubicBezTo>
                      <a:pt x="5169" y="7415"/>
                      <a:pt x="5169" y="7415"/>
                      <a:pt x="5169" y="7415"/>
                    </a:cubicBezTo>
                    <a:cubicBezTo>
                      <a:pt x="5168" y="7415"/>
                      <a:pt x="5168" y="7415"/>
                      <a:pt x="5168" y="7415"/>
                    </a:cubicBezTo>
                    <a:cubicBezTo>
                      <a:pt x="5031" y="7500"/>
                      <a:pt x="5031" y="7500"/>
                      <a:pt x="5031" y="7500"/>
                    </a:cubicBezTo>
                    <a:cubicBezTo>
                      <a:pt x="5041" y="7499"/>
                      <a:pt x="5041" y="7499"/>
                      <a:pt x="5041" y="7499"/>
                    </a:cubicBezTo>
                    <a:lnTo>
                      <a:pt x="5104" y="7915"/>
                    </a:lnTo>
                    <a:close/>
                    <a:moveTo>
                      <a:pt x="5400" y="7743"/>
                    </a:moveTo>
                    <a:cubicBezTo>
                      <a:pt x="5399" y="7874"/>
                      <a:pt x="5399" y="7874"/>
                      <a:pt x="5399" y="7874"/>
                    </a:cubicBezTo>
                    <a:cubicBezTo>
                      <a:pt x="5589" y="7890"/>
                      <a:pt x="5589" y="7890"/>
                      <a:pt x="5589" y="7890"/>
                    </a:cubicBezTo>
                    <a:cubicBezTo>
                      <a:pt x="5588" y="7759"/>
                      <a:pt x="5588" y="7759"/>
                      <a:pt x="5588" y="7759"/>
                    </a:cubicBezTo>
                    <a:lnTo>
                      <a:pt x="5400" y="7743"/>
                    </a:lnTo>
                    <a:close/>
                    <a:moveTo>
                      <a:pt x="5398" y="7935"/>
                    </a:moveTo>
                    <a:cubicBezTo>
                      <a:pt x="5457" y="7939"/>
                      <a:pt x="5522" y="7944"/>
                      <a:pt x="5590" y="7949"/>
                    </a:cubicBezTo>
                    <a:cubicBezTo>
                      <a:pt x="5590" y="7903"/>
                      <a:pt x="5590" y="7903"/>
                      <a:pt x="5590" y="7903"/>
                    </a:cubicBezTo>
                    <a:cubicBezTo>
                      <a:pt x="5399" y="7887"/>
                      <a:pt x="5399" y="7887"/>
                      <a:pt x="5399" y="7887"/>
                    </a:cubicBezTo>
                    <a:lnTo>
                      <a:pt x="5398" y="7935"/>
                    </a:lnTo>
                    <a:close/>
                    <a:moveTo>
                      <a:pt x="5679" y="7351"/>
                    </a:moveTo>
                    <a:cubicBezTo>
                      <a:pt x="5713" y="7155"/>
                      <a:pt x="5713" y="7155"/>
                      <a:pt x="5713" y="7155"/>
                    </a:cubicBezTo>
                    <a:cubicBezTo>
                      <a:pt x="5555" y="7138"/>
                      <a:pt x="5116" y="7091"/>
                      <a:pt x="5102" y="7091"/>
                    </a:cubicBezTo>
                    <a:cubicBezTo>
                      <a:pt x="5102" y="7091"/>
                      <a:pt x="5102" y="7091"/>
                      <a:pt x="5102" y="7091"/>
                    </a:cubicBezTo>
                    <a:cubicBezTo>
                      <a:pt x="5102" y="7087"/>
                      <a:pt x="5102" y="7087"/>
                      <a:pt x="5102" y="7087"/>
                    </a:cubicBezTo>
                    <a:cubicBezTo>
                      <a:pt x="5102" y="7091"/>
                      <a:pt x="5102" y="7091"/>
                      <a:pt x="5102" y="7091"/>
                    </a:cubicBezTo>
                    <a:cubicBezTo>
                      <a:pt x="5102" y="7084"/>
                      <a:pt x="5102" y="7084"/>
                      <a:pt x="5102" y="7084"/>
                    </a:cubicBezTo>
                    <a:cubicBezTo>
                      <a:pt x="5104" y="7091"/>
                      <a:pt x="5104" y="7091"/>
                      <a:pt x="5104" y="7091"/>
                    </a:cubicBezTo>
                    <a:cubicBezTo>
                      <a:pt x="5102" y="7084"/>
                      <a:pt x="5102" y="7084"/>
                      <a:pt x="5102" y="7084"/>
                    </a:cubicBezTo>
                    <a:cubicBezTo>
                      <a:pt x="5102" y="7084"/>
                      <a:pt x="5102" y="7084"/>
                      <a:pt x="5102" y="7084"/>
                    </a:cubicBezTo>
                    <a:cubicBezTo>
                      <a:pt x="5104" y="7162"/>
                      <a:pt x="5105" y="7240"/>
                      <a:pt x="5105" y="7252"/>
                    </a:cubicBezTo>
                    <a:cubicBezTo>
                      <a:pt x="5174" y="7395"/>
                      <a:pt x="5174" y="7395"/>
                      <a:pt x="5174" y="7395"/>
                    </a:cubicBezTo>
                    <a:cubicBezTo>
                      <a:pt x="5254" y="7345"/>
                      <a:pt x="5254" y="7345"/>
                      <a:pt x="5254" y="7345"/>
                    </a:cubicBezTo>
                    <a:lnTo>
                      <a:pt x="5679" y="7351"/>
                    </a:lnTo>
                    <a:close/>
                    <a:moveTo>
                      <a:pt x="5598" y="7364"/>
                    </a:moveTo>
                    <a:cubicBezTo>
                      <a:pt x="5602" y="7747"/>
                      <a:pt x="5602" y="7747"/>
                      <a:pt x="5602" y="7747"/>
                    </a:cubicBezTo>
                    <a:cubicBezTo>
                      <a:pt x="5792" y="7763"/>
                      <a:pt x="5792" y="7763"/>
                      <a:pt x="5792" y="7763"/>
                    </a:cubicBezTo>
                    <a:cubicBezTo>
                      <a:pt x="5778" y="7644"/>
                      <a:pt x="5778" y="7644"/>
                      <a:pt x="5778" y="7644"/>
                    </a:cubicBezTo>
                    <a:cubicBezTo>
                      <a:pt x="5815" y="7424"/>
                      <a:pt x="5815" y="7424"/>
                      <a:pt x="5815" y="7424"/>
                    </a:cubicBezTo>
                    <a:cubicBezTo>
                      <a:pt x="5740" y="7381"/>
                      <a:pt x="5740" y="7381"/>
                      <a:pt x="5740" y="7381"/>
                    </a:cubicBezTo>
                    <a:cubicBezTo>
                      <a:pt x="5739" y="7383"/>
                      <a:pt x="5739" y="7383"/>
                      <a:pt x="5739" y="7383"/>
                    </a:cubicBezTo>
                    <a:cubicBezTo>
                      <a:pt x="5675" y="7372"/>
                      <a:pt x="5675" y="7372"/>
                      <a:pt x="5675" y="7372"/>
                    </a:cubicBezTo>
                    <a:cubicBezTo>
                      <a:pt x="5676" y="7365"/>
                      <a:pt x="5676" y="7365"/>
                      <a:pt x="5676" y="7365"/>
                    </a:cubicBezTo>
                    <a:lnTo>
                      <a:pt x="5598" y="7364"/>
                    </a:lnTo>
                    <a:close/>
                    <a:moveTo>
                      <a:pt x="5901" y="7719"/>
                    </a:moveTo>
                    <a:cubicBezTo>
                      <a:pt x="5947" y="7500"/>
                      <a:pt x="5947" y="7500"/>
                      <a:pt x="5947" y="7500"/>
                    </a:cubicBezTo>
                    <a:cubicBezTo>
                      <a:pt x="5828" y="7432"/>
                      <a:pt x="5828" y="7432"/>
                      <a:pt x="5828" y="7432"/>
                    </a:cubicBezTo>
                    <a:cubicBezTo>
                      <a:pt x="5792" y="7645"/>
                      <a:pt x="5792" y="7645"/>
                      <a:pt x="5792" y="7645"/>
                    </a:cubicBezTo>
                    <a:cubicBezTo>
                      <a:pt x="5806" y="7764"/>
                      <a:pt x="5806" y="7764"/>
                      <a:pt x="5806" y="7764"/>
                    </a:cubicBezTo>
                    <a:cubicBezTo>
                      <a:pt x="5915" y="7773"/>
                      <a:pt x="5915" y="7773"/>
                      <a:pt x="5915" y="7773"/>
                    </a:cubicBezTo>
                    <a:cubicBezTo>
                      <a:pt x="5907" y="7742"/>
                      <a:pt x="5902" y="7720"/>
                      <a:pt x="5902" y="7720"/>
                    </a:cubicBezTo>
                    <a:lnTo>
                      <a:pt x="5901" y="7719"/>
                    </a:lnTo>
                    <a:close/>
                    <a:moveTo>
                      <a:pt x="5602" y="7760"/>
                    </a:moveTo>
                    <a:cubicBezTo>
                      <a:pt x="5603" y="7891"/>
                      <a:pt x="5603" y="7891"/>
                      <a:pt x="5603" y="7891"/>
                    </a:cubicBezTo>
                    <a:cubicBezTo>
                      <a:pt x="5809" y="7909"/>
                      <a:pt x="5809" y="7909"/>
                      <a:pt x="5809" y="7909"/>
                    </a:cubicBezTo>
                    <a:cubicBezTo>
                      <a:pt x="5794" y="7776"/>
                      <a:pt x="5794" y="7776"/>
                      <a:pt x="5794" y="7776"/>
                    </a:cubicBezTo>
                    <a:lnTo>
                      <a:pt x="5602" y="7760"/>
                    </a:lnTo>
                    <a:close/>
                    <a:moveTo>
                      <a:pt x="5604" y="7904"/>
                    </a:moveTo>
                    <a:cubicBezTo>
                      <a:pt x="5604" y="7950"/>
                      <a:pt x="5604" y="7950"/>
                      <a:pt x="5604" y="7950"/>
                    </a:cubicBezTo>
                    <a:cubicBezTo>
                      <a:pt x="5672" y="7954"/>
                      <a:pt x="5744" y="7960"/>
                      <a:pt x="5816" y="7965"/>
                    </a:cubicBezTo>
                    <a:cubicBezTo>
                      <a:pt x="5811" y="7922"/>
                      <a:pt x="5811" y="7922"/>
                      <a:pt x="5811" y="7922"/>
                    </a:cubicBezTo>
                    <a:lnTo>
                      <a:pt x="5604" y="7904"/>
                    </a:lnTo>
                    <a:close/>
                    <a:moveTo>
                      <a:pt x="5824" y="7910"/>
                    </a:moveTo>
                    <a:cubicBezTo>
                      <a:pt x="5950" y="7921"/>
                      <a:pt x="5950" y="7921"/>
                      <a:pt x="5950" y="7921"/>
                    </a:cubicBezTo>
                    <a:cubicBezTo>
                      <a:pt x="5945" y="7896"/>
                      <a:pt x="5938" y="7867"/>
                      <a:pt x="5931" y="7839"/>
                    </a:cubicBezTo>
                    <a:cubicBezTo>
                      <a:pt x="5927" y="7821"/>
                      <a:pt x="5922" y="7803"/>
                      <a:pt x="5918" y="7787"/>
                    </a:cubicBezTo>
                    <a:cubicBezTo>
                      <a:pt x="5808" y="7777"/>
                      <a:pt x="5808" y="7777"/>
                      <a:pt x="5808" y="7777"/>
                    </a:cubicBezTo>
                    <a:lnTo>
                      <a:pt x="5824" y="7910"/>
                    </a:lnTo>
                    <a:close/>
                    <a:moveTo>
                      <a:pt x="5825" y="7923"/>
                    </a:moveTo>
                    <a:cubicBezTo>
                      <a:pt x="5830" y="7966"/>
                      <a:pt x="5830" y="7966"/>
                      <a:pt x="5830" y="7966"/>
                    </a:cubicBezTo>
                    <a:cubicBezTo>
                      <a:pt x="5832" y="7966"/>
                      <a:pt x="5835" y="7966"/>
                      <a:pt x="5837" y="7966"/>
                    </a:cubicBezTo>
                    <a:cubicBezTo>
                      <a:pt x="5878" y="7969"/>
                      <a:pt x="5919" y="7972"/>
                      <a:pt x="5960" y="7975"/>
                    </a:cubicBezTo>
                    <a:cubicBezTo>
                      <a:pt x="5959" y="7966"/>
                      <a:pt x="5956" y="7952"/>
                      <a:pt x="5953" y="7934"/>
                    </a:cubicBezTo>
                    <a:lnTo>
                      <a:pt x="5825" y="7923"/>
                    </a:lnTo>
                    <a:close/>
                    <a:moveTo>
                      <a:pt x="6234" y="7945"/>
                    </a:moveTo>
                    <a:cubicBezTo>
                      <a:pt x="6243" y="7814"/>
                      <a:pt x="6243" y="7814"/>
                      <a:pt x="6243" y="7814"/>
                    </a:cubicBezTo>
                    <a:cubicBezTo>
                      <a:pt x="6185" y="7809"/>
                      <a:pt x="6185" y="7809"/>
                      <a:pt x="6185" y="7809"/>
                    </a:cubicBezTo>
                    <a:cubicBezTo>
                      <a:pt x="6172" y="7940"/>
                      <a:pt x="6172" y="7940"/>
                      <a:pt x="6172" y="7940"/>
                    </a:cubicBezTo>
                    <a:lnTo>
                      <a:pt x="6234" y="7945"/>
                    </a:lnTo>
                    <a:close/>
                    <a:moveTo>
                      <a:pt x="6194" y="7617"/>
                    </a:moveTo>
                    <a:cubicBezTo>
                      <a:pt x="6195" y="7614"/>
                      <a:pt x="6195" y="7614"/>
                      <a:pt x="6195" y="7614"/>
                    </a:cubicBezTo>
                    <a:cubicBezTo>
                      <a:pt x="6195" y="7614"/>
                      <a:pt x="6195" y="7614"/>
                      <a:pt x="6195" y="7614"/>
                    </a:cubicBezTo>
                    <a:cubicBezTo>
                      <a:pt x="6190" y="7618"/>
                      <a:pt x="6190" y="7618"/>
                      <a:pt x="6190" y="7618"/>
                    </a:cubicBezTo>
                    <a:cubicBezTo>
                      <a:pt x="6189" y="7618"/>
                      <a:pt x="6189" y="7618"/>
                      <a:pt x="6189" y="7618"/>
                    </a:cubicBezTo>
                    <a:cubicBezTo>
                      <a:pt x="6189" y="7618"/>
                      <a:pt x="6189" y="7618"/>
                      <a:pt x="6189" y="7618"/>
                    </a:cubicBezTo>
                    <a:cubicBezTo>
                      <a:pt x="6184" y="7612"/>
                      <a:pt x="6136" y="7573"/>
                      <a:pt x="6091" y="7535"/>
                    </a:cubicBezTo>
                    <a:cubicBezTo>
                      <a:pt x="6052" y="7503"/>
                      <a:pt x="6014" y="7471"/>
                      <a:pt x="6001" y="7460"/>
                    </a:cubicBezTo>
                    <a:cubicBezTo>
                      <a:pt x="5961" y="7500"/>
                      <a:pt x="5961" y="7500"/>
                      <a:pt x="5961" y="7500"/>
                    </a:cubicBezTo>
                    <a:cubicBezTo>
                      <a:pt x="5915" y="7718"/>
                      <a:pt x="5915" y="7718"/>
                      <a:pt x="5915" y="7718"/>
                    </a:cubicBezTo>
                    <a:cubicBezTo>
                      <a:pt x="5917" y="7724"/>
                      <a:pt x="5923" y="7746"/>
                      <a:pt x="5930" y="7774"/>
                    </a:cubicBezTo>
                    <a:cubicBezTo>
                      <a:pt x="6172" y="7795"/>
                      <a:pt x="6172" y="7795"/>
                      <a:pt x="6172" y="7795"/>
                    </a:cubicBezTo>
                    <a:cubicBezTo>
                      <a:pt x="6188" y="7623"/>
                      <a:pt x="6188" y="7623"/>
                      <a:pt x="6188" y="7623"/>
                    </a:cubicBezTo>
                    <a:lnTo>
                      <a:pt x="6194" y="7617"/>
                    </a:lnTo>
                    <a:close/>
                    <a:moveTo>
                      <a:pt x="6278" y="7308"/>
                    </a:moveTo>
                    <a:cubicBezTo>
                      <a:pt x="6361" y="7283"/>
                      <a:pt x="6361" y="7283"/>
                      <a:pt x="6361" y="7283"/>
                    </a:cubicBezTo>
                    <a:cubicBezTo>
                      <a:pt x="6363" y="7284"/>
                      <a:pt x="6363" y="7284"/>
                      <a:pt x="6363" y="7284"/>
                    </a:cubicBezTo>
                    <a:cubicBezTo>
                      <a:pt x="6363" y="7284"/>
                      <a:pt x="6413" y="7297"/>
                      <a:pt x="6464" y="7310"/>
                    </a:cubicBezTo>
                    <a:cubicBezTo>
                      <a:pt x="6489" y="7316"/>
                      <a:pt x="6515" y="7323"/>
                      <a:pt x="6535" y="7328"/>
                    </a:cubicBezTo>
                    <a:cubicBezTo>
                      <a:pt x="6544" y="7330"/>
                      <a:pt x="6553" y="7332"/>
                      <a:pt x="6559" y="7334"/>
                    </a:cubicBezTo>
                    <a:cubicBezTo>
                      <a:pt x="6560" y="7334"/>
                      <a:pt x="6561" y="7334"/>
                      <a:pt x="6562" y="7335"/>
                    </a:cubicBezTo>
                    <a:cubicBezTo>
                      <a:pt x="6564" y="7333"/>
                      <a:pt x="6566" y="7331"/>
                      <a:pt x="6568" y="7329"/>
                    </a:cubicBezTo>
                    <a:cubicBezTo>
                      <a:pt x="6579" y="7317"/>
                      <a:pt x="6600" y="7300"/>
                      <a:pt x="6600" y="7300"/>
                    </a:cubicBezTo>
                    <a:cubicBezTo>
                      <a:pt x="6603" y="7298"/>
                      <a:pt x="6603" y="7298"/>
                      <a:pt x="6603" y="7298"/>
                    </a:cubicBezTo>
                    <a:cubicBezTo>
                      <a:pt x="6737" y="7326"/>
                      <a:pt x="6737" y="7326"/>
                      <a:pt x="6737" y="7326"/>
                    </a:cubicBezTo>
                    <a:cubicBezTo>
                      <a:pt x="6764" y="7180"/>
                      <a:pt x="6764" y="7180"/>
                      <a:pt x="6764" y="7180"/>
                    </a:cubicBezTo>
                    <a:cubicBezTo>
                      <a:pt x="6427" y="7136"/>
                      <a:pt x="6427" y="7136"/>
                      <a:pt x="6427" y="7136"/>
                    </a:cubicBezTo>
                    <a:cubicBezTo>
                      <a:pt x="6389" y="7286"/>
                      <a:pt x="6389" y="7286"/>
                      <a:pt x="6389" y="7286"/>
                    </a:cubicBezTo>
                    <a:cubicBezTo>
                      <a:pt x="6376" y="7283"/>
                      <a:pt x="6376" y="7283"/>
                      <a:pt x="6376" y="7283"/>
                    </a:cubicBezTo>
                    <a:cubicBezTo>
                      <a:pt x="6413" y="7135"/>
                      <a:pt x="6413" y="7135"/>
                      <a:pt x="6413" y="7135"/>
                    </a:cubicBezTo>
                    <a:cubicBezTo>
                      <a:pt x="6409" y="7134"/>
                      <a:pt x="6409" y="7134"/>
                      <a:pt x="6409" y="7134"/>
                    </a:cubicBezTo>
                    <a:cubicBezTo>
                      <a:pt x="6095" y="7035"/>
                      <a:pt x="6095" y="7035"/>
                      <a:pt x="6095" y="7035"/>
                    </a:cubicBezTo>
                    <a:cubicBezTo>
                      <a:pt x="5804" y="7009"/>
                      <a:pt x="5804" y="7009"/>
                      <a:pt x="5804" y="7009"/>
                    </a:cubicBezTo>
                    <a:cubicBezTo>
                      <a:pt x="5780" y="7151"/>
                      <a:pt x="5780" y="7151"/>
                      <a:pt x="5780" y="7151"/>
                    </a:cubicBezTo>
                    <a:cubicBezTo>
                      <a:pt x="5809" y="7161"/>
                      <a:pt x="5923" y="7197"/>
                      <a:pt x="6035" y="7232"/>
                    </a:cubicBezTo>
                    <a:cubicBezTo>
                      <a:pt x="6149" y="7268"/>
                      <a:pt x="6262" y="7303"/>
                      <a:pt x="6278" y="7308"/>
                    </a:cubicBezTo>
                    <a:close/>
                    <a:moveTo>
                      <a:pt x="6738" y="7396"/>
                    </a:moveTo>
                    <a:cubicBezTo>
                      <a:pt x="6867" y="7417"/>
                      <a:pt x="6867" y="7417"/>
                      <a:pt x="6867" y="7417"/>
                    </a:cubicBezTo>
                    <a:cubicBezTo>
                      <a:pt x="6875" y="7369"/>
                      <a:pt x="6875" y="7369"/>
                      <a:pt x="6875" y="7369"/>
                    </a:cubicBezTo>
                    <a:cubicBezTo>
                      <a:pt x="6748" y="7342"/>
                      <a:pt x="6748" y="7342"/>
                      <a:pt x="6748" y="7342"/>
                    </a:cubicBezTo>
                    <a:lnTo>
                      <a:pt x="6738" y="7396"/>
                    </a:lnTo>
                    <a:close/>
                    <a:moveTo>
                      <a:pt x="6878" y="7355"/>
                    </a:moveTo>
                    <a:cubicBezTo>
                      <a:pt x="6906" y="7199"/>
                      <a:pt x="6906" y="7199"/>
                      <a:pt x="6906" y="7199"/>
                    </a:cubicBezTo>
                    <a:cubicBezTo>
                      <a:pt x="6777" y="7182"/>
                      <a:pt x="6777" y="7182"/>
                      <a:pt x="6777" y="7182"/>
                    </a:cubicBezTo>
                    <a:cubicBezTo>
                      <a:pt x="6750" y="7329"/>
                      <a:pt x="6750" y="7329"/>
                      <a:pt x="6750" y="7329"/>
                    </a:cubicBezTo>
                    <a:lnTo>
                      <a:pt x="6878" y="7355"/>
                    </a:lnTo>
                    <a:close/>
                    <a:moveTo>
                      <a:pt x="6891" y="7358"/>
                    </a:moveTo>
                    <a:cubicBezTo>
                      <a:pt x="6975" y="7375"/>
                      <a:pt x="6975" y="7375"/>
                      <a:pt x="6975" y="7375"/>
                    </a:cubicBezTo>
                    <a:cubicBezTo>
                      <a:pt x="6999" y="7211"/>
                      <a:pt x="6999" y="7211"/>
                      <a:pt x="6999" y="7211"/>
                    </a:cubicBezTo>
                    <a:cubicBezTo>
                      <a:pt x="6920" y="7200"/>
                      <a:pt x="6920" y="7200"/>
                      <a:pt x="6920" y="7200"/>
                    </a:cubicBezTo>
                    <a:lnTo>
                      <a:pt x="6891" y="7358"/>
                    </a:lnTo>
                    <a:close/>
                    <a:moveTo>
                      <a:pt x="7001" y="7197"/>
                    </a:moveTo>
                    <a:cubicBezTo>
                      <a:pt x="7027" y="7018"/>
                      <a:pt x="7027" y="7018"/>
                      <a:pt x="7027" y="7018"/>
                    </a:cubicBezTo>
                    <a:cubicBezTo>
                      <a:pt x="7009" y="7016"/>
                      <a:pt x="6984" y="7012"/>
                      <a:pt x="6955" y="7008"/>
                    </a:cubicBezTo>
                    <a:cubicBezTo>
                      <a:pt x="6922" y="7187"/>
                      <a:pt x="6922" y="7187"/>
                      <a:pt x="6922" y="7187"/>
                    </a:cubicBezTo>
                    <a:lnTo>
                      <a:pt x="7001" y="7197"/>
                    </a:lnTo>
                    <a:close/>
                    <a:moveTo>
                      <a:pt x="7029" y="7005"/>
                    </a:moveTo>
                    <a:cubicBezTo>
                      <a:pt x="7048" y="6875"/>
                      <a:pt x="7048" y="6875"/>
                      <a:pt x="7048" y="6875"/>
                    </a:cubicBezTo>
                    <a:cubicBezTo>
                      <a:pt x="6981" y="6864"/>
                      <a:pt x="6981" y="6864"/>
                      <a:pt x="6981" y="6864"/>
                    </a:cubicBezTo>
                    <a:cubicBezTo>
                      <a:pt x="6957" y="6994"/>
                      <a:pt x="6957" y="6994"/>
                      <a:pt x="6957" y="6994"/>
                    </a:cubicBezTo>
                    <a:cubicBezTo>
                      <a:pt x="6986" y="6998"/>
                      <a:pt x="7011" y="7002"/>
                      <a:pt x="7029" y="7005"/>
                    </a:cubicBezTo>
                    <a:close/>
                    <a:moveTo>
                      <a:pt x="7040" y="7381"/>
                    </a:moveTo>
                    <a:cubicBezTo>
                      <a:pt x="7233" y="7337"/>
                      <a:pt x="7233" y="7337"/>
                      <a:pt x="7233" y="7337"/>
                    </a:cubicBezTo>
                    <a:cubicBezTo>
                      <a:pt x="7226" y="7315"/>
                      <a:pt x="7217" y="7233"/>
                      <a:pt x="7210" y="7174"/>
                    </a:cubicBezTo>
                    <a:cubicBezTo>
                      <a:pt x="7073" y="7154"/>
                      <a:pt x="7073" y="7154"/>
                      <a:pt x="7073" y="7154"/>
                    </a:cubicBezTo>
                    <a:lnTo>
                      <a:pt x="7040" y="7381"/>
                    </a:lnTo>
                    <a:close/>
                    <a:moveTo>
                      <a:pt x="7240" y="7303"/>
                    </a:moveTo>
                    <a:cubicBezTo>
                      <a:pt x="7242" y="7313"/>
                      <a:pt x="7243" y="7322"/>
                      <a:pt x="7245" y="7328"/>
                    </a:cubicBezTo>
                    <a:cubicBezTo>
                      <a:pt x="7245" y="7331"/>
                      <a:pt x="7246" y="7332"/>
                      <a:pt x="7246" y="7334"/>
                    </a:cubicBezTo>
                    <a:cubicBezTo>
                      <a:pt x="7536" y="7267"/>
                      <a:pt x="7536" y="7267"/>
                      <a:pt x="7536" y="7267"/>
                    </a:cubicBezTo>
                    <a:cubicBezTo>
                      <a:pt x="7524" y="7251"/>
                      <a:pt x="7482" y="7209"/>
                      <a:pt x="7442" y="7170"/>
                    </a:cubicBezTo>
                    <a:cubicBezTo>
                      <a:pt x="7408" y="7137"/>
                      <a:pt x="7376" y="7106"/>
                      <a:pt x="7360" y="7092"/>
                    </a:cubicBezTo>
                    <a:cubicBezTo>
                      <a:pt x="7356" y="7097"/>
                      <a:pt x="7356" y="7097"/>
                      <a:pt x="7356" y="7097"/>
                    </a:cubicBezTo>
                    <a:cubicBezTo>
                      <a:pt x="7218" y="7115"/>
                      <a:pt x="7218" y="7115"/>
                      <a:pt x="7218" y="7115"/>
                    </a:cubicBezTo>
                    <a:cubicBezTo>
                      <a:pt x="7220" y="7132"/>
                      <a:pt x="7225" y="7177"/>
                      <a:pt x="7230" y="7223"/>
                    </a:cubicBezTo>
                    <a:cubicBezTo>
                      <a:pt x="7233" y="7252"/>
                      <a:pt x="7237" y="7281"/>
                      <a:pt x="7240" y="7303"/>
                    </a:cubicBezTo>
                    <a:close/>
                    <a:moveTo>
                      <a:pt x="7544" y="7254"/>
                    </a:moveTo>
                    <a:cubicBezTo>
                      <a:pt x="7547" y="7258"/>
                      <a:pt x="7549" y="7260"/>
                      <a:pt x="7550" y="7262"/>
                    </a:cubicBezTo>
                    <a:cubicBezTo>
                      <a:pt x="7805" y="7133"/>
                      <a:pt x="7805" y="7133"/>
                      <a:pt x="7805" y="7133"/>
                    </a:cubicBezTo>
                    <a:cubicBezTo>
                      <a:pt x="7807" y="7132"/>
                      <a:pt x="7807" y="7132"/>
                      <a:pt x="7807" y="7132"/>
                    </a:cubicBezTo>
                    <a:cubicBezTo>
                      <a:pt x="7782" y="7113"/>
                      <a:pt x="7707" y="7057"/>
                      <a:pt x="7630" y="7000"/>
                    </a:cubicBezTo>
                    <a:cubicBezTo>
                      <a:pt x="7583" y="6966"/>
                      <a:pt x="7536" y="6931"/>
                      <a:pt x="7500" y="6905"/>
                    </a:cubicBezTo>
                    <a:cubicBezTo>
                      <a:pt x="7482" y="6892"/>
                      <a:pt x="7467" y="6881"/>
                      <a:pt x="7456" y="6874"/>
                    </a:cubicBezTo>
                    <a:cubicBezTo>
                      <a:pt x="7455" y="6873"/>
                      <a:pt x="7455" y="6873"/>
                      <a:pt x="7454" y="6872"/>
                    </a:cubicBezTo>
                    <a:cubicBezTo>
                      <a:pt x="7430" y="6994"/>
                      <a:pt x="7430" y="6994"/>
                      <a:pt x="7430" y="6994"/>
                    </a:cubicBezTo>
                    <a:cubicBezTo>
                      <a:pt x="7368" y="7080"/>
                      <a:pt x="7368" y="7080"/>
                      <a:pt x="7368" y="7080"/>
                    </a:cubicBezTo>
                    <a:cubicBezTo>
                      <a:pt x="7384" y="7095"/>
                      <a:pt x="7420" y="7129"/>
                      <a:pt x="7456" y="7164"/>
                    </a:cubicBezTo>
                    <a:cubicBezTo>
                      <a:pt x="7480" y="7188"/>
                      <a:pt x="7504" y="7211"/>
                      <a:pt x="7522" y="7230"/>
                    </a:cubicBezTo>
                    <a:cubicBezTo>
                      <a:pt x="7531" y="7240"/>
                      <a:pt x="7539" y="7248"/>
                      <a:pt x="7544" y="7254"/>
                    </a:cubicBezTo>
                    <a:close/>
                    <a:moveTo>
                      <a:pt x="8066" y="6520"/>
                    </a:moveTo>
                    <a:cubicBezTo>
                      <a:pt x="8069" y="6477"/>
                      <a:pt x="8069" y="6477"/>
                      <a:pt x="8069" y="6477"/>
                    </a:cubicBezTo>
                    <a:cubicBezTo>
                      <a:pt x="8042" y="6476"/>
                      <a:pt x="8042" y="6476"/>
                      <a:pt x="8042" y="6476"/>
                    </a:cubicBezTo>
                    <a:cubicBezTo>
                      <a:pt x="8020" y="6577"/>
                      <a:pt x="8020" y="6577"/>
                      <a:pt x="8020" y="6577"/>
                    </a:cubicBezTo>
                    <a:cubicBezTo>
                      <a:pt x="8109" y="6584"/>
                      <a:pt x="8109" y="6584"/>
                      <a:pt x="8109" y="6584"/>
                    </a:cubicBezTo>
                    <a:cubicBezTo>
                      <a:pt x="8113" y="6524"/>
                      <a:pt x="8113" y="6524"/>
                      <a:pt x="8113" y="6524"/>
                    </a:cubicBezTo>
                    <a:lnTo>
                      <a:pt x="8066" y="6520"/>
                    </a:lnTo>
                    <a:close/>
                    <a:moveTo>
                      <a:pt x="8028" y="6475"/>
                    </a:moveTo>
                    <a:cubicBezTo>
                      <a:pt x="7979" y="6471"/>
                      <a:pt x="7979" y="6471"/>
                      <a:pt x="7979" y="6471"/>
                    </a:cubicBezTo>
                    <a:cubicBezTo>
                      <a:pt x="7976" y="6514"/>
                      <a:pt x="7976" y="6514"/>
                      <a:pt x="7976" y="6514"/>
                    </a:cubicBezTo>
                    <a:cubicBezTo>
                      <a:pt x="7929" y="6511"/>
                      <a:pt x="7929" y="6511"/>
                      <a:pt x="7929" y="6511"/>
                    </a:cubicBezTo>
                    <a:cubicBezTo>
                      <a:pt x="7925" y="6570"/>
                      <a:pt x="7925" y="6570"/>
                      <a:pt x="7925" y="6570"/>
                    </a:cubicBezTo>
                    <a:cubicBezTo>
                      <a:pt x="8006" y="6576"/>
                      <a:pt x="8006" y="6576"/>
                      <a:pt x="8006" y="6576"/>
                    </a:cubicBezTo>
                    <a:lnTo>
                      <a:pt x="8028" y="6475"/>
                    </a:lnTo>
                    <a:close/>
                    <a:moveTo>
                      <a:pt x="7611" y="6471"/>
                    </a:moveTo>
                    <a:cubicBezTo>
                      <a:pt x="7614" y="6428"/>
                      <a:pt x="7614" y="6428"/>
                      <a:pt x="7614" y="6428"/>
                    </a:cubicBezTo>
                    <a:cubicBezTo>
                      <a:pt x="7565" y="6424"/>
                      <a:pt x="7565" y="6424"/>
                      <a:pt x="7565" y="6424"/>
                    </a:cubicBezTo>
                    <a:cubicBezTo>
                      <a:pt x="7572" y="6451"/>
                      <a:pt x="7580" y="6490"/>
                      <a:pt x="7589" y="6529"/>
                    </a:cubicBezTo>
                    <a:cubicBezTo>
                      <a:pt x="7653" y="6534"/>
                      <a:pt x="7653" y="6534"/>
                      <a:pt x="7653" y="6534"/>
                    </a:cubicBezTo>
                    <a:cubicBezTo>
                      <a:pt x="7658" y="6474"/>
                      <a:pt x="7658" y="6474"/>
                      <a:pt x="7658" y="6474"/>
                    </a:cubicBezTo>
                    <a:lnTo>
                      <a:pt x="7611" y="6471"/>
                    </a:lnTo>
                    <a:close/>
                    <a:moveTo>
                      <a:pt x="7551" y="6423"/>
                    </a:moveTo>
                    <a:cubicBezTo>
                      <a:pt x="7524" y="6421"/>
                      <a:pt x="7524" y="6421"/>
                      <a:pt x="7524" y="6421"/>
                    </a:cubicBezTo>
                    <a:cubicBezTo>
                      <a:pt x="7521" y="6464"/>
                      <a:pt x="7521" y="6464"/>
                      <a:pt x="7521" y="6464"/>
                    </a:cubicBezTo>
                    <a:cubicBezTo>
                      <a:pt x="7474" y="6461"/>
                      <a:pt x="7474" y="6461"/>
                      <a:pt x="7474" y="6461"/>
                    </a:cubicBezTo>
                    <a:cubicBezTo>
                      <a:pt x="7469" y="6521"/>
                      <a:pt x="7469" y="6521"/>
                      <a:pt x="7469" y="6521"/>
                    </a:cubicBezTo>
                    <a:cubicBezTo>
                      <a:pt x="7575" y="6528"/>
                      <a:pt x="7575" y="6528"/>
                      <a:pt x="7575" y="6528"/>
                    </a:cubicBezTo>
                    <a:cubicBezTo>
                      <a:pt x="7566" y="6488"/>
                      <a:pt x="7557" y="6450"/>
                      <a:pt x="7551" y="6423"/>
                    </a:cubicBezTo>
                    <a:close/>
                    <a:moveTo>
                      <a:pt x="7548" y="6410"/>
                    </a:moveTo>
                    <a:cubicBezTo>
                      <a:pt x="7546" y="6404"/>
                      <a:pt x="7545" y="6400"/>
                      <a:pt x="7545" y="6397"/>
                    </a:cubicBezTo>
                    <a:cubicBezTo>
                      <a:pt x="7396" y="6380"/>
                      <a:pt x="7271" y="6366"/>
                      <a:pt x="7206" y="6359"/>
                    </a:cubicBezTo>
                    <a:cubicBezTo>
                      <a:pt x="7485" y="6692"/>
                      <a:pt x="7485" y="6692"/>
                      <a:pt x="7485" y="6692"/>
                    </a:cubicBezTo>
                    <a:cubicBezTo>
                      <a:pt x="7501" y="6691"/>
                      <a:pt x="7564" y="6686"/>
                      <a:pt x="7596" y="6684"/>
                    </a:cubicBezTo>
                    <a:cubicBezTo>
                      <a:pt x="7595" y="6683"/>
                      <a:pt x="7595" y="6683"/>
                      <a:pt x="7595" y="6683"/>
                    </a:cubicBezTo>
                    <a:cubicBezTo>
                      <a:pt x="7603" y="6672"/>
                      <a:pt x="7603" y="6672"/>
                      <a:pt x="7603" y="6672"/>
                    </a:cubicBezTo>
                    <a:cubicBezTo>
                      <a:pt x="7606" y="6674"/>
                      <a:pt x="7606" y="6674"/>
                      <a:pt x="7606" y="6674"/>
                    </a:cubicBezTo>
                    <a:cubicBezTo>
                      <a:pt x="7601" y="6648"/>
                      <a:pt x="7590" y="6595"/>
                      <a:pt x="7578" y="6542"/>
                    </a:cubicBezTo>
                    <a:cubicBezTo>
                      <a:pt x="7455" y="6533"/>
                      <a:pt x="7455" y="6533"/>
                      <a:pt x="7455" y="6533"/>
                    </a:cubicBezTo>
                    <a:cubicBezTo>
                      <a:pt x="7456" y="6526"/>
                      <a:pt x="7456" y="6526"/>
                      <a:pt x="7456" y="6526"/>
                    </a:cubicBezTo>
                    <a:cubicBezTo>
                      <a:pt x="7462" y="6447"/>
                      <a:pt x="7462" y="6447"/>
                      <a:pt x="7462" y="6447"/>
                    </a:cubicBezTo>
                    <a:cubicBezTo>
                      <a:pt x="7508" y="6450"/>
                      <a:pt x="7508" y="6450"/>
                      <a:pt x="7508" y="6450"/>
                    </a:cubicBezTo>
                    <a:cubicBezTo>
                      <a:pt x="7512" y="6407"/>
                      <a:pt x="7512" y="6407"/>
                      <a:pt x="7512" y="6407"/>
                    </a:cubicBezTo>
                    <a:lnTo>
                      <a:pt x="7548" y="6410"/>
                    </a:lnTo>
                    <a:close/>
                    <a:moveTo>
                      <a:pt x="7189" y="6360"/>
                    </a:moveTo>
                    <a:cubicBezTo>
                      <a:pt x="7139" y="6704"/>
                      <a:pt x="7139" y="6704"/>
                      <a:pt x="7139" y="6704"/>
                    </a:cubicBezTo>
                    <a:cubicBezTo>
                      <a:pt x="7173" y="6715"/>
                      <a:pt x="7173" y="6715"/>
                      <a:pt x="7173" y="6715"/>
                    </a:cubicBezTo>
                    <a:cubicBezTo>
                      <a:pt x="7181" y="6674"/>
                      <a:pt x="7181" y="6674"/>
                      <a:pt x="7181" y="6674"/>
                    </a:cubicBezTo>
                    <a:cubicBezTo>
                      <a:pt x="7223" y="6683"/>
                      <a:pt x="7223" y="6683"/>
                      <a:pt x="7223" y="6683"/>
                    </a:cubicBezTo>
                    <a:cubicBezTo>
                      <a:pt x="7232" y="6637"/>
                      <a:pt x="7232" y="6637"/>
                      <a:pt x="7232" y="6637"/>
                    </a:cubicBezTo>
                    <a:cubicBezTo>
                      <a:pt x="7317" y="6653"/>
                      <a:pt x="7317" y="6653"/>
                      <a:pt x="7317" y="6653"/>
                    </a:cubicBezTo>
                    <a:cubicBezTo>
                      <a:pt x="7297" y="6755"/>
                      <a:pt x="7297" y="6755"/>
                      <a:pt x="7297" y="6755"/>
                    </a:cubicBezTo>
                    <a:cubicBezTo>
                      <a:pt x="7303" y="6757"/>
                      <a:pt x="7303" y="6757"/>
                      <a:pt x="7303" y="6757"/>
                    </a:cubicBezTo>
                    <a:cubicBezTo>
                      <a:pt x="7304" y="6758"/>
                      <a:pt x="7304" y="6758"/>
                      <a:pt x="7304" y="6758"/>
                    </a:cubicBezTo>
                    <a:cubicBezTo>
                      <a:pt x="7304" y="6758"/>
                      <a:pt x="7338" y="6781"/>
                      <a:pt x="7372" y="6804"/>
                    </a:cubicBezTo>
                    <a:cubicBezTo>
                      <a:pt x="7389" y="6816"/>
                      <a:pt x="7407" y="6827"/>
                      <a:pt x="7420" y="6836"/>
                    </a:cubicBezTo>
                    <a:cubicBezTo>
                      <a:pt x="7427" y="6840"/>
                      <a:pt x="7433" y="6844"/>
                      <a:pt x="7437" y="6846"/>
                    </a:cubicBezTo>
                    <a:cubicBezTo>
                      <a:pt x="7439" y="6847"/>
                      <a:pt x="7441" y="6848"/>
                      <a:pt x="7442" y="6849"/>
                    </a:cubicBezTo>
                    <a:cubicBezTo>
                      <a:pt x="7442" y="6849"/>
                      <a:pt x="7443" y="6849"/>
                      <a:pt x="7443" y="6849"/>
                    </a:cubicBezTo>
                    <a:cubicBezTo>
                      <a:pt x="7444" y="6849"/>
                      <a:pt x="7444" y="6850"/>
                      <a:pt x="7445" y="6850"/>
                    </a:cubicBezTo>
                    <a:cubicBezTo>
                      <a:pt x="7474" y="6701"/>
                      <a:pt x="7474" y="6701"/>
                      <a:pt x="7474" y="6701"/>
                    </a:cubicBezTo>
                    <a:lnTo>
                      <a:pt x="7189" y="6360"/>
                    </a:lnTo>
                    <a:close/>
                    <a:moveTo>
                      <a:pt x="7176" y="6196"/>
                    </a:moveTo>
                    <a:cubicBezTo>
                      <a:pt x="7191" y="6045"/>
                      <a:pt x="7215" y="5767"/>
                      <a:pt x="7219" y="5720"/>
                    </a:cubicBezTo>
                    <a:cubicBezTo>
                      <a:pt x="7067" y="5704"/>
                      <a:pt x="7067" y="5704"/>
                      <a:pt x="7067" y="5704"/>
                    </a:cubicBezTo>
                    <a:cubicBezTo>
                      <a:pt x="7028" y="6093"/>
                      <a:pt x="7028" y="6093"/>
                      <a:pt x="7028" y="6093"/>
                    </a:cubicBezTo>
                    <a:cubicBezTo>
                      <a:pt x="7163" y="6107"/>
                      <a:pt x="7163" y="6107"/>
                      <a:pt x="7163" y="6107"/>
                    </a:cubicBezTo>
                    <a:cubicBezTo>
                      <a:pt x="7145" y="6259"/>
                      <a:pt x="7145" y="6259"/>
                      <a:pt x="7145" y="6259"/>
                    </a:cubicBezTo>
                    <a:cubicBezTo>
                      <a:pt x="7139" y="6258"/>
                      <a:pt x="7139" y="6258"/>
                      <a:pt x="7139" y="6258"/>
                    </a:cubicBezTo>
                    <a:cubicBezTo>
                      <a:pt x="7013" y="6245"/>
                      <a:pt x="7013" y="6245"/>
                      <a:pt x="7013" y="6245"/>
                    </a:cubicBezTo>
                    <a:cubicBezTo>
                      <a:pt x="7010" y="6270"/>
                      <a:pt x="7010" y="6270"/>
                      <a:pt x="7010" y="6270"/>
                    </a:cubicBezTo>
                    <a:cubicBezTo>
                      <a:pt x="7166" y="6289"/>
                      <a:pt x="7166" y="6289"/>
                      <a:pt x="7166" y="6289"/>
                    </a:cubicBezTo>
                    <a:cubicBezTo>
                      <a:pt x="7166" y="6289"/>
                      <a:pt x="7166" y="6289"/>
                      <a:pt x="7166" y="6289"/>
                    </a:cubicBezTo>
                    <a:cubicBezTo>
                      <a:pt x="7168" y="6278"/>
                      <a:pt x="7172" y="6242"/>
                      <a:pt x="7176" y="6196"/>
                    </a:cubicBezTo>
                    <a:close/>
                    <a:moveTo>
                      <a:pt x="7134" y="6245"/>
                    </a:moveTo>
                    <a:cubicBezTo>
                      <a:pt x="7148" y="6119"/>
                      <a:pt x="7148" y="6119"/>
                      <a:pt x="7148" y="6119"/>
                    </a:cubicBezTo>
                    <a:cubicBezTo>
                      <a:pt x="7027" y="6106"/>
                      <a:pt x="7027" y="6106"/>
                      <a:pt x="7027" y="6106"/>
                    </a:cubicBezTo>
                    <a:cubicBezTo>
                      <a:pt x="7014" y="6232"/>
                      <a:pt x="7014" y="6232"/>
                      <a:pt x="7014" y="6232"/>
                    </a:cubicBezTo>
                    <a:lnTo>
                      <a:pt x="7134" y="6245"/>
                    </a:lnTo>
                    <a:close/>
                    <a:moveTo>
                      <a:pt x="7053" y="5702"/>
                    </a:moveTo>
                    <a:cubicBezTo>
                      <a:pt x="6921" y="5688"/>
                      <a:pt x="6921" y="5688"/>
                      <a:pt x="6921" y="5688"/>
                    </a:cubicBezTo>
                    <a:cubicBezTo>
                      <a:pt x="6883" y="6077"/>
                      <a:pt x="6883" y="6077"/>
                      <a:pt x="6883" y="6077"/>
                    </a:cubicBezTo>
                    <a:cubicBezTo>
                      <a:pt x="7014" y="6091"/>
                      <a:pt x="7014" y="6091"/>
                      <a:pt x="7014" y="6091"/>
                    </a:cubicBezTo>
                    <a:lnTo>
                      <a:pt x="7053" y="5702"/>
                    </a:lnTo>
                    <a:close/>
                    <a:moveTo>
                      <a:pt x="6908" y="5687"/>
                    </a:moveTo>
                    <a:cubicBezTo>
                      <a:pt x="6765" y="5672"/>
                      <a:pt x="6765" y="5672"/>
                      <a:pt x="6765" y="5672"/>
                    </a:cubicBezTo>
                    <a:cubicBezTo>
                      <a:pt x="6726" y="6060"/>
                      <a:pt x="6726" y="6060"/>
                      <a:pt x="6726" y="6060"/>
                    </a:cubicBezTo>
                    <a:cubicBezTo>
                      <a:pt x="6869" y="6076"/>
                      <a:pt x="6869" y="6076"/>
                      <a:pt x="6869" y="6076"/>
                    </a:cubicBezTo>
                    <a:lnTo>
                      <a:pt x="6908" y="5687"/>
                    </a:lnTo>
                    <a:close/>
                    <a:moveTo>
                      <a:pt x="6751" y="5670"/>
                    </a:moveTo>
                    <a:cubicBezTo>
                      <a:pt x="6466" y="5640"/>
                      <a:pt x="6466" y="5640"/>
                      <a:pt x="6466" y="5640"/>
                    </a:cubicBezTo>
                    <a:cubicBezTo>
                      <a:pt x="6428" y="6028"/>
                      <a:pt x="6428" y="6028"/>
                      <a:pt x="6428" y="6028"/>
                    </a:cubicBezTo>
                    <a:cubicBezTo>
                      <a:pt x="6559" y="6042"/>
                      <a:pt x="6559" y="6042"/>
                      <a:pt x="6559" y="6042"/>
                    </a:cubicBezTo>
                    <a:cubicBezTo>
                      <a:pt x="6597" y="5658"/>
                      <a:pt x="6597" y="5658"/>
                      <a:pt x="6597" y="5658"/>
                    </a:cubicBezTo>
                    <a:cubicBezTo>
                      <a:pt x="6611" y="5659"/>
                      <a:pt x="6611" y="5659"/>
                      <a:pt x="6611" y="5659"/>
                    </a:cubicBezTo>
                    <a:cubicBezTo>
                      <a:pt x="6573" y="6044"/>
                      <a:pt x="6573" y="6044"/>
                      <a:pt x="6573" y="6044"/>
                    </a:cubicBezTo>
                    <a:cubicBezTo>
                      <a:pt x="6713" y="6059"/>
                      <a:pt x="6713" y="6059"/>
                      <a:pt x="6713" y="6059"/>
                    </a:cubicBezTo>
                    <a:lnTo>
                      <a:pt x="6751" y="5670"/>
                    </a:lnTo>
                    <a:close/>
                    <a:moveTo>
                      <a:pt x="6452" y="5639"/>
                    </a:moveTo>
                    <a:cubicBezTo>
                      <a:pt x="6046" y="5595"/>
                      <a:pt x="6046" y="5595"/>
                      <a:pt x="6046" y="5595"/>
                    </a:cubicBezTo>
                    <a:cubicBezTo>
                      <a:pt x="5955" y="6144"/>
                      <a:pt x="5955" y="6144"/>
                      <a:pt x="5955" y="6144"/>
                    </a:cubicBezTo>
                    <a:cubicBezTo>
                      <a:pt x="6103" y="6162"/>
                      <a:pt x="6103" y="6162"/>
                      <a:pt x="6103" y="6162"/>
                    </a:cubicBezTo>
                    <a:cubicBezTo>
                      <a:pt x="6104" y="6147"/>
                      <a:pt x="6104" y="6147"/>
                      <a:pt x="6104" y="6147"/>
                    </a:cubicBezTo>
                    <a:cubicBezTo>
                      <a:pt x="5976" y="6134"/>
                      <a:pt x="5976" y="6134"/>
                      <a:pt x="5976" y="6134"/>
                    </a:cubicBezTo>
                    <a:cubicBezTo>
                      <a:pt x="5993" y="5982"/>
                      <a:pt x="5993" y="5982"/>
                      <a:pt x="5993" y="5982"/>
                    </a:cubicBezTo>
                    <a:cubicBezTo>
                      <a:pt x="6119" y="5995"/>
                      <a:pt x="6119" y="5995"/>
                      <a:pt x="6119" y="5995"/>
                    </a:cubicBezTo>
                    <a:cubicBezTo>
                      <a:pt x="6157" y="5611"/>
                      <a:pt x="6157" y="5611"/>
                      <a:pt x="6157" y="5611"/>
                    </a:cubicBezTo>
                    <a:cubicBezTo>
                      <a:pt x="6171" y="5613"/>
                      <a:pt x="6171" y="5613"/>
                      <a:pt x="6171" y="5613"/>
                    </a:cubicBezTo>
                    <a:cubicBezTo>
                      <a:pt x="6133" y="5997"/>
                      <a:pt x="6133" y="5997"/>
                      <a:pt x="6133" y="5997"/>
                    </a:cubicBezTo>
                    <a:cubicBezTo>
                      <a:pt x="6270" y="6011"/>
                      <a:pt x="6270" y="6011"/>
                      <a:pt x="6270" y="6011"/>
                    </a:cubicBezTo>
                    <a:cubicBezTo>
                      <a:pt x="6308" y="5624"/>
                      <a:pt x="6308" y="5624"/>
                      <a:pt x="6308" y="5624"/>
                    </a:cubicBezTo>
                    <a:cubicBezTo>
                      <a:pt x="6322" y="5625"/>
                      <a:pt x="6322" y="5625"/>
                      <a:pt x="6322" y="5625"/>
                    </a:cubicBezTo>
                    <a:cubicBezTo>
                      <a:pt x="6283" y="6013"/>
                      <a:pt x="6283" y="6013"/>
                      <a:pt x="6283" y="6013"/>
                    </a:cubicBezTo>
                    <a:cubicBezTo>
                      <a:pt x="6414" y="6027"/>
                      <a:pt x="6414" y="6027"/>
                      <a:pt x="6414" y="6027"/>
                    </a:cubicBezTo>
                    <a:lnTo>
                      <a:pt x="6452" y="5639"/>
                    </a:lnTo>
                    <a:close/>
                    <a:moveTo>
                      <a:pt x="5944" y="6209"/>
                    </a:moveTo>
                    <a:cubicBezTo>
                      <a:pt x="5903" y="6442"/>
                      <a:pt x="5903" y="6442"/>
                      <a:pt x="5903" y="6442"/>
                    </a:cubicBezTo>
                    <a:cubicBezTo>
                      <a:pt x="6010" y="6455"/>
                      <a:pt x="6010" y="6455"/>
                      <a:pt x="6010" y="6455"/>
                    </a:cubicBezTo>
                    <a:cubicBezTo>
                      <a:pt x="6028" y="6367"/>
                      <a:pt x="6028" y="6367"/>
                      <a:pt x="6028" y="6367"/>
                    </a:cubicBezTo>
                    <a:cubicBezTo>
                      <a:pt x="5957" y="6361"/>
                      <a:pt x="5957" y="6361"/>
                      <a:pt x="5957" y="6361"/>
                    </a:cubicBezTo>
                    <a:cubicBezTo>
                      <a:pt x="5957" y="6355"/>
                      <a:pt x="5957" y="6355"/>
                      <a:pt x="5957" y="6355"/>
                    </a:cubicBezTo>
                    <a:cubicBezTo>
                      <a:pt x="5964" y="6275"/>
                      <a:pt x="5964" y="6275"/>
                      <a:pt x="5964" y="6275"/>
                    </a:cubicBezTo>
                    <a:cubicBezTo>
                      <a:pt x="6010" y="6279"/>
                      <a:pt x="6010" y="6279"/>
                      <a:pt x="6010" y="6279"/>
                    </a:cubicBezTo>
                    <a:cubicBezTo>
                      <a:pt x="6014" y="6236"/>
                      <a:pt x="6014" y="6236"/>
                      <a:pt x="6014" y="6236"/>
                    </a:cubicBezTo>
                    <a:cubicBezTo>
                      <a:pt x="6053" y="6239"/>
                      <a:pt x="6053" y="6239"/>
                      <a:pt x="6053" y="6239"/>
                    </a:cubicBezTo>
                    <a:cubicBezTo>
                      <a:pt x="6057" y="6222"/>
                      <a:pt x="6057" y="6222"/>
                      <a:pt x="6057" y="6222"/>
                    </a:cubicBezTo>
                    <a:lnTo>
                      <a:pt x="5944" y="6209"/>
                    </a:lnTo>
                    <a:close/>
                    <a:moveTo>
                      <a:pt x="4817" y="5657"/>
                    </a:moveTo>
                    <a:cubicBezTo>
                      <a:pt x="4802" y="5727"/>
                      <a:pt x="4783" y="5819"/>
                      <a:pt x="4761" y="5923"/>
                    </a:cubicBezTo>
                    <a:cubicBezTo>
                      <a:pt x="5329" y="6029"/>
                      <a:pt x="5329" y="6029"/>
                      <a:pt x="5329" y="6029"/>
                    </a:cubicBezTo>
                    <a:cubicBezTo>
                      <a:pt x="5371" y="5674"/>
                      <a:pt x="5371" y="5674"/>
                      <a:pt x="5371" y="5674"/>
                    </a:cubicBezTo>
                    <a:lnTo>
                      <a:pt x="4817" y="5657"/>
                    </a:lnTo>
                    <a:close/>
                    <a:moveTo>
                      <a:pt x="4784" y="5431"/>
                    </a:moveTo>
                    <a:cubicBezTo>
                      <a:pt x="4784" y="5367"/>
                      <a:pt x="4777" y="5275"/>
                      <a:pt x="4745" y="5194"/>
                    </a:cubicBezTo>
                    <a:cubicBezTo>
                      <a:pt x="4720" y="5132"/>
                      <a:pt x="4682" y="5077"/>
                      <a:pt x="4623" y="5040"/>
                    </a:cubicBezTo>
                    <a:cubicBezTo>
                      <a:pt x="4427" y="5310"/>
                      <a:pt x="4427" y="5310"/>
                      <a:pt x="4427" y="5310"/>
                    </a:cubicBezTo>
                    <a:cubicBezTo>
                      <a:pt x="4424" y="5310"/>
                      <a:pt x="4424" y="5310"/>
                      <a:pt x="4424" y="5310"/>
                    </a:cubicBezTo>
                    <a:cubicBezTo>
                      <a:pt x="4424" y="5310"/>
                      <a:pt x="4201" y="5316"/>
                      <a:pt x="4168" y="5316"/>
                    </a:cubicBezTo>
                    <a:cubicBezTo>
                      <a:pt x="4110" y="5409"/>
                      <a:pt x="4110" y="5409"/>
                      <a:pt x="4110" y="5409"/>
                    </a:cubicBezTo>
                    <a:cubicBezTo>
                      <a:pt x="4784" y="5441"/>
                      <a:pt x="4784" y="5441"/>
                      <a:pt x="4784" y="5441"/>
                    </a:cubicBezTo>
                    <a:cubicBezTo>
                      <a:pt x="4784" y="5437"/>
                      <a:pt x="4784" y="5434"/>
                      <a:pt x="4784" y="5431"/>
                    </a:cubicBezTo>
                    <a:close/>
                    <a:moveTo>
                      <a:pt x="4611" y="5034"/>
                    </a:moveTo>
                    <a:cubicBezTo>
                      <a:pt x="4596" y="5025"/>
                      <a:pt x="4580" y="5017"/>
                      <a:pt x="4561" y="5011"/>
                    </a:cubicBezTo>
                    <a:cubicBezTo>
                      <a:pt x="4311" y="4930"/>
                      <a:pt x="4003" y="4849"/>
                      <a:pt x="3764" y="4797"/>
                    </a:cubicBezTo>
                    <a:cubicBezTo>
                      <a:pt x="3667" y="5094"/>
                      <a:pt x="3667" y="5094"/>
                      <a:pt x="3667" y="5094"/>
                    </a:cubicBezTo>
                    <a:cubicBezTo>
                      <a:pt x="3717" y="5115"/>
                      <a:pt x="3772" y="5139"/>
                      <a:pt x="3827" y="5162"/>
                    </a:cubicBezTo>
                    <a:cubicBezTo>
                      <a:pt x="3912" y="5198"/>
                      <a:pt x="3996" y="5233"/>
                      <a:pt x="4059" y="5259"/>
                    </a:cubicBezTo>
                    <a:cubicBezTo>
                      <a:pt x="4090" y="5272"/>
                      <a:pt x="4117" y="5283"/>
                      <a:pt x="4136" y="5291"/>
                    </a:cubicBezTo>
                    <a:cubicBezTo>
                      <a:pt x="4145" y="5295"/>
                      <a:pt x="4153" y="5298"/>
                      <a:pt x="4158" y="5300"/>
                    </a:cubicBezTo>
                    <a:cubicBezTo>
                      <a:pt x="4160" y="5301"/>
                      <a:pt x="4162" y="5301"/>
                      <a:pt x="4164" y="5302"/>
                    </a:cubicBezTo>
                    <a:cubicBezTo>
                      <a:pt x="4164" y="5302"/>
                      <a:pt x="4165" y="5302"/>
                      <a:pt x="4165" y="5302"/>
                    </a:cubicBezTo>
                    <a:cubicBezTo>
                      <a:pt x="4181" y="5302"/>
                      <a:pt x="4391" y="5297"/>
                      <a:pt x="4420" y="5296"/>
                    </a:cubicBezTo>
                    <a:lnTo>
                      <a:pt x="4611" y="5034"/>
                    </a:lnTo>
                    <a:close/>
                    <a:moveTo>
                      <a:pt x="3750" y="4794"/>
                    </a:moveTo>
                    <a:cubicBezTo>
                      <a:pt x="3712" y="4786"/>
                      <a:pt x="3675" y="4778"/>
                      <a:pt x="3640" y="4771"/>
                    </a:cubicBezTo>
                    <a:cubicBezTo>
                      <a:pt x="3616" y="4767"/>
                      <a:pt x="3593" y="4762"/>
                      <a:pt x="3572" y="4758"/>
                    </a:cubicBezTo>
                    <a:cubicBezTo>
                      <a:pt x="3476" y="5011"/>
                      <a:pt x="3476" y="5011"/>
                      <a:pt x="3476" y="5011"/>
                    </a:cubicBezTo>
                    <a:cubicBezTo>
                      <a:pt x="3496" y="5020"/>
                      <a:pt x="3566" y="5050"/>
                      <a:pt x="3654" y="5088"/>
                    </a:cubicBezTo>
                    <a:lnTo>
                      <a:pt x="3750" y="4794"/>
                    </a:lnTo>
                    <a:close/>
                    <a:moveTo>
                      <a:pt x="2599" y="5592"/>
                    </a:moveTo>
                    <a:cubicBezTo>
                      <a:pt x="2543" y="5720"/>
                      <a:pt x="2498" y="5824"/>
                      <a:pt x="2490" y="5843"/>
                    </a:cubicBezTo>
                    <a:cubicBezTo>
                      <a:pt x="2543" y="5935"/>
                      <a:pt x="2543" y="5935"/>
                      <a:pt x="2543" y="5935"/>
                    </a:cubicBezTo>
                    <a:cubicBezTo>
                      <a:pt x="2645" y="5977"/>
                      <a:pt x="2645" y="5977"/>
                      <a:pt x="2645" y="5977"/>
                    </a:cubicBezTo>
                    <a:cubicBezTo>
                      <a:pt x="3069" y="5172"/>
                      <a:pt x="3069" y="5172"/>
                      <a:pt x="3069" y="5172"/>
                    </a:cubicBezTo>
                    <a:cubicBezTo>
                      <a:pt x="2939" y="5071"/>
                      <a:pt x="2939" y="5071"/>
                      <a:pt x="2939" y="5071"/>
                    </a:cubicBezTo>
                    <a:cubicBezTo>
                      <a:pt x="2844" y="5041"/>
                      <a:pt x="2844" y="5041"/>
                      <a:pt x="2844" y="5041"/>
                    </a:cubicBezTo>
                    <a:cubicBezTo>
                      <a:pt x="2833" y="5064"/>
                      <a:pt x="2813" y="5107"/>
                      <a:pt x="2788" y="5163"/>
                    </a:cubicBezTo>
                    <a:cubicBezTo>
                      <a:pt x="2736" y="5280"/>
                      <a:pt x="2661" y="5451"/>
                      <a:pt x="2599" y="5592"/>
                    </a:cubicBezTo>
                    <a:close/>
                    <a:moveTo>
                      <a:pt x="2391" y="5329"/>
                    </a:moveTo>
                    <a:cubicBezTo>
                      <a:pt x="2335" y="5439"/>
                      <a:pt x="2335" y="5439"/>
                      <a:pt x="2335" y="5439"/>
                    </a:cubicBezTo>
                    <a:cubicBezTo>
                      <a:pt x="2363" y="5460"/>
                      <a:pt x="2363" y="5460"/>
                      <a:pt x="2363" y="5460"/>
                    </a:cubicBezTo>
                    <a:cubicBezTo>
                      <a:pt x="2348" y="5536"/>
                      <a:pt x="2348" y="5536"/>
                      <a:pt x="2348" y="5536"/>
                    </a:cubicBezTo>
                    <a:cubicBezTo>
                      <a:pt x="2561" y="5645"/>
                      <a:pt x="2561" y="5645"/>
                      <a:pt x="2561" y="5645"/>
                    </a:cubicBezTo>
                    <a:cubicBezTo>
                      <a:pt x="2585" y="5590"/>
                      <a:pt x="2611" y="5528"/>
                      <a:pt x="2639" y="5466"/>
                    </a:cubicBezTo>
                    <a:cubicBezTo>
                      <a:pt x="2608" y="5450"/>
                      <a:pt x="2491" y="5385"/>
                      <a:pt x="2391" y="5329"/>
                    </a:cubicBezTo>
                    <a:close/>
                    <a:moveTo>
                      <a:pt x="2379" y="5323"/>
                    </a:moveTo>
                    <a:cubicBezTo>
                      <a:pt x="2344" y="5303"/>
                      <a:pt x="2312" y="5285"/>
                      <a:pt x="2287" y="5271"/>
                    </a:cubicBezTo>
                    <a:cubicBezTo>
                      <a:pt x="2240" y="5366"/>
                      <a:pt x="2240" y="5366"/>
                      <a:pt x="2240" y="5366"/>
                    </a:cubicBezTo>
                    <a:cubicBezTo>
                      <a:pt x="2324" y="5431"/>
                      <a:pt x="2324" y="5431"/>
                      <a:pt x="2324" y="5431"/>
                    </a:cubicBezTo>
                    <a:lnTo>
                      <a:pt x="2379" y="5323"/>
                    </a:lnTo>
                    <a:close/>
                    <a:moveTo>
                      <a:pt x="2233" y="5379"/>
                    </a:moveTo>
                    <a:cubicBezTo>
                      <a:pt x="2212" y="5422"/>
                      <a:pt x="2212" y="5422"/>
                      <a:pt x="2212" y="5422"/>
                    </a:cubicBezTo>
                    <a:cubicBezTo>
                      <a:pt x="2306" y="5468"/>
                      <a:pt x="2306" y="5468"/>
                      <a:pt x="2306" y="5468"/>
                    </a:cubicBezTo>
                    <a:cubicBezTo>
                      <a:pt x="2318" y="5443"/>
                      <a:pt x="2318" y="5443"/>
                      <a:pt x="2318" y="5443"/>
                    </a:cubicBezTo>
                    <a:lnTo>
                      <a:pt x="2233" y="5379"/>
                    </a:lnTo>
                    <a:close/>
                    <a:moveTo>
                      <a:pt x="2223" y="5371"/>
                    </a:moveTo>
                    <a:cubicBezTo>
                      <a:pt x="2209" y="5361"/>
                      <a:pt x="2209" y="5361"/>
                      <a:pt x="2209" y="5361"/>
                    </a:cubicBezTo>
                    <a:cubicBezTo>
                      <a:pt x="2061" y="5626"/>
                      <a:pt x="2061" y="5626"/>
                      <a:pt x="2061" y="5626"/>
                    </a:cubicBezTo>
                    <a:cubicBezTo>
                      <a:pt x="2067" y="5629"/>
                      <a:pt x="2075" y="5633"/>
                      <a:pt x="2083" y="5638"/>
                    </a:cubicBezTo>
                    <a:cubicBezTo>
                      <a:pt x="2145" y="5513"/>
                      <a:pt x="2145" y="5513"/>
                      <a:pt x="2145" y="5513"/>
                    </a:cubicBezTo>
                    <a:cubicBezTo>
                      <a:pt x="2265" y="5571"/>
                      <a:pt x="2265" y="5571"/>
                      <a:pt x="2265" y="5571"/>
                    </a:cubicBezTo>
                    <a:cubicBezTo>
                      <a:pt x="2262" y="5577"/>
                      <a:pt x="2262" y="5577"/>
                      <a:pt x="2262" y="5577"/>
                    </a:cubicBezTo>
                    <a:cubicBezTo>
                      <a:pt x="2199" y="5701"/>
                      <a:pt x="2199" y="5701"/>
                      <a:pt x="2199" y="5701"/>
                    </a:cubicBezTo>
                    <a:cubicBezTo>
                      <a:pt x="2217" y="5726"/>
                      <a:pt x="2251" y="5785"/>
                      <a:pt x="2259" y="5799"/>
                    </a:cubicBezTo>
                    <a:cubicBezTo>
                      <a:pt x="2271" y="5800"/>
                      <a:pt x="2316" y="5807"/>
                      <a:pt x="2363" y="5814"/>
                    </a:cubicBezTo>
                    <a:cubicBezTo>
                      <a:pt x="2411" y="5822"/>
                      <a:pt x="2458" y="5829"/>
                      <a:pt x="2478" y="5835"/>
                    </a:cubicBezTo>
                    <a:cubicBezTo>
                      <a:pt x="2486" y="5816"/>
                      <a:pt x="2516" y="5748"/>
                      <a:pt x="2555" y="5658"/>
                    </a:cubicBezTo>
                    <a:cubicBezTo>
                      <a:pt x="2332" y="5543"/>
                      <a:pt x="2332" y="5543"/>
                      <a:pt x="2332" y="5543"/>
                    </a:cubicBezTo>
                    <a:cubicBezTo>
                      <a:pt x="2347" y="5466"/>
                      <a:pt x="2347" y="5466"/>
                      <a:pt x="2347" y="5466"/>
                    </a:cubicBezTo>
                    <a:cubicBezTo>
                      <a:pt x="2329" y="5452"/>
                      <a:pt x="2329" y="5452"/>
                      <a:pt x="2329" y="5452"/>
                    </a:cubicBezTo>
                    <a:cubicBezTo>
                      <a:pt x="2312" y="5485"/>
                      <a:pt x="2312" y="5485"/>
                      <a:pt x="2312" y="5485"/>
                    </a:cubicBezTo>
                    <a:cubicBezTo>
                      <a:pt x="2194" y="5428"/>
                      <a:pt x="2194" y="5428"/>
                      <a:pt x="2194" y="5428"/>
                    </a:cubicBezTo>
                    <a:lnTo>
                      <a:pt x="2223" y="5371"/>
                    </a:lnTo>
                    <a:close/>
                    <a:moveTo>
                      <a:pt x="2205" y="5234"/>
                    </a:moveTo>
                    <a:cubicBezTo>
                      <a:pt x="2157" y="5207"/>
                      <a:pt x="2157" y="5207"/>
                      <a:pt x="2157" y="5207"/>
                    </a:cubicBezTo>
                    <a:cubicBezTo>
                      <a:pt x="2108" y="5294"/>
                      <a:pt x="2108" y="5294"/>
                      <a:pt x="2108" y="5294"/>
                    </a:cubicBezTo>
                    <a:cubicBezTo>
                      <a:pt x="2157" y="5321"/>
                      <a:pt x="2157" y="5321"/>
                      <a:pt x="2157" y="5321"/>
                    </a:cubicBezTo>
                    <a:lnTo>
                      <a:pt x="2205" y="5234"/>
                    </a:lnTo>
                    <a:close/>
                    <a:moveTo>
                      <a:pt x="2101" y="5306"/>
                    </a:moveTo>
                    <a:cubicBezTo>
                      <a:pt x="2049" y="5398"/>
                      <a:pt x="2049" y="5398"/>
                      <a:pt x="2049" y="5398"/>
                    </a:cubicBezTo>
                    <a:cubicBezTo>
                      <a:pt x="2098" y="5426"/>
                      <a:pt x="2098" y="5426"/>
                      <a:pt x="2098" y="5426"/>
                    </a:cubicBezTo>
                    <a:cubicBezTo>
                      <a:pt x="2150" y="5333"/>
                      <a:pt x="2150" y="5333"/>
                      <a:pt x="2150" y="5333"/>
                    </a:cubicBezTo>
                    <a:lnTo>
                      <a:pt x="2101" y="5306"/>
                    </a:lnTo>
                    <a:close/>
                    <a:moveTo>
                      <a:pt x="2090" y="5299"/>
                    </a:moveTo>
                    <a:cubicBezTo>
                      <a:pt x="1976" y="5234"/>
                      <a:pt x="1976" y="5234"/>
                      <a:pt x="1976" y="5234"/>
                    </a:cubicBezTo>
                    <a:cubicBezTo>
                      <a:pt x="1924" y="5326"/>
                      <a:pt x="1924" y="5326"/>
                      <a:pt x="1924" y="5326"/>
                    </a:cubicBezTo>
                    <a:cubicBezTo>
                      <a:pt x="2038" y="5391"/>
                      <a:pt x="2038" y="5391"/>
                      <a:pt x="2038" y="5391"/>
                    </a:cubicBezTo>
                    <a:lnTo>
                      <a:pt x="2090" y="5299"/>
                    </a:lnTo>
                    <a:close/>
                    <a:moveTo>
                      <a:pt x="1964" y="5228"/>
                    </a:moveTo>
                    <a:cubicBezTo>
                      <a:pt x="1585" y="5011"/>
                      <a:pt x="1585" y="5011"/>
                      <a:pt x="1585" y="5011"/>
                    </a:cubicBezTo>
                    <a:cubicBezTo>
                      <a:pt x="1550" y="5113"/>
                      <a:pt x="1550" y="5113"/>
                      <a:pt x="1550" y="5113"/>
                    </a:cubicBezTo>
                    <a:cubicBezTo>
                      <a:pt x="1912" y="5320"/>
                      <a:pt x="1912" y="5320"/>
                      <a:pt x="1912" y="5320"/>
                    </a:cubicBezTo>
                    <a:lnTo>
                      <a:pt x="1964" y="5228"/>
                    </a:lnTo>
                    <a:close/>
                    <a:moveTo>
                      <a:pt x="1545" y="5126"/>
                    </a:moveTo>
                    <a:cubicBezTo>
                      <a:pt x="1504" y="5243"/>
                      <a:pt x="1504" y="5243"/>
                      <a:pt x="1504" y="5243"/>
                    </a:cubicBezTo>
                    <a:cubicBezTo>
                      <a:pt x="1845" y="5438"/>
                      <a:pt x="1845" y="5438"/>
                      <a:pt x="1845" y="5438"/>
                    </a:cubicBezTo>
                    <a:cubicBezTo>
                      <a:pt x="1905" y="5332"/>
                      <a:pt x="1905" y="5332"/>
                      <a:pt x="1905" y="5332"/>
                    </a:cubicBezTo>
                    <a:lnTo>
                      <a:pt x="1545" y="5126"/>
                    </a:lnTo>
                    <a:close/>
                    <a:moveTo>
                      <a:pt x="1499" y="5257"/>
                    </a:moveTo>
                    <a:cubicBezTo>
                      <a:pt x="1499" y="5257"/>
                      <a:pt x="1499" y="5257"/>
                      <a:pt x="1499" y="5257"/>
                    </a:cubicBezTo>
                    <a:cubicBezTo>
                      <a:pt x="1420" y="5348"/>
                      <a:pt x="1420" y="5348"/>
                      <a:pt x="1420" y="5348"/>
                    </a:cubicBezTo>
                    <a:cubicBezTo>
                      <a:pt x="1780" y="5553"/>
                      <a:pt x="1780" y="5553"/>
                      <a:pt x="1780" y="5553"/>
                    </a:cubicBezTo>
                    <a:cubicBezTo>
                      <a:pt x="1838" y="5450"/>
                      <a:pt x="1838" y="5450"/>
                      <a:pt x="1838" y="5450"/>
                    </a:cubicBezTo>
                    <a:lnTo>
                      <a:pt x="1499" y="5257"/>
                    </a:lnTo>
                    <a:close/>
                    <a:moveTo>
                      <a:pt x="1416" y="5362"/>
                    </a:moveTo>
                    <a:cubicBezTo>
                      <a:pt x="1386" y="5470"/>
                      <a:pt x="1386" y="5470"/>
                      <a:pt x="1386" y="5470"/>
                    </a:cubicBezTo>
                    <a:cubicBezTo>
                      <a:pt x="1719" y="5660"/>
                      <a:pt x="1719" y="5660"/>
                      <a:pt x="1719" y="5660"/>
                    </a:cubicBezTo>
                    <a:cubicBezTo>
                      <a:pt x="1773" y="5565"/>
                      <a:pt x="1773" y="5565"/>
                      <a:pt x="1773" y="5565"/>
                    </a:cubicBezTo>
                    <a:lnTo>
                      <a:pt x="1416" y="5362"/>
                    </a:lnTo>
                    <a:close/>
                    <a:moveTo>
                      <a:pt x="1382" y="5484"/>
                    </a:moveTo>
                    <a:cubicBezTo>
                      <a:pt x="1344" y="5618"/>
                      <a:pt x="1344" y="5618"/>
                      <a:pt x="1344" y="5618"/>
                    </a:cubicBezTo>
                    <a:cubicBezTo>
                      <a:pt x="1646" y="5789"/>
                      <a:pt x="1646" y="5789"/>
                      <a:pt x="1646" y="5789"/>
                    </a:cubicBezTo>
                    <a:cubicBezTo>
                      <a:pt x="1712" y="5673"/>
                      <a:pt x="1712" y="5673"/>
                      <a:pt x="1712" y="5673"/>
                    </a:cubicBezTo>
                    <a:lnTo>
                      <a:pt x="1382" y="5484"/>
                    </a:lnTo>
                    <a:close/>
                    <a:moveTo>
                      <a:pt x="1335" y="5628"/>
                    </a:moveTo>
                    <a:cubicBezTo>
                      <a:pt x="1225" y="5691"/>
                      <a:pt x="1225" y="5691"/>
                      <a:pt x="1225" y="5691"/>
                    </a:cubicBezTo>
                    <a:cubicBezTo>
                      <a:pt x="1585" y="5896"/>
                      <a:pt x="1585" y="5896"/>
                      <a:pt x="1585" y="5896"/>
                    </a:cubicBezTo>
                    <a:cubicBezTo>
                      <a:pt x="1639" y="5802"/>
                      <a:pt x="1639" y="5802"/>
                      <a:pt x="1639" y="5802"/>
                    </a:cubicBezTo>
                    <a:lnTo>
                      <a:pt x="1335" y="5628"/>
                    </a:lnTo>
                    <a:close/>
                    <a:moveTo>
                      <a:pt x="1211" y="5699"/>
                    </a:moveTo>
                    <a:cubicBezTo>
                      <a:pt x="1198" y="5706"/>
                      <a:pt x="1198" y="5706"/>
                      <a:pt x="1198" y="5706"/>
                    </a:cubicBezTo>
                    <a:cubicBezTo>
                      <a:pt x="1164" y="5811"/>
                      <a:pt x="1164" y="5811"/>
                      <a:pt x="1164" y="5811"/>
                    </a:cubicBezTo>
                    <a:cubicBezTo>
                      <a:pt x="1518" y="6014"/>
                      <a:pt x="1518" y="6014"/>
                      <a:pt x="1518" y="6014"/>
                    </a:cubicBezTo>
                    <a:cubicBezTo>
                      <a:pt x="1578" y="5908"/>
                      <a:pt x="1578" y="5908"/>
                      <a:pt x="1578" y="5908"/>
                    </a:cubicBezTo>
                    <a:lnTo>
                      <a:pt x="1211" y="5699"/>
                    </a:lnTo>
                    <a:close/>
                    <a:moveTo>
                      <a:pt x="1160" y="5825"/>
                    </a:moveTo>
                    <a:cubicBezTo>
                      <a:pt x="1127" y="5928"/>
                      <a:pt x="1127" y="5928"/>
                      <a:pt x="1127" y="5928"/>
                    </a:cubicBezTo>
                    <a:cubicBezTo>
                      <a:pt x="1459" y="6118"/>
                      <a:pt x="1459" y="6118"/>
                      <a:pt x="1459" y="6118"/>
                    </a:cubicBezTo>
                    <a:cubicBezTo>
                      <a:pt x="1512" y="6026"/>
                      <a:pt x="1512" y="6026"/>
                      <a:pt x="1512" y="6026"/>
                    </a:cubicBezTo>
                    <a:lnTo>
                      <a:pt x="1160" y="5825"/>
                    </a:lnTo>
                    <a:close/>
                    <a:moveTo>
                      <a:pt x="1122" y="5941"/>
                    </a:moveTo>
                    <a:cubicBezTo>
                      <a:pt x="1086" y="6055"/>
                      <a:pt x="1086" y="6055"/>
                      <a:pt x="1086" y="6055"/>
                    </a:cubicBezTo>
                    <a:cubicBezTo>
                      <a:pt x="1080" y="6058"/>
                      <a:pt x="1080" y="6058"/>
                      <a:pt x="1080" y="6058"/>
                    </a:cubicBezTo>
                    <a:cubicBezTo>
                      <a:pt x="1392" y="6236"/>
                      <a:pt x="1392" y="6236"/>
                      <a:pt x="1392" y="6236"/>
                    </a:cubicBezTo>
                    <a:cubicBezTo>
                      <a:pt x="1452" y="6130"/>
                      <a:pt x="1452" y="6130"/>
                      <a:pt x="1452" y="6130"/>
                    </a:cubicBezTo>
                    <a:lnTo>
                      <a:pt x="1122" y="5941"/>
                    </a:lnTo>
                    <a:close/>
                    <a:moveTo>
                      <a:pt x="1067" y="6066"/>
                    </a:moveTo>
                    <a:cubicBezTo>
                      <a:pt x="956" y="6134"/>
                      <a:pt x="956" y="6134"/>
                      <a:pt x="956" y="6134"/>
                    </a:cubicBezTo>
                    <a:cubicBezTo>
                      <a:pt x="954" y="6139"/>
                      <a:pt x="954" y="6139"/>
                      <a:pt x="954" y="6139"/>
                    </a:cubicBezTo>
                    <a:cubicBezTo>
                      <a:pt x="1327" y="6351"/>
                      <a:pt x="1327" y="6351"/>
                      <a:pt x="1327" y="6351"/>
                    </a:cubicBezTo>
                    <a:cubicBezTo>
                      <a:pt x="1385" y="6248"/>
                      <a:pt x="1385" y="6248"/>
                      <a:pt x="1385" y="6248"/>
                    </a:cubicBezTo>
                    <a:lnTo>
                      <a:pt x="1067" y="6066"/>
                    </a:lnTo>
                    <a:close/>
                    <a:moveTo>
                      <a:pt x="1338" y="6358"/>
                    </a:moveTo>
                    <a:cubicBezTo>
                      <a:pt x="1452" y="6423"/>
                      <a:pt x="1452" y="6423"/>
                      <a:pt x="1452" y="6423"/>
                    </a:cubicBezTo>
                    <a:cubicBezTo>
                      <a:pt x="1511" y="6320"/>
                      <a:pt x="1511" y="6320"/>
                      <a:pt x="1511" y="6320"/>
                    </a:cubicBezTo>
                    <a:cubicBezTo>
                      <a:pt x="1397" y="6255"/>
                      <a:pt x="1397" y="6255"/>
                      <a:pt x="1397" y="6255"/>
                    </a:cubicBezTo>
                    <a:lnTo>
                      <a:pt x="1338" y="6358"/>
                    </a:lnTo>
                    <a:close/>
                    <a:moveTo>
                      <a:pt x="1464" y="6430"/>
                    </a:moveTo>
                    <a:cubicBezTo>
                      <a:pt x="1518" y="6461"/>
                      <a:pt x="1518" y="6461"/>
                      <a:pt x="1518" y="6461"/>
                    </a:cubicBezTo>
                    <a:cubicBezTo>
                      <a:pt x="1576" y="6357"/>
                      <a:pt x="1576" y="6357"/>
                      <a:pt x="1576" y="6357"/>
                    </a:cubicBezTo>
                    <a:cubicBezTo>
                      <a:pt x="1522" y="6326"/>
                      <a:pt x="1522" y="6326"/>
                      <a:pt x="1522" y="6326"/>
                    </a:cubicBezTo>
                    <a:lnTo>
                      <a:pt x="1464" y="6430"/>
                    </a:lnTo>
                    <a:close/>
                    <a:moveTo>
                      <a:pt x="1482" y="6660"/>
                    </a:moveTo>
                    <a:cubicBezTo>
                      <a:pt x="1527" y="6687"/>
                      <a:pt x="1622" y="6743"/>
                      <a:pt x="1722" y="6802"/>
                    </a:cubicBezTo>
                    <a:cubicBezTo>
                      <a:pt x="1824" y="6862"/>
                      <a:pt x="1932" y="6925"/>
                      <a:pt x="1995" y="6961"/>
                    </a:cubicBezTo>
                    <a:cubicBezTo>
                      <a:pt x="2033" y="6906"/>
                      <a:pt x="2116" y="6778"/>
                      <a:pt x="2198" y="6651"/>
                    </a:cubicBezTo>
                    <a:cubicBezTo>
                      <a:pt x="2221" y="6616"/>
                      <a:pt x="2243" y="6581"/>
                      <a:pt x="2264" y="6548"/>
                    </a:cubicBezTo>
                    <a:cubicBezTo>
                      <a:pt x="2008" y="6403"/>
                      <a:pt x="2008" y="6403"/>
                      <a:pt x="2008" y="6403"/>
                    </a:cubicBezTo>
                    <a:cubicBezTo>
                      <a:pt x="2007" y="6404"/>
                      <a:pt x="2006" y="6405"/>
                      <a:pt x="2006" y="6405"/>
                    </a:cubicBezTo>
                    <a:cubicBezTo>
                      <a:pt x="1995" y="6397"/>
                      <a:pt x="1995" y="6397"/>
                      <a:pt x="1995" y="6397"/>
                    </a:cubicBezTo>
                    <a:cubicBezTo>
                      <a:pt x="1995" y="6397"/>
                      <a:pt x="1996" y="6396"/>
                      <a:pt x="1996" y="6396"/>
                    </a:cubicBezTo>
                    <a:cubicBezTo>
                      <a:pt x="1718" y="6238"/>
                      <a:pt x="1718" y="6238"/>
                      <a:pt x="1718" y="6238"/>
                    </a:cubicBezTo>
                    <a:lnTo>
                      <a:pt x="1482" y="6660"/>
                    </a:lnTo>
                    <a:close/>
                    <a:moveTo>
                      <a:pt x="1900" y="7068"/>
                    </a:moveTo>
                    <a:cubicBezTo>
                      <a:pt x="1861" y="7124"/>
                      <a:pt x="1809" y="7202"/>
                      <a:pt x="1765" y="7267"/>
                    </a:cubicBezTo>
                    <a:cubicBezTo>
                      <a:pt x="1743" y="7299"/>
                      <a:pt x="1723" y="7328"/>
                      <a:pt x="1708" y="7349"/>
                    </a:cubicBezTo>
                    <a:cubicBezTo>
                      <a:pt x="1706" y="7351"/>
                      <a:pt x="1705" y="7353"/>
                      <a:pt x="1703" y="7355"/>
                    </a:cubicBezTo>
                    <a:cubicBezTo>
                      <a:pt x="1703" y="7356"/>
                      <a:pt x="1704" y="7355"/>
                      <a:pt x="1704" y="7356"/>
                    </a:cubicBezTo>
                    <a:cubicBezTo>
                      <a:pt x="1705" y="7357"/>
                      <a:pt x="1705" y="7358"/>
                      <a:pt x="1706" y="7359"/>
                    </a:cubicBezTo>
                    <a:cubicBezTo>
                      <a:pt x="1710" y="7365"/>
                      <a:pt x="1751" y="7417"/>
                      <a:pt x="1791" y="7465"/>
                    </a:cubicBezTo>
                    <a:cubicBezTo>
                      <a:pt x="1822" y="7503"/>
                      <a:pt x="1853" y="7541"/>
                      <a:pt x="1866" y="7557"/>
                    </a:cubicBezTo>
                    <a:cubicBezTo>
                      <a:pt x="2211" y="7180"/>
                      <a:pt x="2211" y="7180"/>
                      <a:pt x="2211" y="7180"/>
                    </a:cubicBezTo>
                    <a:cubicBezTo>
                      <a:pt x="2210" y="7180"/>
                      <a:pt x="2210" y="7179"/>
                      <a:pt x="2209" y="7179"/>
                    </a:cubicBezTo>
                    <a:cubicBezTo>
                      <a:pt x="2128" y="7121"/>
                      <a:pt x="2047" y="7065"/>
                      <a:pt x="2014" y="7047"/>
                    </a:cubicBezTo>
                    <a:cubicBezTo>
                      <a:pt x="2001" y="7040"/>
                      <a:pt x="1976" y="7026"/>
                      <a:pt x="1943" y="7007"/>
                    </a:cubicBezTo>
                    <a:cubicBezTo>
                      <a:pt x="1934" y="7020"/>
                      <a:pt x="1918" y="7042"/>
                      <a:pt x="1900" y="7068"/>
                    </a:cubicBezTo>
                    <a:close/>
                    <a:moveTo>
                      <a:pt x="1857" y="7725"/>
                    </a:moveTo>
                    <a:cubicBezTo>
                      <a:pt x="1852" y="7763"/>
                      <a:pt x="1847" y="7802"/>
                      <a:pt x="1843" y="7830"/>
                    </a:cubicBezTo>
                    <a:cubicBezTo>
                      <a:pt x="1841" y="7845"/>
                      <a:pt x="1840" y="7857"/>
                      <a:pt x="1838" y="7865"/>
                    </a:cubicBezTo>
                    <a:cubicBezTo>
                      <a:pt x="1838" y="7868"/>
                      <a:pt x="1837" y="7871"/>
                      <a:pt x="1837" y="7873"/>
                    </a:cubicBezTo>
                    <a:cubicBezTo>
                      <a:pt x="1845" y="7877"/>
                      <a:pt x="1862" y="7884"/>
                      <a:pt x="1878" y="7891"/>
                    </a:cubicBezTo>
                    <a:cubicBezTo>
                      <a:pt x="1894" y="7898"/>
                      <a:pt x="1910" y="7904"/>
                      <a:pt x="1917" y="7907"/>
                    </a:cubicBezTo>
                    <a:cubicBezTo>
                      <a:pt x="1944" y="7894"/>
                      <a:pt x="2010" y="7859"/>
                      <a:pt x="2074" y="7826"/>
                    </a:cubicBezTo>
                    <a:cubicBezTo>
                      <a:pt x="2145" y="7789"/>
                      <a:pt x="2215" y="7752"/>
                      <a:pt x="2228" y="7745"/>
                    </a:cubicBezTo>
                    <a:cubicBezTo>
                      <a:pt x="2235" y="7728"/>
                      <a:pt x="2272" y="7625"/>
                      <a:pt x="2310" y="7521"/>
                    </a:cubicBezTo>
                    <a:cubicBezTo>
                      <a:pt x="2330" y="7465"/>
                      <a:pt x="2352" y="7408"/>
                      <a:pt x="2368" y="7365"/>
                    </a:cubicBezTo>
                    <a:cubicBezTo>
                      <a:pt x="2376" y="7344"/>
                      <a:pt x="2383" y="7326"/>
                      <a:pt x="2389" y="7313"/>
                    </a:cubicBezTo>
                    <a:cubicBezTo>
                      <a:pt x="2389" y="7312"/>
                      <a:pt x="2390" y="7311"/>
                      <a:pt x="2390" y="7310"/>
                    </a:cubicBezTo>
                    <a:cubicBezTo>
                      <a:pt x="2346" y="7279"/>
                      <a:pt x="2285" y="7233"/>
                      <a:pt x="2222" y="7188"/>
                    </a:cubicBezTo>
                    <a:cubicBezTo>
                      <a:pt x="1875" y="7568"/>
                      <a:pt x="1875" y="7568"/>
                      <a:pt x="1875" y="7568"/>
                    </a:cubicBezTo>
                    <a:cubicBezTo>
                      <a:pt x="1875" y="7568"/>
                      <a:pt x="1875" y="7568"/>
                      <a:pt x="1875" y="7568"/>
                    </a:cubicBezTo>
                    <a:cubicBezTo>
                      <a:pt x="1875" y="7572"/>
                      <a:pt x="1875" y="7572"/>
                      <a:pt x="1875" y="7572"/>
                    </a:cubicBezTo>
                    <a:cubicBezTo>
                      <a:pt x="1875" y="7572"/>
                      <a:pt x="1866" y="7648"/>
                      <a:pt x="1857" y="7725"/>
                    </a:cubicBezTo>
                    <a:close/>
                    <a:moveTo>
                      <a:pt x="1828" y="7887"/>
                    </a:moveTo>
                    <a:cubicBezTo>
                      <a:pt x="1811" y="7900"/>
                      <a:pt x="1744" y="7954"/>
                      <a:pt x="1677" y="8008"/>
                    </a:cubicBezTo>
                    <a:cubicBezTo>
                      <a:pt x="1638" y="8039"/>
                      <a:pt x="1600" y="8070"/>
                      <a:pt x="1570" y="8094"/>
                    </a:cubicBezTo>
                    <a:cubicBezTo>
                      <a:pt x="1557" y="8106"/>
                      <a:pt x="1546" y="8115"/>
                      <a:pt x="1537" y="8123"/>
                    </a:cubicBezTo>
                    <a:cubicBezTo>
                      <a:pt x="1664" y="8280"/>
                      <a:pt x="1664" y="8280"/>
                      <a:pt x="1664" y="8280"/>
                    </a:cubicBezTo>
                    <a:cubicBezTo>
                      <a:pt x="1989" y="8255"/>
                      <a:pt x="1989" y="8255"/>
                      <a:pt x="1989" y="8255"/>
                    </a:cubicBezTo>
                    <a:cubicBezTo>
                      <a:pt x="2102" y="8179"/>
                      <a:pt x="2102" y="8179"/>
                      <a:pt x="2102" y="8179"/>
                    </a:cubicBezTo>
                    <a:cubicBezTo>
                      <a:pt x="1864" y="8067"/>
                      <a:pt x="1864" y="8067"/>
                      <a:pt x="1864" y="8067"/>
                    </a:cubicBezTo>
                    <a:cubicBezTo>
                      <a:pt x="1906" y="7927"/>
                      <a:pt x="1906" y="7927"/>
                      <a:pt x="1906" y="7927"/>
                    </a:cubicBezTo>
                    <a:cubicBezTo>
                      <a:pt x="1905" y="7927"/>
                      <a:pt x="1905" y="7927"/>
                      <a:pt x="1905" y="7927"/>
                    </a:cubicBezTo>
                    <a:cubicBezTo>
                      <a:pt x="1905" y="7920"/>
                      <a:pt x="1905" y="7920"/>
                      <a:pt x="1905" y="7920"/>
                    </a:cubicBezTo>
                    <a:cubicBezTo>
                      <a:pt x="1896" y="7917"/>
                      <a:pt x="1883" y="7911"/>
                      <a:pt x="1869" y="7905"/>
                    </a:cubicBezTo>
                    <a:cubicBezTo>
                      <a:pt x="1858" y="7900"/>
                      <a:pt x="1846" y="7895"/>
                      <a:pt x="1838" y="7891"/>
                    </a:cubicBezTo>
                    <a:cubicBezTo>
                      <a:pt x="1834" y="7890"/>
                      <a:pt x="1831" y="7888"/>
                      <a:pt x="1828" y="7887"/>
                    </a:cubicBezTo>
                    <a:close/>
                    <a:moveTo>
                      <a:pt x="1531" y="8560"/>
                    </a:moveTo>
                    <a:cubicBezTo>
                      <a:pt x="1515" y="8587"/>
                      <a:pt x="1500" y="8613"/>
                      <a:pt x="1486" y="8638"/>
                    </a:cubicBezTo>
                    <a:cubicBezTo>
                      <a:pt x="1496" y="8662"/>
                      <a:pt x="1550" y="8780"/>
                      <a:pt x="1607" y="8903"/>
                    </a:cubicBezTo>
                    <a:cubicBezTo>
                      <a:pt x="1694" y="8796"/>
                      <a:pt x="1694" y="8796"/>
                      <a:pt x="1694" y="8796"/>
                    </a:cubicBezTo>
                    <a:cubicBezTo>
                      <a:pt x="2029" y="8655"/>
                      <a:pt x="2029" y="8655"/>
                      <a:pt x="2029" y="8655"/>
                    </a:cubicBezTo>
                    <a:cubicBezTo>
                      <a:pt x="1870" y="8309"/>
                      <a:pt x="1870" y="8309"/>
                      <a:pt x="1870" y="8309"/>
                    </a:cubicBezTo>
                    <a:cubicBezTo>
                      <a:pt x="1668" y="8325"/>
                      <a:pt x="1668" y="8325"/>
                      <a:pt x="1668" y="8325"/>
                    </a:cubicBezTo>
                    <a:cubicBezTo>
                      <a:pt x="1649" y="8357"/>
                      <a:pt x="1590" y="8459"/>
                      <a:pt x="1531" y="8560"/>
                    </a:cubicBezTo>
                    <a:close/>
                    <a:moveTo>
                      <a:pt x="1995" y="8849"/>
                    </a:moveTo>
                    <a:cubicBezTo>
                      <a:pt x="1998" y="8847"/>
                      <a:pt x="1998" y="8847"/>
                      <a:pt x="1998" y="8847"/>
                    </a:cubicBezTo>
                    <a:cubicBezTo>
                      <a:pt x="1934" y="8713"/>
                      <a:pt x="1934" y="8713"/>
                      <a:pt x="1934" y="8713"/>
                    </a:cubicBezTo>
                    <a:cubicBezTo>
                      <a:pt x="1833" y="8755"/>
                      <a:pt x="1833" y="8755"/>
                      <a:pt x="1833" y="8755"/>
                    </a:cubicBezTo>
                    <a:cubicBezTo>
                      <a:pt x="1839" y="8767"/>
                      <a:pt x="1869" y="8829"/>
                      <a:pt x="1902" y="8897"/>
                    </a:cubicBezTo>
                    <a:cubicBezTo>
                      <a:pt x="1995" y="8849"/>
                      <a:pt x="1995" y="8849"/>
                      <a:pt x="1995" y="8849"/>
                    </a:cubicBezTo>
                    <a:close/>
                    <a:moveTo>
                      <a:pt x="1788" y="8972"/>
                    </a:moveTo>
                    <a:cubicBezTo>
                      <a:pt x="1895" y="8920"/>
                      <a:pt x="1895" y="8920"/>
                      <a:pt x="1895" y="8920"/>
                    </a:cubicBezTo>
                    <a:cubicBezTo>
                      <a:pt x="1858" y="8844"/>
                      <a:pt x="1822" y="8771"/>
                      <a:pt x="1818" y="8762"/>
                    </a:cubicBezTo>
                    <a:cubicBezTo>
                      <a:pt x="1711" y="8807"/>
                      <a:pt x="1711" y="8807"/>
                      <a:pt x="1711" y="8807"/>
                    </a:cubicBezTo>
                    <a:lnTo>
                      <a:pt x="1788" y="8972"/>
                    </a:lnTo>
                    <a:close/>
                    <a:moveTo>
                      <a:pt x="1698" y="8818"/>
                    </a:moveTo>
                    <a:cubicBezTo>
                      <a:pt x="1615" y="8919"/>
                      <a:pt x="1615" y="8919"/>
                      <a:pt x="1615" y="8919"/>
                    </a:cubicBezTo>
                    <a:cubicBezTo>
                      <a:pt x="1617" y="8924"/>
                      <a:pt x="1620" y="8930"/>
                      <a:pt x="1622" y="8935"/>
                    </a:cubicBezTo>
                    <a:cubicBezTo>
                      <a:pt x="1631" y="8954"/>
                      <a:pt x="1640" y="8974"/>
                      <a:pt x="1649" y="8993"/>
                    </a:cubicBezTo>
                    <a:cubicBezTo>
                      <a:pt x="1755" y="8943"/>
                      <a:pt x="1755" y="8943"/>
                      <a:pt x="1755" y="8943"/>
                    </a:cubicBezTo>
                    <a:cubicBezTo>
                      <a:pt x="1761" y="8952"/>
                      <a:pt x="1761" y="8952"/>
                      <a:pt x="1761" y="8952"/>
                    </a:cubicBezTo>
                    <a:lnTo>
                      <a:pt x="1698" y="8818"/>
                    </a:lnTo>
                    <a:close/>
                    <a:moveTo>
                      <a:pt x="2008" y="8829"/>
                    </a:moveTo>
                    <a:cubicBezTo>
                      <a:pt x="2090" y="8787"/>
                      <a:pt x="2090" y="8787"/>
                      <a:pt x="2090" y="8787"/>
                    </a:cubicBezTo>
                    <a:cubicBezTo>
                      <a:pt x="2036" y="8670"/>
                      <a:pt x="2036" y="8670"/>
                      <a:pt x="2036" y="8670"/>
                    </a:cubicBezTo>
                    <a:cubicBezTo>
                      <a:pt x="1949" y="8707"/>
                      <a:pt x="1949" y="8707"/>
                      <a:pt x="1949" y="8707"/>
                    </a:cubicBezTo>
                    <a:lnTo>
                      <a:pt x="2008" y="8829"/>
                    </a:lnTo>
                    <a:close/>
                    <a:moveTo>
                      <a:pt x="1602" y="8930"/>
                    </a:moveTo>
                    <a:cubicBezTo>
                      <a:pt x="1511" y="8987"/>
                      <a:pt x="1511" y="8987"/>
                      <a:pt x="1511" y="8987"/>
                    </a:cubicBezTo>
                    <a:cubicBezTo>
                      <a:pt x="1546" y="9062"/>
                      <a:pt x="1546" y="9062"/>
                      <a:pt x="1546" y="9062"/>
                    </a:cubicBezTo>
                    <a:cubicBezTo>
                      <a:pt x="1641" y="9015"/>
                      <a:pt x="1641" y="9015"/>
                      <a:pt x="1641" y="9015"/>
                    </a:cubicBezTo>
                    <a:cubicBezTo>
                      <a:pt x="1629" y="8989"/>
                      <a:pt x="1617" y="8962"/>
                      <a:pt x="1604" y="8935"/>
                    </a:cubicBezTo>
                    <a:cubicBezTo>
                      <a:pt x="1604" y="8933"/>
                      <a:pt x="1603" y="8932"/>
                      <a:pt x="1602" y="8930"/>
                    </a:cubicBezTo>
                    <a:close/>
                    <a:moveTo>
                      <a:pt x="1497" y="8996"/>
                    </a:moveTo>
                    <a:cubicBezTo>
                      <a:pt x="1390" y="9063"/>
                      <a:pt x="1390" y="9063"/>
                      <a:pt x="1390" y="9063"/>
                    </a:cubicBezTo>
                    <a:cubicBezTo>
                      <a:pt x="1426" y="9139"/>
                      <a:pt x="1426" y="9139"/>
                      <a:pt x="1426" y="9139"/>
                    </a:cubicBezTo>
                    <a:cubicBezTo>
                      <a:pt x="1532" y="9088"/>
                      <a:pt x="1532" y="9088"/>
                      <a:pt x="1532" y="9088"/>
                    </a:cubicBezTo>
                    <a:cubicBezTo>
                      <a:pt x="1532" y="9087"/>
                      <a:pt x="1532" y="9087"/>
                      <a:pt x="1532" y="9087"/>
                    </a:cubicBezTo>
                    <a:cubicBezTo>
                      <a:pt x="1535" y="9086"/>
                      <a:pt x="1535" y="9086"/>
                      <a:pt x="1535" y="9086"/>
                    </a:cubicBezTo>
                    <a:cubicBezTo>
                      <a:pt x="1530" y="9070"/>
                      <a:pt x="1530" y="9070"/>
                      <a:pt x="1530" y="9070"/>
                    </a:cubicBezTo>
                    <a:cubicBezTo>
                      <a:pt x="1531" y="9070"/>
                      <a:pt x="1531" y="9070"/>
                      <a:pt x="1531" y="9070"/>
                    </a:cubicBezTo>
                    <a:lnTo>
                      <a:pt x="1497" y="8996"/>
                    </a:lnTo>
                    <a:close/>
                    <a:moveTo>
                      <a:pt x="1376" y="9071"/>
                    </a:moveTo>
                    <a:cubicBezTo>
                      <a:pt x="1273" y="9136"/>
                      <a:pt x="1273" y="9136"/>
                      <a:pt x="1273" y="9136"/>
                    </a:cubicBezTo>
                    <a:cubicBezTo>
                      <a:pt x="1309" y="9214"/>
                      <a:pt x="1309" y="9214"/>
                      <a:pt x="1309" y="9214"/>
                    </a:cubicBezTo>
                    <a:cubicBezTo>
                      <a:pt x="1418" y="9161"/>
                      <a:pt x="1418" y="9161"/>
                      <a:pt x="1418" y="9161"/>
                    </a:cubicBezTo>
                    <a:lnTo>
                      <a:pt x="1376" y="9071"/>
                    </a:lnTo>
                    <a:close/>
                    <a:moveTo>
                      <a:pt x="1205" y="9299"/>
                    </a:moveTo>
                    <a:cubicBezTo>
                      <a:pt x="1259" y="9411"/>
                      <a:pt x="1259" y="9411"/>
                      <a:pt x="1259" y="9411"/>
                    </a:cubicBezTo>
                    <a:cubicBezTo>
                      <a:pt x="1353" y="9364"/>
                      <a:pt x="1353" y="9364"/>
                      <a:pt x="1353" y="9364"/>
                    </a:cubicBezTo>
                    <a:cubicBezTo>
                      <a:pt x="1352" y="9362"/>
                      <a:pt x="1352" y="9362"/>
                      <a:pt x="1352" y="9362"/>
                    </a:cubicBezTo>
                    <a:cubicBezTo>
                      <a:pt x="1346" y="9350"/>
                      <a:pt x="1346" y="9350"/>
                      <a:pt x="1346" y="9350"/>
                    </a:cubicBezTo>
                    <a:cubicBezTo>
                      <a:pt x="1351" y="9348"/>
                      <a:pt x="1351" y="9348"/>
                      <a:pt x="1351" y="9348"/>
                    </a:cubicBezTo>
                    <a:cubicBezTo>
                      <a:pt x="1340" y="9322"/>
                      <a:pt x="1340" y="9322"/>
                      <a:pt x="1340" y="9322"/>
                    </a:cubicBezTo>
                    <a:cubicBezTo>
                      <a:pt x="1300" y="9251"/>
                      <a:pt x="1300" y="9251"/>
                      <a:pt x="1300" y="9251"/>
                    </a:cubicBezTo>
                    <a:lnTo>
                      <a:pt x="1205" y="9299"/>
                    </a:lnTo>
                    <a:close/>
                    <a:moveTo>
                      <a:pt x="1366" y="9340"/>
                    </a:moveTo>
                    <a:cubicBezTo>
                      <a:pt x="1476" y="9287"/>
                      <a:pt x="1476" y="9287"/>
                      <a:pt x="1476" y="9287"/>
                    </a:cubicBezTo>
                    <a:cubicBezTo>
                      <a:pt x="1424" y="9174"/>
                      <a:pt x="1424" y="9174"/>
                      <a:pt x="1424" y="9174"/>
                    </a:cubicBezTo>
                    <a:cubicBezTo>
                      <a:pt x="1315" y="9227"/>
                      <a:pt x="1315" y="9227"/>
                      <a:pt x="1315" y="9227"/>
                    </a:cubicBezTo>
                    <a:lnTo>
                      <a:pt x="1366" y="9340"/>
                    </a:lnTo>
                    <a:close/>
                    <a:moveTo>
                      <a:pt x="1483" y="9262"/>
                    </a:moveTo>
                    <a:cubicBezTo>
                      <a:pt x="1484" y="9265"/>
                      <a:pt x="1484" y="9265"/>
                      <a:pt x="1484" y="9265"/>
                    </a:cubicBezTo>
                    <a:cubicBezTo>
                      <a:pt x="1485" y="9264"/>
                      <a:pt x="1485" y="9264"/>
                      <a:pt x="1485" y="9264"/>
                    </a:cubicBezTo>
                    <a:cubicBezTo>
                      <a:pt x="1591" y="9213"/>
                      <a:pt x="1591" y="9213"/>
                      <a:pt x="1591" y="9213"/>
                    </a:cubicBezTo>
                    <a:cubicBezTo>
                      <a:pt x="1589" y="9209"/>
                      <a:pt x="1589" y="9209"/>
                      <a:pt x="1589" y="9209"/>
                    </a:cubicBezTo>
                    <a:cubicBezTo>
                      <a:pt x="1586" y="9197"/>
                      <a:pt x="1586" y="9197"/>
                      <a:pt x="1586" y="9197"/>
                    </a:cubicBezTo>
                    <a:cubicBezTo>
                      <a:pt x="1590" y="9195"/>
                      <a:pt x="1590" y="9195"/>
                      <a:pt x="1590" y="9195"/>
                    </a:cubicBezTo>
                    <a:cubicBezTo>
                      <a:pt x="1576" y="9166"/>
                      <a:pt x="1576" y="9166"/>
                      <a:pt x="1576" y="9166"/>
                    </a:cubicBezTo>
                    <a:cubicBezTo>
                      <a:pt x="1539" y="9100"/>
                      <a:pt x="1539" y="9100"/>
                      <a:pt x="1539" y="9100"/>
                    </a:cubicBezTo>
                    <a:cubicBezTo>
                      <a:pt x="1435" y="9150"/>
                      <a:pt x="1435" y="9150"/>
                      <a:pt x="1435" y="9150"/>
                    </a:cubicBezTo>
                    <a:cubicBezTo>
                      <a:pt x="1436" y="9155"/>
                      <a:pt x="1436" y="9155"/>
                      <a:pt x="1436" y="9155"/>
                    </a:cubicBezTo>
                    <a:cubicBezTo>
                      <a:pt x="1439" y="9166"/>
                      <a:pt x="1439" y="9166"/>
                      <a:pt x="1439" y="9166"/>
                    </a:cubicBezTo>
                    <a:cubicBezTo>
                      <a:pt x="1438" y="9167"/>
                      <a:pt x="1438" y="9167"/>
                      <a:pt x="1438" y="9167"/>
                    </a:cubicBezTo>
                    <a:lnTo>
                      <a:pt x="1483" y="9262"/>
                    </a:lnTo>
                    <a:close/>
                    <a:moveTo>
                      <a:pt x="1604" y="9188"/>
                    </a:moveTo>
                    <a:cubicBezTo>
                      <a:pt x="1698" y="9141"/>
                      <a:pt x="1698" y="9141"/>
                      <a:pt x="1698" y="9141"/>
                    </a:cubicBezTo>
                    <a:cubicBezTo>
                      <a:pt x="1697" y="9139"/>
                      <a:pt x="1697" y="9139"/>
                      <a:pt x="1697" y="9139"/>
                    </a:cubicBezTo>
                    <a:cubicBezTo>
                      <a:pt x="1690" y="9126"/>
                      <a:pt x="1690" y="9126"/>
                      <a:pt x="1690" y="9126"/>
                    </a:cubicBezTo>
                    <a:cubicBezTo>
                      <a:pt x="1693" y="9125"/>
                      <a:pt x="1693" y="9125"/>
                      <a:pt x="1693" y="9125"/>
                    </a:cubicBezTo>
                    <a:cubicBezTo>
                      <a:pt x="1679" y="9096"/>
                      <a:pt x="1664" y="9063"/>
                      <a:pt x="1647" y="9027"/>
                    </a:cubicBezTo>
                    <a:cubicBezTo>
                      <a:pt x="1552" y="9075"/>
                      <a:pt x="1552" y="9075"/>
                      <a:pt x="1552" y="9075"/>
                    </a:cubicBezTo>
                    <a:lnTo>
                      <a:pt x="1604" y="9188"/>
                    </a:lnTo>
                    <a:close/>
                    <a:moveTo>
                      <a:pt x="1708" y="9118"/>
                    </a:moveTo>
                    <a:cubicBezTo>
                      <a:pt x="1815" y="9067"/>
                      <a:pt x="1815" y="9067"/>
                      <a:pt x="1815" y="9067"/>
                    </a:cubicBezTo>
                    <a:cubicBezTo>
                      <a:pt x="1801" y="9039"/>
                      <a:pt x="1801" y="9039"/>
                      <a:pt x="1801" y="9039"/>
                    </a:cubicBezTo>
                    <a:cubicBezTo>
                      <a:pt x="1777" y="8993"/>
                      <a:pt x="1777" y="8993"/>
                      <a:pt x="1777" y="8993"/>
                    </a:cubicBezTo>
                    <a:cubicBezTo>
                      <a:pt x="1770" y="8996"/>
                      <a:pt x="1770" y="8996"/>
                      <a:pt x="1770" y="8996"/>
                    </a:cubicBezTo>
                    <a:cubicBezTo>
                      <a:pt x="1764" y="8985"/>
                      <a:pt x="1764" y="8985"/>
                      <a:pt x="1764" y="8985"/>
                    </a:cubicBezTo>
                    <a:cubicBezTo>
                      <a:pt x="1749" y="8961"/>
                      <a:pt x="1749" y="8961"/>
                      <a:pt x="1749" y="8961"/>
                    </a:cubicBezTo>
                    <a:cubicBezTo>
                      <a:pt x="1656" y="9005"/>
                      <a:pt x="1656" y="9005"/>
                      <a:pt x="1656" y="9005"/>
                    </a:cubicBezTo>
                    <a:cubicBezTo>
                      <a:pt x="1657" y="9006"/>
                      <a:pt x="1657" y="9006"/>
                      <a:pt x="1657" y="9006"/>
                    </a:cubicBezTo>
                    <a:cubicBezTo>
                      <a:pt x="1664" y="9019"/>
                      <a:pt x="1664" y="9019"/>
                      <a:pt x="1664" y="9019"/>
                    </a:cubicBezTo>
                    <a:cubicBezTo>
                      <a:pt x="1662" y="9020"/>
                      <a:pt x="1662" y="9020"/>
                      <a:pt x="1662" y="9020"/>
                    </a:cubicBezTo>
                    <a:cubicBezTo>
                      <a:pt x="1679" y="9056"/>
                      <a:pt x="1694" y="9089"/>
                      <a:pt x="1708" y="9118"/>
                    </a:cubicBezTo>
                    <a:close/>
                    <a:moveTo>
                      <a:pt x="1830" y="9060"/>
                    </a:moveTo>
                    <a:cubicBezTo>
                      <a:pt x="1833" y="9059"/>
                      <a:pt x="1833" y="9059"/>
                      <a:pt x="1833" y="9059"/>
                    </a:cubicBezTo>
                    <a:cubicBezTo>
                      <a:pt x="1840" y="9070"/>
                      <a:pt x="1840" y="9070"/>
                      <a:pt x="1840" y="9070"/>
                    </a:cubicBezTo>
                    <a:cubicBezTo>
                      <a:pt x="1854" y="9094"/>
                      <a:pt x="1854" y="9094"/>
                      <a:pt x="1854" y="9094"/>
                    </a:cubicBezTo>
                    <a:cubicBezTo>
                      <a:pt x="1954" y="9045"/>
                      <a:pt x="1954" y="9045"/>
                      <a:pt x="1954" y="9045"/>
                    </a:cubicBezTo>
                    <a:cubicBezTo>
                      <a:pt x="1953" y="9042"/>
                      <a:pt x="1951" y="9039"/>
                      <a:pt x="1949" y="9035"/>
                    </a:cubicBezTo>
                    <a:cubicBezTo>
                      <a:pt x="1947" y="9030"/>
                      <a:pt x="1947" y="9030"/>
                      <a:pt x="1947" y="9030"/>
                    </a:cubicBezTo>
                    <a:cubicBezTo>
                      <a:pt x="1947" y="9030"/>
                      <a:pt x="1947" y="9030"/>
                      <a:pt x="1947" y="9030"/>
                    </a:cubicBezTo>
                    <a:cubicBezTo>
                      <a:pt x="1934" y="9002"/>
                      <a:pt x="1917" y="8967"/>
                      <a:pt x="1901" y="8933"/>
                    </a:cubicBezTo>
                    <a:cubicBezTo>
                      <a:pt x="1794" y="8985"/>
                      <a:pt x="1794" y="8985"/>
                      <a:pt x="1794" y="8985"/>
                    </a:cubicBezTo>
                    <a:lnTo>
                      <a:pt x="1830" y="9060"/>
                    </a:lnTo>
                    <a:close/>
                    <a:moveTo>
                      <a:pt x="1962" y="9022"/>
                    </a:moveTo>
                    <a:cubicBezTo>
                      <a:pt x="2055" y="8974"/>
                      <a:pt x="2055" y="8974"/>
                      <a:pt x="2055" y="8974"/>
                    </a:cubicBezTo>
                    <a:cubicBezTo>
                      <a:pt x="2055" y="8974"/>
                      <a:pt x="2055" y="8974"/>
                      <a:pt x="2055" y="8974"/>
                    </a:cubicBezTo>
                    <a:cubicBezTo>
                      <a:pt x="2051" y="8962"/>
                      <a:pt x="2051" y="8962"/>
                      <a:pt x="2051" y="8962"/>
                    </a:cubicBezTo>
                    <a:cubicBezTo>
                      <a:pt x="2053" y="8961"/>
                      <a:pt x="2053" y="8961"/>
                      <a:pt x="2053" y="8961"/>
                    </a:cubicBezTo>
                    <a:cubicBezTo>
                      <a:pt x="2021" y="8895"/>
                      <a:pt x="2021" y="8895"/>
                      <a:pt x="2021" y="8895"/>
                    </a:cubicBezTo>
                    <a:cubicBezTo>
                      <a:pt x="2002" y="8861"/>
                      <a:pt x="2002" y="8861"/>
                      <a:pt x="2002" y="8861"/>
                    </a:cubicBezTo>
                    <a:cubicBezTo>
                      <a:pt x="1912" y="8908"/>
                      <a:pt x="1912" y="8908"/>
                      <a:pt x="1912" y="8908"/>
                    </a:cubicBezTo>
                    <a:cubicBezTo>
                      <a:pt x="1913" y="8911"/>
                      <a:pt x="1913" y="8911"/>
                      <a:pt x="1913" y="8911"/>
                    </a:cubicBezTo>
                    <a:cubicBezTo>
                      <a:pt x="1920" y="8924"/>
                      <a:pt x="1920" y="8924"/>
                      <a:pt x="1920" y="8924"/>
                    </a:cubicBezTo>
                    <a:cubicBezTo>
                      <a:pt x="1915" y="8926"/>
                      <a:pt x="1915" y="8926"/>
                      <a:pt x="1915" y="8926"/>
                    </a:cubicBezTo>
                    <a:cubicBezTo>
                      <a:pt x="1928" y="8953"/>
                      <a:pt x="1941" y="8979"/>
                      <a:pt x="1952" y="9003"/>
                    </a:cubicBezTo>
                    <a:lnTo>
                      <a:pt x="1962" y="9022"/>
                    </a:lnTo>
                    <a:close/>
                    <a:moveTo>
                      <a:pt x="2068" y="8953"/>
                    </a:moveTo>
                    <a:cubicBezTo>
                      <a:pt x="2148" y="8913"/>
                      <a:pt x="2148" y="8913"/>
                      <a:pt x="2148" y="8913"/>
                    </a:cubicBezTo>
                    <a:cubicBezTo>
                      <a:pt x="2109" y="8829"/>
                      <a:pt x="2109" y="8829"/>
                      <a:pt x="2109" y="8829"/>
                    </a:cubicBezTo>
                    <a:cubicBezTo>
                      <a:pt x="2094" y="8801"/>
                      <a:pt x="2094" y="8801"/>
                      <a:pt x="2094" y="8801"/>
                    </a:cubicBezTo>
                    <a:cubicBezTo>
                      <a:pt x="2014" y="8841"/>
                      <a:pt x="2014" y="8841"/>
                      <a:pt x="2014" y="8841"/>
                    </a:cubicBezTo>
                    <a:lnTo>
                      <a:pt x="2068" y="8953"/>
                    </a:lnTo>
                    <a:close/>
                    <a:moveTo>
                      <a:pt x="2149" y="8874"/>
                    </a:moveTo>
                    <a:cubicBezTo>
                      <a:pt x="2158" y="8868"/>
                      <a:pt x="2178" y="8856"/>
                      <a:pt x="2208" y="8838"/>
                    </a:cubicBezTo>
                    <a:cubicBezTo>
                      <a:pt x="2304" y="8781"/>
                      <a:pt x="2481" y="8680"/>
                      <a:pt x="2506" y="8666"/>
                    </a:cubicBezTo>
                    <a:cubicBezTo>
                      <a:pt x="2388" y="8422"/>
                      <a:pt x="2388" y="8422"/>
                      <a:pt x="2388" y="8422"/>
                    </a:cubicBezTo>
                    <a:cubicBezTo>
                      <a:pt x="2388" y="8421"/>
                      <a:pt x="2387" y="8421"/>
                      <a:pt x="2387" y="8421"/>
                    </a:cubicBezTo>
                    <a:cubicBezTo>
                      <a:pt x="2382" y="8424"/>
                      <a:pt x="2372" y="8429"/>
                      <a:pt x="2359" y="8435"/>
                    </a:cubicBezTo>
                    <a:cubicBezTo>
                      <a:pt x="2407" y="8536"/>
                      <a:pt x="2407" y="8536"/>
                      <a:pt x="2407" y="8536"/>
                    </a:cubicBezTo>
                    <a:cubicBezTo>
                      <a:pt x="2291" y="8590"/>
                      <a:pt x="2291" y="8590"/>
                      <a:pt x="2291" y="8590"/>
                    </a:cubicBezTo>
                    <a:cubicBezTo>
                      <a:pt x="2298" y="8619"/>
                      <a:pt x="2298" y="8619"/>
                      <a:pt x="2298" y="8619"/>
                    </a:cubicBezTo>
                    <a:cubicBezTo>
                      <a:pt x="2283" y="8629"/>
                      <a:pt x="2283" y="8629"/>
                      <a:pt x="2283" y="8629"/>
                    </a:cubicBezTo>
                    <a:cubicBezTo>
                      <a:pt x="2309" y="8677"/>
                      <a:pt x="2309" y="8677"/>
                      <a:pt x="2309" y="8677"/>
                    </a:cubicBezTo>
                    <a:cubicBezTo>
                      <a:pt x="2279" y="8696"/>
                      <a:pt x="2279" y="8696"/>
                      <a:pt x="2279" y="8696"/>
                    </a:cubicBezTo>
                    <a:cubicBezTo>
                      <a:pt x="2263" y="8661"/>
                      <a:pt x="2263" y="8661"/>
                      <a:pt x="2263" y="8661"/>
                    </a:cubicBezTo>
                    <a:cubicBezTo>
                      <a:pt x="2179" y="8700"/>
                      <a:pt x="2179" y="8700"/>
                      <a:pt x="2179" y="8700"/>
                    </a:cubicBezTo>
                    <a:cubicBezTo>
                      <a:pt x="2156" y="8656"/>
                      <a:pt x="2156" y="8656"/>
                      <a:pt x="2156" y="8656"/>
                    </a:cubicBezTo>
                    <a:cubicBezTo>
                      <a:pt x="2133" y="8665"/>
                      <a:pt x="2133" y="8665"/>
                      <a:pt x="2133" y="8665"/>
                    </a:cubicBezTo>
                    <a:cubicBezTo>
                      <a:pt x="2084" y="8568"/>
                      <a:pt x="2084" y="8568"/>
                      <a:pt x="2084" y="8568"/>
                    </a:cubicBezTo>
                    <a:cubicBezTo>
                      <a:pt x="2069" y="8575"/>
                      <a:pt x="2055" y="8582"/>
                      <a:pt x="2043" y="8588"/>
                    </a:cubicBezTo>
                    <a:cubicBezTo>
                      <a:pt x="2034" y="8592"/>
                      <a:pt x="2027" y="8596"/>
                      <a:pt x="2021" y="8599"/>
                    </a:cubicBezTo>
                    <a:cubicBezTo>
                      <a:pt x="2140" y="8857"/>
                      <a:pt x="2140" y="8857"/>
                      <a:pt x="2140" y="8857"/>
                    </a:cubicBezTo>
                    <a:lnTo>
                      <a:pt x="2149" y="8874"/>
                    </a:lnTo>
                    <a:close/>
                    <a:moveTo>
                      <a:pt x="2274" y="8582"/>
                    </a:moveTo>
                    <a:cubicBezTo>
                      <a:pt x="2285" y="8578"/>
                      <a:pt x="2285" y="8578"/>
                      <a:pt x="2285" y="8578"/>
                    </a:cubicBezTo>
                    <a:cubicBezTo>
                      <a:pt x="2389" y="8529"/>
                      <a:pt x="2389" y="8529"/>
                      <a:pt x="2389" y="8529"/>
                    </a:cubicBezTo>
                    <a:cubicBezTo>
                      <a:pt x="2348" y="8443"/>
                      <a:pt x="2348" y="8443"/>
                      <a:pt x="2348" y="8443"/>
                    </a:cubicBezTo>
                    <a:cubicBezTo>
                      <a:pt x="2098" y="8565"/>
                      <a:pt x="2098" y="8565"/>
                      <a:pt x="2098" y="8565"/>
                    </a:cubicBezTo>
                    <a:cubicBezTo>
                      <a:pt x="2139" y="8647"/>
                      <a:pt x="2139" y="8647"/>
                      <a:pt x="2139" y="8647"/>
                    </a:cubicBezTo>
                    <a:cubicBezTo>
                      <a:pt x="2151" y="8643"/>
                      <a:pt x="2151" y="8643"/>
                      <a:pt x="2151" y="8643"/>
                    </a:cubicBezTo>
                    <a:cubicBezTo>
                      <a:pt x="2163" y="8638"/>
                      <a:pt x="2163" y="8638"/>
                      <a:pt x="2163" y="8638"/>
                    </a:cubicBezTo>
                    <a:cubicBezTo>
                      <a:pt x="2169" y="8649"/>
                      <a:pt x="2169" y="8649"/>
                      <a:pt x="2169" y="8649"/>
                    </a:cubicBezTo>
                    <a:cubicBezTo>
                      <a:pt x="2185" y="8682"/>
                      <a:pt x="2185" y="8682"/>
                      <a:pt x="2185" y="8682"/>
                    </a:cubicBezTo>
                    <a:cubicBezTo>
                      <a:pt x="2257" y="8648"/>
                      <a:pt x="2257" y="8648"/>
                      <a:pt x="2257" y="8648"/>
                    </a:cubicBezTo>
                    <a:cubicBezTo>
                      <a:pt x="2270" y="8642"/>
                      <a:pt x="2270" y="8642"/>
                      <a:pt x="2270" y="8642"/>
                    </a:cubicBezTo>
                    <a:cubicBezTo>
                      <a:pt x="2275" y="8655"/>
                      <a:pt x="2275" y="8655"/>
                      <a:pt x="2275" y="8655"/>
                    </a:cubicBezTo>
                    <a:cubicBezTo>
                      <a:pt x="2285" y="8676"/>
                      <a:pt x="2285" y="8676"/>
                      <a:pt x="2285" y="8676"/>
                    </a:cubicBezTo>
                    <a:cubicBezTo>
                      <a:pt x="2291" y="8672"/>
                      <a:pt x="2291" y="8672"/>
                      <a:pt x="2291" y="8672"/>
                    </a:cubicBezTo>
                    <a:cubicBezTo>
                      <a:pt x="2271" y="8636"/>
                      <a:pt x="2271" y="8636"/>
                      <a:pt x="2271" y="8636"/>
                    </a:cubicBezTo>
                    <a:cubicBezTo>
                      <a:pt x="2265" y="8625"/>
                      <a:pt x="2265" y="8625"/>
                      <a:pt x="2265" y="8625"/>
                    </a:cubicBezTo>
                    <a:cubicBezTo>
                      <a:pt x="2275" y="8618"/>
                      <a:pt x="2275" y="8618"/>
                      <a:pt x="2275" y="8618"/>
                    </a:cubicBezTo>
                    <a:cubicBezTo>
                      <a:pt x="2282" y="8613"/>
                      <a:pt x="2282" y="8613"/>
                      <a:pt x="2282" y="8613"/>
                    </a:cubicBezTo>
                    <a:cubicBezTo>
                      <a:pt x="2277" y="8594"/>
                      <a:pt x="2277" y="8594"/>
                      <a:pt x="2277" y="8594"/>
                    </a:cubicBezTo>
                    <a:lnTo>
                      <a:pt x="2274" y="8582"/>
                    </a:lnTo>
                    <a:close/>
                    <a:moveTo>
                      <a:pt x="2381" y="8405"/>
                    </a:moveTo>
                    <a:cubicBezTo>
                      <a:pt x="2249" y="8132"/>
                      <a:pt x="2249" y="8132"/>
                      <a:pt x="2249" y="8132"/>
                    </a:cubicBezTo>
                    <a:cubicBezTo>
                      <a:pt x="2003" y="8299"/>
                      <a:pt x="2003" y="8299"/>
                      <a:pt x="2003" y="8299"/>
                    </a:cubicBezTo>
                    <a:cubicBezTo>
                      <a:pt x="1887" y="8308"/>
                      <a:pt x="1887" y="8308"/>
                      <a:pt x="1887" y="8308"/>
                    </a:cubicBezTo>
                    <a:cubicBezTo>
                      <a:pt x="2014" y="8584"/>
                      <a:pt x="2014" y="8584"/>
                      <a:pt x="2014" y="8584"/>
                    </a:cubicBezTo>
                    <a:cubicBezTo>
                      <a:pt x="2026" y="8578"/>
                      <a:pt x="2043" y="8569"/>
                      <a:pt x="2067" y="8558"/>
                    </a:cubicBezTo>
                    <a:cubicBezTo>
                      <a:pt x="2121" y="8532"/>
                      <a:pt x="2199" y="8494"/>
                      <a:pt x="2265" y="8463"/>
                    </a:cubicBezTo>
                    <a:cubicBezTo>
                      <a:pt x="2297" y="8447"/>
                      <a:pt x="2327" y="8433"/>
                      <a:pt x="2348" y="8423"/>
                    </a:cubicBezTo>
                    <a:cubicBezTo>
                      <a:pt x="2358" y="8418"/>
                      <a:pt x="2367" y="8413"/>
                      <a:pt x="2372" y="8410"/>
                    </a:cubicBezTo>
                    <a:cubicBezTo>
                      <a:pt x="2375" y="8409"/>
                      <a:pt x="2377" y="8408"/>
                      <a:pt x="2379" y="8407"/>
                    </a:cubicBezTo>
                    <a:cubicBezTo>
                      <a:pt x="2379" y="8406"/>
                      <a:pt x="2380" y="8406"/>
                      <a:pt x="2381" y="8405"/>
                    </a:cubicBezTo>
                    <a:close/>
                    <a:moveTo>
                      <a:pt x="2458" y="7940"/>
                    </a:moveTo>
                    <a:cubicBezTo>
                      <a:pt x="2663" y="7478"/>
                      <a:pt x="2663" y="7478"/>
                      <a:pt x="2663" y="7478"/>
                    </a:cubicBezTo>
                    <a:cubicBezTo>
                      <a:pt x="2558" y="7436"/>
                      <a:pt x="2479" y="7372"/>
                      <a:pt x="2418" y="7330"/>
                    </a:cubicBezTo>
                    <a:cubicBezTo>
                      <a:pt x="2413" y="7326"/>
                      <a:pt x="2408" y="7322"/>
                      <a:pt x="2402" y="7318"/>
                    </a:cubicBezTo>
                    <a:cubicBezTo>
                      <a:pt x="2396" y="7332"/>
                      <a:pt x="2388" y="7352"/>
                      <a:pt x="2379" y="7376"/>
                    </a:cubicBezTo>
                    <a:cubicBezTo>
                      <a:pt x="2329" y="7506"/>
                      <a:pt x="2241" y="7752"/>
                      <a:pt x="2241" y="7752"/>
                    </a:cubicBezTo>
                    <a:cubicBezTo>
                      <a:pt x="2240" y="7755"/>
                      <a:pt x="2240" y="7755"/>
                      <a:pt x="2240" y="7755"/>
                    </a:cubicBezTo>
                    <a:cubicBezTo>
                      <a:pt x="2237" y="7756"/>
                      <a:pt x="2237" y="7756"/>
                      <a:pt x="2237" y="7756"/>
                    </a:cubicBezTo>
                    <a:cubicBezTo>
                      <a:pt x="2237" y="7756"/>
                      <a:pt x="2157" y="7798"/>
                      <a:pt x="2077" y="7840"/>
                    </a:cubicBezTo>
                    <a:cubicBezTo>
                      <a:pt x="2036" y="7861"/>
                      <a:pt x="1994" y="7884"/>
                      <a:pt x="1963" y="7900"/>
                    </a:cubicBezTo>
                    <a:cubicBezTo>
                      <a:pt x="1948" y="7908"/>
                      <a:pt x="1935" y="7914"/>
                      <a:pt x="1925" y="7919"/>
                    </a:cubicBezTo>
                    <a:cubicBezTo>
                      <a:pt x="1884" y="8058"/>
                      <a:pt x="1884" y="8058"/>
                      <a:pt x="1884" y="8058"/>
                    </a:cubicBezTo>
                    <a:cubicBezTo>
                      <a:pt x="2118" y="8168"/>
                      <a:pt x="2118" y="8168"/>
                      <a:pt x="2118" y="8168"/>
                    </a:cubicBezTo>
                    <a:lnTo>
                      <a:pt x="2458" y="7940"/>
                    </a:lnTo>
                    <a:close/>
                    <a:moveTo>
                      <a:pt x="2973" y="7764"/>
                    </a:moveTo>
                    <a:cubicBezTo>
                      <a:pt x="2973" y="7764"/>
                      <a:pt x="2973" y="7764"/>
                      <a:pt x="2973" y="7764"/>
                    </a:cubicBezTo>
                    <a:cubicBezTo>
                      <a:pt x="2978" y="7769"/>
                      <a:pt x="2978" y="7769"/>
                      <a:pt x="2978" y="7769"/>
                    </a:cubicBezTo>
                    <a:cubicBezTo>
                      <a:pt x="2978" y="7769"/>
                      <a:pt x="3005" y="7795"/>
                      <a:pt x="3044" y="7834"/>
                    </a:cubicBezTo>
                    <a:cubicBezTo>
                      <a:pt x="3418" y="7543"/>
                      <a:pt x="3418" y="7543"/>
                      <a:pt x="3418" y="7543"/>
                    </a:cubicBezTo>
                    <a:cubicBezTo>
                      <a:pt x="3247" y="7342"/>
                      <a:pt x="3247" y="7342"/>
                      <a:pt x="3247" y="7342"/>
                    </a:cubicBezTo>
                    <a:cubicBezTo>
                      <a:pt x="3246" y="7342"/>
                      <a:pt x="3245" y="7343"/>
                      <a:pt x="3244" y="7343"/>
                    </a:cubicBezTo>
                    <a:cubicBezTo>
                      <a:pt x="3175" y="7390"/>
                      <a:pt x="3044" y="7498"/>
                      <a:pt x="2889" y="7515"/>
                    </a:cubicBezTo>
                    <a:lnTo>
                      <a:pt x="2973" y="7764"/>
                    </a:lnTo>
                    <a:close/>
                    <a:moveTo>
                      <a:pt x="3429" y="7533"/>
                    </a:moveTo>
                    <a:cubicBezTo>
                      <a:pt x="3429" y="7534"/>
                      <a:pt x="3429" y="7534"/>
                      <a:pt x="3429" y="7534"/>
                    </a:cubicBezTo>
                    <a:cubicBezTo>
                      <a:pt x="3430" y="7534"/>
                      <a:pt x="3430" y="7534"/>
                      <a:pt x="3430" y="7534"/>
                    </a:cubicBezTo>
                    <a:cubicBezTo>
                      <a:pt x="3511" y="7553"/>
                      <a:pt x="3511" y="7553"/>
                      <a:pt x="3511" y="7553"/>
                    </a:cubicBezTo>
                    <a:cubicBezTo>
                      <a:pt x="3543" y="7428"/>
                      <a:pt x="3543" y="7428"/>
                      <a:pt x="3543" y="7428"/>
                    </a:cubicBezTo>
                    <a:cubicBezTo>
                      <a:pt x="3635" y="7382"/>
                      <a:pt x="3635" y="7382"/>
                      <a:pt x="3635" y="7382"/>
                    </a:cubicBezTo>
                    <a:cubicBezTo>
                      <a:pt x="3635" y="7382"/>
                      <a:pt x="3635" y="7382"/>
                      <a:pt x="3635" y="7382"/>
                    </a:cubicBezTo>
                    <a:cubicBezTo>
                      <a:pt x="3636" y="7382"/>
                      <a:pt x="3636" y="7382"/>
                      <a:pt x="3636" y="7382"/>
                    </a:cubicBezTo>
                    <a:cubicBezTo>
                      <a:pt x="3631" y="7375"/>
                      <a:pt x="3614" y="7352"/>
                      <a:pt x="3569" y="7304"/>
                    </a:cubicBezTo>
                    <a:cubicBezTo>
                      <a:pt x="3557" y="7292"/>
                      <a:pt x="3545" y="7280"/>
                      <a:pt x="3533" y="7267"/>
                    </a:cubicBezTo>
                    <a:cubicBezTo>
                      <a:pt x="3513" y="7270"/>
                      <a:pt x="3470" y="7276"/>
                      <a:pt x="3421" y="7285"/>
                    </a:cubicBezTo>
                    <a:cubicBezTo>
                      <a:pt x="3364" y="7297"/>
                      <a:pt x="3297" y="7315"/>
                      <a:pt x="3260" y="7334"/>
                    </a:cubicBezTo>
                    <a:lnTo>
                      <a:pt x="3429" y="7533"/>
                    </a:lnTo>
                    <a:close/>
                    <a:moveTo>
                      <a:pt x="3526" y="7562"/>
                    </a:moveTo>
                    <a:cubicBezTo>
                      <a:pt x="3584" y="7717"/>
                      <a:pt x="3584" y="7717"/>
                      <a:pt x="3584" y="7717"/>
                    </a:cubicBezTo>
                    <a:cubicBezTo>
                      <a:pt x="3854" y="7662"/>
                      <a:pt x="3854" y="7662"/>
                      <a:pt x="3854" y="7662"/>
                    </a:cubicBezTo>
                    <a:cubicBezTo>
                      <a:pt x="3853" y="7654"/>
                      <a:pt x="3852" y="7645"/>
                      <a:pt x="3850" y="7638"/>
                    </a:cubicBezTo>
                    <a:cubicBezTo>
                      <a:pt x="3849" y="7633"/>
                      <a:pt x="3848" y="7629"/>
                      <a:pt x="3847" y="7627"/>
                    </a:cubicBezTo>
                    <a:cubicBezTo>
                      <a:pt x="3647" y="7395"/>
                      <a:pt x="3647" y="7395"/>
                      <a:pt x="3647" y="7395"/>
                    </a:cubicBezTo>
                    <a:cubicBezTo>
                      <a:pt x="3557" y="7439"/>
                      <a:pt x="3557" y="7439"/>
                      <a:pt x="3557" y="7439"/>
                    </a:cubicBezTo>
                    <a:lnTo>
                      <a:pt x="3526" y="7562"/>
                    </a:lnTo>
                    <a:close/>
                    <a:moveTo>
                      <a:pt x="4098" y="7414"/>
                    </a:moveTo>
                    <a:cubicBezTo>
                      <a:pt x="4149" y="7461"/>
                      <a:pt x="4191" y="7501"/>
                      <a:pt x="4198" y="7507"/>
                    </a:cubicBezTo>
                    <a:cubicBezTo>
                      <a:pt x="4204" y="7503"/>
                      <a:pt x="4211" y="7500"/>
                      <a:pt x="4219" y="7496"/>
                    </a:cubicBezTo>
                    <a:cubicBezTo>
                      <a:pt x="4261" y="7475"/>
                      <a:pt x="4311" y="7446"/>
                      <a:pt x="4339" y="7419"/>
                    </a:cubicBezTo>
                    <a:cubicBezTo>
                      <a:pt x="4364" y="7396"/>
                      <a:pt x="4398" y="7337"/>
                      <a:pt x="4427" y="7255"/>
                    </a:cubicBezTo>
                    <a:cubicBezTo>
                      <a:pt x="4441" y="7216"/>
                      <a:pt x="4454" y="7171"/>
                      <a:pt x="4465" y="7122"/>
                    </a:cubicBezTo>
                    <a:cubicBezTo>
                      <a:pt x="4267" y="7108"/>
                      <a:pt x="4267" y="7108"/>
                      <a:pt x="4267" y="7108"/>
                    </a:cubicBezTo>
                    <a:cubicBezTo>
                      <a:pt x="4183" y="7357"/>
                      <a:pt x="4183" y="7357"/>
                      <a:pt x="4183" y="7357"/>
                    </a:cubicBezTo>
                    <a:cubicBezTo>
                      <a:pt x="4181" y="7358"/>
                      <a:pt x="4181" y="7358"/>
                      <a:pt x="4181" y="7358"/>
                    </a:cubicBezTo>
                    <a:cubicBezTo>
                      <a:pt x="4181" y="7358"/>
                      <a:pt x="4159" y="7374"/>
                      <a:pt x="4136" y="7389"/>
                    </a:cubicBezTo>
                    <a:cubicBezTo>
                      <a:pt x="4125" y="7396"/>
                      <a:pt x="4113" y="7404"/>
                      <a:pt x="4104" y="7410"/>
                    </a:cubicBezTo>
                    <a:cubicBezTo>
                      <a:pt x="4102" y="7412"/>
                      <a:pt x="4100" y="7413"/>
                      <a:pt x="4098" y="7414"/>
                    </a:cubicBezTo>
                    <a:close/>
                    <a:moveTo>
                      <a:pt x="4139" y="7612"/>
                    </a:moveTo>
                    <a:cubicBezTo>
                      <a:pt x="4186" y="7822"/>
                      <a:pt x="4186" y="7822"/>
                      <a:pt x="4186" y="7822"/>
                    </a:cubicBezTo>
                    <a:cubicBezTo>
                      <a:pt x="4291" y="7807"/>
                      <a:pt x="4291" y="7807"/>
                      <a:pt x="4291" y="7807"/>
                    </a:cubicBezTo>
                    <a:cubicBezTo>
                      <a:pt x="4240" y="7561"/>
                      <a:pt x="4240" y="7561"/>
                      <a:pt x="4240" y="7561"/>
                    </a:cubicBezTo>
                    <a:cubicBezTo>
                      <a:pt x="4224" y="7569"/>
                      <a:pt x="4211" y="7576"/>
                      <a:pt x="4199" y="7581"/>
                    </a:cubicBezTo>
                    <a:lnTo>
                      <a:pt x="4139" y="7612"/>
                    </a:lnTo>
                    <a:close/>
                    <a:moveTo>
                      <a:pt x="4172" y="7837"/>
                    </a:moveTo>
                    <a:cubicBezTo>
                      <a:pt x="4108" y="7846"/>
                      <a:pt x="4108" y="7846"/>
                      <a:pt x="4108" y="7846"/>
                    </a:cubicBezTo>
                    <a:cubicBezTo>
                      <a:pt x="4128" y="7975"/>
                      <a:pt x="4128" y="7975"/>
                      <a:pt x="4128" y="7975"/>
                    </a:cubicBezTo>
                    <a:cubicBezTo>
                      <a:pt x="4201" y="7965"/>
                      <a:pt x="4201" y="7965"/>
                      <a:pt x="4201" y="7965"/>
                    </a:cubicBezTo>
                    <a:lnTo>
                      <a:pt x="4172" y="7837"/>
                    </a:lnTo>
                    <a:close/>
                    <a:moveTo>
                      <a:pt x="4217" y="7962"/>
                    </a:moveTo>
                    <a:cubicBezTo>
                      <a:pt x="4320" y="7948"/>
                      <a:pt x="4320" y="7948"/>
                      <a:pt x="4320" y="7948"/>
                    </a:cubicBezTo>
                    <a:cubicBezTo>
                      <a:pt x="4293" y="7820"/>
                      <a:pt x="4293" y="7820"/>
                      <a:pt x="4293" y="7820"/>
                    </a:cubicBezTo>
                    <a:cubicBezTo>
                      <a:pt x="4189" y="7835"/>
                      <a:pt x="4189" y="7835"/>
                      <a:pt x="4189" y="7835"/>
                    </a:cubicBezTo>
                    <a:lnTo>
                      <a:pt x="4217" y="7962"/>
                    </a:lnTo>
                    <a:close/>
                    <a:moveTo>
                      <a:pt x="4220" y="7975"/>
                    </a:moveTo>
                    <a:cubicBezTo>
                      <a:pt x="4232" y="8029"/>
                      <a:pt x="4232" y="8029"/>
                      <a:pt x="4232" y="8029"/>
                    </a:cubicBezTo>
                    <a:cubicBezTo>
                      <a:pt x="4266" y="8031"/>
                      <a:pt x="4301" y="8033"/>
                      <a:pt x="4337" y="8034"/>
                    </a:cubicBezTo>
                    <a:cubicBezTo>
                      <a:pt x="4322" y="7961"/>
                      <a:pt x="4322" y="7961"/>
                      <a:pt x="4322" y="7961"/>
                    </a:cubicBezTo>
                    <a:lnTo>
                      <a:pt x="4220" y="7975"/>
                    </a:lnTo>
                    <a:close/>
                    <a:moveTo>
                      <a:pt x="4433" y="7932"/>
                    </a:moveTo>
                    <a:cubicBezTo>
                      <a:pt x="4405" y="7804"/>
                      <a:pt x="4405" y="7804"/>
                      <a:pt x="4405" y="7804"/>
                    </a:cubicBezTo>
                    <a:cubicBezTo>
                      <a:pt x="4310" y="7818"/>
                      <a:pt x="4310" y="7818"/>
                      <a:pt x="4310" y="7818"/>
                    </a:cubicBezTo>
                    <a:cubicBezTo>
                      <a:pt x="4336" y="7946"/>
                      <a:pt x="4336" y="7946"/>
                      <a:pt x="4336" y="7946"/>
                    </a:cubicBezTo>
                    <a:lnTo>
                      <a:pt x="4433" y="7932"/>
                    </a:lnTo>
                    <a:close/>
                    <a:moveTo>
                      <a:pt x="4339" y="7959"/>
                    </a:moveTo>
                    <a:cubicBezTo>
                      <a:pt x="4354" y="8033"/>
                      <a:pt x="4354" y="8033"/>
                      <a:pt x="4354" y="8033"/>
                    </a:cubicBezTo>
                    <a:cubicBezTo>
                      <a:pt x="4377" y="8033"/>
                      <a:pt x="4400" y="8033"/>
                      <a:pt x="4425" y="8031"/>
                    </a:cubicBezTo>
                    <a:cubicBezTo>
                      <a:pt x="4434" y="8030"/>
                      <a:pt x="4444" y="8029"/>
                      <a:pt x="4454" y="8028"/>
                    </a:cubicBezTo>
                    <a:cubicBezTo>
                      <a:pt x="4436" y="7945"/>
                      <a:pt x="4436" y="7945"/>
                      <a:pt x="4436" y="7945"/>
                    </a:cubicBezTo>
                    <a:lnTo>
                      <a:pt x="4339" y="7959"/>
                    </a:lnTo>
                    <a:close/>
                    <a:moveTo>
                      <a:pt x="4806" y="7880"/>
                    </a:moveTo>
                    <a:cubicBezTo>
                      <a:pt x="4800" y="7842"/>
                      <a:pt x="4793" y="7798"/>
                      <a:pt x="4786" y="7753"/>
                    </a:cubicBezTo>
                    <a:cubicBezTo>
                      <a:pt x="4786" y="7752"/>
                      <a:pt x="4786" y="7751"/>
                      <a:pt x="4786" y="7750"/>
                    </a:cubicBezTo>
                    <a:cubicBezTo>
                      <a:pt x="4679" y="7766"/>
                      <a:pt x="4679" y="7766"/>
                      <a:pt x="4679" y="7766"/>
                    </a:cubicBezTo>
                    <a:cubicBezTo>
                      <a:pt x="4700" y="7895"/>
                      <a:pt x="4700" y="7895"/>
                      <a:pt x="4700" y="7895"/>
                    </a:cubicBezTo>
                    <a:lnTo>
                      <a:pt x="4806" y="7880"/>
                    </a:lnTo>
                    <a:close/>
                    <a:moveTo>
                      <a:pt x="4702" y="7908"/>
                    </a:moveTo>
                    <a:cubicBezTo>
                      <a:pt x="4716" y="7990"/>
                      <a:pt x="4716" y="7990"/>
                      <a:pt x="4716" y="7990"/>
                    </a:cubicBezTo>
                    <a:cubicBezTo>
                      <a:pt x="4751" y="7984"/>
                      <a:pt x="4785" y="7977"/>
                      <a:pt x="4819" y="7971"/>
                    </a:cubicBezTo>
                    <a:cubicBezTo>
                      <a:pt x="4817" y="7957"/>
                      <a:pt x="4813" y="7929"/>
                      <a:pt x="4807" y="7893"/>
                    </a:cubicBezTo>
                    <a:lnTo>
                      <a:pt x="4702" y="7908"/>
                    </a:lnTo>
                    <a:close/>
                    <a:moveTo>
                      <a:pt x="4805" y="8129"/>
                    </a:moveTo>
                    <a:cubicBezTo>
                      <a:pt x="4825" y="8128"/>
                      <a:pt x="4845" y="8128"/>
                      <a:pt x="4864" y="8128"/>
                    </a:cubicBezTo>
                    <a:cubicBezTo>
                      <a:pt x="4975" y="8128"/>
                      <a:pt x="5075" y="8132"/>
                      <a:pt x="5155" y="8135"/>
                    </a:cubicBezTo>
                    <a:cubicBezTo>
                      <a:pt x="5403" y="8146"/>
                      <a:pt x="5901" y="8202"/>
                      <a:pt x="6169" y="8202"/>
                    </a:cubicBezTo>
                    <a:cubicBezTo>
                      <a:pt x="6170" y="8202"/>
                      <a:pt x="6170" y="8202"/>
                      <a:pt x="6170" y="8202"/>
                    </a:cubicBezTo>
                    <a:cubicBezTo>
                      <a:pt x="6210" y="8202"/>
                      <a:pt x="6244" y="8201"/>
                      <a:pt x="6270" y="8198"/>
                    </a:cubicBezTo>
                    <a:cubicBezTo>
                      <a:pt x="6283" y="8197"/>
                      <a:pt x="6294" y="8196"/>
                      <a:pt x="6302" y="8194"/>
                    </a:cubicBezTo>
                    <a:cubicBezTo>
                      <a:pt x="6305" y="8193"/>
                      <a:pt x="6309" y="8192"/>
                      <a:pt x="6311" y="8192"/>
                    </a:cubicBezTo>
                    <a:cubicBezTo>
                      <a:pt x="6312" y="8192"/>
                      <a:pt x="6312" y="8191"/>
                      <a:pt x="6313" y="8191"/>
                    </a:cubicBezTo>
                    <a:cubicBezTo>
                      <a:pt x="6313" y="8191"/>
                      <a:pt x="6313" y="8191"/>
                      <a:pt x="6313" y="8191"/>
                    </a:cubicBezTo>
                    <a:cubicBezTo>
                      <a:pt x="6314" y="8191"/>
                      <a:pt x="6314" y="8191"/>
                      <a:pt x="6314" y="8191"/>
                    </a:cubicBezTo>
                    <a:cubicBezTo>
                      <a:pt x="6321" y="8188"/>
                      <a:pt x="6332" y="8178"/>
                      <a:pt x="6344" y="8155"/>
                    </a:cubicBezTo>
                    <a:cubicBezTo>
                      <a:pt x="5955" y="8128"/>
                      <a:pt x="5215" y="8075"/>
                      <a:pt x="5118" y="8068"/>
                    </a:cubicBezTo>
                    <a:cubicBezTo>
                      <a:pt x="5080" y="8075"/>
                      <a:pt x="4950" y="8102"/>
                      <a:pt x="4805" y="8129"/>
                    </a:cubicBezTo>
                    <a:close/>
                    <a:moveTo>
                      <a:pt x="6394" y="8006"/>
                    </a:moveTo>
                    <a:cubicBezTo>
                      <a:pt x="6398" y="7990"/>
                      <a:pt x="6402" y="7974"/>
                      <a:pt x="6407" y="7957"/>
                    </a:cubicBezTo>
                    <a:cubicBezTo>
                      <a:pt x="6414" y="7930"/>
                      <a:pt x="6423" y="7902"/>
                      <a:pt x="6432" y="7873"/>
                    </a:cubicBezTo>
                    <a:cubicBezTo>
                      <a:pt x="6333" y="7819"/>
                      <a:pt x="6333" y="7819"/>
                      <a:pt x="6333" y="7819"/>
                    </a:cubicBezTo>
                    <a:cubicBezTo>
                      <a:pt x="6332" y="7836"/>
                      <a:pt x="6329" y="7870"/>
                      <a:pt x="6325" y="7904"/>
                    </a:cubicBezTo>
                    <a:cubicBezTo>
                      <a:pt x="6322" y="7928"/>
                      <a:pt x="6319" y="7952"/>
                      <a:pt x="6316" y="7970"/>
                    </a:cubicBezTo>
                    <a:cubicBezTo>
                      <a:pt x="6314" y="7979"/>
                      <a:pt x="6313" y="7987"/>
                      <a:pt x="6311" y="7992"/>
                    </a:cubicBezTo>
                    <a:cubicBezTo>
                      <a:pt x="6310" y="7995"/>
                      <a:pt x="6309" y="7998"/>
                      <a:pt x="6308" y="8000"/>
                    </a:cubicBezTo>
                    <a:cubicBezTo>
                      <a:pt x="6338" y="8002"/>
                      <a:pt x="6367" y="8004"/>
                      <a:pt x="6394" y="8006"/>
                    </a:cubicBezTo>
                    <a:close/>
                    <a:moveTo>
                      <a:pt x="6437" y="7860"/>
                    </a:moveTo>
                    <a:cubicBezTo>
                      <a:pt x="6451" y="7820"/>
                      <a:pt x="6470" y="7780"/>
                      <a:pt x="6494" y="7742"/>
                    </a:cubicBezTo>
                    <a:cubicBezTo>
                      <a:pt x="6399" y="7672"/>
                      <a:pt x="6399" y="7672"/>
                      <a:pt x="6399" y="7672"/>
                    </a:cubicBezTo>
                    <a:cubicBezTo>
                      <a:pt x="6385" y="7742"/>
                      <a:pt x="6385" y="7742"/>
                      <a:pt x="6385" y="7742"/>
                    </a:cubicBezTo>
                    <a:cubicBezTo>
                      <a:pt x="6379" y="7740"/>
                      <a:pt x="6379" y="7740"/>
                      <a:pt x="6379" y="7740"/>
                    </a:cubicBezTo>
                    <a:cubicBezTo>
                      <a:pt x="6237" y="7713"/>
                      <a:pt x="6237" y="7713"/>
                      <a:pt x="6237" y="7713"/>
                    </a:cubicBezTo>
                    <a:cubicBezTo>
                      <a:pt x="6251" y="7639"/>
                      <a:pt x="6251" y="7639"/>
                      <a:pt x="6251" y="7639"/>
                    </a:cubicBezTo>
                    <a:cubicBezTo>
                      <a:pt x="6390" y="7665"/>
                      <a:pt x="6390" y="7665"/>
                      <a:pt x="6390" y="7665"/>
                    </a:cubicBezTo>
                    <a:cubicBezTo>
                      <a:pt x="6256" y="7567"/>
                      <a:pt x="6256" y="7567"/>
                      <a:pt x="6256" y="7567"/>
                    </a:cubicBezTo>
                    <a:cubicBezTo>
                      <a:pt x="6201" y="7629"/>
                      <a:pt x="6201" y="7629"/>
                      <a:pt x="6201" y="7629"/>
                    </a:cubicBezTo>
                    <a:cubicBezTo>
                      <a:pt x="6192" y="7727"/>
                      <a:pt x="6192" y="7727"/>
                      <a:pt x="6192" y="7727"/>
                    </a:cubicBezTo>
                    <a:lnTo>
                      <a:pt x="6437" y="7860"/>
                    </a:lnTo>
                    <a:close/>
                    <a:moveTo>
                      <a:pt x="6261" y="7654"/>
                    </a:moveTo>
                    <a:cubicBezTo>
                      <a:pt x="6252" y="7703"/>
                      <a:pt x="6252" y="7703"/>
                      <a:pt x="6252" y="7703"/>
                    </a:cubicBezTo>
                    <a:cubicBezTo>
                      <a:pt x="6375" y="7726"/>
                      <a:pt x="6375" y="7726"/>
                      <a:pt x="6375" y="7726"/>
                    </a:cubicBezTo>
                    <a:cubicBezTo>
                      <a:pt x="6384" y="7678"/>
                      <a:pt x="6384" y="7678"/>
                      <a:pt x="6384" y="7678"/>
                    </a:cubicBezTo>
                    <a:lnTo>
                      <a:pt x="6261" y="7654"/>
                    </a:lnTo>
                    <a:close/>
                    <a:moveTo>
                      <a:pt x="8264" y="6412"/>
                    </a:moveTo>
                    <a:cubicBezTo>
                      <a:pt x="8294" y="6415"/>
                      <a:pt x="8323" y="6419"/>
                      <a:pt x="8351" y="6422"/>
                    </a:cubicBezTo>
                    <a:cubicBezTo>
                      <a:pt x="8363" y="6423"/>
                      <a:pt x="8375" y="6425"/>
                      <a:pt x="8387" y="6426"/>
                    </a:cubicBezTo>
                    <a:cubicBezTo>
                      <a:pt x="8370" y="6065"/>
                      <a:pt x="8270" y="5586"/>
                      <a:pt x="8093" y="5186"/>
                    </a:cubicBezTo>
                    <a:cubicBezTo>
                      <a:pt x="8061" y="5112"/>
                      <a:pt x="8021" y="5041"/>
                      <a:pt x="7977" y="4972"/>
                    </a:cubicBezTo>
                    <a:cubicBezTo>
                      <a:pt x="7826" y="4965"/>
                      <a:pt x="7826" y="4965"/>
                      <a:pt x="7826" y="4965"/>
                    </a:cubicBezTo>
                    <a:cubicBezTo>
                      <a:pt x="7886" y="5053"/>
                      <a:pt x="7940" y="5143"/>
                      <a:pt x="7981" y="5236"/>
                    </a:cubicBezTo>
                    <a:cubicBezTo>
                      <a:pt x="8147" y="5610"/>
                      <a:pt x="8244" y="6070"/>
                      <a:pt x="8264" y="6412"/>
                    </a:cubicBezTo>
                    <a:close/>
                    <a:moveTo>
                      <a:pt x="6164" y="4892"/>
                    </a:moveTo>
                    <a:cubicBezTo>
                      <a:pt x="6049" y="5582"/>
                      <a:pt x="6049" y="5582"/>
                      <a:pt x="6049" y="5582"/>
                    </a:cubicBezTo>
                    <a:cubicBezTo>
                      <a:pt x="7234" y="5708"/>
                      <a:pt x="7234" y="5708"/>
                      <a:pt x="7234" y="5708"/>
                    </a:cubicBezTo>
                    <a:cubicBezTo>
                      <a:pt x="7233" y="5714"/>
                      <a:pt x="7233" y="5714"/>
                      <a:pt x="7233" y="5714"/>
                    </a:cubicBezTo>
                    <a:cubicBezTo>
                      <a:pt x="7233" y="5714"/>
                      <a:pt x="7221" y="5860"/>
                      <a:pt x="7208" y="6005"/>
                    </a:cubicBezTo>
                    <a:cubicBezTo>
                      <a:pt x="7202" y="6078"/>
                      <a:pt x="7195" y="6151"/>
                      <a:pt x="7189" y="6205"/>
                    </a:cubicBezTo>
                    <a:cubicBezTo>
                      <a:pt x="7187" y="6233"/>
                      <a:pt x="7184" y="6256"/>
                      <a:pt x="7182" y="6272"/>
                    </a:cubicBezTo>
                    <a:cubicBezTo>
                      <a:pt x="7181" y="6280"/>
                      <a:pt x="7180" y="6286"/>
                      <a:pt x="7180" y="6290"/>
                    </a:cubicBezTo>
                    <a:cubicBezTo>
                      <a:pt x="7247" y="6298"/>
                      <a:pt x="7556" y="6332"/>
                      <a:pt x="7866" y="6367"/>
                    </a:cubicBezTo>
                    <a:cubicBezTo>
                      <a:pt x="7999" y="6382"/>
                      <a:pt x="8133" y="6397"/>
                      <a:pt x="8247" y="6410"/>
                    </a:cubicBezTo>
                    <a:cubicBezTo>
                      <a:pt x="8228" y="6071"/>
                      <a:pt x="8131" y="5614"/>
                      <a:pt x="7966" y="5243"/>
                    </a:cubicBezTo>
                    <a:cubicBezTo>
                      <a:pt x="7924" y="5147"/>
                      <a:pt x="7868" y="5054"/>
                      <a:pt x="7805" y="4964"/>
                    </a:cubicBezTo>
                    <a:lnTo>
                      <a:pt x="6164" y="4892"/>
                    </a:lnTo>
                    <a:close/>
                    <a:moveTo>
                      <a:pt x="6058" y="5124"/>
                    </a:moveTo>
                    <a:cubicBezTo>
                      <a:pt x="5437" y="5227"/>
                      <a:pt x="5437" y="5227"/>
                      <a:pt x="5437" y="5227"/>
                    </a:cubicBezTo>
                    <a:cubicBezTo>
                      <a:pt x="5386" y="5662"/>
                      <a:pt x="5386" y="5662"/>
                      <a:pt x="5386" y="5662"/>
                    </a:cubicBezTo>
                    <a:cubicBezTo>
                      <a:pt x="5706" y="5702"/>
                      <a:pt x="5706" y="5702"/>
                      <a:pt x="5706" y="5702"/>
                    </a:cubicBezTo>
                    <a:cubicBezTo>
                      <a:pt x="5657" y="5640"/>
                      <a:pt x="5657" y="5640"/>
                      <a:pt x="5657" y="5640"/>
                    </a:cubicBezTo>
                    <a:cubicBezTo>
                      <a:pt x="5790" y="5522"/>
                      <a:pt x="5790" y="5522"/>
                      <a:pt x="5790" y="5522"/>
                    </a:cubicBezTo>
                    <a:cubicBezTo>
                      <a:pt x="5898" y="5652"/>
                      <a:pt x="5898" y="5652"/>
                      <a:pt x="5898" y="5652"/>
                    </a:cubicBezTo>
                    <a:cubicBezTo>
                      <a:pt x="5825" y="5716"/>
                      <a:pt x="5825" y="5716"/>
                      <a:pt x="5825" y="5716"/>
                    </a:cubicBezTo>
                    <a:cubicBezTo>
                      <a:pt x="5957" y="5733"/>
                      <a:pt x="5957" y="5733"/>
                      <a:pt x="5957" y="5733"/>
                    </a:cubicBezTo>
                    <a:lnTo>
                      <a:pt x="6058" y="5124"/>
                    </a:lnTo>
                    <a:close/>
                    <a:moveTo>
                      <a:pt x="5424" y="5215"/>
                    </a:moveTo>
                    <a:cubicBezTo>
                      <a:pt x="5406" y="4671"/>
                      <a:pt x="5406" y="4671"/>
                      <a:pt x="5406" y="4671"/>
                    </a:cubicBezTo>
                    <a:cubicBezTo>
                      <a:pt x="5366" y="4659"/>
                      <a:pt x="5085" y="4570"/>
                      <a:pt x="5041" y="4556"/>
                    </a:cubicBezTo>
                    <a:cubicBezTo>
                      <a:pt x="4899" y="4821"/>
                      <a:pt x="4899" y="4821"/>
                      <a:pt x="4899" y="4821"/>
                    </a:cubicBezTo>
                    <a:cubicBezTo>
                      <a:pt x="4671" y="4994"/>
                      <a:pt x="4671" y="4994"/>
                      <a:pt x="4671" y="4994"/>
                    </a:cubicBezTo>
                    <a:cubicBezTo>
                      <a:pt x="4737" y="5039"/>
                      <a:pt x="4780" y="5104"/>
                      <a:pt x="4806" y="5170"/>
                    </a:cubicBezTo>
                    <a:cubicBezTo>
                      <a:pt x="4825" y="5219"/>
                      <a:pt x="4836" y="5269"/>
                      <a:pt x="4842" y="5316"/>
                    </a:cubicBezTo>
                    <a:lnTo>
                      <a:pt x="5424" y="5215"/>
                    </a:lnTo>
                    <a:close/>
                    <a:moveTo>
                      <a:pt x="5029" y="4550"/>
                    </a:moveTo>
                    <a:cubicBezTo>
                      <a:pt x="5028" y="4550"/>
                      <a:pt x="5028" y="4549"/>
                      <a:pt x="5028" y="4549"/>
                    </a:cubicBezTo>
                    <a:cubicBezTo>
                      <a:pt x="4983" y="4513"/>
                      <a:pt x="4705" y="4266"/>
                      <a:pt x="4659" y="4226"/>
                    </a:cubicBezTo>
                    <a:cubicBezTo>
                      <a:pt x="4341" y="4876"/>
                      <a:pt x="4341" y="4876"/>
                      <a:pt x="4341" y="4876"/>
                    </a:cubicBezTo>
                    <a:cubicBezTo>
                      <a:pt x="4424" y="4900"/>
                      <a:pt x="4505" y="4924"/>
                      <a:pt x="4582" y="4949"/>
                    </a:cubicBezTo>
                    <a:cubicBezTo>
                      <a:pt x="4610" y="4958"/>
                      <a:pt x="4636" y="4971"/>
                      <a:pt x="4659" y="4985"/>
                    </a:cubicBezTo>
                    <a:cubicBezTo>
                      <a:pt x="4888" y="4812"/>
                      <a:pt x="4888" y="4812"/>
                      <a:pt x="4888" y="4812"/>
                    </a:cubicBezTo>
                    <a:lnTo>
                      <a:pt x="5029" y="4550"/>
                    </a:lnTo>
                    <a:close/>
                    <a:moveTo>
                      <a:pt x="4133" y="4487"/>
                    </a:moveTo>
                    <a:cubicBezTo>
                      <a:pt x="4106" y="4611"/>
                      <a:pt x="4059" y="4740"/>
                      <a:pt x="4038" y="4794"/>
                    </a:cubicBezTo>
                    <a:cubicBezTo>
                      <a:pt x="4133" y="4818"/>
                      <a:pt x="4231" y="4845"/>
                      <a:pt x="4327" y="4872"/>
                    </a:cubicBezTo>
                    <a:cubicBezTo>
                      <a:pt x="4484" y="4552"/>
                      <a:pt x="4484" y="4552"/>
                      <a:pt x="4484" y="4552"/>
                    </a:cubicBezTo>
                    <a:cubicBezTo>
                      <a:pt x="4466" y="4551"/>
                      <a:pt x="4300" y="4519"/>
                      <a:pt x="4133" y="4487"/>
                    </a:cubicBezTo>
                    <a:close/>
                    <a:moveTo>
                      <a:pt x="4088" y="4235"/>
                    </a:moveTo>
                    <a:cubicBezTo>
                      <a:pt x="4088" y="4189"/>
                      <a:pt x="4087" y="4143"/>
                      <a:pt x="4085" y="4100"/>
                    </a:cubicBezTo>
                    <a:cubicBezTo>
                      <a:pt x="3790" y="4070"/>
                      <a:pt x="3790" y="4070"/>
                      <a:pt x="3790" y="4070"/>
                    </a:cubicBezTo>
                    <a:cubicBezTo>
                      <a:pt x="3783" y="4405"/>
                      <a:pt x="3783" y="4405"/>
                      <a:pt x="3783" y="4405"/>
                    </a:cubicBezTo>
                    <a:cubicBezTo>
                      <a:pt x="3795" y="4408"/>
                      <a:pt x="3925" y="4433"/>
                      <a:pt x="4071" y="4461"/>
                    </a:cubicBezTo>
                    <a:cubicBezTo>
                      <a:pt x="4072" y="4455"/>
                      <a:pt x="4074" y="4450"/>
                      <a:pt x="4075" y="4444"/>
                    </a:cubicBezTo>
                    <a:cubicBezTo>
                      <a:pt x="4084" y="4392"/>
                      <a:pt x="4088" y="4314"/>
                      <a:pt x="4088" y="4235"/>
                    </a:cubicBezTo>
                    <a:close/>
                    <a:moveTo>
                      <a:pt x="3783" y="4420"/>
                    </a:moveTo>
                    <a:cubicBezTo>
                      <a:pt x="3776" y="4732"/>
                      <a:pt x="3776" y="4732"/>
                      <a:pt x="3776" y="4732"/>
                    </a:cubicBezTo>
                    <a:cubicBezTo>
                      <a:pt x="3838" y="4746"/>
                      <a:pt x="3905" y="4761"/>
                      <a:pt x="3974" y="4778"/>
                    </a:cubicBezTo>
                    <a:cubicBezTo>
                      <a:pt x="3982" y="4759"/>
                      <a:pt x="3995" y="4724"/>
                      <a:pt x="4010" y="4681"/>
                    </a:cubicBezTo>
                    <a:cubicBezTo>
                      <a:pt x="4030" y="4622"/>
                      <a:pt x="4053" y="4547"/>
                      <a:pt x="4068" y="4475"/>
                    </a:cubicBezTo>
                    <a:cubicBezTo>
                      <a:pt x="3929" y="4448"/>
                      <a:pt x="3805" y="4424"/>
                      <a:pt x="3783" y="4420"/>
                    </a:cubicBezTo>
                    <a:close/>
                    <a:moveTo>
                      <a:pt x="3776" y="4069"/>
                    </a:moveTo>
                    <a:cubicBezTo>
                      <a:pt x="3710" y="4062"/>
                      <a:pt x="3710" y="4062"/>
                      <a:pt x="3710" y="4062"/>
                    </a:cubicBezTo>
                    <a:cubicBezTo>
                      <a:pt x="3113" y="4135"/>
                      <a:pt x="3113" y="4135"/>
                      <a:pt x="3113" y="4135"/>
                    </a:cubicBezTo>
                    <a:cubicBezTo>
                      <a:pt x="3270" y="4645"/>
                      <a:pt x="3270" y="4645"/>
                      <a:pt x="3270" y="4645"/>
                    </a:cubicBezTo>
                    <a:cubicBezTo>
                      <a:pt x="3275" y="4645"/>
                      <a:pt x="3280" y="4644"/>
                      <a:pt x="3285" y="4644"/>
                    </a:cubicBezTo>
                    <a:cubicBezTo>
                      <a:pt x="3353" y="4645"/>
                      <a:pt x="3427" y="4660"/>
                      <a:pt x="3523" y="4681"/>
                    </a:cubicBezTo>
                    <a:cubicBezTo>
                      <a:pt x="3520" y="4650"/>
                      <a:pt x="3520" y="4650"/>
                      <a:pt x="3520" y="4650"/>
                    </a:cubicBezTo>
                    <a:cubicBezTo>
                      <a:pt x="3415" y="4630"/>
                      <a:pt x="3415" y="4630"/>
                      <a:pt x="3415" y="4630"/>
                    </a:cubicBezTo>
                    <a:cubicBezTo>
                      <a:pt x="3416" y="4623"/>
                      <a:pt x="3416" y="4623"/>
                      <a:pt x="3416" y="4623"/>
                    </a:cubicBezTo>
                    <a:cubicBezTo>
                      <a:pt x="3431" y="4545"/>
                      <a:pt x="3431" y="4545"/>
                      <a:pt x="3431" y="4545"/>
                    </a:cubicBezTo>
                    <a:cubicBezTo>
                      <a:pt x="3477" y="4554"/>
                      <a:pt x="3477" y="4554"/>
                      <a:pt x="3477" y="4554"/>
                    </a:cubicBezTo>
                    <a:cubicBezTo>
                      <a:pt x="3485" y="4512"/>
                      <a:pt x="3485" y="4512"/>
                      <a:pt x="3485" y="4512"/>
                    </a:cubicBezTo>
                    <a:cubicBezTo>
                      <a:pt x="3507" y="4516"/>
                      <a:pt x="3507" y="4516"/>
                      <a:pt x="3507" y="4516"/>
                    </a:cubicBezTo>
                    <a:cubicBezTo>
                      <a:pt x="3467" y="4094"/>
                      <a:pt x="3467" y="4094"/>
                      <a:pt x="3467" y="4094"/>
                    </a:cubicBezTo>
                    <a:cubicBezTo>
                      <a:pt x="3480" y="4093"/>
                      <a:pt x="3480" y="4093"/>
                      <a:pt x="3480" y="4093"/>
                    </a:cubicBezTo>
                    <a:cubicBezTo>
                      <a:pt x="3522" y="4519"/>
                      <a:pt x="3522" y="4519"/>
                      <a:pt x="3522" y="4519"/>
                    </a:cubicBezTo>
                    <a:cubicBezTo>
                      <a:pt x="3600" y="4534"/>
                      <a:pt x="3600" y="4534"/>
                      <a:pt x="3600" y="4534"/>
                    </a:cubicBezTo>
                    <a:cubicBezTo>
                      <a:pt x="3592" y="4576"/>
                      <a:pt x="3592" y="4576"/>
                      <a:pt x="3592" y="4576"/>
                    </a:cubicBezTo>
                    <a:cubicBezTo>
                      <a:pt x="3638" y="4585"/>
                      <a:pt x="3638" y="4585"/>
                      <a:pt x="3638" y="4585"/>
                    </a:cubicBezTo>
                    <a:cubicBezTo>
                      <a:pt x="3622" y="4669"/>
                      <a:pt x="3622" y="4669"/>
                      <a:pt x="3622" y="4669"/>
                    </a:cubicBezTo>
                    <a:cubicBezTo>
                      <a:pt x="3535" y="4653"/>
                      <a:pt x="3535" y="4653"/>
                      <a:pt x="3535" y="4653"/>
                    </a:cubicBezTo>
                    <a:cubicBezTo>
                      <a:pt x="3538" y="4684"/>
                      <a:pt x="3538" y="4684"/>
                      <a:pt x="3538" y="4684"/>
                    </a:cubicBezTo>
                    <a:cubicBezTo>
                      <a:pt x="3573" y="4691"/>
                      <a:pt x="3611" y="4699"/>
                      <a:pt x="3653" y="4707"/>
                    </a:cubicBezTo>
                    <a:cubicBezTo>
                      <a:pt x="3687" y="4714"/>
                      <a:pt x="3724" y="4721"/>
                      <a:pt x="3762" y="4729"/>
                    </a:cubicBezTo>
                    <a:lnTo>
                      <a:pt x="3776" y="4069"/>
                    </a:lnTo>
                    <a:close/>
                    <a:moveTo>
                      <a:pt x="3509" y="4529"/>
                    </a:moveTo>
                    <a:cubicBezTo>
                      <a:pt x="3496" y="4527"/>
                      <a:pt x="3496" y="4527"/>
                      <a:pt x="3496" y="4527"/>
                    </a:cubicBezTo>
                    <a:cubicBezTo>
                      <a:pt x="3488" y="4569"/>
                      <a:pt x="3488" y="4569"/>
                      <a:pt x="3488" y="4569"/>
                    </a:cubicBezTo>
                    <a:cubicBezTo>
                      <a:pt x="3442" y="4560"/>
                      <a:pt x="3442" y="4560"/>
                      <a:pt x="3442" y="4560"/>
                    </a:cubicBezTo>
                    <a:cubicBezTo>
                      <a:pt x="3430" y="4619"/>
                      <a:pt x="3430" y="4619"/>
                      <a:pt x="3430" y="4619"/>
                    </a:cubicBezTo>
                    <a:cubicBezTo>
                      <a:pt x="3519" y="4636"/>
                      <a:pt x="3519" y="4636"/>
                      <a:pt x="3519" y="4636"/>
                    </a:cubicBezTo>
                    <a:lnTo>
                      <a:pt x="3509" y="4529"/>
                    </a:lnTo>
                    <a:close/>
                    <a:moveTo>
                      <a:pt x="3099" y="4136"/>
                    </a:moveTo>
                    <a:cubicBezTo>
                      <a:pt x="2657" y="4190"/>
                      <a:pt x="2657" y="4190"/>
                      <a:pt x="2657" y="4190"/>
                    </a:cubicBezTo>
                    <a:cubicBezTo>
                      <a:pt x="2979" y="4604"/>
                      <a:pt x="2979" y="4604"/>
                      <a:pt x="2979" y="4604"/>
                    </a:cubicBezTo>
                    <a:cubicBezTo>
                      <a:pt x="3018" y="4578"/>
                      <a:pt x="3018" y="4578"/>
                      <a:pt x="3018" y="4578"/>
                    </a:cubicBezTo>
                    <a:cubicBezTo>
                      <a:pt x="3042" y="4613"/>
                      <a:pt x="3042" y="4613"/>
                      <a:pt x="3042" y="4613"/>
                    </a:cubicBezTo>
                    <a:cubicBezTo>
                      <a:pt x="3081" y="4587"/>
                      <a:pt x="3081" y="4587"/>
                      <a:pt x="3081" y="4587"/>
                    </a:cubicBezTo>
                    <a:cubicBezTo>
                      <a:pt x="3130" y="4658"/>
                      <a:pt x="3130" y="4658"/>
                      <a:pt x="3130" y="4658"/>
                    </a:cubicBezTo>
                    <a:cubicBezTo>
                      <a:pt x="3059" y="4707"/>
                      <a:pt x="3059" y="4707"/>
                      <a:pt x="3059" y="4707"/>
                    </a:cubicBezTo>
                    <a:cubicBezTo>
                      <a:pt x="3070" y="4721"/>
                      <a:pt x="3070" y="4721"/>
                      <a:pt x="3070" y="4721"/>
                    </a:cubicBezTo>
                    <a:cubicBezTo>
                      <a:pt x="3092" y="4704"/>
                      <a:pt x="3116" y="4689"/>
                      <a:pt x="3146" y="4675"/>
                    </a:cubicBezTo>
                    <a:cubicBezTo>
                      <a:pt x="3181" y="4657"/>
                      <a:pt x="3218" y="4649"/>
                      <a:pt x="3255" y="4646"/>
                    </a:cubicBezTo>
                    <a:lnTo>
                      <a:pt x="3099" y="4136"/>
                    </a:lnTo>
                    <a:close/>
                    <a:moveTo>
                      <a:pt x="2644" y="4196"/>
                    </a:moveTo>
                    <a:cubicBezTo>
                      <a:pt x="2219" y="4677"/>
                      <a:pt x="2219" y="4677"/>
                      <a:pt x="2219" y="4677"/>
                    </a:cubicBezTo>
                    <a:cubicBezTo>
                      <a:pt x="2456" y="4850"/>
                      <a:pt x="2456" y="4850"/>
                      <a:pt x="2456" y="4850"/>
                    </a:cubicBezTo>
                    <a:cubicBezTo>
                      <a:pt x="2499" y="4863"/>
                      <a:pt x="2499" y="4863"/>
                      <a:pt x="2499" y="4863"/>
                    </a:cubicBezTo>
                    <a:cubicBezTo>
                      <a:pt x="2510" y="4852"/>
                      <a:pt x="2530" y="4830"/>
                      <a:pt x="2554" y="4803"/>
                    </a:cubicBezTo>
                    <a:cubicBezTo>
                      <a:pt x="2653" y="4691"/>
                      <a:pt x="2830" y="4483"/>
                      <a:pt x="2849" y="4460"/>
                    </a:cubicBezTo>
                    <a:lnTo>
                      <a:pt x="2644" y="4196"/>
                    </a:lnTo>
                    <a:close/>
                    <a:moveTo>
                      <a:pt x="2326" y="5152"/>
                    </a:moveTo>
                    <a:cubicBezTo>
                      <a:pt x="2331" y="5154"/>
                      <a:pt x="2331" y="5154"/>
                      <a:pt x="2331" y="5154"/>
                    </a:cubicBezTo>
                    <a:cubicBezTo>
                      <a:pt x="2348" y="5120"/>
                      <a:pt x="2348" y="5120"/>
                      <a:pt x="2348" y="5120"/>
                    </a:cubicBezTo>
                    <a:cubicBezTo>
                      <a:pt x="2467" y="5179"/>
                      <a:pt x="2467" y="5179"/>
                      <a:pt x="2467" y="5179"/>
                    </a:cubicBezTo>
                    <a:cubicBezTo>
                      <a:pt x="2464" y="5184"/>
                      <a:pt x="2464" y="5184"/>
                      <a:pt x="2464" y="5184"/>
                    </a:cubicBezTo>
                    <a:cubicBezTo>
                      <a:pt x="2451" y="5211"/>
                      <a:pt x="2451" y="5211"/>
                      <a:pt x="2451" y="5211"/>
                    </a:cubicBezTo>
                    <a:cubicBezTo>
                      <a:pt x="2699" y="5329"/>
                      <a:pt x="2699" y="5329"/>
                      <a:pt x="2699" y="5329"/>
                    </a:cubicBezTo>
                    <a:cubicBezTo>
                      <a:pt x="2723" y="5275"/>
                      <a:pt x="2746" y="5224"/>
                      <a:pt x="2766" y="5179"/>
                    </a:cubicBezTo>
                    <a:cubicBezTo>
                      <a:pt x="2545" y="5084"/>
                      <a:pt x="2545" y="5084"/>
                      <a:pt x="2545" y="5084"/>
                    </a:cubicBezTo>
                    <a:cubicBezTo>
                      <a:pt x="2514" y="5141"/>
                      <a:pt x="2514" y="5141"/>
                      <a:pt x="2514" y="5141"/>
                    </a:cubicBezTo>
                    <a:cubicBezTo>
                      <a:pt x="2396" y="5083"/>
                      <a:pt x="2396" y="5083"/>
                      <a:pt x="2396" y="5083"/>
                    </a:cubicBezTo>
                    <a:cubicBezTo>
                      <a:pt x="2424" y="5031"/>
                      <a:pt x="2424" y="5031"/>
                      <a:pt x="2424" y="5031"/>
                    </a:cubicBezTo>
                    <a:cubicBezTo>
                      <a:pt x="2400" y="5021"/>
                      <a:pt x="2400" y="5021"/>
                      <a:pt x="2400" y="5021"/>
                    </a:cubicBezTo>
                    <a:lnTo>
                      <a:pt x="2326" y="5152"/>
                    </a:lnTo>
                    <a:close/>
                    <a:moveTo>
                      <a:pt x="2293" y="5259"/>
                    </a:moveTo>
                    <a:cubicBezTo>
                      <a:pt x="2318" y="5273"/>
                      <a:pt x="2350" y="5291"/>
                      <a:pt x="2386" y="5310"/>
                    </a:cubicBezTo>
                    <a:cubicBezTo>
                      <a:pt x="2433" y="5218"/>
                      <a:pt x="2433" y="5218"/>
                      <a:pt x="2433" y="5218"/>
                    </a:cubicBezTo>
                    <a:cubicBezTo>
                      <a:pt x="2336" y="5172"/>
                      <a:pt x="2336" y="5172"/>
                      <a:pt x="2336" y="5172"/>
                    </a:cubicBezTo>
                    <a:lnTo>
                      <a:pt x="2293" y="5259"/>
                    </a:lnTo>
                    <a:close/>
                    <a:moveTo>
                      <a:pt x="2325" y="5167"/>
                    </a:moveTo>
                    <a:cubicBezTo>
                      <a:pt x="2320" y="5164"/>
                      <a:pt x="2320" y="5164"/>
                      <a:pt x="2320" y="5164"/>
                    </a:cubicBezTo>
                    <a:cubicBezTo>
                      <a:pt x="2273" y="5247"/>
                      <a:pt x="2273" y="5247"/>
                      <a:pt x="2273" y="5247"/>
                    </a:cubicBezTo>
                    <a:cubicBezTo>
                      <a:pt x="2276" y="5249"/>
                      <a:pt x="2279" y="5251"/>
                      <a:pt x="2282" y="5252"/>
                    </a:cubicBezTo>
                    <a:lnTo>
                      <a:pt x="2325" y="5167"/>
                    </a:lnTo>
                    <a:close/>
                    <a:moveTo>
                      <a:pt x="2266" y="5260"/>
                    </a:moveTo>
                    <a:cubicBezTo>
                      <a:pt x="2216" y="5349"/>
                      <a:pt x="2216" y="5349"/>
                      <a:pt x="2216" y="5349"/>
                    </a:cubicBezTo>
                    <a:cubicBezTo>
                      <a:pt x="2229" y="5358"/>
                      <a:pt x="2229" y="5358"/>
                      <a:pt x="2229" y="5358"/>
                    </a:cubicBezTo>
                    <a:cubicBezTo>
                      <a:pt x="2276" y="5265"/>
                      <a:pt x="2276" y="5265"/>
                      <a:pt x="2276" y="5265"/>
                    </a:cubicBezTo>
                    <a:cubicBezTo>
                      <a:pt x="2272" y="5263"/>
                      <a:pt x="2269" y="5261"/>
                      <a:pt x="2266" y="5260"/>
                    </a:cubicBezTo>
                    <a:close/>
                    <a:moveTo>
                      <a:pt x="2265" y="5127"/>
                    </a:moveTo>
                    <a:cubicBezTo>
                      <a:pt x="2218" y="5100"/>
                      <a:pt x="2218" y="5100"/>
                      <a:pt x="2218" y="5100"/>
                    </a:cubicBezTo>
                    <a:cubicBezTo>
                      <a:pt x="2164" y="5195"/>
                      <a:pt x="2164" y="5195"/>
                      <a:pt x="2164" y="5195"/>
                    </a:cubicBezTo>
                    <a:cubicBezTo>
                      <a:pt x="2212" y="5222"/>
                      <a:pt x="2212" y="5222"/>
                      <a:pt x="2212" y="5222"/>
                    </a:cubicBezTo>
                    <a:lnTo>
                      <a:pt x="2265" y="5127"/>
                    </a:lnTo>
                    <a:close/>
                    <a:moveTo>
                      <a:pt x="2266" y="4990"/>
                    </a:moveTo>
                    <a:cubicBezTo>
                      <a:pt x="2151" y="4925"/>
                      <a:pt x="2151" y="4925"/>
                      <a:pt x="2151" y="4925"/>
                    </a:cubicBezTo>
                    <a:cubicBezTo>
                      <a:pt x="2099" y="5017"/>
                      <a:pt x="2099" y="5017"/>
                      <a:pt x="2099" y="5017"/>
                    </a:cubicBezTo>
                    <a:cubicBezTo>
                      <a:pt x="2213" y="5082"/>
                      <a:pt x="2213" y="5082"/>
                      <a:pt x="2213" y="5082"/>
                    </a:cubicBezTo>
                    <a:lnTo>
                      <a:pt x="2266" y="4990"/>
                    </a:lnTo>
                    <a:close/>
                    <a:moveTo>
                      <a:pt x="2092" y="5029"/>
                    </a:moveTo>
                    <a:cubicBezTo>
                      <a:pt x="2039" y="5123"/>
                      <a:pt x="2039" y="5123"/>
                      <a:pt x="2039" y="5123"/>
                    </a:cubicBezTo>
                    <a:cubicBezTo>
                      <a:pt x="2153" y="5188"/>
                      <a:pt x="2153" y="5188"/>
                      <a:pt x="2153" y="5188"/>
                    </a:cubicBezTo>
                    <a:cubicBezTo>
                      <a:pt x="2206" y="5094"/>
                      <a:pt x="2206" y="5094"/>
                      <a:pt x="2206" y="5094"/>
                    </a:cubicBezTo>
                    <a:lnTo>
                      <a:pt x="2092" y="5029"/>
                    </a:lnTo>
                    <a:close/>
                    <a:moveTo>
                      <a:pt x="2032" y="5135"/>
                    </a:moveTo>
                    <a:cubicBezTo>
                      <a:pt x="1983" y="5222"/>
                      <a:pt x="1983" y="5222"/>
                      <a:pt x="1983" y="5222"/>
                    </a:cubicBezTo>
                    <a:cubicBezTo>
                      <a:pt x="2097" y="5287"/>
                      <a:pt x="2097" y="5287"/>
                      <a:pt x="2097" y="5287"/>
                    </a:cubicBezTo>
                    <a:cubicBezTo>
                      <a:pt x="2146" y="5200"/>
                      <a:pt x="2146" y="5200"/>
                      <a:pt x="2146" y="5200"/>
                    </a:cubicBezTo>
                    <a:lnTo>
                      <a:pt x="2032" y="5135"/>
                    </a:lnTo>
                    <a:close/>
                    <a:moveTo>
                      <a:pt x="2021" y="5129"/>
                    </a:moveTo>
                    <a:cubicBezTo>
                      <a:pt x="1665" y="4926"/>
                      <a:pt x="1665" y="4926"/>
                      <a:pt x="1665" y="4926"/>
                    </a:cubicBezTo>
                    <a:cubicBezTo>
                      <a:pt x="1592" y="4999"/>
                      <a:pt x="1592" y="4999"/>
                      <a:pt x="1592" y="4999"/>
                    </a:cubicBezTo>
                    <a:cubicBezTo>
                      <a:pt x="1971" y="5215"/>
                      <a:pt x="1971" y="5215"/>
                      <a:pt x="1971" y="5215"/>
                    </a:cubicBezTo>
                    <a:lnTo>
                      <a:pt x="2021" y="5129"/>
                    </a:lnTo>
                    <a:close/>
                    <a:moveTo>
                      <a:pt x="1652" y="4919"/>
                    </a:moveTo>
                    <a:cubicBezTo>
                      <a:pt x="1279" y="4706"/>
                      <a:pt x="1279" y="4706"/>
                      <a:pt x="1279" y="4706"/>
                    </a:cubicBezTo>
                    <a:cubicBezTo>
                      <a:pt x="1231" y="4793"/>
                      <a:pt x="1231" y="4793"/>
                      <a:pt x="1231" y="4793"/>
                    </a:cubicBezTo>
                    <a:cubicBezTo>
                      <a:pt x="1579" y="4992"/>
                      <a:pt x="1579" y="4992"/>
                      <a:pt x="1579" y="4992"/>
                    </a:cubicBezTo>
                    <a:lnTo>
                      <a:pt x="1652" y="4919"/>
                    </a:lnTo>
                    <a:close/>
                    <a:moveTo>
                      <a:pt x="1225" y="4805"/>
                    </a:moveTo>
                    <a:cubicBezTo>
                      <a:pt x="1174" y="4898"/>
                      <a:pt x="1174" y="4898"/>
                      <a:pt x="1174" y="4898"/>
                    </a:cubicBezTo>
                    <a:cubicBezTo>
                      <a:pt x="1537" y="5106"/>
                      <a:pt x="1537" y="5106"/>
                      <a:pt x="1537" y="5106"/>
                    </a:cubicBezTo>
                    <a:cubicBezTo>
                      <a:pt x="1573" y="5004"/>
                      <a:pt x="1573" y="5004"/>
                      <a:pt x="1573" y="5004"/>
                    </a:cubicBezTo>
                    <a:lnTo>
                      <a:pt x="1225" y="4805"/>
                    </a:lnTo>
                    <a:close/>
                    <a:moveTo>
                      <a:pt x="1168" y="4911"/>
                    </a:moveTo>
                    <a:cubicBezTo>
                      <a:pt x="1109" y="5018"/>
                      <a:pt x="1109" y="5018"/>
                      <a:pt x="1109" y="5018"/>
                    </a:cubicBezTo>
                    <a:cubicBezTo>
                      <a:pt x="1492" y="5236"/>
                      <a:pt x="1492" y="5236"/>
                      <a:pt x="1492" y="5236"/>
                    </a:cubicBezTo>
                    <a:cubicBezTo>
                      <a:pt x="1533" y="5119"/>
                      <a:pt x="1533" y="5119"/>
                      <a:pt x="1533" y="5119"/>
                    </a:cubicBezTo>
                    <a:lnTo>
                      <a:pt x="1168" y="4911"/>
                    </a:lnTo>
                    <a:close/>
                    <a:moveTo>
                      <a:pt x="1102" y="5030"/>
                    </a:moveTo>
                    <a:cubicBezTo>
                      <a:pt x="1046" y="5134"/>
                      <a:pt x="1046" y="5134"/>
                      <a:pt x="1046" y="5134"/>
                    </a:cubicBezTo>
                    <a:cubicBezTo>
                      <a:pt x="1408" y="5341"/>
                      <a:pt x="1408" y="5341"/>
                      <a:pt x="1408" y="5341"/>
                    </a:cubicBezTo>
                    <a:cubicBezTo>
                      <a:pt x="1487" y="5250"/>
                      <a:pt x="1487" y="5250"/>
                      <a:pt x="1487" y="5250"/>
                    </a:cubicBezTo>
                    <a:lnTo>
                      <a:pt x="1102" y="5030"/>
                    </a:lnTo>
                    <a:close/>
                    <a:moveTo>
                      <a:pt x="1039" y="5147"/>
                    </a:moveTo>
                    <a:cubicBezTo>
                      <a:pt x="987" y="5243"/>
                      <a:pt x="987" y="5243"/>
                      <a:pt x="987" y="5243"/>
                    </a:cubicBezTo>
                    <a:cubicBezTo>
                      <a:pt x="1373" y="5463"/>
                      <a:pt x="1373" y="5463"/>
                      <a:pt x="1373" y="5463"/>
                    </a:cubicBezTo>
                    <a:cubicBezTo>
                      <a:pt x="1403" y="5355"/>
                      <a:pt x="1403" y="5355"/>
                      <a:pt x="1403" y="5355"/>
                    </a:cubicBezTo>
                    <a:lnTo>
                      <a:pt x="1039" y="5147"/>
                    </a:lnTo>
                    <a:close/>
                    <a:moveTo>
                      <a:pt x="980" y="5255"/>
                    </a:moveTo>
                    <a:cubicBezTo>
                      <a:pt x="916" y="5373"/>
                      <a:pt x="916" y="5373"/>
                      <a:pt x="916" y="5373"/>
                    </a:cubicBezTo>
                    <a:cubicBezTo>
                      <a:pt x="1332" y="5610"/>
                      <a:pt x="1332" y="5610"/>
                      <a:pt x="1332" y="5610"/>
                    </a:cubicBezTo>
                    <a:cubicBezTo>
                      <a:pt x="1369" y="5477"/>
                      <a:pt x="1369" y="5477"/>
                      <a:pt x="1369" y="5477"/>
                    </a:cubicBezTo>
                    <a:lnTo>
                      <a:pt x="980" y="5255"/>
                    </a:lnTo>
                    <a:close/>
                    <a:moveTo>
                      <a:pt x="909" y="5385"/>
                    </a:moveTo>
                    <a:cubicBezTo>
                      <a:pt x="857" y="5481"/>
                      <a:pt x="857" y="5481"/>
                      <a:pt x="857" y="5481"/>
                    </a:cubicBezTo>
                    <a:cubicBezTo>
                      <a:pt x="1211" y="5683"/>
                      <a:pt x="1211" y="5683"/>
                      <a:pt x="1211" y="5683"/>
                    </a:cubicBezTo>
                    <a:cubicBezTo>
                      <a:pt x="1321" y="5620"/>
                      <a:pt x="1321" y="5620"/>
                      <a:pt x="1321" y="5620"/>
                    </a:cubicBezTo>
                    <a:lnTo>
                      <a:pt x="909" y="5385"/>
                    </a:lnTo>
                    <a:close/>
                    <a:moveTo>
                      <a:pt x="851" y="5493"/>
                    </a:moveTo>
                    <a:cubicBezTo>
                      <a:pt x="793" y="5599"/>
                      <a:pt x="793" y="5599"/>
                      <a:pt x="793" y="5599"/>
                    </a:cubicBezTo>
                    <a:cubicBezTo>
                      <a:pt x="1152" y="5804"/>
                      <a:pt x="1152" y="5804"/>
                      <a:pt x="1152" y="5804"/>
                    </a:cubicBezTo>
                    <a:cubicBezTo>
                      <a:pt x="1186" y="5697"/>
                      <a:pt x="1186" y="5697"/>
                      <a:pt x="1186" y="5697"/>
                    </a:cubicBezTo>
                    <a:cubicBezTo>
                      <a:pt x="1197" y="5691"/>
                      <a:pt x="1197" y="5691"/>
                      <a:pt x="1197" y="5691"/>
                    </a:cubicBezTo>
                    <a:lnTo>
                      <a:pt x="851" y="5493"/>
                    </a:lnTo>
                    <a:close/>
                    <a:moveTo>
                      <a:pt x="786" y="5612"/>
                    </a:moveTo>
                    <a:cubicBezTo>
                      <a:pt x="735" y="5705"/>
                      <a:pt x="735" y="5705"/>
                      <a:pt x="735" y="5705"/>
                    </a:cubicBezTo>
                    <a:cubicBezTo>
                      <a:pt x="1114" y="5921"/>
                      <a:pt x="1114" y="5921"/>
                      <a:pt x="1114" y="5921"/>
                    </a:cubicBezTo>
                    <a:cubicBezTo>
                      <a:pt x="1147" y="5818"/>
                      <a:pt x="1147" y="5818"/>
                      <a:pt x="1147" y="5818"/>
                    </a:cubicBezTo>
                    <a:lnTo>
                      <a:pt x="786" y="5612"/>
                    </a:lnTo>
                    <a:close/>
                    <a:moveTo>
                      <a:pt x="729" y="5717"/>
                    </a:moveTo>
                    <a:cubicBezTo>
                      <a:pt x="670" y="5824"/>
                      <a:pt x="670" y="5824"/>
                      <a:pt x="670" y="5824"/>
                    </a:cubicBezTo>
                    <a:cubicBezTo>
                      <a:pt x="1066" y="6050"/>
                      <a:pt x="1066" y="6050"/>
                      <a:pt x="1066" y="6050"/>
                    </a:cubicBezTo>
                    <a:cubicBezTo>
                      <a:pt x="1074" y="6045"/>
                      <a:pt x="1074" y="6045"/>
                      <a:pt x="1074" y="6045"/>
                    </a:cubicBezTo>
                    <a:cubicBezTo>
                      <a:pt x="1110" y="5934"/>
                      <a:pt x="1110" y="5934"/>
                      <a:pt x="1110" y="5934"/>
                    </a:cubicBezTo>
                    <a:lnTo>
                      <a:pt x="729" y="5717"/>
                    </a:lnTo>
                    <a:close/>
                    <a:moveTo>
                      <a:pt x="664" y="5836"/>
                    </a:moveTo>
                    <a:cubicBezTo>
                      <a:pt x="607" y="5941"/>
                      <a:pt x="607" y="5941"/>
                      <a:pt x="607" y="5941"/>
                    </a:cubicBezTo>
                    <a:cubicBezTo>
                      <a:pt x="942" y="6132"/>
                      <a:pt x="942" y="6132"/>
                      <a:pt x="942" y="6132"/>
                    </a:cubicBezTo>
                    <a:cubicBezTo>
                      <a:pt x="945" y="6125"/>
                      <a:pt x="945" y="6125"/>
                      <a:pt x="945" y="6125"/>
                    </a:cubicBezTo>
                    <a:cubicBezTo>
                      <a:pt x="1053" y="6059"/>
                      <a:pt x="1053" y="6059"/>
                      <a:pt x="1053" y="6059"/>
                    </a:cubicBezTo>
                    <a:lnTo>
                      <a:pt x="664" y="5836"/>
                    </a:lnTo>
                    <a:close/>
                    <a:moveTo>
                      <a:pt x="906" y="6253"/>
                    </a:moveTo>
                    <a:cubicBezTo>
                      <a:pt x="1266" y="6459"/>
                      <a:pt x="1266" y="6459"/>
                      <a:pt x="1266" y="6459"/>
                    </a:cubicBezTo>
                    <a:cubicBezTo>
                      <a:pt x="1320" y="6364"/>
                      <a:pt x="1320" y="6364"/>
                      <a:pt x="1320" y="6364"/>
                    </a:cubicBezTo>
                    <a:cubicBezTo>
                      <a:pt x="949" y="6152"/>
                      <a:pt x="949" y="6152"/>
                      <a:pt x="949" y="6152"/>
                    </a:cubicBezTo>
                    <a:lnTo>
                      <a:pt x="906" y="6253"/>
                    </a:lnTo>
                    <a:close/>
                    <a:moveTo>
                      <a:pt x="1238" y="6534"/>
                    </a:moveTo>
                    <a:cubicBezTo>
                      <a:pt x="1352" y="6599"/>
                      <a:pt x="1352" y="6599"/>
                      <a:pt x="1352" y="6599"/>
                    </a:cubicBezTo>
                    <a:cubicBezTo>
                      <a:pt x="1384" y="6542"/>
                      <a:pt x="1384" y="6542"/>
                      <a:pt x="1384" y="6542"/>
                    </a:cubicBezTo>
                    <a:cubicBezTo>
                      <a:pt x="1270" y="6477"/>
                      <a:pt x="1270" y="6477"/>
                      <a:pt x="1270" y="6477"/>
                    </a:cubicBezTo>
                    <a:lnTo>
                      <a:pt x="1238" y="6534"/>
                    </a:lnTo>
                    <a:close/>
                    <a:moveTo>
                      <a:pt x="1391" y="6530"/>
                    </a:moveTo>
                    <a:cubicBezTo>
                      <a:pt x="1445" y="6435"/>
                      <a:pt x="1445" y="6435"/>
                      <a:pt x="1445" y="6435"/>
                    </a:cubicBezTo>
                    <a:cubicBezTo>
                      <a:pt x="1331" y="6370"/>
                      <a:pt x="1331" y="6370"/>
                      <a:pt x="1331" y="6370"/>
                    </a:cubicBezTo>
                    <a:cubicBezTo>
                      <a:pt x="1277" y="6465"/>
                      <a:pt x="1277" y="6465"/>
                      <a:pt x="1277" y="6465"/>
                    </a:cubicBezTo>
                    <a:lnTo>
                      <a:pt x="1391" y="6530"/>
                    </a:lnTo>
                    <a:close/>
                    <a:moveTo>
                      <a:pt x="1403" y="6537"/>
                    </a:moveTo>
                    <a:cubicBezTo>
                      <a:pt x="1458" y="6568"/>
                      <a:pt x="1458" y="6568"/>
                      <a:pt x="1458" y="6568"/>
                    </a:cubicBezTo>
                    <a:cubicBezTo>
                      <a:pt x="1512" y="6473"/>
                      <a:pt x="1512" y="6473"/>
                      <a:pt x="1512" y="6473"/>
                    </a:cubicBezTo>
                    <a:cubicBezTo>
                      <a:pt x="1457" y="6442"/>
                      <a:pt x="1457" y="6442"/>
                      <a:pt x="1457" y="6442"/>
                    </a:cubicBezTo>
                    <a:lnTo>
                      <a:pt x="1403" y="6537"/>
                    </a:lnTo>
                    <a:close/>
                    <a:moveTo>
                      <a:pt x="1397" y="7341"/>
                    </a:moveTo>
                    <a:cubicBezTo>
                      <a:pt x="1413" y="7351"/>
                      <a:pt x="1443" y="7370"/>
                      <a:pt x="1473" y="7390"/>
                    </a:cubicBezTo>
                    <a:cubicBezTo>
                      <a:pt x="1496" y="7404"/>
                      <a:pt x="1519" y="7418"/>
                      <a:pt x="1537" y="7429"/>
                    </a:cubicBezTo>
                    <a:cubicBezTo>
                      <a:pt x="1545" y="7434"/>
                      <a:pt x="1553" y="7439"/>
                      <a:pt x="1558" y="7442"/>
                    </a:cubicBezTo>
                    <a:cubicBezTo>
                      <a:pt x="1560" y="7443"/>
                      <a:pt x="1561" y="7443"/>
                      <a:pt x="1563" y="7444"/>
                    </a:cubicBezTo>
                    <a:cubicBezTo>
                      <a:pt x="1635" y="7340"/>
                      <a:pt x="1635" y="7340"/>
                      <a:pt x="1635" y="7340"/>
                    </a:cubicBezTo>
                    <a:cubicBezTo>
                      <a:pt x="1635" y="7340"/>
                      <a:pt x="1635" y="7340"/>
                      <a:pt x="1635" y="7340"/>
                    </a:cubicBezTo>
                    <a:cubicBezTo>
                      <a:pt x="1633" y="7338"/>
                      <a:pt x="1633" y="7338"/>
                      <a:pt x="1633" y="7338"/>
                    </a:cubicBezTo>
                    <a:cubicBezTo>
                      <a:pt x="1638" y="7334"/>
                      <a:pt x="1660" y="7304"/>
                      <a:pt x="1686" y="7267"/>
                    </a:cubicBezTo>
                    <a:cubicBezTo>
                      <a:pt x="1686" y="7268"/>
                      <a:pt x="1686" y="7268"/>
                      <a:pt x="1686" y="7268"/>
                    </a:cubicBezTo>
                    <a:cubicBezTo>
                      <a:pt x="1702" y="7244"/>
                      <a:pt x="1702" y="7244"/>
                      <a:pt x="1702" y="7244"/>
                    </a:cubicBezTo>
                    <a:cubicBezTo>
                      <a:pt x="1706" y="7240"/>
                      <a:pt x="1709" y="7235"/>
                      <a:pt x="1712" y="7230"/>
                    </a:cubicBezTo>
                    <a:cubicBezTo>
                      <a:pt x="1645" y="7203"/>
                      <a:pt x="1547" y="7167"/>
                      <a:pt x="1534" y="7162"/>
                    </a:cubicBezTo>
                    <a:cubicBezTo>
                      <a:pt x="1413" y="7165"/>
                      <a:pt x="1413" y="7165"/>
                      <a:pt x="1413" y="7165"/>
                    </a:cubicBezTo>
                    <a:cubicBezTo>
                      <a:pt x="1423" y="7180"/>
                      <a:pt x="1423" y="7180"/>
                      <a:pt x="1423" y="7180"/>
                    </a:cubicBezTo>
                    <a:cubicBezTo>
                      <a:pt x="1422" y="7180"/>
                      <a:pt x="1422" y="7180"/>
                      <a:pt x="1422" y="7180"/>
                    </a:cubicBezTo>
                    <a:cubicBezTo>
                      <a:pt x="1428" y="7189"/>
                      <a:pt x="1428" y="7189"/>
                      <a:pt x="1428" y="7189"/>
                    </a:cubicBezTo>
                    <a:lnTo>
                      <a:pt x="1397" y="7341"/>
                    </a:lnTo>
                    <a:close/>
                    <a:moveTo>
                      <a:pt x="1497" y="7649"/>
                    </a:moveTo>
                    <a:cubicBezTo>
                      <a:pt x="1506" y="7660"/>
                      <a:pt x="1522" y="7678"/>
                      <a:pt x="1538" y="7697"/>
                    </a:cubicBezTo>
                    <a:cubicBezTo>
                      <a:pt x="1550" y="7712"/>
                      <a:pt x="1563" y="7727"/>
                      <a:pt x="1572" y="7738"/>
                    </a:cubicBezTo>
                    <a:cubicBezTo>
                      <a:pt x="1577" y="7744"/>
                      <a:pt x="1581" y="7748"/>
                      <a:pt x="1584" y="7752"/>
                    </a:cubicBezTo>
                    <a:cubicBezTo>
                      <a:pt x="1585" y="7753"/>
                      <a:pt x="1585" y="7754"/>
                      <a:pt x="1586" y="7755"/>
                    </a:cubicBezTo>
                    <a:cubicBezTo>
                      <a:pt x="1619" y="7756"/>
                      <a:pt x="1813" y="7764"/>
                      <a:pt x="1835" y="7765"/>
                    </a:cubicBezTo>
                    <a:cubicBezTo>
                      <a:pt x="1837" y="7748"/>
                      <a:pt x="1840" y="7730"/>
                      <a:pt x="1842" y="7712"/>
                    </a:cubicBezTo>
                    <a:cubicBezTo>
                      <a:pt x="1849" y="7649"/>
                      <a:pt x="1856" y="7588"/>
                      <a:pt x="1858" y="7573"/>
                    </a:cubicBezTo>
                    <a:cubicBezTo>
                      <a:pt x="1849" y="7562"/>
                      <a:pt x="1812" y="7518"/>
                      <a:pt x="1776" y="7473"/>
                    </a:cubicBezTo>
                    <a:cubicBezTo>
                      <a:pt x="1755" y="7447"/>
                      <a:pt x="1734" y="7421"/>
                      <a:pt x="1718" y="7401"/>
                    </a:cubicBezTo>
                    <a:cubicBezTo>
                      <a:pt x="1710" y="7391"/>
                      <a:pt x="1703" y="7383"/>
                      <a:pt x="1699" y="7377"/>
                    </a:cubicBezTo>
                    <a:cubicBezTo>
                      <a:pt x="1696" y="7374"/>
                      <a:pt x="1695" y="7371"/>
                      <a:pt x="1693" y="7369"/>
                    </a:cubicBezTo>
                    <a:lnTo>
                      <a:pt x="1497" y="7649"/>
                    </a:lnTo>
                    <a:close/>
                    <a:moveTo>
                      <a:pt x="1487" y="7663"/>
                    </a:moveTo>
                    <a:cubicBezTo>
                      <a:pt x="1337" y="7875"/>
                      <a:pt x="1337" y="7875"/>
                      <a:pt x="1337" y="7875"/>
                    </a:cubicBezTo>
                    <a:cubicBezTo>
                      <a:pt x="1527" y="8110"/>
                      <a:pt x="1527" y="8110"/>
                      <a:pt x="1527" y="8110"/>
                    </a:cubicBezTo>
                    <a:cubicBezTo>
                      <a:pt x="1555" y="8085"/>
                      <a:pt x="1615" y="8037"/>
                      <a:pt x="1674" y="7989"/>
                    </a:cubicBezTo>
                    <a:cubicBezTo>
                      <a:pt x="1744" y="7933"/>
                      <a:pt x="1811" y="7879"/>
                      <a:pt x="1820" y="7872"/>
                    </a:cubicBezTo>
                    <a:cubicBezTo>
                      <a:pt x="1823" y="7863"/>
                      <a:pt x="1828" y="7826"/>
                      <a:pt x="1833" y="7781"/>
                    </a:cubicBezTo>
                    <a:cubicBezTo>
                      <a:pt x="1805" y="7780"/>
                      <a:pt x="1605" y="7771"/>
                      <a:pt x="1583" y="7771"/>
                    </a:cubicBezTo>
                    <a:cubicBezTo>
                      <a:pt x="1583" y="7771"/>
                      <a:pt x="1583" y="7771"/>
                      <a:pt x="1583" y="7771"/>
                    </a:cubicBezTo>
                    <a:cubicBezTo>
                      <a:pt x="1583" y="7771"/>
                      <a:pt x="1582" y="7771"/>
                      <a:pt x="1582" y="7771"/>
                    </a:cubicBezTo>
                    <a:cubicBezTo>
                      <a:pt x="1582" y="7771"/>
                      <a:pt x="1581" y="7772"/>
                      <a:pt x="1579" y="7771"/>
                    </a:cubicBezTo>
                    <a:cubicBezTo>
                      <a:pt x="1573" y="7770"/>
                      <a:pt x="1573" y="7770"/>
                      <a:pt x="1573" y="7770"/>
                    </a:cubicBezTo>
                    <a:cubicBezTo>
                      <a:pt x="1573" y="7765"/>
                      <a:pt x="1573" y="7765"/>
                      <a:pt x="1573" y="7765"/>
                    </a:cubicBezTo>
                    <a:cubicBezTo>
                      <a:pt x="1568" y="7758"/>
                      <a:pt x="1545" y="7730"/>
                      <a:pt x="1523" y="7705"/>
                    </a:cubicBezTo>
                    <a:cubicBezTo>
                      <a:pt x="1509" y="7689"/>
                      <a:pt x="1496" y="7673"/>
                      <a:pt x="1487" y="7663"/>
                    </a:cubicBezTo>
                    <a:close/>
                    <a:moveTo>
                      <a:pt x="1306" y="7908"/>
                    </a:moveTo>
                    <a:cubicBezTo>
                      <a:pt x="1221" y="7977"/>
                      <a:pt x="1221" y="7977"/>
                      <a:pt x="1221" y="7977"/>
                    </a:cubicBezTo>
                    <a:cubicBezTo>
                      <a:pt x="1344" y="8162"/>
                      <a:pt x="1344" y="8162"/>
                      <a:pt x="1344" y="8162"/>
                    </a:cubicBezTo>
                    <a:cubicBezTo>
                      <a:pt x="1326" y="8306"/>
                      <a:pt x="1326" y="8306"/>
                      <a:pt x="1326" y="8306"/>
                    </a:cubicBezTo>
                    <a:cubicBezTo>
                      <a:pt x="1536" y="8461"/>
                      <a:pt x="1536" y="8461"/>
                      <a:pt x="1536" y="8461"/>
                    </a:cubicBezTo>
                    <a:cubicBezTo>
                      <a:pt x="1577" y="8392"/>
                      <a:pt x="1612" y="8331"/>
                      <a:pt x="1627" y="8306"/>
                    </a:cubicBezTo>
                    <a:lnTo>
                      <a:pt x="1306" y="7908"/>
                    </a:lnTo>
                    <a:close/>
                    <a:moveTo>
                      <a:pt x="1208" y="7987"/>
                    </a:moveTo>
                    <a:cubicBezTo>
                      <a:pt x="1096" y="8077"/>
                      <a:pt x="1096" y="8077"/>
                      <a:pt x="1096" y="8077"/>
                    </a:cubicBezTo>
                    <a:cubicBezTo>
                      <a:pt x="1096" y="8105"/>
                      <a:pt x="1090" y="8262"/>
                      <a:pt x="1090" y="8314"/>
                    </a:cubicBezTo>
                    <a:cubicBezTo>
                      <a:pt x="1310" y="8302"/>
                      <a:pt x="1310" y="8302"/>
                      <a:pt x="1310" y="8302"/>
                    </a:cubicBezTo>
                    <a:cubicBezTo>
                      <a:pt x="1327" y="8166"/>
                      <a:pt x="1327" y="8166"/>
                      <a:pt x="1327" y="8166"/>
                    </a:cubicBezTo>
                    <a:lnTo>
                      <a:pt x="1208" y="7987"/>
                    </a:lnTo>
                    <a:close/>
                    <a:moveTo>
                      <a:pt x="990" y="8489"/>
                    </a:moveTo>
                    <a:cubicBezTo>
                      <a:pt x="964" y="8529"/>
                      <a:pt x="942" y="8563"/>
                      <a:pt x="934" y="8575"/>
                    </a:cubicBezTo>
                    <a:cubicBezTo>
                      <a:pt x="948" y="8593"/>
                      <a:pt x="1013" y="8673"/>
                      <a:pt x="1077" y="8751"/>
                    </a:cubicBezTo>
                    <a:cubicBezTo>
                      <a:pt x="1136" y="8824"/>
                      <a:pt x="1194" y="8894"/>
                      <a:pt x="1210" y="8913"/>
                    </a:cubicBezTo>
                    <a:cubicBezTo>
                      <a:pt x="1232" y="8892"/>
                      <a:pt x="1252" y="8873"/>
                      <a:pt x="1271" y="8856"/>
                    </a:cubicBezTo>
                    <a:cubicBezTo>
                      <a:pt x="1295" y="8832"/>
                      <a:pt x="1315" y="8813"/>
                      <a:pt x="1330" y="8799"/>
                    </a:cubicBezTo>
                    <a:cubicBezTo>
                      <a:pt x="1336" y="8793"/>
                      <a:pt x="1342" y="8788"/>
                      <a:pt x="1346" y="8785"/>
                    </a:cubicBezTo>
                    <a:cubicBezTo>
                      <a:pt x="1352" y="8777"/>
                      <a:pt x="1352" y="8777"/>
                      <a:pt x="1352" y="8777"/>
                    </a:cubicBezTo>
                    <a:cubicBezTo>
                      <a:pt x="1353" y="8775"/>
                      <a:pt x="1355" y="8772"/>
                      <a:pt x="1357" y="8769"/>
                    </a:cubicBezTo>
                    <a:cubicBezTo>
                      <a:pt x="1305" y="8729"/>
                      <a:pt x="1234" y="8675"/>
                      <a:pt x="1166" y="8623"/>
                    </a:cubicBezTo>
                    <a:cubicBezTo>
                      <a:pt x="1087" y="8562"/>
                      <a:pt x="1010" y="8504"/>
                      <a:pt x="990" y="8489"/>
                    </a:cubicBezTo>
                    <a:close/>
                    <a:moveTo>
                      <a:pt x="1113" y="9068"/>
                    </a:moveTo>
                    <a:cubicBezTo>
                      <a:pt x="1016" y="9159"/>
                      <a:pt x="922" y="9249"/>
                      <a:pt x="882" y="9287"/>
                    </a:cubicBezTo>
                    <a:cubicBezTo>
                      <a:pt x="900" y="9291"/>
                      <a:pt x="918" y="9298"/>
                      <a:pt x="937" y="9310"/>
                    </a:cubicBezTo>
                    <a:cubicBezTo>
                      <a:pt x="991" y="9345"/>
                      <a:pt x="1023" y="9413"/>
                      <a:pt x="1049" y="9473"/>
                    </a:cubicBezTo>
                    <a:cubicBezTo>
                      <a:pt x="1066" y="9514"/>
                      <a:pt x="1078" y="9551"/>
                      <a:pt x="1084" y="9571"/>
                    </a:cubicBezTo>
                    <a:cubicBezTo>
                      <a:pt x="1165" y="9527"/>
                      <a:pt x="1165" y="9527"/>
                      <a:pt x="1165" y="9527"/>
                    </a:cubicBezTo>
                    <a:cubicBezTo>
                      <a:pt x="1164" y="9525"/>
                      <a:pt x="1163" y="9523"/>
                      <a:pt x="1162" y="9520"/>
                    </a:cubicBezTo>
                    <a:cubicBezTo>
                      <a:pt x="1159" y="9514"/>
                      <a:pt x="1155" y="9507"/>
                      <a:pt x="1151" y="9498"/>
                    </a:cubicBezTo>
                    <a:cubicBezTo>
                      <a:pt x="1149" y="9500"/>
                      <a:pt x="1149" y="9500"/>
                      <a:pt x="1149" y="9500"/>
                    </a:cubicBezTo>
                    <a:cubicBezTo>
                      <a:pt x="1078" y="9360"/>
                      <a:pt x="1078" y="9360"/>
                      <a:pt x="1078" y="9360"/>
                    </a:cubicBezTo>
                    <a:cubicBezTo>
                      <a:pt x="1087" y="9356"/>
                      <a:pt x="1087" y="9356"/>
                      <a:pt x="1087" y="9356"/>
                    </a:cubicBezTo>
                    <a:cubicBezTo>
                      <a:pt x="1065" y="9306"/>
                      <a:pt x="1047" y="9266"/>
                      <a:pt x="1047" y="9266"/>
                    </a:cubicBezTo>
                    <a:cubicBezTo>
                      <a:pt x="1044" y="9259"/>
                      <a:pt x="1044" y="9259"/>
                      <a:pt x="1044" y="9259"/>
                    </a:cubicBezTo>
                    <a:cubicBezTo>
                      <a:pt x="1595" y="8915"/>
                      <a:pt x="1595" y="8915"/>
                      <a:pt x="1595" y="8915"/>
                    </a:cubicBezTo>
                    <a:cubicBezTo>
                      <a:pt x="1564" y="8849"/>
                      <a:pt x="1534" y="8784"/>
                      <a:pt x="1511" y="8734"/>
                    </a:cubicBezTo>
                    <a:cubicBezTo>
                      <a:pt x="1498" y="8706"/>
                      <a:pt x="1488" y="8683"/>
                      <a:pt x="1480" y="8666"/>
                    </a:cubicBezTo>
                    <a:cubicBezTo>
                      <a:pt x="1478" y="8662"/>
                      <a:pt x="1477" y="8659"/>
                      <a:pt x="1475" y="8656"/>
                    </a:cubicBezTo>
                    <a:cubicBezTo>
                      <a:pt x="1460" y="8682"/>
                      <a:pt x="1445" y="8708"/>
                      <a:pt x="1432" y="8729"/>
                    </a:cubicBezTo>
                    <a:cubicBezTo>
                      <a:pt x="1419" y="8752"/>
                      <a:pt x="1408" y="8771"/>
                      <a:pt x="1400" y="8785"/>
                    </a:cubicBezTo>
                    <a:cubicBezTo>
                      <a:pt x="1396" y="8792"/>
                      <a:pt x="1393" y="8797"/>
                      <a:pt x="1391" y="8801"/>
                    </a:cubicBezTo>
                    <a:cubicBezTo>
                      <a:pt x="1390" y="8802"/>
                      <a:pt x="1389" y="8804"/>
                      <a:pt x="1388" y="8805"/>
                    </a:cubicBezTo>
                    <a:cubicBezTo>
                      <a:pt x="1388" y="8805"/>
                      <a:pt x="1388" y="8806"/>
                      <a:pt x="1388" y="8806"/>
                    </a:cubicBezTo>
                    <a:cubicBezTo>
                      <a:pt x="1388" y="8806"/>
                      <a:pt x="1388" y="8806"/>
                      <a:pt x="1388" y="8806"/>
                    </a:cubicBezTo>
                    <a:cubicBezTo>
                      <a:pt x="1387" y="8806"/>
                      <a:pt x="1387" y="8807"/>
                      <a:pt x="1387" y="8807"/>
                    </a:cubicBezTo>
                    <a:cubicBezTo>
                      <a:pt x="1387" y="8807"/>
                      <a:pt x="1387" y="8807"/>
                      <a:pt x="1387" y="8808"/>
                    </a:cubicBezTo>
                    <a:cubicBezTo>
                      <a:pt x="1386" y="8808"/>
                      <a:pt x="1386" y="8808"/>
                      <a:pt x="1386" y="8809"/>
                    </a:cubicBezTo>
                    <a:cubicBezTo>
                      <a:pt x="1385" y="8809"/>
                      <a:pt x="1385" y="8810"/>
                      <a:pt x="1384" y="8811"/>
                    </a:cubicBezTo>
                    <a:cubicBezTo>
                      <a:pt x="1383" y="8812"/>
                      <a:pt x="1382" y="8813"/>
                      <a:pt x="1381" y="8813"/>
                    </a:cubicBezTo>
                    <a:cubicBezTo>
                      <a:pt x="1381" y="8813"/>
                      <a:pt x="1381" y="8813"/>
                      <a:pt x="1381" y="8813"/>
                    </a:cubicBezTo>
                    <a:cubicBezTo>
                      <a:pt x="1364" y="8829"/>
                      <a:pt x="1236" y="8950"/>
                      <a:pt x="1113" y="9068"/>
                    </a:cubicBezTo>
                    <a:close/>
                    <a:moveTo>
                      <a:pt x="1248" y="9432"/>
                    </a:moveTo>
                    <a:cubicBezTo>
                      <a:pt x="1247" y="9429"/>
                      <a:pt x="1247" y="9429"/>
                      <a:pt x="1247" y="9429"/>
                    </a:cubicBezTo>
                    <a:cubicBezTo>
                      <a:pt x="1244" y="9418"/>
                      <a:pt x="1244" y="9418"/>
                      <a:pt x="1244" y="9418"/>
                    </a:cubicBezTo>
                    <a:cubicBezTo>
                      <a:pt x="1244" y="9418"/>
                      <a:pt x="1244" y="9418"/>
                      <a:pt x="1244" y="9418"/>
                    </a:cubicBezTo>
                    <a:cubicBezTo>
                      <a:pt x="1196" y="9319"/>
                      <a:pt x="1196" y="9319"/>
                      <a:pt x="1196" y="9319"/>
                    </a:cubicBezTo>
                    <a:cubicBezTo>
                      <a:pt x="1107" y="9361"/>
                      <a:pt x="1107" y="9361"/>
                      <a:pt x="1107" y="9361"/>
                    </a:cubicBezTo>
                    <a:cubicBezTo>
                      <a:pt x="1112" y="9372"/>
                      <a:pt x="1117" y="9382"/>
                      <a:pt x="1122" y="9393"/>
                    </a:cubicBezTo>
                    <a:cubicBezTo>
                      <a:pt x="1135" y="9424"/>
                      <a:pt x="1149" y="9454"/>
                      <a:pt x="1160" y="9478"/>
                    </a:cubicBezTo>
                    <a:lnTo>
                      <a:pt x="1248" y="9432"/>
                    </a:lnTo>
                    <a:close/>
                    <a:moveTo>
                      <a:pt x="1166" y="9491"/>
                    </a:moveTo>
                    <a:cubicBezTo>
                      <a:pt x="1171" y="9501"/>
                      <a:pt x="1175" y="9509"/>
                      <a:pt x="1178" y="9515"/>
                    </a:cubicBezTo>
                    <a:cubicBezTo>
                      <a:pt x="1179" y="9517"/>
                      <a:pt x="1179" y="9518"/>
                      <a:pt x="1180" y="9520"/>
                    </a:cubicBezTo>
                    <a:cubicBezTo>
                      <a:pt x="1270" y="9471"/>
                      <a:pt x="1270" y="9471"/>
                      <a:pt x="1270" y="9471"/>
                    </a:cubicBezTo>
                    <a:cubicBezTo>
                      <a:pt x="1257" y="9443"/>
                      <a:pt x="1257" y="9443"/>
                      <a:pt x="1257" y="9443"/>
                    </a:cubicBezTo>
                    <a:lnTo>
                      <a:pt x="1166" y="9491"/>
                    </a:lnTo>
                    <a:close/>
                    <a:moveTo>
                      <a:pt x="1285" y="9463"/>
                    </a:moveTo>
                    <a:cubicBezTo>
                      <a:pt x="1380" y="9412"/>
                      <a:pt x="1380" y="9412"/>
                      <a:pt x="1380" y="9412"/>
                    </a:cubicBezTo>
                    <a:cubicBezTo>
                      <a:pt x="1363" y="9374"/>
                      <a:pt x="1363" y="9374"/>
                      <a:pt x="1363" y="9374"/>
                    </a:cubicBezTo>
                    <a:cubicBezTo>
                      <a:pt x="1265" y="9423"/>
                      <a:pt x="1265" y="9423"/>
                      <a:pt x="1265" y="9423"/>
                    </a:cubicBezTo>
                    <a:lnTo>
                      <a:pt x="1285" y="9463"/>
                    </a:lnTo>
                    <a:close/>
                    <a:moveTo>
                      <a:pt x="1395" y="9404"/>
                    </a:moveTo>
                    <a:cubicBezTo>
                      <a:pt x="1503" y="9345"/>
                      <a:pt x="1503" y="9345"/>
                      <a:pt x="1503" y="9345"/>
                    </a:cubicBezTo>
                    <a:cubicBezTo>
                      <a:pt x="1482" y="9299"/>
                      <a:pt x="1482" y="9299"/>
                      <a:pt x="1482" y="9299"/>
                    </a:cubicBezTo>
                    <a:cubicBezTo>
                      <a:pt x="1372" y="9353"/>
                      <a:pt x="1372" y="9353"/>
                      <a:pt x="1372" y="9353"/>
                    </a:cubicBezTo>
                    <a:lnTo>
                      <a:pt x="1395" y="9404"/>
                    </a:lnTo>
                    <a:close/>
                    <a:moveTo>
                      <a:pt x="1518" y="9338"/>
                    </a:moveTo>
                    <a:cubicBezTo>
                      <a:pt x="1628" y="9278"/>
                      <a:pt x="1628" y="9278"/>
                      <a:pt x="1628" y="9278"/>
                    </a:cubicBezTo>
                    <a:cubicBezTo>
                      <a:pt x="1603" y="9223"/>
                      <a:pt x="1603" y="9223"/>
                      <a:pt x="1603" y="9223"/>
                    </a:cubicBezTo>
                    <a:cubicBezTo>
                      <a:pt x="1491" y="9277"/>
                      <a:pt x="1491" y="9277"/>
                      <a:pt x="1491" y="9277"/>
                    </a:cubicBezTo>
                    <a:cubicBezTo>
                      <a:pt x="1492" y="9282"/>
                      <a:pt x="1492" y="9282"/>
                      <a:pt x="1492" y="9282"/>
                    </a:cubicBezTo>
                    <a:lnTo>
                      <a:pt x="1518" y="9338"/>
                    </a:lnTo>
                    <a:close/>
                    <a:moveTo>
                      <a:pt x="1643" y="9270"/>
                    </a:moveTo>
                    <a:cubicBezTo>
                      <a:pt x="1737" y="9219"/>
                      <a:pt x="1737" y="9219"/>
                      <a:pt x="1737" y="9219"/>
                    </a:cubicBezTo>
                    <a:cubicBezTo>
                      <a:pt x="1732" y="9209"/>
                      <a:pt x="1721" y="9185"/>
                      <a:pt x="1706" y="9153"/>
                    </a:cubicBezTo>
                    <a:cubicBezTo>
                      <a:pt x="1610" y="9201"/>
                      <a:pt x="1610" y="9201"/>
                      <a:pt x="1610" y="9201"/>
                    </a:cubicBezTo>
                    <a:lnTo>
                      <a:pt x="1643" y="9270"/>
                    </a:lnTo>
                    <a:close/>
                    <a:moveTo>
                      <a:pt x="1752" y="9211"/>
                    </a:moveTo>
                    <a:cubicBezTo>
                      <a:pt x="1856" y="9155"/>
                      <a:pt x="1856" y="9155"/>
                      <a:pt x="1856" y="9155"/>
                    </a:cubicBezTo>
                    <a:cubicBezTo>
                      <a:pt x="1821" y="9080"/>
                      <a:pt x="1821" y="9080"/>
                      <a:pt x="1821" y="9080"/>
                    </a:cubicBezTo>
                    <a:cubicBezTo>
                      <a:pt x="1714" y="9131"/>
                      <a:pt x="1714" y="9131"/>
                      <a:pt x="1714" y="9131"/>
                    </a:cubicBezTo>
                    <a:cubicBezTo>
                      <a:pt x="1732" y="9170"/>
                      <a:pt x="1746" y="9199"/>
                      <a:pt x="1752" y="9211"/>
                    </a:cubicBezTo>
                    <a:close/>
                    <a:moveTo>
                      <a:pt x="1871" y="9147"/>
                    </a:moveTo>
                    <a:cubicBezTo>
                      <a:pt x="1975" y="9091"/>
                      <a:pt x="1975" y="9091"/>
                      <a:pt x="1975" y="9091"/>
                    </a:cubicBezTo>
                    <a:cubicBezTo>
                      <a:pt x="1973" y="9085"/>
                      <a:pt x="1967" y="9074"/>
                      <a:pt x="1960" y="9058"/>
                    </a:cubicBezTo>
                    <a:cubicBezTo>
                      <a:pt x="1853" y="9110"/>
                      <a:pt x="1853" y="9110"/>
                      <a:pt x="1853" y="9110"/>
                    </a:cubicBezTo>
                    <a:lnTo>
                      <a:pt x="1871" y="9147"/>
                    </a:lnTo>
                    <a:close/>
                    <a:moveTo>
                      <a:pt x="1985" y="9074"/>
                    </a:moveTo>
                    <a:cubicBezTo>
                      <a:pt x="1987" y="9078"/>
                      <a:pt x="1988" y="9080"/>
                      <a:pt x="1990" y="9083"/>
                    </a:cubicBezTo>
                    <a:cubicBezTo>
                      <a:pt x="2087" y="9031"/>
                      <a:pt x="2087" y="9031"/>
                      <a:pt x="2087" y="9031"/>
                    </a:cubicBezTo>
                    <a:cubicBezTo>
                      <a:pt x="2065" y="8984"/>
                      <a:pt x="2065" y="8984"/>
                      <a:pt x="2065" y="8984"/>
                    </a:cubicBezTo>
                    <a:cubicBezTo>
                      <a:pt x="1969" y="9034"/>
                      <a:pt x="1969" y="9034"/>
                      <a:pt x="1969" y="9034"/>
                    </a:cubicBezTo>
                    <a:cubicBezTo>
                      <a:pt x="1969" y="9035"/>
                      <a:pt x="1969" y="9035"/>
                      <a:pt x="1969" y="9035"/>
                    </a:cubicBezTo>
                    <a:cubicBezTo>
                      <a:pt x="1968" y="9035"/>
                      <a:pt x="1968" y="9035"/>
                      <a:pt x="1968" y="9035"/>
                    </a:cubicBezTo>
                    <a:cubicBezTo>
                      <a:pt x="1975" y="9051"/>
                      <a:pt x="1981" y="9064"/>
                      <a:pt x="1985" y="9074"/>
                    </a:cubicBezTo>
                    <a:close/>
                    <a:moveTo>
                      <a:pt x="2194" y="8974"/>
                    </a:moveTo>
                    <a:cubicBezTo>
                      <a:pt x="2232" y="8955"/>
                      <a:pt x="2301" y="8921"/>
                      <a:pt x="2387" y="8875"/>
                    </a:cubicBezTo>
                    <a:cubicBezTo>
                      <a:pt x="2440" y="8848"/>
                      <a:pt x="2499" y="8816"/>
                      <a:pt x="2563" y="8782"/>
                    </a:cubicBezTo>
                    <a:cubicBezTo>
                      <a:pt x="2514" y="8679"/>
                      <a:pt x="2514" y="8679"/>
                      <a:pt x="2514" y="8679"/>
                    </a:cubicBezTo>
                    <a:cubicBezTo>
                      <a:pt x="2501" y="8687"/>
                      <a:pt x="2419" y="8734"/>
                      <a:pt x="2336" y="8782"/>
                    </a:cubicBezTo>
                    <a:cubicBezTo>
                      <a:pt x="2290" y="8808"/>
                      <a:pt x="2245" y="8835"/>
                      <a:pt x="2211" y="8855"/>
                    </a:cubicBezTo>
                    <a:cubicBezTo>
                      <a:pt x="2194" y="8865"/>
                      <a:pt x="2180" y="8873"/>
                      <a:pt x="2170" y="8879"/>
                    </a:cubicBezTo>
                    <a:cubicBezTo>
                      <a:pt x="2165" y="8882"/>
                      <a:pt x="2162" y="8885"/>
                      <a:pt x="2159" y="8887"/>
                    </a:cubicBezTo>
                    <a:cubicBezTo>
                      <a:pt x="2158" y="8887"/>
                      <a:pt x="2157" y="8888"/>
                      <a:pt x="2157" y="8888"/>
                    </a:cubicBezTo>
                    <a:cubicBezTo>
                      <a:pt x="2172" y="8917"/>
                      <a:pt x="2172" y="8917"/>
                      <a:pt x="2172" y="8917"/>
                    </a:cubicBezTo>
                    <a:cubicBezTo>
                      <a:pt x="2168" y="8919"/>
                      <a:pt x="2168" y="8919"/>
                      <a:pt x="2168" y="8919"/>
                    </a:cubicBezTo>
                    <a:lnTo>
                      <a:pt x="2194" y="8974"/>
                    </a:lnTo>
                    <a:close/>
                    <a:moveTo>
                      <a:pt x="2603" y="8761"/>
                    </a:moveTo>
                    <a:cubicBezTo>
                      <a:pt x="2684" y="8718"/>
                      <a:pt x="2770" y="8672"/>
                      <a:pt x="2857" y="8626"/>
                    </a:cubicBezTo>
                    <a:cubicBezTo>
                      <a:pt x="2599" y="8368"/>
                      <a:pt x="2599" y="8368"/>
                      <a:pt x="2599" y="8368"/>
                    </a:cubicBezTo>
                    <a:cubicBezTo>
                      <a:pt x="2595" y="8370"/>
                      <a:pt x="2587" y="8373"/>
                      <a:pt x="2579" y="8376"/>
                    </a:cubicBezTo>
                    <a:cubicBezTo>
                      <a:pt x="2795" y="8585"/>
                      <a:pt x="2795" y="8585"/>
                      <a:pt x="2795" y="8585"/>
                    </a:cubicBezTo>
                    <a:cubicBezTo>
                      <a:pt x="2750" y="8594"/>
                      <a:pt x="2750" y="8594"/>
                      <a:pt x="2750" y="8594"/>
                    </a:cubicBezTo>
                    <a:cubicBezTo>
                      <a:pt x="2654" y="8501"/>
                      <a:pt x="2654" y="8501"/>
                      <a:pt x="2654" y="8501"/>
                    </a:cubicBezTo>
                    <a:cubicBezTo>
                      <a:pt x="2642" y="8619"/>
                      <a:pt x="2642" y="8619"/>
                      <a:pt x="2642" y="8619"/>
                    </a:cubicBezTo>
                    <a:cubicBezTo>
                      <a:pt x="2565" y="8639"/>
                      <a:pt x="2565" y="8639"/>
                      <a:pt x="2565" y="8639"/>
                    </a:cubicBezTo>
                    <a:cubicBezTo>
                      <a:pt x="2469" y="8419"/>
                      <a:pt x="2469" y="8419"/>
                      <a:pt x="2469" y="8419"/>
                    </a:cubicBezTo>
                    <a:cubicBezTo>
                      <a:pt x="2576" y="8377"/>
                      <a:pt x="2576" y="8377"/>
                      <a:pt x="2576" y="8377"/>
                    </a:cubicBezTo>
                    <a:cubicBezTo>
                      <a:pt x="2560" y="8383"/>
                      <a:pt x="2540" y="8390"/>
                      <a:pt x="2520" y="8398"/>
                    </a:cubicBezTo>
                    <a:cubicBezTo>
                      <a:pt x="2499" y="8406"/>
                      <a:pt x="2478" y="8413"/>
                      <a:pt x="2462" y="8420"/>
                    </a:cubicBezTo>
                    <a:cubicBezTo>
                      <a:pt x="2454" y="8423"/>
                      <a:pt x="2448" y="8425"/>
                      <a:pt x="2443" y="8427"/>
                    </a:cubicBezTo>
                    <a:cubicBezTo>
                      <a:pt x="2443" y="8428"/>
                      <a:pt x="2442" y="8428"/>
                      <a:pt x="2442" y="8428"/>
                    </a:cubicBezTo>
                    <a:cubicBezTo>
                      <a:pt x="2544" y="8641"/>
                      <a:pt x="2544" y="8641"/>
                      <a:pt x="2544" y="8641"/>
                    </a:cubicBezTo>
                    <a:cubicBezTo>
                      <a:pt x="2546" y="8640"/>
                      <a:pt x="2546" y="8640"/>
                      <a:pt x="2546" y="8640"/>
                    </a:cubicBezTo>
                    <a:lnTo>
                      <a:pt x="2603" y="8761"/>
                    </a:lnTo>
                    <a:close/>
                    <a:moveTo>
                      <a:pt x="2575" y="8392"/>
                    </a:moveTo>
                    <a:cubicBezTo>
                      <a:pt x="2487" y="8427"/>
                      <a:pt x="2487" y="8427"/>
                      <a:pt x="2487" y="8427"/>
                    </a:cubicBezTo>
                    <a:cubicBezTo>
                      <a:pt x="2573" y="8623"/>
                      <a:pt x="2573" y="8623"/>
                      <a:pt x="2573" y="8623"/>
                    </a:cubicBezTo>
                    <a:cubicBezTo>
                      <a:pt x="2629" y="8608"/>
                      <a:pt x="2629" y="8608"/>
                      <a:pt x="2629" y="8608"/>
                    </a:cubicBezTo>
                    <a:cubicBezTo>
                      <a:pt x="2641" y="8500"/>
                      <a:pt x="2641" y="8500"/>
                      <a:pt x="2641" y="8500"/>
                    </a:cubicBezTo>
                    <a:cubicBezTo>
                      <a:pt x="2644" y="8471"/>
                      <a:pt x="2644" y="8471"/>
                      <a:pt x="2644" y="8471"/>
                    </a:cubicBezTo>
                    <a:cubicBezTo>
                      <a:pt x="2664" y="8491"/>
                      <a:pt x="2664" y="8491"/>
                      <a:pt x="2664" y="8491"/>
                    </a:cubicBezTo>
                    <a:cubicBezTo>
                      <a:pt x="2754" y="8579"/>
                      <a:pt x="2754" y="8579"/>
                      <a:pt x="2754" y="8579"/>
                    </a:cubicBezTo>
                    <a:cubicBezTo>
                      <a:pt x="2766" y="8577"/>
                      <a:pt x="2766" y="8577"/>
                      <a:pt x="2766" y="8577"/>
                    </a:cubicBezTo>
                    <a:lnTo>
                      <a:pt x="2575" y="8392"/>
                    </a:lnTo>
                    <a:close/>
                    <a:moveTo>
                      <a:pt x="3353" y="8138"/>
                    </a:moveTo>
                    <a:cubicBezTo>
                      <a:pt x="3354" y="8139"/>
                      <a:pt x="3355" y="8140"/>
                      <a:pt x="3355" y="8140"/>
                    </a:cubicBezTo>
                    <a:cubicBezTo>
                      <a:pt x="3360" y="8141"/>
                      <a:pt x="3366" y="8143"/>
                      <a:pt x="3376" y="8146"/>
                    </a:cubicBezTo>
                    <a:cubicBezTo>
                      <a:pt x="3405" y="8155"/>
                      <a:pt x="3456" y="8170"/>
                      <a:pt x="3472" y="8175"/>
                    </a:cubicBezTo>
                    <a:cubicBezTo>
                      <a:pt x="3655" y="7957"/>
                      <a:pt x="3655" y="7957"/>
                      <a:pt x="3655" y="7957"/>
                    </a:cubicBezTo>
                    <a:cubicBezTo>
                      <a:pt x="3511" y="7569"/>
                      <a:pt x="3511" y="7569"/>
                      <a:pt x="3511" y="7569"/>
                    </a:cubicBezTo>
                    <a:cubicBezTo>
                      <a:pt x="3434" y="7552"/>
                      <a:pt x="3434" y="7552"/>
                      <a:pt x="3434" y="7552"/>
                    </a:cubicBezTo>
                    <a:cubicBezTo>
                      <a:pt x="3056" y="7846"/>
                      <a:pt x="3056" y="7846"/>
                      <a:pt x="3056" y="7846"/>
                    </a:cubicBezTo>
                    <a:cubicBezTo>
                      <a:pt x="3089" y="7878"/>
                      <a:pt x="3128" y="7916"/>
                      <a:pt x="3168" y="7956"/>
                    </a:cubicBezTo>
                    <a:cubicBezTo>
                      <a:pt x="3215" y="8002"/>
                      <a:pt x="3263" y="8049"/>
                      <a:pt x="3298" y="8084"/>
                    </a:cubicBezTo>
                    <a:cubicBezTo>
                      <a:pt x="3316" y="8102"/>
                      <a:pt x="3331" y="8116"/>
                      <a:pt x="3341" y="8126"/>
                    </a:cubicBezTo>
                    <a:cubicBezTo>
                      <a:pt x="3346" y="8131"/>
                      <a:pt x="3350" y="8135"/>
                      <a:pt x="3353" y="8138"/>
                    </a:cubicBezTo>
                    <a:close/>
                    <a:moveTo>
                      <a:pt x="3674" y="7961"/>
                    </a:moveTo>
                    <a:cubicBezTo>
                      <a:pt x="3726" y="7979"/>
                      <a:pt x="3726" y="7979"/>
                      <a:pt x="3726" y="7979"/>
                    </a:cubicBezTo>
                    <a:cubicBezTo>
                      <a:pt x="3881" y="7909"/>
                      <a:pt x="3881" y="7909"/>
                      <a:pt x="3881" y="7909"/>
                    </a:cubicBezTo>
                    <a:cubicBezTo>
                      <a:pt x="3881" y="7908"/>
                      <a:pt x="3881" y="7907"/>
                      <a:pt x="3881" y="7906"/>
                    </a:cubicBezTo>
                    <a:cubicBezTo>
                      <a:pt x="3881" y="7905"/>
                      <a:pt x="3880" y="7904"/>
                      <a:pt x="3880" y="7903"/>
                    </a:cubicBezTo>
                    <a:cubicBezTo>
                      <a:pt x="3880" y="7903"/>
                      <a:pt x="3880" y="7903"/>
                      <a:pt x="3880" y="7903"/>
                    </a:cubicBezTo>
                    <a:cubicBezTo>
                      <a:pt x="3874" y="7865"/>
                      <a:pt x="3857" y="7760"/>
                      <a:pt x="3857" y="7700"/>
                    </a:cubicBezTo>
                    <a:cubicBezTo>
                      <a:pt x="3857" y="7697"/>
                      <a:pt x="3857" y="7695"/>
                      <a:pt x="3857" y="7693"/>
                    </a:cubicBezTo>
                    <a:cubicBezTo>
                      <a:pt x="3857" y="7691"/>
                      <a:pt x="3856" y="7689"/>
                      <a:pt x="3856" y="7686"/>
                    </a:cubicBezTo>
                    <a:cubicBezTo>
                      <a:pt x="3856" y="7684"/>
                      <a:pt x="3856" y="7681"/>
                      <a:pt x="3855" y="7679"/>
                    </a:cubicBezTo>
                    <a:cubicBezTo>
                      <a:pt x="3589" y="7733"/>
                      <a:pt x="3589" y="7733"/>
                      <a:pt x="3589" y="7733"/>
                    </a:cubicBezTo>
                    <a:lnTo>
                      <a:pt x="3674" y="7961"/>
                    </a:lnTo>
                    <a:close/>
                    <a:moveTo>
                      <a:pt x="3904" y="7587"/>
                    </a:moveTo>
                    <a:cubicBezTo>
                      <a:pt x="3906" y="7590"/>
                      <a:pt x="3906" y="7590"/>
                      <a:pt x="3906" y="7590"/>
                    </a:cubicBezTo>
                    <a:cubicBezTo>
                      <a:pt x="3908" y="7593"/>
                      <a:pt x="3915" y="7605"/>
                      <a:pt x="3918" y="7626"/>
                    </a:cubicBezTo>
                    <a:cubicBezTo>
                      <a:pt x="3919" y="7630"/>
                      <a:pt x="3919" y="7634"/>
                      <a:pt x="3920" y="7638"/>
                    </a:cubicBezTo>
                    <a:cubicBezTo>
                      <a:pt x="4033" y="7589"/>
                      <a:pt x="4033" y="7589"/>
                      <a:pt x="4033" y="7589"/>
                    </a:cubicBezTo>
                    <a:cubicBezTo>
                      <a:pt x="4144" y="7534"/>
                      <a:pt x="4144" y="7534"/>
                      <a:pt x="4144" y="7534"/>
                    </a:cubicBezTo>
                    <a:cubicBezTo>
                      <a:pt x="4143" y="7531"/>
                      <a:pt x="4143" y="7531"/>
                      <a:pt x="4143" y="7531"/>
                    </a:cubicBezTo>
                    <a:cubicBezTo>
                      <a:pt x="4143" y="7531"/>
                      <a:pt x="4143" y="7531"/>
                      <a:pt x="4143" y="7531"/>
                    </a:cubicBezTo>
                    <a:cubicBezTo>
                      <a:pt x="4143" y="7531"/>
                      <a:pt x="4158" y="7525"/>
                      <a:pt x="4181" y="7514"/>
                    </a:cubicBezTo>
                    <a:cubicBezTo>
                      <a:pt x="4166" y="7500"/>
                      <a:pt x="4102" y="7441"/>
                      <a:pt x="4039" y="7381"/>
                    </a:cubicBezTo>
                    <a:cubicBezTo>
                      <a:pt x="4002" y="7347"/>
                      <a:pt x="3965" y="7313"/>
                      <a:pt x="3938" y="7287"/>
                    </a:cubicBezTo>
                    <a:cubicBezTo>
                      <a:pt x="3924" y="7274"/>
                      <a:pt x="3913" y="7264"/>
                      <a:pt x="3905" y="7256"/>
                    </a:cubicBezTo>
                    <a:cubicBezTo>
                      <a:pt x="3901" y="7252"/>
                      <a:pt x="3898" y="7249"/>
                      <a:pt x="3896" y="7247"/>
                    </a:cubicBezTo>
                    <a:cubicBezTo>
                      <a:pt x="3895" y="7247"/>
                      <a:pt x="3895" y="7246"/>
                      <a:pt x="3895" y="7246"/>
                    </a:cubicBezTo>
                    <a:cubicBezTo>
                      <a:pt x="3886" y="7245"/>
                      <a:pt x="3866" y="7242"/>
                      <a:pt x="3858" y="7241"/>
                    </a:cubicBezTo>
                    <a:cubicBezTo>
                      <a:pt x="3710" y="7361"/>
                      <a:pt x="3710" y="7361"/>
                      <a:pt x="3710" y="7361"/>
                    </a:cubicBezTo>
                    <a:lnTo>
                      <a:pt x="3904" y="7587"/>
                    </a:lnTo>
                    <a:close/>
                    <a:moveTo>
                      <a:pt x="4103" y="8021"/>
                    </a:moveTo>
                    <a:cubicBezTo>
                      <a:pt x="4140" y="8022"/>
                      <a:pt x="4177" y="8025"/>
                      <a:pt x="4215" y="8028"/>
                    </a:cubicBezTo>
                    <a:cubicBezTo>
                      <a:pt x="4204" y="7977"/>
                      <a:pt x="4204" y="7977"/>
                      <a:pt x="4204" y="7977"/>
                    </a:cubicBezTo>
                    <a:cubicBezTo>
                      <a:pt x="4117" y="7990"/>
                      <a:pt x="4117" y="7990"/>
                      <a:pt x="4117" y="7990"/>
                    </a:cubicBezTo>
                    <a:cubicBezTo>
                      <a:pt x="4093" y="7835"/>
                      <a:pt x="4093" y="7835"/>
                      <a:pt x="4093" y="7835"/>
                    </a:cubicBezTo>
                    <a:cubicBezTo>
                      <a:pt x="4170" y="7824"/>
                      <a:pt x="4170" y="7824"/>
                      <a:pt x="4170" y="7824"/>
                    </a:cubicBezTo>
                    <a:cubicBezTo>
                      <a:pt x="4124" y="7620"/>
                      <a:pt x="4124" y="7620"/>
                      <a:pt x="4124" y="7620"/>
                    </a:cubicBezTo>
                    <a:cubicBezTo>
                      <a:pt x="4062" y="7651"/>
                      <a:pt x="4062" y="7651"/>
                      <a:pt x="4062" y="7651"/>
                    </a:cubicBezTo>
                    <a:cubicBezTo>
                      <a:pt x="4017" y="7671"/>
                      <a:pt x="4017" y="7671"/>
                      <a:pt x="4017" y="7671"/>
                    </a:cubicBezTo>
                    <a:lnTo>
                      <a:pt x="4103" y="8021"/>
                    </a:lnTo>
                    <a:close/>
                    <a:moveTo>
                      <a:pt x="6535" y="8016"/>
                    </a:moveTo>
                    <a:cubicBezTo>
                      <a:pt x="6557" y="7934"/>
                      <a:pt x="6581" y="7855"/>
                      <a:pt x="6621" y="7802"/>
                    </a:cubicBezTo>
                    <a:cubicBezTo>
                      <a:pt x="6651" y="7762"/>
                      <a:pt x="6672" y="7734"/>
                      <a:pt x="6694" y="7714"/>
                    </a:cubicBezTo>
                    <a:cubicBezTo>
                      <a:pt x="6715" y="7693"/>
                      <a:pt x="6738" y="7678"/>
                      <a:pt x="6778" y="7661"/>
                    </a:cubicBezTo>
                    <a:cubicBezTo>
                      <a:pt x="6857" y="7628"/>
                      <a:pt x="7002" y="7596"/>
                      <a:pt x="7284" y="7542"/>
                    </a:cubicBezTo>
                    <a:cubicBezTo>
                      <a:pt x="7865" y="7431"/>
                      <a:pt x="8188" y="7146"/>
                      <a:pt x="8325" y="6909"/>
                    </a:cubicBezTo>
                    <a:cubicBezTo>
                      <a:pt x="8374" y="6822"/>
                      <a:pt x="8390" y="6696"/>
                      <a:pt x="8391" y="6536"/>
                    </a:cubicBezTo>
                    <a:cubicBezTo>
                      <a:pt x="8391" y="6522"/>
                      <a:pt x="8390" y="6507"/>
                      <a:pt x="8390" y="6493"/>
                    </a:cubicBezTo>
                    <a:cubicBezTo>
                      <a:pt x="8353" y="6488"/>
                      <a:pt x="8311" y="6483"/>
                      <a:pt x="8267" y="6478"/>
                    </a:cubicBezTo>
                    <a:cubicBezTo>
                      <a:pt x="8267" y="6497"/>
                      <a:pt x="8268" y="6516"/>
                      <a:pt x="8268" y="6534"/>
                    </a:cubicBezTo>
                    <a:cubicBezTo>
                      <a:pt x="8268" y="6536"/>
                      <a:pt x="8268" y="6536"/>
                      <a:pt x="8268" y="6536"/>
                    </a:cubicBezTo>
                    <a:cubicBezTo>
                      <a:pt x="8268" y="6540"/>
                      <a:pt x="8268" y="6543"/>
                      <a:pt x="8268" y="6546"/>
                    </a:cubicBezTo>
                    <a:cubicBezTo>
                      <a:pt x="8267" y="6691"/>
                      <a:pt x="8247" y="6802"/>
                      <a:pt x="8219" y="6848"/>
                    </a:cubicBezTo>
                    <a:cubicBezTo>
                      <a:pt x="8102" y="7050"/>
                      <a:pt x="7812" y="7315"/>
                      <a:pt x="7261" y="7421"/>
                    </a:cubicBezTo>
                    <a:cubicBezTo>
                      <a:pt x="7049" y="7462"/>
                      <a:pt x="6913" y="7490"/>
                      <a:pt x="6816" y="7518"/>
                    </a:cubicBezTo>
                    <a:cubicBezTo>
                      <a:pt x="6720" y="7546"/>
                      <a:pt x="6658" y="7578"/>
                      <a:pt x="6609" y="7624"/>
                    </a:cubicBezTo>
                    <a:cubicBezTo>
                      <a:pt x="6577" y="7655"/>
                      <a:pt x="6552" y="7689"/>
                      <a:pt x="6522" y="7729"/>
                    </a:cubicBezTo>
                    <a:cubicBezTo>
                      <a:pt x="6520" y="7732"/>
                      <a:pt x="6517" y="7736"/>
                      <a:pt x="6515" y="7740"/>
                    </a:cubicBezTo>
                    <a:cubicBezTo>
                      <a:pt x="6516" y="7741"/>
                      <a:pt x="6516" y="7741"/>
                      <a:pt x="6516" y="7741"/>
                    </a:cubicBezTo>
                    <a:cubicBezTo>
                      <a:pt x="6508" y="7752"/>
                      <a:pt x="6508" y="7752"/>
                      <a:pt x="6508" y="7752"/>
                    </a:cubicBezTo>
                    <a:cubicBezTo>
                      <a:pt x="6507" y="7751"/>
                      <a:pt x="6507" y="7751"/>
                      <a:pt x="6507" y="7751"/>
                    </a:cubicBezTo>
                    <a:cubicBezTo>
                      <a:pt x="6483" y="7788"/>
                      <a:pt x="6466" y="7828"/>
                      <a:pt x="6451" y="7868"/>
                    </a:cubicBezTo>
                    <a:cubicBezTo>
                      <a:pt x="6454" y="7869"/>
                      <a:pt x="6454" y="7869"/>
                      <a:pt x="6454" y="7869"/>
                    </a:cubicBezTo>
                    <a:cubicBezTo>
                      <a:pt x="6447" y="7882"/>
                      <a:pt x="6447" y="7882"/>
                      <a:pt x="6447" y="7882"/>
                    </a:cubicBezTo>
                    <a:cubicBezTo>
                      <a:pt x="6447" y="7881"/>
                      <a:pt x="6447" y="7881"/>
                      <a:pt x="6447" y="7881"/>
                    </a:cubicBezTo>
                    <a:cubicBezTo>
                      <a:pt x="6438" y="7908"/>
                      <a:pt x="6430" y="7935"/>
                      <a:pt x="6423" y="7962"/>
                    </a:cubicBezTo>
                    <a:cubicBezTo>
                      <a:pt x="6418" y="7977"/>
                      <a:pt x="6414" y="7992"/>
                      <a:pt x="6410" y="8007"/>
                    </a:cubicBezTo>
                    <a:cubicBezTo>
                      <a:pt x="6462" y="8011"/>
                      <a:pt x="6505" y="8014"/>
                      <a:pt x="6535" y="8016"/>
                    </a:cubicBezTo>
                    <a:close/>
                    <a:moveTo>
                      <a:pt x="8404" y="6428"/>
                    </a:moveTo>
                    <a:cubicBezTo>
                      <a:pt x="8447" y="6433"/>
                      <a:pt x="8484" y="6438"/>
                      <a:pt x="8513" y="6441"/>
                    </a:cubicBezTo>
                    <a:cubicBezTo>
                      <a:pt x="8517" y="6442"/>
                      <a:pt x="8520" y="6443"/>
                      <a:pt x="8524" y="6443"/>
                    </a:cubicBezTo>
                    <a:cubicBezTo>
                      <a:pt x="8524" y="6334"/>
                      <a:pt x="8521" y="6231"/>
                      <a:pt x="8516" y="6149"/>
                    </a:cubicBezTo>
                    <a:cubicBezTo>
                      <a:pt x="8501" y="5849"/>
                      <a:pt x="8327" y="5393"/>
                      <a:pt x="8215" y="5181"/>
                    </a:cubicBezTo>
                    <a:cubicBezTo>
                      <a:pt x="8096" y="4977"/>
                      <a:pt x="8096" y="4977"/>
                      <a:pt x="8096" y="4977"/>
                    </a:cubicBezTo>
                    <a:cubicBezTo>
                      <a:pt x="7997" y="4973"/>
                      <a:pt x="7997" y="4973"/>
                      <a:pt x="7997" y="4973"/>
                    </a:cubicBezTo>
                    <a:cubicBezTo>
                      <a:pt x="8039" y="5039"/>
                      <a:pt x="8077" y="5108"/>
                      <a:pt x="8108" y="5180"/>
                    </a:cubicBezTo>
                    <a:cubicBezTo>
                      <a:pt x="8287" y="5583"/>
                      <a:pt x="8387" y="6065"/>
                      <a:pt x="8404" y="6428"/>
                    </a:cubicBezTo>
                    <a:close/>
                    <a:moveTo>
                      <a:pt x="8056" y="4909"/>
                    </a:moveTo>
                    <a:cubicBezTo>
                      <a:pt x="7797" y="4464"/>
                      <a:pt x="7797" y="4464"/>
                      <a:pt x="7797" y="4464"/>
                    </a:cubicBezTo>
                    <a:cubicBezTo>
                      <a:pt x="7392" y="3451"/>
                      <a:pt x="7392" y="3451"/>
                      <a:pt x="7392" y="3451"/>
                    </a:cubicBezTo>
                    <a:cubicBezTo>
                      <a:pt x="7382" y="3457"/>
                      <a:pt x="7372" y="3462"/>
                      <a:pt x="7363" y="3467"/>
                    </a:cubicBezTo>
                    <a:cubicBezTo>
                      <a:pt x="7250" y="3534"/>
                      <a:pt x="7163" y="3623"/>
                      <a:pt x="7142" y="3761"/>
                    </a:cubicBezTo>
                    <a:cubicBezTo>
                      <a:pt x="7140" y="3771"/>
                      <a:pt x="7140" y="3781"/>
                      <a:pt x="7140" y="3791"/>
                    </a:cubicBezTo>
                    <a:cubicBezTo>
                      <a:pt x="7140" y="3792"/>
                      <a:pt x="7140" y="3793"/>
                      <a:pt x="7140" y="3793"/>
                    </a:cubicBezTo>
                    <a:cubicBezTo>
                      <a:pt x="7139" y="3861"/>
                      <a:pt x="7175" y="3947"/>
                      <a:pt x="7241" y="4044"/>
                    </a:cubicBezTo>
                    <a:cubicBezTo>
                      <a:pt x="7341" y="4191"/>
                      <a:pt x="7506" y="4360"/>
                      <a:pt x="7671" y="4548"/>
                    </a:cubicBezTo>
                    <a:cubicBezTo>
                      <a:pt x="7769" y="4659"/>
                      <a:pt x="7868" y="4778"/>
                      <a:pt x="7954" y="4905"/>
                    </a:cubicBezTo>
                    <a:lnTo>
                      <a:pt x="8056" y="4909"/>
                    </a:lnTo>
                    <a:close/>
                    <a:moveTo>
                      <a:pt x="10529" y="2537"/>
                    </a:moveTo>
                    <a:cubicBezTo>
                      <a:pt x="10526" y="2527"/>
                      <a:pt x="10524" y="2516"/>
                      <a:pt x="10521" y="2507"/>
                    </a:cubicBezTo>
                    <a:cubicBezTo>
                      <a:pt x="10512" y="2474"/>
                      <a:pt x="10504" y="2444"/>
                      <a:pt x="10497" y="2418"/>
                    </a:cubicBezTo>
                    <a:cubicBezTo>
                      <a:pt x="10487" y="2421"/>
                      <a:pt x="10477" y="2424"/>
                      <a:pt x="10467" y="2427"/>
                    </a:cubicBezTo>
                    <a:cubicBezTo>
                      <a:pt x="10293" y="2480"/>
                      <a:pt x="10062" y="2546"/>
                      <a:pt x="9809" y="2616"/>
                    </a:cubicBezTo>
                    <a:cubicBezTo>
                      <a:pt x="9302" y="2758"/>
                      <a:pt x="8702" y="2919"/>
                      <a:pt x="8270" y="3036"/>
                    </a:cubicBezTo>
                    <a:cubicBezTo>
                      <a:pt x="7982" y="3114"/>
                      <a:pt x="7770" y="3171"/>
                      <a:pt x="7706" y="3191"/>
                    </a:cubicBezTo>
                    <a:cubicBezTo>
                      <a:pt x="7697" y="3194"/>
                      <a:pt x="7693" y="3195"/>
                      <a:pt x="7685" y="3198"/>
                    </a:cubicBezTo>
                    <a:cubicBezTo>
                      <a:pt x="7677" y="3202"/>
                      <a:pt x="7646" y="3210"/>
                      <a:pt x="7606" y="3222"/>
                    </a:cubicBezTo>
                    <a:cubicBezTo>
                      <a:pt x="7570" y="3232"/>
                      <a:pt x="7525" y="3245"/>
                      <a:pt x="7477" y="3263"/>
                    </a:cubicBezTo>
                    <a:cubicBezTo>
                      <a:pt x="7499" y="3309"/>
                      <a:pt x="7512" y="3341"/>
                      <a:pt x="7512" y="3342"/>
                    </a:cubicBezTo>
                    <a:cubicBezTo>
                      <a:pt x="7526" y="3376"/>
                      <a:pt x="7526" y="3376"/>
                      <a:pt x="7526" y="3376"/>
                    </a:cubicBezTo>
                    <a:cubicBezTo>
                      <a:pt x="7583" y="3355"/>
                      <a:pt x="7637" y="3341"/>
                      <a:pt x="7676" y="3330"/>
                    </a:cubicBezTo>
                    <a:cubicBezTo>
                      <a:pt x="7699" y="3323"/>
                      <a:pt x="7716" y="3319"/>
                      <a:pt x="7732" y="3312"/>
                    </a:cubicBezTo>
                    <a:cubicBezTo>
                      <a:pt x="7741" y="3309"/>
                      <a:pt x="7741" y="3309"/>
                      <a:pt x="7741" y="3309"/>
                    </a:cubicBezTo>
                    <a:cubicBezTo>
                      <a:pt x="7741" y="3309"/>
                      <a:pt x="7741" y="3309"/>
                      <a:pt x="7741" y="3309"/>
                    </a:cubicBezTo>
                    <a:cubicBezTo>
                      <a:pt x="7744" y="3308"/>
                      <a:pt x="7748" y="3307"/>
                      <a:pt x="7753" y="3305"/>
                    </a:cubicBezTo>
                    <a:cubicBezTo>
                      <a:pt x="7766" y="3301"/>
                      <a:pt x="7785" y="3296"/>
                      <a:pt x="7808" y="3290"/>
                    </a:cubicBezTo>
                    <a:cubicBezTo>
                      <a:pt x="7854" y="3277"/>
                      <a:pt x="7918" y="3259"/>
                      <a:pt x="7996" y="3238"/>
                    </a:cubicBezTo>
                    <a:cubicBezTo>
                      <a:pt x="8152" y="3195"/>
                      <a:pt x="8363" y="3138"/>
                      <a:pt x="8601" y="3074"/>
                    </a:cubicBezTo>
                    <a:cubicBezTo>
                      <a:pt x="9078" y="2945"/>
                      <a:pt x="9659" y="2787"/>
                      <a:pt x="10110" y="2659"/>
                    </a:cubicBezTo>
                    <a:cubicBezTo>
                      <a:pt x="10270" y="2614"/>
                      <a:pt x="10413" y="2572"/>
                      <a:pt x="10529" y="2537"/>
                    </a:cubicBezTo>
                    <a:close/>
                    <a:moveTo>
                      <a:pt x="10493" y="2402"/>
                    </a:moveTo>
                    <a:cubicBezTo>
                      <a:pt x="10486" y="2377"/>
                      <a:pt x="10480" y="2355"/>
                      <a:pt x="10475" y="2338"/>
                    </a:cubicBezTo>
                    <a:cubicBezTo>
                      <a:pt x="10423" y="2351"/>
                      <a:pt x="10337" y="2373"/>
                      <a:pt x="10227" y="2401"/>
                    </a:cubicBezTo>
                    <a:cubicBezTo>
                      <a:pt x="9955" y="2469"/>
                      <a:pt x="9548" y="2573"/>
                      <a:pt x="9208" y="2658"/>
                    </a:cubicBezTo>
                    <a:cubicBezTo>
                      <a:pt x="9038" y="2701"/>
                      <a:pt x="8885" y="2740"/>
                      <a:pt x="8774" y="2768"/>
                    </a:cubicBezTo>
                    <a:cubicBezTo>
                      <a:pt x="8719" y="2782"/>
                      <a:pt x="8674" y="2793"/>
                      <a:pt x="8643" y="2801"/>
                    </a:cubicBezTo>
                    <a:cubicBezTo>
                      <a:pt x="8627" y="2805"/>
                      <a:pt x="8615" y="2808"/>
                      <a:pt x="8607" y="2810"/>
                    </a:cubicBezTo>
                    <a:cubicBezTo>
                      <a:pt x="8603" y="2811"/>
                      <a:pt x="8600" y="2812"/>
                      <a:pt x="8598" y="2812"/>
                    </a:cubicBezTo>
                    <a:cubicBezTo>
                      <a:pt x="8597" y="2812"/>
                      <a:pt x="8597" y="2812"/>
                      <a:pt x="8597" y="2812"/>
                    </a:cubicBezTo>
                    <a:cubicBezTo>
                      <a:pt x="8588" y="2815"/>
                      <a:pt x="8588" y="2815"/>
                      <a:pt x="8588" y="2815"/>
                    </a:cubicBezTo>
                    <a:cubicBezTo>
                      <a:pt x="8587" y="2815"/>
                      <a:pt x="8587" y="2815"/>
                      <a:pt x="8587" y="2815"/>
                    </a:cubicBezTo>
                    <a:cubicBezTo>
                      <a:pt x="8529" y="2833"/>
                      <a:pt x="8244" y="2921"/>
                      <a:pt x="7963" y="3008"/>
                    </a:cubicBezTo>
                    <a:cubicBezTo>
                      <a:pt x="7751" y="3073"/>
                      <a:pt x="7542" y="3137"/>
                      <a:pt x="7430" y="3172"/>
                    </a:cubicBezTo>
                    <a:cubicBezTo>
                      <a:pt x="7434" y="3180"/>
                      <a:pt x="7439" y="3187"/>
                      <a:pt x="7443" y="3195"/>
                    </a:cubicBezTo>
                    <a:cubicBezTo>
                      <a:pt x="7453" y="3214"/>
                      <a:pt x="7461" y="3231"/>
                      <a:pt x="7469" y="3248"/>
                    </a:cubicBezTo>
                    <a:cubicBezTo>
                      <a:pt x="7519" y="3230"/>
                      <a:pt x="7565" y="3216"/>
                      <a:pt x="7602" y="3206"/>
                    </a:cubicBezTo>
                    <a:cubicBezTo>
                      <a:pt x="7641" y="3195"/>
                      <a:pt x="7674" y="3185"/>
                      <a:pt x="7679" y="3183"/>
                    </a:cubicBezTo>
                    <a:cubicBezTo>
                      <a:pt x="7687" y="3180"/>
                      <a:pt x="7693" y="3178"/>
                      <a:pt x="7701" y="3175"/>
                    </a:cubicBezTo>
                    <a:cubicBezTo>
                      <a:pt x="7766" y="3155"/>
                      <a:pt x="7977" y="3098"/>
                      <a:pt x="8266" y="3020"/>
                    </a:cubicBezTo>
                    <a:cubicBezTo>
                      <a:pt x="8698" y="2903"/>
                      <a:pt x="9297" y="2742"/>
                      <a:pt x="9804" y="2600"/>
                    </a:cubicBezTo>
                    <a:cubicBezTo>
                      <a:pt x="10058" y="2530"/>
                      <a:pt x="10288" y="2464"/>
                      <a:pt x="10462" y="2412"/>
                    </a:cubicBezTo>
                    <a:cubicBezTo>
                      <a:pt x="10473" y="2408"/>
                      <a:pt x="10482" y="2405"/>
                      <a:pt x="10493" y="2402"/>
                    </a:cubicBezTo>
                    <a:close/>
                    <a:moveTo>
                      <a:pt x="8503" y="2717"/>
                    </a:moveTo>
                    <a:cubicBezTo>
                      <a:pt x="8505" y="2711"/>
                      <a:pt x="8507" y="2706"/>
                      <a:pt x="8510" y="2701"/>
                    </a:cubicBezTo>
                    <a:cubicBezTo>
                      <a:pt x="8510" y="2701"/>
                      <a:pt x="8509" y="2702"/>
                      <a:pt x="8509" y="2703"/>
                    </a:cubicBezTo>
                    <a:cubicBezTo>
                      <a:pt x="8506" y="2708"/>
                      <a:pt x="8504" y="2713"/>
                      <a:pt x="8503" y="2717"/>
                    </a:cubicBezTo>
                    <a:close/>
                    <a:moveTo>
                      <a:pt x="8526" y="2674"/>
                    </a:moveTo>
                    <a:cubicBezTo>
                      <a:pt x="8524" y="2625"/>
                      <a:pt x="8519" y="2536"/>
                      <a:pt x="8516" y="2458"/>
                    </a:cubicBezTo>
                    <a:cubicBezTo>
                      <a:pt x="7276" y="2482"/>
                      <a:pt x="7276" y="2482"/>
                      <a:pt x="7276" y="2482"/>
                    </a:cubicBezTo>
                    <a:cubicBezTo>
                      <a:pt x="7273" y="2481"/>
                      <a:pt x="7273" y="2481"/>
                      <a:pt x="7273" y="2481"/>
                    </a:cubicBezTo>
                    <a:cubicBezTo>
                      <a:pt x="7273" y="2481"/>
                      <a:pt x="7175" y="2465"/>
                      <a:pt x="7064" y="2449"/>
                    </a:cubicBezTo>
                    <a:cubicBezTo>
                      <a:pt x="6953" y="2433"/>
                      <a:pt x="6827" y="2416"/>
                      <a:pt x="6781" y="2417"/>
                    </a:cubicBezTo>
                    <a:cubicBezTo>
                      <a:pt x="6731" y="2417"/>
                      <a:pt x="6691" y="2421"/>
                      <a:pt x="6660" y="2432"/>
                    </a:cubicBezTo>
                    <a:cubicBezTo>
                      <a:pt x="6630" y="2443"/>
                      <a:pt x="6609" y="2458"/>
                      <a:pt x="6591" y="2482"/>
                    </a:cubicBezTo>
                    <a:cubicBezTo>
                      <a:pt x="6521" y="2728"/>
                      <a:pt x="6521" y="2728"/>
                      <a:pt x="6521" y="2728"/>
                    </a:cubicBezTo>
                    <a:cubicBezTo>
                      <a:pt x="6687" y="2770"/>
                      <a:pt x="6841" y="2809"/>
                      <a:pt x="6890" y="2820"/>
                    </a:cubicBezTo>
                    <a:cubicBezTo>
                      <a:pt x="6994" y="2845"/>
                      <a:pt x="7143" y="2866"/>
                      <a:pt x="7273" y="2967"/>
                    </a:cubicBezTo>
                    <a:cubicBezTo>
                      <a:pt x="7299" y="2987"/>
                      <a:pt x="7322" y="3012"/>
                      <a:pt x="7344" y="3039"/>
                    </a:cubicBezTo>
                    <a:cubicBezTo>
                      <a:pt x="7438" y="3009"/>
                      <a:pt x="7683" y="2934"/>
                      <a:pt x="7927" y="2859"/>
                    </a:cubicBezTo>
                    <a:cubicBezTo>
                      <a:pt x="8084" y="2811"/>
                      <a:pt x="8240" y="2762"/>
                      <a:pt x="8358" y="2726"/>
                    </a:cubicBezTo>
                    <a:cubicBezTo>
                      <a:pt x="8416" y="2708"/>
                      <a:pt x="8465" y="2693"/>
                      <a:pt x="8500" y="2683"/>
                    </a:cubicBezTo>
                    <a:cubicBezTo>
                      <a:pt x="8510" y="2679"/>
                      <a:pt x="8519" y="2677"/>
                      <a:pt x="8526" y="2674"/>
                    </a:cubicBezTo>
                    <a:close/>
                    <a:moveTo>
                      <a:pt x="4747" y="3719"/>
                    </a:moveTo>
                    <a:cubicBezTo>
                      <a:pt x="4623" y="3687"/>
                      <a:pt x="4465" y="3635"/>
                      <a:pt x="4287" y="3573"/>
                    </a:cubicBezTo>
                    <a:cubicBezTo>
                      <a:pt x="4272" y="3606"/>
                      <a:pt x="4238" y="3683"/>
                      <a:pt x="4208" y="3754"/>
                    </a:cubicBezTo>
                    <a:cubicBezTo>
                      <a:pt x="4177" y="3824"/>
                      <a:pt x="4149" y="3890"/>
                      <a:pt x="4140" y="3912"/>
                    </a:cubicBezTo>
                    <a:cubicBezTo>
                      <a:pt x="4142" y="3936"/>
                      <a:pt x="4147" y="4009"/>
                      <a:pt x="4151" y="4097"/>
                    </a:cubicBezTo>
                    <a:cubicBezTo>
                      <a:pt x="4660" y="4208"/>
                      <a:pt x="4660" y="4208"/>
                      <a:pt x="4660" y="4208"/>
                    </a:cubicBezTo>
                    <a:cubicBezTo>
                      <a:pt x="4662" y="4209"/>
                      <a:pt x="4662" y="4209"/>
                      <a:pt x="4662" y="4209"/>
                    </a:cubicBezTo>
                    <a:cubicBezTo>
                      <a:pt x="4662" y="4209"/>
                      <a:pt x="4755" y="4292"/>
                      <a:pt x="4849" y="4375"/>
                    </a:cubicBezTo>
                    <a:cubicBezTo>
                      <a:pt x="4896" y="4416"/>
                      <a:pt x="4943" y="4458"/>
                      <a:pt x="4979" y="4489"/>
                    </a:cubicBezTo>
                    <a:cubicBezTo>
                      <a:pt x="4997" y="4505"/>
                      <a:pt x="5012" y="4518"/>
                      <a:pt x="5023" y="4527"/>
                    </a:cubicBezTo>
                    <a:cubicBezTo>
                      <a:pt x="5029" y="4532"/>
                      <a:pt x="5033" y="4536"/>
                      <a:pt x="5036" y="4538"/>
                    </a:cubicBezTo>
                    <a:cubicBezTo>
                      <a:pt x="5038" y="4539"/>
                      <a:pt x="5039" y="4540"/>
                      <a:pt x="5040" y="4541"/>
                    </a:cubicBezTo>
                    <a:cubicBezTo>
                      <a:pt x="5040" y="4541"/>
                      <a:pt x="5040" y="4541"/>
                      <a:pt x="5040" y="4541"/>
                    </a:cubicBezTo>
                    <a:cubicBezTo>
                      <a:pt x="5049" y="4544"/>
                      <a:pt x="5414" y="4659"/>
                      <a:pt x="5415" y="4659"/>
                    </a:cubicBezTo>
                    <a:cubicBezTo>
                      <a:pt x="5419" y="4661"/>
                      <a:pt x="5419" y="4661"/>
                      <a:pt x="5419" y="4661"/>
                    </a:cubicBezTo>
                    <a:cubicBezTo>
                      <a:pt x="5438" y="5213"/>
                      <a:pt x="5438" y="5213"/>
                      <a:pt x="5438" y="5213"/>
                    </a:cubicBezTo>
                    <a:cubicBezTo>
                      <a:pt x="6061" y="5109"/>
                      <a:pt x="6061" y="5109"/>
                      <a:pt x="6061" y="5109"/>
                    </a:cubicBezTo>
                    <a:cubicBezTo>
                      <a:pt x="6104" y="4852"/>
                      <a:pt x="6104" y="4852"/>
                      <a:pt x="6104" y="4852"/>
                    </a:cubicBezTo>
                    <a:cubicBezTo>
                      <a:pt x="6104" y="4852"/>
                      <a:pt x="6106" y="4839"/>
                      <a:pt x="6108" y="4814"/>
                    </a:cubicBezTo>
                    <a:cubicBezTo>
                      <a:pt x="6111" y="4789"/>
                      <a:pt x="6113" y="4754"/>
                      <a:pt x="6113" y="4713"/>
                    </a:cubicBezTo>
                    <a:cubicBezTo>
                      <a:pt x="6113" y="4640"/>
                      <a:pt x="6105" y="4549"/>
                      <a:pt x="6078" y="4466"/>
                    </a:cubicBezTo>
                    <a:cubicBezTo>
                      <a:pt x="6050" y="4383"/>
                      <a:pt x="6004" y="4311"/>
                      <a:pt x="5927" y="4268"/>
                    </a:cubicBezTo>
                    <a:cubicBezTo>
                      <a:pt x="5656" y="4117"/>
                      <a:pt x="5545" y="3989"/>
                      <a:pt x="5369" y="3915"/>
                    </a:cubicBezTo>
                    <a:cubicBezTo>
                      <a:pt x="5189" y="3837"/>
                      <a:pt x="4948" y="3772"/>
                      <a:pt x="4747" y="3719"/>
                    </a:cubicBezTo>
                    <a:close/>
                    <a:moveTo>
                      <a:pt x="4225" y="3551"/>
                    </a:moveTo>
                    <a:cubicBezTo>
                      <a:pt x="4129" y="3517"/>
                      <a:pt x="4028" y="3480"/>
                      <a:pt x="3925" y="3442"/>
                    </a:cubicBezTo>
                    <a:cubicBezTo>
                      <a:pt x="3763" y="3382"/>
                      <a:pt x="3585" y="3305"/>
                      <a:pt x="3435" y="3240"/>
                    </a:cubicBezTo>
                    <a:cubicBezTo>
                      <a:pt x="3286" y="3175"/>
                      <a:pt x="3161" y="3121"/>
                      <a:pt x="3117" y="3110"/>
                    </a:cubicBezTo>
                    <a:cubicBezTo>
                      <a:pt x="3076" y="3099"/>
                      <a:pt x="3015" y="3085"/>
                      <a:pt x="2943" y="3085"/>
                    </a:cubicBezTo>
                    <a:cubicBezTo>
                      <a:pt x="2844" y="3085"/>
                      <a:pt x="2724" y="3111"/>
                      <a:pt x="2603" y="3213"/>
                    </a:cubicBezTo>
                    <a:cubicBezTo>
                      <a:pt x="2531" y="3273"/>
                      <a:pt x="2416" y="3404"/>
                      <a:pt x="2260" y="3574"/>
                    </a:cubicBezTo>
                    <a:cubicBezTo>
                      <a:pt x="2111" y="3735"/>
                      <a:pt x="1948" y="3912"/>
                      <a:pt x="1821" y="4049"/>
                    </a:cubicBezTo>
                    <a:cubicBezTo>
                      <a:pt x="1757" y="4118"/>
                      <a:pt x="1703" y="4177"/>
                      <a:pt x="1664" y="4218"/>
                    </a:cubicBezTo>
                    <a:cubicBezTo>
                      <a:pt x="1652" y="4231"/>
                      <a:pt x="1642" y="4242"/>
                      <a:pt x="1633" y="4252"/>
                    </a:cubicBezTo>
                    <a:cubicBezTo>
                      <a:pt x="2208" y="4669"/>
                      <a:pt x="2208" y="4669"/>
                      <a:pt x="2208" y="4669"/>
                    </a:cubicBezTo>
                    <a:cubicBezTo>
                      <a:pt x="2641" y="4178"/>
                      <a:pt x="2641" y="4178"/>
                      <a:pt x="2641" y="4178"/>
                    </a:cubicBezTo>
                    <a:cubicBezTo>
                      <a:pt x="3709" y="4048"/>
                      <a:pt x="3709" y="4048"/>
                      <a:pt x="3709" y="4048"/>
                    </a:cubicBezTo>
                    <a:cubicBezTo>
                      <a:pt x="4084" y="4086"/>
                      <a:pt x="4084" y="4086"/>
                      <a:pt x="4084" y="4086"/>
                    </a:cubicBezTo>
                    <a:cubicBezTo>
                      <a:pt x="4080" y="3987"/>
                      <a:pt x="4074" y="3909"/>
                      <a:pt x="4074" y="3909"/>
                    </a:cubicBezTo>
                    <a:cubicBezTo>
                      <a:pt x="4074" y="3901"/>
                      <a:pt x="4074" y="3901"/>
                      <a:pt x="4074" y="3901"/>
                    </a:cubicBezTo>
                    <a:cubicBezTo>
                      <a:pt x="4077" y="3894"/>
                      <a:pt x="4077" y="3894"/>
                      <a:pt x="4077" y="3894"/>
                    </a:cubicBezTo>
                    <a:cubicBezTo>
                      <a:pt x="4077" y="3894"/>
                      <a:pt x="4115" y="3803"/>
                      <a:pt x="4155" y="3711"/>
                    </a:cubicBezTo>
                    <a:cubicBezTo>
                      <a:pt x="4174" y="3665"/>
                      <a:pt x="4194" y="3619"/>
                      <a:pt x="4210" y="3584"/>
                    </a:cubicBezTo>
                    <a:cubicBezTo>
                      <a:pt x="4216" y="3571"/>
                      <a:pt x="4221" y="3561"/>
                      <a:pt x="4225" y="3551"/>
                    </a:cubicBezTo>
                    <a:close/>
                    <a:moveTo>
                      <a:pt x="1593" y="4304"/>
                    </a:moveTo>
                    <a:cubicBezTo>
                      <a:pt x="1593" y="4304"/>
                      <a:pt x="1592" y="4304"/>
                      <a:pt x="1592" y="4303"/>
                    </a:cubicBezTo>
                    <a:cubicBezTo>
                      <a:pt x="1589" y="4310"/>
                      <a:pt x="1585" y="4319"/>
                      <a:pt x="1581" y="4330"/>
                    </a:cubicBezTo>
                    <a:cubicBezTo>
                      <a:pt x="1559" y="4383"/>
                      <a:pt x="1523" y="4474"/>
                      <a:pt x="1509" y="4511"/>
                    </a:cubicBezTo>
                    <a:cubicBezTo>
                      <a:pt x="1783" y="4667"/>
                      <a:pt x="1783" y="4667"/>
                      <a:pt x="1783" y="4667"/>
                    </a:cubicBezTo>
                    <a:cubicBezTo>
                      <a:pt x="1909" y="4533"/>
                      <a:pt x="1909" y="4533"/>
                      <a:pt x="1909" y="4533"/>
                    </a:cubicBezTo>
                    <a:lnTo>
                      <a:pt x="1593" y="4304"/>
                    </a:lnTo>
                    <a:close/>
                    <a:moveTo>
                      <a:pt x="1763" y="4825"/>
                    </a:moveTo>
                    <a:cubicBezTo>
                      <a:pt x="2088" y="5010"/>
                      <a:pt x="2088" y="5010"/>
                      <a:pt x="2088" y="5010"/>
                    </a:cubicBezTo>
                    <a:cubicBezTo>
                      <a:pt x="2146" y="4907"/>
                      <a:pt x="2146" y="4907"/>
                      <a:pt x="2146" y="4907"/>
                    </a:cubicBezTo>
                    <a:cubicBezTo>
                      <a:pt x="2283" y="4985"/>
                      <a:pt x="2283" y="4985"/>
                      <a:pt x="2283" y="4985"/>
                    </a:cubicBezTo>
                    <a:cubicBezTo>
                      <a:pt x="2280" y="4990"/>
                      <a:pt x="2280" y="4990"/>
                      <a:pt x="2280" y="4990"/>
                    </a:cubicBezTo>
                    <a:cubicBezTo>
                      <a:pt x="2225" y="5088"/>
                      <a:pt x="2225" y="5088"/>
                      <a:pt x="2225" y="5088"/>
                    </a:cubicBezTo>
                    <a:cubicBezTo>
                      <a:pt x="2272" y="5115"/>
                      <a:pt x="2272" y="5115"/>
                      <a:pt x="2272" y="5115"/>
                    </a:cubicBezTo>
                    <a:cubicBezTo>
                      <a:pt x="2337" y="4999"/>
                      <a:pt x="2337" y="4999"/>
                      <a:pt x="2337" y="4999"/>
                    </a:cubicBezTo>
                    <a:cubicBezTo>
                      <a:pt x="1792" y="4688"/>
                      <a:pt x="1792" y="4688"/>
                      <a:pt x="1792" y="4688"/>
                    </a:cubicBezTo>
                    <a:lnTo>
                      <a:pt x="1763" y="4825"/>
                    </a:lnTo>
                    <a:close/>
                    <a:moveTo>
                      <a:pt x="1755" y="4836"/>
                    </a:moveTo>
                    <a:cubicBezTo>
                      <a:pt x="1675" y="4916"/>
                      <a:pt x="1675" y="4916"/>
                      <a:pt x="1675" y="4916"/>
                    </a:cubicBezTo>
                    <a:cubicBezTo>
                      <a:pt x="2027" y="5117"/>
                      <a:pt x="2027" y="5117"/>
                      <a:pt x="2027" y="5117"/>
                    </a:cubicBezTo>
                    <a:cubicBezTo>
                      <a:pt x="2081" y="5022"/>
                      <a:pt x="2081" y="5022"/>
                      <a:pt x="2081" y="5022"/>
                    </a:cubicBezTo>
                    <a:lnTo>
                      <a:pt x="1755" y="4836"/>
                    </a:lnTo>
                    <a:close/>
                    <a:moveTo>
                      <a:pt x="1742" y="4829"/>
                    </a:moveTo>
                    <a:cubicBezTo>
                      <a:pt x="1338" y="4598"/>
                      <a:pt x="1338" y="4598"/>
                      <a:pt x="1338" y="4598"/>
                    </a:cubicBezTo>
                    <a:cubicBezTo>
                      <a:pt x="1286" y="4693"/>
                      <a:pt x="1286" y="4693"/>
                      <a:pt x="1286" y="4693"/>
                    </a:cubicBezTo>
                    <a:cubicBezTo>
                      <a:pt x="1663" y="4909"/>
                      <a:pt x="1663" y="4909"/>
                      <a:pt x="1663" y="4909"/>
                    </a:cubicBezTo>
                    <a:lnTo>
                      <a:pt x="1742" y="4829"/>
                    </a:lnTo>
                    <a:close/>
                    <a:moveTo>
                      <a:pt x="1380" y="4493"/>
                    </a:moveTo>
                    <a:cubicBezTo>
                      <a:pt x="1264" y="4431"/>
                      <a:pt x="1264" y="4431"/>
                      <a:pt x="1264" y="4431"/>
                    </a:cubicBezTo>
                    <a:cubicBezTo>
                      <a:pt x="1219" y="4514"/>
                      <a:pt x="1219" y="4514"/>
                      <a:pt x="1219" y="4514"/>
                    </a:cubicBezTo>
                    <a:cubicBezTo>
                      <a:pt x="1333" y="4579"/>
                      <a:pt x="1333" y="4579"/>
                      <a:pt x="1333" y="4579"/>
                    </a:cubicBezTo>
                    <a:lnTo>
                      <a:pt x="1380" y="4493"/>
                    </a:lnTo>
                    <a:close/>
                    <a:moveTo>
                      <a:pt x="1212" y="4526"/>
                    </a:moveTo>
                    <a:cubicBezTo>
                      <a:pt x="1160" y="4622"/>
                      <a:pt x="1160" y="4622"/>
                      <a:pt x="1160" y="4622"/>
                    </a:cubicBezTo>
                    <a:cubicBezTo>
                      <a:pt x="1274" y="4687"/>
                      <a:pt x="1274" y="4687"/>
                      <a:pt x="1274" y="4687"/>
                    </a:cubicBezTo>
                    <a:cubicBezTo>
                      <a:pt x="1326" y="4592"/>
                      <a:pt x="1326" y="4592"/>
                      <a:pt x="1326" y="4592"/>
                    </a:cubicBezTo>
                    <a:lnTo>
                      <a:pt x="1212" y="4526"/>
                    </a:lnTo>
                    <a:close/>
                    <a:moveTo>
                      <a:pt x="1154" y="4634"/>
                    </a:moveTo>
                    <a:cubicBezTo>
                      <a:pt x="1106" y="4722"/>
                      <a:pt x="1106" y="4722"/>
                      <a:pt x="1106" y="4722"/>
                    </a:cubicBezTo>
                    <a:cubicBezTo>
                      <a:pt x="1220" y="4787"/>
                      <a:pt x="1220" y="4787"/>
                      <a:pt x="1220" y="4787"/>
                    </a:cubicBezTo>
                    <a:cubicBezTo>
                      <a:pt x="1268" y="4699"/>
                      <a:pt x="1268" y="4699"/>
                      <a:pt x="1268" y="4699"/>
                    </a:cubicBezTo>
                    <a:lnTo>
                      <a:pt x="1154" y="4634"/>
                    </a:lnTo>
                    <a:close/>
                    <a:moveTo>
                      <a:pt x="1099" y="4734"/>
                    </a:moveTo>
                    <a:cubicBezTo>
                      <a:pt x="1049" y="4827"/>
                      <a:pt x="1049" y="4827"/>
                      <a:pt x="1049" y="4827"/>
                    </a:cubicBezTo>
                    <a:cubicBezTo>
                      <a:pt x="1163" y="4892"/>
                      <a:pt x="1163" y="4892"/>
                      <a:pt x="1163" y="4892"/>
                    </a:cubicBezTo>
                    <a:cubicBezTo>
                      <a:pt x="1213" y="4799"/>
                      <a:pt x="1213" y="4799"/>
                      <a:pt x="1213" y="4799"/>
                    </a:cubicBezTo>
                    <a:lnTo>
                      <a:pt x="1099" y="4734"/>
                    </a:lnTo>
                    <a:close/>
                    <a:moveTo>
                      <a:pt x="1042" y="4839"/>
                    </a:moveTo>
                    <a:cubicBezTo>
                      <a:pt x="984" y="4946"/>
                      <a:pt x="984" y="4946"/>
                      <a:pt x="984" y="4946"/>
                    </a:cubicBezTo>
                    <a:cubicBezTo>
                      <a:pt x="1098" y="5011"/>
                      <a:pt x="1098" y="5011"/>
                      <a:pt x="1098" y="5011"/>
                    </a:cubicBezTo>
                    <a:cubicBezTo>
                      <a:pt x="1156" y="4904"/>
                      <a:pt x="1156" y="4904"/>
                      <a:pt x="1156" y="4904"/>
                    </a:cubicBezTo>
                    <a:lnTo>
                      <a:pt x="1042" y="4839"/>
                    </a:lnTo>
                    <a:close/>
                    <a:moveTo>
                      <a:pt x="977" y="4959"/>
                    </a:moveTo>
                    <a:cubicBezTo>
                      <a:pt x="920" y="5063"/>
                      <a:pt x="920" y="5063"/>
                      <a:pt x="920" y="5063"/>
                    </a:cubicBezTo>
                    <a:cubicBezTo>
                      <a:pt x="1034" y="5128"/>
                      <a:pt x="1034" y="5128"/>
                      <a:pt x="1034" y="5128"/>
                    </a:cubicBezTo>
                    <a:cubicBezTo>
                      <a:pt x="1091" y="5024"/>
                      <a:pt x="1091" y="5024"/>
                      <a:pt x="1091" y="5024"/>
                    </a:cubicBezTo>
                    <a:lnTo>
                      <a:pt x="977" y="4959"/>
                    </a:lnTo>
                    <a:close/>
                    <a:moveTo>
                      <a:pt x="914" y="5075"/>
                    </a:moveTo>
                    <a:cubicBezTo>
                      <a:pt x="861" y="5171"/>
                      <a:pt x="861" y="5171"/>
                      <a:pt x="861" y="5171"/>
                    </a:cubicBezTo>
                    <a:cubicBezTo>
                      <a:pt x="975" y="5236"/>
                      <a:pt x="975" y="5236"/>
                      <a:pt x="975" y="5236"/>
                    </a:cubicBezTo>
                    <a:cubicBezTo>
                      <a:pt x="1028" y="5140"/>
                      <a:pt x="1028" y="5140"/>
                      <a:pt x="1028" y="5140"/>
                    </a:cubicBezTo>
                    <a:lnTo>
                      <a:pt x="914" y="5075"/>
                    </a:lnTo>
                    <a:close/>
                    <a:moveTo>
                      <a:pt x="855" y="5183"/>
                    </a:moveTo>
                    <a:cubicBezTo>
                      <a:pt x="790" y="5301"/>
                      <a:pt x="790" y="5301"/>
                      <a:pt x="790" y="5301"/>
                    </a:cubicBezTo>
                    <a:cubicBezTo>
                      <a:pt x="905" y="5367"/>
                      <a:pt x="905" y="5367"/>
                      <a:pt x="905" y="5367"/>
                    </a:cubicBezTo>
                    <a:cubicBezTo>
                      <a:pt x="969" y="5248"/>
                      <a:pt x="969" y="5248"/>
                      <a:pt x="969" y="5248"/>
                    </a:cubicBezTo>
                    <a:lnTo>
                      <a:pt x="855" y="5183"/>
                    </a:lnTo>
                    <a:close/>
                    <a:moveTo>
                      <a:pt x="784" y="5314"/>
                    </a:moveTo>
                    <a:cubicBezTo>
                      <a:pt x="732" y="5409"/>
                      <a:pt x="732" y="5409"/>
                      <a:pt x="732" y="5409"/>
                    </a:cubicBezTo>
                    <a:cubicBezTo>
                      <a:pt x="846" y="5474"/>
                      <a:pt x="846" y="5474"/>
                      <a:pt x="846" y="5474"/>
                    </a:cubicBezTo>
                    <a:cubicBezTo>
                      <a:pt x="898" y="5379"/>
                      <a:pt x="898" y="5379"/>
                      <a:pt x="898" y="5379"/>
                    </a:cubicBezTo>
                    <a:lnTo>
                      <a:pt x="784" y="5314"/>
                    </a:lnTo>
                    <a:close/>
                    <a:moveTo>
                      <a:pt x="725" y="5421"/>
                    </a:moveTo>
                    <a:cubicBezTo>
                      <a:pt x="667" y="5528"/>
                      <a:pt x="667" y="5528"/>
                      <a:pt x="667" y="5528"/>
                    </a:cubicBezTo>
                    <a:cubicBezTo>
                      <a:pt x="781" y="5593"/>
                      <a:pt x="781" y="5593"/>
                      <a:pt x="781" y="5593"/>
                    </a:cubicBezTo>
                    <a:cubicBezTo>
                      <a:pt x="839" y="5487"/>
                      <a:pt x="839" y="5487"/>
                      <a:pt x="839" y="5487"/>
                    </a:cubicBezTo>
                    <a:lnTo>
                      <a:pt x="725" y="5421"/>
                    </a:lnTo>
                    <a:close/>
                    <a:moveTo>
                      <a:pt x="661" y="5540"/>
                    </a:moveTo>
                    <a:cubicBezTo>
                      <a:pt x="610" y="5633"/>
                      <a:pt x="610" y="5633"/>
                      <a:pt x="610" y="5633"/>
                    </a:cubicBezTo>
                    <a:cubicBezTo>
                      <a:pt x="724" y="5698"/>
                      <a:pt x="724" y="5698"/>
                      <a:pt x="724" y="5698"/>
                    </a:cubicBezTo>
                    <a:cubicBezTo>
                      <a:pt x="775" y="5605"/>
                      <a:pt x="775" y="5605"/>
                      <a:pt x="775" y="5605"/>
                    </a:cubicBezTo>
                    <a:lnTo>
                      <a:pt x="661" y="5540"/>
                    </a:lnTo>
                    <a:close/>
                    <a:moveTo>
                      <a:pt x="603" y="5645"/>
                    </a:moveTo>
                    <a:cubicBezTo>
                      <a:pt x="545" y="5753"/>
                      <a:pt x="545" y="5753"/>
                      <a:pt x="545" y="5753"/>
                    </a:cubicBezTo>
                    <a:cubicBezTo>
                      <a:pt x="659" y="5818"/>
                      <a:pt x="659" y="5818"/>
                      <a:pt x="659" y="5818"/>
                    </a:cubicBezTo>
                    <a:cubicBezTo>
                      <a:pt x="717" y="5710"/>
                      <a:pt x="717" y="5710"/>
                      <a:pt x="717" y="5710"/>
                    </a:cubicBezTo>
                    <a:lnTo>
                      <a:pt x="603" y="5645"/>
                    </a:lnTo>
                    <a:close/>
                    <a:moveTo>
                      <a:pt x="538" y="5765"/>
                    </a:moveTo>
                    <a:cubicBezTo>
                      <a:pt x="482" y="5869"/>
                      <a:pt x="482" y="5869"/>
                      <a:pt x="482" y="5869"/>
                    </a:cubicBezTo>
                    <a:cubicBezTo>
                      <a:pt x="596" y="5934"/>
                      <a:pt x="596" y="5934"/>
                      <a:pt x="596" y="5934"/>
                    </a:cubicBezTo>
                    <a:cubicBezTo>
                      <a:pt x="652" y="5830"/>
                      <a:pt x="652" y="5830"/>
                      <a:pt x="652" y="5830"/>
                    </a:cubicBezTo>
                    <a:lnTo>
                      <a:pt x="538" y="5765"/>
                    </a:lnTo>
                    <a:close/>
                    <a:moveTo>
                      <a:pt x="548" y="6049"/>
                    </a:moveTo>
                    <a:cubicBezTo>
                      <a:pt x="894" y="6246"/>
                      <a:pt x="894" y="6246"/>
                      <a:pt x="894" y="6246"/>
                    </a:cubicBezTo>
                    <a:cubicBezTo>
                      <a:pt x="936" y="6145"/>
                      <a:pt x="936" y="6145"/>
                      <a:pt x="936" y="6145"/>
                    </a:cubicBezTo>
                    <a:cubicBezTo>
                      <a:pt x="600" y="5953"/>
                      <a:pt x="600" y="5953"/>
                      <a:pt x="600" y="5953"/>
                    </a:cubicBezTo>
                    <a:lnTo>
                      <a:pt x="548" y="6049"/>
                    </a:lnTo>
                    <a:close/>
                    <a:moveTo>
                      <a:pt x="859" y="6366"/>
                    </a:moveTo>
                    <a:cubicBezTo>
                      <a:pt x="1401" y="6675"/>
                      <a:pt x="1401" y="6675"/>
                      <a:pt x="1401" y="6675"/>
                    </a:cubicBezTo>
                    <a:cubicBezTo>
                      <a:pt x="1405" y="6665"/>
                      <a:pt x="1408" y="6659"/>
                      <a:pt x="1408" y="6659"/>
                    </a:cubicBezTo>
                    <a:cubicBezTo>
                      <a:pt x="1408" y="6657"/>
                      <a:pt x="1408" y="6657"/>
                      <a:pt x="1408" y="6657"/>
                    </a:cubicBezTo>
                    <a:cubicBezTo>
                      <a:pt x="1451" y="6581"/>
                      <a:pt x="1451" y="6581"/>
                      <a:pt x="1451" y="6581"/>
                    </a:cubicBezTo>
                    <a:cubicBezTo>
                      <a:pt x="1396" y="6549"/>
                      <a:pt x="1396" y="6549"/>
                      <a:pt x="1396" y="6549"/>
                    </a:cubicBezTo>
                    <a:cubicBezTo>
                      <a:pt x="1357" y="6617"/>
                      <a:pt x="1357" y="6617"/>
                      <a:pt x="1357" y="6617"/>
                    </a:cubicBezTo>
                    <a:cubicBezTo>
                      <a:pt x="1220" y="6539"/>
                      <a:pt x="1220" y="6539"/>
                      <a:pt x="1220" y="6539"/>
                    </a:cubicBezTo>
                    <a:cubicBezTo>
                      <a:pt x="1259" y="6471"/>
                      <a:pt x="1259" y="6471"/>
                      <a:pt x="1259" y="6471"/>
                    </a:cubicBezTo>
                    <a:cubicBezTo>
                      <a:pt x="901" y="6266"/>
                      <a:pt x="901" y="6266"/>
                      <a:pt x="901" y="6266"/>
                    </a:cubicBezTo>
                    <a:lnTo>
                      <a:pt x="859" y="6366"/>
                    </a:lnTo>
                    <a:close/>
                    <a:moveTo>
                      <a:pt x="854" y="6378"/>
                    </a:moveTo>
                    <a:cubicBezTo>
                      <a:pt x="850" y="6387"/>
                      <a:pt x="850" y="6387"/>
                      <a:pt x="850" y="6387"/>
                    </a:cubicBezTo>
                    <a:cubicBezTo>
                      <a:pt x="849" y="6388"/>
                      <a:pt x="849" y="6388"/>
                      <a:pt x="849" y="6388"/>
                    </a:cubicBezTo>
                    <a:cubicBezTo>
                      <a:pt x="849" y="6388"/>
                      <a:pt x="790" y="6454"/>
                      <a:pt x="713" y="6542"/>
                    </a:cubicBezTo>
                    <a:cubicBezTo>
                      <a:pt x="739" y="6563"/>
                      <a:pt x="765" y="6586"/>
                      <a:pt x="789" y="6608"/>
                    </a:cubicBezTo>
                    <a:cubicBezTo>
                      <a:pt x="957" y="6762"/>
                      <a:pt x="1066" y="6933"/>
                      <a:pt x="1111" y="7010"/>
                    </a:cubicBezTo>
                    <a:cubicBezTo>
                      <a:pt x="1135" y="7006"/>
                      <a:pt x="1181" y="6994"/>
                      <a:pt x="1227" y="6964"/>
                    </a:cubicBezTo>
                    <a:cubicBezTo>
                      <a:pt x="1238" y="6958"/>
                      <a:pt x="1259" y="6934"/>
                      <a:pt x="1279" y="6903"/>
                    </a:cubicBezTo>
                    <a:cubicBezTo>
                      <a:pt x="1310" y="6857"/>
                      <a:pt x="1343" y="6796"/>
                      <a:pt x="1367" y="6746"/>
                    </a:cubicBezTo>
                    <a:cubicBezTo>
                      <a:pt x="1378" y="6723"/>
                      <a:pt x="1388" y="6703"/>
                      <a:pt x="1395" y="6687"/>
                    </a:cubicBezTo>
                    <a:lnTo>
                      <a:pt x="854" y="6378"/>
                    </a:lnTo>
                    <a:close/>
                    <a:moveTo>
                      <a:pt x="1079" y="7230"/>
                    </a:moveTo>
                    <a:cubicBezTo>
                      <a:pt x="1065" y="7266"/>
                      <a:pt x="1065" y="7266"/>
                      <a:pt x="1065" y="7266"/>
                    </a:cubicBezTo>
                    <a:cubicBezTo>
                      <a:pt x="1064" y="7266"/>
                      <a:pt x="1064" y="7266"/>
                      <a:pt x="1064" y="7266"/>
                    </a:cubicBezTo>
                    <a:cubicBezTo>
                      <a:pt x="1047" y="7310"/>
                      <a:pt x="1047" y="7310"/>
                      <a:pt x="1047" y="7310"/>
                    </a:cubicBezTo>
                    <a:cubicBezTo>
                      <a:pt x="1242" y="7485"/>
                      <a:pt x="1242" y="7485"/>
                      <a:pt x="1242" y="7485"/>
                    </a:cubicBezTo>
                    <a:cubicBezTo>
                      <a:pt x="1347" y="7358"/>
                      <a:pt x="1347" y="7358"/>
                      <a:pt x="1347" y="7358"/>
                    </a:cubicBezTo>
                    <a:cubicBezTo>
                      <a:pt x="1381" y="7197"/>
                      <a:pt x="1381" y="7197"/>
                      <a:pt x="1381" y="7197"/>
                    </a:cubicBezTo>
                    <a:cubicBezTo>
                      <a:pt x="1361" y="7166"/>
                      <a:pt x="1361" y="7166"/>
                      <a:pt x="1361" y="7166"/>
                    </a:cubicBezTo>
                    <a:cubicBezTo>
                      <a:pt x="1359" y="7166"/>
                      <a:pt x="1359" y="7166"/>
                      <a:pt x="1359" y="7166"/>
                    </a:cubicBezTo>
                    <a:cubicBezTo>
                      <a:pt x="1351" y="7168"/>
                      <a:pt x="1282" y="7183"/>
                      <a:pt x="1213" y="7199"/>
                    </a:cubicBezTo>
                    <a:cubicBezTo>
                      <a:pt x="1176" y="7207"/>
                      <a:pt x="1140" y="7216"/>
                      <a:pt x="1112" y="7222"/>
                    </a:cubicBezTo>
                    <a:cubicBezTo>
                      <a:pt x="1098" y="7225"/>
                      <a:pt x="1087" y="7228"/>
                      <a:pt x="1079" y="7230"/>
                    </a:cubicBezTo>
                    <a:cubicBezTo>
                      <a:pt x="1079" y="7230"/>
                      <a:pt x="1079" y="7230"/>
                      <a:pt x="1079" y="7230"/>
                    </a:cubicBezTo>
                    <a:close/>
                    <a:moveTo>
                      <a:pt x="1040" y="7326"/>
                    </a:moveTo>
                    <a:cubicBezTo>
                      <a:pt x="945" y="7569"/>
                      <a:pt x="945" y="7569"/>
                      <a:pt x="945" y="7569"/>
                    </a:cubicBezTo>
                    <a:cubicBezTo>
                      <a:pt x="1090" y="7661"/>
                      <a:pt x="1090" y="7661"/>
                      <a:pt x="1090" y="7661"/>
                    </a:cubicBezTo>
                    <a:cubicBezTo>
                      <a:pt x="1181" y="7923"/>
                      <a:pt x="1181" y="7923"/>
                      <a:pt x="1181" y="7923"/>
                    </a:cubicBezTo>
                    <a:cubicBezTo>
                      <a:pt x="1288" y="7837"/>
                      <a:pt x="1288" y="7837"/>
                      <a:pt x="1288" y="7837"/>
                    </a:cubicBezTo>
                    <a:cubicBezTo>
                      <a:pt x="1537" y="7481"/>
                      <a:pt x="1537" y="7481"/>
                      <a:pt x="1537" y="7481"/>
                    </a:cubicBezTo>
                    <a:cubicBezTo>
                      <a:pt x="1516" y="7470"/>
                      <a:pt x="1478" y="7446"/>
                      <a:pt x="1441" y="7422"/>
                    </a:cubicBezTo>
                    <a:cubicBezTo>
                      <a:pt x="1398" y="7395"/>
                      <a:pt x="1359" y="7370"/>
                      <a:pt x="1359" y="7370"/>
                    </a:cubicBezTo>
                    <a:cubicBezTo>
                      <a:pt x="1359" y="7370"/>
                      <a:pt x="1359" y="7370"/>
                      <a:pt x="1359" y="7370"/>
                    </a:cubicBezTo>
                    <a:cubicBezTo>
                      <a:pt x="1244" y="7508"/>
                      <a:pt x="1244" y="7508"/>
                      <a:pt x="1244" y="7508"/>
                    </a:cubicBezTo>
                    <a:lnTo>
                      <a:pt x="1040" y="7326"/>
                    </a:lnTo>
                    <a:close/>
                    <a:moveTo>
                      <a:pt x="934" y="7582"/>
                    </a:moveTo>
                    <a:cubicBezTo>
                      <a:pt x="880" y="7630"/>
                      <a:pt x="880" y="7630"/>
                      <a:pt x="880" y="7630"/>
                    </a:cubicBezTo>
                    <a:cubicBezTo>
                      <a:pt x="914" y="7791"/>
                      <a:pt x="914" y="7791"/>
                      <a:pt x="914" y="7791"/>
                    </a:cubicBezTo>
                    <a:cubicBezTo>
                      <a:pt x="871" y="7815"/>
                      <a:pt x="871" y="7815"/>
                      <a:pt x="871" y="7815"/>
                    </a:cubicBezTo>
                    <a:cubicBezTo>
                      <a:pt x="853" y="7964"/>
                      <a:pt x="853" y="7964"/>
                      <a:pt x="853" y="7964"/>
                    </a:cubicBezTo>
                    <a:cubicBezTo>
                      <a:pt x="916" y="8019"/>
                      <a:pt x="916" y="8019"/>
                      <a:pt x="916" y="8019"/>
                    </a:cubicBezTo>
                    <a:cubicBezTo>
                      <a:pt x="939" y="8120"/>
                      <a:pt x="939" y="8120"/>
                      <a:pt x="939" y="8120"/>
                    </a:cubicBezTo>
                    <a:cubicBezTo>
                      <a:pt x="1168" y="7934"/>
                      <a:pt x="1168" y="7934"/>
                      <a:pt x="1168" y="7934"/>
                    </a:cubicBezTo>
                    <a:cubicBezTo>
                      <a:pt x="1076" y="7672"/>
                      <a:pt x="1076" y="7672"/>
                      <a:pt x="1076" y="7672"/>
                    </a:cubicBezTo>
                    <a:lnTo>
                      <a:pt x="934" y="7582"/>
                    </a:lnTo>
                    <a:close/>
                    <a:moveTo>
                      <a:pt x="488" y="8047"/>
                    </a:moveTo>
                    <a:cubicBezTo>
                      <a:pt x="710" y="8310"/>
                      <a:pt x="710" y="8310"/>
                      <a:pt x="710" y="8310"/>
                    </a:cubicBezTo>
                    <a:cubicBezTo>
                      <a:pt x="924" y="8132"/>
                      <a:pt x="924" y="8132"/>
                      <a:pt x="924" y="8132"/>
                    </a:cubicBezTo>
                    <a:cubicBezTo>
                      <a:pt x="924" y="8132"/>
                      <a:pt x="924" y="8132"/>
                      <a:pt x="924" y="8132"/>
                    </a:cubicBezTo>
                    <a:cubicBezTo>
                      <a:pt x="924" y="8131"/>
                      <a:pt x="924" y="8131"/>
                      <a:pt x="924" y="8131"/>
                    </a:cubicBezTo>
                    <a:cubicBezTo>
                      <a:pt x="901" y="8028"/>
                      <a:pt x="901" y="8028"/>
                      <a:pt x="901" y="8028"/>
                    </a:cubicBezTo>
                    <a:cubicBezTo>
                      <a:pt x="835" y="7970"/>
                      <a:pt x="835" y="7970"/>
                      <a:pt x="835" y="7970"/>
                    </a:cubicBezTo>
                    <a:cubicBezTo>
                      <a:pt x="856" y="7804"/>
                      <a:pt x="856" y="7804"/>
                      <a:pt x="856" y="7804"/>
                    </a:cubicBezTo>
                    <a:cubicBezTo>
                      <a:pt x="895" y="7783"/>
                      <a:pt x="895" y="7783"/>
                      <a:pt x="895" y="7783"/>
                    </a:cubicBezTo>
                    <a:cubicBezTo>
                      <a:pt x="866" y="7643"/>
                      <a:pt x="866" y="7643"/>
                      <a:pt x="866" y="7643"/>
                    </a:cubicBezTo>
                    <a:lnTo>
                      <a:pt x="488" y="8047"/>
                    </a:lnTo>
                    <a:close/>
                    <a:moveTo>
                      <a:pt x="679" y="8421"/>
                    </a:moveTo>
                    <a:cubicBezTo>
                      <a:pt x="827" y="8620"/>
                      <a:pt x="827" y="8620"/>
                      <a:pt x="827" y="8620"/>
                    </a:cubicBezTo>
                    <a:cubicBezTo>
                      <a:pt x="874" y="8594"/>
                      <a:pt x="910" y="8574"/>
                      <a:pt x="918" y="8569"/>
                    </a:cubicBezTo>
                    <a:cubicBezTo>
                      <a:pt x="925" y="8559"/>
                      <a:pt x="960" y="8505"/>
                      <a:pt x="996" y="8450"/>
                    </a:cubicBezTo>
                    <a:cubicBezTo>
                      <a:pt x="1015" y="8420"/>
                      <a:pt x="1035" y="8389"/>
                      <a:pt x="1050" y="8366"/>
                    </a:cubicBezTo>
                    <a:cubicBezTo>
                      <a:pt x="1057" y="8355"/>
                      <a:pt x="1063" y="8345"/>
                      <a:pt x="1068" y="8338"/>
                    </a:cubicBezTo>
                    <a:cubicBezTo>
                      <a:pt x="1070" y="8335"/>
                      <a:pt x="1071" y="8332"/>
                      <a:pt x="1073" y="8330"/>
                    </a:cubicBezTo>
                    <a:cubicBezTo>
                      <a:pt x="1073" y="8330"/>
                      <a:pt x="1073" y="8329"/>
                      <a:pt x="1073" y="8329"/>
                    </a:cubicBezTo>
                    <a:cubicBezTo>
                      <a:pt x="1073" y="8328"/>
                      <a:pt x="1073" y="8327"/>
                      <a:pt x="1073" y="8326"/>
                    </a:cubicBezTo>
                    <a:cubicBezTo>
                      <a:pt x="1073" y="8297"/>
                      <a:pt x="1078" y="8144"/>
                      <a:pt x="1080" y="8091"/>
                    </a:cubicBezTo>
                    <a:cubicBezTo>
                      <a:pt x="951" y="8194"/>
                      <a:pt x="951" y="8194"/>
                      <a:pt x="951" y="8194"/>
                    </a:cubicBezTo>
                    <a:lnTo>
                      <a:pt x="679" y="8421"/>
                    </a:lnTo>
                    <a:close/>
                    <a:moveTo>
                      <a:pt x="668" y="8430"/>
                    </a:moveTo>
                    <a:cubicBezTo>
                      <a:pt x="409" y="8645"/>
                      <a:pt x="409" y="8645"/>
                      <a:pt x="409" y="8645"/>
                    </a:cubicBezTo>
                    <a:cubicBezTo>
                      <a:pt x="425" y="8661"/>
                      <a:pt x="446" y="8682"/>
                      <a:pt x="468" y="8703"/>
                    </a:cubicBezTo>
                    <a:cubicBezTo>
                      <a:pt x="488" y="8724"/>
                      <a:pt x="510" y="8744"/>
                      <a:pt x="526" y="8760"/>
                    </a:cubicBezTo>
                    <a:cubicBezTo>
                      <a:pt x="533" y="8767"/>
                      <a:pt x="540" y="8773"/>
                      <a:pt x="545" y="8777"/>
                    </a:cubicBezTo>
                    <a:cubicBezTo>
                      <a:pt x="578" y="8758"/>
                      <a:pt x="716" y="8681"/>
                      <a:pt x="815" y="8627"/>
                    </a:cubicBezTo>
                    <a:lnTo>
                      <a:pt x="668" y="8430"/>
                    </a:lnTo>
                    <a:close/>
                    <a:moveTo>
                      <a:pt x="814" y="8656"/>
                    </a:moveTo>
                    <a:cubicBezTo>
                      <a:pt x="1078" y="8991"/>
                      <a:pt x="1078" y="8991"/>
                      <a:pt x="1078" y="8991"/>
                    </a:cubicBezTo>
                    <a:cubicBezTo>
                      <a:pt x="1145" y="8927"/>
                      <a:pt x="1145" y="8927"/>
                      <a:pt x="1145" y="8927"/>
                    </a:cubicBezTo>
                    <a:cubicBezTo>
                      <a:pt x="920" y="8645"/>
                      <a:pt x="920" y="8645"/>
                      <a:pt x="920" y="8645"/>
                    </a:cubicBezTo>
                    <a:lnTo>
                      <a:pt x="814" y="8656"/>
                    </a:lnTo>
                    <a:close/>
                    <a:moveTo>
                      <a:pt x="550" y="8797"/>
                    </a:moveTo>
                    <a:cubicBezTo>
                      <a:pt x="550" y="8824"/>
                      <a:pt x="552" y="8903"/>
                      <a:pt x="553" y="8919"/>
                    </a:cubicBezTo>
                    <a:cubicBezTo>
                      <a:pt x="565" y="8930"/>
                      <a:pt x="642" y="9004"/>
                      <a:pt x="720" y="9078"/>
                    </a:cubicBezTo>
                    <a:cubicBezTo>
                      <a:pt x="763" y="9119"/>
                      <a:pt x="805" y="9159"/>
                      <a:pt x="837" y="9190"/>
                    </a:cubicBezTo>
                    <a:cubicBezTo>
                      <a:pt x="853" y="9205"/>
                      <a:pt x="867" y="9218"/>
                      <a:pt x="876" y="9227"/>
                    </a:cubicBezTo>
                    <a:cubicBezTo>
                      <a:pt x="877" y="9227"/>
                      <a:pt x="877" y="9228"/>
                      <a:pt x="878" y="9229"/>
                    </a:cubicBezTo>
                    <a:cubicBezTo>
                      <a:pt x="929" y="9180"/>
                      <a:pt x="1012" y="9101"/>
                      <a:pt x="1091" y="9025"/>
                    </a:cubicBezTo>
                    <a:cubicBezTo>
                      <a:pt x="1128" y="8991"/>
                      <a:pt x="1164" y="8956"/>
                      <a:pt x="1198" y="8924"/>
                    </a:cubicBezTo>
                    <a:cubicBezTo>
                      <a:pt x="1182" y="8906"/>
                      <a:pt x="1121" y="8831"/>
                      <a:pt x="1060" y="8756"/>
                    </a:cubicBezTo>
                    <a:cubicBezTo>
                      <a:pt x="1024" y="8712"/>
                      <a:pt x="989" y="8669"/>
                      <a:pt x="962" y="8636"/>
                    </a:cubicBezTo>
                    <a:cubicBezTo>
                      <a:pt x="949" y="8619"/>
                      <a:pt x="938" y="8606"/>
                      <a:pt x="930" y="8596"/>
                    </a:cubicBezTo>
                    <a:cubicBezTo>
                      <a:pt x="926" y="8592"/>
                      <a:pt x="924" y="8589"/>
                      <a:pt x="922" y="8586"/>
                    </a:cubicBezTo>
                    <a:cubicBezTo>
                      <a:pt x="908" y="8594"/>
                      <a:pt x="869" y="8615"/>
                      <a:pt x="822" y="8641"/>
                    </a:cubicBezTo>
                    <a:cubicBezTo>
                      <a:pt x="926" y="8631"/>
                      <a:pt x="926" y="8631"/>
                      <a:pt x="926" y="8631"/>
                    </a:cubicBezTo>
                    <a:cubicBezTo>
                      <a:pt x="1164" y="8929"/>
                      <a:pt x="1164" y="8929"/>
                      <a:pt x="1164" y="8929"/>
                    </a:cubicBezTo>
                    <a:cubicBezTo>
                      <a:pt x="1077" y="9012"/>
                      <a:pt x="1077" y="9012"/>
                      <a:pt x="1077" y="9012"/>
                    </a:cubicBezTo>
                    <a:cubicBezTo>
                      <a:pt x="796" y="8656"/>
                      <a:pt x="796" y="8656"/>
                      <a:pt x="796" y="8656"/>
                    </a:cubicBezTo>
                    <a:cubicBezTo>
                      <a:pt x="777" y="8666"/>
                      <a:pt x="757" y="8677"/>
                      <a:pt x="737" y="8688"/>
                    </a:cubicBezTo>
                    <a:cubicBezTo>
                      <a:pt x="690" y="8715"/>
                      <a:pt x="642" y="8741"/>
                      <a:pt x="606" y="8761"/>
                    </a:cubicBezTo>
                    <a:cubicBezTo>
                      <a:pt x="588" y="8771"/>
                      <a:pt x="573" y="8780"/>
                      <a:pt x="563" y="8786"/>
                    </a:cubicBezTo>
                    <a:cubicBezTo>
                      <a:pt x="558" y="8789"/>
                      <a:pt x="554" y="8791"/>
                      <a:pt x="551" y="8793"/>
                    </a:cubicBezTo>
                    <a:lnTo>
                      <a:pt x="550" y="8797"/>
                    </a:lnTo>
                    <a:close/>
                    <a:moveTo>
                      <a:pt x="608" y="9003"/>
                    </a:moveTo>
                    <a:cubicBezTo>
                      <a:pt x="595" y="9051"/>
                      <a:pt x="555" y="9199"/>
                      <a:pt x="534" y="9272"/>
                    </a:cubicBezTo>
                    <a:cubicBezTo>
                      <a:pt x="575" y="9286"/>
                      <a:pt x="620" y="9303"/>
                      <a:pt x="640" y="9302"/>
                    </a:cubicBezTo>
                    <a:cubicBezTo>
                      <a:pt x="663" y="9303"/>
                      <a:pt x="688" y="9289"/>
                      <a:pt x="734" y="9282"/>
                    </a:cubicBezTo>
                    <a:cubicBezTo>
                      <a:pt x="751" y="9280"/>
                      <a:pt x="774" y="9276"/>
                      <a:pt x="803" y="9276"/>
                    </a:cubicBezTo>
                    <a:cubicBezTo>
                      <a:pt x="810" y="9276"/>
                      <a:pt x="818" y="9276"/>
                      <a:pt x="826" y="9277"/>
                    </a:cubicBezTo>
                    <a:cubicBezTo>
                      <a:pt x="826" y="9277"/>
                      <a:pt x="827" y="9277"/>
                      <a:pt x="827" y="9277"/>
                    </a:cubicBezTo>
                    <a:cubicBezTo>
                      <a:pt x="832" y="9273"/>
                      <a:pt x="846" y="9259"/>
                      <a:pt x="866" y="9240"/>
                    </a:cubicBezTo>
                    <a:cubicBezTo>
                      <a:pt x="826" y="9201"/>
                      <a:pt x="693" y="9075"/>
                      <a:pt x="610" y="8995"/>
                    </a:cubicBezTo>
                    <a:cubicBezTo>
                      <a:pt x="609" y="8997"/>
                      <a:pt x="609" y="9000"/>
                      <a:pt x="608" y="9003"/>
                    </a:cubicBezTo>
                    <a:close/>
                    <a:moveTo>
                      <a:pt x="515" y="9338"/>
                    </a:moveTo>
                    <a:cubicBezTo>
                      <a:pt x="499" y="9387"/>
                      <a:pt x="463" y="9495"/>
                      <a:pt x="458" y="9511"/>
                    </a:cubicBezTo>
                    <a:cubicBezTo>
                      <a:pt x="461" y="9525"/>
                      <a:pt x="492" y="9611"/>
                      <a:pt x="521" y="9694"/>
                    </a:cubicBezTo>
                    <a:cubicBezTo>
                      <a:pt x="543" y="9755"/>
                      <a:pt x="564" y="9814"/>
                      <a:pt x="574" y="9844"/>
                    </a:cubicBezTo>
                    <a:cubicBezTo>
                      <a:pt x="1022" y="9604"/>
                      <a:pt x="1022" y="9604"/>
                      <a:pt x="1022" y="9604"/>
                    </a:cubicBezTo>
                    <a:cubicBezTo>
                      <a:pt x="1022" y="9602"/>
                      <a:pt x="1019" y="9591"/>
                      <a:pt x="1013" y="9573"/>
                    </a:cubicBezTo>
                    <a:cubicBezTo>
                      <a:pt x="1003" y="9544"/>
                      <a:pt x="987" y="9499"/>
                      <a:pt x="967" y="9458"/>
                    </a:cubicBezTo>
                    <a:cubicBezTo>
                      <a:pt x="947" y="9416"/>
                      <a:pt x="920" y="9380"/>
                      <a:pt x="901" y="9369"/>
                    </a:cubicBezTo>
                    <a:cubicBezTo>
                      <a:pt x="872" y="9351"/>
                      <a:pt x="846" y="9348"/>
                      <a:pt x="821" y="9346"/>
                    </a:cubicBezTo>
                    <a:cubicBezTo>
                      <a:pt x="815" y="9345"/>
                      <a:pt x="809" y="9345"/>
                      <a:pt x="803" y="9345"/>
                    </a:cubicBezTo>
                    <a:cubicBezTo>
                      <a:pt x="780" y="9345"/>
                      <a:pt x="762" y="9348"/>
                      <a:pt x="743" y="9351"/>
                    </a:cubicBezTo>
                    <a:cubicBezTo>
                      <a:pt x="711" y="9354"/>
                      <a:pt x="685" y="9370"/>
                      <a:pt x="640" y="9371"/>
                    </a:cubicBezTo>
                    <a:cubicBezTo>
                      <a:pt x="596" y="9370"/>
                      <a:pt x="553" y="9351"/>
                      <a:pt x="515" y="9338"/>
                    </a:cubicBezTo>
                    <a:close/>
                    <a:moveTo>
                      <a:pt x="525" y="10043"/>
                    </a:moveTo>
                    <a:cubicBezTo>
                      <a:pt x="528" y="10046"/>
                      <a:pt x="531" y="10051"/>
                      <a:pt x="537" y="10057"/>
                    </a:cubicBezTo>
                    <a:cubicBezTo>
                      <a:pt x="591" y="10027"/>
                      <a:pt x="592" y="10026"/>
                      <a:pt x="598" y="10022"/>
                    </a:cubicBezTo>
                    <a:cubicBezTo>
                      <a:pt x="600" y="10021"/>
                      <a:pt x="600" y="10021"/>
                      <a:pt x="600" y="10021"/>
                    </a:cubicBezTo>
                    <a:cubicBezTo>
                      <a:pt x="601" y="10021"/>
                      <a:pt x="601" y="10021"/>
                      <a:pt x="601" y="10021"/>
                    </a:cubicBezTo>
                    <a:cubicBezTo>
                      <a:pt x="601" y="10020"/>
                      <a:pt x="614" y="10014"/>
                      <a:pt x="639" y="10001"/>
                    </a:cubicBezTo>
                    <a:cubicBezTo>
                      <a:pt x="810" y="9910"/>
                      <a:pt x="1542" y="9522"/>
                      <a:pt x="2267" y="9131"/>
                    </a:cubicBezTo>
                    <a:cubicBezTo>
                      <a:pt x="2899" y="8790"/>
                      <a:pt x="3533" y="8439"/>
                      <a:pt x="3743" y="8331"/>
                    </a:cubicBezTo>
                    <a:cubicBezTo>
                      <a:pt x="3737" y="8317"/>
                      <a:pt x="3737" y="8317"/>
                      <a:pt x="3737" y="8317"/>
                    </a:cubicBezTo>
                    <a:cubicBezTo>
                      <a:pt x="3723" y="8328"/>
                      <a:pt x="3710" y="8338"/>
                      <a:pt x="3700" y="8346"/>
                    </a:cubicBezTo>
                    <a:cubicBezTo>
                      <a:pt x="3693" y="8350"/>
                      <a:pt x="3691" y="8352"/>
                      <a:pt x="3686" y="8355"/>
                    </a:cubicBezTo>
                    <a:cubicBezTo>
                      <a:pt x="3652" y="8374"/>
                      <a:pt x="3548" y="8430"/>
                      <a:pt x="3407" y="8506"/>
                    </a:cubicBezTo>
                    <a:cubicBezTo>
                      <a:pt x="2983" y="8733"/>
                      <a:pt x="2233" y="9125"/>
                      <a:pt x="2233" y="9125"/>
                    </a:cubicBezTo>
                    <a:cubicBezTo>
                      <a:pt x="2232" y="9124"/>
                      <a:pt x="2232" y="9124"/>
                      <a:pt x="2232" y="9124"/>
                    </a:cubicBezTo>
                    <a:cubicBezTo>
                      <a:pt x="2229" y="9126"/>
                      <a:pt x="2229" y="9126"/>
                      <a:pt x="2229" y="9126"/>
                    </a:cubicBezTo>
                    <a:cubicBezTo>
                      <a:pt x="1344" y="9605"/>
                      <a:pt x="1344" y="9605"/>
                      <a:pt x="1344" y="9605"/>
                    </a:cubicBezTo>
                    <a:lnTo>
                      <a:pt x="525" y="10043"/>
                    </a:lnTo>
                    <a:close/>
                    <a:moveTo>
                      <a:pt x="3924" y="8038"/>
                    </a:moveTo>
                    <a:cubicBezTo>
                      <a:pt x="3920" y="8029"/>
                      <a:pt x="3914" y="8014"/>
                      <a:pt x="3907" y="7998"/>
                    </a:cubicBezTo>
                    <a:cubicBezTo>
                      <a:pt x="3899" y="7977"/>
                      <a:pt x="3890" y="7952"/>
                      <a:pt x="3884" y="7926"/>
                    </a:cubicBezTo>
                    <a:cubicBezTo>
                      <a:pt x="3727" y="7997"/>
                      <a:pt x="3727" y="7997"/>
                      <a:pt x="3727" y="7997"/>
                    </a:cubicBezTo>
                    <a:cubicBezTo>
                      <a:pt x="3662" y="7974"/>
                      <a:pt x="3662" y="7974"/>
                      <a:pt x="3662" y="7974"/>
                    </a:cubicBezTo>
                    <a:cubicBezTo>
                      <a:pt x="3478" y="8194"/>
                      <a:pt x="3478" y="8194"/>
                      <a:pt x="3478" y="8194"/>
                    </a:cubicBezTo>
                    <a:cubicBezTo>
                      <a:pt x="3473" y="8193"/>
                      <a:pt x="3473" y="8193"/>
                      <a:pt x="3473" y="8193"/>
                    </a:cubicBezTo>
                    <a:cubicBezTo>
                      <a:pt x="3473" y="8193"/>
                      <a:pt x="3443" y="8183"/>
                      <a:pt x="3413" y="8174"/>
                    </a:cubicBezTo>
                    <a:cubicBezTo>
                      <a:pt x="3398" y="8170"/>
                      <a:pt x="3383" y="8165"/>
                      <a:pt x="3371" y="8162"/>
                    </a:cubicBezTo>
                    <a:cubicBezTo>
                      <a:pt x="3365" y="8160"/>
                      <a:pt x="3360" y="8159"/>
                      <a:pt x="3357" y="8158"/>
                    </a:cubicBezTo>
                    <a:cubicBezTo>
                      <a:pt x="3249" y="8418"/>
                      <a:pt x="3249" y="8418"/>
                      <a:pt x="3249" y="8418"/>
                    </a:cubicBezTo>
                    <a:cubicBezTo>
                      <a:pt x="3333" y="8373"/>
                      <a:pt x="3409" y="8332"/>
                      <a:pt x="3469" y="8300"/>
                    </a:cubicBezTo>
                    <a:cubicBezTo>
                      <a:pt x="3512" y="8277"/>
                      <a:pt x="3547" y="8257"/>
                      <a:pt x="3573" y="8243"/>
                    </a:cubicBezTo>
                    <a:cubicBezTo>
                      <a:pt x="3585" y="8236"/>
                      <a:pt x="3596" y="8231"/>
                      <a:pt x="3603" y="8227"/>
                    </a:cubicBezTo>
                    <a:cubicBezTo>
                      <a:pt x="3606" y="8225"/>
                      <a:pt x="3609" y="8223"/>
                      <a:pt x="3611" y="8222"/>
                    </a:cubicBezTo>
                    <a:cubicBezTo>
                      <a:pt x="3611" y="8222"/>
                      <a:pt x="3611" y="8222"/>
                      <a:pt x="3612" y="8221"/>
                    </a:cubicBezTo>
                    <a:cubicBezTo>
                      <a:pt x="3628" y="8210"/>
                      <a:pt x="3671" y="8173"/>
                      <a:pt x="3725" y="8136"/>
                    </a:cubicBezTo>
                    <a:cubicBezTo>
                      <a:pt x="3779" y="8099"/>
                      <a:pt x="3847" y="8060"/>
                      <a:pt x="3924" y="8038"/>
                    </a:cubicBezTo>
                    <a:close/>
                    <a:moveTo>
                      <a:pt x="3791" y="8276"/>
                    </a:moveTo>
                    <a:cubicBezTo>
                      <a:pt x="3802" y="8302"/>
                      <a:pt x="3802" y="8302"/>
                      <a:pt x="3802" y="8302"/>
                    </a:cubicBezTo>
                    <a:cubicBezTo>
                      <a:pt x="3926" y="8245"/>
                      <a:pt x="4064" y="8206"/>
                      <a:pt x="4207" y="8180"/>
                    </a:cubicBezTo>
                    <a:cubicBezTo>
                      <a:pt x="4153" y="8176"/>
                      <a:pt x="4106" y="8172"/>
                      <a:pt x="4065" y="8172"/>
                    </a:cubicBezTo>
                    <a:cubicBezTo>
                      <a:pt x="4030" y="8172"/>
                      <a:pt x="4000" y="8175"/>
                      <a:pt x="3971" y="8183"/>
                    </a:cubicBezTo>
                    <a:cubicBezTo>
                      <a:pt x="3916" y="8197"/>
                      <a:pt x="3859" y="8229"/>
                      <a:pt x="3811" y="8262"/>
                    </a:cubicBezTo>
                    <a:cubicBezTo>
                      <a:pt x="3804" y="8267"/>
                      <a:pt x="3798" y="8271"/>
                      <a:pt x="3791" y="8276"/>
                    </a:cubicBezTo>
                    <a:close/>
                    <a:moveTo>
                      <a:pt x="3091" y="8848"/>
                    </a:moveTo>
                    <a:cubicBezTo>
                      <a:pt x="3382" y="9437"/>
                      <a:pt x="3382" y="9437"/>
                      <a:pt x="3382" y="9437"/>
                    </a:cubicBezTo>
                    <a:cubicBezTo>
                      <a:pt x="3386" y="9415"/>
                      <a:pt x="3390" y="9394"/>
                      <a:pt x="3395" y="9375"/>
                    </a:cubicBezTo>
                    <a:cubicBezTo>
                      <a:pt x="3409" y="9324"/>
                      <a:pt x="3419" y="9262"/>
                      <a:pt x="3465" y="9203"/>
                    </a:cubicBezTo>
                    <a:cubicBezTo>
                      <a:pt x="3510" y="9143"/>
                      <a:pt x="3589" y="9088"/>
                      <a:pt x="3734" y="9043"/>
                    </a:cubicBezTo>
                    <a:cubicBezTo>
                      <a:pt x="3843" y="9009"/>
                      <a:pt x="3956" y="8978"/>
                      <a:pt x="4007" y="8965"/>
                    </a:cubicBezTo>
                    <a:cubicBezTo>
                      <a:pt x="3803" y="8475"/>
                      <a:pt x="3803" y="8475"/>
                      <a:pt x="3803" y="8475"/>
                    </a:cubicBezTo>
                    <a:cubicBezTo>
                      <a:pt x="3676" y="8540"/>
                      <a:pt x="3413" y="8677"/>
                      <a:pt x="3091" y="8848"/>
                    </a:cubicBezTo>
                    <a:close/>
                    <a:moveTo>
                      <a:pt x="3079" y="8855"/>
                    </a:moveTo>
                    <a:cubicBezTo>
                      <a:pt x="2945" y="8926"/>
                      <a:pt x="2802" y="9002"/>
                      <a:pt x="2654" y="9081"/>
                    </a:cubicBezTo>
                    <a:cubicBezTo>
                      <a:pt x="3223" y="9879"/>
                      <a:pt x="3223" y="9879"/>
                      <a:pt x="3223" y="9879"/>
                    </a:cubicBezTo>
                    <a:cubicBezTo>
                      <a:pt x="3238" y="9865"/>
                      <a:pt x="3252" y="9847"/>
                      <a:pt x="3273" y="9818"/>
                    </a:cubicBezTo>
                    <a:cubicBezTo>
                      <a:pt x="3313" y="9763"/>
                      <a:pt x="3337" y="9679"/>
                      <a:pt x="3354" y="9596"/>
                    </a:cubicBezTo>
                    <a:cubicBezTo>
                      <a:pt x="3363" y="9549"/>
                      <a:pt x="3370" y="9502"/>
                      <a:pt x="3377" y="9460"/>
                    </a:cubicBezTo>
                    <a:lnTo>
                      <a:pt x="3079" y="8855"/>
                    </a:lnTo>
                    <a:close/>
                    <a:moveTo>
                      <a:pt x="2642" y="9087"/>
                    </a:moveTo>
                    <a:cubicBezTo>
                      <a:pt x="2571" y="9125"/>
                      <a:pt x="2499" y="9164"/>
                      <a:pt x="2427" y="9202"/>
                    </a:cubicBezTo>
                    <a:cubicBezTo>
                      <a:pt x="2784" y="10109"/>
                      <a:pt x="2784" y="10109"/>
                      <a:pt x="2784" y="10109"/>
                    </a:cubicBezTo>
                    <a:cubicBezTo>
                      <a:pt x="2822" y="10095"/>
                      <a:pt x="2860" y="10078"/>
                      <a:pt x="2898" y="10058"/>
                    </a:cubicBezTo>
                    <a:cubicBezTo>
                      <a:pt x="3048" y="9974"/>
                      <a:pt x="3123" y="9942"/>
                      <a:pt x="3169" y="9917"/>
                    </a:cubicBezTo>
                    <a:cubicBezTo>
                      <a:pt x="3187" y="9907"/>
                      <a:pt x="3201" y="9899"/>
                      <a:pt x="3213" y="9888"/>
                    </a:cubicBezTo>
                    <a:lnTo>
                      <a:pt x="2642" y="9087"/>
                    </a:lnTo>
                    <a:close/>
                    <a:moveTo>
                      <a:pt x="2415" y="9209"/>
                    </a:moveTo>
                    <a:cubicBezTo>
                      <a:pt x="2351" y="9243"/>
                      <a:pt x="2286" y="9278"/>
                      <a:pt x="2222" y="9312"/>
                    </a:cubicBezTo>
                    <a:cubicBezTo>
                      <a:pt x="2218" y="9357"/>
                      <a:pt x="2200" y="9529"/>
                      <a:pt x="2182" y="9702"/>
                    </a:cubicBezTo>
                    <a:cubicBezTo>
                      <a:pt x="2171" y="9802"/>
                      <a:pt x="2161" y="9903"/>
                      <a:pt x="2152" y="9978"/>
                    </a:cubicBezTo>
                    <a:cubicBezTo>
                      <a:pt x="2148" y="10016"/>
                      <a:pt x="2144" y="10047"/>
                      <a:pt x="2142" y="10069"/>
                    </a:cubicBezTo>
                    <a:cubicBezTo>
                      <a:pt x="2140" y="10080"/>
                      <a:pt x="2139" y="10089"/>
                      <a:pt x="2138" y="10095"/>
                    </a:cubicBezTo>
                    <a:cubicBezTo>
                      <a:pt x="2138" y="10096"/>
                      <a:pt x="2138" y="10096"/>
                      <a:pt x="2138" y="10097"/>
                    </a:cubicBezTo>
                    <a:cubicBezTo>
                      <a:pt x="2143" y="10100"/>
                      <a:pt x="2149" y="10103"/>
                      <a:pt x="2155" y="10105"/>
                    </a:cubicBezTo>
                    <a:cubicBezTo>
                      <a:pt x="2188" y="10119"/>
                      <a:pt x="2235" y="10131"/>
                      <a:pt x="2273" y="10140"/>
                    </a:cubicBezTo>
                    <a:cubicBezTo>
                      <a:pt x="2311" y="10149"/>
                      <a:pt x="2340" y="10154"/>
                      <a:pt x="2341" y="10154"/>
                    </a:cubicBezTo>
                    <a:cubicBezTo>
                      <a:pt x="2346" y="10155"/>
                      <a:pt x="2353" y="10155"/>
                      <a:pt x="2361" y="10156"/>
                    </a:cubicBezTo>
                    <a:cubicBezTo>
                      <a:pt x="2386" y="10159"/>
                      <a:pt x="2417" y="10163"/>
                      <a:pt x="2461" y="10163"/>
                    </a:cubicBezTo>
                    <a:cubicBezTo>
                      <a:pt x="2544" y="10163"/>
                      <a:pt x="2656" y="10153"/>
                      <a:pt x="2771" y="10113"/>
                    </a:cubicBezTo>
                    <a:lnTo>
                      <a:pt x="2415" y="9209"/>
                    </a:lnTo>
                    <a:close/>
                    <a:moveTo>
                      <a:pt x="1993" y="10040"/>
                    </a:moveTo>
                    <a:cubicBezTo>
                      <a:pt x="1640" y="10190"/>
                      <a:pt x="1640" y="10190"/>
                      <a:pt x="1640" y="10190"/>
                    </a:cubicBezTo>
                    <a:cubicBezTo>
                      <a:pt x="1638" y="10210"/>
                      <a:pt x="1635" y="10247"/>
                      <a:pt x="1632" y="10285"/>
                    </a:cubicBezTo>
                    <a:cubicBezTo>
                      <a:pt x="1627" y="10336"/>
                      <a:pt x="1622" y="10384"/>
                      <a:pt x="1622" y="10387"/>
                    </a:cubicBezTo>
                    <a:cubicBezTo>
                      <a:pt x="1604" y="10386"/>
                      <a:pt x="1604" y="10386"/>
                      <a:pt x="1604" y="10386"/>
                    </a:cubicBezTo>
                    <a:cubicBezTo>
                      <a:pt x="1598" y="10456"/>
                      <a:pt x="1598" y="10456"/>
                      <a:pt x="1598" y="10456"/>
                    </a:cubicBezTo>
                    <a:cubicBezTo>
                      <a:pt x="1765" y="10564"/>
                      <a:pt x="1765" y="10564"/>
                      <a:pt x="1765" y="10564"/>
                    </a:cubicBezTo>
                    <a:cubicBezTo>
                      <a:pt x="1935" y="10410"/>
                      <a:pt x="1935" y="10410"/>
                      <a:pt x="1935" y="10410"/>
                    </a:cubicBezTo>
                    <a:cubicBezTo>
                      <a:pt x="2271" y="10294"/>
                      <a:pt x="2271" y="10294"/>
                      <a:pt x="2271" y="10294"/>
                    </a:cubicBezTo>
                    <a:cubicBezTo>
                      <a:pt x="2292" y="10191"/>
                      <a:pt x="2292" y="10191"/>
                      <a:pt x="2292" y="10191"/>
                    </a:cubicBezTo>
                    <a:cubicBezTo>
                      <a:pt x="2250" y="10182"/>
                      <a:pt x="2185" y="10166"/>
                      <a:pt x="2138" y="10147"/>
                    </a:cubicBezTo>
                    <a:cubicBezTo>
                      <a:pt x="2072" y="10119"/>
                      <a:pt x="2016" y="10065"/>
                      <a:pt x="1993" y="10040"/>
                    </a:cubicBezTo>
                    <a:close/>
                    <a:moveTo>
                      <a:pt x="3181" y="10287"/>
                    </a:moveTo>
                    <a:cubicBezTo>
                      <a:pt x="3220" y="10271"/>
                      <a:pt x="3290" y="10243"/>
                      <a:pt x="3359" y="10215"/>
                    </a:cubicBezTo>
                    <a:cubicBezTo>
                      <a:pt x="3449" y="10179"/>
                      <a:pt x="3537" y="10143"/>
                      <a:pt x="3552" y="10137"/>
                    </a:cubicBezTo>
                    <a:cubicBezTo>
                      <a:pt x="3552" y="10137"/>
                      <a:pt x="3552" y="10137"/>
                      <a:pt x="3552" y="10137"/>
                    </a:cubicBezTo>
                    <a:cubicBezTo>
                      <a:pt x="3549" y="10136"/>
                      <a:pt x="3550" y="10136"/>
                      <a:pt x="3549" y="10135"/>
                    </a:cubicBezTo>
                    <a:cubicBezTo>
                      <a:pt x="3547" y="10133"/>
                      <a:pt x="3544" y="10128"/>
                      <a:pt x="3537" y="10118"/>
                    </a:cubicBezTo>
                    <a:cubicBezTo>
                      <a:pt x="3516" y="10084"/>
                      <a:pt x="3464" y="10002"/>
                      <a:pt x="3418" y="9929"/>
                    </a:cubicBezTo>
                    <a:cubicBezTo>
                      <a:pt x="3395" y="9893"/>
                      <a:pt x="3373" y="9859"/>
                      <a:pt x="3356" y="9833"/>
                    </a:cubicBezTo>
                    <a:cubicBezTo>
                      <a:pt x="3348" y="9821"/>
                      <a:pt x="3341" y="9811"/>
                      <a:pt x="3336" y="9803"/>
                    </a:cubicBezTo>
                    <a:cubicBezTo>
                      <a:pt x="3335" y="9803"/>
                      <a:pt x="3335" y="9803"/>
                      <a:pt x="3335" y="9802"/>
                    </a:cubicBezTo>
                    <a:cubicBezTo>
                      <a:pt x="3327" y="9817"/>
                      <a:pt x="3319" y="9831"/>
                      <a:pt x="3309" y="9844"/>
                    </a:cubicBezTo>
                    <a:cubicBezTo>
                      <a:pt x="3266" y="9905"/>
                      <a:pt x="3240" y="9931"/>
                      <a:pt x="3190" y="9957"/>
                    </a:cubicBezTo>
                    <a:cubicBezTo>
                      <a:pt x="3170" y="9968"/>
                      <a:pt x="3144" y="9980"/>
                      <a:pt x="3111" y="9997"/>
                    </a:cubicBezTo>
                    <a:lnTo>
                      <a:pt x="3181" y="10287"/>
                    </a:lnTo>
                    <a:close/>
                    <a:moveTo>
                      <a:pt x="4398" y="9689"/>
                    </a:moveTo>
                    <a:cubicBezTo>
                      <a:pt x="4454" y="9688"/>
                      <a:pt x="4540" y="9686"/>
                      <a:pt x="4639" y="9684"/>
                    </a:cubicBezTo>
                    <a:cubicBezTo>
                      <a:pt x="4617" y="9257"/>
                      <a:pt x="4617" y="9257"/>
                      <a:pt x="4617" y="9257"/>
                    </a:cubicBezTo>
                    <a:cubicBezTo>
                      <a:pt x="4455" y="9270"/>
                      <a:pt x="4295" y="9280"/>
                      <a:pt x="4213" y="9285"/>
                    </a:cubicBezTo>
                    <a:lnTo>
                      <a:pt x="4398" y="9689"/>
                    </a:lnTo>
                    <a:close/>
                    <a:moveTo>
                      <a:pt x="4740" y="10159"/>
                    </a:moveTo>
                    <a:cubicBezTo>
                      <a:pt x="4771" y="10152"/>
                      <a:pt x="4802" y="10144"/>
                      <a:pt x="4831" y="10137"/>
                    </a:cubicBezTo>
                    <a:cubicBezTo>
                      <a:pt x="4861" y="10131"/>
                      <a:pt x="4890" y="10124"/>
                      <a:pt x="4919" y="10118"/>
                    </a:cubicBezTo>
                    <a:cubicBezTo>
                      <a:pt x="4900" y="9692"/>
                      <a:pt x="4900" y="9692"/>
                      <a:pt x="4900" y="9692"/>
                    </a:cubicBezTo>
                    <a:cubicBezTo>
                      <a:pt x="4886" y="9693"/>
                      <a:pt x="4873" y="9693"/>
                      <a:pt x="4859" y="9693"/>
                    </a:cubicBezTo>
                    <a:cubicBezTo>
                      <a:pt x="4789" y="9695"/>
                      <a:pt x="4720" y="9696"/>
                      <a:pt x="4655" y="9698"/>
                    </a:cubicBezTo>
                    <a:lnTo>
                      <a:pt x="4740" y="10159"/>
                    </a:lnTo>
                    <a:close/>
                    <a:moveTo>
                      <a:pt x="5109" y="9674"/>
                    </a:moveTo>
                    <a:cubicBezTo>
                      <a:pt x="4953" y="9220"/>
                      <a:pt x="4953" y="9220"/>
                      <a:pt x="4953" y="9220"/>
                    </a:cubicBezTo>
                    <a:cubicBezTo>
                      <a:pt x="4868" y="9234"/>
                      <a:pt x="4750" y="9246"/>
                      <a:pt x="4630" y="9256"/>
                    </a:cubicBezTo>
                    <a:cubicBezTo>
                      <a:pt x="4653" y="9684"/>
                      <a:pt x="4653" y="9684"/>
                      <a:pt x="4653" y="9684"/>
                    </a:cubicBezTo>
                    <a:cubicBezTo>
                      <a:pt x="4798" y="9681"/>
                      <a:pt x="4968" y="9677"/>
                      <a:pt x="5109" y="9674"/>
                    </a:cubicBezTo>
                    <a:close/>
                    <a:moveTo>
                      <a:pt x="5754" y="9357"/>
                    </a:moveTo>
                    <a:cubicBezTo>
                      <a:pt x="5789" y="9237"/>
                      <a:pt x="5789" y="9237"/>
                      <a:pt x="5789" y="9237"/>
                    </a:cubicBezTo>
                    <a:cubicBezTo>
                      <a:pt x="5751" y="9232"/>
                      <a:pt x="5433" y="9171"/>
                      <a:pt x="5314" y="9149"/>
                    </a:cubicBezTo>
                    <a:cubicBezTo>
                      <a:pt x="5317" y="9155"/>
                      <a:pt x="5320" y="9161"/>
                      <a:pt x="5321" y="9168"/>
                    </a:cubicBezTo>
                    <a:cubicBezTo>
                      <a:pt x="5324" y="9181"/>
                      <a:pt x="5349" y="9232"/>
                      <a:pt x="5373" y="9292"/>
                    </a:cubicBezTo>
                    <a:cubicBezTo>
                      <a:pt x="5376" y="9297"/>
                      <a:pt x="5378" y="9303"/>
                      <a:pt x="5380" y="9308"/>
                    </a:cubicBezTo>
                    <a:lnTo>
                      <a:pt x="5754" y="9357"/>
                    </a:lnTo>
                    <a:close/>
                    <a:moveTo>
                      <a:pt x="5386" y="9323"/>
                    </a:moveTo>
                    <a:cubicBezTo>
                      <a:pt x="5402" y="9366"/>
                      <a:pt x="5416" y="9413"/>
                      <a:pt x="5423" y="9459"/>
                    </a:cubicBezTo>
                    <a:cubicBezTo>
                      <a:pt x="5449" y="9463"/>
                      <a:pt x="5503" y="9472"/>
                      <a:pt x="5559" y="9481"/>
                    </a:cubicBezTo>
                    <a:cubicBezTo>
                      <a:pt x="5623" y="9492"/>
                      <a:pt x="5690" y="9502"/>
                      <a:pt x="5712" y="9505"/>
                    </a:cubicBezTo>
                    <a:cubicBezTo>
                      <a:pt x="5750" y="9370"/>
                      <a:pt x="5750" y="9370"/>
                      <a:pt x="5750" y="9370"/>
                    </a:cubicBezTo>
                    <a:lnTo>
                      <a:pt x="5386" y="9323"/>
                    </a:lnTo>
                    <a:close/>
                    <a:moveTo>
                      <a:pt x="5414" y="9843"/>
                    </a:moveTo>
                    <a:cubicBezTo>
                      <a:pt x="5674" y="9802"/>
                      <a:pt x="5674" y="9802"/>
                      <a:pt x="5674" y="9802"/>
                    </a:cubicBezTo>
                    <a:cubicBezTo>
                      <a:pt x="5671" y="9654"/>
                      <a:pt x="5671" y="9654"/>
                      <a:pt x="5671" y="9654"/>
                    </a:cubicBezTo>
                    <a:cubicBezTo>
                      <a:pt x="5427" y="9633"/>
                      <a:pt x="5427" y="9633"/>
                      <a:pt x="5427" y="9633"/>
                    </a:cubicBezTo>
                    <a:cubicBezTo>
                      <a:pt x="5424" y="9698"/>
                      <a:pt x="5419" y="9773"/>
                      <a:pt x="5414" y="9843"/>
                    </a:cubicBezTo>
                    <a:close/>
                    <a:moveTo>
                      <a:pt x="5397" y="10038"/>
                    </a:moveTo>
                    <a:cubicBezTo>
                      <a:pt x="5495" y="10026"/>
                      <a:pt x="5589" y="10016"/>
                      <a:pt x="5677" y="10008"/>
                    </a:cubicBezTo>
                    <a:cubicBezTo>
                      <a:pt x="5674" y="9816"/>
                      <a:pt x="5674" y="9816"/>
                      <a:pt x="5674" y="9816"/>
                    </a:cubicBezTo>
                    <a:cubicBezTo>
                      <a:pt x="5413" y="9857"/>
                      <a:pt x="5413" y="9857"/>
                      <a:pt x="5413" y="9857"/>
                    </a:cubicBezTo>
                    <a:cubicBezTo>
                      <a:pt x="5407" y="9933"/>
                      <a:pt x="5401" y="10001"/>
                      <a:pt x="5397" y="10038"/>
                    </a:cubicBezTo>
                    <a:close/>
                    <a:moveTo>
                      <a:pt x="5708" y="9519"/>
                    </a:moveTo>
                    <a:cubicBezTo>
                      <a:pt x="5662" y="9513"/>
                      <a:pt x="5484" y="9483"/>
                      <a:pt x="5426" y="9473"/>
                    </a:cubicBezTo>
                    <a:cubicBezTo>
                      <a:pt x="5426" y="9479"/>
                      <a:pt x="5428" y="9485"/>
                      <a:pt x="5428" y="9491"/>
                    </a:cubicBezTo>
                    <a:cubicBezTo>
                      <a:pt x="5429" y="9504"/>
                      <a:pt x="5430" y="9520"/>
                      <a:pt x="5430" y="9539"/>
                    </a:cubicBezTo>
                    <a:cubicBezTo>
                      <a:pt x="5430" y="9562"/>
                      <a:pt x="5429" y="9589"/>
                      <a:pt x="5428" y="9619"/>
                    </a:cubicBezTo>
                    <a:cubicBezTo>
                      <a:pt x="5673" y="9640"/>
                      <a:pt x="5673" y="9640"/>
                      <a:pt x="5673" y="9640"/>
                    </a:cubicBezTo>
                    <a:lnTo>
                      <a:pt x="5708" y="9519"/>
                    </a:lnTo>
                    <a:close/>
                    <a:moveTo>
                      <a:pt x="5706" y="9575"/>
                    </a:moveTo>
                    <a:cubicBezTo>
                      <a:pt x="5862" y="9600"/>
                      <a:pt x="5862" y="9600"/>
                      <a:pt x="5862" y="9600"/>
                    </a:cubicBezTo>
                    <a:cubicBezTo>
                      <a:pt x="5908" y="9475"/>
                      <a:pt x="5908" y="9475"/>
                      <a:pt x="5908" y="9475"/>
                    </a:cubicBezTo>
                    <a:cubicBezTo>
                      <a:pt x="5747" y="9449"/>
                      <a:pt x="5747" y="9449"/>
                      <a:pt x="5747" y="9449"/>
                    </a:cubicBezTo>
                    <a:cubicBezTo>
                      <a:pt x="5749" y="9436"/>
                      <a:pt x="5749" y="9436"/>
                      <a:pt x="5749" y="9436"/>
                    </a:cubicBezTo>
                    <a:cubicBezTo>
                      <a:pt x="5912" y="9461"/>
                      <a:pt x="5912" y="9461"/>
                      <a:pt x="5912" y="9461"/>
                    </a:cubicBezTo>
                    <a:cubicBezTo>
                      <a:pt x="5958" y="9333"/>
                      <a:pt x="5958" y="9333"/>
                      <a:pt x="5958" y="9333"/>
                    </a:cubicBezTo>
                    <a:cubicBezTo>
                      <a:pt x="5784" y="9304"/>
                      <a:pt x="5784" y="9304"/>
                      <a:pt x="5784" y="9304"/>
                    </a:cubicBezTo>
                    <a:lnTo>
                      <a:pt x="5706" y="9575"/>
                    </a:lnTo>
                    <a:close/>
                    <a:moveTo>
                      <a:pt x="5970" y="9751"/>
                    </a:moveTo>
                    <a:cubicBezTo>
                      <a:pt x="6013" y="9752"/>
                      <a:pt x="6043" y="9754"/>
                      <a:pt x="6046" y="9754"/>
                    </a:cubicBezTo>
                    <a:cubicBezTo>
                      <a:pt x="6083" y="9650"/>
                      <a:pt x="6083" y="9650"/>
                      <a:pt x="6083" y="9650"/>
                    </a:cubicBezTo>
                    <a:cubicBezTo>
                      <a:pt x="6011" y="9638"/>
                      <a:pt x="6011" y="9638"/>
                      <a:pt x="6011" y="9638"/>
                    </a:cubicBezTo>
                    <a:lnTo>
                      <a:pt x="5970" y="9751"/>
                    </a:lnTo>
                    <a:close/>
                    <a:moveTo>
                      <a:pt x="6088" y="9636"/>
                    </a:moveTo>
                    <a:cubicBezTo>
                      <a:pt x="6133" y="9510"/>
                      <a:pt x="6133" y="9510"/>
                      <a:pt x="6133" y="9510"/>
                    </a:cubicBezTo>
                    <a:cubicBezTo>
                      <a:pt x="6061" y="9498"/>
                      <a:pt x="6061" y="9498"/>
                      <a:pt x="6061" y="9498"/>
                    </a:cubicBezTo>
                    <a:cubicBezTo>
                      <a:pt x="6016" y="9625"/>
                      <a:pt x="6016" y="9625"/>
                      <a:pt x="6016" y="9625"/>
                    </a:cubicBezTo>
                    <a:lnTo>
                      <a:pt x="6088" y="9636"/>
                    </a:lnTo>
                    <a:close/>
                    <a:moveTo>
                      <a:pt x="6138" y="9496"/>
                    </a:moveTo>
                    <a:cubicBezTo>
                      <a:pt x="6269" y="9124"/>
                      <a:pt x="6269" y="9124"/>
                      <a:pt x="6269" y="9124"/>
                    </a:cubicBezTo>
                    <a:cubicBezTo>
                      <a:pt x="6201" y="9109"/>
                      <a:pt x="6201" y="9109"/>
                      <a:pt x="6201" y="9109"/>
                    </a:cubicBezTo>
                    <a:cubicBezTo>
                      <a:pt x="6162" y="9217"/>
                      <a:pt x="6162" y="9217"/>
                      <a:pt x="6162" y="9217"/>
                    </a:cubicBezTo>
                    <a:cubicBezTo>
                      <a:pt x="6228" y="9229"/>
                      <a:pt x="6228" y="9229"/>
                      <a:pt x="6228" y="9229"/>
                    </a:cubicBezTo>
                    <a:cubicBezTo>
                      <a:pt x="6225" y="9243"/>
                      <a:pt x="6225" y="9243"/>
                      <a:pt x="6225" y="9243"/>
                    </a:cubicBezTo>
                    <a:cubicBezTo>
                      <a:pt x="6158" y="9230"/>
                      <a:pt x="6158" y="9230"/>
                      <a:pt x="6158" y="9230"/>
                    </a:cubicBezTo>
                    <a:cubicBezTo>
                      <a:pt x="6116" y="9346"/>
                      <a:pt x="6116" y="9346"/>
                      <a:pt x="6116" y="9346"/>
                    </a:cubicBezTo>
                    <a:cubicBezTo>
                      <a:pt x="6182" y="9357"/>
                      <a:pt x="6182" y="9357"/>
                      <a:pt x="6182" y="9357"/>
                    </a:cubicBezTo>
                    <a:cubicBezTo>
                      <a:pt x="6179" y="9371"/>
                      <a:pt x="6179" y="9371"/>
                      <a:pt x="6179" y="9371"/>
                    </a:cubicBezTo>
                    <a:cubicBezTo>
                      <a:pt x="6111" y="9359"/>
                      <a:pt x="6111" y="9359"/>
                      <a:pt x="6111" y="9359"/>
                    </a:cubicBezTo>
                    <a:cubicBezTo>
                      <a:pt x="6066" y="9485"/>
                      <a:pt x="6066" y="9485"/>
                      <a:pt x="6066" y="9485"/>
                    </a:cubicBezTo>
                    <a:lnTo>
                      <a:pt x="6138" y="9496"/>
                    </a:lnTo>
                    <a:close/>
                    <a:moveTo>
                      <a:pt x="6274" y="9111"/>
                    </a:moveTo>
                    <a:cubicBezTo>
                      <a:pt x="6319" y="8984"/>
                      <a:pt x="6319" y="8984"/>
                      <a:pt x="6319" y="8984"/>
                    </a:cubicBezTo>
                    <a:cubicBezTo>
                      <a:pt x="6250" y="8972"/>
                      <a:pt x="6250" y="8972"/>
                      <a:pt x="6250" y="8972"/>
                    </a:cubicBezTo>
                    <a:cubicBezTo>
                      <a:pt x="6206" y="9095"/>
                      <a:pt x="6206" y="9095"/>
                      <a:pt x="6206" y="9095"/>
                    </a:cubicBezTo>
                    <a:lnTo>
                      <a:pt x="6274" y="9111"/>
                    </a:lnTo>
                    <a:close/>
                    <a:moveTo>
                      <a:pt x="6324" y="8971"/>
                    </a:moveTo>
                    <a:cubicBezTo>
                      <a:pt x="6362" y="8862"/>
                      <a:pt x="6362" y="8862"/>
                      <a:pt x="6362" y="8862"/>
                    </a:cubicBezTo>
                    <a:cubicBezTo>
                      <a:pt x="6293" y="8852"/>
                      <a:pt x="6293" y="8852"/>
                      <a:pt x="6293" y="8852"/>
                    </a:cubicBezTo>
                    <a:cubicBezTo>
                      <a:pt x="6255" y="8958"/>
                      <a:pt x="6255" y="8958"/>
                      <a:pt x="6255" y="8958"/>
                    </a:cubicBezTo>
                    <a:lnTo>
                      <a:pt x="6324" y="8971"/>
                    </a:lnTo>
                    <a:close/>
                    <a:moveTo>
                      <a:pt x="6367" y="8849"/>
                    </a:moveTo>
                    <a:cubicBezTo>
                      <a:pt x="6475" y="8543"/>
                      <a:pt x="6475" y="8543"/>
                      <a:pt x="6475" y="8543"/>
                    </a:cubicBezTo>
                    <a:cubicBezTo>
                      <a:pt x="6405" y="8542"/>
                      <a:pt x="6405" y="8542"/>
                      <a:pt x="6405" y="8542"/>
                    </a:cubicBezTo>
                    <a:cubicBezTo>
                      <a:pt x="6351" y="8691"/>
                      <a:pt x="6351" y="8691"/>
                      <a:pt x="6351" y="8691"/>
                    </a:cubicBezTo>
                    <a:cubicBezTo>
                      <a:pt x="6412" y="8697"/>
                      <a:pt x="6412" y="8697"/>
                      <a:pt x="6412" y="8697"/>
                    </a:cubicBezTo>
                    <a:cubicBezTo>
                      <a:pt x="6411" y="8711"/>
                      <a:pt x="6411" y="8711"/>
                      <a:pt x="6411" y="8711"/>
                    </a:cubicBezTo>
                    <a:cubicBezTo>
                      <a:pt x="6347" y="8704"/>
                      <a:pt x="6347" y="8704"/>
                      <a:pt x="6347" y="8704"/>
                    </a:cubicBezTo>
                    <a:cubicBezTo>
                      <a:pt x="6298" y="8839"/>
                      <a:pt x="6298" y="8839"/>
                      <a:pt x="6298" y="8839"/>
                    </a:cubicBezTo>
                    <a:lnTo>
                      <a:pt x="6367" y="8849"/>
                    </a:lnTo>
                    <a:close/>
                    <a:moveTo>
                      <a:pt x="6480" y="8529"/>
                    </a:moveTo>
                    <a:cubicBezTo>
                      <a:pt x="6606" y="8172"/>
                      <a:pt x="6606" y="8172"/>
                      <a:pt x="6606" y="8172"/>
                    </a:cubicBezTo>
                    <a:cubicBezTo>
                      <a:pt x="6598" y="8172"/>
                      <a:pt x="6589" y="8172"/>
                      <a:pt x="6581" y="8172"/>
                    </a:cubicBezTo>
                    <a:cubicBezTo>
                      <a:pt x="6575" y="8171"/>
                      <a:pt x="6549" y="8170"/>
                      <a:pt x="6508" y="8167"/>
                    </a:cubicBezTo>
                    <a:cubicBezTo>
                      <a:pt x="6502" y="8184"/>
                      <a:pt x="6496" y="8201"/>
                      <a:pt x="6487" y="8218"/>
                    </a:cubicBezTo>
                    <a:cubicBezTo>
                      <a:pt x="6465" y="8263"/>
                      <a:pt x="6432" y="8309"/>
                      <a:pt x="6377" y="8333"/>
                    </a:cubicBezTo>
                    <a:cubicBezTo>
                      <a:pt x="6347" y="8346"/>
                      <a:pt x="6319" y="8350"/>
                      <a:pt x="6285" y="8353"/>
                    </a:cubicBezTo>
                    <a:cubicBezTo>
                      <a:pt x="6252" y="8357"/>
                      <a:pt x="6213" y="8358"/>
                      <a:pt x="6170" y="8358"/>
                    </a:cubicBezTo>
                    <a:cubicBezTo>
                      <a:pt x="6104" y="8358"/>
                      <a:pt x="6026" y="8355"/>
                      <a:pt x="5943" y="8350"/>
                    </a:cubicBezTo>
                    <a:cubicBezTo>
                      <a:pt x="5938" y="8367"/>
                      <a:pt x="5929" y="8402"/>
                      <a:pt x="5918" y="8447"/>
                    </a:cubicBezTo>
                    <a:cubicBezTo>
                      <a:pt x="5912" y="8469"/>
                      <a:pt x="5906" y="8495"/>
                      <a:pt x="5899" y="8521"/>
                    </a:cubicBezTo>
                    <a:cubicBezTo>
                      <a:pt x="6249" y="8526"/>
                      <a:pt x="6249" y="8526"/>
                      <a:pt x="6249" y="8526"/>
                    </a:cubicBezTo>
                    <a:cubicBezTo>
                      <a:pt x="6303" y="8375"/>
                      <a:pt x="6303" y="8375"/>
                      <a:pt x="6303" y="8375"/>
                    </a:cubicBezTo>
                    <a:cubicBezTo>
                      <a:pt x="6445" y="8429"/>
                      <a:pt x="6445" y="8429"/>
                      <a:pt x="6445" y="8429"/>
                    </a:cubicBezTo>
                    <a:cubicBezTo>
                      <a:pt x="6410" y="8528"/>
                      <a:pt x="6410" y="8528"/>
                      <a:pt x="6410" y="8528"/>
                    </a:cubicBezTo>
                    <a:lnTo>
                      <a:pt x="6480" y="8529"/>
                    </a:lnTo>
                    <a:close/>
                    <a:moveTo>
                      <a:pt x="6619" y="8020"/>
                    </a:moveTo>
                    <a:cubicBezTo>
                      <a:pt x="6626" y="8020"/>
                      <a:pt x="6632" y="8020"/>
                      <a:pt x="6637" y="8019"/>
                    </a:cubicBezTo>
                    <a:cubicBezTo>
                      <a:pt x="6652" y="7987"/>
                      <a:pt x="6678" y="7933"/>
                      <a:pt x="6706" y="7882"/>
                    </a:cubicBezTo>
                    <a:cubicBezTo>
                      <a:pt x="6707" y="7880"/>
                      <a:pt x="6707" y="7880"/>
                      <a:pt x="6707" y="7880"/>
                    </a:cubicBezTo>
                    <a:cubicBezTo>
                      <a:pt x="6707" y="7879"/>
                      <a:pt x="6707" y="7879"/>
                      <a:pt x="6707" y="7879"/>
                    </a:cubicBezTo>
                    <a:cubicBezTo>
                      <a:pt x="6710" y="7874"/>
                      <a:pt x="6730" y="7841"/>
                      <a:pt x="6773" y="7805"/>
                    </a:cubicBezTo>
                    <a:cubicBezTo>
                      <a:pt x="6815" y="7768"/>
                      <a:pt x="6881" y="7727"/>
                      <a:pt x="6971" y="7711"/>
                    </a:cubicBezTo>
                    <a:cubicBezTo>
                      <a:pt x="7021" y="7702"/>
                      <a:pt x="7076" y="7695"/>
                      <a:pt x="7134" y="7692"/>
                    </a:cubicBezTo>
                    <a:cubicBezTo>
                      <a:pt x="7131" y="7674"/>
                      <a:pt x="7129" y="7654"/>
                      <a:pt x="7129" y="7643"/>
                    </a:cubicBezTo>
                    <a:cubicBezTo>
                      <a:pt x="7130" y="7638"/>
                      <a:pt x="7126" y="7635"/>
                      <a:pt x="7134" y="7629"/>
                    </a:cubicBezTo>
                    <a:cubicBezTo>
                      <a:pt x="7138" y="7627"/>
                      <a:pt x="7143" y="7627"/>
                      <a:pt x="7155" y="7624"/>
                    </a:cubicBezTo>
                    <a:cubicBezTo>
                      <a:pt x="7240" y="7609"/>
                      <a:pt x="7585" y="7543"/>
                      <a:pt x="7932" y="7380"/>
                    </a:cubicBezTo>
                    <a:cubicBezTo>
                      <a:pt x="8129" y="7286"/>
                      <a:pt x="8260" y="7139"/>
                      <a:pt x="8343" y="7014"/>
                    </a:cubicBezTo>
                    <a:cubicBezTo>
                      <a:pt x="8425" y="6890"/>
                      <a:pt x="8457" y="6789"/>
                      <a:pt x="8458" y="6789"/>
                    </a:cubicBezTo>
                    <a:cubicBezTo>
                      <a:pt x="8459" y="6784"/>
                      <a:pt x="8459" y="6784"/>
                      <a:pt x="8459" y="6784"/>
                    </a:cubicBezTo>
                    <a:cubicBezTo>
                      <a:pt x="8465" y="6785"/>
                      <a:pt x="8465" y="6785"/>
                      <a:pt x="8465" y="6785"/>
                    </a:cubicBezTo>
                    <a:cubicBezTo>
                      <a:pt x="8465" y="6785"/>
                      <a:pt x="8496" y="6786"/>
                      <a:pt x="8522" y="6788"/>
                    </a:cubicBezTo>
                    <a:cubicBezTo>
                      <a:pt x="8524" y="6704"/>
                      <a:pt x="8525" y="6615"/>
                      <a:pt x="8525" y="6528"/>
                    </a:cubicBezTo>
                    <a:cubicBezTo>
                      <a:pt x="8525" y="6522"/>
                      <a:pt x="8525" y="6515"/>
                      <a:pt x="8525" y="6509"/>
                    </a:cubicBezTo>
                    <a:cubicBezTo>
                      <a:pt x="8515" y="6508"/>
                      <a:pt x="8504" y="6506"/>
                      <a:pt x="8491" y="6505"/>
                    </a:cubicBezTo>
                    <a:cubicBezTo>
                      <a:pt x="8467" y="6502"/>
                      <a:pt x="8438" y="6498"/>
                      <a:pt x="8406" y="6495"/>
                    </a:cubicBezTo>
                    <a:cubicBezTo>
                      <a:pt x="8407" y="6509"/>
                      <a:pt x="8407" y="6523"/>
                      <a:pt x="8407" y="6536"/>
                    </a:cubicBezTo>
                    <a:cubicBezTo>
                      <a:pt x="8406" y="6697"/>
                      <a:pt x="8391" y="6826"/>
                      <a:pt x="8340" y="6917"/>
                    </a:cubicBezTo>
                    <a:cubicBezTo>
                      <a:pt x="8200" y="7159"/>
                      <a:pt x="7872" y="7446"/>
                      <a:pt x="7287" y="7558"/>
                    </a:cubicBezTo>
                    <a:cubicBezTo>
                      <a:pt x="7005" y="7612"/>
                      <a:pt x="6860" y="7644"/>
                      <a:pt x="6784" y="7676"/>
                    </a:cubicBezTo>
                    <a:cubicBezTo>
                      <a:pt x="6746" y="7693"/>
                      <a:pt x="6725" y="7706"/>
                      <a:pt x="6705" y="7725"/>
                    </a:cubicBezTo>
                    <a:cubicBezTo>
                      <a:pt x="6684" y="7744"/>
                      <a:pt x="6664" y="7772"/>
                      <a:pt x="6634" y="7811"/>
                    </a:cubicBezTo>
                    <a:cubicBezTo>
                      <a:pt x="6598" y="7860"/>
                      <a:pt x="6574" y="7937"/>
                      <a:pt x="6552" y="8017"/>
                    </a:cubicBezTo>
                    <a:cubicBezTo>
                      <a:pt x="6572" y="8018"/>
                      <a:pt x="6585" y="8019"/>
                      <a:pt x="6588" y="8019"/>
                    </a:cubicBezTo>
                    <a:cubicBezTo>
                      <a:pt x="6599" y="8020"/>
                      <a:pt x="6610" y="8020"/>
                      <a:pt x="6619" y="8020"/>
                    </a:cubicBezTo>
                    <a:close/>
                    <a:moveTo>
                      <a:pt x="8280" y="7131"/>
                    </a:moveTo>
                    <a:cubicBezTo>
                      <a:pt x="8285" y="7118"/>
                      <a:pt x="8285" y="7118"/>
                      <a:pt x="8285" y="7118"/>
                    </a:cubicBezTo>
                    <a:cubicBezTo>
                      <a:pt x="8512" y="7197"/>
                      <a:pt x="8512" y="7197"/>
                      <a:pt x="8512" y="7197"/>
                    </a:cubicBezTo>
                    <a:cubicBezTo>
                      <a:pt x="8515" y="7129"/>
                      <a:pt x="8519" y="6977"/>
                      <a:pt x="8522" y="6801"/>
                    </a:cubicBezTo>
                    <a:cubicBezTo>
                      <a:pt x="8502" y="6801"/>
                      <a:pt x="8479" y="6799"/>
                      <a:pt x="8469" y="6799"/>
                    </a:cubicBezTo>
                    <a:cubicBezTo>
                      <a:pt x="8456" y="6835"/>
                      <a:pt x="8372" y="7056"/>
                      <a:pt x="8168" y="7239"/>
                    </a:cubicBezTo>
                    <a:cubicBezTo>
                      <a:pt x="8186" y="7252"/>
                      <a:pt x="8264" y="7309"/>
                      <a:pt x="8343" y="7366"/>
                    </a:cubicBezTo>
                    <a:cubicBezTo>
                      <a:pt x="8389" y="7399"/>
                      <a:pt x="8434" y="7432"/>
                      <a:pt x="8469" y="7456"/>
                    </a:cubicBezTo>
                    <a:cubicBezTo>
                      <a:pt x="8485" y="7467"/>
                      <a:pt x="8499" y="7476"/>
                      <a:pt x="8509" y="7483"/>
                    </a:cubicBezTo>
                    <a:cubicBezTo>
                      <a:pt x="8506" y="7449"/>
                      <a:pt x="8505" y="7416"/>
                      <a:pt x="8505" y="7383"/>
                    </a:cubicBezTo>
                    <a:cubicBezTo>
                      <a:pt x="8505" y="7321"/>
                      <a:pt x="8509" y="7263"/>
                      <a:pt x="8511" y="7213"/>
                    </a:cubicBezTo>
                    <a:cubicBezTo>
                      <a:pt x="8511" y="7212"/>
                      <a:pt x="8511" y="7212"/>
                      <a:pt x="8511" y="7211"/>
                    </a:cubicBezTo>
                    <a:lnTo>
                      <a:pt x="8280" y="7131"/>
                    </a:lnTo>
                    <a:close/>
                    <a:moveTo>
                      <a:pt x="7853" y="7437"/>
                    </a:moveTo>
                    <a:cubicBezTo>
                      <a:pt x="7863" y="7427"/>
                      <a:pt x="7863" y="7427"/>
                      <a:pt x="7863" y="7427"/>
                    </a:cubicBezTo>
                    <a:cubicBezTo>
                      <a:pt x="7863" y="7427"/>
                      <a:pt x="7970" y="7537"/>
                      <a:pt x="8087" y="7656"/>
                    </a:cubicBezTo>
                    <a:cubicBezTo>
                      <a:pt x="8088" y="7655"/>
                      <a:pt x="8088" y="7655"/>
                      <a:pt x="8089" y="7655"/>
                    </a:cubicBezTo>
                    <a:cubicBezTo>
                      <a:pt x="8138" y="7637"/>
                      <a:pt x="8187" y="7619"/>
                      <a:pt x="8224" y="7605"/>
                    </a:cubicBezTo>
                    <a:cubicBezTo>
                      <a:pt x="8243" y="7598"/>
                      <a:pt x="8258" y="7593"/>
                      <a:pt x="8270" y="7589"/>
                    </a:cubicBezTo>
                    <a:cubicBezTo>
                      <a:pt x="8270" y="7589"/>
                      <a:pt x="8271" y="7588"/>
                      <a:pt x="8271" y="7588"/>
                    </a:cubicBezTo>
                    <a:cubicBezTo>
                      <a:pt x="8004" y="7360"/>
                      <a:pt x="8004" y="7360"/>
                      <a:pt x="8004" y="7360"/>
                    </a:cubicBezTo>
                    <a:cubicBezTo>
                      <a:pt x="8009" y="7354"/>
                      <a:pt x="8009" y="7354"/>
                      <a:pt x="8009" y="7354"/>
                    </a:cubicBezTo>
                    <a:cubicBezTo>
                      <a:pt x="7986" y="7368"/>
                      <a:pt x="7963" y="7380"/>
                      <a:pt x="7938" y="7392"/>
                    </a:cubicBezTo>
                    <a:cubicBezTo>
                      <a:pt x="7791" y="7461"/>
                      <a:pt x="7645" y="7513"/>
                      <a:pt x="7518" y="7551"/>
                    </a:cubicBezTo>
                    <a:cubicBezTo>
                      <a:pt x="7615" y="7748"/>
                      <a:pt x="7615" y="7748"/>
                      <a:pt x="7615" y="7748"/>
                    </a:cubicBezTo>
                    <a:cubicBezTo>
                      <a:pt x="7722" y="7782"/>
                      <a:pt x="7831" y="7837"/>
                      <a:pt x="7920" y="7887"/>
                    </a:cubicBezTo>
                    <a:cubicBezTo>
                      <a:pt x="7989" y="7926"/>
                      <a:pt x="8046" y="7961"/>
                      <a:pt x="8076" y="7981"/>
                    </a:cubicBezTo>
                    <a:cubicBezTo>
                      <a:pt x="8086" y="7980"/>
                      <a:pt x="8100" y="7978"/>
                      <a:pt x="8116" y="7977"/>
                    </a:cubicBezTo>
                    <a:cubicBezTo>
                      <a:pt x="7674" y="7508"/>
                      <a:pt x="7674" y="7508"/>
                      <a:pt x="7674" y="7508"/>
                    </a:cubicBezTo>
                    <a:cubicBezTo>
                      <a:pt x="7684" y="7498"/>
                      <a:pt x="7684" y="7498"/>
                      <a:pt x="7684" y="7498"/>
                    </a:cubicBezTo>
                    <a:cubicBezTo>
                      <a:pt x="7899" y="7726"/>
                      <a:pt x="7899" y="7726"/>
                      <a:pt x="7899" y="7726"/>
                    </a:cubicBezTo>
                    <a:cubicBezTo>
                      <a:pt x="7915" y="7720"/>
                      <a:pt x="7991" y="7691"/>
                      <a:pt x="8073" y="7661"/>
                    </a:cubicBezTo>
                    <a:cubicBezTo>
                      <a:pt x="7958" y="7544"/>
                      <a:pt x="7853" y="7437"/>
                      <a:pt x="7853" y="7437"/>
                    </a:cubicBezTo>
                    <a:close/>
                    <a:moveTo>
                      <a:pt x="7770" y="8224"/>
                    </a:moveTo>
                    <a:cubicBezTo>
                      <a:pt x="7699" y="8363"/>
                      <a:pt x="7699" y="8363"/>
                      <a:pt x="7699" y="8363"/>
                    </a:cubicBezTo>
                    <a:cubicBezTo>
                      <a:pt x="7813" y="8417"/>
                      <a:pt x="7813" y="8417"/>
                      <a:pt x="7813" y="8417"/>
                    </a:cubicBezTo>
                    <a:cubicBezTo>
                      <a:pt x="7883" y="8280"/>
                      <a:pt x="7883" y="8280"/>
                      <a:pt x="7883" y="8280"/>
                    </a:cubicBezTo>
                    <a:lnTo>
                      <a:pt x="7770" y="8224"/>
                    </a:lnTo>
                    <a:close/>
                    <a:moveTo>
                      <a:pt x="7889" y="8267"/>
                    </a:moveTo>
                    <a:cubicBezTo>
                      <a:pt x="7952" y="8145"/>
                      <a:pt x="7952" y="8145"/>
                      <a:pt x="7952" y="8145"/>
                    </a:cubicBezTo>
                    <a:cubicBezTo>
                      <a:pt x="7840" y="8086"/>
                      <a:pt x="7840" y="8086"/>
                      <a:pt x="7840" y="8086"/>
                    </a:cubicBezTo>
                    <a:cubicBezTo>
                      <a:pt x="7776" y="8211"/>
                      <a:pt x="7776" y="8211"/>
                      <a:pt x="7776" y="8211"/>
                    </a:cubicBezTo>
                    <a:lnTo>
                      <a:pt x="7889" y="8267"/>
                    </a:lnTo>
                    <a:close/>
                    <a:moveTo>
                      <a:pt x="7119" y="8162"/>
                    </a:moveTo>
                    <a:cubicBezTo>
                      <a:pt x="7210" y="8181"/>
                      <a:pt x="7309" y="8202"/>
                      <a:pt x="7358" y="8213"/>
                    </a:cubicBezTo>
                    <a:cubicBezTo>
                      <a:pt x="7407" y="8060"/>
                      <a:pt x="7407" y="8060"/>
                      <a:pt x="7407" y="8060"/>
                    </a:cubicBezTo>
                    <a:cubicBezTo>
                      <a:pt x="7169" y="8015"/>
                      <a:pt x="7169" y="8015"/>
                      <a:pt x="7169" y="8015"/>
                    </a:cubicBezTo>
                    <a:lnTo>
                      <a:pt x="7119" y="8162"/>
                    </a:lnTo>
                    <a:close/>
                    <a:moveTo>
                      <a:pt x="7190" y="7914"/>
                    </a:moveTo>
                    <a:cubicBezTo>
                      <a:pt x="7065" y="7872"/>
                      <a:pt x="7065" y="7872"/>
                      <a:pt x="7065" y="7872"/>
                    </a:cubicBezTo>
                    <a:cubicBezTo>
                      <a:pt x="7031" y="7974"/>
                      <a:pt x="7031" y="7974"/>
                      <a:pt x="7031" y="7974"/>
                    </a:cubicBezTo>
                    <a:cubicBezTo>
                      <a:pt x="7161" y="7999"/>
                      <a:pt x="7161" y="7999"/>
                      <a:pt x="7161" y="7999"/>
                    </a:cubicBezTo>
                    <a:lnTo>
                      <a:pt x="7190" y="7914"/>
                    </a:lnTo>
                    <a:close/>
                    <a:moveTo>
                      <a:pt x="7365" y="8408"/>
                    </a:moveTo>
                    <a:cubicBezTo>
                      <a:pt x="7602" y="8525"/>
                      <a:pt x="7602" y="8525"/>
                      <a:pt x="7602" y="8525"/>
                    </a:cubicBezTo>
                    <a:cubicBezTo>
                      <a:pt x="7681" y="8370"/>
                      <a:pt x="7681" y="8370"/>
                      <a:pt x="7681" y="8370"/>
                    </a:cubicBezTo>
                    <a:cubicBezTo>
                      <a:pt x="7416" y="8247"/>
                      <a:pt x="7416" y="8247"/>
                      <a:pt x="7416" y="8247"/>
                    </a:cubicBezTo>
                    <a:lnTo>
                      <a:pt x="7365" y="8408"/>
                    </a:lnTo>
                    <a:close/>
                    <a:moveTo>
                      <a:pt x="7115" y="8176"/>
                    </a:moveTo>
                    <a:cubicBezTo>
                      <a:pt x="7059" y="8340"/>
                      <a:pt x="7059" y="8340"/>
                      <a:pt x="7059" y="8340"/>
                    </a:cubicBezTo>
                    <a:cubicBezTo>
                      <a:pt x="7302" y="8388"/>
                      <a:pt x="7302" y="8388"/>
                      <a:pt x="7302" y="8388"/>
                    </a:cubicBezTo>
                    <a:cubicBezTo>
                      <a:pt x="7354" y="8226"/>
                      <a:pt x="7354" y="8226"/>
                      <a:pt x="7354" y="8226"/>
                    </a:cubicBezTo>
                    <a:cubicBezTo>
                      <a:pt x="7313" y="8217"/>
                      <a:pt x="7239" y="8201"/>
                      <a:pt x="7163" y="8186"/>
                    </a:cubicBezTo>
                    <a:cubicBezTo>
                      <a:pt x="7147" y="8182"/>
                      <a:pt x="7131" y="8179"/>
                      <a:pt x="7115" y="8176"/>
                    </a:cubicBezTo>
                    <a:close/>
                    <a:moveTo>
                      <a:pt x="7055" y="8354"/>
                    </a:moveTo>
                    <a:cubicBezTo>
                      <a:pt x="6997" y="8524"/>
                      <a:pt x="6997" y="8524"/>
                      <a:pt x="6997" y="8524"/>
                    </a:cubicBezTo>
                    <a:cubicBezTo>
                      <a:pt x="7091" y="8542"/>
                      <a:pt x="7193" y="8561"/>
                      <a:pt x="7244" y="8571"/>
                    </a:cubicBezTo>
                    <a:cubicBezTo>
                      <a:pt x="7298" y="8401"/>
                      <a:pt x="7298" y="8401"/>
                      <a:pt x="7298" y="8401"/>
                    </a:cubicBezTo>
                    <a:lnTo>
                      <a:pt x="7055" y="8354"/>
                    </a:lnTo>
                    <a:close/>
                    <a:moveTo>
                      <a:pt x="6992" y="8537"/>
                    </a:moveTo>
                    <a:cubicBezTo>
                      <a:pt x="6935" y="8706"/>
                      <a:pt x="6935" y="8706"/>
                      <a:pt x="6935" y="8706"/>
                    </a:cubicBezTo>
                    <a:cubicBezTo>
                      <a:pt x="7029" y="8723"/>
                      <a:pt x="7130" y="8743"/>
                      <a:pt x="7185" y="8753"/>
                    </a:cubicBezTo>
                    <a:cubicBezTo>
                      <a:pt x="7239" y="8584"/>
                      <a:pt x="7239" y="8584"/>
                      <a:pt x="7239" y="8584"/>
                    </a:cubicBezTo>
                    <a:cubicBezTo>
                      <a:pt x="7196" y="8576"/>
                      <a:pt x="7118" y="8561"/>
                      <a:pt x="7038" y="8546"/>
                    </a:cubicBezTo>
                    <a:cubicBezTo>
                      <a:pt x="7023" y="8543"/>
                      <a:pt x="7008" y="8540"/>
                      <a:pt x="6992" y="8537"/>
                    </a:cubicBezTo>
                    <a:close/>
                    <a:moveTo>
                      <a:pt x="6931" y="8719"/>
                    </a:moveTo>
                    <a:cubicBezTo>
                      <a:pt x="6872" y="8892"/>
                      <a:pt x="6872" y="8892"/>
                      <a:pt x="6872" y="8892"/>
                    </a:cubicBezTo>
                    <a:cubicBezTo>
                      <a:pt x="6881" y="8894"/>
                      <a:pt x="6890" y="8895"/>
                      <a:pt x="6899" y="8897"/>
                    </a:cubicBezTo>
                    <a:cubicBezTo>
                      <a:pt x="6989" y="8915"/>
                      <a:pt x="7083" y="8933"/>
                      <a:pt x="7125" y="8940"/>
                    </a:cubicBezTo>
                    <a:cubicBezTo>
                      <a:pt x="7181" y="8767"/>
                      <a:pt x="7181" y="8767"/>
                      <a:pt x="7181" y="8767"/>
                    </a:cubicBezTo>
                    <a:cubicBezTo>
                      <a:pt x="7134" y="8758"/>
                      <a:pt x="7055" y="8743"/>
                      <a:pt x="6976" y="8728"/>
                    </a:cubicBezTo>
                    <a:cubicBezTo>
                      <a:pt x="6961" y="8725"/>
                      <a:pt x="6946" y="8722"/>
                      <a:pt x="6931" y="8719"/>
                    </a:cubicBezTo>
                    <a:close/>
                    <a:moveTo>
                      <a:pt x="7134" y="9129"/>
                    </a:moveTo>
                    <a:cubicBezTo>
                      <a:pt x="7262" y="9192"/>
                      <a:pt x="7262" y="9192"/>
                      <a:pt x="7262" y="9192"/>
                    </a:cubicBezTo>
                    <a:cubicBezTo>
                      <a:pt x="7337" y="9044"/>
                      <a:pt x="7337" y="9044"/>
                      <a:pt x="7337" y="9044"/>
                    </a:cubicBezTo>
                    <a:cubicBezTo>
                      <a:pt x="7336" y="9044"/>
                      <a:pt x="7335" y="9043"/>
                      <a:pt x="7333" y="9043"/>
                    </a:cubicBezTo>
                    <a:cubicBezTo>
                      <a:pt x="7290" y="9021"/>
                      <a:pt x="7245" y="9000"/>
                      <a:pt x="7211" y="8983"/>
                    </a:cubicBezTo>
                    <a:cubicBezTo>
                      <a:pt x="7201" y="8979"/>
                      <a:pt x="7192" y="8975"/>
                      <a:pt x="7184" y="8971"/>
                    </a:cubicBezTo>
                    <a:lnTo>
                      <a:pt x="7134" y="9129"/>
                    </a:lnTo>
                    <a:close/>
                    <a:moveTo>
                      <a:pt x="7343" y="9032"/>
                    </a:moveTo>
                    <a:cubicBezTo>
                      <a:pt x="7422" y="8877"/>
                      <a:pt x="7422" y="8877"/>
                      <a:pt x="7422" y="8877"/>
                    </a:cubicBezTo>
                    <a:cubicBezTo>
                      <a:pt x="7244" y="8785"/>
                      <a:pt x="7244" y="8785"/>
                      <a:pt x="7244" y="8785"/>
                    </a:cubicBezTo>
                    <a:cubicBezTo>
                      <a:pt x="7189" y="8958"/>
                      <a:pt x="7189" y="8958"/>
                      <a:pt x="7189" y="8958"/>
                    </a:cubicBezTo>
                    <a:cubicBezTo>
                      <a:pt x="7197" y="8962"/>
                      <a:pt x="7206" y="8966"/>
                      <a:pt x="7216" y="8971"/>
                    </a:cubicBezTo>
                    <a:cubicBezTo>
                      <a:pt x="7252" y="8987"/>
                      <a:pt x="7298" y="9010"/>
                      <a:pt x="7343" y="9032"/>
                    </a:cubicBezTo>
                    <a:close/>
                    <a:moveTo>
                      <a:pt x="7429" y="8864"/>
                    </a:moveTo>
                    <a:cubicBezTo>
                      <a:pt x="7510" y="8706"/>
                      <a:pt x="7510" y="8706"/>
                      <a:pt x="7510" y="8706"/>
                    </a:cubicBezTo>
                    <a:cubicBezTo>
                      <a:pt x="7302" y="8604"/>
                      <a:pt x="7302" y="8604"/>
                      <a:pt x="7302" y="8604"/>
                    </a:cubicBezTo>
                    <a:cubicBezTo>
                      <a:pt x="7248" y="8772"/>
                      <a:pt x="7248" y="8772"/>
                      <a:pt x="7248" y="8772"/>
                    </a:cubicBezTo>
                    <a:lnTo>
                      <a:pt x="7429" y="8864"/>
                    </a:lnTo>
                    <a:close/>
                    <a:moveTo>
                      <a:pt x="7516" y="8693"/>
                    </a:moveTo>
                    <a:cubicBezTo>
                      <a:pt x="7596" y="8537"/>
                      <a:pt x="7596" y="8537"/>
                      <a:pt x="7596" y="8537"/>
                    </a:cubicBezTo>
                    <a:cubicBezTo>
                      <a:pt x="7360" y="8421"/>
                      <a:pt x="7360" y="8421"/>
                      <a:pt x="7360" y="8421"/>
                    </a:cubicBezTo>
                    <a:cubicBezTo>
                      <a:pt x="7306" y="8591"/>
                      <a:pt x="7306" y="8591"/>
                      <a:pt x="7306" y="8591"/>
                    </a:cubicBezTo>
                    <a:lnTo>
                      <a:pt x="7516" y="8693"/>
                    </a:lnTo>
                    <a:close/>
                    <a:moveTo>
                      <a:pt x="7528" y="8699"/>
                    </a:moveTo>
                    <a:cubicBezTo>
                      <a:pt x="7641" y="8755"/>
                      <a:pt x="7641" y="8755"/>
                      <a:pt x="7641" y="8755"/>
                    </a:cubicBezTo>
                    <a:cubicBezTo>
                      <a:pt x="7720" y="8599"/>
                      <a:pt x="7720" y="8599"/>
                      <a:pt x="7720" y="8599"/>
                    </a:cubicBezTo>
                    <a:cubicBezTo>
                      <a:pt x="7607" y="8543"/>
                      <a:pt x="7607" y="8543"/>
                      <a:pt x="7607" y="8543"/>
                    </a:cubicBezTo>
                    <a:lnTo>
                      <a:pt x="7528" y="8699"/>
                    </a:lnTo>
                    <a:close/>
                    <a:moveTo>
                      <a:pt x="7727" y="8586"/>
                    </a:moveTo>
                    <a:cubicBezTo>
                      <a:pt x="7807" y="8429"/>
                      <a:pt x="7807" y="8429"/>
                      <a:pt x="7807" y="8429"/>
                    </a:cubicBezTo>
                    <a:cubicBezTo>
                      <a:pt x="7692" y="8376"/>
                      <a:pt x="7692" y="8376"/>
                      <a:pt x="7692" y="8376"/>
                    </a:cubicBezTo>
                    <a:cubicBezTo>
                      <a:pt x="7614" y="8530"/>
                      <a:pt x="7614" y="8530"/>
                      <a:pt x="7614" y="8530"/>
                    </a:cubicBezTo>
                    <a:lnTo>
                      <a:pt x="7727" y="8586"/>
                    </a:lnTo>
                    <a:close/>
                    <a:moveTo>
                      <a:pt x="7758" y="8218"/>
                    </a:moveTo>
                    <a:cubicBezTo>
                      <a:pt x="7471" y="8076"/>
                      <a:pt x="7471" y="8076"/>
                      <a:pt x="7471" y="8076"/>
                    </a:cubicBezTo>
                    <a:cubicBezTo>
                      <a:pt x="7421" y="8233"/>
                      <a:pt x="7421" y="8233"/>
                      <a:pt x="7421" y="8233"/>
                    </a:cubicBezTo>
                    <a:cubicBezTo>
                      <a:pt x="7687" y="8358"/>
                      <a:pt x="7687" y="8358"/>
                      <a:pt x="7687" y="8358"/>
                    </a:cubicBezTo>
                    <a:lnTo>
                      <a:pt x="7758" y="8218"/>
                    </a:lnTo>
                    <a:close/>
                    <a:moveTo>
                      <a:pt x="7040" y="7854"/>
                    </a:moveTo>
                    <a:cubicBezTo>
                      <a:pt x="7032" y="7879"/>
                      <a:pt x="7019" y="7918"/>
                      <a:pt x="7002" y="7968"/>
                    </a:cubicBezTo>
                    <a:cubicBezTo>
                      <a:pt x="7018" y="7971"/>
                      <a:pt x="7018" y="7971"/>
                      <a:pt x="7018" y="7971"/>
                    </a:cubicBezTo>
                    <a:cubicBezTo>
                      <a:pt x="7057" y="7855"/>
                      <a:pt x="7057" y="7855"/>
                      <a:pt x="7057" y="7855"/>
                    </a:cubicBezTo>
                    <a:cubicBezTo>
                      <a:pt x="7206" y="7906"/>
                      <a:pt x="7206" y="7906"/>
                      <a:pt x="7206" y="7906"/>
                    </a:cubicBezTo>
                    <a:cubicBezTo>
                      <a:pt x="7174" y="8001"/>
                      <a:pt x="7174" y="8001"/>
                      <a:pt x="7174" y="8001"/>
                    </a:cubicBezTo>
                    <a:cubicBezTo>
                      <a:pt x="7411" y="8047"/>
                      <a:pt x="7411" y="8047"/>
                      <a:pt x="7411" y="8047"/>
                    </a:cubicBezTo>
                    <a:cubicBezTo>
                      <a:pt x="7469" y="7868"/>
                      <a:pt x="7469" y="7868"/>
                      <a:pt x="7469" y="7868"/>
                    </a:cubicBezTo>
                    <a:cubicBezTo>
                      <a:pt x="7377" y="7850"/>
                      <a:pt x="7292" y="7842"/>
                      <a:pt x="7214" y="7842"/>
                    </a:cubicBezTo>
                    <a:cubicBezTo>
                      <a:pt x="7152" y="7842"/>
                      <a:pt x="7094" y="7847"/>
                      <a:pt x="7040" y="7854"/>
                    </a:cubicBezTo>
                    <a:close/>
                    <a:moveTo>
                      <a:pt x="7148" y="7691"/>
                    </a:moveTo>
                    <a:cubicBezTo>
                      <a:pt x="7169" y="7690"/>
                      <a:pt x="7192" y="7689"/>
                      <a:pt x="7214" y="7689"/>
                    </a:cubicBezTo>
                    <a:cubicBezTo>
                      <a:pt x="7320" y="7689"/>
                      <a:pt x="7437" y="7701"/>
                      <a:pt x="7562" y="7733"/>
                    </a:cubicBezTo>
                    <a:cubicBezTo>
                      <a:pt x="7574" y="7735"/>
                      <a:pt x="7586" y="7739"/>
                      <a:pt x="7597" y="7742"/>
                    </a:cubicBezTo>
                    <a:cubicBezTo>
                      <a:pt x="7505" y="7555"/>
                      <a:pt x="7505" y="7555"/>
                      <a:pt x="7505" y="7555"/>
                    </a:cubicBezTo>
                    <a:cubicBezTo>
                      <a:pt x="7465" y="7567"/>
                      <a:pt x="7426" y="7577"/>
                      <a:pt x="7391" y="7587"/>
                    </a:cubicBezTo>
                    <a:cubicBezTo>
                      <a:pt x="7316" y="7606"/>
                      <a:pt x="7254" y="7619"/>
                      <a:pt x="7210" y="7628"/>
                    </a:cubicBezTo>
                    <a:cubicBezTo>
                      <a:pt x="7188" y="7633"/>
                      <a:pt x="7170" y="7636"/>
                      <a:pt x="7158" y="7638"/>
                    </a:cubicBezTo>
                    <a:cubicBezTo>
                      <a:pt x="7152" y="7639"/>
                      <a:pt x="7147" y="7640"/>
                      <a:pt x="7144" y="7641"/>
                    </a:cubicBezTo>
                    <a:cubicBezTo>
                      <a:pt x="7143" y="7641"/>
                      <a:pt x="7143" y="7641"/>
                      <a:pt x="7143" y="7641"/>
                    </a:cubicBezTo>
                    <a:cubicBezTo>
                      <a:pt x="7143" y="7642"/>
                      <a:pt x="7143" y="7642"/>
                      <a:pt x="7143" y="7643"/>
                    </a:cubicBezTo>
                    <a:cubicBezTo>
                      <a:pt x="7143" y="7653"/>
                      <a:pt x="7145" y="7673"/>
                      <a:pt x="7148" y="7691"/>
                    </a:cubicBezTo>
                    <a:close/>
                    <a:moveTo>
                      <a:pt x="6976" y="8133"/>
                    </a:moveTo>
                    <a:cubicBezTo>
                      <a:pt x="7010" y="8140"/>
                      <a:pt x="7057" y="8149"/>
                      <a:pt x="7106" y="8160"/>
                    </a:cubicBezTo>
                    <a:cubicBezTo>
                      <a:pt x="7156" y="8012"/>
                      <a:pt x="7156" y="8012"/>
                      <a:pt x="7156" y="8012"/>
                    </a:cubicBezTo>
                    <a:cubicBezTo>
                      <a:pt x="7026" y="7987"/>
                      <a:pt x="7026" y="7987"/>
                      <a:pt x="7026" y="7987"/>
                    </a:cubicBezTo>
                    <a:lnTo>
                      <a:pt x="6976" y="8133"/>
                    </a:lnTo>
                    <a:close/>
                    <a:moveTo>
                      <a:pt x="6972" y="8147"/>
                    </a:moveTo>
                    <a:cubicBezTo>
                      <a:pt x="6915" y="8312"/>
                      <a:pt x="6915" y="8312"/>
                      <a:pt x="6915" y="8312"/>
                    </a:cubicBezTo>
                    <a:cubicBezTo>
                      <a:pt x="7046" y="8338"/>
                      <a:pt x="7046" y="8338"/>
                      <a:pt x="7046" y="8338"/>
                    </a:cubicBezTo>
                    <a:cubicBezTo>
                      <a:pt x="7102" y="8173"/>
                      <a:pt x="7102" y="8173"/>
                      <a:pt x="7102" y="8173"/>
                    </a:cubicBezTo>
                    <a:cubicBezTo>
                      <a:pt x="7052" y="8163"/>
                      <a:pt x="7005" y="8153"/>
                      <a:pt x="6972" y="8147"/>
                    </a:cubicBezTo>
                    <a:close/>
                    <a:moveTo>
                      <a:pt x="6911" y="8325"/>
                    </a:moveTo>
                    <a:cubicBezTo>
                      <a:pt x="6852" y="8497"/>
                      <a:pt x="6852" y="8497"/>
                      <a:pt x="6852" y="8497"/>
                    </a:cubicBezTo>
                    <a:cubicBezTo>
                      <a:pt x="6887" y="8504"/>
                      <a:pt x="6934" y="8512"/>
                      <a:pt x="6984" y="8522"/>
                    </a:cubicBezTo>
                    <a:cubicBezTo>
                      <a:pt x="7042" y="8351"/>
                      <a:pt x="7042" y="8351"/>
                      <a:pt x="7042" y="8351"/>
                    </a:cubicBezTo>
                    <a:lnTo>
                      <a:pt x="6911" y="8325"/>
                    </a:lnTo>
                    <a:close/>
                    <a:moveTo>
                      <a:pt x="6848" y="8511"/>
                    </a:moveTo>
                    <a:cubicBezTo>
                      <a:pt x="6791" y="8678"/>
                      <a:pt x="6791" y="8678"/>
                      <a:pt x="6791" y="8678"/>
                    </a:cubicBezTo>
                    <a:cubicBezTo>
                      <a:pt x="6826" y="8685"/>
                      <a:pt x="6873" y="8694"/>
                      <a:pt x="6922" y="8703"/>
                    </a:cubicBezTo>
                    <a:cubicBezTo>
                      <a:pt x="6979" y="8535"/>
                      <a:pt x="6979" y="8535"/>
                      <a:pt x="6979" y="8535"/>
                    </a:cubicBezTo>
                    <a:cubicBezTo>
                      <a:pt x="6929" y="8526"/>
                      <a:pt x="6882" y="8517"/>
                      <a:pt x="6848" y="8511"/>
                    </a:cubicBezTo>
                    <a:close/>
                    <a:moveTo>
                      <a:pt x="6786" y="8691"/>
                    </a:moveTo>
                    <a:cubicBezTo>
                      <a:pt x="6727" y="8863"/>
                      <a:pt x="6727" y="8863"/>
                      <a:pt x="6727" y="8863"/>
                    </a:cubicBezTo>
                    <a:cubicBezTo>
                      <a:pt x="6762" y="8870"/>
                      <a:pt x="6809" y="8880"/>
                      <a:pt x="6859" y="8889"/>
                    </a:cubicBezTo>
                    <a:cubicBezTo>
                      <a:pt x="6918" y="8716"/>
                      <a:pt x="6918" y="8716"/>
                      <a:pt x="6918" y="8716"/>
                    </a:cubicBezTo>
                    <a:cubicBezTo>
                      <a:pt x="6868" y="8707"/>
                      <a:pt x="6821" y="8698"/>
                      <a:pt x="6786" y="8691"/>
                    </a:cubicBezTo>
                    <a:close/>
                    <a:moveTo>
                      <a:pt x="6723" y="8876"/>
                    </a:moveTo>
                    <a:cubicBezTo>
                      <a:pt x="6675" y="9016"/>
                      <a:pt x="6675" y="9016"/>
                      <a:pt x="6675" y="9016"/>
                    </a:cubicBezTo>
                    <a:cubicBezTo>
                      <a:pt x="6806" y="9046"/>
                      <a:pt x="6806" y="9046"/>
                      <a:pt x="6806" y="9046"/>
                    </a:cubicBezTo>
                    <a:cubicBezTo>
                      <a:pt x="6855" y="8903"/>
                      <a:pt x="6855" y="8903"/>
                      <a:pt x="6855" y="8903"/>
                    </a:cubicBezTo>
                    <a:cubicBezTo>
                      <a:pt x="6805" y="8893"/>
                      <a:pt x="6758" y="8883"/>
                      <a:pt x="6723" y="8876"/>
                    </a:cubicBezTo>
                    <a:close/>
                    <a:moveTo>
                      <a:pt x="6671" y="9029"/>
                    </a:moveTo>
                    <a:cubicBezTo>
                      <a:pt x="6615" y="9192"/>
                      <a:pt x="6615" y="9192"/>
                      <a:pt x="6615" y="9192"/>
                    </a:cubicBezTo>
                    <a:cubicBezTo>
                      <a:pt x="6746" y="9223"/>
                      <a:pt x="6746" y="9223"/>
                      <a:pt x="6746" y="9223"/>
                    </a:cubicBezTo>
                    <a:cubicBezTo>
                      <a:pt x="6802" y="9059"/>
                      <a:pt x="6802" y="9059"/>
                      <a:pt x="6802" y="9059"/>
                    </a:cubicBezTo>
                    <a:lnTo>
                      <a:pt x="6671" y="9029"/>
                    </a:lnTo>
                    <a:close/>
                    <a:moveTo>
                      <a:pt x="6611" y="9205"/>
                    </a:moveTo>
                    <a:cubicBezTo>
                      <a:pt x="6554" y="9371"/>
                      <a:pt x="6554" y="9371"/>
                      <a:pt x="6554" y="9371"/>
                    </a:cubicBezTo>
                    <a:cubicBezTo>
                      <a:pt x="6685" y="9403"/>
                      <a:pt x="6685" y="9403"/>
                      <a:pt x="6685" y="9403"/>
                    </a:cubicBezTo>
                    <a:cubicBezTo>
                      <a:pt x="6742" y="9236"/>
                      <a:pt x="6742" y="9236"/>
                      <a:pt x="6742" y="9236"/>
                    </a:cubicBezTo>
                    <a:lnTo>
                      <a:pt x="6611" y="9205"/>
                    </a:lnTo>
                    <a:close/>
                    <a:moveTo>
                      <a:pt x="6698" y="9406"/>
                    </a:moveTo>
                    <a:cubicBezTo>
                      <a:pt x="6956" y="9469"/>
                      <a:pt x="6956" y="9469"/>
                      <a:pt x="6956" y="9469"/>
                    </a:cubicBezTo>
                    <a:cubicBezTo>
                      <a:pt x="7010" y="9300"/>
                      <a:pt x="7010" y="9300"/>
                      <a:pt x="7010" y="9300"/>
                    </a:cubicBezTo>
                    <a:cubicBezTo>
                      <a:pt x="6755" y="9239"/>
                      <a:pt x="6755" y="9239"/>
                      <a:pt x="6755" y="9239"/>
                    </a:cubicBezTo>
                    <a:lnTo>
                      <a:pt x="6698" y="9406"/>
                    </a:lnTo>
                    <a:close/>
                    <a:moveTo>
                      <a:pt x="7015" y="9286"/>
                    </a:moveTo>
                    <a:cubicBezTo>
                      <a:pt x="7068" y="9121"/>
                      <a:pt x="7068" y="9121"/>
                      <a:pt x="7068" y="9121"/>
                    </a:cubicBezTo>
                    <a:cubicBezTo>
                      <a:pt x="6814" y="9062"/>
                      <a:pt x="6814" y="9062"/>
                      <a:pt x="6814" y="9062"/>
                    </a:cubicBezTo>
                    <a:cubicBezTo>
                      <a:pt x="6759" y="9226"/>
                      <a:pt x="6759" y="9226"/>
                      <a:pt x="6759" y="9226"/>
                    </a:cubicBezTo>
                    <a:lnTo>
                      <a:pt x="7015" y="9286"/>
                    </a:lnTo>
                    <a:close/>
                    <a:moveTo>
                      <a:pt x="7072" y="9108"/>
                    </a:moveTo>
                    <a:cubicBezTo>
                      <a:pt x="7121" y="8953"/>
                      <a:pt x="7121" y="8953"/>
                      <a:pt x="7121" y="8953"/>
                    </a:cubicBezTo>
                    <a:cubicBezTo>
                      <a:pt x="7072" y="8945"/>
                      <a:pt x="6965" y="8925"/>
                      <a:pt x="6868" y="8905"/>
                    </a:cubicBezTo>
                    <a:cubicBezTo>
                      <a:pt x="6819" y="9049"/>
                      <a:pt x="6819" y="9049"/>
                      <a:pt x="6819" y="9049"/>
                    </a:cubicBezTo>
                    <a:lnTo>
                      <a:pt x="7072" y="9108"/>
                    </a:lnTo>
                    <a:close/>
                    <a:moveTo>
                      <a:pt x="7077" y="9307"/>
                    </a:moveTo>
                    <a:cubicBezTo>
                      <a:pt x="7178" y="9356"/>
                      <a:pt x="7178" y="9356"/>
                      <a:pt x="7178" y="9356"/>
                    </a:cubicBezTo>
                    <a:cubicBezTo>
                      <a:pt x="7255" y="9204"/>
                      <a:pt x="7255" y="9204"/>
                      <a:pt x="7255" y="9204"/>
                    </a:cubicBezTo>
                    <a:cubicBezTo>
                      <a:pt x="7130" y="9142"/>
                      <a:pt x="7130" y="9142"/>
                      <a:pt x="7130" y="9142"/>
                    </a:cubicBezTo>
                    <a:lnTo>
                      <a:pt x="7077" y="9307"/>
                    </a:lnTo>
                    <a:close/>
                    <a:moveTo>
                      <a:pt x="7122" y="9495"/>
                    </a:moveTo>
                    <a:cubicBezTo>
                      <a:pt x="7233" y="9555"/>
                      <a:pt x="7233" y="9555"/>
                      <a:pt x="7233" y="9555"/>
                    </a:cubicBezTo>
                    <a:cubicBezTo>
                      <a:pt x="7298" y="9428"/>
                      <a:pt x="7298" y="9428"/>
                      <a:pt x="7298" y="9428"/>
                    </a:cubicBezTo>
                    <a:cubicBezTo>
                      <a:pt x="7184" y="9374"/>
                      <a:pt x="7184" y="9374"/>
                      <a:pt x="7184" y="9374"/>
                    </a:cubicBezTo>
                    <a:lnTo>
                      <a:pt x="7122" y="9495"/>
                    </a:lnTo>
                    <a:close/>
                    <a:moveTo>
                      <a:pt x="7304" y="9415"/>
                    </a:moveTo>
                    <a:cubicBezTo>
                      <a:pt x="7380" y="9266"/>
                      <a:pt x="7380" y="9266"/>
                      <a:pt x="7380" y="9266"/>
                    </a:cubicBezTo>
                    <a:cubicBezTo>
                      <a:pt x="7267" y="9210"/>
                      <a:pt x="7267" y="9210"/>
                      <a:pt x="7267" y="9210"/>
                    </a:cubicBezTo>
                    <a:cubicBezTo>
                      <a:pt x="7190" y="9361"/>
                      <a:pt x="7190" y="9361"/>
                      <a:pt x="7190" y="9361"/>
                    </a:cubicBezTo>
                    <a:lnTo>
                      <a:pt x="7304" y="9415"/>
                    </a:lnTo>
                    <a:close/>
                    <a:moveTo>
                      <a:pt x="7387" y="9254"/>
                    </a:moveTo>
                    <a:cubicBezTo>
                      <a:pt x="7462" y="9106"/>
                      <a:pt x="7462" y="9106"/>
                      <a:pt x="7462" y="9106"/>
                    </a:cubicBezTo>
                    <a:cubicBezTo>
                      <a:pt x="7432" y="9092"/>
                      <a:pt x="7392" y="9071"/>
                      <a:pt x="7349" y="9050"/>
                    </a:cubicBezTo>
                    <a:cubicBezTo>
                      <a:pt x="7274" y="9198"/>
                      <a:pt x="7274" y="9198"/>
                      <a:pt x="7274" y="9198"/>
                    </a:cubicBezTo>
                    <a:lnTo>
                      <a:pt x="7387" y="9254"/>
                    </a:lnTo>
                    <a:close/>
                    <a:moveTo>
                      <a:pt x="7468" y="9094"/>
                    </a:moveTo>
                    <a:cubicBezTo>
                      <a:pt x="7546" y="8940"/>
                      <a:pt x="7546" y="8940"/>
                      <a:pt x="7546" y="8940"/>
                    </a:cubicBezTo>
                    <a:cubicBezTo>
                      <a:pt x="7434" y="8883"/>
                      <a:pt x="7434" y="8883"/>
                      <a:pt x="7434" y="8883"/>
                    </a:cubicBezTo>
                    <a:cubicBezTo>
                      <a:pt x="7355" y="9038"/>
                      <a:pt x="7355" y="9038"/>
                      <a:pt x="7355" y="9038"/>
                    </a:cubicBezTo>
                    <a:cubicBezTo>
                      <a:pt x="7398" y="9059"/>
                      <a:pt x="7439" y="9079"/>
                      <a:pt x="7468" y="9094"/>
                    </a:cubicBezTo>
                    <a:close/>
                    <a:moveTo>
                      <a:pt x="7553" y="8928"/>
                    </a:moveTo>
                    <a:cubicBezTo>
                      <a:pt x="7635" y="8767"/>
                      <a:pt x="7635" y="8767"/>
                      <a:pt x="7635" y="8767"/>
                    </a:cubicBezTo>
                    <a:cubicBezTo>
                      <a:pt x="7521" y="8712"/>
                      <a:pt x="7521" y="8712"/>
                      <a:pt x="7521" y="8712"/>
                    </a:cubicBezTo>
                    <a:cubicBezTo>
                      <a:pt x="7440" y="8870"/>
                      <a:pt x="7440" y="8870"/>
                      <a:pt x="7440" y="8870"/>
                    </a:cubicBezTo>
                    <a:lnTo>
                      <a:pt x="7553" y="8928"/>
                    </a:lnTo>
                    <a:close/>
                    <a:moveTo>
                      <a:pt x="7564" y="8934"/>
                    </a:moveTo>
                    <a:cubicBezTo>
                      <a:pt x="7581" y="8942"/>
                      <a:pt x="7581" y="8942"/>
                      <a:pt x="7581" y="8942"/>
                    </a:cubicBezTo>
                    <a:cubicBezTo>
                      <a:pt x="7663" y="8781"/>
                      <a:pt x="7663" y="8781"/>
                      <a:pt x="7663" y="8781"/>
                    </a:cubicBezTo>
                    <a:cubicBezTo>
                      <a:pt x="7647" y="8773"/>
                      <a:pt x="7647" y="8773"/>
                      <a:pt x="7647" y="8773"/>
                    </a:cubicBezTo>
                    <a:lnTo>
                      <a:pt x="7564" y="8934"/>
                    </a:lnTo>
                    <a:close/>
                    <a:moveTo>
                      <a:pt x="7669" y="8768"/>
                    </a:moveTo>
                    <a:cubicBezTo>
                      <a:pt x="7748" y="8612"/>
                      <a:pt x="7748" y="8612"/>
                      <a:pt x="7748" y="8612"/>
                    </a:cubicBezTo>
                    <a:cubicBezTo>
                      <a:pt x="7732" y="8605"/>
                      <a:pt x="7732" y="8605"/>
                      <a:pt x="7732" y="8605"/>
                    </a:cubicBezTo>
                    <a:cubicBezTo>
                      <a:pt x="7653" y="8760"/>
                      <a:pt x="7653" y="8760"/>
                      <a:pt x="7653" y="8760"/>
                    </a:cubicBezTo>
                    <a:lnTo>
                      <a:pt x="7669" y="8768"/>
                    </a:lnTo>
                    <a:close/>
                    <a:moveTo>
                      <a:pt x="7755" y="8600"/>
                    </a:moveTo>
                    <a:cubicBezTo>
                      <a:pt x="7835" y="8442"/>
                      <a:pt x="7835" y="8442"/>
                      <a:pt x="7835" y="8442"/>
                    </a:cubicBezTo>
                    <a:cubicBezTo>
                      <a:pt x="7819" y="8435"/>
                      <a:pt x="7819" y="8435"/>
                      <a:pt x="7819" y="8435"/>
                    </a:cubicBezTo>
                    <a:cubicBezTo>
                      <a:pt x="7739" y="8592"/>
                      <a:pt x="7739" y="8592"/>
                      <a:pt x="7739" y="8592"/>
                    </a:cubicBezTo>
                    <a:lnTo>
                      <a:pt x="7755" y="8600"/>
                    </a:lnTo>
                    <a:close/>
                    <a:moveTo>
                      <a:pt x="7841" y="8430"/>
                    </a:moveTo>
                    <a:cubicBezTo>
                      <a:pt x="7910" y="8293"/>
                      <a:pt x="7910" y="8293"/>
                      <a:pt x="7910" y="8293"/>
                    </a:cubicBezTo>
                    <a:cubicBezTo>
                      <a:pt x="7895" y="8285"/>
                      <a:pt x="7895" y="8285"/>
                      <a:pt x="7895" y="8285"/>
                    </a:cubicBezTo>
                    <a:cubicBezTo>
                      <a:pt x="7825" y="8422"/>
                      <a:pt x="7825" y="8422"/>
                      <a:pt x="7825" y="8422"/>
                    </a:cubicBezTo>
                    <a:lnTo>
                      <a:pt x="7841" y="8430"/>
                    </a:lnTo>
                    <a:close/>
                    <a:moveTo>
                      <a:pt x="7917" y="8281"/>
                    </a:moveTo>
                    <a:cubicBezTo>
                      <a:pt x="8001" y="8114"/>
                      <a:pt x="8001" y="8114"/>
                      <a:pt x="8001" y="8114"/>
                    </a:cubicBezTo>
                    <a:cubicBezTo>
                      <a:pt x="8001" y="8114"/>
                      <a:pt x="8001" y="8114"/>
                      <a:pt x="8001" y="8114"/>
                    </a:cubicBezTo>
                    <a:cubicBezTo>
                      <a:pt x="7947" y="8078"/>
                      <a:pt x="7705" y="7926"/>
                      <a:pt x="7533" y="7882"/>
                    </a:cubicBezTo>
                    <a:cubicBezTo>
                      <a:pt x="7475" y="8063"/>
                      <a:pt x="7475" y="8063"/>
                      <a:pt x="7475" y="8063"/>
                    </a:cubicBezTo>
                    <a:cubicBezTo>
                      <a:pt x="7764" y="8206"/>
                      <a:pt x="7764" y="8206"/>
                      <a:pt x="7764" y="8206"/>
                    </a:cubicBezTo>
                    <a:cubicBezTo>
                      <a:pt x="7835" y="8068"/>
                      <a:pt x="7835" y="8068"/>
                      <a:pt x="7835" y="8068"/>
                    </a:cubicBezTo>
                    <a:cubicBezTo>
                      <a:pt x="7969" y="8140"/>
                      <a:pt x="7969" y="8140"/>
                      <a:pt x="7969" y="8140"/>
                    </a:cubicBezTo>
                    <a:cubicBezTo>
                      <a:pt x="7901" y="8273"/>
                      <a:pt x="7901" y="8273"/>
                      <a:pt x="7901" y="8273"/>
                    </a:cubicBezTo>
                    <a:lnTo>
                      <a:pt x="7917" y="8281"/>
                    </a:lnTo>
                    <a:close/>
                    <a:moveTo>
                      <a:pt x="8287" y="7583"/>
                    </a:moveTo>
                    <a:cubicBezTo>
                      <a:pt x="8287" y="7583"/>
                      <a:pt x="8288" y="7583"/>
                      <a:pt x="8289" y="7583"/>
                    </a:cubicBezTo>
                    <a:cubicBezTo>
                      <a:pt x="8291" y="7579"/>
                      <a:pt x="8296" y="7566"/>
                      <a:pt x="8302" y="7551"/>
                    </a:cubicBezTo>
                    <a:cubicBezTo>
                      <a:pt x="8312" y="7523"/>
                      <a:pt x="8325" y="7483"/>
                      <a:pt x="8337" y="7450"/>
                    </a:cubicBezTo>
                    <a:cubicBezTo>
                      <a:pt x="8342" y="7434"/>
                      <a:pt x="8347" y="7419"/>
                      <a:pt x="8351" y="7408"/>
                    </a:cubicBezTo>
                    <a:cubicBezTo>
                      <a:pt x="8353" y="7402"/>
                      <a:pt x="8355" y="7398"/>
                      <a:pt x="8356" y="7395"/>
                    </a:cubicBezTo>
                    <a:cubicBezTo>
                      <a:pt x="8357" y="7394"/>
                      <a:pt x="8357" y="7394"/>
                      <a:pt x="8357" y="7393"/>
                    </a:cubicBezTo>
                    <a:cubicBezTo>
                      <a:pt x="8264" y="7327"/>
                      <a:pt x="8167" y="7255"/>
                      <a:pt x="8157" y="7248"/>
                    </a:cubicBezTo>
                    <a:cubicBezTo>
                      <a:pt x="8114" y="7285"/>
                      <a:pt x="8067" y="7320"/>
                      <a:pt x="8014" y="7351"/>
                    </a:cubicBezTo>
                    <a:lnTo>
                      <a:pt x="8287" y="7583"/>
                    </a:lnTo>
                    <a:close/>
                    <a:moveTo>
                      <a:pt x="6948" y="8128"/>
                    </a:moveTo>
                    <a:cubicBezTo>
                      <a:pt x="6952" y="8129"/>
                      <a:pt x="6958" y="8130"/>
                      <a:pt x="6963" y="8131"/>
                    </a:cubicBezTo>
                    <a:cubicBezTo>
                      <a:pt x="7013" y="7985"/>
                      <a:pt x="7013" y="7985"/>
                      <a:pt x="7013" y="7985"/>
                    </a:cubicBezTo>
                    <a:cubicBezTo>
                      <a:pt x="6997" y="7982"/>
                      <a:pt x="6997" y="7982"/>
                      <a:pt x="6997" y="7982"/>
                    </a:cubicBezTo>
                    <a:cubicBezTo>
                      <a:pt x="6983" y="8024"/>
                      <a:pt x="6966" y="8073"/>
                      <a:pt x="6948" y="8128"/>
                    </a:cubicBezTo>
                    <a:close/>
                    <a:moveTo>
                      <a:pt x="6943" y="8141"/>
                    </a:moveTo>
                    <a:cubicBezTo>
                      <a:pt x="6926" y="8192"/>
                      <a:pt x="6907" y="8248"/>
                      <a:pt x="6887" y="8307"/>
                    </a:cubicBezTo>
                    <a:cubicBezTo>
                      <a:pt x="6902" y="8310"/>
                      <a:pt x="6902" y="8310"/>
                      <a:pt x="6902" y="8310"/>
                    </a:cubicBezTo>
                    <a:cubicBezTo>
                      <a:pt x="6959" y="8144"/>
                      <a:pt x="6959" y="8144"/>
                      <a:pt x="6959" y="8144"/>
                    </a:cubicBezTo>
                    <a:cubicBezTo>
                      <a:pt x="6953" y="8143"/>
                      <a:pt x="6948" y="8142"/>
                      <a:pt x="6943" y="8141"/>
                    </a:cubicBezTo>
                    <a:close/>
                    <a:moveTo>
                      <a:pt x="6883" y="8320"/>
                    </a:moveTo>
                    <a:cubicBezTo>
                      <a:pt x="6864" y="8375"/>
                      <a:pt x="6844" y="8433"/>
                      <a:pt x="6824" y="8493"/>
                    </a:cubicBezTo>
                    <a:cubicBezTo>
                      <a:pt x="6829" y="8493"/>
                      <a:pt x="6834" y="8494"/>
                      <a:pt x="6839" y="8495"/>
                    </a:cubicBezTo>
                    <a:cubicBezTo>
                      <a:pt x="6898" y="8323"/>
                      <a:pt x="6898" y="8323"/>
                      <a:pt x="6898" y="8323"/>
                    </a:cubicBezTo>
                    <a:lnTo>
                      <a:pt x="6883" y="8320"/>
                    </a:lnTo>
                    <a:close/>
                    <a:moveTo>
                      <a:pt x="6820" y="8506"/>
                    </a:moveTo>
                    <a:cubicBezTo>
                      <a:pt x="6801" y="8560"/>
                      <a:pt x="6782" y="8616"/>
                      <a:pt x="6763" y="8673"/>
                    </a:cubicBezTo>
                    <a:cubicBezTo>
                      <a:pt x="6767" y="8674"/>
                      <a:pt x="6772" y="8675"/>
                      <a:pt x="6778" y="8676"/>
                    </a:cubicBezTo>
                    <a:cubicBezTo>
                      <a:pt x="6835" y="8508"/>
                      <a:pt x="6835" y="8508"/>
                      <a:pt x="6835" y="8508"/>
                    </a:cubicBezTo>
                    <a:cubicBezTo>
                      <a:pt x="6829" y="8508"/>
                      <a:pt x="6824" y="8507"/>
                      <a:pt x="6820" y="8506"/>
                    </a:cubicBezTo>
                    <a:close/>
                    <a:moveTo>
                      <a:pt x="6758" y="8686"/>
                    </a:moveTo>
                    <a:cubicBezTo>
                      <a:pt x="6739" y="8743"/>
                      <a:pt x="6720" y="8800"/>
                      <a:pt x="6700" y="8858"/>
                    </a:cubicBezTo>
                    <a:cubicBezTo>
                      <a:pt x="6705" y="8859"/>
                      <a:pt x="6709" y="8859"/>
                      <a:pt x="6715" y="8861"/>
                    </a:cubicBezTo>
                    <a:cubicBezTo>
                      <a:pt x="6773" y="8689"/>
                      <a:pt x="6773" y="8689"/>
                      <a:pt x="6773" y="8689"/>
                    </a:cubicBezTo>
                    <a:cubicBezTo>
                      <a:pt x="6768" y="8688"/>
                      <a:pt x="6763" y="8687"/>
                      <a:pt x="6758" y="8686"/>
                    </a:cubicBezTo>
                    <a:close/>
                    <a:moveTo>
                      <a:pt x="6696" y="8871"/>
                    </a:moveTo>
                    <a:cubicBezTo>
                      <a:pt x="6680" y="8917"/>
                      <a:pt x="6664" y="8964"/>
                      <a:pt x="6649" y="9010"/>
                    </a:cubicBezTo>
                    <a:cubicBezTo>
                      <a:pt x="6663" y="9013"/>
                      <a:pt x="6663" y="9013"/>
                      <a:pt x="6663" y="9013"/>
                    </a:cubicBezTo>
                    <a:cubicBezTo>
                      <a:pt x="6710" y="8874"/>
                      <a:pt x="6710" y="8874"/>
                      <a:pt x="6710" y="8874"/>
                    </a:cubicBezTo>
                    <a:cubicBezTo>
                      <a:pt x="6705" y="8873"/>
                      <a:pt x="6700" y="8872"/>
                      <a:pt x="6696" y="8871"/>
                    </a:cubicBezTo>
                    <a:close/>
                    <a:moveTo>
                      <a:pt x="6644" y="9023"/>
                    </a:moveTo>
                    <a:cubicBezTo>
                      <a:pt x="6626" y="9078"/>
                      <a:pt x="6607" y="9132"/>
                      <a:pt x="6589" y="9186"/>
                    </a:cubicBezTo>
                    <a:cubicBezTo>
                      <a:pt x="6603" y="9189"/>
                      <a:pt x="6603" y="9189"/>
                      <a:pt x="6603" y="9189"/>
                    </a:cubicBezTo>
                    <a:cubicBezTo>
                      <a:pt x="6658" y="9026"/>
                      <a:pt x="6658" y="9026"/>
                      <a:pt x="6658" y="9026"/>
                    </a:cubicBezTo>
                    <a:lnTo>
                      <a:pt x="6644" y="9023"/>
                    </a:lnTo>
                    <a:close/>
                    <a:moveTo>
                      <a:pt x="6585" y="9199"/>
                    </a:moveTo>
                    <a:cubicBezTo>
                      <a:pt x="6565" y="9255"/>
                      <a:pt x="6547" y="9311"/>
                      <a:pt x="6528" y="9365"/>
                    </a:cubicBezTo>
                    <a:cubicBezTo>
                      <a:pt x="6542" y="9368"/>
                      <a:pt x="6542" y="9368"/>
                      <a:pt x="6542" y="9368"/>
                    </a:cubicBezTo>
                    <a:cubicBezTo>
                      <a:pt x="6598" y="9202"/>
                      <a:pt x="6598" y="9202"/>
                      <a:pt x="6598" y="9202"/>
                    </a:cubicBezTo>
                    <a:lnTo>
                      <a:pt x="6585" y="9199"/>
                    </a:lnTo>
                    <a:close/>
                    <a:moveTo>
                      <a:pt x="6524" y="9378"/>
                    </a:moveTo>
                    <a:cubicBezTo>
                      <a:pt x="6502" y="9442"/>
                      <a:pt x="6481" y="9504"/>
                      <a:pt x="6461" y="9562"/>
                    </a:cubicBezTo>
                    <a:cubicBezTo>
                      <a:pt x="6475" y="9565"/>
                      <a:pt x="6475" y="9565"/>
                      <a:pt x="6475" y="9565"/>
                    </a:cubicBezTo>
                    <a:cubicBezTo>
                      <a:pt x="6537" y="9381"/>
                      <a:pt x="6537" y="9381"/>
                      <a:pt x="6537" y="9381"/>
                    </a:cubicBezTo>
                    <a:lnTo>
                      <a:pt x="6524" y="9378"/>
                    </a:lnTo>
                    <a:close/>
                    <a:moveTo>
                      <a:pt x="6457" y="9575"/>
                    </a:moveTo>
                    <a:cubicBezTo>
                      <a:pt x="6432" y="9647"/>
                      <a:pt x="6410" y="9714"/>
                      <a:pt x="6390" y="9774"/>
                    </a:cubicBezTo>
                    <a:cubicBezTo>
                      <a:pt x="6402" y="9777"/>
                      <a:pt x="6402" y="9777"/>
                      <a:pt x="6402" y="9777"/>
                    </a:cubicBezTo>
                    <a:cubicBezTo>
                      <a:pt x="6470" y="9578"/>
                      <a:pt x="6470" y="9578"/>
                      <a:pt x="6470" y="9578"/>
                    </a:cubicBezTo>
                    <a:lnTo>
                      <a:pt x="6457" y="9575"/>
                    </a:lnTo>
                    <a:close/>
                    <a:moveTo>
                      <a:pt x="6385" y="9787"/>
                    </a:moveTo>
                    <a:cubicBezTo>
                      <a:pt x="6344" y="9907"/>
                      <a:pt x="6315" y="9994"/>
                      <a:pt x="6304" y="10027"/>
                    </a:cubicBezTo>
                    <a:cubicBezTo>
                      <a:pt x="6316" y="10029"/>
                      <a:pt x="6316" y="10029"/>
                      <a:pt x="6316" y="10029"/>
                    </a:cubicBezTo>
                    <a:cubicBezTo>
                      <a:pt x="6398" y="9790"/>
                      <a:pt x="6398" y="9790"/>
                      <a:pt x="6398" y="9790"/>
                    </a:cubicBezTo>
                    <a:lnTo>
                      <a:pt x="6385" y="9787"/>
                    </a:lnTo>
                    <a:close/>
                    <a:moveTo>
                      <a:pt x="6299" y="10040"/>
                    </a:moveTo>
                    <a:cubicBezTo>
                      <a:pt x="6254" y="10273"/>
                      <a:pt x="6254" y="10273"/>
                      <a:pt x="6254" y="10273"/>
                    </a:cubicBezTo>
                    <a:cubicBezTo>
                      <a:pt x="6269" y="10274"/>
                      <a:pt x="6269" y="10274"/>
                      <a:pt x="6269" y="10274"/>
                    </a:cubicBezTo>
                    <a:cubicBezTo>
                      <a:pt x="6313" y="10042"/>
                      <a:pt x="6313" y="10042"/>
                      <a:pt x="6313" y="10042"/>
                    </a:cubicBezTo>
                    <a:lnTo>
                      <a:pt x="6299" y="10040"/>
                    </a:lnTo>
                    <a:close/>
                    <a:moveTo>
                      <a:pt x="6252" y="10436"/>
                    </a:moveTo>
                    <a:cubicBezTo>
                      <a:pt x="6376" y="10468"/>
                      <a:pt x="6376" y="10468"/>
                      <a:pt x="6376" y="10468"/>
                    </a:cubicBezTo>
                    <a:cubicBezTo>
                      <a:pt x="6411" y="10300"/>
                      <a:pt x="6411" y="10300"/>
                      <a:pt x="6411" y="10300"/>
                    </a:cubicBezTo>
                    <a:cubicBezTo>
                      <a:pt x="6280" y="10289"/>
                      <a:pt x="6280" y="10289"/>
                      <a:pt x="6280" y="10289"/>
                    </a:cubicBezTo>
                    <a:lnTo>
                      <a:pt x="6252" y="10436"/>
                    </a:lnTo>
                    <a:close/>
                    <a:moveTo>
                      <a:pt x="6414" y="10286"/>
                    </a:moveTo>
                    <a:cubicBezTo>
                      <a:pt x="6462" y="10063"/>
                      <a:pt x="6462" y="10063"/>
                      <a:pt x="6462" y="10063"/>
                    </a:cubicBezTo>
                    <a:cubicBezTo>
                      <a:pt x="6326" y="10044"/>
                      <a:pt x="6326" y="10044"/>
                      <a:pt x="6326" y="10044"/>
                    </a:cubicBezTo>
                    <a:cubicBezTo>
                      <a:pt x="6282" y="10275"/>
                      <a:pt x="6282" y="10275"/>
                      <a:pt x="6282" y="10275"/>
                    </a:cubicBezTo>
                    <a:lnTo>
                      <a:pt x="6414" y="10286"/>
                    </a:lnTo>
                    <a:close/>
                    <a:moveTo>
                      <a:pt x="6466" y="10049"/>
                    </a:moveTo>
                    <a:cubicBezTo>
                      <a:pt x="6542" y="9825"/>
                      <a:pt x="6542" y="9825"/>
                      <a:pt x="6542" y="9825"/>
                    </a:cubicBezTo>
                    <a:cubicBezTo>
                      <a:pt x="6411" y="9793"/>
                      <a:pt x="6411" y="9793"/>
                      <a:pt x="6411" y="9793"/>
                    </a:cubicBezTo>
                    <a:cubicBezTo>
                      <a:pt x="6330" y="10030"/>
                      <a:pt x="6330" y="10030"/>
                      <a:pt x="6330" y="10030"/>
                    </a:cubicBezTo>
                    <a:lnTo>
                      <a:pt x="6466" y="10049"/>
                    </a:lnTo>
                    <a:close/>
                    <a:moveTo>
                      <a:pt x="6547" y="9811"/>
                    </a:moveTo>
                    <a:cubicBezTo>
                      <a:pt x="6615" y="9610"/>
                      <a:pt x="6615" y="9610"/>
                      <a:pt x="6615" y="9610"/>
                    </a:cubicBezTo>
                    <a:cubicBezTo>
                      <a:pt x="6483" y="9581"/>
                      <a:pt x="6483" y="9581"/>
                      <a:pt x="6483" y="9581"/>
                    </a:cubicBezTo>
                    <a:cubicBezTo>
                      <a:pt x="6415" y="9780"/>
                      <a:pt x="6415" y="9780"/>
                      <a:pt x="6415" y="9780"/>
                    </a:cubicBezTo>
                    <a:lnTo>
                      <a:pt x="6547" y="9811"/>
                    </a:lnTo>
                    <a:close/>
                    <a:moveTo>
                      <a:pt x="6620" y="9597"/>
                    </a:moveTo>
                    <a:cubicBezTo>
                      <a:pt x="6681" y="9416"/>
                      <a:pt x="6681" y="9416"/>
                      <a:pt x="6681" y="9416"/>
                    </a:cubicBezTo>
                    <a:cubicBezTo>
                      <a:pt x="6550" y="9384"/>
                      <a:pt x="6550" y="9384"/>
                      <a:pt x="6550" y="9384"/>
                    </a:cubicBezTo>
                    <a:cubicBezTo>
                      <a:pt x="6487" y="9567"/>
                      <a:pt x="6487" y="9567"/>
                      <a:pt x="6487" y="9567"/>
                    </a:cubicBezTo>
                    <a:lnTo>
                      <a:pt x="6620" y="9597"/>
                    </a:lnTo>
                    <a:close/>
                    <a:moveTo>
                      <a:pt x="6632" y="9599"/>
                    </a:moveTo>
                    <a:cubicBezTo>
                      <a:pt x="6896" y="9657"/>
                      <a:pt x="6896" y="9657"/>
                      <a:pt x="6896" y="9657"/>
                    </a:cubicBezTo>
                    <a:cubicBezTo>
                      <a:pt x="6952" y="9482"/>
                      <a:pt x="6952" y="9482"/>
                      <a:pt x="6952" y="9482"/>
                    </a:cubicBezTo>
                    <a:cubicBezTo>
                      <a:pt x="6693" y="9419"/>
                      <a:pt x="6693" y="9419"/>
                      <a:pt x="6693" y="9419"/>
                    </a:cubicBezTo>
                    <a:lnTo>
                      <a:pt x="6632" y="9599"/>
                    </a:lnTo>
                    <a:close/>
                    <a:moveTo>
                      <a:pt x="6886" y="9903"/>
                    </a:moveTo>
                    <a:cubicBezTo>
                      <a:pt x="7095" y="9758"/>
                      <a:pt x="7095" y="9758"/>
                      <a:pt x="7095" y="9758"/>
                    </a:cubicBezTo>
                    <a:cubicBezTo>
                      <a:pt x="6954" y="9692"/>
                      <a:pt x="6954" y="9692"/>
                      <a:pt x="6954" y="9692"/>
                    </a:cubicBezTo>
                    <a:lnTo>
                      <a:pt x="6886" y="9903"/>
                    </a:lnTo>
                    <a:close/>
                    <a:moveTo>
                      <a:pt x="7109" y="9749"/>
                    </a:moveTo>
                    <a:cubicBezTo>
                      <a:pt x="7205" y="9683"/>
                      <a:pt x="7205" y="9683"/>
                      <a:pt x="7205" y="9683"/>
                    </a:cubicBezTo>
                    <a:cubicBezTo>
                      <a:pt x="7244" y="9607"/>
                      <a:pt x="7244" y="9607"/>
                      <a:pt x="7244" y="9607"/>
                    </a:cubicBezTo>
                    <a:cubicBezTo>
                      <a:pt x="7014" y="9504"/>
                      <a:pt x="7014" y="9504"/>
                      <a:pt x="7014" y="9504"/>
                    </a:cubicBezTo>
                    <a:cubicBezTo>
                      <a:pt x="6958" y="9679"/>
                      <a:pt x="6958" y="9679"/>
                      <a:pt x="6958" y="9679"/>
                    </a:cubicBezTo>
                    <a:lnTo>
                      <a:pt x="7109" y="9749"/>
                    </a:lnTo>
                    <a:close/>
                    <a:moveTo>
                      <a:pt x="7250" y="9594"/>
                    </a:moveTo>
                    <a:cubicBezTo>
                      <a:pt x="7327" y="9442"/>
                      <a:pt x="7327" y="9442"/>
                      <a:pt x="7327" y="9442"/>
                    </a:cubicBezTo>
                    <a:cubicBezTo>
                      <a:pt x="7310" y="9434"/>
                      <a:pt x="7310" y="9434"/>
                      <a:pt x="7310" y="9434"/>
                    </a:cubicBezTo>
                    <a:cubicBezTo>
                      <a:pt x="7239" y="9572"/>
                      <a:pt x="7239" y="9572"/>
                      <a:pt x="7239" y="9572"/>
                    </a:cubicBezTo>
                    <a:cubicBezTo>
                      <a:pt x="7104" y="9501"/>
                      <a:pt x="7104" y="9501"/>
                      <a:pt x="7104" y="9501"/>
                    </a:cubicBezTo>
                    <a:cubicBezTo>
                      <a:pt x="7107" y="9495"/>
                      <a:pt x="7107" y="9495"/>
                      <a:pt x="7107" y="9495"/>
                    </a:cubicBezTo>
                    <a:cubicBezTo>
                      <a:pt x="7172" y="9368"/>
                      <a:pt x="7172" y="9368"/>
                      <a:pt x="7172" y="9368"/>
                    </a:cubicBezTo>
                    <a:cubicBezTo>
                      <a:pt x="7072" y="9321"/>
                      <a:pt x="7072" y="9321"/>
                      <a:pt x="7072" y="9321"/>
                    </a:cubicBezTo>
                    <a:cubicBezTo>
                      <a:pt x="7018" y="9491"/>
                      <a:pt x="7018" y="9491"/>
                      <a:pt x="7018" y="9491"/>
                    </a:cubicBezTo>
                    <a:lnTo>
                      <a:pt x="7250" y="9594"/>
                    </a:lnTo>
                    <a:close/>
                    <a:moveTo>
                      <a:pt x="7334" y="9429"/>
                    </a:moveTo>
                    <a:cubicBezTo>
                      <a:pt x="7409" y="9280"/>
                      <a:pt x="7409" y="9280"/>
                      <a:pt x="7409" y="9280"/>
                    </a:cubicBezTo>
                    <a:cubicBezTo>
                      <a:pt x="7392" y="9272"/>
                      <a:pt x="7392" y="9272"/>
                      <a:pt x="7392" y="9272"/>
                    </a:cubicBezTo>
                    <a:cubicBezTo>
                      <a:pt x="7316" y="9421"/>
                      <a:pt x="7316" y="9421"/>
                      <a:pt x="7316" y="9421"/>
                    </a:cubicBezTo>
                    <a:lnTo>
                      <a:pt x="7334" y="9429"/>
                    </a:lnTo>
                    <a:close/>
                    <a:moveTo>
                      <a:pt x="7415" y="9268"/>
                    </a:moveTo>
                    <a:cubicBezTo>
                      <a:pt x="7490" y="9121"/>
                      <a:pt x="7490" y="9121"/>
                      <a:pt x="7490" y="9121"/>
                    </a:cubicBezTo>
                    <a:cubicBezTo>
                      <a:pt x="7486" y="9118"/>
                      <a:pt x="7480" y="9116"/>
                      <a:pt x="7474" y="9112"/>
                    </a:cubicBezTo>
                    <a:cubicBezTo>
                      <a:pt x="7398" y="9260"/>
                      <a:pt x="7398" y="9260"/>
                      <a:pt x="7398" y="9260"/>
                    </a:cubicBezTo>
                    <a:lnTo>
                      <a:pt x="7415" y="9268"/>
                    </a:lnTo>
                    <a:close/>
                    <a:moveTo>
                      <a:pt x="7497" y="9108"/>
                    </a:moveTo>
                    <a:cubicBezTo>
                      <a:pt x="7574" y="8955"/>
                      <a:pt x="7574" y="8955"/>
                      <a:pt x="7574" y="8955"/>
                    </a:cubicBezTo>
                    <a:cubicBezTo>
                      <a:pt x="7558" y="8946"/>
                      <a:pt x="7558" y="8946"/>
                      <a:pt x="7558" y="8946"/>
                    </a:cubicBezTo>
                    <a:cubicBezTo>
                      <a:pt x="7480" y="9100"/>
                      <a:pt x="7480" y="9100"/>
                      <a:pt x="7480" y="9100"/>
                    </a:cubicBezTo>
                    <a:cubicBezTo>
                      <a:pt x="7486" y="9103"/>
                      <a:pt x="7492" y="9106"/>
                      <a:pt x="7497" y="9108"/>
                    </a:cubicBezTo>
                    <a:close/>
                    <a:moveTo>
                      <a:pt x="7511" y="9225"/>
                    </a:moveTo>
                    <a:cubicBezTo>
                      <a:pt x="8033" y="9577"/>
                      <a:pt x="8033" y="9577"/>
                      <a:pt x="8033" y="9577"/>
                    </a:cubicBezTo>
                    <a:cubicBezTo>
                      <a:pt x="8076" y="9510"/>
                      <a:pt x="8124" y="9437"/>
                      <a:pt x="8175" y="9359"/>
                    </a:cubicBezTo>
                    <a:cubicBezTo>
                      <a:pt x="7624" y="9002"/>
                      <a:pt x="7624" y="9002"/>
                      <a:pt x="7624" y="9002"/>
                    </a:cubicBezTo>
                    <a:lnTo>
                      <a:pt x="7511" y="9225"/>
                    </a:lnTo>
                    <a:close/>
                    <a:moveTo>
                      <a:pt x="8182" y="9347"/>
                    </a:moveTo>
                    <a:cubicBezTo>
                      <a:pt x="8271" y="9210"/>
                      <a:pt x="8365" y="9064"/>
                      <a:pt x="8449" y="8934"/>
                    </a:cubicBezTo>
                    <a:cubicBezTo>
                      <a:pt x="8561" y="8760"/>
                      <a:pt x="8653" y="8617"/>
                      <a:pt x="8687" y="8564"/>
                    </a:cubicBezTo>
                    <a:cubicBezTo>
                      <a:pt x="8681" y="8560"/>
                      <a:pt x="8675" y="8557"/>
                      <a:pt x="8670" y="8554"/>
                    </a:cubicBezTo>
                    <a:cubicBezTo>
                      <a:pt x="8616" y="8521"/>
                      <a:pt x="8466" y="8413"/>
                      <a:pt x="8328" y="8311"/>
                    </a:cubicBezTo>
                    <a:cubicBezTo>
                      <a:pt x="8225" y="8236"/>
                      <a:pt x="8129" y="8164"/>
                      <a:pt x="8087" y="8133"/>
                    </a:cubicBezTo>
                    <a:cubicBezTo>
                      <a:pt x="8075" y="8134"/>
                      <a:pt x="8068" y="8135"/>
                      <a:pt x="8064" y="8135"/>
                    </a:cubicBezTo>
                    <a:cubicBezTo>
                      <a:pt x="7630" y="8990"/>
                      <a:pt x="7630" y="8990"/>
                      <a:pt x="7630" y="8990"/>
                    </a:cubicBezTo>
                    <a:lnTo>
                      <a:pt x="8182" y="9347"/>
                    </a:lnTo>
                    <a:close/>
                    <a:moveTo>
                      <a:pt x="8369" y="7935"/>
                    </a:moveTo>
                    <a:cubicBezTo>
                      <a:pt x="8371" y="7937"/>
                      <a:pt x="8372" y="7938"/>
                      <a:pt x="8373" y="7939"/>
                    </a:cubicBezTo>
                    <a:cubicBezTo>
                      <a:pt x="8384" y="7937"/>
                      <a:pt x="8395" y="7935"/>
                      <a:pt x="8405" y="7932"/>
                    </a:cubicBezTo>
                    <a:cubicBezTo>
                      <a:pt x="8456" y="7921"/>
                      <a:pt x="8522" y="7885"/>
                      <a:pt x="8576" y="7848"/>
                    </a:cubicBezTo>
                    <a:cubicBezTo>
                      <a:pt x="8284" y="7599"/>
                      <a:pt x="8284" y="7599"/>
                      <a:pt x="8284" y="7599"/>
                    </a:cubicBezTo>
                    <a:cubicBezTo>
                      <a:pt x="8257" y="7608"/>
                      <a:pt x="8177" y="7637"/>
                      <a:pt x="8098" y="7667"/>
                    </a:cubicBezTo>
                    <a:cubicBezTo>
                      <a:pt x="8103" y="7672"/>
                      <a:pt x="8109" y="7678"/>
                      <a:pt x="8115" y="7684"/>
                    </a:cubicBezTo>
                    <a:cubicBezTo>
                      <a:pt x="8179" y="7749"/>
                      <a:pt x="8242" y="7813"/>
                      <a:pt x="8291" y="7861"/>
                    </a:cubicBezTo>
                    <a:cubicBezTo>
                      <a:pt x="8316" y="7885"/>
                      <a:pt x="8336" y="7905"/>
                      <a:pt x="8351" y="7919"/>
                    </a:cubicBezTo>
                    <a:cubicBezTo>
                      <a:pt x="8358" y="7926"/>
                      <a:pt x="8364" y="7932"/>
                      <a:pt x="8369" y="7935"/>
                    </a:cubicBezTo>
                    <a:close/>
                    <a:moveTo>
                      <a:pt x="8588" y="7840"/>
                    </a:moveTo>
                    <a:cubicBezTo>
                      <a:pt x="8589" y="7839"/>
                      <a:pt x="8591" y="7838"/>
                      <a:pt x="8592" y="7837"/>
                    </a:cubicBezTo>
                    <a:cubicBezTo>
                      <a:pt x="8610" y="7824"/>
                      <a:pt x="8625" y="7812"/>
                      <a:pt x="8639" y="7801"/>
                    </a:cubicBezTo>
                    <a:cubicBezTo>
                      <a:pt x="8605" y="7759"/>
                      <a:pt x="8575" y="7715"/>
                      <a:pt x="8554" y="7668"/>
                    </a:cubicBezTo>
                    <a:cubicBezTo>
                      <a:pt x="8530" y="7614"/>
                      <a:pt x="8518" y="7557"/>
                      <a:pt x="8511" y="7501"/>
                    </a:cubicBezTo>
                    <a:cubicBezTo>
                      <a:pt x="8509" y="7500"/>
                      <a:pt x="8508" y="7499"/>
                      <a:pt x="8505" y="7497"/>
                    </a:cubicBezTo>
                    <a:cubicBezTo>
                      <a:pt x="8478" y="7479"/>
                      <a:pt x="8425" y="7442"/>
                      <a:pt x="8368" y="7402"/>
                    </a:cubicBezTo>
                    <a:cubicBezTo>
                      <a:pt x="8363" y="7416"/>
                      <a:pt x="8348" y="7459"/>
                      <a:pt x="8335" y="7499"/>
                    </a:cubicBezTo>
                    <a:cubicBezTo>
                      <a:pt x="8327" y="7522"/>
                      <a:pt x="8319" y="7545"/>
                      <a:pt x="8312" y="7563"/>
                    </a:cubicBezTo>
                    <a:cubicBezTo>
                      <a:pt x="8309" y="7572"/>
                      <a:pt x="8306" y="7579"/>
                      <a:pt x="8303" y="7584"/>
                    </a:cubicBezTo>
                    <a:cubicBezTo>
                      <a:pt x="8302" y="7587"/>
                      <a:pt x="8301" y="7589"/>
                      <a:pt x="8300" y="7591"/>
                    </a:cubicBezTo>
                    <a:cubicBezTo>
                      <a:pt x="8299" y="7591"/>
                      <a:pt x="8299" y="7592"/>
                      <a:pt x="8298" y="7593"/>
                    </a:cubicBezTo>
                    <a:lnTo>
                      <a:pt x="8588" y="7840"/>
                    </a:lnTo>
                    <a:close/>
                    <a:moveTo>
                      <a:pt x="10667" y="7063"/>
                    </a:moveTo>
                    <a:cubicBezTo>
                      <a:pt x="10698" y="7082"/>
                      <a:pt x="10724" y="7097"/>
                      <a:pt x="10742" y="7109"/>
                    </a:cubicBezTo>
                    <a:cubicBezTo>
                      <a:pt x="10751" y="7114"/>
                      <a:pt x="10758" y="7119"/>
                      <a:pt x="10763" y="7122"/>
                    </a:cubicBezTo>
                    <a:cubicBezTo>
                      <a:pt x="10764" y="7123"/>
                      <a:pt x="10764" y="7123"/>
                      <a:pt x="10765" y="7123"/>
                    </a:cubicBezTo>
                    <a:cubicBezTo>
                      <a:pt x="10801" y="7126"/>
                      <a:pt x="10937" y="7136"/>
                      <a:pt x="11069" y="7146"/>
                    </a:cubicBezTo>
                    <a:cubicBezTo>
                      <a:pt x="11216" y="7157"/>
                      <a:pt x="11359" y="7167"/>
                      <a:pt x="11359" y="7167"/>
                    </a:cubicBezTo>
                    <a:cubicBezTo>
                      <a:pt x="11359" y="7167"/>
                      <a:pt x="11405" y="7170"/>
                      <a:pt x="11464" y="7172"/>
                    </a:cubicBezTo>
                    <a:cubicBezTo>
                      <a:pt x="11523" y="7175"/>
                      <a:pt x="11594" y="7177"/>
                      <a:pt x="11642" y="7177"/>
                    </a:cubicBezTo>
                    <a:cubicBezTo>
                      <a:pt x="11657" y="7177"/>
                      <a:pt x="11669" y="7177"/>
                      <a:pt x="11678" y="7177"/>
                    </a:cubicBezTo>
                    <a:cubicBezTo>
                      <a:pt x="11683" y="7176"/>
                      <a:pt x="11686" y="7176"/>
                      <a:pt x="11688" y="7176"/>
                    </a:cubicBezTo>
                    <a:cubicBezTo>
                      <a:pt x="11688" y="7176"/>
                      <a:pt x="11688" y="7176"/>
                      <a:pt x="11688" y="7176"/>
                    </a:cubicBezTo>
                    <a:cubicBezTo>
                      <a:pt x="11691" y="7175"/>
                      <a:pt x="11691" y="7175"/>
                      <a:pt x="11691" y="7175"/>
                    </a:cubicBezTo>
                    <a:cubicBezTo>
                      <a:pt x="11693" y="7175"/>
                      <a:pt x="11693" y="7175"/>
                      <a:pt x="11693" y="7175"/>
                    </a:cubicBezTo>
                    <a:cubicBezTo>
                      <a:pt x="11743" y="7165"/>
                      <a:pt x="11785" y="7133"/>
                      <a:pt x="11821" y="7088"/>
                    </a:cubicBezTo>
                    <a:cubicBezTo>
                      <a:pt x="11876" y="7020"/>
                      <a:pt x="11914" y="6922"/>
                      <a:pt x="11937" y="6842"/>
                    </a:cubicBezTo>
                    <a:cubicBezTo>
                      <a:pt x="11949" y="6802"/>
                      <a:pt x="11957" y="6767"/>
                      <a:pt x="11962" y="6741"/>
                    </a:cubicBezTo>
                    <a:cubicBezTo>
                      <a:pt x="11967" y="6716"/>
                      <a:pt x="11970" y="6701"/>
                      <a:pt x="11970" y="6701"/>
                    </a:cubicBezTo>
                    <a:cubicBezTo>
                      <a:pt x="12244" y="4823"/>
                      <a:pt x="12244" y="4823"/>
                      <a:pt x="12244" y="4823"/>
                    </a:cubicBezTo>
                    <a:cubicBezTo>
                      <a:pt x="12243" y="4809"/>
                      <a:pt x="12239" y="4755"/>
                      <a:pt x="12239" y="4729"/>
                    </a:cubicBezTo>
                    <a:cubicBezTo>
                      <a:pt x="12239" y="4725"/>
                      <a:pt x="12239" y="4722"/>
                      <a:pt x="12240" y="4718"/>
                    </a:cubicBezTo>
                    <a:cubicBezTo>
                      <a:pt x="12240" y="4718"/>
                      <a:pt x="12240" y="4718"/>
                      <a:pt x="12240" y="4718"/>
                    </a:cubicBezTo>
                    <a:cubicBezTo>
                      <a:pt x="12221" y="4617"/>
                      <a:pt x="12175" y="4573"/>
                      <a:pt x="12125" y="4548"/>
                    </a:cubicBezTo>
                    <a:cubicBezTo>
                      <a:pt x="12073" y="4522"/>
                      <a:pt x="12013" y="4521"/>
                      <a:pt x="11975" y="4521"/>
                    </a:cubicBezTo>
                    <a:cubicBezTo>
                      <a:pt x="11937" y="4521"/>
                      <a:pt x="11830" y="4534"/>
                      <a:pt x="11698" y="4534"/>
                    </a:cubicBezTo>
                    <a:cubicBezTo>
                      <a:pt x="11585" y="4534"/>
                      <a:pt x="11452" y="4524"/>
                      <a:pt x="11317" y="4489"/>
                    </a:cubicBezTo>
                    <a:cubicBezTo>
                      <a:pt x="11157" y="4445"/>
                      <a:pt x="11049" y="4282"/>
                      <a:pt x="10972" y="4125"/>
                    </a:cubicBezTo>
                    <a:cubicBezTo>
                      <a:pt x="10896" y="3968"/>
                      <a:pt x="10853" y="3812"/>
                      <a:pt x="10842" y="3778"/>
                    </a:cubicBezTo>
                    <a:cubicBezTo>
                      <a:pt x="10841" y="3775"/>
                      <a:pt x="10840" y="3772"/>
                      <a:pt x="10839" y="3768"/>
                    </a:cubicBezTo>
                    <a:cubicBezTo>
                      <a:pt x="9678" y="4103"/>
                      <a:pt x="9678" y="4103"/>
                      <a:pt x="9678" y="4103"/>
                    </a:cubicBezTo>
                    <a:cubicBezTo>
                      <a:pt x="9694" y="4159"/>
                      <a:pt x="9763" y="4417"/>
                      <a:pt x="9836" y="4699"/>
                    </a:cubicBezTo>
                    <a:cubicBezTo>
                      <a:pt x="9919" y="5018"/>
                      <a:pt x="10007" y="5365"/>
                      <a:pt x="10026" y="5489"/>
                    </a:cubicBezTo>
                    <a:cubicBezTo>
                      <a:pt x="10038" y="5562"/>
                      <a:pt x="10042" y="5659"/>
                      <a:pt x="10042" y="5765"/>
                    </a:cubicBezTo>
                    <a:cubicBezTo>
                      <a:pt x="10042" y="6025"/>
                      <a:pt x="10018" y="6341"/>
                      <a:pt x="10013" y="6473"/>
                    </a:cubicBezTo>
                    <a:cubicBezTo>
                      <a:pt x="10013" y="6484"/>
                      <a:pt x="10012" y="6494"/>
                      <a:pt x="10012" y="6504"/>
                    </a:cubicBezTo>
                    <a:cubicBezTo>
                      <a:pt x="10012" y="6583"/>
                      <a:pt x="10024" y="6636"/>
                      <a:pt x="10036" y="6667"/>
                    </a:cubicBezTo>
                    <a:cubicBezTo>
                      <a:pt x="10043" y="6683"/>
                      <a:pt x="10049" y="6694"/>
                      <a:pt x="10053" y="6700"/>
                    </a:cubicBezTo>
                    <a:cubicBezTo>
                      <a:pt x="10054" y="6701"/>
                      <a:pt x="10055" y="6703"/>
                      <a:pt x="10056" y="6703"/>
                    </a:cubicBezTo>
                    <a:cubicBezTo>
                      <a:pt x="10058" y="6704"/>
                      <a:pt x="10058" y="6705"/>
                      <a:pt x="10060" y="6705"/>
                    </a:cubicBezTo>
                    <a:cubicBezTo>
                      <a:pt x="10090" y="6721"/>
                      <a:pt x="10265" y="6823"/>
                      <a:pt x="10436" y="6925"/>
                    </a:cubicBezTo>
                    <a:cubicBezTo>
                      <a:pt x="10521" y="6975"/>
                      <a:pt x="10604" y="7025"/>
                      <a:pt x="10667" y="7063"/>
                    </a:cubicBezTo>
                    <a:close/>
                    <a:moveTo>
                      <a:pt x="12298" y="4680"/>
                    </a:moveTo>
                    <a:cubicBezTo>
                      <a:pt x="12388" y="4686"/>
                      <a:pt x="12716" y="4709"/>
                      <a:pt x="12896" y="4757"/>
                    </a:cubicBezTo>
                    <a:cubicBezTo>
                      <a:pt x="13055" y="4804"/>
                      <a:pt x="13055" y="4804"/>
                      <a:pt x="13055" y="4804"/>
                    </a:cubicBezTo>
                    <a:cubicBezTo>
                      <a:pt x="13055" y="4803"/>
                      <a:pt x="13056" y="4803"/>
                      <a:pt x="13056" y="4803"/>
                    </a:cubicBezTo>
                    <a:cubicBezTo>
                      <a:pt x="13082" y="4762"/>
                      <a:pt x="13145" y="4658"/>
                      <a:pt x="13222" y="4495"/>
                    </a:cubicBezTo>
                    <a:cubicBezTo>
                      <a:pt x="13256" y="4422"/>
                      <a:pt x="13266" y="4360"/>
                      <a:pt x="13266" y="4309"/>
                    </a:cubicBezTo>
                    <a:cubicBezTo>
                      <a:pt x="13266" y="4262"/>
                      <a:pt x="13257" y="4225"/>
                      <a:pt x="13248" y="4199"/>
                    </a:cubicBezTo>
                    <a:cubicBezTo>
                      <a:pt x="13243" y="4187"/>
                      <a:pt x="13239" y="4177"/>
                      <a:pt x="13236" y="4171"/>
                    </a:cubicBezTo>
                    <a:cubicBezTo>
                      <a:pt x="13234" y="4168"/>
                      <a:pt x="13233" y="4166"/>
                      <a:pt x="13232" y="4164"/>
                    </a:cubicBezTo>
                    <a:cubicBezTo>
                      <a:pt x="13231" y="4163"/>
                      <a:pt x="13231" y="4163"/>
                      <a:pt x="13231" y="4163"/>
                    </a:cubicBezTo>
                    <a:cubicBezTo>
                      <a:pt x="12493" y="3040"/>
                      <a:pt x="12493" y="3040"/>
                      <a:pt x="12493" y="3040"/>
                    </a:cubicBezTo>
                    <a:cubicBezTo>
                      <a:pt x="12425" y="2978"/>
                      <a:pt x="12321" y="2972"/>
                      <a:pt x="12294" y="2973"/>
                    </a:cubicBezTo>
                    <a:cubicBezTo>
                      <a:pt x="12290" y="2973"/>
                      <a:pt x="12289" y="2973"/>
                      <a:pt x="12289" y="2973"/>
                    </a:cubicBezTo>
                    <a:cubicBezTo>
                      <a:pt x="12288" y="2973"/>
                      <a:pt x="12288" y="2973"/>
                      <a:pt x="12288" y="2973"/>
                    </a:cubicBezTo>
                    <a:cubicBezTo>
                      <a:pt x="12288" y="2973"/>
                      <a:pt x="12288" y="2973"/>
                      <a:pt x="12288" y="2973"/>
                    </a:cubicBezTo>
                    <a:cubicBezTo>
                      <a:pt x="12288" y="2973"/>
                      <a:pt x="10907" y="3002"/>
                      <a:pt x="10719" y="3007"/>
                    </a:cubicBezTo>
                    <a:cubicBezTo>
                      <a:pt x="10763" y="3178"/>
                      <a:pt x="10804" y="3350"/>
                      <a:pt x="10837" y="3486"/>
                    </a:cubicBezTo>
                    <a:cubicBezTo>
                      <a:pt x="10855" y="3560"/>
                      <a:pt x="10870" y="3624"/>
                      <a:pt x="10882" y="3671"/>
                    </a:cubicBezTo>
                    <a:cubicBezTo>
                      <a:pt x="10893" y="3718"/>
                      <a:pt x="10902" y="3751"/>
                      <a:pt x="10904" y="3757"/>
                    </a:cubicBezTo>
                    <a:cubicBezTo>
                      <a:pt x="10916" y="3795"/>
                      <a:pt x="10958" y="3945"/>
                      <a:pt x="11031" y="4097"/>
                    </a:cubicBezTo>
                    <a:cubicBezTo>
                      <a:pt x="11103" y="4248"/>
                      <a:pt x="11210" y="4394"/>
                      <a:pt x="11334" y="4425"/>
                    </a:cubicBezTo>
                    <a:cubicBezTo>
                      <a:pt x="11461" y="4459"/>
                      <a:pt x="11589" y="4468"/>
                      <a:pt x="11698" y="4468"/>
                    </a:cubicBezTo>
                    <a:cubicBezTo>
                      <a:pt x="11827" y="4468"/>
                      <a:pt x="11927" y="4455"/>
                      <a:pt x="11975" y="4455"/>
                    </a:cubicBezTo>
                    <a:cubicBezTo>
                      <a:pt x="12015" y="4455"/>
                      <a:pt x="12085" y="4456"/>
                      <a:pt x="12154" y="4489"/>
                    </a:cubicBezTo>
                    <a:cubicBezTo>
                      <a:pt x="12216" y="4518"/>
                      <a:pt x="12274" y="4578"/>
                      <a:pt x="12298" y="4680"/>
                    </a:cubicBezTo>
                    <a:close/>
                    <a:moveTo>
                      <a:pt x="12823" y="890"/>
                    </a:moveTo>
                    <a:cubicBezTo>
                      <a:pt x="12791" y="892"/>
                      <a:pt x="12759" y="893"/>
                      <a:pt x="12729" y="896"/>
                    </a:cubicBezTo>
                    <a:cubicBezTo>
                      <a:pt x="12586" y="906"/>
                      <a:pt x="12466" y="923"/>
                      <a:pt x="12373" y="955"/>
                    </a:cubicBezTo>
                    <a:cubicBezTo>
                      <a:pt x="12332" y="969"/>
                      <a:pt x="12289" y="995"/>
                      <a:pt x="12238" y="1030"/>
                    </a:cubicBezTo>
                    <a:cubicBezTo>
                      <a:pt x="12187" y="1064"/>
                      <a:pt x="12129" y="1109"/>
                      <a:pt x="12067" y="1160"/>
                    </a:cubicBezTo>
                    <a:cubicBezTo>
                      <a:pt x="11941" y="1262"/>
                      <a:pt x="11795" y="1392"/>
                      <a:pt x="11646" y="1529"/>
                    </a:cubicBezTo>
                    <a:cubicBezTo>
                      <a:pt x="11348" y="1802"/>
                      <a:pt x="11039" y="2101"/>
                      <a:pt x="10875" y="2245"/>
                    </a:cubicBezTo>
                    <a:cubicBezTo>
                      <a:pt x="10828" y="2286"/>
                      <a:pt x="10792" y="2315"/>
                      <a:pt x="10778" y="2323"/>
                    </a:cubicBezTo>
                    <a:cubicBezTo>
                      <a:pt x="10778" y="2323"/>
                      <a:pt x="10778" y="2323"/>
                      <a:pt x="10778" y="2323"/>
                    </a:cubicBezTo>
                    <a:cubicBezTo>
                      <a:pt x="10776" y="2324"/>
                      <a:pt x="10774" y="2325"/>
                      <a:pt x="10769" y="2327"/>
                    </a:cubicBezTo>
                    <a:cubicBezTo>
                      <a:pt x="10764" y="2329"/>
                      <a:pt x="10756" y="2333"/>
                      <a:pt x="10748" y="2336"/>
                    </a:cubicBezTo>
                    <a:cubicBezTo>
                      <a:pt x="10731" y="2342"/>
                      <a:pt x="10709" y="2350"/>
                      <a:pt x="10681" y="2360"/>
                    </a:cubicBezTo>
                    <a:cubicBezTo>
                      <a:pt x="10648" y="2371"/>
                      <a:pt x="10606" y="2384"/>
                      <a:pt x="10560" y="2399"/>
                    </a:cubicBezTo>
                    <a:cubicBezTo>
                      <a:pt x="10569" y="2433"/>
                      <a:pt x="10580" y="2473"/>
                      <a:pt x="10592" y="2518"/>
                    </a:cubicBezTo>
                    <a:cubicBezTo>
                      <a:pt x="10665" y="2495"/>
                      <a:pt x="10726" y="2475"/>
                      <a:pt x="10769" y="2459"/>
                    </a:cubicBezTo>
                    <a:cubicBezTo>
                      <a:pt x="10801" y="2447"/>
                      <a:pt x="10822" y="2439"/>
                      <a:pt x="10841" y="2428"/>
                    </a:cubicBezTo>
                    <a:cubicBezTo>
                      <a:pt x="10867" y="2412"/>
                      <a:pt x="10897" y="2388"/>
                      <a:pt x="10938" y="2353"/>
                    </a:cubicBezTo>
                    <a:cubicBezTo>
                      <a:pt x="10978" y="2319"/>
                      <a:pt x="11027" y="2275"/>
                      <a:pt x="11082" y="2224"/>
                    </a:cubicBezTo>
                    <a:cubicBezTo>
                      <a:pt x="11193" y="2121"/>
                      <a:pt x="11330" y="1991"/>
                      <a:pt x="11476" y="1855"/>
                    </a:cubicBezTo>
                    <a:cubicBezTo>
                      <a:pt x="11522" y="1812"/>
                      <a:pt x="11568" y="1768"/>
                      <a:pt x="11615" y="1725"/>
                    </a:cubicBezTo>
                    <a:cubicBezTo>
                      <a:pt x="11797" y="1599"/>
                      <a:pt x="12161" y="1303"/>
                      <a:pt x="12233" y="1263"/>
                    </a:cubicBezTo>
                    <a:cubicBezTo>
                      <a:pt x="12262" y="1247"/>
                      <a:pt x="12375" y="1192"/>
                      <a:pt x="12548" y="1145"/>
                    </a:cubicBezTo>
                    <a:cubicBezTo>
                      <a:pt x="12650" y="1117"/>
                      <a:pt x="12773" y="1100"/>
                      <a:pt x="12883" y="1078"/>
                    </a:cubicBezTo>
                    <a:cubicBezTo>
                      <a:pt x="12880" y="1071"/>
                      <a:pt x="12878" y="1064"/>
                      <a:pt x="12875" y="1058"/>
                    </a:cubicBezTo>
                    <a:cubicBezTo>
                      <a:pt x="12851" y="997"/>
                      <a:pt x="12835" y="939"/>
                      <a:pt x="12823" y="890"/>
                    </a:cubicBezTo>
                    <a:close/>
                    <a:moveTo>
                      <a:pt x="11747" y="1209"/>
                    </a:moveTo>
                    <a:cubicBezTo>
                      <a:pt x="11731" y="1225"/>
                      <a:pt x="11717" y="1239"/>
                      <a:pt x="11708" y="1249"/>
                    </a:cubicBezTo>
                    <a:cubicBezTo>
                      <a:pt x="11705" y="1253"/>
                      <a:pt x="11702" y="1255"/>
                      <a:pt x="11700" y="1258"/>
                    </a:cubicBezTo>
                    <a:cubicBezTo>
                      <a:pt x="11699" y="1259"/>
                      <a:pt x="11699" y="1259"/>
                      <a:pt x="11698" y="1260"/>
                    </a:cubicBezTo>
                    <a:cubicBezTo>
                      <a:pt x="11693" y="1267"/>
                      <a:pt x="11693" y="1267"/>
                      <a:pt x="11691" y="1268"/>
                    </a:cubicBezTo>
                    <a:cubicBezTo>
                      <a:pt x="11683" y="1277"/>
                      <a:pt x="11665" y="1295"/>
                      <a:pt x="11634" y="1325"/>
                    </a:cubicBezTo>
                    <a:cubicBezTo>
                      <a:pt x="11528" y="1428"/>
                      <a:pt x="11290" y="1657"/>
                      <a:pt x="11076" y="1863"/>
                    </a:cubicBezTo>
                    <a:cubicBezTo>
                      <a:pt x="10969" y="1966"/>
                      <a:pt x="10867" y="2064"/>
                      <a:pt x="10791" y="2137"/>
                    </a:cubicBezTo>
                    <a:cubicBezTo>
                      <a:pt x="10753" y="2173"/>
                      <a:pt x="10721" y="2204"/>
                      <a:pt x="10697" y="2226"/>
                    </a:cubicBezTo>
                    <a:cubicBezTo>
                      <a:pt x="10686" y="2237"/>
                      <a:pt x="10676" y="2246"/>
                      <a:pt x="10669" y="2252"/>
                    </a:cubicBezTo>
                    <a:cubicBezTo>
                      <a:pt x="10661" y="2259"/>
                      <a:pt x="10658" y="2263"/>
                      <a:pt x="10653" y="2267"/>
                    </a:cubicBezTo>
                    <a:cubicBezTo>
                      <a:pt x="10624" y="2291"/>
                      <a:pt x="10596" y="2301"/>
                      <a:pt x="10572" y="2311"/>
                    </a:cubicBezTo>
                    <a:cubicBezTo>
                      <a:pt x="10562" y="2314"/>
                      <a:pt x="10553" y="2317"/>
                      <a:pt x="10546" y="2319"/>
                    </a:cubicBezTo>
                    <a:cubicBezTo>
                      <a:pt x="10545" y="2321"/>
                      <a:pt x="10545" y="2321"/>
                      <a:pt x="10545" y="2321"/>
                    </a:cubicBezTo>
                    <a:cubicBezTo>
                      <a:pt x="10539" y="2322"/>
                      <a:pt x="10539" y="2322"/>
                      <a:pt x="10539" y="2322"/>
                    </a:cubicBezTo>
                    <a:cubicBezTo>
                      <a:pt x="10543" y="2338"/>
                      <a:pt x="10549" y="2359"/>
                      <a:pt x="10555" y="2383"/>
                    </a:cubicBezTo>
                    <a:cubicBezTo>
                      <a:pt x="10602" y="2369"/>
                      <a:pt x="10643" y="2355"/>
                      <a:pt x="10676" y="2344"/>
                    </a:cubicBezTo>
                    <a:cubicBezTo>
                      <a:pt x="10703" y="2335"/>
                      <a:pt x="10726" y="2327"/>
                      <a:pt x="10742" y="2320"/>
                    </a:cubicBezTo>
                    <a:cubicBezTo>
                      <a:pt x="10750" y="2317"/>
                      <a:pt x="10757" y="2314"/>
                      <a:pt x="10762" y="2312"/>
                    </a:cubicBezTo>
                    <a:cubicBezTo>
                      <a:pt x="10764" y="2311"/>
                      <a:pt x="10766" y="2310"/>
                      <a:pt x="10768" y="2309"/>
                    </a:cubicBezTo>
                    <a:cubicBezTo>
                      <a:pt x="10768" y="2309"/>
                      <a:pt x="10769" y="2309"/>
                      <a:pt x="10769" y="2309"/>
                    </a:cubicBezTo>
                    <a:cubicBezTo>
                      <a:pt x="10770" y="2308"/>
                      <a:pt x="10770" y="2308"/>
                      <a:pt x="10770" y="2308"/>
                    </a:cubicBezTo>
                    <a:cubicBezTo>
                      <a:pt x="10781" y="2302"/>
                      <a:pt x="10818" y="2273"/>
                      <a:pt x="10864" y="2233"/>
                    </a:cubicBezTo>
                    <a:cubicBezTo>
                      <a:pt x="11028" y="2089"/>
                      <a:pt x="11337" y="1790"/>
                      <a:pt x="11635" y="1517"/>
                    </a:cubicBezTo>
                    <a:cubicBezTo>
                      <a:pt x="11784" y="1380"/>
                      <a:pt x="11930" y="1250"/>
                      <a:pt x="12056" y="1147"/>
                    </a:cubicBezTo>
                    <a:cubicBezTo>
                      <a:pt x="12119" y="1096"/>
                      <a:pt x="12177" y="1051"/>
                      <a:pt x="12229" y="1016"/>
                    </a:cubicBezTo>
                    <a:cubicBezTo>
                      <a:pt x="12280" y="981"/>
                      <a:pt x="12324" y="955"/>
                      <a:pt x="12367" y="939"/>
                    </a:cubicBezTo>
                    <a:cubicBezTo>
                      <a:pt x="12463" y="907"/>
                      <a:pt x="12584" y="890"/>
                      <a:pt x="12728" y="879"/>
                    </a:cubicBezTo>
                    <a:cubicBezTo>
                      <a:pt x="12757" y="877"/>
                      <a:pt x="12788" y="876"/>
                      <a:pt x="12819" y="874"/>
                    </a:cubicBezTo>
                    <a:cubicBezTo>
                      <a:pt x="12811" y="838"/>
                      <a:pt x="12805" y="809"/>
                      <a:pt x="12802" y="789"/>
                    </a:cubicBezTo>
                    <a:cubicBezTo>
                      <a:pt x="12602" y="790"/>
                      <a:pt x="12454" y="791"/>
                      <a:pt x="12423" y="793"/>
                    </a:cubicBezTo>
                    <a:cubicBezTo>
                      <a:pt x="12299" y="797"/>
                      <a:pt x="12199" y="801"/>
                      <a:pt x="12120" y="837"/>
                    </a:cubicBezTo>
                    <a:cubicBezTo>
                      <a:pt x="12085" y="853"/>
                      <a:pt x="12036" y="891"/>
                      <a:pt x="11995" y="931"/>
                    </a:cubicBezTo>
                    <a:cubicBezTo>
                      <a:pt x="11953" y="970"/>
                      <a:pt x="11918" y="1014"/>
                      <a:pt x="11904" y="1034"/>
                    </a:cubicBezTo>
                    <a:cubicBezTo>
                      <a:pt x="11890" y="1054"/>
                      <a:pt x="11872" y="1074"/>
                      <a:pt x="11850" y="1099"/>
                    </a:cubicBezTo>
                    <a:cubicBezTo>
                      <a:pt x="11818" y="1135"/>
                      <a:pt x="11778" y="1176"/>
                      <a:pt x="11747" y="1209"/>
                    </a:cubicBezTo>
                    <a:close/>
                    <a:moveTo>
                      <a:pt x="11611" y="1286"/>
                    </a:moveTo>
                    <a:cubicBezTo>
                      <a:pt x="11611" y="1286"/>
                      <a:pt x="11611" y="1286"/>
                      <a:pt x="11611" y="1286"/>
                    </a:cubicBezTo>
                    <a:cubicBezTo>
                      <a:pt x="11607" y="1285"/>
                      <a:pt x="11602" y="1282"/>
                      <a:pt x="11597" y="1280"/>
                    </a:cubicBezTo>
                    <a:cubicBezTo>
                      <a:pt x="11602" y="1283"/>
                      <a:pt x="11607" y="1285"/>
                      <a:pt x="11611" y="1286"/>
                    </a:cubicBezTo>
                    <a:close/>
                    <a:moveTo>
                      <a:pt x="9838" y="242"/>
                    </a:moveTo>
                    <a:cubicBezTo>
                      <a:pt x="9849" y="510"/>
                      <a:pt x="9861" y="791"/>
                      <a:pt x="9862" y="885"/>
                    </a:cubicBezTo>
                    <a:cubicBezTo>
                      <a:pt x="10598" y="885"/>
                      <a:pt x="10598" y="885"/>
                      <a:pt x="10598" y="885"/>
                    </a:cubicBezTo>
                    <a:cubicBezTo>
                      <a:pt x="10602" y="886"/>
                      <a:pt x="10750" y="885"/>
                      <a:pt x="10868" y="997"/>
                    </a:cubicBezTo>
                    <a:cubicBezTo>
                      <a:pt x="10920" y="1048"/>
                      <a:pt x="11041" y="1153"/>
                      <a:pt x="11148" y="1246"/>
                    </a:cubicBezTo>
                    <a:cubicBezTo>
                      <a:pt x="11229" y="1315"/>
                      <a:pt x="11302" y="1377"/>
                      <a:pt x="11333" y="1404"/>
                    </a:cubicBezTo>
                    <a:cubicBezTo>
                      <a:pt x="11382" y="1357"/>
                      <a:pt x="11426" y="1315"/>
                      <a:pt x="11463" y="1279"/>
                    </a:cubicBezTo>
                    <a:cubicBezTo>
                      <a:pt x="11500" y="1243"/>
                      <a:pt x="11530" y="1214"/>
                      <a:pt x="11551" y="1193"/>
                    </a:cubicBezTo>
                    <a:cubicBezTo>
                      <a:pt x="11561" y="1183"/>
                      <a:pt x="11569" y="1175"/>
                      <a:pt x="11575" y="1170"/>
                    </a:cubicBezTo>
                    <a:cubicBezTo>
                      <a:pt x="11575" y="1169"/>
                      <a:pt x="11576" y="1168"/>
                      <a:pt x="11577" y="1168"/>
                    </a:cubicBezTo>
                    <a:cubicBezTo>
                      <a:pt x="11577" y="1168"/>
                      <a:pt x="11577" y="1167"/>
                      <a:pt x="11577" y="1167"/>
                    </a:cubicBezTo>
                    <a:cubicBezTo>
                      <a:pt x="11583" y="1159"/>
                      <a:pt x="11586" y="1156"/>
                      <a:pt x="11593" y="1149"/>
                    </a:cubicBezTo>
                    <a:cubicBezTo>
                      <a:pt x="11613" y="1127"/>
                      <a:pt x="11653" y="1086"/>
                      <a:pt x="11692" y="1045"/>
                    </a:cubicBezTo>
                    <a:cubicBezTo>
                      <a:pt x="11710" y="1026"/>
                      <a:pt x="11728" y="1007"/>
                      <a:pt x="11743" y="990"/>
                    </a:cubicBezTo>
                    <a:cubicBezTo>
                      <a:pt x="11701" y="923"/>
                      <a:pt x="11567" y="674"/>
                      <a:pt x="11564" y="252"/>
                    </a:cubicBezTo>
                    <a:cubicBezTo>
                      <a:pt x="11564" y="228"/>
                      <a:pt x="11564" y="205"/>
                      <a:pt x="11563" y="181"/>
                    </a:cubicBezTo>
                    <a:cubicBezTo>
                      <a:pt x="10898" y="172"/>
                      <a:pt x="10898" y="172"/>
                      <a:pt x="10898" y="172"/>
                    </a:cubicBezTo>
                    <a:cubicBezTo>
                      <a:pt x="10887" y="172"/>
                      <a:pt x="10887" y="172"/>
                      <a:pt x="10887" y="172"/>
                    </a:cubicBezTo>
                    <a:cubicBezTo>
                      <a:pt x="10887" y="171"/>
                      <a:pt x="10887" y="171"/>
                      <a:pt x="10887" y="171"/>
                    </a:cubicBezTo>
                    <a:cubicBezTo>
                      <a:pt x="10748" y="169"/>
                      <a:pt x="10748" y="169"/>
                      <a:pt x="10748" y="169"/>
                    </a:cubicBezTo>
                    <a:cubicBezTo>
                      <a:pt x="10731" y="176"/>
                      <a:pt x="10595" y="225"/>
                      <a:pt x="10594" y="225"/>
                    </a:cubicBezTo>
                    <a:cubicBezTo>
                      <a:pt x="10593" y="226"/>
                      <a:pt x="10593" y="226"/>
                      <a:pt x="10593" y="226"/>
                    </a:cubicBezTo>
                    <a:lnTo>
                      <a:pt x="9838" y="242"/>
                    </a:lnTo>
                    <a:close/>
                    <a:moveTo>
                      <a:pt x="8680" y="1198"/>
                    </a:moveTo>
                    <a:cubicBezTo>
                      <a:pt x="8687" y="1275"/>
                      <a:pt x="8704" y="1470"/>
                      <a:pt x="8704" y="1565"/>
                    </a:cubicBezTo>
                    <a:cubicBezTo>
                      <a:pt x="8704" y="1583"/>
                      <a:pt x="8703" y="1598"/>
                      <a:pt x="8701" y="1610"/>
                    </a:cubicBezTo>
                    <a:cubicBezTo>
                      <a:pt x="8690" y="1680"/>
                      <a:pt x="8608" y="1986"/>
                      <a:pt x="8587" y="2063"/>
                    </a:cubicBezTo>
                    <a:cubicBezTo>
                      <a:pt x="8576" y="2104"/>
                      <a:pt x="8572" y="2168"/>
                      <a:pt x="8572" y="2227"/>
                    </a:cubicBezTo>
                    <a:cubicBezTo>
                      <a:pt x="8572" y="2263"/>
                      <a:pt x="8573" y="2297"/>
                      <a:pt x="8575" y="2324"/>
                    </a:cubicBezTo>
                    <a:cubicBezTo>
                      <a:pt x="8577" y="2378"/>
                      <a:pt x="8587" y="2565"/>
                      <a:pt x="8591" y="2657"/>
                    </a:cubicBezTo>
                    <a:cubicBezTo>
                      <a:pt x="8710" y="2627"/>
                      <a:pt x="9130" y="2521"/>
                      <a:pt x="9544" y="2416"/>
                    </a:cubicBezTo>
                    <a:cubicBezTo>
                      <a:pt x="10007" y="2299"/>
                      <a:pt x="10465" y="2183"/>
                      <a:pt x="10491" y="2177"/>
                    </a:cubicBezTo>
                    <a:cubicBezTo>
                      <a:pt x="10491" y="2177"/>
                      <a:pt x="10491" y="2177"/>
                      <a:pt x="10492" y="2176"/>
                    </a:cubicBezTo>
                    <a:cubicBezTo>
                      <a:pt x="10497" y="2175"/>
                      <a:pt x="10511" y="2171"/>
                      <a:pt x="10525" y="2165"/>
                    </a:cubicBezTo>
                    <a:cubicBezTo>
                      <a:pt x="10538" y="2161"/>
                      <a:pt x="10552" y="2153"/>
                      <a:pt x="10554" y="2151"/>
                    </a:cubicBezTo>
                    <a:cubicBezTo>
                      <a:pt x="10554" y="2151"/>
                      <a:pt x="10554" y="2151"/>
                      <a:pt x="10554" y="2151"/>
                    </a:cubicBezTo>
                    <a:cubicBezTo>
                      <a:pt x="10557" y="2148"/>
                      <a:pt x="10579" y="2128"/>
                      <a:pt x="10610" y="2098"/>
                    </a:cubicBezTo>
                    <a:cubicBezTo>
                      <a:pt x="10719" y="1994"/>
                      <a:pt x="10963" y="1760"/>
                      <a:pt x="11179" y="1552"/>
                    </a:cubicBezTo>
                    <a:cubicBezTo>
                      <a:pt x="11216" y="1517"/>
                      <a:pt x="11252" y="1483"/>
                      <a:pt x="11286" y="1450"/>
                    </a:cubicBezTo>
                    <a:cubicBezTo>
                      <a:pt x="11205" y="1381"/>
                      <a:pt x="10915" y="1135"/>
                      <a:pt x="10822" y="1045"/>
                    </a:cubicBezTo>
                    <a:cubicBezTo>
                      <a:pt x="10774" y="998"/>
                      <a:pt x="10718" y="974"/>
                      <a:pt x="10673" y="963"/>
                    </a:cubicBezTo>
                    <a:cubicBezTo>
                      <a:pt x="10651" y="957"/>
                      <a:pt x="10632" y="954"/>
                      <a:pt x="10618" y="952"/>
                    </a:cubicBezTo>
                    <a:cubicBezTo>
                      <a:pt x="10611" y="952"/>
                      <a:pt x="10606" y="951"/>
                      <a:pt x="10603" y="951"/>
                    </a:cubicBezTo>
                    <a:cubicBezTo>
                      <a:pt x="10601" y="951"/>
                      <a:pt x="10600" y="951"/>
                      <a:pt x="10599" y="951"/>
                    </a:cubicBezTo>
                    <a:cubicBezTo>
                      <a:pt x="10598" y="951"/>
                      <a:pt x="10598" y="951"/>
                      <a:pt x="10598" y="951"/>
                    </a:cubicBezTo>
                    <a:cubicBezTo>
                      <a:pt x="10598" y="951"/>
                      <a:pt x="10072" y="951"/>
                      <a:pt x="9829" y="951"/>
                    </a:cubicBezTo>
                    <a:cubicBezTo>
                      <a:pt x="9829" y="951"/>
                      <a:pt x="9829" y="951"/>
                      <a:pt x="9829" y="951"/>
                    </a:cubicBezTo>
                    <a:cubicBezTo>
                      <a:pt x="9829" y="951"/>
                      <a:pt x="9829" y="951"/>
                      <a:pt x="9829" y="951"/>
                    </a:cubicBezTo>
                    <a:cubicBezTo>
                      <a:pt x="9774" y="951"/>
                      <a:pt x="9734" y="951"/>
                      <a:pt x="9717" y="951"/>
                    </a:cubicBezTo>
                    <a:cubicBezTo>
                      <a:pt x="9717" y="951"/>
                      <a:pt x="9717" y="951"/>
                      <a:pt x="9716" y="951"/>
                    </a:cubicBezTo>
                    <a:cubicBezTo>
                      <a:pt x="9690" y="968"/>
                      <a:pt x="9610" y="1025"/>
                      <a:pt x="9535" y="1078"/>
                    </a:cubicBezTo>
                    <a:cubicBezTo>
                      <a:pt x="9498" y="1104"/>
                      <a:pt x="9462" y="1129"/>
                      <a:pt x="9434" y="1148"/>
                    </a:cubicBezTo>
                    <a:cubicBezTo>
                      <a:pt x="9420" y="1157"/>
                      <a:pt x="9408" y="1165"/>
                      <a:pt x="9399" y="1171"/>
                    </a:cubicBezTo>
                    <a:cubicBezTo>
                      <a:pt x="9394" y="1174"/>
                      <a:pt x="9390" y="1176"/>
                      <a:pt x="9387" y="1178"/>
                    </a:cubicBezTo>
                    <a:cubicBezTo>
                      <a:pt x="9385" y="1179"/>
                      <a:pt x="9383" y="1180"/>
                      <a:pt x="9380" y="1181"/>
                    </a:cubicBezTo>
                    <a:cubicBezTo>
                      <a:pt x="9378" y="1182"/>
                      <a:pt x="9376" y="1184"/>
                      <a:pt x="9366" y="1184"/>
                    </a:cubicBezTo>
                    <a:cubicBezTo>
                      <a:pt x="9365" y="1184"/>
                      <a:pt x="9363" y="1184"/>
                      <a:pt x="9361" y="1184"/>
                    </a:cubicBezTo>
                    <a:cubicBezTo>
                      <a:pt x="9360" y="1184"/>
                      <a:pt x="9358" y="1184"/>
                      <a:pt x="9355" y="1184"/>
                    </a:cubicBezTo>
                    <a:cubicBezTo>
                      <a:pt x="9289" y="1184"/>
                      <a:pt x="8936" y="1195"/>
                      <a:pt x="8680" y="1198"/>
                    </a:cubicBezTo>
                    <a:close/>
                    <a:moveTo>
                      <a:pt x="7105" y="1513"/>
                    </a:moveTo>
                    <a:cubicBezTo>
                      <a:pt x="7109" y="1545"/>
                      <a:pt x="7131" y="1737"/>
                      <a:pt x="7153" y="1936"/>
                    </a:cubicBezTo>
                    <a:cubicBezTo>
                      <a:pt x="7165" y="2046"/>
                      <a:pt x="7178" y="2157"/>
                      <a:pt x="7187" y="2246"/>
                    </a:cubicBezTo>
                    <a:cubicBezTo>
                      <a:pt x="7194" y="2317"/>
                      <a:pt x="7199" y="2372"/>
                      <a:pt x="7201" y="2403"/>
                    </a:cubicBezTo>
                    <a:cubicBezTo>
                      <a:pt x="7242" y="2410"/>
                      <a:pt x="7272" y="2415"/>
                      <a:pt x="7281" y="2416"/>
                    </a:cubicBezTo>
                    <a:cubicBezTo>
                      <a:pt x="8512" y="2393"/>
                      <a:pt x="8512" y="2393"/>
                      <a:pt x="8512" y="2393"/>
                    </a:cubicBezTo>
                    <a:cubicBezTo>
                      <a:pt x="8511" y="2364"/>
                      <a:pt x="8510" y="2341"/>
                      <a:pt x="8509" y="2327"/>
                    </a:cubicBezTo>
                    <a:cubicBezTo>
                      <a:pt x="8508" y="2299"/>
                      <a:pt x="8507" y="2264"/>
                      <a:pt x="8507" y="2227"/>
                    </a:cubicBezTo>
                    <a:cubicBezTo>
                      <a:pt x="8507" y="2165"/>
                      <a:pt x="8510" y="2098"/>
                      <a:pt x="8524" y="2046"/>
                    </a:cubicBezTo>
                    <a:cubicBezTo>
                      <a:pt x="8544" y="1971"/>
                      <a:pt x="8627" y="1660"/>
                      <a:pt x="8636" y="1599"/>
                    </a:cubicBezTo>
                    <a:cubicBezTo>
                      <a:pt x="8637" y="1595"/>
                      <a:pt x="8638" y="1582"/>
                      <a:pt x="8638" y="1565"/>
                    </a:cubicBezTo>
                    <a:cubicBezTo>
                      <a:pt x="8638" y="1509"/>
                      <a:pt x="8632" y="1410"/>
                      <a:pt x="8625" y="1326"/>
                    </a:cubicBezTo>
                    <a:cubicBezTo>
                      <a:pt x="8621" y="1273"/>
                      <a:pt x="8617" y="1227"/>
                      <a:pt x="8615" y="1199"/>
                    </a:cubicBezTo>
                    <a:cubicBezTo>
                      <a:pt x="8594" y="1199"/>
                      <a:pt x="8574" y="1199"/>
                      <a:pt x="8555" y="1199"/>
                    </a:cubicBezTo>
                    <a:cubicBezTo>
                      <a:pt x="8517" y="1199"/>
                      <a:pt x="8484" y="1199"/>
                      <a:pt x="8458" y="1198"/>
                    </a:cubicBezTo>
                    <a:cubicBezTo>
                      <a:pt x="8275" y="1191"/>
                      <a:pt x="7912" y="1170"/>
                      <a:pt x="7803" y="1170"/>
                    </a:cubicBezTo>
                    <a:cubicBezTo>
                      <a:pt x="7795" y="1170"/>
                      <a:pt x="7789" y="1170"/>
                      <a:pt x="7785" y="1171"/>
                    </a:cubicBezTo>
                    <a:cubicBezTo>
                      <a:pt x="7713" y="1173"/>
                      <a:pt x="7495" y="1219"/>
                      <a:pt x="7446" y="1240"/>
                    </a:cubicBezTo>
                    <a:cubicBezTo>
                      <a:pt x="7411" y="1254"/>
                      <a:pt x="7349" y="1268"/>
                      <a:pt x="7287" y="1281"/>
                    </a:cubicBezTo>
                    <a:cubicBezTo>
                      <a:pt x="7226" y="1294"/>
                      <a:pt x="7168" y="1304"/>
                      <a:pt x="7147" y="1307"/>
                    </a:cubicBezTo>
                    <a:cubicBezTo>
                      <a:pt x="7144" y="1308"/>
                      <a:pt x="7141" y="1310"/>
                      <a:pt x="7136" y="1318"/>
                    </a:cubicBezTo>
                    <a:cubicBezTo>
                      <a:pt x="7134" y="1322"/>
                      <a:pt x="7132" y="1328"/>
                      <a:pt x="7131" y="1332"/>
                    </a:cubicBezTo>
                    <a:cubicBezTo>
                      <a:pt x="7133" y="1336"/>
                      <a:pt x="7133" y="1339"/>
                      <a:pt x="7133" y="1341"/>
                    </a:cubicBezTo>
                    <a:cubicBezTo>
                      <a:pt x="7134" y="1343"/>
                      <a:pt x="7134" y="1345"/>
                      <a:pt x="7134" y="1347"/>
                    </a:cubicBezTo>
                    <a:cubicBezTo>
                      <a:pt x="7134" y="1358"/>
                      <a:pt x="7132" y="1370"/>
                      <a:pt x="7129" y="1387"/>
                    </a:cubicBezTo>
                    <a:cubicBezTo>
                      <a:pt x="7122" y="1431"/>
                      <a:pt x="7109" y="1495"/>
                      <a:pt x="7105" y="1513"/>
                    </a:cubicBezTo>
                    <a:close/>
                    <a:moveTo>
                      <a:pt x="4026" y="1765"/>
                    </a:moveTo>
                    <a:cubicBezTo>
                      <a:pt x="4251" y="1863"/>
                      <a:pt x="4453" y="2010"/>
                      <a:pt x="4496" y="2041"/>
                    </a:cubicBezTo>
                    <a:cubicBezTo>
                      <a:pt x="5339" y="2390"/>
                      <a:pt x="5339" y="2390"/>
                      <a:pt x="5339" y="2390"/>
                    </a:cubicBezTo>
                    <a:cubicBezTo>
                      <a:pt x="5389" y="2405"/>
                      <a:pt x="5881" y="2551"/>
                      <a:pt x="6047" y="2600"/>
                    </a:cubicBezTo>
                    <a:cubicBezTo>
                      <a:pt x="6127" y="2624"/>
                      <a:pt x="6292" y="2668"/>
                      <a:pt x="6457" y="2711"/>
                    </a:cubicBezTo>
                    <a:cubicBezTo>
                      <a:pt x="6531" y="2453"/>
                      <a:pt x="6531" y="2453"/>
                      <a:pt x="6531" y="2453"/>
                    </a:cubicBezTo>
                    <a:cubicBezTo>
                      <a:pt x="6534" y="2449"/>
                      <a:pt x="6534" y="2449"/>
                      <a:pt x="6534" y="2449"/>
                    </a:cubicBezTo>
                    <a:cubicBezTo>
                      <a:pt x="6560" y="2411"/>
                      <a:pt x="6596" y="2385"/>
                      <a:pt x="6638" y="2370"/>
                    </a:cubicBezTo>
                    <a:cubicBezTo>
                      <a:pt x="6680" y="2356"/>
                      <a:pt x="6727" y="2351"/>
                      <a:pt x="6781" y="2351"/>
                    </a:cubicBezTo>
                    <a:cubicBezTo>
                      <a:pt x="6838" y="2351"/>
                      <a:pt x="6961" y="2368"/>
                      <a:pt x="7073" y="2384"/>
                    </a:cubicBezTo>
                    <a:cubicBezTo>
                      <a:pt x="7094" y="2387"/>
                      <a:pt x="7115" y="2390"/>
                      <a:pt x="7135" y="2393"/>
                    </a:cubicBezTo>
                    <a:cubicBezTo>
                      <a:pt x="7133" y="2362"/>
                      <a:pt x="7128" y="2313"/>
                      <a:pt x="7122" y="2253"/>
                    </a:cubicBezTo>
                    <a:cubicBezTo>
                      <a:pt x="7097" y="2013"/>
                      <a:pt x="7050" y="1606"/>
                      <a:pt x="7041" y="1529"/>
                    </a:cubicBezTo>
                    <a:cubicBezTo>
                      <a:pt x="7013" y="1506"/>
                      <a:pt x="6973" y="1486"/>
                      <a:pt x="6939" y="1453"/>
                    </a:cubicBezTo>
                    <a:cubicBezTo>
                      <a:pt x="6883" y="1395"/>
                      <a:pt x="6849" y="1333"/>
                      <a:pt x="6848" y="1332"/>
                    </a:cubicBezTo>
                    <a:cubicBezTo>
                      <a:pt x="6570" y="830"/>
                      <a:pt x="6570" y="830"/>
                      <a:pt x="6570" y="830"/>
                    </a:cubicBezTo>
                    <a:cubicBezTo>
                      <a:pt x="6514" y="736"/>
                      <a:pt x="6448" y="718"/>
                      <a:pt x="6391" y="717"/>
                    </a:cubicBezTo>
                    <a:cubicBezTo>
                      <a:pt x="6364" y="717"/>
                      <a:pt x="6339" y="723"/>
                      <a:pt x="6321" y="728"/>
                    </a:cubicBezTo>
                    <a:cubicBezTo>
                      <a:pt x="6312" y="731"/>
                      <a:pt x="6305" y="733"/>
                      <a:pt x="6301" y="735"/>
                    </a:cubicBezTo>
                    <a:cubicBezTo>
                      <a:pt x="6298" y="736"/>
                      <a:pt x="6297" y="737"/>
                      <a:pt x="6296" y="737"/>
                    </a:cubicBezTo>
                    <a:cubicBezTo>
                      <a:pt x="6295" y="738"/>
                      <a:pt x="6295" y="738"/>
                      <a:pt x="6295" y="738"/>
                    </a:cubicBezTo>
                    <a:cubicBezTo>
                      <a:pt x="6277" y="748"/>
                      <a:pt x="6062" y="873"/>
                      <a:pt x="5952" y="933"/>
                    </a:cubicBezTo>
                    <a:cubicBezTo>
                      <a:pt x="5850" y="989"/>
                      <a:pt x="5778" y="1021"/>
                      <a:pt x="5670" y="1021"/>
                    </a:cubicBezTo>
                    <a:cubicBezTo>
                      <a:pt x="5658" y="1020"/>
                      <a:pt x="5646" y="1020"/>
                      <a:pt x="5633" y="1019"/>
                    </a:cubicBezTo>
                    <a:cubicBezTo>
                      <a:pt x="5500" y="1011"/>
                      <a:pt x="5207" y="922"/>
                      <a:pt x="4918" y="836"/>
                    </a:cubicBezTo>
                    <a:cubicBezTo>
                      <a:pt x="4686" y="767"/>
                      <a:pt x="4522" y="689"/>
                      <a:pt x="4464" y="660"/>
                    </a:cubicBezTo>
                    <a:cubicBezTo>
                      <a:pt x="4237" y="1102"/>
                      <a:pt x="4237" y="1102"/>
                      <a:pt x="4237" y="1102"/>
                    </a:cubicBezTo>
                    <a:cubicBezTo>
                      <a:pt x="4231" y="1125"/>
                      <a:pt x="4200" y="1243"/>
                      <a:pt x="4159" y="1313"/>
                    </a:cubicBezTo>
                    <a:cubicBezTo>
                      <a:pt x="4125" y="1369"/>
                      <a:pt x="4101" y="1414"/>
                      <a:pt x="4093" y="1427"/>
                    </a:cubicBezTo>
                    <a:lnTo>
                      <a:pt x="4026" y="1765"/>
                    </a:lnTo>
                    <a:close/>
                    <a:moveTo>
                      <a:pt x="3644" y="1789"/>
                    </a:moveTo>
                    <a:cubicBezTo>
                      <a:pt x="3226" y="3080"/>
                      <a:pt x="3226" y="3080"/>
                      <a:pt x="3226" y="3080"/>
                    </a:cubicBezTo>
                    <a:cubicBezTo>
                      <a:pt x="3288" y="3105"/>
                      <a:pt x="3369" y="3140"/>
                      <a:pt x="3461" y="3180"/>
                    </a:cubicBezTo>
                    <a:cubicBezTo>
                      <a:pt x="3611" y="3245"/>
                      <a:pt x="3789" y="3322"/>
                      <a:pt x="3947" y="3380"/>
                    </a:cubicBezTo>
                    <a:cubicBezTo>
                      <a:pt x="4267" y="3499"/>
                      <a:pt x="4565" y="3604"/>
                      <a:pt x="4764" y="3656"/>
                    </a:cubicBezTo>
                    <a:cubicBezTo>
                      <a:pt x="4835" y="3674"/>
                      <a:pt x="4911" y="3694"/>
                      <a:pt x="4988" y="3716"/>
                    </a:cubicBezTo>
                    <a:cubicBezTo>
                      <a:pt x="5143" y="3357"/>
                      <a:pt x="5143" y="3357"/>
                      <a:pt x="5143" y="3357"/>
                    </a:cubicBezTo>
                    <a:cubicBezTo>
                      <a:pt x="5135" y="2981"/>
                      <a:pt x="5135" y="2981"/>
                      <a:pt x="5135" y="2981"/>
                    </a:cubicBezTo>
                    <a:cubicBezTo>
                      <a:pt x="5136" y="2976"/>
                      <a:pt x="5136" y="2976"/>
                      <a:pt x="5136" y="2976"/>
                    </a:cubicBezTo>
                    <a:cubicBezTo>
                      <a:pt x="5136" y="2976"/>
                      <a:pt x="5175" y="2857"/>
                      <a:pt x="5213" y="2735"/>
                    </a:cubicBezTo>
                    <a:cubicBezTo>
                      <a:pt x="5233" y="2674"/>
                      <a:pt x="5252" y="2612"/>
                      <a:pt x="5266" y="2563"/>
                    </a:cubicBezTo>
                    <a:cubicBezTo>
                      <a:pt x="5270" y="2551"/>
                      <a:pt x="5273" y="2539"/>
                      <a:pt x="5276" y="2529"/>
                    </a:cubicBezTo>
                    <a:cubicBezTo>
                      <a:pt x="4421" y="2175"/>
                      <a:pt x="4421" y="2175"/>
                      <a:pt x="4421" y="2175"/>
                    </a:cubicBezTo>
                    <a:cubicBezTo>
                      <a:pt x="4413" y="2169"/>
                      <a:pt x="4413" y="2169"/>
                      <a:pt x="4413" y="2169"/>
                    </a:cubicBezTo>
                    <a:cubicBezTo>
                      <a:pt x="4413" y="2169"/>
                      <a:pt x="4409" y="2166"/>
                      <a:pt x="4400" y="2160"/>
                    </a:cubicBezTo>
                    <a:cubicBezTo>
                      <a:pt x="4342" y="2117"/>
                      <a:pt x="4083" y="1936"/>
                      <a:pt x="3854" y="1861"/>
                    </a:cubicBezTo>
                    <a:cubicBezTo>
                      <a:pt x="3800" y="1843"/>
                      <a:pt x="3726" y="1818"/>
                      <a:pt x="3644" y="1789"/>
                    </a:cubicBezTo>
                    <a:close/>
                    <a:moveTo>
                      <a:pt x="1273" y="4103"/>
                    </a:moveTo>
                    <a:cubicBezTo>
                      <a:pt x="1283" y="4116"/>
                      <a:pt x="1292" y="4126"/>
                      <a:pt x="1298" y="4133"/>
                    </a:cubicBezTo>
                    <a:cubicBezTo>
                      <a:pt x="1298" y="4133"/>
                      <a:pt x="1299" y="4133"/>
                      <a:pt x="1299" y="4134"/>
                    </a:cubicBezTo>
                    <a:cubicBezTo>
                      <a:pt x="1304" y="4135"/>
                      <a:pt x="1308" y="4136"/>
                      <a:pt x="1315" y="4138"/>
                    </a:cubicBezTo>
                    <a:cubicBezTo>
                      <a:pt x="1369" y="4153"/>
                      <a:pt x="1496" y="4199"/>
                      <a:pt x="1568" y="4225"/>
                    </a:cubicBezTo>
                    <a:cubicBezTo>
                      <a:pt x="1635" y="4155"/>
                      <a:pt x="1948" y="3815"/>
                      <a:pt x="2211" y="3529"/>
                    </a:cubicBezTo>
                    <a:cubicBezTo>
                      <a:pt x="2368" y="3360"/>
                      <a:pt x="2481" y="3230"/>
                      <a:pt x="2561" y="3163"/>
                    </a:cubicBezTo>
                    <a:cubicBezTo>
                      <a:pt x="2694" y="3050"/>
                      <a:pt x="2832" y="3019"/>
                      <a:pt x="2943" y="3019"/>
                    </a:cubicBezTo>
                    <a:cubicBezTo>
                      <a:pt x="3023" y="3019"/>
                      <a:pt x="3090" y="3035"/>
                      <a:pt x="3133" y="3046"/>
                    </a:cubicBezTo>
                    <a:cubicBezTo>
                      <a:pt x="3142" y="3049"/>
                      <a:pt x="3153" y="3052"/>
                      <a:pt x="3165" y="3056"/>
                    </a:cubicBezTo>
                    <a:cubicBezTo>
                      <a:pt x="3582" y="1768"/>
                      <a:pt x="3582" y="1768"/>
                      <a:pt x="3582" y="1768"/>
                    </a:cubicBezTo>
                    <a:cubicBezTo>
                      <a:pt x="3243" y="1650"/>
                      <a:pt x="2791" y="1487"/>
                      <a:pt x="2746" y="1470"/>
                    </a:cubicBezTo>
                    <a:cubicBezTo>
                      <a:pt x="2716" y="1459"/>
                      <a:pt x="2673" y="1443"/>
                      <a:pt x="2630" y="1417"/>
                    </a:cubicBezTo>
                    <a:cubicBezTo>
                      <a:pt x="2606" y="1402"/>
                      <a:pt x="2581" y="1384"/>
                      <a:pt x="2558" y="1360"/>
                    </a:cubicBezTo>
                    <a:cubicBezTo>
                      <a:pt x="2555" y="1363"/>
                      <a:pt x="2552" y="1366"/>
                      <a:pt x="2547" y="1369"/>
                    </a:cubicBezTo>
                    <a:cubicBezTo>
                      <a:pt x="2459" y="1441"/>
                      <a:pt x="2143" y="1714"/>
                      <a:pt x="1849" y="1968"/>
                    </a:cubicBezTo>
                    <a:cubicBezTo>
                      <a:pt x="1703" y="2095"/>
                      <a:pt x="1561" y="2218"/>
                      <a:pt x="1457" y="2309"/>
                    </a:cubicBezTo>
                    <a:cubicBezTo>
                      <a:pt x="1360" y="2392"/>
                      <a:pt x="1296" y="2449"/>
                      <a:pt x="1285" y="2457"/>
                    </a:cubicBezTo>
                    <a:cubicBezTo>
                      <a:pt x="581" y="3211"/>
                      <a:pt x="581" y="3211"/>
                      <a:pt x="581" y="3211"/>
                    </a:cubicBezTo>
                    <a:cubicBezTo>
                      <a:pt x="633" y="3279"/>
                      <a:pt x="780" y="3472"/>
                      <a:pt x="929" y="3665"/>
                    </a:cubicBezTo>
                    <a:cubicBezTo>
                      <a:pt x="1022" y="3785"/>
                      <a:pt x="1115" y="3905"/>
                      <a:pt x="1186" y="3995"/>
                    </a:cubicBezTo>
                    <a:cubicBezTo>
                      <a:pt x="1222" y="4040"/>
                      <a:pt x="1251" y="4077"/>
                      <a:pt x="1273" y="4103"/>
                    </a:cubicBezTo>
                    <a:close/>
                    <a:moveTo>
                      <a:pt x="1239" y="4357"/>
                    </a:moveTo>
                    <a:cubicBezTo>
                      <a:pt x="1497" y="4504"/>
                      <a:pt x="1497" y="4504"/>
                      <a:pt x="1497" y="4504"/>
                    </a:cubicBezTo>
                    <a:cubicBezTo>
                      <a:pt x="1505" y="4482"/>
                      <a:pt x="1520" y="4443"/>
                      <a:pt x="1536" y="4403"/>
                    </a:cubicBezTo>
                    <a:cubicBezTo>
                      <a:pt x="1548" y="4373"/>
                      <a:pt x="1560" y="4344"/>
                      <a:pt x="1569" y="4321"/>
                    </a:cubicBezTo>
                    <a:cubicBezTo>
                      <a:pt x="1573" y="4312"/>
                      <a:pt x="1576" y="4305"/>
                      <a:pt x="1579" y="4299"/>
                    </a:cubicBezTo>
                    <a:cubicBezTo>
                      <a:pt x="1552" y="4289"/>
                      <a:pt x="1500" y="4270"/>
                      <a:pt x="1445" y="4251"/>
                    </a:cubicBezTo>
                    <a:cubicBezTo>
                      <a:pt x="1406" y="4237"/>
                      <a:pt x="1367" y="4223"/>
                      <a:pt x="1336" y="4213"/>
                    </a:cubicBezTo>
                    <a:cubicBezTo>
                      <a:pt x="1330" y="4211"/>
                      <a:pt x="1325" y="4210"/>
                      <a:pt x="1320" y="4208"/>
                    </a:cubicBezTo>
                    <a:lnTo>
                      <a:pt x="1239" y="4357"/>
                    </a:lnTo>
                    <a:close/>
                    <a:moveTo>
                      <a:pt x="1169" y="4486"/>
                    </a:moveTo>
                    <a:cubicBezTo>
                      <a:pt x="1208" y="4508"/>
                      <a:pt x="1208" y="4508"/>
                      <a:pt x="1208" y="4508"/>
                    </a:cubicBezTo>
                    <a:cubicBezTo>
                      <a:pt x="1259" y="4413"/>
                      <a:pt x="1259" y="4413"/>
                      <a:pt x="1259" y="4413"/>
                    </a:cubicBezTo>
                    <a:cubicBezTo>
                      <a:pt x="1397" y="4488"/>
                      <a:pt x="1397" y="4488"/>
                      <a:pt x="1397" y="4488"/>
                    </a:cubicBezTo>
                    <a:cubicBezTo>
                      <a:pt x="1394" y="4494"/>
                      <a:pt x="1394" y="4494"/>
                      <a:pt x="1394" y="4494"/>
                    </a:cubicBezTo>
                    <a:cubicBezTo>
                      <a:pt x="1344" y="4586"/>
                      <a:pt x="1344" y="4586"/>
                      <a:pt x="1344" y="4586"/>
                    </a:cubicBezTo>
                    <a:cubicBezTo>
                      <a:pt x="1750" y="4817"/>
                      <a:pt x="1750" y="4817"/>
                      <a:pt x="1750" y="4817"/>
                    </a:cubicBezTo>
                    <a:cubicBezTo>
                      <a:pt x="1779" y="4681"/>
                      <a:pt x="1779" y="4681"/>
                      <a:pt x="1779" y="4681"/>
                    </a:cubicBezTo>
                    <a:cubicBezTo>
                      <a:pt x="1504" y="4524"/>
                      <a:pt x="1504" y="4524"/>
                      <a:pt x="1504" y="4524"/>
                    </a:cubicBezTo>
                    <a:cubicBezTo>
                      <a:pt x="1503" y="4525"/>
                      <a:pt x="1503" y="4527"/>
                      <a:pt x="1503" y="4527"/>
                    </a:cubicBezTo>
                    <a:cubicBezTo>
                      <a:pt x="1490" y="4522"/>
                      <a:pt x="1490" y="4522"/>
                      <a:pt x="1490" y="4522"/>
                    </a:cubicBezTo>
                    <a:cubicBezTo>
                      <a:pt x="1490" y="4522"/>
                      <a:pt x="1490" y="4520"/>
                      <a:pt x="1492" y="4517"/>
                    </a:cubicBezTo>
                    <a:cubicBezTo>
                      <a:pt x="1233" y="4369"/>
                      <a:pt x="1233" y="4369"/>
                      <a:pt x="1233" y="4369"/>
                    </a:cubicBezTo>
                    <a:lnTo>
                      <a:pt x="1169" y="4486"/>
                    </a:lnTo>
                    <a:close/>
                    <a:moveTo>
                      <a:pt x="1110" y="4593"/>
                    </a:moveTo>
                    <a:cubicBezTo>
                      <a:pt x="1149" y="4615"/>
                      <a:pt x="1149" y="4615"/>
                      <a:pt x="1149" y="4615"/>
                    </a:cubicBezTo>
                    <a:cubicBezTo>
                      <a:pt x="1201" y="4520"/>
                      <a:pt x="1201" y="4520"/>
                      <a:pt x="1201" y="4520"/>
                    </a:cubicBezTo>
                    <a:cubicBezTo>
                      <a:pt x="1162" y="4498"/>
                      <a:pt x="1162" y="4498"/>
                      <a:pt x="1162" y="4498"/>
                    </a:cubicBezTo>
                    <a:lnTo>
                      <a:pt x="1110" y="4593"/>
                    </a:lnTo>
                    <a:close/>
                    <a:moveTo>
                      <a:pt x="1056" y="4693"/>
                    </a:moveTo>
                    <a:cubicBezTo>
                      <a:pt x="1095" y="4715"/>
                      <a:pt x="1095" y="4715"/>
                      <a:pt x="1095" y="4715"/>
                    </a:cubicBezTo>
                    <a:cubicBezTo>
                      <a:pt x="1142" y="4628"/>
                      <a:pt x="1142" y="4628"/>
                      <a:pt x="1142" y="4628"/>
                    </a:cubicBezTo>
                    <a:cubicBezTo>
                      <a:pt x="1103" y="4606"/>
                      <a:pt x="1103" y="4606"/>
                      <a:pt x="1103" y="4606"/>
                    </a:cubicBezTo>
                    <a:lnTo>
                      <a:pt x="1056" y="4693"/>
                    </a:lnTo>
                    <a:close/>
                    <a:moveTo>
                      <a:pt x="998" y="4798"/>
                    </a:moveTo>
                    <a:cubicBezTo>
                      <a:pt x="1037" y="4820"/>
                      <a:pt x="1037" y="4820"/>
                      <a:pt x="1037" y="4820"/>
                    </a:cubicBezTo>
                    <a:cubicBezTo>
                      <a:pt x="1088" y="4727"/>
                      <a:pt x="1088" y="4727"/>
                      <a:pt x="1088" y="4727"/>
                    </a:cubicBezTo>
                    <a:cubicBezTo>
                      <a:pt x="1049" y="4705"/>
                      <a:pt x="1049" y="4705"/>
                      <a:pt x="1049" y="4705"/>
                    </a:cubicBezTo>
                    <a:lnTo>
                      <a:pt x="998" y="4798"/>
                    </a:lnTo>
                    <a:close/>
                    <a:moveTo>
                      <a:pt x="933" y="4917"/>
                    </a:moveTo>
                    <a:cubicBezTo>
                      <a:pt x="972" y="4940"/>
                      <a:pt x="972" y="4940"/>
                      <a:pt x="972" y="4940"/>
                    </a:cubicBezTo>
                    <a:cubicBezTo>
                      <a:pt x="1031" y="4833"/>
                      <a:pt x="1031" y="4833"/>
                      <a:pt x="1031" y="4833"/>
                    </a:cubicBezTo>
                    <a:cubicBezTo>
                      <a:pt x="992" y="4810"/>
                      <a:pt x="992" y="4810"/>
                      <a:pt x="992" y="4810"/>
                    </a:cubicBezTo>
                    <a:lnTo>
                      <a:pt x="933" y="4917"/>
                    </a:lnTo>
                    <a:close/>
                    <a:moveTo>
                      <a:pt x="869" y="5034"/>
                    </a:moveTo>
                    <a:cubicBezTo>
                      <a:pt x="909" y="5056"/>
                      <a:pt x="909" y="5056"/>
                      <a:pt x="909" y="5056"/>
                    </a:cubicBezTo>
                    <a:cubicBezTo>
                      <a:pt x="966" y="4952"/>
                      <a:pt x="966" y="4952"/>
                      <a:pt x="966" y="4952"/>
                    </a:cubicBezTo>
                    <a:cubicBezTo>
                      <a:pt x="926" y="4930"/>
                      <a:pt x="926" y="4930"/>
                      <a:pt x="926" y="4930"/>
                    </a:cubicBezTo>
                    <a:lnTo>
                      <a:pt x="869" y="5034"/>
                    </a:lnTo>
                    <a:close/>
                    <a:moveTo>
                      <a:pt x="810" y="5142"/>
                    </a:moveTo>
                    <a:cubicBezTo>
                      <a:pt x="850" y="5165"/>
                      <a:pt x="850" y="5165"/>
                      <a:pt x="850" y="5165"/>
                    </a:cubicBezTo>
                    <a:cubicBezTo>
                      <a:pt x="902" y="5069"/>
                      <a:pt x="902" y="5069"/>
                      <a:pt x="902" y="5069"/>
                    </a:cubicBezTo>
                    <a:cubicBezTo>
                      <a:pt x="863" y="5046"/>
                      <a:pt x="863" y="5046"/>
                      <a:pt x="863" y="5046"/>
                    </a:cubicBezTo>
                    <a:lnTo>
                      <a:pt x="810" y="5142"/>
                    </a:lnTo>
                    <a:close/>
                    <a:moveTo>
                      <a:pt x="739" y="5272"/>
                    </a:moveTo>
                    <a:cubicBezTo>
                      <a:pt x="779" y="5295"/>
                      <a:pt x="779" y="5295"/>
                      <a:pt x="779" y="5295"/>
                    </a:cubicBezTo>
                    <a:cubicBezTo>
                      <a:pt x="843" y="5177"/>
                      <a:pt x="843" y="5177"/>
                      <a:pt x="843" y="5177"/>
                    </a:cubicBezTo>
                    <a:cubicBezTo>
                      <a:pt x="804" y="5154"/>
                      <a:pt x="804" y="5154"/>
                      <a:pt x="804" y="5154"/>
                    </a:cubicBezTo>
                    <a:lnTo>
                      <a:pt x="739" y="5272"/>
                    </a:lnTo>
                    <a:close/>
                    <a:moveTo>
                      <a:pt x="680" y="5380"/>
                    </a:moveTo>
                    <a:cubicBezTo>
                      <a:pt x="720" y="5403"/>
                      <a:pt x="720" y="5403"/>
                      <a:pt x="720" y="5403"/>
                    </a:cubicBezTo>
                    <a:cubicBezTo>
                      <a:pt x="772" y="5307"/>
                      <a:pt x="772" y="5307"/>
                      <a:pt x="772" y="5307"/>
                    </a:cubicBezTo>
                    <a:cubicBezTo>
                      <a:pt x="733" y="5284"/>
                      <a:pt x="733" y="5284"/>
                      <a:pt x="733" y="5284"/>
                    </a:cubicBezTo>
                    <a:lnTo>
                      <a:pt x="680" y="5380"/>
                    </a:lnTo>
                    <a:close/>
                    <a:moveTo>
                      <a:pt x="616" y="5498"/>
                    </a:moveTo>
                    <a:cubicBezTo>
                      <a:pt x="656" y="5521"/>
                      <a:pt x="656" y="5521"/>
                      <a:pt x="656" y="5521"/>
                    </a:cubicBezTo>
                    <a:cubicBezTo>
                      <a:pt x="714" y="5415"/>
                      <a:pt x="714" y="5415"/>
                      <a:pt x="714" y="5415"/>
                    </a:cubicBezTo>
                    <a:cubicBezTo>
                      <a:pt x="674" y="5392"/>
                      <a:pt x="674" y="5392"/>
                      <a:pt x="674" y="5392"/>
                    </a:cubicBezTo>
                    <a:lnTo>
                      <a:pt x="616" y="5498"/>
                    </a:lnTo>
                    <a:close/>
                    <a:moveTo>
                      <a:pt x="558" y="5603"/>
                    </a:moveTo>
                    <a:cubicBezTo>
                      <a:pt x="599" y="5627"/>
                      <a:pt x="599" y="5627"/>
                      <a:pt x="599" y="5627"/>
                    </a:cubicBezTo>
                    <a:cubicBezTo>
                      <a:pt x="649" y="5534"/>
                      <a:pt x="649" y="5534"/>
                      <a:pt x="649" y="5534"/>
                    </a:cubicBezTo>
                    <a:cubicBezTo>
                      <a:pt x="609" y="5511"/>
                      <a:pt x="609" y="5511"/>
                      <a:pt x="609" y="5511"/>
                    </a:cubicBezTo>
                    <a:lnTo>
                      <a:pt x="558" y="5603"/>
                    </a:lnTo>
                    <a:close/>
                    <a:moveTo>
                      <a:pt x="493" y="5723"/>
                    </a:moveTo>
                    <a:cubicBezTo>
                      <a:pt x="534" y="5746"/>
                      <a:pt x="534" y="5746"/>
                      <a:pt x="534" y="5746"/>
                    </a:cubicBezTo>
                    <a:cubicBezTo>
                      <a:pt x="592" y="5639"/>
                      <a:pt x="592" y="5639"/>
                      <a:pt x="592" y="5639"/>
                    </a:cubicBezTo>
                    <a:cubicBezTo>
                      <a:pt x="551" y="5616"/>
                      <a:pt x="551" y="5616"/>
                      <a:pt x="551" y="5616"/>
                    </a:cubicBezTo>
                    <a:lnTo>
                      <a:pt x="493" y="5723"/>
                    </a:lnTo>
                    <a:close/>
                    <a:moveTo>
                      <a:pt x="429" y="5839"/>
                    </a:moveTo>
                    <a:cubicBezTo>
                      <a:pt x="470" y="5863"/>
                      <a:pt x="470" y="5863"/>
                      <a:pt x="470" y="5863"/>
                    </a:cubicBezTo>
                    <a:cubicBezTo>
                      <a:pt x="527" y="5758"/>
                      <a:pt x="527" y="5758"/>
                      <a:pt x="527" y="5758"/>
                    </a:cubicBezTo>
                    <a:cubicBezTo>
                      <a:pt x="486" y="5735"/>
                      <a:pt x="486" y="5735"/>
                      <a:pt x="486" y="5735"/>
                    </a:cubicBezTo>
                    <a:lnTo>
                      <a:pt x="429" y="5839"/>
                    </a:lnTo>
                    <a:close/>
                    <a:moveTo>
                      <a:pt x="370" y="5948"/>
                    </a:moveTo>
                    <a:cubicBezTo>
                      <a:pt x="411" y="5971"/>
                      <a:pt x="411" y="5971"/>
                      <a:pt x="411" y="5971"/>
                    </a:cubicBezTo>
                    <a:cubicBezTo>
                      <a:pt x="463" y="5875"/>
                      <a:pt x="463" y="5875"/>
                      <a:pt x="463" y="5875"/>
                    </a:cubicBezTo>
                    <a:cubicBezTo>
                      <a:pt x="423" y="5852"/>
                      <a:pt x="423" y="5852"/>
                      <a:pt x="423" y="5852"/>
                    </a:cubicBezTo>
                    <a:lnTo>
                      <a:pt x="370" y="5948"/>
                    </a:lnTo>
                    <a:close/>
                    <a:moveTo>
                      <a:pt x="312" y="6054"/>
                    </a:moveTo>
                    <a:cubicBezTo>
                      <a:pt x="847" y="6359"/>
                      <a:pt x="847" y="6359"/>
                      <a:pt x="847" y="6359"/>
                    </a:cubicBezTo>
                    <a:cubicBezTo>
                      <a:pt x="888" y="6259"/>
                      <a:pt x="888" y="6259"/>
                      <a:pt x="888" y="6259"/>
                    </a:cubicBezTo>
                    <a:cubicBezTo>
                      <a:pt x="541" y="6061"/>
                      <a:pt x="541" y="6061"/>
                      <a:pt x="541" y="6061"/>
                    </a:cubicBezTo>
                    <a:cubicBezTo>
                      <a:pt x="500" y="6136"/>
                      <a:pt x="500" y="6136"/>
                      <a:pt x="500" y="6136"/>
                    </a:cubicBezTo>
                    <a:cubicBezTo>
                      <a:pt x="362" y="6061"/>
                      <a:pt x="362" y="6061"/>
                      <a:pt x="362" y="6061"/>
                    </a:cubicBezTo>
                    <a:cubicBezTo>
                      <a:pt x="405" y="5983"/>
                      <a:pt x="405" y="5983"/>
                      <a:pt x="405" y="5983"/>
                    </a:cubicBezTo>
                    <a:cubicBezTo>
                      <a:pt x="364" y="5960"/>
                      <a:pt x="364" y="5960"/>
                      <a:pt x="364" y="5960"/>
                    </a:cubicBezTo>
                    <a:lnTo>
                      <a:pt x="312" y="6054"/>
                    </a:lnTo>
                    <a:close/>
                    <a:moveTo>
                      <a:pt x="702" y="6533"/>
                    </a:moveTo>
                    <a:cubicBezTo>
                      <a:pt x="775" y="6451"/>
                      <a:pt x="831" y="6388"/>
                      <a:pt x="838" y="6380"/>
                    </a:cubicBezTo>
                    <a:cubicBezTo>
                      <a:pt x="841" y="6372"/>
                      <a:pt x="841" y="6372"/>
                      <a:pt x="841" y="6372"/>
                    </a:cubicBezTo>
                    <a:cubicBezTo>
                      <a:pt x="306" y="6066"/>
                      <a:pt x="306" y="6066"/>
                      <a:pt x="306" y="6066"/>
                    </a:cubicBezTo>
                    <a:cubicBezTo>
                      <a:pt x="220" y="6222"/>
                      <a:pt x="220" y="6222"/>
                      <a:pt x="220" y="6222"/>
                    </a:cubicBezTo>
                    <a:cubicBezTo>
                      <a:pt x="357" y="6286"/>
                      <a:pt x="540" y="6399"/>
                      <a:pt x="702" y="6533"/>
                    </a:cubicBezTo>
                    <a:close/>
                    <a:moveTo>
                      <a:pt x="353" y="6937"/>
                    </a:moveTo>
                    <a:cubicBezTo>
                      <a:pt x="422" y="6991"/>
                      <a:pt x="836" y="7356"/>
                      <a:pt x="925" y="7434"/>
                    </a:cubicBezTo>
                    <a:cubicBezTo>
                      <a:pt x="1009" y="7231"/>
                      <a:pt x="1009" y="7231"/>
                      <a:pt x="1009" y="7231"/>
                    </a:cubicBezTo>
                    <a:cubicBezTo>
                      <a:pt x="1069" y="7069"/>
                      <a:pt x="1069" y="7069"/>
                      <a:pt x="1069" y="7069"/>
                    </a:cubicBezTo>
                    <a:cubicBezTo>
                      <a:pt x="1065" y="7063"/>
                      <a:pt x="1061" y="7054"/>
                      <a:pt x="1055" y="7043"/>
                    </a:cubicBezTo>
                    <a:cubicBezTo>
                      <a:pt x="1012" y="6970"/>
                      <a:pt x="906" y="6804"/>
                      <a:pt x="745" y="6657"/>
                    </a:cubicBezTo>
                    <a:cubicBezTo>
                      <a:pt x="721" y="6634"/>
                      <a:pt x="695" y="6612"/>
                      <a:pt x="669" y="6590"/>
                    </a:cubicBezTo>
                    <a:cubicBezTo>
                      <a:pt x="646" y="6616"/>
                      <a:pt x="622" y="6643"/>
                      <a:pt x="598" y="6670"/>
                    </a:cubicBezTo>
                    <a:cubicBezTo>
                      <a:pt x="534" y="6741"/>
                      <a:pt x="471" y="6811"/>
                      <a:pt x="422" y="6864"/>
                    </a:cubicBezTo>
                    <a:cubicBezTo>
                      <a:pt x="397" y="6890"/>
                      <a:pt x="377" y="6912"/>
                      <a:pt x="362" y="6928"/>
                    </a:cubicBezTo>
                    <a:cubicBezTo>
                      <a:pt x="358" y="6931"/>
                      <a:pt x="356" y="6934"/>
                      <a:pt x="353" y="6937"/>
                    </a:cubicBezTo>
                    <a:close/>
                    <a:moveTo>
                      <a:pt x="358" y="7464"/>
                    </a:moveTo>
                    <a:cubicBezTo>
                      <a:pt x="383" y="7438"/>
                      <a:pt x="432" y="7387"/>
                      <a:pt x="481" y="7336"/>
                    </a:cubicBezTo>
                    <a:cubicBezTo>
                      <a:pt x="517" y="7300"/>
                      <a:pt x="553" y="7263"/>
                      <a:pt x="580" y="7236"/>
                    </a:cubicBezTo>
                    <a:cubicBezTo>
                      <a:pt x="594" y="7222"/>
                      <a:pt x="606" y="7211"/>
                      <a:pt x="615" y="7203"/>
                    </a:cubicBezTo>
                    <a:cubicBezTo>
                      <a:pt x="619" y="7199"/>
                      <a:pt x="622" y="7195"/>
                      <a:pt x="625" y="7193"/>
                    </a:cubicBezTo>
                    <a:cubicBezTo>
                      <a:pt x="626" y="7193"/>
                      <a:pt x="627" y="7192"/>
                      <a:pt x="627" y="7192"/>
                    </a:cubicBezTo>
                    <a:cubicBezTo>
                      <a:pt x="556" y="7130"/>
                      <a:pt x="486" y="7068"/>
                      <a:pt x="432" y="7022"/>
                    </a:cubicBezTo>
                    <a:cubicBezTo>
                      <a:pt x="404" y="6998"/>
                      <a:pt x="380" y="6977"/>
                      <a:pt x="363" y="6963"/>
                    </a:cubicBezTo>
                    <a:cubicBezTo>
                      <a:pt x="355" y="6956"/>
                      <a:pt x="348" y="6951"/>
                      <a:pt x="343" y="6947"/>
                    </a:cubicBezTo>
                    <a:cubicBezTo>
                      <a:pt x="343" y="6947"/>
                      <a:pt x="343" y="6947"/>
                      <a:pt x="343" y="6947"/>
                    </a:cubicBezTo>
                    <a:cubicBezTo>
                      <a:pt x="341" y="6948"/>
                      <a:pt x="339" y="6950"/>
                      <a:pt x="337" y="6951"/>
                    </a:cubicBezTo>
                    <a:cubicBezTo>
                      <a:pt x="336" y="6952"/>
                      <a:pt x="336" y="6953"/>
                      <a:pt x="333" y="6954"/>
                    </a:cubicBezTo>
                    <a:cubicBezTo>
                      <a:pt x="329" y="6958"/>
                      <a:pt x="318" y="6980"/>
                      <a:pt x="306" y="7008"/>
                    </a:cubicBezTo>
                    <a:cubicBezTo>
                      <a:pt x="286" y="7053"/>
                      <a:pt x="259" y="7118"/>
                      <a:pt x="236" y="7171"/>
                    </a:cubicBezTo>
                    <a:cubicBezTo>
                      <a:pt x="225" y="7198"/>
                      <a:pt x="215" y="7221"/>
                      <a:pt x="207" y="7238"/>
                    </a:cubicBezTo>
                    <a:cubicBezTo>
                      <a:pt x="205" y="7242"/>
                      <a:pt x="204" y="7245"/>
                      <a:pt x="202" y="7248"/>
                    </a:cubicBezTo>
                    <a:lnTo>
                      <a:pt x="358" y="7464"/>
                    </a:lnTo>
                    <a:close/>
                    <a:moveTo>
                      <a:pt x="250" y="8206"/>
                    </a:moveTo>
                    <a:cubicBezTo>
                      <a:pt x="251" y="8205"/>
                      <a:pt x="251" y="8205"/>
                      <a:pt x="251" y="8205"/>
                    </a:cubicBezTo>
                    <a:cubicBezTo>
                      <a:pt x="582" y="7853"/>
                      <a:pt x="582" y="7853"/>
                      <a:pt x="582" y="7853"/>
                    </a:cubicBezTo>
                    <a:cubicBezTo>
                      <a:pt x="341" y="7518"/>
                      <a:pt x="341" y="7518"/>
                      <a:pt x="341" y="7518"/>
                    </a:cubicBezTo>
                    <a:cubicBezTo>
                      <a:pt x="330" y="7549"/>
                      <a:pt x="310" y="7600"/>
                      <a:pt x="290" y="7652"/>
                    </a:cubicBezTo>
                    <a:cubicBezTo>
                      <a:pt x="274" y="7693"/>
                      <a:pt x="258" y="7733"/>
                      <a:pt x="246" y="7764"/>
                    </a:cubicBezTo>
                    <a:cubicBezTo>
                      <a:pt x="239" y="7779"/>
                      <a:pt x="234" y="7792"/>
                      <a:pt x="230" y="7801"/>
                    </a:cubicBezTo>
                    <a:cubicBezTo>
                      <a:pt x="227" y="7806"/>
                      <a:pt x="226" y="7809"/>
                      <a:pt x="224" y="7812"/>
                    </a:cubicBezTo>
                    <a:cubicBezTo>
                      <a:pt x="223" y="7813"/>
                      <a:pt x="223" y="7814"/>
                      <a:pt x="222" y="7815"/>
                    </a:cubicBezTo>
                    <a:cubicBezTo>
                      <a:pt x="221" y="7816"/>
                      <a:pt x="221" y="7818"/>
                      <a:pt x="215" y="7819"/>
                    </a:cubicBezTo>
                    <a:cubicBezTo>
                      <a:pt x="206" y="7819"/>
                      <a:pt x="144" y="7811"/>
                      <a:pt x="129" y="7810"/>
                    </a:cubicBezTo>
                    <a:cubicBezTo>
                      <a:pt x="126" y="7815"/>
                      <a:pt x="117" y="7831"/>
                      <a:pt x="106" y="7852"/>
                    </a:cubicBezTo>
                    <a:cubicBezTo>
                      <a:pt x="78" y="7908"/>
                      <a:pt x="35" y="7999"/>
                      <a:pt x="17" y="8037"/>
                    </a:cubicBezTo>
                    <a:cubicBezTo>
                      <a:pt x="33" y="8047"/>
                      <a:pt x="49" y="8056"/>
                      <a:pt x="65" y="8066"/>
                    </a:cubicBezTo>
                    <a:cubicBezTo>
                      <a:pt x="152" y="8123"/>
                      <a:pt x="220" y="8179"/>
                      <a:pt x="250" y="8206"/>
                    </a:cubicBezTo>
                    <a:close/>
                    <a:moveTo>
                      <a:pt x="329" y="8627"/>
                    </a:moveTo>
                    <a:cubicBezTo>
                      <a:pt x="699" y="8319"/>
                      <a:pt x="699" y="8319"/>
                      <a:pt x="699" y="8319"/>
                    </a:cubicBezTo>
                    <a:cubicBezTo>
                      <a:pt x="479" y="8057"/>
                      <a:pt x="479" y="8057"/>
                      <a:pt x="479" y="8057"/>
                    </a:cubicBezTo>
                    <a:cubicBezTo>
                      <a:pt x="299" y="8250"/>
                      <a:pt x="299" y="8250"/>
                      <a:pt x="299" y="8250"/>
                    </a:cubicBezTo>
                    <a:cubicBezTo>
                      <a:pt x="268" y="8281"/>
                      <a:pt x="227" y="8329"/>
                      <a:pt x="164" y="8378"/>
                    </a:cubicBezTo>
                    <a:cubicBezTo>
                      <a:pt x="242" y="8461"/>
                      <a:pt x="242" y="8461"/>
                      <a:pt x="242" y="8461"/>
                    </a:cubicBezTo>
                    <a:cubicBezTo>
                      <a:pt x="199" y="8507"/>
                      <a:pt x="199" y="8507"/>
                      <a:pt x="199" y="8507"/>
                    </a:cubicBezTo>
                    <a:cubicBezTo>
                      <a:pt x="205" y="8501"/>
                      <a:pt x="205" y="8501"/>
                      <a:pt x="205" y="8501"/>
                    </a:cubicBezTo>
                    <a:lnTo>
                      <a:pt x="329" y="8627"/>
                    </a:lnTo>
                    <a:close/>
                    <a:moveTo>
                      <a:pt x="341" y="9012"/>
                    </a:moveTo>
                    <a:cubicBezTo>
                      <a:pt x="536" y="8917"/>
                      <a:pt x="536" y="8917"/>
                      <a:pt x="536" y="8917"/>
                    </a:cubicBezTo>
                    <a:cubicBezTo>
                      <a:pt x="536" y="8897"/>
                      <a:pt x="533" y="8823"/>
                      <a:pt x="533" y="8797"/>
                    </a:cubicBezTo>
                    <a:cubicBezTo>
                      <a:pt x="533" y="8795"/>
                      <a:pt x="533" y="8793"/>
                      <a:pt x="533" y="8791"/>
                    </a:cubicBezTo>
                    <a:cubicBezTo>
                      <a:pt x="534" y="8789"/>
                      <a:pt x="533" y="8789"/>
                      <a:pt x="534" y="8786"/>
                    </a:cubicBezTo>
                    <a:cubicBezTo>
                      <a:pt x="505" y="8760"/>
                      <a:pt x="435" y="8690"/>
                      <a:pt x="398" y="8654"/>
                    </a:cubicBezTo>
                    <a:cubicBezTo>
                      <a:pt x="155" y="8857"/>
                      <a:pt x="155" y="8857"/>
                      <a:pt x="155" y="8857"/>
                    </a:cubicBezTo>
                    <a:lnTo>
                      <a:pt x="341" y="9012"/>
                    </a:lnTo>
                    <a:close/>
                    <a:moveTo>
                      <a:pt x="257" y="9240"/>
                    </a:moveTo>
                    <a:cubicBezTo>
                      <a:pt x="277" y="9232"/>
                      <a:pt x="303" y="9223"/>
                      <a:pt x="340" y="9221"/>
                    </a:cubicBezTo>
                    <a:cubicBezTo>
                      <a:pt x="342" y="9221"/>
                      <a:pt x="345" y="9221"/>
                      <a:pt x="347" y="9221"/>
                    </a:cubicBezTo>
                    <a:cubicBezTo>
                      <a:pt x="408" y="9222"/>
                      <a:pt x="479" y="9254"/>
                      <a:pt x="519" y="9267"/>
                    </a:cubicBezTo>
                    <a:cubicBezTo>
                      <a:pt x="527" y="9236"/>
                      <a:pt x="539" y="9192"/>
                      <a:pt x="552" y="9148"/>
                    </a:cubicBezTo>
                    <a:cubicBezTo>
                      <a:pt x="563" y="9107"/>
                      <a:pt x="574" y="9067"/>
                      <a:pt x="582" y="9036"/>
                    </a:cubicBezTo>
                    <a:cubicBezTo>
                      <a:pt x="586" y="9021"/>
                      <a:pt x="590" y="9008"/>
                      <a:pt x="592" y="8999"/>
                    </a:cubicBezTo>
                    <a:cubicBezTo>
                      <a:pt x="593" y="8994"/>
                      <a:pt x="594" y="8990"/>
                      <a:pt x="595" y="8988"/>
                    </a:cubicBezTo>
                    <a:cubicBezTo>
                      <a:pt x="595" y="8987"/>
                      <a:pt x="595" y="8986"/>
                      <a:pt x="595" y="8985"/>
                    </a:cubicBezTo>
                    <a:cubicBezTo>
                      <a:pt x="596" y="8985"/>
                      <a:pt x="596" y="8984"/>
                      <a:pt x="596" y="8984"/>
                    </a:cubicBezTo>
                    <a:cubicBezTo>
                      <a:pt x="599" y="8985"/>
                      <a:pt x="599" y="8985"/>
                      <a:pt x="599" y="8985"/>
                    </a:cubicBezTo>
                    <a:cubicBezTo>
                      <a:pt x="572" y="8960"/>
                      <a:pt x="551" y="8940"/>
                      <a:pt x="543" y="8932"/>
                    </a:cubicBezTo>
                    <a:cubicBezTo>
                      <a:pt x="345" y="9028"/>
                      <a:pt x="345" y="9028"/>
                      <a:pt x="345" y="9028"/>
                    </a:cubicBezTo>
                    <a:lnTo>
                      <a:pt x="257" y="9240"/>
                    </a:lnTo>
                    <a:close/>
                    <a:moveTo>
                      <a:pt x="272" y="9774"/>
                    </a:moveTo>
                    <a:cubicBezTo>
                      <a:pt x="138" y="9523"/>
                      <a:pt x="138" y="9523"/>
                      <a:pt x="138" y="9523"/>
                    </a:cubicBezTo>
                    <a:cubicBezTo>
                      <a:pt x="47" y="9547"/>
                      <a:pt x="47" y="9547"/>
                      <a:pt x="47" y="9547"/>
                    </a:cubicBezTo>
                    <a:cubicBezTo>
                      <a:pt x="45" y="9560"/>
                      <a:pt x="39" y="9594"/>
                      <a:pt x="32" y="9629"/>
                    </a:cubicBezTo>
                    <a:cubicBezTo>
                      <a:pt x="25" y="9669"/>
                      <a:pt x="17" y="9713"/>
                      <a:pt x="16" y="9726"/>
                    </a:cubicBezTo>
                    <a:cubicBezTo>
                      <a:pt x="27" y="9734"/>
                      <a:pt x="57" y="9763"/>
                      <a:pt x="87" y="9791"/>
                    </a:cubicBezTo>
                    <a:cubicBezTo>
                      <a:pt x="102" y="9806"/>
                      <a:pt x="117" y="9819"/>
                      <a:pt x="129" y="9830"/>
                    </a:cubicBezTo>
                    <a:cubicBezTo>
                      <a:pt x="134" y="9835"/>
                      <a:pt x="139" y="9839"/>
                      <a:pt x="142" y="9842"/>
                    </a:cubicBezTo>
                    <a:cubicBezTo>
                      <a:pt x="143" y="9843"/>
                      <a:pt x="144" y="9844"/>
                      <a:pt x="144" y="9844"/>
                    </a:cubicBezTo>
                    <a:cubicBezTo>
                      <a:pt x="155" y="9840"/>
                      <a:pt x="186" y="9822"/>
                      <a:pt x="215" y="9806"/>
                    </a:cubicBezTo>
                    <a:cubicBezTo>
                      <a:pt x="238" y="9793"/>
                      <a:pt x="261" y="9780"/>
                      <a:pt x="272" y="9774"/>
                    </a:cubicBezTo>
                    <a:close/>
                    <a:moveTo>
                      <a:pt x="429" y="9921"/>
                    </a:moveTo>
                    <a:cubicBezTo>
                      <a:pt x="434" y="9919"/>
                      <a:pt x="438" y="9917"/>
                      <a:pt x="440" y="9916"/>
                    </a:cubicBezTo>
                    <a:cubicBezTo>
                      <a:pt x="560" y="9852"/>
                      <a:pt x="560" y="9852"/>
                      <a:pt x="560" y="9852"/>
                    </a:cubicBezTo>
                    <a:cubicBezTo>
                      <a:pt x="549" y="9822"/>
                      <a:pt x="527" y="9759"/>
                      <a:pt x="504" y="9695"/>
                    </a:cubicBezTo>
                    <a:cubicBezTo>
                      <a:pt x="488" y="9651"/>
                      <a:pt x="473" y="9607"/>
                      <a:pt x="461" y="9573"/>
                    </a:cubicBezTo>
                    <a:cubicBezTo>
                      <a:pt x="455" y="9556"/>
                      <a:pt x="450" y="9542"/>
                      <a:pt x="447" y="9531"/>
                    </a:cubicBezTo>
                    <a:cubicBezTo>
                      <a:pt x="443" y="9520"/>
                      <a:pt x="441" y="9516"/>
                      <a:pt x="441" y="9511"/>
                    </a:cubicBezTo>
                    <a:cubicBezTo>
                      <a:pt x="441" y="9511"/>
                      <a:pt x="441" y="9511"/>
                      <a:pt x="441" y="9511"/>
                    </a:cubicBezTo>
                    <a:cubicBezTo>
                      <a:pt x="441" y="9510"/>
                      <a:pt x="441" y="9510"/>
                      <a:pt x="441" y="9510"/>
                    </a:cubicBezTo>
                    <a:cubicBezTo>
                      <a:pt x="441" y="9508"/>
                      <a:pt x="441" y="9508"/>
                      <a:pt x="441" y="9508"/>
                    </a:cubicBezTo>
                    <a:cubicBezTo>
                      <a:pt x="442" y="9505"/>
                      <a:pt x="482" y="9385"/>
                      <a:pt x="499" y="9333"/>
                    </a:cubicBezTo>
                    <a:cubicBezTo>
                      <a:pt x="456" y="9318"/>
                      <a:pt x="385" y="9289"/>
                      <a:pt x="347" y="9290"/>
                    </a:cubicBezTo>
                    <a:cubicBezTo>
                      <a:pt x="346" y="9290"/>
                      <a:pt x="345" y="9290"/>
                      <a:pt x="344" y="9290"/>
                    </a:cubicBezTo>
                    <a:cubicBezTo>
                      <a:pt x="298" y="9292"/>
                      <a:pt x="281" y="9305"/>
                      <a:pt x="249" y="9317"/>
                    </a:cubicBezTo>
                    <a:cubicBezTo>
                      <a:pt x="240" y="9320"/>
                      <a:pt x="201" y="9337"/>
                      <a:pt x="168" y="9352"/>
                    </a:cubicBezTo>
                    <a:cubicBezTo>
                      <a:pt x="154" y="9359"/>
                      <a:pt x="141" y="9365"/>
                      <a:pt x="130" y="9370"/>
                    </a:cubicBezTo>
                    <a:lnTo>
                      <a:pt x="429" y="9921"/>
                    </a:lnTo>
                    <a:close/>
                    <a:moveTo>
                      <a:pt x="471" y="10086"/>
                    </a:moveTo>
                    <a:cubicBezTo>
                      <a:pt x="470" y="10085"/>
                      <a:pt x="470" y="10084"/>
                      <a:pt x="469" y="10083"/>
                    </a:cubicBezTo>
                    <a:cubicBezTo>
                      <a:pt x="468" y="10083"/>
                      <a:pt x="468" y="10082"/>
                      <a:pt x="467" y="10082"/>
                    </a:cubicBezTo>
                    <a:cubicBezTo>
                      <a:pt x="467" y="10081"/>
                      <a:pt x="467" y="10081"/>
                      <a:pt x="466" y="10079"/>
                    </a:cubicBezTo>
                    <a:cubicBezTo>
                      <a:pt x="466" y="10079"/>
                      <a:pt x="465" y="10078"/>
                      <a:pt x="465" y="10077"/>
                    </a:cubicBezTo>
                    <a:cubicBezTo>
                      <a:pt x="461" y="10080"/>
                      <a:pt x="458" y="10082"/>
                      <a:pt x="455" y="10084"/>
                    </a:cubicBezTo>
                    <a:cubicBezTo>
                      <a:pt x="463" y="10086"/>
                      <a:pt x="469" y="10088"/>
                      <a:pt x="474" y="10089"/>
                    </a:cubicBezTo>
                    <a:cubicBezTo>
                      <a:pt x="473" y="10088"/>
                      <a:pt x="472" y="10087"/>
                      <a:pt x="471" y="10086"/>
                    </a:cubicBezTo>
                    <a:close/>
                    <a:moveTo>
                      <a:pt x="570" y="10201"/>
                    </a:moveTo>
                    <a:cubicBezTo>
                      <a:pt x="544" y="10171"/>
                      <a:pt x="522" y="10146"/>
                      <a:pt x="505" y="10126"/>
                    </a:cubicBezTo>
                    <a:cubicBezTo>
                      <a:pt x="498" y="10118"/>
                      <a:pt x="492" y="10111"/>
                      <a:pt x="487" y="10105"/>
                    </a:cubicBezTo>
                    <a:cubicBezTo>
                      <a:pt x="486" y="10105"/>
                      <a:pt x="485" y="10106"/>
                      <a:pt x="483" y="10107"/>
                    </a:cubicBezTo>
                    <a:cubicBezTo>
                      <a:pt x="480" y="10108"/>
                      <a:pt x="480" y="10108"/>
                      <a:pt x="480" y="10108"/>
                    </a:cubicBezTo>
                    <a:cubicBezTo>
                      <a:pt x="477" y="10107"/>
                      <a:pt x="477" y="10107"/>
                      <a:pt x="477" y="10107"/>
                    </a:cubicBezTo>
                    <a:cubicBezTo>
                      <a:pt x="473" y="10106"/>
                      <a:pt x="459" y="10102"/>
                      <a:pt x="439" y="10097"/>
                    </a:cubicBezTo>
                    <a:cubicBezTo>
                      <a:pt x="437" y="10099"/>
                      <a:pt x="435" y="10100"/>
                      <a:pt x="434" y="10102"/>
                    </a:cubicBezTo>
                    <a:cubicBezTo>
                      <a:pt x="425" y="10111"/>
                      <a:pt x="342" y="10201"/>
                      <a:pt x="238" y="10312"/>
                    </a:cubicBezTo>
                    <a:cubicBezTo>
                      <a:pt x="260" y="10310"/>
                      <a:pt x="281" y="10307"/>
                      <a:pt x="300" y="10304"/>
                    </a:cubicBezTo>
                    <a:cubicBezTo>
                      <a:pt x="386" y="10289"/>
                      <a:pt x="386" y="10289"/>
                      <a:pt x="386" y="10289"/>
                    </a:cubicBezTo>
                    <a:cubicBezTo>
                      <a:pt x="387" y="10289"/>
                      <a:pt x="387" y="10289"/>
                      <a:pt x="387" y="10289"/>
                    </a:cubicBezTo>
                    <a:cubicBezTo>
                      <a:pt x="390" y="10289"/>
                      <a:pt x="413" y="10283"/>
                      <a:pt x="432" y="10277"/>
                    </a:cubicBezTo>
                    <a:cubicBezTo>
                      <a:pt x="449" y="10272"/>
                      <a:pt x="464" y="10267"/>
                      <a:pt x="469" y="10266"/>
                    </a:cubicBezTo>
                    <a:cubicBezTo>
                      <a:pt x="505" y="10242"/>
                      <a:pt x="534" y="10223"/>
                      <a:pt x="570" y="10201"/>
                    </a:cubicBezTo>
                    <a:close/>
                    <a:moveTo>
                      <a:pt x="2083" y="9378"/>
                    </a:moveTo>
                    <a:cubicBezTo>
                      <a:pt x="2105" y="9357"/>
                      <a:pt x="2105" y="9357"/>
                      <a:pt x="2105" y="9357"/>
                    </a:cubicBezTo>
                    <a:cubicBezTo>
                      <a:pt x="2106" y="9357"/>
                      <a:pt x="2106" y="9357"/>
                      <a:pt x="2106" y="9357"/>
                    </a:cubicBezTo>
                    <a:cubicBezTo>
                      <a:pt x="2139" y="9338"/>
                      <a:pt x="2173" y="9320"/>
                      <a:pt x="2207" y="9302"/>
                    </a:cubicBezTo>
                    <a:cubicBezTo>
                      <a:pt x="2207" y="9300"/>
                      <a:pt x="2207" y="9299"/>
                      <a:pt x="2207" y="9299"/>
                    </a:cubicBezTo>
                    <a:cubicBezTo>
                      <a:pt x="2211" y="9300"/>
                      <a:pt x="2211" y="9300"/>
                      <a:pt x="2211" y="9300"/>
                    </a:cubicBezTo>
                    <a:cubicBezTo>
                      <a:pt x="2277" y="9264"/>
                      <a:pt x="2343" y="9229"/>
                      <a:pt x="2409" y="9194"/>
                    </a:cubicBezTo>
                    <a:cubicBezTo>
                      <a:pt x="2404" y="9182"/>
                      <a:pt x="2404" y="9182"/>
                      <a:pt x="2404" y="9182"/>
                    </a:cubicBezTo>
                    <a:cubicBezTo>
                      <a:pt x="2417" y="9177"/>
                      <a:pt x="2417" y="9177"/>
                      <a:pt x="2417" y="9177"/>
                    </a:cubicBezTo>
                    <a:cubicBezTo>
                      <a:pt x="2421" y="9187"/>
                      <a:pt x="2421" y="9187"/>
                      <a:pt x="2421" y="9187"/>
                    </a:cubicBezTo>
                    <a:cubicBezTo>
                      <a:pt x="2492" y="9149"/>
                      <a:pt x="2563" y="9111"/>
                      <a:pt x="2632" y="9074"/>
                    </a:cubicBezTo>
                    <a:cubicBezTo>
                      <a:pt x="2624" y="9063"/>
                      <a:pt x="2624" y="9063"/>
                      <a:pt x="2624" y="9063"/>
                    </a:cubicBezTo>
                    <a:cubicBezTo>
                      <a:pt x="2635" y="9054"/>
                      <a:pt x="2635" y="9054"/>
                      <a:pt x="2635" y="9054"/>
                    </a:cubicBezTo>
                    <a:cubicBezTo>
                      <a:pt x="2645" y="9067"/>
                      <a:pt x="2645" y="9067"/>
                      <a:pt x="2645" y="9067"/>
                    </a:cubicBezTo>
                    <a:cubicBezTo>
                      <a:pt x="2793" y="8988"/>
                      <a:pt x="2937" y="8911"/>
                      <a:pt x="3071" y="8840"/>
                    </a:cubicBezTo>
                    <a:cubicBezTo>
                      <a:pt x="3070" y="8838"/>
                      <a:pt x="3070" y="8838"/>
                      <a:pt x="3070" y="8838"/>
                    </a:cubicBezTo>
                    <a:cubicBezTo>
                      <a:pt x="3083" y="8832"/>
                      <a:pt x="3083" y="8832"/>
                      <a:pt x="3083" y="8832"/>
                    </a:cubicBezTo>
                    <a:cubicBezTo>
                      <a:pt x="3084" y="8834"/>
                      <a:pt x="3084" y="8834"/>
                      <a:pt x="3084" y="8834"/>
                    </a:cubicBezTo>
                    <a:cubicBezTo>
                      <a:pt x="3407" y="8662"/>
                      <a:pt x="3670" y="8524"/>
                      <a:pt x="3797" y="8460"/>
                    </a:cubicBezTo>
                    <a:cubicBezTo>
                      <a:pt x="3750" y="8346"/>
                      <a:pt x="3750" y="8346"/>
                      <a:pt x="3750" y="8346"/>
                    </a:cubicBezTo>
                    <a:cubicBezTo>
                      <a:pt x="3539" y="8455"/>
                      <a:pt x="2906" y="8805"/>
                      <a:pt x="2275" y="9145"/>
                    </a:cubicBezTo>
                    <a:cubicBezTo>
                      <a:pt x="1446" y="9592"/>
                      <a:pt x="609" y="10035"/>
                      <a:pt x="608" y="10035"/>
                    </a:cubicBezTo>
                    <a:cubicBezTo>
                      <a:pt x="608" y="10036"/>
                      <a:pt x="608" y="10036"/>
                      <a:pt x="608" y="10036"/>
                    </a:cubicBezTo>
                    <a:cubicBezTo>
                      <a:pt x="607" y="10036"/>
                      <a:pt x="607" y="10036"/>
                      <a:pt x="607" y="10036"/>
                    </a:cubicBezTo>
                    <a:cubicBezTo>
                      <a:pt x="600" y="10040"/>
                      <a:pt x="599" y="10041"/>
                      <a:pt x="548" y="10070"/>
                    </a:cubicBezTo>
                    <a:cubicBezTo>
                      <a:pt x="566" y="10092"/>
                      <a:pt x="595" y="10125"/>
                      <a:pt x="630" y="10165"/>
                    </a:cubicBezTo>
                    <a:cubicBezTo>
                      <a:pt x="650" y="10153"/>
                      <a:pt x="664" y="10145"/>
                      <a:pt x="668" y="10143"/>
                    </a:cubicBezTo>
                    <a:cubicBezTo>
                      <a:pt x="682" y="10135"/>
                      <a:pt x="852" y="10043"/>
                      <a:pt x="1106" y="9905"/>
                    </a:cubicBezTo>
                    <a:cubicBezTo>
                      <a:pt x="1142" y="9886"/>
                      <a:pt x="1181" y="9865"/>
                      <a:pt x="1220" y="9844"/>
                    </a:cubicBezTo>
                    <a:cubicBezTo>
                      <a:pt x="1219" y="9844"/>
                      <a:pt x="1219" y="9843"/>
                      <a:pt x="1219" y="9843"/>
                    </a:cubicBezTo>
                    <a:cubicBezTo>
                      <a:pt x="1218" y="9842"/>
                      <a:pt x="1218" y="9842"/>
                      <a:pt x="1217" y="9841"/>
                    </a:cubicBezTo>
                    <a:cubicBezTo>
                      <a:pt x="1217" y="9840"/>
                      <a:pt x="1216" y="9842"/>
                      <a:pt x="1215" y="9836"/>
                    </a:cubicBezTo>
                    <a:cubicBezTo>
                      <a:pt x="1215" y="9833"/>
                      <a:pt x="1217" y="9829"/>
                      <a:pt x="1219" y="9828"/>
                    </a:cubicBezTo>
                    <a:cubicBezTo>
                      <a:pt x="1220" y="9828"/>
                      <a:pt x="1221" y="9827"/>
                      <a:pt x="1222" y="9827"/>
                    </a:cubicBezTo>
                    <a:cubicBezTo>
                      <a:pt x="1223" y="9827"/>
                      <a:pt x="1223" y="9827"/>
                      <a:pt x="1223" y="9827"/>
                    </a:cubicBezTo>
                    <a:cubicBezTo>
                      <a:pt x="1223" y="9827"/>
                      <a:pt x="1223" y="9827"/>
                      <a:pt x="1223" y="9827"/>
                    </a:cubicBezTo>
                    <a:cubicBezTo>
                      <a:pt x="1223" y="9827"/>
                      <a:pt x="1223" y="9827"/>
                      <a:pt x="1223" y="9827"/>
                    </a:cubicBezTo>
                    <a:cubicBezTo>
                      <a:pt x="1223" y="9827"/>
                      <a:pt x="1223" y="9827"/>
                      <a:pt x="1223" y="9827"/>
                    </a:cubicBezTo>
                    <a:cubicBezTo>
                      <a:pt x="1223" y="9827"/>
                      <a:pt x="1223" y="9827"/>
                      <a:pt x="1223" y="9827"/>
                    </a:cubicBezTo>
                    <a:cubicBezTo>
                      <a:pt x="1224" y="9827"/>
                      <a:pt x="1225" y="9827"/>
                      <a:pt x="1226" y="9828"/>
                    </a:cubicBezTo>
                    <a:cubicBezTo>
                      <a:pt x="1227" y="9828"/>
                      <a:pt x="1228" y="9828"/>
                      <a:pt x="1228" y="9829"/>
                    </a:cubicBezTo>
                    <a:cubicBezTo>
                      <a:pt x="1229" y="9829"/>
                      <a:pt x="1229" y="9829"/>
                      <a:pt x="1229" y="9830"/>
                    </a:cubicBezTo>
                    <a:cubicBezTo>
                      <a:pt x="1229" y="9830"/>
                      <a:pt x="1230" y="9830"/>
                      <a:pt x="1230" y="9831"/>
                    </a:cubicBezTo>
                    <a:cubicBezTo>
                      <a:pt x="1230" y="9831"/>
                      <a:pt x="1230" y="9831"/>
                      <a:pt x="1230" y="9832"/>
                    </a:cubicBezTo>
                    <a:cubicBezTo>
                      <a:pt x="1231" y="9833"/>
                      <a:pt x="1233" y="9834"/>
                      <a:pt x="1235" y="9836"/>
                    </a:cubicBezTo>
                    <a:cubicBezTo>
                      <a:pt x="1478" y="9704"/>
                      <a:pt x="1770" y="9547"/>
                      <a:pt x="2083" y="9378"/>
                    </a:cubicBezTo>
                    <a:close/>
                    <a:moveTo>
                      <a:pt x="1622" y="10148"/>
                    </a:moveTo>
                    <a:cubicBezTo>
                      <a:pt x="2005" y="9986"/>
                      <a:pt x="2005" y="9986"/>
                      <a:pt x="2005" y="9986"/>
                    </a:cubicBezTo>
                    <a:cubicBezTo>
                      <a:pt x="2016" y="9999"/>
                      <a:pt x="2016" y="9999"/>
                      <a:pt x="2016" y="9999"/>
                    </a:cubicBezTo>
                    <a:cubicBezTo>
                      <a:pt x="2016" y="9999"/>
                      <a:pt x="2020" y="10003"/>
                      <a:pt x="2027" y="10011"/>
                    </a:cubicBezTo>
                    <a:cubicBezTo>
                      <a:pt x="2044" y="10029"/>
                      <a:pt x="2081" y="10064"/>
                      <a:pt x="2122" y="10089"/>
                    </a:cubicBezTo>
                    <a:cubicBezTo>
                      <a:pt x="2129" y="10043"/>
                      <a:pt x="2149" y="9862"/>
                      <a:pt x="2167" y="9686"/>
                    </a:cubicBezTo>
                    <a:cubicBezTo>
                      <a:pt x="2183" y="9530"/>
                      <a:pt x="2199" y="9378"/>
                      <a:pt x="2205" y="9322"/>
                    </a:cubicBezTo>
                    <a:cubicBezTo>
                      <a:pt x="2175" y="9338"/>
                      <a:pt x="2145" y="9354"/>
                      <a:pt x="2115" y="9370"/>
                    </a:cubicBezTo>
                    <a:cubicBezTo>
                      <a:pt x="2093" y="9391"/>
                      <a:pt x="2093" y="9391"/>
                      <a:pt x="2093" y="9391"/>
                    </a:cubicBezTo>
                    <a:cubicBezTo>
                      <a:pt x="2092" y="9392"/>
                      <a:pt x="2092" y="9392"/>
                      <a:pt x="2092" y="9392"/>
                    </a:cubicBezTo>
                    <a:cubicBezTo>
                      <a:pt x="1780" y="9560"/>
                      <a:pt x="1490" y="9716"/>
                      <a:pt x="1248" y="9847"/>
                    </a:cubicBezTo>
                    <a:cubicBezTo>
                      <a:pt x="1261" y="9859"/>
                      <a:pt x="1280" y="9875"/>
                      <a:pt x="1298" y="9890"/>
                    </a:cubicBezTo>
                    <a:cubicBezTo>
                      <a:pt x="1323" y="9912"/>
                      <a:pt x="1348" y="9932"/>
                      <a:pt x="1357" y="9940"/>
                    </a:cubicBezTo>
                    <a:cubicBezTo>
                      <a:pt x="1365" y="9930"/>
                      <a:pt x="1365" y="9930"/>
                      <a:pt x="1365" y="9930"/>
                    </a:cubicBezTo>
                    <a:lnTo>
                      <a:pt x="1622" y="10148"/>
                    </a:lnTo>
                    <a:close/>
                    <a:moveTo>
                      <a:pt x="2121" y="10503"/>
                    </a:moveTo>
                    <a:cubicBezTo>
                      <a:pt x="2117" y="10502"/>
                      <a:pt x="2113" y="10501"/>
                      <a:pt x="2107" y="10501"/>
                    </a:cubicBezTo>
                    <a:cubicBezTo>
                      <a:pt x="2078" y="10501"/>
                      <a:pt x="2027" y="10525"/>
                      <a:pt x="1977" y="10581"/>
                    </a:cubicBezTo>
                    <a:cubicBezTo>
                      <a:pt x="1916" y="10650"/>
                      <a:pt x="1856" y="10692"/>
                      <a:pt x="1805" y="10712"/>
                    </a:cubicBezTo>
                    <a:cubicBezTo>
                      <a:pt x="1780" y="10722"/>
                      <a:pt x="1744" y="10742"/>
                      <a:pt x="1714" y="10760"/>
                    </a:cubicBezTo>
                    <a:cubicBezTo>
                      <a:pt x="1699" y="10768"/>
                      <a:pt x="1686" y="10777"/>
                      <a:pt x="1676" y="10784"/>
                    </a:cubicBezTo>
                    <a:cubicBezTo>
                      <a:pt x="1671" y="10788"/>
                      <a:pt x="1668" y="10791"/>
                      <a:pt x="1665" y="10793"/>
                    </a:cubicBezTo>
                    <a:cubicBezTo>
                      <a:pt x="1664" y="10794"/>
                      <a:pt x="1664" y="10795"/>
                      <a:pt x="1663" y="10795"/>
                    </a:cubicBezTo>
                    <a:cubicBezTo>
                      <a:pt x="1665" y="10796"/>
                      <a:pt x="1667" y="10796"/>
                      <a:pt x="1671" y="10796"/>
                    </a:cubicBezTo>
                    <a:cubicBezTo>
                      <a:pt x="1689" y="10796"/>
                      <a:pt x="1725" y="10787"/>
                      <a:pt x="1753" y="10769"/>
                    </a:cubicBezTo>
                    <a:cubicBezTo>
                      <a:pt x="1795" y="10743"/>
                      <a:pt x="1853" y="10720"/>
                      <a:pt x="1890" y="10706"/>
                    </a:cubicBezTo>
                    <a:cubicBezTo>
                      <a:pt x="1928" y="10692"/>
                      <a:pt x="1958" y="10691"/>
                      <a:pt x="1980" y="10652"/>
                    </a:cubicBezTo>
                    <a:cubicBezTo>
                      <a:pt x="2003" y="10612"/>
                      <a:pt x="2019" y="10569"/>
                      <a:pt x="2071" y="10569"/>
                    </a:cubicBezTo>
                    <a:cubicBezTo>
                      <a:pt x="2102" y="10569"/>
                      <a:pt x="2129" y="10576"/>
                      <a:pt x="2146" y="10576"/>
                    </a:cubicBezTo>
                    <a:cubicBezTo>
                      <a:pt x="2157" y="10576"/>
                      <a:pt x="2162" y="10574"/>
                      <a:pt x="2164" y="10568"/>
                    </a:cubicBezTo>
                    <a:cubicBezTo>
                      <a:pt x="2165" y="10565"/>
                      <a:pt x="2166" y="10561"/>
                      <a:pt x="2166" y="10558"/>
                    </a:cubicBezTo>
                    <a:cubicBezTo>
                      <a:pt x="2166" y="10539"/>
                      <a:pt x="2150" y="10515"/>
                      <a:pt x="2121" y="10503"/>
                    </a:cubicBezTo>
                    <a:cubicBezTo>
                      <a:pt x="2123" y="10500"/>
                      <a:pt x="2123" y="10500"/>
                      <a:pt x="2123" y="10500"/>
                    </a:cubicBezTo>
                    <a:lnTo>
                      <a:pt x="2121" y="10503"/>
                    </a:lnTo>
                    <a:close/>
                    <a:moveTo>
                      <a:pt x="2219" y="10553"/>
                    </a:moveTo>
                    <a:cubicBezTo>
                      <a:pt x="2268" y="10313"/>
                      <a:pt x="2268" y="10313"/>
                      <a:pt x="2268" y="10313"/>
                    </a:cubicBezTo>
                    <a:cubicBezTo>
                      <a:pt x="1944" y="10424"/>
                      <a:pt x="1944" y="10424"/>
                      <a:pt x="1944" y="10424"/>
                    </a:cubicBezTo>
                    <a:cubicBezTo>
                      <a:pt x="1766" y="10585"/>
                      <a:pt x="1766" y="10585"/>
                      <a:pt x="1766" y="10585"/>
                    </a:cubicBezTo>
                    <a:cubicBezTo>
                      <a:pt x="1590" y="10470"/>
                      <a:pt x="1590" y="10470"/>
                      <a:pt x="1590" y="10470"/>
                    </a:cubicBezTo>
                    <a:cubicBezTo>
                      <a:pt x="1259" y="10651"/>
                      <a:pt x="1259" y="10651"/>
                      <a:pt x="1259" y="10651"/>
                    </a:cubicBezTo>
                    <a:cubicBezTo>
                      <a:pt x="1272" y="10670"/>
                      <a:pt x="1288" y="10690"/>
                      <a:pt x="1309" y="10715"/>
                    </a:cubicBezTo>
                    <a:cubicBezTo>
                      <a:pt x="1327" y="10736"/>
                      <a:pt x="1356" y="10768"/>
                      <a:pt x="1385" y="10801"/>
                    </a:cubicBezTo>
                    <a:cubicBezTo>
                      <a:pt x="1421" y="10785"/>
                      <a:pt x="1451" y="10771"/>
                      <a:pt x="1466" y="10762"/>
                    </a:cubicBezTo>
                    <a:cubicBezTo>
                      <a:pt x="1499" y="10744"/>
                      <a:pt x="1557" y="10734"/>
                      <a:pt x="1615" y="10725"/>
                    </a:cubicBezTo>
                    <a:cubicBezTo>
                      <a:pt x="1672" y="10716"/>
                      <a:pt x="1729" y="10708"/>
                      <a:pt x="1750" y="10698"/>
                    </a:cubicBezTo>
                    <a:cubicBezTo>
                      <a:pt x="1795" y="10677"/>
                      <a:pt x="1877" y="10615"/>
                      <a:pt x="1918" y="10573"/>
                    </a:cubicBezTo>
                    <a:cubicBezTo>
                      <a:pt x="1951" y="10540"/>
                      <a:pt x="2021" y="10470"/>
                      <a:pt x="2110" y="10470"/>
                    </a:cubicBezTo>
                    <a:cubicBezTo>
                      <a:pt x="2139" y="10470"/>
                      <a:pt x="2170" y="10478"/>
                      <a:pt x="2201" y="10498"/>
                    </a:cubicBezTo>
                    <a:cubicBezTo>
                      <a:pt x="2206" y="10501"/>
                      <a:pt x="2206" y="10501"/>
                      <a:pt x="2206" y="10501"/>
                    </a:cubicBezTo>
                    <a:cubicBezTo>
                      <a:pt x="2207" y="10506"/>
                      <a:pt x="2207" y="10506"/>
                      <a:pt x="2207" y="10506"/>
                    </a:cubicBezTo>
                    <a:cubicBezTo>
                      <a:pt x="2209" y="10525"/>
                      <a:pt x="2214" y="10540"/>
                      <a:pt x="2219" y="10553"/>
                    </a:cubicBezTo>
                    <a:close/>
                    <a:moveTo>
                      <a:pt x="2567" y="10741"/>
                    </a:moveTo>
                    <a:cubicBezTo>
                      <a:pt x="2565" y="10726"/>
                      <a:pt x="2558" y="10699"/>
                      <a:pt x="2530" y="10684"/>
                    </a:cubicBezTo>
                    <a:cubicBezTo>
                      <a:pt x="2487" y="10661"/>
                      <a:pt x="2368" y="10652"/>
                      <a:pt x="2336" y="10649"/>
                    </a:cubicBezTo>
                    <a:cubicBezTo>
                      <a:pt x="2320" y="10648"/>
                      <a:pt x="2284" y="10645"/>
                      <a:pt x="2251" y="10625"/>
                    </a:cubicBezTo>
                    <a:cubicBezTo>
                      <a:pt x="2231" y="10725"/>
                      <a:pt x="2231" y="10725"/>
                      <a:pt x="2231" y="10725"/>
                    </a:cubicBezTo>
                    <a:cubicBezTo>
                      <a:pt x="2297" y="10725"/>
                      <a:pt x="2372" y="10728"/>
                      <a:pt x="2459" y="10733"/>
                    </a:cubicBezTo>
                    <a:cubicBezTo>
                      <a:pt x="2497" y="10735"/>
                      <a:pt x="2533" y="10738"/>
                      <a:pt x="2567" y="10741"/>
                    </a:cubicBezTo>
                    <a:close/>
                    <a:moveTo>
                      <a:pt x="2870" y="10791"/>
                    </a:moveTo>
                    <a:cubicBezTo>
                      <a:pt x="2811" y="10510"/>
                      <a:pt x="2811" y="10510"/>
                      <a:pt x="2811" y="10510"/>
                    </a:cubicBezTo>
                    <a:cubicBezTo>
                      <a:pt x="2621" y="10559"/>
                      <a:pt x="2621" y="10559"/>
                      <a:pt x="2621" y="10559"/>
                    </a:cubicBezTo>
                    <a:cubicBezTo>
                      <a:pt x="2782" y="10559"/>
                      <a:pt x="2782" y="10559"/>
                      <a:pt x="2782" y="10559"/>
                    </a:cubicBezTo>
                    <a:cubicBezTo>
                      <a:pt x="2784" y="10565"/>
                      <a:pt x="2784" y="10565"/>
                      <a:pt x="2784" y="10565"/>
                    </a:cubicBezTo>
                    <a:cubicBezTo>
                      <a:pt x="2827" y="10744"/>
                      <a:pt x="2827" y="10744"/>
                      <a:pt x="2827" y="10744"/>
                    </a:cubicBezTo>
                    <a:cubicBezTo>
                      <a:pt x="2749" y="10732"/>
                      <a:pt x="2749" y="10732"/>
                      <a:pt x="2749" y="10732"/>
                    </a:cubicBezTo>
                    <a:cubicBezTo>
                      <a:pt x="2716" y="10670"/>
                      <a:pt x="2716" y="10670"/>
                      <a:pt x="2716" y="10670"/>
                    </a:cubicBezTo>
                    <a:cubicBezTo>
                      <a:pt x="2560" y="10575"/>
                      <a:pt x="2560" y="10575"/>
                      <a:pt x="2560" y="10575"/>
                    </a:cubicBezTo>
                    <a:cubicBezTo>
                      <a:pt x="2494" y="10593"/>
                      <a:pt x="2494" y="10593"/>
                      <a:pt x="2494" y="10593"/>
                    </a:cubicBezTo>
                    <a:cubicBezTo>
                      <a:pt x="2265" y="10552"/>
                      <a:pt x="2265" y="10552"/>
                      <a:pt x="2265" y="10552"/>
                    </a:cubicBezTo>
                    <a:cubicBezTo>
                      <a:pt x="2256" y="10599"/>
                      <a:pt x="2256" y="10599"/>
                      <a:pt x="2256" y="10599"/>
                    </a:cubicBezTo>
                    <a:cubicBezTo>
                      <a:pt x="2285" y="10620"/>
                      <a:pt x="2320" y="10622"/>
                      <a:pt x="2338" y="10624"/>
                    </a:cubicBezTo>
                    <a:cubicBezTo>
                      <a:pt x="2370" y="10628"/>
                      <a:pt x="2488" y="10634"/>
                      <a:pt x="2541" y="10662"/>
                    </a:cubicBezTo>
                    <a:cubicBezTo>
                      <a:pt x="2583" y="10685"/>
                      <a:pt x="2590" y="10726"/>
                      <a:pt x="2592" y="10744"/>
                    </a:cubicBezTo>
                    <a:cubicBezTo>
                      <a:pt x="2735" y="10760"/>
                      <a:pt x="2839" y="10783"/>
                      <a:pt x="2870" y="10791"/>
                    </a:cubicBezTo>
                    <a:close/>
                    <a:moveTo>
                      <a:pt x="2727" y="10659"/>
                    </a:moveTo>
                    <a:cubicBezTo>
                      <a:pt x="2758" y="10719"/>
                      <a:pt x="2758" y="10719"/>
                      <a:pt x="2758" y="10719"/>
                    </a:cubicBezTo>
                    <a:cubicBezTo>
                      <a:pt x="2808" y="10726"/>
                      <a:pt x="2808" y="10726"/>
                      <a:pt x="2808" y="10726"/>
                    </a:cubicBezTo>
                    <a:cubicBezTo>
                      <a:pt x="2771" y="10574"/>
                      <a:pt x="2771" y="10574"/>
                      <a:pt x="2771" y="10574"/>
                    </a:cubicBezTo>
                    <a:cubicBezTo>
                      <a:pt x="2587" y="10574"/>
                      <a:pt x="2587" y="10574"/>
                      <a:pt x="2587" y="10574"/>
                    </a:cubicBezTo>
                    <a:lnTo>
                      <a:pt x="2727" y="10659"/>
                    </a:lnTo>
                    <a:close/>
                    <a:moveTo>
                      <a:pt x="4046" y="10350"/>
                    </a:moveTo>
                    <a:cubicBezTo>
                      <a:pt x="3807" y="10195"/>
                      <a:pt x="3807" y="10195"/>
                      <a:pt x="3807" y="10195"/>
                    </a:cubicBezTo>
                    <a:cubicBezTo>
                      <a:pt x="3707" y="9913"/>
                      <a:pt x="3707" y="9913"/>
                      <a:pt x="3707" y="9913"/>
                    </a:cubicBezTo>
                    <a:cubicBezTo>
                      <a:pt x="3706" y="9913"/>
                      <a:pt x="3705" y="9914"/>
                      <a:pt x="3705" y="9914"/>
                    </a:cubicBezTo>
                    <a:cubicBezTo>
                      <a:pt x="3561" y="10148"/>
                      <a:pt x="3561" y="10148"/>
                      <a:pt x="3561" y="10148"/>
                    </a:cubicBezTo>
                    <a:cubicBezTo>
                      <a:pt x="3559" y="10149"/>
                      <a:pt x="3559" y="10149"/>
                      <a:pt x="3559" y="10149"/>
                    </a:cubicBezTo>
                    <a:cubicBezTo>
                      <a:pt x="3559" y="10149"/>
                      <a:pt x="3459" y="10190"/>
                      <a:pt x="3359" y="10230"/>
                    </a:cubicBezTo>
                    <a:cubicBezTo>
                      <a:pt x="3309" y="10251"/>
                      <a:pt x="3259" y="10271"/>
                      <a:pt x="3221" y="10286"/>
                    </a:cubicBezTo>
                    <a:cubicBezTo>
                      <a:pt x="3202" y="10294"/>
                      <a:pt x="3186" y="10300"/>
                      <a:pt x="3174" y="10304"/>
                    </a:cubicBezTo>
                    <a:cubicBezTo>
                      <a:pt x="3168" y="10307"/>
                      <a:pt x="3164" y="10308"/>
                      <a:pt x="3160" y="10309"/>
                    </a:cubicBezTo>
                    <a:cubicBezTo>
                      <a:pt x="3157" y="10311"/>
                      <a:pt x="3157" y="10311"/>
                      <a:pt x="3154" y="10311"/>
                    </a:cubicBezTo>
                    <a:cubicBezTo>
                      <a:pt x="3148" y="10314"/>
                      <a:pt x="3062" y="10363"/>
                      <a:pt x="2980" y="10410"/>
                    </a:cubicBezTo>
                    <a:cubicBezTo>
                      <a:pt x="2914" y="10449"/>
                      <a:pt x="2850" y="10486"/>
                      <a:pt x="2826" y="10500"/>
                    </a:cubicBezTo>
                    <a:cubicBezTo>
                      <a:pt x="2886" y="10786"/>
                      <a:pt x="2886" y="10786"/>
                      <a:pt x="2886" y="10786"/>
                    </a:cubicBezTo>
                    <a:cubicBezTo>
                      <a:pt x="2942" y="10738"/>
                      <a:pt x="2999" y="10702"/>
                      <a:pt x="3056" y="10677"/>
                    </a:cubicBezTo>
                    <a:cubicBezTo>
                      <a:pt x="3089" y="10662"/>
                      <a:pt x="3118" y="10651"/>
                      <a:pt x="3138" y="10644"/>
                    </a:cubicBezTo>
                    <a:cubicBezTo>
                      <a:pt x="3148" y="10640"/>
                      <a:pt x="3157" y="10637"/>
                      <a:pt x="3161" y="10635"/>
                    </a:cubicBezTo>
                    <a:cubicBezTo>
                      <a:pt x="3166" y="10630"/>
                      <a:pt x="3167" y="10632"/>
                      <a:pt x="3168" y="10630"/>
                    </a:cubicBezTo>
                    <a:cubicBezTo>
                      <a:pt x="3174" y="10627"/>
                      <a:pt x="3180" y="10625"/>
                      <a:pt x="3190" y="10622"/>
                    </a:cubicBezTo>
                    <a:cubicBezTo>
                      <a:pt x="3231" y="10607"/>
                      <a:pt x="3333" y="10572"/>
                      <a:pt x="3472" y="10527"/>
                    </a:cubicBezTo>
                    <a:cubicBezTo>
                      <a:pt x="3276" y="10268"/>
                      <a:pt x="3276" y="10268"/>
                      <a:pt x="3276" y="10268"/>
                    </a:cubicBezTo>
                    <a:cubicBezTo>
                      <a:pt x="3287" y="10260"/>
                      <a:pt x="3287" y="10260"/>
                      <a:pt x="3287" y="10260"/>
                    </a:cubicBezTo>
                    <a:cubicBezTo>
                      <a:pt x="3486" y="10523"/>
                      <a:pt x="3486" y="10523"/>
                      <a:pt x="3486" y="10523"/>
                    </a:cubicBezTo>
                    <a:cubicBezTo>
                      <a:pt x="3640" y="10473"/>
                      <a:pt x="3837" y="10412"/>
                      <a:pt x="4046" y="10350"/>
                    </a:cubicBezTo>
                    <a:close/>
                    <a:moveTo>
                      <a:pt x="4563" y="10205"/>
                    </a:moveTo>
                    <a:cubicBezTo>
                      <a:pt x="4263" y="9552"/>
                      <a:pt x="4263" y="9552"/>
                      <a:pt x="4263" y="9552"/>
                    </a:cubicBezTo>
                    <a:cubicBezTo>
                      <a:pt x="4222" y="9579"/>
                      <a:pt x="4104" y="9655"/>
                      <a:pt x="3988" y="9730"/>
                    </a:cubicBezTo>
                    <a:cubicBezTo>
                      <a:pt x="3873" y="9805"/>
                      <a:pt x="3759" y="9879"/>
                      <a:pt x="3719" y="9905"/>
                    </a:cubicBezTo>
                    <a:cubicBezTo>
                      <a:pt x="3818" y="10185"/>
                      <a:pt x="3818" y="10185"/>
                      <a:pt x="3818" y="10185"/>
                    </a:cubicBezTo>
                    <a:cubicBezTo>
                      <a:pt x="4062" y="10344"/>
                      <a:pt x="4062" y="10344"/>
                      <a:pt x="4062" y="10344"/>
                    </a:cubicBezTo>
                    <a:cubicBezTo>
                      <a:pt x="4061" y="10345"/>
                      <a:pt x="4061" y="10345"/>
                      <a:pt x="4061" y="10345"/>
                    </a:cubicBezTo>
                    <a:cubicBezTo>
                      <a:pt x="4227" y="10297"/>
                      <a:pt x="4399" y="10248"/>
                      <a:pt x="4563" y="10205"/>
                    </a:cubicBezTo>
                    <a:close/>
                    <a:moveTo>
                      <a:pt x="4417" y="10640"/>
                    </a:moveTo>
                    <a:cubicBezTo>
                      <a:pt x="4332" y="10336"/>
                      <a:pt x="4332" y="10336"/>
                      <a:pt x="4332" y="10336"/>
                    </a:cubicBezTo>
                    <a:cubicBezTo>
                      <a:pt x="4272" y="10353"/>
                      <a:pt x="4211" y="10370"/>
                      <a:pt x="4151" y="10388"/>
                    </a:cubicBezTo>
                    <a:cubicBezTo>
                      <a:pt x="4173" y="10452"/>
                      <a:pt x="4256" y="10664"/>
                      <a:pt x="4259" y="10672"/>
                    </a:cubicBezTo>
                    <a:cubicBezTo>
                      <a:pt x="4281" y="10663"/>
                      <a:pt x="4308" y="10652"/>
                      <a:pt x="4312" y="10651"/>
                    </a:cubicBezTo>
                    <a:cubicBezTo>
                      <a:pt x="4316" y="10650"/>
                      <a:pt x="4325" y="10649"/>
                      <a:pt x="4345" y="10647"/>
                    </a:cubicBezTo>
                    <a:cubicBezTo>
                      <a:pt x="4363" y="10645"/>
                      <a:pt x="4388" y="10643"/>
                      <a:pt x="4417" y="10640"/>
                    </a:cubicBezTo>
                    <a:close/>
                    <a:moveTo>
                      <a:pt x="4609" y="10623"/>
                    </a:moveTo>
                    <a:cubicBezTo>
                      <a:pt x="4521" y="10284"/>
                      <a:pt x="4521" y="10284"/>
                      <a:pt x="4521" y="10284"/>
                    </a:cubicBezTo>
                    <a:cubicBezTo>
                      <a:pt x="4463" y="10299"/>
                      <a:pt x="4405" y="10315"/>
                      <a:pt x="4346" y="10332"/>
                    </a:cubicBezTo>
                    <a:cubicBezTo>
                      <a:pt x="4432" y="10639"/>
                      <a:pt x="4432" y="10639"/>
                      <a:pt x="4432" y="10639"/>
                    </a:cubicBezTo>
                    <a:cubicBezTo>
                      <a:pt x="4482" y="10635"/>
                      <a:pt x="4544" y="10629"/>
                      <a:pt x="4609" y="10623"/>
                    </a:cubicBezTo>
                    <a:close/>
                    <a:moveTo>
                      <a:pt x="4800" y="10606"/>
                    </a:moveTo>
                    <a:cubicBezTo>
                      <a:pt x="4708" y="10235"/>
                      <a:pt x="4708" y="10235"/>
                      <a:pt x="4708" y="10235"/>
                    </a:cubicBezTo>
                    <a:cubicBezTo>
                      <a:pt x="4651" y="10249"/>
                      <a:pt x="4593" y="10264"/>
                      <a:pt x="4534" y="10280"/>
                    </a:cubicBezTo>
                    <a:cubicBezTo>
                      <a:pt x="4623" y="10622"/>
                      <a:pt x="4623" y="10622"/>
                      <a:pt x="4623" y="10622"/>
                    </a:cubicBezTo>
                    <a:cubicBezTo>
                      <a:pt x="4683" y="10617"/>
                      <a:pt x="4745" y="10611"/>
                      <a:pt x="4800" y="10606"/>
                    </a:cubicBezTo>
                    <a:close/>
                    <a:moveTo>
                      <a:pt x="4979" y="10591"/>
                    </a:moveTo>
                    <a:cubicBezTo>
                      <a:pt x="4957" y="10399"/>
                      <a:pt x="4938" y="10239"/>
                      <a:pt x="4932" y="10182"/>
                    </a:cubicBezTo>
                    <a:cubicBezTo>
                      <a:pt x="4903" y="10188"/>
                      <a:pt x="4874" y="10195"/>
                      <a:pt x="4846" y="10201"/>
                    </a:cubicBezTo>
                    <a:cubicBezTo>
                      <a:pt x="4806" y="10211"/>
                      <a:pt x="4764" y="10221"/>
                      <a:pt x="4721" y="10232"/>
                    </a:cubicBezTo>
                    <a:cubicBezTo>
                      <a:pt x="4814" y="10605"/>
                      <a:pt x="4814" y="10605"/>
                      <a:pt x="4814" y="10605"/>
                    </a:cubicBezTo>
                    <a:cubicBezTo>
                      <a:pt x="4888" y="10599"/>
                      <a:pt x="4949" y="10593"/>
                      <a:pt x="4979" y="10591"/>
                    </a:cubicBezTo>
                    <a:close/>
                    <a:moveTo>
                      <a:pt x="5157" y="10073"/>
                    </a:moveTo>
                    <a:cubicBezTo>
                      <a:pt x="5170" y="9687"/>
                      <a:pt x="5170" y="9687"/>
                      <a:pt x="5170" y="9687"/>
                    </a:cubicBezTo>
                    <a:cubicBezTo>
                      <a:pt x="5094" y="9688"/>
                      <a:pt x="5005" y="9690"/>
                      <a:pt x="4914" y="9692"/>
                    </a:cubicBezTo>
                    <a:cubicBezTo>
                      <a:pt x="4933" y="10115"/>
                      <a:pt x="4933" y="10115"/>
                      <a:pt x="4933" y="10115"/>
                    </a:cubicBezTo>
                    <a:cubicBezTo>
                      <a:pt x="5008" y="10099"/>
                      <a:pt x="5082" y="10086"/>
                      <a:pt x="5157" y="10073"/>
                    </a:cubicBezTo>
                    <a:close/>
                    <a:moveTo>
                      <a:pt x="5933" y="10288"/>
                    </a:moveTo>
                    <a:cubicBezTo>
                      <a:pt x="5889" y="10288"/>
                      <a:pt x="5784" y="10290"/>
                      <a:pt x="5679" y="10293"/>
                    </a:cubicBezTo>
                    <a:cubicBezTo>
                      <a:pt x="5610" y="10294"/>
                      <a:pt x="5540" y="10295"/>
                      <a:pt x="5488" y="10297"/>
                    </a:cubicBezTo>
                    <a:cubicBezTo>
                      <a:pt x="5461" y="10297"/>
                      <a:pt x="5439" y="10298"/>
                      <a:pt x="5423" y="10298"/>
                    </a:cubicBezTo>
                    <a:cubicBezTo>
                      <a:pt x="5416" y="10299"/>
                      <a:pt x="5409" y="10299"/>
                      <a:pt x="5405" y="10299"/>
                    </a:cubicBezTo>
                    <a:cubicBezTo>
                      <a:pt x="5403" y="10299"/>
                      <a:pt x="5401" y="10299"/>
                      <a:pt x="5400" y="10299"/>
                    </a:cubicBezTo>
                    <a:cubicBezTo>
                      <a:pt x="5399" y="10299"/>
                      <a:pt x="5399" y="10299"/>
                      <a:pt x="5398" y="10299"/>
                    </a:cubicBezTo>
                    <a:cubicBezTo>
                      <a:pt x="5398" y="10299"/>
                      <a:pt x="5398" y="10299"/>
                      <a:pt x="5398" y="10299"/>
                    </a:cubicBezTo>
                    <a:cubicBezTo>
                      <a:pt x="5386" y="10302"/>
                      <a:pt x="5104" y="10361"/>
                      <a:pt x="5020" y="10378"/>
                    </a:cubicBezTo>
                    <a:cubicBezTo>
                      <a:pt x="5029" y="10456"/>
                      <a:pt x="5040" y="10549"/>
                      <a:pt x="5052" y="10647"/>
                    </a:cubicBezTo>
                    <a:cubicBezTo>
                      <a:pt x="5394" y="10579"/>
                      <a:pt x="5394" y="10579"/>
                      <a:pt x="5394" y="10579"/>
                    </a:cubicBezTo>
                    <a:cubicBezTo>
                      <a:pt x="5395" y="10579"/>
                      <a:pt x="5395" y="10579"/>
                      <a:pt x="5395" y="10579"/>
                    </a:cubicBezTo>
                    <a:cubicBezTo>
                      <a:pt x="5395" y="10579"/>
                      <a:pt x="5735" y="10576"/>
                      <a:pt x="5873" y="10576"/>
                    </a:cubicBezTo>
                    <a:cubicBezTo>
                      <a:pt x="5889" y="10576"/>
                      <a:pt x="5901" y="10576"/>
                      <a:pt x="5911" y="10576"/>
                    </a:cubicBezTo>
                    <a:lnTo>
                      <a:pt x="5933" y="10288"/>
                    </a:lnTo>
                    <a:close/>
                    <a:moveTo>
                      <a:pt x="5951" y="10053"/>
                    </a:moveTo>
                    <a:cubicBezTo>
                      <a:pt x="5706" y="10068"/>
                      <a:pt x="5346" y="10100"/>
                      <a:pt x="4996" y="10169"/>
                    </a:cubicBezTo>
                    <a:cubicBezTo>
                      <a:pt x="5000" y="10200"/>
                      <a:pt x="5008" y="10270"/>
                      <a:pt x="5019" y="10365"/>
                    </a:cubicBezTo>
                    <a:cubicBezTo>
                      <a:pt x="5105" y="10346"/>
                      <a:pt x="5389" y="10287"/>
                      <a:pt x="5395" y="10286"/>
                    </a:cubicBezTo>
                    <a:cubicBezTo>
                      <a:pt x="5400" y="10285"/>
                      <a:pt x="5434" y="10284"/>
                      <a:pt x="5487" y="10283"/>
                    </a:cubicBezTo>
                    <a:cubicBezTo>
                      <a:pt x="5621" y="10280"/>
                      <a:pt x="5864" y="10275"/>
                      <a:pt x="5934" y="10274"/>
                    </a:cubicBezTo>
                    <a:lnTo>
                      <a:pt x="5951" y="10053"/>
                    </a:lnTo>
                    <a:close/>
                    <a:moveTo>
                      <a:pt x="6042" y="9767"/>
                    </a:moveTo>
                    <a:cubicBezTo>
                      <a:pt x="6030" y="9767"/>
                      <a:pt x="6002" y="9766"/>
                      <a:pt x="5965" y="9765"/>
                    </a:cubicBezTo>
                    <a:cubicBezTo>
                      <a:pt x="5901" y="9943"/>
                      <a:pt x="5901" y="9943"/>
                      <a:pt x="5901" y="9943"/>
                    </a:cubicBezTo>
                    <a:cubicBezTo>
                      <a:pt x="5759" y="9889"/>
                      <a:pt x="5759" y="9889"/>
                      <a:pt x="5759" y="9889"/>
                    </a:cubicBezTo>
                    <a:cubicBezTo>
                      <a:pt x="5761" y="9882"/>
                      <a:pt x="5761" y="9882"/>
                      <a:pt x="5761" y="9882"/>
                    </a:cubicBezTo>
                    <a:cubicBezTo>
                      <a:pt x="5806" y="9758"/>
                      <a:pt x="5806" y="9758"/>
                      <a:pt x="5806" y="9758"/>
                    </a:cubicBezTo>
                    <a:cubicBezTo>
                      <a:pt x="5742" y="9756"/>
                      <a:pt x="5690" y="9754"/>
                      <a:pt x="5688" y="9754"/>
                    </a:cubicBezTo>
                    <a:cubicBezTo>
                      <a:pt x="5688" y="9740"/>
                      <a:pt x="5688" y="9740"/>
                      <a:pt x="5688" y="9740"/>
                    </a:cubicBezTo>
                    <a:cubicBezTo>
                      <a:pt x="5691" y="9740"/>
                      <a:pt x="5745" y="9742"/>
                      <a:pt x="5810" y="9745"/>
                    </a:cubicBezTo>
                    <a:cubicBezTo>
                      <a:pt x="5858" y="9613"/>
                      <a:pt x="5858" y="9613"/>
                      <a:pt x="5858" y="9613"/>
                    </a:cubicBezTo>
                    <a:cubicBezTo>
                      <a:pt x="5702" y="9588"/>
                      <a:pt x="5702" y="9588"/>
                      <a:pt x="5702" y="9588"/>
                    </a:cubicBezTo>
                    <a:cubicBezTo>
                      <a:pt x="5685" y="9649"/>
                      <a:pt x="5685" y="9649"/>
                      <a:pt x="5685" y="9649"/>
                    </a:cubicBezTo>
                    <a:cubicBezTo>
                      <a:pt x="5691" y="10006"/>
                      <a:pt x="5691" y="10006"/>
                      <a:pt x="5691" y="10006"/>
                    </a:cubicBezTo>
                    <a:cubicBezTo>
                      <a:pt x="5792" y="9997"/>
                      <a:pt x="5885" y="9991"/>
                      <a:pt x="5964" y="9986"/>
                    </a:cubicBezTo>
                    <a:lnTo>
                      <a:pt x="6042" y="9767"/>
                    </a:lnTo>
                    <a:close/>
                    <a:moveTo>
                      <a:pt x="6252" y="9974"/>
                    </a:moveTo>
                    <a:cubicBezTo>
                      <a:pt x="6257" y="9961"/>
                      <a:pt x="6262" y="9945"/>
                      <a:pt x="6269" y="9926"/>
                    </a:cubicBezTo>
                    <a:cubicBezTo>
                      <a:pt x="6340" y="9714"/>
                      <a:pt x="6520" y="9185"/>
                      <a:pt x="6682" y="8708"/>
                    </a:cubicBezTo>
                    <a:cubicBezTo>
                      <a:pt x="6763" y="8470"/>
                      <a:pt x="6839" y="8244"/>
                      <a:pt x="6895" y="8079"/>
                    </a:cubicBezTo>
                    <a:cubicBezTo>
                      <a:pt x="6923" y="7996"/>
                      <a:pt x="6946" y="7927"/>
                      <a:pt x="6962" y="7880"/>
                    </a:cubicBezTo>
                    <a:cubicBezTo>
                      <a:pt x="6963" y="7876"/>
                      <a:pt x="6964" y="7873"/>
                      <a:pt x="6966" y="7870"/>
                    </a:cubicBezTo>
                    <a:cubicBezTo>
                      <a:pt x="6924" y="7882"/>
                      <a:pt x="6893" y="7902"/>
                      <a:pt x="6873" y="7920"/>
                    </a:cubicBezTo>
                    <a:cubicBezTo>
                      <a:pt x="6860" y="7931"/>
                      <a:pt x="6850" y="7942"/>
                      <a:pt x="6845" y="7949"/>
                    </a:cubicBezTo>
                    <a:cubicBezTo>
                      <a:pt x="6842" y="7952"/>
                      <a:pt x="6840" y="7955"/>
                      <a:pt x="6839" y="7956"/>
                    </a:cubicBezTo>
                    <a:cubicBezTo>
                      <a:pt x="6839" y="7956"/>
                      <a:pt x="6839" y="7956"/>
                      <a:pt x="6839" y="7957"/>
                    </a:cubicBezTo>
                    <a:cubicBezTo>
                      <a:pt x="6820" y="7992"/>
                      <a:pt x="6801" y="8030"/>
                      <a:pt x="6787" y="8060"/>
                    </a:cubicBezTo>
                    <a:cubicBezTo>
                      <a:pt x="6772" y="8090"/>
                      <a:pt x="6763" y="8111"/>
                      <a:pt x="6763" y="8111"/>
                    </a:cubicBezTo>
                    <a:cubicBezTo>
                      <a:pt x="6756" y="8127"/>
                      <a:pt x="6756" y="8127"/>
                      <a:pt x="6756" y="8127"/>
                    </a:cubicBezTo>
                    <a:cubicBezTo>
                      <a:pt x="6741" y="8139"/>
                      <a:pt x="6741" y="8139"/>
                      <a:pt x="6741" y="8139"/>
                    </a:cubicBezTo>
                    <a:cubicBezTo>
                      <a:pt x="6720" y="8156"/>
                      <a:pt x="6698" y="8163"/>
                      <a:pt x="6678" y="8167"/>
                    </a:cubicBezTo>
                    <a:cubicBezTo>
                      <a:pt x="6035" y="9982"/>
                      <a:pt x="6035" y="9982"/>
                      <a:pt x="6035" y="9982"/>
                    </a:cubicBezTo>
                    <a:cubicBezTo>
                      <a:pt x="6160" y="9976"/>
                      <a:pt x="6240" y="9975"/>
                      <a:pt x="6252" y="9974"/>
                    </a:cubicBezTo>
                    <a:close/>
                    <a:moveTo>
                      <a:pt x="6754" y="10328"/>
                    </a:moveTo>
                    <a:cubicBezTo>
                      <a:pt x="6425" y="10301"/>
                      <a:pt x="6425" y="10301"/>
                      <a:pt x="6425" y="10301"/>
                    </a:cubicBezTo>
                    <a:cubicBezTo>
                      <a:pt x="6386" y="10484"/>
                      <a:pt x="6386" y="10484"/>
                      <a:pt x="6386" y="10484"/>
                    </a:cubicBezTo>
                    <a:cubicBezTo>
                      <a:pt x="6237" y="10446"/>
                      <a:pt x="6237" y="10446"/>
                      <a:pt x="6237" y="10446"/>
                    </a:cubicBezTo>
                    <a:cubicBezTo>
                      <a:pt x="6238" y="10440"/>
                      <a:pt x="6238" y="10440"/>
                      <a:pt x="6238" y="10440"/>
                    </a:cubicBezTo>
                    <a:cubicBezTo>
                      <a:pt x="6266" y="10288"/>
                      <a:pt x="6266" y="10288"/>
                      <a:pt x="6266" y="10288"/>
                    </a:cubicBezTo>
                    <a:cubicBezTo>
                      <a:pt x="6251" y="10287"/>
                      <a:pt x="6251" y="10287"/>
                      <a:pt x="6251" y="10287"/>
                    </a:cubicBezTo>
                    <a:cubicBezTo>
                      <a:pt x="6213" y="10485"/>
                      <a:pt x="6213" y="10485"/>
                      <a:pt x="6213" y="10485"/>
                    </a:cubicBezTo>
                    <a:cubicBezTo>
                      <a:pt x="6313" y="10493"/>
                      <a:pt x="6639" y="10520"/>
                      <a:pt x="6733" y="10525"/>
                    </a:cubicBezTo>
                    <a:lnTo>
                      <a:pt x="6754" y="10328"/>
                    </a:lnTo>
                    <a:close/>
                    <a:moveTo>
                      <a:pt x="6778" y="10106"/>
                    </a:moveTo>
                    <a:cubicBezTo>
                      <a:pt x="6475" y="10064"/>
                      <a:pt x="6475" y="10064"/>
                      <a:pt x="6475" y="10064"/>
                    </a:cubicBezTo>
                    <a:cubicBezTo>
                      <a:pt x="6474" y="10066"/>
                      <a:pt x="6474" y="10066"/>
                      <a:pt x="6474" y="10066"/>
                    </a:cubicBezTo>
                    <a:cubicBezTo>
                      <a:pt x="6428" y="10287"/>
                      <a:pt x="6428" y="10287"/>
                      <a:pt x="6428" y="10287"/>
                    </a:cubicBezTo>
                    <a:cubicBezTo>
                      <a:pt x="6755" y="10314"/>
                      <a:pt x="6755" y="10314"/>
                      <a:pt x="6755" y="10314"/>
                    </a:cubicBezTo>
                    <a:lnTo>
                      <a:pt x="6778" y="10106"/>
                    </a:lnTo>
                    <a:close/>
                    <a:moveTo>
                      <a:pt x="6821" y="9892"/>
                    </a:moveTo>
                    <a:cubicBezTo>
                      <a:pt x="6555" y="9828"/>
                      <a:pt x="6555" y="9828"/>
                      <a:pt x="6555" y="9828"/>
                    </a:cubicBezTo>
                    <a:cubicBezTo>
                      <a:pt x="6479" y="10051"/>
                      <a:pt x="6479" y="10051"/>
                      <a:pt x="6479" y="10051"/>
                    </a:cubicBezTo>
                    <a:cubicBezTo>
                      <a:pt x="6779" y="10092"/>
                      <a:pt x="6779" y="10092"/>
                      <a:pt x="6779" y="10092"/>
                    </a:cubicBezTo>
                    <a:cubicBezTo>
                      <a:pt x="6790" y="9988"/>
                      <a:pt x="6790" y="9988"/>
                      <a:pt x="6790" y="9988"/>
                    </a:cubicBezTo>
                    <a:lnTo>
                      <a:pt x="6821" y="9892"/>
                    </a:lnTo>
                    <a:close/>
                    <a:moveTo>
                      <a:pt x="6892" y="9671"/>
                    </a:moveTo>
                    <a:cubicBezTo>
                      <a:pt x="6628" y="9613"/>
                      <a:pt x="6628" y="9613"/>
                      <a:pt x="6628" y="9613"/>
                    </a:cubicBezTo>
                    <a:cubicBezTo>
                      <a:pt x="6560" y="9815"/>
                      <a:pt x="6560" y="9815"/>
                      <a:pt x="6560" y="9815"/>
                    </a:cubicBezTo>
                    <a:cubicBezTo>
                      <a:pt x="6825" y="9878"/>
                      <a:pt x="6825" y="9878"/>
                      <a:pt x="6825" y="9878"/>
                    </a:cubicBezTo>
                    <a:lnTo>
                      <a:pt x="6892" y="9671"/>
                    </a:lnTo>
                    <a:close/>
                    <a:moveTo>
                      <a:pt x="7685" y="10390"/>
                    </a:moveTo>
                    <a:cubicBezTo>
                      <a:pt x="6933" y="9950"/>
                      <a:pt x="6933" y="9950"/>
                      <a:pt x="6933" y="9950"/>
                    </a:cubicBezTo>
                    <a:cubicBezTo>
                      <a:pt x="6854" y="10005"/>
                      <a:pt x="6854" y="10005"/>
                      <a:pt x="6854" y="10005"/>
                    </a:cubicBezTo>
                    <a:cubicBezTo>
                      <a:pt x="6827" y="10260"/>
                      <a:pt x="6827" y="10260"/>
                      <a:pt x="6827" y="10260"/>
                    </a:cubicBezTo>
                    <a:cubicBezTo>
                      <a:pt x="6886" y="10286"/>
                      <a:pt x="7050" y="10360"/>
                      <a:pt x="7216" y="10434"/>
                    </a:cubicBezTo>
                    <a:cubicBezTo>
                      <a:pt x="7319" y="10480"/>
                      <a:pt x="7423" y="10527"/>
                      <a:pt x="7503" y="10561"/>
                    </a:cubicBezTo>
                    <a:cubicBezTo>
                      <a:pt x="7542" y="10579"/>
                      <a:pt x="7576" y="10593"/>
                      <a:pt x="7600" y="10603"/>
                    </a:cubicBezTo>
                    <a:cubicBezTo>
                      <a:pt x="7609" y="10607"/>
                      <a:pt x="7616" y="10610"/>
                      <a:pt x="7622" y="10612"/>
                    </a:cubicBezTo>
                    <a:cubicBezTo>
                      <a:pt x="7633" y="10573"/>
                      <a:pt x="7644" y="10534"/>
                      <a:pt x="7655" y="10495"/>
                    </a:cubicBezTo>
                    <a:cubicBezTo>
                      <a:pt x="7665" y="10460"/>
                      <a:pt x="7675" y="10425"/>
                      <a:pt x="7685" y="10390"/>
                    </a:cubicBezTo>
                    <a:close/>
                    <a:moveTo>
                      <a:pt x="7760" y="10130"/>
                    </a:moveTo>
                    <a:cubicBezTo>
                      <a:pt x="7756" y="10128"/>
                      <a:pt x="7752" y="10125"/>
                      <a:pt x="7746" y="10121"/>
                    </a:cubicBezTo>
                    <a:cubicBezTo>
                      <a:pt x="7644" y="10054"/>
                      <a:pt x="7294" y="9819"/>
                      <a:pt x="7208" y="9760"/>
                    </a:cubicBezTo>
                    <a:cubicBezTo>
                      <a:pt x="6946" y="9941"/>
                      <a:pt x="6946" y="9941"/>
                      <a:pt x="6946" y="9941"/>
                    </a:cubicBezTo>
                    <a:cubicBezTo>
                      <a:pt x="7689" y="10376"/>
                      <a:pt x="7689" y="10376"/>
                      <a:pt x="7689" y="10376"/>
                    </a:cubicBezTo>
                    <a:cubicBezTo>
                      <a:pt x="7714" y="10289"/>
                      <a:pt x="7738" y="10205"/>
                      <a:pt x="7760" y="10130"/>
                    </a:cubicBezTo>
                    <a:close/>
                    <a:moveTo>
                      <a:pt x="7858" y="9838"/>
                    </a:moveTo>
                    <a:cubicBezTo>
                      <a:pt x="7363" y="9516"/>
                      <a:pt x="7363" y="9516"/>
                      <a:pt x="7363" y="9516"/>
                    </a:cubicBezTo>
                    <a:cubicBezTo>
                      <a:pt x="7256" y="9727"/>
                      <a:pt x="7256" y="9727"/>
                      <a:pt x="7256" y="9727"/>
                    </a:cubicBezTo>
                    <a:cubicBezTo>
                      <a:pt x="7220" y="9752"/>
                      <a:pt x="7220" y="9752"/>
                      <a:pt x="7220" y="9752"/>
                    </a:cubicBezTo>
                    <a:cubicBezTo>
                      <a:pt x="7267" y="9783"/>
                      <a:pt x="7376" y="9857"/>
                      <a:pt x="7485" y="9930"/>
                    </a:cubicBezTo>
                    <a:cubicBezTo>
                      <a:pt x="7558" y="9979"/>
                      <a:pt x="7631" y="10028"/>
                      <a:pt x="7686" y="10064"/>
                    </a:cubicBezTo>
                    <a:cubicBezTo>
                      <a:pt x="7714" y="10083"/>
                      <a:pt x="7737" y="10098"/>
                      <a:pt x="7754" y="10109"/>
                    </a:cubicBezTo>
                    <a:cubicBezTo>
                      <a:pt x="7758" y="10112"/>
                      <a:pt x="7761" y="10114"/>
                      <a:pt x="7764" y="10116"/>
                    </a:cubicBezTo>
                    <a:cubicBezTo>
                      <a:pt x="7771" y="10095"/>
                      <a:pt x="7777" y="10074"/>
                      <a:pt x="7783" y="10054"/>
                    </a:cubicBezTo>
                    <a:cubicBezTo>
                      <a:pt x="7800" y="9994"/>
                      <a:pt x="7816" y="9944"/>
                      <a:pt x="7827" y="9908"/>
                    </a:cubicBezTo>
                    <a:cubicBezTo>
                      <a:pt x="7832" y="9891"/>
                      <a:pt x="7837" y="9877"/>
                      <a:pt x="7841" y="9867"/>
                    </a:cubicBezTo>
                    <a:cubicBezTo>
                      <a:pt x="7843" y="9862"/>
                      <a:pt x="7844" y="9858"/>
                      <a:pt x="7846" y="9855"/>
                    </a:cubicBezTo>
                    <a:cubicBezTo>
                      <a:pt x="7846" y="9853"/>
                      <a:pt x="7847" y="9851"/>
                      <a:pt x="7849" y="9849"/>
                    </a:cubicBezTo>
                    <a:cubicBezTo>
                      <a:pt x="7849" y="9848"/>
                      <a:pt x="7850" y="9847"/>
                      <a:pt x="7852" y="9845"/>
                    </a:cubicBezTo>
                    <a:cubicBezTo>
                      <a:pt x="7853" y="9844"/>
                      <a:pt x="7854" y="9843"/>
                      <a:pt x="7855" y="9842"/>
                    </a:cubicBezTo>
                    <a:cubicBezTo>
                      <a:pt x="7855" y="9842"/>
                      <a:pt x="7855" y="9842"/>
                      <a:pt x="7855" y="9842"/>
                    </a:cubicBezTo>
                    <a:cubicBezTo>
                      <a:pt x="7855" y="9841"/>
                      <a:pt x="7857" y="9839"/>
                      <a:pt x="7858" y="9838"/>
                    </a:cubicBezTo>
                    <a:close/>
                    <a:moveTo>
                      <a:pt x="8012" y="9609"/>
                    </a:moveTo>
                    <a:cubicBezTo>
                      <a:pt x="8016" y="9602"/>
                      <a:pt x="8021" y="9595"/>
                      <a:pt x="8025" y="9588"/>
                    </a:cubicBezTo>
                    <a:cubicBezTo>
                      <a:pt x="7504" y="9238"/>
                      <a:pt x="7504" y="9238"/>
                      <a:pt x="7504" y="9238"/>
                    </a:cubicBezTo>
                    <a:cubicBezTo>
                      <a:pt x="7369" y="9504"/>
                      <a:pt x="7369" y="9504"/>
                      <a:pt x="7369" y="9504"/>
                    </a:cubicBezTo>
                    <a:cubicBezTo>
                      <a:pt x="7866" y="9826"/>
                      <a:pt x="7866" y="9826"/>
                      <a:pt x="7866" y="9826"/>
                    </a:cubicBezTo>
                    <a:cubicBezTo>
                      <a:pt x="7891" y="9792"/>
                      <a:pt x="7944" y="9712"/>
                      <a:pt x="8012" y="9609"/>
                    </a:cubicBezTo>
                    <a:close/>
                    <a:moveTo>
                      <a:pt x="9248" y="8903"/>
                    </a:moveTo>
                    <a:cubicBezTo>
                      <a:pt x="9103" y="8822"/>
                      <a:pt x="8855" y="8667"/>
                      <a:pt x="8725" y="8587"/>
                    </a:cubicBezTo>
                    <a:cubicBezTo>
                      <a:pt x="8676" y="8664"/>
                      <a:pt x="8498" y="8941"/>
                      <a:pt x="8319" y="9219"/>
                    </a:cubicBezTo>
                    <a:cubicBezTo>
                      <a:pt x="8213" y="9383"/>
                      <a:pt x="8107" y="9546"/>
                      <a:pt x="8027" y="9668"/>
                    </a:cubicBezTo>
                    <a:cubicBezTo>
                      <a:pt x="7986" y="9730"/>
                      <a:pt x="7952" y="9781"/>
                      <a:pt x="7928" y="9817"/>
                    </a:cubicBezTo>
                    <a:cubicBezTo>
                      <a:pt x="7917" y="9833"/>
                      <a:pt x="7908" y="9845"/>
                      <a:pt x="7901" y="9855"/>
                    </a:cubicBezTo>
                    <a:cubicBezTo>
                      <a:pt x="7953" y="9890"/>
                      <a:pt x="8097" y="9986"/>
                      <a:pt x="8243" y="10083"/>
                    </a:cubicBezTo>
                    <a:cubicBezTo>
                      <a:pt x="8333" y="10144"/>
                      <a:pt x="8424" y="10204"/>
                      <a:pt x="8493" y="10250"/>
                    </a:cubicBezTo>
                    <a:cubicBezTo>
                      <a:pt x="8523" y="10269"/>
                      <a:pt x="8548" y="10286"/>
                      <a:pt x="8568" y="10298"/>
                    </a:cubicBezTo>
                    <a:lnTo>
                      <a:pt x="9248" y="8903"/>
                    </a:lnTo>
                    <a:close/>
                    <a:moveTo>
                      <a:pt x="11179" y="8796"/>
                    </a:moveTo>
                    <a:cubicBezTo>
                      <a:pt x="11083" y="8779"/>
                      <a:pt x="10688" y="8704"/>
                      <a:pt x="10244" y="8558"/>
                    </a:cubicBezTo>
                    <a:cubicBezTo>
                      <a:pt x="9734" y="8390"/>
                      <a:pt x="9128" y="8116"/>
                      <a:pt x="8966" y="8045"/>
                    </a:cubicBezTo>
                    <a:cubicBezTo>
                      <a:pt x="8887" y="8011"/>
                      <a:pt x="8813" y="7964"/>
                      <a:pt x="8748" y="7910"/>
                    </a:cubicBezTo>
                    <a:cubicBezTo>
                      <a:pt x="8724" y="7929"/>
                      <a:pt x="8692" y="7954"/>
                      <a:pt x="8655" y="7979"/>
                    </a:cubicBezTo>
                    <a:cubicBezTo>
                      <a:pt x="8593" y="8020"/>
                      <a:pt x="8520" y="8062"/>
                      <a:pt x="8439" y="8081"/>
                    </a:cubicBezTo>
                    <a:cubicBezTo>
                      <a:pt x="8357" y="8100"/>
                      <a:pt x="8259" y="8114"/>
                      <a:pt x="8183" y="8123"/>
                    </a:cubicBezTo>
                    <a:cubicBezTo>
                      <a:pt x="8232" y="8159"/>
                      <a:pt x="8297" y="8207"/>
                      <a:pt x="8366" y="8258"/>
                    </a:cubicBezTo>
                    <a:cubicBezTo>
                      <a:pt x="8504" y="8359"/>
                      <a:pt x="8656" y="8469"/>
                      <a:pt x="8704" y="8498"/>
                    </a:cubicBezTo>
                    <a:cubicBezTo>
                      <a:pt x="8807" y="8559"/>
                      <a:pt x="9150" y="8775"/>
                      <a:pt x="9307" y="8860"/>
                    </a:cubicBezTo>
                    <a:cubicBezTo>
                      <a:pt x="9465" y="8946"/>
                      <a:pt x="9887" y="9175"/>
                      <a:pt x="10047" y="9242"/>
                    </a:cubicBezTo>
                    <a:cubicBezTo>
                      <a:pt x="10200" y="9307"/>
                      <a:pt x="10608" y="9499"/>
                      <a:pt x="10665" y="9525"/>
                    </a:cubicBezTo>
                    <a:cubicBezTo>
                      <a:pt x="10693" y="9500"/>
                      <a:pt x="10735" y="9463"/>
                      <a:pt x="10783" y="9419"/>
                    </a:cubicBezTo>
                    <a:cubicBezTo>
                      <a:pt x="10869" y="9339"/>
                      <a:pt x="10974" y="9241"/>
                      <a:pt x="11046" y="9164"/>
                    </a:cubicBezTo>
                    <a:cubicBezTo>
                      <a:pt x="11148" y="9059"/>
                      <a:pt x="11173" y="8877"/>
                      <a:pt x="11179" y="8796"/>
                    </a:cubicBezTo>
                    <a:close/>
                    <a:moveTo>
                      <a:pt x="12475" y="8728"/>
                    </a:moveTo>
                    <a:cubicBezTo>
                      <a:pt x="12014" y="7230"/>
                      <a:pt x="12014" y="7230"/>
                      <a:pt x="12014" y="7230"/>
                    </a:cubicBezTo>
                    <a:cubicBezTo>
                      <a:pt x="12014" y="7229"/>
                      <a:pt x="12014" y="7229"/>
                      <a:pt x="12014" y="7229"/>
                    </a:cubicBezTo>
                    <a:cubicBezTo>
                      <a:pt x="12014" y="7229"/>
                      <a:pt x="12014" y="7228"/>
                      <a:pt x="12013" y="7226"/>
                    </a:cubicBezTo>
                    <a:cubicBezTo>
                      <a:pt x="12007" y="7206"/>
                      <a:pt x="11974" y="7125"/>
                      <a:pt x="11900" y="7091"/>
                    </a:cubicBezTo>
                    <a:cubicBezTo>
                      <a:pt x="11891" y="7104"/>
                      <a:pt x="11882" y="7117"/>
                      <a:pt x="11873" y="7129"/>
                    </a:cubicBezTo>
                    <a:cubicBezTo>
                      <a:pt x="11831" y="7181"/>
                      <a:pt x="11776" y="7224"/>
                      <a:pt x="11708" y="7239"/>
                    </a:cubicBezTo>
                    <a:cubicBezTo>
                      <a:pt x="11698" y="7241"/>
                      <a:pt x="11692" y="7241"/>
                      <a:pt x="11682" y="7242"/>
                    </a:cubicBezTo>
                    <a:cubicBezTo>
                      <a:pt x="11671" y="7243"/>
                      <a:pt x="11657" y="7243"/>
                      <a:pt x="11642" y="7243"/>
                    </a:cubicBezTo>
                    <a:cubicBezTo>
                      <a:pt x="11542" y="7243"/>
                      <a:pt x="11355" y="7233"/>
                      <a:pt x="11355" y="7233"/>
                    </a:cubicBezTo>
                    <a:cubicBezTo>
                      <a:pt x="11354" y="7233"/>
                      <a:pt x="11203" y="7222"/>
                      <a:pt x="11052" y="7211"/>
                    </a:cubicBezTo>
                    <a:cubicBezTo>
                      <a:pt x="10977" y="7205"/>
                      <a:pt x="10901" y="7199"/>
                      <a:pt x="10844" y="7195"/>
                    </a:cubicBezTo>
                    <a:cubicBezTo>
                      <a:pt x="10816" y="7193"/>
                      <a:pt x="10792" y="7191"/>
                      <a:pt x="10776" y="7190"/>
                    </a:cubicBezTo>
                    <a:cubicBezTo>
                      <a:pt x="10768" y="7189"/>
                      <a:pt x="10761" y="7189"/>
                      <a:pt x="10756" y="7189"/>
                    </a:cubicBezTo>
                    <a:cubicBezTo>
                      <a:pt x="10754" y="7188"/>
                      <a:pt x="10752" y="7188"/>
                      <a:pt x="10751" y="7188"/>
                    </a:cubicBezTo>
                    <a:cubicBezTo>
                      <a:pt x="10750" y="7188"/>
                      <a:pt x="10750" y="7188"/>
                      <a:pt x="10749" y="7188"/>
                    </a:cubicBezTo>
                    <a:cubicBezTo>
                      <a:pt x="10749" y="7188"/>
                      <a:pt x="10748" y="7188"/>
                      <a:pt x="10748" y="7188"/>
                    </a:cubicBezTo>
                    <a:cubicBezTo>
                      <a:pt x="10747" y="7188"/>
                      <a:pt x="10747" y="7188"/>
                      <a:pt x="10745" y="7187"/>
                    </a:cubicBezTo>
                    <a:cubicBezTo>
                      <a:pt x="10744" y="7187"/>
                      <a:pt x="10743" y="7187"/>
                      <a:pt x="10741" y="7186"/>
                    </a:cubicBezTo>
                    <a:cubicBezTo>
                      <a:pt x="10739" y="7185"/>
                      <a:pt x="10737" y="7185"/>
                      <a:pt x="10734" y="7182"/>
                    </a:cubicBezTo>
                    <a:cubicBezTo>
                      <a:pt x="10733" y="7181"/>
                      <a:pt x="10731" y="7180"/>
                      <a:pt x="10729" y="7179"/>
                    </a:cubicBezTo>
                    <a:cubicBezTo>
                      <a:pt x="10727" y="7177"/>
                      <a:pt x="10722" y="7174"/>
                      <a:pt x="10715" y="7170"/>
                    </a:cubicBezTo>
                    <a:cubicBezTo>
                      <a:pt x="10278" y="8408"/>
                      <a:pt x="10278" y="8408"/>
                      <a:pt x="10278" y="8408"/>
                    </a:cubicBezTo>
                    <a:cubicBezTo>
                      <a:pt x="10282" y="8410"/>
                      <a:pt x="10287" y="8411"/>
                      <a:pt x="10291" y="8413"/>
                    </a:cubicBezTo>
                    <a:cubicBezTo>
                      <a:pt x="10540" y="8495"/>
                      <a:pt x="10775" y="8554"/>
                      <a:pt x="10946" y="8593"/>
                    </a:cubicBezTo>
                    <a:cubicBezTo>
                      <a:pt x="11032" y="8612"/>
                      <a:pt x="11102" y="8627"/>
                      <a:pt x="11151" y="8636"/>
                    </a:cubicBezTo>
                    <a:cubicBezTo>
                      <a:pt x="11191" y="8644"/>
                      <a:pt x="11216" y="8648"/>
                      <a:pt x="11224" y="8649"/>
                    </a:cubicBezTo>
                    <a:cubicBezTo>
                      <a:pt x="11276" y="8653"/>
                      <a:pt x="11937" y="8699"/>
                      <a:pt x="12132" y="8707"/>
                    </a:cubicBezTo>
                    <a:cubicBezTo>
                      <a:pt x="12233" y="8712"/>
                      <a:pt x="12348" y="8716"/>
                      <a:pt x="12475" y="8728"/>
                    </a:cubicBezTo>
                    <a:close/>
                    <a:moveTo>
                      <a:pt x="15985" y="4735"/>
                    </a:moveTo>
                    <a:cubicBezTo>
                      <a:pt x="14054" y="5137"/>
                      <a:pt x="14054" y="5137"/>
                      <a:pt x="14054" y="5137"/>
                    </a:cubicBezTo>
                    <a:cubicBezTo>
                      <a:pt x="13566" y="5021"/>
                      <a:pt x="13566" y="5021"/>
                      <a:pt x="13566" y="5021"/>
                    </a:cubicBezTo>
                    <a:cubicBezTo>
                      <a:pt x="12878" y="4821"/>
                      <a:pt x="12878" y="4821"/>
                      <a:pt x="12878" y="4821"/>
                    </a:cubicBezTo>
                    <a:cubicBezTo>
                      <a:pt x="12782" y="4794"/>
                      <a:pt x="12629" y="4775"/>
                      <a:pt x="12501" y="4762"/>
                    </a:cubicBezTo>
                    <a:cubicBezTo>
                      <a:pt x="12422" y="4754"/>
                      <a:pt x="12352" y="4749"/>
                      <a:pt x="12311" y="4746"/>
                    </a:cubicBezTo>
                    <a:cubicBezTo>
                      <a:pt x="12312" y="4751"/>
                      <a:pt x="12312" y="4751"/>
                      <a:pt x="12312" y="4751"/>
                    </a:cubicBezTo>
                    <a:cubicBezTo>
                      <a:pt x="12306" y="4751"/>
                      <a:pt x="12306" y="4751"/>
                      <a:pt x="12306" y="4751"/>
                    </a:cubicBezTo>
                    <a:cubicBezTo>
                      <a:pt x="12307" y="4781"/>
                      <a:pt x="12309" y="4822"/>
                      <a:pt x="12309" y="4822"/>
                    </a:cubicBezTo>
                    <a:cubicBezTo>
                      <a:pt x="12310" y="4826"/>
                      <a:pt x="12310" y="4826"/>
                      <a:pt x="12310" y="4826"/>
                    </a:cubicBezTo>
                    <a:cubicBezTo>
                      <a:pt x="12034" y="6710"/>
                      <a:pt x="12034" y="6710"/>
                      <a:pt x="12034" y="6710"/>
                    </a:cubicBezTo>
                    <a:cubicBezTo>
                      <a:pt x="12034" y="6712"/>
                      <a:pt x="12018" y="6827"/>
                      <a:pt x="11970" y="6950"/>
                    </a:cubicBezTo>
                    <a:cubicBezTo>
                      <a:pt x="11960" y="6978"/>
                      <a:pt x="11947" y="7006"/>
                      <a:pt x="11933" y="7033"/>
                    </a:cubicBezTo>
                    <a:cubicBezTo>
                      <a:pt x="12041" y="7087"/>
                      <a:pt x="12073" y="7198"/>
                      <a:pt x="12077" y="7211"/>
                    </a:cubicBezTo>
                    <a:cubicBezTo>
                      <a:pt x="12077" y="7211"/>
                      <a:pt x="12077" y="7211"/>
                      <a:pt x="12077" y="7211"/>
                    </a:cubicBezTo>
                    <a:cubicBezTo>
                      <a:pt x="12545" y="8735"/>
                      <a:pt x="12545" y="8735"/>
                      <a:pt x="12545" y="8735"/>
                    </a:cubicBezTo>
                    <a:cubicBezTo>
                      <a:pt x="12661" y="8748"/>
                      <a:pt x="12785" y="8767"/>
                      <a:pt x="12915" y="8798"/>
                    </a:cubicBezTo>
                    <a:cubicBezTo>
                      <a:pt x="13068" y="8835"/>
                      <a:pt x="13188" y="8883"/>
                      <a:pt x="13280" y="8945"/>
                    </a:cubicBezTo>
                    <a:cubicBezTo>
                      <a:pt x="13352" y="8994"/>
                      <a:pt x="13406" y="9055"/>
                      <a:pt x="13440" y="9123"/>
                    </a:cubicBezTo>
                    <a:cubicBezTo>
                      <a:pt x="13508" y="9107"/>
                      <a:pt x="13630" y="9077"/>
                      <a:pt x="13753" y="9047"/>
                    </a:cubicBezTo>
                    <a:cubicBezTo>
                      <a:pt x="13846" y="9025"/>
                      <a:pt x="13939" y="9003"/>
                      <a:pt x="14010" y="8986"/>
                    </a:cubicBezTo>
                    <a:cubicBezTo>
                      <a:pt x="14045" y="8977"/>
                      <a:pt x="14075" y="8970"/>
                      <a:pt x="14097" y="8965"/>
                    </a:cubicBezTo>
                    <a:cubicBezTo>
                      <a:pt x="14108" y="8963"/>
                      <a:pt x="14117" y="8961"/>
                      <a:pt x="14124" y="8960"/>
                    </a:cubicBezTo>
                    <a:cubicBezTo>
                      <a:pt x="14127" y="8959"/>
                      <a:pt x="14130" y="8958"/>
                      <a:pt x="14133" y="8958"/>
                    </a:cubicBezTo>
                    <a:cubicBezTo>
                      <a:pt x="14135" y="8957"/>
                      <a:pt x="14136" y="8957"/>
                      <a:pt x="14138" y="8957"/>
                    </a:cubicBezTo>
                    <a:cubicBezTo>
                      <a:pt x="14139" y="8957"/>
                      <a:pt x="14140" y="8957"/>
                      <a:pt x="14142" y="8956"/>
                    </a:cubicBezTo>
                    <a:cubicBezTo>
                      <a:pt x="14148" y="8955"/>
                      <a:pt x="14167" y="8950"/>
                      <a:pt x="14191" y="8943"/>
                    </a:cubicBezTo>
                    <a:cubicBezTo>
                      <a:pt x="14273" y="8918"/>
                      <a:pt x="14432" y="8866"/>
                      <a:pt x="14604" y="8804"/>
                    </a:cubicBezTo>
                    <a:cubicBezTo>
                      <a:pt x="14716" y="8763"/>
                      <a:pt x="14943" y="8646"/>
                      <a:pt x="15140" y="8539"/>
                    </a:cubicBezTo>
                    <a:cubicBezTo>
                      <a:pt x="15239" y="8485"/>
                      <a:pt x="15331" y="8433"/>
                      <a:pt x="15400" y="8395"/>
                    </a:cubicBezTo>
                    <a:cubicBezTo>
                      <a:pt x="15435" y="8375"/>
                      <a:pt x="15464" y="8359"/>
                      <a:pt x="15485" y="8347"/>
                    </a:cubicBezTo>
                    <a:cubicBezTo>
                      <a:pt x="15496" y="8341"/>
                      <a:pt x="15505" y="8336"/>
                      <a:pt x="15511" y="8333"/>
                    </a:cubicBezTo>
                    <a:cubicBezTo>
                      <a:pt x="15519" y="8329"/>
                      <a:pt x="15522" y="8327"/>
                      <a:pt x="15529" y="8324"/>
                    </a:cubicBezTo>
                    <a:cubicBezTo>
                      <a:pt x="15543" y="8318"/>
                      <a:pt x="15576" y="8303"/>
                      <a:pt x="15609" y="8289"/>
                    </a:cubicBezTo>
                    <a:cubicBezTo>
                      <a:pt x="15598" y="8200"/>
                      <a:pt x="15574" y="8009"/>
                      <a:pt x="15547" y="7789"/>
                    </a:cubicBezTo>
                    <a:cubicBezTo>
                      <a:pt x="15509" y="7484"/>
                      <a:pt x="15464" y="7125"/>
                      <a:pt x="15436" y="6908"/>
                    </a:cubicBezTo>
                    <a:cubicBezTo>
                      <a:pt x="15423" y="6805"/>
                      <a:pt x="15417" y="6717"/>
                      <a:pt x="15417" y="6641"/>
                    </a:cubicBezTo>
                    <a:cubicBezTo>
                      <a:pt x="15417" y="6393"/>
                      <a:pt x="15482" y="6261"/>
                      <a:pt x="15556" y="6081"/>
                    </a:cubicBezTo>
                    <a:cubicBezTo>
                      <a:pt x="15661" y="5831"/>
                      <a:pt x="15921" y="5619"/>
                      <a:pt x="15999" y="5285"/>
                    </a:cubicBezTo>
                    <a:cubicBezTo>
                      <a:pt x="16020" y="5194"/>
                      <a:pt x="16028" y="5110"/>
                      <a:pt x="16028" y="5035"/>
                    </a:cubicBezTo>
                    <a:cubicBezTo>
                      <a:pt x="16028" y="4932"/>
                      <a:pt x="16014" y="4847"/>
                      <a:pt x="15999" y="4788"/>
                    </a:cubicBezTo>
                    <a:cubicBezTo>
                      <a:pt x="15994" y="4767"/>
                      <a:pt x="15989" y="4749"/>
                      <a:pt x="15985" y="4735"/>
                    </a:cubicBezTo>
                    <a:close/>
                    <a:moveTo>
                      <a:pt x="16018" y="1786"/>
                    </a:moveTo>
                    <a:cubicBezTo>
                      <a:pt x="15564" y="1885"/>
                      <a:pt x="15099" y="1923"/>
                      <a:pt x="14949" y="1949"/>
                    </a:cubicBezTo>
                    <a:cubicBezTo>
                      <a:pt x="14884" y="1960"/>
                      <a:pt x="14692" y="1963"/>
                      <a:pt x="14458" y="1963"/>
                    </a:cubicBezTo>
                    <a:cubicBezTo>
                      <a:pt x="14001" y="1963"/>
                      <a:pt x="13397" y="1950"/>
                      <a:pt x="13368" y="1950"/>
                    </a:cubicBezTo>
                    <a:cubicBezTo>
                      <a:pt x="13291" y="1953"/>
                      <a:pt x="13200" y="1954"/>
                      <a:pt x="13128" y="2035"/>
                    </a:cubicBezTo>
                    <a:cubicBezTo>
                      <a:pt x="13089" y="2079"/>
                      <a:pt x="13041" y="2143"/>
                      <a:pt x="13004" y="2196"/>
                    </a:cubicBezTo>
                    <a:cubicBezTo>
                      <a:pt x="12966" y="2248"/>
                      <a:pt x="12939" y="2289"/>
                      <a:pt x="12939" y="2289"/>
                    </a:cubicBezTo>
                    <a:cubicBezTo>
                      <a:pt x="12938" y="2290"/>
                      <a:pt x="12938" y="2290"/>
                      <a:pt x="12938" y="2290"/>
                    </a:cubicBezTo>
                    <a:cubicBezTo>
                      <a:pt x="12937" y="2291"/>
                      <a:pt x="12937" y="2291"/>
                      <a:pt x="12937" y="2291"/>
                    </a:cubicBezTo>
                    <a:cubicBezTo>
                      <a:pt x="12937" y="2292"/>
                      <a:pt x="12841" y="2409"/>
                      <a:pt x="12742" y="2532"/>
                    </a:cubicBezTo>
                    <a:cubicBezTo>
                      <a:pt x="12693" y="2593"/>
                      <a:pt x="12643" y="2656"/>
                      <a:pt x="12604" y="2706"/>
                    </a:cubicBezTo>
                    <a:cubicBezTo>
                      <a:pt x="12585" y="2731"/>
                      <a:pt x="12569" y="2753"/>
                      <a:pt x="12556" y="2770"/>
                    </a:cubicBezTo>
                    <a:cubicBezTo>
                      <a:pt x="12550" y="2778"/>
                      <a:pt x="12545" y="2785"/>
                      <a:pt x="12542" y="2791"/>
                    </a:cubicBezTo>
                    <a:cubicBezTo>
                      <a:pt x="12540" y="2793"/>
                      <a:pt x="12539" y="2795"/>
                      <a:pt x="12538" y="2797"/>
                    </a:cubicBezTo>
                    <a:cubicBezTo>
                      <a:pt x="12537" y="2799"/>
                      <a:pt x="12536" y="2799"/>
                      <a:pt x="12536" y="2799"/>
                    </a:cubicBezTo>
                    <a:cubicBezTo>
                      <a:pt x="12521" y="2831"/>
                      <a:pt x="12488" y="2909"/>
                      <a:pt x="12471" y="2947"/>
                    </a:cubicBezTo>
                    <a:cubicBezTo>
                      <a:pt x="12495" y="2959"/>
                      <a:pt x="12518" y="2975"/>
                      <a:pt x="12540" y="2995"/>
                    </a:cubicBezTo>
                    <a:cubicBezTo>
                      <a:pt x="12543" y="2998"/>
                      <a:pt x="12543" y="2998"/>
                      <a:pt x="12543" y="2998"/>
                    </a:cubicBezTo>
                    <a:cubicBezTo>
                      <a:pt x="13286" y="4127"/>
                      <a:pt x="13286" y="4127"/>
                      <a:pt x="13286" y="4127"/>
                    </a:cubicBezTo>
                    <a:cubicBezTo>
                      <a:pt x="13288" y="4130"/>
                      <a:pt x="13332" y="4197"/>
                      <a:pt x="13332" y="4309"/>
                    </a:cubicBezTo>
                    <a:cubicBezTo>
                      <a:pt x="13332" y="4369"/>
                      <a:pt x="13319" y="4442"/>
                      <a:pt x="13281" y="4523"/>
                    </a:cubicBezTo>
                    <a:cubicBezTo>
                      <a:pt x="13211" y="4672"/>
                      <a:pt x="13152" y="4773"/>
                      <a:pt x="13121" y="4823"/>
                    </a:cubicBezTo>
                    <a:cubicBezTo>
                      <a:pt x="13583" y="4958"/>
                      <a:pt x="13583" y="4958"/>
                      <a:pt x="13583" y="4958"/>
                    </a:cubicBezTo>
                    <a:cubicBezTo>
                      <a:pt x="14055" y="5070"/>
                      <a:pt x="14055" y="5070"/>
                      <a:pt x="14055" y="5070"/>
                    </a:cubicBezTo>
                    <a:cubicBezTo>
                      <a:pt x="15959" y="4674"/>
                      <a:pt x="15959" y="4674"/>
                      <a:pt x="15959" y="4674"/>
                    </a:cubicBezTo>
                    <a:cubicBezTo>
                      <a:pt x="15957" y="4667"/>
                      <a:pt x="15955" y="4659"/>
                      <a:pt x="15953" y="4650"/>
                    </a:cubicBezTo>
                    <a:cubicBezTo>
                      <a:pt x="15909" y="4497"/>
                      <a:pt x="15744" y="3957"/>
                      <a:pt x="15655" y="3537"/>
                    </a:cubicBezTo>
                    <a:cubicBezTo>
                      <a:pt x="15611" y="3328"/>
                      <a:pt x="15594" y="3119"/>
                      <a:pt x="15594" y="2932"/>
                    </a:cubicBezTo>
                    <a:cubicBezTo>
                      <a:pt x="15595" y="2671"/>
                      <a:pt x="15626" y="2452"/>
                      <a:pt x="15659" y="2328"/>
                    </a:cubicBezTo>
                    <a:cubicBezTo>
                      <a:pt x="15691" y="2215"/>
                      <a:pt x="15793" y="2067"/>
                      <a:pt x="15889" y="1942"/>
                    </a:cubicBezTo>
                    <a:cubicBezTo>
                      <a:pt x="15937" y="1881"/>
                      <a:pt x="15983" y="1826"/>
                      <a:pt x="16018" y="1786"/>
                    </a:cubicBezTo>
                    <a:close/>
                    <a:moveTo>
                      <a:pt x="16118" y="1771"/>
                    </a:moveTo>
                    <a:cubicBezTo>
                      <a:pt x="16114" y="1764"/>
                      <a:pt x="16114" y="1764"/>
                      <a:pt x="16114" y="1764"/>
                    </a:cubicBezTo>
                    <a:cubicBezTo>
                      <a:pt x="16114" y="1764"/>
                      <a:pt x="16114" y="1764"/>
                      <a:pt x="16114" y="1764"/>
                    </a:cubicBezTo>
                    <a:lnTo>
                      <a:pt x="16118" y="1771"/>
                    </a:lnTo>
                    <a:close/>
                    <a:moveTo>
                      <a:pt x="4860" y="10782"/>
                    </a:moveTo>
                    <a:cubicBezTo>
                      <a:pt x="4865" y="10821"/>
                      <a:pt x="4865" y="10821"/>
                      <a:pt x="4865" y="10821"/>
                    </a:cubicBezTo>
                    <a:cubicBezTo>
                      <a:pt x="4878" y="10821"/>
                      <a:pt x="4878" y="10821"/>
                      <a:pt x="4878" y="10821"/>
                    </a:cubicBezTo>
                    <a:cubicBezTo>
                      <a:pt x="4874" y="10793"/>
                      <a:pt x="4874" y="10793"/>
                      <a:pt x="4874" y="10793"/>
                    </a:cubicBezTo>
                    <a:cubicBezTo>
                      <a:pt x="4952" y="10783"/>
                      <a:pt x="4952" y="10783"/>
                      <a:pt x="4952" y="10783"/>
                    </a:cubicBezTo>
                    <a:cubicBezTo>
                      <a:pt x="4957" y="10821"/>
                      <a:pt x="4957" y="10821"/>
                      <a:pt x="4957" y="10821"/>
                    </a:cubicBezTo>
                    <a:cubicBezTo>
                      <a:pt x="4970" y="10821"/>
                      <a:pt x="4970" y="10821"/>
                      <a:pt x="4970" y="10821"/>
                    </a:cubicBezTo>
                    <a:cubicBezTo>
                      <a:pt x="4963" y="10768"/>
                      <a:pt x="4963" y="10768"/>
                      <a:pt x="4963" y="10768"/>
                    </a:cubicBezTo>
                    <a:lnTo>
                      <a:pt x="4860" y="10782"/>
                    </a:lnTo>
                    <a:close/>
                    <a:moveTo>
                      <a:pt x="7605" y="9494"/>
                    </a:moveTo>
                    <a:cubicBezTo>
                      <a:pt x="7658" y="9548"/>
                      <a:pt x="7658" y="9548"/>
                      <a:pt x="7658" y="9548"/>
                    </a:cubicBezTo>
                    <a:cubicBezTo>
                      <a:pt x="7604" y="9601"/>
                      <a:pt x="7604" y="9601"/>
                      <a:pt x="7604" y="9601"/>
                    </a:cubicBezTo>
                    <a:cubicBezTo>
                      <a:pt x="7599" y="9597"/>
                      <a:pt x="7599" y="9597"/>
                      <a:pt x="7599" y="9597"/>
                    </a:cubicBezTo>
                    <a:cubicBezTo>
                      <a:pt x="7467" y="9457"/>
                      <a:pt x="7467" y="9457"/>
                      <a:pt x="7467" y="9457"/>
                    </a:cubicBezTo>
                    <a:cubicBezTo>
                      <a:pt x="7503" y="9423"/>
                      <a:pt x="7503" y="9423"/>
                      <a:pt x="7503" y="9423"/>
                    </a:cubicBezTo>
                    <a:cubicBezTo>
                      <a:pt x="7495" y="9414"/>
                      <a:pt x="7495" y="9414"/>
                      <a:pt x="7495" y="9414"/>
                    </a:cubicBezTo>
                    <a:cubicBezTo>
                      <a:pt x="7490" y="9409"/>
                      <a:pt x="7490" y="9409"/>
                      <a:pt x="7490" y="9409"/>
                    </a:cubicBezTo>
                    <a:cubicBezTo>
                      <a:pt x="7560" y="9342"/>
                      <a:pt x="7560" y="9342"/>
                      <a:pt x="7560" y="9342"/>
                    </a:cubicBezTo>
                    <a:cubicBezTo>
                      <a:pt x="7658" y="9443"/>
                      <a:pt x="7658" y="9443"/>
                      <a:pt x="7658" y="9443"/>
                    </a:cubicBezTo>
                    <a:lnTo>
                      <a:pt x="7605" y="9494"/>
                    </a:lnTo>
                    <a:close/>
                    <a:moveTo>
                      <a:pt x="7587" y="9494"/>
                    </a:moveTo>
                    <a:cubicBezTo>
                      <a:pt x="7639" y="9443"/>
                      <a:pt x="7639" y="9443"/>
                      <a:pt x="7639" y="9443"/>
                    </a:cubicBezTo>
                    <a:cubicBezTo>
                      <a:pt x="7559" y="9361"/>
                      <a:pt x="7559" y="9361"/>
                      <a:pt x="7559" y="9361"/>
                    </a:cubicBezTo>
                    <a:cubicBezTo>
                      <a:pt x="7509" y="9410"/>
                      <a:pt x="7509" y="9410"/>
                      <a:pt x="7509" y="9410"/>
                    </a:cubicBezTo>
                    <a:cubicBezTo>
                      <a:pt x="7517" y="9418"/>
                      <a:pt x="7517" y="9418"/>
                      <a:pt x="7517" y="9418"/>
                    </a:cubicBezTo>
                    <a:cubicBezTo>
                      <a:pt x="7522" y="9423"/>
                      <a:pt x="7522" y="9423"/>
                      <a:pt x="7522" y="9423"/>
                    </a:cubicBezTo>
                    <a:cubicBezTo>
                      <a:pt x="7486" y="9457"/>
                      <a:pt x="7486" y="9457"/>
                      <a:pt x="7486" y="9457"/>
                    </a:cubicBezTo>
                    <a:cubicBezTo>
                      <a:pt x="7604" y="9583"/>
                      <a:pt x="7604" y="9583"/>
                      <a:pt x="7604" y="9583"/>
                    </a:cubicBezTo>
                    <a:cubicBezTo>
                      <a:pt x="7640" y="9548"/>
                      <a:pt x="7640" y="9548"/>
                      <a:pt x="7640" y="9548"/>
                    </a:cubicBezTo>
                    <a:lnTo>
                      <a:pt x="7587" y="9494"/>
                    </a:lnTo>
                    <a:close/>
                    <a:moveTo>
                      <a:pt x="7117" y="6976"/>
                    </a:moveTo>
                    <a:cubicBezTo>
                      <a:pt x="7267" y="6994"/>
                      <a:pt x="7267" y="6994"/>
                      <a:pt x="7267" y="6994"/>
                    </a:cubicBezTo>
                    <a:cubicBezTo>
                      <a:pt x="7258" y="7069"/>
                      <a:pt x="7258" y="7069"/>
                      <a:pt x="7258" y="7069"/>
                    </a:cubicBezTo>
                    <a:cubicBezTo>
                      <a:pt x="7252" y="7068"/>
                      <a:pt x="7252" y="7068"/>
                      <a:pt x="7252" y="7068"/>
                    </a:cubicBezTo>
                    <a:cubicBezTo>
                      <a:pt x="7108" y="7051"/>
                      <a:pt x="7108" y="7051"/>
                      <a:pt x="7108" y="7051"/>
                    </a:cubicBezTo>
                    <a:lnTo>
                      <a:pt x="7117" y="6976"/>
                    </a:lnTo>
                    <a:close/>
                    <a:moveTo>
                      <a:pt x="7122" y="7039"/>
                    </a:moveTo>
                    <a:cubicBezTo>
                      <a:pt x="7247" y="7054"/>
                      <a:pt x="7247" y="7054"/>
                      <a:pt x="7247" y="7054"/>
                    </a:cubicBezTo>
                    <a:cubicBezTo>
                      <a:pt x="7253" y="7005"/>
                      <a:pt x="7253" y="7005"/>
                      <a:pt x="7253" y="7005"/>
                    </a:cubicBezTo>
                    <a:cubicBezTo>
                      <a:pt x="7128" y="6990"/>
                      <a:pt x="7128" y="6990"/>
                      <a:pt x="7128" y="6990"/>
                    </a:cubicBezTo>
                    <a:lnTo>
                      <a:pt x="7122" y="7039"/>
                    </a:lnTo>
                    <a:close/>
                    <a:moveTo>
                      <a:pt x="7337" y="9661"/>
                    </a:moveTo>
                    <a:cubicBezTo>
                      <a:pt x="7406" y="9593"/>
                      <a:pt x="7406" y="9593"/>
                      <a:pt x="7406" y="9593"/>
                    </a:cubicBezTo>
                    <a:cubicBezTo>
                      <a:pt x="7505" y="9695"/>
                      <a:pt x="7505" y="9695"/>
                      <a:pt x="7505" y="9695"/>
                    </a:cubicBezTo>
                    <a:cubicBezTo>
                      <a:pt x="7452" y="9746"/>
                      <a:pt x="7452" y="9746"/>
                      <a:pt x="7452" y="9746"/>
                    </a:cubicBezTo>
                    <a:cubicBezTo>
                      <a:pt x="7505" y="9800"/>
                      <a:pt x="7505" y="9800"/>
                      <a:pt x="7505" y="9800"/>
                    </a:cubicBezTo>
                    <a:cubicBezTo>
                      <a:pt x="7451" y="9853"/>
                      <a:pt x="7451" y="9853"/>
                      <a:pt x="7451" y="9853"/>
                    </a:cubicBezTo>
                    <a:cubicBezTo>
                      <a:pt x="7446" y="9848"/>
                      <a:pt x="7446" y="9848"/>
                      <a:pt x="7446" y="9848"/>
                    </a:cubicBezTo>
                    <a:cubicBezTo>
                      <a:pt x="7314" y="9709"/>
                      <a:pt x="7314" y="9709"/>
                      <a:pt x="7314" y="9709"/>
                    </a:cubicBezTo>
                    <a:cubicBezTo>
                      <a:pt x="7350" y="9674"/>
                      <a:pt x="7350" y="9674"/>
                      <a:pt x="7350" y="9674"/>
                    </a:cubicBezTo>
                    <a:cubicBezTo>
                      <a:pt x="7342" y="9666"/>
                      <a:pt x="7342" y="9666"/>
                      <a:pt x="7342" y="9666"/>
                    </a:cubicBezTo>
                    <a:lnTo>
                      <a:pt x="7337" y="9661"/>
                    </a:lnTo>
                    <a:close/>
                    <a:moveTo>
                      <a:pt x="7356" y="9661"/>
                    </a:moveTo>
                    <a:cubicBezTo>
                      <a:pt x="7364" y="9670"/>
                      <a:pt x="7364" y="9670"/>
                      <a:pt x="7364" y="9670"/>
                    </a:cubicBezTo>
                    <a:cubicBezTo>
                      <a:pt x="7368" y="9674"/>
                      <a:pt x="7368" y="9674"/>
                      <a:pt x="7368" y="9674"/>
                    </a:cubicBezTo>
                    <a:cubicBezTo>
                      <a:pt x="7333" y="9709"/>
                      <a:pt x="7333" y="9709"/>
                      <a:pt x="7333" y="9709"/>
                    </a:cubicBezTo>
                    <a:cubicBezTo>
                      <a:pt x="7451" y="9834"/>
                      <a:pt x="7451" y="9834"/>
                      <a:pt x="7451" y="9834"/>
                    </a:cubicBezTo>
                    <a:cubicBezTo>
                      <a:pt x="7487" y="9800"/>
                      <a:pt x="7487" y="9800"/>
                      <a:pt x="7487" y="9800"/>
                    </a:cubicBezTo>
                    <a:cubicBezTo>
                      <a:pt x="7434" y="9745"/>
                      <a:pt x="7434" y="9745"/>
                      <a:pt x="7434" y="9745"/>
                    </a:cubicBezTo>
                    <a:cubicBezTo>
                      <a:pt x="7486" y="9694"/>
                      <a:pt x="7486" y="9694"/>
                      <a:pt x="7486" y="9694"/>
                    </a:cubicBezTo>
                    <a:cubicBezTo>
                      <a:pt x="7406" y="9612"/>
                      <a:pt x="7406" y="9612"/>
                      <a:pt x="7406" y="9612"/>
                    </a:cubicBezTo>
                    <a:lnTo>
                      <a:pt x="7356" y="9661"/>
                    </a:lnTo>
                    <a:close/>
                    <a:moveTo>
                      <a:pt x="8480" y="9436"/>
                    </a:moveTo>
                    <a:cubicBezTo>
                      <a:pt x="8796" y="9620"/>
                      <a:pt x="8796" y="9620"/>
                      <a:pt x="8796" y="9620"/>
                    </a:cubicBezTo>
                    <a:cubicBezTo>
                      <a:pt x="8740" y="9715"/>
                      <a:pt x="8740" y="9715"/>
                      <a:pt x="8740" y="9715"/>
                    </a:cubicBezTo>
                    <a:cubicBezTo>
                      <a:pt x="8679" y="9679"/>
                      <a:pt x="8679" y="9679"/>
                      <a:pt x="8679" y="9679"/>
                    </a:cubicBezTo>
                    <a:cubicBezTo>
                      <a:pt x="8578" y="9869"/>
                      <a:pt x="8578" y="9869"/>
                      <a:pt x="8578" y="9869"/>
                    </a:cubicBezTo>
                    <a:cubicBezTo>
                      <a:pt x="8632" y="9904"/>
                      <a:pt x="8632" y="9904"/>
                      <a:pt x="8632" y="9904"/>
                    </a:cubicBezTo>
                    <a:cubicBezTo>
                      <a:pt x="8530" y="10085"/>
                      <a:pt x="8530" y="10085"/>
                      <a:pt x="8530" y="10085"/>
                    </a:cubicBezTo>
                    <a:cubicBezTo>
                      <a:pt x="8410" y="10019"/>
                      <a:pt x="8410" y="10019"/>
                      <a:pt x="8410" y="10019"/>
                    </a:cubicBezTo>
                    <a:cubicBezTo>
                      <a:pt x="8544" y="9786"/>
                      <a:pt x="8544" y="9786"/>
                      <a:pt x="8544" y="9786"/>
                    </a:cubicBezTo>
                    <a:cubicBezTo>
                      <a:pt x="8421" y="9714"/>
                      <a:pt x="8421" y="9714"/>
                      <a:pt x="8421" y="9714"/>
                    </a:cubicBezTo>
                    <a:cubicBezTo>
                      <a:pt x="8287" y="9947"/>
                      <a:pt x="8287" y="9947"/>
                      <a:pt x="8287" y="9947"/>
                    </a:cubicBezTo>
                    <a:cubicBezTo>
                      <a:pt x="8209" y="9900"/>
                      <a:pt x="8209" y="9900"/>
                      <a:pt x="8209" y="9900"/>
                    </a:cubicBezTo>
                    <a:cubicBezTo>
                      <a:pt x="8370" y="9626"/>
                      <a:pt x="8370" y="9626"/>
                      <a:pt x="8370" y="9626"/>
                    </a:cubicBezTo>
                    <a:cubicBezTo>
                      <a:pt x="8308" y="9591"/>
                      <a:pt x="8308" y="9591"/>
                      <a:pt x="8308" y="9591"/>
                    </a:cubicBezTo>
                    <a:cubicBezTo>
                      <a:pt x="8228" y="9728"/>
                      <a:pt x="8228" y="9728"/>
                      <a:pt x="8228" y="9728"/>
                    </a:cubicBezTo>
                    <a:cubicBezTo>
                      <a:pt x="8161" y="9690"/>
                      <a:pt x="8161" y="9690"/>
                      <a:pt x="8161" y="9690"/>
                    </a:cubicBezTo>
                    <a:cubicBezTo>
                      <a:pt x="8240" y="9546"/>
                      <a:pt x="8240" y="9546"/>
                      <a:pt x="8240" y="9546"/>
                    </a:cubicBezTo>
                    <a:cubicBezTo>
                      <a:pt x="8182" y="9515"/>
                      <a:pt x="8182" y="9515"/>
                      <a:pt x="8182" y="9515"/>
                    </a:cubicBezTo>
                    <a:cubicBezTo>
                      <a:pt x="8240" y="9425"/>
                      <a:pt x="8240" y="9425"/>
                      <a:pt x="8240" y="9425"/>
                    </a:cubicBezTo>
                    <a:cubicBezTo>
                      <a:pt x="8246" y="9428"/>
                      <a:pt x="8246" y="9428"/>
                      <a:pt x="8246" y="9428"/>
                    </a:cubicBezTo>
                    <a:cubicBezTo>
                      <a:pt x="8422" y="9524"/>
                      <a:pt x="8422" y="9524"/>
                      <a:pt x="8422" y="9524"/>
                    </a:cubicBezTo>
                    <a:lnTo>
                      <a:pt x="8480" y="9436"/>
                    </a:lnTo>
                    <a:close/>
                    <a:moveTo>
                      <a:pt x="8485" y="9456"/>
                    </a:moveTo>
                    <a:cubicBezTo>
                      <a:pt x="8427" y="9544"/>
                      <a:pt x="8427" y="9544"/>
                      <a:pt x="8427" y="9544"/>
                    </a:cubicBezTo>
                    <a:cubicBezTo>
                      <a:pt x="8245" y="9445"/>
                      <a:pt x="8245" y="9445"/>
                      <a:pt x="8245" y="9445"/>
                    </a:cubicBezTo>
                    <a:cubicBezTo>
                      <a:pt x="8203" y="9509"/>
                      <a:pt x="8203" y="9509"/>
                      <a:pt x="8203" y="9509"/>
                    </a:cubicBezTo>
                    <a:cubicBezTo>
                      <a:pt x="8260" y="9540"/>
                      <a:pt x="8260" y="9540"/>
                      <a:pt x="8260" y="9540"/>
                    </a:cubicBezTo>
                    <a:cubicBezTo>
                      <a:pt x="8181" y="9685"/>
                      <a:pt x="8181" y="9685"/>
                      <a:pt x="8181" y="9685"/>
                    </a:cubicBezTo>
                    <a:cubicBezTo>
                      <a:pt x="8222" y="9708"/>
                      <a:pt x="8222" y="9708"/>
                      <a:pt x="8222" y="9708"/>
                    </a:cubicBezTo>
                    <a:cubicBezTo>
                      <a:pt x="8303" y="9571"/>
                      <a:pt x="8303" y="9571"/>
                      <a:pt x="8303" y="9571"/>
                    </a:cubicBezTo>
                    <a:cubicBezTo>
                      <a:pt x="8390" y="9620"/>
                      <a:pt x="8390" y="9620"/>
                      <a:pt x="8390" y="9620"/>
                    </a:cubicBezTo>
                    <a:cubicBezTo>
                      <a:pt x="8229" y="9895"/>
                      <a:pt x="8229" y="9895"/>
                      <a:pt x="8229" y="9895"/>
                    </a:cubicBezTo>
                    <a:cubicBezTo>
                      <a:pt x="8281" y="9927"/>
                      <a:pt x="8281" y="9927"/>
                      <a:pt x="8281" y="9927"/>
                    </a:cubicBezTo>
                    <a:cubicBezTo>
                      <a:pt x="8416" y="9693"/>
                      <a:pt x="8416" y="9693"/>
                      <a:pt x="8416" y="9693"/>
                    </a:cubicBezTo>
                    <a:cubicBezTo>
                      <a:pt x="8564" y="9780"/>
                      <a:pt x="8564" y="9780"/>
                      <a:pt x="8564" y="9780"/>
                    </a:cubicBezTo>
                    <a:cubicBezTo>
                      <a:pt x="8430" y="10013"/>
                      <a:pt x="8430" y="10013"/>
                      <a:pt x="8430" y="10013"/>
                    </a:cubicBezTo>
                    <a:cubicBezTo>
                      <a:pt x="8524" y="10065"/>
                      <a:pt x="8524" y="10065"/>
                      <a:pt x="8524" y="10065"/>
                    </a:cubicBezTo>
                    <a:cubicBezTo>
                      <a:pt x="8612" y="9909"/>
                      <a:pt x="8612" y="9909"/>
                      <a:pt x="8612" y="9909"/>
                    </a:cubicBezTo>
                    <a:cubicBezTo>
                      <a:pt x="8558" y="9874"/>
                      <a:pt x="8558" y="9874"/>
                      <a:pt x="8558" y="9874"/>
                    </a:cubicBezTo>
                    <a:cubicBezTo>
                      <a:pt x="8673" y="9658"/>
                      <a:pt x="8673" y="9658"/>
                      <a:pt x="8673" y="9658"/>
                    </a:cubicBezTo>
                    <a:cubicBezTo>
                      <a:pt x="8735" y="9695"/>
                      <a:pt x="8735" y="9695"/>
                      <a:pt x="8735" y="9695"/>
                    </a:cubicBezTo>
                    <a:cubicBezTo>
                      <a:pt x="8776" y="9625"/>
                      <a:pt x="8776" y="9625"/>
                      <a:pt x="8776" y="9625"/>
                    </a:cubicBezTo>
                    <a:lnTo>
                      <a:pt x="8485" y="9456"/>
                    </a:lnTo>
                    <a:close/>
                    <a:moveTo>
                      <a:pt x="5714" y="6915"/>
                    </a:moveTo>
                    <a:cubicBezTo>
                      <a:pt x="5570" y="6897"/>
                      <a:pt x="5570" y="6897"/>
                      <a:pt x="5570" y="6897"/>
                    </a:cubicBezTo>
                    <a:cubicBezTo>
                      <a:pt x="5579" y="6822"/>
                      <a:pt x="5579" y="6822"/>
                      <a:pt x="5579" y="6822"/>
                    </a:cubicBezTo>
                    <a:cubicBezTo>
                      <a:pt x="5730" y="6841"/>
                      <a:pt x="5730" y="6841"/>
                      <a:pt x="5730" y="6841"/>
                    </a:cubicBezTo>
                    <a:cubicBezTo>
                      <a:pt x="5721" y="6916"/>
                      <a:pt x="5721" y="6916"/>
                      <a:pt x="5721" y="6916"/>
                    </a:cubicBezTo>
                    <a:lnTo>
                      <a:pt x="5714" y="6915"/>
                    </a:lnTo>
                    <a:close/>
                    <a:moveTo>
                      <a:pt x="5709" y="6901"/>
                    </a:moveTo>
                    <a:cubicBezTo>
                      <a:pt x="5715" y="6852"/>
                      <a:pt x="5715" y="6852"/>
                      <a:pt x="5715" y="6852"/>
                    </a:cubicBezTo>
                    <a:cubicBezTo>
                      <a:pt x="5591" y="6837"/>
                      <a:pt x="5591" y="6837"/>
                      <a:pt x="5591" y="6837"/>
                    </a:cubicBezTo>
                    <a:cubicBezTo>
                      <a:pt x="5585" y="6886"/>
                      <a:pt x="5585" y="6886"/>
                      <a:pt x="5585" y="6886"/>
                    </a:cubicBezTo>
                    <a:lnTo>
                      <a:pt x="5709" y="6901"/>
                    </a:lnTo>
                    <a:close/>
                    <a:moveTo>
                      <a:pt x="4690" y="10804"/>
                    </a:moveTo>
                    <a:cubicBezTo>
                      <a:pt x="4692" y="10821"/>
                      <a:pt x="4692" y="10821"/>
                      <a:pt x="4692" y="10821"/>
                    </a:cubicBezTo>
                    <a:cubicBezTo>
                      <a:pt x="4705" y="10821"/>
                      <a:pt x="4705" y="10821"/>
                      <a:pt x="4705" y="10821"/>
                    </a:cubicBezTo>
                    <a:cubicBezTo>
                      <a:pt x="4705" y="10815"/>
                      <a:pt x="4705" y="10815"/>
                      <a:pt x="4705" y="10815"/>
                    </a:cubicBezTo>
                    <a:cubicBezTo>
                      <a:pt x="4782" y="10804"/>
                      <a:pt x="4782" y="10804"/>
                      <a:pt x="4782" y="10804"/>
                    </a:cubicBezTo>
                    <a:cubicBezTo>
                      <a:pt x="4785" y="10821"/>
                      <a:pt x="4785" y="10821"/>
                      <a:pt x="4785" y="10821"/>
                    </a:cubicBezTo>
                    <a:cubicBezTo>
                      <a:pt x="4798" y="10821"/>
                      <a:pt x="4798" y="10821"/>
                      <a:pt x="4798" y="10821"/>
                    </a:cubicBezTo>
                    <a:cubicBezTo>
                      <a:pt x="4793" y="10790"/>
                      <a:pt x="4793" y="10790"/>
                      <a:pt x="4793" y="10790"/>
                    </a:cubicBezTo>
                    <a:lnTo>
                      <a:pt x="4690" y="10804"/>
                    </a:lnTo>
                    <a:close/>
                    <a:moveTo>
                      <a:pt x="5650" y="6465"/>
                    </a:moveTo>
                    <a:cubicBezTo>
                      <a:pt x="5801" y="6483"/>
                      <a:pt x="5801" y="6483"/>
                      <a:pt x="5801" y="6483"/>
                    </a:cubicBezTo>
                    <a:cubicBezTo>
                      <a:pt x="5792" y="6558"/>
                      <a:pt x="5792" y="6558"/>
                      <a:pt x="5792" y="6558"/>
                    </a:cubicBezTo>
                    <a:cubicBezTo>
                      <a:pt x="5785" y="6558"/>
                      <a:pt x="5785" y="6558"/>
                      <a:pt x="5785" y="6558"/>
                    </a:cubicBezTo>
                    <a:cubicBezTo>
                      <a:pt x="5641" y="6540"/>
                      <a:pt x="5641" y="6540"/>
                      <a:pt x="5641" y="6540"/>
                    </a:cubicBezTo>
                    <a:lnTo>
                      <a:pt x="5650" y="6465"/>
                    </a:lnTo>
                    <a:close/>
                    <a:moveTo>
                      <a:pt x="5656" y="6529"/>
                    </a:moveTo>
                    <a:cubicBezTo>
                      <a:pt x="5780" y="6544"/>
                      <a:pt x="5780" y="6544"/>
                      <a:pt x="5780" y="6544"/>
                    </a:cubicBezTo>
                    <a:cubicBezTo>
                      <a:pt x="5786" y="6495"/>
                      <a:pt x="5786" y="6495"/>
                      <a:pt x="5786" y="6495"/>
                    </a:cubicBezTo>
                    <a:cubicBezTo>
                      <a:pt x="5662" y="6479"/>
                      <a:pt x="5662" y="6479"/>
                      <a:pt x="5662" y="6479"/>
                    </a:cubicBezTo>
                    <a:lnTo>
                      <a:pt x="5656" y="6529"/>
                    </a:lnTo>
                    <a:close/>
                    <a:moveTo>
                      <a:pt x="5614" y="6639"/>
                    </a:moveTo>
                    <a:cubicBezTo>
                      <a:pt x="5764" y="6658"/>
                      <a:pt x="5764" y="6658"/>
                      <a:pt x="5764" y="6658"/>
                    </a:cubicBezTo>
                    <a:cubicBezTo>
                      <a:pt x="5755" y="6733"/>
                      <a:pt x="5755" y="6733"/>
                      <a:pt x="5755" y="6733"/>
                    </a:cubicBezTo>
                    <a:cubicBezTo>
                      <a:pt x="5748" y="6732"/>
                      <a:pt x="5748" y="6732"/>
                      <a:pt x="5748" y="6732"/>
                    </a:cubicBezTo>
                    <a:cubicBezTo>
                      <a:pt x="5604" y="6714"/>
                      <a:pt x="5604" y="6714"/>
                      <a:pt x="5604" y="6714"/>
                    </a:cubicBezTo>
                    <a:lnTo>
                      <a:pt x="5614" y="6639"/>
                    </a:lnTo>
                    <a:close/>
                    <a:moveTo>
                      <a:pt x="5619" y="6703"/>
                    </a:moveTo>
                    <a:cubicBezTo>
                      <a:pt x="5743" y="6718"/>
                      <a:pt x="5743" y="6718"/>
                      <a:pt x="5743" y="6718"/>
                    </a:cubicBezTo>
                    <a:cubicBezTo>
                      <a:pt x="5749" y="6669"/>
                      <a:pt x="5749" y="6669"/>
                      <a:pt x="5749" y="6669"/>
                    </a:cubicBezTo>
                    <a:cubicBezTo>
                      <a:pt x="5625" y="6654"/>
                      <a:pt x="5625" y="6654"/>
                      <a:pt x="5625" y="6654"/>
                    </a:cubicBezTo>
                    <a:lnTo>
                      <a:pt x="5619" y="6703"/>
                    </a:lnTo>
                    <a:close/>
                    <a:moveTo>
                      <a:pt x="5317" y="10776"/>
                    </a:moveTo>
                    <a:cubicBezTo>
                      <a:pt x="5363" y="10767"/>
                      <a:pt x="5363" y="10767"/>
                      <a:pt x="5363" y="10767"/>
                    </a:cubicBezTo>
                    <a:cubicBezTo>
                      <a:pt x="5347" y="10689"/>
                      <a:pt x="5347" y="10689"/>
                      <a:pt x="5347" y="10689"/>
                    </a:cubicBezTo>
                    <a:cubicBezTo>
                      <a:pt x="5346" y="10682"/>
                      <a:pt x="5346" y="10682"/>
                      <a:pt x="5346" y="10682"/>
                    </a:cubicBezTo>
                    <a:cubicBezTo>
                      <a:pt x="5139" y="10723"/>
                      <a:pt x="5139" y="10723"/>
                      <a:pt x="5139" y="10723"/>
                    </a:cubicBezTo>
                    <a:cubicBezTo>
                      <a:pt x="5156" y="10808"/>
                      <a:pt x="5156" y="10808"/>
                      <a:pt x="5156" y="10808"/>
                    </a:cubicBezTo>
                    <a:cubicBezTo>
                      <a:pt x="5202" y="10799"/>
                      <a:pt x="5202" y="10799"/>
                      <a:pt x="5202" y="10799"/>
                    </a:cubicBezTo>
                    <a:cubicBezTo>
                      <a:pt x="5207" y="10821"/>
                      <a:pt x="5207" y="10821"/>
                      <a:pt x="5207" y="10821"/>
                    </a:cubicBezTo>
                    <a:cubicBezTo>
                      <a:pt x="5220" y="10821"/>
                      <a:pt x="5220" y="10821"/>
                      <a:pt x="5220" y="10821"/>
                    </a:cubicBezTo>
                    <a:cubicBezTo>
                      <a:pt x="5212" y="10783"/>
                      <a:pt x="5212" y="10783"/>
                      <a:pt x="5212" y="10783"/>
                    </a:cubicBezTo>
                    <a:cubicBezTo>
                      <a:pt x="5166" y="10793"/>
                      <a:pt x="5166" y="10793"/>
                      <a:pt x="5166" y="10793"/>
                    </a:cubicBezTo>
                    <a:cubicBezTo>
                      <a:pt x="5155" y="10734"/>
                      <a:pt x="5155" y="10734"/>
                      <a:pt x="5155" y="10734"/>
                    </a:cubicBezTo>
                    <a:cubicBezTo>
                      <a:pt x="5335" y="10698"/>
                      <a:pt x="5335" y="10698"/>
                      <a:pt x="5335" y="10698"/>
                    </a:cubicBezTo>
                    <a:cubicBezTo>
                      <a:pt x="5347" y="10756"/>
                      <a:pt x="5347" y="10756"/>
                      <a:pt x="5347" y="10756"/>
                    </a:cubicBezTo>
                    <a:cubicBezTo>
                      <a:pt x="5301" y="10766"/>
                      <a:pt x="5301" y="10766"/>
                      <a:pt x="5301" y="10766"/>
                    </a:cubicBezTo>
                    <a:cubicBezTo>
                      <a:pt x="5310" y="10808"/>
                      <a:pt x="5310" y="10808"/>
                      <a:pt x="5310" y="10808"/>
                    </a:cubicBezTo>
                    <a:cubicBezTo>
                      <a:pt x="5243" y="10821"/>
                      <a:pt x="5243" y="10821"/>
                      <a:pt x="5243" y="10821"/>
                    </a:cubicBezTo>
                    <a:cubicBezTo>
                      <a:pt x="5311" y="10821"/>
                      <a:pt x="5311" y="10821"/>
                      <a:pt x="5311" y="10821"/>
                    </a:cubicBezTo>
                    <a:cubicBezTo>
                      <a:pt x="5325" y="10818"/>
                      <a:pt x="5325" y="10818"/>
                      <a:pt x="5325" y="10818"/>
                    </a:cubicBezTo>
                    <a:lnTo>
                      <a:pt x="5317" y="10776"/>
                    </a:lnTo>
                    <a:close/>
                    <a:moveTo>
                      <a:pt x="7244" y="10806"/>
                    </a:moveTo>
                    <a:cubicBezTo>
                      <a:pt x="7189" y="10789"/>
                      <a:pt x="7189" y="10789"/>
                      <a:pt x="7189" y="10789"/>
                    </a:cubicBezTo>
                    <a:cubicBezTo>
                      <a:pt x="7210" y="10715"/>
                      <a:pt x="7210" y="10715"/>
                      <a:pt x="7210" y="10715"/>
                    </a:cubicBezTo>
                    <a:cubicBezTo>
                      <a:pt x="7105" y="10685"/>
                      <a:pt x="7105" y="10685"/>
                      <a:pt x="7105" y="10685"/>
                    </a:cubicBezTo>
                    <a:cubicBezTo>
                      <a:pt x="7067" y="10821"/>
                      <a:pt x="7067" y="10821"/>
                      <a:pt x="7067" y="10821"/>
                    </a:cubicBezTo>
                    <a:cubicBezTo>
                      <a:pt x="7081" y="10821"/>
                      <a:pt x="7081" y="10821"/>
                      <a:pt x="7081" y="10821"/>
                    </a:cubicBezTo>
                    <a:cubicBezTo>
                      <a:pt x="7114" y="10701"/>
                      <a:pt x="7114" y="10701"/>
                      <a:pt x="7114" y="10701"/>
                    </a:cubicBezTo>
                    <a:cubicBezTo>
                      <a:pt x="7194" y="10724"/>
                      <a:pt x="7194" y="10724"/>
                      <a:pt x="7194" y="10724"/>
                    </a:cubicBezTo>
                    <a:cubicBezTo>
                      <a:pt x="7172" y="10797"/>
                      <a:pt x="7172" y="10797"/>
                      <a:pt x="7172" y="10797"/>
                    </a:cubicBezTo>
                    <a:cubicBezTo>
                      <a:pt x="7228" y="10815"/>
                      <a:pt x="7228" y="10815"/>
                      <a:pt x="7228" y="10815"/>
                    </a:cubicBezTo>
                    <a:cubicBezTo>
                      <a:pt x="7226" y="10821"/>
                      <a:pt x="7226" y="10821"/>
                      <a:pt x="7226" y="10821"/>
                    </a:cubicBezTo>
                    <a:cubicBezTo>
                      <a:pt x="7240" y="10821"/>
                      <a:pt x="7240" y="10821"/>
                      <a:pt x="7240" y="10821"/>
                    </a:cubicBezTo>
                    <a:cubicBezTo>
                      <a:pt x="7242" y="10812"/>
                      <a:pt x="7242" y="10812"/>
                      <a:pt x="7242" y="10812"/>
                    </a:cubicBezTo>
                    <a:lnTo>
                      <a:pt x="7244" y="10806"/>
                    </a:lnTo>
                    <a:close/>
                    <a:moveTo>
                      <a:pt x="5856" y="6859"/>
                    </a:moveTo>
                    <a:cubicBezTo>
                      <a:pt x="6006" y="6878"/>
                      <a:pt x="6006" y="6878"/>
                      <a:pt x="6006" y="6878"/>
                    </a:cubicBezTo>
                    <a:cubicBezTo>
                      <a:pt x="5997" y="6953"/>
                      <a:pt x="5997" y="6953"/>
                      <a:pt x="5997" y="6953"/>
                    </a:cubicBezTo>
                    <a:cubicBezTo>
                      <a:pt x="5991" y="6952"/>
                      <a:pt x="5991" y="6952"/>
                      <a:pt x="5991" y="6952"/>
                    </a:cubicBezTo>
                    <a:cubicBezTo>
                      <a:pt x="5847" y="6934"/>
                      <a:pt x="5847" y="6934"/>
                      <a:pt x="5847" y="6934"/>
                    </a:cubicBezTo>
                    <a:lnTo>
                      <a:pt x="5856" y="6859"/>
                    </a:lnTo>
                    <a:close/>
                    <a:moveTo>
                      <a:pt x="5861" y="6923"/>
                    </a:moveTo>
                    <a:cubicBezTo>
                      <a:pt x="5986" y="6938"/>
                      <a:pt x="5986" y="6938"/>
                      <a:pt x="5986" y="6938"/>
                    </a:cubicBezTo>
                    <a:cubicBezTo>
                      <a:pt x="5992" y="6889"/>
                      <a:pt x="5992" y="6889"/>
                      <a:pt x="5992" y="6889"/>
                    </a:cubicBezTo>
                    <a:cubicBezTo>
                      <a:pt x="5867" y="6874"/>
                      <a:pt x="5867" y="6874"/>
                      <a:pt x="5867" y="6874"/>
                    </a:cubicBezTo>
                    <a:lnTo>
                      <a:pt x="5861" y="6923"/>
                    </a:lnTo>
                    <a:close/>
                    <a:moveTo>
                      <a:pt x="5456" y="10821"/>
                    </a:moveTo>
                    <a:cubicBezTo>
                      <a:pt x="5525" y="10821"/>
                      <a:pt x="5525" y="10821"/>
                      <a:pt x="5525" y="10821"/>
                    </a:cubicBezTo>
                    <a:cubicBezTo>
                      <a:pt x="5541" y="10818"/>
                      <a:pt x="5550" y="10816"/>
                      <a:pt x="5551" y="10816"/>
                    </a:cubicBezTo>
                    <a:cubicBezTo>
                      <a:pt x="5553" y="10816"/>
                      <a:pt x="5582" y="10818"/>
                      <a:pt x="5623" y="10821"/>
                    </a:cubicBezTo>
                    <a:cubicBezTo>
                      <a:pt x="5810" y="10821"/>
                      <a:pt x="5810" y="10821"/>
                      <a:pt x="5810" y="10821"/>
                    </a:cubicBezTo>
                    <a:cubicBezTo>
                      <a:pt x="5706" y="10813"/>
                      <a:pt x="5557" y="10802"/>
                      <a:pt x="5551" y="10802"/>
                    </a:cubicBezTo>
                    <a:cubicBezTo>
                      <a:pt x="5548" y="10802"/>
                      <a:pt x="5510" y="10810"/>
                      <a:pt x="5456" y="10821"/>
                    </a:cubicBezTo>
                    <a:close/>
                    <a:moveTo>
                      <a:pt x="5684" y="7087"/>
                    </a:moveTo>
                    <a:cubicBezTo>
                      <a:pt x="5540" y="7069"/>
                      <a:pt x="5540" y="7069"/>
                      <a:pt x="5540" y="7069"/>
                    </a:cubicBezTo>
                    <a:cubicBezTo>
                      <a:pt x="5550" y="6994"/>
                      <a:pt x="5550" y="6994"/>
                      <a:pt x="5550" y="6994"/>
                    </a:cubicBezTo>
                    <a:cubicBezTo>
                      <a:pt x="5700" y="7012"/>
                      <a:pt x="5700" y="7012"/>
                      <a:pt x="5700" y="7012"/>
                    </a:cubicBezTo>
                    <a:cubicBezTo>
                      <a:pt x="5691" y="7088"/>
                      <a:pt x="5691" y="7088"/>
                      <a:pt x="5691" y="7088"/>
                    </a:cubicBezTo>
                    <a:lnTo>
                      <a:pt x="5684" y="7087"/>
                    </a:lnTo>
                    <a:close/>
                    <a:moveTo>
                      <a:pt x="5679" y="7073"/>
                    </a:moveTo>
                    <a:cubicBezTo>
                      <a:pt x="5685" y="7024"/>
                      <a:pt x="5685" y="7024"/>
                      <a:pt x="5685" y="7024"/>
                    </a:cubicBezTo>
                    <a:cubicBezTo>
                      <a:pt x="5561" y="7008"/>
                      <a:pt x="5561" y="7008"/>
                      <a:pt x="5561" y="7008"/>
                    </a:cubicBezTo>
                    <a:cubicBezTo>
                      <a:pt x="5555" y="7058"/>
                      <a:pt x="5555" y="7058"/>
                      <a:pt x="5555" y="7058"/>
                    </a:cubicBezTo>
                    <a:lnTo>
                      <a:pt x="5679" y="7073"/>
                    </a:lnTo>
                    <a:close/>
                    <a:moveTo>
                      <a:pt x="5206" y="8860"/>
                    </a:moveTo>
                    <a:cubicBezTo>
                      <a:pt x="5230" y="8961"/>
                      <a:pt x="5230" y="8961"/>
                      <a:pt x="5230" y="8961"/>
                    </a:cubicBezTo>
                    <a:cubicBezTo>
                      <a:pt x="5086" y="8995"/>
                      <a:pt x="5086" y="8995"/>
                      <a:pt x="5086" y="8995"/>
                    </a:cubicBezTo>
                    <a:cubicBezTo>
                      <a:pt x="5085" y="8989"/>
                      <a:pt x="5085" y="8989"/>
                      <a:pt x="5085" y="8989"/>
                    </a:cubicBezTo>
                    <a:cubicBezTo>
                      <a:pt x="5062" y="8894"/>
                      <a:pt x="5062" y="8894"/>
                      <a:pt x="5062" y="8894"/>
                    </a:cubicBezTo>
                    <a:lnTo>
                      <a:pt x="5206" y="8860"/>
                    </a:lnTo>
                    <a:close/>
                    <a:moveTo>
                      <a:pt x="5215" y="8952"/>
                    </a:moveTo>
                    <a:cubicBezTo>
                      <a:pt x="5196" y="8875"/>
                      <a:pt x="5196" y="8875"/>
                      <a:pt x="5196" y="8875"/>
                    </a:cubicBezTo>
                    <a:cubicBezTo>
                      <a:pt x="5078" y="8904"/>
                      <a:pt x="5078" y="8904"/>
                      <a:pt x="5078" y="8904"/>
                    </a:cubicBezTo>
                    <a:cubicBezTo>
                      <a:pt x="5096" y="8980"/>
                      <a:pt x="5096" y="8980"/>
                      <a:pt x="5096" y="8980"/>
                    </a:cubicBezTo>
                    <a:lnTo>
                      <a:pt x="5215" y="8952"/>
                    </a:lnTo>
                    <a:close/>
                    <a:moveTo>
                      <a:pt x="4501" y="8304"/>
                    </a:moveTo>
                    <a:cubicBezTo>
                      <a:pt x="4515" y="8451"/>
                      <a:pt x="4515" y="8451"/>
                      <a:pt x="4515" y="8451"/>
                    </a:cubicBezTo>
                    <a:cubicBezTo>
                      <a:pt x="4508" y="8451"/>
                      <a:pt x="4508" y="8451"/>
                      <a:pt x="4508" y="8451"/>
                    </a:cubicBezTo>
                    <a:cubicBezTo>
                      <a:pt x="4411" y="8461"/>
                      <a:pt x="4411" y="8461"/>
                      <a:pt x="4411" y="8461"/>
                    </a:cubicBezTo>
                    <a:cubicBezTo>
                      <a:pt x="4397" y="8313"/>
                      <a:pt x="4397" y="8313"/>
                      <a:pt x="4397" y="8313"/>
                    </a:cubicBezTo>
                    <a:lnTo>
                      <a:pt x="4501" y="8304"/>
                    </a:lnTo>
                    <a:close/>
                    <a:moveTo>
                      <a:pt x="4501" y="8439"/>
                    </a:moveTo>
                    <a:cubicBezTo>
                      <a:pt x="4489" y="8318"/>
                      <a:pt x="4489" y="8318"/>
                      <a:pt x="4489" y="8318"/>
                    </a:cubicBezTo>
                    <a:cubicBezTo>
                      <a:pt x="4411" y="8325"/>
                      <a:pt x="4411" y="8325"/>
                      <a:pt x="4411" y="8325"/>
                    </a:cubicBezTo>
                    <a:cubicBezTo>
                      <a:pt x="4422" y="8447"/>
                      <a:pt x="4422" y="8447"/>
                      <a:pt x="4422" y="8447"/>
                    </a:cubicBezTo>
                    <a:lnTo>
                      <a:pt x="4501" y="8439"/>
                    </a:lnTo>
                    <a:close/>
                    <a:moveTo>
                      <a:pt x="4399" y="8647"/>
                    </a:moveTo>
                    <a:cubicBezTo>
                      <a:pt x="4416" y="8707"/>
                      <a:pt x="4416" y="8707"/>
                      <a:pt x="4416" y="8707"/>
                    </a:cubicBezTo>
                    <a:cubicBezTo>
                      <a:pt x="4092" y="8911"/>
                      <a:pt x="4092" y="8911"/>
                      <a:pt x="4092" y="8911"/>
                    </a:cubicBezTo>
                    <a:cubicBezTo>
                      <a:pt x="4014" y="8748"/>
                      <a:pt x="4014" y="8748"/>
                      <a:pt x="4014" y="8748"/>
                    </a:cubicBezTo>
                    <a:cubicBezTo>
                      <a:pt x="4071" y="8716"/>
                      <a:pt x="4071" y="8716"/>
                      <a:pt x="4071" y="8716"/>
                    </a:cubicBezTo>
                    <a:cubicBezTo>
                      <a:pt x="4062" y="8696"/>
                      <a:pt x="4062" y="8696"/>
                      <a:pt x="4062" y="8696"/>
                    </a:cubicBezTo>
                    <a:cubicBezTo>
                      <a:pt x="3980" y="8676"/>
                      <a:pt x="3980" y="8676"/>
                      <a:pt x="3980" y="8676"/>
                    </a:cubicBezTo>
                    <a:cubicBezTo>
                      <a:pt x="3888" y="8453"/>
                      <a:pt x="3888" y="8453"/>
                      <a:pt x="3888" y="8453"/>
                    </a:cubicBezTo>
                    <a:cubicBezTo>
                      <a:pt x="4017" y="8403"/>
                      <a:pt x="4017" y="8403"/>
                      <a:pt x="4017" y="8403"/>
                    </a:cubicBezTo>
                    <a:cubicBezTo>
                      <a:pt x="4122" y="8431"/>
                      <a:pt x="4122" y="8431"/>
                      <a:pt x="4122" y="8431"/>
                    </a:cubicBezTo>
                    <a:cubicBezTo>
                      <a:pt x="4153" y="8423"/>
                      <a:pt x="4153" y="8423"/>
                      <a:pt x="4153" y="8423"/>
                    </a:cubicBezTo>
                    <a:cubicBezTo>
                      <a:pt x="4136" y="8369"/>
                      <a:pt x="4136" y="8369"/>
                      <a:pt x="4136" y="8369"/>
                    </a:cubicBezTo>
                    <a:cubicBezTo>
                      <a:pt x="4312" y="8330"/>
                      <a:pt x="4312" y="8330"/>
                      <a:pt x="4312" y="8330"/>
                    </a:cubicBezTo>
                    <a:cubicBezTo>
                      <a:pt x="4313" y="8338"/>
                      <a:pt x="4313" y="8338"/>
                      <a:pt x="4313" y="8338"/>
                    </a:cubicBezTo>
                    <a:cubicBezTo>
                      <a:pt x="4335" y="8449"/>
                      <a:pt x="4335" y="8449"/>
                      <a:pt x="4335" y="8449"/>
                    </a:cubicBezTo>
                    <a:cubicBezTo>
                      <a:pt x="4356" y="8648"/>
                      <a:pt x="4356" y="8648"/>
                      <a:pt x="4356" y="8648"/>
                    </a:cubicBezTo>
                    <a:lnTo>
                      <a:pt x="4399" y="8647"/>
                    </a:lnTo>
                    <a:close/>
                    <a:moveTo>
                      <a:pt x="4399" y="8700"/>
                    </a:moveTo>
                    <a:cubicBezTo>
                      <a:pt x="4388" y="8662"/>
                      <a:pt x="4388" y="8662"/>
                      <a:pt x="4388" y="8662"/>
                    </a:cubicBezTo>
                    <a:cubicBezTo>
                      <a:pt x="4343" y="8663"/>
                      <a:pt x="4343" y="8663"/>
                      <a:pt x="4343" y="8663"/>
                    </a:cubicBezTo>
                    <a:cubicBezTo>
                      <a:pt x="4320" y="8452"/>
                      <a:pt x="4320" y="8452"/>
                      <a:pt x="4320" y="8452"/>
                    </a:cubicBezTo>
                    <a:cubicBezTo>
                      <a:pt x="4300" y="8348"/>
                      <a:pt x="4300" y="8348"/>
                      <a:pt x="4300" y="8348"/>
                    </a:cubicBezTo>
                    <a:cubicBezTo>
                      <a:pt x="4155" y="8380"/>
                      <a:pt x="4155" y="8380"/>
                      <a:pt x="4155" y="8380"/>
                    </a:cubicBezTo>
                    <a:cubicBezTo>
                      <a:pt x="4171" y="8433"/>
                      <a:pt x="4171" y="8433"/>
                      <a:pt x="4171" y="8433"/>
                    </a:cubicBezTo>
                    <a:cubicBezTo>
                      <a:pt x="4122" y="8446"/>
                      <a:pt x="4122" y="8446"/>
                      <a:pt x="4122" y="8446"/>
                    </a:cubicBezTo>
                    <a:cubicBezTo>
                      <a:pt x="4017" y="8419"/>
                      <a:pt x="4017" y="8419"/>
                      <a:pt x="4017" y="8419"/>
                    </a:cubicBezTo>
                    <a:cubicBezTo>
                      <a:pt x="3907" y="8461"/>
                      <a:pt x="3907" y="8461"/>
                      <a:pt x="3907" y="8461"/>
                    </a:cubicBezTo>
                    <a:cubicBezTo>
                      <a:pt x="3990" y="8663"/>
                      <a:pt x="3990" y="8663"/>
                      <a:pt x="3990" y="8663"/>
                    </a:cubicBezTo>
                    <a:cubicBezTo>
                      <a:pt x="4073" y="8683"/>
                      <a:pt x="4073" y="8683"/>
                      <a:pt x="4073" y="8683"/>
                    </a:cubicBezTo>
                    <a:cubicBezTo>
                      <a:pt x="4090" y="8722"/>
                      <a:pt x="4090" y="8722"/>
                      <a:pt x="4090" y="8722"/>
                    </a:cubicBezTo>
                    <a:cubicBezTo>
                      <a:pt x="4034" y="8754"/>
                      <a:pt x="4034" y="8754"/>
                      <a:pt x="4034" y="8754"/>
                    </a:cubicBezTo>
                    <a:cubicBezTo>
                      <a:pt x="4098" y="8890"/>
                      <a:pt x="4098" y="8890"/>
                      <a:pt x="4098" y="8890"/>
                    </a:cubicBezTo>
                    <a:lnTo>
                      <a:pt x="4399" y="8700"/>
                    </a:lnTo>
                    <a:close/>
                    <a:moveTo>
                      <a:pt x="4360" y="9086"/>
                    </a:moveTo>
                    <a:cubicBezTo>
                      <a:pt x="4262" y="9086"/>
                      <a:pt x="4262" y="9086"/>
                      <a:pt x="4262" y="9086"/>
                    </a:cubicBezTo>
                    <a:cubicBezTo>
                      <a:pt x="4263" y="8938"/>
                      <a:pt x="4263" y="8938"/>
                      <a:pt x="4263" y="8938"/>
                    </a:cubicBezTo>
                    <a:cubicBezTo>
                      <a:pt x="4367" y="8938"/>
                      <a:pt x="4367" y="8938"/>
                      <a:pt x="4367" y="8938"/>
                    </a:cubicBezTo>
                    <a:cubicBezTo>
                      <a:pt x="4366" y="9086"/>
                      <a:pt x="4366" y="9086"/>
                      <a:pt x="4366" y="9086"/>
                    </a:cubicBezTo>
                    <a:lnTo>
                      <a:pt x="4360" y="9086"/>
                    </a:lnTo>
                    <a:close/>
                    <a:moveTo>
                      <a:pt x="4354" y="8951"/>
                    </a:moveTo>
                    <a:cubicBezTo>
                      <a:pt x="4276" y="8951"/>
                      <a:pt x="4276" y="8951"/>
                      <a:pt x="4276" y="8951"/>
                    </a:cubicBezTo>
                    <a:cubicBezTo>
                      <a:pt x="4275" y="9073"/>
                      <a:pt x="4275" y="9073"/>
                      <a:pt x="4275" y="9073"/>
                    </a:cubicBezTo>
                    <a:cubicBezTo>
                      <a:pt x="4353" y="9073"/>
                      <a:pt x="4353" y="9073"/>
                      <a:pt x="4353" y="9073"/>
                    </a:cubicBezTo>
                    <a:lnTo>
                      <a:pt x="4354" y="8951"/>
                    </a:lnTo>
                    <a:close/>
                    <a:moveTo>
                      <a:pt x="4180" y="8475"/>
                    </a:moveTo>
                    <a:cubicBezTo>
                      <a:pt x="4221" y="8689"/>
                      <a:pt x="4221" y="8689"/>
                      <a:pt x="4221" y="8689"/>
                    </a:cubicBezTo>
                    <a:cubicBezTo>
                      <a:pt x="4189" y="8703"/>
                      <a:pt x="4189" y="8703"/>
                      <a:pt x="4189" y="8703"/>
                    </a:cubicBezTo>
                    <a:cubicBezTo>
                      <a:pt x="4106" y="8499"/>
                      <a:pt x="4106" y="8499"/>
                      <a:pt x="4106" y="8499"/>
                    </a:cubicBezTo>
                    <a:cubicBezTo>
                      <a:pt x="4178" y="8466"/>
                      <a:pt x="4178" y="8466"/>
                      <a:pt x="4178" y="8466"/>
                    </a:cubicBezTo>
                    <a:lnTo>
                      <a:pt x="4180" y="8475"/>
                    </a:lnTo>
                    <a:close/>
                    <a:moveTo>
                      <a:pt x="4204" y="8680"/>
                    </a:moveTo>
                    <a:cubicBezTo>
                      <a:pt x="4167" y="8487"/>
                      <a:pt x="4167" y="8487"/>
                      <a:pt x="4167" y="8487"/>
                    </a:cubicBezTo>
                    <a:cubicBezTo>
                      <a:pt x="4125" y="8507"/>
                      <a:pt x="4125" y="8507"/>
                      <a:pt x="4125" y="8507"/>
                    </a:cubicBezTo>
                    <a:cubicBezTo>
                      <a:pt x="4197" y="8683"/>
                      <a:pt x="4197" y="8683"/>
                      <a:pt x="4197" y="8683"/>
                    </a:cubicBezTo>
                    <a:lnTo>
                      <a:pt x="4204" y="8680"/>
                    </a:lnTo>
                    <a:close/>
                    <a:moveTo>
                      <a:pt x="4885" y="8905"/>
                    </a:moveTo>
                    <a:cubicBezTo>
                      <a:pt x="4787" y="8904"/>
                      <a:pt x="4787" y="8904"/>
                      <a:pt x="4787" y="8904"/>
                    </a:cubicBezTo>
                    <a:cubicBezTo>
                      <a:pt x="4788" y="8756"/>
                      <a:pt x="4788" y="8756"/>
                      <a:pt x="4788" y="8756"/>
                    </a:cubicBezTo>
                    <a:cubicBezTo>
                      <a:pt x="4892" y="8757"/>
                      <a:pt x="4892" y="8757"/>
                      <a:pt x="4892" y="8757"/>
                    </a:cubicBezTo>
                    <a:cubicBezTo>
                      <a:pt x="4891" y="8905"/>
                      <a:pt x="4891" y="8905"/>
                      <a:pt x="4891" y="8905"/>
                    </a:cubicBezTo>
                    <a:lnTo>
                      <a:pt x="4885" y="8905"/>
                    </a:lnTo>
                    <a:close/>
                    <a:moveTo>
                      <a:pt x="4879" y="8770"/>
                    </a:moveTo>
                    <a:cubicBezTo>
                      <a:pt x="4801" y="8769"/>
                      <a:pt x="4801" y="8769"/>
                      <a:pt x="4801" y="8769"/>
                    </a:cubicBezTo>
                    <a:cubicBezTo>
                      <a:pt x="4800" y="8892"/>
                      <a:pt x="4800" y="8892"/>
                      <a:pt x="4800" y="8892"/>
                    </a:cubicBezTo>
                    <a:cubicBezTo>
                      <a:pt x="4878" y="8892"/>
                      <a:pt x="4878" y="8892"/>
                      <a:pt x="4878" y="8892"/>
                    </a:cubicBezTo>
                    <a:lnTo>
                      <a:pt x="4879" y="8770"/>
                    </a:lnTo>
                    <a:close/>
                    <a:moveTo>
                      <a:pt x="14984" y="700"/>
                    </a:moveTo>
                    <a:cubicBezTo>
                      <a:pt x="14984" y="700"/>
                      <a:pt x="14984" y="700"/>
                      <a:pt x="14984" y="700"/>
                    </a:cubicBezTo>
                    <a:cubicBezTo>
                      <a:pt x="14984" y="700"/>
                      <a:pt x="14983" y="700"/>
                      <a:pt x="14983" y="700"/>
                    </a:cubicBezTo>
                    <a:cubicBezTo>
                      <a:pt x="14983" y="700"/>
                      <a:pt x="14983" y="700"/>
                      <a:pt x="14983" y="700"/>
                    </a:cubicBezTo>
                    <a:cubicBezTo>
                      <a:pt x="14984" y="700"/>
                      <a:pt x="14984" y="700"/>
                      <a:pt x="14984" y="700"/>
                    </a:cubicBezTo>
                    <a:cubicBezTo>
                      <a:pt x="14984" y="700"/>
                      <a:pt x="14984" y="700"/>
                      <a:pt x="14984" y="700"/>
                    </a:cubicBezTo>
                    <a:close/>
                    <a:moveTo>
                      <a:pt x="6520" y="3392"/>
                    </a:moveTo>
                    <a:cubicBezTo>
                      <a:pt x="6463" y="3631"/>
                      <a:pt x="6463" y="3631"/>
                      <a:pt x="6463" y="3631"/>
                    </a:cubicBezTo>
                    <a:cubicBezTo>
                      <a:pt x="6316" y="3596"/>
                      <a:pt x="6316" y="3596"/>
                      <a:pt x="6316" y="3596"/>
                    </a:cubicBezTo>
                    <a:cubicBezTo>
                      <a:pt x="6318" y="3589"/>
                      <a:pt x="6318" y="3589"/>
                      <a:pt x="6318" y="3589"/>
                    </a:cubicBezTo>
                    <a:cubicBezTo>
                      <a:pt x="6373" y="3357"/>
                      <a:pt x="6373" y="3357"/>
                      <a:pt x="6373" y="3357"/>
                    </a:cubicBezTo>
                    <a:lnTo>
                      <a:pt x="6520" y="3392"/>
                    </a:lnTo>
                    <a:close/>
                    <a:moveTo>
                      <a:pt x="6502" y="3403"/>
                    </a:moveTo>
                    <a:cubicBezTo>
                      <a:pt x="6384" y="3375"/>
                      <a:pt x="6384" y="3375"/>
                      <a:pt x="6384" y="3375"/>
                    </a:cubicBezTo>
                    <a:cubicBezTo>
                      <a:pt x="6334" y="3585"/>
                      <a:pt x="6334" y="3585"/>
                      <a:pt x="6334" y="3585"/>
                    </a:cubicBezTo>
                    <a:cubicBezTo>
                      <a:pt x="6452" y="3613"/>
                      <a:pt x="6452" y="3613"/>
                      <a:pt x="6452" y="3613"/>
                    </a:cubicBezTo>
                    <a:lnTo>
                      <a:pt x="6502" y="3403"/>
                    </a:lnTo>
                    <a:close/>
                    <a:moveTo>
                      <a:pt x="4692" y="9109"/>
                    </a:moveTo>
                    <a:cubicBezTo>
                      <a:pt x="4548" y="9143"/>
                      <a:pt x="4548" y="9143"/>
                      <a:pt x="4548" y="9143"/>
                    </a:cubicBezTo>
                    <a:cubicBezTo>
                      <a:pt x="4547" y="9137"/>
                      <a:pt x="4547" y="9137"/>
                      <a:pt x="4547" y="9137"/>
                    </a:cubicBezTo>
                    <a:cubicBezTo>
                      <a:pt x="4524" y="9042"/>
                      <a:pt x="4524" y="9042"/>
                      <a:pt x="4524" y="9042"/>
                    </a:cubicBezTo>
                    <a:cubicBezTo>
                      <a:pt x="4668" y="9007"/>
                      <a:pt x="4668" y="9007"/>
                      <a:pt x="4668" y="9007"/>
                    </a:cubicBezTo>
                    <a:lnTo>
                      <a:pt x="4692" y="9109"/>
                    </a:lnTo>
                    <a:close/>
                    <a:moveTo>
                      <a:pt x="4558" y="9127"/>
                    </a:moveTo>
                    <a:cubicBezTo>
                      <a:pt x="4677" y="9099"/>
                      <a:pt x="4677" y="9099"/>
                      <a:pt x="4677" y="9099"/>
                    </a:cubicBezTo>
                    <a:cubicBezTo>
                      <a:pt x="4658" y="9023"/>
                      <a:pt x="4658" y="9023"/>
                      <a:pt x="4658" y="9023"/>
                    </a:cubicBezTo>
                    <a:cubicBezTo>
                      <a:pt x="4540" y="9051"/>
                      <a:pt x="4540" y="9051"/>
                      <a:pt x="4540" y="9051"/>
                    </a:cubicBezTo>
                    <a:lnTo>
                      <a:pt x="4558" y="9127"/>
                    </a:lnTo>
                    <a:close/>
                    <a:moveTo>
                      <a:pt x="3083" y="10055"/>
                    </a:moveTo>
                    <a:cubicBezTo>
                      <a:pt x="3119" y="10283"/>
                      <a:pt x="3119" y="10283"/>
                      <a:pt x="3119" y="10283"/>
                    </a:cubicBezTo>
                    <a:cubicBezTo>
                      <a:pt x="3082" y="10297"/>
                      <a:pt x="3082" y="10297"/>
                      <a:pt x="3082" y="10297"/>
                    </a:cubicBezTo>
                    <a:cubicBezTo>
                      <a:pt x="3026" y="10247"/>
                      <a:pt x="3026" y="10247"/>
                      <a:pt x="3026" y="10247"/>
                    </a:cubicBezTo>
                    <a:cubicBezTo>
                      <a:pt x="3017" y="10330"/>
                      <a:pt x="3017" y="10330"/>
                      <a:pt x="3017" y="10330"/>
                    </a:cubicBezTo>
                    <a:cubicBezTo>
                      <a:pt x="2832" y="10430"/>
                      <a:pt x="2832" y="10430"/>
                      <a:pt x="2832" y="10430"/>
                    </a:cubicBezTo>
                    <a:cubicBezTo>
                      <a:pt x="2650" y="10215"/>
                      <a:pt x="2650" y="10215"/>
                      <a:pt x="2650" y="10215"/>
                    </a:cubicBezTo>
                    <a:cubicBezTo>
                      <a:pt x="2795" y="10193"/>
                      <a:pt x="2795" y="10193"/>
                      <a:pt x="2795" y="10193"/>
                    </a:cubicBezTo>
                    <a:cubicBezTo>
                      <a:pt x="2898" y="10241"/>
                      <a:pt x="2898" y="10241"/>
                      <a:pt x="2898" y="10241"/>
                    </a:cubicBezTo>
                    <a:cubicBezTo>
                      <a:pt x="2910" y="10138"/>
                      <a:pt x="2910" y="10138"/>
                      <a:pt x="2910" y="10138"/>
                    </a:cubicBezTo>
                    <a:cubicBezTo>
                      <a:pt x="3081" y="10045"/>
                      <a:pt x="3081" y="10045"/>
                      <a:pt x="3081" y="10045"/>
                    </a:cubicBezTo>
                    <a:lnTo>
                      <a:pt x="3083" y="10055"/>
                    </a:lnTo>
                    <a:close/>
                    <a:moveTo>
                      <a:pt x="3103" y="10273"/>
                    </a:moveTo>
                    <a:cubicBezTo>
                      <a:pt x="3070" y="10068"/>
                      <a:pt x="3070" y="10068"/>
                      <a:pt x="3070" y="10068"/>
                    </a:cubicBezTo>
                    <a:cubicBezTo>
                      <a:pt x="2924" y="10147"/>
                      <a:pt x="2924" y="10147"/>
                      <a:pt x="2924" y="10147"/>
                    </a:cubicBezTo>
                    <a:cubicBezTo>
                      <a:pt x="2911" y="10263"/>
                      <a:pt x="2911" y="10263"/>
                      <a:pt x="2911" y="10263"/>
                    </a:cubicBezTo>
                    <a:cubicBezTo>
                      <a:pt x="2793" y="10208"/>
                      <a:pt x="2793" y="10208"/>
                      <a:pt x="2793" y="10208"/>
                    </a:cubicBezTo>
                    <a:cubicBezTo>
                      <a:pt x="2678" y="10226"/>
                      <a:pt x="2678" y="10226"/>
                      <a:pt x="2678" y="10226"/>
                    </a:cubicBezTo>
                    <a:cubicBezTo>
                      <a:pt x="2835" y="10411"/>
                      <a:pt x="2835" y="10411"/>
                      <a:pt x="2835" y="10411"/>
                    </a:cubicBezTo>
                    <a:cubicBezTo>
                      <a:pt x="3003" y="10321"/>
                      <a:pt x="3003" y="10321"/>
                      <a:pt x="3003" y="10321"/>
                    </a:cubicBezTo>
                    <a:cubicBezTo>
                      <a:pt x="3014" y="10217"/>
                      <a:pt x="3014" y="10217"/>
                      <a:pt x="3014" y="10217"/>
                    </a:cubicBezTo>
                    <a:cubicBezTo>
                      <a:pt x="3085" y="10280"/>
                      <a:pt x="3085" y="10280"/>
                      <a:pt x="3085" y="10280"/>
                    </a:cubicBezTo>
                    <a:lnTo>
                      <a:pt x="3103" y="10273"/>
                    </a:lnTo>
                    <a:close/>
                    <a:moveTo>
                      <a:pt x="6109" y="3530"/>
                    </a:moveTo>
                    <a:cubicBezTo>
                      <a:pt x="5871" y="3474"/>
                      <a:pt x="5871" y="3474"/>
                      <a:pt x="5871" y="3474"/>
                    </a:cubicBezTo>
                    <a:cubicBezTo>
                      <a:pt x="5902" y="3351"/>
                      <a:pt x="5902" y="3351"/>
                      <a:pt x="5902" y="3351"/>
                    </a:cubicBezTo>
                    <a:cubicBezTo>
                      <a:pt x="6139" y="3406"/>
                      <a:pt x="6139" y="3406"/>
                      <a:pt x="6139" y="3406"/>
                    </a:cubicBezTo>
                    <a:cubicBezTo>
                      <a:pt x="6188" y="3208"/>
                      <a:pt x="6188" y="3208"/>
                      <a:pt x="6188" y="3208"/>
                    </a:cubicBezTo>
                    <a:cubicBezTo>
                      <a:pt x="6148" y="3198"/>
                      <a:pt x="6148" y="3198"/>
                      <a:pt x="6148" y="3198"/>
                    </a:cubicBezTo>
                    <a:cubicBezTo>
                      <a:pt x="6166" y="3126"/>
                      <a:pt x="6166" y="3126"/>
                      <a:pt x="6166" y="3126"/>
                    </a:cubicBezTo>
                    <a:cubicBezTo>
                      <a:pt x="6173" y="3128"/>
                      <a:pt x="6173" y="3128"/>
                      <a:pt x="6173" y="3128"/>
                    </a:cubicBezTo>
                    <a:cubicBezTo>
                      <a:pt x="6649" y="3241"/>
                      <a:pt x="6649" y="3241"/>
                      <a:pt x="6649" y="3241"/>
                    </a:cubicBezTo>
                    <a:cubicBezTo>
                      <a:pt x="6660" y="3188"/>
                      <a:pt x="6660" y="3188"/>
                      <a:pt x="6660" y="3188"/>
                    </a:cubicBezTo>
                    <a:cubicBezTo>
                      <a:pt x="6973" y="3262"/>
                      <a:pt x="6973" y="3262"/>
                      <a:pt x="6973" y="3262"/>
                    </a:cubicBezTo>
                    <a:cubicBezTo>
                      <a:pt x="6874" y="3679"/>
                      <a:pt x="6874" y="3679"/>
                      <a:pt x="6874" y="3679"/>
                    </a:cubicBezTo>
                    <a:cubicBezTo>
                      <a:pt x="6794" y="3659"/>
                      <a:pt x="6794" y="3659"/>
                      <a:pt x="6794" y="3659"/>
                    </a:cubicBezTo>
                    <a:cubicBezTo>
                      <a:pt x="6732" y="3938"/>
                      <a:pt x="6732" y="3938"/>
                      <a:pt x="6732" y="3938"/>
                    </a:cubicBezTo>
                    <a:cubicBezTo>
                      <a:pt x="6807" y="3957"/>
                      <a:pt x="6807" y="3957"/>
                      <a:pt x="6807" y="3957"/>
                    </a:cubicBezTo>
                    <a:cubicBezTo>
                      <a:pt x="6789" y="4051"/>
                      <a:pt x="6789" y="4051"/>
                      <a:pt x="6789" y="4051"/>
                    </a:cubicBezTo>
                    <a:cubicBezTo>
                      <a:pt x="6474" y="3976"/>
                      <a:pt x="6474" y="3976"/>
                      <a:pt x="6474" y="3976"/>
                    </a:cubicBezTo>
                    <a:cubicBezTo>
                      <a:pt x="6490" y="3894"/>
                      <a:pt x="6490" y="3894"/>
                      <a:pt x="6490" y="3894"/>
                    </a:cubicBezTo>
                    <a:cubicBezTo>
                      <a:pt x="6223" y="3830"/>
                      <a:pt x="6223" y="3830"/>
                      <a:pt x="6223" y="3830"/>
                    </a:cubicBezTo>
                    <a:cubicBezTo>
                      <a:pt x="6257" y="3679"/>
                      <a:pt x="6257" y="3679"/>
                      <a:pt x="6257" y="3679"/>
                    </a:cubicBezTo>
                    <a:cubicBezTo>
                      <a:pt x="6529" y="3741"/>
                      <a:pt x="6529" y="3741"/>
                      <a:pt x="6529" y="3741"/>
                    </a:cubicBezTo>
                    <a:cubicBezTo>
                      <a:pt x="6629" y="3311"/>
                      <a:pt x="6629" y="3311"/>
                      <a:pt x="6629" y="3311"/>
                    </a:cubicBezTo>
                    <a:cubicBezTo>
                      <a:pt x="6320" y="3240"/>
                      <a:pt x="6320" y="3240"/>
                      <a:pt x="6320" y="3240"/>
                    </a:cubicBezTo>
                    <a:cubicBezTo>
                      <a:pt x="6235" y="3596"/>
                      <a:pt x="6235" y="3596"/>
                      <a:pt x="6235" y="3596"/>
                    </a:cubicBezTo>
                    <a:cubicBezTo>
                      <a:pt x="6101" y="3566"/>
                      <a:pt x="6101" y="3566"/>
                      <a:pt x="6101" y="3566"/>
                    </a:cubicBezTo>
                    <a:lnTo>
                      <a:pt x="6109" y="3530"/>
                    </a:lnTo>
                    <a:close/>
                    <a:moveTo>
                      <a:pt x="6127" y="3519"/>
                    </a:moveTo>
                    <a:cubicBezTo>
                      <a:pt x="6119" y="3555"/>
                      <a:pt x="6119" y="3555"/>
                      <a:pt x="6119" y="3555"/>
                    </a:cubicBezTo>
                    <a:cubicBezTo>
                      <a:pt x="6224" y="3579"/>
                      <a:pt x="6224" y="3579"/>
                      <a:pt x="6224" y="3579"/>
                    </a:cubicBezTo>
                    <a:cubicBezTo>
                      <a:pt x="6309" y="3223"/>
                      <a:pt x="6309" y="3223"/>
                      <a:pt x="6309" y="3223"/>
                    </a:cubicBezTo>
                    <a:cubicBezTo>
                      <a:pt x="6647" y="3300"/>
                      <a:pt x="6647" y="3300"/>
                      <a:pt x="6647" y="3300"/>
                    </a:cubicBezTo>
                    <a:cubicBezTo>
                      <a:pt x="6540" y="3759"/>
                      <a:pt x="6540" y="3759"/>
                      <a:pt x="6540" y="3759"/>
                    </a:cubicBezTo>
                    <a:cubicBezTo>
                      <a:pt x="6268" y="3697"/>
                      <a:pt x="6268" y="3697"/>
                      <a:pt x="6268" y="3697"/>
                    </a:cubicBezTo>
                    <a:cubicBezTo>
                      <a:pt x="6241" y="3819"/>
                      <a:pt x="6241" y="3819"/>
                      <a:pt x="6241" y="3819"/>
                    </a:cubicBezTo>
                    <a:cubicBezTo>
                      <a:pt x="6507" y="3883"/>
                      <a:pt x="6507" y="3883"/>
                      <a:pt x="6507" y="3883"/>
                    </a:cubicBezTo>
                    <a:cubicBezTo>
                      <a:pt x="6491" y="3965"/>
                      <a:pt x="6491" y="3965"/>
                      <a:pt x="6491" y="3965"/>
                    </a:cubicBezTo>
                    <a:cubicBezTo>
                      <a:pt x="6778" y="4033"/>
                      <a:pt x="6778" y="4033"/>
                      <a:pt x="6778" y="4033"/>
                    </a:cubicBezTo>
                    <a:cubicBezTo>
                      <a:pt x="6790" y="3968"/>
                      <a:pt x="6790" y="3968"/>
                      <a:pt x="6790" y="3968"/>
                    </a:cubicBezTo>
                    <a:cubicBezTo>
                      <a:pt x="6714" y="3949"/>
                      <a:pt x="6714" y="3949"/>
                      <a:pt x="6714" y="3949"/>
                    </a:cubicBezTo>
                    <a:cubicBezTo>
                      <a:pt x="6783" y="3641"/>
                      <a:pt x="6783" y="3641"/>
                      <a:pt x="6783" y="3641"/>
                    </a:cubicBezTo>
                    <a:cubicBezTo>
                      <a:pt x="6863" y="3661"/>
                      <a:pt x="6863" y="3661"/>
                      <a:pt x="6863" y="3661"/>
                    </a:cubicBezTo>
                    <a:cubicBezTo>
                      <a:pt x="6955" y="3273"/>
                      <a:pt x="6955" y="3273"/>
                      <a:pt x="6955" y="3273"/>
                    </a:cubicBezTo>
                    <a:cubicBezTo>
                      <a:pt x="6671" y="3206"/>
                      <a:pt x="6671" y="3206"/>
                      <a:pt x="6671" y="3206"/>
                    </a:cubicBezTo>
                    <a:cubicBezTo>
                      <a:pt x="6660" y="3259"/>
                      <a:pt x="6660" y="3259"/>
                      <a:pt x="6660" y="3259"/>
                    </a:cubicBezTo>
                    <a:cubicBezTo>
                      <a:pt x="6177" y="3144"/>
                      <a:pt x="6177" y="3144"/>
                      <a:pt x="6177" y="3144"/>
                    </a:cubicBezTo>
                    <a:cubicBezTo>
                      <a:pt x="6166" y="3187"/>
                      <a:pt x="6166" y="3187"/>
                      <a:pt x="6166" y="3187"/>
                    </a:cubicBezTo>
                    <a:cubicBezTo>
                      <a:pt x="6205" y="3197"/>
                      <a:pt x="6205" y="3197"/>
                      <a:pt x="6205" y="3197"/>
                    </a:cubicBezTo>
                    <a:cubicBezTo>
                      <a:pt x="6150" y="3423"/>
                      <a:pt x="6150" y="3423"/>
                      <a:pt x="6150" y="3423"/>
                    </a:cubicBezTo>
                    <a:cubicBezTo>
                      <a:pt x="5913" y="3369"/>
                      <a:pt x="5913" y="3369"/>
                      <a:pt x="5913" y="3369"/>
                    </a:cubicBezTo>
                    <a:cubicBezTo>
                      <a:pt x="5889" y="3463"/>
                      <a:pt x="5889" y="3463"/>
                      <a:pt x="5889" y="3463"/>
                    </a:cubicBezTo>
                    <a:lnTo>
                      <a:pt x="6127" y="3519"/>
                    </a:lnTo>
                    <a:close/>
                    <a:moveTo>
                      <a:pt x="10371" y="216"/>
                    </a:moveTo>
                    <a:cubicBezTo>
                      <a:pt x="10363" y="0"/>
                      <a:pt x="10363" y="0"/>
                      <a:pt x="10363" y="0"/>
                    </a:cubicBezTo>
                    <a:cubicBezTo>
                      <a:pt x="10349" y="0"/>
                      <a:pt x="10349" y="0"/>
                      <a:pt x="10349" y="0"/>
                    </a:cubicBezTo>
                    <a:cubicBezTo>
                      <a:pt x="10358" y="217"/>
                      <a:pt x="10358" y="217"/>
                      <a:pt x="10358" y="217"/>
                    </a:cubicBezTo>
                    <a:lnTo>
                      <a:pt x="10371" y="216"/>
                    </a:lnTo>
                    <a:close/>
                    <a:moveTo>
                      <a:pt x="14984" y="700"/>
                    </a:moveTo>
                    <a:cubicBezTo>
                      <a:pt x="14984" y="700"/>
                      <a:pt x="14984" y="700"/>
                      <a:pt x="14984" y="700"/>
                    </a:cubicBezTo>
                    <a:cubicBezTo>
                      <a:pt x="14984" y="700"/>
                      <a:pt x="14984" y="700"/>
                      <a:pt x="14984" y="700"/>
                    </a:cubicBezTo>
                    <a:cubicBezTo>
                      <a:pt x="14984" y="700"/>
                      <a:pt x="14984" y="700"/>
                      <a:pt x="14984" y="700"/>
                    </a:cubicBezTo>
                    <a:close/>
                    <a:moveTo>
                      <a:pt x="3561" y="10059"/>
                    </a:moveTo>
                    <a:cubicBezTo>
                      <a:pt x="3556" y="10048"/>
                      <a:pt x="3518" y="9981"/>
                      <a:pt x="3482" y="9918"/>
                    </a:cubicBezTo>
                    <a:cubicBezTo>
                      <a:pt x="3444" y="9851"/>
                      <a:pt x="3406" y="9786"/>
                      <a:pt x="3406" y="9786"/>
                    </a:cubicBezTo>
                    <a:cubicBezTo>
                      <a:pt x="3404" y="9784"/>
                      <a:pt x="3404" y="9784"/>
                      <a:pt x="3404" y="9784"/>
                    </a:cubicBezTo>
                    <a:cubicBezTo>
                      <a:pt x="3521" y="9289"/>
                      <a:pt x="3521" y="9289"/>
                      <a:pt x="3521" y="9289"/>
                    </a:cubicBezTo>
                    <a:cubicBezTo>
                      <a:pt x="3875" y="9745"/>
                      <a:pt x="3875" y="9745"/>
                      <a:pt x="3875" y="9745"/>
                    </a:cubicBezTo>
                    <a:cubicBezTo>
                      <a:pt x="3877" y="9747"/>
                      <a:pt x="3877" y="9747"/>
                      <a:pt x="3877" y="9747"/>
                    </a:cubicBezTo>
                    <a:cubicBezTo>
                      <a:pt x="3882" y="9754"/>
                      <a:pt x="3882" y="9754"/>
                      <a:pt x="3882" y="9754"/>
                    </a:cubicBezTo>
                    <a:cubicBezTo>
                      <a:pt x="3875" y="9758"/>
                      <a:pt x="3875" y="9758"/>
                      <a:pt x="3875" y="9758"/>
                    </a:cubicBezTo>
                    <a:cubicBezTo>
                      <a:pt x="3874" y="9758"/>
                      <a:pt x="3826" y="9787"/>
                      <a:pt x="3778" y="9817"/>
                    </a:cubicBezTo>
                    <a:cubicBezTo>
                      <a:pt x="3754" y="9832"/>
                      <a:pt x="3729" y="9847"/>
                      <a:pt x="3711" y="9858"/>
                    </a:cubicBezTo>
                    <a:cubicBezTo>
                      <a:pt x="3702" y="9864"/>
                      <a:pt x="3695" y="9869"/>
                      <a:pt x="3690" y="9872"/>
                    </a:cubicBezTo>
                    <a:cubicBezTo>
                      <a:pt x="3687" y="9873"/>
                      <a:pt x="3685" y="9875"/>
                      <a:pt x="3684" y="9876"/>
                    </a:cubicBezTo>
                    <a:cubicBezTo>
                      <a:pt x="3683" y="9879"/>
                      <a:pt x="3682" y="9881"/>
                      <a:pt x="3679" y="9885"/>
                    </a:cubicBezTo>
                    <a:cubicBezTo>
                      <a:pt x="3669" y="9905"/>
                      <a:pt x="3642" y="9947"/>
                      <a:pt x="3619" y="9986"/>
                    </a:cubicBezTo>
                    <a:cubicBezTo>
                      <a:pt x="3607" y="10005"/>
                      <a:pt x="3596" y="10024"/>
                      <a:pt x="3588" y="10037"/>
                    </a:cubicBezTo>
                    <a:cubicBezTo>
                      <a:pt x="3584" y="10044"/>
                      <a:pt x="3581" y="10050"/>
                      <a:pt x="3578" y="10054"/>
                    </a:cubicBezTo>
                    <a:cubicBezTo>
                      <a:pt x="3577" y="10056"/>
                      <a:pt x="3576" y="10058"/>
                      <a:pt x="3576" y="10059"/>
                    </a:cubicBezTo>
                    <a:cubicBezTo>
                      <a:pt x="3576" y="10060"/>
                      <a:pt x="3576" y="10061"/>
                      <a:pt x="3575" y="10062"/>
                    </a:cubicBezTo>
                    <a:cubicBezTo>
                      <a:pt x="3574" y="10065"/>
                      <a:pt x="3570" y="10066"/>
                      <a:pt x="3568" y="10066"/>
                    </a:cubicBezTo>
                    <a:cubicBezTo>
                      <a:pt x="3568" y="10066"/>
                      <a:pt x="3568" y="10066"/>
                      <a:pt x="3568" y="10066"/>
                    </a:cubicBezTo>
                    <a:cubicBezTo>
                      <a:pt x="3566" y="10066"/>
                      <a:pt x="3563" y="10064"/>
                      <a:pt x="3562" y="10062"/>
                    </a:cubicBezTo>
                    <a:cubicBezTo>
                      <a:pt x="3561" y="10061"/>
                      <a:pt x="3561" y="10060"/>
                      <a:pt x="3561" y="10059"/>
                    </a:cubicBezTo>
                    <a:close/>
                    <a:moveTo>
                      <a:pt x="3551" y="10008"/>
                    </a:moveTo>
                    <a:cubicBezTo>
                      <a:pt x="3558" y="10022"/>
                      <a:pt x="3564" y="10033"/>
                      <a:pt x="3568" y="10041"/>
                    </a:cubicBezTo>
                    <a:cubicBezTo>
                      <a:pt x="3568" y="10041"/>
                      <a:pt x="3568" y="10041"/>
                      <a:pt x="3569" y="10041"/>
                    </a:cubicBezTo>
                    <a:cubicBezTo>
                      <a:pt x="3580" y="10021"/>
                      <a:pt x="3605" y="9981"/>
                      <a:pt x="3627" y="9945"/>
                    </a:cubicBezTo>
                    <a:cubicBezTo>
                      <a:pt x="3638" y="9925"/>
                      <a:pt x="3650" y="9907"/>
                      <a:pt x="3658" y="9893"/>
                    </a:cubicBezTo>
                    <a:cubicBezTo>
                      <a:pt x="3662" y="9886"/>
                      <a:pt x="3665" y="9880"/>
                      <a:pt x="3667" y="9876"/>
                    </a:cubicBezTo>
                    <a:cubicBezTo>
                      <a:pt x="3668" y="9874"/>
                      <a:pt x="3669" y="9873"/>
                      <a:pt x="3670" y="9871"/>
                    </a:cubicBezTo>
                    <a:cubicBezTo>
                      <a:pt x="3670" y="9871"/>
                      <a:pt x="3670" y="9871"/>
                      <a:pt x="3670" y="9871"/>
                    </a:cubicBezTo>
                    <a:cubicBezTo>
                      <a:pt x="3671" y="9867"/>
                      <a:pt x="3672" y="9867"/>
                      <a:pt x="3672" y="9867"/>
                    </a:cubicBezTo>
                    <a:cubicBezTo>
                      <a:pt x="3676" y="9863"/>
                      <a:pt x="3687" y="9856"/>
                      <a:pt x="3706" y="9844"/>
                    </a:cubicBezTo>
                    <a:cubicBezTo>
                      <a:pt x="3753" y="9815"/>
                      <a:pt x="3835" y="9764"/>
                      <a:pt x="3860" y="9750"/>
                    </a:cubicBezTo>
                    <a:cubicBezTo>
                      <a:pt x="3528" y="9323"/>
                      <a:pt x="3528" y="9323"/>
                      <a:pt x="3528" y="9323"/>
                    </a:cubicBezTo>
                    <a:cubicBezTo>
                      <a:pt x="3420" y="9781"/>
                      <a:pt x="3420" y="9781"/>
                      <a:pt x="3420" y="9781"/>
                    </a:cubicBezTo>
                    <a:cubicBezTo>
                      <a:pt x="3428" y="9794"/>
                      <a:pt x="3462" y="9854"/>
                      <a:pt x="3497" y="9914"/>
                    </a:cubicBezTo>
                    <a:cubicBezTo>
                      <a:pt x="3516" y="9948"/>
                      <a:pt x="3536" y="9982"/>
                      <a:pt x="3551" y="10008"/>
                    </a:cubicBezTo>
                    <a:close/>
                    <a:moveTo>
                      <a:pt x="10552" y="211"/>
                    </a:moveTo>
                    <a:cubicBezTo>
                      <a:pt x="10532" y="0"/>
                      <a:pt x="10532" y="0"/>
                      <a:pt x="10532" y="0"/>
                    </a:cubicBezTo>
                    <a:cubicBezTo>
                      <a:pt x="10518" y="0"/>
                      <a:pt x="10518" y="0"/>
                      <a:pt x="10518" y="0"/>
                    </a:cubicBezTo>
                    <a:cubicBezTo>
                      <a:pt x="10538" y="212"/>
                      <a:pt x="10538" y="212"/>
                      <a:pt x="10538" y="212"/>
                    </a:cubicBezTo>
                    <a:lnTo>
                      <a:pt x="10552" y="211"/>
                    </a:lnTo>
                    <a:close/>
                    <a:moveTo>
                      <a:pt x="6531" y="3142"/>
                    </a:moveTo>
                    <a:cubicBezTo>
                      <a:pt x="6060" y="3031"/>
                      <a:pt x="6060" y="3031"/>
                      <a:pt x="6060" y="3031"/>
                    </a:cubicBezTo>
                    <a:cubicBezTo>
                      <a:pt x="6102" y="2856"/>
                      <a:pt x="6102" y="2856"/>
                      <a:pt x="6102" y="2856"/>
                    </a:cubicBezTo>
                    <a:cubicBezTo>
                      <a:pt x="6579" y="2969"/>
                      <a:pt x="6579" y="2969"/>
                      <a:pt x="6579" y="2969"/>
                    </a:cubicBezTo>
                    <a:cubicBezTo>
                      <a:pt x="6538" y="3144"/>
                      <a:pt x="6538" y="3144"/>
                      <a:pt x="6538" y="3144"/>
                    </a:cubicBezTo>
                    <a:lnTo>
                      <a:pt x="6531" y="3142"/>
                    </a:lnTo>
                    <a:close/>
                    <a:moveTo>
                      <a:pt x="6527" y="3126"/>
                    </a:moveTo>
                    <a:cubicBezTo>
                      <a:pt x="6562" y="2980"/>
                      <a:pt x="6562" y="2980"/>
                      <a:pt x="6562" y="2980"/>
                    </a:cubicBezTo>
                    <a:cubicBezTo>
                      <a:pt x="6113" y="2873"/>
                      <a:pt x="6113" y="2873"/>
                      <a:pt x="6113" y="2873"/>
                    </a:cubicBezTo>
                    <a:cubicBezTo>
                      <a:pt x="6078" y="3020"/>
                      <a:pt x="6078" y="3020"/>
                      <a:pt x="6078" y="3020"/>
                    </a:cubicBezTo>
                    <a:lnTo>
                      <a:pt x="6527" y="3126"/>
                    </a:lnTo>
                    <a:close/>
                    <a:moveTo>
                      <a:pt x="2419" y="10351"/>
                    </a:moveTo>
                    <a:cubicBezTo>
                      <a:pt x="2500" y="10407"/>
                      <a:pt x="2500" y="10407"/>
                      <a:pt x="2500" y="10407"/>
                    </a:cubicBezTo>
                    <a:cubicBezTo>
                      <a:pt x="2560" y="10517"/>
                      <a:pt x="2560" y="10517"/>
                      <a:pt x="2560" y="10517"/>
                    </a:cubicBezTo>
                    <a:cubicBezTo>
                      <a:pt x="2303" y="10509"/>
                      <a:pt x="2303" y="10509"/>
                      <a:pt x="2303" y="10509"/>
                    </a:cubicBezTo>
                    <a:cubicBezTo>
                      <a:pt x="2342" y="10241"/>
                      <a:pt x="2342" y="10241"/>
                      <a:pt x="2342" y="10241"/>
                    </a:cubicBezTo>
                    <a:cubicBezTo>
                      <a:pt x="2427" y="10239"/>
                      <a:pt x="2427" y="10239"/>
                      <a:pt x="2427" y="10239"/>
                    </a:cubicBezTo>
                    <a:cubicBezTo>
                      <a:pt x="2427" y="10247"/>
                      <a:pt x="2427" y="10247"/>
                      <a:pt x="2427" y="10247"/>
                    </a:cubicBezTo>
                    <a:lnTo>
                      <a:pt x="2419" y="10351"/>
                    </a:lnTo>
                    <a:close/>
                    <a:moveTo>
                      <a:pt x="2403" y="10358"/>
                    </a:moveTo>
                    <a:cubicBezTo>
                      <a:pt x="2411" y="10254"/>
                      <a:pt x="2411" y="10254"/>
                      <a:pt x="2411" y="10254"/>
                    </a:cubicBezTo>
                    <a:cubicBezTo>
                      <a:pt x="2355" y="10255"/>
                      <a:pt x="2355" y="10255"/>
                      <a:pt x="2355" y="10255"/>
                    </a:cubicBezTo>
                    <a:cubicBezTo>
                      <a:pt x="2320" y="10495"/>
                      <a:pt x="2320" y="10495"/>
                      <a:pt x="2320" y="10495"/>
                    </a:cubicBezTo>
                    <a:cubicBezTo>
                      <a:pt x="2535" y="10501"/>
                      <a:pt x="2535" y="10501"/>
                      <a:pt x="2535" y="10501"/>
                    </a:cubicBezTo>
                    <a:cubicBezTo>
                      <a:pt x="2489" y="10417"/>
                      <a:pt x="2489" y="10417"/>
                      <a:pt x="2489" y="10417"/>
                    </a:cubicBezTo>
                    <a:lnTo>
                      <a:pt x="2403" y="10358"/>
                    </a:lnTo>
                    <a:close/>
                    <a:moveTo>
                      <a:pt x="478" y="7398"/>
                    </a:moveTo>
                    <a:cubicBezTo>
                      <a:pt x="642" y="7249"/>
                      <a:pt x="642" y="7249"/>
                      <a:pt x="642" y="7249"/>
                    </a:cubicBezTo>
                    <a:cubicBezTo>
                      <a:pt x="861" y="7452"/>
                      <a:pt x="861" y="7452"/>
                      <a:pt x="861" y="7452"/>
                    </a:cubicBezTo>
                    <a:cubicBezTo>
                      <a:pt x="856" y="7458"/>
                      <a:pt x="856" y="7458"/>
                      <a:pt x="856" y="7458"/>
                    </a:cubicBezTo>
                    <a:cubicBezTo>
                      <a:pt x="797" y="7519"/>
                      <a:pt x="797" y="7519"/>
                      <a:pt x="797" y="7519"/>
                    </a:cubicBezTo>
                    <a:cubicBezTo>
                      <a:pt x="752" y="7476"/>
                      <a:pt x="752" y="7476"/>
                      <a:pt x="752" y="7476"/>
                    </a:cubicBezTo>
                    <a:cubicBezTo>
                      <a:pt x="678" y="7539"/>
                      <a:pt x="678" y="7539"/>
                      <a:pt x="678" y="7539"/>
                    </a:cubicBezTo>
                    <a:cubicBezTo>
                      <a:pt x="609" y="7498"/>
                      <a:pt x="609" y="7498"/>
                      <a:pt x="609" y="7498"/>
                    </a:cubicBezTo>
                    <a:cubicBezTo>
                      <a:pt x="653" y="7455"/>
                      <a:pt x="653" y="7455"/>
                      <a:pt x="653" y="7455"/>
                    </a:cubicBezTo>
                    <a:cubicBezTo>
                      <a:pt x="633" y="7420"/>
                      <a:pt x="633" y="7420"/>
                      <a:pt x="633" y="7420"/>
                    </a:cubicBezTo>
                    <a:cubicBezTo>
                      <a:pt x="527" y="7498"/>
                      <a:pt x="527" y="7498"/>
                      <a:pt x="527" y="7498"/>
                    </a:cubicBezTo>
                    <a:cubicBezTo>
                      <a:pt x="506" y="7471"/>
                      <a:pt x="506" y="7471"/>
                      <a:pt x="506" y="7471"/>
                    </a:cubicBezTo>
                    <a:cubicBezTo>
                      <a:pt x="525" y="7442"/>
                      <a:pt x="525" y="7442"/>
                      <a:pt x="525" y="7442"/>
                    </a:cubicBezTo>
                    <a:lnTo>
                      <a:pt x="478" y="7398"/>
                    </a:lnTo>
                    <a:close/>
                    <a:moveTo>
                      <a:pt x="642" y="7269"/>
                    </a:moveTo>
                    <a:cubicBezTo>
                      <a:pt x="500" y="7398"/>
                      <a:pt x="500" y="7398"/>
                      <a:pt x="500" y="7398"/>
                    </a:cubicBezTo>
                    <a:cubicBezTo>
                      <a:pt x="544" y="7440"/>
                      <a:pt x="544" y="7440"/>
                      <a:pt x="544" y="7440"/>
                    </a:cubicBezTo>
                    <a:cubicBezTo>
                      <a:pt x="524" y="7471"/>
                      <a:pt x="524" y="7471"/>
                      <a:pt x="524" y="7471"/>
                    </a:cubicBezTo>
                    <a:cubicBezTo>
                      <a:pt x="530" y="7478"/>
                      <a:pt x="530" y="7478"/>
                      <a:pt x="530" y="7478"/>
                    </a:cubicBezTo>
                    <a:cubicBezTo>
                      <a:pt x="638" y="7398"/>
                      <a:pt x="638" y="7398"/>
                      <a:pt x="638" y="7398"/>
                    </a:cubicBezTo>
                    <a:cubicBezTo>
                      <a:pt x="671" y="7458"/>
                      <a:pt x="671" y="7458"/>
                      <a:pt x="671" y="7458"/>
                    </a:cubicBezTo>
                    <a:cubicBezTo>
                      <a:pt x="633" y="7495"/>
                      <a:pt x="633" y="7495"/>
                      <a:pt x="633" y="7495"/>
                    </a:cubicBezTo>
                    <a:cubicBezTo>
                      <a:pt x="676" y="7521"/>
                      <a:pt x="676" y="7521"/>
                      <a:pt x="676" y="7521"/>
                    </a:cubicBezTo>
                    <a:cubicBezTo>
                      <a:pt x="753" y="7456"/>
                      <a:pt x="753" y="7456"/>
                      <a:pt x="753" y="7456"/>
                    </a:cubicBezTo>
                    <a:cubicBezTo>
                      <a:pt x="797" y="7498"/>
                      <a:pt x="797" y="7498"/>
                      <a:pt x="797" y="7498"/>
                    </a:cubicBezTo>
                    <a:cubicBezTo>
                      <a:pt x="840" y="7453"/>
                      <a:pt x="840" y="7453"/>
                      <a:pt x="840" y="7453"/>
                    </a:cubicBezTo>
                    <a:lnTo>
                      <a:pt x="642" y="7269"/>
                    </a:lnTo>
                    <a:close/>
                    <a:moveTo>
                      <a:pt x="14984" y="700"/>
                    </a:moveTo>
                    <a:cubicBezTo>
                      <a:pt x="14984" y="700"/>
                      <a:pt x="14984" y="700"/>
                      <a:pt x="14984" y="700"/>
                    </a:cubicBezTo>
                    <a:cubicBezTo>
                      <a:pt x="14984" y="700"/>
                      <a:pt x="14984" y="700"/>
                      <a:pt x="14984" y="700"/>
                    </a:cubicBezTo>
                    <a:cubicBezTo>
                      <a:pt x="14984" y="700"/>
                      <a:pt x="14984" y="700"/>
                      <a:pt x="14984" y="700"/>
                    </a:cubicBezTo>
                    <a:close/>
                    <a:moveTo>
                      <a:pt x="3318" y="8152"/>
                    </a:moveTo>
                    <a:cubicBezTo>
                      <a:pt x="3213" y="8305"/>
                      <a:pt x="3213" y="8305"/>
                      <a:pt x="3213" y="8305"/>
                    </a:cubicBezTo>
                    <a:cubicBezTo>
                      <a:pt x="3148" y="8186"/>
                      <a:pt x="3148" y="8186"/>
                      <a:pt x="3148" y="8186"/>
                    </a:cubicBezTo>
                    <a:cubicBezTo>
                      <a:pt x="3202" y="8161"/>
                      <a:pt x="3202" y="8161"/>
                      <a:pt x="3202" y="8161"/>
                    </a:cubicBezTo>
                    <a:cubicBezTo>
                      <a:pt x="2971" y="7931"/>
                      <a:pt x="2971" y="7931"/>
                      <a:pt x="2971" y="7931"/>
                    </a:cubicBezTo>
                    <a:cubicBezTo>
                      <a:pt x="2841" y="8028"/>
                      <a:pt x="2841" y="8028"/>
                      <a:pt x="2841" y="8028"/>
                    </a:cubicBezTo>
                    <a:cubicBezTo>
                      <a:pt x="3049" y="8286"/>
                      <a:pt x="3049" y="8286"/>
                      <a:pt x="3049" y="8286"/>
                    </a:cubicBezTo>
                    <a:cubicBezTo>
                      <a:pt x="3088" y="8219"/>
                      <a:pt x="3088" y="8219"/>
                      <a:pt x="3088" y="8219"/>
                    </a:cubicBezTo>
                    <a:cubicBezTo>
                      <a:pt x="3159" y="8351"/>
                      <a:pt x="3159" y="8351"/>
                      <a:pt x="3159" y="8351"/>
                    </a:cubicBezTo>
                    <a:cubicBezTo>
                      <a:pt x="3159" y="8351"/>
                      <a:pt x="3035" y="8435"/>
                      <a:pt x="3036" y="8435"/>
                    </a:cubicBezTo>
                    <a:cubicBezTo>
                      <a:pt x="3037" y="8435"/>
                      <a:pt x="2704" y="8001"/>
                      <a:pt x="2704" y="8001"/>
                    </a:cubicBezTo>
                    <a:cubicBezTo>
                      <a:pt x="2963" y="7816"/>
                      <a:pt x="2963" y="7816"/>
                      <a:pt x="2963" y="7816"/>
                    </a:cubicBezTo>
                    <a:cubicBezTo>
                      <a:pt x="2963" y="7816"/>
                      <a:pt x="3316" y="8151"/>
                      <a:pt x="3318" y="8152"/>
                    </a:cubicBezTo>
                    <a:close/>
                    <a:moveTo>
                      <a:pt x="3214" y="8279"/>
                    </a:moveTo>
                    <a:cubicBezTo>
                      <a:pt x="3300" y="8154"/>
                      <a:pt x="3300" y="8154"/>
                      <a:pt x="3300" y="8154"/>
                    </a:cubicBezTo>
                    <a:cubicBezTo>
                      <a:pt x="3276" y="8131"/>
                      <a:pt x="3202" y="8061"/>
                      <a:pt x="2962" y="7834"/>
                    </a:cubicBezTo>
                    <a:cubicBezTo>
                      <a:pt x="2723" y="8004"/>
                      <a:pt x="2723" y="8004"/>
                      <a:pt x="2723" y="8004"/>
                    </a:cubicBezTo>
                    <a:cubicBezTo>
                      <a:pt x="2948" y="8297"/>
                      <a:pt x="3017" y="8388"/>
                      <a:pt x="3039" y="8416"/>
                    </a:cubicBezTo>
                    <a:cubicBezTo>
                      <a:pt x="3053" y="8406"/>
                      <a:pt x="3081" y="8387"/>
                      <a:pt x="3140" y="8347"/>
                    </a:cubicBezTo>
                    <a:cubicBezTo>
                      <a:pt x="3087" y="8248"/>
                      <a:pt x="3087" y="8248"/>
                      <a:pt x="3087" y="8248"/>
                    </a:cubicBezTo>
                    <a:cubicBezTo>
                      <a:pt x="3061" y="8293"/>
                      <a:pt x="3061" y="8293"/>
                      <a:pt x="3061" y="8293"/>
                    </a:cubicBezTo>
                    <a:cubicBezTo>
                      <a:pt x="3051" y="8310"/>
                      <a:pt x="3051" y="8310"/>
                      <a:pt x="3051" y="8310"/>
                    </a:cubicBezTo>
                    <a:cubicBezTo>
                      <a:pt x="3038" y="8295"/>
                      <a:pt x="3038" y="8295"/>
                      <a:pt x="3038" y="8295"/>
                    </a:cubicBezTo>
                    <a:cubicBezTo>
                      <a:pt x="2830" y="8036"/>
                      <a:pt x="2830" y="8036"/>
                      <a:pt x="2830" y="8036"/>
                    </a:cubicBezTo>
                    <a:cubicBezTo>
                      <a:pt x="2821" y="8025"/>
                      <a:pt x="2821" y="8025"/>
                      <a:pt x="2821" y="8025"/>
                    </a:cubicBezTo>
                    <a:cubicBezTo>
                      <a:pt x="2833" y="8016"/>
                      <a:pt x="2833" y="8016"/>
                      <a:pt x="2833" y="8016"/>
                    </a:cubicBezTo>
                    <a:cubicBezTo>
                      <a:pt x="2963" y="7920"/>
                      <a:pt x="2963" y="7920"/>
                      <a:pt x="2963" y="7920"/>
                    </a:cubicBezTo>
                    <a:cubicBezTo>
                      <a:pt x="2972" y="7913"/>
                      <a:pt x="2972" y="7913"/>
                      <a:pt x="2972" y="7913"/>
                    </a:cubicBezTo>
                    <a:cubicBezTo>
                      <a:pt x="2981" y="7921"/>
                      <a:pt x="2981" y="7921"/>
                      <a:pt x="2981" y="7921"/>
                    </a:cubicBezTo>
                    <a:cubicBezTo>
                      <a:pt x="3211" y="8151"/>
                      <a:pt x="3211" y="8151"/>
                      <a:pt x="3211" y="8151"/>
                    </a:cubicBezTo>
                    <a:cubicBezTo>
                      <a:pt x="3225" y="8165"/>
                      <a:pt x="3225" y="8165"/>
                      <a:pt x="3225" y="8165"/>
                    </a:cubicBezTo>
                    <a:cubicBezTo>
                      <a:pt x="3208" y="8173"/>
                      <a:pt x="3208" y="8173"/>
                      <a:pt x="3208" y="8173"/>
                    </a:cubicBezTo>
                    <a:cubicBezTo>
                      <a:pt x="3168" y="8193"/>
                      <a:pt x="3168" y="8193"/>
                      <a:pt x="3168" y="8193"/>
                    </a:cubicBezTo>
                    <a:lnTo>
                      <a:pt x="3214" y="8279"/>
                    </a:lnTo>
                    <a:close/>
                    <a:moveTo>
                      <a:pt x="2926" y="8430"/>
                    </a:moveTo>
                    <a:cubicBezTo>
                      <a:pt x="2927" y="8430"/>
                      <a:pt x="2710" y="8388"/>
                      <a:pt x="2710" y="8388"/>
                    </a:cubicBezTo>
                    <a:cubicBezTo>
                      <a:pt x="2629" y="8166"/>
                      <a:pt x="2629" y="8166"/>
                      <a:pt x="2629" y="8166"/>
                    </a:cubicBezTo>
                    <a:cubicBezTo>
                      <a:pt x="2541" y="8187"/>
                      <a:pt x="2541" y="8187"/>
                      <a:pt x="2541" y="8187"/>
                    </a:cubicBezTo>
                    <a:cubicBezTo>
                      <a:pt x="2475" y="8106"/>
                      <a:pt x="2475" y="8106"/>
                      <a:pt x="2475" y="8106"/>
                    </a:cubicBezTo>
                    <a:cubicBezTo>
                      <a:pt x="2661" y="8055"/>
                      <a:pt x="2661" y="8055"/>
                      <a:pt x="2661" y="8055"/>
                    </a:cubicBezTo>
                    <a:lnTo>
                      <a:pt x="2926" y="8430"/>
                    </a:lnTo>
                    <a:close/>
                    <a:moveTo>
                      <a:pt x="2720" y="8376"/>
                    </a:moveTo>
                    <a:cubicBezTo>
                      <a:pt x="2814" y="8394"/>
                      <a:pt x="2866" y="8404"/>
                      <a:pt x="2894" y="8410"/>
                    </a:cubicBezTo>
                    <a:cubicBezTo>
                      <a:pt x="2655" y="8071"/>
                      <a:pt x="2655" y="8071"/>
                      <a:pt x="2655" y="8071"/>
                    </a:cubicBezTo>
                    <a:cubicBezTo>
                      <a:pt x="2499" y="8114"/>
                      <a:pt x="2499" y="8114"/>
                      <a:pt x="2499" y="8114"/>
                    </a:cubicBezTo>
                    <a:cubicBezTo>
                      <a:pt x="2546" y="8172"/>
                      <a:pt x="2546" y="8172"/>
                      <a:pt x="2546" y="8172"/>
                    </a:cubicBezTo>
                    <a:cubicBezTo>
                      <a:pt x="2625" y="8152"/>
                      <a:pt x="2625" y="8152"/>
                      <a:pt x="2625" y="8152"/>
                    </a:cubicBezTo>
                    <a:cubicBezTo>
                      <a:pt x="2638" y="8149"/>
                      <a:pt x="2638" y="8149"/>
                      <a:pt x="2638" y="8149"/>
                    </a:cubicBezTo>
                    <a:cubicBezTo>
                      <a:pt x="2642" y="8161"/>
                      <a:pt x="2642" y="8161"/>
                      <a:pt x="2642" y="8161"/>
                    </a:cubicBezTo>
                    <a:lnTo>
                      <a:pt x="2720" y="8376"/>
                    </a:lnTo>
                    <a:close/>
                    <a:moveTo>
                      <a:pt x="2594" y="8214"/>
                    </a:moveTo>
                    <a:cubicBezTo>
                      <a:pt x="2620" y="8295"/>
                      <a:pt x="2620" y="8295"/>
                      <a:pt x="2620" y="8295"/>
                    </a:cubicBezTo>
                    <a:cubicBezTo>
                      <a:pt x="2442" y="8365"/>
                      <a:pt x="2442" y="8365"/>
                      <a:pt x="2442" y="8365"/>
                    </a:cubicBezTo>
                    <a:cubicBezTo>
                      <a:pt x="2309" y="8103"/>
                      <a:pt x="2309" y="8103"/>
                      <a:pt x="2309" y="8103"/>
                    </a:cubicBezTo>
                    <a:cubicBezTo>
                      <a:pt x="2368" y="8060"/>
                      <a:pt x="2368" y="8060"/>
                      <a:pt x="2368" y="8060"/>
                    </a:cubicBezTo>
                    <a:cubicBezTo>
                      <a:pt x="2510" y="8239"/>
                      <a:pt x="2510" y="8239"/>
                      <a:pt x="2510" y="8239"/>
                    </a:cubicBezTo>
                    <a:lnTo>
                      <a:pt x="2594" y="8214"/>
                    </a:lnTo>
                    <a:close/>
                    <a:moveTo>
                      <a:pt x="2602" y="8287"/>
                    </a:moveTo>
                    <a:cubicBezTo>
                      <a:pt x="2585" y="8231"/>
                      <a:pt x="2585" y="8231"/>
                      <a:pt x="2585" y="8231"/>
                    </a:cubicBezTo>
                    <a:cubicBezTo>
                      <a:pt x="2514" y="8252"/>
                      <a:pt x="2514" y="8252"/>
                      <a:pt x="2514" y="8252"/>
                    </a:cubicBezTo>
                    <a:cubicBezTo>
                      <a:pt x="2505" y="8255"/>
                      <a:pt x="2505" y="8255"/>
                      <a:pt x="2505" y="8255"/>
                    </a:cubicBezTo>
                    <a:cubicBezTo>
                      <a:pt x="2499" y="8247"/>
                      <a:pt x="2499" y="8247"/>
                      <a:pt x="2499" y="8247"/>
                    </a:cubicBezTo>
                    <a:cubicBezTo>
                      <a:pt x="2366" y="8079"/>
                      <a:pt x="2366" y="8079"/>
                      <a:pt x="2366" y="8079"/>
                    </a:cubicBezTo>
                    <a:cubicBezTo>
                      <a:pt x="2327" y="8108"/>
                      <a:pt x="2327" y="8108"/>
                      <a:pt x="2327" y="8108"/>
                    </a:cubicBezTo>
                    <a:cubicBezTo>
                      <a:pt x="2449" y="8347"/>
                      <a:pt x="2449" y="8347"/>
                      <a:pt x="2449" y="8347"/>
                    </a:cubicBezTo>
                    <a:lnTo>
                      <a:pt x="2602" y="8287"/>
                    </a:lnTo>
                    <a:close/>
                    <a:moveTo>
                      <a:pt x="5465" y="9137"/>
                    </a:moveTo>
                    <a:cubicBezTo>
                      <a:pt x="5322" y="9112"/>
                      <a:pt x="5322" y="9112"/>
                      <a:pt x="5322" y="9112"/>
                    </a:cubicBezTo>
                    <a:cubicBezTo>
                      <a:pt x="5334" y="9042"/>
                      <a:pt x="5334" y="9042"/>
                      <a:pt x="5334" y="9042"/>
                    </a:cubicBezTo>
                    <a:cubicBezTo>
                      <a:pt x="5483" y="9068"/>
                      <a:pt x="5483" y="9068"/>
                      <a:pt x="5483" y="9068"/>
                    </a:cubicBezTo>
                    <a:cubicBezTo>
                      <a:pt x="5471" y="9138"/>
                      <a:pt x="5471" y="9138"/>
                      <a:pt x="5471" y="9138"/>
                    </a:cubicBezTo>
                    <a:lnTo>
                      <a:pt x="5465" y="9137"/>
                    </a:lnTo>
                    <a:close/>
                    <a:moveTo>
                      <a:pt x="5461" y="9123"/>
                    </a:moveTo>
                    <a:cubicBezTo>
                      <a:pt x="5469" y="9078"/>
                      <a:pt x="5469" y="9078"/>
                      <a:pt x="5469" y="9078"/>
                    </a:cubicBezTo>
                    <a:cubicBezTo>
                      <a:pt x="5345" y="9056"/>
                      <a:pt x="5345" y="9056"/>
                      <a:pt x="5345" y="9056"/>
                    </a:cubicBezTo>
                    <a:cubicBezTo>
                      <a:pt x="5337" y="9102"/>
                      <a:pt x="5337" y="9102"/>
                      <a:pt x="5337" y="9102"/>
                    </a:cubicBezTo>
                    <a:lnTo>
                      <a:pt x="5461" y="9123"/>
                    </a:lnTo>
                    <a:close/>
                    <a:moveTo>
                      <a:pt x="5441" y="8320"/>
                    </a:moveTo>
                    <a:cubicBezTo>
                      <a:pt x="5590" y="8346"/>
                      <a:pt x="5590" y="8346"/>
                      <a:pt x="5590" y="8346"/>
                    </a:cubicBezTo>
                    <a:cubicBezTo>
                      <a:pt x="5578" y="8416"/>
                      <a:pt x="5578" y="8416"/>
                      <a:pt x="5578" y="8416"/>
                    </a:cubicBezTo>
                    <a:cubicBezTo>
                      <a:pt x="5571" y="8415"/>
                      <a:pt x="5571" y="8415"/>
                      <a:pt x="5571" y="8415"/>
                    </a:cubicBezTo>
                    <a:cubicBezTo>
                      <a:pt x="5429" y="8390"/>
                      <a:pt x="5429" y="8390"/>
                      <a:pt x="5429" y="8390"/>
                    </a:cubicBezTo>
                    <a:lnTo>
                      <a:pt x="5441" y="8320"/>
                    </a:lnTo>
                    <a:close/>
                    <a:moveTo>
                      <a:pt x="5444" y="8380"/>
                    </a:moveTo>
                    <a:cubicBezTo>
                      <a:pt x="5567" y="8401"/>
                      <a:pt x="5567" y="8401"/>
                      <a:pt x="5567" y="8401"/>
                    </a:cubicBezTo>
                    <a:cubicBezTo>
                      <a:pt x="5575" y="8356"/>
                      <a:pt x="5575" y="8356"/>
                      <a:pt x="5575" y="8356"/>
                    </a:cubicBezTo>
                    <a:cubicBezTo>
                      <a:pt x="5451" y="8334"/>
                      <a:pt x="5451" y="8334"/>
                      <a:pt x="5451" y="8334"/>
                    </a:cubicBezTo>
                    <a:lnTo>
                      <a:pt x="5444" y="8380"/>
                    </a:lnTo>
                    <a:close/>
                    <a:moveTo>
                      <a:pt x="1423" y="7046"/>
                    </a:moveTo>
                    <a:cubicBezTo>
                      <a:pt x="1372" y="6939"/>
                      <a:pt x="1372" y="6939"/>
                      <a:pt x="1372" y="6939"/>
                    </a:cubicBezTo>
                    <a:cubicBezTo>
                      <a:pt x="1454" y="6763"/>
                      <a:pt x="1454" y="6763"/>
                      <a:pt x="1454" y="6763"/>
                    </a:cubicBezTo>
                    <a:cubicBezTo>
                      <a:pt x="1817" y="6978"/>
                      <a:pt x="1817" y="6978"/>
                      <a:pt x="1817" y="6978"/>
                    </a:cubicBezTo>
                    <a:cubicBezTo>
                      <a:pt x="1808" y="6985"/>
                      <a:pt x="1808" y="6985"/>
                      <a:pt x="1808" y="6985"/>
                    </a:cubicBezTo>
                    <a:cubicBezTo>
                      <a:pt x="1699" y="7065"/>
                      <a:pt x="1699" y="7065"/>
                      <a:pt x="1699" y="7065"/>
                    </a:cubicBezTo>
                    <a:cubicBezTo>
                      <a:pt x="1598" y="7012"/>
                      <a:pt x="1598" y="7012"/>
                      <a:pt x="1598" y="7012"/>
                    </a:cubicBezTo>
                    <a:cubicBezTo>
                      <a:pt x="1520" y="6927"/>
                      <a:pt x="1520" y="6927"/>
                      <a:pt x="1520" y="6927"/>
                    </a:cubicBezTo>
                    <a:cubicBezTo>
                      <a:pt x="1473" y="7011"/>
                      <a:pt x="1473" y="7011"/>
                      <a:pt x="1473" y="7011"/>
                    </a:cubicBezTo>
                    <a:lnTo>
                      <a:pt x="1423" y="7046"/>
                    </a:lnTo>
                    <a:close/>
                    <a:moveTo>
                      <a:pt x="1388" y="6939"/>
                    </a:moveTo>
                    <a:cubicBezTo>
                      <a:pt x="1429" y="7024"/>
                      <a:pt x="1429" y="7024"/>
                      <a:pt x="1429" y="7024"/>
                    </a:cubicBezTo>
                    <a:cubicBezTo>
                      <a:pt x="1461" y="7001"/>
                      <a:pt x="1461" y="7001"/>
                      <a:pt x="1461" y="7001"/>
                    </a:cubicBezTo>
                    <a:cubicBezTo>
                      <a:pt x="1517" y="6902"/>
                      <a:pt x="1517" y="6902"/>
                      <a:pt x="1517" y="6902"/>
                    </a:cubicBezTo>
                    <a:cubicBezTo>
                      <a:pt x="1607" y="7000"/>
                      <a:pt x="1607" y="7000"/>
                      <a:pt x="1607" y="7000"/>
                    </a:cubicBezTo>
                    <a:cubicBezTo>
                      <a:pt x="1698" y="7048"/>
                      <a:pt x="1698" y="7048"/>
                      <a:pt x="1698" y="7048"/>
                    </a:cubicBezTo>
                    <a:cubicBezTo>
                      <a:pt x="1790" y="6980"/>
                      <a:pt x="1790" y="6980"/>
                      <a:pt x="1790" y="6980"/>
                    </a:cubicBezTo>
                    <a:cubicBezTo>
                      <a:pt x="1460" y="6784"/>
                      <a:pt x="1460" y="6784"/>
                      <a:pt x="1460" y="6784"/>
                    </a:cubicBezTo>
                    <a:lnTo>
                      <a:pt x="1388" y="6939"/>
                    </a:lnTo>
                    <a:close/>
                    <a:moveTo>
                      <a:pt x="1078" y="8395"/>
                    </a:moveTo>
                    <a:cubicBezTo>
                      <a:pt x="1315" y="8572"/>
                      <a:pt x="1315" y="8572"/>
                      <a:pt x="1315" y="8572"/>
                    </a:cubicBezTo>
                    <a:cubicBezTo>
                      <a:pt x="1340" y="8533"/>
                      <a:pt x="1340" y="8533"/>
                      <a:pt x="1340" y="8533"/>
                    </a:cubicBezTo>
                    <a:cubicBezTo>
                      <a:pt x="1427" y="8593"/>
                      <a:pt x="1427" y="8593"/>
                      <a:pt x="1427" y="8593"/>
                    </a:cubicBezTo>
                    <a:cubicBezTo>
                      <a:pt x="1362" y="8698"/>
                      <a:pt x="1362" y="8698"/>
                      <a:pt x="1362" y="8698"/>
                    </a:cubicBezTo>
                    <a:cubicBezTo>
                      <a:pt x="1040" y="8457"/>
                      <a:pt x="1040" y="8457"/>
                      <a:pt x="1040" y="8457"/>
                    </a:cubicBezTo>
                    <a:lnTo>
                      <a:pt x="1078" y="8395"/>
                    </a:lnTo>
                    <a:close/>
                    <a:moveTo>
                      <a:pt x="1082" y="8415"/>
                    </a:moveTo>
                    <a:cubicBezTo>
                      <a:pt x="1059" y="8453"/>
                      <a:pt x="1059" y="8453"/>
                      <a:pt x="1059" y="8453"/>
                    </a:cubicBezTo>
                    <a:cubicBezTo>
                      <a:pt x="1358" y="8678"/>
                      <a:pt x="1358" y="8678"/>
                      <a:pt x="1358" y="8678"/>
                    </a:cubicBezTo>
                    <a:cubicBezTo>
                      <a:pt x="1408" y="8597"/>
                      <a:pt x="1408" y="8597"/>
                      <a:pt x="1408" y="8597"/>
                    </a:cubicBezTo>
                    <a:cubicBezTo>
                      <a:pt x="1344" y="8552"/>
                      <a:pt x="1344" y="8552"/>
                      <a:pt x="1344" y="8552"/>
                    </a:cubicBezTo>
                    <a:cubicBezTo>
                      <a:pt x="1327" y="8580"/>
                      <a:pt x="1327" y="8580"/>
                      <a:pt x="1327" y="8580"/>
                    </a:cubicBezTo>
                    <a:cubicBezTo>
                      <a:pt x="1319" y="8593"/>
                      <a:pt x="1319" y="8593"/>
                      <a:pt x="1319" y="8593"/>
                    </a:cubicBezTo>
                    <a:cubicBezTo>
                      <a:pt x="1307" y="8583"/>
                      <a:pt x="1307" y="8583"/>
                      <a:pt x="1307" y="8583"/>
                    </a:cubicBezTo>
                    <a:lnTo>
                      <a:pt x="1082" y="8415"/>
                    </a:lnTo>
                    <a:close/>
                    <a:moveTo>
                      <a:pt x="1291" y="8512"/>
                    </a:moveTo>
                    <a:cubicBezTo>
                      <a:pt x="1205" y="8450"/>
                      <a:pt x="1205" y="8450"/>
                      <a:pt x="1205" y="8450"/>
                    </a:cubicBezTo>
                    <a:cubicBezTo>
                      <a:pt x="1335" y="8369"/>
                      <a:pt x="1335" y="8369"/>
                      <a:pt x="1335" y="8369"/>
                    </a:cubicBezTo>
                    <a:cubicBezTo>
                      <a:pt x="1487" y="8483"/>
                      <a:pt x="1487" y="8483"/>
                      <a:pt x="1487" y="8483"/>
                    </a:cubicBezTo>
                    <a:cubicBezTo>
                      <a:pt x="1447" y="8551"/>
                      <a:pt x="1447" y="8551"/>
                      <a:pt x="1447" y="8551"/>
                    </a:cubicBezTo>
                    <a:cubicBezTo>
                      <a:pt x="1345" y="8478"/>
                      <a:pt x="1345" y="8478"/>
                      <a:pt x="1345" y="8478"/>
                    </a:cubicBezTo>
                    <a:lnTo>
                      <a:pt x="1291" y="8512"/>
                    </a:lnTo>
                    <a:close/>
                    <a:moveTo>
                      <a:pt x="1230" y="8451"/>
                    </a:moveTo>
                    <a:cubicBezTo>
                      <a:pt x="1291" y="8495"/>
                      <a:pt x="1291" y="8495"/>
                      <a:pt x="1291" y="8495"/>
                    </a:cubicBezTo>
                    <a:cubicBezTo>
                      <a:pt x="1337" y="8466"/>
                      <a:pt x="1337" y="8466"/>
                      <a:pt x="1337" y="8466"/>
                    </a:cubicBezTo>
                    <a:cubicBezTo>
                      <a:pt x="1345" y="8461"/>
                      <a:pt x="1345" y="8461"/>
                      <a:pt x="1345" y="8461"/>
                    </a:cubicBezTo>
                    <a:cubicBezTo>
                      <a:pt x="1353" y="8466"/>
                      <a:pt x="1353" y="8466"/>
                      <a:pt x="1353" y="8466"/>
                    </a:cubicBezTo>
                    <a:cubicBezTo>
                      <a:pt x="1442" y="8531"/>
                      <a:pt x="1442" y="8531"/>
                      <a:pt x="1442" y="8531"/>
                    </a:cubicBezTo>
                    <a:cubicBezTo>
                      <a:pt x="1469" y="8487"/>
                      <a:pt x="1469" y="8487"/>
                      <a:pt x="1469" y="8487"/>
                    </a:cubicBezTo>
                    <a:cubicBezTo>
                      <a:pt x="1334" y="8386"/>
                      <a:pt x="1334" y="8386"/>
                      <a:pt x="1334" y="8386"/>
                    </a:cubicBezTo>
                    <a:lnTo>
                      <a:pt x="1230" y="8451"/>
                    </a:lnTo>
                    <a:close/>
                    <a:moveTo>
                      <a:pt x="5464" y="8435"/>
                    </a:moveTo>
                    <a:cubicBezTo>
                      <a:pt x="5613" y="8461"/>
                      <a:pt x="5613" y="8461"/>
                      <a:pt x="5613" y="8461"/>
                    </a:cubicBezTo>
                    <a:cubicBezTo>
                      <a:pt x="5601" y="8532"/>
                      <a:pt x="5601" y="8532"/>
                      <a:pt x="5601" y="8532"/>
                    </a:cubicBezTo>
                    <a:cubicBezTo>
                      <a:pt x="5595" y="8531"/>
                      <a:pt x="5595" y="8531"/>
                      <a:pt x="5595" y="8531"/>
                    </a:cubicBezTo>
                    <a:cubicBezTo>
                      <a:pt x="5452" y="8506"/>
                      <a:pt x="5452" y="8506"/>
                      <a:pt x="5452" y="8506"/>
                    </a:cubicBezTo>
                    <a:lnTo>
                      <a:pt x="5464" y="8435"/>
                    </a:lnTo>
                    <a:close/>
                    <a:moveTo>
                      <a:pt x="5467" y="8495"/>
                    </a:moveTo>
                    <a:cubicBezTo>
                      <a:pt x="5591" y="8517"/>
                      <a:pt x="5591" y="8517"/>
                      <a:pt x="5591" y="8517"/>
                    </a:cubicBezTo>
                    <a:cubicBezTo>
                      <a:pt x="5599" y="8472"/>
                      <a:pt x="5599" y="8472"/>
                      <a:pt x="5599" y="8472"/>
                    </a:cubicBezTo>
                    <a:cubicBezTo>
                      <a:pt x="5475" y="8450"/>
                      <a:pt x="5475" y="8450"/>
                      <a:pt x="5475" y="8450"/>
                    </a:cubicBezTo>
                    <a:lnTo>
                      <a:pt x="5467" y="8495"/>
                    </a:lnTo>
                    <a:close/>
                    <a:moveTo>
                      <a:pt x="5497" y="8689"/>
                    </a:moveTo>
                    <a:cubicBezTo>
                      <a:pt x="5646" y="8715"/>
                      <a:pt x="5646" y="8715"/>
                      <a:pt x="5646" y="8715"/>
                    </a:cubicBezTo>
                    <a:cubicBezTo>
                      <a:pt x="5634" y="8785"/>
                      <a:pt x="5634" y="8785"/>
                      <a:pt x="5634" y="8785"/>
                    </a:cubicBezTo>
                    <a:cubicBezTo>
                      <a:pt x="5627" y="8784"/>
                      <a:pt x="5627" y="8784"/>
                      <a:pt x="5627" y="8784"/>
                    </a:cubicBezTo>
                    <a:cubicBezTo>
                      <a:pt x="5485" y="8759"/>
                      <a:pt x="5485" y="8759"/>
                      <a:pt x="5485" y="8759"/>
                    </a:cubicBezTo>
                    <a:lnTo>
                      <a:pt x="5497" y="8689"/>
                    </a:lnTo>
                    <a:close/>
                    <a:moveTo>
                      <a:pt x="5499" y="8749"/>
                    </a:moveTo>
                    <a:cubicBezTo>
                      <a:pt x="5623" y="8771"/>
                      <a:pt x="5623" y="8771"/>
                      <a:pt x="5623" y="8771"/>
                    </a:cubicBezTo>
                    <a:cubicBezTo>
                      <a:pt x="5631" y="8725"/>
                      <a:pt x="5631" y="8725"/>
                      <a:pt x="5631" y="8725"/>
                    </a:cubicBezTo>
                    <a:cubicBezTo>
                      <a:pt x="5507" y="8704"/>
                      <a:pt x="5507" y="8704"/>
                      <a:pt x="5507" y="8704"/>
                    </a:cubicBezTo>
                    <a:lnTo>
                      <a:pt x="5499" y="8749"/>
                    </a:lnTo>
                    <a:close/>
                    <a:moveTo>
                      <a:pt x="3659" y="9762"/>
                    </a:moveTo>
                    <a:cubicBezTo>
                      <a:pt x="3541" y="9814"/>
                      <a:pt x="3541" y="9814"/>
                      <a:pt x="3541" y="9814"/>
                    </a:cubicBezTo>
                    <a:cubicBezTo>
                      <a:pt x="3563" y="9499"/>
                      <a:pt x="3563" y="9499"/>
                      <a:pt x="3563" y="9499"/>
                    </a:cubicBezTo>
                    <a:cubicBezTo>
                      <a:pt x="3577" y="9497"/>
                      <a:pt x="3577" y="9497"/>
                      <a:pt x="3577" y="9497"/>
                    </a:cubicBezTo>
                    <a:cubicBezTo>
                      <a:pt x="3665" y="9759"/>
                      <a:pt x="3665" y="9759"/>
                      <a:pt x="3665" y="9759"/>
                    </a:cubicBezTo>
                    <a:lnTo>
                      <a:pt x="3659" y="9762"/>
                    </a:lnTo>
                    <a:close/>
                    <a:moveTo>
                      <a:pt x="3647" y="9751"/>
                    </a:moveTo>
                    <a:cubicBezTo>
                      <a:pt x="3575" y="9537"/>
                      <a:pt x="3575" y="9537"/>
                      <a:pt x="3575" y="9537"/>
                    </a:cubicBezTo>
                    <a:cubicBezTo>
                      <a:pt x="3557" y="9790"/>
                      <a:pt x="3557" y="9790"/>
                      <a:pt x="3557" y="9790"/>
                    </a:cubicBezTo>
                    <a:lnTo>
                      <a:pt x="3647" y="9751"/>
                    </a:lnTo>
                    <a:close/>
                    <a:moveTo>
                      <a:pt x="5494" y="8809"/>
                    </a:moveTo>
                    <a:cubicBezTo>
                      <a:pt x="5643" y="8835"/>
                      <a:pt x="5643" y="8835"/>
                      <a:pt x="5643" y="8835"/>
                    </a:cubicBezTo>
                    <a:cubicBezTo>
                      <a:pt x="5631" y="8905"/>
                      <a:pt x="5631" y="8905"/>
                      <a:pt x="5631" y="8905"/>
                    </a:cubicBezTo>
                    <a:cubicBezTo>
                      <a:pt x="5625" y="8904"/>
                      <a:pt x="5625" y="8904"/>
                      <a:pt x="5625" y="8904"/>
                    </a:cubicBezTo>
                    <a:cubicBezTo>
                      <a:pt x="5482" y="8879"/>
                      <a:pt x="5482" y="8879"/>
                      <a:pt x="5482" y="8879"/>
                    </a:cubicBezTo>
                    <a:lnTo>
                      <a:pt x="5494" y="8809"/>
                    </a:lnTo>
                    <a:close/>
                    <a:moveTo>
                      <a:pt x="5497" y="8869"/>
                    </a:moveTo>
                    <a:cubicBezTo>
                      <a:pt x="5621" y="8890"/>
                      <a:pt x="5621" y="8890"/>
                      <a:pt x="5621" y="8890"/>
                    </a:cubicBezTo>
                    <a:cubicBezTo>
                      <a:pt x="5629" y="8845"/>
                      <a:pt x="5629" y="8845"/>
                      <a:pt x="5629" y="8845"/>
                    </a:cubicBezTo>
                    <a:cubicBezTo>
                      <a:pt x="5505" y="8823"/>
                      <a:pt x="5505" y="8823"/>
                      <a:pt x="5505" y="8823"/>
                    </a:cubicBezTo>
                    <a:lnTo>
                      <a:pt x="5497" y="8869"/>
                    </a:lnTo>
                    <a:close/>
                    <a:moveTo>
                      <a:pt x="5046" y="8303"/>
                    </a:moveTo>
                    <a:cubicBezTo>
                      <a:pt x="5045" y="8451"/>
                      <a:pt x="5045" y="8451"/>
                      <a:pt x="5045" y="8451"/>
                    </a:cubicBezTo>
                    <a:cubicBezTo>
                      <a:pt x="5038" y="8451"/>
                      <a:pt x="5038" y="8451"/>
                      <a:pt x="5038" y="8451"/>
                    </a:cubicBezTo>
                    <a:cubicBezTo>
                      <a:pt x="4940" y="8451"/>
                      <a:pt x="4940" y="8451"/>
                      <a:pt x="4940" y="8451"/>
                    </a:cubicBezTo>
                    <a:cubicBezTo>
                      <a:pt x="4941" y="8303"/>
                      <a:pt x="4941" y="8303"/>
                      <a:pt x="4941" y="8303"/>
                    </a:cubicBezTo>
                    <a:lnTo>
                      <a:pt x="5046" y="8303"/>
                    </a:lnTo>
                    <a:close/>
                    <a:moveTo>
                      <a:pt x="5033" y="8316"/>
                    </a:moveTo>
                    <a:cubicBezTo>
                      <a:pt x="4954" y="8316"/>
                      <a:pt x="4954" y="8316"/>
                      <a:pt x="4954" y="8316"/>
                    </a:cubicBezTo>
                    <a:cubicBezTo>
                      <a:pt x="4953" y="8438"/>
                      <a:pt x="4953" y="8438"/>
                      <a:pt x="4953" y="8438"/>
                    </a:cubicBezTo>
                    <a:cubicBezTo>
                      <a:pt x="5032" y="8438"/>
                      <a:pt x="5032" y="8438"/>
                      <a:pt x="5032" y="8438"/>
                    </a:cubicBezTo>
                    <a:lnTo>
                      <a:pt x="5033" y="8316"/>
                    </a:lnTo>
                    <a:close/>
                    <a:moveTo>
                      <a:pt x="5567" y="9017"/>
                    </a:moveTo>
                    <a:cubicBezTo>
                      <a:pt x="5425" y="8992"/>
                      <a:pt x="5425" y="8992"/>
                      <a:pt x="5425" y="8992"/>
                    </a:cubicBezTo>
                    <a:cubicBezTo>
                      <a:pt x="5437" y="8922"/>
                      <a:pt x="5437" y="8922"/>
                      <a:pt x="5437" y="8922"/>
                    </a:cubicBezTo>
                    <a:cubicBezTo>
                      <a:pt x="5586" y="8948"/>
                      <a:pt x="5586" y="8948"/>
                      <a:pt x="5586" y="8948"/>
                    </a:cubicBezTo>
                    <a:cubicBezTo>
                      <a:pt x="5574" y="9018"/>
                      <a:pt x="5574" y="9018"/>
                      <a:pt x="5574" y="9018"/>
                    </a:cubicBezTo>
                    <a:lnTo>
                      <a:pt x="5567" y="9017"/>
                    </a:lnTo>
                    <a:close/>
                    <a:moveTo>
                      <a:pt x="5563" y="9004"/>
                    </a:moveTo>
                    <a:cubicBezTo>
                      <a:pt x="5571" y="8958"/>
                      <a:pt x="5571" y="8958"/>
                      <a:pt x="5571" y="8958"/>
                    </a:cubicBezTo>
                    <a:cubicBezTo>
                      <a:pt x="5448" y="8937"/>
                      <a:pt x="5448" y="8937"/>
                      <a:pt x="5448" y="8937"/>
                    </a:cubicBezTo>
                    <a:cubicBezTo>
                      <a:pt x="5440" y="8982"/>
                      <a:pt x="5440" y="8982"/>
                      <a:pt x="5440" y="8982"/>
                    </a:cubicBezTo>
                    <a:lnTo>
                      <a:pt x="5563" y="9004"/>
                    </a:lnTo>
                    <a:close/>
                    <a:moveTo>
                      <a:pt x="5485" y="8572"/>
                    </a:moveTo>
                    <a:cubicBezTo>
                      <a:pt x="5634" y="8598"/>
                      <a:pt x="5634" y="8598"/>
                      <a:pt x="5634" y="8598"/>
                    </a:cubicBezTo>
                    <a:cubicBezTo>
                      <a:pt x="5622" y="8668"/>
                      <a:pt x="5622" y="8668"/>
                      <a:pt x="5622" y="8668"/>
                    </a:cubicBezTo>
                    <a:cubicBezTo>
                      <a:pt x="5616" y="8667"/>
                      <a:pt x="5616" y="8667"/>
                      <a:pt x="5616" y="8667"/>
                    </a:cubicBezTo>
                    <a:cubicBezTo>
                      <a:pt x="5473" y="8642"/>
                      <a:pt x="5473" y="8642"/>
                      <a:pt x="5473" y="8642"/>
                    </a:cubicBezTo>
                    <a:lnTo>
                      <a:pt x="5485" y="8572"/>
                    </a:lnTo>
                    <a:close/>
                    <a:moveTo>
                      <a:pt x="5488" y="8632"/>
                    </a:moveTo>
                    <a:cubicBezTo>
                      <a:pt x="5612" y="8654"/>
                      <a:pt x="5612" y="8654"/>
                      <a:pt x="5612" y="8654"/>
                    </a:cubicBezTo>
                    <a:cubicBezTo>
                      <a:pt x="5619" y="8608"/>
                      <a:pt x="5619" y="8608"/>
                      <a:pt x="5619" y="8608"/>
                    </a:cubicBezTo>
                    <a:cubicBezTo>
                      <a:pt x="5496" y="8587"/>
                      <a:pt x="5496" y="8587"/>
                      <a:pt x="5496" y="8587"/>
                    </a:cubicBezTo>
                    <a:lnTo>
                      <a:pt x="5488" y="8632"/>
                    </a:lnTo>
                    <a:close/>
                    <a:moveTo>
                      <a:pt x="5347" y="8623"/>
                    </a:moveTo>
                    <a:cubicBezTo>
                      <a:pt x="5391" y="8768"/>
                      <a:pt x="5391" y="8768"/>
                      <a:pt x="5391" y="8768"/>
                    </a:cubicBezTo>
                    <a:cubicBezTo>
                      <a:pt x="5323" y="8789"/>
                      <a:pt x="5323" y="8789"/>
                      <a:pt x="5323" y="8789"/>
                    </a:cubicBezTo>
                    <a:cubicBezTo>
                      <a:pt x="5321" y="8783"/>
                      <a:pt x="5321" y="8783"/>
                      <a:pt x="5321" y="8783"/>
                    </a:cubicBezTo>
                    <a:cubicBezTo>
                      <a:pt x="5279" y="8644"/>
                      <a:pt x="5279" y="8644"/>
                      <a:pt x="5279" y="8644"/>
                    </a:cubicBezTo>
                    <a:lnTo>
                      <a:pt x="5347" y="8623"/>
                    </a:lnTo>
                    <a:close/>
                    <a:moveTo>
                      <a:pt x="5375" y="8760"/>
                    </a:moveTo>
                    <a:cubicBezTo>
                      <a:pt x="5339" y="8639"/>
                      <a:pt x="5339" y="8639"/>
                      <a:pt x="5339" y="8639"/>
                    </a:cubicBezTo>
                    <a:cubicBezTo>
                      <a:pt x="5295" y="8653"/>
                      <a:pt x="5295" y="8653"/>
                      <a:pt x="5295" y="8653"/>
                    </a:cubicBezTo>
                    <a:cubicBezTo>
                      <a:pt x="5331" y="8773"/>
                      <a:pt x="5331" y="8773"/>
                      <a:pt x="5331" y="8773"/>
                    </a:cubicBezTo>
                    <a:lnTo>
                      <a:pt x="5375" y="8760"/>
                    </a:lnTo>
                    <a:close/>
                    <a:moveTo>
                      <a:pt x="5228" y="8313"/>
                    </a:moveTo>
                    <a:cubicBezTo>
                      <a:pt x="5332" y="8314"/>
                      <a:pt x="5332" y="8314"/>
                      <a:pt x="5332" y="8314"/>
                    </a:cubicBezTo>
                    <a:cubicBezTo>
                      <a:pt x="5331" y="8462"/>
                      <a:pt x="5331" y="8462"/>
                      <a:pt x="5331" y="8462"/>
                    </a:cubicBezTo>
                    <a:cubicBezTo>
                      <a:pt x="5324" y="8462"/>
                      <a:pt x="5324" y="8462"/>
                      <a:pt x="5324" y="8462"/>
                    </a:cubicBezTo>
                    <a:cubicBezTo>
                      <a:pt x="5226" y="8461"/>
                      <a:pt x="5226" y="8461"/>
                      <a:pt x="5226" y="8461"/>
                    </a:cubicBezTo>
                    <a:lnTo>
                      <a:pt x="5228" y="8313"/>
                    </a:lnTo>
                    <a:close/>
                    <a:moveTo>
                      <a:pt x="5239" y="8448"/>
                    </a:moveTo>
                    <a:cubicBezTo>
                      <a:pt x="5318" y="8449"/>
                      <a:pt x="5318" y="8449"/>
                      <a:pt x="5318" y="8449"/>
                    </a:cubicBezTo>
                    <a:cubicBezTo>
                      <a:pt x="5319" y="8327"/>
                      <a:pt x="5319" y="8327"/>
                      <a:pt x="5319" y="8327"/>
                    </a:cubicBezTo>
                    <a:cubicBezTo>
                      <a:pt x="5240" y="8326"/>
                      <a:pt x="5240" y="8326"/>
                      <a:pt x="5240" y="8326"/>
                    </a:cubicBezTo>
                    <a:lnTo>
                      <a:pt x="5239" y="8448"/>
                    </a:lnTo>
                    <a:close/>
                    <a:moveTo>
                      <a:pt x="2605" y="7933"/>
                    </a:moveTo>
                    <a:cubicBezTo>
                      <a:pt x="2539" y="7946"/>
                      <a:pt x="2539" y="7946"/>
                      <a:pt x="2539" y="7946"/>
                    </a:cubicBezTo>
                    <a:cubicBezTo>
                      <a:pt x="2726" y="7538"/>
                      <a:pt x="2726" y="7538"/>
                      <a:pt x="2726" y="7538"/>
                    </a:cubicBezTo>
                    <a:cubicBezTo>
                      <a:pt x="2830" y="7560"/>
                      <a:pt x="2830" y="7560"/>
                      <a:pt x="2830" y="7560"/>
                    </a:cubicBezTo>
                    <a:cubicBezTo>
                      <a:pt x="2831" y="7564"/>
                      <a:pt x="2831" y="7564"/>
                      <a:pt x="2831" y="7564"/>
                    </a:cubicBezTo>
                    <a:cubicBezTo>
                      <a:pt x="2859" y="7654"/>
                      <a:pt x="2859" y="7654"/>
                      <a:pt x="2859" y="7654"/>
                    </a:cubicBezTo>
                    <a:lnTo>
                      <a:pt x="2605" y="7933"/>
                    </a:lnTo>
                    <a:close/>
                    <a:moveTo>
                      <a:pt x="2597" y="7920"/>
                    </a:moveTo>
                    <a:cubicBezTo>
                      <a:pt x="2843" y="7650"/>
                      <a:pt x="2843" y="7650"/>
                      <a:pt x="2843" y="7650"/>
                    </a:cubicBezTo>
                    <a:cubicBezTo>
                      <a:pt x="2818" y="7573"/>
                      <a:pt x="2818" y="7573"/>
                      <a:pt x="2818" y="7573"/>
                    </a:cubicBezTo>
                    <a:cubicBezTo>
                      <a:pt x="2734" y="7555"/>
                      <a:pt x="2734" y="7555"/>
                      <a:pt x="2734" y="7555"/>
                    </a:cubicBezTo>
                    <a:cubicBezTo>
                      <a:pt x="2564" y="7926"/>
                      <a:pt x="2564" y="7926"/>
                      <a:pt x="2564" y="7926"/>
                    </a:cubicBezTo>
                    <a:lnTo>
                      <a:pt x="2597" y="7920"/>
                    </a:lnTo>
                    <a:close/>
                    <a:moveTo>
                      <a:pt x="3228" y="4782"/>
                    </a:moveTo>
                    <a:cubicBezTo>
                      <a:pt x="3301" y="4802"/>
                      <a:pt x="3301" y="4802"/>
                      <a:pt x="3301" y="4802"/>
                    </a:cubicBezTo>
                    <a:cubicBezTo>
                      <a:pt x="3262" y="4948"/>
                      <a:pt x="3262" y="4948"/>
                      <a:pt x="3262" y="4948"/>
                    </a:cubicBezTo>
                    <a:cubicBezTo>
                      <a:pt x="3188" y="4929"/>
                      <a:pt x="3188" y="4929"/>
                      <a:pt x="3188" y="4929"/>
                    </a:cubicBezTo>
                    <a:cubicBezTo>
                      <a:pt x="3190" y="4922"/>
                      <a:pt x="3190" y="4922"/>
                      <a:pt x="3190" y="4922"/>
                    </a:cubicBezTo>
                    <a:lnTo>
                      <a:pt x="3228" y="4782"/>
                    </a:lnTo>
                    <a:close/>
                    <a:moveTo>
                      <a:pt x="3237" y="4799"/>
                    </a:moveTo>
                    <a:cubicBezTo>
                      <a:pt x="3204" y="4919"/>
                      <a:pt x="3204" y="4919"/>
                      <a:pt x="3204" y="4919"/>
                    </a:cubicBezTo>
                    <a:cubicBezTo>
                      <a:pt x="3252" y="4932"/>
                      <a:pt x="3252" y="4932"/>
                      <a:pt x="3252" y="4932"/>
                    </a:cubicBezTo>
                    <a:cubicBezTo>
                      <a:pt x="3285" y="4811"/>
                      <a:pt x="3285" y="4811"/>
                      <a:pt x="3285" y="4811"/>
                    </a:cubicBezTo>
                    <a:lnTo>
                      <a:pt x="3237" y="4799"/>
                    </a:lnTo>
                    <a:close/>
                    <a:moveTo>
                      <a:pt x="14374" y="10821"/>
                    </a:moveTo>
                    <a:cubicBezTo>
                      <a:pt x="14397" y="10821"/>
                      <a:pt x="14397" y="10821"/>
                      <a:pt x="14397" y="10821"/>
                    </a:cubicBezTo>
                    <a:cubicBezTo>
                      <a:pt x="14461" y="10764"/>
                      <a:pt x="14461" y="10764"/>
                      <a:pt x="14461" y="10764"/>
                    </a:cubicBezTo>
                    <a:cubicBezTo>
                      <a:pt x="14512" y="10821"/>
                      <a:pt x="14512" y="10821"/>
                      <a:pt x="14512" y="10821"/>
                    </a:cubicBezTo>
                    <a:cubicBezTo>
                      <a:pt x="14532" y="10821"/>
                      <a:pt x="14532" y="10821"/>
                      <a:pt x="14532" y="10821"/>
                    </a:cubicBezTo>
                    <a:cubicBezTo>
                      <a:pt x="14462" y="10744"/>
                      <a:pt x="14462" y="10744"/>
                      <a:pt x="14462" y="10744"/>
                    </a:cubicBezTo>
                    <a:lnTo>
                      <a:pt x="14374" y="10821"/>
                    </a:lnTo>
                    <a:close/>
                    <a:moveTo>
                      <a:pt x="5132" y="5615"/>
                    </a:moveTo>
                    <a:cubicBezTo>
                      <a:pt x="4922" y="5600"/>
                      <a:pt x="4922" y="5600"/>
                      <a:pt x="4922" y="5600"/>
                    </a:cubicBezTo>
                    <a:cubicBezTo>
                      <a:pt x="4922" y="5593"/>
                      <a:pt x="4922" y="5593"/>
                      <a:pt x="4922" y="5593"/>
                    </a:cubicBezTo>
                    <a:cubicBezTo>
                      <a:pt x="4928" y="5514"/>
                      <a:pt x="4928" y="5514"/>
                      <a:pt x="4928" y="5514"/>
                    </a:cubicBezTo>
                    <a:cubicBezTo>
                      <a:pt x="4975" y="5517"/>
                      <a:pt x="4975" y="5517"/>
                      <a:pt x="4975" y="5517"/>
                    </a:cubicBezTo>
                    <a:cubicBezTo>
                      <a:pt x="4978" y="5474"/>
                      <a:pt x="4978" y="5474"/>
                      <a:pt x="4978" y="5474"/>
                    </a:cubicBezTo>
                    <a:cubicBezTo>
                      <a:pt x="5095" y="5483"/>
                      <a:pt x="5095" y="5483"/>
                      <a:pt x="5095" y="5483"/>
                    </a:cubicBezTo>
                    <a:cubicBezTo>
                      <a:pt x="5091" y="5526"/>
                      <a:pt x="5091" y="5526"/>
                      <a:pt x="5091" y="5526"/>
                    </a:cubicBezTo>
                    <a:cubicBezTo>
                      <a:pt x="5138" y="5529"/>
                      <a:pt x="5138" y="5529"/>
                      <a:pt x="5138" y="5529"/>
                    </a:cubicBezTo>
                    <a:lnTo>
                      <a:pt x="5132" y="5615"/>
                    </a:lnTo>
                    <a:close/>
                    <a:moveTo>
                      <a:pt x="5124" y="5541"/>
                    </a:moveTo>
                    <a:cubicBezTo>
                      <a:pt x="5077" y="5538"/>
                      <a:pt x="5077" y="5538"/>
                      <a:pt x="5077" y="5538"/>
                    </a:cubicBezTo>
                    <a:cubicBezTo>
                      <a:pt x="5081" y="5495"/>
                      <a:pt x="5081" y="5495"/>
                      <a:pt x="5081" y="5495"/>
                    </a:cubicBezTo>
                    <a:cubicBezTo>
                      <a:pt x="4990" y="5488"/>
                      <a:pt x="4990" y="5488"/>
                      <a:pt x="4990" y="5488"/>
                    </a:cubicBezTo>
                    <a:cubicBezTo>
                      <a:pt x="4987" y="5531"/>
                      <a:pt x="4987" y="5531"/>
                      <a:pt x="4987" y="5531"/>
                    </a:cubicBezTo>
                    <a:cubicBezTo>
                      <a:pt x="4940" y="5528"/>
                      <a:pt x="4940" y="5528"/>
                      <a:pt x="4940" y="5528"/>
                    </a:cubicBezTo>
                    <a:cubicBezTo>
                      <a:pt x="4936" y="5587"/>
                      <a:pt x="4936" y="5587"/>
                      <a:pt x="4936" y="5587"/>
                    </a:cubicBezTo>
                    <a:cubicBezTo>
                      <a:pt x="5120" y="5601"/>
                      <a:pt x="5120" y="5601"/>
                      <a:pt x="5120" y="5601"/>
                    </a:cubicBezTo>
                    <a:lnTo>
                      <a:pt x="5124" y="5541"/>
                    </a:lnTo>
                    <a:close/>
                    <a:moveTo>
                      <a:pt x="3411" y="5065"/>
                    </a:moveTo>
                    <a:cubicBezTo>
                      <a:pt x="3411" y="5064"/>
                      <a:pt x="3411" y="5064"/>
                      <a:pt x="3411" y="5064"/>
                    </a:cubicBezTo>
                    <a:cubicBezTo>
                      <a:pt x="3411" y="5065"/>
                      <a:pt x="3411" y="5065"/>
                      <a:pt x="3411" y="5065"/>
                    </a:cubicBezTo>
                    <a:close/>
                    <a:moveTo>
                      <a:pt x="7998" y="6683"/>
                    </a:moveTo>
                    <a:cubicBezTo>
                      <a:pt x="8146" y="6714"/>
                      <a:pt x="8146" y="6714"/>
                      <a:pt x="8146" y="6714"/>
                    </a:cubicBezTo>
                    <a:cubicBezTo>
                      <a:pt x="8130" y="6788"/>
                      <a:pt x="8130" y="6788"/>
                      <a:pt x="8130" y="6788"/>
                    </a:cubicBezTo>
                    <a:cubicBezTo>
                      <a:pt x="8124" y="6787"/>
                      <a:pt x="8124" y="6787"/>
                      <a:pt x="8124" y="6787"/>
                    </a:cubicBezTo>
                    <a:cubicBezTo>
                      <a:pt x="7982" y="6757"/>
                      <a:pt x="7982" y="6757"/>
                      <a:pt x="7982" y="6757"/>
                    </a:cubicBezTo>
                    <a:lnTo>
                      <a:pt x="7998" y="6683"/>
                    </a:lnTo>
                    <a:close/>
                    <a:moveTo>
                      <a:pt x="8008" y="6698"/>
                    </a:moveTo>
                    <a:cubicBezTo>
                      <a:pt x="7998" y="6747"/>
                      <a:pt x="7998" y="6747"/>
                      <a:pt x="7998" y="6747"/>
                    </a:cubicBezTo>
                    <a:cubicBezTo>
                      <a:pt x="8120" y="6773"/>
                      <a:pt x="8120" y="6773"/>
                      <a:pt x="8120" y="6773"/>
                    </a:cubicBezTo>
                    <a:cubicBezTo>
                      <a:pt x="8130" y="6724"/>
                      <a:pt x="8130" y="6724"/>
                      <a:pt x="8130" y="6724"/>
                    </a:cubicBezTo>
                    <a:lnTo>
                      <a:pt x="8008" y="6698"/>
                    </a:lnTo>
                    <a:close/>
                    <a:moveTo>
                      <a:pt x="14085" y="10780"/>
                    </a:moveTo>
                    <a:cubicBezTo>
                      <a:pt x="14121" y="10821"/>
                      <a:pt x="14121" y="10821"/>
                      <a:pt x="14121" y="10821"/>
                    </a:cubicBezTo>
                    <a:cubicBezTo>
                      <a:pt x="14141" y="10821"/>
                      <a:pt x="14141" y="10821"/>
                      <a:pt x="14141" y="10821"/>
                    </a:cubicBezTo>
                    <a:cubicBezTo>
                      <a:pt x="14087" y="10759"/>
                      <a:pt x="14087" y="10759"/>
                      <a:pt x="14087" y="10759"/>
                    </a:cubicBezTo>
                    <a:cubicBezTo>
                      <a:pt x="14081" y="10764"/>
                      <a:pt x="14081" y="10764"/>
                      <a:pt x="14081" y="10764"/>
                    </a:cubicBezTo>
                    <a:cubicBezTo>
                      <a:pt x="14017" y="10821"/>
                      <a:pt x="14017" y="10821"/>
                      <a:pt x="14017" y="10821"/>
                    </a:cubicBezTo>
                    <a:cubicBezTo>
                      <a:pt x="14039" y="10821"/>
                      <a:pt x="14039" y="10821"/>
                      <a:pt x="14039" y="10821"/>
                    </a:cubicBezTo>
                    <a:lnTo>
                      <a:pt x="14085" y="10780"/>
                    </a:lnTo>
                    <a:close/>
                    <a:moveTo>
                      <a:pt x="12701" y="9341"/>
                    </a:moveTo>
                    <a:cubicBezTo>
                      <a:pt x="12700" y="9383"/>
                      <a:pt x="12700" y="9383"/>
                      <a:pt x="12700" y="9383"/>
                    </a:cubicBezTo>
                    <a:cubicBezTo>
                      <a:pt x="12617" y="9381"/>
                      <a:pt x="12617" y="9381"/>
                      <a:pt x="12617" y="9381"/>
                    </a:cubicBezTo>
                    <a:cubicBezTo>
                      <a:pt x="12613" y="9338"/>
                      <a:pt x="12613" y="9338"/>
                      <a:pt x="12613" y="9338"/>
                    </a:cubicBezTo>
                    <a:cubicBezTo>
                      <a:pt x="12478" y="9337"/>
                      <a:pt x="12478" y="9337"/>
                      <a:pt x="12478" y="9337"/>
                    </a:cubicBezTo>
                    <a:cubicBezTo>
                      <a:pt x="12476" y="9282"/>
                      <a:pt x="12476" y="9282"/>
                      <a:pt x="12476" y="9282"/>
                    </a:cubicBezTo>
                    <a:cubicBezTo>
                      <a:pt x="12457" y="9280"/>
                      <a:pt x="12457" y="9280"/>
                      <a:pt x="12457" y="9280"/>
                    </a:cubicBezTo>
                    <a:cubicBezTo>
                      <a:pt x="12451" y="9280"/>
                      <a:pt x="12451" y="9280"/>
                      <a:pt x="12451" y="9280"/>
                    </a:cubicBezTo>
                    <a:cubicBezTo>
                      <a:pt x="12450" y="9212"/>
                      <a:pt x="12450" y="9212"/>
                      <a:pt x="12450" y="9212"/>
                    </a:cubicBezTo>
                    <a:cubicBezTo>
                      <a:pt x="12482" y="9210"/>
                      <a:pt x="12482" y="9210"/>
                      <a:pt x="12482" y="9210"/>
                    </a:cubicBezTo>
                    <a:cubicBezTo>
                      <a:pt x="12480" y="9145"/>
                      <a:pt x="12480" y="9145"/>
                      <a:pt x="12480" y="9145"/>
                    </a:cubicBezTo>
                    <a:cubicBezTo>
                      <a:pt x="12556" y="9145"/>
                      <a:pt x="12556" y="9145"/>
                      <a:pt x="12556" y="9145"/>
                    </a:cubicBezTo>
                    <a:cubicBezTo>
                      <a:pt x="12555" y="9126"/>
                      <a:pt x="12555" y="9126"/>
                      <a:pt x="12555" y="9126"/>
                    </a:cubicBezTo>
                    <a:cubicBezTo>
                      <a:pt x="12554" y="9120"/>
                      <a:pt x="12554" y="9120"/>
                      <a:pt x="12554" y="9120"/>
                    </a:cubicBezTo>
                    <a:cubicBezTo>
                      <a:pt x="12656" y="9117"/>
                      <a:pt x="12656" y="9117"/>
                      <a:pt x="12656" y="9117"/>
                    </a:cubicBezTo>
                    <a:cubicBezTo>
                      <a:pt x="12657" y="9146"/>
                      <a:pt x="12657" y="9146"/>
                      <a:pt x="12657" y="9146"/>
                    </a:cubicBezTo>
                    <a:cubicBezTo>
                      <a:pt x="12792" y="9148"/>
                      <a:pt x="12792" y="9148"/>
                      <a:pt x="12792" y="9148"/>
                    </a:cubicBezTo>
                    <a:cubicBezTo>
                      <a:pt x="12791" y="9340"/>
                      <a:pt x="12791" y="9340"/>
                      <a:pt x="12791" y="9340"/>
                    </a:cubicBezTo>
                    <a:cubicBezTo>
                      <a:pt x="12784" y="9340"/>
                      <a:pt x="12784" y="9340"/>
                      <a:pt x="12784" y="9340"/>
                    </a:cubicBezTo>
                    <a:lnTo>
                      <a:pt x="12701" y="9341"/>
                    </a:lnTo>
                    <a:close/>
                    <a:moveTo>
                      <a:pt x="12778" y="9327"/>
                    </a:moveTo>
                    <a:cubicBezTo>
                      <a:pt x="12779" y="9161"/>
                      <a:pt x="12779" y="9161"/>
                      <a:pt x="12779" y="9161"/>
                    </a:cubicBezTo>
                    <a:cubicBezTo>
                      <a:pt x="12645" y="9159"/>
                      <a:pt x="12645" y="9159"/>
                      <a:pt x="12645" y="9159"/>
                    </a:cubicBezTo>
                    <a:cubicBezTo>
                      <a:pt x="12643" y="9130"/>
                      <a:pt x="12643" y="9130"/>
                      <a:pt x="12643" y="9130"/>
                    </a:cubicBezTo>
                    <a:cubicBezTo>
                      <a:pt x="12568" y="9132"/>
                      <a:pt x="12568" y="9132"/>
                      <a:pt x="12568" y="9132"/>
                    </a:cubicBezTo>
                    <a:cubicBezTo>
                      <a:pt x="12569" y="9151"/>
                      <a:pt x="12569" y="9151"/>
                      <a:pt x="12569" y="9151"/>
                    </a:cubicBezTo>
                    <a:cubicBezTo>
                      <a:pt x="12569" y="9158"/>
                      <a:pt x="12569" y="9158"/>
                      <a:pt x="12569" y="9158"/>
                    </a:cubicBezTo>
                    <a:cubicBezTo>
                      <a:pt x="12494" y="9158"/>
                      <a:pt x="12494" y="9158"/>
                      <a:pt x="12494" y="9158"/>
                    </a:cubicBezTo>
                    <a:cubicBezTo>
                      <a:pt x="12496" y="9223"/>
                      <a:pt x="12496" y="9223"/>
                      <a:pt x="12496" y="9223"/>
                    </a:cubicBezTo>
                    <a:cubicBezTo>
                      <a:pt x="12463" y="9225"/>
                      <a:pt x="12463" y="9225"/>
                      <a:pt x="12463" y="9225"/>
                    </a:cubicBezTo>
                    <a:cubicBezTo>
                      <a:pt x="12463" y="9268"/>
                      <a:pt x="12463" y="9268"/>
                      <a:pt x="12463" y="9268"/>
                    </a:cubicBezTo>
                    <a:cubicBezTo>
                      <a:pt x="12483" y="9269"/>
                      <a:pt x="12483" y="9269"/>
                      <a:pt x="12483" y="9269"/>
                    </a:cubicBezTo>
                    <a:cubicBezTo>
                      <a:pt x="12489" y="9269"/>
                      <a:pt x="12489" y="9269"/>
                      <a:pt x="12489" y="9269"/>
                    </a:cubicBezTo>
                    <a:cubicBezTo>
                      <a:pt x="12491" y="9324"/>
                      <a:pt x="12491" y="9324"/>
                      <a:pt x="12491" y="9324"/>
                    </a:cubicBezTo>
                    <a:cubicBezTo>
                      <a:pt x="12624" y="9325"/>
                      <a:pt x="12624" y="9325"/>
                      <a:pt x="12624" y="9325"/>
                    </a:cubicBezTo>
                    <a:cubicBezTo>
                      <a:pt x="12629" y="9368"/>
                      <a:pt x="12629" y="9368"/>
                      <a:pt x="12629" y="9368"/>
                    </a:cubicBezTo>
                    <a:cubicBezTo>
                      <a:pt x="12687" y="9370"/>
                      <a:pt x="12687" y="9370"/>
                      <a:pt x="12687" y="9370"/>
                    </a:cubicBezTo>
                    <a:cubicBezTo>
                      <a:pt x="12688" y="9328"/>
                      <a:pt x="12688" y="9328"/>
                      <a:pt x="12688" y="9328"/>
                    </a:cubicBezTo>
                    <a:lnTo>
                      <a:pt x="12778" y="9327"/>
                    </a:lnTo>
                    <a:close/>
                    <a:moveTo>
                      <a:pt x="7541" y="10737"/>
                    </a:moveTo>
                    <a:cubicBezTo>
                      <a:pt x="7486" y="10720"/>
                      <a:pt x="7486" y="10720"/>
                      <a:pt x="7486" y="10720"/>
                    </a:cubicBezTo>
                    <a:cubicBezTo>
                      <a:pt x="7508" y="10645"/>
                      <a:pt x="7508" y="10645"/>
                      <a:pt x="7508" y="10645"/>
                    </a:cubicBezTo>
                    <a:cubicBezTo>
                      <a:pt x="7402" y="10616"/>
                      <a:pt x="7402" y="10616"/>
                      <a:pt x="7402" y="10616"/>
                    </a:cubicBezTo>
                    <a:cubicBezTo>
                      <a:pt x="7353" y="10795"/>
                      <a:pt x="7353" y="10795"/>
                      <a:pt x="7353" y="10795"/>
                    </a:cubicBezTo>
                    <a:cubicBezTo>
                      <a:pt x="7403" y="10809"/>
                      <a:pt x="7403" y="10809"/>
                      <a:pt x="7403" y="10809"/>
                    </a:cubicBezTo>
                    <a:cubicBezTo>
                      <a:pt x="7399" y="10821"/>
                      <a:pt x="7399" y="10821"/>
                      <a:pt x="7399" y="10821"/>
                    </a:cubicBezTo>
                    <a:cubicBezTo>
                      <a:pt x="7439" y="10821"/>
                      <a:pt x="7439" y="10821"/>
                      <a:pt x="7439" y="10821"/>
                    </a:cubicBezTo>
                    <a:cubicBezTo>
                      <a:pt x="7415" y="10814"/>
                      <a:pt x="7415" y="10814"/>
                      <a:pt x="7415" y="10814"/>
                    </a:cubicBezTo>
                    <a:cubicBezTo>
                      <a:pt x="7419" y="10800"/>
                      <a:pt x="7419" y="10800"/>
                      <a:pt x="7419" y="10800"/>
                    </a:cubicBezTo>
                    <a:cubicBezTo>
                      <a:pt x="7369" y="10786"/>
                      <a:pt x="7369" y="10786"/>
                      <a:pt x="7369" y="10786"/>
                    </a:cubicBezTo>
                    <a:cubicBezTo>
                      <a:pt x="7411" y="10632"/>
                      <a:pt x="7411" y="10632"/>
                      <a:pt x="7411" y="10632"/>
                    </a:cubicBezTo>
                    <a:cubicBezTo>
                      <a:pt x="7492" y="10654"/>
                      <a:pt x="7492" y="10654"/>
                      <a:pt x="7492" y="10654"/>
                    </a:cubicBezTo>
                    <a:cubicBezTo>
                      <a:pt x="7470" y="10728"/>
                      <a:pt x="7470" y="10728"/>
                      <a:pt x="7470" y="10728"/>
                    </a:cubicBezTo>
                    <a:cubicBezTo>
                      <a:pt x="7525" y="10746"/>
                      <a:pt x="7525" y="10746"/>
                      <a:pt x="7525" y="10746"/>
                    </a:cubicBezTo>
                    <a:cubicBezTo>
                      <a:pt x="7505" y="10821"/>
                      <a:pt x="7505" y="10821"/>
                      <a:pt x="7505" y="10821"/>
                    </a:cubicBezTo>
                    <a:cubicBezTo>
                      <a:pt x="7518" y="10821"/>
                      <a:pt x="7518" y="10821"/>
                      <a:pt x="7518" y="10821"/>
                    </a:cubicBezTo>
                    <a:cubicBezTo>
                      <a:pt x="7539" y="10743"/>
                      <a:pt x="7539" y="10743"/>
                      <a:pt x="7539" y="10743"/>
                    </a:cubicBezTo>
                    <a:lnTo>
                      <a:pt x="7541" y="10737"/>
                    </a:lnTo>
                    <a:close/>
                    <a:moveTo>
                      <a:pt x="2859" y="7406"/>
                    </a:moveTo>
                    <a:cubicBezTo>
                      <a:pt x="2848" y="7163"/>
                      <a:pt x="2848" y="7163"/>
                      <a:pt x="2848" y="7163"/>
                    </a:cubicBezTo>
                    <a:cubicBezTo>
                      <a:pt x="2899" y="7149"/>
                      <a:pt x="2899" y="7149"/>
                      <a:pt x="2899" y="7149"/>
                    </a:cubicBezTo>
                    <a:cubicBezTo>
                      <a:pt x="2902" y="7154"/>
                      <a:pt x="2902" y="7154"/>
                      <a:pt x="2902" y="7154"/>
                    </a:cubicBezTo>
                    <a:cubicBezTo>
                      <a:pt x="2995" y="7372"/>
                      <a:pt x="2995" y="7372"/>
                      <a:pt x="2995" y="7372"/>
                    </a:cubicBezTo>
                    <a:lnTo>
                      <a:pt x="2859" y="7406"/>
                    </a:lnTo>
                    <a:close/>
                    <a:moveTo>
                      <a:pt x="2864" y="7174"/>
                    </a:moveTo>
                    <a:cubicBezTo>
                      <a:pt x="2873" y="7387"/>
                      <a:pt x="2873" y="7387"/>
                      <a:pt x="2873" y="7387"/>
                    </a:cubicBezTo>
                    <a:cubicBezTo>
                      <a:pt x="2975" y="7362"/>
                      <a:pt x="2975" y="7362"/>
                      <a:pt x="2975" y="7362"/>
                    </a:cubicBezTo>
                    <a:cubicBezTo>
                      <a:pt x="2891" y="7166"/>
                      <a:pt x="2891" y="7166"/>
                      <a:pt x="2891" y="7166"/>
                    </a:cubicBezTo>
                    <a:lnTo>
                      <a:pt x="2864" y="7174"/>
                    </a:lnTo>
                    <a:close/>
                    <a:moveTo>
                      <a:pt x="2285" y="6587"/>
                    </a:moveTo>
                    <a:cubicBezTo>
                      <a:pt x="2559" y="6751"/>
                      <a:pt x="2559" y="6751"/>
                      <a:pt x="2559" y="6751"/>
                    </a:cubicBezTo>
                    <a:cubicBezTo>
                      <a:pt x="2557" y="6756"/>
                      <a:pt x="2557" y="6756"/>
                      <a:pt x="2557" y="6756"/>
                    </a:cubicBezTo>
                    <a:cubicBezTo>
                      <a:pt x="2437" y="7198"/>
                      <a:pt x="2437" y="7198"/>
                      <a:pt x="2437" y="7198"/>
                    </a:cubicBezTo>
                    <a:cubicBezTo>
                      <a:pt x="2254" y="7068"/>
                      <a:pt x="2254" y="7068"/>
                      <a:pt x="2254" y="7068"/>
                    </a:cubicBezTo>
                    <a:cubicBezTo>
                      <a:pt x="2306" y="6959"/>
                      <a:pt x="2306" y="6959"/>
                      <a:pt x="2306" y="6959"/>
                    </a:cubicBezTo>
                    <a:cubicBezTo>
                      <a:pt x="2374" y="7000"/>
                      <a:pt x="2374" y="7000"/>
                      <a:pt x="2374" y="7000"/>
                    </a:cubicBezTo>
                    <a:cubicBezTo>
                      <a:pt x="2421" y="6832"/>
                      <a:pt x="2421" y="6832"/>
                      <a:pt x="2421" y="6832"/>
                    </a:cubicBezTo>
                    <a:cubicBezTo>
                      <a:pt x="2317" y="6772"/>
                      <a:pt x="2317" y="6772"/>
                      <a:pt x="2317" y="6772"/>
                    </a:cubicBezTo>
                    <a:cubicBezTo>
                      <a:pt x="2218" y="6912"/>
                      <a:pt x="2218" y="6912"/>
                      <a:pt x="2218" y="6912"/>
                    </a:cubicBezTo>
                    <a:cubicBezTo>
                      <a:pt x="2260" y="6935"/>
                      <a:pt x="2260" y="6935"/>
                      <a:pt x="2260" y="6935"/>
                    </a:cubicBezTo>
                    <a:cubicBezTo>
                      <a:pt x="2212" y="7043"/>
                      <a:pt x="2212" y="7043"/>
                      <a:pt x="2212" y="7043"/>
                    </a:cubicBezTo>
                    <a:cubicBezTo>
                      <a:pt x="2045" y="6958"/>
                      <a:pt x="2045" y="6958"/>
                      <a:pt x="2045" y="6958"/>
                    </a:cubicBezTo>
                    <a:lnTo>
                      <a:pt x="2285" y="6587"/>
                    </a:lnTo>
                    <a:close/>
                    <a:moveTo>
                      <a:pt x="2290" y="6607"/>
                    </a:moveTo>
                    <a:cubicBezTo>
                      <a:pt x="2066" y="6953"/>
                      <a:pt x="2066" y="6953"/>
                      <a:pt x="2066" y="6953"/>
                    </a:cubicBezTo>
                    <a:cubicBezTo>
                      <a:pt x="2205" y="7023"/>
                      <a:pt x="2205" y="7023"/>
                      <a:pt x="2205" y="7023"/>
                    </a:cubicBezTo>
                    <a:cubicBezTo>
                      <a:pt x="2241" y="6942"/>
                      <a:pt x="2241" y="6942"/>
                      <a:pt x="2241" y="6942"/>
                    </a:cubicBezTo>
                    <a:cubicBezTo>
                      <a:pt x="2197" y="6917"/>
                      <a:pt x="2197" y="6917"/>
                      <a:pt x="2197" y="6917"/>
                    </a:cubicBezTo>
                    <a:cubicBezTo>
                      <a:pt x="2313" y="6753"/>
                      <a:pt x="2313" y="6753"/>
                      <a:pt x="2313" y="6753"/>
                    </a:cubicBezTo>
                    <a:cubicBezTo>
                      <a:pt x="2439" y="6825"/>
                      <a:pt x="2439" y="6825"/>
                      <a:pt x="2439" y="6825"/>
                    </a:cubicBezTo>
                    <a:cubicBezTo>
                      <a:pt x="2383" y="7022"/>
                      <a:pt x="2383" y="7022"/>
                      <a:pt x="2383" y="7022"/>
                    </a:cubicBezTo>
                    <a:cubicBezTo>
                      <a:pt x="2312" y="6980"/>
                      <a:pt x="2312" y="6980"/>
                      <a:pt x="2312" y="6980"/>
                    </a:cubicBezTo>
                    <a:cubicBezTo>
                      <a:pt x="2272" y="7064"/>
                      <a:pt x="2272" y="7064"/>
                      <a:pt x="2272" y="7064"/>
                    </a:cubicBezTo>
                    <a:cubicBezTo>
                      <a:pt x="2428" y="7174"/>
                      <a:pt x="2428" y="7174"/>
                      <a:pt x="2428" y="7174"/>
                    </a:cubicBezTo>
                    <a:cubicBezTo>
                      <a:pt x="2542" y="6758"/>
                      <a:pt x="2542" y="6758"/>
                      <a:pt x="2542" y="6758"/>
                    </a:cubicBezTo>
                    <a:lnTo>
                      <a:pt x="2290" y="6607"/>
                    </a:lnTo>
                    <a:close/>
                    <a:moveTo>
                      <a:pt x="3868" y="6951"/>
                    </a:moveTo>
                    <a:cubicBezTo>
                      <a:pt x="3868" y="6954"/>
                      <a:pt x="3868" y="6955"/>
                      <a:pt x="3868" y="6957"/>
                    </a:cubicBezTo>
                    <a:cubicBezTo>
                      <a:pt x="3868" y="6980"/>
                      <a:pt x="3846" y="7056"/>
                      <a:pt x="3846" y="7057"/>
                    </a:cubicBezTo>
                    <a:cubicBezTo>
                      <a:pt x="3845" y="7063"/>
                      <a:pt x="3845" y="7063"/>
                      <a:pt x="3845" y="7063"/>
                    </a:cubicBezTo>
                    <a:cubicBezTo>
                      <a:pt x="3695" y="7037"/>
                      <a:pt x="3695" y="7037"/>
                      <a:pt x="3695" y="7037"/>
                    </a:cubicBezTo>
                    <a:cubicBezTo>
                      <a:pt x="3651" y="7151"/>
                      <a:pt x="3651" y="7151"/>
                      <a:pt x="3651" y="7151"/>
                    </a:cubicBezTo>
                    <a:cubicBezTo>
                      <a:pt x="3499" y="7075"/>
                      <a:pt x="3499" y="7075"/>
                      <a:pt x="3499" y="7075"/>
                    </a:cubicBezTo>
                    <a:cubicBezTo>
                      <a:pt x="3552" y="6919"/>
                      <a:pt x="3552" y="6919"/>
                      <a:pt x="3552" y="6919"/>
                    </a:cubicBezTo>
                    <a:cubicBezTo>
                      <a:pt x="3678" y="6949"/>
                      <a:pt x="3678" y="6949"/>
                      <a:pt x="3678" y="6949"/>
                    </a:cubicBezTo>
                    <a:cubicBezTo>
                      <a:pt x="3698" y="6917"/>
                      <a:pt x="3698" y="6917"/>
                      <a:pt x="3698" y="6917"/>
                    </a:cubicBezTo>
                    <a:cubicBezTo>
                      <a:pt x="3703" y="6918"/>
                      <a:pt x="3703" y="6918"/>
                      <a:pt x="3703" y="6918"/>
                    </a:cubicBezTo>
                    <a:cubicBezTo>
                      <a:pt x="3703" y="6918"/>
                      <a:pt x="3853" y="6945"/>
                      <a:pt x="3860" y="6945"/>
                    </a:cubicBezTo>
                    <a:cubicBezTo>
                      <a:pt x="3860" y="6945"/>
                      <a:pt x="3860" y="6945"/>
                      <a:pt x="3860" y="6945"/>
                    </a:cubicBezTo>
                    <a:cubicBezTo>
                      <a:pt x="3865" y="6945"/>
                      <a:pt x="3867" y="6950"/>
                      <a:pt x="3868" y="6951"/>
                    </a:cubicBezTo>
                    <a:close/>
                    <a:moveTo>
                      <a:pt x="3854" y="6959"/>
                    </a:moveTo>
                    <a:cubicBezTo>
                      <a:pt x="3828" y="6955"/>
                      <a:pt x="3728" y="6938"/>
                      <a:pt x="3705" y="6933"/>
                    </a:cubicBezTo>
                    <a:cubicBezTo>
                      <a:pt x="3685" y="6966"/>
                      <a:pt x="3685" y="6966"/>
                      <a:pt x="3685" y="6966"/>
                    </a:cubicBezTo>
                    <a:cubicBezTo>
                      <a:pt x="3562" y="6937"/>
                      <a:pt x="3562" y="6937"/>
                      <a:pt x="3562" y="6937"/>
                    </a:cubicBezTo>
                    <a:cubicBezTo>
                      <a:pt x="3517" y="7068"/>
                      <a:pt x="3517" y="7068"/>
                      <a:pt x="3517" y="7068"/>
                    </a:cubicBezTo>
                    <a:cubicBezTo>
                      <a:pt x="3643" y="7131"/>
                      <a:pt x="3643" y="7131"/>
                      <a:pt x="3643" y="7131"/>
                    </a:cubicBezTo>
                    <a:cubicBezTo>
                      <a:pt x="3686" y="7021"/>
                      <a:pt x="3686" y="7021"/>
                      <a:pt x="3686" y="7021"/>
                    </a:cubicBezTo>
                    <a:cubicBezTo>
                      <a:pt x="3834" y="7046"/>
                      <a:pt x="3834" y="7046"/>
                      <a:pt x="3834" y="7046"/>
                    </a:cubicBezTo>
                    <a:cubicBezTo>
                      <a:pt x="3839" y="7028"/>
                      <a:pt x="3853" y="6976"/>
                      <a:pt x="3854" y="6959"/>
                    </a:cubicBezTo>
                    <a:close/>
                    <a:moveTo>
                      <a:pt x="3859" y="6952"/>
                    </a:moveTo>
                    <a:cubicBezTo>
                      <a:pt x="3859" y="6954"/>
                      <a:pt x="3859" y="6954"/>
                      <a:pt x="3859" y="6954"/>
                    </a:cubicBezTo>
                    <a:cubicBezTo>
                      <a:pt x="3859" y="6954"/>
                      <a:pt x="3859" y="6954"/>
                      <a:pt x="3859" y="6954"/>
                    </a:cubicBezTo>
                    <a:lnTo>
                      <a:pt x="3859" y="6952"/>
                    </a:lnTo>
                    <a:close/>
                    <a:moveTo>
                      <a:pt x="8161" y="10705"/>
                    </a:moveTo>
                    <a:cubicBezTo>
                      <a:pt x="8132" y="10763"/>
                      <a:pt x="8132" y="10763"/>
                      <a:pt x="8132" y="10763"/>
                    </a:cubicBezTo>
                    <a:cubicBezTo>
                      <a:pt x="8050" y="10721"/>
                      <a:pt x="8050" y="10721"/>
                      <a:pt x="8050" y="10721"/>
                    </a:cubicBezTo>
                    <a:cubicBezTo>
                      <a:pt x="8079" y="10663"/>
                      <a:pt x="8079" y="10663"/>
                      <a:pt x="8079" y="10663"/>
                    </a:cubicBezTo>
                    <a:cubicBezTo>
                      <a:pt x="7971" y="10609"/>
                      <a:pt x="7971" y="10609"/>
                      <a:pt x="7971" y="10609"/>
                    </a:cubicBezTo>
                    <a:cubicBezTo>
                      <a:pt x="7965" y="10606"/>
                      <a:pt x="7965" y="10606"/>
                      <a:pt x="7965" y="10606"/>
                    </a:cubicBezTo>
                    <a:cubicBezTo>
                      <a:pt x="7854" y="10821"/>
                      <a:pt x="7854" y="10821"/>
                      <a:pt x="7854" y="10821"/>
                    </a:cubicBezTo>
                    <a:cubicBezTo>
                      <a:pt x="7871" y="10821"/>
                      <a:pt x="7871" y="10821"/>
                      <a:pt x="7871" y="10821"/>
                    </a:cubicBezTo>
                    <a:cubicBezTo>
                      <a:pt x="7971" y="10626"/>
                      <a:pt x="7971" y="10626"/>
                      <a:pt x="7971" y="10626"/>
                    </a:cubicBezTo>
                    <a:cubicBezTo>
                      <a:pt x="8060" y="10670"/>
                      <a:pt x="8060" y="10670"/>
                      <a:pt x="8060" y="10670"/>
                    </a:cubicBezTo>
                    <a:cubicBezTo>
                      <a:pt x="8030" y="10728"/>
                      <a:pt x="8030" y="10728"/>
                      <a:pt x="8030" y="10728"/>
                    </a:cubicBezTo>
                    <a:cubicBezTo>
                      <a:pt x="8138" y="10783"/>
                      <a:pt x="8138" y="10783"/>
                      <a:pt x="8138" y="10783"/>
                    </a:cubicBezTo>
                    <a:cubicBezTo>
                      <a:pt x="8168" y="10725"/>
                      <a:pt x="8168" y="10725"/>
                      <a:pt x="8168" y="10725"/>
                    </a:cubicBezTo>
                    <a:cubicBezTo>
                      <a:pt x="8259" y="10772"/>
                      <a:pt x="8259" y="10772"/>
                      <a:pt x="8259" y="10772"/>
                    </a:cubicBezTo>
                    <a:cubicBezTo>
                      <a:pt x="8234" y="10821"/>
                      <a:pt x="8234" y="10821"/>
                      <a:pt x="8234" y="10821"/>
                    </a:cubicBezTo>
                    <a:cubicBezTo>
                      <a:pt x="8250" y="10821"/>
                      <a:pt x="8250" y="10821"/>
                      <a:pt x="8250" y="10821"/>
                    </a:cubicBezTo>
                    <a:cubicBezTo>
                      <a:pt x="8279" y="10766"/>
                      <a:pt x="8279" y="10766"/>
                      <a:pt x="8279" y="10766"/>
                    </a:cubicBezTo>
                    <a:lnTo>
                      <a:pt x="8161" y="10705"/>
                    </a:lnTo>
                    <a:close/>
                    <a:moveTo>
                      <a:pt x="2513" y="7261"/>
                    </a:moveTo>
                    <a:cubicBezTo>
                      <a:pt x="2616" y="6812"/>
                      <a:pt x="2616" y="6812"/>
                      <a:pt x="2616" y="6812"/>
                    </a:cubicBezTo>
                    <a:cubicBezTo>
                      <a:pt x="2771" y="6874"/>
                      <a:pt x="2771" y="6874"/>
                      <a:pt x="2771" y="6874"/>
                    </a:cubicBezTo>
                    <a:cubicBezTo>
                      <a:pt x="2772" y="6878"/>
                      <a:pt x="2772" y="6878"/>
                      <a:pt x="2772" y="6878"/>
                    </a:cubicBezTo>
                    <a:cubicBezTo>
                      <a:pt x="2797" y="7019"/>
                      <a:pt x="2797" y="7019"/>
                      <a:pt x="2797" y="7019"/>
                    </a:cubicBezTo>
                    <a:cubicBezTo>
                      <a:pt x="2686" y="7033"/>
                      <a:pt x="2686" y="7033"/>
                      <a:pt x="2686" y="7033"/>
                    </a:cubicBezTo>
                    <a:cubicBezTo>
                      <a:pt x="2666" y="7092"/>
                      <a:pt x="2666" y="7092"/>
                      <a:pt x="2666" y="7092"/>
                    </a:cubicBezTo>
                    <a:cubicBezTo>
                      <a:pt x="2778" y="7143"/>
                      <a:pt x="2778" y="7143"/>
                      <a:pt x="2778" y="7143"/>
                    </a:cubicBezTo>
                    <a:cubicBezTo>
                      <a:pt x="2769" y="7275"/>
                      <a:pt x="2769" y="7275"/>
                      <a:pt x="2769" y="7275"/>
                    </a:cubicBezTo>
                    <a:cubicBezTo>
                      <a:pt x="2644" y="7234"/>
                      <a:pt x="2644" y="7234"/>
                      <a:pt x="2644" y="7234"/>
                    </a:cubicBezTo>
                    <a:cubicBezTo>
                      <a:pt x="2625" y="7332"/>
                      <a:pt x="2625" y="7332"/>
                      <a:pt x="2625" y="7332"/>
                    </a:cubicBezTo>
                    <a:lnTo>
                      <a:pt x="2513" y="7261"/>
                    </a:lnTo>
                    <a:close/>
                    <a:moveTo>
                      <a:pt x="2530" y="7255"/>
                    </a:moveTo>
                    <a:cubicBezTo>
                      <a:pt x="2615" y="7308"/>
                      <a:pt x="2615" y="7308"/>
                      <a:pt x="2615" y="7308"/>
                    </a:cubicBezTo>
                    <a:cubicBezTo>
                      <a:pt x="2633" y="7214"/>
                      <a:pt x="2633" y="7214"/>
                      <a:pt x="2633" y="7214"/>
                    </a:cubicBezTo>
                    <a:cubicBezTo>
                      <a:pt x="2755" y="7255"/>
                      <a:pt x="2755" y="7255"/>
                      <a:pt x="2755" y="7255"/>
                    </a:cubicBezTo>
                    <a:cubicBezTo>
                      <a:pt x="2762" y="7152"/>
                      <a:pt x="2762" y="7152"/>
                      <a:pt x="2762" y="7152"/>
                    </a:cubicBezTo>
                    <a:cubicBezTo>
                      <a:pt x="2648" y="7100"/>
                      <a:pt x="2648" y="7100"/>
                      <a:pt x="2648" y="7100"/>
                    </a:cubicBezTo>
                    <a:cubicBezTo>
                      <a:pt x="2674" y="7019"/>
                      <a:pt x="2674" y="7019"/>
                      <a:pt x="2674" y="7019"/>
                    </a:cubicBezTo>
                    <a:cubicBezTo>
                      <a:pt x="2779" y="7007"/>
                      <a:pt x="2779" y="7007"/>
                      <a:pt x="2779" y="7007"/>
                    </a:cubicBezTo>
                    <a:cubicBezTo>
                      <a:pt x="2758" y="6885"/>
                      <a:pt x="2758" y="6885"/>
                      <a:pt x="2758" y="6885"/>
                    </a:cubicBezTo>
                    <a:cubicBezTo>
                      <a:pt x="2626" y="6832"/>
                      <a:pt x="2626" y="6832"/>
                      <a:pt x="2626" y="6832"/>
                    </a:cubicBezTo>
                    <a:lnTo>
                      <a:pt x="2530" y="7255"/>
                    </a:lnTo>
                    <a:close/>
                    <a:moveTo>
                      <a:pt x="8004" y="10784"/>
                    </a:moveTo>
                    <a:cubicBezTo>
                      <a:pt x="7985" y="10821"/>
                      <a:pt x="7985" y="10821"/>
                      <a:pt x="7985" y="10821"/>
                    </a:cubicBezTo>
                    <a:cubicBezTo>
                      <a:pt x="8001" y="10821"/>
                      <a:pt x="8001" y="10821"/>
                      <a:pt x="8001" y="10821"/>
                    </a:cubicBezTo>
                    <a:cubicBezTo>
                      <a:pt x="8010" y="10804"/>
                      <a:pt x="8010" y="10804"/>
                      <a:pt x="8010" y="10804"/>
                    </a:cubicBezTo>
                    <a:cubicBezTo>
                      <a:pt x="8047" y="10821"/>
                      <a:pt x="8047" y="10821"/>
                      <a:pt x="8047" y="10821"/>
                    </a:cubicBezTo>
                    <a:cubicBezTo>
                      <a:pt x="8082" y="10821"/>
                      <a:pt x="8082" y="10821"/>
                      <a:pt x="8082" y="10821"/>
                    </a:cubicBezTo>
                    <a:cubicBezTo>
                      <a:pt x="8010" y="10787"/>
                      <a:pt x="8010" y="10787"/>
                      <a:pt x="8010" y="10787"/>
                    </a:cubicBezTo>
                    <a:lnTo>
                      <a:pt x="8004" y="10784"/>
                    </a:lnTo>
                    <a:close/>
                    <a:moveTo>
                      <a:pt x="5787" y="7214"/>
                    </a:moveTo>
                    <a:cubicBezTo>
                      <a:pt x="5937" y="7232"/>
                      <a:pt x="5937" y="7232"/>
                      <a:pt x="5937" y="7232"/>
                    </a:cubicBezTo>
                    <a:cubicBezTo>
                      <a:pt x="5928" y="7307"/>
                      <a:pt x="5928" y="7307"/>
                      <a:pt x="5928" y="7307"/>
                    </a:cubicBezTo>
                    <a:cubicBezTo>
                      <a:pt x="5921" y="7307"/>
                      <a:pt x="5921" y="7307"/>
                      <a:pt x="5921" y="7307"/>
                    </a:cubicBezTo>
                    <a:cubicBezTo>
                      <a:pt x="5777" y="7289"/>
                      <a:pt x="5777" y="7289"/>
                      <a:pt x="5777" y="7289"/>
                    </a:cubicBezTo>
                    <a:lnTo>
                      <a:pt x="5787" y="7214"/>
                    </a:lnTo>
                    <a:close/>
                    <a:moveTo>
                      <a:pt x="5792" y="7277"/>
                    </a:moveTo>
                    <a:cubicBezTo>
                      <a:pt x="5916" y="7293"/>
                      <a:pt x="5916" y="7293"/>
                      <a:pt x="5916" y="7293"/>
                    </a:cubicBezTo>
                    <a:cubicBezTo>
                      <a:pt x="5922" y="7244"/>
                      <a:pt x="5922" y="7244"/>
                      <a:pt x="5922" y="7244"/>
                    </a:cubicBezTo>
                    <a:cubicBezTo>
                      <a:pt x="5798" y="7228"/>
                      <a:pt x="5798" y="7228"/>
                      <a:pt x="5798" y="7228"/>
                    </a:cubicBezTo>
                    <a:lnTo>
                      <a:pt x="5792" y="7277"/>
                    </a:lnTo>
                    <a:close/>
                    <a:moveTo>
                      <a:pt x="8056" y="6896"/>
                    </a:moveTo>
                    <a:cubicBezTo>
                      <a:pt x="8011" y="6958"/>
                      <a:pt x="8011" y="6958"/>
                      <a:pt x="8011" y="6958"/>
                    </a:cubicBezTo>
                    <a:cubicBezTo>
                      <a:pt x="8006" y="6954"/>
                      <a:pt x="8006" y="6954"/>
                      <a:pt x="8006" y="6954"/>
                    </a:cubicBezTo>
                    <a:cubicBezTo>
                      <a:pt x="7888" y="6870"/>
                      <a:pt x="7888" y="6870"/>
                      <a:pt x="7888" y="6870"/>
                    </a:cubicBezTo>
                    <a:cubicBezTo>
                      <a:pt x="7932" y="6808"/>
                      <a:pt x="7932" y="6808"/>
                      <a:pt x="7932" y="6808"/>
                    </a:cubicBezTo>
                    <a:lnTo>
                      <a:pt x="8056" y="6896"/>
                    </a:lnTo>
                    <a:close/>
                    <a:moveTo>
                      <a:pt x="8037" y="6900"/>
                    </a:moveTo>
                    <a:cubicBezTo>
                      <a:pt x="7935" y="6827"/>
                      <a:pt x="7935" y="6827"/>
                      <a:pt x="7935" y="6827"/>
                    </a:cubicBezTo>
                    <a:cubicBezTo>
                      <a:pt x="7907" y="6867"/>
                      <a:pt x="7907" y="6867"/>
                      <a:pt x="7907" y="6867"/>
                    </a:cubicBezTo>
                    <a:cubicBezTo>
                      <a:pt x="8008" y="6940"/>
                      <a:pt x="8008" y="6940"/>
                      <a:pt x="8008" y="6940"/>
                    </a:cubicBezTo>
                    <a:lnTo>
                      <a:pt x="8037" y="6900"/>
                    </a:lnTo>
                    <a:close/>
                    <a:moveTo>
                      <a:pt x="3808" y="6721"/>
                    </a:moveTo>
                    <a:cubicBezTo>
                      <a:pt x="3682" y="6677"/>
                      <a:pt x="3682" y="6677"/>
                      <a:pt x="3682" y="6677"/>
                    </a:cubicBezTo>
                    <a:cubicBezTo>
                      <a:pt x="3821" y="6572"/>
                      <a:pt x="3821" y="6572"/>
                      <a:pt x="3821" y="6572"/>
                    </a:cubicBezTo>
                    <a:cubicBezTo>
                      <a:pt x="3997" y="6698"/>
                      <a:pt x="3997" y="6698"/>
                      <a:pt x="3997" y="6698"/>
                    </a:cubicBezTo>
                    <a:cubicBezTo>
                      <a:pt x="3993" y="6704"/>
                      <a:pt x="3993" y="6704"/>
                      <a:pt x="3993" y="6704"/>
                    </a:cubicBezTo>
                    <a:cubicBezTo>
                      <a:pt x="3887" y="6863"/>
                      <a:pt x="3887" y="6863"/>
                      <a:pt x="3887" y="6863"/>
                    </a:cubicBezTo>
                    <a:cubicBezTo>
                      <a:pt x="3759" y="6843"/>
                      <a:pt x="3759" y="6843"/>
                      <a:pt x="3759" y="6843"/>
                    </a:cubicBezTo>
                    <a:cubicBezTo>
                      <a:pt x="3757" y="6814"/>
                      <a:pt x="3757" y="6814"/>
                      <a:pt x="3757" y="6814"/>
                    </a:cubicBezTo>
                    <a:lnTo>
                      <a:pt x="3808" y="6721"/>
                    </a:lnTo>
                    <a:close/>
                    <a:moveTo>
                      <a:pt x="3829" y="6713"/>
                    </a:moveTo>
                    <a:cubicBezTo>
                      <a:pt x="3772" y="6817"/>
                      <a:pt x="3772" y="6817"/>
                      <a:pt x="3772" y="6817"/>
                    </a:cubicBezTo>
                    <a:cubicBezTo>
                      <a:pt x="3773" y="6831"/>
                      <a:pt x="3773" y="6831"/>
                      <a:pt x="3773" y="6831"/>
                    </a:cubicBezTo>
                    <a:cubicBezTo>
                      <a:pt x="3880" y="6847"/>
                      <a:pt x="3880" y="6847"/>
                      <a:pt x="3880" y="6847"/>
                    </a:cubicBezTo>
                    <a:cubicBezTo>
                      <a:pt x="3977" y="6702"/>
                      <a:pt x="3977" y="6702"/>
                      <a:pt x="3977" y="6702"/>
                    </a:cubicBezTo>
                    <a:cubicBezTo>
                      <a:pt x="3821" y="6591"/>
                      <a:pt x="3821" y="6591"/>
                      <a:pt x="3821" y="6591"/>
                    </a:cubicBezTo>
                    <a:cubicBezTo>
                      <a:pt x="3713" y="6672"/>
                      <a:pt x="3713" y="6672"/>
                      <a:pt x="3713" y="6672"/>
                    </a:cubicBezTo>
                    <a:lnTo>
                      <a:pt x="3829" y="6713"/>
                    </a:lnTo>
                    <a:close/>
                    <a:moveTo>
                      <a:pt x="4014" y="7163"/>
                    </a:moveTo>
                    <a:cubicBezTo>
                      <a:pt x="4023" y="7225"/>
                      <a:pt x="4023" y="7225"/>
                      <a:pt x="4023" y="7225"/>
                    </a:cubicBezTo>
                    <a:cubicBezTo>
                      <a:pt x="3925" y="7240"/>
                      <a:pt x="3925" y="7240"/>
                      <a:pt x="3925" y="7240"/>
                    </a:cubicBezTo>
                    <a:cubicBezTo>
                      <a:pt x="3910" y="7167"/>
                      <a:pt x="3910" y="7167"/>
                      <a:pt x="3910" y="7167"/>
                    </a:cubicBezTo>
                    <a:cubicBezTo>
                      <a:pt x="3945" y="7130"/>
                      <a:pt x="3945" y="7130"/>
                      <a:pt x="3945" y="7130"/>
                    </a:cubicBezTo>
                    <a:cubicBezTo>
                      <a:pt x="3940" y="7076"/>
                      <a:pt x="3940" y="7076"/>
                      <a:pt x="3940" y="7076"/>
                    </a:cubicBezTo>
                    <a:cubicBezTo>
                      <a:pt x="4033" y="7066"/>
                      <a:pt x="4033" y="7066"/>
                      <a:pt x="4033" y="7066"/>
                    </a:cubicBezTo>
                    <a:cubicBezTo>
                      <a:pt x="4047" y="7137"/>
                      <a:pt x="4047" y="7137"/>
                      <a:pt x="4047" y="7137"/>
                    </a:cubicBezTo>
                    <a:lnTo>
                      <a:pt x="4014" y="7163"/>
                    </a:lnTo>
                    <a:close/>
                    <a:moveTo>
                      <a:pt x="4007" y="7213"/>
                    </a:moveTo>
                    <a:cubicBezTo>
                      <a:pt x="4000" y="7165"/>
                      <a:pt x="4000" y="7165"/>
                      <a:pt x="4000" y="7165"/>
                    </a:cubicBezTo>
                    <a:cubicBezTo>
                      <a:pt x="3999" y="7157"/>
                      <a:pt x="3999" y="7157"/>
                      <a:pt x="3999" y="7157"/>
                    </a:cubicBezTo>
                    <a:cubicBezTo>
                      <a:pt x="4005" y="7152"/>
                      <a:pt x="4005" y="7152"/>
                      <a:pt x="4005" y="7152"/>
                    </a:cubicBezTo>
                    <a:cubicBezTo>
                      <a:pt x="4031" y="7131"/>
                      <a:pt x="4031" y="7131"/>
                      <a:pt x="4031" y="7131"/>
                    </a:cubicBezTo>
                    <a:cubicBezTo>
                      <a:pt x="4022" y="7081"/>
                      <a:pt x="4022" y="7081"/>
                      <a:pt x="4022" y="7081"/>
                    </a:cubicBezTo>
                    <a:cubicBezTo>
                      <a:pt x="3955" y="7088"/>
                      <a:pt x="3955" y="7088"/>
                      <a:pt x="3955" y="7088"/>
                    </a:cubicBezTo>
                    <a:cubicBezTo>
                      <a:pt x="3959" y="7129"/>
                      <a:pt x="3959" y="7129"/>
                      <a:pt x="3959" y="7129"/>
                    </a:cubicBezTo>
                    <a:cubicBezTo>
                      <a:pt x="3959" y="7135"/>
                      <a:pt x="3959" y="7135"/>
                      <a:pt x="3959" y="7135"/>
                    </a:cubicBezTo>
                    <a:cubicBezTo>
                      <a:pt x="3955" y="7139"/>
                      <a:pt x="3955" y="7139"/>
                      <a:pt x="3955" y="7139"/>
                    </a:cubicBezTo>
                    <a:cubicBezTo>
                      <a:pt x="3925" y="7171"/>
                      <a:pt x="3925" y="7171"/>
                      <a:pt x="3925" y="7171"/>
                    </a:cubicBezTo>
                    <a:cubicBezTo>
                      <a:pt x="3936" y="7224"/>
                      <a:pt x="3936" y="7224"/>
                      <a:pt x="3936" y="7224"/>
                    </a:cubicBezTo>
                    <a:lnTo>
                      <a:pt x="4007" y="7213"/>
                    </a:lnTo>
                    <a:close/>
                    <a:moveTo>
                      <a:pt x="12248" y="2040"/>
                    </a:moveTo>
                    <a:cubicBezTo>
                      <a:pt x="12702" y="1569"/>
                      <a:pt x="12702" y="1569"/>
                      <a:pt x="12702" y="1569"/>
                    </a:cubicBezTo>
                    <a:cubicBezTo>
                      <a:pt x="12928" y="1784"/>
                      <a:pt x="12928" y="1784"/>
                      <a:pt x="12928" y="1784"/>
                    </a:cubicBezTo>
                    <a:cubicBezTo>
                      <a:pt x="12286" y="2447"/>
                      <a:pt x="12286" y="2447"/>
                      <a:pt x="12286" y="2447"/>
                    </a:cubicBezTo>
                    <a:cubicBezTo>
                      <a:pt x="12098" y="2264"/>
                      <a:pt x="12098" y="2264"/>
                      <a:pt x="12098" y="2264"/>
                    </a:cubicBezTo>
                    <a:cubicBezTo>
                      <a:pt x="11939" y="2425"/>
                      <a:pt x="11939" y="2425"/>
                      <a:pt x="11939" y="2425"/>
                    </a:cubicBezTo>
                    <a:cubicBezTo>
                      <a:pt x="11856" y="2345"/>
                      <a:pt x="11856" y="2345"/>
                      <a:pt x="11856" y="2345"/>
                    </a:cubicBezTo>
                    <a:cubicBezTo>
                      <a:pt x="11725" y="2482"/>
                      <a:pt x="11725" y="2482"/>
                      <a:pt x="11725" y="2482"/>
                    </a:cubicBezTo>
                    <a:cubicBezTo>
                      <a:pt x="11511" y="2271"/>
                      <a:pt x="11511" y="2271"/>
                      <a:pt x="11511" y="2271"/>
                    </a:cubicBezTo>
                    <a:cubicBezTo>
                      <a:pt x="11506" y="2266"/>
                      <a:pt x="11506" y="2266"/>
                      <a:pt x="11506" y="2266"/>
                    </a:cubicBezTo>
                    <a:cubicBezTo>
                      <a:pt x="12145" y="1604"/>
                      <a:pt x="12145" y="1604"/>
                      <a:pt x="12145" y="1604"/>
                    </a:cubicBezTo>
                    <a:cubicBezTo>
                      <a:pt x="12363" y="1823"/>
                      <a:pt x="12363" y="1823"/>
                      <a:pt x="12363" y="1823"/>
                    </a:cubicBezTo>
                    <a:cubicBezTo>
                      <a:pt x="12198" y="1995"/>
                      <a:pt x="12198" y="1995"/>
                      <a:pt x="12198" y="1995"/>
                    </a:cubicBezTo>
                    <a:lnTo>
                      <a:pt x="12248" y="2040"/>
                    </a:lnTo>
                    <a:close/>
                    <a:moveTo>
                      <a:pt x="12248" y="2061"/>
                    </a:moveTo>
                    <a:cubicBezTo>
                      <a:pt x="12177" y="1995"/>
                      <a:pt x="12177" y="1995"/>
                      <a:pt x="12177" y="1995"/>
                    </a:cubicBezTo>
                    <a:cubicBezTo>
                      <a:pt x="12342" y="1823"/>
                      <a:pt x="12342" y="1823"/>
                      <a:pt x="12342" y="1823"/>
                    </a:cubicBezTo>
                    <a:cubicBezTo>
                      <a:pt x="12145" y="1625"/>
                      <a:pt x="12145" y="1625"/>
                      <a:pt x="12145" y="1625"/>
                    </a:cubicBezTo>
                    <a:cubicBezTo>
                      <a:pt x="11526" y="2265"/>
                      <a:pt x="11526" y="2265"/>
                      <a:pt x="11526" y="2265"/>
                    </a:cubicBezTo>
                    <a:cubicBezTo>
                      <a:pt x="11725" y="2461"/>
                      <a:pt x="11725" y="2461"/>
                      <a:pt x="11725" y="2461"/>
                    </a:cubicBezTo>
                    <a:cubicBezTo>
                      <a:pt x="11856" y="2324"/>
                      <a:pt x="11856" y="2324"/>
                      <a:pt x="11856" y="2324"/>
                    </a:cubicBezTo>
                    <a:cubicBezTo>
                      <a:pt x="11938" y="2405"/>
                      <a:pt x="11938" y="2405"/>
                      <a:pt x="11938" y="2405"/>
                    </a:cubicBezTo>
                    <a:cubicBezTo>
                      <a:pt x="12098" y="2243"/>
                      <a:pt x="12098" y="2243"/>
                      <a:pt x="12098" y="2243"/>
                    </a:cubicBezTo>
                    <a:cubicBezTo>
                      <a:pt x="12285" y="2426"/>
                      <a:pt x="12285" y="2426"/>
                      <a:pt x="12285" y="2426"/>
                    </a:cubicBezTo>
                    <a:cubicBezTo>
                      <a:pt x="12907" y="1785"/>
                      <a:pt x="12907" y="1785"/>
                      <a:pt x="12907" y="1785"/>
                    </a:cubicBezTo>
                    <a:cubicBezTo>
                      <a:pt x="12702" y="1590"/>
                      <a:pt x="12702" y="1590"/>
                      <a:pt x="12702" y="1590"/>
                    </a:cubicBezTo>
                    <a:lnTo>
                      <a:pt x="12248" y="2061"/>
                    </a:lnTo>
                    <a:close/>
                    <a:moveTo>
                      <a:pt x="4255" y="4339"/>
                    </a:moveTo>
                    <a:cubicBezTo>
                      <a:pt x="4154" y="4337"/>
                      <a:pt x="4154" y="4337"/>
                      <a:pt x="4154" y="4337"/>
                    </a:cubicBezTo>
                    <a:cubicBezTo>
                      <a:pt x="4154" y="4330"/>
                      <a:pt x="4154" y="4330"/>
                      <a:pt x="4154" y="4330"/>
                    </a:cubicBezTo>
                    <a:cubicBezTo>
                      <a:pt x="4158" y="4197"/>
                      <a:pt x="4158" y="4197"/>
                      <a:pt x="4158" y="4197"/>
                    </a:cubicBezTo>
                    <a:cubicBezTo>
                      <a:pt x="4258" y="4199"/>
                      <a:pt x="4258" y="4199"/>
                      <a:pt x="4258" y="4199"/>
                    </a:cubicBezTo>
                    <a:lnTo>
                      <a:pt x="4255" y="4339"/>
                    </a:lnTo>
                    <a:close/>
                    <a:moveTo>
                      <a:pt x="4245" y="4212"/>
                    </a:moveTo>
                    <a:cubicBezTo>
                      <a:pt x="4170" y="4211"/>
                      <a:pt x="4170" y="4211"/>
                      <a:pt x="4170" y="4211"/>
                    </a:cubicBezTo>
                    <a:cubicBezTo>
                      <a:pt x="4168" y="4324"/>
                      <a:pt x="4168" y="4324"/>
                      <a:pt x="4168" y="4324"/>
                    </a:cubicBezTo>
                    <a:cubicBezTo>
                      <a:pt x="4242" y="4325"/>
                      <a:pt x="4242" y="4325"/>
                      <a:pt x="4242" y="4325"/>
                    </a:cubicBezTo>
                    <a:lnTo>
                      <a:pt x="4245" y="4212"/>
                    </a:lnTo>
                    <a:close/>
                    <a:moveTo>
                      <a:pt x="601" y="10758"/>
                    </a:moveTo>
                    <a:cubicBezTo>
                      <a:pt x="593" y="10761"/>
                      <a:pt x="593" y="10761"/>
                      <a:pt x="593" y="10761"/>
                    </a:cubicBezTo>
                    <a:cubicBezTo>
                      <a:pt x="500" y="10799"/>
                      <a:pt x="500" y="10799"/>
                      <a:pt x="500" y="10799"/>
                    </a:cubicBezTo>
                    <a:cubicBezTo>
                      <a:pt x="407" y="10536"/>
                      <a:pt x="407" y="10536"/>
                      <a:pt x="407" y="10536"/>
                    </a:cubicBezTo>
                    <a:cubicBezTo>
                      <a:pt x="481" y="10513"/>
                      <a:pt x="481" y="10513"/>
                      <a:pt x="481" y="10513"/>
                    </a:cubicBezTo>
                    <a:lnTo>
                      <a:pt x="601" y="10758"/>
                    </a:lnTo>
                    <a:close/>
                    <a:moveTo>
                      <a:pt x="580" y="10750"/>
                    </a:moveTo>
                    <a:cubicBezTo>
                      <a:pt x="473" y="10531"/>
                      <a:pt x="473" y="10531"/>
                      <a:pt x="473" y="10531"/>
                    </a:cubicBezTo>
                    <a:cubicBezTo>
                      <a:pt x="426" y="10546"/>
                      <a:pt x="426" y="10546"/>
                      <a:pt x="426" y="10546"/>
                    </a:cubicBezTo>
                    <a:cubicBezTo>
                      <a:pt x="508" y="10779"/>
                      <a:pt x="508" y="10779"/>
                      <a:pt x="508" y="10779"/>
                    </a:cubicBezTo>
                    <a:lnTo>
                      <a:pt x="580" y="10750"/>
                    </a:lnTo>
                    <a:close/>
                    <a:moveTo>
                      <a:pt x="9425" y="7614"/>
                    </a:moveTo>
                    <a:cubicBezTo>
                      <a:pt x="9360" y="7376"/>
                      <a:pt x="9360" y="7376"/>
                      <a:pt x="9360" y="7376"/>
                    </a:cubicBezTo>
                    <a:cubicBezTo>
                      <a:pt x="9367" y="7374"/>
                      <a:pt x="9367" y="7374"/>
                      <a:pt x="9367" y="7374"/>
                    </a:cubicBezTo>
                    <a:cubicBezTo>
                      <a:pt x="9660" y="7294"/>
                      <a:pt x="9660" y="7294"/>
                      <a:pt x="9660" y="7294"/>
                    </a:cubicBezTo>
                    <a:cubicBezTo>
                      <a:pt x="9648" y="7252"/>
                      <a:pt x="9648" y="7252"/>
                      <a:pt x="9648" y="7252"/>
                    </a:cubicBezTo>
                    <a:cubicBezTo>
                      <a:pt x="10000" y="7155"/>
                      <a:pt x="10000" y="7155"/>
                      <a:pt x="10000" y="7155"/>
                    </a:cubicBezTo>
                    <a:cubicBezTo>
                      <a:pt x="10016" y="7210"/>
                      <a:pt x="10016" y="7210"/>
                      <a:pt x="10016" y="7210"/>
                    </a:cubicBezTo>
                    <a:cubicBezTo>
                      <a:pt x="10211" y="7157"/>
                      <a:pt x="10211" y="7157"/>
                      <a:pt x="10211" y="7157"/>
                    </a:cubicBezTo>
                    <a:cubicBezTo>
                      <a:pt x="10304" y="7479"/>
                      <a:pt x="10304" y="7479"/>
                      <a:pt x="10304" y="7479"/>
                    </a:cubicBezTo>
                    <a:cubicBezTo>
                      <a:pt x="10160" y="7520"/>
                      <a:pt x="10160" y="7520"/>
                      <a:pt x="10160" y="7520"/>
                    </a:cubicBezTo>
                    <a:cubicBezTo>
                      <a:pt x="10244" y="7824"/>
                      <a:pt x="10244" y="7824"/>
                      <a:pt x="10244" y="7824"/>
                    </a:cubicBezTo>
                    <a:cubicBezTo>
                      <a:pt x="9543" y="8006"/>
                      <a:pt x="9543" y="8006"/>
                      <a:pt x="9543" y="8006"/>
                    </a:cubicBezTo>
                    <a:cubicBezTo>
                      <a:pt x="9492" y="7824"/>
                      <a:pt x="9492" y="7824"/>
                      <a:pt x="9492" y="7824"/>
                    </a:cubicBezTo>
                    <a:cubicBezTo>
                      <a:pt x="9562" y="7801"/>
                      <a:pt x="9562" y="7801"/>
                      <a:pt x="9562" y="7801"/>
                    </a:cubicBezTo>
                    <a:cubicBezTo>
                      <a:pt x="9501" y="7597"/>
                      <a:pt x="9501" y="7597"/>
                      <a:pt x="9501" y="7597"/>
                    </a:cubicBezTo>
                    <a:lnTo>
                      <a:pt x="9425" y="7614"/>
                    </a:lnTo>
                    <a:close/>
                    <a:moveTo>
                      <a:pt x="9378" y="7386"/>
                    </a:moveTo>
                    <a:cubicBezTo>
                      <a:pt x="9436" y="7596"/>
                      <a:pt x="9436" y="7596"/>
                      <a:pt x="9436" y="7596"/>
                    </a:cubicBezTo>
                    <a:cubicBezTo>
                      <a:pt x="9511" y="7580"/>
                      <a:pt x="9511" y="7580"/>
                      <a:pt x="9511" y="7580"/>
                    </a:cubicBezTo>
                    <a:cubicBezTo>
                      <a:pt x="9580" y="7811"/>
                      <a:pt x="9580" y="7811"/>
                      <a:pt x="9580" y="7811"/>
                    </a:cubicBezTo>
                    <a:cubicBezTo>
                      <a:pt x="9510" y="7834"/>
                      <a:pt x="9510" y="7834"/>
                      <a:pt x="9510" y="7834"/>
                    </a:cubicBezTo>
                    <a:cubicBezTo>
                      <a:pt x="9553" y="7988"/>
                      <a:pt x="9553" y="7988"/>
                      <a:pt x="9553" y="7988"/>
                    </a:cubicBezTo>
                    <a:cubicBezTo>
                      <a:pt x="10226" y="7813"/>
                      <a:pt x="10226" y="7813"/>
                      <a:pt x="10226" y="7813"/>
                    </a:cubicBezTo>
                    <a:cubicBezTo>
                      <a:pt x="10141" y="7509"/>
                      <a:pt x="10141" y="7509"/>
                      <a:pt x="10141" y="7509"/>
                    </a:cubicBezTo>
                    <a:cubicBezTo>
                      <a:pt x="10285" y="7469"/>
                      <a:pt x="10285" y="7469"/>
                      <a:pt x="10285" y="7469"/>
                    </a:cubicBezTo>
                    <a:cubicBezTo>
                      <a:pt x="10201" y="7175"/>
                      <a:pt x="10201" y="7175"/>
                      <a:pt x="10201" y="7175"/>
                    </a:cubicBezTo>
                    <a:cubicBezTo>
                      <a:pt x="10006" y="7228"/>
                      <a:pt x="10006" y="7228"/>
                      <a:pt x="10006" y="7228"/>
                    </a:cubicBezTo>
                    <a:cubicBezTo>
                      <a:pt x="9990" y="7173"/>
                      <a:pt x="9990" y="7173"/>
                      <a:pt x="9990" y="7173"/>
                    </a:cubicBezTo>
                    <a:cubicBezTo>
                      <a:pt x="9666" y="7263"/>
                      <a:pt x="9666" y="7263"/>
                      <a:pt x="9666" y="7263"/>
                    </a:cubicBezTo>
                    <a:cubicBezTo>
                      <a:pt x="9678" y="7304"/>
                      <a:pt x="9678" y="7304"/>
                      <a:pt x="9678" y="7304"/>
                    </a:cubicBezTo>
                    <a:lnTo>
                      <a:pt x="9378" y="7386"/>
                    </a:lnTo>
                    <a:close/>
                    <a:moveTo>
                      <a:pt x="5236" y="10027"/>
                    </a:moveTo>
                    <a:cubicBezTo>
                      <a:pt x="5225" y="9774"/>
                      <a:pt x="5225" y="9774"/>
                      <a:pt x="5225" y="9774"/>
                    </a:cubicBezTo>
                    <a:cubicBezTo>
                      <a:pt x="5309" y="9770"/>
                      <a:pt x="5309" y="9770"/>
                      <a:pt x="5309" y="9770"/>
                    </a:cubicBezTo>
                    <a:cubicBezTo>
                      <a:pt x="5320" y="10030"/>
                      <a:pt x="5320" y="10030"/>
                      <a:pt x="5320" y="10030"/>
                    </a:cubicBezTo>
                    <a:cubicBezTo>
                      <a:pt x="5236" y="10034"/>
                      <a:pt x="5236" y="10034"/>
                      <a:pt x="5236" y="10034"/>
                    </a:cubicBezTo>
                    <a:lnTo>
                      <a:pt x="5236" y="10027"/>
                    </a:lnTo>
                    <a:close/>
                    <a:moveTo>
                      <a:pt x="5238" y="9786"/>
                    </a:moveTo>
                    <a:cubicBezTo>
                      <a:pt x="5249" y="10020"/>
                      <a:pt x="5249" y="10020"/>
                      <a:pt x="5249" y="10020"/>
                    </a:cubicBezTo>
                    <a:cubicBezTo>
                      <a:pt x="5307" y="10017"/>
                      <a:pt x="5307" y="10017"/>
                      <a:pt x="5307" y="10017"/>
                    </a:cubicBezTo>
                    <a:cubicBezTo>
                      <a:pt x="5296" y="9784"/>
                      <a:pt x="5296" y="9784"/>
                      <a:pt x="5296" y="9784"/>
                    </a:cubicBezTo>
                    <a:lnTo>
                      <a:pt x="5238" y="9786"/>
                    </a:lnTo>
                    <a:close/>
                    <a:moveTo>
                      <a:pt x="3934" y="9745"/>
                    </a:moveTo>
                    <a:cubicBezTo>
                      <a:pt x="3934" y="9745"/>
                      <a:pt x="3934" y="9745"/>
                      <a:pt x="3934" y="9745"/>
                    </a:cubicBezTo>
                    <a:cubicBezTo>
                      <a:pt x="3934" y="9745"/>
                      <a:pt x="3934" y="9745"/>
                      <a:pt x="3934" y="9745"/>
                    </a:cubicBezTo>
                    <a:close/>
                    <a:moveTo>
                      <a:pt x="5216" y="9426"/>
                    </a:moveTo>
                    <a:cubicBezTo>
                      <a:pt x="5310" y="9426"/>
                      <a:pt x="5310" y="9426"/>
                      <a:pt x="5310" y="9426"/>
                    </a:cubicBezTo>
                    <a:cubicBezTo>
                      <a:pt x="5309" y="9607"/>
                      <a:pt x="5309" y="9607"/>
                      <a:pt x="5309" y="9607"/>
                    </a:cubicBezTo>
                    <a:cubicBezTo>
                      <a:pt x="5302" y="9607"/>
                      <a:pt x="5302" y="9607"/>
                      <a:pt x="5302" y="9607"/>
                    </a:cubicBezTo>
                    <a:cubicBezTo>
                      <a:pt x="5215" y="9607"/>
                      <a:pt x="5215" y="9607"/>
                      <a:pt x="5215" y="9607"/>
                    </a:cubicBezTo>
                    <a:cubicBezTo>
                      <a:pt x="5215" y="9562"/>
                      <a:pt x="5215" y="9562"/>
                      <a:pt x="5215" y="9562"/>
                    </a:cubicBezTo>
                    <a:cubicBezTo>
                      <a:pt x="5153" y="9562"/>
                      <a:pt x="5153" y="9562"/>
                      <a:pt x="5153" y="9562"/>
                    </a:cubicBezTo>
                    <a:cubicBezTo>
                      <a:pt x="5154" y="9470"/>
                      <a:pt x="5154" y="9470"/>
                      <a:pt x="5154" y="9470"/>
                    </a:cubicBezTo>
                    <a:cubicBezTo>
                      <a:pt x="5216" y="9470"/>
                      <a:pt x="5216" y="9470"/>
                      <a:pt x="5216" y="9470"/>
                    </a:cubicBezTo>
                    <a:lnTo>
                      <a:pt x="5216" y="9426"/>
                    </a:lnTo>
                    <a:close/>
                    <a:moveTo>
                      <a:pt x="5229" y="9484"/>
                    </a:moveTo>
                    <a:cubicBezTo>
                      <a:pt x="5167" y="9483"/>
                      <a:pt x="5167" y="9483"/>
                      <a:pt x="5167" y="9483"/>
                    </a:cubicBezTo>
                    <a:cubicBezTo>
                      <a:pt x="5167" y="9549"/>
                      <a:pt x="5167" y="9549"/>
                      <a:pt x="5167" y="9549"/>
                    </a:cubicBezTo>
                    <a:cubicBezTo>
                      <a:pt x="5229" y="9549"/>
                      <a:pt x="5229" y="9549"/>
                      <a:pt x="5229" y="9549"/>
                    </a:cubicBezTo>
                    <a:cubicBezTo>
                      <a:pt x="5228" y="9594"/>
                      <a:pt x="5228" y="9594"/>
                      <a:pt x="5228" y="9594"/>
                    </a:cubicBezTo>
                    <a:cubicBezTo>
                      <a:pt x="5296" y="9594"/>
                      <a:pt x="5296" y="9594"/>
                      <a:pt x="5296" y="9594"/>
                    </a:cubicBezTo>
                    <a:cubicBezTo>
                      <a:pt x="5297" y="9439"/>
                      <a:pt x="5297" y="9439"/>
                      <a:pt x="5297" y="9439"/>
                    </a:cubicBezTo>
                    <a:cubicBezTo>
                      <a:pt x="5229" y="9439"/>
                      <a:pt x="5229" y="9439"/>
                      <a:pt x="5229" y="9439"/>
                    </a:cubicBezTo>
                    <a:lnTo>
                      <a:pt x="5229" y="9484"/>
                    </a:lnTo>
                    <a:close/>
                    <a:moveTo>
                      <a:pt x="6560" y="7643"/>
                    </a:moveTo>
                    <a:cubicBezTo>
                      <a:pt x="6418" y="7615"/>
                      <a:pt x="6418" y="7615"/>
                      <a:pt x="6418" y="7615"/>
                    </a:cubicBezTo>
                    <a:cubicBezTo>
                      <a:pt x="6432" y="7541"/>
                      <a:pt x="6432" y="7541"/>
                      <a:pt x="6432" y="7541"/>
                    </a:cubicBezTo>
                    <a:cubicBezTo>
                      <a:pt x="6581" y="7569"/>
                      <a:pt x="6581" y="7569"/>
                      <a:pt x="6581" y="7569"/>
                    </a:cubicBezTo>
                    <a:cubicBezTo>
                      <a:pt x="6567" y="7644"/>
                      <a:pt x="6567" y="7644"/>
                      <a:pt x="6567" y="7644"/>
                    </a:cubicBezTo>
                    <a:lnTo>
                      <a:pt x="6560" y="7643"/>
                    </a:lnTo>
                    <a:close/>
                    <a:moveTo>
                      <a:pt x="6556" y="7628"/>
                    </a:moveTo>
                    <a:cubicBezTo>
                      <a:pt x="6566" y="7580"/>
                      <a:pt x="6566" y="7580"/>
                      <a:pt x="6566" y="7580"/>
                    </a:cubicBezTo>
                    <a:cubicBezTo>
                      <a:pt x="6443" y="7556"/>
                      <a:pt x="6443" y="7556"/>
                      <a:pt x="6443" y="7556"/>
                    </a:cubicBezTo>
                    <a:cubicBezTo>
                      <a:pt x="6433" y="7605"/>
                      <a:pt x="6433" y="7605"/>
                      <a:pt x="6433" y="7605"/>
                    </a:cubicBezTo>
                    <a:lnTo>
                      <a:pt x="6556" y="7628"/>
                    </a:lnTo>
                    <a:close/>
                    <a:moveTo>
                      <a:pt x="1412" y="10346"/>
                    </a:moveTo>
                    <a:cubicBezTo>
                      <a:pt x="1550" y="10358"/>
                      <a:pt x="1550" y="10358"/>
                      <a:pt x="1550" y="10358"/>
                    </a:cubicBezTo>
                    <a:cubicBezTo>
                      <a:pt x="1545" y="10438"/>
                      <a:pt x="1545" y="10438"/>
                      <a:pt x="1545" y="10438"/>
                    </a:cubicBezTo>
                    <a:cubicBezTo>
                      <a:pt x="1305" y="10558"/>
                      <a:pt x="1305" y="10558"/>
                      <a:pt x="1305" y="10558"/>
                    </a:cubicBezTo>
                    <a:cubicBezTo>
                      <a:pt x="1274" y="10509"/>
                      <a:pt x="1274" y="10509"/>
                      <a:pt x="1274" y="10509"/>
                    </a:cubicBezTo>
                    <a:cubicBezTo>
                      <a:pt x="1222" y="10537"/>
                      <a:pt x="1222" y="10537"/>
                      <a:pt x="1222" y="10537"/>
                    </a:cubicBezTo>
                    <a:cubicBezTo>
                      <a:pt x="1019" y="10180"/>
                      <a:pt x="1019" y="10180"/>
                      <a:pt x="1019" y="10180"/>
                    </a:cubicBezTo>
                    <a:cubicBezTo>
                      <a:pt x="1132" y="10122"/>
                      <a:pt x="1132" y="10122"/>
                      <a:pt x="1132" y="10122"/>
                    </a:cubicBezTo>
                    <a:cubicBezTo>
                      <a:pt x="1239" y="10232"/>
                      <a:pt x="1239" y="10232"/>
                      <a:pt x="1239" y="10232"/>
                    </a:cubicBezTo>
                    <a:cubicBezTo>
                      <a:pt x="1278" y="10215"/>
                      <a:pt x="1278" y="10215"/>
                      <a:pt x="1278" y="10215"/>
                    </a:cubicBezTo>
                    <a:lnTo>
                      <a:pt x="1412" y="10346"/>
                    </a:lnTo>
                    <a:close/>
                    <a:moveTo>
                      <a:pt x="1535" y="10371"/>
                    </a:moveTo>
                    <a:cubicBezTo>
                      <a:pt x="1411" y="10360"/>
                      <a:pt x="1411" y="10360"/>
                      <a:pt x="1411" y="10360"/>
                    </a:cubicBezTo>
                    <a:cubicBezTo>
                      <a:pt x="1406" y="10360"/>
                      <a:pt x="1406" y="10360"/>
                      <a:pt x="1406" y="10360"/>
                    </a:cubicBezTo>
                    <a:cubicBezTo>
                      <a:pt x="1402" y="10356"/>
                      <a:pt x="1402" y="10356"/>
                      <a:pt x="1402" y="10356"/>
                    </a:cubicBezTo>
                    <a:cubicBezTo>
                      <a:pt x="1275" y="10232"/>
                      <a:pt x="1275" y="10232"/>
                      <a:pt x="1275" y="10232"/>
                    </a:cubicBezTo>
                    <a:cubicBezTo>
                      <a:pt x="1244" y="10245"/>
                      <a:pt x="1244" y="10245"/>
                      <a:pt x="1244" y="10245"/>
                    </a:cubicBezTo>
                    <a:cubicBezTo>
                      <a:pt x="1235" y="10249"/>
                      <a:pt x="1235" y="10249"/>
                      <a:pt x="1235" y="10249"/>
                    </a:cubicBezTo>
                    <a:cubicBezTo>
                      <a:pt x="1229" y="10242"/>
                      <a:pt x="1229" y="10242"/>
                      <a:pt x="1229" y="10242"/>
                    </a:cubicBezTo>
                    <a:cubicBezTo>
                      <a:pt x="1129" y="10139"/>
                      <a:pt x="1129" y="10139"/>
                      <a:pt x="1129" y="10139"/>
                    </a:cubicBezTo>
                    <a:cubicBezTo>
                      <a:pt x="1038" y="10185"/>
                      <a:pt x="1038" y="10185"/>
                      <a:pt x="1038" y="10185"/>
                    </a:cubicBezTo>
                    <a:cubicBezTo>
                      <a:pt x="1228" y="10518"/>
                      <a:pt x="1228" y="10518"/>
                      <a:pt x="1228" y="10518"/>
                    </a:cubicBezTo>
                    <a:cubicBezTo>
                      <a:pt x="1267" y="10497"/>
                      <a:pt x="1267" y="10497"/>
                      <a:pt x="1267" y="10497"/>
                    </a:cubicBezTo>
                    <a:cubicBezTo>
                      <a:pt x="1278" y="10491"/>
                      <a:pt x="1278" y="10491"/>
                      <a:pt x="1278" y="10491"/>
                    </a:cubicBezTo>
                    <a:cubicBezTo>
                      <a:pt x="1285" y="10502"/>
                      <a:pt x="1285" y="10502"/>
                      <a:pt x="1285" y="10502"/>
                    </a:cubicBezTo>
                    <a:cubicBezTo>
                      <a:pt x="1310" y="10540"/>
                      <a:pt x="1310" y="10540"/>
                      <a:pt x="1310" y="10540"/>
                    </a:cubicBezTo>
                    <a:cubicBezTo>
                      <a:pt x="1532" y="10429"/>
                      <a:pt x="1532" y="10429"/>
                      <a:pt x="1532" y="10429"/>
                    </a:cubicBezTo>
                    <a:lnTo>
                      <a:pt x="1535" y="10371"/>
                    </a:lnTo>
                    <a:close/>
                    <a:moveTo>
                      <a:pt x="3978" y="9611"/>
                    </a:moveTo>
                    <a:cubicBezTo>
                      <a:pt x="3935" y="9651"/>
                      <a:pt x="3935" y="9651"/>
                      <a:pt x="3935" y="9651"/>
                    </a:cubicBezTo>
                    <a:cubicBezTo>
                      <a:pt x="3848" y="9537"/>
                      <a:pt x="3848" y="9537"/>
                      <a:pt x="3848" y="9537"/>
                    </a:cubicBezTo>
                    <a:cubicBezTo>
                      <a:pt x="3895" y="9500"/>
                      <a:pt x="3895" y="9500"/>
                      <a:pt x="3895" y="9500"/>
                    </a:cubicBezTo>
                    <a:cubicBezTo>
                      <a:pt x="3859" y="9453"/>
                      <a:pt x="3859" y="9453"/>
                      <a:pt x="3859" y="9453"/>
                    </a:cubicBezTo>
                    <a:cubicBezTo>
                      <a:pt x="3812" y="9490"/>
                      <a:pt x="3812" y="9490"/>
                      <a:pt x="3812" y="9490"/>
                    </a:cubicBezTo>
                    <a:cubicBezTo>
                      <a:pt x="3722" y="9371"/>
                      <a:pt x="3722" y="9371"/>
                      <a:pt x="3722" y="9371"/>
                    </a:cubicBezTo>
                    <a:cubicBezTo>
                      <a:pt x="3766" y="9343"/>
                      <a:pt x="3766" y="9343"/>
                      <a:pt x="3766" y="9343"/>
                    </a:cubicBezTo>
                    <a:cubicBezTo>
                      <a:pt x="3731" y="9294"/>
                      <a:pt x="3731" y="9294"/>
                      <a:pt x="3731" y="9294"/>
                    </a:cubicBezTo>
                    <a:cubicBezTo>
                      <a:pt x="3685" y="9324"/>
                      <a:pt x="3685" y="9324"/>
                      <a:pt x="3685" y="9324"/>
                    </a:cubicBezTo>
                    <a:cubicBezTo>
                      <a:pt x="3619" y="9229"/>
                      <a:pt x="3619" y="9229"/>
                      <a:pt x="3619" y="9229"/>
                    </a:cubicBezTo>
                    <a:cubicBezTo>
                      <a:pt x="3757" y="9174"/>
                      <a:pt x="3757" y="9174"/>
                      <a:pt x="3757" y="9174"/>
                    </a:cubicBezTo>
                    <a:cubicBezTo>
                      <a:pt x="3735" y="9121"/>
                      <a:pt x="3735" y="9121"/>
                      <a:pt x="3735" y="9121"/>
                    </a:cubicBezTo>
                    <a:cubicBezTo>
                      <a:pt x="4011" y="9046"/>
                      <a:pt x="4011" y="9046"/>
                      <a:pt x="4011" y="9046"/>
                    </a:cubicBezTo>
                    <a:cubicBezTo>
                      <a:pt x="4108" y="9266"/>
                      <a:pt x="4108" y="9266"/>
                      <a:pt x="4108" y="9266"/>
                    </a:cubicBezTo>
                    <a:cubicBezTo>
                      <a:pt x="4069" y="9283"/>
                      <a:pt x="4069" y="9283"/>
                      <a:pt x="4069" y="9283"/>
                    </a:cubicBezTo>
                    <a:cubicBezTo>
                      <a:pt x="4155" y="9467"/>
                      <a:pt x="4155" y="9467"/>
                      <a:pt x="4155" y="9467"/>
                    </a:cubicBezTo>
                    <a:cubicBezTo>
                      <a:pt x="4152" y="9471"/>
                      <a:pt x="4152" y="9471"/>
                      <a:pt x="4152" y="9471"/>
                    </a:cubicBezTo>
                    <a:cubicBezTo>
                      <a:pt x="4138" y="9489"/>
                      <a:pt x="4138" y="9489"/>
                      <a:pt x="4138" y="9489"/>
                    </a:cubicBezTo>
                    <a:cubicBezTo>
                      <a:pt x="4160" y="9519"/>
                      <a:pt x="4160" y="9519"/>
                      <a:pt x="4160" y="9519"/>
                    </a:cubicBezTo>
                    <a:cubicBezTo>
                      <a:pt x="3998" y="9637"/>
                      <a:pt x="3998" y="9637"/>
                      <a:pt x="3998" y="9637"/>
                    </a:cubicBezTo>
                    <a:lnTo>
                      <a:pt x="3978" y="9611"/>
                    </a:lnTo>
                    <a:close/>
                    <a:moveTo>
                      <a:pt x="3937" y="9629"/>
                    </a:moveTo>
                    <a:cubicBezTo>
                      <a:pt x="3980" y="9590"/>
                      <a:pt x="3980" y="9590"/>
                      <a:pt x="3980" y="9590"/>
                    </a:cubicBezTo>
                    <a:cubicBezTo>
                      <a:pt x="4001" y="9617"/>
                      <a:pt x="4001" y="9617"/>
                      <a:pt x="4001" y="9617"/>
                    </a:cubicBezTo>
                    <a:cubicBezTo>
                      <a:pt x="4139" y="9516"/>
                      <a:pt x="4139" y="9516"/>
                      <a:pt x="4139" y="9516"/>
                    </a:cubicBezTo>
                    <a:cubicBezTo>
                      <a:pt x="4119" y="9489"/>
                      <a:pt x="4119" y="9489"/>
                      <a:pt x="4119" y="9489"/>
                    </a:cubicBezTo>
                    <a:cubicBezTo>
                      <a:pt x="4137" y="9465"/>
                      <a:pt x="4137" y="9465"/>
                      <a:pt x="4137" y="9465"/>
                    </a:cubicBezTo>
                    <a:cubicBezTo>
                      <a:pt x="4049" y="9276"/>
                      <a:pt x="4049" y="9276"/>
                      <a:pt x="4049" y="9276"/>
                    </a:cubicBezTo>
                    <a:cubicBezTo>
                      <a:pt x="4089" y="9258"/>
                      <a:pt x="4089" y="9258"/>
                      <a:pt x="4089" y="9258"/>
                    </a:cubicBezTo>
                    <a:cubicBezTo>
                      <a:pt x="4003" y="9064"/>
                      <a:pt x="4003" y="9064"/>
                      <a:pt x="4003" y="9064"/>
                    </a:cubicBezTo>
                    <a:cubicBezTo>
                      <a:pt x="3755" y="9131"/>
                      <a:pt x="3755" y="9131"/>
                      <a:pt x="3755" y="9131"/>
                    </a:cubicBezTo>
                    <a:cubicBezTo>
                      <a:pt x="3777" y="9183"/>
                      <a:pt x="3777" y="9183"/>
                      <a:pt x="3777" y="9183"/>
                    </a:cubicBezTo>
                    <a:cubicBezTo>
                      <a:pt x="3642" y="9236"/>
                      <a:pt x="3642" y="9236"/>
                      <a:pt x="3642" y="9236"/>
                    </a:cubicBezTo>
                    <a:cubicBezTo>
                      <a:pt x="3689" y="9304"/>
                      <a:pt x="3689" y="9304"/>
                      <a:pt x="3689" y="9304"/>
                    </a:cubicBezTo>
                    <a:cubicBezTo>
                      <a:pt x="3735" y="9273"/>
                      <a:pt x="3735" y="9273"/>
                      <a:pt x="3735" y="9273"/>
                    </a:cubicBezTo>
                    <a:cubicBezTo>
                      <a:pt x="3786" y="9347"/>
                      <a:pt x="3786" y="9347"/>
                      <a:pt x="3786" y="9347"/>
                    </a:cubicBezTo>
                    <a:cubicBezTo>
                      <a:pt x="3744" y="9375"/>
                      <a:pt x="3744" y="9375"/>
                      <a:pt x="3744" y="9375"/>
                    </a:cubicBezTo>
                    <a:cubicBezTo>
                      <a:pt x="3815" y="9469"/>
                      <a:pt x="3815" y="9469"/>
                      <a:pt x="3815" y="9469"/>
                    </a:cubicBezTo>
                    <a:cubicBezTo>
                      <a:pt x="3862" y="9432"/>
                      <a:pt x="3862" y="9432"/>
                      <a:pt x="3862" y="9432"/>
                    </a:cubicBezTo>
                    <a:cubicBezTo>
                      <a:pt x="3915" y="9503"/>
                      <a:pt x="3915" y="9503"/>
                      <a:pt x="3915" y="9503"/>
                    </a:cubicBezTo>
                    <a:cubicBezTo>
                      <a:pt x="3869" y="9539"/>
                      <a:pt x="3869" y="9539"/>
                      <a:pt x="3869" y="9539"/>
                    </a:cubicBezTo>
                    <a:lnTo>
                      <a:pt x="3937" y="9629"/>
                    </a:lnTo>
                    <a:close/>
                    <a:moveTo>
                      <a:pt x="3980" y="6951"/>
                    </a:moveTo>
                    <a:cubicBezTo>
                      <a:pt x="3950" y="6913"/>
                      <a:pt x="3950" y="6913"/>
                      <a:pt x="3950" y="6913"/>
                    </a:cubicBezTo>
                    <a:cubicBezTo>
                      <a:pt x="3979" y="6848"/>
                      <a:pt x="3979" y="6848"/>
                      <a:pt x="3979" y="6848"/>
                    </a:cubicBezTo>
                    <a:cubicBezTo>
                      <a:pt x="4067" y="6888"/>
                      <a:pt x="4067" y="6888"/>
                      <a:pt x="4067" y="6888"/>
                    </a:cubicBezTo>
                    <a:cubicBezTo>
                      <a:pt x="4050" y="6938"/>
                      <a:pt x="4050" y="6938"/>
                      <a:pt x="4050" y="6938"/>
                    </a:cubicBezTo>
                    <a:cubicBezTo>
                      <a:pt x="4068" y="6978"/>
                      <a:pt x="4068" y="6978"/>
                      <a:pt x="4068" y="6978"/>
                    </a:cubicBezTo>
                    <a:cubicBezTo>
                      <a:pt x="4046" y="7039"/>
                      <a:pt x="4046" y="7039"/>
                      <a:pt x="4046" y="7039"/>
                    </a:cubicBezTo>
                    <a:cubicBezTo>
                      <a:pt x="3957" y="7004"/>
                      <a:pt x="3957" y="7004"/>
                      <a:pt x="3957" y="7004"/>
                    </a:cubicBezTo>
                    <a:lnTo>
                      <a:pt x="3980" y="6951"/>
                    </a:lnTo>
                    <a:close/>
                    <a:moveTo>
                      <a:pt x="3991" y="6943"/>
                    </a:moveTo>
                    <a:cubicBezTo>
                      <a:pt x="3996" y="6949"/>
                      <a:pt x="3996" y="6949"/>
                      <a:pt x="3996" y="6949"/>
                    </a:cubicBezTo>
                    <a:cubicBezTo>
                      <a:pt x="3992" y="6957"/>
                      <a:pt x="3992" y="6957"/>
                      <a:pt x="3992" y="6957"/>
                    </a:cubicBezTo>
                    <a:cubicBezTo>
                      <a:pt x="3976" y="6996"/>
                      <a:pt x="3976" y="6996"/>
                      <a:pt x="3976" y="6996"/>
                    </a:cubicBezTo>
                    <a:cubicBezTo>
                      <a:pt x="4038" y="7021"/>
                      <a:pt x="4038" y="7021"/>
                      <a:pt x="4038" y="7021"/>
                    </a:cubicBezTo>
                    <a:cubicBezTo>
                      <a:pt x="4053" y="6978"/>
                      <a:pt x="4053" y="6978"/>
                      <a:pt x="4053" y="6978"/>
                    </a:cubicBezTo>
                    <a:cubicBezTo>
                      <a:pt x="4037" y="6943"/>
                      <a:pt x="4037" y="6943"/>
                      <a:pt x="4037" y="6943"/>
                    </a:cubicBezTo>
                    <a:cubicBezTo>
                      <a:pt x="4035" y="6938"/>
                      <a:pt x="4035" y="6938"/>
                      <a:pt x="4035" y="6938"/>
                    </a:cubicBezTo>
                    <a:cubicBezTo>
                      <a:pt x="4037" y="6933"/>
                      <a:pt x="4037" y="6933"/>
                      <a:pt x="4037" y="6933"/>
                    </a:cubicBezTo>
                    <a:cubicBezTo>
                      <a:pt x="4050" y="6896"/>
                      <a:pt x="4050" y="6896"/>
                      <a:pt x="4050" y="6896"/>
                    </a:cubicBezTo>
                    <a:cubicBezTo>
                      <a:pt x="3986" y="6867"/>
                      <a:pt x="3986" y="6867"/>
                      <a:pt x="3986" y="6867"/>
                    </a:cubicBezTo>
                    <a:cubicBezTo>
                      <a:pt x="3966" y="6911"/>
                      <a:pt x="3966" y="6911"/>
                      <a:pt x="3966" y="6911"/>
                    </a:cubicBezTo>
                    <a:lnTo>
                      <a:pt x="3991" y="6943"/>
                    </a:lnTo>
                    <a:close/>
                    <a:moveTo>
                      <a:pt x="3728" y="7150"/>
                    </a:moveTo>
                    <a:cubicBezTo>
                      <a:pt x="3833" y="7172"/>
                      <a:pt x="3833" y="7172"/>
                      <a:pt x="3833" y="7172"/>
                    </a:cubicBezTo>
                    <a:cubicBezTo>
                      <a:pt x="3822" y="7182"/>
                      <a:pt x="3822" y="7182"/>
                      <a:pt x="3822" y="7182"/>
                    </a:cubicBezTo>
                    <a:cubicBezTo>
                      <a:pt x="3742" y="7257"/>
                      <a:pt x="3742" y="7257"/>
                      <a:pt x="3742" y="7257"/>
                    </a:cubicBezTo>
                    <a:cubicBezTo>
                      <a:pt x="3700" y="7240"/>
                      <a:pt x="3700" y="7240"/>
                      <a:pt x="3700" y="7240"/>
                    </a:cubicBezTo>
                    <a:lnTo>
                      <a:pt x="3728" y="7150"/>
                    </a:lnTo>
                    <a:close/>
                    <a:moveTo>
                      <a:pt x="3738" y="7167"/>
                    </a:moveTo>
                    <a:cubicBezTo>
                      <a:pt x="3718" y="7231"/>
                      <a:pt x="3718" y="7231"/>
                      <a:pt x="3718" y="7231"/>
                    </a:cubicBezTo>
                    <a:cubicBezTo>
                      <a:pt x="3738" y="7239"/>
                      <a:pt x="3738" y="7239"/>
                      <a:pt x="3738" y="7239"/>
                    </a:cubicBezTo>
                    <a:cubicBezTo>
                      <a:pt x="3802" y="7180"/>
                      <a:pt x="3802" y="7180"/>
                      <a:pt x="3802" y="7180"/>
                    </a:cubicBezTo>
                    <a:lnTo>
                      <a:pt x="3738" y="7167"/>
                    </a:lnTo>
                    <a:close/>
                    <a:moveTo>
                      <a:pt x="6896" y="10514"/>
                    </a:moveTo>
                    <a:cubicBezTo>
                      <a:pt x="6839" y="10504"/>
                      <a:pt x="6839" y="10504"/>
                      <a:pt x="6839" y="10504"/>
                    </a:cubicBezTo>
                    <a:cubicBezTo>
                      <a:pt x="6840" y="10498"/>
                      <a:pt x="6840" y="10498"/>
                      <a:pt x="6840" y="10498"/>
                    </a:cubicBezTo>
                    <a:cubicBezTo>
                      <a:pt x="6855" y="10382"/>
                      <a:pt x="6855" y="10382"/>
                      <a:pt x="6855" y="10382"/>
                    </a:cubicBezTo>
                    <a:cubicBezTo>
                      <a:pt x="6969" y="10400"/>
                      <a:pt x="6969" y="10400"/>
                      <a:pt x="6969" y="10400"/>
                    </a:cubicBezTo>
                    <a:cubicBezTo>
                      <a:pt x="6967" y="10414"/>
                      <a:pt x="6967" y="10414"/>
                      <a:pt x="6967" y="10414"/>
                    </a:cubicBezTo>
                    <a:cubicBezTo>
                      <a:pt x="7018" y="10421"/>
                      <a:pt x="7018" y="10421"/>
                      <a:pt x="7018" y="10421"/>
                    </a:cubicBezTo>
                    <a:cubicBezTo>
                      <a:pt x="6993" y="10605"/>
                      <a:pt x="6993" y="10605"/>
                      <a:pt x="6993" y="10605"/>
                    </a:cubicBezTo>
                    <a:cubicBezTo>
                      <a:pt x="6884" y="10590"/>
                      <a:pt x="6884" y="10590"/>
                      <a:pt x="6884" y="10590"/>
                    </a:cubicBezTo>
                    <a:lnTo>
                      <a:pt x="6896" y="10514"/>
                    </a:lnTo>
                    <a:close/>
                    <a:moveTo>
                      <a:pt x="6911" y="10503"/>
                    </a:moveTo>
                    <a:cubicBezTo>
                      <a:pt x="6899" y="10579"/>
                      <a:pt x="6899" y="10579"/>
                      <a:pt x="6899" y="10579"/>
                    </a:cubicBezTo>
                    <a:cubicBezTo>
                      <a:pt x="6982" y="10590"/>
                      <a:pt x="6982" y="10590"/>
                      <a:pt x="6982" y="10590"/>
                    </a:cubicBezTo>
                    <a:cubicBezTo>
                      <a:pt x="7003" y="10433"/>
                      <a:pt x="7003" y="10433"/>
                      <a:pt x="7003" y="10433"/>
                    </a:cubicBezTo>
                    <a:cubicBezTo>
                      <a:pt x="6951" y="10426"/>
                      <a:pt x="6951" y="10426"/>
                      <a:pt x="6951" y="10426"/>
                    </a:cubicBezTo>
                    <a:cubicBezTo>
                      <a:pt x="6954" y="10411"/>
                      <a:pt x="6954" y="10411"/>
                      <a:pt x="6954" y="10411"/>
                    </a:cubicBezTo>
                    <a:cubicBezTo>
                      <a:pt x="6866" y="10397"/>
                      <a:pt x="6866" y="10397"/>
                      <a:pt x="6866" y="10397"/>
                    </a:cubicBezTo>
                    <a:cubicBezTo>
                      <a:pt x="6854" y="10493"/>
                      <a:pt x="6854" y="10493"/>
                      <a:pt x="6854" y="10493"/>
                    </a:cubicBezTo>
                    <a:lnTo>
                      <a:pt x="6911" y="10503"/>
                    </a:lnTo>
                    <a:close/>
                    <a:moveTo>
                      <a:pt x="4088" y="7329"/>
                    </a:moveTo>
                    <a:cubicBezTo>
                      <a:pt x="4075" y="7350"/>
                      <a:pt x="4075" y="7350"/>
                      <a:pt x="4075" y="7350"/>
                    </a:cubicBezTo>
                    <a:cubicBezTo>
                      <a:pt x="4032" y="7320"/>
                      <a:pt x="4032" y="7320"/>
                      <a:pt x="4032" y="7320"/>
                    </a:cubicBezTo>
                    <a:cubicBezTo>
                      <a:pt x="4189" y="7062"/>
                      <a:pt x="4189" y="7062"/>
                      <a:pt x="4189" y="7062"/>
                    </a:cubicBezTo>
                    <a:cubicBezTo>
                      <a:pt x="4233" y="7089"/>
                      <a:pt x="4233" y="7089"/>
                      <a:pt x="4233" y="7089"/>
                    </a:cubicBezTo>
                    <a:cubicBezTo>
                      <a:pt x="4189" y="7163"/>
                      <a:pt x="4189" y="7163"/>
                      <a:pt x="4189" y="7163"/>
                    </a:cubicBezTo>
                    <a:cubicBezTo>
                      <a:pt x="4143" y="7335"/>
                      <a:pt x="4143" y="7335"/>
                      <a:pt x="4143" y="7335"/>
                    </a:cubicBezTo>
                    <a:lnTo>
                      <a:pt x="4088" y="7329"/>
                    </a:lnTo>
                    <a:close/>
                    <a:moveTo>
                      <a:pt x="4081" y="7314"/>
                    </a:moveTo>
                    <a:cubicBezTo>
                      <a:pt x="4089" y="7315"/>
                      <a:pt x="4089" y="7315"/>
                      <a:pt x="4089" y="7315"/>
                    </a:cubicBezTo>
                    <a:cubicBezTo>
                      <a:pt x="4132" y="7320"/>
                      <a:pt x="4132" y="7320"/>
                      <a:pt x="4132" y="7320"/>
                    </a:cubicBezTo>
                    <a:cubicBezTo>
                      <a:pt x="4175" y="7159"/>
                      <a:pt x="4175" y="7159"/>
                      <a:pt x="4175" y="7159"/>
                    </a:cubicBezTo>
                    <a:cubicBezTo>
                      <a:pt x="4176" y="7158"/>
                      <a:pt x="4176" y="7158"/>
                      <a:pt x="4176" y="7158"/>
                    </a:cubicBezTo>
                    <a:cubicBezTo>
                      <a:pt x="4177" y="7156"/>
                      <a:pt x="4177" y="7156"/>
                      <a:pt x="4177" y="7156"/>
                    </a:cubicBezTo>
                    <a:cubicBezTo>
                      <a:pt x="4214" y="7093"/>
                      <a:pt x="4214" y="7093"/>
                      <a:pt x="4214" y="7093"/>
                    </a:cubicBezTo>
                    <a:cubicBezTo>
                      <a:pt x="4193" y="7081"/>
                      <a:pt x="4193" y="7081"/>
                      <a:pt x="4193" y="7081"/>
                    </a:cubicBezTo>
                    <a:cubicBezTo>
                      <a:pt x="4051" y="7316"/>
                      <a:pt x="4051" y="7316"/>
                      <a:pt x="4051" y="7316"/>
                    </a:cubicBezTo>
                    <a:cubicBezTo>
                      <a:pt x="4071" y="7330"/>
                      <a:pt x="4071" y="7330"/>
                      <a:pt x="4071" y="7330"/>
                    </a:cubicBezTo>
                    <a:cubicBezTo>
                      <a:pt x="4076" y="7322"/>
                      <a:pt x="4076" y="7322"/>
                      <a:pt x="4076" y="7322"/>
                    </a:cubicBezTo>
                    <a:lnTo>
                      <a:pt x="4081" y="7314"/>
                    </a:lnTo>
                    <a:close/>
                    <a:moveTo>
                      <a:pt x="4120" y="6878"/>
                    </a:moveTo>
                    <a:cubicBezTo>
                      <a:pt x="4033" y="6838"/>
                      <a:pt x="4033" y="6838"/>
                      <a:pt x="4033" y="6838"/>
                    </a:cubicBezTo>
                    <a:cubicBezTo>
                      <a:pt x="4063" y="6773"/>
                      <a:pt x="4063" y="6773"/>
                      <a:pt x="4063" y="6773"/>
                    </a:cubicBezTo>
                    <a:cubicBezTo>
                      <a:pt x="4107" y="6759"/>
                      <a:pt x="4107" y="6759"/>
                      <a:pt x="4107" y="6759"/>
                    </a:cubicBezTo>
                    <a:cubicBezTo>
                      <a:pt x="4131" y="6714"/>
                      <a:pt x="4131" y="6714"/>
                      <a:pt x="4131" y="6714"/>
                    </a:cubicBezTo>
                    <a:cubicBezTo>
                      <a:pt x="4217" y="6754"/>
                      <a:pt x="4217" y="6754"/>
                      <a:pt x="4217" y="6754"/>
                    </a:cubicBezTo>
                    <a:cubicBezTo>
                      <a:pt x="4191" y="6821"/>
                      <a:pt x="4191" y="6821"/>
                      <a:pt x="4191" y="6821"/>
                    </a:cubicBezTo>
                    <a:cubicBezTo>
                      <a:pt x="4143" y="6825"/>
                      <a:pt x="4143" y="6825"/>
                      <a:pt x="4143" y="6825"/>
                    </a:cubicBezTo>
                    <a:lnTo>
                      <a:pt x="4120" y="6878"/>
                    </a:lnTo>
                    <a:close/>
                    <a:moveTo>
                      <a:pt x="4113" y="6859"/>
                    </a:moveTo>
                    <a:cubicBezTo>
                      <a:pt x="4130" y="6820"/>
                      <a:pt x="4130" y="6820"/>
                      <a:pt x="4130" y="6820"/>
                    </a:cubicBezTo>
                    <a:cubicBezTo>
                      <a:pt x="4133" y="6812"/>
                      <a:pt x="4133" y="6812"/>
                      <a:pt x="4133" y="6812"/>
                    </a:cubicBezTo>
                    <a:cubicBezTo>
                      <a:pt x="4141" y="6812"/>
                      <a:pt x="4141" y="6812"/>
                      <a:pt x="4141" y="6812"/>
                    </a:cubicBezTo>
                    <a:cubicBezTo>
                      <a:pt x="4181" y="6808"/>
                      <a:pt x="4181" y="6808"/>
                      <a:pt x="4181" y="6808"/>
                    </a:cubicBezTo>
                    <a:cubicBezTo>
                      <a:pt x="4199" y="6762"/>
                      <a:pt x="4199" y="6762"/>
                      <a:pt x="4199" y="6762"/>
                    </a:cubicBezTo>
                    <a:cubicBezTo>
                      <a:pt x="4137" y="6733"/>
                      <a:pt x="4137" y="6733"/>
                      <a:pt x="4137" y="6733"/>
                    </a:cubicBezTo>
                    <a:cubicBezTo>
                      <a:pt x="4120" y="6766"/>
                      <a:pt x="4120" y="6766"/>
                      <a:pt x="4120" y="6766"/>
                    </a:cubicBezTo>
                    <a:cubicBezTo>
                      <a:pt x="4117" y="6771"/>
                      <a:pt x="4117" y="6771"/>
                      <a:pt x="4117" y="6771"/>
                    </a:cubicBezTo>
                    <a:cubicBezTo>
                      <a:pt x="4111" y="6772"/>
                      <a:pt x="4111" y="6772"/>
                      <a:pt x="4111" y="6772"/>
                    </a:cubicBezTo>
                    <a:cubicBezTo>
                      <a:pt x="4073" y="6784"/>
                      <a:pt x="4073" y="6784"/>
                      <a:pt x="4073" y="6784"/>
                    </a:cubicBezTo>
                    <a:cubicBezTo>
                      <a:pt x="4051" y="6831"/>
                      <a:pt x="4051" y="6831"/>
                      <a:pt x="4051" y="6831"/>
                    </a:cubicBezTo>
                    <a:lnTo>
                      <a:pt x="4113" y="6859"/>
                    </a:lnTo>
                    <a:close/>
                    <a:moveTo>
                      <a:pt x="4206" y="6696"/>
                    </a:moveTo>
                    <a:cubicBezTo>
                      <a:pt x="4175" y="6640"/>
                      <a:pt x="4175" y="6640"/>
                      <a:pt x="4175" y="6640"/>
                    </a:cubicBezTo>
                    <a:cubicBezTo>
                      <a:pt x="4261" y="6604"/>
                      <a:pt x="4261" y="6604"/>
                      <a:pt x="4261" y="6604"/>
                    </a:cubicBezTo>
                    <a:cubicBezTo>
                      <a:pt x="4288" y="6662"/>
                      <a:pt x="4288" y="6662"/>
                      <a:pt x="4288" y="6662"/>
                    </a:cubicBezTo>
                    <a:cubicBezTo>
                      <a:pt x="4281" y="6665"/>
                      <a:pt x="4281" y="6665"/>
                      <a:pt x="4281" y="6665"/>
                    </a:cubicBezTo>
                    <a:lnTo>
                      <a:pt x="4206" y="6696"/>
                    </a:lnTo>
                    <a:close/>
                    <a:moveTo>
                      <a:pt x="4194" y="6646"/>
                    </a:moveTo>
                    <a:cubicBezTo>
                      <a:pt x="4212" y="6679"/>
                      <a:pt x="4212" y="6679"/>
                      <a:pt x="4212" y="6679"/>
                    </a:cubicBezTo>
                    <a:cubicBezTo>
                      <a:pt x="4270" y="6655"/>
                      <a:pt x="4270" y="6655"/>
                      <a:pt x="4270" y="6655"/>
                    </a:cubicBezTo>
                    <a:cubicBezTo>
                      <a:pt x="4254" y="6621"/>
                      <a:pt x="4254" y="6621"/>
                      <a:pt x="4254" y="6621"/>
                    </a:cubicBezTo>
                    <a:lnTo>
                      <a:pt x="4194" y="6646"/>
                    </a:lnTo>
                    <a:close/>
                    <a:moveTo>
                      <a:pt x="1001" y="10139"/>
                    </a:moveTo>
                    <a:cubicBezTo>
                      <a:pt x="935" y="10035"/>
                      <a:pt x="935" y="10035"/>
                      <a:pt x="935" y="10035"/>
                    </a:cubicBezTo>
                    <a:cubicBezTo>
                      <a:pt x="1215" y="9885"/>
                      <a:pt x="1215" y="9885"/>
                      <a:pt x="1215" y="9885"/>
                    </a:cubicBezTo>
                    <a:cubicBezTo>
                      <a:pt x="1571" y="10193"/>
                      <a:pt x="1571" y="10193"/>
                      <a:pt x="1571" y="10193"/>
                    </a:cubicBezTo>
                    <a:cubicBezTo>
                      <a:pt x="1561" y="10316"/>
                      <a:pt x="1561" y="10316"/>
                      <a:pt x="1561" y="10316"/>
                    </a:cubicBezTo>
                    <a:cubicBezTo>
                      <a:pt x="1414" y="10303"/>
                      <a:pt x="1414" y="10303"/>
                      <a:pt x="1414" y="10303"/>
                    </a:cubicBezTo>
                    <a:cubicBezTo>
                      <a:pt x="1307" y="10198"/>
                      <a:pt x="1307" y="10198"/>
                      <a:pt x="1307" y="10198"/>
                    </a:cubicBezTo>
                    <a:cubicBezTo>
                      <a:pt x="1327" y="10182"/>
                      <a:pt x="1327" y="10182"/>
                      <a:pt x="1327" y="10182"/>
                    </a:cubicBezTo>
                    <a:cubicBezTo>
                      <a:pt x="1156" y="10017"/>
                      <a:pt x="1156" y="10017"/>
                      <a:pt x="1156" y="10017"/>
                    </a:cubicBezTo>
                    <a:cubicBezTo>
                      <a:pt x="1107" y="10044"/>
                      <a:pt x="1107" y="10044"/>
                      <a:pt x="1107" y="10044"/>
                    </a:cubicBezTo>
                    <a:cubicBezTo>
                      <a:pt x="1127" y="10079"/>
                      <a:pt x="1127" y="10079"/>
                      <a:pt x="1127" y="10079"/>
                    </a:cubicBezTo>
                    <a:lnTo>
                      <a:pt x="1001" y="10139"/>
                    </a:lnTo>
                    <a:close/>
                    <a:moveTo>
                      <a:pt x="955" y="10040"/>
                    </a:moveTo>
                    <a:cubicBezTo>
                      <a:pt x="1006" y="10122"/>
                      <a:pt x="1006" y="10122"/>
                      <a:pt x="1006" y="10122"/>
                    </a:cubicBezTo>
                    <a:cubicBezTo>
                      <a:pt x="1108" y="10073"/>
                      <a:pt x="1108" y="10073"/>
                      <a:pt x="1108" y="10073"/>
                    </a:cubicBezTo>
                    <a:cubicBezTo>
                      <a:pt x="1095" y="10051"/>
                      <a:pt x="1095" y="10051"/>
                      <a:pt x="1095" y="10051"/>
                    </a:cubicBezTo>
                    <a:cubicBezTo>
                      <a:pt x="1088" y="10038"/>
                      <a:pt x="1088" y="10038"/>
                      <a:pt x="1088" y="10038"/>
                    </a:cubicBezTo>
                    <a:cubicBezTo>
                      <a:pt x="1101" y="10032"/>
                      <a:pt x="1101" y="10032"/>
                      <a:pt x="1101" y="10032"/>
                    </a:cubicBezTo>
                    <a:cubicBezTo>
                      <a:pt x="1149" y="10005"/>
                      <a:pt x="1149" y="10005"/>
                      <a:pt x="1149" y="10005"/>
                    </a:cubicBezTo>
                    <a:cubicBezTo>
                      <a:pt x="1158" y="10000"/>
                      <a:pt x="1158" y="10000"/>
                      <a:pt x="1158" y="10000"/>
                    </a:cubicBezTo>
                    <a:cubicBezTo>
                      <a:pt x="1166" y="10007"/>
                      <a:pt x="1166" y="10007"/>
                      <a:pt x="1166" y="10007"/>
                    </a:cubicBezTo>
                    <a:cubicBezTo>
                      <a:pt x="1337" y="10172"/>
                      <a:pt x="1337" y="10172"/>
                      <a:pt x="1337" y="10172"/>
                    </a:cubicBezTo>
                    <a:cubicBezTo>
                      <a:pt x="1349" y="10183"/>
                      <a:pt x="1349" y="10183"/>
                      <a:pt x="1349" y="10183"/>
                    </a:cubicBezTo>
                    <a:cubicBezTo>
                      <a:pt x="1336" y="10193"/>
                      <a:pt x="1336" y="10193"/>
                      <a:pt x="1336" y="10193"/>
                    </a:cubicBezTo>
                    <a:cubicBezTo>
                      <a:pt x="1328" y="10199"/>
                      <a:pt x="1328" y="10199"/>
                      <a:pt x="1328" y="10199"/>
                    </a:cubicBezTo>
                    <a:cubicBezTo>
                      <a:pt x="1420" y="10289"/>
                      <a:pt x="1420" y="10289"/>
                      <a:pt x="1420" y="10289"/>
                    </a:cubicBezTo>
                    <a:cubicBezTo>
                      <a:pt x="1548" y="10301"/>
                      <a:pt x="1548" y="10301"/>
                      <a:pt x="1548" y="10301"/>
                    </a:cubicBezTo>
                    <a:cubicBezTo>
                      <a:pt x="1556" y="10199"/>
                      <a:pt x="1556" y="10199"/>
                      <a:pt x="1556" y="10199"/>
                    </a:cubicBezTo>
                    <a:cubicBezTo>
                      <a:pt x="1214" y="9902"/>
                      <a:pt x="1214" y="9902"/>
                      <a:pt x="1214" y="9902"/>
                    </a:cubicBezTo>
                    <a:lnTo>
                      <a:pt x="955" y="10040"/>
                    </a:lnTo>
                    <a:close/>
                    <a:moveTo>
                      <a:pt x="3244" y="6445"/>
                    </a:moveTo>
                    <a:cubicBezTo>
                      <a:pt x="3294" y="6364"/>
                      <a:pt x="3294" y="6364"/>
                      <a:pt x="3294" y="6364"/>
                    </a:cubicBezTo>
                    <a:cubicBezTo>
                      <a:pt x="3466" y="6504"/>
                      <a:pt x="3466" y="6504"/>
                      <a:pt x="3466" y="6504"/>
                    </a:cubicBezTo>
                    <a:cubicBezTo>
                      <a:pt x="3432" y="6495"/>
                      <a:pt x="3432" y="6495"/>
                      <a:pt x="3432" y="6495"/>
                    </a:cubicBezTo>
                    <a:lnTo>
                      <a:pt x="3244" y="6445"/>
                    </a:lnTo>
                    <a:close/>
                    <a:moveTo>
                      <a:pt x="3267" y="6436"/>
                    </a:moveTo>
                    <a:cubicBezTo>
                      <a:pt x="3403" y="6472"/>
                      <a:pt x="3403" y="6472"/>
                      <a:pt x="3403" y="6472"/>
                    </a:cubicBezTo>
                    <a:cubicBezTo>
                      <a:pt x="3298" y="6386"/>
                      <a:pt x="3298" y="6386"/>
                      <a:pt x="3298" y="6386"/>
                    </a:cubicBezTo>
                    <a:lnTo>
                      <a:pt x="3267" y="6436"/>
                    </a:lnTo>
                    <a:close/>
                    <a:moveTo>
                      <a:pt x="1102" y="8750"/>
                    </a:moveTo>
                    <a:cubicBezTo>
                      <a:pt x="1154" y="8682"/>
                      <a:pt x="1154" y="8682"/>
                      <a:pt x="1154" y="8682"/>
                    </a:cubicBezTo>
                    <a:cubicBezTo>
                      <a:pt x="1294" y="8793"/>
                      <a:pt x="1294" y="8793"/>
                      <a:pt x="1294" y="8793"/>
                    </a:cubicBezTo>
                    <a:cubicBezTo>
                      <a:pt x="1240" y="8861"/>
                      <a:pt x="1240" y="8861"/>
                      <a:pt x="1240" y="8861"/>
                    </a:cubicBezTo>
                    <a:lnTo>
                      <a:pt x="1102" y="8750"/>
                    </a:lnTo>
                    <a:close/>
                    <a:moveTo>
                      <a:pt x="1122" y="8747"/>
                    </a:moveTo>
                    <a:cubicBezTo>
                      <a:pt x="1237" y="8841"/>
                      <a:pt x="1237" y="8841"/>
                      <a:pt x="1237" y="8841"/>
                    </a:cubicBezTo>
                    <a:cubicBezTo>
                      <a:pt x="1274" y="8795"/>
                      <a:pt x="1274" y="8795"/>
                      <a:pt x="1274" y="8795"/>
                    </a:cubicBezTo>
                    <a:cubicBezTo>
                      <a:pt x="1156" y="8702"/>
                      <a:pt x="1156" y="8702"/>
                      <a:pt x="1156" y="8702"/>
                    </a:cubicBezTo>
                    <a:lnTo>
                      <a:pt x="1122" y="8747"/>
                    </a:lnTo>
                    <a:close/>
                    <a:moveTo>
                      <a:pt x="8428" y="7514"/>
                    </a:moveTo>
                    <a:cubicBezTo>
                      <a:pt x="8526" y="7621"/>
                      <a:pt x="8526" y="7621"/>
                      <a:pt x="8526" y="7621"/>
                    </a:cubicBezTo>
                    <a:cubicBezTo>
                      <a:pt x="8471" y="7672"/>
                      <a:pt x="8471" y="7672"/>
                      <a:pt x="8471" y="7672"/>
                    </a:cubicBezTo>
                    <a:cubicBezTo>
                      <a:pt x="8368" y="7561"/>
                      <a:pt x="8368" y="7561"/>
                      <a:pt x="8368" y="7561"/>
                    </a:cubicBezTo>
                    <a:cubicBezTo>
                      <a:pt x="8423" y="7510"/>
                      <a:pt x="8423" y="7510"/>
                      <a:pt x="8423" y="7510"/>
                    </a:cubicBezTo>
                    <a:lnTo>
                      <a:pt x="8428" y="7514"/>
                    </a:lnTo>
                    <a:close/>
                    <a:moveTo>
                      <a:pt x="8508" y="7620"/>
                    </a:moveTo>
                    <a:cubicBezTo>
                      <a:pt x="8423" y="7528"/>
                      <a:pt x="8423" y="7528"/>
                      <a:pt x="8423" y="7528"/>
                    </a:cubicBezTo>
                    <a:cubicBezTo>
                      <a:pt x="8386" y="7562"/>
                      <a:pt x="8386" y="7562"/>
                      <a:pt x="8386" y="7562"/>
                    </a:cubicBezTo>
                    <a:cubicBezTo>
                      <a:pt x="8471" y="7654"/>
                      <a:pt x="8471" y="7654"/>
                      <a:pt x="8471" y="7654"/>
                    </a:cubicBezTo>
                    <a:lnTo>
                      <a:pt x="8508" y="7620"/>
                    </a:lnTo>
                    <a:close/>
                    <a:moveTo>
                      <a:pt x="8427" y="7911"/>
                    </a:moveTo>
                    <a:cubicBezTo>
                      <a:pt x="8324" y="7799"/>
                      <a:pt x="8324" y="7799"/>
                      <a:pt x="8324" y="7799"/>
                    </a:cubicBezTo>
                    <a:cubicBezTo>
                      <a:pt x="8379" y="7748"/>
                      <a:pt x="8379" y="7748"/>
                      <a:pt x="8379" y="7748"/>
                    </a:cubicBezTo>
                    <a:cubicBezTo>
                      <a:pt x="8384" y="7753"/>
                      <a:pt x="8384" y="7753"/>
                      <a:pt x="8384" y="7753"/>
                    </a:cubicBezTo>
                    <a:cubicBezTo>
                      <a:pt x="8482" y="7859"/>
                      <a:pt x="8482" y="7859"/>
                      <a:pt x="8482" y="7859"/>
                    </a:cubicBezTo>
                    <a:lnTo>
                      <a:pt x="8427" y="7911"/>
                    </a:lnTo>
                    <a:close/>
                    <a:moveTo>
                      <a:pt x="8342" y="7800"/>
                    </a:moveTo>
                    <a:cubicBezTo>
                      <a:pt x="8427" y="7892"/>
                      <a:pt x="8427" y="7892"/>
                      <a:pt x="8427" y="7892"/>
                    </a:cubicBezTo>
                    <a:cubicBezTo>
                      <a:pt x="8464" y="7858"/>
                      <a:pt x="8464" y="7858"/>
                      <a:pt x="8464" y="7858"/>
                    </a:cubicBezTo>
                    <a:cubicBezTo>
                      <a:pt x="8379" y="7766"/>
                      <a:pt x="8379" y="7766"/>
                      <a:pt x="8379" y="7766"/>
                    </a:cubicBezTo>
                    <a:lnTo>
                      <a:pt x="8342" y="7800"/>
                    </a:lnTo>
                    <a:close/>
                    <a:moveTo>
                      <a:pt x="1196" y="8025"/>
                    </a:moveTo>
                    <a:cubicBezTo>
                      <a:pt x="1291" y="8164"/>
                      <a:pt x="1291" y="8164"/>
                      <a:pt x="1291" y="8164"/>
                    </a:cubicBezTo>
                    <a:cubicBezTo>
                      <a:pt x="1274" y="8276"/>
                      <a:pt x="1274" y="8276"/>
                      <a:pt x="1274" y="8276"/>
                    </a:cubicBezTo>
                    <a:cubicBezTo>
                      <a:pt x="1119" y="8277"/>
                      <a:pt x="1119" y="8277"/>
                      <a:pt x="1119" y="8277"/>
                    </a:cubicBezTo>
                    <a:cubicBezTo>
                      <a:pt x="1127" y="8083"/>
                      <a:pt x="1127" y="8083"/>
                      <a:pt x="1127" y="8083"/>
                    </a:cubicBezTo>
                    <a:lnTo>
                      <a:pt x="1196" y="8025"/>
                    </a:lnTo>
                    <a:close/>
                    <a:moveTo>
                      <a:pt x="1277" y="8167"/>
                    </a:moveTo>
                    <a:cubicBezTo>
                      <a:pt x="1194" y="8046"/>
                      <a:pt x="1194" y="8046"/>
                      <a:pt x="1194" y="8046"/>
                    </a:cubicBezTo>
                    <a:cubicBezTo>
                      <a:pt x="1141" y="8090"/>
                      <a:pt x="1141" y="8090"/>
                      <a:pt x="1141" y="8090"/>
                    </a:cubicBezTo>
                    <a:cubicBezTo>
                      <a:pt x="1133" y="8263"/>
                      <a:pt x="1133" y="8263"/>
                      <a:pt x="1133" y="8263"/>
                    </a:cubicBezTo>
                    <a:cubicBezTo>
                      <a:pt x="1262" y="8262"/>
                      <a:pt x="1262" y="8262"/>
                      <a:pt x="1262" y="8262"/>
                    </a:cubicBezTo>
                    <a:lnTo>
                      <a:pt x="1277" y="8167"/>
                    </a:lnTo>
                    <a:close/>
                    <a:moveTo>
                      <a:pt x="1375" y="7878"/>
                    </a:moveTo>
                    <a:cubicBezTo>
                      <a:pt x="1490" y="7711"/>
                      <a:pt x="1490" y="7711"/>
                      <a:pt x="1490" y="7711"/>
                    </a:cubicBezTo>
                    <a:cubicBezTo>
                      <a:pt x="1566" y="7799"/>
                      <a:pt x="1566" y="7799"/>
                      <a:pt x="1566" y="7799"/>
                    </a:cubicBezTo>
                    <a:cubicBezTo>
                      <a:pt x="1566" y="7799"/>
                      <a:pt x="1768" y="7812"/>
                      <a:pt x="1772" y="7812"/>
                    </a:cubicBezTo>
                    <a:cubicBezTo>
                      <a:pt x="1766" y="7865"/>
                      <a:pt x="1766" y="7865"/>
                      <a:pt x="1766" y="7865"/>
                    </a:cubicBezTo>
                    <a:cubicBezTo>
                      <a:pt x="1766" y="7865"/>
                      <a:pt x="1719" y="7904"/>
                      <a:pt x="1722" y="7904"/>
                    </a:cubicBezTo>
                    <a:cubicBezTo>
                      <a:pt x="1725" y="7904"/>
                      <a:pt x="1615" y="7900"/>
                      <a:pt x="1615" y="7900"/>
                    </a:cubicBezTo>
                    <a:cubicBezTo>
                      <a:pt x="1583" y="7923"/>
                      <a:pt x="1583" y="7923"/>
                      <a:pt x="1583" y="7923"/>
                    </a:cubicBezTo>
                    <a:cubicBezTo>
                      <a:pt x="1631" y="7979"/>
                      <a:pt x="1631" y="7979"/>
                      <a:pt x="1631" y="7979"/>
                    </a:cubicBezTo>
                    <a:cubicBezTo>
                      <a:pt x="1533" y="8064"/>
                      <a:pt x="1533" y="8064"/>
                      <a:pt x="1533" y="8064"/>
                    </a:cubicBezTo>
                    <a:lnTo>
                      <a:pt x="1375" y="7878"/>
                    </a:lnTo>
                    <a:close/>
                    <a:moveTo>
                      <a:pt x="1393" y="7877"/>
                    </a:moveTo>
                    <a:cubicBezTo>
                      <a:pt x="1535" y="8045"/>
                      <a:pt x="1535" y="8045"/>
                      <a:pt x="1535" y="8045"/>
                    </a:cubicBezTo>
                    <a:cubicBezTo>
                      <a:pt x="1611" y="7978"/>
                      <a:pt x="1611" y="7978"/>
                      <a:pt x="1611" y="7978"/>
                    </a:cubicBezTo>
                    <a:cubicBezTo>
                      <a:pt x="1573" y="7932"/>
                      <a:pt x="1573" y="7932"/>
                      <a:pt x="1573" y="7932"/>
                    </a:cubicBezTo>
                    <a:cubicBezTo>
                      <a:pt x="1563" y="7920"/>
                      <a:pt x="1563" y="7920"/>
                      <a:pt x="1563" y="7920"/>
                    </a:cubicBezTo>
                    <a:cubicBezTo>
                      <a:pt x="1575" y="7912"/>
                      <a:pt x="1575" y="7912"/>
                      <a:pt x="1575" y="7912"/>
                    </a:cubicBezTo>
                    <a:cubicBezTo>
                      <a:pt x="1607" y="7889"/>
                      <a:pt x="1607" y="7889"/>
                      <a:pt x="1607" y="7889"/>
                    </a:cubicBezTo>
                    <a:cubicBezTo>
                      <a:pt x="1611" y="7886"/>
                      <a:pt x="1611" y="7886"/>
                      <a:pt x="1611" y="7886"/>
                    </a:cubicBezTo>
                    <a:cubicBezTo>
                      <a:pt x="1616" y="7887"/>
                      <a:pt x="1616" y="7887"/>
                      <a:pt x="1616" y="7887"/>
                    </a:cubicBezTo>
                    <a:cubicBezTo>
                      <a:pt x="1616" y="7887"/>
                      <a:pt x="1692" y="7889"/>
                      <a:pt x="1715" y="7889"/>
                    </a:cubicBezTo>
                    <a:cubicBezTo>
                      <a:pt x="1722" y="7883"/>
                      <a:pt x="1733" y="7873"/>
                      <a:pt x="1753" y="7857"/>
                    </a:cubicBezTo>
                    <a:cubicBezTo>
                      <a:pt x="1756" y="7825"/>
                      <a:pt x="1756" y="7825"/>
                      <a:pt x="1756" y="7825"/>
                    </a:cubicBezTo>
                    <a:cubicBezTo>
                      <a:pt x="1717" y="7823"/>
                      <a:pt x="1614" y="7816"/>
                      <a:pt x="1565" y="7813"/>
                    </a:cubicBezTo>
                    <a:cubicBezTo>
                      <a:pt x="1559" y="7812"/>
                      <a:pt x="1559" y="7812"/>
                      <a:pt x="1559" y="7812"/>
                    </a:cubicBezTo>
                    <a:cubicBezTo>
                      <a:pt x="1555" y="7808"/>
                      <a:pt x="1555" y="7808"/>
                      <a:pt x="1555" y="7808"/>
                    </a:cubicBezTo>
                    <a:cubicBezTo>
                      <a:pt x="1491" y="7734"/>
                      <a:pt x="1491" y="7734"/>
                      <a:pt x="1491" y="7734"/>
                    </a:cubicBezTo>
                    <a:lnTo>
                      <a:pt x="1393" y="7877"/>
                    </a:lnTo>
                    <a:close/>
                    <a:moveTo>
                      <a:pt x="1605" y="7724"/>
                    </a:moveTo>
                    <a:cubicBezTo>
                      <a:pt x="1545" y="7646"/>
                      <a:pt x="1545" y="7646"/>
                      <a:pt x="1545" y="7646"/>
                    </a:cubicBezTo>
                    <a:cubicBezTo>
                      <a:pt x="1690" y="7431"/>
                      <a:pt x="1690" y="7431"/>
                      <a:pt x="1690" y="7431"/>
                    </a:cubicBezTo>
                    <a:cubicBezTo>
                      <a:pt x="1729" y="7473"/>
                      <a:pt x="1729" y="7473"/>
                      <a:pt x="1729" y="7473"/>
                    </a:cubicBezTo>
                    <a:cubicBezTo>
                      <a:pt x="1674" y="7632"/>
                      <a:pt x="1674" y="7632"/>
                      <a:pt x="1674" y="7632"/>
                    </a:cubicBezTo>
                    <a:cubicBezTo>
                      <a:pt x="1709" y="7667"/>
                      <a:pt x="1709" y="7667"/>
                      <a:pt x="1709" y="7667"/>
                    </a:cubicBezTo>
                    <a:cubicBezTo>
                      <a:pt x="1700" y="7729"/>
                      <a:pt x="1700" y="7729"/>
                      <a:pt x="1700" y="7729"/>
                    </a:cubicBezTo>
                    <a:lnTo>
                      <a:pt x="1605" y="7724"/>
                    </a:lnTo>
                    <a:close/>
                    <a:moveTo>
                      <a:pt x="1563" y="7646"/>
                    </a:moveTo>
                    <a:cubicBezTo>
                      <a:pt x="1612" y="7711"/>
                      <a:pt x="1612" y="7711"/>
                      <a:pt x="1612" y="7711"/>
                    </a:cubicBezTo>
                    <a:cubicBezTo>
                      <a:pt x="1688" y="7715"/>
                      <a:pt x="1688" y="7715"/>
                      <a:pt x="1688" y="7715"/>
                    </a:cubicBezTo>
                    <a:cubicBezTo>
                      <a:pt x="1695" y="7672"/>
                      <a:pt x="1695" y="7672"/>
                      <a:pt x="1695" y="7672"/>
                    </a:cubicBezTo>
                    <a:cubicBezTo>
                      <a:pt x="1664" y="7642"/>
                      <a:pt x="1664" y="7642"/>
                      <a:pt x="1664" y="7642"/>
                    </a:cubicBezTo>
                    <a:cubicBezTo>
                      <a:pt x="1657" y="7636"/>
                      <a:pt x="1657" y="7636"/>
                      <a:pt x="1657" y="7636"/>
                    </a:cubicBezTo>
                    <a:cubicBezTo>
                      <a:pt x="1660" y="7627"/>
                      <a:pt x="1660" y="7627"/>
                      <a:pt x="1660" y="7627"/>
                    </a:cubicBezTo>
                    <a:cubicBezTo>
                      <a:pt x="1713" y="7476"/>
                      <a:pt x="1713" y="7476"/>
                      <a:pt x="1713" y="7476"/>
                    </a:cubicBezTo>
                    <a:cubicBezTo>
                      <a:pt x="1692" y="7453"/>
                      <a:pt x="1692" y="7453"/>
                      <a:pt x="1692" y="7453"/>
                    </a:cubicBezTo>
                    <a:lnTo>
                      <a:pt x="1563" y="7646"/>
                    </a:lnTo>
                    <a:close/>
                    <a:moveTo>
                      <a:pt x="2685" y="4337"/>
                    </a:moveTo>
                    <a:cubicBezTo>
                      <a:pt x="2679" y="4345"/>
                      <a:pt x="2679" y="4345"/>
                      <a:pt x="2679" y="4345"/>
                    </a:cubicBezTo>
                    <a:cubicBezTo>
                      <a:pt x="2720" y="4377"/>
                      <a:pt x="2720" y="4377"/>
                      <a:pt x="2720" y="4377"/>
                    </a:cubicBezTo>
                    <a:cubicBezTo>
                      <a:pt x="2607" y="4524"/>
                      <a:pt x="2607" y="4524"/>
                      <a:pt x="2607" y="4524"/>
                    </a:cubicBezTo>
                    <a:cubicBezTo>
                      <a:pt x="2520" y="4457"/>
                      <a:pt x="2520" y="4457"/>
                      <a:pt x="2520" y="4457"/>
                    </a:cubicBezTo>
                    <a:cubicBezTo>
                      <a:pt x="2565" y="4399"/>
                      <a:pt x="2565" y="4399"/>
                      <a:pt x="2565" y="4399"/>
                    </a:cubicBezTo>
                    <a:cubicBezTo>
                      <a:pt x="2519" y="4364"/>
                      <a:pt x="2519" y="4364"/>
                      <a:pt x="2519" y="4364"/>
                    </a:cubicBezTo>
                    <a:cubicBezTo>
                      <a:pt x="2523" y="4359"/>
                      <a:pt x="2523" y="4359"/>
                      <a:pt x="2523" y="4359"/>
                    </a:cubicBezTo>
                    <a:cubicBezTo>
                      <a:pt x="2591" y="4265"/>
                      <a:pt x="2591" y="4265"/>
                      <a:pt x="2591" y="4265"/>
                    </a:cubicBezTo>
                    <a:lnTo>
                      <a:pt x="2685" y="4337"/>
                    </a:lnTo>
                    <a:close/>
                    <a:moveTo>
                      <a:pt x="2660" y="4348"/>
                    </a:moveTo>
                    <a:cubicBezTo>
                      <a:pt x="2666" y="4339"/>
                      <a:pt x="2666" y="4339"/>
                      <a:pt x="2666" y="4339"/>
                    </a:cubicBezTo>
                    <a:cubicBezTo>
                      <a:pt x="2594" y="4284"/>
                      <a:pt x="2594" y="4284"/>
                      <a:pt x="2594" y="4284"/>
                    </a:cubicBezTo>
                    <a:cubicBezTo>
                      <a:pt x="2537" y="4362"/>
                      <a:pt x="2537" y="4362"/>
                      <a:pt x="2537" y="4362"/>
                    </a:cubicBezTo>
                    <a:cubicBezTo>
                      <a:pt x="2583" y="4397"/>
                      <a:pt x="2583" y="4397"/>
                      <a:pt x="2583" y="4397"/>
                    </a:cubicBezTo>
                    <a:cubicBezTo>
                      <a:pt x="2538" y="4455"/>
                      <a:pt x="2538" y="4455"/>
                      <a:pt x="2538" y="4455"/>
                    </a:cubicBezTo>
                    <a:cubicBezTo>
                      <a:pt x="2605" y="4506"/>
                      <a:pt x="2605" y="4506"/>
                      <a:pt x="2605" y="4506"/>
                    </a:cubicBezTo>
                    <a:cubicBezTo>
                      <a:pt x="2702" y="4379"/>
                      <a:pt x="2702" y="4379"/>
                      <a:pt x="2702" y="4379"/>
                    </a:cubicBezTo>
                    <a:lnTo>
                      <a:pt x="2660" y="4348"/>
                    </a:lnTo>
                    <a:close/>
                    <a:moveTo>
                      <a:pt x="3893" y="4757"/>
                    </a:moveTo>
                    <a:cubicBezTo>
                      <a:pt x="3817" y="4715"/>
                      <a:pt x="3817" y="4715"/>
                      <a:pt x="3817" y="4715"/>
                    </a:cubicBezTo>
                    <a:cubicBezTo>
                      <a:pt x="3917" y="4530"/>
                      <a:pt x="3917" y="4530"/>
                      <a:pt x="3917" y="4530"/>
                    </a:cubicBezTo>
                    <a:cubicBezTo>
                      <a:pt x="3923" y="4533"/>
                      <a:pt x="3923" y="4533"/>
                      <a:pt x="3923" y="4533"/>
                    </a:cubicBezTo>
                    <a:cubicBezTo>
                      <a:pt x="3993" y="4571"/>
                      <a:pt x="3993" y="4571"/>
                      <a:pt x="3993" y="4571"/>
                    </a:cubicBezTo>
                    <a:cubicBezTo>
                      <a:pt x="3971" y="4613"/>
                      <a:pt x="3971" y="4613"/>
                      <a:pt x="3971" y="4613"/>
                    </a:cubicBezTo>
                    <a:cubicBezTo>
                      <a:pt x="4008" y="4633"/>
                      <a:pt x="4008" y="4633"/>
                      <a:pt x="4008" y="4633"/>
                    </a:cubicBezTo>
                    <a:cubicBezTo>
                      <a:pt x="3953" y="4736"/>
                      <a:pt x="3953" y="4736"/>
                      <a:pt x="3953" y="4736"/>
                    </a:cubicBezTo>
                    <a:cubicBezTo>
                      <a:pt x="3915" y="4715"/>
                      <a:pt x="3915" y="4715"/>
                      <a:pt x="3915" y="4715"/>
                    </a:cubicBezTo>
                    <a:lnTo>
                      <a:pt x="3893" y="4757"/>
                    </a:lnTo>
                    <a:close/>
                    <a:moveTo>
                      <a:pt x="3887" y="4739"/>
                    </a:moveTo>
                    <a:cubicBezTo>
                      <a:pt x="3910" y="4697"/>
                      <a:pt x="3910" y="4697"/>
                      <a:pt x="3910" y="4697"/>
                    </a:cubicBezTo>
                    <a:cubicBezTo>
                      <a:pt x="3948" y="4718"/>
                      <a:pt x="3948" y="4718"/>
                      <a:pt x="3948" y="4718"/>
                    </a:cubicBezTo>
                    <a:cubicBezTo>
                      <a:pt x="3991" y="4638"/>
                      <a:pt x="3991" y="4638"/>
                      <a:pt x="3991" y="4638"/>
                    </a:cubicBezTo>
                    <a:cubicBezTo>
                      <a:pt x="3953" y="4618"/>
                      <a:pt x="3953" y="4618"/>
                      <a:pt x="3953" y="4618"/>
                    </a:cubicBezTo>
                    <a:cubicBezTo>
                      <a:pt x="3975" y="4577"/>
                      <a:pt x="3975" y="4577"/>
                      <a:pt x="3975" y="4577"/>
                    </a:cubicBezTo>
                    <a:cubicBezTo>
                      <a:pt x="3922" y="4548"/>
                      <a:pt x="3922" y="4548"/>
                      <a:pt x="3922" y="4548"/>
                    </a:cubicBezTo>
                    <a:cubicBezTo>
                      <a:pt x="3835" y="4710"/>
                      <a:pt x="3835" y="4710"/>
                      <a:pt x="3835" y="4710"/>
                    </a:cubicBezTo>
                    <a:lnTo>
                      <a:pt x="3887" y="4739"/>
                    </a:lnTo>
                    <a:close/>
                    <a:moveTo>
                      <a:pt x="1732" y="7596"/>
                    </a:moveTo>
                    <a:cubicBezTo>
                      <a:pt x="1729" y="7596"/>
                      <a:pt x="1763" y="7498"/>
                      <a:pt x="1763" y="7498"/>
                    </a:cubicBezTo>
                    <a:cubicBezTo>
                      <a:pt x="1824" y="7569"/>
                      <a:pt x="1824" y="7569"/>
                      <a:pt x="1824" y="7569"/>
                    </a:cubicBezTo>
                    <a:cubicBezTo>
                      <a:pt x="1812" y="7735"/>
                      <a:pt x="1812" y="7735"/>
                      <a:pt x="1812" y="7735"/>
                    </a:cubicBezTo>
                    <a:cubicBezTo>
                      <a:pt x="1732" y="7729"/>
                      <a:pt x="1732" y="7729"/>
                      <a:pt x="1732" y="7729"/>
                    </a:cubicBezTo>
                    <a:cubicBezTo>
                      <a:pt x="1740" y="7667"/>
                      <a:pt x="1740" y="7667"/>
                      <a:pt x="1740" y="7667"/>
                    </a:cubicBezTo>
                    <a:cubicBezTo>
                      <a:pt x="1740" y="7667"/>
                      <a:pt x="1764" y="7627"/>
                      <a:pt x="1761" y="7627"/>
                    </a:cubicBezTo>
                    <a:cubicBezTo>
                      <a:pt x="1758" y="7627"/>
                      <a:pt x="1735" y="7596"/>
                      <a:pt x="1732" y="7596"/>
                    </a:cubicBezTo>
                    <a:close/>
                    <a:moveTo>
                      <a:pt x="1747" y="7591"/>
                    </a:moveTo>
                    <a:cubicBezTo>
                      <a:pt x="1750" y="7594"/>
                      <a:pt x="1753" y="7598"/>
                      <a:pt x="1757" y="7602"/>
                    </a:cubicBezTo>
                    <a:cubicBezTo>
                      <a:pt x="1760" y="7606"/>
                      <a:pt x="1763" y="7610"/>
                      <a:pt x="1766" y="7613"/>
                    </a:cubicBezTo>
                    <a:cubicBezTo>
                      <a:pt x="1769" y="7613"/>
                      <a:pt x="1769" y="7613"/>
                      <a:pt x="1769" y="7613"/>
                    </a:cubicBezTo>
                    <a:cubicBezTo>
                      <a:pt x="1773" y="7620"/>
                      <a:pt x="1773" y="7620"/>
                      <a:pt x="1773" y="7620"/>
                    </a:cubicBezTo>
                    <a:cubicBezTo>
                      <a:pt x="1777" y="7627"/>
                      <a:pt x="1778" y="7629"/>
                      <a:pt x="1754" y="7671"/>
                    </a:cubicBezTo>
                    <a:cubicBezTo>
                      <a:pt x="1748" y="7717"/>
                      <a:pt x="1748" y="7717"/>
                      <a:pt x="1748" y="7717"/>
                    </a:cubicBezTo>
                    <a:cubicBezTo>
                      <a:pt x="1799" y="7720"/>
                      <a:pt x="1799" y="7720"/>
                      <a:pt x="1799" y="7720"/>
                    </a:cubicBezTo>
                    <a:cubicBezTo>
                      <a:pt x="1810" y="7574"/>
                      <a:pt x="1810" y="7574"/>
                      <a:pt x="1810" y="7574"/>
                    </a:cubicBezTo>
                    <a:cubicBezTo>
                      <a:pt x="1768" y="7525"/>
                      <a:pt x="1768" y="7525"/>
                      <a:pt x="1768" y="7525"/>
                    </a:cubicBezTo>
                    <a:cubicBezTo>
                      <a:pt x="1759" y="7553"/>
                      <a:pt x="1750" y="7579"/>
                      <a:pt x="1747" y="7591"/>
                    </a:cubicBezTo>
                    <a:close/>
                    <a:moveTo>
                      <a:pt x="3932" y="7386"/>
                    </a:moveTo>
                    <a:cubicBezTo>
                      <a:pt x="3882" y="7430"/>
                      <a:pt x="3882" y="7430"/>
                      <a:pt x="3882" y="7430"/>
                    </a:cubicBezTo>
                    <a:cubicBezTo>
                      <a:pt x="3864" y="7414"/>
                      <a:pt x="3864" y="7414"/>
                      <a:pt x="3864" y="7414"/>
                    </a:cubicBezTo>
                    <a:cubicBezTo>
                      <a:pt x="3817" y="7453"/>
                      <a:pt x="3817" y="7453"/>
                      <a:pt x="3817" y="7453"/>
                    </a:cubicBezTo>
                    <a:cubicBezTo>
                      <a:pt x="3755" y="7388"/>
                      <a:pt x="3755" y="7388"/>
                      <a:pt x="3755" y="7388"/>
                    </a:cubicBezTo>
                    <a:cubicBezTo>
                      <a:pt x="3803" y="7342"/>
                      <a:pt x="3803" y="7342"/>
                      <a:pt x="3803" y="7342"/>
                    </a:cubicBezTo>
                    <a:cubicBezTo>
                      <a:pt x="3828" y="7363"/>
                      <a:pt x="3828" y="7363"/>
                      <a:pt x="3828" y="7363"/>
                    </a:cubicBezTo>
                    <a:cubicBezTo>
                      <a:pt x="3866" y="7321"/>
                      <a:pt x="3866" y="7321"/>
                      <a:pt x="3866" y="7321"/>
                    </a:cubicBezTo>
                    <a:cubicBezTo>
                      <a:pt x="3842" y="7297"/>
                      <a:pt x="3842" y="7297"/>
                      <a:pt x="3842" y="7297"/>
                    </a:cubicBezTo>
                    <a:cubicBezTo>
                      <a:pt x="3894" y="7251"/>
                      <a:pt x="3894" y="7251"/>
                      <a:pt x="3894" y="7251"/>
                    </a:cubicBezTo>
                    <a:cubicBezTo>
                      <a:pt x="3957" y="7317"/>
                      <a:pt x="3957" y="7317"/>
                      <a:pt x="3957" y="7317"/>
                    </a:cubicBezTo>
                    <a:cubicBezTo>
                      <a:pt x="3913" y="7361"/>
                      <a:pt x="3913" y="7361"/>
                      <a:pt x="3913" y="7361"/>
                    </a:cubicBezTo>
                    <a:lnTo>
                      <a:pt x="3932" y="7386"/>
                    </a:lnTo>
                    <a:close/>
                    <a:moveTo>
                      <a:pt x="3882" y="7412"/>
                    </a:moveTo>
                    <a:cubicBezTo>
                      <a:pt x="3913" y="7384"/>
                      <a:pt x="3913" y="7384"/>
                      <a:pt x="3913" y="7384"/>
                    </a:cubicBezTo>
                    <a:cubicBezTo>
                      <a:pt x="3902" y="7369"/>
                      <a:pt x="3902" y="7369"/>
                      <a:pt x="3902" y="7369"/>
                    </a:cubicBezTo>
                    <a:cubicBezTo>
                      <a:pt x="3894" y="7360"/>
                      <a:pt x="3894" y="7360"/>
                      <a:pt x="3894" y="7360"/>
                    </a:cubicBezTo>
                    <a:cubicBezTo>
                      <a:pt x="3903" y="7351"/>
                      <a:pt x="3903" y="7351"/>
                      <a:pt x="3903" y="7351"/>
                    </a:cubicBezTo>
                    <a:cubicBezTo>
                      <a:pt x="3937" y="7317"/>
                      <a:pt x="3937" y="7317"/>
                      <a:pt x="3937" y="7317"/>
                    </a:cubicBezTo>
                    <a:cubicBezTo>
                      <a:pt x="3893" y="7270"/>
                      <a:pt x="3893" y="7270"/>
                      <a:pt x="3893" y="7270"/>
                    </a:cubicBezTo>
                    <a:cubicBezTo>
                      <a:pt x="3862" y="7297"/>
                      <a:pt x="3862" y="7297"/>
                      <a:pt x="3862" y="7297"/>
                    </a:cubicBezTo>
                    <a:cubicBezTo>
                      <a:pt x="3876" y="7311"/>
                      <a:pt x="3876" y="7311"/>
                      <a:pt x="3876" y="7311"/>
                    </a:cubicBezTo>
                    <a:cubicBezTo>
                      <a:pt x="3886" y="7321"/>
                      <a:pt x="3886" y="7321"/>
                      <a:pt x="3886" y="7321"/>
                    </a:cubicBezTo>
                    <a:cubicBezTo>
                      <a:pt x="3877" y="7331"/>
                      <a:pt x="3877" y="7331"/>
                      <a:pt x="3877" y="7331"/>
                    </a:cubicBezTo>
                    <a:cubicBezTo>
                      <a:pt x="3838" y="7372"/>
                      <a:pt x="3838" y="7372"/>
                      <a:pt x="3838" y="7372"/>
                    </a:cubicBezTo>
                    <a:cubicBezTo>
                      <a:pt x="3829" y="7382"/>
                      <a:pt x="3829" y="7382"/>
                      <a:pt x="3829" y="7382"/>
                    </a:cubicBezTo>
                    <a:cubicBezTo>
                      <a:pt x="3819" y="7374"/>
                      <a:pt x="3819" y="7374"/>
                      <a:pt x="3819" y="7374"/>
                    </a:cubicBezTo>
                    <a:cubicBezTo>
                      <a:pt x="3804" y="7361"/>
                      <a:pt x="3804" y="7361"/>
                      <a:pt x="3804" y="7361"/>
                    </a:cubicBezTo>
                    <a:cubicBezTo>
                      <a:pt x="3775" y="7389"/>
                      <a:pt x="3775" y="7389"/>
                      <a:pt x="3775" y="7389"/>
                    </a:cubicBezTo>
                    <a:cubicBezTo>
                      <a:pt x="3818" y="7434"/>
                      <a:pt x="3818" y="7434"/>
                      <a:pt x="3818" y="7434"/>
                    </a:cubicBezTo>
                    <a:cubicBezTo>
                      <a:pt x="3855" y="7403"/>
                      <a:pt x="3855" y="7403"/>
                      <a:pt x="3855" y="7403"/>
                    </a:cubicBezTo>
                    <a:cubicBezTo>
                      <a:pt x="3864" y="7395"/>
                      <a:pt x="3864" y="7395"/>
                      <a:pt x="3864" y="7395"/>
                    </a:cubicBezTo>
                    <a:cubicBezTo>
                      <a:pt x="3873" y="7404"/>
                      <a:pt x="3873" y="7404"/>
                      <a:pt x="3873" y="7404"/>
                    </a:cubicBezTo>
                    <a:lnTo>
                      <a:pt x="3882" y="7412"/>
                    </a:lnTo>
                    <a:close/>
                    <a:moveTo>
                      <a:pt x="3365" y="7972"/>
                    </a:moveTo>
                    <a:cubicBezTo>
                      <a:pt x="3308" y="7955"/>
                      <a:pt x="3262" y="7905"/>
                      <a:pt x="3262" y="7862"/>
                    </a:cubicBezTo>
                    <a:cubicBezTo>
                      <a:pt x="3262" y="7856"/>
                      <a:pt x="3263" y="7849"/>
                      <a:pt x="3266" y="7844"/>
                    </a:cubicBezTo>
                    <a:cubicBezTo>
                      <a:pt x="3277" y="7814"/>
                      <a:pt x="3310" y="7797"/>
                      <a:pt x="3355" y="7797"/>
                    </a:cubicBezTo>
                    <a:cubicBezTo>
                      <a:pt x="3377" y="7797"/>
                      <a:pt x="3403" y="7801"/>
                      <a:pt x="3430" y="7810"/>
                    </a:cubicBezTo>
                    <a:cubicBezTo>
                      <a:pt x="3487" y="7829"/>
                      <a:pt x="3526" y="7871"/>
                      <a:pt x="3526" y="7913"/>
                    </a:cubicBezTo>
                    <a:cubicBezTo>
                      <a:pt x="3526" y="7919"/>
                      <a:pt x="3525" y="7925"/>
                      <a:pt x="3523" y="7930"/>
                    </a:cubicBezTo>
                    <a:cubicBezTo>
                      <a:pt x="3513" y="7964"/>
                      <a:pt x="3469" y="7980"/>
                      <a:pt x="3422" y="7980"/>
                    </a:cubicBezTo>
                    <a:cubicBezTo>
                      <a:pt x="3403" y="7980"/>
                      <a:pt x="3383" y="7977"/>
                      <a:pt x="3365" y="7972"/>
                    </a:cubicBezTo>
                    <a:close/>
                    <a:moveTo>
                      <a:pt x="3367" y="7964"/>
                    </a:moveTo>
                    <a:cubicBezTo>
                      <a:pt x="3385" y="7969"/>
                      <a:pt x="3404" y="7972"/>
                      <a:pt x="3422" y="7972"/>
                    </a:cubicBezTo>
                    <a:cubicBezTo>
                      <a:pt x="3468" y="7972"/>
                      <a:pt x="3508" y="7956"/>
                      <a:pt x="3515" y="7928"/>
                    </a:cubicBezTo>
                    <a:cubicBezTo>
                      <a:pt x="3517" y="7923"/>
                      <a:pt x="3518" y="7918"/>
                      <a:pt x="3518" y="7913"/>
                    </a:cubicBezTo>
                    <a:cubicBezTo>
                      <a:pt x="3518" y="7876"/>
                      <a:pt x="3482" y="7836"/>
                      <a:pt x="3428" y="7818"/>
                    </a:cubicBezTo>
                    <a:cubicBezTo>
                      <a:pt x="3401" y="7810"/>
                      <a:pt x="3376" y="7806"/>
                      <a:pt x="3355" y="7806"/>
                    </a:cubicBezTo>
                    <a:cubicBezTo>
                      <a:pt x="3312" y="7806"/>
                      <a:pt x="3283" y="7821"/>
                      <a:pt x="3273" y="7847"/>
                    </a:cubicBezTo>
                    <a:cubicBezTo>
                      <a:pt x="3271" y="7851"/>
                      <a:pt x="3270" y="7857"/>
                      <a:pt x="3270" y="7862"/>
                    </a:cubicBezTo>
                    <a:cubicBezTo>
                      <a:pt x="3270" y="7899"/>
                      <a:pt x="3313" y="7949"/>
                      <a:pt x="3367" y="7964"/>
                    </a:cubicBezTo>
                    <a:close/>
                    <a:moveTo>
                      <a:pt x="3689" y="7798"/>
                    </a:moveTo>
                    <a:cubicBezTo>
                      <a:pt x="3689" y="7798"/>
                      <a:pt x="3668" y="7802"/>
                      <a:pt x="3670" y="7800"/>
                    </a:cubicBezTo>
                    <a:cubicBezTo>
                      <a:pt x="3671" y="7798"/>
                      <a:pt x="3655" y="7724"/>
                      <a:pt x="3655" y="7724"/>
                    </a:cubicBezTo>
                    <a:cubicBezTo>
                      <a:pt x="3835" y="7688"/>
                      <a:pt x="3835" y="7688"/>
                      <a:pt x="3835" y="7688"/>
                    </a:cubicBezTo>
                    <a:cubicBezTo>
                      <a:pt x="3849" y="7772"/>
                      <a:pt x="3849" y="7772"/>
                      <a:pt x="3849" y="7772"/>
                    </a:cubicBezTo>
                    <a:cubicBezTo>
                      <a:pt x="3774" y="7784"/>
                      <a:pt x="3774" y="7784"/>
                      <a:pt x="3774" y="7784"/>
                    </a:cubicBezTo>
                    <a:cubicBezTo>
                      <a:pt x="3789" y="7865"/>
                      <a:pt x="3789" y="7865"/>
                      <a:pt x="3789" y="7865"/>
                    </a:cubicBezTo>
                    <a:cubicBezTo>
                      <a:pt x="3707" y="7876"/>
                      <a:pt x="3707" y="7876"/>
                      <a:pt x="3707" y="7876"/>
                    </a:cubicBezTo>
                    <a:lnTo>
                      <a:pt x="3689" y="7798"/>
                    </a:lnTo>
                    <a:close/>
                    <a:moveTo>
                      <a:pt x="3687" y="7784"/>
                    </a:moveTo>
                    <a:cubicBezTo>
                      <a:pt x="3700" y="7782"/>
                      <a:pt x="3700" y="7782"/>
                      <a:pt x="3700" y="7782"/>
                    </a:cubicBezTo>
                    <a:cubicBezTo>
                      <a:pt x="3703" y="7795"/>
                      <a:pt x="3703" y="7795"/>
                      <a:pt x="3703" y="7795"/>
                    </a:cubicBezTo>
                    <a:cubicBezTo>
                      <a:pt x="3717" y="7861"/>
                      <a:pt x="3717" y="7861"/>
                      <a:pt x="3717" y="7861"/>
                    </a:cubicBezTo>
                    <a:cubicBezTo>
                      <a:pt x="3772" y="7854"/>
                      <a:pt x="3772" y="7854"/>
                      <a:pt x="3772" y="7854"/>
                    </a:cubicBezTo>
                    <a:cubicBezTo>
                      <a:pt x="3760" y="7786"/>
                      <a:pt x="3760" y="7786"/>
                      <a:pt x="3760" y="7786"/>
                    </a:cubicBezTo>
                    <a:cubicBezTo>
                      <a:pt x="3758" y="7772"/>
                      <a:pt x="3758" y="7772"/>
                      <a:pt x="3758" y="7772"/>
                    </a:cubicBezTo>
                    <a:cubicBezTo>
                      <a:pt x="3772" y="7770"/>
                      <a:pt x="3772" y="7770"/>
                      <a:pt x="3772" y="7770"/>
                    </a:cubicBezTo>
                    <a:cubicBezTo>
                      <a:pt x="3833" y="7761"/>
                      <a:pt x="3833" y="7761"/>
                      <a:pt x="3833" y="7761"/>
                    </a:cubicBezTo>
                    <a:cubicBezTo>
                      <a:pt x="3823" y="7704"/>
                      <a:pt x="3823" y="7704"/>
                      <a:pt x="3823" y="7704"/>
                    </a:cubicBezTo>
                    <a:cubicBezTo>
                      <a:pt x="3672" y="7735"/>
                      <a:pt x="3672" y="7735"/>
                      <a:pt x="3672" y="7735"/>
                    </a:cubicBezTo>
                    <a:cubicBezTo>
                      <a:pt x="3677" y="7759"/>
                      <a:pt x="3680" y="7775"/>
                      <a:pt x="3682" y="7785"/>
                    </a:cubicBezTo>
                    <a:cubicBezTo>
                      <a:pt x="3684" y="7785"/>
                      <a:pt x="3685" y="7784"/>
                      <a:pt x="3687" y="7784"/>
                    </a:cubicBezTo>
                    <a:close/>
                    <a:moveTo>
                      <a:pt x="3892" y="7535"/>
                    </a:moveTo>
                    <a:cubicBezTo>
                      <a:pt x="3935" y="7490"/>
                      <a:pt x="3935" y="7490"/>
                      <a:pt x="3935" y="7490"/>
                    </a:cubicBezTo>
                    <a:cubicBezTo>
                      <a:pt x="3916" y="7465"/>
                      <a:pt x="3916" y="7465"/>
                      <a:pt x="3916" y="7465"/>
                    </a:cubicBezTo>
                    <a:cubicBezTo>
                      <a:pt x="3965" y="7420"/>
                      <a:pt x="3965" y="7420"/>
                      <a:pt x="3965" y="7420"/>
                    </a:cubicBezTo>
                    <a:cubicBezTo>
                      <a:pt x="3983" y="7436"/>
                      <a:pt x="3983" y="7436"/>
                      <a:pt x="3983" y="7436"/>
                    </a:cubicBezTo>
                    <a:cubicBezTo>
                      <a:pt x="4029" y="7396"/>
                      <a:pt x="4029" y="7396"/>
                      <a:pt x="4029" y="7396"/>
                    </a:cubicBezTo>
                    <a:cubicBezTo>
                      <a:pt x="4092" y="7460"/>
                      <a:pt x="4092" y="7460"/>
                      <a:pt x="4092" y="7460"/>
                    </a:cubicBezTo>
                    <a:cubicBezTo>
                      <a:pt x="4045" y="7507"/>
                      <a:pt x="4045" y="7507"/>
                      <a:pt x="4045" y="7507"/>
                    </a:cubicBezTo>
                    <a:cubicBezTo>
                      <a:pt x="4020" y="7487"/>
                      <a:pt x="4020" y="7487"/>
                      <a:pt x="4020" y="7487"/>
                    </a:cubicBezTo>
                    <a:cubicBezTo>
                      <a:pt x="3982" y="7529"/>
                      <a:pt x="3982" y="7529"/>
                      <a:pt x="3982" y="7529"/>
                    </a:cubicBezTo>
                    <a:cubicBezTo>
                      <a:pt x="4000" y="7551"/>
                      <a:pt x="4000" y="7551"/>
                      <a:pt x="4000" y="7551"/>
                    </a:cubicBezTo>
                    <a:cubicBezTo>
                      <a:pt x="3952" y="7599"/>
                      <a:pt x="3952" y="7599"/>
                      <a:pt x="3952" y="7599"/>
                    </a:cubicBezTo>
                    <a:lnTo>
                      <a:pt x="3892" y="7535"/>
                    </a:lnTo>
                    <a:close/>
                    <a:moveTo>
                      <a:pt x="3954" y="7491"/>
                    </a:moveTo>
                    <a:cubicBezTo>
                      <a:pt x="3945" y="7500"/>
                      <a:pt x="3945" y="7500"/>
                      <a:pt x="3945" y="7500"/>
                    </a:cubicBezTo>
                    <a:cubicBezTo>
                      <a:pt x="3911" y="7535"/>
                      <a:pt x="3911" y="7535"/>
                      <a:pt x="3911" y="7535"/>
                    </a:cubicBezTo>
                    <a:cubicBezTo>
                      <a:pt x="3953" y="7579"/>
                      <a:pt x="3953" y="7579"/>
                      <a:pt x="3953" y="7579"/>
                    </a:cubicBezTo>
                    <a:cubicBezTo>
                      <a:pt x="3981" y="7550"/>
                      <a:pt x="3981" y="7550"/>
                      <a:pt x="3981" y="7550"/>
                    </a:cubicBezTo>
                    <a:cubicBezTo>
                      <a:pt x="3971" y="7538"/>
                      <a:pt x="3971" y="7538"/>
                      <a:pt x="3971" y="7538"/>
                    </a:cubicBezTo>
                    <a:cubicBezTo>
                      <a:pt x="3964" y="7529"/>
                      <a:pt x="3964" y="7529"/>
                      <a:pt x="3964" y="7529"/>
                    </a:cubicBezTo>
                    <a:cubicBezTo>
                      <a:pt x="3972" y="7520"/>
                      <a:pt x="3972" y="7520"/>
                      <a:pt x="3972" y="7520"/>
                    </a:cubicBezTo>
                    <a:cubicBezTo>
                      <a:pt x="4009" y="7477"/>
                      <a:pt x="4009" y="7477"/>
                      <a:pt x="4009" y="7477"/>
                    </a:cubicBezTo>
                    <a:cubicBezTo>
                      <a:pt x="4018" y="7467"/>
                      <a:pt x="4018" y="7467"/>
                      <a:pt x="4018" y="7467"/>
                    </a:cubicBezTo>
                    <a:cubicBezTo>
                      <a:pt x="4029" y="7476"/>
                      <a:pt x="4029" y="7476"/>
                      <a:pt x="4029" y="7476"/>
                    </a:cubicBezTo>
                    <a:cubicBezTo>
                      <a:pt x="4044" y="7488"/>
                      <a:pt x="4044" y="7488"/>
                      <a:pt x="4044" y="7488"/>
                    </a:cubicBezTo>
                    <a:cubicBezTo>
                      <a:pt x="4072" y="7460"/>
                      <a:pt x="4072" y="7460"/>
                      <a:pt x="4072" y="7460"/>
                    </a:cubicBezTo>
                    <a:cubicBezTo>
                      <a:pt x="4028" y="7415"/>
                      <a:pt x="4028" y="7415"/>
                      <a:pt x="4028" y="7415"/>
                    </a:cubicBezTo>
                    <a:cubicBezTo>
                      <a:pt x="3992" y="7447"/>
                      <a:pt x="3992" y="7447"/>
                      <a:pt x="3992" y="7447"/>
                    </a:cubicBezTo>
                    <a:cubicBezTo>
                      <a:pt x="3983" y="7455"/>
                      <a:pt x="3983" y="7455"/>
                      <a:pt x="3983" y="7455"/>
                    </a:cubicBezTo>
                    <a:cubicBezTo>
                      <a:pt x="3974" y="7447"/>
                      <a:pt x="3974" y="7447"/>
                      <a:pt x="3974" y="7447"/>
                    </a:cubicBezTo>
                    <a:cubicBezTo>
                      <a:pt x="3965" y="7439"/>
                      <a:pt x="3965" y="7439"/>
                      <a:pt x="3965" y="7439"/>
                    </a:cubicBezTo>
                    <a:cubicBezTo>
                      <a:pt x="3935" y="7467"/>
                      <a:pt x="3935" y="7467"/>
                      <a:pt x="3935" y="7467"/>
                    </a:cubicBezTo>
                    <a:cubicBezTo>
                      <a:pt x="3946" y="7481"/>
                      <a:pt x="3946" y="7481"/>
                      <a:pt x="3946" y="7481"/>
                    </a:cubicBezTo>
                    <a:lnTo>
                      <a:pt x="3954" y="7491"/>
                    </a:lnTo>
                    <a:close/>
                    <a:moveTo>
                      <a:pt x="8214" y="8667"/>
                    </a:moveTo>
                    <a:cubicBezTo>
                      <a:pt x="8079" y="8901"/>
                      <a:pt x="8079" y="8901"/>
                      <a:pt x="8079" y="8901"/>
                    </a:cubicBezTo>
                    <a:cubicBezTo>
                      <a:pt x="8001" y="8853"/>
                      <a:pt x="8001" y="8853"/>
                      <a:pt x="8001" y="8853"/>
                    </a:cubicBezTo>
                    <a:cubicBezTo>
                      <a:pt x="8162" y="8579"/>
                      <a:pt x="8162" y="8579"/>
                      <a:pt x="8162" y="8579"/>
                    </a:cubicBezTo>
                    <a:cubicBezTo>
                      <a:pt x="8101" y="8544"/>
                      <a:pt x="8101" y="8544"/>
                      <a:pt x="8101" y="8544"/>
                    </a:cubicBezTo>
                    <a:cubicBezTo>
                      <a:pt x="8020" y="8682"/>
                      <a:pt x="8020" y="8682"/>
                      <a:pt x="8020" y="8682"/>
                    </a:cubicBezTo>
                    <a:cubicBezTo>
                      <a:pt x="7954" y="8644"/>
                      <a:pt x="7954" y="8644"/>
                      <a:pt x="7954" y="8644"/>
                    </a:cubicBezTo>
                    <a:cubicBezTo>
                      <a:pt x="8032" y="8500"/>
                      <a:pt x="8032" y="8500"/>
                      <a:pt x="8032" y="8500"/>
                    </a:cubicBezTo>
                    <a:cubicBezTo>
                      <a:pt x="7974" y="8468"/>
                      <a:pt x="7974" y="8468"/>
                      <a:pt x="7974" y="8468"/>
                    </a:cubicBezTo>
                    <a:cubicBezTo>
                      <a:pt x="8032" y="8379"/>
                      <a:pt x="8032" y="8379"/>
                      <a:pt x="8032" y="8379"/>
                    </a:cubicBezTo>
                    <a:cubicBezTo>
                      <a:pt x="8038" y="8382"/>
                      <a:pt x="8038" y="8382"/>
                      <a:pt x="8038" y="8382"/>
                    </a:cubicBezTo>
                    <a:cubicBezTo>
                      <a:pt x="8214" y="8478"/>
                      <a:pt x="8214" y="8478"/>
                      <a:pt x="8214" y="8478"/>
                    </a:cubicBezTo>
                    <a:cubicBezTo>
                      <a:pt x="8273" y="8390"/>
                      <a:pt x="8273" y="8390"/>
                      <a:pt x="8273" y="8390"/>
                    </a:cubicBezTo>
                    <a:cubicBezTo>
                      <a:pt x="8588" y="8574"/>
                      <a:pt x="8588" y="8574"/>
                      <a:pt x="8588" y="8574"/>
                    </a:cubicBezTo>
                    <a:cubicBezTo>
                      <a:pt x="8532" y="8668"/>
                      <a:pt x="8532" y="8668"/>
                      <a:pt x="8532" y="8668"/>
                    </a:cubicBezTo>
                    <a:cubicBezTo>
                      <a:pt x="8471" y="8633"/>
                      <a:pt x="8471" y="8633"/>
                      <a:pt x="8471" y="8633"/>
                    </a:cubicBezTo>
                    <a:cubicBezTo>
                      <a:pt x="8370" y="8823"/>
                      <a:pt x="8370" y="8823"/>
                      <a:pt x="8370" y="8823"/>
                    </a:cubicBezTo>
                    <a:cubicBezTo>
                      <a:pt x="8424" y="8858"/>
                      <a:pt x="8424" y="8858"/>
                      <a:pt x="8424" y="8858"/>
                    </a:cubicBezTo>
                    <a:cubicBezTo>
                      <a:pt x="8322" y="9039"/>
                      <a:pt x="8322" y="9039"/>
                      <a:pt x="8322" y="9039"/>
                    </a:cubicBezTo>
                    <a:cubicBezTo>
                      <a:pt x="8202" y="8973"/>
                      <a:pt x="8202" y="8973"/>
                      <a:pt x="8202" y="8973"/>
                    </a:cubicBezTo>
                    <a:cubicBezTo>
                      <a:pt x="8336" y="8739"/>
                      <a:pt x="8336" y="8739"/>
                      <a:pt x="8336" y="8739"/>
                    </a:cubicBezTo>
                    <a:lnTo>
                      <a:pt x="8214" y="8667"/>
                    </a:lnTo>
                    <a:close/>
                    <a:moveTo>
                      <a:pt x="8208" y="8647"/>
                    </a:moveTo>
                    <a:cubicBezTo>
                      <a:pt x="8356" y="8734"/>
                      <a:pt x="8356" y="8734"/>
                      <a:pt x="8356" y="8734"/>
                    </a:cubicBezTo>
                    <a:cubicBezTo>
                      <a:pt x="8222" y="8967"/>
                      <a:pt x="8222" y="8967"/>
                      <a:pt x="8222" y="8967"/>
                    </a:cubicBezTo>
                    <a:cubicBezTo>
                      <a:pt x="8316" y="9019"/>
                      <a:pt x="8316" y="9019"/>
                      <a:pt x="8316" y="9019"/>
                    </a:cubicBezTo>
                    <a:cubicBezTo>
                      <a:pt x="8404" y="8863"/>
                      <a:pt x="8404" y="8863"/>
                      <a:pt x="8404" y="8863"/>
                    </a:cubicBezTo>
                    <a:cubicBezTo>
                      <a:pt x="8350" y="8828"/>
                      <a:pt x="8350" y="8828"/>
                      <a:pt x="8350" y="8828"/>
                    </a:cubicBezTo>
                    <a:cubicBezTo>
                      <a:pt x="8466" y="8612"/>
                      <a:pt x="8466" y="8612"/>
                      <a:pt x="8466" y="8612"/>
                    </a:cubicBezTo>
                    <a:cubicBezTo>
                      <a:pt x="8527" y="8648"/>
                      <a:pt x="8527" y="8648"/>
                      <a:pt x="8527" y="8648"/>
                    </a:cubicBezTo>
                    <a:cubicBezTo>
                      <a:pt x="8568" y="8579"/>
                      <a:pt x="8568" y="8579"/>
                      <a:pt x="8568" y="8579"/>
                    </a:cubicBezTo>
                    <a:cubicBezTo>
                      <a:pt x="8277" y="8410"/>
                      <a:pt x="8277" y="8410"/>
                      <a:pt x="8277" y="8410"/>
                    </a:cubicBezTo>
                    <a:cubicBezTo>
                      <a:pt x="8219" y="8497"/>
                      <a:pt x="8219" y="8497"/>
                      <a:pt x="8219" y="8497"/>
                    </a:cubicBezTo>
                    <a:cubicBezTo>
                      <a:pt x="8037" y="8398"/>
                      <a:pt x="8037" y="8398"/>
                      <a:pt x="8037" y="8398"/>
                    </a:cubicBezTo>
                    <a:cubicBezTo>
                      <a:pt x="7995" y="8463"/>
                      <a:pt x="7995" y="8463"/>
                      <a:pt x="7995" y="8463"/>
                    </a:cubicBezTo>
                    <a:cubicBezTo>
                      <a:pt x="8053" y="8494"/>
                      <a:pt x="8053" y="8494"/>
                      <a:pt x="8053" y="8494"/>
                    </a:cubicBezTo>
                    <a:cubicBezTo>
                      <a:pt x="7974" y="8638"/>
                      <a:pt x="7974" y="8638"/>
                      <a:pt x="7974" y="8638"/>
                    </a:cubicBezTo>
                    <a:cubicBezTo>
                      <a:pt x="8015" y="8662"/>
                      <a:pt x="8015" y="8662"/>
                      <a:pt x="8015" y="8662"/>
                    </a:cubicBezTo>
                    <a:cubicBezTo>
                      <a:pt x="8095" y="8524"/>
                      <a:pt x="8095" y="8524"/>
                      <a:pt x="8095" y="8524"/>
                    </a:cubicBezTo>
                    <a:cubicBezTo>
                      <a:pt x="8183" y="8574"/>
                      <a:pt x="8183" y="8574"/>
                      <a:pt x="8183" y="8574"/>
                    </a:cubicBezTo>
                    <a:cubicBezTo>
                      <a:pt x="8021" y="8848"/>
                      <a:pt x="8021" y="8848"/>
                      <a:pt x="8021" y="8848"/>
                    </a:cubicBezTo>
                    <a:cubicBezTo>
                      <a:pt x="8074" y="8880"/>
                      <a:pt x="8074" y="8880"/>
                      <a:pt x="8074" y="8880"/>
                    </a:cubicBezTo>
                    <a:lnTo>
                      <a:pt x="8208" y="8647"/>
                    </a:lnTo>
                    <a:close/>
                    <a:moveTo>
                      <a:pt x="954" y="8582"/>
                    </a:moveTo>
                    <a:cubicBezTo>
                      <a:pt x="1006" y="8515"/>
                      <a:pt x="1006" y="8515"/>
                      <a:pt x="1006" y="8515"/>
                    </a:cubicBezTo>
                    <a:cubicBezTo>
                      <a:pt x="1146" y="8625"/>
                      <a:pt x="1146" y="8625"/>
                      <a:pt x="1146" y="8625"/>
                    </a:cubicBezTo>
                    <a:cubicBezTo>
                      <a:pt x="1091" y="8693"/>
                      <a:pt x="1091" y="8693"/>
                      <a:pt x="1091" y="8693"/>
                    </a:cubicBezTo>
                    <a:lnTo>
                      <a:pt x="954" y="8582"/>
                    </a:lnTo>
                    <a:close/>
                    <a:moveTo>
                      <a:pt x="974" y="8579"/>
                    </a:moveTo>
                    <a:cubicBezTo>
                      <a:pt x="1089" y="8673"/>
                      <a:pt x="1089" y="8673"/>
                      <a:pt x="1089" y="8673"/>
                    </a:cubicBezTo>
                    <a:cubicBezTo>
                      <a:pt x="1126" y="8627"/>
                      <a:pt x="1126" y="8627"/>
                      <a:pt x="1126" y="8627"/>
                    </a:cubicBezTo>
                    <a:cubicBezTo>
                      <a:pt x="1008" y="8534"/>
                      <a:pt x="1008" y="8534"/>
                      <a:pt x="1008" y="8534"/>
                    </a:cubicBezTo>
                    <a:lnTo>
                      <a:pt x="974" y="8579"/>
                    </a:lnTo>
                    <a:close/>
                    <a:moveTo>
                      <a:pt x="448" y="9213"/>
                    </a:moveTo>
                    <a:cubicBezTo>
                      <a:pt x="318" y="9183"/>
                      <a:pt x="318" y="9183"/>
                      <a:pt x="318" y="9183"/>
                    </a:cubicBezTo>
                    <a:cubicBezTo>
                      <a:pt x="368" y="9048"/>
                      <a:pt x="368" y="9048"/>
                      <a:pt x="368" y="9048"/>
                    </a:cubicBezTo>
                    <a:cubicBezTo>
                      <a:pt x="521" y="8979"/>
                      <a:pt x="521" y="8979"/>
                      <a:pt x="521" y="8979"/>
                    </a:cubicBezTo>
                    <a:cubicBezTo>
                      <a:pt x="565" y="9018"/>
                      <a:pt x="565" y="9018"/>
                      <a:pt x="565" y="9018"/>
                    </a:cubicBezTo>
                    <a:cubicBezTo>
                      <a:pt x="540" y="9107"/>
                      <a:pt x="540" y="9107"/>
                      <a:pt x="540" y="9107"/>
                    </a:cubicBezTo>
                    <a:cubicBezTo>
                      <a:pt x="485" y="9095"/>
                      <a:pt x="485" y="9095"/>
                      <a:pt x="485" y="9095"/>
                    </a:cubicBezTo>
                    <a:lnTo>
                      <a:pt x="448" y="9213"/>
                    </a:lnTo>
                    <a:close/>
                    <a:moveTo>
                      <a:pt x="438" y="9197"/>
                    </a:moveTo>
                    <a:cubicBezTo>
                      <a:pt x="472" y="9091"/>
                      <a:pt x="472" y="9091"/>
                      <a:pt x="472" y="9091"/>
                    </a:cubicBezTo>
                    <a:cubicBezTo>
                      <a:pt x="475" y="9078"/>
                      <a:pt x="475" y="9078"/>
                      <a:pt x="475" y="9078"/>
                    </a:cubicBezTo>
                    <a:cubicBezTo>
                      <a:pt x="488" y="9081"/>
                      <a:pt x="488" y="9081"/>
                      <a:pt x="488" y="9081"/>
                    </a:cubicBezTo>
                    <a:cubicBezTo>
                      <a:pt x="531" y="9091"/>
                      <a:pt x="531" y="9091"/>
                      <a:pt x="531" y="9091"/>
                    </a:cubicBezTo>
                    <a:cubicBezTo>
                      <a:pt x="550" y="9023"/>
                      <a:pt x="550" y="9023"/>
                      <a:pt x="550" y="9023"/>
                    </a:cubicBezTo>
                    <a:cubicBezTo>
                      <a:pt x="519" y="8995"/>
                      <a:pt x="519" y="8995"/>
                      <a:pt x="519" y="8995"/>
                    </a:cubicBezTo>
                    <a:cubicBezTo>
                      <a:pt x="379" y="9058"/>
                      <a:pt x="379" y="9058"/>
                      <a:pt x="379" y="9058"/>
                    </a:cubicBezTo>
                    <a:cubicBezTo>
                      <a:pt x="336" y="9173"/>
                      <a:pt x="336" y="9173"/>
                      <a:pt x="336" y="9173"/>
                    </a:cubicBezTo>
                    <a:lnTo>
                      <a:pt x="438" y="9197"/>
                    </a:lnTo>
                    <a:close/>
                    <a:moveTo>
                      <a:pt x="1062" y="9151"/>
                    </a:moveTo>
                    <a:cubicBezTo>
                      <a:pt x="1478" y="8755"/>
                      <a:pt x="1478" y="8755"/>
                      <a:pt x="1478" y="8755"/>
                    </a:cubicBezTo>
                    <a:cubicBezTo>
                      <a:pt x="1541" y="8888"/>
                      <a:pt x="1541" y="8888"/>
                      <a:pt x="1541" y="8888"/>
                    </a:cubicBezTo>
                    <a:cubicBezTo>
                      <a:pt x="1051" y="9215"/>
                      <a:pt x="1051" y="9215"/>
                      <a:pt x="1051" y="9215"/>
                    </a:cubicBezTo>
                    <a:lnTo>
                      <a:pt x="1062" y="9151"/>
                    </a:lnTo>
                    <a:close/>
                    <a:moveTo>
                      <a:pt x="1070" y="9185"/>
                    </a:moveTo>
                    <a:cubicBezTo>
                      <a:pt x="1523" y="8883"/>
                      <a:pt x="1523" y="8883"/>
                      <a:pt x="1523" y="8883"/>
                    </a:cubicBezTo>
                    <a:cubicBezTo>
                      <a:pt x="1474" y="8779"/>
                      <a:pt x="1474" y="8779"/>
                      <a:pt x="1474" y="8779"/>
                    </a:cubicBezTo>
                    <a:cubicBezTo>
                      <a:pt x="1075" y="9158"/>
                      <a:pt x="1075" y="9158"/>
                      <a:pt x="1075" y="9158"/>
                    </a:cubicBezTo>
                    <a:lnTo>
                      <a:pt x="1070" y="9185"/>
                    </a:lnTo>
                    <a:close/>
                    <a:moveTo>
                      <a:pt x="7517" y="6033"/>
                    </a:moveTo>
                    <a:cubicBezTo>
                      <a:pt x="7432" y="6023"/>
                      <a:pt x="7432" y="6023"/>
                      <a:pt x="7432" y="6023"/>
                    </a:cubicBezTo>
                    <a:cubicBezTo>
                      <a:pt x="7456" y="5804"/>
                      <a:pt x="7456" y="5804"/>
                      <a:pt x="7456" y="5804"/>
                    </a:cubicBezTo>
                    <a:cubicBezTo>
                      <a:pt x="7463" y="5805"/>
                      <a:pt x="7463" y="5805"/>
                      <a:pt x="7463" y="5805"/>
                    </a:cubicBezTo>
                    <a:cubicBezTo>
                      <a:pt x="7637" y="5825"/>
                      <a:pt x="7637" y="5825"/>
                      <a:pt x="7637" y="5825"/>
                    </a:cubicBezTo>
                    <a:cubicBezTo>
                      <a:pt x="7645" y="5753"/>
                      <a:pt x="7645" y="5753"/>
                      <a:pt x="7645" y="5753"/>
                    </a:cubicBezTo>
                    <a:cubicBezTo>
                      <a:pt x="8014" y="5795"/>
                      <a:pt x="8014" y="5795"/>
                      <a:pt x="8014" y="5795"/>
                    </a:cubicBezTo>
                    <a:cubicBezTo>
                      <a:pt x="8006" y="5866"/>
                      <a:pt x="8006" y="5866"/>
                      <a:pt x="8006" y="5866"/>
                    </a:cubicBezTo>
                    <a:cubicBezTo>
                      <a:pt x="8140" y="5881"/>
                      <a:pt x="8140" y="5881"/>
                      <a:pt x="8140" y="5881"/>
                    </a:cubicBezTo>
                    <a:cubicBezTo>
                      <a:pt x="8115" y="6101"/>
                      <a:pt x="8115" y="6101"/>
                      <a:pt x="8115" y="6101"/>
                    </a:cubicBezTo>
                    <a:cubicBezTo>
                      <a:pt x="8053" y="6094"/>
                      <a:pt x="8053" y="6094"/>
                      <a:pt x="8053" y="6094"/>
                    </a:cubicBezTo>
                    <a:cubicBezTo>
                      <a:pt x="8024" y="6354"/>
                      <a:pt x="8024" y="6354"/>
                      <a:pt x="8024" y="6354"/>
                    </a:cubicBezTo>
                    <a:cubicBezTo>
                      <a:pt x="7912" y="6341"/>
                      <a:pt x="7912" y="6341"/>
                      <a:pt x="7912" y="6341"/>
                    </a:cubicBezTo>
                    <a:cubicBezTo>
                      <a:pt x="7941" y="6083"/>
                      <a:pt x="7941" y="6083"/>
                      <a:pt x="7941" y="6083"/>
                    </a:cubicBezTo>
                    <a:cubicBezTo>
                      <a:pt x="7668" y="6052"/>
                      <a:pt x="7668" y="6052"/>
                      <a:pt x="7668" y="6052"/>
                    </a:cubicBezTo>
                    <a:cubicBezTo>
                      <a:pt x="7656" y="6153"/>
                      <a:pt x="7656" y="6153"/>
                      <a:pt x="7656" y="6153"/>
                    </a:cubicBezTo>
                    <a:cubicBezTo>
                      <a:pt x="7505" y="6136"/>
                      <a:pt x="7505" y="6136"/>
                      <a:pt x="7505" y="6136"/>
                    </a:cubicBezTo>
                    <a:lnTo>
                      <a:pt x="7517" y="6033"/>
                    </a:lnTo>
                    <a:close/>
                    <a:moveTo>
                      <a:pt x="7533" y="6020"/>
                    </a:moveTo>
                    <a:cubicBezTo>
                      <a:pt x="7522" y="6123"/>
                      <a:pt x="7522" y="6123"/>
                      <a:pt x="7522" y="6123"/>
                    </a:cubicBezTo>
                    <a:cubicBezTo>
                      <a:pt x="7643" y="6137"/>
                      <a:pt x="7643" y="6137"/>
                      <a:pt x="7643" y="6137"/>
                    </a:cubicBezTo>
                    <a:cubicBezTo>
                      <a:pt x="7655" y="6035"/>
                      <a:pt x="7655" y="6035"/>
                      <a:pt x="7655" y="6035"/>
                    </a:cubicBezTo>
                    <a:cubicBezTo>
                      <a:pt x="7958" y="6070"/>
                      <a:pt x="7958" y="6070"/>
                      <a:pt x="7958" y="6070"/>
                    </a:cubicBezTo>
                    <a:cubicBezTo>
                      <a:pt x="7928" y="6328"/>
                      <a:pt x="7928" y="6328"/>
                      <a:pt x="7928" y="6328"/>
                    </a:cubicBezTo>
                    <a:cubicBezTo>
                      <a:pt x="8011" y="6338"/>
                      <a:pt x="8011" y="6338"/>
                      <a:pt x="8011" y="6338"/>
                    </a:cubicBezTo>
                    <a:cubicBezTo>
                      <a:pt x="8040" y="6077"/>
                      <a:pt x="8040" y="6077"/>
                      <a:pt x="8040" y="6077"/>
                    </a:cubicBezTo>
                    <a:cubicBezTo>
                      <a:pt x="8102" y="6084"/>
                      <a:pt x="8102" y="6084"/>
                      <a:pt x="8102" y="6084"/>
                    </a:cubicBezTo>
                    <a:cubicBezTo>
                      <a:pt x="8123" y="5894"/>
                      <a:pt x="8123" y="5894"/>
                      <a:pt x="8123" y="5894"/>
                    </a:cubicBezTo>
                    <a:cubicBezTo>
                      <a:pt x="7989" y="5879"/>
                      <a:pt x="7989" y="5879"/>
                      <a:pt x="7989" y="5879"/>
                    </a:cubicBezTo>
                    <a:cubicBezTo>
                      <a:pt x="7997" y="5808"/>
                      <a:pt x="7997" y="5808"/>
                      <a:pt x="7997" y="5808"/>
                    </a:cubicBezTo>
                    <a:cubicBezTo>
                      <a:pt x="7658" y="5770"/>
                      <a:pt x="7658" y="5770"/>
                      <a:pt x="7658" y="5770"/>
                    </a:cubicBezTo>
                    <a:cubicBezTo>
                      <a:pt x="7650" y="5841"/>
                      <a:pt x="7650" y="5841"/>
                      <a:pt x="7650" y="5841"/>
                    </a:cubicBezTo>
                    <a:cubicBezTo>
                      <a:pt x="7469" y="5820"/>
                      <a:pt x="7469" y="5820"/>
                      <a:pt x="7469" y="5820"/>
                    </a:cubicBezTo>
                    <a:cubicBezTo>
                      <a:pt x="7448" y="6010"/>
                      <a:pt x="7448" y="6010"/>
                      <a:pt x="7448" y="6010"/>
                    </a:cubicBezTo>
                    <a:lnTo>
                      <a:pt x="7533" y="6020"/>
                    </a:lnTo>
                    <a:close/>
                    <a:moveTo>
                      <a:pt x="259" y="8090"/>
                    </a:moveTo>
                    <a:cubicBezTo>
                      <a:pt x="235" y="8167"/>
                      <a:pt x="235" y="8167"/>
                      <a:pt x="235" y="8167"/>
                    </a:cubicBezTo>
                    <a:cubicBezTo>
                      <a:pt x="227" y="8161"/>
                      <a:pt x="227" y="8161"/>
                      <a:pt x="227" y="8161"/>
                    </a:cubicBezTo>
                    <a:cubicBezTo>
                      <a:pt x="56" y="8040"/>
                      <a:pt x="56" y="8040"/>
                      <a:pt x="56" y="8040"/>
                    </a:cubicBezTo>
                    <a:cubicBezTo>
                      <a:pt x="149" y="7859"/>
                      <a:pt x="149" y="7859"/>
                      <a:pt x="149" y="7859"/>
                    </a:cubicBezTo>
                    <a:cubicBezTo>
                      <a:pt x="232" y="8012"/>
                      <a:pt x="232" y="8012"/>
                      <a:pt x="232" y="8012"/>
                    </a:cubicBezTo>
                    <a:cubicBezTo>
                      <a:pt x="213" y="8072"/>
                      <a:pt x="213" y="8072"/>
                      <a:pt x="213" y="8072"/>
                    </a:cubicBezTo>
                    <a:lnTo>
                      <a:pt x="259" y="8090"/>
                    </a:lnTo>
                    <a:close/>
                    <a:moveTo>
                      <a:pt x="241" y="8099"/>
                    </a:moveTo>
                    <a:cubicBezTo>
                      <a:pt x="195" y="8081"/>
                      <a:pt x="195" y="8081"/>
                      <a:pt x="195" y="8081"/>
                    </a:cubicBezTo>
                    <a:cubicBezTo>
                      <a:pt x="216" y="8013"/>
                      <a:pt x="216" y="8013"/>
                      <a:pt x="216" y="8013"/>
                    </a:cubicBezTo>
                    <a:cubicBezTo>
                      <a:pt x="149" y="7890"/>
                      <a:pt x="149" y="7890"/>
                      <a:pt x="149" y="7890"/>
                    </a:cubicBezTo>
                    <a:cubicBezTo>
                      <a:pt x="75" y="8035"/>
                      <a:pt x="75" y="8035"/>
                      <a:pt x="75" y="8035"/>
                    </a:cubicBezTo>
                    <a:cubicBezTo>
                      <a:pt x="227" y="8143"/>
                      <a:pt x="227" y="8143"/>
                      <a:pt x="227" y="8143"/>
                    </a:cubicBezTo>
                    <a:lnTo>
                      <a:pt x="241" y="8099"/>
                    </a:lnTo>
                    <a:close/>
                    <a:moveTo>
                      <a:pt x="2594" y="7509"/>
                    </a:moveTo>
                    <a:cubicBezTo>
                      <a:pt x="2426" y="7796"/>
                      <a:pt x="2426" y="7796"/>
                      <a:pt x="2426" y="7796"/>
                    </a:cubicBezTo>
                    <a:cubicBezTo>
                      <a:pt x="2381" y="7800"/>
                      <a:pt x="2381" y="7800"/>
                      <a:pt x="2381" y="7800"/>
                    </a:cubicBezTo>
                    <a:cubicBezTo>
                      <a:pt x="2357" y="7917"/>
                      <a:pt x="2357" y="7917"/>
                      <a:pt x="2357" y="7917"/>
                    </a:cubicBezTo>
                    <a:cubicBezTo>
                      <a:pt x="2186" y="7998"/>
                      <a:pt x="2186" y="7998"/>
                      <a:pt x="2186" y="7998"/>
                    </a:cubicBezTo>
                    <a:cubicBezTo>
                      <a:pt x="2157" y="7985"/>
                      <a:pt x="2157" y="7985"/>
                      <a:pt x="2157" y="7985"/>
                    </a:cubicBezTo>
                    <a:cubicBezTo>
                      <a:pt x="2102" y="8073"/>
                      <a:pt x="2102" y="8073"/>
                      <a:pt x="2102" y="8073"/>
                    </a:cubicBezTo>
                    <a:cubicBezTo>
                      <a:pt x="1955" y="8015"/>
                      <a:pt x="1955" y="8015"/>
                      <a:pt x="1955" y="8015"/>
                    </a:cubicBezTo>
                    <a:cubicBezTo>
                      <a:pt x="1992" y="7936"/>
                      <a:pt x="1992" y="7936"/>
                      <a:pt x="1992" y="7936"/>
                    </a:cubicBezTo>
                    <a:cubicBezTo>
                      <a:pt x="2260" y="7847"/>
                      <a:pt x="2260" y="7847"/>
                      <a:pt x="2260" y="7847"/>
                    </a:cubicBezTo>
                    <a:cubicBezTo>
                      <a:pt x="2286" y="7749"/>
                      <a:pt x="2286" y="7749"/>
                      <a:pt x="2286" y="7749"/>
                    </a:cubicBezTo>
                    <a:cubicBezTo>
                      <a:pt x="2322" y="7745"/>
                      <a:pt x="2322" y="7745"/>
                      <a:pt x="2322" y="7745"/>
                    </a:cubicBezTo>
                    <a:cubicBezTo>
                      <a:pt x="2382" y="7641"/>
                      <a:pt x="2382" y="7641"/>
                      <a:pt x="2382" y="7641"/>
                    </a:cubicBezTo>
                    <a:cubicBezTo>
                      <a:pt x="2355" y="7613"/>
                      <a:pt x="2355" y="7613"/>
                      <a:pt x="2355" y="7613"/>
                    </a:cubicBezTo>
                    <a:cubicBezTo>
                      <a:pt x="2428" y="7394"/>
                      <a:pt x="2428" y="7394"/>
                      <a:pt x="2428" y="7394"/>
                    </a:cubicBezTo>
                    <a:cubicBezTo>
                      <a:pt x="2598" y="7503"/>
                      <a:pt x="2598" y="7503"/>
                      <a:pt x="2598" y="7503"/>
                    </a:cubicBezTo>
                    <a:lnTo>
                      <a:pt x="2594" y="7509"/>
                    </a:lnTo>
                    <a:close/>
                    <a:moveTo>
                      <a:pt x="2578" y="7508"/>
                    </a:moveTo>
                    <a:cubicBezTo>
                      <a:pt x="2436" y="7416"/>
                      <a:pt x="2436" y="7416"/>
                      <a:pt x="2436" y="7416"/>
                    </a:cubicBezTo>
                    <a:cubicBezTo>
                      <a:pt x="2372" y="7609"/>
                      <a:pt x="2372" y="7609"/>
                      <a:pt x="2372" y="7609"/>
                    </a:cubicBezTo>
                    <a:cubicBezTo>
                      <a:pt x="2400" y="7639"/>
                      <a:pt x="2400" y="7639"/>
                      <a:pt x="2400" y="7639"/>
                    </a:cubicBezTo>
                    <a:cubicBezTo>
                      <a:pt x="2331" y="7759"/>
                      <a:pt x="2331" y="7759"/>
                      <a:pt x="2331" y="7759"/>
                    </a:cubicBezTo>
                    <a:cubicBezTo>
                      <a:pt x="2297" y="7763"/>
                      <a:pt x="2297" y="7763"/>
                      <a:pt x="2297" y="7763"/>
                    </a:cubicBezTo>
                    <a:cubicBezTo>
                      <a:pt x="2272" y="7858"/>
                      <a:pt x="2272" y="7858"/>
                      <a:pt x="2272" y="7858"/>
                    </a:cubicBezTo>
                    <a:cubicBezTo>
                      <a:pt x="2003" y="7948"/>
                      <a:pt x="2003" y="7948"/>
                      <a:pt x="2003" y="7948"/>
                    </a:cubicBezTo>
                    <a:cubicBezTo>
                      <a:pt x="1975" y="8007"/>
                      <a:pt x="1975" y="8007"/>
                      <a:pt x="1975" y="8007"/>
                    </a:cubicBezTo>
                    <a:cubicBezTo>
                      <a:pt x="2096" y="8054"/>
                      <a:pt x="2096" y="8054"/>
                      <a:pt x="2096" y="8054"/>
                    </a:cubicBezTo>
                    <a:cubicBezTo>
                      <a:pt x="2151" y="7966"/>
                      <a:pt x="2151" y="7966"/>
                      <a:pt x="2151" y="7966"/>
                    </a:cubicBezTo>
                    <a:cubicBezTo>
                      <a:pt x="2185" y="7982"/>
                      <a:pt x="2185" y="7982"/>
                      <a:pt x="2185" y="7982"/>
                    </a:cubicBezTo>
                    <a:cubicBezTo>
                      <a:pt x="2344" y="7907"/>
                      <a:pt x="2344" y="7907"/>
                      <a:pt x="2344" y="7907"/>
                    </a:cubicBezTo>
                    <a:cubicBezTo>
                      <a:pt x="2368" y="7786"/>
                      <a:pt x="2368" y="7786"/>
                      <a:pt x="2368" y="7786"/>
                    </a:cubicBezTo>
                    <a:cubicBezTo>
                      <a:pt x="2417" y="7782"/>
                      <a:pt x="2417" y="7782"/>
                      <a:pt x="2417" y="7782"/>
                    </a:cubicBezTo>
                    <a:lnTo>
                      <a:pt x="2578" y="7508"/>
                    </a:lnTo>
                    <a:close/>
                    <a:moveTo>
                      <a:pt x="344" y="7866"/>
                    </a:moveTo>
                    <a:cubicBezTo>
                      <a:pt x="257" y="7821"/>
                      <a:pt x="257" y="7821"/>
                      <a:pt x="257" y="7821"/>
                    </a:cubicBezTo>
                    <a:cubicBezTo>
                      <a:pt x="368" y="7599"/>
                      <a:pt x="368" y="7599"/>
                      <a:pt x="368" y="7599"/>
                    </a:cubicBezTo>
                    <a:cubicBezTo>
                      <a:pt x="539" y="7827"/>
                      <a:pt x="539" y="7827"/>
                      <a:pt x="539" y="7827"/>
                    </a:cubicBezTo>
                    <a:cubicBezTo>
                      <a:pt x="534" y="7832"/>
                      <a:pt x="534" y="7832"/>
                      <a:pt x="534" y="7832"/>
                    </a:cubicBezTo>
                    <a:cubicBezTo>
                      <a:pt x="491" y="7873"/>
                      <a:pt x="491" y="7873"/>
                      <a:pt x="491" y="7873"/>
                    </a:cubicBezTo>
                    <a:cubicBezTo>
                      <a:pt x="422" y="7828"/>
                      <a:pt x="422" y="7828"/>
                      <a:pt x="422" y="7828"/>
                    </a:cubicBezTo>
                    <a:lnTo>
                      <a:pt x="344" y="7866"/>
                    </a:lnTo>
                    <a:close/>
                    <a:moveTo>
                      <a:pt x="277" y="7815"/>
                    </a:moveTo>
                    <a:cubicBezTo>
                      <a:pt x="344" y="7849"/>
                      <a:pt x="344" y="7849"/>
                      <a:pt x="344" y="7849"/>
                    </a:cubicBezTo>
                    <a:cubicBezTo>
                      <a:pt x="423" y="7811"/>
                      <a:pt x="423" y="7811"/>
                      <a:pt x="423" y="7811"/>
                    </a:cubicBezTo>
                    <a:cubicBezTo>
                      <a:pt x="489" y="7854"/>
                      <a:pt x="489" y="7854"/>
                      <a:pt x="489" y="7854"/>
                    </a:cubicBezTo>
                    <a:cubicBezTo>
                      <a:pt x="519" y="7826"/>
                      <a:pt x="519" y="7826"/>
                      <a:pt x="519" y="7826"/>
                    </a:cubicBezTo>
                    <a:cubicBezTo>
                      <a:pt x="371" y="7627"/>
                      <a:pt x="371" y="7627"/>
                      <a:pt x="371" y="7627"/>
                    </a:cubicBezTo>
                    <a:lnTo>
                      <a:pt x="277" y="7815"/>
                    </a:lnTo>
                    <a:close/>
                    <a:moveTo>
                      <a:pt x="363" y="7321"/>
                    </a:moveTo>
                    <a:cubicBezTo>
                      <a:pt x="315" y="7353"/>
                      <a:pt x="315" y="7353"/>
                      <a:pt x="315" y="7353"/>
                    </a:cubicBezTo>
                    <a:cubicBezTo>
                      <a:pt x="261" y="7272"/>
                      <a:pt x="261" y="7272"/>
                      <a:pt x="261" y="7272"/>
                    </a:cubicBezTo>
                    <a:cubicBezTo>
                      <a:pt x="309" y="7240"/>
                      <a:pt x="309" y="7240"/>
                      <a:pt x="309" y="7240"/>
                    </a:cubicBezTo>
                    <a:cubicBezTo>
                      <a:pt x="283" y="7201"/>
                      <a:pt x="283" y="7201"/>
                      <a:pt x="283" y="7201"/>
                    </a:cubicBezTo>
                    <a:cubicBezTo>
                      <a:pt x="355" y="7154"/>
                      <a:pt x="355" y="7154"/>
                      <a:pt x="355" y="7154"/>
                    </a:cubicBezTo>
                    <a:cubicBezTo>
                      <a:pt x="461" y="7313"/>
                      <a:pt x="461" y="7313"/>
                      <a:pt x="461" y="7313"/>
                    </a:cubicBezTo>
                    <a:cubicBezTo>
                      <a:pt x="455" y="7316"/>
                      <a:pt x="455" y="7316"/>
                      <a:pt x="455" y="7316"/>
                    </a:cubicBezTo>
                    <a:cubicBezTo>
                      <a:pt x="389" y="7360"/>
                      <a:pt x="389" y="7360"/>
                      <a:pt x="389" y="7360"/>
                    </a:cubicBezTo>
                    <a:lnTo>
                      <a:pt x="363" y="7321"/>
                    </a:lnTo>
                    <a:close/>
                    <a:moveTo>
                      <a:pt x="318" y="7335"/>
                    </a:moveTo>
                    <a:cubicBezTo>
                      <a:pt x="366" y="7303"/>
                      <a:pt x="366" y="7303"/>
                      <a:pt x="366" y="7303"/>
                    </a:cubicBezTo>
                    <a:cubicBezTo>
                      <a:pt x="392" y="7342"/>
                      <a:pt x="392" y="7342"/>
                      <a:pt x="392" y="7342"/>
                    </a:cubicBezTo>
                    <a:cubicBezTo>
                      <a:pt x="442" y="7309"/>
                      <a:pt x="442" y="7309"/>
                      <a:pt x="442" y="7309"/>
                    </a:cubicBezTo>
                    <a:cubicBezTo>
                      <a:pt x="352" y="7172"/>
                      <a:pt x="352" y="7172"/>
                      <a:pt x="352" y="7172"/>
                    </a:cubicBezTo>
                    <a:cubicBezTo>
                      <a:pt x="302" y="7205"/>
                      <a:pt x="302" y="7205"/>
                      <a:pt x="302" y="7205"/>
                    </a:cubicBezTo>
                    <a:cubicBezTo>
                      <a:pt x="327" y="7244"/>
                      <a:pt x="327" y="7244"/>
                      <a:pt x="327" y="7244"/>
                    </a:cubicBezTo>
                    <a:cubicBezTo>
                      <a:pt x="280" y="7276"/>
                      <a:pt x="280" y="7276"/>
                      <a:pt x="280" y="7276"/>
                    </a:cubicBezTo>
                    <a:lnTo>
                      <a:pt x="318" y="7335"/>
                    </a:lnTo>
                    <a:close/>
                    <a:moveTo>
                      <a:pt x="413" y="8293"/>
                    </a:moveTo>
                    <a:cubicBezTo>
                      <a:pt x="365" y="8221"/>
                      <a:pt x="365" y="8221"/>
                      <a:pt x="365" y="8221"/>
                    </a:cubicBezTo>
                    <a:cubicBezTo>
                      <a:pt x="489" y="8086"/>
                      <a:pt x="489" y="8086"/>
                      <a:pt x="489" y="8086"/>
                    </a:cubicBezTo>
                    <a:cubicBezTo>
                      <a:pt x="659" y="8306"/>
                      <a:pt x="659" y="8306"/>
                      <a:pt x="659" y="8306"/>
                    </a:cubicBezTo>
                    <a:cubicBezTo>
                      <a:pt x="653" y="8311"/>
                      <a:pt x="653" y="8311"/>
                      <a:pt x="653" y="8311"/>
                    </a:cubicBezTo>
                    <a:cubicBezTo>
                      <a:pt x="443" y="8483"/>
                      <a:pt x="443" y="8483"/>
                      <a:pt x="443" y="8483"/>
                    </a:cubicBezTo>
                    <a:cubicBezTo>
                      <a:pt x="384" y="8391"/>
                      <a:pt x="384" y="8391"/>
                      <a:pt x="384" y="8391"/>
                    </a:cubicBezTo>
                    <a:cubicBezTo>
                      <a:pt x="480" y="8299"/>
                      <a:pt x="480" y="8299"/>
                      <a:pt x="480" y="8299"/>
                    </a:cubicBezTo>
                    <a:cubicBezTo>
                      <a:pt x="460" y="8256"/>
                      <a:pt x="460" y="8256"/>
                      <a:pt x="460" y="8256"/>
                    </a:cubicBezTo>
                    <a:lnTo>
                      <a:pt x="413" y="8293"/>
                    </a:lnTo>
                    <a:close/>
                    <a:moveTo>
                      <a:pt x="384" y="8222"/>
                    </a:moveTo>
                    <a:cubicBezTo>
                      <a:pt x="416" y="8271"/>
                      <a:pt x="416" y="8271"/>
                      <a:pt x="416" y="8271"/>
                    </a:cubicBezTo>
                    <a:cubicBezTo>
                      <a:pt x="466" y="8233"/>
                      <a:pt x="466" y="8233"/>
                      <a:pt x="466" y="8233"/>
                    </a:cubicBezTo>
                    <a:cubicBezTo>
                      <a:pt x="497" y="8303"/>
                      <a:pt x="497" y="8303"/>
                      <a:pt x="497" y="8303"/>
                    </a:cubicBezTo>
                    <a:cubicBezTo>
                      <a:pt x="403" y="8394"/>
                      <a:pt x="403" y="8394"/>
                      <a:pt x="403" y="8394"/>
                    </a:cubicBezTo>
                    <a:cubicBezTo>
                      <a:pt x="446" y="8461"/>
                      <a:pt x="446" y="8461"/>
                      <a:pt x="446" y="8461"/>
                    </a:cubicBezTo>
                    <a:cubicBezTo>
                      <a:pt x="638" y="8304"/>
                      <a:pt x="638" y="8304"/>
                      <a:pt x="638" y="8304"/>
                    </a:cubicBezTo>
                    <a:cubicBezTo>
                      <a:pt x="488" y="8109"/>
                      <a:pt x="488" y="8109"/>
                      <a:pt x="488" y="8109"/>
                    </a:cubicBezTo>
                    <a:lnTo>
                      <a:pt x="384" y="8222"/>
                    </a:lnTo>
                    <a:close/>
                    <a:moveTo>
                      <a:pt x="3979" y="4193"/>
                    </a:moveTo>
                    <a:cubicBezTo>
                      <a:pt x="4080" y="4196"/>
                      <a:pt x="4080" y="4196"/>
                      <a:pt x="4080" y="4196"/>
                    </a:cubicBezTo>
                    <a:cubicBezTo>
                      <a:pt x="4077" y="4335"/>
                      <a:pt x="4077" y="4335"/>
                      <a:pt x="4077" y="4335"/>
                    </a:cubicBezTo>
                    <a:cubicBezTo>
                      <a:pt x="3976" y="4333"/>
                      <a:pt x="3976" y="4333"/>
                      <a:pt x="3976" y="4333"/>
                    </a:cubicBezTo>
                    <a:cubicBezTo>
                      <a:pt x="3976" y="4326"/>
                      <a:pt x="3976" y="4326"/>
                      <a:pt x="3976" y="4326"/>
                    </a:cubicBezTo>
                    <a:lnTo>
                      <a:pt x="3979" y="4193"/>
                    </a:lnTo>
                    <a:close/>
                    <a:moveTo>
                      <a:pt x="3989" y="4320"/>
                    </a:moveTo>
                    <a:cubicBezTo>
                      <a:pt x="4064" y="4322"/>
                      <a:pt x="4064" y="4322"/>
                      <a:pt x="4064" y="4322"/>
                    </a:cubicBezTo>
                    <a:cubicBezTo>
                      <a:pt x="4066" y="4208"/>
                      <a:pt x="4066" y="4208"/>
                      <a:pt x="4066" y="4208"/>
                    </a:cubicBezTo>
                    <a:cubicBezTo>
                      <a:pt x="3992" y="4207"/>
                      <a:pt x="3992" y="4207"/>
                      <a:pt x="3992" y="4207"/>
                    </a:cubicBezTo>
                    <a:lnTo>
                      <a:pt x="3989" y="4320"/>
                    </a:lnTo>
                    <a:close/>
                    <a:moveTo>
                      <a:pt x="3010" y="7636"/>
                    </a:moveTo>
                    <a:cubicBezTo>
                      <a:pt x="2992" y="7519"/>
                      <a:pt x="2992" y="7519"/>
                      <a:pt x="2992" y="7519"/>
                    </a:cubicBezTo>
                    <a:cubicBezTo>
                      <a:pt x="2999" y="7518"/>
                      <a:pt x="2999" y="7518"/>
                      <a:pt x="2999" y="7518"/>
                    </a:cubicBezTo>
                    <a:cubicBezTo>
                      <a:pt x="3000" y="7518"/>
                      <a:pt x="3000" y="7518"/>
                      <a:pt x="3000" y="7518"/>
                    </a:cubicBezTo>
                    <a:cubicBezTo>
                      <a:pt x="3003" y="7518"/>
                      <a:pt x="3052" y="7518"/>
                      <a:pt x="3101" y="7495"/>
                    </a:cubicBezTo>
                    <a:cubicBezTo>
                      <a:pt x="3244" y="7375"/>
                      <a:pt x="3244" y="7375"/>
                      <a:pt x="3244" y="7375"/>
                    </a:cubicBezTo>
                    <a:cubicBezTo>
                      <a:pt x="3363" y="7529"/>
                      <a:pt x="3363" y="7529"/>
                      <a:pt x="3363" y="7529"/>
                    </a:cubicBezTo>
                    <a:cubicBezTo>
                      <a:pt x="3357" y="7533"/>
                      <a:pt x="3357" y="7533"/>
                      <a:pt x="3357" y="7533"/>
                    </a:cubicBezTo>
                    <a:cubicBezTo>
                      <a:pt x="3282" y="7583"/>
                      <a:pt x="3282" y="7583"/>
                      <a:pt x="3282" y="7583"/>
                    </a:cubicBezTo>
                    <a:cubicBezTo>
                      <a:pt x="3262" y="7529"/>
                      <a:pt x="3262" y="7529"/>
                      <a:pt x="3262" y="7529"/>
                    </a:cubicBezTo>
                    <a:cubicBezTo>
                      <a:pt x="3248" y="7554"/>
                      <a:pt x="3216" y="7604"/>
                      <a:pt x="3175" y="7618"/>
                    </a:cubicBezTo>
                    <a:cubicBezTo>
                      <a:pt x="3123" y="7635"/>
                      <a:pt x="3017" y="7635"/>
                      <a:pt x="3017" y="7636"/>
                    </a:cubicBezTo>
                    <a:lnTo>
                      <a:pt x="3010" y="7636"/>
                    </a:lnTo>
                    <a:close/>
                    <a:moveTo>
                      <a:pt x="3009" y="7533"/>
                    </a:moveTo>
                    <a:cubicBezTo>
                      <a:pt x="3023" y="7621"/>
                      <a:pt x="3023" y="7621"/>
                      <a:pt x="3023" y="7621"/>
                    </a:cubicBezTo>
                    <a:cubicBezTo>
                      <a:pt x="3046" y="7620"/>
                      <a:pt x="3130" y="7617"/>
                      <a:pt x="3170" y="7604"/>
                    </a:cubicBezTo>
                    <a:cubicBezTo>
                      <a:pt x="3193" y="7597"/>
                      <a:pt x="3215" y="7573"/>
                      <a:pt x="3230" y="7551"/>
                    </a:cubicBezTo>
                    <a:cubicBezTo>
                      <a:pt x="3246" y="7528"/>
                      <a:pt x="3256" y="7508"/>
                      <a:pt x="3256" y="7508"/>
                    </a:cubicBezTo>
                    <a:cubicBezTo>
                      <a:pt x="3263" y="7492"/>
                      <a:pt x="3263" y="7492"/>
                      <a:pt x="3263" y="7492"/>
                    </a:cubicBezTo>
                    <a:cubicBezTo>
                      <a:pt x="3289" y="7561"/>
                      <a:pt x="3289" y="7561"/>
                      <a:pt x="3289" y="7561"/>
                    </a:cubicBezTo>
                    <a:cubicBezTo>
                      <a:pt x="3342" y="7525"/>
                      <a:pt x="3342" y="7525"/>
                      <a:pt x="3342" y="7525"/>
                    </a:cubicBezTo>
                    <a:cubicBezTo>
                      <a:pt x="3242" y="7396"/>
                      <a:pt x="3242" y="7396"/>
                      <a:pt x="3242" y="7396"/>
                    </a:cubicBezTo>
                    <a:cubicBezTo>
                      <a:pt x="3109" y="7507"/>
                      <a:pt x="3109" y="7507"/>
                      <a:pt x="3109" y="7507"/>
                    </a:cubicBezTo>
                    <a:cubicBezTo>
                      <a:pt x="3109" y="7508"/>
                      <a:pt x="3109" y="7508"/>
                      <a:pt x="3109" y="7508"/>
                    </a:cubicBezTo>
                    <a:cubicBezTo>
                      <a:pt x="3067" y="7527"/>
                      <a:pt x="3026" y="7532"/>
                      <a:pt x="3009" y="7533"/>
                    </a:cubicBezTo>
                    <a:close/>
                    <a:moveTo>
                      <a:pt x="2246" y="8262"/>
                    </a:moveTo>
                    <a:cubicBezTo>
                      <a:pt x="2269" y="8306"/>
                      <a:pt x="2269" y="8306"/>
                      <a:pt x="2269" y="8306"/>
                    </a:cubicBezTo>
                    <a:cubicBezTo>
                      <a:pt x="2293" y="8297"/>
                      <a:pt x="2293" y="8297"/>
                      <a:pt x="2293" y="8297"/>
                    </a:cubicBezTo>
                    <a:cubicBezTo>
                      <a:pt x="2346" y="8404"/>
                      <a:pt x="2346" y="8404"/>
                      <a:pt x="2346" y="8404"/>
                    </a:cubicBezTo>
                    <a:cubicBezTo>
                      <a:pt x="2071" y="8538"/>
                      <a:pt x="2071" y="8538"/>
                      <a:pt x="2071" y="8538"/>
                    </a:cubicBezTo>
                    <a:cubicBezTo>
                      <a:pt x="2018" y="8426"/>
                      <a:pt x="2018" y="8426"/>
                      <a:pt x="2018" y="8426"/>
                    </a:cubicBezTo>
                    <a:cubicBezTo>
                      <a:pt x="2135" y="8372"/>
                      <a:pt x="2135" y="8372"/>
                      <a:pt x="2135" y="8372"/>
                    </a:cubicBezTo>
                    <a:cubicBezTo>
                      <a:pt x="2128" y="8343"/>
                      <a:pt x="2128" y="8343"/>
                      <a:pt x="2128" y="8343"/>
                    </a:cubicBezTo>
                    <a:cubicBezTo>
                      <a:pt x="2142" y="8333"/>
                      <a:pt x="2142" y="8333"/>
                      <a:pt x="2142" y="8333"/>
                    </a:cubicBezTo>
                    <a:cubicBezTo>
                      <a:pt x="2116" y="8285"/>
                      <a:pt x="2116" y="8285"/>
                      <a:pt x="2116" y="8285"/>
                    </a:cubicBezTo>
                    <a:cubicBezTo>
                      <a:pt x="2146" y="8266"/>
                      <a:pt x="2146" y="8266"/>
                      <a:pt x="2146" y="8266"/>
                    </a:cubicBezTo>
                    <a:cubicBezTo>
                      <a:pt x="2162" y="8301"/>
                      <a:pt x="2162" y="8301"/>
                      <a:pt x="2162" y="8301"/>
                    </a:cubicBezTo>
                    <a:lnTo>
                      <a:pt x="2246" y="8262"/>
                    </a:lnTo>
                    <a:close/>
                    <a:moveTo>
                      <a:pt x="2257" y="8313"/>
                    </a:moveTo>
                    <a:cubicBezTo>
                      <a:pt x="2240" y="8280"/>
                      <a:pt x="2240" y="8280"/>
                      <a:pt x="2240" y="8280"/>
                    </a:cubicBezTo>
                    <a:cubicBezTo>
                      <a:pt x="2168" y="8314"/>
                      <a:pt x="2168" y="8314"/>
                      <a:pt x="2168" y="8314"/>
                    </a:cubicBezTo>
                    <a:cubicBezTo>
                      <a:pt x="2156" y="8320"/>
                      <a:pt x="2156" y="8320"/>
                      <a:pt x="2156" y="8320"/>
                    </a:cubicBezTo>
                    <a:cubicBezTo>
                      <a:pt x="2150" y="8307"/>
                      <a:pt x="2150" y="8307"/>
                      <a:pt x="2150" y="8307"/>
                    </a:cubicBezTo>
                    <a:cubicBezTo>
                      <a:pt x="2140" y="8286"/>
                      <a:pt x="2140" y="8286"/>
                      <a:pt x="2140" y="8286"/>
                    </a:cubicBezTo>
                    <a:cubicBezTo>
                      <a:pt x="2135" y="8290"/>
                      <a:pt x="2135" y="8290"/>
                      <a:pt x="2135" y="8290"/>
                    </a:cubicBezTo>
                    <a:cubicBezTo>
                      <a:pt x="2154" y="8326"/>
                      <a:pt x="2154" y="8326"/>
                      <a:pt x="2154" y="8326"/>
                    </a:cubicBezTo>
                    <a:cubicBezTo>
                      <a:pt x="2160" y="8337"/>
                      <a:pt x="2160" y="8337"/>
                      <a:pt x="2160" y="8337"/>
                    </a:cubicBezTo>
                    <a:cubicBezTo>
                      <a:pt x="2150" y="8344"/>
                      <a:pt x="2150" y="8344"/>
                      <a:pt x="2150" y="8344"/>
                    </a:cubicBezTo>
                    <a:cubicBezTo>
                      <a:pt x="2143" y="8349"/>
                      <a:pt x="2143" y="8349"/>
                      <a:pt x="2143" y="8349"/>
                    </a:cubicBezTo>
                    <a:cubicBezTo>
                      <a:pt x="2148" y="8369"/>
                      <a:pt x="2148" y="8369"/>
                      <a:pt x="2148" y="8369"/>
                    </a:cubicBezTo>
                    <a:cubicBezTo>
                      <a:pt x="2151" y="8380"/>
                      <a:pt x="2151" y="8380"/>
                      <a:pt x="2151" y="8380"/>
                    </a:cubicBezTo>
                    <a:cubicBezTo>
                      <a:pt x="2141" y="8385"/>
                      <a:pt x="2141" y="8385"/>
                      <a:pt x="2141" y="8385"/>
                    </a:cubicBezTo>
                    <a:cubicBezTo>
                      <a:pt x="2037" y="8433"/>
                      <a:pt x="2037" y="8433"/>
                      <a:pt x="2037" y="8433"/>
                    </a:cubicBezTo>
                    <a:cubicBezTo>
                      <a:pt x="2078" y="8519"/>
                      <a:pt x="2078" y="8519"/>
                      <a:pt x="2078" y="8519"/>
                    </a:cubicBezTo>
                    <a:cubicBezTo>
                      <a:pt x="2327" y="8397"/>
                      <a:pt x="2327" y="8397"/>
                      <a:pt x="2327" y="8397"/>
                    </a:cubicBezTo>
                    <a:cubicBezTo>
                      <a:pt x="2286" y="8315"/>
                      <a:pt x="2286" y="8315"/>
                      <a:pt x="2286" y="8315"/>
                    </a:cubicBezTo>
                    <a:cubicBezTo>
                      <a:pt x="2274" y="8319"/>
                      <a:pt x="2274" y="8319"/>
                      <a:pt x="2274" y="8319"/>
                    </a:cubicBezTo>
                    <a:cubicBezTo>
                      <a:pt x="2262" y="8324"/>
                      <a:pt x="2262" y="8324"/>
                      <a:pt x="2262" y="8324"/>
                    </a:cubicBezTo>
                    <a:lnTo>
                      <a:pt x="2257" y="8313"/>
                    </a:lnTo>
                    <a:close/>
                    <a:moveTo>
                      <a:pt x="492" y="8896"/>
                    </a:moveTo>
                    <a:cubicBezTo>
                      <a:pt x="332" y="8986"/>
                      <a:pt x="332" y="8986"/>
                      <a:pt x="332" y="8986"/>
                    </a:cubicBezTo>
                    <a:cubicBezTo>
                      <a:pt x="190" y="8847"/>
                      <a:pt x="190" y="8847"/>
                      <a:pt x="190" y="8847"/>
                    </a:cubicBezTo>
                    <a:cubicBezTo>
                      <a:pt x="259" y="8791"/>
                      <a:pt x="259" y="8791"/>
                      <a:pt x="259" y="8791"/>
                    </a:cubicBezTo>
                    <a:cubicBezTo>
                      <a:pt x="294" y="8812"/>
                      <a:pt x="294" y="8812"/>
                      <a:pt x="294" y="8812"/>
                    </a:cubicBezTo>
                    <a:cubicBezTo>
                      <a:pt x="320" y="8797"/>
                      <a:pt x="320" y="8797"/>
                      <a:pt x="320" y="8797"/>
                    </a:cubicBezTo>
                    <a:cubicBezTo>
                      <a:pt x="296" y="8758"/>
                      <a:pt x="296" y="8758"/>
                      <a:pt x="296" y="8758"/>
                    </a:cubicBezTo>
                    <a:cubicBezTo>
                      <a:pt x="392" y="8686"/>
                      <a:pt x="392" y="8686"/>
                      <a:pt x="392" y="8686"/>
                    </a:cubicBezTo>
                    <a:cubicBezTo>
                      <a:pt x="510" y="8790"/>
                      <a:pt x="510" y="8790"/>
                      <a:pt x="510" y="8790"/>
                    </a:cubicBezTo>
                    <a:cubicBezTo>
                      <a:pt x="495" y="8894"/>
                      <a:pt x="495" y="8894"/>
                      <a:pt x="495" y="8894"/>
                    </a:cubicBezTo>
                    <a:lnTo>
                      <a:pt x="492" y="8896"/>
                    </a:lnTo>
                    <a:close/>
                    <a:moveTo>
                      <a:pt x="481" y="8885"/>
                    </a:moveTo>
                    <a:cubicBezTo>
                      <a:pt x="494" y="8796"/>
                      <a:pt x="494" y="8796"/>
                      <a:pt x="494" y="8796"/>
                    </a:cubicBezTo>
                    <a:cubicBezTo>
                      <a:pt x="391" y="8705"/>
                      <a:pt x="391" y="8705"/>
                      <a:pt x="391" y="8705"/>
                    </a:cubicBezTo>
                    <a:cubicBezTo>
                      <a:pt x="316" y="8762"/>
                      <a:pt x="316" y="8762"/>
                      <a:pt x="316" y="8762"/>
                    </a:cubicBezTo>
                    <a:cubicBezTo>
                      <a:pt x="340" y="8803"/>
                      <a:pt x="340" y="8803"/>
                      <a:pt x="340" y="8803"/>
                    </a:cubicBezTo>
                    <a:cubicBezTo>
                      <a:pt x="294" y="8829"/>
                      <a:pt x="294" y="8829"/>
                      <a:pt x="294" y="8829"/>
                    </a:cubicBezTo>
                    <a:cubicBezTo>
                      <a:pt x="260" y="8809"/>
                      <a:pt x="260" y="8809"/>
                      <a:pt x="260" y="8809"/>
                    </a:cubicBezTo>
                    <a:cubicBezTo>
                      <a:pt x="212" y="8848"/>
                      <a:pt x="212" y="8848"/>
                      <a:pt x="212" y="8848"/>
                    </a:cubicBezTo>
                    <a:cubicBezTo>
                      <a:pt x="335" y="8968"/>
                      <a:pt x="335" y="8968"/>
                      <a:pt x="335" y="8968"/>
                    </a:cubicBezTo>
                    <a:lnTo>
                      <a:pt x="481" y="8885"/>
                    </a:lnTo>
                    <a:close/>
                    <a:moveTo>
                      <a:pt x="4543" y="4749"/>
                    </a:moveTo>
                    <a:cubicBezTo>
                      <a:pt x="4581" y="4770"/>
                      <a:pt x="4581" y="4770"/>
                      <a:pt x="4581" y="4770"/>
                    </a:cubicBezTo>
                    <a:cubicBezTo>
                      <a:pt x="4525" y="4872"/>
                      <a:pt x="4525" y="4872"/>
                      <a:pt x="4525" y="4872"/>
                    </a:cubicBezTo>
                    <a:cubicBezTo>
                      <a:pt x="4488" y="4852"/>
                      <a:pt x="4488" y="4852"/>
                      <a:pt x="4488" y="4852"/>
                    </a:cubicBezTo>
                    <a:cubicBezTo>
                      <a:pt x="4465" y="4893"/>
                      <a:pt x="4465" y="4893"/>
                      <a:pt x="4465" y="4893"/>
                    </a:cubicBezTo>
                    <a:cubicBezTo>
                      <a:pt x="4389" y="4852"/>
                      <a:pt x="4389" y="4852"/>
                      <a:pt x="4389" y="4852"/>
                    </a:cubicBezTo>
                    <a:cubicBezTo>
                      <a:pt x="4490" y="4667"/>
                      <a:pt x="4490" y="4667"/>
                      <a:pt x="4490" y="4667"/>
                    </a:cubicBezTo>
                    <a:cubicBezTo>
                      <a:pt x="4496" y="4670"/>
                      <a:pt x="4496" y="4670"/>
                      <a:pt x="4496" y="4670"/>
                    </a:cubicBezTo>
                    <a:cubicBezTo>
                      <a:pt x="4566" y="4708"/>
                      <a:pt x="4566" y="4708"/>
                      <a:pt x="4566" y="4708"/>
                    </a:cubicBezTo>
                    <a:lnTo>
                      <a:pt x="4543" y="4749"/>
                    </a:lnTo>
                    <a:close/>
                    <a:moveTo>
                      <a:pt x="4525" y="4755"/>
                    </a:moveTo>
                    <a:cubicBezTo>
                      <a:pt x="4548" y="4713"/>
                      <a:pt x="4548" y="4713"/>
                      <a:pt x="4548" y="4713"/>
                    </a:cubicBezTo>
                    <a:cubicBezTo>
                      <a:pt x="4495" y="4685"/>
                      <a:pt x="4495" y="4685"/>
                      <a:pt x="4495" y="4685"/>
                    </a:cubicBezTo>
                    <a:cubicBezTo>
                      <a:pt x="4407" y="4847"/>
                      <a:pt x="4407" y="4847"/>
                      <a:pt x="4407" y="4847"/>
                    </a:cubicBezTo>
                    <a:cubicBezTo>
                      <a:pt x="4460" y="4875"/>
                      <a:pt x="4460" y="4875"/>
                      <a:pt x="4460" y="4875"/>
                    </a:cubicBezTo>
                    <a:cubicBezTo>
                      <a:pt x="4482" y="4834"/>
                      <a:pt x="4482" y="4834"/>
                      <a:pt x="4482" y="4834"/>
                    </a:cubicBezTo>
                    <a:cubicBezTo>
                      <a:pt x="4520" y="4855"/>
                      <a:pt x="4520" y="4855"/>
                      <a:pt x="4520" y="4855"/>
                    </a:cubicBezTo>
                    <a:cubicBezTo>
                      <a:pt x="4563" y="4775"/>
                      <a:pt x="4563" y="4775"/>
                      <a:pt x="4563" y="4775"/>
                    </a:cubicBezTo>
                    <a:lnTo>
                      <a:pt x="4525" y="4755"/>
                    </a:lnTo>
                    <a:close/>
                    <a:moveTo>
                      <a:pt x="4979" y="5149"/>
                    </a:moveTo>
                    <a:cubicBezTo>
                      <a:pt x="4938" y="5163"/>
                      <a:pt x="4938" y="5163"/>
                      <a:pt x="4938" y="5163"/>
                    </a:cubicBezTo>
                    <a:cubicBezTo>
                      <a:pt x="4953" y="5207"/>
                      <a:pt x="4953" y="5207"/>
                      <a:pt x="4953" y="5207"/>
                    </a:cubicBezTo>
                    <a:cubicBezTo>
                      <a:pt x="4871" y="5234"/>
                      <a:pt x="4871" y="5234"/>
                      <a:pt x="4871" y="5234"/>
                    </a:cubicBezTo>
                    <a:cubicBezTo>
                      <a:pt x="4806" y="5033"/>
                      <a:pt x="4806" y="5033"/>
                      <a:pt x="4806" y="5033"/>
                    </a:cubicBezTo>
                    <a:cubicBezTo>
                      <a:pt x="4812" y="5031"/>
                      <a:pt x="4812" y="5031"/>
                      <a:pt x="4812" y="5031"/>
                    </a:cubicBezTo>
                    <a:cubicBezTo>
                      <a:pt x="4888" y="5007"/>
                      <a:pt x="4888" y="5007"/>
                      <a:pt x="4888" y="5007"/>
                    </a:cubicBezTo>
                    <a:cubicBezTo>
                      <a:pt x="4902" y="5052"/>
                      <a:pt x="4902" y="5052"/>
                      <a:pt x="4902" y="5052"/>
                    </a:cubicBezTo>
                    <a:cubicBezTo>
                      <a:pt x="4943" y="5038"/>
                      <a:pt x="4943" y="5038"/>
                      <a:pt x="4943" y="5038"/>
                    </a:cubicBezTo>
                    <a:lnTo>
                      <a:pt x="4979" y="5149"/>
                    </a:lnTo>
                    <a:close/>
                    <a:moveTo>
                      <a:pt x="4922" y="5154"/>
                    </a:moveTo>
                    <a:cubicBezTo>
                      <a:pt x="4963" y="5141"/>
                      <a:pt x="4963" y="5141"/>
                      <a:pt x="4963" y="5141"/>
                    </a:cubicBezTo>
                    <a:cubicBezTo>
                      <a:pt x="4935" y="5055"/>
                      <a:pt x="4935" y="5055"/>
                      <a:pt x="4935" y="5055"/>
                    </a:cubicBezTo>
                    <a:cubicBezTo>
                      <a:pt x="4894" y="5068"/>
                      <a:pt x="4894" y="5068"/>
                      <a:pt x="4894" y="5068"/>
                    </a:cubicBezTo>
                    <a:cubicBezTo>
                      <a:pt x="4879" y="5023"/>
                      <a:pt x="4879" y="5023"/>
                      <a:pt x="4879" y="5023"/>
                    </a:cubicBezTo>
                    <a:cubicBezTo>
                      <a:pt x="4822" y="5042"/>
                      <a:pt x="4822" y="5042"/>
                      <a:pt x="4822" y="5042"/>
                    </a:cubicBezTo>
                    <a:cubicBezTo>
                      <a:pt x="4879" y="5217"/>
                      <a:pt x="4879" y="5217"/>
                      <a:pt x="4879" y="5217"/>
                    </a:cubicBezTo>
                    <a:cubicBezTo>
                      <a:pt x="4936" y="5199"/>
                      <a:pt x="4936" y="5199"/>
                      <a:pt x="4936" y="5199"/>
                    </a:cubicBezTo>
                    <a:lnTo>
                      <a:pt x="4922" y="5154"/>
                    </a:lnTo>
                    <a:close/>
                    <a:moveTo>
                      <a:pt x="3509" y="7388"/>
                    </a:moveTo>
                    <a:cubicBezTo>
                      <a:pt x="3424" y="7455"/>
                      <a:pt x="3424" y="7455"/>
                      <a:pt x="3424" y="7455"/>
                    </a:cubicBezTo>
                    <a:cubicBezTo>
                      <a:pt x="3316" y="7328"/>
                      <a:pt x="3316" y="7328"/>
                      <a:pt x="3316" y="7328"/>
                    </a:cubicBezTo>
                    <a:cubicBezTo>
                      <a:pt x="3502" y="7304"/>
                      <a:pt x="3502" y="7304"/>
                      <a:pt x="3502" y="7304"/>
                    </a:cubicBezTo>
                    <a:cubicBezTo>
                      <a:pt x="3502" y="7312"/>
                      <a:pt x="3502" y="7312"/>
                      <a:pt x="3502" y="7312"/>
                    </a:cubicBezTo>
                    <a:lnTo>
                      <a:pt x="3509" y="7388"/>
                    </a:lnTo>
                    <a:close/>
                    <a:moveTo>
                      <a:pt x="3493" y="7381"/>
                    </a:moveTo>
                    <a:cubicBezTo>
                      <a:pt x="3488" y="7321"/>
                      <a:pt x="3488" y="7321"/>
                      <a:pt x="3488" y="7321"/>
                    </a:cubicBezTo>
                    <a:cubicBezTo>
                      <a:pt x="3345" y="7340"/>
                      <a:pt x="3345" y="7340"/>
                      <a:pt x="3345" y="7340"/>
                    </a:cubicBezTo>
                    <a:cubicBezTo>
                      <a:pt x="3426" y="7435"/>
                      <a:pt x="3426" y="7435"/>
                      <a:pt x="3426" y="7435"/>
                    </a:cubicBezTo>
                    <a:lnTo>
                      <a:pt x="3493" y="7381"/>
                    </a:lnTo>
                    <a:close/>
                    <a:moveTo>
                      <a:pt x="4236" y="4763"/>
                    </a:moveTo>
                    <a:cubicBezTo>
                      <a:pt x="4198" y="4742"/>
                      <a:pt x="4198" y="4742"/>
                      <a:pt x="4198" y="4742"/>
                    </a:cubicBezTo>
                    <a:cubicBezTo>
                      <a:pt x="4254" y="4640"/>
                      <a:pt x="4254" y="4640"/>
                      <a:pt x="4254" y="4640"/>
                    </a:cubicBezTo>
                    <a:cubicBezTo>
                      <a:pt x="4292" y="4660"/>
                      <a:pt x="4292" y="4660"/>
                      <a:pt x="4292" y="4660"/>
                    </a:cubicBezTo>
                    <a:cubicBezTo>
                      <a:pt x="4314" y="4619"/>
                      <a:pt x="4314" y="4619"/>
                      <a:pt x="4314" y="4619"/>
                    </a:cubicBezTo>
                    <a:cubicBezTo>
                      <a:pt x="4390" y="4660"/>
                      <a:pt x="4390" y="4660"/>
                      <a:pt x="4390" y="4660"/>
                    </a:cubicBezTo>
                    <a:cubicBezTo>
                      <a:pt x="4289" y="4845"/>
                      <a:pt x="4289" y="4845"/>
                      <a:pt x="4289" y="4845"/>
                    </a:cubicBezTo>
                    <a:cubicBezTo>
                      <a:pt x="4284" y="4842"/>
                      <a:pt x="4284" y="4842"/>
                      <a:pt x="4284" y="4842"/>
                    </a:cubicBezTo>
                    <a:cubicBezTo>
                      <a:pt x="4214" y="4804"/>
                      <a:pt x="4214" y="4804"/>
                      <a:pt x="4214" y="4804"/>
                    </a:cubicBezTo>
                    <a:lnTo>
                      <a:pt x="4236" y="4763"/>
                    </a:lnTo>
                    <a:close/>
                    <a:moveTo>
                      <a:pt x="4254" y="4758"/>
                    </a:moveTo>
                    <a:cubicBezTo>
                      <a:pt x="4231" y="4799"/>
                      <a:pt x="4231" y="4799"/>
                      <a:pt x="4231" y="4799"/>
                    </a:cubicBezTo>
                    <a:cubicBezTo>
                      <a:pt x="4284" y="4828"/>
                      <a:pt x="4284" y="4828"/>
                      <a:pt x="4284" y="4828"/>
                    </a:cubicBezTo>
                    <a:cubicBezTo>
                      <a:pt x="4372" y="4665"/>
                      <a:pt x="4372" y="4665"/>
                      <a:pt x="4372" y="4665"/>
                    </a:cubicBezTo>
                    <a:cubicBezTo>
                      <a:pt x="4319" y="4637"/>
                      <a:pt x="4319" y="4637"/>
                      <a:pt x="4319" y="4637"/>
                    </a:cubicBezTo>
                    <a:cubicBezTo>
                      <a:pt x="4297" y="4678"/>
                      <a:pt x="4297" y="4678"/>
                      <a:pt x="4297" y="4678"/>
                    </a:cubicBezTo>
                    <a:cubicBezTo>
                      <a:pt x="4259" y="4658"/>
                      <a:pt x="4259" y="4658"/>
                      <a:pt x="4259" y="4658"/>
                    </a:cubicBezTo>
                    <a:cubicBezTo>
                      <a:pt x="4216" y="4737"/>
                      <a:pt x="4216" y="4737"/>
                      <a:pt x="4216" y="4737"/>
                    </a:cubicBezTo>
                    <a:lnTo>
                      <a:pt x="4254" y="4758"/>
                    </a:lnTo>
                    <a:close/>
                    <a:moveTo>
                      <a:pt x="956" y="6550"/>
                    </a:moveTo>
                    <a:cubicBezTo>
                      <a:pt x="951" y="6545"/>
                      <a:pt x="951" y="6545"/>
                      <a:pt x="951" y="6545"/>
                    </a:cubicBezTo>
                    <a:cubicBezTo>
                      <a:pt x="985" y="6494"/>
                      <a:pt x="985" y="6494"/>
                      <a:pt x="985" y="6494"/>
                    </a:cubicBezTo>
                    <a:cubicBezTo>
                      <a:pt x="1345" y="6701"/>
                      <a:pt x="1345" y="6701"/>
                      <a:pt x="1345" y="6701"/>
                    </a:cubicBezTo>
                    <a:cubicBezTo>
                      <a:pt x="1336" y="6707"/>
                      <a:pt x="1336" y="6707"/>
                      <a:pt x="1336" y="6707"/>
                    </a:cubicBezTo>
                    <a:cubicBezTo>
                      <a:pt x="1267" y="6761"/>
                      <a:pt x="1267" y="6761"/>
                      <a:pt x="1267" y="6761"/>
                    </a:cubicBezTo>
                    <a:cubicBezTo>
                      <a:pt x="1221" y="6729"/>
                      <a:pt x="1221" y="6729"/>
                      <a:pt x="1221" y="6729"/>
                    </a:cubicBezTo>
                    <a:cubicBezTo>
                      <a:pt x="1224" y="6745"/>
                      <a:pt x="1228" y="6767"/>
                      <a:pt x="1228" y="6788"/>
                    </a:cubicBezTo>
                    <a:cubicBezTo>
                      <a:pt x="1228" y="6809"/>
                      <a:pt x="1225" y="6830"/>
                      <a:pt x="1210" y="6842"/>
                    </a:cubicBezTo>
                    <a:cubicBezTo>
                      <a:pt x="1199" y="6849"/>
                      <a:pt x="1186" y="6852"/>
                      <a:pt x="1172" y="6852"/>
                    </a:cubicBezTo>
                    <a:cubicBezTo>
                      <a:pt x="1134" y="6852"/>
                      <a:pt x="1091" y="6833"/>
                      <a:pt x="1090" y="6833"/>
                    </a:cubicBezTo>
                    <a:cubicBezTo>
                      <a:pt x="1088" y="6832"/>
                      <a:pt x="1088" y="6832"/>
                      <a:pt x="1088" y="6832"/>
                    </a:cubicBezTo>
                    <a:cubicBezTo>
                      <a:pt x="1053" y="6757"/>
                      <a:pt x="1053" y="6757"/>
                      <a:pt x="1053" y="6757"/>
                    </a:cubicBezTo>
                    <a:cubicBezTo>
                      <a:pt x="1068" y="6761"/>
                      <a:pt x="1068" y="6761"/>
                      <a:pt x="1068" y="6761"/>
                    </a:cubicBezTo>
                    <a:cubicBezTo>
                      <a:pt x="1068" y="6761"/>
                      <a:pt x="1077" y="6764"/>
                      <a:pt x="1087" y="6764"/>
                    </a:cubicBezTo>
                    <a:cubicBezTo>
                      <a:pt x="1100" y="6763"/>
                      <a:pt x="1108" y="6761"/>
                      <a:pt x="1108" y="6748"/>
                    </a:cubicBezTo>
                    <a:cubicBezTo>
                      <a:pt x="1108" y="6740"/>
                      <a:pt x="1105" y="6728"/>
                      <a:pt x="1096" y="6710"/>
                    </a:cubicBezTo>
                    <a:cubicBezTo>
                      <a:pt x="1053" y="6628"/>
                      <a:pt x="956" y="6550"/>
                      <a:pt x="956" y="6550"/>
                    </a:cubicBezTo>
                    <a:close/>
                    <a:moveTo>
                      <a:pt x="971" y="6542"/>
                    </a:moveTo>
                    <a:cubicBezTo>
                      <a:pt x="991" y="6560"/>
                      <a:pt x="1070" y="6629"/>
                      <a:pt x="1109" y="6703"/>
                    </a:cubicBezTo>
                    <a:cubicBezTo>
                      <a:pt x="1118" y="6722"/>
                      <a:pt x="1123" y="6736"/>
                      <a:pt x="1123" y="6748"/>
                    </a:cubicBezTo>
                    <a:cubicBezTo>
                      <a:pt x="1123" y="6759"/>
                      <a:pt x="1118" y="6768"/>
                      <a:pt x="1110" y="6773"/>
                    </a:cubicBezTo>
                    <a:cubicBezTo>
                      <a:pt x="1103" y="6777"/>
                      <a:pt x="1094" y="6778"/>
                      <a:pt x="1087" y="6779"/>
                    </a:cubicBezTo>
                    <a:cubicBezTo>
                      <a:pt x="1084" y="6779"/>
                      <a:pt x="1081" y="6778"/>
                      <a:pt x="1079" y="6778"/>
                    </a:cubicBezTo>
                    <a:cubicBezTo>
                      <a:pt x="1099" y="6820"/>
                      <a:pt x="1099" y="6820"/>
                      <a:pt x="1099" y="6820"/>
                    </a:cubicBezTo>
                    <a:cubicBezTo>
                      <a:pt x="1108" y="6824"/>
                      <a:pt x="1144" y="6837"/>
                      <a:pt x="1172" y="6837"/>
                    </a:cubicBezTo>
                    <a:cubicBezTo>
                      <a:pt x="1184" y="6837"/>
                      <a:pt x="1194" y="6835"/>
                      <a:pt x="1201" y="6830"/>
                    </a:cubicBezTo>
                    <a:cubicBezTo>
                      <a:pt x="1209" y="6824"/>
                      <a:pt x="1214" y="6808"/>
                      <a:pt x="1214" y="6788"/>
                    </a:cubicBezTo>
                    <a:cubicBezTo>
                      <a:pt x="1214" y="6754"/>
                      <a:pt x="1202" y="6714"/>
                      <a:pt x="1202" y="6714"/>
                    </a:cubicBezTo>
                    <a:cubicBezTo>
                      <a:pt x="1196" y="6694"/>
                      <a:pt x="1196" y="6694"/>
                      <a:pt x="1196" y="6694"/>
                    </a:cubicBezTo>
                    <a:cubicBezTo>
                      <a:pt x="1267" y="6743"/>
                      <a:pt x="1267" y="6743"/>
                      <a:pt x="1267" y="6743"/>
                    </a:cubicBezTo>
                    <a:cubicBezTo>
                      <a:pt x="1318" y="6702"/>
                      <a:pt x="1318" y="6702"/>
                      <a:pt x="1318" y="6702"/>
                    </a:cubicBezTo>
                    <a:cubicBezTo>
                      <a:pt x="990" y="6513"/>
                      <a:pt x="990" y="6513"/>
                      <a:pt x="990" y="6513"/>
                    </a:cubicBezTo>
                    <a:lnTo>
                      <a:pt x="971" y="6542"/>
                    </a:lnTo>
                    <a:close/>
                    <a:moveTo>
                      <a:pt x="739" y="6403"/>
                    </a:moveTo>
                    <a:cubicBezTo>
                      <a:pt x="724" y="6417"/>
                      <a:pt x="708" y="6433"/>
                      <a:pt x="691" y="6433"/>
                    </a:cubicBezTo>
                    <a:cubicBezTo>
                      <a:pt x="691" y="6433"/>
                      <a:pt x="690" y="6433"/>
                      <a:pt x="690" y="6433"/>
                    </a:cubicBezTo>
                    <a:cubicBezTo>
                      <a:pt x="683" y="6433"/>
                      <a:pt x="675" y="6428"/>
                      <a:pt x="672" y="6420"/>
                    </a:cubicBezTo>
                    <a:cubicBezTo>
                      <a:pt x="663" y="6395"/>
                      <a:pt x="616" y="6353"/>
                      <a:pt x="567" y="6317"/>
                    </a:cubicBezTo>
                    <a:cubicBezTo>
                      <a:pt x="518" y="6281"/>
                      <a:pt x="467" y="6248"/>
                      <a:pt x="449" y="6235"/>
                    </a:cubicBezTo>
                    <a:cubicBezTo>
                      <a:pt x="443" y="6231"/>
                      <a:pt x="443" y="6231"/>
                      <a:pt x="443" y="6231"/>
                    </a:cubicBezTo>
                    <a:cubicBezTo>
                      <a:pt x="469" y="6197"/>
                      <a:pt x="469" y="6197"/>
                      <a:pt x="469" y="6197"/>
                    </a:cubicBezTo>
                    <a:cubicBezTo>
                      <a:pt x="771" y="6367"/>
                      <a:pt x="771" y="6367"/>
                      <a:pt x="771" y="6367"/>
                    </a:cubicBezTo>
                    <a:cubicBezTo>
                      <a:pt x="765" y="6374"/>
                      <a:pt x="765" y="6374"/>
                      <a:pt x="765" y="6374"/>
                    </a:cubicBezTo>
                    <a:cubicBezTo>
                      <a:pt x="765" y="6374"/>
                      <a:pt x="754" y="6388"/>
                      <a:pt x="739" y="6403"/>
                    </a:cubicBezTo>
                    <a:close/>
                    <a:moveTo>
                      <a:pt x="729" y="6392"/>
                    </a:moveTo>
                    <a:cubicBezTo>
                      <a:pt x="737" y="6384"/>
                      <a:pt x="744" y="6377"/>
                      <a:pt x="748" y="6371"/>
                    </a:cubicBezTo>
                    <a:cubicBezTo>
                      <a:pt x="473" y="6216"/>
                      <a:pt x="473" y="6216"/>
                      <a:pt x="473" y="6216"/>
                    </a:cubicBezTo>
                    <a:cubicBezTo>
                      <a:pt x="464" y="6228"/>
                      <a:pt x="464" y="6228"/>
                      <a:pt x="464" y="6228"/>
                    </a:cubicBezTo>
                    <a:cubicBezTo>
                      <a:pt x="485" y="6242"/>
                      <a:pt x="531" y="6272"/>
                      <a:pt x="576" y="6305"/>
                    </a:cubicBezTo>
                    <a:cubicBezTo>
                      <a:pt x="625" y="6343"/>
                      <a:pt x="673" y="6382"/>
                      <a:pt x="686" y="6414"/>
                    </a:cubicBezTo>
                    <a:cubicBezTo>
                      <a:pt x="688" y="6419"/>
                      <a:pt x="688" y="6418"/>
                      <a:pt x="691" y="6419"/>
                    </a:cubicBezTo>
                    <a:cubicBezTo>
                      <a:pt x="697" y="6419"/>
                      <a:pt x="716" y="6406"/>
                      <a:pt x="729" y="6392"/>
                    </a:cubicBezTo>
                    <a:close/>
                    <a:moveTo>
                      <a:pt x="1019" y="7055"/>
                    </a:moveTo>
                    <a:cubicBezTo>
                      <a:pt x="914" y="7347"/>
                      <a:pt x="914" y="7347"/>
                      <a:pt x="914" y="7347"/>
                    </a:cubicBezTo>
                    <a:cubicBezTo>
                      <a:pt x="906" y="7341"/>
                      <a:pt x="906" y="7341"/>
                      <a:pt x="906" y="7341"/>
                    </a:cubicBezTo>
                    <a:cubicBezTo>
                      <a:pt x="748" y="7227"/>
                      <a:pt x="748" y="7227"/>
                      <a:pt x="748" y="7227"/>
                    </a:cubicBezTo>
                    <a:cubicBezTo>
                      <a:pt x="775" y="7136"/>
                      <a:pt x="775" y="7136"/>
                      <a:pt x="775" y="7136"/>
                    </a:cubicBezTo>
                    <a:cubicBezTo>
                      <a:pt x="709" y="7079"/>
                      <a:pt x="709" y="7079"/>
                      <a:pt x="709" y="7079"/>
                    </a:cubicBezTo>
                    <a:cubicBezTo>
                      <a:pt x="745" y="7024"/>
                      <a:pt x="745" y="7024"/>
                      <a:pt x="745" y="7024"/>
                    </a:cubicBezTo>
                    <a:cubicBezTo>
                      <a:pt x="529" y="6867"/>
                      <a:pt x="529" y="6867"/>
                      <a:pt x="529" y="6867"/>
                    </a:cubicBezTo>
                    <a:cubicBezTo>
                      <a:pt x="600" y="6765"/>
                      <a:pt x="600" y="6765"/>
                      <a:pt x="600" y="6765"/>
                    </a:cubicBezTo>
                    <a:cubicBezTo>
                      <a:pt x="711" y="6857"/>
                      <a:pt x="711" y="6857"/>
                      <a:pt x="711" y="6857"/>
                    </a:cubicBezTo>
                    <a:cubicBezTo>
                      <a:pt x="753" y="6788"/>
                      <a:pt x="753" y="6788"/>
                      <a:pt x="753" y="6788"/>
                    </a:cubicBezTo>
                    <a:cubicBezTo>
                      <a:pt x="859" y="6862"/>
                      <a:pt x="859" y="6862"/>
                      <a:pt x="859" y="6862"/>
                    </a:cubicBezTo>
                    <a:cubicBezTo>
                      <a:pt x="890" y="6841"/>
                      <a:pt x="890" y="6841"/>
                      <a:pt x="890" y="6841"/>
                    </a:cubicBezTo>
                    <a:lnTo>
                      <a:pt x="1019" y="7055"/>
                    </a:lnTo>
                    <a:close/>
                    <a:moveTo>
                      <a:pt x="1003" y="7056"/>
                    </a:moveTo>
                    <a:cubicBezTo>
                      <a:pt x="885" y="6862"/>
                      <a:pt x="885" y="6862"/>
                      <a:pt x="885" y="6862"/>
                    </a:cubicBezTo>
                    <a:cubicBezTo>
                      <a:pt x="859" y="6880"/>
                      <a:pt x="859" y="6880"/>
                      <a:pt x="859" y="6880"/>
                    </a:cubicBezTo>
                    <a:cubicBezTo>
                      <a:pt x="757" y="6809"/>
                      <a:pt x="757" y="6809"/>
                      <a:pt x="757" y="6809"/>
                    </a:cubicBezTo>
                    <a:cubicBezTo>
                      <a:pt x="715" y="6879"/>
                      <a:pt x="715" y="6879"/>
                      <a:pt x="715" y="6879"/>
                    </a:cubicBezTo>
                    <a:cubicBezTo>
                      <a:pt x="603" y="6786"/>
                      <a:pt x="603" y="6786"/>
                      <a:pt x="603" y="6786"/>
                    </a:cubicBezTo>
                    <a:cubicBezTo>
                      <a:pt x="549" y="6864"/>
                      <a:pt x="549" y="6864"/>
                      <a:pt x="549" y="6864"/>
                    </a:cubicBezTo>
                    <a:cubicBezTo>
                      <a:pt x="765" y="7021"/>
                      <a:pt x="765" y="7021"/>
                      <a:pt x="765" y="7021"/>
                    </a:cubicBezTo>
                    <a:cubicBezTo>
                      <a:pt x="729" y="7076"/>
                      <a:pt x="729" y="7076"/>
                      <a:pt x="729" y="7076"/>
                    </a:cubicBezTo>
                    <a:cubicBezTo>
                      <a:pt x="792" y="7131"/>
                      <a:pt x="792" y="7131"/>
                      <a:pt x="792" y="7131"/>
                    </a:cubicBezTo>
                    <a:cubicBezTo>
                      <a:pt x="765" y="7221"/>
                      <a:pt x="765" y="7221"/>
                      <a:pt x="765" y="7221"/>
                    </a:cubicBezTo>
                    <a:cubicBezTo>
                      <a:pt x="907" y="7323"/>
                      <a:pt x="907" y="7323"/>
                      <a:pt x="907" y="7323"/>
                    </a:cubicBezTo>
                    <a:lnTo>
                      <a:pt x="1003" y="7056"/>
                    </a:lnTo>
                    <a:close/>
                    <a:moveTo>
                      <a:pt x="3572" y="7593"/>
                    </a:moveTo>
                    <a:cubicBezTo>
                      <a:pt x="3569" y="7592"/>
                      <a:pt x="3591" y="7589"/>
                      <a:pt x="3591" y="7589"/>
                    </a:cubicBezTo>
                    <a:cubicBezTo>
                      <a:pt x="3577" y="7512"/>
                      <a:pt x="3577" y="7512"/>
                      <a:pt x="3577" y="7512"/>
                    </a:cubicBezTo>
                    <a:cubicBezTo>
                      <a:pt x="3659" y="7496"/>
                      <a:pt x="3659" y="7496"/>
                      <a:pt x="3659" y="7496"/>
                    </a:cubicBezTo>
                    <a:cubicBezTo>
                      <a:pt x="3676" y="7575"/>
                      <a:pt x="3676" y="7575"/>
                      <a:pt x="3676" y="7575"/>
                    </a:cubicBezTo>
                    <a:cubicBezTo>
                      <a:pt x="3750" y="7562"/>
                      <a:pt x="3750" y="7562"/>
                      <a:pt x="3750" y="7562"/>
                    </a:cubicBezTo>
                    <a:cubicBezTo>
                      <a:pt x="3764" y="7647"/>
                      <a:pt x="3764" y="7647"/>
                      <a:pt x="3764" y="7647"/>
                    </a:cubicBezTo>
                    <a:cubicBezTo>
                      <a:pt x="3588" y="7673"/>
                      <a:pt x="3588" y="7673"/>
                      <a:pt x="3588" y="7673"/>
                    </a:cubicBezTo>
                    <a:cubicBezTo>
                      <a:pt x="3588" y="7673"/>
                      <a:pt x="3574" y="7594"/>
                      <a:pt x="3572" y="7593"/>
                    </a:cubicBezTo>
                    <a:close/>
                    <a:moveTo>
                      <a:pt x="3589" y="7603"/>
                    </a:moveTo>
                    <a:cubicBezTo>
                      <a:pt x="3591" y="7614"/>
                      <a:pt x="3594" y="7631"/>
                      <a:pt x="3599" y="7658"/>
                    </a:cubicBezTo>
                    <a:cubicBezTo>
                      <a:pt x="3748" y="7635"/>
                      <a:pt x="3748" y="7635"/>
                      <a:pt x="3748" y="7635"/>
                    </a:cubicBezTo>
                    <a:cubicBezTo>
                      <a:pt x="3739" y="7579"/>
                      <a:pt x="3739" y="7579"/>
                      <a:pt x="3739" y="7579"/>
                    </a:cubicBezTo>
                    <a:cubicBezTo>
                      <a:pt x="3678" y="7589"/>
                      <a:pt x="3678" y="7589"/>
                      <a:pt x="3678" y="7589"/>
                    </a:cubicBezTo>
                    <a:cubicBezTo>
                      <a:pt x="3665" y="7591"/>
                      <a:pt x="3665" y="7591"/>
                      <a:pt x="3665" y="7591"/>
                    </a:cubicBezTo>
                    <a:cubicBezTo>
                      <a:pt x="3662" y="7578"/>
                      <a:pt x="3662" y="7578"/>
                      <a:pt x="3662" y="7578"/>
                    </a:cubicBezTo>
                    <a:cubicBezTo>
                      <a:pt x="3648" y="7512"/>
                      <a:pt x="3648" y="7512"/>
                      <a:pt x="3648" y="7512"/>
                    </a:cubicBezTo>
                    <a:cubicBezTo>
                      <a:pt x="3594" y="7523"/>
                      <a:pt x="3594" y="7523"/>
                      <a:pt x="3594" y="7523"/>
                    </a:cubicBezTo>
                    <a:cubicBezTo>
                      <a:pt x="3605" y="7586"/>
                      <a:pt x="3605" y="7586"/>
                      <a:pt x="3605" y="7586"/>
                    </a:cubicBezTo>
                    <a:cubicBezTo>
                      <a:pt x="3607" y="7600"/>
                      <a:pt x="3607" y="7600"/>
                      <a:pt x="3607" y="7600"/>
                    </a:cubicBezTo>
                    <a:cubicBezTo>
                      <a:pt x="3593" y="7603"/>
                      <a:pt x="3593" y="7603"/>
                      <a:pt x="3593" y="7603"/>
                    </a:cubicBezTo>
                    <a:cubicBezTo>
                      <a:pt x="3592" y="7603"/>
                      <a:pt x="3590" y="7603"/>
                      <a:pt x="3589" y="7603"/>
                    </a:cubicBezTo>
                    <a:close/>
                    <a:moveTo>
                      <a:pt x="7748" y="9240"/>
                    </a:moveTo>
                    <a:cubicBezTo>
                      <a:pt x="7800" y="9294"/>
                      <a:pt x="7800" y="9294"/>
                      <a:pt x="7800" y="9294"/>
                    </a:cubicBezTo>
                    <a:cubicBezTo>
                      <a:pt x="7746" y="9347"/>
                      <a:pt x="7746" y="9347"/>
                      <a:pt x="7746" y="9347"/>
                    </a:cubicBezTo>
                    <a:cubicBezTo>
                      <a:pt x="7741" y="9342"/>
                      <a:pt x="7741" y="9342"/>
                      <a:pt x="7741" y="9342"/>
                    </a:cubicBezTo>
                    <a:cubicBezTo>
                      <a:pt x="7610" y="9203"/>
                      <a:pt x="7610" y="9203"/>
                      <a:pt x="7610" y="9203"/>
                    </a:cubicBezTo>
                    <a:cubicBezTo>
                      <a:pt x="7645" y="9168"/>
                      <a:pt x="7645" y="9168"/>
                      <a:pt x="7645" y="9168"/>
                    </a:cubicBezTo>
                    <a:cubicBezTo>
                      <a:pt x="7637" y="9160"/>
                      <a:pt x="7637" y="9160"/>
                      <a:pt x="7637" y="9160"/>
                    </a:cubicBezTo>
                    <a:cubicBezTo>
                      <a:pt x="7632" y="9155"/>
                      <a:pt x="7632" y="9155"/>
                      <a:pt x="7632" y="9155"/>
                    </a:cubicBezTo>
                    <a:cubicBezTo>
                      <a:pt x="7702" y="9088"/>
                      <a:pt x="7702" y="9088"/>
                      <a:pt x="7702" y="9088"/>
                    </a:cubicBezTo>
                    <a:cubicBezTo>
                      <a:pt x="7800" y="9189"/>
                      <a:pt x="7800" y="9189"/>
                      <a:pt x="7800" y="9189"/>
                    </a:cubicBezTo>
                    <a:lnTo>
                      <a:pt x="7748" y="9240"/>
                    </a:lnTo>
                    <a:close/>
                    <a:moveTo>
                      <a:pt x="7729" y="9240"/>
                    </a:moveTo>
                    <a:cubicBezTo>
                      <a:pt x="7781" y="9189"/>
                      <a:pt x="7781" y="9189"/>
                      <a:pt x="7781" y="9189"/>
                    </a:cubicBezTo>
                    <a:cubicBezTo>
                      <a:pt x="7701" y="9106"/>
                      <a:pt x="7701" y="9106"/>
                      <a:pt x="7701" y="9106"/>
                    </a:cubicBezTo>
                    <a:cubicBezTo>
                      <a:pt x="7651" y="9156"/>
                      <a:pt x="7651" y="9156"/>
                      <a:pt x="7651" y="9156"/>
                    </a:cubicBezTo>
                    <a:cubicBezTo>
                      <a:pt x="7659" y="9164"/>
                      <a:pt x="7659" y="9164"/>
                      <a:pt x="7659" y="9164"/>
                    </a:cubicBezTo>
                    <a:cubicBezTo>
                      <a:pt x="7664" y="9169"/>
                      <a:pt x="7664" y="9169"/>
                      <a:pt x="7664" y="9169"/>
                    </a:cubicBezTo>
                    <a:cubicBezTo>
                      <a:pt x="7628" y="9203"/>
                      <a:pt x="7628" y="9203"/>
                      <a:pt x="7628" y="9203"/>
                    </a:cubicBezTo>
                    <a:cubicBezTo>
                      <a:pt x="7746" y="9328"/>
                      <a:pt x="7746" y="9328"/>
                      <a:pt x="7746" y="9328"/>
                    </a:cubicBezTo>
                    <a:cubicBezTo>
                      <a:pt x="7782" y="9294"/>
                      <a:pt x="7782" y="9294"/>
                      <a:pt x="7782" y="9294"/>
                    </a:cubicBezTo>
                    <a:lnTo>
                      <a:pt x="7729" y="9240"/>
                    </a:lnTo>
                    <a:close/>
                    <a:moveTo>
                      <a:pt x="4759" y="10106"/>
                    </a:moveTo>
                    <a:cubicBezTo>
                      <a:pt x="4747" y="9852"/>
                      <a:pt x="4747" y="9852"/>
                      <a:pt x="4747" y="9852"/>
                    </a:cubicBezTo>
                    <a:cubicBezTo>
                      <a:pt x="4831" y="9849"/>
                      <a:pt x="4831" y="9849"/>
                      <a:pt x="4831" y="9849"/>
                    </a:cubicBezTo>
                    <a:cubicBezTo>
                      <a:pt x="4843" y="10109"/>
                      <a:pt x="4843" y="10109"/>
                      <a:pt x="4843" y="10109"/>
                    </a:cubicBezTo>
                    <a:cubicBezTo>
                      <a:pt x="4759" y="10112"/>
                      <a:pt x="4759" y="10112"/>
                      <a:pt x="4759" y="10112"/>
                    </a:cubicBezTo>
                    <a:lnTo>
                      <a:pt x="4759" y="10106"/>
                    </a:lnTo>
                    <a:close/>
                    <a:moveTo>
                      <a:pt x="4761" y="9865"/>
                    </a:moveTo>
                    <a:cubicBezTo>
                      <a:pt x="4772" y="10099"/>
                      <a:pt x="4772" y="10099"/>
                      <a:pt x="4772" y="10099"/>
                    </a:cubicBezTo>
                    <a:cubicBezTo>
                      <a:pt x="4829" y="10096"/>
                      <a:pt x="4829" y="10096"/>
                      <a:pt x="4829" y="10096"/>
                    </a:cubicBezTo>
                    <a:cubicBezTo>
                      <a:pt x="4819" y="9862"/>
                      <a:pt x="4819" y="9862"/>
                      <a:pt x="4819" y="9862"/>
                    </a:cubicBezTo>
                    <a:lnTo>
                      <a:pt x="4761" y="9865"/>
                    </a:lnTo>
                    <a:close/>
                    <a:moveTo>
                      <a:pt x="2612" y="10012"/>
                    </a:moveTo>
                    <a:cubicBezTo>
                      <a:pt x="2615" y="10013"/>
                      <a:pt x="2687" y="10061"/>
                      <a:pt x="2687" y="10061"/>
                    </a:cubicBezTo>
                    <a:cubicBezTo>
                      <a:pt x="2699" y="10069"/>
                      <a:pt x="2699" y="10069"/>
                      <a:pt x="2699" y="10069"/>
                    </a:cubicBezTo>
                    <a:cubicBezTo>
                      <a:pt x="2685" y="10074"/>
                      <a:pt x="2685" y="10074"/>
                      <a:pt x="2685" y="10074"/>
                    </a:cubicBezTo>
                    <a:cubicBezTo>
                      <a:pt x="2685" y="10074"/>
                      <a:pt x="2581" y="10110"/>
                      <a:pt x="2465" y="10110"/>
                    </a:cubicBezTo>
                    <a:cubicBezTo>
                      <a:pt x="2459" y="10110"/>
                      <a:pt x="2453" y="10110"/>
                      <a:pt x="2447" y="10110"/>
                    </a:cubicBezTo>
                    <a:cubicBezTo>
                      <a:pt x="2324" y="10106"/>
                      <a:pt x="2224" y="10077"/>
                      <a:pt x="2224" y="10077"/>
                    </a:cubicBezTo>
                    <a:cubicBezTo>
                      <a:pt x="2218" y="10076"/>
                      <a:pt x="2218" y="10076"/>
                      <a:pt x="2218" y="10076"/>
                    </a:cubicBezTo>
                    <a:cubicBezTo>
                      <a:pt x="2265" y="9517"/>
                      <a:pt x="2265" y="9517"/>
                      <a:pt x="2265" y="9517"/>
                    </a:cubicBezTo>
                    <a:cubicBezTo>
                      <a:pt x="2313" y="9529"/>
                      <a:pt x="2313" y="9529"/>
                      <a:pt x="2313" y="9529"/>
                    </a:cubicBezTo>
                    <a:cubicBezTo>
                      <a:pt x="2449" y="9940"/>
                      <a:pt x="2449" y="9940"/>
                      <a:pt x="2449" y="9940"/>
                    </a:cubicBezTo>
                    <a:cubicBezTo>
                      <a:pt x="2454" y="9945"/>
                      <a:pt x="2471" y="9958"/>
                      <a:pt x="2496" y="9972"/>
                    </a:cubicBezTo>
                    <a:cubicBezTo>
                      <a:pt x="2525" y="9989"/>
                      <a:pt x="2566" y="10007"/>
                      <a:pt x="2609" y="10011"/>
                    </a:cubicBezTo>
                    <a:cubicBezTo>
                      <a:pt x="2609" y="10011"/>
                      <a:pt x="2609" y="10011"/>
                      <a:pt x="2609" y="10011"/>
                    </a:cubicBezTo>
                    <a:cubicBezTo>
                      <a:pt x="2612" y="10011"/>
                      <a:pt x="2612" y="10012"/>
                      <a:pt x="2612" y="10012"/>
                    </a:cubicBezTo>
                    <a:close/>
                    <a:moveTo>
                      <a:pt x="2617" y="10032"/>
                    </a:moveTo>
                    <a:cubicBezTo>
                      <a:pt x="2613" y="10030"/>
                      <a:pt x="2610" y="10028"/>
                      <a:pt x="2608" y="10027"/>
                    </a:cubicBezTo>
                    <a:cubicBezTo>
                      <a:pt x="2608" y="10026"/>
                      <a:pt x="2607" y="10026"/>
                      <a:pt x="2607" y="10026"/>
                    </a:cubicBezTo>
                    <a:cubicBezTo>
                      <a:pt x="2514" y="10016"/>
                      <a:pt x="2438" y="9951"/>
                      <a:pt x="2438" y="9950"/>
                    </a:cubicBezTo>
                    <a:cubicBezTo>
                      <a:pt x="2436" y="9949"/>
                      <a:pt x="2436" y="9949"/>
                      <a:pt x="2436" y="9949"/>
                    </a:cubicBezTo>
                    <a:cubicBezTo>
                      <a:pt x="2302" y="9541"/>
                      <a:pt x="2302" y="9541"/>
                      <a:pt x="2302" y="9541"/>
                    </a:cubicBezTo>
                    <a:cubicBezTo>
                      <a:pt x="2278" y="9535"/>
                      <a:pt x="2278" y="9535"/>
                      <a:pt x="2278" y="9535"/>
                    </a:cubicBezTo>
                    <a:cubicBezTo>
                      <a:pt x="2234" y="10065"/>
                      <a:pt x="2234" y="10065"/>
                      <a:pt x="2234" y="10065"/>
                    </a:cubicBezTo>
                    <a:cubicBezTo>
                      <a:pt x="2257" y="10071"/>
                      <a:pt x="2344" y="10092"/>
                      <a:pt x="2448" y="10095"/>
                    </a:cubicBezTo>
                    <a:cubicBezTo>
                      <a:pt x="2453" y="10095"/>
                      <a:pt x="2459" y="10095"/>
                      <a:pt x="2465" y="10095"/>
                    </a:cubicBezTo>
                    <a:cubicBezTo>
                      <a:pt x="2521" y="10095"/>
                      <a:pt x="2575" y="10087"/>
                      <a:pt x="2615" y="10078"/>
                    </a:cubicBezTo>
                    <a:cubicBezTo>
                      <a:pt x="2637" y="10073"/>
                      <a:pt x="2655" y="10068"/>
                      <a:pt x="2666" y="10065"/>
                    </a:cubicBezTo>
                    <a:cubicBezTo>
                      <a:pt x="2659" y="10060"/>
                      <a:pt x="2651" y="10055"/>
                      <a:pt x="2642" y="10049"/>
                    </a:cubicBezTo>
                    <a:cubicBezTo>
                      <a:pt x="2633" y="10043"/>
                      <a:pt x="2624" y="10037"/>
                      <a:pt x="2617" y="10032"/>
                    </a:cubicBezTo>
                    <a:close/>
                    <a:moveTo>
                      <a:pt x="4799" y="9293"/>
                    </a:moveTo>
                    <a:cubicBezTo>
                      <a:pt x="4810" y="9553"/>
                      <a:pt x="4810" y="9553"/>
                      <a:pt x="4810" y="9553"/>
                    </a:cubicBezTo>
                    <a:cubicBezTo>
                      <a:pt x="4726" y="9556"/>
                      <a:pt x="4726" y="9556"/>
                      <a:pt x="4726" y="9556"/>
                    </a:cubicBezTo>
                    <a:cubicBezTo>
                      <a:pt x="4726" y="9550"/>
                      <a:pt x="4726" y="9550"/>
                      <a:pt x="4726" y="9550"/>
                    </a:cubicBezTo>
                    <a:cubicBezTo>
                      <a:pt x="4715" y="9297"/>
                      <a:pt x="4715" y="9297"/>
                      <a:pt x="4715" y="9297"/>
                    </a:cubicBezTo>
                    <a:lnTo>
                      <a:pt x="4799" y="9293"/>
                    </a:lnTo>
                    <a:close/>
                    <a:moveTo>
                      <a:pt x="4797" y="9540"/>
                    </a:moveTo>
                    <a:cubicBezTo>
                      <a:pt x="4786" y="9307"/>
                      <a:pt x="4786" y="9307"/>
                      <a:pt x="4786" y="9307"/>
                    </a:cubicBezTo>
                    <a:cubicBezTo>
                      <a:pt x="4728" y="9309"/>
                      <a:pt x="4728" y="9309"/>
                      <a:pt x="4728" y="9309"/>
                    </a:cubicBezTo>
                    <a:cubicBezTo>
                      <a:pt x="4739" y="9543"/>
                      <a:pt x="4739" y="9543"/>
                      <a:pt x="4739" y="9543"/>
                    </a:cubicBezTo>
                    <a:lnTo>
                      <a:pt x="4797" y="9540"/>
                    </a:lnTo>
                    <a:close/>
                    <a:moveTo>
                      <a:pt x="5573" y="9448"/>
                    </a:moveTo>
                    <a:cubicBezTo>
                      <a:pt x="5430" y="9423"/>
                      <a:pt x="5430" y="9423"/>
                      <a:pt x="5430" y="9423"/>
                    </a:cubicBezTo>
                    <a:cubicBezTo>
                      <a:pt x="5442" y="9352"/>
                      <a:pt x="5442" y="9352"/>
                      <a:pt x="5442" y="9352"/>
                    </a:cubicBezTo>
                    <a:cubicBezTo>
                      <a:pt x="5591" y="9379"/>
                      <a:pt x="5591" y="9379"/>
                      <a:pt x="5591" y="9379"/>
                    </a:cubicBezTo>
                    <a:cubicBezTo>
                      <a:pt x="5579" y="9449"/>
                      <a:pt x="5579" y="9449"/>
                      <a:pt x="5579" y="9449"/>
                    </a:cubicBezTo>
                    <a:lnTo>
                      <a:pt x="5573" y="9448"/>
                    </a:lnTo>
                    <a:close/>
                    <a:moveTo>
                      <a:pt x="5569" y="9434"/>
                    </a:moveTo>
                    <a:cubicBezTo>
                      <a:pt x="5577" y="9389"/>
                      <a:pt x="5577" y="9389"/>
                      <a:pt x="5577" y="9389"/>
                    </a:cubicBezTo>
                    <a:cubicBezTo>
                      <a:pt x="5453" y="9367"/>
                      <a:pt x="5453" y="9367"/>
                      <a:pt x="5453" y="9367"/>
                    </a:cubicBezTo>
                    <a:cubicBezTo>
                      <a:pt x="5445" y="9412"/>
                      <a:pt x="5445" y="9412"/>
                      <a:pt x="5445" y="9412"/>
                    </a:cubicBezTo>
                    <a:lnTo>
                      <a:pt x="5569" y="9434"/>
                    </a:lnTo>
                    <a:close/>
                    <a:moveTo>
                      <a:pt x="4413" y="9519"/>
                    </a:moveTo>
                    <a:cubicBezTo>
                      <a:pt x="4341" y="9543"/>
                      <a:pt x="4341" y="9543"/>
                      <a:pt x="4341" y="9543"/>
                    </a:cubicBezTo>
                    <a:cubicBezTo>
                      <a:pt x="4339" y="9536"/>
                      <a:pt x="4339" y="9536"/>
                      <a:pt x="4339" y="9536"/>
                    </a:cubicBezTo>
                    <a:cubicBezTo>
                      <a:pt x="4281" y="9353"/>
                      <a:pt x="4281" y="9353"/>
                      <a:pt x="4281" y="9353"/>
                    </a:cubicBezTo>
                    <a:cubicBezTo>
                      <a:pt x="4328" y="9338"/>
                      <a:pt x="4328" y="9338"/>
                      <a:pt x="4328" y="9338"/>
                    </a:cubicBezTo>
                    <a:cubicBezTo>
                      <a:pt x="4325" y="9327"/>
                      <a:pt x="4325" y="9327"/>
                      <a:pt x="4325" y="9327"/>
                    </a:cubicBezTo>
                    <a:cubicBezTo>
                      <a:pt x="4322" y="9321"/>
                      <a:pt x="4322" y="9321"/>
                      <a:pt x="4322" y="9321"/>
                    </a:cubicBezTo>
                    <a:cubicBezTo>
                      <a:pt x="4414" y="9290"/>
                      <a:pt x="4414" y="9290"/>
                      <a:pt x="4414" y="9290"/>
                    </a:cubicBezTo>
                    <a:cubicBezTo>
                      <a:pt x="4459" y="9424"/>
                      <a:pt x="4459" y="9424"/>
                      <a:pt x="4459" y="9424"/>
                    </a:cubicBezTo>
                    <a:cubicBezTo>
                      <a:pt x="4389" y="9447"/>
                      <a:pt x="4389" y="9447"/>
                      <a:pt x="4389" y="9447"/>
                    </a:cubicBezTo>
                    <a:lnTo>
                      <a:pt x="4413" y="9519"/>
                    </a:lnTo>
                    <a:close/>
                    <a:moveTo>
                      <a:pt x="4349" y="9526"/>
                    </a:moveTo>
                    <a:cubicBezTo>
                      <a:pt x="4396" y="9511"/>
                      <a:pt x="4396" y="9511"/>
                      <a:pt x="4396" y="9511"/>
                    </a:cubicBezTo>
                    <a:cubicBezTo>
                      <a:pt x="4373" y="9439"/>
                      <a:pt x="4373" y="9439"/>
                      <a:pt x="4373" y="9439"/>
                    </a:cubicBezTo>
                    <a:cubicBezTo>
                      <a:pt x="4442" y="9416"/>
                      <a:pt x="4442" y="9416"/>
                      <a:pt x="4442" y="9416"/>
                    </a:cubicBezTo>
                    <a:cubicBezTo>
                      <a:pt x="4406" y="9307"/>
                      <a:pt x="4406" y="9307"/>
                      <a:pt x="4406" y="9307"/>
                    </a:cubicBezTo>
                    <a:cubicBezTo>
                      <a:pt x="4339" y="9329"/>
                      <a:pt x="4339" y="9329"/>
                      <a:pt x="4339" y="9329"/>
                    </a:cubicBezTo>
                    <a:cubicBezTo>
                      <a:pt x="4343" y="9340"/>
                      <a:pt x="4343" y="9340"/>
                      <a:pt x="4343" y="9340"/>
                    </a:cubicBezTo>
                    <a:cubicBezTo>
                      <a:pt x="4345" y="9346"/>
                      <a:pt x="4345" y="9346"/>
                      <a:pt x="4345" y="9346"/>
                    </a:cubicBezTo>
                    <a:cubicBezTo>
                      <a:pt x="4298" y="9362"/>
                      <a:pt x="4298" y="9362"/>
                      <a:pt x="4298" y="9362"/>
                    </a:cubicBezTo>
                    <a:lnTo>
                      <a:pt x="4349" y="9526"/>
                    </a:lnTo>
                    <a:close/>
                    <a:moveTo>
                      <a:pt x="2400" y="9273"/>
                    </a:moveTo>
                    <a:cubicBezTo>
                      <a:pt x="2640" y="9917"/>
                      <a:pt x="2640" y="9917"/>
                      <a:pt x="2640" y="9917"/>
                    </a:cubicBezTo>
                    <a:cubicBezTo>
                      <a:pt x="2627" y="9915"/>
                      <a:pt x="2627" y="9915"/>
                      <a:pt x="2627" y="9915"/>
                    </a:cubicBezTo>
                    <a:cubicBezTo>
                      <a:pt x="2627" y="9915"/>
                      <a:pt x="2517" y="9897"/>
                      <a:pt x="2476" y="9842"/>
                    </a:cubicBezTo>
                    <a:cubicBezTo>
                      <a:pt x="2476" y="9842"/>
                      <a:pt x="2476" y="9842"/>
                      <a:pt x="2476" y="9842"/>
                    </a:cubicBezTo>
                    <a:cubicBezTo>
                      <a:pt x="2475" y="9841"/>
                      <a:pt x="2475" y="9841"/>
                      <a:pt x="2475" y="9841"/>
                    </a:cubicBezTo>
                    <a:cubicBezTo>
                      <a:pt x="2475" y="9839"/>
                      <a:pt x="2364" y="9503"/>
                      <a:pt x="2351" y="9463"/>
                    </a:cubicBezTo>
                    <a:cubicBezTo>
                      <a:pt x="2270" y="9442"/>
                      <a:pt x="2270" y="9442"/>
                      <a:pt x="2270" y="9442"/>
                    </a:cubicBezTo>
                    <a:cubicBezTo>
                      <a:pt x="2243" y="9344"/>
                      <a:pt x="2243" y="9344"/>
                      <a:pt x="2243" y="9344"/>
                    </a:cubicBezTo>
                    <a:lnTo>
                      <a:pt x="2400" y="9273"/>
                    </a:lnTo>
                    <a:close/>
                    <a:moveTo>
                      <a:pt x="2617" y="9898"/>
                    </a:moveTo>
                    <a:cubicBezTo>
                      <a:pt x="2392" y="9293"/>
                      <a:pt x="2392" y="9293"/>
                      <a:pt x="2392" y="9293"/>
                    </a:cubicBezTo>
                    <a:cubicBezTo>
                      <a:pt x="2261" y="9353"/>
                      <a:pt x="2261" y="9353"/>
                      <a:pt x="2261" y="9353"/>
                    </a:cubicBezTo>
                    <a:cubicBezTo>
                      <a:pt x="2282" y="9430"/>
                      <a:pt x="2282" y="9430"/>
                      <a:pt x="2282" y="9430"/>
                    </a:cubicBezTo>
                    <a:cubicBezTo>
                      <a:pt x="2362" y="9451"/>
                      <a:pt x="2362" y="9451"/>
                      <a:pt x="2362" y="9451"/>
                    </a:cubicBezTo>
                    <a:cubicBezTo>
                      <a:pt x="2364" y="9455"/>
                      <a:pt x="2364" y="9455"/>
                      <a:pt x="2364" y="9455"/>
                    </a:cubicBezTo>
                    <a:cubicBezTo>
                      <a:pt x="2364" y="9455"/>
                      <a:pt x="2482" y="9814"/>
                      <a:pt x="2489" y="9835"/>
                    </a:cubicBezTo>
                    <a:cubicBezTo>
                      <a:pt x="2506" y="9858"/>
                      <a:pt x="2541" y="9875"/>
                      <a:pt x="2572" y="9885"/>
                    </a:cubicBezTo>
                    <a:cubicBezTo>
                      <a:pt x="2590" y="9891"/>
                      <a:pt x="2606" y="9896"/>
                      <a:pt x="2617" y="9898"/>
                    </a:cubicBezTo>
                    <a:close/>
                    <a:moveTo>
                      <a:pt x="5432" y="9680"/>
                    </a:moveTo>
                    <a:cubicBezTo>
                      <a:pt x="5583" y="9683"/>
                      <a:pt x="5583" y="9683"/>
                      <a:pt x="5583" y="9683"/>
                    </a:cubicBezTo>
                    <a:cubicBezTo>
                      <a:pt x="5582" y="9754"/>
                      <a:pt x="5582" y="9754"/>
                      <a:pt x="5582" y="9754"/>
                    </a:cubicBezTo>
                    <a:cubicBezTo>
                      <a:pt x="5576" y="9754"/>
                      <a:pt x="5576" y="9754"/>
                      <a:pt x="5576" y="9754"/>
                    </a:cubicBezTo>
                    <a:cubicBezTo>
                      <a:pt x="5431" y="9752"/>
                      <a:pt x="5431" y="9752"/>
                      <a:pt x="5431" y="9752"/>
                    </a:cubicBezTo>
                    <a:lnTo>
                      <a:pt x="5432" y="9680"/>
                    </a:lnTo>
                    <a:close/>
                    <a:moveTo>
                      <a:pt x="5444" y="9739"/>
                    </a:moveTo>
                    <a:cubicBezTo>
                      <a:pt x="5569" y="9741"/>
                      <a:pt x="5569" y="9741"/>
                      <a:pt x="5569" y="9741"/>
                    </a:cubicBezTo>
                    <a:cubicBezTo>
                      <a:pt x="5570" y="9695"/>
                      <a:pt x="5570" y="9695"/>
                      <a:pt x="5570" y="9695"/>
                    </a:cubicBezTo>
                    <a:cubicBezTo>
                      <a:pt x="5445" y="9693"/>
                      <a:pt x="5445" y="9693"/>
                      <a:pt x="5445" y="9693"/>
                    </a:cubicBezTo>
                    <a:lnTo>
                      <a:pt x="5444" y="9739"/>
                    </a:lnTo>
                    <a:close/>
                    <a:moveTo>
                      <a:pt x="1912" y="10206"/>
                    </a:moveTo>
                    <a:cubicBezTo>
                      <a:pt x="2073" y="10156"/>
                      <a:pt x="2073" y="10156"/>
                      <a:pt x="2073" y="10156"/>
                    </a:cubicBezTo>
                    <a:cubicBezTo>
                      <a:pt x="2041" y="10323"/>
                      <a:pt x="2041" y="10323"/>
                      <a:pt x="2041" y="10323"/>
                    </a:cubicBezTo>
                    <a:cubicBezTo>
                      <a:pt x="1914" y="10369"/>
                      <a:pt x="1914" y="10369"/>
                      <a:pt x="1914" y="10369"/>
                    </a:cubicBezTo>
                    <a:cubicBezTo>
                      <a:pt x="1778" y="10506"/>
                      <a:pt x="1778" y="10506"/>
                      <a:pt x="1778" y="10506"/>
                    </a:cubicBezTo>
                    <a:cubicBezTo>
                      <a:pt x="1653" y="10433"/>
                      <a:pt x="1653" y="10433"/>
                      <a:pt x="1653" y="10433"/>
                    </a:cubicBezTo>
                    <a:cubicBezTo>
                      <a:pt x="1668" y="10203"/>
                      <a:pt x="1668" y="10203"/>
                      <a:pt x="1668" y="10203"/>
                    </a:cubicBezTo>
                    <a:cubicBezTo>
                      <a:pt x="1810" y="10146"/>
                      <a:pt x="1810" y="10146"/>
                      <a:pt x="1810" y="10146"/>
                    </a:cubicBezTo>
                    <a:cubicBezTo>
                      <a:pt x="1798" y="10288"/>
                      <a:pt x="1798" y="10288"/>
                      <a:pt x="1798" y="10288"/>
                    </a:cubicBezTo>
                    <a:lnTo>
                      <a:pt x="1912" y="10206"/>
                    </a:lnTo>
                    <a:close/>
                    <a:moveTo>
                      <a:pt x="1918" y="10219"/>
                    </a:moveTo>
                    <a:cubicBezTo>
                      <a:pt x="1806" y="10299"/>
                      <a:pt x="1806" y="10299"/>
                      <a:pt x="1806" y="10299"/>
                    </a:cubicBezTo>
                    <a:cubicBezTo>
                      <a:pt x="1781" y="10317"/>
                      <a:pt x="1781" y="10317"/>
                      <a:pt x="1781" y="10317"/>
                    </a:cubicBezTo>
                    <a:cubicBezTo>
                      <a:pt x="1784" y="10287"/>
                      <a:pt x="1784" y="10287"/>
                      <a:pt x="1784" y="10287"/>
                    </a:cubicBezTo>
                    <a:cubicBezTo>
                      <a:pt x="1794" y="10167"/>
                      <a:pt x="1794" y="10167"/>
                      <a:pt x="1794" y="10167"/>
                    </a:cubicBezTo>
                    <a:cubicBezTo>
                      <a:pt x="1681" y="10212"/>
                      <a:pt x="1681" y="10212"/>
                      <a:pt x="1681" y="10212"/>
                    </a:cubicBezTo>
                    <a:cubicBezTo>
                      <a:pt x="1668" y="10425"/>
                      <a:pt x="1668" y="10425"/>
                      <a:pt x="1668" y="10425"/>
                    </a:cubicBezTo>
                    <a:cubicBezTo>
                      <a:pt x="1776" y="10489"/>
                      <a:pt x="1776" y="10489"/>
                      <a:pt x="1776" y="10489"/>
                    </a:cubicBezTo>
                    <a:cubicBezTo>
                      <a:pt x="1904" y="10359"/>
                      <a:pt x="1904" y="10359"/>
                      <a:pt x="1904" y="10359"/>
                    </a:cubicBezTo>
                    <a:cubicBezTo>
                      <a:pt x="1906" y="10357"/>
                      <a:pt x="1906" y="10357"/>
                      <a:pt x="1906" y="10357"/>
                    </a:cubicBezTo>
                    <a:cubicBezTo>
                      <a:pt x="1909" y="10356"/>
                      <a:pt x="1909" y="10356"/>
                      <a:pt x="1909" y="10356"/>
                    </a:cubicBezTo>
                    <a:cubicBezTo>
                      <a:pt x="2028" y="10312"/>
                      <a:pt x="2028" y="10312"/>
                      <a:pt x="2028" y="10312"/>
                    </a:cubicBezTo>
                    <a:cubicBezTo>
                      <a:pt x="2055" y="10176"/>
                      <a:pt x="2055" y="10176"/>
                      <a:pt x="2055" y="10176"/>
                    </a:cubicBezTo>
                    <a:lnTo>
                      <a:pt x="1918" y="10219"/>
                    </a:lnTo>
                    <a:close/>
                    <a:moveTo>
                      <a:pt x="5407" y="9207"/>
                    </a:moveTo>
                    <a:cubicBezTo>
                      <a:pt x="5556" y="9233"/>
                      <a:pt x="5556" y="9233"/>
                      <a:pt x="5556" y="9233"/>
                    </a:cubicBezTo>
                    <a:cubicBezTo>
                      <a:pt x="5544" y="9303"/>
                      <a:pt x="5544" y="9303"/>
                      <a:pt x="5544" y="9303"/>
                    </a:cubicBezTo>
                    <a:cubicBezTo>
                      <a:pt x="5538" y="9302"/>
                      <a:pt x="5538" y="9302"/>
                      <a:pt x="5538" y="9302"/>
                    </a:cubicBezTo>
                    <a:cubicBezTo>
                      <a:pt x="5395" y="9277"/>
                      <a:pt x="5395" y="9277"/>
                      <a:pt x="5395" y="9277"/>
                    </a:cubicBezTo>
                    <a:lnTo>
                      <a:pt x="5407" y="9207"/>
                    </a:lnTo>
                    <a:close/>
                    <a:moveTo>
                      <a:pt x="5410" y="9267"/>
                    </a:moveTo>
                    <a:cubicBezTo>
                      <a:pt x="5534" y="9288"/>
                      <a:pt x="5534" y="9288"/>
                      <a:pt x="5534" y="9288"/>
                    </a:cubicBezTo>
                    <a:cubicBezTo>
                      <a:pt x="5541" y="9243"/>
                      <a:pt x="5541" y="9243"/>
                      <a:pt x="5541" y="9243"/>
                    </a:cubicBezTo>
                    <a:cubicBezTo>
                      <a:pt x="5418" y="9221"/>
                      <a:pt x="5418" y="9221"/>
                      <a:pt x="5418" y="9221"/>
                    </a:cubicBezTo>
                    <a:lnTo>
                      <a:pt x="5410" y="9267"/>
                    </a:lnTo>
                    <a:close/>
                    <a:moveTo>
                      <a:pt x="8032" y="7550"/>
                    </a:moveTo>
                    <a:cubicBezTo>
                      <a:pt x="7929" y="7439"/>
                      <a:pt x="7929" y="7439"/>
                      <a:pt x="7929" y="7439"/>
                    </a:cubicBezTo>
                    <a:cubicBezTo>
                      <a:pt x="7985" y="7388"/>
                      <a:pt x="7985" y="7388"/>
                      <a:pt x="7985" y="7388"/>
                    </a:cubicBezTo>
                    <a:cubicBezTo>
                      <a:pt x="7989" y="7392"/>
                      <a:pt x="7989" y="7392"/>
                      <a:pt x="7989" y="7392"/>
                    </a:cubicBezTo>
                    <a:cubicBezTo>
                      <a:pt x="8088" y="7499"/>
                      <a:pt x="8088" y="7499"/>
                      <a:pt x="8088" y="7499"/>
                    </a:cubicBezTo>
                    <a:lnTo>
                      <a:pt x="8032" y="7550"/>
                    </a:lnTo>
                    <a:close/>
                    <a:moveTo>
                      <a:pt x="7948" y="7440"/>
                    </a:moveTo>
                    <a:cubicBezTo>
                      <a:pt x="8033" y="7532"/>
                      <a:pt x="8033" y="7532"/>
                      <a:pt x="8033" y="7532"/>
                    </a:cubicBezTo>
                    <a:cubicBezTo>
                      <a:pt x="8070" y="7498"/>
                      <a:pt x="8070" y="7498"/>
                      <a:pt x="8070" y="7498"/>
                    </a:cubicBezTo>
                    <a:cubicBezTo>
                      <a:pt x="7984" y="7406"/>
                      <a:pt x="7984" y="7406"/>
                      <a:pt x="7984" y="7406"/>
                    </a:cubicBezTo>
                    <a:lnTo>
                      <a:pt x="7948" y="7440"/>
                    </a:lnTo>
                    <a:close/>
                    <a:moveTo>
                      <a:pt x="5581" y="9873"/>
                    </a:moveTo>
                    <a:cubicBezTo>
                      <a:pt x="5595" y="9977"/>
                      <a:pt x="5595" y="9977"/>
                      <a:pt x="5595" y="9977"/>
                    </a:cubicBezTo>
                    <a:cubicBezTo>
                      <a:pt x="5448" y="9996"/>
                      <a:pt x="5448" y="9996"/>
                      <a:pt x="5448" y="9996"/>
                    </a:cubicBezTo>
                    <a:cubicBezTo>
                      <a:pt x="5447" y="9989"/>
                      <a:pt x="5447" y="9989"/>
                      <a:pt x="5447" y="9989"/>
                    </a:cubicBezTo>
                    <a:cubicBezTo>
                      <a:pt x="5435" y="9892"/>
                      <a:pt x="5435" y="9892"/>
                      <a:pt x="5435" y="9892"/>
                    </a:cubicBezTo>
                    <a:lnTo>
                      <a:pt x="5581" y="9873"/>
                    </a:lnTo>
                    <a:close/>
                    <a:moveTo>
                      <a:pt x="5580" y="9965"/>
                    </a:moveTo>
                    <a:cubicBezTo>
                      <a:pt x="5570" y="9888"/>
                      <a:pt x="5570" y="9888"/>
                      <a:pt x="5570" y="9888"/>
                    </a:cubicBezTo>
                    <a:cubicBezTo>
                      <a:pt x="5449" y="9903"/>
                      <a:pt x="5449" y="9903"/>
                      <a:pt x="5449" y="9903"/>
                    </a:cubicBezTo>
                    <a:cubicBezTo>
                      <a:pt x="5459" y="9981"/>
                      <a:pt x="5459" y="9981"/>
                      <a:pt x="5459" y="9981"/>
                    </a:cubicBezTo>
                    <a:lnTo>
                      <a:pt x="5580" y="9965"/>
                    </a:lnTo>
                    <a:close/>
                    <a:moveTo>
                      <a:pt x="7628" y="7535"/>
                    </a:moveTo>
                    <a:cubicBezTo>
                      <a:pt x="7712" y="7654"/>
                      <a:pt x="7712" y="7654"/>
                      <a:pt x="7712" y="7654"/>
                    </a:cubicBezTo>
                    <a:cubicBezTo>
                      <a:pt x="7650" y="7697"/>
                      <a:pt x="7650" y="7697"/>
                      <a:pt x="7650" y="7697"/>
                    </a:cubicBezTo>
                    <a:cubicBezTo>
                      <a:pt x="7563" y="7574"/>
                      <a:pt x="7563" y="7574"/>
                      <a:pt x="7563" y="7574"/>
                    </a:cubicBezTo>
                    <a:cubicBezTo>
                      <a:pt x="7625" y="7530"/>
                      <a:pt x="7625" y="7530"/>
                      <a:pt x="7625" y="7530"/>
                    </a:cubicBezTo>
                    <a:lnTo>
                      <a:pt x="7628" y="7535"/>
                    </a:lnTo>
                    <a:close/>
                    <a:moveTo>
                      <a:pt x="7693" y="7651"/>
                    </a:moveTo>
                    <a:cubicBezTo>
                      <a:pt x="7621" y="7548"/>
                      <a:pt x="7621" y="7548"/>
                      <a:pt x="7621" y="7548"/>
                    </a:cubicBezTo>
                    <a:cubicBezTo>
                      <a:pt x="7581" y="7577"/>
                      <a:pt x="7581" y="7577"/>
                      <a:pt x="7581" y="7577"/>
                    </a:cubicBezTo>
                    <a:cubicBezTo>
                      <a:pt x="7653" y="7679"/>
                      <a:pt x="7653" y="7679"/>
                      <a:pt x="7653" y="7679"/>
                    </a:cubicBezTo>
                    <a:lnTo>
                      <a:pt x="7693" y="7651"/>
                    </a:lnTo>
                    <a:close/>
                    <a:moveTo>
                      <a:pt x="7815" y="7475"/>
                    </a:moveTo>
                    <a:cubicBezTo>
                      <a:pt x="7914" y="7581"/>
                      <a:pt x="7914" y="7581"/>
                      <a:pt x="7914" y="7581"/>
                    </a:cubicBezTo>
                    <a:cubicBezTo>
                      <a:pt x="7858" y="7633"/>
                      <a:pt x="7858" y="7633"/>
                      <a:pt x="7858" y="7633"/>
                    </a:cubicBezTo>
                    <a:cubicBezTo>
                      <a:pt x="7755" y="7521"/>
                      <a:pt x="7755" y="7521"/>
                      <a:pt x="7755" y="7521"/>
                    </a:cubicBezTo>
                    <a:cubicBezTo>
                      <a:pt x="7811" y="7470"/>
                      <a:pt x="7811" y="7470"/>
                      <a:pt x="7811" y="7470"/>
                    </a:cubicBezTo>
                    <a:lnTo>
                      <a:pt x="7815" y="7475"/>
                    </a:lnTo>
                    <a:close/>
                    <a:moveTo>
                      <a:pt x="7895" y="7580"/>
                    </a:moveTo>
                    <a:cubicBezTo>
                      <a:pt x="7810" y="7488"/>
                      <a:pt x="7810" y="7488"/>
                      <a:pt x="7810" y="7488"/>
                    </a:cubicBezTo>
                    <a:cubicBezTo>
                      <a:pt x="7774" y="7522"/>
                      <a:pt x="7774" y="7522"/>
                      <a:pt x="7774" y="7522"/>
                    </a:cubicBezTo>
                    <a:cubicBezTo>
                      <a:pt x="7859" y="7614"/>
                      <a:pt x="7859" y="7614"/>
                      <a:pt x="7859" y="7614"/>
                    </a:cubicBezTo>
                    <a:lnTo>
                      <a:pt x="7895" y="7580"/>
                    </a:lnTo>
                    <a:close/>
                    <a:moveTo>
                      <a:pt x="8271" y="7239"/>
                    </a:moveTo>
                    <a:cubicBezTo>
                      <a:pt x="8312" y="7176"/>
                      <a:pt x="8312" y="7176"/>
                      <a:pt x="8312" y="7176"/>
                    </a:cubicBezTo>
                    <a:cubicBezTo>
                      <a:pt x="8318" y="7180"/>
                      <a:pt x="8318" y="7180"/>
                      <a:pt x="8318" y="7180"/>
                    </a:cubicBezTo>
                    <a:cubicBezTo>
                      <a:pt x="8439" y="7259"/>
                      <a:pt x="8439" y="7259"/>
                      <a:pt x="8439" y="7259"/>
                    </a:cubicBezTo>
                    <a:cubicBezTo>
                      <a:pt x="8397" y="7322"/>
                      <a:pt x="8397" y="7322"/>
                      <a:pt x="8397" y="7322"/>
                    </a:cubicBezTo>
                    <a:lnTo>
                      <a:pt x="8271" y="7239"/>
                    </a:lnTo>
                    <a:close/>
                    <a:moveTo>
                      <a:pt x="8289" y="7236"/>
                    </a:moveTo>
                    <a:cubicBezTo>
                      <a:pt x="8394" y="7304"/>
                      <a:pt x="8394" y="7304"/>
                      <a:pt x="8394" y="7304"/>
                    </a:cubicBezTo>
                    <a:cubicBezTo>
                      <a:pt x="8421" y="7263"/>
                      <a:pt x="8421" y="7263"/>
                      <a:pt x="8421" y="7263"/>
                    </a:cubicBezTo>
                    <a:cubicBezTo>
                      <a:pt x="8316" y="7194"/>
                      <a:pt x="8316" y="7194"/>
                      <a:pt x="8316" y="7194"/>
                    </a:cubicBezTo>
                    <a:lnTo>
                      <a:pt x="8289" y="7236"/>
                    </a:lnTo>
                    <a:close/>
                    <a:moveTo>
                      <a:pt x="8447" y="7121"/>
                    </a:moveTo>
                    <a:cubicBezTo>
                      <a:pt x="8378" y="7090"/>
                      <a:pt x="8378" y="7090"/>
                      <a:pt x="8378" y="7090"/>
                    </a:cubicBezTo>
                    <a:cubicBezTo>
                      <a:pt x="8439" y="6951"/>
                      <a:pt x="8439" y="6951"/>
                      <a:pt x="8439" y="6951"/>
                    </a:cubicBezTo>
                    <a:cubicBezTo>
                      <a:pt x="8508" y="6982"/>
                      <a:pt x="8508" y="6982"/>
                      <a:pt x="8508" y="6982"/>
                    </a:cubicBezTo>
                    <a:cubicBezTo>
                      <a:pt x="8506" y="6988"/>
                      <a:pt x="8506" y="6988"/>
                      <a:pt x="8506" y="6988"/>
                    </a:cubicBezTo>
                    <a:lnTo>
                      <a:pt x="8447" y="7121"/>
                    </a:lnTo>
                    <a:close/>
                    <a:moveTo>
                      <a:pt x="8440" y="7103"/>
                    </a:moveTo>
                    <a:cubicBezTo>
                      <a:pt x="8491" y="6989"/>
                      <a:pt x="8491" y="6989"/>
                      <a:pt x="8491" y="6989"/>
                    </a:cubicBezTo>
                    <a:cubicBezTo>
                      <a:pt x="8446" y="6969"/>
                      <a:pt x="8446" y="6969"/>
                      <a:pt x="8446" y="6969"/>
                    </a:cubicBezTo>
                    <a:cubicBezTo>
                      <a:pt x="8395" y="7083"/>
                      <a:pt x="8395" y="7083"/>
                      <a:pt x="8395" y="7083"/>
                    </a:cubicBezTo>
                    <a:lnTo>
                      <a:pt x="8440" y="7103"/>
                    </a:lnTo>
                    <a:close/>
                    <a:moveTo>
                      <a:pt x="4309" y="10821"/>
                    </a:moveTo>
                    <a:cubicBezTo>
                      <a:pt x="4335" y="10821"/>
                      <a:pt x="4335" y="10821"/>
                      <a:pt x="4335" y="10821"/>
                    </a:cubicBezTo>
                    <a:cubicBezTo>
                      <a:pt x="4403" y="10772"/>
                      <a:pt x="4403" y="10772"/>
                      <a:pt x="4403" y="10772"/>
                    </a:cubicBezTo>
                    <a:cubicBezTo>
                      <a:pt x="4430" y="10821"/>
                      <a:pt x="4430" y="10821"/>
                      <a:pt x="4430" y="10821"/>
                    </a:cubicBezTo>
                    <a:cubicBezTo>
                      <a:pt x="4447" y="10821"/>
                      <a:pt x="4447" y="10821"/>
                      <a:pt x="4447" y="10821"/>
                    </a:cubicBezTo>
                    <a:cubicBezTo>
                      <a:pt x="4408" y="10751"/>
                      <a:pt x="4408" y="10751"/>
                      <a:pt x="4408" y="10751"/>
                    </a:cubicBezTo>
                    <a:lnTo>
                      <a:pt x="4309" y="10821"/>
                    </a:lnTo>
                    <a:close/>
                    <a:moveTo>
                      <a:pt x="1240" y="7451"/>
                    </a:moveTo>
                    <a:cubicBezTo>
                      <a:pt x="1238" y="7451"/>
                      <a:pt x="1109" y="7335"/>
                      <a:pt x="1109" y="7335"/>
                    </a:cubicBezTo>
                    <a:cubicBezTo>
                      <a:pt x="1164" y="7268"/>
                      <a:pt x="1164" y="7268"/>
                      <a:pt x="1164" y="7268"/>
                    </a:cubicBezTo>
                    <a:cubicBezTo>
                      <a:pt x="1297" y="7387"/>
                      <a:pt x="1297" y="7387"/>
                      <a:pt x="1297" y="7387"/>
                    </a:cubicBezTo>
                    <a:lnTo>
                      <a:pt x="1240" y="7451"/>
                    </a:lnTo>
                    <a:close/>
                    <a:moveTo>
                      <a:pt x="1239" y="7431"/>
                    </a:moveTo>
                    <a:cubicBezTo>
                      <a:pt x="1278" y="7388"/>
                      <a:pt x="1278" y="7388"/>
                      <a:pt x="1278" y="7388"/>
                    </a:cubicBezTo>
                    <a:cubicBezTo>
                      <a:pt x="1166" y="7288"/>
                      <a:pt x="1166" y="7288"/>
                      <a:pt x="1166" y="7288"/>
                    </a:cubicBezTo>
                    <a:cubicBezTo>
                      <a:pt x="1128" y="7333"/>
                      <a:pt x="1128" y="7333"/>
                      <a:pt x="1128" y="7333"/>
                    </a:cubicBezTo>
                    <a:cubicBezTo>
                      <a:pt x="1166" y="7367"/>
                      <a:pt x="1218" y="7413"/>
                      <a:pt x="1239" y="7431"/>
                    </a:cubicBezTo>
                    <a:close/>
                    <a:moveTo>
                      <a:pt x="7503" y="7712"/>
                    </a:moveTo>
                    <a:cubicBezTo>
                      <a:pt x="7359" y="7695"/>
                      <a:pt x="7359" y="7695"/>
                      <a:pt x="7359" y="7695"/>
                    </a:cubicBezTo>
                    <a:cubicBezTo>
                      <a:pt x="7368" y="7619"/>
                      <a:pt x="7368" y="7619"/>
                      <a:pt x="7368" y="7619"/>
                    </a:cubicBezTo>
                    <a:cubicBezTo>
                      <a:pt x="7518" y="7638"/>
                      <a:pt x="7518" y="7638"/>
                      <a:pt x="7518" y="7638"/>
                    </a:cubicBezTo>
                    <a:cubicBezTo>
                      <a:pt x="7509" y="7713"/>
                      <a:pt x="7509" y="7713"/>
                      <a:pt x="7509" y="7713"/>
                    </a:cubicBezTo>
                    <a:lnTo>
                      <a:pt x="7503" y="7712"/>
                    </a:lnTo>
                    <a:close/>
                    <a:moveTo>
                      <a:pt x="7498" y="7698"/>
                    </a:moveTo>
                    <a:cubicBezTo>
                      <a:pt x="7504" y="7649"/>
                      <a:pt x="7504" y="7649"/>
                      <a:pt x="7504" y="7649"/>
                    </a:cubicBezTo>
                    <a:cubicBezTo>
                      <a:pt x="7379" y="7634"/>
                      <a:pt x="7379" y="7634"/>
                      <a:pt x="7379" y="7634"/>
                    </a:cubicBezTo>
                    <a:cubicBezTo>
                      <a:pt x="7373" y="7683"/>
                      <a:pt x="7373" y="7683"/>
                      <a:pt x="7373" y="7683"/>
                    </a:cubicBezTo>
                    <a:lnTo>
                      <a:pt x="7498" y="7698"/>
                    </a:lnTo>
                    <a:close/>
                    <a:moveTo>
                      <a:pt x="535" y="8037"/>
                    </a:moveTo>
                    <a:cubicBezTo>
                      <a:pt x="688" y="7864"/>
                      <a:pt x="688" y="7864"/>
                      <a:pt x="688" y="7864"/>
                    </a:cubicBezTo>
                    <a:cubicBezTo>
                      <a:pt x="867" y="8032"/>
                      <a:pt x="867" y="8032"/>
                      <a:pt x="867" y="8032"/>
                    </a:cubicBezTo>
                    <a:cubicBezTo>
                      <a:pt x="862" y="8037"/>
                      <a:pt x="862" y="8037"/>
                      <a:pt x="862" y="8037"/>
                    </a:cubicBezTo>
                    <a:cubicBezTo>
                      <a:pt x="814" y="8088"/>
                      <a:pt x="814" y="8088"/>
                      <a:pt x="814" y="8088"/>
                    </a:cubicBezTo>
                    <a:cubicBezTo>
                      <a:pt x="758" y="8032"/>
                      <a:pt x="758" y="8032"/>
                      <a:pt x="758" y="8032"/>
                    </a:cubicBezTo>
                    <a:cubicBezTo>
                      <a:pt x="721" y="8153"/>
                      <a:pt x="721" y="8153"/>
                      <a:pt x="721" y="8153"/>
                    </a:cubicBezTo>
                    <a:cubicBezTo>
                      <a:pt x="706" y="8152"/>
                      <a:pt x="706" y="8152"/>
                      <a:pt x="706" y="8152"/>
                    </a:cubicBezTo>
                    <a:cubicBezTo>
                      <a:pt x="685" y="8024"/>
                      <a:pt x="685" y="8024"/>
                      <a:pt x="685" y="8024"/>
                    </a:cubicBezTo>
                    <a:cubicBezTo>
                      <a:pt x="616" y="8123"/>
                      <a:pt x="616" y="8123"/>
                      <a:pt x="616" y="8123"/>
                    </a:cubicBezTo>
                    <a:lnTo>
                      <a:pt x="535" y="8037"/>
                    </a:lnTo>
                    <a:close/>
                    <a:moveTo>
                      <a:pt x="555" y="8036"/>
                    </a:moveTo>
                    <a:cubicBezTo>
                      <a:pt x="614" y="8100"/>
                      <a:pt x="614" y="8100"/>
                      <a:pt x="614" y="8100"/>
                    </a:cubicBezTo>
                    <a:cubicBezTo>
                      <a:pt x="694" y="7985"/>
                      <a:pt x="694" y="7985"/>
                      <a:pt x="694" y="7985"/>
                    </a:cubicBezTo>
                    <a:cubicBezTo>
                      <a:pt x="716" y="8119"/>
                      <a:pt x="716" y="8119"/>
                      <a:pt x="716" y="8119"/>
                    </a:cubicBezTo>
                    <a:cubicBezTo>
                      <a:pt x="751" y="8004"/>
                      <a:pt x="751" y="8004"/>
                      <a:pt x="751" y="8004"/>
                    </a:cubicBezTo>
                    <a:cubicBezTo>
                      <a:pt x="813" y="8066"/>
                      <a:pt x="813" y="8066"/>
                      <a:pt x="813" y="8066"/>
                    </a:cubicBezTo>
                    <a:cubicBezTo>
                      <a:pt x="846" y="8032"/>
                      <a:pt x="846" y="8032"/>
                      <a:pt x="846" y="8032"/>
                    </a:cubicBezTo>
                    <a:cubicBezTo>
                      <a:pt x="689" y="7885"/>
                      <a:pt x="689" y="7885"/>
                      <a:pt x="689" y="7885"/>
                    </a:cubicBezTo>
                    <a:lnTo>
                      <a:pt x="555" y="8036"/>
                    </a:lnTo>
                    <a:close/>
                    <a:moveTo>
                      <a:pt x="968" y="8445"/>
                    </a:moveTo>
                    <a:cubicBezTo>
                      <a:pt x="837" y="8317"/>
                      <a:pt x="837" y="8317"/>
                      <a:pt x="837" y="8317"/>
                    </a:cubicBezTo>
                    <a:cubicBezTo>
                      <a:pt x="942" y="8232"/>
                      <a:pt x="942" y="8232"/>
                      <a:pt x="942" y="8232"/>
                    </a:cubicBezTo>
                    <a:cubicBezTo>
                      <a:pt x="1019" y="8335"/>
                      <a:pt x="1019" y="8335"/>
                      <a:pt x="1019" y="8335"/>
                    </a:cubicBezTo>
                    <a:cubicBezTo>
                      <a:pt x="1017" y="8339"/>
                      <a:pt x="1017" y="8339"/>
                      <a:pt x="1017" y="8339"/>
                    </a:cubicBezTo>
                    <a:lnTo>
                      <a:pt x="968" y="8445"/>
                    </a:lnTo>
                    <a:close/>
                    <a:moveTo>
                      <a:pt x="963" y="8420"/>
                    </a:moveTo>
                    <a:cubicBezTo>
                      <a:pt x="1002" y="8336"/>
                      <a:pt x="1002" y="8336"/>
                      <a:pt x="1002" y="8336"/>
                    </a:cubicBezTo>
                    <a:cubicBezTo>
                      <a:pt x="939" y="8253"/>
                      <a:pt x="939" y="8253"/>
                      <a:pt x="939" y="8253"/>
                    </a:cubicBezTo>
                    <a:cubicBezTo>
                      <a:pt x="859" y="8318"/>
                      <a:pt x="859" y="8318"/>
                      <a:pt x="859" y="8318"/>
                    </a:cubicBezTo>
                    <a:lnTo>
                      <a:pt x="963" y="8420"/>
                    </a:lnTo>
                    <a:close/>
                    <a:moveTo>
                      <a:pt x="724" y="8400"/>
                    </a:moveTo>
                    <a:cubicBezTo>
                      <a:pt x="803" y="8354"/>
                      <a:pt x="803" y="8354"/>
                      <a:pt x="803" y="8354"/>
                    </a:cubicBezTo>
                    <a:cubicBezTo>
                      <a:pt x="934" y="8481"/>
                      <a:pt x="934" y="8481"/>
                      <a:pt x="934" y="8481"/>
                    </a:cubicBezTo>
                    <a:cubicBezTo>
                      <a:pt x="931" y="8486"/>
                      <a:pt x="931" y="8486"/>
                      <a:pt x="931" y="8486"/>
                    </a:cubicBezTo>
                    <a:cubicBezTo>
                      <a:pt x="902" y="8541"/>
                      <a:pt x="902" y="8541"/>
                      <a:pt x="902" y="8541"/>
                    </a:cubicBezTo>
                    <a:cubicBezTo>
                      <a:pt x="845" y="8545"/>
                      <a:pt x="845" y="8545"/>
                      <a:pt x="845" y="8545"/>
                    </a:cubicBezTo>
                    <a:lnTo>
                      <a:pt x="724" y="8400"/>
                    </a:lnTo>
                    <a:close/>
                    <a:moveTo>
                      <a:pt x="801" y="8372"/>
                    </a:moveTo>
                    <a:cubicBezTo>
                      <a:pt x="747" y="8404"/>
                      <a:pt x="747" y="8404"/>
                      <a:pt x="747" y="8404"/>
                    </a:cubicBezTo>
                    <a:cubicBezTo>
                      <a:pt x="851" y="8530"/>
                      <a:pt x="851" y="8530"/>
                      <a:pt x="851" y="8530"/>
                    </a:cubicBezTo>
                    <a:cubicBezTo>
                      <a:pt x="893" y="8527"/>
                      <a:pt x="893" y="8527"/>
                      <a:pt x="893" y="8527"/>
                    </a:cubicBezTo>
                    <a:cubicBezTo>
                      <a:pt x="916" y="8484"/>
                      <a:pt x="916" y="8484"/>
                      <a:pt x="916" y="8484"/>
                    </a:cubicBezTo>
                    <a:lnTo>
                      <a:pt x="801" y="8372"/>
                    </a:lnTo>
                    <a:close/>
                    <a:moveTo>
                      <a:pt x="8132" y="7310"/>
                    </a:moveTo>
                    <a:cubicBezTo>
                      <a:pt x="8253" y="7389"/>
                      <a:pt x="8253" y="7389"/>
                      <a:pt x="8253" y="7389"/>
                    </a:cubicBezTo>
                    <a:cubicBezTo>
                      <a:pt x="8212" y="7453"/>
                      <a:pt x="8212" y="7453"/>
                      <a:pt x="8212" y="7453"/>
                    </a:cubicBezTo>
                    <a:cubicBezTo>
                      <a:pt x="8085" y="7370"/>
                      <a:pt x="8085" y="7370"/>
                      <a:pt x="8085" y="7370"/>
                    </a:cubicBezTo>
                    <a:cubicBezTo>
                      <a:pt x="8126" y="7306"/>
                      <a:pt x="8126" y="7306"/>
                      <a:pt x="8126" y="7306"/>
                    </a:cubicBezTo>
                    <a:lnTo>
                      <a:pt x="8132" y="7310"/>
                    </a:lnTo>
                    <a:close/>
                    <a:moveTo>
                      <a:pt x="8235" y="7393"/>
                    </a:moveTo>
                    <a:cubicBezTo>
                      <a:pt x="8130" y="7325"/>
                      <a:pt x="8130" y="7325"/>
                      <a:pt x="8130" y="7325"/>
                    </a:cubicBezTo>
                    <a:cubicBezTo>
                      <a:pt x="8103" y="7366"/>
                      <a:pt x="8103" y="7366"/>
                      <a:pt x="8103" y="7366"/>
                    </a:cubicBezTo>
                    <a:cubicBezTo>
                      <a:pt x="8208" y="7435"/>
                      <a:pt x="8208" y="7435"/>
                      <a:pt x="8208" y="7435"/>
                    </a:cubicBezTo>
                    <a:lnTo>
                      <a:pt x="8235" y="7393"/>
                    </a:lnTo>
                    <a:close/>
                    <a:moveTo>
                      <a:pt x="936" y="7785"/>
                    </a:moveTo>
                    <a:cubicBezTo>
                      <a:pt x="991" y="7759"/>
                      <a:pt x="991" y="7759"/>
                      <a:pt x="991" y="7759"/>
                    </a:cubicBezTo>
                    <a:cubicBezTo>
                      <a:pt x="976" y="7716"/>
                      <a:pt x="976" y="7716"/>
                      <a:pt x="976" y="7716"/>
                    </a:cubicBezTo>
                    <a:cubicBezTo>
                      <a:pt x="1067" y="7679"/>
                      <a:pt x="1067" y="7679"/>
                      <a:pt x="1067" y="7679"/>
                    </a:cubicBezTo>
                    <a:cubicBezTo>
                      <a:pt x="1101" y="7777"/>
                      <a:pt x="1101" y="7777"/>
                      <a:pt x="1101" y="7777"/>
                    </a:cubicBezTo>
                    <a:cubicBezTo>
                      <a:pt x="1045" y="7800"/>
                      <a:pt x="1045" y="7800"/>
                      <a:pt x="1045" y="7800"/>
                    </a:cubicBezTo>
                    <a:cubicBezTo>
                      <a:pt x="1052" y="7819"/>
                      <a:pt x="1052" y="7819"/>
                      <a:pt x="1052" y="7819"/>
                    </a:cubicBezTo>
                    <a:cubicBezTo>
                      <a:pt x="1083" y="7809"/>
                      <a:pt x="1083" y="7809"/>
                      <a:pt x="1083" y="7809"/>
                    </a:cubicBezTo>
                    <a:cubicBezTo>
                      <a:pt x="1116" y="7908"/>
                      <a:pt x="1116" y="7908"/>
                      <a:pt x="1116" y="7908"/>
                    </a:cubicBezTo>
                    <a:cubicBezTo>
                      <a:pt x="1059" y="7932"/>
                      <a:pt x="1059" y="7932"/>
                      <a:pt x="1059" y="7932"/>
                    </a:cubicBezTo>
                    <a:cubicBezTo>
                      <a:pt x="1072" y="7974"/>
                      <a:pt x="1072" y="7974"/>
                      <a:pt x="1072" y="7974"/>
                    </a:cubicBezTo>
                    <a:cubicBezTo>
                      <a:pt x="984" y="8009"/>
                      <a:pt x="984" y="8009"/>
                      <a:pt x="984" y="8009"/>
                    </a:cubicBezTo>
                    <a:cubicBezTo>
                      <a:pt x="949" y="7915"/>
                      <a:pt x="949" y="7915"/>
                      <a:pt x="949" y="7915"/>
                    </a:cubicBezTo>
                    <a:cubicBezTo>
                      <a:pt x="1005" y="7889"/>
                      <a:pt x="1005" y="7889"/>
                      <a:pt x="1005" y="7889"/>
                    </a:cubicBezTo>
                    <a:cubicBezTo>
                      <a:pt x="999" y="7871"/>
                      <a:pt x="999" y="7871"/>
                      <a:pt x="999" y="7871"/>
                    </a:cubicBezTo>
                    <a:cubicBezTo>
                      <a:pt x="967" y="7880"/>
                      <a:pt x="967" y="7880"/>
                      <a:pt x="967" y="7880"/>
                    </a:cubicBezTo>
                    <a:lnTo>
                      <a:pt x="936" y="7785"/>
                    </a:lnTo>
                    <a:close/>
                    <a:moveTo>
                      <a:pt x="1008" y="7766"/>
                    </a:moveTo>
                    <a:cubicBezTo>
                      <a:pt x="997" y="7772"/>
                      <a:pt x="997" y="7772"/>
                      <a:pt x="997" y="7772"/>
                    </a:cubicBezTo>
                    <a:cubicBezTo>
                      <a:pt x="953" y="7792"/>
                      <a:pt x="953" y="7792"/>
                      <a:pt x="953" y="7792"/>
                    </a:cubicBezTo>
                    <a:cubicBezTo>
                      <a:pt x="976" y="7863"/>
                      <a:pt x="976" y="7863"/>
                      <a:pt x="976" y="7863"/>
                    </a:cubicBezTo>
                    <a:cubicBezTo>
                      <a:pt x="995" y="7857"/>
                      <a:pt x="995" y="7857"/>
                      <a:pt x="995" y="7857"/>
                    </a:cubicBezTo>
                    <a:cubicBezTo>
                      <a:pt x="1008" y="7854"/>
                      <a:pt x="1008" y="7854"/>
                      <a:pt x="1008" y="7854"/>
                    </a:cubicBezTo>
                    <a:cubicBezTo>
                      <a:pt x="1012" y="7866"/>
                      <a:pt x="1012" y="7866"/>
                      <a:pt x="1012" y="7866"/>
                    </a:cubicBezTo>
                    <a:cubicBezTo>
                      <a:pt x="1019" y="7885"/>
                      <a:pt x="1019" y="7885"/>
                      <a:pt x="1019" y="7885"/>
                    </a:cubicBezTo>
                    <a:cubicBezTo>
                      <a:pt x="1023" y="7897"/>
                      <a:pt x="1023" y="7897"/>
                      <a:pt x="1023" y="7897"/>
                    </a:cubicBezTo>
                    <a:cubicBezTo>
                      <a:pt x="1011" y="7902"/>
                      <a:pt x="1011" y="7902"/>
                      <a:pt x="1011" y="7902"/>
                    </a:cubicBezTo>
                    <a:cubicBezTo>
                      <a:pt x="967" y="7922"/>
                      <a:pt x="967" y="7922"/>
                      <a:pt x="967" y="7922"/>
                    </a:cubicBezTo>
                    <a:cubicBezTo>
                      <a:pt x="992" y="7991"/>
                      <a:pt x="992" y="7991"/>
                      <a:pt x="992" y="7991"/>
                    </a:cubicBezTo>
                    <a:cubicBezTo>
                      <a:pt x="1055" y="7966"/>
                      <a:pt x="1055" y="7966"/>
                      <a:pt x="1055" y="7966"/>
                    </a:cubicBezTo>
                    <a:cubicBezTo>
                      <a:pt x="1045" y="7936"/>
                      <a:pt x="1045" y="7936"/>
                      <a:pt x="1045" y="7936"/>
                    </a:cubicBezTo>
                    <a:cubicBezTo>
                      <a:pt x="1042" y="7924"/>
                      <a:pt x="1042" y="7924"/>
                      <a:pt x="1042" y="7924"/>
                    </a:cubicBezTo>
                    <a:cubicBezTo>
                      <a:pt x="1053" y="7919"/>
                      <a:pt x="1053" y="7919"/>
                      <a:pt x="1053" y="7919"/>
                    </a:cubicBezTo>
                    <a:cubicBezTo>
                      <a:pt x="1099" y="7900"/>
                      <a:pt x="1099" y="7900"/>
                      <a:pt x="1099" y="7900"/>
                    </a:cubicBezTo>
                    <a:cubicBezTo>
                      <a:pt x="1074" y="7827"/>
                      <a:pt x="1074" y="7827"/>
                      <a:pt x="1074" y="7827"/>
                    </a:cubicBezTo>
                    <a:cubicBezTo>
                      <a:pt x="1057" y="7833"/>
                      <a:pt x="1057" y="7833"/>
                      <a:pt x="1057" y="7833"/>
                    </a:cubicBezTo>
                    <a:cubicBezTo>
                      <a:pt x="1044" y="7837"/>
                      <a:pt x="1044" y="7837"/>
                      <a:pt x="1044" y="7837"/>
                    </a:cubicBezTo>
                    <a:cubicBezTo>
                      <a:pt x="1039" y="7824"/>
                      <a:pt x="1039" y="7824"/>
                      <a:pt x="1039" y="7824"/>
                    </a:cubicBezTo>
                    <a:cubicBezTo>
                      <a:pt x="1032" y="7805"/>
                      <a:pt x="1032" y="7805"/>
                      <a:pt x="1032" y="7805"/>
                    </a:cubicBezTo>
                    <a:cubicBezTo>
                      <a:pt x="1028" y="7792"/>
                      <a:pt x="1028" y="7792"/>
                      <a:pt x="1028" y="7792"/>
                    </a:cubicBezTo>
                    <a:cubicBezTo>
                      <a:pt x="1040" y="7787"/>
                      <a:pt x="1040" y="7787"/>
                      <a:pt x="1040" y="7787"/>
                    </a:cubicBezTo>
                    <a:cubicBezTo>
                      <a:pt x="1083" y="7769"/>
                      <a:pt x="1083" y="7769"/>
                      <a:pt x="1083" y="7769"/>
                    </a:cubicBezTo>
                    <a:cubicBezTo>
                      <a:pt x="1058" y="7698"/>
                      <a:pt x="1058" y="7698"/>
                      <a:pt x="1058" y="7698"/>
                    </a:cubicBezTo>
                    <a:cubicBezTo>
                      <a:pt x="993" y="7724"/>
                      <a:pt x="993" y="7724"/>
                      <a:pt x="993" y="7724"/>
                    </a:cubicBezTo>
                    <a:cubicBezTo>
                      <a:pt x="1004" y="7754"/>
                      <a:pt x="1004" y="7754"/>
                      <a:pt x="1004" y="7754"/>
                    </a:cubicBezTo>
                    <a:lnTo>
                      <a:pt x="1008" y="7766"/>
                    </a:lnTo>
                    <a:close/>
                    <a:moveTo>
                      <a:pt x="1038" y="7509"/>
                    </a:moveTo>
                    <a:cubicBezTo>
                      <a:pt x="1041" y="7500"/>
                      <a:pt x="1041" y="7500"/>
                      <a:pt x="1041" y="7500"/>
                    </a:cubicBezTo>
                    <a:cubicBezTo>
                      <a:pt x="1057" y="7450"/>
                      <a:pt x="1057" y="7450"/>
                      <a:pt x="1057" y="7450"/>
                    </a:cubicBezTo>
                    <a:cubicBezTo>
                      <a:pt x="1063" y="7430"/>
                      <a:pt x="1063" y="7430"/>
                      <a:pt x="1063" y="7430"/>
                    </a:cubicBezTo>
                    <a:cubicBezTo>
                      <a:pt x="1079" y="7444"/>
                      <a:pt x="1079" y="7444"/>
                      <a:pt x="1079" y="7444"/>
                    </a:cubicBezTo>
                    <a:cubicBezTo>
                      <a:pt x="1203" y="7553"/>
                      <a:pt x="1203" y="7553"/>
                      <a:pt x="1203" y="7553"/>
                    </a:cubicBezTo>
                    <a:cubicBezTo>
                      <a:pt x="1211" y="7559"/>
                      <a:pt x="1211" y="7559"/>
                      <a:pt x="1211" y="7559"/>
                    </a:cubicBezTo>
                    <a:cubicBezTo>
                      <a:pt x="1207" y="7568"/>
                      <a:pt x="1207" y="7568"/>
                      <a:pt x="1207" y="7568"/>
                    </a:cubicBezTo>
                    <a:cubicBezTo>
                      <a:pt x="1188" y="7618"/>
                      <a:pt x="1188" y="7618"/>
                      <a:pt x="1188" y="7618"/>
                    </a:cubicBezTo>
                    <a:cubicBezTo>
                      <a:pt x="1181" y="7636"/>
                      <a:pt x="1181" y="7636"/>
                      <a:pt x="1181" y="7636"/>
                    </a:cubicBezTo>
                    <a:cubicBezTo>
                      <a:pt x="1166" y="7623"/>
                      <a:pt x="1166" y="7623"/>
                      <a:pt x="1166" y="7623"/>
                    </a:cubicBezTo>
                    <a:cubicBezTo>
                      <a:pt x="1045" y="7515"/>
                      <a:pt x="1045" y="7515"/>
                      <a:pt x="1045" y="7515"/>
                    </a:cubicBezTo>
                    <a:lnTo>
                      <a:pt x="1038" y="7509"/>
                    </a:lnTo>
                    <a:close/>
                    <a:moveTo>
                      <a:pt x="1054" y="7504"/>
                    </a:moveTo>
                    <a:cubicBezTo>
                      <a:pt x="1175" y="7612"/>
                      <a:pt x="1175" y="7612"/>
                      <a:pt x="1175" y="7612"/>
                    </a:cubicBezTo>
                    <a:cubicBezTo>
                      <a:pt x="1194" y="7563"/>
                      <a:pt x="1194" y="7563"/>
                      <a:pt x="1194" y="7563"/>
                    </a:cubicBezTo>
                    <a:cubicBezTo>
                      <a:pt x="1070" y="7455"/>
                      <a:pt x="1070" y="7455"/>
                      <a:pt x="1070" y="7455"/>
                    </a:cubicBezTo>
                    <a:lnTo>
                      <a:pt x="1054" y="7504"/>
                    </a:lnTo>
                    <a:close/>
                    <a:moveTo>
                      <a:pt x="434" y="8638"/>
                    </a:moveTo>
                    <a:cubicBezTo>
                      <a:pt x="675" y="8444"/>
                      <a:pt x="675" y="8444"/>
                      <a:pt x="675" y="8444"/>
                    </a:cubicBezTo>
                    <a:cubicBezTo>
                      <a:pt x="675" y="8460"/>
                      <a:pt x="675" y="8460"/>
                      <a:pt x="675" y="8460"/>
                    </a:cubicBezTo>
                    <a:cubicBezTo>
                      <a:pt x="671" y="8651"/>
                      <a:pt x="671" y="8651"/>
                      <a:pt x="671" y="8651"/>
                    </a:cubicBezTo>
                    <a:cubicBezTo>
                      <a:pt x="537" y="8745"/>
                      <a:pt x="537" y="8745"/>
                      <a:pt x="537" y="8745"/>
                    </a:cubicBezTo>
                    <a:lnTo>
                      <a:pt x="434" y="8638"/>
                    </a:lnTo>
                    <a:close/>
                    <a:moveTo>
                      <a:pt x="660" y="8476"/>
                    </a:moveTo>
                    <a:cubicBezTo>
                      <a:pt x="456" y="8640"/>
                      <a:pt x="456" y="8640"/>
                      <a:pt x="456" y="8640"/>
                    </a:cubicBezTo>
                    <a:cubicBezTo>
                      <a:pt x="539" y="8726"/>
                      <a:pt x="539" y="8726"/>
                      <a:pt x="539" y="8726"/>
                    </a:cubicBezTo>
                    <a:cubicBezTo>
                      <a:pt x="656" y="8643"/>
                      <a:pt x="656" y="8643"/>
                      <a:pt x="656" y="8643"/>
                    </a:cubicBezTo>
                    <a:lnTo>
                      <a:pt x="660" y="8476"/>
                    </a:lnTo>
                    <a:close/>
                    <a:moveTo>
                      <a:pt x="2640" y="9117"/>
                    </a:moveTo>
                    <a:cubicBezTo>
                      <a:pt x="3163" y="9863"/>
                      <a:pt x="3163" y="9863"/>
                      <a:pt x="3163" y="9863"/>
                    </a:cubicBezTo>
                    <a:cubicBezTo>
                      <a:pt x="3157" y="9867"/>
                      <a:pt x="3157" y="9867"/>
                      <a:pt x="3157" y="9867"/>
                    </a:cubicBezTo>
                    <a:cubicBezTo>
                      <a:pt x="3022" y="9960"/>
                      <a:pt x="3022" y="9960"/>
                      <a:pt x="3022" y="9960"/>
                    </a:cubicBezTo>
                    <a:cubicBezTo>
                      <a:pt x="2873" y="9760"/>
                      <a:pt x="2873" y="9760"/>
                      <a:pt x="2873" y="9760"/>
                    </a:cubicBezTo>
                    <a:cubicBezTo>
                      <a:pt x="2931" y="9754"/>
                      <a:pt x="2931" y="9754"/>
                      <a:pt x="2931" y="9754"/>
                    </a:cubicBezTo>
                    <a:cubicBezTo>
                      <a:pt x="2644" y="9348"/>
                      <a:pt x="2644" y="9348"/>
                      <a:pt x="2644" y="9348"/>
                    </a:cubicBezTo>
                    <a:cubicBezTo>
                      <a:pt x="2641" y="9350"/>
                      <a:pt x="2641" y="9350"/>
                      <a:pt x="2641" y="9350"/>
                    </a:cubicBezTo>
                    <a:cubicBezTo>
                      <a:pt x="2837" y="9907"/>
                      <a:pt x="2837" y="9907"/>
                      <a:pt x="2837" y="9907"/>
                    </a:cubicBezTo>
                    <a:cubicBezTo>
                      <a:pt x="2896" y="9850"/>
                      <a:pt x="2896" y="9850"/>
                      <a:pt x="2896" y="9850"/>
                    </a:cubicBezTo>
                    <a:cubicBezTo>
                      <a:pt x="2941" y="10005"/>
                      <a:pt x="2941" y="10005"/>
                      <a:pt x="2941" y="10005"/>
                    </a:cubicBezTo>
                    <a:cubicBezTo>
                      <a:pt x="2799" y="10070"/>
                      <a:pt x="2799" y="10070"/>
                      <a:pt x="2799" y="10070"/>
                    </a:cubicBezTo>
                    <a:cubicBezTo>
                      <a:pt x="2468" y="9217"/>
                      <a:pt x="2468" y="9217"/>
                      <a:pt x="2468" y="9217"/>
                    </a:cubicBezTo>
                    <a:lnTo>
                      <a:pt x="2640" y="9117"/>
                    </a:lnTo>
                    <a:close/>
                    <a:moveTo>
                      <a:pt x="3143" y="9859"/>
                    </a:moveTo>
                    <a:cubicBezTo>
                      <a:pt x="2636" y="9137"/>
                      <a:pt x="2636" y="9137"/>
                      <a:pt x="2636" y="9137"/>
                    </a:cubicBezTo>
                    <a:cubicBezTo>
                      <a:pt x="2486" y="9224"/>
                      <a:pt x="2486" y="9224"/>
                      <a:pt x="2486" y="9224"/>
                    </a:cubicBezTo>
                    <a:cubicBezTo>
                      <a:pt x="2807" y="10050"/>
                      <a:pt x="2807" y="10050"/>
                      <a:pt x="2807" y="10050"/>
                    </a:cubicBezTo>
                    <a:cubicBezTo>
                      <a:pt x="2923" y="9997"/>
                      <a:pt x="2923" y="9997"/>
                      <a:pt x="2923" y="9997"/>
                    </a:cubicBezTo>
                    <a:cubicBezTo>
                      <a:pt x="2888" y="9878"/>
                      <a:pt x="2888" y="9878"/>
                      <a:pt x="2888" y="9878"/>
                    </a:cubicBezTo>
                    <a:cubicBezTo>
                      <a:pt x="2830" y="9933"/>
                      <a:pt x="2830" y="9933"/>
                      <a:pt x="2830" y="9933"/>
                    </a:cubicBezTo>
                    <a:cubicBezTo>
                      <a:pt x="2624" y="9345"/>
                      <a:pt x="2624" y="9345"/>
                      <a:pt x="2624" y="9345"/>
                    </a:cubicBezTo>
                    <a:cubicBezTo>
                      <a:pt x="2648" y="9328"/>
                      <a:pt x="2648" y="9328"/>
                      <a:pt x="2648" y="9328"/>
                    </a:cubicBezTo>
                    <a:cubicBezTo>
                      <a:pt x="2957" y="9766"/>
                      <a:pt x="2957" y="9766"/>
                      <a:pt x="2957" y="9766"/>
                    </a:cubicBezTo>
                    <a:cubicBezTo>
                      <a:pt x="2900" y="9772"/>
                      <a:pt x="2900" y="9772"/>
                      <a:pt x="2900" y="9772"/>
                    </a:cubicBezTo>
                    <a:cubicBezTo>
                      <a:pt x="3025" y="9940"/>
                      <a:pt x="3025" y="9940"/>
                      <a:pt x="3025" y="9940"/>
                    </a:cubicBezTo>
                    <a:lnTo>
                      <a:pt x="3143" y="9859"/>
                    </a:lnTo>
                    <a:close/>
                    <a:moveTo>
                      <a:pt x="975" y="7531"/>
                    </a:moveTo>
                    <a:cubicBezTo>
                      <a:pt x="1041" y="7350"/>
                      <a:pt x="1041" y="7350"/>
                      <a:pt x="1041" y="7350"/>
                    </a:cubicBezTo>
                    <a:cubicBezTo>
                      <a:pt x="1244" y="7524"/>
                      <a:pt x="1244" y="7524"/>
                      <a:pt x="1244" y="7524"/>
                    </a:cubicBezTo>
                    <a:cubicBezTo>
                      <a:pt x="1362" y="7385"/>
                      <a:pt x="1362" y="7385"/>
                      <a:pt x="1362" y="7385"/>
                    </a:cubicBezTo>
                    <a:cubicBezTo>
                      <a:pt x="1505" y="7478"/>
                      <a:pt x="1505" y="7478"/>
                      <a:pt x="1505" y="7478"/>
                    </a:cubicBezTo>
                    <a:cubicBezTo>
                      <a:pt x="1418" y="7604"/>
                      <a:pt x="1418" y="7604"/>
                      <a:pt x="1418" y="7604"/>
                    </a:cubicBezTo>
                    <a:cubicBezTo>
                      <a:pt x="1344" y="7604"/>
                      <a:pt x="1344" y="7604"/>
                      <a:pt x="1344" y="7604"/>
                    </a:cubicBezTo>
                    <a:cubicBezTo>
                      <a:pt x="1312" y="7648"/>
                      <a:pt x="1312" y="7648"/>
                      <a:pt x="1312" y="7648"/>
                    </a:cubicBezTo>
                    <a:cubicBezTo>
                      <a:pt x="1325" y="7724"/>
                      <a:pt x="1325" y="7724"/>
                      <a:pt x="1325" y="7724"/>
                    </a:cubicBezTo>
                    <a:cubicBezTo>
                      <a:pt x="1262" y="7819"/>
                      <a:pt x="1262" y="7819"/>
                      <a:pt x="1262" y="7819"/>
                    </a:cubicBezTo>
                    <a:cubicBezTo>
                      <a:pt x="1197" y="7865"/>
                      <a:pt x="1197" y="7865"/>
                      <a:pt x="1197" y="7865"/>
                    </a:cubicBezTo>
                    <a:cubicBezTo>
                      <a:pt x="1123" y="7661"/>
                      <a:pt x="1123" y="7661"/>
                      <a:pt x="1123" y="7661"/>
                    </a:cubicBezTo>
                    <a:lnTo>
                      <a:pt x="975" y="7531"/>
                    </a:lnTo>
                    <a:close/>
                    <a:moveTo>
                      <a:pt x="991" y="7527"/>
                    </a:moveTo>
                    <a:cubicBezTo>
                      <a:pt x="1132" y="7651"/>
                      <a:pt x="1132" y="7651"/>
                      <a:pt x="1132" y="7651"/>
                    </a:cubicBezTo>
                    <a:cubicBezTo>
                      <a:pt x="1135" y="7653"/>
                      <a:pt x="1135" y="7653"/>
                      <a:pt x="1135" y="7653"/>
                    </a:cubicBezTo>
                    <a:cubicBezTo>
                      <a:pt x="1136" y="7656"/>
                      <a:pt x="1136" y="7656"/>
                      <a:pt x="1136" y="7656"/>
                    </a:cubicBezTo>
                    <a:cubicBezTo>
                      <a:pt x="1204" y="7843"/>
                      <a:pt x="1204" y="7843"/>
                      <a:pt x="1204" y="7843"/>
                    </a:cubicBezTo>
                    <a:cubicBezTo>
                      <a:pt x="1252" y="7809"/>
                      <a:pt x="1252" y="7809"/>
                      <a:pt x="1252" y="7809"/>
                    </a:cubicBezTo>
                    <a:cubicBezTo>
                      <a:pt x="1310" y="7721"/>
                      <a:pt x="1310" y="7721"/>
                      <a:pt x="1310" y="7721"/>
                    </a:cubicBezTo>
                    <a:cubicBezTo>
                      <a:pt x="1298" y="7651"/>
                      <a:pt x="1298" y="7651"/>
                      <a:pt x="1298" y="7651"/>
                    </a:cubicBezTo>
                    <a:cubicBezTo>
                      <a:pt x="1297" y="7645"/>
                      <a:pt x="1297" y="7645"/>
                      <a:pt x="1297" y="7645"/>
                    </a:cubicBezTo>
                    <a:cubicBezTo>
                      <a:pt x="1300" y="7640"/>
                      <a:pt x="1300" y="7640"/>
                      <a:pt x="1300" y="7640"/>
                    </a:cubicBezTo>
                    <a:cubicBezTo>
                      <a:pt x="1332" y="7596"/>
                      <a:pt x="1332" y="7596"/>
                      <a:pt x="1332" y="7596"/>
                    </a:cubicBezTo>
                    <a:cubicBezTo>
                      <a:pt x="1336" y="7590"/>
                      <a:pt x="1336" y="7590"/>
                      <a:pt x="1336" y="7590"/>
                    </a:cubicBezTo>
                    <a:cubicBezTo>
                      <a:pt x="1344" y="7590"/>
                      <a:pt x="1344" y="7590"/>
                      <a:pt x="1344" y="7590"/>
                    </a:cubicBezTo>
                    <a:cubicBezTo>
                      <a:pt x="1411" y="7590"/>
                      <a:pt x="1411" y="7590"/>
                      <a:pt x="1411" y="7590"/>
                    </a:cubicBezTo>
                    <a:cubicBezTo>
                      <a:pt x="1486" y="7482"/>
                      <a:pt x="1486" y="7482"/>
                      <a:pt x="1486" y="7482"/>
                    </a:cubicBezTo>
                    <a:cubicBezTo>
                      <a:pt x="1365" y="7403"/>
                      <a:pt x="1365" y="7403"/>
                      <a:pt x="1365" y="7403"/>
                    </a:cubicBezTo>
                    <a:cubicBezTo>
                      <a:pt x="1255" y="7533"/>
                      <a:pt x="1255" y="7533"/>
                      <a:pt x="1255" y="7533"/>
                    </a:cubicBezTo>
                    <a:cubicBezTo>
                      <a:pt x="1246" y="7543"/>
                      <a:pt x="1246" y="7543"/>
                      <a:pt x="1246" y="7543"/>
                    </a:cubicBezTo>
                    <a:cubicBezTo>
                      <a:pt x="1235" y="7534"/>
                      <a:pt x="1235" y="7534"/>
                      <a:pt x="1235" y="7534"/>
                    </a:cubicBezTo>
                    <a:cubicBezTo>
                      <a:pt x="1047" y="7374"/>
                      <a:pt x="1047" y="7374"/>
                      <a:pt x="1047" y="7374"/>
                    </a:cubicBezTo>
                    <a:lnTo>
                      <a:pt x="991" y="7527"/>
                    </a:lnTo>
                    <a:close/>
                    <a:moveTo>
                      <a:pt x="715" y="9037"/>
                    </a:moveTo>
                    <a:cubicBezTo>
                      <a:pt x="816" y="8967"/>
                      <a:pt x="816" y="8967"/>
                      <a:pt x="816" y="8967"/>
                    </a:cubicBezTo>
                    <a:cubicBezTo>
                      <a:pt x="889" y="9035"/>
                      <a:pt x="889" y="9035"/>
                      <a:pt x="889" y="9035"/>
                    </a:cubicBezTo>
                    <a:cubicBezTo>
                      <a:pt x="965" y="8969"/>
                      <a:pt x="965" y="8969"/>
                      <a:pt x="965" y="8969"/>
                    </a:cubicBezTo>
                    <a:cubicBezTo>
                      <a:pt x="1028" y="9051"/>
                      <a:pt x="1028" y="9051"/>
                      <a:pt x="1028" y="9051"/>
                    </a:cubicBezTo>
                    <a:cubicBezTo>
                      <a:pt x="877" y="9194"/>
                      <a:pt x="877" y="9194"/>
                      <a:pt x="877" y="9194"/>
                    </a:cubicBezTo>
                    <a:lnTo>
                      <a:pt x="715" y="9037"/>
                    </a:lnTo>
                    <a:close/>
                    <a:moveTo>
                      <a:pt x="814" y="8985"/>
                    </a:moveTo>
                    <a:cubicBezTo>
                      <a:pt x="737" y="9039"/>
                      <a:pt x="737" y="9039"/>
                      <a:pt x="737" y="9039"/>
                    </a:cubicBezTo>
                    <a:cubicBezTo>
                      <a:pt x="877" y="9175"/>
                      <a:pt x="877" y="9175"/>
                      <a:pt x="877" y="9175"/>
                    </a:cubicBezTo>
                    <a:cubicBezTo>
                      <a:pt x="1009" y="9050"/>
                      <a:pt x="1009" y="9050"/>
                      <a:pt x="1009" y="9050"/>
                    </a:cubicBezTo>
                    <a:cubicBezTo>
                      <a:pt x="963" y="8990"/>
                      <a:pt x="963" y="8990"/>
                      <a:pt x="963" y="8990"/>
                    </a:cubicBezTo>
                    <a:cubicBezTo>
                      <a:pt x="898" y="9045"/>
                      <a:pt x="898" y="9045"/>
                      <a:pt x="898" y="9045"/>
                    </a:cubicBezTo>
                    <a:cubicBezTo>
                      <a:pt x="889" y="9053"/>
                      <a:pt x="889" y="9053"/>
                      <a:pt x="889" y="9053"/>
                    </a:cubicBezTo>
                    <a:cubicBezTo>
                      <a:pt x="880" y="9045"/>
                      <a:pt x="880" y="9045"/>
                      <a:pt x="880" y="9045"/>
                    </a:cubicBezTo>
                    <a:lnTo>
                      <a:pt x="814" y="8985"/>
                    </a:lnTo>
                    <a:close/>
                    <a:moveTo>
                      <a:pt x="3258" y="8827"/>
                    </a:moveTo>
                    <a:cubicBezTo>
                      <a:pt x="3243" y="8795"/>
                      <a:pt x="3243" y="8795"/>
                      <a:pt x="3243" y="8795"/>
                    </a:cubicBezTo>
                    <a:cubicBezTo>
                      <a:pt x="3523" y="8653"/>
                      <a:pt x="3523" y="8653"/>
                      <a:pt x="3523" y="8653"/>
                    </a:cubicBezTo>
                    <a:cubicBezTo>
                      <a:pt x="3547" y="8708"/>
                      <a:pt x="3547" y="8708"/>
                      <a:pt x="3547" y="8708"/>
                    </a:cubicBezTo>
                    <a:cubicBezTo>
                      <a:pt x="3795" y="8593"/>
                      <a:pt x="3795" y="8593"/>
                      <a:pt x="3795" y="8593"/>
                    </a:cubicBezTo>
                    <a:cubicBezTo>
                      <a:pt x="3798" y="8600"/>
                      <a:pt x="3798" y="8600"/>
                      <a:pt x="3798" y="8600"/>
                    </a:cubicBezTo>
                    <a:cubicBezTo>
                      <a:pt x="3917" y="8877"/>
                      <a:pt x="3917" y="8877"/>
                      <a:pt x="3917" y="8877"/>
                    </a:cubicBezTo>
                    <a:cubicBezTo>
                      <a:pt x="3802" y="8921"/>
                      <a:pt x="3802" y="8921"/>
                      <a:pt x="3802" y="8921"/>
                    </a:cubicBezTo>
                    <a:cubicBezTo>
                      <a:pt x="3824" y="8970"/>
                      <a:pt x="3824" y="8970"/>
                      <a:pt x="3824" y="8970"/>
                    </a:cubicBezTo>
                    <a:cubicBezTo>
                      <a:pt x="3815" y="8972"/>
                      <a:pt x="3815" y="8972"/>
                      <a:pt x="3815" y="8972"/>
                    </a:cubicBezTo>
                    <a:cubicBezTo>
                      <a:pt x="3815" y="8972"/>
                      <a:pt x="3731" y="8993"/>
                      <a:pt x="3674" y="9019"/>
                    </a:cubicBezTo>
                    <a:cubicBezTo>
                      <a:pt x="3616" y="9045"/>
                      <a:pt x="3551" y="9088"/>
                      <a:pt x="3551" y="9088"/>
                    </a:cubicBezTo>
                    <a:cubicBezTo>
                      <a:pt x="3545" y="9092"/>
                      <a:pt x="3545" y="9092"/>
                      <a:pt x="3545" y="9092"/>
                    </a:cubicBezTo>
                    <a:cubicBezTo>
                      <a:pt x="3515" y="9047"/>
                      <a:pt x="3515" y="9047"/>
                      <a:pt x="3515" y="9047"/>
                    </a:cubicBezTo>
                    <a:cubicBezTo>
                      <a:pt x="3506" y="9054"/>
                      <a:pt x="3483" y="9071"/>
                      <a:pt x="3435" y="9105"/>
                    </a:cubicBezTo>
                    <a:cubicBezTo>
                      <a:pt x="3372" y="9147"/>
                      <a:pt x="3368" y="9279"/>
                      <a:pt x="3369" y="9293"/>
                    </a:cubicBezTo>
                    <a:cubicBezTo>
                      <a:pt x="3369" y="9294"/>
                      <a:pt x="3369" y="9294"/>
                      <a:pt x="3369" y="9294"/>
                    </a:cubicBezTo>
                    <a:cubicBezTo>
                      <a:pt x="3355" y="9297"/>
                      <a:pt x="3355" y="9297"/>
                      <a:pt x="3355" y="9297"/>
                    </a:cubicBezTo>
                    <a:cubicBezTo>
                      <a:pt x="3161" y="8876"/>
                      <a:pt x="3161" y="8876"/>
                      <a:pt x="3161" y="8876"/>
                    </a:cubicBezTo>
                    <a:lnTo>
                      <a:pt x="3258" y="8827"/>
                    </a:lnTo>
                    <a:close/>
                    <a:moveTo>
                      <a:pt x="3262" y="8801"/>
                    </a:moveTo>
                    <a:cubicBezTo>
                      <a:pt x="3277" y="8834"/>
                      <a:pt x="3277" y="8834"/>
                      <a:pt x="3277" y="8834"/>
                    </a:cubicBezTo>
                    <a:cubicBezTo>
                      <a:pt x="3180" y="8883"/>
                      <a:pt x="3180" y="8883"/>
                      <a:pt x="3180" y="8883"/>
                    </a:cubicBezTo>
                    <a:cubicBezTo>
                      <a:pt x="3355" y="9263"/>
                      <a:pt x="3355" y="9263"/>
                      <a:pt x="3355" y="9263"/>
                    </a:cubicBezTo>
                    <a:cubicBezTo>
                      <a:pt x="3359" y="9217"/>
                      <a:pt x="3372" y="9131"/>
                      <a:pt x="3426" y="9093"/>
                    </a:cubicBezTo>
                    <a:cubicBezTo>
                      <a:pt x="3497" y="9043"/>
                      <a:pt x="3512" y="9031"/>
                      <a:pt x="3513" y="9031"/>
                    </a:cubicBezTo>
                    <a:cubicBezTo>
                      <a:pt x="3519" y="9026"/>
                      <a:pt x="3519" y="9026"/>
                      <a:pt x="3519" y="9026"/>
                    </a:cubicBezTo>
                    <a:cubicBezTo>
                      <a:pt x="3549" y="9072"/>
                      <a:pt x="3549" y="9072"/>
                      <a:pt x="3549" y="9072"/>
                    </a:cubicBezTo>
                    <a:cubicBezTo>
                      <a:pt x="3567" y="9061"/>
                      <a:pt x="3619" y="9028"/>
                      <a:pt x="3667" y="9006"/>
                    </a:cubicBezTo>
                    <a:cubicBezTo>
                      <a:pt x="3715" y="8984"/>
                      <a:pt x="3780" y="8966"/>
                      <a:pt x="3803" y="8960"/>
                    </a:cubicBezTo>
                    <a:cubicBezTo>
                      <a:pt x="3782" y="8913"/>
                      <a:pt x="3782" y="8913"/>
                      <a:pt x="3782" y="8913"/>
                    </a:cubicBezTo>
                    <a:cubicBezTo>
                      <a:pt x="3897" y="8869"/>
                      <a:pt x="3897" y="8869"/>
                      <a:pt x="3897" y="8869"/>
                    </a:cubicBezTo>
                    <a:cubicBezTo>
                      <a:pt x="3787" y="8613"/>
                      <a:pt x="3787" y="8613"/>
                      <a:pt x="3787" y="8613"/>
                    </a:cubicBezTo>
                    <a:cubicBezTo>
                      <a:pt x="3539" y="8727"/>
                      <a:pt x="3539" y="8727"/>
                      <a:pt x="3539" y="8727"/>
                    </a:cubicBezTo>
                    <a:cubicBezTo>
                      <a:pt x="3516" y="8673"/>
                      <a:pt x="3516" y="8673"/>
                      <a:pt x="3516" y="8673"/>
                    </a:cubicBezTo>
                    <a:lnTo>
                      <a:pt x="3262" y="8801"/>
                    </a:lnTo>
                    <a:close/>
                    <a:moveTo>
                      <a:pt x="2923" y="9074"/>
                    </a:moveTo>
                    <a:cubicBezTo>
                      <a:pt x="3091" y="8986"/>
                      <a:pt x="3091" y="8986"/>
                      <a:pt x="3091" y="8986"/>
                    </a:cubicBezTo>
                    <a:cubicBezTo>
                      <a:pt x="3344" y="9471"/>
                      <a:pt x="3344" y="9471"/>
                      <a:pt x="3344" y="9471"/>
                    </a:cubicBezTo>
                    <a:cubicBezTo>
                      <a:pt x="3343" y="9473"/>
                      <a:pt x="3343" y="9473"/>
                      <a:pt x="3343" y="9473"/>
                    </a:cubicBezTo>
                    <a:cubicBezTo>
                      <a:pt x="3343" y="9474"/>
                      <a:pt x="3316" y="9630"/>
                      <a:pt x="3284" y="9698"/>
                    </a:cubicBezTo>
                    <a:cubicBezTo>
                      <a:pt x="3283" y="9700"/>
                      <a:pt x="3280" y="9702"/>
                      <a:pt x="3277" y="9702"/>
                    </a:cubicBezTo>
                    <a:cubicBezTo>
                      <a:pt x="3272" y="9701"/>
                      <a:pt x="3273" y="9700"/>
                      <a:pt x="3272" y="9700"/>
                    </a:cubicBezTo>
                    <a:cubicBezTo>
                      <a:pt x="3264" y="9692"/>
                      <a:pt x="3237" y="9650"/>
                      <a:pt x="3209" y="9606"/>
                    </a:cubicBezTo>
                    <a:cubicBezTo>
                      <a:pt x="3182" y="9564"/>
                      <a:pt x="3156" y="9522"/>
                      <a:pt x="3156" y="9522"/>
                    </a:cubicBezTo>
                    <a:cubicBezTo>
                      <a:pt x="3154" y="9519"/>
                      <a:pt x="3154" y="9519"/>
                      <a:pt x="3154" y="9519"/>
                    </a:cubicBezTo>
                    <a:cubicBezTo>
                      <a:pt x="3156" y="9516"/>
                      <a:pt x="3156" y="9516"/>
                      <a:pt x="3156" y="9516"/>
                    </a:cubicBezTo>
                    <a:cubicBezTo>
                      <a:pt x="3156" y="9516"/>
                      <a:pt x="3180" y="9457"/>
                      <a:pt x="3183" y="9431"/>
                    </a:cubicBezTo>
                    <a:cubicBezTo>
                      <a:pt x="3178" y="9421"/>
                      <a:pt x="3144" y="9359"/>
                      <a:pt x="3111" y="9299"/>
                    </a:cubicBezTo>
                    <a:cubicBezTo>
                      <a:pt x="3083" y="9248"/>
                      <a:pt x="3055" y="9197"/>
                      <a:pt x="3045" y="9180"/>
                    </a:cubicBezTo>
                    <a:cubicBezTo>
                      <a:pt x="2987" y="9211"/>
                      <a:pt x="2987" y="9211"/>
                      <a:pt x="2987" y="9211"/>
                    </a:cubicBezTo>
                    <a:cubicBezTo>
                      <a:pt x="3100" y="9446"/>
                      <a:pt x="3100" y="9446"/>
                      <a:pt x="3100" y="9446"/>
                    </a:cubicBezTo>
                    <a:cubicBezTo>
                      <a:pt x="3070" y="9492"/>
                      <a:pt x="3070" y="9492"/>
                      <a:pt x="3070" y="9492"/>
                    </a:cubicBezTo>
                    <a:cubicBezTo>
                      <a:pt x="3255" y="9760"/>
                      <a:pt x="3255" y="9760"/>
                      <a:pt x="3255" y="9760"/>
                    </a:cubicBezTo>
                    <a:cubicBezTo>
                      <a:pt x="3212" y="9820"/>
                      <a:pt x="3212" y="9820"/>
                      <a:pt x="3212" y="9820"/>
                    </a:cubicBezTo>
                    <a:cubicBezTo>
                      <a:pt x="2735" y="9094"/>
                      <a:pt x="2735" y="9094"/>
                      <a:pt x="2735" y="9094"/>
                    </a:cubicBezTo>
                    <a:cubicBezTo>
                      <a:pt x="2892" y="9009"/>
                      <a:pt x="2892" y="9009"/>
                      <a:pt x="2892" y="9009"/>
                    </a:cubicBezTo>
                    <a:lnTo>
                      <a:pt x="2923" y="9074"/>
                    </a:lnTo>
                    <a:close/>
                    <a:moveTo>
                      <a:pt x="3084" y="9006"/>
                    </a:moveTo>
                    <a:cubicBezTo>
                      <a:pt x="2916" y="9095"/>
                      <a:pt x="2916" y="9095"/>
                      <a:pt x="2916" y="9095"/>
                    </a:cubicBezTo>
                    <a:cubicBezTo>
                      <a:pt x="2886" y="9030"/>
                      <a:pt x="2886" y="9030"/>
                      <a:pt x="2886" y="9030"/>
                    </a:cubicBezTo>
                    <a:cubicBezTo>
                      <a:pt x="2757" y="9100"/>
                      <a:pt x="2757" y="9100"/>
                      <a:pt x="2757" y="9100"/>
                    </a:cubicBezTo>
                    <a:cubicBezTo>
                      <a:pt x="3212" y="9794"/>
                      <a:pt x="3212" y="9794"/>
                      <a:pt x="3212" y="9794"/>
                    </a:cubicBezTo>
                    <a:cubicBezTo>
                      <a:pt x="3237" y="9760"/>
                      <a:pt x="3237" y="9760"/>
                      <a:pt x="3237" y="9760"/>
                    </a:cubicBezTo>
                    <a:cubicBezTo>
                      <a:pt x="3053" y="9493"/>
                      <a:pt x="3053" y="9493"/>
                      <a:pt x="3053" y="9493"/>
                    </a:cubicBezTo>
                    <a:cubicBezTo>
                      <a:pt x="3083" y="9445"/>
                      <a:pt x="3083" y="9445"/>
                      <a:pt x="3083" y="9445"/>
                    </a:cubicBezTo>
                    <a:cubicBezTo>
                      <a:pt x="2967" y="9205"/>
                      <a:pt x="2967" y="9205"/>
                      <a:pt x="2967" y="9205"/>
                    </a:cubicBezTo>
                    <a:cubicBezTo>
                      <a:pt x="3051" y="9160"/>
                      <a:pt x="3051" y="9160"/>
                      <a:pt x="3051" y="9160"/>
                    </a:cubicBezTo>
                    <a:cubicBezTo>
                      <a:pt x="3054" y="9166"/>
                      <a:pt x="3054" y="9166"/>
                      <a:pt x="3054" y="9166"/>
                    </a:cubicBezTo>
                    <a:cubicBezTo>
                      <a:pt x="3054" y="9166"/>
                      <a:pt x="3090" y="9230"/>
                      <a:pt x="3125" y="9295"/>
                    </a:cubicBezTo>
                    <a:cubicBezTo>
                      <a:pt x="3143" y="9327"/>
                      <a:pt x="3161" y="9360"/>
                      <a:pt x="3174" y="9384"/>
                    </a:cubicBezTo>
                    <a:cubicBezTo>
                      <a:pt x="3181" y="9396"/>
                      <a:pt x="3187" y="9407"/>
                      <a:pt x="3190" y="9414"/>
                    </a:cubicBezTo>
                    <a:cubicBezTo>
                      <a:pt x="3192" y="9418"/>
                      <a:pt x="3194" y="9421"/>
                      <a:pt x="3195" y="9423"/>
                    </a:cubicBezTo>
                    <a:cubicBezTo>
                      <a:pt x="3196" y="9424"/>
                      <a:pt x="3196" y="9425"/>
                      <a:pt x="3196" y="9425"/>
                    </a:cubicBezTo>
                    <a:cubicBezTo>
                      <a:pt x="3197" y="9427"/>
                      <a:pt x="3197" y="9425"/>
                      <a:pt x="3197" y="9430"/>
                    </a:cubicBezTo>
                    <a:cubicBezTo>
                      <a:pt x="3197" y="9430"/>
                      <a:pt x="3197" y="9430"/>
                      <a:pt x="3197" y="9430"/>
                    </a:cubicBezTo>
                    <a:cubicBezTo>
                      <a:pt x="3197" y="9430"/>
                      <a:pt x="3197" y="9430"/>
                      <a:pt x="3197" y="9430"/>
                    </a:cubicBezTo>
                    <a:cubicBezTo>
                      <a:pt x="3195" y="9456"/>
                      <a:pt x="3176" y="9504"/>
                      <a:pt x="3171" y="9518"/>
                    </a:cubicBezTo>
                    <a:cubicBezTo>
                      <a:pt x="3178" y="9528"/>
                      <a:pt x="3201" y="9566"/>
                      <a:pt x="3224" y="9603"/>
                    </a:cubicBezTo>
                    <a:cubicBezTo>
                      <a:pt x="3238" y="9625"/>
                      <a:pt x="3253" y="9647"/>
                      <a:pt x="3263" y="9663"/>
                    </a:cubicBezTo>
                    <a:cubicBezTo>
                      <a:pt x="3268" y="9670"/>
                      <a:pt x="3272" y="9676"/>
                      <a:pt x="3276" y="9681"/>
                    </a:cubicBezTo>
                    <a:cubicBezTo>
                      <a:pt x="3301" y="9617"/>
                      <a:pt x="3325" y="9492"/>
                      <a:pt x="3328" y="9473"/>
                    </a:cubicBezTo>
                    <a:lnTo>
                      <a:pt x="3084" y="9006"/>
                    </a:lnTo>
                    <a:close/>
                    <a:moveTo>
                      <a:pt x="3344" y="9006"/>
                    </a:moveTo>
                    <a:cubicBezTo>
                      <a:pt x="3301" y="8924"/>
                      <a:pt x="3301" y="8924"/>
                      <a:pt x="3301" y="8924"/>
                    </a:cubicBezTo>
                    <a:cubicBezTo>
                      <a:pt x="3683" y="8738"/>
                      <a:pt x="3683" y="8738"/>
                      <a:pt x="3683" y="8738"/>
                    </a:cubicBezTo>
                    <a:cubicBezTo>
                      <a:pt x="3703" y="8780"/>
                      <a:pt x="3703" y="8780"/>
                      <a:pt x="3703" y="8780"/>
                    </a:cubicBezTo>
                    <a:cubicBezTo>
                      <a:pt x="3698" y="8784"/>
                      <a:pt x="3698" y="8784"/>
                      <a:pt x="3698" y="8784"/>
                    </a:cubicBezTo>
                    <a:cubicBezTo>
                      <a:pt x="3698" y="8784"/>
                      <a:pt x="3657" y="8809"/>
                      <a:pt x="3602" y="8842"/>
                    </a:cubicBezTo>
                    <a:cubicBezTo>
                      <a:pt x="3600" y="8843"/>
                      <a:pt x="3599" y="8845"/>
                      <a:pt x="3599" y="8850"/>
                    </a:cubicBezTo>
                    <a:cubicBezTo>
                      <a:pt x="3599" y="8861"/>
                      <a:pt x="3607" y="8880"/>
                      <a:pt x="3615" y="8896"/>
                    </a:cubicBezTo>
                    <a:cubicBezTo>
                      <a:pt x="3623" y="8911"/>
                      <a:pt x="3631" y="8923"/>
                      <a:pt x="3631" y="8923"/>
                    </a:cubicBezTo>
                    <a:cubicBezTo>
                      <a:pt x="3636" y="8931"/>
                      <a:pt x="3636" y="8931"/>
                      <a:pt x="3636" y="8931"/>
                    </a:cubicBezTo>
                    <a:cubicBezTo>
                      <a:pt x="3510" y="8988"/>
                      <a:pt x="3510" y="8988"/>
                      <a:pt x="3510" y="8988"/>
                    </a:cubicBezTo>
                    <a:cubicBezTo>
                      <a:pt x="3507" y="8984"/>
                      <a:pt x="3507" y="8984"/>
                      <a:pt x="3507" y="8984"/>
                    </a:cubicBezTo>
                    <a:cubicBezTo>
                      <a:pt x="3507" y="8984"/>
                      <a:pt x="3497" y="8974"/>
                      <a:pt x="3484" y="8963"/>
                    </a:cubicBezTo>
                    <a:cubicBezTo>
                      <a:pt x="3470" y="8953"/>
                      <a:pt x="3453" y="8943"/>
                      <a:pt x="3442" y="8944"/>
                    </a:cubicBezTo>
                    <a:cubicBezTo>
                      <a:pt x="3439" y="8944"/>
                      <a:pt x="3436" y="8944"/>
                      <a:pt x="3434" y="8946"/>
                    </a:cubicBezTo>
                    <a:cubicBezTo>
                      <a:pt x="3381" y="8978"/>
                      <a:pt x="3351" y="9001"/>
                      <a:pt x="3351" y="9001"/>
                    </a:cubicBezTo>
                    <a:lnTo>
                      <a:pt x="3344" y="9006"/>
                    </a:lnTo>
                    <a:close/>
                    <a:moveTo>
                      <a:pt x="3321" y="8931"/>
                    </a:moveTo>
                    <a:cubicBezTo>
                      <a:pt x="3349" y="8984"/>
                      <a:pt x="3349" y="8984"/>
                      <a:pt x="3349" y="8984"/>
                    </a:cubicBezTo>
                    <a:cubicBezTo>
                      <a:pt x="3361" y="8975"/>
                      <a:pt x="3388" y="8957"/>
                      <a:pt x="3426" y="8933"/>
                    </a:cubicBezTo>
                    <a:cubicBezTo>
                      <a:pt x="3431" y="8930"/>
                      <a:pt x="3437" y="8929"/>
                      <a:pt x="3442" y="8929"/>
                    </a:cubicBezTo>
                    <a:cubicBezTo>
                      <a:pt x="3471" y="8930"/>
                      <a:pt x="3503" y="8960"/>
                      <a:pt x="3514" y="8970"/>
                    </a:cubicBezTo>
                    <a:cubicBezTo>
                      <a:pt x="3614" y="8924"/>
                      <a:pt x="3614" y="8924"/>
                      <a:pt x="3614" y="8924"/>
                    </a:cubicBezTo>
                    <a:cubicBezTo>
                      <a:pt x="3605" y="8909"/>
                      <a:pt x="3585" y="8875"/>
                      <a:pt x="3584" y="8850"/>
                    </a:cubicBezTo>
                    <a:cubicBezTo>
                      <a:pt x="3584" y="8843"/>
                      <a:pt x="3587" y="8834"/>
                      <a:pt x="3594" y="8830"/>
                    </a:cubicBezTo>
                    <a:cubicBezTo>
                      <a:pt x="3637" y="8804"/>
                      <a:pt x="3671" y="8783"/>
                      <a:pt x="3684" y="8775"/>
                    </a:cubicBezTo>
                    <a:cubicBezTo>
                      <a:pt x="3676" y="8757"/>
                      <a:pt x="3676" y="8757"/>
                      <a:pt x="3676" y="8757"/>
                    </a:cubicBezTo>
                    <a:lnTo>
                      <a:pt x="3321" y="8931"/>
                    </a:lnTo>
                    <a:close/>
                    <a:moveTo>
                      <a:pt x="658" y="8979"/>
                    </a:moveTo>
                    <a:cubicBezTo>
                      <a:pt x="590" y="8917"/>
                      <a:pt x="590" y="8917"/>
                      <a:pt x="590" y="8917"/>
                    </a:cubicBezTo>
                    <a:cubicBezTo>
                      <a:pt x="695" y="8852"/>
                      <a:pt x="695" y="8852"/>
                      <a:pt x="695" y="8852"/>
                    </a:cubicBezTo>
                    <a:cubicBezTo>
                      <a:pt x="765" y="8916"/>
                      <a:pt x="765" y="8916"/>
                      <a:pt x="765" y="8916"/>
                    </a:cubicBezTo>
                    <a:lnTo>
                      <a:pt x="658" y="8979"/>
                    </a:lnTo>
                    <a:close/>
                    <a:moveTo>
                      <a:pt x="613" y="8919"/>
                    </a:moveTo>
                    <a:cubicBezTo>
                      <a:pt x="659" y="8962"/>
                      <a:pt x="659" y="8962"/>
                      <a:pt x="659" y="8962"/>
                    </a:cubicBezTo>
                    <a:cubicBezTo>
                      <a:pt x="742" y="8914"/>
                      <a:pt x="742" y="8914"/>
                      <a:pt x="742" y="8914"/>
                    </a:cubicBezTo>
                    <a:cubicBezTo>
                      <a:pt x="693" y="8869"/>
                      <a:pt x="693" y="8869"/>
                      <a:pt x="693" y="8869"/>
                    </a:cubicBezTo>
                    <a:lnTo>
                      <a:pt x="613" y="8919"/>
                    </a:lnTo>
                    <a:close/>
                    <a:moveTo>
                      <a:pt x="532" y="9420"/>
                    </a:moveTo>
                    <a:cubicBezTo>
                      <a:pt x="532" y="9408"/>
                      <a:pt x="538" y="9396"/>
                      <a:pt x="539" y="9392"/>
                    </a:cubicBezTo>
                    <a:cubicBezTo>
                      <a:pt x="539" y="9392"/>
                      <a:pt x="539" y="9391"/>
                      <a:pt x="539" y="9390"/>
                    </a:cubicBezTo>
                    <a:cubicBezTo>
                      <a:pt x="539" y="9386"/>
                      <a:pt x="543" y="9386"/>
                      <a:pt x="543" y="9386"/>
                    </a:cubicBezTo>
                    <a:cubicBezTo>
                      <a:pt x="544" y="9386"/>
                      <a:pt x="546" y="9386"/>
                      <a:pt x="547" y="9387"/>
                    </a:cubicBezTo>
                    <a:cubicBezTo>
                      <a:pt x="547" y="9388"/>
                      <a:pt x="547" y="9388"/>
                      <a:pt x="548" y="9389"/>
                    </a:cubicBezTo>
                    <a:cubicBezTo>
                      <a:pt x="556" y="9394"/>
                      <a:pt x="590" y="9411"/>
                      <a:pt x="598" y="9415"/>
                    </a:cubicBezTo>
                    <a:cubicBezTo>
                      <a:pt x="607" y="9420"/>
                      <a:pt x="648" y="9423"/>
                      <a:pt x="684" y="9432"/>
                    </a:cubicBezTo>
                    <a:cubicBezTo>
                      <a:pt x="721" y="9443"/>
                      <a:pt x="732" y="9474"/>
                      <a:pt x="737" y="9504"/>
                    </a:cubicBezTo>
                    <a:cubicBezTo>
                      <a:pt x="743" y="9533"/>
                      <a:pt x="751" y="9536"/>
                      <a:pt x="775" y="9552"/>
                    </a:cubicBezTo>
                    <a:cubicBezTo>
                      <a:pt x="779" y="9555"/>
                      <a:pt x="784" y="9556"/>
                      <a:pt x="790" y="9556"/>
                    </a:cubicBezTo>
                    <a:cubicBezTo>
                      <a:pt x="812" y="9556"/>
                      <a:pt x="846" y="9538"/>
                      <a:pt x="883" y="9519"/>
                    </a:cubicBezTo>
                    <a:cubicBezTo>
                      <a:pt x="898" y="9511"/>
                      <a:pt x="909" y="9508"/>
                      <a:pt x="918" y="9508"/>
                    </a:cubicBezTo>
                    <a:cubicBezTo>
                      <a:pt x="940" y="9508"/>
                      <a:pt x="946" y="9525"/>
                      <a:pt x="946" y="9525"/>
                    </a:cubicBezTo>
                    <a:cubicBezTo>
                      <a:pt x="947" y="9529"/>
                      <a:pt x="947" y="9529"/>
                      <a:pt x="947" y="9529"/>
                    </a:cubicBezTo>
                    <a:cubicBezTo>
                      <a:pt x="944" y="9530"/>
                      <a:pt x="944" y="9530"/>
                      <a:pt x="944" y="9530"/>
                    </a:cubicBezTo>
                    <a:cubicBezTo>
                      <a:pt x="939" y="9532"/>
                      <a:pt x="925" y="9557"/>
                      <a:pt x="912" y="9582"/>
                    </a:cubicBezTo>
                    <a:cubicBezTo>
                      <a:pt x="897" y="9607"/>
                      <a:pt x="865" y="9638"/>
                      <a:pt x="821" y="9667"/>
                    </a:cubicBezTo>
                    <a:cubicBezTo>
                      <a:pt x="793" y="9685"/>
                      <a:pt x="759" y="9692"/>
                      <a:pt x="733" y="9692"/>
                    </a:cubicBezTo>
                    <a:cubicBezTo>
                      <a:pt x="717" y="9692"/>
                      <a:pt x="704" y="9689"/>
                      <a:pt x="696" y="9686"/>
                    </a:cubicBezTo>
                    <a:cubicBezTo>
                      <a:pt x="675" y="9678"/>
                      <a:pt x="615" y="9651"/>
                      <a:pt x="615" y="9651"/>
                    </a:cubicBezTo>
                    <a:cubicBezTo>
                      <a:pt x="610" y="9648"/>
                      <a:pt x="610" y="9648"/>
                      <a:pt x="610" y="9648"/>
                    </a:cubicBezTo>
                    <a:cubicBezTo>
                      <a:pt x="614" y="9644"/>
                      <a:pt x="614" y="9644"/>
                      <a:pt x="614" y="9644"/>
                    </a:cubicBezTo>
                    <a:cubicBezTo>
                      <a:pt x="614" y="9644"/>
                      <a:pt x="645" y="9608"/>
                      <a:pt x="645" y="9567"/>
                    </a:cubicBezTo>
                    <a:cubicBezTo>
                      <a:pt x="645" y="9562"/>
                      <a:pt x="644" y="9556"/>
                      <a:pt x="643" y="9551"/>
                    </a:cubicBezTo>
                    <a:cubicBezTo>
                      <a:pt x="633" y="9504"/>
                      <a:pt x="582" y="9477"/>
                      <a:pt x="549" y="9452"/>
                    </a:cubicBezTo>
                    <a:cubicBezTo>
                      <a:pt x="536" y="9442"/>
                      <a:pt x="532" y="9430"/>
                      <a:pt x="532" y="9420"/>
                    </a:cubicBezTo>
                    <a:close/>
                    <a:moveTo>
                      <a:pt x="540" y="9420"/>
                    </a:moveTo>
                    <a:cubicBezTo>
                      <a:pt x="540" y="9428"/>
                      <a:pt x="543" y="9437"/>
                      <a:pt x="554" y="9445"/>
                    </a:cubicBezTo>
                    <a:cubicBezTo>
                      <a:pt x="586" y="9470"/>
                      <a:pt x="639" y="9497"/>
                      <a:pt x="651" y="9549"/>
                    </a:cubicBezTo>
                    <a:cubicBezTo>
                      <a:pt x="652" y="9555"/>
                      <a:pt x="653" y="9561"/>
                      <a:pt x="653" y="9567"/>
                    </a:cubicBezTo>
                    <a:cubicBezTo>
                      <a:pt x="653" y="9603"/>
                      <a:pt x="632" y="9634"/>
                      <a:pt x="623" y="9645"/>
                    </a:cubicBezTo>
                    <a:cubicBezTo>
                      <a:pt x="638" y="9652"/>
                      <a:pt x="682" y="9672"/>
                      <a:pt x="699" y="9679"/>
                    </a:cubicBezTo>
                    <a:cubicBezTo>
                      <a:pt x="706" y="9681"/>
                      <a:pt x="718" y="9683"/>
                      <a:pt x="733" y="9683"/>
                    </a:cubicBezTo>
                    <a:cubicBezTo>
                      <a:pt x="758" y="9683"/>
                      <a:pt x="790" y="9677"/>
                      <a:pt x="817" y="9660"/>
                    </a:cubicBezTo>
                    <a:cubicBezTo>
                      <a:pt x="860" y="9631"/>
                      <a:pt x="891" y="9601"/>
                      <a:pt x="904" y="9578"/>
                    </a:cubicBezTo>
                    <a:cubicBezTo>
                      <a:pt x="917" y="9556"/>
                      <a:pt x="927" y="9534"/>
                      <a:pt x="937" y="9525"/>
                    </a:cubicBezTo>
                    <a:cubicBezTo>
                      <a:pt x="935" y="9522"/>
                      <a:pt x="930" y="9517"/>
                      <a:pt x="918" y="9517"/>
                    </a:cubicBezTo>
                    <a:cubicBezTo>
                      <a:pt x="911" y="9517"/>
                      <a:pt x="901" y="9519"/>
                      <a:pt x="887" y="9526"/>
                    </a:cubicBezTo>
                    <a:cubicBezTo>
                      <a:pt x="849" y="9545"/>
                      <a:pt x="816" y="9564"/>
                      <a:pt x="790" y="9564"/>
                    </a:cubicBezTo>
                    <a:cubicBezTo>
                      <a:pt x="783" y="9564"/>
                      <a:pt x="776" y="9562"/>
                      <a:pt x="770" y="9559"/>
                    </a:cubicBezTo>
                    <a:cubicBezTo>
                      <a:pt x="748" y="9544"/>
                      <a:pt x="734" y="9537"/>
                      <a:pt x="729" y="9505"/>
                    </a:cubicBezTo>
                    <a:cubicBezTo>
                      <a:pt x="723" y="9475"/>
                      <a:pt x="715" y="9449"/>
                      <a:pt x="681" y="9440"/>
                    </a:cubicBezTo>
                    <a:cubicBezTo>
                      <a:pt x="646" y="9431"/>
                      <a:pt x="608" y="9428"/>
                      <a:pt x="595" y="9422"/>
                    </a:cubicBezTo>
                    <a:cubicBezTo>
                      <a:pt x="589" y="9420"/>
                      <a:pt x="576" y="9413"/>
                      <a:pt x="564" y="9407"/>
                    </a:cubicBezTo>
                    <a:cubicBezTo>
                      <a:pt x="558" y="9404"/>
                      <a:pt x="552" y="9401"/>
                      <a:pt x="548" y="9398"/>
                    </a:cubicBezTo>
                    <a:cubicBezTo>
                      <a:pt x="547" y="9398"/>
                      <a:pt x="546" y="9398"/>
                      <a:pt x="546" y="9397"/>
                    </a:cubicBezTo>
                    <a:cubicBezTo>
                      <a:pt x="543" y="9403"/>
                      <a:pt x="540" y="9411"/>
                      <a:pt x="540" y="9420"/>
                    </a:cubicBezTo>
                    <a:close/>
                    <a:moveTo>
                      <a:pt x="596" y="9246"/>
                    </a:moveTo>
                    <a:cubicBezTo>
                      <a:pt x="642" y="9071"/>
                      <a:pt x="642" y="9071"/>
                      <a:pt x="642" y="9071"/>
                    </a:cubicBezTo>
                    <a:cubicBezTo>
                      <a:pt x="803" y="9234"/>
                      <a:pt x="803" y="9234"/>
                      <a:pt x="803" y="9234"/>
                    </a:cubicBezTo>
                    <a:lnTo>
                      <a:pt x="596" y="9246"/>
                    </a:lnTo>
                    <a:close/>
                    <a:moveTo>
                      <a:pt x="615" y="9231"/>
                    </a:moveTo>
                    <a:cubicBezTo>
                      <a:pt x="771" y="9222"/>
                      <a:pt x="771" y="9222"/>
                      <a:pt x="771" y="9222"/>
                    </a:cubicBezTo>
                    <a:cubicBezTo>
                      <a:pt x="650" y="9099"/>
                      <a:pt x="650" y="9099"/>
                      <a:pt x="650" y="9099"/>
                    </a:cubicBezTo>
                    <a:lnTo>
                      <a:pt x="615" y="9231"/>
                    </a:lnTo>
                    <a:close/>
                    <a:moveTo>
                      <a:pt x="5446" y="9516"/>
                    </a:moveTo>
                    <a:cubicBezTo>
                      <a:pt x="5595" y="9542"/>
                      <a:pt x="5595" y="9542"/>
                      <a:pt x="5595" y="9542"/>
                    </a:cubicBezTo>
                    <a:cubicBezTo>
                      <a:pt x="5583" y="9613"/>
                      <a:pt x="5583" y="9613"/>
                      <a:pt x="5583" y="9613"/>
                    </a:cubicBezTo>
                    <a:cubicBezTo>
                      <a:pt x="5577" y="9612"/>
                      <a:pt x="5577" y="9612"/>
                      <a:pt x="5577" y="9612"/>
                    </a:cubicBezTo>
                    <a:cubicBezTo>
                      <a:pt x="5434" y="9587"/>
                      <a:pt x="5434" y="9587"/>
                      <a:pt x="5434" y="9587"/>
                    </a:cubicBezTo>
                    <a:lnTo>
                      <a:pt x="5446" y="9516"/>
                    </a:lnTo>
                    <a:close/>
                    <a:moveTo>
                      <a:pt x="5449" y="9576"/>
                    </a:moveTo>
                    <a:cubicBezTo>
                      <a:pt x="5573" y="9598"/>
                      <a:pt x="5573" y="9598"/>
                      <a:pt x="5573" y="9598"/>
                    </a:cubicBezTo>
                    <a:cubicBezTo>
                      <a:pt x="5580" y="9553"/>
                      <a:pt x="5580" y="9553"/>
                      <a:pt x="5580" y="9553"/>
                    </a:cubicBezTo>
                    <a:cubicBezTo>
                      <a:pt x="5457" y="9531"/>
                      <a:pt x="5457" y="9531"/>
                      <a:pt x="5457" y="9531"/>
                    </a:cubicBezTo>
                    <a:lnTo>
                      <a:pt x="5449" y="9576"/>
                    </a:lnTo>
                    <a:close/>
                    <a:moveTo>
                      <a:pt x="816" y="10720"/>
                    </a:moveTo>
                    <a:cubicBezTo>
                      <a:pt x="757" y="10751"/>
                      <a:pt x="757" y="10751"/>
                      <a:pt x="757" y="10751"/>
                    </a:cubicBezTo>
                    <a:cubicBezTo>
                      <a:pt x="635" y="10529"/>
                      <a:pt x="635" y="10529"/>
                      <a:pt x="635" y="10529"/>
                    </a:cubicBezTo>
                    <a:cubicBezTo>
                      <a:pt x="693" y="10497"/>
                      <a:pt x="693" y="10497"/>
                      <a:pt x="693" y="10497"/>
                    </a:cubicBezTo>
                    <a:lnTo>
                      <a:pt x="816" y="10720"/>
                    </a:lnTo>
                    <a:close/>
                    <a:moveTo>
                      <a:pt x="762" y="10732"/>
                    </a:moveTo>
                    <a:cubicBezTo>
                      <a:pt x="797" y="10714"/>
                      <a:pt x="797" y="10714"/>
                      <a:pt x="797" y="10714"/>
                    </a:cubicBezTo>
                    <a:cubicBezTo>
                      <a:pt x="687" y="10516"/>
                      <a:pt x="687" y="10516"/>
                      <a:pt x="687" y="10516"/>
                    </a:cubicBezTo>
                    <a:cubicBezTo>
                      <a:pt x="653" y="10534"/>
                      <a:pt x="653" y="10534"/>
                      <a:pt x="653" y="10534"/>
                    </a:cubicBezTo>
                    <a:lnTo>
                      <a:pt x="762" y="10732"/>
                    </a:lnTo>
                    <a:close/>
                    <a:moveTo>
                      <a:pt x="4441" y="7077"/>
                    </a:moveTo>
                    <a:cubicBezTo>
                      <a:pt x="4336" y="7065"/>
                      <a:pt x="4336" y="7065"/>
                      <a:pt x="4336" y="7065"/>
                    </a:cubicBezTo>
                    <a:cubicBezTo>
                      <a:pt x="4342" y="6872"/>
                      <a:pt x="4342" y="6872"/>
                      <a:pt x="4342" y="6872"/>
                    </a:cubicBezTo>
                    <a:cubicBezTo>
                      <a:pt x="4413" y="6714"/>
                      <a:pt x="4413" y="6714"/>
                      <a:pt x="4413" y="6714"/>
                    </a:cubicBezTo>
                    <a:cubicBezTo>
                      <a:pt x="4509" y="6770"/>
                      <a:pt x="4509" y="6770"/>
                      <a:pt x="4509" y="6770"/>
                    </a:cubicBezTo>
                    <a:cubicBezTo>
                      <a:pt x="4448" y="7077"/>
                      <a:pt x="4448" y="7077"/>
                      <a:pt x="4448" y="7077"/>
                    </a:cubicBezTo>
                    <a:lnTo>
                      <a:pt x="4441" y="7077"/>
                    </a:lnTo>
                    <a:close/>
                    <a:moveTo>
                      <a:pt x="4436" y="7061"/>
                    </a:moveTo>
                    <a:cubicBezTo>
                      <a:pt x="4492" y="6778"/>
                      <a:pt x="4492" y="6778"/>
                      <a:pt x="4492" y="6778"/>
                    </a:cubicBezTo>
                    <a:cubicBezTo>
                      <a:pt x="4419" y="6735"/>
                      <a:pt x="4419" y="6735"/>
                      <a:pt x="4419" y="6735"/>
                    </a:cubicBezTo>
                    <a:cubicBezTo>
                      <a:pt x="4356" y="6875"/>
                      <a:pt x="4356" y="6875"/>
                      <a:pt x="4356" y="6875"/>
                    </a:cubicBezTo>
                    <a:cubicBezTo>
                      <a:pt x="4351" y="7052"/>
                      <a:pt x="4351" y="7052"/>
                      <a:pt x="4351" y="7052"/>
                    </a:cubicBezTo>
                    <a:lnTo>
                      <a:pt x="4436" y="7061"/>
                    </a:lnTo>
                    <a:close/>
                    <a:moveTo>
                      <a:pt x="4085" y="6477"/>
                    </a:moveTo>
                    <a:cubicBezTo>
                      <a:pt x="4067" y="6482"/>
                      <a:pt x="4067" y="6482"/>
                      <a:pt x="4067" y="6482"/>
                    </a:cubicBezTo>
                    <a:cubicBezTo>
                      <a:pt x="3966" y="6510"/>
                      <a:pt x="3966" y="6510"/>
                      <a:pt x="3966" y="6510"/>
                    </a:cubicBezTo>
                    <a:cubicBezTo>
                      <a:pt x="3945" y="6571"/>
                      <a:pt x="3945" y="6571"/>
                      <a:pt x="3945" y="6571"/>
                    </a:cubicBezTo>
                    <a:cubicBezTo>
                      <a:pt x="3842" y="6511"/>
                      <a:pt x="3842" y="6511"/>
                      <a:pt x="3842" y="6511"/>
                    </a:cubicBezTo>
                    <a:cubicBezTo>
                      <a:pt x="3898" y="6375"/>
                      <a:pt x="3898" y="6375"/>
                      <a:pt x="3898" y="6375"/>
                    </a:cubicBezTo>
                    <a:lnTo>
                      <a:pt x="4085" y="6477"/>
                    </a:lnTo>
                    <a:close/>
                    <a:moveTo>
                      <a:pt x="4046" y="6473"/>
                    </a:moveTo>
                    <a:cubicBezTo>
                      <a:pt x="3906" y="6396"/>
                      <a:pt x="3906" y="6396"/>
                      <a:pt x="3906" y="6396"/>
                    </a:cubicBezTo>
                    <a:cubicBezTo>
                      <a:pt x="3860" y="6504"/>
                      <a:pt x="3860" y="6504"/>
                      <a:pt x="3860" y="6504"/>
                    </a:cubicBezTo>
                    <a:cubicBezTo>
                      <a:pt x="3937" y="6549"/>
                      <a:pt x="3937" y="6549"/>
                      <a:pt x="3937" y="6549"/>
                    </a:cubicBezTo>
                    <a:cubicBezTo>
                      <a:pt x="3954" y="6498"/>
                      <a:pt x="3954" y="6498"/>
                      <a:pt x="3954" y="6498"/>
                    </a:cubicBezTo>
                    <a:lnTo>
                      <a:pt x="4046" y="6473"/>
                    </a:lnTo>
                    <a:close/>
                    <a:moveTo>
                      <a:pt x="3491" y="6002"/>
                    </a:moveTo>
                    <a:cubicBezTo>
                      <a:pt x="3634" y="6045"/>
                      <a:pt x="3634" y="6045"/>
                      <a:pt x="3634" y="6045"/>
                    </a:cubicBezTo>
                    <a:cubicBezTo>
                      <a:pt x="3631" y="6053"/>
                      <a:pt x="3631" y="6053"/>
                      <a:pt x="3631" y="6053"/>
                    </a:cubicBezTo>
                    <a:cubicBezTo>
                      <a:pt x="3575" y="6194"/>
                      <a:pt x="3575" y="6194"/>
                      <a:pt x="3575" y="6194"/>
                    </a:cubicBezTo>
                    <a:cubicBezTo>
                      <a:pt x="3421" y="6144"/>
                      <a:pt x="3421" y="6144"/>
                      <a:pt x="3421" y="6144"/>
                    </a:cubicBezTo>
                    <a:lnTo>
                      <a:pt x="3491" y="6002"/>
                    </a:lnTo>
                    <a:close/>
                    <a:moveTo>
                      <a:pt x="3498" y="6020"/>
                    </a:moveTo>
                    <a:cubicBezTo>
                      <a:pt x="3442" y="6135"/>
                      <a:pt x="3442" y="6135"/>
                      <a:pt x="3442" y="6135"/>
                    </a:cubicBezTo>
                    <a:cubicBezTo>
                      <a:pt x="3567" y="6176"/>
                      <a:pt x="3567" y="6176"/>
                      <a:pt x="3567" y="6176"/>
                    </a:cubicBezTo>
                    <a:cubicBezTo>
                      <a:pt x="3614" y="6055"/>
                      <a:pt x="3614" y="6055"/>
                      <a:pt x="3614" y="6055"/>
                    </a:cubicBezTo>
                    <a:lnTo>
                      <a:pt x="3498" y="6020"/>
                    </a:lnTo>
                    <a:close/>
                    <a:moveTo>
                      <a:pt x="5040" y="9822"/>
                    </a:moveTo>
                    <a:cubicBezTo>
                      <a:pt x="5051" y="10082"/>
                      <a:pt x="5051" y="10082"/>
                      <a:pt x="5051" y="10082"/>
                    </a:cubicBezTo>
                    <a:cubicBezTo>
                      <a:pt x="4967" y="10086"/>
                      <a:pt x="4967" y="10086"/>
                      <a:pt x="4967" y="10086"/>
                    </a:cubicBezTo>
                    <a:cubicBezTo>
                      <a:pt x="4967" y="10080"/>
                      <a:pt x="4967" y="10080"/>
                      <a:pt x="4967" y="10080"/>
                    </a:cubicBezTo>
                    <a:cubicBezTo>
                      <a:pt x="4956" y="9826"/>
                      <a:pt x="4956" y="9826"/>
                      <a:pt x="4956" y="9826"/>
                    </a:cubicBezTo>
                    <a:lnTo>
                      <a:pt x="5040" y="9822"/>
                    </a:lnTo>
                    <a:close/>
                    <a:moveTo>
                      <a:pt x="5038" y="10070"/>
                    </a:moveTo>
                    <a:cubicBezTo>
                      <a:pt x="5027" y="9836"/>
                      <a:pt x="5027" y="9836"/>
                      <a:pt x="5027" y="9836"/>
                    </a:cubicBezTo>
                    <a:cubicBezTo>
                      <a:pt x="4969" y="9839"/>
                      <a:pt x="4969" y="9839"/>
                      <a:pt x="4969" y="9839"/>
                    </a:cubicBezTo>
                    <a:cubicBezTo>
                      <a:pt x="4980" y="10072"/>
                      <a:pt x="4980" y="10072"/>
                      <a:pt x="4980" y="10072"/>
                    </a:cubicBezTo>
                    <a:lnTo>
                      <a:pt x="5038" y="10070"/>
                    </a:lnTo>
                    <a:close/>
                    <a:moveTo>
                      <a:pt x="3803" y="6124"/>
                    </a:moveTo>
                    <a:cubicBezTo>
                      <a:pt x="3727" y="6163"/>
                      <a:pt x="3727" y="6163"/>
                      <a:pt x="3727" y="6163"/>
                    </a:cubicBezTo>
                    <a:cubicBezTo>
                      <a:pt x="3805" y="6263"/>
                      <a:pt x="3805" y="6263"/>
                      <a:pt x="3805" y="6263"/>
                    </a:cubicBezTo>
                    <a:cubicBezTo>
                      <a:pt x="3767" y="6362"/>
                      <a:pt x="3767" y="6362"/>
                      <a:pt x="3767" y="6362"/>
                    </a:cubicBezTo>
                    <a:cubicBezTo>
                      <a:pt x="3342" y="6171"/>
                      <a:pt x="3342" y="6171"/>
                      <a:pt x="3342" y="6171"/>
                    </a:cubicBezTo>
                    <a:cubicBezTo>
                      <a:pt x="3346" y="6143"/>
                      <a:pt x="3346" y="6143"/>
                      <a:pt x="3346" y="6143"/>
                    </a:cubicBezTo>
                    <a:cubicBezTo>
                      <a:pt x="3303" y="6129"/>
                      <a:pt x="3303" y="6129"/>
                      <a:pt x="3303" y="6129"/>
                    </a:cubicBezTo>
                    <a:cubicBezTo>
                      <a:pt x="3370" y="6014"/>
                      <a:pt x="3370" y="6014"/>
                      <a:pt x="3370" y="6014"/>
                    </a:cubicBezTo>
                    <a:cubicBezTo>
                      <a:pt x="3396" y="6008"/>
                      <a:pt x="3396" y="6008"/>
                      <a:pt x="3396" y="6008"/>
                    </a:cubicBezTo>
                    <a:cubicBezTo>
                      <a:pt x="3438" y="5904"/>
                      <a:pt x="3438" y="5904"/>
                      <a:pt x="3438" y="5904"/>
                    </a:cubicBezTo>
                    <a:cubicBezTo>
                      <a:pt x="3853" y="6019"/>
                      <a:pt x="3853" y="6019"/>
                      <a:pt x="3853" y="6019"/>
                    </a:cubicBezTo>
                    <a:cubicBezTo>
                      <a:pt x="3849" y="6027"/>
                      <a:pt x="3849" y="6027"/>
                      <a:pt x="3849" y="6027"/>
                    </a:cubicBezTo>
                    <a:lnTo>
                      <a:pt x="3803" y="6124"/>
                    </a:lnTo>
                    <a:close/>
                    <a:moveTo>
                      <a:pt x="3792" y="6113"/>
                    </a:moveTo>
                    <a:cubicBezTo>
                      <a:pt x="3832" y="6029"/>
                      <a:pt x="3832" y="6029"/>
                      <a:pt x="3832" y="6029"/>
                    </a:cubicBezTo>
                    <a:cubicBezTo>
                      <a:pt x="3447" y="5922"/>
                      <a:pt x="3447" y="5922"/>
                      <a:pt x="3447" y="5922"/>
                    </a:cubicBezTo>
                    <a:cubicBezTo>
                      <a:pt x="3406" y="6020"/>
                      <a:pt x="3406" y="6020"/>
                      <a:pt x="3406" y="6020"/>
                    </a:cubicBezTo>
                    <a:cubicBezTo>
                      <a:pt x="3380" y="6027"/>
                      <a:pt x="3380" y="6027"/>
                      <a:pt x="3380" y="6027"/>
                    </a:cubicBezTo>
                    <a:cubicBezTo>
                      <a:pt x="3325" y="6121"/>
                      <a:pt x="3325" y="6121"/>
                      <a:pt x="3325" y="6121"/>
                    </a:cubicBezTo>
                    <a:cubicBezTo>
                      <a:pt x="3363" y="6133"/>
                      <a:pt x="3363" y="6133"/>
                      <a:pt x="3363" y="6133"/>
                    </a:cubicBezTo>
                    <a:cubicBezTo>
                      <a:pt x="3358" y="6162"/>
                      <a:pt x="3358" y="6162"/>
                      <a:pt x="3358" y="6162"/>
                    </a:cubicBezTo>
                    <a:cubicBezTo>
                      <a:pt x="3759" y="6342"/>
                      <a:pt x="3759" y="6342"/>
                      <a:pt x="3759" y="6342"/>
                    </a:cubicBezTo>
                    <a:cubicBezTo>
                      <a:pt x="3788" y="6266"/>
                      <a:pt x="3788" y="6266"/>
                      <a:pt x="3788" y="6266"/>
                    </a:cubicBezTo>
                    <a:cubicBezTo>
                      <a:pt x="3704" y="6158"/>
                      <a:pt x="3704" y="6158"/>
                      <a:pt x="3704" y="6158"/>
                    </a:cubicBezTo>
                    <a:lnTo>
                      <a:pt x="3792" y="6113"/>
                    </a:lnTo>
                    <a:close/>
                    <a:moveTo>
                      <a:pt x="3642" y="6531"/>
                    </a:moveTo>
                    <a:cubicBezTo>
                      <a:pt x="3487" y="6613"/>
                      <a:pt x="3487" y="6613"/>
                      <a:pt x="3487" y="6613"/>
                    </a:cubicBezTo>
                    <a:cubicBezTo>
                      <a:pt x="3157" y="6495"/>
                      <a:pt x="3157" y="6495"/>
                      <a:pt x="3157" y="6495"/>
                    </a:cubicBezTo>
                    <a:cubicBezTo>
                      <a:pt x="3283" y="6257"/>
                      <a:pt x="3283" y="6257"/>
                      <a:pt x="3283" y="6257"/>
                    </a:cubicBezTo>
                    <a:cubicBezTo>
                      <a:pt x="3652" y="6526"/>
                      <a:pt x="3652" y="6526"/>
                      <a:pt x="3652" y="6526"/>
                    </a:cubicBezTo>
                    <a:lnTo>
                      <a:pt x="3642" y="6531"/>
                    </a:lnTo>
                    <a:close/>
                    <a:moveTo>
                      <a:pt x="3624" y="6524"/>
                    </a:moveTo>
                    <a:cubicBezTo>
                      <a:pt x="3288" y="6279"/>
                      <a:pt x="3288" y="6279"/>
                      <a:pt x="3288" y="6279"/>
                    </a:cubicBezTo>
                    <a:cubicBezTo>
                      <a:pt x="3178" y="6487"/>
                      <a:pt x="3178" y="6487"/>
                      <a:pt x="3178" y="6487"/>
                    </a:cubicBezTo>
                    <a:cubicBezTo>
                      <a:pt x="3486" y="6597"/>
                      <a:pt x="3486" y="6597"/>
                      <a:pt x="3486" y="6597"/>
                    </a:cubicBezTo>
                    <a:lnTo>
                      <a:pt x="3624" y="6524"/>
                    </a:lnTo>
                    <a:close/>
                    <a:moveTo>
                      <a:pt x="5326" y="10496"/>
                    </a:moveTo>
                    <a:cubicBezTo>
                      <a:pt x="5255" y="10513"/>
                      <a:pt x="5255" y="10513"/>
                      <a:pt x="5255" y="10513"/>
                    </a:cubicBezTo>
                    <a:cubicBezTo>
                      <a:pt x="5268" y="10568"/>
                      <a:pt x="5268" y="10568"/>
                      <a:pt x="5268" y="10568"/>
                    </a:cubicBezTo>
                    <a:cubicBezTo>
                      <a:pt x="5262" y="10570"/>
                      <a:pt x="5262" y="10570"/>
                      <a:pt x="5262" y="10570"/>
                    </a:cubicBezTo>
                    <a:cubicBezTo>
                      <a:pt x="5149" y="10600"/>
                      <a:pt x="5149" y="10600"/>
                      <a:pt x="5149" y="10600"/>
                    </a:cubicBezTo>
                    <a:cubicBezTo>
                      <a:pt x="5122" y="10486"/>
                      <a:pt x="5122" y="10486"/>
                      <a:pt x="5122" y="10486"/>
                    </a:cubicBezTo>
                    <a:cubicBezTo>
                      <a:pt x="5132" y="10483"/>
                      <a:pt x="5132" y="10483"/>
                      <a:pt x="5132" y="10483"/>
                    </a:cubicBezTo>
                    <a:cubicBezTo>
                      <a:pt x="5120" y="10432"/>
                      <a:pt x="5120" y="10432"/>
                      <a:pt x="5120" y="10432"/>
                    </a:cubicBezTo>
                    <a:cubicBezTo>
                      <a:pt x="5300" y="10389"/>
                      <a:pt x="5300" y="10389"/>
                      <a:pt x="5300" y="10389"/>
                    </a:cubicBezTo>
                    <a:lnTo>
                      <a:pt x="5326" y="10496"/>
                    </a:lnTo>
                    <a:close/>
                    <a:moveTo>
                      <a:pt x="5239" y="10503"/>
                    </a:moveTo>
                    <a:cubicBezTo>
                      <a:pt x="5310" y="10486"/>
                      <a:pt x="5310" y="10486"/>
                      <a:pt x="5310" y="10486"/>
                    </a:cubicBezTo>
                    <a:cubicBezTo>
                      <a:pt x="5290" y="10405"/>
                      <a:pt x="5290" y="10405"/>
                      <a:pt x="5290" y="10405"/>
                    </a:cubicBezTo>
                    <a:cubicBezTo>
                      <a:pt x="5135" y="10442"/>
                      <a:pt x="5135" y="10442"/>
                      <a:pt x="5135" y="10442"/>
                    </a:cubicBezTo>
                    <a:cubicBezTo>
                      <a:pt x="5148" y="10493"/>
                      <a:pt x="5148" y="10493"/>
                      <a:pt x="5148" y="10493"/>
                    </a:cubicBezTo>
                    <a:cubicBezTo>
                      <a:pt x="5138" y="10495"/>
                      <a:pt x="5138" y="10495"/>
                      <a:pt x="5138" y="10495"/>
                    </a:cubicBezTo>
                    <a:cubicBezTo>
                      <a:pt x="5159" y="10584"/>
                      <a:pt x="5159" y="10584"/>
                      <a:pt x="5159" y="10584"/>
                    </a:cubicBezTo>
                    <a:cubicBezTo>
                      <a:pt x="5252" y="10559"/>
                      <a:pt x="5252" y="10559"/>
                      <a:pt x="5252" y="10559"/>
                    </a:cubicBezTo>
                    <a:lnTo>
                      <a:pt x="5239" y="10503"/>
                    </a:lnTo>
                    <a:close/>
                    <a:moveTo>
                      <a:pt x="790" y="10805"/>
                    </a:moveTo>
                    <a:cubicBezTo>
                      <a:pt x="798" y="10821"/>
                      <a:pt x="798" y="10821"/>
                      <a:pt x="798" y="10821"/>
                    </a:cubicBezTo>
                    <a:cubicBezTo>
                      <a:pt x="814" y="10821"/>
                      <a:pt x="814" y="10821"/>
                      <a:pt x="814" y="10821"/>
                    </a:cubicBezTo>
                    <a:cubicBezTo>
                      <a:pt x="808" y="10811"/>
                      <a:pt x="808" y="10811"/>
                      <a:pt x="808" y="10811"/>
                    </a:cubicBezTo>
                    <a:cubicBezTo>
                      <a:pt x="845" y="10789"/>
                      <a:pt x="845" y="10789"/>
                      <a:pt x="845" y="10789"/>
                    </a:cubicBezTo>
                    <a:cubicBezTo>
                      <a:pt x="865" y="10821"/>
                      <a:pt x="865" y="10821"/>
                      <a:pt x="865" y="10821"/>
                    </a:cubicBezTo>
                    <a:cubicBezTo>
                      <a:pt x="881" y="10821"/>
                      <a:pt x="881" y="10821"/>
                      <a:pt x="881" y="10821"/>
                    </a:cubicBezTo>
                    <a:cubicBezTo>
                      <a:pt x="850" y="10771"/>
                      <a:pt x="850" y="10771"/>
                      <a:pt x="850" y="10771"/>
                    </a:cubicBezTo>
                    <a:lnTo>
                      <a:pt x="790" y="10805"/>
                    </a:lnTo>
                    <a:close/>
                    <a:moveTo>
                      <a:pt x="623" y="5316"/>
                    </a:moveTo>
                    <a:cubicBezTo>
                      <a:pt x="500" y="5172"/>
                      <a:pt x="500" y="5172"/>
                      <a:pt x="500" y="5172"/>
                    </a:cubicBezTo>
                    <a:cubicBezTo>
                      <a:pt x="443" y="5218"/>
                      <a:pt x="443" y="5218"/>
                      <a:pt x="443" y="5218"/>
                    </a:cubicBezTo>
                    <a:cubicBezTo>
                      <a:pt x="307" y="5053"/>
                      <a:pt x="307" y="5053"/>
                      <a:pt x="307" y="5053"/>
                    </a:cubicBezTo>
                    <a:cubicBezTo>
                      <a:pt x="363" y="5000"/>
                      <a:pt x="363" y="5000"/>
                      <a:pt x="363" y="5000"/>
                    </a:cubicBezTo>
                    <a:cubicBezTo>
                      <a:pt x="202" y="4812"/>
                      <a:pt x="202" y="4812"/>
                      <a:pt x="202" y="4812"/>
                    </a:cubicBezTo>
                    <a:cubicBezTo>
                      <a:pt x="196" y="4817"/>
                      <a:pt x="196" y="4817"/>
                      <a:pt x="196" y="4817"/>
                    </a:cubicBezTo>
                    <a:cubicBezTo>
                      <a:pt x="3" y="4984"/>
                      <a:pt x="3" y="4984"/>
                      <a:pt x="3" y="4984"/>
                    </a:cubicBezTo>
                    <a:cubicBezTo>
                      <a:pt x="3" y="5003"/>
                      <a:pt x="3" y="5003"/>
                      <a:pt x="3" y="5003"/>
                    </a:cubicBezTo>
                    <a:cubicBezTo>
                      <a:pt x="200" y="4833"/>
                      <a:pt x="200" y="4833"/>
                      <a:pt x="200" y="4833"/>
                    </a:cubicBezTo>
                    <a:cubicBezTo>
                      <a:pt x="343" y="4998"/>
                      <a:pt x="343" y="4998"/>
                      <a:pt x="343" y="4998"/>
                    </a:cubicBezTo>
                    <a:cubicBezTo>
                      <a:pt x="287" y="5052"/>
                      <a:pt x="287" y="5052"/>
                      <a:pt x="287" y="5052"/>
                    </a:cubicBezTo>
                    <a:cubicBezTo>
                      <a:pt x="440" y="5238"/>
                      <a:pt x="440" y="5238"/>
                      <a:pt x="440" y="5238"/>
                    </a:cubicBezTo>
                    <a:cubicBezTo>
                      <a:pt x="498" y="5193"/>
                      <a:pt x="498" y="5193"/>
                      <a:pt x="498" y="5193"/>
                    </a:cubicBezTo>
                    <a:cubicBezTo>
                      <a:pt x="602" y="5314"/>
                      <a:pt x="602" y="5314"/>
                      <a:pt x="602" y="5314"/>
                    </a:cubicBezTo>
                    <a:cubicBezTo>
                      <a:pt x="82" y="5775"/>
                      <a:pt x="82" y="5775"/>
                      <a:pt x="82" y="5775"/>
                    </a:cubicBezTo>
                    <a:cubicBezTo>
                      <a:pt x="3" y="5683"/>
                      <a:pt x="3" y="5683"/>
                      <a:pt x="3" y="5683"/>
                    </a:cubicBezTo>
                    <a:cubicBezTo>
                      <a:pt x="3" y="5705"/>
                      <a:pt x="3" y="5705"/>
                      <a:pt x="3" y="5705"/>
                    </a:cubicBezTo>
                    <a:cubicBezTo>
                      <a:pt x="81" y="5796"/>
                      <a:pt x="81" y="5796"/>
                      <a:pt x="81" y="5796"/>
                    </a:cubicBezTo>
                    <a:lnTo>
                      <a:pt x="623" y="5316"/>
                    </a:lnTo>
                    <a:close/>
                    <a:moveTo>
                      <a:pt x="158" y="4431"/>
                    </a:moveTo>
                    <a:cubicBezTo>
                      <a:pt x="363" y="4671"/>
                      <a:pt x="363" y="4671"/>
                      <a:pt x="363" y="4671"/>
                    </a:cubicBezTo>
                    <a:cubicBezTo>
                      <a:pt x="905" y="4190"/>
                      <a:pt x="905" y="4190"/>
                      <a:pt x="905" y="4190"/>
                    </a:cubicBezTo>
                    <a:cubicBezTo>
                      <a:pt x="782" y="4047"/>
                      <a:pt x="782" y="4047"/>
                      <a:pt x="782" y="4047"/>
                    </a:cubicBezTo>
                    <a:cubicBezTo>
                      <a:pt x="725" y="4092"/>
                      <a:pt x="725" y="4092"/>
                      <a:pt x="725" y="4092"/>
                    </a:cubicBezTo>
                    <a:cubicBezTo>
                      <a:pt x="589" y="3928"/>
                      <a:pt x="589" y="3928"/>
                      <a:pt x="589" y="3928"/>
                    </a:cubicBezTo>
                    <a:cubicBezTo>
                      <a:pt x="645" y="3874"/>
                      <a:pt x="645" y="3874"/>
                      <a:pt x="645" y="3874"/>
                    </a:cubicBezTo>
                    <a:cubicBezTo>
                      <a:pt x="484" y="3687"/>
                      <a:pt x="484" y="3687"/>
                      <a:pt x="484" y="3687"/>
                    </a:cubicBezTo>
                    <a:cubicBezTo>
                      <a:pt x="478" y="3692"/>
                      <a:pt x="478" y="3692"/>
                      <a:pt x="478" y="3692"/>
                    </a:cubicBezTo>
                    <a:cubicBezTo>
                      <a:pt x="249" y="3890"/>
                      <a:pt x="249" y="3890"/>
                      <a:pt x="249" y="3890"/>
                    </a:cubicBezTo>
                    <a:cubicBezTo>
                      <a:pt x="221" y="3858"/>
                      <a:pt x="221" y="3858"/>
                      <a:pt x="221" y="3858"/>
                    </a:cubicBezTo>
                    <a:cubicBezTo>
                      <a:pt x="3" y="4045"/>
                      <a:pt x="3" y="4045"/>
                      <a:pt x="3" y="4045"/>
                    </a:cubicBezTo>
                    <a:cubicBezTo>
                      <a:pt x="3" y="4064"/>
                      <a:pt x="3" y="4064"/>
                      <a:pt x="3" y="4064"/>
                    </a:cubicBezTo>
                    <a:cubicBezTo>
                      <a:pt x="219" y="3879"/>
                      <a:pt x="219" y="3879"/>
                      <a:pt x="219" y="3879"/>
                    </a:cubicBezTo>
                    <a:cubicBezTo>
                      <a:pt x="247" y="3911"/>
                      <a:pt x="247" y="3911"/>
                      <a:pt x="247" y="3911"/>
                    </a:cubicBezTo>
                    <a:cubicBezTo>
                      <a:pt x="483" y="3708"/>
                      <a:pt x="483" y="3708"/>
                      <a:pt x="483" y="3708"/>
                    </a:cubicBezTo>
                    <a:cubicBezTo>
                      <a:pt x="625" y="3873"/>
                      <a:pt x="625" y="3873"/>
                      <a:pt x="625" y="3873"/>
                    </a:cubicBezTo>
                    <a:cubicBezTo>
                      <a:pt x="569" y="3927"/>
                      <a:pt x="569" y="3927"/>
                      <a:pt x="569" y="3927"/>
                    </a:cubicBezTo>
                    <a:cubicBezTo>
                      <a:pt x="722" y="4113"/>
                      <a:pt x="722" y="4113"/>
                      <a:pt x="722" y="4113"/>
                    </a:cubicBezTo>
                    <a:cubicBezTo>
                      <a:pt x="780" y="4068"/>
                      <a:pt x="780" y="4068"/>
                      <a:pt x="780" y="4068"/>
                    </a:cubicBezTo>
                    <a:cubicBezTo>
                      <a:pt x="884" y="4189"/>
                      <a:pt x="884" y="4189"/>
                      <a:pt x="884" y="4189"/>
                    </a:cubicBezTo>
                    <a:cubicBezTo>
                      <a:pt x="365" y="4650"/>
                      <a:pt x="365" y="4650"/>
                      <a:pt x="365" y="4650"/>
                    </a:cubicBezTo>
                    <a:cubicBezTo>
                      <a:pt x="159" y="4410"/>
                      <a:pt x="159" y="4410"/>
                      <a:pt x="159" y="4410"/>
                    </a:cubicBezTo>
                    <a:cubicBezTo>
                      <a:pt x="45" y="4507"/>
                      <a:pt x="45" y="4507"/>
                      <a:pt x="45" y="4507"/>
                    </a:cubicBezTo>
                    <a:cubicBezTo>
                      <a:pt x="3" y="4458"/>
                      <a:pt x="3" y="4458"/>
                      <a:pt x="3" y="4458"/>
                    </a:cubicBezTo>
                    <a:cubicBezTo>
                      <a:pt x="3" y="4480"/>
                      <a:pt x="3" y="4480"/>
                      <a:pt x="3" y="4480"/>
                    </a:cubicBezTo>
                    <a:cubicBezTo>
                      <a:pt x="44" y="4528"/>
                      <a:pt x="44" y="4528"/>
                      <a:pt x="44" y="4528"/>
                    </a:cubicBezTo>
                    <a:lnTo>
                      <a:pt x="158" y="4431"/>
                    </a:lnTo>
                    <a:close/>
                    <a:moveTo>
                      <a:pt x="20" y="6699"/>
                    </a:moveTo>
                    <a:cubicBezTo>
                      <a:pt x="3" y="6604"/>
                      <a:pt x="3" y="6604"/>
                      <a:pt x="3" y="6604"/>
                    </a:cubicBezTo>
                    <a:cubicBezTo>
                      <a:pt x="3" y="6525"/>
                      <a:pt x="3" y="6525"/>
                      <a:pt x="3" y="6525"/>
                    </a:cubicBezTo>
                    <a:cubicBezTo>
                      <a:pt x="22" y="6515"/>
                      <a:pt x="75" y="6486"/>
                      <a:pt x="117" y="6452"/>
                    </a:cubicBezTo>
                    <a:cubicBezTo>
                      <a:pt x="142" y="6431"/>
                      <a:pt x="161" y="6402"/>
                      <a:pt x="174" y="6378"/>
                    </a:cubicBezTo>
                    <a:cubicBezTo>
                      <a:pt x="188" y="6354"/>
                      <a:pt x="194" y="6335"/>
                      <a:pt x="195" y="6335"/>
                    </a:cubicBezTo>
                    <a:cubicBezTo>
                      <a:pt x="197" y="6327"/>
                      <a:pt x="197" y="6327"/>
                      <a:pt x="197" y="6327"/>
                    </a:cubicBezTo>
                    <a:cubicBezTo>
                      <a:pt x="205" y="6331"/>
                      <a:pt x="205" y="6331"/>
                      <a:pt x="205" y="6331"/>
                    </a:cubicBezTo>
                    <a:cubicBezTo>
                      <a:pt x="205" y="6331"/>
                      <a:pt x="238" y="6349"/>
                      <a:pt x="317" y="6388"/>
                    </a:cubicBezTo>
                    <a:cubicBezTo>
                      <a:pt x="398" y="6429"/>
                      <a:pt x="535" y="6527"/>
                      <a:pt x="535" y="6528"/>
                    </a:cubicBezTo>
                    <a:cubicBezTo>
                      <a:pt x="533" y="6540"/>
                      <a:pt x="533" y="6540"/>
                      <a:pt x="533" y="6540"/>
                    </a:cubicBezTo>
                    <a:cubicBezTo>
                      <a:pt x="411" y="6593"/>
                      <a:pt x="411" y="6593"/>
                      <a:pt x="411" y="6593"/>
                    </a:cubicBezTo>
                    <a:cubicBezTo>
                      <a:pt x="287" y="6515"/>
                      <a:pt x="287" y="6515"/>
                      <a:pt x="287" y="6515"/>
                    </a:cubicBezTo>
                    <a:cubicBezTo>
                      <a:pt x="313" y="6613"/>
                      <a:pt x="313" y="6613"/>
                      <a:pt x="313" y="6613"/>
                    </a:cubicBezTo>
                    <a:cubicBezTo>
                      <a:pt x="228" y="6676"/>
                      <a:pt x="228" y="6676"/>
                      <a:pt x="228" y="6676"/>
                    </a:cubicBezTo>
                    <a:cubicBezTo>
                      <a:pt x="139" y="6569"/>
                      <a:pt x="139" y="6569"/>
                      <a:pt x="139" y="6569"/>
                    </a:cubicBezTo>
                    <a:cubicBezTo>
                      <a:pt x="139" y="6691"/>
                      <a:pt x="139" y="6691"/>
                      <a:pt x="139" y="6691"/>
                    </a:cubicBezTo>
                    <a:lnTo>
                      <a:pt x="20" y="6699"/>
                    </a:lnTo>
                    <a:close/>
                    <a:moveTo>
                      <a:pt x="7" y="6540"/>
                    </a:moveTo>
                    <a:cubicBezTo>
                      <a:pt x="32" y="6683"/>
                      <a:pt x="32" y="6683"/>
                      <a:pt x="32" y="6683"/>
                    </a:cubicBezTo>
                    <a:cubicBezTo>
                      <a:pt x="124" y="6677"/>
                      <a:pt x="124" y="6677"/>
                      <a:pt x="124" y="6677"/>
                    </a:cubicBezTo>
                    <a:cubicBezTo>
                      <a:pt x="124" y="6549"/>
                      <a:pt x="124" y="6549"/>
                      <a:pt x="124" y="6549"/>
                    </a:cubicBezTo>
                    <a:cubicBezTo>
                      <a:pt x="138" y="6544"/>
                      <a:pt x="138" y="6544"/>
                      <a:pt x="138" y="6544"/>
                    </a:cubicBezTo>
                    <a:cubicBezTo>
                      <a:pt x="231" y="6656"/>
                      <a:pt x="231" y="6656"/>
                      <a:pt x="231" y="6656"/>
                    </a:cubicBezTo>
                    <a:cubicBezTo>
                      <a:pt x="296" y="6607"/>
                      <a:pt x="296" y="6607"/>
                      <a:pt x="296" y="6607"/>
                    </a:cubicBezTo>
                    <a:cubicBezTo>
                      <a:pt x="268" y="6501"/>
                      <a:pt x="268" y="6501"/>
                      <a:pt x="268" y="6501"/>
                    </a:cubicBezTo>
                    <a:cubicBezTo>
                      <a:pt x="279" y="6492"/>
                      <a:pt x="279" y="6492"/>
                      <a:pt x="279" y="6492"/>
                    </a:cubicBezTo>
                    <a:cubicBezTo>
                      <a:pt x="412" y="6576"/>
                      <a:pt x="412" y="6576"/>
                      <a:pt x="412" y="6576"/>
                    </a:cubicBezTo>
                    <a:cubicBezTo>
                      <a:pt x="515" y="6532"/>
                      <a:pt x="515" y="6532"/>
                      <a:pt x="515" y="6532"/>
                    </a:cubicBezTo>
                    <a:cubicBezTo>
                      <a:pt x="482" y="6508"/>
                      <a:pt x="376" y="6434"/>
                      <a:pt x="311" y="6402"/>
                    </a:cubicBezTo>
                    <a:cubicBezTo>
                      <a:pt x="252" y="6373"/>
                      <a:pt x="219" y="6355"/>
                      <a:pt x="205" y="6348"/>
                    </a:cubicBezTo>
                    <a:cubicBezTo>
                      <a:pt x="197" y="6369"/>
                      <a:pt x="170" y="6427"/>
                      <a:pt x="126" y="6463"/>
                    </a:cubicBezTo>
                    <a:cubicBezTo>
                      <a:pt x="81" y="6500"/>
                      <a:pt x="24" y="6531"/>
                      <a:pt x="7" y="6540"/>
                    </a:cubicBezTo>
                    <a:close/>
                    <a:moveTo>
                      <a:pt x="81" y="7186"/>
                    </a:moveTo>
                    <a:cubicBezTo>
                      <a:pt x="3" y="7152"/>
                      <a:pt x="3" y="7152"/>
                      <a:pt x="3" y="7152"/>
                    </a:cubicBezTo>
                    <a:cubicBezTo>
                      <a:pt x="3" y="7105"/>
                      <a:pt x="3" y="7105"/>
                      <a:pt x="3" y="7105"/>
                    </a:cubicBezTo>
                    <a:cubicBezTo>
                      <a:pt x="45" y="7009"/>
                      <a:pt x="45" y="7009"/>
                      <a:pt x="45" y="7009"/>
                    </a:cubicBezTo>
                    <a:cubicBezTo>
                      <a:pt x="140" y="7050"/>
                      <a:pt x="140" y="7050"/>
                      <a:pt x="140" y="7050"/>
                    </a:cubicBezTo>
                    <a:lnTo>
                      <a:pt x="81" y="7186"/>
                    </a:lnTo>
                    <a:close/>
                    <a:moveTo>
                      <a:pt x="74" y="7169"/>
                    </a:moveTo>
                    <a:cubicBezTo>
                      <a:pt x="123" y="7057"/>
                      <a:pt x="123" y="7057"/>
                      <a:pt x="123" y="7057"/>
                    </a:cubicBezTo>
                    <a:cubicBezTo>
                      <a:pt x="52" y="7026"/>
                      <a:pt x="52" y="7026"/>
                      <a:pt x="52" y="7026"/>
                    </a:cubicBezTo>
                    <a:cubicBezTo>
                      <a:pt x="3" y="7138"/>
                      <a:pt x="3" y="7138"/>
                      <a:pt x="3" y="7138"/>
                    </a:cubicBezTo>
                    <a:lnTo>
                      <a:pt x="74" y="7169"/>
                    </a:lnTo>
                    <a:close/>
                    <a:moveTo>
                      <a:pt x="4904" y="10227"/>
                    </a:moveTo>
                    <a:cubicBezTo>
                      <a:pt x="4929" y="10328"/>
                      <a:pt x="4929" y="10328"/>
                      <a:pt x="4929" y="10328"/>
                    </a:cubicBezTo>
                    <a:cubicBezTo>
                      <a:pt x="4785" y="10363"/>
                      <a:pt x="4785" y="10363"/>
                      <a:pt x="4785" y="10363"/>
                    </a:cubicBezTo>
                    <a:cubicBezTo>
                      <a:pt x="4783" y="10356"/>
                      <a:pt x="4783" y="10356"/>
                      <a:pt x="4783" y="10356"/>
                    </a:cubicBezTo>
                    <a:cubicBezTo>
                      <a:pt x="4760" y="10261"/>
                      <a:pt x="4760" y="10261"/>
                      <a:pt x="4760" y="10261"/>
                    </a:cubicBezTo>
                    <a:lnTo>
                      <a:pt x="4904" y="10227"/>
                    </a:lnTo>
                    <a:close/>
                    <a:moveTo>
                      <a:pt x="4913" y="10319"/>
                    </a:moveTo>
                    <a:cubicBezTo>
                      <a:pt x="4895" y="10242"/>
                      <a:pt x="4895" y="10242"/>
                      <a:pt x="4895" y="10242"/>
                    </a:cubicBezTo>
                    <a:cubicBezTo>
                      <a:pt x="4776" y="10271"/>
                      <a:pt x="4776" y="10271"/>
                      <a:pt x="4776" y="10271"/>
                    </a:cubicBezTo>
                    <a:cubicBezTo>
                      <a:pt x="4794" y="10347"/>
                      <a:pt x="4794" y="10347"/>
                      <a:pt x="4794" y="10347"/>
                    </a:cubicBezTo>
                    <a:lnTo>
                      <a:pt x="4913" y="10319"/>
                    </a:lnTo>
                    <a:close/>
                    <a:moveTo>
                      <a:pt x="155" y="7594"/>
                    </a:moveTo>
                    <a:cubicBezTo>
                      <a:pt x="59" y="7429"/>
                      <a:pt x="59" y="7429"/>
                      <a:pt x="59" y="7429"/>
                    </a:cubicBezTo>
                    <a:cubicBezTo>
                      <a:pt x="64" y="7426"/>
                      <a:pt x="64" y="7426"/>
                      <a:pt x="64" y="7426"/>
                    </a:cubicBezTo>
                    <a:cubicBezTo>
                      <a:pt x="133" y="7386"/>
                      <a:pt x="133" y="7386"/>
                      <a:pt x="133" y="7386"/>
                    </a:cubicBezTo>
                    <a:cubicBezTo>
                      <a:pt x="157" y="7426"/>
                      <a:pt x="157" y="7426"/>
                      <a:pt x="157" y="7426"/>
                    </a:cubicBezTo>
                    <a:cubicBezTo>
                      <a:pt x="206" y="7397"/>
                      <a:pt x="206" y="7397"/>
                      <a:pt x="206" y="7397"/>
                    </a:cubicBezTo>
                    <a:cubicBezTo>
                      <a:pt x="255" y="7481"/>
                      <a:pt x="255" y="7481"/>
                      <a:pt x="255" y="7481"/>
                    </a:cubicBezTo>
                    <a:cubicBezTo>
                      <a:pt x="206" y="7510"/>
                      <a:pt x="206" y="7510"/>
                      <a:pt x="206" y="7510"/>
                    </a:cubicBezTo>
                    <a:cubicBezTo>
                      <a:pt x="229" y="7550"/>
                      <a:pt x="229" y="7550"/>
                      <a:pt x="229" y="7550"/>
                    </a:cubicBezTo>
                    <a:lnTo>
                      <a:pt x="155" y="7594"/>
                    </a:lnTo>
                    <a:close/>
                    <a:moveTo>
                      <a:pt x="77" y="7434"/>
                    </a:moveTo>
                    <a:cubicBezTo>
                      <a:pt x="160" y="7576"/>
                      <a:pt x="160" y="7576"/>
                      <a:pt x="160" y="7576"/>
                    </a:cubicBezTo>
                    <a:cubicBezTo>
                      <a:pt x="211" y="7546"/>
                      <a:pt x="211" y="7546"/>
                      <a:pt x="211" y="7546"/>
                    </a:cubicBezTo>
                    <a:cubicBezTo>
                      <a:pt x="188" y="7505"/>
                      <a:pt x="188" y="7505"/>
                      <a:pt x="188" y="7505"/>
                    </a:cubicBezTo>
                    <a:cubicBezTo>
                      <a:pt x="237" y="7476"/>
                      <a:pt x="237" y="7476"/>
                      <a:pt x="237" y="7476"/>
                    </a:cubicBezTo>
                    <a:cubicBezTo>
                      <a:pt x="202" y="7415"/>
                      <a:pt x="202" y="7415"/>
                      <a:pt x="202" y="7415"/>
                    </a:cubicBezTo>
                    <a:cubicBezTo>
                      <a:pt x="152" y="7444"/>
                      <a:pt x="152" y="7444"/>
                      <a:pt x="152" y="7444"/>
                    </a:cubicBezTo>
                    <a:cubicBezTo>
                      <a:pt x="128" y="7404"/>
                      <a:pt x="128" y="7404"/>
                      <a:pt x="128" y="7404"/>
                    </a:cubicBezTo>
                    <a:lnTo>
                      <a:pt x="77" y="7434"/>
                    </a:lnTo>
                    <a:close/>
                    <a:moveTo>
                      <a:pt x="5510" y="7177"/>
                    </a:moveTo>
                    <a:cubicBezTo>
                      <a:pt x="5660" y="7195"/>
                      <a:pt x="5660" y="7195"/>
                      <a:pt x="5660" y="7195"/>
                    </a:cubicBezTo>
                    <a:cubicBezTo>
                      <a:pt x="5651" y="7270"/>
                      <a:pt x="5651" y="7270"/>
                      <a:pt x="5651" y="7270"/>
                    </a:cubicBezTo>
                    <a:cubicBezTo>
                      <a:pt x="5645" y="7270"/>
                      <a:pt x="5645" y="7270"/>
                      <a:pt x="5645" y="7270"/>
                    </a:cubicBezTo>
                    <a:cubicBezTo>
                      <a:pt x="5501" y="7252"/>
                      <a:pt x="5501" y="7252"/>
                      <a:pt x="5501" y="7252"/>
                    </a:cubicBezTo>
                    <a:lnTo>
                      <a:pt x="5510" y="7177"/>
                    </a:lnTo>
                    <a:close/>
                    <a:moveTo>
                      <a:pt x="5515" y="7241"/>
                    </a:moveTo>
                    <a:cubicBezTo>
                      <a:pt x="5640" y="7256"/>
                      <a:pt x="5640" y="7256"/>
                      <a:pt x="5640" y="7256"/>
                    </a:cubicBezTo>
                    <a:cubicBezTo>
                      <a:pt x="5646" y="7207"/>
                      <a:pt x="5646" y="7207"/>
                      <a:pt x="5646" y="7207"/>
                    </a:cubicBezTo>
                    <a:cubicBezTo>
                      <a:pt x="5521" y="7191"/>
                      <a:pt x="5521" y="7191"/>
                      <a:pt x="5521" y="7191"/>
                    </a:cubicBezTo>
                    <a:lnTo>
                      <a:pt x="5515" y="7241"/>
                    </a:lnTo>
                    <a:close/>
                    <a:moveTo>
                      <a:pt x="4703" y="10269"/>
                    </a:moveTo>
                    <a:cubicBezTo>
                      <a:pt x="4727" y="10371"/>
                      <a:pt x="4727" y="10371"/>
                      <a:pt x="4727" y="10371"/>
                    </a:cubicBezTo>
                    <a:cubicBezTo>
                      <a:pt x="4583" y="10405"/>
                      <a:pt x="4583" y="10405"/>
                      <a:pt x="4583" y="10405"/>
                    </a:cubicBezTo>
                    <a:cubicBezTo>
                      <a:pt x="4582" y="10399"/>
                      <a:pt x="4582" y="10399"/>
                      <a:pt x="4582" y="10399"/>
                    </a:cubicBezTo>
                    <a:cubicBezTo>
                      <a:pt x="4559" y="10304"/>
                      <a:pt x="4559" y="10304"/>
                      <a:pt x="4559" y="10304"/>
                    </a:cubicBezTo>
                    <a:lnTo>
                      <a:pt x="4703" y="10269"/>
                    </a:lnTo>
                    <a:close/>
                    <a:moveTo>
                      <a:pt x="4712" y="10361"/>
                    </a:moveTo>
                    <a:cubicBezTo>
                      <a:pt x="4693" y="10285"/>
                      <a:pt x="4693" y="10285"/>
                      <a:pt x="4693" y="10285"/>
                    </a:cubicBezTo>
                    <a:cubicBezTo>
                      <a:pt x="4574" y="10313"/>
                      <a:pt x="4574" y="10313"/>
                      <a:pt x="4574" y="10313"/>
                    </a:cubicBezTo>
                    <a:cubicBezTo>
                      <a:pt x="4593" y="10390"/>
                      <a:pt x="4593" y="10390"/>
                      <a:pt x="4593" y="10390"/>
                    </a:cubicBezTo>
                    <a:lnTo>
                      <a:pt x="4712" y="10361"/>
                    </a:lnTo>
                    <a:close/>
                    <a:moveTo>
                      <a:pt x="4185" y="10724"/>
                    </a:moveTo>
                    <a:cubicBezTo>
                      <a:pt x="4125" y="10666"/>
                      <a:pt x="4125" y="10666"/>
                      <a:pt x="4125" y="10666"/>
                    </a:cubicBezTo>
                    <a:cubicBezTo>
                      <a:pt x="4017" y="10705"/>
                      <a:pt x="4017" y="10705"/>
                      <a:pt x="4017" y="10705"/>
                    </a:cubicBezTo>
                    <a:cubicBezTo>
                      <a:pt x="4025" y="10761"/>
                      <a:pt x="4025" y="10761"/>
                      <a:pt x="4025" y="10761"/>
                    </a:cubicBezTo>
                    <a:cubicBezTo>
                      <a:pt x="3801" y="10810"/>
                      <a:pt x="3801" y="10810"/>
                      <a:pt x="3801" y="10810"/>
                    </a:cubicBezTo>
                    <a:cubicBezTo>
                      <a:pt x="3741" y="10773"/>
                      <a:pt x="3741" y="10773"/>
                      <a:pt x="3741" y="10773"/>
                    </a:cubicBezTo>
                    <a:cubicBezTo>
                      <a:pt x="3646" y="10820"/>
                      <a:pt x="3646" y="10820"/>
                      <a:pt x="3646" y="10820"/>
                    </a:cubicBezTo>
                    <a:cubicBezTo>
                      <a:pt x="3647" y="10821"/>
                      <a:pt x="3647" y="10821"/>
                      <a:pt x="3647" y="10821"/>
                    </a:cubicBezTo>
                    <a:cubicBezTo>
                      <a:pt x="3677" y="10821"/>
                      <a:pt x="3677" y="10821"/>
                      <a:pt x="3677" y="10821"/>
                    </a:cubicBezTo>
                    <a:cubicBezTo>
                      <a:pt x="3740" y="10790"/>
                      <a:pt x="3740" y="10790"/>
                      <a:pt x="3740" y="10790"/>
                    </a:cubicBezTo>
                    <a:cubicBezTo>
                      <a:pt x="3791" y="10821"/>
                      <a:pt x="3791" y="10821"/>
                      <a:pt x="3791" y="10821"/>
                    </a:cubicBezTo>
                    <a:cubicBezTo>
                      <a:pt x="3819" y="10821"/>
                      <a:pt x="3819" y="10821"/>
                      <a:pt x="3819" y="10821"/>
                    </a:cubicBezTo>
                    <a:cubicBezTo>
                      <a:pt x="4042" y="10773"/>
                      <a:pt x="4042" y="10773"/>
                      <a:pt x="4042" y="10773"/>
                    </a:cubicBezTo>
                    <a:cubicBezTo>
                      <a:pt x="4033" y="10715"/>
                      <a:pt x="4033" y="10715"/>
                      <a:pt x="4033" y="10715"/>
                    </a:cubicBezTo>
                    <a:cubicBezTo>
                      <a:pt x="4121" y="10683"/>
                      <a:pt x="4121" y="10683"/>
                      <a:pt x="4121" y="10683"/>
                    </a:cubicBezTo>
                    <a:cubicBezTo>
                      <a:pt x="4168" y="10728"/>
                      <a:pt x="4168" y="10728"/>
                      <a:pt x="4168" y="10728"/>
                    </a:cubicBezTo>
                    <a:cubicBezTo>
                      <a:pt x="4131" y="10821"/>
                      <a:pt x="4131" y="10821"/>
                      <a:pt x="4131" y="10821"/>
                    </a:cubicBezTo>
                    <a:cubicBezTo>
                      <a:pt x="4147" y="10821"/>
                      <a:pt x="4147" y="10821"/>
                      <a:pt x="4147" y="10821"/>
                    </a:cubicBezTo>
                    <a:cubicBezTo>
                      <a:pt x="4184" y="10729"/>
                      <a:pt x="4184" y="10729"/>
                      <a:pt x="4184" y="10729"/>
                    </a:cubicBezTo>
                    <a:lnTo>
                      <a:pt x="4185" y="10724"/>
                    </a:lnTo>
                    <a:close/>
                    <a:moveTo>
                      <a:pt x="1630" y="8707"/>
                    </a:moveTo>
                    <a:cubicBezTo>
                      <a:pt x="1630" y="8687"/>
                      <a:pt x="1635" y="8665"/>
                      <a:pt x="1642" y="8646"/>
                    </a:cubicBezTo>
                    <a:cubicBezTo>
                      <a:pt x="1656" y="8609"/>
                      <a:pt x="1682" y="8602"/>
                      <a:pt x="1690" y="8585"/>
                    </a:cubicBezTo>
                    <a:cubicBezTo>
                      <a:pt x="1692" y="8580"/>
                      <a:pt x="1693" y="8576"/>
                      <a:pt x="1693" y="8571"/>
                    </a:cubicBezTo>
                    <a:cubicBezTo>
                      <a:pt x="1693" y="8557"/>
                      <a:pt x="1684" y="8541"/>
                      <a:pt x="1676" y="8532"/>
                    </a:cubicBezTo>
                    <a:cubicBezTo>
                      <a:pt x="1672" y="8527"/>
                      <a:pt x="1669" y="8522"/>
                      <a:pt x="1670" y="8517"/>
                    </a:cubicBezTo>
                    <a:cubicBezTo>
                      <a:pt x="1670" y="8505"/>
                      <a:pt x="1679" y="8495"/>
                      <a:pt x="1688" y="8484"/>
                    </a:cubicBezTo>
                    <a:cubicBezTo>
                      <a:pt x="1702" y="8468"/>
                      <a:pt x="1740" y="8453"/>
                      <a:pt x="1743" y="8439"/>
                    </a:cubicBezTo>
                    <a:cubicBezTo>
                      <a:pt x="1748" y="8422"/>
                      <a:pt x="1753" y="8384"/>
                      <a:pt x="1797" y="8380"/>
                    </a:cubicBezTo>
                    <a:cubicBezTo>
                      <a:pt x="1799" y="8380"/>
                      <a:pt x="1800" y="8380"/>
                      <a:pt x="1801" y="8380"/>
                    </a:cubicBezTo>
                    <a:cubicBezTo>
                      <a:pt x="1835" y="8381"/>
                      <a:pt x="1843" y="8421"/>
                      <a:pt x="1843" y="8445"/>
                    </a:cubicBezTo>
                    <a:cubicBezTo>
                      <a:pt x="1843" y="8452"/>
                      <a:pt x="1842" y="8458"/>
                      <a:pt x="1841" y="8462"/>
                    </a:cubicBezTo>
                    <a:cubicBezTo>
                      <a:pt x="1834" y="8485"/>
                      <a:pt x="1787" y="8482"/>
                      <a:pt x="1767" y="8497"/>
                    </a:cubicBezTo>
                    <a:cubicBezTo>
                      <a:pt x="1761" y="8501"/>
                      <a:pt x="1759" y="8506"/>
                      <a:pt x="1759" y="8512"/>
                    </a:cubicBezTo>
                    <a:cubicBezTo>
                      <a:pt x="1759" y="8524"/>
                      <a:pt x="1771" y="8539"/>
                      <a:pt x="1781" y="8543"/>
                    </a:cubicBezTo>
                    <a:cubicBezTo>
                      <a:pt x="1797" y="8549"/>
                      <a:pt x="1854" y="8545"/>
                      <a:pt x="1881" y="8560"/>
                    </a:cubicBezTo>
                    <a:cubicBezTo>
                      <a:pt x="1892" y="8565"/>
                      <a:pt x="1898" y="8572"/>
                      <a:pt x="1898" y="8581"/>
                    </a:cubicBezTo>
                    <a:cubicBezTo>
                      <a:pt x="1897" y="8596"/>
                      <a:pt x="1882" y="8609"/>
                      <a:pt x="1854" y="8624"/>
                    </a:cubicBezTo>
                    <a:cubicBezTo>
                      <a:pt x="1810" y="8648"/>
                      <a:pt x="1761" y="8651"/>
                      <a:pt x="1739" y="8659"/>
                    </a:cubicBezTo>
                    <a:cubicBezTo>
                      <a:pt x="1716" y="8667"/>
                      <a:pt x="1706" y="8675"/>
                      <a:pt x="1695" y="8701"/>
                    </a:cubicBezTo>
                    <a:cubicBezTo>
                      <a:pt x="1683" y="8730"/>
                      <a:pt x="1655" y="8748"/>
                      <a:pt x="1655" y="8748"/>
                    </a:cubicBezTo>
                    <a:cubicBezTo>
                      <a:pt x="1653" y="8749"/>
                      <a:pt x="1653" y="8749"/>
                      <a:pt x="1653" y="8749"/>
                    </a:cubicBezTo>
                    <a:cubicBezTo>
                      <a:pt x="1652" y="8749"/>
                      <a:pt x="1652" y="8749"/>
                      <a:pt x="1652" y="8749"/>
                    </a:cubicBezTo>
                    <a:cubicBezTo>
                      <a:pt x="1635" y="8744"/>
                      <a:pt x="1630" y="8726"/>
                      <a:pt x="1630" y="8707"/>
                    </a:cubicBezTo>
                    <a:close/>
                    <a:moveTo>
                      <a:pt x="1638" y="8707"/>
                    </a:moveTo>
                    <a:cubicBezTo>
                      <a:pt x="1638" y="8725"/>
                      <a:pt x="1643" y="8737"/>
                      <a:pt x="1652" y="8740"/>
                    </a:cubicBezTo>
                    <a:cubicBezTo>
                      <a:pt x="1658" y="8736"/>
                      <a:pt x="1678" y="8720"/>
                      <a:pt x="1687" y="8698"/>
                    </a:cubicBezTo>
                    <a:cubicBezTo>
                      <a:pt x="1698" y="8670"/>
                      <a:pt x="1712" y="8659"/>
                      <a:pt x="1736" y="8651"/>
                    </a:cubicBezTo>
                    <a:cubicBezTo>
                      <a:pt x="1760" y="8642"/>
                      <a:pt x="1807" y="8640"/>
                      <a:pt x="1850" y="8617"/>
                    </a:cubicBezTo>
                    <a:cubicBezTo>
                      <a:pt x="1878" y="8603"/>
                      <a:pt x="1890" y="8589"/>
                      <a:pt x="1890" y="8581"/>
                    </a:cubicBezTo>
                    <a:cubicBezTo>
                      <a:pt x="1890" y="8576"/>
                      <a:pt x="1887" y="8572"/>
                      <a:pt x="1878" y="8567"/>
                    </a:cubicBezTo>
                    <a:cubicBezTo>
                      <a:pt x="1854" y="8554"/>
                      <a:pt x="1798" y="8558"/>
                      <a:pt x="1778" y="8551"/>
                    </a:cubicBezTo>
                    <a:cubicBezTo>
                      <a:pt x="1764" y="8545"/>
                      <a:pt x="1751" y="8528"/>
                      <a:pt x="1751" y="8512"/>
                    </a:cubicBezTo>
                    <a:cubicBezTo>
                      <a:pt x="1751" y="8504"/>
                      <a:pt x="1754" y="8496"/>
                      <a:pt x="1762" y="8490"/>
                    </a:cubicBezTo>
                    <a:cubicBezTo>
                      <a:pt x="1786" y="8475"/>
                      <a:pt x="1833" y="8472"/>
                      <a:pt x="1833" y="8460"/>
                    </a:cubicBezTo>
                    <a:cubicBezTo>
                      <a:pt x="1834" y="8457"/>
                      <a:pt x="1835" y="8451"/>
                      <a:pt x="1835" y="8445"/>
                    </a:cubicBezTo>
                    <a:cubicBezTo>
                      <a:pt x="1835" y="8434"/>
                      <a:pt x="1833" y="8419"/>
                      <a:pt x="1827" y="8407"/>
                    </a:cubicBezTo>
                    <a:cubicBezTo>
                      <a:pt x="1822" y="8396"/>
                      <a:pt x="1814" y="8388"/>
                      <a:pt x="1801" y="8388"/>
                    </a:cubicBezTo>
                    <a:cubicBezTo>
                      <a:pt x="1800" y="8388"/>
                      <a:pt x="1799" y="8388"/>
                      <a:pt x="1798" y="8388"/>
                    </a:cubicBezTo>
                    <a:cubicBezTo>
                      <a:pt x="1760" y="8392"/>
                      <a:pt x="1757" y="8423"/>
                      <a:pt x="1751" y="8441"/>
                    </a:cubicBezTo>
                    <a:cubicBezTo>
                      <a:pt x="1743" y="8463"/>
                      <a:pt x="1705" y="8475"/>
                      <a:pt x="1694" y="8489"/>
                    </a:cubicBezTo>
                    <a:cubicBezTo>
                      <a:pt x="1685" y="8500"/>
                      <a:pt x="1677" y="8510"/>
                      <a:pt x="1678" y="8517"/>
                    </a:cubicBezTo>
                    <a:cubicBezTo>
                      <a:pt x="1678" y="8520"/>
                      <a:pt x="1679" y="8523"/>
                      <a:pt x="1682" y="8526"/>
                    </a:cubicBezTo>
                    <a:cubicBezTo>
                      <a:pt x="1691" y="8537"/>
                      <a:pt x="1701" y="8554"/>
                      <a:pt x="1701" y="8571"/>
                    </a:cubicBezTo>
                    <a:cubicBezTo>
                      <a:pt x="1701" y="8577"/>
                      <a:pt x="1700" y="8583"/>
                      <a:pt x="1697" y="8588"/>
                    </a:cubicBezTo>
                    <a:cubicBezTo>
                      <a:pt x="1686" y="8610"/>
                      <a:pt x="1663" y="8615"/>
                      <a:pt x="1650" y="8649"/>
                    </a:cubicBezTo>
                    <a:cubicBezTo>
                      <a:pt x="1643" y="8667"/>
                      <a:pt x="1638" y="8689"/>
                      <a:pt x="1638" y="8707"/>
                    </a:cubicBezTo>
                    <a:close/>
                    <a:moveTo>
                      <a:pt x="6062" y="6595"/>
                    </a:moveTo>
                    <a:cubicBezTo>
                      <a:pt x="5918" y="6577"/>
                      <a:pt x="5918" y="6577"/>
                      <a:pt x="5918" y="6577"/>
                    </a:cubicBezTo>
                    <a:cubicBezTo>
                      <a:pt x="5927" y="6502"/>
                      <a:pt x="5927" y="6502"/>
                      <a:pt x="5927" y="6502"/>
                    </a:cubicBezTo>
                    <a:cubicBezTo>
                      <a:pt x="6077" y="6520"/>
                      <a:pt x="6077" y="6520"/>
                      <a:pt x="6077" y="6520"/>
                    </a:cubicBezTo>
                    <a:cubicBezTo>
                      <a:pt x="6068" y="6595"/>
                      <a:pt x="6068" y="6595"/>
                      <a:pt x="6068" y="6595"/>
                    </a:cubicBezTo>
                    <a:lnTo>
                      <a:pt x="6062" y="6595"/>
                    </a:lnTo>
                    <a:close/>
                    <a:moveTo>
                      <a:pt x="6057" y="6581"/>
                    </a:moveTo>
                    <a:cubicBezTo>
                      <a:pt x="6063" y="6532"/>
                      <a:pt x="6063" y="6532"/>
                      <a:pt x="6063" y="6532"/>
                    </a:cubicBezTo>
                    <a:cubicBezTo>
                      <a:pt x="5938" y="6516"/>
                      <a:pt x="5938" y="6516"/>
                      <a:pt x="5938" y="6516"/>
                    </a:cubicBezTo>
                    <a:cubicBezTo>
                      <a:pt x="5932" y="6565"/>
                      <a:pt x="5932" y="6565"/>
                      <a:pt x="5932" y="6565"/>
                    </a:cubicBezTo>
                    <a:lnTo>
                      <a:pt x="6057" y="6581"/>
                    </a:lnTo>
                    <a:close/>
                    <a:moveTo>
                      <a:pt x="3718" y="10675"/>
                    </a:moveTo>
                    <a:cubicBezTo>
                      <a:pt x="3771" y="10727"/>
                      <a:pt x="3771" y="10727"/>
                      <a:pt x="3771" y="10727"/>
                    </a:cubicBezTo>
                    <a:cubicBezTo>
                      <a:pt x="3985" y="10680"/>
                      <a:pt x="3985" y="10680"/>
                      <a:pt x="3985" y="10680"/>
                    </a:cubicBezTo>
                    <a:cubicBezTo>
                      <a:pt x="3966" y="10584"/>
                      <a:pt x="3966" y="10584"/>
                      <a:pt x="3966" y="10584"/>
                    </a:cubicBezTo>
                    <a:cubicBezTo>
                      <a:pt x="4096" y="10545"/>
                      <a:pt x="4096" y="10545"/>
                      <a:pt x="4096" y="10545"/>
                    </a:cubicBezTo>
                    <a:cubicBezTo>
                      <a:pt x="4097" y="10451"/>
                      <a:pt x="4097" y="10451"/>
                      <a:pt x="4097" y="10451"/>
                    </a:cubicBezTo>
                    <a:cubicBezTo>
                      <a:pt x="4097" y="10441"/>
                      <a:pt x="4097" y="10441"/>
                      <a:pt x="4097" y="10441"/>
                    </a:cubicBezTo>
                    <a:cubicBezTo>
                      <a:pt x="3301" y="10681"/>
                      <a:pt x="3301" y="10681"/>
                      <a:pt x="3301" y="10681"/>
                    </a:cubicBezTo>
                    <a:cubicBezTo>
                      <a:pt x="3404" y="10821"/>
                      <a:pt x="3404" y="10821"/>
                      <a:pt x="3404" y="10821"/>
                    </a:cubicBezTo>
                    <a:cubicBezTo>
                      <a:pt x="3423" y="10821"/>
                      <a:pt x="3423" y="10821"/>
                      <a:pt x="3423" y="10821"/>
                    </a:cubicBezTo>
                    <a:cubicBezTo>
                      <a:pt x="3326" y="10689"/>
                      <a:pt x="3326" y="10689"/>
                      <a:pt x="3326" y="10689"/>
                    </a:cubicBezTo>
                    <a:cubicBezTo>
                      <a:pt x="4082" y="10461"/>
                      <a:pt x="4082" y="10461"/>
                      <a:pt x="4082" y="10461"/>
                    </a:cubicBezTo>
                    <a:cubicBezTo>
                      <a:pt x="4081" y="10534"/>
                      <a:pt x="4081" y="10534"/>
                      <a:pt x="4081" y="10534"/>
                    </a:cubicBezTo>
                    <a:cubicBezTo>
                      <a:pt x="3949" y="10573"/>
                      <a:pt x="3949" y="10573"/>
                      <a:pt x="3949" y="10573"/>
                    </a:cubicBezTo>
                    <a:cubicBezTo>
                      <a:pt x="3968" y="10669"/>
                      <a:pt x="3968" y="10669"/>
                      <a:pt x="3968" y="10669"/>
                    </a:cubicBezTo>
                    <a:cubicBezTo>
                      <a:pt x="3776" y="10711"/>
                      <a:pt x="3776" y="10711"/>
                      <a:pt x="3776" y="10711"/>
                    </a:cubicBezTo>
                    <a:cubicBezTo>
                      <a:pt x="3719" y="10655"/>
                      <a:pt x="3719" y="10655"/>
                      <a:pt x="3719" y="10655"/>
                    </a:cubicBezTo>
                    <a:cubicBezTo>
                      <a:pt x="3554" y="10787"/>
                      <a:pt x="3554" y="10787"/>
                      <a:pt x="3554" y="10787"/>
                    </a:cubicBezTo>
                    <a:cubicBezTo>
                      <a:pt x="3571" y="10821"/>
                      <a:pt x="3571" y="10821"/>
                      <a:pt x="3571" y="10821"/>
                    </a:cubicBezTo>
                    <a:cubicBezTo>
                      <a:pt x="3587" y="10821"/>
                      <a:pt x="3587" y="10821"/>
                      <a:pt x="3587" y="10821"/>
                    </a:cubicBezTo>
                    <a:cubicBezTo>
                      <a:pt x="3572" y="10791"/>
                      <a:pt x="3572" y="10791"/>
                      <a:pt x="3572" y="10791"/>
                    </a:cubicBezTo>
                    <a:lnTo>
                      <a:pt x="3718" y="10675"/>
                    </a:lnTo>
                    <a:close/>
                    <a:moveTo>
                      <a:pt x="3731" y="5497"/>
                    </a:moveTo>
                    <a:cubicBezTo>
                      <a:pt x="3735" y="5572"/>
                      <a:pt x="3735" y="5572"/>
                      <a:pt x="3735" y="5572"/>
                    </a:cubicBezTo>
                    <a:cubicBezTo>
                      <a:pt x="3584" y="5581"/>
                      <a:pt x="3584" y="5581"/>
                      <a:pt x="3584" y="5581"/>
                    </a:cubicBezTo>
                    <a:cubicBezTo>
                      <a:pt x="3580" y="5506"/>
                      <a:pt x="3580" y="5506"/>
                      <a:pt x="3580" y="5506"/>
                    </a:cubicBezTo>
                    <a:cubicBezTo>
                      <a:pt x="3586" y="5505"/>
                      <a:pt x="3586" y="5505"/>
                      <a:pt x="3586" y="5505"/>
                    </a:cubicBezTo>
                    <a:lnTo>
                      <a:pt x="3731" y="5497"/>
                    </a:lnTo>
                    <a:close/>
                    <a:moveTo>
                      <a:pt x="3721" y="5560"/>
                    </a:moveTo>
                    <a:cubicBezTo>
                      <a:pt x="3718" y="5511"/>
                      <a:pt x="3718" y="5511"/>
                      <a:pt x="3718" y="5511"/>
                    </a:cubicBezTo>
                    <a:cubicBezTo>
                      <a:pt x="3593" y="5518"/>
                      <a:pt x="3593" y="5518"/>
                      <a:pt x="3593" y="5518"/>
                    </a:cubicBezTo>
                    <a:cubicBezTo>
                      <a:pt x="3596" y="5568"/>
                      <a:pt x="3596" y="5568"/>
                      <a:pt x="3596" y="5568"/>
                    </a:cubicBezTo>
                    <a:lnTo>
                      <a:pt x="3721" y="5560"/>
                    </a:lnTo>
                    <a:close/>
                    <a:moveTo>
                      <a:pt x="4357" y="10715"/>
                    </a:moveTo>
                    <a:cubicBezTo>
                      <a:pt x="4272" y="10775"/>
                      <a:pt x="4272" y="10775"/>
                      <a:pt x="4272" y="10775"/>
                    </a:cubicBezTo>
                    <a:cubicBezTo>
                      <a:pt x="4253" y="10821"/>
                      <a:pt x="4253" y="10821"/>
                      <a:pt x="4253" y="10821"/>
                    </a:cubicBezTo>
                    <a:cubicBezTo>
                      <a:pt x="4269" y="10821"/>
                      <a:pt x="4269" y="10821"/>
                      <a:pt x="4269" y="10821"/>
                    </a:cubicBezTo>
                    <a:cubicBezTo>
                      <a:pt x="4284" y="10784"/>
                      <a:pt x="4284" y="10784"/>
                      <a:pt x="4284" y="10784"/>
                    </a:cubicBezTo>
                    <a:cubicBezTo>
                      <a:pt x="4362" y="10730"/>
                      <a:pt x="4362" y="10730"/>
                      <a:pt x="4362" y="10730"/>
                    </a:cubicBezTo>
                    <a:cubicBezTo>
                      <a:pt x="4516" y="10715"/>
                      <a:pt x="4516" y="10715"/>
                      <a:pt x="4516" y="10715"/>
                    </a:cubicBezTo>
                    <a:cubicBezTo>
                      <a:pt x="4553" y="10821"/>
                      <a:pt x="4553" y="10821"/>
                      <a:pt x="4553" y="10821"/>
                    </a:cubicBezTo>
                    <a:cubicBezTo>
                      <a:pt x="4569" y="10821"/>
                      <a:pt x="4569" y="10821"/>
                      <a:pt x="4569" y="10821"/>
                    </a:cubicBezTo>
                    <a:cubicBezTo>
                      <a:pt x="4526" y="10699"/>
                      <a:pt x="4526" y="10699"/>
                      <a:pt x="4526" y="10699"/>
                    </a:cubicBezTo>
                    <a:lnTo>
                      <a:pt x="4357" y="10715"/>
                    </a:lnTo>
                    <a:close/>
                    <a:moveTo>
                      <a:pt x="7275" y="9967"/>
                    </a:moveTo>
                    <a:cubicBezTo>
                      <a:pt x="7328" y="10021"/>
                      <a:pt x="7328" y="10021"/>
                      <a:pt x="7328" y="10021"/>
                    </a:cubicBezTo>
                    <a:cubicBezTo>
                      <a:pt x="7273" y="10074"/>
                      <a:pt x="7273" y="10074"/>
                      <a:pt x="7273" y="10074"/>
                    </a:cubicBezTo>
                    <a:cubicBezTo>
                      <a:pt x="7269" y="10069"/>
                      <a:pt x="7269" y="10069"/>
                      <a:pt x="7269" y="10069"/>
                    </a:cubicBezTo>
                    <a:cubicBezTo>
                      <a:pt x="7137" y="9930"/>
                      <a:pt x="7137" y="9930"/>
                      <a:pt x="7137" y="9930"/>
                    </a:cubicBezTo>
                    <a:cubicBezTo>
                      <a:pt x="7172" y="9895"/>
                      <a:pt x="7172" y="9895"/>
                      <a:pt x="7172" y="9895"/>
                    </a:cubicBezTo>
                    <a:cubicBezTo>
                      <a:pt x="7164" y="9887"/>
                      <a:pt x="7164" y="9887"/>
                      <a:pt x="7164" y="9887"/>
                    </a:cubicBezTo>
                    <a:cubicBezTo>
                      <a:pt x="7160" y="9882"/>
                      <a:pt x="7160" y="9882"/>
                      <a:pt x="7160" y="9882"/>
                    </a:cubicBezTo>
                    <a:cubicBezTo>
                      <a:pt x="7229" y="9815"/>
                      <a:pt x="7229" y="9815"/>
                      <a:pt x="7229" y="9815"/>
                    </a:cubicBezTo>
                    <a:cubicBezTo>
                      <a:pt x="7327" y="9916"/>
                      <a:pt x="7327" y="9916"/>
                      <a:pt x="7327" y="9916"/>
                    </a:cubicBezTo>
                    <a:lnTo>
                      <a:pt x="7275" y="9967"/>
                    </a:lnTo>
                    <a:close/>
                    <a:moveTo>
                      <a:pt x="7256" y="9967"/>
                    </a:moveTo>
                    <a:cubicBezTo>
                      <a:pt x="7309" y="9916"/>
                      <a:pt x="7309" y="9916"/>
                      <a:pt x="7309" y="9916"/>
                    </a:cubicBezTo>
                    <a:cubicBezTo>
                      <a:pt x="7229" y="9833"/>
                      <a:pt x="7229" y="9833"/>
                      <a:pt x="7229" y="9833"/>
                    </a:cubicBezTo>
                    <a:cubicBezTo>
                      <a:pt x="7178" y="9883"/>
                      <a:pt x="7178" y="9883"/>
                      <a:pt x="7178" y="9883"/>
                    </a:cubicBezTo>
                    <a:cubicBezTo>
                      <a:pt x="7186" y="9891"/>
                      <a:pt x="7186" y="9891"/>
                      <a:pt x="7186" y="9891"/>
                    </a:cubicBezTo>
                    <a:cubicBezTo>
                      <a:pt x="7191" y="9896"/>
                      <a:pt x="7191" y="9896"/>
                      <a:pt x="7191" y="9896"/>
                    </a:cubicBezTo>
                    <a:cubicBezTo>
                      <a:pt x="7155" y="9930"/>
                      <a:pt x="7155" y="9930"/>
                      <a:pt x="7155" y="9930"/>
                    </a:cubicBezTo>
                    <a:cubicBezTo>
                      <a:pt x="7274" y="10055"/>
                      <a:pt x="7274" y="10055"/>
                      <a:pt x="7274" y="10055"/>
                    </a:cubicBezTo>
                    <a:cubicBezTo>
                      <a:pt x="7309" y="10021"/>
                      <a:pt x="7309" y="10021"/>
                      <a:pt x="7309" y="10021"/>
                    </a:cubicBezTo>
                    <a:lnTo>
                      <a:pt x="7256" y="9967"/>
                    </a:lnTo>
                    <a:close/>
                    <a:moveTo>
                      <a:pt x="5890" y="6676"/>
                    </a:moveTo>
                    <a:cubicBezTo>
                      <a:pt x="6040" y="6695"/>
                      <a:pt x="6040" y="6695"/>
                      <a:pt x="6040" y="6695"/>
                    </a:cubicBezTo>
                    <a:cubicBezTo>
                      <a:pt x="6031" y="6770"/>
                      <a:pt x="6031" y="6770"/>
                      <a:pt x="6031" y="6770"/>
                    </a:cubicBezTo>
                    <a:cubicBezTo>
                      <a:pt x="6025" y="6769"/>
                      <a:pt x="6025" y="6769"/>
                      <a:pt x="6025" y="6769"/>
                    </a:cubicBezTo>
                    <a:cubicBezTo>
                      <a:pt x="5881" y="6751"/>
                      <a:pt x="5881" y="6751"/>
                      <a:pt x="5881" y="6751"/>
                    </a:cubicBezTo>
                    <a:lnTo>
                      <a:pt x="5890" y="6676"/>
                    </a:lnTo>
                    <a:close/>
                    <a:moveTo>
                      <a:pt x="5895" y="6740"/>
                    </a:moveTo>
                    <a:cubicBezTo>
                      <a:pt x="6020" y="6755"/>
                      <a:pt x="6020" y="6755"/>
                      <a:pt x="6020" y="6755"/>
                    </a:cubicBezTo>
                    <a:cubicBezTo>
                      <a:pt x="6026" y="6706"/>
                      <a:pt x="6026" y="6706"/>
                      <a:pt x="6026" y="6706"/>
                    </a:cubicBezTo>
                    <a:cubicBezTo>
                      <a:pt x="5901" y="6691"/>
                      <a:pt x="5901" y="6691"/>
                      <a:pt x="5901" y="6691"/>
                    </a:cubicBezTo>
                    <a:lnTo>
                      <a:pt x="5895" y="6740"/>
                    </a:lnTo>
                    <a:close/>
                    <a:moveTo>
                      <a:pt x="76" y="8335"/>
                    </a:moveTo>
                    <a:cubicBezTo>
                      <a:pt x="3" y="8230"/>
                      <a:pt x="3" y="8230"/>
                      <a:pt x="3" y="8230"/>
                    </a:cubicBezTo>
                    <a:cubicBezTo>
                      <a:pt x="3" y="8253"/>
                      <a:pt x="3" y="8253"/>
                      <a:pt x="3" y="8253"/>
                    </a:cubicBezTo>
                    <a:cubicBezTo>
                      <a:pt x="58" y="8331"/>
                      <a:pt x="58" y="8331"/>
                      <a:pt x="58" y="8331"/>
                    </a:cubicBezTo>
                    <a:cubicBezTo>
                      <a:pt x="17" y="8360"/>
                      <a:pt x="17" y="8360"/>
                      <a:pt x="17" y="8360"/>
                    </a:cubicBezTo>
                    <a:cubicBezTo>
                      <a:pt x="3" y="8340"/>
                      <a:pt x="3" y="8340"/>
                      <a:pt x="3" y="8340"/>
                    </a:cubicBezTo>
                    <a:cubicBezTo>
                      <a:pt x="3" y="8363"/>
                      <a:pt x="3" y="8363"/>
                      <a:pt x="3" y="8363"/>
                    </a:cubicBezTo>
                    <a:cubicBezTo>
                      <a:pt x="14" y="8378"/>
                      <a:pt x="14" y="8378"/>
                      <a:pt x="14" y="8378"/>
                    </a:cubicBezTo>
                    <a:lnTo>
                      <a:pt x="76" y="8335"/>
                    </a:lnTo>
                    <a:close/>
                    <a:moveTo>
                      <a:pt x="5060" y="10302"/>
                    </a:moveTo>
                    <a:cubicBezTo>
                      <a:pt x="5045" y="10206"/>
                      <a:pt x="5045" y="10206"/>
                      <a:pt x="5045" y="10206"/>
                    </a:cubicBezTo>
                    <a:cubicBezTo>
                      <a:pt x="5191" y="10182"/>
                      <a:pt x="5191" y="10182"/>
                      <a:pt x="5191" y="10182"/>
                    </a:cubicBezTo>
                    <a:cubicBezTo>
                      <a:pt x="5208" y="10286"/>
                      <a:pt x="5208" y="10286"/>
                      <a:pt x="5208" y="10286"/>
                    </a:cubicBezTo>
                    <a:cubicBezTo>
                      <a:pt x="5062" y="10309"/>
                      <a:pt x="5062" y="10309"/>
                      <a:pt x="5062" y="10309"/>
                    </a:cubicBezTo>
                    <a:lnTo>
                      <a:pt x="5060" y="10302"/>
                    </a:lnTo>
                    <a:close/>
                    <a:moveTo>
                      <a:pt x="5060" y="10216"/>
                    </a:moveTo>
                    <a:cubicBezTo>
                      <a:pt x="5072" y="10294"/>
                      <a:pt x="5072" y="10294"/>
                      <a:pt x="5072" y="10294"/>
                    </a:cubicBezTo>
                    <a:cubicBezTo>
                      <a:pt x="5193" y="10275"/>
                      <a:pt x="5193" y="10275"/>
                      <a:pt x="5193" y="10275"/>
                    </a:cubicBezTo>
                    <a:cubicBezTo>
                      <a:pt x="5180" y="10197"/>
                      <a:pt x="5180" y="10197"/>
                      <a:pt x="5180" y="10197"/>
                    </a:cubicBezTo>
                    <a:lnTo>
                      <a:pt x="5060" y="10216"/>
                    </a:lnTo>
                    <a:close/>
                    <a:moveTo>
                      <a:pt x="3092" y="7240"/>
                    </a:moveTo>
                    <a:cubicBezTo>
                      <a:pt x="3053" y="7260"/>
                      <a:pt x="3053" y="7260"/>
                      <a:pt x="3053" y="7260"/>
                    </a:cubicBezTo>
                    <a:cubicBezTo>
                      <a:pt x="2947" y="7004"/>
                      <a:pt x="2947" y="7004"/>
                      <a:pt x="2947" y="7004"/>
                    </a:cubicBezTo>
                    <a:cubicBezTo>
                      <a:pt x="2984" y="6992"/>
                      <a:pt x="2984" y="6992"/>
                      <a:pt x="2984" y="6992"/>
                    </a:cubicBezTo>
                    <a:cubicBezTo>
                      <a:pt x="2935" y="6876"/>
                      <a:pt x="2935" y="6876"/>
                      <a:pt x="2935" y="6876"/>
                    </a:cubicBezTo>
                    <a:cubicBezTo>
                      <a:pt x="2997" y="6859"/>
                      <a:pt x="2997" y="6859"/>
                      <a:pt x="2997" y="6859"/>
                    </a:cubicBezTo>
                    <a:cubicBezTo>
                      <a:pt x="3000" y="6863"/>
                      <a:pt x="3000" y="6863"/>
                      <a:pt x="3000" y="6863"/>
                    </a:cubicBezTo>
                    <a:cubicBezTo>
                      <a:pt x="3000" y="6863"/>
                      <a:pt x="3022" y="6895"/>
                      <a:pt x="3053" y="6931"/>
                    </a:cubicBezTo>
                    <a:cubicBezTo>
                      <a:pt x="3083" y="6968"/>
                      <a:pt x="3123" y="7010"/>
                      <a:pt x="3157" y="7031"/>
                    </a:cubicBezTo>
                    <a:cubicBezTo>
                      <a:pt x="3229" y="7075"/>
                      <a:pt x="3335" y="7157"/>
                      <a:pt x="3335" y="7158"/>
                    </a:cubicBezTo>
                    <a:cubicBezTo>
                      <a:pt x="3354" y="7172"/>
                      <a:pt x="3354" y="7172"/>
                      <a:pt x="3354" y="7172"/>
                    </a:cubicBezTo>
                    <a:cubicBezTo>
                      <a:pt x="3330" y="7171"/>
                      <a:pt x="3330" y="7171"/>
                      <a:pt x="3330" y="7171"/>
                    </a:cubicBezTo>
                    <a:cubicBezTo>
                      <a:pt x="3319" y="7170"/>
                      <a:pt x="3309" y="7170"/>
                      <a:pt x="3300" y="7170"/>
                    </a:cubicBezTo>
                    <a:cubicBezTo>
                      <a:pt x="3200" y="7171"/>
                      <a:pt x="3198" y="7206"/>
                      <a:pt x="3197" y="7216"/>
                    </a:cubicBezTo>
                    <a:cubicBezTo>
                      <a:pt x="3197" y="7219"/>
                      <a:pt x="3197" y="7220"/>
                      <a:pt x="3197" y="7220"/>
                    </a:cubicBezTo>
                    <a:cubicBezTo>
                      <a:pt x="3198" y="7225"/>
                      <a:pt x="3198" y="7225"/>
                      <a:pt x="3198" y="7225"/>
                    </a:cubicBezTo>
                    <a:cubicBezTo>
                      <a:pt x="3113" y="7266"/>
                      <a:pt x="3113" y="7266"/>
                      <a:pt x="3113" y="7266"/>
                    </a:cubicBezTo>
                    <a:lnTo>
                      <a:pt x="3092" y="7240"/>
                    </a:lnTo>
                    <a:close/>
                    <a:moveTo>
                      <a:pt x="3060" y="7239"/>
                    </a:moveTo>
                    <a:cubicBezTo>
                      <a:pt x="3096" y="7221"/>
                      <a:pt x="3096" y="7221"/>
                      <a:pt x="3096" y="7221"/>
                    </a:cubicBezTo>
                    <a:cubicBezTo>
                      <a:pt x="3117" y="7247"/>
                      <a:pt x="3117" y="7247"/>
                      <a:pt x="3117" y="7247"/>
                    </a:cubicBezTo>
                    <a:cubicBezTo>
                      <a:pt x="3182" y="7217"/>
                      <a:pt x="3182" y="7217"/>
                      <a:pt x="3182" y="7217"/>
                    </a:cubicBezTo>
                    <a:cubicBezTo>
                      <a:pt x="3182" y="7217"/>
                      <a:pt x="3182" y="7216"/>
                      <a:pt x="3182" y="7216"/>
                    </a:cubicBezTo>
                    <a:cubicBezTo>
                      <a:pt x="3182" y="7207"/>
                      <a:pt x="3185" y="7191"/>
                      <a:pt x="3202" y="7178"/>
                    </a:cubicBezTo>
                    <a:cubicBezTo>
                      <a:pt x="3219" y="7165"/>
                      <a:pt x="3249" y="7155"/>
                      <a:pt x="3300" y="7155"/>
                    </a:cubicBezTo>
                    <a:cubicBezTo>
                      <a:pt x="3302" y="7155"/>
                      <a:pt x="3305" y="7155"/>
                      <a:pt x="3307" y="7155"/>
                    </a:cubicBezTo>
                    <a:cubicBezTo>
                      <a:pt x="3274" y="7130"/>
                      <a:pt x="3202" y="7076"/>
                      <a:pt x="3149" y="7044"/>
                    </a:cubicBezTo>
                    <a:cubicBezTo>
                      <a:pt x="3084" y="7003"/>
                      <a:pt x="3007" y="6898"/>
                      <a:pt x="2991" y="6876"/>
                    </a:cubicBezTo>
                    <a:cubicBezTo>
                      <a:pt x="2955" y="6885"/>
                      <a:pt x="2955" y="6885"/>
                      <a:pt x="2955" y="6885"/>
                    </a:cubicBezTo>
                    <a:cubicBezTo>
                      <a:pt x="3004" y="7001"/>
                      <a:pt x="3004" y="7001"/>
                      <a:pt x="3004" y="7001"/>
                    </a:cubicBezTo>
                    <a:cubicBezTo>
                      <a:pt x="2967" y="7014"/>
                      <a:pt x="2967" y="7014"/>
                      <a:pt x="2967" y="7014"/>
                    </a:cubicBezTo>
                    <a:lnTo>
                      <a:pt x="3060" y="7239"/>
                    </a:lnTo>
                    <a:close/>
                    <a:moveTo>
                      <a:pt x="3538" y="5176"/>
                    </a:moveTo>
                    <a:cubicBezTo>
                      <a:pt x="3580" y="5208"/>
                      <a:pt x="3580" y="5208"/>
                      <a:pt x="3580" y="5208"/>
                    </a:cubicBezTo>
                    <a:cubicBezTo>
                      <a:pt x="3466" y="5354"/>
                      <a:pt x="3466" y="5354"/>
                      <a:pt x="3466" y="5354"/>
                    </a:cubicBezTo>
                    <a:cubicBezTo>
                      <a:pt x="3379" y="5287"/>
                      <a:pt x="3379" y="5287"/>
                      <a:pt x="3379" y="5287"/>
                    </a:cubicBezTo>
                    <a:cubicBezTo>
                      <a:pt x="3424" y="5229"/>
                      <a:pt x="3424" y="5229"/>
                      <a:pt x="3424" y="5229"/>
                    </a:cubicBezTo>
                    <a:cubicBezTo>
                      <a:pt x="3379" y="5194"/>
                      <a:pt x="3379" y="5194"/>
                      <a:pt x="3379" y="5194"/>
                    </a:cubicBezTo>
                    <a:cubicBezTo>
                      <a:pt x="3383" y="5189"/>
                      <a:pt x="3383" y="5189"/>
                      <a:pt x="3383" y="5189"/>
                    </a:cubicBezTo>
                    <a:cubicBezTo>
                      <a:pt x="3452" y="5095"/>
                      <a:pt x="3452" y="5095"/>
                      <a:pt x="3452" y="5095"/>
                    </a:cubicBezTo>
                    <a:cubicBezTo>
                      <a:pt x="3545" y="5168"/>
                      <a:pt x="3545" y="5168"/>
                      <a:pt x="3545" y="5168"/>
                    </a:cubicBezTo>
                    <a:lnTo>
                      <a:pt x="3538" y="5176"/>
                    </a:lnTo>
                    <a:close/>
                    <a:moveTo>
                      <a:pt x="3520" y="5178"/>
                    </a:moveTo>
                    <a:cubicBezTo>
                      <a:pt x="3526" y="5170"/>
                      <a:pt x="3526" y="5170"/>
                      <a:pt x="3526" y="5170"/>
                    </a:cubicBezTo>
                    <a:cubicBezTo>
                      <a:pt x="3454" y="5114"/>
                      <a:pt x="3454" y="5114"/>
                      <a:pt x="3454" y="5114"/>
                    </a:cubicBezTo>
                    <a:cubicBezTo>
                      <a:pt x="3397" y="5192"/>
                      <a:pt x="3397" y="5192"/>
                      <a:pt x="3397" y="5192"/>
                    </a:cubicBezTo>
                    <a:cubicBezTo>
                      <a:pt x="3442" y="5227"/>
                      <a:pt x="3442" y="5227"/>
                      <a:pt x="3442" y="5227"/>
                    </a:cubicBezTo>
                    <a:cubicBezTo>
                      <a:pt x="3398" y="5285"/>
                      <a:pt x="3398" y="5285"/>
                      <a:pt x="3398" y="5285"/>
                    </a:cubicBezTo>
                    <a:cubicBezTo>
                      <a:pt x="3464" y="5336"/>
                      <a:pt x="3464" y="5336"/>
                      <a:pt x="3464" y="5336"/>
                    </a:cubicBezTo>
                    <a:cubicBezTo>
                      <a:pt x="3561" y="5210"/>
                      <a:pt x="3561" y="5210"/>
                      <a:pt x="3561" y="5210"/>
                    </a:cubicBezTo>
                    <a:lnTo>
                      <a:pt x="3520" y="5178"/>
                    </a:lnTo>
                    <a:close/>
                    <a:moveTo>
                      <a:pt x="3870" y="5799"/>
                    </a:moveTo>
                    <a:cubicBezTo>
                      <a:pt x="3881" y="5877"/>
                      <a:pt x="3881" y="5877"/>
                      <a:pt x="3881" y="5877"/>
                    </a:cubicBezTo>
                    <a:cubicBezTo>
                      <a:pt x="3738" y="5845"/>
                      <a:pt x="3738" y="5845"/>
                      <a:pt x="3738" y="5845"/>
                    </a:cubicBezTo>
                    <a:cubicBezTo>
                      <a:pt x="3731" y="5874"/>
                      <a:pt x="3731" y="5874"/>
                      <a:pt x="3731" y="5874"/>
                    </a:cubicBezTo>
                    <a:cubicBezTo>
                      <a:pt x="3488" y="5810"/>
                      <a:pt x="3488" y="5810"/>
                      <a:pt x="3488" y="5810"/>
                    </a:cubicBezTo>
                    <a:cubicBezTo>
                      <a:pt x="3533" y="5716"/>
                      <a:pt x="3533" y="5716"/>
                      <a:pt x="3533" y="5716"/>
                    </a:cubicBezTo>
                    <a:cubicBezTo>
                      <a:pt x="3869" y="5794"/>
                      <a:pt x="3869" y="5794"/>
                      <a:pt x="3869" y="5794"/>
                    </a:cubicBezTo>
                    <a:lnTo>
                      <a:pt x="3870" y="5799"/>
                    </a:lnTo>
                    <a:close/>
                    <a:moveTo>
                      <a:pt x="3863" y="5858"/>
                    </a:moveTo>
                    <a:cubicBezTo>
                      <a:pt x="3856" y="5806"/>
                      <a:pt x="3856" y="5806"/>
                      <a:pt x="3856" y="5806"/>
                    </a:cubicBezTo>
                    <a:cubicBezTo>
                      <a:pt x="3541" y="5733"/>
                      <a:pt x="3541" y="5733"/>
                      <a:pt x="3541" y="5733"/>
                    </a:cubicBezTo>
                    <a:cubicBezTo>
                      <a:pt x="3509" y="5801"/>
                      <a:pt x="3509" y="5801"/>
                      <a:pt x="3509" y="5801"/>
                    </a:cubicBezTo>
                    <a:cubicBezTo>
                      <a:pt x="3720" y="5856"/>
                      <a:pt x="3720" y="5856"/>
                      <a:pt x="3720" y="5856"/>
                    </a:cubicBezTo>
                    <a:cubicBezTo>
                      <a:pt x="3728" y="5827"/>
                      <a:pt x="3728" y="5827"/>
                      <a:pt x="3728" y="5827"/>
                    </a:cubicBezTo>
                    <a:lnTo>
                      <a:pt x="3863" y="5858"/>
                    </a:lnTo>
                    <a:close/>
                    <a:moveTo>
                      <a:pt x="3447" y="6773"/>
                    </a:moveTo>
                    <a:cubicBezTo>
                      <a:pt x="3446" y="6778"/>
                      <a:pt x="3446" y="6778"/>
                      <a:pt x="3446" y="6778"/>
                    </a:cubicBezTo>
                    <a:cubicBezTo>
                      <a:pt x="3423" y="6887"/>
                      <a:pt x="3423" y="6887"/>
                      <a:pt x="3423" y="6887"/>
                    </a:cubicBezTo>
                    <a:cubicBezTo>
                      <a:pt x="3384" y="6875"/>
                      <a:pt x="3384" y="6875"/>
                      <a:pt x="3384" y="6875"/>
                    </a:cubicBezTo>
                    <a:cubicBezTo>
                      <a:pt x="3354" y="6969"/>
                      <a:pt x="3354" y="6969"/>
                      <a:pt x="3354" y="6969"/>
                    </a:cubicBezTo>
                    <a:cubicBezTo>
                      <a:pt x="3345" y="6962"/>
                      <a:pt x="3345" y="6962"/>
                      <a:pt x="3345" y="6962"/>
                    </a:cubicBezTo>
                    <a:cubicBezTo>
                      <a:pt x="3345" y="6962"/>
                      <a:pt x="3315" y="6938"/>
                      <a:pt x="3255" y="6892"/>
                    </a:cubicBezTo>
                    <a:cubicBezTo>
                      <a:pt x="3192" y="6845"/>
                      <a:pt x="3163" y="6749"/>
                      <a:pt x="3163" y="6748"/>
                    </a:cubicBezTo>
                    <a:cubicBezTo>
                      <a:pt x="3162" y="6746"/>
                      <a:pt x="3162" y="6746"/>
                      <a:pt x="3162" y="6746"/>
                    </a:cubicBezTo>
                    <a:cubicBezTo>
                      <a:pt x="3193" y="6645"/>
                      <a:pt x="3193" y="6645"/>
                      <a:pt x="3193" y="6645"/>
                    </a:cubicBezTo>
                    <a:lnTo>
                      <a:pt x="3447" y="6773"/>
                    </a:lnTo>
                    <a:close/>
                    <a:moveTo>
                      <a:pt x="3431" y="6781"/>
                    </a:moveTo>
                    <a:cubicBezTo>
                      <a:pt x="3202" y="6666"/>
                      <a:pt x="3202" y="6666"/>
                      <a:pt x="3202" y="6666"/>
                    </a:cubicBezTo>
                    <a:cubicBezTo>
                      <a:pt x="3177" y="6746"/>
                      <a:pt x="3177" y="6746"/>
                      <a:pt x="3177" y="6746"/>
                    </a:cubicBezTo>
                    <a:cubicBezTo>
                      <a:pt x="3180" y="6752"/>
                      <a:pt x="3186" y="6772"/>
                      <a:pt x="3198" y="6796"/>
                    </a:cubicBezTo>
                    <a:cubicBezTo>
                      <a:pt x="3213" y="6825"/>
                      <a:pt x="3235" y="6859"/>
                      <a:pt x="3264" y="6881"/>
                    </a:cubicBezTo>
                    <a:cubicBezTo>
                      <a:pt x="3306" y="6912"/>
                      <a:pt x="3333" y="6934"/>
                      <a:pt x="3346" y="6944"/>
                    </a:cubicBezTo>
                    <a:cubicBezTo>
                      <a:pt x="3374" y="6857"/>
                      <a:pt x="3374" y="6857"/>
                      <a:pt x="3374" y="6857"/>
                    </a:cubicBezTo>
                    <a:cubicBezTo>
                      <a:pt x="3412" y="6868"/>
                      <a:pt x="3412" y="6868"/>
                      <a:pt x="3412" y="6868"/>
                    </a:cubicBezTo>
                    <a:lnTo>
                      <a:pt x="3431" y="6781"/>
                    </a:lnTo>
                    <a:close/>
                    <a:moveTo>
                      <a:pt x="5898" y="10227"/>
                    </a:moveTo>
                    <a:cubicBezTo>
                      <a:pt x="5751" y="10218"/>
                      <a:pt x="5751" y="10218"/>
                      <a:pt x="5751" y="10218"/>
                    </a:cubicBezTo>
                    <a:cubicBezTo>
                      <a:pt x="5751" y="10211"/>
                      <a:pt x="5751" y="10211"/>
                      <a:pt x="5751" y="10211"/>
                    </a:cubicBezTo>
                    <a:cubicBezTo>
                      <a:pt x="5757" y="10114"/>
                      <a:pt x="5757" y="10114"/>
                      <a:pt x="5757" y="10114"/>
                    </a:cubicBezTo>
                    <a:cubicBezTo>
                      <a:pt x="5905" y="10123"/>
                      <a:pt x="5905" y="10123"/>
                      <a:pt x="5905" y="10123"/>
                    </a:cubicBezTo>
                    <a:lnTo>
                      <a:pt x="5898" y="10227"/>
                    </a:lnTo>
                    <a:close/>
                    <a:moveTo>
                      <a:pt x="5891" y="10135"/>
                    </a:moveTo>
                    <a:cubicBezTo>
                      <a:pt x="5769" y="10127"/>
                      <a:pt x="5769" y="10127"/>
                      <a:pt x="5769" y="10127"/>
                    </a:cubicBezTo>
                    <a:cubicBezTo>
                      <a:pt x="5764" y="10206"/>
                      <a:pt x="5764" y="10206"/>
                      <a:pt x="5764" y="10206"/>
                    </a:cubicBezTo>
                    <a:cubicBezTo>
                      <a:pt x="5886" y="10213"/>
                      <a:pt x="5886" y="10213"/>
                      <a:pt x="5886" y="10213"/>
                    </a:cubicBezTo>
                    <a:lnTo>
                      <a:pt x="5891" y="10135"/>
                    </a:lnTo>
                    <a:close/>
                    <a:moveTo>
                      <a:pt x="3160" y="10728"/>
                    </a:moveTo>
                    <a:cubicBezTo>
                      <a:pt x="3154" y="10731"/>
                      <a:pt x="3154" y="10731"/>
                      <a:pt x="3154" y="10731"/>
                    </a:cubicBezTo>
                    <a:cubicBezTo>
                      <a:pt x="3154" y="10731"/>
                      <a:pt x="3044" y="10780"/>
                      <a:pt x="3000" y="10810"/>
                    </a:cubicBezTo>
                    <a:cubicBezTo>
                      <a:pt x="2994" y="10814"/>
                      <a:pt x="2989" y="10818"/>
                      <a:pt x="2985" y="10821"/>
                    </a:cubicBezTo>
                    <a:cubicBezTo>
                      <a:pt x="3010" y="10821"/>
                      <a:pt x="3010" y="10821"/>
                      <a:pt x="3010" y="10821"/>
                    </a:cubicBezTo>
                    <a:cubicBezTo>
                      <a:pt x="3048" y="10796"/>
                      <a:pt x="3133" y="10757"/>
                      <a:pt x="3155" y="10747"/>
                    </a:cubicBezTo>
                    <a:cubicBezTo>
                      <a:pt x="3214" y="10821"/>
                      <a:pt x="3214" y="10821"/>
                      <a:pt x="3214" y="10821"/>
                    </a:cubicBezTo>
                    <a:cubicBezTo>
                      <a:pt x="3233" y="10821"/>
                      <a:pt x="3233" y="10821"/>
                      <a:pt x="3233" y="10821"/>
                    </a:cubicBezTo>
                    <a:cubicBezTo>
                      <a:pt x="3163" y="10733"/>
                      <a:pt x="3163" y="10733"/>
                      <a:pt x="3163" y="10733"/>
                    </a:cubicBezTo>
                    <a:lnTo>
                      <a:pt x="3160" y="10728"/>
                    </a:lnTo>
                    <a:close/>
                    <a:moveTo>
                      <a:pt x="2310" y="10810"/>
                    </a:moveTo>
                    <a:cubicBezTo>
                      <a:pt x="2308" y="10810"/>
                      <a:pt x="2308" y="10810"/>
                      <a:pt x="2308" y="10810"/>
                    </a:cubicBezTo>
                    <a:cubicBezTo>
                      <a:pt x="2308" y="10810"/>
                      <a:pt x="2308" y="10810"/>
                      <a:pt x="2308" y="10810"/>
                    </a:cubicBezTo>
                    <a:cubicBezTo>
                      <a:pt x="2308" y="10810"/>
                      <a:pt x="2308" y="10810"/>
                      <a:pt x="2308" y="10810"/>
                    </a:cubicBezTo>
                    <a:cubicBezTo>
                      <a:pt x="2198" y="10813"/>
                      <a:pt x="2198" y="10813"/>
                      <a:pt x="2198" y="10813"/>
                    </a:cubicBezTo>
                    <a:cubicBezTo>
                      <a:pt x="2198" y="10813"/>
                      <a:pt x="2198" y="10813"/>
                      <a:pt x="2198" y="10813"/>
                    </a:cubicBezTo>
                    <a:cubicBezTo>
                      <a:pt x="2195" y="10813"/>
                      <a:pt x="2195" y="10813"/>
                      <a:pt x="2195" y="10813"/>
                    </a:cubicBezTo>
                    <a:cubicBezTo>
                      <a:pt x="2192" y="10814"/>
                      <a:pt x="2192" y="10814"/>
                      <a:pt x="2192" y="10814"/>
                    </a:cubicBezTo>
                    <a:cubicBezTo>
                      <a:pt x="2100" y="10821"/>
                      <a:pt x="2100" y="10821"/>
                      <a:pt x="2100" y="10821"/>
                    </a:cubicBezTo>
                    <a:cubicBezTo>
                      <a:pt x="2475" y="10821"/>
                      <a:pt x="2475" y="10821"/>
                      <a:pt x="2475" y="10821"/>
                    </a:cubicBezTo>
                    <a:cubicBezTo>
                      <a:pt x="2477" y="10817"/>
                      <a:pt x="2477" y="10817"/>
                      <a:pt x="2477" y="10817"/>
                    </a:cubicBezTo>
                    <a:lnTo>
                      <a:pt x="2310" y="10810"/>
                    </a:lnTo>
                    <a:close/>
                    <a:moveTo>
                      <a:pt x="6957" y="10106"/>
                    </a:moveTo>
                    <a:cubicBezTo>
                      <a:pt x="6952" y="10101"/>
                      <a:pt x="6952" y="10101"/>
                      <a:pt x="6952" y="10101"/>
                    </a:cubicBezTo>
                    <a:cubicBezTo>
                      <a:pt x="7022" y="10034"/>
                      <a:pt x="7022" y="10034"/>
                      <a:pt x="7022" y="10034"/>
                    </a:cubicBezTo>
                    <a:cubicBezTo>
                      <a:pt x="7120" y="10135"/>
                      <a:pt x="7120" y="10135"/>
                      <a:pt x="7120" y="10135"/>
                    </a:cubicBezTo>
                    <a:cubicBezTo>
                      <a:pt x="7068" y="10186"/>
                      <a:pt x="7068" y="10186"/>
                      <a:pt x="7068" y="10186"/>
                    </a:cubicBezTo>
                    <a:cubicBezTo>
                      <a:pt x="7120" y="10240"/>
                      <a:pt x="7120" y="10240"/>
                      <a:pt x="7120" y="10240"/>
                    </a:cubicBezTo>
                    <a:cubicBezTo>
                      <a:pt x="7066" y="10293"/>
                      <a:pt x="7066" y="10293"/>
                      <a:pt x="7066" y="10293"/>
                    </a:cubicBezTo>
                    <a:cubicBezTo>
                      <a:pt x="7061" y="10288"/>
                      <a:pt x="7061" y="10288"/>
                      <a:pt x="7061" y="10288"/>
                    </a:cubicBezTo>
                    <a:cubicBezTo>
                      <a:pt x="6930" y="10149"/>
                      <a:pt x="6930" y="10149"/>
                      <a:pt x="6930" y="10149"/>
                    </a:cubicBezTo>
                    <a:cubicBezTo>
                      <a:pt x="6965" y="10114"/>
                      <a:pt x="6965" y="10114"/>
                      <a:pt x="6965" y="10114"/>
                    </a:cubicBezTo>
                    <a:lnTo>
                      <a:pt x="6957" y="10106"/>
                    </a:lnTo>
                    <a:close/>
                    <a:moveTo>
                      <a:pt x="6971" y="10101"/>
                    </a:moveTo>
                    <a:cubicBezTo>
                      <a:pt x="6979" y="10110"/>
                      <a:pt x="6979" y="10110"/>
                      <a:pt x="6979" y="10110"/>
                    </a:cubicBezTo>
                    <a:cubicBezTo>
                      <a:pt x="6984" y="10115"/>
                      <a:pt x="6984" y="10115"/>
                      <a:pt x="6984" y="10115"/>
                    </a:cubicBezTo>
                    <a:cubicBezTo>
                      <a:pt x="6948" y="10149"/>
                      <a:pt x="6948" y="10149"/>
                      <a:pt x="6948" y="10149"/>
                    </a:cubicBezTo>
                    <a:cubicBezTo>
                      <a:pt x="7066" y="10274"/>
                      <a:pt x="7066" y="10274"/>
                      <a:pt x="7066" y="10274"/>
                    </a:cubicBezTo>
                    <a:cubicBezTo>
                      <a:pt x="7102" y="10240"/>
                      <a:pt x="7102" y="10240"/>
                      <a:pt x="7102" y="10240"/>
                    </a:cubicBezTo>
                    <a:cubicBezTo>
                      <a:pt x="7049" y="10186"/>
                      <a:pt x="7049" y="10186"/>
                      <a:pt x="7049" y="10186"/>
                    </a:cubicBezTo>
                    <a:cubicBezTo>
                      <a:pt x="7101" y="10135"/>
                      <a:pt x="7101" y="10135"/>
                      <a:pt x="7101" y="10135"/>
                    </a:cubicBezTo>
                    <a:cubicBezTo>
                      <a:pt x="7021" y="10052"/>
                      <a:pt x="7021" y="10052"/>
                      <a:pt x="7021" y="10052"/>
                    </a:cubicBezTo>
                    <a:lnTo>
                      <a:pt x="6971" y="10101"/>
                    </a:lnTo>
                    <a:close/>
                    <a:moveTo>
                      <a:pt x="1871" y="9598"/>
                    </a:moveTo>
                    <a:cubicBezTo>
                      <a:pt x="1847" y="9554"/>
                      <a:pt x="1847" y="9554"/>
                      <a:pt x="1847" y="9554"/>
                    </a:cubicBezTo>
                    <a:cubicBezTo>
                      <a:pt x="2126" y="9406"/>
                      <a:pt x="2126" y="9406"/>
                      <a:pt x="2126" y="9406"/>
                    </a:cubicBezTo>
                    <a:cubicBezTo>
                      <a:pt x="2065" y="9923"/>
                      <a:pt x="2065" y="9923"/>
                      <a:pt x="2065" y="9923"/>
                    </a:cubicBezTo>
                    <a:cubicBezTo>
                      <a:pt x="2007" y="9948"/>
                      <a:pt x="2007" y="9948"/>
                      <a:pt x="2007" y="9948"/>
                    </a:cubicBezTo>
                    <a:cubicBezTo>
                      <a:pt x="1826" y="9875"/>
                      <a:pt x="1826" y="9875"/>
                      <a:pt x="1826" y="9875"/>
                    </a:cubicBezTo>
                    <a:cubicBezTo>
                      <a:pt x="1902" y="9842"/>
                      <a:pt x="1902" y="9842"/>
                      <a:pt x="1902" y="9842"/>
                    </a:cubicBezTo>
                    <a:cubicBezTo>
                      <a:pt x="1934" y="9567"/>
                      <a:pt x="1934" y="9567"/>
                      <a:pt x="1934" y="9567"/>
                    </a:cubicBezTo>
                    <a:lnTo>
                      <a:pt x="1871" y="9598"/>
                    </a:lnTo>
                    <a:close/>
                    <a:moveTo>
                      <a:pt x="1866" y="9559"/>
                    </a:moveTo>
                    <a:cubicBezTo>
                      <a:pt x="1877" y="9580"/>
                      <a:pt x="1877" y="9580"/>
                      <a:pt x="1877" y="9580"/>
                    </a:cubicBezTo>
                    <a:cubicBezTo>
                      <a:pt x="1928" y="9555"/>
                      <a:pt x="1928" y="9555"/>
                      <a:pt x="1928" y="9555"/>
                    </a:cubicBezTo>
                    <a:cubicBezTo>
                      <a:pt x="1951" y="9544"/>
                      <a:pt x="1951" y="9544"/>
                      <a:pt x="1951" y="9544"/>
                    </a:cubicBezTo>
                    <a:cubicBezTo>
                      <a:pt x="1948" y="9569"/>
                      <a:pt x="1948" y="9569"/>
                      <a:pt x="1948" y="9569"/>
                    </a:cubicBezTo>
                    <a:cubicBezTo>
                      <a:pt x="1916" y="9844"/>
                      <a:pt x="1916" y="9844"/>
                      <a:pt x="1916" y="9844"/>
                    </a:cubicBezTo>
                    <a:cubicBezTo>
                      <a:pt x="1915" y="9852"/>
                      <a:pt x="1915" y="9852"/>
                      <a:pt x="1915" y="9852"/>
                    </a:cubicBezTo>
                    <a:cubicBezTo>
                      <a:pt x="1907" y="9855"/>
                      <a:pt x="1907" y="9855"/>
                      <a:pt x="1907" y="9855"/>
                    </a:cubicBezTo>
                    <a:cubicBezTo>
                      <a:pt x="1862" y="9874"/>
                      <a:pt x="1862" y="9874"/>
                      <a:pt x="1862" y="9874"/>
                    </a:cubicBezTo>
                    <a:cubicBezTo>
                      <a:pt x="2006" y="9933"/>
                      <a:pt x="2006" y="9933"/>
                      <a:pt x="2006" y="9933"/>
                    </a:cubicBezTo>
                    <a:cubicBezTo>
                      <a:pt x="2052" y="9913"/>
                      <a:pt x="2052" y="9913"/>
                      <a:pt x="2052" y="9913"/>
                    </a:cubicBezTo>
                    <a:cubicBezTo>
                      <a:pt x="2109" y="9430"/>
                      <a:pt x="2109" y="9430"/>
                      <a:pt x="2109" y="9430"/>
                    </a:cubicBezTo>
                    <a:lnTo>
                      <a:pt x="1866" y="9559"/>
                    </a:lnTo>
                    <a:close/>
                    <a:moveTo>
                      <a:pt x="50" y="8492"/>
                    </a:moveTo>
                    <a:cubicBezTo>
                      <a:pt x="22" y="8503"/>
                      <a:pt x="22" y="8503"/>
                      <a:pt x="22" y="8503"/>
                    </a:cubicBezTo>
                    <a:cubicBezTo>
                      <a:pt x="22" y="8503"/>
                      <a:pt x="15" y="8506"/>
                      <a:pt x="3" y="8511"/>
                    </a:cubicBezTo>
                    <a:cubicBezTo>
                      <a:pt x="3" y="8546"/>
                      <a:pt x="3" y="8546"/>
                      <a:pt x="3" y="8546"/>
                    </a:cubicBezTo>
                    <a:cubicBezTo>
                      <a:pt x="30" y="8515"/>
                      <a:pt x="30" y="8515"/>
                      <a:pt x="30" y="8515"/>
                    </a:cubicBezTo>
                    <a:lnTo>
                      <a:pt x="50" y="8492"/>
                    </a:lnTo>
                    <a:close/>
                    <a:moveTo>
                      <a:pt x="1230" y="9831"/>
                    </a:moveTo>
                    <a:cubicBezTo>
                      <a:pt x="1230" y="9831"/>
                      <a:pt x="1230" y="9831"/>
                      <a:pt x="1230" y="9831"/>
                    </a:cubicBezTo>
                    <a:cubicBezTo>
                      <a:pt x="1230" y="9831"/>
                      <a:pt x="1230" y="9831"/>
                      <a:pt x="1230" y="9831"/>
                    </a:cubicBezTo>
                    <a:cubicBezTo>
                      <a:pt x="1230" y="9831"/>
                      <a:pt x="1230" y="9831"/>
                      <a:pt x="1230" y="9831"/>
                    </a:cubicBezTo>
                    <a:close/>
                    <a:moveTo>
                      <a:pt x="4471" y="5008"/>
                    </a:moveTo>
                    <a:cubicBezTo>
                      <a:pt x="4547" y="5077"/>
                      <a:pt x="4547" y="5077"/>
                      <a:pt x="4547" y="5077"/>
                    </a:cubicBezTo>
                    <a:cubicBezTo>
                      <a:pt x="4448" y="5187"/>
                      <a:pt x="4448" y="5187"/>
                      <a:pt x="4448" y="5187"/>
                    </a:cubicBezTo>
                    <a:cubicBezTo>
                      <a:pt x="4372" y="5118"/>
                      <a:pt x="4372" y="5118"/>
                      <a:pt x="4372" y="5118"/>
                    </a:cubicBezTo>
                    <a:cubicBezTo>
                      <a:pt x="4376" y="5114"/>
                      <a:pt x="4376" y="5114"/>
                      <a:pt x="4376" y="5114"/>
                    </a:cubicBezTo>
                    <a:lnTo>
                      <a:pt x="4471" y="5008"/>
                    </a:lnTo>
                    <a:close/>
                    <a:moveTo>
                      <a:pt x="4472" y="5027"/>
                    </a:moveTo>
                    <a:cubicBezTo>
                      <a:pt x="4390" y="5117"/>
                      <a:pt x="4390" y="5117"/>
                      <a:pt x="4390" y="5117"/>
                    </a:cubicBezTo>
                    <a:cubicBezTo>
                      <a:pt x="4447" y="5169"/>
                      <a:pt x="4447" y="5169"/>
                      <a:pt x="4447" y="5169"/>
                    </a:cubicBezTo>
                    <a:cubicBezTo>
                      <a:pt x="4529" y="5078"/>
                      <a:pt x="4529" y="5078"/>
                      <a:pt x="4529" y="5078"/>
                    </a:cubicBezTo>
                    <a:lnTo>
                      <a:pt x="4472" y="5027"/>
                    </a:lnTo>
                    <a:close/>
                    <a:moveTo>
                      <a:pt x="1640" y="10101"/>
                    </a:moveTo>
                    <a:cubicBezTo>
                      <a:pt x="1301" y="9844"/>
                      <a:pt x="1301" y="9844"/>
                      <a:pt x="1301" y="9844"/>
                    </a:cubicBezTo>
                    <a:cubicBezTo>
                      <a:pt x="1518" y="9728"/>
                      <a:pt x="1518" y="9728"/>
                      <a:pt x="1518" y="9728"/>
                    </a:cubicBezTo>
                    <a:cubicBezTo>
                      <a:pt x="1540" y="9773"/>
                      <a:pt x="1540" y="9773"/>
                      <a:pt x="1540" y="9773"/>
                    </a:cubicBezTo>
                    <a:cubicBezTo>
                      <a:pt x="1496" y="9798"/>
                      <a:pt x="1496" y="9798"/>
                      <a:pt x="1496" y="9798"/>
                    </a:cubicBezTo>
                    <a:cubicBezTo>
                      <a:pt x="1671" y="9937"/>
                      <a:pt x="1671" y="9937"/>
                      <a:pt x="1671" y="9937"/>
                    </a:cubicBezTo>
                    <a:cubicBezTo>
                      <a:pt x="1716" y="9920"/>
                      <a:pt x="1716" y="9920"/>
                      <a:pt x="1716" y="9920"/>
                    </a:cubicBezTo>
                    <a:cubicBezTo>
                      <a:pt x="1951" y="9970"/>
                      <a:pt x="1951" y="9970"/>
                      <a:pt x="1951" y="9970"/>
                    </a:cubicBezTo>
                    <a:lnTo>
                      <a:pt x="1640" y="10101"/>
                    </a:lnTo>
                    <a:close/>
                    <a:moveTo>
                      <a:pt x="1327" y="9846"/>
                    </a:moveTo>
                    <a:cubicBezTo>
                      <a:pt x="1642" y="10085"/>
                      <a:pt x="1642" y="10085"/>
                      <a:pt x="1642" y="10085"/>
                    </a:cubicBezTo>
                    <a:cubicBezTo>
                      <a:pt x="1905" y="9975"/>
                      <a:pt x="1905" y="9975"/>
                      <a:pt x="1905" y="9975"/>
                    </a:cubicBezTo>
                    <a:cubicBezTo>
                      <a:pt x="1718" y="9934"/>
                      <a:pt x="1718" y="9934"/>
                      <a:pt x="1718" y="9934"/>
                    </a:cubicBezTo>
                    <a:cubicBezTo>
                      <a:pt x="1676" y="9950"/>
                      <a:pt x="1676" y="9950"/>
                      <a:pt x="1676" y="9950"/>
                    </a:cubicBezTo>
                    <a:cubicBezTo>
                      <a:pt x="1669" y="9953"/>
                      <a:pt x="1669" y="9953"/>
                      <a:pt x="1669" y="9953"/>
                    </a:cubicBezTo>
                    <a:cubicBezTo>
                      <a:pt x="1663" y="9948"/>
                      <a:pt x="1663" y="9948"/>
                      <a:pt x="1663" y="9948"/>
                    </a:cubicBezTo>
                    <a:cubicBezTo>
                      <a:pt x="1488" y="9809"/>
                      <a:pt x="1488" y="9809"/>
                      <a:pt x="1488" y="9809"/>
                    </a:cubicBezTo>
                    <a:cubicBezTo>
                      <a:pt x="1472" y="9797"/>
                      <a:pt x="1472" y="9797"/>
                      <a:pt x="1472" y="9797"/>
                    </a:cubicBezTo>
                    <a:cubicBezTo>
                      <a:pt x="1489" y="9786"/>
                      <a:pt x="1489" y="9786"/>
                      <a:pt x="1489" y="9786"/>
                    </a:cubicBezTo>
                    <a:cubicBezTo>
                      <a:pt x="1521" y="9767"/>
                      <a:pt x="1521" y="9767"/>
                      <a:pt x="1521" y="9767"/>
                    </a:cubicBezTo>
                    <a:cubicBezTo>
                      <a:pt x="1512" y="9747"/>
                      <a:pt x="1512" y="9747"/>
                      <a:pt x="1512" y="9747"/>
                    </a:cubicBezTo>
                    <a:lnTo>
                      <a:pt x="1327" y="9846"/>
                    </a:lnTo>
                    <a:close/>
                    <a:moveTo>
                      <a:pt x="3580" y="4770"/>
                    </a:moveTo>
                    <a:cubicBezTo>
                      <a:pt x="3654" y="4790"/>
                      <a:pt x="3654" y="4790"/>
                      <a:pt x="3654" y="4790"/>
                    </a:cubicBezTo>
                    <a:cubicBezTo>
                      <a:pt x="3614" y="4936"/>
                      <a:pt x="3614" y="4936"/>
                      <a:pt x="3614" y="4936"/>
                    </a:cubicBezTo>
                    <a:cubicBezTo>
                      <a:pt x="3541" y="4916"/>
                      <a:pt x="3541" y="4916"/>
                      <a:pt x="3541" y="4916"/>
                    </a:cubicBezTo>
                    <a:cubicBezTo>
                      <a:pt x="3543" y="4910"/>
                      <a:pt x="3543" y="4910"/>
                      <a:pt x="3543" y="4910"/>
                    </a:cubicBezTo>
                    <a:lnTo>
                      <a:pt x="3580" y="4770"/>
                    </a:lnTo>
                    <a:close/>
                    <a:moveTo>
                      <a:pt x="3590" y="4786"/>
                    </a:moveTo>
                    <a:cubicBezTo>
                      <a:pt x="3557" y="4907"/>
                      <a:pt x="3557" y="4907"/>
                      <a:pt x="3557" y="4907"/>
                    </a:cubicBezTo>
                    <a:cubicBezTo>
                      <a:pt x="3605" y="4920"/>
                      <a:pt x="3605" y="4920"/>
                      <a:pt x="3605" y="4920"/>
                    </a:cubicBezTo>
                    <a:cubicBezTo>
                      <a:pt x="3638" y="4799"/>
                      <a:pt x="3638" y="4799"/>
                      <a:pt x="3638" y="4799"/>
                    </a:cubicBezTo>
                    <a:lnTo>
                      <a:pt x="3590" y="4786"/>
                    </a:lnTo>
                    <a:close/>
                    <a:moveTo>
                      <a:pt x="1612" y="9796"/>
                    </a:moveTo>
                    <a:cubicBezTo>
                      <a:pt x="1581" y="9755"/>
                      <a:pt x="1581" y="9755"/>
                      <a:pt x="1581" y="9755"/>
                    </a:cubicBezTo>
                    <a:cubicBezTo>
                      <a:pt x="1584" y="9696"/>
                      <a:pt x="1584" y="9696"/>
                      <a:pt x="1584" y="9696"/>
                    </a:cubicBezTo>
                    <a:cubicBezTo>
                      <a:pt x="1806" y="9575"/>
                      <a:pt x="1806" y="9575"/>
                      <a:pt x="1806" y="9575"/>
                    </a:cubicBezTo>
                    <a:cubicBezTo>
                      <a:pt x="1830" y="9619"/>
                      <a:pt x="1830" y="9619"/>
                      <a:pt x="1830" y="9619"/>
                    </a:cubicBezTo>
                    <a:cubicBezTo>
                      <a:pt x="1823" y="9684"/>
                      <a:pt x="1823" y="9684"/>
                      <a:pt x="1823" y="9684"/>
                    </a:cubicBezTo>
                    <a:lnTo>
                      <a:pt x="1612" y="9796"/>
                    </a:lnTo>
                    <a:close/>
                    <a:moveTo>
                      <a:pt x="1595" y="9751"/>
                    </a:moveTo>
                    <a:cubicBezTo>
                      <a:pt x="1616" y="9778"/>
                      <a:pt x="1616" y="9778"/>
                      <a:pt x="1616" y="9778"/>
                    </a:cubicBezTo>
                    <a:cubicBezTo>
                      <a:pt x="1810" y="9675"/>
                      <a:pt x="1810" y="9675"/>
                      <a:pt x="1810" y="9675"/>
                    </a:cubicBezTo>
                    <a:cubicBezTo>
                      <a:pt x="1816" y="9622"/>
                      <a:pt x="1816" y="9622"/>
                      <a:pt x="1816" y="9622"/>
                    </a:cubicBezTo>
                    <a:cubicBezTo>
                      <a:pt x="1801" y="9594"/>
                      <a:pt x="1801" y="9594"/>
                      <a:pt x="1801" y="9594"/>
                    </a:cubicBezTo>
                    <a:cubicBezTo>
                      <a:pt x="1597" y="9704"/>
                      <a:pt x="1597" y="9704"/>
                      <a:pt x="1597" y="9704"/>
                    </a:cubicBezTo>
                    <a:lnTo>
                      <a:pt x="1595" y="9751"/>
                    </a:lnTo>
                    <a:close/>
                    <a:moveTo>
                      <a:pt x="1226" y="9828"/>
                    </a:moveTo>
                    <a:cubicBezTo>
                      <a:pt x="1226" y="9828"/>
                      <a:pt x="1226" y="9828"/>
                      <a:pt x="1226" y="9828"/>
                    </a:cubicBezTo>
                    <a:cubicBezTo>
                      <a:pt x="1227" y="9828"/>
                      <a:pt x="1227" y="9828"/>
                      <a:pt x="1227" y="9828"/>
                    </a:cubicBezTo>
                    <a:cubicBezTo>
                      <a:pt x="1226" y="9828"/>
                      <a:pt x="1226" y="9828"/>
                      <a:pt x="1226" y="9828"/>
                    </a:cubicBezTo>
                    <a:close/>
                    <a:moveTo>
                      <a:pt x="1228" y="9829"/>
                    </a:moveTo>
                    <a:cubicBezTo>
                      <a:pt x="1228" y="9829"/>
                      <a:pt x="1228" y="9829"/>
                      <a:pt x="1228" y="9829"/>
                    </a:cubicBezTo>
                    <a:cubicBezTo>
                      <a:pt x="1228" y="9829"/>
                      <a:pt x="1228" y="9829"/>
                      <a:pt x="1228" y="9829"/>
                    </a:cubicBezTo>
                    <a:cubicBezTo>
                      <a:pt x="1228" y="9829"/>
                      <a:pt x="1228" y="9829"/>
                      <a:pt x="1228" y="9829"/>
                    </a:cubicBezTo>
                    <a:close/>
                    <a:moveTo>
                      <a:pt x="1226" y="9828"/>
                    </a:moveTo>
                    <a:cubicBezTo>
                      <a:pt x="1226" y="9828"/>
                      <a:pt x="1226" y="9828"/>
                      <a:pt x="1226" y="9828"/>
                    </a:cubicBezTo>
                    <a:cubicBezTo>
                      <a:pt x="1226" y="9828"/>
                      <a:pt x="1226" y="9828"/>
                      <a:pt x="1226" y="9828"/>
                    </a:cubicBezTo>
                    <a:cubicBezTo>
                      <a:pt x="1226" y="9828"/>
                      <a:pt x="1226" y="9828"/>
                      <a:pt x="1226" y="9828"/>
                    </a:cubicBezTo>
                    <a:close/>
                    <a:moveTo>
                      <a:pt x="1872" y="7493"/>
                    </a:moveTo>
                    <a:cubicBezTo>
                      <a:pt x="1809" y="7421"/>
                      <a:pt x="1809" y="7421"/>
                      <a:pt x="1809" y="7421"/>
                    </a:cubicBezTo>
                    <a:cubicBezTo>
                      <a:pt x="1822" y="7304"/>
                      <a:pt x="1822" y="7304"/>
                      <a:pt x="1822" y="7304"/>
                    </a:cubicBezTo>
                    <a:cubicBezTo>
                      <a:pt x="1860" y="7324"/>
                      <a:pt x="1860" y="7324"/>
                      <a:pt x="1860" y="7324"/>
                    </a:cubicBezTo>
                    <a:cubicBezTo>
                      <a:pt x="2050" y="7095"/>
                      <a:pt x="2050" y="7095"/>
                      <a:pt x="2050" y="7095"/>
                    </a:cubicBezTo>
                    <a:cubicBezTo>
                      <a:pt x="2173" y="7189"/>
                      <a:pt x="2173" y="7189"/>
                      <a:pt x="2173" y="7189"/>
                    </a:cubicBezTo>
                    <a:cubicBezTo>
                      <a:pt x="2167" y="7195"/>
                      <a:pt x="2167" y="7195"/>
                      <a:pt x="2167" y="7195"/>
                    </a:cubicBezTo>
                    <a:cubicBezTo>
                      <a:pt x="2006" y="7339"/>
                      <a:pt x="2006" y="7339"/>
                      <a:pt x="2006" y="7339"/>
                    </a:cubicBezTo>
                    <a:cubicBezTo>
                      <a:pt x="1966" y="7313"/>
                      <a:pt x="1966" y="7313"/>
                      <a:pt x="1966" y="7313"/>
                    </a:cubicBezTo>
                    <a:cubicBezTo>
                      <a:pt x="1919" y="7381"/>
                      <a:pt x="1919" y="7381"/>
                      <a:pt x="1919" y="7381"/>
                    </a:cubicBezTo>
                    <a:cubicBezTo>
                      <a:pt x="1926" y="7419"/>
                      <a:pt x="1926" y="7419"/>
                      <a:pt x="1926" y="7419"/>
                    </a:cubicBezTo>
                    <a:lnTo>
                      <a:pt x="1872" y="7493"/>
                    </a:lnTo>
                    <a:close/>
                    <a:moveTo>
                      <a:pt x="1871" y="7469"/>
                    </a:moveTo>
                    <a:cubicBezTo>
                      <a:pt x="1910" y="7416"/>
                      <a:pt x="1910" y="7416"/>
                      <a:pt x="1910" y="7416"/>
                    </a:cubicBezTo>
                    <a:cubicBezTo>
                      <a:pt x="1904" y="7378"/>
                      <a:pt x="1904" y="7378"/>
                      <a:pt x="1904" y="7378"/>
                    </a:cubicBezTo>
                    <a:cubicBezTo>
                      <a:pt x="1962" y="7292"/>
                      <a:pt x="1962" y="7292"/>
                      <a:pt x="1962" y="7292"/>
                    </a:cubicBezTo>
                    <a:cubicBezTo>
                      <a:pt x="2004" y="7320"/>
                      <a:pt x="2004" y="7320"/>
                      <a:pt x="2004" y="7320"/>
                    </a:cubicBezTo>
                    <a:cubicBezTo>
                      <a:pt x="2150" y="7190"/>
                      <a:pt x="2150" y="7190"/>
                      <a:pt x="2150" y="7190"/>
                    </a:cubicBezTo>
                    <a:cubicBezTo>
                      <a:pt x="2053" y="7115"/>
                      <a:pt x="2053" y="7115"/>
                      <a:pt x="2053" y="7115"/>
                    </a:cubicBezTo>
                    <a:cubicBezTo>
                      <a:pt x="1864" y="7343"/>
                      <a:pt x="1864" y="7343"/>
                      <a:pt x="1864" y="7343"/>
                    </a:cubicBezTo>
                    <a:cubicBezTo>
                      <a:pt x="1834" y="7327"/>
                      <a:pt x="1834" y="7327"/>
                      <a:pt x="1834" y="7327"/>
                    </a:cubicBezTo>
                    <a:cubicBezTo>
                      <a:pt x="1825" y="7416"/>
                      <a:pt x="1825" y="7416"/>
                      <a:pt x="1825" y="7416"/>
                    </a:cubicBezTo>
                    <a:lnTo>
                      <a:pt x="1871" y="7469"/>
                    </a:lnTo>
                    <a:close/>
                    <a:moveTo>
                      <a:pt x="130" y="9543"/>
                    </a:moveTo>
                    <a:cubicBezTo>
                      <a:pt x="214" y="9702"/>
                      <a:pt x="214" y="9702"/>
                      <a:pt x="214" y="9702"/>
                    </a:cubicBezTo>
                    <a:cubicBezTo>
                      <a:pt x="139" y="9740"/>
                      <a:pt x="139" y="9740"/>
                      <a:pt x="139" y="9740"/>
                    </a:cubicBezTo>
                    <a:cubicBezTo>
                      <a:pt x="56" y="9582"/>
                      <a:pt x="56" y="9582"/>
                      <a:pt x="56" y="9582"/>
                    </a:cubicBezTo>
                    <a:lnTo>
                      <a:pt x="130" y="9543"/>
                    </a:lnTo>
                    <a:close/>
                    <a:moveTo>
                      <a:pt x="195" y="9696"/>
                    </a:moveTo>
                    <a:cubicBezTo>
                      <a:pt x="125" y="9562"/>
                      <a:pt x="125" y="9562"/>
                      <a:pt x="125" y="9562"/>
                    </a:cubicBezTo>
                    <a:cubicBezTo>
                      <a:pt x="75" y="9588"/>
                      <a:pt x="75" y="9588"/>
                      <a:pt x="75" y="9588"/>
                    </a:cubicBezTo>
                    <a:cubicBezTo>
                      <a:pt x="145" y="9722"/>
                      <a:pt x="145" y="9722"/>
                      <a:pt x="145" y="9722"/>
                    </a:cubicBezTo>
                    <a:lnTo>
                      <a:pt x="195" y="9696"/>
                    </a:lnTo>
                    <a:close/>
                    <a:moveTo>
                      <a:pt x="1743" y="7982"/>
                    </a:moveTo>
                    <a:cubicBezTo>
                      <a:pt x="1845" y="8033"/>
                      <a:pt x="1845" y="8033"/>
                      <a:pt x="1845" y="8033"/>
                    </a:cubicBezTo>
                    <a:cubicBezTo>
                      <a:pt x="1845" y="8033"/>
                      <a:pt x="1831" y="8083"/>
                      <a:pt x="1828" y="8083"/>
                    </a:cubicBezTo>
                    <a:cubicBezTo>
                      <a:pt x="1825" y="8083"/>
                      <a:pt x="2013" y="8174"/>
                      <a:pt x="2013" y="8174"/>
                    </a:cubicBezTo>
                    <a:cubicBezTo>
                      <a:pt x="2013" y="8174"/>
                      <a:pt x="1947" y="8221"/>
                      <a:pt x="1944" y="8221"/>
                    </a:cubicBezTo>
                    <a:cubicBezTo>
                      <a:pt x="1941" y="8221"/>
                      <a:pt x="1696" y="8229"/>
                      <a:pt x="1694" y="8229"/>
                    </a:cubicBezTo>
                    <a:cubicBezTo>
                      <a:pt x="1692" y="8229"/>
                      <a:pt x="1599" y="8106"/>
                      <a:pt x="1599" y="8106"/>
                    </a:cubicBezTo>
                    <a:lnTo>
                      <a:pt x="1743" y="7982"/>
                    </a:lnTo>
                    <a:close/>
                    <a:moveTo>
                      <a:pt x="1745" y="7999"/>
                    </a:moveTo>
                    <a:cubicBezTo>
                      <a:pt x="1618" y="8109"/>
                      <a:pt x="1618" y="8109"/>
                      <a:pt x="1618" y="8109"/>
                    </a:cubicBezTo>
                    <a:cubicBezTo>
                      <a:pt x="1647" y="8147"/>
                      <a:pt x="1688" y="8200"/>
                      <a:pt x="1700" y="8215"/>
                    </a:cubicBezTo>
                    <a:cubicBezTo>
                      <a:pt x="1715" y="8215"/>
                      <a:pt x="1756" y="8214"/>
                      <a:pt x="1800" y="8212"/>
                    </a:cubicBezTo>
                    <a:cubicBezTo>
                      <a:pt x="1888" y="8209"/>
                      <a:pt x="1929" y="8208"/>
                      <a:pt x="1941" y="8207"/>
                    </a:cubicBezTo>
                    <a:cubicBezTo>
                      <a:pt x="1947" y="8203"/>
                      <a:pt x="1966" y="8191"/>
                      <a:pt x="1986" y="8176"/>
                    </a:cubicBezTo>
                    <a:cubicBezTo>
                      <a:pt x="1968" y="8168"/>
                      <a:pt x="1941" y="8155"/>
                      <a:pt x="1914" y="8142"/>
                    </a:cubicBezTo>
                    <a:cubicBezTo>
                      <a:pt x="1812" y="8091"/>
                      <a:pt x="1812" y="8091"/>
                      <a:pt x="1815" y="8080"/>
                    </a:cubicBezTo>
                    <a:cubicBezTo>
                      <a:pt x="1817" y="8069"/>
                      <a:pt x="1817" y="8069"/>
                      <a:pt x="1817" y="8069"/>
                    </a:cubicBezTo>
                    <a:cubicBezTo>
                      <a:pt x="1820" y="8069"/>
                      <a:pt x="1820" y="8069"/>
                      <a:pt x="1820" y="8069"/>
                    </a:cubicBezTo>
                    <a:cubicBezTo>
                      <a:pt x="1822" y="8062"/>
                      <a:pt x="1825" y="8051"/>
                      <a:pt x="1828" y="8040"/>
                    </a:cubicBezTo>
                    <a:lnTo>
                      <a:pt x="1745" y="7999"/>
                    </a:lnTo>
                    <a:close/>
                    <a:moveTo>
                      <a:pt x="1958" y="7772"/>
                    </a:moveTo>
                    <a:cubicBezTo>
                      <a:pt x="1890" y="7742"/>
                      <a:pt x="1890" y="7742"/>
                      <a:pt x="1890" y="7742"/>
                    </a:cubicBezTo>
                    <a:cubicBezTo>
                      <a:pt x="1910" y="7576"/>
                      <a:pt x="1910" y="7576"/>
                      <a:pt x="1910" y="7576"/>
                    </a:cubicBezTo>
                    <a:cubicBezTo>
                      <a:pt x="1964" y="7538"/>
                      <a:pt x="1964" y="7538"/>
                      <a:pt x="1964" y="7538"/>
                    </a:cubicBezTo>
                    <a:cubicBezTo>
                      <a:pt x="2003" y="7566"/>
                      <a:pt x="2003" y="7566"/>
                      <a:pt x="2003" y="7566"/>
                    </a:cubicBezTo>
                    <a:cubicBezTo>
                      <a:pt x="2082" y="7495"/>
                      <a:pt x="2082" y="7495"/>
                      <a:pt x="2082" y="7495"/>
                    </a:cubicBezTo>
                    <a:cubicBezTo>
                      <a:pt x="2054" y="7455"/>
                      <a:pt x="2054" y="7455"/>
                      <a:pt x="2054" y="7455"/>
                    </a:cubicBezTo>
                    <a:cubicBezTo>
                      <a:pt x="2228" y="7250"/>
                      <a:pt x="2228" y="7250"/>
                      <a:pt x="2228" y="7250"/>
                    </a:cubicBezTo>
                    <a:cubicBezTo>
                      <a:pt x="2343" y="7322"/>
                      <a:pt x="2343" y="7322"/>
                      <a:pt x="2343" y="7322"/>
                    </a:cubicBezTo>
                    <a:cubicBezTo>
                      <a:pt x="2339" y="7329"/>
                      <a:pt x="2339" y="7329"/>
                      <a:pt x="2339" y="7329"/>
                    </a:cubicBezTo>
                    <a:cubicBezTo>
                      <a:pt x="2191" y="7560"/>
                      <a:pt x="2191" y="7560"/>
                      <a:pt x="2191" y="7560"/>
                    </a:cubicBezTo>
                    <a:cubicBezTo>
                      <a:pt x="2142" y="7537"/>
                      <a:pt x="2142" y="7537"/>
                      <a:pt x="2142" y="7537"/>
                    </a:cubicBezTo>
                    <a:cubicBezTo>
                      <a:pt x="2088" y="7601"/>
                      <a:pt x="2088" y="7601"/>
                      <a:pt x="2088" y="7601"/>
                    </a:cubicBezTo>
                    <a:cubicBezTo>
                      <a:pt x="2116" y="7651"/>
                      <a:pt x="2116" y="7651"/>
                      <a:pt x="2116" y="7651"/>
                    </a:cubicBezTo>
                    <a:lnTo>
                      <a:pt x="1958" y="7772"/>
                    </a:lnTo>
                    <a:close/>
                    <a:moveTo>
                      <a:pt x="1956" y="7755"/>
                    </a:moveTo>
                    <a:cubicBezTo>
                      <a:pt x="2097" y="7647"/>
                      <a:pt x="2097" y="7647"/>
                      <a:pt x="2097" y="7647"/>
                    </a:cubicBezTo>
                    <a:cubicBezTo>
                      <a:pt x="2070" y="7599"/>
                      <a:pt x="2070" y="7599"/>
                      <a:pt x="2070" y="7599"/>
                    </a:cubicBezTo>
                    <a:cubicBezTo>
                      <a:pt x="2138" y="7519"/>
                      <a:pt x="2138" y="7519"/>
                      <a:pt x="2138" y="7519"/>
                    </a:cubicBezTo>
                    <a:cubicBezTo>
                      <a:pt x="2186" y="7541"/>
                      <a:pt x="2186" y="7541"/>
                      <a:pt x="2186" y="7541"/>
                    </a:cubicBezTo>
                    <a:cubicBezTo>
                      <a:pt x="2322" y="7327"/>
                      <a:pt x="2322" y="7327"/>
                      <a:pt x="2322" y="7327"/>
                    </a:cubicBezTo>
                    <a:cubicBezTo>
                      <a:pt x="2231" y="7269"/>
                      <a:pt x="2231" y="7269"/>
                      <a:pt x="2231" y="7269"/>
                    </a:cubicBezTo>
                    <a:cubicBezTo>
                      <a:pt x="2072" y="7456"/>
                      <a:pt x="2072" y="7456"/>
                      <a:pt x="2072" y="7456"/>
                    </a:cubicBezTo>
                    <a:cubicBezTo>
                      <a:pt x="2101" y="7498"/>
                      <a:pt x="2101" y="7498"/>
                      <a:pt x="2101" y="7498"/>
                    </a:cubicBezTo>
                    <a:cubicBezTo>
                      <a:pt x="2003" y="7585"/>
                      <a:pt x="2003" y="7585"/>
                      <a:pt x="2003" y="7585"/>
                    </a:cubicBezTo>
                    <a:cubicBezTo>
                      <a:pt x="1964" y="7556"/>
                      <a:pt x="1964" y="7556"/>
                      <a:pt x="1964" y="7556"/>
                    </a:cubicBezTo>
                    <a:cubicBezTo>
                      <a:pt x="1924" y="7585"/>
                      <a:pt x="1924" y="7585"/>
                      <a:pt x="1924" y="7585"/>
                    </a:cubicBezTo>
                    <a:cubicBezTo>
                      <a:pt x="1906" y="7733"/>
                      <a:pt x="1906" y="7733"/>
                      <a:pt x="1906" y="7733"/>
                    </a:cubicBezTo>
                    <a:lnTo>
                      <a:pt x="1956" y="7755"/>
                    </a:lnTo>
                    <a:close/>
                    <a:moveTo>
                      <a:pt x="1841" y="6819"/>
                    </a:moveTo>
                    <a:cubicBezTo>
                      <a:pt x="2073" y="6472"/>
                      <a:pt x="2073" y="6472"/>
                      <a:pt x="2073" y="6472"/>
                    </a:cubicBezTo>
                    <a:cubicBezTo>
                      <a:pt x="2218" y="6555"/>
                      <a:pt x="2218" y="6555"/>
                      <a:pt x="2218" y="6555"/>
                    </a:cubicBezTo>
                    <a:cubicBezTo>
                      <a:pt x="2214" y="6562"/>
                      <a:pt x="2214" y="6562"/>
                      <a:pt x="2214" y="6562"/>
                    </a:cubicBezTo>
                    <a:cubicBezTo>
                      <a:pt x="1991" y="6920"/>
                      <a:pt x="1991" y="6920"/>
                      <a:pt x="1991" y="6920"/>
                    </a:cubicBezTo>
                    <a:lnTo>
                      <a:pt x="1841" y="6819"/>
                    </a:lnTo>
                    <a:close/>
                    <a:moveTo>
                      <a:pt x="1862" y="6815"/>
                    </a:moveTo>
                    <a:cubicBezTo>
                      <a:pt x="1987" y="6900"/>
                      <a:pt x="1987" y="6900"/>
                      <a:pt x="1987" y="6900"/>
                    </a:cubicBezTo>
                    <a:cubicBezTo>
                      <a:pt x="2198" y="6561"/>
                      <a:pt x="2198" y="6561"/>
                      <a:pt x="2198" y="6561"/>
                    </a:cubicBezTo>
                    <a:cubicBezTo>
                      <a:pt x="2078" y="6492"/>
                      <a:pt x="2078" y="6492"/>
                      <a:pt x="2078" y="6492"/>
                    </a:cubicBezTo>
                    <a:lnTo>
                      <a:pt x="1862" y="6815"/>
                    </a:lnTo>
                    <a:close/>
                    <a:moveTo>
                      <a:pt x="1509" y="6648"/>
                    </a:moveTo>
                    <a:cubicBezTo>
                      <a:pt x="1722" y="6272"/>
                      <a:pt x="1722" y="6272"/>
                      <a:pt x="1722" y="6272"/>
                    </a:cubicBezTo>
                    <a:cubicBezTo>
                      <a:pt x="1866" y="6364"/>
                      <a:pt x="1866" y="6364"/>
                      <a:pt x="1866" y="6364"/>
                    </a:cubicBezTo>
                    <a:cubicBezTo>
                      <a:pt x="1866" y="6368"/>
                      <a:pt x="1866" y="6368"/>
                      <a:pt x="1866" y="6368"/>
                    </a:cubicBezTo>
                    <a:cubicBezTo>
                      <a:pt x="1872" y="6473"/>
                      <a:pt x="1872" y="6473"/>
                      <a:pt x="1872" y="6473"/>
                    </a:cubicBezTo>
                    <a:cubicBezTo>
                      <a:pt x="1955" y="6536"/>
                      <a:pt x="1955" y="6536"/>
                      <a:pt x="1955" y="6536"/>
                    </a:cubicBezTo>
                    <a:cubicBezTo>
                      <a:pt x="1799" y="6701"/>
                      <a:pt x="1799" y="6701"/>
                      <a:pt x="1799" y="6701"/>
                    </a:cubicBezTo>
                    <a:cubicBezTo>
                      <a:pt x="1711" y="6675"/>
                      <a:pt x="1711" y="6675"/>
                      <a:pt x="1711" y="6675"/>
                    </a:cubicBezTo>
                    <a:cubicBezTo>
                      <a:pt x="1673" y="6741"/>
                      <a:pt x="1673" y="6741"/>
                      <a:pt x="1673" y="6741"/>
                    </a:cubicBezTo>
                    <a:lnTo>
                      <a:pt x="1509" y="6648"/>
                    </a:lnTo>
                    <a:close/>
                    <a:moveTo>
                      <a:pt x="1529" y="6642"/>
                    </a:moveTo>
                    <a:cubicBezTo>
                      <a:pt x="1667" y="6721"/>
                      <a:pt x="1667" y="6721"/>
                      <a:pt x="1667" y="6721"/>
                    </a:cubicBezTo>
                    <a:cubicBezTo>
                      <a:pt x="1704" y="6657"/>
                      <a:pt x="1704" y="6657"/>
                      <a:pt x="1704" y="6657"/>
                    </a:cubicBezTo>
                    <a:cubicBezTo>
                      <a:pt x="1795" y="6684"/>
                      <a:pt x="1795" y="6684"/>
                      <a:pt x="1795" y="6684"/>
                    </a:cubicBezTo>
                    <a:cubicBezTo>
                      <a:pt x="1933" y="6538"/>
                      <a:pt x="1933" y="6538"/>
                      <a:pt x="1933" y="6538"/>
                    </a:cubicBezTo>
                    <a:cubicBezTo>
                      <a:pt x="1858" y="6481"/>
                      <a:pt x="1858" y="6481"/>
                      <a:pt x="1858" y="6481"/>
                    </a:cubicBezTo>
                    <a:cubicBezTo>
                      <a:pt x="1852" y="6372"/>
                      <a:pt x="1852" y="6372"/>
                      <a:pt x="1852" y="6372"/>
                    </a:cubicBezTo>
                    <a:cubicBezTo>
                      <a:pt x="1727" y="6292"/>
                      <a:pt x="1727" y="6292"/>
                      <a:pt x="1727" y="6292"/>
                    </a:cubicBezTo>
                    <a:lnTo>
                      <a:pt x="1529" y="6642"/>
                    </a:lnTo>
                    <a:close/>
                    <a:moveTo>
                      <a:pt x="298" y="9592"/>
                    </a:moveTo>
                    <a:cubicBezTo>
                      <a:pt x="301" y="9538"/>
                      <a:pt x="301" y="9538"/>
                      <a:pt x="301" y="9538"/>
                    </a:cubicBezTo>
                    <a:cubicBezTo>
                      <a:pt x="259" y="9537"/>
                      <a:pt x="259" y="9537"/>
                      <a:pt x="259" y="9537"/>
                    </a:cubicBezTo>
                    <a:cubicBezTo>
                      <a:pt x="212" y="9450"/>
                      <a:pt x="212" y="9450"/>
                      <a:pt x="212" y="9450"/>
                    </a:cubicBezTo>
                    <a:cubicBezTo>
                      <a:pt x="224" y="9364"/>
                      <a:pt x="224" y="9364"/>
                      <a:pt x="224" y="9364"/>
                    </a:cubicBezTo>
                    <a:cubicBezTo>
                      <a:pt x="357" y="9316"/>
                      <a:pt x="357" y="9316"/>
                      <a:pt x="357" y="9316"/>
                    </a:cubicBezTo>
                    <a:cubicBezTo>
                      <a:pt x="397" y="9387"/>
                      <a:pt x="397" y="9387"/>
                      <a:pt x="397" y="9387"/>
                    </a:cubicBezTo>
                    <a:cubicBezTo>
                      <a:pt x="298" y="9388"/>
                      <a:pt x="298" y="9388"/>
                      <a:pt x="298" y="9388"/>
                    </a:cubicBezTo>
                    <a:cubicBezTo>
                      <a:pt x="291" y="9456"/>
                      <a:pt x="291" y="9456"/>
                      <a:pt x="291" y="9456"/>
                    </a:cubicBezTo>
                    <a:cubicBezTo>
                      <a:pt x="395" y="9456"/>
                      <a:pt x="395" y="9456"/>
                      <a:pt x="395" y="9456"/>
                    </a:cubicBezTo>
                    <a:cubicBezTo>
                      <a:pt x="382" y="9566"/>
                      <a:pt x="382" y="9566"/>
                      <a:pt x="382" y="9566"/>
                    </a:cubicBezTo>
                    <a:cubicBezTo>
                      <a:pt x="512" y="9838"/>
                      <a:pt x="512" y="9838"/>
                      <a:pt x="512" y="9838"/>
                    </a:cubicBezTo>
                    <a:cubicBezTo>
                      <a:pt x="444" y="9869"/>
                      <a:pt x="444" y="9869"/>
                      <a:pt x="444" y="9869"/>
                    </a:cubicBezTo>
                    <a:lnTo>
                      <a:pt x="298" y="9592"/>
                    </a:lnTo>
                    <a:close/>
                    <a:moveTo>
                      <a:pt x="302" y="9524"/>
                    </a:moveTo>
                    <a:cubicBezTo>
                      <a:pt x="316" y="9524"/>
                      <a:pt x="316" y="9524"/>
                      <a:pt x="316" y="9524"/>
                    </a:cubicBezTo>
                    <a:cubicBezTo>
                      <a:pt x="315" y="9539"/>
                      <a:pt x="315" y="9539"/>
                      <a:pt x="315" y="9539"/>
                    </a:cubicBezTo>
                    <a:cubicBezTo>
                      <a:pt x="312" y="9589"/>
                      <a:pt x="312" y="9589"/>
                      <a:pt x="312" y="9589"/>
                    </a:cubicBezTo>
                    <a:cubicBezTo>
                      <a:pt x="450" y="9851"/>
                      <a:pt x="450" y="9851"/>
                      <a:pt x="450" y="9851"/>
                    </a:cubicBezTo>
                    <a:cubicBezTo>
                      <a:pt x="493" y="9831"/>
                      <a:pt x="493" y="9831"/>
                      <a:pt x="493" y="9831"/>
                    </a:cubicBezTo>
                    <a:cubicBezTo>
                      <a:pt x="369" y="9572"/>
                      <a:pt x="369" y="9572"/>
                      <a:pt x="369" y="9572"/>
                    </a:cubicBezTo>
                    <a:cubicBezTo>
                      <a:pt x="367" y="9568"/>
                      <a:pt x="367" y="9568"/>
                      <a:pt x="367" y="9568"/>
                    </a:cubicBezTo>
                    <a:cubicBezTo>
                      <a:pt x="368" y="9564"/>
                      <a:pt x="368" y="9564"/>
                      <a:pt x="368" y="9564"/>
                    </a:cubicBezTo>
                    <a:cubicBezTo>
                      <a:pt x="379" y="9470"/>
                      <a:pt x="379" y="9470"/>
                      <a:pt x="379" y="9470"/>
                    </a:cubicBezTo>
                    <a:cubicBezTo>
                      <a:pt x="291" y="9470"/>
                      <a:pt x="291" y="9470"/>
                      <a:pt x="291" y="9470"/>
                    </a:cubicBezTo>
                    <a:cubicBezTo>
                      <a:pt x="275" y="9470"/>
                      <a:pt x="275" y="9470"/>
                      <a:pt x="275" y="9470"/>
                    </a:cubicBezTo>
                    <a:cubicBezTo>
                      <a:pt x="277" y="9454"/>
                      <a:pt x="277" y="9454"/>
                      <a:pt x="277" y="9454"/>
                    </a:cubicBezTo>
                    <a:cubicBezTo>
                      <a:pt x="284" y="9387"/>
                      <a:pt x="284" y="9387"/>
                      <a:pt x="284" y="9387"/>
                    </a:cubicBezTo>
                    <a:cubicBezTo>
                      <a:pt x="285" y="9374"/>
                      <a:pt x="285" y="9374"/>
                      <a:pt x="285" y="9374"/>
                    </a:cubicBezTo>
                    <a:cubicBezTo>
                      <a:pt x="298" y="9374"/>
                      <a:pt x="298" y="9374"/>
                      <a:pt x="298" y="9374"/>
                    </a:cubicBezTo>
                    <a:cubicBezTo>
                      <a:pt x="374" y="9373"/>
                      <a:pt x="374" y="9373"/>
                      <a:pt x="374" y="9373"/>
                    </a:cubicBezTo>
                    <a:cubicBezTo>
                      <a:pt x="351" y="9333"/>
                      <a:pt x="351" y="9333"/>
                      <a:pt x="351" y="9333"/>
                    </a:cubicBezTo>
                    <a:cubicBezTo>
                      <a:pt x="237" y="9374"/>
                      <a:pt x="237" y="9374"/>
                      <a:pt x="237" y="9374"/>
                    </a:cubicBezTo>
                    <a:cubicBezTo>
                      <a:pt x="226" y="9447"/>
                      <a:pt x="226" y="9447"/>
                      <a:pt x="226" y="9447"/>
                    </a:cubicBezTo>
                    <a:cubicBezTo>
                      <a:pt x="268" y="9523"/>
                      <a:pt x="268" y="9523"/>
                      <a:pt x="268" y="9523"/>
                    </a:cubicBezTo>
                    <a:lnTo>
                      <a:pt x="302" y="9524"/>
                    </a:lnTo>
                    <a:close/>
                    <a:moveTo>
                      <a:pt x="1227" y="9828"/>
                    </a:moveTo>
                    <a:cubicBezTo>
                      <a:pt x="1227" y="9828"/>
                      <a:pt x="1227" y="9828"/>
                      <a:pt x="1228" y="9828"/>
                    </a:cubicBezTo>
                    <a:cubicBezTo>
                      <a:pt x="1227" y="9828"/>
                      <a:pt x="1227" y="9828"/>
                      <a:pt x="1227" y="9828"/>
                    </a:cubicBezTo>
                    <a:cubicBezTo>
                      <a:pt x="1227" y="9828"/>
                      <a:pt x="1227" y="9828"/>
                      <a:pt x="1227" y="9828"/>
                    </a:cubicBezTo>
                    <a:close/>
                    <a:moveTo>
                      <a:pt x="5826" y="7031"/>
                    </a:moveTo>
                    <a:cubicBezTo>
                      <a:pt x="5977" y="7049"/>
                      <a:pt x="5977" y="7049"/>
                      <a:pt x="5977" y="7049"/>
                    </a:cubicBezTo>
                    <a:cubicBezTo>
                      <a:pt x="5967" y="7124"/>
                      <a:pt x="5967" y="7124"/>
                      <a:pt x="5967" y="7124"/>
                    </a:cubicBezTo>
                    <a:cubicBezTo>
                      <a:pt x="5961" y="7124"/>
                      <a:pt x="5961" y="7124"/>
                      <a:pt x="5961" y="7124"/>
                    </a:cubicBezTo>
                    <a:cubicBezTo>
                      <a:pt x="5817" y="7106"/>
                      <a:pt x="5817" y="7106"/>
                      <a:pt x="5817" y="7106"/>
                    </a:cubicBezTo>
                    <a:lnTo>
                      <a:pt x="5826" y="7031"/>
                    </a:lnTo>
                    <a:close/>
                    <a:moveTo>
                      <a:pt x="5832" y="7094"/>
                    </a:moveTo>
                    <a:cubicBezTo>
                      <a:pt x="5956" y="7110"/>
                      <a:pt x="5956" y="7110"/>
                      <a:pt x="5956" y="7110"/>
                    </a:cubicBezTo>
                    <a:cubicBezTo>
                      <a:pt x="5962" y="7061"/>
                      <a:pt x="5962" y="7061"/>
                      <a:pt x="5962" y="7061"/>
                    </a:cubicBezTo>
                    <a:cubicBezTo>
                      <a:pt x="5838" y="7045"/>
                      <a:pt x="5838" y="7045"/>
                      <a:pt x="5838" y="7045"/>
                    </a:cubicBezTo>
                    <a:lnTo>
                      <a:pt x="5832" y="7094"/>
                    </a:lnTo>
                    <a:close/>
                    <a:moveTo>
                      <a:pt x="3" y="10794"/>
                    </a:moveTo>
                    <a:cubicBezTo>
                      <a:pt x="3" y="10821"/>
                      <a:pt x="3" y="10821"/>
                      <a:pt x="3" y="10821"/>
                    </a:cubicBezTo>
                    <a:cubicBezTo>
                      <a:pt x="21" y="10821"/>
                      <a:pt x="21" y="10821"/>
                      <a:pt x="21" y="10821"/>
                    </a:cubicBezTo>
                    <a:lnTo>
                      <a:pt x="3" y="10794"/>
                    </a:lnTo>
                    <a:close/>
                    <a:moveTo>
                      <a:pt x="4518" y="10317"/>
                    </a:moveTo>
                    <a:cubicBezTo>
                      <a:pt x="4542" y="10418"/>
                      <a:pt x="4542" y="10418"/>
                      <a:pt x="4542" y="10418"/>
                    </a:cubicBezTo>
                    <a:cubicBezTo>
                      <a:pt x="4398" y="10453"/>
                      <a:pt x="4398" y="10453"/>
                      <a:pt x="4398" y="10453"/>
                    </a:cubicBezTo>
                    <a:cubicBezTo>
                      <a:pt x="4397" y="10447"/>
                      <a:pt x="4397" y="10447"/>
                      <a:pt x="4397" y="10447"/>
                    </a:cubicBezTo>
                    <a:cubicBezTo>
                      <a:pt x="4374" y="10351"/>
                      <a:pt x="4374" y="10351"/>
                      <a:pt x="4374" y="10351"/>
                    </a:cubicBezTo>
                    <a:lnTo>
                      <a:pt x="4518" y="10317"/>
                    </a:lnTo>
                    <a:close/>
                    <a:moveTo>
                      <a:pt x="4526" y="10409"/>
                    </a:moveTo>
                    <a:cubicBezTo>
                      <a:pt x="4508" y="10332"/>
                      <a:pt x="4508" y="10332"/>
                      <a:pt x="4508" y="10332"/>
                    </a:cubicBezTo>
                    <a:cubicBezTo>
                      <a:pt x="4389" y="10361"/>
                      <a:pt x="4389" y="10361"/>
                      <a:pt x="4389" y="10361"/>
                    </a:cubicBezTo>
                    <a:cubicBezTo>
                      <a:pt x="4408" y="10437"/>
                      <a:pt x="4408" y="10437"/>
                      <a:pt x="4408" y="10437"/>
                    </a:cubicBezTo>
                    <a:lnTo>
                      <a:pt x="4526" y="10409"/>
                    </a:lnTo>
                    <a:close/>
                    <a:moveTo>
                      <a:pt x="4331" y="10371"/>
                    </a:moveTo>
                    <a:cubicBezTo>
                      <a:pt x="4355" y="10473"/>
                      <a:pt x="4355" y="10473"/>
                      <a:pt x="4355" y="10473"/>
                    </a:cubicBezTo>
                    <a:cubicBezTo>
                      <a:pt x="4212" y="10507"/>
                      <a:pt x="4212" y="10507"/>
                      <a:pt x="4212" y="10507"/>
                    </a:cubicBezTo>
                    <a:cubicBezTo>
                      <a:pt x="4210" y="10501"/>
                      <a:pt x="4210" y="10501"/>
                      <a:pt x="4210" y="10501"/>
                    </a:cubicBezTo>
                    <a:cubicBezTo>
                      <a:pt x="4187" y="10406"/>
                      <a:pt x="4187" y="10406"/>
                      <a:pt x="4187" y="10406"/>
                    </a:cubicBezTo>
                    <a:lnTo>
                      <a:pt x="4331" y="10371"/>
                    </a:lnTo>
                    <a:close/>
                    <a:moveTo>
                      <a:pt x="4340" y="10463"/>
                    </a:moveTo>
                    <a:cubicBezTo>
                      <a:pt x="4321" y="10387"/>
                      <a:pt x="4321" y="10387"/>
                      <a:pt x="4321" y="10387"/>
                    </a:cubicBezTo>
                    <a:cubicBezTo>
                      <a:pt x="4203" y="10415"/>
                      <a:pt x="4203" y="10415"/>
                      <a:pt x="4203" y="10415"/>
                    </a:cubicBezTo>
                    <a:cubicBezTo>
                      <a:pt x="4221" y="10492"/>
                      <a:pt x="4221" y="10492"/>
                      <a:pt x="4221" y="10492"/>
                    </a:cubicBezTo>
                    <a:lnTo>
                      <a:pt x="4340" y="10463"/>
                    </a:lnTo>
                    <a:close/>
                    <a:moveTo>
                      <a:pt x="7113" y="7185"/>
                    </a:moveTo>
                    <a:cubicBezTo>
                      <a:pt x="7196" y="7221"/>
                      <a:pt x="7196" y="7221"/>
                      <a:pt x="7196" y="7221"/>
                    </a:cubicBezTo>
                    <a:cubicBezTo>
                      <a:pt x="7166" y="7291"/>
                      <a:pt x="7166" y="7291"/>
                      <a:pt x="7166" y="7291"/>
                    </a:cubicBezTo>
                    <a:cubicBezTo>
                      <a:pt x="7160" y="7288"/>
                      <a:pt x="7160" y="7288"/>
                      <a:pt x="7160" y="7288"/>
                    </a:cubicBezTo>
                    <a:cubicBezTo>
                      <a:pt x="7082" y="7254"/>
                      <a:pt x="7082" y="7254"/>
                      <a:pt x="7082" y="7254"/>
                    </a:cubicBezTo>
                    <a:lnTo>
                      <a:pt x="7113" y="7185"/>
                    </a:lnTo>
                    <a:close/>
                    <a:moveTo>
                      <a:pt x="7119" y="7202"/>
                    </a:moveTo>
                    <a:cubicBezTo>
                      <a:pt x="7100" y="7247"/>
                      <a:pt x="7100" y="7247"/>
                      <a:pt x="7100" y="7247"/>
                    </a:cubicBezTo>
                    <a:cubicBezTo>
                      <a:pt x="7159" y="7274"/>
                      <a:pt x="7159" y="7274"/>
                      <a:pt x="7159" y="7274"/>
                    </a:cubicBezTo>
                    <a:cubicBezTo>
                      <a:pt x="7179" y="7228"/>
                      <a:pt x="7179" y="7228"/>
                      <a:pt x="7179" y="7228"/>
                    </a:cubicBezTo>
                    <a:lnTo>
                      <a:pt x="7119" y="7202"/>
                    </a:lnTo>
                    <a:close/>
                    <a:moveTo>
                      <a:pt x="68" y="8650"/>
                    </a:moveTo>
                    <a:cubicBezTo>
                      <a:pt x="3" y="8668"/>
                      <a:pt x="3" y="8668"/>
                      <a:pt x="3" y="8668"/>
                    </a:cubicBezTo>
                    <a:cubicBezTo>
                      <a:pt x="3" y="8683"/>
                      <a:pt x="3" y="8683"/>
                      <a:pt x="3" y="8683"/>
                    </a:cubicBezTo>
                    <a:cubicBezTo>
                      <a:pt x="61" y="8667"/>
                      <a:pt x="61" y="8667"/>
                      <a:pt x="61" y="8667"/>
                    </a:cubicBezTo>
                    <a:cubicBezTo>
                      <a:pt x="108" y="8749"/>
                      <a:pt x="108" y="8749"/>
                      <a:pt x="108" y="8749"/>
                    </a:cubicBezTo>
                    <a:cubicBezTo>
                      <a:pt x="3" y="8838"/>
                      <a:pt x="3" y="8838"/>
                      <a:pt x="3" y="8838"/>
                    </a:cubicBezTo>
                    <a:cubicBezTo>
                      <a:pt x="3" y="8857"/>
                      <a:pt x="3" y="8857"/>
                      <a:pt x="3" y="8857"/>
                    </a:cubicBezTo>
                    <a:cubicBezTo>
                      <a:pt x="127" y="8752"/>
                      <a:pt x="127" y="8752"/>
                      <a:pt x="127" y="8752"/>
                    </a:cubicBezTo>
                    <a:lnTo>
                      <a:pt x="68" y="8650"/>
                    </a:lnTo>
                    <a:close/>
                    <a:moveTo>
                      <a:pt x="53" y="9406"/>
                    </a:moveTo>
                    <a:cubicBezTo>
                      <a:pt x="3" y="9327"/>
                      <a:pt x="3" y="9327"/>
                      <a:pt x="3" y="9327"/>
                    </a:cubicBezTo>
                    <a:cubicBezTo>
                      <a:pt x="3" y="9355"/>
                      <a:pt x="3" y="9355"/>
                      <a:pt x="3" y="9355"/>
                    </a:cubicBezTo>
                    <a:cubicBezTo>
                      <a:pt x="37" y="9408"/>
                      <a:pt x="37" y="9408"/>
                      <a:pt x="37" y="9408"/>
                    </a:cubicBezTo>
                    <a:cubicBezTo>
                      <a:pt x="10" y="9493"/>
                      <a:pt x="10" y="9493"/>
                      <a:pt x="10" y="9493"/>
                    </a:cubicBezTo>
                    <a:cubicBezTo>
                      <a:pt x="3" y="9494"/>
                      <a:pt x="3" y="9494"/>
                      <a:pt x="3" y="9494"/>
                    </a:cubicBezTo>
                    <a:cubicBezTo>
                      <a:pt x="3" y="9509"/>
                      <a:pt x="3" y="9509"/>
                      <a:pt x="3" y="9509"/>
                    </a:cubicBezTo>
                    <a:cubicBezTo>
                      <a:pt x="22" y="9506"/>
                      <a:pt x="22" y="9506"/>
                      <a:pt x="22" y="9506"/>
                    </a:cubicBezTo>
                    <a:lnTo>
                      <a:pt x="53" y="9406"/>
                    </a:lnTo>
                    <a:close/>
                    <a:moveTo>
                      <a:pt x="182" y="9126"/>
                    </a:moveTo>
                    <a:cubicBezTo>
                      <a:pt x="292" y="9026"/>
                      <a:pt x="292" y="9026"/>
                      <a:pt x="292" y="9026"/>
                    </a:cubicBezTo>
                    <a:cubicBezTo>
                      <a:pt x="298" y="9020"/>
                      <a:pt x="298" y="9020"/>
                      <a:pt x="298" y="9020"/>
                    </a:cubicBezTo>
                    <a:cubicBezTo>
                      <a:pt x="151" y="8886"/>
                      <a:pt x="151" y="8886"/>
                      <a:pt x="151" y="8886"/>
                    </a:cubicBezTo>
                    <a:cubicBezTo>
                      <a:pt x="3" y="9000"/>
                      <a:pt x="3" y="9000"/>
                      <a:pt x="3" y="9000"/>
                    </a:cubicBezTo>
                    <a:cubicBezTo>
                      <a:pt x="3" y="9019"/>
                      <a:pt x="3" y="9019"/>
                      <a:pt x="3" y="9019"/>
                    </a:cubicBezTo>
                    <a:cubicBezTo>
                      <a:pt x="150" y="8906"/>
                      <a:pt x="150" y="8906"/>
                      <a:pt x="150" y="8906"/>
                    </a:cubicBezTo>
                    <a:cubicBezTo>
                      <a:pt x="276" y="9020"/>
                      <a:pt x="276" y="9020"/>
                      <a:pt x="276" y="9020"/>
                    </a:cubicBezTo>
                    <a:cubicBezTo>
                      <a:pt x="176" y="9111"/>
                      <a:pt x="176" y="9111"/>
                      <a:pt x="176" y="9111"/>
                    </a:cubicBezTo>
                    <a:cubicBezTo>
                      <a:pt x="36" y="9104"/>
                      <a:pt x="36" y="9104"/>
                      <a:pt x="36" y="9104"/>
                    </a:cubicBezTo>
                    <a:cubicBezTo>
                      <a:pt x="3" y="9050"/>
                      <a:pt x="3" y="9050"/>
                      <a:pt x="3" y="9050"/>
                    </a:cubicBezTo>
                    <a:cubicBezTo>
                      <a:pt x="3" y="9078"/>
                      <a:pt x="3" y="9078"/>
                      <a:pt x="3" y="9078"/>
                    </a:cubicBezTo>
                    <a:cubicBezTo>
                      <a:pt x="27" y="9118"/>
                      <a:pt x="27" y="9118"/>
                      <a:pt x="27" y="9118"/>
                    </a:cubicBezTo>
                    <a:lnTo>
                      <a:pt x="182" y="9126"/>
                    </a:lnTo>
                    <a:close/>
                    <a:moveTo>
                      <a:pt x="3781" y="10295"/>
                    </a:moveTo>
                    <a:cubicBezTo>
                      <a:pt x="3711" y="10318"/>
                      <a:pt x="3711" y="10318"/>
                      <a:pt x="3711" y="10318"/>
                    </a:cubicBezTo>
                    <a:cubicBezTo>
                      <a:pt x="3735" y="10390"/>
                      <a:pt x="3735" y="10390"/>
                      <a:pt x="3735" y="10390"/>
                    </a:cubicBezTo>
                    <a:cubicBezTo>
                      <a:pt x="3663" y="10414"/>
                      <a:pt x="3663" y="10414"/>
                      <a:pt x="3663" y="10414"/>
                    </a:cubicBezTo>
                    <a:cubicBezTo>
                      <a:pt x="3661" y="10407"/>
                      <a:pt x="3661" y="10407"/>
                      <a:pt x="3661" y="10407"/>
                    </a:cubicBezTo>
                    <a:cubicBezTo>
                      <a:pt x="3603" y="10224"/>
                      <a:pt x="3603" y="10224"/>
                      <a:pt x="3603" y="10224"/>
                    </a:cubicBezTo>
                    <a:cubicBezTo>
                      <a:pt x="3650" y="10209"/>
                      <a:pt x="3650" y="10209"/>
                      <a:pt x="3650" y="10209"/>
                    </a:cubicBezTo>
                    <a:cubicBezTo>
                      <a:pt x="3647" y="10198"/>
                      <a:pt x="3647" y="10198"/>
                      <a:pt x="3647" y="10198"/>
                    </a:cubicBezTo>
                    <a:cubicBezTo>
                      <a:pt x="3644" y="10191"/>
                      <a:pt x="3644" y="10191"/>
                      <a:pt x="3644" y="10191"/>
                    </a:cubicBezTo>
                    <a:cubicBezTo>
                      <a:pt x="3736" y="10161"/>
                      <a:pt x="3736" y="10161"/>
                      <a:pt x="3736" y="10161"/>
                    </a:cubicBezTo>
                    <a:lnTo>
                      <a:pt x="3781" y="10295"/>
                    </a:lnTo>
                    <a:close/>
                    <a:moveTo>
                      <a:pt x="3695" y="10309"/>
                    </a:moveTo>
                    <a:cubicBezTo>
                      <a:pt x="3764" y="10287"/>
                      <a:pt x="3764" y="10287"/>
                      <a:pt x="3764" y="10287"/>
                    </a:cubicBezTo>
                    <a:cubicBezTo>
                      <a:pt x="3728" y="10178"/>
                      <a:pt x="3728" y="10178"/>
                      <a:pt x="3728" y="10178"/>
                    </a:cubicBezTo>
                    <a:cubicBezTo>
                      <a:pt x="3661" y="10200"/>
                      <a:pt x="3661" y="10200"/>
                      <a:pt x="3661" y="10200"/>
                    </a:cubicBezTo>
                    <a:cubicBezTo>
                      <a:pt x="3665" y="10211"/>
                      <a:pt x="3665" y="10211"/>
                      <a:pt x="3665" y="10211"/>
                    </a:cubicBezTo>
                    <a:cubicBezTo>
                      <a:pt x="3667" y="10217"/>
                      <a:pt x="3667" y="10217"/>
                      <a:pt x="3667" y="10217"/>
                    </a:cubicBezTo>
                    <a:cubicBezTo>
                      <a:pt x="3620" y="10233"/>
                      <a:pt x="3620" y="10233"/>
                      <a:pt x="3620" y="10233"/>
                    </a:cubicBezTo>
                    <a:cubicBezTo>
                      <a:pt x="3671" y="10397"/>
                      <a:pt x="3671" y="10397"/>
                      <a:pt x="3671" y="10397"/>
                    </a:cubicBezTo>
                    <a:cubicBezTo>
                      <a:pt x="3718" y="10381"/>
                      <a:pt x="3718" y="10381"/>
                      <a:pt x="3718" y="10381"/>
                    </a:cubicBezTo>
                    <a:lnTo>
                      <a:pt x="3695" y="10309"/>
                    </a:lnTo>
                    <a:close/>
                    <a:moveTo>
                      <a:pt x="7329" y="7305"/>
                    </a:moveTo>
                    <a:cubicBezTo>
                      <a:pt x="7252" y="7271"/>
                      <a:pt x="7252" y="7271"/>
                      <a:pt x="7252" y="7271"/>
                    </a:cubicBezTo>
                    <a:cubicBezTo>
                      <a:pt x="7282" y="7201"/>
                      <a:pt x="7282" y="7201"/>
                      <a:pt x="7282" y="7201"/>
                    </a:cubicBezTo>
                    <a:cubicBezTo>
                      <a:pt x="7366" y="7238"/>
                      <a:pt x="7366" y="7238"/>
                      <a:pt x="7366" y="7238"/>
                    </a:cubicBezTo>
                    <a:cubicBezTo>
                      <a:pt x="7335" y="7307"/>
                      <a:pt x="7335" y="7307"/>
                      <a:pt x="7335" y="7307"/>
                    </a:cubicBezTo>
                    <a:lnTo>
                      <a:pt x="7329" y="7305"/>
                    </a:lnTo>
                    <a:close/>
                    <a:moveTo>
                      <a:pt x="7329" y="7290"/>
                    </a:moveTo>
                    <a:cubicBezTo>
                      <a:pt x="7348" y="7245"/>
                      <a:pt x="7348" y="7245"/>
                      <a:pt x="7348" y="7245"/>
                    </a:cubicBezTo>
                    <a:cubicBezTo>
                      <a:pt x="7289" y="7218"/>
                      <a:pt x="7289" y="7218"/>
                      <a:pt x="7289" y="7218"/>
                    </a:cubicBezTo>
                    <a:cubicBezTo>
                      <a:pt x="7269" y="7264"/>
                      <a:pt x="7269" y="7264"/>
                      <a:pt x="7269" y="7264"/>
                    </a:cubicBezTo>
                    <a:lnTo>
                      <a:pt x="7329" y="7290"/>
                    </a:lnTo>
                    <a:close/>
                    <a:moveTo>
                      <a:pt x="3122" y="10380"/>
                    </a:moveTo>
                    <a:cubicBezTo>
                      <a:pt x="3276" y="10308"/>
                      <a:pt x="3276" y="10308"/>
                      <a:pt x="3276" y="10308"/>
                    </a:cubicBezTo>
                    <a:cubicBezTo>
                      <a:pt x="3280" y="10313"/>
                      <a:pt x="3280" y="10313"/>
                      <a:pt x="3280" y="10313"/>
                    </a:cubicBezTo>
                    <a:cubicBezTo>
                      <a:pt x="3280" y="10313"/>
                      <a:pt x="3292" y="10327"/>
                      <a:pt x="3304" y="10342"/>
                    </a:cubicBezTo>
                    <a:cubicBezTo>
                      <a:pt x="3310" y="10349"/>
                      <a:pt x="3317" y="10356"/>
                      <a:pt x="3322" y="10361"/>
                    </a:cubicBezTo>
                    <a:cubicBezTo>
                      <a:pt x="3325" y="10364"/>
                      <a:pt x="3327" y="10366"/>
                      <a:pt x="3328" y="10368"/>
                    </a:cubicBezTo>
                    <a:cubicBezTo>
                      <a:pt x="3329" y="10368"/>
                      <a:pt x="3329" y="10368"/>
                      <a:pt x="3329" y="10368"/>
                    </a:cubicBezTo>
                    <a:cubicBezTo>
                      <a:pt x="3341" y="10368"/>
                      <a:pt x="3341" y="10368"/>
                      <a:pt x="3341" y="10368"/>
                    </a:cubicBezTo>
                    <a:cubicBezTo>
                      <a:pt x="3334" y="10379"/>
                      <a:pt x="3334" y="10379"/>
                      <a:pt x="3334" y="10379"/>
                    </a:cubicBezTo>
                    <a:cubicBezTo>
                      <a:pt x="3334" y="10379"/>
                      <a:pt x="3324" y="10397"/>
                      <a:pt x="3314" y="10416"/>
                    </a:cubicBezTo>
                    <a:cubicBezTo>
                      <a:pt x="3309" y="10425"/>
                      <a:pt x="3303" y="10435"/>
                      <a:pt x="3300" y="10442"/>
                    </a:cubicBezTo>
                    <a:cubicBezTo>
                      <a:pt x="3298" y="10446"/>
                      <a:pt x="3296" y="10449"/>
                      <a:pt x="3295" y="10451"/>
                    </a:cubicBezTo>
                    <a:cubicBezTo>
                      <a:pt x="3296" y="10452"/>
                      <a:pt x="3297" y="10452"/>
                      <a:pt x="3297" y="10452"/>
                    </a:cubicBezTo>
                    <a:cubicBezTo>
                      <a:pt x="3318" y="10467"/>
                      <a:pt x="3372" y="10522"/>
                      <a:pt x="3372" y="10522"/>
                    </a:cubicBezTo>
                    <a:cubicBezTo>
                      <a:pt x="3383" y="10533"/>
                      <a:pt x="3383" y="10533"/>
                      <a:pt x="3383" y="10533"/>
                    </a:cubicBezTo>
                    <a:cubicBezTo>
                      <a:pt x="3152" y="10552"/>
                      <a:pt x="3152" y="10552"/>
                      <a:pt x="3152" y="10552"/>
                    </a:cubicBezTo>
                    <a:cubicBezTo>
                      <a:pt x="3150" y="10556"/>
                      <a:pt x="3147" y="10562"/>
                      <a:pt x="3144" y="10569"/>
                    </a:cubicBezTo>
                    <a:cubicBezTo>
                      <a:pt x="3140" y="10577"/>
                      <a:pt x="3136" y="10587"/>
                      <a:pt x="3134" y="10591"/>
                    </a:cubicBezTo>
                    <a:cubicBezTo>
                      <a:pt x="3135" y="10592"/>
                      <a:pt x="3135" y="10593"/>
                      <a:pt x="3136" y="10595"/>
                    </a:cubicBezTo>
                    <a:cubicBezTo>
                      <a:pt x="3134" y="10603"/>
                      <a:pt x="3132" y="10600"/>
                      <a:pt x="3132" y="10601"/>
                    </a:cubicBezTo>
                    <a:cubicBezTo>
                      <a:pt x="3127" y="10605"/>
                      <a:pt x="3078" y="10625"/>
                      <a:pt x="3028" y="10647"/>
                    </a:cubicBezTo>
                    <a:cubicBezTo>
                      <a:pt x="3003" y="10657"/>
                      <a:pt x="2978" y="10668"/>
                      <a:pt x="2960" y="10676"/>
                    </a:cubicBezTo>
                    <a:cubicBezTo>
                      <a:pt x="2951" y="10680"/>
                      <a:pt x="2943" y="10683"/>
                      <a:pt x="2938" y="10685"/>
                    </a:cubicBezTo>
                    <a:cubicBezTo>
                      <a:pt x="2935" y="10687"/>
                      <a:pt x="2933" y="10688"/>
                      <a:pt x="2932" y="10688"/>
                    </a:cubicBezTo>
                    <a:cubicBezTo>
                      <a:pt x="2931" y="10688"/>
                      <a:pt x="2931" y="10689"/>
                      <a:pt x="2931" y="10689"/>
                    </a:cubicBezTo>
                    <a:cubicBezTo>
                      <a:pt x="2930" y="10689"/>
                      <a:pt x="2928" y="10690"/>
                      <a:pt x="2926" y="10690"/>
                    </a:cubicBezTo>
                    <a:cubicBezTo>
                      <a:pt x="2926" y="10690"/>
                      <a:pt x="2924" y="10690"/>
                      <a:pt x="2922" y="10689"/>
                    </a:cubicBezTo>
                    <a:cubicBezTo>
                      <a:pt x="2920" y="10688"/>
                      <a:pt x="2919" y="10684"/>
                      <a:pt x="2919" y="10683"/>
                    </a:cubicBezTo>
                    <a:cubicBezTo>
                      <a:pt x="2919" y="10682"/>
                      <a:pt x="2919" y="10681"/>
                      <a:pt x="2920" y="10680"/>
                    </a:cubicBezTo>
                    <a:cubicBezTo>
                      <a:pt x="2920" y="10680"/>
                      <a:pt x="2920" y="10680"/>
                      <a:pt x="2920" y="10680"/>
                    </a:cubicBezTo>
                    <a:cubicBezTo>
                      <a:pt x="2920" y="10660"/>
                      <a:pt x="2895" y="10514"/>
                      <a:pt x="2895" y="10514"/>
                    </a:cubicBezTo>
                    <a:cubicBezTo>
                      <a:pt x="2893" y="10506"/>
                      <a:pt x="2893" y="10506"/>
                      <a:pt x="2893" y="10506"/>
                    </a:cubicBezTo>
                    <a:cubicBezTo>
                      <a:pt x="3090" y="10481"/>
                      <a:pt x="3090" y="10481"/>
                      <a:pt x="3090" y="10481"/>
                    </a:cubicBezTo>
                    <a:lnTo>
                      <a:pt x="3122" y="10380"/>
                    </a:lnTo>
                    <a:close/>
                    <a:moveTo>
                      <a:pt x="3134" y="10391"/>
                    </a:moveTo>
                    <a:cubicBezTo>
                      <a:pt x="3101" y="10495"/>
                      <a:pt x="3101" y="10495"/>
                      <a:pt x="3101" y="10495"/>
                    </a:cubicBezTo>
                    <a:cubicBezTo>
                      <a:pt x="2910" y="10519"/>
                      <a:pt x="2910" y="10519"/>
                      <a:pt x="2910" y="10519"/>
                    </a:cubicBezTo>
                    <a:cubicBezTo>
                      <a:pt x="2915" y="10546"/>
                      <a:pt x="2931" y="10637"/>
                      <a:pt x="2934" y="10671"/>
                    </a:cubicBezTo>
                    <a:cubicBezTo>
                      <a:pt x="2940" y="10668"/>
                      <a:pt x="2948" y="10665"/>
                      <a:pt x="2958" y="10661"/>
                    </a:cubicBezTo>
                    <a:cubicBezTo>
                      <a:pt x="2986" y="10648"/>
                      <a:pt x="3028" y="10630"/>
                      <a:pt x="3063" y="10616"/>
                    </a:cubicBezTo>
                    <a:cubicBezTo>
                      <a:pt x="3080" y="10608"/>
                      <a:pt x="3096" y="10602"/>
                      <a:pt x="3107" y="10597"/>
                    </a:cubicBezTo>
                    <a:cubicBezTo>
                      <a:pt x="3112" y="10595"/>
                      <a:pt x="3116" y="10593"/>
                      <a:pt x="3119" y="10591"/>
                    </a:cubicBezTo>
                    <a:cubicBezTo>
                      <a:pt x="3122" y="10576"/>
                      <a:pt x="3141" y="10542"/>
                      <a:pt x="3141" y="10541"/>
                    </a:cubicBezTo>
                    <a:cubicBezTo>
                      <a:pt x="3143" y="10538"/>
                      <a:pt x="3143" y="10538"/>
                      <a:pt x="3143" y="10538"/>
                    </a:cubicBezTo>
                    <a:cubicBezTo>
                      <a:pt x="3350" y="10521"/>
                      <a:pt x="3350" y="10521"/>
                      <a:pt x="3350" y="10521"/>
                    </a:cubicBezTo>
                    <a:cubicBezTo>
                      <a:pt x="3343" y="10514"/>
                      <a:pt x="3334" y="10505"/>
                      <a:pt x="3325" y="10496"/>
                    </a:cubicBezTo>
                    <a:cubicBezTo>
                      <a:pt x="3316" y="10488"/>
                      <a:pt x="3306" y="10479"/>
                      <a:pt x="3298" y="10472"/>
                    </a:cubicBezTo>
                    <a:cubicBezTo>
                      <a:pt x="3295" y="10469"/>
                      <a:pt x="3291" y="10466"/>
                      <a:pt x="3289" y="10464"/>
                    </a:cubicBezTo>
                    <a:cubicBezTo>
                      <a:pt x="3288" y="10464"/>
                      <a:pt x="3287" y="10463"/>
                      <a:pt x="3286" y="10463"/>
                    </a:cubicBezTo>
                    <a:cubicBezTo>
                      <a:pt x="3284" y="10463"/>
                      <a:pt x="3281" y="10461"/>
                      <a:pt x="3280" y="10459"/>
                    </a:cubicBezTo>
                    <a:cubicBezTo>
                      <a:pt x="3279" y="10457"/>
                      <a:pt x="3279" y="10456"/>
                      <a:pt x="3279" y="10455"/>
                    </a:cubicBezTo>
                    <a:cubicBezTo>
                      <a:pt x="3280" y="10448"/>
                      <a:pt x="3282" y="10444"/>
                      <a:pt x="3286" y="10436"/>
                    </a:cubicBezTo>
                    <a:cubicBezTo>
                      <a:pt x="3295" y="10418"/>
                      <a:pt x="3311" y="10390"/>
                      <a:pt x="3318" y="10378"/>
                    </a:cubicBezTo>
                    <a:cubicBezTo>
                      <a:pt x="3306" y="10367"/>
                      <a:pt x="3281" y="10338"/>
                      <a:pt x="3272" y="10326"/>
                    </a:cubicBezTo>
                    <a:lnTo>
                      <a:pt x="3134" y="10391"/>
                    </a:lnTo>
                    <a:close/>
                    <a:moveTo>
                      <a:pt x="4651" y="5130"/>
                    </a:moveTo>
                    <a:cubicBezTo>
                      <a:pt x="4727" y="5199"/>
                      <a:pt x="4727" y="5199"/>
                      <a:pt x="4727" y="5199"/>
                    </a:cubicBezTo>
                    <a:cubicBezTo>
                      <a:pt x="4628" y="5309"/>
                      <a:pt x="4628" y="5309"/>
                      <a:pt x="4628" y="5309"/>
                    </a:cubicBezTo>
                    <a:cubicBezTo>
                      <a:pt x="4551" y="5240"/>
                      <a:pt x="4551" y="5240"/>
                      <a:pt x="4551" y="5240"/>
                    </a:cubicBezTo>
                    <a:cubicBezTo>
                      <a:pt x="4556" y="5235"/>
                      <a:pt x="4556" y="5235"/>
                      <a:pt x="4556" y="5235"/>
                    </a:cubicBezTo>
                    <a:lnTo>
                      <a:pt x="4651" y="5130"/>
                    </a:lnTo>
                    <a:close/>
                    <a:moveTo>
                      <a:pt x="4652" y="5149"/>
                    </a:moveTo>
                    <a:cubicBezTo>
                      <a:pt x="4570" y="5239"/>
                      <a:pt x="4570" y="5239"/>
                      <a:pt x="4570" y="5239"/>
                    </a:cubicBezTo>
                    <a:cubicBezTo>
                      <a:pt x="4627" y="5291"/>
                      <a:pt x="4627" y="5291"/>
                      <a:pt x="4627" y="5291"/>
                    </a:cubicBezTo>
                    <a:cubicBezTo>
                      <a:pt x="4709" y="5200"/>
                      <a:pt x="4709" y="5200"/>
                      <a:pt x="4709" y="5200"/>
                    </a:cubicBezTo>
                    <a:lnTo>
                      <a:pt x="4652" y="5149"/>
                    </a:lnTo>
                    <a:close/>
                    <a:moveTo>
                      <a:pt x="5159" y="5865"/>
                    </a:moveTo>
                    <a:cubicBezTo>
                      <a:pt x="5102" y="5854"/>
                      <a:pt x="5102" y="5854"/>
                      <a:pt x="5102" y="5854"/>
                    </a:cubicBezTo>
                    <a:cubicBezTo>
                      <a:pt x="5104" y="5847"/>
                      <a:pt x="5104" y="5847"/>
                      <a:pt x="5104" y="5847"/>
                    </a:cubicBezTo>
                    <a:cubicBezTo>
                      <a:pt x="5123" y="5733"/>
                      <a:pt x="5123" y="5733"/>
                      <a:pt x="5123" y="5733"/>
                    </a:cubicBezTo>
                    <a:cubicBezTo>
                      <a:pt x="5239" y="5755"/>
                      <a:pt x="5239" y="5755"/>
                      <a:pt x="5239" y="5755"/>
                    </a:cubicBezTo>
                    <a:cubicBezTo>
                      <a:pt x="5237" y="5766"/>
                      <a:pt x="5237" y="5766"/>
                      <a:pt x="5237" y="5766"/>
                    </a:cubicBezTo>
                    <a:cubicBezTo>
                      <a:pt x="5288" y="5776"/>
                      <a:pt x="5288" y="5776"/>
                      <a:pt x="5288" y="5776"/>
                    </a:cubicBezTo>
                    <a:cubicBezTo>
                      <a:pt x="5252" y="5958"/>
                      <a:pt x="5252" y="5958"/>
                      <a:pt x="5252" y="5958"/>
                    </a:cubicBezTo>
                    <a:cubicBezTo>
                      <a:pt x="5144" y="5936"/>
                      <a:pt x="5144" y="5936"/>
                      <a:pt x="5144" y="5936"/>
                    </a:cubicBezTo>
                    <a:lnTo>
                      <a:pt x="5159" y="5865"/>
                    </a:lnTo>
                    <a:close/>
                    <a:moveTo>
                      <a:pt x="5174" y="5854"/>
                    </a:moveTo>
                    <a:cubicBezTo>
                      <a:pt x="5160" y="5926"/>
                      <a:pt x="5160" y="5926"/>
                      <a:pt x="5160" y="5926"/>
                    </a:cubicBezTo>
                    <a:cubicBezTo>
                      <a:pt x="5242" y="5942"/>
                      <a:pt x="5242" y="5942"/>
                      <a:pt x="5242" y="5942"/>
                    </a:cubicBezTo>
                    <a:cubicBezTo>
                      <a:pt x="5273" y="5786"/>
                      <a:pt x="5273" y="5786"/>
                      <a:pt x="5273" y="5786"/>
                    </a:cubicBezTo>
                    <a:cubicBezTo>
                      <a:pt x="5221" y="5776"/>
                      <a:pt x="5221" y="5776"/>
                      <a:pt x="5221" y="5776"/>
                    </a:cubicBezTo>
                    <a:cubicBezTo>
                      <a:pt x="5223" y="5766"/>
                      <a:pt x="5223" y="5766"/>
                      <a:pt x="5223" y="5766"/>
                    </a:cubicBezTo>
                    <a:cubicBezTo>
                      <a:pt x="5134" y="5748"/>
                      <a:pt x="5134" y="5748"/>
                      <a:pt x="5134" y="5748"/>
                    </a:cubicBezTo>
                    <a:cubicBezTo>
                      <a:pt x="5118" y="5843"/>
                      <a:pt x="5118" y="5843"/>
                      <a:pt x="5118" y="5843"/>
                    </a:cubicBezTo>
                    <a:lnTo>
                      <a:pt x="5174" y="5854"/>
                    </a:lnTo>
                    <a:close/>
                    <a:moveTo>
                      <a:pt x="7583" y="7229"/>
                    </a:moveTo>
                    <a:cubicBezTo>
                      <a:pt x="7447" y="7093"/>
                      <a:pt x="7447" y="7093"/>
                      <a:pt x="7447" y="7093"/>
                    </a:cubicBezTo>
                    <a:cubicBezTo>
                      <a:pt x="7482" y="7058"/>
                      <a:pt x="7482" y="7058"/>
                      <a:pt x="7482" y="7058"/>
                    </a:cubicBezTo>
                    <a:cubicBezTo>
                      <a:pt x="7473" y="7050"/>
                      <a:pt x="7473" y="7050"/>
                      <a:pt x="7473" y="7050"/>
                    </a:cubicBezTo>
                    <a:cubicBezTo>
                      <a:pt x="7469" y="7045"/>
                      <a:pt x="7469" y="7045"/>
                      <a:pt x="7469" y="7045"/>
                    </a:cubicBezTo>
                    <a:cubicBezTo>
                      <a:pt x="7536" y="6976"/>
                      <a:pt x="7536" y="6976"/>
                      <a:pt x="7536" y="6976"/>
                    </a:cubicBezTo>
                    <a:cubicBezTo>
                      <a:pt x="7637" y="7074"/>
                      <a:pt x="7637" y="7074"/>
                      <a:pt x="7637" y="7074"/>
                    </a:cubicBezTo>
                    <a:cubicBezTo>
                      <a:pt x="7586" y="7126"/>
                      <a:pt x="7586" y="7126"/>
                      <a:pt x="7586" y="7126"/>
                    </a:cubicBezTo>
                    <a:cubicBezTo>
                      <a:pt x="7641" y="7179"/>
                      <a:pt x="7641" y="7179"/>
                      <a:pt x="7641" y="7179"/>
                    </a:cubicBezTo>
                    <a:cubicBezTo>
                      <a:pt x="7588" y="7233"/>
                      <a:pt x="7588" y="7233"/>
                      <a:pt x="7588" y="7233"/>
                    </a:cubicBezTo>
                    <a:lnTo>
                      <a:pt x="7583" y="7229"/>
                    </a:lnTo>
                    <a:close/>
                    <a:moveTo>
                      <a:pt x="7466" y="7093"/>
                    </a:moveTo>
                    <a:cubicBezTo>
                      <a:pt x="7588" y="7215"/>
                      <a:pt x="7588" y="7215"/>
                      <a:pt x="7588" y="7215"/>
                    </a:cubicBezTo>
                    <a:cubicBezTo>
                      <a:pt x="7622" y="7179"/>
                      <a:pt x="7622" y="7179"/>
                      <a:pt x="7622" y="7179"/>
                    </a:cubicBezTo>
                    <a:cubicBezTo>
                      <a:pt x="7568" y="7127"/>
                      <a:pt x="7568" y="7127"/>
                      <a:pt x="7568" y="7127"/>
                    </a:cubicBezTo>
                    <a:cubicBezTo>
                      <a:pt x="7619" y="7074"/>
                      <a:pt x="7619" y="7074"/>
                      <a:pt x="7619" y="7074"/>
                    </a:cubicBezTo>
                    <a:cubicBezTo>
                      <a:pt x="7536" y="6994"/>
                      <a:pt x="7536" y="6994"/>
                      <a:pt x="7536" y="6994"/>
                    </a:cubicBezTo>
                    <a:cubicBezTo>
                      <a:pt x="7487" y="7045"/>
                      <a:pt x="7487" y="7045"/>
                      <a:pt x="7487" y="7045"/>
                    </a:cubicBezTo>
                    <a:cubicBezTo>
                      <a:pt x="7496" y="7053"/>
                      <a:pt x="7496" y="7053"/>
                      <a:pt x="7496" y="7053"/>
                    </a:cubicBezTo>
                    <a:cubicBezTo>
                      <a:pt x="7500" y="7058"/>
                      <a:pt x="7500" y="7058"/>
                      <a:pt x="7500" y="7058"/>
                    </a:cubicBezTo>
                    <a:lnTo>
                      <a:pt x="7466" y="7093"/>
                    </a:lnTo>
                    <a:close/>
                    <a:moveTo>
                      <a:pt x="3818" y="4851"/>
                    </a:moveTo>
                    <a:cubicBezTo>
                      <a:pt x="3949" y="4879"/>
                      <a:pt x="3949" y="4879"/>
                      <a:pt x="3949" y="4879"/>
                    </a:cubicBezTo>
                    <a:cubicBezTo>
                      <a:pt x="3920" y="5015"/>
                      <a:pt x="3920" y="5015"/>
                      <a:pt x="3920" y="5015"/>
                    </a:cubicBezTo>
                    <a:cubicBezTo>
                      <a:pt x="3789" y="4988"/>
                      <a:pt x="3789" y="4988"/>
                      <a:pt x="3789" y="4988"/>
                    </a:cubicBezTo>
                    <a:cubicBezTo>
                      <a:pt x="3790" y="4981"/>
                      <a:pt x="3790" y="4981"/>
                      <a:pt x="3790" y="4981"/>
                    </a:cubicBezTo>
                    <a:lnTo>
                      <a:pt x="3818" y="4851"/>
                    </a:lnTo>
                    <a:close/>
                    <a:moveTo>
                      <a:pt x="3828" y="4867"/>
                    </a:moveTo>
                    <a:cubicBezTo>
                      <a:pt x="3805" y="4977"/>
                      <a:pt x="3805" y="4977"/>
                      <a:pt x="3805" y="4977"/>
                    </a:cubicBezTo>
                    <a:cubicBezTo>
                      <a:pt x="3910" y="5000"/>
                      <a:pt x="3910" y="5000"/>
                      <a:pt x="3910" y="5000"/>
                    </a:cubicBezTo>
                    <a:cubicBezTo>
                      <a:pt x="3933" y="4889"/>
                      <a:pt x="3933" y="4889"/>
                      <a:pt x="3933" y="4889"/>
                    </a:cubicBezTo>
                    <a:lnTo>
                      <a:pt x="3828" y="4867"/>
                    </a:lnTo>
                    <a:close/>
                    <a:moveTo>
                      <a:pt x="4240" y="10018"/>
                    </a:moveTo>
                    <a:cubicBezTo>
                      <a:pt x="4279" y="10109"/>
                      <a:pt x="4279" y="10109"/>
                      <a:pt x="4279" y="10109"/>
                    </a:cubicBezTo>
                    <a:cubicBezTo>
                      <a:pt x="4125" y="10175"/>
                      <a:pt x="4125" y="10175"/>
                      <a:pt x="4125" y="10175"/>
                    </a:cubicBezTo>
                    <a:cubicBezTo>
                      <a:pt x="4060" y="10021"/>
                      <a:pt x="4060" y="10021"/>
                      <a:pt x="4060" y="10021"/>
                    </a:cubicBezTo>
                    <a:cubicBezTo>
                      <a:pt x="4146" y="9984"/>
                      <a:pt x="4146" y="9984"/>
                      <a:pt x="4146" y="9984"/>
                    </a:cubicBezTo>
                    <a:cubicBezTo>
                      <a:pt x="4112" y="9889"/>
                      <a:pt x="4112" y="9889"/>
                      <a:pt x="4112" y="9889"/>
                    </a:cubicBezTo>
                    <a:cubicBezTo>
                      <a:pt x="4275" y="9820"/>
                      <a:pt x="4275" y="9820"/>
                      <a:pt x="4275" y="9820"/>
                    </a:cubicBezTo>
                    <a:cubicBezTo>
                      <a:pt x="4336" y="9978"/>
                      <a:pt x="4336" y="9978"/>
                      <a:pt x="4336" y="9978"/>
                    </a:cubicBezTo>
                    <a:lnTo>
                      <a:pt x="4240" y="10018"/>
                    </a:lnTo>
                    <a:close/>
                    <a:moveTo>
                      <a:pt x="4223" y="10011"/>
                    </a:moveTo>
                    <a:cubicBezTo>
                      <a:pt x="4229" y="10008"/>
                      <a:pt x="4229" y="10008"/>
                      <a:pt x="4229" y="10008"/>
                    </a:cubicBezTo>
                    <a:cubicBezTo>
                      <a:pt x="4319" y="9971"/>
                      <a:pt x="4319" y="9971"/>
                      <a:pt x="4319" y="9971"/>
                    </a:cubicBezTo>
                    <a:cubicBezTo>
                      <a:pt x="4268" y="9838"/>
                      <a:pt x="4268" y="9838"/>
                      <a:pt x="4268" y="9838"/>
                    </a:cubicBezTo>
                    <a:cubicBezTo>
                      <a:pt x="4128" y="9896"/>
                      <a:pt x="4128" y="9896"/>
                      <a:pt x="4128" y="9896"/>
                    </a:cubicBezTo>
                    <a:cubicBezTo>
                      <a:pt x="4163" y="9991"/>
                      <a:pt x="4163" y="9991"/>
                      <a:pt x="4163" y="9991"/>
                    </a:cubicBezTo>
                    <a:cubicBezTo>
                      <a:pt x="4077" y="10028"/>
                      <a:pt x="4077" y="10028"/>
                      <a:pt x="4077" y="10028"/>
                    </a:cubicBezTo>
                    <a:cubicBezTo>
                      <a:pt x="4132" y="10157"/>
                      <a:pt x="4132" y="10157"/>
                      <a:pt x="4132" y="10157"/>
                    </a:cubicBezTo>
                    <a:cubicBezTo>
                      <a:pt x="4262" y="10102"/>
                      <a:pt x="4262" y="10102"/>
                      <a:pt x="4262" y="10102"/>
                    </a:cubicBezTo>
                    <a:lnTo>
                      <a:pt x="4223" y="10011"/>
                    </a:lnTo>
                    <a:close/>
                  </a:path>
                </a:pathLst>
              </a:custGeom>
              <a:gradFill>
                <a:gsLst>
                  <a:gs pos="29000">
                    <a:srgbClr val="827985">
                      <a:alpha val="0"/>
                    </a:srgbClr>
                  </a:gs>
                  <a:gs pos="100000">
                    <a:srgbClr val="775174"/>
                  </a:gs>
                </a:gsLst>
                <a:lin ang="0" scaled="1"/>
              </a:gradFill>
              <a:ln>
                <a:noFill/>
              </a:ln>
            </p:spPr>
            <p:txBody>
              <a:bodyPr vert="horz" wrap="square" lIns="91440" tIns="45720" rIns="91440" bIns="45720" numCol="1" anchor="t" anchorCtr="0" compatLnSpc="1">
                <a:prstTxWarp prst="textNoShape">
                  <a:avLst/>
                </a:prstTxWarp>
              </a:bodyPr>
              <a:lstStyle/>
              <a:p>
                <a:r>
                  <a:rPr lang="nl-NL" dirty="0"/>
                  <a:t>  </a:t>
                </a:r>
              </a:p>
            </p:txBody>
          </p:sp>
          <p:sp>
            <p:nvSpPr>
              <p:cNvPr id="33" name="kleur">
                <a:extLst>
                  <a:ext uri="{FF2B5EF4-FFF2-40B4-BE49-F238E27FC236}">
                    <a16:creationId xmlns:a16="http://schemas.microsoft.com/office/drawing/2014/main" id="{F7B7FE6C-4786-4E2F-BB6C-F8CFAE88D917}"/>
                  </a:ext>
                </a:extLst>
              </p:cNvPr>
              <p:cNvSpPr>
                <a:spLocks noSelect="1"/>
              </p:cNvSpPr>
              <p:nvPr userDrawn="1"/>
            </p:nvSpPr>
            <p:spPr bwMode="gray">
              <a:xfrm>
                <a:off x="6478588" y="0"/>
                <a:ext cx="5716588" cy="3432175"/>
              </a:xfrm>
              <a:custGeom>
                <a:avLst/>
                <a:gdLst>
                  <a:gd name="T0" fmla="*/ 15702 w 18004"/>
                  <a:gd name="T1" fmla="*/ 3526 h 10821"/>
                  <a:gd name="T2" fmla="*/ 17130 w 18004"/>
                  <a:gd name="T3" fmla="*/ 7977 h 10821"/>
                  <a:gd name="T4" fmla="*/ 14012 w 18004"/>
                  <a:gd name="T5" fmla="*/ 9898 h 10821"/>
                  <a:gd name="T6" fmla="*/ 13344 w 18004"/>
                  <a:gd name="T7" fmla="*/ 9492 h 10821"/>
                  <a:gd name="T8" fmla="*/ 11805 w 18004"/>
                  <a:gd name="T9" fmla="*/ 10355 h 10821"/>
                  <a:gd name="T10" fmla="*/ 7871 w 18004"/>
                  <a:gd name="T11" fmla="*/ 9880 h 10821"/>
                  <a:gd name="T12" fmla="*/ 6713 w 18004"/>
                  <a:gd name="T13" fmla="*/ 10821 h 10821"/>
                  <a:gd name="T14" fmla="*/ 3229 w 18004"/>
                  <a:gd name="T15" fmla="*/ 10660 h 10821"/>
                  <a:gd name="T16" fmla="*/ 4149 w 18004"/>
                  <a:gd name="T17" fmla="*/ 9274 h 10821"/>
                  <a:gd name="T18" fmla="*/ 1999 w 18004"/>
                  <a:gd name="T19" fmla="*/ 9999 h 10821"/>
                  <a:gd name="T20" fmla="*/ 610 w 18004"/>
                  <a:gd name="T21" fmla="*/ 10228 h 10821"/>
                  <a:gd name="T22" fmla="*/ 3619 w 18004"/>
                  <a:gd name="T23" fmla="*/ 8237 h 10821"/>
                  <a:gd name="T24" fmla="*/ 2497 w 18004"/>
                  <a:gd name="T25" fmla="*/ 7950 h 10821"/>
                  <a:gd name="T26" fmla="*/ 1374 w 18004"/>
                  <a:gd name="T27" fmla="*/ 8803 h 10821"/>
                  <a:gd name="T28" fmla="*/ 0 w 18004"/>
                  <a:gd name="T29" fmla="*/ 9237 h 10821"/>
                  <a:gd name="T30" fmla="*/ 1990 w 18004"/>
                  <a:gd name="T31" fmla="*/ 8265 h 10821"/>
                  <a:gd name="T32" fmla="*/ 1388 w 18004"/>
                  <a:gd name="T33" fmla="*/ 7195 h 10821"/>
                  <a:gd name="T34" fmla="*/ 173 w 18004"/>
                  <a:gd name="T35" fmla="*/ 7273 h 10821"/>
                  <a:gd name="T36" fmla="*/ 1274 w 18004"/>
                  <a:gd name="T37" fmla="*/ 4182 h 10821"/>
                  <a:gd name="T38" fmla="*/ 1887 w 18004"/>
                  <a:gd name="T39" fmla="*/ 1866 h 10821"/>
                  <a:gd name="T40" fmla="*/ 4186 w 18004"/>
                  <a:gd name="T41" fmla="*/ 1083 h 10821"/>
                  <a:gd name="T42" fmla="*/ 5498 w 18004"/>
                  <a:gd name="T43" fmla="*/ 637 h 10821"/>
                  <a:gd name="T44" fmla="*/ 7630 w 18004"/>
                  <a:gd name="T45" fmla="*/ 250 h 10821"/>
                  <a:gd name="T46" fmla="*/ 11442 w 18004"/>
                  <a:gd name="T47" fmla="*/ 1323 h 10821"/>
                  <a:gd name="T48" fmla="*/ 14013 w 18004"/>
                  <a:gd name="T49" fmla="*/ 0 h 10821"/>
                  <a:gd name="T50" fmla="*/ 13927 w 18004"/>
                  <a:gd name="T51" fmla="*/ 879 h 10821"/>
                  <a:gd name="T52" fmla="*/ 16196 w 18004"/>
                  <a:gd name="T53" fmla="*/ 1690 h 10821"/>
                  <a:gd name="T54" fmla="*/ 12561 w 18004"/>
                  <a:gd name="T55" fmla="*/ 2675 h 10821"/>
                  <a:gd name="T56" fmla="*/ 11691 w 18004"/>
                  <a:gd name="T57" fmla="*/ 7190 h 10821"/>
                  <a:gd name="T58" fmla="*/ 9016 w 18004"/>
                  <a:gd name="T59" fmla="*/ 7923 h 10821"/>
                  <a:gd name="T60" fmla="*/ 6161 w 18004"/>
                  <a:gd name="T61" fmla="*/ 4713 h 10821"/>
                  <a:gd name="T62" fmla="*/ 10542 w 18004"/>
                  <a:gd name="T63" fmla="*/ 2541 h 10821"/>
                  <a:gd name="T64" fmla="*/ 7811 w 18004"/>
                  <a:gd name="T65" fmla="*/ 4456 h 10821"/>
                  <a:gd name="T66" fmla="*/ 8523 w 18004"/>
                  <a:gd name="T67" fmla="*/ 2710 h 10821"/>
                  <a:gd name="T68" fmla="*/ 7802 w 18004"/>
                  <a:gd name="T69" fmla="*/ 4949 h 10821"/>
                  <a:gd name="T70" fmla="*/ 10763 w 18004"/>
                  <a:gd name="T71" fmla="*/ 2991 h 10821"/>
                  <a:gd name="T72" fmla="*/ 10676 w 18004"/>
                  <a:gd name="T73" fmla="*/ 2352 h 10821"/>
                  <a:gd name="T74" fmla="*/ 8570 w 18004"/>
                  <a:gd name="T75" fmla="*/ 2059 h 10821"/>
                  <a:gd name="T76" fmla="*/ 9352 w 18004"/>
                  <a:gd name="T77" fmla="*/ 1169 h 10821"/>
                  <a:gd name="T78" fmla="*/ 5329 w 18004"/>
                  <a:gd name="T79" fmla="*/ 2407 h 10821"/>
                  <a:gd name="T80" fmla="*/ 3627 w 18004"/>
                  <a:gd name="T81" fmla="*/ 1783 h 10821"/>
                  <a:gd name="T82" fmla="*/ 4165 w 18004"/>
                  <a:gd name="T83" fmla="*/ 3717 h 10821"/>
                  <a:gd name="T84" fmla="*/ 1284 w 18004"/>
                  <a:gd name="T85" fmla="*/ 4142 h 10821"/>
                  <a:gd name="T86" fmla="*/ 1418 w 18004"/>
                  <a:gd name="T87" fmla="*/ 6665 h 10821"/>
                  <a:gd name="T88" fmla="*/ 1465 w 18004"/>
                  <a:gd name="T89" fmla="*/ 7398 h 10821"/>
                  <a:gd name="T90" fmla="*/ 2966 w 18004"/>
                  <a:gd name="T91" fmla="*/ 6641 h 10821"/>
                  <a:gd name="T92" fmla="*/ 4792 w 18004"/>
                  <a:gd name="T93" fmla="*/ 5512 h 10821"/>
                  <a:gd name="T94" fmla="*/ 3967 w 18004"/>
                  <a:gd name="T95" fmla="*/ 8015 h 10821"/>
                  <a:gd name="T96" fmla="*/ 5929 w 18004"/>
                  <a:gd name="T97" fmla="*/ 6192 h 10821"/>
                  <a:gd name="T98" fmla="*/ 4370 w 18004"/>
                  <a:gd name="T99" fmla="*/ 7457 h 10821"/>
                  <a:gd name="T100" fmla="*/ 473 w 18004"/>
                  <a:gd name="T101" fmla="*/ 10061 h 10821"/>
                  <a:gd name="T102" fmla="*/ 602 w 18004"/>
                  <a:gd name="T103" fmla="*/ 10028 h 10821"/>
                  <a:gd name="T104" fmla="*/ 5284 w 18004"/>
                  <a:gd name="T105" fmla="*/ 9176 h 10821"/>
                  <a:gd name="T106" fmla="*/ 5362 w 18004"/>
                  <a:gd name="T107" fmla="*/ 9295 h 10821"/>
                  <a:gd name="T108" fmla="*/ 7973 w 18004"/>
                  <a:gd name="T109" fmla="*/ 8076 h 10821"/>
                  <a:gd name="T110" fmla="*/ 6625 w 18004"/>
                  <a:gd name="T111" fmla="*/ 7807 h 10821"/>
                  <a:gd name="T112" fmla="*/ 11191 w 18004"/>
                  <a:gd name="T113" fmla="*/ 8792 h 10821"/>
                  <a:gd name="T114" fmla="*/ 11701 w 18004"/>
                  <a:gd name="T115" fmla="*/ 7224 h 10821"/>
                  <a:gd name="T116" fmla="*/ 14051 w 18004"/>
                  <a:gd name="T117" fmla="*/ 5122 h 10821"/>
                  <a:gd name="T118" fmla="*/ 14607 w 18004"/>
                  <a:gd name="T119" fmla="*/ 8822 h 10821"/>
                  <a:gd name="T120" fmla="*/ 12590 w 18004"/>
                  <a:gd name="T121" fmla="*/ 2697 h 10821"/>
                  <a:gd name="T122" fmla="*/ 1265 w 18004"/>
                  <a:gd name="T123" fmla="*/ 10749 h 10821"/>
                  <a:gd name="T124" fmla="*/ 1762 w 18004"/>
                  <a:gd name="T125" fmla="*/ 8494 h 10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04" h="10821">
                    <a:moveTo>
                      <a:pt x="0" y="10819"/>
                    </a:moveTo>
                    <a:cubicBezTo>
                      <a:pt x="2" y="10821"/>
                      <a:pt x="2" y="10821"/>
                      <a:pt x="2" y="10821"/>
                    </a:cubicBezTo>
                    <a:cubicBezTo>
                      <a:pt x="0" y="10821"/>
                      <a:pt x="0" y="10821"/>
                      <a:pt x="0" y="10821"/>
                    </a:cubicBezTo>
                    <a:lnTo>
                      <a:pt x="0" y="10819"/>
                    </a:lnTo>
                    <a:close/>
                    <a:moveTo>
                      <a:pt x="1980" y="10654"/>
                    </a:moveTo>
                    <a:cubicBezTo>
                      <a:pt x="2004" y="10613"/>
                      <a:pt x="2019" y="10573"/>
                      <a:pt x="2068" y="10573"/>
                    </a:cubicBezTo>
                    <a:cubicBezTo>
                      <a:pt x="2117" y="10573"/>
                      <a:pt x="2157" y="10591"/>
                      <a:pt x="2165" y="10569"/>
                    </a:cubicBezTo>
                    <a:cubicBezTo>
                      <a:pt x="2173" y="10547"/>
                      <a:pt x="2155" y="10515"/>
                      <a:pt x="2120" y="10500"/>
                    </a:cubicBezTo>
                    <a:cubicBezTo>
                      <a:pt x="2093" y="10488"/>
                      <a:pt x="2031" y="10510"/>
                      <a:pt x="1971" y="10579"/>
                    </a:cubicBezTo>
                    <a:cubicBezTo>
                      <a:pt x="1911" y="10647"/>
                      <a:pt x="1851" y="10688"/>
                      <a:pt x="1800" y="10709"/>
                    </a:cubicBezTo>
                    <a:cubicBezTo>
                      <a:pt x="1749" y="10729"/>
                      <a:pt x="1654" y="10786"/>
                      <a:pt x="1655" y="10796"/>
                    </a:cubicBezTo>
                    <a:cubicBezTo>
                      <a:pt x="1657" y="10806"/>
                      <a:pt x="1711" y="10799"/>
                      <a:pt x="1752" y="10773"/>
                    </a:cubicBezTo>
                    <a:cubicBezTo>
                      <a:pt x="1793" y="10747"/>
                      <a:pt x="1852" y="10724"/>
                      <a:pt x="1889" y="10710"/>
                    </a:cubicBezTo>
                    <a:cubicBezTo>
                      <a:pt x="1926" y="10696"/>
                      <a:pt x="1957" y="10695"/>
                      <a:pt x="1980" y="10654"/>
                    </a:cubicBezTo>
                    <a:close/>
                    <a:moveTo>
                      <a:pt x="18004" y="673"/>
                    </a:moveTo>
                    <a:cubicBezTo>
                      <a:pt x="17970" y="697"/>
                      <a:pt x="17937" y="719"/>
                      <a:pt x="17905" y="741"/>
                    </a:cubicBezTo>
                    <a:cubicBezTo>
                      <a:pt x="17938" y="788"/>
                      <a:pt x="17972" y="841"/>
                      <a:pt x="18004" y="902"/>
                    </a:cubicBezTo>
                    <a:cubicBezTo>
                      <a:pt x="18004" y="981"/>
                      <a:pt x="18004" y="981"/>
                      <a:pt x="18004" y="981"/>
                    </a:cubicBezTo>
                    <a:cubicBezTo>
                      <a:pt x="17963" y="895"/>
                      <a:pt x="17919" y="823"/>
                      <a:pt x="17875" y="761"/>
                    </a:cubicBezTo>
                    <a:cubicBezTo>
                      <a:pt x="17428" y="1053"/>
                      <a:pt x="16715" y="1589"/>
                      <a:pt x="16205" y="1725"/>
                    </a:cubicBezTo>
                    <a:cubicBezTo>
                      <a:pt x="16172" y="1734"/>
                      <a:pt x="16139" y="1742"/>
                      <a:pt x="16105" y="1750"/>
                    </a:cubicBezTo>
                    <a:cubicBezTo>
                      <a:pt x="16107" y="1753"/>
                      <a:pt x="16107" y="1753"/>
                      <a:pt x="16107" y="1753"/>
                    </a:cubicBezTo>
                    <a:cubicBezTo>
                      <a:pt x="16110" y="1757"/>
                      <a:pt x="16110" y="1757"/>
                      <a:pt x="16110" y="1757"/>
                    </a:cubicBezTo>
                    <a:cubicBezTo>
                      <a:pt x="16087" y="1775"/>
                      <a:pt x="15755" y="2152"/>
                      <a:pt x="15705" y="2342"/>
                    </a:cubicBezTo>
                    <a:cubicBezTo>
                      <a:pt x="15674" y="2459"/>
                      <a:pt x="15642" y="2676"/>
                      <a:pt x="15642" y="2932"/>
                    </a:cubicBezTo>
                    <a:cubicBezTo>
                      <a:pt x="15642" y="3116"/>
                      <a:pt x="15658" y="3321"/>
                      <a:pt x="15702" y="3526"/>
                    </a:cubicBezTo>
                    <a:cubicBezTo>
                      <a:pt x="15753" y="3769"/>
                      <a:pt x="15830" y="4052"/>
                      <a:pt x="15894" y="4277"/>
                    </a:cubicBezTo>
                    <a:cubicBezTo>
                      <a:pt x="15926" y="4389"/>
                      <a:pt x="15955" y="4487"/>
                      <a:pt x="15976" y="4558"/>
                    </a:cubicBezTo>
                    <a:cubicBezTo>
                      <a:pt x="15986" y="4594"/>
                      <a:pt x="15995" y="4623"/>
                      <a:pt x="16001" y="4644"/>
                    </a:cubicBezTo>
                    <a:cubicBezTo>
                      <a:pt x="16003" y="4654"/>
                      <a:pt x="16006" y="4662"/>
                      <a:pt x="16007" y="4668"/>
                    </a:cubicBezTo>
                    <a:cubicBezTo>
                      <a:pt x="16008" y="4672"/>
                      <a:pt x="16009" y="4675"/>
                      <a:pt x="16009" y="4678"/>
                    </a:cubicBezTo>
                    <a:cubicBezTo>
                      <a:pt x="16097" y="4659"/>
                      <a:pt x="16097" y="4659"/>
                      <a:pt x="16097" y="4659"/>
                    </a:cubicBezTo>
                    <a:cubicBezTo>
                      <a:pt x="16098" y="4659"/>
                      <a:pt x="16569" y="4570"/>
                      <a:pt x="16967" y="4570"/>
                    </a:cubicBezTo>
                    <a:cubicBezTo>
                      <a:pt x="17006" y="4570"/>
                      <a:pt x="17044" y="4571"/>
                      <a:pt x="17080" y="4573"/>
                    </a:cubicBezTo>
                    <a:cubicBezTo>
                      <a:pt x="17425" y="4590"/>
                      <a:pt x="17807" y="4639"/>
                      <a:pt x="18004" y="4666"/>
                    </a:cubicBezTo>
                    <a:cubicBezTo>
                      <a:pt x="18004" y="4702"/>
                      <a:pt x="18004" y="4702"/>
                      <a:pt x="18004" y="4702"/>
                    </a:cubicBezTo>
                    <a:cubicBezTo>
                      <a:pt x="17809" y="4675"/>
                      <a:pt x="17424" y="4626"/>
                      <a:pt x="17078" y="4609"/>
                    </a:cubicBezTo>
                    <a:cubicBezTo>
                      <a:pt x="17042" y="4607"/>
                      <a:pt x="17005" y="4606"/>
                      <a:pt x="16967" y="4606"/>
                    </a:cubicBezTo>
                    <a:cubicBezTo>
                      <a:pt x="16771" y="4606"/>
                      <a:pt x="16555" y="4628"/>
                      <a:pt x="16388" y="4650"/>
                    </a:cubicBezTo>
                    <a:cubicBezTo>
                      <a:pt x="16222" y="4673"/>
                      <a:pt x="16105" y="4695"/>
                      <a:pt x="16104" y="4695"/>
                    </a:cubicBezTo>
                    <a:cubicBezTo>
                      <a:pt x="16027" y="4711"/>
                      <a:pt x="16027" y="4711"/>
                      <a:pt x="16027" y="4711"/>
                    </a:cubicBezTo>
                    <a:cubicBezTo>
                      <a:pt x="16045" y="4765"/>
                      <a:pt x="16076" y="4881"/>
                      <a:pt x="16076" y="5035"/>
                    </a:cubicBezTo>
                    <a:cubicBezTo>
                      <a:pt x="16076" y="5113"/>
                      <a:pt x="16068" y="5202"/>
                      <a:pt x="16046" y="5296"/>
                    </a:cubicBezTo>
                    <a:cubicBezTo>
                      <a:pt x="15962" y="5650"/>
                      <a:pt x="15694" y="5868"/>
                      <a:pt x="15600" y="6100"/>
                    </a:cubicBezTo>
                    <a:cubicBezTo>
                      <a:pt x="15525" y="6284"/>
                      <a:pt x="15465" y="6402"/>
                      <a:pt x="15465" y="6641"/>
                    </a:cubicBezTo>
                    <a:cubicBezTo>
                      <a:pt x="15465" y="6715"/>
                      <a:pt x="15471" y="6800"/>
                      <a:pt x="15484" y="6902"/>
                    </a:cubicBezTo>
                    <a:cubicBezTo>
                      <a:pt x="15530" y="7267"/>
                      <a:pt x="15626" y="8033"/>
                      <a:pt x="15655" y="8267"/>
                    </a:cubicBezTo>
                    <a:cubicBezTo>
                      <a:pt x="15655" y="8267"/>
                      <a:pt x="15655" y="8267"/>
                      <a:pt x="15655" y="8267"/>
                    </a:cubicBezTo>
                    <a:cubicBezTo>
                      <a:pt x="15655" y="8267"/>
                      <a:pt x="15658" y="8279"/>
                      <a:pt x="15660" y="8287"/>
                    </a:cubicBezTo>
                    <a:cubicBezTo>
                      <a:pt x="15678" y="8279"/>
                      <a:pt x="15691" y="8273"/>
                      <a:pt x="15691" y="8273"/>
                    </a:cubicBezTo>
                    <a:cubicBezTo>
                      <a:pt x="15697" y="8271"/>
                      <a:pt x="15697" y="8271"/>
                      <a:pt x="15697" y="8271"/>
                    </a:cubicBezTo>
                    <a:cubicBezTo>
                      <a:pt x="17130" y="7977"/>
                      <a:pt x="17130" y="7977"/>
                      <a:pt x="17130" y="7977"/>
                    </a:cubicBezTo>
                    <a:cubicBezTo>
                      <a:pt x="17133" y="7977"/>
                      <a:pt x="17133" y="7977"/>
                      <a:pt x="17133" y="7977"/>
                    </a:cubicBezTo>
                    <a:cubicBezTo>
                      <a:pt x="17133" y="7977"/>
                      <a:pt x="17380" y="7948"/>
                      <a:pt x="17628" y="7918"/>
                    </a:cubicBezTo>
                    <a:cubicBezTo>
                      <a:pt x="17753" y="7904"/>
                      <a:pt x="17877" y="7889"/>
                      <a:pt x="17971" y="7878"/>
                    </a:cubicBezTo>
                    <a:cubicBezTo>
                      <a:pt x="17983" y="7877"/>
                      <a:pt x="17994" y="7876"/>
                      <a:pt x="18004" y="7874"/>
                    </a:cubicBezTo>
                    <a:cubicBezTo>
                      <a:pt x="18004" y="7990"/>
                      <a:pt x="18004" y="7990"/>
                      <a:pt x="18004" y="7990"/>
                    </a:cubicBezTo>
                    <a:cubicBezTo>
                      <a:pt x="17904" y="8002"/>
                      <a:pt x="17763" y="8018"/>
                      <a:pt x="17624" y="8034"/>
                    </a:cubicBezTo>
                    <a:cubicBezTo>
                      <a:pt x="17396" y="8061"/>
                      <a:pt x="17174" y="8088"/>
                      <a:pt x="17148" y="8091"/>
                    </a:cubicBezTo>
                    <a:cubicBezTo>
                      <a:pt x="15731" y="8381"/>
                      <a:pt x="15731" y="8381"/>
                      <a:pt x="15731" y="8381"/>
                    </a:cubicBezTo>
                    <a:cubicBezTo>
                      <a:pt x="15707" y="8391"/>
                      <a:pt x="15606" y="8434"/>
                      <a:pt x="15581" y="8445"/>
                    </a:cubicBezTo>
                    <a:cubicBezTo>
                      <a:pt x="15581" y="8445"/>
                      <a:pt x="15581" y="8445"/>
                      <a:pt x="15581" y="8445"/>
                    </a:cubicBezTo>
                    <a:cubicBezTo>
                      <a:pt x="15573" y="8449"/>
                      <a:pt x="15523" y="8478"/>
                      <a:pt x="15453" y="8517"/>
                    </a:cubicBezTo>
                    <a:cubicBezTo>
                      <a:pt x="15347" y="8576"/>
                      <a:pt x="15193" y="8662"/>
                      <a:pt x="15041" y="8742"/>
                    </a:cubicBezTo>
                    <a:cubicBezTo>
                      <a:pt x="14890" y="8821"/>
                      <a:pt x="14743" y="8894"/>
                      <a:pt x="14646" y="8929"/>
                    </a:cubicBezTo>
                    <a:cubicBezTo>
                      <a:pt x="14522" y="8974"/>
                      <a:pt x="14406" y="9014"/>
                      <a:pt x="14318" y="9042"/>
                    </a:cubicBezTo>
                    <a:cubicBezTo>
                      <a:pt x="14274" y="9056"/>
                      <a:pt x="14237" y="9067"/>
                      <a:pt x="14210" y="9075"/>
                    </a:cubicBezTo>
                    <a:cubicBezTo>
                      <a:pt x="14197" y="9079"/>
                      <a:pt x="14185" y="9082"/>
                      <a:pt x="14176" y="9085"/>
                    </a:cubicBezTo>
                    <a:cubicBezTo>
                      <a:pt x="14172" y="9086"/>
                      <a:pt x="14168" y="9087"/>
                      <a:pt x="14164" y="9088"/>
                    </a:cubicBezTo>
                    <a:cubicBezTo>
                      <a:pt x="14161" y="9088"/>
                      <a:pt x="14159" y="9089"/>
                      <a:pt x="14154" y="9089"/>
                    </a:cubicBezTo>
                    <a:cubicBezTo>
                      <a:pt x="14142" y="9091"/>
                      <a:pt x="14087" y="9104"/>
                      <a:pt x="14017" y="9121"/>
                    </a:cubicBezTo>
                    <a:cubicBezTo>
                      <a:pt x="13845" y="9161"/>
                      <a:pt x="13566" y="9229"/>
                      <a:pt x="13459" y="9255"/>
                    </a:cubicBezTo>
                    <a:cubicBezTo>
                      <a:pt x="13465" y="9292"/>
                      <a:pt x="13468" y="9330"/>
                      <a:pt x="13468" y="9366"/>
                    </a:cubicBezTo>
                    <a:cubicBezTo>
                      <a:pt x="13468" y="9426"/>
                      <a:pt x="13462" y="9482"/>
                      <a:pt x="13455" y="9523"/>
                    </a:cubicBezTo>
                    <a:cubicBezTo>
                      <a:pt x="13452" y="9543"/>
                      <a:pt x="13449" y="9560"/>
                      <a:pt x="13445" y="9573"/>
                    </a:cubicBezTo>
                    <a:cubicBezTo>
                      <a:pt x="13476" y="9619"/>
                      <a:pt x="13533" y="9676"/>
                      <a:pt x="13596" y="9725"/>
                    </a:cubicBezTo>
                    <a:cubicBezTo>
                      <a:pt x="13668" y="9782"/>
                      <a:pt x="13750" y="9829"/>
                      <a:pt x="13797" y="9845"/>
                    </a:cubicBezTo>
                    <a:cubicBezTo>
                      <a:pt x="13849" y="9863"/>
                      <a:pt x="13927" y="9877"/>
                      <a:pt x="14012" y="9898"/>
                    </a:cubicBezTo>
                    <a:cubicBezTo>
                      <a:pt x="14097" y="9919"/>
                      <a:pt x="14189" y="9948"/>
                      <a:pt x="14273" y="10000"/>
                    </a:cubicBezTo>
                    <a:cubicBezTo>
                      <a:pt x="14422" y="10096"/>
                      <a:pt x="14503" y="10241"/>
                      <a:pt x="14521" y="10275"/>
                    </a:cubicBezTo>
                    <a:cubicBezTo>
                      <a:pt x="14540" y="10298"/>
                      <a:pt x="14631" y="10408"/>
                      <a:pt x="14730" y="10525"/>
                    </a:cubicBezTo>
                    <a:cubicBezTo>
                      <a:pt x="14785" y="10590"/>
                      <a:pt x="14842" y="10658"/>
                      <a:pt x="14889" y="10712"/>
                    </a:cubicBezTo>
                    <a:cubicBezTo>
                      <a:pt x="14936" y="10767"/>
                      <a:pt x="14976" y="10810"/>
                      <a:pt x="14988" y="10820"/>
                    </a:cubicBezTo>
                    <a:cubicBezTo>
                      <a:pt x="14988" y="10821"/>
                      <a:pt x="14988" y="10821"/>
                      <a:pt x="14988" y="10821"/>
                    </a:cubicBezTo>
                    <a:cubicBezTo>
                      <a:pt x="14832" y="10821"/>
                      <a:pt x="14832" y="10821"/>
                      <a:pt x="14832" y="10821"/>
                    </a:cubicBezTo>
                    <a:cubicBezTo>
                      <a:pt x="14823" y="10811"/>
                      <a:pt x="14813" y="10800"/>
                      <a:pt x="14803" y="10788"/>
                    </a:cubicBezTo>
                    <a:cubicBezTo>
                      <a:pt x="14659" y="10622"/>
                      <a:pt x="14429" y="10344"/>
                      <a:pt x="14429" y="10343"/>
                    </a:cubicBezTo>
                    <a:cubicBezTo>
                      <a:pt x="14424" y="10338"/>
                      <a:pt x="14424" y="10338"/>
                      <a:pt x="14424" y="10338"/>
                    </a:cubicBezTo>
                    <a:cubicBezTo>
                      <a:pt x="14421" y="10332"/>
                      <a:pt x="14421" y="10332"/>
                      <a:pt x="14421" y="10332"/>
                    </a:cubicBezTo>
                    <a:cubicBezTo>
                      <a:pt x="14421" y="10332"/>
                      <a:pt x="14421" y="10331"/>
                      <a:pt x="14419" y="10327"/>
                    </a:cubicBezTo>
                    <a:cubicBezTo>
                      <a:pt x="14404" y="10299"/>
                      <a:pt x="14329" y="10171"/>
                      <a:pt x="14212" y="10097"/>
                    </a:cubicBezTo>
                    <a:cubicBezTo>
                      <a:pt x="14145" y="10055"/>
                      <a:pt x="14064" y="10029"/>
                      <a:pt x="13984" y="10009"/>
                    </a:cubicBezTo>
                    <a:cubicBezTo>
                      <a:pt x="13934" y="9996"/>
                      <a:pt x="13885" y="9986"/>
                      <a:pt x="13839" y="9975"/>
                    </a:cubicBezTo>
                    <a:cubicBezTo>
                      <a:pt x="12807" y="10821"/>
                      <a:pt x="12807" y="10821"/>
                      <a:pt x="12807" y="10821"/>
                    </a:cubicBezTo>
                    <a:cubicBezTo>
                      <a:pt x="12750" y="10821"/>
                      <a:pt x="12750" y="10821"/>
                      <a:pt x="12750" y="10821"/>
                    </a:cubicBezTo>
                    <a:cubicBezTo>
                      <a:pt x="13777" y="9980"/>
                      <a:pt x="13777" y="9980"/>
                      <a:pt x="13777" y="9980"/>
                    </a:cubicBezTo>
                    <a:cubicBezTo>
                      <a:pt x="13778" y="9975"/>
                      <a:pt x="13781" y="9967"/>
                      <a:pt x="13782" y="9960"/>
                    </a:cubicBezTo>
                    <a:cubicBezTo>
                      <a:pt x="13775" y="9958"/>
                      <a:pt x="13767" y="9956"/>
                      <a:pt x="13760" y="9953"/>
                    </a:cubicBezTo>
                    <a:cubicBezTo>
                      <a:pt x="13691" y="9929"/>
                      <a:pt x="13606" y="9878"/>
                      <a:pt x="13526" y="9815"/>
                    </a:cubicBezTo>
                    <a:cubicBezTo>
                      <a:pt x="13445" y="9752"/>
                      <a:pt x="13372" y="9680"/>
                      <a:pt x="13332" y="9606"/>
                    </a:cubicBezTo>
                    <a:cubicBezTo>
                      <a:pt x="13330" y="9581"/>
                      <a:pt x="13330" y="9581"/>
                      <a:pt x="13330" y="9581"/>
                    </a:cubicBezTo>
                    <a:cubicBezTo>
                      <a:pt x="13331" y="9555"/>
                      <a:pt x="13331" y="9555"/>
                      <a:pt x="13331" y="9555"/>
                    </a:cubicBezTo>
                    <a:cubicBezTo>
                      <a:pt x="13331" y="9555"/>
                      <a:pt x="13331" y="9555"/>
                      <a:pt x="13332" y="9554"/>
                    </a:cubicBezTo>
                    <a:cubicBezTo>
                      <a:pt x="13333" y="9549"/>
                      <a:pt x="13339" y="9523"/>
                      <a:pt x="13344" y="9492"/>
                    </a:cubicBezTo>
                    <a:cubicBezTo>
                      <a:pt x="13349" y="9457"/>
                      <a:pt x="13353" y="9412"/>
                      <a:pt x="13353" y="9366"/>
                    </a:cubicBezTo>
                    <a:cubicBezTo>
                      <a:pt x="13353" y="9315"/>
                      <a:pt x="13347" y="9262"/>
                      <a:pt x="13334" y="9222"/>
                    </a:cubicBezTo>
                    <a:cubicBezTo>
                      <a:pt x="13313" y="9160"/>
                      <a:pt x="13273" y="9106"/>
                      <a:pt x="13201" y="9056"/>
                    </a:cubicBezTo>
                    <a:cubicBezTo>
                      <a:pt x="13129" y="9006"/>
                      <a:pt x="13024" y="8962"/>
                      <a:pt x="12881" y="8928"/>
                    </a:cubicBezTo>
                    <a:cubicBezTo>
                      <a:pt x="12592" y="8859"/>
                      <a:pt x="12333" y="8850"/>
                      <a:pt x="12124" y="8841"/>
                    </a:cubicBezTo>
                    <a:cubicBezTo>
                      <a:pt x="12019" y="8836"/>
                      <a:pt x="11790" y="8822"/>
                      <a:pt x="11587" y="8808"/>
                    </a:cubicBezTo>
                    <a:cubicBezTo>
                      <a:pt x="11485" y="8802"/>
                      <a:pt x="11390" y="8795"/>
                      <a:pt x="11321" y="8790"/>
                    </a:cubicBezTo>
                    <a:cubicBezTo>
                      <a:pt x="11286" y="8788"/>
                      <a:pt x="11257" y="8786"/>
                      <a:pt x="11237" y="8785"/>
                    </a:cubicBezTo>
                    <a:cubicBezTo>
                      <a:pt x="11237" y="8784"/>
                      <a:pt x="11236" y="8784"/>
                      <a:pt x="11236" y="8784"/>
                    </a:cubicBezTo>
                    <a:cubicBezTo>
                      <a:pt x="11226" y="8806"/>
                      <a:pt x="11226" y="8806"/>
                      <a:pt x="11226" y="8806"/>
                    </a:cubicBezTo>
                    <a:cubicBezTo>
                      <a:pt x="11220" y="8894"/>
                      <a:pt x="11194" y="9078"/>
                      <a:pt x="11080" y="9199"/>
                    </a:cubicBezTo>
                    <a:cubicBezTo>
                      <a:pt x="10965" y="9321"/>
                      <a:pt x="10775" y="9493"/>
                      <a:pt x="10696" y="9563"/>
                    </a:cubicBezTo>
                    <a:cubicBezTo>
                      <a:pt x="10760" y="9606"/>
                      <a:pt x="10919" y="9712"/>
                      <a:pt x="11073" y="9812"/>
                    </a:cubicBezTo>
                    <a:cubicBezTo>
                      <a:pt x="11274" y="9944"/>
                      <a:pt x="11397" y="10050"/>
                      <a:pt x="11397" y="10050"/>
                    </a:cubicBezTo>
                    <a:cubicBezTo>
                      <a:pt x="11399" y="10052"/>
                      <a:pt x="11399" y="10052"/>
                      <a:pt x="11399" y="10052"/>
                    </a:cubicBezTo>
                    <a:cubicBezTo>
                      <a:pt x="11681" y="10407"/>
                      <a:pt x="11681" y="10407"/>
                      <a:pt x="11681" y="10407"/>
                    </a:cubicBezTo>
                    <a:cubicBezTo>
                      <a:pt x="11692" y="10401"/>
                      <a:pt x="11721" y="10381"/>
                      <a:pt x="11782" y="10328"/>
                    </a:cubicBezTo>
                    <a:cubicBezTo>
                      <a:pt x="11825" y="10290"/>
                      <a:pt x="11871" y="10278"/>
                      <a:pt x="11908" y="10278"/>
                    </a:cubicBezTo>
                    <a:cubicBezTo>
                      <a:pt x="11961" y="10278"/>
                      <a:pt x="11997" y="10301"/>
                      <a:pt x="11999" y="10302"/>
                    </a:cubicBezTo>
                    <a:cubicBezTo>
                      <a:pt x="12000" y="10303"/>
                      <a:pt x="12000" y="10303"/>
                      <a:pt x="12000" y="10303"/>
                    </a:cubicBezTo>
                    <a:cubicBezTo>
                      <a:pt x="12615" y="10821"/>
                      <a:pt x="12615" y="10821"/>
                      <a:pt x="12615" y="10821"/>
                    </a:cubicBezTo>
                    <a:cubicBezTo>
                      <a:pt x="12559" y="10821"/>
                      <a:pt x="12559" y="10821"/>
                      <a:pt x="12559" y="10821"/>
                    </a:cubicBezTo>
                    <a:cubicBezTo>
                      <a:pt x="11979" y="10332"/>
                      <a:pt x="11979" y="10332"/>
                      <a:pt x="11979" y="10332"/>
                    </a:cubicBezTo>
                    <a:cubicBezTo>
                      <a:pt x="11978" y="10331"/>
                      <a:pt x="11977" y="10331"/>
                      <a:pt x="11975" y="10330"/>
                    </a:cubicBezTo>
                    <a:cubicBezTo>
                      <a:pt x="11965" y="10325"/>
                      <a:pt x="11940" y="10314"/>
                      <a:pt x="11908" y="10314"/>
                    </a:cubicBezTo>
                    <a:cubicBezTo>
                      <a:pt x="11878" y="10314"/>
                      <a:pt x="11843" y="10323"/>
                      <a:pt x="11805" y="10355"/>
                    </a:cubicBezTo>
                    <a:cubicBezTo>
                      <a:pt x="11756" y="10398"/>
                      <a:pt x="11727" y="10420"/>
                      <a:pt x="11710" y="10432"/>
                    </a:cubicBezTo>
                    <a:cubicBezTo>
                      <a:pt x="11707" y="10433"/>
                      <a:pt x="11706" y="10434"/>
                      <a:pt x="11704" y="10435"/>
                    </a:cubicBezTo>
                    <a:cubicBezTo>
                      <a:pt x="12010" y="10821"/>
                      <a:pt x="12010" y="10821"/>
                      <a:pt x="12010" y="10821"/>
                    </a:cubicBezTo>
                    <a:cubicBezTo>
                      <a:pt x="11964" y="10821"/>
                      <a:pt x="11964" y="10821"/>
                      <a:pt x="11964" y="10821"/>
                    </a:cubicBezTo>
                    <a:cubicBezTo>
                      <a:pt x="11372" y="10077"/>
                      <a:pt x="11372" y="10077"/>
                      <a:pt x="11372" y="10077"/>
                    </a:cubicBezTo>
                    <a:cubicBezTo>
                      <a:pt x="11366" y="10071"/>
                      <a:pt x="11337" y="10047"/>
                      <a:pt x="11288" y="10009"/>
                    </a:cubicBezTo>
                    <a:cubicBezTo>
                      <a:pt x="11233" y="9966"/>
                      <a:pt x="11153" y="9908"/>
                      <a:pt x="11053" y="9843"/>
                    </a:cubicBezTo>
                    <a:cubicBezTo>
                      <a:pt x="10892" y="9737"/>
                      <a:pt x="10727" y="9627"/>
                      <a:pt x="10668" y="9588"/>
                    </a:cubicBezTo>
                    <a:cubicBezTo>
                      <a:pt x="10665" y="9590"/>
                      <a:pt x="10663" y="9592"/>
                      <a:pt x="10662" y="9594"/>
                    </a:cubicBezTo>
                    <a:cubicBezTo>
                      <a:pt x="10082" y="10821"/>
                      <a:pt x="10082" y="10821"/>
                      <a:pt x="10082" y="10821"/>
                    </a:cubicBezTo>
                    <a:cubicBezTo>
                      <a:pt x="10042" y="10821"/>
                      <a:pt x="10042" y="10821"/>
                      <a:pt x="10042" y="10821"/>
                    </a:cubicBezTo>
                    <a:cubicBezTo>
                      <a:pt x="10632" y="9572"/>
                      <a:pt x="10632" y="9572"/>
                      <a:pt x="10632" y="9572"/>
                    </a:cubicBezTo>
                    <a:cubicBezTo>
                      <a:pt x="10635" y="9569"/>
                      <a:pt x="10635" y="9569"/>
                      <a:pt x="10635" y="9569"/>
                    </a:cubicBezTo>
                    <a:cubicBezTo>
                      <a:pt x="10635" y="9569"/>
                      <a:pt x="10635" y="9569"/>
                      <a:pt x="10635" y="9569"/>
                    </a:cubicBezTo>
                    <a:cubicBezTo>
                      <a:pt x="10603" y="9553"/>
                      <a:pt x="10506" y="9509"/>
                      <a:pt x="10397" y="9458"/>
                    </a:cubicBezTo>
                    <a:cubicBezTo>
                      <a:pt x="10261" y="9395"/>
                      <a:pt x="10105" y="9324"/>
                      <a:pt x="10024" y="9289"/>
                    </a:cubicBezTo>
                    <a:cubicBezTo>
                      <a:pt x="9864" y="9221"/>
                      <a:pt x="9466" y="9005"/>
                      <a:pt x="9296" y="8914"/>
                    </a:cubicBezTo>
                    <a:cubicBezTo>
                      <a:pt x="8596" y="10350"/>
                      <a:pt x="8596" y="10350"/>
                      <a:pt x="8596" y="10350"/>
                    </a:cubicBezTo>
                    <a:cubicBezTo>
                      <a:pt x="8596" y="10357"/>
                      <a:pt x="8596" y="10357"/>
                      <a:pt x="8596" y="10357"/>
                    </a:cubicBezTo>
                    <a:cubicBezTo>
                      <a:pt x="8595" y="10357"/>
                      <a:pt x="8594" y="10357"/>
                      <a:pt x="8593" y="10357"/>
                    </a:cubicBezTo>
                    <a:cubicBezTo>
                      <a:pt x="8367" y="10821"/>
                      <a:pt x="8367" y="10821"/>
                      <a:pt x="8367" y="10821"/>
                    </a:cubicBezTo>
                    <a:cubicBezTo>
                      <a:pt x="8327" y="10821"/>
                      <a:pt x="8327" y="10821"/>
                      <a:pt x="8327" y="10821"/>
                    </a:cubicBezTo>
                    <a:cubicBezTo>
                      <a:pt x="8561" y="10341"/>
                      <a:pt x="8561" y="10341"/>
                      <a:pt x="8561" y="10341"/>
                    </a:cubicBezTo>
                    <a:cubicBezTo>
                      <a:pt x="8539" y="10324"/>
                      <a:pt x="8539" y="10324"/>
                      <a:pt x="8539" y="10324"/>
                    </a:cubicBezTo>
                    <a:cubicBezTo>
                      <a:pt x="8518" y="10310"/>
                      <a:pt x="8492" y="10293"/>
                      <a:pt x="8461" y="10273"/>
                    </a:cubicBezTo>
                    <a:cubicBezTo>
                      <a:pt x="8273" y="10150"/>
                      <a:pt x="7940" y="9926"/>
                      <a:pt x="7871" y="9880"/>
                    </a:cubicBezTo>
                    <a:cubicBezTo>
                      <a:pt x="7867" y="9891"/>
                      <a:pt x="7861" y="9909"/>
                      <a:pt x="7854" y="9931"/>
                    </a:cubicBezTo>
                    <a:cubicBezTo>
                      <a:pt x="7813" y="10063"/>
                      <a:pt x="7725" y="10367"/>
                      <a:pt x="7649" y="10637"/>
                    </a:cubicBezTo>
                    <a:cubicBezTo>
                      <a:pt x="7631" y="10701"/>
                      <a:pt x="7613" y="10763"/>
                      <a:pt x="7597" y="10821"/>
                    </a:cubicBezTo>
                    <a:cubicBezTo>
                      <a:pt x="7570" y="10821"/>
                      <a:pt x="7570" y="10821"/>
                      <a:pt x="7570" y="10821"/>
                    </a:cubicBezTo>
                    <a:cubicBezTo>
                      <a:pt x="7597" y="10723"/>
                      <a:pt x="7629" y="10610"/>
                      <a:pt x="7661" y="10498"/>
                    </a:cubicBezTo>
                    <a:cubicBezTo>
                      <a:pt x="7707" y="10337"/>
                      <a:pt x="7753" y="10177"/>
                      <a:pt x="7789" y="10057"/>
                    </a:cubicBezTo>
                    <a:cubicBezTo>
                      <a:pt x="7806" y="9997"/>
                      <a:pt x="7822" y="9947"/>
                      <a:pt x="7833" y="9911"/>
                    </a:cubicBezTo>
                    <a:cubicBezTo>
                      <a:pt x="7838" y="9894"/>
                      <a:pt x="7843" y="9880"/>
                      <a:pt x="7847" y="9870"/>
                    </a:cubicBezTo>
                    <a:cubicBezTo>
                      <a:pt x="7848" y="9865"/>
                      <a:pt x="7850" y="9861"/>
                      <a:pt x="7851" y="9858"/>
                    </a:cubicBezTo>
                    <a:cubicBezTo>
                      <a:pt x="7852" y="9857"/>
                      <a:pt x="7853" y="9856"/>
                      <a:pt x="7853" y="9854"/>
                    </a:cubicBezTo>
                    <a:cubicBezTo>
                      <a:pt x="7855" y="9853"/>
                      <a:pt x="7854" y="9851"/>
                      <a:pt x="7858" y="9849"/>
                    </a:cubicBezTo>
                    <a:cubicBezTo>
                      <a:pt x="7870" y="9836"/>
                      <a:pt x="7930" y="9747"/>
                      <a:pt x="8011" y="9623"/>
                    </a:cubicBezTo>
                    <a:cubicBezTo>
                      <a:pt x="8134" y="9435"/>
                      <a:pt x="8308" y="9166"/>
                      <a:pt x="8451" y="8944"/>
                    </a:cubicBezTo>
                    <a:cubicBezTo>
                      <a:pt x="8569" y="8761"/>
                      <a:pt x="8666" y="8610"/>
                      <a:pt x="8696" y="8562"/>
                    </a:cubicBezTo>
                    <a:cubicBezTo>
                      <a:pt x="8695" y="8554"/>
                      <a:pt x="8695" y="8554"/>
                      <a:pt x="8695" y="8554"/>
                    </a:cubicBezTo>
                    <a:cubicBezTo>
                      <a:pt x="8688" y="8549"/>
                      <a:pt x="8681" y="8545"/>
                      <a:pt x="8675" y="8541"/>
                    </a:cubicBezTo>
                    <a:cubicBezTo>
                      <a:pt x="8581" y="8485"/>
                      <a:pt x="8164" y="8174"/>
                      <a:pt x="8083" y="8114"/>
                    </a:cubicBezTo>
                    <a:cubicBezTo>
                      <a:pt x="8067" y="8115"/>
                      <a:pt x="8058" y="8116"/>
                      <a:pt x="8058" y="8116"/>
                    </a:cubicBezTo>
                    <a:cubicBezTo>
                      <a:pt x="8057" y="8116"/>
                      <a:pt x="8057" y="8116"/>
                      <a:pt x="8057" y="8116"/>
                    </a:cubicBezTo>
                    <a:cubicBezTo>
                      <a:pt x="8047" y="8130"/>
                      <a:pt x="8047" y="8130"/>
                      <a:pt x="8047" y="8130"/>
                    </a:cubicBezTo>
                    <a:cubicBezTo>
                      <a:pt x="7241" y="9717"/>
                      <a:pt x="7241" y="9717"/>
                      <a:pt x="7241" y="9717"/>
                    </a:cubicBezTo>
                    <a:cubicBezTo>
                      <a:pt x="6842" y="9993"/>
                      <a:pt x="6842" y="9993"/>
                      <a:pt x="6842" y="9993"/>
                    </a:cubicBezTo>
                    <a:cubicBezTo>
                      <a:pt x="6840" y="9990"/>
                      <a:pt x="6840" y="9990"/>
                      <a:pt x="6840" y="9990"/>
                    </a:cubicBezTo>
                    <a:cubicBezTo>
                      <a:pt x="6837" y="9998"/>
                      <a:pt x="6837" y="9998"/>
                      <a:pt x="6837" y="9998"/>
                    </a:cubicBezTo>
                    <a:cubicBezTo>
                      <a:pt x="6750" y="10821"/>
                      <a:pt x="6750" y="10821"/>
                      <a:pt x="6750" y="10821"/>
                    </a:cubicBezTo>
                    <a:cubicBezTo>
                      <a:pt x="6713" y="10821"/>
                      <a:pt x="6713" y="10821"/>
                      <a:pt x="6713" y="10821"/>
                    </a:cubicBezTo>
                    <a:cubicBezTo>
                      <a:pt x="6802" y="9991"/>
                      <a:pt x="6802" y="9991"/>
                      <a:pt x="6802" y="9991"/>
                    </a:cubicBezTo>
                    <a:cubicBezTo>
                      <a:pt x="7479" y="7873"/>
                      <a:pt x="7479" y="7873"/>
                      <a:pt x="7479" y="7873"/>
                    </a:cubicBezTo>
                    <a:cubicBezTo>
                      <a:pt x="7480" y="7870"/>
                      <a:pt x="7481" y="7860"/>
                      <a:pt x="7482" y="7853"/>
                    </a:cubicBezTo>
                    <a:cubicBezTo>
                      <a:pt x="7385" y="7832"/>
                      <a:pt x="7294" y="7823"/>
                      <a:pt x="7211" y="7823"/>
                    </a:cubicBezTo>
                    <a:cubicBezTo>
                      <a:pt x="7146" y="7823"/>
                      <a:pt x="7086" y="7828"/>
                      <a:pt x="7030" y="7836"/>
                    </a:cubicBezTo>
                    <a:cubicBezTo>
                      <a:pt x="7024" y="7846"/>
                      <a:pt x="7024" y="7846"/>
                      <a:pt x="7024" y="7846"/>
                    </a:cubicBezTo>
                    <a:cubicBezTo>
                      <a:pt x="6944" y="8087"/>
                      <a:pt x="6299" y="9986"/>
                      <a:pt x="6282" y="10036"/>
                    </a:cubicBezTo>
                    <a:cubicBezTo>
                      <a:pt x="6129" y="10821"/>
                      <a:pt x="6129" y="10821"/>
                      <a:pt x="6129" y="10821"/>
                    </a:cubicBezTo>
                    <a:cubicBezTo>
                      <a:pt x="6092" y="10821"/>
                      <a:pt x="6092" y="10821"/>
                      <a:pt x="6092" y="10821"/>
                    </a:cubicBezTo>
                    <a:cubicBezTo>
                      <a:pt x="6247" y="10027"/>
                      <a:pt x="6247" y="10027"/>
                      <a:pt x="6247" y="10027"/>
                    </a:cubicBezTo>
                    <a:cubicBezTo>
                      <a:pt x="6247" y="10026"/>
                      <a:pt x="6247" y="10026"/>
                      <a:pt x="6247" y="10026"/>
                    </a:cubicBezTo>
                    <a:cubicBezTo>
                      <a:pt x="6247" y="10026"/>
                      <a:pt x="6247" y="10025"/>
                      <a:pt x="6247" y="10025"/>
                    </a:cubicBezTo>
                    <a:cubicBezTo>
                      <a:pt x="6228" y="10026"/>
                      <a:pt x="6137" y="10027"/>
                      <a:pt x="6000" y="10035"/>
                    </a:cubicBezTo>
                    <a:cubicBezTo>
                      <a:pt x="5941" y="10821"/>
                      <a:pt x="5941" y="10821"/>
                      <a:pt x="5941" y="10821"/>
                    </a:cubicBezTo>
                    <a:cubicBezTo>
                      <a:pt x="5904" y="10821"/>
                      <a:pt x="5904" y="10821"/>
                      <a:pt x="5904" y="10821"/>
                    </a:cubicBezTo>
                    <a:cubicBezTo>
                      <a:pt x="5964" y="10037"/>
                      <a:pt x="5964" y="10037"/>
                      <a:pt x="5964" y="10037"/>
                    </a:cubicBezTo>
                    <a:cubicBezTo>
                      <a:pt x="5911" y="10040"/>
                      <a:pt x="5854" y="10044"/>
                      <a:pt x="5792" y="10049"/>
                    </a:cubicBezTo>
                    <a:cubicBezTo>
                      <a:pt x="5558" y="10067"/>
                      <a:pt x="5263" y="10100"/>
                      <a:pt x="4977" y="10157"/>
                    </a:cubicBezTo>
                    <a:cubicBezTo>
                      <a:pt x="4981" y="10190"/>
                      <a:pt x="5015" y="10487"/>
                      <a:pt x="5052" y="10797"/>
                    </a:cubicBezTo>
                    <a:cubicBezTo>
                      <a:pt x="5052" y="10805"/>
                      <a:pt x="5053" y="10813"/>
                      <a:pt x="5054" y="10821"/>
                    </a:cubicBezTo>
                    <a:cubicBezTo>
                      <a:pt x="5018" y="10821"/>
                      <a:pt x="5018" y="10821"/>
                      <a:pt x="5018" y="10821"/>
                    </a:cubicBezTo>
                    <a:cubicBezTo>
                      <a:pt x="4981" y="10512"/>
                      <a:pt x="4947" y="10210"/>
                      <a:pt x="4941" y="10165"/>
                    </a:cubicBezTo>
                    <a:cubicBezTo>
                      <a:pt x="4907" y="10172"/>
                      <a:pt x="4873" y="10179"/>
                      <a:pt x="4840" y="10187"/>
                    </a:cubicBezTo>
                    <a:cubicBezTo>
                      <a:pt x="4513" y="10263"/>
                      <a:pt x="4099" y="10384"/>
                      <a:pt x="3767" y="10487"/>
                    </a:cubicBezTo>
                    <a:cubicBezTo>
                      <a:pt x="3601" y="10538"/>
                      <a:pt x="3456" y="10585"/>
                      <a:pt x="3352" y="10619"/>
                    </a:cubicBezTo>
                    <a:cubicBezTo>
                      <a:pt x="3300" y="10636"/>
                      <a:pt x="3258" y="10650"/>
                      <a:pt x="3229" y="10660"/>
                    </a:cubicBezTo>
                    <a:cubicBezTo>
                      <a:pt x="3219" y="10664"/>
                      <a:pt x="3211" y="10667"/>
                      <a:pt x="3204" y="10669"/>
                    </a:cubicBezTo>
                    <a:cubicBezTo>
                      <a:pt x="3319" y="10821"/>
                      <a:pt x="3319" y="10821"/>
                      <a:pt x="3319" y="10821"/>
                    </a:cubicBezTo>
                    <a:cubicBezTo>
                      <a:pt x="3270" y="10821"/>
                      <a:pt x="3270" y="10821"/>
                      <a:pt x="3270" y="10821"/>
                    </a:cubicBezTo>
                    <a:cubicBezTo>
                      <a:pt x="3166" y="10686"/>
                      <a:pt x="3166" y="10686"/>
                      <a:pt x="3166" y="10686"/>
                    </a:cubicBezTo>
                    <a:cubicBezTo>
                      <a:pt x="3120" y="10704"/>
                      <a:pt x="3012" y="10748"/>
                      <a:pt x="2920" y="10821"/>
                    </a:cubicBezTo>
                    <a:cubicBezTo>
                      <a:pt x="2751" y="10821"/>
                      <a:pt x="2751" y="10821"/>
                      <a:pt x="2751" y="10821"/>
                    </a:cubicBezTo>
                    <a:cubicBezTo>
                      <a:pt x="2749" y="10821"/>
                      <a:pt x="2748" y="10821"/>
                      <a:pt x="2747" y="10820"/>
                    </a:cubicBezTo>
                    <a:cubicBezTo>
                      <a:pt x="2674" y="10807"/>
                      <a:pt x="2571" y="10793"/>
                      <a:pt x="2453" y="10786"/>
                    </a:cubicBezTo>
                    <a:cubicBezTo>
                      <a:pt x="2356" y="10781"/>
                      <a:pt x="2274" y="10778"/>
                      <a:pt x="2204" y="10778"/>
                    </a:cubicBezTo>
                    <a:cubicBezTo>
                      <a:pt x="2102" y="10778"/>
                      <a:pt x="2026" y="10784"/>
                      <a:pt x="1967" y="10797"/>
                    </a:cubicBezTo>
                    <a:cubicBezTo>
                      <a:pt x="1945" y="10802"/>
                      <a:pt x="1917" y="10811"/>
                      <a:pt x="1884" y="10821"/>
                    </a:cubicBezTo>
                    <a:cubicBezTo>
                      <a:pt x="1771" y="10821"/>
                      <a:pt x="1771" y="10821"/>
                      <a:pt x="1771" y="10821"/>
                    </a:cubicBezTo>
                    <a:cubicBezTo>
                      <a:pt x="1842" y="10794"/>
                      <a:pt x="1913" y="10771"/>
                      <a:pt x="1959" y="10760"/>
                    </a:cubicBezTo>
                    <a:cubicBezTo>
                      <a:pt x="2022" y="10746"/>
                      <a:pt x="2101" y="10740"/>
                      <a:pt x="2204" y="10740"/>
                    </a:cubicBezTo>
                    <a:cubicBezTo>
                      <a:pt x="2275" y="10740"/>
                      <a:pt x="2358" y="10743"/>
                      <a:pt x="2455" y="10749"/>
                    </a:cubicBezTo>
                    <a:cubicBezTo>
                      <a:pt x="2670" y="10761"/>
                      <a:pt x="2842" y="10801"/>
                      <a:pt x="2876" y="10809"/>
                    </a:cubicBezTo>
                    <a:cubicBezTo>
                      <a:pt x="2885" y="10801"/>
                      <a:pt x="2891" y="10796"/>
                      <a:pt x="2891" y="10796"/>
                    </a:cubicBezTo>
                    <a:cubicBezTo>
                      <a:pt x="2892" y="10798"/>
                      <a:pt x="2892" y="10798"/>
                      <a:pt x="2892" y="10798"/>
                    </a:cubicBezTo>
                    <a:cubicBezTo>
                      <a:pt x="2947" y="10751"/>
                      <a:pt x="3003" y="10715"/>
                      <a:pt x="3059" y="10690"/>
                    </a:cubicBezTo>
                    <a:cubicBezTo>
                      <a:pt x="3091" y="10676"/>
                      <a:pt x="3120" y="10665"/>
                      <a:pt x="3141" y="10657"/>
                    </a:cubicBezTo>
                    <a:cubicBezTo>
                      <a:pt x="3151" y="10654"/>
                      <a:pt x="3159" y="10651"/>
                      <a:pt x="3164" y="10648"/>
                    </a:cubicBezTo>
                    <a:cubicBezTo>
                      <a:pt x="3165" y="10648"/>
                      <a:pt x="3165" y="10648"/>
                      <a:pt x="3166" y="10648"/>
                    </a:cubicBezTo>
                    <a:cubicBezTo>
                      <a:pt x="3167" y="10647"/>
                      <a:pt x="3168" y="10646"/>
                      <a:pt x="3168" y="10646"/>
                    </a:cubicBezTo>
                    <a:cubicBezTo>
                      <a:pt x="3173" y="10642"/>
                      <a:pt x="3174" y="10643"/>
                      <a:pt x="3177" y="10641"/>
                    </a:cubicBezTo>
                    <a:cubicBezTo>
                      <a:pt x="3243" y="10614"/>
                      <a:pt x="3975" y="10373"/>
                      <a:pt x="4580" y="10214"/>
                    </a:cubicBezTo>
                    <a:cubicBezTo>
                      <a:pt x="4149" y="9274"/>
                      <a:pt x="4149" y="9274"/>
                      <a:pt x="4149" y="9274"/>
                    </a:cubicBezTo>
                    <a:cubicBezTo>
                      <a:pt x="4035" y="8999"/>
                      <a:pt x="4035" y="8999"/>
                      <a:pt x="4035" y="8999"/>
                    </a:cubicBezTo>
                    <a:cubicBezTo>
                      <a:pt x="4030" y="8999"/>
                      <a:pt x="4025" y="8998"/>
                      <a:pt x="4020" y="8998"/>
                    </a:cubicBezTo>
                    <a:cubicBezTo>
                      <a:pt x="3974" y="9010"/>
                      <a:pt x="3856" y="9041"/>
                      <a:pt x="3742" y="9077"/>
                    </a:cubicBezTo>
                    <a:cubicBezTo>
                      <a:pt x="3601" y="9121"/>
                      <a:pt x="3530" y="9172"/>
                      <a:pt x="3490" y="9224"/>
                    </a:cubicBezTo>
                    <a:cubicBezTo>
                      <a:pt x="3450" y="9276"/>
                      <a:pt x="3441" y="9331"/>
                      <a:pt x="3426" y="9385"/>
                    </a:cubicBezTo>
                    <a:cubicBezTo>
                      <a:pt x="3398" y="9489"/>
                      <a:pt x="3389" y="9712"/>
                      <a:pt x="3299" y="9839"/>
                    </a:cubicBezTo>
                    <a:cubicBezTo>
                      <a:pt x="3255" y="9899"/>
                      <a:pt x="3231" y="9923"/>
                      <a:pt x="3183" y="9949"/>
                    </a:cubicBezTo>
                    <a:cubicBezTo>
                      <a:pt x="3134" y="9975"/>
                      <a:pt x="3062" y="10006"/>
                      <a:pt x="2912" y="10089"/>
                    </a:cubicBezTo>
                    <a:cubicBezTo>
                      <a:pt x="2748" y="10179"/>
                      <a:pt x="2576" y="10199"/>
                      <a:pt x="2458" y="10199"/>
                    </a:cubicBezTo>
                    <a:cubicBezTo>
                      <a:pt x="2398" y="10199"/>
                      <a:pt x="2355" y="10193"/>
                      <a:pt x="2332" y="10189"/>
                    </a:cubicBezTo>
                    <a:cubicBezTo>
                      <a:pt x="2332" y="10188"/>
                      <a:pt x="2332" y="10188"/>
                      <a:pt x="2332" y="10188"/>
                    </a:cubicBezTo>
                    <a:cubicBezTo>
                      <a:pt x="2332" y="10188"/>
                      <a:pt x="2329" y="10188"/>
                      <a:pt x="2325" y="10187"/>
                    </a:cubicBezTo>
                    <a:cubicBezTo>
                      <a:pt x="2216" y="10731"/>
                      <a:pt x="2216" y="10731"/>
                      <a:pt x="2216" y="10731"/>
                    </a:cubicBezTo>
                    <a:cubicBezTo>
                      <a:pt x="2192" y="10726"/>
                      <a:pt x="2192" y="10726"/>
                      <a:pt x="2192" y="10726"/>
                    </a:cubicBezTo>
                    <a:cubicBezTo>
                      <a:pt x="2301" y="10183"/>
                      <a:pt x="2301" y="10183"/>
                      <a:pt x="2301" y="10183"/>
                    </a:cubicBezTo>
                    <a:cubicBezTo>
                      <a:pt x="2261" y="10174"/>
                      <a:pt x="2189" y="10158"/>
                      <a:pt x="2139" y="10137"/>
                    </a:cubicBezTo>
                    <a:cubicBezTo>
                      <a:pt x="2070" y="10109"/>
                      <a:pt x="2011" y="10048"/>
                      <a:pt x="1992" y="10028"/>
                    </a:cubicBezTo>
                    <a:cubicBezTo>
                      <a:pt x="1627" y="10183"/>
                      <a:pt x="1627" y="10183"/>
                      <a:pt x="1627" y="10183"/>
                    </a:cubicBezTo>
                    <a:cubicBezTo>
                      <a:pt x="1625" y="10221"/>
                      <a:pt x="1609" y="10382"/>
                      <a:pt x="1609" y="10383"/>
                    </a:cubicBezTo>
                    <a:cubicBezTo>
                      <a:pt x="1585" y="10381"/>
                      <a:pt x="1585" y="10381"/>
                      <a:pt x="1585" y="10381"/>
                    </a:cubicBezTo>
                    <a:cubicBezTo>
                      <a:pt x="1585" y="10381"/>
                      <a:pt x="1585" y="10381"/>
                      <a:pt x="1585" y="10381"/>
                    </a:cubicBezTo>
                    <a:cubicBezTo>
                      <a:pt x="1585" y="10380"/>
                      <a:pt x="1601" y="10212"/>
                      <a:pt x="1603" y="10180"/>
                    </a:cubicBezTo>
                    <a:cubicBezTo>
                      <a:pt x="1344" y="9960"/>
                      <a:pt x="1344" y="9960"/>
                      <a:pt x="1344" y="9960"/>
                    </a:cubicBezTo>
                    <a:cubicBezTo>
                      <a:pt x="1359" y="9941"/>
                      <a:pt x="1359" y="9941"/>
                      <a:pt x="1359" y="9941"/>
                    </a:cubicBezTo>
                    <a:cubicBezTo>
                      <a:pt x="1617" y="10160"/>
                      <a:pt x="1617" y="10160"/>
                      <a:pt x="1617" y="10160"/>
                    </a:cubicBezTo>
                    <a:cubicBezTo>
                      <a:pt x="1999" y="9999"/>
                      <a:pt x="1999" y="9999"/>
                      <a:pt x="1999" y="9999"/>
                    </a:cubicBezTo>
                    <a:cubicBezTo>
                      <a:pt x="2005" y="10006"/>
                      <a:pt x="2005" y="10006"/>
                      <a:pt x="2005" y="10006"/>
                    </a:cubicBezTo>
                    <a:cubicBezTo>
                      <a:pt x="2005" y="10006"/>
                      <a:pt x="2022" y="10025"/>
                      <a:pt x="2048" y="10048"/>
                    </a:cubicBezTo>
                    <a:cubicBezTo>
                      <a:pt x="2075" y="10072"/>
                      <a:pt x="2111" y="10099"/>
                      <a:pt x="2148" y="10115"/>
                    </a:cubicBezTo>
                    <a:cubicBezTo>
                      <a:pt x="2203" y="10138"/>
                      <a:pt x="2291" y="10156"/>
                      <a:pt x="2327" y="10162"/>
                    </a:cubicBezTo>
                    <a:cubicBezTo>
                      <a:pt x="2329" y="10162"/>
                      <a:pt x="2329" y="10162"/>
                      <a:pt x="2329" y="10162"/>
                    </a:cubicBezTo>
                    <a:cubicBezTo>
                      <a:pt x="2328" y="10162"/>
                      <a:pt x="2369" y="10173"/>
                      <a:pt x="2458" y="10173"/>
                    </a:cubicBezTo>
                    <a:cubicBezTo>
                      <a:pt x="2573" y="10173"/>
                      <a:pt x="2741" y="10154"/>
                      <a:pt x="2899" y="10066"/>
                    </a:cubicBezTo>
                    <a:cubicBezTo>
                      <a:pt x="3049" y="9983"/>
                      <a:pt x="3124" y="9951"/>
                      <a:pt x="3170" y="9926"/>
                    </a:cubicBezTo>
                    <a:cubicBezTo>
                      <a:pt x="3216" y="9901"/>
                      <a:pt x="3234" y="9884"/>
                      <a:pt x="3277" y="9823"/>
                    </a:cubicBezTo>
                    <a:cubicBezTo>
                      <a:pt x="3361" y="9708"/>
                      <a:pt x="3372" y="9487"/>
                      <a:pt x="3401" y="9378"/>
                    </a:cubicBezTo>
                    <a:cubicBezTo>
                      <a:pt x="3415" y="9326"/>
                      <a:pt x="3425" y="9266"/>
                      <a:pt x="3469" y="9208"/>
                    </a:cubicBezTo>
                    <a:cubicBezTo>
                      <a:pt x="3513" y="9151"/>
                      <a:pt x="3590" y="9097"/>
                      <a:pt x="3734" y="9052"/>
                    </a:cubicBezTo>
                    <a:cubicBezTo>
                      <a:pt x="3838" y="9019"/>
                      <a:pt x="3945" y="8990"/>
                      <a:pt x="3999" y="8976"/>
                    </a:cubicBezTo>
                    <a:cubicBezTo>
                      <a:pt x="4003" y="8972"/>
                      <a:pt x="4011" y="8966"/>
                      <a:pt x="4018" y="8961"/>
                    </a:cubicBezTo>
                    <a:cubicBezTo>
                      <a:pt x="3810" y="8461"/>
                      <a:pt x="3810" y="8461"/>
                      <a:pt x="3810" y="8461"/>
                    </a:cubicBezTo>
                    <a:cubicBezTo>
                      <a:pt x="3582" y="8577"/>
                      <a:pt x="2822" y="8977"/>
                      <a:pt x="2107" y="9364"/>
                    </a:cubicBezTo>
                    <a:cubicBezTo>
                      <a:pt x="2085" y="9384"/>
                      <a:pt x="2085" y="9384"/>
                      <a:pt x="2085" y="9384"/>
                    </a:cubicBezTo>
                    <a:cubicBezTo>
                      <a:pt x="1714" y="9585"/>
                      <a:pt x="1373" y="9769"/>
                      <a:pt x="1107" y="9912"/>
                    </a:cubicBezTo>
                    <a:cubicBezTo>
                      <a:pt x="852" y="10050"/>
                      <a:pt x="683" y="10142"/>
                      <a:pt x="669" y="10150"/>
                    </a:cubicBezTo>
                    <a:cubicBezTo>
                      <a:pt x="665" y="10152"/>
                      <a:pt x="645" y="10164"/>
                      <a:pt x="619" y="10180"/>
                    </a:cubicBezTo>
                    <a:cubicBezTo>
                      <a:pt x="627" y="10190"/>
                      <a:pt x="636" y="10200"/>
                      <a:pt x="646" y="10211"/>
                    </a:cubicBezTo>
                    <a:cubicBezTo>
                      <a:pt x="766" y="10350"/>
                      <a:pt x="942" y="10555"/>
                      <a:pt x="1089" y="10724"/>
                    </a:cubicBezTo>
                    <a:cubicBezTo>
                      <a:pt x="1118" y="10758"/>
                      <a:pt x="1147" y="10791"/>
                      <a:pt x="1173" y="10821"/>
                    </a:cubicBezTo>
                    <a:cubicBezTo>
                      <a:pt x="1123" y="10821"/>
                      <a:pt x="1123" y="10821"/>
                      <a:pt x="1123" y="10821"/>
                    </a:cubicBezTo>
                    <a:cubicBezTo>
                      <a:pt x="1056" y="10743"/>
                      <a:pt x="978" y="10654"/>
                      <a:pt x="901" y="10564"/>
                    </a:cubicBezTo>
                    <a:cubicBezTo>
                      <a:pt x="795" y="10442"/>
                      <a:pt x="689" y="10320"/>
                      <a:pt x="610" y="10228"/>
                    </a:cubicBezTo>
                    <a:cubicBezTo>
                      <a:pt x="602" y="10218"/>
                      <a:pt x="594" y="10209"/>
                      <a:pt x="586" y="10199"/>
                    </a:cubicBezTo>
                    <a:cubicBezTo>
                      <a:pt x="543" y="10225"/>
                      <a:pt x="511" y="10246"/>
                      <a:pt x="469" y="10273"/>
                    </a:cubicBezTo>
                    <a:cubicBezTo>
                      <a:pt x="469" y="10273"/>
                      <a:pt x="396" y="10296"/>
                      <a:pt x="384" y="10297"/>
                    </a:cubicBezTo>
                    <a:cubicBezTo>
                      <a:pt x="298" y="10312"/>
                      <a:pt x="298" y="10312"/>
                      <a:pt x="298" y="10312"/>
                    </a:cubicBezTo>
                    <a:cubicBezTo>
                      <a:pt x="270" y="10317"/>
                      <a:pt x="237" y="10321"/>
                      <a:pt x="204" y="10324"/>
                    </a:cubicBezTo>
                    <a:cubicBezTo>
                      <a:pt x="166" y="10366"/>
                      <a:pt x="125" y="10409"/>
                      <a:pt x="85" y="10453"/>
                    </a:cubicBezTo>
                    <a:cubicBezTo>
                      <a:pt x="56" y="10484"/>
                      <a:pt x="28" y="10514"/>
                      <a:pt x="0" y="10544"/>
                    </a:cubicBezTo>
                    <a:cubicBezTo>
                      <a:pt x="0" y="10363"/>
                      <a:pt x="0" y="10363"/>
                      <a:pt x="0" y="10363"/>
                    </a:cubicBezTo>
                    <a:cubicBezTo>
                      <a:pt x="7" y="10356"/>
                      <a:pt x="13" y="10349"/>
                      <a:pt x="19" y="10343"/>
                    </a:cubicBezTo>
                    <a:cubicBezTo>
                      <a:pt x="13" y="10343"/>
                      <a:pt x="7" y="10344"/>
                      <a:pt x="0" y="10344"/>
                    </a:cubicBezTo>
                    <a:cubicBezTo>
                      <a:pt x="0" y="10080"/>
                      <a:pt x="0" y="10080"/>
                      <a:pt x="0" y="10080"/>
                    </a:cubicBezTo>
                    <a:cubicBezTo>
                      <a:pt x="32" y="10062"/>
                      <a:pt x="71" y="10047"/>
                      <a:pt x="112" y="10044"/>
                    </a:cubicBezTo>
                    <a:cubicBezTo>
                      <a:pt x="162" y="10039"/>
                      <a:pt x="225" y="10046"/>
                      <a:pt x="285" y="10056"/>
                    </a:cubicBezTo>
                    <a:cubicBezTo>
                      <a:pt x="310" y="10029"/>
                      <a:pt x="327" y="10011"/>
                      <a:pt x="332" y="10006"/>
                    </a:cubicBezTo>
                    <a:cubicBezTo>
                      <a:pt x="351" y="9986"/>
                      <a:pt x="373" y="9971"/>
                      <a:pt x="392" y="9958"/>
                    </a:cubicBezTo>
                    <a:cubicBezTo>
                      <a:pt x="414" y="9944"/>
                      <a:pt x="438" y="9932"/>
                      <a:pt x="444" y="9929"/>
                    </a:cubicBezTo>
                    <a:cubicBezTo>
                      <a:pt x="1276" y="9483"/>
                      <a:pt x="1276" y="9483"/>
                      <a:pt x="1276" y="9483"/>
                    </a:cubicBezTo>
                    <a:cubicBezTo>
                      <a:pt x="2197" y="8993"/>
                      <a:pt x="2197" y="8993"/>
                      <a:pt x="2197" y="8993"/>
                    </a:cubicBezTo>
                    <a:cubicBezTo>
                      <a:pt x="2201" y="8991"/>
                      <a:pt x="2201" y="8991"/>
                      <a:pt x="2201" y="8991"/>
                    </a:cubicBezTo>
                    <a:cubicBezTo>
                      <a:pt x="2201" y="8991"/>
                      <a:pt x="2260" y="8962"/>
                      <a:pt x="2393" y="8892"/>
                    </a:cubicBezTo>
                    <a:cubicBezTo>
                      <a:pt x="2593" y="8786"/>
                      <a:pt x="2893" y="8627"/>
                      <a:pt x="3147" y="8492"/>
                    </a:cubicBezTo>
                    <a:cubicBezTo>
                      <a:pt x="3274" y="8424"/>
                      <a:pt x="3390" y="8362"/>
                      <a:pt x="3475" y="8316"/>
                    </a:cubicBezTo>
                    <a:cubicBezTo>
                      <a:pt x="3518" y="8293"/>
                      <a:pt x="3554" y="8274"/>
                      <a:pt x="3579" y="8260"/>
                    </a:cubicBezTo>
                    <a:cubicBezTo>
                      <a:pt x="3592" y="8253"/>
                      <a:pt x="3602" y="8247"/>
                      <a:pt x="3609" y="8243"/>
                    </a:cubicBezTo>
                    <a:cubicBezTo>
                      <a:pt x="3613" y="8241"/>
                      <a:pt x="3615" y="8239"/>
                      <a:pt x="3617" y="8238"/>
                    </a:cubicBezTo>
                    <a:cubicBezTo>
                      <a:pt x="3618" y="8238"/>
                      <a:pt x="3619" y="8237"/>
                      <a:pt x="3619" y="8237"/>
                    </a:cubicBezTo>
                    <a:cubicBezTo>
                      <a:pt x="3636" y="8225"/>
                      <a:pt x="3679" y="8189"/>
                      <a:pt x="3733" y="8152"/>
                    </a:cubicBezTo>
                    <a:cubicBezTo>
                      <a:pt x="3788" y="8114"/>
                      <a:pt x="3856" y="8075"/>
                      <a:pt x="3933" y="8054"/>
                    </a:cubicBezTo>
                    <a:cubicBezTo>
                      <a:pt x="3936" y="8053"/>
                      <a:pt x="3939" y="8052"/>
                      <a:pt x="3942" y="8051"/>
                    </a:cubicBezTo>
                    <a:cubicBezTo>
                      <a:pt x="3936" y="8035"/>
                      <a:pt x="3936" y="8035"/>
                      <a:pt x="3936" y="8035"/>
                    </a:cubicBezTo>
                    <a:cubicBezTo>
                      <a:pt x="3928" y="8018"/>
                      <a:pt x="3904" y="7973"/>
                      <a:pt x="3894" y="7923"/>
                    </a:cubicBezTo>
                    <a:cubicBezTo>
                      <a:pt x="3893" y="7923"/>
                      <a:pt x="3893" y="7923"/>
                      <a:pt x="3893" y="7923"/>
                    </a:cubicBezTo>
                    <a:cubicBezTo>
                      <a:pt x="3893" y="7917"/>
                      <a:pt x="3893" y="7917"/>
                      <a:pt x="3893" y="7917"/>
                    </a:cubicBezTo>
                    <a:cubicBezTo>
                      <a:pt x="3893" y="7917"/>
                      <a:pt x="3892" y="7915"/>
                      <a:pt x="3892" y="7913"/>
                    </a:cubicBezTo>
                    <a:cubicBezTo>
                      <a:pt x="3892" y="7911"/>
                      <a:pt x="3891" y="7909"/>
                      <a:pt x="3891" y="7908"/>
                    </a:cubicBezTo>
                    <a:cubicBezTo>
                      <a:pt x="3891" y="7908"/>
                      <a:pt x="3891" y="7908"/>
                      <a:pt x="3891" y="7908"/>
                    </a:cubicBezTo>
                    <a:cubicBezTo>
                      <a:pt x="3886" y="7875"/>
                      <a:pt x="3869" y="7761"/>
                      <a:pt x="3869" y="7700"/>
                    </a:cubicBezTo>
                    <a:cubicBezTo>
                      <a:pt x="3869" y="7697"/>
                      <a:pt x="3869" y="7694"/>
                      <a:pt x="3869" y="7692"/>
                    </a:cubicBezTo>
                    <a:cubicBezTo>
                      <a:pt x="3868" y="7683"/>
                      <a:pt x="3866" y="7655"/>
                      <a:pt x="3863" y="7635"/>
                    </a:cubicBezTo>
                    <a:cubicBezTo>
                      <a:pt x="3861" y="7629"/>
                      <a:pt x="3860" y="7624"/>
                      <a:pt x="3859" y="7621"/>
                    </a:cubicBezTo>
                    <a:cubicBezTo>
                      <a:pt x="3858" y="7620"/>
                      <a:pt x="3858" y="7619"/>
                      <a:pt x="3858" y="7618"/>
                    </a:cubicBezTo>
                    <a:cubicBezTo>
                      <a:pt x="3671" y="7401"/>
                      <a:pt x="3671" y="7401"/>
                      <a:pt x="3671" y="7401"/>
                    </a:cubicBezTo>
                    <a:cubicBezTo>
                      <a:pt x="3669" y="7400"/>
                      <a:pt x="3669" y="7400"/>
                      <a:pt x="3669" y="7400"/>
                    </a:cubicBezTo>
                    <a:cubicBezTo>
                      <a:pt x="3669" y="7400"/>
                      <a:pt x="3632" y="7353"/>
                      <a:pt x="3576" y="7294"/>
                    </a:cubicBezTo>
                    <a:cubicBezTo>
                      <a:pt x="3563" y="7280"/>
                      <a:pt x="3549" y="7266"/>
                      <a:pt x="3535" y="7252"/>
                    </a:cubicBezTo>
                    <a:cubicBezTo>
                      <a:pt x="3520" y="7253"/>
                      <a:pt x="3472" y="7260"/>
                      <a:pt x="3416" y="7271"/>
                    </a:cubicBezTo>
                    <a:cubicBezTo>
                      <a:pt x="3348" y="7284"/>
                      <a:pt x="3270" y="7306"/>
                      <a:pt x="3233" y="7331"/>
                    </a:cubicBezTo>
                    <a:cubicBezTo>
                      <a:pt x="3157" y="7383"/>
                      <a:pt x="3011" y="7503"/>
                      <a:pt x="2845" y="7503"/>
                    </a:cubicBezTo>
                    <a:cubicBezTo>
                      <a:pt x="2832" y="7503"/>
                      <a:pt x="2818" y="7502"/>
                      <a:pt x="2804" y="7501"/>
                    </a:cubicBezTo>
                    <a:cubicBezTo>
                      <a:pt x="2770" y="7496"/>
                      <a:pt x="2738" y="7488"/>
                      <a:pt x="2707" y="7479"/>
                    </a:cubicBezTo>
                    <a:cubicBezTo>
                      <a:pt x="2700" y="7492"/>
                      <a:pt x="2700" y="7492"/>
                      <a:pt x="2700" y="7492"/>
                    </a:cubicBezTo>
                    <a:cubicBezTo>
                      <a:pt x="2497" y="7950"/>
                      <a:pt x="2497" y="7950"/>
                      <a:pt x="2497" y="7950"/>
                    </a:cubicBezTo>
                    <a:cubicBezTo>
                      <a:pt x="2497" y="7951"/>
                      <a:pt x="2497" y="7951"/>
                      <a:pt x="2497" y="7951"/>
                    </a:cubicBezTo>
                    <a:cubicBezTo>
                      <a:pt x="2497" y="7951"/>
                      <a:pt x="2497" y="7951"/>
                      <a:pt x="2497" y="7951"/>
                    </a:cubicBezTo>
                    <a:cubicBezTo>
                      <a:pt x="2495" y="7954"/>
                      <a:pt x="2495" y="7954"/>
                      <a:pt x="2495" y="7954"/>
                    </a:cubicBezTo>
                    <a:cubicBezTo>
                      <a:pt x="2493" y="7953"/>
                      <a:pt x="2493" y="7953"/>
                      <a:pt x="2493" y="7953"/>
                    </a:cubicBezTo>
                    <a:cubicBezTo>
                      <a:pt x="2271" y="8103"/>
                      <a:pt x="2271" y="8103"/>
                      <a:pt x="2271" y="8103"/>
                    </a:cubicBezTo>
                    <a:cubicBezTo>
                      <a:pt x="2532" y="8646"/>
                      <a:pt x="2532" y="8646"/>
                      <a:pt x="2532" y="8646"/>
                    </a:cubicBezTo>
                    <a:cubicBezTo>
                      <a:pt x="2534" y="8644"/>
                      <a:pt x="2534" y="8644"/>
                      <a:pt x="2534" y="8644"/>
                    </a:cubicBezTo>
                    <a:cubicBezTo>
                      <a:pt x="2592" y="8768"/>
                      <a:pt x="2592" y="8768"/>
                      <a:pt x="2592" y="8768"/>
                    </a:cubicBezTo>
                    <a:cubicBezTo>
                      <a:pt x="2569" y="8779"/>
                      <a:pt x="2569" y="8779"/>
                      <a:pt x="2569" y="8779"/>
                    </a:cubicBezTo>
                    <a:cubicBezTo>
                      <a:pt x="2520" y="8676"/>
                      <a:pt x="2520" y="8676"/>
                      <a:pt x="2520" y="8676"/>
                    </a:cubicBezTo>
                    <a:cubicBezTo>
                      <a:pt x="2519" y="8677"/>
                      <a:pt x="2519" y="8677"/>
                      <a:pt x="2519" y="8677"/>
                    </a:cubicBezTo>
                    <a:cubicBezTo>
                      <a:pt x="2251" y="8117"/>
                      <a:pt x="2251" y="8117"/>
                      <a:pt x="2251" y="8117"/>
                    </a:cubicBezTo>
                    <a:cubicBezTo>
                      <a:pt x="1998" y="8289"/>
                      <a:pt x="1998" y="8289"/>
                      <a:pt x="1998" y="8289"/>
                    </a:cubicBezTo>
                    <a:cubicBezTo>
                      <a:pt x="1658" y="8315"/>
                      <a:pt x="1658" y="8315"/>
                      <a:pt x="1658" y="8315"/>
                    </a:cubicBezTo>
                    <a:cubicBezTo>
                      <a:pt x="1644" y="8341"/>
                      <a:pt x="1581" y="8448"/>
                      <a:pt x="1519" y="8555"/>
                    </a:cubicBezTo>
                    <a:cubicBezTo>
                      <a:pt x="1483" y="8617"/>
                      <a:pt x="1447" y="8678"/>
                      <a:pt x="1421" y="8724"/>
                    </a:cubicBezTo>
                    <a:cubicBezTo>
                      <a:pt x="1407" y="8747"/>
                      <a:pt x="1396" y="8766"/>
                      <a:pt x="1388" y="8780"/>
                    </a:cubicBezTo>
                    <a:cubicBezTo>
                      <a:pt x="1384" y="8786"/>
                      <a:pt x="1381" y="8792"/>
                      <a:pt x="1379" y="8795"/>
                    </a:cubicBezTo>
                    <a:cubicBezTo>
                      <a:pt x="1378" y="8797"/>
                      <a:pt x="1377" y="8799"/>
                      <a:pt x="1377" y="8800"/>
                    </a:cubicBezTo>
                    <a:cubicBezTo>
                      <a:pt x="1376" y="8800"/>
                      <a:pt x="1376" y="8800"/>
                      <a:pt x="1376" y="8801"/>
                    </a:cubicBezTo>
                    <a:cubicBezTo>
                      <a:pt x="1376" y="8801"/>
                      <a:pt x="1376" y="8801"/>
                      <a:pt x="1376" y="8801"/>
                    </a:cubicBezTo>
                    <a:cubicBezTo>
                      <a:pt x="1376" y="8801"/>
                      <a:pt x="1376" y="8801"/>
                      <a:pt x="1376" y="8801"/>
                    </a:cubicBezTo>
                    <a:cubicBezTo>
                      <a:pt x="1376" y="8801"/>
                      <a:pt x="1376" y="8801"/>
                      <a:pt x="1376" y="8801"/>
                    </a:cubicBezTo>
                    <a:cubicBezTo>
                      <a:pt x="1376" y="8801"/>
                      <a:pt x="1375" y="8802"/>
                      <a:pt x="1375" y="8802"/>
                    </a:cubicBezTo>
                    <a:cubicBezTo>
                      <a:pt x="1375" y="8802"/>
                      <a:pt x="1375" y="8802"/>
                      <a:pt x="1375" y="8803"/>
                    </a:cubicBezTo>
                    <a:cubicBezTo>
                      <a:pt x="1375" y="8803"/>
                      <a:pt x="1374" y="8803"/>
                      <a:pt x="1374" y="8803"/>
                    </a:cubicBezTo>
                    <a:cubicBezTo>
                      <a:pt x="1373" y="8804"/>
                      <a:pt x="1373" y="8804"/>
                      <a:pt x="1372" y="8805"/>
                    </a:cubicBezTo>
                    <a:cubicBezTo>
                      <a:pt x="1372" y="8805"/>
                      <a:pt x="1372" y="8805"/>
                      <a:pt x="1372" y="8805"/>
                    </a:cubicBezTo>
                    <a:cubicBezTo>
                      <a:pt x="1359" y="8817"/>
                      <a:pt x="1232" y="8937"/>
                      <a:pt x="1108" y="9055"/>
                    </a:cubicBezTo>
                    <a:cubicBezTo>
                      <a:pt x="986" y="9171"/>
                      <a:pt x="867" y="9284"/>
                      <a:pt x="854" y="9297"/>
                    </a:cubicBezTo>
                    <a:cubicBezTo>
                      <a:pt x="876" y="9301"/>
                      <a:pt x="900" y="9308"/>
                      <a:pt x="925" y="9323"/>
                    </a:cubicBezTo>
                    <a:cubicBezTo>
                      <a:pt x="973" y="9354"/>
                      <a:pt x="1007" y="9420"/>
                      <a:pt x="1032" y="9479"/>
                    </a:cubicBezTo>
                    <a:cubicBezTo>
                      <a:pt x="1056" y="9538"/>
                      <a:pt x="1071" y="9590"/>
                      <a:pt x="1071" y="9591"/>
                    </a:cubicBezTo>
                    <a:cubicBezTo>
                      <a:pt x="1034" y="9601"/>
                      <a:pt x="1034" y="9601"/>
                      <a:pt x="1034" y="9601"/>
                    </a:cubicBezTo>
                    <a:cubicBezTo>
                      <a:pt x="1034" y="9600"/>
                      <a:pt x="1021" y="9550"/>
                      <a:pt x="997" y="9493"/>
                    </a:cubicBezTo>
                    <a:cubicBezTo>
                      <a:pt x="974" y="9437"/>
                      <a:pt x="939" y="9375"/>
                      <a:pt x="906" y="9355"/>
                    </a:cubicBezTo>
                    <a:cubicBezTo>
                      <a:pt x="874" y="9336"/>
                      <a:pt x="845" y="9332"/>
                      <a:pt x="819" y="9330"/>
                    </a:cubicBezTo>
                    <a:cubicBezTo>
                      <a:pt x="812" y="9330"/>
                      <a:pt x="806" y="9329"/>
                      <a:pt x="800" y="9329"/>
                    </a:cubicBezTo>
                    <a:cubicBezTo>
                      <a:pt x="776" y="9329"/>
                      <a:pt x="757" y="9333"/>
                      <a:pt x="738" y="9335"/>
                    </a:cubicBezTo>
                    <a:cubicBezTo>
                      <a:pt x="703" y="9340"/>
                      <a:pt x="677" y="9355"/>
                      <a:pt x="637" y="9356"/>
                    </a:cubicBezTo>
                    <a:cubicBezTo>
                      <a:pt x="596" y="9355"/>
                      <a:pt x="548" y="9333"/>
                      <a:pt x="508" y="9321"/>
                    </a:cubicBezTo>
                    <a:cubicBezTo>
                      <a:pt x="467" y="9307"/>
                      <a:pt x="389" y="9274"/>
                      <a:pt x="344" y="9274"/>
                    </a:cubicBezTo>
                    <a:cubicBezTo>
                      <a:pt x="342" y="9274"/>
                      <a:pt x="341" y="9274"/>
                      <a:pt x="340" y="9274"/>
                    </a:cubicBezTo>
                    <a:cubicBezTo>
                      <a:pt x="291" y="9277"/>
                      <a:pt x="270" y="9292"/>
                      <a:pt x="241" y="9302"/>
                    </a:cubicBezTo>
                    <a:cubicBezTo>
                      <a:pt x="230" y="9306"/>
                      <a:pt x="192" y="9323"/>
                      <a:pt x="159" y="9338"/>
                    </a:cubicBezTo>
                    <a:cubicBezTo>
                      <a:pt x="142" y="9346"/>
                      <a:pt x="126" y="9353"/>
                      <a:pt x="115" y="9359"/>
                    </a:cubicBezTo>
                    <a:cubicBezTo>
                      <a:pt x="111" y="9362"/>
                      <a:pt x="110" y="9366"/>
                      <a:pt x="110" y="9369"/>
                    </a:cubicBezTo>
                    <a:cubicBezTo>
                      <a:pt x="415" y="9934"/>
                      <a:pt x="415" y="9934"/>
                      <a:pt x="415" y="9934"/>
                    </a:cubicBezTo>
                    <a:cubicBezTo>
                      <a:pt x="382" y="9952"/>
                      <a:pt x="382" y="9952"/>
                      <a:pt x="382" y="9952"/>
                    </a:cubicBezTo>
                    <a:cubicBezTo>
                      <a:pt x="48" y="9331"/>
                      <a:pt x="48" y="9331"/>
                      <a:pt x="48" y="9331"/>
                    </a:cubicBezTo>
                    <a:cubicBezTo>
                      <a:pt x="48" y="9331"/>
                      <a:pt x="48" y="9331"/>
                      <a:pt x="48" y="9331"/>
                    </a:cubicBezTo>
                    <a:cubicBezTo>
                      <a:pt x="0" y="9237"/>
                      <a:pt x="0" y="9237"/>
                      <a:pt x="0" y="9237"/>
                    </a:cubicBezTo>
                    <a:cubicBezTo>
                      <a:pt x="0" y="9157"/>
                      <a:pt x="0" y="9157"/>
                      <a:pt x="0" y="9157"/>
                    </a:cubicBezTo>
                    <a:cubicBezTo>
                      <a:pt x="81" y="9315"/>
                      <a:pt x="81" y="9315"/>
                      <a:pt x="81" y="9315"/>
                    </a:cubicBezTo>
                    <a:cubicBezTo>
                      <a:pt x="81" y="9315"/>
                      <a:pt x="81" y="9315"/>
                      <a:pt x="81" y="9315"/>
                    </a:cubicBezTo>
                    <a:cubicBezTo>
                      <a:pt x="83" y="9321"/>
                      <a:pt x="83" y="9321"/>
                      <a:pt x="83" y="9321"/>
                    </a:cubicBezTo>
                    <a:cubicBezTo>
                      <a:pt x="88" y="9324"/>
                      <a:pt x="95" y="9324"/>
                      <a:pt x="100" y="9324"/>
                    </a:cubicBezTo>
                    <a:cubicBezTo>
                      <a:pt x="137" y="9307"/>
                      <a:pt x="208" y="9274"/>
                      <a:pt x="229" y="9266"/>
                    </a:cubicBezTo>
                    <a:cubicBezTo>
                      <a:pt x="250" y="9259"/>
                      <a:pt x="281" y="9239"/>
                      <a:pt x="338" y="9237"/>
                    </a:cubicBezTo>
                    <a:cubicBezTo>
                      <a:pt x="340" y="9237"/>
                      <a:pt x="342" y="9236"/>
                      <a:pt x="344" y="9236"/>
                    </a:cubicBezTo>
                    <a:cubicBezTo>
                      <a:pt x="404" y="9237"/>
                      <a:pt x="482" y="9273"/>
                      <a:pt x="520" y="9285"/>
                    </a:cubicBezTo>
                    <a:cubicBezTo>
                      <a:pt x="562" y="9298"/>
                      <a:pt x="610" y="9318"/>
                      <a:pt x="637" y="9318"/>
                    </a:cubicBezTo>
                    <a:cubicBezTo>
                      <a:pt x="665" y="9318"/>
                      <a:pt x="690" y="9304"/>
                      <a:pt x="733" y="9298"/>
                    </a:cubicBezTo>
                    <a:cubicBezTo>
                      <a:pt x="751" y="9296"/>
                      <a:pt x="772" y="9292"/>
                      <a:pt x="800" y="9292"/>
                    </a:cubicBezTo>
                    <a:cubicBezTo>
                      <a:pt x="807" y="9292"/>
                      <a:pt x="814" y="9292"/>
                      <a:pt x="822" y="9293"/>
                    </a:cubicBezTo>
                    <a:cubicBezTo>
                      <a:pt x="831" y="9293"/>
                      <a:pt x="840" y="9294"/>
                      <a:pt x="851" y="9296"/>
                    </a:cubicBezTo>
                    <a:cubicBezTo>
                      <a:pt x="836" y="9280"/>
                      <a:pt x="836" y="9280"/>
                      <a:pt x="836" y="9280"/>
                    </a:cubicBezTo>
                    <a:cubicBezTo>
                      <a:pt x="836" y="9280"/>
                      <a:pt x="965" y="9157"/>
                      <a:pt x="1095" y="9033"/>
                    </a:cubicBezTo>
                    <a:cubicBezTo>
                      <a:pt x="1161" y="8971"/>
                      <a:pt x="1226" y="8909"/>
                      <a:pt x="1275" y="8863"/>
                    </a:cubicBezTo>
                    <a:cubicBezTo>
                      <a:pt x="1299" y="8840"/>
                      <a:pt x="1320" y="8820"/>
                      <a:pt x="1334" y="8807"/>
                    </a:cubicBezTo>
                    <a:cubicBezTo>
                      <a:pt x="1341" y="8800"/>
                      <a:pt x="1347" y="8795"/>
                      <a:pt x="1351" y="8791"/>
                    </a:cubicBezTo>
                    <a:cubicBezTo>
                      <a:pt x="1352" y="8790"/>
                      <a:pt x="1352" y="8790"/>
                      <a:pt x="1353" y="8789"/>
                    </a:cubicBezTo>
                    <a:cubicBezTo>
                      <a:pt x="1357" y="8785"/>
                      <a:pt x="1357" y="8785"/>
                      <a:pt x="1357" y="8785"/>
                    </a:cubicBezTo>
                    <a:cubicBezTo>
                      <a:pt x="1379" y="8747"/>
                      <a:pt x="1603" y="8362"/>
                      <a:pt x="1636" y="8305"/>
                    </a:cubicBezTo>
                    <a:cubicBezTo>
                      <a:pt x="1307" y="7896"/>
                      <a:pt x="1307" y="7896"/>
                      <a:pt x="1307" y="7896"/>
                    </a:cubicBezTo>
                    <a:cubicBezTo>
                      <a:pt x="1326" y="7880"/>
                      <a:pt x="1326" y="7880"/>
                      <a:pt x="1326" y="7880"/>
                    </a:cubicBezTo>
                    <a:cubicBezTo>
                      <a:pt x="1657" y="8291"/>
                      <a:pt x="1657" y="8291"/>
                      <a:pt x="1657" y="8291"/>
                    </a:cubicBezTo>
                    <a:cubicBezTo>
                      <a:pt x="1990" y="8265"/>
                      <a:pt x="1990" y="8265"/>
                      <a:pt x="1990" y="8265"/>
                    </a:cubicBezTo>
                    <a:cubicBezTo>
                      <a:pt x="2465" y="7943"/>
                      <a:pt x="2465" y="7943"/>
                      <a:pt x="2465" y="7943"/>
                    </a:cubicBezTo>
                    <a:cubicBezTo>
                      <a:pt x="2668" y="7484"/>
                      <a:pt x="2668" y="7484"/>
                      <a:pt x="2668" y="7484"/>
                    </a:cubicBezTo>
                    <a:cubicBezTo>
                      <a:pt x="2668" y="7484"/>
                      <a:pt x="2668" y="7484"/>
                      <a:pt x="2668" y="7484"/>
                    </a:cubicBezTo>
                    <a:cubicBezTo>
                      <a:pt x="2673" y="7467"/>
                      <a:pt x="2673" y="7467"/>
                      <a:pt x="2673" y="7467"/>
                    </a:cubicBezTo>
                    <a:cubicBezTo>
                      <a:pt x="2566" y="7426"/>
                      <a:pt x="2487" y="7362"/>
                      <a:pt x="2424" y="7318"/>
                    </a:cubicBezTo>
                    <a:cubicBezTo>
                      <a:pt x="2336" y="7256"/>
                      <a:pt x="2089" y="7072"/>
                      <a:pt x="2018" y="7034"/>
                    </a:cubicBezTo>
                    <a:cubicBezTo>
                      <a:pt x="2004" y="7027"/>
                      <a:pt x="1975" y="7010"/>
                      <a:pt x="1937" y="6988"/>
                    </a:cubicBezTo>
                    <a:cubicBezTo>
                      <a:pt x="1929" y="6997"/>
                      <a:pt x="1910" y="7022"/>
                      <a:pt x="1889" y="7054"/>
                    </a:cubicBezTo>
                    <a:cubicBezTo>
                      <a:pt x="1850" y="7110"/>
                      <a:pt x="1797" y="7190"/>
                      <a:pt x="1752" y="7255"/>
                    </a:cubicBezTo>
                    <a:cubicBezTo>
                      <a:pt x="1731" y="7286"/>
                      <a:pt x="1712" y="7312"/>
                      <a:pt x="1697" y="7333"/>
                    </a:cubicBezTo>
                    <a:cubicBezTo>
                      <a:pt x="1310" y="7882"/>
                      <a:pt x="1310" y="7882"/>
                      <a:pt x="1310" y="7882"/>
                    </a:cubicBezTo>
                    <a:cubicBezTo>
                      <a:pt x="1312" y="7883"/>
                      <a:pt x="1312" y="7883"/>
                      <a:pt x="1312" y="7883"/>
                    </a:cubicBezTo>
                    <a:cubicBezTo>
                      <a:pt x="942" y="8181"/>
                      <a:pt x="942" y="8181"/>
                      <a:pt x="942" y="8181"/>
                    </a:cubicBezTo>
                    <a:cubicBezTo>
                      <a:pt x="0" y="8964"/>
                      <a:pt x="0" y="8964"/>
                      <a:pt x="0" y="8964"/>
                    </a:cubicBezTo>
                    <a:cubicBezTo>
                      <a:pt x="0" y="8917"/>
                      <a:pt x="0" y="8917"/>
                      <a:pt x="0" y="8917"/>
                    </a:cubicBezTo>
                    <a:cubicBezTo>
                      <a:pt x="924" y="8148"/>
                      <a:pt x="924" y="8148"/>
                      <a:pt x="924" y="8148"/>
                    </a:cubicBezTo>
                    <a:cubicBezTo>
                      <a:pt x="924" y="8148"/>
                      <a:pt x="924" y="8148"/>
                      <a:pt x="924" y="8148"/>
                    </a:cubicBezTo>
                    <a:cubicBezTo>
                      <a:pt x="927" y="8146"/>
                      <a:pt x="927" y="8146"/>
                      <a:pt x="927" y="8146"/>
                    </a:cubicBezTo>
                    <a:cubicBezTo>
                      <a:pt x="933" y="8141"/>
                      <a:pt x="933" y="8141"/>
                      <a:pt x="933" y="8141"/>
                    </a:cubicBezTo>
                    <a:cubicBezTo>
                      <a:pt x="933" y="8141"/>
                      <a:pt x="933" y="8141"/>
                      <a:pt x="933" y="8141"/>
                    </a:cubicBezTo>
                    <a:cubicBezTo>
                      <a:pt x="1282" y="7856"/>
                      <a:pt x="1282" y="7856"/>
                      <a:pt x="1282" y="7856"/>
                    </a:cubicBezTo>
                    <a:cubicBezTo>
                      <a:pt x="1553" y="7478"/>
                      <a:pt x="1553" y="7478"/>
                      <a:pt x="1553" y="7478"/>
                    </a:cubicBezTo>
                    <a:cubicBezTo>
                      <a:pt x="1549" y="7478"/>
                      <a:pt x="1548" y="7477"/>
                      <a:pt x="1546" y="7476"/>
                    </a:cubicBezTo>
                    <a:cubicBezTo>
                      <a:pt x="1517" y="7462"/>
                      <a:pt x="1362" y="7362"/>
                      <a:pt x="1362" y="7361"/>
                    </a:cubicBezTo>
                    <a:cubicBezTo>
                      <a:pt x="1355" y="7357"/>
                      <a:pt x="1355" y="7357"/>
                      <a:pt x="1355" y="7357"/>
                    </a:cubicBezTo>
                    <a:cubicBezTo>
                      <a:pt x="1388" y="7195"/>
                      <a:pt x="1388" y="7195"/>
                      <a:pt x="1388" y="7195"/>
                    </a:cubicBezTo>
                    <a:cubicBezTo>
                      <a:pt x="1364" y="7157"/>
                      <a:pt x="1364" y="7157"/>
                      <a:pt x="1364" y="7157"/>
                    </a:cubicBezTo>
                    <a:cubicBezTo>
                      <a:pt x="1269" y="7013"/>
                      <a:pt x="1269" y="7013"/>
                      <a:pt x="1269" y="7013"/>
                    </a:cubicBezTo>
                    <a:cubicBezTo>
                      <a:pt x="1260" y="7001"/>
                      <a:pt x="1260" y="7001"/>
                      <a:pt x="1260" y="7001"/>
                    </a:cubicBezTo>
                    <a:cubicBezTo>
                      <a:pt x="1257" y="7003"/>
                      <a:pt x="1254" y="7005"/>
                      <a:pt x="1252" y="7007"/>
                    </a:cubicBezTo>
                    <a:cubicBezTo>
                      <a:pt x="1202" y="7039"/>
                      <a:pt x="1154" y="7053"/>
                      <a:pt x="1124" y="7058"/>
                    </a:cubicBezTo>
                    <a:cubicBezTo>
                      <a:pt x="1123" y="7062"/>
                      <a:pt x="1122" y="7065"/>
                      <a:pt x="1122" y="7065"/>
                    </a:cubicBezTo>
                    <a:cubicBezTo>
                      <a:pt x="1122" y="7065"/>
                      <a:pt x="1121" y="7065"/>
                      <a:pt x="1121" y="7065"/>
                    </a:cubicBezTo>
                    <a:cubicBezTo>
                      <a:pt x="1121" y="7065"/>
                      <a:pt x="1121" y="7065"/>
                      <a:pt x="1121" y="7065"/>
                    </a:cubicBezTo>
                    <a:cubicBezTo>
                      <a:pt x="1049" y="7261"/>
                      <a:pt x="1049" y="7261"/>
                      <a:pt x="1049" y="7261"/>
                    </a:cubicBezTo>
                    <a:cubicBezTo>
                      <a:pt x="1047" y="7261"/>
                      <a:pt x="1047" y="7261"/>
                      <a:pt x="1047" y="7261"/>
                    </a:cubicBezTo>
                    <a:cubicBezTo>
                      <a:pt x="926" y="7566"/>
                      <a:pt x="926" y="7566"/>
                      <a:pt x="926" y="7566"/>
                    </a:cubicBezTo>
                    <a:cubicBezTo>
                      <a:pt x="924" y="7570"/>
                      <a:pt x="924" y="7570"/>
                      <a:pt x="924" y="7570"/>
                    </a:cubicBezTo>
                    <a:cubicBezTo>
                      <a:pt x="859" y="7625"/>
                      <a:pt x="859" y="7625"/>
                      <a:pt x="859" y="7625"/>
                    </a:cubicBezTo>
                    <a:cubicBezTo>
                      <a:pt x="285" y="8240"/>
                      <a:pt x="285" y="8240"/>
                      <a:pt x="285" y="8240"/>
                    </a:cubicBezTo>
                    <a:cubicBezTo>
                      <a:pt x="233" y="8292"/>
                      <a:pt x="157" y="8388"/>
                      <a:pt x="0" y="8454"/>
                    </a:cubicBezTo>
                    <a:cubicBezTo>
                      <a:pt x="0" y="8415"/>
                      <a:pt x="0" y="8415"/>
                      <a:pt x="0" y="8415"/>
                    </a:cubicBezTo>
                    <a:cubicBezTo>
                      <a:pt x="110" y="8366"/>
                      <a:pt x="175" y="8302"/>
                      <a:pt x="223" y="8252"/>
                    </a:cubicBezTo>
                    <a:cubicBezTo>
                      <a:pt x="215" y="8244"/>
                      <a:pt x="199" y="8231"/>
                      <a:pt x="176" y="8212"/>
                    </a:cubicBezTo>
                    <a:cubicBezTo>
                      <a:pt x="135" y="8179"/>
                      <a:pt x="73" y="8132"/>
                      <a:pt x="0" y="8088"/>
                    </a:cubicBezTo>
                    <a:cubicBezTo>
                      <a:pt x="0" y="8046"/>
                      <a:pt x="0" y="8046"/>
                      <a:pt x="0" y="8046"/>
                    </a:cubicBezTo>
                    <a:cubicBezTo>
                      <a:pt x="126" y="8120"/>
                      <a:pt x="223" y="8204"/>
                      <a:pt x="248" y="8226"/>
                    </a:cubicBezTo>
                    <a:cubicBezTo>
                      <a:pt x="252" y="8222"/>
                      <a:pt x="255" y="8219"/>
                      <a:pt x="259" y="8215"/>
                    </a:cubicBezTo>
                    <a:cubicBezTo>
                      <a:pt x="596" y="7856"/>
                      <a:pt x="596" y="7856"/>
                      <a:pt x="596" y="7856"/>
                    </a:cubicBezTo>
                    <a:cubicBezTo>
                      <a:pt x="594" y="7853"/>
                      <a:pt x="594" y="7853"/>
                      <a:pt x="594" y="7853"/>
                    </a:cubicBezTo>
                    <a:cubicBezTo>
                      <a:pt x="592" y="7855"/>
                      <a:pt x="592" y="7855"/>
                      <a:pt x="592" y="7855"/>
                    </a:cubicBezTo>
                    <a:cubicBezTo>
                      <a:pt x="173" y="7273"/>
                      <a:pt x="173" y="7273"/>
                      <a:pt x="173" y="7273"/>
                    </a:cubicBezTo>
                    <a:cubicBezTo>
                      <a:pt x="0" y="7208"/>
                      <a:pt x="0" y="7208"/>
                      <a:pt x="0" y="7208"/>
                    </a:cubicBezTo>
                    <a:cubicBezTo>
                      <a:pt x="0" y="7180"/>
                      <a:pt x="0" y="7180"/>
                      <a:pt x="0" y="7180"/>
                    </a:cubicBezTo>
                    <a:cubicBezTo>
                      <a:pt x="190" y="7251"/>
                      <a:pt x="190" y="7251"/>
                      <a:pt x="190" y="7251"/>
                    </a:cubicBezTo>
                    <a:cubicBezTo>
                      <a:pt x="608" y="7833"/>
                      <a:pt x="608" y="7833"/>
                      <a:pt x="608" y="7833"/>
                    </a:cubicBezTo>
                    <a:cubicBezTo>
                      <a:pt x="610" y="7834"/>
                      <a:pt x="612" y="7836"/>
                      <a:pt x="614" y="7837"/>
                    </a:cubicBezTo>
                    <a:cubicBezTo>
                      <a:pt x="864" y="7570"/>
                      <a:pt x="864" y="7570"/>
                      <a:pt x="864" y="7570"/>
                    </a:cubicBezTo>
                    <a:cubicBezTo>
                      <a:pt x="864" y="7572"/>
                      <a:pt x="864" y="7572"/>
                      <a:pt x="864" y="7572"/>
                    </a:cubicBezTo>
                    <a:cubicBezTo>
                      <a:pt x="894" y="7544"/>
                      <a:pt x="894" y="7544"/>
                      <a:pt x="894" y="7544"/>
                    </a:cubicBezTo>
                    <a:cubicBezTo>
                      <a:pt x="1023" y="7226"/>
                      <a:pt x="1023" y="7226"/>
                      <a:pt x="1023" y="7226"/>
                    </a:cubicBezTo>
                    <a:cubicBezTo>
                      <a:pt x="1023" y="7226"/>
                      <a:pt x="1023" y="7226"/>
                      <a:pt x="1023" y="7226"/>
                    </a:cubicBezTo>
                    <a:cubicBezTo>
                      <a:pt x="1082" y="7068"/>
                      <a:pt x="1082" y="7068"/>
                      <a:pt x="1082" y="7068"/>
                    </a:cubicBezTo>
                    <a:cubicBezTo>
                      <a:pt x="1079" y="7061"/>
                      <a:pt x="1073" y="7051"/>
                      <a:pt x="1064" y="7036"/>
                    </a:cubicBezTo>
                    <a:cubicBezTo>
                      <a:pt x="1021" y="6962"/>
                      <a:pt x="914" y="6795"/>
                      <a:pt x="752" y="6646"/>
                    </a:cubicBezTo>
                    <a:cubicBezTo>
                      <a:pt x="571" y="6479"/>
                      <a:pt x="334" y="6330"/>
                      <a:pt x="179" y="6261"/>
                    </a:cubicBezTo>
                    <a:cubicBezTo>
                      <a:pt x="179" y="6262"/>
                      <a:pt x="179" y="6262"/>
                      <a:pt x="179" y="6262"/>
                    </a:cubicBezTo>
                    <a:cubicBezTo>
                      <a:pt x="177" y="6263"/>
                      <a:pt x="177" y="6263"/>
                      <a:pt x="177" y="6263"/>
                    </a:cubicBezTo>
                    <a:cubicBezTo>
                      <a:pt x="146" y="6297"/>
                      <a:pt x="108" y="6374"/>
                      <a:pt x="2" y="6438"/>
                    </a:cubicBezTo>
                    <a:cubicBezTo>
                      <a:pt x="2" y="6438"/>
                      <a:pt x="1" y="6438"/>
                      <a:pt x="0" y="6439"/>
                    </a:cubicBezTo>
                    <a:cubicBezTo>
                      <a:pt x="0" y="6396"/>
                      <a:pt x="0" y="6396"/>
                      <a:pt x="0" y="6396"/>
                    </a:cubicBezTo>
                    <a:cubicBezTo>
                      <a:pt x="80" y="6342"/>
                      <a:pt x="112" y="6285"/>
                      <a:pt x="145" y="6246"/>
                    </a:cubicBezTo>
                    <a:cubicBezTo>
                      <a:pt x="127" y="6239"/>
                      <a:pt x="111" y="6233"/>
                      <a:pt x="97" y="6229"/>
                    </a:cubicBezTo>
                    <a:cubicBezTo>
                      <a:pt x="69" y="6221"/>
                      <a:pt x="37" y="6212"/>
                      <a:pt x="0" y="6203"/>
                    </a:cubicBezTo>
                    <a:cubicBezTo>
                      <a:pt x="0" y="6166"/>
                      <a:pt x="0" y="6166"/>
                      <a:pt x="0" y="6166"/>
                    </a:cubicBezTo>
                    <a:cubicBezTo>
                      <a:pt x="41" y="6175"/>
                      <a:pt x="77" y="6185"/>
                      <a:pt x="108" y="6195"/>
                    </a:cubicBezTo>
                    <a:cubicBezTo>
                      <a:pt x="124" y="6200"/>
                      <a:pt x="143" y="6207"/>
                      <a:pt x="163" y="6215"/>
                    </a:cubicBezTo>
                    <a:cubicBezTo>
                      <a:pt x="1274" y="4182"/>
                      <a:pt x="1274" y="4182"/>
                      <a:pt x="1274" y="4182"/>
                    </a:cubicBezTo>
                    <a:cubicBezTo>
                      <a:pt x="1271" y="4181"/>
                      <a:pt x="1271" y="4179"/>
                      <a:pt x="1269" y="4179"/>
                    </a:cubicBezTo>
                    <a:cubicBezTo>
                      <a:pt x="1264" y="4174"/>
                      <a:pt x="1260" y="4169"/>
                      <a:pt x="1252" y="4161"/>
                    </a:cubicBezTo>
                    <a:cubicBezTo>
                      <a:pt x="1152" y="4045"/>
                      <a:pt x="631" y="3365"/>
                      <a:pt x="534" y="3237"/>
                    </a:cubicBezTo>
                    <a:cubicBezTo>
                      <a:pt x="0" y="3807"/>
                      <a:pt x="0" y="3807"/>
                      <a:pt x="0" y="3807"/>
                    </a:cubicBezTo>
                    <a:cubicBezTo>
                      <a:pt x="0" y="3755"/>
                      <a:pt x="0" y="3755"/>
                      <a:pt x="0" y="3755"/>
                    </a:cubicBezTo>
                    <a:cubicBezTo>
                      <a:pt x="1245" y="2423"/>
                      <a:pt x="1245" y="2423"/>
                      <a:pt x="1245" y="2423"/>
                    </a:cubicBezTo>
                    <a:cubicBezTo>
                      <a:pt x="804" y="2083"/>
                      <a:pt x="804" y="2083"/>
                      <a:pt x="804" y="2083"/>
                    </a:cubicBezTo>
                    <a:cubicBezTo>
                      <a:pt x="802" y="2081"/>
                      <a:pt x="802" y="2081"/>
                      <a:pt x="802" y="2081"/>
                    </a:cubicBezTo>
                    <a:cubicBezTo>
                      <a:pt x="802" y="2080"/>
                      <a:pt x="737" y="1989"/>
                      <a:pt x="704" y="1891"/>
                    </a:cubicBezTo>
                    <a:cubicBezTo>
                      <a:pt x="697" y="1884"/>
                      <a:pt x="671" y="1861"/>
                      <a:pt x="633" y="1829"/>
                    </a:cubicBezTo>
                    <a:cubicBezTo>
                      <a:pt x="510" y="1725"/>
                      <a:pt x="254" y="1516"/>
                      <a:pt x="0" y="1309"/>
                    </a:cubicBezTo>
                    <a:cubicBezTo>
                      <a:pt x="0" y="1262"/>
                      <a:pt x="0" y="1262"/>
                      <a:pt x="0" y="1262"/>
                    </a:cubicBezTo>
                    <a:cubicBezTo>
                      <a:pt x="12" y="1271"/>
                      <a:pt x="23" y="1281"/>
                      <a:pt x="34" y="1290"/>
                    </a:cubicBezTo>
                    <a:cubicBezTo>
                      <a:pt x="207" y="1431"/>
                      <a:pt x="380" y="1573"/>
                      <a:pt x="511" y="1680"/>
                    </a:cubicBezTo>
                    <a:cubicBezTo>
                      <a:pt x="577" y="1734"/>
                      <a:pt x="631" y="1780"/>
                      <a:pt x="670" y="1813"/>
                    </a:cubicBezTo>
                    <a:cubicBezTo>
                      <a:pt x="689" y="1829"/>
                      <a:pt x="705" y="1842"/>
                      <a:pt x="715" y="1852"/>
                    </a:cubicBezTo>
                    <a:cubicBezTo>
                      <a:pt x="721" y="1857"/>
                      <a:pt x="725" y="1860"/>
                      <a:pt x="728" y="1863"/>
                    </a:cubicBezTo>
                    <a:cubicBezTo>
                      <a:pt x="730" y="1865"/>
                      <a:pt x="731" y="1866"/>
                      <a:pt x="732" y="1868"/>
                    </a:cubicBezTo>
                    <a:cubicBezTo>
                      <a:pt x="734" y="1869"/>
                      <a:pt x="735" y="1869"/>
                      <a:pt x="737" y="1875"/>
                    </a:cubicBezTo>
                    <a:cubicBezTo>
                      <a:pt x="738" y="1876"/>
                      <a:pt x="738" y="1876"/>
                      <a:pt x="738" y="1876"/>
                    </a:cubicBezTo>
                    <a:cubicBezTo>
                      <a:pt x="738" y="1876"/>
                      <a:pt x="738" y="1876"/>
                      <a:pt x="738" y="1876"/>
                    </a:cubicBezTo>
                    <a:cubicBezTo>
                      <a:pt x="752" y="1922"/>
                      <a:pt x="776" y="1969"/>
                      <a:pt x="796" y="2003"/>
                    </a:cubicBezTo>
                    <a:cubicBezTo>
                      <a:pt x="812" y="2031"/>
                      <a:pt x="826" y="2051"/>
                      <a:pt x="830" y="2058"/>
                    </a:cubicBezTo>
                    <a:cubicBezTo>
                      <a:pt x="1271" y="2398"/>
                      <a:pt x="1271" y="2398"/>
                      <a:pt x="1271" y="2398"/>
                    </a:cubicBezTo>
                    <a:cubicBezTo>
                      <a:pt x="1264" y="2406"/>
                      <a:pt x="1264" y="2406"/>
                      <a:pt x="1264" y="2406"/>
                    </a:cubicBezTo>
                    <a:cubicBezTo>
                      <a:pt x="1333" y="2346"/>
                      <a:pt x="1609" y="2106"/>
                      <a:pt x="1887" y="1866"/>
                    </a:cubicBezTo>
                    <a:cubicBezTo>
                      <a:pt x="2047" y="1727"/>
                      <a:pt x="2208" y="1589"/>
                      <a:pt x="2329" y="1485"/>
                    </a:cubicBezTo>
                    <a:cubicBezTo>
                      <a:pt x="2390" y="1433"/>
                      <a:pt x="2441" y="1389"/>
                      <a:pt x="2477" y="1359"/>
                    </a:cubicBezTo>
                    <a:cubicBezTo>
                      <a:pt x="2495" y="1344"/>
                      <a:pt x="2510" y="1332"/>
                      <a:pt x="2520" y="1323"/>
                    </a:cubicBezTo>
                    <a:cubicBezTo>
                      <a:pt x="2522" y="1322"/>
                      <a:pt x="2522" y="1322"/>
                      <a:pt x="2524" y="1320"/>
                    </a:cubicBezTo>
                    <a:cubicBezTo>
                      <a:pt x="2535" y="1301"/>
                      <a:pt x="2535" y="1301"/>
                      <a:pt x="2535" y="1301"/>
                    </a:cubicBezTo>
                    <a:cubicBezTo>
                      <a:pt x="2532" y="1297"/>
                      <a:pt x="2529" y="1293"/>
                      <a:pt x="2527" y="1288"/>
                    </a:cubicBezTo>
                    <a:cubicBezTo>
                      <a:pt x="2505" y="1241"/>
                      <a:pt x="2488" y="1175"/>
                      <a:pt x="2475" y="1118"/>
                    </a:cubicBezTo>
                    <a:cubicBezTo>
                      <a:pt x="2464" y="1066"/>
                      <a:pt x="2456" y="1023"/>
                      <a:pt x="2455" y="1016"/>
                    </a:cubicBezTo>
                    <a:cubicBezTo>
                      <a:pt x="2246" y="0"/>
                      <a:pt x="2246" y="0"/>
                      <a:pt x="2246" y="0"/>
                    </a:cubicBezTo>
                    <a:cubicBezTo>
                      <a:pt x="2363" y="0"/>
                      <a:pt x="2363" y="0"/>
                      <a:pt x="2363" y="0"/>
                    </a:cubicBezTo>
                    <a:cubicBezTo>
                      <a:pt x="2568" y="995"/>
                      <a:pt x="2568" y="995"/>
                      <a:pt x="2568" y="995"/>
                    </a:cubicBezTo>
                    <a:cubicBezTo>
                      <a:pt x="2568" y="996"/>
                      <a:pt x="2568" y="996"/>
                      <a:pt x="2568" y="996"/>
                    </a:cubicBezTo>
                    <a:cubicBezTo>
                      <a:pt x="2568" y="996"/>
                      <a:pt x="2575" y="1040"/>
                      <a:pt x="2587" y="1093"/>
                    </a:cubicBezTo>
                    <a:cubicBezTo>
                      <a:pt x="2599" y="1146"/>
                      <a:pt x="2616" y="1210"/>
                      <a:pt x="2631" y="1239"/>
                    </a:cubicBezTo>
                    <a:cubicBezTo>
                      <a:pt x="2642" y="1263"/>
                      <a:pt x="2665" y="1285"/>
                      <a:pt x="2696" y="1303"/>
                    </a:cubicBezTo>
                    <a:cubicBezTo>
                      <a:pt x="2726" y="1321"/>
                      <a:pt x="2761" y="1334"/>
                      <a:pt x="2789" y="1345"/>
                    </a:cubicBezTo>
                    <a:cubicBezTo>
                      <a:pt x="2847" y="1366"/>
                      <a:pt x="3616" y="1643"/>
                      <a:pt x="3893" y="1734"/>
                    </a:cubicBezTo>
                    <a:cubicBezTo>
                      <a:pt x="3917" y="1742"/>
                      <a:pt x="3940" y="1751"/>
                      <a:pt x="3964" y="1760"/>
                    </a:cubicBezTo>
                    <a:cubicBezTo>
                      <a:pt x="3964" y="1760"/>
                      <a:pt x="3964" y="1760"/>
                      <a:pt x="3964" y="1760"/>
                    </a:cubicBezTo>
                    <a:cubicBezTo>
                      <a:pt x="3966" y="1760"/>
                      <a:pt x="3971" y="1752"/>
                      <a:pt x="3975" y="1744"/>
                    </a:cubicBezTo>
                    <a:cubicBezTo>
                      <a:pt x="4042" y="1410"/>
                      <a:pt x="4042" y="1410"/>
                      <a:pt x="4042" y="1410"/>
                    </a:cubicBezTo>
                    <a:cubicBezTo>
                      <a:pt x="4043" y="1407"/>
                      <a:pt x="4043" y="1407"/>
                      <a:pt x="4043" y="1407"/>
                    </a:cubicBezTo>
                    <a:cubicBezTo>
                      <a:pt x="4043" y="1407"/>
                      <a:pt x="4071" y="1355"/>
                      <a:pt x="4112" y="1286"/>
                    </a:cubicBezTo>
                    <a:cubicBezTo>
                      <a:pt x="4132" y="1255"/>
                      <a:pt x="4150" y="1204"/>
                      <a:pt x="4164" y="1161"/>
                    </a:cubicBezTo>
                    <a:cubicBezTo>
                      <a:pt x="4177" y="1119"/>
                      <a:pt x="4186" y="1085"/>
                      <a:pt x="4186" y="1085"/>
                    </a:cubicBezTo>
                    <a:cubicBezTo>
                      <a:pt x="4186" y="1083"/>
                      <a:pt x="4186" y="1083"/>
                      <a:pt x="4186" y="1083"/>
                    </a:cubicBezTo>
                    <a:cubicBezTo>
                      <a:pt x="4425" y="619"/>
                      <a:pt x="4425" y="619"/>
                      <a:pt x="4425" y="619"/>
                    </a:cubicBezTo>
                    <a:cubicBezTo>
                      <a:pt x="4402" y="53"/>
                      <a:pt x="4402" y="53"/>
                      <a:pt x="4402" y="53"/>
                    </a:cubicBezTo>
                    <a:cubicBezTo>
                      <a:pt x="4355" y="0"/>
                      <a:pt x="4355" y="0"/>
                      <a:pt x="4355" y="0"/>
                    </a:cubicBezTo>
                    <a:cubicBezTo>
                      <a:pt x="4403" y="0"/>
                      <a:pt x="4403" y="0"/>
                      <a:pt x="4403" y="0"/>
                    </a:cubicBezTo>
                    <a:cubicBezTo>
                      <a:pt x="4427" y="28"/>
                      <a:pt x="4427" y="28"/>
                      <a:pt x="4427" y="28"/>
                    </a:cubicBezTo>
                    <a:cubicBezTo>
                      <a:pt x="4556" y="22"/>
                      <a:pt x="4664" y="12"/>
                      <a:pt x="4753" y="0"/>
                    </a:cubicBezTo>
                    <a:cubicBezTo>
                      <a:pt x="4959" y="0"/>
                      <a:pt x="4959" y="0"/>
                      <a:pt x="4959" y="0"/>
                    </a:cubicBezTo>
                    <a:cubicBezTo>
                      <a:pt x="4859" y="23"/>
                      <a:pt x="4687" y="52"/>
                      <a:pt x="4438" y="63"/>
                    </a:cubicBezTo>
                    <a:cubicBezTo>
                      <a:pt x="4461" y="606"/>
                      <a:pt x="4461" y="606"/>
                      <a:pt x="4461" y="606"/>
                    </a:cubicBezTo>
                    <a:cubicBezTo>
                      <a:pt x="4463" y="604"/>
                      <a:pt x="4463" y="604"/>
                      <a:pt x="4463" y="604"/>
                    </a:cubicBezTo>
                    <a:cubicBezTo>
                      <a:pt x="4463" y="604"/>
                      <a:pt x="4507" y="628"/>
                      <a:pt x="4588" y="663"/>
                    </a:cubicBezTo>
                    <a:cubicBezTo>
                      <a:pt x="4669" y="699"/>
                      <a:pt x="4786" y="745"/>
                      <a:pt x="4929" y="787"/>
                    </a:cubicBezTo>
                    <a:cubicBezTo>
                      <a:pt x="5093" y="836"/>
                      <a:pt x="5260" y="886"/>
                      <a:pt x="5395" y="921"/>
                    </a:cubicBezTo>
                    <a:cubicBezTo>
                      <a:pt x="5400" y="901"/>
                      <a:pt x="5413" y="857"/>
                      <a:pt x="5426" y="809"/>
                    </a:cubicBezTo>
                    <a:cubicBezTo>
                      <a:pt x="5443" y="742"/>
                      <a:pt x="5461" y="666"/>
                      <a:pt x="5462" y="636"/>
                    </a:cubicBezTo>
                    <a:cubicBezTo>
                      <a:pt x="5466" y="565"/>
                      <a:pt x="5481" y="539"/>
                      <a:pt x="5501" y="486"/>
                    </a:cubicBezTo>
                    <a:cubicBezTo>
                      <a:pt x="5507" y="473"/>
                      <a:pt x="5517" y="463"/>
                      <a:pt x="5531" y="450"/>
                    </a:cubicBezTo>
                    <a:cubicBezTo>
                      <a:pt x="5580" y="406"/>
                      <a:pt x="5682" y="338"/>
                      <a:pt x="5775" y="280"/>
                    </a:cubicBezTo>
                    <a:cubicBezTo>
                      <a:pt x="5821" y="251"/>
                      <a:pt x="5865" y="225"/>
                      <a:pt x="5897" y="206"/>
                    </a:cubicBezTo>
                    <a:cubicBezTo>
                      <a:pt x="5911" y="198"/>
                      <a:pt x="5922" y="191"/>
                      <a:pt x="5943" y="180"/>
                    </a:cubicBezTo>
                    <a:cubicBezTo>
                      <a:pt x="5961" y="211"/>
                      <a:pt x="5961" y="211"/>
                      <a:pt x="5961" y="211"/>
                    </a:cubicBezTo>
                    <a:cubicBezTo>
                      <a:pt x="5912" y="238"/>
                      <a:pt x="5824" y="291"/>
                      <a:pt x="5740" y="345"/>
                    </a:cubicBezTo>
                    <a:cubicBezTo>
                      <a:pt x="5689" y="378"/>
                      <a:pt x="5638" y="412"/>
                      <a:pt x="5600" y="441"/>
                    </a:cubicBezTo>
                    <a:cubicBezTo>
                      <a:pt x="5581" y="455"/>
                      <a:pt x="5565" y="468"/>
                      <a:pt x="5553" y="479"/>
                    </a:cubicBezTo>
                    <a:cubicBezTo>
                      <a:pt x="5542" y="489"/>
                      <a:pt x="5535" y="498"/>
                      <a:pt x="5535" y="499"/>
                    </a:cubicBezTo>
                    <a:cubicBezTo>
                      <a:pt x="5514" y="556"/>
                      <a:pt x="5502" y="571"/>
                      <a:pt x="5498" y="637"/>
                    </a:cubicBezTo>
                    <a:cubicBezTo>
                      <a:pt x="5495" y="701"/>
                      <a:pt x="5444" y="880"/>
                      <a:pt x="5429" y="930"/>
                    </a:cubicBezTo>
                    <a:cubicBezTo>
                      <a:pt x="5516" y="952"/>
                      <a:pt x="5587" y="966"/>
                      <a:pt x="5632" y="969"/>
                    </a:cubicBezTo>
                    <a:cubicBezTo>
                      <a:pt x="5645" y="969"/>
                      <a:pt x="5656" y="970"/>
                      <a:pt x="5667" y="970"/>
                    </a:cubicBezTo>
                    <a:cubicBezTo>
                      <a:pt x="5765" y="969"/>
                      <a:pt x="5823" y="944"/>
                      <a:pt x="5925" y="888"/>
                    </a:cubicBezTo>
                    <a:cubicBezTo>
                      <a:pt x="6038" y="827"/>
                      <a:pt x="6267" y="693"/>
                      <a:pt x="6268" y="693"/>
                    </a:cubicBezTo>
                    <a:cubicBezTo>
                      <a:pt x="6268" y="693"/>
                      <a:pt x="6268" y="693"/>
                      <a:pt x="6268" y="693"/>
                    </a:cubicBezTo>
                    <a:cubicBezTo>
                      <a:pt x="6269" y="693"/>
                      <a:pt x="6269" y="693"/>
                      <a:pt x="6269" y="693"/>
                    </a:cubicBezTo>
                    <a:cubicBezTo>
                      <a:pt x="6270" y="692"/>
                      <a:pt x="6320" y="667"/>
                      <a:pt x="6388" y="666"/>
                    </a:cubicBezTo>
                    <a:cubicBezTo>
                      <a:pt x="6458" y="666"/>
                      <a:pt x="6548" y="696"/>
                      <a:pt x="6612" y="805"/>
                    </a:cubicBezTo>
                    <a:cubicBezTo>
                      <a:pt x="6890" y="1307"/>
                      <a:pt x="6890" y="1307"/>
                      <a:pt x="6890" y="1307"/>
                    </a:cubicBezTo>
                    <a:cubicBezTo>
                      <a:pt x="6890" y="1308"/>
                      <a:pt x="6897" y="1321"/>
                      <a:pt x="6912" y="1342"/>
                    </a:cubicBezTo>
                    <a:cubicBezTo>
                      <a:pt x="6926" y="1363"/>
                      <a:pt x="6947" y="1391"/>
                      <a:pt x="6973" y="1417"/>
                    </a:cubicBezTo>
                    <a:cubicBezTo>
                      <a:pt x="6995" y="1439"/>
                      <a:pt x="7027" y="1458"/>
                      <a:pt x="7057" y="1480"/>
                    </a:cubicBezTo>
                    <a:cubicBezTo>
                      <a:pt x="7059" y="1467"/>
                      <a:pt x="7062" y="1451"/>
                      <a:pt x="7066" y="1434"/>
                    </a:cubicBezTo>
                    <a:cubicBezTo>
                      <a:pt x="7072" y="1402"/>
                      <a:pt x="7078" y="1365"/>
                      <a:pt x="7080" y="1351"/>
                    </a:cubicBezTo>
                    <a:cubicBezTo>
                      <a:pt x="7076" y="1344"/>
                      <a:pt x="7077" y="1342"/>
                      <a:pt x="7077" y="1338"/>
                    </a:cubicBezTo>
                    <a:cubicBezTo>
                      <a:pt x="7077" y="1326"/>
                      <a:pt x="7080" y="1310"/>
                      <a:pt x="7088" y="1294"/>
                    </a:cubicBezTo>
                    <a:cubicBezTo>
                      <a:pt x="7097" y="1278"/>
                      <a:pt x="7112" y="1261"/>
                      <a:pt x="7135" y="1257"/>
                    </a:cubicBezTo>
                    <a:cubicBezTo>
                      <a:pt x="7176" y="1251"/>
                      <a:pt x="7370" y="1216"/>
                      <a:pt x="7423" y="1193"/>
                    </a:cubicBezTo>
                    <a:cubicBezTo>
                      <a:pt x="7480" y="1170"/>
                      <a:pt x="7657" y="1132"/>
                      <a:pt x="7752" y="1122"/>
                    </a:cubicBezTo>
                    <a:cubicBezTo>
                      <a:pt x="7762" y="589"/>
                      <a:pt x="7762" y="589"/>
                      <a:pt x="7762" y="589"/>
                    </a:cubicBezTo>
                    <a:cubicBezTo>
                      <a:pt x="7598" y="267"/>
                      <a:pt x="7598" y="267"/>
                      <a:pt x="7598" y="267"/>
                    </a:cubicBezTo>
                    <a:cubicBezTo>
                      <a:pt x="7592" y="257"/>
                      <a:pt x="7521" y="139"/>
                      <a:pt x="7451" y="21"/>
                    </a:cubicBezTo>
                    <a:cubicBezTo>
                      <a:pt x="7447" y="14"/>
                      <a:pt x="7443" y="7"/>
                      <a:pt x="7439" y="0"/>
                    </a:cubicBezTo>
                    <a:cubicBezTo>
                      <a:pt x="7481" y="0"/>
                      <a:pt x="7481" y="0"/>
                      <a:pt x="7481" y="0"/>
                    </a:cubicBezTo>
                    <a:cubicBezTo>
                      <a:pt x="7555" y="125"/>
                      <a:pt x="7629" y="249"/>
                      <a:pt x="7630" y="250"/>
                    </a:cubicBezTo>
                    <a:cubicBezTo>
                      <a:pt x="7630" y="250"/>
                      <a:pt x="7630" y="250"/>
                      <a:pt x="7630" y="250"/>
                    </a:cubicBezTo>
                    <a:cubicBezTo>
                      <a:pt x="7798" y="581"/>
                      <a:pt x="7798" y="581"/>
                      <a:pt x="7798" y="581"/>
                    </a:cubicBezTo>
                    <a:cubicBezTo>
                      <a:pt x="7788" y="1120"/>
                      <a:pt x="7788" y="1120"/>
                      <a:pt x="7788" y="1120"/>
                    </a:cubicBezTo>
                    <a:cubicBezTo>
                      <a:pt x="7792" y="1120"/>
                      <a:pt x="7795" y="1119"/>
                      <a:pt x="7800" y="1119"/>
                    </a:cubicBezTo>
                    <a:cubicBezTo>
                      <a:pt x="7913" y="1119"/>
                      <a:pt x="8275" y="1141"/>
                      <a:pt x="8457" y="1147"/>
                    </a:cubicBezTo>
                    <a:cubicBezTo>
                      <a:pt x="8481" y="1148"/>
                      <a:pt x="8514" y="1148"/>
                      <a:pt x="8552" y="1148"/>
                    </a:cubicBezTo>
                    <a:cubicBezTo>
                      <a:pt x="8797" y="1148"/>
                      <a:pt x="9272" y="1133"/>
                      <a:pt x="9352" y="1133"/>
                    </a:cubicBezTo>
                    <a:cubicBezTo>
                      <a:pt x="9355" y="1133"/>
                      <a:pt x="9358" y="1133"/>
                      <a:pt x="9360" y="1133"/>
                    </a:cubicBezTo>
                    <a:cubicBezTo>
                      <a:pt x="9360" y="1133"/>
                      <a:pt x="9360" y="1133"/>
                      <a:pt x="9360" y="1133"/>
                    </a:cubicBezTo>
                    <a:cubicBezTo>
                      <a:pt x="9368" y="1129"/>
                      <a:pt x="9392" y="1113"/>
                      <a:pt x="9420" y="1094"/>
                    </a:cubicBezTo>
                    <a:cubicBezTo>
                      <a:pt x="9469" y="1060"/>
                      <a:pt x="9536" y="1013"/>
                      <a:pt x="9592" y="973"/>
                    </a:cubicBezTo>
                    <a:cubicBezTo>
                      <a:pt x="9620" y="954"/>
                      <a:pt x="9645" y="936"/>
                      <a:pt x="9663" y="923"/>
                    </a:cubicBezTo>
                    <a:cubicBezTo>
                      <a:pt x="9673" y="917"/>
                      <a:pt x="9681" y="912"/>
                      <a:pt x="9686" y="908"/>
                    </a:cubicBezTo>
                    <a:cubicBezTo>
                      <a:pt x="9689" y="906"/>
                      <a:pt x="9692" y="905"/>
                      <a:pt x="9694" y="904"/>
                    </a:cubicBezTo>
                    <a:cubicBezTo>
                      <a:pt x="9697" y="903"/>
                      <a:pt x="9696" y="901"/>
                      <a:pt x="9706" y="900"/>
                    </a:cubicBezTo>
                    <a:cubicBezTo>
                      <a:pt x="9809" y="900"/>
                      <a:pt x="9809" y="900"/>
                      <a:pt x="9809" y="900"/>
                    </a:cubicBezTo>
                    <a:cubicBezTo>
                      <a:pt x="9808" y="826"/>
                      <a:pt x="9796" y="526"/>
                      <a:pt x="9784" y="241"/>
                    </a:cubicBezTo>
                    <a:cubicBezTo>
                      <a:pt x="9781" y="157"/>
                      <a:pt x="9777" y="75"/>
                      <a:pt x="9774" y="0"/>
                    </a:cubicBezTo>
                    <a:cubicBezTo>
                      <a:pt x="9810" y="0"/>
                      <a:pt x="9810" y="0"/>
                      <a:pt x="9810" y="0"/>
                    </a:cubicBezTo>
                    <a:cubicBezTo>
                      <a:pt x="9824" y="330"/>
                      <a:pt x="9844" y="803"/>
                      <a:pt x="9845" y="900"/>
                    </a:cubicBezTo>
                    <a:cubicBezTo>
                      <a:pt x="10595" y="900"/>
                      <a:pt x="10595" y="900"/>
                      <a:pt x="10595" y="900"/>
                    </a:cubicBezTo>
                    <a:cubicBezTo>
                      <a:pt x="10597" y="900"/>
                      <a:pt x="10742" y="900"/>
                      <a:pt x="10855" y="1008"/>
                    </a:cubicBezTo>
                    <a:cubicBezTo>
                      <a:pt x="10907" y="1059"/>
                      <a:pt x="11028" y="1165"/>
                      <a:pt x="11136" y="1257"/>
                    </a:cubicBezTo>
                    <a:cubicBezTo>
                      <a:pt x="11210" y="1321"/>
                      <a:pt x="11277" y="1378"/>
                      <a:pt x="11312" y="1408"/>
                    </a:cubicBezTo>
                    <a:cubicBezTo>
                      <a:pt x="11340" y="1421"/>
                      <a:pt x="11340" y="1421"/>
                      <a:pt x="11340" y="1421"/>
                    </a:cubicBezTo>
                    <a:cubicBezTo>
                      <a:pt x="11377" y="1385"/>
                      <a:pt x="11411" y="1352"/>
                      <a:pt x="11442" y="1323"/>
                    </a:cubicBezTo>
                    <a:cubicBezTo>
                      <a:pt x="11488" y="1278"/>
                      <a:pt x="11526" y="1241"/>
                      <a:pt x="11552" y="1215"/>
                    </a:cubicBezTo>
                    <a:cubicBezTo>
                      <a:pt x="11565" y="1202"/>
                      <a:pt x="11576" y="1192"/>
                      <a:pt x="11583" y="1185"/>
                    </a:cubicBezTo>
                    <a:cubicBezTo>
                      <a:pt x="11585" y="1183"/>
                      <a:pt x="11586" y="1182"/>
                      <a:pt x="11588" y="1180"/>
                    </a:cubicBezTo>
                    <a:cubicBezTo>
                      <a:pt x="11591" y="1176"/>
                      <a:pt x="11591" y="1176"/>
                      <a:pt x="11593" y="1173"/>
                    </a:cubicBezTo>
                    <a:cubicBezTo>
                      <a:pt x="11608" y="1157"/>
                      <a:pt x="11648" y="1116"/>
                      <a:pt x="11692" y="1070"/>
                    </a:cubicBezTo>
                    <a:cubicBezTo>
                      <a:pt x="11715" y="1046"/>
                      <a:pt x="11739" y="1020"/>
                      <a:pt x="11758" y="998"/>
                    </a:cubicBezTo>
                    <a:cubicBezTo>
                      <a:pt x="11755" y="987"/>
                      <a:pt x="11755" y="987"/>
                      <a:pt x="11755" y="987"/>
                    </a:cubicBezTo>
                    <a:cubicBezTo>
                      <a:pt x="11718" y="927"/>
                      <a:pt x="11579" y="680"/>
                      <a:pt x="11576" y="252"/>
                    </a:cubicBezTo>
                    <a:cubicBezTo>
                      <a:pt x="11575" y="162"/>
                      <a:pt x="11574" y="77"/>
                      <a:pt x="11572" y="0"/>
                    </a:cubicBezTo>
                    <a:cubicBezTo>
                      <a:pt x="11608" y="0"/>
                      <a:pt x="11608" y="0"/>
                      <a:pt x="11608" y="0"/>
                    </a:cubicBezTo>
                    <a:cubicBezTo>
                      <a:pt x="11610" y="77"/>
                      <a:pt x="11611" y="162"/>
                      <a:pt x="11612" y="252"/>
                    </a:cubicBezTo>
                    <a:cubicBezTo>
                      <a:pt x="11614" y="493"/>
                      <a:pt x="11660" y="676"/>
                      <a:pt x="11705" y="798"/>
                    </a:cubicBezTo>
                    <a:cubicBezTo>
                      <a:pt x="11727" y="859"/>
                      <a:pt x="11750" y="904"/>
                      <a:pt x="11767" y="935"/>
                    </a:cubicBezTo>
                    <a:cubicBezTo>
                      <a:pt x="11769" y="939"/>
                      <a:pt x="11771" y="943"/>
                      <a:pt x="11774" y="947"/>
                    </a:cubicBezTo>
                    <a:cubicBezTo>
                      <a:pt x="11790" y="959"/>
                      <a:pt x="11790" y="959"/>
                      <a:pt x="11790" y="959"/>
                    </a:cubicBezTo>
                    <a:cubicBezTo>
                      <a:pt x="11790" y="959"/>
                      <a:pt x="11790" y="959"/>
                      <a:pt x="11790" y="959"/>
                    </a:cubicBezTo>
                    <a:cubicBezTo>
                      <a:pt x="11812" y="927"/>
                      <a:pt x="11851" y="881"/>
                      <a:pt x="11899" y="835"/>
                    </a:cubicBezTo>
                    <a:cubicBezTo>
                      <a:pt x="11947" y="788"/>
                      <a:pt x="12003" y="743"/>
                      <a:pt x="12062" y="716"/>
                    </a:cubicBezTo>
                    <a:cubicBezTo>
                      <a:pt x="12175" y="665"/>
                      <a:pt x="12293" y="664"/>
                      <a:pt x="12415" y="659"/>
                    </a:cubicBezTo>
                    <a:cubicBezTo>
                      <a:pt x="12480" y="656"/>
                      <a:pt x="12919" y="655"/>
                      <a:pt x="13363" y="652"/>
                    </a:cubicBezTo>
                    <a:cubicBezTo>
                      <a:pt x="13584" y="651"/>
                      <a:pt x="13805" y="650"/>
                      <a:pt x="13979" y="648"/>
                    </a:cubicBezTo>
                    <a:cubicBezTo>
                      <a:pt x="13987" y="648"/>
                      <a:pt x="13995" y="648"/>
                      <a:pt x="14002" y="648"/>
                    </a:cubicBezTo>
                    <a:cubicBezTo>
                      <a:pt x="14005" y="642"/>
                      <a:pt x="14005" y="642"/>
                      <a:pt x="14005" y="642"/>
                    </a:cubicBezTo>
                    <a:cubicBezTo>
                      <a:pt x="14010" y="630"/>
                      <a:pt x="14022" y="598"/>
                      <a:pt x="14036" y="558"/>
                    </a:cubicBezTo>
                    <a:cubicBezTo>
                      <a:pt x="14081" y="430"/>
                      <a:pt x="14152" y="211"/>
                      <a:pt x="14169" y="161"/>
                    </a:cubicBezTo>
                    <a:cubicBezTo>
                      <a:pt x="14013" y="0"/>
                      <a:pt x="14013" y="0"/>
                      <a:pt x="14013" y="0"/>
                    </a:cubicBezTo>
                    <a:cubicBezTo>
                      <a:pt x="14033" y="0"/>
                      <a:pt x="14033" y="0"/>
                      <a:pt x="14033" y="0"/>
                    </a:cubicBezTo>
                    <a:cubicBezTo>
                      <a:pt x="14063" y="0"/>
                      <a:pt x="14063" y="0"/>
                      <a:pt x="14063" y="0"/>
                    </a:cubicBezTo>
                    <a:cubicBezTo>
                      <a:pt x="14070" y="0"/>
                      <a:pt x="14070" y="0"/>
                      <a:pt x="14070" y="0"/>
                    </a:cubicBezTo>
                    <a:cubicBezTo>
                      <a:pt x="14214" y="145"/>
                      <a:pt x="14214" y="145"/>
                      <a:pt x="14214" y="145"/>
                    </a:cubicBezTo>
                    <a:cubicBezTo>
                      <a:pt x="14212" y="153"/>
                      <a:pt x="14212" y="153"/>
                      <a:pt x="14212" y="153"/>
                    </a:cubicBezTo>
                    <a:cubicBezTo>
                      <a:pt x="14212" y="153"/>
                      <a:pt x="14172" y="281"/>
                      <a:pt x="14131" y="409"/>
                    </a:cubicBezTo>
                    <a:cubicBezTo>
                      <a:pt x="14110" y="474"/>
                      <a:pt x="14089" y="538"/>
                      <a:pt x="14072" y="586"/>
                    </a:cubicBezTo>
                    <a:cubicBezTo>
                      <a:pt x="14064" y="607"/>
                      <a:pt x="14058" y="625"/>
                      <a:pt x="14052" y="638"/>
                    </a:cubicBezTo>
                    <a:cubicBezTo>
                      <a:pt x="14053" y="647"/>
                      <a:pt x="14053" y="647"/>
                      <a:pt x="14053" y="647"/>
                    </a:cubicBezTo>
                    <a:cubicBezTo>
                      <a:pt x="14188" y="646"/>
                      <a:pt x="14285" y="644"/>
                      <a:pt x="14308" y="642"/>
                    </a:cubicBezTo>
                    <a:cubicBezTo>
                      <a:pt x="14371" y="637"/>
                      <a:pt x="14453" y="630"/>
                      <a:pt x="14527" y="616"/>
                    </a:cubicBezTo>
                    <a:cubicBezTo>
                      <a:pt x="14601" y="603"/>
                      <a:pt x="14667" y="578"/>
                      <a:pt x="14694" y="553"/>
                    </a:cubicBezTo>
                    <a:cubicBezTo>
                      <a:pt x="14768" y="488"/>
                      <a:pt x="14827" y="374"/>
                      <a:pt x="14839" y="346"/>
                    </a:cubicBezTo>
                    <a:cubicBezTo>
                      <a:pt x="14844" y="335"/>
                      <a:pt x="14912" y="189"/>
                      <a:pt x="14999" y="0"/>
                    </a:cubicBezTo>
                    <a:cubicBezTo>
                      <a:pt x="15126" y="0"/>
                      <a:pt x="15126" y="0"/>
                      <a:pt x="15126" y="0"/>
                    </a:cubicBezTo>
                    <a:cubicBezTo>
                      <a:pt x="15028" y="212"/>
                      <a:pt x="14949" y="383"/>
                      <a:pt x="14944" y="394"/>
                    </a:cubicBezTo>
                    <a:cubicBezTo>
                      <a:pt x="14927" y="430"/>
                      <a:pt x="14867" y="552"/>
                      <a:pt x="14770" y="639"/>
                    </a:cubicBezTo>
                    <a:cubicBezTo>
                      <a:pt x="14711" y="690"/>
                      <a:pt x="14631" y="712"/>
                      <a:pt x="14549" y="729"/>
                    </a:cubicBezTo>
                    <a:cubicBezTo>
                      <a:pt x="14466" y="745"/>
                      <a:pt x="14381" y="751"/>
                      <a:pt x="14317" y="756"/>
                    </a:cubicBezTo>
                    <a:cubicBezTo>
                      <a:pt x="14279" y="759"/>
                      <a:pt x="14155" y="761"/>
                      <a:pt x="13980" y="763"/>
                    </a:cubicBezTo>
                    <a:cubicBezTo>
                      <a:pt x="13665" y="766"/>
                      <a:pt x="13194" y="768"/>
                      <a:pt x="12851" y="770"/>
                    </a:cubicBezTo>
                    <a:cubicBezTo>
                      <a:pt x="12850" y="784"/>
                      <a:pt x="12850" y="784"/>
                      <a:pt x="12850" y="784"/>
                    </a:cubicBezTo>
                    <a:cubicBezTo>
                      <a:pt x="12852" y="799"/>
                      <a:pt x="12856" y="818"/>
                      <a:pt x="12861" y="842"/>
                    </a:cubicBezTo>
                    <a:cubicBezTo>
                      <a:pt x="12863" y="854"/>
                      <a:pt x="12866" y="867"/>
                      <a:pt x="12870" y="880"/>
                    </a:cubicBezTo>
                    <a:cubicBezTo>
                      <a:pt x="12977" y="876"/>
                      <a:pt x="13092" y="875"/>
                      <a:pt x="13214" y="875"/>
                    </a:cubicBezTo>
                    <a:cubicBezTo>
                      <a:pt x="13437" y="875"/>
                      <a:pt x="13681" y="879"/>
                      <a:pt x="13927" y="879"/>
                    </a:cubicBezTo>
                    <a:cubicBezTo>
                      <a:pt x="13949" y="879"/>
                      <a:pt x="13972" y="879"/>
                      <a:pt x="13995" y="879"/>
                    </a:cubicBezTo>
                    <a:cubicBezTo>
                      <a:pt x="14324" y="878"/>
                      <a:pt x="14532" y="856"/>
                      <a:pt x="14674" y="823"/>
                    </a:cubicBezTo>
                    <a:cubicBezTo>
                      <a:pt x="14817" y="789"/>
                      <a:pt x="14894" y="746"/>
                      <a:pt x="14976" y="693"/>
                    </a:cubicBezTo>
                    <a:cubicBezTo>
                      <a:pt x="14976" y="693"/>
                      <a:pt x="14979" y="691"/>
                      <a:pt x="14983" y="687"/>
                    </a:cubicBezTo>
                    <a:cubicBezTo>
                      <a:pt x="15000" y="671"/>
                      <a:pt x="15032" y="627"/>
                      <a:pt x="15069" y="569"/>
                    </a:cubicBezTo>
                    <a:cubicBezTo>
                      <a:pt x="15153" y="437"/>
                      <a:pt x="15265" y="225"/>
                      <a:pt x="15380" y="0"/>
                    </a:cubicBezTo>
                    <a:cubicBezTo>
                      <a:pt x="15536" y="0"/>
                      <a:pt x="15536" y="0"/>
                      <a:pt x="15536" y="0"/>
                    </a:cubicBezTo>
                    <a:cubicBezTo>
                      <a:pt x="15452" y="168"/>
                      <a:pt x="15367" y="331"/>
                      <a:pt x="15291" y="466"/>
                    </a:cubicBezTo>
                    <a:cubicBezTo>
                      <a:pt x="15243" y="552"/>
                      <a:pt x="15199" y="626"/>
                      <a:pt x="15161" y="683"/>
                    </a:cubicBezTo>
                    <a:cubicBezTo>
                      <a:pt x="15142" y="712"/>
                      <a:pt x="15124" y="737"/>
                      <a:pt x="15107" y="758"/>
                    </a:cubicBezTo>
                    <a:cubicBezTo>
                      <a:pt x="15089" y="779"/>
                      <a:pt x="15074" y="795"/>
                      <a:pt x="15052" y="810"/>
                    </a:cubicBezTo>
                    <a:cubicBezTo>
                      <a:pt x="14965" y="867"/>
                      <a:pt x="14864" y="922"/>
                      <a:pt x="14706" y="959"/>
                    </a:cubicBezTo>
                    <a:cubicBezTo>
                      <a:pt x="14548" y="995"/>
                      <a:pt x="14331" y="1017"/>
                      <a:pt x="13995" y="1018"/>
                    </a:cubicBezTo>
                    <a:cubicBezTo>
                      <a:pt x="13972" y="1018"/>
                      <a:pt x="13950" y="1018"/>
                      <a:pt x="13927" y="1018"/>
                    </a:cubicBezTo>
                    <a:cubicBezTo>
                      <a:pt x="13679" y="1018"/>
                      <a:pt x="13435" y="1014"/>
                      <a:pt x="13214" y="1014"/>
                    </a:cubicBezTo>
                    <a:cubicBezTo>
                      <a:pt x="13264" y="1016"/>
                      <a:pt x="13264" y="1016"/>
                      <a:pt x="13264" y="1016"/>
                    </a:cubicBezTo>
                    <a:cubicBezTo>
                      <a:pt x="13206" y="1016"/>
                      <a:pt x="13082" y="1044"/>
                      <a:pt x="12933" y="1075"/>
                    </a:cubicBezTo>
                    <a:cubicBezTo>
                      <a:pt x="12996" y="1240"/>
                      <a:pt x="13105" y="1548"/>
                      <a:pt x="13133" y="1656"/>
                    </a:cubicBezTo>
                    <a:cubicBezTo>
                      <a:pt x="13158" y="1753"/>
                      <a:pt x="13180" y="1888"/>
                      <a:pt x="13187" y="1929"/>
                    </a:cubicBezTo>
                    <a:cubicBezTo>
                      <a:pt x="13251" y="1902"/>
                      <a:pt x="13316" y="1901"/>
                      <a:pt x="13364" y="1899"/>
                    </a:cubicBezTo>
                    <a:cubicBezTo>
                      <a:pt x="13365" y="1899"/>
                      <a:pt x="13365" y="1899"/>
                      <a:pt x="13365" y="1899"/>
                    </a:cubicBezTo>
                    <a:cubicBezTo>
                      <a:pt x="13366" y="1899"/>
                      <a:pt x="13366" y="1899"/>
                      <a:pt x="13366" y="1899"/>
                    </a:cubicBezTo>
                    <a:cubicBezTo>
                      <a:pt x="13366" y="1899"/>
                      <a:pt x="13521" y="1902"/>
                      <a:pt x="13735" y="1906"/>
                    </a:cubicBezTo>
                    <a:cubicBezTo>
                      <a:pt x="13949" y="1909"/>
                      <a:pt x="14221" y="1913"/>
                      <a:pt x="14455" y="1913"/>
                    </a:cubicBezTo>
                    <a:cubicBezTo>
                      <a:pt x="14687" y="1913"/>
                      <a:pt x="14883" y="1909"/>
                      <a:pt x="14938" y="1899"/>
                    </a:cubicBezTo>
                    <a:cubicBezTo>
                      <a:pt x="15115" y="1868"/>
                      <a:pt x="15693" y="1824"/>
                      <a:pt x="16196" y="1690"/>
                    </a:cubicBezTo>
                    <a:cubicBezTo>
                      <a:pt x="16692" y="1559"/>
                      <a:pt x="17406" y="1025"/>
                      <a:pt x="17853" y="732"/>
                    </a:cubicBezTo>
                    <a:cubicBezTo>
                      <a:pt x="17846" y="722"/>
                      <a:pt x="17838" y="712"/>
                      <a:pt x="17831" y="703"/>
                    </a:cubicBezTo>
                    <a:cubicBezTo>
                      <a:pt x="17701" y="543"/>
                      <a:pt x="17483" y="300"/>
                      <a:pt x="17018" y="0"/>
                    </a:cubicBezTo>
                    <a:cubicBezTo>
                      <a:pt x="17084" y="0"/>
                      <a:pt x="17084" y="0"/>
                      <a:pt x="17084" y="0"/>
                    </a:cubicBezTo>
                    <a:cubicBezTo>
                      <a:pt x="17520" y="288"/>
                      <a:pt x="17732" y="524"/>
                      <a:pt x="17859" y="680"/>
                    </a:cubicBezTo>
                    <a:cubicBezTo>
                      <a:pt x="17867" y="690"/>
                      <a:pt x="17875" y="701"/>
                      <a:pt x="17883" y="711"/>
                    </a:cubicBezTo>
                    <a:cubicBezTo>
                      <a:pt x="17922" y="686"/>
                      <a:pt x="17962" y="658"/>
                      <a:pt x="18004" y="628"/>
                    </a:cubicBezTo>
                    <a:lnTo>
                      <a:pt x="18004" y="673"/>
                    </a:lnTo>
                    <a:close/>
                    <a:moveTo>
                      <a:pt x="12548" y="1153"/>
                    </a:moveTo>
                    <a:cubicBezTo>
                      <a:pt x="12374" y="1200"/>
                      <a:pt x="12262" y="1254"/>
                      <a:pt x="12234" y="1270"/>
                    </a:cubicBezTo>
                    <a:cubicBezTo>
                      <a:pt x="12164" y="1309"/>
                      <a:pt x="11798" y="1605"/>
                      <a:pt x="11618" y="1731"/>
                    </a:cubicBezTo>
                    <a:cubicBezTo>
                      <a:pt x="11571" y="1774"/>
                      <a:pt x="11524" y="1818"/>
                      <a:pt x="11478" y="1861"/>
                    </a:cubicBezTo>
                    <a:cubicBezTo>
                      <a:pt x="11333" y="1997"/>
                      <a:pt x="11196" y="2127"/>
                      <a:pt x="11085" y="2230"/>
                    </a:cubicBezTo>
                    <a:cubicBezTo>
                      <a:pt x="11029" y="2281"/>
                      <a:pt x="10980" y="2325"/>
                      <a:pt x="10940" y="2359"/>
                    </a:cubicBezTo>
                    <a:cubicBezTo>
                      <a:pt x="10899" y="2394"/>
                      <a:pt x="10869" y="2419"/>
                      <a:pt x="10842" y="2435"/>
                    </a:cubicBezTo>
                    <a:cubicBezTo>
                      <a:pt x="10822" y="2447"/>
                      <a:pt x="10801" y="2455"/>
                      <a:pt x="10769" y="2467"/>
                    </a:cubicBezTo>
                    <a:cubicBezTo>
                      <a:pt x="10722" y="2484"/>
                      <a:pt x="10657" y="2505"/>
                      <a:pt x="10577" y="2530"/>
                    </a:cubicBezTo>
                    <a:cubicBezTo>
                      <a:pt x="10609" y="2651"/>
                      <a:pt x="10650" y="2803"/>
                      <a:pt x="10689" y="2958"/>
                    </a:cubicBezTo>
                    <a:cubicBezTo>
                      <a:pt x="10690" y="2957"/>
                      <a:pt x="10690" y="2957"/>
                      <a:pt x="10691" y="2957"/>
                    </a:cubicBezTo>
                    <a:cubicBezTo>
                      <a:pt x="10693" y="2956"/>
                      <a:pt x="10693" y="2956"/>
                      <a:pt x="10693" y="2956"/>
                    </a:cubicBezTo>
                    <a:cubicBezTo>
                      <a:pt x="10693" y="2956"/>
                      <a:pt x="10693" y="2956"/>
                      <a:pt x="10693" y="2956"/>
                    </a:cubicBezTo>
                    <a:cubicBezTo>
                      <a:pt x="10699" y="2956"/>
                      <a:pt x="12283" y="2922"/>
                      <a:pt x="12284" y="2922"/>
                    </a:cubicBezTo>
                    <a:cubicBezTo>
                      <a:pt x="12283" y="2922"/>
                      <a:pt x="12286" y="2922"/>
                      <a:pt x="12291" y="2922"/>
                    </a:cubicBezTo>
                    <a:cubicBezTo>
                      <a:pt x="12310" y="2922"/>
                      <a:pt x="12360" y="2924"/>
                      <a:pt x="12415" y="2942"/>
                    </a:cubicBezTo>
                    <a:cubicBezTo>
                      <a:pt x="12427" y="2913"/>
                      <a:pt x="12469" y="2816"/>
                      <a:pt x="12487" y="2778"/>
                    </a:cubicBezTo>
                    <a:cubicBezTo>
                      <a:pt x="12495" y="2762"/>
                      <a:pt x="12522" y="2726"/>
                      <a:pt x="12561" y="2675"/>
                    </a:cubicBezTo>
                    <a:cubicBezTo>
                      <a:pt x="12675" y="2528"/>
                      <a:pt x="12882" y="2275"/>
                      <a:pt x="12894" y="2260"/>
                    </a:cubicBezTo>
                    <a:cubicBezTo>
                      <a:pt x="12902" y="2248"/>
                      <a:pt x="13007" y="2092"/>
                      <a:pt x="13087" y="2001"/>
                    </a:cubicBezTo>
                    <a:cubicBezTo>
                      <a:pt x="13108" y="1978"/>
                      <a:pt x="13130" y="1960"/>
                      <a:pt x="13153" y="1947"/>
                    </a:cubicBezTo>
                    <a:cubicBezTo>
                      <a:pt x="13151" y="1937"/>
                      <a:pt x="13126" y="1775"/>
                      <a:pt x="13098" y="1665"/>
                    </a:cubicBezTo>
                    <a:cubicBezTo>
                      <a:pt x="13071" y="1560"/>
                      <a:pt x="12960" y="1245"/>
                      <a:pt x="12898" y="1083"/>
                    </a:cubicBezTo>
                    <a:cubicBezTo>
                      <a:pt x="12896" y="1083"/>
                      <a:pt x="12895" y="1083"/>
                      <a:pt x="12894" y="1084"/>
                    </a:cubicBezTo>
                    <a:cubicBezTo>
                      <a:pt x="12781" y="1107"/>
                      <a:pt x="12652" y="1124"/>
                      <a:pt x="12548" y="1153"/>
                    </a:cubicBezTo>
                    <a:close/>
                    <a:moveTo>
                      <a:pt x="10024" y="5765"/>
                    </a:moveTo>
                    <a:cubicBezTo>
                      <a:pt x="10024" y="6024"/>
                      <a:pt x="10000" y="6340"/>
                      <a:pt x="9995" y="6473"/>
                    </a:cubicBezTo>
                    <a:cubicBezTo>
                      <a:pt x="9995" y="6484"/>
                      <a:pt x="9995" y="6494"/>
                      <a:pt x="9995" y="6504"/>
                    </a:cubicBezTo>
                    <a:cubicBezTo>
                      <a:pt x="9995" y="6585"/>
                      <a:pt x="10007" y="6639"/>
                      <a:pt x="10020" y="6673"/>
                    </a:cubicBezTo>
                    <a:cubicBezTo>
                      <a:pt x="10026" y="6689"/>
                      <a:pt x="10033" y="6701"/>
                      <a:pt x="10038" y="6708"/>
                    </a:cubicBezTo>
                    <a:cubicBezTo>
                      <a:pt x="10041" y="6712"/>
                      <a:pt x="10043" y="6714"/>
                      <a:pt x="10045" y="6716"/>
                    </a:cubicBezTo>
                    <a:cubicBezTo>
                      <a:pt x="10045" y="6716"/>
                      <a:pt x="10045" y="6716"/>
                      <a:pt x="10045" y="6716"/>
                    </a:cubicBezTo>
                    <a:cubicBezTo>
                      <a:pt x="10048" y="6717"/>
                      <a:pt x="10048" y="6718"/>
                      <a:pt x="10050" y="6718"/>
                    </a:cubicBezTo>
                    <a:cubicBezTo>
                      <a:pt x="10079" y="6733"/>
                      <a:pt x="10255" y="6836"/>
                      <a:pt x="10425" y="6937"/>
                    </a:cubicBezTo>
                    <a:cubicBezTo>
                      <a:pt x="10510" y="6988"/>
                      <a:pt x="10594" y="7038"/>
                      <a:pt x="10656" y="7075"/>
                    </a:cubicBezTo>
                    <a:cubicBezTo>
                      <a:pt x="10687" y="7094"/>
                      <a:pt x="10713" y="7110"/>
                      <a:pt x="10731" y="7121"/>
                    </a:cubicBezTo>
                    <a:cubicBezTo>
                      <a:pt x="10740" y="7127"/>
                      <a:pt x="10747" y="7131"/>
                      <a:pt x="10752" y="7135"/>
                    </a:cubicBezTo>
                    <a:cubicBezTo>
                      <a:pt x="10754" y="7136"/>
                      <a:pt x="10755" y="7137"/>
                      <a:pt x="10757" y="7138"/>
                    </a:cubicBezTo>
                    <a:cubicBezTo>
                      <a:pt x="10818" y="7143"/>
                      <a:pt x="11354" y="7182"/>
                      <a:pt x="11355" y="7182"/>
                    </a:cubicBezTo>
                    <a:cubicBezTo>
                      <a:pt x="11355" y="7182"/>
                      <a:pt x="11541" y="7192"/>
                      <a:pt x="11639" y="7192"/>
                    </a:cubicBezTo>
                    <a:cubicBezTo>
                      <a:pt x="11654" y="7192"/>
                      <a:pt x="11666" y="7192"/>
                      <a:pt x="11676" y="7191"/>
                    </a:cubicBezTo>
                    <a:cubicBezTo>
                      <a:pt x="11681" y="7191"/>
                      <a:pt x="11684" y="7191"/>
                      <a:pt x="11687" y="7190"/>
                    </a:cubicBezTo>
                    <a:cubicBezTo>
                      <a:pt x="11689" y="7190"/>
                      <a:pt x="11690" y="7190"/>
                      <a:pt x="11690" y="7190"/>
                    </a:cubicBezTo>
                    <a:cubicBezTo>
                      <a:pt x="11691" y="7190"/>
                      <a:pt x="11691" y="7190"/>
                      <a:pt x="11691" y="7190"/>
                    </a:cubicBezTo>
                    <a:cubicBezTo>
                      <a:pt x="11692" y="7189"/>
                      <a:pt x="11692" y="7189"/>
                      <a:pt x="11692" y="7189"/>
                    </a:cubicBezTo>
                    <a:cubicBezTo>
                      <a:pt x="11693" y="7189"/>
                      <a:pt x="11693" y="7189"/>
                      <a:pt x="11693" y="7189"/>
                    </a:cubicBezTo>
                    <a:cubicBezTo>
                      <a:pt x="11800" y="7168"/>
                      <a:pt x="11875" y="7049"/>
                      <a:pt x="11920" y="6932"/>
                    </a:cubicBezTo>
                    <a:cubicBezTo>
                      <a:pt x="11942" y="6873"/>
                      <a:pt x="11958" y="6816"/>
                      <a:pt x="11968" y="6773"/>
                    </a:cubicBezTo>
                    <a:cubicBezTo>
                      <a:pt x="11977" y="6730"/>
                      <a:pt x="11981" y="6703"/>
                      <a:pt x="11981" y="6703"/>
                    </a:cubicBezTo>
                    <a:cubicBezTo>
                      <a:pt x="12255" y="4824"/>
                      <a:pt x="12255" y="4824"/>
                      <a:pt x="12255" y="4824"/>
                    </a:cubicBezTo>
                    <a:cubicBezTo>
                      <a:pt x="12255" y="4813"/>
                      <a:pt x="12251" y="4755"/>
                      <a:pt x="12251" y="4729"/>
                    </a:cubicBezTo>
                    <a:cubicBezTo>
                      <a:pt x="12251" y="4725"/>
                      <a:pt x="12251" y="4722"/>
                      <a:pt x="12251" y="4720"/>
                    </a:cubicBezTo>
                    <a:cubicBezTo>
                      <a:pt x="12252" y="4719"/>
                      <a:pt x="12252" y="4718"/>
                      <a:pt x="12252" y="4717"/>
                    </a:cubicBezTo>
                    <a:cubicBezTo>
                      <a:pt x="12233" y="4611"/>
                      <a:pt x="12183" y="4561"/>
                      <a:pt x="12128" y="4534"/>
                    </a:cubicBezTo>
                    <a:cubicBezTo>
                      <a:pt x="12073" y="4507"/>
                      <a:pt x="12011" y="4506"/>
                      <a:pt x="11972" y="4506"/>
                    </a:cubicBezTo>
                    <a:cubicBezTo>
                      <a:pt x="11931" y="4506"/>
                      <a:pt x="11826" y="4519"/>
                      <a:pt x="11695" y="4519"/>
                    </a:cubicBezTo>
                    <a:cubicBezTo>
                      <a:pt x="11583" y="4519"/>
                      <a:pt x="11451" y="4510"/>
                      <a:pt x="11318" y="4475"/>
                    </a:cubicBezTo>
                    <a:cubicBezTo>
                      <a:pt x="11166" y="4433"/>
                      <a:pt x="11058" y="4274"/>
                      <a:pt x="10982" y="4119"/>
                    </a:cubicBezTo>
                    <a:cubicBezTo>
                      <a:pt x="10907" y="3963"/>
                      <a:pt x="10864" y="3808"/>
                      <a:pt x="10853" y="3773"/>
                    </a:cubicBezTo>
                    <a:cubicBezTo>
                      <a:pt x="10851" y="3769"/>
                      <a:pt x="10849" y="3761"/>
                      <a:pt x="10846" y="3750"/>
                    </a:cubicBezTo>
                    <a:cubicBezTo>
                      <a:pt x="8035" y="4561"/>
                      <a:pt x="8035" y="4561"/>
                      <a:pt x="8035" y="4561"/>
                    </a:cubicBezTo>
                    <a:cubicBezTo>
                      <a:pt x="8013" y="4576"/>
                      <a:pt x="8013" y="4576"/>
                      <a:pt x="8013" y="4576"/>
                    </a:cubicBezTo>
                    <a:cubicBezTo>
                      <a:pt x="8328" y="5115"/>
                      <a:pt x="8328" y="5115"/>
                      <a:pt x="8328" y="5115"/>
                    </a:cubicBezTo>
                    <a:cubicBezTo>
                      <a:pt x="8329" y="5116"/>
                      <a:pt x="8329" y="5116"/>
                      <a:pt x="8329" y="5116"/>
                    </a:cubicBezTo>
                    <a:cubicBezTo>
                      <a:pt x="8448" y="5345"/>
                      <a:pt x="8627" y="5802"/>
                      <a:pt x="8647" y="6141"/>
                    </a:cubicBezTo>
                    <a:cubicBezTo>
                      <a:pt x="8653" y="6248"/>
                      <a:pt x="8655" y="6386"/>
                      <a:pt x="8655" y="6528"/>
                    </a:cubicBezTo>
                    <a:cubicBezTo>
                      <a:pt x="8655" y="6822"/>
                      <a:pt x="8646" y="7133"/>
                      <a:pt x="8642" y="7219"/>
                    </a:cubicBezTo>
                    <a:cubicBezTo>
                      <a:pt x="8639" y="7271"/>
                      <a:pt x="8635" y="7327"/>
                      <a:pt x="8635" y="7383"/>
                    </a:cubicBezTo>
                    <a:cubicBezTo>
                      <a:pt x="8635" y="7466"/>
                      <a:pt x="8644" y="7547"/>
                      <a:pt x="8674" y="7614"/>
                    </a:cubicBezTo>
                    <a:cubicBezTo>
                      <a:pt x="8722" y="7727"/>
                      <a:pt x="8865" y="7858"/>
                      <a:pt x="9016" y="7923"/>
                    </a:cubicBezTo>
                    <a:cubicBezTo>
                      <a:pt x="9171" y="7990"/>
                      <a:pt x="9728" y="8242"/>
                      <a:pt x="10212" y="8407"/>
                    </a:cubicBezTo>
                    <a:cubicBezTo>
                      <a:pt x="10217" y="8402"/>
                      <a:pt x="10223" y="8393"/>
                      <a:pt x="10228" y="8386"/>
                    </a:cubicBezTo>
                    <a:cubicBezTo>
                      <a:pt x="10673" y="7128"/>
                      <a:pt x="10673" y="7128"/>
                      <a:pt x="10673" y="7128"/>
                    </a:cubicBezTo>
                    <a:cubicBezTo>
                      <a:pt x="10657" y="7118"/>
                      <a:pt x="10638" y="7107"/>
                      <a:pt x="10617" y="7094"/>
                    </a:cubicBezTo>
                    <a:cubicBezTo>
                      <a:pt x="10517" y="7034"/>
                      <a:pt x="10372" y="6948"/>
                      <a:pt x="10252" y="6877"/>
                    </a:cubicBezTo>
                    <a:cubicBezTo>
                      <a:pt x="10192" y="6841"/>
                      <a:pt x="10137" y="6810"/>
                      <a:pt x="10098" y="6787"/>
                    </a:cubicBezTo>
                    <a:cubicBezTo>
                      <a:pt x="10078" y="6775"/>
                      <a:pt x="10061" y="6766"/>
                      <a:pt x="10050" y="6759"/>
                    </a:cubicBezTo>
                    <a:cubicBezTo>
                      <a:pt x="10044" y="6756"/>
                      <a:pt x="10040" y="6754"/>
                      <a:pt x="10036" y="6752"/>
                    </a:cubicBezTo>
                    <a:cubicBezTo>
                      <a:pt x="10035" y="6751"/>
                      <a:pt x="10034" y="6750"/>
                      <a:pt x="10033" y="6750"/>
                    </a:cubicBezTo>
                    <a:cubicBezTo>
                      <a:pt x="10033" y="6750"/>
                      <a:pt x="10032" y="6750"/>
                      <a:pt x="10032" y="6750"/>
                    </a:cubicBezTo>
                    <a:cubicBezTo>
                      <a:pt x="10033" y="6750"/>
                      <a:pt x="10033" y="6750"/>
                      <a:pt x="10033" y="6750"/>
                    </a:cubicBezTo>
                    <a:cubicBezTo>
                      <a:pt x="10022" y="6746"/>
                      <a:pt x="10017" y="6739"/>
                      <a:pt x="10009" y="6730"/>
                    </a:cubicBezTo>
                    <a:cubicBezTo>
                      <a:pt x="9987" y="6699"/>
                      <a:pt x="9959" y="6630"/>
                      <a:pt x="9959" y="6504"/>
                    </a:cubicBezTo>
                    <a:cubicBezTo>
                      <a:pt x="9959" y="6494"/>
                      <a:pt x="9959" y="6483"/>
                      <a:pt x="9959" y="6472"/>
                    </a:cubicBezTo>
                    <a:cubicBezTo>
                      <a:pt x="9964" y="6337"/>
                      <a:pt x="9988" y="6022"/>
                      <a:pt x="9988" y="5765"/>
                    </a:cubicBezTo>
                    <a:cubicBezTo>
                      <a:pt x="9988" y="5660"/>
                      <a:pt x="9984" y="5565"/>
                      <a:pt x="9973" y="5497"/>
                    </a:cubicBezTo>
                    <a:cubicBezTo>
                      <a:pt x="9955" y="5379"/>
                      <a:pt x="9867" y="5029"/>
                      <a:pt x="9784" y="4711"/>
                    </a:cubicBezTo>
                    <a:cubicBezTo>
                      <a:pt x="9701" y="4393"/>
                      <a:pt x="9623" y="4105"/>
                      <a:pt x="9623" y="4105"/>
                    </a:cubicBezTo>
                    <a:cubicBezTo>
                      <a:pt x="9658" y="4095"/>
                      <a:pt x="9658" y="4095"/>
                      <a:pt x="9658" y="4095"/>
                    </a:cubicBezTo>
                    <a:cubicBezTo>
                      <a:pt x="9658" y="4096"/>
                      <a:pt x="9970" y="5248"/>
                      <a:pt x="10009" y="5491"/>
                    </a:cubicBezTo>
                    <a:cubicBezTo>
                      <a:pt x="10020" y="5563"/>
                      <a:pt x="10024" y="5659"/>
                      <a:pt x="10024" y="5765"/>
                    </a:cubicBezTo>
                    <a:close/>
                    <a:moveTo>
                      <a:pt x="5191" y="3367"/>
                    </a:moveTo>
                    <a:cubicBezTo>
                      <a:pt x="5028" y="3744"/>
                      <a:pt x="5028" y="3744"/>
                      <a:pt x="5028" y="3744"/>
                    </a:cubicBezTo>
                    <a:cubicBezTo>
                      <a:pt x="5154" y="3781"/>
                      <a:pt x="5279" y="3822"/>
                      <a:pt x="5386" y="3868"/>
                    </a:cubicBezTo>
                    <a:cubicBezTo>
                      <a:pt x="5575" y="3949"/>
                      <a:pt x="5684" y="4076"/>
                      <a:pt x="5949" y="4224"/>
                    </a:cubicBezTo>
                    <a:cubicBezTo>
                      <a:pt x="6131" y="4327"/>
                      <a:pt x="6160" y="4561"/>
                      <a:pt x="6161" y="4713"/>
                    </a:cubicBezTo>
                    <a:cubicBezTo>
                      <a:pt x="6161" y="4770"/>
                      <a:pt x="6156" y="4816"/>
                      <a:pt x="6153" y="4840"/>
                    </a:cubicBezTo>
                    <a:cubicBezTo>
                      <a:pt x="7775" y="4912"/>
                      <a:pt x="7775" y="4912"/>
                      <a:pt x="7775" y="4912"/>
                    </a:cubicBezTo>
                    <a:cubicBezTo>
                      <a:pt x="7659" y="4754"/>
                      <a:pt x="7523" y="4606"/>
                      <a:pt x="7396" y="4465"/>
                    </a:cubicBezTo>
                    <a:cubicBezTo>
                      <a:pt x="7290" y="4348"/>
                      <a:pt x="7191" y="4237"/>
                      <a:pt x="7116" y="4127"/>
                    </a:cubicBezTo>
                    <a:cubicBezTo>
                      <a:pt x="7042" y="4018"/>
                      <a:pt x="6990" y="3908"/>
                      <a:pt x="6989" y="3791"/>
                    </a:cubicBezTo>
                    <a:cubicBezTo>
                      <a:pt x="6989" y="3774"/>
                      <a:pt x="6990" y="3756"/>
                      <a:pt x="6993" y="3739"/>
                    </a:cubicBezTo>
                    <a:cubicBezTo>
                      <a:pt x="7009" y="3628"/>
                      <a:pt x="7059" y="3538"/>
                      <a:pt x="7123" y="3468"/>
                    </a:cubicBezTo>
                    <a:cubicBezTo>
                      <a:pt x="7189" y="3397"/>
                      <a:pt x="7268" y="3346"/>
                      <a:pt x="7347" y="3307"/>
                    </a:cubicBezTo>
                    <a:cubicBezTo>
                      <a:pt x="7331" y="3275"/>
                      <a:pt x="7312" y="3239"/>
                      <a:pt x="7291" y="3203"/>
                    </a:cubicBezTo>
                    <a:cubicBezTo>
                      <a:pt x="7258" y="3148"/>
                      <a:pt x="7219" y="3095"/>
                      <a:pt x="7188" y="3072"/>
                    </a:cubicBezTo>
                    <a:cubicBezTo>
                      <a:pt x="7093" y="2997"/>
                      <a:pt x="6968" y="2975"/>
                      <a:pt x="6857" y="2951"/>
                    </a:cubicBezTo>
                    <a:cubicBezTo>
                      <a:pt x="6747" y="2925"/>
                      <a:pt x="6184" y="2782"/>
                      <a:pt x="6006" y="2728"/>
                    </a:cubicBezTo>
                    <a:cubicBezTo>
                      <a:pt x="5859" y="2685"/>
                      <a:pt x="5456" y="2565"/>
                      <a:pt x="5331" y="2528"/>
                    </a:cubicBezTo>
                    <a:cubicBezTo>
                      <a:pt x="5323" y="2540"/>
                      <a:pt x="5323" y="2540"/>
                      <a:pt x="5323" y="2540"/>
                    </a:cubicBezTo>
                    <a:cubicBezTo>
                      <a:pt x="5287" y="2667"/>
                      <a:pt x="5193" y="2957"/>
                      <a:pt x="5183" y="2989"/>
                    </a:cubicBezTo>
                    <a:lnTo>
                      <a:pt x="5191" y="3367"/>
                    </a:lnTo>
                    <a:close/>
                    <a:moveTo>
                      <a:pt x="10695" y="2975"/>
                    </a:moveTo>
                    <a:cubicBezTo>
                      <a:pt x="10695" y="2982"/>
                      <a:pt x="10695" y="2982"/>
                      <a:pt x="10695" y="2982"/>
                    </a:cubicBezTo>
                    <a:cubicBezTo>
                      <a:pt x="10695" y="2983"/>
                      <a:pt x="10696" y="2984"/>
                      <a:pt x="10696" y="2985"/>
                    </a:cubicBezTo>
                    <a:cubicBezTo>
                      <a:pt x="10695" y="2974"/>
                      <a:pt x="10695" y="2974"/>
                      <a:pt x="10695" y="2974"/>
                    </a:cubicBezTo>
                    <a:cubicBezTo>
                      <a:pt x="10695" y="2980"/>
                      <a:pt x="10695" y="2980"/>
                      <a:pt x="10695" y="2980"/>
                    </a:cubicBezTo>
                    <a:cubicBezTo>
                      <a:pt x="10695" y="2980"/>
                      <a:pt x="10695" y="2981"/>
                      <a:pt x="10695" y="2981"/>
                    </a:cubicBezTo>
                    <a:cubicBezTo>
                      <a:pt x="10695" y="2980"/>
                      <a:pt x="10695" y="2980"/>
                      <a:pt x="10695" y="2980"/>
                    </a:cubicBezTo>
                    <a:lnTo>
                      <a:pt x="10695" y="2975"/>
                    </a:lnTo>
                    <a:close/>
                    <a:moveTo>
                      <a:pt x="10655" y="2972"/>
                    </a:moveTo>
                    <a:cubicBezTo>
                      <a:pt x="10616" y="2816"/>
                      <a:pt x="10575" y="2662"/>
                      <a:pt x="10542" y="2541"/>
                    </a:cubicBezTo>
                    <a:cubicBezTo>
                      <a:pt x="10423" y="2577"/>
                      <a:pt x="10275" y="2620"/>
                      <a:pt x="10109" y="2667"/>
                    </a:cubicBezTo>
                    <a:cubicBezTo>
                      <a:pt x="9658" y="2795"/>
                      <a:pt x="9077" y="2953"/>
                      <a:pt x="8601" y="3082"/>
                    </a:cubicBezTo>
                    <a:cubicBezTo>
                      <a:pt x="8363" y="3146"/>
                      <a:pt x="8151" y="3203"/>
                      <a:pt x="7995" y="3246"/>
                    </a:cubicBezTo>
                    <a:cubicBezTo>
                      <a:pt x="7917" y="3267"/>
                      <a:pt x="7853" y="3284"/>
                      <a:pt x="7807" y="3297"/>
                    </a:cubicBezTo>
                    <a:cubicBezTo>
                      <a:pt x="7784" y="3304"/>
                      <a:pt x="7766" y="3309"/>
                      <a:pt x="7752" y="3313"/>
                    </a:cubicBezTo>
                    <a:cubicBezTo>
                      <a:pt x="7746" y="3315"/>
                      <a:pt x="7740" y="3317"/>
                      <a:pt x="7737" y="3318"/>
                    </a:cubicBezTo>
                    <a:cubicBezTo>
                      <a:pt x="7735" y="3319"/>
                      <a:pt x="7733" y="3319"/>
                      <a:pt x="7733" y="3320"/>
                    </a:cubicBezTo>
                    <a:cubicBezTo>
                      <a:pt x="7733" y="3320"/>
                      <a:pt x="7733" y="3320"/>
                      <a:pt x="7733" y="3320"/>
                    </a:cubicBezTo>
                    <a:cubicBezTo>
                      <a:pt x="7715" y="3327"/>
                      <a:pt x="7698" y="3331"/>
                      <a:pt x="7675" y="3338"/>
                    </a:cubicBezTo>
                    <a:cubicBezTo>
                      <a:pt x="7632" y="3350"/>
                      <a:pt x="7572" y="3366"/>
                      <a:pt x="7508" y="3390"/>
                    </a:cubicBezTo>
                    <a:cubicBezTo>
                      <a:pt x="7914" y="4405"/>
                      <a:pt x="7914" y="4405"/>
                      <a:pt x="7914" y="4405"/>
                    </a:cubicBezTo>
                    <a:cubicBezTo>
                      <a:pt x="7987" y="4531"/>
                      <a:pt x="7987" y="4531"/>
                      <a:pt x="7987" y="4531"/>
                    </a:cubicBezTo>
                    <a:cubicBezTo>
                      <a:pt x="8013" y="4530"/>
                      <a:pt x="8013" y="4530"/>
                      <a:pt x="8013" y="4530"/>
                    </a:cubicBezTo>
                    <a:cubicBezTo>
                      <a:pt x="10837" y="3715"/>
                      <a:pt x="10837" y="3715"/>
                      <a:pt x="10837" y="3715"/>
                    </a:cubicBezTo>
                    <a:cubicBezTo>
                      <a:pt x="10805" y="3587"/>
                      <a:pt x="10732" y="3276"/>
                      <a:pt x="10655" y="2972"/>
                    </a:cubicBezTo>
                    <a:close/>
                    <a:moveTo>
                      <a:pt x="7811" y="4456"/>
                    </a:moveTo>
                    <a:cubicBezTo>
                      <a:pt x="7402" y="3435"/>
                      <a:pt x="7402" y="3435"/>
                      <a:pt x="7402" y="3435"/>
                    </a:cubicBezTo>
                    <a:cubicBezTo>
                      <a:pt x="7387" y="3443"/>
                      <a:pt x="7371" y="3451"/>
                      <a:pt x="7356" y="3460"/>
                    </a:cubicBezTo>
                    <a:cubicBezTo>
                      <a:pt x="7242" y="3527"/>
                      <a:pt x="7152" y="3619"/>
                      <a:pt x="7131" y="3760"/>
                    </a:cubicBezTo>
                    <a:cubicBezTo>
                      <a:pt x="7129" y="3770"/>
                      <a:pt x="7128" y="3781"/>
                      <a:pt x="7128" y="3791"/>
                    </a:cubicBezTo>
                    <a:cubicBezTo>
                      <a:pt x="7128" y="3863"/>
                      <a:pt x="7164" y="3950"/>
                      <a:pt x="7232" y="4049"/>
                    </a:cubicBezTo>
                    <a:cubicBezTo>
                      <a:pt x="7332" y="4197"/>
                      <a:pt x="7497" y="4366"/>
                      <a:pt x="7662" y="4553"/>
                    </a:cubicBezTo>
                    <a:cubicBezTo>
                      <a:pt x="7763" y="4667"/>
                      <a:pt x="7864" y="4789"/>
                      <a:pt x="7951" y="4920"/>
                    </a:cubicBezTo>
                    <a:cubicBezTo>
                      <a:pt x="8058" y="4924"/>
                      <a:pt x="8058" y="4924"/>
                      <a:pt x="8058" y="4924"/>
                    </a:cubicBezTo>
                    <a:cubicBezTo>
                      <a:pt x="8082" y="4922"/>
                      <a:pt x="8082" y="4922"/>
                      <a:pt x="8082" y="4922"/>
                    </a:cubicBezTo>
                    <a:lnTo>
                      <a:pt x="7811" y="4456"/>
                    </a:lnTo>
                    <a:close/>
                    <a:moveTo>
                      <a:pt x="10506" y="2406"/>
                    </a:moveTo>
                    <a:cubicBezTo>
                      <a:pt x="10497" y="2375"/>
                      <a:pt x="10490" y="2349"/>
                      <a:pt x="10485" y="2330"/>
                    </a:cubicBezTo>
                    <a:cubicBezTo>
                      <a:pt x="10476" y="2318"/>
                      <a:pt x="10476" y="2318"/>
                      <a:pt x="10476" y="2318"/>
                    </a:cubicBezTo>
                    <a:cubicBezTo>
                      <a:pt x="10425" y="2331"/>
                      <a:pt x="10334" y="2353"/>
                      <a:pt x="10220" y="2382"/>
                    </a:cubicBezTo>
                    <a:cubicBezTo>
                      <a:pt x="9948" y="2451"/>
                      <a:pt x="9540" y="2554"/>
                      <a:pt x="9200" y="2640"/>
                    </a:cubicBezTo>
                    <a:cubicBezTo>
                      <a:pt x="9030" y="2683"/>
                      <a:pt x="8877" y="2722"/>
                      <a:pt x="8766" y="2750"/>
                    </a:cubicBezTo>
                    <a:cubicBezTo>
                      <a:pt x="8711" y="2764"/>
                      <a:pt x="8666" y="2775"/>
                      <a:pt x="8635" y="2783"/>
                    </a:cubicBezTo>
                    <a:cubicBezTo>
                      <a:pt x="8620" y="2786"/>
                      <a:pt x="8608" y="2790"/>
                      <a:pt x="8600" y="2792"/>
                    </a:cubicBezTo>
                    <a:cubicBezTo>
                      <a:pt x="8595" y="2793"/>
                      <a:pt x="8592" y="2793"/>
                      <a:pt x="8590" y="2794"/>
                    </a:cubicBezTo>
                    <a:cubicBezTo>
                      <a:pt x="8590" y="2794"/>
                      <a:pt x="8589" y="2794"/>
                      <a:pt x="8589" y="2794"/>
                    </a:cubicBezTo>
                    <a:cubicBezTo>
                      <a:pt x="8582" y="2796"/>
                      <a:pt x="8582" y="2796"/>
                      <a:pt x="8582" y="2796"/>
                    </a:cubicBezTo>
                    <a:cubicBezTo>
                      <a:pt x="8582" y="2796"/>
                      <a:pt x="8582" y="2796"/>
                      <a:pt x="8582" y="2796"/>
                    </a:cubicBezTo>
                    <a:cubicBezTo>
                      <a:pt x="8529" y="2812"/>
                      <a:pt x="8236" y="2903"/>
                      <a:pt x="7947" y="2992"/>
                    </a:cubicBezTo>
                    <a:cubicBezTo>
                      <a:pt x="7723" y="3061"/>
                      <a:pt x="7502" y="3129"/>
                      <a:pt x="7399" y="3161"/>
                    </a:cubicBezTo>
                    <a:cubicBezTo>
                      <a:pt x="7407" y="3175"/>
                      <a:pt x="7415" y="3190"/>
                      <a:pt x="7423" y="3204"/>
                    </a:cubicBezTo>
                    <a:cubicBezTo>
                      <a:pt x="7434" y="3224"/>
                      <a:pt x="7444" y="3244"/>
                      <a:pt x="7452" y="3262"/>
                    </a:cubicBezTo>
                    <a:cubicBezTo>
                      <a:pt x="7454" y="3261"/>
                      <a:pt x="7455" y="3261"/>
                      <a:pt x="7456" y="3260"/>
                    </a:cubicBezTo>
                    <a:cubicBezTo>
                      <a:pt x="7511" y="3240"/>
                      <a:pt x="7561" y="3225"/>
                      <a:pt x="7601" y="3214"/>
                    </a:cubicBezTo>
                    <a:cubicBezTo>
                      <a:pt x="7641" y="3203"/>
                      <a:pt x="7673" y="3194"/>
                      <a:pt x="7679" y="3191"/>
                    </a:cubicBezTo>
                    <a:cubicBezTo>
                      <a:pt x="7687" y="3188"/>
                      <a:pt x="7692" y="3186"/>
                      <a:pt x="7701" y="3183"/>
                    </a:cubicBezTo>
                    <a:cubicBezTo>
                      <a:pt x="7765" y="3163"/>
                      <a:pt x="7977" y="3106"/>
                      <a:pt x="8265" y="3028"/>
                    </a:cubicBezTo>
                    <a:cubicBezTo>
                      <a:pt x="8697" y="2911"/>
                      <a:pt x="9296" y="2750"/>
                      <a:pt x="9804" y="2608"/>
                    </a:cubicBezTo>
                    <a:cubicBezTo>
                      <a:pt x="10057" y="2538"/>
                      <a:pt x="10287" y="2472"/>
                      <a:pt x="10462" y="2419"/>
                    </a:cubicBezTo>
                    <a:cubicBezTo>
                      <a:pt x="10477" y="2415"/>
                      <a:pt x="10491" y="2410"/>
                      <a:pt x="10506" y="2406"/>
                    </a:cubicBezTo>
                    <a:close/>
                    <a:moveTo>
                      <a:pt x="8518" y="2722"/>
                    </a:moveTo>
                    <a:cubicBezTo>
                      <a:pt x="8519" y="2718"/>
                      <a:pt x="8521" y="2714"/>
                      <a:pt x="8523" y="2710"/>
                    </a:cubicBezTo>
                    <a:cubicBezTo>
                      <a:pt x="8523" y="2711"/>
                      <a:pt x="8523" y="2711"/>
                      <a:pt x="8523" y="2712"/>
                    </a:cubicBezTo>
                    <a:cubicBezTo>
                      <a:pt x="8520" y="2716"/>
                      <a:pt x="8519" y="2720"/>
                      <a:pt x="8518" y="2722"/>
                    </a:cubicBezTo>
                    <a:close/>
                    <a:moveTo>
                      <a:pt x="8538" y="2676"/>
                    </a:moveTo>
                    <a:cubicBezTo>
                      <a:pt x="8536" y="2625"/>
                      <a:pt x="8531" y="2526"/>
                      <a:pt x="8527" y="2443"/>
                    </a:cubicBezTo>
                    <a:cubicBezTo>
                      <a:pt x="7274" y="2467"/>
                      <a:pt x="7274" y="2467"/>
                      <a:pt x="7274" y="2467"/>
                    </a:cubicBezTo>
                    <a:cubicBezTo>
                      <a:pt x="7273" y="2467"/>
                      <a:pt x="7273" y="2467"/>
                      <a:pt x="7273" y="2467"/>
                    </a:cubicBezTo>
                    <a:cubicBezTo>
                      <a:pt x="7272" y="2467"/>
                      <a:pt x="7174" y="2451"/>
                      <a:pt x="7063" y="2434"/>
                    </a:cubicBezTo>
                    <a:cubicBezTo>
                      <a:pt x="6952" y="2418"/>
                      <a:pt x="6827" y="2402"/>
                      <a:pt x="6778" y="2402"/>
                    </a:cubicBezTo>
                    <a:cubicBezTo>
                      <a:pt x="6678" y="2402"/>
                      <a:pt x="6614" y="2419"/>
                      <a:pt x="6574" y="2475"/>
                    </a:cubicBezTo>
                    <a:cubicBezTo>
                      <a:pt x="6502" y="2728"/>
                      <a:pt x="6502" y="2728"/>
                      <a:pt x="6502" y="2728"/>
                    </a:cubicBezTo>
                    <a:cubicBezTo>
                      <a:pt x="6502" y="2733"/>
                      <a:pt x="6502" y="2738"/>
                      <a:pt x="6502" y="2743"/>
                    </a:cubicBezTo>
                    <a:cubicBezTo>
                      <a:pt x="6672" y="2787"/>
                      <a:pt x="6832" y="2827"/>
                      <a:pt x="6883" y="2839"/>
                    </a:cubicBezTo>
                    <a:cubicBezTo>
                      <a:pt x="6987" y="2863"/>
                      <a:pt x="7133" y="2884"/>
                      <a:pt x="7259" y="2981"/>
                    </a:cubicBezTo>
                    <a:cubicBezTo>
                      <a:pt x="7286" y="3003"/>
                      <a:pt x="7311" y="3031"/>
                      <a:pt x="7334" y="3060"/>
                    </a:cubicBezTo>
                    <a:cubicBezTo>
                      <a:pt x="7418" y="3034"/>
                      <a:pt x="7674" y="2956"/>
                      <a:pt x="7930" y="2877"/>
                    </a:cubicBezTo>
                    <a:cubicBezTo>
                      <a:pt x="8086" y="2829"/>
                      <a:pt x="8243" y="2781"/>
                      <a:pt x="8360" y="2744"/>
                    </a:cubicBezTo>
                    <a:cubicBezTo>
                      <a:pt x="8419" y="2726"/>
                      <a:pt x="8468" y="2711"/>
                      <a:pt x="8502" y="2701"/>
                    </a:cubicBezTo>
                    <a:cubicBezTo>
                      <a:pt x="8516" y="2696"/>
                      <a:pt x="8527" y="2693"/>
                      <a:pt x="8536" y="2690"/>
                    </a:cubicBezTo>
                    <a:lnTo>
                      <a:pt x="8538" y="2676"/>
                    </a:lnTo>
                    <a:close/>
                    <a:moveTo>
                      <a:pt x="6148" y="4876"/>
                    </a:moveTo>
                    <a:cubicBezTo>
                      <a:pt x="5935" y="6157"/>
                      <a:pt x="5935" y="6157"/>
                      <a:pt x="5935" y="6157"/>
                    </a:cubicBezTo>
                    <a:cubicBezTo>
                      <a:pt x="7161" y="6303"/>
                      <a:pt x="7161" y="6303"/>
                      <a:pt x="7161" y="6303"/>
                    </a:cubicBezTo>
                    <a:cubicBezTo>
                      <a:pt x="7161" y="6303"/>
                      <a:pt x="7510" y="6342"/>
                      <a:pt x="7861" y="6381"/>
                    </a:cubicBezTo>
                    <a:cubicBezTo>
                      <a:pt x="7999" y="6397"/>
                      <a:pt x="8136" y="6412"/>
                      <a:pt x="8253" y="6426"/>
                    </a:cubicBezTo>
                    <a:cubicBezTo>
                      <a:pt x="8236" y="6084"/>
                      <a:pt x="8138" y="5618"/>
                      <a:pt x="7970" y="5239"/>
                    </a:cubicBezTo>
                    <a:cubicBezTo>
                      <a:pt x="7926" y="5139"/>
                      <a:pt x="7868" y="5043"/>
                      <a:pt x="7802" y="4949"/>
                    </a:cubicBezTo>
                    <a:lnTo>
                      <a:pt x="6148" y="4876"/>
                    </a:lnTo>
                    <a:close/>
                    <a:moveTo>
                      <a:pt x="8393" y="6442"/>
                    </a:moveTo>
                    <a:cubicBezTo>
                      <a:pt x="8439" y="6448"/>
                      <a:pt x="8478" y="6452"/>
                      <a:pt x="8508" y="6456"/>
                    </a:cubicBezTo>
                    <a:cubicBezTo>
                      <a:pt x="8513" y="6457"/>
                      <a:pt x="8518" y="6457"/>
                      <a:pt x="8523" y="6458"/>
                    </a:cubicBezTo>
                    <a:cubicBezTo>
                      <a:pt x="8527" y="6458"/>
                      <a:pt x="8534" y="6459"/>
                      <a:pt x="8540" y="6459"/>
                    </a:cubicBezTo>
                    <a:cubicBezTo>
                      <a:pt x="8540" y="6343"/>
                      <a:pt x="8537" y="6234"/>
                      <a:pt x="8532" y="6148"/>
                    </a:cubicBezTo>
                    <a:cubicBezTo>
                      <a:pt x="8516" y="5842"/>
                      <a:pt x="8341" y="5386"/>
                      <a:pt x="8228" y="5171"/>
                    </a:cubicBezTo>
                    <a:cubicBezTo>
                      <a:pt x="8106" y="4963"/>
                      <a:pt x="8106" y="4963"/>
                      <a:pt x="8106" y="4963"/>
                    </a:cubicBezTo>
                    <a:cubicBezTo>
                      <a:pt x="7975" y="4957"/>
                      <a:pt x="7975" y="4957"/>
                      <a:pt x="7975" y="4957"/>
                    </a:cubicBezTo>
                    <a:cubicBezTo>
                      <a:pt x="8021" y="5029"/>
                      <a:pt x="8063" y="5104"/>
                      <a:pt x="8098" y="5183"/>
                    </a:cubicBezTo>
                    <a:cubicBezTo>
                      <a:pt x="8278" y="5590"/>
                      <a:pt x="8378" y="6078"/>
                      <a:pt x="8393" y="6442"/>
                    </a:cubicBezTo>
                    <a:close/>
                    <a:moveTo>
                      <a:pt x="12283" y="4694"/>
                    </a:moveTo>
                    <a:cubicBezTo>
                      <a:pt x="12353" y="4698"/>
                      <a:pt x="12704" y="4722"/>
                      <a:pt x="12889" y="4772"/>
                    </a:cubicBezTo>
                    <a:cubicBezTo>
                      <a:pt x="13059" y="4821"/>
                      <a:pt x="13059" y="4821"/>
                      <a:pt x="13059" y="4821"/>
                    </a:cubicBezTo>
                    <a:cubicBezTo>
                      <a:pt x="13067" y="4809"/>
                      <a:pt x="13082" y="4784"/>
                      <a:pt x="13103" y="4748"/>
                    </a:cubicBezTo>
                    <a:cubicBezTo>
                      <a:pt x="13136" y="4693"/>
                      <a:pt x="13181" y="4610"/>
                      <a:pt x="13232" y="4501"/>
                    </a:cubicBezTo>
                    <a:cubicBezTo>
                      <a:pt x="13267" y="4427"/>
                      <a:pt x="13278" y="4362"/>
                      <a:pt x="13278" y="4309"/>
                    </a:cubicBezTo>
                    <a:cubicBezTo>
                      <a:pt x="13278" y="4260"/>
                      <a:pt x="13268" y="4221"/>
                      <a:pt x="13259" y="4194"/>
                    </a:cubicBezTo>
                    <a:cubicBezTo>
                      <a:pt x="13254" y="4181"/>
                      <a:pt x="13249" y="4171"/>
                      <a:pt x="13246" y="4164"/>
                    </a:cubicBezTo>
                    <a:cubicBezTo>
                      <a:pt x="13242" y="4158"/>
                      <a:pt x="13240" y="4155"/>
                      <a:pt x="13240" y="4155"/>
                    </a:cubicBezTo>
                    <a:cubicBezTo>
                      <a:pt x="12501" y="3031"/>
                      <a:pt x="12501" y="3031"/>
                      <a:pt x="12501" y="3031"/>
                    </a:cubicBezTo>
                    <a:cubicBezTo>
                      <a:pt x="12428" y="2963"/>
                      <a:pt x="12319" y="2958"/>
                      <a:pt x="12291" y="2958"/>
                    </a:cubicBezTo>
                    <a:cubicBezTo>
                      <a:pt x="12287" y="2958"/>
                      <a:pt x="12285" y="2958"/>
                      <a:pt x="12285" y="2958"/>
                    </a:cubicBezTo>
                    <a:cubicBezTo>
                      <a:pt x="12283" y="2958"/>
                      <a:pt x="11887" y="2966"/>
                      <a:pt x="11490" y="2975"/>
                    </a:cubicBezTo>
                    <a:cubicBezTo>
                      <a:pt x="11291" y="2979"/>
                      <a:pt x="11092" y="2984"/>
                      <a:pt x="10943" y="2987"/>
                    </a:cubicBezTo>
                    <a:cubicBezTo>
                      <a:pt x="10869" y="2988"/>
                      <a:pt x="10807" y="2990"/>
                      <a:pt x="10763" y="2991"/>
                    </a:cubicBezTo>
                    <a:cubicBezTo>
                      <a:pt x="10742" y="2991"/>
                      <a:pt x="10724" y="2992"/>
                      <a:pt x="10713" y="2992"/>
                    </a:cubicBezTo>
                    <a:cubicBezTo>
                      <a:pt x="10707" y="2992"/>
                      <a:pt x="10703" y="2992"/>
                      <a:pt x="10700" y="2992"/>
                    </a:cubicBezTo>
                    <a:cubicBezTo>
                      <a:pt x="10699" y="2992"/>
                      <a:pt x="10698" y="2992"/>
                      <a:pt x="10698" y="2992"/>
                    </a:cubicBezTo>
                    <a:cubicBezTo>
                      <a:pt x="10789" y="3357"/>
                      <a:pt x="10875" y="3728"/>
                      <a:pt x="10887" y="3761"/>
                    </a:cubicBezTo>
                    <a:cubicBezTo>
                      <a:pt x="10899" y="3799"/>
                      <a:pt x="10941" y="3950"/>
                      <a:pt x="11015" y="4103"/>
                    </a:cubicBezTo>
                    <a:cubicBezTo>
                      <a:pt x="11088" y="4256"/>
                      <a:pt x="11195" y="4405"/>
                      <a:pt x="11327" y="4440"/>
                    </a:cubicBezTo>
                    <a:cubicBezTo>
                      <a:pt x="11456" y="4474"/>
                      <a:pt x="11585" y="4483"/>
                      <a:pt x="11695" y="4483"/>
                    </a:cubicBezTo>
                    <a:cubicBezTo>
                      <a:pt x="11825" y="4483"/>
                      <a:pt x="11926" y="4470"/>
                      <a:pt x="11972" y="4470"/>
                    </a:cubicBezTo>
                    <a:cubicBezTo>
                      <a:pt x="12011" y="4470"/>
                      <a:pt x="12080" y="4471"/>
                      <a:pt x="12144" y="4502"/>
                    </a:cubicBezTo>
                    <a:cubicBezTo>
                      <a:pt x="12205" y="4531"/>
                      <a:pt x="12261" y="4590"/>
                      <a:pt x="12283" y="4694"/>
                    </a:cubicBezTo>
                    <a:close/>
                    <a:moveTo>
                      <a:pt x="11138" y="1775"/>
                    </a:moveTo>
                    <a:cubicBezTo>
                      <a:pt x="11016" y="1892"/>
                      <a:pt x="10895" y="2008"/>
                      <a:pt x="10803" y="2096"/>
                    </a:cubicBezTo>
                    <a:cubicBezTo>
                      <a:pt x="10757" y="2140"/>
                      <a:pt x="10718" y="2177"/>
                      <a:pt x="10690" y="2204"/>
                    </a:cubicBezTo>
                    <a:cubicBezTo>
                      <a:pt x="10676" y="2217"/>
                      <a:pt x="10664" y="2228"/>
                      <a:pt x="10656" y="2236"/>
                    </a:cubicBezTo>
                    <a:cubicBezTo>
                      <a:pt x="10647" y="2244"/>
                      <a:pt x="10642" y="2249"/>
                      <a:pt x="10638" y="2253"/>
                    </a:cubicBezTo>
                    <a:cubicBezTo>
                      <a:pt x="10612" y="2274"/>
                      <a:pt x="10585" y="2284"/>
                      <a:pt x="10562" y="2293"/>
                    </a:cubicBezTo>
                    <a:cubicBezTo>
                      <a:pt x="10551" y="2297"/>
                      <a:pt x="10542" y="2300"/>
                      <a:pt x="10534" y="2302"/>
                    </a:cubicBezTo>
                    <a:cubicBezTo>
                      <a:pt x="10533" y="2303"/>
                      <a:pt x="10533" y="2303"/>
                      <a:pt x="10533" y="2303"/>
                    </a:cubicBezTo>
                    <a:cubicBezTo>
                      <a:pt x="10522" y="2306"/>
                      <a:pt x="10522" y="2306"/>
                      <a:pt x="10522" y="2306"/>
                    </a:cubicBezTo>
                    <a:cubicBezTo>
                      <a:pt x="10522" y="2306"/>
                      <a:pt x="10521" y="2306"/>
                      <a:pt x="10521" y="2306"/>
                    </a:cubicBezTo>
                    <a:cubicBezTo>
                      <a:pt x="10520" y="2306"/>
                      <a:pt x="10520" y="2306"/>
                      <a:pt x="10520" y="2306"/>
                    </a:cubicBezTo>
                    <a:cubicBezTo>
                      <a:pt x="10520" y="2307"/>
                      <a:pt x="10520" y="2307"/>
                      <a:pt x="10519" y="2307"/>
                    </a:cubicBezTo>
                    <a:cubicBezTo>
                      <a:pt x="10519" y="2307"/>
                      <a:pt x="10519" y="2307"/>
                      <a:pt x="10518" y="2307"/>
                    </a:cubicBezTo>
                    <a:cubicBezTo>
                      <a:pt x="10522" y="2328"/>
                      <a:pt x="10522" y="2328"/>
                      <a:pt x="10522" y="2328"/>
                    </a:cubicBezTo>
                    <a:cubicBezTo>
                      <a:pt x="10527" y="2346"/>
                      <a:pt x="10533" y="2368"/>
                      <a:pt x="10540" y="2395"/>
                    </a:cubicBezTo>
                    <a:cubicBezTo>
                      <a:pt x="10593" y="2379"/>
                      <a:pt x="10639" y="2364"/>
                      <a:pt x="10676" y="2352"/>
                    </a:cubicBezTo>
                    <a:cubicBezTo>
                      <a:pt x="10703" y="2343"/>
                      <a:pt x="10725" y="2335"/>
                      <a:pt x="10742" y="2328"/>
                    </a:cubicBezTo>
                    <a:cubicBezTo>
                      <a:pt x="10758" y="2322"/>
                      <a:pt x="10770" y="2316"/>
                      <a:pt x="10771" y="2316"/>
                    </a:cubicBezTo>
                    <a:cubicBezTo>
                      <a:pt x="10783" y="2309"/>
                      <a:pt x="10820" y="2280"/>
                      <a:pt x="10866" y="2239"/>
                    </a:cubicBezTo>
                    <a:cubicBezTo>
                      <a:pt x="11031" y="2095"/>
                      <a:pt x="11340" y="1796"/>
                      <a:pt x="11637" y="1523"/>
                    </a:cubicBezTo>
                    <a:cubicBezTo>
                      <a:pt x="11786" y="1386"/>
                      <a:pt x="11933" y="1256"/>
                      <a:pt x="12058" y="1153"/>
                    </a:cubicBezTo>
                    <a:cubicBezTo>
                      <a:pt x="12121" y="1102"/>
                      <a:pt x="12179" y="1058"/>
                      <a:pt x="12230" y="1023"/>
                    </a:cubicBezTo>
                    <a:cubicBezTo>
                      <a:pt x="12282" y="988"/>
                      <a:pt x="12325" y="962"/>
                      <a:pt x="12367" y="947"/>
                    </a:cubicBezTo>
                    <a:cubicBezTo>
                      <a:pt x="12461" y="915"/>
                      <a:pt x="12582" y="898"/>
                      <a:pt x="12726" y="887"/>
                    </a:cubicBezTo>
                    <a:cubicBezTo>
                      <a:pt x="12760" y="885"/>
                      <a:pt x="12796" y="883"/>
                      <a:pt x="12833" y="881"/>
                    </a:cubicBezTo>
                    <a:cubicBezTo>
                      <a:pt x="12824" y="844"/>
                      <a:pt x="12818" y="813"/>
                      <a:pt x="12814" y="792"/>
                    </a:cubicBezTo>
                    <a:cubicBezTo>
                      <a:pt x="12805" y="770"/>
                      <a:pt x="12805" y="770"/>
                      <a:pt x="12805" y="770"/>
                    </a:cubicBezTo>
                    <a:cubicBezTo>
                      <a:pt x="12603" y="771"/>
                      <a:pt x="12452" y="772"/>
                      <a:pt x="12419" y="774"/>
                    </a:cubicBezTo>
                    <a:cubicBezTo>
                      <a:pt x="12296" y="778"/>
                      <a:pt x="12193" y="782"/>
                      <a:pt x="12109" y="820"/>
                    </a:cubicBezTo>
                    <a:cubicBezTo>
                      <a:pt x="12071" y="837"/>
                      <a:pt x="12021" y="876"/>
                      <a:pt x="11979" y="917"/>
                    </a:cubicBezTo>
                    <a:cubicBezTo>
                      <a:pt x="11936" y="958"/>
                      <a:pt x="11900" y="1001"/>
                      <a:pt x="11885" y="1024"/>
                    </a:cubicBezTo>
                    <a:cubicBezTo>
                      <a:pt x="11873" y="1042"/>
                      <a:pt x="11855" y="1062"/>
                      <a:pt x="11833" y="1086"/>
                    </a:cubicBezTo>
                    <a:cubicBezTo>
                      <a:pt x="11801" y="1122"/>
                      <a:pt x="11762" y="1163"/>
                      <a:pt x="11730" y="1196"/>
                    </a:cubicBezTo>
                    <a:cubicBezTo>
                      <a:pt x="11714" y="1212"/>
                      <a:pt x="11701" y="1226"/>
                      <a:pt x="11691" y="1236"/>
                    </a:cubicBezTo>
                    <a:cubicBezTo>
                      <a:pt x="11687" y="1240"/>
                      <a:pt x="11684" y="1244"/>
                      <a:pt x="11682" y="1246"/>
                    </a:cubicBezTo>
                    <a:cubicBezTo>
                      <a:pt x="11679" y="1251"/>
                      <a:pt x="11679" y="1250"/>
                      <a:pt x="11678" y="1252"/>
                    </a:cubicBezTo>
                    <a:cubicBezTo>
                      <a:pt x="11674" y="1256"/>
                      <a:pt x="11673" y="1257"/>
                      <a:pt x="11670" y="1260"/>
                    </a:cubicBezTo>
                    <a:cubicBezTo>
                      <a:pt x="11631" y="1300"/>
                      <a:pt x="11382" y="1540"/>
                      <a:pt x="11138" y="1775"/>
                    </a:cubicBezTo>
                    <a:close/>
                    <a:moveTo>
                      <a:pt x="8661" y="1184"/>
                    </a:moveTo>
                    <a:cubicBezTo>
                      <a:pt x="8667" y="1245"/>
                      <a:pt x="8686" y="1464"/>
                      <a:pt x="8686" y="1565"/>
                    </a:cubicBezTo>
                    <a:cubicBezTo>
                      <a:pt x="8686" y="1583"/>
                      <a:pt x="8685" y="1597"/>
                      <a:pt x="8684" y="1607"/>
                    </a:cubicBezTo>
                    <a:cubicBezTo>
                      <a:pt x="8673" y="1675"/>
                      <a:pt x="8591" y="1983"/>
                      <a:pt x="8570" y="2059"/>
                    </a:cubicBezTo>
                    <a:cubicBezTo>
                      <a:pt x="8558" y="2103"/>
                      <a:pt x="8554" y="2168"/>
                      <a:pt x="8554" y="2227"/>
                    </a:cubicBezTo>
                    <a:cubicBezTo>
                      <a:pt x="8554" y="2263"/>
                      <a:pt x="8556" y="2297"/>
                      <a:pt x="8557" y="2325"/>
                    </a:cubicBezTo>
                    <a:cubicBezTo>
                      <a:pt x="8559" y="2378"/>
                      <a:pt x="8569" y="2564"/>
                      <a:pt x="8573" y="2656"/>
                    </a:cubicBezTo>
                    <a:cubicBezTo>
                      <a:pt x="8583" y="2678"/>
                      <a:pt x="8583" y="2678"/>
                      <a:pt x="8583" y="2678"/>
                    </a:cubicBezTo>
                    <a:cubicBezTo>
                      <a:pt x="8685" y="2652"/>
                      <a:pt x="9115" y="2543"/>
                      <a:pt x="9541" y="2436"/>
                    </a:cubicBezTo>
                    <a:cubicBezTo>
                      <a:pt x="10020" y="2315"/>
                      <a:pt x="10493" y="2195"/>
                      <a:pt x="10493" y="2195"/>
                    </a:cubicBezTo>
                    <a:cubicBezTo>
                      <a:pt x="10493" y="2195"/>
                      <a:pt x="10493" y="2195"/>
                      <a:pt x="10493" y="2195"/>
                    </a:cubicBezTo>
                    <a:cubicBezTo>
                      <a:pt x="10495" y="2194"/>
                      <a:pt x="10497" y="2194"/>
                      <a:pt x="10500" y="2193"/>
                    </a:cubicBezTo>
                    <a:cubicBezTo>
                      <a:pt x="10517" y="2189"/>
                      <a:pt x="10557" y="2172"/>
                      <a:pt x="10564" y="2165"/>
                    </a:cubicBezTo>
                    <a:cubicBezTo>
                      <a:pt x="10564" y="2165"/>
                      <a:pt x="10564" y="2165"/>
                      <a:pt x="10564" y="2164"/>
                    </a:cubicBezTo>
                    <a:cubicBezTo>
                      <a:pt x="10592" y="2139"/>
                      <a:pt x="10852" y="1891"/>
                      <a:pt x="11101" y="1651"/>
                    </a:cubicBezTo>
                    <a:cubicBezTo>
                      <a:pt x="11172" y="1583"/>
                      <a:pt x="11241" y="1516"/>
                      <a:pt x="11305" y="1454"/>
                    </a:cubicBezTo>
                    <a:cubicBezTo>
                      <a:pt x="11296" y="1441"/>
                      <a:pt x="11296" y="1441"/>
                      <a:pt x="11296" y="1441"/>
                    </a:cubicBezTo>
                    <a:cubicBezTo>
                      <a:pt x="11219" y="1376"/>
                      <a:pt x="10923" y="1124"/>
                      <a:pt x="10830" y="1034"/>
                    </a:cubicBezTo>
                    <a:cubicBezTo>
                      <a:pt x="10779" y="985"/>
                      <a:pt x="10721" y="961"/>
                      <a:pt x="10674" y="948"/>
                    </a:cubicBezTo>
                    <a:cubicBezTo>
                      <a:pt x="10651" y="942"/>
                      <a:pt x="10631" y="939"/>
                      <a:pt x="10617" y="938"/>
                    </a:cubicBezTo>
                    <a:cubicBezTo>
                      <a:pt x="10603" y="936"/>
                      <a:pt x="10595" y="936"/>
                      <a:pt x="10595" y="936"/>
                    </a:cubicBezTo>
                    <a:cubicBezTo>
                      <a:pt x="9710" y="936"/>
                      <a:pt x="9710" y="936"/>
                      <a:pt x="9710" y="936"/>
                    </a:cubicBezTo>
                    <a:cubicBezTo>
                      <a:pt x="9702" y="941"/>
                      <a:pt x="9679" y="956"/>
                      <a:pt x="9651" y="976"/>
                    </a:cubicBezTo>
                    <a:cubicBezTo>
                      <a:pt x="9603" y="1009"/>
                      <a:pt x="9536" y="1057"/>
                      <a:pt x="9480" y="1096"/>
                    </a:cubicBezTo>
                    <a:cubicBezTo>
                      <a:pt x="9452" y="1116"/>
                      <a:pt x="9427" y="1133"/>
                      <a:pt x="9407" y="1146"/>
                    </a:cubicBezTo>
                    <a:cubicBezTo>
                      <a:pt x="9398" y="1153"/>
                      <a:pt x="9390" y="1158"/>
                      <a:pt x="9383" y="1162"/>
                    </a:cubicBezTo>
                    <a:cubicBezTo>
                      <a:pt x="9380" y="1163"/>
                      <a:pt x="9377" y="1165"/>
                      <a:pt x="9375" y="1166"/>
                    </a:cubicBezTo>
                    <a:cubicBezTo>
                      <a:pt x="9372" y="1167"/>
                      <a:pt x="9371" y="1169"/>
                      <a:pt x="9363" y="1170"/>
                    </a:cubicBezTo>
                    <a:cubicBezTo>
                      <a:pt x="9362" y="1170"/>
                      <a:pt x="9361" y="1170"/>
                      <a:pt x="9360" y="1169"/>
                    </a:cubicBezTo>
                    <a:cubicBezTo>
                      <a:pt x="9358" y="1169"/>
                      <a:pt x="9355" y="1169"/>
                      <a:pt x="9352" y="1169"/>
                    </a:cubicBezTo>
                    <a:cubicBezTo>
                      <a:pt x="9284" y="1169"/>
                      <a:pt x="8918" y="1181"/>
                      <a:pt x="8661" y="1184"/>
                    </a:cubicBezTo>
                    <a:close/>
                    <a:moveTo>
                      <a:pt x="7087" y="1513"/>
                    </a:moveTo>
                    <a:cubicBezTo>
                      <a:pt x="7093" y="1564"/>
                      <a:pt x="7180" y="2310"/>
                      <a:pt x="7184" y="2416"/>
                    </a:cubicBezTo>
                    <a:cubicBezTo>
                      <a:pt x="7233" y="2424"/>
                      <a:pt x="7269" y="2430"/>
                      <a:pt x="7277" y="2431"/>
                    </a:cubicBezTo>
                    <a:cubicBezTo>
                      <a:pt x="8525" y="2407"/>
                      <a:pt x="8525" y="2407"/>
                      <a:pt x="8525" y="2407"/>
                    </a:cubicBezTo>
                    <a:cubicBezTo>
                      <a:pt x="8523" y="2372"/>
                      <a:pt x="8522" y="2343"/>
                      <a:pt x="8521" y="2326"/>
                    </a:cubicBezTo>
                    <a:cubicBezTo>
                      <a:pt x="8520" y="2299"/>
                      <a:pt x="8518" y="2264"/>
                      <a:pt x="8518" y="2227"/>
                    </a:cubicBezTo>
                    <a:cubicBezTo>
                      <a:pt x="8518" y="2166"/>
                      <a:pt x="8522" y="2100"/>
                      <a:pt x="8535" y="2050"/>
                    </a:cubicBezTo>
                    <a:cubicBezTo>
                      <a:pt x="8556" y="1975"/>
                      <a:pt x="8638" y="1664"/>
                      <a:pt x="8648" y="1602"/>
                    </a:cubicBezTo>
                    <a:cubicBezTo>
                      <a:pt x="8649" y="1595"/>
                      <a:pt x="8650" y="1582"/>
                      <a:pt x="8650" y="1565"/>
                    </a:cubicBezTo>
                    <a:cubicBezTo>
                      <a:pt x="8650" y="1466"/>
                      <a:pt x="8630" y="1241"/>
                      <a:pt x="8625" y="1184"/>
                    </a:cubicBezTo>
                    <a:cubicBezTo>
                      <a:pt x="8599" y="1184"/>
                      <a:pt x="8575" y="1184"/>
                      <a:pt x="8552" y="1184"/>
                    </a:cubicBezTo>
                    <a:cubicBezTo>
                      <a:pt x="8514" y="1184"/>
                      <a:pt x="8481" y="1184"/>
                      <a:pt x="8456" y="1183"/>
                    </a:cubicBezTo>
                    <a:cubicBezTo>
                      <a:pt x="8273" y="1177"/>
                      <a:pt x="7910" y="1155"/>
                      <a:pt x="7800" y="1155"/>
                    </a:cubicBezTo>
                    <a:cubicBezTo>
                      <a:pt x="7792" y="1155"/>
                      <a:pt x="7786" y="1156"/>
                      <a:pt x="7781" y="1156"/>
                    </a:cubicBezTo>
                    <a:cubicBezTo>
                      <a:pt x="7706" y="1159"/>
                      <a:pt x="7491" y="1204"/>
                      <a:pt x="7437" y="1227"/>
                    </a:cubicBezTo>
                    <a:cubicBezTo>
                      <a:pt x="7374" y="1252"/>
                      <a:pt x="7184" y="1286"/>
                      <a:pt x="7141" y="1293"/>
                    </a:cubicBezTo>
                    <a:cubicBezTo>
                      <a:pt x="7133" y="1294"/>
                      <a:pt x="7126" y="1301"/>
                      <a:pt x="7120" y="1311"/>
                    </a:cubicBezTo>
                    <a:cubicBezTo>
                      <a:pt x="7116" y="1319"/>
                      <a:pt x="7114" y="1329"/>
                      <a:pt x="7113" y="1335"/>
                    </a:cubicBezTo>
                    <a:cubicBezTo>
                      <a:pt x="7117" y="1343"/>
                      <a:pt x="7115" y="1344"/>
                      <a:pt x="7116" y="1347"/>
                    </a:cubicBezTo>
                    <a:cubicBezTo>
                      <a:pt x="7116" y="1363"/>
                      <a:pt x="7108" y="1402"/>
                      <a:pt x="7101" y="1441"/>
                    </a:cubicBezTo>
                    <a:cubicBezTo>
                      <a:pt x="7095" y="1474"/>
                      <a:pt x="7089" y="1504"/>
                      <a:pt x="7087" y="1513"/>
                    </a:cubicBezTo>
                    <a:close/>
                    <a:moveTo>
                      <a:pt x="4009" y="1758"/>
                    </a:moveTo>
                    <a:cubicBezTo>
                      <a:pt x="4010" y="1779"/>
                      <a:pt x="4010" y="1779"/>
                      <a:pt x="4010" y="1779"/>
                    </a:cubicBezTo>
                    <a:cubicBezTo>
                      <a:pt x="4238" y="1879"/>
                      <a:pt x="4446" y="2030"/>
                      <a:pt x="4484" y="2058"/>
                    </a:cubicBezTo>
                    <a:cubicBezTo>
                      <a:pt x="5329" y="2407"/>
                      <a:pt x="5329" y="2407"/>
                      <a:pt x="5329" y="2407"/>
                    </a:cubicBezTo>
                    <a:cubicBezTo>
                      <a:pt x="5371" y="2420"/>
                      <a:pt x="5871" y="2568"/>
                      <a:pt x="6039" y="2618"/>
                    </a:cubicBezTo>
                    <a:cubicBezTo>
                      <a:pt x="6119" y="2643"/>
                      <a:pt x="6287" y="2687"/>
                      <a:pt x="6453" y="2730"/>
                    </a:cubicBezTo>
                    <a:cubicBezTo>
                      <a:pt x="6469" y="2714"/>
                      <a:pt x="6469" y="2714"/>
                      <a:pt x="6469" y="2714"/>
                    </a:cubicBezTo>
                    <a:cubicBezTo>
                      <a:pt x="6541" y="2460"/>
                      <a:pt x="6541" y="2460"/>
                      <a:pt x="6541" y="2460"/>
                    </a:cubicBezTo>
                    <a:cubicBezTo>
                      <a:pt x="6543" y="2457"/>
                      <a:pt x="6543" y="2457"/>
                      <a:pt x="6543" y="2457"/>
                    </a:cubicBezTo>
                    <a:cubicBezTo>
                      <a:pt x="6593" y="2385"/>
                      <a:pt x="6674" y="2365"/>
                      <a:pt x="6778" y="2366"/>
                    </a:cubicBezTo>
                    <a:cubicBezTo>
                      <a:pt x="6845" y="2366"/>
                      <a:pt x="7023" y="2391"/>
                      <a:pt x="7148" y="2411"/>
                    </a:cubicBezTo>
                    <a:cubicBezTo>
                      <a:pt x="7145" y="2351"/>
                      <a:pt x="7122" y="2142"/>
                      <a:pt x="7100" y="1942"/>
                    </a:cubicBezTo>
                    <a:cubicBezTo>
                      <a:pt x="7078" y="1747"/>
                      <a:pt x="7056" y="1559"/>
                      <a:pt x="7052" y="1521"/>
                    </a:cubicBezTo>
                    <a:cubicBezTo>
                      <a:pt x="7022" y="1496"/>
                      <a:pt x="6980" y="1475"/>
                      <a:pt x="6947" y="1442"/>
                    </a:cubicBezTo>
                    <a:cubicBezTo>
                      <a:pt x="6892" y="1386"/>
                      <a:pt x="6859" y="1326"/>
                      <a:pt x="6858" y="1325"/>
                    </a:cubicBezTo>
                    <a:cubicBezTo>
                      <a:pt x="6580" y="823"/>
                      <a:pt x="6580" y="823"/>
                      <a:pt x="6580" y="823"/>
                    </a:cubicBezTo>
                    <a:cubicBezTo>
                      <a:pt x="6522" y="725"/>
                      <a:pt x="6449" y="703"/>
                      <a:pt x="6388" y="703"/>
                    </a:cubicBezTo>
                    <a:cubicBezTo>
                      <a:pt x="6359" y="702"/>
                      <a:pt x="6333" y="708"/>
                      <a:pt x="6314" y="714"/>
                    </a:cubicBezTo>
                    <a:cubicBezTo>
                      <a:pt x="6305" y="717"/>
                      <a:pt x="6297" y="719"/>
                      <a:pt x="6292" y="722"/>
                    </a:cubicBezTo>
                    <a:cubicBezTo>
                      <a:pt x="6288" y="723"/>
                      <a:pt x="6286" y="724"/>
                      <a:pt x="6285" y="725"/>
                    </a:cubicBezTo>
                    <a:cubicBezTo>
                      <a:pt x="6272" y="732"/>
                      <a:pt x="6052" y="860"/>
                      <a:pt x="5942" y="920"/>
                    </a:cubicBezTo>
                    <a:cubicBezTo>
                      <a:pt x="5840" y="976"/>
                      <a:pt x="5772" y="1006"/>
                      <a:pt x="5667" y="1006"/>
                    </a:cubicBezTo>
                    <a:cubicBezTo>
                      <a:pt x="5655" y="1006"/>
                      <a:pt x="5643" y="1005"/>
                      <a:pt x="5630" y="1005"/>
                    </a:cubicBezTo>
                    <a:cubicBezTo>
                      <a:pt x="5502" y="997"/>
                      <a:pt x="5208" y="908"/>
                      <a:pt x="4919" y="822"/>
                    </a:cubicBezTo>
                    <a:cubicBezTo>
                      <a:pt x="4667" y="747"/>
                      <a:pt x="4496" y="662"/>
                      <a:pt x="4455" y="640"/>
                    </a:cubicBezTo>
                    <a:cubicBezTo>
                      <a:pt x="4220" y="1096"/>
                      <a:pt x="4220" y="1096"/>
                      <a:pt x="4220" y="1096"/>
                    </a:cubicBezTo>
                    <a:cubicBezTo>
                      <a:pt x="4216" y="1114"/>
                      <a:pt x="4184" y="1237"/>
                      <a:pt x="4143" y="1305"/>
                    </a:cubicBezTo>
                    <a:cubicBezTo>
                      <a:pt x="4107" y="1365"/>
                      <a:pt x="4082" y="1411"/>
                      <a:pt x="4076" y="1422"/>
                    </a:cubicBezTo>
                    <a:lnTo>
                      <a:pt x="4009" y="1758"/>
                    </a:lnTo>
                    <a:close/>
                    <a:moveTo>
                      <a:pt x="3627" y="1783"/>
                    </a:moveTo>
                    <a:cubicBezTo>
                      <a:pt x="3205" y="3088"/>
                      <a:pt x="3205" y="3088"/>
                      <a:pt x="3205" y="3088"/>
                    </a:cubicBezTo>
                    <a:cubicBezTo>
                      <a:pt x="3200" y="3086"/>
                      <a:pt x="3200" y="3086"/>
                      <a:pt x="3200" y="3086"/>
                    </a:cubicBezTo>
                    <a:cubicBezTo>
                      <a:pt x="3357" y="3148"/>
                      <a:pt x="3672" y="3295"/>
                      <a:pt x="3939" y="3394"/>
                    </a:cubicBezTo>
                    <a:cubicBezTo>
                      <a:pt x="4259" y="3513"/>
                      <a:pt x="4557" y="3618"/>
                      <a:pt x="4757" y="3670"/>
                    </a:cubicBezTo>
                    <a:cubicBezTo>
                      <a:pt x="4832" y="3689"/>
                      <a:pt x="4912" y="3711"/>
                      <a:pt x="4993" y="3734"/>
                    </a:cubicBezTo>
                    <a:cubicBezTo>
                      <a:pt x="5155" y="3359"/>
                      <a:pt x="5155" y="3359"/>
                      <a:pt x="5155" y="3359"/>
                    </a:cubicBezTo>
                    <a:cubicBezTo>
                      <a:pt x="5146" y="2983"/>
                      <a:pt x="5146" y="2983"/>
                      <a:pt x="5146" y="2983"/>
                    </a:cubicBezTo>
                    <a:cubicBezTo>
                      <a:pt x="5147" y="2981"/>
                      <a:pt x="5147" y="2981"/>
                      <a:pt x="5147" y="2981"/>
                    </a:cubicBezTo>
                    <a:cubicBezTo>
                      <a:pt x="5147" y="2980"/>
                      <a:pt x="5186" y="2862"/>
                      <a:pt x="5224" y="2739"/>
                    </a:cubicBezTo>
                    <a:cubicBezTo>
                      <a:pt x="5244" y="2678"/>
                      <a:pt x="5263" y="2616"/>
                      <a:pt x="5277" y="2567"/>
                    </a:cubicBezTo>
                    <a:cubicBezTo>
                      <a:pt x="5283" y="2549"/>
                      <a:pt x="5287" y="2533"/>
                      <a:pt x="5291" y="2520"/>
                    </a:cubicBezTo>
                    <a:cubicBezTo>
                      <a:pt x="5291" y="2518"/>
                      <a:pt x="5291" y="2517"/>
                      <a:pt x="5291" y="2516"/>
                    </a:cubicBezTo>
                    <a:cubicBezTo>
                      <a:pt x="5291" y="2516"/>
                      <a:pt x="5291" y="2516"/>
                      <a:pt x="5291" y="2516"/>
                    </a:cubicBezTo>
                    <a:cubicBezTo>
                      <a:pt x="4427" y="2158"/>
                      <a:pt x="4427" y="2158"/>
                      <a:pt x="4427" y="2158"/>
                    </a:cubicBezTo>
                    <a:cubicBezTo>
                      <a:pt x="4421" y="2154"/>
                      <a:pt x="4421" y="2154"/>
                      <a:pt x="4421" y="2154"/>
                    </a:cubicBezTo>
                    <a:cubicBezTo>
                      <a:pt x="4421" y="2154"/>
                      <a:pt x="4403" y="2141"/>
                      <a:pt x="4372" y="2118"/>
                    </a:cubicBezTo>
                    <a:cubicBezTo>
                      <a:pt x="4276" y="2052"/>
                      <a:pt x="4056" y="1909"/>
                      <a:pt x="3857" y="1843"/>
                    </a:cubicBezTo>
                    <a:cubicBezTo>
                      <a:pt x="3802" y="1825"/>
                      <a:pt x="3727" y="1799"/>
                      <a:pt x="3643" y="1770"/>
                    </a:cubicBezTo>
                    <a:lnTo>
                      <a:pt x="3627" y="1783"/>
                    </a:lnTo>
                    <a:close/>
                    <a:moveTo>
                      <a:pt x="4274" y="3554"/>
                    </a:moveTo>
                    <a:cubicBezTo>
                      <a:pt x="4274" y="3554"/>
                      <a:pt x="4274" y="3554"/>
                      <a:pt x="4274" y="3554"/>
                    </a:cubicBezTo>
                    <a:cubicBezTo>
                      <a:pt x="4274" y="3554"/>
                      <a:pt x="4274" y="3554"/>
                      <a:pt x="4274" y="3554"/>
                    </a:cubicBezTo>
                    <a:cubicBezTo>
                      <a:pt x="4274" y="3554"/>
                      <a:pt x="4274" y="3554"/>
                      <a:pt x="4274" y="3554"/>
                    </a:cubicBezTo>
                    <a:close/>
                    <a:moveTo>
                      <a:pt x="4086" y="3904"/>
                    </a:moveTo>
                    <a:cubicBezTo>
                      <a:pt x="4087" y="3899"/>
                      <a:pt x="4087" y="3899"/>
                      <a:pt x="4087" y="3899"/>
                    </a:cubicBezTo>
                    <a:cubicBezTo>
                      <a:pt x="4087" y="3899"/>
                      <a:pt x="4126" y="3808"/>
                      <a:pt x="4165" y="3717"/>
                    </a:cubicBezTo>
                    <a:cubicBezTo>
                      <a:pt x="4185" y="3671"/>
                      <a:pt x="4205" y="3625"/>
                      <a:pt x="4221" y="3590"/>
                    </a:cubicBezTo>
                    <a:cubicBezTo>
                      <a:pt x="4228" y="3573"/>
                      <a:pt x="4235" y="3558"/>
                      <a:pt x="4240" y="3548"/>
                    </a:cubicBezTo>
                    <a:cubicBezTo>
                      <a:pt x="4241" y="3546"/>
                      <a:pt x="4242" y="3544"/>
                      <a:pt x="4243" y="3543"/>
                    </a:cubicBezTo>
                    <a:cubicBezTo>
                      <a:pt x="4142" y="3507"/>
                      <a:pt x="4036" y="3468"/>
                      <a:pt x="3927" y="3428"/>
                    </a:cubicBezTo>
                    <a:cubicBezTo>
                      <a:pt x="3606" y="3310"/>
                      <a:pt x="3214" y="3120"/>
                      <a:pt x="3118" y="3096"/>
                    </a:cubicBezTo>
                    <a:cubicBezTo>
                      <a:pt x="3076" y="3085"/>
                      <a:pt x="3014" y="3070"/>
                      <a:pt x="2940" y="3070"/>
                    </a:cubicBezTo>
                    <a:cubicBezTo>
                      <a:pt x="2838" y="3070"/>
                      <a:pt x="2714" y="3098"/>
                      <a:pt x="2590" y="3202"/>
                    </a:cubicBezTo>
                    <a:cubicBezTo>
                      <a:pt x="2517" y="3263"/>
                      <a:pt x="2402" y="3394"/>
                      <a:pt x="2246" y="3564"/>
                    </a:cubicBezTo>
                    <a:cubicBezTo>
                      <a:pt x="2097" y="3725"/>
                      <a:pt x="1934" y="3902"/>
                      <a:pt x="1807" y="4039"/>
                    </a:cubicBezTo>
                    <a:cubicBezTo>
                      <a:pt x="1743" y="4108"/>
                      <a:pt x="1689" y="4167"/>
                      <a:pt x="1650" y="4208"/>
                    </a:cubicBezTo>
                    <a:cubicBezTo>
                      <a:pt x="1632" y="4228"/>
                      <a:pt x="1617" y="4244"/>
                      <a:pt x="1606" y="4256"/>
                    </a:cubicBezTo>
                    <a:cubicBezTo>
                      <a:pt x="1609" y="4257"/>
                      <a:pt x="1612" y="4258"/>
                      <a:pt x="1612" y="4258"/>
                    </a:cubicBezTo>
                    <a:cubicBezTo>
                      <a:pt x="1614" y="4259"/>
                      <a:pt x="1614" y="4259"/>
                      <a:pt x="1614" y="4259"/>
                    </a:cubicBezTo>
                    <a:cubicBezTo>
                      <a:pt x="2447" y="4863"/>
                      <a:pt x="2447" y="4863"/>
                      <a:pt x="2447" y="4863"/>
                    </a:cubicBezTo>
                    <a:cubicBezTo>
                      <a:pt x="2910" y="5010"/>
                      <a:pt x="2910" y="5010"/>
                      <a:pt x="2910" y="5010"/>
                    </a:cubicBezTo>
                    <a:cubicBezTo>
                      <a:pt x="2916" y="4995"/>
                      <a:pt x="2942" y="4932"/>
                      <a:pt x="2961" y="4886"/>
                    </a:cubicBezTo>
                    <a:cubicBezTo>
                      <a:pt x="2983" y="4832"/>
                      <a:pt x="3026" y="4747"/>
                      <a:pt x="3149" y="4688"/>
                    </a:cubicBezTo>
                    <a:cubicBezTo>
                      <a:pt x="3192" y="4667"/>
                      <a:pt x="3235" y="4659"/>
                      <a:pt x="3282" y="4659"/>
                    </a:cubicBezTo>
                    <a:cubicBezTo>
                      <a:pt x="3374" y="4659"/>
                      <a:pt x="3482" y="4690"/>
                      <a:pt x="3647" y="4722"/>
                    </a:cubicBezTo>
                    <a:cubicBezTo>
                      <a:pt x="3743" y="4740"/>
                      <a:pt x="3858" y="4766"/>
                      <a:pt x="3980" y="4796"/>
                    </a:cubicBezTo>
                    <a:cubicBezTo>
                      <a:pt x="3986" y="4781"/>
                      <a:pt x="4002" y="4740"/>
                      <a:pt x="4021" y="4686"/>
                    </a:cubicBezTo>
                    <a:cubicBezTo>
                      <a:pt x="4044" y="4618"/>
                      <a:pt x="4071" y="4528"/>
                      <a:pt x="4086" y="4447"/>
                    </a:cubicBezTo>
                    <a:cubicBezTo>
                      <a:pt x="4096" y="4393"/>
                      <a:pt x="4100" y="4315"/>
                      <a:pt x="4099" y="4235"/>
                    </a:cubicBezTo>
                    <a:cubicBezTo>
                      <a:pt x="4100" y="4075"/>
                      <a:pt x="4086" y="3908"/>
                      <a:pt x="4086" y="3908"/>
                    </a:cubicBezTo>
                    <a:lnTo>
                      <a:pt x="4086" y="3904"/>
                    </a:lnTo>
                    <a:close/>
                    <a:moveTo>
                      <a:pt x="1284" y="4142"/>
                    </a:moveTo>
                    <a:cubicBezTo>
                      <a:pt x="1286" y="4144"/>
                      <a:pt x="1287" y="4146"/>
                      <a:pt x="1288" y="4147"/>
                    </a:cubicBezTo>
                    <a:cubicBezTo>
                      <a:pt x="1294" y="4148"/>
                      <a:pt x="1300" y="4150"/>
                      <a:pt x="1308" y="4152"/>
                    </a:cubicBezTo>
                    <a:cubicBezTo>
                      <a:pt x="1363" y="4168"/>
                      <a:pt x="1499" y="4217"/>
                      <a:pt x="1569" y="4242"/>
                    </a:cubicBezTo>
                    <a:cubicBezTo>
                      <a:pt x="1590" y="4220"/>
                      <a:pt x="1676" y="4128"/>
                      <a:pt x="1789" y="4005"/>
                    </a:cubicBezTo>
                    <a:cubicBezTo>
                      <a:pt x="1915" y="3869"/>
                      <a:pt x="2074" y="3696"/>
                      <a:pt x="2219" y="3539"/>
                    </a:cubicBezTo>
                    <a:cubicBezTo>
                      <a:pt x="2375" y="3370"/>
                      <a:pt x="2489" y="3239"/>
                      <a:pt x="2567" y="3174"/>
                    </a:cubicBezTo>
                    <a:cubicBezTo>
                      <a:pt x="2698" y="3064"/>
                      <a:pt x="2832" y="3034"/>
                      <a:pt x="2940" y="3034"/>
                    </a:cubicBezTo>
                    <a:cubicBezTo>
                      <a:pt x="3018" y="3034"/>
                      <a:pt x="3084" y="3050"/>
                      <a:pt x="3127" y="3061"/>
                    </a:cubicBezTo>
                    <a:cubicBezTo>
                      <a:pt x="3138" y="3064"/>
                      <a:pt x="3154" y="3069"/>
                      <a:pt x="3171" y="3075"/>
                    </a:cubicBezTo>
                    <a:cubicBezTo>
                      <a:pt x="3594" y="1769"/>
                      <a:pt x="3594" y="1769"/>
                      <a:pt x="3594" y="1769"/>
                    </a:cubicBezTo>
                    <a:cubicBezTo>
                      <a:pt x="3595" y="1754"/>
                      <a:pt x="3595" y="1754"/>
                      <a:pt x="3595" y="1754"/>
                    </a:cubicBezTo>
                    <a:cubicBezTo>
                      <a:pt x="3255" y="1635"/>
                      <a:pt x="2795" y="1469"/>
                      <a:pt x="2750" y="1453"/>
                    </a:cubicBezTo>
                    <a:cubicBezTo>
                      <a:pt x="2720" y="1442"/>
                      <a:pt x="2678" y="1426"/>
                      <a:pt x="2637" y="1401"/>
                    </a:cubicBezTo>
                    <a:cubicBezTo>
                      <a:pt x="2610" y="1385"/>
                      <a:pt x="2584" y="1365"/>
                      <a:pt x="2561" y="1339"/>
                    </a:cubicBezTo>
                    <a:cubicBezTo>
                      <a:pt x="2551" y="1345"/>
                      <a:pt x="2551" y="1345"/>
                      <a:pt x="2551" y="1345"/>
                    </a:cubicBezTo>
                    <a:cubicBezTo>
                      <a:pt x="2541" y="1353"/>
                      <a:pt x="2519" y="1371"/>
                      <a:pt x="2488" y="1397"/>
                    </a:cubicBezTo>
                    <a:cubicBezTo>
                      <a:pt x="2353" y="1511"/>
                      <a:pt x="2049" y="1773"/>
                      <a:pt x="1778" y="2008"/>
                    </a:cubicBezTo>
                    <a:cubicBezTo>
                      <a:pt x="1643" y="2125"/>
                      <a:pt x="1516" y="2235"/>
                      <a:pt x="1423" y="2315"/>
                    </a:cubicBezTo>
                    <a:cubicBezTo>
                      <a:pt x="1336" y="2391"/>
                      <a:pt x="1278" y="2441"/>
                      <a:pt x="1272" y="2447"/>
                    </a:cubicBezTo>
                    <a:cubicBezTo>
                      <a:pt x="558" y="3210"/>
                      <a:pt x="558" y="3210"/>
                      <a:pt x="558" y="3210"/>
                    </a:cubicBezTo>
                    <a:cubicBezTo>
                      <a:pt x="602" y="3267"/>
                      <a:pt x="757" y="3470"/>
                      <a:pt x="915" y="3674"/>
                    </a:cubicBezTo>
                    <a:cubicBezTo>
                      <a:pt x="1007" y="3794"/>
                      <a:pt x="1101" y="3914"/>
                      <a:pt x="1172" y="4004"/>
                    </a:cubicBezTo>
                    <a:cubicBezTo>
                      <a:pt x="1207" y="4049"/>
                      <a:pt x="1237" y="4086"/>
                      <a:pt x="1258" y="4112"/>
                    </a:cubicBezTo>
                    <a:cubicBezTo>
                      <a:pt x="1269" y="4125"/>
                      <a:pt x="1278" y="4136"/>
                      <a:pt x="1284" y="4142"/>
                    </a:cubicBezTo>
                    <a:close/>
                    <a:moveTo>
                      <a:pt x="1350" y="6805"/>
                    </a:moveTo>
                    <a:cubicBezTo>
                      <a:pt x="1389" y="6732"/>
                      <a:pt x="1418" y="6665"/>
                      <a:pt x="1418" y="6665"/>
                    </a:cubicBezTo>
                    <a:cubicBezTo>
                      <a:pt x="1419" y="6664"/>
                      <a:pt x="1419" y="6664"/>
                      <a:pt x="1419" y="6664"/>
                    </a:cubicBezTo>
                    <a:cubicBezTo>
                      <a:pt x="2415" y="4885"/>
                      <a:pt x="2415" y="4885"/>
                      <a:pt x="2415" y="4885"/>
                    </a:cubicBezTo>
                    <a:cubicBezTo>
                      <a:pt x="1597" y="4291"/>
                      <a:pt x="1597" y="4291"/>
                      <a:pt x="1597" y="4291"/>
                    </a:cubicBezTo>
                    <a:cubicBezTo>
                      <a:pt x="1584" y="4286"/>
                      <a:pt x="1517" y="4261"/>
                      <a:pt x="1447" y="4237"/>
                    </a:cubicBezTo>
                    <a:cubicBezTo>
                      <a:pt x="1408" y="4223"/>
                      <a:pt x="1369" y="4209"/>
                      <a:pt x="1337" y="4199"/>
                    </a:cubicBezTo>
                    <a:cubicBezTo>
                      <a:pt x="1327" y="4196"/>
                      <a:pt x="1318" y="4193"/>
                      <a:pt x="1310" y="4191"/>
                    </a:cubicBezTo>
                    <a:cubicBezTo>
                      <a:pt x="197" y="6229"/>
                      <a:pt x="197" y="6229"/>
                      <a:pt x="197" y="6229"/>
                    </a:cubicBezTo>
                    <a:cubicBezTo>
                      <a:pt x="357" y="6301"/>
                      <a:pt x="593" y="6451"/>
                      <a:pt x="776" y="6619"/>
                    </a:cubicBezTo>
                    <a:cubicBezTo>
                      <a:pt x="949" y="6778"/>
                      <a:pt x="1059" y="6955"/>
                      <a:pt x="1100" y="7026"/>
                    </a:cubicBezTo>
                    <a:cubicBezTo>
                      <a:pt x="1101" y="7025"/>
                      <a:pt x="1102" y="7025"/>
                      <a:pt x="1103" y="7025"/>
                    </a:cubicBezTo>
                    <a:cubicBezTo>
                      <a:pt x="1126" y="7022"/>
                      <a:pt x="1179" y="7011"/>
                      <a:pt x="1232" y="6977"/>
                    </a:cubicBezTo>
                    <a:cubicBezTo>
                      <a:pt x="1262" y="6958"/>
                      <a:pt x="1313" y="6878"/>
                      <a:pt x="1350" y="6805"/>
                    </a:cubicBezTo>
                    <a:close/>
                    <a:moveTo>
                      <a:pt x="1905" y="6970"/>
                    </a:moveTo>
                    <a:cubicBezTo>
                      <a:pt x="1754" y="6882"/>
                      <a:pt x="1510" y="6737"/>
                      <a:pt x="1443" y="6698"/>
                    </a:cubicBezTo>
                    <a:cubicBezTo>
                      <a:pt x="1432" y="6723"/>
                      <a:pt x="1409" y="6771"/>
                      <a:pt x="1382" y="6822"/>
                    </a:cubicBezTo>
                    <a:cubicBezTo>
                      <a:pt x="1350" y="6882"/>
                      <a:pt x="1315" y="6945"/>
                      <a:pt x="1279" y="6983"/>
                    </a:cubicBezTo>
                    <a:cubicBezTo>
                      <a:pt x="1283" y="6989"/>
                      <a:pt x="1283" y="6989"/>
                      <a:pt x="1283" y="6989"/>
                    </a:cubicBezTo>
                    <a:cubicBezTo>
                      <a:pt x="1283" y="6989"/>
                      <a:pt x="1283" y="6989"/>
                      <a:pt x="1283" y="6989"/>
                    </a:cubicBezTo>
                    <a:cubicBezTo>
                      <a:pt x="1387" y="7148"/>
                      <a:pt x="1387" y="7148"/>
                      <a:pt x="1387" y="7148"/>
                    </a:cubicBezTo>
                    <a:cubicBezTo>
                      <a:pt x="1387" y="7148"/>
                      <a:pt x="1387" y="7148"/>
                      <a:pt x="1387" y="7148"/>
                    </a:cubicBezTo>
                    <a:cubicBezTo>
                      <a:pt x="1395" y="7160"/>
                      <a:pt x="1395" y="7160"/>
                      <a:pt x="1395" y="7160"/>
                    </a:cubicBezTo>
                    <a:cubicBezTo>
                      <a:pt x="1412" y="7185"/>
                      <a:pt x="1412" y="7185"/>
                      <a:pt x="1412" y="7185"/>
                    </a:cubicBezTo>
                    <a:cubicBezTo>
                      <a:pt x="1411" y="7186"/>
                      <a:pt x="1411" y="7186"/>
                      <a:pt x="1411" y="7186"/>
                    </a:cubicBezTo>
                    <a:cubicBezTo>
                      <a:pt x="1415" y="7191"/>
                      <a:pt x="1415" y="7191"/>
                      <a:pt x="1415" y="7191"/>
                    </a:cubicBezTo>
                    <a:cubicBezTo>
                      <a:pt x="1382" y="7345"/>
                      <a:pt x="1382" y="7345"/>
                      <a:pt x="1382" y="7345"/>
                    </a:cubicBezTo>
                    <a:cubicBezTo>
                      <a:pt x="1396" y="7355"/>
                      <a:pt x="1430" y="7376"/>
                      <a:pt x="1465" y="7398"/>
                    </a:cubicBezTo>
                    <a:cubicBezTo>
                      <a:pt x="1488" y="7413"/>
                      <a:pt x="1511" y="7427"/>
                      <a:pt x="1528" y="7438"/>
                    </a:cubicBezTo>
                    <a:cubicBezTo>
                      <a:pt x="1537" y="7443"/>
                      <a:pt x="1545" y="7448"/>
                      <a:pt x="1550" y="7451"/>
                    </a:cubicBezTo>
                    <a:cubicBezTo>
                      <a:pt x="1553" y="7452"/>
                      <a:pt x="1555" y="7453"/>
                      <a:pt x="1556" y="7454"/>
                    </a:cubicBezTo>
                    <a:cubicBezTo>
                      <a:pt x="1557" y="7454"/>
                      <a:pt x="1558" y="7454"/>
                      <a:pt x="1558" y="7454"/>
                    </a:cubicBezTo>
                    <a:cubicBezTo>
                      <a:pt x="1555" y="7463"/>
                      <a:pt x="1555" y="7463"/>
                      <a:pt x="1555" y="7463"/>
                    </a:cubicBezTo>
                    <a:cubicBezTo>
                      <a:pt x="1555" y="7454"/>
                      <a:pt x="1555" y="7454"/>
                      <a:pt x="1555" y="7454"/>
                    </a:cubicBezTo>
                    <a:cubicBezTo>
                      <a:pt x="1555" y="7466"/>
                      <a:pt x="1555" y="7466"/>
                      <a:pt x="1555" y="7466"/>
                    </a:cubicBezTo>
                    <a:cubicBezTo>
                      <a:pt x="1556" y="7473"/>
                      <a:pt x="1556" y="7473"/>
                      <a:pt x="1556" y="7473"/>
                    </a:cubicBezTo>
                    <a:cubicBezTo>
                      <a:pt x="1643" y="7352"/>
                      <a:pt x="1643" y="7352"/>
                      <a:pt x="1643" y="7352"/>
                    </a:cubicBezTo>
                    <a:cubicBezTo>
                      <a:pt x="1640" y="7349"/>
                      <a:pt x="1640" y="7349"/>
                      <a:pt x="1640" y="7349"/>
                    </a:cubicBezTo>
                    <a:cubicBezTo>
                      <a:pt x="1640" y="7349"/>
                      <a:pt x="1640" y="7349"/>
                      <a:pt x="1640" y="7349"/>
                    </a:cubicBezTo>
                    <a:cubicBezTo>
                      <a:pt x="1640" y="7349"/>
                      <a:pt x="1640" y="7349"/>
                      <a:pt x="1640" y="7349"/>
                    </a:cubicBezTo>
                    <a:cubicBezTo>
                      <a:pt x="1645" y="7345"/>
                      <a:pt x="1666" y="7316"/>
                      <a:pt x="1691" y="7281"/>
                    </a:cubicBezTo>
                    <a:cubicBezTo>
                      <a:pt x="1691" y="7284"/>
                      <a:pt x="1691" y="7284"/>
                      <a:pt x="1691" y="7284"/>
                    </a:cubicBezTo>
                    <a:cubicBezTo>
                      <a:pt x="1709" y="7259"/>
                      <a:pt x="1709" y="7259"/>
                      <a:pt x="1709" y="7259"/>
                    </a:cubicBezTo>
                    <a:cubicBezTo>
                      <a:pt x="1746" y="7205"/>
                      <a:pt x="1789" y="7135"/>
                      <a:pt x="1828" y="7079"/>
                    </a:cubicBezTo>
                    <a:cubicBezTo>
                      <a:pt x="1850" y="7046"/>
                      <a:pt x="1870" y="7017"/>
                      <a:pt x="1886" y="6995"/>
                    </a:cubicBezTo>
                    <a:cubicBezTo>
                      <a:pt x="1894" y="6985"/>
                      <a:pt x="1900" y="6976"/>
                      <a:pt x="1905" y="6970"/>
                    </a:cubicBezTo>
                    <a:close/>
                    <a:moveTo>
                      <a:pt x="1934" y="6987"/>
                    </a:moveTo>
                    <a:cubicBezTo>
                      <a:pt x="1934" y="6987"/>
                      <a:pt x="1934" y="6987"/>
                      <a:pt x="1934" y="6987"/>
                    </a:cubicBezTo>
                    <a:cubicBezTo>
                      <a:pt x="1934" y="6987"/>
                      <a:pt x="1934" y="6987"/>
                      <a:pt x="1934" y="6987"/>
                    </a:cubicBezTo>
                    <a:cubicBezTo>
                      <a:pt x="1934" y="6987"/>
                      <a:pt x="1934" y="6987"/>
                      <a:pt x="1934" y="6987"/>
                    </a:cubicBezTo>
                    <a:close/>
                    <a:moveTo>
                      <a:pt x="3503" y="7219"/>
                    </a:moveTo>
                    <a:cubicBezTo>
                      <a:pt x="3465" y="7183"/>
                      <a:pt x="3426" y="7149"/>
                      <a:pt x="3392" y="7125"/>
                    </a:cubicBezTo>
                    <a:cubicBezTo>
                      <a:pt x="3275" y="7042"/>
                      <a:pt x="3169" y="6981"/>
                      <a:pt x="3083" y="6895"/>
                    </a:cubicBezTo>
                    <a:cubicBezTo>
                      <a:pt x="3007" y="6818"/>
                      <a:pt x="2966" y="6713"/>
                      <a:pt x="2966" y="6641"/>
                    </a:cubicBezTo>
                    <a:cubicBezTo>
                      <a:pt x="2966" y="6630"/>
                      <a:pt x="2967" y="6620"/>
                      <a:pt x="2969" y="6611"/>
                    </a:cubicBezTo>
                    <a:cubicBezTo>
                      <a:pt x="2972" y="6599"/>
                      <a:pt x="2981" y="6577"/>
                      <a:pt x="2998" y="6542"/>
                    </a:cubicBezTo>
                    <a:cubicBezTo>
                      <a:pt x="3102" y="6316"/>
                      <a:pt x="3465" y="5609"/>
                      <a:pt x="3520" y="5503"/>
                    </a:cubicBezTo>
                    <a:cubicBezTo>
                      <a:pt x="2943" y="5058"/>
                      <a:pt x="2943" y="5058"/>
                      <a:pt x="2943" y="5058"/>
                    </a:cubicBezTo>
                    <a:cubicBezTo>
                      <a:pt x="2447" y="4901"/>
                      <a:pt x="2447" y="4901"/>
                      <a:pt x="2447" y="4901"/>
                    </a:cubicBezTo>
                    <a:cubicBezTo>
                      <a:pt x="1459" y="6665"/>
                      <a:pt x="1459" y="6665"/>
                      <a:pt x="1459" y="6665"/>
                    </a:cubicBezTo>
                    <a:cubicBezTo>
                      <a:pt x="1497" y="6688"/>
                      <a:pt x="1601" y="6750"/>
                      <a:pt x="1712" y="6815"/>
                    </a:cubicBezTo>
                    <a:cubicBezTo>
                      <a:pt x="1850" y="6896"/>
                      <a:pt x="1999" y="6983"/>
                      <a:pt x="2035" y="7002"/>
                    </a:cubicBezTo>
                    <a:cubicBezTo>
                      <a:pt x="2113" y="7044"/>
                      <a:pt x="2357" y="7227"/>
                      <a:pt x="2444" y="7288"/>
                    </a:cubicBezTo>
                    <a:cubicBezTo>
                      <a:pt x="2533" y="7351"/>
                      <a:pt x="2644" y="7444"/>
                      <a:pt x="2809" y="7465"/>
                    </a:cubicBezTo>
                    <a:cubicBezTo>
                      <a:pt x="2821" y="7466"/>
                      <a:pt x="2833" y="7467"/>
                      <a:pt x="2845" y="7467"/>
                    </a:cubicBezTo>
                    <a:cubicBezTo>
                      <a:pt x="2993" y="7468"/>
                      <a:pt x="3135" y="7355"/>
                      <a:pt x="3213" y="7301"/>
                    </a:cubicBezTo>
                    <a:cubicBezTo>
                      <a:pt x="3259" y="7270"/>
                      <a:pt x="3339" y="7250"/>
                      <a:pt x="3408" y="7236"/>
                    </a:cubicBezTo>
                    <a:cubicBezTo>
                      <a:pt x="3445" y="7228"/>
                      <a:pt x="3479" y="7223"/>
                      <a:pt x="3503" y="7219"/>
                    </a:cubicBezTo>
                    <a:close/>
                    <a:moveTo>
                      <a:pt x="3904" y="7661"/>
                    </a:moveTo>
                    <a:cubicBezTo>
                      <a:pt x="4037" y="7603"/>
                      <a:pt x="4037" y="7603"/>
                      <a:pt x="4037" y="7603"/>
                    </a:cubicBezTo>
                    <a:cubicBezTo>
                      <a:pt x="4147" y="7548"/>
                      <a:pt x="4147" y="7548"/>
                      <a:pt x="4147" y="7548"/>
                    </a:cubicBezTo>
                    <a:cubicBezTo>
                      <a:pt x="4145" y="7545"/>
                      <a:pt x="4145" y="7545"/>
                      <a:pt x="4145" y="7545"/>
                    </a:cubicBezTo>
                    <a:cubicBezTo>
                      <a:pt x="4166" y="7539"/>
                      <a:pt x="4166" y="7539"/>
                      <a:pt x="4166" y="7539"/>
                    </a:cubicBezTo>
                    <a:cubicBezTo>
                      <a:pt x="4199" y="7523"/>
                      <a:pt x="4199" y="7523"/>
                      <a:pt x="4199" y="7523"/>
                    </a:cubicBezTo>
                    <a:cubicBezTo>
                      <a:pt x="4199" y="7523"/>
                      <a:pt x="4199" y="7523"/>
                      <a:pt x="4199" y="7523"/>
                    </a:cubicBezTo>
                    <a:cubicBezTo>
                      <a:pt x="4204" y="7520"/>
                      <a:pt x="4211" y="7517"/>
                      <a:pt x="4220" y="7512"/>
                    </a:cubicBezTo>
                    <a:cubicBezTo>
                      <a:pt x="4228" y="7507"/>
                      <a:pt x="4228" y="7507"/>
                      <a:pt x="4228" y="7507"/>
                    </a:cubicBezTo>
                    <a:cubicBezTo>
                      <a:pt x="4271" y="7486"/>
                      <a:pt x="4315" y="7459"/>
                      <a:pt x="4346" y="7430"/>
                    </a:cubicBezTo>
                    <a:cubicBezTo>
                      <a:pt x="4405" y="7376"/>
                      <a:pt x="4477" y="7188"/>
                      <a:pt x="4507" y="6959"/>
                    </a:cubicBezTo>
                    <a:cubicBezTo>
                      <a:pt x="4537" y="6728"/>
                      <a:pt x="4784" y="5548"/>
                      <a:pt x="4792" y="5512"/>
                    </a:cubicBezTo>
                    <a:cubicBezTo>
                      <a:pt x="4792" y="5508"/>
                      <a:pt x="4796" y="5477"/>
                      <a:pt x="4796" y="5431"/>
                    </a:cubicBezTo>
                    <a:cubicBezTo>
                      <a:pt x="4796" y="5366"/>
                      <a:pt x="4788" y="5273"/>
                      <a:pt x="4755" y="5189"/>
                    </a:cubicBezTo>
                    <a:cubicBezTo>
                      <a:pt x="4722" y="5104"/>
                      <a:pt x="4665" y="5030"/>
                      <a:pt x="4563" y="4997"/>
                    </a:cubicBezTo>
                    <a:cubicBezTo>
                      <a:pt x="4266" y="4901"/>
                      <a:pt x="3889" y="4805"/>
                      <a:pt x="3640" y="4757"/>
                    </a:cubicBezTo>
                    <a:cubicBezTo>
                      <a:pt x="3474" y="4725"/>
                      <a:pt x="3366" y="4695"/>
                      <a:pt x="3282" y="4695"/>
                    </a:cubicBezTo>
                    <a:cubicBezTo>
                      <a:pt x="3239" y="4695"/>
                      <a:pt x="3202" y="4702"/>
                      <a:pt x="3165" y="4720"/>
                    </a:cubicBezTo>
                    <a:cubicBezTo>
                      <a:pt x="3051" y="4776"/>
                      <a:pt x="3016" y="4848"/>
                      <a:pt x="2994" y="4900"/>
                    </a:cubicBezTo>
                    <a:cubicBezTo>
                      <a:pt x="2976" y="4944"/>
                      <a:pt x="2952" y="5002"/>
                      <a:pt x="2944" y="5020"/>
                    </a:cubicBezTo>
                    <a:cubicBezTo>
                      <a:pt x="2960" y="5025"/>
                      <a:pt x="2960" y="5025"/>
                      <a:pt x="2960" y="5025"/>
                    </a:cubicBezTo>
                    <a:cubicBezTo>
                      <a:pt x="3566" y="5492"/>
                      <a:pt x="3566" y="5492"/>
                      <a:pt x="3566" y="5492"/>
                    </a:cubicBezTo>
                    <a:cubicBezTo>
                      <a:pt x="3559" y="5506"/>
                      <a:pt x="3559" y="5506"/>
                      <a:pt x="3559" y="5506"/>
                    </a:cubicBezTo>
                    <a:cubicBezTo>
                      <a:pt x="3559" y="5506"/>
                      <a:pt x="3423" y="5770"/>
                      <a:pt x="3286" y="6041"/>
                    </a:cubicBezTo>
                    <a:cubicBezTo>
                      <a:pt x="3217" y="6177"/>
                      <a:pt x="3148" y="6315"/>
                      <a:pt x="3095" y="6422"/>
                    </a:cubicBezTo>
                    <a:cubicBezTo>
                      <a:pt x="3069" y="6476"/>
                      <a:pt x="3046" y="6522"/>
                      <a:pt x="3030" y="6557"/>
                    </a:cubicBezTo>
                    <a:cubicBezTo>
                      <a:pt x="3014" y="6591"/>
                      <a:pt x="3004" y="6616"/>
                      <a:pt x="3004" y="6619"/>
                    </a:cubicBezTo>
                    <a:cubicBezTo>
                      <a:pt x="3003" y="6625"/>
                      <a:pt x="3002" y="6633"/>
                      <a:pt x="3002" y="6641"/>
                    </a:cubicBezTo>
                    <a:cubicBezTo>
                      <a:pt x="3001" y="6700"/>
                      <a:pt x="3039" y="6801"/>
                      <a:pt x="3109" y="6870"/>
                    </a:cubicBezTo>
                    <a:cubicBezTo>
                      <a:pt x="3190" y="6951"/>
                      <a:pt x="3294" y="7012"/>
                      <a:pt x="3413" y="7096"/>
                    </a:cubicBezTo>
                    <a:cubicBezTo>
                      <a:pt x="3535" y="7182"/>
                      <a:pt x="3701" y="7379"/>
                      <a:pt x="3701" y="7379"/>
                    </a:cubicBezTo>
                    <a:cubicBezTo>
                      <a:pt x="3701" y="7379"/>
                      <a:pt x="3701" y="7379"/>
                      <a:pt x="3701" y="7379"/>
                    </a:cubicBezTo>
                    <a:cubicBezTo>
                      <a:pt x="3889" y="7597"/>
                      <a:pt x="3889" y="7597"/>
                      <a:pt x="3889" y="7597"/>
                    </a:cubicBezTo>
                    <a:cubicBezTo>
                      <a:pt x="3890" y="7598"/>
                      <a:pt x="3890" y="7598"/>
                      <a:pt x="3890" y="7598"/>
                    </a:cubicBezTo>
                    <a:cubicBezTo>
                      <a:pt x="3891" y="7600"/>
                      <a:pt x="3897" y="7610"/>
                      <a:pt x="3900" y="7629"/>
                    </a:cubicBezTo>
                    <a:cubicBezTo>
                      <a:pt x="3902" y="7639"/>
                      <a:pt x="3903" y="7651"/>
                      <a:pt x="3904" y="7661"/>
                    </a:cubicBezTo>
                    <a:close/>
                    <a:moveTo>
                      <a:pt x="3953" y="7984"/>
                    </a:moveTo>
                    <a:cubicBezTo>
                      <a:pt x="3958" y="7996"/>
                      <a:pt x="3963" y="8007"/>
                      <a:pt x="3967" y="8015"/>
                    </a:cubicBezTo>
                    <a:cubicBezTo>
                      <a:pt x="3968" y="8018"/>
                      <a:pt x="3970" y="8022"/>
                      <a:pt x="3971" y="8024"/>
                    </a:cubicBezTo>
                    <a:cubicBezTo>
                      <a:pt x="3972" y="8026"/>
                      <a:pt x="3972" y="8027"/>
                      <a:pt x="3973" y="8028"/>
                    </a:cubicBezTo>
                    <a:cubicBezTo>
                      <a:pt x="3980" y="8044"/>
                      <a:pt x="3980" y="8044"/>
                      <a:pt x="3980" y="8044"/>
                    </a:cubicBezTo>
                    <a:cubicBezTo>
                      <a:pt x="4008" y="8040"/>
                      <a:pt x="4035" y="8038"/>
                      <a:pt x="4062" y="8038"/>
                    </a:cubicBezTo>
                    <a:cubicBezTo>
                      <a:pt x="4150" y="8038"/>
                      <a:pt x="4237" y="8053"/>
                      <a:pt x="4341" y="8053"/>
                    </a:cubicBezTo>
                    <a:cubicBezTo>
                      <a:pt x="4367" y="8053"/>
                      <a:pt x="4394" y="8052"/>
                      <a:pt x="4423" y="8050"/>
                    </a:cubicBezTo>
                    <a:cubicBezTo>
                      <a:pt x="4523" y="8042"/>
                      <a:pt x="4693" y="8013"/>
                      <a:pt x="4837" y="7986"/>
                    </a:cubicBezTo>
                    <a:cubicBezTo>
                      <a:pt x="4980" y="7960"/>
                      <a:pt x="5098" y="7935"/>
                      <a:pt x="5098" y="7935"/>
                    </a:cubicBezTo>
                    <a:cubicBezTo>
                      <a:pt x="5106" y="7933"/>
                      <a:pt x="5106" y="7933"/>
                      <a:pt x="5106" y="7933"/>
                    </a:cubicBezTo>
                    <a:cubicBezTo>
                      <a:pt x="5114" y="7934"/>
                      <a:pt x="5114" y="7934"/>
                      <a:pt x="5114" y="7934"/>
                    </a:cubicBezTo>
                    <a:cubicBezTo>
                      <a:pt x="5115" y="7934"/>
                      <a:pt x="5470" y="7959"/>
                      <a:pt x="5833" y="7985"/>
                    </a:cubicBezTo>
                    <a:cubicBezTo>
                      <a:pt x="6040" y="8000"/>
                      <a:pt x="6249" y="8015"/>
                      <a:pt x="6394" y="8025"/>
                    </a:cubicBezTo>
                    <a:cubicBezTo>
                      <a:pt x="6400" y="8004"/>
                      <a:pt x="6406" y="7982"/>
                      <a:pt x="6412" y="7960"/>
                    </a:cubicBezTo>
                    <a:cubicBezTo>
                      <a:pt x="6433" y="7882"/>
                      <a:pt x="6459" y="7797"/>
                      <a:pt x="6513" y="7724"/>
                    </a:cubicBezTo>
                    <a:cubicBezTo>
                      <a:pt x="6542" y="7684"/>
                      <a:pt x="6567" y="7650"/>
                      <a:pt x="6600" y="7618"/>
                    </a:cubicBezTo>
                    <a:cubicBezTo>
                      <a:pt x="6650" y="7570"/>
                      <a:pt x="6714" y="7538"/>
                      <a:pt x="6811" y="7510"/>
                    </a:cubicBezTo>
                    <a:cubicBezTo>
                      <a:pt x="6908" y="7482"/>
                      <a:pt x="7044" y="7454"/>
                      <a:pt x="7256" y="7413"/>
                    </a:cubicBezTo>
                    <a:cubicBezTo>
                      <a:pt x="7805" y="7308"/>
                      <a:pt x="8093" y="7044"/>
                      <a:pt x="8209" y="6844"/>
                    </a:cubicBezTo>
                    <a:cubicBezTo>
                      <a:pt x="8236" y="6800"/>
                      <a:pt x="8257" y="6684"/>
                      <a:pt x="8256" y="6536"/>
                    </a:cubicBezTo>
                    <a:cubicBezTo>
                      <a:pt x="8256" y="6512"/>
                      <a:pt x="8256" y="6488"/>
                      <a:pt x="8255" y="6462"/>
                    </a:cubicBezTo>
                    <a:cubicBezTo>
                      <a:pt x="8059" y="6440"/>
                      <a:pt x="7804" y="6411"/>
                      <a:pt x="7588" y="6387"/>
                    </a:cubicBezTo>
                    <a:cubicBezTo>
                      <a:pt x="7390" y="6365"/>
                      <a:pt x="7226" y="6347"/>
                      <a:pt x="7174" y="6341"/>
                    </a:cubicBezTo>
                    <a:cubicBezTo>
                      <a:pt x="7016" y="7432"/>
                      <a:pt x="7016" y="7432"/>
                      <a:pt x="7016" y="7432"/>
                    </a:cubicBezTo>
                    <a:cubicBezTo>
                      <a:pt x="6980" y="7427"/>
                      <a:pt x="6980" y="7427"/>
                      <a:pt x="6980" y="7427"/>
                    </a:cubicBezTo>
                    <a:cubicBezTo>
                      <a:pt x="7138" y="6337"/>
                      <a:pt x="7138" y="6337"/>
                      <a:pt x="7138" y="6337"/>
                    </a:cubicBezTo>
                    <a:cubicBezTo>
                      <a:pt x="5929" y="6192"/>
                      <a:pt x="5929" y="6192"/>
                      <a:pt x="5929" y="6192"/>
                    </a:cubicBezTo>
                    <a:cubicBezTo>
                      <a:pt x="5726" y="7363"/>
                      <a:pt x="5726" y="7363"/>
                      <a:pt x="5726" y="7363"/>
                    </a:cubicBezTo>
                    <a:cubicBezTo>
                      <a:pt x="5690" y="7357"/>
                      <a:pt x="5690" y="7357"/>
                      <a:pt x="5690" y="7357"/>
                    </a:cubicBezTo>
                    <a:cubicBezTo>
                      <a:pt x="5893" y="6187"/>
                      <a:pt x="5893" y="6187"/>
                      <a:pt x="5893" y="6187"/>
                    </a:cubicBezTo>
                    <a:cubicBezTo>
                      <a:pt x="4736" y="5971"/>
                      <a:pt x="4736" y="5971"/>
                      <a:pt x="4736" y="5971"/>
                    </a:cubicBezTo>
                    <a:cubicBezTo>
                      <a:pt x="4743" y="5935"/>
                      <a:pt x="4743" y="5935"/>
                      <a:pt x="4743" y="5935"/>
                    </a:cubicBezTo>
                    <a:cubicBezTo>
                      <a:pt x="5899" y="6151"/>
                      <a:pt x="5899" y="6151"/>
                      <a:pt x="5899" y="6151"/>
                    </a:cubicBezTo>
                    <a:cubicBezTo>
                      <a:pt x="6115" y="4855"/>
                      <a:pt x="6115" y="4855"/>
                      <a:pt x="6115" y="4855"/>
                    </a:cubicBezTo>
                    <a:cubicBezTo>
                      <a:pt x="6115" y="4855"/>
                      <a:pt x="6125" y="4796"/>
                      <a:pt x="6125" y="4713"/>
                    </a:cubicBezTo>
                    <a:cubicBezTo>
                      <a:pt x="6125" y="4564"/>
                      <a:pt x="6093" y="4344"/>
                      <a:pt x="5931" y="4255"/>
                    </a:cubicBezTo>
                    <a:cubicBezTo>
                      <a:pt x="5662" y="4105"/>
                      <a:pt x="5552" y="3978"/>
                      <a:pt x="5372" y="3901"/>
                    </a:cubicBezTo>
                    <a:cubicBezTo>
                      <a:pt x="5190" y="3823"/>
                      <a:pt x="4949" y="3757"/>
                      <a:pt x="4748" y="3705"/>
                    </a:cubicBezTo>
                    <a:cubicBezTo>
                      <a:pt x="4622" y="3672"/>
                      <a:pt x="4459" y="3619"/>
                      <a:pt x="4277" y="3555"/>
                    </a:cubicBezTo>
                    <a:cubicBezTo>
                      <a:pt x="4272" y="3564"/>
                      <a:pt x="4261" y="3587"/>
                      <a:pt x="4249" y="3615"/>
                    </a:cubicBezTo>
                    <a:cubicBezTo>
                      <a:pt x="4206" y="3712"/>
                      <a:pt x="4134" y="3881"/>
                      <a:pt x="4122" y="3909"/>
                    </a:cubicBezTo>
                    <a:cubicBezTo>
                      <a:pt x="4124" y="3937"/>
                      <a:pt x="4136" y="4088"/>
                      <a:pt x="4136" y="4235"/>
                    </a:cubicBezTo>
                    <a:cubicBezTo>
                      <a:pt x="4136" y="4316"/>
                      <a:pt x="4132" y="4396"/>
                      <a:pt x="4122" y="4453"/>
                    </a:cubicBezTo>
                    <a:cubicBezTo>
                      <a:pt x="4095" y="4599"/>
                      <a:pt x="4033" y="4761"/>
                      <a:pt x="4016" y="4805"/>
                    </a:cubicBezTo>
                    <a:cubicBezTo>
                      <a:pt x="4202" y="4851"/>
                      <a:pt x="4401" y="4907"/>
                      <a:pt x="4574" y="4963"/>
                    </a:cubicBezTo>
                    <a:cubicBezTo>
                      <a:pt x="4688" y="5000"/>
                      <a:pt x="4753" y="5085"/>
                      <a:pt x="4789" y="5176"/>
                    </a:cubicBezTo>
                    <a:cubicBezTo>
                      <a:pt x="4824" y="5266"/>
                      <a:pt x="4832" y="5363"/>
                      <a:pt x="4832" y="5431"/>
                    </a:cubicBezTo>
                    <a:cubicBezTo>
                      <a:pt x="4832" y="5482"/>
                      <a:pt x="4827" y="5517"/>
                      <a:pt x="4827" y="5517"/>
                    </a:cubicBezTo>
                    <a:cubicBezTo>
                      <a:pt x="4827" y="5518"/>
                      <a:pt x="4827" y="5518"/>
                      <a:pt x="4827" y="5518"/>
                    </a:cubicBezTo>
                    <a:cubicBezTo>
                      <a:pt x="4827" y="5519"/>
                      <a:pt x="4827" y="5519"/>
                      <a:pt x="4827" y="5519"/>
                    </a:cubicBezTo>
                    <a:cubicBezTo>
                      <a:pt x="4827" y="5519"/>
                      <a:pt x="4764" y="5822"/>
                      <a:pt x="4696" y="6155"/>
                    </a:cubicBezTo>
                    <a:cubicBezTo>
                      <a:pt x="4629" y="6487"/>
                      <a:pt x="4558" y="6849"/>
                      <a:pt x="4543" y="6964"/>
                    </a:cubicBezTo>
                    <a:cubicBezTo>
                      <a:pt x="4511" y="7199"/>
                      <a:pt x="4443" y="7388"/>
                      <a:pt x="4370" y="7457"/>
                    </a:cubicBezTo>
                    <a:cubicBezTo>
                      <a:pt x="4324" y="7499"/>
                      <a:pt x="4251" y="7538"/>
                      <a:pt x="4206" y="7560"/>
                    </a:cubicBezTo>
                    <a:cubicBezTo>
                      <a:pt x="4206" y="7561"/>
                      <a:pt x="4206" y="7561"/>
                      <a:pt x="4206" y="7561"/>
                    </a:cubicBezTo>
                    <a:cubicBezTo>
                      <a:pt x="4053" y="7637"/>
                      <a:pt x="4053" y="7637"/>
                      <a:pt x="4053" y="7637"/>
                    </a:cubicBezTo>
                    <a:cubicBezTo>
                      <a:pt x="3907" y="7701"/>
                      <a:pt x="3907" y="7701"/>
                      <a:pt x="3907" y="7701"/>
                    </a:cubicBezTo>
                    <a:cubicBezTo>
                      <a:pt x="3907" y="7757"/>
                      <a:pt x="3925" y="7866"/>
                      <a:pt x="3930" y="7897"/>
                    </a:cubicBezTo>
                    <a:cubicBezTo>
                      <a:pt x="3932" y="7896"/>
                      <a:pt x="3932" y="7896"/>
                      <a:pt x="3932" y="7896"/>
                    </a:cubicBezTo>
                    <a:cubicBezTo>
                      <a:pt x="3931" y="7900"/>
                      <a:pt x="3931" y="7900"/>
                      <a:pt x="3931" y="7900"/>
                    </a:cubicBezTo>
                    <a:cubicBezTo>
                      <a:pt x="3935" y="7930"/>
                      <a:pt x="3943" y="7959"/>
                      <a:pt x="3953" y="7984"/>
                    </a:cubicBezTo>
                    <a:close/>
                    <a:moveTo>
                      <a:pt x="5114" y="8049"/>
                    </a:moveTo>
                    <a:cubicBezTo>
                      <a:pt x="5065" y="8059"/>
                      <a:pt x="4807" y="8112"/>
                      <a:pt x="4599" y="8144"/>
                    </a:cubicBezTo>
                    <a:cubicBezTo>
                      <a:pt x="4690" y="8138"/>
                      <a:pt x="4779" y="8137"/>
                      <a:pt x="4861" y="8136"/>
                    </a:cubicBezTo>
                    <a:cubicBezTo>
                      <a:pt x="4972" y="8136"/>
                      <a:pt x="5072" y="8140"/>
                      <a:pt x="5151" y="8143"/>
                    </a:cubicBezTo>
                    <a:cubicBezTo>
                      <a:pt x="5399" y="8155"/>
                      <a:pt x="5899" y="8211"/>
                      <a:pt x="6167" y="8210"/>
                    </a:cubicBezTo>
                    <a:cubicBezTo>
                      <a:pt x="6207" y="8210"/>
                      <a:pt x="6242" y="8209"/>
                      <a:pt x="6268" y="8207"/>
                    </a:cubicBezTo>
                    <a:cubicBezTo>
                      <a:pt x="6294" y="8204"/>
                      <a:pt x="6313" y="8199"/>
                      <a:pt x="6314" y="8198"/>
                    </a:cubicBezTo>
                    <a:cubicBezTo>
                      <a:pt x="6325" y="8194"/>
                      <a:pt x="6338" y="8182"/>
                      <a:pt x="6352" y="8153"/>
                    </a:cubicBezTo>
                    <a:cubicBezTo>
                      <a:pt x="6354" y="8148"/>
                      <a:pt x="6357" y="8143"/>
                      <a:pt x="6359" y="8138"/>
                    </a:cubicBezTo>
                    <a:cubicBezTo>
                      <a:pt x="5971" y="8110"/>
                      <a:pt x="5200" y="8055"/>
                      <a:pt x="5114" y="8049"/>
                    </a:cubicBezTo>
                    <a:close/>
                    <a:moveTo>
                      <a:pt x="492" y="10090"/>
                    </a:moveTo>
                    <a:cubicBezTo>
                      <a:pt x="491" y="10089"/>
                      <a:pt x="489" y="10086"/>
                      <a:pt x="487" y="10085"/>
                    </a:cubicBezTo>
                    <a:cubicBezTo>
                      <a:pt x="484" y="10081"/>
                      <a:pt x="482" y="10078"/>
                      <a:pt x="480" y="10076"/>
                    </a:cubicBezTo>
                    <a:cubicBezTo>
                      <a:pt x="479" y="10075"/>
                      <a:pt x="479" y="10074"/>
                      <a:pt x="478" y="10074"/>
                    </a:cubicBezTo>
                    <a:cubicBezTo>
                      <a:pt x="478" y="10073"/>
                      <a:pt x="477" y="10073"/>
                      <a:pt x="477" y="10072"/>
                    </a:cubicBezTo>
                    <a:cubicBezTo>
                      <a:pt x="477" y="10072"/>
                      <a:pt x="477" y="10072"/>
                      <a:pt x="476" y="10071"/>
                    </a:cubicBezTo>
                    <a:cubicBezTo>
                      <a:pt x="476" y="10071"/>
                      <a:pt x="476" y="10070"/>
                      <a:pt x="475" y="10069"/>
                    </a:cubicBezTo>
                    <a:cubicBezTo>
                      <a:pt x="475" y="10068"/>
                      <a:pt x="474" y="10068"/>
                      <a:pt x="473" y="10061"/>
                    </a:cubicBezTo>
                    <a:cubicBezTo>
                      <a:pt x="473" y="10059"/>
                      <a:pt x="474" y="10057"/>
                      <a:pt x="474" y="10056"/>
                    </a:cubicBezTo>
                    <a:cubicBezTo>
                      <a:pt x="475" y="10054"/>
                      <a:pt x="476" y="10053"/>
                      <a:pt x="477" y="10051"/>
                    </a:cubicBezTo>
                    <a:cubicBezTo>
                      <a:pt x="470" y="10054"/>
                      <a:pt x="464" y="10058"/>
                      <a:pt x="459" y="10062"/>
                    </a:cubicBezTo>
                    <a:cubicBezTo>
                      <a:pt x="447" y="10069"/>
                      <a:pt x="434" y="10079"/>
                      <a:pt x="426" y="10086"/>
                    </a:cubicBezTo>
                    <a:cubicBezTo>
                      <a:pt x="453" y="10093"/>
                      <a:pt x="472" y="10098"/>
                      <a:pt x="476" y="10099"/>
                    </a:cubicBezTo>
                    <a:cubicBezTo>
                      <a:pt x="482" y="10096"/>
                      <a:pt x="487" y="10093"/>
                      <a:pt x="492" y="10090"/>
                    </a:cubicBezTo>
                    <a:close/>
                    <a:moveTo>
                      <a:pt x="3757" y="8332"/>
                    </a:moveTo>
                    <a:cubicBezTo>
                      <a:pt x="3741" y="8295"/>
                      <a:pt x="3741" y="8295"/>
                      <a:pt x="3741" y="8295"/>
                    </a:cubicBezTo>
                    <a:cubicBezTo>
                      <a:pt x="3740" y="8293"/>
                      <a:pt x="3738" y="8292"/>
                      <a:pt x="3737" y="8291"/>
                    </a:cubicBezTo>
                    <a:cubicBezTo>
                      <a:pt x="3716" y="8307"/>
                      <a:pt x="3699" y="8321"/>
                      <a:pt x="3686" y="8331"/>
                    </a:cubicBezTo>
                    <a:cubicBezTo>
                      <a:pt x="3677" y="8337"/>
                      <a:pt x="3671" y="8340"/>
                      <a:pt x="3657" y="8348"/>
                    </a:cubicBezTo>
                    <a:cubicBezTo>
                      <a:pt x="3484" y="8445"/>
                      <a:pt x="2442" y="8992"/>
                      <a:pt x="2256" y="9093"/>
                    </a:cubicBezTo>
                    <a:cubicBezTo>
                      <a:pt x="2256" y="9093"/>
                      <a:pt x="2256" y="9093"/>
                      <a:pt x="2256" y="9093"/>
                    </a:cubicBezTo>
                    <a:cubicBezTo>
                      <a:pt x="2254" y="9095"/>
                      <a:pt x="2254" y="9095"/>
                      <a:pt x="2254" y="9095"/>
                    </a:cubicBezTo>
                    <a:cubicBezTo>
                      <a:pt x="2237" y="9104"/>
                      <a:pt x="2227" y="9109"/>
                      <a:pt x="2228" y="9110"/>
                    </a:cubicBezTo>
                    <a:cubicBezTo>
                      <a:pt x="2227" y="9109"/>
                      <a:pt x="2227" y="9109"/>
                      <a:pt x="2227" y="9109"/>
                    </a:cubicBezTo>
                    <a:cubicBezTo>
                      <a:pt x="1334" y="9592"/>
                      <a:pt x="1334" y="9592"/>
                      <a:pt x="1334" y="9592"/>
                    </a:cubicBezTo>
                    <a:cubicBezTo>
                      <a:pt x="500" y="10039"/>
                      <a:pt x="500" y="10039"/>
                      <a:pt x="500" y="10039"/>
                    </a:cubicBezTo>
                    <a:cubicBezTo>
                      <a:pt x="499" y="10039"/>
                      <a:pt x="499" y="10039"/>
                      <a:pt x="499" y="10039"/>
                    </a:cubicBezTo>
                    <a:cubicBezTo>
                      <a:pt x="499" y="10039"/>
                      <a:pt x="496" y="10040"/>
                      <a:pt x="493" y="10042"/>
                    </a:cubicBezTo>
                    <a:cubicBezTo>
                      <a:pt x="498" y="10042"/>
                      <a:pt x="502" y="10044"/>
                      <a:pt x="506" y="10048"/>
                    </a:cubicBezTo>
                    <a:cubicBezTo>
                      <a:pt x="506" y="10049"/>
                      <a:pt x="507" y="10050"/>
                      <a:pt x="508" y="10051"/>
                    </a:cubicBezTo>
                    <a:cubicBezTo>
                      <a:pt x="509" y="10053"/>
                      <a:pt x="516" y="10060"/>
                      <a:pt x="526" y="10071"/>
                    </a:cubicBezTo>
                    <a:cubicBezTo>
                      <a:pt x="592" y="10034"/>
                      <a:pt x="593" y="10034"/>
                      <a:pt x="600" y="10029"/>
                    </a:cubicBezTo>
                    <a:cubicBezTo>
                      <a:pt x="601" y="10028"/>
                      <a:pt x="601" y="10028"/>
                      <a:pt x="601" y="10028"/>
                    </a:cubicBezTo>
                    <a:cubicBezTo>
                      <a:pt x="602" y="10028"/>
                      <a:pt x="602" y="10028"/>
                      <a:pt x="602" y="10028"/>
                    </a:cubicBezTo>
                    <a:cubicBezTo>
                      <a:pt x="602" y="10028"/>
                      <a:pt x="1439" y="9585"/>
                      <a:pt x="2268" y="9138"/>
                    </a:cubicBezTo>
                    <a:cubicBezTo>
                      <a:pt x="2913" y="8790"/>
                      <a:pt x="3560" y="8432"/>
                      <a:pt x="3757" y="8332"/>
                    </a:cubicBezTo>
                    <a:close/>
                    <a:moveTo>
                      <a:pt x="4339" y="8167"/>
                    </a:moveTo>
                    <a:cubicBezTo>
                      <a:pt x="4226" y="8167"/>
                      <a:pt x="4136" y="8153"/>
                      <a:pt x="4062" y="8153"/>
                    </a:cubicBezTo>
                    <a:cubicBezTo>
                      <a:pt x="4026" y="8153"/>
                      <a:pt x="3994" y="8156"/>
                      <a:pt x="3963" y="8164"/>
                    </a:cubicBezTo>
                    <a:cubicBezTo>
                      <a:pt x="3905" y="8180"/>
                      <a:pt x="3846" y="8213"/>
                      <a:pt x="3797" y="8247"/>
                    </a:cubicBezTo>
                    <a:cubicBezTo>
                      <a:pt x="3788" y="8253"/>
                      <a:pt x="3780" y="8259"/>
                      <a:pt x="3772" y="8265"/>
                    </a:cubicBezTo>
                    <a:cubicBezTo>
                      <a:pt x="3781" y="8295"/>
                      <a:pt x="3781" y="8295"/>
                      <a:pt x="3781" y="8295"/>
                    </a:cubicBezTo>
                    <a:cubicBezTo>
                      <a:pt x="3789" y="8316"/>
                      <a:pt x="3789" y="8316"/>
                      <a:pt x="3789" y="8316"/>
                    </a:cubicBezTo>
                    <a:cubicBezTo>
                      <a:pt x="3953" y="8238"/>
                      <a:pt x="4145" y="8193"/>
                      <a:pt x="4339" y="8167"/>
                    </a:cubicBezTo>
                    <a:close/>
                    <a:moveTo>
                      <a:pt x="4181" y="9251"/>
                    </a:moveTo>
                    <a:cubicBezTo>
                      <a:pt x="4294" y="9245"/>
                      <a:pt x="4740" y="9218"/>
                      <a:pt x="4951" y="9184"/>
                    </a:cubicBezTo>
                    <a:cubicBezTo>
                      <a:pt x="5187" y="9146"/>
                      <a:pt x="5325" y="8976"/>
                      <a:pt x="5383" y="8913"/>
                    </a:cubicBezTo>
                    <a:cubicBezTo>
                      <a:pt x="5416" y="8877"/>
                      <a:pt x="5428" y="8826"/>
                      <a:pt x="5428" y="8763"/>
                    </a:cubicBezTo>
                    <a:cubicBezTo>
                      <a:pt x="5428" y="8726"/>
                      <a:pt x="5424" y="8685"/>
                      <a:pt x="5419" y="8642"/>
                    </a:cubicBezTo>
                    <a:cubicBezTo>
                      <a:pt x="5408" y="8555"/>
                      <a:pt x="5374" y="8377"/>
                      <a:pt x="5359" y="8297"/>
                    </a:cubicBezTo>
                    <a:cubicBezTo>
                      <a:pt x="5277" y="8291"/>
                      <a:pt x="5203" y="8285"/>
                      <a:pt x="5145" y="8283"/>
                    </a:cubicBezTo>
                    <a:cubicBezTo>
                      <a:pt x="5067" y="8279"/>
                      <a:pt x="4969" y="8276"/>
                      <a:pt x="4861" y="8276"/>
                    </a:cubicBezTo>
                    <a:cubicBezTo>
                      <a:pt x="4539" y="8275"/>
                      <a:pt x="4121" y="8308"/>
                      <a:pt x="3843" y="8445"/>
                    </a:cubicBezTo>
                    <a:cubicBezTo>
                      <a:pt x="4178" y="9250"/>
                      <a:pt x="4178" y="9250"/>
                      <a:pt x="4178" y="9250"/>
                    </a:cubicBezTo>
                    <a:lnTo>
                      <a:pt x="4181" y="9251"/>
                    </a:lnTo>
                    <a:close/>
                    <a:moveTo>
                      <a:pt x="5358" y="10042"/>
                    </a:moveTo>
                    <a:cubicBezTo>
                      <a:pt x="5366" y="9958"/>
                      <a:pt x="5391" y="9677"/>
                      <a:pt x="5391" y="9539"/>
                    </a:cubicBezTo>
                    <a:cubicBezTo>
                      <a:pt x="5391" y="9521"/>
                      <a:pt x="5390" y="9505"/>
                      <a:pt x="5390" y="9493"/>
                    </a:cubicBezTo>
                    <a:cubicBezTo>
                      <a:pt x="5385" y="9433"/>
                      <a:pt x="5361" y="9364"/>
                      <a:pt x="5337" y="9305"/>
                    </a:cubicBezTo>
                    <a:cubicBezTo>
                      <a:pt x="5313" y="9246"/>
                      <a:pt x="5290" y="9199"/>
                      <a:pt x="5284" y="9176"/>
                    </a:cubicBezTo>
                    <a:cubicBezTo>
                      <a:pt x="5280" y="9161"/>
                      <a:pt x="5265" y="9137"/>
                      <a:pt x="5251" y="9118"/>
                    </a:cubicBezTo>
                    <a:cubicBezTo>
                      <a:pt x="5243" y="9108"/>
                      <a:pt x="5236" y="9099"/>
                      <a:pt x="5230" y="9093"/>
                    </a:cubicBezTo>
                    <a:cubicBezTo>
                      <a:pt x="5159" y="9145"/>
                      <a:pt x="5068" y="9192"/>
                      <a:pt x="4955" y="9210"/>
                    </a:cubicBezTo>
                    <a:cubicBezTo>
                      <a:pt x="4745" y="9244"/>
                      <a:pt x="4316" y="9270"/>
                      <a:pt x="4190" y="9276"/>
                    </a:cubicBezTo>
                    <a:cubicBezTo>
                      <a:pt x="4190" y="9277"/>
                      <a:pt x="4190" y="9277"/>
                      <a:pt x="4190" y="9277"/>
                    </a:cubicBezTo>
                    <a:cubicBezTo>
                      <a:pt x="4616" y="10205"/>
                      <a:pt x="4616" y="10205"/>
                      <a:pt x="4616" y="10205"/>
                    </a:cubicBezTo>
                    <a:cubicBezTo>
                      <a:pt x="4690" y="10186"/>
                      <a:pt x="4763" y="10168"/>
                      <a:pt x="4832" y="10152"/>
                    </a:cubicBezTo>
                    <a:cubicBezTo>
                      <a:pt x="5001" y="10112"/>
                      <a:pt x="5178" y="10082"/>
                      <a:pt x="5346" y="10060"/>
                    </a:cubicBezTo>
                    <a:lnTo>
                      <a:pt x="5358" y="10042"/>
                    </a:lnTo>
                    <a:close/>
                    <a:moveTo>
                      <a:pt x="6619" y="8174"/>
                    </a:moveTo>
                    <a:cubicBezTo>
                      <a:pt x="6616" y="8173"/>
                      <a:pt x="6616" y="8173"/>
                      <a:pt x="6616" y="8173"/>
                    </a:cubicBezTo>
                    <a:cubicBezTo>
                      <a:pt x="6621" y="8154"/>
                      <a:pt x="6621" y="8154"/>
                      <a:pt x="6621" y="8154"/>
                    </a:cubicBezTo>
                    <a:cubicBezTo>
                      <a:pt x="6619" y="8154"/>
                      <a:pt x="6618" y="8154"/>
                      <a:pt x="6616" y="8154"/>
                    </a:cubicBezTo>
                    <a:cubicBezTo>
                      <a:pt x="6603" y="8154"/>
                      <a:pt x="6591" y="8153"/>
                      <a:pt x="6579" y="8153"/>
                    </a:cubicBezTo>
                    <a:cubicBezTo>
                      <a:pt x="6573" y="8152"/>
                      <a:pt x="6546" y="8151"/>
                      <a:pt x="6504" y="8148"/>
                    </a:cubicBezTo>
                    <a:cubicBezTo>
                      <a:pt x="6496" y="8170"/>
                      <a:pt x="6488" y="8193"/>
                      <a:pt x="6477" y="8214"/>
                    </a:cubicBezTo>
                    <a:cubicBezTo>
                      <a:pt x="6456" y="8258"/>
                      <a:pt x="6423" y="8302"/>
                      <a:pt x="6370" y="8326"/>
                    </a:cubicBezTo>
                    <a:cubicBezTo>
                      <a:pt x="6342" y="8338"/>
                      <a:pt x="6315" y="8342"/>
                      <a:pt x="6281" y="8345"/>
                    </a:cubicBezTo>
                    <a:cubicBezTo>
                      <a:pt x="6248" y="8349"/>
                      <a:pt x="6210" y="8350"/>
                      <a:pt x="6167" y="8350"/>
                    </a:cubicBezTo>
                    <a:cubicBezTo>
                      <a:pt x="5960" y="8350"/>
                      <a:pt x="5638" y="8320"/>
                      <a:pt x="5386" y="8299"/>
                    </a:cubicBezTo>
                    <a:cubicBezTo>
                      <a:pt x="5402" y="8382"/>
                      <a:pt x="5434" y="8553"/>
                      <a:pt x="5445" y="8639"/>
                    </a:cubicBezTo>
                    <a:cubicBezTo>
                      <a:pt x="5450" y="8682"/>
                      <a:pt x="5454" y="8724"/>
                      <a:pt x="5454" y="8763"/>
                    </a:cubicBezTo>
                    <a:cubicBezTo>
                      <a:pt x="5454" y="8828"/>
                      <a:pt x="5442" y="8887"/>
                      <a:pt x="5403" y="8930"/>
                    </a:cubicBezTo>
                    <a:cubicBezTo>
                      <a:pt x="5374" y="8961"/>
                      <a:pt x="5324" y="9021"/>
                      <a:pt x="5252" y="9077"/>
                    </a:cubicBezTo>
                    <a:cubicBezTo>
                      <a:pt x="5267" y="9096"/>
                      <a:pt x="5300" y="9136"/>
                      <a:pt x="5309" y="9170"/>
                    </a:cubicBezTo>
                    <a:cubicBezTo>
                      <a:pt x="5313" y="9186"/>
                      <a:pt x="5337" y="9236"/>
                      <a:pt x="5362" y="9295"/>
                    </a:cubicBezTo>
                    <a:cubicBezTo>
                      <a:pt x="5386" y="9355"/>
                      <a:pt x="5411" y="9426"/>
                      <a:pt x="5416" y="9491"/>
                    </a:cubicBezTo>
                    <a:cubicBezTo>
                      <a:pt x="5417" y="9505"/>
                      <a:pt x="5417" y="9521"/>
                      <a:pt x="5417" y="9539"/>
                    </a:cubicBezTo>
                    <a:cubicBezTo>
                      <a:pt x="5417" y="9675"/>
                      <a:pt x="5394" y="9943"/>
                      <a:pt x="5385" y="10036"/>
                    </a:cubicBezTo>
                    <a:cubicBezTo>
                      <a:pt x="5390" y="10054"/>
                      <a:pt x="5390" y="10054"/>
                      <a:pt x="5390" y="10054"/>
                    </a:cubicBezTo>
                    <a:cubicBezTo>
                      <a:pt x="5612" y="10025"/>
                      <a:pt x="5817" y="10009"/>
                      <a:pt x="5972" y="10000"/>
                    </a:cubicBezTo>
                    <a:lnTo>
                      <a:pt x="6619" y="8174"/>
                    </a:lnTo>
                    <a:close/>
                    <a:moveTo>
                      <a:pt x="6979" y="7868"/>
                    </a:moveTo>
                    <a:cubicBezTo>
                      <a:pt x="6978" y="7846"/>
                      <a:pt x="6978" y="7846"/>
                      <a:pt x="6978" y="7846"/>
                    </a:cubicBezTo>
                    <a:cubicBezTo>
                      <a:pt x="6922" y="7859"/>
                      <a:pt x="6883" y="7883"/>
                      <a:pt x="6857" y="7906"/>
                    </a:cubicBezTo>
                    <a:cubicBezTo>
                      <a:pt x="6843" y="7918"/>
                      <a:pt x="6833" y="7929"/>
                      <a:pt x="6827" y="7937"/>
                    </a:cubicBezTo>
                    <a:cubicBezTo>
                      <a:pt x="6824" y="7941"/>
                      <a:pt x="6822" y="7944"/>
                      <a:pt x="6821" y="7946"/>
                    </a:cubicBezTo>
                    <a:cubicBezTo>
                      <a:pt x="6820" y="7946"/>
                      <a:pt x="6820" y="7946"/>
                      <a:pt x="6820" y="7947"/>
                    </a:cubicBezTo>
                    <a:cubicBezTo>
                      <a:pt x="6800" y="7983"/>
                      <a:pt x="6781" y="8022"/>
                      <a:pt x="6767" y="8052"/>
                    </a:cubicBezTo>
                    <a:cubicBezTo>
                      <a:pt x="6752" y="8082"/>
                      <a:pt x="6743" y="8103"/>
                      <a:pt x="6743" y="8103"/>
                    </a:cubicBezTo>
                    <a:cubicBezTo>
                      <a:pt x="6737" y="8116"/>
                      <a:pt x="6737" y="8116"/>
                      <a:pt x="6737" y="8116"/>
                    </a:cubicBezTo>
                    <a:cubicBezTo>
                      <a:pt x="6726" y="8124"/>
                      <a:pt x="6726" y="8124"/>
                      <a:pt x="6726" y="8124"/>
                    </a:cubicBezTo>
                    <a:cubicBezTo>
                      <a:pt x="6706" y="8140"/>
                      <a:pt x="6685" y="8147"/>
                      <a:pt x="6665" y="8150"/>
                    </a:cubicBezTo>
                    <a:cubicBezTo>
                      <a:pt x="6011" y="9998"/>
                      <a:pt x="6011" y="9998"/>
                      <a:pt x="6011" y="9998"/>
                    </a:cubicBezTo>
                    <a:cubicBezTo>
                      <a:pt x="6159" y="9990"/>
                      <a:pt x="6251" y="9989"/>
                      <a:pt x="6251" y="9989"/>
                    </a:cubicBezTo>
                    <a:cubicBezTo>
                      <a:pt x="6251" y="10013"/>
                      <a:pt x="6251" y="10013"/>
                      <a:pt x="6251" y="10013"/>
                    </a:cubicBezTo>
                    <a:cubicBezTo>
                      <a:pt x="6264" y="9975"/>
                      <a:pt x="6306" y="9851"/>
                      <a:pt x="6365" y="9680"/>
                    </a:cubicBezTo>
                    <a:cubicBezTo>
                      <a:pt x="6470" y="9369"/>
                      <a:pt x="6629" y="8902"/>
                      <a:pt x="6761" y="8513"/>
                    </a:cubicBezTo>
                    <a:cubicBezTo>
                      <a:pt x="6827" y="8318"/>
                      <a:pt x="6886" y="8143"/>
                      <a:pt x="6929" y="8016"/>
                    </a:cubicBezTo>
                    <a:cubicBezTo>
                      <a:pt x="6950" y="7954"/>
                      <a:pt x="6967" y="7903"/>
                      <a:pt x="6979" y="7868"/>
                    </a:cubicBezTo>
                    <a:close/>
                    <a:moveTo>
                      <a:pt x="8018" y="8105"/>
                    </a:moveTo>
                    <a:cubicBezTo>
                      <a:pt x="8014" y="8102"/>
                      <a:pt x="7998" y="8092"/>
                      <a:pt x="7973" y="8076"/>
                    </a:cubicBezTo>
                    <a:cubicBezTo>
                      <a:pt x="7884" y="8019"/>
                      <a:pt x="7679" y="7899"/>
                      <a:pt x="7527" y="7862"/>
                    </a:cubicBezTo>
                    <a:cubicBezTo>
                      <a:pt x="7527" y="7862"/>
                      <a:pt x="7526" y="7862"/>
                      <a:pt x="7525" y="7862"/>
                    </a:cubicBezTo>
                    <a:cubicBezTo>
                      <a:pt x="7523" y="7865"/>
                      <a:pt x="7520" y="7869"/>
                      <a:pt x="7517" y="7873"/>
                    </a:cubicBezTo>
                    <a:cubicBezTo>
                      <a:pt x="6856" y="9940"/>
                      <a:pt x="6856" y="9940"/>
                      <a:pt x="6856" y="9940"/>
                    </a:cubicBezTo>
                    <a:cubicBezTo>
                      <a:pt x="7213" y="9693"/>
                      <a:pt x="7213" y="9693"/>
                      <a:pt x="7213" y="9693"/>
                    </a:cubicBezTo>
                    <a:cubicBezTo>
                      <a:pt x="8015" y="8113"/>
                      <a:pt x="8015" y="8113"/>
                      <a:pt x="8015" y="8113"/>
                    </a:cubicBezTo>
                    <a:cubicBezTo>
                      <a:pt x="8016" y="8110"/>
                      <a:pt x="8017" y="8108"/>
                      <a:pt x="8018" y="8105"/>
                    </a:cubicBezTo>
                    <a:close/>
                    <a:moveTo>
                      <a:pt x="8174" y="7989"/>
                    </a:moveTo>
                    <a:cubicBezTo>
                      <a:pt x="8246" y="7980"/>
                      <a:pt x="8336" y="7967"/>
                      <a:pt x="8406" y="7951"/>
                    </a:cubicBezTo>
                    <a:cubicBezTo>
                      <a:pt x="8467" y="7937"/>
                      <a:pt x="8542" y="7894"/>
                      <a:pt x="8600" y="7852"/>
                    </a:cubicBezTo>
                    <a:cubicBezTo>
                      <a:pt x="8625" y="7835"/>
                      <a:pt x="8646" y="7818"/>
                      <a:pt x="8663" y="7804"/>
                    </a:cubicBezTo>
                    <a:cubicBezTo>
                      <a:pt x="8624" y="7758"/>
                      <a:pt x="8591" y="7710"/>
                      <a:pt x="8569" y="7661"/>
                    </a:cubicBezTo>
                    <a:cubicBezTo>
                      <a:pt x="8529" y="7570"/>
                      <a:pt x="8521" y="7473"/>
                      <a:pt x="8520" y="7383"/>
                    </a:cubicBezTo>
                    <a:cubicBezTo>
                      <a:pt x="8520" y="7322"/>
                      <a:pt x="8525" y="7264"/>
                      <a:pt x="8527" y="7214"/>
                    </a:cubicBezTo>
                    <a:cubicBezTo>
                      <a:pt x="8531" y="7131"/>
                      <a:pt x="8540" y="6819"/>
                      <a:pt x="8540" y="6528"/>
                    </a:cubicBezTo>
                    <a:cubicBezTo>
                      <a:pt x="8540" y="6517"/>
                      <a:pt x="8540" y="6507"/>
                      <a:pt x="8540" y="6497"/>
                    </a:cubicBezTo>
                    <a:cubicBezTo>
                      <a:pt x="8535" y="6496"/>
                      <a:pt x="8529" y="6495"/>
                      <a:pt x="8522" y="6494"/>
                    </a:cubicBezTo>
                    <a:cubicBezTo>
                      <a:pt x="8512" y="6494"/>
                      <a:pt x="8512" y="6494"/>
                      <a:pt x="8512" y="6494"/>
                    </a:cubicBezTo>
                    <a:cubicBezTo>
                      <a:pt x="8512" y="6494"/>
                      <a:pt x="8512" y="6493"/>
                      <a:pt x="8512" y="6493"/>
                    </a:cubicBezTo>
                    <a:cubicBezTo>
                      <a:pt x="8483" y="6489"/>
                      <a:pt x="8442" y="6484"/>
                      <a:pt x="8395" y="6479"/>
                    </a:cubicBezTo>
                    <a:cubicBezTo>
                      <a:pt x="8395" y="6498"/>
                      <a:pt x="8396" y="6518"/>
                      <a:pt x="8396" y="6536"/>
                    </a:cubicBezTo>
                    <a:cubicBezTo>
                      <a:pt x="8395" y="6697"/>
                      <a:pt x="8379" y="6824"/>
                      <a:pt x="8329" y="6913"/>
                    </a:cubicBezTo>
                    <a:cubicBezTo>
                      <a:pt x="8191" y="7153"/>
                      <a:pt x="7865" y="7438"/>
                      <a:pt x="7283" y="7550"/>
                    </a:cubicBezTo>
                    <a:cubicBezTo>
                      <a:pt x="7001" y="7604"/>
                      <a:pt x="6856" y="7636"/>
                      <a:pt x="6778" y="7669"/>
                    </a:cubicBezTo>
                    <a:cubicBezTo>
                      <a:pt x="6739" y="7685"/>
                      <a:pt x="6717" y="7700"/>
                      <a:pt x="6696" y="7719"/>
                    </a:cubicBezTo>
                    <a:cubicBezTo>
                      <a:pt x="6675" y="7739"/>
                      <a:pt x="6654" y="7767"/>
                      <a:pt x="6625" y="7807"/>
                    </a:cubicBezTo>
                    <a:cubicBezTo>
                      <a:pt x="6584" y="7861"/>
                      <a:pt x="6559" y="7947"/>
                      <a:pt x="6536" y="8035"/>
                    </a:cubicBezTo>
                    <a:cubicBezTo>
                      <a:pt x="6563" y="8037"/>
                      <a:pt x="6580" y="8038"/>
                      <a:pt x="6584" y="8038"/>
                    </a:cubicBezTo>
                    <a:cubicBezTo>
                      <a:pt x="6596" y="8039"/>
                      <a:pt x="6606" y="8039"/>
                      <a:pt x="6616" y="8039"/>
                    </a:cubicBezTo>
                    <a:cubicBezTo>
                      <a:pt x="6629" y="8039"/>
                      <a:pt x="6640" y="8038"/>
                      <a:pt x="6647" y="8037"/>
                    </a:cubicBezTo>
                    <a:cubicBezTo>
                      <a:pt x="6661" y="8007"/>
                      <a:pt x="6689" y="7946"/>
                      <a:pt x="6720" y="7891"/>
                    </a:cubicBezTo>
                    <a:cubicBezTo>
                      <a:pt x="6720" y="7890"/>
                      <a:pt x="6720" y="7890"/>
                      <a:pt x="6720" y="7890"/>
                    </a:cubicBezTo>
                    <a:cubicBezTo>
                      <a:pt x="6721" y="7889"/>
                      <a:pt x="6721" y="7889"/>
                      <a:pt x="6721" y="7889"/>
                    </a:cubicBezTo>
                    <a:cubicBezTo>
                      <a:pt x="6725" y="7882"/>
                      <a:pt x="6797" y="7762"/>
                      <a:pt x="6971" y="7730"/>
                    </a:cubicBezTo>
                    <a:cubicBezTo>
                      <a:pt x="7043" y="7717"/>
                      <a:pt x="7123" y="7708"/>
                      <a:pt x="7211" y="7708"/>
                    </a:cubicBezTo>
                    <a:cubicBezTo>
                      <a:pt x="7316" y="7708"/>
                      <a:pt x="7431" y="7720"/>
                      <a:pt x="7555" y="7751"/>
                    </a:cubicBezTo>
                    <a:cubicBezTo>
                      <a:pt x="7759" y="7802"/>
                      <a:pt x="8001" y="7957"/>
                      <a:pt x="8068" y="8000"/>
                    </a:cubicBezTo>
                    <a:cubicBezTo>
                      <a:pt x="8089" y="7998"/>
                      <a:pt x="8128" y="7994"/>
                      <a:pt x="8174" y="7989"/>
                    </a:cubicBezTo>
                    <a:close/>
                    <a:moveTo>
                      <a:pt x="9264" y="8896"/>
                    </a:moveTo>
                    <a:cubicBezTo>
                      <a:pt x="9121" y="8818"/>
                      <a:pt x="8859" y="8654"/>
                      <a:pt x="8727" y="8573"/>
                    </a:cubicBezTo>
                    <a:cubicBezTo>
                      <a:pt x="8716" y="8579"/>
                      <a:pt x="8716" y="8579"/>
                      <a:pt x="8716" y="8579"/>
                    </a:cubicBezTo>
                    <a:cubicBezTo>
                      <a:pt x="8670" y="8652"/>
                      <a:pt x="8490" y="8933"/>
                      <a:pt x="8308" y="9214"/>
                    </a:cubicBezTo>
                    <a:cubicBezTo>
                      <a:pt x="8202" y="9377"/>
                      <a:pt x="8096" y="9541"/>
                      <a:pt x="8016" y="9663"/>
                    </a:cubicBezTo>
                    <a:cubicBezTo>
                      <a:pt x="7975" y="9725"/>
                      <a:pt x="7941" y="9776"/>
                      <a:pt x="7917" y="9811"/>
                    </a:cubicBezTo>
                    <a:cubicBezTo>
                      <a:pt x="7905" y="9829"/>
                      <a:pt x="7895" y="9843"/>
                      <a:pt x="7888" y="9853"/>
                    </a:cubicBezTo>
                    <a:cubicBezTo>
                      <a:pt x="7887" y="9855"/>
                      <a:pt x="7886" y="9856"/>
                      <a:pt x="7885" y="9857"/>
                    </a:cubicBezTo>
                    <a:cubicBezTo>
                      <a:pt x="7928" y="9886"/>
                      <a:pt x="8080" y="9988"/>
                      <a:pt x="8234" y="10091"/>
                    </a:cubicBezTo>
                    <a:cubicBezTo>
                      <a:pt x="8325" y="10152"/>
                      <a:pt x="8416" y="10212"/>
                      <a:pt x="8485" y="10257"/>
                    </a:cubicBezTo>
                    <a:cubicBezTo>
                      <a:pt x="8513" y="10276"/>
                      <a:pt x="8536" y="10291"/>
                      <a:pt x="8555" y="10303"/>
                    </a:cubicBezTo>
                    <a:cubicBezTo>
                      <a:pt x="8563" y="10304"/>
                      <a:pt x="8571" y="10305"/>
                      <a:pt x="8578" y="10305"/>
                    </a:cubicBezTo>
                    <a:lnTo>
                      <a:pt x="9264" y="8896"/>
                    </a:lnTo>
                    <a:close/>
                    <a:moveTo>
                      <a:pt x="11191" y="8792"/>
                    </a:moveTo>
                    <a:cubicBezTo>
                      <a:pt x="11191" y="8788"/>
                      <a:pt x="11191" y="8783"/>
                      <a:pt x="11190" y="8780"/>
                    </a:cubicBezTo>
                    <a:cubicBezTo>
                      <a:pt x="11120" y="8767"/>
                      <a:pt x="10710" y="8692"/>
                      <a:pt x="10247" y="8540"/>
                    </a:cubicBezTo>
                    <a:cubicBezTo>
                      <a:pt x="9739" y="8373"/>
                      <a:pt x="9132" y="8098"/>
                      <a:pt x="8970" y="8028"/>
                    </a:cubicBezTo>
                    <a:cubicBezTo>
                      <a:pt x="8889" y="7992"/>
                      <a:pt x="8811" y="7943"/>
                      <a:pt x="8745" y="7885"/>
                    </a:cubicBezTo>
                    <a:cubicBezTo>
                      <a:pt x="8720" y="7906"/>
                      <a:pt x="8684" y="7934"/>
                      <a:pt x="8641" y="7963"/>
                    </a:cubicBezTo>
                    <a:cubicBezTo>
                      <a:pt x="8581" y="8003"/>
                      <a:pt x="8509" y="8045"/>
                      <a:pt x="8432" y="8063"/>
                    </a:cubicBezTo>
                    <a:cubicBezTo>
                      <a:pt x="8342" y="8083"/>
                      <a:pt x="8230" y="8098"/>
                      <a:pt x="8152" y="8107"/>
                    </a:cubicBezTo>
                    <a:cubicBezTo>
                      <a:pt x="8159" y="8125"/>
                      <a:pt x="8159" y="8125"/>
                      <a:pt x="8159" y="8125"/>
                    </a:cubicBezTo>
                    <a:cubicBezTo>
                      <a:pt x="8208" y="8162"/>
                      <a:pt x="8280" y="8215"/>
                      <a:pt x="8355" y="8270"/>
                    </a:cubicBezTo>
                    <a:cubicBezTo>
                      <a:pt x="8493" y="8371"/>
                      <a:pt x="8644" y="8481"/>
                      <a:pt x="8693" y="8510"/>
                    </a:cubicBezTo>
                    <a:cubicBezTo>
                      <a:pt x="8796" y="8572"/>
                      <a:pt x="9139" y="8788"/>
                      <a:pt x="9297" y="8873"/>
                    </a:cubicBezTo>
                    <a:cubicBezTo>
                      <a:pt x="9456" y="8959"/>
                      <a:pt x="9877" y="9187"/>
                      <a:pt x="10038" y="9256"/>
                    </a:cubicBezTo>
                    <a:cubicBezTo>
                      <a:pt x="10202" y="9326"/>
                      <a:pt x="10663" y="9542"/>
                      <a:pt x="10663" y="9542"/>
                    </a:cubicBezTo>
                    <a:cubicBezTo>
                      <a:pt x="10664" y="9542"/>
                      <a:pt x="10664" y="9542"/>
                      <a:pt x="10664" y="9542"/>
                    </a:cubicBezTo>
                    <a:cubicBezTo>
                      <a:pt x="10665" y="9543"/>
                      <a:pt x="10665" y="9543"/>
                      <a:pt x="10665" y="9543"/>
                    </a:cubicBezTo>
                    <a:cubicBezTo>
                      <a:pt x="10693" y="9518"/>
                      <a:pt x="10738" y="9477"/>
                      <a:pt x="10790" y="9430"/>
                    </a:cubicBezTo>
                    <a:cubicBezTo>
                      <a:pt x="10876" y="9350"/>
                      <a:pt x="10981" y="9251"/>
                      <a:pt x="11054" y="9174"/>
                    </a:cubicBezTo>
                    <a:cubicBezTo>
                      <a:pt x="11154" y="9070"/>
                      <a:pt x="11182" y="8900"/>
                      <a:pt x="11189" y="8812"/>
                    </a:cubicBezTo>
                    <a:cubicBezTo>
                      <a:pt x="11190" y="8812"/>
                      <a:pt x="11189" y="8812"/>
                      <a:pt x="11189" y="8812"/>
                    </a:cubicBezTo>
                    <a:cubicBezTo>
                      <a:pt x="11189" y="8812"/>
                      <a:pt x="11189" y="8812"/>
                      <a:pt x="11189" y="8812"/>
                    </a:cubicBezTo>
                    <a:cubicBezTo>
                      <a:pt x="11190" y="8804"/>
                      <a:pt x="11191" y="8798"/>
                      <a:pt x="11191" y="8792"/>
                    </a:cubicBezTo>
                    <a:close/>
                    <a:moveTo>
                      <a:pt x="12488" y="8730"/>
                    </a:moveTo>
                    <a:cubicBezTo>
                      <a:pt x="12026" y="7226"/>
                      <a:pt x="12026" y="7226"/>
                      <a:pt x="12026" y="7226"/>
                    </a:cubicBezTo>
                    <a:cubicBezTo>
                      <a:pt x="12026" y="7226"/>
                      <a:pt x="12024" y="7219"/>
                      <a:pt x="12019" y="7208"/>
                    </a:cubicBezTo>
                    <a:cubicBezTo>
                      <a:pt x="12006" y="7173"/>
                      <a:pt x="11968" y="7101"/>
                      <a:pt x="11891" y="7072"/>
                    </a:cubicBezTo>
                    <a:cubicBezTo>
                      <a:pt x="11846" y="7145"/>
                      <a:pt x="11785" y="7206"/>
                      <a:pt x="11701" y="7224"/>
                    </a:cubicBezTo>
                    <a:cubicBezTo>
                      <a:pt x="11694" y="7226"/>
                      <a:pt x="11688" y="7227"/>
                      <a:pt x="11678" y="7227"/>
                    </a:cubicBezTo>
                    <a:cubicBezTo>
                      <a:pt x="11667" y="7228"/>
                      <a:pt x="11654" y="7228"/>
                      <a:pt x="11639" y="7228"/>
                    </a:cubicBezTo>
                    <a:cubicBezTo>
                      <a:pt x="11540" y="7228"/>
                      <a:pt x="11353" y="7218"/>
                      <a:pt x="11353" y="7218"/>
                    </a:cubicBezTo>
                    <a:cubicBezTo>
                      <a:pt x="11352" y="7218"/>
                      <a:pt x="11201" y="7207"/>
                      <a:pt x="11050" y="7196"/>
                    </a:cubicBezTo>
                    <a:cubicBezTo>
                      <a:pt x="10975" y="7190"/>
                      <a:pt x="10899" y="7185"/>
                      <a:pt x="10842" y="7181"/>
                    </a:cubicBezTo>
                    <a:cubicBezTo>
                      <a:pt x="10814" y="7178"/>
                      <a:pt x="10790" y="7177"/>
                      <a:pt x="10774" y="7175"/>
                    </a:cubicBezTo>
                    <a:cubicBezTo>
                      <a:pt x="10766" y="7175"/>
                      <a:pt x="10759" y="7174"/>
                      <a:pt x="10755" y="7174"/>
                    </a:cubicBezTo>
                    <a:cubicBezTo>
                      <a:pt x="10752" y="7174"/>
                      <a:pt x="10751" y="7174"/>
                      <a:pt x="10749" y="7173"/>
                    </a:cubicBezTo>
                    <a:cubicBezTo>
                      <a:pt x="10749" y="7173"/>
                      <a:pt x="10748" y="7173"/>
                      <a:pt x="10748" y="7173"/>
                    </a:cubicBezTo>
                    <a:cubicBezTo>
                      <a:pt x="10748" y="7173"/>
                      <a:pt x="10747" y="7173"/>
                      <a:pt x="10747" y="7173"/>
                    </a:cubicBezTo>
                    <a:cubicBezTo>
                      <a:pt x="10747" y="7173"/>
                      <a:pt x="10746" y="7173"/>
                      <a:pt x="10745" y="7173"/>
                    </a:cubicBezTo>
                    <a:cubicBezTo>
                      <a:pt x="10745" y="7173"/>
                      <a:pt x="10744" y="7173"/>
                      <a:pt x="10743" y="7172"/>
                    </a:cubicBezTo>
                    <a:cubicBezTo>
                      <a:pt x="10742" y="7172"/>
                      <a:pt x="10741" y="7171"/>
                      <a:pt x="10739" y="7170"/>
                    </a:cubicBezTo>
                    <a:cubicBezTo>
                      <a:pt x="10738" y="7170"/>
                      <a:pt x="10737" y="7169"/>
                      <a:pt x="10736" y="7167"/>
                    </a:cubicBezTo>
                    <a:cubicBezTo>
                      <a:pt x="10731" y="7164"/>
                      <a:pt x="10720" y="7157"/>
                      <a:pt x="10705" y="7147"/>
                    </a:cubicBezTo>
                    <a:cubicBezTo>
                      <a:pt x="10262" y="8400"/>
                      <a:pt x="10262" y="8400"/>
                      <a:pt x="10262" y="8400"/>
                    </a:cubicBezTo>
                    <a:cubicBezTo>
                      <a:pt x="10261" y="8424"/>
                      <a:pt x="10261" y="8424"/>
                      <a:pt x="10261" y="8424"/>
                    </a:cubicBezTo>
                    <a:cubicBezTo>
                      <a:pt x="10268" y="8426"/>
                      <a:pt x="10275" y="8428"/>
                      <a:pt x="10283" y="8431"/>
                    </a:cubicBezTo>
                    <a:cubicBezTo>
                      <a:pt x="10532" y="8513"/>
                      <a:pt x="10767" y="8573"/>
                      <a:pt x="10939" y="8611"/>
                    </a:cubicBezTo>
                    <a:cubicBezTo>
                      <a:pt x="11025" y="8631"/>
                      <a:pt x="11096" y="8645"/>
                      <a:pt x="11145" y="8654"/>
                    </a:cubicBezTo>
                    <a:cubicBezTo>
                      <a:pt x="11186" y="8663"/>
                      <a:pt x="11212" y="8667"/>
                      <a:pt x="11218" y="8668"/>
                    </a:cubicBezTo>
                    <a:cubicBezTo>
                      <a:pt x="11265" y="8672"/>
                      <a:pt x="11931" y="8717"/>
                      <a:pt x="12129" y="8726"/>
                    </a:cubicBezTo>
                    <a:cubicBezTo>
                      <a:pt x="12234" y="8731"/>
                      <a:pt x="12354" y="8735"/>
                      <a:pt x="12487" y="8748"/>
                    </a:cubicBezTo>
                    <a:cubicBezTo>
                      <a:pt x="12488" y="8742"/>
                      <a:pt x="12488" y="8733"/>
                      <a:pt x="12488" y="8730"/>
                    </a:cubicBezTo>
                    <a:close/>
                    <a:moveTo>
                      <a:pt x="15992" y="4718"/>
                    </a:moveTo>
                    <a:cubicBezTo>
                      <a:pt x="14051" y="5122"/>
                      <a:pt x="14051" y="5122"/>
                      <a:pt x="14051" y="5122"/>
                    </a:cubicBezTo>
                    <a:cubicBezTo>
                      <a:pt x="13567" y="5007"/>
                      <a:pt x="13567" y="5007"/>
                      <a:pt x="13567" y="5007"/>
                    </a:cubicBezTo>
                    <a:cubicBezTo>
                      <a:pt x="12880" y="4806"/>
                      <a:pt x="12880" y="4806"/>
                      <a:pt x="12880" y="4806"/>
                    </a:cubicBezTo>
                    <a:cubicBezTo>
                      <a:pt x="12781" y="4780"/>
                      <a:pt x="12627" y="4760"/>
                      <a:pt x="12500" y="4747"/>
                    </a:cubicBezTo>
                    <a:cubicBezTo>
                      <a:pt x="12406" y="4738"/>
                      <a:pt x="12327" y="4733"/>
                      <a:pt x="12291" y="4730"/>
                    </a:cubicBezTo>
                    <a:cubicBezTo>
                      <a:pt x="12291" y="4736"/>
                      <a:pt x="12291" y="4736"/>
                      <a:pt x="12291" y="4736"/>
                    </a:cubicBezTo>
                    <a:cubicBezTo>
                      <a:pt x="12287" y="4736"/>
                      <a:pt x="12287" y="4736"/>
                      <a:pt x="12287" y="4736"/>
                    </a:cubicBezTo>
                    <a:cubicBezTo>
                      <a:pt x="12288" y="4765"/>
                      <a:pt x="12292" y="4823"/>
                      <a:pt x="12292" y="4823"/>
                    </a:cubicBezTo>
                    <a:cubicBezTo>
                      <a:pt x="12292" y="4825"/>
                      <a:pt x="12292" y="4825"/>
                      <a:pt x="12292" y="4825"/>
                    </a:cubicBezTo>
                    <a:cubicBezTo>
                      <a:pt x="12017" y="6708"/>
                      <a:pt x="12017" y="6708"/>
                      <a:pt x="12017" y="6708"/>
                    </a:cubicBezTo>
                    <a:cubicBezTo>
                      <a:pt x="12017" y="6709"/>
                      <a:pt x="12000" y="6823"/>
                      <a:pt x="11954" y="6945"/>
                    </a:cubicBezTo>
                    <a:cubicBezTo>
                      <a:pt x="11941" y="6977"/>
                      <a:pt x="11927" y="7009"/>
                      <a:pt x="11910" y="7041"/>
                    </a:cubicBezTo>
                    <a:cubicBezTo>
                      <a:pt x="12028" y="7090"/>
                      <a:pt x="12060" y="7215"/>
                      <a:pt x="12060" y="7216"/>
                    </a:cubicBezTo>
                    <a:cubicBezTo>
                      <a:pt x="12525" y="8728"/>
                      <a:pt x="12525" y="8728"/>
                      <a:pt x="12525" y="8728"/>
                    </a:cubicBezTo>
                    <a:cubicBezTo>
                      <a:pt x="12525" y="8728"/>
                      <a:pt x="12526" y="8729"/>
                      <a:pt x="12526" y="8729"/>
                    </a:cubicBezTo>
                    <a:cubicBezTo>
                      <a:pt x="12534" y="8753"/>
                      <a:pt x="12534" y="8753"/>
                      <a:pt x="12534" y="8753"/>
                    </a:cubicBezTo>
                    <a:cubicBezTo>
                      <a:pt x="12651" y="8766"/>
                      <a:pt x="12776" y="8785"/>
                      <a:pt x="12907" y="8817"/>
                    </a:cubicBezTo>
                    <a:cubicBezTo>
                      <a:pt x="13059" y="8853"/>
                      <a:pt x="13177" y="8900"/>
                      <a:pt x="13266" y="8961"/>
                    </a:cubicBezTo>
                    <a:cubicBezTo>
                      <a:pt x="13341" y="9012"/>
                      <a:pt x="13394" y="9074"/>
                      <a:pt x="13427" y="9145"/>
                    </a:cubicBezTo>
                    <a:cubicBezTo>
                      <a:pt x="13490" y="9129"/>
                      <a:pt x="13622" y="9098"/>
                      <a:pt x="13755" y="9065"/>
                    </a:cubicBezTo>
                    <a:cubicBezTo>
                      <a:pt x="13847" y="9043"/>
                      <a:pt x="13940" y="9021"/>
                      <a:pt x="14011" y="9004"/>
                    </a:cubicBezTo>
                    <a:cubicBezTo>
                      <a:pt x="14046" y="8996"/>
                      <a:pt x="14076" y="8989"/>
                      <a:pt x="14098" y="8984"/>
                    </a:cubicBezTo>
                    <a:cubicBezTo>
                      <a:pt x="14109" y="8981"/>
                      <a:pt x="14118" y="8979"/>
                      <a:pt x="14125" y="8978"/>
                    </a:cubicBezTo>
                    <a:cubicBezTo>
                      <a:pt x="14128" y="8977"/>
                      <a:pt x="14131" y="8977"/>
                      <a:pt x="14133" y="8976"/>
                    </a:cubicBezTo>
                    <a:cubicBezTo>
                      <a:pt x="14136" y="8976"/>
                      <a:pt x="14136" y="8975"/>
                      <a:pt x="14141" y="8975"/>
                    </a:cubicBezTo>
                    <a:cubicBezTo>
                      <a:pt x="14154" y="8973"/>
                      <a:pt x="14217" y="8954"/>
                      <a:pt x="14299" y="8927"/>
                    </a:cubicBezTo>
                    <a:cubicBezTo>
                      <a:pt x="14384" y="8900"/>
                      <a:pt x="14492" y="8863"/>
                      <a:pt x="14607" y="8822"/>
                    </a:cubicBezTo>
                    <a:cubicBezTo>
                      <a:pt x="14722" y="8780"/>
                      <a:pt x="14949" y="8662"/>
                      <a:pt x="15146" y="8555"/>
                    </a:cubicBezTo>
                    <a:cubicBezTo>
                      <a:pt x="15245" y="8501"/>
                      <a:pt x="15337" y="8450"/>
                      <a:pt x="15407" y="8411"/>
                    </a:cubicBezTo>
                    <a:cubicBezTo>
                      <a:pt x="15441" y="8392"/>
                      <a:pt x="15470" y="8376"/>
                      <a:pt x="15491" y="8364"/>
                    </a:cubicBezTo>
                    <a:cubicBezTo>
                      <a:pt x="15502" y="8358"/>
                      <a:pt x="15511" y="8353"/>
                      <a:pt x="15517" y="8349"/>
                    </a:cubicBezTo>
                    <a:cubicBezTo>
                      <a:pt x="15525" y="8345"/>
                      <a:pt x="15528" y="8344"/>
                      <a:pt x="15534" y="8341"/>
                    </a:cubicBezTo>
                    <a:cubicBezTo>
                      <a:pt x="15548" y="8334"/>
                      <a:pt x="15587" y="8318"/>
                      <a:pt x="15622" y="8303"/>
                    </a:cubicBezTo>
                    <a:cubicBezTo>
                      <a:pt x="15622" y="8301"/>
                      <a:pt x="15621" y="8294"/>
                      <a:pt x="15621" y="8288"/>
                    </a:cubicBezTo>
                    <a:cubicBezTo>
                      <a:pt x="15610" y="8199"/>
                      <a:pt x="15586" y="8008"/>
                      <a:pt x="15559" y="7787"/>
                    </a:cubicBezTo>
                    <a:cubicBezTo>
                      <a:pt x="15521" y="7482"/>
                      <a:pt x="15476" y="7124"/>
                      <a:pt x="15448" y="6906"/>
                    </a:cubicBezTo>
                    <a:cubicBezTo>
                      <a:pt x="15435" y="6803"/>
                      <a:pt x="15429" y="6717"/>
                      <a:pt x="15429" y="6641"/>
                    </a:cubicBezTo>
                    <a:cubicBezTo>
                      <a:pt x="15429" y="6396"/>
                      <a:pt x="15492" y="6268"/>
                      <a:pt x="15567" y="6086"/>
                    </a:cubicBezTo>
                    <a:cubicBezTo>
                      <a:pt x="15669" y="5841"/>
                      <a:pt x="15931" y="5628"/>
                      <a:pt x="16010" y="5288"/>
                    </a:cubicBezTo>
                    <a:cubicBezTo>
                      <a:pt x="16032" y="5196"/>
                      <a:pt x="16040" y="5111"/>
                      <a:pt x="16040" y="5035"/>
                    </a:cubicBezTo>
                    <a:cubicBezTo>
                      <a:pt x="16040" y="4931"/>
                      <a:pt x="16025" y="4845"/>
                      <a:pt x="16011" y="4785"/>
                    </a:cubicBezTo>
                    <a:cubicBezTo>
                      <a:pt x="16004" y="4756"/>
                      <a:pt x="15997" y="4734"/>
                      <a:pt x="15992" y="4718"/>
                    </a:cubicBezTo>
                    <a:close/>
                    <a:moveTo>
                      <a:pt x="16056" y="1762"/>
                    </a:moveTo>
                    <a:cubicBezTo>
                      <a:pt x="15590" y="1868"/>
                      <a:pt x="15100" y="1907"/>
                      <a:pt x="14944" y="1935"/>
                    </a:cubicBezTo>
                    <a:cubicBezTo>
                      <a:pt x="14882" y="1946"/>
                      <a:pt x="14689" y="1949"/>
                      <a:pt x="14455" y="1949"/>
                    </a:cubicBezTo>
                    <a:cubicBezTo>
                      <a:pt x="13997" y="1949"/>
                      <a:pt x="13391" y="1936"/>
                      <a:pt x="13366" y="1935"/>
                    </a:cubicBezTo>
                    <a:cubicBezTo>
                      <a:pt x="13289" y="1938"/>
                      <a:pt x="13191" y="1939"/>
                      <a:pt x="13114" y="2025"/>
                    </a:cubicBezTo>
                    <a:cubicBezTo>
                      <a:pt x="13074" y="2070"/>
                      <a:pt x="13026" y="2135"/>
                      <a:pt x="12989" y="2187"/>
                    </a:cubicBezTo>
                    <a:cubicBezTo>
                      <a:pt x="12951" y="2240"/>
                      <a:pt x="12924" y="2280"/>
                      <a:pt x="12924" y="2281"/>
                    </a:cubicBezTo>
                    <a:cubicBezTo>
                      <a:pt x="12923" y="2281"/>
                      <a:pt x="12923" y="2281"/>
                      <a:pt x="12923" y="2281"/>
                    </a:cubicBezTo>
                    <a:cubicBezTo>
                      <a:pt x="12923" y="2282"/>
                      <a:pt x="12923" y="2282"/>
                      <a:pt x="12923" y="2282"/>
                    </a:cubicBezTo>
                    <a:cubicBezTo>
                      <a:pt x="12922" y="2282"/>
                      <a:pt x="12827" y="2399"/>
                      <a:pt x="12728" y="2522"/>
                    </a:cubicBezTo>
                    <a:cubicBezTo>
                      <a:pt x="12679" y="2584"/>
                      <a:pt x="12629" y="2647"/>
                      <a:pt x="12590" y="2697"/>
                    </a:cubicBezTo>
                    <a:cubicBezTo>
                      <a:pt x="12551" y="2747"/>
                      <a:pt x="12522" y="2787"/>
                      <a:pt x="12520" y="2793"/>
                    </a:cubicBezTo>
                    <a:cubicBezTo>
                      <a:pt x="12503" y="2830"/>
                      <a:pt x="12462" y="2925"/>
                      <a:pt x="12449" y="2955"/>
                    </a:cubicBezTo>
                    <a:cubicBezTo>
                      <a:pt x="12476" y="2967"/>
                      <a:pt x="12503" y="2983"/>
                      <a:pt x="12527" y="3006"/>
                    </a:cubicBezTo>
                    <a:cubicBezTo>
                      <a:pt x="12529" y="3007"/>
                      <a:pt x="12529" y="3007"/>
                      <a:pt x="12529" y="3007"/>
                    </a:cubicBezTo>
                    <a:cubicBezTo>
                      <a:pt x="13270" y="4135"/>
                      <a:pt x="13270" y="4135"/>
                      <a:pt x="13270" y="4135"/>
                    </a:cubicBezTo>
                    <a:cubicBezTo>
                      <a:pt x="13272" y="4137"/>
                      <a:pt x="13314" y="4201"/>
                      <a:pt x="13314" y="4309"/>
                    </a:cubicBezTo>
                    <a:cubicBezTo>
                      <a:pt x="13314" y="4367"/>
                      <a:pt x="13302" y="4437"/>
                      <a:pt x="13265" y="4516"/>
                    </a:cubicBezTo>
                    <a:cubicBezTo>
                      <a:pt x="13186" y="4684"/>
                      <a:pt x="13122" y="4790"/>
                      <a:pt x="13095" y="4832"/>
                    </a:cubicBezTo>
                    <a:cubicBezTo>
                      <a:pt x="13576" y="4972"/>
                      <a:pt x="13576" y="4972"/>
                      <a:pt x="13576" y="4972"/>
                    </a:cubicBezTo>
                    <a:cubicBezTo>
                      <a:pt x="14052" y="5085"/>
                      <a:pt x="14052" y="5085"/>
                      <a:pt x="14052" y="5085"/>
                    </a:cubicBezTo>
                    <a:cubicBezTo>
                      <a:pt x="15980" y="4684"/>
                      <a:pt x="15980" y="4684"/>
                      <a:pt x="15980" y="4684"/>
                    </a:cubicBezTo>
                    <a:cubicBezTo>
                      <a:pt x="15974" y="4684"/>
                      <a:pt x="15974" y="4684"/>
                      <a:pt x="15974" y="4684"/>
                    </a:cubicBezTo>
                    <a:cubicBezTo>
                      <a:pt x="15974" y="4684"/>
                      <a:pt x="15974" y="4684"/>
                      <a:pt x="15974" y="4684"/>
                    </a:cubicBezTo>
                    <a:cubicBezTo>
                      <a:pt x="15974" y="4684"/>
                      <a:pt x="15974" y="4684"/>
                      <a:pt x="15974" y="4684"/>
                    </a:cubicBezTo>
                    <a:cubicBezTo>
                      <a:pt x="15963" y="4630"/>
                      <a:pt x="15766" y="4005"/>
                      <a:pt x="15667" y="3534"/>
                    </a:cubicBezTo>
                    <a:cubicBezTo>
                      <a:pt x="15623" y="3326"/>
                      <a:pt x="15606" y="3118"/>
                      <a:pt x="15606" y="2932"/>
                    </a:cubicBezTo>
                    <a:cubicBezTo>
                      <a:pt x="15606" y="2672"/>
                      <a:pt x="15638" y="2454"/>
                      <a:pt x="15671" y="2332"/>
                    </a:cubicBezTo>
                    <a:cubicBezTo>
                      <a:pt x="15700" y="2224"/>
                      <a:pt x="15802" y="2075"/>
                      <a:pt x="15898" y="1951"/>
                    </a:cubicBezTo>
                    <a:cubicBezTo>
                      <a:pt x="15946" y="1889"/>
                      <a:pt x="15992" y="1834"/>
                      <a:pt x="16027" y="1794"/>
                    </a:cubicBezTo>
                    <a:cubicBezTo>
                      <a:pt x="16038" y="1781"/>
                      <a:pt x="16047" y="1771"/>
                      <a:pt x="16056" y="1762"/>
                    </a:cubicBezTo>
                    <a:close/>
                    <a:moveTo>
                      <a:pt x="1191" y="10575"/>
                    </a:moveTo>
                    <a:cubicBezTo>
                      <a:pt x="1177" y="10552"/>
                      <a:pt x="1104" y="10422"/>
                      <a:pt x="1034" y="10299"/>
                    </a:cubicBezTo>
                    <a:cubicBezTo>
                      <a:pt x="984" y="10211"/>
                      <a:pt x="921" y="10100"/>
                      <a:pt x="903" y="10067"/>
                    </a:cubicBezTo>
                    <a:cubicBezTo>
                      <a:pt x="869" y="10085"/>
                      <a:pt x="869" y="10085"/>
                      <a:pt x="869" y="10085"/>
                    </a:cubicBezTo>
                    <a:cubicBezTo>
                      <a:pt x="912" y="10161"/>
                      <a:pt x="1132" y="10550"/>
                      <a:pt x="1159" y="10595"/>
                    </a:cubicBezTo>
                    <a:cubicBezTo>
                      <a:pt x="1187" y="10643"/>
                      <a:pt x="1209" y="10684"/>
                      <a:pt x="1265" y="10749"/>
                    </a:cubicBezTo>
                    <a:cubicBezTo>
                      <a:pt x="1281" y="10768"/>
                      <a:pt x="1304" y="10794"/>
                      <a:pt x="1328" y="10821"/>
                    </a:cubicBezTo>
                    <a:cubicBezTo>
                      <a:pt x="1379" y="10821"/>
                      <a:pt x="1379" y="10821"/>
                      <a:pt x="1379" y="10821"/>
                    </a:cubicBezTo>
                    <a:cubicBezTo>
                      <a:pt x="1346" y="10785"/>
                      <a:pt x="1314" y="10749"/>
                      <a:pt x="1294" y="10725"/>
                    </a:cubicBezTo>
                    <a:cubicBezTo>
                      <a:pt x="1240" y="10661"/>
                      <a:pt x="1220" y="10624"/>
                      <a:pt x="1191" y="10575"/>
                    </a:cubicBezTo>
                    <a:close/>
                    <a:moveTo>
                      <a:pt x="695" y="9682"/>
                    </a:moveTo>
                    <a:cubicBezTo>
                      <a:pt x="715" y="9691"/>
                      <a:pt x="772" y="9692"/>
                      <a:pt x="816" y="9663"/>
                    </a:cubicBezTo>
                    <a:cubicBezTo>
                      <a:pt x="860" y="9635"/>
                      <a:pt x="891" y="9604"/>
                      <a:pt x="905" y="9580"/>
                    </a:cubicBezTo>
                    <a:cubicBezTo>
                      <a:pt x="919" y="9555"/>
                      <a:pt x="931" y="9531"/>
                      <a:pt x="939" y="9527"/>
                    </a:cubicBezTo>
                    <a:cubicBezTo>
                      <a:pt x="939" y="9527"/>
                      <a:pt x="930" y="9498"/>
                      <a:pt x="882" y="9522"/>
                    </a:cubicBezTo>
                    <a:cubicBezTo>
                      <a:pt x="834" y="9547"/>
                      <a:pt x="793" y="9570"/>
                      <a:pt x="770" y="9555"/>
                    </a:cubicBezTo>
                    <a:cubicBezTo>
                      <a:pt x="746" y="9540"/>
                      <a:pt x="736" y="9535"/>
                      <a:pt x="730" y="9505"/>
                    </a:cubicBezTo>
                    <a:cubicBezTo>
                      <a:pt x="725" y="9475"/>
                      <a:pt x="715" y="9446"/>
                      <a:pt x="680" y="9436"/>
                    </a:cubicBezTo>
                    <a:cubicBezTo>
                      <a:pt x="644" y="9427"/>
                      <a:pt x="604" y="9424"/>
                      <a:pt x="593" y="9419"/>
                    </a:cubicBezTo>
                    <a:cubicBezTo>
                      <a:pt x="584" y="9414"/>
                      <a:pt x="546" y="9396"/>
                      <a:pt x="541" y="9391"/>
                    </a:cubicBezTo>
                    <a:cubicBezTo>
                      <a:pt x="540" y="9396"/>
                      <a:pt x="519" y="9426"/>
                      <a:pt x="548" y="9449"/>
                    </a:cubicBezTo>
                    <a:cubicBezTo>
                      <a:pt x="581" y="9473"/>
                      <a:pt x="633" y="9501"/>
                      <a:pt x="644" y="9550"/>
                    </a:cubicBezTo>
                    <a:cubicBezTo>
                      <a:pt x="655" y="9599"/>
                      <a:pt x="614" y="9647"/>
                      <a:pt x="614" y="9647"/>
                    </a:cubicBezTo>
                    <a:cubicBezTo>
                      <a:pt x="614" y="9647"/>
                      <a:pt x="674" y="9674"/>
                      <a:pt x="695" y="9682"/>
                    </a:cubicBezTo>
                    <a:close/>
                    <a:moveTo>
                      <a:pt x="1643" y="8648"/>
                    </a:moveTo>
                    <a:cubicBezTo>
                      <a:pt x="1629" y="8683"/>
                      <a:pt x="1622" y="8738"/>
                      <a:pt x="1650" y="8745"/>
                    </a:cubicBezTo>
                    <a:cubicBezTo>
                      <a:pt x="1650" y="8745"/>
                      <a:pt x="1677" y="8727"/>
                      <a:pt x="1688" y="8700"/>
                    </a:cubicBezTo>
                    <a:cubicBezTo>
                      <a:pt x="1699" y="8673"/>
                      <a:pt x="1711" y="8663"/>
                      <a:pt x="1734" y="8655"/>
                    </a:cubicBezTo>
                    <a:cubicBezTo>
                      <a:pt x="1758" y="8647"/>
                      <a:pt x="1805" y="8644"/>
                      <a:pt x="1849" y="8621"/>
                    </a:cubicBezTo>
                    <a:cubicBezTo>
                      <a:pt x="1893" y="8597"/>
                      <a:pt x="1902" y="8577"/>
                      <a:pt x="1877" y="8563"/>
                    </a:cubicBezTo>
                    <a:cubicBezTo>
                      <a:pt x="1851" y="8550"/>
                      <a:pt x="1795" y="8554"/>
                      <a:pt x="1777" y="8547"/>
                    </a:cubicBezTo>
                    <a:cubicBezTo>
                      <a:pt x="1759" y="8540"/>
                      <a:pt x="1740" y="8509"/>
                      <a:pt x="1762" y="8494"/>
                    </a:cubicBezTo>
                    <a:cubicBezTo>
                      <a:pt x="1784" y="8478"/>
                      <a:pt x="1830" y="8478"/>
                      <a:pt x="1834" y="8461"/>
                    </a:cubicBezTo>
                    <a:cubicBezTo>
                      <a:pt x="1838" y="8443"/>
                      <a:pt x="1836" y="8380"/>
                      <a:pt x="1795" y="8384"/>
                    </a:cubicBezTo>
                    <a:cubicBezTo>
                      <a:pt x="1754" y="8388"/>
                      <a:pt x="1749" y="8422"/>
                      <a:pt x="1744" y="8440"/>
                    </a:cubicBezTo>
                    <a:cubicBezTo>
                      <a:pt x="1739" y="8458"/>
                      <a:pt x="1700" y="8472"/>
                      <a:pt x="1688" y="8487"/>
                    </a:cubicBezTo>
                    <a:cubicBezTo>
                      <a:pt x="1676" y="8502"/>
                      <a:pt x="1663" y="8515"/>
                      <a:pt x="1676" y="8529"/>
                    </a:cubicBezTo>
                    <a:cubicBezTo>
                      <a:pt x="1688" y="8543"/>
                      <a:pt x="1700" y="8567"/>
                      <a:pt x="1691" y="8586"/>
                    </a:cubicBezTo>
                    <a:cubicBezTo>
                      <a:pt x="1681" y="8606"/>
                      <a:pt x="1657" y="8612"/>
                      <a:pt x="1643" y="8648"/>
                    </a:cubicBezTo>
                    <a:close/>
                    <a:moveTo>
                      <a:pt x="1034" y="9601"/>
                    </a:moveTo>
                    <a:cubicBezTo>
                      <a:pt x="1034" y="9601"/>
                      <a:pt x="1034" y="9601"/>
                      <a:pt x="1034" y="9601"/>
                    </a:cubicBezTo>
                    <a:cubicBezTo>
                      <a:pt x="1034" y="9601"/>
                      <a:pt x="1034" y="9601"/>
                      <a:pt x="1034" y="9601"/>
                    </a:cubicBezTo>
                    <a:close/>
                    <a:moveTo>
                      <a:pt x="3516" y="7929"/>
                    </a:moveTo>
                    <a:cubicBezTo>
                      <a:pt x="3529" y="7886"/>
                      <a:pt x="3490" y="7835"/>
                      <a:pt x="3426" y="7814"/>
                    </a:cubicBezTo>
                    <a:cubicBezTo>
                      <a:pt x="3344" y="7788"/>
                      <a:pt x="3283" y="7804"/>
                      <a:pt x="3266" y="7845"/>
                    </a:cubicBezTo>
                    <a:cubicBezTo>
                      <a:pt x="3250" y="7886"/>
                      <a:pt x="3299" y="7950"/>
                      <a:pt x="3363" y="7968"/>
                    </a:cubicBezTo>
                    <a:cubicBezTo>
                      <a:pt x="3426" y="7987"/>
                      <a:pt x="3504" y="7972"/>
                      <a:pt x="3516" y="7929"/>
                    </a:cubicBezTo>
                    <a:close/>
                    <a:moveTo>
                      <a:pt x="321" y="10538"/>
                    </a:moveTo>
                    <a:cubicBezTo>
                      <a:pt x="321" y="10539"/>
                      <a:pt x="385" y="10697"/>
                      <a:pt x="439" y="10821"/>
                    </a:cubicBezTo>
                    <a:cubicBezTo>
                      <a:pt x="468" y="10821"/>
                      <a:pt x="468" y="10821"/>
                      <a:pt x="468" y="10821"/>
                    </a:cubicBezTo>
                    <a:cubicBezTo>
                      <a:pt x="412" y="10696"/>
                      <a:pt x="343" y="10524"/>
                      <a:pt x="343" y="10523"/>
                    </a:cubicBezTo>
                    <a:lnTo>
                      <a:pt x="321" y="10538"/>
                    </a:lnTo>
                    <a:close/>
                  </a:path>
                </a:pathLst>
              </a:custGeom>
              <a:solidFill>
                <a:srgbClr val="AC79A6"/>
              </a:solidFill>
              <a:ln>
                <a:noFill/>
              </a:ln>
            </p:spPr>
            <p:txBody>
              <a:bodyPr vert="horz" wrap="square" lIns="91440" tIns="45720" rIns="91440" bIns="45720" numCol="1" anchor="t" anchorCtr="0" compatLnSpc="1">
                <a:prstTxWarp prst="textNoShape">
                  <a:avLst/>
                </a:prstTxWarp>
              </a:bodyPr>
              <a:lstStyle/>
              <a:p>
                <a:endParaRPr lang="nl-NL" dirty="0"/>
              </a:p>
            </p:txBody>
          </p:sp>
        </p:grpSp>
      </p:grpSp>
      <p:sp>
        <p:nvSpPr>
          <p:cNvPr id="2" name="***Titel 1"/>
          <p:cNvSpPr>
            <a:spLocks noGrp="1" noSelect="1"/>
          </p:cNvSpPr>
          <p:nvPr>
            <p:ph type="ctrTitle" hasCustomPrompt="1"/>
          </p:nvPr>
        </p:nvSpPr>
        <p:spPr bwMode="gray">
          <a:xfrm>
            <a:off x="1152000" y="414000"/>
            <a:ext cx="10404000" cy="1470025"/>
          </a:xfrm>
        </p:spPr>
        <p:txBody>
          <a:bodyPr anchor="b" anchorCtr="0"/>
          <a:lstStyle>
            <a:lvl1pPr algn="l">
              <a:lnSpc>
                <a:spcPct val="96000"/>
              </a:lnSpc>
              <a:defRPr sz="4700" b="0" spc="-180" baseline="0">
                <a:latin typeface="Univers" panose="020B0603020202030204" pitchFamily="34" charset="0"/>
              </a:defRPr>
            </a:lvl1pPr>
          </a:lstStyle>
          <a:p>
            <a:r>
              <a:rPr lang="nl-NL" noProof="1"/>
              <a:t>[Titel,</a:t>
            </a:r>
            <a:br>
              <a:rPr lang="nl-NL" noProof="1"/>
            </a:br>
            <a:r>
              <a:rPr lang="nl-NL" noProof="1"/>
              <a:t>maximaal 2 regels]</a:t>
            </a:r>
          </a:p>
        </p:txBody>
      </p:sp>
      <p:grpSp>
        <p:nvGrpSpPr>
          <p:cNvPr id="17" name="logo">
            <a:extLst>
              <a:ext uri="{FF2B5EF4-FFF2-40B4-BE49-F238E27FC236}">
                <a16:creationId xmlns:a16="http://schemas.microsoft.com/office/drawing/2014/main" id="{3D914ECC-8068-414F-AA0F-262DD3112D62}"/>
              </a:ext>
            </a:extLst>
          </p:cNvPr>
          <p:cNvGrpSpPr>
            <a:grpSpLocks noSelect="1" noChangeAspect="1"/>
          </p:cNvGrpSpPr>
          <p:nvPr userDrawn="1"/>
        </p:nvGrpSpPr>
        <p:grpSpPr bwMode="gray">
          <a:xfrm>
            <a:off x="638175" y="6030913"/>
            <a:ext cx="2481263" cy="508000"/>
            <a:chOff x="402" y="3799"/>
            <a:chExt cx="1563" cy="320"/>
          </a:xfrm>
        </p:grpSpPr>
        <p:sp>
          <p:nvSpPr>
            <p:cNvPr id="18" name="Freeform 21">
              <a:extLst>
                <a:ext uri="{FF2B5EF4-FFF2-40B4-BE49-F238E27FC236}">
                  <a16:creationId xmlns:a16="http://schemas.microsoft.com/office/drawing/2014/main" id="{B89CFD78-1671-45B4-A5BB-E8CDF8C13424}"/>
                </a:ext>
              </a:extLst>
            </p:cNvPr>
            <p:cNvSpPr>
              <a:spLocks noSelect="1"/>
            </p:cNvSpPr>
            <p:nvPr userDrawn="1"/>
          </p:nvSpPr>
          <p:spPr bwMode="gray">
            <a:xfrm>
              <a:off x="722" y="3799"/>
              <a:ext cx="1243" cy="320"/>
            </a:xfrm>
            <a:custGeom>
              <a:avLst/>
              <a:gdLst>
                <a:gd name="T0" fmla="*/ 92 w 6217"/>
                <a:gd name="T1" fmla="*/ 0 h 1604"/>
                <a:gd name="T2" fmla="*/ 92 w 6217"/>
                <a:gd name="T3" fmla="*/ 525 h 1604"/>
                <a:gd name="T4" fmla="*/ 762 w 6217"/>
                <a:gd name="T5" fmla="*/ 330 h 1604"/>
                <a:gd name="T6" fmla="*/ 957 w 6217"/>
                <a:gd name="T7" fmla="*/ 729 h 1604"/>
                <a:gd name="T8" fmla="*/ 1912 w 6217"/>
                <a:gd name="T9" fmla="*/ 0 h 1604"/>
                <a:gd name="T10" fmla="*/ 1821 w 6217"/>
                <a:gd name="T11" fmla="*/ 525 h 1604"/>
                <a:gd name="T12" fmla="*/ 3952 w 6217"/>
                <a:gd name="T13" fmla="*/ 1512 h 1604"/>
                <a:gd name="T14" fmla="*/ 3958 w 6217"/>
                <a:gd name="T15" fmla="*/ 1482 h 1604"/>
                <a:gd name="T16" fmla="*/ 4276 w 6217"/>
                <a:gd name="T17" fmla="*/ 1472 h 1604"/>
                <a:gd name="T18" fmla="*/ 4192 w 6217"/>
                <a:gd name="T19" fmla="*/ 1341 h 1604"/>
                <a:gd name="T20" fmla="*/ 4342 w 6217"/>
                <a:gd name="T21" fmla="*/ 1317 h 1604"/>
                <a:gd name="T22" fmla="*/ 4671 w 6217"/>
                <a:gd name="T23" fmla="*/ 1454 h 1604"/>
                <a:gd name="T24" fmla="*/ 4667 w 6217"/>
                <a:gd name="T25" fmla="*/ 1395 h 1604"/>
                <a:gd name="T26" fmla="*/ 4833 w 6217"/>
                <a:gd name="T27" fmla="*/ 1412 h 1604"/>
                <a:gd name="T28" fmla="*/ 4934 w 6217"/>
                <a:gd name="T29" fmla="*/ 1482 h 1604"/>
                <a:gd name="T30" fmla="*/ 5113 w 6217"/>
                <a:gd name="T31" fmla="*/ 1473 h 1604"/>
                <a:gd name="T32" fmla="*/ 5247 w 6217"/>
                <a:gd name="T33" fmla="*/ 1412 h 1604"/>
                <a:gd name="T34" fmla="*/ 5486 w 6217"/>
                <a:gd name="T35" fmla="*/ 1507 h 1604"/>
                <a:gd name="T36" fmla="*/ 5325 w 6217"/>
                <a:gd name="T37" fmla="*/ 1317 h 1604"/>
                <a:gd name="T38" fmla="*/ 5756 w 6217"/>
                <a:gd name="T39" fmla="*/ 1312 h 1604"/>
                <a:gd name="T40" fmla="*/ 5846 w 6217"/>
                <a:gd name="T41" fmla="*/ 1411 h 1604"/>
                <a:gd name="T42" fmla="*/ 6025 w 6217"/>
                <a:gd name="T43" fmla="*/ 1507 h 1604"/>
                <a:gd name="T44" fmla="*/ 5919 w 6217"/>
                <a:gd name="T45" fmla="*/ 1317 h 1604"/>
                <a:gd name="T46" fmla="*/ 6128 w 6217"/>
                <a:gd name="T47" fmla="*/ 1343 h 1604"/>
                <a:gd name="T48" fmla="*/ 6215 w 6217"/>
                <a:gd name="T49" fmla="*/ 1343 h 1604"/>
                <a:gd name="T50" fmla="*/ 2173 w 6217"/>
                <a:gd name="T51" fmla="*/ 1344 h 1604"/>
                <a:gd name="T52" fmla="*/ 2342 w 6217"/>
                <a:gd name="T53" fmla="*/ 1412 h 1604"/>
                <a:gd name="T54" fmla="*/ 2491 w 6217"/>
                <a:gd name="T55" fmla="*/ 1314 h 1604"/>
                <a:gd name="T56" fmla="*/ 2413 w 6217"/>
                <a:gd name="T57" fmla="*/ 1317 h 1604"/>
                <a:gd name="T58" fmla="*/ 2606 w 6217"/>
                <a:gd name="T59" fmla="*/ 1312 h 1604"/>
                <a:gd name="T60" fmla="*/ 2784 w 6217"/>
                <a:gd name="T61" fmla="*/ 1344 h 1604"/>
                <a:gd name="T62" fmla="*/ 2953 w 6217"/>
                <a:gd name="T63" fmla="*/ 1412 h 1604"/>
                <a:gd name="T64" fmla="*/ 2988 w 6217"/>
                <a:gd name="T65" fmla="*/ 1412 h 1604"/>
                <a:gd name="T66" fmla="*/ 3086 w 6217"/>
                <a:gd name="T67" fmla="*/ 1312 h 1604"/>
                <a:gd name="T68" fmla="*/ 3316 w 6217"/>
                <a:gd name="T69" fmla="*/ 1343 h 1604"/>
                <a:gd name="T70" fmla="*/ 3258 w 6217"/>
                <a:gd name="T71" fmla="*/ 1348 h 1604"/>
                <a:gd name="T72" fmla="*/ 3363 w 6217"/>
                <a:gd name="T73" fmla="*/ 1317 h 1604"/>
                <a:gd name="T74" fmla="*/ 3436 w 6217"/>
                <a:gd name="T75" fmla="*/ 1439 h 1604"/>
                <a:gd name="T76" fmla="*/ 3529 w 6217"/>
                <a:gd name="T77" fmla="*/ 1572 h 1604"/>
                <a:gd name="T78" fmla="*/ 3674 w 6217"/>
                <a:gd name="T79" fmla="*/ 1317 h 1604"/>
                <a:gd name="T80" fmla="*/ 32 w 6217"/>
                <a:gd name="T81" fmla="*/ 1473 h 1604"/>
                <a:gd name="T82" fmla="*/ 167 w 6217"/>
                <a:gd name="T83" fmla="*/ 1412 h 1604"/>
                <a:gd name="T84" fmla="*/ 266 w 6217"/>
                <a:gd name="T85" fmla="*/ 1412 h 1604"/>
                <a:gd name="T86" fmla="*/ 608 w 6217"/>
                <a:gd name="T87" fmla="*/ 1476 h 1604"/>
                <a:gd name="T88" fmla="*/ 606 w 6217"/>
                <a:gd name="T89" fmla="*/ 1317 h 1604"/>
                <a:gd name="T90" fmla="*/ 1032 w 6217"/>
                <a:gd name="T91" fmla="*/ 1507 h 1604"/>
                <a:gd name="T92" fmla="*/ 814 w 6217"/>
                <a:gd name="T93" fmla="*/ 1361 h 1604"/>
                <a:gd name="T94" fmla="*/ 833 w 6217"/>
                <a:gd name="T95" fmla="*/ 1317 h 1604"/>
                <a:gd name="T96" fmla="*/ 1068 w 6217"/>
                <a:gd name="T97" fmla="*/ 1195 h 1604"/>
                <a:gd name="T98" fmla="*/ 1293 w 6217"/>
                <a:gd name="T99" fmla="*/ 1412 h 1604"/>
                <a:gd name="T100" fmla="*/ 1497 w 6217"/>
                <a:gd name="T101" fmla="*/ 1507 h 1604"/>
                <a:gd name="T102" fmla="*/ 1330 w 6217"/>
                <a:gd name="T103" fmla="*/ 1317 h 1604"/>
                <a:gd name="T104" fmla="*/ 1638 w 6217"/>
                <a:gd name="T105" fmla="*/ 1312 h 1604"/>
                <a:gd name="T106" fmla="*/ 1707 w 6217"/>
                <a:gd name="T107" fmla="*/ 1200 h 1604"/>
                <a:gd name="T108" fmla="*/ 1854 w 6217"/>
                <a:gd name="T109" fmla="*/ 1512 h 1604"/>
                <a:gd name="T110" fmla="*/ 1923 w 6217"/>
                <a:gd name="T111" fmla="*/ 1346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17" h="1604">
                  <a:moveTo>
                    <a:pt x="92" y="702"/>
                  </a:moveTo>
                  <a:cubicBezTo>
                    <a:pt x="94" y="702"/>
                    <a:pt x="94" y="702"/>
                    <a:pt x="94" y="702"/>
                  </a:cubicBezTo>
                  <a:cubicBezTo>
                    <a:pt x="128" y="764"/>
                    <a:pt x="207" y="814"/>
                    <a:pt x="305" y="814"/>
                  </a:cubicBezTo>
                  <a:cubicBezTo>
                    <a:pt x="459" y="814"/>
                    <a:pt x="580" y="689"/>
                    <a:pt x="580" y="525"/>
                  </a:cubicBezTo>
                  <a:cubicBezTo>
                    <a:pt x="580" y="358"/>
                    <a:pt x="464" y="236"/>
                    <a:pt x="291" y="236"/>
                  </a:cubicBezTo>
                  <a:cubicBezTo>
                    <a:pt x="212" y="236"/>
                    <a:pt x="145" y="271"/>
                    <a:pt x="94" y="330"/>
                  </a:cubicBezTo>
                  <a:cubicBezTo>
                    <a:pt x="92" y="330"/>
                    <a:pt x="92" y="330"/>
                    <a:pt x="92" y="330"/>
                  </a:cubicBezTo>
                  <a:cubicBezTo>
                    <a:pt x="92" y="0"/>
                    <a:pt x="92" y="0"/>
                    <a:pt x="92" y="0"/>
                  </a:cubicBezTo>
                  <a:cubicBezTo>
                    <a:pt x="0" y="0"/>
                    <a:pt x="0" y="0"/>
                    <a:pt x="0" y="0"/>
                  </a:cubicBezTo>
                  <a:cubicBezTo>
                    <a:pt x="0" y="799"/>
                    <a:pt x="0" y="799"/>
                    <a:pt x="0" y="799"/>
                  </a:cubicBezTo>
                  <a:cubicBezTo>
                    <a:pt x="92" y="799"/>
                    <a:pt x="92" y="799"/>
                    <a:pt x="92" y="799"/>
                  </a:cubicBezTo>
                  <a:lnTo>
                    <a:pt x="92" y="702"/>
                  </a:lnTo>
                  <a:close/>
                  <a:moveTo>
                    <a:pt x="287" y="320"/>
                  </a:moveTo>
                  <a:cubicBezTo>
                    <a:pt x="405" y="320"/>
                    <a:pt x="482" y="410"/>
                    <a:pt x="482" y="525"/>
                  </a:cubicBezTo>
                  <a:cubicBezTo>
                    <a:pt x="482" y="640"/>
                    <a:pt x="405" y="729"/>
                    <a:pt x="287" y="729"/>
                  </a:cubicBezTo>
                  <a:cubicBezTo>
                    <a:pt x="168" y="729"/>
                    <a:pt x="92" y="640"/>
                    <a:pt x="92" y="525"/>
                  </a:cubicBezTo>
                  <a:cubicBezTo>
                    <a:pt x="92" y="410"/>
                    <a:pt x="168" y="320"/>
                    <a:pt x="287" y="320"/>
                  </a:cubicBezTo>
                  <a:close/>
                  <a:moveTo>
                    <a:pt x="762" y="702"/>
                  </a:moveTo>
                  <a:cubicBezTo>
                    <a:pt x="765" y="702"/>
                    <a:pt x="765" y="702"/>
                    <a:pt x="765" y="702"/>
                  </a:cubicBezTo>
                  <a:cubicBezTo>
                    <a:pt x="799" y="764"/>
                    <a:pt x="877" y="813"/>
                    <a:pt x="976" y="813"/>
                  </a:cubicBezTo>
                  <a:cubicBezTo>
                    <a:pt x="1130" y="813"/>
                    <a:pt x="1251" y="689"/>
                    <a:pt x="1251" y="525"/>
                  </a:cubicBezTo>
                  <a:cubicBezTo>
                    <a:pt x="1251" y="358"/>
                    <a:pt x="1135" y="236"/>
                    <a:pt x="962" y="236"/>
                  </a:cubicBezTo>
                  <a:cubicBezTo>
                    <a:pt x="882" y="236"/>
                    <a:pt x="815" y="271"/>
                    <a:pt x="765" y="330"/>
                  </a:cubicBezTo>
                  <a:cubicBezTo>
                    <a:pt x="762" y="330"/>
                    <a:pt x="762" y="330"/>
                    <a:pt x="762" y="330"/>
                  </a:cubicBezTo>
                  <a:cubicBezTo>
                    <a:pt x="762" y="250"/>
                    <a:pt x="762" y="250"/>
                    <a:pt x="762" y="250"/>
                  </a:cubicBezTo>
                  <a:cubicBezTo>
                    <a:pt x="671" y="250"/>
                    <a:pt x="671" y="250"/>
                    <a:pt x="671" y="250"/>
                  </a:cubicBezTo>
                  <a:cubicBezTo>
                    <a:pt x="671" y="1057"/>
                    <a:pt x="671" y="1057"/>
                    <a:pt x="671" y="1057"/>
                  </a:cubicBezTo>
                  <a:cubicBezTo>
                    <a:pt x="762" y="1057"/>
                    <a:pt x="762" y="1057"/>
                    <a:pt x="762" y="1057"/>
                  </a:cubicBezTo>
                  <a:lnTo>
                    <a:pt x="762" y="702"/>
                  </a:lnTo>
                  <a:close/>
                  <a:moveTo>
                    <a:pt x="957" y="320"/>
                  </a:moveTo>
                  <a:cubicBezTo>
                    <a:pt x="1076" y="320"/>
                    <a:pt x="1152" y="410"/>
                    <a:pt x="1152" y="525"/>
                  </a:cubicBezTo>
                  <a:cubicBezTo>
                    <a:pt x="1152" y="640"/>
                    <a:pt x="1076" y="729"/>
                    <a:pt x="957" y="729"/>
                  </a:cubicBezTo>
                  <a:cubicBezTo>
                    <a:pt x="839" y="729"/>
                    <a:pt x="762" y="640"/>
                    <a:pt x="762" y="525"/>
                  </a:cubicBezTo>
                  <a:cubicBezTo>
                    <a:pt x="762" y="410"/>
                    <a:pt x="839" y="320"/>
                    <a:pt x="957" y="320"/>
                  </a:cubicBezTo>
                  <a:close/>
                  <a:moveTo>
                    <a:pt x="1607" y="813"/>
                  </a:moveTo>
                  <a:cubicBezTo>
                    <a:pt x="1706" y="813"/>
                    <a:pt x="1785" y="764"/>
                    <a:pt x="1819" y="702"/>
                  </a:cubicBezTo>
                  <a:cubicBezTo>
                    <a:pt x="1821" y="702"/>
                    <a:pt x="1821" y="702"/>
                    <a:pt x="1821" y="702"/>
                  </a:cubicBezTo>
                  <a:cubicBezTo>
                    <a:pt x="1821" y="799"/>
                    <a:pt x="1821" y="799"/>
                    <a:pt x="1821" y="799"/>
                  </a:cubicBezTo>
                  <a:cubicBezTo>
                    <a:pt x="1912" y="799"/>
                    <a:pt x="1912" y="799"/>
                    <a:pt x="1912" y="799"/>
                  </a:cubicBezTo>
                  <a:cubicBezTo>
                    <a:pt x="1912" y="0"/>
                    <a:pt x="1912" y="0"/>
                    <a:pt x="1912" y="0"/>
                  </a:cubicBezTo>
                  <a:cubicBezTo>
                    <a:pt x="1821" y="0"/>
                    <a:pt x="1821" y="0"/>
                    <a:pt x="1821" y="0"/>
                  </a:cubicBezTo>
                  <a:cubicBezTo>
                    <a:pt x="1821" y="330"/>
                    <a:pt x="1821" y="330"/>
                    <a:pt x="1821" y="330"/>
                  </a:cubicBezTo>
                  <a:cubicBezTo>
                    <a:pt x="1819" y="330"/>
                    <a:pt x="1819" y="330"/>
                    <a:pt x="1819" y="330"/>
                  </a:cubicBezTo>
                  <a:cubicBezTo>
                    <a:pt x="1768" y="271"/>
                    <a:pt x="1701" y="236"/>
                    <a:pt x="1621" y="236"/>
                  </a:cubicBezTo>
                  <a:cubicBezTo>
                    <a:pt x="1449" y="236"/>
                    <a:pt x="1333" y="358"/>
                    <a:pt x="1333" y="525"/>
                  </a:cubicBezTo>
                  <a:cubicBezTo>
                    <a:pt x="1333" y="689"/>
                    <a:pt x="1454" y="813"/>
                    <a:pt x="1607" y="813"/>
                  </a:cubicBezTo>
                  <a:close/>
                  <a:moveTo>
                    <a:pt x="1626" y="320"/>
                  </a:moveTo>
                  <a:cubicBezTo>
                    <a:pt x="1745" y="320"/>
                    <a:pt x="1821" y="410"/>
                    <a:pt x="1821" y="525"/>
                  </a:cubicBezTo>
                  <a:cubicBezTo>
                    <a:pt x="1821" y="640"/>
                    <a:pt x="1745" y="729"/>
                    <a:pt x="1626" y="729"/>
                  </a:cubicBezTo>
                  <a:cubicBezTo>
                    <a:pt x="1507" y="729"/>
                    <a:pt x="1431" y="640"/>
                    <a:pt x="1431" y="525"/>
                  </a:cubicBezTo>
                  <a:cubicBezTo>
                    <a:pt x="1431" y="410"/>
                    <a:pt x="1507" y="320"/>
                    <a:pt x="1626" y="320"/>
                  </a:cubicBezTo>
                  <a:close/>
                  <a:moveTo>
                    <a:pt x="4026" y="1344"/>
                  </a:moveTo>
                  <a:cubicBezTo>
                    <a:pt x="4025" y="1344"/>
                    <a:pt x="4025" y="1344"/>
                    <a:pt x="4025" y="1344"/>
                  </a:cubicBezTo>
                  <a:cubicBezTo>
                    <a:pt x="4007" y="1324"/>
                    <a:pt x="3984" y="1312"/>
                    <a:pt x="3957" y="1312"/>
                  </a:cubicBezTo>
                  <a:cubicBezTo>
                    <a:pt x="3897" y="1312"/>
                    <a:pt x="3857" y="1354"/>
                    <a:pt x="3857" y="1412"/>
                  </a:cubicBezTo>
                  <a:cubicBezTo>
                    <a:pt x="3857" y="1469"/>
                    <a:pt x="3898" y="1512"/>
                    <a:pt x="3952" y="1512"/>
                  </a:cubicBezTo>
                  <a:cubicBezTo>
                    <a:pt x="3986" y="1512"/>
                    <a:pt x="4013" y="1495"/>
                    <a:pt x="4025" y="1473"/>
                  </a:cubicBezTo>
                  <a:cubicBezTo>
                    <a:pt x="4026" y="1473"/>
                    <a:pt x="4026" y="1473"/>
                    <a:pt x="4026" y="1473"/>
                  </a:cubicBezTo>
                  <a:cubicBezTo>
                    <a:pt x="4026" y="1507"/>
                    <a:pt x="4026" y="1507"/>
                    <a:pt x="4026" y="1507"/>
                  </a:cubicBezTo>
                  <a:cubicBezTo>
                    <a:pt x="4057" y="1507"/>
                    <a:pt x="4057" y="1507"/>
                    <a:pt x="4057" y="1507"/>
                  </a:cubicBezTo>
                  <a:cubicBezTo>
                    <a:pt x="4057" y="1200"/>
                    <a:pt x="4057" y="1200"/>
                    <a:pt x="4057" y="1200"/>
                  </a:cubicBezTo>
                  <a:cubicBezTo>
                    <a:pt x="4026" y="1200"/>
                    <a:pt x="4026" y="1200"/>
                    <a:pt x="4026" y="1200"/>
                  </a:cubicBezTo>
                  <a:lnTo>
                    <a:pt x="4026" y="1344"/>
                  </a:lnTo>
                  <a:close/>
                  <a:moveTo>
                    <a:pt x="3958" y="1482"/>
                  </a:moveTo>
                  <a:cubicBezTo>
                    <a:pt x="3917" y="1482"/>
                    <a:pt x="3891" y="1452"/>
                    <a:pt x="3891" y="1412"/>
                  </a:cubicBezTo>
                  <a:cubicBezTo>
                    <a:pt x="3891" y="1372"/>
                    <a:pt x="3917" y="1341"/>
                    <a:pt x="3958" y="1341"/>
                  </a:cubicBezTo>
                  <a:cubicBezTo>
                    <a:pt x="3999" y="1341"/>
                    <a:pt x="4026" y="1372"/>
                    <a:pt x="4026" y="1412"/>
                  </a:cubicBezTo>
                  <a:cubicBezTo>
                    <a:pt x="4026" y="1452"/>
                    <a:pt x="3999" y="1482"/>
                    <a:pt x="3958" y="1482"/>
                  </a:cubicBezTo>
                  <a:close/>
                  <a:moveTo>
                    <a:pt x="4193" y="1312"/>
                  </a:moveTo>
                  <a:cubicBezTo>
                    <a:pt x="4137" y="1312"/>
                    <a:pt x="4095" y="1353"/>
                    <a:pt x="4095" y="1412"/>
                  </a:cubicBezTo>
                  <a:cubicBezTo>
                    <a:pt x="4095" y="1467"/>
                    <a:pt x="4132" y="1512"/>
                    <a:pt x="4192" y="1512"/>
                  </a:cubicBezTo>
                  <a:cubicBezTo>
                    <a:pt x="4227" y="1512"/>
                    <a:pt x="4254" y="1501"/>
                    <a:pt x="4276" y="1472"/>
                  </a:cubicBezTo>
                  <a:cubicBezTo>
                    <a:pt x="4252" y="1454"/>
                    <a:pt x="4252" y="1454"/>
                    <a:pt x="4252" y="1454"/>
                  </a:cubicBezTo>
                  <a:cubicBezTo>
                    <a:pt x="4237" y="1473"/>
                    <a:pt x="4219" y="1482"/>
                    <a:pt x="4192" y="1482"/>
                  </a:cubicBezTo>
                  <a:cubicBezTo>
                    <a:pt x="4157" y="1482"/>
                    <a:pt x="4132" y="1454"/>
                    <a:pt x="4129" y="1421"/>
                  </a:cubicBezTo>
                  <a:cubicBezTo>
                    <a:pt x="4283" y="1421"/>
                    <a:pt x="4283" y="1421"/>
                    <a:pt x="4283" y="1421"/>
                  </a:cubicBezTo>
                  <a:cubicBezTo>
                    <a:pt x="4283" y="1411"/>
                    <a:pt x="4283" y="1411"/>
                    <a:pt x="4283" y="1411"/>
                  </a:cubicBezTo>
                  <a:cubicBezTo>
                    <a:pt x="4283" y="1348"/>
                    <a:pt x="4246" y="1312"/>
                    <a:pt x="4193" y="1312"/>
                  </a:cubicBezTo>
                  <a:close/>
                  <a:moveTo>
                    <a:pt x="4129" y="1395"/>
                  </a:moveTo>
                  <a:cubicBezTo>
                    <a:pt x="4133" y="1363"/>
                    <a:pt x="4157" y="1341"/>
                    <a:pt x="4192" y="1341"/>
                  </a:cubicBezTo>
                  <a:cubicBezTo>
                    <a:pt x="4227" y="1341"/>
                    <a:pt x="4248" y="1363"/>
                    <a:pt x="4249" y="1395"/>
                  </a:cubicBezTo>
                  <a:lnTo>
                    <a:pt x="4129" y="1395"/>
                  </a:lnTo>
                  <a:close/>
                  <a:moveTo>
                    <a:pt x="4459" y="1317"/>
                  </a:moveTo>
                  <a:cubicBezTo>
                    <a:pt x="4493" y="1317"/>
                    <a:pt x="4493" y="1317"/>
                    <a:pt x="4493" y="1317"/>
                  </a:cubicBezTo>
                  <a:cubicBezTo>
                    <a:pt x="4418" y="1507"/>
                    <a:pt x="4418" y="1507"/>
                    <a:pt x="4418" y="1507"/>
                  </a:cubicBezTo>
                  <a:cubicBezTo>
                    <a:pt x="4383" y="1507"/>
                    <a:pt x="4383" y="1507"/>
                    <a:pt x="4383" y="1507"/>
                  </a:cubicBezTo>
                  <a:cubicBezTo>
                    <a:pt x="4305" y="1317"/>
                    <a:pt x="4305" y="1317"/>
                    <a:pt x="4305" y="1317"/>
                  </a:cubicBezTo>
                  <a:cubicBezTo>
                    <a:pt x="4342" y="1317"/>
                    <a:pt x="4342" y="1317"/>
                    <a:pt x="4342" y="1317"/>
                  </a:cubicBezTo>
                  <a:cubicBezTo>
                    <a:pt x="4401" y="1466"/>
                    <a:pt x="4401" y="1466"/>
                    <a:pt x="4401" y="1466"/>
                  </a:cubicBezTo>
                  <a:cubicBezTo>
                    <a:pt x="4402" y="1466"/>
                    <a:pt x="4402" y="1466"/>
                    <a:pt x="4402" y="1466"/>
                  </a:cubicBezTo>
                  <a:lnTo>
                    <a:pt x="4459" y="1317"/>
                  </a:lnTo>
                  <a:close/>
                  <a:moveTo>
                    <a:pt x="4611" y="1312"/>
                  </a:moveTo>
                  <a:cubicBezTo>
                    <a:pt x="4555" y="1312"/>
                    <a:pt x="4514" y="1353"/>
                    <a:pt x="4514" y="1412"/>
                  </a:cubicBezTo>
                  <a:cubicBezTo>
                    <a:pt x="4514" y="1467"/>
                    <a:pt x="4550" y="1512"/>
                    <a:pt x="4610" y="1512"/>
                  </a:cubicBezTo>
                  <a:cubicBezTo>
                    <a:pt x="4645" y="1512"/>
                    <a:pt x="4672" y="1501"/>
                    <a:pt x="4695" y="1472"/>
                  </a:cubicBezTo>
                  <a:cubicBezTo>
                    <a:pt x="4671" y="1454"/>
                    <a:pt x="4671" y="1454"/>
                    <a:pt x="4671" y="1454"/>
                  </a:cubicBezTo>
                  <a:cubicBezTo>
                    <a:pt x="4656" y="1473"/>
                    <a:pt x="4637" y="1482"/>
                    <a:pt x="4610" y="1482"/>
                  </a:cubicBezTo>
                  <a:cubicBezTo>
                    <a:pt x="4576" y="1482"/>
                    <a:pt x="4550" y="1454"/>
                    <a:pt x="4548" y="1421"/>
                  </a:cubicBezTo>
                  <a:cubicBezTo>
                    <a:pt x="4702" y="1421"/>
                    <a:pt x="4702" y="1421"/>
                    <a:pt x="4702" y="1421"/>
                  </a:cubicBezTo>
                  <a:cubicBezTo>
                    <a:pt x="4702" y="1411"/>
                    <a:pt x="4702" y="1411"/>
                    <a:pt x="4702" y="1411"/>
                  </a:cubicBezTo>
                  <a:cubicBezTo>
                    <a:pt x="4702" y="1348"/>
                    <a:pt x="4665" y="1312"/>
                    <a:pt x="4611" y="1312"/>
                  </a:cubicBezTo>
                  <a:close/>
                  <a:moveTo>
                    <a:pt x="4548" y="1395"/>
                  </a:moveTo>
                  <a:cubicBezTo>
                    <a:pt x="4552" y="1363"/>
                    <a:pt x="4575" y="1341"/>
                    <a:pt x="4610" y="1341"/>
                  </a:cubicBezTo>
                  <a:cubicBezTo>
                    <a:pt x="4645" y="1341"/>
                    <a:pt x="4666" y="1363"/>
                    <a:pt x="4667" y="1395"/>
                  </a:cubicBezTo>
                  <a:lnTo>
                    <a:pt x="4548" y="1395"/>
                  </a:lnTo>
                  <a:close/>
                  <a:moveTo>
                    <a:pt x="4754" y="1200"/>
                  </a:moveTo>
                  <a:cubicBezTo>
                    <a:pt x="4786" y="1200"/>
                    <a:pt x="4786" y="1200"/>
                    <a:pt x="4786" y="1200"/>
                  </a:cubicBezTo>
                  <a:cubicBezTo>
                    <a:pt x="4786" y="1507"/>
                    <a:pt x="4786" y="1507"/>
                    <a:pt x="4786" y="1507"/>
                  </a:cubicBezTo>
                  <a:cubicBezTo>
                    <a:pt x="4754" y="1507"/>
                    <a:pt x="4754" y="1507"/>
                    <a:pt x="4754" y="1507"/>
                  </a:cubicBezTo>
                  <a:lnTo>
                    <a:pt x="4754" y="1200"/>
                  </a:lnTo>
                  <a:close/>
                  <a:moveTo>
                    <a:pt x="4934" y="1312"/>
                  </a:moveTo>
                  <a:cubicBezTo>
                    <a:pt x="4876" y="1312"/>
                    <a:pt x="4833" y="1352"/>
                    <a:pt x="4833" y="1412"/>
                  </a:cubicBezTo>
                  <a:cubicBezTo>
                    <a:pt x="4833" y="1471"/>
                    <a:pt x="4876" y="1512"/>
                    <a:pt x="4934" y="1512"/>
                  </a:cubicBezTo>
                  <a:cubicBezTo>
                    <a:pt x="4993" y="1512"/>
                    <a:pt x="5036" y="1471"/>
                    <a:pt x="5036" y="1412"/>
                  </a:cubicBezTo>
                  <a:cubicBezTo>
                    <a:pt x="5036" y="1352"/>
                    <a:pt x="4993" y="1312"/>
                    <a:pt x="4934" y="1312"/>
                  </a:cubicBezTo>
                  <a:close/>
                  <a:moveTo>
                    <a:pt x="4934" y="1482"/>
                  </a:moveTo>
                  <a:cubicBezTo>
                    <a:pt x="4893" y="1482"/>
                    <a:pt x="4867" y="1452"/>
                    <a:pt x="4867" y="1412"/>
                  </a:cubicBezTo>
                  <a:cubicBezTo>
                    <a:pt x="4867" y="1372"/>
                    <a:pt x="4893" y="1341"/>
                    <a:pt x="4934" y="1341"/>
                  </a:cubicBezTo>
                  <a:cubicBezTo>
                    <a:pt x="4975" y="1341"/>
                    <a:pt x="5002" y="1372"/>
                    <a:pt x="5002" y="1412"/>
                  </a:cubicBezTo>
                  <a:cubicBezTo>
                    <a:pt x="5002" y="1452"/>
                    <a:pt x="4975" y="1482"/>
                    <a:pt x="4934" y="1482"/>
                  </a:cubicBezTo>
                  <a:close/>
                  <a:moveTo>
                    <a:pt x="5182" y="1312"/>
                  </a:moveTo>
                  <a:cubicBezTo>
                    <a:pt x="5154" y="1312"/>
                    <a:pt x="5131" y="1324"/>
                    <a:pt x="5113" y="1344"/>
                  </a:cubicBezTo>
                  <a:cubicBezTo>
                    <a:pt x="5113" y="1344"/>
                    <a:pt x="5113" y="1344"/>
                    <a:pt x="5113" y="1344"/>
                  </a:cubicBezTo>
                  <a:cubicBezTo>
                    <a:pt x="5113" y="1317"/>
                    <a:pt x="5113" y="1317"/>
                    <a:pt x="5113" y="1317"/>
                  </a:cubicBezTo>
                  <a:cubicBezTo>
                    <a:pt x="5081" y="1317"/>
                    <a:pt x="5081" y="1317"/>
                    <a:pt x="5081" y="1317"/>
                  </a:cubicBezTo>
                  <a:cubicBezTo>
                    <a:pt x="5081" y="1600"/>
                    <a:pt x="5081" y="1600"/>
                    <a:pt x="5081" y="1600"/>
                  </a:cubicBezTo>
                  <a:cubicBezTo>
                    <a:pt x="5113" y="1600"/>
                    <a:pt x="5113" y="1600"/>
                    <a:pt x="5113" y="1600"/>
                  </a:cubicBezTo>
                  <a:cubicBezTo>
                    <a:pt x="5113" y="1473"/>
                    <a:pt x="5113" y="1473"/>
                    <a:pt x="5113" y="1473"/>
                  </a:cubicBezTo>
                  <a:cubicBezTo>
                    <a:pt x="5113" y="1473"/>
                    <a:pt x="5113" y="1473"/>
                    <a:pt x="5113" y="1473"/>
                  </a:cubicBezTo>
                  <a:cubicBezTo>
                    <a:pt x="5125" y="1495"/>
                    <a:pt x="5152" y="1512"/>
                    <a:pt x="5186" y="1512"/>
                  </a:cubicBezTo>
                  <a:cubicBezTo>
                    <a:pt x="5240" y="1512"/>
                    <a:pt x="5282" y="1469"/>
                    <a:pt x="5282" y="1412"/>
                  </a:cubicBezTo>
                  <a:cubicBezTo>
                    <a:pt x="5282" y="1354"/>
                    <a:pt x="5241" y="1312"/>
                    <a:pt x="5182" y="1312"/>
                  </a:cubicBezTo>
                  <a:close/>
                  <a:moveTo>
                    <a:pt x="5180" y="1482"/>
                  </a:moveTo>
                  <a:cubicBezTo>
                    <a:pt x="5139" y="1482"/>
                    <a:pt x="5113" y="1452"/>
                    <a:pt x="5113" y="1412"/>
                  </a:cubicBezTo>
                  <a:cubicBezTo>
                    <a:pt x="5113" y="1372"/>
                    <a:pt x="5139" y="1341"/>
                    <a:pt x="5180" y="1341"/>
                  </a:cubicBezTo>
                  <a:cubicBezTo>
                    <a:pt x="5221" y="1341"/>
                    <a:pt x="5247" y="1372"/>
                    <a:pt x="5247" y="1412"/>
                  </a:cubicBezTo>
                  <a:cubicBezTo>
                    <a:pt x="5247" y="1452"/>
                    <a:pt x="5221" y="1482"/>
                    <a:pt x="5180" y="1482"/>
                  </a:cubicBezTo>
                  <a:close/>
                  <a:moveTo>
                    <a:pt x="5613" y="1391"/>
                  </a:moveTo>
                  <a:cubicBezTo>
                    <a:pt x="5613" y="1507"/>
                    <a:pt x="5613" y="1507"/>
                    <a:pt x="5613" y="1507"/>
                  </a:cubicBezTo>
                  <a:cubicBezTo>
                    <a:pt x="5581" y="1507"/>
                    <a:pt x="5581" y="1507"/>
                    <a:pt x="5581" y="1507"/>
                  </a:cubicBezTo>
                  <a:cubicBezTo>
                    <a:pt x="5581" y="1393"/>
                    <a:pt x="5581" y="1393"/>
                    <a:pt x="5581" y="1393"/>
                  </a:cubicBezTo>
                  <a:cubicBezTo>
                    <a:pt x="5581" y="1367"/>
                    <a:pt x="5572" y="1341"/>
                    <a:pt x="5535" y="1341"/>
                  </a:cubicBezTo>
                  <a:cubicBezTo>
                    <a:pt x="5508" y="1341"/>
                    <a:pt x="5486" y="1363"/>
                    <a:pt x="5486" y="1397"/>
                  </a:cubicBezTo>
                  <a:cubicBezTo>
                    <a:pt x="5486" y="1507"/>
                    <a:pt x="5486" y="1507"/>
                    <a:pt x="5486" y="1507"/>
                  </a:cubicBezTo>
                  <a:cubicBezTo>
                    <a:pt x="5454" y="1507"/>
                    <a:pt x="5454" y="1507"/>
                    <a:pt x="5454" y="1507"/>
                  </a:cubicBezTo>
                  <a:cubicBezTo>
                    <a:pt x="5454" y="1399"/>
                    <a:pt x="5454" y="1399"/>
                    <a:pt x="5454" y="1399"/>
                  </a:cubicBezTo>
                  <a:cubicBezTo>
                    <a:pt x="5454" y="1357"/>
                    <a:pt x="5443" y="1341"/>
                    <a:pt x="5417" y="1341"/>
                  </a:cubicBezTo>
                  <a:cubicBezTo>
                    <a:pt x="5376" y="1341"/>
                    <a:pt x="5358" y="1371"/>
                    <a:pt x="5358" y="1414"/>
                  </a:cubicBezTo>
                  <a:cubicBezTo>
                    <a:pt x="5358" y="1507"/>
                    <a:pt x="5358" y="1507"/>
                    <a:pt x="5358" y="1507"/>
                  </a:cubicBezTo>
                  <a:cubicBezTo>
                    <a:pt x="5327" y="1507"/>
                    <a:pt x="5327" y="1507"/>
                    <a:pt x="5327" y="1507"/>
                  </a:cubicBezTo>
                  <a:cubicBezTo>
                    <a:pt x="5327" y="1362"/>
                    <a:pt x="5327" y="1362"/>
                    <a:pt x="5327" y="1362"/>
                  </a:cubicBezTo>
                  <a:cubicBezTo>
                    <a:pt x="5327" y="1344"/>
                    <a:pt x="5325" y="1329"/>
                    <a:pt x="5325" y="1317"/>
                  </a:cubicBezTo>
                  <a:cubicBezTo>
                    <a:pt x="5355" y="1317"/>
                    <a:pt x="5355" y="1317"/>
                    <a:pt x="5355" y="1317"/>
                  </a:cubicBezTo>
                  <a:cubicBezTo>
                    <a:pt x="5355" y="1327"/>
                    <a:pt x="5356" y="1337"/>
                    <a:pt x="5356" y="1348"/>
                  </a:cubicBezTo>
                  <a:cubicBezTo>
                    <a:pt x="5357" y="1348"/>
                    <a:pt x="5357" y="1348"/>
                    <a:pt x="5357" y="1348"/>
                  </a:cubicBezTo>
                  <a:cubicBezTo>
                    <a:pt x="5365" y="1329"/>
                    <a:pt x="5389" y="1312"/>
                    <a:pt x="5420" y="1312"/>
                  </a:cubicBezTo>
                  <a:cubicBezTo>
                    <a:pt x="5461" y="1312"/>
                    <a:pt x="5474" y="1335"/>
                    <a:pt x="5480" y="1348"/>
                  </a:cubicBezTo>
                  <a:cubicBezTo>
                    <a:pt x="5494" y="1326"/>
                    <a:pt x="5512" y="1312"/>
                    <a:pt x="5540" y="1312"/>
                  </a:cubicBezTo>
                  <a:cubicBezTo>
                    <a:pt x="5595" y="1312"/>
                    <a:pt x="5613" y="1342"/>
                    <a:pt x="5613" y="1391"/>
                  </a:cubicBezTo>
                  <a:close/>
                  <a:moveTo>
                    <a:pt x="5756" y="1312"/>
                  </a:moveTo>
                  <a:cubicBezTo>
                    <a:pt x="5700" y="1312"/>
                    <a:pt x="5658" y="1353"/>
                    <a:pt x="5658" y="1412"/>
                  </a:cubicBezTo>
                  <a:cubicBezTo>
                    <a:pt x="5658" y="1467"/>
                    <a:pt x="5695" y="1512"/>
                    <a:pt x="5754" y="1512"/>
                  </a:cubicBezTo>
                  <a:cubicBezTo>
                    <a:pt x="5790" y="1512"/>
                    <a:pt x="5817" y="1501"/>
                    <a:pt x="5839" y="1472"/>
                  </a:cubicBezTo>
                  <a:cubicBezTo>
                    <a:pt x="5815" y="1454"/>
                    <a:pt x="5815" y="1454"/>
                    <a:pt x="5815" y="1454"/>
                  </a:cubicBezTo>
                  <a:cubicBezTo>
                    <a:pt x="5800" y="1473"/>
                    <a:pt x="5782" y="1482"/>
                    <a:pt x="5754" y="1482"/>
                  </a:cubicBezTo>
                  <a:cubicBezTo>
                    <a:pt x="5720" y="1482"/>
                    <a:pt x="5695" y="1454"/>
                    <a:pt x="5692" y="1421"/>
                  </a:cubicBezTo>
                  <a:cubicBezTo>
                    <a:pt x="5846" y="1421"/>
                    <a:pt x="5846" y="1421"/>
                    <a:pt x="5846" y="1421"/>
                  </a:cubicBezTo>
                  <a:cubicBezTo>
                    <a:pt x="5846" y="1411"/>
                    <a:pt x="5846" y="1411"/>
                    <a:pt x="5846" y="1411"/>
                  </a:cubicBezTo>
                  <a:cubicBezTo>
                    <a:pt x="5846" y="1348"/>
                    <a:pt x="5809" y="1312"/>
                    <a:pt x="5756" y="1312"/>
                  </a:cubicBezTo>
                  <a:close/>
                  <a:moveTo>
                    <a:pt x="5692" y="1395"/>
                  </a:moveTo>
                  <a:cubicBezTo>
                    <a:pt x="5696" y="1363"/>
                    <a:pt x="5720" y="1341"/>
                    <a:pt x="5754" y="1341"/>
                  </a:cubicBezTo>
                  <a:cubicBezTo>
                    <a:pt x="5789" y="1341"/>
                    <a:pt x="5811" y="1363"/>
                    <a:pt x="5812" y="1395"/>
                  </a:cubicBezTo>
                  <a:lnTo>
                    <a:pt x="5692" y="1395"/>
                  </a:lnTo>
                  <a:close/>
                  <a:moveTo>
                    <a:pt x="6057" y="1389"/>
                  </a:moveTo>
                  <a:cubicBezTo>
                    <a:pt x="6057" y="1507"/>
                    <a:pt x="6057" y="1507"/>
                    <a:pt x="6057" y="1507"/>
                  </a:cubicBezTo>
                  <a:cubicBezTo>
                    <a:pt x="6025" y="1507"/>
                    <a:pt x="6025" y="1507"/>
                    <a:pt x="6025" y="1507"/>
                  </a:cubicBezTo>
                  <a:cubicBezTo>
                    <a:pt x="6025" y="1393"/>
                    <a:pt x="6025" y="1393"/>
                    <a:pt x="6025" y="1393"/>
                  </a:cubicBezTo>
                  <a:cubicBezTo>
                    <a:pt x="6025" y="1361"/>
                    <a:pt x="6011" y="1341"/>
                    <a:pt x="5982" y="1341"/>
                  </a:cubicBezTo>
                  <a:cubicBezTo>
                    <a:pt x="5941" y="1341"/>
                    <a:pt x="5923" y="1371"/>
                    <a:pt x="5923" y="1414"/>
                  </a:cubicBezTo>
                  <a:cubicBezTo>
                    <a:pt x="5923" y="1507"/>
                    <a:pt x="5923" y="1507"/>
                    <a:pt x="5923" y="1507"/>
                  </a:cubicBezTo>
                  <a:cubicBezTo>
                    <a:pt x="5891" y="1507"/>
                    <a:pt x="5891" y="1507"/>
                    <a:pt x="5891" y="1507"/>
                  </a:cubicBezTo>
                  <a:cubicBezTo>
                    <a:pt x="5891" y="1362"/>
                    <a:pt x="5891" y="1362"/>
                    <a:pt x="5891" y="1362"/>
                  </a:cubicBezTo>
                  <a:cubicBezTo>
                    <a:pt x="5891" y="1344"/>
                    <a:pt x="5889" y="1329"/>
                    <a:pt x="5889" y="1317"/>
                  </a:cubicBezTo>
                  <a:cubicBezTo>
                    <a:pt x="5919" y="1317"/>
                    <a:pt x="5919" y="1317"/>
                    <a:pt x="5919" y="1317"/>
                  </a:cubicBezTo>
                  <a:cubicBezTo>
                    <a:pt x="5919" y="1327"/>
                    <a:pt x="5920" y="1337"/>
                    <a:pt x="5920" y="1348"/>
                  </a:cubicBezTo>
                  <a:cubicBezTo>
                    <a:pt x="5921" y="1348"/>
                    <a:pt x="5921" y="1348"/>
                    <a:pt x="5921" y="1348"/>
                  </a:cubicBezTo>
                  <a:cubicBezTo>
                    <a:pt x="5930" y="1329"/>
                    <a:pt x="5953" y="1312"/>
                    <a:pt x="5984" y="1312"/>
                  </a:cubicBezTo>
                  <a:cubicBezTo>
                    <a:pt x="6034" y="1312"/>
                    <a:pt x="6057" y="1343"/>
                    <a:pt x="6057" y="1389"/>
                  </a:cubicBezTo>
                  <a:close/>
                  <a:moveTo>
                    <a:pt x="6217" y="1505"/>
                  </a:moveTo>
                  <a:cubicBezTo>
                    <a:pt x="6206" y="1510"/>
                    <a:pt x="6192" y="1512"/>
                    <a:pt x="6180" y="1512"/>
                  </a:cubicBezTo>
                  <a:cubicBezTo>
                    <a:pt x="6135" y="1512"/>
                    <a:pt x="6128" y="1487"/>
                    <a:pt x="6128" y="1448"/>
                  </a:cubicBezTo>
                  <a:cubicBezTo>
                    <a:pt x="6128" y="1343"/>
                    <a:pt x="6128" y="1343"/>
                    <a:pt x="6128" y="1343"/>
                  </a:cubicBezTo>
                  <a:cubicBezTo>
                    <a:pt x="6086" y="1343"/>
                    <a:pt x="6086" y="1343"/>
                    <a:pt x="6086" y="1343"/>
                  </a:cubicBezTo>
                  <a:cubicBezTo>
                    <a:pt x="6086" y="1317"/>
                    <a:pt x="6086" y="1317"/>
                    <a:pt x="6086" y="1317"/>
                  </a:cubicBezTo>
                  <a:cubicBezTo>
                    <a:pt x="6128" y="1317"/>
                    <a:pt x="6128" y="1317"/>
                    <a:pt x="6128" y="1317"/>
                  </a:cubicBezTo>
                  <a:cubicBezTo>
                    <a:pt x="6128" y="1263"/>
                    <a:pt x="6128" y="1263"/>
                    <a:pt x="6128" y="1263"/>
                  </a:cubicBezTo>
                  <a:cubicBezTo>
                    <a:pt x="6159" y="1263"/>
                    <a:pt x="6159" y="1263"/>
                    <a:pt x="6159" y="1263"/>
                  </a:cubicBezTo>
                  <a:cubicBezTo>
                    <a:pt x="6159" y="1317"/>
                    <a:pt x="6159" y="1317"/>
                    <a:pt x="6159" y="1317"/>
                  </a:cubicBezTo>
                  <a:cubicBezTo>
                    <a:pt x="6215" y="1317"/>
                    <a:pt x="6215" y="1317"/>
                    <a:pt x="6215" y="1317"/>
                  </a:cubicBezTo>
                  <a:cubicBezTo>
                    <a:pt x="6215" y="1343"/>
                    <a:pt x="6215" y="1343"/>
                    <a:pt x="6215" y="1343"/>
                  </a:cubicBezTo>
                  <a:cubicBezTo>
                    <a:pt x="6159" y="1343"/>
                    <a:pt x="6159" y="1343"/>
                    <a:pt x="6159" y="1343"/>
                  </a:cubicBezTo>
                  <a:cubicBezTo>
                    <a:pt x="6159" y="1439"/>
                    <a:pt x="6159" y="1439"/>
                    <a:pt x="6159" y="1439"/>
                  </a:cubicBezTo>
                  <a:cubicBezTo>
                    <a:pt x="6159" y="1463"/>
                    <a:pt x="6160" y="1482"/>
                    <a:pt x="6188" y="1482"/>
                  </a:cubicBezTo>
                  <a:cubicBezTo>
                    <a:pt x="6197" y="1482"/>
                    <a:pt x="6207" y="1480"/>
                    <a:pt x="6216" y="1476"/>
                  </a:cubicBezTo>
                  <a:lnTo>
                    <a:pt x="6217" y="1505"/>
                  </a:lnTo>
                  <a:close/>
                  <a:moveTo>
                    <a:pt x="2242" y="1312"/>
                  </a:moveTo>
                  <a:cubicBezTo>
                    <a:pt x="2215" y="1312"/>
                    <a:pt x="2191" y="1324"/>
                    <a:pt x="2174" y="1344"/>
                  </a:cubicBezTo>
                  <a:cubicBezTo>
                    <a:pt x="2173" y="1344"/>
                    <a:pt x="2173" y="1344"/>
                    <a:pt x="2173" y="1344"/>
                  </a:cubicBezTo>
                  <a:cubicBezTo>
                    <a:pt x="2173" y="1317"/>
                    <a:pt x="2173" y="1317"/>
                    <a:pt x="2173" y="1317"/>
                  </a:cubicBezTo>
                  <a:cubicBezTo>
                    <a:pt x="2141" y="1317"/>
                    <a:pt x="2141" y="1317"/>
                    <a:pt x="2141" y="1317"/>
                  </a:cubicBezTo>
                  <a:cubicBezTo>
                    <a:pt x="2141" y="1600"/>
                    <a:pt x="2141" y="1600"/>
                    <a:pt x="2141" y="1600"/>
                  </a:cubicBezTo>
                  <a:cubicBezTo>
                    <a:pt x="2173" y="1600"/>
                    <a:pt x="2173" y="1600"/>
                    <a:pt x="2173" y="1600"/>
                  </a:cubicBezTo>
                  <a:cubicBezTo>
                    <a:pt x="2173" y="1473"/>
                    <a:pt x="2173" y="1473"/>
                    <a:pt x="2173" y="1473"/>
                  </a:cubicBezTo>
                  <a:cubicBezTo>
                    <a:pt x="2174" y="1473"/>
                    <a:pt x="2174" y="1473"/>
                    <a:pt x="2174" y="1473"/>
                  </a:cubicBezTo>
                  <a:cubicBezTo>
                    <a:pt x="2186" y="1495"/>
                    <a:pt x="2213" y="1512"/>
                    <a:pt x="2247" y="1512"/>
                  </a:cubicBezTo>
                  <a:cubicBezTo>
                    <a:pt x="2300" y="1512"/>
                    <a:pt x="2342" y="1469"/>
                    <a:pt x="2342" y="1412"/>
                  </a:cubicBezTo>
                  <a:cubicBezTo>
                    <a:pt x="2342" y="1354"/>
                    <a:pt x="2302" y="1312"/>
                    <a:pt x="2242" y="1312"/>
                  </a:cubicBezTo>
                  <a:close/>
                  <a:moveTo>
                    <a:pt x="2241" y="1482"/>
                  </a:moveTo>
                  <a:cubicBezTo>
                    <a:pt x="2200" y="1482"/>
                    <a:pt x="2173" y="1452"/>
                    <a:pt x="2173" y="1412"/>
                  </a:cubicBezTo>
                  <a:cubicBezTo>
                    <a:pt x="2173" y="1372"/>
                    <a:pt x="2200" y="1341"/>
                    <a:pt x="2241" y="1341"/>
                  </a:cubicBezTo>
                  <a:cubicBezTo>
                    <a:pt x="2282" y="1341"/>
                    <a:pt x="2308" y="1372"/>
                    <a:pt x="2308" y="1412"/>
                  </a:cubicBezTo>
                  <a:cubicBezTo>
                    <a:pt x="2308" y="1452"/>
                    <a:pt x="2282" y="1482"/>
                    <a:pt x="2241" y="1482"/>
                  </a:cubicBezTo>
                  <a:close/>
                  <a:moveTo>
                    <a:pt x="2478" y="1312"/>
                  </a:moveTo>
                  <a:cubicBezTo>
                    <a:pt x="2482" y="1312"/>
                    <a:pt x="2487" y="1312"/>
                    <a:pt x="2491" y="1314"/>
                  </a:cubicBezTo>
                  <a:cubicBezTo>
                    <a:pt x="2489" y="1346"/>
                    <a:pt x="2489" y="1346"/>
                    <a:pt x="2489" y="1346"/>
                  </a:cubicBezTo>
                  <a:cubicBezTo>
                    <a:pt x="2484" y="1344"/>
                    <a:pt x="2478" y="1343"/>
                    <a:pt x="2472" y="1343"/>
                  </a:cubicBezTo>
                  <a:cubicBezTo>
                    <a:pt x="2433" y="1343"/>
                    <a:pt x="2416" y="1371"/>
                    <a:pt x="2416" y="1414"/>
                  </a:cubicBezTo>
                  <a:cubicBezTo>
                    <a:pt x="2416" y="1507"/>
                    <a:pt x="2416" y="1507"/>
                    <a:pt x="2416" y="1507"/>
                  </a:cubicBezTo>
                  <a:cubicBezTo>
                    <a:pt x="2385" y="1507"/>
                    <a:pt x="2385" y="1507"/>
                    <a:pt x="2385" y="1507"/>
                  </a:cubicBezTo>
                  <a:cubicBezTo>
                    <a:pt x="2385" y="1362"/>
                    <a:pt x="2385" y="1362"/>
                    <a:pt x="2385" y="1362"/>
                  </a:cubicBezTo>
                  <a:cubicBezTo>
                    <a:pt x="2385" y="1344"/>
                    <a:pt x="2383" y="1329"/>
                    <a:pt x="2383" y="1317"/>
                  </a:cubicBezTo>
                  <a:cubicBezTo>
                    <a:pt x="2413" y="1317"/>
                    <a:pt x="2413" y="1317"/>
                    <a:pt x="2413" y="1317"/>
                  </a:cubicBezTo>
                  <a:cubicBezTo>
                    <a:pt x="2413" y="1327"/>
                    <a:pt x="2414" y="1337"/>
                    <a:pt x="2414" y="1348"/>
                  </a:cubicBezTo>
                  <a:cubicBezTo>
                    <a:pt x="2415" y="1348"/>
                    <a:pt x="2415" y="1348"/>
                    <a:pt x="2415" y="1348"/>
                  </a:cubicBezTo>
                  <a:cubicBezTo>
                    <a:pt x="2423" y="1329"/>
                    <a:pt x="2447" y="1312"/>
                    <a:pt x="2478" y="1312"/>
                  </a:cubicBezTo>
                  <a:close/>
                  <a:moveTo>
                    <a:pt x="2606" y="1312"/>
                  </a:moveTo>
                  <a:cubicBezTo>
                    <a:pt x="2547" y="1312"/>
                    <a:pt x="2504" y="1352"/>
                    <a:pt x="2504" y="1412"/>
                  </a:cubicBezTo>
                  <a:cubicBezTo>
                    <a:pt x="2504" y="1471"/>
                    <a:pt x="2547" y="1512"/>
                    <a:pt x="2606" y="1512"/>
                  </a:cubicBezTo>
                  <a:cubicBezTo>
                    <a:pt x="2664" y="1512"/>
                    <a:pt x="2707" y="1471"/>
                    <a:pt x="2707" y="1412"/>
                  </a:cubicBezTo>
                  <a:cubicBezTo>
                    <a:pt x="2707" y="1352"/>
                    <a:pt x="2664" y="1312"/>
                    <a:pt x="2606" y="1312"/>
                  </a:cubicBezTo>
                  <a:close/>
                  <a:moveTo>
                    <a:pt x="2606" y="1482"/>
                  </a:moveTo>
                  <a:cubicBezTo>
                    <a:pt x="2565" y="1482"/>
                    <a:pt x="2538" y="1452"/>
                    <a:pt x="2538" y="1412"/>
                  </a:cubicBezTo>
                  <a:cubicBezTo>
                    <a:pt x="2538" y="1372"/>
                    <a:pt x="2565" y="1341"/>
                    <a:pt x="2606" y="1341"/>
                  </a:cubicBezTo>
                  <a:cubicBezTo>
                    <a:pt x="2647" y="1341"/>
                    <a:pt x="2673" y="1372"/>
                    <a:pt x="2673" y="1412"/>
                  </a:cubicBezTo>
                  <a:cubicBezTo>
                    <a:pt x="2673" y="1452"/>
                    <a:pt x="2647" y="1482"/>
                    <a:pt x="2606" y="1482"/>
                  </a:cubicBezTo>
                  <a:close/>
                  <a:moveTo>
                    <a:pt x="2853" y="1312"/>
                  </a:moveTo>
                  <a:cubicBezTo>
                    <a:pt x="2825" y="1312"/>
                    <a:pt x="2802" y="1324"/>
                    <a:pt x="2785" y="1344"/>
                  </a:cubicBezTo>
                  <a:cubicBezTo>
                    <a:pt x="2784" y="1344"/>
                    <a:pt x="2784" y="1344"/>
                    <a:pt x="2784" y="1344"/>
                  </a:cubicBezTo>
                  <a:cubicBezTo>
                    <a:pt x="2784" y="1317"/>
                    <a:pt x="2784" y="1317"/>
                    <a:pt x="2784" y="1317"/>
                  </a:cubicBezTo>
                  <a:cubicBezTo>
                    <a:pt x="2752" y="1317"/>
                    <a:pt x="2752" y="1317"/>
                    <a:pt x="2752" y="1317"/>
                  </a:cubicBezTo>
                  <a:cubicBezTo>
                    <a:pt x="2752" y="1600"/>
                    <a:pt x="2752" y="1600"/>
                    <a:pt x="2752" y="1600"/>
                  </a:cubicBezTo>
                  <a:cubicBezTo>
                    <a:pt x="2784" y="1600"/>
                    <a:pt x="2784" y="1600"/>
                    <a:pt x="2784" y="1600"/>
                  </a:cubicBezTo>
                  <a:cubicBezTo>
                    <a:pt x="2784" y="1473"/>
                    <a:pt x="2784" y="1473"/>
                    <a:pt x="2784" y="1473"/>
                  </a:cubicBezTo>
                  <a:cubicBezTo>
                    <a:pt x="2785" y="1473"/>
                    <a:pt x="2785" y="1473"/>
                    <a:pt x="2785" y="1473"/>
                  </a:cubicBezTo>
                  <a:cubicBezTo>
                    <a:pt x="2796" y="1495"/>
                    <a:pt x="2824" y="1512"/>
                    <a:pt x="2858" y="1512"/>
                  </a:cubicBezTo>
                  <a:cubicBezTo>
                    <a:pt x="2911" y="1512"/>
                    <a:pt x="2953" y="1469"/>
                    <a:pt x="2953" y="1412"/>
                  </a:cubicBezTo>
                  <a:cubicBezTo>
                    <a:pt x="2953" y="1354"/>
                    <a:pt x="2913" y="1312"/>
                    <a:pt x="2853" y="1312"/>
                  </a:cubicBezTo>
                  <a:close/>
                  <a:moveTo>
                    <a:pt x="2851" y="1482"/>
                  </a:moveTo>
                  <a:cubicBezTo>
                    <a:pt x="2810" y="1482"/>
                    <a:pt x="2784" y="1452"/>
                    <a:pt x="2784" y="1412"/>
                  </a:cubicBezTo>
                  <a:cubicBezTo>
                    <a:pt x="2784" y="1372"/>
                    <a:pt x="2810" y="1341"/>
                    <a:pt x="2851" y="1341"/>
                  </a:cubicBezTo>
                  <a:cubicBezTo>
                    <a:pt x="2892" y="1341"/>
                    <a:pt x="2919" y="1372"/>
                    <a:pt x="2919" y="1412"/>
                  </a:cubicBezTo>
                  <a:cubicBezTo>
                    <a:pt x="2919" y="1452"/>
                    <a:pt x="2892" y="1482"/>
                    <a:pt x="2851" y="1482"/>
                  </a:cubicBezTo>
                  <a:close/>
                  <a:moveTo>
                    <a:pt x="3086" y="1312"/>
                  </a:moveTo>
                  <a:cubicBezTo>
                    <a:pt x="3030" y="1312"/>
                    <a:pt x="2988" y="1353"/>
                    <a:pt x="2988" y="1412"/>
                  </a:cubicBezTo>
                  <a:cubicBezTo>
                    <a:pt x="2988" y="1467"/>
                    <a:pt x="3025" y="1512"/>
                    <a:pt x="3085" y="1512"/>
                  </a:cubicBezTo>
                  <a:cubicBezTo>
                    <a:pt x="3120" y="1512"/>
                    <a:pt x="3147" y="1501"/>
                    <a:pt x="3169" y="1472"/>
                  </a:cubicBezTo>
                  <a:cubicBezTo>
                    <a:pt x="3145" y="1454"/>
                    <a:pt x="3145" y="1454"/>
                    <a:pt x="3145" y="1454"/>
                  </a:cubicBezTo>
                  <a:cubicBezTo>
                    <a:pt x="3130" y="1473"/>
                    <a:pt x="3112" y="1482"/>
                    <a:pt x="3085" y="1482"/>
                  </a:cubicBezTo>
                  <a:cubicBezTo>
                    <a:pt x="3050" y="1482"/>
                    <a:pt x="3025" y="1454"/>
                    <a:pt x="3023" y="1421"/>
                  </a:cubicBezTo>
                  <a:cubicBezTo>
                    <a:pt x="3176" y="1421"/>
                    <a:pt x="3176" y="1421"/>
                    <a:pt x="3176" y="1421"/>
                  </a:cubicBezTo>
                  <a:cubicBezTo>
                    <a:pt x="3176" y="1411"/>
                    <a:pt x="3176" y="1411"/>
                    <a:pt x="3176" y="1411"/>
                  </a:cubicBezTo>
                  <a:cubicBezTo>
                    <a:pt x="3176" y="1348"/>
                    <a:pt x="3140" y="1312"/>
                    <a:pt x="3086" y="1312"/>
                  </a:cubicBezTo>
                  <a:close/>
                  <a:moveTo>
                    <a:pt x="3023" y="1395"/>
                  </a:moveTo>
                  <a:cubicBezTo>
                    <a:pt x="3027" y="1363"/>
                    <a:pt x="3050" y="1341"/>
                    <a:pt x="3085" y="1341"/>
                  </a:cubicBezTo>
                  <a:cubicBezTo>
                    <a:pt x="3120" y="1341"/>
                    <a:pt x="3141" y="1363"/>
                    <a:pt x="3142" y="1395"/>
                  </a:cubicBezTo>
                  <a:lnTo>
                    <a:pt x="3023" y="1395"/>
                  </a:lnTo>
                  <a:close/>
                  <a:moveTo>
                    <a:pt x="3322" y="1312"/>
                  </a:moveTo>
                  <a:cubicBezTo>
                    <a:pt x="3326" y="1312"/>
                    <a:pt x="3330" y="1312"/>
                    <a:pt x="3335" y="1314"/>
                  </a:cubicBezTo>
                  <a:cubicBezTo>
                    <a:pt x="3333" y="1346"/>
                    <a:pt x="3333" y="1346"/>
                    <a:pt x="3333" y="1346"/>
                  </a:cubicBezTo>
                  <a:cubicBezTo>
                    <a:pt x="3327" y="1344"/>
                    <a:pt x="3321" y="1343"/>
                    <a:pt x="3316" y="1343"/>
                  </a:cubicBezTo>
                  <a:cubicBezTo>
                    <a:pt x="3277" y="1343"/>
                    <a:pt x="3260" y="1371"/>
                    <a:pt x="3260" y="1414"/>
                  </a:cubicBezTo>
                  <a:cubicBezTo>
                    <a:pt x="3260" y="1507"/>
                    <a:pt x="3260" y="1507"/>
                    <a:pt x="3260" y="1507"/>
                  </a:cubicBezTo>
                  <a:cubicBezTo>
                    <a:pt x="3228" y="1507"/>
                    <a:pt x="3228" y="1507"/>
                    <a:pt x="3228" y="1507"/>
                  </a:cubicBezTo>
                  <a:cubicBezTo>
                    <a:pt x="3228" y="1362"/>
                    <a:pt x="3228" y="1362"/>
                    <a:pt x="3228" y="1362"/>
                  </a:cubicBezTo>
                  <a:cubicBezTo>
                    <a:pt x="3228" y="1344"/>
                    <a:pt x="3227" y="1329"/>
                    <a:pt x="3227" y="1317"/>
                  </a:cubicBezTo>
                  <a:cubicBezTo>
                    <a:pt x="3257" y="1317"/>
                    <a:pt x="3257" y="1317"/>
                    <a:pt x="3257" y="1317"/>
                  </a:cubicBezTo>
                  <a:cubicBezTo>
                    <a:pt x="3257" y="1327"/>
                    <a:pt x="3258" y="1337"/>
                    <a:pt x="3258" y="1348"/>
                  </a:cubicBezTo>
                  <a:cubicBezTo>
                    <a:pt x="3258" y="1348"/>
                    <a:pt x="3258" y="1348"/>
                    <a:pt x="3258" y="1348"/>
                  </a:cubicBezTo>
                  <a:cubicBezTo>
                    <a:pt x="3267" y="1329"/>
                    <a:pt x="3290" y="1312"/>
                    <a:pt x="3322" y="1312"/>
                  </a:cubicBezTo>
                  <a:close/>
                  <a:moveTo>
                    <a:pt x="3492" y="1476"/>
                  </a:moveTo>
                  <a:cubicBezTo>
                    <a:pt x="3494" y="1505"/>
                    <a:pt x="3494" y="1505"/>
                    <a:pt x="3494" y="1505"/>
                  </a:cubicBezTo>
                  <a:cubicBezTo>
                    <a:pt x="3483" y="1510"/>
                    <a:pt x="3468" y="1512"/>
                    <a:pt x="3457" y="1512"/>
                  </a:cubicBezTo>
                  <a:cubicBezTo>
                    <a:pt x="3412" y="1512"/>
                    <a:pt x="3404" y="1487"/>
                    <a:pt x="3404" y="1448"/>
                  </a:cubicBezTo>
                  <a:cubicBezTo>
                    <a:pt x="3404" y="1343"/>
                    <a:pt x="3404" y="1343"/>
                    <a:pt x="3404" y="1343"/>
                  </a:cubicBezTo>
                  <a:cubicBezTo>
                    <a:pt x="3363" y="1343"/>
                    <a:pt x="3363" y="1343"/>
                    <a:pt x="3363" y="1343"/>
                  </a:cubicBezTo>
                  <a:cubicBezTo>
                    <a:pt x="3363" y="1317"/>
                    <a:pt x="3363" y="1317"/>
                    <a:pt x="3363" y="1317"/>
                  </a:cubicBezTo>
                  <a:cubicBezTo>
                    <a:pt x="3404" y="1317"/>
                    <a:pt x="3404" y="1317"/>
                    <a:pt x="3404" y="1317"/>
                  </a:cubicBezTo>
                  <a:cubicBezTo>
                    <a:pt x="3404" y="1263"/>
                    <a:pt x="3404" y="1263"/>
                    <a:pt x="3404" y="1263"/>
                  </a:cubicBezTo>
                  <a:cubicBezTo>
                    <a:pt x="3436" y="1263"/>
                    <a:pt x="3436" y="1263"/>
                    <a:pt x="3436" y="1263"/>
                  </a:cubicBezTo>
                  <a:cubicBezTo>
                    <a:pt x="3436" y="1317"/>
                    <a:pt x="3436" y="1317"/>
                    <a:pt x="3436" y="1317"/>
                  </a:cubicBezTo>
                  <a:cubicBezTo>
                    <a:pt x="3492" y="1317"/>
                    <a:pt x="3492" y="1317"/>
                    <a:pt x="3492" y="1317"/>
                  </a:cubicBezTo>
                  <a:cubicBezTo>
                    <a:pt x="3492" y="1343"/>
                    <a:pt x="3492" y="1343"/>
                    <a:pt x="3492" y="1343"/>
                  </a:cubicBezTo>
                  <a:cubicBezTo>
                    <a:pt x="3436" y="1343"/>
                    <a:pt x="3436" y="1343"/>
                    <a:pt x="3436" y="1343"/>
                  </a:cubicBezTo>
                  <a:cubicBezTo>
                    <a:pt x="3436" y="1439"/>
                    <a:pt x="3436" y="1439"/>
                    <a:pt x="3436" y="1439"/>
                  </a:cubicBezTo>
                  <a:cubicBezTo>
                    <a:pt x="3436" y="1463"/>
                    <a:pt x="3436" y="1482"/>
                    <a:pt x="3464" y="1482"/>
                  </a:cubicBezTo>
                  <a:cubicBezTo>
                    <a:pt x="3474" y="1482"/>
                    <a:pt x="3484" y="1480"/>
                    <a:pt x="3492" y="1476"/>
                  </a:cubicBezTo>
                  <a:close/>
                  <a:moveTo>
                    <a:pt x="3674" y="1317"/>
                  </a:moveTo>
                  <a:cubicBezTo>
                    <a:pt x="3709" y="1317"/>
                    <a:pt x="3709" y="1317"/>
                    <a:pt x="3709" y="1317"/>
                  </a:cubicBezTo>
                  <a:cubicBezTo>
                    <a:pt x="3617" y="1550"/>
                    <a:pt x="3617" y="1550"/>
                    <a:pt x="3617" y="1550"/>
                  </a:cubicBezTo>
                  <a:cubicBezTo>
                    <a:pt x="3604" y="1582"/>
                    <a:pt x="3592" y="1604"/>
                    <a:pt x="3553" y="1604"/>
                  </a:cubicBezTo>
                  <a:cubicBezTo>
                    <a:pt x="3545" y="1604"/>
                    <a:pt x="3533" y="1604"/>
                    <a:pt x="3525" y="1600"/>
                  </a:cubicBezTo>
                  <a:cubicBezTo>
                    <a:pt x="3529" y="1572"/>
                    <a:pt x="3529" y="1572"/>
                    <a:pt x="3529" y="1572"/>
                  </a:cubicBezTo>
                  <a:cubicBezTo>
                    <a:pt x="3536" y="1574"/>
                    <a:pt x="3542" y="1575"/>
                    <a:pt x="3551" y="1575"/>
                  </a:cubicBezTo>
                  <a:cubicBezTo>
                    <a:pt x="3572" y="1575"/>
                    <a:pt x="3580" y="1563"/>
                    <a:pt x="3587" y="1544"/>
                  </a:cubicBezTo>
                  <a:cubicBezTo>
                    <a:pt x="3600" y="1508"/>
                    <a:pt x="3600" y="1508"/>
                    <a:pt x="3600" y="1508"/>
                  </a:cubicBezTo>
                  <a:cubicBezTo>
                    <a:pt x="3521" y="1317"/>
                    <a:pt x="3521" y="1317"/>
                    <a:pt x="3521" y="1317"/>
                  </a:cubicBezTo>
                  <a:cubicBezTo>
                    <a:pt x="3558" y="1317"/>
                    <a:pt x="3558" y="1317"/>
                    <a:pt x="3558" y="1317"/>
                  </a:cubicBezTo>
                  <a:cubicBezTo>
                    <a:pt x="3617" y="1466"/>
                    <a:pt x="3617" y="1466"/>
                    <a:pt x="3617" y="1466"/>
                  </a:cubicBezTo>
                  <a:cubicBezTo>
                    <a:pt x="3618" y="1466"/>
                    <a:pt x="3618" y="1466"/>
                    <a:pt x="3618" y="1466"/>
                  </a:cubicBezTo>
                  <a:lnTo>
                    <a:pt x="3674" y="1317"/>
                  </a:lnTo>
                  <a:close/>
                  <a:moveTo>
                    <a:pt x="101" y="1312"/>
                  </a:moveTo>
                  <a:cubicBezTo>
                    <a:pt x="73" y="1312"/>
                    <a:pt x="50" y="1324"/>
                    <a:pt x="33" y="1344"/>
                  </a:cubicBezTo>
                  <a:cubicBezTo>
                    <a:pt x="32" y="1344"/>
                    <a:pt x="32" y="1344"/>
                    <a:pt x="32" y="1344"/>
                  </a:cubicBezTo>
                  <a:cubicBezTo>
                    <a:pt x="32" y="1200"/>
                    <a:pt x="32" y="1200"/>
                    <a:pt x="32" y="1200"/>
                  </a:cubicBezTo>
                  <a:cubicBezTo>
                    <a:pt x="0" y="1200"/>
                    <a:pt x="0" y="1200"/>
                    <a:pt x="0" y="1200"/>
                  </a:cubicBezTo>
                  <a:cubicBezTo>
                    <a:pt x="0" y="1507"/>
                    <a:pt x="0" y="1507"/>
                    <a:pt x="0" y="1507"/>
                  </a:cubicBezTo>
                  <a:cubicBezTo>
                    <a:pt x="32" y="1507"/>
                    <a:pt x="32" y="1507"/>
                    <a:pt x="32" y="1507"/>
                  </a:cubicBezTo>
                  <a:cubicBezTo>
                    <a:pt x="32" y="1473"/>
                    <a:pt x="32" y="1473"/>
                    <a:pt x="32" y="1473"/>
                  </a:cubicBezTo>
                  <a:cubicBezTo>
                    <a:pt x="33" y="1473"/>
                    <a:pt x="33" y="1473"/>
                    <a:pt x="33" y="1473"/>
                  </a:cubicBezTo>
                  <a:cubicBezTo>
                    <a:pt x="45" y="1495"/>
                    <a:pt x="72" y="1512"/>
                    <a:pt x="106" y="1512"/>
                  </a:cubicBezTo>
                  <a:cubicBezTo>
                    <a:pt x="159" y="1512"/>
                    <a:pt x="201" y="1469"/>
                    <a:pt x="201" y="1412"/>
                  </a:cubicBezTo>
                  <a:cubicBezTo>
                    <a:pt x="201" y="1354"/>
                    <a:pt x="161" y="1312"/>
                    <a:pt x="101" y="1312"/>
                  </a:cubicBezTo>
                  <a:close/>
                  <a:moveTo>
                    <a:pt x="99" y="1482"/>
                  </a:moveTo>
                  <a:cubicBezTo>
                    <a:pt x="58" y="1482"/>
                    <a:pt x="32" y="1452"/>
                    <a:pt x="32" y="1412"/>
                  </a:cubicBezTo>
                  <a:cubicBezTo>
                    <a:pt x="32" y="1372"/>
                    <a:pt x="58" y="1341"/>
                    <a:pt x="99" y="1341"/>
                  </a:cubicBezTo>
                  <a:cubicBezTo>
                    <a:pt x="140" y="1341"/>
                    <a:pt x="167" y="1372"/>
                    <a:pt x="167" y="1412"/>
                  </a:cubicBezTo>
                  <a:cubicBezTo>
                    <a:pt x="167" y="1452"/>
                    <a:pt x="140" y="1482"/>
                    <a:pt x="99" y="1482"/>
                  </a:cubicBezTo>
                  <a:close/>
                  <a:moveTo>
                    <a:pt x="333" y="1312"/>
                  </a:moveTo>
                  <a:cubicBezTo>
                    <a:pt x="275" y="1312"/>
                    <a:pt x="232" y="1352"/>
                    <a:pt x="232" y="1412"/>
                  </a:cubicBezTo>
                  <a:cubicBezTo>
                    <a:pt x="232" y="1471"/>
                    <a:pt x="275" y="1512"/>
                    <a:pt x="333" y="1512"/>
                  </a:cubicBezTo>
                  <a:cubicBezTo>
                    <a:pt x="392" y="1512"/>
                    <a:pt x="435" y="1471"/>
                    <a:pt x="435" y="1412"/>
                  </a:cubicBezTo>
                  <a:cubicBezTo>
                    <a:pt x="435" y="1352"/>
                    <a:pt x="392" y="1312"/>
                    <a:pt x="333" y="1312"/>
                  </a:cubicBezTo>
                  <a:close/>
                  <a:moveTo>
                    <a:pt x="333" y="1482"/>
                  </a:moveTo>
                  <a:cubicBezTo>
                    <a:pt x="292" y="1482"/>
                    <a:pt x="266" y="1452"/>
                    <a:pt x="266" y="1412"/>
                  </a:cubicBezTo>
                  <a:cubicBezTo>
                    <a:pt x="266" y="1372"/>
                    <a:pt x="292" y="1341"/>
                    <a:pt x="333" y="1341"/>
                  </a:cubicBezTo>
                  <a:cubicBezTo>
                    <a:pt x="374" y="1341"/>
                    <a:pt x="401" y="1372"/>
                    <a:pt x="401" y="1412"/>
                  </a:cubicBezTo>
                  <a:cubicBezTo>
                    <a:pt x="401" y="1452"/>
                    <a:pt x="374" y="1482"/>
                    <a:pt x="333" y="1482"/>
                  </a:cubicBezTo>
                  <a:close/>
                  <a:moveTo>
                    <a:pt x="638" y="1462"/>
                  </a:moveTo>
                  <a:cubicBezTo>
                    <a:pt x="638" y="1479"/>
                    <a:pt x="640" y="1494"/>
                    <a:pt x="640" y="1507"/>
                  </a:cubicBezTo>
                  <a:cubicBezTo>
                    <a:pt x="610" y="1507"/>
                    <a:pt x="610" y="1507"/>
                    <a:pt x="610" y="1507"/>
                  </a:cubicBezTo>
                  <a:cubicBezTo>
                    <a:pt x="610" y="1497"/>
                    <a:pt x="609" y="1486"/>
                    <a:pt x="609" y="1476"/>
                  </a:cubicBezTo>
                  <a:cubicBezTo>
                    <a:pt x="608" y="1476"/>
                    <a:pt x="608" y="1476"/>
                    <a:pt x="608" y="1476"/>
                  </a:cubicBezTo>
                  <a:cubicBezTo>
                    <a:pt x="599" y="1494"/>
                    <a:pt x="576" y="1512"/>
                    <a:pt x="545" y="1512"/>
                  </a:cubicBezTo>
                  <a:cubicBezTo>
                    <a:pt x="495" y="1512"/>
                    <a:pt x="472" y="1480"/>
                    <a:pt x="472" y="1434"/>
                  </a:cubicBezTo>
                  <a:cubicBezTo>
                    <a:pt x="472" y="1317"/>
                    <a:pt x="472" y="1317"/>
                    <a:pt x="472" y="1317"/>
                  </a:cubicBezTo>
                  <a:cubicBezTo>
                    <a:pt x="504" y="1317"/>
                    <a:pt x="504" y="1317"/>
                    <a:pt x="504" y="1317"/>
                  </a:cubicBezTo>
                  <a:cubicBezTo>
                    <a:pt x="504" y="1431"/>
                    <a:pt x="504" y="1431"/>
                    <a:pt x="504" y="1431"/>
                  </a:cubicBezTo>
                  <a:cubicBezTo>
                    <a:pt x="504" y="1462"/>
                    <a:pt x="518" y="1482"/>
                    <a:pt x="547" y="1482"/>
                  </a:cubicBezTo>
                  <a:cubicBezTo>
                    <a:pt x="588" y="1482"/>
                    <a:pt x="606" y="1453"/>
                    <a:pt x="606" y="1409"/>
                  </a:cubicBezTo>
                  <a:cubicBezTo>
                    <a:pt x="606" y="1317"/>
                    <a:pt x="606" y="1317"/>
                    <a:pt x="606" y="1317"/>
                  </a:cubicBezTo>
                  <a:cubicBezTo>
                    <a:pt x="638" y="1317"/>
                    <a:pt x="638" y="1317"/>
                    <a:pt x="638" y="1317"/>
                  </a:cubicBezTo>
                  <a:lnTo>
                    <a:pt x="638" y="1462"/>
                  </a:lnTo>
                  <a:close/>
                  <a:moveTo>
                    <a:pt x="1032" y="1281"/>
                  </a:moveTo>
                  <a:cubicBezTo>
                    <a:pt x="1032" y="1317"/>
                    <a:pt x="1032" y="1317"/>
                    <a:pt x="1032" y="1317"/>
                  </a:cubicBezTo>
                  <a:cubicBezTo>
                    <a:pt x="1078" y="1317"/>
                    <a:pt x="1078" y="1317"/>
                    <a:pt x="1078" y="1317"/>
                  </a:cubicBezTo>
                  <a:cubicBezTo>
                    <a:pt x="1078" y="1343"/>
                    <a:pt x="1078" y="1343"/>
                    <a:pt x="1078" y="1343"/>
                  </a:cubicBezTo>
                  <a:cubicBezTo>
                    <a:pt x="1032" y="1343"/>
                    <a:pt x="1032" y="1343"/>
                    <a:pt x="1032" y="1343"/>
                  </a:cubicBezTo>
                  <a:cubicBezTo>
                    <a:pt x="1032" y="1507"/>
                    <a:pt x="1032" y="1507"/>
                    <a:pt x="1032" y="1507"/>
                  </a:cubicBezTo>
                  <a:cubicBezTo>
                    <a:pt x="1000" y="1507"/>
                    <a:pt x="1000" y="1507"/>
                    <a:pt x="1000" y="1507"/>
                  </a:cubicBezTo>
                  <a:cubicBezTo>
                    <a:pt x="1000" y="1343"/>
                    <a:pt x="1000" y="1343"/>
                    <a:pt x="1000" y="1343"/>
                  </a:cubicBezTo>
                  <a:cubicBezTo>
                    <a:pt x="953" y="1343"/>
                    <a:pt x="953" y="1343"/>
                    <a:pt x="953" y="1343"/>
                  </a:cubicBezTo>
                  <a:cubicBezTo>
                    <a:pt x="953" y="1343"/>
                    <a:pt x="953" y="1343"/>
                    <a:pt x="953" y="1343"/>
                  </a:cubicBezTo>
                  <a:cubicBezTo>
                    <a:pt x="900" y="1507"/>
                    <a:pt x="900" y="1507"/>
                    <a:pt x="900" y="1507"/>
                  </a:cubicBezTo>
                  <a:cubicBezTo>
                    <a:pt x="869" y="1507"/>
                    <a:pt x="869" y="1507"/>
                    <a:pt x="869" y="1507"/>
                  </a:cubicBezTo>
                  <a:cubicBezTo>
                    <a:pt x="815" y="1361"/>
                    <a:pt x="815" y="1361"/>
                    <a:pt x="815" y="1361"/>
                  </a:cubicBezTo>
                  <a:cubicBezTo>
                    <a:pt x="814" y="1361"/>
                    <a:pt x="814" y="1361"/>
                    <a:pt x="814" y="1361"/>
                  </a:cubicBezTo>
                  <a:cubicBezTo>
                    <a:pt x="766" y="1507"/>
                    <a:pt x="766" y="1507"/>
                    <a:pt x="766" y="1507"/>
                  </a:cubicBezTo>
                  <a:cubicBezTo>
                    <a:pt x="733" y="1507"/>
                    <a:pt x="733" y="1507"/>
                    <a:pt x="733" y="1507"/>
                  </a:cubicBezTo>
                  <a:cubicBezTo>
                    <a:pt x="671" y="1317"/>
                    <a:pt x="671" y="1317"/>
                    <a:pt x="671" y="1317"/>
                  </a:cubicBezTo>
                  <a:cubicBezTo>
                    <a:pt x="706" y="1317"/>
                    <a:pt x="706" y="1317"/>
                    <a:pt x="706" y="1317"/>
                  </a:cubicBezTo>
                  <a:cubicBezTo>
                    <a:pt x="750" y="1463"/>
                    <a:pt x="750" y="1463"/>
                    <a:pt x="750" y="1463"/>
                  </a:cubicBezTo>
                  <a:cubicBezTo>
                    <a:pt x="751" y="1463"/>
                    <a:pt x="751" y="1463"/>
                    <a:pt x="751" y="1463"/>
                  </a:cubicBezTo>
                  <a:cubicBezTo>
                    <a:pt x="800" y="1317"/>
                    <a:pt x="800" y="1317"/>
                    <a:pt x="800" y="1317"/>
                  </a:cubicBezTo>
                  <a:cubicBezTo>
                    <a:pt x="833" y="1317"/>
                    <a:pt x="833" y="1317"/>
                    <a:pt x="833" y="1317"/>
                  </a:cubicBezTo>
                  <a:cubicBezTo>
                    <a:pt x="883" y="1463"/>
                    <a:pt x="883" y="1463"/>
                    <a:pt x="883" y="1463"/>
                  </a:cubicBezTo>
                  <a:cubicBezTo>
                    <a:pt x="884" y="1463"/>
                    <a:pt x="884" y="1463"/>
                    <a:pt x="884" y="1463"/>
                  </a:cubicBezTo>
                  <a:cubicBezTo>
                    <a:pt x="927" y="1317"/>
                    <a:pt x="927" y="1317"/>
                    <a:pt x="927" y="1317"/>
                  </a:cubicBezTo>
                  <a:cubicBezTo>
                    <a:pt x="953" y="1317"/>
                    <a:pt x="953" y="1317"/>
                    <a:pt x="953" y="1317"/>
                  </a:cubicBezTo>
                  <a:cubicBezTo>
                    <a:pt x="961" y="1317"/>
                    <a:pt x="961" y="1317"/>
                    <a:pt x="961" y="1317"/>
                  </a:cubicBezTo>
                  <a:cubicBezTo>
                    <a:pt x="1000" y="1317"/>
                    <a:pt x="1000" y="1317"/>
                    <a:pt x="1000" y="1317"/>
                  </a:cubicBezTo>
                  <a:cubicBezTo>
                    <a:pt x="1000" y="1274"/>
                    <a:pt x="1000" y="1274"/>
                    <a:pt x="1000" y="1274"/>
                  </a:cubicBezTo>
                  <a:cubicBezTo>
                    <a:pt x="1000" y="1228"/>
                    <a:pt x="1016" y="1195"/>
                    <a:pt x="1068" y="1195"/>
                  </a:cubicBezTo>
                  <a:cubicBezTo>
                    <a:pt x="1076" y="1195"/>
                    <a:pt x="1086" y="1196"/>
                    <a:pt x="1092" y="1200"/>
                  </a:cubicBezTo>
                  <a:cubicBezTo>
                    <a:pt x="1088" y="1228"/>
                    <a:pt x="1088" y="1228"/>
                    <a:pt x="1088" y="1228"/>
                  </a:cubicBezTo>
                  <a:cubicBezTo>
                    <a:pt x="1081" y="1226"/>
                    <a:pt x="1073" y="1224"/>
                    <a:pt x="1066" y="1224"/>
                  </a:cubicBezTo>
                  <a:cubicBezTo>
                    <a:pt x="1033" y="1224"/>
                    <a:pt x="1032" y="1248"/>
                    <a:pt x="1032" y="1281"/>
                  </a:cubicBezTo>
                  <a:close/>
                  <a:moveTo>
                    <a:pt x="1191" y="1312"/>
                  </a:moveTo>
                  <a:cubicBezTo>
                    <a:pt x="1133" y="1312"/>
                    <a:pt x="1090" y="1352"/>
                    <a:pt x="1090" y="1412"/>
                  </a:cubicBezTo>
                  <a:cubicBezTo>
                    <a:pt x="1090" y="1471"/>
                    <a:pt x="1133" y="1512"/>
                    <a:pt x="1191" y="1512"/>
                  </a:cubicBezTo>
                  <a:cubicBezTo>
                    <a:pt x="1250" y="1512"/>
                    <a:pt x="1293" y="1471"/>
                    <a:pt x="1293" y="1412"/>
                  </a:cubicBezTo>
                  <a:cubicBezTo>
                    <a:pt x="1293" y="1352"/>
                    <a:pt x="1250" y="1312"/>
                    <a:pt x="1191" y="1312"/>
                  </a:cubicBezTo>
                  <a:close/>
                  <a:moveTo>
                    <a:pt x="1191" y="1482"/>
                  </a:moveTo>
                  <a:cubicBezTo>
                    <a:pt x="1150" y="1482"/>
                    <a:pt x="1124" y="1452"/>
                    <a:pt x="1124" y="1412"/>
                  </a:cubicBezTo>
                  <a:cubicBezTo>
                    <a:pt x="1124" y="1372"/>
                    <a:pt x="1150" y="1341"/>
                    <a:pt x="1191" y="1341"/>
                  </a:cubicBezTo>
                  <a:cubicBezTo>
                    <a:pt x="1233" y="1341"/>
                    <a:pt x="1259" y="1372"/>
                    <a:pt x="1259" y="1412"/>
                  </a:cubicBezTo>
                  <a:cubicBezTo>
                    <a:pt x="1259" y="1452"/>
                    <a:pt x="1233" y="1482"/>
                    <a:pt x="1191" y="1482"/>
                  </a:cubicBezTo>
                  <a:close/>
                  <a:moveTo>
                    <a:pt x="1497" y="1389"/>
                  </a:moveTo>
                  <a:cubicBezTo>
                    <a:pt x="1497" y="1507"/>
                    <a:pt x="1497" y="1507"/>
                    <a:pt x="1497" y="1507"/>
                  </a:cubicBezTo>
                  <a:cubicBezTo>
                    <a:pt x="1465" y="1507"/>
                    <a:pt x="1465" y="1507"/>
                    <a:pt x="1465" y="1507"/>
                  </a:cubicBezTo>
                  <a:cubicBezTo>
                    <a:pt x="1465" y="1393"/>
                    <a:pt x="1465" y="1393"/>
                    <a:pt x="1465" y="1393"/>
                  </a:cubicBezTo>
                  <a:cubicBezTo>
                    <a:pt x="1465" y="1361"/>
                    <a:pt x="1452" y="1341"/>
                    <a:pt x="1422" y="1341"/>
                  </a:cubicBezTo>
                  <a:cubicBezTo>
                    <a:pt x="1381" y="1341"/>
                    <a:pt x="1363" y="1371"/>
                    <a:pt x="1363" y="1414"/>
                  </a:cubicBezTo>
                  <a:cubicBezTo>
                    <a:pt x="1363" y="1507"/>
                    <a:pt x="1363" y="1507"/>
                    <a:pt x="1363" y="1507"/>
                  </a:cubicBezTo>
                  <a:cubicBezTo>
                    <a:pt x="1331" y="1507"/>
                    <a:pt x="1331" y="1507"/>
                    <a:pt x="1331" y="1507"/>
                  </a:cubicBezTo>
                  <a:cubicBezTo>
                    <a:pt x="1331" y="1362"/>
                    <a:pt x="1331" y="1362"/>
                    <a:pt x="1331" y="1362"/>
                  </a:cubicBezTo>
                  <a:cubicBezTo>
                    <a:pt x="1331" y="1344"/>
                    <a:pt x="1330" y="1329"/>
                    <a:pt x="1330" y="1317"/>
                  </a:cubicBezTo>
                  <a:cubicBezTo>
                    <a:pt x="1360" y="1317"/>
                    <a:pt x="1360" y="1317"/>
                    <a:pt x="1360" y="1317"/>
                  </a:cubicBezTo>
                  <a:cubicBezTo>
                    <a:pt x="1360" y="1327"/>
                    <a:pt x="1360" y="1337"/>
                    <a:pt x="1360" y="1348"/>
                  </a:cubicBezTo>
                  <a:cubicBezTo>
                    <a:pt x="1361" y="1348"/>
                    <a:pt x="1361" y="1348"/>
                    <a:pt x="1361" y="1348"/>
                  </a:cubicBezTo>
                  <a:cubicBezTo>
                    <a:pt x="1370" y="1329"/>
                    <a:pt x="1393" y="1312"/>
                    <a:pt x="1425" y="1312"/>
                  </a:cubicBezTo>
                  <a:cubicBezTo>
                    <a:pt x="1475" y="1312"/>
                    <a:pt x="1497" y="1343"/>
                    <a:pt x="1497" y="1389"/>
                  </a:cubicBezTo>
                  <a:close/>
                  <a:moveTo>
                    <a:pt x="1707" y="1344"/>
                  </a:moveTo>
                  <a:cubicBezTo>
                    <a:pt x="1706" y="1344"/>
                    <a:pt x="1706" y="1344"/>
                    <a:pt x="1706" y="1344"/>
                  </a:cubicBezTo>
                  <a:cubicBezTo>
                    <a:pt x="1689" y="1324"/>
                    <a:pt x="1666" y="1312"/>
                    <a:pt x="1638" y="1312"/>
                  </a:cubicBezTo>
                  <a:cubicBezTo>
                    <a:pt x="1578" y="1312"/>
                    <a:pt x="1538" y="1354"/>
                    <a:pt x="1538" y="1412"/>
                  </a:cubicBezTo>
                  <a:cubicBezTo>
                    <a:pt x="1538" y="1469"/>
                    <a:pt x="1580" y="1512"/>
                    <a:pt x="1633" y="1512"/>
                  </a:cubicBezTo>
                  <a:cubicBezTo>
                    <a:pt x="1667" y="1512"/>
                    <a:pt x="1695" y="1495"/>
                    <a:pt x="1706" y="1473"/>
                  </a:cubicBezTo>
                  <a:cubicBezTo>
                    <a:pt x="1707" y="1473"/>
                    <a:pt x="1707" y="1473"/>
                    <a:pt x="1707" y="1473"/>
                  </a:cubicBezTo>
                  <a:cubicBezTo>
                    <a:pt x="1707" y="1507"/>
                    <a:pt x="1707" y="1507"/>
                    <a:pt x="1707" y="1507"/>
                  </a:cubicBezTo>
                  <a:cubicBezTo>
                    <a:pt x="1739" y="1507"/>
                    <a:pt x="1739" y="1507"/>
                    <a:pt x="1739" y="1507"/>
                  </a:cubicBezTo>
                  <a:cubicBezTo>
                    <a:pt x="1739" y="1200"/>
                    <a:pt x="1739" y="1200"/>
                    <a:pt x="1739" y="1200"/>
                  </a:cubicBezTo>
                  <a:cubicBezTo>
                    <a:pt x="1707" y="1200"/>
                    <a:pt x="1707" y="1200"/>
                    <a:pt x="1707" y="1200"/>
                  </a:cubicBezTo>
                  <a:lnTo>
                    <a:pt x="1707" y="1344"/>
                  </a:lnTo>
                  <a:close/>
                  <a:moveTo>
                    <a:pt x="1640" y="1482"/>
                  </a:moveTo>
                  <a:cubicBezTo>
                    <a:pt x="1599" y="1482"/>
                    <a:pt x="1572" y="1452"/>
                    <a:pt x="1572" y="1412"/>
                  </a:cubicBezTo>
                  <a:cubicBezTo>
                    <a:pt x="1572" y="1372"/>
                    <a:pt x="1599" y="1341"/>
                    <a:pt x="1640" y="1341"/>
                  </a:cubicBezTo>
                  <a:cubicBezTo>
                    <a:pt x="1681" y="1341"/>
                    <a:pt x="1707" y="1372"/>
                    <a:pt x="1707" y="1412"/>
                  </a:cubicBezTo>
                  <a:cubicBezTo>
                    <a:pt x="1707" y="1452"/>
                    <a:pt x="1681" y="1482"/>
                    <a:pt x="1640" y="1482"/>
                  </a:cubicBezTo>
                  <a:close/>
                  <a:moveTo>
                    <a:pt x="1930" y="1452"/>
                  </a:moveTo>
                  <a:cubicBezTo>
                    <a:pt x="1930" y="1495"/>
                    <a:pt x="1891" y="1512"/>
                    <a:pt x="1854" y="1512"/>
                  </a:cubicBezTo>
                  <a:cubicBezTo>
                    <a:pt x="1821" y="1512"/>
                    <a:pt x="1798" y="1503"/>
                    <a:pt x="1780" y="1476"/>
                  </a:cubicBezTo>
                  <a:cubicBezTo>
                    <a:pt x="1805" y="1457"/>
                    <a:pt x="1805" y="1457"/>
                    <a:pt x="1805" y="1457"/>
                  </a:cubicBezTo>
                  <a:cubicBezTo>
                    <a:pt x="1817" y="1472"/>
                    <a:pt x="1831" y="1482"/>
                    <a:pt x="1854" y="1482"/>
                  </a:cubicBezTo>
                  <a:cubicBezTo>
                    <a:pt x="1873" y="1482"/>
                    <a:pt x="1895" y="1474"/>
                    <a:pt x="1895" y="1453"/>
                  </a:cubicBezTo>
                  <a:cubicBezTo>
                    <a:pt x="1895" y="1433"/>
                    <a:pt x="1875" y="1428"/>
                    <a:pt x="1855" y="1423"/>
                  </a:cubicBezTo>
                  <a:cubicBezTo>
                    <a:pt x="1819" y="1415"/>
                    <a:pt x="1788" y="1407"/>
                    <a:pt x="1788" y="1368"/>
                  </a:cubicBezTo>
                  <a:cubicBezTo>
                    <a:pt x="1788" y="1331"/>
                    <a:pt x="1823" y="1312"/>
                    <a:pt x="1859" y="1312"/>
                  </a:cubicBezTo>
                  <a:cubicBezTo>
                    <a:pt x="1886" y="1312"/>
                    <a:pt x="1910" y="1322"/>
                    <a:pt x="1923" y="1346"/>
                  </a:cubicBezTo>
                  <a:cubicBezTo>
                    <a:pt x="1897" y="1364"/>
                    <a:pt x="1897" y="1364"/>
                    <a:pt x="1897" y="1364"/>
                  </a:cubicBezTo>
                  <a:cubicBezTo>
                    <a:pt x="1889" y="1350"/>
                    <a:pt x="1875" y="1341"/>
                    <a:pt x="1857" y="1341"/>
                  </a:cubicBezTo>
                  <a:cubicBezTo>
                    <a:pt x="1839" y="1341"/>
                    <a:pt x="1819" y="1350"/>
                    <a:pt x="1819" y="1367"/>
                  </a:cubicBezTo>
                  <a:cubicBezTo>
                    <a:pt x="1819" y="1383"/>
                    <a:pt x="1842" y="1390"/>
                    <a:pt x="1867" y="1395"/>
                  </a:cubicBezTo>
                  <a:cubicBezTo>
                    <a:pt x="1901" y="1402"/>
                    <a:pt x="1930" y="1414"/>
                    <a:pt x="1930" y="14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19" name="Freeform 22">
              <a:extLst>
                <a:ext uri="{FF2B5EF4-FFF2-40B4-BE49-F238E27FC236}">
                  <a16:creationId xmlns:a16="http://schemas.microsoft.com/office/drawing/2014/main" id="{056F825F-F1D7-4C48-9C9A-4621405E9A59}"/>
                </a:ext>
              </a:extLst>
            </p:cNvPr>
            <p:cNvSpPr>
              <a:spLocks noSelect="1"/>
            </p:cNvSpPr>
            <p:nvPr userDrawn="1"/>
          </p:nvSpPr>
          <p:spPr bwMode="gray">
            <a:xfrm>
              <a:off x="402" y="3915"/>
              <a:ext cx="124" cy="124"/>
            </a:xfrm>
            <a:custGeom>
              <a:avLst/>
              <a:gdLst>
                <a:gd name="T0" fmla="*/ 124 w 124"/>
                <a:gd name="T1" fmla="*/ 80 h 124"/>
                <a:gd name="T2" fmla="*/ 80 w 124"/>
                <a:gd name="T3" fmla="*/ 124 h 124"/>
                <a:gd name="T4" fmla="*/ 0 w 124"/>
                <a:gd name="T5" fmla="*/ 44 h 124"/>
                <a:gd name="T6" fmla="*/ 43 w 124"/>
                <a:gd name="T7" fmla="*/ 0 h 124"/>
                <a:gd name="T8" fmla="*/ 84 w 124"/>
                <a:gd name="T9" fmla="*/ 40 h 124"/>
                <a:gd name="T10" fmla="*/ 124 w 124"/>
                <a:gd name="T11" fmla="*/ 80 h 124"/>
              </a:gdLst>
              <a:ahLst/>
              <a:cxnLst>
                <a:cxn ang="0">
                  <a:pos x="T0" y="T1"/>
                </a:cxn>
                <a:cxn ang="0">
                  <a:pos x="T2" y="T3"/>
                </a:cxn>
                <a:cxn ang="0">
                  <a:pos x="T4" y="T5"/>
                </a:cxn>
                <a:cxn ang="0">
                  <a:pos x="T6" y="T7"/>
                </a:cxn>
                <a:cxn ang="0">
                  <a:pos x="T8" y="T9"/>
                </a:cxn>
                <a:cxn ang="0">
                  <a:pos x="T10" y="T11"/>
                </a:cxn>
              </a:cxnLst>
              <a:rect l="0" t="0" r="r" b="b"/>
              <a:pathLst>
                <a:path w="124" h="124">
                  <a:moveTo>
                    <a:pt x="124" y="80"/>
                  </a:moveTo>
                  <a:lnTo>
                    <a:pt x="80" y="124"/>
                  </a:lnTo>
                  <a:lnTo>
                    <a:pt x="0" y="44"/>
                  </a:lnTo>
                  <a:lnTo>
                    <a:pt x="43" y="0"/>
                  </a:lnTo>
                  <a:lnTo>
                    <a:pt x="84" y="40"/>
                  </a:lnTo>
                  <a:lnTo>
                    <a:pt x="124" y="80"/>
                  </a:lnTo>
                  <a:close/>
                </a:path>
              </a:pathLst>
            </a:custGeom>
            <a:solidFill>
              <a:srgbClr val="C737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0" name="Freeform 23">
              <a:extLst>
                <a:ext uri="{FF2B5EF4-FFF2-40B4-BE49-F238E27FC236}">
                  <a16:creationId xmlns:a16="http://schemas.microsoft.com/office/drawing/2014/main" id="{20761D69-0BF0-4357-8229-0996157BCDCD}"/>
                </a:ext>
              </a:extLst>
            </p:cNvPr>
            <p:cNvSpPr>
              <a:spLocks noSelect="1"/>
            </p:cNvSpPr>
            <p:nvPr userDrawn="1"/>
          </p:nvSpPr>
          <p:spPr bwMode="gray">
            <a:xfrm>
              <a:off x="438" y="3873"/>
              <a:ext cx="124" cy="89"/>
            </a:xfrm>
            <a:custGeom>
              <a:avLst/>
              <a:gdLst>
                <a:gd name="T0" fmla="*/ 124 w 124"/>
                <a:gd name="T1" fmla="*/ 6 h 89"/>
                <a:gd name="T2" fmla="*/ 120 w 124"/>
                <a:gd name="T3" fmla="*/ 14 h 89"/>
                <a:gd name="T4" fmla="*/ 47 w 124"/>
                <a:gd name="T5" fmla="*/ 89 h 89"/>
                <a:gd name="T6" fmla="*/ 0 w 124"/>
                <a:gd name="T7" fmla="*/ 41 h 89"/>
                <a:gd name="T8" fmla="*/ 44 w 124"/>
                <a:gd name="T9" fmla="*/ 0 h 89"/>
                <a:gd name="T10" fmla="*/ 124 w 124"/>
                <a:gd name="T11" fmla="*/ 6 h 89"/>
              </a:gdLst>
              <a:ahLst/>
              <a:cxnLst>
                <a:cxn ang="0">
                  <a:pos x="T0" y="T1"/>
                </a:cxn>
                <a:cxn ang="0">
                  <a:pos x="T2" y="T3"/>
                </a:cxn>
                <a:cxn ang="0">
                  <a:pos x="T4" y="T5"/>
                </a:cxn>
                <a:cxn ang="0">
                  <a:pos x="T6" y="T7"/>
                </a:cxn>
                <a:cxn ang="0">
                  <a:pos x="T8" y="T9"/>
                </a:cxn>
                <a:cxn ang="0">
                  <a:pos x="T10" y="T11"/>
                </a:cxn>
              </a:cxnLst>
              <a:rect l="0" t="0" r="r" b="b"/>
              <a:pathLst>
                <a:path w="124" h="89">
                  <a:moveTo>
                    <a:pt x="124" y="6"/>
                  </a:moveTo>
                  <a:lnTo>
                    <a:pt x="120" y="14"/>
                  </a:lnTo>
                  <a:lnTo>
                    <a:pt x="47" y="89"/>
                  </a:lnTo>
                  <a:lnTo>
                    <a:pt x="0" y="41"/>
                  </a:lnTo>
                  <a:lnTo>
                    <a:pt x="44" y="0"/>
                  </a:lnTo>
                  <a:lnTo>
                    <a:pt x="124" y="6"/>
                  </a:lnTo>
                  <a:close/>
                </a:path>
              </a:pathLst>
            </a:custGeom>
            <a:solidFill>
              <a:srgbClr val="9C1E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1" name="Freeform 24">
              <a:extLst>
                <a:ext uri="{FF2B5EF4-FFF2-40B4-BE49-F238E27FC236}">
                  <a16:creationId xmlns:a16="http://schemas.microsoft.com/office/drawing/2014/main" id="{4C3FBA13-5216-47D4-9895-D18AEC111867}"/>
                </a:ext>
              </a:extLst>
            </p:cNvPr>
            <p:cNvSpPr>
              <a:spLocks noSelect="1"/>
            </p:cNvSpPr>
            <p:nvPr userDrawn="1"/>
          </p:nvSpPr>
          <p:spPr bwMode="gray">
            <a:xfrm>
              <a:off x="482" y="3879"/>
              <a:ext cx="83" cy="122"/>
            </a:xfrm>
            <a:custGeom>
              <a:avLst/>
              <a:gdLst>
                <a:gd name="T0" fmla="*/ 80 w 83"/>
                <a:gd name="T1" fmla="*/ 0 h 122"/>
                <a:gd name="T2" fmla="*/ 83 w 83"/>
                <a:gd name="T3" fmla="*/ 80 h 122"/>
                <a:gd name="T4" fmla="*/ 42 w 83"/>
                <a:gd name="T5" fmla="*/ 122 h 122"/>
                <a:gd name="T6" fmla="*/ 0 w 83"/>
                <a:gd name="T7" fmla="*/ 80 h 122"/>
                <a:gd name="T8" fmla="*/ 80 w 83"/>
                <a:gd name="T9" fmla="*/ 0 h 122"/>
              </a:gdLst>
              <a:ahLst/>
              <a:cxnLst>
                <a:cxn ang="0">
                  <a:pos x="T0" y="T1"/>
                </a:cxn>
                <a:cxn ang="0">
                  <a:pos x="T2" y="T3"/>
                </a:cxn>
                <a:cxn ang="0">
                  <a:pos x="T4" y="T5"/>
                </a:cxn>
                <a:cxn ang="0">
                  <a:pos x="T6" y="T7"/>
                </a:cxn>
                <a:cxn ang="0">
                  <a:pos x="T8" y="T9"/>
                </a:cxn>
              </a:cxnLst>
              <a:rect l="0" t="0" r="r" b="b"/>
              <a:pathLst>
                <a:path w="83" h="122">
                  <a:moveTo>
                    <a:pt x="80" y="0"/>
                  </a:moveTo>
                  <a:lnTo>
                    <a:pt x="83" y="80"/>
                  </a:lnTo>
                  <a:lnTo>
                    <a:pt x="42" y="122"/>
                  </a:lnTo>
                  <a:lnTo>
                    <a:pt x="0" y="80"/>
                  </a:lnTo>
                  <a:lnTo>
                    <a:pt x="80" y="0"/>
                  </a:lnTo>
                  <a:close/>
                </a:path>
              </a:pathLst>
            </a:custGeom>
            <a:solidFill>
              <a:srgbClr val="C816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2" name="Freeform 25">
              <a:extLst>
                <a:ext uri="{FF2B5EF4-FFF2-40B4-BE49-F238E27FC236}">
                  <a16:creationId xmlns:a16="http://schemas.microsoft.com/office/drawing/2014/main" id="{63FE74A7-7D46-4DDA-9223-2CC2BBEA887D}"/>
                </a:ext>
              </a:extLst>
            </p:cNvPr>
            <p:cNvSpPr>
              <a:spLocks noSelect="1"/>
            </p:cNvSpPr>
            <p:nvPr userDrawn="1"/>
          </p:nvSpPr>
          <p:spPr bwMode="gray">
            <a:xfrm>
              <a:off x="522" y="3879"/>
              <a:ext cx="120" cy="160"/>
            </a:xfrm>
            <a:custGeom>
              <a:avLst/>
              <a:gdLst>
                <a:gd name="T0" fmla="*/ 120 w 120"/>
                <a:gd name="T1" fmla="*/ 0 h 160"/>
                <a:gd name="T2" fmla="*/ 120 w 120"/>
                <a:gd name="T3" fmla="*/ 80 h 160"/>
                <a:gd name="T4" fmla="*/ 40 w 120"/>
                <a:gd name="T5" fmla="*/ 160 h 160"/>
                <a:gd name="T6" fmla="*/ 0 w 120"/>
                <a:gd name="T7" fmla="*/ 120 h 160"/>
                <a:gd name="T8" fmla="*/ 40 w 120"/>
                <a:gd name="T9" fmla="*/ 80 h 160"/>
                <a:gd name="T10" fmla="*/ 40 w 120"/>
                <a:gd name="T11" fmla="*/ 0 h 160"/>
                <a:gd name="T12" fmla="*/ 120 w 120"/>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20" h="160">
                  <a:moveTo>
                    <a:pt x="120" y="0"/>
                  </a:moveTo>
                  <a:lnTo>
                    <a:pt x="120" y="80"/>
                  </a:lnTo>
                  <a:lnTo>
                    <a:pt x="40" y="160"/>
                  </a:lnTo>
                  <a:lnTo>
                    <a:pt x="0" y="120"/>
                  </a:lnTo>
                  <a:lnTo>
                    <a:pt x="40" y="80"/>
                  </a:lnTo>
                  <a:lnTo>
                    <a:pt x="40" y="0"/>
                  </a:lnTo>
                  <a:lnTo>
                    <a:pt x="120" y="0"/>
                  </a:lnTo>
                  <a:close/>
                </a:path>
              </a:pathLst>
            </a:custGeom>
            <a:solidFill>
              <a:srgbClr val="BFCE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3" name="Freeform 26">
              <a:extLst>
                <a:ext uri="{FF2B5EF4-FFF2-40B4-BE49-F238E27FC236}">
                  <a16:creationId xmlns:a16="http://schemas.microsoft.com/office/drawing/2014/main" id="{AE6F7C02-17F5-4A71-95E5-AB7D4FD984E8}"/>
                </a:ext>
              </a:extLst>
            </p:cNvPr>
            <p:cNvSpPr>
              <a:spLocks noSelect="1"/>
            </p:cNvSpPr>
            <p:nvPr userDrawn="1"/>
          </p:nvSpPr>
          <p:spPr bwMode="gray">
            <a:xfrm>
              <a:off x="402" y="3799"/>
              <a:ext cx="160" cy="120"/>
            </a:xfrm>
            <a:custGeom>
              <a:avLst/>
              <a:gdLst>
                <a:gd name="T0" fmla="*/ 160 w 160"/>
                <a:gd name="T1" fmla="*/ 0 h 120"/>
                <a:gd name="T2" fmla="*/ 160 w 160"/>
                <a:gd name="T3" fmla="*/ 80 h 120"/>
                <a:gd name="T4" fmla="*/ 80 w 160"/>
                <a:gd name="T5" fmla="*/ 80 h 120"/>
                <a:gd name="T6" fmla="*/ 40 w 160"/>
                <a:gd name="T7" fmla="*/ 120 h 120"/>
                <a:gd name="T8" fmla="*/ 0 w 160"/>
                <a:gd name="T9" fmla="*/ 80 h 120"/>
                <a:gd name="T10" fmla="*/ 80 w 160"/>
                <a:gd name="T11" fmla="*/ 0 h 120"/>
                <a:gd name="T12" fmla="*/ 160 w 160"/>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60" h="120">
                  <a:moveTo>
                    <a:pt x="160" y="0"/>
                  </a:moveTo>
                  <a:lnTo>
                    <a:pt x="160" y="80"/>
                  </a:lnTo>
                  <a:lnTo>
                    <a:pt x="80" y="80"/>
                  </a:lnTo>
                  <a:lnTo>
                    <a:pt x="40" y="120"/>
                  </a:lnTo>
                  <a:lnTo>
                    <a:pt x="0" y="80"/>
                  </a:lnTo>
                  <a:lnTo>
                    <a:pt x="80" y="0"/>
                  </a:lnTo>
                  <a:lnTo>
                    <a:pt x="160" y="0"/>
                  </a:lnTo>
                  <a:close/>
                </a:path>
              </a:pathLst>
            </a:custGeom>
            <a:solidFill>
              <a:srgbClr val="78BC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grpSp>
      <p:grpSp>
        <p:nvGrpSpPr>
          <p:cNvPr id="4" name="Groep 3"/>
          <p:cNvGrpSpPr>
            <a:grpSpLocks noSelect="1"/>
          </p:cNvGrpSpPr>
          <p:nvPr userDrawn="1"/>
        </p:nvGrpSpPr>
        <p:grpSpPr bwMode="gray">
          <a:xfrm>
            <a:off x="6478588" y="5715581"/>
            <a:ext cx="5716588" cy="1146175"/>
            <a:chOff x="6478588" y="5713200"/>
            <a:chExt cx="5716588" cy="1146175"/>
          </a:xfrm>
        </p:grpSpPr>
        <p:sp>
          <p:nvSpPr>
            <p:cNvPr id="25" name="---Onder grijs">
              <a:extLst>
                <a:ext uri="{FF2B5EF4-FFF2-40B4-BE49-F238E27FC236}">
                  <a16:creationId xmlns:a16="http://schemas.microsoft.com/office/drawing/2014/main" id="{2A16FA18-9949-499B-9868-DC6C119593BC}"/>
                </a:ext>
              </a:extLst>
            </p:cNvPr>
            <p:cNvSpPr>
              <a:spLocks noSelect="1"/>
            </p:cNvSpPr>
            <p:nvPr userDrawn="1"/>
          </p:nvSpPr>
          <p:spPr bwMode="gray">
            <a:xfrm>
              <a:off x="6478588" y="5713200"/>
              <a:ext cx="5716588" cy="1146175"/>
            </a:xfrm>
            <a:custGeom>
              <a:avLst/>
              <a:gdLst>
                <a:gd name="T0" fmla="*/ 4081 w 18004"/>
                <a:gd name="T1" fmla="*/ 69 h 3615"/>
                <a:gd name="T2" fmla="*/ 4999 w 18004"/>
                <a:gd name="T3" fmla="*/ 0 h 3615"/>
                <a:gd name="T4" fmla="*/ 4922 w 18004"/>
                <a:gd name="T5" fmla="*/ 564 h 3615"/>
                <a:gd name="T6" fmla="*/ 5139 w 18004"/>
                <a:gd name="T7" fmla="*/ 3404 h 3615"/>
                <a:gd name="T8" fmla="*/ 5117 w 18004"/>
                <a:gd name="T9" fmla="*/ 3600 h 3615"/>
                <a:gd name="T10" fmla="*/ 4520 w 18004"/>
                <a:gd name="T11" fmla="*/ 3310 h 3615"/>
                <a:gd name="T12" fmla="*/ 3509 w 18004"/>
                <a:gd name="T13" fmla="*/ 3411 h 3615"/>
                <a:gd name="T14" fmla="*/ 3318 w 18004"/>
                <a:gd name="T15" fmla="*/ 3258 h 3615"/>
                <a:gd name="T16" fmla="*/ 3293 w 18004"/>
                <a:gd name="T17" fmla="*/ 3107 h 3615"/>
                <a:gd name="T18" fmla="*/ 4189 w 18004"/>
                <a:gd name="T19" fmla="*/ 2929 h 3615"/>
                <a:gd name="T20" fmla="*/ 5553 w 18004"/>
                <a:gd name="T21" fmla="*/ 2498 h 3615"/>
                <a:gd name="T22" fmla="*/ 5134 w 18004"/>
                <a:gd name="T23" fmla="*/ 2164 h 3615"/>
                <a:gd name="T24" fmla="*/ 131 w 18004"/>
                <a:gd name="T25" fmla="*/ 2201 h 3615"/>
                <a:gd name="T26" fmla="*/ 191 w 18004"/>
                <a:gd name="T27" fmla="*/ 1972 h 3615"/>
                <a:gd name="T28" fmla="*/ 5445 w 18004"/>
                <a:gd name="T29" fmla="*/ 2827 h 3615"/>
                <a:gd name="T30" fmla="*/ 5083 w 18004"/>
                <a:gd name="T31" fmla="*/ 2970 h 3615"/>
                <a:gd name="T32" fmla="*/ 1260 w 18004"/>
                <a:gd name="T33" fmla="*/ 967 h 3615"/>
                <a:gd name="T34" fmla="*/ 1850 w 18004"/>
                <a:gd name="T35" fmla="*/ 455 h 3615"/>
                <a:gd name="T36" fmla="*/ 2989 w 18004"/>
                <a:gd name="T37" fmla="*/ 761 h 3615"/>
                <a:gd name="T38" fmla="*/ 2974 w 18004"/>
                <a:gd name="T39" fmla="*/ 832 h 3615"/>
                <a:gd name="T40" fmla="*/ 14992 w 18004"/>
                <a:gd name="T41" fmla="*/ 0 h 3615"/>
                <a:gd name="T42" fmla="*/ 13818 w 18004"/>
                <a:gd name="T43" fmla="*/ 328 h 3615"/>
                <a:gd name="T44" fmla="*/ 11201 w 18004"/>
                <a:gd name="T45" fmla="*/ 553 h 3615"/>
                <a:gd name="T46" fmla="*/ 10915 w 18004"/>
                <a:gd name="T47" fmla="*/ 574 h 3615"/>
                <a:gd name="T48" fmla="*/ 9185 w 18004"/>
                <a:gd name="T49" fmla="*/ 270 h 3615"/>
                <a:gd name="T50" fmla="*/ 7684 w 18004"/>
                <a:gd name="T51" fmla="*/ 1941 h 3615"/>
                <a:gd name="T52" fmla="*/ 5023 w 18004"/>
                <a:gd name="T53" fmla="*/ 219 h 3615"/>
                <a:gd name="T54" fmla="*/ 4581 w 18004"/>
                <a:gd name="T55" fmla="*/ 160 h 3615"/>
                <a:gd name="T56" fmla="*/ 3894 w 18004"/>
                <a:gd name="T57" fmla="*/ 0 h 3615"/>
                <a:gd name="T58" fmla="*/ 3629 w 18004"/>
                <a:gd name="T59" fmla="*/ 130 h 3615"/>
                <a:gd name="T60" fmla="*/ 3932 w 18004"/>
                <a:gd name="T61" fmla="*/ 1715 h 3615"/>
                <a:gd name="T62" fmla="*/ 2644 w 18004"/>
                <a:gd name="T63" fmla="*/ 291 h 3615"/>
                <a:gd name="T64" fmla="*/ 2031 w 18004"/>
                <a:gd name="T65" fmla="*/ 788 h 3615"/>
                <a:gd name="T66" fmla="*/ 1231 w 18004"/>
                <a:gd name="T67" fmla="*/ 3438 h 3615"/>
                <a:gd name="T68" fmla="*/ 2824 w 18004"/>
                <a:gd name="T69" fmla="*/ 2477 h 3615"/>
                <a:gd name="T70" fmla="*/ 3349 w 18004"/>
                <a:gd name="T71" fmla="*/ 3566 h 3615"/>
                <a:gd name="T72" fmla="*/ 4923 w 18004"/>
                <a:gd name="T73" fmla="*/ 1907 h 3615"/>
                <a:gd name="T74" fmla="*/ 5580 w 18004"/>
                <a:gd name="T75" fmla="*/ 3534 h 3615"/>
                <a:gd name="T76" fmla="*/ 7546 w 18004"/>
                <a:gd name="T77" fmla="*/ 3600 h 3615"/>
                <a:gd name="T78" fmla="*/ 11144 w 18004"/>
                <a:gd name="T79" fmla="*/ 2799 h 3615"/>
                <a:gd name="T80" fmla="*/ 15308 w 18004"/>
                <a:gd name="T81" fmla="*/ 3532 h 3615"/>
                <a:gd name="T82" fmla="*/ 17257 w 18004"/>
                <a:gd name="T83" fmla="*/ 2238 h 3615"/>
                <a:gd name="T84" fmla="*/ 17477 w 18004"/>
                <a:gd name="T85" fmla="*/ 2376 h 3615"/>
                <a:gd name="T86" fmla="*/ 3078 w 18004"/>
                <a:gd name="T87" fmla="*/ 342 h 3615"/>
                <a:gd name="T88" fmla="*/ 2516 w 18004"/>
                <a:gd name="T89" fmla="*/ 425 h 3615"/>
                <a:gd name="T90" fmla="*/ 3403 w 18004"/>
                <a:gd name="T91" fmla="*/ 1858 h 3615"/>
                <a:gd name="T92" fmla="*/ 2351 w 18004"/>
                <a:gd name="T93" fmla="*/ 1567 h 3615"/>
                <a:gd name="T94" fmla="*/ 3095 w 18004"/>
                <a:gd name="T95" fmla="*/ 1820 h 3615"/>
                <a:gd name="T96" fmla="*/ 4144 w 18004"/>
                <a:gd name="T97" fmla="*/ 1955 h 3615"/>
                <a:gd name="T98" fmla="*/ 3814 w 18004"/>
                <a:gd name="T99" fmla="*/ 2784 h 3615"/>
                <a:gd name="T100" fmla="*/ 3970 w 18004"/>
                <a:gd name="T101" fmla="*/ 2899 h 3615"/>
                <a:gd name="T102" fmla="*/ 3602 w 18004"/>
                <a:gd name="T103" fmla="*/ 3224 h 3615"/>
                <a:gd name="T104" fmla="*/ 4289 w 18004"/>
                <a:gd name="T105" fmla="*/ 3336 h 3615"/>
                <a:gd name="T106" fmla="*/ 3844 w 18004"/>
                <a:gd name="T107" fmla="*/ 2396 h 3615"/>
                <a:gd name="T108" fmla="*/ 4974 w 18004"/>
                <a:gd name="T109" fmla="*/ 3218 h 3615"/>
                <a:gd name="T110" fmla="*/ 6695 w 18004"/>
                <a:gd name="T111" fmla="*/ 1906 h 3615"/>
                <a:gd name="T112" fmla="*/ 10817 w 18004"/>
                <a:gd name="T113" fmla="*/ 606 h 3615"/>
                <a:gd name="T114" fmla="*/ 11184 w 18004"/>
                <a:gd name="T115" fmla="*/ 541 h 3615"/>
                <a:gd name="T116" fmla="*/ 7822 w 18004"/>
                <a:gd name="T117" fmla="*/ 958 h 3615"/>
                <a:gd name="T118" fmla="*/ 9048 w 18004"/>
                <a:gd name="T119" fmla="*/ 1695 h 3615"/>
                <a:gd name="T120" fmla="*/ 12939 w 18004"/>
                <a:gd name="T121" fmla="*/ 2718 h 3615"/>
                <a:gd name="T122" fmla="*/ 101 w 18004"/>
                <a:gd name="T123" fmla="*/ 552 h 3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04" h="3615">
                  <a:moveTo>
                    <a:pt x="3946" y="222"/>
                  </a:moveTo>
                  <a:cubicBezTo>
                    <a:pt x="3999" y="168"/>
                    <a:pt x="3999" y="168"/>
                    <a:pt x="3999" y="168"/>
                  </a:cubicBezTo>
                  <a:cubicBezTo>
                    <a:pt x="4051" y="219"/>
                    <a:pt x="4051" y="219"/>
                    <a:pt x="4051" y="219"/>
                  </a:cubicBezTo>
                  <a:cubicBezTo>
                    <a:pt x="4150" y="118"/>
                    <a:pt x="4150" y="118"/>
                    <a:pt x="4150" y="118"/>
                  </a:cubicBezTo>
                  <a:cubicBezTo>
                    <a:pt x="4081" y="51"/>
                    <a:pt x="4081" y="51"/>
                    <a:pt x="4081" y="51"/>
                  </a:cubicBezTo>
                  <a:cubicBezTo>
                    <a:pt x="4076" y="55"/>
                    <a:pt x="4076" y="55"/>
                    <a:pt x="4076" y="55"/>
                  </a:cubicBezTo>
                  <a:cubicBezTo>
                    <a:pt x="4068" y="64"/>
                    <a:pt x="4068" y="64"/>
                    <a:pt x="4068" y="64"/>
                  </a:cubicBezTo>
                  <a:cubicBezTo>
                    <a:pt x="4033" y="29"/>
                    <a:pt x="4033" y="29"/>
                    <a:pt x="4033" y="29"/>
                  </a:cubicBezTo>
                  <a:cubicBezTo>
                    <a:pt x="3896" y="164"/>
                    <a:pt x="3896" y="164"/>
                    <a:pt x="3896" y="164"/>
                  </a:cubicBezTo>
                  <a:cubicBezTo>
                    <a:pt x="3892" y="169"/>
                    <a:pt x="3892" y="169"/>
                    <a:pt x="3892" y="169"/>
                  </a:cubicBezTo>
                  <a:lnTo>
                    <a:pt x="3946" y="222"/>
                  </a:lnTo>
                  <a:close/>
                  <a:moveTo>
                    <a:pt x="4033" y="47"/>
                  </a:moveTo>
                  <a:cubicBezTo>
                    <a:pt x="4068" y="82"/>
                    <a:pt x="4068" y="82"/>
                    <a:pt x="4068" y="82"/>
                  </a:cubicBezTo>
                  <a:cubicBezTo>
                    <a:pt x="4073" y="78"/>
                    <a:pt x="4073" y="78"/>
                    <a:pt x="4073" y="78"/>
                  </a:cubicBezTo>
                  <a:cubicBezTo>
                    <a:pt x="4081" y="69"/>
                    <a:pt x="4081" y="69"/>
                    <a:pt x="4081" y="69"/>
                  </a:cubicBezTo>
                  <a:cubicBezTo>
                    <a:pt x="4131" y="119"/>
                    <a:pt x="4131" y="119"/>
                    <a:pt x="4131" y="119"/>
                  </a:cubicBezTo>
                  <a:cubicBezTo>
                    <a:pt x="4051" y="200"/>
                    <a:pt x="4051" y="200"/>
                    <a:pt x="4051" y="200"/>
                  </a:cubicBezTo>
                  <a:cubicBezTo>
                    <a:pt x="3999" y="149"/>
                    <a:pt x="3999" y="149"/>
                    <a:pt x="3999" y="149"/>
                  </a:cubicBezTo>
                  <a:cubicBezTo>
                    <a:pt x="3946" y="203"/>
                    <a:pt x="3946" y="203"/>
                    <a:pt x="3946" y="203"/>
                  </a:cubicBezTo>
                  <a:cubicBezTo>
                    <a:pt x="3910" y="169"/>
                    <a:pt x="3910" y="169"/>
                    <a:pt x="3910" y="169"/>
                  </a:cubicBezTo>
                  <a:lnTo>
                    <a:pt x="4033" y="47"/>
                  </a:lnTo>
                  <a:close/>
                  <a:moveTo>
                    <a:pt x="4831" y="23"/>
                  </a:moveTo>
                  <a:cubicBezTo>
                    <a:pt x="4831" y="0"/>
                    <a:pt x="4831" y="0"/>
                    <a:pt x="4831" y="0"/>
                  </a:cubicBezTo>
                  <a:cubicBezTo>
                    <a:pt x="4844" y="0"/>
                    <a:pt x="4844" y="0"/>
                    <a:pt x="4844" y="0"/>
                  </a:cubicBezTo>
                  <a:cubicBezTo>
                    <a:pt x="4844" y="16"/>
                    <a:pt x="4844" y="16"/>
                    <a:pt x="4844" y="16"/>
                  </a:cubicBezTo>
                  <a:cubicBezTo>
                    <a:pt x="4902" y="16"/>
                    <a:pt x="4902" y="16"/>
                    <a:pt x="4902" y="16"/>
                  </a:cubicBezTo>
                  <a:cubicBezTo>
                    <a:pt x="4902" y="89"/>
                    <a:pt x="4902" y="89"/>
                    <a:pt x="4902" y="89"/>
                  </a:cubicBezTo>
                  <a:cubicBezTo>
                    <a:pt x="4986" y="88"/>
                    <a:pt x="4986" y="88"/>
                    <a:pt x="4986" y="88"/>
                  </a:cubicBezTo>
                  <a:cubicBezTo>
                    <a:pt x="4985" y="0"/>
                    <a:pt x="4985" y="0"/>
                    <a:pt x="4985" y="0"/>
                  </a:cubicBezTo>
                  <a:cubicBezTo>
                    <a:pt x="4999" y="0"/>
                    <a:pt x="4999" y="0"/>
                    <a:pt x="4999" y="0"/>
                  </a:cubicBezTo>
                  <a:cubicBezTo>
                    <a:pt x="4999" y="101"/>
                    <a:pt x="4999" y="101"/>
                    <a:pt x="4999" y="101"/>
                  </a:cubicBezTo>
                  <a:cubicBezTo>
                    <a:pt x="4889" y="102"/>
                    <a:pt x="4889" y="102"/>
                    <a:pt x="4889" y="102"/>
                  </a:cubicBezTo>
                  <a:cubicBezTo>
                    <a:pt x="4889" y="29"/>
                    <a:pt x="4889" y="29"/>
                    <a:pt x="4889" y="29"/>
                  </a:cubicBezTo>
                  <a:cubicBezTo>
                    <a:pt x="4832" y="29"/>
                    <a:pt x="4832" y="29"/>
                    <a:pt x="4832" y="29"/>
                  </a:cubicBezTo>
                  <a:lnTo>
                    <a:pt x="4831" y="23"/>
                  </a:lnTo>
                  <a:close/>
                  <a:moveTo>
                    <a:pt x="4724" y="465"/>
                  </a:moveTo>
                  <a:cubicBezTo>
                    <a:pt x="4725" y="635"/>
                    <a:pt x="4725" y="635"/>
                    <a:pt x="4725" y="635"/>
                  </a:cubicBezTo>
                  <a:cubicBezTo>
                    <a:pt x="4810" y="636"/>
                    <a:pt x="4810" y="636"/>
                    <a:pt x="4810" y="636"/>
                  </a:cubicBezTo>
                  <a:cubicBezTo>
                    <a:pt x="4811" y="733"/>
                    <a:pt x="4811" y="733"/>
                    <a:pt x="4811" y="733"/>
                  </a:cubicBezTo>
                  <a:cubicBezTo>
                    <a:pt x="4933" y="733"/>
                    <a:pt x="4933" y="733"/>
                    <a:pt x="4933" y="733"/>
                  </a:cubicBezTo>
                  <a:cubicBezTo>
                    <a:pt x="4936" y="551"/>
                    <a:pt x="4936" y="551"/>
                    <a:pt x="4936" y="551"/>
                  </a:cubicBezTo>
                  <a:cubicBezTo>
                    <a:pt x="4852" y="550"/>
                    <a:pt x="4852" y="550"/>
                    <a:pt x="4852" y="550"/>
                  </a:cubicBezTo>
                  <a:cubicBezTo>
                    <a:pt x="4855" y="466"/>
                    <a:pt x="4855" y="466"/>
                    <a:pt x="4855" y="466"/>
                  </a:cubicBezTo>
                  <a:lnTo>
                    <a:pt x="4724" y="465"/>
                  </a:lnTo>
                  <a:close/>
                  <a:moveTo>
                    <a:pt x="4922" y="564"/>
                  </a:moveTo>
                  <a:cubicBezTo>
                    <a:pt x="4920" y="720"/>
                    <a:pt x="4920" y="720"/>
                    <a:pt x="4920" y="720"/>
                  </a:cubicBezTo>
                  <a:cubicBezTo>
                    <a:pt x="4824" y="720"/>
                    <a:pt x="4824" y="720"/>
                    <a:pt x="4824" y="720"/>
                  </a:cubicBezTo>
                  <a:cubicBezTo>
                    <a:pt x="4823" y="630"/>
                    <a:pt x="4823" y="630"/>
                    <a:pt x="4823" y="630"/>
                  </a:cubicBezTo>
                  <a:cubicBezTo>
                    <a:pt x="4823" y="623"/>
                    <a:pt x="4823" y="623"/>
                    <a:pt x="4823" y="623"/>
                  </a:cubicBezTo>
                  <a:cubicBezTo>
                    <a:pt x="4738" y="622"/>
                    <a:pt x="4738" y="622"/>
                    <a:pt x="4738" y="622"/>
                  </a:cubicBezTo>
                  <a:cubicBezTo>
                    <a:pt x="4737" y="478"/>
                    <a:pt x="4737" y="478"/>
                    <a:pt x="4737" y="478"/>
                  </a:cubicBezTo>
                  <a:cubicBezTo>
                    <a:pt x="4841" y="479"/>
                    <a:pt x="4841" y="479"/>
                    <a:pt x="4841" y="479"/>
                  </a:cubicBezTo>
                  <a:cubicBezTo>
                    <a:pt x="4838" y="563"/>
                    <a:pt x="4838" y="563"/>
                    <a:pt x="4838" y="563"/>
                  </a:cubicBezTo>
                  <a:lnTo>
                    <a:pt x="4922" y="564"/>
                  </a:lnTo>
                  <a:close/>
                  <a:moveTo>
                    <a:pt x="5139" y="3404"/>
                  </a:moveTo>
                  <a:cubicBezTo>
                    <a:pt x="5156" y="3294"/>
                    <a:pt x="5156" y="3294"/>
                    <a:pt x="5156" y="3294"/>
                  </a:cubicBezTo>
                  <a:cubicBezTo>
                    <a:pt x="5002" y="3271"/>
                    <a:pt x="5002" y="3271"/>
                    <a:pt x="5002" y="3271"/>
                  </a:cubicBezTo>
                  <a:cubicBezTo>
                    <a:pt x="4986" y="3381"/>
                    <a:pt x="4986" y="3381"/>
                    <a:pt x="4986" y="3381"/>
                  </a:cubicBezTo>
                  <a:cubicBezTo>
                    <a:pt x="5133" y="3403"/>
                    <a:pt x="5133" y="3403"/>
                    <a:pt x="5133" y="3403"/>
                  </a:cubicBezTo>
                  <a:lnTo>
                    <a:pt x="5139" y="3404"/>
                  </a:lnTo>
                  <a:close/>
                  <a:moveTo>
                    <a:pt x="5001" y="3370"/>
                  </a:moveTo>
                  <a:cubicBezTo>
                    <a:pt x="5013" y="3286"/>
                    <a:pt x="5013" y="3286"/>
                    <a:pt x="5013" y="3286"/>
                  </a:cubicBezTo>
                  <a:cubicBezTo>
                    <a:pt x="5141" y="3305"/>
                    <a:pt x="5141" y="3305"/>
                    <a:pt x="5141" y="3305"/>
                  </a:cubicBezTo>
                  <a:cubicBezTo>
                    <a:pt x="5128" y="3389"/>
                    <a:pt x="5128" y="3389"/>
                    <a:pt x="5128" y="3389"/>
                  </a:cubicBezTo>
                  <a:lnTo>
                    <a:pt x="5001" y="3370"/>
                  </a:lnTo>
                  <a:close/>
                  <a:moveTo>
                    <a:pt x="4974" y="3592"/>
                  </a:moveTo>
                  <a:cubicBezTo>
                    <a:pt x="5028" y="3600"/>
                    <a:pt x="5028" y="3600"/>
                    <a:pt x="5028" y="3600"/>
                  </a:cubicBezTo>
                  <a:cubicBezTo>
                    <a:pt x="5121" y="3614"/>
                    <a:pt x="5121" y="3614"/>
                    <a:pt x="5121" y="3614"/>
                  </a:cubicBezTo>
                  <a:cubicBezTo>
                    <a:pt x="5128" y="3615"/>
                    <a:pt x="5128" y="3615"/>
                    <a:pt x="5128" y="3615"/>
                  </a:cubicBezTo>
                  <a:cubicBezTo>
                    <a:pt x="5130" y="3600"/>
                    <a:pt x="5130" y="3600"/>
                    <a:pt x="5130" y="3600"/>
                  </a:cubicBezTo>
                  <a:cubicBezTo>
                    <a:pt x="5144" y="3505"/>
                    <a:pt x="5144" y="3505"/>
                    <a:pt x="5144" y="3505"/>
                  </a:cubicBezTo>
                  <a:cubicBezTo>
                    <a:pt x="4991" y="3482"/>
                    <a:pt x="4991" y="3482"/>
                    <a:pt x="4991" y="3482"/>
                  </a:cubicBezTo>
                  <a:lnTo>
                    <a:pt x="4974" y="3592"/>
                  </a:lnTo>
                  <a:close/>
                  <a:moveTo>
                    <a:pt x="5129" y="3516"/>
                  </a:moveTo>
                  <a:cubicBezTo>
                    <a:pt x="5117" y="3600"/>
                    <a:pt x="5117" y="3600"/>
                    <a:pt x="5117" y="3600"/>
                  </a:cubicBezTo>
                  <a:cubicBezTo>
                    <a:pt x="5117" y="3600"/>
                    <a:pt x="5117" y="3600"/>
                    <a:pt x="5117" y="3600"/>
                  </a:cubicBezTo>
                  <a:cubicBezTo>
                    <a:pt x="5116" y="3600"/>
                    <a:pt x="5116" y="3600"/>
                    <a:pt x="5116" y="3600"/>
                  </a:cubicBezTo>
                  <a:cubicBezTo>
                    <a:pt x="4989" y="3581"/>
                    <a:pt x="4989" y="3581"/>
                    <a:pt x="4989" y="3581"/>
                  </a:cubicBezTo>
                  <a:cubicBezTo>
                    <a:pt x="5002" y="3497"/>
                    <a:pt x="5002" y="3497"/>
                    <a:pt x="5002" y="3497"/>
                  </a:cubicBezTo>
                  <a:lnTo>
                    <a:pt x="5129" y="3516"/>
                  </a:lnTo>
                  <a:close/>
                  <a:moveTo>
                    <a:pt x="4531" y="3325"/>
                  </a:moveTo>
                  <a:cubicBezTo>
                    <a:pt x="4548" y="3215"/>
                    <a:pt x="4548" y="3215"/>
                    <a:pt x="4548" y="3215"/>
                  </a:cubicBezTo>
                  <a:cubicBezTo>
                    <a:pt x="4394" y="3192"/>
                    <a:pt x="4394" y="3192"/>
                    <a:pt x="4394" y="3192"/>
                  </a:cubicBezTo>
                  <a:cubicBezTo>
                    <a:pt x="4378" y="3302"/>
                    <a:pt x="4378" y="3302"/>
                    <a:pt x="4378" y="3302"/>
                  </a:cubicBezTo>
                  <a:cubicBezTo>
                    <a:pt x="4525" y="3324"/>
                    <a:pt x="4525" y="3324"/>
                    <a:pt x="4525" y="3324"/>
                  </a:cubicBezTo>
                  <a:lnTo>
                    <a:pt x="4531" y="3325"/>
                  </a:lnTo>
                  <a:close/>
                  <a:moveTo>
                    <a:pt x="4393" y="3291"/>
                  </a:moveTo>
                  <a:cubicBezTo>
                    <a:pt x="4405" y="3207"/>
                    <a:pt x="4405" y="3207"/>
                    <a:pt x="4405" y="3207"/>
                  </a:cubicBezTo>
                  <a:cubicBezTo>
                    <a:pt x="4533" y="3226"/>
                    <a:pt x="4533" y="3226"/>
                    <a:pt x="4533" y="3226"/>
                  </a:cubicBezTo>
                  <a:cubicBezTo>
                    <a:pt x="4520" y="3310"/>
                    <a:pt x="4520" y="3310"/>
                    <a:pt x="4520" y="3310"/>
                  </a:cubicBezTo>
                  <a:lnTo>
                    <a:pt x="4393" y="3291"/>
                  </a:lnTo>
                  <a:close/>
                  <a:moveTo>
                    <a:pt x="4508" y="3529"/>
                  </a:moveTo>
                  <a:cubicBezTo>
                    <a:pt x="4524" y="3419"/>
                    <a:pt x="4524" y="3419"/>
                    <a:pt x="4524" y="3419"/>
                  </a:cubicBezTo>
                  <a:cubicBezTo>
                    <a:pt x="4371" y="3396"/>
                    <a:pt x="4371" y="3396"/>
                    <a:pt x="4371" y="3396"/>
                  </a:cubicBezTo>
                  <a:cubicBezTo>
                    <a:pt x="4354" y="3506"/>
                    <a:pt x="4354" y="3506"/>
                    <a:pt x="4354" y="3506"/>
                  </a:cubicBezTo>
                  <a:cubicBezTo>
                    <a:pt x="4501" y="3528"/>
                    <a:pt x="4501" y="3528"/>
                    <a:pt x="4501" y="3528"/>
                  </a:cubicBezTo>
                  <a:lnTo>
                    <a:pt x="4508" y="3529"/>
                  </a:lnTo>
                  <a:close/>
                  <a:moveTo>
                    <a:pt x="4369" y="3495"/>
                  </a:moveTo>
                  <a:cubicBezTo>
                    <a:pt x="4382" y="3411"/>
                    <a:pt x="4382" y="3411"/>
                    <a:pt x="4382" y="3411"/>
                  </a:cubicBezTo>
                  <a:cubicBezTo>
                    <a:pt x="4509" y="3430"/>
                    <a:pt x="4509" y="3430"/>
                    <a:pt x="4509" y="3430"/>
                  </a:cubicBezTo>
                  <a:cubicBezTo>
                    <a:pt x="4497" y="3514"/>
                    <a:pt x="4497" y="3514"/>
                    <a:pt x="4497" y="3514"/>
                  </a:cubicBezTo>
                  <a:lnTo>
                    <a:pt x="4369" y="3495"/>
                  </a:lnTo>
                  <a:close/>
                  <a:moveTo>
                    <a:pt x="3356" y="3514"/>
                  </a:moveTo>
                  <a:cubicBezTo>
                    <a:pt x="3507" y="3517"/>
                    <a:pt x="3507" y="3517"/>
                    <a:pt x="3507" y="3517"/>
                  </a:cubicBezTo>
                  <a:cubicBezTo>
                    <a:pt x="3509" y="3411"/>
                    <a:pt x="3509" y="3411"/>
                    <a:pt x="3509" y="3411"/>
                  </a:cubicBezTo>
                  <a:cubicBezTo>
                    <a:pt x="3365" y="3409"/>
                    <a:pt x="3365" y="3409"/>
                    <a:pt x="3365" y="3409"/>
                  </a:cubicBezTo>
                  <a:cubicBezTo>
                    <a:pt x="3358" y="3408"/>
                    <a:pt x="3358" y="3408"/>
                    <a:pt x="3358" y="3408"/>
                  </a:cubicBezTo>
                  <a:lnTo>
                    <a:pt x="3356" y="3514"/>
                  </a:lnTo>
                  <a:close/>
                  <a:moveTo>
                    <a:pt x="3371" y="3421"/>
                  </a:moveTo>
                  <a:cubicBezTo>
                    <a:pt x="3497" y="3424"/>
                    <a:pt x="3497" y="3424"/>
                    <a:pt x="3497" y="3424"/>
                  </a:cubicBezTo>
                  <a:cubicBezTo>
                    <a:pt x="3495" y="3504"/>
                    <a:pt x="3495" y="3504"/>
                    <a:pt x="3495" y="3504"/>
                  </a:cubicBezTo>
                  <a:cubicBezTo>
                    <a:pt x="3369" y="3502"/>
                    <a:pt x="3369" y="3502"/>
                    <a:pt x="3369" y="3502"/>
                  </a:cubicBezTo>
                  <a:lnTo>
                    <a:pt x="3371" y="3421"/>
                  </a:lnTo>
                  <a:close/>
                  <a:moveTo>
                    <a:pt x="3305" y="3246"/>
                  </a:moveTo>
                  <a:cubicBezTo>
                    <a:pt x="3303" y="3351"/>
                    <a:pt x="3303" y="3351"/>
                    <a:pt x="3303" y="3351"/>
                  </a:cubicBezTo>
                  <a:cubicBezTo>
                    <a:pt x="3454" y="3354"/>
                    <a:pt x="3454" y="3354"/>
                    <a:pt x="3454" y="3354"/>
                  </a:cubicBezTo>
                  <a:cubicBezTo>
                    <a:pt x="3457" y="3249"/>
                    <a:pt x="3457" y="3249"/>
                    <a:pt x="3457" y="3249"/>
                  </a:cubicBezTo>
                  <a:cubicBezTo>
                    <a:pt x="3312" y="3246"/>
                    <a:pt x="3312" y="3246"/>
                    <a:pt x="3312" y="3246"/>
                  </a:cubicBezTo>
                  <a:lnTo>
                    <a:pt x="3305" y="3246"/>
                  </a:lnTo>
                  <a:close/>
                  <a:moveTo>
                    <a:pt x="3318" y="3258"/>
                  </a:moveTo>
                  <a:cubicBezTo>
                    <a:pt x="3444" y="3261"/>
                    <a:pt x="3444" y="3261"/>
                    <a:pt x="3444" y="3261"/>
                  </a:cubicBezTo>
                  <a:cubicBezTo>
                    <a:pt x="3442" y="3341"/>
                    <a:pt x="3442" y="3341"/>
                    <a:pt x="3442" y="3341"/>
                  </a:cubicBezTo>
                  <a:cubicBezTo>
                    <a:pt x="3316" y="3339"/>
                    <a:pt x="3316" y="3339"/>
                    <a:pt x="3316" y="3339"/>
                  </a:cubicBezTo>
                  <a:lnTo>
                    <a:pt x="3318" y="3258"/>
                  </a:lnTo>
                  <a:close/>
                  <a:moveTo>
                    <a:pt x="3281" y="3094"/>
                  </a:moveTo>
                  <a:cubicBezTo>
                    <a:pt x="3278" y="3200"/>
                    <a:pt x="3278" y="3200"/>
                    <a:pt x="3278" y="3200"/>
                  </a:cubicBezTo>
                  <a:cubicBezTo>
                    <a:pt x="3430" y="3203"/>
                    <a:pt x="3430" y="3203"/>
                    <a:pt x="3430" y="3203"/>
                  </a:cubicBezTo>
                  <a:cubicBezTo>
                    <a:pt x="3432" y="3097"/>
                    <a:pt x="3432" y="3097"/>
                    <a:pt x="3432" y="3097"/>
                  </a:cubicBezTo>
                  <a:cubicBezTo>
                    <a:pt x="3287" y="3094"/>
                    <a:pt x="3287" y="3094"/>
                    <a:pt x="3287" y="3094"/>
                  </a:cubicBezTo>
                  <a:lnTo>
                    <a:pt x="3281" y="3094"/>
                  </a:lnTo>
                  <a:close/>
                  <a:moveTo>
                    <a:pt x="3293" y="3107"/>
                  </a:moveTo>
                  <a:cubicBezTo>
                    <a:pt x="3419" y="3110"/>
                    <a:pt x="3419" y="3110"/>
                    <a:pt x="3419" y="3110"/>
                  </a:cubicBezTo>
                  <a:cubicBezTo>
                    <a:pt x="3417" y="3190"/>
                    <a:pt x="3417" y="3190"/>
                    <a:pt x="3417" y="3190"/>
                  </a:cubicBezTo>
                  <a:cubicBezTo>
                    <a:pt x="3291" y="3187"/>
                    <a:pt x="3291" y="3187"/>
                    <a:pt x="3291" y="3187"/>
                  </a:cubicBezTo>
                  <a:lnTo>
                    <a:pt x="3293" y="3107"/>
                  </a:lnTo>
                  <a:close/>
                  <a:moveTo>
                    <a:pt x="3896" y="2899"/>
                  </a:moveTo>
                  <a:cubicBezTo>
                    <a:pt x="3752" y="2896"/>
                    <a:pt x="3752" y="2896"/>
                    <a:pt x="3752" y="2896"/>
                  </a:cubicBezTo>
                  <a:cubicBezTo>
                    <a:pt x="3745" y="2896"/>
                    <a:pt x="3745" y="2896"/>
                    <a:pt x="3745" y="2896"/>
                  </a:cubicBezTo>
                  <a:cubicBezTo>
                    <a:pt x="3743" y="3001"/>
                    <a:pt x="3743" y="3001"/>
                    <a:pt x="3743" y="3001"/>
                  </a:cubicBezTo>
                  <a:cubicBezTo>
                    <a:pt x="3894" y="3004"/>
                    <a:pt x="3894" y="3004"/>
                    <a:pt x="3894" y="3004"/>
                  </a:cubicBezTo>
                  <a:lnTo>
                    <a:pt x="3896" y="2899"/>
                  </a:lnTo>
                  <a:close/>
                  <a:moveTo>
                    <a:pt x="3882" y="2992"/>
                  </a:moveTo>
                  <a:cubicBezTo>
                    <a:pt x="3756" y="2989"/>
                    <a:pt x="3756" y="2989"/>
                    <a:pt x="3756" y="2989"/>
                  </a:cubicBezTo>
                  <a:cubicBezTo>
                    <a:pt x="3758" y="2909"/>
                    <a:pt x="3758" y="2909"/>
                    <a:pt x="3758" y="2909"/>
                  </a:cubicBezTo>
                  <a:cubicBezTo>
                    <a:pt x="3884" y="2911"/>
                    <a:pt x="3884" y="2911"/>
                    <a:pt x="3884" y="2911"/>
                  </a:cubicBezTo>
                  <a:lnTo>
                    <a:pt x="3882" y="2992"/>
                  </a:lnTo>
                  <a:close/>
                  <a:moveTo>
                    <a:pt x="4038" y="2926"/>
                  </a:moveTo>
                  <a:cubicBezTo>
                    <a:pt x="4036" y="3032"/>
                    <a:pt x="4036" y="3032"/>
                    <a:pt x="4036" y="3032"/>
                  </a:cubicBezTo>
                  <a:cubicBezTo>
                    <a:pt x="4187" y="3035"/>
                    <a:pt x="4187" y="3035"/>
                    <a:pt x="4187" y="3035"/>
                  </a:cubicBezTo>
                  <a:cubicBezTo>
                    <a:pt x="4189" y="2929"/>
                    <a:pt x="4189" y="2929"/>
                    <a:pt x="4189" y="2929"/>
                  </a:cubicBezTo>
                  <a:cubicBezTo>
                    <a:pt x="4044" y="2926"/>
                    <a:pt x="4044" y="2926"/>
                    <a:pt x="4044" y="2926"/>
                  </a:cubicBezTo>
                  <a:lnTo>
                    <a:pt x="4038" y="2926"/>
                  </a:lnTo>
                  <a:close/>
                  <a:moveTo>
                    <a:pt x="4050" y="2939"/>
                  </a:moveTo>
                  <a:cubicBezTo>
                    <a:pt x="4176" y="2942"/>
                    <a:pt x="4176" y="2942"/>
                    <a:pt x="4176" y="2942"/>
                  </a:cubicBezTo>
                  <a:cubicBezTo>
                    <a:pt x="4174" y="3022"/>
                    <a:pt x="4174" y="3022"/>
                    <a:pt x="4174" y="3022"/>
                  </a:cubicBezTo>
                  <a:cubicBezTo>
                    <a:pt x="4048" y="3019"/>
                    <a:pt x="4048" y="3019"/>
                    <a:pt x="4048" y="3019"/>
                  </a:cubicBezTo>
                  <a:lnTo>
                    <a:pt x="4050" y="2939"/>
                  </a:lnTo>
                  <a:close/>
                  <a:moveTo>
                    <a:pt x="5368" y="2474"/>
                  </a:moveTo>
                  <a:cubicBezTo>
                    <a:pt x="5367" y="2481"/>
                    <a:pt x="5367" y="2481"/>
                    <a:pt x="5367" y="2481"/>
                  </a:cubicBezTo>
                  <a:cubicBezTo>
                    <a:pt x="5563" y="2513"/>
                    <a:pt x="5563" y="2513"/>
                    <a:pt x="5563" y="2513"/>
                  </a:cubicBezTo>
                  <a:cubicBezTo>
                    <a:pt x="5579" y="2417"/>
                    <a:pt x="5579" y="2417"/>
                    <a:pt x="5579" y="2417"/>
                  </a:cubicBezTo>
                  <a:cubicBezTo>
                    <a:pt x="5383" y="2385"/>
                    <a:pt x="5383" y="2385"/>
                    <a:pt x="5383" y="2385"/>
                  </a:cubicBezTo>
                  <a:lnTo>
                    <a:pt x="5368" y="2474"/>
                  </a:lnTo>
                  <a:close/>
                  <a:moveTo>
                    <a:pt x="5564" y="2428"/>
                  </a:moveTo>
                  <a:cubicBezTo>
                    <a:pt x="5553" y="2498"/>
                    <a:pt x="5553" y="2498"/>
                    <a:pt x="5553" y="2498"/>
                  </a:cubicBezTo>
                  <a:cubicBezTo>
                    <a:pt x="5382" y="2470"/>
                    <a:pt x="5382" y="2470"/>
                    <a:pt x="5382" y="2470"/>
                  </a:cubicBezTo>
                  <a:cubicBezTo>
                    <a:pt x="5394" y="2400"/>
                    <a:pt x="5394" y="2400"/>
                    <a:pt x="5394" y="2400"/>
                  </a:cubicBezTo>
                  <a:lnTo>
                    <a:pt x="5564" y="2428"/>
                  </a:lnTo>
                  <a:close/>
                  <a:moveTo>
                    <a:pt x="5460" y="2333"/>
                  </a:moveTo>
                  <a:cubicBezTo>
                    <a:pt x="5487" y="2144"/>
                    <a:pt x="5487" y="2144"/>
                    <a:pt x="5487" y="2144"/>
                  </a:cubicBezTo>
                  <a:cubicBezTo>
                    <a:pt x="5488" y="2137"/>
                    <a:pt x="5488" y="2137"/>
                    <a:pt x="5488" y="2137"/>
                  </a:cubicBezTo>
                  <a:cubicBezTo>
                    <a:pt x="5166" y="2091"/>
                    <a:pt x="5166" y="2091"/>
                    <a:pt x="5166" y="2091"/>
                  </a:cubicBezTo>
                  <a:cubicBezTo>
                    <a:pt x="5158" y="2153"/>
                    <a:pt x="5158" y="2153"/>
                    <a:pt x="5158" y="2153"/>
                  </a:cubicBezTo>
                  <a:cubicBezTo>
                    <a:pt x="5123" y="2150"/>
                    <a:pt x="5123" y="2150"/>
                    <a:pt x="5123" y="2150"/>
                  </a:cubicBezTo>
                  <a:cubicBezTo>
                    <a:pt x="5110" y="2235"/>
                    <a:pt x="5110" y="2235"/>
                    <a:pt x="5110" y="2235"/>
                  </a:cubicBezTo>
                  <a:cubicBezTo>
                    <a:pt x="5143" y="2241"/>
                    <a:pt x="5143" y="2241"/>
                    <a:pt x="5143" y="2241"/>
                  </a:cubicBezTo>
                  <a:cubicBezTo>
                    <a:pt x="5138" y="2288"/>
                    <a:pt x="5138" y="2288"/>
                    <a:pt x="5138" y="2288"/>
                  </a:cubicBezTo>
                  <a:lnTo>
                    <a:pt x="5460" y="2333"/>
                  </a:lnTo>
                  <a:close/>
                  <a:moveTo>
                    <a:pt x="5125" y="2224"/>
                  </a:moveTo>
                  <a:cubicBezTo>
                    <a:pt x="5134" y="2164"/>
                    <a:pt x="5134" y="2164"/>
                    <a:pt x="5134" y="2164"/>
                  </a:cubicBezTo>
                  <a:cubicBezTo>
                    <a:pt x="5169" y="2167"/>
                    <a:pt x="5169" y="2167"/>
                    <a:pt x="5169" y="2167"/>
                  </a:cubicBezTo>
                  <a:cubicBezTo>
                    <a:pt x="5178" y="2105"/>
                    <a:pt x="5178" y="2105"/>
                    <a:pt x="5178" y="2105"/>
                  </a:cubicBezTo>
                  <a:cubicBezTo>
                    <a:pt x="5473" y="2148"/>
                    <a:pt x="5473" y="2148"/>
                    <a:pt x="5473" y="2148"/>
                  </a:cubicBezTo>
                  <a:cubicBezTo>
                    <a:pt x="5449" y="2318"/>
                    <a:pt x="5449" y="2318"/>
                    <a:pt x="5449" y="2318"/>
                  </a:cubicBezTo>
                  <a:cubicBezTo>
                    <a:pt x="5152" y="2277"/>
                    <a:pt x="5152" y="2277"/>
                    <a:pt x="5152" y="2277"/>
                  </a:cubicBezTo>
                  <a:cubicBezTo>
                    <a:pt x="5157" y="2230"/>
                    <a:pt x="5157" y="2230"/>
                    <a:pt x="5157" y="2230"/>
                  </a:cubicBezTo>
                  <a:lnTo>
                    <a:pt x="5125" y="2224"/>
                  </a:lnTo>
                  <a:close/>
                  <a:moveTo>
                    <a:pt x="215" y="1986"/>
                  </a:moveTo>
                  <a:cubicBezTo>
                    <a:pt x="196" y="1955"/>
                    <a:pt x="196" y="1955"/>
                    <a:pt x="196" y="1955"/>
                  </a:cubicBezTo>
                  <a:cubicBezTo>
                    <a:pt x="121" y="1990"/>
                    <a:pt x="121" y="1990"/>
                    <a:pt x="121" y="1990"/>
                  </a:cubicBezTo>
                  <a:cubicBezTo>
                    <a:pt x="138" y="2026"/>
                    <a:pt x="138" y="2026"/>
                    <a:pt x="138" y="2026"/>
                  </a:cubicBezTo>
                  <a:cubicBezTo>
                    <a:pt x="84" y="2049"/>
                    <a:pt x="84" y="2049"/>
                    <a:pt x="84" y="2049"/>
                  </a:cubicBezTo>
                  <a:cubicBezTo>
                    <a:pt x="105" y="2093"/>
                    <a:pt x="105" y="2093"/>
                    <a:pt x="105" y="2093"/>
                  </a:cubicBezTo>
                  <a:cubicBezTo>
                    <a:pt x="88" y="2099"/>
                    <a:pt x="88" y="2099"/>
                    <a:pt x="88" y="2099"/>
                  </a:cubicBezTo>
                  <a:cubicBezTo>
                    <a:pt x="131" y="2201"/>
                    <a:pt x="131" y="2201"/>
                    <a:pt x="131" y="2201"/>
                  </a:cubicBezTo>
                  <a:cubicBezTo>
                    <a:pt x="158" y="2191"/>
                    <a:pt x="158" y="2191"/>
                    <a:pt x="158" y="2191"/>
                  </a:cubicBezTo>
                  <a:cubicBezTo>
                    <a:pt x="236" y="2366"/>
                    <a:pt x="236" y="2366"/>
                    <a:pt x="236" y="2366"/>
                  </a:cubicBezTo>
                  <a:cubicBezTo>
                    <a:pt x="404" y="2288"/>
                    <a:pt x="404" y="2288"/>
                    <a:pt x="404" y="2288"/>
                  </a:cubicBezTo>
                  <a:cubicBezTo>
                    <a:pt x="410" y="2286"/>
                    <a:pt x="410" y="2286"/>
                    <a:pt x="410" y="2286"/>
                  </a:cubicBezTo>
                  <a:cubicBezTo>
                    <a:pt x="267" y="1964"/>
                    <a:pt x="267" y="1964"/>
                    <a:pt x="267" y="1964"/>
                  </a:cubicBezTo>
                  <a:lnTo>
                    <a:pt x="215" y="1986"/>
                  </a:lnTo>
                  <a:close/>
                  <a:moveTo>
                    <a:pt x="243" y="2348"/>
                  </a:moveTo>
                  <a:cubicBezTo>
                    <a:pt x="165" y="2174"/>
                    <a:pt x="165" y="2174"/>
                    <a:pt x="165" y="2174"/>
                  </a:cubicBezTo>
                  <a:cubicBezTo>
                    <a:pt x="138" y="2184"/>
                    <a:pt x="138" y="2184"/>
                    <a:pt x="138" y="2184"/>
                  </a:cubicBezTo>
                  <a:cubicBezTo>
                    <a:pt x="105" y="2107"/>
                    <a:pt x="105" y="2107"/>
                    <a:pt x="105" y="2107"/>
                  </a:cubicBezTo>
                  <a:cubicBezTo>
                    <a:pt x="122" y="2100"/>
                    <a:pt x="122" y="2100"/>
                    <a:pt x="122" y="2100"/>
                  </a:cubicBezTo>
                  <a:cubicBezTo>
                    <a:pt x="102" y="2056"/>
                    <a:pt x="102" y="2056"/>
                    <a:pt x="102" y="2056"/>
                  </a:cubicBezTo>
                  <a:cubicBezTo>
                    <a:pt x="155" y="2033"/>
                    <a:pt x="155" y="2033"/>
                    <a:pt x="155" y="2033"/>
                  </a:cubicBezTo>
                  <a:cubicBezTo>
                    <a:pt x="139" y="1996"/>
                    <a:pt x="139" y="1996"/>
                    <a:pt x="139" y="1996"/>
                  </a:cubicBezTo>
                  <a:cubicBezTo>
                    <a:pt x="191" y="1972"/>
                    <a:pt x="191" y="1972"/>
                    <a:pt x="191" y="1972"/>
                  </a:cubicBezTo>
                  <a:cubicBezTo>
                    <a:pt x="209" y="2002"/>
                    <a:pt x="209" y="2002"/>
                    <a:pt x="209" y="2002"/>
                  </a:cubicBezTo>
                  <a:cubicBezTo>
                    <a:pt x="260" y="1981"/>
                    <a:pt x="260" y="1981"/>
                    <a:pt x="260" y="1981"/>
                  </a:cubicBezTo>
                  <a:cubicBezTo>
                    <a:pt x="393" y="2279"/>
                    <a:pt x="393" y="2279"/>
                    <a:pt x="393" y="2279"/>
                  </a:cubicBezTo>
                  <a:lnTo>
                    <a:pt x="243" y="2348"/>
                  </a:lnTo>
                  <a:close/>
                  <a:moveTo>
                    <a:pt x="5037" y="2921"/>
                  </a:moveTo>
                  <a:cubicBezTo>
                    <a:pt x="5077" y="2925"/>
                    <a:pt x="5077" y="2925"/>
                    <a:pt x="5077" y="2925"/>
                  </a:cubicBezTo>
                  <a:cubicBezTo>
                    <a:pt x="5068" y="2982"/>
                    <a:pt x="5068" y="2982"/>
                    <a:pt x="5068" y="2982"/>
                  </a:cubicBezTo>
                  <a:cubicBezTo>
                    <a:pt x="5111" y="2986"/>
                    <a:pt x="5111" y="2986"/>
                    <a:pt x="5111" y="2986"/>
                  </a:cubicBezTo>
                  <a:cubicBezTo>
                    <a:pt x="5109" y="3006"/>
                    <a:pt x="5109" y="3006"/>
                    <a:pt x="5109" y="3006"/>
                  </a:cubicBezTo>
                  <a:cubicBezTo>
                    <a:pt x="5215" y="3020"/>
                    <a:pt x="5215" y="3020"/>
                    <a:pt x="5215" y="3020"/>
                  </a:cubicBezTo>
                  <a:cubicBezTo>
                    <a:pt x="5216" y="3015"/>
                    <a:pt x="5216" y="3015"/>
                    <a:pt x="5216" y="3015"/>
                  </a:cubicBezTo>
                  <a:cubicBezTo>
                    <a:pt x="5220" y="3002"/>
                    <a:pt x="5220" y="3002"/>
                    <a:pt x="5220" y="3002"/>
                  </a:cubicBezTo>
                  <a:cubicBezTo>
                    <a:pt x="5415" y="3027"/>
                    <a:pt x="5415" y="3027"/>
                    <a:pt x="5415" y="3027"/>
                  </a:cubicBezTo>
                  <a:cubicBezTo>
                    <a:pt x="5444" y="2834"/>
                    <a:pt x="5444" y="2834"/>
                    <a:pt x="5444" y="2834"/>
                  </a:cubicBezTo>
                  <a:cubicBezTo>
                    <a:pt x="5445" y="2827"/>
                    <a:pt x="5445" y="2827"/>
                    <a:pt x="5445" y="2827"/>
                  </a:cubicBezTo>
                  <a:cubicBezTo>
                    <a:pt x="5091" y="2782"/>
                    <a:pt x="5091" y="2782"/>
                    <a:pt x="5091" y="2782"/>
                  </a:cubicBezTo>
                  <a:cubicBezTo>
                    <a:pt x="5082" y="2837"/>
                    <a:pt x="5082" y="2837"/>
                    <a:pt x="5082" y="2837"/>
                  </a:cubicBezTo>
                  <a:cubicBezTo>
                    <a:pt x="5049" y="2833"/>
                    <a:pt x="5049" y="2833"/>
                    <a:pt x="5049" y="2833"/>
                  </a:cubicBezTo>
                  <a:lnTo>
                    <a:pt x="5037" y="2921"/>
                  </a:lnTo>
                  <a:close/>
                  <a:moveTo>
                    <a:pt x="5060" y="2848"/>
                  </a:moveTo>
                  <a:cubicBezTo>
                    <a:pt x="5093" y="2851"/>
                    <a:pt x="5093" y="2851"/>
                    <a:pt x="5093" y="2851"/>
                  </a:cubicBezTo>
                  <a:cubicBezTo>
                    <a:pt x="5102" y="2796"/>
                    <a:pt x="5102" y="2796"/>
                    <a:pt x="5102" y="2796"/>
                  </a:cubicBezTo>
                  <a:cubicBezTo>
                    <a:pt x="5430" y="2838"/>
                    <a:pt x="5430" y="2838"/>
                    <a:pt x="5430" y="2838"/>
                  </a:cubicBezTo>
                  <a:cubicBezTo>
                    <a:pt x="5404" y="3013"/>
                    <a:pt x="5404" y="3013"/>
                    <a:pt x="5404" y="3013"/>
                  </a:cubicBezTo>
                  <a:cubicBezTo>
                    <a:pt x="5211" y="2988"/>
                    <a:pt x="5211" y="2988"/>
                    <a:pt x="5211" y="2988"/>
                  </a:cubicBezTo>
                  <a:cubicBezTo>
                    <a:pt x="5209" y="2993"/>
                    <a:pt x="5209" y="2993"/>
                    <a:pt x="5209" y="2993"/>
                  </a:cubicBezTo>
                  <a:cubicBezTo>
                    <a:pt x="5205" y="3006"/>
                    <a:pt x="5205" y="3006"/>
                    <a:pt x="5205" y="3006"/>
                  </a:cubicBezTo>
                  <a:cubicBezTo>
                    <a:pt x="5123" y="2995"/>
                    <a:pt x="5123" y="2995"/>
                    <a:pt x="5123" y="2995"/>
                  </a:cubicBezTo>
                  <a:cubicBezTo>
                    <a:pt x="5126" y="2974"/>
                    <a:pt x="5126" y="2974"/>
                    <a:pt x="5126" y="2974"/>
                  </a:cubicBezTo>
                  <a:cubicBezTo>
                    <a:pt x="5083" y="2970"/>
                    <a:pt x="5083" y="2970"/>
                    <a:pt x="5083" y="2970"/>
                  </a:cubicBezTo>
                  <a:cubicBezTo>
                    <a:pt x="5092" y="2913"/>
                    <a:pt x="5092" y="2913"/>
                    <a:pt x="5092" y="2913"/>
                  </a:cubicBezTo>
                  <a:cubicBezTo>
                    <a:pt x="5052" y="2909"/>
                    <a:pt x="5052" y="2909"/>
                    <a:pt x="5052" y="2909"/>
                  </a:cubicBezTo>
                  <a:lnTo>
                    <a:pt x="5060" y="2848"/>
                  </a:lnTo>
                  <a:close/>
                  <a:moveTo>
                    <a:pt x="4495" y="20"/>
                  </a:moveTo>
                  <a:cubicBezTo>
                    <a:pt x="4347" y="9"/>
                    <a:pt x="4347" y="9"/>
                    <a:pt x="4347" y="9"/>
                  </a:cubicBezTo>
                  <a:cubicBezTo>
                    <a:pt x="4348" y="2"/>
                    <a:pt x="4348" y="2"/>
                    <a:pt x="4348" y="2"/>
                  </a:cubicBezTo>
                  <a:cubicBezTo>
                    <a:pt x="4348" y="0"/>
                    <a:pt x="4348" y="0"/>
                    <a:pt x="4348" y="0"/>
                  </a:cubicBezTo>
                  <a:cubicBezTo>
                    <a:pt x="4405" y="0"/>
                    <a:pt x="4405" y="0"/>
                    <a:pt x="4405" y="0"/>
                  </a:cubicBezTo>
                  <a:cubicBezTo>
                    <a:pt x="4483" y="6"/>
                    <a:pt x="4483" y="6"/>
                    <a:pt x="4483" y="6"/>
                  </a:cubicBezTo>
                  <a:cubicBezTo>
                    <a:pt x="4483" y="0"/>
                    <a:pt x="4483" y="0"/>
                    <a:pt x="4483" y="0"/>
                  </a:cubicBezTo>
                  <a:cubicBezTo>
                    <a:pt x="4496" y="0"/>
                    <a:pt x="4496" y="0"/>
                    <a:pt x="4496" y="0"/>
                  </a:cubicBezTo>
                  <a:lnTo>
                    <a:pt x="4495" y="20"/>
                  </a:lnTo>
                  <a:close/>
                  <a:moveTo>
                    <a:pt x="485" y="380"/>
                  </a:moveTo>
                  <a:cubicBezTo>
                    <a:pt x="384" y="676"/>
                    <a:pt x="384" y="676"/>
                    <a:pt x="384" y="676"/>
                  </a:cubicBezTo>
                  <a:cubicBezTo>
                    <a:pt x="1260" y="967"/>
                    <a:pt x="1260" y="967"/>
                    <a:pt x="1260" y="967"/>
                  </a:cubicBezTo>
                  <a:cubicBezTo>
                    <a:pt x="1342" y="718"/>
                    <a:pt x="1342" y="718"/>
                    <a:pt x="1342" y="718"/>
                  </a:cubicBezTo>
                  <a:cubicBezTo>
                    <a:pt x="1558" y="787"/>
                    <a:pt x="1558" y="787"/>
                    <a:pt x="1558" y="787"/>
                  </a:cubicBezTo>
                  <a:cubicBezTo>
                    <a:pt x="1594" y="678"/>
                    <a:pt x="1594" y="678"/>
                    <a:pt x="1594" y="678"/>
                  </a:cubicBezTo>
                  <a:cubicBezTo>
                    <a:pt x="1774" y="739"/>
                    <a:pt x="1774" y="739"/>
                    <a:pt x="1774" y="739"/>
                  </a:cubicBezTo>
                  <a:cubicBezTo>
                    <a:pt x="1866" y="453"/>
                    <a:pt x="1866" y="453"/>
                    <a:pt x="1866" y="453"/>
                  </a:cubicBezTo>
                  <a:cubicBezTo>
                    <a:pt x="1868" y="446"/>
                    <a:pt x="1868" y="446"/>
                    <a:pt x="1868" y="446"/>
                  </a:cubicBezTo>
                  <a:cubicBezTo>
                    <a:pt x="996" y="154"/>
                    <a:pt x="996" y="154"/>
                    <a:pt x="996" y="154"/>
                  </a:cubicBezTo>
                  <a:cubicBezTo>
                    <a:pt x="903" y="449"/>
                    <a:pt x="903" y="449"/>
                    <a:pt x="903" y="449"/>
                  </a:cubicBezTo>
                  <a:cubicBezTo>
                    <a:pt x="1129" y="525"/>
                    <a:pt x="1129" y="525"/>
                    <a:pt x="1129" y="525"/>
                  </a:cubicBezTo>
                  <a:cubicBezTo>
                    <a:pt x="1106" y="589"/>
                    <a:pt x="1106" y="589"/>
                    <a:pt x="1106" y="589"/>
                  </a:cubicBezTo>
                  <a:lnTo>
                    <a:pt x="485" y="380"/>
                  </a:lnTo>
                  <a:close/>
                  <a:moveTo>
                    <a:pt x="1148" y="516"/>
                  </a:moveTo>
                  <a:cubicBezTo>
                    <a:pt x="922" y="440"/>
                    <a:pt x="922" y="440"/>
                    <a:pt x="922" y="440"/>
                  </a:cubicBezTo>
                  <a:cubicBezTo>
                    <a:pt x="1005" y="173"/>
                    <a:pt x="1005" y="173"/>
                    <a:pt x="1005" y="173"/>
                  </a:cubicBezTo>
                  <a:cubicBezTo>
                    <a:pt x="1850" y="455"/>
                    <a:pt x="1850" y="455"/>
                    <a:pt x="1850" y="455"/>
                  </a:cubicBezTo>
                  <a:cubicBezTo>
                    <a:pt x="1764" y="720"/>
                    <a:pt x="1764" y="720"/>
                    <a:pt x="1764" y="720"/>
                  </a:cubicBezTo>
                  <a:cubicBezTo>
                    <a:pt x="1585" y="660"/>
                    <a:pt x="1585" y="660"/>
                    <a:pt x="1585" y="660"/>
                  </a:cubicBezTo>
                  <a:cubicBezTo>
                    <a:pt x="1549" y="769"/>
                    <a:pt x="1549" y="769"/>
                    <a:pt x="1549" y="769"/>
                  </a:cubicBezTo>
                  <a:cubicBezTo>
                    <a:pt x="1332" y="699"/>
                    <a:pt x="1332" y="699"/>
                    <a:pt x="1332" y="699"/>
                  </a:cubicBezTo>
                  <a:cubicBezTo>
                    <a:pt x="1251" y="948"/>
                    <a:pt x="1251" y="948"/>
                    <a:pt x="1251" y="948"/>
                  </a:cubicBezTo>
                  <a:cubicBezTo>
                    <a:pt x="403" y="667"/>
                    <a:pt x="403" y="667"/>
                    <a:pt x="403" y="667"/>
                  </a:cubicBezTo>
                  <a:cubicBezTo>
                    <a:pt x="495" y="399"/>
                    <a:pt x="495" y="399"/>
                    <a:pt x="495" y="399"/>
                  </a:cubicBezTo>
                  <a:cubicBezTo>
                    <a:pt x="1115" y="608"/>
                    <a:pt x="1115" y="608"/>
                    <a:pt x="1115" y="608"/>
                  </a:cubicBezTo>
                  <a:lnTo>
                    <a:pt x="1148" y="516"/>
                  </a:lnTo>
                  <a:close/>
                  <a:moveTo>
                    <a:pt x="3004" y="922"/>
                  </a:moveTo>
                  <a:cubicBezTo>
                    <a:pt x="3142" y="921"/>
                    <a:pt x="3142" y="921"/>
                    <a:pt x="3142" y="921"/>
                  </a:cubicBezTo>
                  <a:cubicBezTo>
                    <a:pt x="3142" y="827"/>
                    <a:pt x="3142" y="827"/>
                    <a:pt x="3142" y="827"/>
                  </a:cubicBezTo>
                  <a:cubicBezTo>
                    <a:pt x="3142" y="819"/>
                    <a:pt x="3142" y="819"/>
                    <a:pt x="3142" y="819"/>
                  </a:cubicBezTo>
                  <a:cubicBezTo>
                    <a:pt x="2989" y="817"/>
                    <a:pt x="2989" y="817"/>
                    <a:pt x="2989" y="817"/>
                  </a:cubicBezTo>
                  <a:cubicBezTo>
                    <a:pt x="2989" y="761"/>
                    <a:pt x="2989" y="761"/>
                    <a:pt x="2989" y="761"/>
                  </a:cubicBezTo>
                  <a:cubicBezTo>
                    <a:pt x="2841" y="763"/>
                    <a:pt x="2841" y="763"/>
                    <a:pt x="2841" y="763"/>
                  </a:cubicBezTo>
                  <a:cubicBezTo>
                    <a:pt x="2840" y="770"/>
                    <a:pt x="2840" y="770"/>
                    <a:pt x="2840" y="770"/>
                  </a:cubicBezTo>
                  <a:cubicBezTo>
                    <a:pt x="2839" y="784"/>
                    <a:pt x="2839" y="784"/>
                    <a:pt x="2839" y="784"/>
                  </a:cubicBezTo>
                  <a:cubicBezTo>
                    <a:pt x="2487" y="784"/>
                    <a:pt x="2487" y="784"/>
                    <a:pt x="2487" y="784"/>
                  </a:cubicBezTo>
                  <a:cubicBezTo>
                    <a:pt x="2486" y="1056"/>
                    <a:pt x="2486" y="1056"/>
                    <a:pt x="2486" y="1056"/>
                  </a:cubicBezTo>
                  <a:cubicBezTo>
                    <a:pt x="2999" y="975"/>
                    <a:pt x="2999" y="975"/>
                    <a:pt x="2999" y="975"/>
                  </a:cubicBezTo>
                  <a:lnTo>
                    <a:pt x="3004" y="922"/>
                  </a:lnTo>
                  <a:close/>
                  <a:moveTo>
                    <a:pt x="2986" y="962"/>
                  </a:moveTo>
                  <a:cubicBezTo>
                    <a:pt x="2501" y="1038"/>
                    <a:pt x="2501" y="1038"/>
                    <a:pt x="2501" y="1038"/>
                  </a:cubicBezTo>
                  <a:cubicBezTo>
                    <a:pt x="2502" y="798"/>
                    <a:pt x="2502" y="798"/>
                    <a:pt x="2502" y="798"/>
                  </a:cubicBezTo>
                  <a:cubicBezTo>
                    <a:pt x="2853" y="799"/>
                    <a:pt x="2853" y="799"/>
                    <a:pt x="2853" y="799"/>
                  </a:cubicBezTo>
                  <a:cubicBezTo>
                    <a:pt x="2853" y="792"/>
                    <a:pt x="2853" y="792"/>
                    <a:pt x="2853" y="792"/>
                  </a:cubicBezTo>
                  <a:cubicBezTo>
                    <a:pt x="2854" y="778"/>
                    <a:pt x="2854" y="778"/>
                    <a:pt x="2854" y="778"/>
                  </a:cubicBezTo>
                  <a:cubicBezTo>
                    <a:pt x="2974" y="776"/>
                    <a:pt x="2974" y="776"/>
                    <a:pt x="2974" y="776"/>
                  </a:cubicBezTo>
                  <a:cubicBezTo>
                    <a:pt x="2974" y="832"/>
                    <a:pt x="2974" y="832"/>
                    <a:pt x="2974" y="832"/>
                  </a:cubicBezTo>
                  <a:cubicBezTo>
                    <a:pt x="3127" y="834"/>
                    <a:pt x="3127" y="834"/>
                    <a:pt x="3127" y="834"/>
                  </a:cubicBezTo>
                  <a:cubicBezTo>
                    <a:pt x="3128" y="906"/>
                    <a:pt x="3128" y="906"/>
                    <a:pt x="3128" y="906"/>
                  </a:cubicBezTo>
                  <a:cubicBezTo>
                    <a:pt x="2991" y="908"/>
                    <a:pt x="2991" y="908"/>
                    <a:pt x="2991" y="908"/>
                  </a:cubicBezTo>
                  <a:lnTo>
                    <a:pt x="2986" y="962"/>
                  </a:lnTo>
                  <a:close/>
                  <a:moveTo>
                    <a:pt x="18004" y="1864"/>
                  </a:moveTo>
                  <a:cubicBezTo>
                    <a:pt x="17944" y="1913"/>
                    <a:pt x="17882" y="1964"/>
                    <a:pt x="17823" y="2012"/>
                  </a:cubicBezTo>
                  <a:cubicBezTo>
                    <a:pt x="17654" y="2149"/>
                    <a:pt x="17502" y="2272"/>
                    <a:pt x="17430" y="2329"/>
                  </a:cubicBezTo>
                  <a:cubicBezTo>
                    <a:pt x="17380" y="2277"/>
                    <a:pt x="17340" y="2230"/>
                    <a:pt x="17306" y="2195"/>
                  </a:cubicBezTo>
                  <a:cubicBezTo>
                    <a:pt x="17288" y="2173"/>
                    <a:pt x="16823" y="1638"/>
                    <a:pt x="16201" y="1271"/>
                  </a:cubicBezTo>
                  <a:cubicBezTo>
                    <a:pt x="16011" y="1158"/>
                    <a:pt x="15772" y="1016"/>
                    <a:pt x="15532" y="888"/>
                  </a:cubicBezTo>
                  <a:cubicBezTo>
                    <a:pt x="15407" y="822"/>
                    <a:pt x="15282" y="757"/>
                    <a:pt x="15163" y="696"/>
                  </a:cubicBezTo>
                  <a:cubicBezTo>
                    <a:pt x="15178" y="694"/>
                    <a:pt x="15178" y="694"/>
                    <a:pt x="15178" y="694"/>
                  </a:cubicBezTo>
                  <a:cubicBezTo>
                    <a:pt x="15174" y="672"/>
                    <a:pt x="15160" y="617"/>
                    <a:pt x="15138" y="533"/>
                  </a:cubicBezTo>
                  <a:cubicBezTo>
                    <a:pt x="15116" y="450"/>
                    <a:pt x="15086" y="342"/>
                    <a:pt x="15054" y="223"/>
                  </a:cubicBezTo>
                  <a:cubicBezTo>
                    <a:pt x="15034" y="152"/>
                    <a:pt x="15013" y="76"/>
                    <a:pt x="14992" y="0"/>
                  </a:cubicBezTo>
                  <a:cubicBezTo>
                    <a:pt x="14924" y="0"/>
                    <a:pt x="14924" y="0"/>
                    <a:pt x="14924" y="0"/>
                  </a:cubicBezTo>
                  <a:cubicBezTo>
                    <a:pt x="14981" y="207"/>
                    <a:pt x="15038" y="413"/>
                    <a:pt x="15075" y="550"/>
                  </a:cubicBezTo>
                  <a:cubicBezTo>
                    <a:pt x="15088" y="598"/>
                    <a:pt x="15098" y="639"/>
                    <a:pt x="15105" y="666"/>
                  </a:cubicBezTo>
                  <a:cubicBezTo>
                    <a:pt x="14874" y="549"/>
                    <a:pt x="14672" y="449"/>
                    <a:pt x="14552" y="390"/>
                  </a:cubicBezTo>
                  <a:cubicBezTo>
                    <a:pt x="14494" y="361"/>
                    <a:pt x="14454" y="341"/>
                    <a:pt x="14442" y="335"/>
                  </a:cubicBezTo>
                  <a:cubicBezTo>
                    <a:pt x="14435" y="329"/>
                    <a:pt x="14427" y="328"/>
                    <a:pt x="14423" y="327"/>
                  </a:cubicBezTo>
                  <a:cubicBezTo>
                    <a:pt x="13986" y="280"/>
                    <a:pt x="13986" y="280"/>
                    <a:pt x="13986" y="280"/>
                  </a:cubicBezTo>
                  <a:cubicBezTo>
                    <a:pt x="13984" y="254"/>
                    <a:pt x="13974" y="150"/>
                    <a:pt x="13959" y="0"/>
                  </a:cubicBezTo>
                  <a:cubicBezTo>
                    <a:pt x="13806" y="0"/>
                    <a:pt x="13806" y="0"/>
                    <a:pt x="13806" y="0"/>
                  </a:cubicBezTo>
                  <a:cubicBezTo>
                    <a:pt x="13818" y="121"/>
                    <a:pt x="13827" y="215"/>
                    <a:pt x="13831" y="263"/>
                  </a:cubicBezTo>
                  <a:cubicBezTo>
                    <a:pt x="13379" y="214"/>
                    <a:pt x="13379" y="214"/>
                    <a:pt x="13379" y="214"/>
                  </a:cubicBezTo>
                  <a:cubicBezTo>
                    <a:pt x="12998" y="0"/>
                    <a:pt x="12998" y="0"/>
                    <a:pt x="12998" y="0"/>
                  </a:cubicBezTo>
                  <a:cubicBezTo>
                    <a:pt x="12863" y="0"/>
                    <a:pt x="12863" y="0"/>
                    <a:pt x="12863" y="0"/>
                  </a:cubicBezTo>
                  <a:cubicBezTo>
                    <a:pt x="13359" y="278"/>
                    <a:pt x="13359" y="278"/>
                    <a:pt x="13359" y="278"/>
                  </a:cubicBezTo>
                  <a:cubicBezTo>
                    <a:pt x="13818" y="328"/>
                    <a:pt x="13818" y="328"/>
                    <a:pt x="13818" y="328"/>
                  </a:cubicBezTo>
                  <a:cubicBezTo>
                    <a:pt x="13134" y="2295"/>
                    <a:pt x="13134" y="2295"/>
                    <a:pt x="13134" y="2295"/>
                  </a:cubicBezTo>
                  <a:cubicBezTo>
                    <a:pt x="12166" y="1912"/>
                    <a:pt x="12166" y="1912"/>
                    <a:pt x="12166" y="1912"/>
                  </a:cubicBezTo>
                  <a:cubicBezTo>
                    <a:pt x="11973" y="640"/>
                    <a:pt x="11973" y="640"/>
                    <a:pt x="11973" y="640"/>
                  </a:cubicBezTo>
                  <a:cubicBezTo>
                    <a:pt x="11843" y="36"/>
                    <a:pt x="11843" y="36"/>
                    <a:pt x="11843" y="36"/>
                  </a:cubicBezTo>
                  <a:cubicBezTo>
                    <a:pt x="11830" y="29"/>
                    <a:pt x="11830" y="29"/>
                    <a:pt x="11830" y="29"/>
                  </a:cubicBezTo>
                  <a:cubicBezTo>
                    <a:pt x="11830" y="29"/>
                    <a:pt x="11830" y="29"/>
                    <a:pt x="11830" y="29"/>
                  </a:cubicBezTo>
                  <a:cubicBezTo>
                    <a:pt x="11830" y="29"/>
                    <a:pt x="11829" y="29"/>
                    <a:pt x="11829" y="29"/>
                  </a:cubicBezTo>
                  <a:cubicBezTo>
                    <a:pt x="11849" y="0"/>
                    <a:pt x="11849" y="0"/>
                    <a:pt x="11849" y="0"/>
                  </a:cubicBezTo>
                  <a:cubicBezTo>
                    <a:pt x="11716" y="0"/>
                    <a:pt x="11716" y="0"/>
                    <a:pt x="11716" y="0"/>
                  </a:cubicBezTo>
                  <a:cubicBezTo>
                    <a:pt x="11748" y="44"/>
                    <a:pt x="11771" y="66"/>
                    <a:pt x="11784" y="77"/>
                  </a:cubicBezTo>
                  <a:cubicBezTo>
                    <a:pt x="11899" y="610"/>
                    <a:pt x="11899" y="610"/>
                    <a:pt x="11899" y="610"/>
                  </a:cubicBezTo>
                  <a:cubicBezTo>
                    <a:pt x="11002" y="771"/>
                    <a:pt x="11002" y="771"/>
                    <a:pt x="11002" y="771"/>
                  </a:cubicBezTo>
                  <a:cubicBezTo>
                    <a:pt x="10980" y="642"/>
                    <a:pt x="10980" y="642"/>
                    <a:pt x="10980" y="642"/>
                  </a:cubicBezTo>
                  <a:cubicBezTo>
                    <a:pt x="11209" y="603"/>
                    <a:pt x="11209" y="603"/>
                    <a:pt x="11209" y="603"/>
                  </a:cubicBezTo>
                  <a:cubicBezTo>
                    <a:pt x="11201" y="553"/>
                    <a:pt x="11201" y="553"/>
                    <a:pt x="11201" y="553"/>
                  </a:cubicBezTo>
                  <a:cubicBezTo>
                    <a:pt x="11295" y="537"/>
                    <a:pt x="11295" y="537"/>
                    <a:pt x="11295" y="537"/>
                  </a:cubicBezTo>
                  <a:cubicBezTo>
                    <a:pt x="11273" y="406"/>
                    <a:pt x="11273" y="406"/>
                    <a:pt x="11273" y="406"/>
                  </a:cubicBezTo>
                  <a:cubicBezTo>
                    <a:pt x="11178" y="422"/>
                    <a:pt x="11178" y="422"/>
                    <a:pt x="11178" y="422"/>
                  </a:cubicBezTo>
                  <a:cubicBezTo>
                    <a:pt x="11149" y="254"/>
                    <a:pt x="11149" y="254"/>
                    <a:pt x="11149" y="254"/>
                  </a:cubicBezTo>
                  <a:cubicBezTo>
                    <a:pt x="11108" y="261"/>
                    <a:pt x="11108" y="261"/>
                    <a:pt x="11108" y="261"/>
                  </a:cubicBezTo>
                  <a:cubicBezTo>
                    <a:pt x="11090" y="170"/>
                    <a:pt x="11090" y="170"/>
                    <a:pt x="11090" y="170"/>
                  </a:cubicBezTo>
                  <a:cubicBezTo>
                    <a:pt x="11089" y="163"/>
                    <a:pt x="11089" y="163"/>
                    <a:pt x="11089" y="163"/>
                  </a:cubicBezTo>
                  <a:cubicBezTo>
                    <a:pt x="11005" y="177"/>
                    <a:pt x="11005" y="177"/>
                    <a:pt x="11005" y="177"/>
                  </a:cubicBezTo>
                  <a:cubicBezTo>
                    <a:pt x="11022" y="275"/>
                    <a:pt x="11022" y="275"/>
                    <a:pt x="11022" y="275"/>
                  </a:cubicBezTo>
                  <a:cubicBezTo>
                    <a:pt x="10872" y="300"/>
                    <a:pt x="10872" y="300"/>
                    <a:pt x="10872" y="300"/>
                  </a:cubicBezTo>
                  <a:cubicBezTo>
                    <a:pt x="10880" y="348"/>
                    <a:pt x="10880" y="348"/>
                    <a:pt x="10880" y="348"/>
                  </a:cubicBezTo>
                  <a:cubicBezTo>
                    <a:pt x="10721" y="375"/>
                    <a:pt x="10721" y="375"/>
                    <a:pt x="10721" y="375"/>
                  </a:cubicBezTo>
                  <a:cubicBezTo>
                    <a:pt x="10740" y="484"/>
                    <a:pt x="10740" y="484"/>
                    <a:pt x="10740" y="484"/>
                  </a:cubicBezTo>
                  <a:cubicBezTo>
                    <a:pt x="10895" y="458"/>
                    <a:pt x="10895" y="458"/>
                    <a:pt x="10895" y="458"/>
                  </a:cubicBezTo>
                  <a:cubicBezTo>
                    <a:pt x="10915" y="574"/>
                    <a:pt x="10915" y="574"/>
                    <a:pt x="10915" y="574"/>
                  </a:cubicBezTo>
                  <a:cubicBezTo>
                    <a:pt x="10800" y="594"/>
                    <a:pt x="10800" y="594"/>
                    <a:pt x="10800" y="594"/>
                  </a:cubicBezTo>
                  <a:cubicBezTo>
                    <a:pt x="10835" y="801"/>
                    <a:pt x="10835" y="801"/>
                    <a:pt x="10835" y="801"/>
                  </a:cubicBezTo>
                  <a:cubicBezTo>
                    <a:pt x="10313" y="894"/>
                    <a:pt x="10313" y="894"/>
                    <a:pt x="10313" y="894"/>
                  </a:cubicBezTo>
                  <a:cubicBezTo>
                    <a:pt x="10311" y="878"/>
                    <a:pt x="10309" y="856"/>
                    <a:pt x="10307" y="831"/>
                  </a:cubicBezTo>
                  <a:cubicBezTo>
                    <a:pt x="10301" y="773"/>
                    <a:pt x="10294" y="697"/>
                    <a:pt x="10286" y="620"/>
                  </a:cubicBezTo>
                  <a:cubicBezTo>
                    <a:pt x="10274" y="498"/>
                    <a:pt x="10262" y="376"/>
                    <a:pt x="10257" y="332"/>
                  </a:cubicBezTo>
                  <a:cubicBezTo>
                    <a:pt x="10296" y="298"/>
                    <a:pt x="10391" y="195"/>
                    <a:pt x="10392" y="14"/>
                  </a:cubicBezTo>
                  <a:cubicBezTo>
                    <a:pt x="10392" y="9"/>
                    <a:pt x="10391" y="5"/>
                    <a:pt x="10391" y="0"/>
                  </a:cubicBezTo>
                  <a:cubicBezTo>
                    <a:pt x="10325" y="0"/>
                    <a:pt x="10325" y="0"/>
                    <a:pt x="10325" y="0"/>
                  </a:cubicBezTo>
                  <a:cubicBezTo>
                    <a:pt x="10325" y="5"/>
                    <a:pt x="10326" y="10"/>
                    <a:pt x="10326" y="14"/>
                  </a:cubicBezTo>
                  <a:cubicBezTo>
                    <a:pt x="10326" y="174"/>
                    <a:pt x="10238" y="262"/>
                    <a:pt x="10212" y="285"/>
                  </a:cubicBezTo>
                  <a:cubicBezTo>
                    <a:pt x="9251" y="271"/>
                    <a:pt x="9251" y="271"/>
                    <a:pt x="9251" y="271"/>
                  </a:cubicBezTo>
                  <a:cubicBezTo>
                    <a:pt x="9235" y="0"/>
                    <a:pt x="9235" y="0"/>
                    <a:pt x="9235" y="0"/>
                  </a:cubicBezTo>
                  <a:cubicBezTo>
                    <a:pt x="9169" y="0"/>
                    <a:pt x="9169" y="0"/>
                    <a:pt x="9169" y="0"/>
                  </a:cubicBezTo>
                  <a:cubicBezTo>
                    <a:pt x="9185" y="270"/>
                    <a:pt x="9185" y="270"/>
                    <a:pt x="9185" y="270"/>
                  </a:cubicBezTo>
                  <a:cubicBezTo>
                    <a:pt x="9160" y="270"/>
                    <a:pt x="9160" y="270"/>
                    <a:pt x="9160" y="270"/>
                  </a:cubicBezTo>
                  <a:cubicBezTo>
                    <a:pt x="9150" y="285"/>
                    <a:pt x="9150" y="285"/>
                    <a:pt x="9150" y="285"/>
                  </a:cubicBezTo>
                  <a:cubicBezTo>
                    <a:pt x="9150" y="285"/>
                    <a:pt x="9102" y="360"/>
                    <a:pt x="9045" y="446"/>
                  </a:cubicBezTo>
                  <a:cubicBezTo>
                    <a:pt x="8989" y="533"/>
                    <a:pt x="8924" y="631"/>
                    <a:pt x="8891" y="677"/>
                  </a:cubicBezTo>
                  <a:cubicBezTo>
                    <a:pt x="8891" y="677"/>
                    <a:pt x="8891" y="678"/>
                    <a:pt x="8890" y="678"/>
                  </a:cubicBezTo>
                  <a:cubicBezTo>
                    <a:pt x="7749" y="0"/>
                    <a:pt x="7749" y="0"/>
                    <a:pt x="7749" y="0"/>
                  </a:cubicBezTo>
                  <a:cubicBezTo>
                    <a:pt x="7595" y="0"/>
                    <a:pt x="7595" y="0"/>
                    <a:pt x="7595" y="0"/>
                  </a:cubicBezTo>
                  <a:cubicBezTo>
                    <a:pt x="7528" y="121"/>
                    <a:pt x="7528" y="121"/>
                    <a:pt x="7528" y="121"/>
                  </a:cubicBezTo>
                  <a:cubicBezTo>
                    <a:pt x="7528" y="123"/>
                    <a:pt x="7528" y="123"/>
                    <a:pt x="7528" y="123"/>
                  </a:cubicBezTo>
                  <a:cubicBezTo>
                    <a:pt x="7526" y="126"/>
                    <a:pt x="7503" y="181"/>
                    <a:pt x="7503" y="275"/>
                  </a:cubicBezTo>
                  <a:cubicBezTo>
                    <a:pt x="7503" y="343"/>
                    <a:pt x="7515" y="430"/>
                    <a:pt x="7556" y="532"/>
                  </a:cubicBezTo>
                  <a:cubicBezTo>
                    <a:pt x="7642" y="746"/>
                    <a:pt x="7752" y="965"/>
                    <a:pt x="7771" y="1002"/>
                  </a:cubicBezTo>
                  <a:cubicBezTo>
                    <a:pt x="7847" y="1703"/>
                    <a:pt x="7847" y="1703"/>
                    <a:pt x="7847" y="1703"/>
                  </a:cubicBezTo>
                  <a:cubicBezTo>
                    <a:pt x="7759" y="1945"/>
                    <a:pt x="7759" y="1945"/>
                    <a:pt x="7759" y="1945"/>
                  </a:cubicBezTo>
                  <a:cubicBezTo>
                    <a:pt x="7722" y="1943"/>
                    <a:pt x="7694" y="1942"/>
                    <a:pt x="7684" y="1941"/>
                  </a:cubicBezTo>
                  <a:cubicBezTo>
                    <a:pt x="7683" y="1941"/>
                    <a:pt x="7682" y="1941"/>
                    <a:pt x="7681" y="1941"/>
                  </a:cubicBezTo>
                  <a:cubicBezTo>
                    <a:pt x="7681" y="1941"/>
                    <a:pt x="7557" y="1936"/>
                    <a:pt x="7373" y="1930"/>
                  </a:cubicBezTo>
                  <a:cubicBezTo>
                    <a:pt x="7331" y="1928"/>
                    <a:pt x="7286" y="1927"/>
                    <a:pt x="7239" y="1925"/>
                  </a:cubicBezTo>
                  <a:cubicBezTo>
                    <a:pt x="6718" y="439"/>
                    <a:pt x="6718" y="439"/>
                    <a:pt x="6718" y="439"/>
                  </a:cubicBezTo>
                  <a:cubicBezTo>
                    <a:pt x="6725" y="395"/>
                    <a:pt x="6759" y="187"/>
                    <a:pt x="6790" y="0"/>
                  </a:cubicBezTo>
                  <a:cubicBezTo>
                    <a:pt x="6723" y="0"/>
                    <a:pt x="6723" y="0"/>
                    <a:pt x="6723" y="0"/>
                  </a:cubicBezTo>
                  <a:cubicBezTo>
                    <a:pt x="6720" y="20"/>
                    <a:pt x="6717" y="39"/>
                    <a:pt x="6714" y="59"/>
                  </a:cubicBezTo>
                  <a:cubicBezTo>
                    <a:pt x="6689" y="209"/>
                    <a:pt x="6664" y="359"/>
                    <a:pt x="6655" y="414"/>
                  </a:cubicBezTo>
                  <a:cubicBezTo>
                    <a:pt x="6562" y="433"/>
                    <a:pt x="6481" y="441"/>
                    <a:pt x="6411" y="441"/>
                  </a:cubicBezTo>
                  <a:cubicBezTo>
                    <a:pt x="6259" y="441"/>
                    <a:pt x="6151" y="408"/>
                    <a:pt x="6051" y="385"/>
                  </a:cubicBezTo>
                  <a:cubicBezTo>
                    <a:pt x="5979" y="369"/>
                    <a:pt x="5736" y="306"/>
                    <a:pt x="5512" y="247"/>
                  </a:cubicBezTo>
                  <a:cubicBezTo>
                    <a:pt x="5316" y="195"/>
                    <a:pt x="5135" y="147"/>
                    <a:pt x="5091" y="135"/>
                  </a:cubicBezTo>
                  <a:cubicBezTo>
                    <a:pt x="5092" y="92"/>
                    <a:pt x="5093" y="47"/>
                    <a:pt x="5094" y="0"/>
                  </a:cubicBezTo>
                  <a:cubicBezTo>
                    <a:pt x="5029" y="0"/>
                    <a:pt x="5029" y="0"/>
                    <a:pt x="5029" y="0"/>
                  </a:cubicBezTo>
                  <a:cubicBezTo>
                    <a:pt x="5027" y="79"/>
                    <a:pt x="5025" y="154"/>
                    <a:pt x="5023" y="219"/>
                  </a:cubicBezTo>
                  <a:cubicBezTo>
                    <a:pt x="5020" y="325"/>
                    <a:pt x="5017" y="406"/>
                    <a:pt x="5016" y="440"/>
                  </a:cubicBezTo>
                  <a:cubicBezTo>
                    <a:pt x="4598" y="162"/>
                    <a:pt x="4598" y="162"/>
                    <a:pt x="4598" y="162"/>
                  </a:cubicBezTo>
                  <a:cubicBezTo>
                    <a:pt x="4591" y="174"/>
                    <a:pt x="4591" y="174"/>
                    <a:pt x="4591" y="174"/>
                  </a:cubicBezTo>
                  <a:cubicBezTo>
                    <a:pt x="5016" y="456"/>
                    <a:pt x="5016" y="456"/>
                    <a:pt x="5016" y="456"/>
                  </a:cubicBezTo>
                  <a:cubicBezTo>
                    <a:pt x="5016" y="456"/>
                    <a:pt x="5016" y="457"/>
                    <a:pt x="5016" y="457"/>
                  </a:cubicBezTo>
                  <a:cubicBezTo>
                    <a:pt x="5015" y="459"/>
                    <a:pt x="5015" y="459"/>
                    <a:pt x="5015" y="459"/>
                  </a:cubicBezTo>
                  <a:cubicBezTo>
                    <a:pt x="5080" y="1026"/>
                    <a:pt x="5080" y="1026"/>
                    <a:pt x="5080" y="1026"/>
                  </a:cubicBezTo>
                  <a:cubicBezTo>
                    <a:pt x="4608" y="716"/>
                    <a:pt x="4608" y="716"/>
                    <a:pt x="4608" y="716"/>
                  </a:cubicBezTo>
                  <a:cubicBezTo>
                    <a:pt x="4354" y="244"/>
                    <a:pt x="4354" y="244"/>
                    <a:pt x="4354" y="244"/>
                  </a:cubicBezTo>
                  <a:cubicBezTo>
                    <a:pt x="4381" y="237"/>
                    <a:pt x="4419" y="225"/>
                    <a:pt x="4457" y="213"/>
                  </a:cubicBezTo>
                  <a:cubicBezTo>
                    <a:pt x="4523" y="193"/>
                    <a:pt x="4588" y="172"/>
                    <a:pt x="4588" y="172"/>
                  </a:cubicBezTo>
                  <a:cubicBezTo>
                    <a:pt x="4592" y="171"/>
                    <a:pt x="4592" y="171"/>
                    <a:pt x="4592" y="171"/>
                  </a:cubicBezTo>
                  <a:cubicBezTo>
                    <a:pt x="4646" y="0"/>
                    <a:pt x="4646" y="0"/>
                    <a:pt x="4646" y="0"/>
                  </a:cubicBezTo>
                  <a:cubicBezTo>
                    <a:pt x="4632" y="0"/>
                    <a:pt x="4632" y="0"/>
                    <a:pt x="4632" y="0"/>
                  </a:cubicBezTo>
                  <a:cubicBezTo>
                    <a:pt x="4581" y="160"/>
                    <a:pt x="4581" y="160"/>
                    <a:pt x="4581" y="160"/>
                  </a:cubicBezTo>
                  <a:cubicBezTo>
                    <a:pt x="4566" y="165"/>
                    <a:pt x="4510" y="182"/>
                    <a:pt x="4453" y="200"/>
                  </a:cubicBezTo>
                  <a:cubicBezTo>
                    <a:pt x="4414" y="212"/>
                    <a:pt x="4374" y="224"/>
                    <a:pt x="4347" y="232"/>
                  </a:cubicBezTo>
                  <a:cubicBezTo>
                    <a:pt x="4294" y="132"/>
                    <a:pt x="4294" y="132"/>
                    <a:pt x="4294" y="132"/>
                  </a:cubicBezTo>
                  <a:cubicBezTo>
                    <a:pt x="4307" y="0"/>
                    <a:pt x="4307" y="0"/>
                    <a:pt x="4307" y="0"/>
                  </a:cubicBezTo>
                  <a:cubicBezTo>
                    <a:pt x="4262" y="0"/>
                    <a:pt x="4262" y="0"/>
                    <a:pt x="4262" y="0"/>
                  </a:cubicBezTo>
                  <a:cubicBezTo>
                    <a:pt x="4248" y="142"/>
                    <a:pt x="4248" y="142"/>
                    <a:pt x="4248" y="142"/>
                  </a:cubicBezTo>
                  <a:cubicBezTo>
                    <a:pt x="4390" y="407"/>
                    <a:pt x="4390" y="407"/>
                    <a:pt x="4390" y="407"/>
                  </a:cubicBezTo>
                  <a:cubicBezTo>
                    <a:pt x="4374" y="417"/>
                    <a:pt x="4346" y="435"/>
                    <a:pt x="4317" y="453"/>
                  </a:cubicBezTo>
                  <a:cubicBezTo>
                    <a:pt x="4278" y="479"/>
                    <a:pt x="4239" y="504"/>
                    <a:pt x="4225" y="515"/>
                  </a:cubicBezTo>
                  <a:cubicBezTo>
                    <a:pt x="4224" y="514"/>
                    <a:pt x="4223" y="514"/>
                    <a:pt x="4222" y="513"/>
                  </a:cubicBezTo>
                  <a:cubicBezTo>
                    <a:pt x="4217" y="509"/>
                    <a:pt x="4210" y="504"/>
                    <a:pt x="4201" y="498"/>
                  </a:cubicBezTo>
                  <a:cubicBezTo>
                    <a:pt x="4182" y="485"/>
                    <a:pt x="4156" y="467"/>
                    <a:pt x="4124" y="446"/>
                  </a:cubicBezTo>
                  <a:cubicBezTo>
                    <a:pt x="4061" y="403"/>
                    <a:pt x="3977" y="346"/>
                    <a:pt x="3891" y="289"/>
                  </a:cubicBezTo>
                  <a:cubicBezTo>
                    <a:pt x="3859" y="267"/>
                    <a:pt x="3826" y="245"/>
                    <a:pt x="3795" y="224"/>
                  </a:cubicBezTo>
                  <a:cubicBezTo>
                    <a:pt x="3894" y="0"/>
                    <a:pt x="3894" y="0"/>
                    <a:pt x="3894" y="0"/>
                  </a:cubicBezTo>
                  <a:cubicBezTo>
                    <a:pt x="3878" y="0"/>
                    <a:pt x="3878" y="0"/>
                    <a:pt x="3878" y="0"/>
                  </a:cubicBezTo>
                  <a:cubicBezTo>
                    <a:pt x="3783" y="216"/>
                    <a:pt x="3783" y="216"/>
                    <a:pt x="3783" y="216"/>
                  </a:cubicBezTo>
                  <a:cubicBezTo>
                    <a:pt x="3663" y="135"/>
                    <a:pt x="3559" y="66"/>
                    <a:pt x="3537" y="50"/>
                  </a:cubicBezTo>
                  <a:cubicBezTo>
                    <a:pt x="3537" y="49"/>
                    <a:pt x="3537" y="48"/>
                    <a:pt x="3538" y="46"/>
                  </a:cubicBezTo>
                  <a:cubicBezTo>
                    <a:pt x="3538" y="40"/>
                    <a:pt x="3539" y="33"/>
                    <a:pt x="3539" y="24"/>
                  </a:cubicBezTo>
                  <a:cubicBezTo>
                    <a:pt x="3540" y="17"/>
                    <a:pt x="3540" y="9"/>
                    <a:pt x="3540" y="0"/>
                  </a:cubicBezTo>
                  <a:cubicBezTo>
                    <a:pt x="3526" y="0"/>
                    <a:pt x="3526" y="0"/>
                    <a:pt x="3526" y="0"/>
                  </a:cubicBezTo>
                  <a:cubicBezTo>
                    <a:pt x="3525" y="24"/>
                    <a:pt x="3524" y="43"/>
                    <a:pt x="3523" y="49"/>
                  </a:cubicBezTo>
                  <a:cubicBezTo>
                    <a:pt x="3522" y="50"/>
                    <a:pt x="3522" y="51"/>
                    <a:pt x="3522" y="52"/>
                  </a:cubicBezTo>
                  <a:cubicBezTo>
                    <a:pt x="3520" y="60"/>
                    <a:pt x="3520" y="60"/>
                    <a:pt x="3520" y="60"/>
                  </a:cubicBezTo>
                  <a:cubicBezTo>
                    <a:pt x="3526" y="60"/>
                    <a:pt x="3526" y="60"/>
                    <a:pt x="3526" y="60"/>
                  </a:cubicBezTo>
                  <a:cubicBezTo>
                    <a:pt x="3526" y="60"/>
                    <a:pt x="3526" y="60"/>
                    <a:pt x="3526" y="60"/>
                  </a:cubicBezTo>
                  <a:cubicBezTo>
                    <a:pt x="3528" y="61"/>
                    <a:pt x="3530" y="62"/>
                    <a:pt x="3532" y="64"/>
                  </a:cubicBezTo>
                  <a:cubicBezTo>
                    <a:pt x="3537" y="67"/>
                    <a:pt x="3544" y="72"/>
                    <a:pt x="3553" y="78"/>
                  </a:cubicBezTo>
                  <a:cubicBezTo>
                    <a:pt x="3572" y="91"/>
                    <a:pt x="3598" y="108"/>
                    <a:pt x="3629" y="130"/>
                  </a:cubicBezTo>
                  <a:cubicBezTo>
                    <a:pt x="3692" y="172"/>
                    <a:pt x="3776" y="228"/>
                    <a:pt x="3861" y="285"/>
                  </a:cubicBezTo>
                  <a:cubicBezTo>
                    <a:pt x="4029" y="398"/>
                    <a:pt x="4202" y="514"/>
                    <a:pt x="4220" y="528"/>
                  </a:cubicBezTo>
                  <a:cubicBezTo>
                    <a:pt x="4221" y="531"/>
                    <a:pt x="4224" y="531"/>
                    <a:pt x="4226" y="531"/>
                  </a:cubicBezTo>
                  <a:cubicBezTo>
                    <a:pt x="4226" y="531"/>
                    <a:pt x="4230" y="532"/>
                    <a:pt x="4232" y="528"/>
                  </a:cubicBezTo>
                  <a:cubicBezTo>
                    <a:pt x="4232" y="528"/>
                    <a:pt x="4232" y="528"/>
                    <a:pt x="4232" y="527"/>
                  </a:cubicBezTo>
                  <a:cubicBezTo>
                    <a:pt x="4233" y="527"/>
                    <a:pt x="4235" y="525"/>
                    <a:pt x="4237" y="523"/>
                  </a:cubicBezTo>
                  <a:cubicBezTo>
                    <a:pt x="4242" y="520"/>
                    <a:pt x="4249" y="515"/>
                    <a:pt x="4258" y="509"/>
                  </a:cubicBezTo>
                  <a:cubicBezTo>
                    <a:pt x="4275" y="498"/>
                    <a:pt x="4298" y="483"/>
                    <a:pt x="4320" y="468"/>
                  </a:cubicBezTo>
                  <a:cubicBezTo>
                    <a:pt x="4350" y="449"/>
                    <a:pt x="4380" y="430"/>
                    <a:pt x="4397" y="419"/>
                  </a:cubicBezTo>
                  <a:cubicBezTo>
                    <a:pt x="4566" y="734"/>
                    <a:pt x="4566" y="734"/>
                    <a:pt x="4566" y="734"/>
                  </a:cubicBezTo>
                  <a:cubicBezTo>
                    <a:pt x="4206" y="1801"/>
                    <a:pt x="4206" y="1801"/>
                    <a:pt x="4206" y="1801"/>
                  </a:cubicBezTo>
                  <a:cubicBezTo>
                    <a:pt x="4188" y="1802"/>
                    <a:pt x="4167" y="1803"/>
                    <a:pt x="4144" y="1803"/>
                  </a:cubicBezTo>
                  <a:cubicBezTo>
                    <a:pt x="4113" y="1803"/>
                    <a:pt x="4080" y="1801"/>
                    <a:pt x="4053" y="1798"/>
                  </a:cubicBezTo>
                  <a:cubicBezTo>
                    <a:pt x="4025" y="1794"/>
                    <a:pt x="4003" y="1787"/>
                    <a:pt x="3997" y="1784"/>
                  </a:cubicBezTo>
                  <a:cubicBezTo>
                    <a:pt x="3989" y="1781"/>
                    <a:pt x="3959" y="1752"/>
                    <a:pt x="3932" y="1715"/>
                  </a:cubicBezTo>
                  <a:cubicBezTo>
                    <a:pt x="3905" y="1677"/>
                    <a:pt x="3878" y="1631"/>
                    <a:pt x="3855" y="1592"/>
                  </a:cubicBezTo>
                  <a:cubicBezTo>
                    <a:pt x="3848" y="1579"/>
                    <a:pt x="3826" y="1534"/>
                    <a:pt x="3802" y="1479"/>
                  </a:cubicBezTo>
                  <a:cubicBezTo>
                    <a:pt x="3783" y="1433"/>
                    <a:pt x="3760" y="1379"/>
                    <a:pt x="3737" y="1324"/>
                  </a:cubicBezTo>
                  <a:cubicBezTo>
                    <a:pt x="3739" y="1289"/>
                    <a:pt x="3749" y="1110"/>
                    <a:pt x="3755" y="1038"/>
                  </a:cubicBezTo>
                  <a:cubicBezTo>
                    <a:pt x="3756" y="1026"/>
                    <a:pt x="3756" y="1014"/>
                    <a:pt x="3756" y="1000"/>
                  </a:cubicBezTo>
                  <a:cubicBezTo>
                    <a:pt x="3756" y="945"/>
                    <a:pt x="3750" y="864"/>
                    <a:pt x="3733" y="777"/>
                  </a:cubicBezTo>
                  <a:cubicBezTo>
                    <a:pt x="3716" y="691"/>
                    <a:pt x="3690" y="600"/>
                    <a:pt x="3641" y="525"/>
                  </a:cubicBezTo>
                  <a:cubicBezTo>
                    <a:pt x="3607" y="475"/>
                    <a:pt x="3554" y="432"/>
                    <a:pt x="3490" y="384"/>
                  </a:cubicBezTo>
                  <a:cubicBezTo>
                    <a:pt x="3426" y="337"/>
                    <a:pt x="3351" y="289"/>
                    <a:pt x="3280" y="244"/>
                  </a:cubicBezTo>
                  <a:cubicBezTo>
                    <a:pt x="3150" y="164"/>
                    <a:pt x="3030" y="99"/>
                    <a:pt x="3009" y="88"/>
                  </a:cubicBezTo>
                  <a:cubicBezTo>
                    <a:pt x="3009" y="86"/>
                    <a:pt x="3009" y="85"/>
                    <a:pt x="3009" y="83"/>
                  </a:cubicBezTo>
                  <a:cubicBezTo>
                    <a:pt x="3009" y="55"/>
                    <a:pt x="3005" y="27"/>
                    <a:pt x="2999" y="0"/>
                  </a:cubicBezTo>
                  <a:cubicBezTo>
                    <a:pt x="2834" y="0"/>
                    <a:pt x="2834" y="0"/>
                    <a:pt x="2834" y="0"/>
                  </a:cubicBezTo>
                  <a:cubicBezTo>
                    <a:pt x="2845" y="26"/>
                    <a:pt x="2851" y="54"/>
                    <a:pt x="2851" y="83"/>
                  </a:cubicBezTo>
                  <a:cubicBezTo>
                    <a:pt x="2851" y="198"/>
                    <a:pt x="2758" y="291"/>
                    <a:pt x="2644" y="291"/>
                  </a:cubicBezTo>
                  <a:cubicBezTo>
                    <a:pt x="2529" y="291"/>
                    <a:pt x="2436" y="198"/>
                    <a:pt x="2436" y="83"/>
                  </a:cubicBezTo>
                  <a:cubicBezTo>
                    <a:pt x="2436" y="54"/>
                    <a:pt x="2442" y="26"/>
                    <a:pt x="2454" y="0"/>
                  </a:cubicBezTo>
                  <a:cubicBezTo>
                    <a:pt x="2289" y="0"/>
                    <a:pt x="2289" y="0"/>
                    <a:pt x="2289" y="0"/>
                  </a:cubicBezTo>
                  <a:cubicBezTo>
                    <a:pt x="2283" y="27"/>
                    <a:pt x="2278" y="55"/>
                    <a:pt x="2278" y="83"/>
                  </a:cubicBezTo>
                  <a:cubicBezTo>
                    <a:pt x="2278" y="95"/>
                    <a:pt x="2279" y="106"/>
                    <a:pt x="2280" y="118"/>
                  </a:cubicBezTo>
                  <a:cubicBezTo>
                    <a:pt x="2227" y="110"/>
                    <a:pt x="2153" y="98"/>
                    <a:pt x="2073" y="86"/>
                  </a:cubicBezTo>
                  <a:cubicBezTo>
                    <a:pt x="1919" y="61"/>
                    <a:pt x="1741" y="31"/>
                    <a:pt x="1656" y="11"/>
                  </a:cubicBezTo>
                  <a:cubicBezTo>
                    <a:pt x="1643" y="8"/>
                    <a:pt x="1631" y="4"/>
                    <a:pt x="1619" y="0"/>
                  </a:cubicBezTo>
                  <a:cubicBezTo>
                    <a:pt x="1258" y="0"/>
                    <a:pt x="1258" y="0"/>
                    <a:pt x="1258" y="0"/>
                  </a:cubicBezTo>
                  <a:cubicBezTo>
                    <a:pt x="1369" y="66"/>
                    <a:pt x="1477" y="125"/>
                    <a:pt x="1621" y="159"/>
                  </a:cubicBezTo>
                  <a:cubicBezTo>
                    <a:pt x="1717" y="181"/>
                    <a:pt x="1893" y="211"/>
                    <a:pt x="2049" y="236"/>
                  </a:cubicBezTo>
                  <a:cubicBezTo>
                    <a:pt x="2170" y="255"/>
                    <a:pt x="2290" y="274"/>
                    <a:pt x="2337" y="281"/>
                  </a:cubicBezTo>
                  <a:cubicBezTo>
                    <a:pt x="2351" y="304"/>
                    <a:pt x="2368" y="325"/>
                    <a:pt x="2387" y="343"/>
                  </a:cubicBezTo>
                  <a:cubicBezTo>
                    <a:pt x="2367" y="370"/>
                    <a:pt x="2325" y="424"/>
                    <a:pt x="2274" y="490"/>
                  </a:cubicBezTo>
                  <a:cubicBezTo>
                    <a:pt x="2200" y="584"/>
                    <a:pt x="2108" y="701"/>
                    <a:pt x="2031" y="788"/>
                  </a:cubicBezTo>
                  <a:cubicBezTo>
                    <a:pt x="1982" y="846"/>
                    <a:pt x="1935" y="894"/>
                    <a:pt x="1919" y="906"/>
                  </a:cubicBezTo>
                  <a:cubicBezTo>
                    <a:pt x="1912" y="911"/>
                    <a:pt x="1891" y="923"/>
                    <a:pt x="1864" y="937"/>
                  </a:cubicBezTo>
                  <a:cubicBezTo>
                    <a:pt x="1836" y="952"/>
                    <a:pt x="1801" y="968"/>
                    <a:pt x="1760" y="987"/>
                  </a:cubicBezTo>
                  <a:cubicBezTo>
                    <a:pt x="1679" y="1023"/>
                    <a:pt x="1577" y="1066"/>
                    <a:pt x="1472" y="1109"/>
                  </a:cubicBezTo>
                  <a:cubicBezTo>
                    <a:pt x="1261" y="1195"/>
                    <a:pt x="1034" y="1282"/>
                    <a:pt x="917" y="1329"/>
                  </a:cubicBezTo>
                  <a:cubicBezTo>
                    <a:pt x="680" y="1422"/>
                    <a:pt x="342" y="1579"/>
                    <a:pt x="340" y="1580"/>
                  </a:cubicBezTo>
                  <a:cubicBezTo>
                    <a:pt x="340" y="1580"/>
                    <a:pt x="204" y="1645"/>
                    <a:pt x="0" y="1743"/>
                  </a:cubicBezTo>
                  <a:cubicBezTo>
                    <a:pt x="0" y="1913"/>
                    <a:pt x="0" y="1913"/>
                    <a:pt x="0" y="1913"/>
                  </a:cubicBezTo>
                  <a:cubicBezTo>
                    <a:pt x="24" y="1901"/>
                    <a:pt x="47" y="1890"/>
                    <a:pt x="69" y="1880"/>
                  </a:cubicBezTo>
                  <a:cubicBezTo>
                    <a:pt x="271" y="1782"/>
                    <a:pt x="405" y="1718"/>
                    <a:pt x="405" y="1718"/>
                  </a:cubicBezTo>
                  <a:cubicBezTo>
                    <a:pt x="406" y="1718"/>
                    <a:pt x="441" y="1701"/>
                    <a:pt x="496" y="1676"/>
                  </a:cubicBezTo>
                  <a:cubicBezTo>
                    <a:pt x="513" y="1711"/>
                    <a:pt x="542" y="1775"/>
                    <a:pt x="579" y="1857"/>
                  </a:cubicBezTo>
                  <a:cubicBezTo>
                    <a:pt x="637" y="1984"/>
                    <a:pt x="715" y="2155"/>
                    <a:pt x="793" y="2329"/>
                  </a:cubicBezTo>
                  <a:cubicBezTo>
                    <a:pt x="951" y="2675"/>
                    <a:pt x="1113" y="3033"/>
                    <a:pt x="1128" y="3071"/>
                  </a:cubicBezTo>
                  <a:cubicBezTo>
                    <a:pt x="1142" y="3105"/>
                    <a:pt x="1187" y="3265"/>
                    <a:pt x="1231" y="3438"/>
                  </a:cubicBezTo>
                  <a:cubicBezTo>
                    <a:pt x="1244" y="3491"/>
                    <a:pt x="1257" y="3546"/>
                    <a:pt x="1270" y="3600"/>
                  </a:cubicBezTo>
                  <a:cubicBezTo>
                    <a:pt x="1337" y="3600"/>
                    <a:pt x="1337" y="3600"/>
                    <a:pt x="1337" y="3600"/>
                  </a:cubicBezTo>
                  <a:cubicBezTo>
                    <a:pt x="1324" y="3541"/>
                    <a:pt x="1309" y="3481"/>
                    <a:pt x="1294" y="3422"/>
                  </a:cubicBezTo>
                  <a:cubicBezTo>
                    <a:pt x="1250" y="3246"/>
                    <a:pt x="1206" y="3091"/>
                    <a:pt x="1189" y="3046"/>
                  </a:cubicBezTo>
                  <a:cubicBezTo>
                    <a:pt x="1172" y="3004"/>
                    <a:pt x="1011" y="2649"/>
                    <a:pt x="853" y="2301"/>
                  </a:cubicBezTo>
                  <a:cubicBezTo>
                    <a:pt x="831" y="2252"/>
                    <a:pt x="809" y="2204"/>
                    <a:pt x="787" y="2156"/>
                  </a:cubicBezTo>
                  <a:cubicBezTo>
                    <a:pt x="2314" y="1770"/>
                    <a:pt x="2314" y="1770"/>
                    <a:pt x="2314" y="1770"/>
                  </a:cubicBezTo>
                  <a:cubicBezTo>
                    <a:pt x="2322" y="1811"/>
                    <a:pt x="2331" y="1847"/>
                    <a:pt x="2342" y="1872"/>
                  </a:cubicBezTo>
                  <a:cubicBezTo>
                    <a:pt x="2373" y="1937"/>
                    <a:pt x="2446" y="1969"/>
                    <a:pt x="2530" y="1969"/>
                  </a:cubicBezTo>
                  <a:cubicBezTo>
                    <a:pt x="2530" y="1969"/>
                    <a:pt x="2531" y="1969"/>
                    <a:pt x="2531" y="1969"/>
                  </a:cubicBezTo>
                  <a:cubicBezTo>
                    <a:pt x="2537" y="1969"/>
                    <a:pt x="2542" y="1968"/>
                    <a:pt x="2548" y="1968"/>
                  </a:cubicBezTo>
                  <a:cubicBezTo>
                    <a:pt x="2586" y="1966"/>
                    <a:pt x="2648" y="1965"/>
                    <a:pt x="2715" y="1962"/>
                  </a:cubicBezTo>
                  <a:cubicBezTo>
                    <a:pt x="2820" y="2460"/>
                    <a:pt x="2820" y="2460"/>
                    <a:pt x="2820" y="2460"/>
                  </a:cubicBezTo>
                  <a:cubicBezTo>
                    <a:pt x="2820" y="2461"/>
                    <a:pt x="2820" y="2461"/>
                    <a:pt x="2820" y="2462"/>
                  </a:cubicBezTo>
                  <a:cubicBezTo>
                    <a:pt x="2820" y="2468"/>
                    <a:pt x="2821" y="2473"/>
                    <a:pt x="2824" y="2477"/>
                  </a:cubicBezTo>
                  <a:cubicBezTo>
                    <a:pt x="3044" y="3519"/>
                    <a:pt x="3044" y="3519"/>
                    <a:pt x="3044" y="3519"/>
                  </a:cubicBezTo>
                  <a:cubicBezTo>
                    <a:pt x="1522" y="3600"/>
                    <a:pt x="1522" y="3600"/>
                    <a:pt x="1522" y="3600"/>
                  </a:cubicBezTo>
                  <a:cubicBezTo>
                    <a:pt x="2367" y="3600"/>
                    <a:pt x="2367" y="3600"/>
                    <a:pt x="2367" y="3600"/>
                  </a:cubicBezTo>
                  <a:cubicBezTo>
                    <a:pt x="3053" y="3564"/>
                    <a:pt x="3053" y="3564"/>
                    <a:pt x="3053" y="3564"/>
                  </a:cubicBezTo>
                  <a:cubicBezTo>
                    <a:pt x="3061" y="3600"/>
                    <a:pt x="3061" y="3600"/>
                    <a:pt x="3061" y="3600"/>
                  </a:cubicBezTo>
                  <a:cubicBezTo>
                    <a:pt x="3128" y="3600"/>
                    <a:pt x="3128" y="3600"/>
                    <a:pt x="3128" y="3600"/>
                  </a:cubicBezTo>
                  <a:cubicBezTo>
                    <a:pt x="3123" y="3577"/>
                    <a:pt x="3123" y="3577"/>
                    <a:pt x="3123" y="3577"/>
                  </a:cubicBezTo>
                  <a:cubicBezTo>
                    <a:pt x="3170" y="3578"/>
                    <a:pt x="3256" y="3579"/>
                    <a:pt x="3343" y="3580"/>
                  </a:cubicBezTo>
                  <a:cubicBezTo>
                    <a:pt x="3472" y="3581"/>
                    <a:pt x="3605" y="3583"/>
                    <a:pt x="3616" y="3585"/>
                  </a:cubicBezTo>
                  <a:cubicBezTo>
                    <a:pt x="3620" y="3586"/>
                    <a:pt x="3644" y="3592"/>
                    <a:pt x="3676" y="3600"/>
                  </a:cubicBezTo>
                  <a:cubicBezTo>
                    <a:pt x="3734" y="3600"/>
                    <a:pt x="3734" y="3600"/>
                    <a:pt x="3734" y="3600"/>
                  </a:cubicBezTo>
                  <a:cubicBezTo>
                    <a:pt x="3673" y="3585"/>
                    <a:pt x="3622" y="3572"/>
                    <a:pt x="3620" y="3571"/>
                  </a:cubicBezTo>
                  <a:cubicBezTo>
                    <a:pt x="3615" y="3570"/>
                    <a:pt x="3608" y="3570"/>
                    <a:pt x="3593" y="3570"/>
                  </a:cubicBezTo>
                  <a:cubicBezTo>
                    <a:pt x="3577" y="3569"/>
                    <a:pt x="3556" y="3569"/>
                    <a:pt x="3531" y="3569"/>
                  </a:cubicBezTo>
                  <a:cubicBezTo>
                    <a:pt x="3481" y="3568"/>
                    <a:pt x="3415" y="3567"/>
                    <a:pt x="3349" y="3566"/>
                  </a:cubicBezTo>
                  <a:cubicBezTo>
                    <a:pt x="3258" y="3565"/>
                    <a:pt x="3167" y="3564"/>
                    <a:pt x="3120" y="3563"/>
                  </a:cubicBezTo>
                  <a:cubicBezTo>
                    <a:pt x="3080" y="3374"/>
                    <a:pt x="3080" y="3374"/>
                    <a:pt x="3080" y="3374"/>
                  </a:cubicBezTo>
                  <a:cubicBezTo>
                    <a:pt x="3581" y="3366"/>
                    <a:pt x="3581" y="3366"/>
                    <a:pt x="3581" y="3366"/>
                  </a:cubicBezTo>
                  <a:cubicBezTo>
                    <a:pt x="3604" y="3376"/>
                    <a:pt x="3929" y="3505"/>
                    <a:pt x="3969" y="3520"/>
                  </a:cubicBezTo>
                  <a:cubicBezTo>
                    <a:pt x="3969" y="3539"/>
                    <a:pt x="3969" y="3552"/>
                    <a:pt x="3969" y="3555"/>
                  </a:cubicBezTo>
                  <a:cubicBezTo>
                    <a:pt x="3958" y="3600"/>
                    <a:pt x="3958" y="3600"/>
                    <a:pt x="3958" y="3600"/>
                  </a:cubicBezTo>
                  <a:cubicBezTo>
                    <a:pt x="3972" y="3600"/>
                    <a:pt x="3972" y="3600"/>
                    <a:pt x="3972" y="3600"/>
                  </a:cubicBezTo>
                  <a:cubicBezTo>
                    <a:pt x="3982" y="3557"/>
                    <a:pt x="3982" y="3557"/>
                    <a:pt x="3982" y="3557"/>
                  </a:cubicBezTo>
                  <a:cubicBezTo>
                    <a:pt x="3982" y="3556"/>
                    <a:pt x="3982" y="3556"/>
                    <a:pt x="3982" y="3556"/>
                  </a:cubicBezTo>
                  <a:cubicBezTo>
                    <a:pt x="3982" y="3556"/>
                    <a:pt x="3983" y="3544"/>
                    <a:pt x="3983" y="3523"/>
                  </a:cubicBezTo>
                  <a:cubicBezTo>
                    <a:pt x="4018" y="3529"/>
                    <a:pt x="4146" y="3546"/>
                    <a:pt x="4274" y="3563"/>
                  </a:cubicBezTo>
                  <a:cubicBezTo>
                    <a:pt x="4394" y="3578"/>
                    <a:pt x="4514" y="3594"/>
                    <a:pt x="4554" y="3599"/>
                  </a:cubicBezTo>
                  <a:cubicBezTo>
                    <a:pt x="4554" y="3600"/>
                    <a:pt x="4554" y="3600"/>
                    <a:pt x="4554" y="3600"/>
                  </a:cubicBezTo>
                  <a:cubicBezTo>
                    <a:pt x="4707" y="3600"/>
                    <a:pt x="4707" y="3600"/>
                    <a:pt x="4707" y="3600"/>
                  </a:cubicBezTo>
                  <a:cubicBezTo>
                    <a:pt x="4923" y="1907"/>
                    <a:pt x="4923" y="1907"/>
                    <a:pt x="4923" y="1907"/>
                  </a:cubicBezTo>
                  <a:cubicBezTo>
                    <a:pt x="4987" y="1895"/>
                    <a:pt x="4987" y="1895"/>
                    <a:pt x="4987" y="1895"/>
                  </a:cubicBezTo>
                  <a:cubicBezTo>
                    <a:pt x="4976" y="1986"/>
                    <a:pt x="4955" y="2149"/>
                    <a:pt x="4928" y="2362"/>
                  </a:cubicBezTo>
                  <a:cubicBezTo>
                    <a:pt x="4887" y="2688"/>
                    <a:pt x="4831" y="3129"/>
                    <a:pt x="4771" y="3600"/>
                  </a:cubicBezTo>
                  <a:cubicBezTo>
                    <a:pt x="4925" y="3600"/>
                    <a:pt x="4925" y="3600"/>
                    <a:pt x="4925" y="3600"/>
                  </a:cubicBezTo>
                  <a:cubicBezTo>
                    <a:pt x="4932" y="3547"/>
                    <a:pt x="4938" y="3495"/>
                    <a:pt x="4945" y="3443"/>
                  </a:cubicBezTo>
                  <a:cubicBezTo>
                    <a:pt x="5515" y="3527"/>
                    <a:pt x="5515" y="3527"/>
                    <a:pt x="5515" y="3527"/>
                  </a:cubicBezTo>
                  <a:cubicBezTo>
                    <a:pt x="5507" y="3600"/>
                    <a:pt x="5507" y="3600"/>
                    <a:pt x="5507" y="3600"/>
                  </a:cubicBezTo>
                  <a:cubicBezTo>
                    <a:pt x="5573" y="3600"/>
                    <a:pt x="5573" y="3600"/>
                    <a:pt x="5573" y="3600"/>
                  </a:cubicBezTo>
                  <a:cubicBezTo>
                    <a:pt x="5575" y="3579"/>
                    <a:pt x="5575" y="3579"/>
                    <a:pt x="5575" y="3579"/>
                  </a:cubicBezTo>
                  <a:cubicBezTo>
                    <a:pt x="5579" y="3580"/>
                    <a:pt x="5582" y="3580"/>
                    <a:pt x="5586" y="3581"/>
                  </a:cubicBezTo>
                  <a:cubicBezTo>
                    <a:pt x="5607" y="3584"/>
                    <a:pt x="5636" y="3589"/>
                    <a:pt x="5670" y="3594"/>
                  </a:cubicBezTo>
                  <a:cubicBezTo>
                    <a:pt x="5684" y="3596"/>
                    <a:pt x="5700" y="3598"/>
                    <a:pt x="5715" y="3600"/>
                  </a:cubicBezTo>
                  <a:cubicBezTo>
                    <a:pt x="6043" y="3600"/>
                    <a:pt x="6043" y="3600"/>
                    <a:pt x="6043" y="3600"/>
                  </a:cubicBezTo>
                  <a:cubicBezTo>
                    <a:pt x="5925" y="3584"/>
                    <a:pt x="5786" y="3565"/>
                    <a:pt x="5686" y="3551"/>
                  </a:cubicBezTo>
                  <a:cubicBezTo>
                    <a:pt x="5640" y="3544"/>
                    <a:pt x="5602" y="3538"/>
                    <a:pt x="5580" y="3534"/>
                  </a:cubicBezTo>
                  <a:cubicBezTo>
                    <a:pt x="5733" y="2024"/>
                    <a:pt x="5733" y="2024"/>
                    <a:pt x="5733" y="2024"/>
                  </a:cubicBezTo>
                  <a:cubicBezTo>
                    <a:pt x="5860" y="2028"/>
                    <a:pt x="6366" y="2046"/>
                    <a:pt x="6830" y="2063"/>
                  </a:cubicBezTo>
                  <a:cubicBezTo>
                    <a:pt x="6291" y="3600"/>
                    <a:pt x="6291" y="3600"/>
                    <a:pt x="6291" y="3600"/>
                  </a:cubicBezTo>
                  <a:cubicBezTo>
                    <a:pt x="6339" y="3600"/>
                    <a:pt x="6339" y="3600"/>
                    <a:pt x="6339" y="3600"/>
                  </a:cubicBezTo>
                  <a:cubicBezTo>
                    <a:pt x="6878" y="2065"/>
                    <a:pt x="6878" y="2065"/>
                    <a:pt x="6878" y="2065"/>
                  </a:cubicBezTo>
                  <a:cubicBezTo>
                    <a:pt x="7276" y="2079"/>
                    <a:pt x="7632" y="2092"/>
                    <a:pt x="7672" y="2093"/>
                  </a:cubicBezTo>
                  <a:cubicBezTo>
                    <a:pt x="7672" y="2093"/>
                    <a:pt x="7673" y="2093"/>
                    <a:pt x="7673" y="2093"/>
                  </a:cubicBezTo>
                  <a:cubicBezTo>
                    <a:pt x="7674" y="2093"/>
                    <a:pt x="7675" y="2093"/>
                    <a:pt x="7675" y="2093"/>
                  </a:cubicBezTo>
                  <a:cubicBezTo>
                    <a:pt x="7676" y="2094"/>
                    <a:pt x="7678" y="2094"/>
                    <a:pt x="7679" y="2094"/>
                  </a:cubicBezTo>
                  <a:cubicBezTo>
                    <a:pt x="7683" y="2094"/>
                    <a:pt x="7687" y="2094"/>
                    <a:pt x="7693" y="2094"/>
                  </a:cubicBezTo>
                  <a:cubicBezTo>
                    <a:pt x="7698" y="2094"/>
                    <a:pt x="7704" y="2095"/>
                    <a:pt x="7710" y="2095"/>
                  </a:cubicBezTo>
                  <a:cubicBezTo>
                    <a:pt x="7412" y="3445"/>
                    <a:pt x="7412" y="3445"/>
                    <a:pt x="7412" y="3445"/>
                  </a:cubicBezTo>
                  <a:cubicBezTo>
                    <a:pt x="7411" y="3447"/>
                    <a:pt x="7408" y="3460"/>
                    <a:pt x="7408" y="3479"/>
                  </a:cubicBezTo>
                  <a:cubicBezTo>
                    <a:pt x="7408" y="3508"/>
                    <a:pt x="7416" y="3555"/>
                    <a:pt x="7451" y="3600"/>
                  </a:cubicBezTo>
                  <a:cubicBezTo>
                    <a:pt x="7546" y="3600"/>
                    <a:pt x="7546" y="3600"/>
                    <a:pt x="7546" y="3600"/>
                  </a:cubicBezTo>
                  <a:cubicBezTo>
                    <a:pt x="7532" y="3591"/>
                    <a:pt x="7521" y="3581"/>
                    <a:pt x="7512" y="3571"/>
                  </a:cubicBezTo>
                  <a:cubicBezTo>
                    <a:pt x="7479" y="3535"/>
                    <a:pt x="7474" y="3500"/>
                    <a:pt x="7474" y="3479"/>
                  </a:cubicBezTo>
                  <a:cubicBezTo>
                    <a:pt x="7474" y="3470"/>
                    <a:pt x="7475" y="3463"/>
                    <a:pt x="7475" y="3462"/>
                  </a:cubicBezTo>
                  <a:cubicBezTo>
                    <a:pt x="7475" y="3462"/>
                    <a:pt x="7475" y="3461"/>
                    <a:pt x="7476" y="3460"/>
                  </a:cubicBezTo>
                  <a:cubicBezTo>
                    <a:pt x="7776" y="2099"/>
                    <a:pt x="7776" y="2099"/>
                    <a:pt x="7776" y="2099"/>
                  </a:cubicBezTo>
                  <a:cubicBezTo>
                    <a:pt x="7806" y="2101"/>
                    <a:pt x="7837" y="2104"/>
                    <a:pt x="7864" y="2108"/>
                  </a:cubicBezTo>
                  <a:cubicBezTo>
                    <a:pt x="7929" y="2117"/>
                    <a:pt x="9328" y="2325"/>
                    <a:pt x="10022" y="2429"/>
                  </a:cubicBezTo>
                  <a:cubicBezTo>
                    <a:pt x="10254" y="2463"/>
                    <a:pt x="10407" y="2486"/>
                    <a:pt x="10407" y="2486"/>
                  </a:cubicBezTo>
                  <a:cubicBezTo>
                    <a:pt x="10408" y="2486"/>
                    <a:pt x="10408" y="2486"/>
                    <a:pt x="10408" y="2486"/>
                  </a:cubicBezTo>
                  <a:cubicBezTo>
                    <a:pt x="10410" y="2486"/>
                    <a:pt x="10410" y="2486"/>
                    <a:pt x="10410" y="2486"/>
                  </a:cubicBezTo>
                  <a:cubicBezTo>
                    <a:pt x="10410" y="2486"/>
                    <a:pt x="10411" y="2486"/>
                    <a:pt x="10416" y="2487"/>
                  </a:cubicBezTo>
                  <a:cubicBezTo>
                    <a:pt x="10420" y="2488"/>
                    <a:pt x="10426" y="2488"/>
                    <a:pt x="10435" y="2490"/>
                  </a:cubicBezTo>
                  <a:cubicBezTo>
                    <a:pt x="10451" y="2492"/>
                    <a:pt x="10476" y="2497"/>
                    <a:pt x="10504" y="2503"/>
                  </a:cubicBezTo>
                  <a:cubicBezTo>
                    <a:pt x="10562" y="2516"/>
                    <a:pt x="10638" y="2537"/>
                    <a:pt x="10709" y="2569"/>
                  </a:cubicBezTo>
                  <a:cubicBezTo>
                    <a:pt x="10782" y="2602"/>
                    <a:pt x="10965" y="2699"/>
                    <a:pt x="11144" y="2799"/>
                  </a:cubicBezTo>
                  <a:cubicBezTo>
                    <a:pt x="11323" y="2899"/>
                    <a:pt x="11503" y="3002"/>
                    <a:pt x="11575" y="3047"/>
                  </a:cubicBezTo>
                  <a:cubicBezTo>
                    <a:pt x="12437" y="3600"/>
                    <a:pt x="12437" y="3600"/>
                    <a:pt x="12437" y="3600"/>
                  </a:cubicBezTo>
                  <a:cubicBezTo>
                    <a:pt x="12714" y="3600"/>
                    <a:pt x="12714" y="3600"/>
                    <a:pt x="12714" y="3600"/>
                  </a:cubicBezTo>
                  <a:cubicBezTo>
                    <a:pt x="12695" y="3587"/>
                    <a:pt x="12695" y="3587"/>
                    <a:pt x="12695" y="3587"/>
                  </a:cubicBezTo>
                  <a:cubicBezTo>
                    <a:pt x="12956" y="3043"/>
                    <a:pt x="13187" y="2549"/>
                    <a:pt x="13248" y="2418"/>
                  </a:cubicBezTo>
                  <a:cubicBezTo>
                    <a:pt x="13253" y="2421"/>
                    <a:pt x="13258" y="2424"/>
                    <a:pt x="13262" y="2427"/>
                  </a:cubicBezTo>
                  <a:cubicBezTo>
                    <a:pt x="13322" y="2464"/>
                    <a:pt x="13393" y="2523"/>
                    <a:pt x="13442" y="2609"/>
                  </a:cubicBezTo>
                  <a:cubicBezTo>
                    <a:pt x="13495" y="2701"/>
                    <a:pt x="13534" y="2766"/>
                    <a:pt x="13588" y="2822"/>
                  </a:cubicBezTo>
                  <a:cubicBezTo>
                    <a:pt x="13643" y="2878"/>
                    <a:pt x="13710" y="2921"/>
                    <a:pt x="13816" y="2969"/>
                  </a:cubicBezTo>
                  <a:cubicBezTo>
                    <a:pt x="14023" y="3062"/>
                    <a:pt x="15214" y="3563"/>
                    <a:pt x="15269" y="3585"/>
                  </a:cubicBezTo>
                  <a:cubicBezTo>
                    <a:pt x="15269" y="3585"/>
                    <a:pt x="15270" y="3586"/>
                    <a:pt x="15271" y="3587"/>
                  </a:cubicBezTo>
                  <a:cubicBezTo>
                    <a:pt x="15274" y="3588"/>
                    <a:pt x="15277" y="3591"/>
                    <a:pt x="15282" y="3594"/>
                  </a:cubicBezTo>
                  <a:cubicBezTo>
                    <a:pt x="15285" y="3596"/>
                    <a:pt x="15288" y="3598"/>
                    <a:pt x="15291" y="3600"/>
                  </a:cubicBezTo>
                  <a:cubicBezTo>
                    <a:pt x="15404" y="3600"/>
                    <a:pt x="15404" y="3600"/>
                    <a:pt x="15404" y="3600"/>
                  </a:cubicBezTo>
                  <a:cubicBezTo>
                    <a:pt x="15360" y="3568"/>
                    <a:pt x="15325" y="3543"/>
                    <a:pt x="15308" y="3532"/>
                  </a:cubicBezTo>
                  <a:cubicBezTo>
                    <a:pt x="15303" y="3529"/>
                    <a:pt x="15301" y="3528"/>
                    <a:pt x="15295" y="3525"/>
                  </a:cubicBezTo>
                  <a:cubicBezTo>
                    <a:pt x="15276" y="3517"/>
                    <a:pt x="14050" y="3002"/>
                    <a:pt x="13843" y="2909"/>
                  </a:cubicBezTo>
                  <a:cubicBezTo>
                    <a:pt x="13741" y="2863"/>
                    <a:pt x="13682" y="2825"/>
                    <a:pt x="13635" y="2777"/>
                  </a:cubicBezTo>
                  <a:cubicBezTo>
                    <a:pt x="13589" y="2729"/>
                    <a:pt x="13552" y="2668"/>
                    <a:pt x="13499" y="2576"/>
                  </a:cubicBezTo>
                  <a:cubicBezTo>
                    <a:pt x="13435" y="2466"/>
                    <a:pt x="13343" y="2397"/>
                    <a:pt x="13274" y="2357"/>
                  </a:cubicBezTo>
                  <a:cubicBezTo>
                    <a:pt x="13974" y="345"/>
                    <a:pt x="13974" y="345"/>
                    <a:pt x="13974" y="345"/>
                  </a:cubicBezTo>
                  <a:cubicBezTo>
                    <a:pt x="14410" y="392"/>
                    <a:pt x="14410" y="392"/>
                    <a:pt x="14410" y="392"/>
                  </a:cubicBezTo>
                  <a:cubicBezTo>
                    <a:pt x="14410" y="392"/>
                    <a:pt x="14411" y="393"/>
                    <a:pt x="14412" y="393"/>
                  </a:cubicBezTo>
                  <a:cubicBezTo>
                    <a:pt x="14416" y="396"/>
                    <a:pt x="14423" y="399"/>
                    <a:pt x="14431" y="403"/>
                  </a:cubicBezTo>
                  <a:cubicBezTo>
                    <a:pt x="14447" y="411"/>
                    <a:pt x="14471" y="423"/>
                    <a:pt x="14501" y="438"/>
                  </a:cubicBezTo>
                  <a:cubicBezTo>
                    <a:pt x="14561" y="468"/>
                    <a:pt x="14647" y="510"/>
                    <a:pt x="14750" y="561"/>
                  </a:cubicBezTo>
                  <a:cubicBezTo>
                    <a:pt x="14956" y="664"/>
                    <a:pt x="15229" y="801"/>
                    <a:pt x="15501" y="946"/>
                  </a:cubicBezTo>
                  <a:cubicBezTo>
                    <a:pt x="15740" y="1073"/>
                    <a:pt x="15978" y="1215"/>
                    <a:pt x="16168" y="1327"/>
                  </a:cubicBezTo>
                  <a:cubicBezTo>
                    <a:pt x="16635" y="1603"/>
                    <a:pt x="17015" y="1978"/>
                    <a:pt x="17175" y="2148"/>
                  </a:cubicBezTo>
                  <a:cubicBezTo>
                    <a:pt x="17228" y="2205"/>
                    <a:pt x="17257" y="2238"/>
                    <a:pt x="17257" y="2238"/>
                  </a:cubicBezTo>
                  <a:cubicBezTo>
                    <a:pt x="17258" y="2239"/>
                    <a:pt x="17258" y="2239"/>
                    <a:pt x="17258" y="2239"/>
                  </a:cubicBezTo>
                  <a:cubicBezTo>
                    <a:pt x="17258" y="2239"/>
                    <a:pt x="17258" y="2239"/>
                    <a:pt x="17258" y="2239"/>
                  </a:cubicBezTo>
                  <a:cubicBezTo>
                    <a:pt x="17290" y="2273"/>
                    <a:pt x="17330" y="2319"/>
                    <a:pt x="17379" y="2370"/>
                  </a:cubicBezTo>
                  <a:cubicBezTo>
                    <a:pt x="17353" y="2394"/>
                    <a:pt x="17260" y="2479"/>
                    <a:pt x="17160" y="2592"/>
                  </a:cubicBezTo>
                  <a:cubicBezTo>
                    <a:pt x="17042" y="2726"/>
                    <a:pt x="16913" y="2896"/>
                    <a:pt x="16871" y="3058"/>
                  </a:cubicBezTo>
                  <a:cubicBezTo>
                    <a:pt x="16831" y="3214"/>
                    <a:pt x="16836" y="3342"/>
                    <a:pt x="16806" y="3455"/>
                  </a:cubicBezTo>
                  <a:cubicBezTo>
                    <a:pt x="16793" y="3505"/>
                    <a:pt x="16775" y="3552"/>
                    <a:pt x="16743" y="3600"/>
                  </a:cubicBezTo>
                  <a:cubicBezTo>
                    <a:pt x="16819" y="3600"/>
                    <a:pt x="16819" y="3600"/>
                    <a:pt x="16819" y="3600"/>
                  </a:cubicBezTo>
                  <a:cubicBezTo>
                    <a:pt x="16843" y="3558"/>
                    <a:pt x="16859" y="3515"/>
                    <a:pt x="16870" y="3471"/>
                  </a:cubicBezTo>
                  <a:cubicBezTo>
                    <a:pt x="16902" y="3345"/>
                    <a:pt x="16897" y="3220"/>
                    <a:pt x="16934" y="3074"/>
                  </a:cubicBezTo>
                  <a:cubicBezTo>
                    <a:pt x="16987" y="2862"/>
                    <a:pt x="17240" y="2593"/>
                    <a:pt x="17363" y="2475"/>
                  </a:cubicBezTo>
                  <a:cubicBezTo>
                    <a:pt x="17395" y="2445"/>
                    <a:pt x="17417" y="2425"/>
                    <a:pt x="17425" y="2417"/>
                  </a:cubicBezTo>
                  <a:cubicBezTo>
                    <a:pt x="17555" y="2545"/>
                    <a:pt x="17740" y="2698"/>
                    <a:pt x="18004" y="2813"/>
                  </a:cubicBezTo>
                  <a:cubicBezTo>
                    <a:pt x="18004" y="2741"/>
                    <a:pt x="18004" y="2741"/>
                    <a:pt x="18004" y="2741"/>
                  </a:cubicBezTo>
                  <a:cubicBezTo>
                    <a:pt x="17767" y="2633"/>
                    <a:pt x="17598" y="2495"/>
                    <a:pt x="17477" y="2376"/>
                  </a:cubicBezTo>
                  <a:cubicBezTo>
                    <a:pt x="17571" y="2300"/>
                    <a:pt x="17789" y="2125"/>
                    <a:pt x="18004" y="1949"/>
                  </a:cubicBezTo>
                  <a:lnTo>
                    <a:pt x="18004" y="1864"/>
                  </a:lnTo>
                  <a:close/>
                  <a:moveTo>
                    <a:pt x="2973" y="242"/>
                  </a:moveTo>
                  <a:cubicBezTo>
                    <a:pt x="2975" y="243"/>
                    <a:pt x="2978" y="244"/>
                    <a:pt x="2980" y="246"/>
                  </a:cubicBezTo>
                  <a:cubicBezTo>
                    <a:pt x="3010" y="263"/>
                    <a:pt x="3052" y="286"/>
                    <a:pt x="3099" y="314"/>
                  </a:cubicBezTo>
                  <a:cubicBezTo>
                    <a:pt x="3194" y="370"/>
                    <a:pt x="3312" y="442"/>
                    <a:pt x="3399" y="507"/>
                  </a:cubicBezTo>
                  <a:cubicBezTo>
                    <a:pt x="3457" y="549"/>
                    <a:pt x="3503" y="592"/>
                    <a:pt x="3514" y="609"/>
                  </a:cubicBezTo>
                  <a:cubicBezTo>
                    <a:pt x="3544" y="655"/>
                    <a:pt x="3569" y="731"/>
                    <a:pt x="3583" y="806"/>
                  </a:cubicBezTo>
                  <a:cubicBezTo>
                    <a:pt x="3597" y="876"/>
                    <a:pt x="3603" y="946"/>
                    <a:pt x="3603" y="991"/>
                  </a:cubicBezTo>
                  <a:cubicBezTo>
                    <a:pt x="3602" y="987"/>
                    <a:pt x="3601" y="984"/>
                    <a:pt x="3600" y="982"/>
                  </a:cubicBezTo>
                  <a:cubicBezTo>
                    <a:pt x="3587" y="945"/>
                    <a:pt x="3563" y="880"/>
                    <a:pt x="3538" y="815"/>
                  </a:cubicBezTo>
                  <a:cubicBezTo>
                    <a:pt x="3512" y="749"/>
                    <a:pt x="3485" y="685"/>
                    <a:pt x="3463" y="645"/>
                  </a:cubicBezTo>
                  <a:cubicBezTo>
                    <a:pt x="3423" y="571"/>
                    <a:pt x="3373" y="504"/>
                    <a:pt x="3303" y="458"/>
                  </a:cubicBezTo>
                  <a:cubicBezTo>
                    <a:pt x="3282" y="444"/>
                    <a:pt x="3252" y="428"/>
                    <a:pt x="3211" y="408"/>
                  </a:cubicBezTo>
                  <a:cubicBezTo>
                    <a:pt x="3171" y="387"/>
                    <a:pt x="3124" y="364"/>
                    <a:pt x="3078" y="342"/>
                  </a:cubicBezTo>
                  <a:cubicBezTo>
                    <a:pt x="3030" y="319"/>
                    <a:pt x="2983" y="297"/>
                    <a:pt x="2951" y="281"/>
                  </a:cubicBezTo>
                  <a:cubicBezTo>
                    <a:pt x="2959" y="268"/>
                    <a:pt x="2966" y="255"/>
                    <a:pt x="2973" y="242"/>
                  </a:cubicBezTo>
                  <a:close/>
                  <a:moveTo>
                    <a:pt x="2285" y="1567"/>
                  </a:moveTo>
                  <a:cubicBezTo>
                    <a:pt x="2285" y="1570"/>
                    <a:pt x="2285" y="1575"/>
                    <a:pt x="2286" y="1579"/>
                  </a:cubicBezTo>
                  <a:cubicBezTo>
                    <a:pt x="2288" y="1604"/>
                    <a:pt x="2294" y="1654"/>
                    <a:pt x="2302" y="1706"/>
                  </a:cubicBezTo>
                  <a:cubicBezTo>
                    <a:pt x="759" y="2095"/>
                    <a:pt x="759" y="2095"/>
                    <a:pt x="759" y="2095"/>
                  </a:cubicBezTo>
                  <a:cubicBezTo>
                    <a:pt x="667" y="1892"/>
                    <a:pt x="588" y="1718"/>
                    <a:pt x="556" y="1649"/>
                  </a:cubicBezTo>
                  <a:cubicBezTo>
                    <a:pt x="571" y="1642"/>
                    <a:pt x="586" y="1635"/>
                    <a:pt x="603" y="1628"/>
                  </a:cubicBezTo>
                  <a:cubicBezTo>
                    <a:pt x="716" y="1578"/>
                    <a:pt x="858" y="1516"/>
                    <a:pt x="973" y="1471"/>
                  </a:cubicBezTo>
                  <a:cubicBezTo>
                    <a:pt x="1074" y="1430"/>
                    <a:pt x="1262" y="1358"/>
                    <a:pt x="1449" y="1283"/>
                  </a:cubicBezTo>
                  <a:cubicBezTo>
                    <a:pt x="1637" y="1207"/>
                    <a:pt x="1825" y="1129"/>
                    <a:pt x="1933" y="1073"/>
                  </a:cubicBezTo>
                  <a:cubicBezTo>
                    <a:pt x="1965" y="1057"/>
                    <a:pt x="1989" y="1043"/>
                    <a:pt x="2010" y="1028"/>
                  </a:cubicBezTo>
                  <a:cubicBezTo>
                    <a:pt x="2049" y="998"/>
                    <a:pt x="2093" y="950"/>
                    <a:pt x="2147" y="888"/>
                  </a:cubicBezTo>
                  <a:cubicBezTo>
                    <a:pt x="2200" y="827"/>
                    <a:pt x="2259" y="755"/>
                    <a:pt x="2314" y="685"/>
                  </a:cubicBezTo>
                  <a:cubicBezTo>
                    <a:pt x="2409" y="567"/>
                    <a:pt x="2493" y="456"/>
                    <a:pt x="2516" y="425"/>
                  </a:cubicBezTo>
                  <a:cubicBezTo>
                    <a:pt x="2556" y="440"/>
                    <a:pt x="2599" y="449"/>
                    <a:pt x="2644" y="449"/>
                  </a:cubicBezTo>
                  <a:cubicBezTo>
                    <a:pt x="2714" y="449"/>
                    <a:pt x="2779" y="429"/>
                    <a:pt x="2834" y="395"/>
                  </a:cubicBezTo>
                  <a:cubicBezTo>
                    <a:pt x="2855" y="405"/>
                    <a:pt x="2904" y="428"/>
                    <a:pt x="2947" y="448"/>
                  </a:cubicBezTo>
                  <a:cubicBezTo>
                    <a:pt x="3008" y="477"/>
                    <a:pt x="3084" y="514"/>
                    <a:pt x="3142" y="544"/>
                  </a:cubicBezTo>
                  <a:cubicBezTo>
                    <a:pt x="3180" y="563"/>
                    <a:pt x="3212" y="580"/>
                    <a:pt x="3219" y="585"/>
                  </a:cubicBezTo>
                  <a:cubicBezTo>
                    <a:pt x="3260" y="612"/>
                    <a:pt x="3296" y="656"/>
                    <a:pt x="3329" y="718"/>
                  </a:cubicBezTo>
                  <a:cubicBezTo>
                    <a:pt x="3344" y="744"/>
                    <a:pt x="3371" y="808"/>
                    <a:pt x="3396" y="871"/>
                  </a:cubicBezTo>
                  <a:cubicBezTo>
                    <a:pt x="3421" y="934"/>
                    <a:pt x="3444" y="998"/>
                    <a:pt x="3456" y="1032"/>
                  </a:cubicBezTo>
                  <a:cubicBezTo>
                    <a:pt x="3467" y="1062"/>
                    <a:pt x="3499" y="1144"/>
                    <a:pt x="3539" y="1243"/>
                  </a:cubicBezTo>
                  <a:cubicBezTo>
                    <a:pt x="3578" y="1341"/>
                    <a:pt x="3625" y="1453"/>
                    <a:pt x="3663" y="1540"/>
                  </a:cubicBezTo>
                  <a:cubicBezTo>
                    <a:pt x="3688" y="1598"/>
                    <a:pt x="3708" y="1641"/>
                    <a:pt x="3723" y="1668"/>
                  </a:cubicBezTo>
                  <a:cubicBezTo>
                    <a:pt x="3742" y="1700"/>
                    <a:pt x="3764" y="1737"/>
                    <a:pt x="3788" y="1774"/>
                  </a:cubicBezTo>
                  <a:cubicBezTo>
                    <a:pt x="3758" y="1783"/>
                    <a:pt x="3718" y="1796"/>
                    <a:pt x="3673" y="1808"/>
                  </a:cubicBezTo>
                  <a:cubicBezTo>
                    <a:pt x="3583" y="1834"/>
                    <a:pt x="3475" y="1859"/>
                    <a:pt x="3419" y="1859"/>
                  </a:cubicBezTo>
                  <a:cubicBezTo>
                    <a:pt x="3413" y="1859"/>
                    <a:pt x="3408" y="1858"/>
                    <a:pt x="3403" y="1858"/>
                  </a:cubicBezTo>
                  <a:cubicBezTo>
                    <a:pt x="3357" y="1853"/>
                    <a:pt x="3287" y="1835"/>
                    <a:pt x="3227" y="1817"/>
                  </a:cubicBezTo>
                  <a:cubicBezTo>
                    <a:pt x="3183" y="1803"/>
                    <a:pt x="3141" y="1788"/>
                    <a:pt x="3120" y="1780"/>
                  </a:cubicBezTo>
                  <a:cubicBezTo>
                    <a:pt x="3127" y="1767"/>
                    <a:pt x="3132" y="1753"/>
                    <a:pt x="3134" y="1740"/>
                  </a:cubicBezTo>
                  <a:cubicBezTo>
                    <a:pt x="3137" y="1723"/>
                    <a:pt x="3138" y="1703"/>
                    <a:pt x="3138" y="1682"/>
                  </a:cubicBezTo>
                  <a:cubicBezTo>
                    <a:pt x="3137" y="1615"/>
                    <a:pt x="3129" y="1533"/>
                    <a:pt x="3103" y="1480"/>
                  </a:cubicBezTo>
                  <a:cubicBezTo>
                    <a:pt x="3073" y="1418"/>
                    <a:pt x="3013" y="1351"/>
                    <a:pt x="2896" y="1344"/>
                  </a:cubicBezTo>
                  <a:cubicBezTo>
                    <a:pt x="2883" y="1343"/>
                    <a:pt x="2867" y="1342"/>
                    <a:pt x="2851" y="1342"/>
                  </a:cubicBezTo>
                  <a:cubicBezTo>
                    <a:pt x="2728" y="1342"/>
                    <a:pt x="2531" y="1367"/>
                    <a:pt x="2436" y="1394"/>
                  </a:cubicBezTo>
                  <a:cubicBezTo>
                    <a:pt x="2328" y="1422"/>
                    <a:pt x="2284" y="1502"/>
                    <a:pt x="2285" y="1567"/>
                  </a:cubicBezTo>
                  <a:close/>
                  <a:moveTo>
                    <a:pt x="2545" y="1903"/>
                  </a:moveTo>
                  <a:cubicBezTo>
                    <a:pt x="2540" y="1903"/>
                    <a:pt x="2536" y="1903"/>
                    <a:pt x="2531" y="1903"/>
                  </a:cubicBezTo>
                  <a:cubicBezTo>
                    <a:pt x="2460" y="1903"/>
                    <a:pt x="2416" y="1878"/>
                    <a:pt x="2401" y="1844"/>
                  </a:cubicBezTo>
                  <a:cubicBezTo>
                    <a:pt x="2392" y="1825"/>
                    <a:pt x="2379" y="1767"/>
                    <a:pt x="2370" y="1712"/>
                  </a:cubicBezTo>
                  <a:cubicBezTo>
                    <a:pt x="2360" y="1655"/>
                    <a:pt x="2353" y="1598"/>
                    <a:pt x="2351" y="1574"/>
                  </a:cubicBezTo>
                  <a:cubicBezTo>
                    <a:pt x="2351" y="1572"/>
                    <a:pt x="2351" y="1569"/>
                    <a:pt x="2351" y="1567"/>
                  </a:cubicBezTo>
                  <a:cubicBezTo>
                    <a:pt x="2352" y="1528"/>
                    <a:pt x="2370" y="1482"/>
                    <a:pt x="2454" y="1457"/>
                  </a:cubicBezTo>
                  <a:cubicBezTo>
                    <a:pt x="2538" y="1433"/>
                    <a:pt x="2737" y="1407"/>
                    <a:pt x="2851" y="1408"/>
                  </a:cubicBezTo>
                  <a:cubicBezTo>
                    <a:pt x="2866" y="1408"/>
                    <a:pt x="2880" y="1408"/>
                    <a:pt x="2891" y="1409"/>
                  </a:cubicBezTo>
                  <a:cubicBezTo>
                    <a:pt x="2986" y="1418"/>
                    <a:pt x="3016" y="1457"/>
                    <a:pt x="3044" y="1509"/>
                  </a:cubicBezTo>
                  <a:cubicBezTo>
                    <a:pt x="3061" y="1542"/>
                    <a:pt x="3073" y="1622"/>
                    <a:pt x="3072" y="1682"/>
                  </a:cubicBezTo>
                  <a:cubicBezTo>
                    <a:pt x="3072" y="1701"/>
                    <a:pt x="3071" y="1718"/>
                    <a:pt x="3069" y="1731"/>
                  </a:cubicBezTo>
                  <a:cubicBezTo>
                    <a:pt x="3102" y="1735"/>
                    <a:pt x="3102" y="1735"/>
                    <a:pt x="3102" y="1735"/>
                  </a:cubicBezTo>
                  <a:cubicBezTo>
                    <a:pt x="3069" y="1731"/>
                    <a:pt x="3069" y="1731"/>
                    <a:pt x="3069" y="1731"/>
                  </a:cubicBezTo>
                  <a:cubicBezTo>
                    <a:pt x="3069" y="1741"/>
                    <a:pt x="3054" y="1772"/>
                    <a:pt x="3027" y="1799"/>
                  </a:cubicBezTo>
                  <a:cubicBezTo>
                    <a:pt x="3001" y="1827"/>
                    <a:pt x="2965" y="1854"/>
                    <a:pt x="2924" y="1868"/>
                  </a:cubicBezTo>
                  <a:cubicBezTo>
                    <a:pt x="2883" y="1882"/>
                    <a:pt x="2809" y="1891"/>
                    <a:pt x="2736" y="1895"/>
                  </a:cubicBezTo>
                  <a:cubicBezTo>
                    <a:pt x="2662" y="1900"/>
                    <a:pt x="2589" y="1900"/>
                    <a:pt x="2545" y="1903"/>
                  </a:cubicBezTo>
                  <a:close/>
                  <a:moveTo>
                    <a:pt x="3099" y="1832"/>
                  </a:moveTo>
                  <a:cubicBezTo>
                    <a:pt x="3095" y="1820"/>
                    <a:pt x="3095" y="1820"/>
                    <a:pt x="3095" y="1820"/>
                  </a:cubicBezTo>
                  <a:cubicBezTo>
                    <a:pt x="3095" y="1820"/>
                    <a:pt x="3095" y="1820"/>
                    <a:pt x="3095" y="1820"/>
                  </a:cubicBezTo>
                  <a:lnTo>
                    <a:pt x="3099" y="1832"/>
                  </a:lnTo>
                  <a:close/>
                  <a:moveTo>
                    <a:pt x="2781" y="1957"/>
                  </a:moveTo>
                  <a:cubicBezTo>
                    <a:pt x="2842" y="1952"/>
                    <a:pt x="2901" y="1945"/>
                    <a:pt x="2945" y="1930"/>
                  </a:cubicBezTo>
                  <a:cubicBezTo>
                    <a:pt x="2998" y="1911"/>
                    <a:pt x="3043" y="1878"/>
                    <a:pt x="3075" y="1844"/>
                  </a:cubicBezTo>
                  <a:cubicBezTo>
                    <a:pt x="3078" y="1841"/>
                    <a:pt x="3080" y="1838"/>
                    <a:pt x="3083" y="1835"/>
                  </a:cubicBezTo>
                  <a:cubicBezTo>
                    <a:pt x="3083" y="1835"/>
                    <a:pt x="3084" y="1836"/>
                    <a:pt x="3084" y="1836"/>
                  </a:cubicBezTo>
                  <a:cubicBezTo>
                    <a:pt x="3091" y="1839"/>
                    <a:pt x="3100" y="1842"/>
                    <a:pt x="3110" y="1846"/>
                  </a:cubicBezTo>
                  <a:cubicBezTo>
                    <a:pt x="3132" y="1854"/>
                    <a:pt x="3161" y="1864"/>
                    <a:pt x="3193" y="1875"/>
                  </a:cubicBezTo>
                  <a:cubicBezTo>
                    <a:pt x="3258" y="1895"/>
                    <a:pt x="3337" y="1917"/>
                    <a:pt x="3396" y="1923"/>
                  </a:cubicBezTo>
                  <a:cubicBezTo>
                    <a:pt x="3403" y="1924"/>
                    <a:pt x="3411" y="1924"/>
                    <a:pt x="3419" y="1924"/>
                  </a:cubicBezTo>
                  <a:cubicBezTo>
                    <a:pt x="3491" y="1924"/>
                    <a:pt x="3598" y="1897"/>
                    <a:pt x="3691" y="1871"/>
                  </a:cubicBezTo>
                  <a:cubicBezTo>
                    <a:pt x="3748" y="1855"/>
                    <a:pt x="3798" y="1840"/>
                    <a:pt x="3829" y="1830"/>
                  </a:cubicBezTo>
                  <a:cubicBezTo>
                    <a:pt x="3856" y="1865"/>
                    <a:pt x="3885" y="1896"/>
                    <a:pt x="3926" y="1919"/>
                  </a:cubicBezTo>
                  <a:cubicBezTo>
                    <a:pt x="3960" y="1937"/>
                    <a:pt x="3995" y="1944"/>
                    <a:pt x="4033" y="1949"/>
                  </a:cubicBezTo>
                  <a:cubicBezTo>
                    <a:pt x="4070" y="1954"/>
                    <a:pt x="4108" y="1955"/>
                    <a:pt x="4144" y="1955"/>
                  </a:cubicBezTo>
                  <a:cubicBezTo>
                    <a:pt x="4177" y="1955"/>
                    <a:pt x="4207" y="1954"/>
                    <a:pt x="4232" y="1952"/>
                  </a:cubicBezTo>
                  <a:cubicBezTo>
                    <a:pt x="4255" y="1950"/>
                    <a:pt x="4338" y="1946"/>
                    <a:pt x="4435" y="1941"/>
                  </a:cubicBezTo>
                  <a:cubicBezTo>
                    <a:pt x="4400" y="1976"/>
                    <a:pt x="4354" y="2021"/>
                    <a:pt x="4298" y="2068"/>
                  </a:cubicBezTo>
                  <a:cubicBezTo>
                    <a:pt x="4172" y="2175"/>
                    <a:pt x="4002" y="2291"/>
                    <a:pt x="3829" y="2332"/>
                  </a:cubicBezTo>
                  <a:cubicBezTo>
                    <a:pt x="3704" y="2361"/>
                    <a:pt x="3639" y="2361"/>
                    <a:pt x="3482" y="2376"/>
                  </a:cubicBezTo>
                  <a:cubicBezTo>
                    <a:pt x="3345" y="2389"/>
                    <a:pt x="3190" y="2402"/>
                    <a:pt x="3069" y="2411"/>
                  </a:cubicBezTo>
                  <a:cubicBezTo>
                    <a:pt x="2984" y="2418"/>
                    <a:pt x="2917" y="2423"/>
                    <a:pt x="2880" y="2426"/>
                  </a:cubicBezTo>
                  <a:lnTo>
                    <a:pt x="2781" y="1957"/>
                  </a:lnTo>
                  <a:close/>
                  <a:moveTo>
                    <a:pt x="2894" y="2491"/>
                  </a:moveTo>
                  <a:cubicBezTo>
                    <a:pt x="2900" y="2491"/>
                    <a:pt x="2907" y="2490"/>
                    <a:pt x="2914" y="2489"/>
                  </a:cubicBezTo>
                  <a:cubicBezTo>
                    <a:pt x="2952" y="2487"/>
                    <a:pt x="3004" y="2482"/>
                    <a:pt x="3066" y="2478"/>
                  </a:cubicBezTo>
                  <a:cubicBezTo>
                    <a:pt x="3189" y="2468"/>
                    <a:pt x="3347" y="2455"/>
                    <a:pt x="3488" y="2441"/>
                  </a:cubicBezTo>
                  <a:cubicBezTo>
                    <a:pt x="3596" y="2431"/>
                    <a:pt x="3663" y="2428"/>
                    <a:pt x="3739" y="2416"/>
                  </a:cubicBezTo>
                  <a:cubicBezTo>
                    <a:pt x="3821" y="2784"/>
                    <a:pt x="3821" y="2784"/>
                    <a:pt x="3821" y="2784"/>
                  </a:cubicBezTo>
                  <a:cubicBezTo>
                    <a:pt x="3819" y="2784"/>
                    <a:pt x="3816" y="2784"/>
                    <a:pt x="3814" y="2784"/>
                  </a:cubicBezTo>
                  <a:cubicBezTo>
                    <a:pt x="3446" y="2804"/>
                    <a:pt x="3306" y="2825"/>
                    <a:pt x="3305" y="2825"/>
                  </a:cubicBezTo>
                  <a:cubicBezTo>
                    <a:pt x="3291" y="2827"/>
                    <a:pt x="3291" y="2827"/>
                    <a:pt x="3291" y="2827"/>
                  </a:cubicBezTo>
                  <a:cubicBezTo>
                    <a:pt x="3295" y="2854"/>
                    <a:pt x="3295" y="2854"/>
                    <a:pt x="3295" y="2854"/>
                  </a:cubicBezTo>
                  <a:cubicBezTo>
                    <a:pt x="3285" y="2855"/>
                    <a:pt x="3270" y="2856"/>
                    <a:pt x="3253" y="2858"/>
                  </a:cubicBezTo>
                  <a:cubicBezTo>
                    <a:pt x="3219" y="2861"/>
                    <a:pt x="3172" y="2866"/>
                    <a:pt x="3126" y="2870"/>
                  </a:cubicBezTo>
                  <a:cubicBezTo>
                    <a:pt x="3069" y="2876"/>
                    <a:pt x="3012" y="2881"/>
                    <a:pt x="2977" y="2884"/>
                  </a:cubicBezTo>
                  <a:lnTo>
                    <a:pt x="2894" y="2491"/>
                  </a:lnTo>
                  <a:close/>
                  <a:moveTo>
                    <a:pt x="2980" y="2898"/>
                  </a:moveTo>
                  <a:cubicBezTo>
                    <a:pt x="3058" y="2891"/>
                    <a:pt x="3242" y="2873"/>
                    <a:pt x="3297" y="2868"/>
                  </a:cubicBezTo>
                  <a:cubicBezTo>
                    <a:pt x="3300" y="2892"/>
                    <a:pt x="3300" y="2892"/>
                    <a:pt x="3300" y="2892"/>
                  </a:cubicBezTo>
                  <a:cubicBezTo>
                    <a:pt x="3315" y="2890"/>
                    <a:pt x="3348" y="2885"/>
                    <a:pt x="3428" y="2877"/>
                  </a:cubicBezTo>
                  <a:cubicBezTo>
                    <a:pt x="3508" y="2870"/>
                    <a:pt x="3634" y="2860"/>
                    <a:pt x="3818" y="2850"/>
                  </a:cubicBezTo>
                  <a:cubicBezTo>
                    <a:pt x="3831" y="2849"/>
                    <a:pt x="3845" y="2848"/>
                    <a:pt x="3859" y="2848"/>
                  </a:cubicBezTo>
                  <a:cubicBezTo>
                    <a:pt x="3895" y="2848"/>
                    <a:pt x="3932" y="2851"/>
                    <a:pt x="3969" y="2855"/>
                  </a:cubicBezTo>
                  <a:cubicBezTo>
                    <a:pt x="3970" y="2867"/>
                    <a:pt x="3970" y="2881"/>
                    <a:pt x="3970" y="2899"/>
                  </a:cubicBezTo>
                  <a:cubicBezTo>
                    <a:pt x="3971" y="2941"/>
                    <a:pt x="3971" y="2998"/>
                    <a:pt x="3971" y="3060"/>
                  </a:cubicBezTo>
                  <a:cubicBezTo>
                    <a:pt x="3928" y="3058"/>
                    <a:pt x="3544" y="3046"/>
                    <a:pt x="3533" y="3046"/>
                  </a:cubicBezTo>
                  <a:cubicBezTo>
                    <a:pt x="3521" y="3046"/>
                    <a:pt x="3191" y="3054"/>
                    <a:pt x="3191" y="3054"/>
                  </a:cubicBezTo>
                  <a:cubicBezTo>
                    <a:pt x="3015" y="3064"/>
                    <a:pt x="3015" y="3064"/>
                    <a:pt x="3015" y="3064"/>
                  </a:cubicBezTo>
                  <a:lnTo>
                    <a:pt x="2980" y="2898"/>
                  </a:lnTo>
                  <a:close/>
                  <a:moveTo>
                    <a:pt x="3969" y="3505"/>
                  </a:moveTo>
                  <a:cubicBezTo>
                    <a:pt x="3913" y="3483"/>
                    <a:pt x="3585" y="3353"/>
                    <a:pt x="3585" y="3353"/>
                  </a:cubicBezTo>
                  <a:cubicBezTo>
                    <a:pt x="3583" y="3352"/>
                    <a:pt x="3583" y="3352"/>
                    <a:pt x="3583" y="3352"/>
                  </a:cubicBezTo>
                  <a:cubicBezTo>
                    <a:pt x="3077" y="3360"/>
                    <a:pt x="3077" y="3360"/>
                    <a:pt x="3077" y="3360"/>
                  </a:cubicBezTo>
                  <a:cubicBezTo>
                    <a:pt x="3051" y="3235"/>
                    <a:pt x="3051" y="3235"/>
                    <a:pt x="3051" y="3235"/>
                  </a:cubicBezTo>
                  <a:cubicBezTo>
                    <a:pt x="3600" y="3238"/>
                    <a:pt x="3600" y="3238"/>
                    <a:pt x="3600" y="3238"/>
                  </a:cubicBezTo>
                  <a:cubicBezTo>
                    <a:pt x="3971" y="3305"/>
                    <a:pt x="3971" y="3305"/>
                    <a:pt x="3971" y="3305"/>
                  </a:cubicBezTo>
                  <a:cubicBezTo>
                    <a:pt x="3970" y="3387"/>
                    <a:pt x="3970" y="3459"/>
                    <a:pt x="3969" y="3505"/>
                  </a:cubicBezTo>
                  <a:close/>
                  <a:moveTo>
                    <a:pt x="3971" y="3291"/>
                  </a:moveTo>
                  <a:cubicBezTo>
                    <a:pt x="3602" y="3224"/>
                    <a:pt x="3602" y="3224"/>
                    <a:pt x="3602" y="3224"/>
                  </a:cubicBezTo>
                  <a:cubicBezTo>
                    <a:pt x="3048" y="3221"/>
                    <a:pt x="3048" y="3221"/>
                    <a:pt x="3048" y="3221"/>
                  </a:cubicBezTo>
                  <a:cubicBezTo>
                    <a:pt x="3018" y="3078"/>
                    <a:pt x="3018" y="3078"/>
                    <a:pt x="3018" y="3078"/>
                  </a:cubicBezTo>
                  <a:cubicBezTo>
                    <a:pt x="3191" y="3068"/>
                    <a:pt x="3191" y="3068"/>
                    <a:pt x="3191" y="3068"/>
                  </a:cubicBezTo>
                  <a:cubicBezTo>
                    <a:pt x="3192" y="3068"/>
                    <a:pt x="3522" y="3060"/>
                    <a:pt x="3533" y="3060"/>
                  </a:cubicBezTo>
                  <a:cubicBezTo>
                    <a:pt x="3543" y="3060"/>
                    <a:pt x="3935" y="3073"/>
                    <a:pt x="3971" y="3074"/>
                  </a:cubicBezTo>
                  <a:cubicBezTo>
                    <a:pt x="3971" y="3075"/>
                    <a:pt x="3972" y="3077"/>
                    <a:pt x="3972" y="3079"/>
                  </a:cubicBezTo>
                  <a:cubicBezTo>
                    <a:pt x="3972" y="3148"/>
                    <a:pt x="3971" y="3222"/>
                    <a:pt x="3971" y="3291"/>
                  </a:cubicBezTo>
                  <a:close/>
                  <a:moveTo>
                    <a:pt x="4555" y="3586"/>
                  </a:moveTo>
                  <a:cubicBezTo>
                    <a:pt x="4516" y="3580"/>
                    <a:pt x="4396" y="3565"/>
                    <a:pt x="4276" y="3549"/>
                  </a:cubicBezTo>
                  <a:cubicBezTo>
                    <a:pt x="4144" y="3531"/>
                    <a:pt x="4010" y="3513"/>
                    <a:pt x="3983" y="3509"/>
                  </a:cubicBezTo>
                  <a:cubicBezTo>
                    <a:pt x="3983" y="3464"/>
                    <a:pt x="3984" y="3390"/>
                    <a:pt x="3985" y="3307"/>
                  </a:cubicBezTo>
                  <a:cubicBezTo>
                    <a:pt x="4054" y="3317"/>
                    <a:pt x="4471" y="3376"/>
                    <a:pt x="4580" y="3390"/>
                  </a:cubicBezTo>
                  <a:lnTo>
                    <a:pt x="4555" y="3586"/>
                  </a:lnTo>
                  <a:close/>
                  <a:moveTo>
                    <a:pt x="4582" y="3376"/>
                  </a:moveTo>
                  <a:cubicBezTo>
                    <a:pt x="4531" y="3370"/>
                    <a:pt x="4409" y="3353"/>
                    <a:pt x="4289" y="3336"/>
                  </a:cubicBezTo>
                  <a:cubicBezTo>
                    <a:pt x="4153" y="3317"/>
                    <a:pt x="4018" y="3298"/>
                    <a:pt x="3985" y="3293"/>
                  </a:cubicBezTo>
                  <a:cubicBezTo>
                    <a:pt x="3985" y="3224"/>
                    <a:pt x="3985" y="3148"/>
                    <a:pt x="3985" y="3079"/>
                  </a:cubicBezTo>
                  <a:cubicBezTo>
                    <a:pt x="3985" y="3078"/>
                    <a:pt x="3985" y="3077"/>
                    <a:pt x="3985" y="3075"/>
                  </a:cubicBezTo>
                  <a:cubicBezTo>
                    <a:pt x="4609" y="3169"/>
                    <a:pt x="4609" y="3169"/>
                    <a:pt x="4609" y="3169"/>
                  </a:cubicBezTo>
                  <a:lnTo>
                    <a:pt x="4582" y="3376"/>
                  </a:lnTo>
                  <a:close/>
                  <a:moveTo>
                    <a:pt x="4610" y="3156"/>
                  </a:moveTo>
                  <a:cubicBezTo>
                    <a:pt x="3985" y="3061"/>
                    <a:pt x="3985" y="3061"/>
                    <a:pt x="3985" y="3061"/>
                  </a:cubicBezTo>
                  <a:cubicBezTo>
                    <a:pt x="3985" y="2974"/>
                    <a:pt x="3985" y="2899"/>
                    <a:pt x="3983" y="2857"/>
                  </a:cubicBezTo>
                  <a:cubicBezTo>
                    <a:pt x="4212" y="2887"/>
                    <a:pt x="4452" y="2988"/>
                    <a:pt x="4569" y="3043"/>
                  </a:cubicBezTo>
                  <a:cubicBezTo>
                    <a:pt x="4591" y="3053"/>
                    <a:pt x="4609" y="3062"/>
                    <a:pt x="4621" y="3068"/>
                  </a:cubicBezTo>
                  <a:lnTo>
                    <a:pt x="4610" y="3156"/>
                  </a:lnTo>
                  <a:close/>
                  <a:moveTo>
                    <a:pt x="4630" y="2999"/>
                  </a:moveTo>
                  <a:cubicBezTo>
                    <a:pt x="4516" y="2943"/>
                    <a:pt x="4186" y="2793"/>
                    <a:pt x="3888" y="2783"/>
                  </a:cubicBezTo>
                  <a:cubicBezTo>
                    <a:pt x="3803" y="2405"/>
                    <a:pt x="3803" y="2405"/>
                    <a:pt x="3803" y="2405"/>
                  </a:cubicBezTo>
                  <a:cubicBezTo>
                    <a:pt x="3816" y="2402"/>
                    <a:pt x="3830" y="2399"/>
                    <a:pt x="3844" y="2396"/>
                  </a:cubicBezTo>
                  <a:cubicBezTo>
                    <a:pt x="4162" y="2319"/>
                    <a:pt x="4445" y="2029"/>
                    <a:pt x="4530" y="1936"/>
                  </a:cubicBezTo>
                  <a:cubicBezTo>
                    <a:pt x="4541" y="1936"/>
                    <a:pt x="4551" y="1935"/>
                    <a:pt x="4562" y="1934"/>
                  </a:cubicBezTo>
                  <a:cubicBezTo>
                    <a:pt x="4640" y="1931"/>
                    <a:pt x="4715" y="1927"/>
                    <a:pt x="4767" y="1925"/>
                  </a:cubicBezTo>
                  <a:lnTo>
                    <a:pt x="4630" y="2999"/>
                  </a:lnTo>
                  <a:close/>
                  <a:moveTo>
                    <a:pt x="4828" y="1769"/>
                  </a:moveTo>
                  <a:cubicBezTo>
                    <a:pt x="4803" y="1770"/>
                    <a:pt x="4683" y="1776"/>
                    <a:pt x="4555" y="1782"/>
                  </a:cubicBezTo>
                  <a:cubicBezTo>
                    <a:pt x="4439" y="1788"/>
                    <a:pt x="4319" y="1794"/>
                    <a:pt x="4255" y="1798"/>
                  </a:cubicBezTo>
                  <a:cubicBezTo>
                    <a:pt x="4602" y="766"/>
                    <a:pt x="4602" y="766"/>
                    <a:pt x="4602" y="766"/>
                  </a:cubicBezTo>
                  <a:cubicBezTo>
                    <a:pt x="5087" y="1084"/>
                    <a:pt x="5087" y="1084"/>
                    <a:pt x="5087" y="1084"/>
                  </a:cubicBezTo>
                  <a:cubicBezTo>
                    <a:pt x="5093" y="1136"/>
                    <a:pt x="5093" y="1136"/>
                    <a:pt x="5093" y="1136"/>
                  </a:cubicBezTo>
                  <a:cubicBezTo>
                    <a:pt x="5054" y="1728"/>
                    <a:pt x="5054" y="1728"/>
                    <a:pt x="5054" y="1728"/>
                  </a:cubicBezTo>
                  <a:lnTo>
                    <a:pt x="4828" y="1769"/>
                  </a:lnTo>
                  <a:close/>
                  <a:moveTo>
                    <a:pt x="5516" y="3513"/>
                  </a:moveTo>
                  <a:cubicBezTo>
                    <a:pt x="4947" y="3429"/>
                    <a:pt x="4947" y="3429"/>
                    <a:pt x="4947" y="3429"/>
                  </a:cubicBezTo>
                  <a:cubicBezTo>
                    <a:pt x="4956" y="3357"/>
                    <a:pt x="4965" y="3287"/>
                    <a:pt x="4974" y="3218"/>
                  </a:cubicBezTo>
                  <a:cubicBezTo>
                    <a:pt x="5538" y="3302"/>
                    <a:pt x="5538" y="3302"/>
                    <a:pt x="5538" y="3302"/>
                  </a:cubicBezTo>
                  <a:lnTo>
                    <a:pt x="5516" y="3513"/>
                  </a:lnTo>
                  <a:close/>
                  <a:moveTo>
                    <a:pt x="5539" y="3288"/>
                  </a:moveTo>
                  <a:cubicBezTo>
                    <a:pt x="4975" y="3204"/>
                    <a:pt x="4975" y="3204"/>
                    <a:pt x="4975" y="3204"/>
                  </a:cubicBezTo>
                  <a:cubicBezTo>
                    <a:pt x="5005" y="2972"/>
                    <a:pt x="5032" y="2755"/>
                    <a:pt x="5056" y="2566"/>
                  </a:cubicBezTo>
                  <a:cubicBezTo>
                    <a:pt x="5603" y="2656"/>
                    <a:pt x="5603" y="2656"/>
                    <a:pt x="5603" y="2656"/>
                  </a:cubicBezTo>
                  <a:lnTo>
                    <a:pt x="5539" y="3288"/>
                  </a:lnTo>
                  <a:close/>
                  <a:moveTo>
                    <a:pt x="5605" y="2642"/>
                  </a:moveTo>
                  <a:cubicBezTo>
                    <a:pt x="5058" y="2552"/>
                    <a:pt x="5058" y="2552"/>
                    <a:pt x="5058" y="2552"/>
                  </a:cubicBezTo>
                  <a:cubicBezTo>
                    <a:pt x="5098" y="2239"/>
                    <a:pt x="5127" y="2003"/>
                    <a:pt x="5141" y="1896"/>
                  </a:cubicBezTo>
                  <a:cubicBezTo>
                    <a:pt x="5202" y="1910"/>
                    <a:pt x="5288" y="1929"/>
                    <a:pt x="5374" y="1948"/>
                  </a:cubicBezTo>
                  <a:cubicBezTo>
                    <a:pt x="5497" y="1976"/>
                    <a:pt x="5621" y="2004"/>
                    <a:pt x="5667" y="2015"/>
                  </a:cubicBezTo>
                  <a:cubicBezTo>
                    <a:pt x="5668" y="2017"/>
                    <a:pt x="5668" y="2017"/>
                    <a:pt x="5668" y="2017"/>
                  </a:cubicBezTo>
                  <a:lnTo>
                    <a:pt x="5605" y="2642"/>
                  </a:lnTo>
                  <a:close/>
                  <a:moveTo>
                    <a:pt x="6695" y="1906"/>
                  </a:moveTo>
                  <a:cubicBezTo>
                    <a:pt x="6241" y="1889"/>
                    <a:pt x="5787" y="1873"/>
                    <a:pt x="5718" y="1871"/>
                  </a:cubicBezTo>
                  <a:cubicBezTo>
                    <a:pt x="5713" y="1870"/>
                    <a:pt x="5706" y="1868"/>
                    <a:pt x="5698" y="1866"/>
                  </a:cubicBezTo>
                  <a:cubicBezTo>
                    <a:pt x="5682" y="1862"/>
                    <a:pt x="5659" y="1857"/>
                    <a:pt x="5632" y="1851"/>
                  </a:cubicBezTo>
                  <a:cubicBezTo>
                    <a:pt x="5577" y="1838"/>
                    <a:pt x="5505" y="1822"/>
                    <a:pt x="5430" y="1805"/>
                  </a:cubicBezTo>
                  <a:cubicBezTo>
                    <a:pt x="5306" y="1777"/>
                    <a:pt x="5178" y="1748"/>
                    <a:pt x="5119" y="1735"/>
                  </a:cubicBezTo>
                  <a:cubicBezTo>
                    <a:pt x="5159" y="1135"/>
                    <a:pt x="5159" y="1135"/>
                    <a:pt x="5159" y="1135"/>
                  </a:cubicBezTo>
                  <a:cubicBezTo>
                    <a:pt x="5081" y="457"/>
                    <a:pt x="5081" y="457"/>
                    <a:pt x="5081" y="457"/>
                  </a:cubicBezTo>
                  <a:cubicBezTo>
                    <a:pt x="5082" y="440"/>
                    <a:pt x="5086" y="339"/>
                    <a:pt x="5090" y="203"/>
                  </a:cubicBezTo>
                  <a:cubicBezTo>
                    <a:pt x="5228" y="240"/>
                    <a:pt x="5903" y="420"/>
                    <a:pt x="6037" y="449"/>
                  </a:cubicBezTo>
                  <a:cubicBezTo>
                    <a:pt x="6133" y="471"/>
                    <a:pt x="6249" y="506"/>
                    <a:pt x="6410" y="506"/>
                  </a:cubicBezTo>
                  <a:cubicBezTo>
                    <a:pt x="6411" y="506"/>
                    <a:pt x="6411" y="506"/>
                    <a:pt x="6411" y="506"/>
                  </a:cubicBezTo>
                  <a:cubicBezTo>
                    <a:pt x="6484" y="506"/>
                    <a:pt x="6568" y="498"/>
                    <a:pt x="6662" y="479"/>
                  </a:cubicBezTo>
                  <a:cubicBezTo>
                    <a:pt x="7169" y="1923"/>
                    <a:pt x="7169" y="1923"/>
                    <a:pt x="7169" y="1923"/>
                  </a:cubicBezTo>
                  <a:cubicBezTo>
                    <a:pt x="7023" y="1917"/>
                    <a:pt x="6859" y="1911"/>
                    <a:pt x="6695" y="1906"/>
                  </a:cubicBezTo>
                  <a:close/>
                  <a:moveTo>
                    <a:pt x="10817" y="606"/>
                  </a:moveTo>
                  <a:cubicBezTo>
                    <a:pt x="10932" y="586"/>
                    <a:pt x="10932" y="586"/>
                    <a:pt x="10932" y="586"/>
                  </a:cubicBezTo>
                  <a:cubicBezTo>
                    <a:pt x="10907" y="441"/>
                    <a:pt x="10907" y="441"/>
                    <a:pt x="10907" y="441"/>
                  </a:cubicBezTo>
                  <a:cubicBezTo>
                    <a:pt x="10752" y="467"/>
                    <a:pt x="10752" y="467"/>
                    <a:pt x="10752" y="467"/>
                  </a:cubicBezTo>
                  <a:cubicBezTo>
                    <a:pt x="10738" y="387"/>
                    <a:pt x="10738" y="387"/>
                    <a:pt x="10738" y="387"/>
                  </a:cubicBezTo>
                  <a:cubicBezTo>
                    <a:pt x="10897" y="360"/>
                    <a:pt x="10897" y="360"/>
                    <a:pt x="10897" y="360"/>
                  </a:cubicBezTo>
                  <a:cubicBezTo>
                    <a:pt x="10889" y="313"/>
                    <a:pt x="10889" y="313"/>
                    <a:pt x="10889" y="313"/>
                  </a:cubicBezTo>
                  <a:cubicBezTo>
                    <a:pt x="11039" y="287"/>
                    <a:pt x="11039" y="287"/>
                    <a:pt x="11039" y="287"/>
                  </a:cubicBezTo>
                  <a:cubicBezTo>
                    <a:pt x="11022" y="189"/>
                    <a:pt x="11022" y="189"/>
                    <a:pt x="11022" y="189"/>
                  </a:cubicBezTo>
                  <a:cubicBezTo>
                    <a:pt x="11077" y="180"/>
                    <a:pt x="11077" y="180"/>
                    <a:pt x="11077" y="180"/>
                  </a:cubicBezTo>
                  <a:cubicBezTo>
                    <a:pt x="11096" y="278"/>
                    <a:pt x="11096" y="278"/>
                    <a:pt x="11096" y="278"/>
                  </a:cubicBezTo>
                  <a:cubicBezTo>
                    <a:pt x="11137" y="271"/>
                    <a:pt x="11137" y="271"/>
                    <a:pt x="11137" y="271"/>
                  </a:cubicBezTo>
                  <a:cubicBezTo>
                    <a:pt x="11165" y="439"/>
                    <a:pt x="11165" y="439"/>
                    <a:pt x="11165" y="439"/>
                  </a:cubicBezTo>
                  <a:cubicBezTo>
                    <a:pt x="11260" y="423"/>
                    <a:pt x="11260" y="423"/>
                    <a:pt x="11260" y="423"/>
                  </a:cubicBezTo>
                  <a:cubicBezTo>
                    <a:pt x="11278" y="525"/>
                    <a:pt x="11278" y="525"/>
                    <a:pt x="11278" y="525"/>
                  </a:cubicBezTo>
                  <a:cubicBezTo>
                    <a:pt x="11184" y="541"/>
                    <a:pt x="11184" y="541"/>
                    <a:pt x="11184" y="541"/>
                  </a:cubicBezTo>
                  <a:cubicBezTo>
                    <a:pt x="11192" y="591"/>
                    <a:pt x="11192" y="591"/>
                    <a:pt x="11192" y="591"/>
                  </a:cubicBezTo>
                  <a:cubicBezTo>
                    <a:pt x="10963" y="630"/>
                    <a:pt x="10963" y="630"/>
                    <a:pt x="10963" y="630"/>
                  </a:cubicBezTo>
                  <a:cubicBezTo>
                    <a:pt x="10986" y="764"/>
                    <a:pt x="10986" y="764"/>
                    <a:pt x="10986" y="764"/>
                  </a:cubicBezTo>
                  <a:cubicBezTo>
                    <a:pt x="10847" y="788"/>
                    <a:pt x="10847" y="788"/>
                    <a:pt x="10847" y="788"/>
                  </a:cubicBezTo>
                  <a:lnTo>
                    <a:pt x="10817" y="606"/>
                  </a:lnTo>
                  <a:close/>
                  <a:moveTo>
                    <a:pt x="7759" y="829"/>
                  </a:moveTo>
                  <a:cubicBezTo>
                    <a:pt x="7717" y="740"/>
                    <a:pt x="7663" y="622"/>
                    <a:pt x="7617" y="507"/>
                  </a:cubicBezTo>
                  <a:cubicBezTo>
                    <a:pt x="7579" y="414"/>
                    <a:pt x="7569" y="335"/>
                    <a:pt x="7569" y="275"/>
                  </a:cubicBezTo>
                  <a:cubicBezTo>
                    <a:pt x="7569" y="203"/>
                    <a:pt x="7584" y="158"/>
                    <a:pt x="7587" y="150"/>
                  </a:cubicBezTo>
                  <a:cubicBezTo>
                    <a:pt x="7658" y="22"/>
                    <a:pt x="7658" y="22"/>
                    <a:pt x="7658" y="22"/>
                  </a:cubicBezTo>
                  <a:cubicBezTo>
                    <a:pt x="8871" y="743"/>
                    <a:pt x="8871" y="743"/>
                    <a:pt x="8871" y="743"/>
                  </a:cubicBezTo>
                  <a:cubicBezTo>
                    <a:pt x="8874" y="765"/>
                    <a:pt x="8879" y="807"/>
                    <a:pt x="8886" y="863"/>
                  </a:cubicBezTo>
                  <a:cubicBezTo>
                    <a:pt x="8850" y="865"/>
                    <a:pt x="8788" y="870"/>
                    <a:pt x="8709" y="877"/>
                  </a:cubicBezTo>
                  <a:cubicBezTo>
                    <a:pt x="8601" y="886"/>
                    <a:pt x="8464" y="899"/>
                    <a:pt x="8329" y="911"/>
                  </a:cubicBezTo>
                  <a:cubicBezTo>
                    <a:pt x="8106" y="931"/>
                    <a:pt x="7890" y="952"/>
                    <a:pt x="7822" y="958"/>
                  </a:cubicBezTo>
                  <a:cubicBezTo>
                    <a:pt x="7810" y="934"/>
                    <a:pt x="7787" y="888"/>
                    <a:pt x="7759" y="829"/>
                  </a:cubicBezTo>
                  <a:close/>
                  <a:moveTo>
                    <a:pt x="7885" y="1957"/>
                  </a:moveTo>
                  <a:cubicBezTo>
                    <a:pt x="7866" y="1954"/>
                    <a:pt x="7846" y="1952"/>
                    <a:pt x="7827" y="1950"/>
                  </a:cubicBezTo>
                  <a:cubicBezTo>
                    <a:pt x="7914" y="1711"/>
                    <a:pt x="7914" y="1711"/>
                    <a:pt x="7914" y="1711"/>
                  </a:cubicBezTo>
                  <a:cubicBezTo>
                    <a:pt x="7839" y="1022"/>
                    <a:pt x="7839" y="1022"/>
                    <a:pt x="7839" y="1022"/>
                  </a:cubicBezTo>
                  <a:cubicBezTo>
                    <a:pt x="7892" y="1017"/>
                    <a:pt x="8005" y="1007"/>
                    <a:pt x="8139" y="994"/>
                  </a:cubicBezTo>
                  <a:cubicBezTo>
                    <a:pt x="8326" y="977"/>
                    <a:pt x="8553" y="956"/>
                    <a:pt x="8714" y="942"/>
                  </a:cubicBezTo>
                  <a:cubicBezTo>
                    <a:pt x="8795" y="935"/>
                    <a:pt x="8861" y="930"/>
                    <a:pt x="8895" y="928"/>
                  </a:cubicBezTo>
                  <a:cubicBezTo>
                    <a:pt x="8900" y="969"/>
                    <a:pt x="8905" y="1013"/>
                    <a:pt x="8911" y="1060"/>
                  </a:cubicBezTo>
                  <a:cubicBezTo>
                    <a:pt x="8934" y="1245"/>
                    <a:pt x="8962" y="1466"/>
                    <a:pt x="8978" y="1613"/>
                  </a:cubicBezTo>
                  <a:cubicBezTo>
                    <a:pt x="8981" y="1641"/>
                    <a:pt x="8983" y="1668"/>
                    <a:pt x="8983" y="1695"/>
                  </a:cubicBezTo>
                  <a:cubicBezTo>
                    <a:pt x="8983" y="1901"/>
                    <a:pt x="8898" y="2064"/>
                    <a:pt x="8875" y="2104"/>
                  </a:cubicBezTo>
                  <a:cubicBezTo>
                    <a:pt x="8367" y="2028"/>
                    <a:pt x="7923" y="1962"/>
                    <a:pt x="7885" y="1957"/>
                  </a:cubicBezTo>
                  <a:close/>
                  <a:moveTo>
                    <a:pt x="8944" y="2114"/>
                  </a:moveTo>
                  <a:cubicBezTo>
                    <a:pt x="8979" y="2047"/>
                    <a:pt x="9048" y="1891"/>
                    <a:pt x="9048" y="1695"/>
                  </a:cubicBezTo>
                  <a:cubicBezTo>
                    <a:pt x="9048" y="1666"/>
                    <a:pt x="9047" y="1636"/>
                    <a:pt x="9043" y="1605"/>
                  </a:cubicBezTo>
                  <a:cubicBezTo>
                    <a:pt x="9013" y="1332"/>
                    <a:pt x="8945" y="802"/>
                    <a:pt x="8935" y="728"/>
                  </a:cubicBezTo>
                  <a:cubicBezTo>
                    <a:pt x="8936" y="726"/>
                    <a:pt x="8937" y="725"/>
                    <a:pt x="8938" y="723"/>
                  </a:cubicBezTo>
                  <a:cubicBezTo>
                    <a:pt x="8947" y="711"/>
                    <a:pt x="8959" y="694"/>
                    <a:pt x="8973" y="674"/>
                  </a:cubicBezTo>
                  <a:cubicBezTo>
                    <a:pt x="9000" y="635"/>
                    <a:pt x="9035" y="582"/>
                    <a:pt x="9069" y="530"/>
                  </a:cubicBezTo>
                  <a:cubicBezTo>
                    <a:pt x="9122" y="449"/>
                    <a:pt x="9174" y="369"/>
                    <a:pt x="9196" y="336"/>
                  </a:cubicBezTo>
                  <a:cubicBezTo>
                    <a:pt x="10193" y="350"/>
                    <a:pt x="10193" y="350"/>
                    <a:pt x="10193" y="350"/>
                  </a:cubicBezTo>
                  <a:cubicBezTo>
                    <a:pt x="10198" y="400"/>
                    <a:pt x="10209" y="509"/>
                    <a:pt x="10220" y="619"/>
                  </a:cubicBezTo>
                  <a:cubicBezTo>
                    <a:pt x="10233" y="749"/>
                    <a:pt x="10246" y="882"/>
                    <a:pt x="10250" y="923"/>
                  </a:cubicBezTo>
                  <a:cubicBezTo>
                    <a:pt x="10116" y="1096"/>
                    <a:pt x="10116" y="1096"/>
                    <a:pt x="10116" y="1096"/>
                  </a:cubicBezTo>
                  <a:cubicBezTo>
                    <a:pt x="10140" y="1765"/>
                    <a:pt x="10140" y="1765"/>
                    <a:pt x="10140" y="1765"/>
                  </a:cubicBezTo>
                  <a:cubicBezTo>
                    <a:pt x="9986" y="1891"/>
                    <a:pt x="9986" y="1891"/>
                    <a:pt x="9986" y="1891"/>
                  </a:cubicBezTo>
                  <a:cubicBezTo>
                    <a:pt x="9864" y="2251"/>
                    <a:pt x="9864" y="2251"/>
                    <a:pt x="9864" y="2251"/>
                  </a:cubicBezTo>
                  <a:cubicBezTo>
                    <a:pt x="9593" y="2210"/>
                    <a:pt x="9260" y="2161"/>
                    <a:pt x="8944" y="2114"/>
                  </a:cubicBezTo>
                  <a:close/>
                  <a:moveTo>
                    <a:pt x="12939" y="2718"/>
                  </a:moveTo>
                  <a:cubicBezTo>
                    <a:pt x="12838" y="2931"/>
                    <a:pt x="12707" y="3209"/>
                    <a:pt x="12566" y="3502"/>
                  </a:cubicBezTo>
                  <a:cubicBezTo>
                    <a:pt x="11657" y="2919"/>
                    <a:pt x="11657" y="2919"/>
                    <a:pt x="11657" y="2919"/>
                  </a:cubicBezTo>
                  <a:cubicBezTo>
                    <a:pt x="11578" y="2869"/>
                    <a:pt x="11399" y="2766"/>
                    <a:pt x="11218" y="2666"/>
                  </a:cubicBezTo>
                  <a:cubicBezTo>
                    <a:pt x="11036" y="2565"/>
                    <a:pt x="10856" y="2468"/>
                    <a:pt x="10772" y="2430"/>
                  </a:cubicBezTo>
                  <a:cubicBezTo>
                    <a:pt x="10612" y="2358"/>
                    <a:pt x="10452" y="2338"/>
                    <a:pt x="10429" y="2335"/>
                  </a:cubicBezTo>
                  <a:cubicBezTo>
                    <a:pt x="10424" y="2334"/>
                    <a:pt x="10220" y="2304"/>
                    <a:pt x="9930" y="2261"/>
                  </a:cubicBezTo>
                  <a:cubicBezTo>
                    <a:pt x="10042" y="1930"/>
                    <a:pt x="10042" y="1930"/>
                    <a:pt x="10042" y="1930"/>
                  </a:cubicBezTo>
                  <a:cubicBezTo>
                    <a:pt x="10207" y="1795"/>
                    <a:pt x="10207" y="1795"/>
                    <a:pt x="10207" y="1795"/>
                  </a:cubicBezTo>
                  <a:cubicBezTo>
                    <a:pt x="10182" y="1118"/>
                    <a:pt x="10182" y="1118"/>
                    <a:pt x="10182" y="1118"/>
                  </a:cubicBezTo>
                  <a:cubicBezTo>
                    <a:pt x="10302" y="963"/>
                    <a:pt x="10302" y="963"/>
                    <a:pt x="10302" y="963"/>
                  </a:cubicBezTo>
                  <a:cubicBezTo>
                    <a:pt x="11912" y="675"/>
                    <a:pt x="11912" y="675"/>
                    <a:pt x="11912" y="675"/>
                  </a:cubicBezTo>
                  <a:cubicBezTo>
                    <a:pt x="12107" y="1959"/>
                    <a:pt x="12107" y="1959"/>
                    <a:pt x="12107" y="1959"/>
                  </a:cubicBezTo>
                  <a:cubicBezTo>
                    <a:pt x="13109" y="2355"/>
                    <a:pt x="13109" y="2355"/>
                    <a:pt x="13109" y="2355"/>
                  </a:cubicBezTo>
                  <a:cubicBezTo>
                    <a:pt x="13082" y="2414"/>
                    <a:pt x="13021" y="2544"/>
                    <a:pt x="12939" y="2718"/>
                  </a:cubicBezTo>
                  <a:close/>
                  <a:moveTo>
                    <a:pt x="101" y="552"/>
                  </a:moveTo>
                  <a:cubicBezTo>
                    <a:pt x="66" y="564"/>
                    <a:pt x="33" y="576"/>
                    <a:pt x="0" y="587"/>
                  </a:cubicBezTo>
                  <a:cubicBezTo>
                    <a:pt x="0" y="539"/>
                    <a:pt x="0" y="539"/>
                    <a:pt x="0" y="539"/>
                  </a:cubicBezTo>
                  <a:cubicBezTo>
                    <a:pt x="28" y="529"/>
                    <a:pt x="57" y="519"/>
                    <a:pt x="86" y="509"/>
                  </a:cubicBezTo>
                  <a:cubicBezTo>
                    <a:pt x="211" y="466"/>
                    <a:pt x="283" y="418"/>
                    <a:pt x="325" y="361"/>
                  </a:cubicBezTo>
                  <a:cubicBezTo>
                    <a:pt x="366" y="305"/>
                    <a:pt x="380" y="236"/>
                    <a:pt x="380" y="146"/>
                  </a:cubicBezTo>
                  <a:cubicBezTo>
                    <a:pt x="380" y="102"/>
                    <a:pt x="376" y="54"/>
                    <a:pt x="372" y="0"/>
                  </a:cubicBezTo>
                  <a:cubicBezTo>
                    <a:pt x="417" y="0"/>
                    <a:pt x="417" y="0"/>
                    <a:pt x="417" y="0"/>
                  </a:cubicBezTo>
                  <a:cubicBezTo>
                    <a:pt x="422" y="53"/>
                    <a:pt x="425" y="101"/>
                    <a:pt x="425" y="146"/>
                  </a:cubicBezTo>
                  <a:cubicBezTo>
                    <a:pt x="425" y="240"/>
                    <a:pt x="411" y="320"/>
                    <a:pt x="361" y="388"/>
                  </a:cubicBezTo>
                  <a:cubicBezTo>
                    <a:pt x="312" y="456"/>
                    <a:pt x="230" y="508"/>
                    <a:pt x="101" y="552"/>
                  </a:cubicBezTo>
                  <a:close/>
                </a:path>
              </a:pathLst>
            </a:custGeom>
            <a:gradFill>
              <a:gsLst>
                <a:gs pos="40000">
                  <a:srgbClr val="FFFFFF"/>
                </a:gs>
                <a:gs pos="100000">
                  <a:srgbClr val="B0AAB2"/>
                </a:gs>
              </a:gsLst>
              <a:lin ang="0" scaled="1"/>
            </a:gradFill>
            <a:ln>
              <a:noFill/>
            </a:ln>
          </p:spPr>
          <p:txBody>
            <a:bodyPr vert="horz" wrap="square" lIns="91440" tIns="45720" rIns="91440" bIns="45720" numCol="1" anchor="t" anchorCtr="0" compatLnSpc="1">
              <a:prstTxWarp prst="textNoShape">
                <a:avLst/>
              </a:prstTxWarp>
            </a:bodyPr>
            <a:lstStyle/>
            <a:p>
              <a:endParaRPr lang="nl-NL" dirty="0"/>
            </a:p>
          </p:txBody>
        </p:sp>
        <p:sp>
          <p:nvSpPr>
            <p:cNvPr id="26" name="---Onder wit">
              <a:extLst>
                <a:ext uri="{FF2B5EF4-FFF2-40B4-BE49-F238E27FC236}">
                  <a16:creationId xmlns:a16="http://schemas.microsoft.com/office/drawing/2014/main" id="{5C774F85-65AA-4261-88A2-53A329D8FA08}"/>
                </a:ext>
              </a:extLst>
            </p:cNvPr>
            <p:cNvSpPr>
              <a:spLocks noSelect="1"/>
            </p:cNvSpPr>
            <p:nvPr userDrawn="1"/>
          </p:nvSpPr>
          <p:spPr bwMode="gray">
            <a:xfrm>
              <a:off x="6478588" y="5713200"/>
              <a:ext cx="5716588" cy="1141413"/>
            </a:xfrm>
            <a:custGeom>
              <a:avLst/>
              <a:gdLst>
                <a:gd name="T0" fmla="*/ 98 w 18004"/>
                <a:gd name="T1" fmla="*/ 543 h 3600"/>
                <a:gd name="T2" fmla="*/ 16855 w 18004"/>
                <a:gd name="T3" fmla="*/ 3468 h 3600"/>
                <a:gd name="T4" fmla="*/ 16175 w 18004"/>
                <a:gd name="T5" fmla="*/ 1314 h 3600"/>
                <a:gd name="T6" fmla="*/ 13264 w 18004"/>
                <a:gd name="T7" fmla="*/ 2369 h 3600"/>
                <a:gd name="T8" fmla="*/ 15276 w 18004"/>
                <a:gd name="T9" fmla="*/ 3572 h 3600"/>
                <a:gd name="T10" fmla="*/ 12667 w 18004"/>
                <a:gd name="T11" fmla="*/ 3600 h 3600"/>
                <a:gd name="T12" fmla="*/ 10410 w 18004"/>
                <a:gd name="T13" fmla="*/ 2467 h 3600"/>
                <a:gd name="T14" fmla="*/ 7522 w 18004"/>
                <a:gd name="T15" fmla="*/ 3600 h 3600"/>
                <a:gd name="T16" fmla="*/ 7674 w 18004"/>
                <a:gd name="T17" fmla="*/ 2075 h 3600"/>
                <a:gd name="T18" fmla="*/ 5720 w 18004"/>
                <a:gd name="T19" fmla="*/ 2014 h 3600"/>
                <a:gd name="T20" fmla="*/ 5562 w 18004"/>
                <a:gd name="T21" fmla="*/ 3568 h 3600"/>
                <a:gd name="T22" fmla="*/ 4906 w 18004"/>
                <a:gd name="T23" fmla="*/ 3600 h 3600"/>
                <a:gd name="T24" fmla="*/ 4575 w 18004"/>
                <a:gd name="T25" fmla="*/ 3029 h 3600"/>
                <a:gd name="T26" fmla="*/ 3487 w 18004"/>
                <a:gd name="T27" fmla="*/ 2427 h 3600"/>
                <a:gd name="T28" fmla="*/ 1699 w 18004"/>
                <a:gd name="T29" fmla="*/ 3600 h 3600"/>
                <a:gd name="T30" fmla="*/ 2530 w 18004"/>
                <a:gd name="T31" fmla="*/ 1954 h 3600"/>
                <a:gd name="T32" fmla="*/ 592 w 18004"/>
                <a:gd name="T33" fmla="*/ 1850 h 3600"/>
                <a:gd name="T34" fmla="*/ 1479 w 18004"/>
                <a:gd name="T35" fmla="*/ 1127 h 3600"/>
                <a:gd name="T36" fmla="*/ 2348 w 18004"/>
                <a:gd name="T37" fmla="*/ 261 h 3600"/>
                <a:gd name="T38" fmla="*/ 2303 w 18004"/>
                <a:gd name="T39" fmla="*/ 140 h 3600"/>
                <a:gd name="T40" fmla="*/ 2989 w 18004"/>
                <a:gd name="T41" fmla="*/ 83 h 3600"/>
                <a:gd name="T42" fmla="*/ 3479 w 18004"/>
                <a:gd name="T43" fmla="*/ 399 h 3600"/>
                <a:gd name="T44" fmla="*/ 4050 w 18004"/>
                <a:gd name="T45" fmla="*/ 1816 h 3600"/>
                <a:gd name="T46" fmla="*/ 4600 w 18004"/>
                <a:gd name="T47" fmla="*/ 722 h 3600"/>
                <a:gd name="T48" fmla="*/ 5077 w 18004"/>
                <a:gd name="T49" fmla="*/ 147 h 3600"/>
                <a:gd name="T50" fmla="*/ 6703 w 18004"/>
                <a:gd name="T51" fmla="*/ 440 h 3600"/>
                <a:gd name="T52" fmla="*/ 7785 w 18004"/>
                <a:gd name="T53" fmla="*/ 998 h 3600"/>
                <a:gd name="T54" fmla="*/ 8894 w 18004"/>
                <a:gd name="T55" fmla="*/ 698 h 3600"/>
                <a:gd name="T56" fmla="*/ 10217 w 18004"/>
                <a:gd name="T57" fmla="*/ 300 h 3600"/>
                <a:gd name="T58" fmla="*/ 10299 w 18004"/>
                <a:gd name="T59" fmla="*/ 903 h 3600"/>
                <a:gd name="T60" fmla="*/ 11809 w 18004"/>
                <a:gd name="T61" fmla="*/ 31 h 3600"/>
                <a:gd name="T62" fmla="*/ 13842 w 18004"/>
                <a:gd name="T63" fmla="*/ 315 h 3600"/>
                <a:gd name="T64" fmla="*/ 13942 w 18004"/>
                <a:gd name="T65" fmla="*/ 20 h 3600"/>
                <a:gd name="T66" fmla="*/ 14940 w 18004"/>
                <a:gd name="T67" fmla="*/ 0 h 3600"/>
                <a:gd name="T68" fmla="*/ 17832 w 18004"/>
                <a:gd name="T69" fmla="*/ 2023 h 3600"/>
                <a:gd name="T70" fmla="*/ 3446 w 18004"/>
                <a:gd name="T71" fmla="*/ 654 h 3600"/>
                <a:gd name="T72" fmla="*/ 2963 w 18004"/>
                <a:gd name="T73" fmla="*/ 215 h 3600"/>
                <a:gd name="T74" fmla="*/ 3123 w 18004"/>
                <a:gd name="T75" fmla="*/ 1682 h 3600"/>
                <a:gd name="T76" fmla="*/ 3740 w 18004"/>
                <a:gd name="T77" fmla="*/ 1659 h 3600"/>
                <a:gd name="T78" fmla="*/ 2835 w 18004"/>
                <a:gd name="T79" fmla="*/ 372 h 3600"/>
                <a:gd name="T80" fmla="*/ 1815 w 18004"/>
                <a:gd name="T81" fmla="*/ 1109 h 3600"/>
                <a:gd name="T82" fmla="*/ 3094 w 18004"/>
                <a:gd name="T83" fmla="*/ 1818 h 3600"/>
                <a:gd name="T84" fmla="*/ 2892 w 18004"/>
                <a:gd name="T85" fmla="*/ 1394 h 3600"/>
                <a:gd name="T86" fmla="*/ 3832 w 18004"/>
                <a:gd name="T87" fmla="*/ 2346 h 3600"/>
                <a:gd name="T88" fmla="*/ 3826 w 18004"/>
                <a:gd name="T89" fmla="*/ 1815 h 3600"/>
                <a:gd name="T90" fmla="*/ 2940 w 18004"/>
                <a:gd name="T91" fmla="*/ 1916 h 3600"/>
                <a:gd name="T92" fmla="*/ 4516 w 18004"/>
                <a:gd name="T93" fmla="*/ 1929 h 3600"/>
                <a:gd name="T94" fmla="*/ 5108 w 18004"/>
                <a:gd name="T95" fmla="*/ 1136 h 3600"/>
                <a:gd name="T96" fmla="*/ 6672 w 18004"/>
                <a:gd name="T97" fmla="*/ 463 h 3600"/>
                <a:gd name="T98" fmla="*/ 5426 w 18004"/>
                <a:gd name="T99" fmla="*/ 1823 h 3600"/>
                <a:gd name="T100" fmla="*/ 8905 w 18004"/>
                <a:gd name="T101" fmla="*/ 889 h 3600"/>
                <a:gd name="T102" fmla="*/ 7652 w 18004"/>
                <a:gd name="T103" fmla="*/ 2 h 3600"/>
                <a:gd name="T104" fmla="*/ 8891 w 18004"/>
                <a:gd name="T105" fmla="*/ 2104 h 3600"/>
                <a:gd name="T106" fmla="*/ 7810 w 18004"/>
                <a:gd name="T107" fmla="*/ 1952 h 3600"/>
                <a:gd name="T108" fmla="*/ 10265 w 18004"/>
                <a:gd name="T109" fmla="*/ 927 h 3600"/>
                <a:gd name="T110" fmla="*/ 8931 w 18004"/>
                <a:gd name="T111" fmla="*/ 2107 h 3600"/>
                <a:gd name="T112" fmla="*/ 9916 w 18004"/>
                <a:gd name="T113" fmla="*/ 2256 h 3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004" h="3600">
                  <a:moveTo>
                    <a:pt x="98" y="543"/>
                  </a:moveTo>
                  <a:cubicBezTo>
                    <a:pt x="64" y="555"/>
                    <a:pt x="32" y="566"/>
                    <a:pt x="0" y="577"/>
                  </a:cubicBezTo>
                  <a:cubicBezTo>
                    <a:pt x="0" y="549"/>
                    <a:pt x="0" y="549"/>
                    <a:pt x="0" y="549"/>
                  </a:cubicBezTo>
                  <a:cubicBezTo>
                    <a:pt x="29" y="539"/>
                    <a:pt x="58" y="529"/>
                    <a:pt x="89" y="518"/>
                  </a:cubicBezTo>
                  <a:cubicBezTo>
                    <a:pt x="340" y="430"/>
                    <a:pt x="387" y="327"/>
                    <a:pt x="389" y="146"/>
                  </a:cubicBezTo>
                  <a:cubicBezTo>
                    <a:pt x="389" y="102"/>
                    <a:pt x="386" y="53"/>
                    <a:pt x="382" y="0"/>
                  </a:cubicBezTo>
                  <a:cubicBezTo>
                    <a:pt x="408" y="0"/>
                    <a:pt x="408" y="0"/>
                    <a:pt x="408" y="0"/>
                  </a:cubicBezTo>
                  <a:cubicBezTo>
                    <a:pt x="412" y="53"/>
                    <a:pt x="415" y="101"/>
                    <a:pt x="415" y="146"/>
                  </a:cubicBezTo>
                  <a:cubicBezTo>
                    <a:pt x="417" y="333"/>
                    <a:pt x="354" y="457"/>
                    <a:pt x="98" y="543"/>
                  </a:cubicBezTo>
                  <a:close/>
                  <a:moveTo>
                    <a:pt x="18004" y="1930"/>
                  </a:moveTo>
                  <a:cubicBezTo>
                    <a:pt x="17776" y="2116"/>
                    <a:pt x="17541" y="2305"/>
                    <a:pt x="17455" y="2374"/>
                  </a:cubicBezTo>
                  <a:cubicBezTo>
                    <a:pt x="17578" y="2498"/>
                    <a:pt x="17753" y="2645"/>
                    <a:pt x="18004" y="2758"/>
                  </a:cubicBezTo>
                  <a:cubicBezTo>
                    <a:pt x="18004" y="2797"/>
                    <a:pt x="18004" y="2797"/>
                    <a:pt x="18004" y="2797"/>
                  </a:cubicBezTo>
                  <a:cubicBezTo>
                    <a:pt x="17739" y="2681"/>
                    <a:pt x="17554" y="2525"/>
                    <a:pt x="17426" y="2397"/>
                  </a:cubicBezTo>
                  <a:cubicBezTo>
                    <a:pt x="17422" y="2400"/>
                    <a:pt x="17420" y="2402"/>
                    <a:pt x="17420" y="2402"/>
                  </a:cubicBezTo>
                  <a:cubicBezTo>
                    <a:pt x="17420" y="2402"/>
                    <a:pt x="17394" y="2425"/>
                    <a:pt x="17353" y="2465"/>
                  </a:cubicBezTo>
                  <a:cubicBezTo>
                    <a:pt x="17229" y="2583"/>
                    <a:pt x="16975" y="2852"/>
                    <a:pt x="16920" y="3070"/>
                  </a:cubicBezTo>
                  <a:cubicBezTo>
                    <a:pt x="16882" y="3218"/>
                    <a:pt x="16887" y="3344"/>
                    <a:pt x="16855" y="3468"/>
                  </a:cubicBezTo>
                  <a:cubicBezTo>
                    <a:pt x="16844" y="3512"/>
                    <a:pt x="16828" y="3556"/>
                    <a:pt x="16803" y="3600"/>
                  </a:cubicBezTo>
                  <a:cubicBezTo>
                    <a:pt x="16761" y="3600"/>
                    <a:pt x="16761" y="3600"/>
                    <a:pt x="16761" y="3600"/>
                  </a:cubicBezTo>
                  <a:cubicBezTo>
                    <a:pt x="16790" y="3553"/>
                    <a:pt x="16808" y="3507"/>
                    <a:pt x="16820" y="3459"/>
                  </a:cubicBezTo>
                  <a:cubicBezTo>
                    <a:pt x="16850" y="3342"/>
                    <a:pt x="16846" y="3215"/>
                    <a:pt x="16885" y="3061"/>
                  </a:cubicBezTo>
                  <a:cubicBezTo>
                    <a:pt x="16966" y="2749"/>
                    <a:pt x="17396" y="2376"/>
                    <a:pt x="17397" y="2375"/>
                  </a:cubicBezTo>
                  <a:cubicBezTo>
                    <a:pt x="17397" y="2375"/>
                    <a:pt x="17398" y="2373"/>
                    <a:pt x="17401" y="2371"/>
                  </a:cubicBezTo>
                  <a:cubicBezTo>
                    <a:pt x="17347" y="2315"/>
                    <a:pt x="17303" y="2266"/>
                    <a:pt x="17269" y="2229"/>
                  </a:cubicBezTo>
                  <a:cubicBezTo>
                    <a:pt x="17268" y="2229"/>
                    <a:pt x="17239" y="2195"/>
                    <a:pt x="17186" y="2138"/>
                  </a:cubicBezTo>
                  <a:cubicBezTo>
                    <a:pt x="17025" y="1968"/>
                    <a:pt x="16644" y="1591"/>
                    <a:pt x="16175" y="1314"/>
                  </a:cubicBezTo>
                  <a:cubicBezTo>
                    <a:pt x="15985" y="1202"/>
                    <a:pt x="15747" y="1060"/>
                    <a:pt x="15508" y="933"/>
                  </a:cubicBezTo>
                  <a:cubicBezTo>
                    <a:pt x="15236" y="788"/>
                    <a:pt x="14962" y="650"/>
                    <a:pt x="14756" y="548"/>
                  </a:cubicBezTo>
                  <a:cubicBezTo>
                    <a:pt x="14654" y="497"/>
                    <a:pt x="14568" y="455"/>
                    <a:pt x="14508" y="425"/>
                  </a:cubicBezTo>
                  <a:cubicBezTo>
                    <a:pt x="14478" y="410"/>
                    <a:pt x="14454" y="398"/>
                    <a:pt x="14438" y="390"/>
                  </a:cubicBezTo>
                  <a:cubicBezTo>
                    <a:pt x="14430" y="386"/>
                    <a:pt x="14423" y="382"/>
                    <a:pt x="14419" y="380"/>
                  </a:cubicBezTo>
                  <a:cubicBezTo>
                    <a:pt x="14417" y="379"/>
                    <a:pt x="14416" y="378"/>
                    <a:pt x="14415" y="378"/>
                  </a:cubicBezTo>
                  <a:cubicBezTo>
                    <a:pt x="13960" y="328"/>
                    <a:pt x="13960" y="328"/>
                    <a:pt x="13960" y="328"/>
                  </a:cubicBezTo>
                  <a:cubicBezTo>
                    <a:pt x="13254" y="2358"/>
                    <a:pt x="13254" y="2358"/>
                    <a:pt x="13254" y="2358"/>
                  </a:cubicBezTo>
                  <a:cubicBezTo>
                    <a:pt x="13257" y="2361"/>
                    <a:pt x="13260" y="2365"/>
                    <a:pt x="13264" y="2369"/>
                  </a:cubicBezTo>
                  <a:cubicBezTo>
                    <a:pt x="13332" y="2407"/>
                    <a:pt x="13423" y="2475"/>
                    <a:pt x="13486" y="2583"/>
                  </a:cubicBezTo>
                  <a:cubicBezTo>
                    <a:pt x="13593" y="2767"/>
                    <a:pt x="13631" y="2829"/>
                    <a:pt x="13837" y="2923"/>
                  </a:cubicBezTo>
                  <a:cubicBezTo>
                    <a:pt x="14044" y="3016"/>
                    <a:pt x="15269" y="3531"/>
                    <a:pt x="15289" y="3539"/>
                  </a:cubicBezTo>
                  <a:cubicBezTo>
                    <a:pt x="15296" y="3542"/>
                    <a:pt x="15302" y="3546"/>
                    <a:pt x="15316" y="3555"/>
                  </a:cubicBezTo>
                  <a:cubicBezTo>
                    <a:pt x="15331" y="3566"/>
                    <a:pt x="15353" y="3582"/>
                    <a:pt x="15379" y="3600"/>
                  </a:cubicBezTo>
                  <a:cubicBezTo>
                    <a:pt x="15317" y="3600"/>
                    <a:pt x="15317" y="3600"/>
                    <a:pt x="15317" y="3600"/>
                  </a:cubicBezTo>
                  <a:cubicBezTo>
                    <a:pt x="15308" y="3594"/>
                    <a:pt x="15299" y="3588"/>
                    <a:pt x="15293" y="3583"/>
                  </a:cubicBezTo>
                  <a:cubicBezTo>
                    <a:pt x="15288" y="3580"/>
                    <a:pt x="15283" y="3577"/>
                    <a:pt x="15280" y="3575"/>
                  </a:cubicBezTo>
                  <a:cubicBezTo>
                    <a:pt x="15278" y="3574"/>
                    <a:pt x="15277" y="3573"/>
                    <a:pt x="15276" y="3572"/>
                  </a:cubicBezTo>
                  <a:cubicBezTo>
                    <a:pt x="15276" y="3572"/>
                    <a:pt x="15276" y="3572"/>
                    <a:pt x="15275" y="3572"/>
                  </a:cubicBezTo>
                  <a:cubicBezTo>
                    <a:pt x="15245" y="3560"/>
                    <a:pt x="14031" y="3049"/>
                    <a:pt x="13822" y="2956"/>
                  </a:cubicBezTo>
                  <a:cubicBezTo>
                    <a:pt x="13612" y="2862"/>
                    <a:pt x="13560" y="2785"/>
                    <a:pt x="13455" y="2601"/>
                  </a:cubicBezTo>
                  <a:cubicBezTo>
                    <a:pt x="13404" y="2513"/>
                    <a:pt x="13331" y="2452"/>
                    <a:pt x="13270" y="2414"/>
                  </a:cubicBezTo>
                  <a:cubicBezTo>
                    <a:pt x="13262" y="2409"/>
                    <a:pt x="13253" y="2404"/>
                    <a:pt x="13245" y="2399"/>
                  </a:cubicBezTo>
                  <a:cubicBezTo>
                    <a:pt x="13238" y="2397"/>
                    <a:pt x="13238" y="2397"/>
                    <a:pt x="13238" y="2397"/>
                  </a:cubicBezTo>
                  <a:cubicBezTo>
                    <a:pt x="13188" y="2503"/>
                    <a:pt x="12945" y="3022"/>
                    <a:pt x="12671" y="3593"/>
                  </a:cubicBezTo>
                  <a:cubicBezTo>
                    <a:pt x="12681" y="3600"/>
                    <a:pt x="12681" y="3600"/>
                    <a:pt x="12681" y="3600"/>
                  </a:cubicBezTo>
                  <a:cubicBezTo>
                    <a:pt x="12667" y="3600"/>
                    <a:pt x="12667" y="3600"/>
                    <a:pt x="12667" y="3600"/>
                  </a:cubicBezTo>
                  <a:cubicBezTo>
                    <a:pt x="12540" y="3600"/>
                    <a:pt x="12540" y="3600"/>
                    <a:pt x="12540" y="3600"/>
                  </a:cubicBezTo>
                  <a:cubicBezTo>
                    <a:pt x="12472" y="3600"/>
                    <a:pt x="12472" y="3600"/>
                    <a:pt x="12472" y="3600"/>
                  </a:cubicBezTo>
                  <a:cubicBezTo>
                    <a:pt x="11585" y="3032"/>
                    <a:pt x="11585" y="3032"/>
                    <a:pt x="11585" y="3032"/>
                  </a:cubicBezTo>
                  <a:cubicBezTo>
                    <a:pt x="11440" y="2939"/>
                    <a:pt x="10867" y="2619"/>
                    <a:pt x="10717" y="2552"/>
                  </a:cubicBezTo>
                  <a:cubicBezTo>
                    <a:pt x="10644" y="2519"/>
                    <a:pt x="10567" y="2497"/>
                    <a:pt x="10508" y="2485"/>
                  </a:cubicBezTo>
                  <a:cubicBezTo>
                    <a:pt x="10479" y="2478"/>
                    <a:pt x="10455" y="2474"/>
                    <a:pt x="10438" y="2471"/>
                  </a:cubicBezTo>
                  <a:cubicBezTo>
                    <a:pt x="10421" y="2468"/>
                    <a:pt x="10412" y="2468"/>
                    <a:pt x="10412" y="2467"/>
                  </a:cubicBezTo>
                  <a:cubicBezTo>
                    <a:pt x="10411" y="2467"/>
                    <a:pt x="10411" y="2467"/>
                    <a:pt x="10411" y="2467"/>
                  </a:cubicBezTo>
                  <a:cubicBezTo>
                    <a:pt x="10410" y="2467"/>
                    <a:pt x="10410" y="2467"/>
                    <a:pt x="10410" y="2467"/>
                  </a:cubicBezTo>
                  <a:cubicBezTo>
                    <a:pt x="10409" y="2467"/>
                    <a:pt x="10256" y="2444"/>
                    <a:pt x="10025" y="2410"/>
                  </a:cubicBezTo>
                  <a:cubicBezTo>
                    <a:pt x="9331" y="2307"/>
                    <a:pt x="7932" y="2098"/>
                    <a:pt x="7867" y="2089"/>
                  </a:cubicBezTo>
                  <a:cubicBezTo>
                    <a:pt x="7836" y="2085"/>
                    <a:pt x="7800" y="2082"/>
                    <a:pt x="7768" y="2080"/>
                  </a:cubicBezTo>
                  <a:cubicBezTo>
                    <a:pt x="7761" y="2098"/>
                    <a:pt x="7761" y="2098"/>
                    <a:pt x="7761" y="2098"/>
                  </a:cubicBezTo>
                  <a:cubicBezTo>
                    <a:pt x="7461" y="3457"/>
                    <a:pt x="7461" y="3457"/>
                    <a:pt x="7461" y="3457"/>
                  </a:cubicBezTo>
                  <a:cubicBezTo>
                    <a:pt x="7461" y="3458"/>
                    <a:pt x="7461" y="3459"/>
                    <a:pt x="7460" y="3463"/>
                  </a:cubicBezTo>
                  <a:cubicBezTo>
                    <a:pt x="7460" y="3466"/>
                    <a:pt x="7459" y="3472"/>
                    <a:pt x="7459" y="3479"/>
                  </a:cubicBezTo>
                  <a:cubicBezTo>
                    <a:pt x="7459" y="3503"/>
                    <a:pt x="7465" y="3542"/>
                    <a:pt x="7501" y="3581"/>
                  </a:cubicBezTo>
                  <a:cubicBezTo>
                    <a:pt x="7507" y="3588"/>
                    <a:pt x="7514" y="3594"/>
                    <a:pt x="7522" y="3600"/>
                  </a:cubicBezTo>
                  <a:cubicBezTo>
                    <a:pt x="7470" y="3600"/>
                    <a:pt x="7470" y="3600"/>
                    <a:pt x="7470" y="3600"/>
                  </a:cubicBezTo>
                  <a:cubicBezTo>
                    <a:pt x="7431" y="3555"/>
                    <a:pt x="7423" y="3508"/>
                    <a:pt x="7423" y="3479"/>
                  </a:cubicBezTo>
                  <a:cubicBezTo>
                    <a:pt x="7423" y="3461"/>
                    <a:pt x="7426" y="3450"/>
                    <a:pt x="7426" y="3449"/>
                  </a:cubicBezTo>
                  <a:cubicBezTo>
                    <a:pt x="7727" y="2088"/>
                    <a:pt x="7727" y="2088"/>
                    <a:pt x="7727" y="2088"/>
                  </a:cubicBezTo>
                  <a:cubicBezTo>
                    <a:pt x="7727" y="2077"/>
                    <a:pt x="7727" y="2077"/>
                    <a:pt x="7727" y="2077"/>
                  </a:cubicBezTo>
                  <a:cubicBezTo>
                    <a:pt x="7714" y="2076"/>
                    <a:pt x="7702" y="2076"/>
                    <a:pt x="7694" y="2075"/>
                  </a:cubicBezTo>
                  <a:cubicBezTo>
                    <a:pt x="7688" y="2075"/>
                    <a:pt x="7683" y="2075"/>
                    <a:pt x="7680" y="2075"/>
                  </a:cubicBezTo>
                  <a:cubicBezTo>
                    <a:pt x="7679" y="2075"/>
                    <a:pt x="7677" y="2075"/>
                    <a:pt x="7676" y="2075"/>
                  </a:cubicBezTo>
                  <a:cubicBezTo>
                    <a:pt x="7676" y="2075"/>
                    <a:pt x="7675" y="2075"/>
                    <a:pt x="7674" y="2075"/>
                  </a:cubicBezTo>
                  <a:cubicBezTo>
                    <a:pt x="7674" y="2075"/>
                    <a:pt x="7674" y="2075"/>
                    <a:pt x="7673" y="2074"/>
                  </a:cubicBezTo>
                  <a:cubicBezTo>
                    <a:pt x="7635" y="2073"/>
                    <a:pt x="7276" y="2060"/>
                    <a:pt x="6875" y="2046"/>
                  </a:cubicBezTo>
                  <a:cubicBezTo>
                    <a:pt x="6874" y="2048"/>
                    <a:pt x="6873" y="2051"/>
                    <a:pt x="6872" y="2053"/>
                  </a:cubicBezTo>
                  <a:cubicBezTo>
                    <a:pt x="6329" y="3600"/>
                    <a:pt x="6329" y="3600"/>
                    <a:pt x="6329" y="3600"/>
                  </a:cubicBezTo>
                  <a:cubicBezTo>
                    <a:pt x="6301" y="3600"/>
                    <a:pt x="6301" y="3600"/>
                    <a:pt x="6301" y="3600"/>
                  </a:cubicBezTo>
                  <a:cubicBezTo>
                    <a:pt x="6843" y="2057"/>
                    <a:pt x="6843" y="2057"/>
                    <a:pt x="6843" y="2057"/>
                  </a:cubicBezTo>
                  <a:cubicBezTo>
                    <a:pt x="6842" y="2045"/>
                    <a:pt x="6842" y="2045"/>
                    <a:pt x="6842" y="2045"/>
                  </a:cubicBezTo>
                  <a:cubicBezTo>
                    <a:pt x="6358" y="2027"/>
                    <a:pt x="5825" y="2008"/>
                    <a:pt x="5722" y="2005"/>
                  </a:cubicBezTo>
                  <a:cubicBezTo>
                    <a:pt x="5721" y="2008"/>
                    <a:pt x="5720" y="2011"/>
                    <a:pt x="5720" y="2014"/>
                  </a:cubicBezTo>
                  <a:cubicBezTo>
                    <a:pt x="5565" y="3540"/>
                    <a:pt x="5565" y="3540"/>
                    <a:pt x="5565" y="3540"/>
                  </a:cubicBezTo>
                  <a:cubicBezTo>
                    <a:pt x="5572" y="3542"/>
                    <a:pt x="5572" y="3542"/>
                    <a:pt x="5572" y="3542"/>
                  </a:cubicBezTo>
                  <a:cubicBezTo>
                    <a:pt x="5619" y="3551"/>
                    <a:pt x="5778" y="3573"/>
                    <a:pt x="5931" y="3594"/>
                  </a:cubicBezTo>
                  <a:cubicBezTo>
                    <a:pt x="5945" y="3596"/>
                    <a:pt x="5959" y="3598"/>
                    <a:pt x="5973" y="3600"/>
                  </a:cubicBezTo>
                  <a:cubicBezTo>
                    <a:pt x="5783" y="3600"/>
                    <a:pt x="5783" y="3600"/>
                    <a:pt x="5783" y="3600"/>
                  </a:cubicBezTo>
                  <a:cubicBezTo>
                    <a:pt x="5742" y="3595"/>
                    <a:pt x="5704" y="3589"/>
                    <a:pt x="5672" y="3584"/>
                  </a:cubicBezTo>
                  <a:cubicBezTo>
                    <a:pt x="5637" y="3579"/>
                    <a:pt x="5608" y="3575"/>
                    <a:pt x="5587" y="3572"/>
                  </a:cubicBezTo>
                  <a:cubicBezTo>
                    <a:pt x="5580" y="3570"/>
                    <a:pt x="5573" y="3569"/>
                    <a:pt x="5568" y="3568"/>
                  </a:cubicBezTo>
                  <a:cubicBezTo>
                    <a:pt x="5562" y="3568"/>
                    <a:pt x="5562" y="3568"/>
                    <a:pt x="5562" y="3568"/>
                  </a:cubicBezTo>
                  <a:cubicBezTo>
                    <a:pt x="5558" y="3600"/>
                    <a:pt x="5558" y="3600"/>
                    <a:pt x="5558" y="3600"/>
                  </a:cubicBezTo>
                  <a:cubicBezTo>
                    <a:pt x="5522" y="3600"/>
                    <a:pt x="5522" y="3600"/>
                    <a:pt x="5522" y="3600"/>
                  </a:cubicBezTo>
                  <a:cubicBezTo>
                    <a:pt x="5682" y="2029"/>
                    <a:pt x="5682" y="2029"/>
                    <a:pt x="5682" y="2029"/>
                  </a:cubicBezTo>
                  <a:cubicBezTo>
                    <a:pt x="5681" y="2029"/>
                    <a:pt x="5681" y="2029"/>
                    <a:pt x="5681" y="2029"/>
                  </a:cubicBezTo>
                  <a:cubicBezTo>
                    <a:pt x="5680" y="2002"/>
                    <a:pt x="5680" y="2002"/>
                    <a:pt x="5680" y="2002"/>
                  </a:cubicBezTo>
                  <a:cubicBezTo>
                    <a:pt x="5677" y="1998"/>
                    <a:pt x="5677" y="1998"/>
                    <a:pt x="5677" y="1998"/>
                  </a:cubicBezTo>
                  <a:cubicBezTo>
                    <a:pt x="5659" y="1994"/>
                    <a:pt x="5626" y="1986"/>
                    <a:pt x="5585" y="1977"/>
                  </a:cubicBezTo>
                  <a:cubicBezTo>
                    <a:pt x="5453" y="1947"/>
                    <a:pt x="5234" y="1898"/>
                    <a:pt x="5125" y="1873"/>
                  </a:cubicBezTo>
                  <a:cubicBezTo>
                    <a:pt x="5102" y="2051"/>
                    <a:pt x="5011" y="2777"/>
                    <a:pt x="4906" y="3600"/>
                  </a:cubicBezTo>
                  <a:cubicBezTo>
                    <a:pt x="4790" y="3600"/>
                    <a:pt x="4790" y="3600"/>
                    <a:pt x="4790" y="3600"/>
                  </a:cubicBezTo>
                  <a:cubicBezTo>
                    <a:pt x="4845" y="3168"/>
                    <a:pt x="4897" y="2762"/>
                    <a:pt x="4937" y="2447"/>
                  </a:cubicBezTo>
                  <a:cubicBezTo>
                    <a:pt x="4972" y="2170"/>
                    <a:pt x="4998" y="1965"/>
                    <a:pt x="5009" y="1872"/>
                  </a:cubicBezTo>
                  <a:cubicBezTo>
                    <a:pt x="4906" y="1891"/>
                    <a:pt x="4906" y="1891"/>
                    <a:pt x="4906" y="1891"/>
                  </a:cubicBezTo>
                  <a:cubicBezTo>
                    <a:pt x="4688" y="3600"/>
                    <a:pt x="4688" y="3600"/>
                    <a:pt x="4688" y="3600"/>
                  </a:cubicBezTo>
                  <a:cubicBezTo>
                    <a:pt x="4573" y="3600"/>
                    <a:pt x="4573" y="3600"/>
                    <a:pt x="4573" y="3600"/>
                  </a:cubicBezTo>
                  <a:cubicBezTo>
                    <a:pt x="4641" y="3064"/>
                    <a:pt x="4641" y="3064"/>
                    <a:pt x="4641" y="3064"/>
                  </a:cubicBezTo>
                  <a:cubicBezTo>
                    <a:pt x="4637" y="3062"/>
                    <a:pt x="4633" y="3058"/>
                    <a:pt x="4629" y="3055"/>
                  </a:cubicBezTo>
                  <a:cubicBezTo>
                    <a:pt x="4616" y="3049"/>
                    <a:pt x="4598" y="3040"/>
                    <a:pt x="4575" y="3029"/>
                  </a:cubicBezTo>
                  <a:cubicBezTo>
                    <a:pt x="4436" y="2964"/>
                    <a:pt x="4124" y="2833"/>
                    <a:pt x="3859" y="2834"/>
                  </a:cubicBezTo>
                  <a:cubicBezTo>
                    <a:pt x="3845" y="2834"/>
                    <a:pt x="3831" y="2834"/>
                    <a:pt x="3817" y="2835"/>
                  </a:cubicBezTo>
                  <a:cubicBezTo>
                    <a:pt x="3634" y="2845"/>
                    <a:pt x="3507" y="2855"/>
                    <a:pt x="3427" y="2863"/>
                  </a:cubicBezTo>
                  <a:cubicBezTo>
                    <a:pt x="3347" y="2870"/>
                    <a:pt x="3313" y="2875"/>
                    <a:pt x="3313" y="2875"/>
                  </a:cubicBezTo>
                  <a:cubicBezTo>
                    <a:pt x="3307" y="2840"/>
                    <a:pt x="3307" y="2840"/>
                    <a:pt x="3307" y="2840"/>
                  </a:cubicBezTo>
                  <a:cubicBezTo>
                    <a:pt x="3308" y="2840"/>
                    <a:pt x="3447" y="2819"/>
                    <a:pt x="3815" y="2799"/>
                  </a:cubicBezTo>
                  <a:cubicBezTo>
                    <a:pt x="3823" y="2798"/>
                    <a:pt x="3831" y="2798"/>
                    <a:pt x="3839" y="2798"/>
                  </a:cubicBezTo>
                  <a:cubicBezTo>
                    <a:pt x="3750" y="2400"/>
                    <a:pt x="3750" y="2400"/>
                    <a:pt x="3750" y="2400"/>
                  </a:cubicBezTo>
                  <a:cubicBezTo>
                    <a:pt x="3670" y="2413"/>
                    <a:pt x="3602" y="2416"/>
                    <a:pt x="3487" y="2427"/>
                  </a:cubicBezTo>
                  <a:cubicBezTo>
                    <a:pt x="3346" y="2440"/>
                    <a:pt x="3188" y="2453"/>
                    <a:pt x="3065" y="2463"/>
                  </a:cubicBezTo>
                  <a:cubicBezTo>
                    <a:pt x="3003" y="2468"/>
                    <a:pt x="2951" y="2472"/>
                    <a:pt x="2913" y="2475"/>
                  </a:cubicBezTo>
                  <a:cubicBezTo>
                    <a:pt x="2898" y="2476"/>
                    <a:pt x="2885" y="2477"/>
                    <a:pt x="2876" y="2478"/>
                  </a:cubicBezTo>
                  <a:cubicBezTo>
                    <a:pt x="3113" y="3600"/>
                    <a:pt x="3113" y="3600"/>
                    <a:pt x="3113" y="3600"/>
                  </a:cubicBezTo>
                  <a:cubicBezTo>
                    <a:pt x="3076" y="3600"/>
                    <a:pt x="3076" y="3600"/>
                    <a:pt x="3076" y="3600"/>
                  </a:cubicBezTo>
                  <a:cubicBezTo>
                    <a:pt x="3066" y="3554"/>
                    <a:pt x="3066" y="3554"/>
                    <a:pt x="3066" y="3554"/>
                  </a:cubicBezTo>
                  <a:cubicBezTo>
                    <a:pt x="3063" y="3554"/>
                    <a:pt x="3063" y="3554"/>
                    <a:pt x="3063" y="3554"/>
                  </a:cubicBezTo>
                  <a:cubicBezTo>
                    <a:pt x="2190" y="3600"/>
                    <a:pt x="2190" y="3600"/>
                    <a:pt x="2190" y="3600"/>
                  </a:cubicBezTo>
                  <a:cubicBezTo>
                    <a:pt x="1699" y="3600"/>
                    <a:pt x="1699" y="3600"/>
                    <a:pt x="1699" y="3600"/>
                  </a:cubicBezTo>
                  <a:cubicBezTo>
                    <a:pt x="3042" y="3528"/>
                    <a:pt x="3042" y="3528"/>
                    <a:pt x="3042" y="3528"/>
                  </a:cubicBezTo>
                  <a:cubicBezTo>
                    <a:pt x="3060" y="3525"/>
                    <a:pt x="3060" y="3525"/>
                    <a:pt x="3060" y="3525"/>
                  </a:cubicBezTo>
                  <a:cubicBezTo>
                    <a:pt x="2837" y="2471"/>
                    <a:pt x="2837" y="2471"/>
                    <a:pt x="2837" y="2471"/>
                  </a:cubicBezTo>
                  <a:cubicBezTo>
                    <a:pt x="2836" y="2469"/>
                    <a:pt x="2835" y="2466"/>
                    <a:pt x="2835" y="2462"/>
                  </a:cubicBezTo>
                  <a:cubicBezTo>
                    <a:pt x="2835" y="2461"/>
                    <a:pt x="2835" y="2460"/>
                    <a:pt x="2835" y="2459"/>
                  </a:cubicBezTo>
                  <a:cubicBezTo>
                    <a:pt x="2727" y="1946"/>
                    <a:pt x="2727" y="1946"/>
                    <a:pt x="2727" y="1946"/>
                  </a:cubicBezTo>
                  <a:cubicBezTo>
                    <a:pt x="2656" y="1950"/>
                    <a:pt x="2588" y="1951"/>
                    <a:pt x="2548" y="1953"/>
                  </a:cubicBezTo>
                  <a:cubicBezTo>
                    <a:pt x="2542" y="1954"/>
                    <a:pt x="2536" y="1954"/>
                    <a:pt x="2531" y="1954"/>
                  </a:cubicBezTo>
                  <a:cubicBezTo>
                    <a:pt x="2530" y="1954"/>
                    <a:pt x="2530" y="1954"/>
                    <a:pt x="2530" y="1954"/>
                  </a:cubicBezTo>
                  <a:cubicBezTo>
                    <a:pt x="2449" y="1954"/>
                    <a:pt x="2382" y="1924"/>
                    <a:pt x="2355" y="1865"/>
                  </a:cubicBezTo>
                  <a:cubicBezTo>
                    <a:pt x="2344" y="1841"/>
                    <a:pt x="2334" y="1798"/>
                    <a:pt x="2325" y="1752"/>
                  </a:cubicBezTo>
                  <a:cubicBezTo>
                    <a:pt x="766" y="2146"/>
                    <a:pt x="766" y="2146"/>
                    <a:pt x="766" y="2146"/>
                  </a:cubicBezTo>
                  <a:cubicBezTo>
                    <a:pt x="943" y="2534"/>
                    <a:pt x="1156" y="3005"/>
                    <a:pt x="1175" y="3052"/>
                  </a:cubicBezTo>
                  <a:cubicBezTo>
                    <a:pt x="1197" y="3107"/>
                    <a:pt x="1269" y="3369"/>
                    <a:pt x="1322" y="3600"/>
                  </a:cubicBezTo>
                  <a:cubicBezTo>
                    <a:pt x="1285" y="3600"/>
                    <a:pt x="1285" y="3600"/>
                    <a:pt x="1285" y="3600"/>
                  </a:cubicBezTo>
                  <a:cubicBezTo>
                    <a:pt x="1232" y="3372"/>
                    <a:pt x="1162" y="3115"/>
                    <a:pt x="1142" y="3065"/>
                  </a:cubicBezTo>
                  <a:cubicBezTo>
                    <a:pt x="1126" y="3027"/>
                    <a:pt x="964" y="2669"/>
                    <a:pt x="807" y="2322"/>
                  </a:cubicBezTo>
                  <a:cubicBezTo>
                    <a:pt x="728" y="2149"/>
                    <a:pt x="650" y="1978"/>
                    <a:pt x="592" y="1850"/>
                  </a:cubicBezTo>
                  <a:cubicBezTo>
                    <a:pt x="554" y="1766"/>
                    <a:pt x="524" y="1702"/>
                    <a:pt x="509" y="1667"/>
                  </a:cubicBezTo>
                  <a:cubicBezTo>
                    <a:pt x="498" y="1655"/>
                    <a:pt x="498" y="1655"/>
                    <a:pt x="498" y="1655"/>
                  </a:cubicBezTo>
                  <a:cubicBezTo>
                    <a:pt x="437" y="1682"/>
                    <a:pt x="398" y="1701"/>
                    <a:pt x="398" y="1701"/>
                  </a:cubicBezTo>
                  <a:cubicBezTo>
                    <a:pt x="398" y="1700"/>
                    <a:pt x="264" y="1765"/>
                    <a:pt x="61" y="1862"/>
                  </a:cubicBezTo>
                  <a:cubicBezTo>
                    <a:pt x="41" y="1872"/>
                    <a:pt x="21" y="1882"/>
                    <a:pt x="0" y="1892"/>
                  </a:cubicBezTo>
                  <a:cubicBezTo>
                    <a:pt x="0" y="1764"/>
                    <a:pt x="0" y="1764"/>
                    <a:pt x="0" y="1764"/>
                  </a:cubicBezTo>
                  <a:cubicBezTo>
                    <a:pt x="209" y="1664"/>
                    <a:pt x="348" y="1597"/>
                    <a:pt x="349" y="1597"/>
                  </a:cubicBezTo>
                  <a:cubicBezTo>
                    <a:pt x="350" y="1596"/>
                    <a:pt x="688" y="1439"/>
                    <a:pt x="924" y="1346"/>
                  </a:cubicBezTo>
                  <a:cubicBezTo>
                    <a:pt x="1041" y="1300"/>
                    <a:pt x="1268" y="1213"/>
                    <a:pt x="1479" y="1127"/>
                  </a:cubicBezTo>
                  <a:cubicBezTo>
                    <a:pt x="1585" y="1083"/>
                    <a:pt x="1686" y="1041"/>
                    <a:pt x="1768" y="1004"/>
                  </a:cubicBezTo>
                  <a:cubicBezTo>
                    <a:pt x="1849" y="968"/>
                    <a:pt x="1912" y="935"/>
                    <a:pt x="1930" y="921"/>
                  </a:cubicBezTo>
                  <a:cubicBezTo>
                    <a:pt x="1950" y="907"/>
                    <a:pt x="1995" y="859"/>
                    <a:pt x="2046" y="801"/>
                  </a:cubicBezTo>
                  <a:cubicBezTo>
                    <a:pt x="2122" y="713"/>
                    <a:pt x="2215" y="596"/>
                    <a:pt x="2289" y="502"/>
                  </a:cubicBezTo>
                  <a:cubicBezTo>
                    <a:pt x="2339" y="438"/>
                    <a:pt x="2379" y="385"/>
                    <a:pt x="2400" y="357"/>
                  </a:cubicBezTo>
                  <a:cubicBezTo>
                    <a:pt x="2400" y="357"/>
                    <a:pt x="2400" y="357"/>
                    <a:pt x="2400" y="357"/>
                  </a:cubicBezTo>
                  <a:cubicBezTo>
                    <a:pt x="2400" y="357"/>
                    <a:pt x="2402" y="355"/>
                    <a:pt x="2405" y="352"/>
                  </a:cubicBezTo>
                  <a:cubicBezTo>
                    <a:pt x="2408" y="347"/>
                    <a:pt x="2411" y="343"/>
                    <a:pt x="2413" y="340"/>
                  </a:cubicBezTo>
                  <a:cubicBezTo>
                    <a:pt x="2388" y="317"/>
                    <a:pt x="2366" y="291"/>
                    <a:pt x="2348" y="261"/>
                  </a:cubicBezTo>
                  <a:cubicBezTo>
                    <a:pt x="2346" y="261"/>
                    <a:pt x="2343" y="261"/>
                    <a:pt x="2340" y="260"/>
                  </a:cubicBezTo>
                  <a:cubicBezTo>
                    <a:pt x="2339" y="262"/>
                    <a:pt x="2339" y="262"/>
                    <a:pt x="2339" y="262"/>
                  </a:cubicBezTo>
                  <a:cubicBezTo>
                    <a:pt x="2335" y="261"/>
                    <a:pt x="1811" y="184"/>
                    <a:pt x="1626" y="141"/>
                  </a:cubicBezTo>
                  <a:cubicBezTo>
                    <a:pt x="1496" y="110"/>
                    <a:pt x="1396" y="59"/>
                    <a:pt x="1295" y="0"/>
                  </a:cubicBezTo>
                  <a:cubicBezTo>
                    <a:pt x="1558" y="0"/>
                    <a:pt x="1558" y="0"/>
                    <a:pt x="1558" y="0"/>
                  </a:cubicBezTo>
                  <a:cubicBezTo>
                    <a:pt x="1588" y="11"/>
                    <a:pt x="1619" y="21"/>
                    <a:pt x="1652" y="29"/>
                  </a:cubicBezTo>
                  <a:cubicBezTo>
                    <a:pt x="1738" y="49"/>
                    <a:pt x="1916" y="80"/>
                    <a:pt x="2070" y="104"/>
                  </a:cubicBezTo>
                  <a:cubicBezTo>
                    <a:pt x="2154" y="118"/>
                    <a:pt x="2231" y="129"/>
                    <a:pt x="2284" y="137"/>
                  </a:cubicBezTo>
                  <a:cubicBezTo>
                    <a:pt x="2286" y="138"/>
                    <a:pt x="2295" y="139"/>
                    <a:pt x="2303" y="140"/>
                  </a:cubicBezTo>
                  <a:cubicBezTo>
                    <a:pt x="2300" y="121"/>
                    <a:pt x="2298" y="103"/>
                    <a:pt x="2298" y="83"/>
                  </a:cubicBezTo>
                  <a:cubicBezTo>
                    <a:pt x="2298" y="55"/>
                    <a:pt x="2302" y="27"/>
                    <a:pt x="2309" y="0"/>
                  </a:cubicBezTo>
                  <a:cubicBezTo>
                    <a:pt x="2435" y="0"/>
                    <a:pt x="2435" y="0"/>
                    <a:pt x="2435" y="0"/>
                  </a:cubicBezTo>
                  <a:cubicBezTo>
                    <a:pt x="2424" y="26"/>
                    <a:pt x="2419" y="54"/>
                    <a:pt x="2419" y="83"/>
                  </a:cubicBezTo>
                  <a:cubicBezTo>
                    <a:pt x="2419" y="207"/>
                    <a:pt x="2519" y="308"/>
                    <a:pt x="2644" y="308"/>
                  </a:cubicBezTo>
                  <a:cubicBezTo>
                    <a:pt x="2768" y="308"/>
                    <a:pt x="2869" y="207"/>
                    <a:pt x="2869" y="83"/>
                  </a:cubicBezTo>
                  <a:cubicBezTo>
                    <a:pt x="2869" y="54"/>
                    <a:pt x="2863" y="26"/>
                    <a:pt x="2853" y="0"/>
                  </a:cubicBezTo>
                  <a:cubicBezTo>
                    <a:pt x="2979" y="0"/>
                    <a:pt x="2979" y="0"/>
                    <a:pt x="2979" y="0"/>
                  </a:cubicBezTo>
                  <a:cubicBezTo>
                    <a:pt x="2985" y="27"/>
                    <a:pt x="2989" y="55"/>
                    <a:pt x="2989" y="83"/>
                  </a:cubicBezTo>
                  <a:cubicBezTo>
                    <a:pt x="2989" y="88"/>
                    <a:pt x="2989" y="93"/>
                    <a:pt x="2988" y="98"/>
                  </a:cubicBezTo>
                  <a:cubicBezTo>
                    <a:pt x="2991" y="99"/>
                    <a:pt x="2994" y="101"/>
                    <a:pt x="2996" y="102"/>
                  </a:cubicBezTo>
                  <a:cubicBezTo>
                    <a:pt x="2996" y="102"/>
                    <a:pt x="2996" y="102"/>
                    <a:pt x="2996" y="102"/>
                  </a:cubicBezTo>
                  <a:cubicBezTo>
                    <a:pt x="2996" y="102"/>
                    <a:pt x="2996" y="102"/>
                    <a:pt x="2996" y="102"/>
                  </a:cubicBezTo>
                  <a:cubicBezTo>
                    <a:pt x="2996" y="102"/>
                    <a:pt x="2997" y="103"/>
                    <a:pt x="2998" y="103"/>
                  </a:cubicBezTo>
                  <a:cubicBezTo>
                    <a:pt x="3004" y="106"/>
                    <a:pt x="3009" y="109"/>
                    <a:pt x="3008" y="108"/>
                  </a:cubicBezTo>
                  <a:cubicBezTo>
                    <a:pt x="3008" y="108"/>
                    <a:pt x="3009" y="109"/>
                    <a:pt x="3009" y="109"/>
                  </a:cubicBezTo>
                  <a:cubicBezTo>
                    <a:pt x="3045" y="129"/>
                    <a:pt x="3153" y="189"/>
                    <a:pt x="3270" y="260"/>
                  </a:cubicBezTo>
                  <a:cubicBezTo>
                    <a:pt x="3341" y="304"/>
                    <a:pt x="3416" y="353"/>
                    <a:pt x="3479" y="399"/>
                  </a:cubicBezTo>
                  <a:cubicBezTo>
                    <a:pt x="3542" y="447"/>
                    <a:pt x="3594" y="490"/>
                    <a:pt x="3625" y="536"/>
                  </a:cubicBezTo>
                  <a:cubicBezTo>
                    <a:pt x="3716" y="677"/>
                    <a:pt x="3736" y="893"/>
                    <a:pt x="3737" y="1000"/>
                  </a:cubicBezTo>
                  <a:cubicBezTo>
                    <a:pt x="3737" y="1013"/>
                    <a:pt x="3737" y="1025"/>
                    <a:pt x="3736" y="1036"/>
                  </a:cubicBezTo>
                  <a:cubicBezTo>
                    <a:pt x="3730" y="1103"/>
                    <a:pt x="3721" y="1280"/>
                    <a:pt x="3719" y="1330"/>
                  </a:cubicBezTo>
                  <a:cubicBezTo>
                    <a:pt x="3742" y="1386"/>
                    <a:pt x="3765" y="1440"/>
                    <a:pt x="3785" y="1486"/>
                  </a:cubicBezTo>
                  <a:cubicBezTo>
                    <a:pt x="3809" y="1542"/>
                    <a:pt x="3830" y="1587"/>
                    <a:pt x="3839" y="1602"/>
                  </a:cubicBezTo>
                  <a:cubicBezTo>
                    <a:pt x="3862" y="1641"/>
                    <a:pt x="3889" y="1687"/>
                    <a:pt x="3917" y="1726"/>
                  </a:cubicBezTo>
                  <a:cubicBezTo>
                    <a:pt x="3944" y="1764"/>
                    <a:pt x="3975" y="1795"/>
                    <a:pt x="3988" y="1801"/>
                  </a:cubicBezTo>
                  <a:cubicBezTo>
                    <a:pt x="3997" y="1806"/>
                    <a:pt x="4022" y="1813"/>
                    <a:pt x="4050" y="1816"/>
                  </a:cubicBezTo>
                  <a:cubicBezTo>
                    <a:pt x="4079" y="1820"/>
                    <a:pt x="4113" y="1822"/>
                    <a:pt x="4144" y="1822"/>
                  </a:cubicBezTo>
                  <a:cubicBezTo>
                    <a:pt x="4167" y="1822"/>
                    <a:pt x="4189" y="1821"/>
                    <a:pt x="4208" y="1820"/>
                  </a:cubicBezTo>
                  <a:cubicBezTo>
                    <a:pt x="4210" y="1816"/>
                    <a:pt x="4211" y="1812"/>
                    <a:pt x="4213" y="1809"/>
                  </a:cubicBezTo>
                  <a:cubicBezTo>
                    <a:pt x="4576" y="733"/>
                    <a:pt x="4576" y="733"/>
                    <a:pt x="4576" y="733"/>
                  </a:cubicBezTo>
                  <a:cubicBezTo>
                    <a:pt x="4257" y="140"/>
                    <a:pt x="4257" y="140"/>
                    <a:pt x="4257" y="140"/>
                  </a:cubicBezTo>
                  <a:cubicBezTo>
                    <a:pt x="4271" y="0"/>
                    <a:pt x="4271" y="0"/>
                    <a:pt x="4271" y="0"/>
                  </a:cubicBezTo>
                  <a:cubicBezTo>
                    <a:pt x="4297" y="0"/>
                    <a:pt x="4297" y="0"/>
                    <a:pt x="4297" y="0"/>
                  </a:cubicBezTo>
                  <a:cubicBezTo>
                    <a:pt x="4284" y="134"/>
                    <a:pt x="4284" y="134"/>
                    <a:pt x="4284" y="134"/>
                  </a:cubicBezTo>
                  <a:cubicBezTo>
                    <a:pt x="4600" y="722"/>
                    <a:pt x="4600" y="722"/>
                    <a:pt x="4600" y="722"/>
                  </a:cubicBezTo>
                  <a:cubicBezTo>
                    <a:pt x="5081" y="1038"/>
                    <a:pt x="5081" y="1038"/>
                    <a:pt x="5081" y="1038"/>
                  </a:cubicBezTo>
                  <a:cubicBezTo>
                    <a:pt x="5086" y="1039"/>
                    <a:pt x="5092" y="1040"/>
                    <a:pt x="5097" y="1041"/>
                  </a:cubicBezTo>
                  <a:cubicBezTo>
                    <a:pt x="5030" y="459"/>
                    <a:pt x="5030" y="459"/>
                    <a:pt x="5030" y="459"/>
                  </a:cubicBezTo>
                  <a:cubicBezTo>
                    <a:pt x="5030" y="457"/>
                    <a:pt x="5030" y="457"/>
                    <a:pt x="5030" y="457"/>
                  </a:cubicBezTo>
                  <a:cubicBezTo>
                    <a:pt x="5030" y="457"/>
                    <a:pt x="5039" y="245"/>
                    <a:pt x="5043" y="0"/>
                  </a:cubicBezTo>
                  <a:cubicBezTo>
                    <a:pt x="5079" y="0"/>
                    <a:pt x="5079" y="0"/>
                    <a:pt x="5079" y="0"/>
                  </a:cubicBezTo>
                  <a:cubicBezTo>
                    <a:pt x="5078" y="53"/>
                    <a:pt x="5077" y="104"/>
                    <a:pt x="5076" y="152"/>
                  </a:cubicBezTo>
                  <a:cubicBezTo>
                    <a:pt x="5077" y="147"/>
                    <a:pt x="5077" y="147"/>
                    <a:pt x="5077" y="147"/>
                  </a:cubicBezTo>
                  <a:cubicBezTo>
                    <a:pt x="5077" y="147"/>
                    <a:pt x="5077" y="147"/>
                    <a:pt x="5077" y="147"/>
                  </a:cubicBezTo>
                  <a:cubicBezTo>
                    <a:pt x="5078" y="147"/>
                    <a:pt x="5283" y="202"/>
                    <a:pt x="5508" y="261"/>
                  </a:cubicBezTo>
                  <a:cubicBezTo>
                    <a:pt x="5732" y="320"/>
                    <a:pt x="5975" y="384"/>
                    <a:pt x="6048" y="400"/>
                  </a:cubicBezTo>
                  <a:cubicBezTo>
                    <a:pt x="6147" y="422"/>
                    <a:pt x="6256" y="456"/>
                    <a:pt x="6411" y="456"/>
                  </a:cubicBezTo>
                  <a:cubicBezTo>
                    <a:pt x="6485" y="456"/>
                    <a:pt x="6570" y="447"/>
                    <a:pt x="6668" y="427"/>
                  </a:cubicBezTo>
                  <a:cubicBezTo>
                    <a:pt x="6675" y="382"/>
                    <a:pt x="6702" y="222"/>
                    <a:pt x="6728" y="61"/>
                  </a:cubicBezTo>
                  <a:cubicBezTo>
                    <a:pt x="6732" y="41"/>
                    <a:pt x="6735" y="20"/>
                    <a:pt x="6738" y="0"/>
                  </a:cubicBezTo>
                  <a:cubicBezTo>
                    <a:pt x="6775" y="0"/>
                    <a:pt x="6775" y="0"/>
                    <a:pt x="6775" y="0"/>
                  </a:cubicBezTo>
                  <a:cubicBezTo>
                    <a:pt x="6770" y="27"/>
                    <a:pt x="6766" y="53"/>
                    <a:pt x="6762" y="80"/>
                  </a:cubicBezTo>
                  <a:cubicBezTo>
                    <a:pt x="6734" y="248"/>
                    <a:pt x="6707" y="411"/>
                    <a:pt x="6703" y="440"/>
                  </a:cubicBezTo>
                  <a:cubicBezTo>
                    <a:pt x="7225" y="1931"/>
                    <a:pt x="7225" y="1931"/>
                    <a:pt x="7225" y="1931"/>
                  </a:cubicBezTo>
                  <a:cubicBezTo>
                    <a:pt x="7232" y="1944"/>
                    <a:pt x="7232" y="1944"/>
                    <a:pt x="7232" y="1944"/>
                  </a:cubicBezTo>
                  <a:cubicBezTo>
                    <a:pt x="7282" y="1945"/>
                    <a:pt x="7329" y="1947"/>
                    <a:pt x="7372" y="1949"/>
                  </a:cubicBezTo>
                  <a:cubicBezTo>
                    <a:pt x="7557" y="1955"/>
                    <a:pt x="7680" y="1960"/>
                    <a:pt x="7680" y="1960"/>
                  </a:cubicBezTo>
                  <a:cubicBezTo>
                    <a:pt x="7681" y="1960"/>
                    <a:pt x="7682" y="1960"/>
                    <a:pt x="7683" y="1960"/>
                  </a:cubicBezTo>
                  <a:cubicBezTo>
                    <a:pt x="7692" y="1960"/>
                    <a:pt x="7725" y="1962"/>
                    <a:pt x="7765" y="1964"/>
                  </a:cubicBezTo>
                  <a:cubicBezTo>
                    <a:pt x="7771" y="1953"/>
                    <a:pt x="7771" y="1953"/>
                    <a:pt x="7771" y="1953"/>
                  </a:cubicBezTo>
                  <a:cubicBezTo>
                    <a:pt x="7862" y="1705"/>
                    <a:pt x="7862" y="1705"/>
                    <a:pt x="7862" y="1705"/>
                  </a:cubicBezTo>
                  <a:cubicBezTo>
                    <a:pt x="7785" y="998"/>
                    <a:pt x="7785" y="998"/>
                    <a:pt x="7785" y="998"/>
                  </a:cubicBezTo>
                  <a:cubicBezTo>
                    <a:pt x="7771" y="970"/>
                    <a:pt x="7658" y="745"/>
                    <a:pt x="7570" y="526"/>
                  </a:cubicBezTo>
                  <a:cubicBezTo>
                    <a:pt x="7530" y="427"/>
                    <a:pt x="7518" y="341"/>
                    <a:pt x="7518" y="275"/>
                  </a:cubicBezTo>
                  <a:cubicBezTo>
                    <a:pt x="7518" y="184"/>
                    <a:pt x="7541" y="130"/>
                    <a:pt x="7541" y="129"/>
                  </a:cubicBezTo>
                  <a:cubicBezTo>
                    <a:pt x="7542" y="128"/>
                    <a:pt x="7542" y="128"/>
                    <a:pt x="7542" y="128"/>
                  </a:cubicBezTo>
                  <a:cubicBezTo>
                    <a:pt x="7612" y="0"/>
                    <a:pt x="7612" y="0"/>
                    <a:pt x="7612" y="0"/>
                  </a:cubicBezTo>
                  <a:cubicBezTo>
                    <a:pt x="7650" y="0"/>
                    <a:pt x="7650" y="0"/>
                    <a:pt x="7650" y="0"/>
                  </a:cubicBezTo>
                  <a:cubicBezTo>
                    <a:pt x="7653" y="0"/>
                    <a:pt x="7653" y="0"/>
                    <a:pt x="7653" y="0"/>
                  </a:cubicBezTo>
                  <a:cubicBezTo>
                    <a:pt x="7720" y="0"/>
                    <a:pt x="7720" y="0"/>
                    <a:pt x="7720" y="0"/>
                  </a:cubicBezTo>
                  <a:cubicBezTo>
                    <a:pt x="8894" y="698"/>
                    <a:pt x="8894" y="698"/>
                    <a:pt x="8894" y="698"/>
                  </a:cubicBezTo>
                  <a:cubicBezTo>
                    <a:pt x="8904" y="684"/>
                    <a:pt x="8920" y="662"/>
                    <a:pt x="8938" y="635"/>
                  </a:cubicBezTo>
                  <a:cubicBezTo>
                    <a:pt x="9020" y="513"/>
                    <a:pt x="9162" y="294"/>
                    <a:pt x="9163" y="293"/>
                  </a:cubicBezTo>
                  <a:cubicBezTo>
                    <a:pt x="9168" y="285"/>
                    <a:pt x="9168" y="285"/>
                    <a:pt x="9168" y="285"/>
                  </a:cubicBezTo>
                  <a:cubicBezTo>
                    <a:pt x="9201" y="285"/>
                    <a:pt x="9201" y="285"/>
                    <a:pt x="9201" y="285"/>
                  </a:cubicBezTo>
                  <a:cubicBezTo>
                    <a:pt x="9184" y="0"/>
                    <a:pt x="9184" y="0"/>
                    <a:pt x="9184" y="0"/>
                  </a:cubicBezTo>
                  <a:cubicBezTo>
                    <a:pt x="9220" y="0"/>
                    <a:pt x="9220" y="0"/>
                    <a:pt x="9220" y="0"/>
                  </a:cubicBezTo>
                  <a:cubicBezTo>
                    <a:pt x="9237" y="286"/>
                    <a:pt x="9237" y="286"/>
                    <a:pt x="9237" y="286"/>
                  </a:cubicBezTo>
                  <a:cubicBezTo>
                    <a:pt x="9235" y="286"/>
                    <a:pt x="9235" y="286"/>
                    <a:pt x="9235" y="286"/>
                  </a:cubicBezTo>
                  <a:cubicBezTo>
                    <a:pt x="10217" y="300"/>
                    <a:pt x="10217" y="300"/>
                    <a:pt x="10217" y="300"/>
                  </a:cubicBezTo>
                  <a:cubicBezTo>
                    <a:pt x="10217" y="299"/>
                    <a:pt x="10217" y="299"/>
                    <a:pt x="10217" y="299"/>
                  </a:cubicBezTo>
                  <a:cubicBezTo>
                    <a:pt x="10241" y="280"/>
                    <a:pt x="10341" y="188"/>
                    <a:pt x="10341" y="14"/>
                  </a:cubicBezTo>
                  <a:cubicBezTo>
                    <a:pt x="10341" y="10"/>
                    <a:pt x="10340" y="5"/>
                    <a:pt x="10340" y="0"/>
                  </a:cubicBezTo>
                  <a:cubicBezTo>
                    <a:pt x="10376" y="0"/>
                    <a:pt x="10376" y="0"/>
                    <a:pt x="10376" y="0"/>
                  </a:cubicBezTo>
                  <a:cubicBezTo>
                    <a:pt x="10376" y="5"/>
                    <a:pt x="10377" y="10"/>
                    <a:pt x="10377" y="14"/>
                  </a:cubicBezTo>
                  <a:cubicBezTo>
                    <a:pt x="10377" y="200"/>
                    <a:pt x="10273" y="300"/>
                    <a:pt x="10242" y="326"/>
                  </a:cubicBezTo>
                  <a:cubicBezTo>
                    <a:pt x="10246" y="361"/>
                    <a:pt x="10258" y="491"/>
                    <a:pt x="10271" y="621"/>
                  </a:cubicBezTo>
                  <a:cubicBezTo>
                    <a:pt x="10279" y="698"/>
                    <a:pt x="10287" y="775"/>
                    <a:pt x="10292" y="833"/>
                  </a:cubicBezTo>
                  <a:cubicBezTo>
                    <a:pt x="10295" y="862"/>
                    <a:pt x="10297" y="886"/>
                    <a:pt x="10299" y="903"/>
                  </a:cubicBezTo>
                  <a:cubicBezTo>
                    <a:pt x="10299" y="906"/>
                    <a:pt x="10300" y="909"/>
                    <a:pt x="10300" y="911"/>
                  </a:cubicBezTo>
                  <a:cubicBezTo>
                    <a:pt x="11917" y="622"/>
                    <a:pt x="11917" y="622"/>
                    <a:pt x="11917" y="622"/>
                  </a:cubicBezTo>
                  <a:cubicBezTo>
                    <a:pt x="11798" y="69"/>
                    <a:pt x="11798" y="69"/>
                    <a:pt x="11798" y="69"/>
                  </a:cubicBezTo>
                  <a:cubicBezTo>
                    <a:pt x="11787" y="61"/>
                    <a:pt x="11765" y="42"/>
                    <a:pt x="11734" y="0"/>
                  </a:cubicBezTo>
                  <a:cubicBezTo>
                    <a:pt x="11780" y="0"/>
                    <a:pt x="11780" y="0"/>
                    <a:pt x="11780" y="0"/>
                  </a:cubicBezTo>
                  <a:cubicBezTo>
                    <a:pt x="11781" y="2"/>
                    <a:pt x="11783" y="3"/>
                    <a:pt x="11784" y="5"/>
                  </a:cubicBezTo>
                  <a:cubicBezTo>
                    <a:pt x="11787" y="0"/>
                    <a:pt x="11787" y="0"/>
                    <a:pt x="11787" y="0"/>
                  </a:cubicBezTo>
                  <a:cubicBezTo>
                    <a:pt x="11831" y="0"/>
                    <a:pt x="11831" y="0"/>
                    <a:pt x="11831" y="0"/>
                  </a:cubicBezTo>
                  <a:cubicBezTo>
                    <a:pt x="11809" y="31"/>
                    <a:pt x="11809" y="31"/>
                    <a:pt x="11809" y="31"/>
                  </a:cubicBezTo>
                  <a:cubicBezTo>
                    <a:pt x="11811" y="33"/>
                    <a:pt x="11813" y="35"/>
                    <a:pt x="11814" y="36"/>
                  </a:cubicBezTo>
                  <a:cubicBezTo>
                    <a:pt x="11818" y="39"/>
                    <a:pt x="11820" y="41"/>
                    <a:pt x="11821" y="42"/>
                  </a:cubicBezTo>
                  <a:cubicBezTo>
                    <a:pt x="11822" y="42"/>
                    <a:pt x="11822" y="42"/>
                    <a:pt x="11823" y="42"/>
                  </a:cubicBezTo>
                  <a:cubicBezTo>
                    <a:pt x="11823" y="42"/>
                    <a:pt x="11823" y="42"/>
                    <a:pt x="11823" y="42"/>
                  </a:cubicBezTo>
                  <a:cubicBezTo>
                    <a:pt x="11830" y="46"/>
                    <a:pt x="11830" y="46"/>
                    <a:pt x="11830" y="46"/>
                  </a:cubicBezTo>
                  <a:cubicBezTo>
                    <a:pt x="11958" y="643"/>
                    <a:pt x="11958" y="643"/>
                    <a:pt x="11958" y="643"/>
                  </a:cubicBezTo>
                  <a:cubicBezTo>
                    <a:pt x="12153" y="1922"/>
                    <a:pt x="12153" y="1922"/>
                    <a:pt x="12153" y="1922"/>
                  </a:cubicBezTo>
                  <a:cubicBezTo>
                    <a:pt x="13147" y="2315"/>
                    <a:pt x="13147" y="2315"/>
                    <a:pt x="13147" y="2315"/>
                  </a:cubicBezTo>
                  <a:cubicBezTo>
                    <a:pt x="13842" y="315"/>
                    <a:pt x="13842" y="315"/>
                    <a:pt x="13842" y="315"/>
                  </a:cubicBezTo>
                  <a:cubicBezTo>
                    <a:pt x="13363" y="263"/>
                    <a:pt x="13363" y="263"/>
                    <a:pt x="13363" y="263"/>
                  </a:cubicBezTo>
                  <a:cubicBezTo>
                    <a:pt x="12894" y="0"/>
                    <a:pt x="12894" y="0"/>
                    <a:pt x="12894" y="0"/>
                  </a:cubicBezTo>
                  <a:cubicBezTo>
                    <a:pt x="12967" y="0"/>
                    <a:pt x="12967" y="0"/>
                    <a:pt x="12967" y="0"/>
                  </a:cubicBezTo>
                  <a:cubicBezTo>
                    <a:pt x="13374" y="228"/>
                    <a:pt x="13374" y="228"/>
                    <a:pt x="13374" y="228"/>
                  </a:cubicBezTo>
                  <a:cubicBezTo>
                    <a:pt x="13842" y="279"/>
                    <a:pt x="13842" y="279"/>
                    <a:pt x="13842" y="279"/>
                  </a:cubicBezTo>
                  <a:cubicBezTo>
                    <a:pt x="13852" y="280"/>
                    <a:pt x="13852" y="280"/>
                    <a:pt x="13852" y="280"/>
                  </a:cubicBezTo>
                  <a:cubicBezTo>
                    <a:pt x="13848" y="240"/>
                    <a:pt x="13838" y="139"/>
                    <a:pt x="13825" y="0"/>
                  </a:cubicBezTo>
                  <a:cubicBezTo>
                    <a:pt x="13941" y="0"/>
                    <a:pt x="13941" y="0"/>
                    <a:pt x="13941" y="0"/>
                  </a:cubicBezTo>
                  <a:cubicBezTo>
                    <a:pt x="13941" y="7"/>
                    <a:pt x="13942" y="14"/>
                    <a:pt x="13942" y="20"/>
                  </a:cubicBezTo>
                  <a:cubicBezTo>
                    <a:pt x="13958" y="184"/>
                    <a:pt x="13968" y="288"/>
                    <a:pt x="13968" y="288"/>
                  </a:cubicBezTo>
                  <a:cubicBezTo>
                    <a:pt x="13968" y="292"/>
                    <a:pt x="13968" y="292"/>
                    <a:pt x="13968" y="292"/>
                  </a:cubicBezTo>
                  <a:cubicBezTo>
                    <a:pt x="13970" y="292"/>
                    <a:pt x="13973" y="293"/>
                    <a:pt x="13975" y="294"/>
                  </a:cubicBezTo>
                  <a:cubicBezTo>
                    <a:pt x="14422" y="342"/>
                    <a:pt x="14422" y="342"/>
                    <a:pt x="14422" y="342"/>
                  </a:cubicBezTo>
                  <a:cubicBezTo>
                    <a:pt x="14423" y="342"/>
                    <a:pt x="14429" y="342"/>
                    <a:pt x="14434" y="347"/>
                  </a:cubicBezTo>
                  <a:cubicBezTo>
                    <a:pt x="14443" y="352"/>
                    <a:pt x="14481" y="372"/>
                    <a:pt x="14537" y="399"/>
                  </a:cubicBezTo>
                  <a:cubicBezTo>
                    <a:pt x="14660" y="460"/>
                    <a:pt x="14878" y="567"/>
                    <a:pt x="15126" y="694"/>
                  </a:cubicBezTo>
                  <a:cubicBezTo>
                    <a:pt x="15116" y="646"/>
                    <a:pt x="15066" y="458"/>
                    <a:pt x="15005" y="237"/>
                  </a:cubicBezTo>
                  <a:cubicBezTo>
                    <a:pt x="14984" y="161"/>
                    <a:pt x="14962" y="81"/>
                    <a:pt x="14940" y="0"/>
                  </a:cubicBezTo>
                  <a:cubicBezTo>
                    <a:pt x="14977" y="0"/>
                    <a:pt x="14977" y="0"/>
                    <a:pt x="14977" y="0"/>
                  </a:cubicBezTo>
                  <a:cubicBezTo>
                    <a:pt x="14998" y="77"/>
                    <a:pt x="15020" y="154"/>
                    <a:pt x="15040" y="227"/>
                  </a:cubicBezTo>
                  <a:cubicBezTo>
                    <a:pt x="15105" y="465"/>
                    <a:pt x="15158" y="658"/>
                    <a:pt x="15163" y="696"/>
                  </a:cubicBezTo>
                  <a:cubicBezTo>
                    <a:pt x="15138" y="700"/>
                    <a:pt x="15138" y="700"/>
                    <a:pt x="15138" y="700"/>
                  </a:cubicBezTo>
                  <a:cubicBezTo>
                    <a:pt x="15262" y="763"/>
                    <a:pt x="15394" y="831"/>
                    <a:pt x="15525" y="901"/>
                  </a:cubicBezTo>
                  <a:cubicBezTo>
                    <a:pt x="15765" y="1029"/>
                    <a:pt x="16004" y="1171"/>
                    <a:pt x="16193" y="1283"/>
                  </a:cubicBezTo>
                  <a:cubicBezTo>
                    <a:pt x="16825" y="1657"/>
                    <a:pt x="17295" y="2204"/>
                    <a:pt x="17296" y="2205"/>
                  </a:cubicBezTo>
                  <a:cubicBezTo>
                    <a:pt x="17331" y="2243"/>
                    <a:pt x="17374" y="2293"/>
                    <a:pt x="17429" y="2349"/>
                  </a:cubicBezTo>
                  <a:cubicBezTo>
                    <a:pt x="17495" y="2296"/>
                    <a:pt x="17655" y="2168"/>
                    <a:pt x="17832" y="2023"/>
                  </a:cubicBezTo>
                  <a:cubicBezTo>
                    <a:pt x="17889" y="1977"/>
                    <a:pt x="17947" y="1930"/>
                    <a:pt x="18004" y="1883"/>
                  </a:cubicBezTo>
                  <a:lnTo>
                    <a:pt x="18004" y="1930"/>
                  </a:lnTo>
                  <a:close/>
                  <a:moveTo>
                    <a:pt x="2922" y="287"/>
                  </a:moveTo>
                  <a:cubicBezTo>
                    <a:pt x="2941" y="297"/>
                    <a:pt x="2941" y="297"/>
                    <a:pt x="2941" y="297"/>
                  </a:cubicBezTo>
                  <a:cubicBezTo>
                    <a:pt x="2941" y="297"/>
                    <a:pt x="2941" y="297"/>
                    <a:pt x="2941" y="297"/>
                  </a:cubicBezTo>
                  <a:cubicBezTo>
                    <a:pt x="2974" y="313"/>
                    <a:pt x="3021" y="335"/>
                    <a:pt x="3070" y="359"/>
                  </a:cubicBezTo>
                  <a:cubicBezTo>
                    <a:pt x="3116" y="381"/>
                    <a:pt x="3163" y="404"/>
                    <a:pt x="3203" y="424"/>
                  </a:cubicBezTo>
                  <a:cubicBezTo>
                    <a:pt x="3243" y="445"/>
                    <a:pt x="3273" y="461"/>
                    <a:pt x="3293" y="474"/>
                  </a:cubicBezTo>
                  <a:cubicBezTo>
                    <a:pt x="3359" y="518"/>
                    <a:pt x="3407" y="581"/>
                    <a:pt x="3446" y="654"/>
                  </a:cubicBezTo>
                  <a:cubicBezTo>
                    <a:pt x="3468" y="693"/>
                    <a:pt x="3494" y="756"/>
                    <a:pt x="3520" y="822"/>
                  </a:cubicBezTo>
                  <a:cubicBezTo>
                    <a:pt x="3546" y="887"/>
                    <a:pt x="3570" y="951"/>
                    <a:pt x="3582" y="988"/>
                  </a:cubicBezTo>
                  <a:cubicBezTo>
                    <a:pt x="3587" y="1001"/>
                    <a:pt x="3599" y="1033"/>
                    <a:pt x="3616" y="1076"/>
                  </a:cubicBezTo>
                  <a:cubicBezTo>
                    <a:pt x="3618" y="1057"/>
                    <a:pt x="3620" y="1040"/>
                    <a:pt x="3621" y="1026"/>
                  </a:cubicBezTo>
                  <a:cubicBezTo>
                    <a:pt x="3622" y="1020"/>
                    <a:pt x="3622" y="1011"/>
                    <a:pt x="3622" y="1000"/>
                  </a:cubicBezTo>
                  <a:cubicBezTo>
                    <a:pt x="3624" y="910"/>
                    <a:pt x="3597" y="697"/>
                    <a:pt x="3529" y="599"/>
                  </a:cubicBezTo>
                  <a:cubicBezTo>
                    <a:pt x="3516" y="578"/>
                    <a:pt x="3469" y="535"/>
                    <a:pt x="3411" y="492"/>
                  </a:cubicBezTo>
                  <a:cubicBezTo>
                    <a:pt x="3322" y="426"/>
                    <a:pt x="3204" y="353"/>
                    <a:pt x="3109" y="298"/>
                  </a:cubicBezTo>
                  <a:cubicBezTo>
                    <a:pt x="3044" y="260"/>
                    <a:pt x="2991" y="230"/>
                    <a:pt x="2963" y="215"/>
                  </a:cubicBezTo>
                  <a:cubicBezTo>
                    <a:pt x="2952" y="241"/>
                    <a:pt x="2938" y="265"/>
                    <a:pt x="2922" y="287"/>
                  </a:cubicBezTo>
                  <a:close/>
                  <a:moveTo>
                    <a:pt x="2319" y="1717"/>
                  </a:moveTo>
                  <a:cubicBezTo>
                    <a:pt x="2309" y="1660"/>
                    <a:pt x="2303" y="1605"/>
                    <a:pt x="2300" y="1578"/>
                  </a:cubicBezTo>
                  <a:cubicBezTo>
                    <a:pt x="2300" y="1574"/>
                    <a:pt x="2300" y="1570"/>
                    <a:pt x="2300" y="1566"/>
                  </a:cubicBezTo>
                  <a:cubicBezTo>
                    <a:pt x="2299" y="1508"/>
                    <a:pt x="2338" y="1436"/>
                    <a:pt x="2440" y="1408"/>
                  </a:cubicBezTo>
                  <a:cubicBezTo>
                    <a:pt x="2533" y="1382"/>
                    <a:pt x="2730" y="1357"/>
                    <a:pt x="2851" y="1357"/>
                  </a:cubicBezTo>
                  <a:cubicBezTo>
                    <a:pt x="2867" y="1357"/>
                    <a:pt x="2882" y="1357"/>
                    <a:pt x="2895" y="1358"/>
                  </a:cubicBezTo>
                  <a:cubicBezTo>
                    <a:pt x="3007" y="1366"/>
                    <a:pt x="3060" y="1427"/>
                    <a:pt x="3089" y="1487"/>
                  </a:cubicBezTo>
                  <a:cubicBezTo>
                    <a:pt x="3113" y="1535"/>
                    <a:pt x="3123" y="1617"/>
                    <a:pt x="3123" y="1682"/>
                  </a:cubicBezTo>
                  <a:cubicBezTo>
                    <a:pt x="3123" y="1703"/>
                    <a:pt x="3122" y="1722"/>
                    <a:pt x="3120" y="1738"/>
                  </a:cubicBezTo>
                  <a:cubicBezTo>
                    <a:pt x="3117" y="1753"/>
                    <a:pt x="3110" y="1770"/>
                    <a:pt x="3100" y="1787"/>
                  </a:cubicBezTo>
                  <a:cubicBezTo>
                    <a:pt x="3108" y="1792"/>
                    <a:pt x="3160" y="1811"/>
                    <a:pt x="3220" y="1830"/>
                  </a:cubicBezTo>
                  <a:cubicBezTo>
                    <a:pt x="3281" y="1849"/>
                    <a:pt x="3352" y="1867"/>
                    <a:pt x="3402" y="1873"/>
                  </a:cubicBezTo>
                  <a:cubicBezTo>
                    <a:pt x="3407" y="1873"/>
                    <a:pt x="3412" y="1873"/>
                    <a:pt x="3419" y="1873"/>
                  </a:cubicBezTo>
                  <a:cubicBezTo>
                    <a:pt x="3479" y="1874"/>
                    <a:pt x="3586" y="1848"/>
                    <a:pt x="3677" y="1823"/>
                  </a:cubicBezTo>
                  <a:cubicBezTo>
                    <a:pt x="3724" y="1809"/>
                    <a:pt x="3766" y="1796"/>
                    <a:pt x="3796" y="1787"/>
                  </a:cubicBezTo>
                  <a:cubicBezTo>
                    <a:pt x="3812" y="1775"/>
                    <a:pt x="3812" y="1775"/>
                    <a:pt x="3812" y="1775"/>
                  </a:cubicBezTo>
                  <a:cubicBezTo>
                    <a:pt x="3785" y="1736"/>
                    <a:pt x="3760" y="1694"/>
                    <a:pt x="3740" y="1659"/>
                  </a:cubicBezTo>
                  <a:cubicBezTo>
                    <a:pt x="3725" y="1634"/>
                    <a:pt x="3705" y="1590"/>
                    <a:pt x="3680" y="1532"/>
                  </a:cubicBezTo>
                  <a:cubicBezTo>
                    <a:pt x="3605" y="1360"/>
                    <a:pt x="3494" y="1083"/>
                    <a:pt x="3474" y="1026"/>
                  </a:cubicBezTo>
                  <a:cubicBezTo>
                    <a:pt x="3462" y="991"/>
                    <a:pt x="3438" y="927"/>
                    <a:pt x="3413" y="864"/>
                  </a:cubicBezTo>
                  <a:cubicBezTo>
                    <a:pt x="3389" y="801"/>
                    <a:pt x="3361" y="737"/>
                    <a:pt x="3346" y="709"/>
                  </a:cubicBezTo>
                  <a:cubicBezTo>
                    <a:pt x="3311" y="646"/>
                    <a:pt x="3274" y="599"/>
                    <a:pt x="3229" y="569"/>
                  </a:cubicBezTo>
                  <a:cubicBezTo>
                    <a:pt x="3221" y="563"/>
                    <a:pt x="3189" y="546"/>
                    <a:pt x="3151" y="527"/>
                  </a:cubicBezTo>
                  <a:cubicBezTo>
                    <a:pt x="3035" y="468"/>
                    <a:pt x="2847" y="380"/>
                    <a:pt x="2846" y="380"/>
                  </a:cubicBezTo>
                  <a:cubicBezTo>
                    <a:pt x="2847" y="378"/>
                    <a:pt x="2847" y="378"/>
                    <a:pt x="2847" y="378"/>
                  </a:cubicBezTo>
                  <a:cubicBezTo>
                    <a:pt x="2835" y="372"/>
                    <a:pt x="2835" y="372"/>
                    <a:pt x="2835" y="372"/>
                  </a:cubicBezTo>
                  <a:cubicBezTo>
                    <a:pt x="2834" y="371"/>
                    <a:pt x="2834" y="371"/>
                    <a:pt x="2834" y="371"/>
                  </a:cubicBezTo>
                  <a:cubicBezTo>
                    <a:pt x="2780" y="407"/>
                    <a:pt x="2714" y="429"/>
                    <a:pt x="2644" y="429"/>
                  </a:cubicBezTo>
                  <a:cubicBezTo>
                    <a:pt x="2597" y="429"/>
                    <a:pt x="2552" y="419"/>
                    <a:pt x="2511" y="402"/>
                  </a:cubicBezTo>
                  <a:cubicBezTo>
                    <a:pt x="2505" y="409"/>
                    <a:pt x="2499" y="418"/>
                    <a:pt x="2499" y="418"/>
                  </a:cubicBezTo>
                  <a:cubicBezTo>
                    <a:pt x="2499" y="418"/>
                    <a:pt x="2499" y="418"/>
                    <a:pt x="2498" y="418"/>
                  </a:cubicBezTo>
                  <a:cubicBezTo>
                    <a:pt x="2470" y="455"/>
                    <a:pt x="2390" y="560"/>
                    <a:pt x="2300" y="673"/>
                  </a:cubicBezTo>
                  <a:cubicBezTo>
                    <a:pt x="2244" y="743"/>
                    <a:pt x="2185" y="815"/>
                    <a:pt x="2132" y="876"/>
                  </a:cubicBezTo>
                  <a:cubicBezTo>
                    <a:pt x="2079" y="937"/>
                    <a:pt x="2035" y="985"/>
                    <a:pt x="1999" y="1012"/>
                  </a:cubicBezTo>
                  <a:cubicBezTo>
                    <a:pt x="1962" y="1040"/>
                    <a:pt x="1899" y="1070"/>
                    <a:pt x="1815" y="1109"/>
                  </a:cubicBezTo>
                  <a:cubicBezTo>
                    <a:pt x="1565" y="1222"/>
                    <a:pt x="1141" y="1384"/>
                    <a:pt x="966" y="1453"/>
                  </a:cubicBezTo>
                  <a:cubicBezTo>
                    <a:pt x="851" y="1499"/>
                    <a:pt x="708" y="1561"/>
                    <a:pt x="595" y="1611"/>
                  </a:cubicBezTo>
                  <a:cubicBezTo>
                    <a:pt x="576" y="1620"/>
                    <a:pt x="558" y="1628"/>
                    <a:pt x="540" y="1635"/>
                  </a:cubicBezTo>
                  <a:cubicBezTo>
                    <a:pt x="542" y="1654"/>
                    <a:pt x="542" y="1654"/>
                    <a:pt x="542" y="1654"/>
                  </a:cubicBezTo>
                  <a:cubicBezTo>
                    <a:pt x="574" y="1723"/>
                    <a:pt x="656" y="1903"/>
                    <a:pt x="751" y="2113"/>
                  </a:cubicBezTo>
                  <a:lnTo>
                    <a:pt x="2319" y="1717"/>
                  </a:lnTo>
                  <a:close/>
                  <a:moveTo>
                    <a:pt x="3090" y="1803"/>
                  </a:moveTo>
                  <a:cubicBezTo>
                    <a:pt x="3090" y="1803"/>
                    <a:pt x="3090" y="1803"/>
                    <a:pt x="3090" y="1803"/>
                  </a:cubicBezTo>
                  <a:cubicBezTo>
                    <a:pt x="3094" y="1818"/>
                    <a:pt x="3094" y="1818"/>
                    <a:pt x="3094" y="1818"/>
                  </a:cubicBezTo>
                  <a:lnTo>
                    <a:pt x="3090" y="1803"/>
                  </a:lnTo>
                  <a:close/>
                  <a:moveTo>
                    <a:pt x="2929" y="1882"/>
                  </a:moveTo>
                  <a:cubicBezTo>
                    <a:pt x="2972" y="1866"/>
                    <a:pt x="3010" y="1839"/>
                    <a:pt x="3038" y="1809"/>
                  </a:cubicBezTo>
                  <a:cubicBezTo>
                    <a:pt x="3066" y="1780"/>
                    <a:pt x="3082" y="1749"/>
                    <a:pt x="3084" y="1733"/>
                  </a:cubicBezTo>
                  <a:cubicBezTo>
                    <a:pt x="3102" y="1735"/>
                    <a:pt x="3102" y="1735"/>
                    <a:pt x="3102" y="1735"/>
                  </a:cubicBezTo>
                  <a:cubicBezTo>
                    <a:pt x="3084" y="1733"/>
                    <a:pt x="3084" y="1733"/>
                    <a:pt x="3084" y="1733"/>
                  </a:cubicBezTo>
                  <a:cubicBezTo>
                    <a:pt x="3086" y="1719"/>
                    <a:pt x="3087" y="1701"/>
                    <a:pt x="3087" y="1682"/>
                  </a:cubicBezTo>
                  <a:cubicBezTo>
                    <a:pt x="3087" y="1621"/>
                    <a:pt x="3076" y="1540"/>
                    <a:pt x="3057" y="1503"/>
                  </a:cubicBezTo>
                  <a:cubicBezTo>
                    <a:pt x="3029" y="1448"/>
                    <a:pt x="2992" y="1403"/>
                    <a:pt x="2892" y="1394"/>
                  </a:cubicBezTo>
                  <a:cubicBezTo>
                    <a:pt x="2880" y="1393"/>
                    <a:pt x="2866" y="1393"/>
                    <a:pt x="2851" y="1393"/>
                  </a:cubicBezTo>
                  <a:cubicBezTo>
                    <a:pt x="2735" y="1393"/>
                    <a:pt x="2537" y="1418"/>
                    <a:pt x="2450" y="1443"/>
                  </a:cubicBezTo>
                  <a:cubicBezTo>
                    <a:pt x="2360" y="1468"/>
                    <a:pt x="2337" y="1522"/>
                    <a:pt x="2336" y="1566"/>
                  </a:cubicBezTo>
                  <a:cubicBezTo>
                    <a:pt x="2336" y="1570"/>
                    <a:pt x="2336" y="1572"/>
                    <a:pt x="2336" y="1575"/>
                  </a:cubicBezTo>
                  <a:cubicBezTo>
                    <a:pt x="2340" y="1626"/>
                    <a:pt x="2366" y="1804"/>
                    <a:pt x="2388" y="1850"/>
                  </a:cubicBezTo>
                  <a:cubicBezTo>
                    <a:pt x="2406" y="1891"/>
                    <a:pt x="2457" y="1918"/>
                    <a:pt x="2531" y="1918"/>
                  </a:cubicBezTo>
                  <a:cubicBezTo>
                    <a:pt x="2536" y="1918"/>
                    <a:pt x="2541" y="1918"/>
                    <a:pt x="2546" y="1917"/>
                  </a:cubicBezTo>
                  <a:cubicBezTo>
                    <a:pt x="2632" y="1913"/>
                    <a:pt x="2841" y="1913"/>
                    <a:pt x="2929" y="1882"/>
                  </a:cubicBezTo>
                  <a:close/>
                  <a:moveTo>
                    <a:pt x="3832" y="2346"/>
                  </a:moveTo>
                  <a:cubicBezTo>
                    <a:pt x="4009" y="2305"/>
                    <a:pt x="4181" y="2187"/>
                    <a:pt x="4308" y="2079"/>
                  </a:cubicBezTo>
                  <a:cubicBezTo>
                    <a:pt x="4370" y="2027"/>
                    <a:pt x="4420" y="1977"/>
                    <a:pt x="4457" y="1939"/>
                  </a:cubicBezTo>
                  <a:cubicBezTo>
                    <a:pt x="4459" y="1921"/>
                    <a:pt x="4459" y="1921"/>
                    <a:pt x="4459" y="1921"/>
                  </a:cubicBezTo>
                  <a:cubicBezTo>
                    <a:pt x="4352" y="1926"/>
                    <a:pt x="4256" y="1931"/>
                    <a:pt x="4230" y="1933"/>
                  </a:cubicBezTo>
                  <a:cubicBezTo>
                    <a:pt x="4206" y="1935"/>
                    <a:pt x="4176" y="1937"/>
                    <a:pt x="4144" y="1937"/>
                  </a:cubicBezTo>
                  <a:cubicBezTo>
                    <a:pt x="4109" y="1937"/>
                    <a:pt x="4071" y="1935"/>
                    <a:pt x="4035" y="1930"/>
                  </a:cubicBezTo>
                  <a:cubicBezTo>
                    <a:pt x="3999" y="1925"/>
                    <a:pt x="3966" y="1918"/>
                    <a:pt x="3935" y="1902"/>
                  </a:cubicBezTo>
                  <a:cubicBezTo>
                    <a:pt x="3896" y="1881"/>
                    <a:pt x="3867" y="1849"/>
                    <a:pt x="3839" y="1813"/>
                  </a:cubicBezTo>
                  <a:cubicBezTo>
                    <a:pt x="3835" y="1813"/>
                    <a:pt x="3831" y="1814"/>
                    <a:pt x="3826" y="1815"/>
                  </a:cubicBezTo>
                  <a:cubicBezTo>
                    <a:pt x="3748" y="1840"/>
                    <a:pt x="3529" y="1909"/>
                    <a:pt x="3419" y="1909"/>
                  </a:cubicBezTo>
                  <a:cubicBezTo>
                    <a:pt x="3411" y="1909"/>
                    <a:pt x="3404" y="1909"/>
                    <a:pt x="3398" y="1908"/>
                  </a:cubicBezTo>
                  <a:cubicBezTo>
                    <a:pt x="3340" y="1902"/>
                    <a:pt x="3262" y="1881"/>
                    <a:pt x="3197" y="1861"/>
                  </a:cubicBezTo>
                  <a:cubicBezTo>
                    <a:pt x="3165" y="1850"/>
                    <a:pt x="3136" y="1840"/>
                    <a:pt x="3115" y="1832"/>
                  </a:cubicBezTo>
                  <a:cubicBezTo>
                    <a:pt x="3105" y="1829"/>
                    <a:pt x="3097" y="1825"/>
                    <a:pt x="3090" y="1822"/>
                  </a:cubicBezTo>
                  <a:cubicBezTo>
                    <a:pt x="3087" y="1821"/>
                    <a:pt x="3085" y="1820"/>
                    <a:pt x="3082" y="1819"/>
                  </a:cubicBezTo>
                  <a:cubicBezTo>
                    <a:pt x="3081" y="1818"/>
                    <a:pt x="3080" y="1817"/>
                    <a:pt x="3079" y="1816"/>
                  </a:cubicBezTo>
                  <a:cubicBezTo>
                    <a:pt x="3074" y="1822"/>
                    <a:pt x="3070" y="1828"/>
                    <a:pt x="3064" y="1834"/>
                  </a:cubicBezTo>
                  <a:cubicBezTo>
                    <a:pt x="3033" y="1867"/>
                    <a:pt x="2991" y="1898"/>
                    <a:pt x="2940" y="1916"/>
                  </a:cubicBezTo>
                  <a:cubicBezTo>
                    <a:pt x="2896" y="1931"/>
                    <a:pt x="2830" y="1939"/>
                    <a:pt x="2763" y="1944"/>
                  </a:cubicBezTo>
                  <a:cubicBezTo>
                    <a:pt x="2868" y="2442"/>
                    <a:pt x="2868" y="2442"/>
                    <a:pt x="2868" y="2442"/>
                  </a:cubicBezTo>
                  <a:cubicBezTo>
                    <a:pt x="2868" y="2442"/>
                    <a:pt x="2869" y="2442"/>
                    <a:pt x="2869" y="2442"/>
                  </a:cubicBezTo>
                  <a:cubicBezTo>
                    <a:pt x="2944" y="2436"/>
                    <a:pt x="3240" y="2414"/>
                    <a:pt x="3484" y="2391"/>
                  </a:cubicBezTo>
                  <a:cubicBezTo>
                    <a:pt x="3640" y="2376"/>
                    <a:pt x="3706" y="2376"/>
                    <a:pt x="3832" y="2346"/>
                  </a:cubicBezTo>
                  <a:close/>
                  <a:moveTo>
                    <a:pt x="4789" y="1905"/>
                  </a:moveTo>
                  <a:cubicBezTo>
                    <a:pt x="4737" y="1907"/>
                    <a:pt x="4651" y="1911"/>
                    <a:pt x="4562" y="1916"/>
                  </a:cubicBezTo>
                  <a:cubicBezTo>
                    <a:pt x="4551" y="1916"/>
                    <a:pt x="4541" y="1917"/>
                    <a:pt x="4530" y="1917"/>
                  </a:cubicBezTo>
                  <a:cubicBezTo>
                    <a:pt x="4516" y="1929"/>
                    <a:pt x="4516" y="1929"/>
                    <a:pt x="4516" y="1929"/>
                  </a:cubicBezTo>
                  <a:cubicBezTo>
                    <a:pt x="4429" y="2023"/>
                    <a:pt x="4150" y="2308"/>
                    <a:pt x="3840" y="2381"/>
                  </a:cubicBezTo>
                  <a:cubicBezTo>
                    <a:pt x="3821" y="2386"/>
                    <a:pt x="3803" y="2390"/>
                    <a:pt x="3786" y="2393"/>
                  </a:cubicBezTo>
                  <a:cubicBezTo>
                    <a:pt x="3876" y="2798"/>
                    <a:pt x="3876" y="2798"/>
                    <a:pt x="3876" y="2798"/>
                  </a:cubicBezTo>
                  <a:cubicBezTo>
                    <a:pt x="4176" y="2804"/>
                    <a:pt x="4517" y="2960"/>
                    <a:pt x="4628" y="3015"/>
                  </a:cubicBezTo>
                  <a:cubicBezTo>
                    <a:pt x="4647" y="3019"/>
                    <a:pt x="4647" y="3019"/>
                    <a:pt x="4647" y="3019"/>
                  </a:cubicBezTo>
                  <a:lnTo>
                    <a:pt x="4789" y="1905"/>
                  </a:lnTo>
                  <a:close/>
                  <a:moveTo>
                    <a:pt x="5064" y="1745"/>
                  </a:moveTo>
                  <a:cubicBezTo>
                    <a:pt x="5066" y="1737"/>
                    <a:pt x="5068" y="1724"/>
                    <a:pt x="5069" y="1718"/>
                  </a:cubicBezTo>
                  <a:cubicBezTo>
                    <a:pt x="5108" y="1136"/>
                    <a:pt x="5108" y="1136"/>
                    <a:pt x="5108" y="1136"/>
                  </a:cubicBezTo>
                  <a:cubicBezTo>
                    <a:pt x="5102" y="1083"/>
                    <a:pt x="5102" y="1083"/>
                    <a:pt x="5102" y="1083"/>
                  </a:cubicBezTo>
                  <a:cubicBezTo>
                    <a:pt x="4597" y="752"/>
                    <a:pt x="4597" y="752"/>
                    <a:pt x="4597" y="752"/>
                  </a:cubicBezTo>
                  <a:cubicBezTo>
                    <a:pt x="4244" y="1801"/>
                    <a:pt x="4244" y="1801"/>
                    <a:pt x="4244" y="1801"/>
                  </a:cubicBezTo>
                  <a:cubicBezTo>
                    <a:pt x="4242" y="1817"/>
                    <a:pt x="4242" y="1817"/>
                    <a:pt x="4242" y="1817"/>
                  </a:cubicBezTo>
                  <a:cubicBezTo>
                    <a:pt x="4360" y="1810"/>
                    <a:pt x="4786" y="1790"/>
                    <a:pt x="4830" y="1788"/>
                  </a:cubicBezTo>
                  <a:lnTo>
                    <a:pt x="5064" y="1745"/>
                  </a:lnTo>
                  <a:close/>
                  <a:moveTo>
                    <a:pt x="7186" y="1942"/>
                  </a:moveTo>
                  <a:cubicBezTo>
                    <a:pt x="7185" y="1926"/>
                    <a:pt x="7185" y="1926"/>
                    <a:pt x="7185" y="1926"/>
                  </a:cubicBezTo>
                  <a:cubicBezTo>
                    <a:pt x="6672" y="463"/>
                    <a:pt x="6672" y="463"/>
                    <a:pt x="6672" y="463"/>
                  </a:cubicBezTo>
                  <a:cubicBezTo>
                    <a:pt x="6573" y="483"/>
                    <a:pt x="6487" y="492"/>
                    <a:pt x="6411" y="492"/>
                  </a:cubicBezTo>
                  <a:cubicBezTo>
                    <a:pt x="6411" y="492"/>
                    <a:pt x="6411" y="492"/>
                    <a:pt x="6411" y="492"/>
                  </a:cubicBezTo>
                  <a:cubicBezTo>
                    <a:pt x="6251" y="492"/>
                    <a:pt x="6137" y="456"/>
                    <a:pt x="6040" y="435"/>
                  </a:cubicBezTo>
                  <a:cubicBezTo>
                    <a:pt x="5900" y="404"/>
                    <a:pt x="5154" y="205"/>
                    <a:pt x="5075" y="184"/>
                  </a:cubicBezTo>
                  <a:cubicBezTo>
                    <a:pt x="5071" y="333"/>
                    <a:pt x="5067" y="444"/>
                    <a:pt x="5066" y="458"/>
                  </a:cubicBezTo>
                  <a:cubicBezTo>
                    <a:pt x="5144" y="1135"/>
                    <a:pt x="5144" y="1135"/>
                    <a:pt x="5144" y="1135"/>
                  </a:cubicBezTo>
                  <a:cubicBezTo>
                    <a:pt x="5105" y="1731"/>
                    <a:pt x="5105" y="1731"/>
                    <a:pt x="5105" y="1731"/>
                  </a:cubicBezTo>
                  <a:cubicBezTo>
                    <a:pt x="5108" y="1752"/>
                    <a:pt x="5108" y="1752"/>
                    <a:pt x="5108" y="1752"/>
                  </a:cubicBezTo>
                  <a:cubicBezTo>
                    <a:pt x="5163" y="1764"/>
                    <a:pt x="5297" y="1794"/>
                    <a:pt x="5426" y="1823"/>
                  </a:cubicBezTo>
                  <a:cubicBezTo>
                    <a:pt x="5500" y="1840"/>
                    <a:pt x="5573" y="1857"/>
                    <a:pt x="5628" y="1869"/>
                  </a:cubicBezTo>
                  <a:cubicBezTo>
                    <a:pt x="5655" y="1875"/>
                    <a:pt x="5678" y="1881"/>
                    <a:pt x="5694" y="1884"/>
                  </a:cubicBezTo>
                  <a:cubicBezTo>
                    <a:pt x="5702" y="1886"/>
                    <a:pt x="5708" y="1888"/>
                    <a:pt x="5713" y="1889"/>
                  </a:cubicBezTo>
                  <a:cubicBezTo>
                    <a:pt x="5714" y="1889"/>
                    <a:pt x="5715" y="1889"/>
                    <a:pt x="5715" y="1890"/>
                  </a:cubicBezTo>
                  <a:cubicBezTo>
                    <a:pt x="5777" y="1892"/>
                    <a:pt x="6235" y="1908"/>
                    <a:pt x="6694" y="1924"/>
                  </a:cubicBezTo>
                  <a:cubicBezTo>
                    <a:pt x="6865" y="1931"/>
                    <a:pt x="7036" y="1937"/>
                    <a:pt x="7186" y="1942"/>
                  </a:cubicBezTo>
                  <a:close/>
                  <a:moveTo>
                    <a:pt x="8904" y="889"/>
                  </a:moveTo>
                  <a:cubicBezTo>
                    <a:pt x="8905" y="889"/>
                    <a:pt x="8905" y="889"/>
                    <a:pt x="8905" y="889"/>
                  </a:cubicBezTo>
                  <a:cubicBezTo>
                    <a:pt x="8905" y="889"/>
                    <a:pt x="8905" y="889"/>
                    <a:pt x="8905" y="889"/>
                  </a:cubicBezTo>
                  <a:lnTo>
                    <a:pt x="8904" y="889"/>
                  </a:lnTo>
                  <a:close/>
                  <a:moveTo>
                    <a:pt x="8903" y="895"/>
                  </a:moveTo>
                  <a:cubicBezTo>
                    <a:pt x="8905" y="895"/>
                    <a:pt x="8905" y="895"/>
                    <a:pt x="8905" y="895"/>
                  </a:cubicBezTo>
                  <a:cubicBezTo>
                    <a:pt x="8905" y="895"/>
                    <a:pt x="8905" y="895"/>
                    <a:pt x="8905" y="895"/>
                  </a:cubicBezTo>
                  <a:lnTo>
                    <a:pt x="8903" y="895"/>
                  </a:lnTo>
                  <a:close/>
                  <a:moveTo>
                    <a:pt x="7813" y="974"/>
                  </a:moveTo>
                  <a:cubicBezTo>
                    <a:pt x="7925" y="963"/>
                    <a:pt x="8770" y="883"/>
                    <a:pt x="8903" y="877"/>
                  </a:cubicBezTo>
                  <a:cubicBezTo>
                    <a:pt x="8894" y="806"/>
                    <a:pt x="8887" y="754"/>
                    <a:pt x="8885" y="734"/>
                  </a:cubicBezTo>
                  <a:cubicBezTo>
                    <a:pt x="7652" y="2"/>
                    <a:pt x="7652" y="2"/>
                    <a:pt x="7652" y="2"/>
                  </a:cubicBezTo>
                  <a:cubicBezTo>
                    <a:pt x="7574" y="144"/>
                    <a:pt x="7574" y="144"/>
                    <a:pt x="7574" y="144"/>
                  </a:cubicBezTo>
                  <a:cubicBezTo>
                    <a:pt x="7574" y="145"/>
                    <a:pt x="7573" y="147"/>
                    <a:pt x="7571" y="151"/>
                  </a:cubicBezTo>
                  <a:cubicBezTo>
                    <a:pt x="7566" y="168"/>
                    <a:pt x="7554" y="211"/>
                    <a:pt x="7554" y="275"/>
                  </a:cubicBezTo>
                  <a:cubicBezTo>
                    <a:pt x="7554" y="337"/>
                    <a:pt x="7565" y="417"/>
                    <a:pt x="7603" y="513"/>
                  </a:cubicBezTo>
                  <a:cubicBezTo>
                    <a:pt x="7650" y="628"/>
                    <a:pt x="7704" y="746"/>
                    <a:pt x="7746" y="836"/>
                  </a:cubicBezTo>
                  <a:cubicBezTo>
                    <a:pt x="7778" y="902"/>
                    <a:pt x="7803" y="953"/>
                    <a:pt x="7813" y="974"/>
                  </a:cubicBezTo>
                  <a:close/>
                  <a:moveTo>
                    <a:pt x="7883" y="1976"/>
                  </a:moveTo>
                  <a:cubicBezTo>
                    <a:pt x="7920" y="1981"/>
                    <a:pt x="8367" y="2047"/>
                    <a:pt x="8875" y="2123"/>
                  </a:cubicBezTo>
                  <a:cubicBezTo>
                    <a:pt x="8877" y="2121"/>
                    <a:pt x="8885" y="2110"/>
                    <a:pt x="8891" y="2104"/>
                  </a:cubicBezTo>
                  <a:cubicBezTo>
                    <a:pt x="8894" y="2100"/>
                    <a:pt x="8896" y="2095"/>
                    <a:pt x="8899" y="2090"/>
                  </a:cubicBezTo>
                  <a:cubicBezTo>
                    <a:pt x="8932" y="2028"/>
                    <a:pt x="8997" y="1879"/>
                    <a:pt x="8997" y="1695"/>
                  </a:cubicBezTo>
                  <a:cubicBezTo>
                    <a:pt x="8997" y="1668"/>
                    <a:pt x="8996" y="1640"/>
                    <a:pt x="8993" y="1611"/>
                  </a:cubicBezTo>
                  <a:cubicBezTo>
                    <a:pt x="8976" y="1464"/>
                    <a:pt x="8949" y="1243"/>
                    <a:pt x="8926" y="1058"/>
                  </a:cubicBezTo>
                  <a:cubicBezTo>
                    <a:pt x="8919" y="1006"/>
                    <a:pt x="8913" y="956"/>
                    <a:pt x="8908" y="913"/>
                  </a:cubicBezTo>
                  <a:cubicBezTo>
                    <a:pt x="8848" y="915"/>
                    <a:pt x="8586" y="938"/>
                    <a:pt x="8334" y="961"/>
                  </a:cubicBezTo>
                  <a:cubicBezTo>
                    <a:pt x="8106" y="982"/>
                    <a:pt x="7885" y="1003"/>
                    <a:pt x="7823" y="1009"/>
                  </a:cubicBezTo>
                  <a:cubicBezTo>
                    <a:pt x="7899" y="1709"/>
                    <a:pt x="7899" y="1709"/>
                    <a:pt x="7899" y="1709"/>
                  </a:cubicBezTo>
                  <a:cubicBezTo>
                    <a:pt x="7810" y="1952"/>
                    <a:pt x="7810" y="1952"/>
                    <a:pt x="7810" y="1952"/>
                  </a:cubicBezTo>
                  <a:cubicBezTo>
                    <a:pt x="7811" y="1968"/>
                    <a:pt x="7811" y="1968"/>
                    <a:pt x="7811" y="1968"/>
                  </a:cubicBezTo>
                  <a:cubicBezTo>
                    <a:pt x="7835" y="1970"/>
                    <a:pt x="7859" y="1973"/>
                    <a:pt x="7883" y="1976"/>
                  </a:cubicBezTo>
                  <a:close/>
                  <a:moveTo>
                    <a:pt x="8925" y="2130"/>
                  </a:moveTo>
                  <a:cubicBezTo>
                    <a:pt x="9249" y="2178"/>
                    <a:pt x="9593" y="2230"/>
                    <a:pt x="9870" y="2271"/>
                  </a:cubicBezTo>
                  <a:cubicBezTo>
                    <a:pt x="9877" y="2258"/>
                    <a:pt x="9877" y="2258"/>
                    <a:pt x="9877" y="2258"/>
                  </a:cubicBezTo>
                  <a:cubicBezTo>
                    <a:pt x="9999" y="1900"/>
                    <a:pt x="9999" y="1900"/>
                    <a:pt x="9999" y="1900"/>
                  </a:cubicBezTo>
                  <a:cubicBezTo>
                    <a:pt x="10155" y="1772"/>
                    <a:pt x="10155" y="1772"/>
                    <a:pt x="10155" y="1772"/>
                  </a:cubicBezTo>
                  <a:cubicBezTo>
                    <a:pt x="10131" y="1101"/>
                    <a:pt x="10131" y="1101"/>
                    <a:pt x="10131" y="1101"/>
                  </a:cubicBezTo>
                  <a:cubicBezTo>
                    <a:pt x="10265" y="927"/>
                    <a:pt x="10265" y="927"/>
                    <a:pt x="10265" y="927"/>
                  </a:cubicBezTo>
                  <a:cubicBezTo>
                    <a:pt x="10260" y="868"/>
                    <a:pt x="10216" y="426"/>
                    <a:pt x="10207" y="336"/>
                  </a:cubicBezTo>
                  <a:cubicBezTo>
                    <a:pt x="9188" y="321"/>
                    <a:pt x="9188" y="321"/>
                    <a:pt x="9188" y="321"/>
                  </a:cubicBezTo>
                  <a:cubicBezTo>
                    <a:pt x="9170" y="348"/>
                    <a:pt x="9114" y="435"/>
                    <a:pt x="9057" y="522"/>
                  </a:cubicBezTo>
                  <a:cubicBezTo>
                    <a:pt x="9022" y="574"/>
                    <a:pt x="8987" y="626"/>
                    <a:pt x="8960" y="666"/>
                  </a:cubicBezTo>
                  <a:cubicBezTo>
                    <a:pt x="8947" y="686"/>
                    <a:pt x="8935" y="703"/>
                    <a:pt x="8927" y="715"/>
                  </a:cubicBezTo>
                  <a:cubicBezTo>
                    <a:pt x="8924" y="718"/>
                    <a:pt x="8922" y="721"/>
                    <a:pt x="8920" y="724"/>
                  </a:cubicBezTo>
                  <a:cubicBezTo>
                    <a:pt x="8925" y="767"/>
                    <a:pt x="8997" y="1324"/>
                    <a:pt x="9028" y="1607"/>
                  </a:cubicBezTo>
                  <a:cubicBezTo>
                    <a:pt x="9032" y="1637"/>
                    <a:pt x="9033" y="1666"/>
                    <a:pt x="9033" y="1695"/>
                  </a:cubicBezTo>
                  <a:cubicBezTo>
                    <a:pt x="9033" y="1887"/>
                    <a:pt x="8965" y="2041"/>
                    <a:pt x="8931" y="2107"/>
                  </a:cubicBezTo>
                  <a:lnTo>
                    <a:pt x="8925" y="2130"/>
                  </a:lnTo>
                  <a:close/>
                  <a:moveTo>
                    <a:pt x="13133" y="2349"/>
                  </a:moveTo>
                  <a:cubicBezTo>
                    <a:pt x="12120" y="1948"/>
                    <a:pt x="12120" y="1948"/>
                    <a:pt x="12120" y="1948"/>
                  </a:cubicBezTo>
                  <a:cubicBezTo>
                    <a:pt x="11924" y="657"/>
                    <a:pt x="11924" y="657"/>
                    <a:pt x="11924" y="657"/>
                  </a:cubicBezTo>
                  <a:cubicBezTo>
                    <a:pt x="10294" y="949"/>
                    <a:pt x="10294" y="949"/>
                    <a:pt x="10294" y="949"/>
                  </a:cubicBezTo>
                  <a:cubicBezTo>
                    <a:pt x="10167" y="1113"/>
                    <a:pt x="10167" y="1113"/>
                    <a:pt x="10167" y="1113"/>
                  </a:cubicBezTo>
                  <a:cubicBezTo>
                    <a:pt x="10192" y="1789"/>
                    <a:pt x="10192" y="1789"/>
                    <a:pt x="10192" y="1789"/>
                  </a:cubicBezTo>
                  <a:cubicBezTo>
                    <a:pt x="10030" y="1922"/>
                    <a:pt x="10030" y="1922"/>
                    <a:pt x="10030" y="1922"/>
                  </a:cubicBezTo>
                  <a:cubicBezTo>
                    <a:pt x="9916" y="2256"/>
                    <a:pt x="9916" y="2256"/>
                    <a:pt x="9916" y="2256"/>
                  </a:cubicBezTo>
                  <a:cubicBezTo>
                    <a:pt x="9914" y="2277"/>
                    <a:pt x="9914" y="2277"/>
                    <a:pt x="9914" y="2277"/>
                  </a:cubicBezTo>
                  <a:cubicBezTo>
                    <a:pt x="10204" y="2321"/>
                    <a:pt x="10411" y="2351"/>
                    <a:pt x="10426" y="2354"/>
                  </a:cubicBezTo>
                  <a:cubicBezTo>
                    <a:pt x="10442" y="2356"/>
                    <a:pt x="10604" y="2375"/>
                    <a:pt x="10764" y="2447"/>
                  </a:cubicBezTo>
                  <a:cubicBezTo>
                    <a:pt x="10928" y="2521"/>
                    <a:pt x="11492" y="2837"/>
                    <a:pt x="11647" y="2935"/>
                  </a:cubicBezTo>
                  <a:cubicBezTo>
                    <a:pt x="12574" y="3529"/>
                    <a:pt x="12574" y="3529"/>
                    <a:pt x="12574" y="3529"/>
                  </a:cubicBezTo>
                  <a:cubicBezTo>
                    <a:pt x="12718" y="3229"/>
                    <a:pt x="12853" y="2944"/>
                    <a:pt x="12956" y="2726"/>
                  </a:cubicBezTo>
                  <a:cubicBezTo>
                    <a:pt x="13045" y="2536"/>
                    <a:pt x="13110" y="2399"/>
                    <a:pt x="13133" y="23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grpSp>
      <p:sp>
        <p:nvSpPr>
          <p:cNvPr id="27" name="---Tijdelijke aanduiding voor afbeelding 27">
            <a:extLst>
              <a:ext uri="{FF2B5EF4-FFF2-40B4-BE49-F238E27FC236}">
                <a16:creationId xmlns:a16="http://schemas.microsoft.com/office/drawing/2014/main" id="{E9D235B2-EC52-4838-8404-559B6643285B}"/>
              </a:ext>
            </a:extLst>
          </p:cNvPr>
          <p:cNvSpPr>
            <a:spLocks noGrp="1" noSelect="1"/>
          </p:cNvSpPr>
          <p:nvPr>
            <p:ph type="pic" sz="quarter" idx="13" hasCustomPrompt="1"/>
          </p:nvPr>
        </p:nvSpPr>
        <p:spPr bwMode="gray">
          <a:xfrm>
            <a:off x="0" y="2284560"/>
            <a:ext cx="12195001" cy="3425678"/>
          </a:xfrm>
          <a:custGeom>
            <a:avLst/>
            <a:gdLst>
              <a:gd name="connsiteX0" fmla="*/ 1144440 w 12195001"/>
              <a:gd name="connsiteY0" fmla="*/ 0 h 3425678"/>
              <a:gd name="connsiteX1" fmla="*/ 12195001 w 12195001"/>
              <a:gd name="connsiteY1" fmla="*/ 0 h 3425678"/>
              <a:gd name="connsiteX2" fmla="*/ 12195001 w 12195001"/>
              <a:gd name="connsiteY2" fmla="*/ 3425678 h 3425678"/>
              <a:gd name="connsiteX3" fmla="*/ 0 w 12195001"/>
              <a:gd name="connsiteY3" fmla="*/ 3425678 h 3425678"/>
              <a:gd name="connsiteX4" fmla="*/ 0 w 12195001"/>
              <a:gd name="connsiteY4" fmla="*/ 1141266 h 34256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5001" h="3425678">
                <a:moveTo>
                  <a:pt x="1144440" y="0"/>
                </a:moveTo>
                <a:lnTo>
                  <a:pt x="12195001" y="0"/>
                </a:lnTo>
                <a:lnTo>
                  <a:pt x="12195001" y="3425678"/>
                </a:lnTo>
                <a:lnTo>
                  <a:pt x="0" y="3425678"/>
                </a:lnTo>
                <a:lnTo>
                  <a:pt x="0" y="1141266"/>
                </a:lnTo>
                <a:close/>
              </a:path>
            </a:pathLst>
          </a:custGeom>
          <a:blipFill>
            <a:blip r:embed="rId4"/>
            <a:stretch>
              <a:fillRect/>
            </a:stretch>
          </a:blipFill>
        </p:spPr>
        <p:txBody>
          <a:bodyPr wrap="square">
            <a:noAutofit/>
          </a:bodyPr>
          <a:lstStyle>
            <a:lvl1pPr marL="270108" indent="-270108" algn="r" defTabSz="1088937" rtl="0" eaLnBrk="1" latinLnBrk="0" hangingPunct="1">
              <a:spcBef>
                <a:spcPts val="0"/>
              </a:spcBef>
              <a:buFont typeface="Arial" pitchFamily="34" charset="0"/>
              <a:buNone/>
              <a:defRPr/>
            </a:lvl1pPr>
          </a:lstStyle>
          <a:p>
            <a:r>
              <a:rPr lang="nl-NL" dirty="0"/>
              <a:t>   </a:t>
            </a:r>
          </a:p>
        </p:txBody>
      </p:sp>
      <p:sp>
        <p:nvSpPr>
          <p:cNvPr id="28" name="+++Freeform 7 (PHJU)">
            <a:extLst>
              <a:ext uri="{FF2B5EF4-FFF2-40B4-BE49-F238E27FC236}">
                <a16:creationId xmlns:a16="http://schemas.microsoft.com/office/drawing/2014/main" id="{A0A06089-3BC5-4754-BE2B-DA06BCF70FED}"/>
              </a:ext>
            </a:extLst>
          </p:cNvPr>
          <p:cNvSpPr>
            <a:spLocks noGrp="1" noSelect="1"/>
          </p:cNvSpPr>
          <p:nvPr>
            <p:ph type="body" idx="1001" hasCustomPrompt="1"/>
            <p:custDataLst>
              <p:custData r:id="rId1"/>
            </p:custDataLst>
          </p:nvPr>
        </p:nvSpPr>
        <p:spPr bwMode="gray">
          <a:xfrm>
            <a:off x="570436" y="2280960"/>
            <a:ext cx="11626921" cy="1147680"/>
          </a:xfrm>
          <a:custGeom>
            <a:avLst/>
            <a:gdLst>
              <a:gd name="T0" fmla="*/ 363 w 7324"/>
              <a:gd name="T1" fmla="*/ 723 h 723"/>
              <a:gd name="T2" fmla="*/ 7324 w 7324"/>
              <a:gd name="T3" fmla="*/ 723 h 723"/>
              <a:gd name="T4" fmla="*/ 7324 w 7324"/>
              <a:gd name="T5" fmla="*/ 0 h 723"/>
              <a:gd name="T6" fmla="*/ 363 w 7324"/>
              <a:gd name="T7" fmla="*/ 0 h 723"/>
              <a:gd name="T8" fmla="*/ 0 w 7324"/>
              <a:gd name="T9" fmla="*/ 362 h 723"/>
              <a:gd name="T10" fmla="*/ 363 w 7324"/>
              <a:gd name="T11" fmla="*/ 723 h 723"/>
            </a:gdLst>
            <a:ahLst/>
            <a:cxnLst>
              <a:cxn ang="0">
                <a:pos x="T0" y="T1"/>
              </a:cxn>
              <a:cxn ang="0">
                <a:pos x="T2" y="T3"/>
              </a:cxn>
              <a:cxn ang="0">
                <a:pos x="T4" y="T5"/>
              </a:cxn>
              <a:cxn ang="0">
                <a:pos x="T6" y="T7"/>
              </a:cxn>
              <a:cxn ang="0">
                <a:pos x="T8" y="T9"/>
              </a:cxn>
              <a:cxn ang="0">
                <a:pos x="T10" y="T11"/>
              </a:cxn>
            </a:cxnLst>
            <a:rect l="0" t="0" r="r" b="b"/>
            <a:pathLst>
              <a:path w="7324" h="723">
                <a:moveTo>
                  <a:pt x="363" y="723"/>
                </a:moveTo>
                <a:lnTo>
                  <a:pt x="7324" y="723"/>
                </a:lnTo>
                <a:lnTo>
                  <a:pt x="7324" y="0"/>
                </a:lnTo>
                <a:lnTo>
                  <a:pt x="363" y="0"/>
                </a:lnTo>
                <a:lnTo>
                  <a:pt x="0" y="362"/>
                </a:lnTo>
                <a:lnTo>
                  <a:pt x="363" y="723"/>
                </a:lnTo>
                <a:close/>
              </a:path>
            </a:pathLst>
          </a:custGeom>
          <a:solidFill>
            <a:srgbClr val="58525A">
              <a:alpha val="80000"/>
            </a:srgbClr>
          </a:solidFill>
          <a:ln>
            <a:noFill/>
          </a:ln>
        </p:spPr>
        <p:txBody>
          <a:bodyPr vert="horz" wrap="square" lIns="91440" tIns="45720" rIns="91440" bIns="45720" numCol="1" anchor="t" anchorCtr="0" compatLnSpc="1">
            <a:prstTxWarp prst="textNoShape">
              <a:avLst/>
            </a:prstTxWarp>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24" name="+++Freeform 7 (PHJU)">
            <a:extLst>
              <a:ext uri="{FF2B5EF4-FFF2-40B4-BE49-F238E27FC236}">
                <a16:creationId xmlns:a16="http://schemas.microsoft.com/office/drawing/2014/main" id="{345DD952-F6A2-4BDE-9109-1C118C295FE8}"/>
              </a:ext>
            </a:extLst>
          </p:cNvPr>
          <p:cNvSpPr>
            <a:spLocks noGrp="1" noSelect="1"/>
          </p:cNvSpPr>
          <p:nvPr>
            <p:ph type="body" idx="1002" hasCustomPrompt="1"/>
            <p:custDataLst>
              <p:custData r:id="rId2"/>
            </p:custDataLst>
          </p:nvPr>
        </p:nvSpPr>
        <p:spPr bwMode="gray">
          <a:xfrm>
            <a:off x="560519" y="2280919"/>
            <a:ext cx="11636640" cy="1147680"/>
          </a:xfrm>
          <a:custGeom>
            <a:avLst/>
            <a:gdLst>
              <a:gd name="T0" fmla="*/ 363 w 7324"/>
              <a:gd name="T1" fmla="*/ 723 h 723"/>
              <a:gd name="T2" fmla="*/ 7324 w 7324"/>
              <a:gd name="T3" fmla="*/ 723 h 723"/>
              <a:gd name="T4" fmla="*/ 7324 w 7324"/>
              <a:gd name="T5" fmla="*/ 0 h 723"/>
              <a:gd name="T6" fmla="*/ 363 w 7324"/>
              <a:gd name="T7" fmla="*/ 0 h 723"/>
              <a:gd name="T8" fmla="*/ 0 w 7324"/>
              <a:gd name="T9" fmla="*/ 362 h 723"/>
              <a:gd name="T10" fmla="*/ 363 w 7324"/>
              <a:gd name="T11" fmla="*/ 723 h 723"/>
            </a:gdLst>
            <a:ahLst/>
            <a:cxnLst>
              <a:cxn ang="0">
                <a:pos x="T0" y="T1"/>
              </a:cxn>
              <a:cxn ang="0">
                <a:pos x="T2" y="T3"/>
              </a:cxn>
              <a:cxn ang="0">
                <a:pos x="T4" y="T5"/>
              </a:cxn>
              <a:cxn ang="0">
                <a:pos x="T6" y="T7"/>
              </a:cxn>
              <a:cxn ang="0">
                <a:pos x="T8" y="T9"/>
              </a:cxn>
              <a:cxn ang="0">
                <a:pos x="T10" y="T11"/>
              </a:cxn>
            </a:cxnLst>
            <a:rect l="0" t="0" r="r" b="b"/>
            <a:pathLst>
              <a:path w="7324" h="723">
                <a:moveTo>
                  <a:pt x="363" y="723"/>
                </a:moveTo>
                <a:lnTo>
                  <a:pt x="7324" y="723"/>
                </a:lnTo>
                <a:lnTo>
                  <a:pt x="7324" y="0"/>
                </a:lnTo>
                <a:lnTo>
                  <a:pt x="363" y="0"/>
                </a:lnTo>
                <a:lnTo>
                  <a:pt x="0" y="362"/>
                </a:lnTo>
                <a:lnTo>
                  <a:pt x="363" y="723"/>
                </a:lnTo>
                <a:close/>
              </a:path>
            </a:pathLst>
          </a:custGeom>
          <a:solidFill>
            <a:srgbClr val="AB7AA5">
              <a:alpha val="80000"/>
            </a:srgbClr>
          </a:solidFill>
          <a:ln>
            <a:noFill/>
          </a:ln>
        </p:spPr>
        <p:txBody>
          <a:bodyPr vert="horz" wrap="square" lIns="91440" tIns="45720" rIns="91440" bIns="45720" numCol="1" anchor="t" anchorCtr="0" compatLnSpc="1">
            <a:prstTxWarp prst="textNoShape">
              <a:avLst/>
            </a:prstTxWarp>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3" name="Ondertitel 2"/>
          <p:cNvSpPr>
            <a:spLocks noGrp="1" noSelect="1"/>
          </p:cNvSpPr>
          <p:nvPr>
            <p:ph type="subTitle" idx="1" hasCustomPrompt="1"/>
          </p:nvPr>
        </p:nvSpPr>
        <p:spPr bwMode="gray">
          <a:xfrm>
            <a:off x="1152000" y="2697840"/>
            <a:ext cx="10404000" cy="324000"/>
          </a:xfrm>
        </p:spPr>
        <p:txBody>
          <a:bodyPr anchor="ctr" anchorCtr="0">
            <a:noAutofit/>
          </a:bodyPr>
          <a:lstStyle>
            <a:lvl1pPr marL="0" indent="0" algn="l">
              <a:lnSpc>
                <a:spcPct val="100000"/>
              </a:lnSpc>
              <a:buNone/>
              <a:defRPr sz="1800" b="1" i="0" cap="all" spc="70" baseline="0">
                <a:solidFill>
                  <a:schemeClr val="bg1"/>
                </a:solidFill>
                <a:latin typeface="Univers" panose="020B0603020202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noProof="1"/>
              <a:t>[presentator en/of datum]</a:t>
            </a:r>
          </a:p>
        </p:txBody>
      </p:sp>
      <p:sp>
        <p:nvSpPr>
          <p:cNvPr id="35" name="witdriehoek">
            <a:extLst>
              <a:ext uri="{FF2B5EF4-FFF2-40B4-BE49-F238E27FC236}">
                <a16:creationId xmlns:a16="http://schemas.microsoft.com/office/drawing/2014/main" id="{0BC715C7-A189-4F9E-98E4-F43900D3959D}"/>
              </a:ext>
            </a:extLst>
          </p:cNvPr>
          <p:cNvSpPr>
            <a:spLocks noSelect="1"/>
          </p:cNvSpPr>
          <p:nvPr userDrawn="1"/>
        </p:nvSpPr>
        <p:spPr bwMode="auto">
          <a:xfrm>
            <a:off x="0" y="2286001"/>
            <a:ext cx="571500" cy="1143000"/>
          </a:xfrm>
          <a:custGeom>
            <a:avLst/>
            <a:gdLst>
              <a:gd name="T0" fmla="*/ 360 w 360"/>
              <a:gd name="T1" fmla="*/ 360 h 720"/>
              <a:gd name="T2" fmla="*/ 0 w 360"/>
              <a:gd name="T3" fmla="*/ 720 h 720"/>
              <a:gd name="T4" fmla="*/ 0 w 360"/>
              <a:gd name="T5" fmla="*/ 0 h 720"/>
              <a:gd name="T6" fmla="*/ 360 w 360"/>
              <a:gd name="T7" fmla="*/ 360 h 720"/>
            </a:gdLst>
            <a:ahLst/>
            <a:cxnLst>
              <a:cxn ang="0">
                <a:pos x="T0" y="T1"/>
              </a:cxn>
              <a:cxn ang="0">
                <a:pos x="T2" y="T3"/>
              </a:cxn>
              <a:cxn ang="0">
                <a:pos x="T4" y="T5"/>
              </a:cxn>
              <a:cxn ang="0">
                <a:pos x="T6" y="T7"/>
              </a:cxn>
            </a:cxnLst>
            <a:rect l="0" t="0" r="r" b="b"/>
            <a:pathLst>
              <a:path w="360" h="720">
                <a:moveTo>
                  <a:pt x="360" y="360"/>
                </a:moveTo>
                <a:lnTo>
                  <a:pt x="0" y="720"/>
                </a:lnTo>
                <a:lnTo>
                  <a:pt x="0" y="0"/>
                </a:lnTo>
                <a:lnTo>
                  <a:pt x="360" y="3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x-none"/>
          </a:p>
        </p:txBody>
      </p:sp>
      <p:sp>
        <p:nvSpPr>
          <p:cNvPr id="36" name="kleurdriehoek">
            <a:extLst>
              <a:ext uri="{FF2B5EF4-FFF2-40B4-BE49-F238E27FC236}">
                <a16:creationId xmlns:a16="http://schemas.microsoft.com/office/drawing/2014/main" id="{6C09C75C-74C4-4B33-B63E-C918484E932F}"/>
              </a:ext>
            </a:extLst>
          </p:cNvPr>
          <p:cNvSpPr>
            <a:spLocks noSelect="1"/>
          </p:cNvSpPr>
          <p:nvPr userDrawn="1"/>
        </p:nvSpPr>
        <p:spPr bwMode="auto">
          <a:xfrm>
            <a:off x="0" y="2286001"/>
            <a:ext cx="1144588" cy="571500"/>
          </a:xfrm>
          <a:custGeom>
            <a:avLst/>
            <a:gdLst>
              <a:gd name="T0" fmla="*/ 360 w 721"/>
              <a:gd name="T1" fmla="*/ 360 h 360"/>
              <a:gd name="T2" fmla="*/ 0 w 721"/>
              <a:gd name="T3" fmla="*/ 0 h 360"/>
              <a:gd name="T4" fmla="*/ 721 w 721"/>
              <a:gd name="T5" fmla="*/ 0 h 360"/>
              <a:gd name="T6" fmla="*/ 360 w 721"/>
              <a:gd name="T7" fmla="*/ 360 h 360"/>
            </a:gdLst>
            <a:ahLst/>
            <a:cxnLst>
              <a:cxn ang="0">
                <a:pos x="T0" y="T1"/>
              </a:cxn>
              <a:cxn ang="0">
                <a:pos x="T2" y="T3"/>
              </a:cxn>
              <a:cxn ang="0">
                <a:pos x="T4" y="T5"/>
              </a:cxn>
              <a:cxn ang="0">
                <a:pos x="T6" y="T7"/>
              </a:cxn>
            </a:cxnLst>
            <a:rect l="0" t="0" r="r" b="b"/>
            <a:pathLst>
              <a:path w="721" h="360">
                <a:moveTo>
                  <a:pt x="360" y="360"/>
                </a:moveTo>
                <a:lnTo>
                  <a:pt x="0" y="0"/>
                </a:lnTo>
                <a:lnTo>
                  <a:pt x="721" y="0"/>
                </a:lnTo>
                <a:lnTo>
                  <a:pt x="360" y="360"/>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x-none" dirty="0"/>
          </a:p>
        </p:txBody>
      </p:sp>
    </p:spTree>
    <p:extLst>
      <p:ext uri="{BB962C8B-B14F-4D97-AF65-F5344CB8AC3E}">
        <p14:creationId xmlns:p14="http://schemas.microsoft.com/office/powerpoint/2010/main" val="26167692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5000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700" fill="hold"/>
                                        <p:tgtEl>
                                          <p:spTgt spid="29"/>
                                        </p:tgtEl>
                                        <p:attrNameLst>
                                          <p:attrName>ppt_x</p:attrName>
                                        </p:attrNameLst>
                                      </p:cBhvr>
                                      <p:tavLst>
                                        <p:tav tm="0">
                                          <p:val>
                                            <p:strVal val="#ppt_x"/>
                                          </p:val>
                                        </p:tav>
                                        <p:tav tm="100000">
                                          <p:val>
                                            <p:strVal val="#ppt_x"/>
                                          </p:val>
                                        </p:tav>
                                      </p:tavLst>
                                    </p:anim>
                                    <p:anim calcmode="lin" valueType="num">
                                      <p:cBhvr additive="base">
                                        <p:cTn id="8" dur="700" fill="hold"/>
                                        <p:tgtEl>
                                          <p:spTgt spid="29"/>
                                        </p:tgtEl>
                                        <p:attrNameLst>
                                          <p:attrName>ppt_y</p:attrName>
                                        </p:attrNameLst>
                                      </p:cBhvr>
                                      <p:tavLst>
                                        <p:tav tm="0">
                                          <p:val>
                                            <p:strVal val="0-#ppt_h/2"/>
                                          </p:val>
                                        </p:tav>
                                        <p:tav tm="100000">
                                          <p:val>
                                            <p:strVal val="#ppt_y"/>
                                          </p:val>
                                        </p:tav>
                                      </p:tavLst>
                                    </p:anim>
                                  </p:childTnLst>
                                </p:cTn>
                              </p:par>
                              <p:par>
                                <p:cTn id="9" presetID="2" presetClass="entr" presetSubtype="4" decel="50000" fill="hold" grpId="0" nodeType="withEffect">
                                  <p:stCondLst>
                                    <p:cond delay="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700" fill="hold"/>
                                        <p:tgtEl>
                                          <p:spTgt spid="27"/>
                                        </p:tgtEl>
                                        <p:attrNameLst>
                                          <p:attrName>ppt_x</p:attrName>
                                        </p:attrNameLst>
                                      </p:cBhvr>
                                      <p:tavLst>
                                        <p:tav tm="0">
                                          <p:val>
                                            <p:strVal val="#ppt_x"/>
                                          </p:val>
                                        </p:tav>
                                        <p:tav tm="100000">
                                          <p:val>
                                            <p:strVal val="#ppt_x"/>
                                          </p:val>
                                        </p:tav>
                                      </p:tavLst>
                                    </p:anim>
                                    <p:anim calcmode="lin" valueType="num">
                                      <p:cBhvr additive="base">
                                        <p:cTn id="12" dur="700" fill="hold"/>
                                        <p:tgtEl>
                                          <p:spTgt spid="27"/>
                                        </p:tgtEl>
                                        <p:attrNameLst>
                                          <p:attrName>ppt_y</p:attrName>
                                        </p:attrNameLst>
                                      </p:cBhvr>
                                      <p:tavLst>
                                        <p:tav tm="0">
                                          <p:val>
                                            <p:strVal val="1+#ppt_h/2"/>
                                          </p:val>
                                        </p:tav>
                                        <p:tav tm="100000">
                                          <p:val>
                                            <p:strVal val="#ppt_y"/>
                                          </p:val>
                                        </p:tav>
                                      </p:tavLst>
                                    </p:anim>
                                  </p:childTnLst>
                                </p:cTn>
                              </p:par>
                              <p:par>
                                <p:cTn id="13" presetID="2" presetClass="entr" presetSubtype="4" decel="5000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anim calcmode="lin" valueType="num">
                                      <p:cBhvr additive="base">
                                        <p:cTn id="15" dur="700" fill="hold"/>
                                        <p:tgtEl>
                                          <p:spTgt spid="4"/>
                                        </p:tgtEl>
                                        <p:attrNameLst>
                                          <p:attrName>ppt_x</p:attrName>
                                        </p:attrNameLst>
                                      </p:cBhvr>
                                      <p:tavLst>
                                        <p:tav tm="0">
                                          <p:val>
                                            <p:strVal val="#ppt_x"/>
                                          </p:val>
                                        </p:tav>
                                        <p:tav tm="100000">
                                          <p:val>
                                            <p:strVal val="#ppt_x"/>
                                          </p:val>
                                        </p:tav>
                                      </p:tavLst>
                                    </p:anim>
                                    <p:anim calcmode="lin" valueType="num">
                                      <p:cBhvr additive="base">
                                        <p:cTn id="16" dur="700" fill="hold"/>
                                        <p:tgtEl>
                                          <p:spTgt spid="4"/>
                                        </p:tgtEl>
                                        <p:attrNameLst>
                                          <p:attrName>ppt_y</p:attrName>
                                        </p:attrNameLst>
                                      </p:cBhvr>
                                      <p:tavLst>
                                        <p:tav tm="0">
                                          <p:val>
                                            <p:strVal val="1+#ppt_h/2"/>
                                          </p:val>
                                        </p:tav>
                                        <p:tav tm="100000">
                                          <p:val>
                                            <p:strVal val="#ppt_y"/>
                                          </p:val>
                                        </p:tav>
                                      </p:tavLst>
                                    </p:anim>
                                  </p:childTnLst>
                                </p:cTn>
                              </p:par>
                              <p:par>
                                <p:cTn id="17" presetID="64" presetClass="path" presetSubtype="0" decel="62500" fill="hold" grpId="0" nodeType="withEffect">
                                  <p:stCondLst>
                                    <p:cond delay="0"/>
                                  </p:stCondLst>
                                  <p:childTnLst>
                                    <p:animMotion origin="layout" path="M -0.00026 0.58959 L 1.91617E-6 -2.59259E-6 " pathEditMode="relative" rAng="0" ptsTypes="AA">
                                      <p:cBhvr>
                                        <p:cTn id="18" dur="800" fill="hold"/>
                                        <p:tgtEl>
                                          <p:spTgt spid="2"/>
                                        </p:tgtEl>
                                        <p:attrNameLst>
                                          <p:attrName>ppt_x</p:attrName>
                                          <p:attrName>ppt_y</p:attrName>
                                        </p:attrNameLst>
                                      </p:cBhvr>
                                      <p:rCtr x="13" y="-29491"/>
                                    </p:animMotion>
                                  </p:childTnLst>
                                </p:cTn>
                              </p:par>
                              <p:par>
                                <p:cTn id="19" presetID="10" presetClass="entr" presetSubtype="0" fill="hold" grpId="0" nodeType="withEffect">
                                  <p:stCondLst>
                                    <p:cond delay="500"/>
                                  </p:stCondLst>
                                  <p:childTnLst>
                                    <p:set>
                                      <p:cBhvr>
                                        <p:cTn id="20" dur="1" fill="hold">
                                          <p:stCondLst>
                                            <p:cond delay="0"/>
                                          </p:stCondLst>
                                        </p:cTn>
                                        <p:tgtEl>
                                          <p:spTgt spid="28">
                                            <p:bg/>
                                          </p:spTgt>
                                        </p:tgtEl>
                                        <p:attrNameLst>
                                          <p:attrName>style.visibility</p:attrName>
                                        </p:attrNameLst>
                                      </p:cBhvr>
                                      <p:to>
                                        <p:strVal val="visible"/>
                                      </p:to>
                                    </p:set>
                                    <p:animEffect transition="in" filter="fade">
                                      <p:cBhvr>
                                        <p:cTn id="21" dur="200"/>
                                        <p:tgtEl>
                                          <p:spTgt spid="28">
                                            <p:bg/>
                                          </p:spTgt>
                                        </p:tgtEl>
                                      </p:cBhvr>
                                    </p:animEffect>
                                  </p:childTnLst>
                                </p:cTn>
                              </p:par>
                              <p:par>
                                <p:cTn id="22" presetID="10" presetClass="entr" presetSubtype="0" fill="hold" grpId="0" nodeType="withEffect">
                                  <p:stCondLst>
                                    <p:cond delay="500"/>
                                  </p:stCondLst>
                                  <p:childTnLst>
                                    <p:set>
                                      <p:cBhvr>
                                        <p:cTn id="23" dur="1" fill="hold">
                                          <p:stCondLst>
                                            <p:cond delay="0"/>
                                          </p:stCondLst>
                                        </p:cTn>
                                        <p:tgtEl>
                                          <p:spTgt spid="28">
                                            <p:txEl>
                                              <p:pRg st="0" end="0"/>
                                            </p:txEl>
                                          </p:spTgt>
                                        </p:tgtEl>
                                        <p:attrNameLst>
                                          <p:attrName>style.visibility</p:attrName>
                                        </p:attrNameLst>
                                      </p:cBhvr>
                                      <p:to>
                                        <p:strVal val="visible"/>
                                      </p:to>
                                    </p:set>
                                    <p:animEffect transition="in" filter="fade">
                                      <p:cBhvr>
                                        <p:cTn id="24" dur="200"/>
                                        <p:tgtEl>
                                          <p:spTgt spid="28">
                                            <p:txEl>
                                              <p:pRg st="0" end="0"/>
                                            </p:txEl>
                                          </p:spTgt>
                                        </p:tgtEl>
                                      </p:cBhvr>
                                    </p:animEffect>
                                  </p:childTnLst>
                                </p:cTn>
                              </p:par>
                              <p:par>
                                <p:cTn id="25" presetID="10" presetClass="entr" presetSubtype="0" fill="hold" grpId="0" nodeType="withEffect">
                                  <p:stCondLst>
                                    <p:cond delay="500"/>
                                  </p:stCondLst>
                                  <p:childTnLst>
                                    <p:set>
                                      <p:cBhvr>
                                        <p:cTn id="26" dur="1" fill="hold">
                                          <p:stCondLst>
                                            <p:cond delay="0"/>
                                          </p:stCondLst>
                                        </p:cTn>
                                        <p:tgtEl>
                                          <p:spTgt spid="24">
                                            <p:bg/>
                                          </p:spTgt>
                                        </p:tgtEl>
                                        <p:attrNameLst>
                                          <p:attrName>style.visibility</p:attrName>
                                        </p:attrNameLst>
                                      </p:cBhvr>
                                      <p:to>
                                        <p:strVal val="visible"/>
                                      </p:to>
                                    </p:set>
                                    <p:animEffect transition="in" filter="fade">
                                      <p:cBhvr>
                                        <p:cTn id="27" dur="200"/>
                                        <p:tgtEl>
                                          <p:spTgt spid="24">
                                            <p:bg/>
                                          </p:spTgt>
                                        </p:tgtEl>
                                      </p:cBhvr>
                                    </p:animEffect>
                                  </p:childTnLst>
                                </p:cTn>
                              </p:par>
                              <p:par>
                                <p:cTn id="28" presetID="10" presetClass="entr" presetSubtype="0" fill="hold" grpId="0" nodeType="withEffect">
                                  <p:stCondLst>
                                    <p:cond delay="500"/>
                                  </p:stCondLst>
                                  <p:childTnLst>
                                    <p:set>
                                      <p:cBhvr>
                                        <p:cTn id="29" dur="1" fill="hold">
                                          <p:stCondLst>
                                            <p:cond delay="0"/>
                                          </p:stCondLst>
                                        </p:cTn>
                                        <p:tgtEl>
                                          <p:spTgt spid="24">
                                            <p:txEl>
                                              <p:pRg st="0" end="0"/>
                                            </p:txEl>
                                          </p:spTgt>
                                        </p:tgtEl>
                                        <p:attrNameLst>
                                          <p:attrName>style.visibility</p:attrName>
                                        </p:attrNameLst>
                                      </p:cBhvr>
                                      <p:to>
                                        <p:strVal val="visible"/>
                                      </p:to>
                                    </p:set>
                                    <p:animEffect transition="in" filter="fade">
                                      <p:cBhvr>
                                        <p:cTn id="30" dur="200"/>
                                        <p:tgtEl>
                                          <p:spTgt spid="24">
                                            <p:txEl>
                                              <p:pRg st="0" end="0"/>
                                            </p:txEl>
                                          </p:spTgt>
                                        </p:tgtEl>
                                      </p:cBhvr>
                                    </p:animEffect>
                                  </p:childTnLst>
                                </p:cTn>
                              </p:par>
                            </p:childTnLst>
                          </p:cTn>
                        </p:par>
                        <p:par>
                          <p:cTn id="31" fill="hold">
                            <p:stCondLst>
                              <p:cond delay="800"/>
                            </p:stCondLst>
                            <p:childTnLst>
                              <p:par>
                                <p:cTn id="32" presetID="10" presetClass="entr" presetSubtype="0" fill="hold" grpId="0" nodeType="afterEffect">
                                  <p:stCondLst>
                                    <p:cond delay="0"/>
                                  </p:stCondLst>
                                  <p:childTnLst>
                                    <p:set>
                                      <p:cBhvr>
                                        <p:cTn id="33" dur="1" fill="hold">
                                          <p:stCondLst>
                                            <p:cond delay="0"/>
                                          </p:stCondLst>
                                        </p:cTn>
                                        <p:tgtEl>
                                          <p:spTgt spid="3">
                                            <p:txEl>
                                              <p:pRg st="0" end="0"/>
                                            </p:txEl>
                                          </p:spTgt>
                                        </p:tgtEl>
                                        <p:attrNameLst>
                                          <p:attrName>style.visibility</p:attrName>
                                        </p:attrNameLst>
                                      </p:cBhvr>
                                      <p:to>
                                        <p:strVal val="visible"/>
                                      </p:to>
                                    </p:set>
                                    <p:animEffect transition="in" filter="fade">
                                      <p:cBhvr>
                                        <p:cTn id="34" dur="500"/>
                                        <p:tgtEl>
                                          <p:spTgt spid="3">
                                            <p:txEl>
                                              <p:pRg st="0" end="0"/>
                                            </p:txEl>
                                          </p:spTgt>
                                        </p:tgtEl>
                                      </p:cBhvr>
                                    </p:animEffect>
                                  </p:childTnLst>
                                </p:cTn>
                              </p:par>
                            </p:childTnLst>
                          </p:cTn>
                        </p:par>
                        <p:par>
                          <p:cTn id="35" fill="hold">
                            <p:stCondLst>
                              <p:cond delay="1300"/>
                            </p:stCondLst>
                            <p:childTnLst>
                              <p:par>
                                <p:cTn id="36" presetID="1" presetClass="entr" presetSubtype="0" fill="hold" grpId="0" nodeType="afterEffect">
                                  <p:stCondLst>
                                    <p:cond delay="0"/>
                                  </p:stCondLst>
                                  <p:childTnLst>
                                    <p:set>
                                      <p:cBhvr>
                                        <p:cTn id="37"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7" grpId="0" animBg="1"/>
      <p:bldP spid="28" grpId="0" uiExpand="1" build="p" animBg="1">
        <p:tmplLst>
          <p:tmpl>
            <p:tnLst>
              <p:par>
                <p:cTn presetID="10" presetClass="entr" presetSubtype="0" fill="hold" nodeType="withEffect">
                  <p:stCondLst>
                    <p:cond delay="500"/>
                  </p:stCondLst>
                  <p:childTnLst>
                    <p:set>
                      <p:cBhvr>
                        <p:cTn dur="1" fill="hold">
                          <p:stCondLst>
                            <p:cond delay="0"/>
                          </p:stCondLst>
                        </p:cTn>
                        <p:tgtEl>
                          <p:spTgt spid="28"/>
                        </p:tgtEl>
                        <p:attrNameLst>
                          <p:attrName>style.visibility</p:attrName>
                        </p:attrNameLst>
                      </p:cBhvr>
                      <p:to>
                        <p:strVal val="visible"/>
                      </p:to>
                    </p:set>
                    <p:animEffect transition="in" filter="fade">
                      <p:cBhvr>
                        <p:cTn dur="200"/>
                        <p:tgtEl>
                          <p:spTgt spid="28"/>
                        </p:tgtEl>
                      </p:cBhvr>
                    </p:animEffect>
                  </p:childTnLst>
                </p:cTn>
              </p:par>
            </p:tnLst>
          </p:tmpl>
          <p:tmpl lvl="1">
            <p:tnLst>
              <p:par>
                <p:cTn presetID="10" presetClass="entr" presetSubtype="0" fill="hold" nodeType="withEffect">
                  <p:stCondLst>
                    <p:cond delay="500"/>
                  </p:stCondLst>
                  <p:childTnLst>
                    <p:set>
                      <p:cBhvr>
                        <p:cTn dur="1" fill="hold">
                          <p:stCondLst>
                            <p:cond delay="0"/>
                          </p:stCondLst>
                        </p:cTn>
                        <p:tgtEl>
                          <p:spTgt spid="28"/>
                        </p:tgtEl>
                        <p:attrNameLst>
                          <p:attrName>style.visibility</p:attrName>
                        </p:attrNameLst>
                      </p:cBhvr>
                      <p:to>
                        <p:strVal val="visible"/>
                      </p:to>
                    </p:set>
                    <p:animEffect transition="in" filter="fade">
                      <p:cBhvr>
                        <p:cTn dur="200"/>
                        <p:tgtEl>
                          <p:spTgt spid="28"/>
                        </p:tgtEl>
                      </p:cBhvr>
                    </p:animEffect>
                  </p:childTnLst>
                </p:cTn>
              </p:par>
            </p:tnLst>
          </p:tmpl>
        </p:tmplLst>
      </p:bldP>
      <p:bldP spid="24" grpId="0" build="p" animBg="1">
        <p:tmplLst>
          <p:tmpl>
            <p:tnLst>
              <p:par>
                <p:cTn presetID="10" presetClass="entr" presetSubtype="0" fill="hold" nodeType="withEffect">
                  <p:stCondLst>
                    <p:cond delay="500"/>
                  </p:stCondLst>
                  <p:childTnLst>
                    <p:set>
                      <p:cBhvr>
                        <p:cTn dur="1" fill="hold">
                          <p:stCondLst>
                            <p:cond delay="0"/>
                          </p:stCondLst>
                        </p:cTn>
                        <p:tgtEl>
                          <p:spTgt spid="24"/>
                        </p:tgtEl>
                        <p:attrNameLst>
                          <p:attrName>style.visibility</p:attrName>
                        </p:attrNameLst>
                      </p:cBhvr>
                      <p:to>
                        <p:strVal val="visible"/>
                      </p:to>
                    </p:set>
                    <p:animEffect transition="in" filter="fade">
                      <p:cBhvr>
                        <p:cTn dur="200"/>
                        <p:tgtEl>
                          <p:spTgt spid="24"/>
                        </p:tgtEl>
                      </p:cBhvr>
                    </p:animEffect>
                  </p:childTnLst>
                </p:cTn>
              </p:par>
            </p:tnLst>
          </p:tmpl>
          <p:tmpl lvl="1">
            <p:tnLst>
              <p:par>
                <p:cTn presetID="10" presetClass="entr" presetSubtype="0" fill="hold" nodeType="withEffect">
                  <p:stCondLst>
                    <p:cond delay="500"/>
                  </p:stCondLst>
                  <p:childTnLst>
                    <p:set>
                      <p:cBhvr>
                        <p:cTn dur="1" fill="hold">
                          <p:stCondLst>
                            <p:cond delay="0"/>
                          </p:stCondLst>
                        </p:cTn>
                        <p:tgtEl>
                          <p:spTgt spid="24"/>
                        </p:tgtEl>
                        <p:attrNameLst>
                          <p:attrName>style.visibility</p:attrName>
                        </p:attrNameLst>
                      </p:cBhvr>
                      <p:to>
                        <p:strVal val="visible"/>
                      </p:to>
                    </p:set>
                    <p:animEffect transition="in" filter="fade">
                      <p:cBhvr>
                        <p:cTn dur="200"/>
                        <p:tgtEl>
                          <p:spTgt spid="24"/>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36" grpId="0" animBg="1"/>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dia (oranje)">
    <p:spTree>
      <p:nvGrpSpPr>
        <p:cNvPr id="1" name=""/>
        <p:cNvGrpSpPr/>
        <p:nvPr/>
      </p:nvGrpSpPr>
      <p:grpSpPr>
        <a:xfrm>
          <a:off x="0" y="0"/>
          <a:ext cx="0" cy="0"/>
          <a:chOff x="0" y="0"/>
          <a:chExt cx="0" cy="0"/>
        </a:xfrm>
      </p:grpSpPr>
      <p:sp>
        <p:nvSpPr>
          <p:cNvPr id="26" name="Rechthoek 25">
            <a:extLst>
              <a:ext uri="{FF2B5EF4-FFF2-40B4-BE49-F238E27FC236}">
                <a16:creationId xmlns:a16="http://schemas.microsoft.com/office/drawing/2014/main" id="{7D8B3414-9D6B-427A-8891-8DE8C06E5C8E}"/>
              </a:ext>
            </a:extLst>
          </p:cNvPr>
          <p:cNvSpPr>
            <a:spLocks noSelect="1"/>
          </p:cNvSpPr>
          <p:nvPr userDrawn="1"/>
        </p:nvSpPr>
        <p:spPr>
          <a:xfrm>
            <a:off x="568800" y="5913276"/>
            <a:ext cx="2648467" cy="792088"/>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24" name="Groep 23"/>
          <p:cNvGrpSpPr>
            <a:grpSpLocks noSelect="1"/>
          </p:cNvGrpSpPr>
          <p:nvPr userDrawn="1"/>
        </p:nvGrpSpPr>
        <p:grpSpPr bwMode="gray">
          <a:xfrm>
            <a:off x="0" y="2282031"/>
            <a:ext cx="12195361" cy="4579725"/>
            <a:chOff x="0" y="2279650"/>
            <a:chExt cx="12195361" cy="4579725"/>
          </a:xfrm>
        </p:grpSpPr>
        <p:sp>
          <p:nvSpPr>
            <p:cNvPr id="29" name="Vrije vorm: vorm 20">
              <a:extLst>
                <a:ext uri="{FF2B5EF4-FFF2-40B4-BE49-F238E27FC236}">
                  <a16:creationId xmlns:a16="http://schemas.microsoft.com/office/drawing/2014/main" id="{3DD2F5A7-5A03-464A-B51C-441C047EA134}"/>
                </a:ext>
              </a:extLst>
            </p:cNvPr>
            <p:cNvSpPr>
              <a:spLocks noSelect="1"/>
            </p:cNvSpPr>
            <p:nvPr userDrawn="1"/>
          </p:nvSpPr>
          <p:spPr bwMode="gray">
            <a:xfrm>
              <a:off x="0" y="2282399"/>
              <a:ext cx="12195361" cy="3427838"/>
            </a:xfrm>
            <a:custGeom>
              <a:avLst/>
              <a:gdLst>
                <a:gd name="connsiteX0" fmla="*/ 1144706 w 12195361"/>
                <a:gd name="connsiteY0" fmla="*/ 0 h 3427838"/>
                <a:gd name="connsiteX1" fmla="*/ 12195361 w 12195361"/>
                <a:gd name="connsiteY1" fmla="*/ 0 h 3427838"/>
                <a:gd name="connsiteX2" fmla="*/ 12195361 w 12195361"/>
                <a:gd name="connsiteY2" fmla="*/ 1147680 h 3427838"/>
                <a:gd name="connsiteX3" fmla="*/ 12195175 w 12195361"/>
                <a:gd name="connsiteY3" fmla="*/ 1147680 h 3427838"/>
                <a:gd name="connsiteX4" fmla="*/ 12195175 w 12195361"/>
                <a:gd name="connsiteY4" fmla="*/ 3427838 h 3427838"/>
                <a:gd name="connsiteX5" fmla="*/ 0 w 12195361"/>
                <a:gd name="connsiteY5" fmla="*/ 3427838 h 3427838"/>
                <a:gd name="connsiteX6" fmla="*/ 0 w 12195361"/>
                <a:gd name="connsiteY6" fmla="*/ 1143426 h 3427838"/>
                <a:gd name="connsiteX7" fmla="*/ 569408 w 12195361"/>
                <a:gd name="connsiteY7" fmla="*/ 575597 h 3427838"/>
                <a:gd name="connsiteX8" fmla="*/ 568440 w 12195361"/>
                <a:gd name="connsiteY8" fmla="*/ 574634 h 3427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5361" h="3427838">
                  <a:moveTo>
                    <a:pt x="1144706" y="0"/>
                  </a:moveTo>
                  <a:lnTo>
                    <a:pt x="12195361" y="0"/>
                  </a:lnTo>
                  <a:lnTo>
                    <a:pt x="12195361" y="1147680"/>
                  </a:lnTo>
                  <a:lnTo>
                    <a:pt x="12195175" y="1147680"/>
                  </a:lnTo>
                  <a:lnTo>
                    <a:pt x="12195175" y="3427838"/>
                  </a:lnTo>
                  <a:lnTo>
                    <a:pt x="0" y="3427838"/>
                  </a:lnTo>
                  <a:lnTo>
                    <a:pt x="0" y="1143426"/>
                  </a:lnTo>
                  <a:lnTo>
                    <a:pt x="569408" y="575597"/>
                  </a:lnTo>
                  <a:lnTo>
                    <a:pt x="568440" y="574634"/>
                  </a:lnTo>
                  <a:close/>
                </a:path>
              </a:pathLst>
            </a:custGeom>
            <a:solidFill>
              <a:srgbClr val="D8981F"/>
            </a:solidFill>
            <a:ln>
              <a:noFill/>
            </a:ln>
          </p:spPr>
          <p:txBody>
            <a:bodyPr vert="horz" wrap="square" lIns="91440" tIns="45720" rIns="91440" bIns="45720" numCol="1" anchor="t" anchorCtr="0" compatLnSpc="1">
              <a:prstTxWarp prst="textNoShape">
                <a:avLst/>
              </a:prstTxWarp>
              <a:noAutofit/>
            </a:bodyPr>
            <a:lstStyle/>
            <a:p>
              <a:endParaRPr lang="nl-NL" dirty="0"/>
            </a:p>
          </p:txBody>
        </p:sp>
        <p:grpSp>
          <p:nvGrpSpPr>
            <p:cNvPr id="30" name="Group 25">
              <a:extLst>
                <a:ext uri="{FF2B5EF4-FFF2-40B4-BE49-F238E27FC236}">
                  <a16:creationId xmlns:a16="http://schemas.microsoft.com/office/drawing/2014/main" id="{9FDCD6F0-D7C5-442C-BD3E-9CAD785BCD9B}"/>
                </a:ext>
              </a:extLst>
            </p:cNvPr>
            <p:cNvGrpSpPr>
              <a:grpSpLocks noSelect="1"/>
            </p:cNvGrpSpPr>
            <p:nvPr userDrawn="1"/>
          </p:nvGrpSpPr>
          <p:grpSpPr bwMode="gray">
            <a:xfrm>
              <a:off x="6475413" y="2279650"/>
              <a:ext cx="5719763" cy="3430800"/>
              <a:chOff x="4079" y="1437"/>
              <a:chExt cx="3603" cy="2160"/>
            </a:xfrm>
          </p:grpSpPr>
          <p:sp>
            <p:nvSpPr>
              <p:cNvPr id="33" name="Freeform 26">
                <a:extLst>
                  <a:ext uri="{FF2B5EF4-FFF2-40B4-BE49-F238E27FC236}">
                    <a16:creationId xmlns:a16="http://schemas.microsoft.com/office/drawing/2014/main" id="{0F40A888-0D9E-43FE-BCE8-F28B06826A62}"/>
                  </a:ext>
                </a:extLst>
              </p:cNvPr>
              <p:cNvSpPr>
                <a:spLocks noSelect="1"/>
              </p:cNvSpPr>
              <p:nvPr userDrawn="1"/>
            </p:nvSpPr>
            <p:spPr bwMode="gray">
              <a:xfrm>
                <a:off x="4080" y="1439"/>
                <a:ext cx="3602" cy="2158"/>
              </a:xfrm>
              <a:custGeom>
                <a:avLst/>
                <a:gdLst>
                  <a:gd name="T0" fmla="*/ 17630 w 18008"/>
                  <a:gd name="T1" fmla="*/ 709 h 10801"/>
                  <a:gd name="T2" fmla="*/ 484 w 18008"/>
                  <a:gd name="T3" fmla="*/ 9941 h 10801"/>
                  <a:gd name="T4" fmla="*/ 4 w 18008"/>
                  <a:gd name="T5" fmla="*/ 1208 h 10801"/>
                  <a:gd name="T6" fmla="*/ 6458 w 18008"/>
                  <a:gd name="T7" fmla="*/ 268 h 10801"/>
                  <a:gd name="T8" fmla="*/ 9795 w 18008"/>
                  <a:gd name="T9" fmla="*/ 5809 h 10801"/>
                  <a:gd name="T10" fmla="*/ 10977 w 18008"/>
                  <a:gd name="T11" fmla="*/ 5207 h 10801"/>
                  <a:gd name="T12" fmla="*/ 3387 w 18008"/>
                  <a:gd name="T13" fmla="*/ 9414 h 10801"/>
                  <a:gd name="T14" fmla="*/ 2973 w 18008"/>
                  <a:gd name="T15" fmla="*/ 594 h 10801"/>
                  <a:gd name="T16" fmla="*/ 1258 w 18008"/>
                  <a:gd name="T17" fmla="*/ 2252 h 10801"/>
                  <a:gd name="T18" fmla="*/ 4569 w 18008"/>
                  <a:gd name="T19" fmla="*/ 1434 h 10801"/>
                  <a:gd name="T20" fmla="*/ 1876 w 18008"/>
                  <a:gd name="T21" fmla="*/ 7438 h 10801"/>
                  <a:gd name="T22" fmla="*/ 469 w 18008"/>
                  <a:gd name="T23" fmla="*/ 5054 h 10801"/>
                  <a:gd name="T24" fmla="*/ 7255 w 18008"/>
                  <a:gd name="T25" fmla="*/ 3824 h 10801"/>
                  <a:gd name="T26" fmla="*/ 4102 w 18008"/>
                  <a:gd name="T27" fmla="*/ 8425 h 10801"/>
                  <a:gd name="T28" fmla="*/ 5675 w 18008"/>
                  <a:gd name="T29" fmla="*/ 2611 h 10801"/>
                  <a:gd name="T30" fmla="*/ 4286 w 18008"/>
                  <a:gd name="T31" fmla="*/ 5657 h 10801"/>
                  <a:gd name="T32" fmla="*/ 3740 w 18008"/>
                  <a:gd name="T33" fmla="*/ 5768 h 10801"/>
                  <a:gd name="T34" fmla="*/ 2911 w 18008"/>
                  <a:gd name="T35" fmla="*/ 3955 h 10801"/>
                  <a:gd name="T36" fmla="*/ 4794 w 18008"/>
                  <a:gd name="T37" fmla="*/ 6771 h 10801"/>
                  <a:gd name="T38" fmla="*/ 1345 w 18008"/>
                  <a:gd name="T39" fmla="*/ 4588 h 10801"/>
                  <a:gd name="T40" fmla="*/ 6137 w 18008"/>
                  <a:gd name="T41" fmla="*/ 4556 h 10801"/>
                  <a:gd name="T42" fmla="*/ 7173 w 18008"/>
                  <a:gd name="T43" fmla="*/ 4565 h 10801"/>
                  <a:gd name="T44" fmla="*/ 1767 w 18008"/>
                  <a:gd name="T45" fmla="*/ 3394 h 10801"/>
                  <a:gd name="T46" fmla="*/ 6608 w 18008"/>
                  <a:gd name="T47" fmla="*/ 8126 h 10801"/>
                  <a:gd name="T48" fmla="*/ 5807 w 18008"/>
                  <a:gd name="T49" fmla="*/ 2567 h 10801"/>
                  <a:gd name="T50" fmla="*/ 450 w 18008"/>
                  <a:gd name="T51" fmla="*/ 5051 h 10801"/>
                  <a:gd name="T52" fmla="*/ 1810 w 18008"/>
                  <a:gd name="T53" fmla="*/ 10217 h 10801"/>
                  <a:gd name="T54" fmla="*/ 7625 w 18008"/>
                  <a:gd name="T55" fmla="*/ 8136 h 10801"/>
                  <a:gd name="T56" fmla="*/ 5937 w 18008"/>
                  <a:gd name="T57" fmla="*/ 1139 h 10801"/>
                  <a:gd name="T58" fmla="*/ 4200 w 18008"/>
                  <a:gd name="T59" fmla="*/ 390 h 10801"/>
                  <a:gd name="T60" fmla="*/ 1236 w 18008"/>
                  <a:gd name="T61" fmla="*/ 2645 h 10801"/>
                  <a:gd name="T62" fmla="*/ 1142 w 18008"/>
                  <a:gd name="T63" fmla="*/ 8692 h 10801"/>
                  <a:gd name="T64" fmla="*/ 2991 w 18008"/>
                  <a:gd name="T65" fmla="*/ 9818 h 10801"/>
                  <a:gd name="T66" fmla="*/ 14547 w 18008"/>
                  <a:gd name="T67" fmla="*/ 9024 h 10801"/>
                  <a:gd name="T68" fmla="*/ 1165 w 18008"/>
                  <a:gd name="T69" fmla="*/ 77 h 10801"/>
                  <a:gd name="T70" fmla="*/ 458 w 18008"/>
                  <a:gd name="T71" fmla="*/ 4194 h 10801"/>
                  <a:gd name="T72" fmla="*/ 3024 w 18008"/>
                  <a:gd name="T73" fmla="*/ 430 h 10801"/>
                  <a:gd name="T74" fmla="*/ 505 w 18008"/>
                  <a:gd name="T75" fmla="*/ 8406 h 10801"/>
                  <a:gd name="T76" fmla="*/ 8304 w 18008"/>
                  <a:gd name="T77" fmla="*/ 0 h 10801"/>
                  <a:gd name="T78" fmla="*/ 404 w 18008"/>
                  <a:gd name="T79" fmla="*/ 1203 h 10801"/>
                  <a:gd name="T80" fmla="*/ 9426 w 18008"/>
                  <a:gd name="T81" fmla="*/ 423 h 10801"/>
                  <a:gd name="T82" fmla="*/ 6587 w 18008"/>
                  <a:gd name="T83" fmla="*/ 7122 h 10801"/>
                  <a:gd name="T84" fmla="*/ 1518 w 18008"/>
                  <a:gd name="T85" fmla="*/ 5561 h 10801"/>
                  <a:gd name="T86" fmla="*/ 3890 w 18008"/>
                  <a:gd name="T87" fmla="*/ 7330 h 10801"/>
                  <a:gd name="T88" fmla="*/ 7399 w 18008"/>
                  <a:gd name="T89" fmla="*/ 6683 h 10801"/>
                  <a:gd name="T90" fmla="*/ 6232 w 18008"/>
                  <a:gd name="T91" fmla="*/ 7121 h 10801"/>
                  <a:gd name="T92" fmla="*/ 3045 w 18008"/>
                  <a:gd name="T93" fmla="*/ 5214 h 10801"/>
                  <a:gd name="T94" fmla="*/ 2725 w 18008"/>
                  <a:gd name="T95" fmla="*/ 5636 h 10801"/>
                  <a:gd name="T96" fmla="*/ 3164 w 18008"/>
                  <a:gd name="T97" fmla="*/ 3542 h 10801"/>
                  <a:gd name="T98" fmla="*/ 4258 w 18008"/>
                  <a:gd name="T99" fmla="*/ 5386 h 10801"/>
                  <a:gd name="T100" fmla="*/ 1909 w 18008"/>
                  <a:gd name="T101" fmla="*/ 4548 h 10801"/>
                  <a:gd name="T102" fmla="*/ 5136 w 18008"/>
                  <a:gd name="T103" fmla="*/ 6510 h 10801"/>
                  <a:gd name="T104" fmla="*/ 4572 w 18008"/>
                  <a:gd name="T105" fmla="*/ 8336 h 10801"/>
                  <a:gd name="T106" fmla="*/ 875 w 18008"/>
                  <a:gd name="T107" fmla="*/ 7620 h 10801"/>
                  <a:gd name="T108" fmla="*/ 2842 w 18008"/>
                  <a:gd name="T109" fmla="*/ 837 h 10801"/>
                  <a:gd name="T110" fmla="*/ 10952 w 18008"/>
                  <a:gd name="T111" fmla="*/ 8849 h 10801"/>
                  <a:gd name="T112" fmla="*/ 6962 w 18008"/>
                  <a:gd name="T113" fmla="*/ 9457 h 10801"/>
                  <a:gd name="T114" fmla="*/ 9342 w 18008"/>
                  <a:gd name="T115" fmla="*/ 5441 h 10801"/>
                  <a:gd name="T116" fmla="*/ 7767 w 18008"/>
                  <a:gd name="T117" fmla="*/ 6519 h 10801"/>
                  <a:gd name="T118" fmla="*/ 3027 w 18008"/>
                  <a:gd name="T119" fmla="*/ 3056 h 10801"/>
                  <a:gd name="T120" fmla="*/ 8061 w 18008"/>
                  <a:gd name="T121" fmla="*/ 3479 h 10801"/>
                  <a:gd name="T122" fmla="*/ 2151 w 18008"/>
                  <a:gd name="T123" fmla="*/ 1153 h 10801"/>
                  <a:gd name="T124" fmla="*/ 7618 w 18008"/>
                  <a:gd name="T125" fmla="*/ 6752 h 10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08" h="10801">
                    <a:moveTo>
                      <a:pt x="18005" y="9727"/>
                    </a:moveTo>
                    <a:cubicBezTo>
                      <a:pt x="18005" y="9644"/>
                      <a:pt x="18005" y="9644"/>
                      <a:pt x="18005" y="9644"/>
                    </a:cubicBezTo>
                    <a:cubicBezTo>
                      <a:pt x="18006" y="9645"/>
                      <a:pt x="18007" y="9646"/>
                      <a:pt x="18008" y="9647"/>
                    </a:cubicBezTo>
                    <a:cubicBezTo>
                      <a:pt x="18008" y="9730"/>
                      <a:pt x="18008" y="9730"/>
                      <a:pt x="18008" y="9730"/>
                    </a:cubicBezTo>
                    <a:cubicBezTo>
                      <a:pt x="18007" y="9729"/>
                      <a:pt x="18006" y="9728"/>
                      <a:pt x="18005" y="9727"/>
                    </a:cubicBezTo>
                    <a:close/>
                    <a:moveTo>
                      <a:pt x="18008" y="4545"/>
                    </a:moveTo>
                    <a:cubicBezTo>
                      <a:pt x="18008" y="4387"/>
                      <a:pt x="18008" y="4387"/>
                      <a:pt x="18008" y="4387"/>
                    </a:cubicBezTo>
                    <a:cubicBezTo>
                      <a:pt x="18007" y="4387"/>
                      <a:pt x="18006" y="4386"/>
                      <a:pt x="18005" y="4386"/>
                    </a:cubicBezTo>
                    <a:cubicBezTo>
                      <a:pt x="18005" y="4544"/>
                      <a:pt x="18005" y="4544"/>
                      <a:pt x="18005" y="4544"/>
                    </a:cubicBezTo>
                    <a:cubicBezTo>
                      <a:pt x="18006" y="4544"/>
                      <a:pt x="18007" y="4544"/>
                      <a:pt x="18008" y="4545"/>
                    </a:cubicBezTo>
                    <a:close/>
                    <a:moveTo>
                      <a:pt x="18008" y="4895"/>
                    </a:moveTo>
                    <a:cubicBezTo>
                      <a:pt x="18008" y="4819"/>
                      <a:pt x="18008" y="4819"/>
                      <a:pt x="18008" y="4819"/>
                    </a:cubicBezTo>
                    <a:cubicBezTo>
                      <a:pt x="18007" y="4820"/>
                      <a:pt x="18006" y="4821"/>
                      <a:pt x="18005" y="4821"/>
                    </a:cubicBezTo>
                    <a:cubicBezTo>
                      <a:pt x="18005" y="4896"/>
                      <a:pt x="18005" y="4896"/>
                      <a:pt x="18005" y="4896"/>
                    </a:cubicBezTo>
                    <a:cubicBezTo>
                      <a:pt x="18006" y="4896"/>
                      <a:pt x="18007" y="4895"/>
                      <a:pt x="18008" y="4895"/>
                    </a:cubicBezTo>
                    <a:close/>
                    <a:moveTo>
                      <a:pt x="758" y="3560"/>
                    </a:moveTo>
                    <a:cubicBezTo>
                      <a:pt x="636" y="3338"/>
                      <a:pt x="636" y="3338"/>
                      <a:pt x="636" y="3338"/>
                    </a:cubicBezTo>
                    <a:cubicBezTo>
                      <a:pt x="694" y="3306"/>
                      <a:pt x="694" y="3306"/>
                      <a:pt x="694" y="3306"/>
                    </a:cubicBezTo>
                    <a:cubicBezTo>
                      <a:pt x="817" y="3529"/>
                      <a:pt x="817" y="3529"/>
                      <a:pt x="817" y="3529"/>
                    </a:cubicBezTo>
                    <a:lnTo>
                      <a:pt x="758" y="3560"/>
                    </a:lnTo>
                    <a:close/>
                    <a:moveTo>
                      <a:pt x="654" y="3343"/>
                    </a:moveTo>
                    <a:cubicBezTo>
                      <a:pt x="763" y="3541"/>
                      <a:pt x="763" y="3541"/>
                      <a:pt x="763" y="3541"/>
                    </a:cubicBezTo>
                    <a:cubicBezTo>
                      <a:pt x="798" y="3523"/>
                      <a:pt x="798" y="3523"/>
                      <a:pt x="798" y="3523"/>
                    </a:cubicBezTo>
                    <a:cubicBezTo>
                      <a:pt x="688" y="3325"/>
                      <a:pt x="688" y="3325"/>
                      <a:pt x="688" y="3325"/>
                    </a:cubicBezTo>
                    <a:lnTo>
                      <a:pt x="654" y="3343"/>
                    </a:lnTo>
                    <a:close/>
                    <a:moveTo>
                      <a:pt x="10918" y="9436"/>
                    </a:moveTo>
                    <a:cubicBezTo>
                      <a:pt x="10984" y="9525"/>
                      <a:pt x="10984" y="9525"/>
                      <a:pt x="10984" y="9525"/>
                    </a:cubicBezTo>
                    <a:cubicBezTo>
                      <a:pt x="10860" y="9618"/>
                      <a:pt x="10860" y="9618"/>
                      <a:pt x="10860" y="9618"/>
                    </a:cubicBezTo>
                    <a:cubicBezTo>
                      <a:pt x="10794" y="9529"/>
                      <a:pt x="10794" y="9529"/>
                      <a:pt x="10794" y="9529"/>
                    </a:cubicBezTo>
                    <a:cubicBezTo>
                      <a:pt x="10799" y="9525"/>
                      <a:pt x="10799" y="9525"/>
                      <a:pt x="10799" y="9525"/>
                    </a:cubicBezTo>
                    <a:lnTo>
                      <a:pt x="10918" y="9436"/>
                    </a:lnTo>
                    <a:close/>
                    <a:moveTo>
                      <a:pt x="10966" y="9522"/>
                    </a:moveTo>
                    <a:cubicBezTo>
                      <a:pt x="10915" y="9454"/>
                      <a:pt x="10915" y="9454"/>
                      <a:pt x="10915" y="9454"/>
                    </a:cubicBezTo>
                    <a:cubicBezTo>
                      <a:pt x="10812" y="9532"/>
                      <a:pt x="10812" y="9532"/>
                      <a:pt x="10812" y="9532"/>
                    </a:cubicBezTo>
                    <a:cubicBezTo>
                      <a:pt x="10863" y="9599"/>
                      <a:pt x="10863" y="9599"/>
                      <a:pt x="10863" y="9599"/>
                    </a:cubicBezTo>
                    <a:lnTo>
                      <a:pt x="10966" y="9522"/>
                    </a:lnTo>
                    <a:close/>
                    <a:moveTo>
                      <a:pt x="8471" y="4773"/>
                    </a:moveTo>
                    <a:cubicBezTo>
                      <a:pt x="8763" y="4716"/>
                      <a:pt x="8763" y="4716"/>
                      <a:pt x="8763" y="4716"/>
                    </a:cubicBezTo>
                    <a:cubicBezTo>
                      <a:pt x="8756" y="4730"/>
                      <a:pt x="8756" y="4730"/>
                      <a:pt x="8756" y="4730"/>
                    </a:cubicBezTo>
                    <a:cubicBezTo>
                      <a:pt x="8455" y="5325"/>
                      <a:pt x="8455" y="5325"/>
                      <a:pt x="8455" y="5325"/>
                    </a:cubicBezTo>
                    <a:cubicBezTo>
                      <a:pt x="8412" y="5264"/>
                      <a:pt x="8412" y="5264"/>
                      <a:pt x="8412" y="5264"/>
                    </a:cubicBezTo>
                    <a:cubicBezTo>
                      <a:pt x="8390" y="5315"/>
                      <a:pt x="8295" y="5502"/>
                      <a:pt x="8123" y="5508"/>
                    </a:cubicBezTo>
                    <a:cubicBezTo>
                      <a:pt x="8121" y="5508"/>
                      <a:pt x="8120" y="5508"/>
                      <a:pt x="8118" y="5508"/>
                    </a:cubicBezTo>
                    <a:cubicBezTo>
                      <a:pt x="8020" y="5508"/>
                      <a:pt x="7968" y="5430"/>
                      <a:pt x="7942" y="5355"/>
                    </a:cubicBezTo>
                    <a:cubicBezTo>
                      <a:pt x="7920" y="5294"/>
                      <a:pt x="7914" y="5234"/>
                      <a:pt x="7913" y="5212"/>
                    </a:cubicBezTo>
                    <a:cubicBezTo>
                      <a:pt x="7669" y="5261"/>
                      <a:pt x="7669" y="5261"/>
                      <a:pt x="7669" y="5261"/>
                    </a:cubicBezTo>
                    <a:cubicBezTo>
                      <a:pt x="7966" y="4650"/>
                      <a:pt x="7966" y="4650"/>
                      <a:pt x="7966" y="4650"/>
                    </a:cubicBezTo>
                    <a:cubicBezTo>
                      <a:pt x="8039" y="4765"/>
                      <a:pt x="8039" y="4765"/>
                      <a:pt x="8039" y="4765"/>
                    </a:cubicBezTo>
                    <a:cubicBezTo>
                      <a:pt x="8064" y="4728"/>
                      <a:pt x="8158" y="4598"/>
                      <a:pt x="8287" y="4598"/>
                    </a:cubicBezTo>
                    <a:cubicBezTo>
                      <a:pt x="8295" y="4598"/>
                      <a:pt x="8303" y="4598"/>
                      <a:pt x="8312" y="4599"/>
                    </a:cubicBezTo>
                    <a:cubicBezTo>
                      <a:pt x="8414" y="4614"/>
                      <a:pt x="8461" y="4742"/>
                      <a:pt x="8471" y="4773"/>
                    </a:cubicBezTo>
                    <a:close/>
                    <a:moveTo>
                      <a:pt x="8736" y="4737"/>
                    </a:moveTo>
                    <a:cubicBezTo>
                      <a:pt x="8460" y="4790"/>
                      <a:pt x="8460" y="4790"/>
                      <a:pt x="8460" y="4790"/>
                    </a:cubicBezTo>
                    <a:cubicBezTo>
                      <a:pt x="8459" y="4783"/>
                      <a:pt x="8459" y="4783"/>
                      <a:pt x="8459" y="4783"/>
                    </a:cubicBezTo>
                    <a:cubicBezTo>
                      <a:pt x="8459" y="4783"/>
                      <a:pt x="8447" y="4744"/>
                      <a:pt x="8423" y="4703"/>
                    </a:cubicBezTo>
                    <a:cubicBezTo>
                      <a:pt x="8398" y="4662"/>
                      <a:pt x="8361" y="4621"/>
                      <a:pt x="8310" y="4614"/>
                    </a:cubicBezTo>
                    <a:cubicBezTo>
                      <a:pt x="8302" y="4613"/>
                      <a:pt x="8294" y="4612"/>
                      <a:pt x="8287" y="4612"/>
                    </a:cubicBezTo>
                    <a:cubicBezTo>
                      <a:pt x="8218" y="4612"/>
                      <a:pt x="8157" y="4654"/>
                      <a:pt x="8114" y="4697"/>
                    </a:cubicBezTo>
                    <a:cubicBezTo>
                      <a:pt x="8071" y="4740"/>
                      <a:pt x="8046" y="4782"/>
                      <a:pt x="8046" y="4782"/>
                    </a:cubicBezTo>
                    <a:cubicBezTo>
                      <a:pt x="8040" y="4793"/>
                      <a:pt x="8040" y="4793"/>
                      <a:pt x="8040" y="4793"/>
                    </a:cubicBezTo>
                    <a:cubicBezTo>
                      <a:pt x="7967" y="4680"/>
                      <a:pt x="7967" y="4680"/>
                      <a:pt x="7967" y="4680"/>
                    </a:cubicBezTo>
                    <a:cubicBezTo>
                      <a:pt x="7695" y="5240"/>
                      <a:pt x="7695" y="5240"/>
                      <a:pt x="7695" y="5240"/>
                    </a:cubicBezTo>
                    <a:cubicBezTo>
                      <a:pt x="7927" y="5195"/>
                      <a:pt x="7927" y="5195"/>
                      <a:pt x="7927" y="5195"/>
                    </a:cubicBezTo>
                    <a:cubicBezTo>
                      <a:pt x="7927" y="5203"/>
                      <a:pt x="7927" y="5203"/>
                      <a:pt x="7927" y="5203"/>
                    </a:cubicBezTo>
                    <a:cubicBezTo>
                      <a:pt x="7927" y="5203"/>
                      <a:pt x="7930" y="5277"/>
                      <a:pt x="7956" y="5350"/>
                    </a:cubicBezTo>
                    <a:cubicBezTo>
                      <a:pt x="7982" y="5423"/>
                      <a:pt x="8029" y="5493"/>
                      <a:pt x="8118" y="5493"/>
                    </a:cubicBezTo>
                    <a:cubicBezTo>
                      <a:pt x="8120" y="5493"/>
                      <a:pt x="8121" y="5493"/>
                      <a:pt x="8123" y="5493"/>
                    </a:cubicBezTo>
                    <a:cubicBezTo>
                      <a:pt x="8215" y="5491"/>
                      <a:pt x="8285" y="5430"/>
                      <a:pt x="8333" y="5368"/>
                    </a:cubicBezTo>
                    <a:cubicBezTo>
                      <a:pt x="8380" y="5307"/>
                      <a:pt x="8404" y="5247"/>
                      <a:pt x="8404" y="5246"/>
                    </a:cubicBezTo>
                    <a:cubicBezTo>
                      <a:pt x="8409" y="5234"/>
                      <a:pt x="8409" y="5234"/>
                      <a:pt x="8409" y="5234"/>
                    </a:cubicBezTo>
                    <a:cubicBezTo>
                      <a:pt x="8453" y="5296"/>
                      <a:pt x="8453" y="5296"/>
                      <a:pt x="8453" y="5296"/>
                    </a:cubicBezTo>
                    <a:lnTo>
                      <a:pt x="8736" y="4737"/>
                    </a:lnTo>
                    <a:close/>
                    <a:moveTo>
                      <a:pt x="8133" y="119"/>
                    </a:moveTo>
                    <a:cubicBezTo>
                      <a:pt x="8254" y="198"/>
                      <a:pt x="8254" y="198"/>
                      <a:pt x="8254" y="198"/>
                    </a:cubicBezTo>
                    <a:cubicBezTo>
                      <a:pt x="8213" y="262"/>
                      <a:pt x="8213" y="262"/>
                      <a:pt x="8213" y="262"/>
                    </a:cubicBezTo>
                    <a:cubicBezTo>
                      <a:pt x="8086" y="179"/>
                      <a:pt x="8086" y="179"/>
                      <a:pt x="8086" y="179"/>
                    </a:cubicBezTo>
                    <a:cubicBezTo>
                      <a:pt x="8127" y="115"/>
                      <a:pt x="8127" y="115"/>
                      <a:pt x="8127" y="115"/>
                    </a:cubicBezTo>
                    <a:lnTo>
                      <a:pt x="8133" y="119"/>
                    </a:lnTo>
                    <a:close/>
                    <a:moveTo>
                      <a:pt x="8236" y="202"/>
                    </a:moveTo>
                    <a:cubicBezTo>
                      <a:pt x="8131" y="134"/>
                      <a:pt x="8131" y="134"/>
                      <a:pt x="8131" y="134"/>
                    </a:cubicBezTo>
                    <a:cubicBezTo>
                      <a:pt x="8104" y="175"/>
                      <a:pt x="8104" y="175"/>
                      <a:pt x="8104" y="175"/>
                    </a:cubicBezTo>
                    <a:cubicBezTo>
                      <a:pt x="8209" y="244"/>
                      <a:pt x="8209" y="244"/>
                      <a:pt x="8209" y="244"/>
                    </a:cubicBezTo>
                    <a:lnTo>
                      <a:pt x="8236" y="202"/>
                    </a:lnTo>
                    <a:close/>
                    <a:moveTo>
                      <a:pt x="6331" y="9963"/>
                    </a:moveTo>
                    <a:cubicBezTo>
                      <a:pt x="6332" y="10148"/>
                      <a:pt x="6332" y="10148"/>
                      <a:pt x="6332" y="10148"/>
                    </a:cubicBezTo>
                    <a:cubicBezTo>
                      <a:pt x="6222" y="10149"/>
                      <a:pt x="6222" y="10149"/>
                      <a:pt x="6222" y="10149"/>
                    </a:cubicBezTo>
                    <a:cubicBezTo>
                      <a:pt x="6222" y="10076"/>
                      <a:pt x="6222" y="10076"/>
                      <a:pt x="6222" y="10076"/>
                    </a:cubicBezTo>
                    <a:cubicBezTo>
                      <a:pt x="6164" y="10076"/>
                      <a:pt x="6164" y="10076"/>
                      <a:pt x="6164" y="10076"/>
                    </a:cubicBezTo>
                    <a:cubicBezTo>
                      <a:pt x="6164" y="10070"/>
                      <a:pt x="6164" y="10070"/>
                      <a:pt x="6164" y="10070"/>
                    </a:cubicBezTo>
                    <a:cubicBezTo>
                      <a:pt x="6161" y="9953"/>
                      <a:pt x="6161" y="9953"/>
                      <a:pt x="6161" y="9953"/>
                    </a:cubicBezTo>
                    <a:cubicBezTo>
                      <a:pt x="6278" y="9953"/>
                      <a:pt x="6278" y="9953"/>
                      <a:pt x="6278" y="9953"/>
                    </a:cubicBezTo>
                    <a:cubicBezTo>
                      <a:pt x="6278" y="9963"/>
                      <a:pt x="6278" y="9963"/>
                      <a:pt x="6278" y="9963"/>
                    </a:cubicBezTo>
                    <a:lnTo>
                      <a:pt x="6331" y="9963"/>
                    </a:lnTo>
                    <a:close/>
                    <a:moveTo>
                      <a:pt x="6319" y="10135"/>
                    </a:moveTo>
                    <a:cubicBezTo>
                      <a:pt x="6318" y="9976"/>
                      <a:pt x="6318" y="9976"/>
                      <a:pt x="6318" y="9976"/>
                    </a:cubicBezTo>
                    <a:cubicBezTo>
                      <a:pt x="6265" y="9976"/>
                      <a:pt x="6265" y="9976"/>
                      <a:pt x="6265" y="9976"/>
                    </a:cubicBezTo>
                    <a:cubicBezTo>
                      <a:pt x="6265" y="9966"/>
                      <a:pt x="6265" y="9966"/>
                      <a:pt x="6265" y="9966"/>
                    </a:cubicBezTo>
                    <a:cubicBezTo>
                      <a:pt x="6174" y="9966"/>
                      <a:pt x="6174" y="9966"/>
                      <a:pt x="6174" y="9966"/>
                    </a:cubicBezTo>
                    <a:cubicBezTo>
                      <a:pt x="6177" y="10063"/>
                      <a:pt x="6177" y="10063"/>
                      <a:pt x="6177" y="10063"/>
                    </a:cubicBezTo>
                    <a:cubicBezTo>
                      <a:pt x="6235" y="10063"/>
                      <a:pt x="6235" y="10063"/>
                      <a:pt x="6235" y="10063"/>
                    </a:cubicBezTo>
                    <a:cubicBezTo>
                      <a:pt x="6235" y="10136"/>
                      <a:pt x="6235" y="10136"/>
                      <a:pt x="6235" y="10136"/>
                    </a:cubicBezTo>
                    <a:lnTo>
                      <a:pt x="6319" y="10135"/>
                    </a:lnTo>
                    <a:close/>
                    <a:moveTo>
                      <a:pt x="11782" y="9825"/>
                    </a:moveTo>
                    <a:cubicBezTo>
                      <a:pt x="11847" y="9914"/>
                      <a:pt x="11847" y="9914"/>
                      <a:pt x="11847" y="9914"/>
                    </a:cubicBezTo>
                    <a:cubicBezTo>
                      <a:pt x="11722" y="10006"/>
                      <a:pt x="11722" y="10006"/>
                      <a:pt x="11722" y="10006"/>
                    </a:cubicBezTo>
                    <a:cubicBezTo>
                      <a:pt x="11656" y="9916"/>
                      <a:pt x="11656" y="9916"/>
                      <a:pt x="11656" y="9916"/>
                    </a:cubicBezTo>
                    <a:cubicBezTo>
                      <a:pt x="11662" y="9912"/>
                      <a:pt x="11662" y="9912"/>
                      <a:pt x="11662" y="9912"/>
                    </a:cubicBezTo>
                    <a:lnTo>
                      <a:pt x="11782" y="9825"/>
                    </a:lnTo>
                    <a:close/>
                    <a:moveTo>
                      <a:pt x="11829" y="9912"/>
                    </a:moveTo>
                    <a:cubicBezTo>
                      <a:pt x="11779" y="9843"/>
                      <a:pt x="11779" y="9843"/>
                      <a:pt x="11779" y="9843"/>
                    </a:cubicBezTo>
                    <a:cubicBezTo>
                      <a:pt x="11675" y="9919"/>
                      <a:pt x="11675" y="9919"/>
                      <a:pt x="11675" y="9919"/>
                    </a:cubicBezTo>
                    <a:cubicBezTo>
                      <a:pt x="11725" y="9987"/>
                      <a:pt x="11725" y="9987"/>
                      <a:pt x="11725" y="9987"/>
                    </a:cubicBezTo>
                    <a:lnTo>
                      <a:pt x="11829" y="9912"/>
                    </a:lnTo>
                    <a:close/>
                    <a:moveTo>
                      <a:pt x="7859" y="442"/>
                    </a:moveTo>
                    <a:cubicBezTo>
                      <a:pt x="7756" y="330"/>
                      <a:pt x="7756" y="330"/>
                      <a:pt x="7756" y="330"/>
                    </a:cubicBezTo>
                    <a:cubicBezTo>
                      <a:pt x="7812" y="279"/>
                      <a:pt x="7812" y="279"/>
                      <a:pt x="7812" y="279"/>
                    </a:cubicBezTo>
                    <a:cubicBezTo>
                      <a:pt x="7816" y="284"/>
                      <a:pt x="7816" y="284"/>
                      <a:pt x="7816" y="284"/>
                    </a:cubicBezTo>
                    <a:cubicBezTo>
                      <a:pt x="7915" y="390"/>
                      <a:pt x="7915" y="390"/>
                      <a:pt x="7915" y="390"/>
                    </a:cubicBezTo>
                    <a:lnTo>
                      <a:pt x="7859" y="442"/>
                    </a:lnTo>
                    <a:close/>
                    <a:moveTo>
                      <a:pt x="7775" y="331"/>
                    </a:moveTo>
                    <a:cubicBezTo>
                      <a:pt x="7860" y="423"/>
                      <a:pt x="7860" y="423"/>
                      <a:pt x="7860" y="423"/>
                    </a:cubicBezTo>
                    <a:cubicBezTo>
                      <a:pt x="7896" y="389"/>
                      <a:pt x="7896" y="389"/>
                      <a:pt x="7896" y="389"/>
                    </a:cubicBezTo>
                    <a:cubicBezTo>
                      <a:pt x="7811" y="297"/>
                      <a:pt x="7811" y="297"/>
                      <a:pt x="7811" y="297"/>
                    </a:cubicBezTo>
                    <a:lnTo>
                      <a:pt x="7775" y="331"/>
                    </a:lnTo>
                    <a:close/>
                    <a:moveTo>
                      <a:pt x="6586" y="10060"/>
                    </a:moveTo>
                    <a:cubicBezTo>
                      <a:pt x="6704" y="10061"/>
                      <a:pt x="6704" y="10061"/>
                      <a:pt x="6704" y="10061"/>
                    </a:cubicBezTo>
                    <a:cubicBezTo>
                      <a:pt x="6700" y="10183"/>
                      <a:pt x="6700" y="10183"/>
                      <a:pt x="6700" y="10183"/>
                    </a:cubicBezTo>
                    <a:cubicBezTo>
                      <a:pt x="6694" y="10183"/>
                      <a:pt x="6694" y="10183"/>
                      <a:pt x="6694" y="10183"/>
                    </a:cubicBezTo>
                    <a:cubicBezTo>
                      <a:pt x="6643" y="10183"/>
                      <a:pt x="6643" y="10183"/>
                      <a:pt x="6643" y="10183"/>
                    </a:cubicBezTo>
                    <a:cubicBezTo>
                      <a:pt x="6643" y="10256"/>
                      <a:pt x="6643" y="10256"/>
                      <a:pt x="6643" y="10256"/>
                    </a:cubicBezTo>
                    <a:cubicBezTo>
                      <a:pt x="6533" y="10255"/>
                      <a:pt x="6533" y="10255"/>
                      <a:pt x="6533" y="10255"/>
                    </a:cubicBezTo>
                    <a:cubicBezTo>
                      <a:pt x="6534" y="10070"/>
                      <a:pt x="6534" y="10070"/>
                      <a:pt x="6534" y="10070"/>
                    </a:cubicBezTo>
                    <a:cubicBezTo>
                      <a:pt x="6586" y="10070"/>
                      <a:pt x="6586" y="10070"/>
                      <a:pt x="6586" y="10070"/>
                    </a:cubicBezTo>
                    <a:cubicBezTo>
                      <a:pt x="6586" y="10066"/>
                      <a:pt x="6586" y="10066"/>
                      <a:pt x="6586" y="10066"/>
                    </a:cubicBezTo>
                    <a:lnTo>
                      <a:pt x="6586" y="10060"/>
                    </a:lnTo>
                    <a:close/>
                    <a:moveTo>
                      <a:pt x="6599" y="10083"/>
                    </a:moveTo>
                    <a:cubicBezTo>
                      <a:pt x="6547" y="10083"/>
                      <a:pt x="6547" y="10083"/>
                      <a:pt x="6547" y="10083"/>
                    </a:cubicBezTo>
                    <a:cubicBezTo>
                      <a:pt x="6546" y="10242"/>
                      <a:pt x="6546" y="10242"/>
                      <a:pt x="6546" y="10242"/>
                    </a:cubicBezTo>
                    <a:cubicBezTo>
                      <a:pt x="6629" y="10243"/>
                      <a:pt x="6629" y="10243"/>
                      <a:pt x="6629" y="10243"/>
                    </a:cubicBezTo>
                    <a:cubicBezTo>
                      <a:pt x="6630" y="10170"/>
                      <a:pt x="6630" y="10170"/>
                      <a:pt x="6630" y="10170"/>
                    </a:cubicBezTo>
                    <a:cubicBezTo>
                      <a:pt x="6688" y="10170"/>
                      <a:pt x="6688" y="10170"/>
                      <a:pt x="6688" y="10170"/>
                    </a:cubicBezTo>
                    <a:cubicBezTo>
                      <a:pt x="6690" y="10074"/>
                      <a:pt x="6690" y="10074"/>
                      <a:pt x="6690" y="10074"/>
                    </a:cubicBezTo>
                    <a:cubicBezTo>
                      <a:pt x="6599" y="10073"/>
                      <a:pt x="6599" y="10073"/>
                      <a:pt x="6599" y="10073"/>
                    </a:cubicBezTo>
                    <a:cubicBezTo>
                      <a:pt x="6599" y="10077"/>
                      <a:pt x="6599" y="10077"/>
                      <a:pt x="6599" y="10077"/>
                    </a:cubicBezTo>
                    <a:lnTo>
                      <a:pt x="6599" y="10083"/>
                    </a:lnTo>
                    <a:close/>
                    <a:moveTo>
                      <a:pt x="656" y="4687"/>
                    </a:moveTo>
                    <a:cubicBezTo>
                      <a:pt x="274" y="4866"/>
                      <a:pt x="274" y="4866"/>
                      <a:pt x="274" y="4866"/>
                    </a:cubicBezTo>
                    <a:cubicBezTo>
                      <a:pt x="255" y="4962"/>
                      <a:pt x="255" y="4962"/>
                      <a:pt x="255" y="4962"/>
                    </a:cubicBezTo>
                    <a:cubicBezTo>
                      <a:pt x="140" y="4913"/>
                      <a:pt x="140" y="4913"/>
                      <a:pt x="140" y="4913"/>
                    </a:cubicBezTo>
                    <a:cubicBezTo>
                      <a:pt x="165" y="4811"/>
                      <a:pt x="165" y="4811"/>
                      <a:pt x="165" y="4811"/>
                    </a:cubicBezTo>
                    <a:cubicBezTo>
                      <a:pt x="598" y="4604"/>
                      <a:pt x="598" y="4604"/>
                      <a:pt x="598" y="4604"/>
                    </a:cubicBezTo>
                    <a:cubicBezTo>
                      <a:pt x="601" y="4609"/>
                      <a:pt x="601" y="4609"/>
                      <a:pt x="601" y="4609"/>
                    </a:cubicBezTo>
                    <a:lnTo>
                      <a:pt x="656" y="4687"/>
                    </a:lnTo>
                    <a:close/>
                    <a:moveTo>
                      <a:pt x="633" y="4681"/>
                    </a:moveTo>
                    <a:cubicBezTo>
                      <a:pt x="593" y="4622"/>
                      <a:pt x="593" y="4622"/>
                      <a:pt x="593" y="4622"/>
                    </a:cubicBezTo>
                    <a:cubicBezTo>
                      <a:pt x="178" y="4821"/>
                      <a:pt x="178" y="4821"/>
                      <a:pt x="178" y="4821"/>
                    </a:cubicBezTo>
                    <a:cubicBezTo>
                      <a:pt x="158" y="4904"/>
                      <a:pt x="158" y="4904"/>
                      <a:pt x="158" y="4904"/>
                    </a:cubicBezTo>
                    <a:cubicBezTo>
                      <a:pt x="244" y="4941"/>
                      <a:pt x="244" y="4941"/>
                      <a:pt x="244" y="4941"/>
                    </a:cubicBezTo>
                    <a:cubicBezTo>
                      <a:pt x="261" y="4856"/>
                      <a:pt x="261" y="4856"/>
                      <a:pt x="261" y="4856"/>
                    </a:cubicBezTo>
                    <a:lnTo>
                      <a:pt x="633" y="4681"/>
                    </a:lnTo>
                    <a:close/>
                    <a:moveTo>
                      <a:pt x="12658" y="1955"/>
                    </a:moveTo>
                    <a:cubicBezTo>
                      <a:pt x="12793" y="1957"/>
                      <a:pt x="12793" y="1957"/>
                      <a:pt x="12793" y="1957"/>
                    </a:cubicBezTo>
                    <a:cubicBezTo>
                      <a:pt x="12792" y="2149"/>
                      <a:pt x="12792" y="2149"/>
                      <a:pt x="12792" y="2149"/>
                    </a:cubicBezTo>
                    <a:cubicBezTo>
                      <a:pt x="12785" y="2149"/>
                      <a:pt x="12785" y="2149"/>
                      <a:pt x="12785" y="2149"/>
                    </a:cubicBezTo>
                    <a:cubicBezTo>
                      <a:pt x="12702" y="2150"/>
                      <a:pt x="12702" y="2150"/>
                      <a:pt x="12702" y="2150"/>
                    </a:cubicBezTo>
                    <a:cubicBezTo>
                      <a:pt x="12701" y="2192"/>
                      <a:pt x="12701" y="2192"/>
                      <a:pt x="12701" y="2192"/>
                    </a:cubicBezTo>
                    <a:cubicBezTo>
                      <a:pt x="12618" y="2190"/>
                      <a:pt x="12618" y="2190"/>
                      <a:pt x="12618" y="2190"/>
                    </a:cubicBezTo>
                    <a:cubicBezTo>
                      <a:pt x="12614" y="2147"/>
                      <a:pt x="12614" y="2147"/>
                      <a:pt x="12614" y="2147"/>
                    </a:cubicBezTo>
                    <a:cubicBezTo>
                      <a:pt x="12479" y="2146"/>
                      <a:pt x="12479" y="2146"/>
                      <a:pt x="12479" y="2146"/>
                    </a:cubicBezTo>
                    <a:cubicBezTo>
                      <a:pt x="12477" y="2091"/>
                      <a:pt x="12477" y="2091"/>
                      <a:pt x="12477" y="2091"/>
                    </a:cubicBezTo>
                    <a:cubicBezTo>
                      <a:pt x="12458" y="2089"/>
                      <a:pt x="12458" y="2089"/>
                      <a:pt x="12458" y="2089"/>
                    </a:cubicBezTo>
                    <a:cubicBezTo>
                      <a:pt x="12452" y="2089"/>
                      <a:pt x="12452" y="2089"/>
                      <a:pt x="12452" y="2089"/>
                    </a:cubicBezTo>
                    <a:cubicBezTo>
                      <a:pt x="12451" y="2021"/>
                      <a:pt x="12451" y="2021"/>
                      <a:pt x="12451" y="2021"/>
                    </a:cubicBezTo>
                    <a:cubicBezTo>
                      <a:pt x="12483" y="2019"/>
                      <a:pt x="12483" y="2019"/>
                      <a:pt x="12483" y="2019"/>
                    </a:cubicBezTo>
                    <a:cubicBezTo>
                      <a:pt x="12481" y="1954"/>
                      <a:pt x="12481" y="1954"/>
                      <a:pt x="12481" y="1954"/>
                    </a:cubicBezTo>
                    <a:cubicBezTo>
                      <a:pt x="12557" y="1954"/>
                      <a:pt x="12557" y="1954"/>
                      <a:pt x="12557" y="1954"/>
                    </a:cubicBezTo>
                    <a:cubicBezTo>
                      <a:pt x="12556" y="1935"/>
                      <a:pt x="12556" y="1935"/>
                      <a:pt x="12556" y="1935"/>
                    </a:cubicBezTo>
                    <a:cubicBezTo>
                      <a:pt x="12555" y="1929"/>
                      <a:pt x="12555" y="1929"/>
                      <a:pt x="12555" y="1929"/>
                    </a:cubicBezTo>
                    <a:cubicBezTo>
                      <a:pt x="12657" y="1926"/>
                      <a:pt x="12657" y="1926"/>
                      <a:pt x="12657" y="1926"/>
                    </a:cubicBezTo>
                    <a:lnTo>
                      <a:pt x="12658" y="1955"/>
                    </a:lnTo>
                    <a:close/>
                    <a:moveTo>
                      <a:pt x="12780" y="1970"/>
                    </a:moveTo>
                    <a:cubicBezTo>
                      <a:pt x="12646" y="1968"/>
                      <a:pt x="12646" y="1968"/>
                      <a:pt x="12646" y="1968"/>
                    </a:cubicBezTo>
                    <a:cubicBezTo>
                      <a:pt x="12644" y="1939"/>
                      <a:pt x="12644" y="1939"/>
                      <a:pt x="12644" y="1939"/>
                    </a:cubicBezTo>
                    <a:cubicBezTo>
                      <a:pt x="12569" y="1941"/>
                      <a:pt x="12569" y="1941"/>
                      <a:pt x="12569" y="1941"/>
                    </a:cubicBezTo>
                    <a:cubicBezTo>
                      <a:pt x="12570" y="1960"/>
                      <a:pt x="12570" y="1960"/>
                      <a:pt x="12570" y="1960"/>
                    </a:cubicBezTo>
                    <a:cubicBezTo>
                      <a:pt x="12570" y="1967"/>
                      <a:pt x="12570" y="1967"/>
                      <a:pt x="12570" y="1967"/>
                    </a:cubicBezTo>
                    <a:cubicBezTo>
                      <a:pt x="12495" y="1967"/>
                      <a:pt x="12495" y="1967"/>
                      <a:pt x="12495" y="1967"/>
                    </a:cubicBezTo>
                    <a:cubicBezTo>
                      <a:pt x="12497" y="2032"/>
                      <a:pt x="12497" y="2032"/>
                      <a:pt x="12497" y="2032"/>
                    </a:cubicBezTo>
                    <a:cubicBezTo>
                      <a:pt x="12464" y="2034"/>
                      <a:pt x="12464" y="2034"/>
                      <a:pt x="12464" y="2034"/>
                    </a:cubicBezTo>
                    <a:cubicBezTo>
                      <a:pt x="12464" y="2077"/>
                      <a:pt x="12464" y="2077"/>
                      <a:pt x="12464" y="2077"/>
                    </a:cubicBezTo>
                    <a:cubicBezTo>
                      <a:pt x="12484" y="2078"/>
                      <a:pt x="12484" y="2078"/>
                      <a:pt x="12484" y="2078"/>
                    </a:cubicBezTo>
                    <a:cubicBezTo>
                      <a:pt x="12490" y="2078"/>
                      <a:pt x="12490" y="2078"/>
                      <a:pt x="12490" y="2078"/>
                    </a:cubicBezTo>
                    <a:cubicBezTo>
                      <a:pt x="12492" y="2133"/>
                      <a:pt x="12492" y="2133"/>
                      <a:pt x="12492" y="2133"/>
                    </a:cubicBezTo>
                    <a:cubicBezTo>
                      <a:pt x="12625" y="2134"/>
                      <a:pt x="12625" y="2134"/>
                      <a:pt x="12625" y="2134"/>
                    </a:cubicBezTo>
                    <a:cubicBezTo>
                      <a:pt x="12630" y="2177"/>
                      <a:pt x="12630" y="2177"/>
                      <a:pt x="12630" y="2177"/>
                    </a:cubicBezTo>
                    <a:cubicBezTo>
                      <a:pt x="12688" y="2179"/>
                      <a:pt x="12688" y="2179"/>
                      <a:pt x="12688" y="2179"/>
                    </a:cubicBezTo>
                    <a:cubicBezTo>
                      <a:pt x="12689" y="2137"/>
                      <a:pt x="12689" y="2137"/>
                      <a:pt x="12689" y="2137"/>
                    </a:cubicBezTo>
                    <a:cubicBezTo>
                      <a:pt x="12779" y="2136"/>
                      <a:pt x="12779" y="2136"/>
                      <a:pt x="12779" y="2136"/>
                    </a:cubicBezTo>
                    <a:lnTo>
                      <a:pt x="12780" y="1970"/>
                    </a:lnTo>
                    <a:close/>
                    <a:moveTo>
                      <a:pt x="947" y="3733"/>
                    </a:moveTo>
                    <a:cubicBezTo>
                      <a:pt x="884" y="3773"/>
                      <a:pt x="884" y="3773"/>
                      <a:pt x="884" y="3773"/>
                    </a:cubicBezTo>
                    <a:cubicBezTo>
                      <a:pt x="743" y="3971"/>
                      <a:pt x="743" y="3971"/>
                      <a:pt x="743" y="3971"/>
                    </a:cubicBezTo>
                    <a:cubicBezTo>
                      <a:pt x="682" y="3903"/>
                      <a:pt x="682" y="3903"/>
                      <a:pt x="682" y="3903"/>
                    </a:cubicBezTo>
                    <a:cubicBezTo>
                      <a:pt x="789" y="3768"/>
                      <a:pt x="789" y="3768"/>
                      <a:pt x="789" y="3768"/>
                    </a:cubicBezTo>
                    <a:cubicBezTo>
                      <a:pt x="754" y="3711"/>
                      <a:pt x="754" y="3711"/>
                      <a:pt x="754" y="3711"/>
                    </a:cubicBezTo>
                    <a:cubicBezTo>
                      <a:pt x="820" y="3672"/>
                      <a:pt x="820" y="3672"/>
                      <a:pt x="820" y="3672"/>
                    </a:cubicBezTo>
                    <a:cubicBezTo>
                      <a:pt x="791" y="3614"/>
                      <a:pt x="791" y="3614"/>
                      <a:pt x="791" y="3614"/>
                    </a:cubicBezTo>
                    <a:cubicBezTo>
                      <a:pt x="851" y="3580"/>
                      <a:pt x="851" y="3580"/>
                      <a:pt x="851" y="3580"/>
                    </a:cubicBezTo>
                    <a:lnTo>
                      <a:pt x="947" y="3733"/>
                    </a:lnTo>
                    <a:close/>
                    <a:moveTo>
                      <a:pt x="928" y="3728"/>
                    </a:moveTo>
                    <a:cubicBezTo>
                      <a:pt x="846" y="3598"/>
                      <a:pt x="846" y="3598"/>
                      <a:pt x="846" y="3598"/>
                    </a:cubicBezTo>
                    <a:cubicBezTo>
                      <a:pt x="809" y="3620"/>
                      <a:pt x="809" y="3620"/>
                      <a:pt x="809" y="3620"/>
                    </a:cubicBezTo>
                    <a:cubicBezTo>
                      <a:pt x="833" y="3666"/>
                      <a:pt x="833" y="3666"/>
                      <a:pt x="833" y="3666"/>
                    </a:cubicBezTo>
                    <a:cubicBezTo>
                      <a:pt x="839" y="3678"/>
                      <a:pt x="839" y="3678"/>
                      <a:pt x="839" y="3678"/>
                    </a:cubicBezTo>
                    <a:cubicBezTo>
                      <a:pt x="827" y="3685"/>
                      <a:pt x="827" y="3685"/>
                      <a:pt x="827" y="3685"/>
                    </a:cubicBezTo>
                    <a:cubicBezTo>
                      <a:pt x="773" y="3716"/>
                      <a:pt x="773" y="3716"/>
                      <a:pt x="773" y="3716"/>
                    </a:cubicBezTo>
                    <a:cubicBezTo>
                      <a:pt x="801" y="3761"/>
                      <a:pt x="801" y="3761"/>
                      <a:pt x="801" y="3761"/>
                    </a:cubicBezTo>
                    <a:cubicBezTo>
                      <a:pt x="806" y="3769"/>
                      <a:pt x="806" y="3769"/>
                      <a:pt x="806" y="3769"/>
                    </a:cubicBezTo>
                    <a:cubicBezTo>
                      <a:pt x="800" y="3777"/>
                      <a:pt x="800" y="3777"/>
                      <a:pt x="800" y="3777"/>
                    </a:cubicBezTo>
                    <a:cubicBezTo>
                      <a:pt x="700" y="3903"/>
                      <a:pt x="700" y="3903"/>
                      <a:pt x="700" y="3903"/>
                    </a:cubicBezTo>
                    <a:cubicBezTo>
                      <a:pt x="741" y="3949"/>
                      <a:pt x="741" y="3949"/>
                      <a:pt x="741" y="3949"/>
                    </a:cubicBezTo>
                    <a:cubicBezTo>
                      <a:pt x="873" y="3765"/>
                      <a:pt x="873" y="3765"/>
                      <a:pt x="873" y="3765"/>
                    </a:cubicBezTo>
                    <a:cubicBezTo>
                      <a:pt x="874" y="3763"/>
                      <a:pt x="874" y="3763"/>
                      <a:pt x="874" y="3763"/>
                    </a:cubicBezTo>
                    <a:cubicBezTo>
                      <a:pt x="876" y="3761"/>
                      <a:pt x="876" y="3761"/>
                      <a:pt x="876" y="3761"/>
                    </a:cubicBezTo>
                    <a:lnTo>
                      <a:pt x="928" y="3728"/>
                    </a:lnTo>
                    <a:close/>
                    <a:moveTo>
                      <a:pt x="2996" y="181"/>
                    </a:moveTo>
                    <a:cubicBezTo>
                      <a:pt x="2918" y="0"/>
                      <a:pt x="2918" y="0"/>
                      <a:pt x="2918" y="0"/>
                    </a:cubicBezTo>
                    <a:cubicBezTo>
                      <a:pt x="2902" y="0"/>
                      <a:pt x="2902" y="0"/>
                      <a:pt x="2902" y="0"/>
                    </a:cubicBezTo>
                    <a:cubicBezTo>
                      <a:pt x="2976" y="171"/>
                      <a:pt x="2976" y="171"/>
                      <a:pt x="2976" y="171"/>
                    </a:cubicBezTo>
                    <a:cubicBezTo>
                      <a:pt x="2874" y="196"/>
                      <a:pt x="2874" y="196"/>
                      <a:pt x="2874" y="196"/>
                    </a:cubicBezTo>
                    <a:cubicBezTo>
                      <a:pt x="2865" y="0"/>
                      <a:pt x="2865" y="0"/>
                      <a:pt x="2865" y="0"/>
                    </a:cubicBezTo>
                    <a:cubicBezTo>
                      <a:pt x="2851" y="0"/>
                      <a:pt x="2851" y="0"/>
                      <a:pt x="2851" y="0"/>
                    </a:cubicBezTo>
                    <a:cubicBezTo>
                      <a:pt x="2860" y="215"/>
                      <a:pt x="2860" y="215"/>
                      <a:pt x="2860" y="215"/>
                    </a:cubicBezTo>
                    <a:lnTo>
                      <a:pt x="2996" y="181"/>
                    </a:lnTo>
                    <a:close/>
                    <a:moveTo>
                      <a:pt x="449" y="2022"/>
                    </a:moveTo>
                    <a:cubicBezTo>
                      <a:pt x="319" y="1992"/>
                      <a:pt x="319" y="1992"/>
                      <a:pt x="319" y="1992"/>
                    </a:cubicBezTo>
                    <a:cubicBezTo>
                      <a:pt x="369" y="1857"/>
                      <a:pt x="369" y="1857"/>
                      <a:pt x="369" y="1857"/>
                    </a:cubicBezTo>
                    <a:cubicBezTo>
                      <a:pt x="522" y="1788"/>
                      <a:pt x="522" y="1788"/>
                      <a:pt x="522" y="1788"/>
                    </a:cubicBezTo>
                    <a:cubicBezTo>
                      <a:pt x="566" y="1827"/>
                      <a:pt x="566" y="1827"/>
                      <a:pt x="566" y="1827"/>
                    </a:cubicBezTo>
                    <a:cubicBezTo>
                      <a:pt x="541" y="1916"/>
                      <a:pt x="541" y="1916"/>
                      <a:pt x="541" y="1916"/>
                    </a:cubicBezTo>
                    <a:cubicBezTo>
                      <a:pt x="486" y="1904"/>
                      <a:pt x="486" y="1904"/>
                      <a:pt x="486" y="1904"/>
                    </a:cubicBezTo>
                    <a:lnTo>
                      <a:pt x="449" y="2022"/>
                    </a:lnTo>
                    <a:close/>
                    <a:moveTo>
                      <a:pt x="439" y="2006"/>
                    </a:moveTo>
                    <a:cubicBezTo>
                      <a:pt x="473" y="1900"/>
                      <a:pt x="473" y="1900"/>
                      <a:pt x="473" y="1900"/>
                    </a:cubicBezTo>
                    <a:cubicBezTo>
                      <a:pt x="476" y="1887"/>
                      <a:pt x="476" y="1887"/>
                      <a:pt x="476" y="1887"/>
                    </a:cubicBezTo>
                    <a:cubicBezTo>
                      <a:pt x="489" y="1890"/>
                      <a:pt x="489" y="1890"/>
                      <a:pt x="489" y="1890"/>
                    </a:cubicBezTo>
                    <a:cubicBezTo>
                      <a:pt x="532" y="1900"/>
                      <a:pt x="532" y="1900"/>
                      <a:pt x="532" y="1900"/>
                    </a:cubicBezTo>
                    <a:cubicBezTo>
                      <a:pt x="551" y="1832"/>
                      <a:pt x="551" y="1832"/>
                      <a:pt x="551" y="1832"/>
                    </a:cubicBezTo>
                    <a:cubicBezTo>
                      <a:pt x="520" y="1804"/>
                      <a:pt x="520" y="1804"/>
                      <a:pt x="520" y="1804"/>
                    </a:cubicBezTo>
                    <a:cubicBezTo>
                      <a:pt x="380" y="1867"/>
                      <a:pt x="380" y="1867"/>
                      <a:pt x="380" y="1867"/>
                    </a:cubicBezTo>
                    <a:cubicBezTo>
                      <a:pt x="337" y="1982"/>
                      <a:pt x="337" y="1982"/>
                      <a:pt x="337" y="1982"/>
                    </a:cubicBezTo>
                    <a:lnTo>
                      <a:pt x="439" y="2006"/>
                    </a:lnTo>
                    <a:close/>
                    <a:moveTo>
                      <a:pt x="15473" y="0"/>
                    </a:moveTo>
                    <a:cubicBezTo>
                      <a:pt x="15539" y="0"/>
                      <a:pt x="15539" y="0"/>
                      <a:pt x="15539" y="0"/>
                    </a:cubicBezTo>
                    <a:cubicBezTo>
                      <a:pt x="15588" y="385"/>
                      <a:pt x="15650" y="886"/>
                      <a:pt x="15673" y="1071"/>
                    </a:cubicBezTo>
                    <a:cubicBezTo>
                      <a:pt x="15682" y="1067"/>
                      <a:pt x="15688" y="1065"/>
                      <a:pt x="15688" y="1065"/>
                    </a:cubicBezTo>
                    <a:cubicBezTo>
                      <a:pt x="15695" y="1062"/>
                      <a:pt x="15695" y="1062"/>
                      <a:pt x="15695" y="1062"/>
                    </a:cubicBezTo>
                    <a:cubicBezTo>
                      <a:pt x="17131" y="767"/>
                      <a:pt x="17131" y="767"/>
                      <a:pt x="17131" y="767"/>
                    </a:cubicBezTo>
                    <a:cubicBezTo>
                      <a:pt x="17134" y="767"/>
                      <a:pt x="17134" y="767"/>
                      <a:pt x="17134" y="767"/>
                    </a:cubicBezTo>
                    <a:cubicBezTo>
                      <a:pt x="17134" y="767"/>
                      <a:pt x="17382" y="738"/>
                      <a:pt x="17630" y="709"/>
                    </a:cubicBezTo>
                    <a:cubicBezTo>
                      <a:pt x="17754" y="694"/>
                      <a:pt x="17879" y="680"/>
                      <a:pt x="17973" y="669"/>
                    </a:cubicBezTo>
                    <a:cubicBezTo>
                      <a:pt x="17985" y="667"/>
                      <a:pt x="17997" y="666"/>
                      <a:pt x="18008" y="664"/>
                    </a:cubicBezTo>
                    <a:cubicBezTo>
                      <a:pt x="18008" y="818"/>
                      <a:pt x="18008" y="818"/>
                      <a:pt x="18008" y="818"/>
                    </a:cubicBezTo>
                    <a:cubicBezTo>
                      <a:pt x="17910" y="829"/>
                      <a:pt x="17772" y="846"/>
                      <a:pt x="17636" y="862"/>
                    </a:cubicBezTo>
                    <a:cubicBezTo>
                      <a:pt x="17408" y="888"/>
                      <a:pt x="17185" y="915"/>
                      <a:pt x="17155" y="918"/>
                    </a:cubicBezTo>
                    <a:cubicBezTo>
                      <a:pt x="15741" y="1208"/>
                      <a:pt x="15741" y="1208"/>
                      <a:pt x="15741" y="1208"/>
                    </a:cubicBezTo>
                    <a:cubicBezTo>
                      <a:pt x="15714" y="1219"/>
                      <a:pt x="15615" y="1262"/>
                      <a:pt x="15592" y="1272"/>
                    </a:cubicBezTo>
                    <a:cubicBezTo>
                      <a:pt x="15592" y="1272"/>
                      <a:pt x="15592" y="1272"/>
                      <a:pt x="15592" y="1272"/>
                    </a:cubicBezTo>
                    <a:cubicBezTo>
                      <a:pt x="15579" y="1279"/>
                      <a:pt x="15527" y="1308"/>
                      <a:pt x="15456" y="1348"/>
                    </a:cubicBezTo>
                    <a:cubicBezTo>
                      <a:pt x="15349" y="1408"/>
                      <a:pt x="15196" y="1493"/>
                      <a:pt x="15047" y="1571"/>
                    </a:cubicBezTo>
                    <a:cubicBezTo>
                      <a:pt x="14897" y="1649"/>
                      <a:pt x="14754" y="1721"/>
                      <a:pt x="14656" y="1756"/>
                    </a:cubicBezTo>
                    <a:cubicBezTo>
                      <a:pt x="14533" y="1801"/>
                      <a:pt x="14416" y="1840"/>
                      <a:pt x="14328" y="1869"/>
                    </a:cubicBezTo>
                    <a:cubicBezTo>
                      <a:pt x="14284" y="1883"/>
                      <a:pt x="14247" y="1894"/>
                      <a:pt x="14219" y="1902"/>
                    </a:cubicBezTo>
                    <a:cubicBezTo>
                      <a:pt x="14206" y="1906"/>
                      <a:pt x="14194" y="1910"/>
                      <a:pt x="14185" y="1912"/>
                    </a:cubicBezTo>
                    <a:cubicBezTo>
                      <a:pt x="14180" y="1913"/>
                      <a:pt x="14176" y="1914"/>
                      <a:pt x="14172" y="1915"/>
                    </a:cubicBezTo>
                    <a:cubicBezTo>
                      <a:pt x="14168" y="1916"/>
                      <a:pt x="14166" y="1916"/>
                      <a:pt x="14160" y="1917"/>
                    </a:cubicBezTo>
                    <a:cubicBezTo>
                      <a:pt x="14148" y="1919"/>
                      <a:pt x="14094" y="1932"/>
                      <a:pt x="14026" y="1948"/>
                    </a:cubicBezTo>
                    <a:cubicBezTo>
                      <a:pt x="13862" y="1987"/>
                      <a:pt x="13602" y="2050"/>
                      <a:pt x="13484" y="2078"/>
                    </a:cubicBezTo>
                    <a:cubicBezTo>
                      <a:pt x="13489" y="2111"/>
                      <a:pt x="13490" y="2144"/>
                      <a:pt x="13490" y="2175"/>
                    </a:cubicBezTo>
                    <a:cubicBezTo>
                      <a:pt x="13490" y="2236"/>
                      <a:pt x="13484" y="2293"/>
                      <a:pt x="13478" y="2335"/>
                    </a:cubicBezTo>
                    <a:cubicBezTo>
                      <a:pt x="13475" y="2352"/>
                      <a:pt x="13472" y="2366"/>
                      <a:pt x="13470" y="2378"/>
                    </a:cubicBezTo>
                    <a:cubicBezTo>
                      <a:pt x="13499" y="2420"/>
                      <a:pt x="13553" y="2474"/>
                      <a:pt x="13612" y="2519"/>
                    </a:cubicBezTo>
                    <a:cubicBezTo>
                      <a:pt x="13683" y="2575"/>
                      <a:pt x="13763" y="2621"/>
                      <a:pt x="13807" y="2636"/>
                    </a:cubicBezTo>
                    <a:cubicBezTo>
                      <a:pt x="13856" y="2653"/>
                      <a:pt x="13935" y="2667"/>
                      <a:pt x="14020" y="2688"/>
                    </a:cubicBezTo>
                    <a:cubicBezTo>
                      <a:pt x="14106" y="2710"/>
                      <a:pt x="14201" y="2739"/>
                      <a:pt x="14287" y="2793"/>
                    </a:cubicBezTo>
                    <a:cubicBezTo>
                      <a:pt x="14438" y="2890"/>
                      <a:pt x="14520" y="3035"/>
                      <a:pt x="14540" y="3073"/>
                    </a:cubicBezTo>
                    <a:cubicBezTo>
                      <a:pt x="14561" y="3098"/>
                      <a:pt x="14651" y="3207"/>
                      <a:pt x="14748" y="3322"/>
                    </a:cubicBezTo>
                    <a:cubicBezTo>
                      <a:pt x="14803" y="3387"/>
                      <a:pt x="14860" y="3455"/>
                      <a:pt x="14908" y="3509"/>
                    </a:cubicBezTo>
                    <a:cubicBezTo>
                      <a:pt x="14931" y="3536"/>
                      <a:pt x="14953" y="3560"/>
                      <a:pt x="14970" y="3579"/>
                    </a:cubicBezTo>
                    <a:cubicBezTo>
                      <a:pt x="14986" y="3598"/>
                      <a:pt x="15000" y="3612"/>
                      <a:pt x="15004" y="3615"/>
                    </a:cubicBezTo>
                    <a:cubicBezTo>
                      <a:pt x="15036" y="3644"/>
                      <a:pt x="15058" y="3661"/>
                      <a:pt x="15072" y="3670"/>
                    </a:cubicBezTo>
                    <a:cubicBezTo>
                      <a:pt x="15076" y="3673"/>
                      <a:pt x="15080" y="3675"/>
                      <a:pt x="15082" y="3677"/>
                    </a:cubicBezTo>
                    <a:cubicBezTo>
                      <a:pt x="15120" y="3686"/>
                      <a:pt x="15262" y="3719"/>
                      <a:pt x="15438" y="3759"/>
                    </a:cubicBezTo>
                    <a:cubicBezTo>
                      <a:pt x="15643" y="3806"/>
                      <a:pt x="15894" y="3862"/>
                      <a:pt x="16074" y="3898"/>
                    </a:cubicBezTo>
                    <a:cubicBezTo>
                      <a:pt x="16259" y="3936"/>
                      <a:pt x="16799" y="4073"/>
                      <a:pt x="17296" y="4202"/>
                    </a:cubicBezTo>
                    <a:cubicBezTo>
                      <a:pt x="17568" y="4272"/>
                      <a:pt x="17827" y="4339"/>
                      <a:pt x="18005" y="4386"/>
                    </a:cubicBezTo>
                    <a:cubicBezTo>
                      <a:pt x="18005" y="4544"/>
                      <a:pt x="18005" y="4544"/>
                      <a:pt x="18005" y="4544"/>
                    </a:cubicBezTo>
                    <a:cubicBezTo>
                      <a:pt x="17827" y="4497"/>
                      <a:pt x="17550" y="4425"/>
                      <a:pt x="17258" y="4349"/>
                    </a:cubicBezTo>
                    <a:cubicBezTo>
                      <a:pt x="16763" y="4221"/>
                      <a:pt x="16220" y="4083"/>
                      <a:pt x="16044" y="4048"/>
                    </a:cubicBezTo>
                    <a:cubicBezTo>
                      <a:pt x="15766" y="3991"/>
                      <a:pt x="15328" y="3891"/>
                      <a:pt x="15135" y="3846"/>
                    </a:cubicBezTo>
                    <a:cubicBezTo>
                      <a:pt x="14837" y="4255"/>
                      <a:pt x="14837" y="4255"/>
                      <a:pt x="14837" y="4255"/>
                    </a:cubicBezTo>
                    <a:cubicBezTo>
                      <a:pt x="14820" y="4301"/>
                      <a:pt x="14751" y="4478"/>
                      <a:pt x="14637" y="4635"/>
                    </a:cubicBezTo>
                    <a:cubicBezTo>
                      <a:pt x="14533" y="4778"/>
                      <a:pt x="14393" y="4886"/>
                      <a:pt x="14335" y="4929"/>
                    </a:cubicBezTo>
                    <a:cubicBezTo>
                      <a:pt x="14325" y="4987"/>
                      <a:pt x="14303" y="5124"/>
                      <a:pt x="14272" y="5310"/>
                    </a:cubicBezTo>
                    <a:cubicBezTo>
                      <a:pt x="14252" y="5431"/>
                      <a:pt x="14228" y="5574"/>
                      <a:pt x="14203" y="5729"/>
                    </a:cubicBezTo>
                    <a:cubicBezTo>
                      <a:pt x="15398" y="5964"/>
                      <a:pt x="15398" y="5964"/>
                      <a:pt x="15398" y="5964"/>
                    </a:cubicBezTo>
                    <a:cubicBezTo>
                      <a:pt x="15404" y="5965"/>
                      <a:pt x="15414" y="5967"/>
                      <a:pt x="15426" y="5970"/>
                    </a:cubicBezTo>
                    <a:cubicBezTo>
                      <a:pt x="15478" y="5683"/>
                      <a:pt x="15656" y="5337"/>
                      <a:pt x="16206" y="5186"/>
                    </a:cubicBezTo>
                    <a:cubicBezTo>
                      <a:pt x="16483" y="5110"/>
                      <a:pt x="16801" y="5072"/>
                      <a:pt x="17061" y="5050"/>
                    </a:cubicBezTo>
                    <a:cubicBezTo>
                      <a:pt x="17191" y="5039"/>
                      <a:pt x="17306" y="5032"/>
                      <a:pt x="17393" y="5026"/>
                    </a:cubicBezTo>
                    <a:cubicBezTo>
                      <a:pt x="17479" y="5021"/>
                      <a:pt x="17542" y="5016"/>
                      <a:pt x="17554" y="5013"/>
                    </a:cubicBezTo>
                    <a:cubicBezTo>
                      <a:pt x="17604" y="5000"/>
                      <a:pt x="17790" y="4944"/>
                      <a:pt x="18005" y="4821"/>
                    </a:cubicBezTo>
                    <a:cubicBezTo>
                      <a:pt x="18005" y="4896"/>
                      <a:pt x="18005" y="4896"/>
                      <a:pt x="18005" y="4896"/>
                    </a:cubicBezTo>
                    <a:cubicBezTo>
                      <a:pt x="17798" y="5010"/>
                      <a:pt x="17623" y="5063"/>
                      <a:pt x="17570" y="5077"/>
                    </a:cubicBezTo>
                    <a:cubicBezTo>
                      <a:pt x="17542" y="5083"/>
                      <a:pt x="17485" y="5086"/>
                      <a:pt x="17397" y="5092"/>
                    </a:cubicBezTo>
                    <a:cubicBezTo>
                      <a:pt x="17136" y="5108"/>
                      <a:pt x="16628" y="5138"/>
                      <a:pt x="16224" y="5250"/>
                    </a:cubicBezTo>
                    <a:cubicBezTo>
                      <a:pt x="15694" y="5397"/>
                      <a:pt x="15541" y="5713"/>
                      <a:pt x="15490" y="5985"/>
                    </a:cubicBezTo>
                    <a:cubicBezTo>
                      <a:pt x="15690" y="6034"/>
                      <a:pt x="16143" y="6177"/>
                      <a:pt x="16509" y="6538"/>
                    </a:cubicBezTo>
                    <a:cubicBezTo>
                      <a:pt x="17089" y="7110"/>
                      <a:pt x="17238" y="7841"/>
                      <a:pt x="17247" y="7888"/>
                    </a:cubicBezTo>
                    <a:cubicBezTo>
                      <a:pt x="17299" y="8053"/>
                      <a:pt x="17319" y="8209"/>
                      <a:pt x="17319" y="8352"/>
                    </a:cubicBezTo>
                    <a:cubicBezTo>
                      <a:pt x="17319" y="8733"/>
                      <a:pt x="17178" y="9013"/>
                      <a:pt x="17131" y="9096"/>
                    </a:cubicBezTo>
                    <a:cubicBezTo>
                      <a:pt x="17247" y="9132"/>
                      <a:pt x="17375" y="9188"/>
                      <a:pt x="17502" y="9274"/>
                    </a:cubicBezTo>
                    <a:cubicBezTo>
                      <a:pt x="17699" y="9408"/>
                      <a:pt x="17857" y="9530"/>
                      <a:pt x="18005" y="9644"/>
                    </a:cubicBezTo>
                    <a:cubicBezTo>
                      <a:pt x="18005" y="9727"/>
                      <a:pt x="18005" y="9727"/>
                      <a:pt x="18005" y="9727"/>
                    </a:cubicBezTo>
                    <a:cubicBezTo>
                      <a:pt x="17845" y="9604"/>
                      <a:pt x="17678" y="9472"/>
                      <a:pt x="17465" y="9328"/>
                    </a:cubicBezTo>
                    <a:cubicBezTo>
                      <a:pt x="17136" y="9105"/>
                      <a:pt x="16794" y="9095"/>
                      <a:pt x="16708" y="9095"/>
                    </a:cubicBezTo>
                    <a:cubicBezTo>
                      <a:pt x="16699" y="9095"/>
                      <a:pt x="16693" y="9095"/>
                      <a:pt x="16689" y="9095"/>
                    </a:cubicBezTo>
                    <a:cubicBezTo>
                      <a:pt x="16688" y="9095"/>
                      <a:pt x="16687" y="9095"/>
                      <a:pt x="16685" y="9095"/>
                    </a:cubicBezTo>
                    <a:cubicBezTo>
                      <a:pt x="16684" y="9095"/>
                      <a:pt x="16684" y="9095"/>
                      <a:pt x="16681" y="9095"/>
                    </a:cubicBezTo>
                    <a:cubicBezTo>
                      <a:pt x="16681" y="9095"/>
                      <a:pt x="16681" y="9095"/>
                      <a:pt x="16681" y="9095"/>
                    </a:cubicBezTo>
                    <a:cubicBezTo>
                      <a:pt x="16680" y="9095"/>
                      <a:pt x="16678" y="9095"/>
                      <a:pt x="16677" y="9095"/>
                    </a:cubicBezTo>
                    <a:cubicBezTo>
                      <a:pt x="16588" y="9095"/>
                      <a:pt x="15864" y="9106"/>
                      <a:pt x="15163" y="9116"/>
                    </a:cubicBezTo>
                    <a:cubicBezTo>
                      <a:pt x="14956" y="9119"/>
                      <a:pt x="14752" y="9123"/>
                      <a:pt x="14566" y="9125"/>
                    </a:cubicBezTo>
                    <a:cubicBezTo>
                      <a:pt x="14582" y="9194"/>
                      <a:pt x="14613" y="9326"/>
                      <a:pt x="14653" y="9490"/>
                    </a:cubicBezTo>
                    <a:cubicBezTo>
                      <a:pt x="14713" y="9732"/>
                      <a:pt x="14790" y="10044"/>
                      <a:pt x="14864" y="10322"/>
                    </a:cubicBezTo>
                    <a:cubicBezTo>
                      <a:pt x="14900" y="10457"/>
                      <a:pt x="14947" y="10629"/>
                      <a:pt x="14994" y="10801"/>
                    </a:cubicBezTo>
                    <a:cubicBezTo>
                      <a:pt x="14926" y="10801"/>
                      <a:pt x="14926" y="10801"/>
                      <a:pt x="14926" y="10801"/>
                    </a:cubicBezTo>
                    <a:cubicBezTo>
                      <a:pt x="14880" y="10635"/>
                      <a:pt x="14835" y="10470"/>
                      <a:pt x="14801" y="10339"/>
                    </a:cubicBezTo>
                    <a:cubicBezTo>
                      <a:pt x="14673" y="9858"/>
                      <a:pt x="14534" y="9276"/>
                      <a:pt x="14498" y="9127"/>
                    </a:cubicBezTo>
                    <a:cubicBezTo>
                      <a:pt x="14395" y="9128"/>
                      <a:pt x="14297" y="9130"/>
                      <a:pt x="14210" y="9131"/>
                    </a:cubicBezTo>
                    <a:cubicBezTo>
                      <a:pt x="14010" y="9134"/>
                      <a:pt x="13863" y="9136"/>
                      <a:pt x="13808" y="9137"/>
                    </a:cubicBezTo>
                    <a:cubicBezTo>
                      <a:pt x="13830" y="9386"/>
                      <a:pt x="13864" y="9751"/>
                      <a:pt x="13897" y="10099"/>
                    </a:cubicBezTo>
                    <a:cubicBezTo>
                      <a:pt x="13921" y="10358"/>
                      <a:pt x="13944" y="10607"/>
                      <a:pt x="13962" y="10791"/>
                    </a:cubicBezTo>
                    <a:cubicBezTo>
                      <a:pt x="13962" y="10795"/>
                      <a:pt x="13962" y="10798"/>
                      <a:pt x="13963" y="10801"/>
                    </a:cubicBezTo>
                    <a:cubicBezTo>
                      <a:pt x="13810" y="10801"/>
                      <a:pt x="13810" y="10801"/>
                      <a:pt x="13810" y="10801"/>
                    </a:cubicBezTo>
                    <a:cubicBezTo>
                      <a:pt x="13790" y="10592"/>
                      <a:pt x="13762" y="10303"/>
                      <a:pt x="13735" y="10009"/>
                    </a:cubicBezTo>
                    <a:cubicBezTo>
                      <a:pt x="13709" y="9732"/>
                      <a:pt x="13683" y="9451"/>
                      <a:pt x="13664" y="9235"/>
                    </a:cubicBezTo>
                    <a:cubicBezTo>
                      <a:pt x="13654" y="9126"/>
                      <a:pt x="13646" y="9034"/>
                      <a:pt x="13640" y="8966"/>
                    </a:cubicBezTo>
                    <a:cubicBezTo>
                      <a:pt x="13638" y="8944"/>
                      <a:pt x="13637" y="8924"/>
                      <a:pt x="13635" y="8908"/>
                    </a:cubicBezTo>
                    <a:cubicBezTo>
                      <a:pt x="12632" y="8941"/>
                      <a:pt x="12632" y="8941"/>
                      <a:pt x="12632" y="8941"/>
                    </a:cubicBezTo>
                    <a:cubicBezTo>
                      <a:pt x="12632" y="8941"/>
                      <a:pt x="12631" y="8941"/>
                      <a:pt x="12631" y="8941"/>
                    </a:cubicBezTo>
                    <a:cubicBezTo>
                      <a:pt x="12620" y="8944"/>
                      <a:pt x="12590" y="8954"/>
                      <a:pt x="12566" y="8975"/>
                    </a:cubicBezTo>
                    <a:cubicBezTo>
                      <a:pt x="12541" y="8996"/>
                      <a:pt x="12521" y="9024"/>
                      <a:pt x="12520" y="9073"/>
                    </a:cubicBezTo>
                    <a:cubicBezTo>
                      <a:pt x="12520" y="9074"/>
                      <a:pt x="12520" y="9076"/>
                      <a:pt x="12520" y="9079"/>
                    </a:cubicBezTo>
                    <a:cubicBezTo>
                      <a:pt x="12521" y="9088"/>
                      <a:pt x="12521" y="9097"/>
                      <a:pt x="12521" y="9106"/>
                    </a:cubicBezTo>
                    <a:cubicBezTo>
                      <a:pt x="12521" y="9165"/>
                      <a:pt x="12513" y="9209"/>
                      <a:pt x="12483" y="9243"/>
                    </a:cubicBezTo>
                    <a:cubicBezTo>
                      <a:pt x="12454" y="9276"/>
                      <a:pt x="12415" y="9294"/>
                      <a:pt x="12358" y="9323"/>
                    </a:cubicBezTo>
                    <a:cubicBezTo>
                      <a:pt x="12243" y="9380"/>
                      <a:pt x="11894" y="9514"/>
                      <a:pt x="11827" y="9539"/>
                    </a:cubicBezTo>
                    <a:cubicBezTo>
                      <a:pt x="12166" y="10332"/>
                      <a:pt x="12166" y="10332"/>
                      <a:pt x="12166" y="10332"/>
                    </a:cubicBezTo>
                    <a:cubicBezTo>
                      <a:pt x="12157" y="10336"/>
                      <a:pt x="12157" y="10336"/>
                      <a:pt x="12157" y="10336"/>
                    </a:cubicBezTo>
                    <a:cubicBezTo>
                      <a:pt x="12987" y="10801"/>
                      <a:pt x="12987" y="10801"/>
                      <a:pt x="12987" y="10801"/>
                    </a:cubicBezTo>
                    <a:cubicBezTo>
                      <a:pt x="12853" y="10801"/>
                      <a:pt x="12853" y="10801"/>
                      <a:pt x="12853" y="10801"/>
                    </a:cubicBezTo>
                    <a:cubicBezTo>
                      <a:pt x="12138" y="10400"/>
                      <a:pt x="12138" y="10400"/>
                      <a:pt x="12138" y="10400"/>
                    </a:cubicBezTo>
                    <a:cubicBezTo>
                      <a:pt x="11859" y="10801"/>
                      <a:pt x="11859" y="10801"/>
                      <a:pt x="11859" y="10801"/>
                    </a:cubicBezTo>
                    <a:cubicBezTo>
                      <a:pt x="11714" y="10801"/>
                      <a:pt x="11714" y="10801"/>
                      <a:pt x="11714" y="10801"/>
                    </a:cubicBezTo>
                    <a:cubicBezTo>
                      <a:pt x="11688" y="10764"/>
                      <a:pt x="11658" y="10715"/>
                      <a:pt x="11622" y="10645"/>
                    </a:cubicBezTo>
                    <a:cubicBezTo>
                      <a:pt x="11570" y="10546"/>
                      <a:pt x="11539" y="10384"/>
                      <a:pt x="11519" y="10231"/>
                    </a:cubicBezTo>
                    <a:cubicBezTo>
                      <a:pt x="11503" y="10115"/>
                      <a:pt x="11495" y="10006"/>
                      <a:pt x="11491" y="9918"/>
                    </a:cubicBezTo>
                    <a:cubicBezTo>
                      <a:pt x="10840" y="10066"/>
                      <a:pt x="10840" y="10066"/>
                      <a:pt x="10840" y="10066"/>
                    </a:cubicBezTo>
                    <a:cubicBezTo>
                      <a:pt x="10451" y="9723"/>
                      <a:pt x="10451" y="9723"/>
                      <a:pt x="10451" y="9723"/>
                    </a:cubicBezTo>
                    <a:cubicBezTo>
                      <a:pt x="10414" y="9751"/>
                      <a:pt x="10380" y="9778"/>
                      <a:pt x="10349" y="9803"/>
                    </a:cubicBezTo>
                    <a:cubicBezTo>
                      <a:pt x="10267" y="9867"/>
                      <a:pt x="10207" y="9914"/>
                      <a:pt x="10181" y="9934"/>
                    </a:cubicBezTo>
                    <a:cubicBezTo>
                      <a:pt x="10188" y="9952"/>
                      <a:pt x="10195" y="9972"/>
                      <a:pt x="10202" y="9995"/>
                    </a:cubicBezTo>
                    <a:cubicBezTo>
                      <a:pt x="10258" y="10168"/>
                      <a:pt x="10332" y="10479"/>
                      <a:pt x="10381" y="10697"/>
                    </a:cubicBezTo>
                    <a:cubicBezTo>
                      <a:pt x="10389" y="10734"/>
                      <a:pt x="10393" y="10768"/>
                      <a:pt x="10394" y="10801"/>
                    </a:cubicBezTo>
                    <a:cubicBezTo>
                      <a:pt x="10329" y="10801"/>
                      <a:pt x="10329" y="10801"/>
                      <a:pt x="10329" y="10801"/>
                    </a:cubicBezTo>
                    <a:cubicBezTo>
                      <a:pt x="10327" y="10773"/>
                      <a:pt x="10324" y="10743"/>
                      <a:pt x="10317" y="10711"/>
                    </a:cubicBezTo>
                    <a:cubicBezTo>
                      <a:pt x="10284" y="10566"/>
                      <a:pt x="10241" y="10380"/>
                      <a:pt x="10199" y="10222"/>
                    </a:cubicBezTo>
                    <a:cubicBezTo>
                      <a:pt x="10178" y="10143"/>
                      <a:pt x="10158" y="10071"/>
                      <a:pt x="10140" y="10015"/>
                    </a:cubicBezTo>
                    <a:cubicBezTo>
                      <a:pt x="10123" y="9961"/>
                      <a:pt x="10105" y="9919"/>
                      <a:pt x="10098" y="9911"/>
                    </a:cubicBezTo>
                    <a:cubicBezTo>
                      <a:pt x="10080" y="9886"/>
                      <a:pt x="10004" y="9822"/>
                      <a:pt x="9918" y="9762"/>
                    </a:cubicBezTo>
                    <a:cubicBezTo>
                      <a:pt x="9896" y="9746"/>
                      <a:pt x="9873" y="9731"/>
                      <a:pt x="9850" y="9716"/>
                    </a:cubicBezTo>
                    <a:cubicBezTo>
                      <a:pt x="9840" y="9731"/>
                      <a:pt x="9825" y="9755"/>
                      <a:pt x="9806" y="9786"/>
                    </a:cubicBezTo>
                    <a:cubicBezTo>
                      <a:pt x="9719" y="9927"/>
                      <a:pt x="9545" y="10207"/>
                      <a:pt x="9404" y="10393"/>
                    </a:cubicBezTo>
                    <a:cubicBezTo>
                      <a:pt x="9245" y="10602"/>
                      <a:pt x="9234" y="10710"/>
                      <a:pt x="9234" y="10734"/>
                    </a:cubicBezTo>
                    <a:cubicBezTo>
                      <a:pt x="9234" y="10737"/>
                      <a:pt x="9235" y="10738"/>
                      <a:pt x="9235" y="10739"/>
                    </a:cubicBezTo>
                    <a:cubicBezTo>
                      <a:pt x="9235" y="10739"/>
                      <a:pt x="9235" y="10739"/>
                      <a:pt x="9235" y="10739"/>
                    </a:cubicBezTo>
                    <a:cubicBezTo>
                      <a:pt x="9235" y="10741"/>
                      <a:pt x="9235" y="10741"/>
                      <a:pt x="9235" y="10741"/>
                    </a:cubicBezTo>
                    <a:cubicBezTo>
                      <a:pt x="9238" y="10801"/>
                      <a:pt x="9238" y="10801"/>
                      <a:pt x="9238" y="10801"/>
                    </a:cubicBezTo>
                    <a:cubicBezTo>
                      <a:pt x="9173" y="10801"/>
                      <a:pt x="9173" y="10801"/>
                      <a:pt x="9173" y="10801"/>
                    </a:cubicBezTo>
                    <a:cubicBezTo>
                      <a:pt x="9170" y="10748"/>
                      <a:pt x="9170" y="10748"/>
                      <a:pt x="9170" y="10748"/>
                    </a:cubicBezTo>
                    <a:cubicBezTo>
                      <a:pt x="9169" y="10745"/>
                      <a:pt x="9169" y="10740"/>
                      <a:pt x="9169" y="10734"/>
                    </a:cubicBezTo>
                    <a:cubicBezTo>
                      <a:pt x="9169" y="10691"/>
                      <a:pt x="9187" y="10570"/>
                      <a:pt x="9352" y="10353"/>
                    </a:cubicBezTo>
                    <a:cubicBezTo>
                      <a:pt x="9448" y="10228"/>
                      <a:pt x="9560" y="10055"/>
                      <a:pt x="9650" y="9913"/>
                    </a:cubicBezTo>
                    <a:cubicBezTo>
                      <a:pt x="9694" y="9843"/>
                      <a:pt x="9733" y="9780"/>
                      <a:pt x="9761" y="9735"/>
                    </a:cubicBezTo>
                    <a:cubicBezTo>
                      <a:pt x="9775" y="9712"/>
                      <a:pt x="9786" y="9694"/>
                      <a:pt x="9794" y="9681"/>
                    </a:cubicBezTo>
                    <a:cubicBezTo>
                      <a:pt x="9794" y="9681"/>
                      <a:pt x="9794" y="9681"/>
                      <a:pt x="9794" y="9681"/>
                    </a:cubicBezTo>
                    <a:cubicBezTo>
                      <a:pt x="9746" y="9652"/>
                      <a:pt x="9700" y="9627"/>
                      <a:pt x="9663" y="9612"/>
                    </a:cubicBezTo>
                    <a:cubicBezTo>
                      <a:pt x="9520" y="9552"/>
                      <a:pt x="9333" y="9511"/>
                      <a:pt x="9177" y="9466"/>
                    </a:cubicBezTo>
                    <a:cubicBezTo>
                      <a:pt x="9092" y="9441"/>
                      <a:pt x="8940" y="9360"/>
                      <a:pt x="8806" y="9283"/>
                    </a:cubicBezTo>
                    <a:cubicBezTo>
                      <a:pt x="8712" y="9230"/>
                      <a:pt x="8629" y="9180"/>
                      <a:pt x="8586" y="9154"/>
                    </a:cubicBezTo>
                    <a:cubicBezTo>
                      <a:pt x="7694" y="10774"/>
                      <a:pt x="7694" y="10774"/>
                      <a:pt x="7694" y="10774"/>
                    </a:cubicBezTo>
                    <a:cubicBezTo>
                      <a:pt x="7739" y="10801"/>
                      <a:pt x="7739" y="10801"/>
                      <a:pt x="7739" y="10801"/>
                    </a:cubicBezTo>
                    <a:cubicBezTo>
                      <a:pt x="7604" y="10801"/>
                      <a:pt x="7604" y="10801"/>
                      <a:pt x="7604" y="10801"/>
                    </a:cubicBezTo>
                    <a:cubicBezTo>
                      <a:pt x="7605" y="10798"/>
                      <a:pt x="7605" y="10798"/>
                      <a:pt x="7605" y="10798"/>
                    </a:cubicBezTo>
                    <a:cubicBezTo>
                      <a:pt x="7599" y="10794"/>
                      <a:pt x="7599" y="10794"/>
                      <a:pt x="7599" y="10794"/>
                    </a:cubicBezTo>
                    <a:cubicBezTo>
                      <a:pt x="7595" y="10791"/>
                      <a:pt x="7566" y="10777"/>
                      <a:pt x="7520" y="10755"/>
                    </a:cubicBezTo>
                    <a:cubicBezTo>
                      <a:pt x="7386" y="10691"/>
                      <a:pt x="7099" y="10568"/>
                      <a:pt x="6842" y="10524"/>
                    </a:cubicBezTo>
                    <a:cubicBezTo>
                      <a:pt x="6838" y="10547"/>
                      <a:pt x="6831" y="10586"/>
                      <a:pt x="6823" y="10633"/>
                    </a:cubicBezTo>
                    <a:cubicBezTo>
                      <a:pt x="6815" y="10682"/>
                      <a:pt x="6805" y="10740"/>
                      <a:pt x="6795" y="10801"/>
                    </a:cubicBezTo>
                    <a:cubicBezTo>
                      <a:pt x="6729" y="10801"/>
                      <a:pt x="6729" y="10801"/>
                      <a:pt x="6729" y="10801"/>
                    </a:cubicBezTo>
                    <a:cubicBezTo>
                      <a:pt x="6741" y="10729"/>
                      <a:pt x="6752" y="10661"/>
                      <a:pt x="6761" y="10606"/>
                    </a:cubicBezTo>
                    <a:cubicBezTo>
                      <a:pt x="6767" y="10571"/>
                      <a:pt x="6772" y="10541"/>
                      <a:pt x="6776" y="10520"/>
                    </a:cubicBezTo>
                    <a:cubicBezTo>
                      <a:pt x="6777" y="10518"/>
                      <a:pt x="6777" y="10516"/>
                      <a:pt x="6777" y="10515"/>
                    </a:cubicBezTo>
                    <a:cubicBezTo>
                      <a:pt x="6770" y="10514"/>
                      <a:pt x="6762" y="10513"/>
                      <a:pt x="6755" y="10512"/>
                    </a:cubicBezTo>
                    <a:cubicBezTo>
                      <a:pt x="6374" y="10476"/>
                      <a:pt x="6283" y="10420"/>
                      <a:pt x="6178" y="10393"/>
                    </a:cubicBezTo>
                    <a:cubicBezTo>
                      <a:pt x="6069" y="10364"/>
                      <a:pt x="5861" y="10311"/>
                      <a:pt x="5703" y="10279"/>
                    </a:cubicBezTo>
                    <a:cubicBezTo>
                      <a:pt x="5624" y="10263"/>
                      <a:pt x="5463" y="10235"/>
                      <a:pt x="5322" y="10212"/>
                    </a:cubicBezTo>
                    <a:cubicBezTo>
                      <a:pt x="5223" y="10195"/>
                      <a:pt x="5134" y="10181"/>
                      <a:pt x="5089" y="10174"/>
                    </a:cubicBezTo>
                    <a:cubicBezTo>
                      <a:pt x="5092" y="10201"/>
                      <a:pt x="5094" y="10232"/>
                      <a:pt x="5096" y="10267"/>
                    </a:cubicBezTo>
                    <a:cubicBezTo>
                      <a:pt x="5100" y="10345"/>
                      <a:pt x="5101" y="10440"/>
                      <a:pt x="5101" y="10541"/>
                    </a:cubicBezTo>
                    <a:cubicBezTo>
                      <a:pt x="5101" y="10627"/>
                      <a:pt x="5100" y="10715"/>
                      <a:pt x="5098" y="10801"/>
                    </a:cubicBezTo>
                    <a:cubicBezTo>
                      <a:pt x="5033" y="10801"/>
                      <a:pt x="5033" y="10801"/>
                      <a:pt x="5033" y="10801"/>
                    </a:cubicBezTo>
                    <a:cubicBezTo>
                      <a:pt x="5034" y="10716"/>
                      <a:pt x="5035" y="10629"/>
                      <a:pt x="5035" y="10545"/>
                    </a:cubicBezTo>
                    <a:cubicBezTo>
                      <a:pt x="4723" y="10581"/>
                      <a:pt x="4723" y="10581"/>
                      <a:pt x="4723" y="10581"/>
                    </a:cubicBezTo>
                    <a:cubicBezTo>
                      <a:pt x="4653" y="10801"/>
                      <a:pt x="4653" y="10801"/>
                      <a:pt x="4653" y="10801"/>
                    </a:cubicBezTo>
                    <a:cubicBezTo>
                      <a:pt x="4638" y="10801"/>
                      <a:pt x="4638" y="10801"/>
                      <a:pt x="4638" y="10801"/>
                    </a:cubicBezTo>
                    <a:cubicBezTo>
                      <a:pt x="4710" y="10576"/>
                      <a:pt x="4710" y="10576"/>
                      <a:pt x="4710" y="10576"/>
                    </a:cubicBezTo>
                    <a:cubicBezTo>
                      <a:pt x="4508" y="10288"/>
                      <a:pt x="4508" y="10288"/>
                      <a:pt x="4508" y="10288"/>
                    </a:cubicBezTo>
                    <a:cubicBezTo>
                      <a:pt x="4492" y="10293"/>
                      <a:pt x="4442" y="10309"/>
                      <a:pt x="4392" y="10326"/>
                    </a:cubicBezTo>
                    <a:cubicBezTo>
                      <a:pt x="4361" y="10336"/>
                      <a:pt x="4331" y="10346"/>
                      <a:pt x="4308" y="10354"/>
                    </a:cubicBezTo>
                    <a:cubicBezTo>
                      <a:pt x="4297" y="10358"/>
                      <a:pt x="4288" y="10361"/>
                      <a:pt x="4281" y="10363"/>
                    </a:cubicBezTo>
                    <a:cubicBezTo>
                      <a:pt x="4279" y="10364"/>
                      <a:pt x="4277" y="10365"/>
                      <a:pt x="4275" y="10366"/>
                    </a:cubicBezTo>
                    <a:cubicBezTo>
                      <a:pt x="4274" y="10374"/>
                      <a:pt x="4268" y="10386"/>
                      <a:pt x="4260" y="10405"/>
                    </a:cubicBezTo>
                    <a:cubicBezTo>
                      <a:pt x="4237" y="10460"/>
                      <a:pt x="4195" y="10552"/>
                      <a:pt x="4184" y="10577"/>
                    </a:cubicBezTo>
                    <a:cubicBezTo>
                      <a:pt x="4332" y="10594"/>
                      <a:pt x="4332" y="10594"/>
                      <a:pt x="4332" y="10594"/>
                    </a:cubicBezTo>
                    <a:cubicBezTo>
                      <a:pt x="4312" y="10801"/>
                      <a:pt x="4312" y="10801"/>
                      <a:pt x="4312" y="10801"/>
                    </a:cubicBezTo>
                    <a:cubicBezTo>
                      <a:pt x="4266" y="10801"/>
                      <a:pt x="4266" y="10801"/>
                      <a:pt x="4266" y="10801"/>
                    </a:cubicBezTo>
                    <a:cubicBezTo>
                      <a:pt x="4283" y="10634"/>
                      <a:pt x="4283" y="10634"/>
                      <a:pt x="4283" y="10634"/>
                    </a:cubicBezTo>
                    <a:cubicBezTo>
                      <a:pt x="4190" y="10623"/>
                      <a:pt x="4190" y="10623"/>
                      <a:pt x="4190" y="10623"/>
                    </a:cubicBezTo>
                    <a:cubicBezTo>
                      <a:pt x="3909" y="10783"/>
                      <a:pt x="3909" y="10783"/>
                      <a:pt x="3909" y="10783"/>
                    </a:cubicBezTo>
                    <a:cubicBezTo>
                      <a:pt x="3901" y="10801"/>
                      <a:pt x="3901" y="10801"/>
                      <a:pt x="3901" y="10801"/>
                    </a:cubicBezTo>
                    <a:cubicBezTo>
                      <a:pt x="3886" y="10801"/>
                      <a:pt x="3886" y="10801"/>
                      <a:pt x="3886" y="10801"/>
                    </a:cubicBezTo>
                    <a:cubicBezTo>
                      <a:pt x="3898" y="10773"/>
                      <a:pt x="3898" y="10773"/>
                      <a:pt x="3898" y="10773"/>
                    </a:cubicBezTo>
                    <a:cubicBezTo>
                      <a:pt x="4166" y="10621"/>
                      <a:pt x="4166" y="10621"/>
                      <a:pt x="4166" y="10621"/>
                    </a:cubicBezTo>
                    <a:cubicBezTo>
                      <a:pt x="3809" y="10581"/>
                      <a:pt x="3809" y="10581"/>
                      <a:pt x="3809" y="10581"/>
                    </a:cubicBezTo>
                    <a:cubicBezTo>
                      <a:pt x="3716" y="10057"/>
                      <a:pt x="3716" y="10057"/>
                      <a:pt x="3716" y="10057"/>
                    </a:cubicBezTo>
                    <a:cubicBezTo>
                      <a:pt x="3686" y="10073"/>
                      <a:pt x="3576" y="10133"/>
                      <a:pt x="3465" y="10193"/>
                    </a:cubicBezTo>
                    <a:cubicBezTo>
                      <a:pt x="3400" y="10229"/>
                      <a:pt x="3336" y="10265"/>
                      <a:pt x="3287" y="10292"/>
                    </a:cubicBezTo>
                    <a:cubicBezTo>
                      <a:pt x="3263" y="10306"/>
                      <a:pt x="3243" y="10318"/>
                      <a:pt x="3228" y="10326"/>
                    </a:cubicBezTo>
                    <a:cubicBezTo>
                      <a:pt x="3221" y="10330"/>
                      <a:pt x="3216" y="10334"/>
                      <a:pt x="3212" y="10336"/>
                    </a:cubicBezTo>
                    <a:cubicBezTo>
                      <a:pt x="3211" y="10337"/>
                      <a:pt x="3210" y="10337"/>
                      <a:pt x="3209" y="10338"/>
                    </a:cubicBezTo>
                    <a:cubicBezTo>
                      <a:pt x="3546" y="10672"/>
                      <a:pt x="3546" y="10672"/>
                      <a:pt x="3546" y="10672"/>
                    </a:cubicBezTo>
                    <a:cubicBezTo>
                      <a:pt x="3546" y="10675"/>
                      <a:pt x="3546" y="10675"/>
                      <a:pt x="3546" y="10675"/>
                    </a:cubicBezTo>
                    <a:cubicBezTo>
                      <a:pt x="3546" y="10675"/>
                      <a:pt x="3546" y="10722"/>
                      <a:pt x="3545" y="10769"/>
                    </a:cubicBezTo>
                    <a:cubicBezTo>
                      <a:pt x="3545" y="10780"/>
                      <a:pt x="3545" y="10790"/>
                      <a:pt x="3544" y="10801"/>
                    </a:cubicBezTo>
                    <a:cubicBezTo>
                      <a:pt x="3530" y="10801"/>
                      <a:pt x="3530" y="10801"/>
                      <a:pt x="3530" y="10801"/>
                    </a:cubicBezTo>
                    <a:cubicBezTo>
                      <a:pt x="3531" y="10788"/>
                      <a:pt x="3531" y="10774"/>
                      <a:pt x="3531" y="10760"/>
                    </a:cubicBezTo>
                    <a:cubicBezTo>
                      <a:pt x="3532" y="10723"/>
                      <a:pt x="3532" y="10688"/>
                      <a:pt x="3532" y="10678"/>
                    </a:cubicBezTo>
                    <a:cubicBezTo>
                      <a:pt x="3181" y="10329"/>
                      <a:pt x="3181" y="10329"/>
                      <a:pt x="3181" y="10329"/>
                    </a:cubicBezTo>
                    <a:cubicBezTo>
                      <a:pt x="3061" y="10077"/>
                      <a:pt x="3061" y="10077"/>
                      <a:pt x="3061" y="10077"/>
                    </a:cubicBezTo>
                    <a:cubicBezTo>
                      <a:pt x="3006" y="9862"/>
                      <a:pt x="3006" y="9862"/>
                      <a:pt x="3006" y="9862"/>
                    </a:cubicBezTo>
                    <a:cubicBezTo>
                      <a:pt x="2642" y="9924"/>
                      <a:pt x="2642" y="9924"/>
                      <a:pt x="2642" y="9924"/>
                    </a:cubicBezTo>
                    <a:cubicBezTo>
                      <a:pt x="2644" y="10065"/>
                      <a:pt x="2647" y="10197"/>
                      <a:pt x="2650" y="10304"/>
                    </a:cubicBezTo>
                    <a:cubicBezTo>
                      <a:pt x="2652" y="10406"/>
                      <a:pt x="2655" y="10485"/>
                      <a:pt x="2656" y="10527"/>
                    </a:cubicBezTo>
                    <a:cubicBezTo>
                      <a:pt x="2823" y="10531"/>
                      <a:pt x="2961" y="10646"/>
                      <a:pt x="3001" y="10801"/>
                    </a:cubicBezTo>
                    <a:cubicBezTo>
                      <a:pt x="2833" y="10801"/>
                      <a:pt x="2833" y="10801"/>
                      <a:pt x="2833" y="10801"/>
                    </a:cubicBezTo>
                    <a:cubicBezTo>
                      <a:pt x="2800" y="10732"/>
                      <a:pt x="2729" y="10684"/>
                      <a:pt x="2648" y="10684"/>
                    </a:cubicBezTo>
                    <a:cubicBezTo>
                      <a:pt x="2566" y="10684"/>
                      <a:pt x="2496" y="10732"/>
                      <a:pt x="2462" y="10801"/>
                    </a:cubicBezTo>
                    <a:cubicBezTo>
                      <a:pt x="2295" y="10801"/>
                      <a:pt x="2295" y="10801"/>
                      <a:pt x="2295" y="10801"/>
                    </a:cubicBezTo>
                    <a:cubicBezTo>
                      <a:pt x="2295" y="10797"/>
                      <a:pt x="2296" y="10794"/>
                      <a:pt x="2297" y="10791"/>
                    </a:cubicBezTo>
                    <a:cubicBezTo>
                      <a:pt x="2254" y="10778"/>
                      <a:pt x="2192" y="10761"/>
                      <a:pt x="2111" y="10744"/>
                    </a:cubicBezTo>
                    <a:cubicBezTo>
                      <a:pt x="1947" y="10710"/>
                      <a:pt x="1775" y="10698"/>
                      <a:pt x="1601" y="10664"/>
                    </a:cubicBezTo>
                    <a:cubicBezTo>
                      <a:pt x="1446" y="10634"/>
                      <a:pt x="1255" y="10573"/>
                      <a:pt x="1032" y="10492"/>
                    </a:cubicBezTo>
                    <a:cubicBezTo>
                      <a:pt x="1101" y="10536"/>
                      <a:pt x="1166" y="10577"/>
                      <a:pt x="1215" y="10604"/>
                    </a:cubicBezTo>
                    <a:cubicBezTo>
                      <a:pt x="1362" y="10689"/>
                      <a:pt x="1466" y="10758"/>
                      <a:pt x="1597" y="10801"/>
                    </a:cubicBezTo>
                    <a:cubicBezTo>
                      <a:pt x="1248" y="10801"/>
                      <a:pt x="1248" y="10801"/>
                      <a:pt x="1248" y="10801"/>
                    </a:cubicBezTo>
                    <a:cubicBezTo>
                      <a:pt x="1212" y="10780"/>
                      <a:pt x="1177" y="10758"/>
                      <a:pt x="1139" y="10737"/>
                    </a:cubicBezTo>
                    <a:cubicBezTo>
                      <a:pt x="1053" y="10687"/>
                      <a:pt x="928" y="10607"/>
                      <a:pt x="813" y="10531"/>
                    </a:cubicBezTo>
                    <a:cubicBezTo>
                      <a:pt x="698" y="10455"/>
                      <a:pt x="598" y="10386"/>
                      <a:pt x="558" y="10355"/>
                    </a:cubicBezTo>
                    <a:cubicBezTo>
                      <a:pt x="551" y="10349"/>
                      <a:pt x="514" y="10323"/>
                      <a:pt x="467" y="10289"/>
                    </a:cubicBezTo>
                    <a:cubicBezTo>
                      <a:pt x="432" y="10264"/>
                      <a:pt x="392" y="10233"/>
                      <a:pt x="349" y="10198"/>
                    </a:cubicBezTo>
                    <a:cubicBezTo>
                      <a:pt x="369" y="10301"/>
                      <a:pt x="395" y="10454"/>
                      <a:pt x="403" y="10575"/>
                    </a:cubicBezTo>
                    <a:cubicBezTo>
                      <a:pt x="408" y="10659"/>
                      <a:pt x="415" y="10733"/>
                      <a:pt x="421" y="10801"/>
                    </a:cubicBezTo>
                    <a:cubicBezTo>
                      <a:pt x="375" y="10801"/>
                      <a:pt x="375" y="10801"/>
                      <a:pt x="375" y="10801"/>
                    </a:cubicBezTo>
                    <a:cubicBezTo>
                      <a:pt x="370" y="10735"/>
                      <a:pt x="363" y="10661"/>
                      <a:pt x="358" y="10578"/>
                    </a:cubicBezTo>
                    <a:cubicBezTo>
                      <a:pt x="352" y="10479"/>
                      <a:pt x="332" y="10357"/>
                      <a:pt x="314" y="10260"/>
                    </a:cubicBezTo>
                    <a:cubicBezTo>
                      <a:pt x="307" y="10217"/>
                      <a:pt x="299" y="10180"/>
                      <a:pt x="293" y="10151"/>
                    </a:cubicBezTo>
                    <a:cubicBezTo>
                      <a:pt x="189" y="10058"/>
                      <a:pt x="89" y="9946"/>
                      <a:pt x="28" y="9885"/>
                    </a:cubicBezTo>
                    <a:cubicBezTo>
                      <a:pt x="21" y="9878"/>
                      <a:pt x="13" y="9870"/>
                      <a:pt x="4" y="9861"/>
                    </a:cubicBezTo>
                    <a:cubicBezTo>
                      <a:pt x="4" y="9569"/>
                      <a:pt x="4" y="9569"/>
                      <a:pt x="4" y="9569"/>
                    </a:cubicBezTo>
                    <a:cubicBezTo>
                      <a:pt x="79" y="9639"/>
                      <a:pt x="164" y="9716"/>
                      <a:pt x="252" y="9793"/>
                    </a:cubicBezTo>
                    <a:cubicBezTo>
                      <a:pt x="380" y="9904"/>
                      <a:pt x="515" y="10016"/>
                      <a:pt x="639" y="10108"/>
                    </a:cubicBezTo>
                    <a:cubicBezTo>
                      <a:pt x="763" y="10200"/>
                      <a:pt x="878" y="10272"/>
                      <a:pt x="954" y="10300"/>
                    </a:cubicBezTo>
                    <a:cubicBezTo>
                      <a:pt x="1230" y="10405"/>
                      <a:pt x="1463" y="10482"/>
                      <a:pt x="1630" y="10514"/>
                    </a:cubicBezTo>
                    <a:cubicBezTo>
                      <a:pt x="1792" y="10546"/>
                      <a:pt x="1965" y="10559"/>
                      <a:pt x="2142" y="10595"/>
                    </a:cubicBezTo>
                    <a:cubicBezTo>
                      <a:pt x="2247" y="10616"/>
                      <a:pt x="2325" y="10639"/>
                      <a:pt x="2371" y="10654"/>
                    </a:cubicBezTo>
                    <a:cubicBezTo>
                      <a:pt x="2426" y="10590"/>
                      <a:pt x="2503" y="10545"/>
                      <a:pt x="2591" y="10531"/>
                    </a:cubicBezTo>
                    <a:cubicBezTo>
                      <a:pt x="2589" y="10479"/>
                      <a:pt x="2585" y="10363"/>
                      <a:pt x="2582" y="10215"/>
                    </a:cubicBezTo>
                    <a:cubicBezTo>
                      <a:pt x="2535" y="10206"/>
                      <a:pt x="2535" y="10206"/>
                      <a:pt x="2535" y="10206"/>
                    </a:cubicBezTo>
                    <a:cubicBezTo>
                      <a:pt x="2532" y="10471"/>
                      <a:pt x="2532" y="10471"/>
                      <a:pt x="2532" y="10471"/>
                    </a:cubicBezTo>
                    <a:cubicBezTo>
                      <a:pt x="2527" y="10472"/>
                      <a:pt x="2527" y="10472"/>
                      <a:pt x="2527" y="10472"/>
                    </a:cubicBezTo>
                    <a:cubicBezTo>
                      <a:pt x="2527" y="10472"/>
                      <a:pt x="2498" y="10479"/>
                      <a:pt x="2458" y="10497"/>
                    </a:cubicBezTo>
                    <a:cubicBezTo>
                      <a:pt x="2419" y="10516"/>
                      <a:pt x="2370" y="10547"/>
                      <a:pt x="2331" y="10594"/>
                    </a:cubicBezTo>
                    <a:cubicBezTo>
                      <a:pt x="2329" y="10597"/>
                      <a:pt x="2329" y="10597"/>
                      <a:pt x="2329" y="10597"/>
                    </a:cubicBezTo>
                    <a:cubicBezTo>
                      <a:pt x="2326" y="10597"/>
                      <a:pt x="2326" y="10597"/>
                      <a:pt x="2326" y="10597"/>
                    </a:cubicBezTo>
                    <a:cubicBezTo>
                      <a:pt x="2325" y="10597"/>
                      <a:pt x="2325" y="10597"/>
                      <a:pt x="2325" y="10597"/>
                    </a:cubicBezTo>
                    <a:cubicBezTo>
                      <a:pt x="2310" y="10597"/>
                      <a:pt x="1252" y="10382"/>
                      <a:pt x="1251" y="10382"/>
                    </a:cubicBezTo>
                    <a:cubicBezTo>
                      <a:pt x="1250" y="10382"/>
                      <a:pt x="1250" y="10382"/>
                      <a:pt x="1250" y="10382"/>
                    </a:cubicBezTo>
                    <a:cubicBezTo>
                      <a:pt x="931" y="10243"/>
                      <a:pt x="931" y="10243"/>
                      <a:pt x="931" y="10243"/>
                    </a:cubicBezTo>
                    <a:cubicBezTo>
                      <a:pt x="930" y="10243"/>
                      <a:pt x="930" y="10244"/>
                      <a:pt x="929" y="10244"/>
                    </a:cubicBezTo>
                    <a:cubicBezTo>
                      <a:pt x="928" y="10245"/>
                      <a:pt x="927" y="10245"/>
                      <a:pt x="926" y="10245"/>
                    </a:cubicBezTo>
                    <a:cubicBezTo>
                      <a:pt x="926" y="10245"/>
                      <a:pt x="925" y="10245"/>
                      <a:pt x="925" y="10245"/>
                    </a:cubicBezTo>
                    <a:cubicBezTo>
                      <a:pt x="924" y="10245"/>
                      <a:pt x="924" y="10245"/>
                      <a:pt x="924" y="10245"/>
                    </a:cubicBezTo>
                    <a:cubicBezTo>
                      <a:pt x="924" y="10245"/>
                      <a:pt x="924" y="10245"/>
                      <a:pt x="924" y="10245"/>
                    </a:cubicBezTo>
                    <a:cubicBezTo>
                      <a:pt x="925" y="10241"/>
                      <a:pt x="925" y="10241"/>
                      <a:pt x="925" y="10241"/>
                    </a:cubicBezTo>
                    <a:cubicBezTo>
                      <a:pt x="692" y="10139"/>
                      <a:pt x="692" y="10139"/>
                      <a:pt x="692" y="10139"/>
                    </a:cubicBezTo>
                    <a:cubicBezTo>
                      <a:pt x="491" y="9948"/>
                      <a:pt x="491" y="9948"/>
                      <a:pt x="491" y="9948"/>
                    </a:cubicBezTo>
                    <a:cubicBezTo>
                      <a:pt x="483" y="9942"/>
                      <a:pt x="483" y="9942"/>
                      <a:pt x="483" y="9942"/>
                    </a:cubicBezTo>
                    <a:cubicBezTo>
                      <a:pt x="483" y="9942"/>
                      <a:pt x="484" y="9941"/>
                      <a:pt x="484" y="9941"/>
                    </a:cubicBezTo>
                    <a:cubicBezTo>
                      <a:pt x="4" y="9484"/>
                      <a:pt x="4" y="9484"/>
                      <a:pt x="4" y="9484"/>
                    </a:cubicBezTo>
                    <a:cubicBezTo>
                      <a:pt x="4" y="9465"/>
                      <a:pt x="4" y="9465"/>
                      <a:pt x="4" y="9465"/>
                    </a:cubicBezTo>
                    <a:cubicBezTo>
                      <a:pt x="333" y="9778"/>
                      <a:pt x="333" y="9778"/>
                      <a:pt x="333" y="9778"/>
                    </a:cubicBezTo>
                    <a:cubicBezTo>
                      <a:pt x="353" y="9752"/>
                      <a:pt x="429" y="9647"/>
                      <a:pt x="506" y="9543"/>
                    </a:cubicBezTo>
                    <a:cubicBezTo>
                      <a:pt x="551" y="9482"/>
                      <a:pt x="596" y="9422"/>
                      <a:pt x="631" y="9376"/>
                    </a:cubicBezTo>
                    <a:cubicBezTo>
                      <a:pt x="648" y="9354"/>
                      <a:pt x="663" y="9335"/>
                      <a:pt x="674" y="9321"/>
                    </a:cubicBezTo>
                    <a:cubicBezTo>
                      <a:pt x="679" y="9315"/>
                      <a:pt x="684" y="9309"/>
                      <a:pt x="687" y="9306"/>
                    </a:cubicBezTo>
                    <a:cubicBezTo>
                      <a:pt x="688" y="9305"/>
                      <a:pt x="688" y="9305"/>
                      <a:pt x="688" y="9305"/>
                    </a:cubicBezTo>
                    <a:cubicBezTo>
                      <a:pt x="650" y="9266"/>
                      <a:pt x="430" y="9019"/>
                      <a:pt x="383" y="8966"/>
                    </a:cubicBezTo>
                    <a:cubicBezTo>
                      <a:pt x="308" y="9340"/>
                      <a:pt x="308" y="9340"/>
                      <a:pt x="308" y="9340"/>
                    </a:cubicBezTo>
                    <a:cubicBezTo>
                      <a:pt x="225" y="9449"/>
                      <a:pt x="225" y="9449"/>
                      <a:pt x="225" y="9449"/>
                    </a:cubicBezTo>
                    <a:cubicBezTo>
                      <a:pt x="267" y="9482"/>
                      <a:pt x="267" y="9482"/>
                      <a:pt x="267" y="9482"/>
                    </a:cubicBezTo>
                    <a:cubicBezTo>
                      <a:pt x="240" y="9516"/>
                      <a:pt x="240" y="9516"/>
                      <a:pt x="240" y="9516"/>
                    </a:cubicBezTo>
                    <a:cubicBezTo>
                      <a:pt x="277" y="9545"/>
                      <a:pt x="277" y="9545"/>
                      <a:pt x="277" y="9545"/>
                    </a:cubicBezTo>
                    <a:cubicBezTo>
                      <a:pt x="223" y="9613"/>
                      <a:pt x="223" y="9613"/>
                      <a:pt x="223" y="9613"/>
                    </a:cubicBezTo>
                    <a:cubicBezTo>
                      <a:pt x="146" y="9552"/>
                      <a:pt x="146" y="9552"/>
                      <a:pt x="146" y="9552"/>
                    </a:cubicBezTo>
                    <a:cubicBezTo>
                      <a:pt x="128" y="9576"/>
                      <a:pt x="128" y="9576"/>
                      <a:pt x="128" y="9576"/>
                    </a:cubicBezTo>
                    <a:cubicBezTo>
                      <a:pt x="117" y="9568"/>
                      <a:pt x="117" y="9568"/>
                      <a:pt x="117" y="9568"/>
                    </a:cubicBezTo>
                    <a:cubicBezTo>
                      <a:pt x="135" y="9543"/>
                      <a:pt x="135" y="9543"/>
                      <a:pt x="135" y="9543"/>
                    </a:cubicBezTo>
                    <a:cubicBezTo>
                      <a:pt x="58" y="9482"/>
                      <a:pt x="58" y="9482"/>
                      <a:pt x="58" y="9482"/>
                    </a:cubicBezTo>
                    <a:cubicBezTo>
                      <a:pt x="62" y="9477"/>
                      <a:pt x="62" y="9477"/>
                      <a:pt x="62" y="9477"/>
                    </a:cubicBezTo>
                    <a:cubicBezTo>
                      <a:pt x="112" y="9414"/>
                      <a:pt x="112" y="9414"/>
                      <a:pt x="112" y="9414"/>
                    </a:cubicBezTo>
                    <a:cubicBezTo>
                      <a:pt x="149" y="9443"/>
                      <a:pt x="149" y="9443"/>
                      <a:pt x="149" y="9443"/>
                    </a:cubicBezTo>
                    <a:cubicBezTo>
                      <a:pt x="176" y="9410"/>
                      <a:pt x="176" y="9410"/>
                      <a:pt x="176" y="9410"/>
                    </a:cubicBezTo>
                    <a:cubicBezTo>
                      <a:pt x="214" y="9440"/>
                      <a:pt x="214" y="9440"/>
                      <a:pt x="214" y="9440"/>
                    </a:cubicBezTo>
                    <a:cubicBezTo>
                      <a:pt x="295" y="9334"/>
                      <a:pt x="295" y="9334"/>
                      <a:pt x="295" y="9334"/>
                    </a:cubicBezTo>
                    <a:cubicBezTo>
                      <a:pt x="371" y="8954"/>
                      <a:pt x="371" y="8954"/>
                      <a:pt x="371" y="8954"/>
                    </a:cubicBezTo>
                    <a:cubicBezTo>
                      <a:pt x="19" y="8769"/>
                      <a:pt x="19" y="8769"/>
                      <a:pt x="19" y="8769"/>
                    </a:cubicBezTo>
                    <a:cubicBezTo>
                      <a:pt x="4" y="8789"/>
                      <a:pt x="4" y="8789"/>
                      <a:pt x="4" y="8789"/>
                    </a:cubicBezTo>
                    <a:cubicBezTo>
                      <a:pt x="4" y="8767"/>
                      <a:pt x="4" y="8767"/>
                      <a:pt x="4" y="8767"/>
                    </a:cubicBezTo>
                    <a:cubicBezTo>
                      <a:pt x="8" y="8763"/>
                      <a:pt x="8" y="8763"/>
                      <a:pt x="8" y="8763"/>
                    </a:cubicBezTo>
                    <a:cubicBezTo>
                      <a:pt x="4" y="8761"/>
                      <a:pt x="4" y="8761"/>
                      <a:pt x="4" y="8761"/>
                    </a:cubicBezTo>
                    <a:cubicBezTo>
                      <a:pt x="4" y="8745"/>
                      <a:pt x="4" y="8745"/>
                      <a:pt x="4" y="8745"/>
                    </a:cubicBezTo>
                    <a:cubicBezTo>
                      <a:pt x="16" y="8751"/>
                      <a:pt x="16" y="8751"/>
                      <a:pt x="16" y="8751"/>
                    </a:cubicBezTo>
                    <a:cubicBezTo>
                      <a:pt x="109" y="8628"/>
                      <a:pt x="109" y="8628"/>
                      <a:pt x="109" y="8628"/>
                    </a:cubicBezTo>
                    <a:cubicBezTo>
                      <a:pt x="11" y="8577"/>
                      <a:pt x="11" y="8577"/>
                      <a:pt x="11" y="8577"/>
                    </a:cubicBezTo>
                    <a:cubicBezTo>
                      <a:pt x="4" y="8586"/>
                      <a:pt x="4" y="8586"/>
                      <a:pt x="4" y="8586"/>
                    </a:cubicBezTo>
                    <a:cubicBezTo>
                      <a:pt x="4" y="8558"/>
                      <a:pt x="4" y="8558"/>
                      <a:pt x="4" y="8558"/>
                    </a:cubicBezTo>
                    <a:cubicBezTo>
                      <a:pt x="8" y="8559"/>
                      <a:pt x="8" y="8559"/>
                      <a:pt x="8" y="8559"/>
                    </a:cubicBezTo>
                    <a:cubicBezTo>
                      <a:pt x="92" y="8447"/>
                      <a:pt x="92" y="8447"/>
                      <a:pt x="92" y="8447"/>
                    </a:cubicBezTo>
                    <a:cubicBezTo>
                      <a:pt x="201" y="8527"/>
                      <a:pt x="201" y="8527"/>
                      <a:pt x="201" y="8527"/>
                    </a:cubicBezTo>
                    <a:cubicBezTo>
                      <a:pt x="197" y="8532"/>
                      <a:pt x="197" y="8532"/>
                      <a:pt x="197" y="8532"/>
                    </a:cubicBezTo>
                    <a:cubicBezTo>
                      <a:pt x="129" y="8623"/>
                      <a:pt x="129" y="8623"/>
                      <a:pt x="129" y="8623"/>
                    </a:cubicBezTo>
                    <a:cubicBezTo>
                      <a:pt x="832" y="8989"/>
                      <a:pt x="832" y="8989"/>
                      <a:pt x="832" y="8989"/>
                    </a:cubicBezTo>
                    <a:cubicBezTo>
                      <a:pt x="900" y="8671"/>
                      <a:pt x="900" y="8671"/>
                      <a:pt x="900" y="8671"/>
                    </a:cubicBezTo>
                    <a:cubicBezTo>
                      <a:pt x="672" y="8636"/>
                      <a:pt x="672" y="8636"/>
                      <a:pt x="672" y="8636"/>
                    </a:cubicBezTo>
                    <a:cubicBezTo>
                      <a:pt x="707" y="8555"/>
                      <a:pt x="707" y="8555"/>
                      <a:pt x="707" y="8555"/>
                    </a:cubicBezTo>
                    <a:cubicBezTo>
                      <a:pt x="110" y="8390"/>
                      <a:pt x="110" y="8390"/>
                      <a:pt x="110" y="8390"/>
                    </a:cubicBezTo>
                    <a:cubicBezTo>
                      <a:pt x="4" y="8527"/>
                      <a:pt x="4" y="8527"/>
                      <a:pt x="4" y="8527"/>
                    </a:cubicBezTo>
                    <a:cubicBezTo>
                      <a:pt x="4" y="8420"/>
                      <a:pt x="4" y="8420"/>
                      <a:pt x="4" y="8420"/>
                    </a:cubicBezTo>
                    <a:cubicBezTo>
                      <a:pt x="54" y="8355"/>
                      <a:pt x="54" y="8355"/>
                      <a:pt x="54" y="8355"/>
                    </a:cubicBezTo>
                    <a:cubicBezTo>
                      <a:pt x="76" y="8328"/>
                      <a:pt x="124" y="8264"/>
                      <a:pt x="181" y="8189"/>
                    </a:cubicBezTo>
                    <a:cubicBezTo>
                      <a:pt x="151" y="8164"/>
                      <a:pt x="87" y="8108"/>
                      <a:pt x="4" y="8038"/>
                    </a:cubicBezTo>
                    <a:cubicBezTo>
                      <a:pt x="4" y="7951"/>
                      <a:pt x="4" y="7951"/>
                      <a:pt x="4" y="7951"/>
                    </a:cubicBezTo>
                    <a:cubicBezTo>
                      <a:pt x="28" y="7972"/>
                      <a:pt x="52" y="7992"/>
                      <a:pt x="73" y="8010"/>
                    </a:cubicBezTo>
                    <a:cubicBezTo>
                      <a:pt x="70" y="8008"/>
                      <a:pt x="70" y="8008"/>
                      <a:pt x="70" y="8008"/>
                    </a:cubicBezTo>
                    <a:cubicBezTo>
                      <a:pt x="275" y="7654"/>
                      <a:pt x="275" y="7654"/>
                      <a:pt x="275" y="7654"/>
                    </a:cubicBezTo>
                    <a:cubicBezTo>
                      <a:pt x="42" y="7554"/>
                      <a:pt x="42" y="7554"/>
                      <a:pt x="42" y="7554"/>
                    </a:cubicBezTo>
                    <a:cubicBezTo>
                      <a:pt x="4" y="7602"/>
                      <a:pt x="4" y="7602"/>
                      <a:pt x="4" y="7602"/>
                    </a:cubicBezTo>
                    <a:cubicBezTo>
                      <a:pt x="4" y="7579"/>
                      <a:pt x="4" y="7579"/>
                      <a:pt x="4" y="7579"/>
                    </a:cubicBezTo>
                    <a:cubicBezTo>
                      <a:pt x="28" y="7548"/>
                      <a:pt x="28" y="7548"/>
                      <a:pt x="28" y="7548"/>
                    </a:cubicBezTo>
                    <a:cubicBezTo>
                      <a:pt x="24" y="7546"/>
                      <a:pt x="24" y="7546"/>
                      <a:pt x="24" y="7546"/>
                    </a:cubicBezTo>
                    <a:cubicBezTo>
                      <a:pt x="4" y="7529"/>
                      <a:pt x="4" y="7529"/>
                      <a:pt x="4" y="7529"/>
                    </a:cubicBezTo>
                    <a:cubicBezTo>
                      <a:pt x="4" y="7510"/>
                      <a:pt x="4" y="7510"/>
                      <a:pt x="4" y="7510"/>
                    </a:cubicBezTo>
                    <a:cubicBezTo>
                      <a:pt x="31" y="7535"/>
                      <a:pt x="31" y="7535"/>
                      <a:pt x="31" y="7535"/>
                    </a:cubicBezTo>
                    <a:cubicBezTo>
                      <a:pt x="282" y="7642"/>
                      <a:pt x="282" y="7642"/>
                      <a:pt x="282" y="7642"/>
                    </a:cubicBezTo>
                    <a:cubicBezTo>
                      <a:pt x="281" y="7643"/>
                      <a:pt x="281" y="7643"/>
                      <a:pt x="281" y="7643"/>
                    </a:cubicBezTo>
                    <a:cubicBezTo>
                      <a:pt x="282" y="7641"/>
                      <a:pt x="282" y="7641"/>
                      <a:pt x="282" y="7641"/>
                    </a:cubicBezTo>
                    <a:cubicBezTo>
                      <a:pt x="385" y="7683"/>
                      <a:pt x="385" y="7683"/>
                      <a:pt x="385" y="7683"/>
                    </a:cubicBezTo>
                    <a:cubicBezTo>
                      <a:pt x="496" y="7422"/>
                      <a:pt x="496" y="7422"/>
                      <a:pt x="496" y="7422"/>
                    </a:cubicBezTo>
                    <a:cubicBezTo>
                      <a:pt x="490" y="7418"/>
                      <a:pt x="485" y="7414"/>
                      <a:pt x="481" y="7411"/>
                    </a:cubicBezTo>
                    <a:cubicBezTo>
                      <a:pt x="481" y="7411"/>
                      <a:pt x="481" y="7411"/>
                      <a:pt x="481" y="7411"/>
                    </a:cubicBezTo>
                    <a:cubicBezTo>
                      <a:pt x="472" y="7404"/>
                      <a:pt x="472" y="7404"/>
                      <a:pt x="472" y="7404"/>
                    </a:cubicBezTo>
                    <a:cubicBezTo>
                      <a:pt x="471" y="7403"/>
                      <a:pt x="470" y="7402"/>
                      <a:pt x="470" y="7402"/>
                    </a:cubicBezTo>
                    <a:cubicBezTo>
                      <a:pt x="470" y="7402"/>
                      <a:pt x="470" y="7402"/>
                      <a:pt x="470" y="7402"/>
                    </a:cubicBezTo>
                    <a:cubicBezTo>
                      <a:pt x="148" y="7147"/>
                      <a:pt x="148" y="7147"/>
                      <a:pt x="148" y="7147"/>
                    </a:cubicBezTo>
                    <a:cubicBezTo>
                      <a:pt x="136" y="7165"/>
                      <a:pt x="119" y="7191"/>
                      <a:pt x="102" y="7218"/>
                    </a:cubicBezTo>
                    <a:cubicBezTo>
                      <a:pt x="86" y="7241"/>
                      <a:pt x="70" y="7265"/>
                      <a:pt x="58" y="7284"/>
                    </a:cubicBezTo>
                    <a:cubicBezTo>
                      <a:pt x="52" y="7294"/>
                      <a:pt x="48" y="7302"/>
                      <a:pt x="44" y="7308"/>
                    </a:cubicBezTo>
                    <a:cubicBezTo>
                      <a:pt x="43" y="7311"/>
                      <a:pt x="41" y="7313"/>
                      <a:pt x="40" y="7315"/>
                    </a:cubicBezTo>
                    <a:cubicBezTo>
                      <a:pt x="40" y="7316"/>
                      <a:pt x="40" y="7316"/>
                      <a:pt x="40" y="7317"/>
                    </a:cubicBezTo>
                    <a:cubicBezTo>
                      <a:pt x="40" y="7317"/>
                      <a:pt x="40" y="7317"/>
                      <a:pt x="40" y="7317"/>
                    </a:cubicBezTo>
                    <a:cubicBezTo>
                      <a:pt x="37" y="7316"/>
                      <a:pt x="37" y="7316"/>
                      <a:pt x="37" y="7316"/>
                    </a:cubicBezTo>
                    <a:cubicBezTo>
                      <a:pt x="34" y="7316"/>
                      <a:pt x="34" y="7316"/>
                      <a:pt x="34" y="7316"/>
                    </a:cubicBezTo>
                    <a:cubicBezTo>
                      <a:pt x="35" y="7323"/>
                      <a:pt x="35" y="7323"/>
                      <a:pt x="35" y="7323"/>
                    </a:cubicBezTo>
                    <a:cubicBezTo>
                      <a:pt x="35" y="7323"/>
                      <a:pt x="23" y="7327"/>
                      <a:pt x="4" y="7333"/>
                    </a:cubicBezTo>
                    <a:cubicBezTo>
                      <a:pt x="4" y="7318"/>
                      <a:pt x="4" y="7318"/>
                      <a:pt x="4" y="7318"/>
                    </a:cubicBezTo>
                    <a:cubicBezTo>
                      <a:pt x="14" y="7315"/>
                      <a:pt x="22" y="7313"/>
                      <a:pt x="27" y="7311"/>
                    </a:cubicBezTo>
                    <a:cubicBezTo>
                      <a:pt x="28" y="7308"/>
                      <a:pt x="30" y="7306"/>
                      <a:pt x="32" y="7301"/>
                    </a:cubicBezTo>
                    <a:cubicBezTo>
                      <a:pt x="50" y="7268"/>
                      <a:pt x="109" y="7181"/>
                      <a:pt x="137" y="7139"/>
                    </a:cubicBezTo>
                    <a:cubicBezTo>
                      <a:pt x="4" y="7033"/>
                      <a:pt x="4" y="7033"/>
                      <a:pt x="4" y="7033"/>
                    </a:cubicBezTo>
                    <a:cubicBezTo>
                      <a:pt x="4" y="6945"/>
                      <a:pt x="4" y="6945"/>
                      <a:pt x="4" y="6945"/>
                    </a:cubicBezTo>
                    <a:cubicBezTo>
                      <a:pt x="44" y="6843"/>
                      <a:pt x="44" y="6843"/>
                      <a:pt x="44" y="6843"/>
                    </a:cubicBezTo>
                    <a:cubicBezTo>
                      <a:pt x="4" y="6812"/>
                      <a:pt x="4" y="6812"/>
                      <a:pt x="4" y="6812"/>
                    </a:cubicBezTo>
                    <a:cubicBezTo>
                      <a:pt x="4" y="6794"/>
                      <a:pt x="4" y="6794"/>
                      <a:pt x="4" y="6794"/>
                    </a:cubicBezTo>
                    <a:cubicBezTo>
                      <a:pt x="50" y="6829"/>
                      <a:pt x="50" y="6829"/>
                      <a:pt x="50" y="6829"/>
                    </a:cubicBezTo>
                    <a:cubicBezTo>
                      <a:pt x="114" y="6666"/>
                      <a:pt x="114" y="6666"/>
                      <a:pt x="114" y="6666"/>
                    </a:cubicBezTo>
                    <a:cubicBezTo>
                      <a:pt x="96" y="6658"/>
                      <a:pt x="55" y="6637"/>
                      <a:pt x="4" y="6610"/>
                    </a:cubicBezTo>
                    <a:cubicBezTo>
                      <a:pt x="4" y="6594"/>
                      <a:pt x="4" y="6594"/>
                      <a:pt x="4" y="6594"/>
                    </a:cubicBezTo>
                    <a:cubicBezTo>
                      <a:pt x="22" y="6604"/>
                      <a:pt x="39" y="6613"/>
                      <a:pt x="54" y="6620"/>
                    </a:cubicBezTo>
                    <a:cubicBezTo>
                      <a:pt x="76" y="6631"/>
                      <a:pt x="94" y="6640"/>
                      <a:pt x="107" y="6647"/>
                    </a:cubicBezTo>
                    <a:cubicBezTo>
                      <a:pt x="112" y="6649"/>
                      <a:pt x="116" y="6651"/>
                      <a:pt x="119" y="6653"/>
                    </a:cubicBezTo>
                    <a:cubicBezTo>
                      <a:pt x="173" y="6515"/>
                      <a:pt x="173" y="6515"/>
                      <a:pt x="173" y="6515"/>
                    </a:cubicBezTo>
                    <a:cubicBezTo>
                      <a:pt x="4" y="6441"/>
                      <a:pt x="4" y="6441"/>
                      <a:pt x="4" y="6441"/>
                    </a:cubicBezTo>
                    <a:cubicBezTo>
                      <a:pt x="4" y="6425"/>
                      <a:pt x="4" y="6425"/>
                      <a:pt x="4" y="6425"/>
                    </a:cubicBezTo>
                    <a:cubicBezTo>
                      <a:pt x="178" y="6502"/>
                      <a:pt x="178" y="6502"/>
                      <a:pt x="178" y="6502"/>
                    </a:cubicBezTo>
                    <a:cubicBezTo>
                      <a:pt x="197" y="6453"/>
                      <a:pt x="197" y="6453"/>
                      <a:pt x="197" y="6453"/>
                    </a:cubicBezTo>
                    <a:cubicBezTo>
                      <a:pt x="108" y="6292"/>
                      <a:pt x="108" y="6292"/>
                      <a:pt x="108" y="6292"/>
                    </a:cubicBezTo>
                    <a:cubicBezTo>
                      <a:pt x="108" y="6291"/>
                      <a:pt x="108" y="6291"/>
                      <a:pt x="108" y="6291"/>
                    </a:cubicBezTo>
                    <a:cubicBezTo>
                      <a:pt x="4" y="6267"/>
                      <a:pt x="4" y="6267"/>
                      <a:pt x="4" y="6267"/>
                    </a:cubicBezTo>
                    <a:cubicBezTo>
                      <a:pt x="4" y="6253"/>
                      <a:pt x="4" y="6253"/>
                      <a:pt x="4" y="6253"/>
                    </a:cubicBezTo>
                    <a:cubicBezTo>
                      <a:pt x="117" y="6279"/>
                      <a:pt x="117" y="6279"/>
                      <a:pt x="117" y="6279"/>
                    </a:cubicBezTo>
                    <a:cubicBezTo>
                      <a:pt x="229" y="6106"/>
                      <a:pt x="229" y="6106"/>
                      <a:pt x="229" y="6106"/>
                    </a:cubicBezTo>
                    <a:cubicBezTo>
                      <a:pt x="229" y="6075"/>
                      <a:pt x="231" y="5946"/>
                      <a:pt x="253" y="5826"/>
                    </a:cubicBezTo>
                    <a:cubicBezTo>
                      <a:pt x="256" y="5806"/>
                      <a:pt x="258" y="5787"/>
                      <a:pt x="258" y="5768"/>
                    </a:cubicBezTo>
                    <a:cubicBezTo>
                      <a:pt x="258" y="5747"/>
                      <a:pt x="255" y="5727"/>
                      <a:pt x="252" y="5707"/>
                    </a:cubicBezTo>
                    <a:cubicBezTo>
                      <a:pt x="220" y="5720"/>
                      <a:pt x="163" y="5744"/>
                      <a:pt x="108" y="5768"/>
                    </a:cubicBezTo>
                    <a:cubicBezTo>
                      <a:pt x="70" y="5784"/>
                      <a:pt x="33" y="5800"/>
                      <a:pt x="4" y="5813"/>
                    </a:cubicBezTo>
                    <a:cubicBezTo>
                      <a:pt x="4" y="5798"/>
                      <a:pt x="4" y="5798"/>
                      <a:pt x="4" y="5798"/>
                    </a:cubicBezTo>
                    <a:cubicBezTo>
                      <a:pt x="33" y="5785"/>
                      <a:pt x="69" y="5770"/>
                      <a:pt x="107" y="5754"/>
                    </a:cubicBezTo>
                    <a:cubicBezTo>
                      <a:pt x="147" y="5736"/>
                      <a:pt x="188" y="5719"/>
                      <a:pt x="219" y="5706"/>
                    </a:cubicBezTo>
                    <a:cubicBezTo>
                      <a:pt x="231" y="5701"/>
                      <a:pt x="241" y="5697"/>
                      <a:pt x="249" y="5693"/>
                    </a:cubicBezTo>
                    <a:cubicBezTo>
                      <a:pt x="234" y="5626"/>
                      <a:pt x="202" y="5571"/>
                      <a:pt x="178" y="5540"/>
                    </a:cubicBezTo>
                    <a:cubicBezTo>
                      <a:pt x="159" y="5516"/>
                      <a:pt x="137" y="5496"/>
                      <a:pt x="119" y="5484"/>
                    </a:cubicBezTo>
                    <a:cubicBezTo>
                      <a:pt x="110" y="5478"/>
                      <a:pt x="101" y="5473"/>
                      <a:pt x="95" y="5470"/>
                    </a:cubicBezTo>
                    <a:cubicBezTo>
                      <a:pt x="92" y="5469"/>
                      <a:pt x="90" y="5468"/>
                      <a:pt x="88" y="5467"/>
                    </a:cubicBezTo>
                    <a:cubicBezTo>
                      <a:pt x="88" y="5467"/>
                      <a:pt x="88" y="5467"/>
                      <a:pt x="88" y="5467"/>
                    </a:cubicBezTo>
                    <a:cubicBezTo>
                      <a:pt x="82" y="5467"/>
                      <a:pt x="78" y="5466"/>
                      <a:pt x="70" y="5465"/>
                    </a:cubicBezTo>
                    <a:cubicBezTo>
                      <a:pt x="55" y="5462"/>
                      <a:pt x="31" y="5458"/>
                      <a:pt x="4" y="5454"/>
                    </a:cubicBezTo>
                    <a:cubicBezTo>
                      <a:pt x="4" y="5408"/>
                      <a:pt x="4" y="5408"/>
                      <a:pt x="4" y="5408"/>
                    </a:cubicBezTo>
                    <a:cubicBezTo>
                      <a:pt x="18" y="5410"/>
                      <a:pt x="31" y="5413"/>
                      <a:pt x="42" y="5414"/>
                    </a:cubicBezTo>
                    <a:cubicBezTo>
                      <a:pt x="56" y="5417"/>
                      <a:pt x="68" y="5419"/>
                      <a:pt x="76" y="5420"/>
                    </a:cubicBezTo>
                    <a:cubicBezTo>
                      <a:pt x="81" y="5421"/>
                      <a:pt x="84" y="5421"/>
                      <a:pt x="87" y="5421"/>
                    </a:cubicBezTo>
                    <a:cubicBezTo>
                      <a:pt x="88" y="5422"/>
                      <a:pt x="89" y="5422"/>
                      <a:pt x="90" y="5422"/>
                    </a:cubicBezTo>
                    <a:cubicBezTo>
                      <a:pt x="90" y="5422"/>
                      <a:pt x="90" y="5422"/>
                      <a:pt x="90" y="5422"/>
                    </a:cubicBezTo>
                    <a:cubicBezTo>
                      <a:pt x="90" y="5422"/>
                      <a:pt x="90" y="5422"/>
                      <a:pt x="90" y="5422"/>
                    </a:cubicBezTo>
                    <a:cubicBezTo>
                      <a:pt x="100" y="5422"/>
                      <a:pt x="106" y="5425"/>
                      <a:pt x="115" y="5429"/>
                    </a:cubicBezTo>
                    <a:cubicBezTo>
                      <a:pt x="305" y="5201"/>
                      <a:pt x="305" y="5201"/>
                      <a:pt x="305" y="5201"/>
                    </a:cubicBezTo>
                    <a:cubicBezTo>
                      <a:pt x="289" y="5180"/>
                      <a:pt x="272" y="5157"/>
                      <a:pt x="254" y="5136"/>
                    </a:cubicBezTo>
                    <a:cubicBezTo>
                      <a:pt x="215" y="5087"/>
                      <a:pt x="171" y="5042"/>
                      <a:pt x="152" y="5031"/>
                    </a:cubicBezTo>
                    <a:cubicBezTo>
                      <a:pt x="125" y="5014"/>
                      <a:pt x="59" y="5001"/>
                      <a:pt x="4" y="4996"/>
                    </a:cubicBezTo>
                    <a:cubicBezTo>
                      <a:pt x="4" y="4931"/>
                      <a:pt x="4" y="4931"/>
                      <a:pt x="4" y="4931"/>
                    </a:cubicBezTo>
                    <a:cubicBezTo>
                      <a:pt x="26" y="4933"/>
                      <a:pt x="48" y="4935"/>
                      <a:pt x="71" y="4939"/>
                    </a:cubicBezTo>
                    <a:cubicBezTo>
                      <a:pt x="104" y="4799"/>
                      <a:pt x="104" y="4799"/>
                      <a:pt x="104" y="4799"/>
                    </a:cubicBezTo>
                    <a:cubicBezTo>
                      <a:pt x="4" y="4741"/>
                      <a:pt x="4" y="4741"/>
                      <a:pt x="4" y="4741"/>
                    </a:cubicBezTo>
                    <a:cubicBezTo>
                      <a:pt x="4" y="4689"/>
                      <a:pt x="4" y="4689"/>
                      <a:pt x="4" y="4689"/>
                    </a:cubicBezTo>
                    <a:cubicBezTo>
                      <a:pt x="131" y="4763"/>
                      <a:pt x="131" y="4763"/>
                      <a:pt x="131" y="4763"/>
                    </a:cubicBezTo>
                    <a:cubicBezTo>
                      <a:pt x="581" y="4545"/>
                      <a:pt x="581" y="4545"/>
                      <a:pt x="581" y="4545"/>
                    </a:cubicBezTo>
                    <a:cubicBezTo>
                      <a:pt x="512" y="4448"/>
                      <a:pt x="435" y="4339"/>
                      <a:pt x="360" y="4233"/>
                    </a:cubicBezTo>
                    <a:cubicBezTo>
                      <a:pt x="357" y="4228"/>
                      <a:pt x="354" y="4223"/>
                      <a:pt x="350" y="4218"/>
                    </a:cubicBezTo>
                    <a:cubicBezTo>
                      <a:pt x="310" y="4244"/>
                      <a:pt x="185" y="4326"/>
                      <a:pt x="63" y="4407"/>
                    </a:cubicBezTo>
                    <a:cubicBezTo>
                      <a:pt x="43" y="4420"/>
                      <a:pt x="24" y="4433"/>
                      <a:pt x="4" y="4446"/>
                    </a:cubicBezTo>
                    <a:cubicBezTo>
                      <a:pt x="4" y="4429"/>
                      <a:pt x="4" y="4429"/>
                      <a:pt x="4" y="4429"/>
                    </a:cubicBezTo>
                    <a:cubicBezTo>
                      <a:pt x="22" y="4417"/>
                      <a:pt x="41" y="4405"/>
                      <a:pt x="59" y="4393"/>
                    </a:cubicBezTo>
                    <a:cubicBezTo>
                      <a:pt x="132" y="4344"/>
                      <a:pt x="206" y="4296"/>
                      <a:pt x="262" y="4260"/>
                    </a:cubicBezTo>
                    <a:cubicBezTo>
                      <a:pt x="289" y="4241"/>
                      <a:pt x="313" y="4226"/>
                      <a:pt x="330" y="4215"/>
                    </a:cubicBezTo>
                    <a:cubicBezTo>
                      <a:pt x="335" y="4212"/>
                      <a:pt x="339" y="4209"/>
                      <a:pt x="342" y="4207"/>
                    </a:cubicBezTo>
                    <a:cubicBezTo>
                      <a:pt x="309" y="4159"/>
                      <a:pt x="276" y="4112"/>
                      <a:pt x="245" y="4067"/>
                    </a:cubicBezTo>
                    <a:cubicBezTo>
                      <a:pt x="215" y="4082"/>
                      <a:pt x="116" y="4131"/>
                      <a:pt x="4" y="4187"/>
                    </a:cubicBezTo>
                    <a:cubicBezTo>
                      <a:pt x="4" y="4172"/>
                      <a:pt x="4" y="4172"/>
                      <a:pt x="4" y="4172"/>
                    </a:cubicBezTo>
                    <a:cubicBezTo>
                      <a:pt x="111" y="4118"/>
                      <a:pt x="206" y="4071"/>
                      <a:pt x="237" y="4055"/>
                    </a:cubicBezTo>
                    <a:cubicBezTo>
                      <a:pt x="188" y="3983"/>
                      <a:pt x="142" y="3916"/>
                      <a:pt x="104" y="3860"/>
                    </a:cubicBezTo>
                    <a:cubicBezTo>
                      <a:pt x="80" y="3824"/>
                      <a:pt x="56" y="3792"/>
                      <a:pt x="38" y="3767"/>
                    </a:cubicBezTo>
                    <a:cubicBezTo>
                      <a:pt x="38" y="3767"/>
                      <a:pt x="38" y="3767"/>
                      <a:pt x="38" y="3767"/>
                    </a:cubicBezTo>
                    <a:cubicBezTo>
                      <a:pt x="37" y="3766"/>
                      <a:pt x="37" y="3766"/>
                      <a:pt x="37" y="3766"/>
                    </a:cubicBezTo>
                    <a:cubicBezTo>
                      <a:pt x="37" y="3767"/>
                      <a:pt x="37" y="3767"/>
                      <a:pt x="37" y="3767"/>
                    </a:cubicBezTo>
                    <a:cubicBezTo>
                      <a:pt x="27" y="3775"/>
                      <a:pt x="16" y="3785"/>
                      <a:pt x="4" y="3796"/>
                    </a:cubicBezTo>
                    <a:cubicBezTo>
                      <a:pt x="4" y="3775"/>
                      <a:pt x="4" y="3775"/>
                      <a:pt x="4" y="3775"/>
                    </a:cubicBezTo>
                    <a:cubicBezTo>
                      <a:pt x="6" y="3774"/>
                      <a:pt x="8" y="3772"/>
                      <a:pt x="9" y="3771"/>
                    </a:cubicBezTo>
                    <a:cubicBezTo>
                      <a:pt x="29" y="3754"/>
                      <a:pt x="29" y="3754"/>
                      <a:pt x="29" y="3754"/>
                    </a:cubicBezTo>
                    <a:cubicBezTo>
                      <a:pt x="25" y="3748"/>
                      <a:pt x="21" y="3743"/>
                      <a:pt x="18" y="3738"/>
                    </a:cubicBezTo>
                    <a:cubicBezTo>
                      <a:pt x="14" y="3733"/>
                      <a:pt x="14" y="3733"/>
                      <a:pt x="14" y="3733"/>
                    </a:cubicBezTo>
                    <a:cubicBezTo>
                      <a:pt x="10" y="3727"/>
                      <a:pt x="7" y="3722"/>
                      <a:pt x="4" y="3718"/>
                    </a:cubicBezTo>
                    <a:cubicBezTo>
                      <a:pt x="4" y="3603"/>
                      <a:pt x="4" y="3603"/>
                      <a:pt x="4" y="3603"/>
                    </a:cubicBezTo>
                    <a:cubicBezTo>
                      <a:pt x="25" y="3634"/>
                      <a:pt x="25" y="3634"/>
                      <a:pt x="25" y="3634"/>
                    </a:cubicBezTo>
                    <a:cubicBezTo>
                      <a:pt x="54" y="3613"/>
                      <a:pt x="66" y="3605"/>
                      <a:pt x="79" y="3595"/>
                    </a:cubicBezTo>
                    <a:cubicBezTo>
                      <a:pt x="167" y="3532"/>
                      <a:pt x="337" y="3414"/>
                      <a:pt x="341" y="3411"/>
                    </a:cubicBezTo>
                    <a:cubicBezTo>
                      <a:pt x="325" y="3372"/>
                      <a:pt x="314" y="3346"/>
                      <a:pt x="314" y="3346"/>
                    </a:cubicBezTo>
                    <a:cubicBezTo>
                      <a:pt x="346" y="3324"/>
                      <a:pt x="346" y="3324"/>
                      <a:pt x="346" y="3324"/>
                    </a:cubicBezTo>
                    <a:cubicBezTo>
                      <a:pt x="338" y="3330"/>
                      <a:pt x="338" y="3330"/>
                      <a:pt x="338" y="3330"/>
                    </a:cubicBezTo>
                    <a:cubicBezTo>
                      <a:pt x="303" y="3255"/>
                      <a:pt x="303" y="3255"/>
                      <a:pt x="303" y="3255"/>
                    </a:cubicBezTo>
                    <a:cubicBezTo>
                      <a:pt x="249" y="3285"/>
                      <a:pt x="198" y="3319"/>
                      <a:pt x="158" y="3363"/>
                    </a:cubicBezTo>
                    <a:cubicBezTo>
                      <a:pt x="103" y="3424"/>
                      <a:pt x="38" y="3505"/>
                      <a:pt x="4" y="3546"/>
                    </a:cubicBezTo>
                    <a:cubicBezTo>
                      <a:pt x="4" y="3507"/>
                      <a:pt x="4" y="3507"/>
                      <a:pt x="4" y="3507"/>
                    </a:cubicBezTo>
                    <a:cubicBezTo>
                      <a:pt x="40" y="3463"/>
                      <a:pt x="93" y="3398"/>
                      <a:pt x="140" y="3347"/>
                    </a:cubicBezTo>
                    <a:cubicBezTo>
                      <a:pt x="221" y="3258"/>
                      <a:pt x="342" y="3209"/>
                      <a:pt x="437" y="3157"/>
                    </a:cubicBezTo>
                    <a:cubicBezTo>
                      <a:pt x="482" y="3133"/>
                      <a:pt x="553" y="3098"/>
                      <a:pt x="621" y="3069"/>
                    </a:cubicBezTo>
                    <a:cubicBezTo>
                      <a:pt x="615" y="3061"/>
                      <a:pt x="608" y="3054"/>
                      <a:pt x="602" y="3047"/>
                    </a:cubicBezTo>
                    <a:cubicBezTo>
                      <a:pt x="595" y="3039"/>
                      <a:pt x="588" y="3031"/>
                      <a:pt x="582" y="3023"/>
                    </a:cubicBezTo>
                    <a:cubicBezTo>
                      <a:pt x="545" y="3045"/>
                      <a:pt x="515" y="3064"/>
                      <a:pt x="478" y="3089"/>
                    </a:cubicBezTo>
                    <a:cubicBezTo>
                      <a:pt x="477" y="3089"/>
                      <a:pt x="477" y="3089"/>
                      <a:pt x="477" y="3089"/>
                    </a:cubicBezTo>
                    <a:cubicBezTo>
                      <a:pt x="476" y="3090"/>
                      <a:pt x="476" y="3090"/>
                      <a:pt x="476" y="3090"/>
                    </a:cubicBezTo>
                    <a:cubicBezTo>
                      <a:pt x="475" y="3090"/>
                      <a:pt x="406" y="3113"/>
                      <a:pt x="389" y="3114"/>
                    </a:cubicBezTo>
                    <a:cubicBezTo>
                      <a:pt x="304" y="3129"/>
                      <a:pt x="304" y="3129"/>
                      <a:pt x="304" y="3129"/>
                    </a:cubicBezTo>
                    <a:cubicBezTo>
                      <a:pt x="279" y="3133"/>
                      <a:pt x="251" y="3137"/>
                      <a:pt x="222" y="3140"/>
                    </a:cubicBezTo>
                    <a:cubicBezTo>
                      <a:pt x="183" y="3182"/>
                      <a:pt x="141" y="3227"/>
                      <a:pt x="100" y="3272"/>
                    </a:cubicBezTo>
                    <a:cubicBezTo>
                      <a:pt x="67" y="3307"/>
                      <a:pt x="35" y="3342"/>
                      <a:pt x="4" y="3375"/>
                    </a:cubicBezTo>
                    <a:cubicBezTo>
                      <a:pt x="4" y="3145"/>
                      <a:pt x="4" y="3145"/>
                      <a:pt x="4" y="3145"/>
                    </a:cubicBezTo>
                    <a:cubicBezTo>
                      <a:pt x="6" y="3145"/>
                      <a:pt x="8" y="3145"/>
                      <a:pt x="10" y="3145"/>
                    </a:cubicBezTo>
                    <a:cubicBezTo>
                      <a:pt x="108" y="3038"/>
                      <a:pt x="205" y="2934"/>
                      <a:pt x="265" y="2870"/>
                    </a:cubicBezTo>
                    <a:cubicBezTo>
                      <a:pt x="225" y="2864"/>
                      <a:pt x="185" y="2859"/>
                      <a:pt x="149" y="2859"/>
                    </a:cubicBezTo>
                    <a:cubicBezTo>
                      <a:pt x="137" y="2859"/>
                      <a:pt x="127" y="2860"/>
                      <a:pt x="117" y="2861"/>
                    </a:cubicBezTo>
                    <a:cubicBezTo>
                      <a:pt x="75" y="2864"/>
                      <a:pt x="36" y="2880"/>
                      <a:pt x="4" y="2898"/>
                    </a:cubicBezTo>
                    <a:cubicBezTo>
                      <a:pt x="4" y="2879"/>
                      <a:pt x="4" y="2879"/>
                      <a:pt x="4" y="2879"/>
                    </a:cubicBezTo>
                    <a:cubicBezTo>
                      <a:pt x="36" y="2863"/>
                      <a:pt x="74" y="2848"/>
                      <a:pt x="115" y="2844"/>
                    </a:cubicBezTo>
                    <a:cubicBezTo>
                      <a:pt x="126" y="2843"/>
                      <a:pt x="137" y="2843"/>
                      <a:pt x="149" y="2843"/>
                    </a:cubicBezTo>
                    <a:cubicBezTo>
                      <a:pt x="189" y="2843"/>
                      <a:pt x="234" y="2848"/>
                      <a:pt x="278" y="2855"/>
                    </a:cubicBezTo>
                    <a:cubicBezTo>
                      <a:pt x="303" y="2828"/>
                      <a:pt x="320" y="2810"/>
                      <a:pt x="325" y="2805"/>
                    </a:cubicBezTo>
                    <a:cubicBezTo>
                      <a:pt x="337" y="2793"/>
                      <a:pt x="356" y="2777"/>
                      <a:pt x="371" y="2766"/>
                    </a:cubicBezTo>
                    <a:cubicBezTo>
                      <a:pt x="281" y="2597"/>
                      <a:pt x="281" y="2597"/>
                      <a:pt x="281" y="2597"/>
                    </a:cubicBezTo>
                    <a:cubicBezTo>
                      <a:pt x="269" y="2604"/>
                      <a:pt x="245" y="2617"/>
                      <a:pt x="221" y="2631"/>
                    </a:cubicBezTo>
                    <a:cubicBezTo>
                      <a:pt x="204" y="2641"/>
                      <a:pt x="186" y="2651"/>
                      <a:pt x="173" y="2658"/>
                    </a:cubicBezTo>
                    <a:cubicBezTo>
                      <a:pt x="166" y="2661"/>
                      <a:pt x="160" y="2665"/>
                      <a:pt x="156" y="2667"/>
                    </a:cubicBezTo>
                    <a:cubicBezTo>
                      <a:pt x="150" y="2669"/>
                      <a:pt x="150" y="2670"/>
                      <a:pt x="144" y="2671"/>
                    </a:cubicBezTo>
                    <a:cubicBezTo>
                      <a:pt x="144" y="2671"/>
                      <a:pt x="144" y="2671"/>
                      <a:pt x="144" y="2671"/>
                    </a:cubicBezTo>
                    <a:cubicBezTo>
                      <a:pt x="144" y="2671"/>
                      <a:pt x="143" y="2671"/>
                      <a:pt x="143" y="2671"/>
                    </a:cubicBezTo>
                    <a:cubicBezTo>
                      <a:pt x="142" y="2671"/>
                      <a:pt x="142" y="2671"/>
                      <a:pt x="142" y="2671"/>
                    </a:cubicBezTo>
                    <a:cubicBezTo>
                      <a:pt x="141" y="2670"/>
                      <a:pt x="141" y="2670"/>
                      <a:pt x="141" y="2670"/>
                    </a:cubicBezTo>
                    <a:cubicBezTo>
                      <a:pt x="138" y="2669"/>
                      <a:pt x="138" y="2669"/>
                      <a:pt x="136" y="2667"/>
                    </a:cubicBezTo>
                    <a:cubicBezTo>
                      <a:pt x="131" y="2663"/>
                      <a:pt x="118" y="2650"/>
                      <a:pt x="102" y="2636"/>
                    </a:cubicBezTo>
                    <a:cubicBezTo>
                      <a:pt x="87" y="2660"/>
                      <a:pt x="46" y="2723"/>
                      <a:pt x="4" y="2789"/>
                    </a:cubicBezTo>
                    <a:cubicBezTo>
                      <a:pt x="4" y="2758"/>
                      <a:pt x="4" y="2758"/>
                      <a:pt x="4" y="2758"/>
                    </a:cubicBezTo>
                    <a:cubicBezTo>
                      <a:pt x="43" y="2698"/>
                      <a:pt x="78" y="2643"/>
                      <a:pt x="90" y="2624"/>
                    </a:cubicBezTo>
                    <a:cubicBezTo>
                      <a:pt x="82" y="2616"/>
                      <a:pt x="73" y="2609"/>
                      <a:pt x="65" y="2601"/>
                    </a:cubicBezTo>
                    <a:cubicBezTo>
                      <a:pt x="50" y="2586"/>
                      <a:pt x="35" y="2572"/>
                      <a:pt x="23" y="2562"/>
                    </a:cubicBezTo>
                    <a:cubicBezTo>
                      <a:pt x="18" y="2557"/>
                      <a:pt x="13" y="2553"/>
                      <a:pt x="10" y="2550"/>
                    </a:cubicBezTo>
                    <a:cubicBezTo>
                      <a:pt x="8" y="2549"/>
                      <a:pt x="7" y="2547"/>
                      <a:pt x="6" y="2547"/>
                    </a:cubicBezTo>
                    <a:cubicBezTo>
                      <a:pt x="6" y="2547"/>
                      <a:pt x="5" y="2546"/>
                      <a:pt x="5" y="2546"/>
                    </a:cubicBezTo>
                    <a:cubicBezTo>
                      <a:pt x="5" y="2546"/>
                      <a:pt x="5" y="2546"/>
                      <a:pt x="5" y="2546"/>
                    </a:cubicBezTo>
                    <a:cubicBezTo>
                      <a:pt x="5" y="2546"/>
                      <a:pt x="5" y="2546"/>
                      <a:pt x="4" y="2545"/>
                    </a:cubicBezTo>
                    <a:cubicBezTo>
                      <a:pt x="1" y="2543"/>
                      <a:pt x="1" y="2541"/>
                      <a:pt x="1" y="2540"/>
                    </a:cubicBezTo>
                    <a:cubicBezTo>
                      <a:pt x="1" y="2539"/>
                      <a:pt x="1" y="2538"/>
                      <a:pt x="1" y="2537"/>
                    </a:cubicBezTo>
                    <a:cubicBezTo>
                      <a:pt x="1" y="2533"/>
                      <a:pt x="2" y="2522"/>
                      <a:pt x="4" y="2508"/>
                    </a:cubicBezTo>
                    <a:cubicBezTo>
                      <a:pt x="11" y="2464"/>
                      <a:pt x="26" y="2386"/>
                      <a:pt x="31" y="2359"/>
                    </a:cubicBezTo>
                    <a:cubicBezTo>
                      <a:pt x="4" y="2366"/>
                      <a:pt x="4" y="2366"/>
                      <a:pt x="4" y="2366"/>
                    </a:cubicBezTo>
                    <a:cubicBezTo>
                      <a:pt x="4" y="2352"/>
                      <a:pt x="4" y="2352"/>
                      <a:pt x="4" y="2352"/>
                    </a:cubicBezTo>
                    <a:cubicBezTo>
                      <a:pt x="34" y="2343"/>
                      <a:pt x="34" y="2343"/>
                      <a:pt x="34" y="2343"/>
                    </a:cubicBezTo>
                    <a:cubicBezTo>
                      <a:pt x="34" y="2343"/>
                      <a:pt x="34" y="2343"/>
                      <a:pt x="34" y="2343"/>
                    </a:cubicBezTo>
                    <a:cubicBezTo>
                      <a:pt x="131" y="2317"/>
                      <a:pt x="131" y="2317"/>
                      <a:pt x="131" y="2317"/>
                    </a:cubicBezTo>
                    <a:cubicBezTo>
                      <a:pt x="39" y="2146"/>
                      <a:pt x="39" y="2146"/>
                      <a:pt x="39" y="2146"/>
                    </a:cubicBezTo>
                    <a:cubicBezTo>
                      <a:pt x="39" y="2146"/>
                      <a:pt x="39" y="2146"/>
                      <a:pt x="39" y="2146"/>
                    </a:cubicBezTo>
                    <a:cubicBezTo>
                      <a:pt x="4" y="2077"/>
                      <a:pt x="4" y="2077"/>
                      <a:pt x="4" y="2077"/>
                    </a:cubicBezTo>
                    <a:cubicBezTo>
                      <a:pt x="4" y="1934"/>
                      <a:pt x="4" y="1934"/>
                      <a:pt x="4" y="1934"/>
                    </a:cubicBezTo>
                    <a:cubicBezTo>
                      <a:pt x="98" y="2118"/>
                      <a:pt x="98" y="2118"/>
                      <a:pt x="98" y="2118"/>
                    </a:cubicBezTo>
                    <a:cubicBezTo>
                      <a:pt x="110" y="2113"/>
                      <a:pt x="125" y="2106"/>
                      <a:pt x="140" y="2099"/>
                    </a:cubicBezTo>
                    <a:cubicBezTo>
                      <a:pt x="175" y="2083"/>
                      <a:pt x="211" y="2067"/>
                      <a:pt x="227" y="2061"/>
                    </a:cubicBezTo>
                    <a:cubicBezTo>
                      <a:pt x="230" y="2060"/>
                      <a:pt x="233" y="2058"/>
                      <a:pt x="236" y="2057"/>
                    </a:cubicBezTo>
                    <a:cubicBezTo>
                      <a:pt x="331" y="1829"/>
                      <a:pt x="331" y="1829"/>
                      <a:pt x="331" y="1829"/>
                    </a:cubicBezTo>
                    <a:cubicBezTo>
                      <a:pt x="145" y="1675"/>
                      <a:pt x="145" y="1675"/>
                      <a:pt x="145" y="1675"/>
                    </a:cubicBezTo>
                    <a:cubicBezTo>
                      <a:pt x="4" y="1792"/>
                      <a:pt x="4" y="1792"/>
                      <a:pt x="4" y="1792"/>
                    </a:cubicBezTo>
                    <a:cubicBezTo>
                      <a:pt x="4" y="1706"/>
                      <a:pt x="4" y="1706"/>
                      <a:pt x="4" y="1706"/>
                    </a:cubicBezTo>
                    <a:cubicBezTo>
                      <a:pt x="319" y="1445"/>
                      <a:pt x="319" y="1445"/>
                      <a:pt x="319" y="1445"/>
                    </a:cubicBezTo>
                    <a:cubicBezTo>
                      <a:pt x="197" y="1319"/>
                      <a:pt x="197" y="1319"/>
                      <a:pt x="197" y="1319"/>
                    </a:cubicBezTo>
                    <a:cubicBezTo>
                      <a:pt x="197" y="1319"/>
                      <a:pt x="197" y="1319"/>
                      <a:pt x="197" y="1319"/>
                    </a:cubicBezTo>
                    <a:cubicBezTo>
                      <a:pt x="186" y="1310"/>
                      <a:pt x="186" y="1310"/>
                      <a:pt x="186" y="1310"/>
                    </a:cubicBezTo>
                    <a:cubicBezTo>
                      <a:pt x="186" y="1310"/>
                      <a:pt x="186" y="1310"/>
                      <a:pt x="186" y="1310"/>
                    </a:cubicBezTo>
                    <a:cubicBezTo>
                      <a:pt x="225" y="1270"/>
                      <a:pt x="225" y="1270"/>
                      <a:pt x="225" y="1270"/>
                    </a:cubicBezTo>
                    <a:cubicBezTo>
                      <a:pt x="154" y="1195"/>
                      <a:pt x="154" y="1195"/>
                      <a:pt x="154" y="1195"/>
                    </a:cubicBezTo>
                    <a:cubicBezTo>
                      <a:pt x="114" y="1225"/>
                      <a:pt x="64" y="1254"/>
                      <a:pt x="4" y="1279"/>
                    </a:cubicBezTo>
                    <a:cubicBezTo>
                      <a:pt x="4" y="1208"/>
                      <a:pt x="4" y="1208"/>
                      <a:pt x="4" y="1208"/>
                    </a:cubicBezTo>
                    <a:cubicBezTo>
                      <a:pt x="100" y="1164"/>
                      <a:pt x="160" y="1109"/>
                      <a:pt x="206" y="1062"/>
                    </a:cubicBezTo>
                    <a:cubicBezTo>
                      <a:pt x="197" y="1054"/>
                      <a:pt x="185" y="1044"/>
                      <a:pt x="171" y="1032"/>
                    </a:cubicBezTo>
                    <a:cubicBezTo>
                      <a:pt x="131" y="1000"/>
                      <a:pt x="73" y="956"/>
                      <a:pt x="4" y="914"/>
                    </a:cubicBezTo>
                    <a:cubicBezTo>
                      <a:pt x="4" y="838"/>
                      <a:pt x="4" y="838"/>
                      <a:pt x="4" y="838"/>
                    </a:cubicBezTo>
                    <a:cubicBezTo>
                      <a:pt x="5" y="838"/>
                      <a:pt x="5" y="839"/>
                      <a:pt x="6" y="839"/>
                    </a:cubicBezTo>
                    <a:cubicBezTo>
                      <a:pt x="17" y="816"/>
                      <a:pt x="36" y="775"/>
                      <a:pt x="56" y="733"/>
                    </a:cubicBezTo>
                    <a:cubicBezTo>
                      <a:pt x="71" y="702"/>
                      <a:pt x="86" y="671"/>
                      <a:pt x="98" y="648"/>
                    </a:cubicBezTo>
                    <a:cubicBezTo>
                      <a:pt x="104" y="636"/>
                      <a:pt x="110" y="626"/>
                      <a:pt x="114" y="619"/>
                    </a:cubicBezTo>
                    <a:cubicBezTo>
                      <a:pt x="116" y="616"/>
                      <a:pt x="118" y="613"/>
                      <a:pt x="119" y="611"/>
                    </a:cubicBezTo>
                    <a:cubicBezTo>
                      <a:pt x="122" y="609"/>
                      <a:pt x="120" y="607"/>
                      <a:pt x="128" y="605"/>
                    </a:cubicBezTo>
                    <a:cubicBezTo>
                      <a:pt x="137" y="605"/>
                      <a:pt x="197" y="613"/>
                      <a:pt x="213" y="614"/>
                    </a:cubicBezTo>
                    <a:cubicBezTo>
                      <a:pt x="221" y="600"/>
                      <a:pt x="253" y="522"/>
                      <a:pt x="281" y="449"/>
                    </a:cubicBezTo>
                    <a:cubicBezTo>
                      <a:pt x="302" y="394"/>
                      <a:pt x="322" y="341"/>
                      <a:pt x="332" y="313"/>
                    </a:cubicBezTo>
                    <a:cubicBezTo>
                      <a:pt x="171" y="89"/>
                      <a:pt x="171" y="89"/>
                      <a:pt x="171" y="89"/>
                    </a:cubicBezTo>
                    <a:cubicBezTo>
                      <a:pt x="170" y="89"/>
                      <a:pt x="170" y="89"/>
                      <a:pt x="170" y="89"/>
                    </a:cubicBezTo>
                    <a:cubicBezTo>
                      <a:pt x="148" y="103"/>
                      <a:pt x="107" y="130"/>
                      <a:pt x="68" y="157"/>
                    </a:cubicBezTo>
                    <a:cubicBezTo>
                      <a:pt x="45" y="172"/>
                      <a:pt x="23" y="188"/>
                      <a:pt x="4" y="200"/>
                    </a:cubicBezTo>
                    <a:cubicBezTo>
                      <a:pt x="4" y="183"/>
                      <a:pt x="4" y="183"/>
                      <a:pt x="4" y="183"/>
                    </a:cubicBezTo>
                    <a:cubicBezTo>
                      <a:pt x="23" y="171"/>
                      <a:pt x="44" y="156"/>
                      <a:pt x="66" y="142"/>
                    </a:cubicBezTo>
                    <a:cubicBezTo>
                      <a:pt x="94" y="123"/>
                      <a:pt x="122" y="104"/>
                      <a:pt x="144" y="90"/>
                    </a:cubicBezTo>
                    <a:cubicBezTo>
                      <a:pt x="147" y="87"/>
                      <a:pt x="151" y="85"/>
                      <a:pt x="154" y="83"/>
                    </a:cubicBezTo>
                    <a:cubicBezTo>
                      <a:pt x="4" y="27"/>
                      <a:pt x="4" y="27"/>
                      <a:pt x="4" y="27"/>
                    </a:cubicBezTo>
                    <a:cubicBezTo>
                      <a:pt x="4" y="0"/>
                      <a:pt x="4" y="0"/>
                      <a:pt x="4" y="0"/>
                    </a:cubicBezTo>
                    <a:cubicBezTo>
                      <a:pt x="60" y="0"/>
                      <a:pt x="60" y="0"/>
                      <a:pt x="60" y="0"/>
                    </a:cubicBezTo>
                    <a:cubicBezTo>
                      <a:pt x="192" y="49"/>
                      <a:pt x="192" y="49"/>
                      <a:pt x="192" y="49"/>
                    </a:cubicBezTo>
                    <a:cubicBezTo>
                      <a:pt x="197" y="37"/>
                      <a:pt x="205" y="20"/>
                      <a:pt x="214" y="0"/>
                    </a:cubicBezTo>
                    <a:cubicBezTo>
                      <a:pt x="229" y="0"/>
                      <a:pt x="229" y="0"/>
                      <a:pt x="229" y="0"/>
                    </a:cubicBezTo>
                    <a:cubicBezTo>
                      <a:pt x="221" y="18"/>
                      <a:pt x="214" y="35"/>
                      <a:pt x="208" y="47"/>
                    </a:cubicBezTo>
                    <a:cubicBezTo>
                      <a:pt x="206" y="51"/>
                      <a:pt x="205" y="54"/>
                      <a:pt x="203" y="57"/>
                    </a:cubicBezTo>
                    <a:cubicBezTo>
                      <a:pt x="359" y="273"/>
                      <a:pt x="359" y="273"/>
                      <a:pt x="359" y="273"/>
                    </a:cubicBezTo>
                    <a:cubicBezTo>
                      <a:pt x="384" y="247"/>
                      <a:pt x="433" y="196"/>
                      <a:pt x="482" y="145"/>
                    </a:cubicBezTo>
                    <a:cubicBezTo>
                      <a:pt x="518" y="109"/>
                      <a:pt x="554" y="72"/>
                      <a:pt x="581" y="45"/>
                    </a:cubicBezTo>
                    <a:cubicBezTo>
                      <a:pt x="595" y="31"/>
                      <a:pt x="607" y="20"/>
                      <a:pt x="616" y="12"/>
                    </a:cubicBezTo>
                    <a:cubicBezTo>
                      <a:pt x="620" y="8"/>
                      <a:pt x="623" y="4"/>
                      <a:pt x="626" y="2"/>
                    </a:cubicBezTo>
                    <a:cubicBezTo>
                      <a:pt x="627" y="2"/>
                      <a:pt x="628" y="1"/>
                      <a:pt x="628" y="1"/>
                    </a:cubicBezTo>
                    <a:cubicBezTo>
                      <a:pt x="628" y="0"/>
                      <a:pt x="628" y="0"/>
                      <a:pt x="627" y="0"/>
                    </a:cubicBezTo>
                    <a:cubicBezTo>
                      <a:pt x="649" y="0"/>
                      <a:pt x="649" y="0"/>
                      <a:pt x="649" y="0"/>
                    </a:cubicBezTo>
                    <a:cubicBezTo>
                      <a:pt x="767" y="103"/>
                      <a:pt x="884" y="206"/>
                      <a:pt x="926" y="243"/>
                    </a:cubicBezTo>
                    <a:cubicBezTo>
                      <a:pt x="1010" y="40"/>
                      <a:pt x="1010" y="40"/>
                      <a:pt x="1010" y="40"/>
                    </a:cubicBezTo>
                    <a:cubicBezTo>
                      <a:pt x="1024" y="0"/>
                      <a:pt x="1024" y="0"/>
                      <a:pt x="1024" y="0"/>
                    </a:cubicBezTo>
                    <a:cubicBezTo>
                      <a:pt x="1094" y="0"/>
                      <a:pt x="1094" y="0"/>
                      <a:pt x="1094" y="0"/>
                    </a:cubicBezTo>
                    <a:cubicBezTo>
                      <a:pt x="1087" y="21"/>
                      <a:pt x="1087" y="21"/>
                      <a:pt x="1087" y="21"/>
                    </a:cubicBezTo>
                    <a:cubicBezTo>
                      <a:pt x="1108" y="16"/>
                      <a:pt x="1141" y="8"/>
                      <a:pt x="1177" y="0"/>
                    </a:cubicBezTo>
                    <a:cubicBezTo>
                      <a:pt x="1251" y="0"/>
                      <a:pt x="1251" y="0"/>
                      <a:pt x="1251" y="0"/>
                    </a:cubicBezTo>
                    <a:cubicBezTo>
                      <a:pt x="1239" y="2"/>
                      <a:pt x="1227" y="5"/>
                      <a:pt x="1214" y="8"/>
                    </a:cubicBezTo>
                    <a:cubicBezTo>
                      <a:pt x="1177" y="16"/>
                      <a:pt x="1141" y="25"/>
                      <a:pt x="1113" y="31"/>
                    </a:cubicBezTo>
                    <a:cubicBezTo>
                      <a:pt x="1099" y="34"/>
                      <a:pt x="1088" y="37"/>
                      <a:pt x="1080" y="39"/>
                    </a:cubicBezTo>
                    <a:cubicBezTo>
                      <a:pt x="1080" y="39"/>
                      <a:pt x="1080" y="39"/>
                      <a:pt x="1080" y="39"/>
                    </a:cubicBezTo>
                    <a:cubicBezTo>
                      <a:pt x="1066" y="75"/>
                      <a:pt x="1066" y="75"/>
                      <a:pt x="1066" y="75"/>
                    </a:cubicBezTo>
                    <a:cubicBezTo>
                      <a:pt x="1065" y="75"/>
                      <a:pt x="1065" y="75"/>
                      <a:pt x="1065" y="75"/>
                    </a:cubicBezTo>
                    <a:cubicBezTo>
                      <a:pt x="1048" y="119"/>
                      <a:pt x="1048" y="119"/>
                      <a:pt x="1048" y="119"/>
                    </a:cubicBezTo>
                    <a:cubicBezTo>
                      <a:pt x="1243" y="294"/>
                      <a:pt x="1243" y="294"/>
                      <a:pt x="1243" y="294"/>
                    </a:cubicBezTo>
                    <a:cubicBezTo>
                      <a:pt x="1348" y="167"/>
                      <a:pt x="1348" y="167"/>
                      <a:pt x="1348" y="167"/>
                    </a:cubicBezTo>
                    <a:cubicBezTo>
                      <a:pt x="1382" y="6"/>
                      <a:pt x="1382" y="6"/>
                      <a:pt x="1382" y="6"/>
                    </a:cubicBezTo>
                    <a:cubicBezTo>
                      <a:pt x="1378" y="0"/>
                      <a:pt x="1378" y="0"/>
                      <a:pt x="1378" y="0"/>
                    </a:cubicBezTo>
                    <a:cubicBezTo>
                      <a:pt x="1429" y="0"/>
                      <a:pt x="1429" y="0"/>
                      <a:pt x="1429" y="0"/>
                    </a:cubicBezTo>
                    <a:cubicBezTo>
                      <a:pt x="1398" y="150"/>
                      <a:pt x="1398" y="150"/>
                      <a:pt x="1398" y="150"/>
                    </a:cubicBezTo>
                    <a:cubicBezTo>
                      <a:pt x="1414" y="160"/>
                      <a:pt x="1444" y="179"/>
                      <a:pt x="1474" y="199"/>
                    </a:cubicBezTo>
                    <a:cubicBezTo>
                      <a:pt x="1497" y="213"/>
                      <a:pt x="1520" y="227"/>
                      <a:pt x="1538" y="238"/>
                    </a:cubicBezTo>
                    <a:cubicBezTo>
                      <a:pt x="1546" y="243"/>
                      <a:pt x="1554" y="248"/>
                      <a:pt x="1559" y="251"/>
                    </a:cubicBezTo>
                    <a:cubicBezTo>
                      <a:pt x="1561" y="252"/>
                      <a:pt x="1562" y="252"/>
                      <a:pt x="1564" y="253"/>
                    </a:cubicBezTo>
                    <a:cubicBezTo>
                      <a:pt x="1636" y="149"/>
                      <a:pt x="1636" y="149"/>
                      <a:pt x="1636" y="149"/>
                    </a:cubicBezTo>
                    <a:cubicBezTo>
                      <a:pt x="1636" y="149"/>
                      <a:pt x="1636" y="149"/>
                      <a:pt x="1636" y="149"/>
                    </a:cubicBezTo>
                    <a:cubicBezTo>
                      <a:pt x="1634" y="147"/>
                      <a:pt x="1634" y="147"/>
                      <a:pt x="1634" y="147"/>
                    </a:cubicBezTo>
                    <a:cubicBezTo>
                      <a:pt x="1639" y="143"/>
                      <a:pt x="1661" y="113"/>
                      <a:pt x="1687" y="76"/>
                    </a:cubicBezTo>
                    <a:cubicBezTo>
                      <a:pt x="1687" y="77"/>
                      <a:pt x="1687" y="77"/>
                      <a:pt x="1687" y="77"/>
                    </a:cubicBezTo>
                    <a:cubicBezTo>
                      <a:pt x="1703" y="53"/>
                      <a:pt x="1703" y="53"/>
                      <a:pt x="1703" y="53"/>
                    </a:cubicBezTo>
                    <a:cubicBezTo>
                      <a:pt x="1707" y="49"/>
                      <a:pt x="1710" y="44"/>
                      <a:pt x="1713" y="39"/>
                    </a:cubicBezTo>
                    <a:cubicBezTo>
                      <a:pt x="1682" y="27"/>
                      <a:pt x="1644" y="12"/>
                      <a:pt x="1611" y="0"/>
                    </a:cubicBezTo>
                    <a:cubicBezTo>
                      <a:pt x="1658" y="0"/>
                      <a:pt x="1658" y="0"/>
                      <a:pt x="1658" y="0"/>
                    </a:cubicBezTo>
                    <a:cubicBezTo>
                      <a:pt x="1669" y="4"/>
                      <a:pt x="1679" y="7"/>
                      <a:pt x="1687" y="11"/>
                    </a:cubicBezTo>
                    <a:cubicBezTo>
                      <a:pt x="1690" y="12"/>
                      <a:pt x="1693" y="13"/>
                      <a:pt x="1722" y="25"/>
                    </a:cubicBezTo>
                    <a:cubicBezTo>
                      <a:pt x="1722" y="27"/>
                      <a:pt x="1722" y="27"/>
                      <a:pt x="1722" y="27"/>
                    </a:cubicBezTo>
                    <a:cubicBezTo>
                      <a:pt x="1727" y="18"/>
                      <a:pt x="1733" y="9"/>
                      <a:pt x="1739" y="0"/>
                    </a:cubicBezTo>
                    <a:cubicBezTo>
                      <a:pt x="1818" y="0"/>
                      <a:pt x="1818" y="0"/>
                      <a:pt x="1818" y="0"/>
                    </a:cubicBezTo>
                    <a:cubicBezTo>
                      <a:pt x="1800" y="26"/>
                      <a:pt x="1782" y="52"/>
                      <a:pt x="1766" y="76"/>
                    </a:cubicBezTo>
                    <a:cubicBezTo>
                      <a:pt x="1744" y="108"/>
                      <a:pt x="1724" y="137"/>
                      <a:pt x="1709" y="158"/>
                    </a:cubicBezTo>
                    <a:cubicBezTo>
                      <a:pt x="1707" y="160"/>
                      <a:pt x="1706" y="162"/>
                      <a:pt x="1704" y="164"/>
                    </a:cubicBezTo>
                    <a:cubicBezTo>
                      <a:pt x="1704" y="165"/>
                      <a:pt x="1705" y="164"/>
                      <a:pt x="1705" y="165"/>
                    </a:cubicBezTo>
                    <a:cubicBezTo>
                      <a:pt x="1706" y="166"/>
                      <a:pt x="1706" y="167"/>
                      <a:pt x="1707" y="168"/>
                    </a:cubicBezTo>
                    <a:cubicBezTo>
                      <a:pt x="1711" y="174"/>
                      <a:pt x="1752" y="226"/>
                      <a:pt x="1792" y="274"/>
                    </a:cubicBezTo>
                    <a:cubicBezTo>
                      <a:pt x="1823" y="312"/>
                      <a:pt x="1854" y="350"/>
                      <a:pt x="1867" y="366"/>
                    </a:cubicBezTo>
                    <a:cubicBezTo>
                      <a:pt x="2202" y="0"/>
                      <a:pt x="2202" y="0"/>
                      <a:pt x="2202" y="0"/>
                    </a:cubicBezTo>
                    <a:cubicBezTo>
                      <a:pt x="2221" y="0"/>
                      <a:pt x="2221" y="0"/>
                      <a:pt x="2221" y="0"/>
                    </a:cubicBezTo>
                    <a:cubicBezTo>
                      <a:pt x="1876" y="377"/>
                      <a:pt x="1876" y="377"/>
                      <a:pt x="1876" y="377"/>
                    </a:cubicBezTo>
                    <a:cubicBezTo>
                      <a:pt x="1876" y="377"/>
                      <a:pt x="1876" y="377"/>
                      <a:pt x="1876" y="377"/>
                    </a:cubicBezTo>
                    <a:cubicBezTo>
                      <a:pt x="1876" y="381"/>
                      <a:pt x="1876" y="381"/>
                      <a:pt x="1876" y="381"/>
                    </a:cubicBezTo>
                    <a:cubicBezTo>
                      <a:pt x="1876" y="381"/>
                      <a:pt x="1867" y="457"/>
                      <a:pt x="1858" y="534"/>
                    </a:cubicBezTo>
                    <a:cubicBezTo>
                      <a:pt x="1853" y="572"/>
                      <a:pt x="1848" y="611"/>
                      <a:pt x="1844" y="639"/>
                    </a:cubicBezTo>
                    <a:cubicBezTo>
                      <a:pt x="1842" y="654"/>
                      <a:pt x="1841" y="666"/>
                      <a:pt x="1839" y="674"/>
                    </a:cubicBezTo>
                    <a:cubicBezTo>
                      <a:pt x="1839" y="677"/>
                      <a:pt x="1838" y="680"/>
                      <a:pt x="1838" y="682"/>
                    </a:cubicBezTo>
                    <a:cubicBezTo>
                      <a:pt x="1846" y="686"/>
                      <a:pt x="1863" y="693"/>
                      <a:pt x="1879" y="700"/>
                    </a:cubicBezTo>
                    <a:cubicBezTo>
                      <a:pt x="1895" y="707"/>
                      <a:pt x="1911" y="713"/>
                      <a:pt x="1918" y="716"/>
                    </a:cubicBezTo>
                    <a:cubicBezTo>
                      <a:pt x="1945" y="703"/>
                      <a:pt x="2011" y="668"/>
                      <a:pt x="2075" y="635"/>
                    </a:cubicBezTo>
                    <a:cubicBezTo>
                      <a:pt x="2146" y="598"/>
                      <a:pt x="2216" y="561"/>
                      <a:pt x="2229" y="554"/>
                    </a:cubicBezTo>
                    <a:cubicBezTo>
                      <a:pt x="2236" y="537"/>
                      <a:pt x="2273" y="434"/>
                      <a:pt x="2311" y="330"/>
                    </a:cubicBezTo>
                    <a:cubicBezTo>
                      <a:pt x="2331" y="274"/>
                      <a:pt x="2353" y="217"/>
                      <a:pt x="2369" y="174"/>
                    </a:cubicBezTo>
                    <a:cubicBezTo>
                      <a:pt x="2377" y="153"/>
                      <a:pt x="2384" y="135"/>
                      <a:pt x="2390" y="122"/>
                    </a:cubicBezTo>
                    <a:cubicBezTo>
                      <a:pt x="2390" y="121"/>
                      <a:pt x="2391" y="120"/>
                      <a:pt x="2391" y="119"/>
                    </a:cubicBezTo>
                    <a:cubicBezTo>
                      <a:pt x="2348" y="88"/>
                      <a:pt x="2288" y="44"/>
                      <a:pt x="2226" y="0"/>
                    </a:cubicBezTo>
                    <a:cubicBezTo>
                      <a:pt x="2338" y="0"/>
                      <a:pt x="2338" y="0"/>
                      <a:pt x="2338" y="0"/>
                    </a:cubicBezTo>
                    <a:cubicBezTo>
                      <a:pt x="2387" y="35"/>
                      <a:pt x="2429" y="66"/>
                      <a:pt x="2457" y="85"/>
                    </a:cubicBezTo>
                    <a:cubicBezTo>
                      <a:pt x="2476" y="0"/>
                      <a:pt x="2476" y="0"/>
                      <a:pt x="2476" y="0"/>
                    </a:cubicBezTo>
                    <a:cubicBezTo>
                      <a:pt x="2490" y="0"/>
                      <a:pt x="2490" y="0"/>
                      <a:pt x="2490" y="0"/>
                    </a:cubicBezTo>
                    <a:cubicBezTo>
                      <a:pt x="2469" y="94"/>
                      <a:pt x="2469" y="94"/>
                      <a:pt x="2469" y="94"/>
                    </a:cubicBezTo>
                    <a:cubicBezTo>
                      <a:pt x="2556" y="156"/>
                      <a:pt x="2661" y="240"/>
                      <a:pt x="2815" y="259"/>
                    </a:cubicBezTo>
                    <a:cubicBezTo>
                      <a:pt x="2826" y="261"/>
                      <a:pt x="2838" y="261"/>
                      <a:pt x="2849" y="261"/>
                    </a:cubicBezTo>
                    <a:cubicBezTo>
                      <a:pt x="2922" y="262"/>
                      <a:pt x="2995" y="233"/>
                      <a:pt x="3059" y="197"/>
                    </a:cubicBezTo>
                    <a:cubicBezTo>
                      <a:pt x="3050" y="180"/>
                      <a:pt x="3036" y="149"/>
                      <a:pt x="3018" y="109"/>
                    </a:cubicBezTo>
                    <a:cubicBezTo>
                      <a:pt x="3004" y="77"/>
                      <a:pt x="2987" y="40"/>
                      <a:pt x="2970" y="0"/>
                    </a:cubicBezTo>
                    <a:cubicBezTo>
                      <a:pt x="2985" y="0"/>
                      <a:pt x="2985" y="0"/>
                      <a:pt x="2985" y="0"/>
                    </a:cubicBezTo>
                    <a:cubicBezTo>
                      <a:pt x="3004" y="43"/>
                      <a:pt x="3022" y="84"/>
                      <a:pt x="3037" y="117"/>
                    </a:cubicBezTo>
                    <a:cubicBezTo>
                      <a:pt x="3049" y="143"/>
                      <a:pt x="3059" y="165"/>
                      <a:pt x="3066" y="181"/>
                    </a:cubicBezTo>
                    <a:cubicBezTo>
                      <a:pt x="3068" y="184"/>
                      <a:pt x="3069" y="187"/>
                      <a:pt x="3071" y="190"/>
                    </a:cubicBezTo>
                    <a:cubicBezTo>
                      <a:pt x="3125" y="158"/>
                      <a:pt x="3173" y="123"/>
                      <a:pt x="3208" y="98"/>
                    </a:cubicBezTo>
                    <a:cubicBezTo>
                      <a:pt x="3259" y="64"/>
                      <a:pt x="3339" y="45"/>
                      <a:pt x="3410" y="30"/>
                    </a:cubicBezTo>
                    <a:cubicBezTo>
                      <a:pt x="3433" y="25"/>
                      <a:pt x="3455" y="22"/>
                      <a:pt x="3475" y="18"/>
                    </a:cubicBezTo>
                    <a:cubicBezTo>
                      <a:pt x="3468" y="12"/>
                      <a:pt x="3461" y="6"/>
                      <a:pt x="3454" y="0"/>
                    </a:cubicBezTo>
                    <a:cubicBezTo>
                      <a:pt x="3551" y="0"/>
                      <a:pt x="3551" y="0"/>
                      <a:pt x="3551" y="0"/>
                    </a:cubicBezTo>
                    <a:cubicBezTo>
                      <a:pt x="3630" y="75"/>
                      <a:pt x="3694" y="151"/>
                      <a:pt x="3700" y="158"/>
                    </a:cubicBezTo>
                    <a:cubicBezTo>
                      <a:pt x="3855" y="33"/>
                      <a:pt x="3855" y="33"/>
                      <a:pt x="3855" y="33"/>
                    </a:cubicBezTo>
                    <a:cubicBezTo>
                      <a:pt x="3858" y="33"/>
                      <a:pt x="3858" y="33"/>
                      <a:pt x="3858" y="33"/>
                    </a:cubicBezTo>
                    <a:cubicBezTo>
                      <a:pt x="3858" y="33"/>
                      <a:pt x="3874" y="36"/>
                      <a:pt x="3886" y="37"/>
                    </a:cubicBezTo>
                    <a:cubicBezTo>
                      <a:pt x="3883" y="0"/>
                      <a:pt x="3883" y="0"/>
                      <a:pt x="3883" y="0"/>
                    </a:cubicBezTo>
                    <a:cubicBezTo>
                      <a:pt x="3900" y="0"/>
                      <a:pt x="3900" y="0"/>
                      <a:pt x="3900" y="0"/>
                    </a:cubicBezTo>
                    <a:cubicBezTo>
                      <a:pt x="3903" y="40"/>
                      <a:pt x="3903" y="40"/>
                      <a:pt x="3903" y="40"/>
                    </a:cubicBezTo>
                    <a:cubicBezTo>
                      <a:pt x="3903" y="40"/>
                      <a:pt x="3904" y="40"/>
                      <a:pt x="3905" y="41"/>
                    </a:cubicBezTo>
                    <a:cubicBezTo>
                      <a:pt x="3905" y="41"/>
                      <a:pt x="3906" y="42"/>
                      <a:pt x="3906" y="42"/>
                    </a:cubicBezTo>
                    <a:cubicBezTo>
                      <a:pt x="3917" y="53"/>
                      <a:pt x="4009" y="139"/>
                      <a:pt x="4087" y="211"/>
                    </a:cubicBezTo>
                    <a:cubicBezTo>
                      <a:pt x="4105" y="200"/>
                      <a:pt x="4159" y="163"/>
                      <a:pt x="4170" y="155"/>
                    </a:cubicBezTo>
                    <a:cubicBezTo>
                      <a:pt x="4223" y="0"/>
                      <a:pt x="4223" y="0"/>
                      <a:pt x="4223" y="0"/>
                    </a:cubicBezTo>
                    <a:cubicBezTo>
                      <a:pt x="4240" y="0"/>
                      <a:pt x="4240" y="0"/>
                      <a:pt x="4240" y="0"/>
                    </a:cubicBezTo>
                    <a:cubicBezTo>
                      <a:pt x="4184" y="166"/>
                      <a:pt x="4184" y="166"/>
                      <a:pt x="4184" y="166"/>
                    </a:cubicBezTo>
                    <a:cubicBezTo>
                      <a:pt x="4182" y="167"/>
                      <a:pt x="4182" y="167"/>
                      <a:pt x="4182" y="167"/>
                    </a:cubicBezTo>
                    <a:cubicBezTo>
                      <a:pt x="4182" y="167"/>
                      <a:pt x="4160" y="183"/>
                      <a:pt x="4137" y="198"/>
                    </a:cubicBezTo>
                    <a:cubicBezTo>
                      <a:pt x="4126" y="205"/>
                      <a:pt x="4114" y="213"/>
                      <a:pt x="4105" y="219"/>
                    </a:cubicBezTo>
                    <a:cubicBezTo>
                      <a:pt x="4103" y="221"/>
                      <a:pt x="4101" y="222"/>
                      <a:pt x="4099" y="223"/>
                    </a:cubicBezTo>
                    <a:cubicBezTo>
                      <a:pt x="4150" y="270"/>
                      <a:pt x="4192" y="310"/>
                      <a:pt x="4199" y="316"/>
                    </a:cubicBezTo>
                    <a:cubicBezTo>
                      <a:pt x="4205" y="312"/>
                      <a:pt x="4212" y="309"/>
                      <a:pt x="4220" y="305"/>
                    </a:cubicBezTo>
                    <a:cubicBezTo>
                      <a:pt x="4262" y="284"/>
                      <a:pt x="4312" y="255"/>
                      <a:pt x="4340" y="228"/>
                    </a:cubicBezTo>
                    <a:cubicBezTo>
                      <a:pt x="4365" y="205"/>
                      <a:pt x="4399" y="146"/>
                      <a:pt x="4428" y="64"/>
                    </a:cubicBezTo>
                    <a:cubicBezTo>
                      <a:pt x="4435" y="44"/>
                      <a:pt x="4442" y="23"/>
                      <a:pt x="4448" y="0"/>
                    </a:cubicBezTo>
                    <a:cubicBezTo>
                      <a:pt x="4516" y="0"/>
                      <a:pt x="4516" y="0"/>
                      <a:pt x="4516" y="0"/>
                    </a:cubicBezTo>
                    <a:cubicBezTo>
                      <a:pt x="4508" y="30"/>
                      <a:pt x="4499" y="60"/>
                      <a:pt x="4489" y="86"/>
                    </a:cubicBezTo>
                    <a:cubicBezTo>
                      <a:pt x="4459" y="173"/>
                      <a:pt x="4425" y="238"/>
                      <a:pt x="4384" y="276"/>
                    </a:cubicBezTo>
                    <a:cubicBezTo>
                      <a:pt x="4376" y="285"/>
                      <a:pt x="4366" y="293"/>
                      <a:pt x="4355" y="300"/>
                    </a:cubicBezTo>
                    <a:cubicBezTo>
                      <a:pt x="4408" y="544"/>
                      <a:pt x="4408" y="544"/>
                      <a:pt x="4408" y="544"/>
                    </a:cubicBezTo>
                    <a:cubicBezTo>
                      <a:pt x="4754" y="326"/>
                      <a:pt x="4754" y="326"/>
                      <a:pt x="4754" y="326"/>
                    </a:cubicBezTo>
                    <a:cubicBezTo>
                      <a:pt x="4895" y="378"/>
                      <a:pt x="4895" y="378"/>
                      <a:pt x="4895" y="378"/>
                    </a:cubicBezTo>
                    <a:cubicBezTo>
                      <a:pt x="5163" y="211"/>
                      <a:pt x="5163" y="211"/>
                      <a:pt x="5163" y="211"/>
                    </a:cubicBezTo>
                    <a:cubicBezTo>
                      <a:pt x="5093" y="64"/>
                      <a:pt x="5093" y="64"/>
                      <a:pt x="5093" y="64"/>
                    </a:cubicBezTo>
                    <a:cubicBezTo>
                      <a:pt x="5092" y="63"/>
                      <a:pt x="5092" y="63"/>
                      <a:pt x="5092" y="63"/>
                    </a:cubicBezTo>
                    <a:cubicBezTo>
                      <a:pt x="5092" y="63"/>
                      <a:pt x="5092" y="58"/>
                      <a:pt x="5092" y="49"/>
                    </a:cubicBezTo>
                    <a:cubicBezTo>
                      <a:pt x="5092" y="51"/>
                      <a:pt x="5092" y="51"/>
                      <a:pt x="5092" y="51"/>
                    </a:cubicBezTo>
                    <a:cubicBezTo>
                      <a:pt x="4837" y="0"/>
                      <a:pt x="4837" y="0"/>
                      <a:pt x="4837" y="0"/>
                    </a:cubicBezTo>
                    <a:cubicBezTo>
                      <a:pt x="4908" y="0"/>
                      <a:pt x="4908" y="0"/>
                      <a:pt x="4908" y="0"/>
                    </a:cubicBezTo>
                    <a:cubicBezTo>
                      <a:pt x="5092" y="37"/>
                      <a:pt x="5092" y="37"/>
                      <a:pt x="5092" y="37"/>
                    </a:cubicBezTo>
                    <a:cubicBezTo>
                      <a:pt x="5092" y="27"/>
                      <a:pt x="5091" y="14"/>
                      <a:pt x="5091" y="0"/>
                    </a:cubicBezTo>
                    <a:cubicBezTo>
                      <a:pt x="5105" y="0"/>
                      <a:pt x="5105" y="0"/>
                      <a:pt x="5105" y="0"/>
                    </a:cubicBezTo>
                    <a:cubicBezTo>
                      <a:pt x="5106" y="31"/>
                      <a:pt x="5106" y="55"/>
                      <a:pt x="5106" y="61"/>
                    </a:cubicBezTo>
                    <a:cubicBezTo>
                      <a:pt x="5175" y="204"/>
                      <a:pt x="5175" y="204"/>
                      <a:pt x="5175" y="204"/>
                    </a:cubicBezTo>
                    <a:cubicBezTo>
                      <a:pt x="5255" y="154"/>
                      <a:pt x="5255" y="154"/>
                      <a:pt x="5255" y="154"/>
                    </a:cubicBezTo>
                    <a:cubicBezTo>
                      <a:pt x="5680" y="160"/>
                      <a:pt x="5680" y="160"/>
                      <a:pt x="5680" y="160"/>
                    </a:cubicBezTo>
                    <a:cubicBezTo>
                      <a:pt x="5708" y="0"/>
                      <a:pt x="5708" y="0"/>
                      <a:pt x="5708" y="0"/>
                    </a:cubicBezTo>
                    <a:cubicBezTo>
                      <a:pt x="5774" y="0"/>
                      <a:pt x="5774" y="0"/>
                      <a:pt x="5774" y="0"/>
                    </a:cubicBezTo>
                    <a:cubicBezTo>
                      <a:pt x="5743" y="175"/>
                      <a:pt x="5743" y="175"/>
                      <a:pt x="5743" y="175"/>
                    </a:cubicBezTo>
                    <a:cubicBezTo>
                      <a:pt x="5954" y="297"/>
                      <a:pt x="5954" y="297"/>
                      <a:pt x="5954" y="297"/>
                    </a:cubicBezTo>
                    <a:cubicBezTo>
                      <a:pt x="6001" y="250"/>
                      <a:pt x="6001" y="250"/>
                      <a:pt x="6001" y="250"/>
                    </a:cubicBezTo>
                    <a:cubicBezTo>
                      <a:pt x="6006" y="254"/>
                      <a:pt x="6006" y="254"/>
                      <a:pt x="6006" y="254"/>
                    </a:cubicBezTo>
                    <a:cubicBezTo>
                      <a:pt x="6006" y="254"/>
                      <a:pt x="6055" y="294"/>
                      <a:pt x="6103" y="335"/>
                    </a:cubicBezTo>
                    <a:cubicBezTo>
                      <a:pt x="6128" y="355"/>
                      <a:pt x="6152" y="376"/>
                      <a:pt x="6170" y="391"/>
                    </a:cubicBezTo>
                    <a:cubicBezTo>
                      <a:pt x="6179" y="399"/>
                      <a:pt x="6187" y="405"/>
                      <a:pt x="6192" y="410"/>
                    </a:cubicBezTo>
                    <a:cubicBezTo>
                      <a:pt x="6195" y="412"/>
                      <a:pt x="6197" y="414"/>
                      <a:pt x="6198" y="415"/>
                    </a:cubicBezTo>
                    <a:cubicBezTo>
                      <a:pt x="6199" y="416"/>
                      <a:pt x="6200" y="417"/>
                      <a:pt x="6200" y="417"/>
                    </a:cubicBezTo>
                    <a:cubicBezTo>
                      <a:pt x="6200" y="417"/>
                      <a:pt x="6201" y="418"/>
                      <a:pt x="6201" y="418"/>
                    </a:cubicBezTo>
                    <a:cubicBezTo>
                      <a:pt x="6201" y="418"/>
                      <a:pt x="6201" y="418"/>
                      <a:pt x="6201" y="418"/>
                    </a:cubicBezTo>
                    <a:cubicBezTo>
                      <a:pt x="6245" y="368"/>
                      <a:pt x="6245" y="368"/>
                      <a:pt x="6245" y="368"/>
                    </a:cubicBezTo>
                    <a:cubicBezTo>
                      <a:pt x="6241" y="364"/>
                      <a:pt x="6241" y="364"/>
                      <a:pt x="6241" y="364"/>
                    </a:cubicBezTo>
                    <a:cubicBezTo>
                      <a:pt x="6241" y="360"/>
                      <a:pt x="6241" y="360"/>
                      <a:pt x="6241" y="360"/>
                    </a:cubicBezTo>
                    <a:cubicBezTo>
                      <a:pt x="6241" y="360"/>
                      <a:pt x="6248" y="303"/>
                      <a:pt x="6255" y="244"/>
                    </a:cubicBezTo>
                    <a:cubicBezTo>
                      <a:pt x="6259" y="215"/>
                      <a:pt x="6263" y="185"/>
                      <a:pt x="6266" y="163"/>
                    </a:cubicBezTo>
                    <a:cubicBezTo>
                      <a:pt x="6267" y="151"/>
                      <a:pt x="6269" y="142"/>
                      <a:pt x="6270" y="135"/>
                    </a:cubicBezTo>
                    <a:cubicBezTo>
                      <a:pt x="6270" y="132"/>
                      <a:pt x="6270" y="131"/>
                      <a:pt x="6271" y="129"/>
                    </a:cubicBezTo>
                    <a:cubicBezTo>
                      <a:pt x="6244" y="121"/>
                      <a:pt x="6133" y="86"/>
                      <a:pt x="6023" y="52"/>
                    </a:cubicBezTo>
                    <a:cubicBezTo>
                      <a:pt x="5963" y="33"/>
                      <a:pt x="5904" y="14"/>
                      <a:pt x="5857" y="0"/>
                    </a:cubicBezTo>
                    <a:cubicBezTo>
                      <a:pt x="5904" y="0"/>
                      <a:pt x="5904" y="0"/>
                      <a:pt x="5904" y="0"/>
                    </a:cubicBezTo>
                    <a:cubicBezTo>
                      <a:pt x="5944" y="13"/>
                      <a:pt x="5990" y="27"/>
                      <a:pt x="6036" y="41"/>
                    </a:cubicBezTo>
                    <a:cubicBezTo>
                      <a:pt x="6150" y="77"/>
                      <a:pt x="6263" y="112"/>
                      <a:pt x="6279" y="117"/>
                    </a:cubicBezTo>
                    <a:cubicBezTo>
                      <a:pt x="6362" y="92"/>
                      <a:pt x="6362" y="92"/>
                      <a:pt x="6362" y="92"/>
                    </a:cubicBezTo>
                    <a:cubicBezTo>
                      <a:pt x="6364" y="93"/>
                      <a:pt x="6364" y="93"/>
                      <a:pt x="6364" y="93"/>
                    </a:cubicBezTo>
                    <a:cubicBezTo>
                      <a:pt x="6364" y="93"/>
                      <a:pt x="6414" y="106"/>
                      <a:pt x="6465" y="119"/>
                    </a:cubicBezTo>
                    <a:cubicBezTo>
                      <a:pt x="6490" y="125"/>
                      <a:pt x="6516" y="132"/>
                      <a:pt x="6536" y="137"/>
                    </a:cubicBezTo>
                    <a:cubicBezTo>
                      <a:pt x="6545" y="139"/>
                      <a:pt x="6554" y="141"/>
                      <a:pt x="6560" y="143"/>
                    </a:cubicBezTo>
                    <a:cubicBezTo>
                      <a:pt x="6561" y="143"/>
                      <a:pt x="6562" y="143"/>
                      <a:pt x="6563" y="144"/>
                    </a:cubicBezTo>
                    <a:cubicBezTo>
                      <a:pt x="6565" y="142"/>
                      <a:pt x="6567" y="140"/>
                      <a:pt x="6569" y="138"/>
                    </a:cubicBezTo>
                    <a:cubicBezTo>
                      <a:pt x="6580" y="126"/>
                      <a:pt x="6601" y="109"/>
                      <a:pt x="6601" y="109"/>
                    </a:cubicBezTo>
                    <a:cubicBezTo>
                      <a:pt x="6604" y="107"/>
                      <a:pt x="6604" y="107"/>
                      <a:pt x="6604" y="107"/>
                    </a:cubicBezTo>
                    <a:cubicBezTo>
                      <a:pt x="6738" y="135"/>
                      <a:pt x="6738" y="135"/>
                      <a:pt x="6738" y="135"/>
                    </a:cubicBezTo>
                    <a:cubicBezTo>
                      <a:pt x="6763" y="0"/>
                      <a:pt x="6763" y="0"/>
                      <a:pt x="6763" y="0"/>
                    </a:cubicBezTo>
                    <a:cubicBezTo>
                      <a:pt x="6776" y="0"/>
                      <a:pt x="6776" y="0"/>
                      <a:pt x="6776" y="0"/>
                    </a:cubicBezTo>
                    <a:cubicBezTo>
                      <a:pt x="6751" y="138"/>
                      <a:pt x="6751" y="138"/>
                      <a:pt x="6751" y="138"/>
                    </a:cubicBezTo>
                    <a:cubicBezTo>
                      <a:pt x="6879" y="164"/>
                      <a:pt x="6879" y="164"/>
                      <a:pt x="6879" y="164"/>
                    </a:cubicBezTo>
                    <a:cubicBezTo>
                      <a:pt x="6907" y="8"/>
                      <a:pt x="6907" y="8"/>
                      <a:pt x="6907" y="8"/>
                    </a:cubicBezTo>
                    <a:cubicBezTo>
                      <a:pt x="6846" y="0"/>
                      <a:pt x="6846" y="0"/>
                      <a:pt x="6846" y="0"/>
                    </a:cubicBezTo>
                    <a:cubicBezTo>
                      <a:pt x="6954" y="0"/>
                      <a:pt x="6954" y="0"/>
                      <a:pt x="6954" y="0"/>
                    </a:cubicBezTo>
                    <a:cubicBezTo>
                      <a:pt x="7002" y="6"/>
                      <a:pt x="7002" y="6"/>
                      <a:pt x="7002" y="6"/>
                    </a:cubicBezTo>
                    <a:cubicBezTo>
                      <a:pt x="7003" y="0"/>
                      <a:pt x="7003" y="0"/>
                      <a:pt x="7003" y="0"/>
                    </a:cubicBezTo>
                    <a:cubicBezTo>
                      <a:pt x="7069" y="0"/>
                      <a:pt x="7069" y="0"/>
                      <a:pt x="7069" y="0"/>
                    </a:cubicBezTo>
                    <a:cubicBezTo>
                      <a:pt x="7041" y="190"/>
                      <a:pt x="7041" y="190"/>
                      <a:pt x="7041" y="190"/>
                    </a:cubicBezTo>
                    <a:cubicBezTo>
                      <a:pt x="7234" y="146"/>
                      <a:pt x="7234" y="146"/>
                      <a:pt x="7234" y="146"/>
                    </a:cubicBezTo>
                    <a:cubicBezTo>
                      <a:pt x="7227" y="126"/>
                      <a:pt x="7219" y="57"/>
                      <a:pt x="7213" y="0"/>
                    </a:cubicBezTo>
                    <a:cubicBezTo>
                      <a:pt x="7227" y="0"/>
                      <a:pt x="7227" y="0"/>
                      <a:pt x="7227" y="0"/>
                    </a:cubicBezTo>
                    <a:cubicBezTo>
                      <a:pt x="7228" y="10"/>
                      <a:pt x="7230" y="21"/>
                      <a:pt x="7231" y="32"/>
                    </a:cubicBezTo>
                    <a:cubicBezTo>
                      <a:pt x="7234" y="61"/>
                      <a:pt x="7238" y="90"/>
                      <a:pt x="7241" y="112"/>
                    </a:cubicBezTo>
                    <a:cubicBezTo>
                      <a:pt x="7243" y="122"/>
                      <a:pt x="7244" y="131"/>
                      <a:pt x="7246" y="137"/>
                    </a:cubicBezTo>
                    <a:cubicBezTo>
                      <a:pt x="7246" y="140"/>
                      <a:pt x="7247" y="141"/>
                      <a:pt x="7247" y="143"/>
                    </a:cubicBezTo>
                    <a:cubicBezTo>
                      <a:pt x="7537" y="76"/>
                      <a:pt x="7537" y="76"/>
                      <a:pt x="7537" y="76"/>
                    </a:cubicBezTo>
                    <a:cubicBezTo>
                      <a:pt x="7527" y="63"/>
                      <a:pt x="7497" y="32"/>
                      <a:pt x="7464" y="0"/>
                    </a:cubicBezTo>
                    <a:cubicBezTo>
                      <a:pt x="7484" y="0"/>
                      <a:pt x="7484" y="0"/>
                      <a:pt x="7484" y="0"/>
                    </a:cubicBezTo>
                    <a:cubicBezTo>
                      <a:pt x="7498" y="14"/>
                      <a:pt x="7512" y="28"/>
                      <a:pt x="7523" y="39"/>
                    </a:cubicBezTo>
                    <a:cubicBezTo>
                      <a:pt x="7532" y="49"/>
                      <a:pt x="7540" y="57"/>
                      <a:pt x="7545" y="63"/>
                    </a:cubicBezTo>
                    <a:cubicBezTo>
                      <a:pt x="7548" y="67"/>
                      <a:pt x="7550" y="69"/>
                      <a:pt x="7551" y="71"/>
                    </a:cubicBezTo>
                    <a:cubicBezTo>
                      <a:pt x="7693" y="0"/>
                      <a:pt x="7693" y="0"/>
                      <a:pt x="7693" y="0"/>
                    </a:cubicBezTo>
                    <a:cubicBezTo>
                      <a:pt x="7723" y="0"/>
                      <a:pt x="7723" y="0"/>
                      <a:pt x="7723" y="0"/>
                    </a:cubicBezTo>
                    <a:cubicBezTo>
                      <a:pt x="7550" y="87"/>
                      <a:pt x="7550" y="87"/>
                      <a:pt x="7550" y="87"/>
                    </a:cubicBezTo>
                    <a:cubicBezTo>
                      <a:pt x="7039" y="205"/>
                      <a:pt x="7039" y="205"/>
                      <a:pt x="7039" y="205"/>
                    </a:cubicBezTo>
                    <a:cubicBezTo>
                      <a:pt x="7031" y="258"/>
                      <a:pt x="7031" y="258"/>
                      <a:pt x="7031" y="258"/>
                    </a:cubicBezTo>
                    <a:cubicBezTo>
                      <a:pt x="6966" y="249"/>
                      <a:pt x="6966" y="249"/>
                      <a:pt x="6966" y="249"/>
                    </a:cubicBezTo>
                    <a:cubicBezTo>
                      <a:pt x="6974" y="198"/>
                      <a:pt x="6974" y="198"/>
                      <a:pt x="6974" y="198"/>
                    </a:cubicBezTo>
                    <a:cubicBezTo>
                      <a:pt x="6889" y="180"/>
                      <a:pt x="6889" y="180"/>
                      <a:pt x="6889" y="180"/>
                    </a:cubicBezTo>
                    <a:cubicBezTo>
                      <a:pt x="6878" y="241"/>
                      <a:pt x="6878" y="241"/>
                      <a:pt x="6878" y="241"/>
                    </a:cubicBezTo>
                    <a:cubicBezTo>
                      <a:pt x="6724" y="215"/>
                      <a:pt x="6724" y="215"/>
                      <a:pt x="6724" y="215"/>
                    </a:cubicBezTo>
                    <a:cubicBezTo>
                      <a:pt x="6736" y="149"/>
                      <a:pt x="6736" y="149"/>
                      <a:pt x="6736" y="149"/>
                    </a:cubicBezTo>
                    <a:cubicBezTo>
                      <a:pt x="6607" y="122"/>
                      <a:pt x="6607" y="122"/>
                      <a:pt x="6607" y="122"/>
                    </a:cubicBezTo>
                    <a:cubicBezTo>
                      <a:pt x="6604" y="125"/>
                      <a:pt x="6597" y="130"/>
                      <a:pt x="6591" y="136"/>
                    </a:cubicBezTo>
                    <a:cubicBezTo>
                      <a:pt x="6586" y="140"/>
                      <a:pt x="6582" y="144"/>
                      <a:pt x="6579" y="147"/>
                    </a:cubicBezTo>
                    <a:cubicBezTo>
                      <a:pt x="6577" y="149"/>
                      <a:pt x="6576" y="150"/>
                      <a:pt x="6575" y="151"/>
                    </a:cubicBezTo>
                    <a:cubicBezTo>
                      <a:pt x="6575" y="151"/>
                      <a:pt x="6575" y="152"/>
                      <a:pt x="6575" y="152"/>
                    </a:cubicBezTo>
                    <a:cubicBezTo>
                      <a:pt x="6576" y="154"/>
                      <a:pt x="6574" y="156"/>
                      <a:pt x="6573" y="157"/>
                    </a:cubicBezTo>
                    <a:cubicBezTo>
                      <a:pt x="6569" y="159"/>
                      <a:pt x="6569" y="159"/>
                      <a:pt x="6569" y="159"/>
                    </a:cubicBezTo>
                    <a:cubicBezTo>
                      <a:pt x="6568" y="159"/>
                      <a:pt x="6568" y="159"/>
                      <a:pt x="6568" y="159"/>
                    </a:cubicBezTo>
                    <a:cubicBezTo>
                      <a:pt x="6562" y="158"/>
                      <a:pt x="6513" y="146"/>
                      <a:pt x="6462" y="132"/>
                    </a:cubicBezTo>
                    <a:cubicBezTo>
                      <a:pt x="6416" y="121"/>
                      <a:pt x="6372" y="109"/>
                      <a:pt x="6362" y="107"/>
                    </a:cubicBezTo>
                    <a:cubicBezTo>
                      <a:pt x="6285" y="130"/>
                      <a:pt x="6285" y="130"/>
                      <a:pt x="6285" y="130"/>
                    </a:cubicBezTo>
                    <a:cubicBezTo>
                      <a:pt x="6282" y="143"/>
                      <a:pt x="6275" y="197"/>
                      <a:pt x="6269" y="248"/>
                    </a:cubicBezTo>
                    <a:cubicBezTo>
                      <a:pt x="6263" y="296"/>
                      <a:pt x="6257" y="342"/>
                      <a:pt x="6256" y="357"/>
                    </a:cubicBezTo>
                    <a:cubicBezTo>
                      <a:pt x="6263" y="363"/>
                      <a:pt x="6263" y="363"/>
                      <a:pt x="6263" y="363"/>
                    </a:cubicBezTo>
                    <a:cubicBezTo>
                      <a:pt x="6503" y="539"/>
                      <a:pt x="6503" y="539"/>
                      <a:pt x="6503" y="539"/>
                    </a:cubicBezTo>
                    <a:cubicBezTo>
                      <a:pt x="6505" y="535"/>
                      <a:pt x="6507" y="532"/>
                      <a:pt x="6510" y="528"/>
                    </a:cubicBezTo>
                    <a:cubicBezTo>
                      <a:pt x="6539" y="488"/>
                      <a:pt x="6565" y="453"/>
                      <a:pt x="6599" y="421"/>
                    </a:cubicBezTo>
                    <a:cubicBezTo>
                      <a:pt x="6613" y="408"/>
                      <a:pt x="6628" y="395"/>
                      <a:pt x="6645" y="384"/>
                    </a:cubicBezTo>
                    <a:cubicBezTo>
                      <a:pt x="6645" y="383"/>
                      <a:pt x="6645" y="383"/>
                      <a:pt x="6645" y="383"/>
                    </a:cubicBezTo>
                    <a:cubicBezTo>
                      <a:pt x="6645" y="383"/>
                      <a:pt x="6645" y="383"/>
                      <a:pt x="6645" y="383"/>
                    </a:cubicBezTo>
                    <a:cubicBezTo>
                      <a:pt x="6640" y="387"/>
                      <a:pt x="6640" y="387"/>
                      <a:pt x="6640" y="387"/>
                    </a:cubicBezTo>
                    <a:cubicBezTo>
                      <a:pt x="6640" y="387"/>
                      <a:pt x="6640" y="387"/>
                      <a:pt x="6640" y="387"/>
                    </a:cubicBezTo>
                    <a:cubicBezTo>
                      <a:pt x="6633" y="381"/>
                      <a:pt x="6588" y="353"/>
                      <a:pt x="6544" y="325"/>
                    </a:cubicBezTo>
                    <a:cubicBezTo>
                      <a:pt x="6523" y="311"/>
                      <a:pt x="6501" y="298"/>
                      <a:pt x="6486" y="287"/>
                    </a:cubicBezTo>
                    <a:cubicBezTo>
                      <a:pt x="6478" y="282"/>
                      <a:pt x="6471" y="278"/>
                      <a:pt x="6466" y="274"/>
                    </a:cubicBezTo>
                    <a:cubicBezTo>
                      <a:pt x="6464" y="273"/>
                      <a:pt x="6462" y="271"/>
                      <a:pt x="6461" y="270"/>
                    </a:cubicBezTo>
                    <a:cubicBezTo>
                      <a:pt x="6460" y="269"/>
                      <a:pt x="6459" y="269"/>
                      <a:pt x="6458" y="268"/>
                    </a:cubicBezTo>
                    <a:cubicBezTo>
                      <a:pt x="6433" y="261"/>
                      <a:pt x="6274" y="226"/>
                      <a:pt x="6274" y="226"/>
                    </a:cubicBezTo>
                    <a:cubicBezTo>
                      <a:pt x="6277" y="213"/>
                      <a:pt x="6277" y="213"/>
                      <a:pt x="6277" y="213"/>
                    </a:cubicBezTo>
                    <a:cubicBezTo>
                      <a:pt x="6277" y="213"/>
                      <a:pt x="6324" y="223"/>
                      <a:pt x="6371" y="233"/>
                    </a:cubicBezTo>
                    <a:cubicBezTo>
                      <a:pt x="6395" y="239"/>
                      <a:pt x="6418" y="244"/>
                      <a:pt x="6436" y="248"/>
                    </a:cubicBezTo>
                    <a:cubicBezTo>
                      <a:pt x="6445" y="250"/>
                      <a:pt x="6452" y="252"/>
                      <a:pt x="6458" y="253"/>
                    </a:cubicBezTo>
                    <a:cubicBezTo>
                      <a:pt x="6460" y="254"/>
                      <a:pt x="6462" y="255"/>
                      <a:pt x="6464" y="255"/>
                    </a:cubicBezTo>
                    <a:cubicBezTo>
                      <a:pt x="6465" y="255"/>
                      <a:pt x="6465" y="255"/>
                      <a:pt x="6466" y="256"/>
                    </a:cubicBezTo>
                    <a:cubicBezTo>
                      <a:pt x="6466" y="256"/>
                      <a:pt x="6467" y="256"/>
                      <a:pt x="6467" y="256"/>
                    </a:cubicBezTo>
                    <a:cubicBezTo>
                      <a:pt x="6467" y="257"/>
                      <a:pt x="6469" y="256"/>
                      <a:pt x="6470" y="260"/>
                    </a:cubicBezTo>
                    <a:cubicBezTo>
                      <a:pt x="6479" y="267"/>
                      <a:pt x="6522" y="295"/>
                      <a:pt x="6562" y="320"/>
                    </a:cubicBezTo>
                    <a:cubicBezTo>
                      <a:pt x="6584" y="334"/>
                      <a:pt x="6606" y="348"/>
                      <a:pt x="6622" y="358"/>
                    </a:cubicBezTo>
                    <a:cubicBezTo>
                      <a:pt x="6630" y="364"/>
                      <a:pt x="6637" y="368"/>
                      <a:pt x="6642" y="371"/>
                    </a:cubicBezTo>
                    <a:cubicBezTo>
                      <a:pt x="6644" y="373"/>
                      <a:pt x="6646" y="374"/>
                      <a:pt x="6648" y="375"/>
                    </a:cubicBezTo>
                    <a:cubicBezTo>
                      <a:pt x="6648" y="376"/>
                      <a:pt x="6649" y="376"/>
                      <a:pt x="6650" y="377"/>
                    </a:cubicBezTo>
                    <a:cubicBezTo>
                      <a:pt x="6650" y="378"/>
                      <a:pt x="6651" y="377"/>
                      <a:pt x="6652" y="380"/>
                    </a:cubicBezTo>
                    <a:cubicBezTo>
                      <a:pt x="6694" y="352"/>
                      <a:pt x="6746" y="331"/>
                      <a:pt x="6812" y="311"/>
                    </a:cubicBezTo>
                    <a:cubicBezTo>
                      <a:pt x="6910" y="283"/>
                      <a:pt x="7046" y="255"/>
                      <a:pt x="7259" y="214"/>
                    </a:cubicBezTo>
                    <a:cubicBezTo>
                      <a:pt x="7502" y="168"/>
                      <a:pt x="7694" y="89"/>
                      <a:pt x="7841" y="0"/>
                    </a:cubicBezTo>
                    <a:cubicBezTo>
                      <a:pt x="7872" y="0"/>
                      <a:pt x="7872" y="0"/>
                      <a:pt x="7872" y="0"/>
                    </a:cubicBezTo>
                    <a:cubicBezTo>
                      <a:pt x="7719" y="96"/>
                      <a:pt x="7520" y="181"/>
                      <a:pt x="7262" y="230"/>
                    </a:cubicBezTo>
                    <a:cubicBezTo>
                      <a:pt x="7050" y="271"/>
                      <a:pt x="6914" y="299"/>
                      <a:pt x="6817" y="327"/>
                    </a:cubicBezTo>
                    <a:cubicBezTo>
                      <a:pt x="6721" y="355"/>
                      <a:pt x="6659" y="387"/>
                      <a:pt x="6610" y="433"/>
                    </a:cubicBezTo>
                    <a:cubicBezTo>
                      <a:pt x="6578" y="464"/>
                      <a:pt x="6553" y="498"/>
                      <a:pt x="6523" y="538"/>
                    </a:cubicBezTo>
                    <a:cubicBezTo>
                      <a:pt x="6521" y="541"/>
                      <a:pt x="6518" y="545"/>
                      <a:pt x="6516" y="549"/>
                    </a:cubicBezTo>
                    <a:cubicBezTo>
                      <a:pt x="6517" y="550"/>
                      <a:pt x="6517" y="550"/>
                      <a:pt x="6517" y="550"/>
                    </a:cubicBezTo>
                    <a:cubicBezTo>
                      <a:pt x="6509" y="561"/>
                      <a:pt x="6509" y="561"/>
                      <a:pt x="6509" y="561"/>
                    </a:cubicBezTo>
                    <a:cubicBezTo>
                      <a:pt x="6508" y="560"/>
                      <a:pt x="6508" y="560"/>
                      <a:pt x="6508" y="560"/>
                    </a:cubicBezTo>
                    <a:cubicBezTo>
                      <a:pt x="6484" y="597"/>
                      <a:pt x="6467" y="637"/>
                      <a:pt x="6452" y="677"/>
                    </a:cubicBezTo>
                    <a:cubicBezTo>
                      <a:pt x="6455" y="678"/>
                      <a:pt x="6455" y="678"/>
                      <a:pt x="6455" y="678"/>
                    </a:cubicBezTo>
                    <a:cubicBezTo>
                      <a:pt x="6448" y="691"/>
                      <a:pt x="6448" y="691"/>
                      <a:pt x="6448" y="691"/>
                    </a:cubicBezTo>
                    <a:cubicBezTo>
                      <a:pt x="6448" y="690"/>
                      <a:pt x="6448" y="690"/>
                      <a:pt x="6448" y="690"/>
                    </a:cubicBezTo>
                    <a:cubicBezTo>
                      <a:pt x="6439" y="717"/>
                      <a:pt x="6431" y="744"/>
                      <a:pt x="6424" y="771"/>
                    </a:cubicBezTo>
                    <a:cubicBezTo>
                      <a:pt x="6419" y="786"/>
                      <a:pt x="6415" y="801"/>
                      <a:pt x="6411" y="816"/>
                    </a:cubicBezTo>
                    <a:cubicBezTo>
                      <a:pt x="6463" y="820"/>
                      <a:pt x="6506" y="823"/>
                      <a:pt x="6536" y="825"/>
                    </a:cubicBezTo>
                    <a:cubicBezTo>
                      <a:pt x="6558" y="743"/>
                      <a:pt x="6582" y="664"/>
                      <a:pt x="6622" y="611"/>
                    </a:cubicBezTo>
                    <a:cubicBezTo>
                      <a:pt x="6652" y="571"/>
                      <a:pt x="6673" y="543"/>
                      <a:pt x="6695" y="523"/>
                    </a:cubicBezTo>
                    <a:cubicBezTo>
                      <a:pt x="6716" y="502"/>
                      <a:pt x="6739" y="487"/>
                      <a:pt x="6779" y="470"/>
                    </a:cubicBezTo>
                    <a:cubicBezTo>
                      <a:pt x="6858" y="437"/>
                      <a:pt x="7003" y="405"/>
                      <a:pt x="7285" y="351"/>
                    </a:cubicBezTo>
                    <a:cubicBezTo>
                      <a:pt x="7643" y="282"/>
                      <a:pt x="7903" y="148"/>
                      <a:pt x="8082" y="0"/>
                    </a:cubicBezTo>
                    <a:cubicBezTo>
                      <a:pt x="8107" y="0"/>
                      <a:pt x="8107" y="0"/>
                      <a:pt x="8107" y="0"/>
                    </a:cubicBezTo>
                    <a:cubicBezTo>
                      <a:pt x="7925" y="155"/>
                      <a:pt x="7659" y="296"/>
                      <a:pt x="7288" y="367"/>
                    </a:cubicBezTo>
                    <a:cubicBezTo>
                      <a:pt x="7006" y="421"/>
                      <a:pt x="6861" y="453"/>
                      <a:pt x="6785" y="485"/>
                    </a:cubicBezTo>
                    <a:cubicBezTo>
                      <a:pt x="6747" y="502"/>
                      <a:pt x="6726" y="515"/>
                      <a:pt x="6706" y="534"/>
                    </a:cubicBezTo>
                    <a:cubicBezTo>
                      <a:pt x="6685" y="553"/>
                      <a:pt x="6665" y="581"/>
                      <a:pt x="6635" y="620"/>
                    </a:cubicBezTo>
                    <a:cubicBezTo>
                      <a:pt x="6599" y="669"/>
                      <a:pt x="6575" y="746"/>
                      <a:pt x="6553" y="826"/>
                    </a:cubicBezTo>
                    <a:cubicBezTo>
                      <a:pt x="6573" y="827"/>
                      <a:pt x="6586" y="828"/>
                      <a:pt x="6589" y="828"/>
                    </a:cubicBezTo>
                    <a:cubicBezTo>
                      <a:pt x="6600" y="829"/>
                      <a:pt x="6611" y="829"/>
                      <a:pt x="6620" y="829"/>
                    </a:cubicBezTo>
                    <a:cubicBezTo>
                      <a:pt x="6627" y="829"/>
                      <a:pt x="6633" y="829"/>
                      <a:pt x="6638" y="828"/>
                    </a:cubicBezTo>
                    <a:cubicBezTo>
                      <a:pt x="6653" y="796"/>
                      <a:pt x="6679" y="742"/>
                      <a:pt x="6707" y="691"/>
                    </a:cubicBezTo>
                    <a:cubicBezTo>
                      <a:pt x="6708" y="689"/>
                      <a:pt x="6708" y="689"/>
                      <a:pt x="6708" y="689"/>
                    </a:cubicBezTo>
                    <a:cubicBezTo>
                      <a:pt x="6708" y="688"/>
                      <a:pt x="6708" y="688"/>
                      <a:pt x="6708" y="688"/>
                    </a:cubicBezTo>
                    <a:cubicBezTo>
                      <a:pt x="6711" y="683"/>
                      <a:pt x="6731" y="650"/>
                      <a:pt x="6774" y="614"/>
                    </a:cubicBezTo>
                    <a:cubicBezTo>
                      <a:pt x="6816" y="577"/>
                      <a:pt x="6882" y="536"/>
                      <a:pt x="6972" y="520"/>
                    </a:cubicBezTo>
                    <a:cubicBezTo>
                      <a:pt x="7022" y="511"/>
                      <a:pt x="7077" y="504"/>
                      <a:pt x="7135" y="501"/>
                    </a:cubicBezTo>
                    <a:cubicBezTo>
                      <a:pt x="7132" y="483"/>
                      <a:pt x="7130" y="463"/>
                      <a:pt x="7130" y="452"/>
                    </a:cubicBezTo>
                    <a:cubicBezTo>
                      <a:pt x="7131" y="447"/>
                      <a:pt x="7127" y="444"/>
                      <a:pt x="7135" y="438"/>
                    </a:cubicBezTo>
                    <a:cubicBezTo>
                      <a:pt x="7139" y="436"/>
                      <a:pt x="7144" y="436"/>
                      <a:pt x="7156" y="433"/>
                    </a:cubicBezTo>
                    <a:cubicBezTo>
                      <a:pt x="7241" y="418"/>
                      <a:pt x="7586" y="352"/>
                      <a:pt x="7933" y="189"/>
                    </a:cubicBezTo>
                    <a:cubicBezTo>
                      <a:pt x="8040" y="138"/>
                      <a:pt x="8128" y="70"/>
                      <a:pt x="8199" y="0"/>
                    </a:cubicBezTo>
                    <a:cubicBezTo>
                      <a:pt x="8219" y="0"/>
                      <a:pt x="8219" y="0"/>
                      <a:pt x="8219" y="0"/>
                    </a:cubicBezTo>
                    <a:cubicBezTo>
                      <a:pt x="8203" y="16"/>
                      <a:pt x="8186" y="32"/>
                      <a:pt x="8169" y="48"/>
                    </a:cubicBezTo>
                    <a:cubicBezTo>
                      <a:pt x="8187" y="61"/>
                      <a:pt x="8265" y="118"/>
                      <a:pt x="8344" y="175"/>
                    </a:cubicBezTo>
                    <a:cubicBezTo>
                      <a:pt x="8390" y="208"/>
                      <a:pt x="8435" y="241"/>
                      <a:pt x="8470" y="265"/>
                    </a:cubicBezTo>
                    <a:cubicBezTo>
                      <a:pt x="8486" y="276"/>
                      <a:pt x="8500" y="285"/>
                      <a:pt x="8510" y="292"/>
                    </a:cubicBezTo>
                    <a:cubicBezTo>
                      <a:pt x="8507" y="258"/>
                      <a:pt x="8506" y="225"/>
                      <a:pt x="8506" y="192"/>
                    </a:cubicBezTo>
                    <a:cubicBezTo>
                      <a:pt x="8506" y="130"/>
                      <a:pt x="8510" y="72"/>
                      <a:pt x="8512" y="22"/>
                    </a:cubicBezTo>
                    <a:cubicBezTo>
                      <a:pt x="8512" y="21"/>
                      <a:pt x="8512" y="21"/>
                      <a:pt x="8512" y="20"/>
                    </a:cubicBezTo>
                    <a:cubicBezTo>
                      <a:pt x="8454" y="0"/>
                      <a:pt x="8454" y="0"/>
                      <a:pt x="8454" y="0"/>
                    </a:cubicBezTo>
                    <a:cubicBezTo>
                      <a:pt x="8496" y="0"/>
                      <a:pt x="8496" y="0"/>
                      <a:pt x="8496" y="0"/>
                    </a:cubicBezTo>
                    <a:cubicBezTo>
                      <a:pt x="8513" y="6"/>
                      <a:pt x="8513" y="6"/>
                      <a:pt x="8513" y="6"/>
                    </a:cubicBezTo>
                    <a:cubicBezTo>
                      <a:pt x="8513" y="4"/>
                      <a:pt x="8513" y="2"/>
                      <a:pt x="8513" y="0"/>
                    </a:cubicBezTo>
                    <a:cubicBezTo>
                      <a:pt x="8666" y="0"/>
                      <a:pt x="8666" y="0"/>
                      <a:pt x="8666" y="0"/>
                    </a:cubicBezTo>
                    <a:cubicBezTo>
                      <a:pt x="8665" y="11"/>
                      <a:pt x="8665" y="21"/>
                      <a:pt x="8664" y="29"/>
                    </a:cubicBezTo>
                    <a:cubicBezTo>
                      <a:pt x="8662" y="82"/>
                      <a:pt x="8658" y="137"/>
                      <a:pt x="8658" y="192"/>
                    </a:cubicBezTo>
                    <a:cubicBezTo>
                      <a:pt x="8658" y="274"/>
                      <a:pt x="8667" y="353"/>
                      <a:pt x="8695" y="416"/>
                    </a:cubicBezTo>
                    <a:cubicBezTo>
                      <a:pt x="8740" y="523"/>
                      <a:pt x="8881" y="652"/>
                      <a:pt x="9027" y="714"/>
                    </a:cubicBezTo>
                    <a:cubicBezTo>
                      <a:pt x="9183" y="782"/>
                      <a:pt x="9735" y="1031"/>
                      <a:pt x="10216" y="1196"/>
                    </a:cubicBezTo>
                    <a:cubicBezTo>
                      <a:pt x="10639" y="0"/>
                      <a:pt x="10639" y="0"/>
                      <a:pt x="10639" y="0"/>
                    </a:cubicBezTo>
                    <a:cubicBezTo>
                      <a:pt x="10709" y="0"/>
                      <a:pt x="10709" y="0"/>
                      <a:pt x="10709" y="0"/>
                    </a:cubicBezTo>
                    <a:cubicBezTo>
                      <a:pt x="10279" y="1217"/>
                      <a:pt x="10279" y="1217"/>
                      <a:pt x="10279" y="1217"/>
                    </a:cubicBezTo>
                    <a:cubicBezTo>
                      <a:pt x="10283" y="1219"/>
                      <a:pt x="10288" y="1220"/>
                      <a:pt x="10292" y="1222"/>
                    </a:cubicBezTo>
                    <a:cubicBezTo>
                      <a:pt x="10541" y="1304"/>
                      <a:pt x="10776" y="1363"/>
                      <a:pt x="10947" y="1402"/>
                    </a:cubicBezTo>
                    <a:cubicBezTo>
                      <a:pt x="11033" y="1421"/>
                      <a:pt x="11103" y="1436"/>
                      <a:pt x="11152" y="1445"/>
                    </a:cubicBezTo>
                    <a:cubicBezTo>
                      <a:pt x="11192" y="1453"/>
                      <a:pt x="11217" y="1457"/>
                      <a:pt x="11225" y="1458"/>
                    </a:cubicBezTo>
                    <a:cubicBezTo>
                      <a:pt x="11277" y="1462"/>
                      <a:pt x="11938" y="1508"/>
                      <a:pt x="12133" y="1516"/>
                    </a:cubicBezTo>
                    <a:cubicBezTo>
                      <a:pt x="12234" y="1521"/>
                      <a:pt x="12349" y="1525"/>
                      <a:pt x="12476" y="1537"/>
                    </a:cubicBezTo>
                    <a:cubicBezTo>
                      <a:pt x="12015" y="39"/>
                      <a:pt x="12015" y="39"/>
                      <a:pt x="12015" y="39"/>
                    </a:cubicBezTo>
                    <a:cubicBezTo>
                      <a:pt x="12015" y="38"/>
                      <a:pt x="12015" y="38"/>
                      <a:pt x="12015" y="38"/>
                    </a:cubicBezTo>
                    <a:cubicBezTo>
                      <a:pt x="12015" y="38"/>
                      <a:pt x="12015" y="37"/>
                      <a:pt x="12014" y="35"/>
                    </a:cubicBezTo>
                    <a:cubicBezTo>
                      <a:pt x="12012" y="28"/>
                      <a:pt x="12007" y="15"/>
                      <a:pt x="11999" y="0"/>
                    </a:cubicBezTo>
                    <a:cubicBezTo>
                      <a:pt x="12071" y="0"/>
                      <a:pt x="12071" y="0"/>
                      <a:pt x="12071" y="0"/>
                    </a:cubicBezTo>
                    <a:cubicBezTo>
                      <a:pt x="12075" y="10"/>
                      <a:pt x="12077" y="18"/>
                      <a:pt x="12078" y="20"/>
                    </a:cubicBezTo>
                    <a:cubicBezTo>
                      <a:pt x="12078" y="20"/>
                      <a:pt x="12078" y="20"/>
                      <a:pt x="12078" y="20"/>
                    </a:cubicBezTo>
                    <a:cubicBezTo>
                      <a:pt x="12546" y="1544"/>
                      <a:pt x="12546" y="1544"/>
                      <a:pt x="12546" y="1544"/>
                    </a:cubicBezTo>
                    <a:cubicBezTo>
                      <a:pt x="12662" y="1557"/>
                      <a:pt x="12786" y="1576"/>
                      <a:pt x="12916" y="1607"/>
                    </a:cubicBezTo>
                    <a:cubicBezTo>
                      <a:pt x="13069" y="1644"/>
                      <a:pt x="13189" y="1692"/>
                      <a:pt x="13281" y="1754"/>
                    </a:cubicBezTo>
                    <a:cubicBezTo>
                      <a:pt x="13353" y="1803"/>
                      <a:pt x="13407" y="1864"/>
                      <a:pt x="13441" y="1932"/>
                    </a:cubicBezTo>
                    <a:cubicBezTo>
                      <a:pt x="13509" y="1916"/>
                      <a:pt x="13631" y="1886"/>
                      <a:pt x="13754" y="1856"/>
                    </a:cubicBezTo>
                    <a:cubicBezTo>
                      <a:pt x="13847" y="1834"/>
                      <a:pt x="13940" y="1812"/>
                      <a:pt x="14011" y="1795"/>
                    </a:cubicBezTo>
                    <a:cubicBezTo>
                      <a:pt x="14046" y="1786"/>
                      <a:pt x="14076" y="1779"/>
                      <a:pt x="14098" y="1774"/>
                    </a:cubicBezTo>
                    <a:cubicBezTo>
                      <a:pt x="14109" y="1772"/>
                      <a:pt x="14118" y="1770"/>
                      <a:pt x="14125" y="1769"/>
                    </a:cubicBezTo>
                    <a:cubicBezTo>
                      <a:pt x="14128" y="1768"/>
                      <a:pt x="14131" y="1767"/>
                      <a:pt x="14134" y="1767"/>
                    </a:cubicBezTo>
                    <a:cubicBezTo>
                      <a:pt x="14136" y="1766"/>
                      <a:pt x="14137" y="1766"/>
                      <a:pt x="14139" y="1766"/>
                    </a:cubicBezTo>
                    <a:cubicBezTo>
                      <a:pt x="14140" y="1766"/>
                      <a:pt x="14141" y="1766"/>
                      <a:pt x="14143" y="1765"/>
                    </a:cubicBezTo>
                    <a:cubicBezTo>
                      <a:pt x="14149" y="1764"/>
                      <a:pt x="14168" y="1759"/>
                      <a:pt x="14192" y="1752"/>
                    </a:cubicBezTo>
                    <a:cubicBezTo>
                      <a:pt x="14274" y="1727"/>
                      <a:pt x="14433" y="1675"/>
                      <a:pt x="14605" y="1613"/>
                    </a:cubicBezTo>
                    <a:cubicBezTo>
                      <a:pt x="14717" y="1572"/>
                      <a:pt x="14944" y="1455"/>
                      <a:pt x="15141" y="1348"/>
                    </a:cubicBezTo>
                    <a:cubicBezTo>
                      <a:pt x="15240" y="1294"/>
                      <a:pt x="15332" y="1242"/>
                      <a:pt x="15401" y="1204"/>
                    </a:cubicBezTo>
                    <a:cubicBezTo>
                      <a:pt x="15436" y="1184"/>
                      <a:pt x="15465" y="1168"/>
                      <a:pt x="15486" y="1156"/>
                    </a:cubicBezTo>
                    <a:cubicBezTo>
                      <a:pt x="15497" y="1150"/>
                      <a:pt x="15506" y="1145"/>
                      <a:pt x="15512" y="1142"/>
                    </a:cubicBezTo>
                    <a:cubicBezTo>
                      <a:pt x="15520" y="1138"/>
                      <a:pt x="15523" y="1136"/>
                      <a:pt x="15530" y="1133"/>
                    </a:cubicBezTo>
                    <a:cubicBezTo>
                      <a:pt x="15544" y="1127"/>
                      <a:pt x="15577" y="1112"/>
                      <a:pt x="15610" y="1098"/>
                    </a:cubicBezTo>
                    <a:cubicBezTo>
                      <a:pt x="15599" y="1009"/>
                      <a:pt x="15575" y="818"/>
                      <a:pt x="15548" y="598"/>
                    </a:cubicBezTo>
                    <a:cubicBezTo>
                      <a:pt x="15524" y="403"/>
                      <a:pt x="15497" y="187"/>
                      <a:pt x="15473" y="0"/>
                    </a:cubicBezTo>
                    <a:close/>
                    <a:moveTo>
                      <a:pt x="6892" y="167"/>
                    </a:moveTo>
                    <a:cubicBezTo>
                      <a:pt x="6976" y="184"/>
                      <a:pt x="6976" y="184"/>
                      <a:pt x="6976" y="184"/>
                    </a:cubicBezTo>
                    <a:cubicBezTo>
                      <a:pt x="7000" y="20"/>
                      <a:pt x="7000" y="20"/>
                      <a:pt x="7000" y="20"/>
                    </a:cubicBezTo>
                    <a:cubicBezTo>
                      <a:pt x="6921" y="9"/>
                      <a:pt x="6921" y="9"/>
                      <a:pt x="6921" y="9"/>
                    </a:cubicBezTo>
                    <a:lnTo>
                      <a:pt x="6892" y="167"/>
                    </a:lnTo>
                    <a:close/>
                    <a:moveTo>
                      <a:pt x="6739" y="205"/>
                    </a:moveTo>
                    <a:cubicBezTo>
                      <a:pt x="6868" y="226"/>
                      <a:pt x="6868" y="226"/>
                      <a:pt x="6868" y="226"/>
                    </a:cubicBezTo>
                    <a:cubicBezTo>
                      <a:pt x="6876" y="178"/>
                      <a:pt x="6876" y="178"/>
                      <a:pt x="6876" y="178"/>
                    </a:cubicBezTo>
                    <a:cubicBezTo>
                      <a:pt x="6749" y="151"/>
                      <a:pt x="6749" y="151"/>
                      <a:pt x="6749" y="151"/>
                    </a:cubicBezTo>
                    <a:lnTo>
                      <a:pt x="6739" y="205"/>
                    </a:lnTo>
                    <a:close/>
                    <a:moveTo>
                      <a:pt x="39" y="7313"/>
                    </a:moveTo>
                    <a:cubicBezTo>
                      <a:pt x="34" y="7316"/>
                      <a:pt x="34" y="7316"/>
                      <a:pt x="34" y="7316"/>
                    </a:cubicBezTo>
                    <a:cubicBezTo>
                      <a:pt x="34" y="7316"/>
                      <a:pt x="34" y="7316"/>
                      <a:pt x="34" y="7316"/>
                    </a:cubicBezTo>
                    <a:lnTo>
                      <a:pt x="39" y="7313"/>
                    </a:lnTo>
                    <a:close/>
                    <a:moveTo>
                      <a:pt x="206" y="9451"/>
                    </a:moveTo>
                    <a:cubicBezTo>
                      <a:pt x="178" y="9428"/>
                      <a:pt x="178" y="9428"/>
                      <a:pt x="178" y="9428"/>
                    </a:cubicBezTo>
                    <a:cubicBezTo>
                      <a:pt x="151" y="9462"/>
                      <a:pt x="151" y="9462"/>
                      <a:pt x="151" y="9462"/>
                    </a:cubicBezTo>
                    <a:cubicBezTo>
                      <a:pt x="114" y="9433"/>
                      <a:pt x="114" y="9433"/>
                      <a:pt x="114" y="9433"/>
                    </a:cubicBezTo>
                    <a:cubicBezTo>
                      <a:pt x="77" y="9480"/>
                      <a:pt x="77" y="9480"/>
                      <a:pt x="77" y="9480"/>
                    </a:cubicBezTo>
                    <a:cubicBezTo>
                      <a:pt x="143" y="9533"/>
                      <a:pt x="143" y="9533"/>
                      <a:pt x="143" y="9533"/>
                    </a:cubicBezTo>
                    <a:lnTo>
                      <a:pt x="206" y="9451"/>
                    </a:lnTo>
                    <a:close/>
                    <a:moveTo>
                      <a:pt x="217" y="9459"/>
                    </a:moveTo>
                    <a:cubicBezTo>
                      <a:pt x="154" y="9541"/>
                      <a:pt x="154" y="9541"/>
                      <a:pt x="154" y="9541"/>
                    </a:cubicBezTo>
                    <a:cubicBezTo>
                      <a:pt x="221" y="9594"/>
                      <a:pt x="221" y="9594"/>
                      <a:pt x="221" y="9594"/>
                    </a:cubicBezTo>
                    <a:cubicBezTo>
                      <a:pt x="258" y="9548"/>
                      <a:pt x="258" y="9548"/>
                      <a:pt x="258" y="9548"/>
                    </a:cubicBezTo>
                    <a:cubicBezTo>
                      <a:pt x="222" y="9518"/>
                      <a:pt x="222" y="9518"/>
                      <a:pt x="222" y="9518"/>
                    </a:cubicBezTo>
                    <a:cubicBezTo>
                      <a:pt x="248" y="9484"/>
                      <a:pt x="248" y="9484"/>
                      <a:pt x="248" y="9484"/>
                    </a:cubicBezTo>
                    <a:lnTo>
                      <a:pt x="217" y="9459"/>
                    </a:lnTo>
                    <a:close/>
                    <a:moveTo>
                      <a:pt x="8656" y="788"/>
                    </a:moveTo>
                    <a:cubicBezTo>
                      <a:pt x="8594" y="829"/>
                      <a:pt x="8521" y="871"/>
                      <a:pt x="8440" y="890"/>
                    </a:cubicBezTo>
                    <a:cubicBezTo>
                      <a:pt x="8358" y="909"/>
                      <a:pt x="8260" y="923"/>
                      <a:pt x="8184" y="932"/>
                    </a:cubicBezTo>
                    <a:cubicBezTo>
                      <a:pt x="8233" y="968"/>
                      <a:pt x="8298" y="1016"/>
                      <a:pt x="8367" y="1067"/>
                    </a:cubicBezTo>
                    <a:cubicBezTo>
                      <a:pt x="8505" y="1168"/>
                      <a:pt x="8657" y="1278"/>
                      <a:pt x="8705" y="1307"/>
                    </a:cubicBezTo>
                    <a:cubicBezTo>
                      <a:pt x="8808" y="1368"/>
                      <a:pt x="9151" y="1584"/>
                      <a:pt x="9308" y="1669"/>
                    </a:cubicBezTo>
                    <a:cubicBezTo>
                      <a:pt x="9466" y="1755"/>
                      <a:pt x="9888" y="1984"/>
                      <a:pt x="10048" y="2051"/>
                    </a:cubicBezTo>
                    <a:cubicBezTo>
                      <a:pt x="10201" y="2116"/>
                      <a:pt x="10609" y="2308"/>
                      <a:pt x="10666" y="2334"/>
                    </a:cubicBezTo>
                    <a:cubicBezTo>
                      <a:pt x="10694" y="2309"/>
                      <a:pt x="10736" y="2272"/>
                      <a:pt x="10784" y="2228"/>
                    </a:cubicBezTo>
                    <a:cubicBezTo>
                      <a:pt x="10870" y="2148"/>
                      <a:pt x="10975" y="2050"/>
                      <a:pt x="11047" y="1973"/>
                    </a:cubicBezTo>
                    <a:cubicBezTo>
                      <a:pt x="11149" y="1868"/>
                      <a:pt x="11174" y="1686"/>
                      <a:pt x="11180" y="1605"/>
                    </a:cubicBezTo>
                    <a:cubicBezTo>
                      <a:pt x="11084" y="1588"/>
                      <a:pt x="10689" y="1513"/>
                      <a:pt x="10245" y="1367"/>
                    </a:cubicBezTo>
                    <a:cubicBezTo>
                      <a:pt x="9735" y="1199"/>
                      <a:pt x="9129" y="925"/>
                      <a:pt x="8967" y="854"/>
                    </a:cubicBezTo>
                    <a:cubicBezTo>
                      <a:pt x="8888" y="820"/>
                      <a:pt x="8814" y="773"/>
                      <a:pt x="8749" y="719"/>
                    </a:cubicBezTo>
                    <a:cubicBezTo>
                      <a:pt x="8725" y="738"/>
                      <a:pt x="8693" y="763"/>
                      <a:pt x="8656" y="788"/>
                    </a:cubicBezTo>
                    <a:close/>
                    <a:moveTo>
                      <a:pt x="9441" y="6141"/>
                    </a:moveTo>
                    <a:cubicBezTo>
                      <a:pt x="9437" y="6143"/>
                      <a:pt x="9437" y="6143"/>
                      <a:pt x="9437" y="6143"/>
                    </a:cubicBezTo>
                    <a:cubicBezTo>
                      <a:pt x="9435" y="6144"/>
                      <a:pt x="9435" y="6144"/>
                      <a:pt x="9435" y="6144"/>
                    </a:cubicBezTo>
                    <a:cubicBezTo>
                      <a:pt x="9435" y="6145"/>
                      <a:pt x="9435" y="6145"/>
                      <a:pt x="9435" y="6145"/>
                    </a:cubicBezTo>
                    <a:cubicBezTo>
                      <a:pt x="9480" y="6131"/>
                      <a:pt x="9527" y="6116"/>
                      <a:pt x="9576" y="6100"/>
                    </a:cubicBezTo>
                    <a:cubicBezTo>
                      <a:pt x="9569" y="6078"/>
                      <a:pt x="9569" y="6078"/>
                      <a:pt x="9569" y="6078"/>
                    </a:cubicBezTo>
                    <a:cubicBezTo>
                      <a:pt x="9447" y="6116"/>
                      <a:pt x="9447" y="6116"/>
                      <a:pt x="9447" y="6116"/>
                    </a:cubicBezTo>
                    <a:cubicBezTo>
                      <a:pt x="9403" y="5969"/>
                      <a:pt x="9403" y="5969"/>
                      <a:pt x="9403" y="5969"/>
                    </a:cubicBezTo>
                    <a:cubicBezTo>
                      <a:pt x="9519" y="5932"/>
                      <a:pt x="9519" y="5932"/>
                      <a:pt x="9519" y="5932"/>
                    </a:cubicBezTo>
                    <a:cubicBezTo>
                      <a:pt x="9409" y="5610"/>
                      <a:pt x="9409" y="5610"/>
                      <a:pt x="9409" y="5610"/>
                    </a:cubicBezTo>
                    <a:cubicBezTo>
                      <a:pt x="9383" y="5611"/>
                      <a:pt x="9358" y="5612"/>
                      <a:pt x="9337" y="5613"/>
                    </a:cubicBezTo>
                    <a:cubicBezTo>
                      <a:pt x="9316" y="5614"/>
                      <a:pt x="9298" y="5614"/>
                      <a:pt x="9286" y="5615"/>
                    </a:cubicBezTo>
                    <a:cubicBezTo>
                      <a:pt x="9282" y="5615"/>
                      <a:pt x="9278" y="5615"/>
                      <a:pt x="9275" y="5615"/>
                    </a:cubicBezTo>
                    <a:cubicBezTo>
                      <a:pt x="9285" y="5647"/>
                      <a:pt x="9320" y="5760"/>
                      <a:pt x="9356" y="5874"/>
                    </a:cubicBezTo>
                    <a:cubicBezTo>
                      <a:pt x="9377" y="5941"/>
                      <a:pt x="9398" y="6008"/>
                      <a:pt x="9414" y="6058"/>
                    </a:cubicBezTo>
                    <a:cubicBezTo>
                      <a:pt x="9422" y="6084"/>
                      <a:pt x="9429" y="6104"/>
                      <a:pt x="9433" y="6119"/>
                    </a:cubicBezTo>
                    <a:cubicBezTo>
                      <a:pt x="9436" y="6126"/>
                      <a:pt x="9438" y="6132"/>
                      <a:pt x="9439" y="6136"/>
                    </a:cubicBezTo>
                    <a:cubicBezTo>
                      <a:pt x="9440" y="6138"/>
                      <a:pt x="9440" y="6139"/>
                      <a:pt x="9441" y="6140"/>
                    </a:cubicBezTo>
                    <a:cubicBezTo>
                      <a:pt x="9441" y="6140"/>
                      <a:pt x="9441" y="6141"/>
                      <a:pt x="9441" y="6141"/>
                    </a:cubicBezTo>
                    <a:close/>
                    <a:moveTo>
                      <a:pt x="9360" y="5948"/>
                    </a:moveTo>
                    <a:cubicBezTo>
                      <a:pt x="9214" y="5995"/>
                      <a:pt x="9214" y="5995"/>
                      <a:pt x="9214" y="5995"/>
                    </a:cubicBezTo>
                    <a:cubicBezTo>
                      <a:pt x="9213" y="6024"/>
                      <a:pt x="9206" y="6193"/>
                      <a:pt x="9205" y="6220"/>
                    </a:cubicBezTo>
                    <a:cubicBezTo>
                      <a:pt x="9269" y="6199"/>
                      <a:pt x="9345" y="6175"/>
                      <a:pt x="9429" y="6147"/>
                    </a:cubicBezTo>
                    <a:cubicBezTo>
                      <a:pt x="9428" y="6145"/>
                      <a:pt x="9427" y="6143"/>
                      <a:pt x="9426" y="6139"/>
                    </a:cubicBezTo>
                    <a:cubicBezTo>
                      <a:pt x="9403" y="6076"/>
                      <a:pt x="9268" y="5638"/>
                      <a:pt x="9260" y="5612"/>
                    </a:cubicBezTo>
                    <a:cubicBezTo>
                      <a:pt x="9260" y="5612"/>
                      <a:pt x="9260" y="5612"/>
                      <a:pt x="9260" y="5612"/>
                    </a:cubicBezTo>
                    <a:cubicBezTo>
                      <a:pt x="9259" y="5612"/>
                      <a:pt x="9259" y="5613"/>
                      <a:pt x="9258" y="5614"/>
                    </a:cubicBezTo>
                    <a:cubicBezTo>
                      <a:pt x="9257" y="5615"/>
                      <a:pt x="9257" y="5616"/>
                      <a:pt x="9254" y="5618"/>
                    </a:cubicBezTo>
                    <a:cubicBezTo>
                      <a:pt x="9252" y="5621"/>
                      <a:pt x="9245" y="5633"/>
                      <a:pt x="9236" y="5649"/>
                    </a:cubicBezTo>
                    <a:cubicBezTo>
                      <a:pt x="9205" y="5709"/>
                      <a:pt x="9143" y="5837"/>
                      <a:pt x="9084" y="5962"/>
                    </a:cubicBezTo>
                    <a:cubicBezTo>
                      <a:pt x="9207" y="5983"/>
                      <a:pt x="9207" y="5983"/>
                      <a:pt x="9207" y="5983"/>
                    </a:cubicBezTo>
                    <a:cubicBezTo>
                      <a:pt x="9356" y="5934"/>
                      <a:pt x="9356" y="5934"/>
                      <a:pt x="9356" y="5934"/>
                    </a:cubicBezTo>
                    <a:lnTo>
                      <a:pt x="9360" y="5948"/>
                    </a:lnTo>
                    <a:close/>
                    <a:moveTo>
                      <a:pt x="9191" y="6224"/>
                    </a:moveTo>
                    <a:cubicBezTo>
                      <a:pt x="9191" y="6224"/>
                      <a:pt x="9191" y="6224"/>
                      <a:pt x="9191" y="6224"/>
                    </a:cubicBezTo>
                    <a:cubicBezTo>
                      <a:pt x="9191" y="6224"/>
                      <a:pt x="9193" y="6166"/>
                      <a:pt x="9196" y="6107"/>
                    </a:cubicBezTo>
                    <a:cubicBezTo>
                      <a:pt x="9197" y="6078"/>
                      <a:pt x="9198" y="6048"/>
                      <a:pt x="9199" y="6026"/>
                    </a:cubicBezTo>
                    <a:cubicBezTo>
                      <a:pt x="9199" y="6015"/>
                      <a:pt x="9200" y="6006"/>
                      <a:pt x="9200" y="6000"/>
                    </a:cubicBezTo>
                    <a:cubicBezTo>
                      <a:pt x="9200" y="5998"/>
                      <a:pt x="9200" y="5997"/>
                      <a:pt x="9200" y="5996"/>
                    </a:cubicBezTo>
                    <a:cubicBezTo>
                      <a:pt x="9080" y="5976"/>
                      <a:pt x="9080" y="5976"/>
                      <a:pt x="9080" y="5976"/>
                    </a:cubicBezTo>
                    <a:cubicBezTo>
                      <a:pt x="9082" y="5966"/>
                      <a:pt x="9082" y="5966"/>
                      <a:pt x="9082" y="5966"/>
                    </a:cubicBezTo>
                    <a:cubicBezTo>
                      <a:pt x="9074" y="5982"/>
                      <a:pt x="9067" y="5997"/>
                      <a:pt x="9060" y="6012"/>
                    </a:cubicBezTo>
                    <a:cubicBezTo>
                      <a:pt x="9003" y="6132"/>
                      <a:pt x="8952" y="6240"/>
                      <a:pt x="8940" y="6267"/>
                    </a:cubicBezTo>
                    <a:cubicBezTo>
                      <a:pt x="8946" y="6270"/>
                      <a:pt x="8956" y="6274"/>
                      <a:pt x="8966" y="6278"/>
                    </a:cubicBezTo>
                    <a:cubicBezTo>
                      <a:pt x="8974" y="6281"/>
                      <a:pt x="8982" y="6285"/>
                      <a:pt x="8988" y="6287"/>
                    </a:cubicBezTo>
                    <a:cubicBezTo>
                      <a:pt x="8991" y="6289"/>
                      <a:pt x="8993" y="6290"/>
                      <a:pt x="8995" y="6290"/>
                    </a:cubicBezTo>
                    <a:cubicBezTo>
                      <a:pt x="9000" y="6289"/>
                      <a:pt x="9007" y="6286"/>
                      <a:pt x="9019" y="6282"/>
                    </a:cubicBezTo>
                    <a:cubicBezTo>
                      <a:pt x="9052" y="6271"/>
                      <a:pt x="9113" y="6251"/>
                      <a:pt x="9194" y="6224"/>
                    </a:cubicBezTo>
                    <a:lnTo>
                      <a:pt x="9191" y="6224"/>
                    </a:lnTo>
                    <a:close/>
                    <a:moveTo>
                      <a:pt x="9667" y="5582"/>
                    </a:moveTo>
                    <a:cubicBezTo>
                      <a:pt x="9653" y="5586"/>
                      <a:pt x="9653" y="5586"/>
                      <a:pt x="9653" y="5586"/>
                    </a:cubicBezTo>
                    <a:cubicBezTo>
                      <a:pt x="9489" y="5102"/>
                      <a:pt x="9489" y="5102"/>
                      <a:pt x="9489" y="5102"/>
                    </a:cubicBezTo>
                    <a:cubicBezTo>
                      <a:pt x="9466" y="5154"/>
                      <a:pt x="9437" y="5221"/>
                      <a:pt x="9407" y="5290"/>
                    </a:cubicBezTo>
                    <a:cubicBezTo>
                      <a:pt x="9512" y="5593"/>
                      <a:pt x="9512" y="5593"/>
                      <a:pt x="9512" y="5593"/>
                    </a:cubicBezTo>
                    <a:cubicBezTo>
                      <a:pt x="9614" y="5590"/>
                      <a:pt x="9710" y="5586"/>
                      <a:pt x="9720" y="5586"/>
                    </a:cubicBezTo>
                    <a:cubicBezTo>
                      <a:pt x="9818" y="5556"/>
                      <a:pt x="9818" y="5556"/>
                      <a:pt x="9818" y="5556"/>
                    </a:cubicBezTo>
                    <a:cubicBezTo>
                      <a:pt x="9655" y="5077"/>
                      <a:pt x="9655" y="5077"/>
                      <a:pt x="9655" y="5077"/>
                    </a:cubicBezTo>
                    <a:cubicBezTo>
                      <a:pt x="9603" y="5063"/>
                      <a:pt x="9557" y="5045"/>
                      <a:pt x="9520" y="5029"/>
                    </a:cubicBezTo>
                    <a:cubicBezTo>
                      <a:pt x="9515" y="5042"/>
                      <a:pt x="9507" y="5061"/>
                      <a:pt x="9497" y="5083"/>
                    </a:cubicBezTo>
                    <a:lnTo>
                      <a:pt x="9667" y="5582"/>
                    </a:lnTo>
                    <a:close/>
                    <a:moveTo>
                      <a:pt x="10531" y="4318"/>
                    </a:moveTo>
                    <a:cubicBezTo>
                      <a:pt x="10516" y="4325"/>
                      <a:pt x="10479" y="4338"/>
                      <a:pt x="10427" y="4355"/>
                    </a:cubicBezTo>
                    <a:cubicBezTo>
                      <a:pt x="10257" y="4413"/>
                      <a:pt x="9945" y="4513"/>
                      <a:pt x="9897" y="4529"/>
                    </a:cubicBezTo>
                    <a:cubicBezTo>
                      <a:pt x="9992" y="4849"/>
                      <a:pt x="9992" y="4849"/>
                      <a:pt x="9992" y="4849"/>
                    </a:cubicBezTo>
                    <a:cubicBezTo>
                      <a:pt x="9823" y="4924"/>
                      <a:pt x="9823" y="4924"/>
                      <a:pt x="9823" y="4924"/>
                    </a:cubicBezTo>
                    <a:cubicBezTo>
                      <a:pt x="9820" y="4931"/>
                      <a:pt x="9813" y="4950"/>
                      <a:pt x="9806" y="4972"/>
                    </a:cubicBezTo>
                    <a:cubicBezTo>
                      <a:pt x="9799" y="4994"/>
                      <a:pt x="9792" y="5020"/>
                      <a:pt x="9790" y="5036"/>
                    </a:cubicBezTo>
                    <a:cubicBezTo>
                      <a:pt x="9809" y="5037"/>
                      <a:pt x="9828" y="5038"/>
                      <a:pt x="9847" y="5038"/>
                    </a:cubicBezTo>
                    <a:cubicBezTo>
                      <a:pt x="9896" y="5038"/>
                      <a:pt x="9947" y="5032"/>
                      <a:pt x="9997" y="5017"/>
                    </a:cubicBezTo>
                    <a:cubicBezTo>
                      <a:pt x="10115" y="4980"/>
                      <a:pt x="10475" y="4863"/>
                      <a:pt x="10847" y="4742"/>
                    </a:cubicBezTo>
                    <a:cubicBezTo>
                      <a:pt x="10736" y="4385"/>
                      <a:pt x="10736" y="4385"/>
                      <a:pt x="10736" y="4385"/>
                    </a:cubicBezTo>
                    <a:cubicBezTo>
                      <a:pt x="10577" y="4415"/>
                      <a:pt x="10577" y="4415"/>
                      <a:pt x="10577" y="4415"/>
                    </a:cubicBezTo>
                    <a:cubicBezTo>
                      <a:pt x="10575" y="4410"/>
                      <a:pt x="10575" y="4410"/>
                      <a:pt x="10575" y="4410"/>
                    </a:cubicBezTo>
                    <a:cubicBezTo>
                      <a:pt x="10575" y="4410"/>
                      <a:pt x="10563" y="4386"/>
                      <a:pt x="10551" y="4361"/>
                    </a:cubicBezTo>
                    <a:cubicBezTo>
                      <a:pt x="10546" y="4349"/>
                      <a:pt x="10540" y="4336"/>
                      <a:pt x="10535" y="4327"/>
                    </a:cubicBezTo>
                    <a:cubicBezTo>
                      <a:pt x="10534" y="4324"/>
                      <a:pt x="10532" y="4321"/>
                      <a:pt x="10531" y="4318"/>
                    </a:cubicBezTo>
                    <a:close/>
                    <a:moveTo>
                      <a:pt x="10535" y="4316"/>
                    </a:moveTo>
                    <a:cubicBezTo>
                      <a:pt x="10535" y="4316"/>
                      <a:pt x="10535" y="4316"/>
                      <a:pt x="10536" y="4315"/>
                    </a:cubicBezTo>
                    <a:cubicBezTo>
                      <a:pt x="10535" y="4316"/>
                      <a:pt x="10535" y="4316"/>
                      <a:pt x="10535" y="4316"/>
                    </a:cubicBezTo>
                    <a:close/>
                    <a:moveTo>
                      <a:pt x="10822" y="5241"/>
                    </a:moveTo>
                    <a:cubicBezTo>
                      <a:pt x="10699" y="4859"/>
                      <a:pt x="10699" y="4859"/>
                      <a:pt x="10699" y="4859"/>
                    </a:cubicBezTo>
                    <a:cubicBezTo>
                      <a:pt x="10655" y="4874"/>
                      <a:pt x="10611" y="4888"/>
                      <a:pt x="10568" y="4902"/>
                    </a:cubicBezTo>
                    <a:cubicBezTo>
                      <a:pt x="10691" y="5282"/>
                      <a:pt x="10691" y="5282"/>
                      <a:pt x="10691" y="5282"/>
                    </a:cubicBezTo>
                    <a:lnTo>
                      <a:pt x="10822" y="5241"/>
                    </a:lnTo>
                    <a:close/>
                    <a:moveTo>
                      <a:pt x="10749" y="5278"/>
                    </a:moveTo>
                    <a:cubicBezTo>
                      <a:pt x="10743" y="5280"/>
                      <a:pt x="10743" y="5280"/>
                      <a:pt x="10743" y="5280"/>
                    </a:cubicBezTo>
                    <a:cubicBezTo>
                      <a:pt x="10742" y="5281"/>
                      <a:pt x="10742" y="5281"/>
                      <a:pt x="10742" y="5281"/>
                    </a:cubicBezTo>
                    <a:cubicBezTo>
                      <a:pt x="10743" y="5283"/>
                      <a:pt x="10749" y="5284"/>
                      <a:pt x="10751" y="5282"/>
                    </a:cubicBezTo>
                    <a:lnTo>
                      <a:pt x="10749" y="5278"/>
                    </a:lnTo>
                    <a:close/>
                    <a:moveTo>
                      <a:pt x="9532" y="5928"/>
                    </a:moveTo>
                    <a:cubicBezTo>
                      <a:pt x="9664" y="5887"/>
                      <a:pt x="9664" y="5887"/>
                      <a:pt x="9664" y="5887"/>
                    </a:cubicBezTo>
                    <a:cubicBezTo>
                      <a:pt x="9570" y="5605"/>
                      <a:pt x="9570" y="5605"/>
                      <a:pt x="9570" y="5605"/>
                    </a:cubicBezTo>
                    <a:cubicBezTo>
                      <a:pt x="9546" y="5606"/>
                      <a:pt x="9520" y="5607"/>
                      <a:pt x="9494" y="5608"/>
                    </a:cubicBezTo>
                    <a:cubicBezTo>
                      <a:pt x="9470" y="5608"/>
                      <a:pt x="9446" y="5609"/>
                      <a:pt x="9424" y="5610"/>
                    </a:cubicBezTo>
                    <a:lnTo>
                      <a:pt x="9532" y="5928"/>
                    </a:lnTo>
                    <a:close/>
                    <a:moveTo>
                      <a:pt x="9523" y="5945"/>
                    </a:moveTo>
                    <a:cubicBezTo>
                      <a:pt x="9419" y="5978"/>
                      <a:pt x="9419" y="5978"/>
                      <a:pt x="9419" y="5978"/>
                    </a:cubicBezTo>
                    <a:cubicBezTo>
                      <a:pt x="9456" y="6099"/>
                      <a:pt x="9456" y="6099"/>
                      <a:pt x="9456" y="6099"/>
                    </a:cubicBezTo>
                    <a:cubicBezTo>
                      <a:pt x="9564" y="6065"/>
                      <a:pt x="9564" y="6065"/>
                      <a:pt x="9564" y="6065"/>
                    </a:cubicBezTo>
                    <a:lnTo>
                      <a:pt x="9523" y="5945"/>
                    </a:lnTo>
                    <a:close/>
                    <a:moveTo>
                      <a:pt x="9677" y="5882"/>
                    </a:moveTo>
                    <a:cubicBezTo>
                      <a:pt x="9806" y="5842"/>
                      <a:pt x="9806" y="5842"/>
                      <a:pt x="9806" y="5842"/>
                    </a:cubicBezTo>
                    <a:cubicBezTo>
                      <a:pt x="9802" y="5831"/>
                      <a:pt x="9799" y="5820"/>
                      <a:pt x="9795" y="5809"/>
                    </a:cubicBezTo>
                    <a:cubicBezTo>
                      <a:pt x="9778" y="5759"/>
                      <a:pt x="9761" y="5709"/>
                      <a:pt x="9748" y="5670"/>
                    </a:cubicBezTo>
                    <a:cubicBezTo>
                      <a:pt x="9736" y="5631"/>
                      <a:pt x="9727" y="5606"/>
                      <a:pt x="9727" y="5599"/>
                    </a:cubicBezTo>
                    <a:cubicBezTo>
                      <a:pt x="9727" y="5599"/>
                      <a:pt x="9727" y="5599"/>
                      <a:pt x="9727" y="5599"/>
                    </a:cubicBezTo>
                    <a:cubicBezTo>
                      <a:pt x="9723" y="5600"/>
                      <a:pt x="9723" y="5600"/>
                      <a:pt x="9723" y="5600"/>
                    </a:cubicBezTo>
                    <a:cubicBezTo>
                      <a:pt x="9722" y="5600"/>
                      <a:pt x="9722" y="5600"/>
                      <a:pt x="9722" y="5600"/>
                    </a:cubicBezTo>
                    <a:cubicBezTo>
                      <a:pt x="9722" y="5600"/>
                      <a:pt x="9662" y="5602"/>
                      <a:pt x="9585" y="5605"/>
                    </a:cubicBezTo>
                    <a:lnTo>
                      <a:pt x="9677" y="5882"/>
                    </a:lnTo>
                    <a:close/>
                    <a:moveTo>
                      <a:pt x="9810" y="5809"/>
                    </a:moveTo>
                    <a:cubicBezTo>
                      <a:pt x="9813" y="5819"/>
                      <a:pt x="9816" y="5828"/>
                      <a:pt x="9819" y="5837"/>
                    </a:cubicBezTo>
                    <a:cubicBezTo>
                      <a:pt x="9961" y="5792"/>
                      <a:pt x="9961" y="5792"/>
                      <a:pt x="9961" y="5792"/>
                    </a:cubicBezTo>
                    <a:cubicBezTo>
                      <a:pt x="9957" y="5781"/>
                      <a:pt x="9953" y="5769"/>
                      <a:pt x="9949" y="5757"/>
                    </a:cubicBezTo>
                    <a:cubicBezTo>
                      <a:pt x="9932" y="5707"/>
                      <a:pt x="9915" y="5656"/>
                      <a:pt x="9902" y="5618"/>
                    </a:cubicBezTo>
                    <a:cubicBezTo>
                      <a:pt x="9891" y="5582"/>
                      <a:pt x="9883" y="5559"/>
                      <a:pt x="9882" y="5550"/>
                    </a:cubicBezTo>
                    <a:cubicBezTo>
                      <a:pt x="9738" y="5595"/>
                      <a:pt x="9738" y="5595"/>
                      <a:pt x="9738" y="5595"/>
                    </a:cubicBezTo>
                    <a:cubicBezTo>
                      <a:pt x="9732" y="5601"/>
                      <a:pt x="9732" y="5601"/>
                      <a:pt x="9732" y="5601"/>
                    </a:cubicBezTo>
                    <a:cubicBezTo>
                      <a:pt x="9734" y="5599"/>
                      <a:pt x="9734" y="5599"/>
                      <a:pt x="9734" y="5599"/>
                    </a:cubicBezTo>
                    <a:cubicBezTo>
                      <a:pt x="9738" y="5605"/>
                      <a:pt x="9738" y="5605"/>
                      <a:pt x="9738" y="5605"/>
                    </a:cubicBezTo>
                    <a:cubicBezTo>
                      <a:pt x="9734" y="5599"/>
                      <a:pt x="9734" y="5599"/>
                      <a:pt x="9734" y="5599"/>
                    </a:cubicBezTo>
                    <a:cubicBezTo>
                      <a:pt x="9735" y="5599"/>
                      <a:pt x="9735" y="5599"/>
                      <a:pt x="9735" y="5599"/>
                    </a:cubicBezTo>
                    <a:cubicBezTo>
                      <a:pt x="9739" y="5599"/>
                      <a:pt x="9739" y="5599"/>
                      <a:pt x="9739" y="5599"/>
                    </a:cubicBezTo>
                    <a:cubicBezTo>
                      <a:pt x="9741" y="5599"/>
                      <a:pt x="9741" y="5599"/>
                      <a:pt x="9741" y="5599"/>
                    </a:cubicBezTo>
                    <a:cubicBezTo>
                      <a:pt x="9742" y="5609"/>
                      <a:pt x="9777" y="5711"/>
                      <a:pt x="9810" y="5809"/>
                    </a:cubicBezTo>
                    <a:close/>
                    <a:moveTo>
                      <a:pt x="9889" y="5548"/>
                    </a:moveTo>
                    <a:cubicBezTo>
                      <a:pt x="9886" y="5549"/>
                      <a:pt x="9886" y="5549"/>
                      <a:pt x="9886" y="5549"/>
                    </a:cubicBezTo>
                    <a:cubicBezTo>
                      <a:pt x="9883" y="5552"/>
                      <a:pt x="9883" y="5552"/>
                      <a:pt x="9883" y="5552"/>
                    </a:cubicBezTo>
                    <a:cubicBezTo>
                      <a:pt x="9884" y="5554"/>
                      <a:pt x="9890" y="5555"/>
                      <a:pt x="9892" y="5553"/>
                    </a:cubicBezTo>
                    <a:lnTo>
                      <a:pt x="9889" y="5548"/>
                    </a:lnTo>
                    <a:close/>
                    <a:moveTo>
                      <a:pt x="9895" y="5548"/>
                    </a:moveTo>
                    <a:cubicBezTo>
                      <a:pt x="9891" y="5547"/>
                      <a:pt x="9891" y="5547"/>
                      <a:pt x="9891" y="5547"/>
                    </a:cubicBezTo>
                    <a:cubicBezTo>
                      <a:pt x="9891" y="5547"/>
                      <a:pt x="9891" y="5547"/>
                      <a:pt x="9891" y="5547"/>
                    </a:cubicBezTo>
                    <a:lnTo>
                      <a:pt x="9895" y="5548"/>
                    </a:lnTo>
                    <a:close/>
                    <a:moveTo>
                      <a:pt x="9964" y="5757"/>
                    </a:moveTo>
                    <a:cubicBezTo>
                      <a:pt x="9967" y="5768"/>
                      <a:pt x="9971" y="5778"/>
                      <a:pt x="9974" y="5788"/>
                    </a:cubicBezTo>
                    <a:cubicBezTo>
                      <a:pt x="10104" y="5747"/>
                      <a:pt x="10104" y="5747"/>
                      <a:pt x="10104" y="5747"/>
                    </a:cubicBezTo>
                    <a:cubicBezTo>
                      <a:pt x="10100" y="5734"/>
                      <a:pt x="10095" y="5721"/>
                      <a:pt x="10091" y="5708"/>
                    </a:cubicBezTo>
                    <a:cubicBezTo>
                      <a:pt x="10074" y="5658"/>
                      <a:pt x="10057" y="5607"/>
                      <a:pt x="10044" y="5568"/>
                    </a:cubicBezTo>
                    <a:cubicBezTo>
                      <a:pt x="10034" y="5538"/>
                      <a:pt x="10027" y="5517"/>
                      <a:pt x="10024" y="5505"/>
                    </a:cubicBezTo>
                    <a:cubicBezTo>
                      <a:pt x="9891" y="5547"/>
                      <a:pt x="9891" y="5547"/>
                      <a:pt x="9891" y="5547"/>
                    </a:cubicBezTo>
                    <a:cubicBezTo>
                      <a:pt x="9893" y="5547"/>
                      <a:pt x="9893" y="5547"/>
                      <a:pt x="9893" y="5547"/>
                    </a:cubicBezTo>
                    <a:cubicBezTo>
                      <a:pt x="9895" y="5547"/>
                      <a:pt x="9895" y="5547"/>
                      <a:pt x="9895" y="5547"/>
                    </a:cubicBezTo>
                    <a:cubicBezTo>
                      <a:pt x="9896" y="5556"/>
                      <a:pt x="9931" y="5659"/>
                      <a:pt x="9964" y="5757"/>
                    </a:cubicBezTo>
                    <a:close/>
                    <a:moveTo>
                      <a:pt x="10033" y="5503"/>
                    </a:moveTo>
                    <a:cubicBezTo>
                      <a:pt x="10033" y="5503"/>
                      <a:pt x="10033" y="5503"/>
                      <a:pt x="10033" y="5503"/>
                    </a:cubicBezTo>
                    <a:cubicBezTo>
                      <a:pt x="10028" y="5504"/>
                      <a:pt x="10028" y="5504"/>
                      <a:pt x="10028" y="5504"/>
                    </a:cubicBezTo>
                    <a:cubicBezTo>
                      <a:pt x="10030" y="5505"/>
                      <a:pt x="10032" y="5504"/>
                      <a:pt x="10033" y="5503"/>
                    </a:cubicBezTo>
                    <a:close/>
                    <a:moveTo>
                      <a:pt x="10159" y="5463"/>
                    </a:moveTo>
                    <a:cubicBezTo>
                      <a:pt x="10038" y="5501"/>
                      <a:pt x="10038" y="5501"/>
                      <a:pt x="10038" y="5501"/>
                    </a:cubicBezTo>
                    <a:cubicBezTo>
                      <a:pt x="10043" y="5521"/>
                      <a:pt x="10074" y="5616"/>
                      <a:pt x="10106" y="5708"/>
                    </a:cubicBezTo>
                    <a:cubicBezTo>
                      <a:pt x="10109" y="5720"/>
                      <a:pt x="10113" y="5731"/>
                      <a:pt x="10117" y="5743"/>
                    </a:cubicBezTo>
                    <a:cubicBezTo>
                      <a:pt x="10238" y="5705"/>
                      <a:pt x="10238" y="5705"/>
                      <a:pt x="10238" y="5705"/>
                    </a:cubicBezTo>
                    <a:cubicBezTo>
                      <a:pt x="10234" y="5693"/>
                      <a:pt x="10230" y="5682"/>
                      <a:pt x="10226" y="5671"/>
                    </a:cubicBezTo>
                    <a:cubicBezTo>
                      <a:pt x="10209" y="5621"/>
                      <a:pt x="10192" y="5570"/>
                      <a:pt x="10180" y="5531"/>
                    </a:cubicBezTo>
                    <a:cubicBezTo>
                      <a:pt x="10168" y="5495"/>
                      <a:pt x="10160" y="5472"/>
                      <a:pt x="10159" y="5463"/>
                    </a:cubicBezTo>
                    <a:close/>
                    <a:moveTo>
                      <a:pt x="10164" y="5462"/>
                    </a:moveTo>
                    <a:cubicBezTo>
                      <a:pt x="10164" y="5462"/>
                      <a:pt x="10164" y="5462"/>
                      <a:pt x="10164" y="5462"/>
                    </a:cubicBezTo>
                    <a:cubicBezTo>
                      <a:pt x="10160" y="5466"/>
                      <a:pt x="10160" y="5466"/>
                      <a:pt x="10160" y="5466"/>
                    </a:cubicBezTo>
                    <a:lnTo>
                      <a:pt x="10164" y="5462"/>
                    </a:lnTo>
                    <a:close/>
                    <a:moveTo>
                      <a:pt x="10165" y="5461"/>
                    </a:moveTo>
                    <a:cubicBezTo>
                      <a:pt x="10165" y="5461"/>
                      <a:pt x="10165" y="5461"/>
                      <a:pt x="10165" y="5461"/>
                    </a:cubicBezTo>
                    <a:cubicBezTo>
                      <a:pt x="10169" y="5467"/>
                      <a:pt x="10169" y="5467"/>
                      <a:pt x="10169" y="5467"/>
                    </a:cubicBezTo>
                    <a:lnTo>
                      <a:pt x="10165" y="5461"/>
                    </a:lnTo>
                    <a:close/>
                    <a:moveTo>
                      <a:pt x="10172" y="5462"/>
                    </a:moveTo>
                    <a:cubicBezTo>
                      <a:pt x="10166" y="5461"/>
                      <a:pt x="10166" y="5461"/>
                      <a:pt x="10166" y="5461"/>
                    </a:cubicBezTo>
                    <a:cubicBezTo>
                      <a:pt x="10166" y="5461"/>
                      <a:pt x="10166" y="5461"/>
                      <a:pt x="10166" y="5461"/>
                    </a:cubicBezTo>
                    <a:lnTo>
                      <a:pt x="10172" y="5462"/>
                    </a:lnTo>
                    <a:close/>
                    <a:moveTo>
                      <a:pt x="9979" y="5801"/>
                    </a:moveTo>
                    <a:cubicBezTo>
                      <a:pt x="9995" y="5850"/>
                      <a:pt x="10011" y="5894"/>
                      <a:pt x="10020" y="5922"/>
                    </a:cubicBezTo>
                    <a:cubicBezTo>
                      <a:pt x="10150" y="5881"/>
                      <a:pt x="10150" y="5881"/>
                      <a:pt x="10150" y="5881"/>
                    </a:cubicBezTo>
                    <a:cubicBezTo>
                      <a:pt x="10141" y="5854"/>
                      <a:pt x="10125" y="5809"/>
                      <a:pt x="10108" y="5760"/>
                    </a:cubicBezTo>
                    <a:lnTo>
                      <a:pt x="9979" y="5801"/>
                    </a:lnTo>
                    <a:close/>
                    <a:moveTo>
                      <a:pt x="10163" y="5877"/>
                    </a:moveTo>
                    <a:cubicBezTo>
                      <a:pt x="10284" y="5839"/>
                      <a:pt x="10284" y="5839"/>
                      <a:pt x="10284" y="5839"/>
                    </a:cubicBezTo>
                    <a:cubicBezTo>
                      <a:pt x="10274" y="5811"/>
                      <a:pt x="10259" y="5766"/>
                      <a:pt x="10242" y="5717"/>
                    </a:cubicBezTo>
                    <a:cubicBezTo>
                      <a:pt x="10122" y="5755"/>
                      <a:pt x="10122" y="5755"/>
                      <a:pt x="10122" y="5755"/>
                    </a:cubicBezTo>
                    <a:cubicBezTo>
                      <a:pt x="10139" y="5806"/>
                      <a:pt x="10154" y="5850"/>
                      <a:pt x="10163" y="5877"/>
                    </a:cubicBezTo>
                    <a:close/>
                    <a:moveTo>
                      <a:pt x="10251" y="5701"/>
                    </a:moveTo>
                    <a:cubicBezTo>
                      <a:pt x="10397" y="5654"/>
                      <a:pt x="10397" y="5654"/>
                      <a:pt x="10397" y="5654"/>
                    </a:cubicBezTo>
                    <a:cubicBezTo>
                      <a:pt x="10394" y="5643"/>
                      <a:pt x="10390" y="5632"/>
                      <a:pt x="10386" y="5621"/>
                    </a:cubicBezTo>
                    <a:cubicBezTo>
                      <a:pt x="10369" y="5571"/>
                      <a:pt x="10352" y="5521"/>
                      <a:pt x="10340" y="5482"/>
                    </a:cubicBezTo>
                    <a:cubicBezTo>
                      <a:pt x="10328" y="5445"/>
                      <a:pt x="10320" y="5421"/>
                      <a:pt x="10319" y="5413"/>
                    </a:cubicBezTo>
                    <a:cubicBezTo>
                      <a:pt x="10167" y="5461"/>
                      <a:pt x="10167" y="5461"/>
                      <a:pt x="10167" y="5461"/>
                    </a:cubicBezTo>
                    <a:cubicBezTo>
                      <a:pt x="10170" y="5461"/>
                      <a:pt x="10170" y="5461"/>
                      <a:pt x="10170" y="5461"/>
                    </a:cubicBezTo>
                    <a:cubicBezTo>
                      <a:pt x="10172" y="5460"/>
                      <a:pt x="10172" y="5460"/>
                      <a:pt x="10172" y="5460"/>
                    </a:cubicBezTo>
                    <a:cubicBezTo>
                      <a:pt x="10174" y="5470"/>
                      <a:pt x="10208" y="5573"/>
                      <a:pt x="10241" y="5671"/>
                    </a:cubicBezTo>
                    <a:cubicBezTo>
                      <a:pt x="10244" y="5681"/>
                      <a:pt x="10248" y="5691"/>
                      <a:pt x="10251" y="5701"/>
                    </a:cubicBezTo>
                    <a:close/>
                    <a:moveTo>
                      <a:pt x="10391" y="5376"/>
                    </a:moveTo>
                    <a:cubicBezTo>
                      <a:pt x="10269" y="4999"/>
                      <a:pt x="10269" y="4999"/>
                      <a:pt x="10269" y="4999"/>
                    </a:cubicBezTo>
                    <a:cubicBezTo>
                      <a:pt x="10217" y="5015"/>
                      <a:pt x="10171" y="5030"/>
                      <a:pt x="10130" y="5043"/>
                    </a:cubicBezTo>
                    <a:cubicBezTo>
                      <a:pt x="10252" y="5418"/>
                      <a:pt x="10252" y="5418"/>
                      <a:pt x="10252" y="5418"/>
                    </a:cubicBezTo>
                    <a:cubicBezTo>
                      <a:pt x="10239" y="5423"/>
                      <a:pt x="10239" y="5423"/>
                      <a:pt x="10239" y="5423"/>
                    </a:cubicBezTo>
                    <a:cubicBezTo>
                      <a:pt x="10117" y="5047"/>
                      <a:pt x="10117" y="5047"/>
                      <a:pt x="10117" y="5047"/>
                    </a:cubicBezTo>
                    <a:cubicBezTo>
                      <a:pt x="10075" y="5061"/>
                      <a:pt x="10040" y="5072"/>
                      <a:pt x="10016" y="5079"/>
                    </a:cubicBezTo>
                    <a:cubicBezTo>
                      <a:pt x="10006" y="5083"/>
                      <a:pt x="9995" y="5085"/>
                      <a:pt x="9985" y="5088"/>
                    </a:cubicBezTo>
                    <a:cubicBezTo>
                      <a:pt x="10107" y="5465"/>
                      <a:pt x="10107" y="5465"/>
                      <a:pt x="10107" y="5465"/>
                    </a:cubicBezTo>
                    <a:cubicBezTo>
                      <a:pt x="10094" y="5469"/>
                      <a:pt x="10094" y="5469"/>
                      <a:pt x="10094" y="5469"/>
                    </a:cubicBezTo>
                    <a:cubicBezTo>
                      <a:pt x="9972" y="5091"/>
                      <a:pt x="9972" y="5091"/>
                      <a:pt x="9972" y="5091"/>
                    </a:cubicBezTo>
                    <a:cubicBezTo>
                      <a:pt x="9930" y="5100"/>
                      <a:pt x="9888" y="5104"/>
                      <a:pt x="9847" y="5104"/>
                    </a:cubicBezTo>
                    <a:cubicBezTo>
                      <a:pt x="9845" y="5104"/>
                      <a:pt x="9842" y="5104"/>
                      <a:pt x="9840" y="5104"/>
                    </a:cubicBezTo>
                    <a:cubicBezTo>
                      <a:pt x="9971" y="5508"/>
                      <a:pt x="9971" y="5508"/>
                      <a:pt x="9971" y="5508"/>
                    </a:cubicBezTo>
                    <a:lnTo>
                      <a:pt x="10391" y="5376"/>
                    </a:lnTo>
                    <a:close/>
                    <a:moveTo>
                      <a:pt x="10405" y="5372"/>
                    </a:moveTo>
                    <a:cubicBezTo>
                      <a:pt x="10533" y="5331"/>
                      <a:pt x="10533" y="5331"/>
                      <a:pt x="10533" y="5331"/>
                    </a:cubicBezTo>
                    <a:cubicBezTo>
                      <a:pt x="10410" y="4953"/>
                      <a:pt x="10410" y="4953"/>
                      <a:pt x="10410" y="4953"/>
                    </a:cubicBezTo>
                    <a:cubicBezTo>
                      <a:pt x="10365" y="4968"/>
                      <a:pt x="10322" y="4981"/>
                      <a:pt x="10283" y="4994"/>
                    </a:cubicBezTo>
                    <a:lnTo>
                      <a:pt x="10405" y="5372"/>
                    </a:lnTo>
                    <a:close/>
                    <a:moveTo>
                      <a:pt x="10546" y="5327"/>
                    </a:moveTo>
                    <a:cubicBezTo>
                      <a:pt x="10677" y="5286"/>
                      <a:pt x="10677" y="5286"/>
                      <a:pt x="10677" y="5286"/>
                    </a:cubicBezTo>
                    <a:cubicBezTo>
                      <a:pt x="10555" y="4906"/>
                      <a:pt x="10555" y="4906"/>
                      <a:pt x="10555" y="4906"/>
                    </a:cubicBezTo>
                    <a:cubicBezTo>
                      <a:pt x="10509" y="4921"/>
                      <a:pt x="10466" y="4935"/>
                      <a:pt x="10423" y="4949"/>
                    </a:cubicBezTo>
                    <a:lnTo>
                      <a:pt x="10546" y="5327"/>
                    </a:lnTo>
                    <a:close/>
                    <a:moveTo>
                      <a:pt x="10836" y="5236"/>
                    </a:moveTo>
                    <a:cubicBezTo>
                      <a:pt x="10973" y="5193"/>
                      <a:pt x="10973" y="5193"/>
                      <a:pt x="10973" y="5193"/>
                    </a:cubicBezTo>
                    <a:cubicBezTo>
                      <a:pt x="10840" y="4813"/>
                      <a:pt x="10840" y="4813"/>
                      <a:pt x="10840" y="4813"/>
                    </a:cubicBezTo>
                    <a:cubicBezTo>
                      <a:pt x="10797" y="4827"/>
                      <a:pt x="10755" y="4841"/>
                      <a:pt x="10712" y="4855"/>
                    </a:cubicBezTo>
                    <a:lnTo>
                      <a:pt x="10836" y="5236"/>
                    </a:lnTo>
                    <a:close/>
                    <a:moveTo>
                      <a:pt x="9672" y="5081"/>
                    </a:moveTo>
                    <a:cubicBezTo>
                      <a:pt x="9831" y="5551"/>
                      <a:pt x="9831" y="5551"/>
                      <a:pt x="9831" y="5551"/>
                    </a:cubicBezTo>
                    <a:cubicBezTo>
                      <a:pt x="9957" y="5512"/>
                      <a:pt x="9957" y="5512"/>
                      <a:pt x="9957" y="5512"/>
                    </a:cubicBezTo>
                    <a:cubicBezTo>
                      <a:pt x="9826" y="5106"/>
                      <a:pt x="9826" y="5106"/>
                      <a:pt x="9826" y="5106"/>
                    </a:cubicBezTo>
                    <a:cubicBezTo>
                      <a:pt x="9832" y="5104"/>
                      <a:pt x="9832" y="5104"/>
                      <a:pt x="9832" y="5104"/>
                    </a:cubicBezTo>
                    <a:cubicBezTo>
                      <a:pt x="9775" y="5102"/>
                      <a:pt x="9721" y="5093"/>
                      <a:pt x="9672" y="5081"/>
                    </a:cubicBezTo>
                    <a:close/>
                    <a:moveTo>
                      <a:pt x="9399" y="5309"/>
                    </a:moveTo>
                    <a:cubicBezTo>
                      <a:pt x="9399" y="5309"/>
                      <a:pt x="9398" y="5309"/>
                      <a:pt x="9398" y="5309"/>
                    </a:cubicBezTo>
                    <a:cubicBezTo>
                      <a:pt x="9365" y="5386"/>
                      <a:pt x="9331" y="5462"/>
                      <a:pt x="9305" y="5519"/>
                    </a:cubicBezTo>
                    <a:cubicBezTo>
                      <a:pt x="9292" y="5548"/>
                      <a:pt x="9280" y="5572"/>
                      <a:pt x="9272" y="5588"/>
                    </a:cubicBezTo>
                    <a:cubicBezTo>
                      <a:pt x="9270" y="5594"/>
                      <a:pt x="9267" y="5598"/>
                      <a:pt x="9265" y="5601"/>
                    </a:cubicBezTo>
                    <a:cubicBezTo>
                      <a:pt x="9270" y="5601"/>
                      <a:pt x="9385" y="5597"/>
                      <a:pt x="9498" y="5594"/>
                    </a:cubicBezTo>
                    <a:lnTo>
                      <a:pt x="9399" y="5309"/>
                    </a:lnTo>
                    <a:close/>
                    <a:moveTo>
                      <a:pt x="9578" y="6061"/>
                    </a:moveTo>
                    <a:cubicBezTo>
                      <a:pt x="9708" y="6020"/>
                      <a:pt x="9708" y="6020"/>
                      <a:pt x="9708" y="6020"/>
                    </a:cubicBezTo>
                    <a:cubicBezTo>
                      <a:pt x="9668" y="5899"/>
                      <a:pt x="9668" y="5899"/>
                      <a:pt x="9668" y="5899"/>
                    </a:cubicBezTo>
                    <a:cubicBezTo>
                      <a:pt x="9537" y="5941"/>
                      <a:pt x="9537" y="5941"/>
                      <a:pt x="9537" y="5941"/>
                    </a:cubicBezTo>
                    <a:lnTo>
                      <a:pt x="9578" y="6061"/>
                    </a:lnTo>
                    <a:close/>
                    <a:moveTo>
                      <a:pt x="9582" y="6073"/>
                    </a:moveTo>
                    <a:cubicBezTo>
                      <a:pt x="9590" y="6095"/>
                      <a:pt x="9590" y="6095"/>
                      <a:pt x="9590" y="6095"/>
                    </a:cubicBezTo>
                    <a:cubicBezTo>
                      <a:pt x="9632" y="6082"/>
                      <a:pt x="9675" y="6068"/>
                      <a:pt x="9719" y="6054"/>
                    </a:cubicBezTo>
                    <a:cubicBezTo>
                      <a:pt x="9712" y="6033"/>
                      <a:pt x="9712" y="6033"/>
                      <a:pt x="9712" y="6033"/>
                    </a:cubicBezTo>
                    <a:lnTo>
                      <a:pt x="9582" y="6073"/>
                    </a:lnTo>
                    <a:close/>
                    <a:moveTo>
                      <a:pt x="9721" y="6016"/>
                    </a:moveTo>
                    <a:cubicBezTo>
                      <a:pt x="9852" y="5975"/>
                      <a:pt x="9852" y="5975"/>
                      <a:pt x="9852" y="5975"/>
                    </a:cubicBezTo>
                    <a:cubicBezTo>
                      <a:pt x="9842" y="5946"/>
                      <a:pt x="9827" y="5902"/>
                      <a:pt x="9810" y="5854"/>
                    </a:cubicBezTo>
                    <a:cubicBezTo>
                      <a:pt x="9681" y="5895"/>
                      <a:pt x="9681" y="5895"/>
                      <a:pt x="9681" y="5895"/>
                    </a:cubicBezTo>
                    <a:lnTo>
                      <a:pt x="9721" y="6016"/>
                    </a:lnTo>
                    <a:close/>
                    <a:moveTo>
                      <a:pt x="9725" y="6028"/>
                    </a:moveTo>
                    <a:cubicBezTo>
                      <a:pt x="9732" y="6049"/>
                      <a:pt x="9732" y="6049"/>
                      <a:pt x="9732" y="6049"/>
                    </a:cubicBezTo>
                    <a:cubicBezTo>
                      <a:pt x="9775" y="6035"/>
                      <a:pt x="9819" y="6021"/>
                      <a:pt x="9863" y="6007"/>
                    </a:cubicBezTo>
                    <a:cubicBezTo>
                      <a:pt x="9862" y="6005"/>
                      <a:pt x="9859" y="5998"/>
                      <a:pt x="9856" y="5987"/>
                    </a:cubicBezTo>
                    <a:lnTo>
                      <a:pt x="9725" y="6028"/>
                    </a:lnTo>
                    <a:close/>
                    <a:moveTo>
                      <a:pt x="9865" y="5971"/>
                    </a:moveTo>
                    <a:cubicBezTo>
                      <a:pt x="10007" y="5926"/>
                      <a:pt x="10007" y="5926"/>
                      <a:pt x="10007" y="5926"/>
                    </a:cubicBezTo>
                    <a:cubicBezTo>
                      <a:pt x="9997" y="5898"/>
                      <a:pt x="9982" y="5854"/>
                      <a:pt x="9965" y="5805"/>
                    </a:cubicBezTo>
                    <a:cubicBezTo>
                      <a:pt x="9824" y="5850"/>
                      <a:pt x="9824" y="5850"/>
                      <a:pt x="9824" y="5850"/>
                    </a:cubicBezTo>
                    <a:cubicBezTo>
                      <a:pt x="9840" y="5898"/>
                      <a:pt x="9855" y="5942"/>
                      <a:pt x="9865" y="5971"/>
                    </a:cubicBezTo>
                    <a:close/>
                    <a:moveTo>
                      <a:pt x="9869" y="5983"/>
                    </a:moveTo>
                    <a:cubicBezTo>
                      <a:pt x="9873" y="5995"/>
                      <a:pt x="9875" y="6002"/>
                      <a:pt x="9876" y="6003"/>
                    </a:cubicBezTo>
                    <a:cubicBezTo>
                      <a:pt x="10014" y="5958"/>
                      <a:pt x="10157" y="5912"/>
                      <a:pt x="10294" y="5868"/>
                    </a:cubicBezTo>
                    <a:cubicBezTo>
                      <a:pt x="10293" y="5866"/>
                      <a:pt x="10291" y="5860"/>
                      <a:pt x="10288" y="5851"/>
                    </a:cubicBezTo>
                    <a:cubicBezTo>
                      <a:pt x="10167" y="5889"/>
                      <a:pt x="10167" y="5889"/>
                      <a:pt x="10167" y="5889"/>
                    </a:cubicBezTo>
                    <a:cubicBezTo>
                      <a:pt x="10170" y="5897"/>
                      <a:pt x="10172" y="5902"/>
                      <a:pt x="10172" y="5902"/>
                    </a:cubicBezTo>
                    <a:cubicBezTo>
                      <a:pt x="10158" y="5906"/>
                      <a:pt x="10158" y="5906"/>
                      <a:pt x="10158" y="5906"/>
                    </a:cubicBezTo>
                    <a:cubicBezTo>
                      <a:pt x="10158" y="5906"/>
                      <a:pt x="10158" y="5906"/>
                      <a:pt x="10158" y="5906"/>
                    </a:cubicBezTo>
                    <a:cubicBezTo>
                      <a:pt x="10158" y="5906"/>
                      <a:pt x="10157" y="5902"/>
                      <a:pt x="10154" y="5893"/>
                    </a:cubicBezTo>
                    <a:cubicBezTo>
                      <a:pt x="10024" y="5934"/>
                      <a:pt x="10024" y="5934"/>
                      <a:pt x="10024" y="5934"/>
                    </a:cubicBezTo>
                    <a:cubicBezTo>
                      <a:pt x="10028" y="5945"/>
                      <a:pt x="10030" y="5951"/>
                      <a:pt x="10030" y="5951"/>
                    </a:cubicBezTo>
                    <a:cubicBezTo>
                      <a:pt x="10017" y="5956"/>
                      <a:pt x="10017" y="5956"/>
                      <a:pt x="10017" y="5956"/>
                    </a:cubicBezTo>
                    <a:cubicBezTo>
                      <a:pt x="10017" y="5956"/>
                      <a:pt x="10017" y="5956"/>
                      <a:pt x="10017" y="5956"/>
                    </a:cubicBezTo>
                    <a:cubicBezTo>
                      <a:pt x="10017" y="5956"/>
                      <a:pt x="10015" y="5949"/>
                      <a:pt x="10011" y="5938"/>
                    </a:cubicBezTo>
                    <a:lnTo>
                      <a:pt x="9869" y="5983"/>
                    </a:lnTo>
                    <a:close/>
                    <a:moveTo>
                      <a:pt x="10297" y="5835"/>
                    </a:moveTo>
                    <a:cubicBezTo>
                      <a:pt x="10443" y="5789"/>
                      <a:pt x="10443" y="5789"/>
                      <a:pt x="10443" y="5789"/>
                    </a:cubicBezTo>
                    <a:cubicBezTo>
                      <a:pt x="10434" y="5760"/>
                      <a:pt x="10418" y="5716"/>
                      <a:pt x="10402" y="5667"/>
                    </a:cubicBezTo>
                    <a:cubicBezTo>
                      <a:pt x="10255" y="5713"/>
                      <a:pt x="10255" y="5713"/>
                      <a:pt x="10255" y="5713"/>
                    </a:cubicBezTo>
                    <a:cubicBezTo>
                      <a:pt x="10272" y="5762"/>
                      <a:pt x="10287" y="5807"/>
                      <a:pt x="10297" y="5835"/>
                    </a:cubicBezTo>
                    <a:close/>
                    <a:moveTo>
                      <a:pt x="10301" y="5847"/>
                    </a:moveTo>
                    <a:cubicBezTo>
                      <a:pt x="10304" y="5857"/>
                      <a:pt x="10306" y="5862"/>
                      <a:pt x="10307" y="5864"/>
                    </a:cubicBezTo>
                    <a:cubicBezTo>
                      <a:pt x="10356" y="5848"/>
                      <a:pt x="10405" y="5832"/>
                      <a:pt x="10453" y="5817"/>
                    </a:cubicBezTo>
                    <a:cubicBezTo>
                      <a:pt x="10452" y="5814"/>
                      <a:pt x="10450" y="5808"/>
                      <a:pt x="10448" y="5801"/>
                    </a:cubicBezTo>
                    <a:lnTo>
                      <a:pt x="10301" y="5847"/>
                    </a:lnTo>
                    <a:close/>
                    <a:moveTo>
                      <a:pt x="10457" y="5784"/>
                    </a:moveTo>
                    <a:cubicBezTo>
                      <a:pt x="10583" y="5744"/>
                      <a:pt x="10583" y="5744"/>
                      <a:pt x="10583" y="5744"/>
                    </a:cubicBezTo>
                    <a:cubicBezTo>
                      <a:pt x="10573" y="5713"/>
                      <a:pt x="10558" y="5669"/>
                      <a:pt x="10542" y="5622"/>
                    </a:cubicBezTo>
                    <a:cubicBezTo>
                      <a:pt x="10415" y="5662"/>
                      <a:pt x="10415" y="5662"/>
                      <a:pt x="10415" y="5662"/>
                    </a:cubicBezTo>
                    <a:cubicBezTo>
                      <a:pt x="10432" y="5712"/>
                      <a:pt x="10447" y="5756"/>
                      <a:pt x="10457" y="5784"/>
                    </a:cubicBezTo>
                    <a:close/>
                    <a:moveTo>
                      <a:pt x="10461" y="5797"/>
                    </a:moveTo>
                    <a:cubicBezTo>
                      <a:pt x="10464" y="5804"/>
                      <a:pt x="10465" y="5809"/>
                      <a:pt x="10466" y="5812"/>
                    </a:cubicBezTo>
                    <a:cubicBezTo>
                      <a:pt x="10510" y="5798"/>
                      <a:pt x="10552" y="5785"/>
                      <a:pt x="10593" y="5772"/>
                    </a:cubicBezTo>
                    <a:cubicBezTo>
                      <a:pt x="10591" y="5767"/>
                      <a:pt x="10590" y="5762"/>
                      <a:pt x="10588" y="5757"/>
                    </a:cubicBezTo>
                    <a:lnTo>
                      <a:pt x="10461" y="5797"/>
                    </a:lnTo>
                    <a:close/>
                    <a:moveTo>
                      <a:pt x="10597" y="5740"/>
                    </a:moveTo>
                    <a:cubicBezTo>
                      <a:pt x="10721" y="5701"/>
                      <a:pt x="10721" y="5701"/>
                      <a:pt x="10721" y="5701"/>
                    </a:cubicBezTo>
                    <a:cubicBezTo>
                      <a:pt x="10711" y="5671"/>
                      <a:pt x="10696" y="5627"/>
                      <a:pt x="10679" y="5579"/>
                    </a:cubicBezTo>
                    <a:cubicBezTo>
                      <a:pt x="10555" y="5618"/>
                      <a:pt x="10555" y="5618"/>
                      <a:pt x="10555" y="5618"/>
                    </a:cubicBezTo>
                    <a:cubicBezTo>
                      <a:pt x="10571" y="5665"/>
                      <a:pt x="10586" y="5709"/>
                      <a:pt x="10597" y="5740"/>
                    </a:cubicBezTo>
                    <a:close/>
                    <a:moveTo>
                      <a:pt x="10601" y="5753"/>
                    </a:moveTo>
                    <a:cubicBezTo>
                      <a:pt x="10603" y="5758"/>
                      <a:pt x="10605" y="5763"/>
                      <a:pt x="10606" y="5767"/>
                    </a:cubicBezTo>
                    <a:cubicBezTo>
                      <a:pt x="10649" y="5753"/>
                      <a:pt x="10691" y="5740"/>
                      <a:pt x="10730" y="5727"/>
                    </a:cubicBezTo>
                    <a:cubicBezTo>
                      <a:pt x="10729" y="5724"/>
                      <a:pt x="10727" y="5719"/>
                      <a:pt x="10725" y="5714"/>
                    </a:cubicBezTo>
                    <a:lnTo>
                      <a:pt x="10601" y="5753"/>
                    </a:lnTo>
                    <a:close/>
                    <a:moveTo>
                      <a:pt x="10734" y="5697"/>
                    </a:moveTo>
                    <a:cubicBezTo>
                      <a:pt x="10845" y="5662"/>
                      <a:pt x="10845" y="5662"/>
                      <a:pt x="10845" y="5662"/>
                    </a:cubicBezTo>
                    <a:cubicBezTo>
                      <a:pt x="10807" y="5538"/>
                      <a:pt x="10807" y="5538"/>
                      <a:pt x="10807" y="5538"/>
                    </a:cubicBezTo>
                    <a:cubicBezTo>
                      <a:pt x="10693" y="5574"/>
                      <a:pt x="10693" y="5574"/>
                      <a:pt x="10693" y="5574"/>
                    </a:cubicBezTo>
                    <a:cubicBezTo>
                      <a:pt x="10709" y="5622"/>
                      <a:pt x="10724" y="5667"/>
                      <a:pt x="10734" y="5697"/>
                    </a:cubicBezTo>
                    <a:close/>
                    <a:moveTo>
                      <a:pt x="10739" y="5709"/>
                    </a:moveTo>
                    <a:cubicBezTo>
                      <a:pt x="10740" y="5715"/>
                      <a:pt x="10742" y="5719"/>
                      <a:pt x="10743" y="5723"/>
                    </a:cubicBezTo>
                    <a:cubicBezTo>
                      <a:pt x="10791" y="5708"/>
                      <a:pt x="10835" y="5694"/>
                      <a:pt x="10875" y="5681"/>
                    </a:cubicBezTo>
                    <a:cubicBezTo>
                      <a:pt x="10868" y="5662"/>
                      <a:pt x="10838" y="5575"/>
                      <a:pt x="10808" y="5486"/>
                    </a:cubicBezTo>
                    <a:cubicBezTo>
                      <a:pt x="10791" y="5436"/>
                      <a:pt x="10774" y="5385"/>
                      <a:pt x="10762" y="5347"/>
                    </a:cubicBezTo>
                    <a:cubicBezTo>
                      <a:pt x="10751" y="5313"/>
                      <a:pt x="10743" y="5291"/>
                      <a:pt x="10741" y="5281"/>
                    </a:cubicBezTo>
                    <a:cubicBezTo>
                      <a:pt x="10326" y="5411"/>
                      <a:pt x="10326" y="5411"/>
                      <a:pt x="10326" y="5411"/>
                    </a:cubicBezTo>
                    <a:cubicBezTo>
                      <a:pt x="10325" y="5411"/>
                      <a:pt x="10325" y="5411"/>
                      <a:pt x="10325" y="5411"/>
                    </a:cubicBezTo>
                    <a:cubicBezTo>
                      <a:pt x="10329" y="5417"/>
                      <a:pt x="10329" y="5417"/>
                      <a:pt x="10329" y="5417"/>
                    </a:cubicBezTo>
                    <a:cubicBezTo>
                      <a:pt x="10325" y="5411"/>
                      <a:pt x="10325" y="5411"/>
                      <a:pt x="10325" y="5411"/>
                    </a:cubicBezTo>
                    <a:cubicBezTo>
                      <a:pt x="10332" y="5413"/>
                      <a:pt x="10332" y="5413"/>
                      <a:pt x="10332" y="5413"/>
                    </a:cubicBezTo>
                    <a:cubicBezTo>
                      <a:pt x="10326" y="5412"/>
                      <a:pt x="10326" y="5412"/>
                      <a:pt x="10326" y="5412"/>
                    </a:cubicBezTo>
                    <a:cubicBezTo>
                      <a:pt x="10330" y="5412"/>
                      <a:pt x="10330" y="5412"/>
                      <a:pt x="10330" y="5412"/>
                    </a:cubicBezTo>
                    <a:cubicBezTo>
                      <a:pt x="10332" y="5411"/>
                      <a:pt x="10332" y="5411"/>
                      <a:pt x="10332" y="5411"/>
                    </a:cubicBezTo>
                    <a:cubicBezTo>
                      <a:pt x="10334" y="5421"/>
                      <a:pt x="10368" y="5523"/>
                      <a:pt x="10401" y="5622"/>
                    </a:cubicBezTo>
                    <a:cubicBezTo>
                      <a:pt x="10404" y="5631"/>
                      <a:pt x="10408" y="5641"/>
                      <a:pt x="10411" y="5650"/>
                    </a:cubicBezTo>
                    <a:cubicBezTo>
                      <a:pt x="10538" y="5610"/>
                      <a:pt x="10538" y="5610"/>
                      <a:pt x="10538" y="5610"/>
                    </a:cubicBezTo>
                    <a:cubicBezTo>
                      <a:pt x="10535" y="5603"/>
                      <a:pt x="10533" y="5597"/>
                      <a:pt x="10531" y="5591"/>
                    </a:cubicBezTo>
                    <a:cubicBezTo>
                      <a:pt x="10514" y="5540"/>
                      <a:pt x="10497" y="5490"/>
                      <a:pt x="10484" y="5451"/>
                    </a:cubicBezTo>
                    <a:cubicBezTo>
                      <a:pt x="10472" y="5412"/>
                      <a:pt x="10463" y="5388"/>
                      <a:pt x="10463" y="5381"/>
                    </a:cubicBezTo>
                    <a:cubicBezTo>
                      <a:pt x="10463" y="5380"/>
                      <a:pt x="10463" y="5380"/>
                      <a:pt x="10463" y="5379"/>
                    </a:cubicBezTo>
                    <a:cubicBezTo>
                      <a:pt x="10463" y="5379"/>
                      <a:pt x="10463" y="5379"/>
                      <a:pt x="10464" y="5377"/>
                    </a:cubicBezTo>
                    <a:cubicBezTo>
                      <a:pt x="10464" y="5377"/>
                      <a:pt x="10464" y="5376"/>
                      <a:pt x="10466" y="5375"/>
                    </a:cubicBezTo>
                    <a:cubicBezTo>
                      <a:pt x="10468" y="5373"/>
                      <a:pt x="10474" y="5374"/>
                      <a:pt x="10475" y="5376"/>
                    </a:cubicBezTo>
                    <a:cubicBezTo>
                      <a:pt x="10470" y="5381"/>
                      <a:pt x="10470" y="5381"/>
                      <a:pt x="10470" y="5381"/>
                    </a:cubicBezTo>
                    <a:cubicBezTo>
                      <a:pt x="10470" y="5381"/>
                      <a:pt x="10470" y="5381"/>
                      <a:pt x="10470" y="5381"/>
                    </a:cubicBezTo>
                    <a:cubicBezTo>
                      <a:pt x="10477" y="5382"/>
                      <a:pt x="10477" y="5382"/>
                      <a:pt x="10477" y="5382"/>
                    </a:cubicBezTo>
                    <a:cubicBezTo>
                      <a:pt x="10471" y="5381"/>
                      <a:pt x="10471" y="5381"/>
                      <a:pt x="10471" y="5381"/>
                    </a:cubicBezTo>
                    <a:cubicBezTo>
                      <a:pt x="10475" y="5381"/>
                      <a:pt x="10475" y="5381"/>
                      <a:pt x="10475" y="5381"/>
                    </a:cubicBezTo>
                    <a:cubicBezTo>
                      <a:pt x="10477" y="5380"/>
                      <a:pt x="10477" y="5380"/>
                      <a:pt x="10477" y="5380"/>
                    </a:cubicBezTo>
                    <a:cubicBezTo>
                      <a:pt x="10479" y="5390"/>
                      <a:pt x="10513" y="5493"/>
                      <a:pt x="10546" y="5591"/>
                    </a:cubicBezTo>
                    <a:cubicBezTo>
                      <a:pt x="10548" y="5596"/>
                      <a:pt x="10549" y="5601"/>
                      <a:pt x="10551" y="5606"/>
                    </a:cubicBezTo>
                    <a:cubicBezTo>
                      <a:pt x="10675" y="5566"/>
                      <a:pt x="10675" y="5566"/>
                      <a:pt x="10675" y="5566"/>
                    </a:cubicBezTo>
                    <a:cubicBezTo>
                      <a:pt x="10672" y="5558"/>
                      <a:pt x="10669" y="5550"/>
                      <a:pt x="10667" y="5541"/>
                    </a:cubicBezTo>
                    <a:cubicBezTo>
                      <a:pt x="10650" y="5491"/>
                      <a:pt x="10633" y="5441"/>
                      <a:pt x="10620" y="5402"/>
                    </a:cubicBezTo>
                    <a:cubicBezTo>
                      <a:pt x="10607" y="5363"/>
                      <a:pt x="10599" y="5338"/>
                      <a:pt x="10598" y="5332"/>
                    </a:cubicBezTo>
                    <a:cubicBezTo>
                      <a:pt x="10598" y="5331"/>
                      <a:pt x="10598" y="5331"/>
                      <a:pt x="10599" y="5330"/>
                    </a:cubicBezTo>
                    <a:cubicBezTo>
                      <a:pt x="10599" y="5330"/>
                      <a:pt x="10599" y="5329"/>
                      <a:pt x="10599" y="5328"/>
                    </a:cubicBezTo>
                    <a:cubicBezTo>
                      <a:pt x="10600" y="5328"/>
                      <a:pt x="10600" y="5327"/>
                      <a:pt x="10602" y="5325"/>
                    </a:cubicBezTo>
                    <a:cubicBezTo>
                      <a:pt x="10604" y="5324"/>
                      <a:pt x="10609" y="5324"/>
                      <a:pt x="10610" y="5326"/>
                    </a:cubicBezTo>
                    <a:cubicBezTo>
                      <a:pt x="10601" y="5336"/>
                      <a:pt x="10601" y="5336"/>
                      <a:pt x="10601" y="5336"/>
                    </a:cubicBezTo>
                    <a:cubicBezTo>
                      <a:pt x="10605" y="5331"/>
                      <a:pt x="10605" y="5331"/>
                      <a:pt x="10605" y="5331"/>
                    </a:cubicBezTo>
                    <a:cubicBezTo>
                      <a:pt x="10609" y="5337"/>
                      <a:pt x="10609" y="5337"/>
                      <a:pt x="10609" y="5337"/>
                    </a:cubicBezTo>
                    <a:cubicBezTo>
                      <a:pt x="10606" y="5331"/>
                      <a:pt x="10606" y="5331"/>
                      <a:pt x="10606" y="5331"/>
                    </a:cubicBezTo>
                    <a:cubicBezTo>
                      <a:pt x="10612" y="5332"/>
                      <a:pt x="10612" y="5332"/>
                      <a:pt x="10612" y="5332"/>
                    </a:cubicBezTo>
                    <a:cubicBezTo>
                      <a:pt x="10606" y="5332"/>
                      <a:pt x="10606" y="5332"/>
                      <a:pt x="10606" y="5332"/>
                    </a:cubicBezTo>
                    <a:cubicBezTo>
                      <a:pt x="10610" y="5332"/>
                      <a:pt x="10610" y="5332"/>
                      <a:pt x="10610" y="5332"/>
                    </a:cubicBezTo>
                    <a:cubicBezTo>
                      <a:pt x="10612" y="5331"/>
                      <a:pt x="10612" y="5331"/>
                      <a:pt x="10612" y="5331"/>
                    </a:cubicBezTo>
                    <a:cubicBezTo>
                      <a:pt x="10614" y="5341"/>
                      <a:pt x="10648" y="5443"/>
                      <a:pt x="10681" y="5541"/>
                    </a:cubicBezTo>
                    <a:cubicBezTo>
                      <a:pt x="10684" y="5548"/>
                      <a:pt x="10686" y="5555"/>
                      <a:pt x="10688" y="5562"/>
                    </a:cubicBezTo>
                    <a:cubicBezTo>
                      <a:pt x="10816" y="5522"/>
                      <a:pt x="10816" y="5522"/>
                      <a:pt x="10816" y="5522"/>
                    </a:cubicBezTo>
                    <a:cubicBezTo>
                      <a:pt x="10818" y="5528"/>
                      <a:pt x="10818" y="5528"/>
                      <a:pt x="10818" y="5528"/>
                    </a:cubicBezTo>
                    <a:cubicBezTo>
                      <a:pt x="10861" y="5671"/>
                      <a:pt x="10861" y="5671"/>
                      <a:pt x="10861" y="5671"/>
                    </a:cubicBezTo>
                    <a:lnTo>
                      <a:pt x="10739" y="5709"/>
                    </a:lnTo>
                    <a:close/>
                    <a:moveTo>
                      <a:pt x="10888" y="5677"/>
                    </a:moveTo>
                    <a:cubicBezTo>
                      <a:pt x="11010" y="5637"/>
                      <a:pt x="11094" y="5610"/>
                      <a:pt x="11115" y="5604"/>
                    </a:cubicBezTo>
                    <a:cubicBezTo>
                      <a:pt x="10977" y="5207"/>
                      <a:pt x="10977" y="5207"/>
                      <a:pt x="10977" y="5207"/>
                    </a:cubicBezTo>
                    <a:cubicBezTo>
                      <a:pt x="10754" y="5277"/>
                      <a:pt x="10754" y="5277"/>
                      <a:pt x="10754" y="5277"/>
                    </a:cubicBezTo>
                    <a:cubicBezTo>
                      <a:pt x="10757" y="5289"/>
                      <a:pt x="10790" y="5389"/>
                      <a:pt x="10823" y="5486"/>
                    </a:cubicBezTo>
                    <a:cubicBezTo>
                      <a:pt x="10853" y="5575"/>
                      <a:pt x="10882" y="5660"/>
                      <a:pt x="10888" y="5677"/>
                    </a:cubicBezTo>
                    <a:close/>
                    <a:moveTo>
                      <a:pt x="11035" y="5174"/>
                    </a:moveTo>
                    <a:cubicBezTo>
                      <a:pt x="11353" y="5072"/>
                      <a:pt x="11353" y="5072"/>
                      <a:pt x="11353" y="5072"/>
                    </a:cubicBezTo>
                    <a:cubicBezTo>
                      <a:pt x="11208" y="4693"/>
                      <a:pt x="11208" y="4693"/>
                      <a:pt x="11208" y="4693"/>
                    </a:cubicBezTo>
                    <a:cubicBezTo>
                      <a:pt x="11109" y="4726"/>
                      <a:pt x="11006" y="4759"/>
                      <a:pt x="10903" y="4793"/>
                    </a:cubicBezTo>
                    <a:lnTo>
                      <a:pt x="11035" y="5174"/>
                    </a:lnTo>
                    <a:close/>
                    <a:moveTo>
                      <a:pt x="11366" y="5068"/>
                    </a:moveTo>
                    <a:cubicBezTo>
                      <a:pt x="11700" y="4962"/>
                      <a:pt x="11700" y="4962"/>
                      <a:pt x="11700" y="4962"/>
                    </a:cubicBezTo>
                    <a:cubicBezTo>
                      <a:pt x="11554" y="4580"/>
                      <a:pt x="11554" y="4580"/>
                      <a:pt x="11554" y="4580"/>
                    </a:cubicBezTo>
                    <a:cubicBezTo>
                      <a:pt x="11456" y="4612"/>
                      <a:pt x="11342" y="4649"/>
                      <a:pt x="11221" y="4689"/>
                    </a:cubicBezTo>
                    <a:lnTo>
                      <a:pt x="11366" y="5068"/>
                    </a:lnTo>
                    <a:close/>
                    <a:moveTo>
                      <a:pt x="11714" y="4958"/>
                    </a:moveTo>
                    <a:cubicBezTo>
                      <a:pt x="12023" y="4859"/>
                      <a:pt x="12023" y="4859"/>
                      <a:pt x="12023" y="4859"/>
                    </a:cubicBezTo>
                    <a:cubicBezTo>
                      <a:pt x="12020" y="4853"/>
                      <a:pt x="12018" y="4847"/>
                      <a:pt x="12015" y="4841"/>
                    </a:cubicBezTo>
                    <a:cubicBezTo>
                      <a:pt x="11942" y="4689"/>
                      <a:pt x="11873" y="4542"/>
                      <a:pt x="11846" y="4484"/>
                    </a:cubicBezTo>
                    <a:cubicBezTo>
                      <a:pt x="11800" y="4499"/>
                      <a:pt x="11699" y="4532"/>
                      <a:pt x="11567" y="4576"/>
                    </a:cubicBezTo>
                    <a:lnTo>
                      <a:pt x="11714" y="4958"/>
                    </a:lnTo>
                    <a:close/>
                    <a:moveTo>
                      <a:pt x="12084" y="4833"/>
                    </a:moveTo>
                    <a:cubicBezTo>
                      <a:pt x="12407" y="4640"/>
                      <a:pt x="12407" y="4640"/>
                      <a:pt x="12407" y="4640"/>
                    </a:cubicBezTo>
                    <a:cubicBezTo>
                      <a:pt x="12458" y="4515"/>
                      <a:pt x="12458" y="4515"/>
                      <a:pt x="12458" y="4515"/>
                    </a:cubicBezTo>
                    <a:cubicBezTo>
                      <a:pt x="12432" y="4500"/>
                      <a:pt x="12358" y="4456"/>
                      <a:pt x="12282" y="4412"/>
                    </a:cubicBezTo>
                    <a:cubicBezTo>
                      <a:pt x="12235" y="4384"/>
                      <a:pt x="12187" y="4357"/>
                      <a:pt x="12151" y="4337"/>
                    </a:cubicBezTo>
                    <a:cubicBezTo>
                      <a:pt x="12134" y="4327"/>
                      <a:pt x="12120" y="4319"/>
                      <a:pt x="12109" y="4313"/>
                    </a:cubicBezTo>
                    <a:cubicBezTo>
                      <a:pt x="12078" y="4342"/>
                      <a:pt x="12053" y="4364"/>
                      <a:pt x="12038" y="4376"/>
                    </a:cubicBezTo>
                    <a:cubicBezTo>
                      <a:pt x="11981" y="4421"/>
                      <a:pt x="11936" y="4447"/>
                      <a:pt x="11907" y="4461"/>
                    </a:cubicBezTo>
                    <a:cubicBezTo>
                      <a:pt x="11937" y="4524"/>
                      <a:pt x="12010" y="4678"/>
                      <a:pt x="12084" y="4833"/>
                    </a:cubicBezTo>
                    <a:close/>
                    <a:moveTo>
                      <a:pt x="12463" y="4502"/>
                    </a:moveTo>
                    <a:cubicBezTo>
                      <a:pt x="12519" y="4362"/>
                      <a:pt x="12519" y="4362"/>
                      <a:pt x="12519" y="4362"/>
                    </a:cubicBezTo>
                    <a:cubicBezTo>
                      <a:pt x="12510" y="4347"/>
                      <a:pt x="12468" y="4283"/>
                      <a:pt x="12426" y="4218"/>
                    </a:cubicBezTo>
                    <a:cubicBezTo>
                      <a:pt x="12401" y="4182"/>
                      <a:pt x="12377" y="4145"/>
                      <a:pt x="12358" y="4117"/>
                    </a:cubicBezTo>
                    <a:cubicBezTo>
                      <a:pt x="12351" y="4108"/>
                      <a:pt x="12345" y="4100"/>
                      <a:pt x="12340" y="4093"/>
                    </a:cubicBezTo>
                    <a:cubicBezTo>
                      <a:pt x="12258" y="4172"/>
                      <a:pt x="12179" y="4248"/>
                      <a:pt x="12120" y="4303"/>
                    </a:cubicBezTo>
                    <a:cubicBezTo>
                      <a:pt x="12196" y="4344"/>
                      <a:pt x="12409" y="4470"/>
                      <a:pt x="12463" y="4502"/>
                    </a:cubicBezTo>
                    <a:close/>
                    <a:moveTo>
                      <a:pt x="12359" y="3983"/>
                    </a:moveTo>
                    <a:cubicBezTo>
                      <a:pt x="12481" y="3864"/>
                      <a:pt x="12595" y="3751"/>
                      <a:pt x="12636" y="3711"/>
                    </a:cubicBezTo>
                    <a:cubicBezTo>
                      <a:pt x="11975" y="3153"/>
                      <a:pt x="11975" y="3153"/>
                      <a:pt x="11975" y="3153"/>
                    </a:cubicBezTo>
                    <a:cubicBezTo>
                      <a:pt x="11968" y="3149"/>
                      <a:pt x="11943" y="3138"/>
                      <a:pt x="11912" y="3138"/>
                    </a:cubicBezTo>
                    <a:cubicBezTo>
                      <a:pt x="11885" y="3138"/>
                      <a:pt x="11854" y="3145"/>
                      <a:pt x="11819" y="3175"/>
                    </a:cubicBezTo>
                    <a:cubicBezTo>
                      <a:pt x="11775" y="3214"/>
                      <a:pt x="11748" y="3235"/>
                      <a:pt x="11729" y="3248"/>
                    </a:cubicBezTo>
                    <a:cubicBezTo>
                      <a:pt x="12334" y="4008"/>
                      <a:pt x="12334" y="4008"/>
                      <a:pt x="12334" y="4008"/>
                    </a:cubicBezTo>
                    <a:cubicBezTo>
                      <a:pt x="12342" y="3999"/>
                      <a:pt x="12350" y="3991"/>
                      <a:pt x="12359" y="3983"/>
                    </a:cubicBezTo>
                    <a:close/>
                    <a:moveTo>
                      <a:pt x="11366" y="2896"/>
                    </a:moveTo>
                    <a:cubicBezTo>
                      <a:pt x="11358" y="2889"/>
                      <a:pt x="11329" y="2865"/>
                      <a:pt x="11283" y="2830"/>
                    </a:cubicBezTo>
                    <a:cubicBezTo>
                      <a:pt x="11228" y="2787"/>
                      <a:pt x="11148" y="2729"/>
                      <a:pt x="11049" y="2664"/>
                    </a:cubicBezTo>
                    <a:cubicBezTo>
                      <a:pt x="10898" y="2565"/>
                      <a:pt x="10742" y="2462"/>
                      <a:pt x="10675" y="2417"/>
                    </a:cubicBezTo>
                    <a:cubicBezTo>
                      <a:pt x="9485" y="4938"/>
                      <a:pt x="9485" y="4938"/>
                      <a:pt x="9485" y="4938"/>
                    </a:cubicBezTo>
                    <a:cubicBezTo>
                      <a:pt x="9529" y="4963"/>
                      <a:pt x="9643" y="5018"/>
                      <a:pt x="9776" y="5034"/>
                    </a:cubicBezTo>
                    <a:cubicBezTo>
                      <a:pt x="9781" y="4995"/>
                      <a:pt x="9811" y="4917"/>
                      <a:pt x="9811" y="4916"/>
                    </a:cubicBezTo>
                    <a:cubicBezTo>
                      <a:pt x="9812" y="4913"/>
                      <a:pt x="9812" y="4913"/>
                      <a:pt x="9812" y="4913"/>
                    </a:cubicBezTo>
                    <a:cubicBezTo>
                      <a:pt x="9975" y="4841"/>
                      <a:pt x="9975" y="4841"/>
                      <a:pt x="9975" y="4841"/>
                    </a:cubicBezTo>
                    <a:cubicBezTo>
                      <a:pt x="9879" y="4520"/>
                      <a:pt x="9879" y="4520"/>
                      <a:pt x="9879" y="4520"/>
                    </a:cubicBezTo>
                    <a:cubicBezTo>
                      <a:pt x="9886" y="4518"/>
                      <a:pt x="9886" y="4518"/>
                      <a:pt x="9886" y="4518"/>
                    </a:cubicBezTo>
                    <a:cubicBezTo>
                      <a:pt x="9886" y="4518"/>
                      <a:pt x="10047" y="4466"/>
                      <a:pt x="10209" y="4413"/>
                    </a:cubicBezTo>
                    <a:cubicBezTo>
                      <a:pt x="10290" y="4386"/>
                      <a:pt x="10371" y="4360"/>
                      <a:pt x="10431" y="4339"/>
                    </a:cubicBezTo>
                    <a:cubicBezTo>
                      <a:pt x="10462" y="4329"/>
                      <a:pt x="10487" y="4320"/>
                      <a:pt x="10504" y="4314"/>
                    </a:cubicBezTo>
                    <a:cubicBezTo>
                      <a:pt x="10513" y="4311"/>
                      <a:pt x="10520" y="4308"/>
                      <a:pt x="10525" y="4306"/>
                    </a:cubicBezTo>
                    <a:cubicBezTo>
                      <a:pt x="10527" y="4305"/>
                      <a:pt x="10528" y="4305"/>
                      <a:pt x="10529" y="4304"/>
                    </a:cubicBezTo>
                    <a:cubicBezTo>
                      <a:pt x="10529" y="4304"/>
                      <a:pt x="10530" y="4304"/>
                      <a:pt x="10530" y="4303"/>
                    </a:cubicBezTo>
                    <a:cubicBezTo>
                      <a:pt x="10531" y="4303"/>
                      <a:pt x="10531" y="4302"/>
                      <a:pt x="10532" y="4302"/>
                    </a:cubicBezTo>
                    <a:cubicBezTo>
                      <a:pt x="10532" y="4302"/>
                      <a:pt x="10532" y="4302"/>
                      <a:pt x="10532" y="4302"/>
                    </a:cubicBezTo>
                    <a:cubicBezTo>
                      <a:pt x="10533" y="4302"/>
                      <a:pt x="10534" y="4302"/>
                      <a:pt x="10535" y="4302"/>
                    </a:cubicBezTo>
                    <a:cubicBezTo>
                      <a:pt x="10536" y="4302"/>
                      <a:pt x="10538" y="4302"/>
                      <a:pt x="10539" y="4304"/>
                    </a:cubicBezTo>
                    <a:cubicBezTo>
                      <a:pt x="10540" y="4304"/>
                      <a:pt x="10541" y="4305"/>
                      <a:pt x="10541" y="4306"/>
                    </a:cubicBezTo>
                    <a:cubicBezTo>
                      <a:pt x="10541" y="4307"/>
                      <a:pt x="10541" y="4307"/>
                      <a:pt x="10541" y="4307"/>
                    </a:cubicBezTo>
                    <a:cubicBezTo>
                      <a:pt x="10545" y="4315"/>
                      <a:pt x="10576" y="4381"/>
                      <a:pt x="10585" y="4400"/>
                    </a:cubicBezTo>
                    <a:cubicBezTo>
                      <a:pt x="10746" y="4369"/>
                      <a:pt x="10746" y="4369"/>
                      <a:pt x="10746" y="4369"/>
                    </a:cubicBezTo>
                    <a:cubicBezTo>
                      <a:pt x="10860" y="4738"/>
                      <a:pt x="10860" y="4738"/>
                      <a:pt x="10860" y="4738"/>
                    </a:cubicBezTo>
                    <a:cubicBezTo>
                      <a:pt x="10916" y="4719"/>
                      <a:pt x="10973" y="4701"/>
                      <a:pt x="11028" y="4683"/>
                    </a:cubicBezTo>
                    <a:cubicBezTo>
                      <a:pt x="11243" y="4613"/>
                      <a:pt x="11449" y="4545"/>
                      <a:pt x="11602" y="4495"/>
                    </a:cubicBezTo>
                    <a:cubicBezTo>
                      <a:pt x="11754" y="4445"/>
                      <a:pt x="11852" y="4413"/>
                      <a:pt x="11853" y="4413"/>
                    </a:cubicBezTo>
                    <a:cubicBezTo>
                      <a:pt x="11852" y="4413"/>
                      <a:pt x="11853" y="4413"/>
                      <a:pt x="11854" y="4412"/>
                    </a:cubicBezTo>
                    <a:cubicBezTo>
                      <a:pt x="11864" y="4409"/>
                      <a:pt x="11918" y="4387"/>
                      <a:pt x="11998" y="4324"/>
                    </a:cubicBezTo>
                    <a:cubicBezTo>
                      <a:pt x="12034" y="4296"/>
                      <a:pt x="12158" y="4179"/>
                      <a:pt x="12286" y="4054"/>
                    </a:cubicBezTo>
                    <a:lnTo>
                      <a:pt x="11366" y="2896"/>
                    </a:lnTo>
                    <a:close/>
                    <a:moveTo>
                      <a:pt x="12531" y="6973"/>
                    </a:moveTo>
                    <a:cubicBezTo>
                      <a:pt x="12725" y="6676"/>
                      <a:pt x="12725" y="6676"/>
                      <a:pt x="12725" y="6676"/>
                    </a:cubicBezTo>
                    <a:cubicBezTo>
                      <a:pt x="12795" y="6476"/>
                      <a:pt x="12795" y="6476"/>
                      <a:pt x="12795" y="6476"/>
                    </a:cubicBezTo>
                    <a:cubicBezTo>
                      <a:pt x="12796" y="6474"/>
                      <a:pt x="12796" y="6474"/>
                      <a:pt x="12796" y="6474"/>
                    </a:cubicBezTo>
                    <a:cubicBezTo>
                      <a:pt x="12796" y="6474"/>
                      <a:pt x="12796" y="6472"/>
                      <a:pt x="12796" y="6470"/>
                    </a:cubicBezTo>
                    <a:cubicBezTo>
                      <a:pt x="12795" y="6464"/>
                      <a:pt x="12797" y="6443"/>
                      <a:pt x="12733" y="6414"/>
                    </a:cubicBezTo>
                    <a:cubicBezTo>
                      <a:pt x="12673" y="6387"/>
                      <a:pt x="12496" y="6281"/>
                      <a:pt x="12329" y="6179"/>
                    </a:cubicBezTo>
                    <a:cubicBezTo>
                      <a:pt x="12162" y="6077"/>
                      <a:pt x="12010" y="5982"/>
                      <a:pt x="12010" y="5982"/>
                    </a:cubicBezTo>
                    <a:cubicBezTo>
                      <a:pt x="12007" y="5980"/>
                      <a:pt x="12007" y="5980"/>
                      <a:pt x="12007" y="5980"/>
                    </a:cubicBezTo>
                    <a:cubicBezTo>
                      <a:pt x="12005" y="5978"/>
                      <a:pt x="12005" y="5978"/>
                      <a:pt x="12005" y="5978"/>
                    </a:cubicBezTo>
                    <a:cubicBezTo>
                      <a:pt x="12004" y="5978"/>
                      <a:pt x="11768" y="5754"/>
                      <a:pt x="11660" y="5630"/>
                    </a:cubicBezTo>
                    <a:cubicBezTo>
                      <a:pt x="11003" y="5814"/>
                      <a:pt x="11003" y="5814"/>
                      <a:pt x="11003" y="5814"/>
                    </a:cubicBezTo>
                    <a:cubicBezTo>
                      <a:pt x="9698" y="6242"/>
                      <a:pt x="9698" y="6242"/>
                      <a:pt x="9698" y="6242"/>
                    </a:cubicBezTo>
                    <a:cubicBezTo>
                      <a:pt x="8965" y="6491"/>
                      <a:pt x="8965" y="6491"/>
                      <a:pt x="8965" y="6491"/>
                    </a:cubicBezTo>
                    <a:cubicBezTo>
                      <a:pt x="8990" y="6492"/>
                      <a:pt x="9017" y="6493"/>
                      <a:pt x="9045" y="6493"/>
                    </a:cubicBezTo>
                    <a:cubicBezTo>
                      <a:pt x="9210" y="6498"/>
                      <a:pt x="9419" y="6502"/>
                      <a:pt x="9593" y="6502"/>
                    </a:cubicBezTo>
                    <a:cubicBezTo>
                      <a:pt x="9651" y="6502"/>
                      <a:pt x="9705" y="6502"/>
                      <a:pt x="9752" y="6501"/>
                    </a:cubicBezTo>
                    <a:cubicBezTo>
                      <a:pt x="9758" y="6500"/>
                      <a:pt x="9763" y="6500"/>
                      <a:pt x="9768" y="6500"/>
                    </a:cubicBezTo>
                    <a:cubicBezTo>
                      <a:pt x="9937" y="6500"/>
                      <a:pt x="10035" y="6570"/>
                      <a:pt x="10085" y="6641"/>
                    </a:cubicBezTo>
                    <a:cubicBezTo>
                      <a:pt x="10135" y="6712"/>
                      <a:pt x="10141" y="6781"/>
                      <a:pt x="10141" y="6784"/>
                    </a:cubicBezTo>
                    <a:cubicBezTo>
                      <a:pt x="10141" y="6785"/>
                      <a:pt x="10141" y="6785"/>
                      <a:pt x="10141" y="6785"/>
                    </a:cubicBezTo>
                    <a:cubicBezTo>
                      <a:pt x="10141" y="6786"/>
                      <a:pt x="10141" y="6786"/>
                      <a:pt x="10141" y="6786"/>
                    </a:cubicBezTo>
                    <a:cubicBezTo>
                      <a:pt x="10141" y="6786"/>
                      <a:pt x="10148" y="7487"/>
                      <a:pt x="10148" y="7835"/>
                    </a:cubicBezTo>
                    <a:cubicBezTo>
                      <a:pt x="10148" y="7893"/>
                      <a:pt x="10148" y="7941"/>
                      <a:pt x="10147" y="7975"/>
                    </a:cubicBezTo>
                    <a:cubicBezTo>
                      <a:pt x="10147" y="7992"/>
                      <a:pt x="10147" y="8005"/>
                      <a:pt x="10146" y="8014"/>
                    </a:cubicBezTo>
                    <a:cubicBezTo>
                      <a:pt x="10146" y="8019"/>
                      <a:pt x="10146" y="8023"/>
                      <a:pt x="10146" y="8026"/>
                    </a:cubicBezTo>
                    <a:cubicBezTo>
                      <a:pt x="10146" y="8028"/>
                      <a:pt x="10145" y="8030"/>
                      <a:pt x="10145" y="8032"/>
                    </a:cubicBezTo>
                    <a:cubicBezTo>
                      <a:pt x="10216" y="8086"/>
                      <a:pt x="10422" y="8243"/>
                      <a:pt x="10553" y="8344"/>
                    </a:cubicBezTo>
                    <a:cubicBezTo>
                      <a:pt x="10710" y="8465"/>
                      <a:pt x="11053" y="8702"/>
                      <a:pt x="11348" y="8914"/>
                    </a:cubicBezTo>
                    <a:cubicBezTo>
                      <a:pt x="11358" y="8922"/>
                      <a:pt x="11368" y="8930"/>
                      <a:pt x="11378" y="8938"/>
                    </a:cubicBezTo>
                    <a:cubicBezTo>
                      <a:pt x="11784" y="8161"/>
                      <a:pt x="11784" y="8161"/>
                      <a:pt x="11784" y="8161"/>
                    </a:cubicBezTo>
                    <a:cubicBezTo>
                      <a:pt x="11784" y="8160"/>
                      <a:pt x="11784" y="8160"/>
                      <a:pt x="11784" y="8160"/>
                    </a:cubicBezTo>
                    <a:cubicBezTo>
                      <a:pt x="11784" y="8160"/>
                      <a:pt x="11785" y="8159"/>
                      <a:pt x="11786" y="8157"/>
                    </a:cubicBezTo>
                    <a:cubicBezTo>
                      <a:pt x="11793" y="8144"/>
                      <a:pt x="11824" y="8080"/>
                      <a:pt x="11824" y="8003"/>
                    </a:cubicBezTo>
                    <a:cubicBezTo>
                      <a:pt x="11822" y="7915"/>
                      <a:pt x="11787" y="7810"/>
                      <a:pt x="11611" y="7728"/>
                    </a:cubicBezTo>
                    <a:cubicBezTo>
                      <a:pt x="11593" y="7720"/>
                      <a:pt x="11593" y="7720"/>
                      <a:pt x="11593" y="7720"/>
                    </a:cubicBezTo>
                    <a:cubicBezTo>
                      <a:pt x="11569" y="7304"/>
                      <a:pt x="11569" y="7304"/>
                      <a:pt x="11569" y="7304"/>
                    </a:cubicBezTo>
                    <a:cubicBezTo>
                      <a:pt x="11570" y="7303"/>
                      <a:pt x="11570" y="7303"/>
                      <a:pt x="11570" y="7303"/>
                    </a:cubicBezTo>
                    <a:cubicBezTo>
                      <a:pt x="11570" y="7301"/>
                      <a:pt x="11572" y="7236"/>
                      <a:pt x="11599" y="7168"/>
                    </a:cubicBezTo>
                    <a:cubicBezTo>
                      <a:pt x="11613" y="7134"/>
                      <a:pt x="11632" y="7099"/>
                      <a:pt x="11663" y="7071"/>
                    </a:cubicBezTo>
                    <a:cubicBezTo>
                      <a:pt x="11693" y="7043"/>
                      <a:pt x="11736" y="7023"/>
                      <a:pt x="11787" y="7024"/>
                    </a:cubicBezTo>
                    <a:cubicBezTo>
                      <a:pt x="11798" y="7023"/>
                      <a:pt x="11810" y="7024"/>
                      <a:pt x="11822" y="7026"/>
                    </a:cubicBezTo>
                    <a:cubicBezTo>
                      <a:pt x="11990" y="7052"/>
                      <a:pt x="12426" y="7131"/>
                      <a:pt x="12572" y="7158"/>
                    </a:cubicBezTo>
                    <a:lnTo>
                      <a:pt x="12531" y="6973"/>
                    </a:lnTo>
                    <a:close/>
                    <a:moveTo>
                      <a:pt x="9139" y="8775"/>
                    </a:moveTo>
                    <a:cubicBezTo>
                      <a:pt x="9139" y="8775"/>
                      <a:pt x="9140" y="8774"/>
                      <a:pt x="9140" y="8773"/>
                    </a:cubicBezTo>
                    <a:cubicBezTo>
                      <a:pt x="9141" y="8772"/>
                      <a:pt x="9144" y="8771"/>
                      <a:pt x="9145" y="8771"/>
                    </a:cubicBezTo>
                    <a:cubicBezTo>
                      <a:pt x="9147" y="8771"/>
                      <a:pt x="9147" y="8772"/>
                      <a:pt x="9148" y="8772"/>
                    </a:cubicBezTo>
                    <a:cubicBezTo>
                      <a:pt x="9512" y="8597"/>
                      <a:pt x="9512" y="8597"/>
                      <a:pt x="9512" y="8597"/>
                    </a:cubicBezTo>
                    <a:cubicBezTo>
                      <a:pt x="9482" y="8030"/>
                      <a:pt x="9482" y="8030"/>
                      <a:pt x="9482" y="8030"/>
                    </a:cubicBezTo>
                    <a:cubicBezTo>
                      <a:pt x="8887" y="7990"/>
                      <a:pt x="8887" y="7990"/>
                      <a:pt x="8887" y="7990"/>
                    </a:cubicBezTo>
                    <a:cubicBezTo>
                      <a:pt x="8879" y="7990"/>
                      <a:pt x="8819" y="7992"/>
                      <a:pt x="8759" y="8020"/>
                    </a:cubicBezTo>
                    <a:cubicBezTo>
                      <a:pt x="8699" y="8050"/>
                      <a:pt x="8640" y="8101"/>
                      <a:pt x="8627" y="8214"/>
                    </a:cubicBezTo>
                    <a:cubicBezTo>
                      <a:pt x="8625" y="8235"/>
                      <a:pt x="8620" y="8442"/>
                      <a:pt x="8616" y="8651"/>
                    </a:cubicBezTo>
                    <a:cubicBezTo>
                      <a:pt x="8665" y="8662"/>
                      <a:pt x="8765" y="8687"/>
                      <a:pt x="8866" y="8712"/>
                    </a:cubicBezTo>
                    <a:cubicBezTo>
                      <a:pt x="8992" y="8743"/>
                      <a:pt x="9116" y="8774"/>
                      <a:pt x="9135" y="8778"/>
                    </a:cubicBezTo>
                    <a:cubicBezTo>
                      <a:pt x="9141" y="8776"/>
                      <a:pt x="9141" y="8776"/>
                      <a:pt x="9141" y="8776"/>
                    </a:cubicBezTo>
                    <a:lnTo>
                      <a:pt x="9139" y="8775"/>
                    </a:lnTo>
                    <a:close/>
                    <a:moveTo>
                      <a:pt x="9526" y="8596"/>
                    </a:moveTo>
                    <a:cubicBezTo>
                      <a:pt x="10130" y="8787"/>
                      <a:pt x="10130" y="8787"/>
                      <a:pt x="10130" y="8787"/>
                    </a:cubicBezTo>
                    <a:cubicBezTo>
                      <a:pt x="10144" y="8764"/>
                      <a:pt x="10210" y="8653"/>
                      <a:pt x="10277" y="8542"/>
                    </a:cubicBezTo>
                    <a:cubicBezTo>
                      <a:pt x="10315" y="8479"/>
                      <a:pt x="10352" y="8416"/>
                      <a:pt x="10381" y="8369"/>
                    </a:cubicBezTo>
                    <a:cubicBezTo>
                      <a:pt x="10394" y="8349"/>
                      <a:pt x="10404" y="8332"/>
                      <a:pt x="10412" y="8319"/>
                    </a:cubicBezTo>
                    <a:cubicBezTo>
                      <a:pt x="10278" y="8216"/>
                      <a:pt x="10124" y="8099"/>
                      <a:pt x="10088" y="8071"/>
                    </a:cubicBezTo>
                    <a:cubicBezTo>
                      <a:pt x="9496" y="8031"/>
                      <a:pt x="9496" y="8031"/>
                      <a:pt x="9496" y="8031"/>
                    </a:cubicBezTo>
                    <a:lnTo>
                      <a:pt x="9526" y="8596"/>
                    </a:lnTo>
                    <a:close/>
                    <a:moveTo>
                      <a:pt x="10142" y="8795"/>
                    </a:moveTo>
                    <a:cubicBezTo>
                      <a:pt x="10494" y="9172"/>
                      <a:pt x="10494" y="9172"/>
                      <a:pt x="10494" y="9172"/>
                    </a:cubicBezTo>
                    <a:cubicBezTo>
                      <a:pt x="10875" y="9334"/>
                      <a:pt x="10875" y="9334"/>
                      <a:pt x="10875" y="9334"/>
                    </a:cubicBezTo>
                    <a:cubicBezTo>
                      <a:pt x="10982" y="9251"/>
                      <a:pt x="11084" y="9171"/>
                      <a:pt x="11166" y="9107"/>
                    </a:cubicBezTo>
                    <a:cubicBezTo>
                      <a:pt x="11224" y="9062"/>
                      <a:pt x="11273" y="9025"/>
                      <a:pt x="11307" y="8998"/>
                    </a:cubicBezTo>
                    <a:cubicBezTo>
                      <a:pt x="11315" y="8992"/>
                      <a:pt x="11322" y="8987"/>
                      <a:pt x="11328" y="8982"/>
                    </a:cubicBezTo>
                    <a:cubicBezTo>
                      <a:pt x="11322" y="8977"/>
                      <a:pt x="11316" y="8972"/>
                      <a:pt x="11309" y="8968"/>
                    </a:cubicBezTo>
                    <a:cubicBezTo>
                      <a:pt x="11016" y="8756"/>
                      <a:pt x="10673" y="8519"/>
                      <a:pt x="10513" y="8396"/>
                    </a:cubicBezTo>
                    <a:cubicBezTo>
                      <a:pt x="10485" y="8375"/>
                      <a:pt x="10455" y="8352"/>
                      <a:pt x="10423" y="8327"/>
                    </a:cubicBezTo>
                    <a:cubicBezTo>
                      <a:pt x="10395" y="8373"/>
                      <a:pt x="10339" y="8465"/>
                      <a:pt x="10285" y="8555"/>
                    </a:cubicBezTo>
                    <a:cubicBezTo>
                      <a:pt x="10220" y="8665"/>
                      <a:pt x="10156" y="8772"/>
                      <a:pt x="10142" y="8795"/>
                    </a:cubicBezTo>
                    <a:close/>
                    <a:moveTo>
                      <a:pt x="8759" y="6550"/>
                    </a:moveTo>
                    <a:cubicBezTo>
                      <a:pt x="8671" y="6562"/>
                      <a:pt x="8671" y="6562"/>
                      <a:pt x="8671" y="6562"/>
                    </a:cubicBezTo>
                    <a:cubicBezTo>
                      <a:pt x="7829" y="6596"/>
                      <a:pt x="7829" y="6596"/>
                      <a:pt x="7829" y="6596"/>
                    </a:cubicBezTo>
                    <a:cubicBezTo>
                      <a:pt x="7813" y="6675"/>
                      <a:pt x="7802" y="6832"/>
                      <a:pt x="7795" y="6969"/>
                    </a:cubicBezTo>
                    <a:cubicBezTo>
                      <a:pt x="7791" y="7041"/>
                      <a:pt x="7788" y="7108"/>
                      <a:pt x="7785" y="7158"/>
                    </a:cubicBezTo>
                    <a:cubicBezTo>
                      <a:pt x="7783" y="7182"/>
                      <a:pt x="7782" y="7203"/>
                      <a:pt x="7780" y="7218"/>
                    </a:cubicBezTo>
                    <a:cubicBezTo>
                      <a:pt x="7780" y="7220"/>
                      <a:pt x="7779" y="7221"/>
                      <a:pt x="7779" y="7223"/>
                    </a:cubicBezTo>
                    <a:cubicBezTo>
                      <a:pt x="7788" y="7230"/>
                      <a:pt x="7802" y="7240"/>
                      <a:pt x="7817" y="7251"/>
                    </a:cubicBezTo>
                    <a:cubicBezTo>
                      <a:pt x="7925" y="7328"/>
                      <a:pt x="8170" y="7499"/>
                      <a:pt x="8388" y="7651"/>
                    </a:cubicBezTo>
                    <a:cubicBezTo>
                      <a:pt x="8606" y="7802"/>
                      <a:pt x="8796" y="7934"/>
                      <a:pt x="8797" y="7935"/>
                    </a:cubicBezTo>
                    <a:cubicBezTo>
                      <a:pt x="8794" y="7938"/>
                      <a:pt x="8794" y="7938"/>
                      <a:pt x="8794" y="7938"/>
                    </a:cubicBezTo>
                    <a:cubicBezTo>
                      <a:pt x="8842" y="7925"/>
                      <a:pt x="8880" y="7925"/>
                      <a:pt x="8887" y="7925"/>
                    </a:cubicBezTo>
                    <a:cubicBezTo>
                      <a:pt x="8889" y="7925"/>
                      <a:pt x="8890" y="7925"/>
                      <a:pt x="8890" y="7925"/>
                    </a:cubicBezTo>
                    <a:cubicBezTo>
                      <a:pt x="10081" y="8005"/>
                      <a:pt x="10081" y="8005"/>
                      <a:pt x="10081" y="8005"/>
                    </a:cubicBezTo>
                    <a:cubicBezTo>
                      <a:pt x="10082" y="7977"/>
                      <a:pt x="10082" y="7914"/>
                      <a:pt x="10082" y="7835"/>
                    </a:cubicBezTo>
                    <a:cubicBezTo>
                      <a:pt x="10082" y="7661"/>
                      <a:pt x="10081" y="7399"/>
                      <a:pt x="10079" y="7180"/>
                    </a:cubicBezTo>
                    <a:cubicBezTo>
                      <a:pt x="10077" y="6972"/>
                      <a:pt x="10076" y="6804"/>
                      <a:pt x="10075" y="6788"/>
                    </a:cubicBezTo>
                    <a:cubicBezTo>
                      <a:pt x="10075" y="6787"/>
                      <a:pt x="10075" y="6785"/>
                      <a:pt x="10074" y="6781"/>
                    </a:cubicBezTo>
                    <a:cubicBezTo>
                      <a:pt x="10071" y="6760"/>
                      <a:pt x="10058" y="6706"/>
                      <a:pt x="10015" y="6658"/>
                    </a:cubicBezTo>
                    <a:cubicBezTo>
                      <a:pt x="9972" y="6611"/>
                      <a:pt x="9901" y="6566"/>
                      <a:pt x="9768" y="6566"/>
                    </a:cubicBezTo>
                    <a:cubicBezTo>
                      <a:pt x="9764" y="6566"/>
                      <a:pt x="9759" y="6566"/>
                      <a:pt x="9754" y="6566"/>
                    </a:cubicBezTo>
                    <a:cubicBezTo>
                      <a:pt x="9706" y="6567"/>
                      <a:pt x="9651" y="6568"/>
                      <a:pt x="9593" y="6568"/>
                    </a:cubicBezTo>
                    <a:cubicBezTo>
                      <a:pt x="9258" y="6568"/>
                      <a:pt x="8801" y="6551"/>
                      <a:pt x="8759" y="6550"/>
                    </a:cubicBezTo>
                    <a:close/>
                    <a:moveTo>
                      <a:pt x="7542" y="8753"/>
                    </a:moveTo>
                    <a:cubicBezTo>
                      <a:pt x="7542" y="8759"/>
                      <a:pt x="7542" y="8759"/>
                      <a:pt x="7542" y="8759"/>
                    </a:cubicBezTo>
                    <a:cubicBezTo>
                      <a:pt x="7545" y="8752"/>
                      <a:pt x="7548" y="8746"/>
                      <a:pt x="7551" y="8740"/>
                    </a:cubicBezTo>
                    <a:cubicBezTo>
                      <a:pt x="7540" y="8727"/>
                      <a:pt x="7499" y="8666"/>
                      <a:pt x="7452" y="8595"/>
                    </a:cubicBezTo>
                    <a:cubicBezTo>
                      <a:pt x="7451" y="8684"/>
                      <a:pt x="7451" y="8684"/>
                      <a:pt x="7451" y="8684"/>
                    </a:cubicBezTo>
                    <a:cubicBezTo>
                      <a:pt x="7329" y="8684"/>
                      <a:pt x="7329" y="8684"/>
                      <a:pt x="7329" y="8684"/>
                    </a:cubicBezTo>
                    <a:cubicBezTo>
                      <a:pt x="7327" y="8502"/>
                      <a:pt x="7327" y="8502"/>
                      <a:pt x="7327" y="8502"/>
                    </a:cubicBezTo>
                    <a:cubicBezTo>
                      <a:pt x="7391" y="8501"/>
                      <a:pt x="7391" y="8501"/>
                      <a:pt x="7391" y="8501"/>
                    </a:cubicBezTo>
                    <a:cubicBezTo>
                      <a:pt x="7346" y="8433"/>
                      <a:pt x="7307" y="8373"/>
                      <a:pt x="7297" y="8357"/>
                    </a:cubicBezTo>
                    <a:cubicBezTo>
                      <a:pt x="7274" y="8363"/>
                      <a:pt x="7185" y="8383"/>
                      <a:pt x="7181" y="8384"/>
                    </a:cubicBezTo>
                    <a:cubicBezTo>
                      <a:pt x="7226" y="8744"/>
                      <a:pt x="7226" y="8744"/>
                      <a:pt x="7226" y="8744"/>
                    </a:cubicBezTo>
                    <a:lnTo>
                      <a:pt x="7542" y="8753"/>
                    </a:lnTo>
                    <a:close/>
                    <a:moveTo>
                      <a:pt x="6502" y="9863"/>
                    </a:moveTo>
                    <a:cubicBezTo>
                      <a:pt x="6502" y="9866"/>
                      <a:pt x="6502" y="9866"/>
                      <a:pt x="6502" y="9866"/>
                    </a:cubicBezTo>
                    <a:cubicBezTo>
                      <a:pt x="6501" y="9863"/>
                      <a:pt x="6501" y="9863"/>
                      <a:pt x="6501" y="9863"/>
                    </a:cubicBezTo>
                    <a:cubicBezTo>
                      <a:pt x="6503" y="9870"/>
                      <a:pt x="6503" y="9870"/>
                      <a:pt x="6503" y="9870"/>
                    </a:cubicBezTo>
                    <a:cubicBezTo>
                      <a:pt x="6506" y="9850"/>
                      <a:pt x="6510" y="9831"/>
                      <a:pt x="6513" y="9815"/>
                    </a:cubicBezTo>
                    <a:cubicBezTo>
                      <a:pt x="6516" y="9799"/>
                      <a:pt x="6519" y="9785"/>
                      <a:pt x="6521" y="9775"/>
                    </a:cubicBezTo>
                    <a:cubicBezTo>
                      <a:pt x="6522" y="9770"/>
                      <a:pt x="6523" y="9766"/>
                      <a:pt x="6523" y="9764"/>
                    </a:cubicBezTo>
                    <a:cubicBezTo>
                      <a:pt x="6523" y="9763"/>
                      <a:pt x="6523" y="9763"/>
                      <a:pt x="6523" y="9763"/>
                    </a:cubicBezTo>
                    <a:cubicBezTo>
                      <a:pt x="6220" y="9493"/>
                      <a:pt x="6220" y="9493"/>
                      <a:pt x="6220" y="9493"/>
                    </a:cubicBezTo>
                    <a:cubicBezTo>
                      <a:pt x="6164" y="9529"/>
                      <a:pt x="6100" y="9537"/>
                      <a:pt x="6058" y="9537"/>
                    </a:cubicBezTo>
                    <a:cubicBezTo>
                      <a:pt x="6056" y="9537"/>
                      <a:pt x="6054" y="9537"/>
                      <a:pt x="6052" y="9537"/>
                    </a:cubicBezTo>
                    <a:cubicBezTo>
                      <a:pt x="6053" y="9577"/>
                      <a:pt x="6054" y="9639"/>
                      <a:pt x="6054" y="9709"/>
                    </a:cubicBezTo>
                    <a:cubicBezTo>
                      <a:pt x="6054" y="9750"/>
                      <a:pt x="6054" y="9795"/>
                      <a:pt x="6053" y="9840"/>
                    </a:cubicBezTo>
                    <a:cubicBezTo>
                      <a:pt x="6241" y="9850"/>
                      <a:pt x="6241" y="9850"/>
                      <a:pt x="6241" y="9850"/>
                    </a:cubicBezTo>
                    <a:cubicBezTo>
                      <a:pt x="6250" y="9845"/>
                      <a:pt x="6294" y="9819"/>
                      <a:pt x="6299" y="9816"/>
                    </a:cubicBezTo>
                    <a:cubicBezTo>
                      <a:pt x="6300" y="9815"/>
                      <a:pt x="6302" y="9815"/>
                      <a:pt x="6302" y="9815"/>
                    </a:cubicBezTo>
                    <a:cubicBezTo>
                      <a:pt x="6302" y="9815"/>
                      <a:pt x="6302" y="9815"/>
                      <a:pt x="6302" y="9815"/>
                    </a:cubicBezTo>
                    <a:cubicBezTo>
                      <a:pt x="6311" y="9816"/>
                      <a:pt x="6355" y="9827"/>
                      <a:pt x="6402" y="9839"/>
                    </a:cubicBezTo>
                    <a:cubicBezTo>
                      <a:pt x="6448" y="9851"/>
                      <a:pt x="6497" y="9863"/>
                      <a:pt x="6502" y="9863"/>
                    </a:cubicBezTo>
                    <a:cubicBezTo>
                      <a:pt x="6502" y="9863"/>
                      <a:pt x="6502" y="9863"/>
                      <a:pt x="6502" y="9863"/>
                    </a:cubicBezTo>
                    <a:close/>
                    <a:moveTo>
                      <a:pt x="4829" y="8647"/>
                    </a:moveTo>
                    <a:cubicBezTo>
                      <a:pt x="4820" y="8905"/>
                      <a:pt x="4820" y="8905"/>
                      <a:pt x="4820" y="8905"/>
                    </a:cubicBezTo>
                    <a:cubicBezTo>
                      <a:pt x="5106" y="8903"/>
                      <a:pt x="5106" y="8903"/>
                      <a:pt x="5106" y="8903"/>
                    </a:cubicBezTo>
                    <a:cubicBezTo>
                      <a:pt x="5129" y="8467"/>
                      <a:pt x="5129" y="8467"/>
                      <a:pt x="5129" y="8467"/>
                    </a:cubicBezTo>
                    <a:cubicBezTo>
                      <a:pt x="5134" y="8465"/>
                      <a:pt x="5134" y="8465"/>
                      <a:pt x="5134" y="8465"/>
                    </a:cubicBezTo>
                    <a:cubicBezTo>
                      <a:pt x="5134" y="8465"/>
                      <a:pt x="5318" y="8410"/>
                      <a:pt x="5491" y="8358"/>
                    </a:cubicBezTo>
                    <a:cubicBezTo>
                      <a:pt x="5491" y="7986"/>
                      <a:pt x="5491" y="7986"/>
                      <a:pt x="5491" y="7986"/>
                    </a:cubicBezTo>
                    <a:cubicBezTo>
                      <a:pt x="5442" y="7642"/>
                      <a:pt x="5442" y="7642"/>
                      <a:pt x="5442" y="7642"/>
                    </a:cubicBezTo>
                    <a:cubicBezTo>
                      <a:pt x="5054" y="7920"/>
                      <a:pt x="5054" y="7920"/>
                      <a:pt x="5054" y="7920"/>
                    </a:cubicBezTo>
                    <a:cubicBezTo>
                      <a:pt x="5053" y="7920"/>
                      <a:pt x="4948" y="7978"/>
                      <a:pt x="4819" y="8050"/>
                    </a:cubicBezTo>
                    <a:cubicBezTo>
                      <a:pt x="4819" y="8053"/>
                      <a:pt x="4828" y="8090"/>
                      <a:pt x="4838" y="8127"/>
                    </a:cubicBezTo>
                    <a:cubicBezTo>
                      <a:pt x="4843" y="8146"/>
                      <a:pt x="4848" y="8165"/>
                      <a:pt x="4852" y="8179"/>
                    </a:cubicBezTo>
                    <a:cubicBezTo>
                      <a:pt x="4854" y="8186"/>
                      <a:pt x="4856" y="8192"/>
                      <a:pt x="4858" y="8196"/>
                    </a:cubicBezTo>
                    <a:cubicBezTo>
                      <a:pt x="4858" y="8198"/>
                      <a:pt x="4859" y="8199"/>
                      <a:pt x="4859" y="8200"/>
                    </a:cubicBezTo>
                    <a:cubicBezTo>
                      <a:pt x="4861" y="8201"/>
                      <a:pt x="4862" y="8203"/>
                      <a:pt x="4862" y="8205"/>
                    </a:cubicBezTo>
                    <a:cubicBezTo>
                      <a:pt x="4861" y="8212"/>
                      <a:pt x="4860" y="8210"/>
                      <a:pt x="4859" y="8211"/>
                    </a:cubicBezTo>
                    <a:cubicBezTo>
                      <a:pt x="4847" y="8222"/>
                      <a:pt x="4701" y="8311"/>
                      <a:pt x="4674" y="8328"/>
                    </a:cubicBezTo>
                    <a:cubicBezTo>
                      <a:pt x="4730" y="8626"/>
                      <a:pt x="4730" y="8626"/>
                      <a:pt x="4730" y="8626"/>
                    </a:cubicBezTo>
                    <a:lnTo>
                      <a:pt x="4829" y="8647"/>
                    </a:lnTo>
                    <a:close/>
                    <a:moveTo>
                      <a:pt x="4424" y="9711"/>
                    </a:moveTo>
                    <a:cubicBezTo>
                      <a:pt x="4424" y="9636"/>
                      <a:pt x="4439" y="9544"/>
                      <a:pt x="4494" y="9337"/>
                    </a:cubicBezTo>
                    <a:cubicBezTo>
                      <a:pt x="4508" y="9286"/>
                      <a:pt x="4513" y="9241"/>
                      <a:pt x="4513" y="9201"/>
                    </a:cubicBezTo>
                    <a:cubicBezTo>
                      <a:pt x="4513" y="9123"/>
                      <a:pt x="4493" y="9066"/>
                      <a:pt x="4474" y="9027"/>
                    </a:cubicBezTo>
                    <a:cubicBezTo>
                      <a:pt x="4467" y="9013"/>
                      <a:pt x="4460" y="9003"/>
                      <a:pt x="4454" y="8994"/>
                    </a:cubicBezTo>
                    <a:cubicBezTo>
                      <a:pt x="4416" y="9021"/>
                      <a:pt x="4355" y="9064"/>
                      <a:pt x="4293" y="9108"/>
                    </a:cubicBezTo>
                    <a:cubicBezTo>
                      <a:pt x="4244" y="9143"/>
                      <a:pt x="4194" y="9178"/>
                      <a:pt x="4156" y="9205"/>
                    </a:cubicBezTo>
                    <a:cubicBezTo>
                      <a:pt x="4138" y="9219"/>
                      <a:pt x="4122" y="9230"/>
                      <a:pt x="4111" y="9238"/>
                    </a:cubicBezTo>
                    <a:cubicBezTo>
                      <a:pt x="4105" y="9242"/>
                      <a:pt x="4101" y="9246"/>
                      <a:pt x="4098" y="9248"/>
                    </a:cubicBezTo>
                    <a:cubicBezTo>
                      <a:pt x="4098" y="9248"/>
                      <a:pt x="4098" y="9248"/>
                      <a:pt x="4098" y="9248"/>
                    </a:cubicBezTo>
                    <a:cubicBezTo>
                      <a:pt x="4096" y="9251"/>
                      <a:pt x="4095" y="9251"/>
                      <a:pt x="4094" y="9253"/>
                    </a:cubicBezTo>
                    <a:cubicBezTo>
                      <a:pt x="4088" y="9261"/>
                      <a:pt x="4074" y="9278"/>
                      <a:pt x="4059" y="9329"/>
                    </a:cubicBezTo>
                    <a:cubicBezTo>
                      <a:pt x="4044" y="9379"/>
                      <a:pt x="4030" y="9460"/>
                      <a:pt x="4028" y="9590"/>
                    </a:cubicBezTo>
                    <a:cubicBezTo>
                      <a:pt x="4028" y="9594"/>
                      <a:pt x="4028" y="9598"/>
                      <a:pt x="4028" y="9602"/>
                    </a:cubicBezTo>
                    <a:cubicBezTo>
                      <a:pt x="4028" y="9743"/>
                      <a:pt x="4062" y="9814"/>
                      <a:pt x="4105" y="9856"/>
                    </a:cubicBezTo>
                    <a:cubicBezTo>
                      <a:pt x="4149" y="9897"/>
                      <a:pt x="4211" y="9913"/>
                      <a:pt x="4279" y="9925"/>
                    </a:cubicBezTo>
                    <a:cubicBezTo>
                      <a:pt x="4324" y="9933"/>
                      <a:pt x="4378" y="9937"/>
                      <a:pt x="4435" y="9938"/>
                    </a:cubicBezTo>
                    <a:cubicBezTo>
                      <a:pt x="4433" y="9921"/>
                      <a:pt x="4432" y="9902"/>
                      <a:pt x="4432" y="9880"/>
                    </a:cubicBezTo>
                    <a:cubicBezTo>
                      <a:pt x="4430" y="9843"/>
                      <a:pt x="4430" y="9802"/>
                      <a:pt x="4427" y="9768"/>
                    </a:cubicBezTo>
                    <a:cubicBezTo>
                      <a:pt x="4425" y="9749"/>
                      <a:pt x="4424" y="9731"/>
                      <a:pt x="4424" y="9711"/>
                    </a:cubicBezTo>
                    <a:close/>
                    <a:moveTo>
                      <a:pt x="3963" y="9602"/>
                    </a:moveTo>
                    <a:cubicBezTo>
                      <a:pt x="3963" y="9598"/>
                      <a:pt x="3963" y="9594"/>
                      <a:pt x="3963" y="9590"/>
                    </a:cubicBezTo>
                    <a:cubicBezTo>
                      <a:pt x="3965" y="9436"/>
                      <a:pt x="3983" y="9344"/>
                      <a:pt x="4003" y="9287"/>
                    </a:cubicBezTo>
                    <a:cubicBezTo>
                      <a:pt x="4013" y="9259"/>
                      <a:pt x="4024" y="9239"/>
                      <a:pt x="4032" y="9226"/>
                    </a:cubicBezTo>
                    <a:cubicBezTo>
                      <a:pt x="4033" y="9225"/>
                      <a:pt x="4034" y="9224"/>
                      <a:pt x="4035" y="9222"/>
                    </a:cubicBezTo>
                    <a:cubicBezTo>
                      <a:pt x="4001" y="9212"/>
                      <a:pt x="3907" y="9183"/>
                      <a:pt x="3812" y="9153"/>
                    </a:cubicBezTo>
                    <a:cubicBezTo>
                      <a:pt x="3753" y="9135"/>
                      <a:pt x="3694" y="9116"/>
                      <a:pt x="3650" y="9102"/>
                    </a:cubicBezTo>
                    <a:cubicBezTo>
                      <a:pt x="3627" y="9095"/>
                      <a:pt x="3609" y="9089"/>
                      <a:pt x="3596" y="9084"/>
                    </a:cubicBezTo>
                    <a:cubicBezTo>
                      <a:pt x="3589" y="9082"/>
                      <a:pt x="3584" y="9081"/>
                      <a:pt x="3581" y="9079"/>
                    </a:cubicBezTo>
                    <a:cubicBezTo>
                      <a:pt x="3581" y="9079"/>
                      <a:pt x="3581" y="9079"/>
                      <a:pt x="3581" y="9079"/>
                    </a:cubicBezTo>
                    <a:cubicBezTo>
                      <a:pt x="3384" y="9406"/>
                      <a:pt x="3384" y="9406"/>
                      <a:pt x="3384" y="9406"/>
                    </a:cubicBezTo>
                    <a:cubicBezTo>
                      <a:pt x="3385" y="9406"/>
                      <a:pt x="3385" y="9406"/>
                      <a:pt x="3385" y="9407"/>
                    </a:cubicBezTo>
                    <a:cubicBezTo>
                      <a:pt x="3387" y="9410"/>
                      <a:pt x="3386" y="9412"/>
                      <a:pt x="3387" y="9414"/>
                    </a:cubicBezTo>
                    <a:cubicBezTo>
                      <a:pt x="3387" y="9414"/>
                      <a:pt x="3387" y="9414"/>
                      <a:pt x="3387" y="9414"/>
                    </a:cubicBezTo>
                    <a:cubicBezTo>
                      <a:pt x="3387" y="9415"/>
                      <a:pt x="3387" y="9416"/>
                      <a:pt x="3387" y="9417"/>
                    </a:cubicBezTo>
                    <a:cubicBezTo>
                      <a:pt x="3387" y="9417"/>
                      <a:pt x="3387" y="9417"/>
                      <a:pt x="3387" y="9418"/>
                    </a:cubicBezTo>
                    <a:cubicBezTo>
                      <a:pt x="3389" y="9434"/>
                      <a:pt x="3401" y="9517"/>
                      <a:pt x="3413" y="9594"/>
                    </a:cubicBezTo>
                    <a:cubicBezTo>
                      <a:pt x="3422" y="9659"/>
                      <a:pt x="3432" y="9722"/>
                      <a:pt x="3435" y="9742"/>
                    </a:cubicBezTo>
                    <a:cubicBezTo>
                      <a:pt x="3693" y="9697"/>
                      <a:pt x="3693" y="9697"/>
                      <a:pt x="3693" y="9697"/>
                    </a:cubicBezTo>
                    <a:cubicBezTo>
                      <a:pt x="3676" y="9371"/>
                      <a:pt x="3676" y="9371"/>
                      <a:pt x="3676" y="9371"/>
                    </a:cubicBezTo>
                    <a:cubicBezTo>
                      <a:pt x="3484" y="9248"/>
                      <a:pt x="3484" y="9248"/>
                      <a:pt x="3484" y="9248"/>
                    </a:cubicBezTo>
                    <a:cubicBezTo>
                      <a:pt x="3491" y="9237"/>
                      <a:pt x="3491" y="9237"/>
                      <a:pt x="3491" y="9237"/>
                    </a:cubicBezTo>
                    <a:cubicBezTo>
                      <a:pt x="3689" y="9364"/>
                      <a:pt x="3689" y="9364"/>
                      <a:pt x="3689" y="9364"/>
                    </a:cubicBezTo>
                    <a:cubicBezTo>
                      <a:pt x="3707" y="9695"/>
                      <a:pt x="3707" y="9695"/>
                      <a:pt x="3707" y="9695"/>
                    </a:cubicBezTo>
                    <a:cubicBezTo>
                      <a:pt x="3964" y="9651"/>
                      <a:pt x="3964" y="9651"/>
                      <a:pt x="3964" y="9651"/>
                    </a:cubicBezTo>
                    <a:cubicBezTo>
                      <a:pt x="3963" y="9635"/>
                      <a:pt x="3962" y="9619"/>
                      <a:pt x="3963" y="9602"/>
                    </a:cubicBezTo>
                    <a:close/>
                    <a:moveTo>
                      <a:pt x="3177" y="9683"/>
                    </a:moveTo>
                    <a:cubicBezTo>
                      <a:pt x="3177" y="9699"/>
                      <a:pt x="3177" y="9714"/>
                      <a:pt x="3177" y="9728"/>
                    </a:cubicBezTo>
                    <a:cubicBezTo>
                      <a:pt x="3194" y="9726"/>
                      <a:pt x="3210" y="9723"/>
                      <a:pt x="3224" y="9721"/>
                    </a:cubicBezTo>
                    <a:cubicBezTo>
                      <a:pt x="3245" y="9719"/>
                      <a:pt x="3262" y="9716"/>
                      <a:pt x="3273" y="9714"/>
                    </a:cubicBezTo>
                    <a:cubicBezTo>
                      <a:pt x="3278" y="9714"/>
                      <a:pt x="3282" y="9713"/>
                      <a:pt x="3285" y="9713"/>
                    </a:cubicBezTo>
                    <a:cubicBezTo>
                      <a:pt x="3284" y="9709"/>
                      <a:pt x="3284" y="9704"/>
                      <a:pt x="3283" y="9697"/>
                    </a:cubicBezTo>
                    <a:cubicBezTo>
                      <a:pt x="3280" y="9670"/>
                      <a:pt x="3276" y="9625"/>
                      <a:pt x="3274" y="9608"/>
                    </a:cubicBezTo>
                    <a:cubicBezTo>
                      <a:pt x="3177" y="9621"/>
                      <a:pt x="3177" y="9621"/>
                      <a:pt x="3177" y="9621"/>
                    </a:cubicBezTo>
                    <a:cubicBezTo>
                      <a:pt x="3177" y="9642"/>
                      <a:pt x="3177" y="9663"/>
                      <a:pt x="3177" y="9683"/>
                    </a:cubicBezTo>
                    <a:close/>
                    <a:moveTo>
                      <a:pt x="3177" y="9786"/>
                    </a:moveTo>
                    <a:cubicBezTo>
                      <a:pt x="3390" y="9750"/>
                      <a:pt x="3390" y="9750"/>
                      <a:pt x="3390" y="9750"/>
                    </a:cubicBezTo>
                    <a:cubicBezTo>
                      <a:pt x="3387" y="9729"/>
                      <a:pt x="3377" y="9662"/>
                      <a:pt x="3367" y="9593"/>
                    </a:cubicBezTo>
                    <a:cubicBezTo>
                      <a:pt x="3361" y="9552"/>
                      <a:pt x="3354" y="9510"/>
                      <a:pt x="3350" y="9478"/>
                    </a:cubicBezTo>
                    <a:cubicBezTo>
                      <a:pt x="3348" y="9465"/>
                      <a:pt x="3346" y="9454"/>
                      <a:pt x="3345" y="9445"/>
                    </a:cubicBezTo>
                    <a:cubicBezTo>
                      <a:pt x="3312" y="9451"/>
                      <a:pt x="3250" y="9459"/>
                      <a:pt x="3175" y="9469"/>
                    </a:cubicBezTo>
                    <a:cubicBezTo>
                      <a:pt x="3176" y="9495"/>
                      <a:pt x="3177" y="9550"/>
                      <a:pt x="3177" y="9608"/>
                    </a:cubicBezTo>
                    <a:cubicBezTo>
                      <a:pt x="3286" y="9593"/>
                      <a:pt x="3286" y="9593"/>
                      <a:pt x="3286" y="9593"/>
                    </a:cubicBezTo>
                    <a:cubicBezTo>
                      <a:pt x="3287" y="9600"/>
                      <a:pt x="3287" y="9600"/>
                      <a:pt x="3287" y="9600"/>
                    </a:cubicBezTo>
                    <a:cubicBezTo>
                      <a:pt x="3287" y="9600"/>
                      <a:pt x="3289" y="9630"/>
                      <a:pt x="3292" y="9659"/>
                    </a:cubicBezTo>
                    <a:cubicBezTo>
                      <a:pt x="3293" y="9674"/>
                      <a:pt x="3295" y="9688"/>
                      <a:pt x="3296" y="9699"/>
                    </a:cubicBezTo>
                    <a:cubicBezTo>
                      <a:pt x="3297" y="9705"/>
                      <a:pt x="3297" y="9709"/>
                      <a:pt x="3298" y="9712"/>
                    </a:cubicBezTo>
                    <a:cubicBezTo>
                      <a:pt x="3298" y="9713"/>
                      <a:pt x="3298" y="9714"/>
                      <a:pt x="3298" y="9715"/>
                    </a:cubicBezTo>
                    <a:cubicBezTo>
                      <a:pt x="3299" y="9715"/>
                      <a:pt x="3299" y="9715"/>
                      <a:pt x="3299" y="9715"/>
                    </a:cubicBezTo>
                    <a:cubicBezTo>
                      <a:pt x="3300" y="9717"/>
                      <a:pt x="3300" y="9718"/>
                      <a:pt x="3299" y="9720"/>
                    </a:cubicBezTo>
                    <a:cubicBezTo>
                      <a:pt x="3300" y="9720"/>
                      <a:pt x="3299" y="9721"/>
                      <a:pt x="3299" y="9722"/>
                    </a:cubicBezTo>
                    <a:cubicBezTo>
                      <a:pt x="3298" y="9723"/>
                      <a:pt x="3298" y="9723"/>
                      <a:pt x="3297" y="9723"/>
                    </a:cubicBezTo>
                    <a:cubicBezTo>
                      <a:pt x="3297" y="9724"/>
                      <a:pt x="3296" y="9724"/>
                      <a:pt x="3295" y="9724"/>
                    </a:cubicBezTo>
                    <a:cubicBezTo>
                      <a:pt x="3295" y="9725"/>
                      <a:pt x="3295" y="9725"/>
                      <a:pt x="3295" y="9725"/>
                    </a:cubicBezTo>
                    <a:cubicBezTo>
                      <a:pt x="3295" y="9725"/>
                      <a:pt x="3295" y="9725"/>
                      <a:pt x="3295" y="9725"/>
                    </a:cubicBezTo>
                    <a:cubicBezTo>
                      <a:pt x="3295" y="9725"/>
                      <a:pt x="3295" y="9725"/>
                      <a:pt x="3295" y="9725"/>
                    </a:cubicBezTo>
                    <a:cubicBezTo>
                      <a:pt x="3294" y="9725"/>
                      <a:pt x="3294" y="9725"/>
                      <a:pt x="3294" y="9725"/>
                    </a:cubicBezTo>
                    <a:cubicBezTo>
                      <a:pt x="3295" y="9725"/>
                      <a:pt x="3295" y="9725"/>
                      <a:pt x="3295" y="9725"/>
                    </a:cubicBezTo>
                    <a:cubicBezTo>
                      <a:pt x="3294" y="9725"/>
                      <a:pt x="3294" y="9725"/>
                      <a:pt x="3294" y="9725"/>
                    </a:cubicBezTo>
                    <a:cubicBezTo>
                      <a:pt x="3287" y="9726"/>
                      <a:pt x="3239" y="9733"/>
                      <a:pt x="3177" y="9741"/>
                    </a:cubicBezTo>
                    <a:cubicBezTo>
                      <a:pt x="3177" y="9759"/>
                      <a:pt x="3177" y="9775"/>
                      <a:pt x="3177" y="9786"/>
                    </a:cubicBezTo>
                    <a:close/>
                    <a:moveTo>
                      <a:pt x="2451" y="9618"/>
                    </a:moveTo>
                    <a:cubicBezTo>
                      <a:pt x="2452" y="9718"/>
                      <a:pt x="2452" y="9718"/>
                      <a:pt x="2452" y="9718"/>
                    </a:cubicBezTo>
                    <a:cubicBezTo>
                      <a:pt x="2557" y="9729"/>
                      <a:pt x="2557" y="9729"/>
                      <a:pt x="2557" y="9729"/>
                    </a:cubicBezTo>
                    <a:cubicBezTo>
                      <a:pt x="2556" y="9626"/>
                      <a:pt x="2556" y="9626"/>
                      <a:pt x="2556" y="9626"/>
                    </a:cubicBezTo>
                    <a:cubicBezTo>
                      <a:pt x="2530" y="9624"/>
                      <a:pt x="2492" y="9621"/>
                      <a:pt x="2451" y="9618"/>
                    </a:cubicBezTo>
                    <a:close/>
                    <a:moveTo>
                      <a:pt x="2556" y="9612"/>
                    </a:moveTo>
                    <a:cubicBezTo>
                      <a:pt x="2555" y="9575"/>
                      <a:pt x="2555" y="9575"/>
                      <a:pt x="2555" y="9575"/>
                    </a:cubicBezTo>
                    <a:cubicBezTo>
                      <a:pt x="2451" y="9577"/>
                      <a:pt x="2451" y="9577"/>
                      <a:pt x="2451" y="9577"/>
                    </a:cubicBezTo>
                    <a:cubicBezTo>
                      <a:pt x="2451" y="9604"/>
                      <a:pt x="2451" y="9604"/>
                      <a:pt x="2451" y="9604"/>
                    </a:cubicBezTo>
                    <a:cubicBezTo>
                      <a:pt x="2492" y="9607"/>
                      <a:pt x="2530" y="9610"/>
                      <a:pt x="2556" y="9612"/>
                    </a:cubicBezTo>
                    <a:close/>
                    <a:moveTo>
                      <a:pt x="2452" y="9732"/>
                    </a:moveTo>
                    <a:cubicBezTo>
                      <a:pt x="2452" y="9840"/>
                      <a:pt x="2452" y="9840"/>
                      <a:pt x="2452" y="9840"/>
                    </a:cubicBezTo>
                    <a:cubicBezTo>
                      <a:pt x="2559" y="9847"/>
                      <a:pt x="2559" y="9847"/>
                      <a:pt x="2559" y="9847"/>
                    </a:cubicBezTo>
                    <a:cubicBezTo>
                      <a:pt x="2557" y="9743"/>
                      <a:pt x="2557" y="9743"/>
                      <a:pt x="2557" y="9743"/>
                    </a:cubicBezTo>
                    <a:lnTo>
                      <a:pt x="2452" y="9732"/>
                    </a:lnTo>
                    <a:close/>
                    <a:moveTo>
                      <a:pt x="2452" y="9854"/>
                    </a:moveTo>
                    <a:cubicBezTo>
                      <a:pt x="2453" y="10013"/>
                      <a:pt x="2453" y="10013"/>
                      <a:pt x="2453" y="10013"/>
                    </a:cubicBezTo>
                    <a:cubicBezTo>
                      <a:pt x="2561" y="10031"/>
                      <a:pt x="2561" y="10031"/>
                      <a:pt x="2561" y="10031"/>
                    </a:cubicBezTo>
                    <a:cubicBezTo>
                      <a:pt x="2559" y="9861"/>
                      <a:pt x="2559" y="9861"/>
                      <a:pt x="2559" y="9861"/>
                    </a:cubicBezTo>
                    <a:lnTo>
                      <a:pt x="2452" y="9854"/>
                    </a:lnTo>
                    <a:close/>
                    <a:moveTo>
                      <a:pt x="2453" y="10028"/>
                    </a:moveTo>
                    <a:cubicBezTo>
                      <a:pt x="2454" y="10141"/>
                      <a:pt x="2454" y="10141"/>
                      <a:pt x="2454" y="10141"/>
                    </a:cubicBezTo>
                    <a:cubicBezTo>
                      <a:pt x="2562" y="10136"/>
                      <a:pt x="2562" y="10136"/>
                      <a:pt x="2562" y="10136"/>
                    </a:cubicBezTo>
                    <a:cubicBezTo>
                      <a:pt x="2561" y="10045"/>
                      <a:pt x="2561" y="10045"/>
                      <a:pt x="2561" y="10045"/>
                    </a:cubicBezTo>
                    <a:lnTo>
                      <a:pt x="2453" y="10028"/>
                    </a:lnTo>
                    <a:close/>
                    <a:moveTo>
                      <a:pt x="2568" y="9561"/>
                    </a:moveTo>
                    <a:cubicBezTo>
                      <a:pt x="2569" y="9568"/>
                      <a:pt x="2569" y="9568"/>
                      <a:pt x="2569" y="9568"/>
                    </a:cubicBezTo>
                    <a:cubicBezTo>
                      <a:pt x="2569" y="9613"/>
                      <a:pt x="2569" y="9613"/>
                      <a:pt x="2569" y="9613"/>
                    </a:cubicBezTo>
                    <a:cubicBezTo>
                      <a:pt x="2570" y="9613"/>
                      <a:pt x="2572" y="9613"/>
                      <a:pt x="2573" y="9613"/>
                    </a:cubicBezTo>
                    <a:cubicBezTo>
                      <a:pt x="2573" y="9592"/>
                      <a:pt x="2572" y="9571"/>
                      <a:pt x="2572" y="9550"/>
                    </a:cubicBezTo>
                    <a:cubicBezTo>
                      <a:pt x="2545" y="9550"/>
                      <a:pt x="2503" y="9548"/>
                      <a:pt x="2457" y="9546"/>
                    </a:cubicBezTo>
                    <a:cubicBezTo>
                      <a:pt x="2379" y="9540"/>
                      <a:pt x="2294" y="9532"/>
                      <a:pt x="2238" y="9510"/>
                    </a:cubicBezTo>
                    <a:cubicBezTo>
                      <a:pt x="2232" y="9588"/>
                      <a:pt x="2232" y="9588"/>
                      <a:pt x="2232" y="9588"/>
                    </a:cubicBezTo>
                    <a:cubicBezTo>
                      <a:pt x="2250" y="9589"/>
                      <a:pt x="2348" y="9596"/>
                      <a:pt x="2438" y="9603"/>
                    </a:cubicBezTo>
                    <a:cubicBezTo>
                      <a:pt x="2438" y="9564"/>
                      <a:pt x="2438" y="9564"/>
                      <a:pt x="2438" y="9564"/>
                    </a:cubicBezTo>
                    <a:lnTo>
                      <a:pt x="2568" y="9561"/>
                    </a:lnTo>
                    <a:close/>
                    <a:moveTo>
                      <a:pt x="2185" y="9983"/>
                    </a:moveTo>
                    <a:cubicBezTo>
                      <a:pt x="2187" y="9969"/>
                      <a:pt x="2187" y="9969"/>
                      <a:pt x="2187" y="9969"/>
                    </a:cubicBezTo>
                    <a:cubicBezTo>
                      <a:pt x="2187" y="9969"/>
                      <a:pt x="2187" y="9969"/>
                      <a:pt x="2187" y="9969"/>
                    </a:cubicBezTo>
                    <a:cubicBezTo>
                      <a:pt x="2224" y="9505"/>
                      <a:pt x="2224" y="9505"/>
                      <a:pt x="2224" y="9505"/>
                    </a:cubicBezTo>
                    <a:cubicBezTo>
                      <a:pt x="2180" y="9483"/>
                      <a:pt x="2130" y="9445"/>
                      <a:pt x="2082" y="9404"/>
                    </a:cubicBezTo>
                    <a:cubicBezTo>
                      <a:pt x="2070" y="9442"/>
                      <a:pt x="2046" y="9520"/>
                      <a:pt x="2023" y="9596"/>
                    </a:cubicBezTo>
                    <a:cubicBezTo>
                      <a:pt x="2007" y="9647"/>
                      <a:pt x="1992" y="9698"/>
                      <a:pt x="1980" y="9736"/>
                    </a:cubicBezTo>
                    <a:cubicBezTo>
                      <a:pt x="1974" y="9755"/>
                      <a:pt x="1969" y="9770"/>
                      <a:pt x="1965" y="9781"/>
                    </a:cubicBezTo>
                    <a:cubicBezTo>
                      <a:pt x="1963" y="9787"/>
                      <a:pt x="1961" y="9791"/>
                      <a:pt x="1960" y="9795"/>
                    </a:cubicBezTo>
                    <a:cubicBezTo>
                      <a:pt x="1959" y="9796"/>
                      <a:pt x="1959" y="9797"/>
                      <a:pt x="1958" y="9798"/>
                    </a:cubicBezTo>
                    <a:cubicBezTo>
                      <a:pt x="1958" y="9799"/>
                      <a:pt x="1958" y="9800"/>
                      <a:pt x="1957" y="9800"/>
                    </a:cubicBezTo>
                    <a:cubicBezTo>
                      <a:pt x="1957" y="9801"/>
                      <a:pt x="1957" y="9802"/>
                      <a:pt x="1954" y="9803"/>
                    </a:cubicBezTo>
                    <a:cubicBezTo>
                      <a:pt x="1952" y="9804"/>
                      <a:pt x="1952" y="9804"/>
                      <a:pt x="1952" y="9804"/>
                    </a:cubicBezTo>
                    <a:cubicBezTo>
                      <a:pt x="1943" y="9810"/>
                      <a:pt x="1913" y="9839"/>
                      <a:pt x="1886" y="9867"/>
                    </a:cubicBezTo>
                    <a:cubicBezTo>
                      <a:pt x="1867" y="9885"/>
                      <a:pt x="1849" y="9903"/>
                      <a:pt x="1838" y="9915"/>
                    </a:cubicBezTo>
                    <a:cubicBezTo>
                      <a:pt x="1850" y="9929"/>
                      <a:pt x="1861" y="9944"/>
                      <a:pt x="1870" y="9962"/>
                    </a:cubicBezTo>
                    <a:cubicBezTo>
                      <a:pt x="1885" y="9992"/>
                      <a:pt x="1895" y="10023"/>
                      <a:pt x="1903" y="10047"/>
                    </a:cubicBezTo>
                    <a:cubicBezTo>
                      <a:pt x="1906" y="10059"/>
                      <a:pt x="1909" y="10069"/>
                      <a:pt x="1911" y="10074"/>
                    </a:cubicBezTo>
                    <a:cubicBezTo>
                      <a:pt x="1912" y="10077"/>
                      <a:pt x="1913" y="10078"/>
                      <a:pt x="1913" y="10078"/>
                    </a:cubicBezTo>
                    <a:cubicBezTo>
                      <a:pt x="2174" y="10126"/>
                      <a:pt x="2174" y="10126"/>
                      <a:pt x="2174" y="10126"/>
                    </a:cubicBezTo>
                    <a:cubicBezTo>
                      <a:pt x="2186" y="9983"/>
                      <a:pt x="2186" y="9983"/>
                      <a:pt x="2186" y="9983"/>
                    </a:cubicBezTo>
                    <a:lnTo>
                      <a:pt x="2185" y="9983"/>
                    </a:lnTo>
                    <a:close/>
                    <a:moveTo>
                      <a:pt x="1346" y="9455"/>
                    </a:moveTo>
                    <a:cubicBezTo>
                      <a:pt x="1346" y="9455"/>
                      <a:pt x="1346" y="9455"/>
                      <a:pt x="1346" y="9455"/>
                    </a:cubicBezTo>
                    <a:cubicBezTo>
                      <a:pt x="1346" y="9455"/>
                      <a:pt x="1292" y="9413"/>
                      <a:pt x="1238" y="9370"/>
                    </a:cubicBezTo>
                    <a:cubicBezTo>
                      <a:pt x="1211" y="9348"/>
                      <a:pt x="1184" y="9326"/>
                      <a:pt x="1164" y="9309"/>
                    </a:cubicBezTo>
                    <a:cubicBezTo>
                      <a:pt x="1154" y="9300"/>
                      <a:pt x="1145" y="9292"/>
                      <a:pt x="1139" y="9286"/>
                    </a:cubicBezTo>
                    <a:cubicBezTo>
                      <a:pt x="1136" y="9284"/>
                      <a:pt x="1134" y="9281"/>
                      <a:pt x="1132" y="9279"/>
                    </a:cubicBezTo>
                    <a:cubicBezTo>
                      <a:pt x="1132" y="9278"/>
                      <a:pt x="1131" y="9278"/>
                      <a:pt x="1131" y="9278"/>
                    </a:cubicBezTo>
                    <a:cubicBezTo>
                      <a:pt x="1121" y="9279"/>
                      <a:pt x="1100" y="9281"/>
                      <a:pt x="1070" y="9283"/>
                    </a:cubicBezTo>
                    <a:cubicBezTo>
                      <a:pt x="1035" y="9286"/>
                      <a:pt x="990" y="9290"/>
                      <a:pt x="944" y="9294"/>
                    </a:cubicBezTo>
                    <a:cubicBezTo>
                      <a:pt x="980" y="9501"/>
                      <a:pt x="980" y="9501"/>
                      <a:pt x="980" y="9501"/>
                    </a:cubicBezTo>
                    <a:cubicBezTo>
                      <a:pt x="978" y="9501"/>
                      <a:pt x="978" y="9501"/>
                      <a:pt x="978" y="9501"/>
                    </a:cubicBezTo>
                    <a:cubicBezTo>
                      <a:pt x="1289" y="9532"/>
                      <a:pt x="1289" y="9532"/>
                      <a:pt x="1289" y="9532"/>
                    </a:cubicBezTo>
                    <a:cubicBezTo>
                      <a:pt x="1298" y="9510"/>
                      <a:pt x="1312" y="9496"/>
                      <a:pt x="1318" y="9490"/>
                    </a:cubicBezTo>
                    <a:cubicBezTo>
                      <a:pt x="1686" y="9038"/>
                      <a:pt x="1686" y="9038"/>
                      <a:pt x="1686" y="9038"/>
                    </a:cubicBezTo>
                    <a:cubicBezTo>
                      <a:pt x="1626" y="8982"/>
                      <a:pt x="1570" y="8929"/>
                      <a:pt x="1537" y="8898"/>
                    </a:cubicBezTo>
                    <a:cubicBezTo>
                      <a:pt x="1497" y="8953"/>
                      <a:pt x="1320" y="9162"/>
                      <a:pt x="1320" y="9162"/>
                    </a:cubicBezTo>
                    <a:cubicBezTo>
                      <a:pt x="1317" y="9166"/>
                      <a:pt x="1317" y="9166"/>
                      <a:pt x="1317" y="9166"/>
                    </a:cubicBezTo>
                    <a:cubicBezTo>
                      <a:pt x="1235" y="9129"/>
                      <a:pt x="1235" y="9129"/>
                      <a:pt x="1235" y="9129"/>
                    </a:cubicBezTo>
                    <a:cubicBezTo>
                      <a:pt x="1228" y="9141"/>
                      <a:pt x="1211" y="9169"/>
                      <a:pt x="1193" y="9198"/>
                    </a:cubicBezTo>
                    <a:cubicBezTo>
                      <a:pt x="1181" y="9216"/>
                      <a:pt x="1169" y="9235"/>
                      <a:pt x="1159" y="9249"/>
                    </a:cubicBezTo>
                    <a:cubicBezTo>
                      <a:pt x="1155" y="9256"/>
                      <a:pt x="1151" y="9263"/>
                      <a:pt x="1147" y="9267"/>
                    </a:cubicBezTo>
                    <a:cubicBezTo>
                      <a:pt x="1146" y="9269"/>
                      <a:pt x="1145" y="9270"/>
                      <a:pt x="1144" y="9271"/>
                    </a:cubicBezTo>
                    <a:cubicBezTo>
                      <a:pt x="1155" y="9284"/>
                      <a:pt x="1205" y="9325"/>
                      <a:pt x="1252" y="9363"/>
                    </a:cubicBezTo>
                    <a:cubicBezTo>
                      <a:pt x="1304" y="9405"/>
                      <a:pt x="1354" y="9444"/>
                      <a:pt x="1354" y="9444"/>
                    </a:cubicBezTo>
                    <a:lnTo>
                      <a:pt x="1346" y="9455"/>
                    </a:lnTo>
                    <a:close/>
                    <a:moveTo>
                      <a:pt x="1165" y="8479"/>
                    </a:moveTo>
                    <a:cubicBezTo>
                      <a:pt x="1171" y="8483"/>
                      <a:pt x="1177" y="8488"/>
                      <a:pt x="1182" y="8493"/>
                    </a:cubicBezTo>
                    <a:cubicBezTo>
                      <a:pt x="1218" y="8523"/>
                      <a:pt x="1248" y="8550"/>
                      <a:pt x="1261" y="8562"/>
                    </a:cubicBezTo>
                    <a:cubicBezTo>
                      <a:pt x="1269" y="8564"/>
                      <a:pt x="1269" y="8564"/>
                      <a:pt x="1269" y="8564"/>
                    </a:cubicBezTo>
                    <a:cubicBezTo>
                      <a:pt x="1269" y="8564"/>
                      <a:pt x="1276" y="8578"/>
                      <a:pt x="1305" y="8602"/>
                    </a:cubicBezTo>
                    <a:cubicBezTo>
                      <a:pt x="1306" y="8603"/>
                      <a:pt x="1308" y="8605"/>
                      <a:pt x="1310" y="8607"/>
                    </a:cubicBezTo>
                    <a:cubicBezTo>
                      <a:pt x="1374" y="8529"/>
                      <a:pt x="1374" y="8529"/>
                      <a:pt x="1374" y="8529"/>
                    </a:cubicBezTo>
                    <a:cubicBezTo>
                      <a:pt x="923" y="8130"/>
                      <a:pt x="923" y="8130"/>
                      <a:pt x="923" y="8130"/>
                    </a:cubicBezTo>
                    <a:cubicBezTo>
                      <a:pt x="905" y="8198"/>
                      <a:pt x="905" y="8198"/>
                      <a:pt x="905" y="8198"/>
                    </a:cubicBezTo>
                    <a:cubicBezTo>
                      <a:pt x="692" y="8113"/>
                      <a:pt x="692" y="8113"/>
                      <a:pt x="692" y="8113"/>
                    </a:cubicBezTo>
                    <a:cubicBezTo>
                      <a:pt x="760" y="7843"/>
                      <a:pt x="760" y="7843"/>
                      <a:pt x="760" y="7843"/>
                    </a:cubicBezTo>
                    <a:cubicBezTo>
                      <a:pt x="604" y="7738"/>
                      <a:pt x="604" y="7738"/>
                      <a:pt x="604" y="7738"/>
                    </a:cubicBezTo>
                    <a:cubicBezTo>
                      <a:pt x="597" y="7750"/>
                      <a:pt x="590" y="7762"/>
                      <a:pt x="583" y="7772"/>
                    </a:cubicBezTo>
                    <a:cubicBezTo>
                      <a:pt x="562" y="7802"/>
                      <a:pt x="470" y="7923"/>
                      <a:pt x="372" y="8051"/>
                    </a:cubicBezTo>
                    <a:cubicBezTo>
                      <a:pt x="372" y="8053"/>
                      <a:pt x="372" y="8055"/>
                      <a:pt x="372" y="8057"/>
                    </a:cubicBezTo>
                    <a:cubicBezTo>
                      <a:pt x="372" y="8100"/>
                      <a:pt x="383" y="8127"/>
                      <a:pt x="403" y="8132"/>
                    </a:cubicBezTo>
                    <a:cubicBezTo>
                      <a:pt x="494" y="8160"/>
                      <a:pt x="759" y="8191"/>
                      <a:pt x="864" y="8238"/>
                    </a:cubicBezTo>
                    <a:cubicBezTo>
                      <a:pt x="906" y="8256"/>
                      <a:pt x="982" y="8296"/>
                      <a:pt x="1048" y="8345"/>
                    </a:cubicBezTo>
                    <a:cubicBezTo>
                      <a:pt x="1101" y="8385"/>
                      <a:pt x="1148" y="8430"/>
                      <a:pt x="1165" y="8479"/>
                    </a:cubicBezTo>
                    <a:close/>
                    <a:moveTo>
                      <a:pt x="1033" y="8365"/>
                    </a:moveTo>
                    <a:cubicBezTo>
                      <a:pt x="969" y="8317"/>
                      <a:pt x="894" y="8278"/>
                      <a:pt x="854" y="8260"/>
                    </a:cubicBezTo>
                    <a:cubicBezTo>
                      <a:pt x="756" y="8216"/>
                      <a:pt x="491" y="8184"/>
                      <a:pt x="396" y="8156"/>
                    </a:cubicBezTo>
                    <a:cubicBezTo>
                      <a:pt x="365" y="8146"/>
                      <a:pt x="352" y="8116"/>
                      <a:pt x="349" y="8081"/>
                    </a:cubicBezTo>
                    <a:cubicBezTo>
                      <a:pt x="325" y="8112"/>
                      <a:pt x="302" y="8142"/>
                      <a:pt x="279" y="8171"/>
                    </a:cubicBezTo>
                    <a:cubicBezTo>
                      <a:pt x="307" y="8175"/>
                      <a:pt x="346" y="8180"/>
                      <a:pt x="395" y="8187"/>
                    </a:cubicBezTo>
                    <a:cubicBezTo>
                      <a:pt x="513" y="8203"/>
                      <a:pt x="655" y="8238"/>
                      <a:pt x="763" y="8268"/>
                    </a:cubicBezTo>
                    <a:cubicBezTo>
                      <a:pt x="875" y="8298"/>
                      <a:pt x="944" y="8337"/>
                      <a:pt x="1026" y="8379"/>
                    </a:cubicBezTo>
                    <a:cubicBezTo>
                      <a:pt x="1052" y="8393"/>
                      <a:pt x="1081" y="8413"/>
                      <a:pt x="1110" y="8435"/>
                    </a:cubicBezTo>
                    <a:cubicBezTo>
                      <a:pt x="1090" y="8411"/>
                      <a:pt x="1063" y="8387"/>
                      <a:pt x="1033" y="8365"/>
                    </a:cubicBezTo>
                    <a:close/>
                    <a:moveTo>
                      <a:pt x="614" y="5947"/>
                    </a:moveTo>
                    <a:cubicBezTo>
                      <a:pt x="616" y="5887"/>
                      <a:pt x="617" y="5829"/>
                      <a:pt x="617" y="5794"/>
                    </a:cubicBezTo>
                    <a:cubicBezTo>
                      <a:pt x="617" y="5782"/>
                      <a:pt x="617" y="5773"/>
                      <a:pt x="617" y="5768"/>
                    </a:cubicBezTo>
                    <a:cubicBezTo>
                      <a:pt x="614" y="5724"/>
                      <a:pt x="606" y="5678"/>
                      <a:pt x="563" y="5592"/>
                    </a:cubicBezTo>
                    <a:cubicBezTo>
                      <a:pt x="555" y="5578"/>
                      <a:pt x="546" y="5561"/>
                      <a:pt x="535" y="5543"/>
                    </a:cubicBezTo>
                    <a:cubicBezTo>
                      <a:pt x="513" y="5548"/>
                      <a:pt x="448" y="5562"/>
                      <a:pt x="385" y="5577"/>
                    </a:cubicBezTo>
                    <a:cubicBezTo>
                      <a:pt x="341" y="5587"/>
                      <a:pt x="297" y="5597"/>
                      <a:pt x="267" y="5604"/>
                    </a:cubicBezTo>
                    <a:cubicBezTo>
                      <a:pt x="287" y="5650"/>
                      <a:pt x="303" y="5705"/>
                      <a:pt x="303" y="5768"/>
                    </a:cubicBezTo>
                    <a:cubicBezTo>
                      <a:pt x="303" y="5789"/>
                      <a:pt x="301" y="5811"/>
                      <a:pt x="297" y="5834"/>
                    </a:cubicBezTo>
                    <a:cubicBezTo>
                      <a:pt x="295" y="5843"/>
                      <a:pt x="294" y="5852"/>
                      <a:pt x="292" y="5861"/>
                    </a:cubicBezTo>
                    <a:lnTo>
                      <a:pt x="614" y="5947"/>
                    </a:lnTo>
                    <a:close/>
                    <a:moveTo>
                      <a:pt x="290" y="5875"/>
                    </a:moveTo>
                    <a:cubicBezTo>
                      <a:pt x="275" y="5979"/>
                      <a:pt x="274" y="6082"/>
                      <a:pt x="274" y="6107"/>
                    </a:cubicBezTo>
                    <a:cubicBezTo>
                      <a:pt x="274" y="6110"/>
                      <a:pt x="274" y="6110"/>
                      <a:pt x="274" y="6110"/>
                    </a:cubicBezTo>
                    <a:cubicBezTo>
                      <a:pt x="303" y="6121"/>
                      <a:pt x="369" y="6146"/>
                      <a:pt x="436" y="6170"/>
                    </a:cubicBezTo>
                    <a:cubicBezTo>
                      <a:pt x="478" y="6185"/>
                      <a:pt x="520" y="6200"/>
                      <a:pt x="553" y="6211"/>
                    </a:cubicBezTo>
                    <a:cubicBezTo>
                      <a:pt x="565" y="6216"/>
                      <a:pt x="575" y="6219"/>
                      <a:pt x="584" y="6222"/>
                    </a:cubicBezTo>
                    <a:cubicBezTo>
                      <a:pt x="588" y="6204"/>
                      <a:pt x="592" y="6187"/>
                      <a:pt x="595" y="6172"/>
                    </a:cubicBezTo>
                    <a:cubicBezTo>
                      <a:pt x="602" y="6144"/>
                      <a:pt x="608" y="6069"/>
                      <a:pt x="612" y="5993"/>
                    </a:cubicBezTo>
                    <a:cubicBezTo>
                      <a:pt x="612" y="5983"/>
                      <a:pt x="613" y="5972"/>
                      <a:pt x="613" y="5962"/>
                    </a:cubicBezTo>
                    <a:lnTo>
                      <a:pt x="290" y="5875"/>
                    </a:lnTo>
                    <a:close/>
                    <a:moveTo>
                      <a:pt x="925" y="941"/>
                    </a:moveTo>
                    <a:cubicBezTo>
                      <a:pt x="925" y="940"/>
                      <a:pt x="925" y="940"/>
                      <a:pt x="925" y="940"/>
                    </a:cubicBezTo>
                    <a:cubicBezTo>
                      <a:pt x="902" y="837"/>
                      <a:pt x="902" y="837"/>
                      <a:pt x="902" y="837"/>
                    </a:cubicBezTo>
                    <a:cubicBezTo>
                      <a:pt x="836" y="779"/>
                      <a:pt x="836" y="779"/>
                      <a:pt x="836" y="779"/>
                    </a:cubicBezTo>
                    <a:cubicBezTo>
                      <a:pt x="857" y="613"/>
                      <a:pt x="857" y="613"/>
                      <a:pt x="857" y="613"/>
                    </a:cubicBezTo>
                    <a:cubicBezTo>
                      <a:pt x="896" y="592"/>
                      <a:pt x="896" y="592"/>
                      <a:pt x="896" y="592"/>
                    </a:cubicBezTo>
                    <a:cubicBezTo>
                      <a:pt x="867" y="452"/>
                      <a:pt x="867" y="452"/>
                      <a:pt x="867" y="452"/>
                    </a:cubicBezTo>
                    <a:cubicBezTo>
                      <a:pt x="489" y="856"/>
                      <a:pt x="489" y="856"/>
                      <a:pt x="489" y="856"/>
                    </a:cubicBezTo>
                    <a:cubicBezTo>
                      <a:pt x="711" y="1119"/>
                      <a:pt x="711" y="1119"/>
                      <a:pt x="711" y="1119"/>
                    </a:cubicBezTo>
                    <a:cubicBezTo>
                      <a:pt x="925" y="941"/>
                      <a:pt x="925" y="941"/>
                      <a:pt x="925" y="941"/>
                    </a:cubicBezTo>
                    <a:close/>
                    <a:moveTo>
                      <a:pt x="680" y="1230"/>
                    </a:moveTo>
                    <a:cubicBezTo>
                      <a:pt x="828" y="1429"/>
                      <a:pt x="828" y="1429"/>
                      <a:pt x="828" y="1429"/>
                    </a:cubicBezTo>
                    <a:cubicBezTo>
                      <a:pt x="875" y="1403"/>
                      <a:pt x="911" y="1383"/>
                      <a:pt x="919" y="1378"/>
                    </a:cubicBezTo>
                    <a:cubicBezTo>
                      <a:pt x="926" y="1368"/>
                      <a:pt x="961" y="1314"/>
                      <a:pt x="997" y="1259"/>
                    </a:cubicBezTo>
                    <a:cubicBezTo>
                      <a:pt x="1016" y="1229"/>
                      <a:pt x="1036" y="1198"/>
                      <a:pt x="1051" y="1175"/>
                    </a:cubicBezTo>
                    <a:cubicBezTo>
                      <a:pt x="1058" y="1164"/>
                      <a:pt x="1064" y="1154"/>
                      <a:pt x="1069" y="1147"/>
                    </a:cubicBezTo>
                    <a:cubicBezTo>
                      <a:pt x="1071" y="1144"/>
                      <a:pt x="1072" y="1141"/>
                      <a:pt x="1074" y="1139"/>
                    </a:cubicBezTo>
                    <a:cubicBezTo>
                      <a:pt x="1074" y="1139"/>
                      <a:pt x="1074" y="1138"/>
                      <a:pt x="1074" y="1138"/>
                    </a:cubicBezTo>
                    <a:cubicBezTo>
                      <a:pt x="1074" y="1137"/>
                      <a:pt x="1074" y="1136"/>
                      <a:pt x="1074" y="1135"/>
                    </a:cubicBezTo>
                    <a:cubicBezTo>
                      <a:pt x="1074" y="1106"/>
                      <a:pt x="1079" y="953"/>
                      <a:pt x="1081" y="900"/>
                    </a:cubicBezTo>
                    <a:cubicBezTo>
                      <a:pt x="952" y="1003"/>
                      <a:pt x="952" y="1003"/>
                      <a:pt x="952" y="1003"/>
                    </a:cubicBezTo>
                    <a:lnTo>
                      <a:pt x="680" y="1230"/>
                    </a:lnTo>
                    <a:close/>
                    <a:moveTo>
                      <a:pt x="1091" y="1140"/>
                    </a:moveTo>
                    <a:cubicBezTo>
                      <a:pt x="1090" y="1145"/>
                      <a:pt x="1090" y="1143"/>
                      <a:pt x="1089" y="1145"/>
                    </a:cubicBezTo>
                    <a:cubicBezTo>
                      <a:pt x="1084" y="1155"/>
                      <a:pt x="1040" y="1222"/>
                      <a:pt x="1000" y="1284"/>
                    </a:cubicBezTo>
                    <a:cubicBezTo>
                      <a:pt x="1019" y="1299"/>
                      <a:pt x="1101" y="1361"/>
                      <a:pt x="1183" y="1424"/>
                    </a:cubicBezTo>
                    <a:cubicBezTo>
                      <a:pt x="1230" y="1459"/>
                      <a:pt x="1277" y="1495"/>
                      <a:pt x="1312" y="1522"/>
                    </a:cubicBezTo>
                    <a:cubicBezTo>
                      <a:pt x="1327" y="1534"/>
                      <a:pt x="1340" y="1544"/>
                      <a:pt x="1366" y="1564"/>
                    </a:cubicBezTo>
                    <a:cubicBezTo>
                      <a:pt x="1392" y="1520"/>
                      <a:pt x="1443" y="1431"/>
                      <a:pt x="1495" y="1343"/>
                    </a:cubicBezTo>
                    <a:cubicBezTo>
                      <a:pt x="1506" y="1323"/>
                      <a:pt x="1518" y="1304"/>
                      <a:pt x="1529" y="1284"/>
                    </a:cubicBezTo>
                    <a:cubicBezTo>
                      <a:pt x="1316" y="1127"/>
                      <a:pt x="1316" y="1127"/>
                      <a:pt x="1316" y="1127"/>
                    </a:cubicBezTo>
                    <a:cubicBezTo>
                      <a:pt x="1091" y="1139"/>
                      <a:pt x="1091" y="1139"/>
                      <a:pt x="1091" y="1139"/>
                    </a:cubicBezTo>
                    <a:cubicBezTo>
                      <a:pt x="1091" y="1140"/>
                      <a:pt x="1091" y="1140"/>
                      <a:pt x="1091" y="1140"/>
                    </a:cubicBezTo>
                    <a:close/>
                    <a:moveTo>
                      <a:pt x="1574" y="579"/>
                    </a:moveTo>
                    <a:cubicBezTo>
                      <a:pt x="1574" y="574"/>
                      <a:pt x="1574" y="574"/>
                      <a:pt x="1574" y="574"/>
                    </a:cubicBezTo>
                    <a:cubicBezTo>
                      <a:pt x="1569" y="567"/>
                      <a:pt x="1546" y="539"/>
                      <a:pt x="1524" y="514"/>
                    </a:cubicBezTo>
                    <a:cubicBezTo>
                      <a:pt x="1510" y="498"/>
                      <a:pt x="1497" y="482"/>
                      <a:pt x="1488" y="472"/>
                    </a:cubicBezTo>
                    <a:cubicBezTo>
                      <a:pt x="1338" y="684"/>
                      <a:pt x="1338" y="684"/>
                      <a:pt x="1338" y="684"/>
                    </a:cubicBezTo>
                    <a:cubicBezTo>
                      <a:pt x="1528" y="919"/>
                      <a:pt x="1528" y="919"/>
                      <a:pt x="1528" y="919"/>
                    </a:cubicBezTo>
                    <a:cubicBezTo>
                      <a:pt x="1556" y="894"/>
                      <a:pt x="1616" y="846"/>
                      <a:pt x="1675" y="798"/>
                    </a:cubicBezTo>
                    <a:cubicBezTo>
                      <a:pt x="1745" y="742"/>
                      <a:pt x="1812" y="688"/>
                      <a:pt x="1821" y="681"/>
                    </a:cubicBezTo>
                    <a:cubicBezTo>
                      <a:pt x="1824" y="672"/>
                      <a:pt x="1829" y="635"/>
                      <a:pt x="1834" y="590"/>
                    </a:cubicBezTo>
                    <a:cubicBezTo>
                      <a:pt x="1806" y="589"/>
                      <a:pt x="1606" y="580"/>
                      <a:pt x="1584" y="580"/>
                    </a:cubicBezTo>
                    <a:cubicBezTo>
                      <a:pt x="1584" y="580"/>
                      <a:pt x="1584" y="580"/>
                      <a:pt x="1584" y="580"/>
                    </a:cubicBezTo>
                    <a:cubicBezTo>
                      <a:pt x="1584" y="580"/>
                      <a:pt x="1583" y="580"/>
                      <a:pt x="1583" y="580"/>
                    </a:cubicBezTo>
                    <a:cubicBezTo>
                      <a:pt x="1583" y="580"/>
                      <a:pt x="1582" y="581"/>
                      <a:pt x="1580" y="580"/>
                    </a:cubicBezTo>
                    <a:lnTo>
                      <a:pt x="1574" y="579"/>
                    </a:lnTo>
                    <a:close/>
                    <a:moveTo>
                      <a:pt x="1307" y="717"/>
                    </a:moveTo>
                    <a:cubicBezTo>
                      <a:pt x="1222" y="786"/>
                      <a:pt x="1222" y="786"/>
                      <a:pt x="1222" y="786"/>
                    </a:cubicBezTo>
                    <a:cubicBezTo>
                      <a:pt x="1345" y="971"/>
                      <a:pt x="1345" y="971"/>
                      <a:pt x="1345" y="971"/>
                    </a:cubicBezTo>
                    <a:cubicBezTo>
                      <a:pt x="1327" y="1115"/>
                      <a:pt x="1327" y="1115"/>
                      <a:pt x="1327" y="1115"/>
                    </a:cubicBezTo>
                    <a:cubicBezTo>
                      <a:pt x="1537" y="1270"/>
                      <a:pt x="1537" y="1270"/>
                      <a:pt x="1537" y="1270"/>
                    </a:cubicBezTo>
                    <a:cubicBezTo>
                      <a:pt x="1578" y="1201"/>
                      <a:pt x="1613" y="1140"/>
                      <a:pt x="1628" y="1115"/>
                    </a:cubicBezTo>
                    <a:lnTo>
                      <a:pt x="1307" y="717"/>
                    </a:lnTo>
                    <a:close/>
                    <a:moveTo>
                      <a:pt x="3858" y="509"/>
                    </a:moveTo>
                    <a:cubicBezTo>
                      <a:pt x="3858" y="506"/>
                      <a:pt x="3858" y="504"/>
                      <a:pt x="3858" y="502"/>
                    </a:cubicBezTo>
                    <a:cubicBezTo>
                      <a:pt x="3858" y="500"/>
                      <a:pt x="3857" y="498"/>
                      <a:pt x="3857" y="495"/>
                    </a:cubicBezTo>
                    <a:cubicBezTo>
                      <a:pt x="3857" y="493"/>
                      <a:pt x="3857" y="490"/>
                      <a:pt x="3856" y="488"/>
                    </a:cubicBezTo>
                    <a:cubicBezTo>
                      <a:pt x="3590" y="542"/>
                      <a:pt x="3590" y="542"/>
                      <a:pt x="3590" y="542"/>
                    </a:cubicBezTo>
                    <a:cubicBezTo>
                      <a:pt x="3675" y="770"/>
                      <a:pt x="3675" y="770"/>
                      <a:pt x="3675" y="770"/>
                    </a:cubicBezTo>
                    <a:cubicBezTo>
                      <a:pt x="3727" y="788"/>
                      <a:pt x="3727" y="788"/>
                      <a:pt x="3727" y="788"/>
                    </a:cubicBezTo>
                    <a:cubicBezTo>
                      <a:pt x="3882" y="718"/>
                      <a:pt x="3882" y="718"/>
                      <a:pt x="3882" y="718"/>
                    </a:cubicBezTo>
                    <a:cubicBezTo>
                      <a:pt x="3882" y="717"/>
                      <a:pt x="3882" y="716"/>
                      <a:pt x="3882" y="715"/>
                    </a:cubicBezTo>
                    <a:cubicBezTo>
                      <a:pt x="3882" y="714"/>
                      <a:pt x="3881" y="713"/>
                      <a:pt x="3881" y="712"/>
                    </a:cubicBezTo>
                    <a:cubicBezTo>
                      <a:pt x="3881" y="712"/>
                      <a:pt x="3881" y="712"/>
                      <a:pt x="3881" y="712"/>
                    </a:cubicBezTo>
                    <a:cubicBezTo>
                      <a:pt x="3875" y="674"/>
                      <a:pt x="3858" y="569"/>
                      <a:pt x="3858" y="509"/>
                    </a:cubicBezTo>
                    <a:close/>
                    <a:moveTo>
                      <a:pt x="3512" y="378"/>
                    </a:moveTo>
                    <a:cubicBezTo>
                      <a:pt x="3435" y="361"/>
                      <a:pt x="3435" y="361"/>
                      <a:pt x="3435" y="361"/>
                    </a:cubicBezTo>
                    <a:cubicBezTo>
                      <a:pt x="3057" y="655"/>
                      <a:pt x="3057" y="655"/>
                      <a:pt x="3057" y="655"/>
                    </a:cubicBezTo>
                    <a:cubicBezTo>
                      <a:pt x="3090" y="687"/>
                      <a:pt x="3129" y="725"/>
                      <a:pt x="3169" y="765"/>
                    </a:cubicBezTo>
                    <a:cubicBezTo>
                      <a:pt x="3216" y="811"/>
                      <a:pt x="3264" y="858"/>
                      <a:pt x="3299" y="893"/>
                    </a:cubicBezTo>
                    <a:cubicBezTo>
                      <a:pt x="3317" y="911"/>
                      <a:pt x="3332" y="925"/>
                      <a:pt x="3342" y="935"/>
                    </a:cubicBezTo>
                    <a:cubicBezTo>
                      <a:pt x="3347" y="940"/>
                      <a:pt x="3351" y="944"/>
                      <a:pt x="3354" y="947"/>
                    </a:cubicBezTo>
                    <a:cubicBezTo>
                      <a:pt x="3355" y="948"/>
                      <a:pt x="3356" y="949"/>
                      <a:pt x="3356" y="949"/>
                    </a:cubicBezTo>
                    <a:cubicBezTo>
                      <a:pt x="3361" y="950"/>
                      <a:pt x="3367" y="952"/>
                      <a:pt x="3377" y="955"/>
                    </a:cubicBezTo>
                    <a:cubicBezTo>
                      <a:pt x="3406" y="964"/>
                      <a:pt x="3457" y="979"/>
                      <a:pt x="3473" y="984"/>
                    </a:cubicBezTo>
                    <a:cubicBezTo>
                      <a:pt x="3656" y="766"/>
                      <a:pt x="3656" y="766"/>
                      <a:pt x="3656" y="766"/>
                    </a:cubicBezTo>
                    <a:lnTo>
                      <a:pt x="3512" y="378"/>
                    </a:lnTo>
                    <a:close/>
                    <a:moveTo>
                      <a:pt x="2973" y="594"/>
                    </a:moveTo>
                    <a:cubicBezTo>
                      <a:pt x="2677" y="814"/>
                      <a:pt x="2677" y="814"/>
                      <a:pt x="2677" y="814"/>
                    </a:cubicBezTo>
                    <a:cubicBezTo>
                      <a:pt x="3047" y="1335"/>
                      <a:pt x="3047" y="1335"/>
                      <a:pt x="3047" y="1335"/>
                    </a:cubicBezTo>
                    <a:cubicBezTo>
                      <a:pt x="3079" y="1318"/>
                      <a:pt x="3111" y="1301"/>
                      <a:pt x="3142" y="1284"/>
                    </a:cubicBezTo>
                    <a:cubicBezTo>
                      <a:pt x="3175" y="1267"/>
                      <a:pt x="3208" y="1249"/>
                      <a:pt x="3239" y="1233"/>
                    </a:cubicBezTo>
                    <a:cubicBezTo>
                      <a:pt x="3231" y="1230"/>
                      <a:pt x="3231" y="1230"/>
                      <a:pt x="3231" y="1230"/>
                    </a:cubicBezTo>
                    <a:cubicBezTo>
                      <a:pt x="3343" y="959"/>
                      <a:pt x="3343" y="959"/>
                      <a:pt x="3343" y="959"/>
                    </a:cubicBezTo>
                    <a:cubicBezTo>
                      <a:pt x="3308" y="925"/>
                      <a:pt x="3015" y="636"/>
                      <a:pt x="2973" y="594"/>
                    </a:cubicBezTo>
                    <a:close/>
                    <a:moveTo>
                      <a:pt x="2661" y="820"/>
                    </a:moveTo>
                    <a:cubicBezTo>
                      <a:pt x="2642" y="815"/>
                      <a:pt x="2515" y="782"/>
                      <a:pt x="2499" y="777"/>
                    </a:cubicBezTo>
                    <a:cubicBezTo>
                      <a:pt x="2497" y="777"/>
                      <a:pt x="2495" y="776"/>
                      <a:pt x="2493" y="776"/>
                    </a:cubicBezTo>
                    <a:cubicBezTo>
                      <a:pt x="2288" y="915"/>
                      <a:pt x="2288" y="915"/>
                      <a:pt x="2288" y="915"/>
                    </a:cubicBezTo>
                    <a:cubicBezTo>
                      <a:pt x="2436" y="1222"/>
                      <a:pt x="2436" y="1222"/>
                      <a:pt x="2436" y="1222"/>
                    </a:cubicBezTo>
                    <a:cubicBezTo>
                      <a:pt x="2450" y="1216"/>
                      <a:pt x="2484" y="1203"/>
                      <a:pt x="2519" y="1190"/>
                    </a:cubicBezTo>
                    <a:cubicBezTo>
                      <a:pt x="2560" y="1175"/>
                      <a:pt x="2600" y="1160"/>
                      <a:pt x="2600" y="1160"/>
                    </a:cubicBezTo>
                    <a:cubicBezTo>
                      <a:pt x="2605" y="1158"/>
                      <a:pt x="2605" y="1158"/>
                      <a:pt x="2605" y="1158"/>
                    </a:cubicBezTo>
                    <a:cubicBezTo>
                      <a:pt x="2873" y="1427"/>
                      <a:pt x="2873" y="1427"/>
                      <a:pt x="2873" y="1427"/>
                    </a:cubicBezTo>
                    <a:cubicBezTo>
                      <a:pt x="2871" y="1429"/>
                      <a:pt x="2871" y="1429"/>
                      <a:pt x="2871" y="1429"/>
                    </a:cubicBezTo>
                    <a:cubicBezTo>
                      <a:pt x="2925" y="1400"/>
                      <a:pt x="2979" y="1371"/>
                      <a:pt x="3032" y="1343"/>
                    </a:cubicBezTo>
                    <a:lnTo>
                      <a:pt x="2661" y="820"/>
                    </a:lnTo>
                    <a:close/>
                    <a:moveTo>
                      <a:pt x="2162" y="1799"/>
                    </a:moveTo>
                    <a:cubicBezTo>
                      <a:pt x="2162" y="1799"/>
                      <a:pt x="2169" y="1796"/>
                      <a:pt x="2180" y="1790"/>
                    </a:cubicBezTo>
                    <a:cubicBezTo>
                      <a:pt x="2155" y="1735"/>
                      <a:pt x="2155" y="1735"/>
                      <a:pt x="2155" y="1735"/>
                    </a:cubicBezTo>
                    <a:cubicBezTo>
                      <a:pt x="2075" y="1775"/>
                      <a:pt x="2075" y="1775"/>
                      <a:pt x="2075" y="1775"/>
                    </a:cubicBezTo>
                    <a:cubicBezTo>
                      <a:pt x="2102" y="1832"/>
                      <a:pt x="2102" y="1832"/>
                      <a:pt x="2102" y="1832"/>
                    </a:cubicBezTo>
                    <a:cubicBezTo>
                      <a:pt x="2163" y="1799"/>
                      <a:pt x="2163" y="1799"/>
                      <a:pt x="2163" y="1799"/>
                    </a:cubicBezTo>
                    <a:lnTo>
                      <a:pt x="2162" y="1799"/>
                    </a:lnTo>
                    <a:close/>
                    <a:moveTo>
                      <a:pt x="1114" y="1877"/>
                    </a:moveTo>
                    <a:cubicBezTo>
                      <a:pt x="1017" y="1968"/>
                      <a:pt x="923" y="2058"/>
                      <a:pt x="883" y="2096"/>
                    </a:cubicBezTo>
                    <a:cubicBezTo>
                      <a:pt x="901" y="2100"/>
                      <a:pt x="919" y="2107"/>
                      <a:pt x="938" y="2119"/>
                    </a:cubicBezTo>
                    <a:cubicBezTo>
                      <a:pt x="992" y="2154"/>
                      <a:pt x="1024" y="2222"/>
                      <a:pt x="1050" y="2282"/>
                    </a:cubicBezTo>
                    <a:cubicBezTo>
                      <a:pt x="1067" y="2323"/>
                      <a:pt x="1079" y="2360"/>
                      <a:pt x="1085" y="2380"/>
                    </a:cubicBezTo>
                    <a:cubicBezTo>
                      <a:pt x="1166" y="2336"/>
                      <a:pt x="1166" y="2336"/>
                      <a:pt x="1166" y="2336"/>
                    </a:cubicBezTo>
                    <a:cubicBezTo>
                      <a:pt x="1165" y="2334"/>
                      <a:pt x="1164" y="2332"/>
                      <a:pt x="1163" y="2329"/>
                    </a:cubicBezTo>
                    <a:cubicBezTo>
                      <a:pt x="1160" y="2323"/>
                      <a:pt x="1156" y="2316"/>
                      <a:pt x="1152" y="2307"/>
                    </a:cubicBezTo>
                    <a:cubicBezTo>
                      <a:pt x="1150" y="2309"/>
                      <a:pt x="1150" y="2309"/>
                      <a:pt x="1150" y="2309"/>
                    </a:cubicBezTo>
                    <a:cubicBezTo>
                      <a:pt x="1079" y="2169"/>
                      <a:pt x="1079" y="2169"/>
                      <a:pt x="1079" y="2169"/>
                    </a:cubicBezTo>
                    <a:cubicBezTo>
                      <a:pt x="1088" y="2165"/>
                      <a:pt x="1088" y="2165"/>
                      <a:pt x="1088" y="2165"/>
                    </a:cubicBezTo>
                    <a:cubicBezTo>
                      <a:pt x="1066" y="2115"/>
                      <a:pt x="1048" y="2075"/>
                      <a:pt x="1048" y="2075"/>
                    </a:cubicBezTo>
                    <a:cubicBezTo>
                      <a:pt x="1045" y="2068"/>
                      <a:pt x="1045" y="2068"/>
                      <a:pt x="1045" y="2068"/>
                    </a:cubicBezTo>
                    <a:cubicBezTo>
                      <a:pt x="1596" y="1724"/>
                      <a:pt x="1596" y="1724"/>
                      <a:pt x="1596" y="1724"/>
                    </a:cubicBezTo>
                    <a:cubicBezTo>
                      <a:pt x="1565" y="1658"/>
                      <a:pt x="1535" y="1593"/>
                      <a:pt x="1512" y="1543"/>
                    </a:cubicBezTo>
                    <a:cubicBezTo>
                      <a:pt x="1499" y="1515"/>
                      <a:pt x="1489" y="1492"/>
                      <a:pt x="1481" y="1475"/>
                    </a:cubicBezTo>
                    <a:cubicBezTo>
                      <a:pt x="1479" y="1471"/>
                      <a:pt x="1478" y="1468"/>
                      <a:pt x="1476" y="1465"/>
                    </a:cubicBezTo>
                    <a:cubicBezTo>
                      <a:pt x="1461" y="1491"/>
                      <a:pt x="1446" y="1517"/>
                      <a:pt x="1433" y="1538"/>
                    </a:cubicBezTo>
                    <a:cubicBezTo>
                      <a:pt x="1420" y="1561"/>
                      <a:pt x="1409" y="1580"/>
                      <a:pt x="1401" y="1594"/>
                    </a:cubicBezTo>
                    <a:cubicBezTo>
                      <a:pt x="1397" y="1601"/>
                      <a:pt x="1394" y="1606"/>
                      <a:pt x="1392" y="1610"/>
                    </a:cubicBezTo>
                    <a:cubicBezTo>
                      <a:pt x="1391" y="1611"/>
                      <a:pt x="1390" y="1613"/>
                      <a:pt x="1389" y="1614"/>
                    </a:cubicBezTo>
                    <a:cubicBezTo>
                      <a:pt x="1389" y="1614"/>
                      <a:pt x="1389" y="1615"/>
                      <a:pt x="1389" y="1615"/>
                    </a:cubicBezTo>
                    <a:cubicBezTo>
                      <a:pt x="1389" y="1615"/>
                      <a:pt x="1389" y="1615"/>
                      <a:pt x="1389" y="1615"/>
                    </a:cubicBezTo>
                    <a:cubicBezTo>
                      <a:pt x="1388" y="1615"/>
                      <a:pt x="1388" y="1616"/>
                      <a:pt x="1388" y="1616"/>
                    </a:cubicBezTo>
                    <a:cubicBezTo>
                      <a:pt x="1388" y="1616"/>
                      <a:pt x="1388" y="1616"/>
                      <a:pt x="1388" y="1617"/>
                    </a:cubicBezTo>
                    <a:cubicBezTo>
                      <a:pt x="1387" y="1617"/>
                      <a:pt x="1387" y="1617"/>
                      <a:pt x="1387" y="1618"/>
                    </a:cubicBezTo>
                    <a:cubicBezTo>
                      <a:pt x="1386" y="1618"/>
                      <a:pt x="1386" y="1619"/>
                      <a:pt x="1385" y="1620"/>
                    </a:cubicBezTo>
                    <a:cubicBezTo>
                      <a:pt x="1384" y="1621"/>
                      <a:pt x="1383" y="1622"/>
                      <a:pt x="1382" y="1622"/>
                    </a:cubicBezTo>
                    <a:cubicBezTo>
                      <a:pt x="1382" y="1622"/>
                      <a:pt x="1382" y="1622"/>
                      <a:pt x="1382" y="1622"/>
                    </a:cubicBezTo>
                    <a:cubicBezTo>
                      <a:pt x="1365" y="1638"/>
                      <a:pt x="1237" y="1759"/>
                      <a:pt x="1114" y="1877"/>
                    </a:cubicBezTo>
                    <a:close/>
                    <a:moveTo>
                      <a:pt x="1272" y="1665"/>
                    </a:moveTo>
                    <a:cubicBezTo>
                      <a:pt x="1296" y="1641"/>
                      <a:pt x="1316" y="1622"/>
                      <a:pt x="1331" y="1608"/>
                    </a:cubicBezTo>
                    <a:cubicBezTo>
                      <a:pt x="1337" y="1602"/>
                      <a:pt x="1343" y="1597"/>
                      <a:pt x="1347" y="1594"/>
                    </a:cubicBezTo>
                    <a:cubicBezTo>
                      <a:pt x="1353" y="1586"/>
                      <a:pt x="1353" y="1586"/>
                      <a:pt x="1353" y="1586"/>
                    </a:cubicBezTo>
                    <a:cubicBezTo>
                      <a:pt x="1354" y="1584"/>
                      <a:pt x="1356" y="1581"/>
                      <a:pt x="1358" y="1578"/>
                    </a:cubicBezTo>
                    <a:cubicBezTo>
                      <a:pt x="1306" y="1538"/>
                      <a:pt x="1235" y="1484"/>
                      <a:pt x="1167" y="1432"/>
                    </a:cubicBezTo>
                    <a:cubicBezTo>
                      <a:pt x="1088" y="1371"/>
                      <a:pt x="1011" y="1313"/>
                      <a:pt x="991" y="1298"/>
                    </a:cubicBezTo>
                    <a:cubicBezTo>
                      <a:pt x="965" y="1338"/>
                      <a:pt x="943" y="1372"/>
                      <a:pt x="935" y="1384"/>
                    </a:cubicBezTo>
                    <a:cubicBezTo>
                      <a:pt x="949" y="1402"/>
                      <a:pt x="1014" y="1482"/>
                      <a:pt x="1078" y="1560"/>
                    </a:cubicBezTo>
                    <a:cubicBezTo>
                      <a:pt x="1137" y="1633"/>
                      <a:pt x="1195" y="1703"/>
                      <a:pt x="1211" y="1722"/>
                    </a:cubicBezTo>
                    <a:cubicBezTo>
                      <a:pt x="1233" y="1701"/>
                      <a:pt x="1253" y="1682"/>
                      <a:pt x="1272" y="1665"/>
                    </a:cubicBezTo>
                    <a:close/>
                    <a:moveTo>
                      <a:pt x="2275" y="1391"/>
                    </a:moveTo>
                    <a:cubicBezTo>
                      <a:pt x="2286" y="1387"/>
                      <a:pt x="2286" y="1387"/>
                      <a:pt x="2286" y="1387"/>
                    </a:cubicBezTo>
                    <a:cubicBezTo>
                      <a:pt x="2390" y="1338"/>
                      <a:pt x="2390" y="1338"/>
                      <a:pt x="2390" y="1338"/>
                    </a:cubicBezTo>
                    <a:cubicBezTo>
                      <a:pt x="2349" y="1252"/>
                      <a:pt x="2349" y="1252"/>
                      <a:pt x="2349" y="1252"/>
                    </a:cubicBezTo>
                    <a:cubicBezTo>
                      <a:pt x="2099" y="1374"/>
                      <a:pt x="2099" y="1374"/>
                      <a:pt x="2099" y="1374"/>
                    </a:cubicBezTo>
                    <a:cubicBezTo>
                      <a:pt x="2140" y="1456"/>
                      <a:pt x="2140" y="1456"/>
                      <a:pt x="2140" y="1456"/>
                    </a:cubicBezTo>
                    <a:cubicBezTo>
                      <a:pt x="2152" y="1452"/>
                      <a:pt x="2152" y="1452"/>
                      <a:pt x="2152" y="1452"/>
                    </a:cubicBezTo>
                    <a:cubicBezTo>
                      <a:pt x="2164" y="1447"/>
                      <a:pt x="2164" y="1447"/>
                      <a:pt x="2164" y="1447"/>
                    </a:cubicBezTo>
                    <a:cubicBezTo>
                      <a:pt x="2170" y="1458"/>
                      <a:pt x="2170" y="1458"/>
                      <a:pt x="2170" y="1458"/>
                    </a:cubicBezTo>
                    <a:cubicBezTo>
                      <a:pt x="2186" y="1491"/>
                      <a:pt x="2186" y="1491"/>
                      <a:pt x="2186" y="1491"/>
                    </a:cubicBezTo>
                    <a:cubicBezTo>
                      <a:pt x="2258" y="1457"/>
                      <a:pt x="2258" y="1457"/>
                      <a:pt x="2258" y="1457"/>
                    </a:cubicBezTo>
                    <a:cubicBezTo>
                      <a:pt x="2271" y="1451"/>
                      <a:pt x="2271" y="1451"/>
                      <a:pt x="2271" y="1451"/>
                    </a:cubicBezTo>
                    <a:cubicBezTo>
                      <a:pt x="2276" y="1464"/>
                      <a:pt x="2276" y="1464"/>
                      <a:pt x="2276" y="1464"/>
                    </a:cubicBezTo>
                    <a:cubicBezTo>
                      <a:pt x="2286" y="1485"/>
                      <a:pt x="2286" y="1485"/>
                      <a:pt x="2286" y="1485"/>
                    </a:cubicBezTo>
                    <a:cubicBezTo>
                      <a:pt x="2292" y="1481"/>
                      <a:pt x="2292" y="1481"/>
                      <a:pt x="2292" y="1481"/>
                    </a:cubicBezTo>
                    <a:cubicBezTo>
                      <a:pt x="2272" y="1445"/>
                      <a:pt x="2272" y="1445"/>
                      <a:pt x="2272" y="1445"/>
                    </a:cubicBezTo>
                    <a:cubicBezTo>
                      <a:pt x="2266" y="1434"/>
                      <a:pt x="2266" y="1434"/>
                      <a:pt x="2266" y="1434"/>
                    </a:cubicBezTo>
                    <a:cubicBezTo>
                      <a:pt x="2276" y="1427"/>
                      <a:pt x="2276" y="1427"/>
                      <a:pt x="2276" y="1427"/>
                    </a:cubicBezTo>
                    <a:cubicBezTo>
                      <a:pt x="2283" y="1422"/>
                      <a:pt x="2283" y="1422"/>
                      <a:pt x="2283" y="1422"/>
                    </a:cubicBezTo>
                    <a:cubicBezTo>
                      <a:pt x="2278" y="1403"/>
                      <a:pt x="2278" y="1403"/>
                      <a:pt x="2278" y="1403"/>
                    </a:cubicBezTo>
                    <a:lnTo>
                      <a:pt x="2275" y="1391"/>
                    </a:lnTo>
                    <a:close/>
                    <a:moveTo>
                      <a:pt x="2085" y="1377"/>
                    </a:moveTo>
                    <a:cubicBezTo>
                      <a:pt x="2070" y="1384"/>
                      <a:pt x="2056" y="1391"/>
                      <a:pt x="2044" y="1397"/>
                    </a:cubicBezTo>
                    <a:cubicBezTo>
                      <a:pt x="2035" y="1401"/>
                      <a:pt x="2028" y="1405"/>
                      <a:pt x="2022" y="1408"/>
                    </a:cubicBezTo>
                    <a:cubicBezTo>
                      <a:pt x="2141" y="1666"/>
                      <a:pt x="2141" y="1666"/>
                      <a:pt x="2141" y="1666"/>
                    </a:cubicBezTo>
                    <a:cubicBezTo>
                      <a:pt x="2150" y="1683"/>
                      <a:pt x="2150" y="1683"/>
                      <a:pt x="2150" y="1683"/>
                    </a:cubicBezTo>
                    <a:cubicBezTo>
                      <a:pt x="2159" y="1677"/>
                      <a:pt x="2179" y="1665"/>
                      <a:pt x="2209" y="1647"/>
                    </a:cubicBezTo>
                    <a:cubicBezTo>
                      <a:pt x="2305" y="1590"/>
                      <a:pt x="2482" y="1489"/>
                      <a:pt x="2507" y="1475"/>
                    </a:cubicBezTo>
                    <a:cubicBezTo>
                      <a:pt x="2389" y="1231"/>
                      <a:pt x="2389" y="1231"/>
                      <a:pt x="2389" y="1231"/>
                    </a:cubicBezTo>
                    <a:cubicBezTo>
                      <a:pt x="2389" y="1230"/>
                      <a:pt x="2388" y="1230"/>
                      <a:pt x="2388" y="1230"/>
                    </a:cubicBezTo>
                    <a:cubicBezTo>
                      <a:pt x="2383" y="1233"/>
                      <a:pt x="2373" y="1238"/>
                      <a:pt x="2360" y="1244"/>
                    </a:cubicBezTo>
                    <a:cubicBezTo>
                      <a:pt x="2408" y="1345"/>
                      <a:pt x="2408" y="1345"/>
                      <a:pt x="2408" y="1345"/>
                    </a:cubicBezTo>
                    <a:cubicBezTo>
                      <a:pt x="2292" y="1399"/>
                      <a:pt x="2292" y="1399"/>
                      <a:pt x="2292" y="1399"/>
                    </a:cubicBezTo>
                    <a:cubicBezTo>
                      <a:pt x="2299" y="1428"/>
                      <a:pt x="2299" y="1428"/>
                      <a:pt x="2299" y="1428"/>
                    </a:cubicBezTo>
                    <a:cubicBezTo>
                      <a:pt x="2284" y="1438"/>
                      <a:pt x="2284" y="1438"/>
                      <a:pt x="2284" y="1438"/>
                    </a:cubicBezTo>
                    <a:cubicBezTo>
                      <a:pt x="2310" y="1486"/>
                      <a:pt x="2310" y="1486"/>
                      <a:pt x="2310" y="1486"/>
                    </a:cubicBezTo>
                    <a:cubicBezTo>
                      <a:pt x="2280" y="1505"/>
                      <a:pt x="2280" y="1505"/>
                      <a:pt x="2280" y="1505"/>
                    </a:cubicBezTo>
                    <a:cubicBezTo>
                      <a:pt x="2264" y="1470"/>
                      <a:pt x="2264" y="1470"/>
                      <a:pt x="2264" y="1470"/>
                    </a:cubicBezTo>
                    <a:cubicBezTo>
                      <a:pt x="2180" y="1509"/>
                      <a:pt x="2180" y="1509"/>
                      <a:pt x="2180" y="1509"/>
                    </a:cubicBezTo>
                    <a:cubicBezTo>
                      <a:pt x="2157" y="1465"/>
                      <a:pt x="2157" y="1465"/>
                      <a:pt x="2157" y="1465"/>
                    </a:cubicBezTo>
                    <a:cubicBezTo>
                      <a:pt x="2134" y="1474"/>
                      <a:pt x="2134" y="1474"/>
                      <a:pt x="2134" y="1474"/>
                    </a:cubicBezTo>
                    <a:lnTo>
                      <a:pt x="2085" y="1377"/>
                    </a:lnTo>
                    <a:close/>
                    <a:moveTo>
                      <a:pt x="1190" y="2115"/>
                    </a:moveTo>
                    <a:cubicBezTo>
                      <a:pt x="1191" y="2115"/>
                      <a:pt x="1191" y="2115"/>
                      <a:pt x="1191" y="2115"/>
                    </a:cubicBezTo>
                    <a:cubicBezTo>
                      <a:pt x="1147" y="2024"/>
                      <a:pt x="1147" y="2024"/>
                      <a:pt x="1147" y="2024"/>
                    </a:cubicBezTo>
                    <a:cubicBezTo>
                      <a:pt x="1066" y="2074"/>
                      <a:pt x="1066" y="2074"/>
                      <a:pt x="1066" y="2074"/>
                    </a:cubicBezTo>
                    <a:cubicBezTo>
                      <a:pt x="1072" y="2088"/>
                      <a:pt x="1086" y="2120"/>
                      <a:pt x="1103" y="2157"/>
                    </a:cubicBezTo>
                    <a:cubicBezTo>
                      <a:pt x="1190" y="2115"/>
                      <a:pt x="1190" y="2115"/>
                      <a:pt x="1190" y="2115"/>
                    </a:cubicBezTo>
                    <a:close/>
                    <a:moveTo>
                      <a:pt x="1199" y="2095"/>
                    </a:moveTo>
                    <a:cubicBezTo>
                      <a:pt x="1294" y="2048"/>
                      <a:pt x="1294" y="2048"/>
                      <a:pt x="1294" y="2048"/>
                    </a:cubicBezTo>
                    <a:cubicBezTo>
                      <a:pt x="1294" y="2047"/>
                      <a:pt x="1294" y="2047"/>
                      <a:pt x="1294" y="2047"/>
                    </a:cubicBezTo>
                    <a:cubicBezTo>
                      <a:pt x="1299" y="2044"/>
                      <a:pt x="1299" y="2044"/>
                      <a:pt x="1299" y="2044"/>
                    </a:cubicBezTo>
                    <a:cubicBezTo>
                      <a:pt x="1293" y="2031"/>
                      <a:pt x="1293" y="2031"/>
                      <a:pt x="1293" y="2031"/>
                    </a:cubicBezTo>
                    <a:cubicBezTo>
                      <a:pt x="1295" y="2030"/>
                      <a:pt x="1295" y="2030"/>
                      <a:pt x="1295" y="2030"/>
                    </a:cubicBezTo>
                    <a:cubicBezTo>
                      <a:pt x="1260" y="1953"/>
                      <a:pt x="1260" y="1953"/>
                      <a:pt x="1260" y="1953"/>
                    </a:cubicBezTo>
                    <a:cubicBezTo>
                      <a:pt x="1161" y="2016"/>
                      <a:pt x="1161" y="2016"/>
                      <a:pt x="1161" y="2016"/>
                    </a:cubicBezTo>
                    <a:lnTo>
                      <a:pt x="1199" y="2095"/>
                    </a:lnTo>
                    <a:close/>
                    <a:moveTo>
                      <a:pt x="1531" y="1879"/>
                    </a:moveTo>
                    <a:cubicBezTo>
                      <a:pt x="1532" y="1879"/>
                      <a:pt x="1532" y="1879"/>
                      <a:pt x="1532" y="1879"/>
                    </a:cubicBezTo>
                    <a:cubicBezTo>
                      <a:pt x="1498" y="1805"/>
                      <a:pt x="1498" y="1805"/>
                      <a:pt x="1498" y="1805"/>
                    </a:cubicBezTo>
                    <a:cubicBezTo>
                      <a:pt x="1391" y="1872"/>
                      <a:pt x="1391" y="1872"/>
                      <a:pt x="1391" y="1872"/>
                    </a:cubicBezTo>
                    <a:cubicBezTo>
                      <a:pt x="1427" y="1948"/>
                      <a:pt x="1427" y="1948"/>
                      <a:pt x="1427" y="1948"/>
                    </a:cubicBezTo>
                    <a:cubicBezTo>
                      <a:pt x="1533" y="1897"/>
                      <a:pt x="1533" y="1897"/>
                      <a:pt x="1533" y="1897"/>
                    </a:cubicBezTo>
                    <a:cubicBezTo>
                      <a:pt x="1533" y="1896"/>
                      <a:pt x="1533" y="1896"/>
                      <a:pt x="1533" y="1896"/>
                    </a:cubicBezTo>
                    <a:cubicBezTo>
                      <a:pt x="1536" y="1895"/>
                      <a:pt x="1536" y="1895"/>
                      <a:pt x="1536" y="1895"/>
                    </a:cubicBezTo>
                    <a:lnTo>
                      <a:pt x="1531" y="1879"/>
                    </a:lnTo>
                    <a:close/>
                    <a:moveTo>
                      <a:pt x="1377" y="1880"/>
                    </a:moveTo>
                    <a:cubicBezTo>
                      <a:pt x="1274" y="1945"/>
                      <a:pt x="1274" y="1945"/>
                      <a:pt x="1274" y="1945"/>
                    </a:cubicBezTo>
                    <a:cubicBezTo>
                      <a:pt x="1310" y="2023"/>
                      <a:pt x="1310" y="2023"/>
                      <a:pt x="1310" y="2023"/>
                    </a:cubicBezTo>
                    <a:cubicBezTo>
                      <a:pt x="1419" y="1970"/>
                      <a:pt x="1419" y="1970"/>
                      <a:pt x="1419" y="1970"/>
                    </a:cubicBezTo>
                    <a:lnTo>
                      <a:pt x="1377" y="1880"/>
                    </a:lnTo>
                    <a:close/>
                    <a:moveTo>
                      <a:pt x="1206" y="2108"/>
                    </a:moveTo>
                    <a:cubicBezTo>
                      <a:pt x="1260" y="2220"/>
                      <a:pt x="1260" y="2220"/>
                      <a:pt x="1260" y="2220"/>
                    </a:cubicBezTo>
                    <a:cubicBezTo>
                      <a:pt x="1354" y="2173"/>
                      <a:pt x="1354" y="2173"/>
                      <a:pt x="1354" y="2173"/>
                    </a:cubicBezTo>
                    <a:cubicBezTo>
                      <a:pt x="1353" y="2171"/>
                      <a:pt x="1353" y="2171"/>
                      <a:pt x="1353" y="2171"/>
                    </a:cubicBezTo>
                    <a:cubicBezTo>
                      <a:pt x="1347" y="2159"/>
                      <a:pt x="1347" y="2159"/>
                      <a:pt x="1347" y="2159"/>
                    </a:cubicBezTo>
                    <a:cubicBezTo>
                      <a:pt x="1352" y="2157"/>
                      <a:pt x="1352" y="2157"/>
                      <a:pt x="1352" y="2157"/>
                    </a:cubicBezTo>
                    <a:cubicBezTo>
                      <a:pt x="1341" y="2131"/>
                      <a:pt x="1341" y="2131"/>
                      <a:pt x="1341" y="2131"/>
                    </a:cubicBezTo>
                    <a:cubicBezTo>
                      <a:pt x="1301" y="2060"/>
                      <a:pt x="1301" y="2060"/>
                      <a:pt x="1301" y="2060"/>
                    </a:cubicBezTo>
                    <a:lnTo>
                      <a:pt x="1206" y="2108"/>
                    </a:lnTo>
                    <a:close/>
                    <a:moveTo>
                      <a:pt x="1367" y="2149"/>
                    </a:moveTo>
                    <a:cubicBezTo>
                      <a:pt x="1477" y="2096"/>
                      <a:pt x="1477" y="2096"/>
                      <a:pt x="1477" y="2096"/>
                    </a:cubicBezTo>
                    <a:cubicBezTo>
                      <a:pt x="1425" y="1983"/>
                      <a:pt x="1425" y="1983"/>
                      <a:pt x="1425" y="1983"/>
                    </a:cubicBezTo>
                    <a:cubicBezTo>
                      <a:pt x="1316" y="2036"/>
                      <a:pt x="1316" y="2036"/>
                      <a:pt x="1316" y="2036"/>
                    </a:cubicBezTo>
                    <a:lnTo>
                      <a:pt x="1367" y="2149"/>
                    </a:lnTo>
                    <a:close/>
                    <a:moveTo>
                      <a:pt x="1484" y="2071"/>
                    </a:moveTo>
                    <a:cubicBezTo>
                      <a:pt x="1485" y="2074"/>
                      <a:pt x="1485" y="2074"/>
                      <a:pt x="1485" y="2074"/>
                    </a:cubicBezTo>
                    <a:cubicBezTo>
                      <a:pt x="1486" y="2073"/>
                      <a:pt x="1486" y="2073"/>
                      <a:pt x="1486" y="2073"/>
                    </a:cubicBezTo>
                    <a:cubicBezTo>
                      <a:pt x="1592" y="2022"/>
                      <a:pt x="1592" y="2022"/>
                      <a:pt x="1592" y="2022"/>
                    </a:cubicBezTo>
                    <a:cubicBezTo>
                      <a:pt x="1590" y="2018"/>
                      <a:pt x="1590" y="2018"/>
                      <a:pt x="1590" y="2018"/>
                    </a:cubicBezTo>
                    <a:cubicBezTo>
                      <a:pt x="1587" y="2006"/>
                      <a:pt x="1587" y="2006"/>
                      <a:pt x="1587" y="2006"/>
                    </a:cubicBezTo>
                    <a:cubicBezTo>
                      <a:pt x="1591" y="2004"/>
                      <a:pt x="1591" y="2004"/>
                      <a:pt x="1591" y="2004"/>
                    </a:cubicBezTo>
                    <a:cubicBezTo>
                      <a:pt x="1577" y="1975"/>
                      <a:pt x="1577" y="1975"/>
                      <a:pt x="1577" y="1975"/>
                    </a:cubicBezTo>
                    <a:cubicBezTo>
                      <a:pt x="1540" y="1909"/>
                      <a:pt x="1540" y="1909"/>
                      <a:pt x="1540" y="1909"/>
                    </a:cubicBezTo>
                    <a:cubicBezTo>
                      <a:pt x="1436" y="1959"/>
                      <a:pt x="1436" y="1959"/>
                      <a:pt x="1436" y="1959"/>
                    </a:cubicBezTo>
                    <a:cubicBezTo>
                      <a:pt x="1437" y="1964"/>
                      <a:pt x="1437" y="1964"/>
                      <a:pt x="1437" y="1964"/>
                    </a:cubicBezTo>
                    <a:cubicBezTo>
                      <a:pt x="1440" y="1975"/>
                      <a:pt x="1440" y="1975"/>
                      <a:pt x="1440" y="1975"/>
                    </a:cubicBezTo>
                    <a:cubicBezTo>
                      <a:pt x="1439" y="1976"/>
                      <a:pt x="1439" y="1976"/>
                      <a:pt x="1439" y="1976"/>
                    </a:cubicBezTo>
                    <a:lnTo>
                      <a:pt x="1484" y="2071"/>
                    </a:lnTo>
                    <a:close/>
                    <a:moveTo>
                      <a:pt x="1605" y="1997"/>
                    </a:moveTo>
                    <a:cubicBezTo>
                      <a:pt x="1699" y="1950"/>
                      <a:pt x="1699" y="1950"/>
                      <a:pt x="1699" y="1950"/>
                    </a:cubicBezTo>
                    <a:cubicBezTo>
                      <a:pt x="1698" y="1948"/>
                      <a:pt x="1698" y="1948"/>
                      <a:pt x="1698" y="1948"/>
                    </a:cubicBezTo>
                    <a:cubicBezTo>
                      <a:pt x="1691" y="1935"/>
                      <a:pt x="1691" y="1935"/>
                      <a:pt x="1691" y="1935"/>
                    </a:cubicBezTo>
                    <a:cubicBezTo>
                      <a:pt x="1694" y="1934"/>
                      <a:pt x="1694" y="1934"/>
                      <a:pt x="1694" y="1934"/>
                    </a:cubicBezTo>
                    <a:cubicBezTo>
                      <a:pt x="1680" y="1905"/>
                      <a:pt x="1665" y="1872"/>
                      <a:pt x="1648" y="1836"/>
                    </a:cubicBezTo>
                    <a:cubicBezTo>
                      <a:pt x="1553" y="1884"/>
                      <a:pt x="1553" y="1884"/>
                      <a:pt x="1553" y="1884"/>
                    </a:cubicBezTo>
                    <a:lnTo>
                      <a:pt x="1605" y="1997"/>
                    </a:lnTo>
                    <a:close/>
                    <a:moveTo>
                      <a:pt x="1709" y="1927"/>
                    </a:moveTo>
                    <a:cubicBezTo>
                      <a:pt x="1816" y="1876"/>
                      <a:pt x="1816" y="1876"/>
                      <a:pt x="1816" y="1876"/>
                    </a:cubicBezTo>
                    <a:cubicBezTo>
                      <a:pt x="1802" y="1848"/>
                      <a:pt x="1802" y="1848"/>
                      <a:pt x="1802" y="1848"/>
                    </a:cubicBezTo>
                    <a:cubicBezTo>
                      <a:pt x="1778" y="1802"/>
                      <a:pt x="1778" y="1802"/>
                      <a:pt x="1778" y="1802"/>
                    </a:cubicBezTo>
                    <a:cubicBezTo>
                      <a:pt x="1771" y="1805"/>
                      <a:pt x="1771" y="1805"/>
                      <a:pt x="1771" y="1805"/>
                    </a:cubicBezTo>
                    <a:cubicBezTo>
                      <a:pt x="1765" y="1794"/>
                      <a:pt x="1765" y="1794"/>
                      <a:pt x="1765" y="1794"/>
                    </a:cubicBezTo>
                    <a:cubicBezTo>
                      <a:pt x="1750" y="1770"/>
                      <a:pt x="1750" y="1770"/>
                      <a:pt x="1750" y="1770"/>
                    </a:cubicBezTo>
                    <a:cubicBezTo>
                      <a:pt x="1657" y="1814"/>
                      <a:pt x="1657" y="1814"/>
                      <a:pt x="1657" y="1814"/>
                    </a:cubicBezTo>
                    <a:cubicBezTo>
                      <a:pt x="1658" y="1815"/>
                      <a:pt x="1658" y="1815"/>
                      <a:pt x="1658" y="1815"/>
                    </a:cubicBezTo>
                    <a:cubicBezTo>
                      <a:pt x="1665" y="1828"/>
                      <a:pt x="1665" y="1828"/>
                      <a:pt x="1665" y="1828"/>
                    </a:cubicBezTo>
                    <a:cubicBezTo>
                      <a:pt x="1663" y="1829"/>
                      <a:pt x="1663" y="1829"/>
                      <a:pt x="1663" y="1829"/>
                    </a:cubicBezTo>
                    <a:cubicBezTo>
                      <a:pt x="1680" y="1865"/>
                      <a:pt x="1695" y="1898"/>
                      <a:pt x="1709" y="1927"/>
                    </a:cubicBezTo>
                    <a:close/>
                    <a:moveTo>
                      <a:pt x="1831" y="1869"/>
                    </a:moveTo>
                    <a:cubicBezTo>
                      <a:pt x="1834" y="1868"/>
                      <a:pt x="1834" y="1868"/>
                      <a:pt x="1834" y="1868"/>
                    </a:cubicBezTo>
                    <a:cubicBezTo>
                      <a:pt x="1841" y="1879"/>
                      <a:pt x="1841" y="1879"/>
                      <a:pt x="1841" y="1879"/>
                    </a:cubicBezTo>
                    <a:cubicBezTo>
                      <a:pt x="1855" y="1903"/>
                      <a:pt x="1855" y="1903"/>
                      <a:pt x="1855" y="1903"/>
                    </a:cubicBezTo>
                    <a:cubicBezTo>
                      <a:pt x="1955" y="1854"/>
                      <a:pt x="1955" y="1854"/>
                      <a:pt x="1955" y="1854"/>
                    </a:cubicBezTo>
                    <a:cubicBezTo>
                      <a:pt x="1954" y="1851"/>
                      <a:pt x="1952" y="1848"/>
                      <a:pt x="1950" y="1844"/>
                    </a:cubicBezTo>
                    <a:cubicBezTo>
                      <a:pt x="1948" y="1839"/>
                      <a:pt x="1948" y="1839"/>
                      <a:pt x="1948" y="1839"/>
                    </a:cubicBezTo>
                    <a:cubicBezTo>
                      <a:pt x="1948" y="1839"/>
                      <a:pt x="1948" y="1839"/>
                      <a:pt x="1948" y="1839"/>
                    </a:cubicBezTo>
                    <a:cubicBezTo>
                      <a:pt x="1935" y="1811"/>
                      <a:pt x="1918" y="1776"/>
                      <a:pt x="1902" y="1742"/>
                    </a:cubicBezTo>
                    <a:cubicBezTo>
                      <a:pt x="1795" y="1794"/>
                      <a:pt x="1795" y="1794"/>
                      <a:pt x="1795" y="1794"/>
                    </a:cubicBezTo>
                    <a:lnTo>
                      <a:pt x="1831" y="1869"/>
                    </a:lnTo>
                    <a:close/>
                    <a:moveTo>
                      <a:pt x="1963" y="1831"/>
                    </a:moveTo>
                    <a:cubicBezTo>
                      <a:pt x="2056" y="1783"/>
                      <a:pt x="2056" y="1783"/>
                      <a:pt x="2056" y="1783"/>
                    </a:cubicBezTo>
                    <a:cubicBezTo>
                      <a:pt x="2056" y="1783"/>
                      <a:pt x="2056" y="1783"/>
                      <a:pt x="2056" y="1783"/>
                    </a:cubicBezTo>
                    <a:cubicBezTo>
                      <a:pt x="2052" y="1771"/>
                      <a:pt x="2052" y="1771"/>
                      <a:pt x="2052" y="1771"/>
                    </a:cubicBezTo>
                    <a:cubicBezTo>
                      <a:pt x="2054" y="1770"/>
                      <a:pt x="2054" y="1770"/>
                      <a:pt x="2054" y="1770"/>
                    </a:cubicBezTo>
                    <a:cubicBezTo>
                      <a:pt x="2022" y="1704"/>
                      <a:pt x="2022" y="1704"/>
                      <a:pt x="2022" y="1704"/>
                    </a:cubicBezTo>
                    <a:cubicBezTo>
                      <a:pt x="2003" y="1670"/>
                      <a:pt x="2003" y="1670"/>
                      <a:pt x="2003" y="1670"/>
                    </a:cubicBezTo>
                    <a:cubicBezTo>
                      <a:pt x="1913" y="1717"/>
                      <a:pt x="1913" y="1717"/>
                      <a:pt x="1913" y="1717"/>
                    </a:cubicBezTo>
                    <a:cubicBezTo>
                      <a:pt x="1914" y="1720"/>
                      <a:pt x="1914" y="1720"/>
                      <a:pt x="1914" y="1720"/>
                    </a:cubicBezTo>
                    <a:cubicBezTo>
                      <a:pt x="1921" y="1733"/>
                      <a:pt x="1921" y="1733"/>
                      <a:pt x="1921" y="1733"/>
                    </a:cubicBezTo>
                    <a:cubicBezTo>
                      <a:pt x="1916" y="1735"/>
                      <a:pt x="1916" y="1735"/>
                      <a:pt x="1916" y="1735"/>
                    </a:cubicBezTo>
                    <a:cubicBezTo>
                      <a:pt x="1929" y="1762"/>
                      <a:pt x="1942" y="1788"/>
                      <a:pt x="1953" y="1812"/>
                    </a:cubicBezTo>
                    <a:lnTo>
                      <a:pt x="1963" y="1831"/>
                    </a:lnTo>
                    <a:close/>
                    <a:moveTo>
                      <a:pt x="2069" y="1762"/>
                    </a:moveTo>
                    <a:cubicBezTo>
                      <a:pt x="2149" y="1722"/>
                      <a:pt x="2149" y="1722"/>
                      <a:pt x="2149" y="1722"/>
                    </a:cubicBezTo>
                    <a:cubicBezTo>
                      <a:pt x="2110" y="1638"/>
                      <a:pt x="2110" y="1638"/>
                      <a:pt x="2110" y="1638"/>
                    </a:cubicBezTo>
                    <a:cubicBezTo>
                      <a:pt x="2095" y="1610"/>
                      <a:pt x="2095" y="1610"/>
                      <a:pt x="2095" y="1610"/>
                    </a:cubicBezTo>
                    <a:cubicBezTo>
                      <a:pt x="2015" y="1650"/>
                      <a:pt x="2015" y="1650"/>
                      <a:pt x="2015" y="1650"/>
                    </a:cubicBezTo>
                    <a:lnTo>
                      <a:pt x="2069" y="1762"/>
                    </a:lnTo>
                    <a:close/>
                    <a:moveTo>
                      <a:pt x="2037" y="1479"/>
                    </a:moveTo>
                    <a:cubicBezTo>
                      <a:pt x="1950" y="1516"/>
                      <a:pt x="1950" y="1516"/>
                      <a:pt x="1950" y="1516"/>
                    </a:cubicBezTo>
                    <a:cubicBezTo>
                      <a:pt x="2009" y="1638"/>
                      <a:pt x="2009" y="1638"/>
                      <a:pt x="2009" y="1638"/>
                    </a:cubicBezTo>
                    <a:cubicBezTo>
                      <a:pt x="2091" y="1596"/>
                      <a:pt x="2091" y="1596"/>
                      <a:pt x="2091" y="1596"/>
                    </a:cubicBezTo>
                    <a:lnTo>
                      <a:pt x="2037" y="1479"/>
                    </a:lnTo>
                    <a:close/>
                    <a:moveTo>
                      <a:pt x="1935" y="1522"/>
                    </a:moveTo>
                    <a:cubicBezTo>
                      <a:pt x="1834" y="1564"/>
                      <a:pt x="1834" y="1564"/>
                      <a:pt x="1834" y="1564"/>
                    </a:cubicBezTo>
                    <a:cubicBezTo>
                      <a:pt x="1840" y="1576"/>
                      <a:pt x="1870" y="1638"/>
                      <a:pt x="1903" y="1706"/>
                    </a:cubicBezTo>
                    <a:cubicBezTo>
                      <a:pt x="1996" y="1658"/>
                      <a:pt x="1996" y="1658"/>
                      <a:pt x="1996" y="1658"/>
                    </a:cubicBezTo>
                    <a:cubicBezTo>
                      <a:pt x="1996" y="1658"/>
                      <a:pt x="1996" y="1658"/>
                      <a:pt x="1996" y="1658"/>
                    </a:cubicBezTo>
                    <a:cubicBezTo>
                      <a:pt x="1999" y="1656"/>
                      <a:pt x="1999" y="1656"/>
                      <a:pt x="1999" y="1656"/>
                    </a:cubicBezTo>
                    <a:lnTo>
                      <a:pt x="1935" y="1522"/>
                    </a:lnTo>
                    <a:close/>
                    <a:moveTo>
                      <a:pt x="1819" y="1571"/>
                    </a:moveTo>
                    <a:cubicBezTo>
                      <a:pt x="1712" y="1616"/>
                      <a:pt x="1712" y="1616"/>
                      <a:pt x="1712" y="1616"/>
                    </a:cubicBezTo>
                    <a:cubicBezTo>
                      <a:pt x="1789" y="1781"/>
                      <a:pt x="1789" y="1781"/>
                      <a:pt x="1789" y="1781"/>
                    </a:cubicBezTo>
                    <a:cubicBezTo>
                      <a:pt x="1896" y="1729"/>
                      <a:pt x="1896" y="1729"/>
                      <a:pt x="1896" y="1729"/>
                    </a:cubicBezTo>
                    <a:cubicBezTo>
                      <a:pt x="1859" y="1653"/>
                      <a:pt x="1823" y="1580"/>
                      <a:pt x="1819" y="1571"/>
                    </a:cubicBezTo>
                    <a:close/>
                    <a:moveTo>
                      <a:pt x="1699" y="1627"/>
                    </a:moveTo>
                    <a:cubicBezTo>
                      <a:pt x="1616" y="1728"/>
                      <a:pt x="1616" y="1728"/>
                      <a:pt x="1616" y="1728"/>
                    </a:cubicBezTo>
                    <a:cubicBezTo>
                      <a:pt x="1618" y="1733"/>
                      <a:pt x="1621" y="1739"/>
                      <a:pt x="1623" y="1744"/>
                    </a:cubicBezTo>
                    <a:cubicBezTo>
                      <a:pt x="1632" y="1763"/>
                      <a:pt x="1641" y="1783"/>
                      <a:pt x="1650" y="1802"/>
                    </a:cubicBezTo>
                    <a:cubicBezTo>
                      <a:pt x="1756" y="1752"/>
                      <a:pt x="1756" y="1752"/>
                      <a:pt x="1756" y="1752"/>
                    </a:cubicBezTo>
                    <a:cubicBezTo>
                      <a:pt x="1762" y="1761"/>
                      <a:pt x="1762" y="1761"/>
                      <a:pt x="1762" y="1761"/>
                    </a:cubicBezTo>
                    <a:lnTo>
                      <a:pt x="1699" y="1627"/>
                    </a:lnTo>
                    <a:close/>
                    <a:moveTo>
                      <a:pt x="1605" y="1744"/>
                    </a:moveTo>
                    <a:cubicBezTo>
                      <a:pt x="1605" y="1742"/>
                      <a:pt x="1604" y="1741"/>
                      <a:pt x="1603" y="1739"/>
                    </a:cubicBezTo>
                    <a:cubicBezTo>
                      <a:pt x="1512" y="1796"/>
                      <a:pt x="1512" y="1796"/>
                      <a:pt x="1512" y="1796"/>
                    </a:cubicBezTo>
                    <a:cubicBezTo>
                      <a:pt x="1547" y="1871"/>
                      <a:pt x="1547" y="1871"/>
                      <a:pt x="1547" y="1871"/>
                    </a:cubicBezTo>
                    <a:cubicBezTo>
                      <a:pt x="1642" y="1824"/>
                      <a:pt x="1642" y="1824"/>
                      <a:pt x="1642" y="1824"/>
                    </a:cubicBezTo>
                    <a:cubicBezTo>
                      <a:pt x="1630" y="1798"/>
                      <a:pt x="1618" y="1771"/>
                      <a:pt x="1605" y="1744"/>
                    </a:cubicBezTo>
                    <a:close/>
                    <a:moveTo>
                      <a:pt x="1249" y="2241"/>
                    </a:moveTo>
                    <a:cubicBezTo>
                      <a:pt x="1248" y="2238"/>
                      <a:pt x="1248" y="2238"/>
                      <a:pt x="1248" y="2238"/>
                    </a:cubicBezTo>
                    <a:cubicBezTo>
                      <a:pt x="1245" y="2227"/>
                      <a:pt x="1245" y="2227"/>
                      <a:pt x="1245" y="2227"/>
                    </a:cubicBezTo>
                    <a:cubicBezTo>
                      <a:pt x="1245" y="2227"/>
                      <a:pt x="1245" y="2227"/>
                      <a:pt x="1245" y="2227"/>
                    </a:cubicBezTo>
                    <a:cubicBezTo>
                      <a:pt x="1197" y="2128"/>
                      <a:pt x="1197" y="2128"/>
                      <a:pt x="1197" y="2128"/>
                    </a:cubicBezTo>
                    <a:cubicBezTo>
                      <a:pt x="1108" y="2170"/>
                      <a:pt x="1108" y="2170"/>
                      <a:pt x="1108" y="2170"/>
                    </a:cubicBezTo>
                    <a:cubicBezTo>
                      <a:pt x="1113" y="2181"/>
                      <a:pt x="1118" y="2191"/>
                      <a:pt x="1123" y="2202"/>
                    </a:cubicBezTo>
                    <a:cubicBezTo>
                      <a:pt x="1136" y="2233"/>
                      <a:pt x="1150" y="2263"/>
                      <a:pt x="1161" y="2287"/>
                    </a:cubicBezTo>
                    <a:lnTo>
                      <a:pt x="1249" y="2241"/>
                    </a:lnTo>
                    <a:close/>
                    <a:moveTo>
                      <a:pt x="1167" y="2300"/>
                    </a:moveTo>
                    <a:cubicBezTo>
                      <a:pt x="1172" y="2310"/>
                      <a:pt x="1176" y="2318"/>
                      <a:pt x="1179" y="2324"/>
                    </a:cubicBezTo>
                    <a:cubicBezTo>
                      <a:pt x="1180" y="2326"/>
                      <a:pt x="1180" y="2327"/>
                      <a:pt x="1181" y="2329"/>
                    </a:cubicBezTo>
                    <a:cubicBezTo>
                      <a:pt x="1271" y="2280"/>
                      <a:pt x="1271" y="2280"/>
                      <a:pt x="1271" y="2280"/>
                    </a:cubicBezTo>
                    <a:cubicBezTo>
                      <a:pt x="1258" y="2252"/>
                      <a:pt x="1258" y="2252"/>
                      <a:pt x="1258" y="2252"/>
                    </a:cubicBezTo>
                    <a:lnTo>
                      <a:pt x="1167" y="2300"/>
                    </a:lnTo>
                    <a:close/>
                    <a:moveTo>
                      <a:pt x="1286" y="2272"/>
                    </a:moveTo>
                    <a:cubicBezTo>
                      <a:pt x="1381" y="2221"/>
                      <a:pt x="1381" y="2221"/>
                      <a:pt x="1381" y="2221"/>
                    </a:cubicBezTo>
                    <a:cubicBezTo>
                      <a:pt x="1364" y="2183"/>
                      <a:pt x="1364" y="2183"/>
                      <a:pt x="1364" y="2183"/>
                    </a:cubicBezTo>
                    <a:cubicBezTo>
                      <a:pt x="1266" y="2232"/>
                      <a:pt x="1266" y="2232"/>
                      <a:pt x="1266" y="2232"/>
                    </a:cubicBezTo>
                    <a:lnTo>
                      <a:pt x="1286" y="2272"/>
                    </a:lnTo>
                    <a:close/>
                    <a:moveTo>
                      <a:pt x="1396" y="2213"/>
                    </a:moveTo>
                    <a:cubicBezTo>
                      <a:pt x="1504" y="2154"/>
                      <a:pt x="1504" y="2154"/>
                      <a:pt x="1504" y="2154"/>
                    </a:cubicBezTo>
                    <a:cubicBezTo>
                      <a:pt x="1483" y="2108"/>
                      <a:pt x="1483" y="2108"/>
                      <a:pt x="1483" y="2108"/>
                    </a:cubicBezTo>
                    <a:cubicBezTo>
                      <a:pt x="1373" y="2162"/>
                      <a:pt x="1373" y="2162"/>
                      <a:pt x="1373" y="2162"/>
                    </a:cubicBezTo>
                    <a:lnTo>
                      <a:pt x="1396" y="2213"/>
                    </a:lnTo>
                    <a:close/>
                    <a:moveTo>
                      <a:pt x="1519" y="2147"/>
                    </a:moveTo>
                    <a:cubicBezTo>
                      <a:pt x="1629" y="2087"/>
                      <a:pt x="1629" y="2087"/>
                      <a:pt x="1629" y="2087"/>
                    </a:cubicBezTo>
                    <a:cubicBezTo>
                      <a:pt x="1604" y="2032"/>
                      <a:pt x="1604" y="2032"/>
                      <a:pt x="1604" y="2032"/>
                    </a:cubicBezTo>
                    <a:cubicBezTo>
                      <a:pt x="1492" y="2086"/>
                      <a:pt x="1492" y="2086"/>
                      <a:pt x="1492" y="2086"/>
                    </a:cubicBezTo>
                    <a:cubicBezTo>
                      <a:pt x="1493" y="2091"/>
                      <a:pt x="1493" y="2091"/>
                      <a:pt x="1493" y="2091"/>
                    </a:cubicBezTo>
                    <a:lnTo>
                      <a:pt x="1519" y="2147"/>
                    </a:lnTo>
                    <a:close/>
                    <a:moveTo>
                      <a:pt x="1644" y="2079"/>
                    </a:moveTo>
                    <a:cubicBezTo>
                      <a:pt x="1738" y="2028"/>
                      <a:pt x="1738" y="2028"/>
                      <a:pt x="1738" y="2028"/>
                    </a:cubicBezTo>
                    <a:cubicBezTo>
                      <a:pt x="1733" y="2018"/>
                      <a:pt x="1722" y="1994"/>
                      <a:pt x="1707" y="1962"/>
                    </a:cubicBezTo>
                    <a:cubicBezTo>
                      <a:pt x="1611" y="2010"/>
                      <a:pt x="1611" y="2010"/>
                      <a:pt x="1611" y="2010"/>
                    </a:cubicBezTo>
                    <a:lnTo>
                      <a:pt x="1644" y="2079"/>
                    </a:lnTo>
                    <a:close/>
                    <a:moveTo>
                      <a:pt x="1753" y="2020"/>
                    </a:moveTo>
                    <a:cubicBezTo>
                      <a:pt x="1857" y="1964"/>
                      <a:pt x="1857" y="1964"/>
                      <a:pt x="1857" y="1964"/>
                    </a:cubicBezTo>
                    <a:cubicBezTo>
                      <a:pt x="1822" y="1889"/>
                      <a:pt x="1822" y="1889"/>
                      <a:pt x="1822" y="1889"/>
                    </a:cubicBezTo>
                    <a:cubicBezTo>
                      <a:pt x="1715" y="1940"/>
                      <a:pt x="1715" y="1940"/>
                      <a:pt x="1715" y="1940"/>
                    </a:cubicBezTo>
                    <a:cubicBezTo>
                      <a:pt x="1733" y="1979"/>
                      <a:pt x="1747" y="2008"/>
                      <a:pt x="1753" y="2020"/>
                    </a:cubicBezTo>
                    <a:close/>
                    <a:moveTo>
                      <a:pt x="1872" y="1956"/>
                    </a:moveTo>
                    <a:cubicBezTo>
                      <a:pt x="1976" y="1900"/>
                      <a:pt x="1976" y="1900"/>
                      <a:pt x="1976" y="1900"/>
                    </a:cubicBezTo>
                    <a:cubicBezTo>
                      <a:pt x="1974" y="1894"/>
                      <a:pt x="1968" y="1883"/>
                      <a:pt x="1961" y="1867"/>
                    </a:cubicBezTo>
                    <a:cubicBezTo>
                      <a:pt x="1854" y="1919"/>
                      <a:pt x="1854" y="1919"/>
                      <a:pt x="1854" y="1919"/>
                    </a:cubicBezTo>
                    <a:lnTo>
                      <a:pt x="1872" y="1956"/>
                    </a:lnTo>
                    <a:close/>
                    <a:moveTo>
                      <a:pt x="1986" y="1883"/>
                    </a:moveTo>
                    <a:cubicBezTo>
                      <a:pt x="1988" y="1887"/>
                      <a:pt x="1989" y="1889"/>
                      <a:pt x="1991" y="1892"/>
                    </a:cubicBezTo>
                    <a:cubicBezTo>
                      <a:pt x="2088" y="1840"/>
                      <a:pt x="2088" y="1840"/>
                      <a:pt x="2088" y="1840"/>
                    </a:cubicBezTo>
                    <a:cubicBezTo>
                      <a:pt x="2066" y="1793"/>
                      <a:pt x="2066" y="1793"/>
                      <a:pt x="2066" y="1793"/>
                    </a:cubicBezTo>
                    <a:cubicBezTo>
                      <a:pt x="1970" y="1843"/>
                      <a:pt x="1970" y="1843"/>
                      <a:pt x="1970" y="1843"/>
                    </a:cubicBezTo>
                    <a:cubicBezTo>
                      <a:pt x="1970" y="1844"/>
                      <a:pt x="1970" y="1844"/>
                      <a:pt x="1970" y="1844"/>
                    </a:cubicBezTo>
                    <a:cubicBezTo>
                      <a:pt x="1969" y="1844"/>
                      <a:pt x="1969" y="1844"/>
                      <a:pt x="1969" y="1844"/>
                    </a:cubicBezTo>
                    <a:cubicBezTo>
                      <a:pt x="1976" y="1860"/>
                      <a:pt x="1982" y="1873"/>
                      <a:pt x="1986" y="1883"/>
                    </a:cubicBezTo>
                    <a:close/>
                    <a:moveTo>
                      <a:pt x="2195" y="1783"/>
                    </a:moveTo>
                    <a:cubicBezTo>
                      <a:pt x="2233" y="1764"/>
                      <a:pt x="2302" y="1730"/>
                      <a:pt x="2388" y="1684"/>
                    </a:cubicBezTo>
                    <a:cubicBezTo>
                      <a:pt x="2441" y="1657"/>
                      <a:pt x="2500" y="1625"/>
                      <a:pt x="2564" y="1591"/>
                    </a:cubicBezTo>
                    <a:cubicBezTo>
                      <a:pt x="2515" y="1488"/>
                      <a:pt x="2515" y="1488"/>
                      <a:pt x="2515" y="1488"/>
                    </a:cubicBezTo>
                    <a:cubicBezTo>
                      <a:pt x="2502" y="1496"/>
                      <a:pt x="2420" y="1543"/>
                      <a:pt x="2337" y="1591"/>
                    </a:cubicBezTo>
                    <a:cubicBezTo>
                      <a:pt x="2291" y="1617"/>
                      <a:pt x="2246" y="1644"/>
                      <a:pt x="2212" y="1664"/>
                    </a:cubicBezTo>
                    <a:cubicBezTo>
                      <a:pt x="2195" y="1674"/>
                      <a:pt x="2181" y="1682"/>
                      <a:pt x="2171" y="1688"/>
                    </a:cubicBezTo>
                    <a:cubicBezTo>
                      <a:pt x="2166" y="1691"/>
                      <a:pt x="2163" y="1694"/>
                      <a:pt x="2160" y="1696"/>
                    </a:cubicBezTo>
                    <a:cubicBezTo>
                      <a:pt x="2159" y="1696"/>
                      <a:pt x="2158" y="1697"/>
                      <a:pt x="2158" y="1697"/>
                    </a:cubicBezTo>
                    <a:cubicBezTo>
                      <a:pt x="2173" y="1726"/>
                      <a:pt x="2173" y="1726"/>
                      <a:pt x="2173" y="1726"/>
                    </a:cubicBezTo>
                    <a:cubicBezTo>
                      <a:pt x="2169" y="1728"/>
                      <a:pt x="2169" y="1728"/>
                      <a:pt x="2169" y="1728"/>
                    </a:cubicBezTo>
                    <a:lnTo>
                      <a:pt x="2195" y="1783"/>
                    </a:lnTo>
                    <a:close/>
                    <a:moveTo>
                      <a:pt x="2604" y="1570"/>
                    </a:moveTo>
                    <a:cubicBezTo>
                      <a:pt x="2685" y="1527"/>
                      <a:pt x="2771" y="1481"/>
                      <a:pt x="2858" y="1435"/>
                    </a:cubicBezTo>
                    <a:cubicBezTo>
                      <a:pt x="2600" y="1177"/>
                      <a:pt x="2600" y="1177"/>
                      <a:pt x="2600" y="1177"/>
                    </a:cubicBezTo>
                    <a:cubicBezTo>
                      <a:pt x="2596" y="1179"/>
                      <a:pt x="2588" y="1182"/>
                      <a:pt x="2580" y="1185"/>
                    </a:cubicBezTo>
                    <a:cubicBezTo>
                      <a:pt x="2796" y="1394"/>
                      <a:pt x="2796" y="1394"/>
                      <a:pt x="2796" y="1394"/>
                    </a:cubicBezTo>
                    <a:cubicBezTo>
                      <a:pt x="2751" y="1403"/>
                      <a:pt x="2751" y="1403"/>
                      <a:pt x="2751" y="1403"/>
                    </a:cubicBezTo>
                    <a:cubicBezTo>
                      <a:pt x="2655" y="1310"/>
                      <a:pt x="2655" y="1310"/>
                      <a:pt x="2655" y="1310"/>
                    </a:cubicBezTo>
                    <a:cubicBezTo>
                      <a:pt x="2643" y="1428"/>
                      <a:pt x="2643" y="1428"/>
                      <a:pt x="2643" y="1428"/>
                    </a:cubicBezTo>
                    <a:cubicBezTo>
                      <a:pt x="2566" y="1448"/>
                      <a:pt x="2566" y="1448"/>
                      <a:pt x="2566" y="1448"/>
                    </a:cubicBezTo>
                    <a:cubicBezTo>
                      <a:pt x="2470" y="1228"/>
                      <a:pt x="2470" y="1228"/>
                      <a:pt x="2470" y="1228"/>
                    </a:cubicBezTo>
                    <a:cubicBezTo>
                      <a:pt x="2577" y="1186"/>
                      <a:pt x="2577" y="1186"/>
                      <a:pt x="2577" y="1186"/>
                    </a:cubicBezTo>
                    <a:cubicBezTo>
                      <a:pt x="2561" y="1192"/>
                      <a:pt x="2541" y="1199"/>
                      <a:pt x="2521" y="1207"/>
                    </a:cubicBezTo>
                    <a:cubicBezTo>
                      <a:pt x="2500" y="1215"/>
                      <a:pt x="2479" y="1222"/>
                      <a:pt x="2463" y="1229"/>
                    </a:cubicBezTo>
                    <a:cubicBezTo>
                      <a:pt x="2455" y="1232"/>
                      <a:pt x="2449" y="1234"/>
                      <a:pt x="2444" y="1236"/>
                    </a:cubicBezTo>
                    <a:cubicBezTo>
                      <a:pt x="2444" y="1237"/>
                      <a:pt x="2443" y="1237"/>
                      <a:pt x="2443" y="1237"/>
                    </a:cubicBezTo>
                    <a:cubicBezTo>
                      <a:pt x="2545" y="1450"/>
                      <a:pt x="2545" y="1450"/>
                      <a:pt x="2545" y="1450"/>
                    </a:cubicBezTo>
                    <a:cubicBezTo>
                      <a:pt x="2547" y="1449"/>
                      <a:pt x="2547" y="1449"/>
                      <a:pt x="2547" y="1449"/>
                    </a:cubicBezTo>
                    <a:lnTo>
                      <a:pt x="2604" y="1570"/>
                    </a:lnTo>
                    <a:close/>
                    <a:moveTo>
                      <a:pt x="2576" y="1201"/>
                    </a:moveTo>
                    <a:cubicBezTo>
                      <a:pt x="2488" y="1236"/>
                      <a:pt x="2488" y="1236"/>
                      <a:pt x="2488" y="1236"/>
                    </a:cubicBezTo>
                    <a:cubicBezTo>
                      <a:pt x="2574" y="1432"/>
                      <a:pt x="2574" y="1432"/>
                      <a:pt x="2574" y="1432"/>
                    </a:cubicBezTo>
                    <a:cubicBezTo>
                      <a:pt x="2630" y="1417"/>
                      <a:pt x="2630" y="1417"/>
                      <a:pt x="2630" y="1417"/>
                    </a:cubicBezTo>
                    <a:cubicBezTo>
                      <a:pt x="2642" y="1309"/>
                      <a:pt x="2642" y="1309"/>
                      <a:pt x="2642" y="1309"/>
                    </a:cubicBezTo>
                    <a:cubicBezTo>
                      <a:pt x="2645" y="1280"/>
                      <a:pt x="2645" y="1280"/>
                      <a:pt x="2645" y="1280"/>
                    </a:cubicBezTo>
                    <a:cubicBezTo>
                      <a:pt x="2665" y="1300"/>
                      <a:pt x="2665" y="1300"/>
                      <a:pt x="2665" y="1300"/>
                    </a:cubicBezTo>
                    <a:cubicBezTo>
                      <a:pt x="2755" y="1388"/>
                      <a:pt x="2755" y="1388"/>
                      <a:pt x="2755" y="1388"/>
                    </a:cubicBezTo>
                    <a:cubicBezTo>
                      <a:pt x="2767" y="1386"/>
                      <a:pt x="2767" y="1386"/>
                      <a:pt x="2767" y="1386"/>
                    </a:cubicBezTo>
                    <a:lnTo>
                      <a:pt x="2576" y="1201"/>
                    </a:lnTo>
                    <a:close/>
                    <a:moveTo>
                      <a:pt x="2250" y="941"/>
                    </a:moveTo>
                    <a:cubicBezTo>
                      <a:pt x="2004" y="1108"/>
                      <a:pt x="2004" y="1108"/>
                      <a:pt x="2004" y="1108"/>
                    </a:cubicBezTo>
                    <a:cubicBezTo>
                      <a:pt x="1888" y="1117"/>
                      <a:pt x="1888" y="1117"/>
                      <a:pt x="1888" y="1117"/>
                    </a:cubicBezTo>
                    <a:cubicBezTo>
                      <a:pt x="2015" y="1393"/>
                      <a:pt x="2015" y="1393"/>
                      <a:pt x="2015" y="1393"/>
                    </a:cubicBezTo>
                    <a:cubicBezTo>
                      <a:pt x="2027" y="1387"/>
                      <a:pt x="2044" y="1378"/>
                      <a:pt x="2068" y="1367"/>
                    </a:cubicBezTo>
                    <a:cubicBezTo>
                      <a:pt x="2122" y="1341"/>
                      <a:pt x="2200" y="1303"/>
                      <a:pt x="2266" y="1272"/>
                    </a:cubicBezTo>
                    <a:cubicBezTo>
                      <a:pt x="2298" y="1256"/>
                      <a:pt x="2328" y="1242"/>
                      <a:pt x="2349" y="1232"/>
                    </a:cubicBezTo>
                    <a:cubicBezTo>
                      <a:pt x="2359" y="1227"/>
                      <a:pt x="2368" y="1222"/>
                      <a:pt x="2373" y="1219"/>
                    </a:cubicBezTo>
                    <a:cubicBezTo>
                      <a:pt x="2376" y="1218"/>
                      <a:pt x="2378" y="1217"/>
                      <a:pt x="2380" y="1216"/>
                    </a:cubicBezTo>
                    <a:cubicBezTo>
                      <a:pt x="2380" y="1215"/>
                      <a:pt x="2381" y="1215"/>
                      <a:pt x="2382" y="1214"/>
                    </a:cubicBezTo>
                    <a:lnTo>
                      <a:pt x="2250" y="941"/>
                    </a:lnTo>
                    <a:close/>
                    <a:moveTo>
                      <a:pt x="1871" y="1118"/>
                    </a:moveTo>
                    <a:cubicBezTo>
                      <a:pt x="1669" y="1134"/>
                      <a:pt x="1669" y="1134"/>
                      <a:pt x="1669" y="1134"/>
                    </a:cubicBezTo>
                    <a:cubicBezTo>
                      <a:pt x="1650" y="1166"/>
                      <a:pt x="1591" y="1268"/>
                      <a:pt x="1532" y="1369"/>
                    </a:cubicBezTo>
                    <a:cubicBezTo>
                      <a:pt x="1516" y="1396"/>
                      <a:pt x="1501" y="1422"/>
                      <a:pt x="1487" y="1447"/>
                    </a:cubicBezTo>
                    <a:cubicBezTo>
                      <a:pt x="1497" y="1471"/>
                      <a:pt x="1551" y="1589"/>
                      <a:pt x="1608" y="1712"/>
                    </a:cubicBezTo>
                    <a:cubicBezTo>
                      <a:pt x="1695" y="1605"/>
                      <a:pt x="1695" y="1605"/>
                      <a:pt x="1695" y="1605"/>
                    </a:cubicBezTo>
                    <a:cubicBezTo>
                      <a:pt x="2030" y="1464"/>
                      <a:pt x="2030" y="1464"/>
                      <a:pt x="2030" y="1464"/>
                    </a:cubicBezTo>
                    <a:lnTo>
                      <a:pt x="1871" y="1118"/>
                    </a:lnTo>
                    <a:close/>
                    <a:moveTo>
                      <a:pt x="1209" y="796"/>
                    </a:moveTo>
                    <a:cubicBezTo>
                      <a:pt x="1097" y="886"/>
                      <a:pt x="1097" y="886"/>
                      <a:pt x="1097" y="886"/>
                    </a:cubicBezTo>
                    <a:cubicBezTo>
                      <a:pt x="1097" y="914"/>
                      <a:pt x="1091" y="1071"/>
                      <a:pt x="1091" y="1123"/>
                    </a:cubicBezTo>
                    <a:cubicBezTo>
                      <a:pt x="1311" y="1111"/>
                      <a:pt x="1311" y="1111"/>
                      <a:pt x="1311" y="1111"/>
                    </a:cubicBezTo>
                    <a:cubicBezTo>
                      <a:pt x="1328" y="975"/>
                      <a:pt x="1328" y="975"/>
                      <a:pt x="1328" y="975"/>
                    </a:cubicBezTo>
                    <a:lnTo>
                      <a:pt x="1209" y="796"/>
                    </a:lnTo>
                    <a:close/>
                    <a:moveTo>
                      <a:pt x="669" y="1239"/>
                    </a:moveTo>
                    <a:cubicBezTo>
                      <a:pt x="410" y="1454"/>
                      <a:pt x="410" y="1454"/>
                      <a:pt x="410" y="1454"/>
                    </a:cubicBezTo>
                    <a:cubicBezTo>
                      <a:pt x="426" y="1470"/>
                      <a:pt x="447" y="1491"/>
                      <a:pt x="469" y="1512"/>
                    </a:cubicBezTo>
                    <a:cubicBezTo>
                      <a:pt x="489" y="1533"/>
                      <a:pt x="511" y="1553"/>
                      <a:pt x="527" y="1569"/>
                    </a:cubicBezTo>
                    <a:cubicBezTo>
                      <a:pt x="534" y="1576"/>
                      <a:pt x="541" y="1582"/>
                      <a:pt x="546" y="1586"/>
                    </a:cubicBezTo>
                    <a:cubicBezTo>
                      <a:pt x="579" y="1567"/>
                      <a:pt x="717" y="1490"/>
                      <a:pt x="816" y="1436"/>
                    </a:cubicBezTo>
                    <a:lnTo>
                      <a:pt x="669" y="1239"/>
                    </a:lnTo>
                    <a:close/>
                    <a:moveTo>
                      <a:pt x="815" y="1465"/>
                    </a:moveTo>
                    <a:cubicBezTo>
                      <a:pt x="1079" y="1800"/>
                      <a:pt x="1079" y="1800"/>
                      <a:pt x="1079" y="1800"/>
                    </a:cubicBezTo>
                    <a:cubicBezTo>
                      <a:pt x="1146" y="1736"/>
                      <a:pt x="1146" y="1736"/>
                      <a:pt x="1146" y="1736"/>
                    </a:cubicBezTo>
                    <a:cubicBezTo>
                      <a:pt x="921" y="1454"/>
                      <a:pt x="921" y="1454"/>
                      <a:pt x="921" y="1454"/>
                    </a:cubicBezTo>
                    <a:lnTo>
                      <a:pt x="815" y="1465"/>
                    </a:lnTo>
                    <a:close/>
                    <a:moveTo>
                      <a:pt x="551" y="1606"/>
                    </a:moveTo>
                    <a:cubicBezTo>
                      <a:pt x="551" y="1633"/>
                      <a:pt x="553" y="1712"/>
                      <a:pt x="554" y="1728"/>
                    </a:cubicBezTo>
                    <a:cubicBezTo>
                      <a:pt x="566" y="1739"/>
                      <a:pt x="643" y="1813"/>
                      <a:pt x="721" y="1887"/>
                    </a:cubicBezTo>
                    <a:cubicBezTo>
                      <a:pt x="764" y="1928"/>
                      <a:pt x="806" y="1968"/>
                      <a:pt x="838" y="1999"/>
                    </a:cubicBezTo>
                    <a:cubicBezTo>
                      <a:pt x="854" y="2014"/>
                      <a:pt x="868" y="2027"/>
                      <a:pt x="877" y="2036"/>
                    </a:cubicBezTo>
                    <a:cubicBezTo>
                      <a:pt x="878" y="2036"/>
                      <a:pt x="878" y="2037"/>
                      <a:pt x="879" y="2038"/>
                    </a:cubicBezTo>
                    <a:cubicBezTo>
                      <a:pt x="930" y="1989"/>
                      <a:pt x="1013" y="1910"/>
                      <a:pt x="1092" y="1834"/>
                    </a:cubicBezTo>
                    <a:cubicBezTo>
                      <a:pt x="1129" y="1800"/>
                      <a:pt x="1165" y="1765"/>
                      <a:pt x="1199" y="1733"/>
                    </a:cubicBezTo>
                    <a:cubicBezTo>
                      <a:pt x="1183" y="1715"/>
                      <a:pt x="1122" y="1640"/>
                      <a:pt x="1061" y="1565"/>
                    </a:cubicBezTo>
                    <a:cubicBezTo>
                      <a:pt x="1025" y="1521"/>
                      <a:pt x="990" y="1478"/>
                      <a:pt x="963" y="1445"/>
                    </a:cubicBezTo>
                    <a:cubicBezTo>
                      <a:pt x="950" y="1428"/>
                      <a:pt x="939" y="1415"/>
                      <a:pt x="931" y="1405"/>
                    </a:cubicBezTo>
                    <a:cubicBezTo>
                      <a:pt x="927" y="1401"/>
                      <a:pt x="925" y="1398"/>
                      <a:pt x="923" y="1395"/>
                    </a:cubicBezTo>
                    <a:cubicBezTo>
                      <a:pt x="909" y="1403"/>
                      <a:pt x="870" y="1424"/>
                      <a:pt x="823" y="1450"/>
                    </a:cubicBezTo>
                    <a:cubicBezTo>
                      <a:pt x="927" y="1440"/>
                      <a:pt x="927" y="1440"/>
                      <a:pt x="927" y="1440"/>
                    </a:cubicBezTo>
                    <a:cubicBezTo>
                      <a:pt x="1165" y="1738"/>
                      <a:pt x="1165" y="1738"/>
                      <a:pt x="1165" y="1738"/>
                    </a:cubicBezTo>
                    <a:cubicBezTo>
                      <a:pt x="1078" y="1821"/>
                      <a:pt x="1078" y="1821"/>
                      <a:pt x="1078" y="1821"/>
                    </a:cubicBezTo>
                    <a:cubicBezTo>
                      <a:pt x="797" y="1465"/>
                      <a:pt x="797" y="1465"/>
                      <a:pt x="797" y="1465"/>
                    </a:cubicBezTo>
                    <a:cubicBezTo>
                      <a:pt x="778" y="1475"/>
                      <a:pt x="758" y="1486"/>
                      <a:pt x="738" y="1497"/>
                    </a:cubicBezTo>
                    <a:cubicBezTo>
                      <a:pt x="691" y="1524"/>
                      <a:pt x="643" y="1550"/>
                      <a:pt x="607" y="1570"/>
                    </a:cubicBezTo>
                    <a:cubicBezTo>
                      <a:pt x="589" y="1580"/>
                      <a:pt x="574" y="1589"/>
                      <a:pt x="564" y="1595"/>
                    </a:cubicBezTo>
                    <a:cubicBezTo>
                      <a:pt x="559" y="1598"/>
                      <a:pt x="555" y="1600"/>
                      <a:pt x="552" y="1602"/>
                    </a:cubicBezTo>
                    <a:lnTo>
                      <a:pt x="551" y="1606"/>
                    </a:lnTo>
                    <a:close/>
                    <a:moveTo>
                      <a:pt x="609" y="1812"/>
                    </a:moveTo>
                    <a:cubicBezTo>
                      <a:pt x="596" y="1860"/>
                      <a:pt x="556" y="2008"/>
                      <a:pt x="535" y="2081"/>
                    </a:cubicBezTo>
                    <a:cubicBezTo>
                      <a:pt x="576" y="2095"/>
                      <a:pt x="621" y="2112"/>
                      <a:pt x="641" y="2111"/>
                    </a:cubicBezTo>
                    <a:cubicBezTo>
                      <a:pt x="664" y="2112"/>
                      <a:pt x="689" y="2098"/>
                      <a:pt x="735" y="2091"/>
                    </a:cubicBezTo>
                    <a:cubicBezTo>
                      <a:pt x="752" y="2089"/>
                      <a:pt x="775" y="2085"/>
                      <a:pt x="804" y="2085"/>
                    </a:cubicBezTo>
                    <a:cubicBezTo>
                      <a:pt x="811" y="2085"/>
                      <a:pt x="819" y="2085"/>
                      <a:pt x="827" y="2086"/>
                    </a:cubicBezTo>
                    <a:cubicBezTo>
                      <a:pt x="827" y="2086"/>
                      <a:pt x="828" y="2086"/>
                      <a:pt x="828" y="2086"/>
                    </a:cubicBezTo>
                    <a:cubicBezTo>
                      <a:pt x="833" y="2082"/>
                      <a:pt x="847" y="2068"/>
                      <a:pt x="867" y="2049"/>
                    </a:cubicBezTo>
                    <a:cubicBezTo>
                      <a:pt x="827" y="2010"/>
                      <a:pt x="694" y="1884"/>
                      <a:pt x="611" y="1804"/>
                    </a:cubicBezTo>
                    <a:cubicBezTo>
                      <a:pt x="610" y="1806"/>
                      <a:pt x="610" y="1809"/>
                      <a:pt x="609" y="1812"/>
                    </a:cubicBezTo>
                    <a:close/>
                    <a:moveTo>
                      <a:pt x="516" y="2147"/>
                    </a:moveTo>
                    <a:cubicBezTo>
                      <a:pt x="500" y="2196"/>
                      <a:pt x="464" y="2304"/>
                      <a:pt x="459" y="2320"/>
                    </a:cubicBezTo>
                    <a:cubicBezTo>
                      <a:pt x="462" y="2334"/>
                      <a:pt x="493" y="2420"/>
                      <a:pt x="522" y="2503"/>
                    </a:cubicBezTo>
                    <a:cubicBezTo>
                      <a:pt x="544" y="2564"/>
                      <a:pt x="565" y="2623"/>
                      <a:pt x="575" y="2653"/>
                    </a:cubicBezTo>
                    <a:cubicBezTo>
                      <a:pt x="1023" y="2413"/>
                      <a:pt x="1023" y="2413"/>
                      <a:pt x="1023" y="2413"/>
                    </a:cubicBezTo>
                    <a:cubicBezTo>
                      <a:pt x="1023" y="2411"/>
                      <a:pt x="1020" y="2400"/>
                      <a:pt x="1014" y="2382"/>
                    </a:cubicBezTo>
                    <a:cubicBezTo>
                      <a:pt x="1004" y="2353"/>
                      <a:pt x="988" y="2308"/>
                      <a:pt x="968" y="2267"/>
                    </a:cubicBezTo>
                    <a:cubicBezTo>
                      <a:pt x="948" y="2225"/>
                      <a:pt x="921" y="2189"/>
                      <a:pt x="902" y="2178"/>
                    </a:cubicBezTo>
                    <a:cubicBezTo>
                      <a:pt x="873" y="2160"/>
                      <a:pt x="847" y="2157"/>
                      <a:pt x="822" y="2155"/>
                    </a:cubicBezTo>
                    <a:cubicBezTo>
                      <a:pt x="816" y="2154"/>
                      <a:pt x="810" y="2154"/>
                      <a:pt x="804" y="2154"/>
                    </a:cubicBezTo>
                    <a:cubicBezTo>
                      <a:pt x="781" y="2154"/>
                      <a:pt x="763" y="2157"/>
                      <a:pt x="744" y="2160"/>
                    </a:cubicBezTo>
                    <a:cubicBezTo>
                      <a:pt x="712" y="2163"/>
                      <a:pt x="686" y="2179"/>
                      <a:pt x="641" y="2180"/>
                    </a:cubicBezTo>
                    <a:cubicBezTo>
                      <a:pt x="597" y="2179"/>
                      <a:pt x="554" y="2160"/>
                      <a:pt x="516" y="2147"/>
                    </a:cubicBezTo>
                    <a:close/>
                    <a:moveTo>
                      <a:pt x="526" y="2852"/>
                    </a:moveTo>
                    <a:cubicBezTo>
                      <a:pt x="529" y="2855"/>
                      <a:pt x="532" y="2860"/>
                      <a:pt x="538" y="2866"/>
                    </a:cubicBezTo>
                    <a:cubicBezTo>
                      <a:pt x="592" y="2836"/>
                      <a:pt x="593" y="2835"/>
                      <a:pt x="599" y="2831"/>
                    </a:cubicBezTo>
                    <a:cubicBezTo>
                      <a:pt x="601" y="2830"/>
                      <a:pt x="601" y="2830"/>
                      <a:pt x="601" y="2830"/>
                    </a:cubicBezTo>
                    <a:cubicBezTo>
                      <a:pt x="602" y="2830"/>
                      <a:pt x="602" y="2830"/>
                      <a:pt x="602" y="2830"/>
                    </a:cubicBezTo>
                    <a:cubicBezTo>
                      <a:pt x="602" y="2829"/>
                      <a:pt x="615" y="2823"/>
                      <a:pt x="640" y="2810"/>
                    </a:cubicBezTo>
                    <a:cubicBezTo>
                      <a:pt x="811" y="2719"/>
                      <a:pt x="1543" y="2331"/>
                      <a:pt x="2268" y="1940"/>
                    </a:cubicBezTo>
                    <a:cubicBezTo>
                      <a:pt x="2900" y="1599"/>
                      <a:pt x="3534" y="1248"/>
                      <a:pt x="3744" y="1140"/>
                    </a:cubicBezTo>
                    <a:cubicBezTo>
                      <a:pt x="3738" y="1126"/>
                      <a:pt x="3738" y="1126"/>
                      <a:pt x="3738" y="1126"/>
                    </a:cubicBezTo>
                    <a:cubicBezTo>
                      <a:pt x="3724" y="1137"/>
                      <a:pt x="3711" y="1147"/>
                      <a:pt x="3701" y="1155"/>
                    </a:cubicBezTo>
                    <a:cubicBezTo>
                      <a:pt x="3694" y="1159"/>
                      <a:pt x="3692" y="1161"/>
                      <a:pt x="3687" y="1164"/>
                    </a:cubicBezTo>
                    <a:cubicBezTo>
                      <a:pt x="3653" y="1183"/>
                      <a:pt x="3549" y="1239"/>
                      <a:pt x="3408" y="1315"/>
                    </a:cubicBezTo>
                    <a:cubicBezTo>
                      <a:pt x="2984" y="1542"/>
                      <a:pt x="2234" y="1934"/>
                      <a:pt x="2234" y="1934"/>
                    </a:cubicBezTo>
                    <a:cubicBezTo>
                      <a:pt x="2233" y="1933"/>
                      <a:pt x="2233" y="1933"/>
                      <a:pt x="2233" y="1933"/>
                    </a:cubicBezTo>
                    <a:cubicBezTo>
                      <a:pt x="2230" y="1935"/>
                      <a:pt x="2230" y="1935"/>
                      <a:pt x="2230" y="1935"/>
                    </a:cubicBezTo>
                    <a:cubicBezTo>
                      <a:pt x="1345" y="2414"/>
                      <a:pt x="1345" y="2414"/>
                      <a:pt x="1345" y="2414"/>
                    </a:cubicBezTo>
                    <a:lnTo>
                      <a:pt x="526" y="2852"/>
                    </a:lnTo>
                    <a:close/>
                    <a:moveTo>
                      <a:pt x="3925" y="847"/>
                    </a:moveTo>
                    <a:cubicBezTo>
                      <a:pt x="3921" y="838"/>
                      <a:pt x="3915" y="823"/>
                      <a:pt x="3908" y="807"/>
                    </a:cubicBezTo>
                    <a:cubicBezTo>
                      <a:pt x="3900" y="786"/>
                      <a:pt x="3891" y="761"/>
                      <a:pt x="3885" y="735"/>
                    </a:cubicBezTo>
                    <a:cubicBezTo>
                      <a:pt x="3728" y="806"/>
                      <a:pt x="3728" y="806"/>
                      <a:pt x="3728" y="806"/>
                    </a:cubicBezTo>
                    <a:cubicBezTo>
                      <a:pt x="3663" y="783"/>
                      <a:pt x="3663" y="783"/>
                      <a:pt x="3663" y="783"/>
                    </a:cubicBezTo>
                    <a:cubicBezTo>
                      <a:pt x="3479" y="1003"/>
                      <a:pt x="3479" y="1003"/>
                      <a:pt x="3479" y="1003"/>
                    </a:cubicBezTo>
                    <a:cubicBezTo>
                      <a:pt x="3474" y="1002"/>
                      <a:pt x="3474" y="1002"/>
                      <a:pt x="3474" y="1002"/>
                    </a:cubicBezTo>
                    <a:cubicBezTo>
                      <a:pt x="3474" y="1002"/>
                      <a:pt x="3444" y="992"/>
                      <a:pt x="3414" y="983"/>
                    </a:cubicBezTo>
                    <a:cubicBezTo>
                      <a:pt x="3399" y="979"/>
                      <a:pt x="3384" y="974"/>
                      <a:pt x="3372" y="971"/>
                    </a:cubicBezTo>
                    <a:cubicBezTo>
                      <a:pt x="3366" y="969"/>
                      <a:pt x="3361" y="968"/>
                      <a:pt x="3358" y="967"/>
                    </a:cubicBezTo>
                    <a:cubicBezTo>
                      <a:pt x="3250" y="1227"/>
                      <a:pt x="3250" y="1227"/>
                      <a:pt x="3250" y="1227"/>
                    </a:cubicBezTo>
                    <a:cubicBezTo>
                      <a:pt x="3334" y="1182"/>
                      <a:pt x="3410" y="1141"/>
                      <a:pt x="3470" y="1109"/>
                    </a:cubicBezTo>
                    <a:cubicBezTo>
                      <a:pt x="3513" y="1086"/>
                      <a:pt x="3548" y="1066"/>
                      <a:pt x="3574" y="1052"/>
                    </a:cubicBezTo>
                    <a:cubicBezTo>
                      <a:pt x="3586" y="1045"/>
                      <a:pt x="3597" y="1040"/>
                      <a:pt x="3604" y="1036"/>
                    </a:cubicBezTo>
                    <a:cubicBezTo>
                      <a:pt x="3607" y="1034"/>
                      <a:pt x="3610" y="1032"/>
                      <a:pt x="3612" y="1031"/>
                    </a:cubicBezTo>
                    <a:cubicBezTo>
                      <a:pt x="3612" y="1031"/>
                      <a:pt x="3612" y="1031"/>
                      <a:pt x="3613" y="1030"/>
                    </a:cubicBezTo>
                    <a:cubicBezTo>
                      <a:pt x="3629" y="1019"/>
                      <a:pt x="3672" y="982"/>
                      <a:pt x="3726" y="945"/>
                    </a:cubicBezTo>
                    <a:cubicBezTo>
                      <a:pt x="3780" y="908"/>
                      <a:pt x="3848" y="869"/>
                      <a:pt x="3925" y="847"/>
                    </a:cubicBezTo>
                    <a:close/>
                    <a:moveTo>
                      <a:pt x="3792" y="1085"/>
                    </a:moveTo>
                    <a:cubicBezTo>
                      <a:pt x="3803" y="1111"/>
                      <a:pt x="3803" y="1111"/>
                      <a:pt x="3803" y="1111"/>
                    </a:cubicBezTo>
                    <a:cubicBezTo>
                      <a:pt x="3927" y="1054"/>
                      <a:pt x="4065" y="1015"/>
                      <a:pt x="4208" y="989"/>
                    </a:cubicBezTo>
                    <a:cubicBezTo>
                      <a:pt x="4154" y="985"/>
                      <a:pt x="4107" y="981"/>
                      <a:pt x="4066" y="981"/>
                    </a:cubicBezTo>
                    <a:cubicBezTo>
                      <a:pt x="4031" y="981"/>
                      <a:pt x="4001" y="984"/>
                      <a:pt x="3972" y="992"/>
                    </a:cubicBezTo>
                    <a:cubicBezTo>
                      <a:pt x="3917" y="1006"/>
                      <a:pt x="3860" y="1038"/>
                      <a:pt x="3812" y="1071"/>
                    </a:cubicBezTo>
                    <a:cubicBezTo>
                      <a:pt x="3805" y="1076"/>
                      <a:pt x="3799" y="1080"/>
                      <a:pt x="3792" y="1085"/>
                    </a:cubicBezTo>
                    <a:close/>
                    <a:moveTo>
                      <a:pt x="4321" y="757"/>
                    </a:moveTo>
                    <a:cubicBezTo>
                      <a:pt x="4294" y="629"/>
                      <a:pt x="4294" y="629"/>
                      <a:pt x="4294" y="629"/>
                    </a:cubicBezTo>
                    <a:cubicBezTo>
                      <a:pt x="4190" y="644"/>
                      <a:pt x="4190" y="644"/>
                      <a:pt x="4190" y="644"/>
                    </a:cubicBezTo>
                    <a:cubicBezTo>
                      <a:pt x="4218" y="771"/>
                      <a:pt x="4218" y="771"/>
                      <a:pt x="4218" y="771"/>
                    </a:cubicBezTo>
                    <a:lnTo>
                      <a:pt x="4321" y="757"/>
                    </a:lnTo>
                    <a:close/>
                    <a:moveTo>
                      <a:pt x="4221" y="784"/>
                    </a:moveTo>
                    <a:cubicBezTo>
                      <a:pt x="4233" y="838"/>
                      <a:pt x="4233" y="838"/>
                      <a:pt x="4233" y="838"/>
                    </a:cubicBezTo>
                    <a:cubicBezTo>
                      <a:pt x="4267" y="840"/>
                      <a:pt x="4302" y="842"/>
                      <a:pt x="4338" y="843"/>
                    </a:cubicBezTo>
                    <a:cubicBezTo>
                      <a:pt x="4323" y="770"/>
                      <a:pt x="4323" y="770"/>
                      <a:pt x="4323" y="770"/>
                    </a:cubicBezTo>
                    <a:lnTo>
                      <a:pt x="4221" y="784"/>
                    </a:lnTo>
                    <a:close/>
                    <a:moveTo>
                      <a:pt x="4173" y="646"/>
                    </a:moveTo>
                    <a:cubicBezTo>
                      <a:pt x="4109" y="655"/>
                      <a:pt x="4109" y="655"/>
                      <a:pt x="4109" y="655"/>
                    </a:cubicBezTo>
                    <a:cubicBezTo>
                      <a:pt x="4129" y="784"/>
                      <a:pt x="4129" y="784"/>
                      <a:pt x="4129" y="784"/>
                    </a:cubicBezTo>
                    <a:cubicBezTo>
                      <a:pt x="4202" y="774"/>
                      <a:pt x="4202" y="774"/>
                      <a:pt x="4202" y="774"/>
                    </a:cubicBezTo>
                    <a:lnTo>
                      <a:pt x="4173" y="646"/>
                    </a:lnTo>
                    <a:close/>
                    <a:moveTo>
                      <a:pt x="4171" y="633"/>
                    </a:moveTo>
                    <a:cubicBezTo>
                      <a:pt x="4125" y="429"/>
                      <a:pt x="4125" y="429"/>
                      <a:pt x="4125" y="429"/>
                    </a:cubicBezTo>
                    <a:cubicBezTo>
                      <a:pt x="4063" y="460"/>
                      <a:pt x="4063" y="460"/>
                      <a:pt x="4063" y="460"/>
                    </a:cubicBezTo>
                    <a:cubicBezTo>
                      <a:pt x="4018" y="480"/>
                      <a:pt x="4018" y="480"/>
                      <a:pt x="4018" y="480"/>
                    </a:cubicBezTo>
                    <a:cubicBezTo>
                      <a:pt x="4104" y="830"/>
                      <a:pt x="4104" y="830"/>
                      <a:pt x="4104" y="830"/>
                    </a:cubicBezTo>
                    <a:cubicBezTo>
                      <a:pt x="4141" y="831"/>
                      <a:pt x="4178" y="834"/>
                      <a:pt x="4216" y="837"/>
                    </a:cubicBezTo>
                    <a:cubicBezTo>
                      <a:pt x="4205" y="786"/>
                      <a:pt x="4205" y="786"/>
                      <a:pt x="4205" y="786"/>
                    </a:cubicBezTo>
                    <a:cubicBezTo>
                      <a:pt x="4118" y="799"/>
                      <a:pt x="4118" y="799"/>
                      <a:pt x="4118" y="799"/>
                    </a:cubicBezTo>
                    <a:cubicBezTo>
                      <a:pt x="4094" y="644"/>
                      <a:pt x="4094" y="644"/>
                      <a:pt x="4094" y="644"/>
                    </a:cubicBezTo>
                    <a:lnTo>
                      <a:pt x="4171" y="633"/>
                    </a:lnTo>
                    <a:close/>
                    <a:moveTo>
                      <a:pt x="4003" y="487"/>
                    </a:moveTo>
                    <a:cubicBezTo>
                      <a:pt x="3927" y="520"/>
                      <a:pt x="3927" y="520"/>
                      <a:pt x="3927" y="520"/>
                    </a:cubicBezTo>
                    <a:cubicBezTo>
                      <a:pt x="3928" y="551"/>
                      <a:pt x="3933" y="596"/>
                      <a:pt x="3939" y="635"/>
                    </a:cubicBezTo>
                    <a:cubicBezTo>
                      <a:pt x="3944" y="667"/>
                      <a:pt x="3948" y="695"/>
                      <a:pt x="3950" y="707"/>
                    </a:cubicBezTo>
                    <a:cubicBezTo>
                      <a:pt x="3951" y="707"/>
                      <a:pt x="3951" y="707"/>
                      <a:pt x="3951" y="707"/>
                    </a:cubicBezTo>
                    <a:cubicBezTo>
                      <a:pt x="3954" y="735"/>
                      <a:pt x="3961" y="763"/>
                      <a:pt x="3971" y="787"/>
                    </a:cubicBezTo>
                    <a:cubicBezTo>
                      <a:pt x="3976" y="799"/>
                      <a:pt x="3980" y="810"/>
                      <a:pt x="3984" y="817"/>
                    </a:cubicBezTo>
                    <a:cubicBezTo>
                      <a:pt x="3986" y="821"/>
                      <a:pt x="3987" y="825"/>
                      <a:pt x="3989" y="827"/>
                    </a:cubicBezTo>
                    <a:cubicBezTo>
                      <a:pt x="3989" y="829"/>
                      <a:pt x="3990" y="830"/>
                      <a:pt x="3990" y="832"/>
                    </a:cubicBezTo>
                    <a:cubicBezTo>
                      <a:pt x="3991" y="832"/>
                      <a:pt x="3991" y="833"/>
                      <a:pt x="3991" y="833"/>
                    </a:cubicBezTo>
                    <a:cubicBezTo>
                      <a:pt x="4016" y="830"/>
                      <a:pt x="4041" y="828"/>
                      <a:pt x="4066" y="828"/>
                    </a:cubicBezTo>
                    <a:cubicBezTo>
                      <a:pt x="4073" y="828"/>
                      <a:pt x="4080" y="829"/>
                      <a:pt x="4087" y="829"/>
                    </a:cubicBezTo>
                    <a:lnTo>
                      <a:pt x="4003" y="487"/>
                    </a:lnTo>
                    <a:close/>
                    <a:moveTo>
                      <a:pt x="3932" y="829"/>
                    </a:moveTo>
                    <a:cubicBezTo>
                      <a:pt x="3951" y="840"/>
                      <a:pt x="3951" y="840"/>
                      <a:pt x="3951" y="840"/>
                    </a:cubicBezTo>
                    <a:cubicBezTo>
                      <a:pt x="3951" y="840"/>
                      <a:pt x="3951" y="840"/>
                      <a:pt x="3951" y="840"/>
                    </a:cubicBezTo>
                    <a:lnTo>
                      <a:pt x="3932" y="829"/>
                    </a:lnTo>
                    <a:close/>
                    <a:moveTo>
                      <a:pt x="3092" y="1657"/>
                    </a:moveTo>
                    <a:cubicBezTo>
                      <a:pt x="3383" y="2246"/>
                      <a:pt x="3383" y="2246"/>
                      <a:pt x="3383" y="2246"/>
                    </a:cubicBezTo>
                    <a:cubicBezTo>
                      <a:pt x="3387" y="2224"/>
                      <a:pt x="3391" y="2203"/>
                      <a:pt x="3396" y="2184"/>
                    </a:cubicBezTo>
                    <a:cubicBezTo>
                      <a:pt x="3410" y="2133"/>
                      <a:pt x="3420" y="2071"/>
                      <a:pt x="3466" y="2012"/>
                    </a:cubicBezTo>
                    <a:cubicBezTo>
                      <a:pt x="3511" y="1952"/>
                      <a:pt x="3590" y="1897"/>
                      <a:pt x="3735" y="1852"/>
                    </a:cubicBezTo>
                    <a:cubicBezTo>
                      <a:pt x="3844" y="1818"/>
                      <a:pt x="3957" y="1787"/>
                      <a:pt x="4008" y="1774"/>
                    </a:cubicBezTo>
                    <a:cubicBezTo>
                      <a:pt x="3804" y="1284"/>
                      <a:pt x="3804" y="1284"/>
                      <a:pt x="3804" y="1284"/>
                    </a:cubicBezTo>
                    <a:cubicBezTo>
                      <a:pt x="3677" y="1349"/>
                      <a:pt x="3414" y="1486"/>
                      <a:pt x="3092" y="1657"/>
                    </a:cubicBezTo>
                    <a:close/>
                    <a:moveTo>
                      <a:pt x="4442" y="1520"/>
                    </a:moveTo>
                    <a:cubicBezTo>
                      <a:pt x="4429" y="1523"/>
                      <a:pt x="4429" y="1523"/>
                      <a:pt x="4429" y="1523"/>
                    </a:cubicBezTo>
                    <a:cubicBezTo>
                      <a:pt x="4324" y="1128"/>
                      <a:pt x="4324" y="1128"/>
                      <a:pt x="4324" y="1128"/>
                    </a:cubicBezTo>
                    <a:cubicBezTo>
                      <a:pt x="4156" y="1153"/>
                      <a:pt x="3995" y="1193"/>
                      <a:pt x="3863" y="1255"/>
                    </a:cubicBezTo>
                    <a:cubicBezTo>
                      <a:pt x="4077" y="1769"/>
                      <a:pt x="4077" y="1769"/>
                      <a:pt x="4077" y="1769"/>
                    </a:cubicBezTo>
                    <a:cubicBezTo>
                      <a:pt x="4569" y="1434"/>
                      <a:pt x="4569" y="1434"/>
                      <a:pt x="4569" y="1434"/>
                    </a:cubicBezTo>
                    <a:cubicBezTo>
                      <a:pt x="4569" y="1403"/>
                      <a:pt x="4573" y="1172"/>
                      <a:pt x="4574" y="1102"/>
                    </a:cubicBezTo>
                    <a:cubicBezTo>
                      <a:pt x="4495" y="1107"/>
                      <a:pt x="4416" y="1115"/>
                      <a:pt x="4338" y="1126"/>
                    </a:cubicBezTo>
                    <a:lnTo>
                      <a:pt x="4442" y="1520"/>
                    </a:lnTo>
                    <a:close/>
                    <a:moveTo>
                      <a:pt x="4756" y="1106"/>
                    </a:moveTo>
                    <a:cubicBezTo>
                      <a:pt x="4754" y="1094"/>
                      <a:pt x="4754" y="1094"/>
                      <a:pt x="4754" y="1094"/>
                    </a:cubicBezTo>
                    <a:cubicBezTo>
                      <a:pt x="4700" y="1095"/>
                      <a:pt x="4644" y="1098"/>
                      <a:pt x="4588" y="1101"/>
                    </a:cubicBezTo>
                    <a:cubicBezTo>
                      <a:pt x="4587" y="1168"/>
                      <a:pt x="4583" y="1394"/>
                      <a:pt x="4583" y="1432"/>
                    </a:cubicBezTo>
                    <a:cubicBezTo>
                      <a:pt x="4607" y="1437"/>
                      <a:pt x="4706" y="1456"/>
                      <a:pt x="4807" y="1475"/>
                    </a:cubicBezTo>
                    <a:cubicBezTo>
                      <a:pt x="4812" y="1476"/>
                      <a:pt x="4817" y="1477"/>
                      <a:pt x="4822" y="1478"/>
                    </a:cubicBezTo>
                    <a:cubicBezTo>
                      <a:pt x="4762" y="1137"/>
                      <a:pt x="4762" y="1137"/>
                      <a:pt x="4762" y="1137"/>
                    </a:cubicBezTo>
                    <a:cubicBezTo>
                      <a:pt x="4761" y="1254"/>
                      <a:pt x="4761" y="1254"/>
                      <a:pt x="4761" y="1254"/>
                    </a:cubicBezTo>
                    <a:cubicBezTo>
                      <a:pt x="4754" y="1254"/>
                      <a:pt x="4754" y="1254"/>
                      <a:pt x="4754" y="1254"/>
                    </a:cubicBezTo>
                    <a:cubicBezTo>
                      <a:pt x="4656" y="1253"/>
                      <a:pt x="4656" y="1253"/>
                      <a:pt x="4656" y="1253"/>
                    </a:cubicBezTo>
                    <a:cubicBezTo>
                      <a:pt x="4658" y="1105"/>
                      <a:pt x="4658" y="1105"/>
                      <a:pt x="4658" y="1105"/>
                    </a:cubicBezTo>
                    <a:lnTo>
                      <a:pt x="4756" y="1106"/>
                    </a:lnTo>
                    <a:close/>
                    <a:moveTo>
                      <a:pt x="4670" y="1118"/>
                    </a:moveTo>
                    <a:cubicBezTo>
                      <a:pt x="4669" y="1240"/>
                      <a:pt x="4669" y="1240"/>
                      <a:pt x="4669" y="1240"/>
                    </a:cubicBezTo>
                    <a:cubicBezTo>
                      <a:pt x="4748" y="1241"/>
                      <a:pt x="4748" y="1241"/>
                      <a:pt x="4748" y="1241"/>
                    </a:cubicBezTo>
                    <a:cubicBezTo>
                      <a:pt x="4749" y="1119"/>
                      <a:pt x="4749" y="1119"/>
                      <a:pt x="4749" y="1119"/>
                    </a:cubicBezTo>
                    <a:lnTo>
                      <a:pt x="4670" y="1118"/>
                    </a:lnTo>
                    <a:close/>
                    <a:moveTo>
                      <a:pt x="8084" y="481"/>
                    </a:moveTo>
                    <a:cubicBezTo>
                      <a:pt x="8007" y="509"/>
                      <a:pt x="7934" y="537"/>
                      <a:pt x="7910" y="546"/>
                    </a:cubicBezTo>
                    <a:cubicBezTo>
                      <a:pt x="8134" y="784"/>
                      <a:pt x="8134" y="784"/>
                      <a:pt x="8134" y="784"/>
                    </a:cubicBezTo>
                    <a:cubicBezTo>
                      <a:pt x="8147" y="782"/>
                      <a:pt x="8161" y="781"/>
                      <a:pt x="8175" y="779"/>
                    </a:cubicBezTo>
                    <a:cubicBezTo>
                      <a:pt x="8180" y="778"/>
                      <a:pt x="8185" y="778"/>
                      <a:pt x="8189" y="777"/>
                    </a:cubicBezTo>
                    <a:cubicBezTo>
                      <a:pt x="8092" y="672"/>
                      <a:pt x="8092" y="672"/>
                      <a:pt x="8092" y="672"/>
                    </a:cubicBezTo>
                    <a:cubicBezTo>
                      <a:pt x="8148" y="621"/>
                      <a:pt x="8148" y="621"/>
                      <a:pt x="8148" y="621"/>
                    </a:cubicBezTo>
                    <a:cubicBezTo>
                      <a:pt x="8152" y="626"/>
                      <a:pt x="8152" y="626"/>
                      <a:pt x="8152" y="626"/>
                    </a:cubicBezTo>
                    <a:cubicBezTo>
                      <a:pt x="8251" y="732"/>
                      <a:pt x="8251" y="732"/>
                      <a:pt x="8251" y="732"/>
                    </a:cubicBezTo>
                    <a:cubicBezTo>
                      <a:pt x="8204" y="775"/>
                      <a:pt x="8204" y="775"/>
                      <a:pt x="8204" y="775"/>
                    </a:cubicBezTo>
                    <a:cubicBezTo>
                      <a:pt x="8253" y="769"/>
                      <a:pt x="8307" y="761"/>
                      <a:pt x="8357" y="752"/>
                    </a:cubicBezTo>
                    <a:cubicBezTo>
                      <a:pt x="8319" y="718"/>
                      <a:pt x="8198" y="596"/>
                      <a:pt x="8084" y="481"/>
                    </a:cubicBezTo>
                    <a:close/>
                    <a:moveTo>
                      <a:pt x="8116" y="493"/>
                    </a:moveTo>
                    <a:cubicBezTo>
                      <a:pt x="8180" y="558"/>
                      <a:pt x="8243" y="622"/>
                      <a:pt x="8292" y="670"/>
                    </a:cubicBezTo>
                    <a:cubicBezTo>
                      <a:pt x="8317" y="694"/>
                      <a:pt x="8337" y="714"/>
                      <a:pt x="8352" y="728"/>
                    </a:cubicBezTo>
                    <a:cubicBezTo>
                      <a:pt x="8359" y="735"/>
                      <a:pt x="8365" y="741"/>
                      <a:pt x="8370" y="744"/>
                    </a:cubicBezTo>
                    <a:cubicBezTo>
                      <a:pt x="8372" y="746"/>
                      <a:pt x="8373" y="747"/>
                      <a:pt x="8374" y="748"/>
                    </a:cubicBezTo>
                    <a:cubicBezTo>
                      <a:pt x="8385" y="746"/>
                      <a:pt x="8396" y="744"/>
                      <a:pt x="8406" y="741"/>
                    </a:cubicBezTo>
                    <a:cubicBezTo>
                      <a:pt x="8457" y="730"/>
                      <a:pt x="8523" y="694"/>
                      <a:pt x="8577" y="657"/>
                    </a:cubicBezTo>
                    <a:cubicBezTo>
                      <a:pt x="8285" y="408"/>
                      <a:pt x="8285" y="408"/>
                      <a:pt x="8285" y="408"/>
                    </a:cubicBezTo>
                    <a:cubicBezTo>
                      <a:pt x="8258" y="417"/>
                      <a:pt x="8178" y="446"/>
                      <a:pt x="8099" y="476"/>
                    </a:cubicBezTo>
                    <a:cubicBezTo>
                      <a:pt x="8104" y="481"/>
                      <a:pt x="8110" y="487"/>
                      <a:pt x="8116" y="493"/>
                    </a:cubicBezTo>
                    <a:close/>
                    <a:moveTo>
                      <a:pt x="8232" y="731"/>
                    </a:moveTo>
                    <a:cubicBezTo>
                      <a:pt x="8147" y="639"/>
                      <a:pt x="8147" y="639"/>
                      <a:pt x="8147" y="639"/>
                    </a:cubicBezTo>
                    <a:cubicBezTo>
                      <a:pt x="8111" y="673"/>
                      <a:pt x="8111" y="673"/>
                      <a:pt x="8111" y="673"/>
                    </a:cubicBezTo>
                    <a:cubicBezTo>
                      <a:pt x="8196" y="765"/>
                      <a:pt x="8196" y="765"/>
                      <a:pt x="8196" y="765"/>
                    </a:cubicBezTo>
                    <a:lnTo>
                      <a:pt x="8232" y="731"/>
                    </a:lnTo>
                    <a:close/>
                    <a:moveTo>
                      <a:pt x="8088" y="942"/>
                    </a:moveTo>
                    <a:cubicBezTo>
                      <a:pt x="8076" y="943"/>
                      <a:pt x="8069" y="944"/>
                      <a:pt x="8065" y="944"/>
                    </a:cubicBezTo>
                    <a:cubicBezTo>
                      <a:pt x="7631" y="1799"/>
                      <a:pt x="7631" y="1799"/>
                      <a:pt x="7631" y="1799"/>
                    </a:cubicBezTo>
                    <a:cubicBezTo>
                      <a:pt x="8183" y="2156"/>
                      <a:pt x="8183" y="2156"/>
                      <a:pt x="8183" y="2156"/>
                    </a:cubicBezTo>
                    <a:cubicBezTo>
                      <a:pt x="8272" y="2019"/>
                      <a:pt x="8366" y="1873"/>
                      <a:pt x="8450" y="1743"/>
                    </a:cubicBezTo>
                    <a:cubicBezTo>
                      <a:pt x="8562" y="1569"/>
                      <a:pt x="8654" y="1426"/>
                      <a:pt x="8688" y="1373"/>
                    </a:cubicBezTo>
                    <a:cubicBezTo>
                      <a:pt x="8682" y="1369"/>
                      <a:pt x="8676" y="1366"/>
                      <a:pt x="8671" y="1363"/>
                    </a:cubicBezTo>
                    <a:cubicBezTo>
                      <a:pt x="8617" y="1330"/>
                      <a:pt x="8467" y="1222"/>
                      <a:pt x="8329" y="1120"/>
                    </a:cubicBezTo>
                    <a:cubicBezTo>
                      <a:pt x="8226" y="1045"/>
                      <a:pt x="8130" y="973"/>
                      <a:pt x="8088" y="942"/>
                    </a:cubicBezTo>
                    <a:close/>
                    <a:moveTo>
                      <a:pt x="7207" y="4531"/>
                    </a:moveTo>
                    <a:cubicBezTo>
                      <a:pt x="7211" y="4518"/>
                      <a:pt x="7211" y="4518"/>
                      <a:pt x="7211" y="4518"/>
                    </a:cubicBezTo>
                    <a:cubicBezTo>
                      <a:pt x="7436" y="4580"/>
                      <a:pt x="7436" y="4580"/>
                      <a:pt x="7436" y="4580"/>
                    </a:cubicBezTo>
                    <a:cubicBezTo>
                      <a:pt x="7769" y="4750"/>
                      <a:pt x="7769" y="4750"/>
                      <a:pt x="7769" y="4750"/>
                    </a:cubicBezTo>
                    <a:cubicBezTo>
                      <a:pt x="7886" y="4508"/>
                      <a:pt x="7886" y="4508"/>
                      <a:pt x="7886" y="4508"/>
                    </a:cubicBezTo>
                    <a:cubicBezTo>
                      <a:pt x="7776" y="4411"/>
                      <a:pt x="7776" y="4411"/>
                      <a:pt x="7776" y="4411"/>
                    </a:cubicBezTo>
                    <a:cubicBezTo>
                      <a:pt x="7471" y="4393"/>
                      <a:pt x="7471" y="4393"/>
                      <a:pt x="7471" y="4393"/>
                    </a:cubicBezTo>
                    <a:cubicBezTo>
                      <a:pt x="7308" y="4236"/>
                      <a:pt x="7308" y="4236"/>
                      <a:pt x="7308" y="4236"/>
                    </a:cubicBezTo>
                    <a:cubicBezTo>
                      <a:pt x="7227" y="4470"/>
                      <a:pt x="7128" y="4754"/>
                      <a:pt x="7120" y="4775"/>
                    </a:cubicBezTo>
                    <a:cubicBezTo>
                      <a:pt x="7123" y="5102"/>
                      <a:pt x="7123" y="5102"/>
                      <a:pt x="7123" y="5102"/>
                    </a:cubicBezTo>
                    <a:cubicBezTo>
                      <a:pt x="7040" y="5242"/>
                      <a:pt x="7040" y="5242"/>
                      <a:pt x="7040" y="5242"/>
                    </a:cubicBezTo>
                    <a:cubicBezTo>
                      <a:pt x="7463" y="5377"/>
                      <a:pt x="7463" y="5377"/>
                      <a:pt x="7463" y="5377"/>
                    </a:cubicBezTo>
                    <a:cubicBezTo>
                      <a:pt x="7587" y="5123"/>
                      <a:pt x="7587" y="5123"/>
                      <a:pt x="7587" y="5123"/>
                    </a:cubicBezTo>
                    <a:cubicBezTo>
                      <a:pt x="7587" y="5123"/>
                      <a:pt x="7587" y="5123"/>
                      <a:pt x="7587" y="5123"/>
                    </a:cubicBezTo>
                    <a:cubicBezTo>
                      <a:pt x="7540" y="5091"/>
                      <a:pt x="7387" y="4968"/>
                      <a:pt x="7372" y="4956"/>
                    </a:cubicBezTo>
                    <a:cubicBezTo>
                      <a:pt x="7363" y="4953"/>
                      <a:pt x="7307" y="4939"/>
                      <a:pt x="7251" y="4924"/>
                    </a:cubicBezTo>
                    <a:cubicBezTo>
                      <a:pt x="7220" y="4916"/>
                      <a:pt x="7189" y="4908"/>
                      <a:pt x="7166" y="4902"/>
                    </a:cubicBezTo>
                    <a:cubicBezTo>
                      <a:pt x="7154" y="4899"/>
                      <a:pt x="7144" y="4896"/>
                      <a:pt x="7137" y="4894"/>
                    </a:cubicBezTo>
                    <a:cubicBezTo>
                      <a:pt x="7133" y="4893"/>
                      <a:pt x="7130" y="4893"/>
                      <a:pt x="7128" y="4892"/>
                    </a:cubicBezTo>
                    <a:cubicBezTo>
                      <a:pt x="7127" y="4892"/>
                      <a:pt x="7126" y="4892"/>
                      <a:pt x="7126" y="4892"/>
                    </a:cubicBezTo>
                    <a:cubicBezTo>
                      <a:pt x="7126" y="4892"/>
                      <a:pt x="7126" y="4892"/>
                      <a:pt x="7126" y="4892"/>
                    </a:cubicBezTo>
                    <a:cubicBezTo>
                      <a:pt x="7126" y="4878"/>
                      <a:pt x="7126" y="4878"/>
                      <a:pt x="7126" y="4878"/>
                    </a:cubicBezTo>
                    <a:cubicBezTo>
                      <a:pt x="7130" y="4878"/>
                      <a:pt x="7145" y="4882"/>
                      <a:pt x="7169" y="4888"/>
                    </a:cubicBezTo>
                    <a:cubicBezTo>
                      <a:pt x="7240" y="4906"/>
                      <a:pt x="7377" y="4943"/>
                      <a:pt x="7377" y="4943"/>
                    </a:cubicBezTo>
                    <a:cubicBezTo>
                      <a:pt x="7378" y="4943"/>
                      <a:pt x="7378" y="4943"/>
                      <a:pt x="7378" y="4943"/>
                    </a:cubicBezTo>
                    <a:cubicBezTo>
                      <a:pt x="7379" y="4944"/>
                      <a:pt x="7379" y="4944"/>
                      <a:pt x="7379" y="4944"/>
                    </a:cubicBezTo>
                    <a:cubicBezTo>
                      <a:pt x="7380" y="4944"/>
                      <a:pt x="7434" y="4988"/>
                      <a:pt x="7490" y="5032"/>
                    </a:cubicBezTo>
                    <a:cubicBezTo>
                      <a:pt x="7518" y="5054"/>
                      <a:pt x="7546" y="5076"/>
                      <a:pt x="7568" y="5092"/>
                    </a:cubicBezTo>
                    <a:cubicBezTo>
                      <a:pt x="7578" y="5100"/>
                      <a:pt x="7586" y="5106"/>
                      <a:pt x="7593" y="5111"/>
                    </a:cubicBezTo>
                    <a:cubicBezTo>
                      <a:pt x="7763" y="4763"/>
                      <a:pt x="7763" y="4763"/>
                      <a:pt x="7763" y="4763"/>
                    </a:cubicBezTo>
                    <a:cubicBezTo>
                      <a:pt x="7431" y="4593"/>
                      <a:pt x="7431" y="4593"/>
                      <a:pt x="7431" y="4593"/>
                    </a:cubicBezTo>
                    <a:lnTo>
                      <a:pt x="7207" y="4531"/>
                    </a:lnTo>
                    <a:close/>
                    <a:moveTo>
                      <a:pt x="7939" y="6234"/>
                    </a:moveTo>
                    <a:cubicBezTo>
                      <a:pt x="7939" y="6526"/>
                      <a:pt x="7939" y="6526"/>
                      <a:pt x="7939" y="6526"/>
                    </a:cubicBezTo>
                    <a:cubicBezTo>
                      <a:pt x="8100" y="6519"/>
                      <a:pt x="8100" y="6519"/>
                      <a:pt x="8100" y="6519"/>
                    </a:cubicBezTo>
                    <a:cubicBezTo>
                      <a:pt x="8100" y="6224"/>
                      <a:pt x="8100" y="6224"/>
                      <a:pt x="8100" y="6224"/>
                    </a:cubicBezTo>
                    <a:cubicBezTo>
                      <a:pt x="8031" y="6226"/>
                      <a:pt x="7956" y="6228"/>
                      <a:pt x="7882" y="6231"/>
                    </a:cubicBezTo>
                    <a:cubicBezTo>
                      <a:pt x="7737" y="6235"/>
                      <a:pt x="7592" y="6240"/>
                      <a:pt x="7483" y="6244"/>
                    </a:cubicBezTo>
                    <a:cubicBezTo>
                      <a:pt x="7428" y="6246"/>
                      <a:pt x="7383" y="6248"/>
                      <a:pt x="7351" y="6249"/>
                    </a:cubicBezTo>
                    <a:cubicBezTo>
                      <a:pt x="7348" y="6250"/>
                      <a:pt x="7345" y="6250"/>
                      <a:pt x="7342" y="6250"/>
                    </a:cubicBezTo>
                    <a:cubicBezTo>
                      <a:pt x="7342" y="6264"/>
                      <a:pt x="7343" y="6292"/>
                      <a:pt x="7346" y="6331"/>
                    </a:cubicBezTo>
                    <a:cubicBezTo>
                      <a:pt x="7350" y="6387"/>
                      <a:pt x="7358" y="6463"/>
                      <a:pt x="7374" y="6548"/>
                    </a:cubicBezTo>
                    <a:cubicBezTo>
                      <a:pt x="7561" y="6541"/>
                      <a:pt x="7561" y="6541"/>
                      <a:pt x="7561" y="6541"/>
                    </a:cubicBezTo>
                    <a:cubicBezTo>
                      <a:pt x="7561" y="6243"/>
                      <a:pt x="7561" y="6243"/>
                      <a:pt x="7561" y="6243"/>
                    </a:cubicBezTo>
                    <a:cubicBezTo>
                      <a:pt x="7575" y="6243"/>
                      <a:pt x="7575" y="6243"/>
                      <a:pt x="7575" y="6243"/>
                    </a:cubicBezTo>
                    <a:cubicBezTo>
                      <a:pt x="7575" y="6540"/>
                      <a:pt x="7575" y="6540"/>
                      <a:pt x="7575" y="6540"/>
                    </a:cubicBezTo>
                    <a:cubicBezTo>
                      <a:pt x="7743" y="6533"/>
                      <a:pt x="7743" y="6533"/>
                      <a:pt x="7743" y="6533"/>
                    </a:cubicBezTo>
                    <a:cubicBezTo>
                      <a:pt x="7743" y="6243"/>
                      <a:pt x="7743" y="6243"/>
                      <a:pt x="7743" y="6243"/>
                    </a:cubicBezTo>
                    <a:cubicBezTo>
                      <a:pt x="7757" y="6243"/>
                      <a:pt x="7757" y="6243"/>
                      <a:pt x="7757" y="6243"/>
                    </a:cubicBezTo>
                    <a:cubicBezTo>
                      <a:pt x="7757" y="6533"/>
                      <a:pt x="7757" y="6533"/>
                      <a:pt x="7757" y="6533"/>
                    </a:cubicBezTo>
                    <a:cubicBezTo>
                      <a:pt x="7925" y="6526"/>
                      <a:pt x="7925" y="6526"/>
                      <a:pt x="7925" y="6526"/>
                    </a:cubicBezTo>
                    <a:cubicBezTo>
                      <a:pt x="7925" y="6234"/>
                      <a:pt x="7925" y="6234"/>
                      <a:pt x="7925" y="6234"/>
                    </a:cubicBezTo>
                    <a:lnTo>
                      <a:pt x="7939" y="6234"/>
                    </a:lnTo>
                    <a:close/>
                    <a:moveTo>
                      <a:pt x="7636" y="7768"/>
                    </a:moveTo>
                    <a:cubicBezTo>
                      <a:pt x="7643" y="7721"/>
                      <a:pt x="7643" y="7721"/>
                      <a:pt x="7643" y="7721"/>
                    </a:cubicBezTo>
                    <a:cubicBezTo>
                      <a:pt x="7584" y="7712"/>
                      <a:pt x="7584" y="7712"/>
                      <a:pt x="7584" y="7712"/>
                    </a:cubicBezTo>
                    <a:cubicBezTo>
                      <a:pt x="7573" y="7786"/>
                      <a:pt x="7573" y="7786"/>
                      <a:pt x="7573" y="7786"/>
                    </a:cubicBezTo>
                    <a:cubicBezTo>
                      <a:pt x="7674" y="7805"/>
                      <a:pt x="7674" y="7805"/>
                      <a:pt x="7674" y="7805"/>
                    </a:cubicBezTo>
                    <a:cubicBezTo>
                      <a:pt x="7679" y="7774"/>
                      <a:pt x="7679" y="7774"/>
                      <a:pt x="7679" y="7774"/>
                    </a:cubicBezTo>
                    <a:lnTo>
                      <a:pt x="7636" y="7768"/>
                    </a:lnTo>
                    <a:close/>
                    <a:moveTo>
                      <a:pt x="7570" y="7800"/>
                    </a:moveTo>
                    <a:cubicBezTo>
                      <a:pt x="7556" y="7895"/>
                      <a:pt x="7556" y="7895"/>
                      <a:pt x="7556" y="7895"/>
                    </a:cubicBezTo>
                    <a:cubicBezTo>
                      <a:pt x="7615" y="7904"/>
                      <a:pt x="7615" y="7904"/>
                      <a:pt x="7615" y="7904"/>
                    </a:cubicBezTo>
                    <a:cubicBezTo>
                      <a:pt x="7622" y="7857"/>
                      <a:pt x="7622" y="7857"/>
                      <a:pt x="7622" y="7857"/>
                    </a:cubicBezTo>
                    <a:cubicBezTo>
                      <a:pt x="7665" y="7864"/>
                      <a:pt x="7665" y="7864"/>
                      <a:pt x="7665" y="7864"/>
                    </a:cubicBezTo>
                    <a:cubicBezTo>
                      <a:pt x="7672" y="7819"/>
                      <a:pt x="7672" y="7819"/>
                      <a:pt x="7672" y="7819"/>
                    </a:cubicBezTo>
                    <a:lnTo>
                      <a:pt x="7570" y="7800"/>
                    </a:lnTo>
                    <a:close/>
                    <a:moveTo>
                      <a:pt x="7575" y="7698"/>
                    </a:moveTo>
                    <a:cubicBezTo>
                      <a:pt x="7539" y="7690"/>
                      <a:pt x="7502" y="7682"/>
                      <a:pt x="7464" y="7674"/>
                    </a:cubicBezTo>
                    <a:cubicBezTo>
                      <a:pt x="7340" y="7647"/>
                      <a:pt x="7217" y="7620"/>
                      <a:pt x="7193" y="7615"/>
                    </a:cubicBezTo>
                    <a:cubicBezTo>
                      <a:pt x="7192" y="7645"/>
                      <a:pt x="7192" y="7678"/>
                      <a:pt x="7192" y="7712"/>
                    </a:cubicBezTo>
                    <a:cubicBezTo>
                      <a:pt x="7560" y="7783"/>
                      <a:pt x="7560" y="7783"/>
                      <a:pt x="7560" y="7783"/>
                    </a:cubicBezTo>
                    <a:cubicBezTo>
                      <a:pt x="7573" y="7697"/>
                      <a:pt x="7573" y="7697"/>
                      <a:pt x="7573" y="7697"/>
                    </a:cubicBezTo>
                    <a:lnTo>
                      <a:pt x="7575" y="7698"/>
                    </a:lnTo>
                    <a:close/>
                    <a:moveTo>
                      <a:pt x="7312" y="7415"/>
                    </a:moveTo>
                    <a:cubicBezTo>
                      <a:pt x="7371" y="7414"/>
                      <a:pt x="7425" y="7402"/>
                      <a:pt x="7473" y="7384"/>
                    </a:cubicBezTo>
                    <a:cubicBezTo>
                      <a:pt x="7436" y="7203"/>
                      <a:pt x="7436" y="7203"/>
                      <a:pt x="7436" y="7203"/>
                    </a:cubicBezTo>
                    <a:cubicBezTo>
                      <a:pt x="7424" y="7201"/>
                      <a:pt x="7395" y="7197"/>
                      <a:pt x="7388" y="7195"/>
                    </a:cubicBezTo>
                    <a:cubicBezTo>
                      <a:pt x="7382" y="7192"/>
                      <a:pt x="7384" y="7190"/>
                      <a:pt x="7383" y="7188"/>
                    </a:cubicBezTo>
                    <a:cubicBezTo>
                      <a:pt x="7382" y="7184"/>
                      <a:pt x="7382" y="7177"/>
                      <a:pt x="7382" y="7167"/>
                    </a:cubicBezTo>
                    <a:cubicBezTo>
                      <a:pt x="7382" y="7124"/>
                      <a:pt x="7387" y="7027"/>
                      <a:pt x="7389" y="6999"/>
                    </a:cubicBezTo>
                    <a:cubicBezTo>
                      <a:pt x="7360" y="7000"/>
                      <a:pt x="7243" y="7004"/>
                      <a:pt x="7098" y="7009"/>
                    </a:cubicBezTo>
                    <a:cubicBezTo>
                      <a:pt x="7102" y="7021"/>
                      <a:pt x="7107" y="7044"/>
                      <a:pt x="7115" y="7076"/>
                    </a:cubicBezTo>
                    <a:cubicBezTo>
                      <a:pt x="7139" y="7179"/>
                      <a:pt x="7180" y="7360"/>
                      <a:pt x="7192" y="7416"/>
                    </a:cubicBezTo>
                    <a:cubicBezTo>
                      <a:pt x="7240" y="7416"/>
                      <a:pt x="7282" y="7415"/>
                      <a:pt x="7312" y="7415"/>
                    </a:cubicBezTo>
                    <a:close/>
                    <a:moveTo>
                      <a:pt x="6938" y="8735"/>
                    </a:moveTo>
                    <a:cubicBezTo>
                      <a:pt x="6938" y="8675"/>
                      <a:pt x="6959" y="8375"/>
                      <a:pt x="6963" y="8328"/>
                    </a:cubicBezTo>
                    <a:cubicBezTo>
                      <a:pt x="6856" y="8309"/>
                      <a:pt x="6856" y="8309"/>
                      <a:pt x="6856" y="8309"/>
                    </a:cubicBezTo>
                    <a:cubicBezTo>
                      <a:pt x="6869" y="8012"/>
                      <a:pt x="6869" y="8012"/>
                      <a:pt x="6869" y="8012"/>
                    </a:cubicBezTo>
                    <a:cubicBezTo>
                      <a:pt x="6729" y="7980"/>
                      <a:pt x="6729" y="7980"/>
                      <a:pt x="6729" y="7980"/>
                    </a:cubicBezTo>
                    <a:cubicBezTo>
                      <a:pt x="6733" y="8132"/>
                      <a:pt x="6733" y="8132"/>
                      <a:pt x="6733" y="8132"/>
                    </a:cubicBezTo>
                    <a:cubicBezTo>
                      <a:pt x="6708" y="8134"/>
                      <a:pt x="6708" y="8134"/>
                      <a:pt x="6708" y="8134"/>
                    </a:cubicBezTo>
                    <a:cubicBezTo>
                      <a:pt x="6699" y="8728"/>
                      <a:pt x="6699" y="8728"/>
                      <a:pt x="6699" y="8728"/>
                    </a:cubicBezTo>
                    <a:cubicBezTo>
                      <a:pt x="6938" y="8735"/>
                      <a:pt x="6938" y="8735"/>
                      <a:pt x="6938" y="8735"/>
                    </a:cubicBezTo>
                    <a:cubicBezTo>
                      <a:pt x="6938" y="8735"/>
                      <a:pt x="6938" y="8735"/>
                      <a:pt x="6938" y="8735"/>
                    </a:cubicBezTo>
                    <a:close/>
                    <a:moveTo>
                      <a:pt x="6304" y="9549"/>
                    </a:moveTo>
                    <a:cubicBezTo>
                      <a:pt x="6532" y="9752"/>
                      <a:pt x="6532" y="9752"/>
                      <a:pt x="6532" y="9752"/>
                    </a:cubicBezTo>
                    <a:cubicBezTo>
                      <a:pt x="6545" y="9744"/>
                      <a:pt x="6590" y="9715"/>
                      <a:pt x="6634" y="9686"/>
                    </a:cubicBezTo>
                    <a:cubicBezTo>
                      <a:pt x="6677" y="9657"/>
                      <a:pt x="6720" y="9629"/>
                      <a:pt x="6733" y="9620"/>
                    </a:cubicBezTo>
                    <a:cubicBezTo>
                      <a:pt x="6720" y="9526"/>
                      <a:pt x="6720" y="9526"/>
                      <a:pt x="6720" y="9526"/>
                    </a:cubicBezTo>
                    <a:cubicBezTo>
                      <a:pt x="6283" y="9426"/>
                      <a:pt x="6283" y="9426"/>
                      <a:pt x="6283" y="9426"/>
                    </a:cubicBezTo>
                    <a:cubicBezTo>
                      <a:pt x="6275" y="9442"/>
                      <a:pt x="6264" y="9457"/>
                      <a:pt x="6251" y="9469"/>
                    </a:cubicBezTo>
                    <a:cubicBezTo>
                      <a:pt x="6245" y="9475"/>
                      <a:pt x="6238" y="9480"/>
                      <a:pt x="6232" y="9485"/>
                    </a:cubicBezTo>
                    <a:cubicBezTo>
                      <a:pt x="6276" y="9525"/>
                      <a:pt x="6276" y="9525"/>
                      <a:pt x="6276" y="9525"/>
                    </a:cubicBezTo>
                    <a:cubicBezTo>
                      <a:pt x="6320" y="9466"/>
                      <a:pt x="6320" y="9466"/>
                      <a:pt x="6320" y="9466"/>
                    </a:cubicBezTo>
                    <a:cubicBezTo>
                      <a:pt x="6325" y="9470"/>
                      <a:pt x="6325" y="9470"/>
                      <a:pt x="6325" y="9470"/>
                    </a:cubicBezTo>
                    <a:cubicBezTo>
                      <a:pt x="6441" y="9557"/>
                      <a:pt x="6441" y="9557"/>
                      <a:pt x="6441" y="9557"/>
                    </a:cubicBezTo>
                    <a:cubicBezTo>
                      <a:pt x="6395" y="9618"/>
                      <a:pt x="6395" y="9618"/>
                      <a:pt x="6395" y="9618"/>
                    </a:cubicBezTo>
                    <a:lnTo>
                      <a:pt x="6304" y="9549"/>
                    </a:lnTo>
                    <a:close/>
                    <a:moveTo>
                      <a:pt x="6393" y="9600"/>
                    </a:moveTo>
                    <a:cubicBezTo>
                      <a:pt x="6422" y="9560"/>
                      <a:pt x="6422" y="9560"/>
                      <a:pt x="6422" y="9560"/>
                    </a:cubicBezTo>
                    <a:cubicBezTo>
                      <a:pt x="6322" y="9485"/>
                      <a:pt x="6322" y="9485"/>
                      <a:pt x="6322" y="9485"/>
                    </a:cubicBezTo>
                    <a:cubicBezTo>
                      <a:pt x="6292" y="9524"/>
                      <a:pt x="6292" y="9524"/>
                      <a:pt x="6292" y="9524"/>
                    </a:cubicBezTo>
                    <a:lnTo>
                      <a:pt x="6393" y="9600"/>
                    </a:lnTo>
                    <a:close/>
                    <a:moveTo>
                      <a:pt x="6690" y="8264"/>
                    </a:moveTo>
                    <a:cubicBezTo>
                      <a:pt x="6172" y="8299"/>
                      <a:pt x="6172" y="8299"/>
                      <a:pt x="6172" y="8299"/>
                    </a:cubicBezTo>
                    <a:cubicBezTo>
                      <a:pt x="6184" y="8453"/>
                      <a:pt x="6184" y="8453"/>
                      <a:pt x="6184" y="8453"/>
                    </a:cubicBezTo>
                    <a:cubicBezTo>
                      <a:pt x="6687" y="8424"/>
                      <a:pt x="6687" y="8424"/>
                      <a:pt x="6687" y="8424"/>
                    </a:cubicBezTo>
                    <a:cubicBezTo>
                      <a:pt x="6688" y="8438"/>
                      <a:pt x="6688" y="8438"/>
                      <a:pt x="6688" y="8438"/>
                    </a:cubicBezTo>
                    <a:cubicBezTo>
                      <a:pt x="6425" y="8453"/>
                      <a:pt x="6425" y="8453"/>
                      <a:pt x="6425" y="8453"/>
                    </a:cubicBezTo>
                    <a:cubicBezTo>
                      <a:pt x="6420" y="8720"/>
                      <a:pt x="6420" y="8720"/>
                      <a:pt x="6420" y="8720"/>
                    </a:cubicBezTo>
                    <a:cubicBezTo>
                      <a:pt x="6685" y="8728"/>
                      <a:pt x="6685" y="8728"/>
                      <a:pt x="6685" y="8728"/>
                    </a:cubicBezTo>
                    <a:cubicBezTo>
                      <a:pt x="6694" y="8134"/>
                      <a:pt x="6694" y="8134"/>
                      <a:pt x="6694" y="8134"/>
                    </a:cubicBezTo>
                    <a:cubicBezTo>
                      <a:pt x="6335" y="8158"/>
                      <a:pt x="6335" y="8158"/>
                      <a:pt x="6335" y="8158"/>
                    </a:cubicBezTo>
                    <a:cubicBezTo>
                      <a:pt x="6333" y="8262"/>
                      <a:pt x="6333" y="8262"/>
                      <a:pt x="6333" y="8262"/>
                    </a:cubicBezTo>
                    <a:cubicBezTo>
                      <a:pt x="6327" y="8261"/>
                      <a:pt x="6327" y="8261"/>
                      <a:pt x="6327" y="8261"/>
                    </a:cubicBezTo>
                    <a:cubicBezTo>
                      <a:pt x="6247" y="8260"/>
                      <a:pt x="6247" y="8260"/>
                      <a:pt x="6247" y="8260"/>
                    </a:cubicBezTo>
                    <a:cubicBezTo>
                      <a:pt x="6248" y="8213"/>
                      <a:pt x="6248" y="8213"/>
                      <a:pt x="6248" y="8213"/>
                    </a:cubicBezTo>
                    <a:cubicBezTo>
                      <a:pt x="6205" y="8212"/>
                      <a:pt x="6205" y="8212"/>
                      <a:pt x="6205" y="8212"/>
                    </a:cubicBezTo>
                    <a:cubicBezTo>
                      <a:pt x="6206" y="8167"/>
                      <a:pt x="6206" y="8167"/>
                      <a:pt x="6206" y="8167"/>
                    </a:cubicBezTo>
                    <a:cubicBezTo>
                      <a:pt x="6162" y="8170"/>
                      <a:pt x="6162" y="8170"/>
                      <a:pt x="6162" y="8170"/>
                    </a:cubicBezTo>
                    <a:cubicBezTo>
                      <a:pt x="6171" y="8285"/>
                      <a:pt x="6171" y="8285"/>
                      <a:pt x="6171" y="8285"/>
                    </a:cubicBezTo>
                    <a:cubicBezTo>
                      <a:pt x="6689" y="8250"/>
                      <a:pt x="6689" y="8250"/>
                      <a:pt x="6689" y="8250"/>
                    </a:cubicBezTo>
                    <a:lnTo>
                      <a:pt x="6690" y="8264"/>
                    </a:lnTo>
                    <a:close/>
                    <a:moveTo>
                      <a:pt x="5796" y="8268"/>
                    </a:moveTo>
                    <a:cubicBezTo>
                      <a:pt x="5796" y="8268"/>
                      <a:pt x="5796" y="8268"/>
                      <a:pt x="5796" y="8268"/>
                    </a:cubicBezTo>
                    <a:cubicBezTo>
                      <a:pt x="5803" y="8269"/>
                      <a:pt x="5803" y="8273"/>
                      <a:pt x="5804" y="8275"/>
                    </a:cubicBezTo>
                    <a:cubicBezTo>
                      <a:pt x="5816" y="8300"/>
                      <a:pt x="5835" y="8462"/>
                      <a:pt x="5839" y="8493"/>
                    </a:cubicBezTo>
                    <a:cubicBezTo>
                      <a:pt x="6127" y="8561"/>
                      <a:pt x="6127" y="8561"/>
                      <a:pt x="6127" y="8561"/>
                    </a:cubicBezTo>
                    <a:cubicBezTo>
                      <a:pt x="6082" y="7983"/>
                      <a:pt x="6082" y="7983"/>
                      <a:pt x="6082" y="7983"/>
                    </a:cubicBezTo>
                    <a:cubicBezTo>
                      <a:pt x="6021" y="7984"/>
                      <a:pt x="5827" y="7987"/>
                      <a:pt x="5826" y="7987"/>
                    </a:cubicBezTo>
                    <a:cubicBezTo>
                      <a:pt x="5504" y="7975"/>
                      <a:pt x="5504" y="7975"/>
                      <a:pt x="5504" y="7975"/>
                    </a:cubicBezTo>
                    <a:cubicBezTo>
                      <a:pt x="5505" y="7985"/>
                      <a:pt x="5505" y="7985"/>
                      <a:pt x="5505" y="7985"/>
                    </a:cubicBezTo>
                    <a:cubicBezTo>
                      <a:pt x="5505" y="8354"/>
                      <a:pt x="5505" y="8354"/>
                      <a:pt x="5505" y="8354"/>
                    </a:cubicBezTo>
                    <a:cubicBezTo>
                      <a:pt x="5650" y="8311"/>
                      <a:pt x="5784" y="8271"/>
                      <a:pt x="5794" y="8268"/>
                    </a:cubicBezTo>
                    <a:cubicBezTo>
                      <a:pt x="5794" y="8268"/>
                      <a:pt x="5795" y="8268"/>
                      <a:pt x="5795" y="8268"/>
                    </a:cubicBezTo>
                    <a:cubicBezTo>
                      <a:pt x="5795" y="8268"/>
                      <a:pt x="5796" y="8268"/>
                      <a:pt x="5796" y="8268"/>
                    </a:cubicBezTo>
                    <a:cubicBezTo>
                      <a:pt x="5796" y="8268"/>
                      <a:pt x="5796" y="8268"/>
                      <a:pt x="5796" y="8268"/>
                    </a:cubicBezTo>
                    <a:close/>
                    <a:moveTo>
                      <a:pt x="4658" y="8321"/>
                    </a:moveTo>
                    <a:cubicBezTo>
                      <a:pt x="4663" y="8318"/>
                      <a:pt x="4663" y="8318"/>
                      <a:pt x="4663" y="8318"/>
                    </a:cubicBezTo>
                    <a:cubicBezTo>
                      <a:pt x="4663" y="8318"/>
                      <a:pt x="4710" y="8289"/>
                      <a:pt x="4757" y="8260"/>
                    </a:cubicBezTo>
                    <a:cubicBezTo>
                      <a:pt x="4780" y="8246"/>
                      <a:pt x="4804" y="8231"/>
                      <a:pt x="4822" y="8220"/>
                    </a:cubicBezTo>
                    <a:cubicBezTo>
                      <a:pt x="4830" y="8214"/>
                      <a:pt x="4838" y="8209"/>
                      <a:pt x="4843" y="8206"/>
                    </a:cubicBezTo>
                    <a:cubicBezTo>
                      <a:pt x="4844" y="8205"/>
                      <a:pt x="4845" y="8204"/>
                      <a:pt x="4846" y="8204"/>
                    </a:cubicBezTo>
                    <a:cubicBezTo>
                      <a:pt x="4835" y="8179"/>
                      <a:pt x="4811" y="8079"/>
                      <a:pt x="4806" y="8057"/>
                    </a:cubicBezTo>
                    <a:cubicBezTo>
                      <a:pt x="4767" y="8079"/>
                      <a:pt x="4727" y="8101"/>
                      <a:pt x="4686" y="8124"/>
                    </a:cubicBezTo>
                    <a:cubicBezTo>
                      <a:pt x="4594" y="8175"/>
                      <a:pt x="4503" y="8226"/>
                      <a:pt x="4434" y="8265"/>
                    </a:cubicBezTo>
                    <a:cubicBezTo>
                      <a:pt x="4399" y="8284"/>
                      <a:pt x="4371" y="8300"/>
                      <a:pt x="4351" y="8312"/>
                    </a:cubicBezTo>
                    <a:cubicBezTo>
                      <a:pt x="4345" y="8315"/>
                      <a:pt x="4340" y="8318"/>
                      <a:pt x="4336" y="8320"/>
                    </a:cubicBezTo>
                    <a:cubicBezTo>
                      <a:pt x="4358" y="8361"/>
                      <a:pt x="4374" y="8394"/>
                      <a:pt x="4381" y="8416"/>
                    </a:cubicBezTo>
                    <a:cubicBezTo>
                      <a:pt x="4399" y="8470"/>
                      <a:pt x="4424" y="8584"/>
                      <a:pt x="4445" y="8693"/>
                    </a:cubicBezTo>
                    <a:cubicBezTo>
                      <a:pt x="4470" y="8687"/>
                      <a:pt x="4521" y="8674"/>
                      <a:pt x="4573" y="8661"/>
                    </a:cubicBezTo>
                    <a:cubicBezTo>
                      <a:pt x="4635" y="8646"/>
                      <a:pt x="4694" y="8631"/>
                      <a:pt x="4715" y="8626"/>
                    </a:cubicBezTo>
                    <a:lnTo>
                      <a:pt x="4658" y="8321"/>
                    </a:lnTo>
                    <a:close/>
                    <a:moveTo>
                      <a:pt x="3807" y="8885"/>
                    </a:moveTo>
                    <a:cubicBezTo>
                      <a:pt x="3815" y="8874"/>
                      <a:pt x="3815" y="8874"/>
                      <a:pt x="3815" y="8874"/>
                    </a:cubicBezTo>
                    <a:cubicBezTo>
                      <a:pt x="4167" y="9117"/>
                      <a:pt x="4167" y="9117"/>
                      <a:pt x="4167" y="9117"/>
                    </a:cubicBezTo>
                    <a:cubicBezTo>
                      <a:pt x="4201" y="9092"/>
                      <a:pt x="4239" y="9066"/>
                      <a:pt x="4276" y="9039"/>
                    </a:cubicBezTo>
                    <a:cubicBezTo>
                      <a:pt x="4211" y="8981"/>
                      <a:pt x="3999" y="8773"/>
                      <a:pt x="3965" y="8740"/>
                    </a:cubicBezTo>
                    <a:cubicBezTo>
                      <a:pt x="3944" y="8760"/>
                      <a:pt x="3858" y="8836"/>
                      <a:pt x="3772" y="8911"/>
                    </a:cubicBezTo>
                    <a:cubicBezTo>
                      <a:pt x="3693" y="8980"/>
                      <a:pt x="3615" y="9047"/>
                      <a:pt x="3591" y="9068"/>
                    </a:cubicBezTo>
                    <a:cubicBezTo>
                      <a:pt x="3623" y="9079"/>
                      <a:pt x="3729" y="9113"/>
                      <a:pt x="3830" y="9144"/>
                    </a:cubicBezTo>
                    <a:cubicBezTo>
                      <a:pt x="3925" y="9174"/>
                      <a:pt x="4016" y="9202"/>
                      <a:pt x="4044" y="9210"/>
                    </a:cubicBezTo>
                    <a:cubicBezTo>
                      <a:pt x="4045" y="9210"/>
                      <a:pt x="4045" y="9209"/>
                      <a:pt x="4046" y="9208"/>
                    </a:cubicBezTo>
                    <a:cubicBezTo>
                      <a:pt x="4048" y="9205"/>
                      <a:pt x="4049" y="9204"/>
                      <a:pt x="4050" y="9203"/>
                    </a:cubicBezTo>
                    <a:cubicBezTo>
                      <a:pt x="4054" y="9199"/>
                      <a:pt x="4056" y="9198"/>
                      <a:pt x="4060" y="9194"/>
                    </a:cubicBezTo>
                    <a:cubicBezTo>
                      <a:pt x="4076" y="9182"/>
                      <a:pt x="4111" y="9157"/>
                      <a:pt x="4155" y="9125"/>
                    </a:cubicBezTo>
                    <a:lnTo>
                      <a:pt x="3807" y="8885"/>
                    </a:lnTo>
                    <a:close/>
                    <a:moveTo>
                      <a:pt x="3309" y="8750"/>
                    </a:moveTo>
                    <a:cubicBezTo>
                      <a:pt x="3309" y="8749"/>
                      <a:pt x="3309" y="8749"/>
                      <a:pt x="3309" y="8749"/>
                    </a:cubicBezTo>
                    <a:cubicBezTo>
                      <a:pt x="3313" y="8743"/>
                      <a:pt x="3325" y="8703"/>
                      <a:pt x="3335" y="8667"/>
                    </a:cubicBezTo>
                    <a:cubicBezTo>
                      <a:pt x="3343" y="8636"/>
                      <a:pt x="3351" y="8606"/>
                      <a:pt x="3353" y="8598"/>
                    </a:cubicBezTo>
                    <a:cubicBezTo>
                      <a:pt x="3346" y="8584"/>
                      <a:pt x="3309" y="8513"/>
                      <a:pt x="3271" y="8441"/>
                    </a:cubicBezTo>
                    <a:cubicBezTo>
                      <a:pt x="3250" y="8401"/>
                      <a:pt x="3230" y="8361"/>
                      <a:pt x="3214" y="8330"/>
                    </a:cubicBezTo>
                    <a:cubicBezTo>
                      <a:pt x="3209" y="8320"/>
                      <a:pt x="3205" y="8311"/>
                      <a:pt x="3201" y="8304"/>
                    </a:cubicBezTo>
                    <a:cubicBezTo>
                      <a:pt x="2932" y="8454"/>
                      <a:pt x="2932" y="8454"/>
                      <a:pt x="2932" y="8454"/>
                    </a:cubicBezTo>
                    <a:cubicBezTo>
                      <a:pt x="2978" y="8501"/>
                      <a:pt x="3164" y="8683"/>
                      <a:pt x="3178" y="8698"/>
                    </a:cubicBezTo>
                    <a:cubicBezTo>
                      <a:pt x="3313" y="8755"/>
                      <a:pt x="3313" y="8755"/>
                      <a:pt x="3313" y="8755"/>
                    </a:cubicBezTo>
                    <a:cubicBezTo>
                      <a:pt x="3313" y="8753"/>
                      <a:pt x="3313" y="8753"/>
                      <a:pt x="3313" y="8753"/>
                    </a:cubicBezTo>
                    <a:lnTo>
                      <a:pt x="3309" y="8750"/>
                    </a:lnTo>
                    <a:close/>
                    <a:moveTo>
                      <a:pt x="2036" y="7420"/>
                    </a:moveTo>
                    <a:cubicBezTo>
                      <a:pt x="1935" y="7347"/>
                      <a:pt x="1935" y="7347"/>
                      <a:pt x="1935" y="7347"/>
                    </a:cubicBezTo>
                    <a:cubicBezTo>
                      <a:pt x="1922" y="7374"/>
                      <a:pt x="1906" y="7408"/>
                      <a:pt x="1888" y="7446"/>
                    </a:cubicBezTo>
                    <a:cubicBezTo>
                      <a:pt x="1989" y="7517"/>
                      <a:pt x="1989" y="7517"/>
                      <a:pt x="1989" y="7517"/>
                    </a:cubicBezTo>
                    <a:cubicBezTo>
                      <a:pt x="2008" y="7478"/>
                      <a:pt x="2024" y="7445"/>
                      <a:pt x="2036" y="7420"/>
                    </a:cubicBezTo>
                    <a:close/>
                    <a:moveTo>
                      <a:pt x="2001" y="7526"/>
                    </a:moveTo>
                    <a:cubicBezTo>
                      <a:pt x="2057" y="7566"/>
                      <a:pt x="2057" y="7566"/>
                      <a:pt x="2057" y="7566"/>
                    </a:cubicBezTo>
                    <a:cubicBezTo>
                      <a:pt x="2117" y="7479"/>
                      <a:pt x="2117" y="7479"/>
                      <a:pt x="2117" y="7479"/>
                    </a:cubicBezTo>
                    <a:cubicBezTo>
                      <a:pt x="2047" y="7428"/>
                      <a:pt x="2047" y="7428"/>
                      <a:pt x="2047" y="7428"/>
                    </a:cubicBezTo>
                    <a:cubicBezTo>
                      <a:pt x="2035" y="7453"/>
                      <a:pt x="2019" y="7487"/>
                      <a:pt x="2001" y="7526"/>
                    </a:cubicBezTo>
                    <a:close/>
                    <a:moveTo>
                      <a:pt x="1924" y="7339"/>
                    </a:moveTo>
                    <a:cubicBezTo>
                      <a:pt x="1828" y="7271"/>
                      <a:pt x="1828" y="7271"/>
                      <a:pt x="1828" y="7271"/>
                    </a:cubicBezTo>
                    <a:cubicBezTo>
                      <a:pt x="1815" y="7298"/>
                      <a:pt x="1799" y="7332"/>
                      <a:pt x="1781" y="7370"/>
                    </a:cubicBezTo>
                    <a:cubicBezTo>
                      <a:pt x="1876" y="7438"/>
                      <a:pt x="1876" y="7438"/>
                      <a:pt x="1876" y="7438"/>
                    </a:cubicBezTo>
                    <a:cubicBezTo>
                      <a:pt x="1895" y="7399"/>
                      <a:pt x="1911" y="7366"/>
                      <a:pt x="1924" y="7339"/>
                    </a:cubicBezTo>
                    <a:close/>
                    <a:moveTo>
                      <a:pt x="1817" y="7262"/>
                    </a:moveTo>
                    <a:cubicBezTo>
                      <a:pt x="1774" y="7231"/>
                      <a:pt x="1774" y="7231"/>
                      <a:pt x="1774" y="7231"/>
                    </a:cubicBezTo>
                    <a:cubicBezTo>
                      <a:pt x="1709" y="7318"/>
                      <a:pt x="1709" y="7318"/>
                      <a:pt x="1709" y="7318"/>
                    </a:cubicBezTo>
                    <a:cubicBezTo>
                      <a:pt x="1769" y="7362"/>
                      <a:pt x="1769" y="7362"/>
                      <a:pt x="1769" y="7362"/>
                    </a:cubicBezTo>
                    <a:cubicBezTo>
                      <a:pt x="1787" y="7323"/>
                      <a:pt x="1804" y="7290"/>
                      <a:pt x="1817" y="7262"/>
                    </a:cubicBezTo>
                    <a:close/>
                    <a:moveTo>
                      <a:pt x="1744" y="7447"/>
                    </a:moveTo>
                    <a:cubicBezTo>
                      <a:pt x="1825" y="7546"/>
                      <a:pt x="1825" y="7546"/>
                      <a:pt x="1825" y="7546"/>
                    </a:cubicBezTo>
                    <a:cubicBezTo>
                      <a:pt x="1841" y="7512"/>
                      <a:pt x="1856" y="7480"/>
                      <a:pt x="1871" y="7450"/>
                    </a:cubicBezTo>
                    <a:cubicBezTo>
                      <a:pt x="1775" y="7382"/>
                      <a:pt x="1775" y="7382"/>
                      <a:pt x="1775" y="7382"/>
                    </a:cubicBezTo>
                    <a:cubicBezTo>
                      <a:pt x="1765" y="7403"/>
                      <a:pt x="1754" y="7424"/>
                      <a:pt x="1744" y="7447"/>
                    </a:cubicBezTo>
                    <a:close/>
                    <a:moveTo>
                      <a:pt x="1737" y="7461"/>
                    </a:moveTo>
                    <a:cubicBezTo>
                      <a:pt x="1722" y="7492"/>
                      <a:pt x="1707" y="7523"/>
                      <a:pt x="1692" y="7555"/>
                    </a:cubicBezTo>
                    <a:cubicBezTo>
                      <a:pt x="1657" y="7629"/>
                      <a:pt x="1622" y="7703"/>
                      <a:pt x="1593" y="7765"/>
                    </a:cubicBezTo>
                    <a:cubicBezTo>
                      <a:pt x="1688" y="7834"/>
                      <a:pt x="1688" y="7834"/>
                      <a:pt x="1688" y="7834"/>
                    </a:cubicBezTo>
                    <a:cubicBezTo>
                      <a:pt x="1726" y="7752"/>
                      <a:pt x="1774" y="7652"/>
                      <a:pt x="1818" y="7559"/>
                    </a:cubicBezTo>
                    <a:lnTo>
                      <a:pt x="1737" y="7461"/>
                    </a:lnTo>
                    <a:close/>
                    <a:moveTo>
                      <a:pt x="1678" y="7888"/>
                    </a:moveTo>
                    <a:cubicBezTo>
                      <a:pt x="1666" y="7913"/>
                      <a:pt x="1656" y="7935"/>
                      <a:pt x="1648" y="7953"/>
                    </a:cubicBezTo>
                    <a:cubicBezTo>
                      <a:pt x="1748" y="8025"/>
                      <a:pt x="1748" y="8025"/>
                      <a:pt x="1748" y="8025"/>
                    </a:cubicBezTo>
                    <a:cubicBezTo>
                      <a:pt x="1761" y="7998"/>
                      <a:pt x="1777" y="7964"/>
                      <a:pt x="1794" y="7926"/>
                    </a:cubicBezTo>
                    <a:cubicBezTo>
                      <a:pt x="1694" y="7854"/>
                      <a:pt x="1694" y="7854"/>
                      <a:pt x="1694" y="7854"/>
                    </a:cubicBezTo>
                    <a:cubicBezTo>
                      <a:pt x="1688" y="7866"/>
                      <a:pt x="1683" y="7878"/>
                      <a:pt x="1678" y="7888"/>
                    </a:cubicBezTo>
                    <a:close/>
                    <a:moveTo>
                      <a:pt x="1760" y="8033"/>
                    </a:moveTo>
                    <a:cubicBezTo>
                      <a:pt x="1813" y="8071"/>
                      <a:pt x="1813" y="8071"/>
                      <a:pt x="1813" y="8071"/>
                    </a:cubicBezTo>
                    <a:cubicBezTo>
                      <a:pt x="1874" y="7983"/>
                      <a:pt x="1874" y="7983"/>
                      <a:pt x="1874" y="7983"/>
                    </a:cubicBezTo>
                    <a:cubicBezTo>
                      <a:pt x="1806" y="7935"/>
                      <a:pt x="1806" y="7935"/>
                      <a:pt x="1806" y="7935"/>
                    </a:cubicBezTo>
                    <a:cubicBezTo>
                      <a:pt x="1798" y="7951"/>
                      <a:pt x="1791" y="7966"/>
                      <a:pt x="1784" y="7981"/>
                    </a:cubicBezTo>
                    <a:cubicBezTo>
                      <a:pt x="1775" y="8000"/>
                      <a:pt x="1767" y="8017"/>
                      <a:pt x="1760" y="8033"/>
                    </a:cubicBezTo>
                    <a:close/>
                    <a:moveTo>
                      <a:pt x="1915" y="7672"/>
                    </a:moveTo>
                    <a:cubicBezTo>
                      <a:pt x="1795" y="7640"/>
                      <a:pt x="1795" y="7640"/>
                      <a:pt x="1795" y="7640"/>
                    </a:cubicBezTo>
                    <a:cubicBezTo>
                      <a:pt x="1795" y="7641"/>
                      <a:pt x="1795" y="7641"/>
                      <a:pt x="1795" y="7641"/>
                    </a:cubicBezTo>
                    <a:cubicBezTo>
                      <a:pt x="1761" y="7712"/>
                      <a:pt x="1728" y="7782"/>
                      <a:pt x="1699" y="7842"/>
                    </a:cubicBezTo>
                    <a:cubicBezTo>
                      <a:pt x="1800" y="7914"/>
                      <a:pt x="1800" y="7914"/>
                      <a:pt x="1800" y="7914"/>
                    </a:cubicBezTo>
                    <a:cubicBezTo>
                      <a:pt x="1835" y="7841"/>
                      <a:pt x="1876" y="7754"/>
                      <a:pt x="1915" y="7672"/>
                    </a:cubicBezTo>
                    <a:close/>
                    <a:moveTo>
                      <a:pt x="1921" y="7659"/>
                    </a:moveTo>
                    <a:cubicBezTo>
                      <a:pt x="1943" y="7613"/>
                      <a:pt x="1964" y="7569"/>
                      <a:pt x="1983" y="7530"/>
                    </a:cubicBezTo>
                    <a:cubicBezTo>
                      <a:pt x="1882" y="7458"/>
                      <a:pt x="1882" y="7458"/>
                      <a:pt x="1882" y="7458"/>
                    </a:cubicBezTo>
                    <a:cubicBezTo>
                      <a:pt x="1858" y="7509"/>
                      <a:pt x="1829" y="7568"/>
                      <a:pt x="1801" y="7628"/>
                    </a:cubicBezTo>
                    <a:lnTo>
                      <a:pt x="1921" y="7659"/>
                    </a:lnTo>
                    <a:close/>
                    <a:moveTo>
                      <a:pt x="1935" y="7663"/>
                    </a:moveTo>
                    <a:cubicBezTo>
                      <a:pt x="2041" y="7690"/>
                      <a:pt x="2041" y="7690"/>
                      <a:pt x="2041" y="7690"/>
                    </a:cubicBezTo>
                    <a:cubicBezTo>
                      <a:pt x="2102" y="7563"/>
                      <a:pt x="2151" y="7460"/>
                      <a:pt x="2151" y="7460"/>
                    </a:cubicBezTo>
                    <a:cubicBezTo>
                      <a:pt x="2157" y="7463"/>
                      <a:pt x="2157" y="7463"/>
                      <a:pt x="2157" y="7463"/>
                    </a:cubicBezTo>
                    <a:cubicBezTo>
                      <a:pt x="2068" y="7386"/>
                      <a:pt x="2068" y="7386"/>
                      <a:pt x="2068" y="7386"/>
                    </a:cubicBezTo>
                    <a:cubicBezTo>
                      <a:pt x="2065" y="7392"/>
                      <a:pt x="2060" y="7403"/>
                      <a:pt x="2053" y="7416"/>
                    </a:cubicBezTo>
                    <a:cubicBezTo>
                      <a:pt x="2135" y="7475"/>
                      <a:pt x="2135" y="7475"/>
                      <a:pt x="2135" y="7475"/>
                    </a:cubicBezTo>
                    <a:cubicBezTo>
                      <a:pt x="2132" y="7481"/>
                      <a:pt x="2132" y="7481"/>
                      <a:pt x="2132" y="7481"/>
                    </a:cubicBezTo>
                    <a:cubicBezTo>
                      <a:pt x="2060" y="7584"/>
                      <a:pt x="2060" y="7584"/>
                      <a:pt x="2060" y="7584"/>
                    </a:cubicBezTo>
                    <a:cubicBezTo>
                      <a:pt x="1995" y="7538"/>
                      <a:pt x="1995" y="7538"/>
                      <a:pt x="1995" y="7538"/>
                    </a:cubicBezTo>
                    <a:cubicBezTo>
                      <a:pt x="1976" y="7576"/>
                      <a:pt x="1956" y="7618"/>
                      <a:pt x="1935" y="7663"/>
                    </a:cubicBezTo>
                    <a:close/>
                    <a:moveTo>
                      <a:pt x="2057" y="7376"/>
                    </a:moveTo>
                    <a:cubicBezTo>
                      <a:pt x="1961" y="7293"/>
                      <a:pt x="1961" y="7293"/>
                      <a:pt x="1961" y="7293"/>
                    </a:cubicBezTo>
                    <a:cubicBezTo>
                      <a:pt x="1958" y="7301"/>
                      <a:pt x="1951" y="7316"/>
                      <a:pt x="1941" y="7335"/>
                    </a:cubicBezTo>
                    <a:cubicBezTo>
                      <a:pt x="2042" y="7408"/>
                      <a:pt x="2042" y="7408"/>
                      <a:pt x="2042" y="7408"/>
                    </a:cubicBezTo>
                    <a:cubicBezTo>
                      <a:pt x="2049" y="7392"/>
                      <a:pt x="2054" y="7381"/>
                      <a:pt x="2057" y="7376"/>
                    </a:cubicBezTo>
                    <a:close/>
                    <a:moveTo>
                      <a:pt x="1950" y="7284"/>
                    </a:moveTo>
                    <a:cubicBezTo>
                      <a:pt x="1860" y="7205"/>
                      <a:pt x="1860" y="7205"/>
                      <a:pt x="1860" y="7205"/>
                    </a:cubicBezTo>
                    <a:cubicBezTo>
                      <a:pt x="1856" y="7213"/>
                      <a:pt x="1847" y="7232"/>
                      <a:pt x="1834" y="7258"/>
                    </a:cubicBezTo>
                    <a:cubicBezTo>
                      <a:pt x="1929" y="7327"/>
                      <a:pt x="1929" y="7327"/>
                      <a:pt x="1929" y="7327"/>
                    </a:cubicBezTo>
                    <a:cubicBezTo>
                      <a:pt x="1940" y="7305"/>
                      <a:pt x="1947" y="7290"/>
                      <a:pt x="1950" y="7284"/>
                    </a:cubicBezTo>
                    <a:close/>
                    <a:moveTo>
                      <a:pt x="1849" y="7195"/>
                    </a:moveTo>
                    <a:cubicBezTo>
                      <a:pt x="1773" y="7129"/>
                      <a:pt x="1773" y="7129"/>
                      <a:pt x="1773" y="7129"/>
                    </a:cubicBezTo>
                    <a:cubicBezTo>
                      <a:pt x="1758" y="7159"/>
                      <a:pt x="1716" y="7246"/>
                      <a:pt x="1665" y="7351"/>
                    </a:cubicBezTo>
                    <a:cubicBezTo>
                      <a:pt x="1734" y="7435"/>
                      <a:pt x="1734" y="7435"/>
                      <a:pt x="1734" y="7435"/>
                    </a:cubicBezTo>
                    <a:cubicBezTo>
                      <a:pt x="1744" y="7414"/>
                      <a:pt x="1754" y="7393"/>
                      <a:pt x="1763" y="7374"/>
                    </a:cubicBezTo>
                    <a:cubicBezTo>
                      <a:pt x="1690" y="7321"/>
                      <a:pt x="1690" y="7321"/>
                      <a:pt x="1690" y="7321"/>
                    </a:cubicBezTo>
                    <a:cubicBezTo>
                      <a:pt x="1771" y="7213"/>
                      <a:pt x="1771" y="7213"/>
                      <a:pt x="1771" y="7213"/>
                    </a:cubicBezTo>
                    <a:cubicBezTo>
                      <a:pt x="1823" y="7250"/>
                      <a:pt x="1823" y="7250"/>
                      <a:pt x="1823" y="7250"/>
                    </a:cubicBezTo>
                    <a:cubicBezTo>
                      <a:pt x="1837" y="7220"/>
                      <a:pt x="1847" y="7200"/>
                      <a:pt x="1849" y="7195"/>
                    </a:cubicBezTo>
                    <a:close/>
                    <a:moveTo>
                      <a:pt x="1762" y="7119"/>
                    </a:moveTo>
                    <a:cubicBezTo>
                      <a:pt x="1671" y="7041"/>
                      <a:pt x="1671" y="7041"/>
                      <a:pt x="1671" y="7041"/>
                    </a:cubicBezTo>
                    <a:cubicBezTo>
                      <a:pt x="1667" y="7049"/>
                      <a:pt x="1661" y="7063"/>
                      <a:pt x="1652" y="7081"/>
                    </a:cubicBezTo>
                    <a:cubicBezTo>
                      <a:pt x="1742" y="7146"/>
                      <a:pt x="1742" y="7146"/>
                      <a:pt x="1742" y="7146"/>
                    </a:cubicBezTo>
                    <a:cubicBezTo>
                      <a:pt x="1739" y="7152"/>
                      <a:pt x="1739" y="7152"/>
                      <a:pt x="1739" y="7152"/>
                    </a:cubicBezTo>
                    <a:cubicBezTo>
                      <a:pt x="1667" y="7255"/>
                      <a:pt x="1667" y="7255"/>
                      <a:pt x="1667" y="7255"/>
                    </a:cubicBezTo>
                    <a:cubicBezTo>
                      <a:pt x="1593" y="7203"/>
                      <a:pt x="1593" y="7203"/>
                      <a:pt x="1593" y="7203"/>
                    </a:cubicBezTo>
                    <a:cubicBezTo>
                      <a:pt x="1571" y="7248"/>
                      <a:pt x="1546" y="7300"/>
                      <a:pt x="1521" y="7352"/>
                    </a:cubicBezTo>
                    <a:cubicBezTo>
                      <a:pt x="1565" y="7381"/>
                      <a:pt x="1606" y="7408"/>
                      <a:pt x="1618" y="7416"/>
                    </a:cubicBezTo>
                    <a:cubicBezTo>
                      <a:pt x="1685" y="7277"/>
                      <a:pt x="1747" y="7151"/>
                      <a:pt x="1762" y="7119"/>
                    </a:cubicBezTo>
                    <a:close/>
                    <a:moveTo>
                      <a:pt x="1503" y="7357"/>
                    </a:moveTo>
                    <a:cubicBezTo>
                      <a:pt x="1477" y="7340"/>
                      <a:pt x="1451" y="7323"/>
                      <a:pt x="1431" y="7311"/>
                    </a:cubicBezTo>
                    <a:cubicBezTo>
                      <a:pt x="1421" y="7304"/>
                      <a:pt x="1412" y="7299"/>
                      <a:pt x="1405" y="7295"/>
                    </a:cubicBezTo>
                    <a:cubicBezTo>
                      <a:pt x="1220" y="7682"/>
                      <a:pt x="1220" y="7682"/>
                      <a:pt x="1220" y="7682"/>
                    </a:cubicBezTo>
                    <a:cubicBezTo>
                      <a:pt x="1248" y="7703"/>
                      <a:pt x="1280" y="7727"/>
                      <a:pt x="1316" y="7754"/>
                    </a:cubicBezTo>
                    <a:cubicBezTo>
                      <a:pt x="1318" y="7749"/>
                      <a:pt x="1321" y="7742"/>
                      <a:pt x="1324" y="7735"/>
                    </a:cubicBezTo>
                    <a:cubicBezTo>
                      <a:pt x="1235" y="7672"/>
                      <a:pt x="1235" y="7672"/>
                      <a:pt x="1235" y="7672"/>
                    </a:cubicBezTo>
                    <a:cubicBezTo>
                      <a:pt x="1316" y="7563"/>
                      <a:pt x="1316" y="7563"/>
                      <a:pt x="1316" y="7563"/>
                    </a:cubicBezTo>
                    <a:cubicBezTo>
                      <a:pt x="1382" y="7611"/>
                      <a:pt x="1382" y="7611"/>
                      <a:pt x="1382" y="7611"/>
                    </a:cubicBezTo>
                    <a:cubicBezTo>
                      <a:pt x="1417" y="7537"/>
                      <a:pt x="1461" y="7445"/>
                      <a:pt x="1503" y="7357"/>
                    </a:cubicBezTo>
                    <a:close/>
                    <a:moveTo>
                      <a:pt x="1377" y="7655"/>
                    </a:moveTo>
                    <a:cubicBezTo>
                      <a:pt x="1362" y="7685"/>
                      <a:pt x="1351" y="7710"/>
                      <a:pt x="1341" y="7731"/>
                    </a:cubicBezTo>
                    <a:cubicBezTo>
                      <a:pt x="1401" y="7773"/>
                      <a:pt x="1401" y="7773"/>
                      <a:pt x="1401" y="7773"/>
                    </a:cubicBezTo>
                    <a:cubicBezTo>
                      <a:pt x="1462" y="7686"/>
                      <a:pt x="1462" y="7686"/>
                      <a:pt x="1462" y="7686"/>
                    </a:cubicBezTo>
                    <a:cubicBezTo>
                      <a:pt x="1388" y="7632"/>
                      <a:pt x="1388" y="7632"/>
                      <a:pt x="1388" y="7632"/>
                    </a:cubicBezTo>
                    <a:cubicBezTo>
                      <a:pt x="1384" y="7639"/>
                      <a:pt x="1380" y="7648"/>
                      <a:pt x="1377" y="7655"/>
                    </a:cubicBezTo>
                    <a:close/>
                    <a:moveTo>
                      <a:pt x="1330" y="7722"/>
                    </a:moveTo>
                    <a:cubicBezTo>
                      <a:pt x="1341" y="7697"/>
                      <a:pt x="1357" y="7663"/>
                      <a:pt x="1376" y="7623"/>
                    </a:cubicBezTo>
                    <a:cubicBezTo>
                      <a:pt x="1319" y="7582"/>
                      <a:pt x="1319" y="7582"/>
                      <a:pt x="1319" y="7582"/>
                    </a:cubicBezTo>
                    <a:cubicBezTo>
                      <a:pt x="1254" y="7669"/>
                      <a:pt x="1254" y="7669"/>
                      <a:pt x="1254" y="7669"/>
                    </a:cubicBezTo>
                    <a:lnTo>
                      <a:pt x="1330" y="7722"/>
                    </a:lnTo>
                    <a:close/>
                    <a:moveTo>
                      <a:pt x="1327" y="7763"/>
                    </a:moveTo>
                    <a:cubicBezTo>
                      <a:pt x="1356" y="7785"/>
                      <a:pt x="1387" y="7808"/>
                      <a:pt x="1420" y="7833"/>
                    </a:cubicBezTo>
                    <a:cubicBezTo>
                      <a:pt x="1442" y="7782"/>
                      <a:pt x="1530" y="7598"/>
                      <a:pt x="1612" y="7429"/>
                    </a:cubicBezTo>
                    <a:cubicBezTo>
                      <a:pt x="1602" y="7422"/>
                      <a:pt x="1560" y="7394"/>
                      <a:pt x="1515" y="7365"/>
                    </a:cubicBezTo>
                    <a:cubicBezTo>
                      <a:pt x="1509" y="7376"/>
                      <a:pt x="1504" y="7388"/>
                      <a:pt x="1498" y="7399"/>
                    </a:cubicBezTo>
                    <a:cubicBezTo>
                      <a:pt x="1461" y="7477"/>
                      <a:pt x="1424" y="7555"/>
                      <a:pt x="1393" y="7620"/>
                    </a:cubicBezTo>
                    <a:cubicBezTo>
                      <a:pt x="1480" y="7683"/>
                      <a:pt x="1480" y="7683"/>
                      <a:pt x="1480" y="7683"/>
                    </a:cubicBezTo>
                    <a:cubicBezTo>
                      <a:pt x="1476" y="7688"/>
                      <a:pt x="1476" y="7688"/>
                      <a:pt x="1476" y="7688"/>
                    </a:cubicBezTo>
                    <a:cubicBezTo>
                      <a:pt x="1404" y="7791"/>
                      <a:pt x="1404" y="7791"/>
                      <a:pt x="1404" y="7791"/>
                    </a:cubicBezTo>
                    <a:cubicBezTo>
                      <a:pt x="1336" y="7743"/>
                      <a:pt x="1336" y="7743"/>
                      <a:pt x="1336" y="7743"/>
                    </a:cubicBezTo>
                    <a:cubicBezTo>
                      <a:pt x="1332" y="7751"/>
                      <a:pt x="1329" y="7757"/>
                      <a:pt x="1327" y="7763"/>
                    </a:cubicBezTo>
                    <a:close/>
                    <a:moveTo>
                      <a:pt x="1635" y="7084"/>
                    </a:moveTo>
                    <a:cubicBezTo>
                      <a:pt x="1591" y="7053"/>
                      <a:pt x="1591" y="7053"/>
                      <a:pt x="1591" y="7053"/>
                    </a:cubicBezTo>
                    <a:cubicBezTo>
                      <a:pt x="1526" y="7140"/>
                      <a:pt x="1526" y="7140"/>
                      <a:pt x="1526" y="7140"/>
                    </a:cubicBezTo>
                    <a:cubicBezTo>
                      <a:pt x="1587" y="7183"/>
                      <a:pt x="1587" y="7183"/>
                      <a:pt x="1587" y="7183"/>
                    </a:cubicBezTo>
                    <a:cubicBezTo>
                      <a:pt x="1606" y="7144"/>
                      <a:pt x="1622" y="7111"/>
                      <a:pt x="1635" y="7084"/>
                    </a:cubicBezTo>
                    <a:close/>
                    <a:moveTo>
                      <a:pt x="1599" y="7191"/>
                    </a:moveTo>
                    <a:cubicBezTo>
                      <a:pt x="1664" y="7237"/>
                      <a:pt x="1664" y="7237"/>
                      <a:pt x="1664" y="7237"/>
                    </a:cubicBezTo>
                    <a:cubicBezTo>
                      <a:pt x="1724" y="7149"/>
                      <a:pt x="1724" y="7149"/>
                      <a:pt x="1724" y="7149"/>
                    </a:cubicBezTo>
                    <a:cubicBezTo>
                      <a:pt x="1646" y="7093"/>
                      <a:pt x="1646" y="7093"/>
                      <a:pt x="1646" y="7093"/>
                    </a:cubicBezTo>
                    <a:cubicBezTo>
                      <a:pt x="1633" y="7119"/>
                      <a:pt x="1617" y="7153"/>
                      <a:pt x="1599" y="7191"/>
                    </a:cubicBezTo>
                    <a:close/>
                    <a:moveTo>
                      <a:pt x="1661" y="7031"/>
                    </a:moveTo>
                    <a:cubicBezTo>
                      <a:pt x="1570" y="6952"/>
                      <a:pt x="1570" y="6952"/>
                      <a:pt x="1570" y="6952"/>
                    </a:cubicBezTo>
                    <a:cubicBezTo>
                      <a:pt x="1411" y="7282"/>
                      <a:pt x="1411" y="7282"/>
                      <a:pt x="1411" y="7282"/>
                    </a:cubicBezTo>
                    <a:cubicBezTo>
                      <a:pt x="1412" y="7283"/>
                      <a:pt x="1412" y="7283"/>
                      <a:pt x="1412" y="7283"/>
                    </a:cubicBezTo>
                    <a:cubicBezTo>
                      <a:pt x="1431" y="7294"/>
                      <a:pt x="1470" y="7319"/>
                      <a:pt x="1509" y="7344"/>
                    </a:cubicBezTo>
                    <a:cubicBezTo>
                      <a:pt x="1535" y="7292"/>
                      <a:pt x="1559" y="7240"/>
                      <a:pt x="1581" y="7195"/>
                    </a:cubicBezTo>
                    <a:cubicBezTo>
                      <a:pt x="1508" y="7143"/>
                      <a:pt x="1508" y="7143"/>
                      <a:pt x="1508" y="7143"/>
                    </a:cubicBezTo>
                    <a:cubicBezTo>
                      <a:pt x="1589" y="7035"/>
                      <a:pt x="1589" y="7035"/>
                      <a:pt x="1589" y="7035"/>
                    </a:cubicBezTo>
                    <a:cubicBezTo>
                      <a:pt x="1641" y="7072"/>
                      <a:pt x="1641" y="7072"/>
                      <a:pt x="1641" y="7072"/>
                    </a:cubicBezTo>
                    <a:cubicBezTo>
                      <a:pt x="1650" y="7052"/>
                      <a:pt x="1657" y="7038"/>
                      <a:pt x="1661" y="7031"/>
                    </a:cubicBezTo>
                    <a:close/>
                    <a:moveTo>
                      <a:pt x="1556" y="6944"/>
                    </a:moveTo>
                    <a:cubicBezTo>
                      <a:pt x="1416" y="6811"/>
                      <a:pt x="1416" y="6811"/>
                      <a:pt x="1416" y="6811"/>
                    </a:cubicBezTo>
                    <a:cubicBezTo>
                      <a:pt x="1057" y="7562"/>
                      <a:pt x="1057" y="7562"/>
                      <a:pt x="1057" y="7562"/>
                    </a:cubicBezTo>
                    <a:cubicBezTo>
                      <a:pt x="1093" y="7589"/>
                      <a:pt x="1093" y="7589"/>
                      <a:pt x="1093" y="7589"/>
                    </a:cubicBezTo>
                    <a:cubicBezTo>
                      <a:pt x="1095" y="7588"/>
                      <a:pt x="1095" y="7588"/>
                      <a:pt x="1095" y="7588"/>
                    </a:cubicBezTo>
                    <a:cubicBezTo>
                      <a:pt x="1095" y="7588"/>
                      <a:pt x="1138" y="7620"/>
                      <a:pt x="1206" y="7672"/>
                    </a:cubicBezTo>
                    <a:cubicBezTo>
                      <a:pt x="1394" y="7281"/>
                      <a:pt x="1394" y="7281"/>
                      <a:pt x="1394" y="7281"/>
                    </a:cubicBezTo>
                    <a:cubicBezTo>
                      <a:pt x="1391" y="7279"/>
                      <a:pt x="1391" y="7279"/>
                      <a:pt x="1391" y="7279"/>
                    </a:cubicBezTo>
                    <a:cubicBezTo>
                      <a:pt x="1392" y="7278"/>
                      <a:pt x="1393" y="7277"/>
                      <a:pt x="1395" y="7276"/>
                    </a:cubicBezTo>
                    <a:cubicBezTo>
                      <a:pt x="1395" y="7276"/>
                      <a:pt x="1396" y="7276"/>
                      <a:pt x="1396" y="7276"/>
                    </a:cubicBezTo>
                    <a:lnTo>
                      <a:pt x="1556" y="6944"/>
                    </a:lnTo>
                    <a:close/>
                    <a:moveTo>
                      <a:pt x="1042" y="7635"/>
                    </a:moveTo>
                    <a:cubicBezTo>
                      <a:pt x="946" y="7753"/>
                      <a:pt x="946" y="7753"/>
                      <a:pt x="946" y="7753"/>
                    </a:cubicBezTo>
                    <a:cubicBezTo>
                      <a:pt x="991" y="7874"/>
                      <a:pt x="991" y="7874"/>
                      <a:pt x="991" y="7874"/>
                    </a:cubicBezTo>
                    <a:cubicBezTo>
                      <a:pt x="926" y="8119"/>
                      <a:pt x="926" y="8119"/>
                      <a:pt x="926" y="8119"/>
                    </a:cubicBezTo>
                    <a:cubicBezTo>
                      <a:pt x="930" y="8114"/>
                      <a:pt x="930" y="8114"/>
                      <a:pt x="930" y="8114"/>
                    </a:cubicBezTo>
                    <a:cubicBezTo>
                      <a:pt x="930" y="8114"/>
                      <a:pt x="930" y="8114"/>
                      <a:pt x="930" y="8114"/>
                    </a:cubicBezTo>
                    <a:cubicBezTo>
                      <a:pt x="1198" y="8351"/>
                      <a:pt x="1198" y="8351"/>
                      <a:pt x="1198" y="8351"/>
                    </a:cubicBezTo>
                    <a:cubicBezTo>
                      <a:pt x="1503" y="7980"/>
                      <a:pt x="1503" y="7980"/>
                      <a:pt x="1503" y="7980"/>
                    </a:cubicBezTo>
                    <a:cubicBezTo>
                      <a:pt x="1262" y="7800"/>
                      <a:pt x="1045" y="7638"/>
                      <a:pt x="1042" y="7635"/>
                    </a:cubicBezTo>
                    <a:close/>
                    <a:moveTo>
                      <a:pt x="1514" y="7903"/>
                    </a:moveTo>
                    <a:cubicBezTo>
                      <a:pt x="1516" y="7897"/>
                      <a:pt x="1519" y="7890"/>
                      <a:pt x="1524" y="7881"/>
                    </a:cubicBezTo>
                    <a:cubicBezTo>
                      <a:pt x="1446" y="7826"/>
                      <a:pt x="1446" y="7826"/>
                      <a:pt x="1446" y="7826"/>
                    </a:cubicBezTo>
                    <a:cubicBezTo>
                      <a:pt x="1527" y="7718"/>
                      <a:pt x="1527" y="7718"/>
                      <a:pt x="1527" y="7718"/>
                    </a:cubicBezTo>
                    <a:cubicBezTo>
                      <a:pt x="1581" y="7757"/>
                      <a:pt x="1581" y="7757"/>
                      <a:pt x="1581" y="7757"/>
                    </a:cubicBezTo>
                    <a:cubicBezTo>
                      <a:pt x="1624" y="7667"/>
                      <a:pt x="1678" y="7552"/>
                      <a:pt x="1727" y="7449"/>
                    </a:cubicBezTo>
                    <a:cubicBezTo>
                      <a:pt x="1658" y="7365"/>
                      <a:pt x="1658" y="7365"/>
                      <a:pt x="1658" y="7365"/>
                    </a:cubicBezTo>
                    <a:cubicBezTo>
                      <a:pt x="1640" y="7402"/>
                      <a:pt x="1622" y="7441"/>
                      <a:pt x="1603" y="7479"/>
                    </a:cubicBezTo>
                    <a:cubicBezTo>
                      <a:pt x="1559" y="7570"/>
                      <a:pt x="1515" y="7661"/>
                      <a:pt x="1482" y="7731"/>
                    </a:cubicBezTo>
                    <a:cubicBezTo>
                      <a:pt x="1466" y="7765"/>
                      <a:pt x="1452" y="7795"/>
                      <a:pt x="1443" y="7816"/>
                    </a:cubicBezTo>
                    <a:cubicBezTo>
                      <a:pt x="1438" y="7826"/>
                      <a:pt x="1434" y="7835"/>
                      <a:pt x="1432" y="7841"/>
                    </a:cubicBezTo>
                    <a:cubicBezTo>
                      <a:pt x="1432" y="7841"/>
                      <a:pt x="1432" y="7841"/>
                      <a:pt x="1431" y="7841"/>
                    </a:cubicBezTo>
                    <a:cubicBezTo>
                      <a:pt x="1458" y="7861"/>
                      <a:pt x="1486" y="7882"/>
                      <a:pt x="1514" y="7903"/>
                    </a:cubicBezTo>
                    <a:close/>
                    <a:moveTo>
                      <a:pt x="1529" y="7869"/>
                    </a:moveTo>
                    <a:cubicBezTo>
                      <a:pt x="1541" y="7843"/>
                      <a:pt x="1557" y="7809"/>
                      <a:pt x="1575" y="7769"/>
                    </a:cubicBezTo>
                    <a:cubicBezTo>
                      <a:pt x="1530" y="7736"/>
                      <a:pt x="1530" y="7736"/>
                      <a:pt x="1530" y="7736"/>
                    </a:cubicBezTo>
                    <a:cubicBezTo>
                      <a:pt x="1465" y="7823"/>
                      <a:pt x="1465" y="7823"/>
                      <a:pt x="1465" y="7823"/>
                    </a:cubicBezTo>
                    <a:lnTo>
                      <a:pt x="1529" y="7869"/>
                    </a:lnTo>
                    <a:close/>
                    <a:moveTo>
                      <a:pt x="1525" y="7912"/>
                    </a:moveTo>
                    <a:cubicBezTo>
                      <a:pt x="1537" y="7920"/>
                      <a:pt x="1548" y="7929"/>
                      <a:pt x="1560" y="7938"/>
                    </a:cubicBezTo>
                    <a:cubicBezTo>
                      <a:pt x="1580" y="7953"/>
                      <a:pt x="1599" y="7968"/>
                      <a:pt x="1619" y="7982"/>
                    </a:cubicBezTo>
                    <a:cubicBezTo>
                      <a:pt x="1622" y="7976"/>
                      <a:pt x="1626" y="7967"/>
                      <a:pt x="1631" y="7957"/>
                    </a:cubicBezTo>
                    <a:cubicBezTo>
                      <a:pt x="1535" y="7889"/>
                      <a:pt x="1535" y="7889"/>
                      <a:pt x="1535" y="7889"/>
                    </a:cubicBezTo>
                    <a:cubicBezTo>
                      <a:pt x="1531" y="7898"/>
                      <a:pt x="1528" y="7905"/>
                      <a:pt x="1526" y="7910"/>
                    </a:cubicBezTo>
                    <a:cubicBezTo>
                      <a:pt x="1526" y="7911"/>
                      <a:pt x="1526" y="7911"/>
                      <a:pt x="1525" y="7912"/>
                    </a:cubicBezTo>
                    <a:close/>
                    <a:moveTo>
                      <a:pt x="1636" y="7945"/>
                    </a:moveTo>
                    <a:cubicBezTo>
                      <a:pt x="1648" y="7919"/>
                      <a:pt x="1664" y="7885"/>
                      <a:pt x="1682" y="7846"/>
                    </a:cubicBezTo>
                    <a:cubicBezTo>
                      <a:pt x="1587" y="7777"/>
                      <a:pt x="1587" y="7777"/>
                      <a:pt x="1587" y="7777"/>
                    </a:cubicBezTo>
                    <a:cubicBezTo>
                      <a:pt x="1583" y="7785"/>
                      <a:pt x="1579" y="7794"/>
                      <a:pt x="1575" y="7802"/>
                    </a:cubicBezTo>
                    <a:cubicBezTo>
                      <a:pt x="1561" y="7832"/>
                      <a:pt x="1550" y="7857"/>
                      <a:pt x="1541" y="7877"/>
                    </a:cubicBezTo>
                    <a:lnTo>
                      <a:pt x="1636" y="7945"/>
                    </a:lnTo>
                    <a:close/>
                    <a:moveTo>
                      <a:pt x="1631" y="7991"/>
                    </a:moveTo>
                    <a:cubicBezTo>
                      <a:pt x="1664" y="8016"/>
                      <a:pt x="1697" y="8041"/>
                      <a:pt x="1730" y="8066"/>
                    </a:cubicBezTo>
                    <a:cubicBezTo>
                      <a:pt x="1733" y="8057"/>
                      <a:pt x="1738" y="8048"/>
                      <a:pt x="1743" y="8037"/>
                    </a:cubicBezTo>
                    <a:cubicBezTo>
                      <a:pt x="1642" y="7965"/>
                      <a:pt x="1642" y="7965"/>
                      <a:pt x="1642" y="7965"/>
                    </a:cubicBezTo>
                    <a:cubicBezTo>
                      <a:pt x="1641" y="7967"/>
                      <a:pt x="1640" y="7970"/>
                      <a:pt x="1639" y="7972"/>
                    </a:cubicBezTo>
                    <a:cubicBezTo>
                      <a:pt x="1636" y="7980"/>
                      <a:pt x="1633" y="7986"/>
                      <a:pt x="1631" y="7991"/>
                    </a:cubicBezTo>
                    <a:close/>
                    <a:moveTo>
                      <a:pt x="1741" y="8074"/>
                    </a:moveTo>
                    <a:cubicBezTo>
                      <a:pt x="1771" y="8096"/>
                      <a:pt x="1800" y="8118"/>
                      <a:pt x="1828" y="8140"/>
                    </a:cubicBezTo>
                    <a:cubicBezTo>
                      <a:pt x="1866" y="8055"/>
                      <a:pt x="1958" y="7862"/>
                      <a:pt x="2035" y="7703"/>
                    </a:cubicBezTo>
                    <a:cubicBezTo>
                      <a:pt x="1929" y="7675"/>
                      <a:pt x="1929" y="7675"/>
                      <a:pt x="1929" y="7675"/>
                    </a:cubicBezTo>
                    <a:cubicBezTo>
                      <a:pt x="1920" y="7695"/>
                      <a:pt x="1910" y="7714"/>
                      <a:pt x="1901" y="7733"/>
                    </a:cubicBezTo>
                    <a:cubicBezTo>
                      <a:pt x="1870" y="7799"/>
                      <a:pt x="1839" y="7865"/>
                      <a:pt x="1811" y="7923"/>
                    </a:cubicBezTo>
                    <a:cubicBezTo>
                      <a:pt x="1892" y="7980"/>
                      <a:pt x="1892" y="7980"/>
                      <a:pt x="1892" y="7980"/>
                    </a:cubicBezTo>
                    <a:cubicBezTo>
                      <a:pt x="1888" y="7986"/>
                      <a:pt x="1888" y="7986"/>
                      <a:pt x="1888" y="7986"/>
                    </a:cubicBezTo>
                    <a:cubicBezTo>
                      <a:pt x="1816" y="8089"/>
                      <a:pt x="1816" y="8089"/>
                      <a:pt x="1816" y="8089"/>
                    </a:cubicBezTo>
                    <a:cubicBezTo>
                      <a:pt x="1754" y="8045"/>
                      <a:pt x="1754" y="8045"/>
                      <a:pt x="1754" y="8045"/>
                    </a:cubicBezTo>
                    <a:cubicBezTo>
                      <a:pt x="1751" y="8052"/>
                      <a:pt x="1748" y="8058"/>
                      <a:pt x="1746" y="8064"/>
                    </a:cubicBezTo>
                    <a:cubicBezTo>
                      <a:pt x="1744" y="8068"/>
                      <a:pt x="1743" y="8071"/>
                      <a:pt x="1741" y="8074"/>
                    </a:cubicBezTo>
                    <a:close/>
                    <a:moveTo>
                      <a:pt x="1840" y="8148"/>
                    </a:moveTo>
                    <a:cubicBezTo>
                      <a:pt x="1918" y="8207"/>
                      <a:pt x="1989" y="8260"/>
                      <a:pt x="2047" y="8304"/>
                    </a:cubicBezTo>
                    <a:cubicBezTo>
                      <a:pt x="2094" y="8219"/>
                      <a:pt x="2175" y="8066"/>
                      <a:pt x="2246" y="7932"/>
                    </a:cubicBezTo>
                    <a:cubicBezTo>
                      <a:pt x="2315" y="7801"/>
                      <a:pt x="2374" y="7690"/>
                      <a:pt x="2378" y="7682"/>
                    </a:cubicBezTo>
                    <a:cubicBezTo>
                      <a:pt x="2210" y="7509"/>
                      <a:pt x="2210" y="7509"/>
                      <a:pt x="2210" y="7509"/>
                    </a:cubicBezTo>
                    <a:cubicBezTo>
                      <a:pt x="2163" y="7468"/>
                      <a:pt x="2163" y="7468"/>
                      <a:pt x="2163" y="7468"/>
                    </a:cubicBezTo>
                    <a:cubicBezTo>
                      <a:pt x="2154" y="7487"/>
                      <a:pt x="2074" y="7653"/>
                      <a:pt x="1993" y="7822"/>
                    </a:cubicBezTo>
                    <a:cubicBezTo>
                      <a:pt x="1951" y="7911"/>
                      <a:pt x="1908" y="8000"/>
                      <a:pt x="1876" y="8069"/>
                    </a:cubicBezTo>
                    <a:cubicBezTo>
                      <a:pt x="1861" y="8101"/>
                      <a:pt x="1849" y="8128"/>
                      <a:pt x="1840" y="8148"/>
                    </a:cubicBezTo>
                    <a:close/>
                    <a:moveTo>
                      <a:pt x="2600" y="7890"/>
                    </a:moveTo>
                    <a:cubicBezTo>
                      <a:pt x="2651" y="8141"/>
                      <a:pt x="2651" y="8141"/>
                      <a:pt x="2651" y="8141"/>
                    </a:cubicBezTo>
                    <a:cubicBezTo>
                      <a:pt x="2708" y="8087"/>
                      <a:pt x="2782" y="8018"/>
                      <a:pt x="2857" y="7952"/>
                    </a:cubicBezTo>
                    <a:cubicBezTo>
                      <a:pt x="2950" y="7871"/>
                      <a:pt x="3047" y="7802"/>
                      <a:pt x="3098" y="7756"/>
                    </a:cubicBezTo>
                    <a:cubicBezTo>
                      <a:pt x="3197" y="7668"/>
                      <a:pt x="3295" y="7634"/>
                      <a:pt x="3350" y="7622"/>
                    </a:cubicBezTo>
                    <a:cubicBezTo>
                      <a:pt x="3364" y="7515"/>
                      <a:pt x="3364" y="7515"/>
                      <a:pt x="3364" y="7515"/>
                    </a:cubicBezTo>
                    <a:cubicBezTo>
                      <a:pt x="3296" y="7510"/>
                      <a:pt x="2852" y="7474"/>
                      <a:pt x="2852" y="7474"/>
                    </a:cubicBezTo>
                    <a:cubicBezTo>
                      <a:pt x="2851" y="7474"/>
                      <a:pt x="2851" y="7474"/>
                      <a:pt x="2851" y="7474"/>
                    </a:cubicBezTo>
                    <a:cubicBezTo>
                      <a:pt x="2697" y="7420"/>
                      <a:pt x="2697" y="7420"/>
                      <a:pt x="2697" y="7420"/>
                    </a:cubicBezTo>
                    <a:cubicBezTo>
                      <a:pt x="2408" y="7223"/>
                      <a:pt x="2408" y="7223"/>
                      <a:pt x="2408" y="7223"/>
                    </a:cubicBezTo>
                    <a:cubicBezTo>
                      <a:pt x="1601" y="6734"/>
                      <a:pt x="1601" y="6734"/>
                      <a:pt x="1601" y="6734"/>
                    </a:cubicBezTo>
                    <a:cubicBezTo>
                      <a:pt x="1600" y="6736"/>
                      <a:pt x="1600" y="6736"/>
                      <a:pt x="1600" y="6736"/>
                    </a:cubicBezTo>
                    <a:cubicBezTo>
                      <a:pt x="1525" y="6691"/>
                      <a:pt x="1525" y="6691"/>
                      <a:pt x="1525" y="6691"/>
                    </a:cubicBezTo>
                    <a:cubicBezTo>
                      <a:pt x="1348" y="6630"/>
                      <a:pt x="1348" y="6630"/>
                      <a:pt x="1348" y="6630"/>
                    </a:cubicBezTo>
                    <a:cubicBezTo>
                      <a:pt x="1307" y="6685"/>
                      <a:pt x="1307" y="6685"/>
                      <a:pt x="1307" y="6685"/>
                    </a:cubicBezTo>
                    <a:cubicBezTo>
                      <a:pt x="1571" y="6936"/>
                      <a:pt x="1571" y="6936"/>
                      <a:pt x="1571" y="6936"/>
                    </a:cubicBezTo>
                    <a:cubicBezTo>
                      <a:pt x="1572" y="6935"/>
                      <a:pt x="1572" y="6935"/>
                      <a:pt x="1572" y="6935"/>
                    </a:cubicBezTo>
                    <a:cubicBezTo>
                      <a:pt x="2219" y="7499"/>
                      <a:pt x="2219" y="7499"/>
                      <a:pt x="2219" y="7499"/>
                    </a:cubicBezTo>
                    <a:lnTo>
                      <a:pt x="2600" y="7890"/>
                    </a:lnTo>
                    <a:close/>
                    <a:moveTo>
                      <a:pt x="1129" y="6093"/>
                    </a:moveTo>
                    <a:cubicBezTo>
                      <a:pt x="1128" y="6098"/>
                      <a:pt x="1128" y="6098"/>
                      <a:pt x="1128" y="6098"/>
                    </a:cubicBezTo>
                    <a:cubicBezTo>
                      <a:pt x="1447" y="6377"/>
                      <a:pt x="1447" y="6377"/>
                      <a:pt x="1447" y="6377"/>
                    </a:cubicBezTo>
                    <a:cubicBezTo>
                      <a:pt x="1487" y="6322"/>
                      <a:pt x="1487" y="6322"/>
                      <a:pt x="1487" y="6322"/>
                    </a:cubicBezTo>
                    <a:cubicBezTo>
                      <a:pt x="1492" y="6314"/>
                      <a:pt x="1520" y="6270"/>
                      <a:pt x="1549" y="6225"/>
                    </a:cubicBezTo>
                    <a:cubicBezTo>
                      <a:pt x="1565" y="6201"/>
                      <a:pt x="1580" y="6176"/>
                      <a:pt x="1593" y="6158"/>
                    </a:cubicBezTo>
                    <a:cubicBezTo>
                      <a:pt x="1599" y="6149"/>
                      <a:pt x="1604" y="6141"/>
                      <a:pt x="1607" y="6135"/>
                    </a:cubicBezTo>
                    <a:cubicBezTo>
                      <a:pt x="1608" y="6134"/>
                      <a:pt x="1608" y="6134"/>
                      <a:pt x="1609" y="6134"/>
                    </a:cubicBezTo>
                    <a:cubicBezTo>
                      <a:pt x="1543" y="5691"/>
                      <a:pt x="1543" y="5691"/>
                      <a:pt x="1543" y="5691"/>
                    </a:cubicBezTo>
                    <a:cubicBezTo>
                      <a:pt x="1324" y="5583"/>
                      <a:pt x="1324" y="5583"/>
                      <a:pt x="1324" y="5583"/>
                    </a:cubicBezTo>
                    <a:cubicBezTo>
                      <a:pt x="1323" y="5583"/>
                      <a:pt x="1323" y="5583"/>
                      <a:pt x="1322" y="5584"/>
                    </a:cubicBezTo>
                    <a:cubicBezTo>
                      <a:pt x="1529" y="5688"/>
                      <a:pt x="1529" y="5688"/>
                      <a:pt x="1529" y="5688"/>
                    </a:cubicBezTo>
                    <a:cubicBezTo>
                      <a:pt x="1581" y="6101"/>
                      <a:pt x="1581" y="6101"/>
                      <a:pt x="1581" y="6101"/>
                    </a:cubicBezTo>
                    <a:cubicBezTo>
                      <a:pt x="1436" y="6322"/>
                      <a:pt x="1436" y="6322"/>
                      <a:pt x="1436" y="6322"/>
                    </a:cubicBezTo>
                    <a:cubicBezTo>
                      <a:pt x="1154" y="6087"/>
                      <a:pt x="1154" y="6087"/>
                      <a:pt x="1154" y="6087"/>
                    </a:cubicBezTo>
                    <a:cubicBezTo>
                      <a:pt x="1150" y="5868"/>
                      <a:pt x="1150" y="5868"/>
                      <a:pt x="1150" y="5868"/>
                    </a:cubicBezTo>
                    <a:cubicBezTo>
                      <a:pt x="1018" y="5653"/>
                      <a:pt x="1018" y="5653"/>
                      <a:pt x="1018" y="5653"/>
                    </a:cubicBezTo>
                    <a:cubicBezTo>
                      <a:pt x="1262" y="5597"/>
                      <a:pt x="1262" y="5597"/>
                      <a:pt x="1262" y="5597"/>
                    </a:cubicBezTo>
                    <a:cubicBezTo>
                      <a:pt x="1230" y="5604"/>
                      <a:pt x="1192" y="5612"/>
                      <a:pt x="1153" y="5621"/>
                    </a:cubicBezTo>
                    <a:cubicBezTo>
                      <a:pt x="1108" y="5631"/>
                      <a:pt x="1062" y="5641"/>
                      <a:pt x="1027" y="5649"/>
                    </a:cubicBezTo>
                    <a:cubicBezTo>
                      <a:pt x="1018" y="5651"/>
                      <a:pt x="1002" y="5655"/>
                      <a:pt x="989" y="5658"/>
                    </a:cubicBezTo>
                    <a:cubicBezTo>
                      <a:pt x="1127" y="5882"/>
                      <a:pt x="1127" y="5882"/>
                      <a:pt x="1127" y="5882"/>
                    </a:cubicBezTo>
                    <a:lnTo>
                      <a:pt x="1129" y="6093"/>
                    </a:lnTo>
                    <a:close/>
                    <a:moveTo>
                      <a:pt x="469" y="5054"/>
                    </a:moveTo>
                    <a:cubicBezTo>
                      <a:pt x="434" y="5079"/>
                      <a:pt x="434" y="5079"/>
                      <a:pt x="434" y="5079"/>
                    </a:cubicBezTo>
                    <a:cubicBezTo>
                      <a:pt x="462" y="5117"/>
                      <a:pt x="462" y="5117"/>
                      <a:pt x="462" y="5117"/>
                    </a:cubicBezTo>
                    <a:cubicBezTo>
                      <a:pt x="403" y="5161"/>
                      <a:pt x="403" y="5161"/>
                      <a:pt x="403" y="5161"/>
                    </a:cubicBezTo>
                    <a:cubicBezTo>
                      <a:pt x="896" y="4991"/>
                      <a:pt x="896" y="4991"/>
                      <a:pt x="896" y="4991"/>
                    </a:cubicBezTo>
                    <a:cubicBezTo>
                      <a:pt x="823" y="4886"/>
                      <a:pt x="823" y="4886"/>
                      <a:pt x="823" y="4886"/>
                    </a:cubicBezTo>
                    <a:cubicBezTo>
                      <a:pt x="452" y="5032"/>
                      <a:pt x="452" y="5032"/>
                      <a:pt x="452" y="5032"/>
                    </a:cubicBezTo>
                    <a:lnTo>
                      <a:pt x="469" y="5054"/>
                    </a:lnTo>
                    <a:close/>
                    <a:moveTo>
                      <a:pt x="833" y="4862"/>
                    </a:moveTo>
                    <a:cubicBezTo>
                      <a:pt x="833" y="4862"/>
                      <a:pt x="833" y="4862"/>
                      <a:pt x="833" y="4862"/>
                    </a:cubicBezTo>
                    <a:cubicBezTo>
                      <a:pt x="825" y="4858"/>
                      <a:pt x="825" y="4858"/>
                      <a:pt x="825" y="4858"/>
                    </a:cubicBezTo>
                    <a:lnTo>
                      <a:pt x="833" y="4862"/>
                    </a:lnTo>
                    <a:close/>
                    <a:moveTo>
                      <a:pt x="1154" y="5241"/>
                    </a:moveTo>
                    <a:cubicBezTo>
                      <a:pt x="1444" y="4949"/>
                      <a:pt x="1444" y="4949"/>
                      <a:pt x="1444" y="4949"/>
                    </a:cubicBezTo>
                    <a:cubicBezTo>
                      <a:pt x="1377" y="4888"/>
                      <a:pt x="1363" y="4831"/>
                      <a:pt x="1356" y="4803"/>
                    </a:cubicBezTo>
                    <a:cubicBezTo>
                      <a:pt x="1351" y="4787"/>
                      <a:pt x="1343" y="4757"/>
                      <a:pt x="1334" y="4723"/>
                    </a:cubicBezTo>
                    <a:cubicBezTo>
                      <a:pt x="869" y="4836"/>
                      <a:pt x="869" y="4836"/>
                      <a:pt x="869" y="4836"/>
                    </a:cubicBezTo>
                    <a:cubicBezTo>
                      <a:pt x="869" y="4837"/>
                      <a:pt x="870" y="4837"/>
                      <a:pt x="870" y="4838"/>
                    </a:cubicBezTo>
                    <a:cubicBezTo>
                      <a:pt x="874" y="4843"/>
                      <a:pt x="877" y="4847"/>
                      <a:pt x="879" y="4850"/>
                    </a:cubicBezTo>
                    <a:cubicBezTo>
                      <a:pt x="880" y="4851"/>
                      <a:pt x="880" y="4852"/>
                      <a:pt x="881" y="4853"/>
                    </a:cubicBezTo>
                    <a:cubicBezTo>
                      <a:pt x="882" y="4854"/>
                      <a:pt x="882" y="4854"/>
                      <a:pt x="882" y="4855"/>
                    </a:cubicBezTo>
                    <a:cubicBezTo>
                      <a:pt x="883" y="4855"/>
                      <a:pt x="883" y="4856"/>
                      <a:pt x="883" y="4857"/>
                    </a:cubicBezTo>
                    <a:cubicBezTo>
                      <a:pt x="884" y="4857"/>
                      <a:pt x="884" y="4858"/>
                      <a:pt x="885" y="4860"/>
                    </a:cubicBezTo>
                    <a:cubicBezTo>
                      <a:pt x="885" y="4860"/>
                      <a:pt x="885" y="4861"/>
                      <a:pt x="886" y="4862"/>
                    </a:cubicBezTo>
                    <a:lnTo>
                      <a:pt x="1154" y="5241"/>
                    </a:lnTo>
                    <a:close/>
                    <a:moveTo>
                      <a:pt x="1035" y="4277"/>
                    </a:moveTo>
                    <a:cubicBezTo>
                      <a:pt x="1035" y="4301"/>
                      <a:pt x="1030" y="4326"/>
                      <a:pt x="1017" y="4347"/>
                    </a:cubicBezTo>
                    <a:cubicBezTo>
                      <a:pt x="1002" y="4372"/>
                      <a:pt x="985" y="4390"/>
                      <a:pt x="968" y="4402"/>
                    </a:cubicBezTo>
                    <a:cubicBezTo>
                      <a:pt x="1091" y="4514"/>
                      <a:pt x="1091" y="4514"/>
                      <a:pt x="1091" y="4514"/>
                    </a:cubicBezTo>
                    <a:cubicBezTo>
                      <a:pt x="1146" y="4752"/>
                      <a:pt x="1146" y="4752"/>
                      <a:pt x="1146" y="4752"/>
                    </a:cubicBezTo>
                    <a:cubicBezTo>
                      <a:pt x="1330" y="4707"/>
                      <a:pt x="1330" y="4707"/>
                      <a:pt x="1330" y="4707"/>
                    </a:cubicBezTo>
                    <a:cubicBezTo>
                      <a:pt x="1320" y="4670"/>
                      <a:pt x="1310" y="4630"/>
                      <a:pt x="1301" y="4600"/>
                    </a:cubicBezTo>
                    <a:cubicBezTo>
                      <a:pt x="1286" y="4542"/>
                      <a:pt x="1224" y="4441"/>
                      <a:pt x="1175" y="4389"/>
                    </a:cubicBezTo>
                    <a:cubicBezTo>
                      <a:pt x="1143" y="4354"/>
                      <a:pt x="1084" y="4303"/>
                      <a:pt x="1033" y="4262"/>
                    </a:cubicBezTo>
                    <a:cubicBezTo>
                      <a:pt x="1034" y="4267"/>
                      <a:pt x="1035" y="4272"/>
                      <a:pt x="1035" y="4277"/>
                    </a:cubicBezTo>
                    <a:close/>
                    <a:moveTo>
                      <a:pt x="1274" y="3986"/>
                    </a:moveTo>
                    <a:cubicBezTo>
                      <a:pt x="1274" y="3981"/>
                      <a:pt x="1274" y="3977"/>
                      <a:pt x="1274" y="3975"/>
                    </a:cubicBezTo>
                    <a:cubicBezTo>
                      <a:pt x="1272" y="3969"/>
                      <a:pt x="1267" y="3953"/>
                      <a:pt x="1258" y="3935"/>
                    </a:cubicBezTo>
                    <a:cubicBezTo>
                      <a:pt x="1249" y="3942"/>
                      <a:pt x="1240" y="3950"/>
                      <a:pt x="1231" y="3958"/>
                    </a:cubicBezTo>
                    <a:cubicBezTo>
                      <a:pt x="1208" y="3978"/>
                      <a:pt x="1186" y="4003"/>
                      <a:pt x="1167" y="4025"/>
                    </a:cubicBezTo>
                    <a:cubicBezTo>
                      <a:pt x="1142" y="4054"/>
                      <a:pt x="1113" y="4095"/>
                      <a:pt x="1092" y="4135"/>
                    </a:cubicBezTo>
                    <a:cubicBezTo>
                      <a:pt x="1078" y="4161"/>
                      <a:pt x="1068" y="4187"/>
                      <a:pt x="1061" y="4206"/>
                    </a:cubicBezTo>
                    <a:cubicBezTo>
                      <a:pt x="1058" y="4212"/>
                      <a:pt x="1057" y="4217"/>
                      <a:pt x="1055" y="4222"/>
                    </a:cubicBezTo>
                    <a:cubicBezTo>
                      <a:pt x="1109" y="4264"/>
                      <a:pt x="1172" y="4319"/>
                      <a:pt x="1208" y="4358"/>
                    </a:cubicBezTo>
                    <a:cubicBezTo>
                      <a:pt x="1234" y="4386"/>
                      <a:pt x="1261" y="4423"/>
                      <a:pt x="1285" y="4462"/>
                    </a:cubicBezTo>
                    <a:cubicBezTo>
                      <a:pt x="1773" y="4397"/>
                      <a:pt x="1773" y="4397"/>
                      <a:pt x="1773" y="4397"/>
                    </a:cubicBezTo>
                    <a:cubicBezTo>
                      <a:pt x="1673" y="4283"/>
                      <a:pt x="1673" y="4283"/>
                      <a:pt x="1673" y="4283"/>
                    </a:cubicBezTo>
                    <a:cubicBezTo>
                      <a:pt x="1610" y="4323"/>
                      <a:pt x="1539" y="4367"/>
                      <a:pt x="1522" y="4376"/>
                    </a:cubicBezTo>
                    <a:cubicBezTo>
                      <a:pt x="1509" y="4384"/>
                      <a:pt x="1489" y="4386"/>
                      <a:pt x="1464" y="4386"/>
                    </a:cubicBezTo>
                    <a:cubicBezTo>
                      <a:pt x="1410" y="4385"/>
                      <a:pt x="1336" y="4373"/>
                      <a:pt x="1299" y="4338"/>
                    </a:cubicBezTo>
                    <a:cubicBezTo>
                      <a:pt x="1286" y="4325"/>
                      <a:pt x="1279" y="4309"/>
                      <a:pt x="1280" y="4294"/>
                    </a:cubicBezTo>
                    <a:cubicBezTo>
                      <a:pt x="1281" y="4254"/>
                      <a:pt x="1318" y="4222"/>
                      <a:pt x="1329" y="4197"/>
                    </a:cubicBezTo>
                    <a:cubicBezTo>
                      <a:pt x="1338" y="4179"/>
                      <a:pt x="1344" y="4162"/>
                      <a:pt x="1344" y="4146"/>
                    </a:cubicBezTo>
                    <a:cubicBezTo>
                      <a:pt x="1344" y="4128"/>
                      <a:pt x="1337" y="4109"/>
                      <a:pt x="1315" y="4085"/>
                    </a:cubicBezTo>
                    <a:cubicBezTo>
                      <a:pt x="1279" y="4048"/>
                      <a:pt x="1273" y="4006"/>
                      <a:pt x="1274" y="3986"/>
                    </a:cubicBezTo>
                    <a:close/>
                    <a:moveTo>
                      <a:pt x="3946" y="2546"/>
                    </a:moveTo>
                    <a:cubicBezTo>
                      <a:pt x="3935" y="2554"/>
                      <a:pt x="3935" y="2554"/>
                      <a:pt x="3935" y="2554"/>
                    </a:cubicBezTo>
                    <a:cubicBezTo>
                      <a:pt x="3934" y="2553"/>
                      <a:pt x="3828" y="2414"/>
                      <a:pt x="3721" y="2276"/>
                    </a:cubicBezTo>
                    <a:cubicBezTo>
                      <a:pt x="3667" y="2206"/>
                      <a:pt x="3613" y="2136"/>
                      <a:pt x="3572" y="2084"/>
                    </a:cubicBezTo>
                    <a:cubicBezTo>
                      <a:pt x="3552" y="2058"/>
                      <a:pt x="3535" y="2036"/>
                      <a:pt x="3523" y="2021"/>
                    </a:cubicBezTo>
                    <a:cubicBezTo>
                      <a:pt x="3522" y="2020"/>
                      <a:pt x="3521" y="2019"/>
                      <a:pt x="3520" y="2018"/>
                    </a:cubicBezTo>
                    <a:cubicBezTo>
                      <a:pt x="3513" y="2025"/>
                      <a:pt x="3507" y="2032"/>
                      <a:pt x="3502" y="2039"/>
                    </a:cubicBezTo>
                    <a:cubicBezTo>
                      <a:pt x="3464" y="2089"/>
                      <a:pt x="3454" y="2141"/>
                      <a:pt x="3439" y="2196"/>
                    </a:cubicBezTo>
                    <a:cubicBezTo>
                      <a:pt x="3415" y="2285"/>
                      <a:pt x="3405" y="2466"/>
                      <a:pt x="3343" y="2597"/>
                    </a:cubicBezTo>
                    <a:cubicBezTo>
                      <a:pt x="3357" y="2616"/>
                      <a:pt x="3407" y="2694"/>
                      <a:pt x="3457" y="2773"/>
                    </a:cubicBezTo>
                    <a:cubicBezTo>
                      <a:pt x="3483" y="2814"/>
                      <a:pt x="3509" y="2855"/>
                      <a:pt x="3528" y="2885"/>
                    </a:cubicBezTo>
                    <a:cubicBezTo>
                      <a:pt x="3538" y="2900"/>
                      <a:pt x="3546" y="2913"/>
                      <a:pt x="3552" y="2922"/>
                    </a:cubicBezTo>
                    <a:cubicBezTo>
                      <a:pt x="3555" y="2926"/>
                      <a:pt x="3557" y="2930"/>
                      <a:pt x="3558" y="2932"/>
                    </a:cubicBezTo>
                    <a:cubicBezTo>
                      <a:pt x="3559" y="2933"/>
                      <a:pt x="3560" y="2934"/>
                      <a:pt x="3560" y="2934"/>
                    </a:cubicBezTo>
                    <a:cubicBezTo>
                      <a:pt x="3696" y="2713"/>
                      <a:pt x="3696" y="2713"/>
                      <a:pt x="3696" y="2713"/>
                    </a:cubicBezTo>
                    <a:cubicBezTo>
                      <a:pt x="3697" y="2712"/>
                      <a:pt x="3697" y="2712"/>
                      <a:pt x="3697" y="2712"/>
                    </a:cubicBezTo>
                    <a:cubicBezTo>
                      <a:pt x="3697" y="2712"/>
                      <a:pt x="4167" y="2407"/>
                      <a:pt x="4258" y="2348"/>
                    </a:cubicBezTo>
                    <a:cubicBezTo>
                      <a:pt x="4139" y="2089"/>
                      <a:pt x="4139" y="2089"/>
                      <a:pt x="4139" y="2089"/>
                    </a:cubicBezTo>
                    <a:cubicBezTo>
                      <a:pt x="4026" y="1816"/>
                      <a:pt x="4026" y="1816"/>
                      <a:pt x="4026" y="1816"/>
                    </a:cubicBezTo>
                    <a:cubicBezTo>
                      <a:pt x="3978" y="1828"/>
                      <a:pt x="3861" y="1860"/>
                      <a:pt x="3749" y="1895"/>
                    </a:cubicBezTo>
                    <a:cubicBezTo>
                      <a:pt x="3638" y="1930"/>
                      <a:pt x="3572" y="1969"/>
                      <a:pt x="3530" y="2008"/>
                    </a:cubicBezTo>
                    <a:cubicBezTo>
                      <a:pt x="3611" y="2108"/>
                      <a:pt x="3946" y="2546"/>
                      <a:pt x="3946" y="2546"/>
                    </a:cubicBezTo>
                    <a:close/>
                    <a:moveTo>
                      <a:pt x="4631" y="2065"/>
                    </a:moveTo>
                    <a:cubicBezTo>
                      <a:pt x="4654" y="2493"/>
                      <a:pt x="4654" y="2493"/>
                      <a:pt x="4654" y="2493"/>
                    </a:cubicBezTo>
                    <a:cubicBezTo>
                      <a:pt x="4799" y="2490"/>
                      <a:pt x="4969" y="2486"/>
                      <a:pt x="5110" y="2483"/>
                    </a:cubicBezTo>
                    <a:cubicBezTo>
                      <a:pt x="4954" y="2029"/>
                      <a:pt x="4954" y="2029"/>
                      <a:pt x="4954" y="2029"/>
                    </a:cubicBezTo>
                    <a:cubicBezTo>
                      <a:pt x="4869" y="2043"/>
                      <a:pt x="4751" y="2055"/>
                      <a:pt x="4631" y="2065"/>
                    </a:cubicBezTo>
                    <a:close/>
                    <a:moveTo>
                      <a:pt x="4949" y="1985"/>
                    </a:moveTo>
                    <a:cubicBezTo>
                      <a:pt x="4959" y="1518"/>
                      <a:pt x="4959" y="1518"/>
                      <a:pt x="4959" y="1518"/>
                    </a:cubicBezTo>
                    <a:cubicBezTo>
                      <a:pt x="4881" y="1504"/>
                      <a:pt x="4766" y="1482"/>
                      <a:pt x="4683" y="1466"/>
                    </a:cubicBezTo>
                    <a:cubicBezTo>
                      <a:pt x="4783" y="2005"/>
                      <a:pt x="4783" y="2005"/>
                      <a:pt x="4783" y="2005"/>
                    </a:cubicBezTo>
                    <a:cubicBezTo>
                      <a:pt x="4845" y="1999"/>
                      <a:pt x="4903" y="1992"/>
                      <a:pt x="4949" y="1985"/>
                    </a:cubicBezTo>
                    <a:close/>
                    <a:moveTo>
                      <a:pt x="5269" y="1888"/>
                    </a:moveTo>
                    <a:cubicBezTo>
                      <a:pt x="5280" y="1901"/>
                      <a:pt x="5295" y="1920"/>
                      <a:pt x="5307" y="1942"/>
                    </a:cubicBezTo>
                    <a:cubicBezTo>
                      <a:pt x="5354" y="1951"/>
                      <a:pt x="5441" y="1967"/>
                      <a:pt x="5529" y="1984"/>
                    </a:cubicBezTo>
                    <a:cubicBezTo>
                      <a:pt x="5655" y="2008"/>
                      <a:pt x="5786" y="2032"/>
                      <a:pt x="5793" y="2033"/>
                    </a:cubicBezTo>
                    <a:cubicBezTo>
                      <a:pt x="5793" y="2033"/>
                      <a:pt x="5793" y="2033"/>
                      <a:pt x="5793" y="2033"/>
                    </a:cubicBezTo>
                    <a:cubicBezTo>
                      <a:pt x="5793" y="2034"/>
                      <a:pt x="5793" y="2034"/>
                      <a:pt x="5793" y="2034"/>
                    </a:cubicBezTo>
                    <a:cubicBezTo>
                      <a:pt x="5812" y="1970"/>
                      <a:pt x="5812" y="1970"/>
                      <a:pt x="5812" y="1970"/>
                    </a:cubicBezTo>
                    <a:cubicBezTo>
                      <a:pt x="5809" y="1962"/>
                      <a:pt x="5798" y="1931"/>
                      <a:pt x="5787" y="1899"/>
                    </a:cubicBezTo>
                    <a:cubicBezTo>
                      <a:pt x="5786" y="1895"/>
                      <a:pt x="5785" y="1891"/>
                      <a:pt x="5783" y="1887"/>
                    </a:cubicBezTo>
                    <a:cubicBezTo>
                      <a:pt x="5764" y="1884"/>
                      <a:pt x="5660" y="1866"/>
                      <a:pt x="5553" y="1848"/>
                    </a:cubicBezTo>
                    <a:cubicBezTo>
                      <a:pt x="5474" y="1834"/>
                      <a:pt x="5392" y="1821"/>
                      <a:pt x="5351" y="1814"/>
                    </a:cubicBezTo>
                    <a:cubicBezTo>
                      <a:pt x="5328" y="1837"/>
                      <a:pt x="5301" y="1862"/>
                      <a:pt x="5269" y="1888"/>
                    </a:cubicBezTo>
                    <a:close/>
                    <a:moveTo>
                      <a:pt x="5330" y="1770"/>
                    </a:moveTo>
                    <a:cubicBezTo>
                      <a:pt x="5330" y="1770"/>
                      <a:pt x="5330" y="1770"/>
                      <a:pt x="5330" y="1770"/>
                    </a:cubicBezTo>
                    <a:cubicBezTo>
                      <a:pt x="5330" y="1769"/>
                      <a:pt x="5330" y="1769"/>
                      <a:pt x="5330" y="1769"/>
                    </a:cubicBezTo>
                    <a:lnTo>
                      <a:pt x="5330" y="1770"/>
                    </a:lnTo>
                    <a:close/>
                    <a:moveTo>
                      <a:pt x="5880" y="1344"/>
                    </a:moveTo>
                    <a:cubicBezTo>
                      <a:pt x="5881" y="1330"/>
                      <a:pt x="5881" y="1330"/>
                      <a:pt x="5881" y="1330"/>
                    </a:cubicBezTo>
                    <a:cubicBezTo>
                      <a:pt x="5886" y="1330"/>
                      <a:pt x="5886" y="1330"/>
                      <a:pt x="5886" y="1330"/>
                    </a:cubicBezTo>
                    <a:cubicBezTo>
                      <a:pt x="5889" y="1318"/>
                      <a:pt x="5892" y="1307"/>
                      <a:pt x="5895" y="1296"/>
                    </a:cubicBezTo>
                    <a:cubicBezTo>
                      <a:pt x="5871" y="1293"/>
                      <a:pt x="5502" y="1232"/>
                      <a:pt x="5420" y="1218"/>
                    </a:cubicBezTo>
                    <a:cubicBezTo>
                      <a:pt x="5426" y="1251"/>
                      <a:pt x="5433" y="1286"/>
                      <a:pt x="5438" y="1320"/>
                    </a:cubicBezTo>
                    <a:cubicBezTo>
                      <a:pt x="5504" y="1328"/>
                      <a:pt x="5835" y="1388"/>
                      <a:pt x="5870" y="1394"/>
                    </a:cubicBezTo>
                    <a:cubicBezTo>
                      <a:pt x="5874" y="1379"/>
                      <a:pt x="5878" y="1364"/>
                      <a:pt x="5881" y="1349"/>
                    </a:cubicBezTo>
                    <a:cubicBezTo>
                      <a:pt x="5882" y="1347"/>
                      <a:pt x="5882" y="1346"/>
                      <a:pt x="5883" y="1344"/>
                    </a:cubicBezTo>
                    <a:lnTo>
                      <a:pt x="5880" y="1344"/>
                    </a:lnTo>
                    <a:close/>
                    <a:moveTo>
                      <a:pt x="5958" y="2559"/>
                    </a:moveTo>
                    <a:cubicBezTo>
                      <a:pt x="5999" y="2445"/>
                      <a:pt x="5999" y="2445"/>
                      <a:pt x="5999" y="2445"/>
                    </a:cubicBezTo>
                    <a:cubicBezTo>
                      <a:pt x="5872" y="2425"/>
                      <a:pt x="5872" y="2425"/>
                      <a:pt x="5872" y="2425"/>
                    </a:cubicBezTo>
                    <a:cubicBezTo>
                      <a:pt x="5825" y="2554"/>
                      <a:pt x="5825" y="2554"/>
                      <a:pt x="5825" y="2554"/>
                    </a:cubicBezTo>
                    <a:cubicBezTo>
                      <a:pt x="5870" y="2556"/>
                      <a:pt x="5917" y="2558"/>
                      <a:pt x="5958" y="2559"/>
                    </a:cubicBezTo>
                    <a:close/>
                    <a:moveTo>
                      <a:pt x="5820" y="2568"/>
                    </a:moveTo>
                    <a:cubicBezTo>
                      <a:pt x="5776" y="2690"/>
                      <a:pt x="5776" y="2690"/>
                      <a:pt x="5776" y="2690"/>
                    </a:cubicBezTo>
                    <a:cubicBezTo>
                      <a:pt x="5894" y="2735"/>
                      <a:pt x="5894" y="2735"/>
                      <a:pt x="5894" y="2735"/>
                    </a:cubicBezTo>
                    <a:cubicBezTo>
                      <a:pt x="5953" y="2573"/>
                      <a:pt x="5953" y="2573"/>
                      <a:pt x="5953" y="2573"/>
                    </a:cubicBezTo>
                    <a:cubicBezTo>
                      <a:pt x="5912" y="2571"/>
                      <a:pt x="5864" y="2570"/>
                      <a:pt x="5820" y="2568"/>
                    </a:cubicBezTo>
                    <a:close/>
                    <a:moveTo>
                      <a:pt x="6415" y="3095"/>
                    </a:moveTo>
                    <a:cubicBezTo>
                      <a:pt x="6463" y="2872"/>
                      <a:pt x="6463" y="2872"/>
                      <a:pt x="6463" y="2872"/>
                    </a:cubicBezTo>
                    <a:cubicBezTo>
                      <a:pt x="6327" y="2853"/>
                      <a:pt x="6327" y="2853"/>
                      <a:pt x="6327" y="2853"/>
                    </a:cubicBezTo>
                    <a:cubicBezTo>
                      <a:pt x="6283" y="3084"/>
                      <a:pt x="6283" y="3084"/>
                      <a:pt x="6283" y="3084"/>
                    </a:cubicBezTo>
                    <a:lnTo>
                      <a:pt x="6415" y="3095"/>
                    </a:lnTo>
                    <a:close/>
                    <a:moveTo>
                      <a:pt x="6281" y="3098"/>
                    </a:moveTo>
                    <a:cubicBezTo>
                      <a:pt x="6253" y="3245"/>
                      <a:pt x="6253" y="3245"/>
                      <a:pt x="6253" y="3245"/>
                    </a:cubicBezTo>
                    <a:cubicBezTo>
                      <a:pt x="6377" y="3277"/>
                      <a:pt x="6377" y="3277"/>
                      <a:pt x="6377" y="3277"/>
                    </a:cubicBezTo>
                    <a:cubicBezTo>
                      <a:pt x="6412" y="3109"/>
                      <a:pt x="6412" y="3109"/>
                      <a:pt x="6412" y="3109"/>
                    </a:cubicBezTo>
                    <a:lnTo>
                      <a:pt x="6281" y="3098"/>
                    </a:lnTo>
                    <a:close/>
                    <a:moveTo>
                      <a:pt x="7110" y="2558"/>
                    </a:moveTo>
                    <a:cubicBezTo>
                      <a:pt x="7206" y="2492"/>
                      <a:pt x="7206" y="2492"/>
                      <a:pt x="7206" y="2492"/>
                    </a:cubicBezTo>
                    <a:cubicBezTo>
                      <a:pt x="7245" y="2416"/>
                      <a:pt x="7245" y="2416"/>
                      <a:pt x="7245" y="2416"/>
                    </a:cubicBezTo>
                    <a:cubicBezTo>
                      <a:pt x="7015" y="2313"/>
                      <a:pt x="7015" y="2313"/>
                      <a:pt x="7015" y="2313"/>
                    </a:cubicBezTo>
                    <a:cubicBezTo>
                      <a:pt x="6959" y="2488"/>
                      <a:pt x="6959" y="2488"/>
                      <a:pt x="6959" y="2488"/>
                    </a:cubicBezTo>
                    <a:lnTo>
                      <a:pt x="7110" y="2558"/>
                    </a:lnTo>
                    <a:close/>
                    <a:moveTo>
                      <a:pt x="6955" y="2501"/>
                    </a:moveTo>
                    <a:cubicBezTo>
                      <a:pt x="6887" y="2712"/>
                      <a:pt x="6887" y="2712"/>
                      <a:pt x="6887" y="2712"/>
                    </a:cubicBezTo>
                    <a:cubicBezTo>
                      <a:pt x="7096" y="2567"/>
                      <a:pt x="7096" y="2567"/>
                      <a:pt x="7096" y="2567"/>
                    </a:cubicBezTo>
                    <a:lnTo>
                      <a:pt x="6955" y="2501"/>
                    </a:lnTo>
                    <a:close/>
                    <a:moveTo>
                      <a:pt x="7251" y="2403"/>
                    </a:moveTo>
                    <a:cubicBezTo>
                      <a:pt x="7328" y="2251"/>
                      <a:pt x="7328" y="2251"/>
                      <a:pt x="7328" y="2251"/>
                    </a:cubicBezTo>
                    <a:cubicBezTo>
                      <a:pt x="7311" y="2243"/>
                      <a:pt x="7311" y="2243"/>
                      <a:pt x="7311" y="2243"/>
                    </a:cubicBezTo>
                    <a:cubicBezTo>
                      <a:pt x="7240" y="2381"/>
                      <a:pt x="7240" y="2381"/>
                      <a:pt x="7240" y="2381"/>
                    </a:cubicBezTo>
                    <a:cubicBezTo>
                      <a:pt x="7105" y="2310"/>
                      <a:pt x="7105" y="2310"/>
                      <a:pt x="7105" y="2310"/>
                    </a:cubicBezTo>
                    <a:cubicBezTo>
                      <a:pt x="7108" y="2304"/>
                      <a:pt x="7108" y="2304"/>
                      <a:pt x="7108" y="2304"/>
                    </a:cubicBezTo>
                    <a:cubicBezTo>
                      <a:pt x="7173" y="2177"/>
                      <a:pt x="7173" y="2177"/>
                      <a:pt x="7173" y="2177"/>
                    </a:cubicBezTo>
                    <a:cubicBezTo>
                      <a:pt x="7073" y="2130"/>
                      <a:pt x="7073" y="2130"/>
                      <a:pt x="7073" y="2130"/>
                    </a:cubicBezTo>
                    <a:cubicBezTo>
                      <a:pt x="7019" y="2300"/>
                      <a:pt x="7019" y="2300"/>
                      <a:pt x="7019" y="2300"/>
                    </a:cubicBezTo>
                    <a:lnTo>
                      <a:pt x="7251" y="2403"/>
                    </a:lnTo>
                    <a:close/>
                    <a:moveTo>
                      <a:pt x="7350" y="1859"/>
                    </a:moveTo>
                    <a:cubicBezTo>
                      <a:pt x="7275" y="2007"/>
                      <a:pt x="7275" y="2007"/>
                      <a:pt x="7275" y="2007"/>
                    </a:cubicBezTo>
                    <a:cubicBezTo>
                      <a:pt x="7388" y="2063"/>
                      <a:pt x="7388" y="2063"/>
                      <a:pt x="7388" y="2063"/>
                    </a:cubicBezTo>
                    <a:cubicBezTo>
                      <a:pt x="7463" y="1915"/>
                      <a:pt x="7463" y="1915"/>
                      <a:pt x="7463" y="1915"/>
                    </a:cubicBezTo>
                    <a:cubicBezTo>
                      <a:pt x="7433" y="1901"/>
                      <a:pt x="7393" y="1880"/>
                      <a:pt x="7350" y="1859"/>
                    </a:cubicBezTo>
                    <a:close/>
                    <a:moveTo>
                      <a:pt x="7469" y="1903"/>
                    </a:moveTo>
                    <a:cubicBezTo>
                      <a:pt x="7547" y="1749"/>
                      <a:pt x="7547" y="1749"/>
                      <a:pt x="7547" y="1749"/>
                    </a:cubicBezTo>
                    <a:cubicBezTo>
                      <a:pt x="7435" y="1692"/>
                      <a:pt x="7435" y="1692"/>
                      <a:pt x="7435" y="1692"/>
                    </a:cubicBezTo>
                    <a:cubicBezTo>
                      <a:pt x="7356" y="1847"/>
                      <a:pt x="7356" y="1847"/>
                      <a:pt x="7356" y="1847"/>
                    </a:cubicBezTo>
                    <a:cubicBezTo>
                      <a:pt x="7399" y="1868"/>
                      <a:pt x="7440" y="1888"/>
                      <a:pt x="7469" y="1903"/>
                    </a:cubicBezTo>
                    <a:close/>
                    <a:moveTo>
                      <a:pt x="7305" y="2224"/>
                    </a:moveTo>
                    <a:cubicBezTo>
                      <a:pt x="7381" y="2075"/>
                      <a:pt x="7381" y="2075"/>
                      <a:pt x="7381" y="2075"/>
                    </a:cubicBezTo>
                    <a:cubicBezTo>
                      <a:pt x="7268" y="2019"/>
                      <a:pt x="7268" y="2019"/>
                      <a:pt x="7268" y="2019"/>
                    </a:cubicBezTo>
                    <a:cubicBezTo>
                      <a:pt x="7191" y="2170"/>
                      <a:pt x="7191" y="2170"/>
                      <a:pt x="7191" y="2170"/>
                    </a:cubicBezTo>
                    <a:lnTo>
                      <a:pt x="7305" y="2224"/>
                    </a:lnTo>
                    <a:close/>
                    <a:moveTo>
                      <a:pt x="7185" y="2183"/>
                    </a:moveTo>
                    <a:cubicBezTo>
                      <a:pt x="7123" y="2304"/>
                      <a:pt x="7123" y="2304"/>
                      <a:pt x="7123" y="2304"/>
                    </a:cubicBezTo>
                    <a:cubicBezTo>
                      <a:pt x="7234" y="2364"/>
                      <a:pt x="7234" y="2364"/>
                      <a:pt x="7234" y="2364"/>
                    </a:cubicBezTo>
                    <a:cubicBezTo>
                      <a:pt x="7299" y="2237"/>
                      <a:pt x="7299" y="2237"/>
                      <a:pt x="7299" y="2237"/>
                    </a:cubicBezTo>
                    <a:lnTo>
                      <a:pt x="7185" y="2183"/>
                    </a:lnTo>
                    <a:close/>
                    <a:moveTo>
                      <a:pt x="7338" y="1853"/>
                    </a:moveTo>
                    <a:cubicBezTo>
                      <a:pt x="7337" y="1853"/>
                      <a:pt x="7336" y="1852"/>
                      <a:pt x="7334" y="1852"/>
                    </a:cubicBezTo>
                    <a:cubicBezTo>
                      <a:pt x="7291" y="1830"/>
                      <a:pt x="7246" y="1809"/>
                      <a:pt x="7212" y="1792"/>
                    </a:cubicBezTo>
                    <a:cubicBezTo>
                      <a:pt x="7202" y="1788"/>
                      <a:pt x="7193" y="1784"/>
                      <a:pt x="7185" y="1780"/>
                    </a:cubicBezTo>
                    <a:cubicBezTo>
                      <a:pt x="7135" y="1938"/>
                      <a:pt x="7135" y="1938"/>
                      <a:pt x="7135" y="1938"/>
                    </a:cubicBezTo>
                    <a:cubicBezTo>
                      <a:pt x="7263" y="2001"/>
                      <a:pt x="7263" y="2001"/>
                      <a:pt x="7263" y="2001"/>
                    </a:cubicBezTo>
                    <a:lnTo>
                      <a:pt x="7338" y="1853"/>
                    </a:lnTo>
                    <a:close/>
                    <a:moveTo>
                      <a:pt x="7131" y="1951"/>
                    </a:moveTo>
                    <a:cubicBezTo>
                      <a:pt x="7078" y="2116"/>
                      <a:pt x="7078" y="2116"/>
                      <a:pt x="7078" y="2116"/>
                    </a:cubicBezTo>
                    <a:cubicBezTo>
                      <a:pt x="7179" y="2165"/>
                      <a:pt x="7179" y="2165"/>
                      <a:pt x="7179" y="2165"/>
                    </a:cubicBezTo>
                    <a:cubicBezTo>
                      <a:pt x="7256" y="2013"/>
                      <a:pt x="7256" y="2013"/>
                      <a:pt x="7256" y="2013"/>
                    </a:cubicBezTo>
                    <a:lnTo>
                      <a:pt x="7131" y="1951"/>
                    </a:lnTo>
                    <a:close/>
                    <a:moveTo>
                      <a:pt x="7335" y="2238"/>
                    </a:moveTo>
                    <a:cubicBezTo>
                      <a:pt x="7410" y="2089"/>
                      <a:pt x="7410" y="2089"/>
                      <a:pt x="7410" y="2089"/>
                    </a:cubicBezTo>
                    <a:cubicBezTo>
                      <a:pt x="7393" y="2081"/>
                      <a:pt x="7393" y="2081"/>
                      <a:pt x="7393" y="2081"/>
                    </a:cubicBezTo>
                    <a:cubicBezTo>
                      <a:pt x="7317" y="2230"/>
                      <a:pt x="7317" y="2230"/>
                      <a:pt x="7317" y="2230"/>
                    </a:cubicBezTo>
                    <a:lnTo>
                      <a:pt x="7335" y="2238"/>
                    </a:lnTo>
                    <a:close/>
                    <a:moveTo>
                      <a:pt x="7416" y="2077"/>
                    </a:moveTo>
                    <a:cubicBezTo>
                      <a:pt x="7491" y="1930"/>
                      <a:pt x="7491" y="1930"/>
                      <a:pt x="7491" y="1930"/>
                    </a:cubicBezTo>
                    <a:cubicBezTo>
                      <a:pt x="7487" y="1927"/>
                      <a:pt x="7481" y="1925"/>
                      <a:pt x="7475" y="1921"/>
                    </a:cubicBezTo>
                    <a:cubicBezTo>
                      <a:pt x="7399" y="2069"/>
                      <a:pt x="7399" y="2069"/>
                      <a:pt x="7399" y="2069"/>
                    </a:cubicBezTo>
                    <a:lnTo>
                      <a:pt x="7416" y="2077"/>
                    </a:lnTo>
                    <a:close/>
                    <a:moveTo>
                      <a:pt x="7498" y="1917"/>
                    </a:moveTo>
                    <a:cubicBezTo>
                      <a:pt x="7575" y="1764"/>
                      <a:pt x="7575" y="1764"/>
                      <a:pt x="7575" y="1764"/>
                    </a:cubicBezTo>
                    <a:cubicBezTo>
                      <a:pt x="7559" y="1755"/>
                      <a:pt x="7559" y="1755"/>
                      <a:pt x="7559" y="1755"/>
                    </a:cubicBezTo>
                    <a:cubicBezTo>
                      <a:pt x="7481" y="1909"/>
                      <a:pt x="7481" y="1909"/>
                      <a:pt x="7481" y="1909"/>
                    </a:cubicBezTo>
                    <a:cubicBezTo>
                      <a:pt x="7487" y="1912"/>
                      <a:pt x="7493" y="1915"/>
                      <a:pt x="7498" y="1917"/>
                    </a:cubicBezTo>
                    <a:close/>
                    <a:moveTo>
                      <a:pt x="7636" y="1576"/>
                    </a:moveTo>
                    <a:cubicBezTo>
                      <a:pt x="7522" y="1521"/>
                      <a:pt x="7522" y="1521"/>
                      <a:pt x="7522" y="1521"/>
                    </a:cubicBezTo>
                    <a:cubicBezTo>
                      <a:pt x="7441" y="1679"/>
                      <a:pt x="7441" y="1679"/>
                      <a:pt x="7441" y="1679"/>
                    </a:cubicBezTo>
                    <a:cubicBezTo>
                      <a:pt x="7554" y="1737"/>
                      <a:pt x="7554" y="1737"/>
                      <a:pt x="7554" y="1737"/>
                    </a:cubicBezTo>
                    <a:lnTo>
                      <a:pt x="7636" y="1576"/>
                    </a:lnTo>
                    <a:close/>
                    <a:moveTo>
                      <a:pt x="7511" y="1515"/>
                    </a:moveTo>
                    <a:cubicBezTo>
                      <a:pt x="7303" y="1413"/>
                      <a:pt x="7303" y="1413"/>
                      <a:pt x="7303" y="1413"/>
                    </a:cubicBezTo>
                    <a:cubicBezTo>
                      <a:pt x="7249" y="1581"/>
                      <a:pt x="7249" y="1581"/>
                      <a:pt x="7249" y="1581"/>
                    </a:cubicBezTo>
                    <a:cubicBezTo>
                      <a:pt x="7430" y="1673"/>
                      <a:pt x="7430" y="1673"/>
                      <a:pt x="7430" y="1673"/>
                    </a:cubicBezTo>
                    <a:lnTo>
                      <a:pt x="7511" y="1515"/>
                    </a:lnTo>
                    <a:close/>
                    <a:moveTo>
                      <a:pt x="7245" y="1594"/>
                    </a:moveTo>
                    <a:cubicBezTo>
                      <a:pt x="7190" y="1767"/>
                      <a:pt x="7190" y="1767"/>
                      <a:pt x="7190" y="1767"/>
                    </a:cubicBezTo>
                    <a:cubicBezTo>
                      <a:pt x="7198" y="1771"/>
                      <a:pt x="7207" y="1775"/>
                      <a:pt x="7217" y="1780"/>
                    </a:cubicBezTo>
                    <a:cubicBezTo>
                      <a:pt x="7253" y="1796"/>
                      <a:pt x="7299" y="1819"/>
                      <a:pt x="7344" y="1841"/>
                    </a:cubicBezTo>
                    <a:cubicBezTo>
                      <a:pt x="7423" y="1686"/>
                      <a:pt x="7423" y="1686"/>
                      <a:pt x="7423" y="1686"/>
                    </a:cubicBezTo>
                    <a:lnTo>
                      <a:pt x="7245" y="1594"/>
                    </a:lnTo>
                    <a:close/>
                    <a:moveTo>
                      <a:pt x="7240" y="1393"/>
                    </a:moveTo>
                    <a:cubicBezTo>
                      <a:pt x="7197" y="1385"/>
                      <a:pt x="7119" y="1370"/>
                      <a:pt x="7039" y="1355"/>
                    </a:cubicBezTo>
                    <a:cubicBezTo>
                      <a:pt x="7024" y="1352"/>
                      <a:pt x="7009" y="1349"/>
                      <a:pt x="6993" y="1346"/>
                    </a:cubicBezTo>
                    <a:cubicBezTo>
                      <a:pt x="6936" y="1515"/>
                      <a:pt x="6936" y="1515"/>
                      <a:pt x="6936" y="1515"/>
                    </a:cubicBezTo>
                    <a:cubicBezTo>
                      <a:pt x="7030" y="1532"/>
                      <a:pt x="7131" y="1552"/>
                      <a:pt x="7186" y="1562"/>
                    </a:cubicBezTo>
                    <a:lnTo>
                      <a:pt x="7240" y="1393"/>
                    </a:lnTo>
                    <a:close/>
                    <a:moveTo>
                      <a:pt x="6932" y="1528"/>
                    </a:moveTo>
                    <a:cubicBezTo>
                      <a:pt x="6873" y="1701"/>
                      <a:pt x="6873" y="1701"/>
                      <a:pt x="6873" y="1701"/>
                    </a:cubicBezTo>
                    <a:cubicBezTo>
                      <a:pt x="6882" y="1703"/>
                      <a:pt x="6891" y="1704"/>
                      <a:pt x="6900" y="1706"/>
                    </a:cubicBezTo>
                    <a:cubicBezTo>
                      <a:pt x="6990" y="1724"/>
                      <a:pt x="7084" y="1742"/>
                      <a:pt x="7126" y="1749"/>
                    </a:cubicBezTo>
                    <a:cubicBezTo>
                      <a:pt x="7182" y="1576"/>
                      <a:pt x="7182" y="1576"/>
                      <a:pt x="7182" y="1576"/>
                    </a:cubicBezTo>
                    <a:cubicBezTo>
                      <a:pt x="7135" y="1567"/>
                      <a:pt x="7056" y="1552"/>
                      <a:pt x="6977" y="1537"/>
                    </a:cubicBezTo>
                    <a:cubicBezTo>
                      <a:pt x="6962" y="1534"/>
                      <a:pt x="6947" y="1531"/>
                      <a:pt x="6932" y="1528"/>
                    </a:cubicBezTo>
                    <a:close/>
                    <a:moveTo>
                      <a:pt x="6869" y="1714"/>
                    </a:moveTo>
                    <a:cubicBezTo>
                      <a:pt x="6820" y="1858"/>
                      <a:pt x="6820" y="1858"/>
                      <a:pt x="6820" y="1858"/>
                    </a:cubicBezTo>
                    <a:cubicBezTo>
                      <a:pt x="7073" y="1917"/>
                      <a:pt x="7073" y="1917"/>
                      <a:pt x="7073" y="1917"/>
                    </a:cubicBezTo>
                    <a:cubicBezTo>
                      <a:pt x="7122" y="1762"/>
                      <a:pt x="7122" y="1762"/>
                      <a:pt x="7122" y="1762"/>
                    </a:cubicBezTo>
                    <a:cubicBezTo>
                      <a:pt x="7073" y="1754"/>
                      <a:pt x="6966" y="1734"/>
                      <a:pt x="6869" y="1714"/>
                    </a:cubicBezTo>
                    <a:close/>
                    <a:moveTo>
                      <a:pt x="6815" y="1871"/>
                    </a:moveTo>
                    <a:cubicBezTo>
                      <a:pt x="6760" y="2035"/>
                      <a:pt x="6760" y="2035"/>
                      <a:pt x="6760" y="2035"/>
                    </a:cubicBezTo>
                    <a:cubicBezTo>
                      <a:pt x="7016" y="2095"/>
                      <a:pt x="7016" y="2095"/>
                      <a:pt x="7016" y="2095"/>
                    </a:cubicBezTo>
                    <a:cubicBezTo>
                      <a:pt x="7069" y="1930"/>
                      <a:pt x="7069" y="1930"/>
                      <a:pt x="7069" y="1930"/>
                    </a:cubicBezTo>
                    <a:lnTo>
                      <a:pt x="6815" y="1871"/>
                    </a:lnTo>
                    <a:close/>
                    <a:moveTo>
                      <a:pt x="6756" y="2048"/>
                    </a:moveTo>
                    <a:cubicBezTo>
                      <a:pt x="6699" y="2215"/>
                      <a:pt x="6699" y="2215"/>
                      <a:pt x="6699" y="2215"/>
                    </a:cubicBezTo>
                    <a:cubicBezTo>
                      <a:pt x="6957" y="2278"/>
                      <a:pt x="6957" y="2278"/>
                      <a:pt x="6957" y="2278"/>
                    </a:cubicBezTo>
                    <a:cubicBezTo>
                      <a:pt x="7011" y="2109"/>
                      <a:pt x="7011" y="2109"/>
                      <a:pt x="7011" y="2109"/>
                    </a:cubicBezTo>
                    <a:lnTo>
                      <a:pt x="6756" y="2048"/>
                    </a:lnTo>
                    <a:close/>
                    <a:moveTo>
                      <a:pt x="6694" y="2228"/>
                    </a:moveTo>
                    <a:cubicBezTo>
                      <a:pt x="6633" y="2408"/>
                      <a:pt x="6633" y="2408"/>
                      <a:pt x="6633" y="2408"/>
                    </a:cubicBezTo>
                    <a:cubicBezTo>
                      <a:pt x="6897" y="2466"/>
                      <a:pt x="6897" y="2466"/>
                      <a:pt x="6897" y="2466"/>
                    </a:cubicBezTo>
                    <a:cubicBezTo>
                      <a:pt x="6953" y="2291"/>
                      <a:pt x="6953" y="2291"/>
                      <a:pt x="6953" y="2291"/>
                    </a:cubicBezTo>
                    <a:lnTo>
                      <a:pt x="6694" y="2228"/>
                    </a:lnTo>
                    <a:close/>
                    <a:moveTo>
                      <a:pt x="6629" y="2422"/>
                    </a:moveTo>
                    <a:cubicBezTo>
                      <a:pt x="6561" y="2624"/>
                      <a:pt x="6561" y="2624"/>
                      <a:pt x="6561" y="2624"/>
                    </a:cubicBezTo>
                    <a:cubicBezTo>
                      <a:pt x="6826" y="2687"/>
                      <a:pt x="6826" y="2687"/>
                      <a:pt x="6826" y="2687"/>
                    </a:cubicBezTo>
                    <a:cubicBezTo>
                      <a:pt x="6893" y="2480"/>
                      <a:pt x="6893" y="2480"/>
                      <a:pt x="6893" y="2480"/>
                    </a:cubicBezTo>
                    <a:lnTo>
                      <a:pt x="6629" y="2422"/>
                    </a:lnTo>
                    <a:close/>
                    <a:moveTo>
                      <a:pt x="6556" y="2637"/>
                    </a:moveTo>
                    <a:cubicBezTo>
                      <a:pt x="6480" y="2860"/>
                      <a:pt x="6480" y="2860"/>
                      <a:pt x="6480" y="2860"/>
                    </a:cubicBezTo>
                    <a:cubicBezTo>
                      <a:pt x="6780" y="2901"/>
                      <a:pt x="6780" y="2901"/>
                      <a:pt x="6780" y="2901"/>
                    </a:cubicBezTo>
                    <a:cubicBezTo>
                      <a:pt x="6791" y="2797"/>
                      <a:pt x="6791" y="2797"/>
                      <a:pt x="6791" y="2797"/>
                    </a:cubicBezTo>
                    <a:cubicBezTo>
                      <a:pt x="6822" y="2701"/>
                      <a:pt x="6822" y="2701"/>
                      <a:pt x="6822" y="2701"/>
                    </a:cubicBezTo>
                    <a:lnTo>
                      <a:pt x="6556" y="2637"/>
                    </a:lnTo>
                    <a:close/>
                    <a:moveTo>
                      <a:pt x="6763" y="3682"/>
                    </a:moveTo>
                    <a:cubicBezTo>
                      <a:pt x="6799" y="3688"/>
                      <a:pt x="6868" y="3702"/>
                      <a:pt x="6960" y="3727"/>
                    </a:cubicBezTo>
                    <a:cubicBezTo>
                      <a:pt x="7060" y="3190"/>
                      <a:pt x="7060" y="3190"/>
                      <a:pt x="7060" y="3190"/>
                    </a:cubicBezTo>
                    <a:cubicBezTo>
                      <a:pt x="7065" y="3191"/>
                      <a:pt x="7065" y="3191"/>
                      <a:pt x="7065" y="3191"/>
                    </a:cubicBezTo>
                    <a:cubicBezTo>
                      <a:pt x="6960" y="3144"/>
                      <a:pt x="6870" y="3103"/>
                      <a:pt x="6827" y="3083"/>
                    </a:cubicBezTo>
                    <a:lnTo>
                      <a:pt x="6763" y="3682"/>
                    </a:lnTo>
                    <a:close/>
                    <a:moveTo>
                      <a:pt x="6974" y="3731"/>
                    </a:moveTo>
                    <a:cubicBezTo>
                      <a:pt x="7053" y="3753"/>
                      <a:pt x="7148" y="3783"/>
                      <a:pt x="7255" y="3824"/>
                    </a:cubicBezTo>
                    <a:cubicBezTo>
                      <a:pt x="7336" y="3312"/>
                      <a:pt x="7336" y="3312"/>
                      <a:pt x="7336" y="3312"/>
                    </a:cubicBezTo>
                    <a:cubicBezTo>
                      <a:pt x="7250" y="3274"/>
                      <a:pt x="7158" y="3232"/>
                      <a:pt x="7074" y="3194"/>
                    </a:cubicBezTo>
                    <a:lnTo>
                      <a:pt x="6974" y="3731"/>
                    </a:lnTo>
                    <a:close/>
                    <a:moveTo>
                      <a:pt x="7268" y="3829"/>
                    </a:moveTo>
                    <a:cubicBezTo>
                      <a:pt x="7335" y="3856"/>
                      <a:pt x="7405" y="3886"/>
                      <a:pt x="7478" y="3921"/>
                    </a:cubicBezTo>
                    <a:cubicBezTo>
                      <a:pt x="7479" y="3921"/>
                      <a:pt x="7480" y="3922"/>
                      <a:pt x="7482" y="3923"/>
                    </a:cubicBezTo>
                    <a:cubicBezTo>
                      <a:pt x="7500" y="3857"/>
                      <a:pt x="7556" y="3657"/>
                      <a:pt x="7619" y="3434"/>
                    </a:cubicBezTo>
                    <a:cubicBezTo>
                      <a:pt x="7613" y="3432"/>
                      <a:pt x="7605" y="3429"/>
                      <a:pt x="7596" y="3425"/>
                    </a:cubicBezTo>
                    <a:cubicBezTo>
                      <a:pt x="7545" y="3404"/>
                      <a:pt x="7453" y="3363"/>
                      <a:pt x="7349" y="3318"/>
                    </a:cubicBezTo>
                    <a:lnTo>
                      <a:pt x="7268" y="3829"/>
                    </a:lnTo>
                    <a:close/>
                    <a:moveTo>
                      <a:pt x="7623" y="3421"/>
                    </a:moveTo>
                    <a:cubicBezTo>
                      <a:pt x="7634" y="3382"/>
                      <a:pt x="7645" y="3343"/>
                      <a:pt x="7656" y="3304"/>
                    </a:cubicBezTo>
                    <a:cubicBezTo>
                      <a:pt x="7666" y="3269"/>
                      <a:pt x="7676" y="3234"/>
                      <a:pt x="7686" y="3199"/>
                    </a:cubicBezTo>
                    <a:cubicBezTo>
                      <a:pt x="6934" y="2759"/>
                      <a:pt x="6934" y="2759"/>
                      <a:pt x="6934" y="2759"/>
                    </a:cubicBezTo>
                    <a:cubicBezTo>
                      <a:pt x="6855" y="2814"/>
                      <a:pt x="6855" y="2814"/>
                      <a:pt x="6855" y="2814"/>
                    </a:cubicBezTo>
                    <a:cubicBezTo>
                      <a:pt x="6828" y="3069"/>
                      <a:pt x="6828" y="3069"/>
                      <a:pt x="6828" y="3069"/>
                    </a:cubicBezTo>
                    <a:cubicBezTo>
                      <a:pt x="6887" y="3095"/>
                      <a:pt x="7051" y="3169"/>
                      <a:pt x="7217" y="3243"/>
                    </a:cubicBezTo>
                    <a:cubicBezTo>
                      <a:pt x="7320" y="3289"/>
                      <a:pt x="7424" y="3336"/>
                      <a:pt x="7504" y="3370"/>
                    </a:cubicBezTo>
                    <a:cubicBezTo>
                      <a:pt x="7543" y="3388"/>
                      <a:pt x="7577" y="3402"/>
                      <a:pt x="7601" y="3412"/>
                    </a:cubicBezTo>
                    <a:cubicBezTo>
                      <a:pt x="7610" y="3416"/>
                      <a:pt x="7617" y="3419"/>
                      <a:pt x="7623" y="3421"/>
                    </a:cubicBezTo>
                    <a:close/>
                    <a:moveTo>
                      <a:pt x="7690" y="3185"/>
                    </a:moveTo>
                    <a:cubicBezTo>
                      <a:pt x="7715" y="3098"/>
                      <a:pt x="7739" y="3014"/>
                      <a:pt x="7761" y="2939"/>
                    </a:cubicBezTo>
                    <a:cubicBezTo>
                      <a:pt x="7757" y="2937"/>
                      <a:pt x="7753" y="2934"/>
                      <a:pt x="7747" y="2930"/>
                    </a:cubicBezTo>
                    <a:cubicBezTo>
                      <a:pt x="7645" y="2863"/>
                      <a:pt x="7295" y="2628"/>
                      <a:pt x="7209" y="2569"/>
                    </a:cubicBezTo>
                    <a:cubicBezTo>
                      <a:pt x="6947" y="2750"/>
                      <a:pt x="6947" y="2750"/>
                      <a:pt x="6947" y="2750"/>
                    </a:cubicBezTo>
                    <a:lnTo>
                      <a:pt x="7690" y="3185"/>
                    </a:lnTo>
                    <a:close/>
                    <a:moveTo>
                      <a:pt x="7765" y="2925"/>
                    </a:moveTo>
                    <a:cubicBezTo>
                      <a:pt x="7772" y="2904"/>
                      <a:pt x="7778" y="2883"/>
                      <a:pt x="7784" y="2863"/>
                    </a:cubicBezTo>
                    <a:cubicBezTo>
                      <a:pt x="7801" y="2803"/>
                      <a:pt x="7817" y="2753"/>
                      <a:pt x="7828" y="2717"/>
                    </a:cubicBezTo>
                    <a:cubicBezTo>
                      <a:pt x="7833" y="2700"/>
                      <a:pt x="7838" y="2686"/>
                      <a:pt x="7842" y="2676"/>
                    </a:cubicBezTo>
                    <a:cubicBezTo>
                      <a:pt x="7844" y="2671"/>
                      <a:pt x="7845" y="2667"/>
                      <a:pt x="7847" y="2664"/>
                    </a:cubicBezTo>
                    <a:cubicBezTo>
                      <a:pt x="7847" y="2662"/>
                      <a:pt x="7848" y="2660"/>
                      <a:pt x="7850" y="2658"/>
                    </a:cubicBezTo>
                    <a:cubicBezTo>
                      <a:pt x="7850" y="2657"/>
                      <a:pt x="7851" y="2656"/>
                      <a:pt x="7853" y="2654"/>
                    </a:cubicBezTo>
                    <a:cubicBezTo>
                      <a:pt x="7854" y="2653"/>
                      <a:pt x="7855" y="2652"/>
                      <a:pt x="7856" y="2651"/>
                    </a:cubicBezTo>
                    <a:cubicBezTo>
                      <a:pt x="7856" y="2651"/>
                      <a:pt x="7856" y="2651"/>
                      <a:pt x="7856" y="2651"/>
                    </a:cubicBezTo>
                    <a:cubicBezTo>
                      <a:pt x="7856" y="2650"/>
                      <a:pt x="7858" y="2648"/>
                      <a:pt x="7859" y="2647"/>
                    </a:cubicBezTo>
                    <a:cubicBezTo>
                      <a:pt x="7364" y="2325"/>
                      <a:pt x="7364" y="2325"/>
                      <a:pt x="7364" y="2325"/>
                    </a:cubicBezTo>
                    <a:cubicBezTo>
                      <a:pt x="7257" y="2536"/>
                      <a:pt x="7257" y="2536"/>
                      <a:pt x="7257" y="2536"/>
                    </a:cubicBezTo>
                    <a:cubicBezTo>
                      <a:pt x="7221" y="2561"/>
                      <a:pt x="7221" y="2561"/>
                      <a:pt x="7221" y="2561"/>
                    </a:cubicBezTo>
                    <a:cubicBezTo>
                      <a:pt x="7268" y="2592"/>
                      <a:pt x="7377" y="2666"/>
                      <a:pt x="7486" y="2739"/>
                    </a:cubicBezTo>
                    <a:cubicBezTo>
                      <a:pt x="7559" y="2788"/>
                      <a:pt x="7632" y="2837"/>
                      <a:pt x="7687" y="2873"/>
                    </a:cubicBezTo>
                    <a:cubicBezTo>
                      <a:pt x="7715" y="2892"/>
                      <a:pt x="7738" y="2907"/>
                      <a:pt x="7755" y="2918"/>
                    </a:cubicBezTo>
                    <a:cubicBezTo>
                      <a:pt x="7759" y="2921"/>
                      <a:pt x="7762" y="2923"/>
                      <a:pt x="7765" y="2925"/>
                    </a:cubicBezTo>
                    <a:close/>
                    <a:moveTo>
                      <a:pt x="7867" y="2635"/>
                    </a:moveTo>
                    <a:cubicBezTo>
                      <a:pt x="7892" y="2601"/>
                      <a:pt x="7945" y="2521"/>
                      <a:pt x="8013" y="2418"/>
                    </a:cubicBezTo>
                    <a:cubicBezTo>
                      <a:pt x="8017" y="2411"/>
                      <a:pt x="8022" y="2404"/>
                      <a:pt x="8026" y="2397"/>
                    </a:cubicBezTo>
                    <a:cubicBezTo>
                      <a:pt x="7505" y="2047"/>
                      <a:pt x="7505" y="2047"/>
                      <a:pt x="7505" y="2047"/>
                    </a:cubicBezTo>
                    <a:cubicBezTo>
                      <a:pt x="7370" y="2313"/>
                      <a:pt x="7370" y="2313"/>
                      <a:pt x="7370" y="2313"/>
                    </a:cubicBezTo>
                    <a:lnTo>
                      <a:pt x="7867" y="2635"/>
                    </a:lnTo>
                    <a:close/>
                    <a:moveTo>
                      <a:pt x="8034" y="2386"/>
                    </a:moveTo>
                    <a:cubicBezTo>
                      <a:pt x="8077" y="2319"/>
                      <a:pt x="8125" y="2246"/>
                      <a:pt x="8176" y="2168"/>
                    </a:cubicBezTo>
                    <a:cubicBezTo>
                      <a:pt x="7625" y="1811"/>
                      <a:pt x="7625" y="1811"/>
                      <a:pt x="7625" y="1811"/>
                    </a:cubicBezTo>
                    <a:cubicBezTo>
                      <a:pt x="7512" y="2034"/>
                      <a:pt x="7512" y="2034"/>
                      <a:pt x="7512" y="2034"/>
                    </a:cubicBezTo>
                    <a:lnTo>
                      <a:pt x="8034" y="2386"/>
                    </a:lnTo>
                    <a:close/>
                    <a:moveTo>
                      <a:pt x="7664" y="1590"/>
                    </a:moveTo>
                    <a:cubicBezTo>
                      <a:pt x="7648" y="1582"/>
                      <a:pt x="7648" y="1582"/>
                      <a:pt x="7648" y="1582"/>
                    </a:cubicBezTo>
                    <a:cubicBezTo>
                      <a:pt x="7565" y="1743"/>
                      <a:pt x="7565" y="1743"/>
                      <a:pt x="7565" y="1743"/>
                    </a:cubicBezTo>
                    <a:cubicBezTo>
                      <a:pt x="7582" y="1751"/>
                      <a:pt x="7582" y="1751"/>
                      <a:pt x="7582" y="1751"/>
                    </a:cubicBezTo>
                    <a:lnTo>
                      <a:pt x="7664" y="1590"/>
                    </a:lnTo>
                    <a:close/>
                    <a:moveTo>
                      <a:pt x="7670" y="1577"/>
                    </a:moveTo>
                    <a:cubicBezTo>
                      <a:pt x="7749" y="1421"/>
                      <a:pt x="7749" y="1421"/>
                      <a:pt x="7749" y="1421"/>
                    </a:cubicBezTo>
                    <a:cubicBezTo>
                      <a:pt x="7733" y="1414"/>
                      <a:pt x="7733" y="1414"/>
                      <a:pt x="7733" y="1414"/>
                    </a:cubicBezTo>
                    <a:cubicBezTo>
                      <a:pt x="7654" y="1569"/>
                      <a:pt x="7654" y="1569"/>
                      <a:pt x="7654" y="1569"/>
                    </a:cubicBezTo>
                    <a:lnTo>
                      <a:pt x="7670" y="1577"/>
                    </a:lnTo>
                    <a:close/>
                    <a:moveTo>
                      <a:pt x="7756" y="1409"/>
                    </a:moveTo>
                    <a:cubicBezTo>
                      <a:pt x="7836" y="1251"/>
                      <a:pt x="7836" y="1251"/>
                      <a:pt x="7836" y="1251"/>
                    </a:cubicBezTo>
                    <a:cubicBezTo>
                      <a:pt x="7820" y="1244"/>
                      <a:pt x="7820" y="1244"/>
                      <a:pt x="7820" y="1244"/>
                    </a:cubicBezTo>
                    <a:cubicBezTo>
                      <a:pt x="7740" y="1401"/>
                      <a:pt x="7740" y="1401"/>
                      <a:pt x="7740" y="1401"/>
                    </a:cubicBezTo>
                    <a:lnTo>
                      <a:pt x="7756" y="1409"/>
                    </a:lnTo>
                    <a:close/>
                    <a:moveTo>
                      <a:pt x="7842" y="1239"/>
                    </a:moveTo>
                    <a:cubicBezTo>
                      <a:pt x="7911" y="1102"/>
                      <a:pt x="7911" y="1102"/>
                      <a:pt x="7911" y="1102"/>
                    </a:cubicBezTo>
                    <a:cubicBezTo>
                      <a:pt x="7896" y="1094"/>
                      <a:pt x="7896" y="1094"/>
                      <a:pt x="7896" y="1094"/>
                    </a:cubicBezTo>
                    <a:cubicBezTo>
                      <a:pt x="7826" y="1231"/>
                      <a:pt x="7826" y="1231"/>
                      <a:pt x="7826" y="1231"/>
                    </a:cubicBezTo>
                    <a:lnTo>
                      <a:pt x="7842" y="1239"/>
                    </a:lnTo>
                    <a:close/>
                    <a:moveTo>
                      <a:pt x="7953" y="954"/>
                    </a:moveTo>
                    <a:cubicBezTo>
                      <a:pt x="7841" y="895"/>
                      <a:pt x="7841" y="895"/>
                      <a:pt x="7841" y="895"/>
                    </a:cubicBezTo>
                    <a:cubicBezTo>
                      <a:pt x="7777" y="1020"/>
                      <a:pt x="7777" y="1020"/>
                      <a:pt x="7777" y="1020"/>
                    </a:cubicBezTo>
                    <a:cubicBezTo>
                      <a:pt x="7890" y="1076"/>
                      <a:pt x="7890" y="1076"/>
                      <a:pt x="7890" y="1076"/>
                    </a:cubicBezTo>
                    <a:lnTo>
                      <a:pt x="7953" y="954"/>
                    </a:lnTo>
                    <a:close/>
                    <a:moveTo>
                      <a:pt x="7771" y="1033"/>
                    </a:moveTo>
                    <a:cubicBezTo>
                      <a:pt x="7700" y="1172"/>
                      <a:pt x="7700" y="1172"/>
                      <a:pt x="7700" y="1172"/>
                    </a:cubicBezTo>
                    <a:cubicBezTo>
                      <a:pt x="7814" y="1226"/>
                      <a:pt x="7814" y="1226"/>
                      <a:pt x="7814" y="1226"/>
                    </a:cubicBezTo>
                    <a:cubicBezTo>
                      <a:pt x="7884" y="1089"/>
                      <a:pt x="7884" y="1089"/>
                      <a:pt x="7884" y="1089"/>
                    </a:cubicBezTo>
                    <a:lnTo>
                      <a:pt x="7771" y="1033"/>
                    </a:lnTo>
                    <a:close/>
                    <a:moveTo>
                      <a:pt x="7693" y="1185"/>
                    </a:moveTo>
                    <a:cubicBezTo>
                      <a:pt x="7615" y="1339"/>
                      <a:pt x="7615" y="1339"/>
                      <a:pt x="7615" y="1339"/>
                    </a:cubicBezTo>
                    <a:cubicBezTo>
                      <a:pt x="7728" y="1395"/>
                      <a:pt x="7728" y="1395"/>
                      <a:pt x="7728" y="1395"/>
                    </a:cubicBezTo>
                    <a:cubicBezTo>
                      <a:pt x="7808" y="1238"/>
                      <a:pt x="7808" y="1238"/>
                      <a:pt x="7808" y="1238"/>
                    </a:cubicBezTo>
                    <a:lnTo>
                      <a:pt x="7693" y="1185"/>
                    </a:lnTo>
                    <a:close/>
                    <a:moveTo>
                      <a:pt x="7608" y="1352"/>
                    </a:moveTo>
                    <a:cubicBezTo>
                      <a:pt x="7529" y="1508"/>
                      <a:pt x="7529" y="1508"/>
                      <a:pt x="7529" y="1508"/>
                    </a:cubicBezTo>
                    <a:cubicBezTo>
                      <a:pt x="7642" y="1564"/>
                      <a:pt x="7642" y="1564"/>
                      <a:pt x="7642" y="1564"/>
                    </a:cubicBezTo>
                    <a:cubicBezTo>
                      <a:pt x="7721" y="1408"/>
                      <a:pt x="7721" y="1408"/>
                      <a:pt x="7721" y="1408"/>
                    </a:cubicBezTo>
                    <a:lnTo>
                      <a:pt x="7608" y="1352"/>
                    </a:lnTo>
                    <a:close/>
                    <a:moveTo>
                      <a:pt x="7597" y="1346"/>
                    </a:moveTo>
                    <a:cubicBezTo>
                      <a:pt x="7361" y="1230"/>
                      <a:pt x="7361" y="1230"/>
                      <a:pt x="7361" y="1230"/>
                    </a:cubicBezTo>
                    <a:cubicBezTo>
                      <a:pt x="7307" y="1400"/>
                      <a:pt x="7307" y="1400"/>
                      <a:pt x="7307" y="1400"/>
                    </a:cubicBezTo>
                    <a:cubicBezTo>
                      <a:pt x="7517" y="1502"/>
                      <a:pt x="7517" y="1502"/>
                      <a:pt x="7517" y="1502"/>
                    </a:cubicBezTo>
                    <a:lnTo>
                      <a:pt x="7597" y="1346"/>
                    </a:lnTo>
                    <a:close/>
                    <a:moveTo>
                      <a:pt x="7355" y="1035"/>
                    </a:moveTo>
                    <a:cubicBezTo>
                      <a:pt x="7314" y="1026"/>
                      <a:pt x="7240" y="1010"/>
                      <a:pt x="7164" y="995"/>
                    </a:cubicBezTo>
                    <a:cubicBezTo>
                      <a:pt x="7148" y="991"/>
                      <a:pt x="7132" y="988"/>
                      <a:pt x="7116" y="985"/>
                    </a:cubicBezTo>
                    <a:cubicBezTo>
                      <a:pt x="7060" y="1149"/>
                      <a:pt x="7060" y="1149"/>
                      <a:pt x="7060" y="1149"/>
                    </a:cubicBezTo>
                    <a:cubicBezTo>
                      <a:pt x="7303" y="1197"/>
                      <a:pt x="7303" y="1197"/>
                      <a:pt x="7303" y="1197"/>
                    </a:cubicBezTo>
                    <a:lnTo>
                      <a:pt x="7355" y="1035"/>
                    </a:lnTo>
                    <a:close/>
                    <a:moveTo>
                      <a:pt x="7056" y="1163"/>
                    </a:moveTo>
                    <a:cubicBezTo>
                      <a:pt x="6998" y="1333"/>
                      <a:pt x="6998" y="1333"/>
                      <a:pt x="6998" y="1333"/>
                    </a:cubicBezTo>
                    <a:cubicBezTo>
                      <a:pt x="7092" y="1351"/>
                      <a:pt x="7194" y="1370"/>
                      <a:pt x="7245" y="1380"/>
                    </a:cubicBezTo>
                    <a:cubicBezTo>
                      <a:pt x="7299" y="1210"/>
                      <a:pt x="7299" y="1210"/>
                      <a:pt x="7299" y="1210"/>
                    </a:cubicBezTo>
                    <a:lnTo>
                      <a:pt x="7056" y="1163"/>
                    </a:lnTo>
                    <a:close/>
                    <a:moveTo>
                      <a:pt x="7043" y="1160"/>
                    </a:moveTo>
                    <a:cubicBezTo>
                      <a:pt x="6912" y="1134"/>
                      <a:pt x="6912" y="1134"/>
                      <a:pt x="6912" y="1134"/>
                    </a:cubicBezTo>
                    <a:cubicBezTo>
                      <a:pt x="6853" y="1306"/>
                      <a:pt x="6853" y="1306"/>
                      <a:pt x="6853" y="1306"/>
                    </a:cubicBezTo>
                    <a:cubicBezTo>
                      <a:pt x="6888" y="1313"/>
                      <a:pt x="6935" y="1321"/>
                      <a:pt x="6985" y="1331"/>
                    </a:cubicBezTo>
                    <a:lnTo>
                      <a:pt x="7043" y="1160"/>
                    </a:lnTo>
                    <a:close/>
                    <a:moveTo>
                      <a:pt x="6849" y="1320"/>
                    </a:moveTo>
                    <a:cubicBezTo>
                      <a:pt x="6792" y="1487"/>
                      <a:pt x="6792" y="1487"/>
                      <a:pt x="6792" y="1487"/>
                    </a:cubicBezTo>
                    <a:cubicBezTo>
                      <a:pt x="6827" y="1494"/>
                      <a:pt x="6874" y="1503"/>
                      <a:pt x="6923" y="1512"/>
                    </a:cubicBezTo>
                    <a:cubicBezTo>
                      <a:pt x="6980" y="1344"/>
                      <a:pt x="6980" y="1344"/>
                      <a:pt x="6980" y="1344"/>
                    </a:cubicBezTo>
                    <a:cubicBezTo>
                      <a:pt x="6930" y="1335"/>
                      <a:pt x="6883" y="1326"/>
                      <a:pt x="6849" y="1320"/>
                    </a:cubicBezTo>
                    <a:close/>
                    <a:moveTo>
                      <a:pt x="6787" y="1500"/>
                    </a:moveTo>
                    <a:cubicBezTo>
                      <a:pt x="6728" y="1672"/>
                      <a:pt x="6728" y="1672"/>
                      <a:pt x="6728" y="1672"/>
                    </a:cubicBezTo>
                    <a:cubicBezTo>
                      <a:pt x="6763" y="1679"/>
                      <a:pt x="6810" y="1689"/>
                      <a:pt x="6860" y="1698"/>
                    </a:cubicBezTo>
                    <a:cubicBezTo>
                      <a:pt x="6919" y="1525"/>
                      <a:pt x="6919" y="1525"/>
                      <a:pt x="6919" y="1525"/>
                    </a:cubicBezTo>
                    <a:cubicBezTo>
                      <a:pt x="6869" y="1516"/>
                      <a:pt x="6822" y="1507"/>
                      <a:pt x="6787" y="1500"/>
                    </a:cubicBezTo>
                    <a:close/>
                    <a:moveTo>
                      <a:pt x="6724" y="1685"/>
                    </a:moveTo>
                    <a:cubicBezTo>
                      <a:pt x="6676" y="1825"/>
                      <a:pt x="6676" y="1825"/>
                      <a:pt x="6676" y="1825"/>
                    </a:cubicBezTo>
                    <a:cubicBezTo>
                      <a:pt x="6807" y="1855"/>
                      <a:pt x="6807" y="1855"/>
                      <a:pt x="6807" y="1855"/>
                    </a:cubicBezTo>
                    <a:cubicBezTo>
                      <a:pt x="6856" y="1712"/>
                      <a:pt x="6856" y="1712"/>
                      <a:pt x="6856" y="1712"/>
                    </a:cubicBezTo>
                    <a:cubicBezTo>
                      <a:pt x="6806" y="1702"/>
                      <a:pt x="6759" y="1692"/>
                      <a:pt x="6724" y="1685"/>
                    </a:cubicBezTo>
                    <a:close/>
                    <a:moveTo>
                      <a:pt x="6672" y="1838"/>
                    </a:moveTo>
                    <a:cubicBezTo>
                      <a:pt x="6616" y="2001"/>
                      <a:pt x="6616" y="2001"/>
                      <a:pt x="6616" y="2001"/>
                    </a:cubicBezTo>
                    <a:cubicBezTo>
                      <a:pt x="6747" y="2032"/>
                      <a:pt x="6747" y="2032"/>
                      <a:pt x="6747" y="2032"/>
                    </a:cubicBezTo>
                    <a:cubicBezTo>
                      <a:pt x="6803" y="1868"/>
                      <a:pt x="6803" y="1868"/>
                      <a:pt x="6803" y="1868"/>
                    </a:cubicBezTo>
                    <a:lnTo>
                      <a:pt x="6672" y="1838"/>
                    </a:lnTo>
                    <a:close/>
                    <a:moveTo>
                      <a:pt x="6612" y="2014"/>
                    </a:moveTo>
                    <a:cubicBezTo>
                      <a:pt x="6555" y="2180"/>
                      <a:pt x="6555" y="2180"/>
                      <a:pt x="6555" y="2180"/>
                    </a:cubicBezTo>
                    <a:cubicBezTo>
                      <a:pt x="6686" y="2212"/>
                      <a:pt x="6686" y="2212"/>
                      <a:pt x="6686" y="2212"/>
                    </a:cubicBezTo>
                    <a:cubicBezTo>
                      <a:pt x="6743" y="2045"/>
                      <a:pt x="6743" y="2045"/>
                      <a:pt x="6743" y="2045"/>
                    </a:cubicBezTo>
                    <a:lnTo>
                      <a:pt x="6612" y="2014"/>
                    </a:lnTo>
                    <a:close/>
                    <a:moveTo>
                      <a:pt x="6551" y="2193"/>
                    </a:moveTo>
                    <a:cubicBezTo>
                      <a:pt x="6488" y="2376"/>
                      <a:pt x="6488" y="2376"/>
                      <a:pt x="6488" y="2376"/>
                    </a:cubicBezTo>
                    <a:cubicBezTo>
                      <a:pt x="6621" y="2406"/>
                      <a:pt x="6621" y="2406"/>
                      <a:pt x="6621" y="2406"/>
                    </a:cubicBezTo>
                    <a:cubicBezTo>
                      <a:pt x="6682" y="2225"/>
                      <a:pt x="6682" y="2225"/>
                      <a:pt x="6682" y="2225"/>
                    </a:cubicBezTo>
                    <a:lnTo>
                      <a:pt x="6551" y="2193"/>
                    </a:lnTo>
                    <a:close/>
                    <a:moveTo>
                      <a:pt x="6484" y="2390"/>
                    </a:moveTo>
                    <a:cubicBezTo>
                      <a:pt x="6416" y="2589"/>
                      <a:pt x="6416" y="2589"/>
                      <a:pt x="6416" y="2589"/>
                    </a:cubicBezTo>
                    <a:cubicBezTo>
                      <a:pt x="6548" y="2620"/>
                      <a:pt x="6548" y="2620"/>
                      <a:pt x="6548" y="2620"/>
                    </a:cubicBezTo>
                    <a:cubicBezTo>
                      <a:pt x="6616" y="2419"/>
                      <a:pt x="6616" y="2419"/>
                      <a:pt x="6616" y="2419"/>
                    </a:cubicBezTo>
                    <a:lnTo>
                      <a:pt x="6484" y="2390"/>
                    </a:lnTo>
                    <a:close/>
                    <a:moveTo>
                      <a:pt x="6412" y="2602"/>
                    </a:moveTo>
                    <a:cubicBezTo>
                      <a:pt x="6331" y="2839"/>
                      <a:pt x="6331" y="2839"/>
                      <a:pt x="6331" y="2839"/>
                    </a:cubicBezTo>
                    <a:cubicBezTo>
                      <a:pt x="6467" y="2858"/>
                      <a:pt x="6467" y="2858"/>
                      <a:pt x="6467" y="2858"/>
                    </a:cubicBezTo>
                    <a:cubicBezTo>
                      <a:pt x="6543" y="2634"/>
                      <a:pt x="6543" y="2634"/>
                      <a:pt x="6543" y="2634"/>
                    </a:cubicBezTo>
                    <a:lnTo>
                      <a:pt x="6412" y="2602"/>
                    </a:lnTo>
                    <a:close/>
                    <a:moveTo>
                      <a:pt x="6429" y="3096"/>
                    </a:moveTo>
                    <a:cubicBezTo>
                      <a:pt x="6756" y="3123"/>
                      <a:pt x="6756" y="3123"/>
                      <a:pt x="6756" y="3123"/>
                    </a:cubicBezTo>
                    <a:cubicBezTo>
                      <a:pt x="6779" y="2915"/>
                      <a:pt x="6779" y="2915"/>
                      <a:pt x="6779" y="2915"/>
                    </a:cubicBezTo>
                    <a:cubicBezTo>
                      <a:pt x="6476" y="2873"/>
                      <a:pt x="6476" y="2873"/>
                      <a:pt x="6476" y="2873"/>
                    </a:cubicBezTo>
                    <a:cubicBezTo>
                      <a:pt x="6475" y="2875"/>
                      <a:pt x="6475" y="2875"/>
                      <a:pt x="6475" y="2875"/>
                    </a:cubicBezTo>
                    <a:lnTo>
                      <a:pt x="6429" y="3096"/>
                    </a:lnTo>
                    <a:close/>
                    <a:moveTo>
                      <a:pt x="6756" y="3747"/>
                    </a:moveTo>
                    <a:cubicBezTo>
                      <a:pt x="6729" y="3998"/>
                      <a:pt x="6729" y="3998"/>
                      <a:pt x="6729" y="3998"/>
                    </a:cubicBezTo>
                    <a:cubicBezTo>
                      <a:pt x="7066" y="4163"/>
                      <a:pt x="7066" y="4163"/>
                      <a:pt x="7066" y="4163"/>
                    </a:cubicBezTo>
                    <a:cubicBezTo>
                      <a:pt x="7316" y="4169"/>
                      <a:pt x="7316" y="4169"/>
                      <a:pt x="7316" y="4169"/>
                    </a:cubicBezTo>
                    <a:cubicBezTo>
                      <a:pt x="7329" y="4129"/>
                      <a:pt x="7342" y="4091"/>
                      <a:pt x="7354" y="4058"/>
                    </a:cubicBezTo>
                    <a:cubicBezTo>
                      <a:pt x="7367" y="4018"/>
                      <a:pt x="7379" y="3984"/>
                      <a:pt x="7387" y="3960"/>
                    </a:cubicBezTo>
                    <a:cubicBezTo>
                      <a:pt x="7388" y="3957"/>
                      <a:pt x="7388" y="3955"/>
                      <a:pt x="7389" y="3952"/>
                    </a:cubicBezTo>
                    <a:cubicBezTo>
                      <a:pt x="7212" y="3872"/>
                      <a:pt x="7053" y="3820"/>
                      <a:pt x="6935" y="3788"/>
                    </a:cubicBezTo>
                    <a:cubicBezTo>
                      <a:pt x="6870" y="3771"/>
                      <a:pt x="6817" y="3759"/>
                      <a:pt x="6781" y="3752"/>
                    </a:cubicBezTo>
                    <a:cubicBezTo>
                      <a:pt x="6771" y="3750"/>
                      <a:pt x="6763" y="3749"/>
                      <a:pt x="6756" y="3747"/>
                    </a:cubicBezTo>
                    <a:close/>
                    <a:moveTo>
                      <a:pt x="7447" y="6622"/>
                    </a:moveTo>
                    <a:cubicBezTo>
                      <a:pt x="7447" y="6618"/>
                      <a:pt x="7447" y="6614"/>
                      <a:pt x="7447" y="6611"/>
                    </a:cubicBezTo>
                    <a:cubicBezTo>
                      <a:pt x="7343" y="6615"/>
                      <a:pt x="7343" y="6615"/>
                      <a:pt x="7343" y="6615"/>
                    </a:cubicBezTo>
                    <a:cubicBezTo>
                      <a:pt x="7343" y="6615"/>
                      <a:pt x="7260" y="6618"/>
                      <a:pt x="7157" y="6625"/>
                    </a:cubicBezTo>
                    <a:cubicBezTo>
                      <a:pt x="7137" y="6627"/>
                      <a:pt x="7116" y="6628"/>
                      <a:pt x="7096" y="6630"/>
                    </a:cubicBezTo>
                    <a:cubicBezTo>
                      <a:pt x="7179" y="6993"/>
                      <a:pt x="7179" y="6993"/>
                      <a:pt x="7179" y="6993"/>
                    </a:cubicBezTo>
                    <a:cubicBezTo>
                      <a:pt x="7291" y="6989"/>
                      <a:pt x="7375" y="6986"/>
                      <a:pt x="7393" y="6985"/>
                    </a:cubicBezTo>
                    <a:cubicBezTo>
                      <a:pt x="7455" y="6890"/>
                      <a:pt x="7455" y="6890"/>
                      <a:pt x="7455" y="6890"/>
                    </a:cubicBezTo>
                    <a:cubicBezTo>
                      <a:pt x="7454" y="6868"/>
                      <a:pt x="7447" y="6694"/>
                      <a:pt x="7447" y="6622"/>
                    </a:cubicBezTo>
                    <a:close/>
                    <a:moveTo>
                      <a:pt x="7000" y="7640"/>
                    </a:moveTo>
                    <a:cubicBezTo>
                      <a:pt x="6905" y="7643"/>
                      <a:pt x="6905" y="7643"/>
                      <a:pt x="6905" y="7643"/>
                    </a:cubicBezTo>
                    <a:cubicBezTo>
                      <a:pt x="6905" y="7636"/>
                      <a:pt x="6905" y="7636"/>
                      <a:pt x="6905" y="7636"/>
                    </a:cubicBezTo>
                    <a:cubicBezTo>
                      <a:pt x="6903" y="7556"/>
                      <a:pt x="6903" y="7556"/>
                      <a:pt x="6903" y="7556"/>
                    </a:cubicBezTo>
                    <a:cubicBezTo>
                      <a:pt x="6949" y="7555"/>
                      <a:pt x="6949" y="7555"/>
                      <a:pt x="6949" y="7555"/>
                    </a:cubicBezTo>
                    <a:cubicBezTo>
                      <a:pt x="6948" y="7512"/>
                      <a:pt x="6948" y="7512"/>
                      <a:pt x="6948" y="7512"/>
                    </a:cubicBezTo>
                    <a:cubicBezTo>
                      <a:pt x="6995" y="7511"/>
                      <a:pt x="6995" y="7511"/>
                      <a:pt x="6995" y="7511"/>
                    </a:cubicBezTo>
                    <a:cubicBezTo>
                      <a:pt x="6993" y="7483"/>
                      <a:pt x="6993" y="7483"/>
                      <a:pt x="6993" y="7483"/>
                    </a:cubicBezTo>
                    <a:cubicBezTo>
                      <a:pt x="6928" y="7483"/>
                      <a:pt x="6859" y="7483"/>
                      <a:pt x="6788" y="7483"/>
                    </a:cubicBezTo>
                    <a:cubicBezTo>
                      <a:pt x="6789" y="7526"/>
                      <a:pt x="6789" y="7622"/>
                      <a:pt x="6789" y="7718"/>
                    </a:cubicBezTo>
                    <a:cubicBezTo>
                      <a:pt x="6790" y="7783"/>
                      <a:pt x="6791" y="7847"/>
                      <a:pt x="6792" y="7895"/>
                    </a:cubicBezTo>
                    <a:cubicBezTo>
                      <a:pt x="6792" y="7919"/>
                      <a:pt x="6793" y="7939"/>
                      <a:pt x="6794" y="7953"/>
                    </a:cubicBezTo>
                    <a:cubicBezTo>
                      <a:pt x="6794" y="7960"/>
                      <a:pt x="6795" y="7966"/>
                      <a:pt x="6795" y="7969"/>
                    </a:cubicBezTo>
                    <a:cubicBezTo>
                      <a:pt x="6795" y="7971"/>
                      <a:pt x="6796" y="7972"/>
                      <a:pt x="6796" y="7973"/>
                    </a:cubicBezTo>
                    <a:cubicBezTo>
                      <a:pt x="6796" y="7973"/>
                      <a:pt x="6796" y="7973"/>
                      <a:pt x="6796" y="7973"/>
                    </a:cubicBezTo>
                    <a:cubicBezTo>
                      <a:pt x="6794" y="7973"/>
                      <a:pt x="6794" y="7973"/>
                      <a:pt x="6794" y="7973"/>
                    </a:cubicBezTo>
                    <a:cubicBezTo>
                      <a:pt x="6795" y="7972"/>
                      <a:pt x="6795" y="7972"/>
                      <a:pt x="6795" y="7972"/>
                    </a:cubicBezTo>
                    <a:cubicBezTo>
                      <a:pt x="6790" y="7975"/>
                      <a:pt x="6790" y="7975"/>
                      <a:pt x="6790" y="7975"/>
                    </a:cubicBezTo>
                    <a:cubicBezTo>
                      <a:pt x="6790" y="7980"/>
                      <a:pt x="6790" y="7980"/>
                      <a:pt x="6790" y="7980"/>
                    </a:cubicBezTo>
                    <a:cubicBezTo>
                      <a:pt x="7018" y="8032"/>
                      <a:pt x="7018" y="8032"/>
                      <a:pt x="7018" y="8032"/>
                    </a:cubicBezTo>
                    <a:lnTo>
                      <a:pt x="7000" y="7640"/>
                    </a:lnTo>
                    <a:close/>
                    <a:moveTo>
                      <a:pt x="7014" y="7627"/>
                    </a:moveTo>
                    <a:cubicBezTo>
                      <a:pt x="7102" y="7625"/>
                      <a:pt x="7102" y="7625"/>
                      <a:pt x="7102" y="7625"/>
                    </a:cubicBezTo>
                    <a:cubicBezTo>
                      <a:pt x="7100" y="7565"/>
                      <a:pt x="7100" y="7565"/>
                      <a:pt x="7100" y="7565"/>
                    </a:cubicBezTo>
                    <a:cubicBezTo>
                      <a:pt x="7053" y="7566"/>
                      <a:pt x="7053" y="7566"/>
                      <a:pt x="7053" y="7566"/>
                    </a:cubicBezTo>
                    <a:cubicBezTo>
                      <a:pt x="7052" y="7523"/>
                      <a:pt x="7052" y="7523"/>
                      <a:pt x="7052" y="7523"/>
                    </a:cubicBezTo>
                    <a:cubicBezTo>
                      <a:pt x="7009" y="7524"/>
                      <a:pt x="7009" y="7524"/>
                      <a:pt x="7009" y="7524"/>
                    </a:cubicBezTo>
                    <a:lnTo>
                      <a:pt x="7014" y="7627"/>
                    </a:lnTo>
                    <a:close/>
                    <a:moveTo>
                      <a:pt x="6911" y="7347"/>
                    </a:moveTo>
                    <a:cubicBezTo>
                      <a:pt x="6911" y="7237"/>
                      <a:pt x="6915" y="7055"/>
                      <a:pt x="6916" y="7016"/>
                    </a:cubicBezTo>
                    <a:cubicBezTo>
                      <a:pt x="6911" y="7016"/>
                      <a:pt x="6906" y="7016"/>
                      <a:pt x="6902" y="7017"/>
                    </a:cubicBezTo>
                    <a:cubicBezTo>
                      <a:pt x="6815" y="7020"/>
                      <a:pt x="6729" y="7023"/>
                      <a:pt x="6653" y="7026"/>
                    </a:cubicBezTo>
                    <a:cubicBezTo>
                      <a:pt x="6651" y="7418"/>
                      <a:pt x="6651" y="7418"/>
                      <a:pt x="6651" y="7418"/>
                    </a:cubicBezTo>
                    <a:cubicBezTo>
                      <a:pt x="6738" y="7418"/>
                      <a:pt x="6827" y="7418"/>
                      <a:pt x="6912" y="7417"/>
                    </a:cubicBezTo>
                    <a:cubicBezTo>
                      <a:pt x="6912" y="7414"/>
                      <a:pt x="6912" y="7410"/>
                      <a:pt x="6911" y="7404"/>
                    </a:cubicBezTo>
                    <a:cubicBezTo>
                      <a:pt x="6911" y="7390"/>
                      <a:pt x="6911" y="7370"/>
                      <a:pt x="6911" y="7347"/>
                    </a:cubicBezTo>
                    <a:close/>
                    <a:moveTo>
                      <a:pt x="6963" y="7568"/>
                    </a:moveTo>
                    <a:cubicBezTo>
                      <a:pt x="6916" y="7569"/>
                      <a:pt x="6916" y="7569"/>
                      <a:pt x="6916" y="7569"/>
                    </a:cubicBezTo>
                    <a:cubicBezTo>
                      <a:pt x="6917" y="7629"/>
                      <a:pt x="6917" y="7629"/>
                      <a:pt x="6917" y="7629"/>
                    </a:cubicBezTo>
                    <a:cubicBezTo>
                      <a:pt x="7000" y="7627"/>
                      <a:pt x="7000" y="7627"/>
                      <a:pt x="7000" y="7627"/>
                    </a:cubicBezTo>
                    <a:cubicBezTo>
                      <a:pt x="6995" y="7524"/>
                      <a:pt x="6995" y="7524"/>
                      <a:pt x="6995" y="7524"/>
                    </a:cubicBezTo>
                    <a:cubicBezTo>
                      <a:pt x="6962" y="7525"/>
                      <a:pt x="6962" y="7525"/>
                      <a:pt x="6962" y="7525"/>
                    </a:cubicBezTo>
                    <a:lnTo>
                      <a:pt x="6963" y="7568"/>
                    </a:lnTo>
                    <a:close/>
                    <a:moveTo>
                      <a:pt x="7178" y="7416"/>
                    </a:moveTo>
                    <a:cubicBezTo>
                      <a:pt x="7170" y="7380"/>
                      <a:pt x="7152" y="7301"/>
                      <a:pt x="7134" y="7221"/>
                    </a:cubicBezTo>
                    <a:cubicBezTo>
                      <a:pt x="7122" y="7167"/>
                      <a:pt x="7109" y="7113"/>
                      <a:pt x="7100" y="7073"/>
                    </a:cubicBezTo>
                    <a:cubicBezTo>
                      <a:pt x="7095" y="7053"/>
                      <a:pt x="7091" y="7036"/>
                      <a:pt x="7088" y="7024"/>
                    </a:cubicBezTo>
                    <a:cubicBezTo>
                      <a:pt x="7086" y="7019"/>
                      <a:pt x="7085" y="7014"/>
                      <a:pt x="7084" y="7011"/>
                    </a:cubicBezTo>
                    <a:cubicBezTo>
                      <a:pt x="7084" y="7011"/>
                      <a:pt x="7084" y="7010"/>
                      <a:pt x="7084" y="7010"/>
                    </a:cubicBezTo>
                    <a:cubicBezTo>
                      <a:pt x="7034" y="7012"/>
                      <a:pt x="6982" y="7014"/>
                      <a:pt x="6930" y="7015"/>
                    </a:cubicBezTo>
                    <a:cubicBezTo>
                      <a:pt x="6929" y="7052"/>
                      <a:pt x="6925" y="7236"/>
                      <a:pt x="6925" y="7347"/>
                    </a:cubicBezTo>
                    <a:cubicBezTo>
                      <a:pt x="6925" y="7371"/>
                      <a:pt x="6925" y="7392"/>
                      <a:pt x="6925" y="7407"/>
                    </a:cubicBezTo>
                    <a:cubicBezTo>
                      <a:pt x="6926" y="7411"/>
                      <a:pt x="6926" y="7414"/>
                      <a:pt x="6926" y="7417"/>
                    </a:cubicBezTo>
                    <a:cubicBezTo>
                      <a:pt x="7019" y="7417"/>
                      <a:pt x="7106" y="7417"/>
                      <a:pt x="7178" y="7416"/>
                    </a:cubicBezTo>
                    <a:close/>
                    <a:moveTo>
                      <a:pt x="7165" y="6993"/>
                    </a:moveTo>
                    <a:cubicBezTo>
                      <a:pt x="7082" y="6631"/>
                      <a:pt x="7082" y="6631"/>
                      <a:pt x="7082" y="6631"/>
                    </a:cubicBezTo>
                    <a:cubicBezTo>
                      <a:pt x="6999" y="6638"/>
                      <a:pt x="6913" y="6647"/>
                      <a:pt x="6854" y="6659"/>
                    </a:cubicBezTo>
                    <a:cubicBezTo>
                      <a:pt x="6850" y="6660"/>
                      <a:pt x="6846" y="6661"/>
                      <a:pt x="6841" y="6662"/>
                    </a:cubicBezTo>
                    <a:cubicBezTo>
                      <a:pt x="6805" y="7003"/>
                      <a:pt x="6805" y="7003"/>
                      <a:pt x="6805" y="7003"/>
                    </a:cubicBezTo>
                    <a:cubicBezTo>
                      <a:pt x="6791" y="7001"/>
                      <a:pt x="6791" y="7001"/>
                      <a:pt x="6791" y="7001"/>
                    </a:cubicBezTo>
                    <a:cubicBezTo>
                      <a:pt x="6827" y="6664"/>
                      <a:pt x="6827" y="6664"/>
                      <a:pt x="6827" y="6664"/>
                    </a:cubicBezTo>
                    <a:cubicBezTo>
                      <a:pt x="6730" y="6684"/>
                      <a:pt x="6631" y="6698"/>
                      <a:pt x="6532" y="6711"/>
                    </a:cubicBezTo>
                    <a:cubicBezTo>
                      <a:pt x="6532" y="7016"/>
                      <a:pt x="6532" y="7016"/>
                      <a:pt x="6532" y="7016"/>
                    </a:cubicBezTo>
                    <a:cubicBezTo>
                      <a:pt x="6541" y="7016"/>
                      <a:pt x="6550" y="7016"/>
                      <a:pt x="6559" y="7015"/>
                    </a:cubicBezTo>
                    <a:cubicBezTo>
                      <a:pt x="6723" y="7009"/>
                      <a:pt x="6979" y="7000"/>
                      <a:pt x="7165" y="6993"/>
                    </a:cubicBezTo>
                    <a:close/>
                    <a:moveTo>
                      <a:pt x="6605" y="7418"/>
                    </a:moveTo>
                    <a:cubicBezTo>
                      <a:pt x="6616" y="7418"/>
                      <a:pt x="6626" y="7418"/>
                      <a:pt x="6637" y="7418"/>
                    </a:cubicBezTo>
                    <a:cubicBezTo>
                      <a:pt x="6639" y="7026"/>
                      <a:pt x="6639" y="7026"/>
                      <a:pt x="6639" y="7026"/>
                    </a:cubicBezTo>
                    <a:cubicBezTo>
                      <a:pt x="6611" y="7027"/>
                      <a:pt x="6584" y="7028"/>
                      <a:pt x="6560" y="7029"/>
                    </a:cubicBezTo>
                    <a:cubicBezTo>
                      <a:pt x="6513" y="7031"/>
                      <a:pt x="6473" y="7032"/>
                      <a:pt x="6446" y="7034"/>
                    </a:cubicBezTo>
                    <a:cubicBezTo>
                      <a:pt x="6432" y="7034"/>
                      <a:pt x="6421" y="7035"/>
                      <a:pt x="6413" y="7035"/>
                    </a:cubicBezTo>
                    <a:cubicBezTo>
                      <a:pt x="6410" y="7035"/>
                      <a:pt x="6408" y="7035"/>
                      <a:pt x="6406" y="7035"/>
                    </a:cubicBezTo>
                    <a:cubicBezTo>
                      <a:pt x="6322" y="7419"/>
                      <a:pt x="6322" y="7419"/>
                      <a:pt x="6322" y="7419"/>
                    </a:cubicBezTo>
                    <a:cubicBezTo>
                      <a:pt x="6404" y="7419"/>
                      <a:pt x="6502" y="7418"/>
                      <a:pt x="6605" y="7418"/>
                    </a:cubicBezTo>
                    <a:close/>
                    <a:moveTo>
                      <a:pt x="6583" y="7484"/>
                    </a:moveTo>
                    <a:cubicBezTo>
                      <a:pt x="6499" y="7484"/>
                      <a:pt x="6419" y="7484"/>
                      <a:pt x="6349" y="7484"/>
                    </a:cubicBezTo>
                    <a:cubicBezTo>
                      <a:pt x="6360" y="7669"/>
                      <a:pt x="6360" y="7669"/>
                      <a:pt x="6360" y="7669"/>
                    </a:cubicBezTo>
                    <a:cubicBezTo>
                      <a:pt x="6591" y="7681"/>
                      <a:pt x="6591" y="7681"/>
                      <a:pt x="6591" y="7681"/>
                    </a:cubicBezTo>
                    <a:lnTo>
                      <a:pt x="6583" y="7484"/>
                    </a:lnTo>
                    <a:close/>
                    <a:moveTo>
                      <a:pt x="4102" y="8425"/>
                    </a:moveTo>
                    <a:cubicBezTo>
                      <a:pt x="4098" y="8428"/>
                      <a:pt x="4098" y="8428"/>
                      <a:pt x="4098" y="8428"/>
                    </a:cubicBezTo>
                    <a:cubicBezTo>
                      <a:pt x="4264" y="8326"/>
                      <a:pt x="4264" y="8326"/>
                      <a:pt x="4264" y="8326"/>
                    </a:cubicBezTo>
                    <a:cubicBezTo>
                      <a:pt x="4265" y="8326"/>
                      <a:pt x="4265" y="8326"/>
                      <a:pt x="4265" y="8326"/>
                    </a:cubicBezTo>
                    <a:cubicBezTo>
                      <a:pt x="4262" y="8320"/>
                      <a:pt x="4259" y="8315"/>
                      <a:pt x="4256" y="8310"/>
                    </a:cubicBezTo>
                    <a:cubicBezTo>
                      <a:pt x="4208" y="8221"/>
                      <a:pt x="4142" y="8107"/>
                      <a:pt x="4088" y="8016"/>
                    </a:cubicBezTo>
                    <a:cubicBezTo>
                      <a:pt x="4042" y="7939"/>
                      <a:pt x="4005" y="7878"/>
                      <a:pt x="3995" y="7861"/>
                    </a:cubicBezTo>
                    <a:cubicBezTo>
                      <a:pt x="3995" y="7861"/>
                      <a:pt x="3995" y="7861"/>
                      <a:pt x="3995" y="7861"/>
                    </a:cubicBezTo>
                    <a:cubicBezTo>
                      <a:pt x="3808" y="7965"/>
                      <a:pt x="3808" y="7965"/>
                      <a:pt x="3808" y="7965"/>
                    </a:cubicBezTo>
                    <a:lnTo>
                      <a:pt x="4102" y="8425"/>
                    </a:lnTo>
                    <a:close/>
                    <a:moveTo>
                      <a:pt x="3597" y="8317"/>
                    </a:moveTo>
                    <a:cubicBezTo>
                      <a:pt x="3585" y="8324"/>
                      <a:pt x="3585" y="8324"/>
                      <a:pt x="3585" y="8324"/>
                    </a:cubicBezTo>
                    <a:cubicBezTo>
                      <a:pt x="3715" y="8541"/>
                      <a:pt x="3715" y="8541"/>
                      <a:pt x="3715" y="8541"/>
                    </a:cubicBezTo>
                    <a:cubicBezTo>
                      <a:pt x="3861" y="8573"/>
                      <a:pt x="3861" y="8573"/>
                      <a:pt x="3861" y="8573"/>
                    </a:cubicBezTo>
                    <a:cubicBezTo>
                      <a:pt x="4090" y="8432"/>
                      <a:pt x="4090" y="8432"/>
                      <a:pt x="4090" y="8432"/>
                    </a:cubicBezTo>
                    <a:cubicBezTo>
                      <a:pt x="3796" y="7972"/>
                      <a:pt x="3796" y="7972"/>
                      <a:pt x="3796" y="7972"/>
                    </a:cubicBezTo>
                    <a:cubicBezTo>
                      <a:pt x="3479" y="8148"/>
                      <a:pt x="3479" y="8148"/>
                      <a:pt x="3479" y="8148"/>
                    </a:cubicBezTo>
                    <a:cubicBezTo>
                      <a:pt x="3493" y="8171"/>
                      <a:pt x="3493" y="8171"/>
                      <a:pt x="3493" y="8171"/>
                    </a:cubicBezTo>
                    <a:cubicBezTo>
                      <a:pt x="3618" y="8099"/>
                      <a:pt x="3618" y="8099"/>
                      <a:pt x="3618" y="8099"/>
                    </a:cubicBezTo>
                    <a:cubicBezTo>
                      <a:pt x="3670" y="8189"/>
                      <a:pt x="3670" y="8189"/>
                      <a:pt x="3670" y="8189"/>
                    </a:cubicBezTo>
                    <a:cubicBezTo>
                      <a:pt x="3559" y="8253"/>
                      <a:pt x="3559" y="8253"/>
                      <a:pt x="3559" y="8253"/>
                    </a:cubicBezTo>
                    <a:lnTo>
                      <a:pt x="3597" y="8317"/>
                    </a:lnTo>
                    <a:close/>
                    <a:moveTo>
                      <a:pt x="3526" y="8253"/>
                    </a:moveTo>
                    <a:cubicBezTo>
                      <a:pt x="3434" y="8306"/>
                      <a:pt x="3434" y="8306"/>
                      <a:pt x="3434" y="8306"/>
                    </a:cubicBezTo>
                    <a:cubicBezTo>
                      <a:pt x="3473" y="8374"/>
                      <a:pt x="3473" y="8374"/>
                      <a:pt x="3473" y="8374"/>
                    </a:cubicBezTo>
                    <a:cubicBezTo>
                      <a:pt x="3566" y="8320"/>
                      <a:pt x="3566" y="8320"/>
                      <a:pt x="3566" y="8320"/>
                    </a:cubicBezTo>
                    <a:lnTo>
                      <a:pt x="3526" y="8253"/>
                    </a:lnTo>
                    <a:close/>
                    <a:moveTo>
                      <a:pt x="3538" y="8231"/>
                    </a:moveTo>
                    <a:cubicBezTo>
                      <a:pt x="3544" y="8227"/>
                      <a:pt x="3544" y="8227"/>
                      <a:pt x="3544" y="8227"/>
                    </a:cubicBezTo>
                    <a:cubicBezTo>
                      <a:pt x="3553" y="8242"/>
                      <a:pt x="3553" y="8242"/>
                      <a:pt x="3553" y="8242"/>
                    </a:cubicBezTo>
                    <a:cubicBezTo>
                      <a:pt x="3652" y="8184"/>
                      <a:pt x="3652" y="8184"/>
                      <a:pt x="3652" y="8184"/>
                    </a:cubicBezTo>
                    <a:cubicBezTo>
                      <a:pt x="3613" y="8116"/>
                      <a:pt x="3613" y="8116"/>
                      <a:pt x="3613" y="8116"/>
                    </a:cubicBezTo>
                    <a:cubicBezTo>
                      <a:pt x="3507" y="8178"/>
                      <a:pt x="3507" y="8178"/>
                      <a:pt x="3507" y="8178"/>
                    </a:cubicBezTo>
                    <a:lnTo>
                      <a:pt x="3538" y="8231"/>
                    </a:lnTo>
                    <a:close/>
                    <a:moveTo>
                      <a:pt x="3578" y="8313"/>
                    </a:moveTo>
                    <a:cubicBezTo>
                      <a:pt x="3579" y="8313"/>
                      <a:pt x="3579" y="8313"/>
                      <a:pt x="3579" y="8313"/>
                    </a:cubicBezTo>
                    <a:cubicBezTo>
                      <a:pt x="3548" y="8259"/>
                      <a:pt x="3548" y="8259"/>
                      <a:pt x="3548" y="8259"/>
                    </a:cubicBezTo>
                    <a:cubicBezTo>
                      <a:pt x="3547" y="8260"/>
                      <a:pt x="3547" y="8260"/>
                      <a:pt x="3547" y="8260"/>
                    </a:cubicBezTo>
                    <a:lnTo>
                      <a:pt x="3578" y="8313"/>
                    </a:lnTo>
                    <a:close/>
                    <a:moveTo>
                      <a:pt x="3298" y="6966"/>
                    </a:moveTo>
                    <a:cubicBezTo>
                      <a:pt x="3204" y="6953"/>
                      <a:pt x="3204" y="6953"/>
                      <a:pt x="3204" y="6953"/>
                    </a:cubicBezTo>
                    <a:cubicBezTo>
                      <a:pt x="3205" y="6947"/>
                      <a:pt x="3205" y="6947"/>
                      <a:pt x="3205" y="6947"/>
                    </a:cubicBezTo>
                    <a:cubicBezTo>
                      <a:pt x="3216" y="6868"/>
                      <a:pt x="3216" y="6868"/>
                      <a:pt x="3216" y="6868"/>
                    </a:cubicBezTo>
                    <a:cubicBezTo>
                      <a:pt x="3262" y="6874"/>
                      <a:pt x="3262" y="6874"/>
                      <a:pt x="3262" y="6874"/>
                    </a:cubicBezTo>
                    <a:cubicBezTo>
                      <a:pt x="3268" y="6831"/>
                      <a:pt x="3268" y="6831"/>
                      <a:pt x="3268" y="6831"/>
                    </a:cubicBezTo>
                    <a:cubicBezTo>
                      <a:pt x="3317" y="6838"/>
                      <a:pt x="3317" y="6838"/>
                      <a:pt x="3317" y="6838"/>
                    </a:cubicBezTo>
                    <a:cubicBezTo>
                      <a:pt x="3320" y="6814"/>
                      <a:pt x="3323" y="6797"/>
                      <a:pt x="3324" y="6789"/>
                    </a:cubicBezTo>
                    <a:cubicBezTo>
                      <a:pt x="3219" y="6751"/>
                      <a:pt x="3219" y="6751"/>
                      <a:pt x="3219" y="6751"/>
                    </a:cubicBezTo>
                    <a:cubicBezTo>
                      <a:pt x="3210" y="6845"/>
                      <a:pt x="3132" y="7415"/>
                      <a:pt x="3122" y="7482"/>
                    </a:cubicBezTo>
                    <a:cubicBezTo>
                      <a:pt x="3158" y="7485"/>
                      <a:pt x="3194" y="7488"/>
                      <a:pt x="3226" y="7490"/>
                    </a:cubicBezTo>
                    <a:cubicBezTo>
                      <a:pt x="3228" y="7454"/>
                      <a:pt x="3269" y="7163"/>
                      <a:pt x="3298" y="6966"/>
                    </a:cubicBezTo>
                    <a:close/>
                    <a:moveTo>
                      <a:pt x="3235" y="7491"/>
                    </a:moveTo>
                    <a:cubicBezTo>
                      <a:pt x="3235" y="7491"/>
                      <a:pt x="3235" y="7491"/>
                      <a:pt x="3235" y="7491"/>
                    </a:cubicBezTo>
                    <a:cubicBezTo>
                      <a:pt x="3237" y="7488"/>
                      <a:pt x="3237" y="7488"/>
                      <a:pt x="3237" y="7488"/>
                    </a:cubicBezTo>
                    <a:lnTo>
                      <a:pt x="3235" y="7491"/>
                    </a:lnTo>
                    <a:close/>
                    <a:moveTo>
                      <a:pt x="2791" y="6858"/>
                    </a:moveTo>
                    <a:cubicBezTo>
                      <a:pt x="2798" y="6847"/>
                      <a:pt x="2798" y="6847"/>
                      <a:pt x="2798" y="6847"/>
                    </a:cubicBezTo>
                    <a:cubicBezTo>
                      <a:pt x="2942" y="6935"/>
                      <a:pt x="2942" y="6935"/>
                      <a:pt x="2942" y="6935"/>
                    </a:cubicBezTo>
                    <a:cubicBezTo>
                      <a:pt x="2878" y="7463"/>
                      <a:pt x="2878" y="7463"/>
                      <a:pt x="2878" y="7463"/>
                    </a:cubicBezTo>
                    <a:cubicBezTo>
                      <a:pt x="2903" y="7464"/>
                      <a:pt x="2942" y="7468"/>
                      <a:pt x="2989" y="7471"/>
                    </a:cubicBezTo>
                    <a:cubicBezTo>
                      <a:pt x="3069" y="6878"/>
                      <a:pt x="3069" y="6878"/>
                      <a:pt x="3069" y="6878"/>
                    </a:cubicBezTo>
                    <a:cubicBezTo>
                      <a:pt x="2963" y="6864"/>
                      <a:pt x="2963" y="6864"/>
                      <a:pt x="2963" y="6864"/>
                    </a:cubicBezTo>
                    <a:cubicBezTo>
                      <a:pt x="2963" y="6857"/>
                      <a:pt x="2963" y="6857"/>
                      <a:pt x="2963" y="6857"/>
                    </a:cubicBezTo>
                    <a:cubicBezTo>
                      <a:pt x="2974" y="6778"/>
                      <a:pt x="2974" y="6778"/>
                      <a:pt x="2974" y="6778"/>
                    </a:cubicBezTo>
                    <a:cubicBezTo>
                      <a:pt x="3021" y="6785"/>
                      <a:pt x="3021" y="6785"/>
                      <a:pt x="3021" y="6785"/>
                    </a:cubicBezTo>
                    <a:cubicBezTo>
                      <a:pt x="3027" y="6742"/>
                      <a:pt x="3027" y="6742"/>
                      <a:pt x="3027" y="6742"/>
                    </a:cubicBezTo>
                    <a:cubicBezTo>
                      <a:pt x="3087" y="6750"/>
                      <a:pt x="3087" y="6750"/>
                      <a:pt x="3087" y="6750"/>
                    </a:cubicBezTo>
                    <a:cubicBezTo>
                      <a:pt x="3093" y="6705"/>
                      <a:pt x="3093" y="6705"/>
                      <a:pt x="3093" y="6705"/>
                    </a:cubicBezTo>
                    <a:cubicBezTo>
                      <a:pt x="2982" y="6665"/>
                      <a:pt x="2982" y="6665"/>
                      <a:pt x="2982" y="6665"/>
                    </a:cubicBezTo>
                    <a:cubicBezTo>
                      <a:pt x="2604" y="7037"/>
                      <a:pt x="2604" y="7037"/>
                      <a:pt x="2604" y="7037"/>
                    </a:cubicBezTo>
                    <a:cubicBezTo>
                      <a:pt x="2736" y="7118"/>
                      <a:pt x="2736" y="7118"/>
                      <a:pt x="2736" y="7118"/>
                    </a:cubicBezTo>
                    <a:cubicBezTo>
                      <a:pt x="2654" y="7254"/>
                      <a:pt x="2654" y="7254"/>
                      <a:pt x="2654" y="7254"/>
                    </a:cubicBezTo>
                    <a:cubicBezTo>
                      <a:pt x="2648" y="7250"/>
                      <a:pt x="2648" y="7250"/>
                      <a:pt x="2648" y="7250"/>
                    </a:cubicBezTo>
                    <a:cubicBezTo>
                      <a:pt x="2488" y="7152"/>
                      <a:pt x="2488" y="7152"/>
                      <a:pt x="2488" y="7152"/>
                    </a:cubicBezTo>
                    <a:cubicBezTo>
                      <a:pt x="2422" y="7216"/>
                      <a:pt x="2422" y="7216"/>
                      <a:pt x="2422" y="7216"/>
                    </a:cubicBezTo>
                    <a:cubicBezTo>
                      <a:pt x="2704" y="7408"/>
                      <a:pt x="2704" y="7408"/>
                      <a:pt x="2704" y="7408"/>
                    </a:cubicBezTo>
                    <a:cubicBezTo>
                      <a:pt x="2854" y="7461"/>
                      <a:pt x="2854" y="7461"/>
                      <a:pt x="2854" y="7461"/>
                    </a:cubicBezTo>
                    <a:cubicBezTo>
                      <a:pt x="2855" y="7461"/>
                      <a:pt x="2859" y="7461"/>
                      <a:pt x="2865" y="7461"/>
                    </a:cubicBezTo>
                    <a:cubicBezTo>
                      <a:pt x="2927" y="6942"/>
                      <a:pt x="2927" y="6942"/>
                      <a:pt x="2927" y="6942"/>
                    </a:cubicBezTo>
                    <a:lnTo>
                      <a:pt x="2791" y="6858"/>
                    </a:lnTo>
                    <a:close/>
                    <a:moveTo>
                      <a:pt x="1966" y="6938"/>
                    </a:moveTo>
                    <a:cubicBezTo>
                      <a:pt x="2033" y="6872"/>
                      <a:pt x="2033" y="6872"/>
                      <a:pt x="2033" y="6872"/>
                    </a:cubicBezTo>
                    <a:cubicBezTo>
                      <a:pt x="1814" y="6738"/>
                      <a:pt x="1814" y="6738"/>
                      <a:pt x="1814" y="6738"/>
                    </a:cubicBezTo>
                    <a:cubicBezTo>
                      <a:pt x="1814" y="6739"/>
                      <a:pt x="1813" y="6739"/>
                      <a:pt x="1813" y="6740"/>
                    </a:cubicBezTo>
                    <a:cubicBezTo>
                      <a:pt x="1791" y="6760"/>
                      <a:pt x="1774" y="6778"/>
                      <a:pt x="1762" y="6790"/>
                    </a:cubicBezTo>
                    <a:cubicBezTo>
                      <a:pt x="1755" y="6797"/>
                      <a:pt x="1751" y="6802"/>
                      <a:pt x="1747" y="6805"/>
                    </a:cubicBezTo>
                    <a:cubicBezTo>
                      <a:pt x="1747" y="6806"/>
                      <a:pt x="1747" y="6806"/>
                      <a:pt x="1747" y="6806"/>
                    </a:cubicBezTo>
                    <a:cubicBezTo>
                      <a:pt x="1968" y="6940"/>
                      <a:pt x="1968" y="6940"/>
                      <a:pt x="1968" y="6940"/>
                    </a:cubicBezTo>
                    <a:lnTo>
                      <a:pt x="1966" y="6938"/>
                    </a:lnTo>
                    <a:close/>
                    <a:moveTo>
                      <a:pt x="2122" y="3312"/>
                    </a:moveTo>
                    <a:cubicBezTo>
                      <a:pt x="2124" y="3309"/>
                      <a:pt x="2124" y="3309"/>
                      <a:pt x="2124" y="3309"/>
                    </a:cubicBezTo>
                    <a:cubicBezTo>
                      <a:pt x="2122" y="3312"/>
                      <a:pt x="2122" y="3312"/>
                      <a:pt x="2122" y="3312"/>
                    </a:cubicBezTo>
                    <a:cubicBezTo>
                      <a:pt x="2118" y="3311"/>
                      <a:pt x="2114" y="3310"/>
                      <a:pt x="2108" y="3310"/>
                    </a:cubicBezTo>
                    <a:cubicBezTo>
                      <a:pt x="2079" y="3310"/>
                      <a:pt x="2028" y="3334"/>
                      <a:pt x="1978" y="3390"/>
                    </a:cubicBezTo>
                    <a:cubicBezTo>
                      <a:pt x="1917" y="3459"/>
                      <a:pt x="1857" y="3501"/>
                      <a:pt x="1806" y="3521"/>
                    </a:cubicBezTo>
                    <a:cubicBezTo>
                      <a:pt x="1781" y="3531"/>
                      <a:pt x="1745" y="3551"/>
                      <a:pt x="1715" y="3569"/>
                    </a:cubicBezTo>
                    <a:cubicBezTo>
                      <a:pt x="1700" y="3577"/>
                      <a:pt x="1687" y="3586"/>
                      <a:pt x="1677" y="3593"/>
                    </a:cubicBezTo>
                    <a:cubicBezTo>
                      <a:pt x="1672" y="3597"/>
                      <a:pt x="1669" y="3600"/>
                      <a:pt x="1666" y="3602"/>
                    </a:cubicBezTo>
                    <a:cubicBezTo>
                      <a:pt x="1665" y="3603"/>
                      <a:pt x="1665" y="3604"/>
                      <a:pt x="1664" y="3604"/>
                    </a:cubicBezTo>
                    <a:cubicBezTo>
                      <a:pt x="1666" y="3605"/>
                      <a:pt x="1668" y="3605"/>
                      <a:pt x="1672" y="3605"/>
                    </a:cubicBezTo>
                    <a:cubicBezTo>
                      <a:pt x="1690" y="3605"/>
                      <a:pt x="1726" y="3596"/>
                      <a:pt x="1754" y="3578"/>
                    </a:cubicBezTo>
                    <a:cubicBezTo>
                      <a:pt x="1796" y="3552"/>
                      <a:pt x="1854" y="3529"/>
                      <a:pt x="1891" y="3515"/>
                    </a:cubicBezTo>
                    <a:cubicBezTo>
                      <a:pt x="1929" y="3501"/>
                      <a:pt x="1959" y="3500"/>
                      <a:pt x="1981" y="3461"/>
                    </a:cubicBezTo>
                    <a:cubicBezTo>
                      <a:pt x="2004" y="3421"/>
                      <a:pt x="2020" y="3378"/>
                      <a:pt x="2072" y="3378"/>
                    </a:cubicBezTo>
                    <a:cubicBezTo>
                      <a:pt x="2103" y="3378"/>
                      <a:pt x="2130" y="3385"/>
                      <a:pt x="2147" y="3385"/>
                    </a:cubicBezTo>
                    <a:cubicBezTo>
                      <a:pt x="2158" y="3385"/>
                      <a:pt x="2163" y="3383"/>
                      <a:pt x="2165" y="3377"/>
                    </a:cubicBezTo>
                    <a:cubicBezTo>
                      <a:pt x="2166" y="3374"/>
                      <a:pt x="2167" y="3370"/>
                      <a:pt x="2167" y="3367"/>
                    </a:cubicBezTo>
                    <a:cubicBezTo>
                      <a:pt x="2167" y="3348"/>
                      <a:pt x="2151" y="3324"/>
                      <a:pt x="2122" y="3312"/>
                    </a:cubicBezTo>
                    <a:close/>
                    <a:moveTo>
                      <a:pt x="2076" y="3308"/>
                    </a:moveTo>
                    <a:cubicBezTo>
                      <a:pt x="2016" y="3323"/>
                      <a:pt x="1963" y="3372"/>
                      <a:pt x="1937" y="3399"/>
                    </a:cubicBezTo>
                    <a:cubicBezTo>
                      <a:pt x="1893" y="3444"/>
                      <a:pt x="1812" y="3506"/>
                      <a:pt x="1761" y="3530"/>
                    </a:cubicBezTo>
                    <a:cubicBezTo>
                      <a:pt x="1733" y="3542"/>
                      <a:pt x="1677" y="3549"/>
                      <a:pt x="1620" y="3558"/>
                    </a:cubicBezTo>
                    <a:cubicBezTo>
                      <a:pt x="1562" y="3567"/>
                      <a:pt x="1504" y="3578"/>
                      <a:pt x="1480" y="3592"/>
                    </a:cubicBezTo>
                    <a:cubicBezTo>
                      <a:pt x="1464" y="3601"/>
                      <a:pt x="1436" y="3614"/>
                      <a:pt x="1403" y="3629"/>
                    </a:cubicBezTo>
                    <a:cubicBezTo>
                      <a:pt x="1441" y="3671"/>
                      <a:pt x="1476" y="3710"/>
                      <a:pt x="1494" y="3728"/>
                    </a:cubicBezTo>
                    <a:cubicBezTo>
                      <a:pt x="1507" y="3722"/>
                      <a:pt x="1521" y="3716"/>
                      <a:pt x="1533" y="3710"/>
                    </a:cubicBezTo>
                    <a:cubicBezTo>
                      <a:pt x="1617" y="3673"/>
                      <a:pt x="1851" y="3579"/>
                      <a:pt x="1960" y="3554"/>
                    </a:cubicBezTo>
                    <a:cubicBezTo>
                      <a:pt x="2020" y="3541"/>
                      <a:pt x="2094" y="3535"/>
                      <a:pt x="2187" y="3534"/>
                    </a:cubicBezTo>
                    <a:cubicBezTo>
                      <a:pt x="2186" y="3533"/>
                      <a:pt x="2186" y="3533"/>
                      <a:pt x="2186" y="3533"/>
                    </a:cubicBezTo>
                    <a:cubicBezTo>
                      <a:pt x="2213" y="3399"/>
                      <a:pt x="2213" y="3399"/>
                      <a:pt x="2213" y="3399"/>
                    </a:cubicBezTo>
                    <a:cubicBezTo>
                      <a:pt x="2199" y="3380"/>
                      <a:pt x="2189" y="3356"/>
                      <a:pt x="2184" y="3324"/>
                    </a:cubicBezTo>
                    <a:cubicBezTo>
                      <a:pt x="2163" y="3312"/>
                      <a:pt x="2142" y="3306"/>
                      <a:pt x="2122" y="3304"/>
                    </a:cubicBezTo>
                    <a:cubicBezTo>
                      <a:pt x="2123" y="3305"/>
                      <a:pt x="2125" y="3304"/>
                      <a:pt x="2125" y="3305"/>
                    </a:cubicBezTo>
                    <a:cubicBezTo>
                      <a:pt x="2156" y="3318"/>
                      <a:pt x="2175" y="3344"/>
                      <a:pt x="2175" y="3367"/>
                    </a:cubicBezTo>
                    <a:cubicBezTo>
                      <a:pt x="2175" y="3371"/>
                      <a:pt x="2174" y="3376"/>
                      <a:pt x="2173" y="3380"/>
                    </a:cubicBezTo>
                    <a:cubicBezTo>
                      <a:pt x="2169" y="3390"/>
                      <a:pt x="2158" y="3393"/>
                      <a:pt x="2147" y="3393"/>
                    </a:cubicBezTo>
                    <a:cubicBezTo>
                      <a:pt x="2128" y="3393"/>
                      <a:pt x="2102" y="3386"/>
                      <a:pt x="2072" y="3386"/>
                    </a:cubicBezTo>
                    <a:cubicBezTo>
                      <a:pt x="2026" y="3386"/>
                      <a:pt x="2012" y="3423"/>
                      <a:pt x="1988" y="3465"/>
                    </a:cubicBezTo>
                    <a:cubicBezTo>
                      <a:pt x="1964" y="3508"/>
                      <a:pt x="1930" y="3509"/>
                      <a:pt x="1894" y="3523"/>
                    </a:cubicBezTo>
                    <a:cubicBezTo>
                      <a:pt x="1858" y="3536"/>
                      <a:pt x="1799" y="3560"/>
                      <a:pt x="1758" y="3585"/>
                    </a:cubicBezTo>
                    <a:cubicBezTo>
                      <a:pt x="1728" y="3604"/>
                      <a:pt x="1692" y="3613"/>
                      <a:pt x="1672" y="3613"/>
                    </a:cubicBezTo>
                    <a:cubicBezTo>
                      <a:pt x="1664" y="3613"/>
                      <a:pt x="1658" y="3613"/>
                      <a:pt x="1655" y="3606"/>
                    </a:cubicBezTo>
                    <a:cubicBezTo>
                      <a:pt x="1655" y="3605"/>
                      <a:pt x="1655" y="3605"/>
                      <a:pt x="1655" y="3605"/>
                    </a:cubicBezTo>
                    <a:cubicBezTo>
                      <a:pt x="1655" y="3605"/>
                      <a:pt x="1655" y="3605"/>
                      <a:pt x="1655" y="3605"/>
                    </a:cubicBezTo>
                    <a:cubicBezTo>
                      <a:pt x="1655" y="3604"/>
                      <a:pt x="1655" y="3604"/>
                      <a:pt x="1655" y="3604"/>
                    </a:cubicBezTo>
                    <a:cubicBezTo>
                      <a:pt x="1655" y="3604"/>
                      <a:pt x="1655" y="3604"/>
                      <a:pt x="1655" y="3604"/>
                    </a:cubicBezTo>
                    <a:cubicBezTo>
                      <a:pt x="1657" y="3597"/>
                      <a:pt x="1663" y="3594"/>
                      <a:pt x="1672" y="3586"/>
                    </a:cubicBezTo>
                    <a:cubicBezTo>
                      <a:pt x="1702" y="3565"/>
                      <a:pt x="1764" y="3529"/>
                      <a:pt x="1802" y="3514"/>
                    </a:cubicBezTo>
                    <a:cubicBezTo>
                      <a:pt x="1852" y="3494"/>
                      <a:pt x="1912" y="3453"/>
                      <a:pt x="1972" y="3385"/>
                    </a:cubicBezTo>
                    <a:cubicBezTo>
                      <a:pt x="2008" y="3343"/>
                      <a:pt x="2046" y="3319"/>
                      <a:pt x="2076" y="3308"/>
                    </a:cubicBezTo>
                    <a:close/>
                    <a:moveTo>
                      <a:pt x="2561" y="3384"/>
                    </a:moveTo>
                    <a:cubicBezTo>
                      <a:pt x="2495" y="3402"/>
                      <a:pt x="2495" y="3402"/>
                      <a:pt x="2495" y="3402"/>
                    </a:cubicBezTo>
                    <a:cubicBezTo>
                      <a:pt x="2266" y="3361"/>
                      <a:pt x="2266" y="3361"/>
                      <a:pt x="2266" y="3361"/>
                    </a:cubicBezTo>
                    <a:cubicBezTo>
                      <a:pt x="2257" y="3408"/>
                      <a:pt x="2257" y="3408"/>
                      <a:pt x="2257" y="3408"/>
                    </a:cubicBezTo>
                    <a:cubicBezTo>
                      <a:pt x="2286" y="3429"/>
                      <a:pt x="2321" y="3431"/>
                      <a:pt x="2339" y="3433"/>
                    </a:cubicBezTo>
                    <a:cubicBezTo>
                      <a:pt x="2371" y="3437"/>
                      <a:pt x="2489" y="3443"/>
                      <a:pt x="2542" y="3471"/>
                    </a:cubicBezTo>
                    <a:cubicBezTo>
                      <a:pt x="2584" y="3494"/>
                      <a:pt x="2591" y="3535"/>
                      <a:pt x="2593" y="3553"/>
                    </a:cubicBezTo>
                    <a:cubicBezTo>
                      <a:pt x="2736" y="3569"/>
                      <a:pt x="2840" y="3592"/>
                      <a:pt x="2871" y="3600"/>
                    </a:cubicBezTo>
                    <a:cubicBezTo>
                      <a:pt x="2812" y="3319"/>
                      <a:pt x="2812" y="3319"/>
                      <a:pt x="2812" y="3319"/>
                    </a:cubicBezTo>
                    <a:cubicBezTo>
                      <a:pt x="2622" y="3368"/>
                      <a:pt x="2622" y="3368"/>
                      <a:pt x="2622" y="3368"/>
                    </a:cubicBezTo>
                    <a:cubicBezTo>
                      <a:pt x="2783" y="3368"/>
                      <a:pt x="2783" y="3368"/>
                      <a:pt x="2783" y="3368"/>
                    </a:cubicBezTo>
                    <a:cubicBezTo>
                      <a:pt x="2785" y="3374"/>
                      <a:pt x="2785" y="3374"/>
                      <a:pt x="2785" y="3374"/>
                    </a:cubicBezTo>
                    <a:cubicBezTo>
                      <a:pt x="2828" y="3553"/>
                      <a:pt x="2828" y="3553"/>
                      <a:pt x="2828" y="3553"/>
                    </a:cubicBezTo>
                    <a:cubicBezTo>
                      <a:pt x="2750" y="3541"/>
                      <a:pt x="2750" y="3541"/>
                      <a:pt x="2750" y="3541"/>
                    </a:cubicBezTo>
                    <a:cubicBezTo>
                      <a:pt x="2717" y="3479"/>
                      <a:pt x="2717" y="3479"/>
                      <a:pt x="2717" y="3479"/>
                    </a:cubicBezTo>
                    <a:lnTo>
                      <a:pt x="2561" y="3384"/>
                    </a:lnTo>
                    <a:close/>
                    <a:moveTo>
                      <a:pt x="2728" y="3468"/>
                    </a:moveTo>
                    <a:cubicBezTo>
                      <a:pt x="2759" y="3528"/>
                      <a:pt x="2759" y="3528"/>
                      <a:pt x="2759" y="3528"/>
                    </a:cubicBezTo>
                    <a:cubicBezTo>
                      <a:pt x="2809" y="3535"/>
                      <a:pt x="2809" y="3535"/>
                      <a:pt x="2809" y="3535"/>
                    </a:cubicBezTo>
                    <a:cubicBezTo>
                      <a:pt x="2772" y="3383"/>
                      <a:pt x="2772" y="3383"/>
                      <a:pt x="2772" y="3383"/>
                    </a:cubicBezTo>
                    <a:cubicBezTo>
                      <a:pt x="2588" y="3383"/>
                      <a:pt x="2588" y="3383"/>
                      <a:pt x="2588" y="3383"/>
                    </a:cubicBezTo>
                    <a:lnTo>
                      <a:pt x="2728" y="3468"/>
                    </a:lnTo>
                    <a:close/>
                    <a:moveTo>
                      <a:pt x="3557" y="2938"/>
                    </a:moveTo>
                    <a:cubicBezTo>
                      <a:pt x="3559" y="2935"/>
                      <a:pt x="3559" y="2935"/>
                      <a:pt x="3559" y="2935"/>
                    </a:cubicBezTo>
                    <a:cubicBezTo>
                      <a:pt x="3559" y="2935"/>
                      <a:pt x="3559" y="2935"/>
                      <a:pt x="3559" y="2935"/>
                    </a:cubicBezTo>
                    <a:cubicBezTo>
                      <a:pt x="3555" y="2939"/>
                      <a:pt x="3555" y="2939"/>
                      <a:pt x="3555" y="2939"/>
                    </a:cubicBezTo>
                    <a:cubicBezTo>
                      <a:pt x="3555" y="2942"/>
                      <a:pt x="3555" y="2942"/>
                      <a:pt x="3555" y="2942"/>
                    </a:cubicBezTo>
                    <a:cubicBezTo>
                      <a:pt x="3559" y="2936"/>
                      <a:pt x="3559" y="2936"/>
                      <a:pt x="3559" y="2936"/>
                    </a:cubicBezTo>
                    <a:lnTo>
                      <a:pt x="3557" y="2938"/>
                    </a:lnTo>
                    <a:close/>
                    <a:moveTo>
                      <a:pt x="3360" y="3039"/>
                    </a:moveTo>
                    <a:cubicBezTo>
                      <a:pt x="3310" y="3060"/>
                      <a:pt x="3260" y="3080"/>
                      <a:pt x="3222" y="3095"/>
                    </a:cubicBezTo>
                    <a:cubicBezTo>
                      <a:pt x="3203" y="3103"/>
                      <a:pt x="3187" y="3109"/>
                      <a:pt x="3175" y="3113"/>
                    </a:cubicBezTo>
                    <a:cubicBezTo>
                      <a:pt x="3169" y="3116"/>
                      <a:pt x="3165" y="3117"/>
                      <a:pt x="3161" y="3118"/>
                    </a:cubicBezTo>
                    <a:cubicBezTo>
                      <a:pt x="3158" y="3120"/>
                      <a:pt x="3158" y="3120"/>
                      <a:pt x="3155" y="3120"/>
                    </a:cubicBezTo>
                    <a:cubicBezTo>
                      <a:pt x="3149" y="3123"/>
                      <a:pt x="3063" y="3172"/>
                      <a:pt x="2981" y="3219"/>
                    </a:cubicBezTo>
                    <a:cubicBezTo>
                      <a:pt x="2915" y="3258"/>
                      <a:pt x="2851" y="3295"/>
                      <a:pt x="2827" y="3309"/>
                    </a:cubicBezTo>
                    <a:cubicBezTo>
                      <a:pt x="2887" y="3595"/>
                      <a:pt x="2887" y="3595"/>
                      <a:pt x="2887" y="3595"/>
                    </a:cubicBezTo>
                    <a:cubicBezTo>
                      <a:pt x="2943" y="3547"/>
                      <a:pt x="3000" y="3511"/>
                      <a:pt x="3057" y="3486"/>
                    </a:cubicBezTo>
                    <a:cubicBezTo>
                      <a:pt x="3090" y="3471"/>
                      <a:pt x="3119" y="3460"/>
                      <a:pt x="3139" y="3453"/>
                    </a:cubicBezTo>
                    <a:cubicBezTo>
                      <a:pt x="3149" y="3449"/>
                      <a:pt x="3158" y="3446"/>
                      <a:pt x="3162" y="3444"/>
                    </a:cubicBezTo>
                    <a:cubicBezTo>
                      <a:pt x="3167" y="3439"/>
                      <a:pt x="3168" y="3441"/>
                      <a:pt x="3169" y="3439"/>
                    </a:cubicBezTo>
                    <a:cubicBezTo>
                      <a:pt x="3175" y="3436"/>
                      <a:pt x="3181" y="3434"/>
                      <a:pt x="3191" y="3431"/>
                    </a:cubicBezTo>
                    <a:cubicBezTo>
                      <a:pt x="3232" y="3416"/>
                      <a:pt x="3334" y="3381"/>
                      <a:pt x="3473" y="3336"/>
                    </a:cubicBezTo>
                    <a:cubicBezTo>
                      <a:pt x="3277" y="3077"/>
                      <a:pt x="3277" y="3077"/>
                      <a:pt x="3277" y="3077"/>
                    </a:cubicBezTo>
                    <a:cubicBezTo>
                      <a:pt x="3288" y="3069"/>
                      <a:pt x="3288" y="3069"/>
                      <a:pt x="3288" y="3069"/>
                    </a:cubicBezTo>
                    <a:cubicBezTo>
                      <a:pt x="3487" y="3332"/>
                      <a:pt x="3487" y="3332"/>
                      <a:pt x="3487" y="3332"/>
                    </a:cubicBezTo>
                    <a:cubicBezTo>
                      <a:pt x="3641" y="3282"/>
                      <a:pt x="3838" y="3221"/>
                      <a:pt x="4047" y="3159"/>
                    </a:cubicBezTo>
                    <a:cubicBezTo>
                      <a:pt x="3808" y="3004"/>
                      <a:pt x="3808" y="3004"/>
                      <a:pt x="3808" y="3004"/>
                    </a:cubicBezTo>
                    <a:cubicBezTo>
                      <a:pt x="3708" y="2722"/>
                      <a:pt x="3708" y="2722"/>
                      <a:pt x="3708" y="2722"/>
                    </a:cubicBezTo>
                    <a:cubicBezTo>
                      <a:pt x="3707" y="2722"/>
                      <a:pt x="3706" y="2723"/>
                      <a:pt x="3706" y="2723"/>
                    </a:cubicBezTo>
                    <a:cubicBezTo>
                      <a:pt x="3562" y="2957"/>
                      <a:pt x="3562" y="2957"/>
                      <a:pt x="3562" y="2957"/>
                    </a:cubicBezTo>
                    <a:cubicBezTo>
                      <a:pt x="3560" y="2958"/>
                      <a:pt x="3560" y="2958"/>
                      <a:pt x="3560" y="2958"/>
                    </a:cubicBezTo>
                    <a:cubicBezTo>
                      <a:pt x="3560" y="2958"/>
                      <a:pt x="3460" y="2999"/>
                      <a:pt x="3360" y="3039"/>
                    </a:cubicBezTo>
                    <a:close/>
                    <a:moveTo>
                      <a:pt x="5789" y="2099"/>
                    </a:moveTo>
                    <a:cubicBezTo>
                      <a:pt x="5964" y="2129"/>
                      <a:pt x="5964" y="2129"/>
                      <a:pt x="5964" y="2129"/>
                    </a:cubicBezTo>
                    <a:cubicBezTo>
                      <a:pt x="6007" y="2011"/>
                      <a:pt x="6007" y="2011"/>
                      <a:pt x="6007" y="2011"/>
                    </a:cubicBezTo>
                    <a:cubicBezTo>
                      <a:pt x="5824" y="1977"/>
                      <a:pt x="5824" y="1977"/>
                      <a:pt x="5824" y="1977"/>
                    </a:cubicBezTo>
                    <a:lnTo>
                      <a:pt x="5789" y="2099"/>
                    </a:lnTo>
                    <a:close/>
                    <a:moveTo>
                      <a:pt x="5793" y="2036"/>
                    </a:moveTo>
                    <a:cubicBezTo>
                      <a:pt x="5793" y="2036"/>
                      <a:pt x="5793" y="2036"/>
                      <a:pt x="5793" y="2036"/>
                    </a:cubicBezTo>
                    <a:cubicBezTo>
                      <a:pt x="5792" y="2033"/>
                      <a:pt x="5792" y="2033"/>
                      <a:pt x="5792" y="2033"/>
                    </a:cubicBezTo>
                    <a:lnTo>
                      <a:pt x="5793" y="2036"/>
                    </a:lnTo>
                    <a:close/>
                    <a:moveTo>
                      <a:pt x="5837" y="1526"/>
                    </a:moveTo>
                    <a:cubicBezTo>
                      <a:pt x="5847" y="1487"/>
                      <a:pt x="5857" y="1447"/>
                      <a:pt x="5867" y="1408"/>
                    </a:cubicBezTo>
                    <a:cubicBezTo>
                      <a:pt x="5847" y="1404"/>
                      <a:pt x="5754" y="1388"/>
                      <a:pt x="5659" y="1371"/>
                    </a:cubicBezTo>
                    <a:cubicBezTo>
                      <a:pt x="5569" y="1355"/>
                      <a:pt x="5474" y="1339"/>
                      <a:pt x="5441" y="1335"/>
                    </a:cubicBezTo>
                    <a:cubicBezTo>
                      <a:pt x="5448" y="1377"/>
                      <a:pt x="5454" y="1417"/>
                      <a:pt x="5458" y="1447"/>
                    </a:cubicBezTo>
                    <a:cubicBezTo>
                      <a:pt x="5459" y="1454"/>
                      <a:pt x="5459" y="1461"/>
                      <a:pt x="5460" y="1468"/>
                    </a:cubicBezTo>
                    <a:lnTo>
                      <a:pt x="5837" y="1526"/>
                    </a:lnTo>
                    <a:close/>
                    <a:moveTo>
                      <a:pt x="5462" y="1483"/>
                    </a:moveTo>
                    <a:cubicBezTo>
                      <a:pt x="5465" y="1511"/>
                      <a:pt x="5467" y="1538"/>
                      <a:pt x="5467" y="1565"/>
                    </a:cubicBezTo>
                    <a:cubicBezTo>
                      <a:pt x="5494" y="1571"/>
                      <a:pt x="5789" y="1625"/>
                      <a:pt x="5811" y="1629"/>
                    </a:cubicBezTo>
                    <a:cubicBezTo>
                      <a:pt x="5818" y="1601"/>
                      <a:pt x="5826" y="1571"/>
                      <a:pt x="5834" y="1540"/>
                    </a:cubicBezTo>
                    <a:lnTo>
                      <a:pt x="5462" y="1483"/>
                    </a:lnTo>
                    <a:close/>
                    <a:moveTo>
                      <a:pt x="5448" y="1690"/>
                    </a:moveTo>
                    <a:cubicBezTo>
                      <a:pt x="5521" y="1702"/>
                      <a:pt x="5780" y="1745"/>
                      <a:pt x="5781" y="1745"/>
                    </a:cubicBezTo>
                    <a:cubicBezTo>
                      <a:pt x="5780" y="1750"/>
                      <a:pt x="5780" y="1750"/>
                      <a:pt x="5780" y="1750"/>
                    </a:cubicBezTo>
                    <a:cubicBezTo>
                      <a:pt x="5784" y="1734"/>
                      <a:pt x="5789" y="1716"/>
                      <a:pt x="5794" y="1696"/>
                    </a:cubicBezTo>
                    <a:cubicBezTo>
                      <a:pt x="5798" y="1679"/>
                      <a:pt x="5803" y="1661"/>
                      <a:pt x="5808" y="1642"/>
                    </a:cubicBezTo>
                    <a:cubicBezTo>
                      <a:pt x="5793" y="1640"/>
                      <a:pt x="5715" y="1626"/>
                      <a:pt x="5636" y="1611"/>
                    </a:cubicBezTo>
                    <a:cubicBezTo>
                      <a:pt x="5593" y="1603"/>
                      <a:pt x="5549" y="1595"/>
                      <a:pt x="5517" y="1589"/>
                    </a:cubicBezTo>
                    <a:cubicBezTo>
                      <a:pt x="5500" y="1586"/>
                      <a:pt x="5487" y="1583"/>
                      <a:pt x="5477" y="1581"/>
                    </a:cubicBezTo>
                    <a:cubicBezTo>
                      <a:pt x="5473" y="1580"/>
                      <a:pt x="5470" y="1580"/>
                      <a:pt x="5467" y="1579"/>
                    </a:cubicBezTo>
                    <a:cubicBezTo>
                      <a:pt x="5467" y="1619"/>
                      <a:pt x="5462" y="1657"/>
                      <a:pt x="5448" y="1690"/>
                    </a:cubicBezTo>
                    <a:close/>
                    <a:moveTo>
                      <a:pt x="5778" y="1809"/>
                    </a:moveTo>
                    <a:cubicBezTo>
                      <a:pt x="5777" y="1810"/>
                      <a:pt x="5777" y="1811"/>
                      <a:pt x="5776" y="1812"/>
                    </a:cubicBezTo>
                    <a:cubicBezTo>
                      <a:pt x="5776" y="1813"/>
                      <a:pt x="5776" y="1813"/>
                      <a:pt x="5776" y="1813"/>
                    </a:cubicBezTo>
                    <a:cubicBezTo>
                      <a:pt x="5776" y="1815"/>
                      <a:pt x="5777" y="1817"/>
                      <a:pt x="5777" y="1819"/>
                    </a:cubicBezTo>
                    <a:cubicBezTo>
                      <a:pt x="5779" y="1809"/>
                      <a:pt x="5779" y="1809"/>
                      <a:pt x="5779" y="1809"/>
                    </a:cubicBezTo>
                    <a:cubicBezTo>
                      <a:pt x="6057" y="1871"/>
                      <a:pt x="6057" y="1871"/>
                      <a:pt x="6057" y="1871"/>
                    </a:cubicBezTo>
                    <a:cubicBezTo>
                      <a:pt x="6099" y="1753"/>
                      <a:pt x="6099" y="1753"/>
                      <a:pt x="6099" y="1753"/>
                    </a:cubicBezTo>
                    <a:cubicBezTo>
                      <a:pt x="5809" y="1701"/>
                      <a:pt x="5809" y="1701"/>
                      <a:pt x="5809" y="1701"/>
                    </a:cubicBezTo>
                    <a:cubicBezTo>
                      <a:pt x="5812" y="1687"/>
                      <a:pt x="5812" y="1687"/>
                      <a:pt x="5812" y="1687"/>
                    </a:cubicBezTo>
                    <a:cubicBezTo>
                      <a:pt x="6104" y="1740"/>
                      <a:pt x="6104" y="1740"/>
                      <a:pt x="6104" y="1740"/>
                    </a:cubicBezTo>
                    <a:cubicBezTo>
                      <a:pt x="6140" y="1639"/>
                      <a:pt x="6140" y="1639"/>
                      <a:pt x="6140" y="1639"/>
                    </a:cubicBezTo>
                    <a:cubicBezTo>
                      <a:pt x="5834" y="1595"/>
                      <a:pt x="5834" y="1595"/>
                      <a:pt x="5834" y="1595"/>
                    </a:cubicBezTo>
                    <a:cubicBezTo>
                      <a:pt x="5833" y="1598"/>
                      <a:pt x="5833" y="1602"/>
                      <a:pt x="5832" y="1605"/>
                    </a:cubicBezTo>
                    <a:cubicBezTo>
                      <a:pt x="5817" y="1663"/>
                      <a:pt x="5804" y="1714"/>
                      <a:pt x="5794" y="1752"/>
                    </a:cubicBezTo>
                    <a:cubicBezTo>
                      <a:pt x="5789" y="1771"/>
                      <a:pt x="5785" y="1786"/>
                      <a:pt x="5782" y="1796"/>
                    </a:cubicBezTo>
                    <a:cubicBezTo>
                      <a:pt x="5780" y="1802"/>
                      <a:pt x="5779" y="1806"/>
                      <a:pt x="5778" y="1809"/>
                    </a:cubicBezTo>
                    <a:close/>
                    <a:moveTo>
                      <a:pt x="5778" y="1823"/>
                    </a:moveTo>
                    <a:cubicBezTo>
                      <a:pt x="5782" y="1838"/>
                      <a:pt x="5791" y="1868"/>
                      <a:pt x="5801" y="1895"/>
                    </a:cubicBezTo>
                    <a:cubicBezTo>
                      <a:pt x="5811" y="1925"/>
                      <a:pt x="5821" y="1954"/>
                      <a:pt x="5824" y="1963"/>
                    </a:cubicBezTo>
                    <a:cubicBezTo>
                      <a:pt x="6011" y="1998"/>
                      <a:pt x="6011" y="1998"/>
                      <a:pt x="6011" y="1998"/>
                    </a:cubicBezTo>
                    <a:cubicBezTo>
                      <a:pt x="6052" y="1884"/>
                      <a:pt x="6052" y="1884"/>
                      <a:pt x="6052" y="1884"/>
                    </a:cubicBezTo>
                    <a:lnTo>
                      <a:pt x="5778" y="1823"/>
                    </a:lnTo>
                    <a:close/>
                    <a:moveTo>
                      <a:pt x="5790" y="2046"/>
                    </a:moveTo>
                    <a:cubicBezTo>
                      <a:pt x="5752" y="2041"/>
                      <a:pt x="5434" y="1980"/>
                      <a:pt x="5315" y="1958"/>
                    </a:cubicBezTo>
                    <a:cubicBezTo>
                      <a:pt x="5318" y="1964"/>
                      <a:pt x="5321" y="1970"/>
                      <a:pt x="5322" y="1977"/>
                    </a:cubicBezTo>
                    <a:cubicBezTo>
                      <a:pt x="5325" y="1990"/>
                      <a:pt x="5350" y="2041"/>
                      <a:pt x="5374" y="2101"/>
                    </a:cubicBezTo>
                    <a:cubicBezTo>
                      <a:pt x="5377" y="2106"/>
                      <a:pt x="5379" y="2112"/>
                      <a:pt x="5381" y="2117"/>
                    </a:cubicBezTo>
                    <a:cubicBezTo>
                      <a:pt x="5755" y="2166"/>
                      <a:pt x="5755" y="2166"/>
                      <a:pt x="5755" y="2166"/>
                    </a:cubicBezTo>
                    <a:lnTo>
                      <a:pt x="5790" y="2046"/>
                    </a:lnTo>
                    <a:close/>
                    <a:moveTo>
                      <a:pt x="5424" y="2268"/>
                    </a:moveTo>
                    <a:cubicBezTo>
                      <a:pt x="5450" y="2272"/>
                      <a:pt x="5504" y="2281"/>
                      <a:pt x="5560" y="2290"/>
                    </a:cubicBezTo>
                    <a:cubicBezTo>
                      <a:pt x="5624" y="2301"/>
                      <a:pt x="5691" y="2311"/>
                      <a:pt x="5713" y="2314"/>
                    </a:cubicBezTo>
                    <a:cubicBezTo>
                      <a:pt x="5751" y="2179"/>
                      <a:pt x="5751" y="2179"/>
                      <a:pt x="5751" y="2179"/>
                    </a:cubicBezTo>
                    <a:cubicBezTo>
                      <a:pt x="5387" y="2132"/>
                      <a:pt x="5387" y="2132"/>
                      <a:pt x="5387" y="2132"/>
                    </a:cubicBezTo>
                    <a:cubicBezTo>
                      <a:pt x="5403" y="2175"/>
                      <a:pt x="5417" y="2222"/>
                      <a:pt x="5424" y="2268"/>
                    </a:cubicBezTo>
                    <a:close/>
                    <a:moveTo>
                      <a:pt x="5415" y="2652"/>
                    </a:moveTo>
                    <a:cubicBezTo>
                      <a:pt x="5675" y="2611"/>
                      <a:pt x="5675" y="2611"/>
                      <a:pt x="5675" y="2611"/>
                    </a:cubicBezTo>
                    <a:cubicBezTo>
                      <a:pt x="5672" y="2463"/>
                      <a:pt x="5672" y="2463"/>
                      <a:pt x="5672" y="2463"/>
                    </a:cubicBezTo>
                    <a:cubicBezTo>
                      <a:pt x="5428" y="2442"/>
                      <a:pt x="5428" y="2442"/>
                      <a:pt x="5428" y="2442"/>
                    </a:cubicBezTo>
                    <a:cubicBezTo>
                      <a:pt x="5425" y="2507"/>
                      <a:pt x="5420" y="2582"/>
                      <a:pt x="5415" y="2652"/>
                    </a:cubicBezTo>
                    <a:close/>
                    <a:moveTo>
                      <a:pt x="5279" y="1988"/>
                    </a:moveTo>
                    <a:cubicBezTo>
                      <a:pt x="5276" y="1975"/>
                      <a:pt x="5261" y="1951"/>
                      <a:pt x="5247" y="1933"/>
                    </a:cubicBezTo>
                    <a:cubicBezTo>
                      <a:pt x="5242" y="1926"/>
                      <a:pt x="5237" y="1920"/>
                      <a:pt x="5233" y="1915"/>
                    </a:cubicBezTo>
                    <a:cubicBezTo>
                      <a:pt x="5163" y="1964"/>
                      <a:pt x="5076" y="2008"/>
                      <a:pt x="4968" y="2027"/>
                    </a:cubicBezTo>
                    <a:cubicBezTo>
                      <a:pt x="5124" y="2483"/>
                      <a:pt x="5124" y="2483"/>
                      <a:pt x="5124" y="2483"/>
                    </a:cubicBezTo>
                    <a:cubicBezTo>
                      <a:pt x="5251" y="2480"/>
                      <a:pt x="5350" y="2478"/>
                      <a:pt x="5381" y="2477"/>
                    </a:cubicBezTo>
                    <a:cubicBezTo>
                      <a:pt x="5384" y="2429"/>
                      <a:pt x="5385" y="2383"/>
                      <a:pt x="5385" y="2348"/>
                    </a:cubicBezTo>
                    <a:cubicBezTo>
                      <a:pt x="5385" y="2330"/>
                      <a:pt x="5385" y="2315"/>
                      <a:pt x="5384" y="2303"/>
                    </a:cubicBezTo>
                    <a:cubicBezTo>
                      <a:pt x="5380" y="2245"/>
                      <a:pt x="5356" y="2176"/>
                      <a:pt x="5333" y="2118"/>
                    </a:cubicBezTo>
                    <a:cubicBezTo>
                      <a:pt x="5309" y="2058"/>
                      <a:pt x="5285" y="2013"/>
                      <a:pt x="5279" y="1988"/>
                    </a:cubicBezTo>
                    <a:close/>
                    <a:moveTo>
                      <a:pt x="5185" y="2495"/>
                    </a:moveTo>
                    <a:cubicBezTo>
                      <a:pt x="5172" y="2880"/>
                      <a:pt x="5172" y="2880"/>
                      <a:pt x="5172" y="2880"/>
                    </a:cubicBezTo>
                    <a:cubicBezTo>
                      <a:pt x="5233" y="2870"/>
                      <a:pt x="5293" y="2861"/>
                      <a:pt x="5352" y="2853"/>
                    </a:cubicBezTo>
                    <a:cubicBezTo>
                      <a:pt x="5355" y="2820"/>
                      <a:pt x="5362" y="2752"/>
                      <a:pt x="5368" y="2673"/>
                    </a:cubicBezTo>
                    <a:cubicBezTo>
                      <a:pt x="5372" y="2614"/>
                      <a:pt x="5377" y="2551"/>
                      <a:pt x="5380" y="2491"/>
                    </a:cubicBezTo>
                    <a:cubicBezTo>
                      <a:pt x="5354" y="2492"/>
                      <a:pt x="5281" y="2493"/>
                      <a:pt x="5185" y="2495"/>
                    </a:cubicBezTo>
                    <a:close/>
                    <a:moveTo>
                      <a:pt x="4915" y="2501"/>
                    </a:moveTo>
                    <a:cubicBezTo>
                      <a:pt x="4934" y="2924"/>
                      <a:pt x="4934" y="2924"/>
                      <a:pt x="4934" y="2924"/>
                    </a:cubicBezTo>
                    <a:cubicBezTo>
                      <a:pt x="5009" y="2908"/>
                      <a:pt x="5083" y="2895"/>
                      <a:pt x="5158" y="2882"/>
                    </a:cubicBezTo>
                    <a:cubicBezTo>
                      <a:pt x="5171" y="2496"/>
                      <a:pt x="5171" y="2496"/>
                      <a:pt x="5171" y="2496"/>
                    </a:cubicBezTo>
                    <a:cubicBezTo>
                      <a:pt x="5095" y="2497"/>
                      <a:pt x="5006" y="2499"/>
                      <a:pt x="4915" y="2501"/>
                    </a:cubicBezTo>
                    <a:close/>
                    <a:moveTo>
                      <a:pt x="5710" y="5332"/>
                    </a:moveTo>
                    <a:cubicBezTo>
                      <a:pt x="5743" y="5339"/>
                      <a:pt x="5770" y="5343"/>
                      <a:pt x="5786" y="5346"/>
                    </a:cubicBezTo>
                    <a:cubicBezTo>
                      <a:pt x="5799" y="5229"/>
                      <a:pt x="5799" y="5229"/>
                      <a:pt x="5799" y="5229"/>
                    </a:cubicBezTo>
                    <a:cubicBezTo>
                      <a:pt x="5726" y="5216"/>
                      <a:pt x="5436" y="5161"/>
                      <a:pt x="5394" y="5153"/>
                    </a:cubicBezTo>
                    <a:cubicBezTo>
                      <a:pt x="5337" y="5432"/>
                      <a:pt x="5337" y="5432"/>
                      <a:pt x="5337" y="5432"/>
                    </a:cubicBezTo>
                    <a:cubicBezTo>
                      <a:pt x="5337" y="5433"/>
                      <a:pt x="5337" y="5433"/>
                      <a:pt x="5337" y="5433"/>
                    </a:cubicBezTo>
                    <a:cubicBezTo>
                      <a:pt x="5340" y="5421"/>
                      <a:pt x="5340" y="5421"/>
                      <a:pt x="5340" y="5421"/>
                    </a:cubicBezTo>
                    <a:cubicBezTo>
                      <a:pt x="5340" y="5421"/>
                      <a:pt x="5445" y="5441"/>
                      <a:pt x="5551" y="5461"/>
                    </a:cubicBezTo>
                    <a:cubicBezTo>
                      <a:pt x="5656" y="5481"/>
                      <a:pt x="5764" y="5501"/>
                      <a:pt x="5765" y="5501"/>
                    </a:cubicBezTo>
                    <a:cubicBezTo>
                      <a:pt x="5765" y="5515"/>
                      <a:pt x="5765" y="5515"/>
                      <a:pt x="5765" y="5515"/>
                    </a:cubicBezTo>
                    <a:cubicBezTo>
                      <a:pt x="5756" y="5515"/>
                      <a:pt x="5347" y="5437"/>
                      <a:pt x="5338" y="5435"/>
                    </a:cubicBezTo>
                    <a:cubicBezTo>
                      <a:pt x="5351" y="5564"/>
                      <a:pt x="5351" y="5564"/>
                      <a:pt x="5351" y="5564"/>
                    </a:cubicBezTo>
                    <a:cubicBezTo>
                      <a:pt x="5376" y="5569"/>
                      <a:pt x="5465" y="5585"/>
                      <a:pt x="5555" y="5602"/>
                    </a:cubicBezTo>
                    <a:cubicBezTo>
                      <a:pt x="5636" y="5618"/>
                      <a:pt x="5719" y="5633"/>
                      <a:pt x="5753" y="5639"/>
                    </a:cubicBezTo>
                    <a:cubicBezTo>
                      <a:pt x="5784" y="5360"/>
                      <a:pt x="5784" y="5360"/>
                      <a:pt x="5784" y="5360"/>
                    </a:cubicBezTo>
                    <a:cubicBezTo>
                      <a:pt x="5704" y="5346"/>
                      <a:pt x="5375" y="5283"/>
                      <a:pt x="5374" y="5283"/>
                    </a:cubicBezTo>
                    <a:cubicBezTo>
                      <a:pt x="5377" y="5269"/>
                      <a:pt x="5377" y="5269"/>
                      <a:pt x="5377" y="5269"/>
                    </a:cubicBezTo>
                    <a:cubicBezTo>
                      <a:pt x="5377" y="5269"/>
                      <a:pt x="5467" y="5287"/>
                      <a:pt x="5565" y="5305"/>
                    </a:cubicBezTo>
                    <a:cubicBezTo>
                      <a:pt x="5566" y="5300"/>
                      <a:pt x="5566" y="5300"/>
                      <a:pt x="5566" y="5300"/>
                    </a:cubicBezTo>
                    <a:cubicBezTo>
                      <a:pt x="5583" y="5203"/>
                      <a:pt x="5583" y="5203"/>
                      <a:pt x="5583" y="5203"/>
                    </a:cubicBezTo>
                    <a:cubicBezTo>
                      <a:pt x="5729" y="5230"/>
                      <a:pt x="5729" y="5230"/>
                      <a:pt x="5729" y="5230"/>
                    </a:cubicBezTo>
                    <a:lnTo>
                      <a:pt x="5710" y="5332"/>
                    </a:lnTo>
                    <a:close/>
                    <a:moveTo>
                      <a:pt x="5714" y="5240"/>
                    </a:moveTo>
                    <a:cubicBezTo>
                      <a:pt x="5594" y="5218"/>
                      <a:pt x="5594" y="5218"/>
                      <a:pt x="5594" y="5218"/>
                    </a:cubicBezTo>
                    <a:cubicBezTo>
                      <a:pt x="5580" y="5296"/>
                      <a:pt x="5580" y="5296"/>
                      <a:pt x="5580" y="5296"/>
                    </a:cubicBezTo>
                    <a:cubicBezTo>
                      <a:pt x="5700" y="5317"/>
                      <a:pt x="5700" y="5317"/>
                      <a:pt x="5700" y="5317"/>
                    </a:cubicBezTo>
                    <a:lnTo>
                      <a:pt x="5714" y="5240"/>
                    </a:lnTo>
                    <a:close/>
                    <a:moveTo>
                      <a:pt x="3363" y="6901"/>
                    </a:moveTo>
                    <a:cubicBezTo>
                      <a:pt x="3369" y="6858"/>
                      <a:pt x="3369" y="6858"/>
                      <a:pt x="3369" y="6858"/>
                    </a:cubicBezTo>
                    <a:cubicBezTo>
                      <a:pt x="3329" y="6853"/>
                      <a:pt x="3329" y="6853"/>
                      <a:pt x="3329" y="6853"/>
                    </a:cubicBezTo>
                    <a:cubicBezTo>
                      <a:pt x="3325" y="6881"/>
                      <a:pt x="3320" y="6916"/>
                      <a:pt x="3314" y="6955"/>
                    </a:cubicBezTo>
                    <a:cubicBezTo>
                      <a:pt x="3402" y="6967"/>
                      <a:pt x="3402" y="6967"/>
                      <a:pt x="3402" y="6967"/>
                    </a:cubicBezTo>
                    <a:cubicBezTo>
                      <a:pt x="3410" y="6907"/>
                      <a:pt x="3410" y="6907"/>
                      <a:pt x="3410" y="6907"/>
                    </a:cubicBezTo>
                    <a:lnTo>
                      <a:pt x="3363" y="6901"/>
                    </a:lnTo>
                    <a:close/>
                    <a:moveTo>
                      <a:pt x="3315" y="6851"/>
                    </a:moveTo>
                    <a:cubicBezTo>
                      <a:pt x="3279" y="6846"/>
                      <a:pt x="3279" y="6846"/>
                      <a:pt x="3279" y="6846"/>
                    </a:cubicBezTo>
                    <a:cubicBezTo>
                      <a:pt x="3274" y="6889"/>
                      <a:pt x="3274" y="6889"/>
                      <a:pt x="3274" y="6889"/>
                    </a:cubicBezTo>
                    <a:cubicBezTo>
                      <a:pt x="3227" y="6882"/>
                      <a:pt x="3227" y="6882"/>
                      <a:pt x="3227" y="6882"/>
                    </a:cubicBezTo>
                    <a:cubicBezTo>
                      <a:pt x="3219" y="6942"/>
                      <a:pt x="3219" y="6942"/>
                      <a:pt x="3219" y="6942"/>
                    </a:cubicBezTo>
                    <a:cubicBezTo>
                      <a:pt x="3300" y="6953"/>
                      <a:pt x="3300" y="6953"/>
                      <a:pt x="3300" y="6953"/>
                    </a:cubicBezTo>
                    <a:cubicBezTo>
                      <a:pt x="3306" y="6914"/>
                      <a:pt x="3311" y="6879"/>
                      <a:pt x="3315" y="6851"/>
                    </a:cubicBezTo>
                    <a:close/>
                    <a:moveTo>
                      <a:pt x="3122" y="6812"/>
                    </a:moveTo>
                    <a:cubicBezTo>
                      <a:pt x="3127" y="6769"/>
                      <a:pt x="3127" y="6769"/>
                      <a:pt x="3127" y="6769"/>
                    </a:cubicBezTo>
                    <a:cubicBezTo>
                      <a:pt x="3099" y="6765"/>
                      <a:pt x="3099" y="6765"/>
                      <a:pt x="3099" y="6765"/>
                    </a:cubicBezTo>
                    <a:cubicBezTo>
                      <a:pt x="3085" y="6867"/>
                      <a:pt x="3085" y="6867"/>
                      <a:pt x="3085" y="6867"/>
                    </a:cubicBezTo>
                    <a:cubicBezTo>
                      <a:pt x="3160" y="6877"/>
                      <a:pt x="3160" y="6877"/>
                      <a:pt x="3160" y="6877"/>
                    </a:cubicBezTo>
                    <a:cubicBezTo>
                      <a:pt x="3168" y="6818"/>
                      <a:pt x="3168" y="6818"/>
                      <a:pt x="3168" y="6818"/>
                    </a:cubicBezTo>
                    <a:lnTo>
                      <a:pt x="3122" y="6812"/>
                    </a:lnTo>
                    <a:close/>
                    <a:moveTo>
                      <a:pt x="1824" y="6729"/>
                    </a:moveTo>
                    <a:cubicBezTo>
                      <a:pt x="2042" y="6863"/>
                      <a:pt x="2042" y="6863"/>
                      <a:pt x="2042" y="6863"/>
                    </a:cubicBezTo>
                    <a:cubicBezTo>
                      <a:pt x="2141" y="6766"/>
                      <a:pt x="2141" y="6766"/>
                      <a:pt x="2141" y="6766"/>
                    </a:cubicBezTo>
                    <a:cubicBezTo>
                      <a:pt x="1924" y="6632"/>
                      <a:pt x="1924" y="6632"/>
                      <a:pt x="1924" y="6632"/>
                    </a:cubicBezTo>
                    <a:cubicBezTo>
                      <a:pt x="1887" y="6667"/>
                      <a:pt x="1853" y="6700"/>
                      <a:pt x="1824" y="6729"/>
                    </a:cubicBezTo>
                    <a:close/>
                    <a:moveTo>
                      <a:pt x="1911" y="6625"/>
                    </a:moveTo>
                    <a:cubicBezTo>
                      <a:pt x="1791" y="6550"/>
                      <a:pt x="1791" y="6550"/>
                      <a:pt x="1791" y="6550"/>
                    </a:cubicBezTo>
                    <a:cubicBezTo>
                      <a:pt x="1723" y="6667"/>
                      <a:pt x="1723" y="6667"/>
                      <a:pt x="1723" y="6667"/>
                    </a:cubicBezTo>
                    <a:cubicBezTo>
                      <a:pt x="1811" y="6721"/>
                      <a:pt x="1811" y="6721"/>
                      <a:pt x="1811" y="6721"/>
                    </a:cubicBezTo>
                    <a:cubicBezTo>
                      <a:pt x="1840" y="6693"/>
                      <a:pt x="1875" y="6660"/>
                      <a:pt x="1911" y="6625"/>
                    </a:cubicBezTo>
                    <a:close/>
                    <a:moveTo>
                      <a:pt x="2059" y="6260"/>
                    </a:moveTo>
                    <a:cubicBezTo>
                      <a:pt x="2055" y="6259"/>
                      <a:pt x="2055" y="6259"/>
                      <a:pt x="2055" y="6259"/>
                    </a:cubicBezTo>
                    <a:cubicBezTo>
                      <a:pt x="2387" y="6379"/>
                      <a:pt x="2387" y="6379"/>
                      <a:pt x="2387" y="6379"/>
                    </a:cubicBezTo>
                    <a:cubicBezTo>
                      <a:pt x="2607" y="5805"/>
                      <a:pt x="2607" y="5805"/>
                      <a:pt x="2607" y="5805"/>
                    </a:cubicBezTo>
                    <a:cubicBezTo>
                      <a:pt x="2479" y="5768"/>
                      <a:pt x="2353" y="5734"/>
                      <a:pt x="2352" y="5734"/>
                    </a:cubicBezTo>
                    <a:cubicBezTo>
                      <a:pt x="2350" y="5733"/>
                      <a:pt x="2350" y="5733"/>
                      <a:pt x="2350" y="5733"/>
                    </a:cubicBezTo>
                    <a:cubicBezTo>
                      <a:pt x="2245" y="5581"/>
                      <a:pt x="2245" y="5581"/>
                      <a:pt x="2245" y="5581"/>
                    </a:cubicBezTo>
                    <a:cubicBezTo>
                      <a:pt x="2083" y="5525"/>
                      <a:pt x="2083" y="5525"/>
                      <a:pt x="2083" y="5525"/>
                    </a:cubicBezTo>
                    <a:cubicBezTo>
                      <a:pt x="1958" y="5805"/>
                      <a:pt x="1958" y="5805"/>
                      <a:pt x="1958" y="5805"/>
                    </a:cubicBezTo>
                    <a:cubicBezTo>
                      <a:pt x="2057" y="6247"/>
                      <a:pt x="2057" y="6247"/>
                      <a:pt x="2057" y="6247"/>
                    </a:cubicBezTo>
                    <a:lnTo>
                      <a:pt x="2059" y="6260"/>
                    </a:lnTo>
                    <a:close/>
                    <a:moveTo>
                      <a:pt x="2473" y="3886"/>
                    </a:moveTo>
                    <a:cubicBezTo>
                      <a:pt x="2473" y="3873"/>
                      <a:pt x="2473" y="3873"/>
                      <a:pt x="2473" y="3873"/>
                    </a:cubicBezTo>
                    <a:cubicBezTo>
                      <a:pt x="2354" y="4062"/>
                      <a:pt x="2354" y="4062"/>
                      <a:pt x="2354" y="4062"/>
                    </a:cubicBezTo>
                    <a:cubicBezTo>
                      <a:pt x="2337" y="4137"/>
                      <a:pt x="2337" y="4137"/>
                      <a:pt x="2337" y="4137"/>
                    </a:cubicBezTo>
                    <a:cubicBezTo>
                      <a:pt x="2428" y="4181"/>
                      <a:pt x="2428" y="4181"/>
                      <a:pt x="2428" y="4181"/>
                    </a:cubicBezTo>
                    <a:cubicBezTo>
                      <a:pt x="2429" y="4178"/>
                      <a:pt x="2431" y="4175"/>
                      <a:pt x="2432" y="4173"/>
                    </a:cubicBezTo>
                    <a:cubicBezTo>
                      <a:pt x="2467" y="4106"/>
                      <a:pt x="2498" y="4056"/>
                      <a:pt x="2529" y="4007"/>
                    </a:cubicBezTo>
                    <a:cubicBezTo>
                      <a:pt x="2554" y="3967"/>
                      <a:pt x="2581" y="3928"/>
                      <a:pt x="2612" y="3886"/>
                    </a:cubicBezTo>
                    <a:cubicBezTo>
                      <a:pt x="2599" y="3886"/>
                      <a:pt x="2586" y="3886"/>
                      <a:pt x="2572" y="3886"/>
                    </a:cubicBezTo>
                    <a:cubicBezTo>
                      <a:pt x="2524" y="3886"/>
                      <a:pt x="2477" y="3886"/>
                      <a:pt x="2473" y="3886"/>
                    </a:cubicBezTo>
                    <a:close/>
                    <a:moveTo>
                      <a:pt x="5086" y="4799"/>
                    </a:moveTo>
                    <a:cubicBezTo>
                      <a:pt x="5087" y="4790"/>
                      <a:pt x="5087" y="4790"/>
                      <a:pt x="5087" y="4790"/>
                    </a:cubicBezTo>
                    <a:cubicBezTo>
                      <a:pt x="5065" y="4831"/>
                      <a:pt x="5038" y="4872"/>
                      <a:pt x="5011" y="4911"/>
                    </a:cubicBezTo>
                    <a:cubicBezTo>
                      <a:pt x="5035" y="4912"/>
                      <a:pt x="5072" y="4915"/>
                      <a:pt x="5113" y="4917"/>
                    </a:cubicBezTo>
                    <a:cubicBezTo>
                      <a:pt x="5114" y="4912"/>
                      <a:pt x="5114" y="4912"/>
                      <a:pt x="5114" y="4912"/>
                    </a:cubicBezTo>
                    <a:cubicBezTo>
                      <a:pt x="5118" y="4814"/>
                      <a:pt x="5118" y="4814"/>
                      <a:pt x="5118" y="4814"/>
                    </a:cubicBezTo>
                    <a:cubicBezTo>
                      <a:pt x="5266" y="4822"/>
                      <a:pt x="5266" y="4822"/>
                      <a:pt x="5266" y="4822"/>
                    </a:cubicBezTo>
                    <a:cubicBezTo>
                      <a:pt x="5261" y="4926"/>
                      <a:pt x="5261" y="4926"/>
                      <a:pt x="5261" y="4926"/>
                    </a:cubicBezTo>
                    <a:cubicBezTo>
                      <a:pt x="5185" y="4922"/>
                      <a:pt x="5185" y="4922"/>
                      <a:pt x="5185" y="4922"/>
                    </a:cubicBezTo>
                    <a:cubicBezTo>
                      <a:pt x="5288" y="4929"/>
                      <a:pt x="5395" y="4937"/>
                      <a:pt x="5422" y="4939"/>
                    </a:cubicBezTo>
                    <a:cubicBezTo>
                      <a:pt x="5445" y="4824"/>
                      <a:pt x="5445" y="4824"/>
                      <a:pt x="5445" y="4824"/>
                    </a:cubicBezTo>
                    <a:cubicBezTo>
                      <a:pt x="5394" y="4822"/>
                      <a:pt x="5086" y="4799"/>
                      <a:pt x="5086" y="4799"/>
                    </a:cubicBezTo>
                    <a:close/>
                    <a:moveTo>
                      <a:pt x="5727" y="4236"/>
                    </a:moveTo>
                    <a:cubicBezTo>
                      <a:pt x="5728" y="4236"/>
                      <a:pt x="5728" y="4236"/>
                      <a:pt x="5728" y="4236"/>
                    </a:cubicBezTo>
                    <a:cubicBezTo>
                      <a:pt x="5728" y="4236"/>
                      <a:pt x="5809" y="4231"/>
                      <a:pt x="5848" y="4229"/>
                    </a:cubicBezTo>
                    <a:cubicBezTo>
                      <a:pt x="5868" y="3974"/>
                      <a:pt x="5868" y="3974"/>
                      <a:pt x="5868" y="3974"/>
                    </a:cubicBezTo>
                    <a:cubicBezTo>
                      <a:pt x="5589" y="3953"/>
                      <a:pt x="5589" y="3953"/>
                      <a:pt x="5589" y="3953"/>
                    </a:cubicBezTo>
                    <a:cubicBezTo>
                      <a:pt x="5119" y="4012"/>
                      <a:pt x="5119" y="4012"/>
                      <a:pt x="5119" y="4012"/>
                    </a:cubicBezTo>
                    <a:cubicBezTo>
                      <a:pt x="5139" y="4175"/>
                      <a:pt x="5155" y="4300"/>
                      <a:pt x="5161" y="4331"/>
                    </a:cubicBezTo>
                    <a:cubicBezTo>
                      <a:pt x="5167" y="4359"/>
                      <a:pt x="5169" y="4387"/>
                      <a:pt x="5169" y="4416"/>
                    </a:cubicBezTo>
                    <a:cubicBezTo>
                      <a:pt x="5169" y="4419"/>
                      <a:pt x="5169" y="4422"/>
                      <a:pt x="5169" y="4425"/>
                    </a:cubicBezTo>
                    <a:lnTo>
                      <a:pt x="5727" y="4236"/>
                    </a:lnTo>
                    <a:close/>
                    <a:moveTo>
                      <a:pt x="5312" y="4391"/>
                    </a:moveTo>
                    <a:cubicBezTo>
                      <a:pt x="5315" y="4412"/>
                      <a:pt x="5318" y="4474"/>
                      <a:pt x="5321" y="4537"/>
                    </a:cubicBezTo>
                    <a:cubicBezTo>
                      <a:pt x="5322" y="4572"/>
                      <a:pt x="5323" y="4606"/>
                      <a:pt x="5325" y="4631"/>
                    </a:cubicBezTo>
                    <a:cubicBezTo>
                      <a:pt x="5325" y="4643"/>
                      <a:pt x="5325" y="4653"/>
                      <a:pt x="5326" y="4660"/>
                    </a:cubicBezTo>
                    <a:cubicBezTo>
                      <a:pt x="5650" y="4689"/>
                      <a:pt x="5650" y="4689"/>
                      <a:pt x="5650" y="4689"/>
                    </a:cubicBezTo>
                    <a:cubicBezTo>
                      <a:pt x="5643" y="4643"/>
                      <a:pt x="5628" y="4532"/>
                      <a:pt x="5625" y="4513"/>
                    </a:cubicBezTo>
                    <a:cubicBezTo>
                      <a:pt x="5424" y="4353"/>
                      <a:pt x="5424" y="4353"/>
                      <a:pt x="5424" y="4353"/>
                    </a:cubicBezTo>
                    <a:lnTo>
                      <a:pt x="5312" y="4391"/>
                    </a:lnTo>
                    <a:close/>
                    <a:moveTo>
                      <a:pt x="5306" y="4516"/>
                    </a:moveTo>
                    <a:cubicBezTo>
                      <a:pt x="5304" y="4483"/>
                      <a:pt x="5303" y="4451"/>
                      <a:pt x="5301" y="4427"/>
                    </a:cubicBezTo>
                    <a:cubicBezTo>
                      <a:pt x="5300" y="4415"/>
                      <a:pt x="5300" y="4405"/>
                      <a:pt x="5299" y="4399"/>
                    </a:cubicBezTo>
                    <a:cubicBezTo>
                      <a:pt x="5299" y="4397"/>
                      <a:pt x="5299" y="4397"/>
                      <a:pt x="5298" y="4396"/>
                    </a:cubicBezTo>
                    <a:cubicBezTo>
                      <a:pt x="5168" y="4440"/>
                      <a:pt x="5168" y="4440"/>
                      <a:pt x="5168" y="4440"/>
                    </a:cubicBezTo>
                    <a:cubicBezTo>
                      <a:pt x="5165" y="4512"/>
                      <a:pt x="5151" y="4583"/>
                      <a:pt x="5137" y="4643"/>
                    </a:cubicBezTo>
                    <a:cubicBezTo>
                      <a:pt x="5312" y="4659"/>
                      <a:pt x="5312" y="4659"/>
                      <a:pt x="5312" y="4659"/>
                    </a:cubicBezTo>
                    <a:cubicBezTo>
                      <a:pt x="5310" y="4631"/>
                      <a:pt x="5308" y="4573"/>
                      <a:pt x="5306" y="4516"/>
                    </a:cubicBezTo>
                    <a:close/>
                    <a:moveTo>
                      <a:pt x="5089" y="4786"/>
                    </a:moveTo>
                    <a:cubicBezTo>
                      <a:pt x="5108" y="4787"/>
                      <a:pt x="5410" y="4809"/>
                      <a:pt x="5448" y="4810"/>
                    </a:cubicBezTo>
                    <a:cubicBezTo>
                      <a:pt x="5467" y="4718"/>
                      <a:pt x="5467" y="4718"/>
                      <a:pt x="5467" y="4718"/>
                    </a:cubicBezTo>
                    <a:cubicBezTo>
                      <a:pt x="5127" y="4688"/>
                      <a:pt x="5127" y="4688"/>
                      <a:pt x="5127" y="4688"/>
                    </a:cubicBezTo>
                    <a:cubicBezTo>
                      <a:pt x="5126" y="4688"/>
                      <a:pt x="5126" y="4690"/>
                      <a:pt x="5126" y="4690"/>
                    </a:cubicBezTo>
                    <a:cubicBezTo>
                      <a:pt x="5118" y="4722"/>
                      <a:pt x="5105" y="4754"/>
                      <a:pt x="5089" y="4786"/>
                    </a:cubicBezTo>
                    <a:close/>
                    <a:moveTo>
                      <a:pt x="5049" y="6121"/>
                    </a:moveTo>
                    <a:cubicBezTo>
                      <a:pt x="5049" y="6134"/>
                      <a:pt x="5049" y="6144"/>
                      <a:pt x="5048" y="6153"/>
                    </a:cubicBezTo>
                    <a:cubicBezTo>
                      <a:pt x="5292" y="6151"/>
                      <a:pt x="5292" y="6151"/>
                      <a:pt x="5292" y="6151"/>
                    </a:cubicBezTo>
                    <a:cubicBezTo>
                      <a:pt x="5311" y="6155"/>
                      <a:pt x="5311" y="6155"/>
                      <a:pt x="5311" y="6155"/>
                    </a:cubicBezTo>
                    <a:cubicBezTo>
                      <a:pt x="5316" y="6143"/>
                      <a:pt x="5331" y="6083"/>
                      <a:pt x="5345" y="6026"/>
                    </a:cubicBezTo>
                    <a:cubicBezTo>
                      <a:pt x="5358" y="5970"/>
                      <a:pt x="5370" y="5916"/>
                      <a:pt x="5372" y="5907"/>
                    </a:cubicBezTo>
                    <a:cubicBezTo>
                      <a:pt x="5356" y="5747"/>
                      <a:pt x="5356" y="5747"/>
                      <a:pt x="5356" y="5747"/>
                    </a:cubicBezTo>
                    <a:cubicBezTo>
                      <a:pt x="5347" y="5745"/>
                      <a:pt x="5341" y="5744"/>
                      <a:pt x="5341" y="5744"/>
                    </a:cubicBezTo>
                    <a:cubicBezTo>
                      <a:pt x="5338" y="5743"/>
                      <a:pt x="5220" y="5726"/>
                      <a:pt x="5105" y="5710"/>
                    </a:cubicBezTo>
                    <a:cubicBezTo>
                      <a:pt x="5034" y="5700"/>
                      <a:pt x="4963" y="5689"/>
                      <a:pt x="4919" y="5683"/>
                    </a:cubicBezTo>
                    <a:cubicBezTo>
                      <a:pt x="5037" y="5845"/>
                      <a:pt x="5049" y="6034"/>
                      <a:pt x="5049" y="6121"/>
                    </a:cubicBezTo>
                    <a:close/>
                    <a:moveTo>
                      <a:pt x="5354" y="5733"/>
                    </a:moveTo>
                    <a:cubicBezTo>
                      <a:pt x="5323" y="5432"/>
                      <a:pt x="5323" y="5432"/>
                      <a:pt x="5323" y="5432"/>
                    </a:cubicBezTo>
                    <a:cubicBezTo>
                      <a:pt x="5420" y="4953"/>
                      <a:pt x="5420" y="4953"/>
                      <a:pt x="5420" y="4953"/>
                    </a:cubicBezTo>
                    <a:cubicBezTo>
                      <a:pt x="5367" y="4949"/>
                      <a:pt x="5085" y="4928"/>
                      <a:pt x="5001" y="4925"/>
                    </a:cubicBezTo>
                    <a:cubicBezTo>
                      <a:pt x="4982" y="4952"/>
                      <a:pt x="4963" y="4979"/>
                      <a:pt x="4946" y="5004"/>
                    </a:cubicBezTo>
                    <a:cubicBezTo>
                      <a:pt x="4920" y="5042"/>
                      <a:pt x="4912" y="5074"/>
                      <a:pt x="4912" y="5109"/>
                    </a:cubicBezTo>
                    <a:cubicBezTo>
                      <a:pt x="4912" y="5154"/>
                      <a:pt x="4927" y="5206"/>
                      <a:pt x="4946" y="5271"/>
                    </a:cubicBezTo>
                    <a:cubicBezTo>
                      <a:pt x="4959" y="5318"/>
                      <a:pt x="4965" y="5359"/>
                      <a:pt x="4965" y="5397"/>
                    </a:cubicBezTo>
                    <a:cubicBezTo>
                      <a:pt x="4965" y="5501"/>
                      <a:pt x="4917" y="5571"/>
                      <a:pt x="4872" y="5626"/>
                    </a:cubicBezTo>
                    <a:cubicBezTo>
                      <a:pt x="4885" y="5639"/>
                      <a:pt x="4897" y="5653"/>
                      <a:pt x="4908" y="5667"/>
                    </a:cubicBezTo>
                    <a:cubicBezTo>
                      <a:pt x="5011" y="5682"/>
                      <a:pt x="5336" y="5729"/>
                      <a:pt x="5344" y="5731"/>
                    </a:cubicBezTo>
                    <a:cubicBezTo>
                      <a:pt x="5344" y="5731"/>
                      <a:pt x="5348" y="5731"/>
                      <a:pt x="5354" y="5733"/>
                    </a:cubicBezTo>
                    <a:close/>
                    <a:moveTo>
                      <a:pt x="2700" y="6493"/>
                    </a:moveTo>
                    <a:cubicBezTo>
                      <a:pt x="2714" y="6427"/>
                      <a:pt x="2745" y="6297"/>
                      <a:pt x="2800" y="6209"/>
                    </a:cubicBezTo>
                    <a:cubicBezTo>
                      <a:pt x="2833" y="6157"/>
                      <a:pt x="2888" y="6139"/>
                      <a:pt x="2950" y="6117"/>
                    </a:cubicBezTo>
                    <a:cubicBezTo>
                      <a:pt x="2974" y="6108"/>
                      <a:pt x="3003" y="6101"/>
                      <a:pt x="3034" y="6094"/>
                    </a:cubicBezTo>
                    <a:cubicBezTo>
                      <a:pt x="3022" y="6073"/>
                      <a:pt x="3002" y="6042"/>
                      <a:pt x="2976" y="6008"/>
                    </a:cubicBezTo>
                    <a:cubicBezTo>
                      <a:pt x="2930" y="5949"/>
                      <a:pt x="2865" y="5885"/>
                      <a:pt x="2793" y="5861"/>
                    </a:cubicBezTo>
                    <a:cubicBezTo>
                      <a:pt x="2745" y="5845"/>
                      <a:pt x="2683" y="5827"/>
                      <a:pt x="2621" y="5809"/>
                    </a:cubicBezTo>
                    <a:cubicBezTo>
                      <a:pt x="2400" y="6384"/>
                      <a:pt x="2400" y="6384"/>
                      <a:pt x="2400" y="6384"/>
                    </a:cubicBezTo>
                    <a:lnTo>
                      <a:pt x="2700" y="6493"/>
                    </a:lnTo>
                    <a:close/>
                    <a:moveTo>
                      <a:pt x="2459" y="6475"/>
                    </a:moveTo>
                    <a:cubicBezTo>
                      <a:pt x="2163" y="6765"/>
                      <a:pt x="2163" y="6765"/>
                      <a:pt x="2163" y="6765"/>
                    </a:cubicBezTo>
                    <a:cubicBezTo>
                      <a:pt x="2351" y="6881"/>
                      <a:pt x="2351" y="6881"/>
                      <a:pt x="2351" y="6881"/>
                    </a:cubicBezTo>
                    <a:cubicBezTo>
                      <a:pt x="2481" y="6756"/>
                      <a:pt x="2640" y="6605"/>
                      <a:pt x="2689" y="6558"/>
                    </a:cubicBezTo>
                    <a:lnTo>
                      <a:pt x="2459" y="6475"/>
                    </a:lnTo>
                    <a:close/>
                    <a:moveTo>
                      <a:pt x="2442" y="4576"/>
                    </a:moveTo>
                    <a:cubicBezTo>
                      <a:pt x="2430" y="4606"/>
                      <a:pt x="2391" y="4721"/>
                      <a:pt x="2375" y="4768"/>
                    </a:cubicBezTo>
                    <a:cubicBezTo>
                      <a:pt x="2620" y="4779"/>
                      <a:pt x="2620" y="4779"/>
                      <a:pt x="2620" y="4779"/>
                    </a:cubicBezTo>
                    <a:cubicBezTo>
                      <a:pt x="2582" y="4901"/>
                      <a:pt x="2582" y="4901"/>
                      <a:pt x="2582" y="4901"/>
                    </a:cubicBezTo>
                    <a:cubicBezTo>
                      <a:pt x="2605" y="4905"/>
                      <a:pt x="2664" y="4914"/>
                      <a:pt x="2725" y="4924"/>
                    </a:cubicBezTo>
                    <a:cubicBezTo>
                      <a:pt x="2789" y="4934"/>
                      <a:pt x="2856" y="4944"/>
                      <a:pt x="2875" y="4947"/>
                    </a:cubicBezTo>
                    <a:cubicBezTo>
                      <a:pt x="2891" y="4903"/>
                      <a:pt x="2984" y="4638"/>
                      <a:pt x="3003" y="4584"/>
                    </a:cubicBezTo>
                    <a:cubicBezTo>
                      <a:pt x="2876" y="4540"/>
                      <a:pt x="2876" y="4540"/>
                      <a:pt x="2876" y="4540"/>
                    </a:cubicBezTo>
                    <a:cubicBezTo>
                      <a:pt x="2782" y="4434"/>
                      <a:pt x="2782" y="4434"/>
                      <a:pt x="2782" y="4434"/>
                    </a:cubicBezTo>
                    <a:cubicBezTo>
                      <a:pt x="2696" y="4517"/>
                      <a:pt x="2696" y="4517"/>
                      <a:pt x="2696" y="4517"/>
                    </a:cubicBezTo>
                    <a:cubicBezTo>
                      <a:pt x="2512" y="4570"/>
                      <a:pt x="2512" y="4570"/>
                      <a:pt x="2512" y="4570"/>
                    </a:cubicBezTo>
                    <a:lnTo>
                      <a:pt x="2442" y="4576"/>
                    </a:lnTo>
                    <a:close/>
                    <a:moveTo>
                      <a:pt x="2504" y="4526"/>
                    </a:moveTo>
                    <a:cubicBezTo>
                      <a:pt x="2673" y="4477"/>
                      <a:pt x="2673" y="4477"/>
                      <a:pt x="2673" y="4477"/>
                    </a:cubicBezTo>
                    <a:cubicBezTo>
                      <a:pt x="2765" y="4387"/>
                      <a:pt x="2765" y="4387"/>
                      <a:pt x="2765" y="4387"/>
                    </a:cubicBezTo>
                    <a:cubicBezTo>
                      <a:pt x="2773" y="4366"/>
                      <a:pt x="2773" y="4366"/>
                      <a:pt x="2773" y="4366"/>
                    </a:cubicBezTo>
                    <a:cubicBezTo>
                      <a:pt x="2772" y="4366"/>
                      <a:pt x="2772" y="4366"/>
                      <a:pt x="2772" y="4366"/>
                    </a:cubicBezTo>
                    <a:cubicBezTo>
                      <a:pt x="2765" y="4367"/>
                      <a:pt x="2742" y="4383"/>
                      <a:pt x="2721" y="4402"/>
                    </a:cubicBezTo>
                    <a:cubicBezTo>
                      <a:pt x="2700" y="4421"/>
                      <a:pt x="2679" y="4441"/>
                      <a:pt x="2665" y="4453"/>
                    </a:cubicBezTo>
                    <a:cubicBezTo>
                      <a:pt x="2636" y="4474"/>
                      <a:pt x="2574" y="4480"/>
                      <a:pt x="2524" y="4481"/>
                    </a:cubicBezTo>
                    <a:cubicBezTo>
                      <a:pt x="2514" y="4481"/>
                      <a:pt x="2505" y="4481"/>
                      <a:pt x="2496" y="4480"/>
                    </a:cubicBezTo>
                    <a:cubicBezTo>
                      <a:pt x="2471" y="4478"/>
                      <a:pt x="2455" y="4467"/>
                      <a:pt x="2448" y="4454"/>
                    </a:cubicBezTo>
                    <a:cubicBezTo>
                      <a:pt x="2445" y="4450"/>
                      <a:pt x="2443" y="4446"/>
                      <a:pt x="2442" y="4443"/>
                    </a:cubicBezTo>
                    <a:cubicBezTo>
                      <a:pt x="2424" y="4453"/>
                      <a:pt x="2399" y="4459"/>
                      <a:pt x="2371" y="4463"/>
                    </a:cubicBezTo>
                    <a:cubicBezTo>
                      <a:pt x="2360" y="4490"/>
                      <a:pt x="2349" y="4515"/>
                      <a:pt x="2340" y="4539"/>
                    </a:cubicBezTo>
                    <a:lnTo>
                      <a:pt x="2504" y="4526"/>
                    </a:lnTo>
                    <a:close/>
                    <a:moveTo>
                      <a:pt x="2925" y="4327"/>
                    </a:moveTo>
                    <a:cubicBezTo>
                      <a:pt x="2925" y="4327"/>
                      <a:pt x="2925" y="4327"/>
                      <a:pt x="2925" y="4327"/>
                    </a:cubicBezTo>
                    <a:cubicBezTo>
                      <a:pt x="2922" y="4326"/>
                      <a:pt x="2923" y="4324"/>
                      <a:pt x="2922" y="4324"/>
                    </a:cubicBezTo>
                    <a:cubicBezTo>
                      <a:pt x="2917" y="4318"/>
                      <a:pt x="2904" y="4292"/>
                      <a:pt x="2890" y="4265"/>
                    </a:cubicBezTo>
                    <a:cubicBezTo>
                      <a:pt x="2884" y="4253"/>
                      <a:pt x="2878" y="4241"/>
                      <a:pt x="2873" y="4231"/>
                    </a:cubicBezTo>
                    <a:cubicBezTo>
                      <a:pt x="2830" y="4342"/>
                      <a:pt x="2830" y="4342"/>
                      <a:pt x="2830" y="4342"/>
                    </a:cubicBezTo>
                    <a:cubicBezTo>
                      <a:pt x="2854" y="4346"/>
                      <a:pt x="2883" y="4357"/>
                      <a:pt x="2917" y="4380"/>
                    </a:cubicBezTo>
                    <a:cubicBezTo>
                      <a:pt x="2988" y="4426"/>
                      <a:pt x="3058" y="4435"/>
                      <a:pt x="3117" y="4494"/>
                    </a:cubicBezTo>
                    <a:cubicBezTo>
                      <a:pt x="3171" y="4550"/>
                      <a:pt x="3211" y="4604"/>
                      <a:pt x="3211" y="4605"/>
                    </a:cubicBezTo>
                    <a:cubicBezTo>
                      <a:pt x="3208" y="4607"/>
                      <a:pt x="3208" y="4607"/>
                      <a:pt x="3208" y="4607"/>
                    </a:cubicBezTo>
                    <a:cubicBezTo>
                      <a:pt x="3243" y="4620"/>
                      <a:pt x="3243" y="4620"/>
                      <a:pt x="3243" y="4620"/>
                    </a:cubicBezTo>
                    <a:cubicBezTo>
                      <a:pt x="3329" y="4664"/>
                      <a:pt x="3329" y="4664"/>
                      <a:pt x="3329" y="4664"/>
                    </a:cubicBezTo>
                    <a:cubicBezTo>
                      <a:pt x="3317" y="4646"/>
                      <a:pt x="3301" y="4623"/>
                      <a:pt x="3282" y="4598"/>
                    </a:cubicBezTo>
                    <a:cubicBezTo>
                      <a:pt x="3244" y="4547"/>
                      <a:pt x="3197" y="4489"/>
                      <a:pt x="3165" y="4465"/>
                    </a:cubicBezTo>
                    <a:cubicBezTo>
                      <a:pt x="3099" y="4413"/>
                      <a:pt x="2975" y="4347"/>
                      <a:pt x="2925" y="4327"/>
                    </a:cubicBezTo>
                    <a:close/>
                    <a:moveTo>
                      <a:pt x="3138" y="4131"/>
                    </a:moveTo>
                    <a:cubicBezTo>
                      <a:pt x="3141" y="4125"/>
                      <a:pt x="3141" y="4125"/>
                      <a:pt x="3141" y="4125"/>
                    </a:cubicBezTo>
                    <a:cubicBezTo>
                      <a:pt x="3122" y="4148"/>
                      <a:pt x="3122" y="4148"/>
                      <a:pt x="3122" y="4148"/>
                    </a:cubicBezTo>
                    <a:cubicBezTo>
                      <a:pt x="3221" y="4226"/>
                      <a:pt x="3221" y="4226"/>
                      <a:pt x="3221" y="4226"/>
                    </a:cubicBezTo>
                    <a:cubicBezTo>
                      <a:pt x="3221" y="4226"/>
                      <a:pt x="3221" y="4226"/>
                      <a:pt x="3221" y="4226"/>
                    </a:cubicBezTo>
                    <a:cubicBezTo>
                      <a:pt x="3222" y="4226"/>
                      <a:pt x="3222" y="4226"/>
                      <a:pt x="3222" y="4226"/>
                    </a:cubicBezTo>
                    <a:cubicBezTo>
                      <a:pt x="3255" y="4193"/>
                      <a:pt x="3255" y="4193"/>
                      <a:pt x="3255" y="4193"/>
                    </a:cubicBezTo>
                    <a:lnTo>
                      <a:pt x="3138" y="4131"/>
                    </a:lnTo>
                    <a:close/>
                    <a:moveTo>
                      <a:pt x="3949" y="3904"/>
                    </a:moveTo>
                    <a:cubicBezTo>
                      <a:pt x="3951" y="3902"/>
                      <a:pt x="3951" y="3902"/>
                      <a:pt x="3951" y="3902"/>
                    </a:cubicBezTo>
                    <a:cubicBezTo>
                      <a:pt x="3632" y="4012"/>
                      <a:pt x="3632" y="4012"/>
                      <a:pt x="3632" y="4012"/>
                    </a:cubicBezTo>
                    <a:cubicBezTo>
                      <a:pt x="4233" y="4797"/>
                      <a:pt x="4233" y="4797"/>
                      <a:pt x="4233" y="4797"/>
                    </a:cubicBezTo>
                    <a:cubicBezTo>
                      <a:pt x="4296" y="4710"/>
                      <a:pt x="4296" y="4710"/>
                      <a:pt x="4296" y="4710"/>
                    </a:cubicBezTo>
                    <a:cubicBezTo>
                      <a:pt x="4307" y="4444"/>
                      <a:pt x="4307" y="4444"/>
                      <a:pt x="4307" y="4444"/>
                    </a:cubicBezTo>
                    <a:lnTo>
                      <a:pt x="3949" y="3904"/>
                    </a:lnTo>
                    <a:close/>
                    <a:moveTo>
                      <a:pt x="4289" y="5450"/>
                    </a:moveTo>
                    <a:cubicBezTo>
                      <a:pt x="4301" y="5385"/>
                      <a:pt x="4301" y="5385"/>
                      <a:pt x="4301" y="5385"/>
                    </a:cubicBezTo>
                    <a:cubicBezTo>
                      <a:pt x="4209" y="5224"/>
                      <a:pt x="4209" y="5224"/>
                      <a:pt x="4209" y="5224"/>
                    </a:cubicBezTo>
                    <a:cubicBezTo>
                      <a:pt x="4266" y="5183"/>
                      <a:pt x="4266" y="5183"/>
                      <a:pt x="4266" y="5183"/>
                    </a:cubicBezTo>
                    <a:cubicBezTo>
                      <a:pt x="4174" y="4965"/>
                      <a:pt x="4174" y="4965"/>
                      <a:pt x="4174" y="4965"/>
                    </a:cubicBezTo>
                    <a:cubicBezTo>
                      <a:pt x="4173" y="4966"/>
                      <a:pt x="4172" y="4967"/>
                      <a:pt x="4171" y="4968"/>
                    </a:cubicBezTo>
                    <a:cubicBezTo>
                      <a:pt x="4150" y="4987"/>
                      <a:pt x="4128" y="5009"/>
                      <a:pt x="4113" y="5028"/>
                    </a:cubicBezTo>
                    <a:cubicBezTo>
                      <a:pt x="4076" y="5071"/>
                      <a:pt x="4064" y="5124"/>
                      <a:pt x="4052" y="5157"/>
                    </a:cubicBezTo>
                    <a:cubicBezTo>
                      <a:pt x="4042" y="5188"/>
                      <a:pt x="4011" y="5303"/>
                      <a:pt x="3996" y="5343"/>
                    </a:cubicBezTo>
                    <a:cubicBezTo>
                      <a:pt x="3993" y="5352"/>
                      <a:pt x="3989" y="5363"/>
                      <a:pt x="3985" y="5374"/>
                    </a:cubicBezTo>
                    <a:cubicBezTo>
                      <a:pt x="4007" y="5395"/>
                      <a:pt x="4103" y="5482"/>
                      <a:pt x="4173" y="5545"/>
                    </a:cubicBezTo>
                    <a:cubicBezTo>
                      <a:pt x="4195" y="5565"/>
                      <a:pt x="4214" y="5581"/>
                      <a:pt x="4228" y="5593"/>
                    </a:cubicBezTo>
                    <a:cubicBezTo>
                      <a:pt x="4235" y="5598"/>
                      <a:pt x="4241" y="5603"/>
                      <a:pt x="4245" y="5606"/>
                    </a:cubicBezTo>
                    <a:cubicBezTo>
                      <a:pt x="4247" y="5608"/>
                      <a:pt x="4248" y="5609"/>
                      <a:pt x="4250" y="5610"/>
                    </a:cubicBezTo>
                    <a:cubicBezTo>
                      <a:pt x="4250" y="5611"/>
                      <a:pt x="4251" y="5611"/>
                      <a:pt x="4251" y="5612"/>
                    </a:cubicBezTo>
                    <a:cubicBezTo>
                      <a:pt x="4252" y="5612"/>
                      <a:pt x="4252" y="5613"/>
                      <a:pt x="4253" y="5613"/>
                    </a:cubicBezTo>
                    <a:cubicBezTo>
                      <a:pt x="4253" y="5614"/>
                      <a:pt x="4254" y="5614"/>
                      <a:pt x="4255" y="5615"/>
                    </a:cubicBezTo>
                    <a:cubicBezTo>
                      <a:pt x="4255" y="5616"/>
                      <a:pt x="4255" y="5616"/>
                      <a:pt x="4255" y="5616"/>
                    </a:cubicBezTo>
                    <a:cubicBezTo>
                      <a:pt x="4255" y="5617"/>
                      <a:pt x="4256" y="5617"/>
                      <a:pt x="4256" y="5618"/>
                    </a:cubicBezTo>
                    <a:cubicBezTo>
                      <a:pt x="4260" y="5622"/>
                      <a:pt x="4273" y="5638"/>
                      <a:pt x="4286" y="5657"/>
                    </a:cubicBezTo>
                    <a:cubicBezTo>
                      <a:pt x="4300" y="5678"/>
                      <a:pt x="4315" y="5705"/>
                      <a:pt x="4315" y="5735"/>
                    </a:cubicBezTo>
                    <a:cubicBezTo>
                      <a:pt x="4393" y="5758"/>
                      <a:pt x="4393" y="5758"/>
                      <a:pt x="4393" y="5758"/>
                    </a:cubicBezTo>
                    <a:cubicBezTo>
                      <a:pt x="4392" y="5750"/>
                      <a:pt x="4392" y="5741"/>
                      <a:pt x="4392" y="5730"/>
                    </a:cubicBezTo>
                    <a:cubicBezTo>
                      <a:pt x="4392" y="5670"/>
                      <a:pt x="4395" y="5565"/>
                      <a:pt x="4395" y="5543"/>
                    </a:cubicBezTo>
                    <a:lnTo>
                      <a:pt x="4289" y="5450"/>
                    </a:lnTo>
                    <a:close/>
                    <a:moveTo>
                      <a:pt x="3658" y="5716"/>
                    </a:moveTo>
                    <a:cubicBezTo>
                      <a:pt x="3658" y="5749"/>
                      <a:pt x="3651" y="5786"/>
                      <a:pt x="3637" y="5826"/>
                    </a:cubicBezTo>
                    <a:cubicBezTo>
                      <a:pt x="3635" y="5833"/>
                      <a:pt x="3631" y="5839"/>
                      <a:pt x="3628" y="5846"/>
                    </a:cubicBezTo>
                    <a:cubicBezTo>
                      <a:pt x="3684" y="5868"/>
                      <a:pt x="3684" y="5868"/>
                      <a:pt x="3684" y="5868"/>
                    </a:cubicBezTo>
                    <a:cubicBezTo>
                      <a:pt x="3724" y="5765"/>
                      <a:pt x="3724" y="5765"/>
                      <a:pt x="3724" y="5765"/>
                    </a:cubicBezTo>
                    <a:cubicBezTo>
                      <a:pt x="3725" y="5578"/>
                      <a:pt x="3725" y="5578"/>
                      <a:pt x="3725" y="5578"/>
                    </a:cubicBezTo>
                    <a:cubicBezTo>
                      <a:pt x="3682" y="5591"/>
                      <a:pt x="3646" y="5601"/>
                      <a:pt x="3629" y="5605"/>
                    </a:cubicBezTo>
                    <a:cubicBezTo>
                      <a:pt x="3629" y="5605"/>
                      <a:pt x="3620" y="5590"/>
                      <a:pt x="3620" y="5590"/>
                    </a:cubicBezTo>
                    <a:cubicBezTo>
                      <a:pt x="3616" y="5584"/>
                      <a:pt x="3616" y="5584"/>
                      <a:pt x="3616" y="5584"/>
                    </a:cubicBezTo>
                    <a:cubicBezTo>
                      <a:pt x="3642" y="5622"/>
                      <a:pt x="3658" y="5665"/>
                      <a:pt x="3658" y="5716"/>
                    </a:cubicBezTo>
                    <a:close/>
                    <a:moveTo>
                      <a:pt x="3589" y="5548"/>
                    </a:moveTo>
                    <a:cubicBezTo>
                      <a:pt x="3587" y="5546"/>
                      <a:pt x="3587" y="5546"/>
                      <a:pt x="3587" y="5546"/>
                    </a:cubicBezTo>
                    <a:cubicBezTo>
                      <a:pt x="3593" y="5553"/>
                      <a:pt x="3598" y="5560"/>
                      <a:pt x="3604" y="5567"/>
                    </a:cubicBezTo>
                    <a:cubicBezTo>
                      <a:pt x="3609" y="5566"/>
                      <a:pt x="3609" y="5566"/>
                      <a:pt x="3609" y="5566"/>
                    </a:cubicBezTo>
                    <a:cubicBezTo>
                      <a:pt x="3609" y="5565"/>
                      <a:pt x="3654" y="5553"/>
                      <a:pt x="3712" y="5534"/>
                    </a:cubicBezTo>
                    <a:cubicBezTo>
                      <a:pt x="3764" y="5518"/>
                      <a:pt x="3824" y="5494"/>
                      <a:pt x="3857" y="5470"/>
                    </a:cubicBezTo>
                    <a:cubicBezTo>
                      <a:pt x="3777" y="5206"/>
                      <a:pt x="3777" y="5206"/>
                      <a:pt x="3777" y="5206"/>
                    </a:cubicBezTo>
                    <a:cubicBezTo>
                      <a:pt x="3609" y="5035"/>
                      <a:pt x="3609" y="5035"/>
                      <a:pt x="3609" y="5035"/>
                    </a:cubicBezTo>
                    <a:cubicBezTo>
                      <a:pt x="3481" y="5140"/>
                      <a:pt x="3481" y="5140"/>
                      <a:pt x="3481" y="5140"/>
                    </a:cubicBezTo>
                    <a:lnTo>
                      <a:pt x="3589" y="5548"/>
                    </a:lnTo>
                    <a:close/>
                    <a:moveTo>
                      <a:pt x="3415" y="4436"/>
                    </a:moveTo>
                    <a:cubicBezTo>
                      <a:pt x="3421" y="4426"/>
                      <a:pt x="3421" y="4426"/>
                      <a:pt x="3421" y="4426"/>
                    </a:cubicBezTo>
                    <a:cubicBezTo>
                      <a:pt x="3439" y="4397"/>
                      <a:pt x="3439" y="4397"/>
                      <a:pt x="3439" y="4397"/>
                    </a:cubicBezTo>
                    <a:cubicBezTo>
                      <a:pt x="3345" y="4320"/>
                      <a:pt x="3345" y="4320"/>
                      <a:pt x="3345" y="4320"/>
                    </a:cubicBezTo>
                    <a:cubicBezTo>
                      <a:pt x="3283" y="4397"/>
                      <a:pt x="3283" y="4397"/>
                      <a:pt x="3283" y="4397"/>
                    </a:cubicBezTo>
                    <a:cubicBezTo>
                      <a:pt x="3276" y="4407"/>
                      <a:pt x="3276" y="4407"/>
                      <a:pt x="3276" y="4407"/>
                    </a:cubicBezTo>
                    <a:cubicBezTo>
                      <a:pt x="3262" y="4428"/>
                      <a:pt x="3262" y="4428"/>
                      <a:pt x="3262" y="4428"/>
                    </a:cubicBezTo>
                    <a:cubicBezTo>
                      <a:pt x="3361" y="4508"/>
                      <a:pt x="3361" y="4508"/>
                      <a:pt x="3361" y="4508"/>
                    </a:cubicBezTo>
                    <a:cubicBezTo>
                      <a:pt x="3418" y="4439"/>
                      <a:pt x="3418" y="4439"/>
                      <a:pt x="3418" y="4439"/>
                    </a:cubicBezTo>
                    <a:lnTo>
                      <a:pt x="3415" y="4436"/>
                    </a:lnTo>
                    <a:close/>
                    <a:moveTo>
                      <a:pt x="3349" y="4557"/>
                    </a:moveTo>
                    <a:cubicBezTo>
                      <a:pt x="3349" y="4557"/>
                      <a:pt x="3349" y="4557"/>
                      <a:pt x="3349" y="4557"/>
                    </a:cubicBezTo>
                    <a:cubicBezTo>
                      <a:pt x="3446" y="4636"/>
                      <a:pt x="3446" y="4636"/>
                      <a:pt x="3446" y="4636"/>
                    </a:cubicBezTo>
                    <a:cubicBezTo>
                      <a:pt x="3530" y="4530"/>
                      <a:pt x="3530" y="4530"/>
                      <a:pt x="3530" y="4530"/>
                    </a:cubicBezTo>
                    <a:cubicBezTo>
                      <a:pt x="3433" y="4451"/>
                      <a:pt x="3433" y="4451"/>
                      <a:pt x="3433" y="4451"/>
                    </a:cubicBezTo>
                    <a:lnTo>
                      <a:pt x="3349" y="4557"/>
                    </a:lnTo>
                    <a:close/>
                    <a:moveTo>
                      <a:pt x="3406" y="4712"/>
                    </a:moveTo>
                    <a:cubicBezTo>
                      <a:pt x="3493" y="4822"/>
                      <a:pt x="3493" y="4822"/>
                      <a:pt x="3493" y="4822"/>
                    </a:cubicBezTo>
                    <a:cubicBezTo>
                      <a:pt x="3522" y="4784"/>
                      <a:pt x="3522" y="4784"/>
                      <a:pt x="3522" y="4784"/>
                    </a:cubicBezTo>
                    <a:cubicBezTo>
                      <a:pt x="3520" y="4783"/>
                      <a:pt x="3520" y="4783"/>
                      <a:pt x="3520" y="4783"/>
                    </a:cubicBezTo>
                    <a:cubicBezTo>
                      <a:pt x="3553" y="4743"/>
                      <a:pt x="3553" y="4743"/>
                      <a:pt x="3553" y="4743"/>
                    </a:cubicBezTo>
                    <a:cubicBezTo>
                      <a:pt x="3548" y="4739"/>
                      <a:pt x="3548" y="4739"/>
                      <a:pt x="3548" y="4739"/>
                    </a:cubicBezTo>
                    <a:cubicBezTo>
                      <a:pt x="3549" y="4739"/>
                      <a:pt x="3549" y="4739"/>
                      <a:pt x="3549" y="4739"/>
                    </a:cubicBezTo>
                    <a:cubicBezTo>
                      <a:pt x="3450" y="4657"/>
                      <a:pt x="3450" y="4657"/>
                      <a:pt x="3450" y="4657"/>
                    </a:cubicBezTo>
                    <a:lnTo>
                      <a:pt x="3406" y="4712"/>
                    </a:lnTo>
                    <a:close/>
                    <a:moveTo>
                      <a:pt x="3834" y="5125"/>
                    </a:moveTo>
                    <a:cubicBezTo>
                      <a:pt x="3827" y="5135"/>
                      <a:pt x="3827" y="5135"/>
                      <a:pt x="3827" y="5135"/>
                    </a:cubicBezTo>
                    <a:cubicBezTo>
                      <a:pt x="3819" y="5146"/>
                      <a:pt x="3819" y="5146"/>
                      <a:pt x="3819" y="5146"/>
                    </a:cubicBezTo>
                    <a:cubicBezTo>
                      <a:pt x="3908" y="5218"/>
                      <a:pt x="3908" y="5218"/>
                      <a:pt x="3908" y="5218"/>
                    </a:cubicBezTo>
                    <a:cubicBezTo>
                      <a:pt x="3993" y="5113"/>
                      <a:pt x="3993" y="5113"/>
                      <a:pt x="3993" y="5113"/>
                    </a:cubicBezTo>
                    <a:cubicBezTo>
                      <a:pt x="3900" y="5037"/>
                      <a:pt x="3900" y="5037"/>
                      <a:pt x="3900" y="5037"/>
                    </a:cubicBezTo>
                    <a:cubicBezTo>
                      <a:pt x="3833" y="5124"/>
                      <a:pt x="3833" y="5124"/>
                      <a:pt x="3833" y="5124"/>
                    </a:cubicBezTo>
                    <a:lnTo>
                      <a:pt x="3834" y="5125"/>
                    </a:lnTo>
                    <a:close/>
                    <a:moveTo>
                      <a:pt x="3899" y="5003"/>
                    </a:moveTo>
                    <a:cubicBezTo>
                      <a:pt x="3805" y="4923"/>
                      <a:pt x="3805" y="4923"/>
                      <a:pt x="3805" y="4923"/>
                    </a:cubicBezTo>
                    <a:cubicBezTo>
                      <a:pt x="3735" y="5013"/>
                      <a:pt x="3735" y="5013"/>
                      <a:pt x="3735" y="5013"/>
                    </a:cubicBezTo>
                    <a:cubicBezTo>
                      <a:pt x="3734" y="5016"/>
                      <a:pt x="3734" y="5016"/>
                      <a:pt x="3734" y="5016"/>
                    </a:cubicBezTo>
                    <a:cubicBezTo>
                      <a:pt x="3725" y="5032"/>
                      <a:pt x="3725" y="5032"/>
                      <a:pt x="3725" y="5032"/>
                    </a:cubicBezTo>
                    <a:cubicBezTo>
                      <a:pt x="3820" y="5113"/>
                      <a:pt x="3820" y="5113"/>
                      <a:pt x="3820" y="5113"/>
                    </a:cubicBezTo>
                    <a:cubicBezTo>
                      <a:pt x="3887" y="5027"/>
                      <a:pt x="3887" y="5027"/>
                      <a:pt x="3887" y="5027"/>
                    </a:cubicBezTo>
                    <a:cubicBezTo>
                      <a:pt x="3884" y="5025"/>
                      <a:pt x="3884" y="5025"/>
                      <a:pt x="3884" y="5025"/>
                    </a:cubicBezTo>
                    <a:cubicBezTo>
                      <a:pt x="3891" y="5014"/>
                      <a:pt x="3891" y="5014"/>
                      <a:pt x="3891" y="5014"/>
                    </a:cubicBezTo>
                    <a:lnTo>
                      <a:pt x="3899" y="5003"/>
                    </a:lnTo>
                    <a:close/>
                    <a:moveTo>
                      <a:pt x="3806" y="4886"/>
                    </a:moveTo>
                    <a:cubicBezTo>
                      <a:pt x="3711" y="4805"/>
                      <a:pt x="3711" y="4805"/>
                      <a:pt x="3711" y="4805"/>
                    </a:cubicBezTo>
                    <a:cubicBezTo>
                      <a:pt x="3654" y="4877"/>
                      <a:pt x="3654" y="4877"/>
                      <a:pt x="3654" y="4877"/>
                    </a:cubicBezTo>
                    <a:cubicBezTo>
                      <a:pt x="3654" y="4877"/>
                      <a:pt x="3654" y="4877"/>
                      <a:pt x="3654" y="4877"/>
                    </a:cubicBezTo>
                    <a:cubicBezTo>
                      <a:pt x="3647" y="4888"/>
                      <a:pt x="3647" y="4888"/>
                      <a:pt x="3647" y="4888"/>
                    </a:cubicBezTo>
                    <a:cubicBezTo>
                      <a:pt x="3629" y="4913"/>
                      <a:pt x="3629" y="4913"/>
                      <a:pt x="3629" y="4913"/>
                    </a:cubicBezTo>
                    <a:cubicBezTo>
                      <a:pt x="3727" y="4997"/>
                      <a:pt x="3727" y="4997"/>
                      <a:pt x="3727" y="4997"/>
                    </a:cubicBezTo>
                    <a:cubicBezTo>
                      <a:pt x="3730" y="4993"/>
                      <a:pt x="3730" y="4993"/>
                      <a:pt x="3730" y="4993"/>
                    </a:cubicBezTo>
                    <a:cubicBezTo>
                      <a:pt x="3793" y="4911"/>
                      <a:pt x="3793" y="4911"/>
                      <a:pt x="3793" y="4911"/>
                    </a:cubicBezTo>
                    <a:cubicBezTo>
                      <a:pt x="3798" y="4902"/>
                      <a:pt x="3798" y="4902"/>
                      <a:pt x="3798" y="4902"/>
                    </a:cubicBezTo>
                    <a:lnTo>
                      <a:pt x="3806" y="4886"/>
                    </a:lnTo>
                    <a:close/>
                    <a:moveTo>
                      <a:pt x="3719" y="4755"/>
                    </a:moveTo>
                    <a:cubicBezTo>
                      <a:pt x="3627" y="4677"/>
                      <a:pt x="3627" y="4677"/>
                      <a:pt x="3627" y="4677"/>
                    </a:cubicBezTo>
                    <a:cubicBezTo>
                      <a:pt x="3543" y="4784"/>
                      <a:pt x="3543" y="4784"/>
                      <a:pt x="3543" y="4784"/>
                    </a:cubicBezTo>
                    <a:cubicBezTo>
                      <a:pt x="3640" y="4866"/>
                      <a:pt x="3640" y="4866"/>
                      <a:pt x="3640" y="4866"/>
                    </a:cubicBezTo>
                    <a:cubicBezTo>
                      <a:pt x="3698" y="4794"/>
                      <a:pt x="3698" y="4794"/>
                      <a:pt x="3698" y="4794"/>
                    </a:cubicBezTo>
                    <a:cubicBezTo>
                      <a:pt x="3694" y="4791"/>
                      <a:pt x="3694" y="4791"/>
                      <a:pt x="3694" y="4791"/>
                    </a:cubicBezTo>
                    <a:cubicBezTo>
                      <a:pt x="3702" y="4780"/>
                      <a:pt x="3702" y="4780"/>
                      <a:pt x="3702" y="4780"/>
                    </a:cubicBezTo>
                    <a:lnTo>
                      <a:pt x="3719" y="4755"/>
                    </a:lnTo>
                    <a:close/>
                    <a:moveTo>
                      <a:pt x="3503" y="4835"/>
                    </a:moveTo>
                    <a:cubicBezTo>
                      <a:pt x="3585" y="4939"/>
                      <a:pt x="3585" y="4939"/>
                      <a:pt x="3585" y="4939"/>
                    </a:cubicBezTo>
                    <a:cubicBezTo>
                      <a:pt x="3632" y="4879"/>
                      <a:pt x="3632" y="4879"/>
                      <a:pt x="3632" y="4879"/>
                    </a:cubicBezTo>
                    <a:cubicBezTo>
                      <a:pt x="3630" y="4877"/>
                      <a:pt x="3630" y="4877"/>
                      <a:pt x="3630" y="4877"/>
                    </a:cubicBezTo>
                    <a:cubicBezTo>
                      <a:pt x="3631" y="4877"/>
                      <a:pt x="3631" y="4877"/>
                      <a:pt x="3631" y="4877"/>
                    </a:cubicBezTo>
                    <a:cubicBezTo>
                      <a:pt x="3535" y="4795"/>
                      <a:pt x="3535" y="4795"/>
                      <a:pt x="3535" y="4795"/>
                    </a:cubicBezTo>
                    <a:lnTo>
                      <a:pt x="3503" y="4835"/>
                    </a:lnTo>
                    <a:close/>
                    <a:moveTo>
                      <a:pt x="3595" y="4952"/>
                    </a:moveTo>
                    <a:cubicBezTo>
                      <a:pt x="3615" y="4977"/>
                      <a:pt x="3615" y="4977"/>
                      <a:pt x="3615" y="4977"/>
                    </a:cubicBezTo>
                    <a:cubicBezTo>
                      <a:pt x="3687" y="5050"/>
                      <a:pt x="3687" y="5050"/>
                      <a:pt x="3687" y="5050"/>
                    </a:cubicBezTo>
                    <a:cubicBezTo>
                      <a:pt x="3718" y="5009"/>
                      <a:pt x="3718" y="5009"/>
                      <a:pt x="3718" y="5009"/>
                    </a:cubicBezTo>
                    <a:cubicBezTo>
                      <a:pt x="3717" y="5009"/>
                      <a:pt x="3717" y="5009"/>
                      <a:pt x="3717" y="5009"/>
                    </a:cubicBezTo>
                    <a:cubicBezTo>
                      <a:pt x="3718" y="5007"/>
                      <a:pt x="3718" y="5007"/>
                      <a:pt x="3718" y="5007"/>
                    </a:cubicBezTo>
                    <a:cubicBezTo>
                      <a:pt x="3619" y="4922"/>
                      <a:pt x="3619" y="4922"/>
                      <a:pt x="3619" y="4922"/>
                    </a:cubicBezTo>
                    <a:lnTo>
                      <a:pt x="3595" y="4952"/>
                    </a:lnTo>
                    <a:close/>
                    <a:moveTo>
                      <a:pt x="3698" y="5061"/>
                    </a:moveTo>
                    <a:cubicBezTo>
                      <a:pt x="3789" y="5154"/>
                      <a:pt x="3789" y="5154"/>
                      <a:pt x="3789" y="5154"/>
                    </a:cubicBezTo>
                    <a:cubicBezTo>
                      <a:pt x="3812" y="5124"/>
                      <a:pt x="3812" y="5124"/>
                      <a:pt x="3812" y="5124"/>
                    </a:cubicBezTo>
                    <a:cubicBezTo>
                      <a:pt x="3714" y="5041"/>
                      <a:pt x="3714" y="5041"/>
                      <a:pt x="3714" y="5041"/>
                    </a:cubicBezTo>
                    <a:lnTo>
                      <a:pt x="3698" y="5061"/>
                    </a:lnTo>
                    <a:close/>
                    <a:moveTo>
                      <a:pt x="3801" y="5165"/>
                    </a:moveTo>
                    <a:cubicBezTo>
                      <a:pt x="3817" y="5182"/>
                      <a:pt x="3817" y="5182"/>
                      <a:pt x="3817" y="5182"/>
                    </a:cubicBezTo>
                    <a:cubicBezTo>
                      <a:pt x="3894" y="5436"/>
                      <a:pt x="3894" y="5436"/>
                      <a:pt x="3894" y="5436"/>
                    </a:cubicBezTo>
                    <a:cubicBezTo>
                      <a:pt x="3934" y="5392"/>
                      <a:pt x="3941" y="5361"/>
                      <a:pt x="3954" y="5327"/>
                    </a:cubicBezTo>
                    <a:cubicBezTo>
                      <a:pt x="3967" y="5292"/>
                      <a:pt x="3998" y="5176"/>
                      <a:pt x="4010" y="5143"/>
                    </a:cubicBezTo>
                    <a:cubicBezTo>
                      <a:pt x="4015" y="5128"/>
                      <a:pt x="4021" y="5104"/>
                      <a:pt x="4032" y="5078"/>
                    </a:cubicBezTo>
                    <a:cubicBezTo>
                      <a:pt x="4012" y="5061"/>
                      <a:pt x="3970" y="5025"/>
                      <a:pt x="3934" y="4993"/>
                    </a:cubicBezTo>
                    <a:cubicBezTo>
                      <a:pt x="3908" y="5026"/>
                      <a:pt x="3908" y="5026"/>
                      <a:pt x="3908" y="5026"/>
                    </a:cubicBezTo>
                    <a:cubicBezTo>
                      <a:pt x="4012" y="5111"/>
                      <a:pt x="4012" y="5111"/>
                      <a:pt x="4012" y="5111"/>
                    </a:cubicBezTo>
                    <a:cubicBezTo>
                      <a:pt x="3910" y="5238"/>
                      <a:pt x="3910" y="5238"/>
                      <a:pt x="3910" y="5238"/>
                    </a:cubicBezTo>
                    <a:cubicBezTo>
                      <a:pt x="3809" y="5156"/>
                      <a:pt x="3809" y="5156"/>
                      <a:pt x="3809" y="5156"/>
                    </a:cubicBezTo>
                    <a:lnTo>
                      <a:pt x="3801" y="5165"/>
                    </a:lnTo>
                    <a:close/>
                    <a:moveTo>
                      <a:pt x="3921" y="4982"/>
                    </a:moveTo>
                    <a:cubicBezTo>
                      <a:pt x="3892" y="4956"/>
                      <a:pt x="3868" y="4935"/>
                      <a:pt x="3868" y="4935"/>
                    </a:cubicBezTo>
                    <a:cubicBezTo>
                      <a:pt x="3864" y="4932"/>
                      <a:pt x="3864" y="4932"/>
                      <a:pt x="3864" y="4932"/>
                    </a:cubicBezTo>
                    <a:cubicBezTo>
                      <a:pt x="3839" y="4879"/>
                      <a:pt x="3839" y="4879"/>
                      <a:pt x="3839" y="4879"/>
                    </a:cubicBezTo>
                    <a:cubicBezTo>
                      <a:pt x="3813" y="4912"/>
                      <a:pt x="3813" y="4912"/>
                      <a:pt x="3813" y="4912"/>
                    </a:cubicBezTo>
                    <a:cubicBezTo>
                      <a:pt x="3912" y="4995"/>
                      <a:pt x="3912" y="4995"/>
                      <a:pt x="3912" y="4995"/>
                    </a:cubicBezTo>
                    <a:lnTo>
                      <a:pt x="3921" y="4982"/>
                    </a:lnTo>
                    <a:close/>
                    <a:moveTo>
                      <a:pt x="3831" y="4862"/>
                    </a:moveTo>
                    <a:cubicBezTo>
                      <a:pt x="3768" y="4731"/>
                      <a:pt x="3768" y="4731"/>
                      <a:pt x="3768" y="4731"/>
                    </a:cubicBezTo>
                    <a:cubicBezTo>
                      <a:pt x="3719" y="4794"/>
                      <a:pt x="3719" y="4794"/>
                      <a:pt x="3719" y="4794"/>
                    </a:cubicBezTo>
                    <a:cubicBezTo>
                      <a:pt x="3818" y="4878"/>
                      <a:pt x="3818" y="4878"/>
                      <a:pt x="3818" y="4878"/>
                    </a:cubicBezTo>
                    <a:lnTo>
                      <a:pt x="3831" y="4862"/>
                    </a:lnTo>
                    <a:close/>
                    <a:moveTo>
                      <a:pt x="3763" y="4719"/>
                    </a:moveTo>
                    <a:cubicBezTo>
                      <a:pt x="3726" y="4640"/>
                      <a:pt x="3726" y="4640"/>
                      <a:pt x="3726" y="4640"/>
                    </a:cubicBezTo>
                    <a:cubicBezTo>
                      <a:pt x="3718" y="4635"/>
                      <a:pt x="3701" y="4622"/>
                      <a:pt x="3681" y="4608"/>
                    </a:cubicBezTo>
                    <a:cubicBezTo>
                      <a:pt x="3635" y="4666"/>
                      <a:pt x="3635" y="4666"/>
                      <a:pt x="3635" y="4666"/>
                    </a:cubicBezTo>
                    <a:cubicBezTo>
                      <a:pt x="3733" y="4749"/>
                      <a:pt x="3733" y="4749"/>
                      <a:pt x="3733" y="4749"/>
                    </a:cubicBezTo>
                    <a:cubicBezTo>
                      <a:pt x="3759" y="4716"/>
                      <a:pt x="3759" y="4716"/>
                      <a:pt x="3759" y="4716"/>
                    </a:cubicBezTo>
                    <a:lnTo>
                      <a:pt x="3763" y="4719"/>
                    </a:lnTo>
                    <a:close/>
                    <a:moveTo>
                      <a:pt x="3668" y="4598"/>
                    </a:moveTo>
                    <a:cubicBezTo>
                      <a:pt x="3657" y="4590"/>
                      <a:pt x="3647" y="4583"/>
                      <a:pt x="3636" y="4575"/>
                    </a:cubicBezTo>
                    <a:cubicBezTo>
                      <a:pt x="3613" y="4558"/>
                      <a:pt x="3589" y="4540"/>
                      <a:pt x="3571" y="4528"/>
                    </a:cubicBezTo>
                    <a:cubicBezTo>
                      <a:pt x="3567" y="4525"/>
                      <a:pt x="3563" y="4522"/>
                      <a:pt x="3560" y="4519"/>
                    </a:cubicBezTo>
                    <a:cubicBezTo>
                      <a:pt x="3551" y="4530"/>
                      <a:pt x="3551" y="4530"/>
                      <a:pt x="3551" y="4530"/>
                    </a:cubicBezTo>
                    <a:cubicBezTo>
                      <a:pt x="3655" y="4614"/>
                      <a:pt x="3655" y="4614"/>
                      <a:pt x="3655" y="4614"/>
                    </a:cubicBezTo>
                    <a:lnTo>
                      <a:pt x="3668" y="4598"/>
                    </a:lnTo>
                    <a:close/>
                    <a:moveTo>
                      <a:pt x="3543" y="4541"/>
                    </a:moveTo>
                    <a:cubicBezTo>
                      <a:pt x="3458" y="4647"/>
                      <a:pt x="3458" y="4647"/>
                      <a:pt x="3458" y="4647"/>
                    </a:cubicBezTo>
                    <a:cubicBezTo>
                      <a:pt x="3558" y="4728"/>
                      <a:pt x="3558" y="4728"/>
                      <a:pt x="3558" y="4728"/>
                    </a:cubicBezTo>
                    <a:cubicBezTo>
                      <a:pt x="3610" y="4663"/>
                      <a:pt x="3610" y="4663"/>
                      <a:pt x="3610" y="4663"/>
                    </a:cubicBezTo>
                    <a:cubicBezTo>
                      <a:pt x="3603" y="4658"/>
                      <a:pt x="3603" y="4658"/>
                      <a:pt x="3603" y="4658"/>
                    </a:cubicBezTo>
                    <a:cubicBezTo>
                      <a:pt x="3612" y="4647"/>
                      <a:pt x="3612" y="4647"/>
                      <a:pt x="3612" y="4647"/>
                    </a:cubicBezTo>
                    <a:cubicBezTo>
                      <a:pt x="3636" y="4617"/>
                      <a:pt x="3636" y="4617"/>
                      <a:pt x="3636" y="4617"/>
                    </a:cubicBezTo>
                    <a:lnTo>
                      <a:pt x="3543" y="4541"/>
                    </a:lnTo>
                    <a:close/>
                    <a:moveTo>
                      <a:pt x="3546" y="4510"/>
                    </a:moveTo>
                    <a:cubicBezTo>
                      <a:pt x="3545" y="4509"/>
                      <a:pt x="3544" y="4508"/>
                      <a:pt x="3543" y="4508"/>
                    </a:cubicBezTo>
                    <a:cubicBezTo>
                      <a:pt x="3543" y="4508"/>
                      <a:pt x="3543" y="4508"/>
                      <a:pt x="3543" y="4508"/>
                    </a:cubicBezTo>
                    <a:cubicBezTo>
                      <a:pt x="3540" y="4506"/>
                      <a:pt x="3539" y="4505"/>
                      <a:pt x="3538" y="4504"/>
                    </a:cubicBezTo>
                    <a:cubicBezTo>
                      <a:pt x="3533" y="4499"/>
                      <a:pt x="3534" y="4499"/>
                      <a:pt x="3533" y="4498"/>
                    </a:cubicBezTo>
                    <a:cubicBezTo>
                      <a:pt x="3528" y="4488"/>
                      <a:pt x="3506" y="4439"/>
                      <a:pt x="3483" y="4389"/>
                    </a:cubicBezTo>
                    <a:cubicBezTo>
                      <a:pt x="3442" y="4441"/>
                      <a:pt x="3442" y="4441"/>
                      <a:pt x="3442" y="4441"/>
                    </a:cubicBezTo>
                    <a:cubicBezTo>
                      <a:pt x="3539" y="4519"/>
                      <a:pt x="3539" y="4519"/>
                      <a:pt x="3539" y="4519"/>
                    </a:cubicBezTo>
                    <a:lnTo>
                      <a:pt x="3546" y="4510"/>
                    </a:lnTo>
                    <a:close/>
                    <a:moveTo>
                      <a:pt x="3475" y="4373"/>
                    </a:moveTo>
                    <a:cubicBezTo>
                      <a:pt x="3459" y="4337"/>
                      <a:pt x="3445" y="4305"/>
                      <a:pt x="3439" y="4291"/>
                    </a:cubicBezTo>
                    <a:cubicBezTo>
                      <a:pt x="3389" y="4265"/>
                      <a:pt x="3389" y="4265"/>
                      <a:pt x="3389" y="4265"/>
                    </a:cubicBezTo>
                    <a:cubicBezTo>
                      <a:pt x="3353" y="4310"/>
                      <a:pt x="3353" y="4310"/>
                      <a:pt x="3353" y="4310"/>
                    </a:cubicBezTo>
                    <a:cubicBezTo>
                      <a:pt x="3457" y="4394"/>
                      <a:pt x="3457" y="4394"/>
                      <a:pt x="3457" y="4394"/>
                    </a:cubicBezTo>
                    <a:cubicBezTo>
                      <a:pt x="3453" y="4400"/>
                      <a:pt x="3453" y="4400"/>
                      <a:pt x="3453" y="4400"/>
                    </a:cubicBezTo>
                    <a:lnTo>
                      <a:pt x="3475" y="4373"/>
                    </a:lnTo>
                    <a:close/>
                    <a:moveTo>
                      <a:pt x="3374" y="4257"/>
                    </a:moveTo>
                    <a:cubicBezTo>
                      <a:pt x="3295" y="4214"/>
                      <a:pt x="3295" y="4214"/>
                      <a:pt x="3295" y="4214"/>
                    </a:cubicBezTo>
                    <a:cubicBezTo>
                      <a:pt x="3364" y="4270"/>
                      <a:pt x="3364" y="4270"/>
                      <a:pt x="3364" y="4270"/>
                    </a:cubicBezTo>
                    <a:lnTo>
                      <a:pt x="3374" y="4257"/>
                    </a:lnTo>
                    <a:close/>
                    <a:moveTo>
                      <a:pt x="3268" y="4211"/>
                    </a:moveTo>
                    <a:cubicBezTo>
                      <a:pt x="3183" y="4316"/>
                      <a:pt x="3183" y="4316"/>
                      <a:pt x="3183" y="4316"/>
                    </a:cubicBezTo>
                    <a:cubicBezTo>
                      <a:pt x="3271" y="4386"/>
                      <a:pt x="3271" y="4386"/>
                      <a:pt x="3271" y="4386"/>
                    </a:cubicBezTo>
                    <a:cubicBezTo>
                      <a:pt x="3332" y="4310"/>
                      <a:pt x="3332" y="4310"/>
                      <a:pt x="3332" y="4310"/>
                    </a:cubicBezTo>
                    <a:cubicBezTo>
                      <a:pt x="3327" y="4306"/>
                      <a:pt x="3327" y="4306"/>
                      <a:pt x="3327" y="4306"/>
                    </a:cubicBezTo>
                    <a:cubicBezTo>
                      <a:pt x="3334" y="4295"/>
                      <a:pt x="3334" y="4295"/>
                      <a:pt x="3334" y="4295"/>
                    </a:cubicBezTo>
                    <a:cubicBezTo>
                      <a:pt x="3348" y="4275"/>
                      <a:pt x="3348" y="4275"/>
                      <a:pt x="3348" y="4275"/>
                    </a:cubicBezTo>
                    <a:lnTo>
                      <a:pt x="3268" y="4211"/>
                    </a:lnTo>
                    <a:close/>
                    <a:moveTo>
                      <a:pt x="3221" y="4244"/>
                    </a:moveTo>
                    <a:cubicBezTo>
                      <a:pt x="3218" y="4242"/>
                      <a:pt x="3218" y="4242"/>
                      <a:pt x="3218" y="4242"/>
                    </a:cubicBezTo>
                    <a:cubicBezTo>
                      <a:pt x="3169" y="4305"/>
                      <a:pt x="3169" y="4305"/>
                      <a:pt x="3169" y="4305"/>
                    </a:cubicBezTo>
                    <a:cubicBezTo>
                      <a:pt x="3171" y="4306"/>
                      <a:pt x="3171" y="4306"/>
                      <a:pt x="3171" y="4306"/>
                    </a:cubicBezTo>
                    <a:lnTo>
                      <a:pt x="3221" y="4244"/>
                    </a:lnTo>
                    <a:close/>
                    <a:moveTo>
                      <a:pt x="3110" y="4407"/>
                    </a:moveTo>
                    <a:cubicBezTo>
                      <a:pt x="3134" y="4422"/>
                      <a:pt x="3157" y="4437"/>
                      <a:pt x="3175" y="4452"/>
                    </a:cubicBezTo>
                    <a:cubicBezTo>
                      <a:pt x="3183" y="4458"/>
                      <a:pt x="3191" y="4466"/>
                      <a:pt x="3200" y="4474"/>
                    </a:cubicBezTo>
                    <a:cubicBezTo>
                      <a:pt x="3262" y="4397"/>
                      <a:pt x="3262" y="4397"/>
                      <a:pt x="3262" y="4397"/>
                    </a:cubicBezTo>
                    <a:cubicBezTo>
                      <a:pt x="3175" y="4327"/>
                      <a:pt x="3175" y="4327"/>
                      <a:pt x="3175" y="4327"/>
                    </a:cubicBezTo>
                    <a:lnTo>
                      <a:pt x="3110" y="4407"/>
                    </a:lnTo>
                    <a:close/>
                    <a:moveTo>
                      <a:pt x="3212" y="4486"/>
                    </a:moveTo>
                    <a:cubicBezTo>
                      <a:pt x="3240" y="4517"/>
                      <a:pt x="3272" y="4557"/>
                      <a:pt x="3299" y="4593"/>
                    </a:cubicBezTo>
                    <a:cubicBezTo>
                      <a:pt x="3349" y="4531"/>
                      <a:pt x="3349" y="4531"/>
                      <a:pt x="3349" y="4531"/>
                    </a:cubicBezTo>
                    <a:cubicBezTo>
                      <a:pt x="3354" y="4522"/>
                      <a:pt x="3354" y="4522"/>
                      <a:pt x="3354" y="4522"/>
                    </a:cubicBezTo>
                    <a:cubicBezTo>
                      <a:pt x="3351" y="4520"/>
                      <a:pt x="3351" y="4520"/>
                      <a:pt x="3351" y="4520"/>
                    </a:cubicBezTo>
                    <a:cubicBezTo>
                      <a:pt x="3353" y="4519"/>
                      <a:pt x="3353" y="4519"/>
                      <a:pt x="3353" y="4519"/>
                    </a:cubicBezTo>
                    <a:cubicBezTo>
                      <a:pt x="3251" y="4437"/>
                      <a:pt x="3251" y="4437"/>
                      <a:pt x="3251" y="4437"/>
                    </a:cubicBezTo>
                    <a:lnTo>
                      <a:pt x="3212" y="4486"/>
                    </a:lnTo>
                    <a:close/>
                    <a:moveTo>
                      <a:pt x="3309" y="4607"/>
                    </a:moveTo>
                    <a:cubicBezTo>
                      <a:pt x="3333" y="4640"/>
                      <a:pt x="3352" y="4667"/>
                      <a:pt x="3359" y="4679"/>
                    </a:cubicBezTo>
                    <a:cubicBezTo>
                      <a:pt x="3395" y="4697"/>
                      <a:pt x="3395" y="4697"/>
                      <a:pt x="3395" y="4697"/>
                    </a:cubicBezTo>
                    <a:cubicBezTo>
                      <a:pt x="3396" y="4699"/>
                      <a:pt x="3396" y="4699"/>
                      <a:pt x="3396" y="4699"/>
                    </a:cubicBezTo>
                    <a:cubicBezTo>
                      <a:pt x="3437" y="4647"/>
                      <a:pt x="3437" y="4647"/>
                      <a:pt x="3437" y="4647"/>
                    </a:cubicBezTo>
                    <a:cubicBezTo>
                      <a:pt x="3340" y="4568"/>
                      <a:pt x="3340" y="4568"/>
                      <a:pt x="3340" y="4568"/>
                    </a:cubicBezTo>
                    <a:lnTo>
                      <a:pt x="3309" y="4607"/>
                    </a:lnTo>
                    <a:close/>
                    <a:moveTo>
                      <a:pt x="3225" y="4661"/>
                    </a:moveTo>
                    <a:cubicBezTo>
                      <a:pt x="3018" y="4589"/>
                      <a:pt x="3018" y="4589"/>
                      <a:pt x="3018" y="4589"/>
                    </a:cubicBezTo>
                    <a:cubicBezTo>
                      <a:pt x="3008" y="4619"/>
                      <a:pt x="2976" y="4710"/>
                      <a:pt x="2946" y="4796"/>
                    </a:cubicBezTo>
                    <a:cubicBezTo>
                      <a:pt x="3184" y="4876"/>
                      <a:pt x="3184" y="4876"/>
                      <a:pt x="3184" y="4876"/>
                    </a:cubicBezTo>
                    <a:cubicBezTo>
                      <a:pt x="3124" y="5026"/>
                      <a:pt x="3124" y="5026"/>
                      <a:pt x="3124" y="5026"/>
                    </a:cubicBezTo>
                    <a:cubicBezTo>
                      <a:pt x="3342" y="5109"/>
                      <a:pt x="3342" y="5109"/>
                      <a:pt x="3342" y="5109"/>
                    </a:cubicBezTo>
                    <a:cubicBezTo>
                      <a:pt x="3351" y="5091"/>
                      <a:pt x="3377" y="5038"/>
                      <a:pt x="3404" y="4985"/>
                    </a:cubicBezTo>
                    <a:cubicBezTo>
                      <a:pt x="3420" y="4952"/>
                      <a:pt x="3437" y="4919"/>
                      <a:pt x="3450" y="4894"/>
                    </a:cubicBezTo>
                    <a:cubicBezTo>
                      <a:pt x="3456" y="4882"/>
                      <a:pt x="3462" y="4872"/>
                      <a:pt x="3466" y="4864"/>
                    </a:cubicBezTo>
                    <a:cubicBezTo>
                      <a:pt x="3466" y="4863"/>
                      <a:pt x="3467" y="4863"/>
                      <a:pt x="3467" y="4862"/>
                    </a:cubicBezTo>
                    <a:cubicBezTo>
                      <a:pt x="3365" y="4733"/>
                      <a:pt x="3365" y="4733"/>
                      <a:pt x="3365" y="4733"/>
                    </a:cubicBezTo>
                    <a:lnTo>
                      <a:pt x="3225" y="4661"/>
                    </a:lnTo>
                    <a:close/>
                    <a:moveTo>
                      <a:pt x="2940" y="4811"/>
                    </a:moveTo>
                    <a:cubicBezTo>
                      <a:pt x="2913" y="4889"/>
                      <a:pt x="2889" y="4958"/>
                      <a:pt x="2888" y="4959"/>
                    </a:cubicBezTo>
                    <a:cubicBezTo>
                      <a:pt x="2886" y="4964"/>
                      <a:pt x="2886" y="4964"/>
                      <a:pt x="2886" y="4964"/>
                    </a:cubicBezTo>
                    <a:cubicBezTo>
                      <a:pt x="2881" y="4964"/>
                      <a:pt x="2881" y="4964"/>
                      <a:pt x="2881" y="4964"/>
                    </a:cubicBezTo>
                    <a:cubicBezTo>
                      <a:pt x="2881" y="4964"/>
                      <a:pt x="2881" y="4964"/>
                      <a:pt x="2881" y="4964"/>
                    </a:cubicBezTo>
                    <a:cubicBezTo>
                      <a:pt x="2879" y="4964"/>
                      <a:pt x="2871" y="4962"/>
                      <a:pt x="2858" y="4961"/>
                    </a:cubicBezTo>
                    <a:cubicBezTo>
                      <a:pt x="2882" y="5199"/>
                      <a:pt x="2882" y="5199"/>
                      <a:pt x="2882" y="5199"/>
                    </a:cubicBezTo>
                    <a:cubicBezTo>
                      <a:pt x="2984" y="5221"/>
                      <a:pt x="3065" y="5247"/>
                      <a:pt x="3152" y="5273"/>
                    </a:cubicBezTo>
                    <a:cubicBezTo>
                      <a:pt x="3182" y="5282"/>
                      <a:pt x="3212" y="5294"/>
                      <a:pt x="3243" y="5308"/>
                    </a:cubicBezTo>
                    <a:cubicBezTo>
                      <a:pt x="3336" y="5125"/>
                      <a:pt x="3336" y="5125"/>
                      <a:pt x="3336" y="5125"/>
                    </a:cubicBezTo>
                    <a:cubicBezTo>
                      <a:pt x="3102" y="5035"/>
                      <a:pt x="3102" y="5035"/>
                      <a:pt x="3102" y="5035"/>
                    </a:cubicBezTo>
                    <a:cubicBezTo>
                      <a:pt x="3162" y="4886"/>
                      <a:pt x="3162" y="4886"/>
                      <a:pt x="3162" y="4886"/>
                    </a:cubicBezTo>
                    <a:lnTo>
                      <a:pt x="2940" y="4811"/>
                    </a:lnTo>
                    <a:close/>
                    <a:moveTo>
                      <a:pt x="3255" y="5314"/>
                    </a:moveTo>
                    <a:cubicBezTo>
                      <a:pt x="3379" y="5372"/>
                      <a:pt x="3500" y="5460"/>
                      <a:pt x="3561" y="5520"/>
                    </a:cubicBezTo>
                    <a:cubicBezTo>
                      <a:pt x="3562" y="5521"/>
                      <a:pt x="3563" y="5522"/>
                      <a:pt x="3564" y="5523"/>
                    </a:cubicBezTo>
                    <a:cubicBezTo>
                      <a:pt x="3463" y="5134"/>
                      <a:pt x="3463" y="5134"/>
                      <a:pt x="3463" y="5134"/>
                    </a:cubicBezTo>
                    <a:cubicBezTo>
                      <a:pt x="3598" y="5024"/>
                      <a:pt x="3598" y="5024"/>
                      <a:pt x="3598" y="5024"/>
                    </a:cubicBezTo>
                    <a:cubicBezTo>
                      <a:pt x="3582" y="5007"/>
                      <a:pt x="3582" y="5007"/>
                      <a:pt x="3582" y="5007"/>
                    </a:cubicBezTo>
                    <a:cubicBezTo>
                      <a:pt x="3478" y="4876"/>
                      <a:pt x="3478" y="4876"/>
                      <a:pt x="3478" y="4876"/>
                    </a:cubicBezTo>
                    <a:cubicBezTo>
                      <a:pt x="3465" y="4900"/>
                      <a:pt x="3439" y="4952"/>
                      <a:pt x="3414" y="5001"/>
                    </a:cubicBezTo>
                    <a:cubicBezTo>
                      <a:pt x="3382" y="5064"/>
                      <a:pt x="3353" y="5123"/>
                      <a:pt x="3353" y="5123"/>
                    </a:cubicBezTo>
                    <a:cubicBezTo>
                      <a:pt x="3350" y="5130"/>
                      <a:pt x="3350" y="5130"/>
                      <a:pt x="3350" y="5130"/>
                    </a:cubicBezTo>
                    <a:cubicBezTo>
                      <a:pt x="3349" y="5130"/>
                      <a:pt x="3349" y="5130"/>
                      <a:pt x="3349" y="5130"/>
                    </a:cubicBezTo>
                    <a:lnTo>
                      <a:pt x="3255" y="5314"/>
                    </a:lnTo>
                    <a:close/>
                    <a:moveTo>
                      <a:pt x="3700" y="5872"/>
                    </a:moveTo>
                    <a:cubicBezTo>
                      <a:pt x="4013" y="5988"/>
                      <a:pt x="4013" y="5988"/>
                      <a:pt x="4013" y="5988"/>
                    </a:cubicBezTo>
                    <a:cubicBezTo>
                      <a:pt x="4021" y="5976"/>
                      <a:pt x="4030" y="5963"/>
                      <a:pt x="4039" y="5952"/>
                    </a:cubicBezTo>
                    <a:cubicBezTo>
                      <a:pt x="4116" y="5856"/>
                      <a:pt x="4166" y="5846"/>
                      <a:pt x="4182" y="5832"/>
                    </a:cubicBezTo>
                    <a:cubicBezTo>
                      <a:pt x="4201" y="5815"/>
                      <a:pt x="4258" y="5762"/>
                      <a:pt x="4265" y="5754"/>
                    </a:cubicBezTo>
                    <a:cubicBezTo>
                      <a:pt x="4267" y="5752"/>
                      <a:pt x="4268" y="5750"/>
                      <a:pt x="4270" y="5749"/>
                    </a:cubicBezTo>
                    <a:cubicBezTo>
                      <a:pt x="4270" y="5744"/>
                      <a:pt x="4271" y="5739"/>
                      <a:pt x="4271" y="5737"/>
                    </a:cubicBezTo>
                    <a:cubicBezTo>
                      <a:pt x="4271" y="5722"/>
                      <a:pt x="4259" y="5698"/>
                      <a:pt x="4246" y="5679"/>
                    </a:cubicBezTo>
                    <a:cubicBezTo>
                      <a:pt x="4240" y="5669"/>
                      <a:pt x="4233" y="5660"/>
                      <a:pt x="4228" y="5654"/>
                    </a:cubicBezTo>
                    <a:cubicBezTo>
                      <a:pt x="4225" y="5651"/>
                      <a:pt x="4223" y="5648"/>
                      <a:pt x="4221" y="5646"/>
                    </a:cubicBezTo>
                    <a:cubicBezTo>
                      <a:pt x="4221" y="5645"/>
                      <a:pt x="4220" y="5645"/>
                      <a:pt x="4219" y="5644"/>
                    </a:cubicBezTo>
                    <a:cubicBezTo>
                      <a:pt x="4212" y="5637"/>
                      <a:pt x="4180" y="5612"/>
                      <a:pt x="4143" y="5579"/>
                    </a:cubicBezTo>
                    <a:cubicBezTo>
                      <a:pt x="4080" y="5523"/>
                      <a:pt x="3998" y="5447"/>
                      <a:pt x="3964" y="5417"/>
                    </a:cubicBezTo>
                    <a:cubicBezTo>
                      <a:pt x="3950" y="5441"/>
                      <a:pt x="3929" y="5468"/>
                      <a:pt x="3895" y="5497"/>
                    </a:cubicBezTo>
                    <a:cubicBezTo>
                      <a:pt x="3858" y="5529"/>
                      <a:pt x="3797" y="5553"/>
                      <a:pt x="3741" y="5572"/>
                    </a:cubicBezTo>
                    <a:cubicBezTo>
                      <a:pt x="3740" y="5768"/>
                      <a:pt x="3740" y="5768"/>
                      <a:pt x="3740" y="5768"/>
                    </a:cubicBezTo>
                    <a:lnTo>
                      <a:pt x="3700" y="5872"/>
                    </a:lnTo>
                    <a:close/>
                    <a:moveTo>
                      <a:pt x="4214" y="5629"/>
                    </a:moveTo>
                    <a:cubicBezTo>
                      <a:pt x="4214" y="5629"/>
                      <a:pt x="4214" y="5629"/>
                      <a:pt x="4214" y="5629"/>
                    </a:cubicBezTo>
                    <a:cubicBezTo>
                      <a:pt x="4214" y="5629"/>
                      <a:pt x="4214" y="5629"/>
                      <a:pt x="4214" y="5629"/>
                    </a:cubicBezTo>
                    <a:close/>
                    <a:moveTo>
                      <a:pt x="4215" y="5623"/>
                    </a:moveTo>
                    <a:cubicBezTo>
                      <a:pt x="4215" y="5623"/>
                      <a:pt x="4215" y="5623"/>
                      <a:pt x="4215" y="5623"/>
                    </a:cubicBezTo>
                    <a:cubicBezTo>
                      <a:pt x="4215" y="5624"/>
                      <a:pt x="4214" y="5624"/>
                      <a:pt x="4214" y="5625"/>
                    </a:cubicBezTo>
                    <a:cubicBezTo>
                      <a:pt x="4214" y="5625"/>
                      <a:pt x="4215" y="5624"/>
                      <a:pt x="4215" y="5623"/>
                    </a:cubicBezTo>
                    <a:close/>
                    <a:moveTo>
                      <a:pt x="4209" y="4877"/>
                    </a:moveTo>
                    <a:cubicBezTo>
                      <a:pt x="4209" y="4877"/>
                      <a:pt x="4209" y="4877"/>
                      <a:pt x="4209" y="4877"/>
                    </a:cubicBezTo>
                    <a:cubicBezTo>
                      <a:pt x="4208" y="4877"/>
                      <a:pt x="4208" y="4877"/>
                      <a:pt x="4208" y="4877"/>
                    </a:cubicBezTo>
                    <a:cubicBezTo>
                      <a:pt x="4208" y="4877"/>
                      <a:pt x="4208" y="4877"/>
                      <a:pt x="4208" y="4877"/>
                    </a:cubicBezTo>
                    <a:cubicBezTo>
                      <a:pt x="4090" y="4722"/>
                      <a:pt x="4090" y="4722"/>
                      <a:pt x="4090" y="4722"/>
                    </a:cubicBezTo>
                    <a:cubicBezTo>
                      <a:pt x="3849" y="4796"/>
                      <a:pt x="3849" y="4796"/>
                      <a:pt x="3849" y="4796"/>
                    </a:cubicBezTo>
                    <a:cubicBezTo>
                      <a:pt x="3901" y="4904"/>
                      <a:pt x="3901" y="4904"/>
                      <a:pt x="3901" y="4904"/>
                    </a:cubicBezTo>
                    <a:cubicBezTo>
                      <a:pt x="3912" y="4914"/>
                      <a:pt x="3948" y="4945"/>
                      <a:pt x="3984" y="4977"/>
                    </a:cubicBezTo>
                    <a:cubicBezTo>
                      <a:pt x="4005" y="4995"/>
                      <a:pt x="4027" y="5014"/>
                      <a:pt x="4043" y="5028"/>
                    </a:cubicBezTo>
                    <a:cubicBezTo>
                      <a:pt x="4047" y="5031"/>
                      <a:pt x="4050" y="5034"/>
                      <a:pt x="4052" y="5036"/>
                    </a:cubicBezTo>
                    <a:cubicBezTo>
                      <a:pt x="4060" y="5023"/>
                      <a:pt x="4068" y="5011"/>
                      <a:pt x="4078" y="4999"/>
                    </a:cubicBezTo>
                    <a:cubicBezTo>
                      <a:pt x="4095" y="4979"/>
                      <a:pt x="4118" y="4955"/>
                      <a:pt x="4141" y="4934"/>
                    </a:cubicBezTo>
                    <a:cubicBezTo>
                      <a:pt x="4173" y="4905"/>
                      <a:pt x="4204" y="4881"/>
                      <a:pt x="4209" y="4877"/>
                    </a:cubicBezTo>
                    <a:close/>
                    <a:moveTo>
                      <a:pt x="3614" y="4098"/>
                    </a:moveTo>
                    <a:cubicBezTo>
                      <a:pt x="3475" y="4262"/>
                      <a:pt x="3475" y="4262"/>
                      <a:pt x="3475" y="4262"/>
                    </a:cubicBezTo>
                    <a:cubicBezTo>
                      <a:pt x="3477" y="4266"/>
                      <a:pt x="3477" y="4266"/>
                      <a:pt x="3477" y="4266"/>
                    </a:cubicBezTo>
                    <a:cubicBezTo>
                      <a:pt x="3477" y="4266"/>
                      <a:pt x="3500" y="4319"/>
                      <a:pt x="3525" y="4372"/>
                    </a:cubicBezTo>
                    <a:cubicBezTo>
                      <a:pt x="3537" y="4399"/>
                      <a:pt x="3549" y="4425"/>
                      <a:pt x="3558" y="4445"/>
                    </a:cubicBezTo>
                    <a:cubicBezTo>
                      <a:pt x="3563" y="4455"/>
                      <a:pt x="3566" y="4463"/>
                      <a:pt x="3569" y="4469"/>
                    </a:cubicBezTo>
                    <a:cubicBezTo>
                      <a:pt x="3570" y="4470"/>
                      <a:pt x="3570" y="4471"/>
                      <a:pt x="3571" y="4472"/>
                    </a:cubicBezTo>
                    <a:cubicBezTo>
                      <a:pt x="3600" y="4492"/>
                      <a:pt x="3757" y="4607"/>
                      <a:pt x="3757" y="4607"/>
                    </a:cubicBezTo>
                    <a:cubicBezTo>
                      <a:pt x="3761" y="4611"/>
                      <a:pt x="3761" y="4611"/>
                      <a:pt x="3761" y="4611"/>
                    </a:cubicBezTo>
                    <a:cubicBezTo>
                      <a:pt x="3842" y="4781"/>
                      <a:pt x="3842" y="4781"/>
                      <a:pt x="3842" y="4781"/>
                    </a:cubicBezTo>
                    <a:cubicBezTo>
                      <a:pt x="4079" y="4708"/>
                      <a:pt x="4079" y="4708"/>
                      <a:pt x="4079" y="4708"/>
                    </a:cubicBezTo>
                    <a:lnTo>
                      <a:pt x="3614" y="4098"/>
                    </a:lnTo>
                    <a:close/>
                    <a:moveTo>
                      <a:pt x="3604" y="4085"/>
                    </a:moveTo>
                    <a:cubicBezTo>
                      <a:pt x="3409" y="3830"/>
                      <a:pt x="3409" y="3830"/>
                      <a:pt x="3409" y="3830"/>
                    </a:cubicBezTo>
                    <a:cubicBezTo>
                      <a:pt x="3228" y="3944"/>
                      <a:pt x="3228" y="3944"/>
                      <a:pt x="3228" y="3944"/>
                    </a:cubicBezTo>
                    <a:cubicBezTo>
                      <a:pt x="3153" y="4103"/>
                      <a:pt x="3153" y="4103"/>
                      <a:pt x="3153" y="4103"/>
                    </a:cubicBezTo>
                    <a:cubicBezTo>
                      <a:pt x="3160" y="4091"/>
                      <a:pt x="3160" y="4091"/>
                      <a:pt x="3160" y="4091"/>
                    </a:cubicBezTo>
                    <a:cubicBezTo>
                      <a:pt x="3461" y="4252"/>
                      <a:pt x="3461" y="4252"/>
                      <a:pt x="3461" y="4252"/>
                    </a:cubicBezTo>
                    <a:lnTo>
                      <a:pt x="3604" y="4085"/>
                    </a:lnTo>
                    <a:close/>
                    <a:moveTo>
                      <a:pt x="3119" y="4164"/>
                    </a:moveTo>
                    <a:cubicBezTo>
                      <a:pt x="3034" y="4270"/>
                      <a:pt x="3034" y="4270"/>
                      <a:pt x="3034" y="4270"/>
                    </a:cubicBezTo>
                    <a:cubicBezTo>
                      <a:pt x="3118" y="4335"/>
                      <a:pt x="3118" y="4335"/>
                      <a:pt x="3118" y="4335"/>
                    </a:cubicBezTo>
                    <a:cubicBezTo>
                      <a:pt x="3148" y="4304"/>
                      <a:pt x="3148" y="4304"/>
                      <a:pt x="3148" y="4304"/>
                    </a:cubicBezTo>
                    <a:cubicBezTo>
                      <a:pt x="3157" y="4296"/>
                      <a:pt x="3157" y="4296"/>
                      <a:pt x="3157" y="4296"/>
                    </a:cubicBezTo>
                    <a:cubicBezTo>
                      <a:pt x="3163" y="4300"/>
                      <a:pt x="3163" y="4300"/>
                      <a:pt x="3163" y="4300"/>
                    </a:cubicBezTo>
                    <a:cubicBezTo>
                      <a:pt x="3212" y="4237"/>
                      <a:pt x="3212" y="4237"/>
                      <a:pt x="3212" y="4237"/>
                    </a:cubicBezTo>
                    <a:lnTo>
                      <a:pt x="3119" y="4164"/>
                    </a:lnTo>
                    <a:close/>
                    <a:moveTo>
                      <a:pt x="3016" y="4273"/>
                    </a:moveTo>
                    <a:cubicBezTo>
                      <a:pt x="2969" y="4329"/>
                      <a:pt x="2969" y="4329"/>
                      <a:pt x="2969" y="4329"/>
                    </a:cubicBezTo>
                    <a:cubicBezTo>
                      <a:pt x="3005" y="4346"/>
                      <a:pt x="3052" y="4372"/>
                      <a:pt x="3096" y="4399"/>
                    </a:cubicBezTo>
                    <a:cubicBezTo>
                      <a:pt x="3162" y="4317"/>
                      <a:pt x="3162" y="4317"/>
                      <a:pt x="3162" y="4317"/>
                    </a:cubicBezTo>
                    <a:cubicBezTo>
                      <a:pt x="3161" y="4316"/>
                      <a:pt x="3161" y="4316"/>
                      <a:pt x="3161" y="4316"/>
                    </a:cubicBezTo>
                    <a:cubicBezTo>
                      <a:pt x="3159" y="4318"/>
                      <a:pt x="3159" y="4318"/>
                      <a:pt x="3159" y="4318"/>
                    </a:cubicBezTo>
                    <a:cubicBezTo>
                      <a:pt x="3157" y="4316"/>
                      <a:pt x="3157" y="4316"/>
                      <a:pt x="3157" y="4316"/>
                    </a:cubicBezTo>
                    <a:cubicBezTo>
                      <a:pt x="3119" y="4354"/>
                      <a:pt x="3119" y="4354"/>
                      <a:pt x="3119" y="4354"/>
                    </a:cubicBezTo>
                    <a:lnTo>
                      <a:pt x="3016" y="4273"/>
                    </a:lnTo>
                    <a:close/>
                    <a:moveTo>
                      <a:pt x="2822" y="4365"/>
                    </a:moveTo>
                    <a:cubicBezTo>
                      <a:pt x="2809" y="4397"/>
                      <a:pt x="2809" y="4397"/>
                      <a:pt x="2809" y="4397"/>
                    </a:cubicBezTo>
                    <a:cubicBezTo>
                      <a:pt x="2902" y="4501"/>
                      <a:pt x="2902" y="4501"/>
                      <a:pt x="2902" y="4501"/>
                    </a:cubicBezTo>
                    <a:cubicBezTo>
                      <a:pt x="3173" y="4595"/>
                      <a:pt x="3173" y="4595"/>
                      <a:pt x="3173" y="4595"/>
                    </a:cubicBezTo>
                    <a:cubicBezTo>
                      <a:pt x="3157" y="4575"/>
                      <a:pt x="3131" y="4543"/>
                      <a:pt x="3099" y="4511"/>
                    </a:cubicBezTo>
                    <a:cubicBezTo>
                      <a:pt x="3049" y="4458"/>
                      <a:pt x="2980" y="4450"/>
                      <a:pt x="2904" y="4401"/>
                    </a:cubicBezTo>
                    <a:cubicBezTo>
                      <a:pt x="2869" y="4378"/>
                      <a:pt x="2842" y="4368"/>
                      <a:pt x="2822" y="4365"/>
                    </a:cubicBezTo>
                    <a:close/>
                    <a:moveTo>
                      <a:pt x="2370" y="4784"/>
                    </a:moveTo>
                    <a:cubicBezTo>
                      <a:pt x="2369" y="4785"/>
                      <a:pt x="2369" y="4787"/>
                      <a:pt x="2369" y="4787"/>
                    </a:cubicBezTo>
                    <a:cubicBezTo>
                      <a:pt x="2368" y="4796"/>
                      <a:pt x="2356" y="4877"/>
                      <a:pt x="2344" y="4959"/>
                    </a:cubicBezTo>
                    <a:cubicBezTo>
                      <a:pt x="2338" y="5002"/>
                      <a:pt x="2331" y="5045"/>
                      <a:pt x="2326" y="5078"/>
                    </a:cubicBezTo>
                    <a:cubicBezTo>
                      <a:pt x="2324" y="5094"/>
                      <a:pt x="2322" y="5108"/>
                      <a:pt x="2320" y="5118"/>
                    </a:cubicBezTo>
                    <a:cubicBezTo>
                      <a:pt x="2319" y="5122"/>
                      <a:pt x="2319" y="5126"/>
                      <a:pt x="2318" y="5129"/>
                    </a:cubicBezTo>
                    <a:cubicBezTo>
                      <a:pt x="2364" y="5133"/>
                      <a:pt x="2462" y="5143"/>
                      <a:pt x="2626" y="5160"/>
                    </a:cubicBezTo>
                    <a:cubicBezTo>
                      <a:pt x="2721" y="5169"/>
                      <a:pt x="2799" y="5182"/>
                      <a:pt x="2868" y="5196"/>
                    </a:cubicBezTo>
                    <a:cubicBezTo>
                      <a:pt x="2844" y="4958"/>
                      <a:pt x="2844" y="4958"/>
                      <a:pt x="2844" y="4958"/>
                    </a:cubicBezTo>
                    <a:cubicBezTo>
                      <a:pt x="2762" y="4946"/>
                      <a:pt x="2571" y="4916"/>
                      <a:pt x="2570" y="4916"/>
                    </a:cubicBezTo>
                    <a:cubicBezTo>
                      <a:pt x="2561" y="4915"/>
                      <a:pt x="2561" y="4915"/>
                      <a:pt x="2561" y="4915"/>
                    </a:cubicBezTo>
                    <a:cubicBezTo>
                      <a:pt x="2598" y="4795"/>
                      <a:pt x="2598" y="4795"/>
                      <a:pt x="2598" y="4795"/>
                    </a:cubicBezTo>
                    <a:lnTo>
                      <a:pt x="2370" y="4784"/>
                    </a:lnTo>
                    <a:close/>
                    <a:moveTo>
                      <a:pt x="2620" y="5204"/>
                    </a:moveTo>
                    <a:cubicBezTo>
                      <a:pt x="2527" y="5768"/>
                      <a:pt x="2527" y="5768"/>
                      <a:pt x="2527" y="5768"/>
                    </a:cubicBezTo>
                    <a:cubicBezTo>
                      <a:pt x="2617" y="5793"/>
                      <a:pt x="2724" y="5824"/>
                      <a:pt x="2797" y="5848"/>
                    </a:cubicBezTo>
                    <a:cubicBezTo>
                      <a:pt x="2829" y="5858"/>
                      <a:pt x="2859" y="5876"/>
                      <a:pt x="2887" y="5898"/>
                    </a:cubicBezTo>
                    <a:cubicBezTo>
                      <a:pt x="3312" y="5394"/>
                      <a:pt x="3312" y="5394"/>
                      <a:pt x="3312" y="5394"/>
                    </a:cubicBezTo>
                    <a:cubicBezTo>
                      <a:pt x="3254" y="5361"/>
                      <a:pt x="3194" y="5333"/>
                      <a:pt x="3139" y="5317"/>
                    </a:cubicBezTo>
                    <a:cubicBezTo>
                      <a:pt x="2990" y="5272"/>
                      <a:pt x="2861" y="5228"/>
                      <a:pt x="2621" y="5204"/>
                    </a:cubicBezTo>
                    <a:cubicBezTo>
                      <a:pt x="2621" y="5204"/>
                      <a:pt x="2621" y="5204"/>
                      <a:pt x="2620" y="5204"/>
                    </a:cubicBezTo>
                    <a:close/>
                    <a:moveTo>
                      <a:pt x="3049" y="6091"/>
                    </a:moveTo>
                    <a:cubicBezTo>
                      <a:pt x="3156" y="6069"/>
                      <a:pt x="3285" y="6054"/>
                      <a:pt x="3350" y="6030"/>
                    </a:cubicBezTo>
                    <a:cubicBezTo>
                      <a:pt x="3353" y="6029"/>
                      <a:pt x="3365" y="6023"/>
                      <a:pt x="3382" y="6013"/>
                    </a:cubicBezTo>
                    <a:cubicBezTo>
                      <a:pt x="3442" y="5981"/>
                      <a:pt x="3565" y="5898"/>
                      <a:pt x="3594" y="5811"/>
                    </a:cubicBezTo>
                    <a:cubicBezTo>
                      <a:pt x="3607" y="5774"/>
                      <a:pt x="3613" y="5743"/>
                      <a:pt x="3613" y="5716"/>
                    </a:cubicBezTo>
                    <a:cubicBezTo>
                      <a:pt x="3612" y="5650"/>
                      <a:pt x="3582" y="5603"/>
                      <a:pt x="3530" y="5552"/>
                    </a:cubicBezTo>
                    <a:cubicBezTo>
                      <a:pt x="3488" y="5511"/>
                      <a:pt x="3410" y="5452"/>
                      <a:pt x="3324" y="5401"/>
                    </a:cubicBezTo>
                    <a:cubicBezTo>
                      <a:pt x="2898" y="5906"/>
                      <a:pt x="2898" y="5906"/>
                      <a:pt x="2898" y="5906"/>
                    </a:cubicBezTo>
                    <a:cubicBezTo>
                      <a:pt x="2971" y="5967"/>
                      <a:pt x="3026" y="6052"/>
                      <a:pt x="3049" y="6091"/>
                    </a:cubicBezTo>
                    <a:close/>
                    <a:moveTo>
                      <a:pt x="3086" y="6130"/>
                    </a:moveTo>
                    <a:cubicBezTo>
                      <a:pt x="3112" y="6147"/>
                      <a:pt x="3151" y="6175"/>
                      <a:pt x="3192" y="6203"/>
                    </a:cubicBezTo>
                    <a:cubicBezTo>
                      <a:pt x="3226" y="6226"/>
                      <a:pt x="3260" y="6249"/>
                      <a:pt x="3286" y="6266"/>
                    </a:cubicBezTo>
                    <a:cubicBezTo>
                      <a:pt x="3299" y="6275"/>
                      <a:pt x="3310" y="6282"/>
                      <a:pt x="3318" y="6287"/>
                    </a:cubicBezTo>
                    <a:cubicBezTo>
                      <a:pt x="3322" y="6290"/>
                      <a:pt x="3326" y="6292"/>
                      <a:pt x="3328" y="6293"/>
                    </a:cubicBezTo>
                    <a:cubicBezTo>
                      <a:pt x="3329" y="6293"/>
                      <a:pt x="3330" y="6294"/>
                      <a:pt x="3330" y="6294"/>
                    </a:cubicBezTo>
                    <a:cubicBezTo>
                      <a:pt x="3367" y="6288"/>
                      <a:pt x="3856" y="6215"/>
                      <a:pt x="3914" y="6205"/>
                    </a:cubicBezTo>
                    <a:cubicBezTo>
                      <a:pt x="3923" y="6180"/>
                      <a:pt x="3954" y="6084"/>
                      <a:pt x="4004" y="6002"/>
                    </a:cubicBezTo>
                    <a:cubicBezTo>
                      <a:pt x="3679" y="5882"/>
                      <a:pt x="3679" y="5882"/>
                      <a:pt x="3679" y="5882"/>
                    </a:cubicBezTo>
                    <a:cubicBezTo>
                      <a:pt x="3679" y="5881"/>
                      <a:pt x="3679" y="5881"/>
                      <a:pt x="3679" y="5881"/>
                    </a:cubicBezTo>
                    <a:cubicBezTo>
                      <a:pt x="3622" y="5859"/>
                      <a:pt x="3622" y="5859"/>
                      <a:pt x="3622" y="5859"/>
                    </a:cubicBezTo>
                    <a:cubicBezTo>
                      <a:pt x="3590" y="5917"/>
                      <a:pt x="3534" y="5966"/>
                      <a:pt x="3483" y="6002"/>
                    </a:cubicBezTo>
                    <a:cubicBezTo>
                      <a:pt x="3423" y="6045"/>
                      <a:pt x="3370" y="6071"/>
                      <a:pt x="3369" y="6071"/>
                    </a:cubicBezTo>
                    <a:cubicBezTo>
                      <a:pt x="3368" y="6072"/>
                      <a:pt x="3368" y="6072"/>
                      <a:pt x="3368" y="6072"/>
                    </a:cubicBezTo>
                    <a:cubicBezTo>
                      <a:pt x="3367" y="6072"/>
                      <a:pt x="3367" y="6072"/>
                      <a:pt x="3367" y="6072"/>
                    </a:cubicBezTo>
                    <a:cubicBezTo>
                      <a:pt x="3300" y="6097"/>
                      <a:pt x="3185" y="6111"/>
                      <a:pt x="3086" y="6130"/>
                    </a:cubicBezTo>
                    <a:close/>
                    <a:moveTo>
                      <a:pt x="3928" y="6566"/>
                    </a:moveTo>
                    <a:cubicBezTo>
                      <a:pt x="4130" y="6783"/>
                      <a:pt x="4130" y="6783"/>
                      <a:pt x="4130" y="6783"/>
                    </a:cubicBezTo>
                    <a:cubicBezTo>
                      <a:pt x="4145" y="6785"/>
                      <a:pt x="4209" y="6796"/>
                      <a:pt x="4276" y="6807"/>
                    </a:cubicBezTo>
                    <a:cubicBezTo>
                      <a:pt x="4334" y="6816"/>
                      <a:pt x="4394" y="6826"/>
                      <a:pt x="4421" y="6829"/>
                    </a:cubicBezTo>
                    <a:cubicBezTo>
                      <a:pt x="4429" y="6787"/>
                      <a:pt x="4442" y="6703"/>
                      <a:pt x="4454" y="6620"/>
                    </a:cubicBezTo>
                    <a:cubicBezTo>
                      <a:pt x="4470" y="6514"/>
                      <a:pt x="4485" y="6408"/>
                      <a:pt x="4488" y="6385"/>
                    </a:cubicBezTo>
                    <a:cubicBezTo>
                      <a:pt x="4494" y="6333"/>
                      <a:pt x="4513" y="6222"/>
                      <a:pt x="4522" y="6172"/>
                    </a:cubicBezTo>
                    <a:cubicBezTo>
                      <a:pt x="4526" y="6154"/>
                      <a:pt x="4535" y="6128"/>
                      <a:pt x="4547" y="6093"/>
                    </a:cubicBezTo>
                    <a:cubicBezTo>
                      <a:pt x="4573" y="6024"/>
                      <a:pt x="4610" y="5928"/>
                      <a:pt x="4631" y="5873"/>
                    </a:cubicBezTo>
                    <a:cubicBezTo>
                      <a:pt x="4632" y="5871"/>
                      <a:pt x="4633" y="5869"/>
                      <a:pt x="4634" y="5866"/>
                    </a:cubicBezTo>
                    <a:cubicBezTo>
                      <a:pt x="4632" y="5873"/>
                      <a:pt x="4632" y="5873"/>
                      <a:pt x="4632" y="5873"/>
                    </a:cubicBezTo>
                    <a:cubicBezTo>
                      <a:pt x="4273" y="5769"/>
                      <a:pt x="4273" y="5769"/>
                      <a:pt x="4273" y="5769"/>
                    </a:cubicBezTo>
                    <a:cubicBezTo>
                      <a:pt x="4256" y="5786"/>
                      <a:pt x="4210" y="5828"/>
                      <a:pt x="4192" y="5844"/>
                    </a:cubicBezTo>
                    <a:cubicBezTo>
                      <a:pt x="4169" y="5863"/>
                      <a:pt x="4129" y="5867"/>
                      <a:pt x="4052" y="5962"/>
                    </a:cubicBezTo>
                    <a:cubicBezTo>
                      <a:pt x="4014" y="6009"/>
                      <a:pt x="3983" y="6073"/>
                      <a:pt x="3961" y="6125"/>
                    </a:cubicBezTo>
                    <a:cubicBezTo>
                      <a:pt x="3942" y="6172"/>
                      <a:pt x="3931" y="6209"/>
                      <a:pt x="3928" y="6215"/>
                    </a:cubicBezTo>
                    <a:lnTo>
                      <a:pt x="3928" y="6566"/>
                    </a:lnTo>
                    <a:close/>
                    <a:moveTo>
                      <a:pt x="4648" y="5832"/>
                    </a:moveTo>
                    <a:cubicBezTo>
                      <a:pt x="4648" y="5831"/>
                      <a:pt x="4648" y="5831"/>
                      <a:pt x="4648" y="5831"/>
                    </a:cubicBezTo>
                    <a:cubicBezTo>
                      <a:pt x="4652" y="5832"/>
                      <a:pt x="4652" y="5832"/>
                      <a:pt x="4652" y="5832"/>
                    </a:cubicBezTo>
                    <a:cubicBezTo>
                      <a:pt x="4676" y="5793"/>
                      <a:pt x="4738" y="5695"/>
                      <a:pt x="4789" y="5626"/>
                    </a:cubicBezTo>
                    <a:cubicBezTo>
                      <a:pt x="4773" y="5604"/>
                      <a:pt x="4739" y="5560"/>
                      <a:pt x="4697" y="5505"/>
                    </a:cubicBezTo>
                    <a:cubicBezTo>
                      <a:pt x="4612" y="5395"/>
                      <a:pt x="4490" y="5238"/>
                      <a:pt x="4389" y="5108"/>
                    </a:cubicBezTo>
                    <a:cubicBezTo>
                      <a:pt x="4324" y="5025"/>
                      <a:pt x="4268" y="4953"/>
                      <a:pt x="4236" y="4912"/>
                    </a:cubicBezTo>
                    <a:cubicBezTo>
                      <a:pt x="4232" y="4915"/>
                      <a:pt x="4232" y="4915"/>
                      <a:pt x="4232" y="4915"/>
                    </a:cubicBezTo>
                    <a:cubicBezTo>
                      <a:pt x="4232" y="4915"/>
                      <a:pt x="4212" y="4931"/>
                      <a:pt x="4187" y="4953"/>
                    </a:cubicBezTo>
                    <a:cubicBezTo>
                      <a:pt x="4286" y="5189"/>
                      <a:pt x="4286" y="5189"/>
                      <a:pt x="4286" y="5189"/>
                    </a:cubicBezTo>
                    <a:cubicBezTo>
                      <a:pt x="4230" y="5229"/>
                      <a:pt x="4230" y="5229"/>
                      <a:pt x="4230" y="5229"/>
                    </a:cubicBezTo>
                    <a:cubicBezTo>
                      <a:pt x="4318" y="5382"/>
                      <a:pt x="4318" y="5382"/>
                      <a:pt x="4318" y="5382"/>
                    </a:cubicBezTo>
                    <a:cubicBezTo>
                      <a:pt x="4307" y="5444"/>
                      <a:pt x="4307" y="5444"/>
                      <a:pt x="4307" y="5444"/>
                    </a:cubicBezTo>
                    <a:cubicBezTo>
                      <a:pt x="4412" y="5536"/>
                      <a:pt x="4412" y="5536"/>
                      <a:pt x="4412" y="5536"/>
                    </a:cubicBezTo>
                    <a:cubicBezTo>
                      <a:pt x="4412" y="5540"/>
                      <a:pt x="4412" y="5540"/>
                      <a:pt x="4412" y="5540"/>
                    </a:cubicBezTo>
                    <a:cubicBezTo>
                      <a:pt x="4412" y="5540"/>
                      <a:pt x="4409" y="5663"/>
                      <a:pt x="4409" y="5730"/>
                    </a:cubicBezTo>
                    <a:cubicBezTo>
                      <a:pt x="4409" y="5742"/>
                      <a:pt x="4409" y="5753"/>
                      <a:pt x="4409" y="5760"/>
                    </a:cubicBezTo>
                    <a:cubicBezTo>
                      <a:pt x="4409" y="5761"/>
                      <a:pt x="4409" y="5762"/>
                      <a:pt x="4409" y="5763"/>
                    </a:cubicBezTo>
                    <a:lnTo>
                      <a:pt x="4648" y="5832"/>
                    </a:lnTo>
                    <a:close/>
                    <a:moveTo>
                      <a:pt x="4828" y="5569"/>
                    </a:moveTo>
                    <a:cubicBezTo>
                      <a:pt x="4829" y="5570"/>
                      <a:pt x="4830" y="5571"/>
                      <a:pt x="4831" y="5572"/>
                    </a:cubicBezTo>
                    <a:cubicBezTo>
                      <a:pt x="4869" y="5523"/>
                      <a:pt x="4899" y="5474"/>
                      <a:pt x="4899" y="5397"/>
                    </a:cubicBezTo>
                    <a:cubicBezTo>
                      <a:pt x="4899" y="5366"/>
                      <a:pt x="4894" y="5331"/>
                      <a:pt x="4883" y="5289"/>
                    </a:cubicBezTo>
                    <a:cubicBezTo>
                      <a:pt x="4865" y="5225"/>
                      <a:pt x="4846" y="5168"/>
                      <a:pt x="4846" y="5109"/>
                    </a:cubicBezTo>
                    <a:cubicBezTo>
                      <a:pt x="4846" y="5062"/>
                      <a:pt x="4859" y="5014"/>
                      <a:pt x="4892" y="4967"/>
                    </a:cubicBezTo>
                    <a:cubicBezTo>
                      <a:pt x="4906" y="4947"/>
                      <a:pt x="4921" y="4925"/>
                      <a:pt x="4936" y="4904"/>
                    </a:cubicBezTo>
                    <a:cubicBezTo>
                      <a:pt x="4886" y="4869"/>
                      <a:pt x="4752" y="4769"/>
                      <a:pt x="4619" y="4672"/>
                    </a:cubicBezTo>
                    <a:cubicBezTo>
                      <a:pt x="4543" y="4615"/>
                      <a:pt x="4467" y="4560"/>
                      <a:pt x="4410" y="4518"/>
                    </a:cubicBezTo>
                    <a:cubicBezTo>
                      <a:pt x="4382" y="4497"/>
                      <a:pt x="4358" y="4479"/>
                      <a:pt x="4341" y="4467"/>
                    </a:cubicBezTo>
                    <a:cubicBezTo>
                      <a:pt x="4333" y="4462"/>
                      <a:pt x="4327" y="4457"/>
                      <a:pt x="4323" y="4454"/>
                    </a:cubicBezTo>
                    <a:cubicBezTo>
                      <a:pt x="4312" y="4715"/>
                      <a:pt x="4312" y="4715"/>
                      <a:pt x="4312" y="4715"/>
                    </a:cubicBezTo>
                    <a:cubicBezTo>
                      <a:pt x="4244" y="4811"/>
                      <a:pt x="4244" y="4811"/>
                      <a:pt x="4244" y="4811"/>
                    </a:cubicBezTo>
                    <a:cubicBezTo>
                      <a:pt x="4270" y="4845"/>
                      <a:pt x="4422" y="5044"/>
                      <a:pt x="4557" y="5217"/>
                    </a:cubicBezTo>
                    <a:cubicBezTo>
                      <a:pt x="4631" y="5313"/>
                      <a:pt x="4705" y="5409"/>
                      <a:pt x="4761" y="5481"/>
                    </a:cubicBezTo>
                    <a:cubicBezTo>
                      <a:pt x="4789" y="5517"/>
                      <a:pt x="4812" y="5548"/>
                      <a:pt x="4828" y="5569"/>
                    </a:cubicBezTo>
                    <a:close/>
                    <a:moveTo>
                      <a:pt x="5249" y="4912"/>
                    </a:moveTo>
                    <a:cubicBezTo>
                      <a:pt x="5252" y="4834"/>
                      <a:pt x="5252" y="4834"/>
                      <a:pt x="5252" y="4834"/>
                    </a:cubicBezTo>
                    <a:cubicBezTo>
                      <a:pt x="5130" y="4828"/>
                      <a:pt x="5130" y="4828"/>
                      <a:pt x="5130" y="4828"/>
                    </a:cubicBezTo>
                    <a:cubicBezTo>
                      <a:pt x="5127" y="4906"/>
                      <a:pt x="5127" y="4906"/>
                      <a:pt x="5127" y="4906"/>
                    </a:cubicBezTo>
                    <a:lnTo>
                      <a:pt x="5249" y="4912"/>
                    </a:lnTo>
                    <a:close/>
                    <a:moveTo>
                      <a:pt x="5058" y="4690"/>
                    </a:moveTo>
                    <a:cubicBezTo>
                      <a:pt x="4991" y="4605"/>
                      <a:pt x="4619" y="4129"/>
                      <a:pt x="4550" y="4027"/>
                    </a:cubicBezTo>
                    <a:cubicBezTo>
                      <a:pt x="4527" y="3993"/>
                      <a:pt x="4516" y="3961"/>
                      <a:pt x="4516" y="3931"/>
                    </a:cubicBezTo>
                    <a:cubicBezTo>
                      <a:pt x="4516" y="3927"/>
                      <a:pt x="4517" y="3923"/>
                      <a:pt x="4517" y="3920"/>
                    </a:cubicBezTo>
                    <a:cubicBezTo>
                      <a:pt x="4132" y="3848"/>
                      <a:pt x="4132" y="3848"/>
                      <a:pt x="4132" y="3848"/>
                    </a:cubicBezTo>
                    <a:cubicBezTo>
                      <a:pt x="3964" y="3898"/>
                      <a:pt x="3964" y="3898"/>
                      <a:pt x="3964" y="3898"/>
                    </a:cubicBezTo>
                    <a:cubicBezTo>
                      <a:pt x="4322" y="4436"/>
                      <a:pt x="4322" y="4436"/>
                      <a:pt x="4322" y="4436"/>
                    </a:cubicBezTo>
                    <a:cubicBezTo>
                      <a:pt x="4324" y="4438"/>
                      <a:pt x="4325" y="4439"/>
                      <a:pt x="4330" y="4442"/>
                    </a:cubicBezTo>
                    <a:cubicBezTo>
                      <a:pt x="4367" y="4469"/>
                      <a:pt x="4524" y="4584"/>
                      <a:pt x="4672" y="4694"/>
                    </a:cubicBezTo>
                    <a:cubicBezTo>
                      <a:pt x="4747" y="4748"/>
                      <a:pt x="4819" y="4801"/>
                      <a:pt x="4872" y="4841"/>
                    </a:cubicBezTo>
                    <a:cubicBezTo>
                      <a:pt x="4899" y="4860"/>
                      <a:pt x="4922" y="4877"/>
                      <a:pt x="4938" y="4888"/>
                    </a:cubicBezTo>
                    <a:cubicBezTo>
                      <a:pt x="4940" y="4890"/>
                      <a:pt x="4942" y="4891"/>
                      <a:pt x="4944" y="4892"/>
                    </a:cubicBezTo>
                    <a:cubicBezTo>
                      <a:pt x="4993" y="4822"/>
                      <a:pt x="5040" y="4751"/>
                      <a:pt x="5058" y="4690"/>
                    </a:cubicBezTo>
                    <a:close/>
                    <a:moveTo>
                      <a:pt x="4557" y="3840"/>
                    </a:moveTo>
                    <a:cubicBezTo>
                      <a:pt x="4579" y="3820"/>
                      <a:pt x="4602" y="3808"/>
                      <a:pt x="4618" y="3802"/>
                    </a:cubicBezTo>
                    <a:cubicBezTo>
                      <a:pt x="4627" y="3799"/>
                      <a:pt x="4636" y="3797"/>
                      <a:pt x="4651" y="3794"/>
                    </a:cubicBezTo>
                    <a:cubicBezTo>
                      <a:pt x="4659" y="3792"/>
                      <a:pt x="4670" y="3790"/>
                      <a:pt x="4681" y="3788"/>
                    </a:cubicBezTo>
                    <a:cubicBezTo>
                      <a:pt x="4567" y="3450"/>
                      <a:pt x="4567" y="3450"/>
                      <a:pt x="4567" y="3450"/>
                    </a:cubicBezTo>
                    <a:cubicBezTo>
                      <a:pt x="4515" y="3455"/>
                      <a:pt x="4466" y="3459"/>
                      <a:pt x="4426" y="3463"/>
                    </a:cubicBezTo>
                    <a:cubicBezTo>
                      <a:pt x="4394" y="3466"/>
                      <a:pt x="4367" y="3468"/>
                      <a:pt x="4348" y="3470"/>
                    </a:cubicBezTo>
                    <a:cubicBezTo>
                      <a:pt x="4338" y="3471"/>
                      <a:pt x="4330" y="3472"/>
                      <a:pt x="4325" y="3472"/>
                    </a:cubicBezTo>
                    <a:cubicBezTo>
                      <a:pt x="4322" y="3472"/>
                      <a:pt x="4320" y="3473"/>
                      <a:pt x="4319" y="3473"/>
                    </a:cubicBezTo>
                    <a:cubicBezTo>
                      <a:pt x="4318" y="3473"/>
                      <a:pt x="4318" y="3473"/>
                      <a:pt x="4317" y="3473"/>
                    </a:cubicBezTo>
                    <a:cubicBezTo>
                      <a:pt x="4317" y="3473"/>
                      <a:pt x="4317" y="3473"/>
                      <a:pt x="4317" y="3473"/>
                    </a:cubicBezTo>
                    <a:cubicBezTo>
                      <a:pt x="4310" y="3476"/>
                      <a:pt x="4255" y="3499"/>
                      <a:pt x="4241" y="3504"/>
                    </a:cubicBezTo>
                    <a:cubicBezTo>
                      <a:pt x="4136" y="3803"/>
                      <a:pt x="4136" y="3803"/>
                      <a:pt x="4136" y="3803"/>
                    </a:cubicBezTo>
                    <a:cubicBezTo>
                      <a:pt x="4529" y="3876"/>
                      <a:pt x="4529" y="3876"/>
                      <a:pt x="4529" y="3876"/>
                    </a:cubicBezTo>
                    <a:cubicBezTo>
                      <a:pt x="4537" y="3862"/>
                      <a:pt x="4547" y="3849"/>
                      <a:pt x="4557" y="3840"/>
                    </a:cubicBezTo>
                    <a:close/>
                    <a:moveTo>
                      <a:pt x="4695" y="3786"/>
                    </a:moveTo>
                    <a:cubicBezTo>
                      <a:pt x="4741" y="3777"/>
                      <a:pt x="4803" y="3767"/>
                      <a:pt x="4861" y="3758"/>
                    </a:cubicBezTo>
                    <a:cubicBezTo>
                      <a:pt x="4804" y="3429"/>
                      <a:pt x="4804" y="3429"/>
                      <a:pt x="4804" y="3429"/>
                    </a:cubicBezTo>
                    <a:cubicBezTo>
                      <a:pt x="4759" y="3433"/>
                      <a:pt x="4710" y="3437"/>
                      <a:pt x="4661" y="3442"/>
                    </a:cubicBezTo>
                    <a:cubicBezTo>
                      <a:pt x="4634" y="3444"/>
                      <a:pt x="4607" y="3447"/>
                      <a:pt x="4581" y="3449"/>
                    </a:cubicBezTo>
                    <a:lnTo>
                      <a:pt x="4695" y="3786"/>
                    </a:lnTo>
                    <a:close/>
                    <a:moveTo>
                      <a:pt x="4815" y="3414"/>
                    </a:moveTo>
                    <a:cubicBezTo>
                      <a:pt x="4889" y="3408"/>
                      <a:pt x="4950" y="3402"/>
                      <a:pt x="4980" y="3400"/>
                    </a:cubicBezTo>
                    <a:cubicBezTo>
                      <a:pt x="4958" y="3208"/>
                      <a:pt x="4939" y="3048"/>
                      <a:pt x="4933" y="2991"/>
                    </a:cubicBezTo>
                    <a:cubicBezTo>
                      <a:pt x="4904" y="2997"/>
                      <a:pt x="4875" y="3004"/>
                      <a:pt x="4847" y="3010"/>
                    </a:cubicBezTo>
                    <a:cubicBezTo>
                      <a:pt x="4807" y="3020"/>
                      <a:pt x="4765" y="3030"/>
                      <a:pt x="4722" y="3041"/>
                    </a:cubicBezTo>
                    <a:lnTo>
                      <a:pt x="4815" y="3414"/>
                    </a:lnTo>
                    <a:close/>
                    <a:moveTo>
                      <a:pt x="4709" y="3044"/>
                    </a:moveTo>
                    <a:cubicBezTo>
                      <a:pt x="4652" y="3058"/>
                      <a:pt x="4594" y="3073"/>
                      <a:pt x="4535" y="3089"/>
                    </a:cubicBezTo>
                    <a:cubicBezTo>
                      <a:pt x="4624" y="3431"/>
                      <a:pt x="4624" y="3431"/>
                      <a:pt x="4624" y="3431"/>
                    </a:cubicBezTo>
                    <a:cubicBezTo>
                      <a:pt x="4684" y="3426"/>
                      <a:pt x="4746" y="3420"/>
                      <a:pt x="4801" y="3415"/>
                    </a:cubicBezTo>
                    <a:lnTo>
                      <a:pt x="4709" y="3044"/>
                    </a:lnTo>
                    <a:close/>
                    <a:moveTo>
                      <a:pt x="4522" y="3093"/>
                    </a:moveTo>
                    <a:cubicBezTo>
                      <a:pt x="4464" y="3108"/>
                      <a:pt x="4406" y="3124"/>
                      <a:pt x="4347" y="3141"/>
                    </a:cubicBezTo>
                    <a:cubicBezTo>
                      <a:pt x="4433" y="3448"/>
                      <a:pt x="4433" y="3448"/>
                      <a:pt x="4433" y="3448"/>
                    </a:cubicBezTo>
                    <a:cubicBezTo>
                      <a:pt x="4483" y="3444"/>
                      <a:pt x="4545" y="3438"/>
                      <a:pt x="4610" y="3432"/>
                    </a:cubicBezTo>
                    <a:lnTo>
                      <a:pt x="4522" y="3093"/>
                    </a:lnTo>
                    <a:close/>
                    <a:moveTo>
                      <a:pt x="4333" y="3145"/>
                    </a:moveTo>
                    <a:cubicBezTo>
                      <a:pt x="4273" y="3162"/>
                      <a:pt x="4212" y="3179"/>
                      <a:pt x="4152" y="3197"/>
                    </a:cubicBezTo>
                    <a:cubicBezTo>
                      <a:pt x="4174" y="3261"/>
                      <a:pt x="4257" y="3473"/>
                      <a:pt x="4260" y="3481"/>
                    </a:cubicBezTo>
                    <a:cubicBezTo>
                      <a:pt x="4282" y="3472"/>
                      <a:pt x="4309" y="3461"/>
                      <a:pt x="4313" y="3460"/>
                    </a:cubicBezTo>
                    <a:cubicBezTo>
                      <a:pt x="4317" y="3459"/>
                      <a:pt x="4326" y="3458"/>
                      <a:pt x="4346" y="3456"/>
                    </a:cubicBezTo>
                    <a:cubicBezTo>
                      <a:pt x="4364" y="3454"/>
                      <a:pt x="4389" y="3452"/>
                      <a:pt x="4418" y="3449"/>
                    </a:cubicBezTo>
                    <a:lnTo>
                      <a:pt x="4333" y="3145"/>
                    </a:lnTo>
                    <a:close/>
                    <a:moveTo>
                      <a:pt x="4151" y="3234"/>
                    </a:moveTo>
                    <a:cubicBezTo>
                      <a:pt x="4146" y="3220"/>
                      <a:pt x="4141" y="3209"/>
                      <a:pt x="4138" y="3201"/>
                    </a:cubicBezTo>
                    <a:cubicBezTo>
                      <a:pt x="4013" y="3237"/>
                      <a:pt x="3889" y="3275"/>
                      <a:pt x="3776" y="3310"/>
                    </a:cubicBezTo>
                    <a:cubicBezTo>
                      <a:pt x="3610" y="3361"/>
                      <a:pt x="3464" y="3408"/>
                      <a:pt x="3360" y="3442"/>
                    </a:cubicBezTo>
                    <a:cubicBezTo>
                      <a:pt x="3308" y="3459"/>
                      <a:pt x="3267" y="3473"/>
                      <a:pt x="3238" y="3483"/>
                    </a:cubicBezTo>
                    <a:cubicBezTo>
                      <a:pt x="3236" y="3484"/>
                      <a:pt x="3234" y="3485"/>
                      <a:pt x="3232" y="3485"/>
                    </a:cubicBezTo>
                    <a:cubicBezTo>
                      <a:pt x="3453" y="3777"/>
                      <a:pt x="3453" y="3777"/>
                      <a:pt x="3453" y="3777"/>
                    </a:cubicBezTo>
                    <a:cubicBezTo>
                      <a:pt x="3453" y="3777"/>
                      <a:pt x="3453" y="3777"/>
                      <a:pt x="3453" y="3777"/>
                    </a:cubicBezTo>
                    <a:cubicBezTo>
                      <a:pt x="3601" y="3970"/>
                      <a:pt x="3601" y="3970"/>
                      <a:pt x="3601" y="3970"/>
                    </a:cubicBezTo>
                    <a:cubicBezTo>
                      <a:pt x="3939" y="3858"/>
                      <a:pt x="3939" y="3858"/>
                      <a:pt x="3939" y="3858"/>
                    </a:cubicBezTo>
                    <a:cubicBezTo>
                      <a:pt x="3939" y="3858"/>
                      <a:pt x="3939" y="3858"/>
                      <a:pt x="3939" y="3858"/>
                    </a:cubicBezTo>
                    <a:cubicBezTo>
                      <a:pt x="4121" y="3804"/>
                      <a:pt x="4121" y="3804"/>
                      <a:pt x="4121" y="3804"/>
                    </a:cubicBezTo>
                    <a:cubicBezTo>
                      <a:pt x="4230" y="3494"/>
                      <a:pt x="4230" y="3494"/>
                      <a:pt x="4230" y="3494"/>
                    </a:cubicBezTo>
                    <a:cubicBezTo>
                      <a:pt x="4233" y="3493"/>
                      <a:pt x="4233" y="3493"/>
                      <a:pt x="4233" y="3493"/>
                    </a:cubicBezTo>
                    <a:cubicBezTo>
                      <a:pt x="4233" y="3493"/>
                      <a:pt x="4239" y="3490"/>
                      <a:pt x="4247" y="3487"/>
                    </a:cubicBezTo>
                    <a:cubicBezTo>
                      <a:pt x="4246" y="3484"/>
                      <a:pt x="4218" y="3412"/>
                      <a:pt x="4190" y="3339"/>
                    </a:cubicBezTo>
                    <a:cubicBezTo>
                      <a:pt x="4176" y="3301"/>
                      <a:pt x="4161" y="3263"/>
                      <a:pt x="4151" y="3234"/>
                    </a:cubicBezTo>
                    <a:close/>
                    <a:moveTo>
                      <a:pt x="3169" y="3511"/>
                    </a:moveTo>
                    <a:cubicBezTo>
                      <a:pt x="3145" y="3520"/>
                      <a:pt x="3109" y="3534"/>
                      <a:pt x="3066" y="3554"/>
                    </a:cubicBezTo>
                    <a:cubicBezTo>
                      <a:pt x="3011" y="3579"/>
                      <a:pt x="2961" y="3615"/>
                      <a:pt x="2912" y="3659"/>
                    </a:cubicBezTo>
                    <a:cubicBezTo>
                      <a:pt x="2906" y="3665"/>
                      <a:pt x="2896" y="3675"/>
                      <a:pt x="2896" y="3675"/>
                    </a:cubicBezTo>
                    <a:cubicBezTo>
                      <a:pt x="2895" y="3677"/>
                      <a:pt x="2893" y="3678"/>
                      <a:pt x="2891" y="3680"/>
                    </a:cubicBezTo>
                    <a:cubicBezTo>
                      <a:pt x="3112" y="3763"/>
                      <a:pt x="3112" y="3763"/>
                      <a:pt x="3112" y="3763"/>
                    </a:cubicBezTo>
                    <a:cubicBezTo>
                      <a:pt x="3224" y="3927"/>
                      <a:pt x="3224" y="3927"/>
                      <a:pt x="3224" y="3927"/>
                    </a:cubicBezTo>
                    <a:cubicBezTo>
                      <a:pt x="3399" y="3816"/>
                      <a:pt x="3399" y="3816"/>
                      <a:pt x="3399" y="3816"/>
                    </a:cubicBezTo>
                    <a:cubicBezTo>
                      <a:pt x="3399" y="3816"/>
                      <a:pt x="3399" y="3816"/>
                      <a:pt x="3399" y="3816"/>
                    </a:cubicBezTo>
                    <a:cubicBezTo>
                      <a:pt x="3399" y="3815"/>
                      <a:pt x="3399" y="3815"/>
                      <a:pt x="3399" y="3815"/>
                    </a:cubicBezTo>
                    <a:lnTo>
                      <a:pt x="3169" y="3511"/>
                    </a:lnTo>
                    <a:close/>
                    <a:moveTo>
                      <a:pt x="2877" y="3692"/>
                    </a:moveTo>
                    <a:cubicBezTo>
                      <a:pt x="2839" y="3727"/>
                      <a:pt x="2779" y="3786"/>
                      <a:pt x="2723" y="3855"/>
                    </a:cubicBezTo>
                    <a:cubicBezTo>
                      <a:pt x="2768" y="3868"/>
                      <a:pt x="2830" y="3887"/>
                      <a:pt x="2855" y="3895"/>
                    </a:cubicBezTo>
                    <a:cubicBezTo>
                      <a:pt x="2876" y="3901"/>
                      <a:pt x="2887" y="3907"/>
                      <a:pt x="2895" y="3913"/>
                    </a:cubicBezTo>
                    <a:cubicBezTo>
                      <a:pt x="2898" y="3915"/>
                      <a:pt x="2901" y="3917"/>
                      <a:pt x="2902" y="3919"/>
                    </a:cubicBezTo>
                    <a:cubicBezTo>
                      <a:pt x="2903" y="3920"/>
                      <a:pt x="2903" y="3920"/>
                      <a:pt x="2903" y="3920"/>
                    </a:cubicBezTo>
                    <a:cubicBezTo>
                      <a:pt x="2912" y="3930"/>
                      <a:pt x="2909" y="3931"/>
                      <a:pt x="2910" y="3933"/>
                    </a:cubicBezTo>
                    <a:cubicBezTo>
                      <a:pt x="2911" y="3940"/>
                      <a:pt x="2911" y="3944"/>
                      <a:pt x="2911" y="3955"/>
                    </a:cubicBezTo>
                    <a:cubicBezTo>
                      <a:pt x="2911" y="3992"/>
                      <a:pt x="2909" y="4071"/>
                      <a:pt x="2909" y="4071"/>
                    </a:cubicBezTo>
                    <a:cubicBezTo>
                      <a:pt x="2909" y="4073"/>
                      <a:pt x="2909" y="4073"/>
                      <a:pt x="2909" y="4073"/>
                    </a:cubicBezTo>
                    <a:cubicBezTo>
                      <a:pt x="2880" y="4209"/>
                      <a:pt x="2880" y="4209"/>
                      <a:pt x="2880" y="4209"/>
                    </a:cubicBezTo>
                    <a:cubicBezTo>
                      <a:pt x="2881" y="4213"/>
                      <a:pt x="2884" y="4217"/>
                      <a:pt x="2887" y="4223"/>
                    </a:cubicBezTo>
                    <a:cubicBezTo>
                      <a:pt x="2895" y="4239"/>
                      <a:pt x="2907" y="4262"/>
                      <a:pt x="2917" y="4281"/>
                    </a:cubicBezTo>
                    <a:cubicBezTo>
                      <a:pt x="2922" y="4291"/>
                      <a:pt x="2926" y="4299"/>
                      <a:pt x="2929" y="4305"/>
                    </a:cubicBezTo>
                    <a:cubicBezTo>
                      <a:pt x="2931" y="4308"/>
                      <a:pt x="2932" y="4311"/>
                      <a:pt x="2933" y="4312"/>
                    </a:cubicBezTo>
                    <a:cubicBezTo>
                      <a:pt x="2933" y="4312"/>
                      <a:pt x="2933" y="4312"/>
                      <a:pt x="2933" y="4312"/>
                    </a:cubicBezTo>
                    <a:cubicBezTo>
                      <a:pt x="2939" y="4315"/>
                      <a:pt x="2946" y="4318"/>
                      <a:pt x="2954" y="4321"/>
                    </a:cubicBezTo>
                    <a:cubicBezTo>
                      <a:pt x="3131" y="4112"/>
                      <a:pt x="3131" y="4112"/>
                      <a:pt x="3131" y="4112"/>
                    </a:cubicBezTo>
                    <a:cubicBezTo>
                      <a:pt x="3213" y="3939"/>
                      <a:pt x="3213" y="3939"/>
                      <a:pt x="3213" y="3939"/>
                    </a:cubicBezTo>
                    <a:cubicBezTo>
                      <a:pt x="3101" y="3777"/>
                      <a:pt x="3101" y="3777"/>
                      <a:pt x="3101" y="3777"/>
                    </a:cubicBezTo>
                    <a:lnTo>
                      <a:pt x="2877" y="3692"/>
                    </a:lnTo>
                    <a:close/>
                    <a:moveTo>
                      <a:pt x="2693" y="3893"/>
                    </a:moveTo>
                    <a:cubicBezTo>
                      <a:pt x="2652" y="3946"/>
                      <a:pt x="2619" y="3994"/>
                      <a:pt x="2587" y="4044"/>
                    </a:cubicBezTo>
                    <a:cubicBezTo>
                      <a:pt x="2557" y="4092"/>
                      <a:pt x="2527" y="4140"/>
                      <a:pt x="2493" y="4205"/>
                    </a:cubicBezTo>
                    <a:cubicBezTo>
                      <a:pt x="2452" y="4282"/>
                      <a:pt x="2414" y="4363"/>
                      <a:pt x="2383" y="4436"/>
                    </a:cubicBezTo>
                    <a:cubicBezTo>
                      <a:pt x="2409" y="4431"/>
                      <a:pt x="2430" y="4424"/>
                      <a:pt x="2439" y="4415"/>
                    </a:cubicBezTo>
                    <a:cubicBezTo>
                      <a:pt x="2479" y="4377"/>
                      <a:pt x="2510" y="4324"/>
                      <a:pt x="2519" y="4259"/>
                    </a:cubicBezTo>
                    <a:cubicBezTo>
                      <a:pt x="2529" y="4188"/>
                      <a:pt x="2573" y="4117"/>
                      <a:pt x="2573" y="4116"/>
                    </a:cubicBezTo>
                    <a:cubicBezTo>
                      <a:pt x="2594" y="4129"/>
                      <a:pt x="2594" y="4129"/>
                      <a:pt x="2594" y="4129"/>
                    </a:cubicBezTo>
                    <a:cubicBezTo>
                      <a:pt x="2594" y="4129"/>
                      <a:pt x="2584" y="4146"/>
                      <a:pt x="2572" y="4172"/>
                    </a:cubicBezTo>
                    <a:cubicBezTo>
                      <a:pt x="2561" y="4197"/>
                      <a:pt x="2548" y="4231"/>
                      <a:pt x="2544" y="4262"/>
                    </a:cubicBezTo>
                    <a:cubicBezTo>
                      <a:pt x="2534" y="4329"/>
                      <a:pt x="2503" y="4384"/>
                      <a:pt x="2463" y="4425"/>
                    </a:cubicBezTo>
                    <a:cubicBezTo>
                      <a:pt x="2464" y="4425"/>
                      <a:pt x="2464" y="4425"/>
                      <a:pt x="2464" y="4425"/>
                    </a:cubicBezTo>
                    <a:cubicBezTo>
                      <a:pt x="2464" y="4425"/>
                      <a:pt x="2464" y="4425"/>
                      <a:pt x="2464" y="4425"/>
                    </a:cubicBezTo>
                    <a:cubicBezTo>
                      <a:pt x="2464" y="4426"/>
                      <a:pt x="2464" y="4426"/>
                      <a:pt x="2464" y="4427"/>
                    </a:cubicBezTo>
                    <a:cubicBezTo>
                      <a:pt x="2464" y="4428"/>
                      <a:pt x="2464" y="4435"/>
                      <a:pt x="2468" y="4441"/>
                    </a:cubicBezTo>
                    <a:cubicBezTo>
                      <a:pt x="2472" y="4447"/>
                      <a:pt x="2479" y="4454"/>
                      <a:pt x="2498" y="4455"/>
                    </a:cubicBezTo>
                    <a:cubicBezTo>
                      <a:pt x="2506" y="4456"/>
                      <a:pt x="2515" y="4456"/>
                      <a:pt x="2524" y="4456"/>
                    </a:cubicBezTo>
                    <a:cubicBezTo>
                      <a:pt x="2571" y="4457"/>
                      <a:pt x="2635" y="4447"/>
                      <a:pt x="2649" y="4434"/>
                    </a:cubicBezTo>
                    <a:cubicBezTo>
                      <a:pt x="2662" y="4424"/>
                      <a:pt x="2683" y="4403"/>
                      <a:pt x="2705" y="4383"/>
                    </a:cubicBezTo>
                    <a:cubicBezTo>
                      <a:pt x="2728" y="4364"/>
                      <a:pt x="2748" y="4347"/>
                      <a:pt x="2767" y="4342"/>
                    </a:cubicBezTo>
                    <a:cubicBezTo>
                      <a:pt x="2772" y="4341"/>
                      <a:pt x="2777" y="4340"/>
                      <a:pt x="2783" y="4340"/>
                    </a:cubicBezTo>
                    <a:cubicBezTo>
                      <a:pt x="2834" y="4205"/>
                      <a:pt x="2834" y="4205"/>
                      <a:pt x="2834" y="4205"/>
                    </a:cubicBezTo>
                    <a:cubicBezTo>
                      <a:pt x="2864" y="4067"/>
                      <a:pt x="2864" y="4067"/>
                      <a:pt x="2864" y="4067"/>
                    </a:cubicBezTo>
                    <a:cubicBezTo>
                      <a:pt x="2864" y="4054"/>
                      <a:pt x="2866" y="3987"/>
                      <a:pt x="2866" y="3955"/>
                    </a:cubicBezTo>
                    <a:cubicBezTo>
                      <a:pt x="2866" y="3952"/>
                      <a:pt x="2866" y="3950"/>
                      <a:pt x="2866" y="3948"/>
                    </a:cubicBezTo>
                    <a:cubicBezTo>
                      <a:pt x="2862" y="3945"/>
                      <a:pt x="2855" y="3942"/>
                      <a:pt x="2841" y="3938"/>
                    </a:cubicBezTo>
                    <a:cubicBezTo>
                      <a:pt x="2822" y="3932"/>
                      <a:pt x="2778" y="3918"/>
                      <a:pt x="2739" y="3907"/>
                    </a:cubicBezTo>
                    <a:cubicBezTo>
                      <a:pt x="2722" y="3901"/>
                      <a:pt x="2706" y="3897"/>
                      <a:pt x="2693" y="3893"/>
                    </a:cubicBezTo>
                    <a:close/>
                    <a:moveTo>
                      <a:pt x="2457" y="3868"/>
                    </a:moveTo>
                    <a:cubicBezTo>
                      <a:pt x="2074" y="3866"/>
                      <a:pt x="2074" y="3866"/>
                      <a:pt x="2074" y="3866"/>
                    </a:cubicBezTo>
                    <a:cubicBezTo>
                      <a:pt x="1980" y="3620"/>
                      <a:pt x="1980" y="3620"/>
                      <a:pt x="1980" y="3620"/>
                    </a:cubicBezTo>
                    <a:cubicBezTo>
                      <a:pt x="1978" y="3621"/>
                      <a:pt x="1976" y="3621"/>
                      <a:pt x="1975" y="3621"/>
                    </a:cubicBezTo>
                    <a:cubicBezTo>
                      <a:pt x="1878" y="3642"/>
                      <a:pt x="1641" y="3738"/>
                      <a:pt x="1561" y="3773"/>
                    </a:cubicBezTo>
                    <a:cubicBezTo>
                      <a:pt x="1549" y="3779"/>
                      <a:pt x="1535" y="3785"/>
                      <a:pt x="1522" y="3791"/>
                    </a:cubicBezTo>
                    <a:cubicBezTo>
                      <a:pt x="1891" y="4199"/>
                      <a:pt x="1891" y="4199"/>
                      <a:pt x="1891" y="4199"/>
                    </a:cubicBezTo>
                    <a:cubicBezTo>
                      <a:pt x="1960" y="4143"/>
                      <a:pt x="1960" y="4143"/>
                      <a:pt x="1960" y="4143"/>
                    </a:cubicBezTo>
                    <a:cubicBezTo>
                      <a:pt x="2063" y="3863"/>
                      <a:pt x="2063" y="3863"/>
                      <a:pt x="2063" y="3863"/>
                    </a:cubicBezTo>
                    <a:cubicBezTo>
                      <a:pt x="2105" y="3878"/>
                      <a:pt x="2105" y="3878"/>
                      <a:pt x="2105" y="3878"/>
                    </a:cubicBezTo>
                    <a:cubicBezTo>
                      <a:pt x="2103" y="3882"/>
                      <a:pt x="2103" y="3882"/>
                      <a:pt x="2103" y="3882"/>
                    </a:cubicBezTo>
                    <a:cubicBezTo>
                      <a:pt x="2048" y="4032"/>
                      <a:pt x="2048" y="4032"/>
                      <a:pt x="2048" y="4032"/>
                    </a:cubicBezTo>
                    <a:cubicBezTo>
                      <a:pt x="2072" y="4039"/>
                      <a:pt x="2110" y="4052"/>
                      <a:pt x="2150" y="4065"/>
                    </a:cubicBezTo>
                    <a:cubicBezTo>
                      <a:pt x="2208" y="4084"/>
                      <a:pt x="2265" y="4103"/>
                      <a:pt x="2265" y="4103"/>
                    </a:cubicBezTo>
                    <a:cubicBezTo>
                      <a:pt x="2266" y="4103"/>
                      <a:pt x="2266" y="4103"/>
                      <a:pt x="2266" y="4103"/>
                    </a:cubicBezTo>
                    <a:cubicBezTo>
                      <a:pt x="2322" y="4130"/>
                      <a:pt x="2322" y="4130"/>
                      <a:pt x="2322" y="4130"/>
                    </a:cubicBezTo>
                    <a:cubicBezTo>
                      <a:pt x="2339" y="4056"/>
                      <a:pt x="2339" y="4056"/>
                      <a:pt x="2339" y="4056"/>
                    </a:cubicBezTo>
                    <a:lnTo>
                      <a:pt x="2457" y="3868"/>
                    </a:lnTo>
                    <a:close/>
                    <a:moveTo>
                      <a:pt x="2250" y="4145"/>
                    </a:moveTo>
                    <a:cubicBezTo>
                      <a:pt x="2240" y="4142"/>
                      <a:pt x="2187" y="4125"/>
                      <a:pt x="2133" y="4107"/>
                    </a:cubicBezTo>
                    <a:cubicBezTo>
                      <a:pt x="2103" y="4097"/>
                      <a:pt x="2074" y="4087"/>
                      <a:pt x="2052" y="4080"/>
                    </a:cubicBezTo>
                    <a:cubicBezTo>
                      <a:pt x="2044" y="4078"/>
                      <a:pt x="2038" y="4076"/>
                      <a:pt x="2033" y="4074"/>
                    </a:cubicBezTo>
                    <a:cubicBezTo>
                      <a:pt x="1998" y="4170"/>
                      <a:pt x="1998" y="4170"/>
                      <a:pt x="1998" y="4170"/>
                    </a:cubicBezTo>
                    <a:cubicBezTo>
                      <a:pt x="1921" y="4232"/>
                      <a:pt x="1921" y="4232"/>
                      <a:pt x="1921" y="4232"/>
                    </a:cubicBezTo>
                    <a:cubicBezTo>
                      <a:pt x="1977" y="4295"/>
                      <a:pt x="1977" y="4295"/>
                      <a:pt x="1977" y="4295"/>
                    </a:cubicBezTo>
                    <a:cubicBezTo>
                      <a:pt x="2270" y="4360"/>
                      <a:pt x="2270" y="4360"/>
                      <a:pt x="2270" y="4360"/>
                    </a:cubicBezTo>
                    <a:cubicBezTo>
                      <a:pt x="2312" y="4175"/>
                      <a:pt x="2312" y="4175"/>
                      <a:pt x="2312" y="4175"/>
                    </a:cubicBezTo>
                    <a:lnTo>
                      <a:pt x="2250" y="4145"/>
                    </a:lnTo>
                    <a:close/>
                    <a:moveTo>
                      <a:pt x="1861" y="4281"/>
                    </a:moveTo>
                    <a:cubicBezTo>
                      <a:pt x="1937" y="4361"/>
                      <a:pt x="1937" y="4361"/>
                      <a:pt x="1937" y="4361"/>
                    </a:cubicBezTo>
                    <a:cubicBezTo>
                      <a:pt x="1944" y="4365"/>
                      <a:pt x="1973" y="4381"/>
                      <a:pt x="2011" y="4399"/>
                    </a:cubicBezTo>
                    <a:cubicBezTo>
                      <a:pt x="2054" y="4418"/>
                      <a:pt x="2107" y="4438"/>
                      <a:pt x="2147" y="4441"/>
                    </a:cubicBezTo>
                    <a:cubicBezTo>
                      <a:pt x="2178" y="4442"/>
                      <a:pt x="2220" y="4444"/>
                      <a:pt x="2262" y="4444"/>
                    </a:cubicBezTo>
                    <a:cubicBezTo>
                      <a:pt x="2276" y="4445"/>
                      <a:pt x="2290" y="4444"/>
                      <a:pt x="2304" y="4444"/>
                    </a:cubicBezTo>
                    <a:cubicBezTo>
                      <a:pt x="2333" y="4374"/>
                      <a:pt x="2369" y="4297"/>
                      <a:pt x="2407" y="4221"/>
                    </a:cubicBezTo>
                    <a:cubicBezTo>
                      <a:pt x="2327" y="4183"/>
                      <a:pt x="2327" y="4183"/>
                      <a:pt x="2327" y="4183"/>
                    </a:cubicBezTo>
                    <a:cubicBezTo>
                      <a:pt x="2283" y="4379"/>
                      <a:pt x="2283" y="4379"/>
                      <a:pt x="2283" y="4379"/>
                    </a:cubicBezTo>
                    <a:cubicBezTo>
                      <a:pt x="1969" y="4310"/>
                      <a:pt x="1969" y="4310"/>
                      <a:pt x="1969" y="4310"/>
                    </a:cubicBezTo>
                    <a:cubicBezTo>
                      <a:pt x="1908" y="4243"/>
                      <a:pt x="1908" y="4243"/>
                      <a:pt x="1908" y="4243"/>
                    </a:cubicBezTo>
                    <a:lnTo>
                      <a:pt x="1861" y="4281"/>
                    </a:lnTo>
                    <a:close/>
                    <a:moveTo>
                      <a:pt x="1842" y="4297"/>
                    </a:moveTo>
                    <a:cubicBezTo>
                      <a:pt x="1804" y="4328"/>
                      <a:pt x="1804" y="4328"/>
                      <a:pt x="1804" y="4328"/>
                    </a:cubicBezTo>
                    <a:cubicBezTo>
                      <a:pt x="1835" y="4363"/>
                      <a:pt x="1835" y="4363"/>
                      <a:pt x="1835" y="4363"/>
                    </a:cubicBezTo>
                    <a:cubicBezTo>
                      <a:pt x="1837" y="4365"/>
                      <a:pt x="1841" y="4369"/>
                      <a:pt x="1848" y="4375"/>
                    </a:cubicBezTo>
                    <a:cubicBezTo>
                      <a:pt x="1876" y="4400"/>
                      <a:pt x="1943" y="4455"/>
                      <a:pt x="2017" y="4487"/>
                    </a:cubicBezTo>
                    <a:cubicBezTo>
                      <a:pt x="2097" y="4522"/>
                      <a:pt x="2188" y="4526"/>
                      <a:pt x="2224" y="4525"/>
                    </a:cubicBezTo>
                    <a:cubicBezTo>
                      <a:pt x="2232" y="4525"/>
                      <a:pt x="2251" y="4526"/>
                      <a:pt x="2271" y="4526"/>
                    </a:cubicBezTo>
                    <a:cubicBezTo>
                      <a:pt x="2278" y="4508"/>
                      <a:pt x="2286" y="4489"/>
                      <a:pt x="2294" y="4468"/>
                    </a:cubicBezTo>
                    <a:cubicBezTo>
                      <a:pt x="2283" y="4469"/>
                      <a:pt x="2273" y="4469"/>
                      <a:pt x="2262" y="4469"/>
                    </a:cubicBezTo>
                    <a:cubicBezTo>
                      <a:pt x="2219" y="4469"/>
                      <a:pt x="2177" y="4467"/>
                      <a:pt x="2146" y="4465"/>
                    </a:cubicBezTo>
                    <a:cubicBezTo>
                      <a:pt x="2055" y="4459"/>
                      <a:pt x="1924" y="4381"/>
                      <a:pt x="1923" y="4381"/>
                    </a:cubicBezTo>
                    <a:cubicBezTo>
                      <a:pt x="1922" y="4380"/>
                      <a:pt x="1922" y="4380"/>
                      <a:pt x="1922" y="4380"/>
                    </a:cubicBezTo>
                    <a:lnTo>
                      <a:pt x="1842" y="4297"/>
                    </a:lnTo>
                    <a:close/>
                    <a:moveTo>
                      <a:pt x="2183" y="4593"/>
                    </a:moveTo>
                    <a:cubicBezTo>
                      <a:pt x="2130" y="4832"/>
                      <a:pt x="2130" y="4832"/>
                      <a:pt x="2130" y="4832"/>
                    </a:cubicBezTo>
                    <a:cubicBezTo>
                      <a:pt x="2139" y="4819"/>
                      <a:pt x="2148" y="4805"/>
                      <a:pt x="2155" y="4793"/>
                    </a:cubicBezTo>
                    <a:cubicBezTo>
                      <a:pt x="2185" y="4748"/>
                      <a:pt x="2205" y="4714"/>
                      <a:pt x="2213" y="4702"/>
                    </a:cubicBezTo>
                    <a:cubicBezTo>
                      <a:pt x="2215" y="4689"/>
                      <a:pt x="2223" y="4661"/>
                      <a:pt x="2246" y="4595"/>
                    </a:cubicBezTo>
                    <a:cubicBezTo>
                      <a:pt x="2239" y="4594"/>
                      <a:pt x="2231" y="4594"/>
                      <a:pt x="2224" y="4594"/>
                    </a:cubicBezTo>
                    <a:cubicBezTo>
                      <a:pt x="2214" y="4594"/>
                      <a:pt x="2200" y="4594"/>
                      <a:pt x="2183" y="4593"/>
                    </a:cubicBezTo>
                    <a:close/>
                    <a:moveTo>
                      <a:pt x="2062" y="5048"/>
                    </a:moveTo>
                    <a:cubicBezTo>
                      <a:pt x="2051" y="5064"/>
                      <a:pt x="2038" y="5082"/>
                      <a:pt x="2024" y="5100"/>
                    </a:cubicBezTo>
                    <a:cubicBezTo>
                      <a:pt x="2122" y="5109"/>
                      <a:pt x="2266" y="5123"/>
                      <a:pt x="2302" y="5126"/>
                    </a:cubicBezTo>
                    <a:cubicBezTo>
                      <a:pt x="2305" y="5110"/>
                      <a:pt x="2317" y="5030"/>
                      <a:pt x="2328" y="4952"/>
                    </a:cubicBezTo>
                    <a:cubicBezTo>
                      <a:pt x="2341" y="4867"/>
                      <a:pt x="2353" y="4784"/>
                      <a:pt x="2353" y="4784"/>
                    </a:cubicBezTo>
                    <a:cubicBezTo>
                      <a:pt x="2353" y="4784"/>
                      <a:pt x="2353" y="4784"/>
                      <a:pt x="2353" y="4784"/>
                    </a:cubicBezTo>
                    <a:cubicBezTo>
                      <a:pt x="2353" y="4783"/>
                      <a:pt x="2353" y="4783"/>
                      <a:pt x="2353" y="4783"/>
                    </a:cubicBezTo>
                    <a:cubicBezTo>
                      <a:pt x="2353" y="4783"/>
                      <a:pt x="2371" y="4728"/>
                      <a:pt x="2390" y="4674"/>
                    </a:cubicBezTo>
                    <a:cubicBezTo>
                      <a:pt x="2400" y="4646"/>
                      <a:pt x="2409" y="4619"/>
                      <a:pt x="2417" y="4598"/>
                    </a:cubicBezTo>
                    <a:cubicBezTo>
                      <a:pt x="2419" y="4590"/>
                      <a:pt x="2422" y="4583"/>
                      <a:pt x="2424" y="4577"/>
                    </a:cubicBezTo>
                    <a:cubicBezTo>
                      <a:pt x="2322" y="4585"/>
                      <a:pt x="2322" y="4585"/>
                      <a:pt x="2322" y="4585"/>
                    </a:cubicBezTo>
                    <a:cubicBezTo>
                      <a:pt x="2320" y="4593"/>
                      <a:pt x="2317" y="4600"/>
                      <a:pt x="2314" y="4607"/>
                    </a:cubicBezTo>
                    <a:cubicBezTo>
                      <a:pt x="2297" y="4657"/>
                      <a:pt x="2288" y="4686"/>
                      <a:pt x="2284" y="4702"/>
                    </a:cubicBezTo>
                    <a:cubicBezTo>
                      <a:pt x="2281" y="4710"/>
                      <a:pt x="2280" y="4715"/>
                      <a:pt x="2280" y="4717"/>
                    </a:cubicBezTo>
                    <a:cubicBezTo>
                      <a:pt x="2280" y="4718"/>
                      <a:pt x="2280" y="4718"/>
                      <a:pt x="2279" y="4718"/>
                    </a:cubicBezTo>
                    <a:cubicBezTo>
                      <a:pt x="2279" y="4725"/>
                      <a:pt x="2279" y="4725"/>
                      <a:pt x="2279" y="4725"/>
                    </a:cubicBezTo>
                    <a:cubicBezTo>
                      <a:pt x="2275" y="4732"/>
                      <a:pt x="2275" y="4732"/>
                      <a:pt x="2275" y="4732"/>
                    </a:cubicBezTo>
                    <a:cubicBezTo>
                      <a:pt x="2275" y="4732"/>
                      <a:pt x="2182" y="4890"/>
                      <a:pt x="2062" y="5048"/>
                    </a:cubicBezTo>
                    <a:close/>
                    <a:moveTo>
                      <a:pt x="2173" y="5160"/>
                    </a:moveTo>
                    <a:cubicBezTo>
                      <a:pt x="2087" y="5511"/>
                      <a:pt x="2087" y="5511"/>
                      <a:pt x="2087" y="5511"/>
                    </a:cubicBezTo>
                    <a:cubicBezTo>
                      <a:pt x="2254" y="5570"/>
                      <a:pt x="2254" y="5570"/>
                      <a:pt x="2254" y="5570"/>
                    </a:cubicBezTo>
                    <a:cubicBezTo>
                      <a:pt x="2358" y="5721"/>
                      <a:pt x="2358" y="5721"/>
                      <a:pt x="2358" y="5721"/>
                    </a:cubicBezTo>
                    <a:cubicBezTo>
                      <a:pt x="2371" y="5725"/>
                      <a:pt x="2435" y="5742"/>
                      <a:pt x="2514" y="5764"/>
                    </a:cubicBezTo>
                    <a:cubicBezTo>
                      <a:pt x="2607" y="5203"/>
                      <a:pt x="2607" y="5203"/>
                      <a:pt x="2607" y="5203"/>
                    </a:cubicBezTo>
                    <a:cubicBezTo>
                      <a:pt x="2376" y="5180"/>
                      <a:pt x="2281" y="5170"/>
                      <a:pt x="2281" y="5170"/>
                    </a:cubicBezTo>
                    <a:cubicBezTo>
                      <a:pt x="2281" y="5170"/>
                      <a:pt x="2281" y="5170"/>
                      <a:pt x="2281" y="5170"/>
                    </a:cubicBezTo>
                    <a:cubicBezTo>
                      <a:pt x="2255" y="5168"/>
                      <a:pt x="2216" y="5164"/>
                      <a:pt x="2173" y="5160"/>
                    </a:cubicBezTo>
                    <a:close/>
                    <a:moveTo>
                      <a:pt x="2191" y="6378"/>
                    </a:moveTo>
                    <a:cubicBezTo>
                      <a:pt x="2170" y="6397"/>
                      <a:pt x="2069" y="6493"/>
                      <a:pt x="1968" y="6589"/>
                    </a:cubicBezTo>
                    <a:cubicBezTo>
                      <a:pt x="1957" y="6601"/>
                      <a:pt x="1945" y="6612"/>
                      <a:pt x="1933" y="6623"/>
                    </a:cubicBezTo>
                    <a:cubicBezTo>
                      <a:pt x="2151" y="6757"/>
                      <a:pt x="2151" y="6757"/>
                      <a:pt x="2151" y="6757"/>
                    </a:cubicBezTo>
                    <a:cubicBezTo>
                      <a:pt x="2444" y="6470"/>
                      <a:pt x="2444" y="6470"/>
                      <a:pt x="2444" y="6470"/>
                    </a:cubicBezTo>
                    <a:lnTo>
                      <a:pt x="2191" y="6378"/>
                    </a:lnTo>
                    <a:close/>
                    <a:moveTo>
                      <a:pt x="2054" y="6870"/>
                    </a:moveTo>
                    <a:cubicBezTo>
                      <a:pt x="2243" y="6986"/>
                      <a:pt x="2243" y="6986"/>
                      <a:pt x="2243" y="6986"/>
                    </a:cubicBezTo>
                    <a:cubicBezTo>
                      <a:pt x="2271" y="6959"/>
                      <a:pt x="2305" y="6926"/>
                      <a:pt x="2341" y="6890"/>
                    </a:cubicBezTo>
                    <a:cubicBezTo>
                      <a:pt x="2153" y="6774"/>
                      <a:pt x="2153" y="6774"/>
                      <a:pt x="2153" y="6774"/>
                    </a:cubicBezTo>
                    <a:lnTo>
                      <a:pt x="2054" y="6870"/>
                    </a:lnTo>
                    <a:close/>
                    <a:moveTo>
                      <a:pt x="2255" y="6994"/>
                    </a:moveTo>
                    <a:cubicBezTo>
                      <a:pt x="2485" y="7135"/>
                      <a:pt x="2485" y="7135"/>
                      <a:pt x="2485" y="7135"/>
                    </a:cubicBezTo>
                    <a:cubicBezTo>
                      <a:pt x="2583" y="7039"/>
                      <a:pt x="2583" y="7039"/>
                      <a:pt x="2583" y="7039"/>
                    </a:cubicBezTo>
                    <a:cubicBezTo>
                      <a:pt x="2354" y="6898"/>
                      <a:pt x="2354" y="6898"/>
                      <a:pt x="2354" y="6898"/>
                    </a:cubicBezTo>
                    <a:cubicBezTo>
                      <a:pt x="2320" y="6930"/>
                      <a:pt x="2289" y="6961"/>
                      <a:pt x="2262" y="6987"/>
                    </a:cubicBezTo>
                    <a:cubicBezTo>
                      <a:pt x="2260" y="6989"/>
                      <a:pt x="2257" y="6991"/>
                      <a:pt x="2255" y="6994"/>
                    </a:cubicBezTo>
                    <a:close/>
                    <a:moveTo>
                      <a:pt x="2497" y="7142"/>
                    </a:moveTo>
                    <a:cubicBezTo>
                      <a:pt x="2649" y="7236"/>
                      <a:pt x="2649" y="7236"/>
                      <a:pt x="2649" y="7236"/>
                    </a:cubicBezTo>
                    <a:cubicBezTo>
                      <a:pt x="2718" y="7122"/>
                      <a:pt x="2718" y="7122"/>
                      <a:pt x="2718" y="7122"/>
                    </a:cubicBezTo>
                    <a:cubicBezTo>
                      <a:pt x="2595" y="7047"/>
                      <a:pt x="2595" y="7047"/>
                      <a:pt x="2595" y="7047"/>
                    </a:cubicBezTo>
                    <a:lnTo>
                      <a:pt x="2497" y="7142"/>
                    </a:lnTo>
                    <a:close/>
                    <a:moveTo>
                      <a:pt x="2967" y="6660"/>
                    </a:moveTo>
                    <a:cubicBezTo>
                      <a:pt x="2703" y="6564"/>
                      <a:pt x="2703" y="6564"/>
                      <a:pt x="2703" y="6564"/>
                    </a:cubicBezTo>
                    <a:cubicBezTo>
                      <a:pt x="2670" y="6595"/>
                      <a:pt x="2558" y="6701"/>
                      <a:pt x="2446" y="6809"/>
                    </a:cubicBezTo>
                    <a:cubicBezTo>
                      <a:pt x="2418" y="6836"/>
                      <a:pt x="2390" y="6863"/>
                      <a:pt x="2363" y="6888"/>
                    </a:cubicBezTo>
                    <a:cubicBezTo>
                      <a:pt x="2592" y="7030"/>
                      <a:pt x="2592" y="7030"/>
                      <a:pt x="2592" y="7030"/>
                    </a:cubicBezTo>
                    <a:lnTo>
                      <a:pt x="2967" y="6660"/>
                    </a:lnTo>
                    <a:close/>
                    <a:moveTo>
                      <a:pt x="3162" y="6660"/>
                    </a:moveTo>
                    <a:cubicBezTo>
                      <a:pt x="3313" y="6300"/>
                      <a:pt x="3313" y="6300"/>
                      <a:pt x="3313" y="6300"/>
                    </a:cubicBezTo>
                    <a:cubicBezTo>
                      <a:pt x="3312" y="6300"/>
                      <a:pt x="3312" y="6300"/>
                      <a:pt x="3311" y="6299"/>
                    </a:cubicBezTo>
                    <a:cubicBezTo>
                      <a:pt x="3263" y="6270"/>
                      <a:pt x="3115" y="6167"/>
                      <a:pt x="3067" y="6133"/>
                    </a:cubicBezTo>
                    <a:cubicBezTo>
                      <a:pt x="3028" y="6141"/>
                      <a:pt x="2993" y="6149"/>
                      <a:pt x="2965" y="6159"/>
                    </a:cubicBezTo>
                    <a:cubicBezTo>
                      <a:pt x="2902" y="6181"/>
                      <a:pt x="2859" y="6198"/>
                      <a:pt x="2838" y="6233"/>
                    </a:cubicBezTo>
                    <a:cubicBezTo>
                      <a:pt x="2804" y="6287"/>
                      <a:pt x="2778" y="6365"/>
                      <a:pt x="2761" y="6429"/>
                    </a:cubicBezTo>
                    <a:cubicBezTo>
                      <a:pt x="2753" y="6460"/>
                      <a:pt x="2747" y="6488"/>
                      <a:pt x="2743" y="6508"/>
                    </a:cubicBezTo>
                    <a:lnTo>
                      <a:pt x="3162" y="6660"/>
                    </a:lnTo>
                    <a:close/>
                    <a:moveTo>
                      <a:pt x="3175" y="6665"/>
                    </a:moveTo>
                    <a:cubicBezTo>
                      <a:pt x="3576" y="6811"/>
                      <a:pt x="3576" y="6811"/>
                      <a:pt x="3576" y="6811"/>
                    </a:cubicBezTo>
                    <a:cubicBezTo>
                      <a:pt x="3609" y="6266"/>
                      <a:pt x="3609" y="6266"/>
                      <a:pt x="3609" y="6266"/>
                    </a:cubicBezTo>
                    <a:cubicBezTo>
                      <a:pt x="3469" y="6287"/>
                      <a:pt x="3335" y="6307"/>
                      <a:pt x="3331" y="6308"/>
                    </a:cubicBezTo>
                    <a:cubicBezTo>
                      <a:pt x="3331" y="6308"/>
                      <a:pt x="3331" y="6308"/>
                      <a:pt x="3331" y="6308"/>
                    </a:cubicBezTo>
                    <a:cubicBezTo>
                      <a:pt x="3330" y="6308"/>
                      <a:pt x="3330" y="6308"/>
                      <a:pt x="3330" y="6308"/>
                    </a:cubicBezTo>
                    <a:cubicBezTo>
                      <a:pt x="3330" y="6308"/>
                      <a:pt x="3330" y="6308"/>
                      <a:pt x="3330" y="6308"/>
                    </a:cubicBezTo>
                    <a:cubicBezTo>
                      <a:pt x="3328" y="6308"/>
                      <a:pt x="3326" y="6307"/>
                      <a:pt x="3325" y="6307"/>
                    </a:cubicBezTo>
                    <a:lnTo>
                      <a:pt x="3175" y="6665"/>
                    </a:lnTo>
                    <a:close/>
                    <a:moveTo>
                      <a:pt x="3589" y="6816"/>
                    </a:moveTo>
                    <a:cubicBezTo>
                      <a:pt x="4178" y="7029"/>
                      <a:pt x="4178" y="7029"/>
                      <a:pt x="4178" y="7029"/>
                    </a:cubicBezTo>
                    <a:cubicBezTo>
                      <a:pt x="4096" y="6889"/>
                      <a:pt x="4096" y="6889"/>
                      <a:pt x="4096" y="6889"/>
                    </a:cubicBezTo>
                    <a:cubicBezTo>
                      <a:pt x="4116" y="6792"/>
                      <a:pt x="4116" y="6792"/>
                      <a:pt x="4116" y="6792"/>
                    </a:cubicBezTo>
                    <a:cubicBezTo>
                      <a:pt x="3912" y="6573"/>
                      <a:pt x="3912" y="6573"/>
                      <a:pt x="3912" y="6573"/>
                    </a:cubicBezTo>
                    <a:cubicBezTo>
                      <a:pt x="3912" y="6220"/>
                      <a:pt x="3912" y="6220"/>
                      <a:pt x="3912" y="6220"/>
                    </a:cubicBezTo>
                    <a:cubicBezTo>
                      <a:pt x="3874" y="6226"/>
                      <a:pt x="3748" y="6245"/>
                      <a:pt x="3623" y="6263"/>
                    </a:cubicBezTo>
                    <a:lnTo>
                      <a:pt x="3589" y="6816"/>
                    </a:lnTo>
                    <a:close/>
                    <a:moveTo>
                      <a:pt x="4202" y="7038"/>
                    </a:moveTo>
                    <a:cubicBezTo>
                      <a:pt x="4296" y="7072"/>
                      <a:pt x="4296" y="7072"/>
                      <a:pt x="4296" y="7072"/>
                    </a:cubicBezTo>
                    <a:cubicBezTo>
                      <a:pt x="4312" y="7051"/>
                      <a:pt x="4348" y="7004"/>
                      <a:pt x="4368" y="6973"/>
                    </a:cubicBezTo>
                    <a:cubicBezTo>
                      <a:pt x="4392" y="6936"/>
                      <a:pt x="4404" y="6904"/>
                      <a:pt x="4416" y="6855"/>
                    </a:cubicBezTo>
                    <a:cubicBezTo>
                      <a:pt x="4417" y="6853"/>
                      <a:pt x="4417" y="6849"/>
                      <a:pt x="4418" y="6846"/>
                    </a:cubicBezTo>
                    <a:cubicBezTo>
                      <a:pt x="4359" y="6837"/>
                      <a:pt x="4172" y="6806"/>
                      <a:pt x="4132" y="6800"/>
                    </a:cubicBezTo>
                    <a:cubicBezTo>
                      <a:pt x="4113" y="6886"/>
                      <a:pt x="4113" y="6886"/>
                      <a:pt x="4113" y="6886"/>
                    </a:cubicBezTo>
                    <a:lnTo>
                      <a:pt x="4202" y="7038"/>
                    </a:lnTo>
                    <a:close/>
                    <a:moveTo>
                      <a:pt x="4394" y="7055"/>
                    </a:moveTo>
                    <a:cubicBezTo>
                      <a:pt x="4469" y="7056"/>
                      <a:pt x="4640" y="7059"/>
                      <a:pt x="4687" y="7059"/>
                    </a:cubicBezTo>
                    <a:cubicBezTo>
                      <a:pt x="4689" y="7059"/>
                      <a:pt x="4691" y="7059"/>
                      <a:pt x="4693" y="7059"/>
                    </a:cubicBezTo>
                    <a:cubicBezTo>
                      <a:pt x="4696" y="7024"/>
                      <a:pt x="4707" y="6858"/>
                      <a:pt x="4717" y="6697"/>
                    </a:cubicBezTo>
                    <a:cubicBezTo>
                      <a:pt x="4728" y="6538"/>
                      <a:pt x="4738" y="6383"/>
                      <a:pt x="4739" y="6358"/>
                    </a:cubicBezTo>
                    <a:cubicBezTo>
                      <a:pt x="4584" y="6214"/>
                      <a:pt x="4584" y="6214"/>
                      <a:pt x="4584" y="6214"/>
                    </a:cubicBezTo>
                    <a:cubicBezTo>
                      <a:pt x="4574" y="6269"/>
                      <a:pt x="4561" y="6353"/>
                      <a:pt x="4556" y="6392"/>
                    </a:cubicBezTo>
                    <a:cubicBezTo>
                      <a:pt x="4553" y="6419"/>
                      <a:pt x="4538" y="6524"/>
                      <a:pt x="4522" y="6630"/>
                    </a:cubicBezTo>
                    <a:cubicBezTo>
                      <a:pt x="4506" y="6737"/>
                      <a:pt x="4490" y="6841"/>
                      <a:pt x="4483" y="6871"/>
                    </a:cubicBezTo>
                    <a:cubicBezTo>
                      <a:pt x="4470" y="6923"/>
                      <a:pt x="4455" y="6967"/>
                      <a:pt x="4425" y="7012"/>
                    </a:cubicBezTo>
                    <a:cubicBezTo>
                      <a:pt x="4416" y="7025"/>
                      <a:pt x="4405" y="7040"/>
                      <a:pt x="4394" y="7055"/>
                    </a:cubicBezTo>
                    <a:close/>
                    <a:moveTo>
                      <a:pt x="4795" y="6507"/>
                    </a:moveTo>
                    <a:cubicBezTo>
                      <a:pt x="4800" y="6469"/>
                      <a:pt x="4800" y="6469"/>
                      <a:pt x="4800" y="6469"/>
                    </a:cubicBezTo>
                    <a:cubicBezTo>
                      <a:pt x="4773" y="6467"/>
                      <a:pt x="4753" y="6466"/>
                      <a:pt x="4749" y="6466"/>
                    </a:cubicBezTo>
                    <a:cubicBezTo>
                      <a:pt x="4745" y="6520"/>
                      <a:pt x="4741" y="6590"/>
                      <a:pt x="4736" y="6663"/>
                    </a:cubicBezTo>
                    <a:cubicBezTo>
                      <a:pt x="4766" y="6664"/>
                      <a:pt x="4766" y="6664"/>
                      <a:pt x="4766" y="6664"/>
                    </a:cubicBezTo>
                    <a:cubicBezTo>
                      <a:pt x="4772" y="6613"/>
                      <a:pt x="4772" y="6613"/>
                      <a:pt x="4772" y="6613"/>
                    </a:cubicBezTo>
                    <a:cubicBezTo>
                      <a:pt x="4808" y="6615"/>
                      <a:pt x="4808" y="6615"/>
                      <a:pt x="4808" y="6615"/>
                    </a:cubicBezTo>
                    <a:cubicBezTo>
                      <a:pt x="4817" y="6567"/>
                      <a:pt x="4817" y="6567"/>
                      <a:pt x="4817" y="6567"/>
                    </a:cubicBezTo>
                    <a:cubicBezTo>
                      <a:pt x="4830" y="6567"/>
                      <a:pt x="4830" y="6567"/>
                      <a:pt x="4830" y="6567"/>
                    </a:cubicBezTo>
                    <a:cubicBezTo>
                      <a:pt x="4836" y="6508"/>
                      <a:pt x="4836" y="6508"/>
                      <a:pt x="4836" y="6508"/>
                    </a:cubicBezTo>
                    <a:lnTo>
                      <a:pt x="4795" y="6507"/>
                    </a:lnTo>
                    <a:close/>
                    <a:moveTo>
                      <a:pt x="4814" y="6470"/>
                    </a:moveTo>
                    <a:cubicBezTo>
                      <a:pt x="4811" y="6493"/>
                      <a:pt x="4811" y="6493"/>
                      <a:pt x="4811" y="6493"/>
                    </a:cubicBezTo>
                    <a:cubicBezTo>
                      <a:pt x="4836" y="6494"/>
                      <a:pt x="4836" y="6494"/>
                      <a:pt x="4836" y="6494"/>
                    </a:cubicBezTo>
                    <a:cubicBezTo>
                      <a:pt x="4851" y="6495"/>
                      <a:pt x="4851" y="6495"/>
                      <a:pt x="4851" y="6495"/>
                    </a:cubicBezTo>
                    <a:cubicBezTo>
                      <a:pt x="4850" y="6510"/>
                      <a:pt x="4850" y="6510"/>
                      <a:pt x="4850" y="6510"/>
                    </a:cubicBezTo>
                    <a:cubicBezTo>
                      <a:pt x="4844" y="6568"/>
                      <a:pt x="4844" y="6568"/>
                      <a:pt x="4844" y="6568"/>
                    </a:cubicBezTo>
                    <a:cubicBezTo>
                      <a:pt x="4843" y="6581"/>
                      <a:pt x="4843" y="6581"/>
                      <a:pt x="4843" y="6581"/>
                    </a:cubicBezTo>
                    <a:cubicBezTo>
                      <a:pt x="4830" y="6581"/>
                      <a:pt x="4830" y="6581"/>
                      <a:pt x="4830" y="6581"/>
                    </a:cubicBezTo>
                    <a:cubicBezTo>
                      <a:pt x="4828" y="6581"/>
                      <a:pt x="4828" y="6581"/>
                      <a:pt x="4828" y="6581"/>
                    </a:cubicBezTo>
                    <a:cubicBezTo>
                      <a:pt x="4822" y="6617"/>
                      <a:pt x="4822" y="6617"/>
                      <a:pt x="4822" y="6617"/>
                    </a:cubicBezTo>
                    <a:cubicBezTo>
                      <a:pt x="4820" y="6629"/>
                      <a:pt x="4820" y="6629"/>
                      <a:pt x="4820" y="6629"/>
                    </a:cubicBezTo>
                    <a:cubicBezTo>
                      <a:pt x="4807" y="6629"/>
                      <a:pt x="4807" y="6629"/>
                      <a:pt x="4807" y="6629"/>
                    </a:cubicBezTo>
                    <a:cubicBezTo>
                      <a:pt x="4784" y="6628"/>
                      <a:pt x="4784" y="6628"/>
                      <a:pt x="4784" y="6628"/>
                    </a:cubicBezTo>
                    <a:cubicBezTo>
                      <a:pt x="4780" y="6665"/>
                      <a:pt x="4780" y="6665"/>
                      <a:pt x="4780" y="6665"/>
                    </a:cubicBezTo>
                    <a:cubicBezTo>
                      <a:pt x="4895" y="6671"/>
                      <a:pt x="4895" y="6671"/>
                      <a:pt x="4895" y="6671"/>
                    </a:cubicBezTo>
                    <a:cubicBezTo>
                      <a:pt x="4906" y="6577"/>
                      <a:pt x="4906" y="6577"/>
                      <a:pt x="4906" y="6577"/>
                    </a:cubicBezTo>
                    <a:cubicBezTo>
                      <a:pt x="4907" y="6564"/>
                      <a:pt x="4907" y="6564"/>
                      <a:pt x="4907" y="6564"/>
                    </a:cubicBezTo>
                    <a:cubicBezTo>
                      <a:pt x="4919" y="6564"/>
                      <a:pt x="4919" y="6564"/>
                      <a:pt x="4919" y="6564"/>
                    </a:cubicBezTo>
                    <a:cubicBezTo>
                      <a:pt x="4929" y="6478"/>
                      <a:pt x="4929" y="6478"/>
                      <a:pt x="4929" y="6478"/>
                    </a:cubicBezTo>
                    <a:cubicBezTo>
                      <a:pt x="4895" y="6476"/>
                      <a:pt x="4851" y="6473"/>
                      <a:pt x="4814" y="6470"/>
                    </a:cubicBezTo>
                    <a:close/>
                    <a:moveTo>
                      <a:pt x="4907" y="6460"/>
                    </a:moveTo>
                    <a:cubicBezTo>
                      <a:pt x="4916" y="6461"/>
                      <a:pt x="4924" y="6461"/>
                      <a:pt x="4931" y="6462"/>
                    </a:cubicBezTo>
                    <a:cubicBezTo>
                      <a:pt x="4940" y="6381"/>
                      <a:pt x="4940" y="6381"/>
                      <a:pt x="4940" y="6381"/>
                    </a:cubicBezTo>
                    <a:cubicBezTo>
                      <a:pt x="4864" y="6373"/>
                      <a:pt x="4864" y="6373"/>
                      <a:pt x="4864" y="6373"/>
                    </a:cubicBezTo>
                    <a:cubicBezTo>
                      <a:pt x="4860" y="6410"/>
                      <a:pt x="4860" y="6410"/>
                      <a:pt x="4860" y="6410"/>
                    </a:cubicBezTo>
                    <a:cubicBezTo>
                      <a:pt x="4858" y="6423"/>
                      <a:pt x="4858" y="6423"/>
                      <a:pt x="4858" y="6423"/>
                    </a:cubicBezTo>
                    <a:cubicBezTo>
                      <a:pt x="4845" y="6422"/>
                      <a:pt x="4845" y="6422"/>
                      <a:pt x="4845" y="6422"/>
                    </a:cubicBezTo>
                    <a:cubicBezTo>
                      <a:pt x="4820" y="6421"/>
                      <a:pt x="4820" y="6421"/>
                      <a:pt x="4820" y="6421"/>
                    </a:cubicBezTo>
                    <a:cubicBezTo>
                      <a:pt x="4816" y="6454"/>
                      <a:pt x="4816" y="6454"/>
                      <a:pt x="4816" y="6454"/>
                    </a:cubicBezTo>
                    <a:cubicBezTo>
                      <a:pt x="4845" y="6456"/>
                      <a:pt x="4878" y="6458"/>
                      <a:pt x="4907" y="6460"/>
                    </a:cubicBezTo>
                    <a:close/>
                    <a:moveTo>
                      <a:pt x="4814" y="6705"/>
                    </a:moveTo>
                    <a:cubicBezTo>
                      <a:pt x="4813" y="6719"/>
                      <a:pt x="4813" y="6719"/>
                      <a:pt x="4813" y="6719"/>
                    </a:cubicBezTo>
                    <a:cubicBezTo>
                      <a:pt x="4809" y="6759"/>
                      <a:pt x="4809" y="6759"/>
                      <a:pt x="4809" y="6759"/>
                    </a:cubicBezTo>
                    <a:cubicBezTo>
                      <a:pt x="4883" y="6768"/>
                      <a:pt x="4883" y="6768"/>
                      <a:pt x="4883" y="6768"/>
                    </a:cubicBezTo>
                    <a:cubicBezTo>
                      <a:pt x="4893" y="6687"/>
                      <a:pt x="4893" y="6687"/>
                      <a:pt x="4893" y="6687"/>
                    </a:cubicBezTo>
                    <a:cubicBezTo>
                      <a:pt x="4778" y="6681"/>
                      <a:pt x="4778" y="6681"/>
                      <a:pt x="4778" y="6681"/>
                    </a:cubicBezTo>
                    <a:cubicBezTo>
                      <a:pt x="4776" y="6702"/>
                      <a:pt x="4776" y="6702"/>
                      <a:pt x="4776" y="6702"/>
                    </a:cubicBezTo>
                    <a:cubicBezTo>
                      <a:pt x="4800" y="6704"/>
                      <a:pt x="4800" y="6704"/>
                      <a:pt x="4800" y="6704"/>
                    </a:cubicBezTo>
                    <a:lnTo>
                      <a:pt x="4814" y="6705"/>
                    </a:lnTo>
                    <a:close/>
                    <a:moveTo>
                      <a:pt x="4721" y="6897"/>
                    </a:moveTo>
                    <a:cubicBezTo>
                      <a:pt x="4742" y="6886"/>
                      <a:pt x="4784" y="6864"/>
                      <a:pt x="4827" y="6841"/>
                    </a:cubicBezTo>
                    <a:cubicBezTo>
                      <a:pt x="4857" y="6825"/>
                      <a:pt x="4887" y="6809"/>
                      <a:pt x="4910" y="6797"/>
                    </a:cubicBezTo>
                    <a:cubicBezTo>
                      <a:pt x="4924" y="6789"/>
                      <a:pt x="4935" y="6784"/>
                      <a:pt x="4942" y="6780"/>
                    </a:cubicBezTo>
                    <a:cubicBezTo>
                      <a:pt x="4939" y="6755"/>
                      <a:pt x="4940" y="6738"/>
                      <a:pt x="4940" y="6717"/>
                    </a:cubicBezTo>
                    <a:cubicBezTo>
                      <a:pt x="4940" y="6707"/>
                      <a:pt x="4940" y="6698"/>
                      <a:pt x="4940" y="6689"/>
                    </a:cubicBezTo>
                    <a:cubicBezTo>
                      <a:pt x="4907" y="6688"/>
                      <a:pt x="4907" y="6688"/>
                      <a:pt x="4907" y="6688"/>
                    </a:cubicBezTo>
                    <a:cubicBezTo>
                      <a:pt x="4895" y="6784"/>
                      <a:pt x="4895" y="6784"/>
                      <a:pt x="4895" y="6784"/>
                    </a:cubicBezTo>
                    <a:cubicBezTo>
                      <a:pt x="4794" y="6771"/>
                      <a:pt x="4794" y="6771"/>
                      <a:pt x="4794" y="6771"/>
                    </a:cubicBezTo>
                    <a:cubicBezTo>
                      <a:pt x="4799" y="6718"/>
                      <a:pt x="4799" y="6718"/>
                      <a:pt x="4799" y="6718"/>
                    </a:cubicBezTo>
                    <a:cubicBezTo>
                      <a:pt x="4760" y="6715"/>
                      <a:pt x="4760" y="6715"/>
                      <a:pt x="4760" y="6715"/>
                    </a:cubicBezTo>
                    <a:cubicBezTo>
                      <a:pt x="4764" y="6681"/>
                      <a:pt x="4764" y="6681"/>
                      <a:pt x="4764" y="6681"/>
                    </a:cubicBezTo>
                    <a:cubicBezTo>
                      <a:pt x="4735" y="6679"/>
                      <a:pt x="4735" y="6679"/>
                      <a:pt x="4735" y="6679"/>
                    </a:cubicBezTo>
                    <a:cubicBezTo>
                      <a:pt x="4734" y="6690"/>
                      <a:pt x="4734" y="6700"/>
                      <a:pt x="4733" y="6711"/>
                    </a:cubicBezTo>
                    <a:cubicBezTo>
                      <a:pt x="4729" y="6776"/>
                      <a:pt x="4724" y="6841"/>
                      <a:pt x="4721" y="6897"/>
                    </a:cubicBezTo>
                    <a:close/>
                    <a:moveTo>
                      <a:pt x="4963" y="6480"/>
                    </a:moveTo>
                    <a:cubicBezTo>
                      <a:pt x="4957" y="6480"/>
                      <a:pt x="4950" y="6480"/>
                      <a:pt x="4943" y="6479"/>
                    </a:cubicBezTo>
                    <a:cubicBezTo>
                      <a:pt x="4932" y="6579"/>
                      <a:pt x="4932" y="6579"/>
                      <a:pt x="4932" y="6579"/>
                    </a:cubicBezTo>
                    <a:cubicBezTo>
                      <a:pt x="4920" y="6578"/>
                      <a:pt x="4920" y="6578"/>
                      <a:pt x="4920" y="6578"/>
                    </a:cubicBezTo>
                    <a:cubicBezTo>
                      <a:pt x="4909" y="6671"/>
                      <a:pt x="4909" y="6671"/>
                      <a:pt x="4909" y="6671"/>
                    </a:cubicBezTo>
                    <a:cubicBezTo>
                      <a:pt x="4941" y="6673"/>
                      <a:pt x="4941" y="6673"/>
                      <a:pt x="4941" y="6673"/>
                    </a:cubicBezTo>
                    <a:cubicBezTo>
                      <a:pt x="4941" y="6670"/>
                      <a:pt x="4941" y="6667"/>
                      <a:pt x="4942" y="6665"/>
                    </a:cubicBezTo>
                    <a:cubicBezTo>
                      <a:pt x="4947" y="6604"/>
                      <a:pt x="4956" y="6532"/>
                      <a:pt x="4963" y="6480"/>
                    </a:cubicBezTo>
                    <a:close/>
                    <a:moveTo>
                      <a:pt x="4965" y="6464"/>
                    </a:moveTo>
                    <a:cubicBezTo>
                      <a:pt x="4968" y="6445"/>
                      <a:pt x="4970" y="6430"/>
                      <a:pt x="4972" y="6421"/>
                    </a:cubicBezTo>
                    <a:cubicBezTo>
                      <a:pt x="4974" y="6403"/>
                      <a:pt x="4979" y="6371"/>
                      <a:pt x="4983" y="6336"/>
                    </a:cubicBezTo>
                    <a:cubicBezTo>
                      <a:pt x="4934" y="6342"/>
                      <a:pt x="4789" y="6358"/>
                      <a:pt x="4755" y="6362"/>
                    </a:cubicBezTo>
                    <a:cubicBezTo>
                      <a:pt x="4755" y="6375"/>
                      <a:pt x="4753" y="6407"/>
                      <a:pt x="4750" y="6449"/>
                    </a:cubicBezTo>
                    <a:cubicBezTo>
                      <a:pt x="4756" y="6450"/>
                      <a:pt x="4776" y="6451"/>
                      <a:pt x="4802" y="6453"/>
                    </a:cubicBezTo>
                    <a:cubicBezTo>
                      <a:pt x="4808" y="6406"/>
                      <a:pt x="4808" y="6406"/>
                      <a:pt x="4808" y="6406"/>
                    </a:cubicBezTo>
                    <a:cubicBezTo>
                      <a:pt x="4846" y="6408"/>
                      <a:pt x="4846" y="6408"/>
                      <a:pt x="4846" y="6408"/>
                    </a:cubicBezTo>
                    <a:cubicBezTo>
                      <a:pt x="4852" y="6358"/>
                      <a:pt x="4852" y="6358"/>
                      <a:pt x="4852" y="6358"/>
                    </a:cubicBezTo>
                    <a:cubicBezTo>
                      <a:pt x="4955" y="6368"/>
                      <a:pt x="4955" y="6368"/>
                      <a:pt x="4955" y="6368"/>
                    </a:cubicBezTo>
                    <a:cubicBezTo>
                      <a:pt x="4945" y="6463"/>
                      <a:pt x="4945" y="6463"/>
                      <a:pt x="4945" y="6463"/>
                    </a:cubicBezTo>
                    <a:cubicBezTo>
                      <a:pt x="4946" y="6463"/>
                      <a:pt x="4946" y="6463"/>
                      <a:pt x="4946" y="6463"/>
                    </a:cubicBezTo>
                    <a:cubicBezTo>
                      <a:pt x="4946" y="6463"/>
                      <a:pt x="4946" y="6463"/>
                      <a:pt x="4946" y="6463"/>
                    </a:cubicBezTo>
                    <a:cubicBezTo>
                      <a:pt x="4954" y="6463"/>
                      <a:pt x="4960" y="6464"/>
                      <a:pt x="4965" y="6464"/>
                    </a:cubicBezTo>
                    <a:close/>
                    <a:moveTo>
                      <a:pt x="4986" y="6319"/>
                    </a:moveTo>
                    <a:cubicBezTo>
                      <a:pt x="4989" y="6297"/>
                      <a:pt x="4991" y="6274"/>
                      <a:pt x="4994" y="6252"/>
                    </a:cubicBezTo>
                    <a:cubicBezTo>
                      <a:pt x="4999" y="6206"/>
                      <a:pt x="5002" y="6163"/>
                      <a:pt x="5003" y="6152"/>
                    </a:cubicBezTo>
                    <a:cubicBezTo>
                      <a:pt x="5003" y="6145"/>
                      <a:pt x="5004" y="6134"/>
                      <a:pt x="5004" y="6121"/>
                    </a:cubicBezTo>
                    <a:cubicBezTo>
                      <a:pt x="5004" y="6030"/>
                      <a:pt x="4990" y="5820"/>
                      <a:pt x="4844" y="5662"/>
                    </a:cubicBezTo>
                    <a:cubicBezTo>
                      <a:pt x="4818" y="5697"/>
                      <a:pt x="4787" y="5743"/>
                      <a:pt x="4761" y="5783"/>
                    </a:cubicBezTo>
                    <a:cubicBezTo>
                      <a:pt x="4742" y="5812"/>
                      <a:pt x="4725" y="5839"/>
                      <a:pt x="4713" y="5857"/>
                    </a:cubicBezTo>
                    <a:cubicBezTo>
                      <a:pt x="4711" y="5862"/>
                      <a:pt x="4684" y="5930"/>
                      <a:pt x="4655" y="6005"/>
                    </a:cubicBezTo>
                    <a:cubicBezTo>
                      <a:pt x="4640" y="6043"/>
                      <a:pt x="4624" y="6084"/>
                      <a:pt x="4612" y="6117"/>
                    </a:cubicBezTo>
                    <a:cubicBezTo>
                      <a:pt x="4600" y="6150"/>
                      <a:pt x="4591" y="6178"/>
                      <a:pt x="4590" y="6185"/>
                    </a:cubicBezTo>
                    <a:cubicBezTo>
                      <a:pt x="4589" y="6188"/>
                      <a:pt x="4589" y="6192"/>
                      <a:pt x="4588" y="6195"/>
                    </a:cubicBezTo>
                    <a:cubicBezTo>
                      <a:pt x="4750" y="6346"/>
                      <a:pt x="4750" y="6346"/>
                      <a:pt x="4750" y="6346"/>
                    </a:cubicBezTo>
                    <a:cubicBezTo>
                      <a:pt x="4751" y="6346"/>
                      <a:pt x="4751" y="6346"/>
                      <a:pt x="4751" y="6346"/>
                    </a:cubicBezTo>
                    <a:cubicBezTo>
                      <a:pt x="4768" y="6344"/>
                      <a:pt x="4829" y="6337"/>
                      <a:pt x="4886" y="6331"/>
                    </a:cubicBezTo>
                    <a:cubicBezTo>
                      <a:pt x="4915" y="6327"/>
                      <a:pt x="4942" y="6324"/>
                      <a:pt x="4963" y="6322"/>
                    </a:cubicBezTo>
                    <a:cubicBezTo>
                      <a:pt x="4972" y="6321"/>
                      <a:pt x="4980" y="6320"/>
                      <a:pt x="4986" y="6319"/>
                    </a:cubicBezTo>
                    <a:close/>
                    <a:moveTo>
                      <a:pt x="4985" y="6717"/>
                    </a:moveTo>
                    <a:cubicBezTo>
                      <a:pt x="4985" y="6737"/>
                      <a:pt x="4986" y="6758"/>
                      <a:pt x="4988" y="6770"/>
                    </a:cubicBezTo>
                    <a:cubicBezTo>
                      <a:pt x="4988" y="6775"/>
                      <a:pt x="4988" y="6775"/>
                      <a:pt x="4988" y="6775"/>
                    </a:cubicBezTo>
                    <a:cubicBezTo>
                      <a:pt x="4988" y="6780"/>
                      <a:pt x="4989" y="6785"/>
                      <a:pt x="4990" y="6791"/>
                    </a:cubicBezTo>
                    <a:cubicBezTo>
                      <a:pt x="5011" y="6776"/>
                      <a:pt x="5049" y="6746"/>
                      <a:pt x="5088" y="6717"/>
                    </a:cubicBezTo>
                    <a:cubicBezTo>
                      <a:pt x="5116" y="6695"/>
                      <a:pt x="5145" y="6674"/>
                      <a:pt x="5166" y="6658"/>
                    </a:cubicBezTo>
                    <a:cubicBezTo>
                      <a:pt x="5177" y="6650"/>
                      <a:pt x="5186" y="6643"/>
                      <a:pt x="5193" y="6638"/>
                    </a:cubicBezTo>
                    <a:cubicBezTo>
                      <a:pt x="5196" y="6636"/>
                      <a:pt x="5199" y="6634"/>
                      <a:pt x="5200" y="6633"/>
                    </a:cubicBezTo>
                    <a:cubicBezTo>
                      <a:pt x="5202" y="6632"/>
                      <a:pt x="5202" y="6631"/>
                      <a:pt x="5203" y="6631"/>
                    </a:cubicBezTo>
                    <a:cubicBezTo>
                      <a:pt x="5206" y="6627"/>
                      <a:pt x="5217" y="6607"/>
                      <a:pt x="5231" y="6582"/>
                    </a:cubicBezTo>
                    <a:cubicBezTo>
                      <a:pt x="5278" y="6497"/>
                      <a:pt x="5365" y="6336"/>
                      <a:pt x="5366" y="6335"/>
                    </a:cubicBezTo>
                    <a:cubicBezTo>
                      <a:pt x="5368" y="6330"/>
                      <a:pt x="5368" y="6330"/>
                      <a:pt x="5368" y="6330"/>
                    </a:cubicBezTo>
                    <a:cubicBezTo>
                      <a:pt x="5407" y="6336"/>
                      <a:pt x="5407" y="6336"/>
                      <a:pt x="5407" y="6336"/>
                    </a:cubicBezTo>
                    <a:cubicBezTo>
                      <a:pt x="5431" y="6197"/>
                      <a:pt x="5431" y="6197"/>
                      <a:pt x="5431" y="6197"/>
                    </a:cubicBezTo>
                    <a:cubicBezTo>
                      <a:pt x="5291" y="6168"/>
                      <a:pt x="5291" y="6168"/>
                      <a:pt x="5291" y="6168"/>
                    </a:cubicBezTo>
                    <a:cubicBezTo>
                      <a:pt x="5047" y="6169"/>
                      <a:pt x="5047" y="6169"/>
                      <a:pt x="5047" y="6169"/>
                    </a:cubicBezTo>
                    <a:cubicBezTo>
                      <a:pt x="5047" y="6169"/>
                      <a:pt x="5047" y="6170"/>
                      <a:pt x="5047" y="6170"/>
                    </a:cubicBezTo>
                    <a:cubicBezTo>
                      <a:pt x="5047" y="6170"/>
                      <a:pt x="5047" y="6170"/>
                      <a:pt x="5047" y="6170"/>
                    </a:cubicBezTo>
                    <a:cubicBezTo>
                      <a:pt x="5045" y="6189"/>
                      <a:pt x="5043" y="6222"/>
                      <a:pt x="5039" y="6257"/>
                    </a:cubicBezTo>
                    <a:cubicBezTo>
                      <a:pt x="5031" y="6322"/>
                      <a:pt x="5021" y="6396"/>
                      <a:pt x="5016" y="6428"/>
                    </a:cubicBezTo>
                    <a:cubicBezTo>
                      <a:pt x="5011" y="6463"/>
                      <a:pt x="4994" y="6579"/>
                      <a:pt x="4986" y="6669"/>
                    </a:cubicBezTo>
                    <a:cubicBezTo>
                      <a:pt x="4986" y="6676"/>
                      <a:pt x="4985" y="6696"/>
                      <a:pt x="4985" y="6717"/>
                    </a:cubicBezTo>
                    <a:close/>
                    <a:moveTo>
                      <a:pt x="5546" y="6189"/>
                    </a:moveTo>
                    <a:cubicBezTo>
                      <a:pt x="5560" y="6112"/>
                      <a:pt x="5560" y="6112"/>
                      <a:pt x="5560" y="6112"/>
                    </a:cubicBezTo>
                    <a:cubicBezTo>
                      <a:pt x="5440" y="6090"/>
                      <a:pt x="5440" y="6090"/>
                      <a:pt x="5440" y="6090"/>
                    </a:cubicBezTo>
                    <a:cubicBezTo>
                      <a:pt x="5426" y="6167"/>
                      <a:pt x="5426" y="6167"/>
                      <a:pt x="5426" y="6167"/>
                    </a:cubicBezTo>
                    <a:lnTo>
                      <a:pt x="5546" y="6189"/>
                    </a:lnTo>
                    <a:close/>
                    <a:moveTo>
                      <a:pt x="5450" y="6185"/>
                    </a:moveTo>
                    <a:cubicBezTo>
                      <a:pt x="5450" y="6185"/>
                      <a:pt x="5450" y="6185"/>
                      <a:pt x="5450" y="6185"/>
                    </a:cubicBezTo>
                    <a:cubicBezTo>
                      <a:pt x="5451" y="6185"/>
                      <a:pt x="5452" y="6185"/>
                      <a:pt x="5454" y="6186"/>
                    </a:cubicBezTo>
                    <a:lnTo>
                      <a:pt x="5450" y="6185"/>
                    </a:lnTo>
                    <a:close/>
                    <a:moveTo>
                      <a:pt x="5423" y="6341"/>
                    </a:moveTo>
                    <a:cubicBezTo>
                      <a:pt x="5445" y="6346"/>
                      <a:pt x="5491" y="6355"/>
                      <a:pt x="5538" y="6364"/>
                    </a:cubicBezTo>
                    <a:cubicBezTo>
                      <a:pt x="5590" y="6374"/>
                      <a:pt x="5644" y="6383"/>
                      <a:pt x="5668" y="6387"/>
                    </a:cubicBezTo>
                    <a:cubicBezTo>
                      <a:pt x="5685" y="6237"/>
                      <a:pt x="5685" y="6237"/>
                      <a:pt x="5685" y="6237"/>
                    </a:cubicBezTo>
                    <a:cubicBezTo>
                      <a:pt x="5664" y="6234"/>
                      <a:pt x="5618" y="6227"/>
                      <a:pt x="5571" y="6220"/>
                    </a:cubicBezTo>
                    <a:cubicBezTo>
                      <a:pt x="5519" y="6212"/>
                      <a:pt x="5465" y="6202"/>
                      <a:pt x="5447" y="6199"/>
                    </a:cubicBezTo>
                    <a:lnTo>
                      <a:pt x="5423" y="6341"/>
                    </a:lnTo>
                    <a:close/>
                    <a:moveTo>
                      <a:pt x="5687" y="6223"/>
                    </a:moveTo>
                    <a:cubicBezTo>
                      <a:pt x="5716" y="5960"/>
                      <a:pt x="5716" y="5960"/>
                      <a:pt x="5716" y="5960"/>
                    </a:cubicBezTo>
                    <a:cubicBezTo>
                      <a:pt x="5385" y="5898"/>
                      <a:pt x="5385" y="5898"/>
                      <a:pt x="5385" y="5898"/>
                    </a:cubicBezTo>
                    <a:cubicBezTo>
                      <a:pt x="5387" y="5908"/>
                      <a:pt x="5387" y="5908"/>
                      <a:pt x="5387" y="5908"/>
                    </a:cubicBezTo>
                    <a:cubicBezTo>
                      <a:pt x="5386" y="5909"/>
                      <a:pt x="5386" y="5909"/>
                      <a:pt x="5386" y="5909"/>
                    </a:cubicBezTo>
                    <a:cubicBezTo>
                      <a:pt x="5386" y="5909"/>
                      <a:pt x="5372" y="5972"/>
                      <a:pt x="5357" y="6035"/>
                    </a:cubicBezTo>
                    <a:cubicBezTo>
                      <a:pt x="5349" y="6067"/>
                      <a:pt x="5341" y="6099"/>
                      <a:pt x="5335" y="6123"/>
                    </a:cubicBezTo>
                    <a:cubicBezTo>
                      <a:pt x="5332" y="6135"/>
                      <a:pt x="5329" y="6145"/>
                      <a:pt x="5327" y="6152"/>
                    </a:cubicBezTo>
                    <a:cubicBezTo>
                      <a:pt x="5326" y="6155"/>
                      <a:pt x="5326" y="6156"/>
                      <a:pt x="5325" y="6158"/>
                    </a:cubicBezTo>
                    <a:cubicBezTo>
                      <a:pt x="5411" y="6176"/>
                      <a:pt x="5411" y="6176"/>
                      <a:pt x="5411" y="6176"/>
                    </a:cubicBezTo>
                    <a:cubicBezTo>
                      <a:pt x="5412" y="6171"/>
                      <a:pt x="5412" y="6171"/>
                      <a:pt x="5412" y="6171"/>
                    </a:cubicBezTo>
                    <a:cubicBezTo>
                      <a:pt x="5429" y="6075"/>
                      <a:pt x="5429" y="6075"/>
                      <a:pt x="5429" y="6075"/>
                    </a:cubicBezTo>
                    <a:cubicBezTo>
                      <a:pt x="5575" y="6101"/>
                      <a:pt x="5575" y="6101"/>
                      <a:pt x="5575" y="6101"/>
                    </a:cubicBezTo>
                    <a:cubicBezTo>
                      <a:pt x="5557" y="6202"/>
                      <a:pt x="5557" y="6202"/>
                      <a:pt x="5557" y="6202"/>
                    </a:cubicBezTo>
                    <a:cubicBezTo>
                      <a:pt x="5609" y="6210"/>
                      <a:pt x="5663" y="6219"/>
                      <a:pt x="5687" y="6223"/>
                    </a:cubicBezTo>
                    <a:close/>
                    <a:moveTo>
                      <a:pt x="5718" y="5946"/>
                    </a:moveTo>
                    <a:cubicBezTo>
                      <a:pt x="5732" y="5818"/>
                      <a:pt x="5732" y="5818"/>
                      <a:pt x="5732" y="5818"/>
                    </a:cubicBezTo>
                    <a:cubicBezTo>
                      <a:pt x="5649" y="5803"/>
                      <a:pt x="5446" y="5764"/>
                      <a:pt x="5370" y="5750"/>
                    </a:cubicBezTo>
                    <a:cubicBezTo>
                      <a:pt x="5384" y="5883"/>
                      <a:pt x="5384" y="5883"/>
                      <a:pt x="5384" y="5883"/>
                    </a:cubicBezTo>
                    <a:lnTo>
                      <a:pt x="5718" y="5946"/>
                    </a:lnTo>
                    <a:close/>
                    <a:moveTo>
                      <a:pt x="5734" y="5804"/>
                    </a:moveTo>
                    <a:cubicBezTo>
                      <a:pt x="5751" y="5653"/>
                      <a:pt x="5751" y="5653"/>
                      <a:pt x="5751" y="5653"/>
                    </a:cubicBezTo>
                    <a:cubicBezTo>
                      <a:pt x="5679" y="5640"/>
                      <a:pt x="5411" y="5589"/>
                      <a:pt x="5352" y="5578"/>
                    </a:cubicBezTo>
                    <a:cubicBezTo>
                      <a:pt x="5369" y="5735"/>
                      <a:pt x="5369" y="5735"/>
                      <a:pt x="5369" y="5735"/>
                    </a:cubicBezTo>
                    <a:cubicBezTo>
                      <a:pt x="5406" y="5742"/>
                      <a:pt x="5480" y="5756"/>
                      <a:pt x="5555" y="5771"/>
                    </a:cubicBezTo>
                    <a:cubicBezTo>
                      <a:pt x="5623" y="5784"/>
                      <a:pt x="5693" y="5797"/>
                      <a:pt x="5734" y="5804"/>
                    </a:cubicBezTo>
                    <a:close/>
                    <a:moveTo>
                      <a:pt x="5801" y="5215"/>
                    </a:moveTo>
                    <a:cubicBezTo>
                      <a:pt x="5827" y="4981"/>
                      <a:pt x="5827" y="4981"/>
                      <a:pt x="5827" y="4981"/>
                    </a:cubicBezTo>
                    <a:cubicBezTo>
                      <a:pt x="5799" y="4976"/>
                      <a:pt x="5724" y="4962"/>
                      <a:pt x="5647" y="4947"/>
                    </a:cubicBezTo>
                    <a:cubicBezTo>
                      <a:pt x="5551" y="4928"/>
                      <a:pt x="5450" y="4910"/>
                      <a:pt x="5445" y="4910"/>
                    </a:cubicBezTo>
                    <a:cubicBezTo>
                      <a:pt x="5445" y="4907"/>
                      <a:pt x="5445" y="4907"/>
                      <a:pt x="5445" y="4907"/>
                    </a:cubicBezTo>
                    <a:cubicBezTo>
                      <a:pt x="5445" y="4903"/>
                      <a:pt x="5445" y="4903"/>
                      <a:pt x="5445" y="4903"/>
                    </a:cubicBezTo>
                    <a:cubicBezTo>
                      <a:pt x="5444" y="4902"/>
                      <a:pt x="5444" y="4902"/>
                      <a:pt x="5444" y="4902"/>
                    </a:cubicBezTo>
                    <a:cubicBezTo>
                      <a:pt x="5396" y="5139"/>
                      <a:pt x="5396" y="5139"/>
                      <a:pt x="5396" y="5139"/>
                    </a:cubicBezTo>
                    <a:cubicBezTo>
                      <a:pt x="5419" y="5143"/>
                      <a:pt x="5510" y="5161"/>
                      <a:pt x="5602" y="5178"/>
                    </a:cubicBezTo>
                    <a:cubicBezTo>
                      <a:pt x="5684" y="5194"/>
                      <a:pt x="5767" y="5209"/>
                      <a:pt x="5801" y="5215"/>
                    </a:cubicBezTo>
                    <a:close/>
                    <a:moveTo>
                      <a:pt x="5829" y="4968"/>
                    </a:moveTo>
                    <a:cubicBezTo>
                      <a:pt x="5853" y="4752"/>
                      <a:pt x="5853" y="4752"/>
                      <a:pt x="5853" y="4752"/>
                    </a:cubicBezTo>
                    <a:cubicBezTo>
                      <a:pt x="5481" y="4719"/>
                      <a:pt x="5481" y="4719"/>
                      <a:pt x="5481" y="4719"/>
                    </a:cubicBezTo>
                    <a:cubicBezTo>
                      <a:pt x="5445" y="4896"/>
                      <a:pt x="5445" y="4896"/>
                      <a:pt x="5445" y="4896"/>
                    </a:cubicBezTo>
                    <a:cubicBezTo>
                      <a:pt x="5445" y="4896"/>
                      <a:pt x="5445" y="4896"/>
                      <a:pt x="5445" y="4896"/>
                    </a:cubicBezTo>
                    <a:cubicBezTo>
                      <a:pt x="5460" y="4896"/>
                      <a:pt x="5763" y="4955"/>
                      <a:pt x="5829" y="4968"/>
                    </a:cubicBezTo>
                    <a:close/>
                    <a:moveTo>
                      <a:pt x="5858" y="4707"/>
                    </a:moveTo>
                    <a:cubicBezTo>
                      <a:pt x="5888" y="4445"/>
                      <a:pt x="5888" y="4445"/>
                      <a:pt x="5888" y="4445"/>
                    </a:cubicBezTo>
                    <a:cubicBezTo>
                      <a:pt x="5840" y="4339"/>
                      <a:pt x="5840" y="4339"/>
                      <a:pt x="5840" y="4339"/>
                    </a:cubicBezTo>
                    <a:cubicBezTo>
                      <a:pt x="5847" y="4243"/>
                      <a:pt x="5847" y="4243"/>
                      <a:pt x="5847" y="4243"/>
                    </a:cubicBezTo>
                    <a:cubicBezTo>
                      <a:pt x="5810" y="4245"/>
                      <a:pt x="5739" y="4250"/>
                      <a:pt x="5729" y="4250"/>
                    </a:cubicBezTo>
                    <a:cubicBezTo>
                      <a:pt x="5439" y="4348"/>
                      <a:pt x="5439" y="4348"/>
                      <a:pt x="5439" y="4348"/>
                    </a:cubicBezTo>
                    <a:cubicBezTo>
                      <a:pt x="5638" y="4506"/>
                      <a:pt x="5638" y="4506"/>
                      <a:pt x="5638" y="4506"/>
                    </a:cubicBezTo>
                    <a:cubicBezTo>
                      <a:pt x="5639" y="4509"/>
                      <a:pt x="5639" y="4509"/>
                      <a:pt x="5639" y="4509"/>
                    </a:cubicBezTo>
                    <a:cubicBezTo>
                      <a:pt x="5639" y="4509"/>
                      <a:pt x="5645" y="4557"/>
                      <a:pt x="5652" y="4605"/>
                    </a:cubicBezTo>
                    <a:cubicBezTo>
                      <a:pt x="5656" y="4630"/>
                      <a:pt x="5659" y="4654"/>
                      <a:pt x="5662" y="4673"/>
                    </a:cubicBezTo>
                    <a:cubicBezTo>
                      <a:pt x="5663" y="4680"/>
                      <a:pt x="5664" y="4685"/>
                      <a:pt x="5664" y="4690"/>
                    </a:cubicBezTo>
                    <a:lnTo>
                      <a:pt x="5858" y="4707"/>
                    </a:lnTo>
                    <a:close/>
                    <a:moveTo>
                      <a:pt x="5892" y="3650"/>
                    </a:moveTo>
                    <a:cubicBezTo>
                      <a:pt x="5818" y="3645"/>
                      <a:pt x="5558" y="3625"/>
                      <a:pt x="5552" y="3625"/>
                    </a:cubicBezTo>
                    <a:cubicBezTo>
                      <a:pt x="5551" y="3625"/>
                      <a:pt x="5424" y="3651"/>
                      <a:pt x="5302" y="3677"/>
                    </a:cubicBezTo>
                    <a:cubicBezTo>
                      <a:pt x="5214" y="3696"/>
                      <a:pt x="5127" y="3714"/>
                      <a:pt x="5084" y="3724"/>
                    </a:cubicBezTo>
                    <a:cubicBezTo>
                      <a:pt x="5096" y="3819"/>
                      <a:pt x="5107" y="3913"/>
                      <a:pt x="5117" y="3998"/>
                    </a:cubicBezTo>
                    <a:cubicBezTo>
                      <a:pt x="5588" y="3939"/>
                      <a:pt x="5588" y="3939"/>
                      <a:pt x="5588" y="3939"/>
                    </a:cubicBezTo>
                    <a:cubicBezTo>
                      <a:pt x="5869" y="3961"/>
                      <a:pt x="5869" y="3961"/>
                      <a:pt x="5869" y="3961"/>
                    </a:cubicBezTo>
                    <a:lnTo>
                      <a:pt x="5892" y="3650"/>
                    </a:lnTo>
                    <a:close/>
                    <a:moveTo>
                      <a:pt x="4954" y="4269"/>
                    </a:moveTo>
                    <a:cubicBezTo>
                      <a:pt x="4898" y="4269"/>
                      <a:pt x="4842" y="4269"/>
                      <a:pt x="4814" y="4269"/>
                    </a:cubicBezTo>
                    <a:cubicBezTo>
                      <a:pt x="4839" y="4301"/>
                      <a:pt x="4864" y="4334"/>
                      <a:pt x="4889" y="4367"/>
                    </a:cubicBezTo>
                    <a:cubicBezTo>
                      <a:pt x="4964" y="4463"/>
                      <a:pt x="5034" y="4553"/>
                      <a:pt x="5077" y="4609"/>
                    </a:cubicBezTo>
                    <a:cubicBezTo>
                      <a:pt x="5091" y="4547"/>
                      <a:pt x="5103" y="4479"/>
                      <a:pt x="5103" y="4416"/>
                    </a:cubicBezTo>
                    <a:cubicBezTo>
                      <a:pt x="5103" y="4390"/>
                      <a:pt x="5101" y="4366"/>
                      <a:pt x="5097" y="4343"/>
                    </a:cubicBezTo>
                    <a:cubicBezTo>
                      <a:pt x="5094" y="4330"/>
                      <a:pt x="5091" y="4305"/>
                      <a:pt x="5086" y="4270"/>
                    </a:cubicBezTo>
                    <a:cubicBezTo>
                      <a:pt x="5057" y="4269"/>
                      <a:pt x="5005" y="4269"/>
                      <a:pt x="4954" y="4269"/>
                    </a:cubicBezTo>
                    <a:close/>
                    <a:moveTo>
                      <a:pt x="5084" y="4256"/>
                    </a:moveTo>
                    <a:cubicBezTo>
                      <a:pt x="5079" y="4218"/>
                      <a:pt x="5073" y="4170"/>
                      <a:pt x="5066" y="4116"/>
                    </a:cubicBezTo>
                    <a:cubicBezTo>
                      <a:pt x="4736" y="4167"/>
                      <a:pt x="4736" y="4167"/>
                      <a:pt x="4736" y="4167"/>
                    </a:cubicBezTo>
                    <a:cubicBezTo>
                      <a:pt x="4757" y="4195"/>
                      <a:pt x="4780" y="4225"/>
                      <a:pt x="4803" y="4255"/>
                    </a:cubicBezTo>
                    <a:cubicBezTo>
                      <a:pt x="4824" y="4255"/>
                      <a:pt x="4889" y="4255"/>
                      <a:pt x="4954" y="4255"/>
                    </a:cubicBezTo>
                    <a:cubicBezTo>
                      <a:pt x="5005" y="4255"/>
                      <a:pt x="5054" y="4255"/>
                      <a:pt x="5084" y="4256"/>
                    </a:cubicBezTo>
                    <a:close/>
                    <a:moveTo>
                      <a:pt x="5064" y="4102"/>
                    </a:moveTo>
                    <a:cubicBezTo>
                      <a:pt x="5059" y="4058"/>
                      <a:pt x="5053" y="4011"/>
                      <a:pt x="5047" y="3961"/>
                    </a:cubicBezTo>
                    <a:cubicBezTo>
                      <a:pt x="4960" y="3973"/>
                      <a:pt x="4686" y="4011"/>
                      <a:pt x="4623" y="4017"/>
                    </a:cubicBezTo>
                    <a:cubicBezTo>
                      <a:pt x="4647" y="4050"/>
                      <a:pt x="4684" y="4099"/>
                      <a:pt x="4726" y="4154"/>
                    </a:cubicBezTo>
                    <a:lnTo>
                      <a:pt x="5064" y="4102"/>
                    </a:lnTo>
                    <a:close/>
                    <a:moveTo>
                      <a:pt x="5045" y="3947"/>
                    </a:moveTo>
                    <a:cubicBezTo>
                      <a:pt x="5039" y="3899"/>
                      <a:pt x="5033" y="3850"/>
                      <a:pt x="5027" y="3799"/>
                    </a:cubicBezTo>
                    <a:cubicBezTo>
                      <a:pt x="4993" y="3804"/>
                      <a:pt x="4926" y="3814"/>
                      <a:pt x="4856" y="3825"/>
                    </a:cubicBezTo>
                    <a:cubicBezTo>
                      <a:pt x="4806" y="3833"/>
                      <a:pt x="4755" y="3842"/>
                      <a:pt x="4715" y="3849"/>
                    </a:cubicBezTo>
                    <a:cubicBezTo>
                      <a:pt x="4695" y="3852"/>
                      <a:pt x="4677" y="3856"/>
                      <a:pt x="4664" y="3858"/>
                    </a:cubicBezTo>
                    <a:cubicBezTo>
                      <a:pt x="4651" y="3861"/>
                      <a:pt x="4641" y="3864"/>
                      <a:pt x="4641" y="3864"/>
                    </a:cubicBezTo>
                    <a:cubicBezTo>
                      <a:pt x="4631" y="3867"/>
                      <a:pt x="4614" y="3876"/>
                      <a:pt x="4602" y="3888"/>
                    </a:cubicBezTo>
                    <a:cubicBezTo>
                      <a:pt x="4589" y="3900"/>
                      <a:pt x="4581" y="3913"/>
                      <a:pt x="4581" y="3931"/>
                    </a:cubicBezTo>
                    <a:cubicBezTo>
                      <a:pt x="4581" y="3944"/>
                      <a:pt x="4586" y="3964"/>
                      <a:pt x="4604" y="3990"/>
                    </a:cubicBezTo>
                    <a:cubicBezTo>
                      <a:pt x="4607" y="3994"/>
                      <a:pt x="4610" y="3999"/>
                      <a:pt x="4614" y="4004"/>
                    </a:cubicBezTo>
                    <a:cubicBezTo>
                      <a:pt x="4633" y="4003"/>
                      <a:pt x="4742" y="3988"/>
                      <a:pt x="4847" y="3974"/>
                    </a:cubicBezTo>
                    <a:cubicBezTo>
                      <a:pt x="4927" y="3963"/>
                      <a:pt x="5006" y="3952"/>
                      <a:pt x="5045" y="3947"/>
                    </a:cubicBezTo>
                    <a:close/>
                    <a:moveTo>
                      <a:pt x="5019" y="3734"/>
                    </a:moveTo>
                    <a:cubicBezTo>
                      <a:pt x="5015" y="3693"/>
                      <a:pt x="5010" y="3653"/>
                      <a:pt x="5005" y="3612"/>
                    </a:cubicBezTo>
                    <a:cubicBezTo>
                      <a:pt x="4997" y="3544"/>
                      <a:pt x="4989" y="3477"/>
                      <a:pt x="4982" y="3413"/>
                    </a:cubicBezTo>
                    <a:cubicBezTo>
                      <a:pt x="4952" y="3416"/>
                      <a:pt x="4891" y="3421"/>
                      <a:pt x="4818" y="3428"/>
                    </a:cubicBezTo>
                    <a:cubicBezTo>
                      <a:pt x="4875" y="3756"/>
                      <a:pt x="4875" y="3756"/>
                      <a:pt x="4875" y="3756"/>
                    </a:cubicBezTo>
                    <a:cubicBezTo>
                      <a:pt x="4936" y="3746"/>
                      <a:pt x="4991" y="3738"/>
                      <a:pt x="5019" y="3734"/>
                    </a:cubicBezTo>
                    <a:close/>
                    <a:moveTo>
                      <a:pt x="4901" y="2501"/>
                    </a:moveTo>
                    <a:cubicBezTo>
                      <a:pt x="4887" y="2502"/>
                      <a:pt x="4874" y="2502"/>
                      <a:pt x="4860" y="2502"/>
                    </a:cubicBezTo>
                    <a:cubicBezTo>
                      <a:pt x="4790" y="2504"/>
                      <a:pt x="4721" y="2505"/>
                      <a:pt x="4656" y="2507"/>
                    </a:cubicBezTo>
                    <a:cubicBezTo>
                      <a:pt x="4741" y="2968"/>
                      <a:pt x="4741" y="2968"/>
                      <a:pt x="4741" y="2968"/>
                    </a:cubicBezTo>
                    <a:cubicBezTo>
                      <a:pt x="4772" y="2961"/>
                      <a:pt x="4803" y="2953"/>
                      <a:pt x="4832" y="2946"/>
                    </a:cubicBezTo>
                    <a:cubicBezTo>
                      <a:pt x="4862" y="2940"/>
                      <a:pt x="4891" y="2933"/>
                      <a:pt x="4920" y="2927"/>
                    </a:cubicBezTo>
                    <a:lnTo>
                      <a:pt x="4901" y="2501"/>
                    </a:lnTo>
                    <a:close/>
                    <a:moveTo>
                      <a:pt x="4642" y="2507"/>
                    </a:moveTo>
                    <a:cubicBezTo>
                      <a:pt x="4546" y="2509"/>
                      <a:pt x="4461" y="2511"/>
                      <a:pt x="4406" y="2512"/>
                    </a:cubicBezTo>
                    <a:cubicBezTo>
                      <a:pt x="4525" y="2773"/>
                      <a:pt x="4525" y="2773"/>
                      <a:pt x="4525" y="2773"/>
                    </a:cubicBezTo>
                    <a:cubicBezTo>
                      <a:pt x="4468" y="2590"/>
                      <a:pt x="4468" y="2590"/>
                      <a:pt x="4468" y="2590"/>
                    </a:cubicBezTo>
                    <a:cubicBezTo>
                      <a:pt x="4515" y="2575"/>
                      <a:pt x="4515" y="2575"/>
                      <a:pt x="4515" y="2575"/>
                    </a:cubicBezTo>
                    <a:cubicBezTo>
                      <a:pt x="4511" y="2564"/>
                      <a:pt x="4511" y="2564"/>
                      <a:pt x="4511" y="2564"/>
                    </a:cubicBezTo>
                    <a:cubicBezTo>
                      <a:pt x="4509" y="2558"/>
                      <a:pt x="4509" y="2558"/>
                      <a:pt x="4509" y="2558"/>
                    </a:cubicBezTo>
                    <a:cubicBezTo>
                      <a:pt x="4601" y="2527"/>
                      <a:pt x="4601" y="2527"/>
                      <a:pt x="4601" y="2527"/>
                    </a:cubicBezTo>
                    <a:cubicBezTo>
                      <a:pt x="4645" y="2661"/>
                      <a:pt x="4645" y="2661"/>
                      <a:pt x="4645" y="2661"/>
                    </a:cubicBezTo>
                    <a:cubicBezTo>
                      <a:pt x="4576" y="2684"/>
                      <a:pt x="4576" y="2684"/>
                      <a:pt x="4576" y="2684"/>
                    </a:cubicBezTo>
                    <a:cubicBezTo>
                      <a:pt x="4599" y="2756"/>
                      <a:pt x="4599" y="2756"/>
                      <a:pt x="4599" y="2756"/>
                    </a:cubicBezTo>
                    <a:cubicBezTo>
                      <a:pt x="4528" y="2780"/>
                      <a:pt x="4528" y="2780"/>
                      <a:pt x="4528" y="2780"/>
                    </a:cubicBezTo>
                    <a:cubicBezTo>
                      <a:pt x="4628" y="2997"/>
                      <a:pt x="4628" y="2997"/>
                      <a:pt x="4628" y="2997"/>
                    </a:cubicBezTo>
                    <a:cubicBezTo>
                      <a:pt x="4662" y="2988"/>
                      <a:pt x="4695" y="2980"/>
                      <a:pt x="4728" y="2972"/>
                    </a:cubicBezTo>
                    <a:lnTo>
                      <a:pt x="4642" y="2507"/>
                    </a:lnTo>
                    <a:close/>
                    <a:moveTo>
                      <a:pt x="4531" y="2583"/>
                    </a:moveTo>
                    <a:cubicBezTo>
                      <a:pt x="4484" y="2599"/>
                      <a:pt x="4484" y="2599"/>
                      <a:pt x="4484" y="2599"/>
                    </a:cubicBezTo>
                    <a:cubicBezTo>
                      <a:pt x="4536" y="2763"/>
                      <a:pt x="4536" y="2763"/>
                      <a:pt x="4536" y="2763"/>
                    </a:cubicBezTo>
                    <a:cubicBezTo>
                      <a:pt x="4583" y="2748"/>
                      <a:pt x="4583" y="2748"/>
                      <a:pt x="4583" y="2748"/>
                    </a:cubicBezTo>
                    <a:cubicBezTo>
                      <a:pt x="4559" y="2676"/>
                      <a:pt x="4559" y="2676"/>
                      <a:pt x="4559" y="2676"/>
                    </a:cubicBezTo>
                    <a:cubicBezTo>
                      <a:pt x="4629" y="2653"/>
                      <a:pt x="4629" y="2653"/>
                      <a:pt x="4629" y="2653"/>
                    </a:cubicBezTo>
                    <a:cubicBezTo>
                      <a:pt x="4593" y="2544"/>
                      <a:pt x="4593" y="2544"/>
                      <a:pt x="4593" y="2544"/>
                    </a:cubicBezTo>
                    <a:cubicBezTo>
                      <a:pt x="4526" y="2566"/>
                      <a:pt x="4526" y="2566"/>
                      <a:pt x="4526" y="2566"/>
                    </a:cubicBezTo>
                    <a:cubicBezTo>
                      <a:pt x="4529" y="2577"/>
                      <a:pt x="4529" y="2577"/>
                      <a:pt x="4529" y="2577"/>
                    </a:cubicBezTo>
                    <a:lnTo>
                      <a:pt x="4531" y="2583"/>
                    </a:lnTo>
                    <a:close/>
                    <a:moveTo>
                      <a:pt x="4264" y="2361"/>
                    </a:moveTo>
                    <a:cubicBezTo>
                      <a:pt x="4223" y="2388"/>
                      <a:pt x="4105" y="2464"/>
                      <a:pt x="3989" y="2539"/>
                    </a:cubicBezTo>
                    <a:cubicBezTo>
                      <a:pt x="3874" y="2614"/>
                      <a:pt x="3760" y="2688"/>
                      <a:pt x="3720" y="2714"/>
                    </a:cubicBezTo>
                    <a:cubicBezTo>
                      <a:pt x="3819" y="2994"/>
                      <a:pt x="3819" y="2994"/>
                      <a:pt x="3819" y="2994"/>
                    </a:cubicBezTo>
                    <a:cubicBezTo>
                      <a:pt x="4063" y="3153"/>
                      <a:pt x="4063" y="3153"/>
                      <a:pt x="4063" y="3153"/>
                    </a:cubicBezTo>
                    <a:cubicBezTo>
                      <a:pt x="4062" y="3154"/>
                      <a:pt x="4062" y="3154"/>
                      <a:pt x="4062" y="3154"/>
                    </a:cubicBezTo>
                    <a:cubicBezTo>
                      <a:pt x="4228" y="3106"/>
                      <a:pt x="4400" y="3057"/>
                      <a:pt x="4564" y="3014"/>
                    </a:cubicBezTo>
                    <a:lnTo>
                      <a:pt x="4264" y="2361"/>
                    </a:lnTo>
                    <a:close/>
                    <a:moveTo>
                      <a:pt x="2252" y="3434"/>
                    </a:moveTo>
                    <a:cubicBezTo>
                      <a:pt x="2232" y="3534"/>
                      <a:pt x="2232" y="3534"/>
                      <a:pt x="2232" y="3534"/>
                    </a:cubicBezTo>
                    <a:cubicBezTo>
                      <a:pt x="2298" y="3534"/>
                      <a:pt x="2373" y="3537"/>
                      <a:pt x="2460" y="3542"/>
                    </a:cubicBezTo>
                    <a:cubicBezTo>
                      <a:pt x="2498" y="3544"/>
                      <a:pt x="2534" y="3547"/>
                      <a:pt x="2568" y="3550"/>
                    </a:cubicBezTo>
                    <a:cubicBezTo>
                      <a:pt x="2566" y="3535"/>
                      <a:pt x="2559" y="3508"/>
                      <a:pt x="2531" y="3493"/>
                    </a:cubicBezTo>
                    <a:cubicBezTo>
                      <a:pt x="2488" y="3470"/>
                      <a:pt x="2369" y="3461"/>
                      <a:pt x="2337" y="3458"/>
                    </a:cubicBezTo>
                    <a:cubicBezTo>
                      <a:pt x="2321" y="3457"/>
                      <a:pt x="2285" y="3454"/>
                      <a:pt x="2252" y="3434"/>
                    </a:cubicBezTo>
                    <a:close/>
                    <a:moveTo>
                      <a:pt x="2208" y="3602"/>
                    </a:moveTo>
                    <a:cubicBezTo>
                      <a:pt x="2119" y="3602"/>
                      <a:pt x="2050" y="3607"/>
                      <a:pt x="1996" y="3617"/>
                    </a:cubicBezTo>
                    <a:cubicBezTo>
                      <a:pt x="2086" y="3850"/>
                      <a:pt x="2086" y="3850"/>
                      <a:pt x="2086" y="3850"/>
                    </a:cubicBezTo>
                    <a:cubicBezTo>
                      <a:pt x="2473" y="3851"/>
                      <a:pt x="2473" y="3851"/>
                      <a:pt x="2473" y="3851"/>
                    </a:cubicBezTo>
                    <a:cubicBezTo>
                      <a:pt x="2473" y="3841"/>
                      <a:pt x="2473" y="3841"/>
                      <a:pt x="2473" y="3841"/>
                    </a:cubicBezTo>
                    <a:cubicBezTo>
                      <a:pt x="2477" y="3841"/>
                      <a:pt x="2477" y="3841"/>
                      <a:pt x="2477" y="3841"/>
                    </a:cubicBezTo>
                    <a:cubicBezTo>
                      <a:pt x="2477" y="3841"/>
                      <a:pt x="2524" y="3841"/>
                      <a:pt x="2572" y="3841"/>
                    </a:cubicBezTo>
                    <a:cubicBezTo>
                      <a:pt x="2596" y="3841"/>
                      <a:pt x="2619" y="3841"/>
                      <a:pt x="2637" y="3841"/>
                    </a:cubicBezTo>
                    <a:cubicBezTo>
                      <a:pt x="2640" y="3841"/>
                      <a:pt x="2643" y="3841"/>
                      <a:pt x="2646" y="3841"/>
                    </a:cubicBezTo>
                    <a:cubicBezTo>
                      <a:pt x="2651" y="3835"/>
                      <a:pt x="2655" y="3829"/>
                      <a:pt x="2660" y="3823"/>
                    </a:cubicBezTo>
                    <a:cubicBezTo>
                      <a:pt x="2713" y="3756"/>
                      <a:pt x="2771" y="3698"/>
                      <a:pt x="2814" y="3658"/>
                    </a:cubicBezTo>
                    <a:cubicBezTo>
                      <a:pt x="2747" y="3643"/>
                      <a:pt x="2617" y="3620"/>
                      <a:pt x="2456" y="3611"/>
                    </a:cubicBezTo>
                    <a:cubicBezTo>
                      <a:pt x="2360" y="3605"/>
                      <a:pt x="2278" y="3602"/>
                      <a:pt x="2208" y="3602"/>
                    </a:cubicBezTo>
                    <a:close/>
                    <a:moveTo>
                      <a:pt x="1448" y="3827"/>
                    </a:moveTo>
                    <a:cubicBezTo>
                      <a:pt x="1773" y="4191"/>
                      <a:pt x="1773" y="4191"/>
                      <a:pt x="1773" y="4191"/>
                    </a:cubicBezTo>
                    <a:cubicBezTo>
                      <a:pt x="1774" y="4190"/>
                      <a:pt x="1774" y="4190"/>
                      <a:pt x="1774" y="4190"/>
                    </a:cubicBezTo>
                    <a:cubicBezTo>
                      <a:pt x="1830" y="4248"/>
                      <a:pt x="1830" y="4248"/>
                      <a:pt x="1830" y="4248"/>
                    </a:cubicBezTo>
                    <a:cubicBezTo>
                      <a:pt x="1878" y="4209"/>
                      <a:pt x="1878" y="4209"/>
                      <a:pt x="1878" y="4209"/>
                    </a:cubicBezTo>
                    <a:cubicBezTo>
                      <a:pt x="1506" y="3799"/>
                      <a:pt x="1506" y="3799"/>
                      <a:pt x="1506" y="3799"/>
                    </a:cubicBezTo>
                    <a:cubicBezTo>
                      <a:pt x="1486" y="3808"/>
                      <a:pt x="1467" y="3818"/>
                      <a:pt x="1448" y="3827"/>
                    </a:cubicBezTo>
                    <a:close/>
                    <a:moveTo>
                      <a:pt x="1425" y="3838"/>
                    </a:moveTo>
                    <a:cubicBezTo>
                      <a:pt x="1413" y="3844"/>
                      <a:pt x="1402" y="3850"/>
                      <a:pt x="1392" y="3855"/>
                    </a:cubicBezTo>
                    <a:cubicBezTo>
                      <a:pt x="1716" y="4227"/>
                      <a:pt x="1716" y="4227"/>
                      <a:pt x="1716" y="4227"/>
                    </a:cubicBezTo>
                    <a:cubicBezTo>
                      <a:pt x="1731" y="4217"/>
                      <a:pt x="1743" y="4210"/>
                      <a:pt x="1752" y="4204"/>
                    </a:cubicBezTo>
                    <a:lnTo>
                      <a:pt x="1425" y="3838"/>
                    </a:lnTo>
                    <a:close/>
                    <a:moveTo>
                      <a:pt x="1732" y="4246"/>
                    </a:moveTo>
                    <a:cubicBezTo>
                      <a:pt x="1774" y="4293"/>
                      <a:pt x="1774" y="4293"/>
                      <a:pt x="1774" y="4293"/>
                    </a:cubicBezTo>
                    <a:cubicBezTo>
                      <a:pt x="1811" y="4264"/>
                      <a:pt x="1811" y="4264"/>
                      <a:pt x="1811" y="4264"/>
                    </a:cubicBezTo>
                    <a:cubicBezTo>
                      <a:pt x="1770" y="4222"/>
                      <a:pt x="1770" y="4222"/>
                      <a:pt x="1770" y="4222"/>
                    </a:cubicBezTo>
                    <a:cubicBezTo>
                      <a:pt x="1762" y="4227"/>
                      <a:pt x="1749" y="4235"/>
                      <a:pt x="1732" y="4246"/>
                    </a:cubicBezTo>
                    <a:close/>
                    <a:moveTo>
                      <a:pt x="1294" y="4477"/>
                    </a:moveTo>
                    <a:cubicBezTo>
                      <a:pt x="1317" y="4516"/>
                      <a:pt x="1335" y="4555"/>
                      <a:pt x="1345" y="4588"/>
                    </a:cubicBezTo>
                    <a:cubicBezTo>
                      <a:pt x="1362" y="4652"/>
                      <a:pt x="1389" y="4757"/>
                      <a:pt x="1399" y="4791"/>
                    </a:cubicBezTo>
                    <a:cubicBezTo>
                      <a:pt x="1410" y="4826"/>
                      <a:pt x="1419" y="4883"/>
                      <a:pt x="1526" y="4955"/>
                    </a:cubicBezTo>
                    <a:cubicBezTo>
                      <a:pt x="1601" y="5006"/>
                      <a:pt x="1742" y="5049"/>
                      <a:pt x="1846" y="5073"/>
                    </a:cubicBezTo>
                    <a:cubicBezTo>
                      <a:pt x="1885" y="5083"/>
                      <a:pt x="1916" y="5088"/>
                      <a:pt x="1942" y="5093"/>
                    </a:cubicBezTo>
                    <a:cubicBezTo>
                      <a:pt x="1942" y="5093"/>
                      <a:pt x="1943" y="5093"/>
                      <a:pt x="1943" y="5093"/>
                    </a:cubicBezTo>
                    <a:cubicBezTo>
                      <a:pt x="1963" y="5069"/>
                      <a:pt x="1986" y="5035"/>
                      <a:pt x="2007" y="5007"/>
                    </a:cubicBezTo>
                    <a:cubicBezTo>
                      <a:pt x="2043" y="4959"/>
                      <a:pt x="2076" y="4912"/>
                      <a:pt x="2105" y="4869"/>
                    </a:cubicBezTo>
                    <a:cubicBezTo>
                      <a:pt x="2166" y="4592"/>
                      <a:pt x="2166" y="4592"/>
                      <a:pt x="2166" y="4592"/>
                    </a:cubicBezTo>
                    <a:cubicBezTo>
                      <a:pt x="2118" y="4588"/>
                      <a:pt x="2053" y="4578"/>
                      <a:pt x="1990" y="4550"/>
                    </a:cubicBezTo>
                    <a:cubicBezTo>
                      <a:pt x="1877" y="4502"/>
                      <a:pt x="1790" y="4416"/>
                      <a:pt x="1786" y="4412"/>
                    </a:cubicBezTo>
                    <a:lnTo>
                      <a:pt x="1294" y="4477"/>
                    </a:lnTo>
                    <a:close/>
                    <a:moveTo>
                      <a:pt x="1456" y="4960"/>
                    </a:moveTo>
                    <a:cubicBezTo>
                      <a:pt x="1164" y="5255"/>
                      <a:pt x="1164" y="5255"/>
                      <a:pt x="1164" y="5255"/>
                    </a:cubicBezTo>
                    <a:cubicBezTo>
                      <a:pt x="1258" y="5388"/>
                      <a:pt x="1258" y="5388"/>
                      <a:pt x="1258" y="5388"/>
                    </a:cubicBezTo>
                    <a:cubicBezTo>
                      <a:pt x="1541" y="5302"/>
                      <a:pt x="1541" y="5302"/>
                      <a:pt x="1541" y="5302"/>
                    </a:cubicBezTo>
                    <a:cubicBezTo>
                      <a:pt x="1558" y="5024"/>
                      <a:pt x="1558" y="5024"/>
                      <a:pt x="1558" y="5024"/>
                    </a:cubicBezTo>
                    <a:cubicBezTo>
                      <a:pt x="1538" y="5014"/>
                      <a:pt x="1518" y="5004"/>
                      <a:pt x="1501" y="4993"/>
                    </a:cubicBezTo>
                    <a:cubicBezTo>
                      <a:pt x="1484" y="4982"/>
                      <a:pt x="1470" y="4971"/>
                      <a:pt x="1456" y="4960"/>
                    </a:cubicBezTo>
                    <a:close/>
                    <a:moveTo>
                      <a:pt x="1268" y="5402"/>
                    </a:moveTo>
                    <a:cubicBezTo>
                      <a:pt x="1351" y="5520"/>
                      <a:pt x="1351" y="5520"/>
                      <a:pt x="1351" y="5520"/>
                    </a:cubicBezTo>
                    <a:cubicBezTo>
                      <a:pt x="1520" y="5603"/>
                      <a:pt x="1520" y="5603"/>
                      <a:pt x="1520" y="5603"/>
                    </a:cubicBezTo>
                    <a:cubicBezTo>
                      <a:pt x="1561" y="5554"/>
                      <a:pt x="1679" y="5416"/>
                      <a:pt x="1789" y="5283"/>
                    </a:cubicBezTo>
                    <a:cubicBezTo>
                      <a:pt x="1833" y="5231"/>
                      <a:pt x="1874" y="5178"/>
                      <a:pt x="1911" y="5133"/>
                    </a:cubicBezTo>
                    <a:cubicBezTo>
                      <a:pt x="1890" y="5129"/>
                      <a:pt x="1865" y="5124"/>
                      <a:pt x="1835" y="5117"/>
                    </a:cubicBezTo>
                    <a:cubicBezTo>
                      <a:pt x="1756" y="5098"/>
                      <a:pt x="1655" y="5069"/>
                      <a:pt x="1574" y="5032"/>
                    </a:cubicBezTo>
                    <a:cubicBezTo>
                      <a:pt x="1557" y="5314"/>
                      <a:pt x="1557" y="5314"/>
                      <a:pt x="1557" y="5314"/>
                    </a:cubicBezTo>
                    <a:lnTo>
                      <a:pt x="1268" y="5402"/>
                    </a:lnTo>
                    <a:close/>
                    <a:moveTo>
                      <a:pt x="1583" y="5634"/>
                    </a:moveTo>
                    <a:cubicBezTo>
                      <a:pt x="1607" y="5645"/>
                      <a:pt x="1607" y="5645"/>
                      <a:pt x="1607" y="5645"/>
                    </a:cubicBezTo>
                    <a:cubicBezTo>
                      <a:pt x="1673" y="6120"/>
                      <a:pt x="1673" y="6120"/>
                      <a:pt x="1673" y="6120"/>
                    </a:cubicBezTo>
                    <a:cubicBezTo>
                      <a:pt x="1910" y="6206"/>
                      <a:pt x="1910" y="6206"/>
                      <a:pt x="1910" y="6206"/>
                    </a:cubicBezTo>
                    <a:cubicBezTo>
                      <a:pt x="1910" y="6206"/>
                      <a:pt x="1910" y="6206"/>
                      <a:pt x="1910" y="6206"/>
                    </a:cubicBezTo>
                    <a:cubicBezTo>
                      <a:pt x="2041" y="6253"/>
                      <a:pt x="2041" y="6253"/>
                      <a:pt x="2041" y="6253"/>
                    </a:cubicBezTo>
                    <a:cubicBezTo>
                      <a:pt x="1941" y="5803"/>
                      <a:pt x="1941" y="5803"/>
                      <a:pt x="1941" y="5803"/>
                    </a:cubicBezTo>
                    <a:cubicBezTo>
                      <a:pt x="2069" y="5516"/>
                      <a:pt x="2069" y="5516"/>
                      <a:pt x="2069" y="5516"/>
                    </a:cubicBezTo>
                    <a:cubicBezTo>
                      <a:pt x="2156" y="5158"/>
                      <a:pt x="2156" y="5158"/>
                      <a:pt x="2156" y="5158"/>
                    </a:cubicBezTo>
                    <a:cubicBezTo>
                      <a:pt x="2098" y="5153"/>
                      <a:pt x="2036" y="5147"/>
                      <a:pt x="1992" y="5143"/>
                    </a:cubicBezTo>
                    <a:cubicBezTo>
                      <a:pt x="1950" y="5193"/>
                      <a:pt x="1898" y="5260"/>
                      <a:pt x="1842" y="5327"/>
                    </a:cubicBezTo>
                    <a:cubicBezTo>
                      <a:pt x="1740" y="5450"/>
                      <a:pt x="1632" y="5577"/>
                      <a:pt x="1583" y="5634"/>
                    </a:cubicBezTo>
                    <a:close/>
                    <a:moveTo>
                      <a:pt x="1898" y="6272"/>
                    </a:moveTo>
                    <a:cubicBezTo>
                      <a:pt x="1898" y="6272"/>
                      <a:pt x="1898" y="6272"/>
                      <a:pt x="1898" y="6272"/>
                    </a:cubicBezTo>
                    <a:cubicBezTo>
                      <a:pt x="1898" y="6272"/>
                      <a:pt x="1898" y="6272"/>
                      <a:pt x="1898" y="6272"/>
                    </a:cubicBezTo>
                    <a:close/>
                    <a:moveTo>
                      <a:pt x="1609" y="6722"/>
                    </a:moveTo>
                    <a:cubicBezTo>
                      <a:pt x="1735" y="6799"/>
                      <a:pt x="1735" y="6799"/>
                      <a:pt x="1735" y="6799"/>
                    </a:cubicBezTo>
                    <a:cubicBezTo>
                      <a:pt x="1743" y="6789"/>
                      <a:pt x="1768" y="6764"/>
                      <a:pt x="1802" y="6731"/>
                    </a:cubicBezTo>
                    <a:cubicBezTo>
                      <a:pt x="1705" y="6672"/>
                      <a:pt x="1705" y="6672"/>
                      <a:pt x="1705" y="6672"/>
                    </a:cubicBezTo>
                    <a:cubicBezTo>
                      <a:pt x="1786" y="6532"/>
                      <a:pt x="1786" y="6532"/>
                      <a:pt x="1786" y="6532"/>
                    </a:cubicBezTo>
                    <a:cubicBezTo>
                      <a:pt x="1921" y="6615"/>
                      <a:pt x="1921" y="6615"/>
                      <a:pt x="1921" y="6615"/>
                    </a:cubicBezTo>
                    <a:cubicBezTo>
                      <a:pt x="2027" y="6514"/>
                      <a:pt x="2143" y="6403"/>
                      <a:pt x="2176" y="6372"/>
                    </a:cubicBezTo>
                    <a:cubicBezTo>
                      <a:pt x="1898" y="6272"/>
                      <a:pt x="1898" y="6272"/>
                      <a:pt x="1898" y="6272"/>
                    </a:cubicBezTo>
                    <a:cubicBezTo>
                      <a:pt x="1898" y="6272"/>
                      <a:pt x="1898" y="6272"/>
                      <a:pt x="1898" y="6272"/>
                    </a:cubicBezTo>
                    <a:cubicBezTo>
                      <a:pt x="1898" y="6272"/>
                      <a:pt x="1898" y="6272"/>
                      <a:pt x="1898" y="6272"/>
                    </a:cubicBezTo>
                    <a:lnTo>
                      <a:pt x="1609" y="6722"/>
                    </a:lnTo>
                    <a:close/>
                    <a:moveTo>
                      <a:pt x="1978" y="6946"/>
                    </a:moveTo>
                    <a:cubicBezTo>
                      <a:pt x="2169" y="7062"/>
                      <a:pt x="2169" y="7062"/>
                      <a:pt x="2169" y="7062"/>
                    </a:cubicBezTo>
                    <a:cubicBezTo>
                      <a:pt x="2169" y="7062"/>
                      <a:pt x="2169" y="7061"/>
                      <a:pt x="2170" y="7061"/>
                    </a:cubicBezTo>
                    <a:cubicBezTo>
                      <a:pt x="2176" y="7053"/>
                      <a:pt x="2199" y="7029"/>
                      <a:pt x="2233" y="6996"/>
                    </a:cubicBezTo>
                    <a:cubicBezTo>
                      <a:pt x="2045" y="6880"/>
                      <a:pt x="2045" y="6880"/>
                      <a:pt x="2045" y="6880"/>
                    </a:cubicBezTo>
                    <a:lnTo>
                      <a:pt x="1978" y="6946"/>
                    </a:lnTo>
                    <a:close/>
                    <a:moveTo>
                      <a:pt x="2181" y="7069"/>
                    </a:moveTo>
                    <a:cubicBezTo>
                      <a:pt x="2410" y="7209"/>
                      <a:pt x="2410" y="7209"/>
                      <a:pt x="2410" y="7209"/>
                    </a:cubicBezTo>
                    <a:cubicBezTo>
                      <a:pt x="2476" y="7144"/>
                      <a:pt x="2476" y="7144"/>
                      <a:pt x="2476" y="7144"/>
                    </a:cubicBezTo>
                    <a:cubicBezTo>
                      <a:pt x="2245" y="7003"/>
                      <a:pt x="2245" y="7003"/>
                      <a:pt x="2245" y="7003"/>
                    </a:cubicBezTo>
                    <a:cubicBezTo>
                      <a:pt x="2228" y="7020"/>
                      <a:pt x="2213" y="7035"/>
                      <a:pt x="2202" y="7047"/>
                    </a:cubicBezTo>
                    <a:cubicBezTo>
                      <a:pt x="2194" y="7054"/>
                      <a:pt x="2189" y="7060"/>
                      <a:pt x="2185" y="7064"/>
                    </a:cubicBezTo>
                    <a:cubicBezTo>
                      <a:pt x="2183" y="7066"/>
                      <a:pt x="2182" y="7068"/>
                      <a:pt x="2181" y="7069"/>
                    </a:cubicBezTo>
                    <a:close/>
                    <a:moveTo>
                      <a:pt x="3038" y="6757"/>
                    </a:moveTo>
                    <a:cubicBezTo>
                      <a:pt x="3032" y="6799"/>
                      <a:pt x="3032" y="6799"/>
                      <a:pt x="3032" y="6799"/>
                    </a:cubicBezTo>
                    <a:cubicBezTo>
                      <a:pt x="2985" y="6793"/>
                      <a:pt x="2985" y="6793"/>
                      <a:pt x="2985" y="6793"/>
                    </a:cubicBezTo>
                    <a:cubicBezTo>
                      <a:pt x="2977" y="6852"/>
                      <a:pt x="2977" y="6852"/>
                      <a:pt x="2977" y="6852"/>
                    </a:cubicBezTo>
                    <a:cubicBezTo>
                      <a:pt x="3071" y="6865"/>
                      <a:pt x="3071" y="6865"/>
                      <a:pt x="3071" y="6865"/>
                    </a:cubicBezTo>
                    <a:cubicBezTo>
                      <a:pt x="3085" y="6763"/>
                      <a:pt x="3085" y="6763"/>
                      <a:pt x="3085" y="6763"/>
                    </a:cubicBezTo>
                    <a:lnTo>
                      <a:pt x="3038" y="6757"/>
                    </a:lnTo>
                    <a:close/>
                    <a:moveTo>
                      <a:pt x="3003" y="7472"/>
                    </a:moveTo>
                    <a:cubicBezTo>
                      <a:pt x="3036" y="7475"/>
                      <a:pt x="3072" y="7478"/>
                      <a:pt x="3108" y="7481"/>
                    </a:cubicBezTo>
                    <a:cubicBezTo>
                      <a:pt x="3113" y="7449"/>
                      <a:pt x="3135" y="7289"/>
                      <a:pt x="3157" y="7124"/>
                    </a:cubicBezTo>
                    <a:cubicBezTo>
                      <a:pt x="3179" y="6956"/>
                      <a:pt x="3202" y="6784"/>
                      <a:pt x="3206" y="6746"/>
                    </a:cubicBezTo>
                    <a:cubicBezTo>
                      <a:pt x="3106" y="6710"/>
                      <a:pt x="3106" y="6710"/>
                      <a:pt x="3106" y="6710"/>
                    </a:cubicBezTo>
                    <a:cubicBezTo>
                      <a:pt x="3100" y="6752"/>
                      <a:pt x="3100" y="6752"/>
                      <a:pt x="3100" y="6752"/>
                    </a:cubicBezTo>
                    <a:cubicBezTo>
                      <a:pt x="3142" y="6758"/>
                      <a:pt x="3142" y="6758"/>
                      <a:pt x="3142" y="6758"/>
                    </a:cubicBezTo>
                    <a:cubicBezTo>
                      <a:pt x="3136" y="6800"/>
                      <a:pt x="3136" y="6800"/>
                      <a:pt x="3136" y="6800"/>
                    </a:cubicBezTo>
                    <a:cubicBezTo>
                      <a:pt x="3183" y="6807"/>
                      <a:pt x="3183" y="6807"/>
                      <a:pt x="3183" y="6807"/>
                    </a:cubicBezTo>
                    <a:cubicBezTo>
                      <a:pt x="3171" y="6892"/>
                      <a:pt x="3171" y="6892"/>
                      <a:pt x="3171" y="6892"/>
                    </a:cubicBezTo>
                    <a:cubicBezTo>
                      <a:pt x="3083" y="6880"/>
                      <a:pt x="3083" y="6880"/>
                      <a:pt x="3083" y="6880"/>
                    </a:cubicBezTo>
                    <a:lnTo>
                      <a:pt x="3003" y="7472"/>
                    </a:lnTo>
                    <a:close/>
                    <a:moveTo>
                      <a:pt x="3240" y="7491"/>
                    </a:moveTo>
                    <a:cubicBezTo>
                      <a:pt x="3301" y="7496"/>
                      <a:pt x="3349" y="7500"/>
                      <a:pt x="3366" y="7501"/>
                    </a:cubicBezTo>
                    <a:cubicBezTo>
                      <a:pt x="3452" y="6835"/>
                      <a:pt x="3452" y="6835"/>
                      <a:pt x="3452" y="6835"/>
                    </a:cubicBezTo>
                    <a:cubicBezTo>
                      <a:pt x="3337" y="6794"/>
                      <a:pt x="3337" y="6794"/>
                      <a:pt x="3337" y="6794"/>
                    </a:cubicBezTo>
                    <a:cubicBezTo>
                      <a:pt x="3336" y="6803"/>
                      <a:pt x="3334" y="6819"/>
                      <a:pt x="3331" y="6840"/>
                    </a:cubicBezTo>
                    <a:cubicBezTo>
                      <a:pt x="3384" y="6847"/>
                      <a:pt x="3384" y="6847"/>
                      <a:pt x="3384" y="6847"/>
                    </a:cubicBezTo>
                    <a:cubicBezTo>
                      <a:pt x="3378" y="6890"/>
                      <a:pt x="3378" y="6890"/>
                      <a:pt x="3378" y="6890"/>
                    </a:cubicBezTo>
                    <a:cubicBezTo>
                      <a:pt x="3425" y="6896"/>
                      <a:pt x="3425" y="6896"/>
                      <a:pt x="3425" y="6896"/>
                    </a:cubicBezTo>
                    <a:cubicBezTo>
                      <a:pt x="3413" y="6982"/>
                      <a:pt x="3413" y="6982"/>
                      <a:pt x="3413" y="6982"/>
                    </a:cubicBezTo>
                    <a:cubicBezTo>
                      <a:pt x="3312" y="6968"/>
                      <a:pt x="3312" y="6968"/>
                      <a:pt x="3312" y="6968"/>
                    </a:cubicBezTo>
                    <a:cubicBezTo>
                      <a:pt x="3305" y="7016"/>
                      <a:pt x="3297" y="7070"/>
                      <a:pt x="3289" y="7125"/>
                    </a:cubicBezTo>
                    <a:cubicBezTo>
                      <a:pt x="3265" y="7294"/>
                      <a:pt x="3241" y="7470"/>
                      <a:pt x="3240" y="7491"/>
                    </a:cubicBezTo>
                    <a:close/>
                    <a:moveTo>
                      <a:pt x="3365" y="7619"/>
                    </a:moveTo>
                    <a:cubicBezTo>
                      <a:pt x="3377" y="7616"/>
                      <a:pt x="3387" y="7615"/>
                      <a:pt x="3391" y="7614"/>
                    </a:cubicBezTo>
                    <a:cubicBezTo>
                      <a:pt x="3475" y="7594"/>
                      <a:pt x="3603" y="7589"/>
                      <a:pt x="3713" y="7589"/>
                    </a:cubicBezTo>
                    <a:cubicBezTo>
                      <a:pt x="3738" y="7589"/>
                      <a:pt x="3761" y="7589"/>
                      <a:pt x="3782" y="7590"/>
                    </a:cubicBezTo>
                    <a:cubicBezTo>
                      <a:pt x="3785" y="7572"/>
                      <a:pt x="3794" y="7500"/>
                      <a:pt x="3804" y="7427"/>
                    </a:cubicBezTo>
                    <a:cubicBezTo>
                      <a:pt x="3810" y="7386"/>
                      <a:pt x="3815" y="7344"/>
                      <a:pt x="3820" y="7313"/>
                    </a:cubicBezTo>
                    <a:cubicBezTo>
                      <a:pt x="3822" y="7298"/>
                      <a:pt x="3824" y="7285"/>
                      <a:pt x="3825" y="7276"/>
                    </a:cubicBezTo>
                    <a:cubicBezTo>
                      <a:pt x="3825" y="7273"/>
                      <a:pt x="3826" y="7271"/>
                      <a:pt x="3826" y="7269"/>
                    </a:cubicBezTo>
                    <a:cubicBezTo>
                      <a:pt x="3422" y="7173"/>
                      <a:pt x="3422" y="7173"/>
                      <a:pt x="3422" y="7173"/>
                    </a:cubicBezTo>
                    <a:cubicBezTo>
                      <a:pt x="3426" y="7159"/>
                      <a:pt x="3426" y="7159"/>
                      <a:pt x="3426" y="7159"/>
                    </a:cubicBezTo>
                    <a:cubicBezTo>
                      <a:pt x="3831" y="7256"/>
                      <a:pt x="3831" y="7256"/>
                      <a:pt x="3831" y="7256"/>
                    </a:cubicBezTo>
                    <a:cubicBezTo>
                      <a:pt x="3832" y="7256"/>
                      <a:pt x="3833" y="7256"/>
                      <a:pt x="3834" y="7255"/>
                    </a:cubicBezTo>
                    <a:cubicBezTo>
                      <a:pt x="3834" y="7255"/>
                      <a:pt x="3837" y="7255"/>
                      <a:pt x="3840" y="7258"/>
                    </a:cubicBezTo>
                    <a:cubicBezTo>
                      <a:pt x="3840" y="7258"/>
                      <a:pt x="3840" y="7258"/>
                      <a:pt x="3840" y="7258"/>
                    </a:cubicBezTo>
                    <a:cubicBezTo>
                      <a:pt x="4110" y="7323"/>
                      <a:pt x="4110" y="7323"/>
                      <a:pt x="4110" y="7323"/>
                    </a:cubicBezTo>
                    <a:cubicBezTo>
                      <a:pt x="4259" y="7128"/>
                      <a:pt x="4259" y="7128"/>
                      <a:pt x="4259" y="7128"/>
                    </a:cubicBezTo>
                    <a:cubicBezTo>
                      <a:pt x="3465" y="6840"/>
                      <a:pt x="3465" y="6840"/>
                      <a:pt x="3465" y="6840"/>
                    </a:cubicBezTo>
                    <a:lnTo>
                      <a:pt x="3365" y="7619"/>
                    </a:lnTo>
                    <a:close/>
                    <a:moveTo>
                      <a:pt x="3839" y="7273"/>
                    </a:moveTo>
                    <a:cubicBezTo>
                      <a:pt x="3833" y="7320"/>
                      <a:pt x="3802" y="7553"/>
                      <a:pt x="3797" y="7590"/>
                    </a:cubicBezTo>
                    <a:cubicBezTo>
                      <a:pt x="3844" y="7591"/>
                      <a:pt x="3882" y="7592"/>
                      <a:pt x="3902" y="7593"/>
                    </a:cubicBezTo>
                    <a:cubicBezTo>
                      <a:pt x="4101" y="7335"/>
                      <a:pt x="4101" y="7335"/>
                      <a:pt x="4101" y="7335"/>
                    </a:cubicBezTo>
                    <a:lnTo>
                      <a:pt x="3839" y="7273"/>
                    </a:lnTo>
                    <a:close/>
                    <a:moveTo>
                      <a:pt x="3261" y="7724"/>
                    </a:moveTo>
                    <a:cubicBezTo>
                      <a:pt x="3523" y="7837"/>
                      <a:pt x="3523" y="7837"/>
                      <a:pt x="3523" y="7837"/>
                    </a:cubicBezTo>
                    <a:cubicBezTo>
                      <a:pt x="3534" y="7858"/>
                      <a:pt x="3534" y="7858"/>
                      <a:pt x="3534" y="7858"/>
                    </a:cubicBezTo>
                    <a:cubicBezTo>
                      <a:pt x="3647" y="7792"/>
                      <a:pt x="3647" y="7792"/>
                      <a:pt x="3647" y="7792"/>
                    </a:cubicBezTo>
                    <a:cubicBezTo>
                      <a:pt x="3699" y="7882"/>
                      <a:pt x="3699" y="7882"/>
                      <a:pt x="3699" y="7882"/>
                    </a:cubicBezTo>
                    <a:cubicBezTo>
                      <a:pt x="3580" y="7951"/>
                      <a:pt x="3580" y="7951"/>
                      <a:pt x="3580" y="7951"/>
                    </a:cubicBezTo>
                    <a:cubicBezTo>
                      <a:pt x="3589" y="7968"/>
                      <a:pt x="3589" y="7968"/>
                      <a:pt x="3589" y="7968"/>
                    </a:cubicBezTo>
                    <a:cubicBezTo>
                      <a:pt x="3604" y="7994"/>
                      <a:pt x="3604" y="7994"/>
                      <a:pt x="3604" y="7994"/>
                    </a:cubicBezTo>
                    <a:cubicBezTo>
                      <a:pt x="3602" y="7995"/>
                      <a:pt x="3602" y="7995"/>
                      <a:pt x="3602" y="7995"/>
                    </a:cubicBezTo>
                    <a:cubicBezTo>
                      <a:pt x="3606" y="8002"/>
                      <a:pt x="3606" y="8002"/>
                      <a:pt x="3606" y="8002"/>
                    </a:cubicBezTo>
                    <a:cubicBezTo>
                      <a:pt x="3957" y="7806"/>
                      <a:pt x="3957" y="7806"/>
                      <a:pt x="3957" y="7806"/>
                    </a:cubicBezTo>
                    <a:cubicBezTo>
                      <a:pt x="3896" y="7659"/>
                      <a:pt x="3896" y="7659"/>
                      <a:pt x="3896" y="7659"/>
                    </a:cubicBezTo>
                    <a:cubicBezTo>
                      <a:pt x="3863" y="7657"/>
                      <a:pt x="3793" y="7655"/>
                      <a:pt x="3713" y="7655"/>
                    </a:cubicBezTo>
                    <a:cubicBezTo>
                      <a:pt x="3605" y="7654"/>
                      <a:pt x="3476" y="7660"/>
                      <a:pt x="3405" y="7679"/>
                    </a:cubicBezTo>
                    <a:cubicBezTo>
                      <a:pt x="3402" y="7679"/>
                      <a:pt x="3402" y="7679"/>
                      <a:pt x="3402" y="7679"/>
                    </a:cubicBezTo>
                    <a:cubicBezTo>
                      <a:pt x="3399" y="7680"/>
                      <a:pt x="3399" y="7680"/>
                      <a:pt x="3399" y="7680"/>
                    </a:cubicBezTo>
                    <a:cubicBezTo>
                      <a:pt x="3399" y="7680"/>
                      <a:pt x="3398" y="7680"/>
                      <a:pt x="3395" y="7680"/>
                    </a:cubicBezTo>
                    <a:cubicBezTo>
                      <a:pt x="3379" y="7682"/>
                      <a:pt x="3327" y="7691"/>
                      <a:pt x="3261" y="7724"/>
                    </a:cubicBezTo>
                    <a:close/>
                    <a:moveTo>
                      <a:pt x="3547" y="7921"/>
                    </a:moveTo>
                    <a:cubicBezTo>
                      <a:pt x="3441" y="7982"/>
                      <a:pt x="3441" y="7982"/>
                      <a:pt x="3441" y="7982"/>
                    </a:cubicBezTo>
                    <a:cubicBezTo>
                      <a:pt x="3480" y="8050"/>
                      <a:pt x="3480" y="8050"/>
                      <a:pt x="3480" y="8050"/>
                    </a:cubicBezTo>
                    <a:cubicBezTo>
                      <a:pt x="3584" y="7990"/>
                      <a:pt x="3584" y="7990"/>
                      <a:pt x="3584" y="7990"/>
                    </a:cubicBezTo>
                    <a:cubicBezTo>
                      <a:pt x="3569" y="7959"/>
                      <a:pt x="3569" y="7959"/>
                      <a:pt x="3569" y="7959"/>
                    </a:cubicBezTo>
                    <a:lnTo>
                      <a:pt x="3547" y="7921"/>
                    </a:lnTo>
                    <a:close/>
                    <a:moveTo>
                      <a:pt x="3566" y="7922"/>
                    </a:moveTo>
                    <a:cubicBezTo>
                      <a:pt x="3576" y="7939"/>
                      <a:pt x="3576" y="7939"/>
                      <a:pt x="3576" y="7939"/>
                    </a:cubicBezTo>
                    <a:cubicBezTo>
                      <a:pt x="3681" y="7878"/>
                      <a:pt x="3681" y="7878"/>
                      <a:pt x="3681" y="7878"/>
                    </a:cubicBezTo>
                    <a:cubicBezTo>
                      <a:pt x="3642" y="7810"/>
                      <a:pt x="3642" y="7810"/>
                      <a:pt x="3642" y="7810"/>
                    </a:cubicBezTo>
                    <a:cubicBezTo>
                      <a:pt x="3539" y="7869"/>
                      <a:pt x="3539" y="7869"/>
                      <a:pt x="3539" y="7869"/>
                    </a:cubicBezTo>
                    <a:lnTo>
                      <a:pt x="3566" y="7922"/>
                    </a:lnTo>
                    <a:close/>
                    <a:moveTo>
                      <a:pt x="3245" y="7732"/>
                    </a:moveTo>
                    <a:cubicBezTo>
                      <a:pt x="3212" y="7750"/>
                      <a:pt x="3177" y="7773"/>
                      <a:pt x="3142" y="7805"/>
                    </a:cubicBezTo>
                    <a:cubicBezTo>
                      <a:pt x="3120" y="7824"/>
                      <a:pt x="3092" y="7847"/>
                      <a:pt x="3061" y="7871"/>
                    </a:cubicBezTo>
                    <a:cubicBezTo>
                      <a:pt x="3088" y="7890"/>
                      <a:pt x="3133" y="7920"/>
                      <a:pt x="3177" y="7949"/>
                    </a:cubicBezTo>
                    <a:cubicBezTo>
                      <a:pt x="3240" y="7992"/>
                      <a:pt x="3301" y="8031"/>
                      <a:pt x="3301" y="8031"/>
                    </a:cubicBezTo>
                    <a:cubicBezTo>
                      <a:pt x="3302" y="8032"/>
                      <a:pt x="3302" y="8032"/>
                      <a:pt x="3302" y="8032"/>
                    </a:cubicBezTo>
                    <a:cubicBezTo>
                      <a:pt x="3382" y="8127"/>
                      <a:pt x="3382" y="8127"/>
                      <a:pt x="3382" y="8127"/>
                    </a:cubicBezTo>
                    <a:cubicBezTo>
                      <a:pt x="3594" y="8009"/>
                      <a:pt x="3594" y="8009"/>
                      <a:pt x="3594" y="8009"/>
                    </a:cubicBezTo>
                    <a:cubicBezTo>
                      <a:pt x="3590" y="8002"/>
                      <a:pt x="3590" y="8002"/>
                      <a:pt x="3590" y="8002"/>
                    </a:cubicBezTo>
                    <a:cubicBezTo>
                      <a:pt x="3476" y="8068"/>
                      <a:pt x="3476" y="8068"/>
                      <a:pt x="3476" y="8068"/>
                    </a:cubicBezTo>
                    <a:cubicBezTo>
                      <a:pt x="3472" y="8062"/>
                      <a:pt x="3472" y="8062"/>
                      <a:pt x="3472" y="8062"/>
                    </a:cubicBezTo>
                    <a:cubicBezTo>
                      <a:pt x="3423" y="7977"/>
                      <a:pt x="3423" y="7977"/>
                      <a:pt x="3423" y="7977"/>
                    </a:cubicBezTo>
                    <a:cubicBezTo>
                      <a:pt x="3543" y="7908"/>
                      <a:pt x="3543" y="7908"/>
                      <a:pt x="3543" y="7908"/>
                    </a:cubicBezTo>
                    <a:cubicBezTo>
                      <a:pt x="3519" y="7866"/>
                      <a:pt x="3519" y="7866"/>
                      <a:pt x="3519" y="7866"/>
                    </a:cubicBezTo>
                    <a:cubicBezTo>
                      <a:pt x="3522" y="7865"/>
                      <a:pt x="3522" y="7865"/>
                      <a:pt x="3522" y="7865"/>
                    </a:cubicBezTo>
                    <a:cubicBezTo>
                      <a:pt x="3513" y="7848"/>
                      <a:pt x="3513" y="7848"/>
                      <a:pt x="3513" y="7848"/>
                    </a:cubicBezTo>
                    <a:lnTo>
                      <a:pt x="3245" y="7732"/>
                    </a:lnTo>
                    <a:close/>
                    <a:moveTo>
                      <a:pt x="4314" y="8278"/>
                    </a:moveTo>
                    <a:cubicBezTo>
                      <a:pt x="4320" y="8289"/>
                      <a:pt x="4325" y="8298"/>
                      <a:pt x="4330" y="8308"/>
                    </a:cubicBezTo>
                    <a:cubicBezTo>
                      <a:pt x="4366" y="8287"/>
                      <a:pt x="4453" y="8238"/>
                      <a:pt x="4555" y="8181"/>
                    </a:cubicBezTo>
                    <a:cubicBezTo>
                      <a:pt x="4417" y="7940"/>
                      <a:pt x="4417" y="7940"/>
                      <a:pt x="4417" y="7940"/>
                    </a:cubicBezTo>
                    <a:cubicBezTo>
                      <a:pt x="4197" y="8073"/>
                      <a:pt x="4197" y="8073"/>
                      <a:pt x="4197" y="8073"/>
                    </a:cubicBezTo>
                    <a:cubicBezTo>
                      <a:pt x="4199" y="8075"/>
                      <a:pt x="4200" y="8078"/>
                      <a:pt x="4201" y="8080"/>
                    </a:cubicBezTo>
                    <a:cubicBezTo>
                      <a:pt x="4241" y="8148"/>
                      <a:pt x="4281" y="8218"/>
                      <a:pt x="4314" y="8278"/>
                    </a:cubicBezTo>
                    <a:close/>
                    <a:moveTo>
                      <a:pt x="4410" y="7928"/>
                    </a:moveTo>
                    <a:cubicBezTo>
                      <a:pt x="4279" y="7700"/>
                      <a:pt x="4279" y="7700"/>
                      <a:pt x="4279" y="7700"/>
                    </a:cubicBezTo>
                    <a:cubicBezTo>
                      <a:pt x="4076" y="7815"/>
                      <a:pt x="4076" y="7815"/>
                      <a:pt x="4076" y="7815"/>
                    </a:cubicBezTo>
                    <a:cubicBezTo>
                      <a:pt x="4052" y="7829"/>
                      <a:pt x="4052" y="7829"/>
                      <a:pt x="4052" y="7829"/>
                    </a:cubicBezTo>
                    <a:cubicBezTo>
                      <a:pt x="4067" y="7854"/>
                      <a:pt x="4126" y="7951"/>
                      <a:pt x="4190" y="8061"/>
                    </a:cubicBezTo>
                    <a:lnTo>
                      <a:pt x="4410" y="7928"/>
                    </a:lnTo>
                    <a:close/>
                    <a:moveTo>
                      <a:pt x="4599" y="7442"/>
                    </a:moveTo>
                    <a:cubicBezTo>
                      <a:pt x="4595" y="7430"/>
                      <a:pt x="4590" y="7413"/>
                      <a:pt x="4583" y="7390"/>
                    </a:cubicBezTo>
                    <a:cubicBezTo>
                      <a:pt x="4551" y="7288"/>
                      <a:pt x="4496" y="7099"/>
                      <a:pt x="4488" y="7073"/>
                    </a:cubicBezTo>
                    <a:cubicBezTo>
                      <a:pt x="4446" y="7072"/>
                      <a:pt x="4406" y="7072"/>
                      <a:pt x="4383" y="7071"/>
                    </a:cubicBezTo>
                    <a:cubicBezTo>
                      <a:pt x="4373" y="7084"/>
                      <a:pt x="4365" y="7095"/>
                      <a:pt x="4358" y="7104"/>
                    </a:cubicBezTo>
                    <a:cubicBezTo>
                      <a:pt x="4358" y="7104"/>
                      <a:pt x="4358" y="7104"/>
                      <a:pt x="4358" y="7104"/>
                    </a:cubicBezTo>
                    <a:cubicBezTo>
                      <a:pt x="3955" y="7632"/>
                      <a:pt x="3955" y="7632"/>
                      <a:pt x="3955" y="7632"/>
                    </a:cubicBezTo>
                    <a:cubicBezTo>
                      <a:pt x="4015" y="7774"/>
                      <a:pt x="4015" y="7774"/>
                      <a:pt x="4015" y="7774"/>
                    </a:cubicBezTo>
                    <a:cubicBezTo>
                      <a:pt x="4044" y="7758"/>
                      <a:pt x="4044" y="7758"/>
                      <a:pt x="4044" y="7758"/>
                    </a:cubicBezTo>
                    <a:lnTo>
                      <a:pt x="4599" y="7442"/>
                    </a:lnTo>
                    <a:close/>
                    <a:moveTo>
                      <a:pt x="4611" y="7434"/>
                    </a:moveTo>
                    <a:cubicBezTo>
                      <a:pt x="4611" y="7435"/>
                      <a:pt x="4611" y="7435"/>
                      <a:pt x="4611" y="7435"/>
                    </a:cubicBezTo>
                    <a:cubicBezTo>
                      <a:pt x="5105" y="7154"/>
                      <a:pt x="5105" y="7154"/>
                      <a:pt x="5105" y="7154"/>
                    </a:cubicBezTo>
                    <a:cubicBezTo>
                      <a:pt x="5101" y="7145"/>
                      <a:pt x="5098" y="7136"/>
                      <a:pt x="5092" y="7123"/>
                    </a:cubicBezTo>
                    <a:cubicBezTo>
                      <a:pt x="5078" y="7088"/>
                      <a:pt x="5055" y="7039"/>
                      <a:pt x="5024" y="6987"/>
                    </a:cubicBezTo>
                    <a:cubicBezTo>
                      <a:pt x="4987" y="6923"/>
                      <a:pt x="4965" y="6867"/>
                      <a:pt x="4953" y="6830"/>
                    </a:cubicBezTo>
                    <a:cubicBezTo>
                      <a:pt x="4953" y="6831"/>
                      <a:pt x="4953" y="6831"/>
                      <a:pt x="4953" y="6831"/>
                    </a:cubicBezTo>
                    <a:cubicBezTo>
                      <a:pt x="4953" y="6829"/>
                      <a:pt x="4953" y="6829"/>
                      <a:pt x="4953" y="6829"/>
                    </a:cubicBezTo>
                    <a:cubicBezTo>
                      <a:pt x="4952" y="6828"/>
                      <a:pt x="4952" y="6826"/>
                      <a:pt x="4951" y="6825"/>
                    </a:cubicBezTo>
                    <a:cubicBezTo>
                      <a:pt x="4951" y="6823"/>
                      <a:pt x="4950" y="6822"/>
                      <a:pt x="4950" y="6820"/>
                    </a:cubicBezTo>
                    <a:cubicBezTo>
                      <a:pt x="4950" y="6819"/>
                      <a:pt x="4950" y="6819"/>
                      <a:pt x="4949" y="6818"/>
                    </a:cubicBezTo>
                    <a:cubicBezTo>
                      <a:pt x="4949" y="6816"/>
                      <a:pt x="4948" y="6815"/>
                      <a:pt x="4948" y="6812"/>
                    </a:cubicBezTo>
                    <a:cubicBezTo>
                      <a:pt x="4947" y="6810"/>
                      <a:pt x="4946" y="6808"/>
                      <a:pt x="4946" y="6806"/>
                    </a:cubicBezTo>
                    <a:cubicBezTo>
                      <a:pt x="4946" y="6805"/>
                      <a:pt x="4946" y="6804"/>
                      <a:pt x="4946" y="6803"/>
                    </a:cubicBezTo>
                    <a:cubicBezTo>
                      <a:pt x="4945" y="6801"/>
                      <a:pt x="4945" y="6799"/>
                      <a:pt x="4944" y="6797"/>
                    </a:cubicBezTo>
                    <a:cubicBezTo>
                      <a:pt x="4899" y="6821"/>
                      <a:pt x="4749" y="6901"/>
                      <a:pt x="4719" y="6917"/>
                    </a:cubicBezTo>
                    <a:cubicBezTo>
                      <a:pt x="4718" y="6930"/>
                      <a:pt x="4718" y="6944"/>
                      <a:pt x="4717" y="6956"/>
                    </a:cubicBezTo>
                    <a:cubicBezTo>
                      <a:pt x="4714" y="6989"/>
                      <a:pt x="4712" y="7017"/>
                      <a:pt x="4711" y="7037"/>
                    </a:cubicBezTo>
                    <a:cubicBezTo>
                      <a:pt x="4710" y="7046"/>
                      <a:pt x="4710" y="7054"/>
                      <a:pt x="4709" y="7059"/>
                    </a:cubicBezTo>
                    <a:cubicBezTo>
                      <a:pt x="4709" y="7062"/>
                      <a:pt x="4709" y="7064"/>
                      <a:pt x="4708" y="7066"/>
                    </a:cubicBezTo>
                    <a:cubicBezTo>
                      <a:pt x="4708" y="7067"/>
                      <a:pt x="4708" y="7067"/>
                      <a:pt x="4708" y="7068"/>
                    </a:cubicBezTo>
                    <a:cubicBezTo>
                      <a:pt x="4708" y="7068"/>
                      <a:pt x="4708" y="7068"/>
                      <a:pt x="4708" y="7069"/>
                    </a:cubicBezTo>
                    <a:cubicBezTo>
                      <a:pt x="4707" y="7070"/>
                      <a:pt x="4709" y="7070"/>
                      <a:pt x="4704" y="7074"/>
                    </a:cubicBezTo>
                    <a:cubicBezTo>
                      <a:pt x="4701" y="7075"/>
                      <a:pt x="4700" y="7075"/>
                      <a:pt x="4700" y="7075"/>
                    </a:cubicBezTo>
                    <a:cubicBezTo>
                      <a:pt x="4700" y="7075"/>
                      <a:pt x="4700" y="7075"/>
                      <a:pt x="4699" y="7075"/>
                    </a:cubicBezTo>
                    <a:cubicBezTo>
                      <a:pt x="4697" y="7075"/>
                      <a:pt x="4693" y="7075"/>
                      <a:pt x="4687" y="7075"/>
                    </a:cubicBezTo>
                    <a:cubicBezTo>
                      <a:pt x="4657" y="7075"/>
                      <a:pt x="4577" y="7074"/>
                      <a:pt x="4503" y="7073"/>
                    </a:cubicBezTo>
                    <a:cubicBezTo>
                      <a:pt x="4510" y="7097"/>
                      <a:pt x="4533" y="7177"/>
                      <a:pt x="4558" y="7258"/>
                    </a:cubicBezTo>
                    <a:cubicBezTo>
                      <a:pt x="4572" y="7307"/>
                      <a:pt x="4586" y="7355"/>
                      <a:pt x="4598" y="7391"/>
                    </a:cubicBezTo>
                    <a:cubicBezTo>
                      <a:pt x="4603" y="7409"/>
                      <a:pt x="4608" y="7424"/>
                      <a:pt x="4611" y="7434"/>
                    </a:cubicBezTo>
                    <a:close/>
                    <a:moveTo>
                      <a:pt x="5144" y="7131"/>
                    </a:moveTo>
                    <a:cubicBezTo>
                      <a:pt x="5610" y="6794"/>
                      <a:pt x="5610" y="6794"/>
                      <a:pt x="5610" y="6794"/>
                    </a:cubicBezTo>
                    <a:cubicBezTo>
                      <a:pt x="5632" y="6703"/>
                      <a:pt x="5632" y="6703"/>
                      <a:pt x="5632" y="6703"/>
                    </a:cubicBezTo>
                    <a:cubicBezTo>
                      <a:pt x="5666" y="6401"/>
                      <a:pt x="5666" y="6401"/>
                      <a:pt x="5666" y="6401"/>
                    </a:cubicBezTo>
                    <a:cubicBezTo>
                      <a:pt x="5618" y="6393"/>
                      <a:pt x="5462" y="6362"/>
                      <a:pt x="5417" y="6354"/>
                    </a:cubicBezTo>
                    <a:cubicBezTo>
                      <a:pt x="5377" y="6348"/>
                      <a:pt x="5377" y="6348"/>
                      <a:pt x="5377" y="6348"/>
                    </a:cubicBezTo>
                    <a:cubicBezTo>
                      <a:pt x="5368" y="6366"/>
                      <a:pt x="5334" y="6429"/>
                      <a:pt x="5299" y="6492"/>
                    </a:cubicBezTo>
                    <a:cubicBezTo>
                      <a:pt x="5279" y="6529"/>
                      <a:pt x="5259" y="6566"/>
                      <a:pt x="5243" y="6594"/>
                    </a:cubicBezTo>
                    <a:cubicBezTo>
                      <a:pt x="5235" y="6608"/>
                      <a:pt x="5229" y="6620"/>
                      <a:pt x="5224" y="6628"/>
                    </a:cubicBezTo>
                    <a:cubicBezTo>
                      <a:pt x="5221" y="6632"/>
                      <a:pt x="5219" y="6635"/>
                      <a:pt x="5218" y="6638"/>
                    </a:cubicBezTo>
                    <a:cubicBezTo>
                      <a:pt x="5217" y="6639"/>
                      <a:pt x="5217" y="6640"/>
                      <a:pt x="5216" y="6641"/>
                    </a:cubicBezTo>
                    <a:cubicBezTo>
                      <a:pt x="5215" y="6642"/>
                      <a:pt x="5216" y="6642"/>
                      <a:pt x="5212" y="6644"/>
                    </a:cubicBezTo>
                    <a:cubicBezTo>
                      <a:pt x="5212" y="6644"/>
                      <a:pt x="5212" y="6644"/>
                      <a:pt x="5212" y="6644"/>
                    </a:cubicBezTo>
                    <a:cubicBezTo>
                      <a:pt x="5212" y="6644"/>
                      <a:pt x="5212" y="6644"/>
                      <a:pt x="5212" y="6644"/>
                    </a:cubicBezTo>
                    <a:cubicBezTo>
                      <a:pt x="5206" y="6648"/>
                      <a:pt x="5149" y="6691"/>
                      <a:pt x="5095" y="6732"/>
                    </a:cubicBezTo>
                    <a:cubicBezTo>
                      <a:pt x="5052" y="6765"/>
                      <a:pt x="5010" y="6796"/>
                      <a:pt x="4994" y="6809"/>
                    </a:cubicBezTo>
                    <a:cubicBezTo>
                      <a:pt x="5005" y="6844"/>
                      <a:pt x="5026" y="6902"/>
                      <a:pt x="5063" y="6964"/>
                    </a:cubicBezTo>
                    <a:cubicBezTo>
                      <a:pt x="5103" y="7032"/>
                      <a:pt x="5130" y="7093"/>
                      <a:pt x="5144" y="7131"/>
                    </a:cubicBezTo>
                    <a:close/>
                    <a:moveTo>
                      <a:pt x="5605" y="6997"/>
                    </a:moveTo>
                    <a:cubicBezTo>
                      <a:pt x="6038" y="7378"/>
                      <a:pt x="6038" y="7378"/>
                      <a:pt x="6038" y="7378"/>
                    </a:cubicBezTo>
                    <a:cubicBezTo>
                      <a:pt x="6119" y="7104"/>
                      <a:pt x="6119" y="7104"/>
                      <a:pt x="6119" y="7104"/>
                    </a:cubicBezTo>
                    <a:cubicBezTo>
                      <a:pt x="6177" y="7009"/>
                      <a:pt x="6177" y="7009"/>
                      <a:pt x="6177" y="7009"/>
                    </a:cubicBezTo>
                    <a:cubicBezTo>
                      <a:pt x="6181" y="7009"/>
                      <a:pt x="6181" y="7009"/>
                      <a:pt x="6181" y="7009"/>
                    </a:cubicBezTo>
                    <a:cubicBezTo>
                      <a:pt x="6181" y="7009"/>
                      <a:pt x="6182" y="7010"/>
                      <a:pt x="6183" y="7010"/>
                    </a:cubicBezTo>
                    <a:cubicBezTo>
                      <a:pt x="6214" y="6738"/>
                      <a:pt x="6214" y="6738"/>
                      <a:pt x="6214" y="6738"/>
                    </a:cubicBezTo>
                    <a:cubicBezTo>
                      <a:pt x="6047" y="6745"/>
                      <a:pt x="5838" y="6746"/>
                      <a:pt x="5789" y="6746"/>
                    </a:cubicBezTo>
                    <a:cubicBezTo>
                      <a:pt x="5668" y="6833"/>
                      <a:pt x="5668" y="6833"/>
                      <a:pt x="5668" y="6833"/>
                    </a:cubicBezTo>
                    <a:cubicBezTo>
                      <a:pt x="5667" y="6837"/>
                      <a:pt x="5667" y="6837"/>
                      <a:pt x="5667" y="6837"/>
                    </a:cubicBezTo>
                    <a:lnTo>
                      <a:pt x="5605" y="6997"/>
                    </a:lnTo>
                    <a:close/>
                    <a:moveTo>
                      <a:pt x="6256" y="4549"/>
                    </a:moveTo>
                    <a:cubicBezTo>
                      <a:pt x="6296" y="4351"/>
                      <a:pt x="6296" y="4351"/>
                      <a:pt x="6296" y="4351"/>
                    </a:cubicBezTo>
                    <a:cubicBezTo>
                      <a:pt x="6244" y="4346"/>
                      <a:pt x="6196" y="4341"/>
                      <a:pt x="6160" y="4337"/>
                    </a:cubicBezTo>
                    <a:cubicBezTo>
                      <a:pt x="6118" y="4540"/>
                      <a:pt x="6118" y="4540"/>
                      <a:pt x="6118" y="4540"/>
                    </a:cubicBezTo>
                    <a:cubicBezTo>
                      <a:pt x="6155" y="4543"/>
                      <a:pt x="6203" y="4546"/>
                      <a:pt x="6256" y="4549"/>
                    </a:cubicBezTo>
                    <a:close/>
                    <a:moveTo>
                      <a:pt x="6137" y="4556"/>
                    </a:moveTo>
                    <a:cubicBezTo>
                      <a:pt x="6129" y="4555"/>
                      <a:pt x="6122" y="4555"/>
                      <a:pt x="6115" y="4554"/>
                    </a:cubicBezTo>
                    <a:cubicBezTo>
                      <a:pt x="6084" y="4702"/>
                      <a:pt x="6084" y="4702"/>
                      <a:pt x="6084" y="4702"/>
                    </a:cubicBezTo>
                    <a:cubicBezTo>
                      <a:pt x="6219" y="4729"/>
                      <a:pt x="6219" y="4729"/>
                      <a:pt x="6219" y="4729"/>
                    </a:cubicBezTo>
                    <a:cubicBezTo>
                      <a:pt x="6253" y="4563"/>
                      <a:pt x="6253" y="4563"/>
                      <a:pt x="6253" y="4563"/>
                    </a:cubicBezTo>
                    <a:cubicBezTo>
                      <a:pt x="6211" y="4560"/>
                      <a:pt x="6170" y="4558"/>
                      <a:pt x="6137" y="4556"/>
                    </a:cubicBezTo>
                    <a:close/>
                    <a:moveTo>
                      <a:pt x="6239" y="3957"/>
                    </a:moveTo>
                    <a:cubicBezTo>
                      <a:pt x="6204" y="4125"/>
                      <a:pt x="6204" y="4125"/>
                      <a:pt x="6204" y="4125"/>
                    </a:cubicBezTo>
                    <a:cubicBezTo>
                      <a:pt x="6340" y="4135"/>
                      <a:pt x="6340" y="4135"/>
                      <a:pt x="6340" y="4135"/>
                    </a:cubicBezTo>
                    <a:cubicBezTo>
                      <a:pt x="6374" y="3968"/>
                      <a:pt x="6374" y="3968"/>
                      <a:pt x="6374" y="3968"/>
                    </a:cubicBezTo>
                    <a:cubicBezTo>
                      <a:pt x="6323" y="3964"/>
                      <a:pt x="6275" y="3960"/>
                      <a:pt x="6239" y="3957"/>
                    </a:cubicBezTo>
                    <a:close/>
                    <a:moveTo>
                      <a:pt x="6376" y="3954"/>
                    </a:moveTo>
                    <a:cubicBezTo>
                      <a:pt x="6398" y="3845"/>
                      <a:pt x="6398" y="3845"/>
                      <a:pt x="6398" y="3845"/>
                    </a:cubicBezTo>
                    <a:cubicBezTo>
                      <a:pt x="6268" y="3819"/>
                      <a:pt x="6268" y="3819"/>
                      <a:pt x="6268" y="3819"/>
                    </a:cubicBezTo>
                    <a:cubicBezTo>
                      <a:pt x="6242" y="3944"/>
                      <a:pt x="6242" y="3944"/>
                      <a:pt x="6242" y="3944"/>
                    </a:cubicBezTo>
                    <a:cubicBezTo>
                      <a:pt x="6278" y="3946"/>
                      <a:pt x="6326" y="3950"/>
                      <a:pt x="6376" y="3954"/>
                    </a:cubicBezTo>
                    <a:close/>
                    <a:moveTo>
                      <a:pt x="6202" y="4139"/>
                    </a:moveTo>
                    <a:cubicBezTo>
                      <a:pt x="6163" y="4324"/>
                      <a:pt x="6163" y="4324"/>
                      <a:pt x="6163" y="4324"/>
                    </a:cubicBezTo>
                    <a:cubicBezTo>
                      <a:pt x="6199" y="4327"/>
                      <a:pt x="6247" y="4332"/>
                      <a:pt x="6299" y="4337"/>
                    </a:cubicBezTo>
                    <a:cubicBezTo>
                      <a:pt x="6337" y="4149"/>
                      <a:pt x="6337" y="4149"/>
                      <a:pt x="6337" y="4149"/>
                    </a:cubicBezTo>
                    <a:lnTo>
                      <a:pt x="6202" y="4139"/>
                    </a:lnTo>
                    <a:close/>
                    <a:moveTo>
                      <a:pt x="6269" y="4550"/>
                    </a:moveTo>
                    <a:cubicBezTo>
                      <a:pt x="6408" y="4558"/>
                      <a:pt x="6569" y="4567"/>
                      <a:pt x="6602" y="4570"/>
                    </a:cubicBezTo>
                    <a:cubicBezTo>
                      <a:pt x="6622" y="4382"/>
                      <a:pt x="6622" y="4382"/>
                      <a:pt x="6622" y="4382"/>
                    </a:cubicBezTo>
                    <a:cubicBezTo>
                      <a:pt x="6572" y="4377"/>
                      <a:pt x="6432" y="4364"/>
                      <a:pt x="6309" y="4352"/>
                    </a:cubicBezTo>
                    <a:lnTo>
                      <a:pt x="6269" y="4550"/>
                    </a:lnTo>
                    <a:close/>
                    <a:moveTo>
                      <a:pt x="6624" y="4368"/>
                    </a:moveTo>
                    <a:cubicBezTo>
                      <a:pt x="6645" y="4173"/>
                      <a:pt x="6645" y="4173"/>
                      <a:pt x="6645" y="4173"/>
                    </a:cubicBezTo>
                    <a:cubicBezTo>
                      <a:pt x="6350" y="4150"/>
                      <a:pt x="6350" y="4150"/>
                      <a:pt x="6350" y="4150"/>
                    </a:cubicBezTo>
                    <a:cubicBezTo>
                      <a:pt x="6312" y="4338"/>
                      <a:pt x="6312" y="4338"/>
                      <a:pt x="6312" y="4338"/>
                    </a:cubicBezTo>
                    <a:cubicBezTo>
                      <a:pt x="6330" y="4340"/>
                      <a:pt x="6348" y="4342"/>
                      <a:pt x="6367" y="4344"/>
                    </a:cubicBezTo>
                    <a:cubicBezTo>
                      <a:pt x="6474" y="4354"/>
                      <a:pt x="6582" y="4364"/>
                      <a:pt x="6624" y="4368"/>
                    </a:cubicBezTo>
                    <a:close/>
                    <a:moveTo>
                      <a:pt x="6646" y="4159"/>
                    </a:moveTo>
                    <a:cubicBezTo>
                      <a:pt x="6664" y="3989"/>
                      <a:pt x="6664" y="3989"/>
                      <a:pt x="6664" y="3989"/>
                    </a:cubicBezTo>
                    <a:cubicBezTo>
                      <a:pt x="6635" y="3988"/>
                      <a:pt x="6505" y="3978"/>
                      <a:pt x="6387" y="3969"/>
                    </a:cubicBezTo>
                    <a:cubicBezTo>
                      <a:pt x="6353" y="4136"/>
                      <a:pt x="6353" y="4136"/>
                      <a:pt x="6353" y="4136"/>
                    </a:cubicBezTo>
                    <a:lnTo>
                      <a:pt x="6646" y="4159"/>
                    </a:lnTo>
                    <a:close/>
                    <a:moveTo>
                      <a:pt x="6665" y="3983"/>
                    </a:moveTo>
                    <a:cubicBezTo>
                      <a:pt x="6665" y="3983"/>
                      <a:pt x="6665" y="3983"/>
                      <a:pt x="6665" y="3983"/>
                    </a:cubicBezTo>
                    <a:cubicBezTo>
                      <a:pt x="6663" y="3983"/>
                      <a:pt x="6663" y="3983"/>
                      <a:pt x="6663" y="3983"/>
                    </a:cubicBezTo>
                    <a:lnTo>
                      <a:pt x="6665" y="3983"/>
                    </a:lnTo>
                    <a:close/>
                    <a:moveTo>
                      <a:pt x="6666" y="3976"/>
                    </a:moveTo>
                    <a:cubicBezTo>
                      <a:pt x="6691" y="3742"/>
                      <a:pt x="6691" y="3742"/>
                      <a:pt x="6691" y="3742"/>
                    </a:cubicBezTo>
                    <a:cubicBezTo>
                      <a:pt x="6224" y="3736"/>
                      <a:pt x="6224" y="3736"/>
                      <a:pt x="6224" y="3736"/>
                    </a:cubicBezTo>
                    <a:cubicBezTo>
                      <a:pt x="6217" y="3776"/>
                      <a:pt x="6203" y="3851"/>
                      <a:pt x="6187" y="3939"/>
                    </a:cubicBezTo>
                    <a:cubicBezTo>
                      <a:pt x="6194" y="3940"/>
                      <a:pt x="6209" y="3941"/>
                      <a:pt x="6229" y="3942"/>
                    </a:cubicBezTo>
                    <a:cubicBezTo>
                      <a:pt x="6258" y="3803"/>
                      <a:pt x="6258" y="3803"/>
                      <a:pt x="6258" y="3803"/>
                    </a:cubicBezTo>
                    <a:cubicBezTo>
                      <a:pt x="6414" y="3835"/>
                      <a:pt x="6414" y="3835"/>
                      <a:pt x="6414" y="3835"/>
                    </a:cubicBezTo>
                    <a:cubicBezTo>
                      <a:pt x="6413" y="3841"/>
                      <a:pt x="6413" y="3841"/>
                      <a:pt x="6413" y="3841"/>
                    </a:cubicBezTo>
                    <a:cubicBezTo>
                      <a:pt x="6390" y="3955"/>
                      <a:pt x="6390" y="3955"/>
                      <a:pt x="6390" y="3955"/>
                    </a:cubicBezTo>
                    <a:cubicBezTo>
                      <a:pt x="6509" y="3965"/>
                      <a:pt x="6640" y="3975"/>
                      <a:pt x="6666" y="3976"/>
                    </a:cubicBezTo>
                    <a:close/>
                    <a:moveTo>
                      <a:pt x="6184" y="3953"/>
                    </a:moveTo>
                    <a:cubicBezTo>
                      <a:pt x="6174" y="4006"/>
                      <a:pt x="6163" y="4063"/>
                      <a:pt x="6152" y="4121"/>
                    </a:cubicBezTo>
                    <a:cubicBezTo>
                      <a:pt x="6191" y="4124"/>
                      <a:pt x="6191" y="4124"/>
                      <a:pt x="6191" y="4124"/>
                    </a:cubicBezTo>
                    <a:cubicBezTo>
                      <a:pt x="6226" y="3956"/>
                      <a:pt x="6226" y="3956"/>
                      <a:pt x="6226" y="3956"/>
                    </a:cubicBezTo>
                    <a:cubicBezTo>
                      <a:pt x="6206" y="3955"/>
                      <a:pt x="6191" y="3953"/>
                      <a:pt x="6184" y="3953"/>
                    </a:cubicBezTo>
                    <a:close/>
                    <a:moveTo>
                      <a:pt x="6150" y="4135"/>
                    </a:moveTo>
                    <a:cubicBezTo>
                      <a:pt x="6137" y="4198"/>
                      <a:pt x="6125" y="4262"/>
                      <a:pt x="6113" y="4319"/>
                    </a:cubicBezTo>
                    <a:cubicBezTo>
                      <a:pt x="6122" y="4320"/>
                      <a:pt x="6134" y="4321"/>
                      <a:pt x="6150" y="4322"/>
                    </a:cubicBezTo>
                    <a:cubicBezTo>
                      <a:pt x="6188" y="4138"/>
                      <a:pt x="6188" y="4138"/>
                      <a:pt x="6188" y="4138"/>
                    </a:cubicBezTo>
                    <a:lnTo>
                      <a:pt x="6150" y="4135"/>
                    </a:lnTo>
                    <a:close/>
                    <a:moveTo>
                      <a:pt x="6110" y="4333"/>
                    </a:moveTo>
                    <a:cubicBezTo>
                      <a:pt x="6105" y="4360"/>
                      <a:pt x="6099" y="4387"/>
                      <a:pt x="6094" y="4410"/>
                    </a:cubicBezTo>
                    <a:cubicBezTo>
                      <a:pt x="6085" y="4450"/>
                      <a:pt x="6078" y="4483"/>
                      <a:pt x="6071" y="4507"/>
                    </a:cubicBezTo>
                    <a:cubicBezTo>
                      <a:pt x="6068" y="4519"/>
                      <a:pt x="6065" y="4528"/>
                      <a:pt x="6063" y="4535"/>
                    </a:cubicBezTo>
                    <a:cubicBezTo>
                      <a:pt x="6063" y="4536"/>
                      <a:pt x="6063" y="4536"/>
                      <a:pt x="6062" y="4537"/>
                    </a:cubicBezTo>
                    <a:cubicBezTo>
                      <a:pt x="6071" y="4537"/>
                      <a:pt x="6086" y="4538"/>
                      <a:pt x="6105" y="4539"/>
                    </a:cubicBezTo>
                    <a:cubicBezTo>
                      <a:pt x="6147" y="4336"/>
                      <a:pt x="6147" y="4336"/>
                      <a:pt x="6147" y="4336"/>
                    </a:cubicBezTo>
                    <a:cubicBezTo>
                      <a:pt x="6132" y="4335"/>
                      <a:pt x="6119" y="4333"/>
                      <a:pt x="6110" y="4333"/>
                    </a:cubicBezTo>
                    <a:close/>
                    <a:moveTo>
                      <a:pt x="6058" y="4551"/>
                    </a:moveTo>
                    <a:cubicBezTo>
                      <a:pt x="6056" y="4573"/>
                      <a:pt x="6048" y="4644"/>
                      <a:pt x="6035" y="4747"/>
                    </a:cubicBezTo>
                    <a:cubicBezTo>
                      <a:pt x="6579" y="4788"/>
                      <a:pt x="6579" y="4788"/>
                      <a:pt x="6579" y="4788"/>
                    </a:cubicBezTo>
                    <a:cubicBezTo>
                      <a:pt x="6601" y="4583"/>
                      <a:pt x="6601" y="4583"/>
                      <a:pt x="6601" y="4583"/>
                    </a:cubicBezTo>
                    <a:cubicBezTo>
                      <a:pt x="6571" y="4582"/>
                      <a:pt x="6450" y="4574"/>
                      <a:pt x="6329" y="4567"/>
                    </a:cubicBezTo>
                    <a:cubicBezTo>
                      <a:pt x="6308" y="4566"/>
                      <a:pt x="6287" y="4565"/>
                      <a:pt x="6266" y="4563"/>
                    </a:cubicBezTo>
                    <a:cubicBezTo>
                      <a:pt x="6230" y="4744"/>
                      <a:pt x="6230" y="4744"/>
                      <a:pt x="6230" y="4744"/>
                    </a:cubicBezTo>
                    <a:cubicBezTo>
                      <a:pt x="6069" y="4712"/>
                      <a:pt x="6069" y="4712"/>
                      <a:pt x="6069" y="4712"/>
                    </a:cubicBezTo>
                    <a:cubicBezTo>
                      <a:pt x="6102" y="4553"/>
                      <a:pt x="6102" y="4553"/>
                      <a:pt x="6102" y="4553"/>
                    </a:cubicBezTo>
                    <a:cubicBezTo>
                      <a:pt x="6091" y="4553"/>
                      <a:pt x="6082" y="4552"/>
                      <a:pt x="6074" y="4552"/>
                    </a:cubicBezTo>
                    <a:cubicBezTo>
                      <a:pt x="6067" y="4551"/>
                      <a:pt x="6062" y="4551"/>
                      <a:pt x="6058" y="4551"/>
                    </a:cubicBezTo>
                    <a:close/>
                    <a:moveTo>
                      <a:pt x="6034" y="4761"/>
                    </a:moveTo>
                    <a:cubicBezTo>
                      <a:pt x="6027" y="4817"/>
                      <a:pt x="6018" y="4883"/>
                      <a:pt x="6009" y="4956"/>
                    </a:cubicBezTo>
                    <a:cubicBezTo>
                      <a:pt x="6557" y="4997"/>
                      <a:pt x="6557" y="4997"/>
                      <a:pt x="6557" y="4997"/>
                    </a:cubicBezTo>
                    <a:cubicBezTo>
                      <a:pt x="6578" y="4802"/>
                      <a:pt x="6578" y="4802"/>
                      <a:pt x="6578" y="4802"/>
                    </a:cubicBezTo>
                    <a:lnTo>
                      <a:pt x="6034" y="4761"/>
                    </a:lnTo>
                    <a:close/>
                    <a:moveTo>
                      <a:pt x="6007" y="4970"/>
                    </a:moveTo>
                    <a:cubicBezTo>
                      <a:pt x="5999" y="5033"/>
                      <a:pt x="5991" y="5101"/>
                      <a:pt x="5982" y="5172"/>
                    </a:cubicBezTo>
                    <a:cubicBezTo>
                      <a:pt x="6016" y="5174"/>
                      <a:pt x="6016" y="5174"/>
                      <a:pt x="6016" y="5174"/>
                    </a:cubicBezTo>
                    <a:cubicBezTo>
                      <a:pt x="6031" y="5029"/>
                      <a:pt x="6031" y="5029"/>
                      <a:pt x="6031" y="5029"/>
                    </a:cubicBezTo>
                    <a:cubicBezTo>
                      <a:pt x="6190" y="5045"/>
                      <a:pt x="6190" y="5045"/>
                      <a:pt x="6190" y="5045"/>
                    </a:cubicBezTo>
                    <a:cubicBezTo>
                      <a:pt x="6189" y="5052"/>
                      <a:pt x="6189" y="5052"/>
                      <a:pt x="6189" y="5052"/>
                    </a:cubicBezTo>
                    <a:cubicBezTo>
                      <a:pt x="6176" y="5187"/>
                      <a:pt x="6176" y="5187"/>
                      <a:pt x="6176" y="5187"/>
                    </a:cubicBezTo>
                    <a:cubicBezTo>
                      <a:pt x="6534" y="5214"/>
                      <a:pt x="6534" y="5214"/>
                      <a:pt x="6534" y="5214"/>
                    </a:cubicBezTo>
                    <a:cubicBezTo>
                      <a:pt x="6555" y="5011"/>
                      <a:pt x="6555" y="5011"/>
                      <a:pt x="6555" y="5011"/>
                    </a:cubicBezTo>
                    <a:lnTo>
                      <a:pt x="6007" y="4970"/>
                    </a:lnTo>
                    <a:close/>
                    <a:moveTo>
                      <a:pt x="7276" y="6240"/>
                    </a:moveTo>
                    <a:cubicBezTo>
                      <a:pt x="7276" y="6238"/>
                      <a:pt x="7276" y="6238"/>
                      <a:pt x="7276" y="6238"/>
                    </a:cubicBezTo>
                    <a:cubicBezTo>
                      <a:pt x="7280" y="6186"/>
                      <a:pt x="7280" y="6186"/>
                      <a:pt x="7280" y="6186"/>
                    </a:cubicBezTo>
                    <a:cubicBezTo>
                      <a:pt x="7246" y="6178"/>
                      <a:pt x="7179" y="6161"/>
                      <a:pt x="7110" y="6144"/>
                    </a:cubicBezTo>
                    <a:cubicBezTo>
                      <a:pt x="7062" y="6133"/>
                      <a:pt x="7014" y="6121"/>
                      <a:pt x="6978" y="6112"/>
                    </a:cubicBezTo>
                    <a:cubicBezTo>
                      <a:pt x="6960" y="6107"/>
                      <a:pt x="6945" y="6103"/>
                      <a:pt x="6934" y="6101"/>
                    </a:cubicBezTo>
                    <a:cubicBezTo>
                      <a:pt x="6930" y="6099"/>
                      <a:pt x="6927" y="6098"/>
                      <a:pt x="6924" y="6098"/>
                    </a:cubicBezTo>
                    <a:cubicBezTo>
                      <a:pt x="6922" y="6102"/>
                      <a:pt x="6918" y="6106"/>
                      <a:pt x="6914" y="6113"/>
                    </a:cubicBezTo>
                    <a:cubicBezTo>
                      <a:pt x="6894" y="6141"/>
                      <a:pt x="6858" y="6187"/>
                      <a:pt x="6850" y="6199"/>
                    </a:cubicBezTo>
                    <a:cubicBezTo>
                      <a:pt x="6912" y="6583"/>
                      <a:pt x="6912" y="6583"/>
                      <a:pt x="6912" y="6583"/>
                    </a:cubicBezTo>
                    <a:cubicBezTo>
                      <a:pt x="7049" y="6564"/>
                      <a:pt x="7234" y="6554"/>
                      <a:pt x="7308" y="6551"/>
                    </a:cubicBezTo>
                    <a:cubicBezTo>
                      <a:pt x="7276" y="6377"/>
                      <a:pt x="7276" y="6241"/>
                      <a:pt x="7276" y="6240"/>
                    </a:cubicBezTo>
                    <a:close/>
                    <a:moveTo>
                      <a:pt x="6841" y="6595"/>
                    </a:moveTo>
                    <a:cubicBezTo>
                      <a:pt x="6858" y="6592"/>
                      <a:pt x="6878" y="6588"/>
                      <a:pt x="6898" y="6585"/>
                    </a:cubicBezTo>
                    <a:cubicBezTo>
                      <a:pt x="6836" y="6203"/>
                      <a:pt x="6836" y="6203"/>
                      <a:pt x="6836" y="6203"/>
                    </a:cubicBezTo>
                    <a:cubicBezTo>
                      <a:pt x="6817" y="6199"/>
                      <a:pt x="6734" y="6188"/>
                      <a:pt x="6652" y="6176"/>
                    </a:cubicBezTo>
                    <a:cubicBezTo>
                      <a:pt x="6592" y="6168"/>
                      <a:pt x="6533" y="6160"/>
                      <a:pt x="6500" y="6155"/>
                    </a:cubicBezTo>
                    <a:cubicBezTo>
                      <a:pt x="6446" y="6655"/>
                      <a:pt x="6446" y="6655"/>
                      <a:pt x="6446" y="6655"/>
                    </a:cubicBezTo>
                    <a:cubicBezTo>
                      <a:pt x="6580" y="6640"/>
                      <a:pt x="6712" y="6622"/>
                      <a:pt x="6841" y="6595"/>
                    </a:cubicBezTo>
                    <a:close/>
                    <a:moveTo>
                      <a:pt x="6366" y="6729"/>
                    </a:moveTo>
                    <a:cubicBezTo>
                      <a:pt x="6329" y="6733"/>
                      <a:pt x="6281" y="6736"/>
                      <a:pt x="6228" y="6738"/>
                    </a:cubicBezTo>
                    <a:cubicBezTo>
                      <a:pt x="6197" y="7011"/>
                      <a:pt x="6197" y="7011"/>
                      <a:pt x="6197" y="7011"/>
                    </a:cubicBezTo>
                    <a:cubicBezTo>
                      <a:pt x="6241" y="7013"/>
                      <a:pt x="6371" y="7022"/>
                      <a:pt x="6396" y="7022"/>
                    </a:cubicBezTo>
                    <a:cubicBezTo>
                      <a:pt x="6397" y="7022"/>
                      <a:pt x="6398" y="7022"/>
                      <a:pt x="6398" y="7022"/>
                    </a:cubicBezTo>
                    <a:cubicBezTo>
                      <a:pt x="6399" y="7022"/>
                      <a:pt x="6399" y="7022"/>
                      <a:pt x="6399" y="7022"/>
                    </a:cubicBezTo>
                    <a:cubicBezTo>
                      <a:pt x="6403" y="7021"/>
                      <a:pt x="6447" y="7020"/>
                      <a:pt x="6518" y="7017"/>
                    </a:cubicBezTo>
                    <a:cubicBezTo>
                      <a:pt x="6518" y="6712"/>
                      <a:pt x="6518" y="6712"/>
                      <a:pt x="6518" y="6712"/>
                    </a:cubicBezTo>
                    <a:cubicBezTo>
                      <a:pt x="6467" y="6718"/>
                      <a:pt x="6416" y="6724"/>
                      <a:pt x="6366" y="6729"/>
                    </a:cubicBezTo>
                    <a:close/>
                    <a:moveTo>
                      <a:pt x="6101" y="5791"/>
                    </a:moveTo>
                    <a:cubicBezTo>
                      <a:pt x="6121" y="5593"/>
                      <a:pt x="6121" y="5593"/>
                      <a:pt x="6121" y="5593"/>
                    </a:cubicBezTo>
                    <a:cubicBezTo>
                      <a:pt x="5986" y="5582"/>
                      <a:pt x="5986" y="5582"/>
                      <a:pt x="5986" y="5582"/>
                    </a:cubicBezTo>
                    <a:cubicBezTo>
                      <a:pt x="5965" y="5781"/>
                      <a:pt x="5965" y="5781"/>
                      <a:pt x="5965" y="5781"/>
                    </a:cubicBezTo>
                    <a:lnTo>
                      <a:pt x="6101" y="5791"/>
                    </a:lnTo>
                    <a:close/>
                    <a:moveTo>
                      <a:pt x="5964" y="5794"/>
                    </a:moveTo>
                    <a:cubicBezTo>
                      <a:pt x="5949" y="5936"/>
                      <a:pt x="5949" y="5936"/>
                      <a:pt x="5949" y="5936"/>
                    </a:cubicBezTo>
                    <a:cubicBezTo>
                      <a:pt x="6084" y="5953"/>
                      <a:pt x="6084" y="5953"/>
                      <a:pt x="6084" y="5953"/>
                    </a:cubicBezTo>
                    <a:cubicBezTo>
                      <a:pt x="6099" y="5805"/>
                      <a:pt x="6099" y="5805"/>
                      <a:pt x="6099" y="5805"/>
                    </a:cubicBezTo>
                    <a:lnTo>
                      <a:pt x="5964" y="5794"/>
                    </a:lnTo>
                    <a:close/>
                    <a:moveTo>
                      <a:pt x="6514" y="5405"/>
                    </a:moveTo>
                    <a:cubicBezTo>
                      <a:pt x="6532" y="5228"/>
                      <a:pt x="6532" y="5228"/>
                      <a:pt x="6532" y="5228"/>
                    </a:cubicBezTo>
                    <a:cubicBezTo>
                      <a:pt x="6174" y="5200"/>
                      <a:pt x="6174" y="5200"/>
                      <a:pt x="6174" y="5200"/>
                    </a:cubicBezTo>
                    <a:cubicBezTo>
                      <a:pt x="6156" y="5377"/>
                      <a:pt x="6156" y="5377"/>
                      <a:pt x="6156" y="5377"/>
                    </a:cubicBezTo>
                    <a:lnTo>
                      <a:pt x="6514" y="5405"/>
                    </a:lnTo>
                    <a:close/>
                    <a:moveTo>
                      <a:pt x="6155" y="5391"/>
                    </a:moveTo>
                    <a:cubicBezTo>
                      <a:pt x="6136" y="5580"/>
                      <a:pt x="6136" y="5580"/>
                      <a:pt x="6136" y="5580"/>
                    </a:cubicBezTo>
                    <a:cubicBezTo>
                      <a:pt x="6492" y="5607"/>
                      <a:pt x="6492" y="5607"/>
                      <a:pt x="6492" y="5607"/>
                    </a:cubicBezTo>
                    <a:cubicBezTo>
                      <a:pt x="6512" y="5419"/>
                      <a:pt x="6512" y="5419"/>
                      <a:pt x="6512" y="5419"/>
                    </a:cubicBezTo>
                    <a:lnTo>
                      <a:pt x="6155" y="5391"/>
                    </a:lnTo>
                    <a:close/>
                    <a:moveTo>
                      <a:pt x="6175" y="5057"/>
                    </a:moveTo>
                    <a:cubicBezTo>
                      <a:pt x="6042" y="5043"/>
                      <a:pt x="6042" y="5043"/>
                      <a:pt x="6042" y="5043"/>
                    </a:cubicBezTo>
                    <a:cubicBezTo>
                      <a:pt x="6029" y="5175"/>
                      <a:pt x="6029" y="5175"/>
                      <a:pt x="6029" y="5175"/>
                    </a:cubicBezTo>
                    <a:cubicBezTo>
                      <a:pt x="6162" y="5186"/>
                      <a:pt x="6162" y="5186"/>
                      <a:pt x="6162" y="5186"/>
                    </a:cubicBezTo>
                    <a:lnTo>
                      <a:pt x="6175" y="5057"/>
                    </a:lnTo>
                    <a:close/>
                    <a:moveTo>
                      <a:pt x="6027" y="5189"/>
                    </a:moveTo>
                    <a:cubicBezTo>
                      <a:pt x="6009" y="5366"/>
                      <a:pt x="6009" y="5366"/>
                      <a:pt x="6009" y="5366"/>
                    </a:cubicBezTo>
                    <a:cubicBezTo>
                      <a:pt x="6143" y="5376"/>
                      <a:pt x="6143" y="5376"/>
                      <a:pt x="6143" y="5376"/>
                    </a:cubicBezTo>
                    <a:cubicBezTo>
                      <a:pt x="6161" y="5199"/>
                      <a:pt x="6161" y="5199"/>
                      <a:pt x="6161" y="5199"/>
                    </a:cubicBezTo>
                    <a:lnTo>
                      <a:pt x="6027" y="5189"/>
                    </a:lnTo>
                    <a:close/>
                    <a:moveTo>
                      <a:pt x="6007" y="5380"/>
                    </a:moveTo>
                    <a:cubicBezTo>
                      <a:pt x="5988" y="5568"/>
                      <a:pt x="5988" y="5568"/>
                      <a:pt x="5988" y="5568"/>
                    </a:cubicBezTo>
                    <a:cubicBezTo>
                      <a:pt x="6122" y="5579"/>
                      <a:pt x="6122" y="5579"/>
                      <a:pt x="6122" y="5579"/>
                    </a:cubicBezTo>
                    <a:cubicBezTo>
                      <a:pt x="6142" y="5390"/>
                      <a:pt x="6142" y="5390"/>
                      <a:pt x="6142" y="5390"/>
                    </a:cubicBezTo>
                    <a:lnTo>
                      <a:pt x="6007" y="5380"/>
                    </a:lnTo>
                    <a:close/>
                    <a:moveTo>
                      <a:pt x="6114" y="5792"/>
                    </a:moveTo>
                    <a:cubicBezTo>
                      <a:pt x="6469" y="5819"/>
                      <a:pt x="6469" y="5819"/>
                      <a:pt x="6469" y="5819"/>
                    </a:cubicBezTo>
                    <a:cubicBezTo>
                      <a:pt x="6491" y="5621"/>
                      <a:pt x="6491" y="5621"/>
                      <a:pt x="6491" y="5621"/>
                    </a:cubicBezTo>
                    <a:cubicBezTo>
                      <a:pt x="6134" y="5594"/>
                      <a:pt x="6134" y="5594"/>
                      <a:pt x="6134" y="5594"/>
                    </a:cubicBezTo>
                    <a:lnTo>
                      <a:pt x="6114" y="5792"/>
                    </a:lnTo>
                    <a:close/>
                    <a:moveTo>
                      <a:pt x="6928" y="5742"/>
                    </a:moveTo>
                    <a:cubicBezTo>
                      <a:pt x="6894" y="5740"/>
                      <a:pt x="6639" y="5723"/>
                      <a:pt x="6546" y="5716"/>
                    </a:cubicBezTo>
                    <a:cubicBezTo>
                      <a:pt x="6501" y="6141"/>
                      <a:pt x="6501" y="6141"/>
                      <a:pt x="6501" y="6141"/>
                    </a:cubicBezTo>
                    <a:cubicBezTo>
                      <a:pt x="6580" y="6152"/>
                      <a:pt x="6805" y="6183"/>
                      <a:pt x="6839" y="6189"/>
                    </a:cubicBezTo>
                    <a:cubicBezTo>
                      <a:pt x="6845" y="6182"/>
                      <a:pt x="6860" y="6162"/>
                      <a:pt x="6876" y="6142"/>
                    </a:cubicBezTo>
                    <a:cubicBezTo>
                      <a:pt x="6885" y="6129"/>
                      <a:pt x="6895" y="6115"/>
                      <a:pt x="6902" y="6105"/>
                    </a:cubicBezTo>
                    <a:cubicBezTo>
                      <a:pt x="6906" y="6100"/>
                      <a:pt x="6909" y="6096"/>
                      <a:pt x="6911" y="6092"/>
                    </a:cubicBezTo>
                    <a:cubicBezTo>
                      <a:pt x="6911" y="6091"/>
                      <a:pt x="6912" y="6090"/>
                      <a:pt x="6912" y="6090"/>
                    </a:cubicBezTo>
                    <a:cubicBezTo>
                      <a:pt x="6912" y="6090"/>
                      <a:pt x="6912" y="6089"/>
                      <a:pt x="6912" y="6089"/>
                    </a:cubicBezTo>
                    <a:cubicBezTo>
                      <a:pt x="6911" y="6086"/>
                      <a:pt x="6911" y="6082"/>
                      <a:pt x="6911" y="6074"/>
                    </a:cubicBezTo>
                    <a:cubicBezTo>
                      <a:pt x="6911" y="6029"/>
                      <a:pt x="6919" y="5887"/>
                      <a:pt x="6928" y="5742"/>
                    </a:cubicBezTo>
                    <a:close/>
                    <a:moveTo>
                      <a:pt x="5980" y="5185"/>
                    </a:moveTo>
                    <a:cubicBezTo>
                      <a:pt x="5973" y="5243"/>
                      <a:pt x="5965" y="5302"/>
                      <a:pt x="5957" y="5362"/>
                    </a:cubicBezTo>
                    <a:cubicBezTo>
                      <a:pt x="5996" y="5365"/>
                      <a:pt x="5996" y="5365"/>
                      <a:pt x="5996" y="5365"/>
                    </a:cubicBezTo>
                    <a:cubicBezTo>
                      <a:pt x="6014" y="5188"/>
                      <a:pt x="6014" y="5188"/>
                      <a:pt x="6014" y="5188"/>
                    </a:cubicBezTo>
                    <a:lnTo>
                      <a:pt x="5980" y="5185"/>
                    </a:lnTo>
                    <a:close/>
                    <a:moveTo>
                      <a:pt x="5955" y="5376"/>
                    </a:moveTo>
                    <a:cubicBezTo>
                      <a:pt x="5947" y="5438"/>
                      <a:pt x="5939" y="5501"/>
                      <a:pt x="5931" y="5564"/>
                    </a:cubicBezTo>
                    <a:cubicBezTo>
                      <a:pt x="5974" y="5567"/>
                      <a:pt x="5974" y="5567"/>
                      <a:pt x="5974" y="5567"/>
                    </a:cubicBezTo>
                    <a:cubicBezTo>
                      <a:pt x="5994" y="5379"/>
                      <a:pt x="5994" y="5379"/>
                      <a:pt x="5994" y="5379"/>
                    </a:cubicBezTo>
                    <a:lnTo>
                      <a:pt x="5955" y="5376"/>
                    </a:lnTo>
                    <a:close/>
                    <a:moveTo>
                      <a:pt x="5929" y="5578"/>
                    </a:moveTo>
                    <a:cubicBezTo>
                      <a:pt x="5921" y="5644"/>
                      <a:pt x="5912" y="5710"/>
                      <a:pt x="5903" y="5776"/>
                    </a:cubicBezTo>
                    <a:cubicBezTo>
                      <a:pt x="5952" y="5780"/>
                      <a:pt x="5952" y="5780"/>
                      <a:pt x="5952" y="5780"/>
                    </a:cubicBezTo>
                    <a:cubicBezTo>
                      <a:pt x="5973" y="5581"/>
                      <a:pt x="5973" y="5581"/>
                      <a:pt x="5973" y="5581"/>
                    </a:cubicBezTo>
                    <a:lnTo>
                      <a:pt x="5929" y="5578"/>
                    </a:lnTo>
                    <a:close/>
                    <a:moveTo>
                      <a:pt x="5902" y="5790"/>
                    </a:moveTo>
                    <a:cubicBezTo>
                      <a:pt x="5882" y="5937"/>
                      <a:pt x="5864" y="6079"/>
                      <a:pt x="5847" y="6207"/>
                    </a:cubicBezTo>
                    <a:cubicBezTo>
                      <a:pt x="6423" y="6251"/>
                      <a:pt x="6423" y="6251"/>
                      <a:pt x="6423" y="6251"/>
                    </a:cubicBezTo>
                    <a:cubicBezTo>
                      <a:pt x="6444" y="6055"/>
                      <a:pt x="6444" y="6055"/>
                      <a:pt x="6444" y="6055"/>
                    </a:cubicBezTo>
                    <a:cubicBezTo>
                      <a:pt x="5874" y="6011"/>
                      <a:pt x="5874" y="6011"/>
                      <a:pt x="5874" y="6011"/>
                    </a:cubicBezTo>
                    <a:cubicBezTo>
                      <a:pt x="5875" y="5997"/>
                      <a:pt x="5875" y="5997"/>
                      <a:pt x="5875" y="5997"/>
                    </a:cubicBezTo>
                    <a:cubicBezTo>
                      <a:pt x="6446" y="6041"/>
                      <a:pt x="6446" y="6041"/>
                      <a:pt x="6446" y="6041"/>
                    </a:cubicBezTo>
                    <a:cubicBezTo>
                      <a:pt x="6468" y="5833"/>
                      <a:pt x="6468" y="5833"/>
                      <a:pt x="6468" y="5833"/>
                    </a:cubicBezTo>
                    <a:cubicBezTo>
                      <a:pt x="6113" y="5806"/>
                      <a:pt x="6113" y="5806"/>
                      <a:pt x="6113" y="5806"/>
                    </a:cubicBezTo>
                    <a:cubicBezTo>
                      <a:pt x="6096" y="5967"/>
                      <a:pt x="6096" y="5967"/>
                      <a:pt x="6096" y="5967"/>
                    </a:cubicBezTo>
                    <a:cubicBezTo>
                      <a:pt x="5935" y="5948"/>
                      <a:pt x="5935" y="5948"/>
                      <a:pt x="5935" y="5948"/>
                    </a:cubicBezTo>
                    <a:cubicBezTo>
                      <a:pt x="5951" y="5793"/>
                      <a:pt x="5951" y="5793"/>
                      <a:pt x="5951" y="5793"/>
                    </a:cubicBezTo>
                    <a:lnTo>
                      <a:pt x="5902" y="5790"/>
                    </a:lnTo>
                    <a:close/>
                    <a:moveTo>
                      <a:pt x="5845" y="6221"/>
                    </a:moveTo>
                    <a:cubicBezTo>
                      <a:pt x="5836" y="6293"/>
                      <a:pt x="5827" y="6360"/>
                      <a:pt x="5819" y="6419"/>
                    </a:cubicBezTo>
                    <a:cubicBezTo>
                      <a:pt x="6401" y="6464"/>
                      <a:pt x="6401" y="6464"/>
                      <a:pt x="6401" y="6464"/>
                    </a:cubicBezTo>
                    <a:cubicBezTo>
                      <a:pt x="6422" y="6265"/>
                      <a:pt x="6422" y="6265"/>
                      <a:pt x="6422" y="6265"/>
                    </a:cubicBezTo>
                    <a:lnTo>
                      <a:pt x="5845" y="6221"/>
                    </a:lnTo>
                    <a:close/>
                    <a:moveTo>
                      <a:pt x="5817" y="6433"/>
                    </a:moveTo>
                    <a:cubicBezTo>
                      <a:pt x="5802" y="6550"/>
                      <a:pt x="5790" y="6638"/>
                      <a:pt x="5785" y="6680"/>
                    </a:cubicBezTo>
                    <a:cubicBezTo>
                      <a:pt x="5808" y="6680"/>
                      <a:pt x="5901" y="6680"/>
                      <a:pt x="6009" y="6678"/>
                    </a:cubicBezTo>
                    <a:cubicBezTo>
                      <a:pt x="6134" y="6676"/>
                      <a:pt x="6280" y="6672"/>
                      <a:pt x="6359" y="6664"/>
                    </a:cubicBezTo>
                    <a:cubicBezTo>
                      <a:pt x="6366" y="6663"/>
                      <a:pt x="6373" y="6662"/>
                      <a:pt x="6380" y="6662"/>
                    </a:cubicBezTo>
                    <a:cubicBezTo>
                      <a:pt x="6399" y="6478"/>
                      <a:pt x="6399" y="6478"/>
                      <a:pt x="6399" y="6478"/>
                    </a:cubicBezTo>
                    <a:lnTo>
                      <a:pt x="5817" y="6433"/>
                    </a:lnTo>
                    <a:close/>
                    <a:moveTo>
                      <a:pt x="6050" y="7388"/>
                    </a:moveTo>
                    <a:cubicBezTo>
                      <a:pt x="6093" y="7426"/>
                      <a:pt x="6093" y="7426"/>
                      <a:pt x="6093" y="7426"/>
                    </a:cubicBezTo>
                    <a:cubicBezTo>
                      <a:pt x="6093" y="7419"/>
                      <a:pt x="6093" y="7419"/>
                      <a:pt x="6093" y="7419"/>
                    </a:cubicBezTo>
                    <a:cubicBezTo>
                      <a:pt x="6093" y="7419"/>
                      <a:pt x="6180" y="7419"/>
                      <a:pt x="6307" y="7419"/>
                    </a:cubicBezTo>
                    <a:cubicBezTo>
                      <a:pt x="6392" y="7036"/>
                      <a:pt x="6392" y="7036"/>
                      <a:pt x="6392" y="7036"/>
                    </a:cubicBezTo>
                    <a:cubicBezTo>
                      <a:pt x="6354" y="7035"/>
                      <a:pt x="6211" y="7025"/>
                      <a:pt x="6185" y="7024"/>
                    </a:cubicBezTo>
                    <a:cubicBezTo>
                      <a:pt x="6132" y="7109"/>
                      <a:pt x="6132" y="7109"/>
                      <a:pt x="6132" y="7109"/>
                    </a:cubicBezTo>
                    <a:lnTo>
                      <a:pt x="6050" y="7388"/>
                    </a:lnTo>
                    <a:close/>
                    <a:moveTo>
                      <a:pt x="6108" y="7484"/>
                    </a:moveTo>
                    <a:cubicBezTo>
                      <a:pt x="6122" y="7656"/>
                      <a:pt x="6122" y="7656"/>
                      <a:pt x="6122" y="7656"/>
                    </a:cubicBezTo>
                    <a:cubicBezTo>
                      <a:pt x="6346" y="7668"/>
                      <a:pt x="6346" y="7668"/>
                      <a:pt x="6346" y="7668"/>
                    </a:cubicBezTo>
                    <a:cubicBezTo>
                      <a:pt x="6335" y="7484"/>
                      <a:pt x="6335" y="7484"/>
                      <a:pt x="6335" y="7484"/>
                    </a:cubicBezTo>
                    <a:cubicBezTo>
                      <a:pt x="6225" y="7484"/>
                      <a:pt x="6140" y="7484"/>
                      <a:pt x="6108" y="7484"/>
                    </a:cubicBezTo>
                    <a:close/>
                    <a:moveTo>
                      <a:pt x="7318" y="5715"/>
                    </a:moveTo>
                    <a:cubicBezTo>
                      <a:pt x="6947" y="5657"/>
                      <a:pt x="6947" y="5657"/>
                      <a:pt x="6947" y="5657"/>
                    </a:cubicBezTo>
                    <a:cubicBezTo>
                      <a:pt x="6937" y="5828"/>
                      <a:pt x="6925" y="6021"/>
                      <a:pt x="6925" y="6074"/>
                    </a:cubicBezTo>
                    <a:cubicBezTo>
                      <a:pt x="6925" y="6079"/>
                      <a:pt x="6925" y="6081"/>
                      <a:pt x="6925" y="6084"/>
                    </a:cubicBezTo>
                    <a:cubicBezTo>
                      <a:pt x="6941" y="6088"/>
                      <a:pt x="7032" y="6111"/>
                      <a:pt x="7120" y="6133"/>
                    </a:cubicBezTo>
                    <a:cubicBezTo>
                      <a:pt x="7185" y="6148"/>
                      <a:pt x="7248" y="6164"/>
                      <a:pt x="7281" y="6172"/>
                    </a:cubicBezTo>
                    <a:lnTo>
                      <a:pt x="7318" y="5715"/>
                    </a:lnTo>
                    <a:close/>
                    <a:moveTo>
                      <a:pt x="6952" y="5371"/>
                    </a:moveTo>
                    <a:cubicBezTo>
                      <a:pt x="6592" y="5289"/>
                      <a:pt x="6592" y="5289"/>
                      <a:pt x="6592" y="5289"/>
                    </a:cubicBezTo>
                    <a:cubicBezTo>
                      <a:pt x="6548" y="5702"/>
                      <a:pt x="6548" y="5702"/>
                      <a:pt x="6548" y="5702"/>
                    </a:cubicBezTo>
                    <a:cubicBezTo>
                      <a:pt x="6642" y="5709"/>
                      <a:pt x="6899" y="5726"/>
                      <a:pt x="6929" y="5728"/>
                    </a:cubicBezTo>
                    <a:cubicBezTo>
                      <a:pt x="6939" y="5565"/>
                      <a:pt x="6950" y="5403"/>
                      <a:pt x="6952" y="5371"/>
                    </a:cubicBezTo>
                    <a:close/>
                    <a:moveTo>
                      <a:pt x="6956" y="5357"/>
                    </a:moveTo>
                    <a:cubicBezTo>
                      <a:pt x="7109" y="5098"/>
                      <a:pt x="7109" y="5098"/>
                      <a:pt x="7109" y="5098"/>
                    </a:cubicBezTo>
                    <a:cubicBezTo>
                      <a:pt x="7107" y="4825"/>
                      <a:pt x="7107" y="4825"/>
                      <a:pt x="7107" y="4825"/>
                    </a:cubicBezTo>
                    <a:cubicBezTo>
                      <a:pt x="7043" y="4814"/>
                      <a:pt x="6758" y="4754"/>
                      <a:pt x="6651" y="4731"/>
                    </a:cubicBezTo>
                    <a:cubicBezTo>
                      <a:pt x="6593" y="5275"/>
                      <a:pt x="6593" y="5275"/>
                      <a:pt x="6593" y="5275"/>
                    </a:cubicBezTo>
                    <a:lnTo>
                      <a:pt x="6956" y="5357"/>
                    </a:lnTo>
                    <a:close/>
                    <a:moveTo>
                      <a:pt x="7173" y="4581"/>
                    </a:moveTo>
                    <a:cubicBezTo>
                      <a:pt x="7171" y="4580"/>
                      <a:pt x="7169" y="4579"/>
                      <a:pt x="7166" y="4578"/>
                    </a:cubicBezTo>
                    <a:cubicBezTo>
                      <a:pt x="7124" y="4555"/>
                      <a:pt x="6987" y="4470"/>
                      <a:pt x="6972" y="4460"/>
                    </a:cubicBezTo>
                    <a:cubicBezTo>
                      <a:pt x="6684" y="4427"/>
                      <a:pt x="6684" y="4427"/>
                      <a:pt x="6684" y="4427"/>
                    </a:cubicBezTo>
                    <a:cubicBezTo>
                      <a:pt x="6653" y="4717"/>
                      <a:pt x="6653" y="4717"/>
                      <a:pt x="6653" y="4717"/>
                    </a:cubicBezTo>
                    <a:cubicBezTo>
                      <a:pt x="6699" y="4727"/>
                      <a:pt x="6779" y="4744"/>
                      <a:pt x="6861" y="4761"/>
                    </a:cubicBezTo>
                    <a:cubicBezTo>
                      <a:pt x="6965" y="4783"/>
                      <a:pt x="7071" y="4804"/>
                      <a:pt x="7107" y="4811"/>
                    </a:cubicBezTo>
                    <a:cubicBezTo>
                      <a:pt x="7106" y="4773"/>
                      <a:pt x="7106" y="4773"/>
                      <a:pt x="7106" y="4773"/>
                    </a:cubicBezTo>
                    <a:cubicBezTo>
                      <a:pt x="7107" y="4772"/>
                      <a:pt x="7107" y="4772"/>
                      <a:pt x="7107" y="4772"/>
                    </a:cubicBezTo>
                    <a:cubicBezTo>
                      <a:pt x="7107" y="4771"/>
                      <a:pt x="7135" y="4692"/>
                      <a:pt x="7173" y="4581"/>
                    </a:cubicBezTo>
                    <a:close/>
                    <a:moveTo>
                      <a:pt x="7178" y="4568"/>
                    </a:moveTo>
                    <a:cubicBezTo>
                      <a:pt x="7201" y="4502"/>
                      <a:pt x="7227" y="4427"/>
                      <a:pt x="7253" y="4351"/>
                    </a:cubicBezTo>
                    <a:cubicBezTo>
                      <a:pt x="7273" y="4293"/>
                      <a:pt x="7293" y="4236"/>
                      <a:pt x="7311" y="4183"/>
                    </a:cubicBezTo>
                    <a:cubicBezTo>
                      <a:pt x="7062" y="4177"/>
                      <a:pt x="7062" y="4177"/>
                      <a:pt x="7062" y="4177"/>
                    </a:cubicBezTo>
                    <a:cubicBezTo>
                      <a:pt x="6728" y="4013"/>
                      <a:pt x="6728" y="4013"/>
                      <a:pt x="6728" y="4013"/>
                    </a:cubicBezTo>
                    <a:cubicBezTo>
                      <a:pt x="6685" y="4413"/>
                      <a:pt x="6685" y="4413"/>
                      <a:pt x="6685" y="4413"/>
                    </a:cubicBezTo>
                    <a:cubicBezTo>
                      <a:pt x="6977" y="4447"/>
                      <a:pt x="6977" y="4447"/>
                      <a:pt x="6977" y="4447"/>
                    </a:cubicBezTo>
                    <a:cubicBezTo>
                      <a:pt x="6979" y="4448"/>
                      <a:pt x="6979" y="4448"/>
                      <a:pt x="6979" y="4448"/>
                    </a:cubicBezTo>
                    <a:cubicBezTo>
                      <a:pt x="6979" y="4448"/>
                      <a:pt x="7028" y="4479"/>
                      <a:pt x="7078" y="4509"/>
                    </a:cubicBezTo>
                    <a:cubicBezTo>
                      <a:pt x="7103" y="4525"/>
                      <a:pt x="7129" y="4540"/>
                      <a:pt x="7148" y="4552"/>
                    </a:cubicBezTo>
                    <a:cubicBezTo>
                      <a:pt x="7158" y="4557"/>
                      <a:pt x="7167" y="4562"/>
                      <a:pt x="7173" y="4565"/>
                    </a:cubicBezTo>
                    <a:cubicBezTo>
                      <a:pt x="7175" y="4567"/>
                      <a:pt x="7176" y="4567"/>
                      <a:pt x="7178" y="4568"/>
                    </a:cubicBezTo>
                    <a:close/>
                    <a:moveTo>
                      <a:pt x="6732" y="3348"/>
                    </a:moveTo>
                    <a:cubicBezTo>
                      <a:pt x="6684" y="3345"/>
                      <a:pt x="6576" y="3337"/>
                      <a:pt x="6469" y="3329"/>
                    </a:cubicBezTo>
                    <a:cubicBezTo>
                      <a:pt x="6453" y="3433"/>
                      <a:pt x="6453" y="3433"/>
                      <a:pt x="6453" y="3433"/>
                    </a:cubicBezTo>
                    <a:cubicBezTo>
                      <a:pt x="6508" y="3390"/>
                      <a:pt x="6508" y="3390"/>
                      <a:pt x="6508" y="3390"/>
                    </a:cubicBezTo>
                    <a:cubicBezTo>
                      <a:pt x="6625" y="3524"/>
                      <a:pt x="6625" y="3524"/>
                      <a:pt x="6625" y="3524"/>
                    </a:cubicBezTo>
                    <a:cubicBezTo>
                      <a:pt x="6494" y="3630"/>
                      <a:pt x="6494" y="3630"/>
                      <a:pt x="6494" y="3630"/>
                    </a:cubicBezTo>
                    <a:cubicBezTo>
                      <a:pt x="6434" y="3561"/>
                      <a:pt x="6434" y="3561"/>
                      <a:pt x="6434" y="3561"/>
                    </a:cubicBezTo>
                    <a:cubicBezTo>
                      <a:pt x="6417" y="3673"/>
                      <a:pt x="6417" y="3673"/>
                      <a:pt x="6417" y="3673"/>
                    </a:cubicBezTo>
                    <a:cubicBezTo>
                      <a:pt x="6697" y="3676"/>
                      <a:pt x="6697" y="3676"/>
                      <a:pt x="6697" y="3676"/>
                    </a:cubicBezTo>
                    <a:lnTo>
                      <a:pt x="6732" y="3348"/>
                    </a:lnTo>
                    <a:close/>
                    <a:moveTo>
                      <a:pt x="6434" y="3464"/>
                    </a:moveTo>
                    <a:cubicBezTo>
                      <a:pt x="6427" y="3470"/>
                      <a:pt x="6427" y="3470"/>
                      <a:pt x="6427" y="3470"/>
                    </a:cubicBezTo>
                    <a:cubicBezTo>
                      <a:pt x="6366" y="3399"/>
                      <a:pt x="6366" y="3399"/>
                      <a:pt x="6366" y="3399"/>
                    </a:cubicBezTo>
                    <a:cubicBezTo>
                      <a:pt x="6260" y="3492"/>
                      <a:pt x="6260" y="3492"/>
                      <a:pt x="6260" y="3492"/>
                    </a:cubicBezTo>
                    <a:cubicBezTo>
                      <a:pt x="6353" y="3598"/>
                      <a:pt x="6353" y="3598"/>
                      <a:pt x="6353" y="3598"/>
                    </a:cubicBezTo>
                    <a:cubicBezTo>
                      <a:pt x="6424" y="3536"/>
                      <a:pt x="6424" y="3536"/>
                      <a:pt x="6424" y="3536"/>
                    </a:cubicBezTo>
                    <a:lnTo>
                      <a:pt x="6434" y="3464"/>
                    </a:lnTo>
                    <a:close/>
                    <a:moveTo>
                      <a:pt x="6495" y="3612"/>
                    </a:moveTo>
                    <a:cubicBezTo>
                      <a:pt x="6606" y="3522"/>
                      <a:pt x="6606" y="3522"/>
                      <a:pt x="6606" y="3522"/>
                    </a:cubicBezTo>
                    <a:cubicBezTo>
                      <a:pt x="6507" y="3408"/>
                      <a:pt x="6507" y="3408"/>
                      <a:pt x="6507" y="3408"/>
                    </a:cubicBezTo>
                    <a:cubicBezTo>
                      <a:pt x="6450" y="3452"/>
                      <a:pt x="6450" y="3452"/>
                      <a:pt x="6450" y="3452"/>
                    </a:cubicBezTo>
                    <a:cubicBezTo>
                      <a:pt x="6436" y="3544"/>
                      <a:pt x="6436" y="3544"/>
                      <a:pt x="6436" y="3544"/>
                    </a:cubicBezTo>
                    <a:lnTo>
                      <a:pt x="6495" y="3612"/>
                    </a:lnTo>
                    <a:close/>
                    <a:moveTo>
                      <a:pt x="6455" y="3328"/>
                    </a:moveTo>
                    <a:cubicBezTo>
                      <a:pt x="6355" y="3320"/>
                      <a:pt x="6257" y="3312"/>
                      <a:pt x="6211" y="3308"/>
                    </a:cubicBezTo>
                    <a:cubicBezTo>
                      <a:pt x="6141" y="3669"/>
                      <a:pt x="6141" y="3669"/>
                      <a:pt x="6141" y="3669"/>
                    </a:cubicBezTo>
                    <a:cubicBezTo>
                      <a:pt x="6403" y="3673"/>
                      <a:pt x="6403" y="3673"/>
                      <a:pt x="6403" y="3673"/>
                    </a:cubicBezTo>
                    <a:cubicBezTo>
                      <a:pt x="6420" y="3556"/>
                      <a:pt x="6420" y="3556"/>
                      <a:pt x="6420" y="3556"/>
                    </a:cubicBezTo>
                    <a:cubicBezTo>
                      <a:pt x="6351" y="3617"/>
                      <a:pt x="6351" y="3617"/>
                      <a:pt x="6351" y="3617"/>
                    </a:cubicBezTo>
                    <a:cubicBezTo>
                      <a:pt x="6241" y="3491"/>
                      <a:pt x="6241" y="3491"/>
                      <a:pt x="6241" y="3491"/>
                    </a:cubicBezTo>
                    <a:cubicBezTo>
                      <a:pt x="6367" y="3381"/>
                      <a:pt x="6367" y="3381"/>
                      <a:pt x="6367" y="3381"/>
                    </a:cubicBezTo>
                    <a:cubicBezTo>
                      <a:pt x="6429" y="3452"/>
                      <a:pt x="6429" y="3452"/>
                      <a:pt x="6429" y="3452"/>
                    </a:cubicBezTo>
                    <a:cubicBezTo>
                      <a:pt x="6437" y="3445"/>
                      <a:pt x="6437" y="3445"/>
                      <a:pt x="6437" y="3445"/>
                    </a:cubicBezTo>
                    <a:lnTo>
                      <a:pt x="6455" y="3328"/>
                    </a:lnTo>
                    <a:close/>
                    <a:moveTo>
                      <a:pt x="6128" y="3735"/>
                    </a:moveTo>
                    <a:cubicBezTo>
                      <a:pt x="6031" y="4220"/>
                      <a:pt x="6031" y="4220"/>
                      <a:pt x="6031" y="4220"/>
                    </a:cubicBezTo>
                    <a:cubicBezTo>
                      <a:pt x="5954" y="4447"/>
                      <a:pt x="5954" y="4447"/>
                      <a:pt x="5954" y="4447"/>
                    </a:cubicBezTo>
                    <a:cubicBezTo>
                      <a:pt x="5697" y="6715"/>
                      <a:pt x="5697" y="6715"/>
                      <a:pt x="5697" y="6715"/>
                    </a:cubicBezTo>
                    <a:cubicBezTo>
                      <a:pt x="5692" y="6735"/>
                      <a:pt x="5692" y="6735"/>
                      <a:pt x="5692" y="6735"/>
                    </a:cubicBezTo>
                    <a:cubicBezTo>
                      <a:pt x="5768" y="6680"/>
                      <a:pt x="5768" y="6680"/>
                      <a:pt x="5768" y="6680"/>
                    </a:cubicBezTo>
                    <a:cubicBezTo>
                      <a:pt x="5770" y="6680"/>
                      <a:pt x="5770" y="6680"/>
                      <a:pt x="5770" y="6680"/>
                    </a:cubicBezTo>
                    <a:cubicBezTo>
                      <a:pt x="5777" y="6632"/>
                      <a:pt x="5791" y="6524"/>
                      <a:pt x="5810" y="6378"/>
                    </a:cubicBezTo>
                    <a:cubicBezTo>
                      <a:pt x="5852" y="6063"/>
                      <a:pt x="5915" y="5577"/>
                      <a:pt x="5966" y="5184"/>
                    </a:cubicBezTo>
                    <a:cubicBezTo>
                      <a:pt x="5964" y="5184"/>
                      <a:pt x="5964" y="5184"/>
                      <a:pt x="5964" y="5184"/>
                    </a:cubicBezTo>
                    <a:cubicBezTo>
                      <a:pt x="5965" y="5170"/>
                      <a:pt x="5965" y="5170"/>
                      <a:pt x="5965" y="5170"/>
                    </a:cubicBezTo>
                    <a:cubicBezTo>
                      <a:pt x="5968" y="5171"/>
                      <a:pt x="5968" y="5171"/>
                      <a:pt x="5968" y="5171"/>
                    </a:cubicBezTo>
                    <a:cubicBezTo>
                      <a:pt x="5988" y="5012"/>
                      <a:pt x="6006" y="4869"/>
                      <a:pt x="6020" y="4760"/>
                    </a:cubicBezTo>
                    <a:cubicBezTo>
                      <a:pt x="6017" y="4759"/>
                      <a:pt x="6017" y="4759"/>
                      <a:pt x="6017" y="4759"/>
                    </a:cubicBezTo>
                    <a:cubicBezTo>
                      <a:pt x="6018" y="4745"/>
                      <a:pt x="6018" y="4745"/>
                      <a:pt x="6018" y="4745"/>
                    </a:cubicBezTo>
                    <a:cubicBezTo>
                      <a:pt x="6021" y="4746"/>
                      <a:pt x="6021" y="4746"/>
                      <a:pt x="6021" y="4746"/>
                    </a:cubicBezTo>
                    <a:cubicBezTo>
                      <a:pt x="6035" y="4632"/>
                      <a:pt x="6044" y="4558"/>
                      <a:pt x="6044" y="4545"/>
                    </a:cubicBezTo>
                    <a:cubicBezTo>
                      <a:pt x="6044" y="4544"/>
                      <a:pt x="6044" y="4544"/>
                      <a:pt x="6044" y="4543"/>
                    </a:cubicBezTo>
                    <a:cubicBezTo>
                      <a:pt x="6044" y="4541"/>
                      <a:pt x="6045" y="4539"/>
                      <a:pt x="6046" y="4538"/>
                    </a:cubicBezTo>
                    <a:cubicBezTo>
                      <a:pt x="6046" y="4538"/>
                      <a:pt x="6046" y="4538"/>
                      <a:pt x="6047" y="4538"/>
                    </a:cubicBezTo>
                    <a:cubicBezTo>
                      <a:pt x="6047" y="4538"/>
                      <a:pt x="6047" y="4538"/>
                      <a:pt x="6047" y="4537"/>
                    </a:cubicBezTo>
                    <a:cubicBezTo>
                      <a:pt x="6048" y="4535"/>
                      <a:pt x="6054" y="4519"/>
                      <a:pt x="6060" y="4495"/>
                    </a:cubicBezTo>
                    <a:cubicBezTo>
                      <a:pt x="6070" y="4457"/>
                      <a:pt x="6082" y="4398"/>
                      <a:pt x="6097" y="4329"/>
                    </a:cubicBezTo>
                    <a:cubicBezTo>
                      <a:pt x="6098" y="4317"/>
                      <a:pt x="6098" y="4317"/>
                      <a:pt x="6098" y="4317"/>
                    </a:cubicBezTo>
                    <a:cubicBezTo>
                      <a:pt x="6098" y="4317"/>
                      <a:pt x="6098" y="4317"/>
                      <a:pt x="6099" y="4318"/>
                    </a:cubicBezTo>
                    <a:cubicBezTo>
                      <a:pt x="6117" y="4230"/>
                      <a:pt x="6137" y="4128"/>
                      <a:pt x="6155" y="4033"/>
                    </a:cubicBezTo>
                    <a:cubicBezTo>
                      <a:pt x="6179" y="3906"/>
                      <a:pt x="6200" y="3791"/>
                      <a:pt x="6210" y="3736"/>
                    </a:cubicBezTo>
                    <a:lnTo>
                      <a:pt x="6128" y="3735"/>
                    </a:lnTo>
                    <a:close/>
                    <a:moveTo>
                      <a:pt x="5893" y="3636"/>
                    </a:moveTo>
                    <a:cubicBezTo>
                      <a:pt x="5911" y="3399"/>
                      <a:pt x="5911" y="3399"/>
                      <a:pt x="5911" y="3399"/>
                    </a:cubicBezTo>
                    <a:cubicBezTo>
                      <a:pt x="5902" y="3399"/>
                      <a:pt x="5889" y="3399"/>
                      <a:pt x="5874" y="3399"/>
                    </a:cubicBezTo>
                    <a:cubicBezTo>
                      <a:pt x="5739" y="3399"/>
                      <a:pt x="5413" y="3401"/>
                      <a:pt x="5397" y="3402"/>
                    </a:cubicBezTo>
                    <a:cubicBezTo>
                      <a:pt x="5054" y="3470"/>
                      <a:pt x="5054" y="3470"/>
                      <a:pt x="5054" y="3470"/>
                    </a:cubicBezTo>
                    <a:cubicBezTo>
                      <a:pt x="5059" y="3514"/>
                      <a:pt x="5065" y="3559"/>
                      <a:pt x="5070" y="3604"/>
                    </a:cubicBezTo>
                    <a:cubicBezTo>
                      <a:pt x="5074" y="3639"/>
                      <a:pt x="5078" y="3675"/>
                      <a:pt x="5083" y="3710"/>
                    </a:cubicBezTo>
                    <a:cubicBezTo>
                      <a:pt x="5187" y="3687"/>
                      <a:pt x="5542" y="3611"/>
                      <a:pt x="5552" y="3611"/>
                    </a:cubicBezTo>
                    <a:cubicBezTo>
                      <a:pt x="5560" y="3611"/>
                      <a:pt x="5820" y="3631"/>
                      <a:pt x="5893" y="3636"/>
                    </a:cubicBezTo>
                    <a:close/>
                    <a:moveTo>
                      <a:pt x="5912" y="3385"/>
                    </a:moveTo>
                    <a:cubicBezTo>
                      <a:pt x="5934" y="3097"/>
                      <a:pt x="5934" y="3097"/>
                      <a:pt x="5934" y="3097"/>
                    </a:cubicBezTo>
                    <a:cubicBezTo>
                      <a:pt x="5890" y="3097"/>
                      <a:pt x="5785" y="3099"/>
                      <a:pt x="5680" y="3102"/>
                    </a:cubicBezTo>
                    <a:cubicBezTo>
                      <a:pt x="5611" y="3103"/>
                      <a:pt x="5541" y="3104"/>
                      <a:pt x="5489" y="3106"/>
                    </a:cubicBezTo>
                    <a:cubicBezTo>
                      <a:pt x="5462" y="3106"/>
                      <a:pt x="5440" y="3107"/>
                      <a:pt x="5424" y="3107"/>
                    </a:cubicBezTo>
                    <a:cubicBezTo>
                      <a:pt x="5417" y="3108"/>
                      <a:pt x="5410" y="3108"/>
                      <a:pt x="5406" y="3108"/>
                    </a:cubicBezTo>
                    <a:cubicBezTo>
                      <a:pt x="5404" y="3108"/>
                      <a:pt x="5402" y="3108"/>
                      <a:pt x="5401" y="3108"/>
                    </a:cubicBezTo>
                    <a:cubicBezTo>
                      <a:pt x="5400" y="3108"/>
                      <a:pt x="5400" y="3108"/>
                      <a:pt x="5399" y="3108"/>
                    </a:cubicBezTo>
                    <a:cubicBezTo>
                      <a:pt x="5399" y="3108"/>
                      <a:pt x="5399" y="3108"/>
                      <a:pt x="5399" y="3108"/>
                    </a:cubicBezTo>
                    <a:cubicBezTo>
                      <a:pt x="5387" y="3111"/>
                      <a:pt x="5105" y="3170"/>
                      <a:pt x="5021" y="3187"/>
                    </a:cubicBezTo>
                    <a:cubicBezTo>
                      <a:pt x="5030" y="3265"/>
                      <a:pt x="5041" y="3358"/>
                      <a:pt x="5053" y="3456"/>
                    </a:cubicBezTo>
                    <a:cubicBezTo>
                      <a:pt x="5395" y="3388"/>
                      <a:pt x="5395" y="3388"/>
                      <a:pt x="5395" y="3388"/>
                    </a:cubicBezTo>
                    <a:cubicBezTo>
                      <a:pt x="5396" y="3388"/>
                      <a:pt x="5396" y="3388"/>
                      <a:pt x="5396" y="3388"/>
                    </a:cubicBezTo>
                    <a:cubicBezTo>
                      <a:pt x="5396" y="3388"/>
                      <a:pt x="5736" y="3385"/>
                      <a:pt x="5874" y="3385"/>
                    </a:cubicBezTo>
                    <a:cubicBezTo>
                      <a:pt x="5890" y="3385"/>
                      <a:pt x="5902" y="3385"/>
                      <a:pt x="5912" y="3385"/>
                    </a:cubicBezTo>
                    <a:close/>
                    <a:moveTo>
                      <a:pt x="5935" y="3083"/>
                    </a:moveTo>
                    <a:cubicBezTo>
                      <a:pt x="5952" y="2862"/>
                      <a:pt x="5952" y="2862"/>
                      <a:pt x="5952" y="2862"/>
                    </a:cubicBezTo>
                    <a:cubicBezTo>
                      <a:pt x="5707" y="2877"/>
                      <a:pt x="5347" y="2909"/>
                      <a:pt x="4997" y="2978"/>
                    </a:cubicBezTo>
                    <a:cubicBezTo>
                      <a:pt x="5001" y="3009"/>
                      <a:pt x="5009" y="3079"/>
                      <a:pt x="5020" y="3174"/>
                    </a:cubicBezTo>
                    <a:cubicBezTo>
                      <a:pt x="5106" y="3155"/>
                      <a:pt x="5390" y="3096"/>
                      <a:pt x="5396" y="3095"/>
                    </a:cubicBezTo>
                    <a:cubicBezTo>
                      <a:pt x="5401" y="3094"/>
                      <a:pt x="5435" y="3093"/>
                      <a:pt x="5488" y="3092"/>
                    </a:cubicBezTo>
                    <a:cubicBezTo>
                      <a:pt x="5622" y="3089"/>
                      <a:pt x="5865" y="3084"/>
                      <a:pt x="5935" y="3083"/>
                    </a:cubicBezTo>
                    <a:close/>
                    <a:moveTo>
                      <a:pt x="5678" y="2817"/>
                    </a:moveTo>
                    <a:cubicBezTo>
                      <a:pt x="5675" y="2625"/>
                      <a:pt x="5675" y="2625"/>
                      <a:pt x="5675" y="2625"/>
                    </a:cubicBezTo>
                    <a:cubicBezTo>
                      <a:pt x="5414" y="2666"/>
                      <a:pt x="5414" y="2666"/>
                      <a:pt x="5414" y="2666"/>
                    </a:cubicBezTo>
                    <a:cubicBezTo>
                      <a:pt x="5408" y="2742"/>
                      <a:pt x="5402" y="2810"/>
                      <a:pt x="5398" y="2847"/>
                    </a:cubicBezTo>
                    <a:cubicBezTo>
                      <a:pt x="5496" y="2835"/>
                      <a:pt x="5590" y="2825"/>
                      <a:pt x="5678" y="2817"/>
                    </a:cubicBezTo>
                    <a:close/>
                    <a:moveTo>
                      <a:pt x="5709" y="2328"/>
                    </a:moveTo>
                    <a:cubicBezTo>
                      <a:pt x="5663" y="2322"/>
                      <a:pt x="5485" y="2292"/>
                      <a:pt x="5427" y="2282"/>
                    </a:cubicBezTo>
                    <a:cubicBezTo>
                      <a:pt x="5427" y="2288"/>
                      <a:pt x="5429" y="2294"/>
                      <a:pt x="5429" y="2300"/>
                    </a:cubicBezTo>
                    <a:cubicBezTo>
                      <a:pt x="5430" y="2313"/>
                      <a:pt x="5431" y="2329"/>
                      <a:pt x="5431" y="2348"/>
                    </a:cubicBezTo>
                    <a:cubicBezTo>
                      <a:pt x="5431" y="2371"/>
                      <a:pt x="5430" y="2398"/>
                      <a:pt x="5429" y="2428"/>
                    </a:cubicBezTo>
                    <a:cubicBezTo>
                      <a:pt x="5674" y="2449"/>
                      <a:pt x="5674" y="2449"/>
                      <a:pt x="5674" y="2449"/>
                    </a:cubicBezTo>
                    <a:lnTo>
                      <a:pt x="5709" y="2328"/>
                    </a:lnTo>
                    <a:close/>
                    <a:moveTo>
                      <a:pt x="5707" y="2384"/>
                    </a:moveTo>
                    <a:cubicBezTo>
                      <a:pt x="5863" y="2409"/>
                      <a:pt x="5863" y="2409"/>
                      <a:pt x="5863" y="2409"/>
                    </a:cubicBezTo>
                    <a:cubicBezTo>
                      <a:pt x="5909" y="2284"/>
                      <a:pt x="5909" y="2284"/>
                      <a:pt x="5909" y="2284"/>
                    </a:cubicBezTo>
                    <a:cubicBezTo>
                      <a:pt x="5748" y="2258"/>
                      <a:pt x="5748" y="2258"/>
                      <a:pt x="5748" y="2258"/>
                    </a:cubicBezTo>
                    <a:cubicBezTo>
                      <a:pt x="5750" y="2245"/>
                      <a:pt x="5750" y="2245"/>
                      <a:pt x="5750" y="2245"/>
                    </a:cubicBezTo>
                    <a:cubicBezTo>
                      <a:pt x="5913" y="2270"/>
                      <a:pt x="5913" y="2270"/>
                      <a:pt x="5913" y="2270"/>
                    </a:cubicBezTo>
                    <a:cubicBezTo>
                      <a:pt x="5959" y="2142"/>
                      <a:pt x="5959" y="2142"/>
                      <a:pt x="5959" y="2142"/>
                    </a:cubicBezTo>
                    <a:cubicBezTo>
                      <a:pt x="5785" y="2113"/>
                      <a:pt x="5785" y="2113"/>
                      <a:pt x="5785" y="2113"/>
                    </a:cubicBezTo>
                    <a:lnTo>
                      <a:pt x="5707" y="2384"/>
                    </a:lnTo>
                    <a:close/>
                    <a:moveTo>
                      <a:pt x="6003" y="2432"/>
                    </a:moveTo>
                    <a:cubicBezTo>
                      <a:pt x="6049" y="2305"/>
                      <a:pt x="6049" y="2305"/>
                      <a:pt x="6049" y="2305"/>
                    </a:cubicBezTo>
                    <a:cubicBezTo>
                      <a:pt x="5922" y="2286"/>
                      <a:pt x="5922" y="2286"/>
                      <a:pt x="5922" y="2286"/>
                    </a:cubicBezTo>
                    <a:cubicBezTo>
                      <a:pt x="5877" y="2411"/>
                      <a:pt x="5877" y="2411"/>
                      <a:pt x="5877" y="2411"/>
                    </a:cubicBezTo>
                    <a:lnTo>
                      <a:pt x="6003" y="2432"/>
                    </a:lnTo>
                    <a:close/>
                    <a:moveTo>
                      <a:pt x="6054" y="2292"/>
                    </a:moveTo>
                    <a:cubicBezTo>
                      <a:pt x="6099" y="2166"/>
                      <a:pt x="6099" y="2166"/>
                      <a:pt x="6099" y="2166"/>
                    </a:cubicBezTo>
                    <a:cubicBezTo>
                      <a:pt x="5973" y="2144"/>
                      <a:pt x="5973" y="2144"/>
                      <a:pt x="5973" y="2144"/>
                    </a:cubicBezTo>
                    <a:cubicBezTo>
                      <a:pt x="5927" y="2272"/>
                      <a:pt x="5927" y="2272"/>
                      <a:pt x="5927" y="2272"/>
                    </a:cubicBezTo>
                    <a:lnTo>
                      <a:pt x="6054" y="2292"/>
                    </a:lnTo>
                    <a:close/>
                    <a:moveTo>
                      <a:pt x="6104" y="2153"/>
                    </a:moveTo>
                    <a:cubicBezTo>
                      <a:pt x="6145" y="2037"/>
                      <a:pt x="6145" y="2037"/>
                      <a:pt x="6145" y="2037"/>
                    </a:cubicBezTo>
                    <a:cubicBezTo>
                      <a:pt x="6020" y="2013"/>
                      <a:pt x="6020" y="2013"/>
                      <a:pt x="6020" y="2013"/>
                    </a:cubicBezTo>
                    <a:cubicBezTo>
                      <a:pt x="5977" y="2131"/>
                      <a:pt x="5977" y="2131"/>
                      <a:pt x="5977" y="2131"/>
                    </a:cubicBezTo>
                    <a:lnTo>
                      <a:pt x="6104" y="2153"/>
                    </a:lnTo>
                    <a:close/>
                    <a:moveTo>
                      <a:pt x="6150" y="2023"/>
                    </a:moveTo>
                    <a:cubicBezTo>
                      <a:pt x="6189" y="1915"/>
                      <a:pt x="6189" y="1915"/>
                      <a:pt x="6189" y="1915"/>
                    </a:cubicBezTo>
                    <a:cubicBezTo>
                      <a:pt x="6065" y="1887"/>
                      <a:pt x="6065" y="1887"/>
                      <a:pt x="6065" y="1887"/>
                    </a:cubicBezTo>
                    <a:cubicBezTo>
                      <a:pt x="6024" y="2000"/>
                      <a:pt x="6024" y="2000"/>
                      <a:pt x="6024" y="2000"/>
                    </a:cubicBezTo>
                    <a:lnTo>
                      <a:pt x="6150" y="2023"/>
                    </a:lnTo>
                    <a:close/>
                    <a:moveTo>
                      <a:pt x="6194" y="1901"/>
                    </a:moveTo>
                    <a:cubicBezTo>
                      <a:pt x="6238" y="1778"/>
                      <a:pt x="6238" y="1778"/>
                      <a:pt x="6238" y="1778"/>
                    </a:cubicBezTo>
                    <a:cubicBezTo>
                      <a:pt x="6112" y="1756"/>
                      <a:pt x="6112" y="1756"/>
                      <a:pt x="6112" y="1756"/>
                    </a:cubicBezTo>
                    <a:cubicBezTo>
                      <a:pt x="6070" y="1874"/>
                      <a:pt x="6070" y="1874"/>
                      <a:pt x="6070" y="1874"/>
                    </a:cubicBezTo>
                    <a:lnTo>
                      <a:pt x="6194" y="1901"/>
                    </a:lnTo>
                    <a:close/>
                    <a:moveTo>
                      <a:pt x="6243" y="1765"/>
                    </a:moveTo>
                    <a:cubicBezTo>
                      <a:pt x="6281" y="1660"/>
                      <a:pt x="6281" y="1660"/>
                      <a:pt x="6281" y="1660"/>
                    </a:cubicBezTo>
                    <a:cubicBezTo>
                      <a:pt x="6154" y="1641"/>
                      <a:pt x="6154" y="1641"/>
                      <a:pt x="6154" y="1641"/>
                    </a:cubicBezTo>
                    <a:cubicBezTo>
                      <a:pt x="6117" y="1742"/>
                      <a:pt x="6117" y="1742"/>
                      <a:pt x="6117" y="1742"/>
                    </a:cubicBezTo>
                    <a:lnTo>
                      <a:pt x="6243" y="1765"/>
                    </a:lnTo>
                    <a:close/>
                    <a:moveTo>
                      <a:pt x="6286" y="1646"/>
                    </a:moveTo>
                    <a:cubicBezTo>
                      <a:pt x="6334" y="1512"/>
                      <a:pt x="6334" y="1512"/>
                      <a:pt x="6334" y="1512"/>
                    </a:cubicBezTo>
                    <a:cubicBezTo>
                      <a:pt x="6205" y="1498"/>
                      <a:pt x="6205" y="1498"/>
                      <a:pt x="6205" y="1498"/>
                    </a:cubicBezTo>
                    <a:cubicBezTo>
                      <a:pt x="6158" y="1628"/>
                      <a:pt x="6158" y="1628"/>
                      <a:pt x="6158" y="1628"/>
                    </a:cubicBezTo>
                    <a:lnTo>
                      <a:pt x="6286" y="1646"/>
                    </a:lnTo>
                    <a:close/>
                    <a:moveTo>
                      <a:pt x="6192" y="1496"/>
                    </a:moveTo>
                    <a:cubicBezTo>
                      <a:pt x="5867" y="1462"/>
                      <a:pt x="5867" y="1462"/>
                      <a:pt x="5867" y="1462"/>
                    </a:cubicBezTo>
                    <a:cubicBezTo>
                      <a:pt x="5857" y="1502"/>
                      <a:pt x="5847" y="1543"/>
                      <a:pt x="5838" y="1581"/>
                    </a:cubicBezTo>
                    <a:cubicBezTo>
                      <a:pt x="6145" y="1626"/>
                      <a:pt x="6145" y="1626"/>
                      <a:pt x="6145" y="1626"/>
                    </a:cubicBezTo>
                    <a:lnTo>
                      <a:pt x="6192" y="1496"/>
                    </a:lnTo>
                    <a:close/>
                    <a:moveTo>
                      <a:pt x="5414" y="1746"/>
                    </a:moveTo>
                    <a:cubicBezTo>
                      <a:pt x="5401" y="1759"/>
                      <a:pt x="5384" y="1779"/>
                      <a:pt x="5362" y="1801"/>
                    </a:cubicBezTo>
                    <a:cubicBezTo>
                      <a:pt x="5407" y="1809"/>
                      <a:pt x="5481" y="1822"/>
                      <a:pt x="5556" y="1834"/>
                    </a:cubicBezTo>
                    <a:cubicBezTo>
                      <a:pt x="5653" y="1851"/>
                      <a:pt x="5751" y="1868"/>
                      <a:pt x="5779" y="1872"/>
                    </a:cubicBezTo>
                    <a:cubicBezTo>
                      <a:pt x="5770" y="1845"/>
                      <a:pt x="5762" y="1821"/>
                      <a:pt x="5762" y="1812"/>
                    </a:cubicBezTo>
                    <a:cubicBezTo>
                      <a:pt x="5762" y="1811"/>
                      <a:pt x="5762" y="1810"/>
                      <a:pt x="5762" y="1808"/>
                    </a:cubicBezTo>
                    <a:cubicBezTo>
                      <a:pt x="5763" y="1808"/>
                      <a:pt x="5763" y="1807"/>
                      <a:pt x="5764" y="1806"/>
                    </a:cubicBezTo>
                    <a:cubicBezTo>
                      <a:pt x="5766" y="1802"/>
                      <a:pt x="5771" y="1785"/>
                      <a:pt x="5778" y="1759"/>
                    </a:cubicBezTo>
                    <a:cubicBezTo>
                      <a:pt x="5773" y="1758"/>
                      <a:pt x="5690" y="1744"/>
                      <a:pt x="5605" y="1730"/>
                    </a:cubicBezTo>
                    <a:cubicBezTo>
                      <a:pt x="5538" y="1719"/>
                      <a:pt x="5470" y="1708"/>
                      <a:pt x="5442" y="1703"/>
                    </a:cubicBezTo>
                    <a:cubicBezTo>
                      <a:pt x="5435" y="1718"/>
                      <a:pt x="5425" y="1733"/>
                      <a:pt x="5414" y="1746"/>
                    </a:cubicBezTo>
                    <a:close/>
                    <a:moveTo>
                      <a:pt x="5325" y="1775"/>
                    </a:moveTo>
                    <a:cubicBezTo>
                      <a:pt x="5316" y="1758"/>
                      <a:pt x="5286" y="1682"/>
                      <a:pt x="5256" y="1606"/>
                    </a:cubicBezTo>
                    <a:cubicBezTo>
                      <a:pt x="5229" y="1537"/>
                      <a:pt x="5203" y="1470"/>
                      <a:pt x="5197" y="1454"/>
                    </a:cubicBezTo>
                    <a:cubicBezTo>
                      <a:pt x="5166" y="1471"/>
                      <a:pt x="5137" y="1488"/>
                      <a:pt x="5112" y="1501"/>
                    </a:cubicBezTo>
                    <a:cubicBezTo>
                      <a:pt x="5095" y="1511"/>
                      <a:pt x="5080" y="1519"/>
                      <a:pt x="5069" y="1524"/>
                    </a:cubicBezTo>
                    <a:cubicBezTo>
                      <a:pt x="5057" y="1530"/>
                      <a:pt x="5052" y="1533"/>
                      <a:pt x="5046" y="1534"/>
                    </a:cubicBezTo>
                    <a:cubicBezTo>
                      <a:pt x="5042" y="1534"/>
                      <a:pt x="5013" y="1529"/>
                      <a:pt x="4973" y="1521"/>
                    </a:cubicBezTo>
                    <a:cubicBezTo>
                      <a:pt x="4963" y="1982"/>
                      <a:pt x="4963" y="1982"/>
                      <a:pt x="4963" y="1982"/>
                    </a:cubicBezTo>
                    <a:cubicBezTo>
                      <a:pt x="5135" y="1951"/>
                      <a:pt x="5253" y="1850"/>
                      <a:pt x="5325" y="1775"/>
                    </a:cubicBezTo>
                    <a:close/>
                    <a:moveTo>
                      <a:pt x="4618" y="2066"/>
                    </a:moveTo>
                    <a:cubicBezTo>
                      <a:pt x="4456" y="2079"/>
                      <a:pt x="4296" y="2089"/>
                      <a:pt x="4214" y="2094"/>
                    </a:cubicBezTo>
                    <a:cubicBezTo>
                      <a:pt x="4399" y="2498"/>
                      <a:pt x="4399" y="2498"/>
                      <a:pt x="4399" y="2498"/>
                    </a:cubicBezTo>
                    <a:cubicBezTo>
                      <a:pt x="4455" y="2497"/>
                      <a:pt x="4541" y="2495"/>
                      <a:pt x="4640" y="2493"/>
                    </a:cubicBezTo>
                    <a:lnTo>
                      <a:pt x="4618" y="2066"/>
                    </a:lnTo>
                    <a:close/>
                    <a:moveTo>
                      <a:pt x="4481" y="1510"/>
                    </a:moveTo>
                    <a:cubicBezTo>
                      <a:pt x="4083" y="1782"/>
                      <a:pt x="4083" y="1782"/>
                      <a:pt x="4083" y="1782"/>
                    </a:cubicBezTo>
                    <a:cubicBezTo>
                      <a:pt x="4194" y="2050"/>
                      <a:pt x="4194" y="2050"/>
                      <a:pt x="4194" y="2050"/>
                    </a:cubicBezTo>
                    <a:cubicBezTo>
                      <a:pt x="4247" y="2047"/>
                      <a:pt x="4352" y="2041"/>
                      <a:pt x="4472" y="2032"/>
                    </a:cubicBezTo>
                    <a:lnTo>
                      <a:pt x="4481" y="1510"/>
                    </a:lnTo>
                    <a:close/>
                    <a:moveTo>
                      <a:pt x="3337" y="2612"/>
                    </a:moveTo>
                    <a:cubicBezTo>
                      <a:pt x="3336" y="2612"/>
                      <a:pt x="3336" y="2612"/>
                      <a:pt x="3336" y="2611"/>
                    </a:cubicBezTo>
                    <a:cubicBezTo>
                      <a:pt x="3328" y="2626"/>
                      <a:pt x="3320" y="2640"/>
                      <a:pt x="3310" y="2653"/>
                    </a:cubicBezTo>
                    <a:cubicBezTo>
                      <a:pt x="3267" y="2714"/>
                      <a:pt x="3241" y="2740"/>
                      <a:pt x="3191" y="2766"/>
                    </a:cubicBezTo>
                    <a:cubicBezTo>
                      <a:pt x="3171" y="2777"/>
                      <a:pt x="3145" y="2789"/>
                      <a:pt x="3112" y="2806"/>
                    </a:cubicBezTo>
                    <a:cubicBezTo>
                      <a:pt x="3182" y="3096"/>
                      <a:pt x="3182" y="3096"/>
                      <a:pt x="3182" y="3096"/>
                    </a:cubicBezTo>
                    <a:cubicBezTo>
                      <a:pt x="3221" y="3080"/>
                      <a:pt x="3291" y="3052"/>
                      <a:pt x="3360" y="3024"/>
                    </a:cubicBezTo>
                    <a:cubicBezTo>
                      <a:pt x="3450" y="2988"/>
                      <a:pt x="3538" y="2952"/>
                      <a:pt x="3553" y="2946"/>
                    </a:cubicBezTo>
                    <a:cubicBezTo>
                      <a:pt x="3553" y="2946"/>
                      <a:pt x="3553" y="2946"/>
                      <a:pt x="3553" y="2946"/>
                    </a:cubicBezTo>
                    <a:cubicBezTo>
                      <a:pt x="3550" y="2945"/>
                      <a:pt x="3551" y="2945"/>
                      <a:pt x="3550" y="2944"/>
                    </a:cubicBezTo>
                    <a:cubicBezTo>
                      <a:pt x="3548" y="2942"/>
                      <a:pt x="3545" y="2937"/>
                      <a:pt x="3538" y="2927"/>
                    </a:cubicBezTo>
                    <a:cubicBezTo>
                      <a:pt x="3517" y="2893"/>
                      <a:pt x="3465" y="2811"/>
                      <a:pt x="3419" y="2738"/>
                    </a:cubicBezTo>
                    <a:cubicBezTo>
                      <a:pt x="3396" y="2702"/>
                      <a:pt x="3374" y="2668"/>
                      <a:pt x="3357" y="2642"/>
                    </a:cubicBezTo>
                    <a:cubicBezTo>
                      <a:pt x="3349" y="2630"/>
                      <a:pt x="3342" y="2620"/>
                      <a:pt x="3337" y="2612"/>
                    </a:cubicBezTo>
                    <a:close/>
                    <a:moveTo>
                      <a:pt x="3099" y="2812"/>
                    </a:moveTo>
                    <a:cubicBezTo>
                      <a:pt x="3056" y="2834"/>
                      <a:pt x="2999" y="2863"/>
                      <a:pt x="2920" y="2906"/>
                    </a:cubicBezTo>
                    <a:cubicBezTo>
                      <a:pt x="2810" y="2967"/>
                      <a:pt x="2696" y="2996"/>
                      <a:pt x="2596" y="3009"/>
                    </a:cubicBezTo>
                    <a:cubicBezTo>
                      <a:pt x="2815" y="3299"/>
                      <a:pt x="2815" y="3299"/>
                      <a:pt x="2815" y="3299"/>
                    </a:cubicBezTo>
                    <a:cubicBezTo>
                      <a:pt x="2835" y="3288"/>
                      <a:pt x="2906" y="3246"/>
                      <a:pt x="2978" y="3205"/>
                    </a:cubicBezTo>
                    <a:cubicBezTo>
                      <a:pt x="3020" y="3181"/>
                      <a:pt x="3062" y="3156"/>
                      <a:pt x="3094" y="3138"/>
                    </a:cubicBezTo>
                    <a:cubicBezTo>
                      <a:pt x="3110" y="3129"/>
                      <a:pt x="3124" y="3121"/>
                      <a:pt x="3134" y="3116"/>
                    </a:cubicBezTo>
                    <a:cubicBezTo>
                      <a:pt x="3139" y="3113"/>
                      <a:pt x="3143" y="3111"/>
                      <a:pt x="3145" y="3110"/>
                    </a:cubicBezTo>
                    <a:cubicBezTo>
                      <a:pt x="3149" y="3108"/>
                      <a:pt x="3148" y="3108"/>
                      <a:pt x="3152" y="3107"/>
                    </a:cubicBezTo>
                    <a:cubicBezTo>
                      <a:pt x="3152" y="3107"/>
                      <a:pt x="3152" y="3107"/>
                      <a:pt x="3152" y="3107"/>
                    </a:cubicBezTo>
                    <a:cubicBezTo>
                      <a:pt x="3154" y="3107"/>
                      <a:pt x="3160" y="3104"/>
                      <a:pt x="3169" y="3101"/>
                    </a:cubicBezTo>
                    <a:lnTo>
                      <a:pt x="3099" y="2812"/>
                    </a:lnTo>
                    <a:close/>
                    <a:moveTo>
                      <a:pt x="2581" y="3011"/>
                    </a:moveTo>
                    <a:cubicBezTo>
                      <a:pt x="2537" y="3015"/>
                      <a:pt x="2497" y="3017"/>
                      <a:pt x="2462" y="3017"/>
                    </a:cubicBezTo>
                    <a:cubicBezTo>
                      <a:pt x="2404" y="3017"/>
                      <a:pt x="2362" y="3012"/>
                      <a:pt x="2337" y="3008"/>
                    </a:cubicBezTo>
                    <a:cubicBezTo>
                      <a:pt x="2270" y="3345"/>
                      <a:pt x="2270" y="3345"/>
                      <a:pt x="2270" y="3345"/>
                    </a:cubicBezTo>
                    <a:cubicBezTo>
                      <a:pt x="2494" y="3385"/>
                      <a:pt x="2494" y="3385"/>
                      <a:pt x="2494" y="3385"/>
                    </a:cubicBezTo>
                    <a:cubicBezTo>
                      <a:pt x="2541" y="3373"/>
                      <a:pt x="2541" y="3373"/>
                      <a:pt x="2541" y="3373"/>
                    </a:cubicBezTo>
                    <a:cubicBezTo>
                      <a:pt x="2535" y="3369"/>
                      <a:pt x="2535" y="3369"/>
                      <a:pt x="2535" y="3369"/>
                    </a:cubicBezTo>
                    <a:cubicBezTo>
                      <a:pt x="2556" y="3369"/>
                      <a:pt x="2556" y="3369"/>
                      <a:pt x="2556" y="3369"/>
                    </a:cubicBezTo>
                    <a:cubicBezTo>
                      <a:pt x="2744" y="3320"/>
                      <a:pt x="2744" y="3320"/>
                      <a:pt x="2744" y="3320"/>
                    </a:cubicBezTo>
                    <a:cubicBezTo>
                      <a:pt x="2734" y="3320"/>
                      <a:pt x="2734" y="3320"/>
                      <a:pt x="2734" y="3320"/>
                    </a:cubicBezTo>
                    <a:cubicBezTo>
                      <a:pt x="2653" y="3324"/>
                      <a:pt x="2653" y="3324"/>
                      <a:pt x="2653" y="3324"/>
                    </a:cubicBezTo>
                    <a:cubicBezTo>
                      <a:pt x="2468" y="3049"/>
                      <a:pt x="2468" y="3049"/>
                      <a:pt x="2468" y="3049"/>
                    </a:cubicBezTo>
                    <a:cubicBezTo>
                      <a:pt x="2550" y="3045"/>
                      <a:pt x="2550" y="3045"/>
                      <a:pt x="2550" y="3045"/>
                    </a:cubicBezTo>
                    <a:cubicBezTo>
                      <a:pt x="2747" y="3319"/>
                      <a:pt x="2747" y="3319"/>
                      <a:pt x="2747" y="3319"/>
                    </a:cubicBezTo>
                    <a:cubicBezTo>
                      <a:pt x="2802" y="3305"/>
                      <a:pt x="2802" y="3305"/>
                      <a:pt x="2802" y="3305"/>
                    </a:cubicBezTo>
                    <a:lnTo>
                      <a:pt x="2581" y="3011"/>
                    </a:lnTo>
                    <a:close/>
                    <a:moveTo>
                      <a:pt x="2543" y="3060"/>
                    </a:moveTo>
                    <a:cubicBezTo>
                      <a:pt x="2495" y="3062"/>
                      <a:pt x="2495" y="3062"/>
                      <a:pt x="2495" y="3062"/>
                    </a:cubicBezTo>
                    <a:cubicBezTo>
                      <a:pt x="2661" y="3309"/>
                      <a:pt x="2661" y="3309"/>
                      <a:pt x="2661" y="3309"/>
                    </a:cubicBezTo>
                    <a:cubicBezTo>
                      <a:pt x="2720" y="3306"/>
                      <a:pt x="2720" y="3306"/>
                      <a:pt x="2720" y="3306"/>
                    </a:cubicBezTo>
                    <a:lnTo>
                      <a:pt x="2543" y="3060"/>
                    </a:lnTo>
                    <a:close/>
                    <a:moveTo>
                      <a:pt x="2293" y="3000"/>
                    </a:moveTo>
                    <a:cubicBezTo>
                      <a:pt x="2251" y="2991"/>
                      <a:pt x="2186" y="2975"/>
                      <a:pt x="2139" y="2956"/>
                    </a:cubicBezTo>
                    <a:cubicBezTo>
                      <a:pt x="2073" y="2928"/>
                      <a:pt x="2017" y="2874"/>
                      <a:pt x="1994" y="2849"/>
                    </a:cubicBezTo>
                    <a:cubicBezTo>
                      <a:pt x="1641" y="2999"/>
                      <a:pt x="1641" y="2999"/>
                      <a:pt x="1641" y="2999"/>
                    </a:cubicBezTo>
                    <a:cubicBezTo>
                      <a:pt x="1639" y="3019"/>
                      <a:pt x="1636" y="3056"/>
                      <a:pt x="1633" y="3094"/>
                    </a:cubicBezTo>
                    <a:cubicBezTo>
                      <a:pt x="1628" y="3145"/>
                      <a:pt x="1623" y="3193"/>
                      <a:pt x="1623" y="3196"/>
                    </a:cubicBezTo>
                    <a:cubicBezTo>
                      <a:pt x="1605" y="3195"/>
                      <a:pt x="1605" y="3195"/>
                      <a:pt x="1605" y="3195"/>
                    </a:cubicBezTo>
                    <a:cubicBezTo>
                      <a:pt x="1599" y="3265"/>
                      <a:pt x="1599" y="3265"/>
                      <a:pt x="1599" y="3265"/>
                    </a:cubicBezTo>
                    <a:cubicBezTo>
                      <a:pt x="1766" y="3373"/>
                      <a:pt x="1766" y="3373"/>
                      <a:pt x="1766" y="3373"/>
                    </a:cubicBezTo>
                    <a:cubicBezTo>
                      <a:pt x="1936" y="3219"/>
                      <a:pt x="1936" y="3219"/>
                      <a:pt x="1936" y="3219"/>
                    </a:cubicBezTo>
                    <a:cubicBezTo>
                      <a:pt x="2272" y="3103"/>
                      <a:pt x="2272" y="3103"/>
                      <a:pt x="2272" y="3103"/>
                    </a:cubicBezTo>
                    <a:lnTo>
                      <a:pt x="2293" y="3000"/>
                    </a:lnTo>
                    <a:close/>
                    <a:moveTo>
                      <a:pt x="1591" y="3279"/>
                    </a:moveTo>
                    <a:cubicBezTo>
                      <a:pt x="1260" y="3460"/>
                      <a:pt x="1260" y="3460"/>
                      <a:pt x="1260" y="3460"/>
                    </a:cubicBezTo>
                    <a:cubicBezTo>
                      <a:pt x="1273" y="3479"/>
                      <a:pt x="1289" y="3499"/>
                      <a:pt x="1310" y="3524"/>
                    </a:cubicBezTo>
                    <a:cubicBezTo>
                      <a:pt x="1328" y="3545"/>
                      <a:pt x="1357" y="3577"/>
                      <a:pt x="1386" y="3610"/>
                    </a:cubicBezTo>
                    <a:cubicBezTo>
                      <a:pt x="1422" y="3594"/>
                      <a:pt x="1452" y="3580"/>
                      <a:pt x="1467" y="3571"/>
                    </a:cubicBezTo>
                    <a:cubicBezTo>
                      <a:pt x="1500" y="3553"/>
                      <a:pt x="1558" y="3543"/>
                      <a:pt x="1616" y="3534"/>
                    </a:cubicBezTo>
                    <a:cubicBezTo>
                      <a:pt x="1673" y="3525"/>
                      <a:pt x="1730" y="3517"/>
                      <a:pt x="1751" y="3507"/>
                    </a:cubicBezTo>
                    <a:cubicBezTo>
                      <a:pt x="1796" y="3486"/>
                      <a:pt x="1878" y="3424"/>
                      <a:pt x="1919" y="3382"/>
                    </a:cubicBezTo>
                    <a:cubicBezTo>
                      <a:pt x="1952" y="3349"/>
                      <a:pt x="2022" y="3279"/>
                      <a:pt x="2111" y="3279"/>
                    </a:cubicBezTo>
                    <a:cubicBezTo>
                      <a:pt x="2140" y="3279"/>
                      <a:pt x="2171" y="3287"/>
                      <a:pt x="2202" y="3307"/>
                    </a:cubicBezTo>
                    <a:cubicBezTo>
                      <a:pt x="2207" y="3310"/>
                      <a:pt x="2207" y="3310"/>
                      <a:pt x="2207" y="3310"/>
                    </a:cubicBezTo>
                    <a:cubicBezTo>
                      <a:pt x="2208" y="3315"/>
                      <a:pt x="2208" y="3315"/>
                      <a:pt x="2208" y="3315"/>
                    </a:cubicBezTo>
                    <a:cubicBezTo>
                      <a:pt x="2210" y="3334"/>
                      <a:pt x="2215" y="3349"/>
                      <a:pt x="2220" y="3362"/>
                    </a:cubicBezTo>
                    <a:cubicBezTo>
                      <a:pt x="2269" y="3122"/>
                      <a:pt x="2269" y="3122"/>
                      <a:pt x="2269" y="3122"/>
                    </a:cubicBezTo>
                    <a:cubicBezTo>
                      <a:pt x="1945" y="3233"/>
                      <a:pt x="1945" y="3233"/>
                      <a:pt x="1945" y="3233"/>
                    </a:cubicBezTo>
                    <a:cubicBezTo>
                      <a:pt x="1767" y="3394"/>
                      <a:pt x="1767" y="3394"/>
                      <a:pt x="1767" y="3394"/>
                    </a:cubicBezTo>
                    <a:lnTo>
                      <a:pt x="1591" y="3279"/>
                    </a:lnTo>
                    <a:close/>
                    <a:moveTo>
                      <a:pt x="1338" y="3659"/>
                    </a:moveTo>
                    <a:cubicBezTo>
                      <a:pt x="1328" y="3664"/>
                      <a:pt x="1319" y="3668"/>
                      <a:pt x="1310" y="3672"/>
                    </a:cubicBezTo>
                    <a:cubicBezTo>
                      <a:pt x="1400" y="3774"/>
                      <a:pt x="1400" y="3774"/>
                      <a:pt x="1400" y="3774"/>
                    </a:cubicBezTo>
                    <a:cubicBezTo>
                      <a:pt x="1409" y="3769"/>
                      <a:pt x="1419" y="3764"/>
                      <a:pt x="1429" y="3760"/>
                    </a:cubicBezTo>
                    <a:cubicBezTo>
                      <a:pt x="1406" y="3735"/>
                      <a:pt x="1372" y="3697"/>
                      <a:pt x="1338" y="3659"/>
                    </a:cubicBezTo>
                    <a:close/>
                    <a:moveTo>
                      <a:pt x="1287" y="3683"/>
                    </a:moveTo>
                    <a:cubicBezTo>
                      <a:pt x="1276" y="3688"/>
                      <a:pt x="1266" y="3692"/>
                      <a:pt x="1256" y="3697"/>
                    </a:cubicBezTo>
                    <a:cubicBezTo>
                      <a:pt x="1295" y="3743"/>
                      <a:pt x="1326" y="3779"/>
                      <a:pt x="1346" y="3801"/>
                    </a:cubicBezTo>
                    <a:cubicBezTo>
                      <a:pt x="1353" y="3797"/>
                      <a:pt x="1364" y="3792"/>
                      <a:pt x="1378" y="3785"/>
                    </a:cubicBezTo>
                    <a:lnTo>
                      <a:pt x="1287" y="3683"/>
                    </a:lnTo>
                    <a:close/>
                    <a:moveTo>
                      <a:pt x="1300" y="3903"/>
                    </a:moveTo>
                    <a:cubicBezTo>
                      <a:pt x="1293" y="3908"/>
                      <a:pt x="1285" y="3914"/>
                      <a:pt x="1277" y="3920"/>
                    </a:cubicBezTo>
                    <a:cubicBezTo>
                      <a:pt x="1291" y="3947"/>
                      <a:pt x="1298" y="3969"/>
                      <a:pt x="1298" y="3970"/>
                    </a:cubicBezTo>
                    <a:cubicBezTo>
                      <a:pt x="1299" y="3973"/>
                      <a:pt x="1299" y="3973"/>
                      <a:pt x="1299" y="3973"/>
                    </a:cubicBezTo>
                    <a:cubicBezTo>
                      <a:pt x="1299" y="3975"/>
                      <a:pt x="1299" y="3975"/>
                      <a:pt x="1299" y="3975"/>
                    </a:cubicBezTo>
                    <a:cubicBezTo>
                      <a:pt x="1299" y="3975"/>
                      <a:pt x="1298" y="3979"/>
                      <a:pt x="1298" y="3986"/>
                    </a:cubicBezTo>
                    <a:cubicBezTo>
                      <a:pt x="1298" y="4003"/>
                      <a:pt x="1302" y="4037"/>
                      <a:pt x="1333" y="4068"/>
                    </a:cubicBezTo>
                    <a:cubicBezTo>
                      <a:pt x="1358" y="4094"/>
                      <a:pt x="1369" y="4121"/>
                      <a:pt x="1369" y="4146"/>
                    </a:cubicBezTo>
                    <a:cubicBezTo>
                      <a:pt x="1369" y="4169"/>
                      <a:pt x="1360" y="4189"/>
                      <a:pt x="1351" y="4208"/>
                    </a:cubicBezTo>
                    <a:cubicBezTo>
                      <a:pt x="1335" y="4239"/>
                      <a:pt x="1303" y="4270"/>
                      <a:pt x="1304" y="4294"/>
                    </a:cubicBezTo>
                    <a:cubicBezTo>
                      <a:pt x="1304" y="4303"/>
                      <a:pt x="1307" y="4311"/>
                      <a:pt x="1317" y="4321"/>
                    </a:cubicBezTo>
                    <a:cubicBezTo>
                      <a:pt x="1342" y="4347"/>
                      <a:pt x="1414" y="4362"/>
                      <a:pt x="1464" y="4361"/>
                    </a:cubicBezTo>
                    <a:cubicBezTo>
                      <a:pt x="1486" y="4361"/>
                      <a:pt x="1505" y="4358"/>
                      <a:pt x="1510" y="4355"/>
                    </a:cubicBezTo>
                    <a:cubicBezTo>
                      <a:pt x="1525" y="4346"/>
                      <a:pt x="1594" y="4303"/>
                      <a:pt x="1657" y="4264"/>
                    </a:cubicBezTo>
                    <a:cubicBezTo>
                      <a:pt x="1326" y="3884"/>
                      <a:pt x="1326" y="3884"/>
                      <a:pt x="1326" y="3884"/>
                    </a:cubicBezTo>
                    <a:cubicBezTo>
                      <a:pt x="1321" y="3887"/>
                      <a:pt x="1312" y="3894"/>
                      <a:pt x="1300" y="3903"/>
                    </a:cubicBezTo>
                    <a:close/>
                    <a:moveTo>
                      <a:pt x="1097" y="5277"/>
                    </a:moveTo>
                    <a:cubicBezTo>
                      <a:pt x="1053" y="5292"/>
                      <a:pt x="942" y="5329"/>
                      <a:pt x="829" y="5366"/>
                    </a:cubicBezTo>
                    <a:cubicBezTo>
                      <a:pt x="756" y="5390"/>
                      <a:pt x="683" y="5414"/>
                      <a:pt x="626" y="5432"/>
                    </a:cubicBezTo>
                    <a:cubicBezTo>
                      <a:pt x="598" y="5441"/>
                      <a:pt x="575" y="5448"/>
                      <a:pt x="557" y="5454"/>
                    </a:cubicBezTo>
                    <a:cubicBezTo>
                      <a:pt x="578" y="5486"/>
                      <a:pt x="597" y="5518"/>
                      <a:pt x="611" y="5544"/>
                    </a:cubicBezTo>
                    <a:cubicBezTo>
                      <a:pt x="644" y="5536"/>
                      <a:pt x="644" y="5536"/>
                      <a:pt x="644" y="5536"/>
                    </a:cubicBezTo>
                    <a:cubicBezTo>
                      <a:pt x="614" y="5449"/>
                      <a:pt x="614" y="5449"/>
                      <a:pt x="614" y="5449"/>
                    </a:cubicBezTo>
                    <a:cubicBezTo>
                      <a:pt x="620" y="5447"/>
                      <a:pt x="620" y="5447"/>
                      <a:pt x="620" y="5447"/>
                    </a:cubicBezTo>
                    <a:cubicBezTo>
                      <a:pt x="696" y="5421"/>
                      <a:pt x="696" y="5421"/>
                      <a:pt x="696" y="5421"/>
                    </a:cubicBezTo>
                    <a:cubicBezTo>
                      <a:pt x="711" y="5465"/>
                      <a:pt x="711" y="5465"/>
                      <a:pt x="711" y="5465"/>
                    </a:cubicBezTo>
                    <a:cubicBezTo>
                      <a:pt x="752" y="5451"/>
                      <a:pt x="752" y="5451"/>
                      <a:pt x="752" y="5451"/>
                    </a:cubicBezTo>
                    <a:cubicBezTo>
                      <a:pt x="771" y="5507"/>
                      <a:pt x="771" y="5507"/>
                      <a:pt x="771" y="5507"/>
                    </a:cubicBezTo>
                    <a:cubicBezTo>
                      <a:pt x="1189" y="5409"/>
                      <a:pt x="1189" y="5409"/>
                      <a:pt x="1189" y="5409"/>
                    </a:cubicBezTo>
                    <a:lnTo>
                      <a:pt x="1097" y="5277"/>
                    </a:lnTo>
                    <a:close/>
                    <a:moveTo>
                      <a:pt x="732" y="5567"/>
                    </a:moveTo>
                    <a:cubicBezTo>
                      <a:pt x="773" y="5553"/>
                      <a:pt x="773" y="5553"/>
                      <a:pt x="773" y="5553"/>
                    </a:cubicBezTo>
                    <a:cubicBezTo>
                      <a:pt x="763" y="5523"/>
                      <a:pt x="763" y="5523"/>
                      <a:pt x="763" y="5523"/>
                    </a:cubicBezTo>
                    <a:cubicBezTo>
                      <a:pt x="662" y="5546"/>
                      <a:pt x="662" y="5546"/>
                      <a:pt x="662" y="5546"/>
                    </a:cubicBezTo>
                    <a:cubicBezTo>
                      <a:pt x="691" y="5632"/>
                      <a:pt x="691" y="5632"/>
                      <a:pt x="691" y="5632"/>
                    </a:cubicBezTo>
                    <a:cubicBezTo>
                      <a:pt x="748" y="5612"/>
                      <a:pt x="748" y="5612"/>
                      <a:pt x="748" y="5612"/>
                    </a:cubicBezTo>
                    <a:lnTo>
                      <a:pt x="732" y="5567"/>
                    </a:lnTo>
                    <a:close/>
                    <a:moveTo>
                      <a:pt x="758" y="5510"/>
                    </a:moveTo>
                    <a:cubicBezTo>
                      <a:pt x="743" y="5468"/>
                      <a:pt x="743" y="5468"/>
                      <a:pt x="743" y="5468"/>
                    </a:cubicBezTo>
                    <a:cubicBezTo>
                      <a:pt x="703" y="5482"/>
                      <a:pt x="703" y="5482"/>
                      <a:pt x="703" y="5482"/>
                    </a:cubicBezTo>
                    <a:cubicBezTo>
                      <a:pt x="687" y="5438"/>
                      <a:pt x="687" y="5438"/>
                      <a:pt x="687" y="5438"/>
                    </a:cubicBezTo>
                    <a:cubicBezTo>
                      <a:pt x="631" y="5457"/>
                      <a:pt x="631" y="5457"/>
                      <a:pt x="631" y="5457"/>
                    </a:cubicBezTo>
                    <a:cubicBezTo>
                      <a:pt x="657" y="5533"/>
                      <a:pt x="657" y="5533"/>
                      <a:pt x="657" y="5533"/>
                    </a:cubicBezTo>
                    <a:lnTo>
                      <a:pt x="758" y="5510"/>
                    </a:lnTo>
                    <a:close/>
                    <a:moveTo>
                      <a:pt x="618" y="5557"/>
                    </a:moveTo>
                    <a:cubicBezTo>
                      <a:pt x="619" y="5558"/>
                      <a:pt x="620" y="5560"/>
                      <a:pt x="621" y="5562"/>
                    </a:cubicBezTo>
                    <a:cubicBezTo>
                      <a:pt x="640" y="5599"/>
                      <a:pt x="653" y="5631"/>
                      <a:pt x="663" y="5659"/>
                    </a:cubicBezTo>
                    <a:cubicBezTo>
                      <a:pt x="672" y="5657"/>
                      <a:pt x="682" y="5655"/>
                      <a:pt x="695" y="5652"/>
                    </a:cubicBezTo>
                    <a:cubicBezTo>
                      <a:pt x="745" y="5641"/>
                      <a:pt x="816" y="5625"/>
                      <a:pt x="876" y="5611"/>
                    </a:cubicBezTo>
                    <a:cubicBezTo>
                      <a:pt x="903" y="5606"/>
                      <a:pt x="926" y="5600"/>
                      <a:pt x="945" y="5596"/>
                    </a:cubicBezTo>
                    <a:cubicBezTo>
                      <a:pt x="945" y="5596"/>
                      <a:pt x="945" y="5596"/>
                      <a:pt x="945" y="5596"/>
                    </a:cubicBezTo>
                    <a:cubicBezTo>
                      <a:pt x="945" y="5596"/>
                      <a:pt x="1168" y="5547"/>
                      <a:pt x="1270" y="5524"/>
                    </a:cubicBezTo>
                    <a:cubicBezTo>
                      <a:pt x="1198" y="5422"/>
                      <a:pt x="1198" y="5422"/>
                      <a:pt x="1198" y="5422"/>
                    </a:cubicBezTo>
                    <a:cubicBezTo>
                      <a:pt x="775" y="5520"/>
                      <a:pt x="775" y="5520"/>
                      <a:pt x="775" y="5520"/>
                    </a:cubicBezTo>
                    <a:cubicBezTo>
                      <a:pt x="790" y="5561"/>
                      <a:pt x="790" y="5561"/>
                      <a:pt x="790" y="5561"/>
                    </a:cubicBezTo>
                    <a:cubicBezTo>
                      <a:pt x="749" y="5576"/>
                      <a:pt x="749" y="5576"/>
                      <a:pt x="749" y="5576"/>
                    </a:cubicBezTo>
                    <a:cubicBezTo>
                      <a:pt x="765" y="5620"/>
                      <a:pt x="765" y="5620"/>
                      <a:pt x="765" y="5620"/>
                    </a:cubicBezTo>
                    <a:cubicBezTo>
                      <a:pt x="683" y="5648"/>
                      <a:pt x="683" y="5648"/>
                      <a:pt x="683" y="5648"/>
                    </a:cubicBezTo>
                    <a:cubicBezTo>
                      <a:pt x="649" y="5549"/>
                      <a:pt x="649" y="5549"/>
                      <a:pt x="649" y="5549"/>
                    </a:cubicBezTo>
                    <a:lnTo>
                      <a:pt x="618" y="5557"/>
                    </a:lnTo>
                    <a:close/>
                    <a:moveTo>
                      <a:pt x="1040" y="5663"/>
                    </a:moveTo>
                    <a:cubicBezTo>
                      <a:pt x="1162" y="5861"/>
                      <a:pt x="1162" y="5861"/>
                      <a:pt x="1162" y="5861"/>
                    </a:cubicBezTo>
                    <a:cubicBezTo>
                      <a:pt x="1164" y="5864"/>
                      <a:pt x="1164" y="5864"/>
                      <a:pt x="1164" y="5864"/>
                    </a:cubicBezTo>
                    <a:cubicBezTo>
                      <a:pt x="1164" y="5868"/>
                      <a:pt x="1164" y="5868"/>
                      <a:pt x="1164" y="5868"/>
                    </a:cubicBezTo>
                    <a:cubicBezTo>
                      <a:pt x="1168" y="6081"/>
                      <a:pt x="1168" y="6081"/>
                      <a:pt x="1168" y="6081"/>
                    </a:cubicBezTo>
                    <a:cubicBezTo>
                      <a:pt x="1433" y="6301"/>
                      <a:pt x="1433" y="6301"/>
                      <a:pt x="1433" y="6301"/>
                    </a:cubicBezTo>
                    <a:cubicBezTo>
                      <a:pt x="1566" y="6098"/>
                      <a:pt x="1566" y="6098"/>
                      <a:pt x="1566" y="6098"/>
                    </a:cubicBezTo>
                    <a:cubicBezTo>
                      <a:pt x="1516" y="5697"/>
                      <a:pt x="1516" y="5697"/>
                      <a:pt x="1516" y="5697"/>
                    </a:cubicBezTo>
                    <a:cubicBezTo>
                      <a:pt x="1320" y="5598"/>
                      <a:pt x="1320" y="5598"/>
                      <a:pt x="1320" y="5598"/>
                    </a:cubicBezTo>
                    <a:lnTo>
                      <a:pt x="1040" y="5663"/>
                    </a:lnTo>
                    <a:close/>
                    <a:moveTo>
                      <a:pt x="677" y="6008"/>
                    </a:moveTo>
                    <a:cubicBezTo>
                      <a:pt x="1024" y="6004"/>
                      <a:pt x="1024" y="6004"/>
                      <a:pt x="1024" y="6004"/>
                    </a:cubicBezTo>
                    <a:cubicBezTo>
                      <a:pt x="1112" y="6084"/>
                      <a:pt x="1112" y="6084"/>
                      <a:pt x="1112" y="6084"/>
                    </a:cubicBezTo>
                    <a:cubicBezTo>
                      <a:pt x="1111" y="5887"/>
                      <a:pt x="1111" y="5887"/>
                      <a:pt x="1111" y="5887"/>
                    </a:cubicBezTo>
                    <a:cubicBezTo>
                      <a:pt x="972" y="5661"/>
                      <a:pt x="972" y="5661"/>
                      <a:pt x="972" y="5661"/>
                    </a:cubicBezTo>
                    <a:cubicBezTo>
                      <a:pt x="960" y="5664"/>
                      <a:pt x="928" y="5670"/>
                      <a:pt x="928" y="5670"/>
                    </a:cubicBezTo>
                    <a:cubicBezTo>
                      <a:pt x="878" y="5681"/>
                      <a:pt x="815" y="5692"/>
                      <a:pt x="756" y="5705"/>
                    </a:cubicBezTo>
                    <a:cubicBezTo>
                      <a:pt x="726" y="5712"/>
                      <a:pt x="699" y="5718"/>
                      <a:pt x="680" y="5723"/>
                    </a:cubicBezTo>
                    <a:cubicBezTo>
                      <a:pt x="680" y="5723"/>
                      <a:pt x="679" y="5723"/>
                      <a:pt x="678" y="5723"/>
                    </a:cubicBezTo>
                    <a:cubicBezTo>
                      <a:pt x="681" y="5738"/>
                      <a:pt x="682" y="5751"/>
                      <a:pt x="682" y="5764"/>
                    </a:cubicBezTo>
                    <a:cubicBezTo>
                      <a:pt x="683" y="5771"/>
                      <a:pt x="683" y="5781"/>
                      <a:pt x="683" y="5794"/>
                    </a:cubicBezTo>
                    <a:cubicBezTo>
                      <a:pt x="683" y="5839"/>
                      <a:pt x="681" y="5919"/>
                      <a:pt x="677" y="5997"/>
                    </a:cubicBezTo>
                    <a:cubicBezTo>
                      <a:pt x="677" y="6000"/>
                      <a:pt x="677" y="6004"/>
                      <a:pt x="677" y="6008"/>
                    </a:cubicBezTo>
                    <a:close/>
                    <a:moveTo>
                      <a:pt x="1358" y="6616"/>
                    </a:moveTo>
                    <a:cubicBezTo>
                      <a:pt x="1532" y="6676"/>
                      <a:pt x="1532" y="6676"/>
                      <a:pt x="1532" y="6676"/>
                    </a:cubicBezTo>
                    <a:cubicBezTo>
                      <a:pt x="1595" y="6714"/>
                      <a:pt x="1595" y="6714"/>
                      <a:pt x="1595" y="6714"/>
                    </a:cubicBezTo>
                    <a:cubicBezTo>
                      <a:pt x="1882" y="6266"/>
                      <a:pt x="1882" y="6266"/>
                      <a:pt x="1882" y="6266"/>
                    </a:cubicBezTo>
                    <a:cubicBezTo>
                      <a:pt x="1658" y="6184"/>
                      <a:pt x="1658" y="6184"/>
                      <a:pt x="1658" y="6184"/>
                    </a:cubicBezTo>
                    <a:cubicBezTo>
                      <a:pt x="1645" y="6203"/>
                      <a:pt x="1623" y="6237"/>
                      <a:pt x="1603" y="6269"/>
                    </a:cubicBezTo>
                    <a:cubicBezTo>
                      <a:pt x="1573" y="6315"/>
                      <a:pt x="1545" y="6360"/>
                      <a:pt x="1545" y="6360"/>
                    </a:cubicBezTo>
                    <a:cubicBezTo>
                      <a:pt x="1544" y="6361"/>
                      <a:pt x="1544" y="6361"/>
                      <a:pt x="1544" y="6361"/>
                    </a:cubicBezTo>
                    <a:lnTo>
                      <a:pt x="1358" y="6616"/>
                    </a:lnTo>
                    <a:close/>
                    <a:moveTo>
                      <a:pt x="2851" y="8045"/>
                    </a:moveTo>
                    <a:cubicBezTo>
                      <a:pt x="2873" y="8074"/>
                      <a:pt x="2912" y="8123"/>
                      <a:pt x="2950" y="8172"/>
                    </a:cubicBezTo>
                    <a:cubicBezTo>
                      <a:pt x="2978" y="8209"/>
                      <a:pt x="3006" y="8245"/>
                      <a:pt x="3028" y="8273"/>
                    </a:cubicBezTo>
                    <a:cubicBezTo>
                      <a:pt x="3038" y="8287"/>
                      <a:pt x="3047" y="8299"/>
                      <a:pt x="3053" y="8307"/>
                    </a:cubicBezTo>
                    <a:cubicBezTo>
                      <a:pt x="3054" y="8308"/>
                      <a:pt x="3055" y="8309"/>
                      <a:pt x="3055" y="8310"/>
                    </a:cubicBezTo>
                    <a:cubicBezTo>
                      <a:pt x="3370" y="8134"/>
                      <a:pt x="3370" y="8134"/>
                      <a:pt x="3370" y="8134"/>
                    </a:cubicBezTo>
                    <a:cubicBezTo>
                      <a:pt x="3292" y="8043"/>
                      <a:pt x="3292" y="8043"/>
                      <a:pt x="3292" y="8043"/>
                    </a:cubicBezTo>
                    <a:cubicBezTo>
                      <a:pt x="3284" y="8037"/>
                      <a:pt x="3222" y="7996"/>
                      <a:pt x="3160" y="7955"/>
                    </a:cubicBezTo>
                    <a:cubicBezTo>
                      <a:pt x="3126" y="7933"/>
                      <a:pt x="3093" y="7910"/>
                      <a:pt x="3068" y="7893"/>
                    </a:cubicBezTo>
                    <a:cubicBezTo>
                      <a:pt x="3061" y="7888"/>
                      <a:pt x="3055" y="7884"/>
                      <a:pt x="3049" y="7880"/>
                    </a:cubicBezTo>
                    <a:cubicBezTo>
                      <a:pt x="3003" y="7916"/>
                      <a:pt x="2951" y="7957"/>
                      <a:pt x="2900" y="8001"/>
                    </a:cubicBezTo>
                    <a:cubicBezTo>
                      <a:pt x="2883" y="8016"/>
                      <a:pt x="2867" y="8030"/>
                      <a:pt x="2851" y="8045"/>
                    </a:cubicBezTo>
                    <a:close/>
                    <a:moveTo>
                      <a:pt x="3320" y="8758"/>
                    </a:moveTo>
                    <a:cubicBezTo>
                      <a:pt x="3449" y="8812"/>
                      <a:pt x="3449" y="8812"/>
                      <a:pt x="3449" y="8812"/>
                    </a:cubicBezTo>
                    <a:cubicBezTo>
                      <a:pt x="3702" y="8547"/>
                      <a:pt x="3702" y="8547"/>
                      <a:pt x="3702" y="8547"/>
                    </a:cubicBezTo>
                    <a:cubicBezTo>
                      <a:pt x="3573" y="8331"/>
                      <a:pt x="3573" y="8331"/>
                      <a:pt x="3573" y="8331"/>
                    </a:cubicBezTo>
                    <a:cubicBezTo>
                      <a:pt x="3469" y="8391"/>
                      <a:pt x="3469" y="8391"/>
                      <a:pt x="3469" y="8391"/>
                    </a:cubicBezTo>
                    <a:cubicBezTo>
                      <a:pt x="3465" y="8386"/>
                      <a:pt x="3465" y="8386"/>
                      <a:pt x="3465" y="8386"/>
                    </a:cubicBezTo>
                    <a:cubicBezTo>
                      <a:pt x="3416" y="8301"/>
                      <a:pt x="3416" y="8301"/>
                      <a:pt x="3416" y="8301"/>
                    </a:cubicBezTo>
                    <a:cubicBezTo>
                      <a:pt x="3519" y="8242"/>
                      <a:pt x="3519" y="8242"/>
                      <a:pt x="3519" y="8242"/>
                    </a:cubicBezTo>
                    <a:cubicBezTo>
                      <a:pt x="3467" y="8155"/>
                      <a:pt x="3467" y="8155"/>
                      <a:pt x="3467" y="8155"/>
                    </a:cubicBezTo>
                    <a:cubicBezTo>
                      <a:pt x="3213" y="8297"/>
                      <a:pt x="3213" y="8297"/>
                      <a:pt x="3213" y="8297"/>
                    </a:cubicBezTo>
                    <a:cubicBezTo>
                      <a:pt x="3229" y="8328"/>
                      <a:pt x="3257" y="8384"/>
                      <a:pt x="3286" y="8438"/>
                    </a:cubicBezTo>
                    <a:cubicBezTo>
                      <a:pt x="3326" y="8517"/>
                      <a:pt x="3367" y="8593"/>
                      <a:pt x="3367" y="8594"/>
                    </a:cubicBezTo>
                    <a:cubicBezTo>
                      <a:pt x="3368" y="8596"/>
                      <a:pt x="3368" y="8596"/>
                      <a:pt x="3368" y="8596"/>
                    </a:cubicBezTo>
                    <a:cubicBezTo>
                      <a:pt x="3367" y="8599"/>
                      <a:pt x="3367" y="8599"/>
                      <a:pt x="3367" y="8599"/>
                    </a:cubicBezTo>
                    <a:cubicBezTo>
                      <a:pt x="3367" y="8599"/>
                      <a:pt x="3357" y="8638"/>
                      <a:pt x="3346" y="8678"/>
                    </a:cubicBezTo>
                    <a:cubicBezTo>
                      <a:pt x="3341" y="8697"/>
                      <a:pt x="3335" y="8717"/>
                      <a:pt x="3330" y="8732"/>
                    </a:cubicBezTo>
                    <a:cubicBezTo>
                      <a:pt x="3328" y="8740"/>
                      <a:pt x="3326" y="8746"/>
                      <a:pt x="3324" y="8750"/>
                    </a:cubicBezTo>
                    <a:cubicBezTo>
                      <a:pt x="3323" y="8753"/>
                      <a:pt x="3322" y="8755"/>
                      <a:pt x="3321" y="8756"/>
                    </a:cubicBezTo>
                    <a:cubicBezTo>
                      <a:pt x="3321" y="8757"/>
                      <a:pt x="3321" y="8757"/>
                      <a:pt x="3320" y="8758"/>
                    </a:cubicBezTo>
                    <a:close/>
                    <a:moveTo>
                      <a:pt x="3459" y="8821"/>
                    </a:moveTo>
                    <a:cubicBezTo>
                      <a:pt x="3580" y="9059"/>
                      <a:pt x="3580" y="9059"/>
                      <a:pt x="3580" y="9059"/>
                    </a:cubicBezTo>
                    <a:cubicBezTo>
                      <a:pt x="3603" y="9039"/>
                      <a:pt x="3685" y="8968"/>
                      <a:pt x="3767" y="8897"/>
                    </a:cubicBezTo>
                    <a:cubicBezTo>
                      <a:pt x="3815" y="8855"/>
                      <a:pt x="3864" y="8812"/>
                      <a:pt x="3900" y="8780"/>
                    </a:cubicBezTo>
                    <a:cubicBezTo>
                      <a:pt x="3918" y="8764"/>
                      <a:pt x="3933" y="8751"/>
                      <a:pt x="3944" y="8741"/>
                    </a:cubicBezTo>
                    <a:cubicBezTo>
                      <a:pt x="3949" y="8736"/>
                      <a:pt x="3953" y="8732"/>
                      <a:pt x="3956" y="8730"/>
                    </a:cubicBezTo>
                    <a:cubicBezTo>
                      <a:pt x="3957" y="8729"/>
                      <a:pt x="3958" y="8728"/>
                      <a:pt x="3959" y="8727"/>
                    </a:cubicBezTo>
                    <a:cubicBezTo>
                      <a:pt x="3960" y="8724"/>
                      <a:pt x="3961" y="8725"/>
                      <a:pt x="3961" y="8724"/>
                    </a:cubicBezTo>
                    <a:cubicBezTo>
                      <a:pt x="3961" y="8724"/>
                      <a:pt x="3961" y="8724"/>
                      <a:pt x="3961" y="8724"/>
                    </a:cubicBezTo>
                    <a:cubicBezTo>
                      <a:pt x="3961" y="8724"/>
                      <a:pt x="3961" y="8724"/>
                      <a:pt x="3961" y="8724"/>
                    </a:cubicBezTo>
                    <a:cubicBezTo>
                      <a:pt x="3966" y="8721"/>
                      <a:pt x="3989" y="8710"/>
                      <a:pt x="4026" y="8692"/>
                    </a:cubicBezTo>
                    <a:cubicBezTo>
                      <a:pt x="4124" y="8644"/>
                      <a:pt x="4305" y="8557"/>
                      <a:pt x="4345" y="8537"/>
                    </a:cubicBezTo>
                    <a:cubicBezTo>
                      <a:pt x="4335" y="8494"/>
                      <a:pt x="4326" y="8458"/>
                      <a:pt x="4319" y="8436"/>
                    </a:cubicBezTo>
                    <a:cubicBezTo>
                      <a:pt x="4314" y="8421"/>
                      <a:pt x="4296" y="8384"/>
                      <a:pt x="4272" y="8339"/>
                    </a:cubicBezTo>
                    <a:cubicBezTo>
                      <a:pt x="4271" y="8339"/>
                      <a:pt x="4270" y="8339"/>
                      <a:pt x="4269" y="8339"/>
                    </a:cubicBezTo>
                    <a:cubicBezTo>
                      <a:pt x="3864" y="8588"/>
                      <a:pt x="3864" y="8588"/>
                      <a:pt x="3864" y="8588"/>
                    </a:cubicBezTo>
                    <a:cubicBezTo>
                      <a:pt x="3713" y="8555"/>
                      <a:pt x="3713" y="8555"/>
                      <a:pt x="3713" y="8555"/>
                    </a:cubicBezTo>
                    <a:lnTo>
                      <a:pt x="3459" y="8821"/>
                    </a:lnTo>
                    <a:close/>
                    <a:moveTo>
                      <a:pt x="4287" y="9031"/>
                    </a:moveTo>
                    <a:cubicBezTo>
                      <a:pt x="4287" y="9031"/>
                      <a:pt x="4287" y="9031"/>
                      <a:pt x="4288" y="9031"/>
                    </a:cubicBezTo>
                    <a:cubicBezTo>
                      <a:pt x="4343" y="8992"/>
                      <a:pt x="4394" y="8956"/>
                      <a:pt x="4424" y="8935"/>
                    </a:cubicBezTo>
                    <a:cubicBezTo>
                      <a:pt x="4418" y="8900"/>
                      <a:pt x="4404" y="8821"/>
                      <a:pt x="4387" y="8735"/>
                    </a:cubicBezTo>
                    <a:cubicBezTo>
                      <a:pt x="4375" y="8673"/>
                      <a:pt x="4361" y="8607"/>
                      <a:pt x="4348" y="8551"/>
                    </a:cubicBezTo>
                    <a:cubicBezTo>
                      <a:pt x="4320" y="8565"/>
                      <a:pt x="4242" y="8602"/>
                      <a:pt x="4164" y="8640"/>
                    </a:cubicBezTo>
                    <a:cubicBezTo>
                      <a:pt x="4115" y="8664"/>
                      <a:pt x="4066" y="8688"/>
                      <a:pt x="4029" y="8706"/>
                    </a:cubicBezTo>
                    <a:cubicBezTo>
                      <a:pt x="4011" y="8715"/>
                      <a:pt x="3996" y="8722"/>
                      <a:pt x="3985" y="8728"/>
                    </a:cubicBezTo>
                    <a:cubicBezTo>
                      <a:pt x="3981" y="8729"/>
                      <a:pt x="3979" y="8730"/>
                      <a:pt x="3977" y="8732"/>
                    </a:cubicBezTo>
                    <a:cubicBezTo>
                      <a:pt x="3997" y="8752"/>
                      <a:pt x="4065" y="8818"/>
                      <a:pt x="4134" y="8885"/>
                    </a:cubicBezTo>
                    <a:cubicBezTo>
                      <a:pt x="4175" y="8925"/>
                      <a:pt x="4217" y="8965"/>
                      <a:pt x="4248" y="8995"/>
                    </a:cubicBezTo>
                    <a:cubicBezTo>
                      <a:pt x="4264" y="9010"/>
                      <a:pt x="4278" y="9022"/>
                      <a:pt x="4287" y="9031"/>
                    </a:cubicBezTo>
                    <a:close/>
                    <a:moveTo>
                      <a:pt x="5039" y="7912"/>
                    </a:moveTo>
                    <a:cubicBezTo>
                      <a:pt x="4999" y="7861"/>
                      <a:pt x="4759" y="7510"/>
                      <a:pt x="4718" y="7450"/>
                    </a:cubicBezTo>
                    <a:cubicBezTo>
                      <a:pt x="4291" y="7693"/>
                      <a:pt x="4291" y="7693"/>
                      <a:pt x="4291" y="7693"/>
                    </a:cubicBezTo>
                    <a:cubicBezTo>
                      <a:pt x="4568" y="8174"/>
                      <a:pt x="4568" y="8174"/>
                      <a:pt x="4568" y="8174"/>
                    </a:cubicBezTo>
                    <a:cubicBezTo>
                      <a:pt x="4605" y="8153"/>
                      <a:pt x="4644" y="8131"/>
                      <a:pt x="4683" y="8110"/>
                    </a:cubicBezTo>
                    <a:cubicBezTo>
                      <a:pt x="4844" y="8020"/>
                      <a:pt x="5004" y="7932"/>
                      <a:pt x="5039" y="7912"/>
                    </a:cubicBezTo>
                    <a:close/>
                    <a:moveTo>
                      <a:pt x="5050" y="7904"/>
                    </a:moveTo>
                    <a:cubicBezTo>
                      <a:pt x="5050" y="7904"/>
                      <a:pt x="5050" y="7905"/>
                      <a:pt x="5051" y="7905"/>
                    </a:cubicBezTo>
                    <a:cubicBezTo>
                      <a:pt x="5438" y="7628"/>
                      <a:pt x="5438" y="7628"/>
                      <a:pt x="5438" y="7628"/>
                    </a:cubicBezTo>
                    <a:cubicBezTo>
                      <a:pt x="5161" y="7197"/>
                      <a:pt x="5161" y="7197"/>
                      <a:pt x="5161" y="7197"/>
                    </a:cubicBezTo>
                    <a:cubicBezTo>
                      <a:pt x="4730" y="7443"/>
                      <a:pt x="4730" y="7443"/>
                      <a:pt x="4730" y="7443"/>
                    </a:cubicBezTo>
                    <a:cubicBezTo>
                      <a:pt x="4751" y="7473"/>
                      <a:pt x="4818" y="7571"/>
                      <a:pt x="4886" y="7670"/>
                    </a:cubicBezTo>
                    <a:cubicBezTo>
                      <a:pt x="4927" y="7729"/>
                      <a:pt x="4968" y="7789"/>
                      <a:pt x="5000" y="7834"/>
                    </a:cubicBezTo>
                    <a:cubicBezTo>
                      <a:pt x="5016" y="7856"/>
                      <a:pt x="5029" y="7875"/>
                      <a:pt x="5038" y="7888"/>
                    </a:cubicBezTo>
                    <a:cubicBezTo>
                      <a:pt x="5043" y="7895"/>
                      <a:pt x="5047" y="7900"/>
                      <a:pt x="5050" y="7904"/>
                    </a:cubicBezTo>
                    <a:close/>
                    <a:moveTo>
                      <a:pt x="5449" y="7619"/>
                    </a:moveTo>
                    <a:cubicBezTo>
                      <a:pt x="5842" y="7293"/>
                      <a:pt x="5842" y="7293"/>
                      <a:pt x="5842" y="7293"/>
                    </a:cubicBezTo>
                    <a:cubicBezTo>
                      <a:pt x="5528" y="7016"/>
                      <a:pt x="5528" y="7016"/>
                      <a:pt x="5528" y="7016"/>
                    </a:cubicBezTo>
                    <a:cubicBezTo>
                      <a:pt x="5571" y="6903"/>
                      <a:pt x="5571" y="6903"/>
                      <a:pt x="5571" y="6903"/>
                    </a:cubicBezTo>
                    <a:cubicBezTo>
                      <a:pt x="5173" y="7190"/>
                      <a:pt x="5173" y="7190"/>
                      <a:pt x="5173" y="7190"/>
                    </a:cubicBezTo>
                    <a:lnTo>
                      <a:pt x="5449" y="7619"/>
                    </a:lnTo>
                    <a:close/>
                    <a:moveTo>
                      <a:pt x="5455" y="7632"/>
                    </a:moveTo>
                    <a:cubicBezTo>
                      <a:pt x="5479" y="7806"/>
                      <a:pt x="5479" y="7806"/>
                      <a:pt x="5479" y="7806"/>
                    </a:cubicBezTo>
                    <a:cubicBezTo>
                      <a:pt x="5511" y="7787"/>
                      <a:pt x="5639" y="7711"/>
                      <a:pt x="5767" y="7634"/>
                    </a:cubicBezTo>
                    <a:cubicBezTo>
                      <a:pt x="5841" y="7590"/>
                      <a:pt x="5915" y="7545"/>
                      <a:pt x="5970" y="7512"/>
                    </a:cubicBezTo>
                    <a:cubicBezTo>
                      <a:pt x="5998" y="7495"/>
                      <a:pt x="6021" y="7481"/>
                      <a:pt x="6037" y="7471"/>
                    </a:cubicBezTo>
                    <a:cubicBezTo>
                      <a:pt x="6039" y="7470"/>
                      <a:pt x="6040" y="7469"/>
                      <a:pt x="6041" y="7468"/>
                    </a:cubicBezTo>
                    <a:cubicBezTo>
                      <a:pt x="6041" y="7467"/>
                      <a:pt x="6041" y="7467"/>
                      <a:pt x="6041" y="7467"/>
                    </a:cubicBezTo>
                    <a:cubicBezTo>
                      <a:pt x="5853" y="7302"/>
                      <a:pt x="5853" y="7302"/>
                      <a:pt x="5853" y="7302"/>
                    </a:cubicBezTo>
                    <a:lnTo>
                      <a:pt x="5455" y="7632"/>
                    </a:lnTo>
                    <a:close/>
                    <a:moveTo>
                      <a:pt x="5482" y="7821"/>
                    </a:moveTo>
                    <a:cubicBezTo>
                      <a:pt x="5502" y="7961"/>
                      <a:pt x="5502" y="7961"/>
                      <a:pt x="5502" y="7961"/>
                    </a:cubicBezTo>
                    <a:cubicBezTo>
                      <a:pt x="5827" y="7973"/>
                      <a:pt x="5827" y="7973"/>
                      <a:pt x="5827" y="7973"/>
                    </a:cubicBezTo>
                    <a:cubicBezTo>
                      <a:pt x="5826" y="7973"/>
                      <a:pt x="6019" y="7970"/>
                      <a:pt x="6080" y="7969"/>
                    </a:cubicBezTo>
                    <a:cubicBezTo>
                      <a:pt x="6042" y="7484"/>
                      <a:pt x="6042" y="7484"/>
                      <a:pt x="6042" y="7484"/>
                    </a:cubicBezTo>
                    <a:cubicBezTo>
                      <a:pt x="5991" y="7516"/>
                      <a:pt x="5879" y="7583"/>
                      <a:pt x="5768" y="7650"/>
                    </a:cubicBezTo>
                    <a:cubicBezTo>
                      <a:pt x="5633" y="7731"/>
                      <a:pt x="5500" y="7810"/>
                      <a:pt x="5482" y="7821"/>
                    </a:cubicBezTo>
                    <a:close/>
                    <a:moveTo>
                      <a:pt x="6135" y="7821"/>
                    </a:moveTo>
                    <a:cubicBezTo>
                      <a:pt x="6144" y="7821"/>
                      <a:pt x="6156" y="7822"/>
                      <a:pt x="6170" y="7822"/>
                    </a:cubicBezTo>
                    <a:cubicBezTo>
                      <a:pt x="6171" y="7762"/>
                      <a:pt x="6171" y="7762"/>
                      <a:pt x="6171" y="7762"/>
                    </a:cubicBezTo>
                    <a:cubicBezTo>
                      <a:pt x="6214" y="7763"/>
                      <a:pt x="6214" y="7763"/>
                      <a:pt x="6214" y="7763"/>
                    </a:cubicBezTo>
                    <a:cubicBezTo>
                      <a:pt x="6215" y="7716"/>
                      <a:pt x="6215" y="7716"/>
                      <a:pt x="6215" y="7716"/>
                    </a:cubicBezTo>
                    <a:cubicBezTo>
                      <a:pt x="6301" y="7718"/>
                      <a:pt x="6301" y="7718"/>
                      <a:pt x="6301" y="7718"/>
                    </a:cubicBezTo>
                    <a:cubicBezTo>
                      <a:pt x="6299" y="7826"/>
                      <a:pt x="6299" y="7826"/>
                      <a:pt x="6299" y="7826"/>
                    </a:cubicBezTo>
                    <a:cubicBezTo>
                      <a:pt x="6319" y="7827"/>
                      <a:pt x="6340" y="7828"/>
                      <a:pt x="6361" y="7828"/>
                    </a:cubicBezTo>
                    <a:cubicBezTo>
                      <a:pt x="6465" y="7831"/>
                      <a:pt x="6568" y="7834"/>
                      <a:pt x="6597" y="7835"/>
                    </a:cubicBezTo>
                    <a:cubicBezTo>
                      <a:pt x="6592" y="7695"/>
                      <a:pt x="6592" y="7695"/>
                      <a:pt x="6592" y="7695"/>
                    </a:cubicBezTo>
                    <a:cubicBezTo>
                      <a:pt x="6123" y="7670"/>
                      <a:pt x="6123" y="7670"/>
                      <a:pt x="6123" y="7670"/>
                    </a:cubicBezTo>
                    <a:lnTo>
                      <a:pt x="6135" y="7821"/>
                    </a:lnTo>
                    <a:close/>
                    <a:moveTo>
                      <a:pt x="6225" y="7867"/>
                    </a:moveTo>
                    <a:cubicBezTo>
                      <a:pt x="6224" y="7914"/>
                      <a:pt x="6224" y="7914"/>
                      <a:pt x="6224" y="7914"/>
                    </a:cubicBezTo>
                    <a:cubicBezTo>
                      <a:pt x="6284" y="7915"/>
                      <a:pt x="6284" y="7915"/>
                      <a:pt x="6284" y="7915"/>
                    </a:cubicBezTo>
                    <a:cubicBezTo>
                      <a:pt x="6286" y="7840"/>
                      <a:pt x="6286" y="7840"/>
                      <a:pt x="6286" y="7840"/>
                    </a:cubicBezTo>
                    <a:cubicBezTo>
                      <a:pt x="6249" y="7839"/>
                      <a:pt x="6214" y="7838"/>
                      <a:pt x="6185" y="7837"/>
                    </a:cubicBezTo>
                    <a:cubicBezTo>
                      <a:pt x="6184" y="7837"/>
                      <a:pt x="6183" y="7836"/>
                      <a:pt x="6183" y="7836"/>
                    </a:cubicBezTo>
                    <a:cubicBezTo>
                      <a:pt x="6182" y="7866"/>
                      <a:pt x="6182" y="7866"/>
                      <a:pt x="6182" y="7866"/>
                    </a:cubicBezTo>
                    <a:lnTo>
                      <a:pt x="6225" y="7867"/>
                    </a:lnTo>
                    <a:close/>
                    <a:moveTo>
                      <a:pt x="6286" y="7826"/>
                    </a:moveTo>
                    <a:cubicBezTo>
                      <a:pt x="6288" y="7731"/>
                      <a:pt x="6288" y="7731"/>
                      <a:pt x="6288" y="7731"/>
                    </a:cubicBezTo>
                    <a:cubicBezTo>
                      <a:pt x="6228" y="7730"/>
                      <a:pt x="6228" y="7730"/>
                      <a:pt x="6228" y="7730"/>
                    </a:cubicBezTo>
                    <a:cubicBezTo>
                      <a:pt x="6227" y="7777"/>
                      <a:pt x="6227" y="7777"/>
                      <a:pt x="6227" y="7777"/>
                    </a:cubicBezTo>
                    <a:cubicBezTo>
                      <a:pt x="6184" y="7776"/>
                      <a:pt x="6184" y="7776"/>
                      <a:pt x="6184" y="7776"/>
                    </a:cubicBezTo>
                    <a:cubicBezTo>
                      <a:pt x="6183" y="7822"/>
                      <a:pt x="6183" y="7822"/>
                      <a:pt x="6183" y="7822"/>
                    </a:cubicBezTo>
                    <a:cubicBezTo>
                      <a:pt x="6212" y="7824"/>
                      <a:pt x="6248" y="7825"/>
                      <a:pt x="6286" y="7826"/>
                    </a:cubicBezTo>
                    <a:close/>
                    <a:moveTo>
                      <a:pt x="6136" y="7835"/>
                    </a:moveTo>
                    <a:cubicBezTo>
                      <a:pt x="6148" y="7996"/>
                      <a:pt x="6148" y="7996"/>
                      <a:pt x="6148" y="7996"/>
                    </a:cubicBezTo>
                    <a:cubicBezTo>
                      <a:pt x="6227" y="7996"/>
                      <a:pt x="6450" y="7998"/>
                      <a:pt x="6555" y="7998"/>
                    </a:cubicBezTo>
                    <a:cubicBezTo>
                      <a:pt x="6571" y="7998"/>
                      <a:pt x="6584" y="7998"/>
                      <a:pt x="6593" y="7998"/>
                    </a:cubicBezTo>
                    <a:cubicBezTo>
                      <a:pt x="6598" y="7998"/>
                      <a:pt x="6601" y="7998"/>
                      <a:pt x="6603" y="7998"/>
                    </a:cubicBezTo>
                    <a:cubicBezTo>
                      <a:pt x="6598" y="7849"/>
                      <a:pt x="6598" y="7849"/>
                      <a:pt x="6598" y="7849"/>
                    </a:cubicBezTo>
                    <a:cubicBezTo>
                      <a:pt x="6569" y="7848"/>
                      <a:pt x="6463" y="7845"/>
                      <a:pt x="6356" y="7842"/>
                    </a:cubicBezTo>
                    <a:cubicBezTo>
                      <a:pt x="6337" y="7841"/>
                      <a:pt x="6318" y="7841"/>
                      <a:pt x="6299" y="7840"/>
                    </a:cubicBezTo>
                    <a:cubicBezTo>
                      <a:pt x="6297" y="7928"/>
                      <a:pt x="6297" y="7928"/>
                      <a:pt x="6297" y="7928"/>
                    </a:cubicBezTo>
                    <a:cubicBezTo>
                      <a:pt x="6291" y="7928"/>
                      <a:pt x="6291" y="7928"/>
                      <a:pt x="6291" y="7928"/>
                    </a:cubicBezTo>
                    <a:cubicBezTo>
                      <a:pt x="6211" y="7927"/>
                      <a:pt x="6211" y="7927"/>
                      <a:pt x="6211" y="7927"/>
                    </a:cubicBezTo>
                    <a:cubicBezTo>
                      <a:pt x="6212" y="7880"/>
                      <a:pt x="6212" y="7880"/>
                      <a:pt x="6212" y="7880"/>
                    </a:cubicBezTo>
                    <a:cubicBezTo>
                      <a:pt x="6169" y="7879"/>
                      <a:pt x="6169" y="7879"/>
                      <a:pt x="6169" y="7879"/>
                    </a:cubicBezTo>
                    <a:cubicBezTo>
                      <a:pt x="6169" y="7836"/>
                      <a:pt x="6169" y="7836"/>
                      <a:pt x="6169" y="7836"/>
                    </a:cubicBezTo>
                    <a:cubicBezTo>
                      <a:pt x="6156" y="7835"/>
                      <a:pt x="6145" y="7835"/>
                      <a:pt x="6136" y="7835"/>
                    </a:cubicBezTo>
                    <a:close/>
                    <a:moveTo>
                      <a:pt x="6149" y="8010"/>
                    </a:moveTo>
                    <a:cubicBezTo>
                      <a:pt x="6161" y="8156"/>
                      <a:pt x="6161" y="8156"/>
                      <a:pt x="6161" y="8156"/>
                    </a:cubicBezTo>
                    <a:cubicBezTo>
                      <a:pt x="6206" y="8153"/>
                      <a:pt x="6206" y="8153"/>
                      <a:pt x="6206" y="8153"/>
                    </a:cubicBezTo>
                    <a:cubicBezTo>
                      <a:pt x="6207" y="8096"/>
                      <a:pt x="6207" y="8096"/>
                      <a:pt x="6207" y="8096"/>
                    </a:cubicBezTo>
                    <a:cubicBezTo>
                      <a:pt x="6250" y="8096"/>
                      <a:pt x="6250" y="8096"/>
                      <a:pt x="6250" y="8096"/>
                    </a:cubicBezTo>
                    <a:cubicBezTo>
                      <a:pt x="6251" y="8049"/>
                      <a:pt x="6251" y="8049"/>
                      <a:pt x="6251" y="8049"/>
                    </a:cubicBezTo>
                    <a:cubicBezTo>
                      <a:pt x="6337" y="8051"/>
                      <a:pt x="6337" y="8051"/>
                      <a:pt x="6337" y="8051"/>
                    </a:cubicBezTo>
                    <a:cubicBezTo>
                      <a:pt x="6335" y="8144"/>
                      <a:pt x="6335" y="8144"/>
                      <a:pt x="6335" y="8144"/>
                    </a:cubicBezTo>
                    <a:cubicBezTo>
                      <a:pt x="6719" y="8119"/>
                      <a:pt x="6719" y="8119"/>
                      <a:pt x="6719" y="8119"/>
                    </a:cubicBezTo>
                    <a:cubicBezTo>
                      <a:pt x="6715" y="7963"/>
                      <a:pt x="6715" y="7963"/>
                      <a:pt x="6715" y="7963"/>
                    </a:cubicBezTo>
                    <a:cubicBezTo>
                      <a:pt x="6783" y="7978"/>
                      <a:pt x="6783" y="7978"/>
                      <a:pt x="6783" y="7978"/>
                    </a:cubicBezTo>
                    <a:cubicBezTo>
                      <a:pt x="6783" y="7978"/>
                      <a:pt x="6783" y="7978"/>
                      <a:pt x="6783" y="7978"/>
                    </a:cubicBezTo>
                    <a:cubicBezTo>
                      <a:pt x="6781" y="7973"/>
                      <a:pt x="6781" y="7965"/>
                      <a:pt x="6780" y="7949"/>
                    </a:cubicBezTo>
                    <a:cubicBezTo>
                      <a:pt x="6775" y="7858"/>
                      <a:pt x="6775" y="7566"/>
                      <a:pt x="6775" y="7483"/>
                    </a:cubicBezTo>
                    <a:cubicBezTo>
                      <a:pt x="6715" y="7484"/>
                      <a:pt x="6655" y="7484"/>
                      <a:pt x="6597" y="7484"/>
                    </a:cubicBezTo>
                    <a:cubicBezTo>
                      <a:pt x="6622" y="8125"/>
                      <a:pt x="6622" y="8125"/>
                      <a:pt x="6622" y="8125"/>
                    </a:cubicBezTo>
                    <a:cubicBezTo>
                      <a:pt x="6608" y="8126"/>
                      <a:pt x="6608" y="8126"/>
                      <a:pt x="6608" y="8126"/>
                    </a:cubicBezTo>
                    <a:cubicBezTo>
                      <a:pt x="6604" y="8012"/>
                      <a:pt x="6604" y="8012"/>
                      <a:pt x="6604" y="8012"/>
                    </a:cubicBezTo>
                    <a:cubicBezTo>
                      <a:pt x="6595" y="8012"/>
                      <a:pt x="6579" y="8012"/>
                      <a:pt x="6555" y="8012"/>
                    </a:cubicBezTo>
                    <a:cubicBezTo>
                      <a:pt x="6491" y="8012"/>
                      <a:pt x="6382" y="8011"/>
                      <a:pt x="6289" y="8011"/>
                    </a:cubicBezTo>
                    <a:cubicBezTo>
                      <a:pt x="6243" y="8010"/>
                      <a:pt x="6200" y="8010"/>
                      <a:pt x="6169" y="8010"/>
                    </a:cubicBezTo>
                    <a:cubicBezTo>
                      <a:pt x="6162" y="8010"/>
                      <a:pt x="6155" y="8010"/>
                      <a:pt x="6149" y="8010"/>
                    </a:cubicBezTo>
                    <a:close/>
                    <a:moveTo>
                      <a:pt x="6261" y="8200"/>
                    </a:moveTo>
                    <a:cubicBezTo>
                      <a:pt x="6260" y="8247"/>
                      <a:pt x="6260" y="8247"/>
                      <a:pt x="6260" y="8247"/>
                    </a:cubicBezTo>
                    <a:cubicBezTo>
                      <a:pt x="6320" y="8248"/>
                      <a:pt x="6320" y="8248"/>
                      <a:pt x="6320" y="8248"/>
                    </a:cubicBezTo>
                    <a:cubicBezTo>
                      <a:pt x="6322" y="8159"/>
                      <a:pt x="6322" y="8159"/>
                      <a:pt x="6322" y="8159"/>
                    </a:cubicBezTo>
                    <a:cubicBezTo>
                      <a:pt x="6219" y="8166"/>
                      <a:pt x="6219" y="8166"/>
                      <a:pt x="6219" y="8166"/>
                    </a:cubicBezTo>
                    <a:cubicBezTo>
                      <a:pt x="6218" y="8199"/>
                      <a:pt x="6218" y="8199"/>
                      <a:pt x="6218" y="8199"/>
                    </a:cubicBezTo>
                    <a:lnTo>
                      <a:pt x="6261" y="8200"/>
                    </a:lnTo>
                    <a:close/>
                    <a:moveTo>
                      <a:pt x="6322" y="8145"/>
                    </a:moveTo>
                    <a:cubicBezTo>
                      <a:pt x="6324" y="8064"/>
                      <a:pt x="6324" y="8064"/>
                      <a:pt x="6324" y="8064"/>
                    </a:cubicBezTo>
                    <a:cubicBezTo>
                      <a:pt x="6264" y="8063"/>
                      <a:pt x="6264" y="8063"/>
                      <a:pt x="6264" y="8063"/>
                    </a:cubicBezTo>
                    <a:cubicBezTo>
                      <a:pt x="6263" y="8110"/>
                      <a:pt x="6263" y="8110"/>
                      <a:pt x="6263" y="8110"/>
                    </a:cubicBezTo>
                    <a:cubicBezTo>
                      <a:pt x="6220" y="8109"/>
                      <a:pt x="6220" y="8109"/>
                      <a:pt x="6220" y="8109"/>
                    </a:cubicBezTo>
                    <a:cubicBezTo>
                      <a:pt x="6219" y="8152"/>
                      <a:pt x="6219" y="8152"/>
                      <a:pt x="6219" y="8152"/>
                    </a:cubicBezTo>
                    <a:lnTo>
                      <a:pt x="6322" y="8145"/>
                    </a:lnTo>
                    <a:close/>
                    <a:moveTo>
                      <a:pt x="6185" y="8467"/>
                    </a:moveTo>
                    <a:cubicBezTo>
                      <a:pt x="6205" y="8713"/>
                      <a:pt x="6205" y="8713"/>
                      <a:pt x="6205" y="8713"/>
                    </a:cubicBezTo>
                    <a:cubicBezTo>
                      <a:pt x="6406" y="8719"/>
                      <a:pt x="6406" y="8719"/>
                      <a:pt x="6406" y="8719"/>
                    </a:cubicBezTo>
                    <a:cubicBezTo>
                      <a:pt x="6412" y="8454"/>
                      <a:pt x="6412" y="8454"/>
                      <a:pt x="6412" y="8454"/>
                    </a:cubicBezTo>
                    <a:lnTo>
                      <a:pt x="6185" y="8467"/>
                    </a:lnTo>
                    <a:close/>
                    <a:moveTo>
                      <a:pt x="6718" y="9511"/>
                    </a:moveTo>
                    <a:cubicBezTo>
                      <a:pt x="6700" y="9380"/>
                      <a:pt x="6700" y="9380"/>
                      <a:pt x="6700" y="9380"/>
                    </a:cubicBezTo>
                    <a:cubicBezTo>
                      <a:pt x="6813" y="9321"/>
                      <a:pt x="6813" y="9321"/>
                      <a:pt x="6813" y="9321"/>
                    </a:cubicBezTo>
                    <a:cubicBezTo>
                      <a:pt x="6754" y="9310"/>
                      <a:pt x="6481" y="9243"/>
                      <a:pt x="6481" y="9243"/>
                    </a:cubicBezTo>
                    <a:cubicBezTo>
                      <a:pt x="6475" y="9242"/>
                      <a:pt x="6475" y="9242"/>
                      <a:pt x="6475" y="9242"/>
                    </a:cubicBezTo>
                    <a:cubicBezTo>
                      <a:pt x="6475" y="9181"/>
                      <a:pt x="6475" y="9181"/>
                      <a:pt x="6475" y="9181"/>
                    </a:cubicBezTo>
                    <a:cubicBezTo>
                      <a:pt x="6317" y="9171"/>
                      <a:pt x="6317" y="9171"/>
                      <a:pt x="6317" y="9171"/>
                    </a:cubicBezTo>
                    <a:cubicBezTo>
                      <a:pt x="6316" y="9215"/>
                      <a:pt x="6315" y="9258"/>
                      <a:pt x="6313" y="9297"/>
                    </a:cubicBezTo>
                    <a:cubicBezTo>
                      <a:pt x="6312" y="9340"/>
                      <a:pt x="6304" y="9380"/>
                      <a:pt x="6290" y="9413"/>
                    </a:cubicBezTo>
                    <a:lnTo>
                      <a:pt x="6718" y="9511"/>
                    </a:lnTo>
                    <a:close/>
                    <a:moveTo>
                      <a:pt x="6818" y="9308"/>
                    </a:moveTo>
                    <a:cubicBezTo>
                      <a:pt x="6824" y="9274"/>
                      <a:pt x="6839" y="9186"/>
                      <a:pt x="6855" y="9091"/>
                    </a:cubicBezTo>
                    <a:cubicBezTo>
                      <a:pt x="6493" y="9016"/>
                      <a:pt x="6493" y="9016"/>
                      <a:pt x="6493" y="9016"/>
                    </a:cubicBezTo>
                    <a:cubicBezTo>
                      <a:pt x="6499" y="8954"/>
                      <a:pt x="6499" y="8954"/>
                      <a:pt x="6499" y="8954"/>
                    </a:cubicBezTo>
                    <a:cubicBezTo>
                      <a:pt x="6320" y="8953"/>
                      <a:pt x="6320" y="8953"/>
                      <a:pt x="6320" y="8953"/>
                    </a:cubicBezTo>
                    <a:cubicBezTo>
                      <a:pt x="6320" y="9016"/>
                      <a:pt x="6319" y="9087"/>
                      <a:pt x="6317" y="9157"/>
                    </a:cubicBezTo>
                    <a:cubicBezTo>
                      <a:pt x="6489" y="9168"/>
                      <a:pt x="6489" y="9168"/>
                      <a:pt x="6489" y="9168"/>
                    </a:cubicBezTo>
                    <a:cubicBezTo>
                      <a:pt x="6489" y="9231"/>
                      <a:pt x="6489" y="9231"/>
                      <a:pt x="6489" y="9231"/>
                    </a:cubicBezTo>
                    <a:cubicBezTo>
                      <a:pt x="6509" y="9236"/>
                      <a:pt x="6578" y="9253"/>
                      <a:pt x="6650" y="9270"/>
                    </a:cubicBezTo>
                    <a:cubicBezTo>
                      <a:pt x="6722" y="9287"/>
                      <a:pt x="6797" y="9304"/>
                      <a:pt x="6818" y="9308"/>
                    </a:cubicBezTo>
                    <a:close/>
                    <a:moveTo>
                      <a:pt x="6857" y="9077"/>
                    </a:moveTo>
                    <a:cubicBezTo>
                      <a:pt x="6858" y="9069"/>
                      <a:pt x="6860" y="9061"/>
                      <a:pt x="6861" y="9053"/>
                    </a:cubicBezTo>
                    <a:cubicBezTo>
                      <a:pt x="6872" y="8986"/>
                      <a:pt x="6884" y="8918"/>
                      <a:pt x="6893" y="8867"/>
                    </a:cubicBezTo>
                    <a:cubicBezTo>
                      <a:pt x="6897" y="8841"/>
                      <a:pt x="6901" y="8820"/>
                      <a:pt x="6903" y="8805"/>
                    </a:cubicBezTo>
                    <a:cubicBezTo>
                      <a:pt x="6904" y="8803"/>
                      <a:pt x="6904" y="8801"/>
                      <a:pt x="6904" y="8800"/>
                    </a:cubicBezTo>
                    <a:cubicBezTo>
                      <a:pt x="6321" y="8782"/>
                      <a:pt x="6321" y="8782"/>
                      <a:pt x="6321" y="8782"/>
                    </a:cubicBezTo>
                    <a:cubicBezTo>
                      <a:pt x="6321" y="8813"/>
                      <a:pt x="6321" y="8870"/>
                      <a:pt x="6321" y="8939"/>
                    </a:cubicBezTo>
                    <a:cubicBezTo>
                      <a:pt x="6514" y="8940"/>
                      <a:pt x="6514" y="8940"/>
                      <a:pt x="6514" y="8940"/>
                    </a:cubicBezTo>
                    <a:cubicBezTo>
                      <a:pt x="6508" y="9005"/>
                      <a:pt x="6508" y="9005"/>
                      <a:pt x="6508" y="9005"/>
                    </a:cubicBezTo>
                    <a:lnTo>
                      <a:pt x="6857" y="9077"/>
                    </a:lnTo>
                    <a:close/>
                    <a:moveTo>
                      <a:pt x="6952" y="8735"/>
                    </a:moveTo>
                    <a:cubicBezTo>
                      <a:pt x="6952" y="8735"/>
                      <a:pt x="6952" y="8735"/>
                      <a:pt x="6952" y="8735"/>
                    </a:cubicBezTo>
                    <a:cubicBezTo>
                      <a:pt x="7212" y="8743"/>
                      <a:pt x="7212" y="8743"/>
                      <a:pt x="7212" y="8743"/>
                    </a:cubicBezTo>
                    <a:cubicBezTo>
                      <a:pt x="7162" y="8347"/>
                      <a:pt x="7162" y="8347"/>
                      <a:pt x="7162" y="8347"/>
                    </a:cubicBezTo>
                    <a:cubicBezTo>
                      <a:pt x="7098" y="8316"/>
                      <a:pt x="7098" y="8316"/>
                      <a:pt x="7098" y="8316"/>
                    </a:cubicBezTo>
                    <a:cubicBezTo>
                      <a:pt x="7094" y="8035"/>
                      <a:pt x="7094" y="8035"/>
                      <a:pt x="7094" y="8035"/>
                    </a:cubicBezTo>
                    <a:cubicBezTo>
                      <a:pt x="7025" y="8048"/>
                      <a:pt x="7025" y="8048"/>
                      <a:pt x="7025" y="8048"/>
                    </a:cubicBezTo>
                    <a:cubicBezTo>
                      <a:pt x="6883" y="8016"/>
                      <a:pt x="6883" y="8016"/>
                      <a:pt x="6883" y="8016"/>
                    </a:cubicBezTo>
                    <a:cubicBezTo>
                      <a:pt x="6871" y="8298"/>
                      <a:pt x="6871" y="8298"/>
                      <a:pt x="6871" y="8298"/>
                    </a:cubicBezTo>
                    <a:cubicBezTo>
                      <a:pt x="6977" y="8316"/>
                      <a:pt x="6977" y="8316"/>
                      <a:pt x="6977" y="8316"/>
                    </a:cubicBezTo>
                    <a:cubicBezTo>
                      <a:pt x="6977" y="8323"/>
                      <a:pt x="6977" y="8323"/>
                      <a:pt x="6977" y="8323"/>
                    </a:cubicBezTo>
                    <a:cubicBezTo>
                      <a:pt x="6977" y="8323"/>
                      <a:pt x="6952" y="8672"/>
                      <a:pt x="6952" y="8735"/>
                    </a:cubicBezTo>
                    <a:close/>
                    <a:moveTo>
                      <a:pt x="7176" y="8005"/>
                    </a:moveTo>
                    <a:cubicBezTo>
                      <a:pt x="7177" y="7960"/>
                      <a:pt x="7179" y="7644"/>
                      <a:pt x="7179" y="7514"/>
                    </a:cubicBezTo>
                    <a:cubicBezTo>
                      <a:pt x="7179" y="7502"/>
                      <a:pt x="7179" y="7493"/>
                      <a:pt x="7179" y="7485"/>
                    </a:cubicBezTo>
                    <a:cubicBezTo>
                      <a:pt x="7178" y="7485"/>
                      <a:pt x="7178" y="7485"/>
                      <a:pt x="7178" y="7485"/>
                    </a:cubicBezTo>
                    <a:cubicBezTo>
                      <a:pt x="7178" y="7482"/>
                      <a:pt x="7178" y="7482"/>
                      <a:pt x="7178" y="7482"/>
                    </a:cubicBezTo>
                    <a:cubicBezTo>
                      <a:pt x="7127" y="7482"/>
                      <a:pt x="7069" y="7482"/>
                      <a:pt x="7007" y="7483"/>
                    </a:cubicBezTo>
                    <a:cubicBezTo>
                      <a:pt x="7008" y="7511"/>
                      <a:pt x="7008" y="7511"/>
                      <a:pt x="7008" y="7511"/>
                    </a:cubicBezTo>
                    <a:cubicBezTo>
                      <a:pt x="7065" y="7509"/>
                      <a:pt x="7065" y="7509"/>
                      <a:pt x="7065" y="7509"/>
                    </a:cubicBezTo>
                    <a:cubicBezTo>
                      <a:pt x="7066" y="7552"/>
                      <a:pt x="7066" y="7552"/>
                      <a:pt x="7066" y="7552"/>
                    </a:cubicBezTo>
                    <a:cubicBezTo>
                      <a:pt x="7113" y="7551"/>
                      <a:pt x="7113" y="7551"/>
                      <a:pt x="7113" y="7551"/>
                    </a:cubicBezTo>
                    <a:cubicBezTo>
                      <a:pt x="7115" y="7637"/>
                      <a:pt x="7115" y="7637"/>
                      <a:pt x="7115" y="7637"/>
                    </a:cubicBezTo>
                    <a:cubicBezTo>
                      <a:pt x="7014" y="7640"/>
                      <a:pt x="7014" y="7640"/>
                      <a:pt x="7014" y="7640"/>
                    </a:cubicBezTo>
                    <a:cubicBezTo>
                      <a:pt x="7032" y="8033"/>
                      <a:pt x="7032" y="8033"/>
                      <a:pt x="7032" y="8033"/>
                    </a:cubicBezTo>
                    <a:lnTo>
                      <a:pt x="7176" y="8005"/>
                    </a:lnTo>
                    <a:close/>
                    <a:moveTo>
                      <a:pt x="7486" y="7379"/>
                    </a:moveTo>
                    <a:cubicBezTo>
                      <a:pt x="7532" y="7360"/>
                      <a:pt x="7573" y="7337"/>
                      <a:pt x="7606" y="7313"/>
                    </a:cubicBezTo>
                    <a:cubicBezTo>
                      <a:pt x="7642" y="7288"/>
                      <a:pt x="7669" y="7263"/>
                      <a:pt x="7688" y="7245"/>
                    </a:cubicBezTo>
                    <a:cubicBezTo>
                      <a:pt x="7698" y="7235"/>
                      <a:pt x="7705" y="7228"/>
                      <a:pt x="7709" y="7222"/>
                    </a:cubicBezTo>
                    <a:cubicBezTo>
                      <a:pt x="7711" y="7220"/>
                      <a:pt x="7713" y="7219"/>
                      <a:pt x="7714" y="7217"/>
                    </a:cubicBezTo>
                    <a:cubicBezTo>
                      <a:pt x="7716" y="7205"/>
                      <a:pt x="7719" y="7169"/>
                      <a:pt x="7721" y="7125"/>
                    </a:cubicBezTo>
                    <a:cubicBezTo>
                      <a:pt x="7724" y="7076"/>
                      <a:pt x="7727" y="7014"/>
                      <a:pt x="7731" y="6949"/>
                    </a:cubicBezTo>
                    <a:cubicBezTo>
                      <a:pt x="7675" y="6939"/>
                      <a:pt x="7496" y="6905"/>
                      <a:pt x="7465" y="6899"/>
                    </a:cubicBezTo>
                    <a:cubicBezTo>
                      <a:pt x="7403" y="6994"/>
                      <a:pt x="7403" y="6994"/>
                      <a:pt x="7403" y="6994"/>
                    </a:cubicBezTo>
                    <a:cubicBezTo>
                      <a:pt x="7402" y="7009"/>
                      <a:pt x="7396" y="7120"/>
                      <a:pt x="7396" y="7167"/>
                    </a:cubicBezTo>
                    <a:cubicBezTo>
                      <a:pt x="7396" y="7174"/>
                      <a:pt x="7396" y="7179"/>
                      <a:pt x="7396" y="7182"/>
                    </a:cubicBezTo>
                    <a:cubicBezTo>
                      <a:pt x="7396" y="7182"/>
                      <a:pt x="7396" y="7183"/>
                      <a:pt x="7396" y="7183"/>
                    </a:cubicBezTo>
                    <a:cubicBezTo>
                      <a:pt x="7408" y="7185"/>
                      <a:pt x="7442" y="7190"/>
                      <a:pt x="7442" y="7190"/>
                    </a:cubicBezTo>
                    <a:cubicBezTo>
                      <a:pt x="7447" y="7191"/>
                      <a:pt x="7447" y="7191"/>
                      <a:pt x="7447" y="7191"/>
                    </a:cubicBezTo>
                    <a:lnTo>
                      <a:pt x="7486" y="7379"/>
                    </a:lnTo>
                    <a:close/>
                    <a:moveTo>
                      <a:pt x="7731" y="6935"/>
                    </a:moveTo>
                    <a:cubicBezTo>
                      <a:pt x="7738" y="6813"/>
                      <a:pt x="7747" y="6682"/>
                      <a:pt x="7761" y="6598"/>
                    </a:cubicBezTo>
                    <a:cubicBezTo>
                      <a:pt x="7461" y="6610"/>
                      <a:pt x="7461" y="6610"/>
                      <a:pt x="7461" y="6610"/>
                    </a:cubicBezTo>
                    <a:cubicBezTo>
                      <a:pt x="7461" y="6614"/>
                      <a:pt x="7461" y="6618"/>
                      <a:pt x="7461" y="6622"/>
                    </a:cubicBezTo>
                    <a:cubicBezTo>
                      <a:pt x="7461" y="6691"/>
                      <a:pt x="7468" y="6855"/>
                      <a:pt x="7469" y="6886"/>
                    </a:cubicBezTo>
                    <a:cubicBezTo>
                      <a:pt x="7486" y="6889"/>
                      <a:pt x="7544" y="6900"/>
                      <a:pt x="7603" y="6911"/>
                    </a:cubicBezTo>
                    <a:cubicBezTo>
                      <a:pt x="7654" y="6921"/>
                      <a:pt x="7706" y="6931"/>
                      <a:pt x="7731" y="6935"/>
                    </a:cubicBezTo>
                    <a:close/>
                    <a:moveTo>
                      <a:pt x="7457" y="5390"/>
                    </a:moveTo>
                    <a:cubicBezTo>
                      <a:pt x="7034" y="5255"/>
                      <a:pt x="7034" y="5255"/>
                      <a:pt x="7034" y="5255"/>
                    </a:cubicBezTo>
                    <a:cubicBezTo>
                      <a:pt x="7036" y="5250"/>
                      <a:pt x="7036" y="5250"/>
                      <a:pt x="7036" y="5250"/>
                    </a:cubicBezTo>
                    <a:cubicBezTo>
                      <a:pt x="6966" y="5367"/>
                      <a:pt x="6966" y="5367"/>
                      <a:pt x="6966" y="5367"/>
                    </a:cubicBezTo>
                    <a:cubicBezTo>
                      <a:pt x="6965" y="5383"/>
                      <a:pt x="6957" y="5504"/>
                      <a:pt x="6948" y="5643"/>
                    </a:cubicBezTo>
                    <a:cubicBezTo>
                      <a:pt x="7319" y="5701"/>
                      <a:pt x="7319" y="5701"/>
                      <a:pt x="7319" y="5701"/>
                    </a:cubicBezTo>
                    <a:cubicBezTo>
                      <a:pt x="7322" y="5668"/>
                      <a:pt x="7322" y="5668"/>
                      <a:pt x="7322" y="5668"/>
                    </a:cubicBezTo>
                    <a:lnTo>
                      <a:pt x="7457" y="5390"/>
                    </a:lnTo>
                    <a:close/>
                    <a:moveTo>
                      <a:pt x="7893" y="4495"/>
                    </a:moveTo>
                    <a:cubicBezTo>
                      <a:pt x="8009" y="4257"/>
                      <a:pt x="8009" y="4257"/>
                      <a:pt x="8009" y="4257"/>
                    </a:cubicBezTo>
                    <a:cubicBezTo>
                      <a:pt x="7987" y="4245"/>
                      <a:pt x="7950" y="4226"/>
                      <a:pt x="7894" y="4198"/>
                    </a:cubicBezTo>
                    <a:cubicBezTo>
                      <a:pt x="7799" y="4150"/>
                      <a:pt x="7654" y="4078"/>
                      <a:pt x="7450" y="3980"/>
                    </a:cubicBezTo>
                    <a:cubicBezTo>
                      <a:pt x="7434" y="3972"/>
                      <a:pt x="7418" y="3965"/>
                      <a:pt x="7402" y="3958"/>
                    </a:cubicBezTo>
                    <a:cubicBezTo>
                      <a:pt x="7401" y="3960"/>
                      <a:pt x="7401" y="3962"/>
                      <a:pt x="7400" y="3964"/>
                    </a:cubicBezTo>
                    <a:cubicBezTo>
                      <a:pt x="7385" y="4010"/>
                      <a:pt x="7358" y="4090"/>
                      <a:pt x="7326" y="4183"/>
                    </a:cubicBezTo>
                    <a:cubicBezTo>
                      <a:pt x="7326" y="4184"/>
                      <a:pt x="7326" y="4184"/>
                      <a:pt x="7326" y="4184"/>
                    </a:cubicBezTo>
                    <a:cubicBezTo>
                      <a:pt x="7325" y="4184"/>
                      <a:pt x="7325" y="4184"/>
                      <a:pt x="7325" y="4184"/>
                    </a:cubicBezTo>
                    <a:cubicBezTo>
                      <a:pt x="7321" y="4196"/>
                      <a:pt x="7317" y="4208"/>
                      <a:pt x="7313" y="4221"/>
                    </a:cubicBezTo>
                    <a:cubicBezTo>
                      <a:pt x="7477" y="4379"/>
                      <a:pt x="7477" y="4379"/>
                      <a:pt x="7477" y="4379"/>
                    </a:cubicBezTo>
                    <a:cubicBezTo>
                      <a:pt x="7781" y="4398"/>
                      <a:pt x="7781" y="4398"/>
                      <a:pt x="7781" y="4398"/>
                    </a:cubicBezTo>
                    <a:lnTo>
                      <a:pt x="7893" y="4495"/>
                    </a:lnTo>
                    <a:close/>
                    <a:moveTo>
                      <a:pt x="8038" y="4198"/>
                    </a:moveTo>
                    <a:cubicBezTo>
                      <a:pt x="8549" y="3148"/>
                      <a:pt x="8549" y="3148"/>
                      <a:pt x="8549" y="3148"/>
                    </a:cubicBezTo>
                    <a:cubicBezTo>
                      <a:pt x="8548" y="3148"/>
                      <a:pt x="8548" y="3147"/>
                      <a:pt x="8547" y="3147"/>
                    </a:cubicBezTo>
                    <a:cubicBezTo>
                      <a:pt x="8411" y="3059"/>
                      <a:pt x="7984" y="2773"/>
                      <a:pt x="7880" y="2703"/>
                    </a:cubicBezTo>
                    <a:cubicBezTo>
                      <a:pt x="7876" y="2715"/>
                      <a:pt x="7871" y="2731"/>
                      <a:pt x="7865" y="2749"/>
                    </a:cubicBezTo>
                    <a:cubicBezTo>
                      <a:pt x="7823" y="2885"/>
                      <a:pt x="7736" y="3187"/>
                      <a:pt x="7660" y="3455"/>
                    </a:cubicBezTo>
                    <a:cubicBezTo>
                      <a:pt x="7595" y="3684"/>
                      <a:pt x="7538" y="3887"/>
                      <a:pt x="7523" y="3942"/>
                    </a:cubicBezTo>
                    <a:cubicBezTo>
                      <a:pt x="7816" y="4083"/>
                      <a:pt x="7979" y="4167"/>
                      <a:pt x="8038" y="4198"/>
                    </a:cubicBezTo>
                    <a:close/>
                    <a:moveTo>
                      <a:pt x="8569" y="3107"/>
                    </a:moveTo>
                    <a:cubicBezTo>
                      <a:pt x="9249" y="1712"/>
                      <a:pt x="9249" y="1712"/>
                      <a:pt x="9249" y="1712"/>
                    </a:cubicBezTo>
                    <a:cubicBezTo>
                      <a:pt x="9104" y="1631"/>
                      <a:pt x="8856" y="1476"/>
                      <a:pt x="8726" y="1396"/>
                    </a:cubicBezTo>
                    <a:cubicBezTo>
                      <a:pt x="8677" y="1473"/>
                      <a:pt x="8499" y="1750"/>
                      <a:pt x="8320" y="2028"/>
                    </a:cubicBezTo>
                    <a:cubicBezTo>
                      <a:pt x="8214" y="2192"/>
                      <a:pt x="8108" y="2355"/>
                      <a:pt x="8028" y="2477"/>
                    </a:cubicBezTo>
                    <a:cubicBezTo>
                      <a:pt x="7987" y="2539"/>
                      <a:pt x="7953" y="2590"/>
                      <a:pt x="7929" y="2626"/>
                    </a:cubicBezTo>
                    <a:cubicBezTo>
                      <a:pt x="7918" y="2642"/>
                      <a:pt x="7909" y="2654"/>
                      <a:pt x="7902" y="2664"/>
                    </a:cubicBezTo>
                    <a:cubicBezTo>
                      <a:pt x="7954" y="2699"/>
                      <a:pt x="8098" y="2795"/>
                      <a:pt x="8244" y="2892"/>
                    </a:cubicBezTo>
                    <a:cubicBezTo>
                      <a:pt x="8334" y="2953"/>
                      <a:pt x="8425" y="3013"/>
                      <a:pt x="8494" y="3059"/>
                    </a:cubicBezTo>
                    <a:cubicBezTo>
                      <a:pt x="8524" y="3078"/>
                      <a:pt x="8549" y="3095"/>
                      <a:pt x="8569" y="3107"/>
                    </a:cubicBezTo>
                    <a:close/>
                    <a:moveTo>
                      <a:pt x="8002" y="923"/>
                    </a:moveTo>
                    <a:cubicBezTo>
                      <a:pt x="8002" y="923"/>
                      <a:pt x="8002" y="923"/>
                      <a:pt x="8002" y="923"/>
                    </a:cubicBezTo>
                    <a:cubicBezTo>
                      <a:pt x="7948" y="887"/>
                      <a:pt x="7706" y="735"/>
                      <a:pt x="7534" y="691"/>
                    </a:cubicBezTo>
                    <a:cubicBezTo>
                      <a:pt x="7476" y="872"/>
                      <a:pt x="7476" y="872"/>
                      <a:pt x="7476" y="872"/>
                    </a:cubicBezTo>
                    <a:cubicBezTo>
                      <a:pt x="7765" y="1015"/>
                      <a:pt x="7765" y="1015"/>
                      <a:pt x="7765" y="1015"/>
                    </a:cubicBezTo>
                    <a:cubicBezTo>
                      <a:pt x="7836" y="877"/>
                      <a:pt x="7836" y="877"/>
                      <a:pt x="7836" y="877"/>
                    </a:cubicBezTo>
                    <a:cubicBezTo>
                      <a:pt x="7970" y="949"/>
                      <a:pt x="7970" y="949"/>
                      <a:pt x="7970" y="949"/>
                    </a:cubicBezTo>
                    <a:cubicBezTo>
                      <a:pt x="7902" y="1082"/>
                      <a:pt x="7902" y="1082"/>
                      <a:pt x="7902" y="1082"/>
                    </a:cubicBezTo>
                    <a:cubicBezTo>
                      <a:pt x="7918" y="1090"/>
                      <a:pt x="7918" y="1090"/>
                      <a:pt x="7918" y="1090"/>
                    </a:cubicBezTo>
                    <a:lnTo>
                      <a:pt x="8002" y="923"/>
                    </a:lnTo>
                    <a:close/>
                    <a:moveTo>
                      <a:pt x="7472" y="885"/>
                    </a:moveTo>
                    <a:cubicBezTo>
                      <a:pt x="7422" y="1042"/>
                      <a:pt x="7422" y="1042"/>
                      <a:pt x="7422" y="1042"/>
                    </a:cubicBezTo>
                    <a:cubicBezTo>
                      <a:pt x="7688" y="1167"/>
                      <a:pt x="7688" y="1167"/>
                      <a:pt x="7688" y="1167"/>
                    </a:cubicBezTo>
                    <a:cubicBezTo>
                      <a:pt x="7759" y="1027"/>
                      <a:pt x="7759" y="1027"/>
                      <a:pt x="7759" y="1027"/>
                    </a:cubicBezTo>
                    <a:lnTo>
                      <a:pt x="7472" y="885"/>
                    </a:lnTo>
                    <a:close/>
                    <a:moveTo>
                      <a:pt x="7417" y="1056"/>
                    </a:moveTo>
                    <a:cubicBezTo>
                      <a:pt x="7366" y="1217"/>
                      <a:pt x="7366" y="1217"/>
                      <a:pt x="7366" y="1217"/>
                    </a:cubicBezTo>
                    <a:cubicBezTo>
                      <a:pt x="7603" y="1334"/>
                      <a:pt x="7603" y="1334"/>
                      <a:pt x="7603" y="1334"/>
                    </a:cubicBezTo>
                    <a:cubicBezTo>
                      <a:pt x="7682" y="1179"/>
                      <a:pt x="7682" y="1179"/>
                      <a:pt x="7682" y="1179"/>
                    </a:cubicBezTo>
                    <a:lnTo>
                      <a:pt x="7417" y="1056"/>
                    </a:lnTo>
                    <a:close/>
                    <a:moveTo>
                      <a:pt x="7408" y="869"/>
                    </a:moveTo>
                    <a:cubicBezTo>
                      <a:pt x="7170" y="824"/>
                      <a:pt x="7170" y="824"/>
                      <a:pt x="7170" y="824"/>
                    </a:cubicBezTo>
                    <a:cubicBezTo>
                      <a:pt x="7120" y="971"/>
                      <a:pt x="7120" y="971"/>
                      <a:pt x="7120" y="971"/>
                    </a:cubicBezTo>
                    <a:cubicBezTo>
                      <a:pt x="7211" y="990"/>
                      <a:pt x="7310" y="1011"/>
                      <a:pt x="7359" y="1022"/>
                    </a:cubicBezTo>
                    <a:lnTo>
                      <a:pt x="7408" y="869"/>
                    </a:lnTo>
                    <a:close/>
                    <a:moveTo>
                      <a:pt x="7191" y="723"/>
                    </a:moveTo>
                    <a:cubicBezTo>
                      <a:pt x="7066" y="681"/>
                      <a:pt x="7066" y="681"/>
                      <a:pt x="7066" y="681"/>
                    </a:cubicBezTo>
                    <a:cubicBezTo>
                      <a:pt x="7032" y="783"/>
                      <a:pt x="7032" y="783"/>
                      <a:pt x="7032" y="783"/>
                    </a:cubicBezTo>
                    <a:cubicBezTo>
                      <a:pt x="7162" y="808"/>
                      <a:pt x="7162" y="808"/>
                      <a:pt x="7162" y="808"/>
                    </a:cubicBezTo>
                    <a:lnTo>
                      <a:pt x="7191" y="723"/>
                    </a:lnTo>
                    <a:close/>
                    <a:moveTo>
                      <a:pt x="7027" y="796"/>
                    </a:moveTo>
                    <a:cubicBezTo>
                      <a:pt x="6977" y="942"/>
                      <a:pt x="6977" y="942"/>
                      <a:pt x="6977" y="942"/>
                    </a:cubicBezTo>
                    <a:cubicBezTo>
                      <a:pt x="7011" y="949"/>
                      <a:pt x="7058" y="958"/>
                      <a:pt x="7107" y="969"/>
                    </a:cubicBezTo>
                    <a:cubicBezTo>
                      <a:pt x="7157" y="821"/>
                      <a:pt x="7157" y="821"/>
                      <a:pt x="7157" y="821"/>
                    </a:cubicBezTo>
                    <a:lnTo>
                      <a:pt x="7027" y="796"/>
                    </a:lnTo>
                    <a:close/>
                    <a:moveTo>
                      <a:pt x="6973" y="956"/>
                    </a:moveTo>
                    <a:cubicBezTo>
                      <a:pt x="6916" y="1121"/>
                      <a:pt x="6916" y="1121"/>
                      <a:pt x="6916" y="1121"/>
                    </a:cubicBezTo>
                    <a:cubicBezTo>
                      <a:pt x="7047" y="1147"/>
                      <a:pt x="7047" y="1147"/>
                      <a:pt x="7047" y="1147"/>
                    </a:cubicBezTo>
                    <a:cubicBezTo>
                      <a:pt x="7103" y="982"/>
                      <a:pt x="7103" y="982"/>
                      <a:pt x="7103" y="982"/>
                    </a:cubicBezTo>
                    <a:cubicBezTo>
                      <a:pt x="7053" y="972"/>
                      <a:pt x="7006" y="962"/>
                      <a:pt x="6973" y="956"/>
                    </a:cubicBezTo>
                    <a:close/>
                    <a:moveTo>
                      <a:pt x="6960" y="953"/>
                    </a:moveTo>
                    <a:cubicBezTo>
                      <a:pt x="6954" y="952"/>
                      <a:pt x="6949" y="951"/>
                      <a:pt x="6944" y="950"/>
                    </a:cubicBezTo>
                    <a:cubicBezTo>
                      <a:pt x="6927" y="1001"/>
                      <a:pt x="6908" y="1057"/>
                      <a:pt x="6888" y="1116"/>
                    </a:cubicBezTo>
                    <a:cubicBezTo>
                      <a:pt x="6903" y="1119"/>
                      <a:pt x="6903" y="1119"/>
                      <a:pt x="6903" y="1119"/>
                    </a:cubicBezTo>
                    <a:lnTo>
                      <a:pt x="6960" y="953"/>
                    </a:lnTo>
                    <a:close/>
                    <a:moveTo>
                      <a:pt x="6884" y="1129"/>
                    </a:moveTo>
                    <a:cubicBezTo>
                      <a:pt x="6865" y="1184"/>
                      <a:pt x="6845" y="1242"/>
                      <a:pt x="6825" y="1302"/>
                    </a:cubicBezTo>
                    <a:cubicBezTo>
                      <a:pt x="6830" y="1302"/>
                      <a:pt x="6835" y="1303"/>
                      <a:pt x="6840" y="1304"/>
                    </a:cubicBezTo>
                    <a:cubicBezTo>
                      <a:pt x="6899" y="1132"/>
                      <a:pt x="6899" y="1132"/>
                      <a:pt x="6899" y="1132"/>
                    </a:cubicBezTo>
                    <a:lnTo>
                      <a:pt x="6884" y="1129"/>
                    </a:lnTo>
                    <a:close/>
                    <a:moveTo>
                      <a:pt x="6821" y="1315"/>
                    </a:moveTo>
                    <a:cubicBezTo>
                      <a:pt x="6802" y="1369"/>
                      <a:pt x="6783" y="1425"/>
                      <a:pt x="6764" y="1482"/>
                    </a:cubicBezTo>
                    <a:cubicBezTo>
                      <a:pt x="6768" y="1483"/>
                      <a:pt x="6773" y="1484"/>
                      <a:pt x="6779" y="1485"/>
                    </a:cubicBezTo>
                    <a:cubicBezTo>
                      <a:pt x="6836" y="1317"/>
                      <a:pt x="6836" y="1317"/>
                      <a:pt x="6836" y="1317"/>
                    </a:cubicBezTo>
                    <a:cubicBezTo>
                      <a:pt x="6830" y="1317"/>
                      <a:pt x="6825" y="1316"/>
                      <a:pt x="6821" y="1315"/>
                    </a:cubicBezTo>
                    <a:close/>
                    <a:moveTo>
                      <a:pt x="6759" y="1495"/>
                    </a:moveTo>
                    <a:cubicBezTo>
                      <a:pt x="6740" y="1552"/>
                      <a:pt x="6721" y="1609"/>
                      <a:pt x="6701" y="1667"/>
                    </a:cubicBezTo>
                    <a:cubicBezTo>
                      <a:pt x="6706" y="1668"/>
                      <a:pt x="6710" y="1668"/>
                      <a:pt x="6716" y="1670"/>
                    </a:cubicBezTo>
                    <a:cubicBezTo>
                      <a:pt x="6774" y="1498"/>
                      <a:pt x="6774" y="1498"/>
                      <a:pt x="6774" y="1498"/>
                    </a:cubicBezTo>
                    <a:cubicBezTo>
                      <a:pt x="6769" y="1497"/>
                      <a:pt x="6764" y="1496"/>
                      <a:pt x="6759" y="1495"/>
                    </a:cubicBezTo>
                    <a:close/>
                    <a:moveTo>
                      <a:pt x="6697" y="1680"/>
                    </a:moveTo>
                    <a:cubicBezTo>
                      <a:pt x="6681" y="1726"/>
                      <a:pt x="6665" y="1773"/>
                      <a:pt x="6650" y="1819"/>
                    </a:cubicBezTo>
                    <a:cubicBezTo>
                      <a:pt x="6664" y="1822"/>
                      <a:pt x="6664" y="1822"/>
                      <a:pt x="6664" y="1822"/>
                    </a:cubicBezTo>
                    <a:cubicBezTo>
                      <a:pt x="6711" y="1683"/>
                      <a:pt x="6711" y="1683"/>
                      <a:pt x="6711" y="1683"/>
                    </a:cubicBezTo>
                    <a:cubicBezTo>
                      <a:pt x="6706" y="1682"/>
                      <a:pt x="6701" y="1681"/>
                      <a:pt x="6697" y="1680"/>
                    </a:cubicBezTo>
                    <a:close/>
                    <a:moveTo>
                      <a:pt x="6645" y="1832"/>
                    </a:moveTo>
                    <a:cubicBezTo>
                      <a:pt x="6627" y="1887"/>
                      <a:pt x="6608" y="1941"/>
                      <a:pt x="6590" y="1995"/>
                    </a:cubicBezTo>
                    <a:cubicBezTo>
                      <a:pt x="6604" y="1998"/>
                      <a:pt x="6604" y="1998"/>
                      <a:pt x="6604" y="1998"/>
                    </a:cubicBezTo>
                    <a:cubicBezTo>
                      <a:pt x="6659" y="1835"/>
                      <a:pt x="6659" y="1835"/>
                      <a:pt x="6659" y="1835"/>
                    </a:cubicBezTo>
                    <a:lnTo>
                      <a:pt x="6645" y="1832"/>
                    </a:lnTo>
                    <a:close/>
                    <a:moveTo>
                      <a:pt x="6586" y="2008"/>
                    </a:moveTo>
                    <a:cubicBezTo>
                      <a:pt x="6566" y="2064"/>
                      <a:pt x="6548" y="2120"/>
                      <a:pt x="6529" y="2174"/>
                    </a:cubicBezTo>
                    <a:cubicBezTo>
                      <a:pt x="6543" y="2177"/>
                      <a:pt x="6543" y="2177"/>
                      <a:pt x="6543" y="2177"/>
                    </a:cubicBezTo>
                    <a:cubicBezTo>
                      <a:pt x="6599" y="2011"/>
                      <a:pt x="6599" y="2011"/>
                      <a:pt x="6599" y="2011"/>
                    </a:cubicBezTo>
                    <a:lnTo>
                      <a:pt x="6586" y="2008"/>
                    </a:lnTo>
                    <a:close/>
                    <a:moveTo>
                      <a:pt x="6525" y="2187"/>
                    </a:moveTo>
                    <a:cubicBezTo>
                      <a:pt x="6503" y="2251"/>
                      <a:pt x="6482" y="2313"/>
                      <a:pt x="6462" y="2371"/>
                    </a:cubicBezTo>
                    <a:cubicBezTo>
                      <a:pt x="6476" y="2374"/>
                      <a:pt x="6476" y="2374"/>
                      <a:pt x="6476" y="2374"/>
                    </a:cubicBezTo>
                    <a:cubicBezTo>
                      <a:pt x="6538" y="2190"/>
                      <a:pt x="6538" y="2190"/>
                      <a:pt x="6538" y="2190"/>
                    </a:cubicBezTo>
                    <a:lnTo>
                      <a:pt x="6525" y="2187"/>
                    </a:lnTo>
                    <a:close/>
                    <a:moveTo>
                      <a:pt x="6458" y="2384"/>
                    </a:moveTo>
                    <a:cubicBezTo>
                      <a:pt x="6433" y="2456"/>
                      <a:pt x="6411" y="2523"/>
                      <a:pt x="6391" y="2583"/>
                    </a:cubicBezTo>
                    <a:cubicBezTo>
                      <a:pt x="6403" y="2586"/>
                      <a:pt x="6403" y="2586"/>
                      <a:pt x="6403" y="2586"/>
                    </a:cubicBezTo>
                    <a:cubicBezTo>
                      <a:pt x="6471" y="2387"/>
                      <a:pt x="6471" y="2387"/>
                      <a:pt x="6471" y="2387"/>
                    </a:cubicBezTo>
                    <a:lnTo>
                      <a:pt x="6458" y="2384"/>
                    </a:lnTo>
                    <a:close/>
                    <a:moveTo>
                      <a:pt x="6386" y="2596"/>
                    </a:moveTo>
                    <a:cubicBezTo>
                      <a:pt x="6345" y="2716"/>
                      <a:pt x="6316" y="2803"/>
                      <a:pt x="6305" y="2836"/>
                    </a:cubicBezTo>
                    <a:cubicBezTo>
                      <a:pt x="6317" y="2838"/>
                      <a:pt x="6317" y="2838"/>
                      <a:pt x="6317" y="2838"/>
                    </a:cubicBezTo>
                    <a:cubicBezTo>
                      <a:pt x="6399" y="2599"/>
                      <a:pt x="6399" y="2599"/>
                      <a:pt x="6399" y="2599"/>
                    </a:cubicBezTo>
                    <a:lnTo>
                      <a:pt x="6386" y="2596"/>
                    </a:lnTo>
                    <a:close/>
                    <a:moveTo>
                      <a:pt x="6300" y="2849"/>
                    </a:moveTo>
                    <a:cubicBezTo>
                      <a:pt x="6255" y="3082"/>
                      <a:pt x="6255" y="3082"/>
                      <a:pt x="6255" y="3082"/>
                    </a:cubicBezTo>
                    <a:cubicBezTo>
                      <a:pt x="6270" y="3083"/>
                      <a:pt x="6270" y="3083"/>
                      <a:pt x="6270" y="3083"/>
                    </a:cubicBezTo>
                    <a:cubicBezTo>
                      <a:pt x="6314" y="2851"/>
                      <a:pt x="6314" y="2851"/>
                      <a:pt x="6314" y="2851"/>
                    </a:cubicBezTo>
                    <a:lnTo>
                      <a:pt x="6300" y="2849"/>
                    </a:lnTo>
                    <a:close/>
                    <a:moveTo>
                      <a:pt x="6252" y="3096"/>
                    </a:moveTo>
                    <a:cubicBezTo>
                      <a:pt x="6214" y="3294"/>
                      <a:pt x="6214" y="3294"/>
                      <a:pt x="6214" y="3294"/>
                    </a:cubicBezTo>
                    <a:cubicBezTo>
                      <a:pt x="6314" y="3302"/>
                      <a:pt x="6640" y="3329"/>
                      <a:pt x="6734" y="3334"/>
                    </a:cubicBezTo>
                    <a:cubicBezTo>
                      <a:pt x="6755" y="3137"/>
                      <a:pt x="6755" y="3137"/>
                      <a:pt x="6755" y="3137"/>
                    </a:cubicBezTo>
                    <a:cubicBezTo>
                      <a:pt x="6426" y="3110"/>
                      <a:pt x="6426" y="3110"/>
                      <a:pt x="6426" y="3110"/>
                    </a:cubicBezTo>
                    <a:cubicBezTo>
                      <a:pt x="6387" y="3293"/>
                      <a:pt x="6387" y="3293"/>
                      <a:pt x="6387" y="3293"/>
                    </a:cubicBezTo>
                    <a:cubicBezTo>
                      <a:pt x="6238" y="3255"/>
                      <a:pt x="6238" y="3255"/>
                      <a:pt x="6238" y="3255"/>
                    </a:cubicBezTo>
                    <a:cubicBezTo>
                      <a:pt x="6239" y="3249"/>
                      <a:pt x="6239" y="3249"/>
                      <a:pt x="6239" y="3249"/>
                    </a:cubicBezTo>
                    <a:cubicBezTo>
                      <a:pt x="6267" y="3097"/>
                      <a:pt x="6267" y="3097"/>
                      <a:pt x="6267" y="3097"/>
                    </a:cubicBezTo>
                    <a:lnTo>
                      <a:pt x="6252" y="3096"/>
                    </a:lnTo>
                    <a:close/>
                    <a:moveTo>
                      <a:pt x="6233" y="2849"/>
                    </a:moveTo>
                    <a:cubicBezTo>
                      <a:pt x="6212" y="2850"/>
                      <a:pt x="6176" y="2851"/>
                      <a:pt x="6128" y="2853"/>
                    </a:cubicBezTo>
                    <a:cubicBezTo>
                      <a:pt x="6096" y="2854"/>
                      <a:pt x="6059" y="2856"/>
                      <a:pt x="6018" y="2858"/>
                    </a:cubicBezTo>
                    <a:cubicBezTo>
                      <a:pt x="5907" y="4327"/>
                      <a:pt x="5907" y="4327"/>
                      <a:pt x="5907" y="4327"/>
                    </a:cubicBezTo>
                    <a:cubicBezTo>
                      <a:pt x="5917" y="4351"/>
                      <a:pt x="5917" y="4351"/>
                      <a:pt x="5917" y="4351"/>
                    </a:cubicBezTo>
                    <a:cubicBezTo>
                      <a:pt x="5967" y="4203"/>
                      <a:pt x="5967" y="4203"/>
                      <a:pt x="5967" y="4203"/>
                    </a:cubicBezTo>
                    <a:cubicBezTo>
                      <a:pt x="6065" y="3715"/>
                      <a:pt x="6065" y="3715"/>
                      <a:pt x="6065" y="3715"/>
                    </a:cubicBezTo>
                    <a:lnTo>
                      <a:pt x="6233" y="2849"/>
                    </a:lnTo>
                    <a:close/>
                    <a:moveTo>
                      <a:pt x="6043" y="2576"/>
                    </a:moveTo>
                    <a:cubicBezTo>
                      <a:pt x="6031" y="2576"/>
                      <a:pt x="6003" y="2575"/>
                      <a:pt x="5966" y="2574"/>
                    </a:cubicBezTo>
                    <a:cubicBezTo>
                      <a:pt x="5902" y="2752"/>
                      <a:pt x="5902" y="2752"/>
                      <a:pt x="5902" y="2752"/>
                    </a:cubicBezTo>
                    <a:cubicBezTo>
                      <a:pt x="5760" y="2698"/>
                      <a:pt x="5760" y="2698"/>
                      <a:pt x="5760" y="2698"/>
                    </a:cubicBezTo>
                    <a:cubicBezTo>
                      <a:pt x="5762" y="2691"/>
                      <a:pt x="5762" y="2691"/>
                      <a:pt x="5762" y="2691"/>
                    </a:cubicBezTo>
                    <a:cubicBezTo>
                      <a:pt x="5807" y="2567"/>
                      <a:pt x="5807" y="2567"/>
                      <a:pt x="5807" y="2567"/>
                    </a:cubicBezTo>
                    <a:cubicBezTo>
                      <a:pt x="5743" y="2565"/>
                      <a:pt x="5691" y="2563"/>
                      <a:pt x="5689" y="2563"/>
                    </a:cubicBezTo>
                    <a:cubicBezTo>
                      <a:pt x="5689" y="2549"/>
                      <a:pt x="5689" y="2549"/>
                      <a:pt x="5689" y="2549"/>
                    </a:cubicBezTo>
                    <a:cubicBezTo>
                      <a:pt x="5692" y="2549"/>
                      <a:pt x="5746" y="2551"/>
                      <a:pt x="5811" y="2554"/>
                    </a:cubicBezTo>
                    <a:cubicBezTo>
                      <a:pt x="5859" y="2422"/>
                      <a:pt x="5859" y="2422"/>
                      <a:pt x="5859" y="2422"/>
                    </a:cubicBezTo>
                    <a:cubicBezTo>
                      <a:pt x="5703" y="2397"/>
                      <a:pt x="5703" y="2397"/>
                      <a:pt x="5703" y="2397"/>
                    </a:cubicBezTo>
                    <a:cubicBezTo>
                      <a:pt x="5686" y="2458"/>
                      <a:pt x="5686" y="2458"/>
                      <a:pt x="5686" y="2458"/>
                    </a:cubicBezTo>
                    <a:cubicBezTo>
                      <a:pt x="5692" y="2815"/>
                      <a:pt x="5692" y="2815"/>
                      <a:pt x="5692" y="2815"/>
                    </a:cubicBezTo>
                    <a:cubicBezTo>
                      <a:pt x="5793" y="2806"/>
                      <a:pt x="5886" y="2800"/>
                      <a:pt x="5965" y="2795"/>
                    </a:cubicBezTo>
                    <a:lnTo>
                      <a:pt x="6043" y="2576"/>
                    </a:lnTo>
                    <a:close/>
                    <a:moveTo>
                      <a:pt x="6047" y="2563"/>
                    </a:moveTo>
                    <a:cubicBezTo>
                      <a:pt x="6084" y="2459"/>
                      <a:pt x="6084" y="2459"/>
                      <a:pt x="6084" y="2459"/>
                    </a:cubicBezTo>
                    <a:cubicBezTo>
                      <a:pt x="6012" y="2447"/>
                      <a:pt x="6012" y="2447"/>
                      <a:pt x="6012" y="2447"/>
                    </a:cubicBezTo>
                    <a:cubicBezTo>
                      <a:pt x="5971" y="2560"/>
                      <a:pt x="5971" y="2560"/>
                      <a:pt x="5971" y="2560"/>
                    </a:cubicBezTo>
                    <a:cubicBezTo>
                      <a:pt x="6014" y="2561"/>
                      <a:pt x="6044" y="2563"/>
                      <a:pt x="6047" y="2563"/>
                    </a:cubicBezTo>
                    <a:close/>
                    <a:moveTo>
                      <a:pt x="6089" y="2445"/>
                    </a:moveTo>
                    <a:cubicBezTo>
                      <a:pt x="6134" y="2319"/>
                      <a:pt x="6134" y="2319"/>
                      <a:pt x="6134" y="2319"/>
                    </a:cubicBezTo>
                    <a:cubicBezTo>
                      <a:pt x="6062" y="2307"/>
                      <a:pt x="6062" y="2307"/>
                      <a:pt x="6062" y="2307"/>
                    </a:cubicBezTo>
                    <a:cubicBezTo>
                      <a:pt x="6017" y="2434"/>
                      <a:pt x="6017" y="2434"/>
                      <a:pt x="6017" y="2434"/>
                    </a:cubicBezTo>
                    <a:lnTo>
                      <a:pt x="6089" y="2445"/>
                    </a:lnTo>
                    <a:close/>
                    <a:moveTo>
                      <a:pt x="6139" y="2305"/>
                    </a:moveTo>
                    <a:cubicBezTo>
                      <a:pt x="6270" y="1933"/>
                      <a:pt x="6270" y="1933"/>
                      <a:pt x="6270" y="1933"/>
                    </a:cubicBezTo>
                    <a:cubicBezTo>
                      <a:pt x="6202" y="1918"/>
                      <a:pt x="6202" y="1918"/>
                      <a:pt x="6202" y="1918"/>
                    </a:cubicBezTo>
                    <a:cubicBezTo>
                      <a:pt x="6163" y="2026"/>
                      <a:pt x="6163" y="2026"/>
                      <a:pt x="6163" y="2026"/>
                    </a:cubicBezTo>
                    <a:cubicBezTo>
                      <a:pt x="6229" y="2038"/>
                      <a:pt x="6229" y="2038"/>
                      <a:pt x="6229" y="2038"/>
                    </a:cubicBezTo>
                    <a:cubicBezTo>
                      <a:pt x="6226" y="2052"/>
                      <a:pt x="6226" y="2052"/>
                      <a:pt x="6226" y="2052"/>
                    </a:cubicBezTo>
                    <a:cubicBezTo>
                      <a:pt x="6159" y="2039"/>
                      <a:pt x="6159" y="2039"/>
                      <a:pt x="6159" y="2039"/>
                    </a:cubicBezTo>
                    <a:cubicBezTo>
                      <a:pt x="6117" y="2155"/>
                      <a:pt x="6117" y="2155"/>
                      <a:pt x="6117" y="2155"/>
                    </a:cubicBezTo>
                    <a:cubicBezTo>
                      <a:pt x="6183" y="2166"/>
                      <a:pt x="6183" y="2166"/>
                      <a:pt x="6183" y="2166"/>
                    </a:cubicBezTo>
                    <a:cubicBezTo>
                      <a:pt x="6180" y="2180"/>
                      <a:pt x="6180" y="2180"/>
                      <a:pt x="6180" y="2180"/>
                    </a:cubicBezTo>
                    <a:cubicBezTo>
                      <a:pt x="6112" y="2168"/>
                      <a:pt x="6112" y="2168"/>
                      <a:pt x="6112" y="2168"/>
                    </a:cubicBezTo>
                    <a:cubicBezTo>
                      <a:pt x="6067" y="2294"/>
                      <a:pt x="6067" y="2294"/>
                      <a:pt x="6067" y="2294"/>
                    </a:cubicBezTo>
                    <a:lnTo>
                      <a:pt x="6139" y="2305"/>
                    </a:lnTo>
                    <a:close/>
                    <a:moveTo>
                      <a:pt x="6275" y="1920"/>
                    </a:moveTo>
                    <a:cubicBezTo>
                      <a:pt x="6320" y="1793"/>
                      <a:pt x="6320" y="1793"/>
                      <a:pt x="6320" y="1793"/>
                    </a:cubicBezTo>
                    <a:cubicBezTo>
                      <a:pt x="6251" y="1781"/>
                      <a:pt x="6251" y="1781"/>
                      <a:pt x="6251" y="1781"/>
                    </a:cubicBezTo>
                    <a:cubicBezTo>
                      <a:pt x="6207" y="1904"/>
                      <a:pt x="6207" y="1904"/>
                      <a:pt x="6207" y="1904"/>
                    </a:cubicBezTo>
                    <a:lnTo>
                      <a:pt x="6275" y="1920"/>
                    </a:lnTo>
                    <a:close/>
                    <a:moveTo>
                      <a:pt x="6325" y="1780"/>
                    </a:moveTo>
                    <a:cubicBezTo>
                      <a:pt x="6363" y="1671"/>
                      <a:pt x="6363" y="1671"/>
                      <a:pt x="6363" y="1671"/>
                    </a:cubicBezTo>
                    <a:cubicBezTo>
                      <a:pt x="6294" y="1661"/>
                      <a:pt x="6294" y="1661"/>
                      <a:pt x="6294" y="1661"/>
                    </a:cubicBezTo>
                    <a:cubicBezTo>
                      <a:pt x="6256" y="1767"/>
                      <a:pt x="6256" y="1767"/>
                      <a:pt x="6256" y="1767"/>
                    </a:cubicBezTo>
                    <a:lnTo>
                      <a:pt x="6325" y="1780"/>
                    </a:lnTo>
                    <a:close/>
                    <a:moveTo>
                      <a:pt x="6368" y="1658"/>
                    </a:moveTo>
                    <a:cubicBezTo>
                      <a:pt x="6476" y="1352"/>
                      <a:pt x="6476" y="1352"/>
                      <a:pt x="6476" y="1352"/>
                    </a:cubicBezTo>
                    <a:cubicBezTo>
                      <a:pt x="6406" y="1351"/>
                      <a:pt x="6406" y="1351"/>
                      <a:pt x="6406" y="1351"/>
                    </a:cubicBezTo>
                    <a:cubicBezTo>
                      <a:pt x="6352" y="1500"/>
                      <a:pt x="6352" y="1500"/>
                      <a:pt x="6352" y="1500"/>
                    </a:cubicBezTo>
                    <a:cubicBezTo>
                      <a:pt x="6413" y="1506"/>
                      <a:pt x="6413" y="1506"/>
                      <a:pt x="6413" y="1506"/>
                    </a:cubicBezTo>
                    <a:cubicBezTo>
                      <a:pt x="6412" y="1520"/>
                      <a:pt x="6412" y="1520"/>
                      <a:pt x="6412" y="1520"/>
                    </a:cubicBezTo>
                    <a:cubicBezTo>
                      <a:pt x="6348" y="1513"/>
                      <a:pt x="6348" y="1513"/>
                      <a:pt x="6348" y="1513"/>
                    </a:cubicBezTo>
                    <a:cubicBezTo>
                      <a:pt x="6299" y="1648"/>
                      <a:pt x="6299" y="1648"/>
                      <a:pt x="6299" y="1648"/>
                    </a:cubicBezTo>
                    <a:lnTo>
                      <a:pt x="6368" y="1658"/>
                    </a:lnTo>
                    <a:close/>
                    <a:moveTo>
                      <a:pt x="6430" y="1246"/>
                    </a:moveTo>
                    <a:cubicBezTo>
                      <a:pt x="6312" y="1201"/>
                      <a:pt x="6312" y="1201"/>
                      <a:pt x="6312" y="1201"/>
                    </a:cubicBezTo>
                    <a:cubicBezTo>
                      <a:pt x="6263" y="1335"/>
                      <a:pt x="6263" y="1335"/>
                      <a:pt x="6263" y="1335"/>
                    </a:cubicBezTo>
                    <a:cubicBezTo>
                      <a:pt x="6397" y="1337"/>
                      <a:pt x="6397" y="1337"/>
                      <a:pt x="6397" y="1337"/>
                    </a:cubicBezTo>
                    <a:lnTo>
                      <a:pt x="6430" y="1246"/>
                    </a:lnTo>
                    <a:close/>
                    <a:moveTo>
                      <a:pt x="6258" y="1349"/>
                    </a:moveTo>
                    <a:cubicBezTo>
                      <a:pt x="6210" y="1484"/>
                      <a:pt x="6210" y="1484"/>
                      <a:pt x="6210" y="1484"/>
                    </a:cubicBezTo>
                    <a:cubicBezTo>
                      <a:pt x="6339" y="1498"/>
                      <a:pt x="6339" y="1498"/>
                      <a:pt x="6339" y="1498"/>
                    </a:cubicBezTo>
                    <a:cubicBezTo>
                      <a:pt x="6392" y="1351"/>
                      <a:pt x="6392" y="1351"/>
                      <a:pt x="6392" y="1351"/>
                    </a:cubicBezTo>
                    <a:lnTo>
                      <a:pt x="6258" y="1349"/>
                    </a:lnTo>
                    <a:close/>
                    <a:moveTo>
                      <a:pt x="6245" y="1349"/>
                    </a:moveTo>
                    <a:cubicBezTo>
                      <a:pt x="5897" y="1344"/>
                      <a:pt x="5897" y="1344"/>
                      <a:pt x="5897" y="1344"/>
                    </a:cubicBezTo>
                    <a:cubicBezTo>
                      <a:pt x="5889" y="1377"/>
                      <a:pt x="5880" y="1412"/>
                      <a:pt x="5871" y="1448"/>
                    </a:cubicBezTo>
                    <a:cubicBezTo>
                      <a:pt x="6196" y="1483"/>
                      <a:pt x="6196" y="1483"/>
                      <a:pt x="6196" y="1483"/>
                    </a:cubicBezTo>
                    <a:lnTo>
                      <a:pt x="6245" y="1349"/>
                    </a:lnTo>
                    <a:close/>
                    <a:moveTo>
                      <a:pt x="5918" y="1204"/>
                    </a:moveTo>
                    <a:cubicBezTo>
                      <a:pt x="5922" y="1185"/>
                      <a:pt x="5926" y="1170"/>
                      <a:pt x="5929" y="1160"/>
                    </a:cubicBezTo>
                    <a:cubicBezTo>
                      <a:pt x="5929" y="1159"/>
                      <a:pt x="5929" y="1159"/>
                      <a:pt x="5929" y="1158"/>
                    </a:cubicBezTo>
                    <a:cubicBezTo>
                      <a:pt x="5758" y="1148"/>
                      <a:pt x="5566" y="1131"/>
                      <a:pt x="5401" y="1117"/>
                    </a:cubicBezTo>
                    <a:cubicBezTo>
                      <a:pt x="5406" y="1141"/>
                      <a:pt x="5412" y="1171"/>
                      <a:pt x="5418" y="1204"/>
                    </a:cubicBezTo>
                    <a:cubicBezTo>
                      <a:pt x="5450" y="1209"/>
                      <a:pt x="5549" y="1225"/>
                      <a:pt x="5649" y="1242"/>
                    </a:cubicBezTo>
                    <a:cubicBezTo>
                      <a:pt x="5770" y="1262"/>
                      <a:pt x="5895" y="1282"/>
                      <a:pt x="5896" y="1282"/>
                    </a:cubicBezTo>
                    <a:cubicBezTo>
                      <a:pt x="5896" y="1290"/>
                      <a:pt x="5896" y="1290"/>
                      <a:pt x="5896" y="1290"/>
                    </a:cubicBezTo>
                    <a:cubicBezTo>
                      <a:pt x="5904" y="1257"/>
                      <a:pt x="5912" y="1227"/>
                      <a:pt x="5918" y="1204"/>
                    </a:cubicBezTo>
                    <a:close/>
                    <a:moveTo>
                      <a:pt x="5396" y="1339"/>
                    </a:moveTo>
                    <a:cubicBezTo>
                      <a:pt x="5368" y="1356"/>
                      <a:pt x="5302" y="1394"/>
                      <a:pt x="5236" y="1432"/>
                    </a:cubicBezTo>
                    <a:cubicBezTo>
                      <a:pt x="5227" y="1437"/>
                      <a:pt x="5218" y="1442"/>
                      <a:pt x="5209" y="1447"/>
                    </a:cubicBezTo>
                    <a:cubicBezTo>
                      <a:pt x="5212" y="1455"/>
                      <a:pt x="5241" y="1532"/>
                      <a:pt x="5272" y="1609"/>
                    </a:cubicBezTo>
                    <a:cubicBezTo>
                      <a:pt x="5288" y="1649"/>
                      <a:pt x="5304" y="1690"/>
                      <a:pt x="5317" y="1721"/>
                    </a:cubicBezTo>
                    <a:cubicBezTo>
                      <a:pt x="5323" y="1736"/>
                      <a:pt x="5328" y="1749"/>
                      <a:pt x="5332" y="1758"/>
                    </a:cubicBezTo>
                    <a:cubicBezTo>
                      <a:pt x="5334" y="1761"/>
                      <a:pt x="5334" y="1762"/>
                      <a:pt x="5335" y="1764"/>
                    </a:cubicBezTo>
                    <a:cubicBezTo>
                      <a:pt x="5354" y="1745"/>
                      <a:pt x="5369" y="1728"/>
                      <a:pt x="5380" y="1715"/>
                    </a:cubicBezTo>
                    <a:cubicBezTo>
                      <a:pt x="5411" y="1682"/>
                      <a:pt x="5423" y="1634"/>
                      <a:pt x="5423" y="1572"/>
                    </a:cubicBezTo>
                    <a:cubicBezTo>
                      <a:pt x="5423" y="1536"/>
                      <a:pt x="5419" y="1495"/>
                      <a:pt x="5413" y="1453"/>
                    </a:cubicBezTo>
                    <a:cubicBezTo>
                      <a:pt x="5410" y="1423"/>
                      <a:pt x="5403" y="1383"/>
                      <a:pt x="5396" y="1339"/>
                    </a:cubicBezTo>
                    <a:close/>
                    <a:moveTo>
                      <a:pt x="5393" y="1325"/>
                    </a:moveTo>
                    <a:cubicBezTo>
                      <a:pt x="5380" y="1248"/>
                      <a:pt x="5364" y="1164"/>
                      <a:pt x="5355" y="1114"/>
                    </a:cubicBezTo>
                    <a:cubicBezTo>
                      <a:pt x="5276" y="1107"/>
                      <a:pt x="5205" y="1102"/>
                      <a:pt x="5149" y="1100"/>
                    </a:cubicBezTo>
                    <a:cubicBezTo>
                      <a:pt x="5129" y="1099"/>
                      <a:pt x="5108" y="1098"/>
                      <a:pt x="5086" y="1097"/>
                    </a:cubicBezTo>
                    <a:cubicBezTo>
                      <a:pt x="5060" y="1513"/>
                      <a:pt x="5060" y="1513"/>
                      <a:pt x="5060" y="1513"/>
                    </a:cubicBezTo>
                    <a:cubicBezTo>
                      <a:pt x="5092" y="1497"/>
                      <a:pt x="5166" y="1455"/>
                      <a:pt x="5237" y="1415"/>
                    </a:cubicBezTo>
                    <a:cubicBezTo>
                      <a:pt x="5305" y="1376"/>
                      <a:pt x="5370" y="1338"/>
                      <a:pt x="5393" y="1325"/>
                    </a:cubicBezTo>
                    <a:close/>
                    <a:moveTo>
                      <a:pt x="5072" y="1097"/>
                    </a:moveTo>
                    <a:cubicBezTo>
                      <a:pt x="5010" y="1095"/>
                      <a:pt x="4940" y="1093"/>
                      <a:pt x="4865" y="1093"/>
                    </a:cubicBezTo>
                    <a:cubicBezTo>
                      <a:pt x="4862" y="1093"/>
                      <a:pt x="4858" y="1093"/>
                      <a:pt x="4855" y="1093"/>
                    </a:cubicBezTo>
                    <a:cubicBezTo>
                      <a:pt x="4827" y="1093"/>
                      <a:pt x="4798" y="1093"/>
                      <a:pt x="4768" y="1094"/>
                    </a:cubicBezTo>
                    <a:cubicBezTo>
                      <a:pt x="4837" y="1481"/>
                      <a:pt x="4837" y="1481"/>
                      <a:pt x="4837" y="1481"/>
                    </a:cubicBezTo>
                    <a:cubicBezTo>
                      <a:pt x="4941" y="1501"/>
                      <a:pt x="5041" y="1520"/>
                      <a:pt x="5046" y="1520"/>
                    </a:cubicBezTo>
                    <a:cubicBezTo>
                      <a:pt x="5046" y="1519"/>
                      <a:pt x="5046" y="1519"/>
                      <a:pt x="5046" y="1519"/>
                    </a:cubicBezTo>
                    <a:cubicBezTo>
                      <a:pt x="5046" y="1519"/>
                      <a:pt x="5046" y="1519"/>
                      <a:pt x="5046" y="1519"/>
                    </a:cubicBezTo>
                    <a:cubicBezTo>
                      <a:pt x="5046" y="1519"/>
                      <a:pt x="5046" y="1519"/>
                      <a:pt x="5046" y="1519"/>
                    </a:cubicBezTo>
                    <a:lnTo>
                      <a:pt x="5072" y="1097"/>
                    </a:lnTo>
                    <a:close/>
                    <a:moveTo>
                      <a:pt x="4577" y="1445"/>
                    </a:moveTo>
                    <a:cubicBezTo>
                      <a:pt x="4496" y="1501"/>
                      <a:pt x="4496" y="1501"/>
                      <a:pt x="4496" y="1501"/>
                    </a:cubicBezTo>
                    <a:cubicBezTo>
                      <a:pt x="4486" y="2031"/>
                      <a:pt x="4486" y="2031"/>
                      <a:pt x="4486" y="2031"/>
                    </a:cubicBezTo>
                    <a:cubicBezTo>
                      <a:pt x="4578" y="2024"/>
                      <a:pt x="4678" y="2016"/>
                      <a:pt x="4769" y="2007"/>
                    </a:cubicBezTo>
                    <a:cubicBezTo>
                      <a:pt x="4668" y="1463"/>
                      <a:pt x="4668" y="1463"/>
                      <a:pt x="4668" y="1463"/>
                    </a:cubicBezTo>
                    <a:cubicBezTo>
                      <a:pt x="4622" y="1454"/>
                      <a:pt x="4587" y="1447"/>
                      <a:pt x="4577" y="1445"/>
                    </a:cubicBezTo>
                    <a:close/>
                    <a:moveTo>
                      <a:pt x="3080" y="1664"/>
                    </a:moveTo>
                    <a:cubicBezTo>
                      <a:pt x="2946" y="1735"/>
                      <a:pt x="2803" y="1811"/>
                      <a:pt x="2655" y="1890"/>
                    </a:cubicBezTo>
                    <a:cubicBezTo>
                      <a:pt x="3224" y="2688"/>
                      <a:pt x="3224" y="2688"/>
                      <a:pt x="3224" y="2688"/>
                    </a:cubicBezTo>
                    <a:cubicBezTo>
                      <a:pt x="3239" y="2674"/>
                      <a:pt x="3253" y="2656"/>
                      <a:pt x="3274" y="2627"/>
                    </a:cubicBezTo>
                    <a:cubicBezTo>
                      <a:pt x="3314" y="2572"/>
                      <a:pt x="3338" y="2488"/>
                      <a:pt x="3355" y="2405"/>
                    </a:cubicBezTo>
                    <a:cubicBezTo>
                      <a:pt x="3364" y="2358"/>
                      <a:pt x="3371" y="2311"/>
                      <a:pt x="3378" y="2269"/>
                    </a:cubicBezTo>
                    <a:lnTo>
                      <a:pt x="3080" y="1664"/>
                    </a:lnTo>
                    <a:close/>
                    <a:moveTo>
                      <a:pt x="2643" y="1896"/>
                    </a:moveTo>
                    <a:cubicBezTo>
                      <a:pt x="2572" y="1934"/>
                      <a:pt x="2500" y="1973"/>
                      <a:pt x="2428" y="2011"/>
                    </a:cubicBezTo>
                    <a:cubicBezTo>
                      <a:pt x="2785" y="2918"/>
                      <a:pt x="2785" y="2918"/>
                      <a:pt x="2785" y="2918"/>
                    </a:cubicBezTo>
                    <a:cubicBezTo>
                      <a:pt x="2823" y="2904"/>
                      <a:pt x="2861" y="2887"/>
                      <a:pt x="2899" y="2867"/>
                    </a:cubicBezTo>
                    <a:cubicBezTo>
                      <a:pt x="3049" y="2783"/>
                      <a:pt x="3124" y="2751"/>
                      <a:pt x="3170" y="2726"/>
                    </a:cubicBezTo>
                    <a:cubicBezTo>
                      <a:pt x="3188" y="2716"/>
                      <a:pt x="3202" y="2708"/>
                      <a:pt x="3214" y="2697"/>
                    </a:cubicBezTo>
                    <a:lnTo>
                      <a:pt x="2643" y="1896"/>
                    </a:lnTo>
                    <a:close/>
                    <a:moveTo>
                      <a:pt x="2416" y="2018"/>
                    </a:moveTo>
                    <a:cubicBezTo>
                      <a:pt x="2352" y="2052"/>
                      <a:pt x="2287" y="2087"/>
                      <a:pt x="2223" y="2121"/>
                    </a:cubicBezTo>
                    <a:cubicBezTo>
                      <a:pt x="2219" y="2166"/>
                      <a:pt x="2201" y="2338"/>
                      <a:pt x="2183" y="2511"/>
                    </a:cubicBezTo>
                    <a:cubicBezTo>
                      <a:pt x="2172" y="2611"/>
                      <a:pt x="2162" y="2712"/>
                      <a:pt x="2153" y="2787"/>
                    </a:cubicBezTo>
                    <a:cubicBezTo>
                      <a:pt x="2149" y="2825"/>
                      <a:pt x="2145" y="2856"/>
                      <a:pt x="2143" y="2878"/>
                    </a:cubicBezTo>
                    <a:cubicBezTo>
                      <a:pt x="2141" y="2889"/>
                      <a:pt x="2140" y="2898"/>
                      <a:pt x="2139" y="2904"/>
                    </a:cubicBezTo>
                    <a:cubicBezTo>
                      <a:pt x="2139" y="2905"/>
                      <a:pt x="2139" y="2905"/>
                      <a:pt x="2139" y="2906"/>
                    </a:cubicBezTo>
                    <a:cubicBezTo>
                      <a:pt x="2144" y="2909"/>
                      <a:pt x="2150" y="2912"/>
                      <a:pt x="2156" y="2914"/>
                    </a:cubicBezTo>
                    <a:cubicBezTo>
                      <a:pt x="2189" y="2928"/>
                      <a:pt x="2236" y="2940"/>
                      <a:pt x="2274" y="2949"/>
                    </a:cubicBezTo>
                    <a:cubicBezTo>
                      <a:pt x="2312" y="2958"/>
                      <a:pt x="2341" y="2963"/>
                      <a:pt x="2342" y="2963"/>
                    </a:cubicBezTo>
                    <a:cubicBezTo>
                      <a:pt x="2347" y="2964"/>
                      <a:pt x="2354" y="2964"/>
                      <a:pt x="2362" y="2965"/>
                    </a:cubicBezTo>
                    <a:cubicBezTo>
                      <a:pt x="2387" y="2968"/>
                      <a:pt x="2418" y="2972"/>
                      <a:pt x="2462" y="2972"/>
                    </a:cubicBezTo>
                    <a:cubicBezTo>
                      <a:pt x="2545" y="2972"/>
                      <a:pt x="2657" y="2962"/>
                      <a:pt x="2772" y="2922"/>
                    </a:cubicBezTo>
                    <a:lnTo>
                      <a:pt x="2416" y="2018"/>
                    </a:lnTo>
                    <a:close/>
                    <a:moveTo>
                      <a:pt x="2206" y="2131"/>
                    </a:moveTo>
                    <a:cubicBezTo>
                      <a:pt x="2176" y="2147"/>
                      <a:pt x="2146" y="2163"/>
                      <a:pt x="2116" y="2179"/>
                    </a:cubicBezTo>
                    <a:cubicBezTo>
                      <a:pt x="2094" y="2200"/>
                      <a:pt x="2094" y="2200"/>
                      <a:pt x="2094" y="2200"/>
                    </a:cubicBezTo>
                    <a:cubicBezTo>
                      <a:pt x="2093" y="2201"/>
                      <a:pt x="2093" y="2201"/>
                      <a:pt x="2093" y="2201"/>
                    </a:cubicBezTo>
                    <a:cubicBezTo>
                      <a:pt x="1781" y="2369"/>
                      <a:pt x="1491" y="2525"/>
                      <a:pt x="1249" y="2656"/>
                    </a:cubicBezTo>
                    <a:cubicBezTo>
                      <a:pt x="1262" y="2668"/>
                      <a:pt x="1281" y="2684"/>
                      <a:pt x="1299" y="2699"/>
                    </a:cubicBezTo>
                    <a:cubicBezTo>
                      <a:pt x="1324" y="2721"/>
                      <a:pt x="1349" y="2741"/>
                      <a:pt x="1358" y="2749"/>
                    </a:cubicBezTo>
                    <a:cubicBezTo>
                      <a:pt x="1366" y="2739"/>
                      <a:pt x="1366" y="2739"/>
                      <a:pt x="1366" y="2739"/>
                    </a:cubicBezTo>
                    <a:cubicBezTo>
                      <a:pt x="1623" y="2957"/>
                      <a:pt x="1623" y="2957"/>
                      <a:pt x="1623" y="2957"/>
                    </a:cubicBezTo>
                    <a:cubicBezTo>
                      <a:pt x="2006" y="2795"/>
                      <a:pt x="2006" y="2795"/>
                      <a:pt x="2006" y="2795"/>
                    </a:cubicBezTo>
                    <a:cubicBezTo>
                      <a:pt x="2017" y="2808"/>
                      <a:pt x="2017" y="2808"/>
                      <a:pt x="2017" y="2808"/>
                    </a:cubicBezTo>
                    <a:cubicBezTo>
                      <a:pt x="2017" y="2808"/>
                      <a:pt x="2021" y="2812"/>
                      <a:pt x="2028" y="2820"/>
                    </a:cubicBezTo>
                    <a:cubicBezTo>
                      <a:pt x="2045" y="2838"/>
                      <a:pt x="2082" y="2873"/>
                      <a:pt x="2123" y="2898"/>
                    </a:cubicBezTo>
                    <a:cubicBezTo>
                      <a:pt x="2130" y="2852"/>
                      <a:pt x="2150" y="2671"/>
                      <a:pt x="2168" y="2495"/>
                    </a:cubicBezTo>
                    <a:cubicBezTo>
                      <a:pt x="2184" y="2339"/>
                      <a:pt x="2200" y="2187"/>
                      <a:pt x="2206" y="2131"/>
                    </a:cubicBezTo>
                    <a:close/>
                    <a:moveTo>
                      <a:pt x="1239" y="2670"/>
                    </a:moveTo>
                    <a:cubicBezTo>
                      <a:pt x="1237" y="2668"/>
                      <a:pt x="1236" y="2666"/>
                      <a:pt x="1233" y="2665"/>
                    </a:cubicBezTo>
                    <a:cubicBezTo>
                      <a:pt x="1193" y="2687"/>
                      <a:pt x="1153" y="2708"/>
                      <a:pt x="1115" y="2729"/>
                    </a:cubicBezTo>
                    <a:cubicBezTo>
                      <a:pt x="860" y="2867"/>
                      <a:pt x="691" y="2958"/>
                      <a:pt x="677" y="2966"/>
                    </a:cubicBezTo>
                    <a:cubicBezTo>
                      <a:pt x="674" y="2968"/>
                      <a:pt x="661" y="2976"/>
                      <a:pt x="642" y="2987"/>
                    </a:cubicBezTo>
                    <a:cubicBezTo>
                      <a:pt x="656" y="3004"/>
                      <a:pt x="672" y="3022"/>
                      <a:pt x="688" y="3041"/>
                    </a:cubicBezTo>
                    <a:cubicBezTo>
                      <a:pt x="739" y="3021"/>
                      <a:pt x="782" y="3007"/>
                      <a:pt x="807" y="3006"/>
                    </a:cubicBezTo>
                    <a:cubicBezTo>
                      <a:pt x="808" y="3006"/>
                      <a:pt x="808" y="3006"/>
                      <a:pt x="808" y="3006"/>
                    </a:cubicBezTo>
                    <a:cubicBezTo>
                      <a:pt x="808" y="3006"/>
                      <a:pt x="808" y="3006"/>
                      <a:pt x="810" y="3007"/>
                    </a:cubicBezTo>
                    <a:cubicBezTo>
                      <a:pt x="832" y="3009"/>
                      <a:pt x="849" y="3026"/>
                      <a:pt x="870" y="3050"/>
                    </a:cubicBezTo>
                    <a:cubicBezTo>
                      <a:pt x="933" y="3125"/>
                      <a:pt x="1011" y="3276"/>
                      <a:pt x="1040" y="3341"/>
                    </a:cubicBezTo>
                    <a:cubicBezTo>
                      <a:pt x="1057" y="3379"/>
                      <a:pt x="1122" y="3460"/>
                      <a:pt x="1182" y="3530"/>
                    </a:cubicBezTo>
                    <a:cubicBezTo>
                      <a:pt x="1232" y="3588"/>
                      <a:pt x="1279" y="3638"/>
                      <a:pt x="1293" y="3653"/>
                    </a:cubicBezTo>
                    <a:cubicBezTo>
                      <a:pt x="1295" y="3652"/>
                      <a:pt x="1297" y="3651"/>
                      <a:pt x="1299" y="3650"/>
                    </a:cubicBezTo>
                    <a:cubicBezTo>
                      <a:pt x="1306" y="3647"/>
                      <a:pt x="1313" y="3643"/>
                      <a:pt x="1320" y="3640"/>
                    </a:cubicBezTo>
                    <a:cubicBezTo>
                      <a:pt x="1296" y="3613"/>
                      <a:pt x="1273" y="3587"/>
                      <a:pt x="1257" y="3568"/>
                    </a:cubicBezTo>
                    <a:cubicBezTo>
                      <a:pt x="1200" y="3502"/>
                      <a:pt x="1177" y="3459"/>
                      <a:pt x="1149" y="3411"/>
                    </a:cubicBezTo>
                    <a:cubicBezTo>
                      <a:pt x="1120" y="3362"/>
                      <a:pt x="856" y="2894"/>
                      <a:pt x="852" y="2889"/>
                    </a:cubicBezTo>
                    <a:cubicBezTo>
                      <a:pt x="912" y="2855"/>
                      <a:pt x="912" y="2855"/>
                      <a:pt x="912" y="2855"/>
                    </a:cubicBezTo>
                    <a:cubicBezTo>
                      <a:pt x="915" y="2860"/>
                      <a:pt x="915" y="2860"/>
                      <a:pt x="915" y="2860"/>
                    </a:cubicBezTo>
                    <a:cubicBezTo>
                      <a:pt x="916" y="2860"/>
                      <a:pt x="982" y="2977"/>
                      <a:pt x="1051" y="3100"/>
                    </a:cubicBezTo>
                    <a:cubicBezTo>
                      <a:pt x="1121" y="3223"/>
                      <a:pt x="1195" y="3353"/>
                      <a:pt x="1209" y="3377"/>
                    </a:cubicBezTo>
                    <a:cubicBezTo>
                      <a:pt x="1223" y="3402"/>
                      <a:pt x="1235" y="3423"/>
                      <a:pt x="1251" y="3446"/>
                    </a:cubicBezTo>
                    <a:cubicBezTo>
                      <a:pt x="1583" y="3265"/>
                      <a:pt x="1583" y="3265"/>
                      <a:pt x="1583" y="3265"/>
                    </a:cubicBezTo>
                    <a:cubicBezTo>
                      <a:pt x="1589" y="3193"/>
                      <a:pt x="1589" y="3193"/>
                      <a:pt x="1589" y="3193"/>
                    </a:cubicBezTo>
                    <a:cubicBezTo>
                      <a:pt x="1578" y="3192"/>
                      <a:pt x="1578" y="3192"/>
                      <a:pt x="1578" y="3192"/>
                    </a:cubicBezTo>
                    <a:cubicBezTo>
                      <a:pt x="1578" y="3189"/>
                      <a:pt x="1578" y="3189"/>
                      <a:pt x="1578" y="3189"/>
                    </a:cubicBezTo>
                    <a:cubicBezTo>
                      <a:pt x="1578" y="3189"/>
                      <a:pt x="1583" y="3140"/>
                      <a:pt x="1588" y="3090"/>
                    </a:cubicBezTo>
                    <a:cubicBezTo>
                      <a:pt x="1591" y="3052"/>
                      <a:pt x="1595" y="3011"/>
                      <a:pt x="1596" y="2993"/>
                    </a:cubicBezTo>
                    <a:cubicBezTo>
                      <a:pt x="1337" y="2774"/>
                      <a:pt x="1337" y="2774"/>
                      <a:pt x="1337" y="2774"/>
                    </a:cubicBezTo>
                    <a:cubicBezTo>
                      <a:pt x="1347" y="2761"/>
                      <a:pt x="1347" y="2761"/>
                      <a:pt x="1347" y="2761"/>
                    </a:cubicBezTo>
                    <a:cubicBezTo>
                      <a:pt x="1338" y="2753"/>
                      <a:pt x="1311" y="2731"/>
                      <a:pt x="1285" y="2709"/>
                    </a:cubicBezTo>
                    <a:cubicBezTo>
                      <a:pt x="1268" y="2695"/>
                      <a:pt x="1252" y="2681"/>
                      <a:pt x="1239" y="2670"/>
                    </a:cubicBezTo>
                    <a:close/>
                    <a:moveTo>
                      <a:pt x="705" y="3061"/>
                    </a:moveTo>
                    <a:cubicBezTo>
                      <a:pt x="779" y="3147"/>
                      <a:pt x="868" y="3249"/>
                      <a:pt x="956" y="3351"/>
                    </a:cubicBezTo>
                    <a:cubicBezTo>
                      <a:pt x="1060" y="3471"/>
                      <a:pt x="1162" y="3589"/>
                      <a:pt x="1239" y="3678"/>
                    </a:cubicBezTo>
                    <a:cubicBezTo>
                      <a:pt x="1249" y="3673"/>
                      <a:pt x="1259" y="3669"/>
                      <a:pt x="1269" y="3664"/>
                    </a:cubicBezTo>
                    <a:cubicBezTo>
                      <a:pt x="1226" y="3617"/>
                      <a:pt x="1053" y="3429"/>
                      <a:pt x="1017" y="3351"/>
                    </a:cubicBezTo>
                    <a:cubicBezTo>
                      <a:pt x="999" y="3309"/>
                      <a:pt x="958" y="3228"/>
                      <a:pt x="915" y="3157"/>
                    </a:cubicBezTo>
                    <a:cubicBezTo>
                      <a:pt x="893" y="3122"/>
                      <a:pt x="871" y="3089"/>
                      <a:pt x="851" y="3066"/>
                    </a:cubicBezTo>
                    <a:cubicBezTo>
                      <a:pt x="832" y="3042"/>
                      <a:pt x="813" y="3030"/>
                      <a:pt x="808" y="3031"/>
                    </a:cubicBezTo>
                    <a:cubicBezTo>
                      <a:pt x="808" y="3031"/>
                      <a:pt x="808" y="3031"/>
                      <a:pt x="808" y="3031"/>
                    </a:cubicBezTo>
                    <a:cubicBezTo>
                      <a:pt x="807" y="3031"/>
                      <a:pt x="807" y="3031"/>
                      <a:pt x="807" y="3031"/>
                    </a:cubicBezTo>
                    <a:cubicBezTo>
                      <a:pt x="806" y="3031"/>
                      <a:pt x="806" y="3031"/>
                      <a:pt x="806" y="3031"/>
                    </a:cubicBezTo>
                    <a:cubicBezTo>
                      <a:pt x="789" y="3031"/>
                      <a:pt x="751" y="3043"/>
                      <a:pt x="705" y="3061"/>
                    </a:cubicBezTo>
                    <a:close/>
                    <a:moveTo>
                      <a:pt x="1193" y="3730"/>
                    </a:moveTo>
                    <a:cubicBezTo>
                      <a:pt x="1177" y="3738"/>
                      <a:pt x="1165" y="3746"/>
                      <a:pt x="1161" y="3750"/>
                    </a:cubicBezTo>
                    <a:cubicBezTo>
                      <a:pt x="1151" y="3761"/>
                      <a:pt x="1148" y="3776"/>
                      <a:pt x="1148" y="3792"/>
                    </a:cubicBezTo>
                    <a:cubicBezTo>
                      <a:pt x="1148" y="3805"/>
                      <a:pt x="1150" y="3817"/>
                      <a:pt x="1153" y="3825"/>
                    </a:cubicBezTo>
                    <a:cubicBezTo>
                      <a:pt x="1153" y="3825"/>
                      <a:pt x="1154" y="3825"/>
                      <a:pt x="1155" y="3825"/>
                    </a:cubicBezTo>
                    <a:cubicBezTo>
                      <a:pt x="1199" y="3825"/>
                      <a:pt x="1231" y="3852"/>
                      <a:pt x="1253" y="3881"/>
                    </a:cubicBezTo>
                    <a:cubicBezTo>
                      <a:pt x="1271" y="3867"/>
                      <a:pt x="1287" y="3856"/>
                      <a:pt x="1297" y="3850"/>
                    </a:cubicBezTo>
                    <a:cubicBezTo>
                      <a:pt x="1276" y="3825"/>
                      <a:pt x="1239" y="3783"/>
                      <a:pt x="1193" y="3730"/>
                    </a:cubicBezTo>
                    <a:close/>
                    <a:moveTo>
                      <a:pt x="1112" y="3860"/>
                    </a:moveTo>
                    <a:cubicBezTo>
                      <a:pt x="988" y="3918"/>
                      <a:pt x="950" y="3970"/>
                      <a:pt x="950" y="4014"/>
                    </a:cubicBezTo>
                    <a:cubicBezTo>
                      <a:pt x="950" y="4014"/>
                      <a:pt x="950" y="4014"/>
                      <a:pt x="950" y="4014"/>
                    </a:cubicBezTo>
                    <a:cubicBezTo>
                      <a:pt x="950" y="4029"/>
                      <a:pt x="970" y="4072"/>
                      <a:pt x="992" y="4120"/>
                    </a:cubicBezTo>
                    <a:cubicBezTo>
                      <a:pt x="1001" y="4142"/>
                      <a:pt x="1011" y="4166"/>
                      <a:pt x="1019" y="4190"/>
                    </a:cubicBezTo>
                    <a:cubicBezTo>
                      <a:pt x="1026" y="4169"/>
                      <a:pt x="1037" y="4142"/>
                      <a:pt x="1052" y="4114"/>
                    </a:cubicBezTo>
                    <a:cubicBezTo>
                      <a:pt x="1075" y="4070"/>
                      <a:pt x="1106" y="4028"/>
                      <a:pt x="1133" y="3996"/>
                    </a:cubicBezTo>
                    <a:cubicBezTo>
                      <a:pt x="1152" y="3973"/>
                      <a:pt x="1176" y="3947"/>
                      <a:pt x="1202" y="3924"/>
                    </a:cubicBezTo>
                    <a:cubicBezTo>
                      <a:pt x="1212" y="3914"/>
                      <a:pt x="1223" y="3905"/>
                      <a:pt x="1234" y="3897"/>
                    </a:cubicBezTo>
                    <a:cubicBezTo>
                      <a:pt x="1214" y="3871"/>
                      <a:pt x="1187" y="3849"/>
                      <a:pt x="1155" y="3850"/>
                    </a:cubicBezTo>
                    <a:cubicBezTo>
                      <a:pt x="1142" y="3850"/>
                      <a:pt x="1128" y="3853"/>
                      <a:pt x="1112" y="3860"/>
                    </a:cubicBezTo>
                    <a:close/>
                    <a:moveTo>
                      <a:pt x="962" y="4210"/>
                    </a:moveTo>
                    <a:cubicBezTo>
                      <a:pt x="949" y="4202"/>
                      <a:pt x="933" y="4192"/>
                      <a:pt x="913" y="4181"/>
                    </a:cubicBezTo>
                    <a:cubicBezTo>
                      <a:pt x="905" y="4228"/>
                      <a:pt x="885" y="4318"/>
                      <a:pt x="844" y="4391"/>
                    </a:cubicBezTo>
                    <a:cubicBezTo>
                      <a:pt x="860" y="4397"/>
                      <a:pt x="877" y="4402"/>
                      <a:pt x="895" y="4402"/>
                    </a:cubicBezTo>
                    <a:cubicBezTo>
                      <a:pt x="928" y="4402"/>
                      <a:pt x="963" y="4388"/>
                      <a:pt x="996" y="4334"/>
                    </a:cubicBezTo>
                    <a:cubicBezTo>
                      <a:pt x="1006" y="4317"/>
                      <a:pt x="1010" y="4298"/>
                      <a:pt x="1010" y="4277"/>
                    </a:cubicBezTo>
                    <a:cubicBezTo>
                      <a:pt x="1010" y="4265"/>
                      <a:pt x="1009" y="4254"/>
                      <a:pt x="1007" y="4242"/>
                    </a:cubicBezTo>
                    <a:cubicBezTo>
                      <a:pt x="989" y="4228"/>
                      <a:pt x="973" y="4217"/>
                      <a:pt x="962" y="4210"/>
                    </a:cubicBezTo>
                    <a:close/>
                    <a:moveTo>
                      <a:pt x="831" y="4412"/>
                    </a:moveTo>
                    <a:cubicBezTo>
                      <a:pt x="827" y="4419"/>
                      <a:pt x="822" y="4425"/>
                      <a:pt x="818" y="4431"/>
                    </a:cubicBezTo>
                    <a:cubicBezTo>
                      <a:pt x="779" y="4480"/>
                      <a:pt x="742" y="4512"/>
                      <a:pt x="714" y="4531"/>
                    </a:cubicBezTo>
                    <a:cubicBezTo>
                      <a:pt x="699" y="4540"/>
                      <a:pt x="687" y="4547"/>
                      <a:pt x="678" y="4551"/>
                    </a:cubicBezTo>
                    <a:cubicBezTo>
                      <a:pt x="674" y="4553"/>
                      <a:pt x="672" y="4554"/>
                      <a:pt x="668" y="4555"/>
                    </a:cubicBezTo>
                    <a:cubicBezTo>
                      <a:pt x="667" y="4554"/>
                      <a:pt x="667" y="4554"/>
                      <a:pt x="667" y="4554"/>
                    </a:cubicBezTo>
                    <a:cubicBezTo>
                      <a:pt x="690" y="4585"/>
                      <a:pt x="711" y="4615"/>
                      <a:pt x="731" y="4643"/>
                    </a:cubicBezTo>
                    <a:cubicBezTo>
                      <a:pt x="776" y="4706"/>
                      <a:pt x="813" y="4758"/>
                      <a:pt x="840" y="4795"/>
                    </a:cubicBezTo>
                    <a:cubicBezTo>
                      <a:pt x="847" y="4806"/>
                      <a:pt x="854" y="4815"/>
                      <a:pt x="860" y="4823"/>
                    </a:cubicBezTo>
                    <a:cubicBezTo>
                      <a:pt x="859" y="4822"/>
                      <a:pt x="859" y="4822"/>
                      <a:pt x="859" y="4822"/>
                    </a:cubicBezTo>
                    <a:cubicBezTo>
                      <a:pt x="1123" y="4758"/>
                      <a:pt x="1123" y="4758"/>
                      <a:pt x="1123" y="4758"/>
                    </a:cubicBezTo>
                    <a:cubicBezTo>
                      <a:pt x="1068" y="4527"/>
                      <a:pt x="1068" y="4527"/>
                      <a:pt x="1068" y="4527"/>
                    </a:cubicBezTo>
                    <a:cubicBezTo>
                      <a:pt x="946" y="4416"/>
                      <a:pt x="946" y="4416"/>
                      <a:pt x="946" y="4416"/>
                    </a:cubicBezTo>
                    <a:cubicBezTo>
                      <a:pt x="929" y="4423"/>
                      <a:pt x="912" y="4427"/>
                      <a:pt x="895" y="4427"/>
                    </a:cubicBezTo>
                    <a:cubicBezTo>
                      <a:pt x="872" y="4427"/>
                      <a:pt x="850" y="4420"/>
                      <a:pt x="831" y="4412"/>
                    </a:cubicBezTo>
                    <a:close/>
                    <a:moveTo>
                      <a:pt x="347" y="4962"/>
                    </a:moveTo>
                    <a:cubicBezTo>
                      <a:pt x="365" y="4985"/>
                      <a:pt x="365" y="4985"/>
                      <a:pt x="365" y="4985"/>
                    </a:cubicBezTo>
                    <a:cubicBezTo>
                      <a:pt x="399" y="4960"/>
                      <a:pt x="399" y="4960"/>
                      <a:pt x="399" y="4960"/>
                    </a:cubicBezTo>
                    <a:cubicBezTo>
                      <a:pt x="444" y="5020"/>
                      <a:pt x="444" y="5020"/>
                      <a:pt x="444" y="5020"/>
                    </a:cubicBezTo>
                    <a:cubicBezTo>
                      <a:pt x="816" y="4874"/>
                      <a:pt x="816" y="4874"/>
                      <a:pt x="816" y="4874"/>
                    </a:cubicBezTo>
                    <a:cubicBezTo>
                      <a:pt x="808" y="4863"/>
                      <a:pt x="796" y="4847"/>
                      <a:pt x="782" y="4826"/>
                    </a:cubicBezTo>
                    <a:cubicBezTo>
                      <a:pt x="768" y="4808"/>
                      <a:pt x="753" y="4786"/>
                      <a:pt x="735" y="4761"/>
                    </a:cubicBezTo>
                    <a:lnTo>
                      <a:pt x="347" y="4962"/>
                    </a:lnTo>
                    <a:close/>
                    <a:moveTo>
                      <a:pt x="335" y="4968"/>
                    </a:moveTo>
                    <a:cubicBezTo>
                      <a:pt x="322" y="4975"/>
                      <a:pt x="322" y="4975"/>
                      <a:pt x="322" y="4975"/>
                    </a:cubicBezTo>
                    <a:cubicBezTo>
                      <a:pt x="286" y="5002"/>
                      <a:pt x="286" y="5002"/>
                      <a:pt x="286" y="5002"/>
                    </a:cubicBezTo>
                    <a:cubicBezTo>
                      <a:pt x="332" y="5064"/>
                      <a:pt x="332" y="5064"/>
                      <a:pt x="332" y="5064"/>
                    </a:cubicBezTo>
                    <a:cubicBezTo>
                      <a:pt x="431" y="5025"/>
                      <a:pt x="431" y="5025"/>
                      <a:pt x="431" y="5025"/>
                    </a:cubicBezTo>
                    <a:cubicBezTo>
                      <a:pt x="396" y="4978"/>
                      <a:pt x="396" y="4978"/>
                      <a:pt x="396" y="4978"/>
                    </a:cubicBezTo>
                    <a:cubicBezTo>
                      <a:pt x="362" y="5004"/>
                      <a:pt x="362" y="5004"/>
                      <a:pt x="362" y="5004"/>
                    </a:cubicBezTo>
                    <a:lnTo>
                      <a:pt x="335" y="4968"/>
                    </a:lnTo>
                    <a:close/>
                    <a:moveTo>
                      <a:pt x="340" y="5076"/>
                    </a:moveTo>
                    <a:cubicBezTo>
                      <a:pt x="395" y="5150"/>
                      <a:pt x="395" y="5150"/>
                      <a:pt x="395" y="5150"/>
                    </a:cubicBezTo>
                    <a:cubicBezTo>
                      <a:pt x="444" y="5114"/>
                      <a:pt x="444" y="5114"/>
                      <a:pt x="444" y="5114"/>
                    </a:cubicBezTo>
                    <a:cubicBezTo>
                      <a:pt x="416" y="5076"/>
                      <a:pt x="416" y="5076"/>
                      <a:pt x="416" y="5076"/>
                    </a:cubicBezTo>
                    <a:cubicBezTo>
                      <a:pt x="450" y="5051"/>
                      <a:pt x="450" y="5051"/>
                      <a:pt x="450" y="5051"/>
                    </a:cubicBezTo>
                    <a:cubicBezTo>
                      <a:pt x="440" y="5037"/>
                      <a:pt x="440" y="5037"/>
                      <a:pt x="440" y="5037"/>
                    </a:cubicBezTo>
                    <a:lnTo>
                      <a:pt x="340" y="5076"/>
                    </a:lnTo>
                    <a:close/>
                    <a:moveTo>
                      <a:pt x="375" y="5185"/>
                    </a:moveTo>
                    <a:cubicBezTo>
                      <a:pt x="388" y="5202"/>
                      <a:pt x="399" y="5217"/>
                      <a:pt x="407" y="5228"/>
                    </a:cubicBezTo>
                    <a:cubicBezTo>
                      <a:pt x="421" y="5248"/>
                      <a:pt x="442" y="5279"/>
                      <a:pt x="467" y="5316"/>
                    </a:cubicBezTo>
                    <a:cubicBezTo>
                      <a:pt x="475" y="5313"/>
                      <a:pt x="485" y="5310"/>
                      <a:pt x="495" y="5306"/>
                    </a:cubicBezTo>
                    <a:cubicBezTo>
                      <a:pt x="446" y="5240"/>
                      <a:pt x="446" y="5240"/>
                      <a:pt x="446" y="5240"/>
                    </a:cubicBezTo>
                    <a:cubicBezTo>
                      <a:pt x="451" y="5236"/>
                      <a:pt x="451" y="5236"/>
                      <a:pt x="451" y="5236"/>
                    </a:cubicBezTo>
                    <a:cubicBezTo>
                      <a:pt x="515" y="5189"/>
                      <a:pt x="515" y="5189"/>
                      <a:pt x="515" y="5189"/>
                    </a:cubicBezTo>
                    <a:cubicBezTo>
                      <a:pt x="543" y="5226"/>
                      <a:pt x="543" y="5226"/>
                      <a:pt x="543" y="5226"/>
                    </a:cubicBezTo>
                    <a:cubicBezTo>
                      <a:pt x="578" y="5201"/>
                      <a:pt x="578" y="5201"/>
                      <a:pt x="578" y="5201"/>
                    </a:cubicBezTo>
                    <a:cubicBezTo>
                      <a:pt x="623" y="5262"/>
                      <a:pt x="623" y="5262"/>
                      <a:pt x="623" y="5262"/>
                    </a:cubicBezTo>
                    <a:cubicBezTo>
                      <a:pt x="769" y="5211"/>
                      <a:pt x="947" y="5147"/>
                      <a:pt x="994" y="5131"/>
                    </a:cubicBezTo>
                    <a:cubicBezTo>
                      <a:pt x="905" y="5003"/>
                      <a:pt x="905" y="5003"/>
                      <a:pt x="905" y="5003"/>
                    </a:cubicBezTo>
                    <a:lnTo>
                      <a:pt x="375" y="5185"/>
                    </a:lnTo>
                    <a:close/>
                    <a:moveTo>
                      <a:pt x="517" y="5314"/>
                    </a:moveTo>
                    <a:cubicBezTo>
                      <a:pt x="574" y="5391"/>
                      <a:pt x="574" y="5391"/>
                      <a:pt x="574" y="5391"/>
                    </a:cubicBezTo>
                    <a:cubicBezTo>
                      <a:pt x="622" y="5355"/>
                      <a:pt x="622" y="5355"/>
                      <a:pt x="622" y="5355"/>
                    </a:cubicBezTo>
                    <a:cubicBezTo>
                      <a:pt x="594" y="5317"/>
                      <a:pt x="594" y="5317"/>
                      <a:pt x="594" y="5317"/>
                    </a:cubicBezTo>
                    <a:cubicBezTo>
                      <a:pt x="629" y="5292"/>
                      <a:pt x="629" y="5292"/>
                      <a:pt x="629" y="5292"/>
                    </a:cubicBezTo>
                    <a:cubicBezTo>
                      <a:pt x="619" y="5279"/>
                      <a:pt x="619" y="5279"/>
                      <a:pt x="619" y="5279"/>
                    </a:cubicBezTo>
                    <a:cubicBezTo>
                      <a:pt x="586" y="5290"/>
                      <a:pt x="555" y="5301"/>
                      <a:pt x="528" y="5310"/>
                    </a:cubicBezTo>
                    <a:cubicBezTo>
                      <a:pt x="524" y="5311"/>
                      <a:pt x="520" y="5313"/>
                      <a:pt x="517" y="5314"/>
                    </a:cubicBezTo>
                    <a:close/>
                    <a:moveTo>
                      <a:pt x="523" y="5297"/>
                    </a:moveTo>
                    <a:cubicBezTo>
                      <a:pt x="549" y="5288"/>
                      <a:pt x="579" y="5278"/>
                      <a:pt x="610" y="5267"/>
                    </a:cubicBezTo>
                    <a:cubicBezTo>
                      <a:pt x="575" y="5219"/>
                      <a:pt x="575" y="5219"/>
                      <a:pt x="575" y="5219"/>
                    </a:cubicBezTo>
                    <a:cubicBezTo>
                      <a:pt x="540" y="5245"/>
                      <a:pt x="540" y="5245"/>
                      <a:pt x="540" y="5245"/>
                    </a:cubicBezTo>
                    <a:cubicBezTo>
                      <a:pt x="512" y="5207"/>
                      <a:pt x="512" y="5207"/>
                      <a:pt x="512" y="5207"/>
                    </a:cubicBezTo>
                    <a:cubicBezTo>
                      <a:pt x="464" y="5243"/>
                      <a:pt x="464" y="5243"/>
                      <a:pt x="464" y="5243"/>
                    </a:cubicBezTo>
                    <a:cubicBezTo>
                      <a:pt x="508" y="5302"/>
                      <a:pt x="508" y="5302"/>
                      <a:pt x="508" y="5302"/>
                    </a:cubicBezTo>
                    <a:cubicBezTo>
                      <a:pt x="513" y="5300"/>
                      <a:pt x="518" y="5299"/>
                      <a:pt x="523" y="5297"/>
                    </a:cubicBezTo>
                    <a:close/>
                    <a:moveTo>
                      <a:pt x="475" y="5328"/>
                    </a:moveTo>
                    <a:cubicBezTo>
                      <a:pt x="499" y="5363"/>
                      <a:pt x="525" y="5403"/>
                      <a:pt x="550" y="5441"/>
                    </a:cubicBezTo>
                    <a:cubicBezTo>
                      <a:pt x="567" y="5436"/>
                      <a:pt x="593" y="5428"/>
                      <a:pt x="622" y="5419"/>
                    </a:cubicBezTo>
                    <a:cubicBezTo>
                      <a:pt x="764" y="5374"/>
                      <a:pt x="1011" y="5291"/>
                      <a:pt x="1089" y="5265"/>
                    </a:cubicBezTo>
                    <a:cubicBezTo>
                      <a:pt x="1003" y="5142"/>
                      <a:pt x="1003" y="5142"/>
                      <a:pt x="1003" y="5142"/>
                    </a:cubicBezTo>
                    <a:cubicBezTo>
                      <a:pt x="970" y="5154"/>
                      <a:pt x="850" y="5197"/>
                      <a:pt x="727" y="5241"/>
                    </a:cubicBezTo>
                    <a:cubicBezTo>
                      <a:pt x="695" y="5252"/>
                      <a:pt x="663" y="5263"/>
                      <a:pt x="632" y="5274"/>
                    </a:cubicBezTo>
                    <a:cubicBezTo>
                      <a:pt x="647" y="5294"/>
                      <a:pt x="647" y="5294"/>
                      <a:pt x="647" y="5294"/>
                    </a:cubicBezTo>
                    <a:cubicBezTo>
                      <a:pt x="612" y="5320"/>
                      <a:pt x="612" y="5320"/>
                      <a:pt x="612" y="5320"/>
                    </a:cubicBezTo>
                    <a:cubicBezTo>
                      <a:pt x="640" y="5358"/>
                      <a:pt x="640" y="5358"/>
                      <a:pt x="640" y="5358"/>
                    </a:cubicBezTo>
                    <a:cubicBezTo>
                      <a:pt x="571" y="5409"/>
                      <a:pt x="571" y="5409"/>
                      <a:pt x="571" y="5409"/>
                    </a:cubicBezTo>
                    <a:cubicBezTo>
                      <a:pt x="504" y="5318"/>
                      <a:pt x="504" y="5318"/>
                      <a:pt x="504" y="5318"/>
                    </a:cubicBezTo>
                    <a:cubicBezTo>
                      <a:pt x="493" y="5322"/>
                      <a:pt x="484" y="5325"/>
                      <a:pt x="475" y="5328"/>
                    </a:cubicBezTo>
                    <a:close/>
                    <a:moveTo>
                      <a:pt x="614" y="6425"/>
                    </a:moveTo>
                    <a:cubicBezTo>
                      <a:pt x="613" y="6444"/>
                      <a:pt x="631" y="6496"/>
                      <a:pt x="651" y="6522"/>
                    </a:cubicBezTo>
                    <a:cubicBezTo>
                      <a:pt x="651" y="6522"/>
                      <a:pt x="652" y="6522"/>
                      <a:pt x="652" y="6523"/>
                    </a:cubicBezTo>
                    <a:cubicBezTo>
                      <a:pt x="665" y="6533"/>
                      <a:pt x="741" y="6585"/>
                      <a:pt x="780" y="6610"/>
                    </a:cubicBezTo>
                    <a:cubicBezTo>
                      <a:pt x="800" y="6623"/>
                      <a:pt x="819" y="6634"/>
                      <a:pt x="833" y="6643"/>
                    </a:cubicBezTo>
                    <a:cubicBezTo>
                      <a:pt x="835" y="6644"/>
                      <a:pt x="836" y="6645"/>
                      <a:pt x="838" y="6646"/>
                    </a:cubicBezTo>
                    <a:cubicBezTo>
                      <a:pt x="839" y="6645"/>
                      <a:pt x="839" y="6645"/>
                      <a:pt x="839" y="6645"/>
                    </a:cubicBezTo>
                    <a:cubicBezTo>
                      <a:pt x="840" y="6646"/>
                      <a:pt x="840" y="6646"/>
                      <a:pt x="840" y="6646"/>
                    </a:cubicBezTo>
                    <a:cubicBezTo>
                      <a:pt x="1128" y="6160"/>
                      <a:pt x="1128" y="6160"/>
                      <a:pt x="1128" y="6160"/>
                    </a:cubicBezTo>
                    <a:cubicBezTo>
                      <a:pt x="1126" y="6157"/>
                      <a:pt x="1126" y="6157"/>
                      <a:pt x="1126" y="6157"/>
                    </a:cubicBezTo>
                    <a:cubicBezTo>
                      <a:pt x="1112" y="6146"/>
                      <a:pt x="1112" y="6146"/>
                      <a:pt x="1112" y="6146"/>
                    </a:cubicBezTo>
                    <a:cubicBezTo>
                      <a:pt x="1112" y="6146"/>
                      <a:pt x="1112" y="6146"/>
                      <a:pt x="1112" y="6146"/>
                    </a:cubicBezTo>
                    <a:cubicBezTo>
                      <a:pt x="1007" y="6049"/>
                      <a:pt x="1007" y="6049"/>
                      <a:pt x="1007" y="6049"/>
                    </a:cubicBezTo>
                    <a:cubicBezTo>
                      <a:pt x="674" y="6053"/>
                      <a:pt x="674" y="6053"/>
                      <a:pt x="674" y="6053"/>
                    </a:cubicBezTo>
                    <a:cubicBezTo>
                      <a:pt x="670" y="6108"/>
                      <a:pt x="666" y="6157"/>
                      <a:pt x="659" y="6186"/>
                    </a:cubicBezTo>
                    <a:cubicBezTo>
                      <a:pt x="642" y="6260"/>
                      <a:pt x="619" y="6391"/>
                      <a:pt x="614" y="6421"/>
                    </a:cubicBezTo>
                    <a:cubicBezTo>
                      <a:pt x="614" y="6422"/>
                      <a:pt x="614" y="6423"/>
                      <a:pt x="614" y="6425"/>
                    </a:cubicBezTo>
                    <a:close/>
                    <a:moveTo>
                      <a:pt x="854" y="6654"/>
                    </a:moveTo>
                    <a:cubicBezTo>
                      <a:pt x="1118" y="6820"/>
                      <a:pt x="1118" y="6820"/>
                      <a:pt x="1118" y="6820"/>
                    </a:cubicBezTo>
                    <a:cubicBezTo>
                      <a:pt x="1118" y="6819"/>
                      <a:pt x="1119" y="6819"/>
                      <a:pt x="1119" y="6819"/>
                    </a:cubicBezTo>
                    <a:cubicBezTo>
                      <a:pt x="1121" y="6816"/>
                      <a:pt x="1122" y="6814"/>
                      <a:pt x="1125" y="6810"/>
                    </a:cubicBezTo>
                    <a:cubicBezTo>
                      <a:pt x="1151" y="6776"/>
                      <a:pt x="1240" y="6661"/>
                      <a:pt x="1240" y="6661"/>
                    </a:cubicBezTo>
                    <a:cubicBezTo>
                      <a:pt x="1420" y="6414"/>
                      <a:pt x="1420" y="6414"/>
                      <a:pt x="1420" y="6414"/>
                    </a:cubicBezTo>
                    <a:cubicBezTo>
                      <a:pt x="1144" y="6174"/>
                      <a:pt x="1144" y="6174"/>
                      <a:pt x="1144" y="6174"/>
                    </a:cubicBezTo>
                    <a:cubicBezTo>
                      <a:pt x="1144" y="6174"/>
                      <a:pt x="1144" y="6174"/>
                      <a:pt x="1144" y="6174"/>
                    </a:cubicBezTo>
                    <a:cubicBezTo>
                      <a:pt x="1140" y="6171"/>
                      <a:pt x="1140" y="6171"/>
                      <a:pt x="1140" y="6171"/>
                    </a:cubicBezTo>
                    <a:lnTo>
                      <a:pt x="854" y="6654"/>
                    </a:lnTo>
                    <a:close/>
                    <a:moveTo>
                      <a:pt x="988" y="7054"/>
                    </a:moveTo>
                    <a:cubicBezTo>
                      <a:pt x="988" y="7054"/>
                      <a:pt x="988" y="7054"/>
                      <a:pt x="988" y="7054"/>
                    </a:cubicBezTo>
                    <a:cubicBezTo>
                      <a:pt x="1221" y="7180"/>
                      <a:pt x="1221" y="7180"/>
                      <a:pt x="1221" y="7180"/>
                    </a:cubicBezTo>
                    <a:cubicBezTo>
                      <a:pt x="1403" y="6799"/>
                      <a:pt x="1403" y="6799"/>
                      <a:pt x="1403" y="6799"/>
                    </a:cubicBezTo>
                    <a:cubicBezTo>
                      <a:pt x="1298" y="6699"/>
                      <a:pt x="1298" y="6699"/>
                      <a:pt x="1298" y="6699"/>
                    </a:cubicBezTo>
                    <a:cubicBezTo>
                      <a:pt x="1295" y="6703"/>
                      <a:pt x="1295" y="6703"/>
                      <a:pt x="1295" y="6703"/>
                    </a:cubicBezTo>
                    <a:cubicBezTo>
                      <a:pt x="1294" y="6704"/>
                      <a:pt x="1264" y="6742"/>
                      <a:pt x="1234" y="6781"/>
                    </a:cubicBezTo>
                    <a:cubicBezTo>
                      <a:pt x="1219" y="6801"/>
                      <a:pt x="1204" y="6820"/>
                      <a:pt x="1193" y="6835"/>
                    </a:cubicBezTo>
                    <a:cubicBezTo>
                      <a:pt x="1187" y="6842"/>
                      <a:pt x="1183" y="6848"/>
                      <a:pt x="1179" y="6853"/>
                    </a:cubicBezTo>
                    <a:cubicBezTo>
                      <a:pt x="1178" y="6855"/>
                      <a:pt x="1177" y="6856"/>
                      <a:pt x="1176" y="6857"/>
                    </a:cubicBezTo>
                    <a:cubicBezTo>
                      <a:pt x="1175" y="6860"/>
                      <a:pt x="1174" y="6859"/>
                      <a:pt x="1174" y="6861"/>
                    </a:cubicBezTo>
                    <a:cubicBezTo>
                      <a:pt x="1170" y="6865"/>
                      <a:pt x="1170" y="6865"/>
                      <a:pt x="1167" y="6868"/>
                    </a:cubicBezTo>
                    <a:cubicBezTo>
                      <a:pt x="1146" y="6891"/>
                      <a:pt x="1065" y="6975"/>
                      <a:pt x="988" y="7054"/>
                    </a:cubicBezTo>
                    <a:close/>
                    <a:moveTo>
                      <a:pt x="976" y="7066"/>
                    </a:moveTo>
                    <a:cubicBezTo>
                      <a:pt x="942" y="7102"/>
                      <a:pt x="909" y="7135"/>
                      <a:pt x="884" y="7161"/>
                    </a:cubicBezTo>
                    <a:cubicBezTo>
                      <a:pt x="871" y="7175"/>
                      <a:pt x="859" y="7187"/>
                      <a:pt x="851" y="7195"/>
                    </a:cubicBezTo>
                    <a:cubicBezTo>
                      <a:pt x="847" y="7199"/>
                      <a:pt x="843" y="7203"/>
                      <a:pt x="841" y="7205"/>
                    </a:cubicBezTo>
                    <a:cubicBezTo>
                      <a:pt x="840" y="7206"/>
                      <a:pt x="839" y="7207"/>
                      <a:pt x="838" y="7208"/>
                    </a:cubicBezTo>
                    <a:cubicBezTo>
                      <a:pt x="838" y="7208"/>
                      <a:pt x="838" y="7209"/>
                      <a:pt x="837" y="7209"/>
                    </a:cubicBezTo>
                    <a:cubicBezTo>
                      <a:pt x="836" y="7210"/>
                      <a:pt x="837" y="7209"/>
                      <a:pt x="836" y="7210"/>
                    </a:cubicBezTo>
                    <a:cubicBezTo>
                      <a:pt x="831" y="7215"/>
                      <a:pt x="807" y="7240"/>
                      <a:pt x="785" y="7266"/>
                    </a:cubicBezTo>
                    <a:cubicBezTo>
                      <a:pt x="773" y="7281"/>
                      <a:pt x="761" y="7295"/>
                      <a:pt x="752" y="7307"/>
                    </a:cubicBezTo>
                    <a:cubicBezTo>
                      <a:pt x="747" y="7313"/>
                      <a:pt x="743" y="7319"/>
                      <a:pt x="741" y="7323"/>
                    </a:cubicBezTo>
                    <a:cubicBezTo>
                      <a:pt x="1044" y="7552"/>
                      <a:pt x="1044" y="7552"/>
                      <a:pt x="1044" y="7552"/>
                    </a:cubicBezTo>
                    <a:cubicBezTo>
                      <a:pt x="1214" y="7195"/>
                      <a:pt x="1214" y="7195"/>
                      <a:pt x="1214" y="7195"/>
                    </a:cubicBezTo>
                    <a:lnTo>
                      <a:pt x="976" y="7066"/>
                    </a:lnTo>
                    <a:close/>
                    <a:moveTo>
                      <a:pt x="726" y="7398"/>
                    </a:moveTo>
                    <a:cubicBezTo>
                      <a:pt x="719" y="7425"/>
                      <a:pt x="706" y="7472"/>
                      <a:pt x="692" y="7514"/>
                    </a:cubicBezTo>
                    <a:cubicBezTo>
                      <a:pt x="678" y="7555"/>
                      <a:pt x="648" y="7649"/>
                      <a:pt x="611" y="7723"/>
                    </a:cubicBezTo>
                    <a:cubicBezTo>
                      <a:pt x="778" y="7836"/>
                      <a:pt x="778" y="7836"/>
                      <a:pt x="778" y="7836"/>
                    </a:cubicBezTo>
                    <a:cubicBezTo>
                      <a:pt x="711" y="8103"/>
                      <a:pt x="711" y="8103"/>
                      <a:pt x="711" y="8103"/>
                    </a:cubicBezTo>
                    <a:cubicBezTo>
                      <a:pt x="894" y="8176"/>
                      <a:pt x="894" y="8176"/>
                      <a:pt x="894" y="8176"/>
                    </a:cubicBezTo>
                    <a:cubicBezTo>
                      <a:pt x="974" y="7875"/>
                      <a:pt x="974" y="7875"/>
                      <a:pt x="974" y="7875"/>
                    </a:cubicBezTo>
                    <a:cubicBezTo>
                      <a:pt x="927" y="7750"/>
                      <a:pt x="927" y="7750"/>
                      <a:pt x="927" y="7750"/>
                    </a:cubicBezTo>
                    <a:cubicBezTo>
                      <a:pt x="1028" y="7625"/>
                      <a:pt x="1028" y="7625"/>
                      <a:pt x="1028" y="7625"/>
                    </a:cubicBezTo>
                    <a:lnTo>
                      <a:pt x="726" y="7398"/>
                    </a:lnTo>
                    <a:close/>
                    <a:moveTo>
                      <a:pt x="618" y="7517"/>
                    </a:moveTo>
                    <a:cubicBezTo>
                      <a:pt x="613" y="7513"/>
                      <a:pt x="606" y="7508"/>
                      <a:pt x="599" y="7502"/>
                    </a:cubicBezTo>
                    <a:cubicBezTo>
                      <a:pt x="585" y="7492"/>
                      <a:pt x="571" y="7480"/>
                      <a:pt x="556" y="7469"/>
                    </a:cubicBezTo>
                    <a:cubicBezTo>
                      <a:pt x="550" y="7503"/>
                      <a:pt x="542" y="7542"/>
                      <a:pt x="533" y="7581"/>
                    </a:cubicBezTo>
                    <a:cubicBezTo>
                      <a:pt x="514" y="7654"/>
                      <a:pt x="492" y="7725"/>
                      <a:pt x="462" y="7762"/>
                    </a:cubicBezTo>
                    <a:cubicBezTo>
                      <a:pt x="444" y="7785"/>
                      <a:pt x="419" y="7841"/>
                      <a:pt x="400" y="7903"/>
                    </a:cubicBezTo>
                    <a:cubicBezTo>
                      <a:pt x="463" y="7819"/>
                      <a:pt x="513" y="7752"/>
                      <a:pt x="526" y="7733"/>
                    </a:cubicBezTo>
                    <a:cubicBezTo>
                      <a:pt x="561" y="7684"/>
                      <a:pt x="598" y="7578"/>
                      <a:pt x="618" y="7517"/>
                    </a:cubicBezTo>
                    <a:close/>
                    <a:moveTo>
                      <a:pt x="1322" y="8617"/>
                    </a:moveTo>
                    <a:cubicBezTo>
                      <a:pt x="1393" y="8679"/>
                      <a:pt x="1504" y="8775"/>
                      <a:pt x="1559" y="8828"/>
                    </a:cubicBezTo>
                    <a:cubicBezTo>
                      <a:pt x="1788" y="8489"/>
                      <a:pt x="1788" y="8489"/>
                      <a:pt x="1788" y="8489"/>
                    </a:cubicBezTo>
                    <a:cubicBezTo>
                      <a:pt x="1884" y="8546"/>
                      <a:pt x="1884" y="8546"/>
                      <a:pt x="1884" y="8546"/>
                    </a:cubicBezTo>
                    <a:cubicBezTo>
                      <a:pt x="1997" y="8353"/>
                      <a:pt x="1997" y="8353"/>
                      <a:pt x="1997" y="8353"/>
                    </a:cubicBezTo>
                    <a:cubicBezTo>
                      <a:pt x="1999" y="8352"/>
                      <a:pt x="1999" y="8352"/>
                      <a:pt x="1999" y="8352"/>
                    </a:cubicBezTo>
                    <a:cubicBezTo>
                      <a:pt x="1999" y="8352"/>
                      <a:pt x="2001" y="8352"/>
                      <a:pt x="2001" y="8352"/>
                    </a:cubicBezTo>
                    <a:cubicBezTo>
                      <a:pt x="1876" y="8259"/>
                      <a:pt x="1690" y="8120"/>
                      <a:pt x="1515" y="7989"/>
                    </a:cubicBezTo>
                    <a:cubicBezTo>
                      <a:pt x="1208" y="8360"/>
                      <a:pt x="1208" y="8360"/>
                      <a:pt x="1208" y="8360"/>
                    </a:cubicBezTo>
                    <a:cubicBezTo>
                      <a:pt x="1397" y="8527"/>
                      <a:pt x="1397" y="8527"/>
                      <a:pt x="1397" y="8527"/>
                    </a:cubicBezTo>
                    <a:lnTo>
                      <a:pt x="1322" y="8617"/>
                    </a:lnTo>
                    <a:close/>
                    <a:moveTo>
                      <a:pt x="1914" y="8947"/>
                    </a:moveTo>
                    <a:cubicBezTo>
                      <a:pt x="1798" y="9054"/>
                      <a:pt x="1798" y="9054"/>
                      <a:pt x="1798" y="9054"/>
                    </a:cubicBezTo>
                    <a:cubicBezTo>
                      <a:pt x="1799" y="9055"/>
                      <a:pt x="1799" y="9055"/>
                      <a:pt x="1800" y="9056"/>
                    </a:cubicBezTo>
                    <a:cubicBezTo>
                      <a:pt x="1874" y="9125"/>
                      <a:pt x="1941" y="9188"/>
                      <a:pt x="1965" y="9211"/>
                    </a:cubicBezTo>
                    <a:cubicBezTo>
                      <a:pt x="2113" y="9037"/>
                      <a:pt x="2113" y="9037"/>
                      <a:pt x="2113" y="9037"/>
                    </a:cubicBezTo>
                    <a:cubicBezTo>
                      <a:pt x="2092" y="9028"/>
                      <a:pt x="2068" y="9017"/>
                      <a:pt x="2045" y="9007"/>
                    </a:cubicBezTo>
                    <a:cubicBezTo>
                      <a:pt x="2011" y="8992"/>
                      <a:pt x="1978" y="8977"/>
                      <a:pt x="1952" y="8965"/>
                    </a:cubicBezTo>
                    <a:cubicBezTo>
                      <a:pt x="1940" y="8959"/>
                      <a:pt x="1929" y="8955"/>
                      <a:pt x="1922" y="8951"/>
                    </a:cubicBezTo>
                    <a:cubicBezTo>
                      <a:pt x="1919" y="8950"/>
                      <a:pt x="1916" y="8948"/>
                      <a:pt x="1914" y="8947"/>
                    </a:cubicBezTo>
                    <a:close/>
                    <a:moveTo>
                      <a:pt x="1916" y="8946"/>
                    </a:moveTo>
                    <a:cubicBezTo>
                      <a:pt x="1916" y="8945"/>
                      <a:pt x="1916" y="8945"/>
                      <a:pt x="1916" y="8945"/>
                    </a:cubicBezTo>
                    <a:cubicBezTo>
                      <a:pt x="1916" y="8946"/>
                      <a:pt x="1916" y="8946"/>
                      <a:pt x="1916" y="8946"/>
                    </a:cubicBezTo>
                    <a:cubicBezTo>
                      <a:pt x="1916" y="8946"/>
                      <a:pt x="1916" y="8946"/>
                      <a:pt x="1916" y="8946"/>
                    </a:cubicBezTo>
                    <a:close/>
                    <a:moveTo>
                      <a:pt x="2015" y="8854"/>
                    </a:moveTo>
                    <a:cubicBezTo>
                      <a:pt x="1925" y="8937"/>
                      <a:pt x="1925" y="8937"/>
                      <a:pt x="1925" y="8937"/>
                    </a:cubicBezTo>
                    <a:cubicBezTo>
                      <a:pt x="1945" y="8946"/>
                      <a:pt x="2001" y="8972"/>
                      <a:pt x="2055" y="8996"/>
                    </a:cubicBezTo>
                    <a:cubicBezTo>
                      <a:pt x="2117" y="9023"/>
                      <a:pt x="2177" y="9050"/>
                      <a:pt x="2184" y="9053"/>
                    </a:cubicBezTo>
                    <a:cubicBezTo>
                      <a:pt x="2573" y="9117"/>
                      <a:pt x="2573" y="9117"/>
                      <a:pt x="2573" y="9117"/>
                    </a:cubicBezTo>
                    <a:cubicBezTo>
                      <a:pt x="2574" y="9046"/>
                      <a:pt x="2574" y="8982"/>
                      <a:pt x="2575" y="8929"/>
                    </a:cubicBezTo>
                    <a:cubicBezTo>
                      <a:pt x="2187" y="8909"/>
                      <a:pt x="2187" y="8909"/>
                      <a:pt x="2187" y="8909"/>
                    </a:cubicBezTo>
                    <a:cubicBezTo>
                      <a:pt x="2015" y="8851"/>
                      <a:pt x="2015" y="8851"/>
                      <a:pt x="2015" y="8851"/>
                    </a:cubicBezTo>
                    <a:lnTo>
                      <a:pt x="2015" y="8854"/>
                    </a:lnTo>
                    <a:close/>
                    <a:moveTo>
                      <a:pt x="2572" y="9438"/>
                    </a:moveTo>
                    <a:cubicBezTo>
                      <a:pt x="2572" y="9328"/>
                      <a:pt x="2573" y="9224"/>
                      <a:pt x="2573" y="9131"/>
                    </a:cubicBezTo>
                    <a:cubicBezTo>
                      <a:pt x="2293" y="9085"/>
                      <a:pt x="2293" y="9085"/>
                      <a:pt x="2293" y="9085"/>
                    </a:cubicBezTo>
                    <a:cubicBezTo>
                      <a:pt x="2227" y="9266"/>
                      <a:pt x="2227" y="9266"/>
                      <a:pt x="2227" y="9266"/>
                    </a:cubicBezTo>
                    <a:cubicBezTo>
                      <a:pt x="2362" y="9471"/>
                      <a:pt x="2362" y="9471"/>
                      <a:pt x="2362" y="9471"/>
                    </a:cubicBezTo>
                    <a:cubicBezTo>
                      <a:pt x="2394" y="9475"/>
                      <a:pt x="2429" y="9478"/>
                      <a:pt x="2461" y="9480"/>
                    </a:cubicBezTo>
                    <a:cubicBezTo>
                      <a:pt x="2505" y="9483"/>
                      <a:pt x="2545" y="9484"/>
                      <a:pt x="2572" y="9485"/>
                    </a:cubicBezTo>
                    <a:cubicBezTo>
                      <a:pt x="2572" y="9469"/>
                      <a:pt x="2572" y="9453"/>
                      <a:pt x="2572" y="9438"/>
                    </a:cubicBezTo>
                    <a:close/>
                    <a:moveTo>
                      <a:pt x="2211" y="9268"/>
                    </a:moveTo>
                    <a:cubicBezTo>
                      <a:pt x="2279" y="9083"/>
                      <a:pt x="2279" y="9083"/>
                      <a:pt x="2279" y="9083"/>
                    </a:cubicBezTo>
                    <a:cubicBezTo>
                      <a:pt x="2180" y="9067"/>
                      <a:pt x="2180" y="9067"/>
                      <a:pt x="2180" y="9067"/>
                    </a:cubicBezTo>
                    <a:cubicBezTo>
                      <a:pt x="2179" y="9066"/>
                      <a:pt x="2179" y="9066"/>
                      <a:pt x="2179" y="9066"/>
                    </a:cubicBezTo>
                    <a:cubicBezTo>
                      <a:pt x="2179" y="9066"/>
                      <a:pt x="2157" y="9057"/>
                      <a:pt x="2126" y="9043"/>
                    </a:cubicBezTo>
                    <a:cubicBezTo>
                      <a:pt x="1975" y="9220"/>
                      <a:pt x="1975" y="9220"/>
                      <a:pt x="1975" y="9220"/>
                    </a:cubicBezTo>
                    <a:cubicBezTo>
                      <a:pt x="2001" y="9243"/>
                      <a:pt x="2049" y="9289"/>
                      <a:pt x="2103" y="9336"/>
                    </a:cubicBezTo>
                    <a:cubicBezTo>
                      <a:pt x="2158" y="9383"/>
                      <a:pt x="2219" y="9431"/>
                      <a:pt x="2257" y="9448"/>
                    </a:cubicBezTo>
                    <a:cubicBezTo>
                      <a:pt x="2275" y="9456"/>
                      <a:pt x="2306" y="9463"/>
                      <a:pt x="2343" y="9468"/>
                    </a:cubicBezTo>
                    <a:lnTo>
                      <a:pt x="2211" y="9268"/>
                    </a:lnTo>
                    <a:close/>
                    <a:moveTo>
                      <a:pt x="1734" y="9084"/>
                    </a:moveTo>
                    <a:cubicBezTo>
                      <a:pt x="1623" y="9219"/>
                      <a:pt x="1623" y="9219"/>
                      <a:pt x="1623" y="9219"/>
                    </a:cubicBezTo>
                    <a:cubicBezTo>
                      <a:pt x="1650" y="9242"/>
                      <a:pt x="1650" y="9242"/>
                      <a:pt x="1650" y="9242"/>
                    </a:cubicBezTo>
                    <a:cubicBezTo>
                      <a:pt x="1721" y="9152"/>
                      <a:pt x="1721" y="9152"/>
                      <a:pt x="1721" y="9152"/>
                    </a:cubicBezTo>
                    <a:cubicBezTo>
                      <a:pt x="1826" y="9235"/>
                      <a:pt x="1826" y="9235"/>
                      <a:pt x="1826" y="9235"/>
                    </a:cubicBezTo>
                    <a:cubicBezTo>
                      <a:pt x="1821" y="9240"/>
                      <a:pt x="1821" y="9240"/>
                      <a:pt x="1821" y="9240"/>
                    </a:cubicBezTo>
                    <a:cubicBezTo>
                      <a:pt x="1752" y="9327"/>
                      <a:pt x="1752" y="9327"/>
                      <a:pt x="1752" y="9327"/>
                    </a:cubicBezTo>
                    <a:cubicBezTo>
                      <a:pt x="2021" y="9553"/>
                      <a:pt x="2021" y="9553"/>
                      <a:pt x="2021" y="9553"/>
                    </a:cubicBezTo>
                    <a:cubicBezTo>
                      <a:pt x="2034" y="9511"/>
                      <a:pt x="2046" y="9471"/>
                      <a:pt x="2056" y="9439"/>
                    </a:cubicBezTo>
                    <a:cubicBezTo>
                      <a:pt x="2062" y="9421"/>
                      <a:pt x="2067" y="9405"/>
                      <a:pt x="2070" y="9394"/>
                    </a:cubicBezTo>
                    <a:cubicBezTo>
                      <a:pt x="2067" y="9391"/>
                      <a:pt x="2063" y="9388"/>
                      <a:pt x="2060" y="9385"/>
                    </a:cubicBezTo>
                    <a:cubicBezTo>
                      <a:pt x="2004" y="9336"/>
                      <a:pt x="1953" y="9287"/>
                      <a:pt x="1930" y="9268"/>
                    </a:cubicBezTo>
                    <a:cubicBezTo>
                      <a:pt x="1930" y="9268"/>
                      <a:pt x="1930" y="9268"/>
                      <a:pt x="1930" y="9268"/>
                    </a:cubicBezTo>
                    <a:cubicBezTo>
                      <a:pt x="1929" y="9267"/>
                      <a:pt x="1929" y="9267"/>
                      <a:pt x="1929" y="9267"/>
                    </a:cubicBezTo>
                    <a:cubicBezTo>
                      <a:pt x="1929" y="9267"/>
                      <a:pt x="1834" y="9178"/>
                      <a:pt x="1734" y="9084"/>
                    </a:cubicBezTo>
                    <a:close/>
                    <a:moveTo>
                      <a:pt x="1363" y="9538"/>
                    </a:moveTo>
                    <a:cubicBezTo>
                      <a:pt x="1360" y="9540"/>
                      <a:pt x="1346" y="9556"/>
                      <a:pt x="1347" y="9570"/>
                    </a:cubicBezTo>
                    <a:cubicBezTo>
                      <a:pt x="1347" y="9581"/>
                      <a:pt x="1351" y="9597"/>
                      <a:pt x="1383" y="9623"/>
                    </a:cubicBezTo>
                    <a:cubicBezTo>
                      <a:pt x="1473" y="9695"/>
                      <a:pt x="1646" y="9778"/>
                      <a:pt x="1712" y="9820"/>
                    </a:cubicBezTo>
                    <a:cubicBezTo>
                      <a:pt x="1754" y="9847"/>
                      <a:pt x="1795" y="9871"/>
                      <a:pt x="1828" y="9905"/>
                    </a:cubicBezTo>
                    <a:cubicBezTo>
                      <a:pt x="1936" y="9794"/>
                      <a:pt x="1936" y="9794"/>
                      <a:pt x="1936" y="9794"/>
                    </a:cubicBezTo>
                    <a:cubicBezTo>
                      <a:pt x="1911" y="9773"/>
                      <a:pt x="1805" y="9683"/>
                      <a:pt x="1700" y="9593"/>
                    </a:cubicBezTo>
                    <a:cubicBezTo>
                      <a:pt x="1667" y="9566"/>
                      <a:pt x="1635" y="9538"/>
                      <a:pt x="1605" y="9513"/>
                    </a:cubicBezTo>
                    <a:cubicBezTo>
                      <a:pt x="1542" y="9592"/>
                      <a:pt x="1542" y="9592"/>
                      <a:pt x="1542" y="9592"/>
                    </a:cubicBezTo>
                    <a:cubicBezTo>
                      <a:pt x="1437" y="9508"/>
                      <a:pt x="1437" y="9508"/>
                      <a:pt x="1437" y="9508"/>
                    </a:cubicBezTo>
                    <a:cubicBezTo>
                      <a:pt x="1504" y="9425"/>
                      <a:pt x="1504" y="9425"/>
                      <a:pt x="1504" y="9425"/>
                    </a:cubicBezTo>
                    <a:cubicBezTo>
                      <a:pt x="1494" y="9416"/>
                      <a:pt x="1485" y="9408"/>
                      <a:pt x="1478" y="9402"/>
                    </a:cubicBezTo>
                    <a:cubicBezTo>
                      <a:pt x="1477" y="9401"/>
                      <a:pt x="1477" y="9401"/>
                      <a:pt x="1476" y="9400"/>
                    </a:cubicBezTo>
                    <a:cubicBezTo>
                      <a:pt x="1365" y="9536"/>
                      <a:pt x="1365" y="9536"/>
                      <a:pt x="1365" y="9536"/>
                    </a:cubicBezTo>
                    <a:cubicBezTo>
                      <a:pt x="1363" y="9538"/>
                      <a:pt x="1363" y="9538"/>
                      <a:pt x="1363" y="9538"/>
                    </a:cubicBezTo>
                    <a:close/>
                    <a:moveTo>
                      <a:pt x="1651" y="9261"/>
                    </a:moveTo>
                    <a:cubicBezTo>
                      <a:pt x="1523" y="9422"/>
                      <a:pt x="1523" y="9422"/>
                      <a:pt x="1523" y="9422"/>
                    </a:cubicBezTo>
                    <a:cubicBezTo>
                      <a:pt x="1545" y="9442"/>
                      <a:pt x="1573" y="9466"/>
                      <a:pt x="1604" y="9493"/>
                    </a:cubicBezTo>
                    <a:cubicBezTo>
                      <a:pt x="1734" y="9330"/>
                      <a:pt x="1734" y="9330"/>
                      <a:pt x="1734" y="9330"/>
                    </a:cubicBezTo>
                    <a:lnTo>
                      <a:pt x="1651" y="9261"/>
                    </a:lnTo>
                    <a:close/>
                    <a:moveTo>
                      <a:pt x="1742" y="9319"/>
                    </a:moveTo>
                    <a:cubicBezTo>
                      <a:pt x="1807" y="9237"/>
                      <a:pt x="1807" y="9237"/>
                      <a:pt x="1807" y="9237"/>
                    </a:cubicBezTo>
                    <a:cubicBezTo>
                      <a:pt x="1723" y="9171"/>
                      <a:pt x="1723" y="9171"/>
                      <a:pt x="1723" y="9171"/>
                    </a:cubicBezTo>
                    <a:cubicBezTo>
                      <a:pt x="1660" y="9250"/>
                      <a:pt x="1660" y="9250"/>
                      <a:pt x="1660" y="9250"/>
                    </a:cubicBezTo>
                    <a:lnTo>
                      <a:pt x="1742" y="9319"/>
                    </a:lnTo>
                    <a:close/>
                    <a:moveTo>
                      <a:pt x="1533" y="9450"/>
                    </a:moveTo>
                    <a:cubicBezTo>
                      <a:pt x="1526" y="9444"/>
                      <a:pt x="1520" y="9439"/>
                      <a:pt x="1514" y="9433"/>
                    </a:cubicBezTo>
                    <a:cubicBezTo>
                      <a:pt x="1456" y="9506"/>
                      <a:pt x="1456" y="9506"/>
                      <a:pt x="1456" y="9506"/>
                    </a:cubicBezTo>
                    <a:cubicBezTo>
                      <a:pt x="1540" y="9574"/>
                      <a:pt x="1540" y="9574"/>
                      <a:pt x="1540" y="9574"/>
                    </a:cubicBezTo>
                    <a:cubicBezTo>
                      <a:pt x="1595" y="9504"/>
                      <a:pt x="1595" y="9504"/>
                      <a:pt x="1595" y="9504"/>
                    </a:cubicBezTo>
                    <a:cubicBezTo>
                      <a:pt x="1573" y="9485"/>
                      <a:pt x="1552" y="9466"/>
                      <a:pt x="1533" y="9450"/>
                    </a:cubicBezTo>
                    <a:close/>
                    <a:moveTo>
                      <a:pt x="1641" y="9252"/>
                    </a:moveTo>
                    <a:cubicBezTo>
                      <a:pt x="1614" y="9230"/>
                      <a:pt x="1614" y="9230"/>
                      <a:pt x="1614" y="9230"/>
                    </a:cubicBezTo>
                    <a:cubicBezTo>
                      <a:pt x="1485" y="9389"/>
                      <a:pt x="1485" y="9389"/>
                      <a:pt x="1485" y="9389"/>
                    </a:cubicBezTo>
                    <a:cubicBezTo>
                      <a:pt x="1492" y="9396"/>
                      <a:pt x="1502" y="9404"/>
                      <a:pt x="1513" y="9414"/>
                    </a:cubicBezTo>
                    <a:lnTo>
                      <a:pt x="1641" y="9252"/>
                    </a:lnTo>
                    <a:close/>
                    <a:moveTo>
                      <a:pt x="1948" y="9787"/>
                    </a:moveTo>
                    <a:cubicBezTo>
                      <a:pt x="1958" y="9762"/>
                      <a:pt x="1986" y="9668"/>
                      <a:pt x="2014" y="9577"/>
                    </a:cubicBezTo>
                    <a:cubicBezTo>
                      <a:pt x="2015" y="9573"/>
                      <a:pt x="2016" y="9570"/>
                      <a:pt x="2017" y="9567"/>
                    </a:cubicBezTo>
                    <a:cubicBezTo>
                      <a:pt x="2017" y="9567"/>
                      <a:pt x="2017" y="9567"/>
                      <a:pt x="2017" y="9567"/>
                    </a:cubicBezTo>
                    <a:cubicBezTo>
                      <a:pt x="1744" y="9338"/>
                      <a:pt x="1744" y="9338"/>
                      <a:pt x="1744" y="9338"/>
                    </a:cubicBezTo>
                    <a:cubicBezTo>
                      <a:pt x="1614" y="9502"/>
                      <a:pt x="1614" y="9502"/>
                      <a:pt x="1614" y="9502"/>
                    </a:cubicBezTo>
                    <a:cubicBezTo>
                      <a:pt x="1646" y="9529"/>
                      <a:pt x="1680" y="9558"/>
                      <a:pt x="1714" y="9588"/>
                    </a:cubicBezTo>
                    <a:cubicBezTo>
                      <a:pt x="1823" y="9681"/>
                      <a:pt x="1931" y="9772"/>
                      <a:pt x="1948" y="9787"/>
                    </a:cubicBezTo>
                    <a:close/>
                    <a:moveTo>
                      <a:pt x="972" y="9515"/>
                    </a:moveTo>
                    <a:cubicBezTo>
                      <a:pt x="968" y="9533"/>
                      <a:pt x="953" y="9577"/>
                      <a:pt x="939" y="9621"/>
                    </a:cubicBezTo>
                    <a:cubicBezTo>
                      <a:pt x="925" y="9662"/>
                      <a:pt x="911" y="9702"/>
                      <a:pt x="906" y="9714"/>
                    </a:cubicBezTo>
                    <a:cubicBezTo>
                      <a:pt x="1038" y="9820"/>
                      <a:pt x="1038" y="9820"/>
                      <a:pt x="1038" y="9820"/>
                    </a:cubicBezTo>
                    <a:cubicBezTo>
                      <a:pt x="1054" y="9809"/>
                      <a:pt x="1113" y="9768"/>
                      <a:pt x="1173" y="9727"/>
                    </a:cubicBezTo>
                    <a:cubicBezTo>
                      <a:pt x="1207" y="9702"/>
                      <a:pt x="1242" y="9678"/>
                      <a:pt x="1268" y="9659"/>
                    </a:cubicBezTo>
                    <a:cubicBezTo>
                      <a:pt x="1281" y="9650"/>
                      <a:pt x="1292" y="9642"/>
                      <a:pt x="1299" y="9636"/>
                    </a:cubicBezTo>
                    <a:cubicBezTo>
                      <a:pt x="1301" y="9635"/>
                      <a:pt x="1302" y="9634"/>
                      <a:pt x="1303" y="9633"/>
                    </a:cubicBezTo>
                    <a:cubicBezTo>
                      <a:pt x="1289" y="9612"/>
                      <a:pt x="1281" y="9591"/>
                      <a:pt x="1281" y="9570"/>
                    </a:cubicBezTo>
                    <a:cubicBezTo>
                      <a:pt x="1281" y="9561"/>
                      <a:pt x="1283" y="9553"/>
                      <a:pt x="1285" y="9546"/>
                    </a:cubicBezTo>
                    <a:lnTo>
                      <a:pt x="972" y="9515"/>
                    </a:lnTo>
                    <a:close/>
                    <a:moveTo>
                      <a:pt x="1048" y="9830"/>
                    </a:moveTo>
                    <a:cubicBezTo>
                      <a:pt x="1212" y="10045"/>
                      <a:pt x="1212" y="10045"/>
                      <a:pt x="1212" y="10045"/>
                    </a:cubicBezTo>
                    <a:cubicBezTo>
                      <a:pt x="1514" y="10132"/>
                      <a:pt x="1514" y="10132"/>
                      <a:pt x="1514" y="10132"/>
                    </a:cubicBezTo>
                    <a:cubicBezTo>
                      <a:pt x="1636" y="9851"/>
                      <a:pt x="1636" y="9851"/>
                      <a:pt x="1636" y="9851"/>
                    </a:cubicBezTo>
                    <a:cubicBezTo>
                      <a:pt x="1583" y="9822"/>
                      <a:pt x="1505" y="9781"/>
                      <a:pt x="1434" y="9738"/>
                    </a:cubicBezTo>
                    <a:cubicBezTo>
                      <a:pt x="1216" y="10040"/>
                      <a:pt x="1216" y="10040"/>
                      <a:pt x="1216" y="10040"/>
                    </a:cubicBezTo>
                    <a:cubicBezTo>
                      <a:pt x="1204" y="10032"/>
                      <a:pt x="1204" y="10032"/>
                      <a:pt x="1204" y="10032"/>
                    </a:cubicBezTo>
                    <a:cubicBezTo>
                      <a:pt x="1422" y="9730"/>
                      <a:pt x="1422" y="9730"/>
                      <a:pt x="1422" y="9730"/>
                    </a:cubicBezTo>
                    <a:cubicBezTo>
                      <a:pt x="1393" y="9712"/>
                      <a:pt x="1365" y="9693"/>
                      <a:pt x="1342" y="9675"/>
                    </a:cubicBezTo>
                    <a:cubicBezTo>
                      <a:pt x="1329" y="9665"/>
                      <a:pt x="1320" y="9655"/>
                      <a:pt x="1311" y="9644"/>
                    </a:cubicBezTo>
                    <a:cubicBezTo>
                      <a:pt x="1304" y="9650"/>
                      <a:pt x="1294" y="9657"/>
                      <a:pt x="1281" y="9667"/>
                    </a:cubicBezTo>
                    <a:cubicBezTo>
                      <a:pt x="1282" y="9667"/>
                      <a:pt x="1282" y="9667"/>
                      <a:pt x="1282" y="9667"/>
                    </a:cubicBezTo>
                    <a:cubicBezTo>
                      <a:pt x="1396" y="9733"/>
                      <a:pt x="1396" y="9733"/>
                      <a:pt x="1396" y="9733"/>
                    </a:cubicBezTo>
                    <a:cubicBezTo>
                      <a:pt x="1326" y="9852"/>
                      <a:pt x="1326" y="9852"/>
                      <a:pt x="1326" y="9852"/>
                    </a:cubicBezTo>
                    <a:cubicBezTo>
                      <a:pt x="1207" y="9783"/>
                      <a:pt x="1207" y="9783"/>
                      <a:pt x="1207" y="9783"/>
                    </a:cubicBezTo>
                    <a:cubicBezTo>
                      <a:pt x="1270" y="9674"/>
                      <a:pt x="1270" y="9674"/>
                      <a:pt x="1270" y="9674"/>
                    </a:cubicBezTo>
                    <a:cubicBezTo>
                      <a:pt x="1199" y="9725"/>
                      <a:pt x="1075" y="9811"/>
                      <a:pt x="1048" y="9830"/>
                    </a:cubicBezTo>
                    <a:close/>
                    <a:moveTo>
                      <a:pt x="1225" y="9778"/>
                    </a:moveTo>
                    <a:cubicBezTo>
                      <a:pt x="1321" y="9834"/>
                      <a:pt x="1321" y="9834"/>
                      <a:pt x="1321" y="9834"/>
                    </a:cubicBezTo>
                    <a:cubicBezTo>
                      <a:pt x="1378" y="9738"/>
                      <a:pt x="1378" y="9738"/>
                      <a:pt x="1378" y="9738"/>
                    </a:cubicBezTo>
                    <a:cubicBezTo>
                      <a:pt x="1281" y="9682"/>
                      <a:pt x="1281" y="9682"/>
                      <a:pt x="1281" y="9682"/>
                    </a:cubicBezTo>
                    <a:lnTo>
                      <a:pt x="1225" y="9778"/>
                    </a:lnTo>
                    <a:close/>
                    <a:moveTo>
                      <a:pt x="1527" y="10136"/>
                    </a:moveTo>
                    <a:cubicBezTo>
                      <a:pt x="1810" y="10217"/>
                      <a:pt x="1810" y="10217"/>
                      <a:pt x="1810" y="10217"/>
                    </a:cubicBezTo>
                    <a:cubicBezTo>
                      <a:pt x="1855" y="10107"/>
                      <a:pt x="1855" y="10107"/>
                      <a:pt x="1855" y="10107"/>
                    </a:cubicBezTo>
                    <a:cubicBezTo>
                      <a:pt x="1848" y="10093"/>
                      <a:pt x="1844" y="10078"/>
                      <a:pt x="1837" y="10058"/>
                    </a:cubicBezTo>
                    <a:cubicBezTo>
                      <a:pt x="1831" y="10037"/>
                      <a:pt x="1822" y="10012"/>
                      <a:pt x="1811" y="9991"/>
                    </a:cubicBezTo>
                    <a:cubicBezTo>
                      <a:pt x="1790" y="9947"/>
                      <a:pt x="1741" y="9916"/>
                      <a:pt x="1677" y="9875"/>
                    </a:cubicBezTo>
                    <a:cubicBezTo>
                      <a:pt x="1669" y="9870"/>
                      <a:pt x="1659" y="9865"/>
                      <a:pt x="1648" y="9858"/>
                    </a:cubicBezTo>
                    <a:lnTo>
                      <a:pt x="1527" y="10136"/>
                    </a:lnTo>
                    <a:close/>
                    <a:moveTo>
                      <a:pt x="2201" y="9972"/>
                    </a:moveTo>
                    <a:cubicBezTo>
                      <a:pt x="2440" y="10011"/>
                      <a:pt x="2440" y="10011"/>
                      <a:pt x="2440" y="10011"/>
                    </a:cubicBezTo>
                    <a:cubicBezTo>
                      <a:pt x="2439" y="9853"/>
                      <a:pt x="2439" y="9853"/>
                      <a:pt x="2439" y="9853"/>
                    </a:cubicBezTo>
                    <a:cubicBezTo>
                      <a:pt x="2215" y="9838"/>
                      <a:pt x="2215" y="9838"/>
                      <a:pt x="2215" y="9838"/>
                    </a:cubicBezTo>
                    <a:cubicBezTo>
                      <a:pt x="2216" y="9824"/>
                      <a:pt x="2216" y="9824"/>
                      <a:pt x="2216" y="9824"/>
                    </a:cubicBezTo>
                    <a:cubicBezTo>
                      <a:pt x="2439" y="9839"/>
                      <a:pt x="2439" y="9839"/>
                      <a:pt x="2439" y="9839"/>
                    </a:cubicBezTo>
                    <a:cubicBezTo>
                      <a:pt x="2439" y="9731"/>
                      <a:pt x="2439" y="9731"/>
                      <a:pt x="2439" y="9731"/>
                    </a:cubicBezTo>
                    <a:cubicBezTo>
                      <a:pt x="2223" y="9709"/>
                      <a:pt x="2223" y="9709"/>
                      <a:pt x="2223" y="9709"/>
                    </a:cubicBezTo>
                    <a:cubicBezTo>
                      <a:pt x="2224" y="9695"/>
                      <a:pt x="2224" y="9695"/>
                      <a:pt x="2224" y="9695"/>
                    </a:cubicBezTo>
                    <a:cubicBezTo>
                      <a:pt x="2439" y="9717"/>
                      <a:pt x="2439" y="9717"/>
                      <a:pt x="2439" y="9717"/>
                    </a:cubicBezTo>
                    <a:cubicBezTo>
                      <a:pt x="2438" y="9617"/>
                      <a:pt x="2438" y="9617"/>
                      <a:pt x="2438" y="9617"/>
                    </a:cubicBezTo>
                    <a:cubicBezTo>
                      <a:pt x="2346" y="9610"/>
                      <a:pt x="2245" y="9602"/>
                      <a:pt x="2231" y="9601"/>
                    </a:cubicBezTo>
                    <a:lnTo>
                      <a:pt x="2201" y="9972"/>
                    </a:lnTo>
                    <a:close/>
                    <a:moveTo>
                      <a:pt x="2569" y="9627"/>
                    </a:moveTo>
                    <a:cubicBezTo>
                      <a:pt x="2570" y="9731"/>
                      <a:pt x="2570" y="9731"/>
                      <a:pt x="2570" y="9731"/>
                    </a:cubicBezTo>
                    <a:cubicBezTo>
                      <a:pt x="2574" y="9731"/>
                      <a:pt x="2574" y="9731"/>
                      <a:pt x="2574" y="9731"/>
                    </a:cubicBezTo>
                    <a:cubicBezTo>
                      <a:pt x="2574" y="9730"/>
                      <a:pt x="2573" y="9730"/>
                      <a:pt x="2573" y="9729"/>
                    </a:cubicBezTo>
                    <a:cubicBezTo>
                      <a:pt x="2573" y="9695"/>
                      <a:pt x="2573" y="9661"/>
                      <a:pt x="2573" y="9627"/>
                    </a:cubicBezTo>
                    <a:cubicBezTo>
                      <a:pt x="2572" y="9627"/>
                      <a:pt x="2570" y="9627"/>
                      <a:pt x="2569" y="9627"/>
                    </a:cubicBezTo>
                    <a:close/>
                    <a:moveTo>
                      <a:pt x="2570" y="9745"/>
                    </a:moveTo>
                    <a:cubicBezTo>
                      <a:pt x="2572" y="9848"/>
                      <a:pt x="2572" y="9848"/>
                      <a:pt x="2572" y="9848"/>
                    </a:cubicBezTo>
                    <a:cubicBezTo>
                      <a:pt x="2575" y="9848"/>
                      <a:pt x="2575" y="9848"/>
                      <a:pt x="2575" y="9848"/>
                    </a:cubicBezTo>
                    <a:cubicBezTo>
                      <a:pt x="2574" y="9814"/>
                      <a:pt x="2574" y="9780"/>
                      <a:pt x="2574" y="9745"/>
                    </a:cubicBezTo>
                    <a:lnTo>
                      <a:pt x="2570" y="9745"/>
                    </a:lnTo>
                    <a:close/>
                    <a:moveTo>
                      <a:pt x="2572" y="9862"/>
                    </a:moveTo>
                    <a:cubicBezTo>
                      <a:pt x="2574" y="10033"/>
                      <a:pt x="2574" y="10033"/>
                      <a:pt x="2574" y="10033"/>
                    </a:cubicBezTo>
                    <a:cubicBezTo>
                      <a:pt x="2578" y="10034"/>
                      <a:pt x="2578" y="10034"/>
                      <a:pt x="2578" y="10034"/>
                    </a:cubicBezTo>
                    <a:cubicBezTo>
                      <a:pt x="2577" y="9979"/>
                      <a:pt x="2576" y="9921"/>
                      <a:pt x="2575" y="9862"/>
                    </a:cubicBezTo>
                    <a:lnTo>
                      <a:pt x="2572" y="9862"/>
                    </a:lnTo>
                    <a:close/>
                    <a:moveTo>
                      <a:pt x="2580" y="8755"/>
                    </a:moveTo>
                    <a:cubicBezTo>
                      <a:pt x="2343" y="8722"/>
                      <a:pt x="2343" y="8722"/>
                      <a:pt x="2343" y="8722"/>
                    </a:cubicBezTo>
                    <a:cubicBezTo>
                      <a:pt x="2336" y="8703"/>
                      <a:pt x="2336" y="8703"/>
                      <a:pt x="2336" y="8703"/>
                    </a:cubicBezTo>
                    <a:cubicBezTo>
                      <a:pt x="2336" y="8703"/>
                      <a:pt x="2336" y="8702"/>
                      <a:pt x="2334" y="8698"/>
                    </a:cubicBezTo>
                    <a:cubicBezTo>
                      <a:pt x="2334" y="8697"/>
                      <a:pt x="2333" y="8695"/>
                      <a:pt x="2332" y="8694"/>
                    </a:cubicBezTo>
                    <a:cubicBezTo>
                      <a:pt x="2331" y="8694"/>
                      <a:pt x="2331" y="8694"/>
                      <a:pt x="2328" y="8695"/>
                    </a:cubicBezTo>
                    <a:cubicBezTo>
                      <a:pt x="2293" y="8699"/>
                      <a:pt x="2050" y="8729"/>
                      <a:pt x="2007" y="8734"/>
                    </a:cubicBezTo>
                    <a:cubicBezTo>
                      <a:pt x="2014" y="8836"/>
                      <a:pt x="2014" y="8836"/>
                      <a:pt x="2014" y="8836"/>
                    </a:cubicBezTo>
                    <a:cubicBezTo>
                      <a:pt x="2189" y="8895"/>
                      <a:pt x="2189" y="8895"/>
                      <a:pt x="2189" y="8895"/>
                    </a:cubicBezTo>
                    <a:cubicBezTo>
                      <a:pt x="2575" y="8915"/>
                      <a:pt x="2575" y="8915"/>
                      <a:pt x="2575" y="8915"/>
                    </a:cubicBezTo>
                    <a:cubicBezTo>
                      <a:pt x="2575" y="8874"/>
                      <a:pt x="2575" y="8839"/>
                      <a:pt x="2575" y="8814"/>
                    </a:cubicBezTo>
                    <a:cubicBezTo>
                      <a:pt x="2575" y="8794"/>
                      <a:pt x="2577" y="8774"/>
                      <a:pt x="2580" y="8755"/>
                    </a:cubicBezTo>
                    <a:close/>
                    <a:moveTo>
                      <a:pt x="2326" y="8681"/>
                    </a:moveTo>
                    <a:cubicBezTo>
                      <a:pt x="2305" y="8637"/>
                      <a:pt x="2245" y="8533"/>
                      <a:pt x="2118" y="8439"/>
                    </a:cubicBezTo>
                    <a:cubicBezTo>
                      <a:pt x="2095" y="8421"/>
                      <a:pt x="2059" y="8394"/>
                      <a:pt x="2014" y="8361"/>
                    </a:cubicBezTo>
                    <a:cubicBezTo>
                      <a:pt x="2011" y="8363"/>
                      <a:pt x="2008" y="8364"/>
                      <a:pt x="2006" y="8365"/>
                    </a:cubicBezTo>
                    <a:cubicBezTo>
                      <a:pt x="1889" y="8565"/>
                      <a:pt x="1889" y="8565"/>
                      <a:pt x="1889" y="8565"/>
                    </a:cubicBezTo>
                    <a:cubicBezTo>
                      <a:pt x="1792" y="8508"/>
                      <a:pt x="1792" y="8508"/>
                      <a:pt x="1792" y="8508"/>
                    </a:cubicBezTo>
                    <a:cubicBezTo>
                      <a:pt x="1569" y="8838"/>
                      <a:pt x="1569" y="8838"/>
                      <a:pt x="1569" y="8838"/>
                    </a:cubicBezTo>
                    <a:cubicBezTo>
                      <a:pt x="1606" y="8872"/>
                      <a:pt x="1700" y="8961"/>
                      <a:pt x="1788" y="9045"/>
                    </a:cubicBezTo>
                    <a:cubicBezTo>
                      <a:pt x="2001" y="8848"/>
                      <a:pt x="2001" y="8848"/>
                      <a:pt x="2001" y="8848"/>
                    </a:cubicBezTo>
                    <a:cubicBezTo>
                      <a:pt x="1992" y="8722"/>
                      <a:pt x="1992" y="8722"/>
                      <a:pt x="1992" y="8722"/>
                    </a:cubicBezTo>
                    <a:cubicBezTo>
                      <a:pt x="1999" y="8721"/>
                      <a:pt x="1999" y="8721"/>
                      <a:pt x="1999" y="8721"/>
                    </a:cubicBezTo>
                    <a:cubicBezTo>
                      <a:pt x="1999" y="8721"/>
                      <a:pt x="2082" y="8711"/>
                      <a:pt x="2165" y="8701"/>
                    </a:cubicBezTo>
                    <a:cubicBezTo>
                      <a:pt x="2206" y="8696"/>
                      <a:pt x="2248" y="8691"/>
                      <a:pt x="2279" y="8687"/>
                    </a:cubicBezTo>
                    <a:cubicBezTo>
                      <a:pt x="2294" y="8685"/>
                      <a:pt x="2307" y="8683"/>
                      <a:pt x="2316" y="8682"/>
                    </a:cubicBezTo>
                    <a:cubicBezTo>
                      <a:pt x="2321" y="8681"/>
                      <a:pt x="2324" y="8681"/>
                      <a:pt x="2326" y="8681"/>
                    </a:cubicBezTo>
                    <a:close/>
                    <a:moveTo>
                      <a:pt x="2292" y="8340"/>
                    </a:moveTo>
                    <a:cubicBezTo>
                      <a:pt x="2354" y="8327"/>
                      <a:pt x="2421" y="8300"/>
                      <a:pt x="2472" y="8277"/>
                    </a:cubicBezTo>
                    <a:cubicBezTo>
                      <a:pt x="2497" y="8265"/>
                      <a:pt x="2519" y="8254"/>
                      <a:pt x="2534" y="8246"/>
                    </a:cubicBezTo>
                    <a:cubicBezTo>
                      <a:pt x="2543" y="8241"/>
                      <a:pt x="2550" y="8237"/>
                      <a:pt x="2554" y="8235"/>
                    </a:cubicBezTo>
                    <a:cubicBezTo>
                      <a:pt x="2566" y="8223"/>
                      <a:pt x="2597" y="8193"/>
                      <a:pt x="2639" y="8152"/>
                    </a:cubicBezTo>
                    <a:cubicBezTo>
                      <a:pt x="2587" y="7897"/>
                      <a:pt x="2587" y="7897"/>
                      <a:pt x="2587" y="7897"/>
                    </a:cubicBezTo>
                    <a:cubicBezTo>
                      <a:pt x="2388" y="7693"/>
                      <a:pt x="2388" y="7693"/>
                      <a:pt x="2388" y="7693"/>
                    </a:cubicBezTo>
                    <a:cubicBezTo>
                      <a:pt x="2363" y="7741"/>
                      <a:pt x="2146" y="8153"/>
                      <a:pt x="2059" y="8312"/>
                    </a:cubicBezTo>
                    <a:cubicBezTo>
                      <a:pt x="2093" y="8338"/>
                      <a:pt x="2122" y="8360"/>
                      <a:pt x="2144" y="8376"/>
                    </a:cubicBezTo>
                    <a:cubicBezTo>
                      <a:pt x="2165" y="8369"/>
                      <a:pt x="2208" y="8358"/>
                      <a:pt x="2292" y="8340"/>
                    </a:cubicBezTo>
                    <a:close/>
                    <a:moveTo>
                      <a:pt x="2520" y="8326"/>
                    </a:moveTo>
                    <a:cubicBezTo>
                      <a:pt x="2524" y="8333"/>
                      <a:pt x="2529" y="8340"/>
                      <a:pt x="2534" y="8348"/>
                    </a:cubicBezTo>
                    <a:cubicBezTo>
                      <a:pt x="2558" y="8385"/>
                      <a:pt x="2593" y="8438"/>
                      <a:pt x="2622" y="8482"/>
                    </a:cubicBezTo>
                    <a:cubicBezTo>
                      <a:pt x="2636" y="8503"/>
                      <a:pt x="2649" y="8523"/>
                      <a:pt x="2659" y="8538"/>
                    </a:cubicBezTo>
                    <a:cubicBezTo>
                      <a:pt x="2663" y="8545"/>
                      <a:pt x="2667" y="8552"/>
                      <a:pt x="2670" y="8556"/>
                    </a:cubicBezTo>
                    <a:cubicBezTo>
                      <a:pt x="2670" y="8557"/>
                      <a:pt x="2670" y="8557"/>
                      <a:pt x="2670" y="8557"/>
                    </a:cubicBezTo>
                    <a:cubicBezTo>
                      <a:pt x="2691" y="8532"/>
                      <a:pt x="2714" y="8510"/>
                      <a:pt x="2736" y="8492"/>
                    </a:cubicBezTo>
                    <a:cubicBezTo>
                      <a:pt x="2807" y="8434"/>
                      <a:pt x="2876" y="8407"/>
                      <a:pt x="2892" y="8401"/>
                    </a:cubicBezTo>
                    <a:cubicBezTo>
                      <a:pt x="3043" y="8317"/>
                      <a:pt x="3043" y="8317"/>
                      <a:pt x="3043" y="8317"/>
                    </a:cubicBezTo>
                    <a:cubicBezTo>
                      <a:pt x="3025" y="8292"/>
                      <a:pt x="2979" y="8232"/>
                      <a:pt x="2933" y="8174"/>
                    </a:cubicBezTo>
                    <a:cubicBezTo>
                      <a:pt x="2905" y="8137"/>
                      <a:pt x="2876" y="8101"/>
                      <a:pt x="2855" y="8074"/>
                    </a:cubicBezTo>
                    <a:cubicBezTo>
                      <a:pt x="2850" y="8067"/>
                      <a:pt x="2845" y="8060"/>
                      <a:pt x="2840" y="8054"/>
                    </a:cubicBezTo>
                    <a:cubicBezTo>
                      <a:pt x="2721" y="8163"/>
                      <a:pt x="2615" y="8267"/>
                      <a:pt x="2596" y="8285"/>
                    </a:cubicBezTo>
                    <a:cubicBezTo>
                      <a:pt x="2593" y="8288"/>
                      <a:pt x="2593" y="8288"/>
                      <a:pt x="2593" y="8288"/>
                    </a:cubicBezTo>
                    <a:cubicBezTo>
                      <a:pt x="2590" y="8290"/>
                      <a:pt x="2590" y="8290"/>
                      <a:pt x="2590" y="8290"/>
                    </a:cubicBezTo>
                    <a:cubicBezTo>
                      <a:pt x="2589" y="8290"/>
                      <a:pt x="2562" y="8306"/>
                      <a:pt x="2520" y="8326"/>
                    </a:cubicBezTo>
                    <a:close/>
                    <a:moveTo>
                      <a:pt x="2654" y="8723"/>
                    </a:moveTo>
                    <a:cubicBezTo>
                      <a:pt x="3152" y="8775"/>
                      <a:pt x="3152" y="8775"/>
                      <a:pt x="3152" y="8775"/>
                    </a:cubicBezTo>
                    <a:cubicBezTo>
                      <a:pt x="3156" y="8736"/>
                      <a:pt x="3159" y="8705"/>
                      <a:pt x="3159" y="8699"/>
                    </a:cubicBezTo>
                    <a:cubicBezTo>
                      <a:pt x="3159" y="8699"/>
                      <a:pt x="3159" y="8699"/>
                      <a:pt x="3159" y="8699"/>
                    </a:cubicBezTo>
                    <a:cubicBezTo>
                      <a:pt x="3159" y="8698"/>
                      <a:pt x="3159" y="8698"/>
                      <a:pt x="3159" y="8698"/>
                    </a:cubicBezTo>
                    <a:cubicBezTo>
                      <a:pt x="3159" y="8698"/>
                      <a:pt x="3159" y="8698"/>
                      <a:pt x="3159" y="8698"/>
                    </a:cubicBezTo>
                    <a:cubicBezTo>
                      <a:pt x="3138" y="8678"/>
                      <a:pt x="3089" y="8630"/>
                      <a:pt x="3040" y="8581"/>
                    </a:cubicBezTo>
                    <a:cubicBezTo>
                      <a:pt x="3008" y="8549"/>
                      <a:pt x="2975" y="8517"/>
                      <a:pt x="2951" y="8493"/>
                    </a:cubicBezTo>
                    <a:cubicBezTo>
                      <a:pt x="2939" y="8481"/>
                      <a:pt x="2929" y="8471"/>
                      <a:pt x="2922" y="8464"/>
                    </a:cubicBezTo>
                    <a:cubicBezTo>
                      <a:pt x="2921" y="8463"/>
                      <a:pt x="2920" y="8462"/>
                      <a:pt x="2919" y="8461"/>
                    </a:cubicBezTo>
                    <a:cubicBezTo>
                      <a:pt x="2917" y="8462"/>
                      <a:pt x="2917" y="8462"/>
                      <a:pt x="2917" y="8462"/>
                    </a:cubicBezTo>
                    <a:cubicBezTo>
                      <a:pt x="2917" y="8462"/>
                      <a:pt x="2913" y="8463"/>
                      <a:pt x="2906" y="8466"/>
                    </a:cubicBezTo>
                    <a:cubicBezTo>
                      <a:pt x="2879" y="8477"/>
                      <a:pt x="2811" y="8509"/>
                      <a:pt x="2752" y="8565"/>
                    </a:cubicBezTo>
                    <a:cubicBezTo>
                      <a:pt x="2710" y="8606"/>
                      <a:pt x="2672" y="8657"/>
                      <a:pt x="2654" y="8723"/>
                    </a:cubicBezTo>
                    <a:close/>
                    <a:moveTo>
                      <a:pt x="3138" y="9018"/>
                    </a:moveTo>
                    <a:cubicBezTo>
                      <a:pt x="3198" y="9074"/>
                      <a:pt x="3198" y="9074"/>
                      <a:pt x="3198" y="9074"/>
                    </a:cubicBezTo>
                    <a:cubicBezTo>
                      <a:pt x="3089" y="9433"/>
                      <a:pt x="3089" y="9433"/>
                      <a:pt x="3089" y="9433"/>
                    </a:cubicBezTo>
                    <a:cubicBezTo>
                      <a:pt x="3146" y="9427"/>
                      <a:pt x="3199" y="9420"/>
                      <a:pt x="3243" y="9414"/>
                    </a:cubicBezTo>
                    <a:cubicBezTo>
                      <a:pt x="3278" y="9410"/>
                      <a:pt x="3308" y="9406"/>
                      <a:pt x="3328" y="9402"/>
                    </a:cubicBezTo>
                    <a:cubicBezTo>
                      <a:pt x="3338" y="9401"/>
                      <a:pt x="3346" y="9399"/>
                      <a:pt x="3351" y="9398"/>
                    </a:cubicBezTo>
                    <a:cubicBezTo>
                      <a:pt x="3351" y="9398"/>
                      <a:pt x="3351" y="9398"/>
                      <a:pt x="3352" y="9398"/>
                    </a:cubicBezTo>
                    <a:cubicBezTo>
                      <a:pt x="3355" y="9396"/>
                      <a:pt x="3359" y="9394"/>
                      <a:pt x="3364" y="9394"/>
                    </a:cubicBezTo>
                    <a:cubicBezTo>
                      <a:pt x="3369" y="9394"/>
                      <a:pt x="3371" y="9395"/>
                      <a:pt x="3374" y="9396"/>
                    </a:cubicBezTo>
                    <a:cubicBezTo>
                      <a:pt x="3570" y="9070"/>
                      <a:pt x="3570" y="9070"/>
                      <a:pt x="3570" y="9070"/>
                    </a:cubicBezTo>
                    <a:cubicBezTo>
                      <a:pt x="3446" y="8826"/>
                      <a:pt x="3446" y="8826"/>
                      <a:pt x="3446" y="8826"/>
                    </a:cubicBezTo>
                    <a:cubicBezTo>
                      <a:pt x="3172" y="8710"/>
                      <a:pt x="3172" y="8710"/>
                      <a:pt x="3172" y="8710"/>
                    </a:cubicBezTo>
                    <a:cubicBezTo>
                      <a:pt x="3168" y="8766"/>
                      <a:pt x="3142" y="8988"/>
                      <a:pt x="3138" y="9018"/>
                    </a:cubicBezTo>
                    <a:close/>
                    <a:moveTo>
                      <a:pt x="4806" y="8905"/>
                    </a:moveTo>
                    <a:cubicBezTo>
                      <a:pt x="4815" y="8658"/>
                      <a:pt x="4815" y="8658"/>
                      <a:pt x="4815" y="8658"/>
                    </a:cubicBezTo>
                    <a:cubicBezTo>
                      <a:pt x="4723" y="8639"/>
                      <a:pt x="4723" y="8639"/>
                      <a:pt x="4723" y="8639"/>
                    </a:cubicBezTo>
                    <a:cubicBezTo>
                      <a:pt x="4720" y="8639"/>
                      <a:pt x="4647" y="8657"/>
                      <a:pt x="4577" y="8674"/>
                    </a:cubicBezTo>
                    <a:cubicBezTo>
                      <a:pt x="4524" y="8687"/>
                      <a:pt x="4472" y="8701"/>
                      <a:pt x="4448" y="8707"/>
                    </a:cubicBezTo>
                    <a:cubicBezTo>
                      <a:pt x="4449" y="8712"/>
                      <a:pt x="4450" y="8717"/>
                      <a:pt x="4451" y="8723"/>
                    </a:cubicBezTo>
                    <a:cubicBezTo>
                      <a:pt x="4466" y="8798"/>
                      <a:pt x="4479" y="8868"/>
                      <a:pt x="4486" y="8908"/>
                    </a:cubicBezTo>
                    <a:lnTo>
                      <a:pt x="4806" y="8905"/>
                    </a:lnTo>
                    <a:close/>
                    <a:moveTo>
                      <a:pt x="5120" y="8903"/>
                    </a:moveTo>
                    <a:cubicBezTo>
                      <a:pt x="5568" y="8899"/>
                      <a:pt x="5568" y="8899"/>
                      <a:pt x="5568" y="8899"/>
                    </a:cubicBezTo>
                    <a:cubicBezTo>
                      <a:pt x="5553" y="8688"/>
                      <a:pt x="5553" y="8688"/>
                      <a:pt x="5553" y="8688"/>
                    </a:cubicBezTo>
                    <a:cubicBezTo>
                      <a:pt x="5529" y="8688"/>
                      <a:pt x="5440" y="8688"/>
                      <a:pt x="5351" y="8689"/>
                    </a:cubicBezTo>
                    <a:cubicBezTo>
                      <a:pt x="5298" y="8690"/>
                      <a:pt x="5245" y="8691"/>
                      <a:pt x="5205" y="8691"/>
                    </a:cubicBezTo>
                    <a:cubicBezTo>
                      <a:pt x="5184" y="8692"/>
                      <a:pt x="5167" y="8692"/>
                      <a:pt x="5155" y="8693"/>
                    </a:cubicBezTo>
                    <a:cubicBezTo>
                      <a:pt x="5149" y="8693"/>
                      <a:pt x="5144" y="8693"/>
                      <a:pt x="5140" y="8693"/>
                    </a:cubicBezTo>
                    <a:cubicBezTo>
                      <a:pt x="5139" y="8693"/>
                      <a:pt x="5137" y="8693"/>
                      <a:pt x="5136" y="8694"/>
                    </a:cubicBezTo>
                    <a:cubicBezTo>
                      <a:pt x="5136" y="8693"/>
                      <a:pt x="5136" y="8693"/>
                      <a:pt x="5136" y="8693"/>
                    </a:cubicBezTo>
                    <a:cubicBezTo>
                      <a:pt x="5131" y="8682"/>
                      <a:pt x="5131" y="8682"/>
                      <a:pt x="5131" y="8682"/>
                    </a:cubicBezTo>
                    <a:lnTo>
                      <a:pt x="5120" y="8903"/>
                    </a:lnTo>
                    <a:close/>
                    <a:moveTo>
                      <a:pt x="5582" y="8899"/>
                    </a:moveTo>
                    <a:cubicBezTo>
                      <a:pt x="5915" y="8896"/>
                      <a:pt x="5915" y="8896"/>
                      <a:pt x="5915" y="8896"/>
                    </a:cubicBezTo>
                    <a:cubicBezTo>
                      <a:pt x="6140" y="8730"/>
                      <a:pt x="6140" y="8730"/>
                      <a:pt x="6140" y="8730"/>
                    </a:cubicBezTo>
                    <a:cubicBezTo>
                      <a:pt x="6128" y="8575"/>
                      <a:pt x="6128" y="8575"/>
                      <a:pt x="6128" y="8575"/>
                    </a:cubicBezTo>
                    <a:cubicBezTo>
                      <a:pt x="5826" y="8504"/>
                      <a:pt x="5826" y="8504"/>
                      <a:pt x="5826" y="8504"/>
                    </a:cubicBezTo>
                    <a:cubicBezTo>
                      <a:pt x="5826" y="8499"/>
                      <a:pt x="5826" y="8499"/>
                      <a:pt x="5826" y="8499"/>
                    </a:cubicBezTo>
                    <a:cubicBezTo>
                      <a:pt x="5826" y="8499"/>
                      <a:pt x="5819" y="8443"/>
                      <a:pt x="5811" y="8388"/>
                    </a:cubicBezTo>
                    <a:cubicBezTo>
                      <a:pt x="5807" y="8360"/>
                      <a:pt x="5803" y="8332"/>
                      <a:pt x="5799" y="8311"/>
                    </a:cubicBezTo>
                    <a:cubicBezTo>
                      <a:pt x="5797" y="8301"/>
                      <a:pt x="5795" y="8292"/>
                      <a:pt x="5794" y="8286"/>
                    </a:cubicBezTo>
                    <a:cubicBezTo>
                      <a:pt x="5793" y="8285"/>
                      <a:pt x="5793" y="8284"/>
                      <a:pt x="5793" y="8283"/>
                    </a:cubicBezTo>
                    <a:cubicBezTo>
                      <a:pt x="5765" y="8291"/>
                      <a:pt x="5613" y="8336"/>
                      <a:pt x="5464" y="8381"/>
                    </a:cubicBezTo>
                    <a:cubicBezTo>
                      <a:pt x="5316" y="8425"/>
                      <a:pt x="5170" y="8469"/>
                      <a:pt x="5142" y="8477"/>
                    </a:cubicBezTo>
                    <a:cubicBezTo>
                      <a:pt x="5131" y="8680"/>
                      <a:pt x="5131" y="8680"/>
                      <a:pt x="5131" y="8680"/>
                    </a:cubicBezTo>
                    <a:cubicBezTo>
                      <a:pt x="5136" y="8679"/>
                      <a:pt x="5142" y="8679"/>
                      <a:pt x="5155" y="8679"/>
                    </a:cubicBezTo>
                    <a:cubicBezTo>
                      <a:pt x="5241" y="8675"/>
                      <a:pt x="5560" y="8674"/>
                      <a:pt x="5560" y="8674"/>
                    </a:cubicBezTo>
                    <a:cubicBezTo>
                      <a:pt x="5566" y="8674"/>
                      <a:pt x="5566" y="8674"/>
                      <a:pt x="5566" y="8674"/>
                    </a:cubicBezTo>
                    <a:lnTo>
                      <a:pt x="5582" y="8899"/>
                    </a:lnTo>
                    <a:close/>
                    <a:moveTo>
                      <a:pt x="5962" y="8943"/>
                    </a:moveTo>
                    <a:cubicBezTo>
                      <a:pt x="5978" y="9021"/>
                      <a:pt x="6035" y="9300"/>
                      <a:pt x="6049" y="9471"/>
                    </a:cubicBezTo>
                    <a:cubicBezTo>
                      <a:pt x="6052" y="9471"/>
                      <a:pt x="6055" y="9471"/>
                      <a:pt x="6058" y="9471"/>
                    </a:cubicBezTo>
                    <a:cubicBezTo>
                      <a:pt x="6099" y="9472"/>
                      <a:pt x="6166" y="9461"/>
                      <a:pt x="6206" y="9422"/>
                    </a:cubicBezTo>
                    <a:cubicBezTo>
                      <a:pt x="6229" y="9400"/>
                      <a:pt x="6246" y="9356"/>
                      <a:pt x="6248" y="9295"/>
                    </a:cubicBezTo>
                    <a:cubicBezTo>
                      <a:pt x="6255" y="9113"/>
                      <a:pt x="6256" y="8857"/>
                      <a:pt x="6256" y="8780"/>
                    </a:cubicBezTo>
                    <a:cubicBezTo>
                      <a:pt x="6185" y="8778"/>
                      <a:pt x="6185" y="8778"/>
                      <a:pt x="6185" y="8778"/>
                    </a:cubicBezTo>
                    <a:lnTo>
                      <a:pt x="5962" y="8943"/>
                    </a:lnTo>
                    <a:close/>
                    <a:moveTo>
                      <a:pt x="6508" y="9921"/>
                    </a:moveTo>
                    <a:cubicBezTo>
                      <a:pt x="6825" y="9991"/>
                      <a:pt x="6825" y="9991"/>
                      <a:pt x="6825" y="9991"/>
                    </a:cubicBezTo>
                    <a:cubicBezTo>
                      <a:pt x="6922" y="10170"/>
                      <a:pt x="6922" y="10170"/>
                      <a:pt x="6922" y="10170"/>
                    </a:cubicBezTo>
                    <a:cubicBezTo>
                      <a:pt x="6983" y="10032"/>
                      <a:pt x="7058" y="9861"/>
                      <a:pt x="7135" y="9685"/>
                    </a:cubicBezTo>
                    <a:cubicBezTo>
                      <a:pt x="6740" y="9641"/>
                      <a:pt x="6740" y="9641"/>
                      <a:pt x="6740" y="9641"/>
                    </a:cubicBezTo>
                    <a:cubicBezTo>
                      <a:pt x="6741" y="9632"/>
                      <a:pt x="6741" y="9632"/>
                      <a:pt x="6741" y="9632"/>
                    </a:cubicBezTo>
                    <a:cubicBezTo>
                      <a:pt x="6716" y="9648"/>
                      <a:pt x="6559" y="9752"/>
                      <a:pt x="6537" y="9766"/>
                    </a:cubicBezTo>
                    <a:cubicBezTo>
                      <a:pt x="6536" y="9771"/>
                      <a:pt x="6531" y="9794"/>
                      <a:pt x="6526" y="9822"/>
                    </a:cubicBezTo>
                    <a:cubicBezTo>
                      <a:pt x="6521" y="9850"/>
                      <a:pt x="6514" y="9885"/>
                      <a:pt x="6508" y="9921"/>
                    </a:cubicBezTo>
                    <a:close/>
                    <a:moveTo>
                      <a:pt x="7141" y="9672"/>
                    </a:moveTo>
                    <a:cubicBezTo>
                      <a:pt x="7157" y="9635"/>
                      <a:pt x="7174" y="9598"/>
                      <a:pt x="7190" y="9561"/>
                    </a:cubicBezTo>
                    <a:cubicBezTo>
                      <a:pt x="7243" y="9440"/>
                      <a:pt x="7296" y="9320"/>
                      <a:pt x="7344" y="9210"/>
                    </a:cubicBezTo>
                    <a:cubicBezTo>
                      <a:pt x="7172" y="9182"/>
                      <a:pt x="7172" y="9182"/>
                      <a:pt x="7172" y="9182"/>
                    </a:cubicBezTo>
                    <a:cubicBezTo>
                      <a:pt x="7157" y="9190"/>
                      <a:pt x="7055" y="9241"/>
                      <a:pt x="7047" y="9245"/>
                    </a:cubicBezTo>
                    <a:cubicBezTo>
                      <a:pt x="7043" y="9246"/>
                      <a:pt x="7040" y="9246"/>
                      <a:pt x="7033" y="9247"/>
                    </a:cubicBezTo>
                    <a:cubicBezTo>
                      <a:pt x="6994" y="9250"/>
                      <a:pt x="6871" y="9253"/>
                      <a:pt x="6841" y="9253"/>
                    </a:cubicBezTo>
                    <a:cubicBezTo>
                      <a:pt x="6834" y="9297"/>
                      <a:pt x="6829" y="9325"/>
                      <a:pt x="6829" y="9326"/>
                    </a:cubicBezTo>
                    <a:cubicBezTo>
                      <a:pt x="6829" y="9329"/>
                      <a:pt x="6829" y="9329"/>
                      <a:pt x="6829" y="9329"/>
                    </a:cubicBezTo>
                    <a:cubicBezTo>
                      <a:pt x="6715" y="9388"/>
                      <a:pt x="6715" y="9388"/>
                      <a:pt x="6715" y="9388"/>
                    </a:cubicBezTo>
                    <a:cubicBezTo>
                      <a:pt x="6748" y="9627"/>
                      <a:pt x="6748" y="9627"/>
                      <a:pt x="6748" y="9627"/>
                    </a:cubicBezTo>
                    <a:cubicBezTo>
                      <a:pt x="6747" y="9628"/>
                      <a:pt x="6747" y="9628"/>
                      <a:pt x="6747" y="9628"/>
                    </a:cubicBezTo>
                    <a:lnTo>
                      <a:pt x="7141" y="9672"/>
                    </a:lnTo>
                    <a:close/>
                    <a:moveTo>
                      <a:pt x="7350" y="9196"/>
                    </a:moveTo>
                    <a:cubicBezTo>
                      <a:pt x="7387" y="9113"/>
                      <a:pt x="7421" y="9035"/>
                      <a:pt x="7451" y="8967"/>
                    </a:cubicBezTo>
                    <a:cubicBezTo>
                      <a:pt x="7476" y="8909"/>
                      <a:pt x="7498" y="8859"/>
                      <a:pt x="7516" y="8818"/>
                    </a:cubicBezTo>
                    <a:cubicBezTo>
                      <a:pt x="6918" y="8800"/>
                      <a:pt x="6918" y="8800"/>
                      <a:pt x="6918" y="8800"/>
                    </a:cubicBezTo>
                    <a:cubicBezTo>
                      <a:pt x="6906" y="8866"/>
                      <a:pt x="6866" y="9108"/>
                      <a:pt x="6844" y="9239"/>
                    </a:cubicBezTo>
                    <a:cubicBezTo>
                      <a:pt x="6861" y="9239"/>
                      <a:pt x="6898" y="9238"/>
                      <a:pt x="6936" y="9237"/>
                    </a:cubicBezTo>
                    <a:cubicBezTo>
                      <a:pt x="6962" y="9236"/>
                      <a:pt x="6987" y="9235"/>
                      <a:pt x="7007" y="9234"/>
                    </a:cubicBezTo>
                    <a:cubicBezTo>
                      <a:pt x="7017" y="9234"/>
                      <a:pt x="7026" y="9233"/>
                      <a:pt x="7032" y="9233"/>
                    </a:cubicBezTo>
                    <a:cubicBezTo>
                      <a:pt x="7035" y="9233"/>
                      <a:pt x="7038" y="9232"/>
                      <a:pt x="7039" y="9232"/>
                    </a:cubicBezTo>
                    <a:cubicBezTo>
                      <a:pt x="7040" y="9232"/>
                      <a:pt x="7041" y="9232"/>
                      <a:pt x="7041" y="9232"/>
                    </a:cubicBezTo>
                    <a:cubicBezTo>
                      <a:pt x="7041" y="9232"/>
                      <a:pt x="7041" y="9232"/>
                      <a:pt x="7041" y="9232"/>
                    </a:cubicBezTo>
                    <a:cubicBezTo>
                      <a:pt x="7041" y="9232"/>
                      <a:pt x="7041" y="9232"/>
                      <a:pt x="7041" y="9232"/>
                    </a:cubicBezTo>
                    <a:cubicBezTo>
                      <a:pt x="7052" y="9226"/>
                      <a:pt x="7168" y="9169"/>
                      <a:pt x="7168" y="9169"/>
                    </a:cubicBezTo>
                    <a:cubicBezTo>
                      <a:pt x="7170" y="9168"/>
                      <a:pt x="7170" y="9168"/>
                      <a:pt x="7170" y="9168"/>
                    </a:cubicBezTo>
                    <a:lnTo>
                      <a:pt x="7350" y="9196"/>
                    </a:lnTo>
                    <a:close/>
                    <a:moveTo>
                      <a:pt x="7424" y="8514"/>
                    </a:moveTo>
                    <a:cubicBezTo>
                      <a:pt x="7416" y="8514"/>
                      <a:pt x="7416" y="8514"/>
                      <a:pt x="7416" y="8514"/>
                    </a:cubicBezTo>
                    <a:cubicBezTo>
                      <a:pt x="7421" y="8522"/>
                      <a:pt x="7427" y="8531"/>
                      <a:pt x="7432" y="8539"/>
                    </a:cubicBezTo>
                    <a:cubicBezTo>
                      <a:pt x="7440" y="8551"/>
                      <a:pt x="7447" y="8562"/>
                      <a:pt x="7455" y="8574"/>
                    </a:cubicBezTo>
                    <a:cubicBezTo>
                      <a:pt x="7524" y="8573"/>
                      <a:pt x="7524" y="8573"/>
                      <a:pt x="7524" y="8573"/>
                    </a:cubicBezTo>
                    <a:cubicBezTo>
                      <a:pt x="7525" y="8429"/>
                      <a:pt x="7525" y="8429"/>
                      <a:pt x="7525" y="8429"/>
                    </a:cubicBezTo>
                    <a:cubicBezTo>
                      <a:pt x="7421" y="8430"/>
                      <a:pt x="7421" y="8430"/>
                      <a:pt x="7421" y="8430"/>
                    </a:cubicBezTo>
                    <a:lnTo>
                      <a:pt x="7424" y="8514"/>
                    </a:lnTo>
                    <a:close/>
                    <a:moveTo>
                      <a:pt x="7399" y="8514"/>
                    </a:moveTo>
                    <a:cubicBezTo>
                      <a:pt x="7340" y="8515"/>
                      <a:pt x="7340" y="8515"/>
                      <a:pt x="7340" y="8515"/>
                    </a:cubicBezTo>
                    <a:cubicBezTo>
                      <a:pt x="7342" y="8671"/>
                      <a:pt x="7342" y="8671"/>
                      <a:pt x="7342" y="8671"/>
                    </a:cubicBezTo>
                    <a:cubicBezTo>
                      <a:pt x="7438" y="8671"/>
                      <a:pt x="7438" y="8671"/>
                      <a:pt x="7438" y="8671"/>
                    </a:cubicBezTo>
                    <a:cubicBezTo>
                      <a:pt x="7439" y="8575"/>
                      <a:pt x="7439" y="8575"/>
                      <a:pt x="7439" y="8575"/>
                    </a:cubicBezTo>
                    <a:cubicBezTo>
                      <a:pt x="7426" y="8555"/>
                      <a:pt x="7412" y="8535"/>
                      <a:pt x="7399" y="8514"/>
                    </a:cubicBezTo>
                    <a:close/>
                    <a:moveTo>
                      <a:pt x="7557" y="8726"/>
                    </a:moveTo>
                    <a:cubicBezTo>
                      <a:pt x="7562" y="8715"/>
                      <a:pt x="7565" y="8707"/>
                      <a:pt x="7567" y="8703"/>
                    </a:cubicBezTo>
                    <a:cubicBezTo>
                      <a:pt x="7625" y="8347"/>
                      <a:pt x="7625" y="8347"/>
                      <a:pt x="7625" y="8347"/>
                    </a:cubicBezTo>
                    <a:cubicBezTo>
                      <a:pt x="7598" y="8341"/>
                      <a:pt x="7543" y="8330"/>
                      <a:pt x="7489" y="8318"/>
                    </a:cubicBezTo>
                    <a:cubicBezTo>
                      <a:pt x="7427" y="8305"/>
                      <a:pt x="7366" y="8293"/>
                      <a:pt x="7349" y="8289"/>
                    </a:cubicBezTo>
                    <a:cubicBezTo>
                      <a:pt x="7345" y="8295"/>
                      <a:pt x="7338" y="8306"/>
                      <a:pt x="7331" y="8318"/>
                    </a:cubicBezTo>
                    <a:cubicBezTo>
                      <a:pt x="7326" y="8326"/>
                      <a:pt x="7320" y="8335"/>
                      <a:pt x="7315" y="8341"/>
                    </a:cubicBezTo>
                    <a:cubicBezTo>
                      <a:pt x="7313" y="8345"/>
                      <a:pt x="7311" y="8348"/>
                      <a:pt x="7309" y="8350"/>
                    </a:cubicBezTo>
                    <a:cubicBezTo>
                      <a:pt x="7320" y="8367"/>
                      <a:pt x="7361" y="8431"/>
                      <a:pt x="7407" y="8501"/>
                    </a:cubicBezTo>
                    <a:cubicBezTo>
                      <a:pt x="7410" y="8501"/>
                      <a:pt x="7410" y="8501"/>
                      <a:pt x="7410" y="8501"/>
                    </a:cubicBezTo>
                    <a:cubicBezTo>
                      <a:pt x="7407" y="8417"/>
                      <a:pt x="7407" y="8417"/>
                      <a:pt x="7407" y="8417"/>
                    </a:cubicBezTo>
                    <a:cubicBezTo>
                      <a:pt x="7538" y="8415"/>
                      <a:pt x="7538" y="8415"/>
                      <a:pt x="7538" y="8415"/>
                    </a:cubicBezTo>
                    <a:cubicBezTo>
                      <a:pt x="7537" y="8586"/>
                      <a:pt x="7537" y="8586"/>
                      <a:pt x="7537" y="8586"/>
                    </a:cubicBezTo>
                    <a:cubicBezTo>
                      <a:pt x="7463" y="8587"/>
                      <a:pt x="7463" y="8587"/>
                      <a:pt x="7463" y="8587"/>
                    </a:cubicBezTo>
                    <a:cubicBezTo>
                      <a:pt x="7484" y="8618"/>
                      <a:pt x="7504" y="8648"/>
                      <a:pt x="7520" y="8673"/>
                    </a:cubicBezTo>
                    <a:cubicBezTo>
                      <a:pt x="7533" y="8691"/>
                      <a:pt x="7543" y="8706"/>
                      <a:pt x="7551" y="8717"/>
                    </a:cubicBezTo>
                    <a:cubicBezTo>
                      <a:pt x="7553" y="8721"/>
                      <a:pt x="7555" y="8723"/>
                      <a:pt x="7557" y="8726"/>
                    </a:cubicBezTo>
                    <a:close/>
                    <a:moveTo>
                      <a:pt x="7627" y="8333"/>
                    </a:moveTo>
                    <a:cubicBezTo>
                      <a:pt x="7666" y="8099"/>
                      <a:pt x="7666" y="8099"/>
                      <a:pt x="7666" y="8099"/>
                    </a:cubicBezTo>
                    <a:cubicBezTo>
                      <a:pt x="7644" y="8095"/>
                      <a:pt x="7644" y="8095"/>
                      <a:pt x="7644" y="8095"/>
                    </a:cubicBezTo>
                    <a:cubicBezTo>
                      <a:pt x="7636" y="8151"/>
                      <a:pt x="7636" y="8151"/>
                      <a:pt x="7636" y="8151"/>
                    </a:cubicBezTo>
                    <a:cubicBezTo>
                      <a:pt x="7593" y="8145"/>
                      <a:pt x="7593" y="8145"/>
                      <a:pt x="7593" y="8145"/>
                    </a:cubicBezTo>
                    <a:cubicBezTo>
                      <a:pt x="7586" y="8191"/>
                      <a:pt x="7586" y="8191"/>
                      <a:pt x="7586" y="8191"/>
                    </a:cubicBezTo>
                    <a:cubicBezTo>
                      <a:pt x="7501" y="8178"/>
                      <a:pt x="7501" y="8178"/>
                      <a:pt x="7501" y="8178"/>
                    </a:cubicBezTo>
                    <a:cubicBezTo>
                      <a:pt x="7517" y="8074"/>
                      <a:pt x="7517" y="8074"/>
                      <a:pt x="7517" y="8074"/>
                    </a:cubicBezTo>
                    <a:cubicBezTo>
                      <a:pt x="7183" y="8018"/>
                      <a:pt x="7183" y="8018"/>
                      <a:pt x="7183" y="8018"/>
                    </a:cubicBezTo>
                    <a:cubicBezTo>
                      <a:pt x="7108" y="8032"/>
                      <a:pt x="7108" y="8032"/>
                      <a:pt x="7108" y="8032"/>
                    </a:cubicBezTo>
                    <a:cubicBezTo>
                      <a:pt x="7112" y="8308"/>
                      <a:pt x="7112" y="8308"/>
                      <a:pt x="7112" y="8308"/>
                    </a:cubicBezTo>
                    <a:cubicBezTo>
                      <a:pt x="7175" y="8338"/>
                      <a:pt x="7175" y="8338"/>
                      <a:pt x="7175" y="8338"/>
                    </a:cubicBezTo>
                    <a:cubicBezTo>
                      <a:pt x="7179" y="8370"/>
                      <a:pt x="7179" y="8370"/>
                      <a:pt x="7179" y="8370"/>
                    </a:cubicBezTo>
                    <a:cubicBezTo>
                      <a:pt x="7193" y="8367"/>
                      <a:pt x="7287" y="8345"/>
                      <a:pt x="7297" y="8342"/>
                    </a:cubicBezTo>
                    <a:cubicBezTo>
                      <a:pt x="7300" y="8340"/>
                      <a:pt x="7311" y="8323"/>
                      <a:pt x="7320" y="8309"/>
                    </a:cubicBezTo>
                    <a:cubicBezTo>
                      <a:pt x="7330" y="8293"/>
                      <a:pt x="7339" y="8278"/>
                      <a:pt x="7339" y="8278"/>
                    </a:cubicBezTo>
                    <a:cubicBezTo>
                      <a:pt x="7342" y="8273"/>
                      <a:pt x="7342" y="8273"/>
                      <a:pt x="7342" y="8273"/>
                    </a:cubicBezTo>
                    <a:cubicBezTo>
                      <a:pt x="7347" y="8274"/>
                      <a:pt x="7347" y="8274"/>
                      <a:pt x="7347" y="8274"/>
                    </a:cubicBezTo>
                    <a:cubicBezTo>
                      <a:pt x="7347" y="8274"/>
                      <a:pt x="7421" y="8290"/>
                      <a:pt x="7495" y="8305"/>
                    </a:cubicBezTo>
                    <a:cubicBezTo>
                      <a:pt x="7533" y="8313"/>
                      <a:pt x="7570" y="8321"/>
                      <a:pt x="7598" y="8327"/>
                    </a:cubicBezTo>
                    <a:cubicBezTo>
                      <a:pt x="7610" y="8330"/>
                      <a:pt x="7620" y="8332"/>
                      <a:pt x="7627" y="8333"/>
                    </a:cubicBezTo>
                    <a:close/>
                    <a:moveTo>
                      <a:pt x="7596" y="8040"/>
                    </a:moveTo>
                    <a:cubicBezTo>
                      <a:pt x="7603" y="7994"/>
                      <a:pt x="7603" y="7994"/>
                      <a:pt x="7603" y="7994"/>
                    </a:cubicBezTo>
                    <a:cubicBezTo>
                      <a:pt x="7544" y="7985"/>
                      <a:pt x="7544" y="7985"/>
                      <a:pt x="7544" y="7985"/>
                    </a:cubicBezTo>
                    <a:cubicBezTo>
                      <a:pt x="7532" y="8062"/>
                      <a:pt x="7532" y="8062"/>
                      <a:pt x="7532" y="8062"/>
                    </a:cubicBezTo>
                    <a:cubicBezTo>
                      <a:pt x="7634" y="8080"/>
                      <a:pt x="7634" y="8080"/>
                      <a:pt x="7634" y="8080"/>
                    </a:cubicBezTo>
                    <a:cubicBezTo>
                      <a:pt x="7639" y="8047"/>
                      <a:pt x="7639" y="8047"/>
                      <a:pt x="7639" y="8047"/>
                    </a:cubicBezTo>
                    <a:lnTo>
                      <a:pt x="7596" y="8040"/>
                    </a:lnTo>
                    <a:close/>
                    <a:moveTo>
                      <a:pt x="7530" y="8076"/>
                    </a:moveTo>
                    <a:cubicBezTo>
                      <a:pt x="7516" y="8167"/>
                      <a:pt x="7516" y="8167"/>
                      <a:pt x="7516" y="8167"/>
                    </a:cubicBezTo>
                    <a:cubicBezTo>
                      <a:pt x="7575" y="8176"/>
                      <a:pt x="7575" y="8176"/>
                      <a:pt x="7575" y="8176"/>
                    </a:cubicBezTo>
                    <a:cubicBezTo>
                      <a:pt x="7582" y="8130"/>
                      <a:pt x="7582" y="8130"/>
                      <a:pt x="7582" y="8130"/>
                    </a:cubicBezTo>
                    <a:cubicBezTo>
                      <a:pt x="7625" y="8136"/>
                      <a:pt x="7625" y="8136"/>
                      <a:pt x="7625" y="8136"/>
                    </a:cubicBezTo>
                    <a:cubicBezTo>
                      <a:pt x="7632" y="8093"/>
                      <a:pt x="7632" y="8093"/>
                      <a:pt x="7632" y="8093"/>
                    </a:cubicBezTo>
                    <a:lnTo>
                      <a:pt x="7530" y="8076"/>
                    </a:lnTo>
                    <a:close/>
                    <a:moveTo>
                      <a:pt x="7668" y="8085"/>
                    </a:moveTo>
                    <a:cubicBezTo>
                      <a:pt x="7689" y="7959"/>
                      <a:pt x="7689" y="7959"/>
                      <a:pt x="7689" y="7959"/>
                    </a:cubicBezTo>
                    <a:cubicBezTo>
                      <a:pt x="7654" y="7952"/>
                      <a:pt x="7549" y="7929"/>
                      <a:pt x="7443" y="7906"/>
                    </a:cubicBezTo>
                    <a:cubicBezTo>
                      <a:pt x="7335" y="7882"/>
                      <a:pt x="7224" y="7858"/>
                      <a:pt x="7191" y="7851"/>
                    </a:cubicBezTo>
                    <a:cubicBezTo>
                      <a:pt x="7191" y="7926"/>
                      <a:pt x="7190" y="7987"/>
                      <a:pt x="7190" y="8005"/>
                    </a:cubicBezTo>
                    <a:cubicBezTo>
                      <a:pt x="7519" y="8060"/>
                      <a:pt x="7519" y="8060"/>
                      <a:pt x="7519" y="8060"/>
                    </a:cubicBezTo>
                    <a:cubicBezTo>
                      <a:pt x="7533" y="7970"/>
                      <a:pt x="7533" y="7970"/>
                      <a:pt x="7533" y="7970"/>
                    </a:cubicBezTo>
                    <a:cubicBezTo>
                      <a:pt x="7539" y="7971"/>
                      <a:pt x="7539" y="7971"/>
                      <a:pt x="7539" y="7971"/>
                    </a:cubicBezTo>
                    <a:cubicBezTo>
                      <a:pt x="7618" y="7983"/>
                      <a:pt x="7618" y="7983"/>
                      <a:pt x="7618" y="7983"/>
                    </a:cubicBezTo>
                    <a:cubicBezTo>
                      <a:pt x="7611" y="8029"/>
                      <a:pt x="7611" y="8029"/>
                      <a:pt x="7611" y="8029"/>
                    </a:cubicBezTo>
                    <a:cubicBezTo>
                      <a:pt x="7653" y="8036"/>
                      <a:pt x="7653" y="8036"/>
                      <a:pt x="7653" y="8036"/>
                    </a:cubicBezTo>
                    <a:cubicBezTo>
                      <a:pt x="7647" y="8082"/>
                      <a:pt x="7647" y="8082"/>
                      <a:pt x="7647" y="8082"/>
                    </a:cubicBezTo>
                    <a:lnTo>
                      <a:pt x="7668" y="8085"/>
                    </a:lnTo>
                    <a:close/>
                    <a:moveTo>
                      <a:pt x="7691" y="7946"/>
                    </a:moveTo>
                    <a:cubicBezTo>
                      <a:pt x="7710" y="7827"/>
                      <a:pt x="7710" y="7827"/>
                      <a:pt x="7710" y="7827"/>
                    </a:cubicBezTo>
                    <a:cubicBezTo>
                      <a:pt x="7685" y="7822"/>
                      <a:pt x="7685" y="7822"/>
                      <a:pt x="7685" y="7822"/>
                    </a:cubicBezTo>
                    <a:cubicBezTo>
                      <a:pt x="7676" y="7879"/>
                      <a:pt x="7676" y="7879"/>
                      <a:pt x="7676" y="7879"/>
                    </a:cubicBezTo>
                    <a:cubicBezTo>
                      <a:pt x="7633" y="7872"/>
                      <a:pt x="7633" y="7872"/>
                      <a:pt x="7633" y="7872"/>
                    </a:cubicBezTo>
                    <a:cubicBezTo>
                      <a:pt x="7626" y="7919"/>
                      <a:pt x="7626" y="7919"/>
                      <a:pt x="7626" y="7919"/>
                    </a:cubicBezTo>
                    <a:cubicBezTo>
                      <a:pt x="7541" y="7906"/>
                      <a:pt x="7541" y="7906"/>
                      <a:pt x="7541" y="7906"/>
                    </a:cubicBezTo>
                    <a:cubicBezTo>
                      <a:pt x="7558" y="7797"/>
                      <a:pt x="7558" y="7797"/>
                      <a:pt x="7558" y="7797"/>
                    </a:cubicBezTo>
                    <a:cubicBezTo>
                      <a:pt x="7192" y="7726"/>
                      <a:pt x="7192" y="7726"/>
                      <a:pt x="7192" y="7726"/>
                    </a:cubicBezTo>
                    <a:cubicBezTo>
                      <a:pt x="7192" y="7764"/>
                      <a:pt x="7192" y="7802"/>
                      <a:pt x="7191" y="7837"/>
                    </a:cubicBezTo>
                    <a:cubicBezTo>
                      <a:pt x="7225" y="7844"/>
                      <a:pt x="7335" y="7868"/>
                      <a:pt x="7446" y="7892"/>
                    </a:cubicBezTo>
                    <a:cubicBezTo>
                      <a:pt x="7551" y="7915"/>
                      <a:pt x="7656" y="7938"/>
                      <a:pt x="7691" y="7946"/>
                    </a:cubicBezTo>
                    <a:close/>
                    <a:moveTo>
                      <a:pt x="7713" y="7813"/>
                    </a:moveTo>
                    <a:cubicBezTo>
                      <a:pt x="7726" y="7731"/>
                      <a:pt x="7726" y="7731"/>
                      <a:pt x="7726" y="7731"/>
                    </a:cubicBezTo>
                    <a:cubicBezTo>
                      <a:pt x="7710" y="7727"/>
                      <a:pt x="7686" y="7722"/>
                      <a:pt x="7657" y="7716"/>
                    </a:cubicBezTo>
                    <a:cubicBezTo>
                      <a:pt x="7651" y="7757"/>
                      <a:pt x="7651" y="7757"/>
                      <a:pt x="7651" y="7757"/>
                    </a:cubicBezTo>
                    <a:cubicBezTo>
                      <a:pt x="7694" y="7763"/>
                      <a:pt x="7694" y="7763"/>
                      <a:pt x="7694" y="7763"/>
                    </a:cubicBezTo>
                    <a:cubicBezTo>
                      <a:pt x="7687" y="7808"/>
                      <a:pt x="7687" y="7808"/>
                      <a:pt x="7687" y="7808"/>
                    </a:cubicBezTo>
                    <a:lnTo>
                      <a:pt x="7713" y="7813"/>
                    </a:lnTo>
                    <a:close/>
                    <a:moveTo>
                      <a:pt x="7727" y="7717"/>
                    </a:moveTo>
                    <a:cubicBezTo>
                      <a:pt x="7728" y="7717"/>
                      <a:pt x="7728" y="7717"/>
                      <a:pt x="7728" y="7717"/>
                    </a:cubicBezTo>
                    <a:cubicBezTo>
                      <a:pt x="7749" y="7591"/>
                      <a:pt x="7749" y="7591"/>
                      <a:pt x="7749" y="7591"/>
                    </a:cubicBezTo>
                    <a:cubicBezTo>
                      <a:pt x="7743" y="7589"/>
                      <a:pt x="7736" y="7588"/>
                      <a:pt x="7729" y="7587"/>
                    </a:cubicBezTo>
                    <a:cubicBezTo>
                      <a:pt x="7720" y="7645"/>
                      <a:pt x="7720" y="7645"/>
                      <a:pt x="7720" y="7645"/>
                    </a:cubicBezTo>
                    <a:cubicBezTo>
                      <a:pt x="7677" y="7638"/>
                      <a:pt x="7677" y="7638"/>
                      <a:pt x="7677" y="7638"/>
                    </a:cubicBezTo>
                    <a:cubicBezTo>
                      <a:pt x="7670" y="7685"/>
                      <a:pt x="7670" y="7685"/>
                      <a:pt x="7670" y="7685"/>
                    </a:cubicBezTo>
                    <a:cubicBezTo>
                      <a:pt x="7585" y="7672"/>
                      <a:pt x="7585" y="7672"/>
                      <a:pt x="7585" y="7672"/>
                    </a:cubicBezTo>
                    <a:cubicBezTo>
                      <a:pt x="7601" y="7564"/>
                      <a:pt x="7601" y="7564"/>
                      <a:pt x="7601" y="7564"/>
                    </a:cubicBezTo>
                    <a:cubicBezTo>
                      <a:pt x="7450" y="7536"/>
                      <a:pt x="7249" y="7498"/>
                      <a:pt x="7193" y="7487"/>
                    </a:cubicBezTo>
                    <a:cubicBezTo>
                      <a:pt x="7193" y="7495"/>
                      <a:pt x="7193" y="7504"/>
                      <a:pt x="7193" y="7514"/>
                    </a:cubicBezTo>
                    <a:cubicBezTo>
                      <a:pt x="7193" y="7538"/>
                      <a:pt x="7193" y="7567"/>
                      <a:pt x="7193" y="7600"/>
                    </a:cubicBezTo>
                    <a:cubicBezTo>
                      <a:pt x="7209" y="7604"/>
                      <a:pt x="7339" y="7632"/>
                      <a:pt x="7470" y="7661"/>
                    </a:cubicBezTo>
                    <a:cubicBezTo>
                      <a:pt x="7540" y="7676"/>
                      <a:pt x="7610" y="7691"/>
                      <a:pt x="7663" y="7703"/>
                    </a:cubicBezTo>
                    <a:cubicBezTo>
                      <a:pt x="7689" y="7709"/>
                      <a:pt x="7712" y="7714"/>
                      <a:pt x="7727" y="7717"/>
                    </a:cubicBezTo>
                    <a:close/>
                    <a:moveTo>
                      <a:pt x="7680" y="7534"/>
                    </a:moveTo>
                    <a:cubicBezTo>
                      <a:pt x="7687" y="7488"/>
                      <a:pt x="7687" y="7488"/>
                      <a:pt x="7687" y="7488"/>
                    </a:cubicBezTo>
                    <a:cubicBezTo>
                      <a:pt x="7628" y="7479"/>
                      <a:pt x="7628" y="7479"/>
                      <a:pt x="7628" y="7479"/>
                    </a:cubicBezTo>
                    <a:cubicBezTo>
                      <a:pt x="7616" y="7552"/>
                      <a:pt x="7616" y="7552"/>
                      <a:pt x="7616" y="7552"/>
                    </a:cubicBezTo>
                    <a:cubicBezTo>
                      <a:pt x="7655" y="7559"/>
                      <a:pt x="7691" y="7566"/>
                      <a:pt x="7718" y="7571"/>
                    </a:cubicBezTo>
                    <a:cubicBezTo>
                      <a:pt x="7723" y="7541"/>
                      <a:pt x="7723" y="7541"/>
                      <a:pt x="7723" y="7541"/>
                    </a:cubicBezTo>
                    <a:lnTo>
                      <a:pt x="7680" y="7534"/>
                    </a:lnTo>
                    <a:close/>
                    <a:moveTo>
                      <a:pt x="7614" y="7566"/>
                    </a:moveTo>
                    <a:cubicBezTo>
                      <a:pt x="7600" y="7661"/>
                      <a:pt x="7600" y="7661"/>
                      <a:pt x="7600" y="7661"/>
                    </a:cubicBezTo>
                    <a:cubicBezTo>
                      <a:pt x="7659" y="7670"/>
                      <a:pt x="7659" y="7670"/>
                      <a:pt x="7659" y="7670"/>
                    </a:cubicBezTo>
                    <a:cubicBezTo>
                      <a:pt x="7666" y="7624"/>
                      <a:pt x="7666" y="7624"/>
                      <a:pt x="7666" y="7624"/>
                    </a:cubicBezTo>
                    <a:cubicBezTo>
                      <a:pt x="7709" y="7630"/>
                      <a:pt x="7709" y="7630"/>
                      <a:pt x="7709" y="7630"/>
                    </a:cubicBezTo>
                    <a:cubicBezTo>
                      <a:pt x="7716" y="7585"/>
                      <a:pt x="7716" y="7585"/>
                      <a:pt x="7716" y="7585"/>
                    </a:cubicBezTo>
                    <a:cubicBezTo>
                      <a:pt x="7688" y="7580"/>
                      <a:pt x="7653" y="7573"/>
                      <a:pt x="7614" y="7566"/>
                    </a:cubicBezTo>
                    <a:close/>
                    <a:moveTo>
                      <a:pt x="7751" y="7577"/>
                    </a:moveTo>
                    <a:cubicBezTo>
                      <a:pt x="7768" y="7473"/>
                      <a:pt x="7768" y="7473"/>
                      <a:pt x="7768" y="7473"/>
                    </a:cubicBezTo>
                    <a:cubicBezTo>
                      <a:pt x="7595" y="7398"/>
                      <a:pt x="7595" y="7398"/>
                      <a:pt x="7595" y="7398"/>
                    </a:cubicBezTo>
                    <a:cubicBezTo>
                      <a:pt x="7521" y="7441"/>
                      <a:pt x="7426" y="7478"/>
                      <a:pt x="7314" y="7480"/>
                    </a:cubicBezTo>
                    <a:cubicBezTo>
                      <a:pt x="7292" y="7481"/>
                      <a:pt x="7266" y="7481"/>
                      <a:pt x="7236" y="7481"/>
                    </a:cubicBezTo>
                    <a:cubicBezTo>
                      <a:pt x="7292" y="7492"/>
                      <a:pt x="7384" y="7509"/>
                      <a:pt x="7477" y="7526"/>
                    </a:cubicBezTo>
                    <a:cubicBezTo>
                      <a:pt x="7520" y="7534"/>
                      <a:pt x="7563" y="7542"/>
                      <a:pt x="7604" y="7550"/>
                    </a:cubicBezTo>
                    <a:cubicBezTo>
                      <a:pt x="7617" y="7464"/>
                      <a:pt x="7617" y="7464"/>
                      <a:pt x="7617" y="7464"/>
                    </a:cubicBezTo>
                    <a:cubicBezTo>
                      <a:pt x="7623" y="7465"/>
                      <a:pt x="7623" y="7465"/>
                      <a:pt x="7623" y="7465"/>
                    </a:cubicBezTo>
                    <a:cubicBezTo>
                      <a:pt x="7702" y="7477"/>
                      <a:pt x="7702" y="7477"/>
                      <a:pt x="7702" y="7477"/>
                    </a:cubicBezTo>
                    <a:cubicBezTo>
                      <a:pt x="7695" y="7523"/>
                      <a:pt x="7695" y="7523"/>
                      <a:pt x="7695" y="7523"/>
                    </a:cubicBezTo>
                    <a:cubicBezTo>
                      <a:pt x="7737" y="7529"/>
                      <a:pt x="7737" y="7529"/>
                      <a:pt x="7737" y="7529"/>
                    </a:cubicBezTo>
                    <a:cubicBezTo>
                      <a:pt x="7731" y="7573"/>
                      <a:pt x="7731" y="7573"/>
                      <a:pt x="7731" y="7573"/>
                    </a:cubicBezTo>
                    <a:cubicBezTo>
                      <a:pt x="7738" y="7574"/>
                      <a:pt x="7745" y="7576"/>
                      <a:pt x="7751" y="7577"/>
                    </a:cubicBezTo>
                    <a:close/>
                    <a:moveTo>
                      <a:pt x="7771" y="7459"/>
                    </a:moveTo>
                    <a:cubicBezTo>
                      <a:pt x="7794" y="7315"/>
                      <a:pt x="7794" y="7315"/>
                      <a:pt x="7794" y="7315"/>
                    </a:cubicBezTo>
                    <a:cubicBezTo>
                      <a:pt x="7784" y="7308"/>
                      <a:pt x="7775" y="7301"/>
                      <a:pt x="7767" y="7295"/>
                    </a:cubicBezTo>
                    <a:cubicBezTo>
                      <a:pt x="7758" y="7289"/>
                      <a:pt x="7752" y="7284"/>
                      <a:pt x="7745" y="7280"/>
                    </a:cubicBezTo>
                    <a:cubicBezTo>
                      <a:pt x="7720" y="7306"/>
                      <a:pt x="7674" y="7349"/>
                      <a:pt x="7610" y="7389"/>
                    </a:cubicBezTo>
                    <a:lnTo>
                      <a:pt x="7771" y="7459"/>
                    </a:lnTo>
                    <a:close/>
                    <a:moveTo>
                      <a:pt x="8114" y="6499"/>
                    </a:moveTo>
                    <a:cubicBezTo>
                      <a:pt x="8114" y="6519"/>
                      <a:pt x="8114" y="6519"/>
                      <a:pt x="8114" y="6519"/>
                    </a:cubicBezTo>
                    <a:cubicBezTo>
                      <a:pt x="8270" y="6512"/>
                      <a:pt x="8270" y="6512"/>
                      <a:pt x="8270" y="6512"/>
                    </a:cubicBezTo>
                    <a:cubicBezTo>
                      <a:pt x="8270" y="6219"/>
                      <a:pt x="8270" y="6219"/>
                      <a:pt x="8270" y="6219"/>
                    </a:cubicBezTo>
                    <a:cubicBezTo>
                      <a:pt x="8223" y="6220"/>
                      <a:pt x="8170" y="6222"/>
                      <a:pt x="8114" y="6223"/>
                    </a:cubicBezTo>
                    <a:cubicBezTo>
                      <a:pt x="8114" y="6428"/>
                      <a:pt x="8114" y="6428"/>
                      <a:pt x="8114" y="6428"/>
                    </a:cubicBezTo>
                    <a:cubicBezTo>
                      <a:pt x="8119" y="6428"/>
                      <a:pt x="8119" y="6428"/>
                      <a:pt x="8119" y="6428"/>
                    </a:cubicBezTo>
                    <a:cubicBezTo>
                      <a:pt x="8264" y="6425"/>
                      <a:pt x="8264" y="6425"/>
                      <a:pt x="8264" y="6425"/>
                    </a:cubicBezTo>
                    <a:cubicBezTo>
                      <a:pt x="8266" y="6496"/>
                      <a:pt x="8266" y="6496"/>
                      <a:pt x="8266" y="6496"/>
                    </a:cubicBezTo>
                    <a:lnTo>
                      <a:pt x="8114" y="6499"/>
                    </a:lnTo>
                    <a:close/>
                    <a:moveTo>
                      <a:pt x="8127" y="6485"/>
                    </a:moveTo>
                    <a:cubicBezTo>
                      <a:pt x="8252" y="6483"/>
                      <a:pt x="8252" y="6483"/>
                      <a:pt x="8252" y="6483"/>
                    </a:cubicBezTo>
                    <a:cubicBezTo>
                      <a:pt x="8251" y="6438"/>
                      <a:pt x="8251" y="6438"/>
                      <a:pt x="8251" y="6438"/>
                    </a:cubicBezTo>
                    <a:cubicBezTo>
                      <a:pt x="8126" y="6441"/>
                      <a:pt x="8126" y="6441"/>
                      <a:pt x="8126" y="6441"/>
                    </a:cubicBezTo>
                    <a:lnTo>
                      <a:pt x="8127" y="6485"/>
                    </a:lnTo>
                    <a:close/>
                    <a:moveTo>
                      <a:pt x="8455" y="6505"/>
                    </a:moveTo>
                    <a:cubicBezTo>
                      <a:pt x="8455" y="6213"/>
                      <a:pt x="8455" y="6213"/>
                      <a:pt x="8455" y="6213"/>
                    </a:cubicBezTo>
                    <a:cubicBezTo>
                      <a:pt x="8435" y="6214"/>
                      <a:pt x="8371" y="6216"/>
                      <a:pt x="8284" y="6218"/>
                    </a:cubicBezTo>
                    <a:cubicBezTo>
                      <a:pt x="8284" y="6512"/>
                      <a:pt x="8284" y="6512"/>
                      <a:pt x="8284" y="6512"/>
                    </a:cubicBezTo>
                    <a:lnTo>
                      <a:pt x="8455" y="6505"/>
                    </a:lnTo>
                    <a:close/>
                    <a:moveTo>
                      <a:pt x="9348" y="5075"/>
                    </a:moveTo>
                    <a:cubicBezTo>
                      <a:pt x="9399" y="4967"/>
                      <a:pt x="9399" y="4967"/>
                      <a:pt x="9399" y="4967"/>
                    </a:cubicBezTo>
                    <a:cubicBezTo>
                      <a:pt x="8067" y="4287"/>
                      <a:pt x="8067" y="4287"/>
                      <a:pt x="8067" y="4287"/>
                    </a:cubicBezTo>
                    <a:cubicBezTo>
                      <a:pt x="7386" y="5685"/>
                      <a:pt x="7386" y="5685"/>
                      <a:pt x="7386" y="5685"/>
                    </a:cubicBezTo>
                    <a:cubicBezTo>
                      <a:pt x="7342" y="6236"/>
                      <a:pt x="7342" y="6236"/>
                      <a:pt x="7342" y="6236"/>
                    </a:cubicBezTo>
                    <a:cubicBezTo>
                      <a:pt x="7347" y="6236"/>
                      <a:pt x="7351" y="6235"/>
                      <a:pt x="7356" y="6235"/>
                    </a:cubicBezTo>
                    <a:cubicBezTo>
                      <a:pt x="7587" y="6224"/>
                      <a:pt x="8462" y="6199"/>
                      <a:pt x="8462" y="6199"/>
                    </a:cubicBezTo>
                    <a:cubicBezTo>
                      <a:pt x="8469" y="6199"/>
                      <a:pt x="8469" y="6199"/>
                      <a:pt x="8469" y="6199"/>
                    </a:cubicBezTo>
                    <a:cubicBezTo>
                      <a:pt x="8469" y="6504"/>
                      <a:pt x="8469" y="6504"/>
                      <a:pt x="8469" y="6504"/>
                    </a:cubicBezTo>
                    <a:cubicBezTo>
                      <a:pt x="8665" y="6497"/>
                      <a:pt x="8665" y="6497"/>
                      <a:pt x="8665" y="6497"/>
                    </a:cubicBezTo>
                    <a:cubicBezTo>
                      <a:pt x="8694" y="6493"/>
                      <a:pt x="8694" y="6493"/>
                      <a:pt x="8694" y="6493"/>
                    </a:cubicBezTo>
                    <a:lnTo>
                      <a:pt x="9348" y="5075"/>
                    </a:lnTo>
                    <a:close/>
                    <a:moveTo>
                      <a:pt x="9427" y="4907"/>
                    </a:moveTo>
                    <a:cubicBezTo>
                      <a:pt x="10618" y="2384"/>
                      <a:pt x="10618" y="2384"/>
                      <a:pt x="10618" y="2384"/>
                    </a:cubicBezTo>
                    <a:cubicBezTo>
                      <a:pt x="10577" y="2365"/>
                      <a:pt x="10491" y="2325"/>
                      <a:pt x="10394" y="2280"/>
                    </a:cubicBezTo>
                    <a:cubicBezTo>
                      <a:pt x="10259" y="2217"/>
                      <a:pt x="10103" y="2146"/>
                      <a:pt x="10022" y="2112"/>
                    </a:cubicBezTo>
                    <a:cubicBezTo>
                      <a:pt x="9865" y="2045"/>
                      <a:pt x="9483" y="1838"/>
                      <a:pt x="9307" y="1743"/>
                    </a:cubicBezTo>
                    <a:cubicBezTo>
                      <a:pt x="8096" y="4228"/>
                      <a:pt x="8096" y="4228"/>
                      <a:pt x="8096" y="4228"/>
                    </a:cubicBezTo>
                    <a:lnTo>
                      <a:pt x="9427" y="4907"/>
                    </a:lnTo>
                    <a:close/>
                    <a:moveTo>
                      <a:pt x="8369" y="211"/>
                    </a:moveTo>
                    <a:cubicBezTo>
                      <a:pt x="8364" y="225"/>
                      <a:pt x="8349" y="268"/>
                      <a:pt x="8336" y="308"/>
                    </a:cubicBezTo>
                    <a:cubicBezTo>
                      <a:pt x="8328" y="331"/>
                      <a:pt x="8320" y="354"/>
                      <a:pt x="8313" y="372"/>
                    </a:cubicBezTo>
                    <a:cubicBezTo>
                      <a:pt x="8310" y="381"/>
                      <a:pt x="8307" y="388"/>
                      <a:pt x="8304" y="393"/>
                    </a:cubicBezTo>
                    <a:cubicBezTo>
                      <a:pt x="8303" y="396"/>
                      <a:pt x="8302" y="398"/>
                      <a:pt x="8301" y="400"/>
                    </a:cubicBezTo>
                    <a:cubicBezTo>
                      <a:pt x="8300" y="400"/>
                      <a:pt x="8300" y="401"/>
                      <a:pt x="8299" y="402"/>
                    </a:cubicBezTo>
                    <a:cubicBezTo>
                      <a:pt x="8589" y="649"/>
                      <a:pt x="8589" y="649"/>
                      <a:pt x="8589" y="649"/>
                    </a:cubicBezTo>
                    <a:cubicBezTo>
                      <a:pt x="8590" y="648"/>
                      <a:pt x="8592" y="647"/>
                      <a:pt x="8593" y="646"/>
                    </a:cubicBezTo>
                    <a:cubicBezTo>
                      <a:pt x="8611" y="633"/>
                      <a:pt x="8626" y="621"/>
                      <a:pt x="8640" y="610"/>
                    </a:cubicBezTo>
                    <a:cubicBezTo>
                      <a:pt x="8606" y="568"/>
                      <a:pt x="8576" y="524"/>
                      <a:pt x="8555" y="477"/>
                    </a:cubicBezTo>
                    <a:cubicBezTo>
                      <a:pt x="8531" y="423"/>
                      <a:pt x="8519" y="366"/>
                      <a:pt x="8512" y="310"/>
                    </a:cubicBezTo>
                    <a:cubicBezTo>
                      <a:pt x="8510" y="309"/>
                      <a:pt x="8509" y="308"/>
                      <a:pt x="8506" y="306"/>
                    </a:cubicBezTo>
                    <a:cubicBezTo>
                      <a:pt x="8479" y="288"/>
                      <a:pt x="8426" y="251"/>
                      <a:pt x="8369" y="211"/>
                    </a:cubicBezTo>
                    <a:close/>
                    <a:moveTo>
                      <a:pt x="8015" y="160"/>
                    </a:moveTo>
                    <a:cubicBezTo>
                      <a:pt x="8288" y="392"/>
                      <a:pt x="8288" y="392"/>
                      <a:pt x="8288" y="392"/>
                    </a:cubicBezTo>
                    <a:cubicBezTo>
                      <a:pt x="8288" y="392"/>
                      <a:pt x="8289" y="392"/>
                      <a:pt x="8290" y="392"/>
                    </a:cubicBezTo>
                    <a:cubicBezTo>
                      <a:pt x="8292" y="388"/>
                      <a:pt x="8297" y="375"/>
                      <a:pt x="8303" y="360"/>
                    </a:cubicBezTo>
                    <a:cubicBezTo>
                      <a:pt x="8313" y="332"/>
                      <a:pt x="8326" y="292"/>
                      <a:pt x="8338" y="259"/>
                    </a:cubicBezTo>
                    <a:cubicBezTo>
                      <a:pt x="8343" y="243"/>
                      <a:pt x="8348" y="228"/>
                      <a:pt x="8352" y="217"/>
                    </a:cubicBezTo>
                    <a:cubicBezTo>
                      <a:pt x="8354" y="211"/>
                      <a:pt x="8356" y="207"/>
                      <a:pt x="8357" y="204"/>
                    </a:cubicBezTo>
                    <a:cubicBezTo>
                      <a:pt x="8358" y="203"/>
                      <a:pt x="8358" y="203"/>
                      <a:pt x="8358" y="202"/>
                    </a:cubicBezTo>
                    <a:cubicBezTo>
                      <a:pt x="8265" y="136"/>
                      <a:pt x="8168" y="64"/>
                      <a:pt x="8158" y="57"/>
                    </a:cubicBezTo>
                    <a:cubicBezTo>
                      <a:pt x="8115" y="94"/>
                      <a:pt x="8068" y="129"/>
                      <a:pt x="8015" y="160"/>
                    </a:cubicBezTo>
                    <a:close/>
                    <a:moveTo>
                      <a:pt x="7519" y="360"/>
                    </a:moveTo>
                    <a:cubicBezTo>
                      <a:pt x="7616" y="557"/>
                      <a:pt x="7616" y="557"/>
                      <a:pt x="7616" y="557"/>
                    </a:cubicBezTo>
                    <a:cubicBezTo>
                      <a:pt x="7723" y="591"/>
                      <a:pt x="7832" y="646"/>
                      <a:pt x="7921" y="696"/>
                    </a:cubicBezTo>
                    <a:cubicBezTo>
                      <a:pt x="7990" y="735"/>
                      <a:pt x="8047" y="770"/>
                      <a:pt x="8077" y="790"/>
                    </a:cubicBezTo>
                    <a:cubicBezTo>
                      <a:pt x="8087" y="789"/>
                      <a:pt x="8101" y="787"/>
                      <a:pt x="8117" y="786"/>
                    </a:cubicBezTo>
                    <a:cubicBezTo>
                      <a:pt x="7675" y="317"/>
                      <a:pt x="7675" y="317"/>
                      <a:pt x="7675" y="317"/>
                    </a:cubicBezTo>
                    <a:cubicBezTo>
                      <a:pt x="7685" y="307"/>
                      <a:pt x="7685" y="307"/>
                      <a:pt x="7685" y="307"/>
                    </a:cubicBezTo>
                    <a:cubicBezTo>
                      <a:pt x="7900" y="535"/>
                      <a:pt x="7900" y="535"/>
                      <a:pt x="7900" y="535"/>
                    </a:cubicBezTo>
                    <a:cubicBezTo>
                      <a:pt x="7916" y="529"/>
                      <a:pt x="7992" y="500"/>
                      <a:pt x="8074" y="470"/>
                    </a:cubicBezTo>
                    <a:cubicBezTo>
                      <a:pt x="7959" y="353"/>
                      <a:pt x="7854" y="246"/>
                      <a:pt x="7854" y="246"/>
                    </a:cubicBezTo>
                    <a:cubicBezTo>
                      <a:pt x="7864" y="236"/>
                      <a:pt x="7864" y="236"/>
                      <a:pt x="7864" y="236"/>
                    </a:cubicBezTo>
                    <a:cubicBezTo>
                      <a:pt x="7864" y="236"/>
                      <a:pt x="7971" y="346"/>
                      <a:pt x="8088" y="465"/>
                    </a:cubicBezTo>
                    <a:cubicBezTo>
                      <a:pt x="8089" y="464"/>
                      <a:pt x="8089" y="464"/>
                      <a:pt x="8090" y="464"/>
                    </a:cubicBezTo>
                    <a:cubicBezTo>
                      <a:pt x="8139" y="446"/>
                      <a:pt x="8188" y="428"/>
                      <a:pt x="8225" y="414"/>
                    </a:cubicBezTo>
                    <a:cubicBezTo>
                      <a:pt x="8244" y="407"/>
                      <a:pt x="8259" y="402"/>
                      <a:pt x="8271" y="398"/>
                    </a:cubicBezTo>
                    <a:cubicBezTo>
                      <a:pt x="8271" y="398"/>
                      <a:pt x="8272" y="397"/>
                      <a:pt x="8272" y="397"/>
                    </a:cubicBezTo>
                    <a:cubicBezTo>
                      <a:pt x="8005" y="169"/>
                      <a:pt x="8005" y="169"/>
                      <a:pt x="8005" y="169"/>
                    </a:cubicBezTo>
                    <a:cubicBezTo>
                      <a:pt x="8010" y="163"/>
                      <a:pt x="8010" y="163"/>
                      <a:pt x="8010" y="163"/>
                    </a:cubicBezTo>
                    <a:cubicBezTo>
                      <a:pt x="7987" y="177"/>
                      <a:pt x="7964" y="189"/>
                      <a:pt x="7939" y="201"/>
                    </a:cubicBezTo>
                    <a:cubicBezTo>
                      <a:pt x="7792" y="270"/>
                      <a:pt x="7646" y="322"/>
                      <a:pt x="7519" y="360"/>
                    </a:cubicBezTo>
                    <a:close/>
                    <a:moveTo>
                      <a:pt x="7144" y="452"/>
                    </a:moveTo>
                    <a:cubicBezTo>
                      <a:pt x="7144" y="462"/>
                      <a:pt x="7146" y="482"/>
                      <a:pt x="7149" y="500"/>
                    </a:cubicBezTo>
                    <a:cubicBezTo>
                      <a:pt x="7170" y="499"/>
                      <a:pt x="7193" y="498"/>
                      <a:pt x="7215" y="498"/>
                    </a:cubicBezTo>
                    <a:cubicBezTo>
                      <a:pt x="7321" y="498"/>
                      <a:pt x="7438" y="510"/>
                      <a:pt x="7563" y="542"/>
                    </a:cubicBezTo>
                    <a:cubicBezTo>
                      <a:pt x="7575" y="544"/>
                      <a:pt x="7587" y="548"/>
                      <a:pt x="7598" y="551"/>
                    </a:cubicBezTo>
                    <a:cubicBezTo>
                      <a:pt x="7506" y="364"/>
                      <a:pt x="7506" y="364"/>
                      <a:pt x="7506" y="364"/>
                    </a:cubicBezTo>
                    <a:cubicBezTo>
                      <a:pt x="7466" y="376"/>
                      <a:pt x="7427" y="386"/>
                      <a:pt x="7392" y="396"/>
                    </a:cubicBezTo>
                    <a:cubicBezTo>
                      <a:pt x="7317" y="415"/>
                      <a:pt x="7255" y="428"/>
                      <a:pt x="7211" y="437"/>
                    </a:cubicBezTo>
                    <a:cubicBezTo>
                      <a:pt x="7189" y="442"/>
                      <a:pt x="7171" y="445"/>
                      <a:pt x="7159" y="447"/>
                    </a:cubicBezTo>
                    <a:cubicBezTo>
                      <a:pt x="7153" y="448"/>
                      <a:pt x="7148" y="449"/>
                      <a:pt x="7145" y="450"/>
                    </a:cubicBezTo>
                    <a:cubicBezTo>
                      <a:pt x="7144" y="450"/>
                      <a:pt x="7144" y="450"/>
                      <a:pt x="7144" y="450"/>
                    </a:cubicBezTo>
                    <a:cubicBezTo>
                      <a:pt x="7144" y="451"/>
                      <a:pt x="7144" y="451"/>
                      <a:pt x="7144" y="452"/>
                    </a:cubicBezTo>
                    <a:close/>
                    <a:moveTo>
                      <a:pt x="7003" y="777"/>
                    </a:moveTo>
                    <a:cubicBezTo>
                      <a:pt x="7019" y="780"/>
                      <a:pt x="7019" y="780"/>
                      <a:pt x="7019" y="780"/>
                    </a:cubicBezTo>
                    <a:cubicBezTo>
                      <a:pt x="7058" y="664"/>
                      <a:pt x="7058" y="664"/>
                      <a:pt x="7058" y="664"/>
                    </a:cubicBezTo>
                    <a:cubicBezTo>
                      <a:pt x="7207" y="715"/>
                      <a:pt x="7207" y="715"/>
                      <a:pt x="7207" y="715"/>
                    </a:cubicBezTo>
                    <a:cubicBezTo>
                      <a:pt x="7175" y="810"/>
                      <a:pt x="7175" y="810"/>
                      <a:pt x="7175" y="810"/>
                    </a:cubicBezTo>
                    <a:cubicBezTo>
                      <a:pt x="7412" y="856"/>
                      <a:pt x="7412" y="856"/>
                      <a:pt x="7412" y="856"/>
                    </a:cubicBezTo>
                    <a:cubicBezTo>
                      <a:pt x="7470" y="677"/>
                      <a:pt x="7470" y="677"/>
                      <a:pt x="7470" y="677"/>
                    </a:cubicBezTo>
                    <a:cubicBezTo>
                      <a:pt x="7378" y="659"/>
                      <a:pt x="7293" y="651"/>
                      <a:pt x="7215" y="651"/>
                    </a:cubicBezTo>
                    <a:cubicBezTo>
                      <a:pt x="7153" y="651"/>
                      <a:pt x="7095" y="656"/>
                      <a:pt x="7041" y="663"/>
                    </a:cubicBezTo>
                    <a:cubicBezTo>
                      <a:pt x="7033" y="688"/>
                      <a:pt x="7020" y="727"/>
                      <a:pt x="7003" y="777"/>
                    </a:cubicBezTo>
                    <a:close/>
                    <a:moveTo>
                      <a:pt x="6949" y="937"/>
                    </a:moveTo>
                    <a:cubicBezTo>
                      <a:pt x="6953" y="938"/>
                      <a:pt x="6959" y="939"/>
                      <a:pt x="6964" y="940"/>
                    </a:cubicBezTo>
                    <a:cubicBezTo>
                      <a:pt x="7014" y="794"/>
                      <a:pt x="7014" y="794"/>
                      <a:pt x="7014" y="794"/>
                    </a:cubicBezTo>
                    <a:cubicBezTo>
                      <a:pt x="6998" y="791"/>
                      <a:pt x="6998" y="791"/>
                      <a:pt x="6998" y="791"/>
                    </a:cubicBezTo>
                    <a:cubicBezTo>
                      <a:pt x="6984" y="833"/>
                      <a:pt x="6967" y="882"/>
                      <a:pt x="6949" y="937"/>
                    </a:cubicBezTo>
                    <a:close/>
                    <a:moveTo>
                      <a:pt x="6036" y="2791"/>
                    </a:moveTo>
                    <a:cubicBezTo>
                      <a:pt x="6161" y="2785"/>
                      <a:pt x="6241" y="2784"/>
                      <a:pt x="6253" y="2783"/>
                    </a:cubicBezTo>
                    <a:cubicBezTo>
                      <a:pt x="6258" y="2770"/>
                      <a:pt x="6263" y="2754"/>
                      <a:pt x="6270" y="2735"/>
                    </a:cubicBezTo>
                    <a:cubicBezTo>
                      <a:pt x="6341" y="2523"/>
                      <a:pt x="6521" y="1994"/>
                      <a:pt x="6683" y="1517"/>
                    </a:cubicBezTo>
                    <a:cubicBezTo>
                      <a:pt x="6764" y="1279"/>
                      <a:pt x="6840" y="1053"/>
                      <a:pt x="6896" y="888"/>
                    </a:cubicBezTo>
                    <a:cubicBezTo>
                      <a:pt x="6924" y="805"/>
                      <a:pt x="6947" y="736"/>
                      <a:pt x="6963" y="689"/>
                    </a:cubicBezTo>
                    <a:cubicBezTo>
                      <a:pt x="6964" y="685"/>
                      <a:pt x="6965" y="682"/>
                      <a:pt x="6967" y="679"/>
                    </a:cubicBezTo>
                    <a:cubicBezTo>
                      <a:pt x="6925" y="691"/>
                      <a:pt x="6894" y="711"/>
                      <a:pt x="6874" y="729"/>
                    </a:cubicBezTo>
                    <a:cubicBezTo>
                      <a:pt x="6861" y="740"/>
                      <a:pt x="6851" y="751"/>
                      <a:pt x="6846" y="758"/>
                    </a:cubicBezTo>
                    <a:cubicBezTo>
                      <a:pt x="6843" y="761"/>
                      <a:pt x="6841" y="764"/>
                      <a:pt x="6840" y="765"/>
                    </a:cubicBezTo>
                    <a:cubicBezTo>
                      <a:pt x="6840" y="765"/>
                      <a:pt x="6840" y="765"/>
                      <a:pt x="6840" y="766"/>
                    </a:cubicBezTo>
                    <a:cubicBezTo>
                      <a:pt x="6821" y="801"/>
                      <a:pt x="6802" y="839"/>
                      <a:pt x="6788" y="869"/>
                    </a:cubicBezTo>
                    <a:cubicBezTo>
                      <a:pt x="6773" y="899"/>
                      <a:pt x="6764" y="920"/>
                      <a:pt x="6764" y="920"/>
                    </a:cubicBezTo>
                    <a:cubicBezTo>
                      <a:pt x="6757" y="936"/>
                      <a:pt x="6757" y="936"/>
                      <a:pt x="6757" y="936"/>
                    </a:cubicBezTo>
                    <a:cubicBezTo>
                      <a:pt x="6742" y="948"/>
                      <a:pt x="6742" y="948"/>
                      <a:pt x="6742" y="948"/>
                    </a:cubicBezTo>
                    <a:cubicBezTo>
                      <a:pt x="6721" y="965"/>
                      <a:pt x="6699" y="972"/>
                      <a:pt x="6679" y="976"/>
                    </a:cubicBezTo>
                    <a:lnTo>
                      <a:pt x="6036" y="2791"/>
                    </a:lnTo>
                    <a:close/>
                    <a:moveTo>
                      <a:pt x="6509" y="976"/>
                    </a:moveTo>
                    <a:cubicBezTo>
                      <a:pt x="6503" y="993"/>
                      <a:pt x="6497" y="1010"/>
                      <a:pt x="6488" y="1027"/>
                    </a:cubicBezTo>
                    <a:cubicBezTo>
                      <a:pt x="6466" y="1072"/>
                      <a:pt x="6433" y="1118"/>
                      <a:pt x="6378" y="1142"/>
                    </a:cubicBezTo>
                    <a:cubicBezTo>
                      <a:pt x="6348" y="1155"/>
                      <a:pt x="6320" y="1159"/>
                      <a:pt x="6286" y="1162"/>
                    </a:cubicBezTo>
                    <a:cubicBezTo>
                      <a:pt x="6253" y="1166"/>
                      <a:pt x="6214" y="1167"/>
                      <a:pt x="6171" y="1167"/>
                    </a:cubicBezTo>
                    <a:cubicBezTo>
                      <a:pt x="6105" y="1167"/>
                      <a:pt x="6027" y="1164"/>
                      <a:pt x="5944" y="1159"/>
                    </a:cubicBezTo>
                    <a:cubicBezTo>
                      <a:pt x="5939" y="1176"/>
                      <a:pt x="5930" y="1211"/>
                      <a:pt x="5919" y="1256"/>
                    </a:cubicBezTo>
                    <a:cubicBezTo>
                      <a:pt x="5913" y="1278"/>
                      <a:pt x="5907" y="1304"/>
                      <a:pt x="5900" y="1330"/>
                    </a:cubicBezTo>
                    <a:cubicBezTo>
                      <a:pt x="6250" y="1335"/>
                      <a:pt x="6250" y="1335"/>
                      <a:pt x="6250" y="1335"/>
                    </a:cubicBezTo>
                    <a:cubicBezTo>
                      <a:pt x="6304" y="1184"/>
                      <a:pt x="6304" y="1184"/>
                      <a:pt x="6304" y="1184"/>
                    </a:cubicBezTo>
                    <a:cubicBezTo>
                      <a:pt x="6446" y="1238"/>
                      <a:pt x="6446" y="1238"/>
                      <a:pt x="6446" y="1238"/>
                    </a:cubicBezTo>
                    <a:cubicBezTo>
                      <a:pt x="6411" y="1337"/>
                      <a:pt x="6411" y="1337"/>
                      <a:pt x="6411" y="1337"/>
                    </a:cubicBezTo>
                    <a:cubicBezTo>
                      <a:pt x="6481" y="1338"/>
                      <a:pt x="6481" y="1338"/>
                      <a:pt x="6481" y="1338"/>
                    </a:cubicBezTo>
                    <a:cubicBezTo>
                      <a:pt x="6607" y="981"/>
                      <a:pt x="6607" y="981"/>
                      <a:pt x="6607" y="981"/>
                    </a:cubicBezTo>
                    <a:cubicBezTo>
                      <a:pt x="6599" y="981"/>
                      <a:pt x="6590" y="981"/>
                      <a:pt x="6582" y="981"/>
                    </a:cubicBezTo>
                    <a:cubicBezTo>
                      <a:pt x="6576" y="980"/>
                      <a:pt x="6550" y="979"/>
                      <a:pt x="6509" y="976"/>
                    </a:cubicBezTo>
                    <a:close/>
                    <a:moveTo>
                      <a:pt x="6363" y="965"/>
                    </a:moveTo>
                    <a:cubicBezTo>
                      <a:pt x="6348" y="995"/>
                      <a:pt x="6334" y="1009"/>
                      <a:pt x="6321" y="1015"/>
                    </a:cubicBezTo>
                    <a:cubicBezTo>
                      <a:pt x="6319" y="1016"/>
                      <a:pt x="6318" y="1016"/>
                      <a:pt x="6316" y="1017"/>
                    </a:cubicBezTo>
                    <a:cubicBezTo>
                      <a:pt x="6308" y="1019"/>
                      <a:pt x="6293" y="1022"/>
                      <a:pt x="6273" y="1024"/>
                    </a:cubicBezTo>
                    <a:cubicBezTo>
                      <a:pt x="6246" y="1026"/>
                      <a:pt x="6211" y="1028"/>
                      <a:pt x="6171" y="1028"/>
                    </a:cubicBezTo>
                    <a:cubicBezTo>
                      <a:pt x="6171" y="1028"/>
                      <a:pt x="6170" y="1028"/>
                      <a:pt x="6170" y="1028"/>
                    </a:cubicBezTo>
                    <a:cubicBezTo>
                      <a:pt x="5900" y="1028"/>
                      <a:pt x="5402" y="972"/>
                      <a:pt x="5155" y="961"/>
                    </a:cubicBezTo>
                    <a:cubicBezTo>
                      <a:pt x="5076" y="957"/>
                      <a:pt x="4976" y="954"/>
                      <a:pt x="4865" y="954"/>
                    </a:cubicBezTo>
                    <a:cubicBezTo>
                      <a:pt x="4812" y="954"/>
                      <a:pt x="4755" y="955"/>
                      <a:pt x="4697" y="957"/>
                    </a:cubicBezTo>
                    <a:cubicBezTo>
                      <a:pt x="4601" y="973"/>
                      <a:pt x="4507" y="986"/>
                      <a:pt x="4437" y="992"/>
                    </a:cubicBezTo>
                    <a:cubicBezTo>
                      <a:pt x="4405" y="994"/>
                      <a:pt x="4374" y="995"/>
                      <a:pt x="4345" y="995"/>
                    </a:cubicBezTo>
                    <a:cubicBezTo>
                      <a:pt x="4322" y="995"/>
                      <a:pt x="4301" y="995"/>
                      <a:pt x="4280" y="994"/>
                    </a:cubicBezTo>
                    <a:cubicBezTo>
                      <a:pt x="4114" y="1019"/>
                      <a:pt x="3951" y="1061"/>
                      <a:pt x="3810" y="1126"/>
                    </a:cubicBezTo>
                    <a:cubicBezTo>
                      <a:pt x="3857" y="1240"/>
                      <a:pt x="3857" y="1240"/>
                      <a:pt x="3857" y="1240"/>
                    </a:cubicBezTo>
                    <a:cubicBezTo>
                      <a:pt x="3990" y="1177"/>
                      <a:pt x="4152" y="1137"/>
                      <a:pt x="4319" y="1112"/>
                    </a:cubicBezTo>
                    <a:cubicBezTo>
                      <a:pt x="4318" y="1106"/>
                      <a:pt x="4318" y="1106"/>
                      <a:pt x="4318" y="1106"/>
                    </a:cubicBezTo>
                    <a:cubicBezTo>
                      <a:pt x="4331" y="1102"/>
                      <a:pt x="4331" y="1102"/>
                      <a:pt x="4331" y="1102"/>
                    </a:cubicBezTo>
                    <a:cubicBezTo>
                      <a:pt x="4333" y="1110"/>
                      <a:pt x="4333" y="1110"/>
                      <a:pt x="4333" y="1110"/>
                    </a:cubicBezTo>
                    <a:cubicBezTo>
                      <a:pt x="4413" y="1099"/>
                      <a:pt x="4494" y="1091"/>
                      <a:pt x="4574" y="1086"/>
                    </a:cubicBezTo>
                    <a:cubicBezTo>
                      <a:pt x="4574" y="1084"/>
                      <a:pt x="4574" y="1082"/>
                      <a:pt x="4574" y="1082"/>
                    </a:cubicBezTo>
                    <a:cubicBezTo>
                      <a:pt x="4588" y="1082"/>
                      <a:pt x="4588" y="1082"/>
                      <a:pt x="4588" y="1082"/>
                    </a:cubicBezTo>
                    <a:cubicBezTo>
                      <a:pt x="4588" y="1082"/>
                      <a:pt x="4588" y="1084"/>
                      <a:pt x="4588" y="1085"/>
                    </a:cubicBezTo>
                    <a:cubicBezTo>
                      <a:pt x="4643" y="1081"/>
                      <a:pt x="4698" y="1079"/>
                      <a:pt x="4751" y="1078"/>
                    </a:cubicBezTo>
                    <a:cubicBezTo>
                      <a:pt x="4750" y="1073"/>
                      <a:pt x="4750" y="1073"/>
                      <a:pt x="4750" y="1073"/>
                    </a:cubicBezTo>
                    <a:cubicBezTo>
                      <a:pt x="4764" y="1071"/>
                      <a:pt x="4764" y="1071"/>
                      <a:pt x="4764" y="1071"/>
                    </a:cubicBezTo>
                    <a:cubicBezTo>
                      <a:pt x="4765" y="1078"/>
                      <a:pt x="4765" y="1078"/>
                      <a:pt x="4765" y="1078"/>
                    </a:cubicBezTo>
                    <a:cubicBezTo>
                      <a:pt x="4796" y="1077"/>
                      <a:pt x="4826" y="1077"/>
                      <a:pt x="4855" y="1077"/>
                    </a:cubicBezTo>
                    <a:cubicBezTo>
                      <a:pt x="4858" y="1077"/>
                      <a:pt x="4862" y="1077"/>
                      <a:pt x="4865" y="1077"/>
                    </a:cubicBezTo>
                    <a:cubicBezTo>
                      <a:pt x="4941" y="1077"/>
                      <a:pt x="5011" y="1078"/>
                      <a:pt x="5073" y="1080"/>
                    </a:cubicBezTo>
                    <a:cubicBezTo>
                      <a:pt x="5073" y="1073"/>
                      <a:pt x="5073" y="1073"/>
                      <a:pt x="5073" y="1073"/>
                    </a:cubicBezTo>
                    <a:cubicBezTo>
                      <a:pt x="5087" y="1074"/>
                      <a:pt x="5087" y="1074"/>
                      <a:pt x="5087" y="1074"/>
                    </a:cubicBezTo>
                    <a:cubicBezTo>
                      <a:pt x="5087" y="1081"/>
                      <a:pt x="5087" y="1081"/>
                      <a:pt x="5087" y="1081"/>
                    </a:cubicBezTo>
                    <a:cubicBezTo>
                      <a:pt x="5109" y="1082"/>
                      <a:pt x="5130" y="1083"/>
                      <a:pt x="5150" y="1083"/>
                    </a:cubicBezTo>
                    <a:cubicBezTo>
                      <a:pt x="5331" y="1092"/>
                      <a:pt x="5662" y="1126"/>
                      <a:pt x="5934" y="1142"/>
                    </a:cubicBezTo>
                    <a:cubicBezTo>
                      <a:pt x="5934" y="1142"/>
                      <a:pt x="5935" y="1141"/>
                      <a:pt x="5937" y="1139"/>
                    </a:cubicBezTo>
                    <a:cubicBezTo>
                      <a:pt x="5939" y="1142"/>
                      <a:pt x="5939" y="1142"/>
                      <a:pt x="5939" y="1142"/>
                    </a:cubicBezTo>
                    <a:cubicBezTo>
                      <a:pt x="6024" y="1147"/>
                      <a:pt x="6104" y="1151"/>
                      <a:pt x="6171" y="1151"/>
                    </a:cubicBezTo>
                    <a:cubicBezTo>
                      <a:pt x="6214" y="1151"/>
                      <a:pt x="6252" y="1149"/>
                      <a:pt x="6285" y="1146"/>
                    </a:cubicBezTo>
                    <a:cubicBezTo>
                      <a:pt x="6318" y="1143"/>
                      <a:pt x="6344" y="1139"/>
                      <a:pt x="6371" y="1127"/>
                    </a:cubicBezTo>
                    <a:cubicBezTo>
                      <a:pt x="6421" y="1105"/>
                      <a:pt x="6453" y="1063"/>
                      <a:pt x="6474" y="1019"/>
                    </a:cubicBezTo>
                    <a:cubicBezTo>
                      <a:pt x="6481" y="1005"/>
                      <a:pt x="6487" y="990"/>
                      <a:pt x="6493" y="975"/>
                    </a:cubicBezTo>
                    <a:cubicBezTo>
                      <a:pt x="6457" y="972"/>
                      <a:pt x="6414" y="969"/>
                      <a:pt x="6363" y="965"/>
                    </a:cubicBezTo>
                    <a:close/>
                    <a:moveTo>
                      <a:pt x="5119" y="877"/>
                    </a:moveTo>
                    <a:cubicBezTo>
                      <a:pt x="5081" y="884"/>
                      <a:pt x="4951" y="911"/>
                      <a:pt x="4806" y="938"/>
                    </a:cubicBezTo>
                    <a:cubicBezTo>
                      <a:pt x="4826" y="937"/>
                      <a:pt x="4846" y="937"/>
                      <a:pt x="4865" y="937"/>
                    </a:cubicBezTo>
                    <a:cubicBezTo>
                      <a:pt x="4976" y="937"/>
                      <a:pt x="5076" y="941"/>
                      <a:pt x="5156" y="944"/>
                    </a:cubicBezTo>
                    <a:cubicBezTo>
                      <a:pt x="5404" y="955"/>
                      <a:pt x="5902" y="1011"/>
                      <a:pt x="6170" y="1011"/>
                    </a:cubicBezTo>
                    <a:cubicBezTo>
                      <a:pt x="6171" y="1011"/>
                      <a:pt x="6171" y="1011"/>
                      <a:pt x="6171" y="1011"/>
                    </a:cubicBezTo>
                    <a:cubicBezTo>
                      <a:pt x="6211" y="1011"/>
                      <a:pt x="6245" y="1010"/>
                      <a:pt x="6271" y="1007"/>
                    </a:cubicBezTo>
                    <a:cubicBezTo>
                      <a:pt x="6284" y="1006"/>
                      <a:pt x="6295" y="1005"/>
                      <a:pt x="6303" y="1003"/>
                    </a:cubicBezTo>
                    <a:cubicBezTo>
                      <a:pt x="6306" y="1002"/>
                      <a:pt x="6310" y="1001"/>
                      <a:pt x="6312" y="1001"/>
                    </a:cubicBezTo>
                    <a:cubicBezTo>
                      <a:pt x="6313" y="1001"/>
                      <a:pt x="6313" y="1000"/>
                      <a:pt x="6314" y="1000"/>
                    </a:cubicBezTo>
                    <a:cubicBezTo>
                      <a:pt x="6314" y="1000"/>
                      <a:pt x="6314" y="1000"/>
                      <a:pt x="6314" y="1000"/>
                    </a:cubicBezTo>
                    <a:cubicBezTo>
                      <a:pt x="6315" y="1000"/>
                      <a:pt x="6315" y="1000"/>
                      <a:pt x="6315" y="1000"/>
                    </a:cubicBezTo>
                    <a:cubicBezTo>
                      <a:pt x="6322" y="997"/>
                      <a:pt x="6333" y="987"/>
                      <a:pt x="6345" y="964"/>
                    </a:cubicBezTo>
                    <a:cubicBezTo>
                      <a:pt x="5956" y="937"/>
                      <a:pt x="5216" y="884"/>
                      <a:pt x="5119" y="877"/>
                    </a:cubicBezTo>
                    <a:close/>
                    <a:moveTo>
                      <a:pt x="5387" y="551"/>
                    </a:moveTo>
                    <a:cubicBezTo>
                      <a:pt x="5312" y="545"/>
                      <a:pt x="5312" y="545"/>
                      <a:pt x="5312" y="545"/>
                    </a:cubicBezTo>
                    <a:cubicBezTo>
                      <a:pt x="5303" y="674"/>
                      <a:pt x="5303" y="674"/>
                      <a:pt x="5303" y="674"/>
                    </a:cubicBezTo>
                    <a:cubicBezTo>
                      <a:pt x="5386" y="681"/>
                      <a:pt x="5386" y="681"/>
                      <a:pt x="5386" y="681"/>
                    </a:cubicBezTo>
                    <a:lnTo>
                      <a:pt x="5387" y="551"/>
                    </a:lnTo>
                    <a:close/>
                    <a:moveTo>
                      <a:pt x="6172" y="762"/>
                    </a:moveTo>
                    <a:cubicBezTo>
                      <a:pt x="6169" y="799"/>
                      <a:pt x="6169" y="799"/>
                      <a:pt x="6169" y="799"/>
                    </a:cubicBezTo>
                    <a:cubicBezTo>
                      <a:pt x="6215" y="802"/>
                      <a:pt x="6259" y="805"/>
                      <a:pt x="6300" y="808"/>
                    </a:cubicBezTo>
                    <a:cubicBezTo>
                      <a:pt x="6302" y="801"/>
                      <a:pt x="6302" y="801"/>
                      <a:pt x="6302" y="801"/>
                    </a:cubicBezTo>
                    <a:cubicBezTo>
                      <a:pt x="6301" y="806"/>
                      <a:pt x="6301" y="806"/>
                      <a:pt x="6301" y="806"/>
                    </a:cubicBezTo>
                    <a:cubicBezTo>
                      <a:pt x="6301" y="806"/>
                      <a:pt x="6301" y="806"/>
                      <a:pt x="6301" y="806"/>
                    </a:cubicBezTo>
                    <a:cubicBezTo>
                      <a:pt x="6297" y="802"/>
                      <a:pt x="6297" y="802"/>
                      <a:pt x="6297" y="802"/>
                    </a:cubicBezTo>
                    <a:cubicBezTo>
                      <a:pt x="6298" y="802"/>
                      <a:pt x="6298" y="802"/>
                      <a:pt x="6298" y="802"/>
                    </a:cubicBezTo>
                    <a:cubicBezTo>
                      <a:pt x="6297" y="802"/>
                      <a:pt x="6297" y="802"/>
                      <a:pt x="6297" y="802"/>
                    </a:cubicBezTo>
                    <a:cubicBezTo>
                      <a:pt x="6301" y="795"/>
                      <a:pt x="6309" y="747"/>
                      <a:pt x="6313" y="703"/>
                    </a:cubicBezTo>
                    <a:cubicBezTo>
                      <a:pt x="6317" y="667"/>
                      <a:pt x="6320" y="633"/>
                      <a:pt x="6321" y="621"/>
                    </a:cubicBezTo>
                    <a:cubicBezTo>
                      <a:pt x="6192" y="551"/>
                      <a:pt x="6192" y="551"/>
                      <a:pt x="6192" y="551"/>
                    </a:cubicBezTo>
                    <a:cubicBezTo>
                      <a:pt x="6187" y="605"/>
                      <a:pt x="6187" y="605"/>
                      <a:pt x="6187" y="605"/>
                    </a:cubicBezTo>
                    <a:cubicBezTo>
                      <a:pt x="6257" y="611"/>
                      <a:pt x="6257" y="611"/>
                      <a:pt x="6257" y="611"/>
                    </a:cubicBezTo>
                    <a:cubicBezTo>
                      <a:pt x="6247" y="768"/>
                      <a:pt x="6247" y="768"/>
                      <a:pt x="6247" y="768"/>
                    </a:cubicBezTo>
                    <a:cubicBezTo>
                      <a:pt x="6240" y="768"/>
                      <a:pt x="6240" y="768"/>
                      <a:pt x="6240" y="768"/>
                    </a:cubicBezTo>
                    <a:lnTo>
                      <a:pt x="6172" y="762"/>
                    </a:lnTo>
                    <a:close/>
                    <a:moveTo>
                      <a:pt x="6235" y="754"/>
                    </a:moveTo>
                    <a:cubicBezTo>
                      <a:pt x="6244" y="623"/>
                      <a:pt x="6244" y="623"/>
                      <a:pt x="6244" y="623"/>
                    </a:cubicBezTo>
                    <a:cubicBezTo>
                      <a:pt x="6186" y="618"/>
                      <a:pt x="6186" y="618"/>
                      <a:pt x="6186" y="618"/>
                    </a:cubicBezTo>
                    <a:cubicBezTo>
                      <a:pt x="6173" y="749"/>
                      <a:pt x="6173" y="749"/>
                      <a:pt x="6173" y="749"/>
                    </a:cubicBezTo>
                    <a:lnTo>
                      <a:pt x="6235" y="754"/>
                    </a:lnTo>
                    <a:close/>
                    <a:moveTo>
                      <a:pt x="6172" y="617"/>
                    </a:moveTo>
                    <a:cubicBezTo>
                      <a:pt x="5934" y="597"/>
                      <a:pt x="5934" y="597"/>
                      <a:pt x="5934" y="597"/>
                    </a:cubicBezTo>
                    <a:cubicBezTo>
                      <a:pt x="5944" y="639"/>
                      <a:pt x="5957" y="690"/>
                      <a:pt x="5966" y="731"/>
                    </a:cubicBezTo>
                    <a:cubicBezTo>
                      <a:pt x="6159" y="748"/>
                      <a:pt x="6159" y="748"/>
                      <a:pt x="6159" y="748"/>
                    </a:cubicBezTo>
                    <a:lnTo>
                      <a:pt x="6172" y="617"/>
                    </a:lnTo>
                    <a:close/>
                    <a:moveTo>
                      <a:pt x="5968" y="744"/>
                    </a:moveTo>
                    <a:cubicBezTo>
                      <a:pt x="5972" y="762"/>
                      <a:pt x="5974" y="776"/>
                      <a:pt x="5975" y="785"/>
                    </a:cubicBezTo>
                    <a:cubicBezTo>
                      <a:pt x="6037" y="789"/>
                      <a:pt x="6097" y="794"/>
                      <a:pt x="6155" y="798"/>
                    </a:cubicBezTo>
                    <a:cubicBezTo>
                      <a:pt x="6158" y="761"/>
                      <a:pt x="6158" y="761"/>
                      <a:pt x="6158" y="761"/>
                    </a:cubicBezTo>
                    <a:lnTo>
                      <a:pt x="5968" y="744"/>
                    </a:lnTo>
                    <a:close/>
                    <a:moveTo>
                      <a:pt x="5954" y="743"/>
                    </a:moveTo>
                    <a:cubicBezTo>
                      <a:pt x="5826" y="732"/>
                      <a:pt x="5826" y="732"/>
                      <a:pt x="5826" y="732"/>
                    </a:cubicBezTo>
                    <a:cubicBezTo>
                      <a:pt x="5831" y="775"/>
                      <a:pt x="5831" y="775"/>
                      <a:pt x="5831" y="775"/>
                    </a:cubicBezTo>
                    <a:cubicBezTo>
                      <a:pt x="5833" y="775"/>
                      <a:pt x="5836" y="775"/>
                      <a:pt x="5838" y="775"/>
                    </a:cubicBezTo>
                    <a:cubicBezTo>
                      <a:pt x="5879" y="778"/>
                      <a:pt x="5920" y="781"/>
                      <a:pt x="5961" y="784"/>
                    </a:cubicBezTo>
                    <a:cubicBezTo>
                      <a:pt x="5960" y="775"/>
                      <a:pt x="5957" y="761"/>
                      <a:pt x="5954" y="743"/>
                    </a:cubicBezTo>
                    <a:close/>
                    <a:moveTo>
                      <a:pt x="5932" y="648"/>
                    </a:moveTo>
                    <a:cubicBezTo>
                      <a:pt x="5928" y="630"/>
                      <a:pt x="5923" y="612"/>
                      <a:pt x="5919" y="596"/>
                    </a:cubicBezTo>
                    <a:cubicBezTo>
                      <a:pt x="5809" y="586"/>
                      <a:pt x="5809" y="586"/>
                      <a:pt x="5809" y="586"/>
                    </a:cubicBezTo>
                    <a:cubicBezTo>
                      <a:pt x="5825" y="719"/>
                      <a:pt x="5825" y="719"/>
                      <a:pt x="5825" y="719"/>
                    </a:cubicBezTo>
                    <a:cubicBezTo>
                      <a:pt x="5951" y="730"/>
                      <a:pt x="5951" y="730"/>
                      <a:pt x="5951" y="730"/>
                    </a:cubicBezTo>
                    <a:cubicBezTo>
                      <a:pt x="5946" y="705"/>
                      <a:pt x="5939" y="676"/>
                      <a:pt x="5932" y="648"/>
                    </a:cubicBezTo>
                    <a:close/>
                    <a:moveTo>
                      <a:pt x="5812" y="731"/>
                    </a:moveTo>
                    <a:cubicBezTo>
                      <a:pt x="5605" y="713"/>
                      <a:pt x="5605" y="713"/>
                      <a:pt x="5605" y="713"/>
                    </a:cubicBezTo>
                    <a:cubicBezTo>
                      <a:pt x="5605" y="759"/>
                      <a:pt x="5605" y="759"/>
                      <a:pt x="5605" y="759"/>
                    </a:cubicBezTo>
                    <a:cubicBezTo>
                      <a:pt x="5673" y="763"/>
                      <a:pt x="5745" y="769"/>
                      <a:pt x="5817" y="774"/>
                    </a:cubicBezTo>
                    <a:lnTo>
                      <a:pt x="5812" y="731"/>
                    </a:lnTo>
                    <a:close/>
                    <a:moveTo>
                      <a:pt x="5795" y="585"/>
                    </a:moveTo>
                    <a:cubicBezTo>
                      <a:pt x="5603" y="569"/>
                      <a:pt x="5603" y="569"/>
                      <a:pt x="5603" y="569"/>
                    </a:cubicBezTo>
                    <a:cubicBezTo>
                      <a:pt x="5604" y="700"/>
                      <a:pt x="5604" y="700"/>
                      <a:pt x="5604" y="700"/>
                    </a:cubicBezTo>
                    <a:cubicBezTo>
                      <a:pt x="5810" y="718"/>
                      <a:pt x="5810" y="718"/>
                      <a:pt x="5810" y="718"/>
                    </a:cubicBezTo>
                    <a:lnTo>
                      <a:pt x="5795" y="585"/>
                    </a:lnTo>
                    <a:close/>
                    <a:moveTo>
                      <a:pt x="4820" y="780"/>
                    </a:moveTo>
                    <a:cubicBezTo>
                      <a:pt x="4818" y="766"/>
                      <a:pt x="4814" y="738"/>
                      <a:pt x="4808" y="702"/>
                    </a:cubicBezTo>
                    <a:cubicBezTo>
                      <a:pt x="4703" y="717"/>
                      <a:pt x="4703" y="717"/>
                      <a:pt x="4703" y="717"/>
                    </a:cubicBezTo>
                    <a:cubicBezTo>
                      <a:pt x="4717" y="799"/>
                      <a:pt x="4717" y="799"/>
                      <a:pt x="4717" y="799"/>
                    </a:cubicBezTo>
                    <a:cubicBezTo>
                      <a:pt x="4752" y="793"/>
                      <a:pt x="4786" y="786"/>
                      <a:pt x="4820" y="780"/>
                    </a:cubicBezTo>
                    <a:close/>
                    <a:moveTo>
                      <a:pt x="4834" y="777"/>
                    </a:moveTo>
                    <a:cubicBezTo>
                      <a:pt x="4835" y="777"/>
                      <a:pt x="4836" y="777"/>
                      <a:pt x="4837" y="777"/>
                    </a:cubicBezTo>
                    <a:cubicBezTo>
                      <a:pt x="4877" y="769"/>
                      <a:pt x="4915" y="762"/>
                      <a:pt x="4949" y="755"/>
                    </a:cubicBezTo>
                    <a:cubicBezTo>
                      <a:pt x="4938" y="684"/>
                      <a:pt x="4938" y="684"/>
                      <a:pt x="4938" y="684"/>
                    </a:cubicBezTo>
                    <a:cubicBezTo>
                      <a:pt x="4822" y="700"/>
                      <a:pt x="4822" y="700"/>
                      <a:pt x="4822" y="700"/>
                    </a:cubicBezTo>
                    <a:cubicBezTo>
                      <a:pt x="4828" y="736"/>
                      <a:pt x="4832" y="763"/>
                      <a:pt x="4834" y="777"/>
                    </a:cubicBezTo>
                    <a:close/>
                    <a:moveTo>
                      <a:pt x="4949" y="669"/>
                    </a:moveTo>
                    <a:cubicBezTo>
                      <a:pt x="5055" y="654"/>
                      <a:pt x="5055" y="654"/>
                      <a:pt x="5055" y="654"/>
                    </a:cubicBezTo>
                    <a:cubicBezTo>
                      <a:pt x="5034" y="524"/>
                      <a:pt x="5034" y="524"/>
                      <a:pt x="5034" y="524"/>
                    </a:cubicBezTo>
                    <a:cubicBezTo>
                      <a:pt x="4928" y="539"/>
                      <a:pt x="4928" y="539"/>
                      <a:pt x="4928" y="539"/>
                    </a:cubicBezTo>
                    <a:lnTo>
                      <a:pt x="4949" y="669"/>
                    </a:lnTo>
                    <a:close/>
                    <a:moveTo>
                      <a:pt x="4914" y="541"/>
                    </a:moveTo>
                    <a:cubicBezTo>
                      <a:pt x="4801" y="558"/>
                      <a:pt x="4801" y="558"/>
                      <a:pt x="4801" y="558"/>
                    </a:cubicBezTo>
                    <a:cubicBezTo>
                      <a:pt x="4808" y="603"/>
                      <a:pt x="4815" y="648"/>
                      <a:pt x="4820" y="687"/>
                    </a:cubicBezTo>
                    <a:cubicBezTo>
                      <a:pt x="4936" y="671"/>
                      <a:pt x="4936" y="671"/>
                      <a:pt x="4936" y="671"/>
                    </a:cubicBezTo>
                    <a:lnTo>
                      <a:pt x="4914" y="541"/>
                    </a:lnTo>
                    <a:close/>
                    <a:moveTo>
                      <a:pt x="4787" y="562"/>
                    </a:moveTo>
                    <a:cubicBezTo>
                      <a:pt x="4787" y="561"/>
                      <a:pt x="4787" y="560"/>
                      <a:pt x="4787" y="559"/>
                    </a:cubicBezTo>
                    <a:cubicBezTo>
                      <a:pt x="4680" y="575"/>
                      <a:pt x="4680" y="575"/>
                      <a:pt x="4680" y="575"/>
                    </a:cubicBezTo>
                    <a:cubicBezTo>
                      <a:pt x="4701" y="704"/>
                      <a:pt x="4701" y="704"/>
                      <a:pt x="4701" y="704"/>
                    </a:cubicBezTo>
                    <a:cubicBezTo>
                      <a:pt x="4807" y="689"/>
                      <a:pt x="4807" y="689"/>
                      <a:pt x="4807" y="689"/>
                    </a:cubicBezTo>
                    <a:cubicBezTo>
                      <a:pt x="4801" y="651"/>
                      <a:pt x="4794" y="607"/>
                      <a:pt x="4787" y="562"/>
                    </a:cubicBezTo>
                    <a:close/>
                    <a:moveTo>
                      <a:pt x="4471" y="834"/>
                    </a:moveTo>
                    <a:cubicBezTo>
                      <a:pt x="4457" y="837"/>
                      <a:pt x="4457" y="837"/>
                      <a:pt x="4457" y="837"/>
                    </a:cubicBezTo>
                    <a:cubicBezTo>
                      <a:pt x="4524" y="830"/>
                      <a:pt x="4612" y="816"/>
                      <a:pt x="4703" y="801"/>
                    </a:cubicBezTo>
                    <a:cubicBezTo>
                      <a:pt x="4689" y="719"/>
                      <a:pt x="4689" y="719"/>
                      <a:pt x="4689" y="719"/>
                    </a:cubicBezTo>
                    <a:cubicBezTo>
                      <a:pt x="4453" y="752"/>
                      <a:pt x="4453" y="752"/>
                      <a:pt x="4453" y="752"/>
                    </a:cubicBezTo>
                    <a:lnTo>
                      <a:pt x="4471" y="834"/>
                    </a:lnTo>
                    <a:close/>
                    <a:moveTo>
                      <a:pt x="4667" y="576"/>
                    </a:moveTo>
                    <a:cubicBezTo>
                      <a:pt x="4423" y="611"/>
                      <a:pt x="4423" y="611"/>
                      <a:pt x="4423" y="611"/>
                    </a:cubicBezTo>
                    <a:cubicBezTo>
                      <a:pt x="4451" y="739"/>
                      <a:pt x="4451" y="739"/>
                      <a:pt x="4451" y="739"/>
                    </a:cubicBezTo>
                    <a:cubicBezTo>
                      <a:pt x="4687" y="706"/>
                      <a:pt x="4687" y="706"/>
                      <a:pt x="4687" y="706"/>
                    </a:cubicBezTo>
                    <a:lnTo>
                      <a:pt x="4667" y="576"/>
                    </a:lnTo>
                    <a:close/>
                    <a:moveTo>
                      <a:pt x="4437" y="754"/>
                    </a:moveTo>
                    <a:cubicBezTo>
                      <a:pt x="4340" y="768"/>
                      <a:pt x="4340" y="768"/>
                      <a:pt x="4340" y="768"/>
                    </a:cubicBezTo>
                    <a:cubicBezTo>
                      <a:pt x="4355" y="842"/>
                      <a:pt x="4355" y="842"/>
                      <a:pt x="4355" y="842"/>
                    </a:cubicBezTo>
                    <a:cubicBezTo>
                      <a:pt x="4378" y="842"/>
                      <a:pt x="4401" y="842"/>
                      <a:pt x="4426" y="840"/>
                    </a:cubicBezTo>
                    <a:cubicBezTo>
                      <a:pt x="4435" y="839"/>
                      <a:pt x="4445" y="838"/>
                      <a:pt x="4455" y="837"/>
                    </a:cubicBezTo>
                    <a:lnTo>
                      <a:pt x="4437" y="754"/>
                    </a:lnTo>
                    <a:close/>
                    <a:moveTo>
                      <a:pt x="6433" y="682"/>
                    </a:moveTo>
                    <a:cubicBezTo>
                      <a:pt x="6334" y="628"/>
                      <a:pt x="6334" y="628"/>
                      <a:pt x="6334" y="628"/>
                    </a:cubicBezTo>
                    <a:cubicBezTo>
                      <a:pt x="6333" y="645"/>
                      <a:pt x="6330" y="679"/>
                      <a:pt x="6326" y="713"/>
                    </a:cubicBezTo>
                    <a:cubicBezTo>
                      <a:pt x="6323" y="737"/>
                      <a:pt x="6320" y="761"/>
                      <a:pt x="6317" y="779"/>
                    </a:cubicBezTo>
                    <a:cubicBezTo>
                      <a:pt x="6315" y="788"/>
                      <a:pt x="6314" y="796"/>
                      <a:pt x="6312" y="801"/>
                    </a:cubicBezTo>
                    <a:cubicBezTo>
                      <a:pt x="6311" y="804"/>
                      <a:pt x="6310" y="807"/>
                      <a:pt x="6309" y="809"/>
                    </a:cubicBezTo>
                    <a:cubicBezTo>
                      <a:pt x="6339" y="811"/>
                      <a:pt x="6368" y="813"/>
                      <a:pt x="6395" y="815"/>
                    </a:cubicBezTo>
                    <a:cubicBezTo>
                      <a:pt x="6399" y="799"/>
                      <a:pt x="6403" y="783"/>
                      <a:pt x="6408" y="766"/>
                    </a:cubicBezTo>
                    <a:cubicBezTo>
                      <a:pt x="6415" y="739"/>
                      <a:pt x="6424" y="711"/>
                      <a:pt x="6433" y="682"/>
                    </a:cubicBezTo>
                    <a:close/>
                    <a:moveTo>
                      <a:pt x="6193" y="536"/>
                    </a:moveTo>
                    <a:cubicBezTo>
                      <a:pt x="6438" y="669"/>
                      <a:pt x="6438" y="669"/>
                      <a:pt x="6438" y="669"/>
                    </a:cubicBezTo>
                    <a:cubicBezTo>
                      <a:pt x="6452" y="629"/>
                      <a:pt x="6471" y="589"/>
                      <a:pt x="6495" y="551"/>
                    </a:cubicBezTo>
                    <a:cubicBezTo>
                      <a:pt x="6400" y="481"/>
                      <a:pt x="6400" y="481"/>
                      <a:pt x="6400" y="481"/>
                    </a:cubicBezTo>
                    <a:cubicBezTo>
                      <a:pt x="6386" y="551"/>
                      <a:pt x="6386" y="551"/>
                      <a:pt x="6386" y="551"/>
                    </a:cubicBezTo>
                    <a:cubicBezTo>
                      <a:pt x="6380" y="549"/>
                      <a:pt x="6380" y="549"/>
                      <a:pt x="6380" y="549"/>
                    </a:cubicBezTo>
                    <a:cubicBezTo>
                      <a:pt x="6238" y="522"/>
                      <a:pt x="6238" y="522"/>
                      <a:pt x="6238" y="522"/>
                    </a:cubicBezTo>
                    <a:cubicBezTo>
                      <a:pt x="6252" y="448"/>
                      <a:pt x="6252" y="448"/>
                      <a:pt x="6252" y="448"/>
                    </a:cubicBezTo>
                    <a:cubicBezTo>
                      <a:pt x="6391" y="474"/>
                      <a:pt x="6391" y="474"/>
                      <a:pt x="6391" y="474"/>
                    </a:cubicBezTo>
                    <a:cubicBezTo>
                      <a:pt x="6257" y="376"/>
                      <a:pt x="6257" y="376"/>
                      <a:pt x="6257" y="376"/>
                    </a:cubicBezTo>
                    <a:cubicBezTo>
                      <a:pt x="6202" y="438"/>
                      <a:pt x="6202" y="438"/>
                      <a:pt x="6202" y="438"/>
                    </a:cubicBezTo>
                    <a:lnTo>
                      <a:pt x="6193" y="536"/>
                    </a:lnTo>
                    <a:close/>
                    <a:moveTo>
                      <a:pt x="6262" y="463"/>
                    </a:moveTo>
                    <a:cubicBezTo>
                      <a:pt x="6253" y="512"/>
                      <a:pt x="6253" y="512"/>
                      <a:pt x="6253" y="512"/>
                    </a:cubicBezTo>
                    <a:cubicBezTo>
                      <a:pt x="6376" y="535"/>
                      <a:pt x="6376" y="535"/>
                      <a:pt x="6376" y="535"/>
                    </a:cubicBezTo>
                    <a:cubicBezTo>
                      <a:pt x="6385" y="487"/>
                      <a:pt x="6385" y="487"/>
                      <a:pt x="6385" y="487"/>
                    </a:cubicBezTo>
                    <a:lnTo>
                      <a:pt x="6262" y="463"/>
                    </a:lnTo>
                    <a:close/>
                    <a:moveTo>
                      <a:pt x="5916" y="527"/>
                    </a:moveTo>
                    <a:cubicBezTo>
                      <a:pt x="5918" y="533"/>
                      <a:pt x="5924" y="555"/>
                      <a:pt x="5931" y="583"/>
                    </a:cubicBezTo>
                    <a:cubicBezTo>
                      <a:pt x="6173" y="604"/>
                      <a:pt x="6173" y="604"/>
                      <a:pt x="6173" y="604"/>
                    </a:cubicBezTo>
                    <a:cubicBezTo>
                      <a:pt x="6189" y="432"/>
                      <a:pt x="6189" y="432"/>
                      <a:pt x="6189" y="432"/>
                    </a:cubicBezTo>
                    <a:cubicBezTo>
                      <a:pt x="6195" y="426"/>
                      <a:pt x="6195" y="426"/>
                      <a:pt x="6195" y="426"/>
                    </a:cubicBezTo>
                    <a:cubicBezTo>
                      <a:pt x="6196" y="423"/>
                      <a:pt x="6196" y="423"/>
                      <a:pt x="6196" y="423"/>
                    </a:cubicBezTo>
                    <a:cubicBezTo>
                      <a:pt x="6196" y="423"/>
                      <a:pt x="6196" y="423"/>
                      <a:pt x="6196" y="423"/>
                    </a:cubicBezTo>
                    <a:cubicBezTo>
                      <a:pt x="6191" y="427"/>
                      <a:pt x="6191" y="427"/>
                      <a:pt x="6191" y="427"/>
                    </a:cubicBezTo>
                    <a:cubicBezTo>
                      <a:pt x="6190" y="427"/>
                      <a:pt x="6190" y="427"/>
                      <a:pt x="6190" y="427"/>
                    </a:cubicBezTo>
                    <a:cubicBezTo>
                      <a:pt x="6190" y="427"/>
                      <a:pt x="6190" y="427"/>
                      <a:pt x="6190" y="427"/>
                    </a:cubicBezTo>
                    <a:cubicBezTo>
                      <a:pt x="6185" y="421"/>
                      <a:pt x="6137" y="382"/>
                      <a:pt x="6092" y="344"/>
                    </a:cubicBezTo>
                    <a:cubicBezTo>
                      <a:pt x="6053" y="312"/>
                      <a:pt x="6015" y="280"/>
                      <a:pt x="6002" y="269"/>
                    </a:cubicBezTo>
                    <a:cubicBezTo>
                      <a:pt x="5962" y="309"/>
                      <a:pt x="5962" y="309"/>
                      <a:pt x="5962" y="309"/>
                    </a:cubicBezTo>
                    <a:lnTo>
                      <a:pt x="5916" y="527"/>
                    </a:lnTo>
                    <a:close/>
                    <a:moveTo>
                      <a:pt x="5829" y="241"/>
                    </a:moveTo>
                    <a:cubicBezTo>
                      <a:pt x="5793" y="454"/>
                      <a:pt x="5793" y="454"/>
                      <a:pt x="5793" y="454"/>
                    </a:cubicBezTo>
                    <a:cubicBezTo>
                      <a:pt x="5807" y="573"/>
                      <a:pt x="5807" y="573"/>
                      <a:pt x="5807" y="573"/>
                    </a:cubicBezTo>
                    <a:cubicBezTo>
                      <a:pt x="5916" y="582"/>
                      <a:pt x="5916" y="582"/>
                      <a:pt x="5916" y="582"/>
                    </a:cubicBezTo>
                    <a:cubicBezTo>
                      <a:pt x="5908" y="551"/>
                      <a:pt x="5903" y="529"/>
                      <a:pt x="5903" y="529"/>
                    </a:cubicBezTo>
                    <a:cubicBezTo>
                      <a:pt x="5902" y="528"/>
                      <a:pt x="5902" y="528"/>
                      <a:pt x="5902" y="528"/>
                    </a:cubicBezTo>
                    <a:cubicBezTo>
                      <a:pt x="5948" y="309"/>
                      <a:pt x="5948" y="309"/>
                      <a:pt x="5948" y="309"/>
                    </a:cubicBezTo>
                    <a:lnTo>
                      <a:pt x="5829" y="241"/>
                    </a:lnTo>
                    <a:close/>
                    <a:moveTo>
                      <a:pt x="5599" y="173"/>
                    </a:moveTo>
                    <a:cubicBezTo>
                      <a:pt x="5603" y="556"/>
                      <a:pt x="5603" y="556"/>
                      <a:pt x="5603" y="556"/>
                    </a:cubicBezTo>
                    <a:cubicBezTo>
                      <a:pt x="5793" y="572"/>
                      <a:pt x="5793" y="572"/>
                      <a:pt x="5793" y="572"/>
                    </a:cubicBezTo>
                    <a:cubicBezTo>
                      <a:pt x="5779" y="453"/>
                      <a:pt x="5779" y="453"/>
                      <a:pt x="5779" y="453"/>
                    </a:cubicBezTo>
                    <a:cubicBezTo>
                      <a:pt x="5816" y="233"/>
                      <a:pt x="5816" y="233"/>
                      <a:pt x="5816" y="233"/>
                    </a:cubicBezTo>
                    <a:cubicBezTo>
                      <a:pt x="5741" y="190"/>
                      <a:pt x="5741" y="190"/>
                      <a:pt x="5741" y="190"/>
                    </a:cubicBezTo>
                    <a:cubicBezTo>
                      <a:pt x="5740" y="192"/>
                      <a:pt x="5740" y="192"/>
                      <a:pt x="5740" y="192"/>
                    </a:cubicBezTo>
                    <a:cubicBezTo>
                      <a:pt x="5676" y="181"/>
                      <a:pt x="5676" y="181"/>
                      <a:pt x="5676" y="181"/>
                    </a:cubicBezTo>
                    <a:cubicBezTo>
                      <a:pt x="5677" y="174"/>
                      <a:pt x="5677" y="174"/>
                      <a:pt x="5677" y="174"/>
                    </a:cubicBezTo>
                    <a:lnTo>
                      <a:pt x="5599" y="173"/>
                    </a:lnTo>
                    <a:close/>
                    <a:moveTo>
                      <a:pt x="5591" y="712"/>
                    </a:moveTo>
                    <a:cubicBezTo>
                      <a:pt x="5400" y="696"/>
                      <a:pt x="5400" y="696"/>
                      <a:pt x="5400" y="696"/>
                    </a:cubicBezTo>
                    <a:cubicBezTo>
                      <a:pt x="5399" y="744"/>
                      <a:pt x="5399" y="744"/>
                      <a:pt x="5399" y="744"/>
                    </a:cubicBezTo>
                    <a:cubicBezTo>
                      <a:pt x="5458" y="748"/>
                      <a:pt x="5523" y="753"/>
                      <a:pt x="5591" y="758"/>
                    </a:cubicBezTo>
                    <a:lnTo>
                      <a:pt x="5591" y="712"/>
                    </a:lnTo>
                    <a:close/>
                    <a:moveTo>
                      <a:pt x="5589" y="568"/>
                    </a:moveTo>
                    <a:cubicBezTo>
                      <a:pt x="5401" y="552"/>
                      <a:pt x="5401" y="552"/>
                      <a:pt x="5401" y="552"/>
                    </a:cubicBezTo>
                    <a:cubicBezTo>
                      <a:pt x="5400" y="683"/>
                      <a:pt x="5400" y="683"/>
                      <a:pt x="5400" y="683"/>
                    </a:cubicBezTo>
                    <a:cubicBezTo>
                      <a:pt x="5590" y="699"/>
                      <a:pt x="5590" y="699"/>
                      <a:pt x="5590" y="699"/>
                    </a:cubicBezTo>
                    <a:lnTo>
                      <a:pt x="5589" y="568"/>
                    </a:lnTo>
                    <a:close/>
                    <a:moveTo>
                      <a:pt x="5181" y="216"/>
                    </a:moveTo>
                    <a:cubicBezTo>
                      <a:pt x="5183" y="221"/>
                      <a:pt x="5183" y="221"/>
                      <a:pt x="5183" y="221"/>
                    </a:cubicBezTo>
                    <a:cubicBezTo>
                      <a:pt x="5243" y="733"/>
                      <a:pt x="5243" y="733"/>
                      <a:pt x="5243" y="733"/>
                    </a:cubicBezTo>
                    <a:cubicBezTo>
                      <a:pt x="5283" y="735"/>
                      <a:pt x="5331" y="739"/>
                      <a:pt x="5385" y="743"/>
                    </a:cubicBezTo>
                    <a:cubicBezTo>
                      <a:pt x="5386" y="695"/>
                      <a:pt x="5386" y="695"/>
                      <a:pt x="5386" y="695"/>
                    </a:cubicBezTo>
                    <a:cubicBezTo>
                      <a:pt x="5289" y="686"/>
                      <a:pt x="5289" y="686"/>
                      <a:pt x="5289" y="686"/>
                    </a:cubicBezTo>
                    <a:cubicBezTo>
                      <a:pt x="5300" y="530"/>
                      <a:pt x="5300" y="530"/>
                      <a:pt x="5300" y="530"/>
                    </a:cubicBezTo>
                    <a:cubicBezTo>
                      <a:pt x="5387" y="538"/>
                      <a:pt x="5387" y="538"/>
                      <a:pt x="5387" y="538"/>
                    </a:cubicBezTo>
                    <a:cubicBezTo>
                      <a:pt x="5391" y="176"/>
                      <a:pt x="5391" y="176"/>
                      <a:pt x="5391" y="176"/>
                    </a:cubicBezTo>
                    <a:cubicBezTo>
                      <a:pt x="5405" y="176"/>
                      <a:pt x="5405" y="176"/>
                      <a:pt x="5405" y="176"/>
                    </a:cubicBezTo>
                    <a:cubicBezTo>
                      <a:pt x="5401" y="539"/>
                      <a:pt x="5401" y="539"/>
                      <a:pt x="5401" y="539"/>
                    </a:cubicBezTo>
                    <a:cubicBezTo>
                      <a:pt x="5589" y="555"/>
                      <a:pt x="5589" y="555"/>
                      <a:pt x="5589" y="555"/>
                    </a:cubicBezTo>
                    <a:cubicBezTo>
                      <a:pt x="5585" y="172"/>
                      <a:pt x="5585" y="172"/>
                      <a:pt x="5585" y="172"/>
                    </a:cubicBezTo>
                    <a:cubicBezTo>
                      <a:pt x="5258" y="168"/>
                      <a:pt x="5258" y="168"/>
                      <a:pt x="5258" y="168"/>
                    </a:cubicBezTo>
                    <a:lnTo>
                      <a:pt x="5181" y="216"/>
                    </a:lnTo>
                    <a:close/>
                    <a:moveTo>
                      <a:pt x="5032" y="309"/>
                    </a:moveTo>
                    <a:cubicBezTo>
                      <a:pt x="5042" y="308"/>
                      <a:pt x="5042" y="308"/>
                      <a:pt x="5042" y="308"/>
                    </a:cubicBezTo>
                    <a:cubicBezTo>
                      <a:pt x="5105" y="724"/>
                      <a:pt x="5105" y="724"/>
                      <a:pt x="5105" y="724"/>
                    </a:cubicBezTo>
                    <a:cubicBezTo>
                      <a:pt x="5109" y="723"/>
                      <a:pt x="5109" y="723"/>
                      <a:pt x="5109" y="723"/>
                    </a:cubicBezTo>
                    <a:cubicBezTo>
                      <a:pt x="5119" y="724"/>
                      <a:pt x="5119" y="724"/>
                      <a:pt x="5119" y="724"/>
                    </a:cubicBezTo>
                    <a:cubicBezTo>
                      <a:pt x="5120" y="724"/>
                      <a:pt x="5161" y="727"/>
                      <a:pt x="5229" y="732"/>
                    </a:cubicBezTo>
                    <a:cubicBezTo>
                      <a:pt x="5170" y="224"/>
                      <a:pt x="5170" y="224"/>
                      <a:pt x="5170" y="224"/>
                    </a:cubicBezTo>
                    <a:cubicBezTo>
                      <a:pt x="5169" y="224"/>
                      <a:pt x="5169" y="224"/>
                      <a:pt x="5169" y="224"/>
                    </a:cubicBezTo>
                    <a:lnTo>
                      <a:pt x="5032" y="309"/>
                    </a:lnTo>
                    <a:close/>
                    <a:moveTo>
                      <a:pt x="4904" y="389"/>
                    </a:moveTo>
                    <a:cubicBezTo>
                      <a:pt x="4926" y="527"/>
                      <a:pt x="4926" y="527"/>
                      <a:pt x="4926" y="527"/>
                    </a:cubicBezTo>
                    <a:cubicBezTo>
                      <a:pt x="5045" y="510"/>
                      <a:pt x="5045" y="510"/>
                      <a:pt x="5045" y="510"/>
                    </a:cubicBezTo>
                    <a:cubicBezTo>
                      <a:pt x="5070" y="665"/>
                      <a:pt x="5070" y="665"/>
                      <a:pt x="5070" y="665"/>
                    </a:cubicBezTo>
                    <a:cubicBezTo>
                      <a:pt x="5063" y="666"/>
                      <a:pt x="5063" y="666"/>
                      <a:pt x="5063" y="666"/>
                    </a:cubicBezTo>
                    <a:cubicBezTo>
                      <a:pt x="4951" y="682"/>
                      <a:pt x="4951" y="682"/>
                      <a:pt x="4951" y="682"/>
                    </a:cubicBezTo>
                    <a:cubicBezTo>
                      <a:pt x="4963" y="753"/>
                      <a:pt x="4963" y="753"/>
                      <a:pt x="4963" y="753"/>
                    </a:cubicBezTo>
                    <a:cubicBezTo>
                      <a:pt x="5027" y="740"/>
                      <a:pt x="5075" y="730"/>
                      <a:pt x="5091" y="727"/>
                    </a:cubicBezTo>
                    <a:cubicBezTo>
                      <a:pt x="5028" y="312"/>
                      <a:pt x="5028" y="312"/>
                      <a:pt x="5028" y="312"/>
                    </a:cubicBezTo>
                    <a:lnTo>
                      <a:pt x="4904" y="389"/>
                    </a:lnTo>
                    <a:close/>
                    <a:moveTo>
                      <a:pt x="4765" y="345"/>
                    </a:moveTo>
                    <a:cubicBezTo>
                      <a:pt x="4766" y="348"/>
                      <a:pt x="4767" y="351"/>
                      <a:pt x="4768" y="356"/>
                    </a:cubicBezTo>
                    <a:cubicBezTo>
                      <a:pt x="4775" y="393"/>
                      <a:pt x="4787" y="468"/>
                      <a:pt x="4799" y="545"/>
                    </a:cubicBezTo>
                    <a:cubicBezTo>
                      <a:pt x="4912" y="528"/>
                      <a:pt x="4912" y="528"/>
                      <a:pt x="4912" y="528"/>
                    </a:cubicBezTo>
                    <a:cubicBezTo>
                      <a:pt x="4890" y="391"/>
                      <a:pt x="4890" y="391"/>
                      <a:pt x="4890" y="391"/>
                    </a:cubicBezTo>
                    <a:lnTo>
                      <a:pt x="4765" y="345"/>
                    </a:lnTo>
                    <a:close/>
                    <a:moveTo>
                      <a:pt x="4645" y="411"/>
                    </a:moveTo>
                    <a:cubicBezTo>
                      <a:pt x="4654" y="409"/>
                      <a:pt x="4654" y="409"/>
                      <a:pt x="4654" y="409"/>
                    </a:cubicBezTo>
                    <a:cubicBezTo>
                      <a:pt x="4678" y="562"/>
                      <a:pt x="4678" y="562"/>
                      <a:pt x="4678" y="562"/>
                    </a:cubicBezTo>
                    <a:cubicBezTo>
                      <a:pt x="4785" y="546"/>
                      <a:pt x="4785" y="546"/>
                      <a:pt x="4785" y="546"/>
                    </a:cubicBezTo>
                    <a:cubicBezTo>
                      <a:pt x="4777" y="495"/>
                      <a:pt x="4769" y="444"/>
                      <a:pt x="4762" y="406"/>
                    </a:cubicBezTo>
                    <a:cubicBezTo>
                      <a:pt x="4759" y="384"/>
                      <a:pt x="4755" y="367"/>
                      <a:pt x="4753" y="354"/>
                    </a:cubicBezTo>
                    <a:cubicBezTo>
                      <a:pt x="4752" y="350"/>
                      <a:pt x="4751" y="347"/>
                      <a:pt x="4751" y="344"/>
                    </a:cubicBezTo>
                    <a:lnTo>
                      <a:pt x="4645" y="411"/>
                    </a:lnTo>
                    <a:close/>
                    <a:moveTo>
                      <a:pt x="4411" y="558"/>
                    </a:moveTo>
                    <a:cubicBezTo>
                      <a:pt x="4420" y="598"/>
                      <a:pt x="4420" y="598"/>
                      <a:pt x="4420" y="598"/>
                    </a:cubicBezTo>
                    <a:cubicBezTo>
                      <a:pt x="4664" y="563"/>
                      <a:pt x="4664" y="563"/>
                      <a:pt x="4664" y="563"/>
                    </a:cubicBezTo>
                    <a:cubicBezTo>
                      <a:pt x="4640" y="414"/>
                      <a:pt x="4640" y="414"/>
                      <a:pt x="4640" y="414"/>
                    </a:cubicBezTo>
                    <a:lnTo>
                      <a:pt x="4411" y="558"/>
                    </a:lnTo>
                    <a:close/>
                    <a:moveTo>
                      <a:pt x="4406" y="613"/>
                    </a:moveTo>
                    <a:cubicBezTo>
                      <a:pt x="4311" y="627"/>
                      <a:pt x="4311" y="627"/>
                      <a:pt x="4311" y="627"/>
                    </a:cubicBezTo>
                    <a:cubicBezTo>
                      <a:pt x="4337" y="755"/>
                      <a:pt x="4337" y="755"/>
                      <a:pt x="4337" y="755"/>
                    </a:cubicBezTo>
                    <a:cubicBezTo>
                      <a:pt x="4434" y="741"/>
                      <a:pt x="4434" y="741"/>
                      <a:pt x="4434" y="741"/>
                    </a:cubicBezTo>
                    <a:lnTo>
                      <a:pt x="4406" y="613"/>
                    </a:lnTo>
                    <a:close/>
                    <a:moveTo>
                      <a:pt x="4256" y="362"/>
                    </a:moveTo>
                    <a:cubicBezTo>
                      <a:pt x="4308" y="614"/>
                      <a:pt x="4308" y="614"/>
                      <a:pt x="4308" y="614"/>
                    </a:cubicBezTo>
                    <a:cubicBezTo>
                      <a:pt x="4404" y="600"/>
                      <a:pt x="4404" y="600"/>
                      <a:pt x="4404" y="600"/>
                    </a:cubicBezTo>
                    <a:cubicBezTo>
                      <a:pt x="4341" y="311"/>
                      <a:pt x="4341" y="311"/>
                      <a:pt x="4341" y="311"/>
                    </a:cubicBezTo>
                    <a:cubicBezTo>
                      <a:pt x="4313" y="330"/>
                      <a:pt x="4283" y="348"/>
                      <a:pt x="4256" y="362"/>
                    </a:cubicBezTo>
                    <a:close/>
                    <a:moveTo>
                      <a:pt x="4140" y="421"/>
                    </a:moveTo>
                    <a:cubicBezTo>
                      <a:pt x="4187" y="631"/>
                      <a:pt x="4187" y="631"/>
                      <a:pt x="4187" y="631"/>
                    </a:cubicBezTo>
                    <a:cubicBezTo>
                      <a:pt x="4292" y="616"/>
                      <a:pt x="4292" y="616"/>
                      <a:pt x="4292" y="616"/>
                    </a:cubicBezTo>
                    <a:cubicBezTo>
                      <a:pt x="4241" y="370"/>
                      <a:pt x="4241" y="370"/>
                      <a:pt x="4241" y="370"/>
                    </a:cubicBezTo>
                    <a:cubicBezTo>
                      <a:pt x="4225" y="378"/>
                      <a:pt x="4212" y="385"/>
                      <a:pt x="4200" y="390"/>
                    </a:cubicBezTo>
                    <a:lnTo>
                      <a:pt x="4140" y="421"/>
                    </a:lnTo>
                    <a:close/>
                    <a:moveTo>
                      <a:pt x="3907" y="48"/>
                    </a:moveTo>
                    <a:cubicBezTo>
                      <a:pt x="3907" y="48"/>
                      <a:pt x="3907" y="48"/>
                      <a:pt x="3907" y="48"/>
                    </a:cubicBezTo>
                    <a:cubicBezTo>
                      <a:pt x="3907" y="48"/>
                      <a:pt x="3907" y="48"/>
                      <a:pt x="3907" y="48"/>
                    </a:cubicBezTo>
                    <a:cubicBezTo>
                      <a:pt x="3907" y="48"/>
                      <a:pt x="3907" y="48"/>
                      <a:pt x="3907" y="48"/>
                    </a:cubicBezTo>
                    <a:close/>
                    <a:moveTo>
                      <a:pt x="3903" y="54"/>
                    </a:moveTo>
                    <a:cubicBezTo>
                      <a:pt x="3903" y="54"/>
                      <a:pt x="3903" y="54"/>
                      <a:pt x="3903" y="54"/>
                    </a:cubicBezTo>
                    <a:cubicBezTo>
                      <a:pt x="3903" y="54"/>
                      <a:pt x="3903" y="54"/>
                      <a:pt x="3904" y="54"/>
                    </a:cubicBezTo>
                    <a:cubicBezTo>
                      <a:pt x="3904" y="54"/>
                      <a:pt x="3904" y="54"/>
                      <a:pt x="3904" y="53"/>
                    </a:cubicBezTo>
                    <a:cubicBezTo>
                      <a:pt x="3904" y="54"/>
                      <a:pt x="3903" y="54"/>
                      <a:pt x="3903" y="54"/>
                    </a:cubicBezTo>
                    <a:close/>
                    <a:moveTo>
                      <a:pt x="3711" y="170"/>
                    </a:moveTo>
                    <a:cubicBezTo>
                      <a:pt x="3905" y="396"/>
                      <a:pt x="3905" y="396"/>
                      <a:pt x="3905" y="396"/>
                    </a:cubicBezTo>
                    <a:cubicBezTo>
                      <a:pt x="3907" y="399"/>
                      <a:pt x="3907" y="399"/>
                      <a:pt x="3907" y="399"/>
                    </a:cubicBezTo>
                    <a:cubicBezTo>
                      <a:pt x="3909" y="402"/>
                      <a:pt x="3916" y="414"/>
                      <a:pt x="3919" y="435"/>
                    </a:cubicBezTo>
                    <a:cubicBezTo>
                      <a:pt x="3920" y="439"/>
                      <a:pt x="3920" y="443"/>
                      <a:pt x="3921" y="447"/>
                    </a:cubicBezTo>
                    <a:cubicBezTo>
                      <a:pt x="4034" y="398"/>
                      <a:pt x="4034" y="398"/>
                      <a:pt x="4034" y="398"/>
                    </a:cubicBezTo>
                    <a:cubicBezTo>
                      <a:pt x="4145" y="343"/>
                      <a:pt x="4145" y="343"/>
                      <a:pt x="4145" y="343"/>
                    </a:cubicBezTo>
                    <a:cubicBezTo>
                      <a:pt x="4144" y="340"/>
                      <a:pt x="4144" y="340"/>
                      <a:pt x="4144" y="340"/>
                    </a:cubicBezTo>
                    <a:cubicBezTo>
                      <a:pt x="4144" y="340"/>
                      <a:pt x="4144" y="340"/>
                      <a:pt x="4144" y="340"/>
                    </a:cubicBezTo>
                    <a:cubicBezTo>
                      <a:pt x="4144" y="340"/>
                      <a:pt x="4159" y="334"/>
                      <a:pt x="4182" y="323"/>
                    </a:cubicBezTo>
                    <a:cubicBezTo>
                      <a:pt x="4167" y="309"/>
                      <a:pt x="4103" y="250"/>
                      <a:pt x="4040" y="190"/>
                    </a:cubicBezTo>
                    <a:cubicBezTo>
                      <a:pt x="4003" y="156"/>
                      <a:pt x="3966" y="122"/>
                      <a:pt x="3939" y="96"/>
                    </a:cubicBezTo>
                    <a:cubicBezTo>
                      <a:pt x="3925" y="83"/>
                      <a:pt x="3914" y="73"/>
                      <a:pt x="3906" y="65"/>
                    </a:cubicBezTo>
                    <a:cubicBezTo>
                      <a:pt x="3902" y="61"/>
                      <a:pt x="3899" y="58"/>
                      <a:pt x="3897" y="56"/>
                    </a:cubicBezTo>
                    <a:cubicBezTo>
                      <a:pt x="3896" y="56"/>
                      <a:pt x="3896" y="55"/>
                      <a:pt x="3896" y="55"/>
                    </a:cubicBezTo>
                    <a:cubicBezTo>
                      <a:pt x="3887" y="54"/>
                      <a:pt x="3867" y="51"/>
                      <a:pt x="3859" y="50"/>
                    </a:cubicBezTo>
                    <a:lnTo>
                      <a:pt x="3711" y="170"/>
                    </a:lnTo>
                    <a:close/>
                    <a:moveTo>
                      <a:pt x="3648" y="204"/>
                    </a:moveTo>
                    <a:cubicBezTo>
                      <a:pt x="3558" y="248"/>
                      <a:pt x="3558" y="248"/>
                      <a:pt x="3558" y="248"/>
                    </a:cubicBezTo>
                    <a:cubicBezTo>
                      <a:pt x="3527" y="371"/>
                      <a:pt x="3527" y="371"/>
                      <a:pt x="3527" y="371"/>
                    </a:cubicBezTo>
                    <a:cubicBezTo>
                      <a:pt x="3585" y="526"/>
                      <a:pt x="3585" y="526"/>
                      <a:pt x="3585" y="526"/>
                    </a:cubicBezTo>
                    <a:cubicBezTo>
                      <a:pt x="3855" y="471"/>
                      <a:pt x="3855" y="471"/>
                      <a:pt x="3855" y="471"/>
                    </a:cubicBezTo>
                    <a:cubicBezTo>
                      <a:pt x="3854" y="463"/>
                      <a:pt x="3853" y="454"/>
                      <a:pt x="3851" y="447"/>
                    </a:cubicBezTo>
                    <a:cubicBezTo>
                      <a:pt x="3850" y="442"/>
                      <a:pt x="3849" y="438"/>
                      <a:pt x="3848" y="436"/>
                    </a:cubicBezTo>
                    <a:lnTo>
                      <a:pt x="3648" y="204"/>
                    </a:lnTo>
                    <a:close/>
                    <a:moveTo>
                      <a:pt x="3261" y="143"/>
                    </a:moveTo>
                    <a:cubicBezTo>
                      <a:pt x="3430" y="342"/>
                      <a:pt x="3430" y="342"/>
                      <a:pt x="3430" y="342"/>
                    </a:cubicBezTo>
                    <a:cubicBezTo>
                      <a:pt x="3430" y="343"/>
                      <a:pt x="3430" y="343"/>
                      <a:pt x="3430" y="343"/>
                    </a:cubicBezTo>
                    <a:cubicBezTo>
                      <a:pt x="3431" y="343"/>
                      <a:pt x="3431" y="343"/>
                      <a:pt x="3431" y="343"/>
                    </a:cubicBezTo>
                    <a:cubicBezTo>
                      <a:pt x="3512" y="362"/>
                      <a:pt x="3512" y="362"/>
                      <a:pt x="3512" y="362"/>
                    </a:cubicBezTo>
                    <a:cubicBezTo>
                      <a:pt x="3544" y="237"/>
                      <a:pt x="3544" y="237"/>
                      <a:pt x="3544" y="237"/>
                    </a:cubicBezTo>
                    <a:cubicBezTo>
                      <a:pt x="3636" y="191"/>
                      <a:pt x="3636" y="191"/>
                      <a:pt x="3636" y="191"/>
                    </a:cubicBezTo>
                    <a:cubicBezTo>
                      <a:pt x="3636" y="191"/>
                      <a:pt x="3636" y="191"/>
                      <a:pt x="3636" y="191"/>
                    </a:cubicBezTo>
                    <a:cubicBezTo>
                      <a:pt x="3637" y="191"/>
                      <a:pt x="3637" y="191"/>
                      <a:pt x="3637" y="191"/>
                    </a:cubicBezTo>
                    <a:cubicBezTo>
                      <a:pt x="3632" y="184"/>
                      <a:pt x="3615" y="161"/>
                      <a:pt x="3570" y="113"/>
                    </a:cubicBezTo>
                    <a:cubicBezTo>
                      <a:pt x="3558" y="101"/>
                      <a:pt x="3546" y="89"/>
                      <a:pt x="3534" y="76"/>
                    </a:cubicBezTo>
                    <a:cubicBezTo>
                      <a:pt x="3514" y="79"/>
                      <a:pt x="3471" y="85"/>
                      <a:pt x="3422" y="94"/>
                    </a:cubicBezTo>
                    <a:cubicBezTo>
                      <a:pt x="3365" y="106"/>
                      <a:pt x="3298" y="124"/>
                      <a:pt x="3261" y="143"/>
                    </a:cubicBezTo>
                    <a:close/>
                    <a:moveTo>
                      <a:pt x="2890" y="324"/>
                    </a:moveTo>
                    <a:cubicBezTo>
                      <a:pt x="2974" y="573"/>
                      <a:pt x="2974" y="573"/>
                      <a:pt x="2974" y="573"/>
                    </a:cubicBezTo>
                    <a:cubicBezTo>
                      <a:pt x="2974" y="573"/>
                      <a:pt x="2974" y="573"/>
                      <a:pt x="2974" y="573"/>
                    </a:cubicBezTo>
                    <a:cubicBezTo>
                      <a:pt x="2979" y="578"/>
                      <a:pt x="2979" y="578"/>
                      <a:pt x="2979" y="578"/>
                    </a:cubicBezTo>
                    <a:cubicBezTo>
                      <a:pt x="2979" y="578"/>
                      <a:pt x="3006" y="604"/>
                      <a:pt x="3045" y="643"/>
                    </a:cubicBezTo>
                    <a:cubicBezTo>
                      <a:pt x="3419" y="352"/>
                      <a:pt x="3419" y="352"/>
                      <a:pt x="3419" y="352"/>
                    </a:cubicBezTo>
                    <a:cubicBezTo>
                      <a:pt x="3248" y="151"/>
                      <a:pt x="3248" y="151"/>
                      <a:pt x="3248" y="151"/>
                    </a:cubicBezTo>
                    <a:cubicBezTo>
                      <a:pt x="3247" y="151"/>
                      <a:pt x="3246" y="152"/>
                      <a:pt x="3245" y="152"/>
                    </a:cubicBezTo>
                    <a:cubicBezTo>
                      <a:pt x="3176" y="199"/>
                      <a:pt x="3045" y="307"/>
                      <a:pt x="2890" y="324"/>
                    </a:cubicBezTo>
                    <a:close/>
                    <a:moveTo>
                      <a:pt x="2714" y="304"/>
                    </a:moveTo>
                    <a:cubicBezTo>
                      <a:pt x="2511" y="762"/>
                      <a:pt x="2511" y="762"/>
                      <a:pt x="2511" y="762"/>
                    </a:cubicBezTo>
                    <a:cubicBezTo>
                      <a:pt x="2513" y="763"/>
                      <a:pt x="2513" y="763"/>
                      <a:pt x="2513" y="763"/>
                    </a:cubicBezTo>
                    <a:cubicBezTo>
                      <a:pt x="2512" y="763"/>
                      <a:pt x="2512" y="763"/>
                      <a:pt x="2512" y="763"/>
                    </a:cubicBezTo>
                    <a:cubicBezTo>
                      <a:pt x="2562" y="776"/>
                      <a:pt x="2646" y="798"/>
                      <a:pt x="2664" y="804"/>
                    </a:cubicBezTo>
                    <a:cubicBezTo>
                      <a:pt x="2962" y="582"/>
                      <a:pt x="2962" y="582"/>
                      <a:pt x="2962" y="582"/>
                    </a:cubicBezTo>
                    <a:cubicBezTo>
                      <a:pt x="2876" y="326"/>
                      <a:pt x="2876" y="326"/>
                      <a:pt x="2876" y="326"/>
                    </a:cubicBezTo>
                    <a:cubicBezTo>
                      <a:pt x="2867" y="326"/>
                      <a:pt x="2858" y="327"/>
                      <a:pt x="2849" y="327"/>
                    </a:cubicBezTo>
                    <a:cubicBezTo>
                      <a:pt x="2835" y="327"/>
                      <a:pt x="2821" y="326"/>
                      <a:pt x="2807" y="324"/>
                    </a:cubicBezTo>
                    <a:cubicBezTo>
                      <a:pt x="2773" y="320"/>
                      <a:pt x="2743" y="313"/>
                      <a:pt x="2714" y="304"/>
                    </a:cubicBezTo>
                    <a:close/>
                    <a:moveTo>
                      <a:pt x="1885" y="867"/>
                    </a:moveTo>
                    <a:cubicBezTo>
                      <a:pt x="2119" y="977"/>
                      <a:pt x="2119" y="977"/>
                      <a:pt x="2119" y="977"/>
                    </a:cubicBezTo>
                    <a:cubicBezTo>
                      <a:pt x="2459" y="749"/>
                      <a:pt x="2459" y="749"/>
                      <a:pt x="2459" y="749"/>
                    </a:cubicBezTo>
                    <a:cubicBezTo>
                      <a:pt x="2664" y="287"/>
                      <a:pt x="2664" y="287"/>
                      <a:pt x="2664" y="287"/>
                    </a:cubicBezTo>
                    <a:cubicBezTo>
                      <a:pt x="2559" y="245"/>
                      <a:pt x="2480" y="181"/>
                      <a:pt x="2419" y="139"/>
                    </a:cubicBezTo>
                    <a:cubicBezTo>
                      <a:pt x="2414" y="135"/>
                      <a:pt x="2409" y="131"/>
                      <a:pt x="2403" y="127"/>
                    </a:cubicBezTo>
                    <a:cubicBezTo>
                      <a:pt x="2397" y="141"/>
                      <a:pt x="2389" y="161"/>
                      <a:pt x="2380" y="185"/>
                    </a:cubicBezTo>
                    <a:cubicBezTo>
                      <a:pt x="2330" y="315"/>
                      <a:pt x="2242" y="561"/>
                      <a:pt x="2242" y="561"/>
                    </a:cubicBezTo>
                    <a:cubicBezTo>
                      <a:pt x="2241" y="564"/>
                      <a:pt x="2241" y="564"/>
                      <a:pt x="2241" y="564"/>
                    </a:cubicBezTo>
                    <a:cubicBezTo>
                      <a:pt x="2238" y="565"/>
                      <a:pt x="2238" y="565"/>
                      <a:pt x="2238" y="565"/>
                    </a:cubicBezTo>
                    <a:cubicBezTo>
                      <a:pt x="2238" y="565"/>
                      <a:pt x="2158" y="607"/>
                      <a:pt x="2078" y="649"/>
                    </a:cubicBezTo>
                    <a:cubicBezTo>
                      <a:pt x="2037" y="670"/>
                      <a:pt x="1995" y="693"/>
                      <a:pt x="1964" y="709"/>
                    </a:cubicBezTo>
                    <a:cubicBezTo>
                      <a:pt x="1949" y="717"/>
                      <a:pt x="1936" y="723"/>
                      <a:pt x="1926" y="728"/>
                    </a:cubicBezTo>
                    <a:lnTo>
                      <a:pt x="1885" y="867"/>
                    </a:lnTo>
                    <a:close/>
                    <a:moveTo>
                      <a:pt x="1829" y="696"/>
                    </a:moveTo>
                    <a:cubicBezTo>
                      <a:pt x="1812" y="709"/>
                      <a:pt x="1745" y="763"/>
                      <a:pt x="1678" y="817"/>
                    </a:cubicBezTo>
                    <a:cubicBezTo>
                      <a:pt x="1639" y="848"/>
                      <a:pt x="1601" y="879"/>
                      <a:pt x="1571" y="903"/>
                    </a:cubicBezTo>
                    <a:cubicBezTo>
                      <a:pt x="1558" y="915"/>
                      <a:pt x="1547" y="924"/>
                      <a:pt x="1538" y="932"/>
                    </a:cubicBezTo>
                    <a:cubicBezTo>
                      <a:pt x="1665" y="1089"/>
                      <a:pt x="1665" y="1089"/>
                      <a:pt x="1665" y="1089"/>
                    </a:cubicBezTo>
                    <a:cubicBezTo>
                      <a:pt x="1990" y="1064"/>
                      <a:pt x="1990" y="1064"/>
                      <a:pt x="1990" y="1064"/>
                    </a:cubicBezTo>
                    <a:cubicBezTo>
                      <a:pt x="2103" y="988"/>
                      <a:pt x="2103" y="988"/>
                      <a:pt x="2103" y="988"/>
                    </a:cubicBezTo>
                    <a:cubicBezTo>
                      <a:pt x="1865" y="876"/>
                      <a:pt x="1865" y="876"/>
                      <a:pt x="1865" y="876"/>
                    </a:cubicBezTo>
                    <a:cubicBezTo>
                      <a:pt x="1907" y="736"/>
                      <a:pt x="1907" y="736"/>
                      <a:pt x="1907" y="736"/>
                    </a:cubicBezTo>
                    <a:cubicBezTo>
                      <a:pt x="1906" y="736"/>
                      <a:pt x="1906" y="736"/>
                      <a:pt x="1906" y="736"/>
                    </a:cubicBezTo>
                    <a:cubicBezTo>
                      <a:pt x="1906" y="729"/>
                      <a:pt x="1906" y="729"/>
                      <a:pt x="1906" y="729"/>
                    </a:cubicBezTo>
                    <a:cubicBezTo>
                      <a:pt x="1897" y="726"/>
                      <a:pt x="1884" y="720"/>
                      <a:pt x="1870" y="714"/>
                    </a:cubicBezTo>
                    <a:cubicBezTo>
                      <a:pt x="1859" y="709"/>
                      <a:pt x="1847" y="704"/>
                      <a:pt x="1839" y="700"/>
                    </a:cubicBezTo>
                    <a:cubicBezTo>
                      <a:pt x="1835" y="699"/>
                      <a:pt x="1832" y="697"/>
                      <a:pt x="1829" y="696"/>
                    </a:cubicBezTo>
                    <a:close/>
                    <a:moveTo>
                      <a:pt x="1498" y="458"/>
                    </a:moveTo>
                    <a:cubicBezTo>
                      <a:pt x="1507" y="469"/>
                      <a:pt x="1523" y="487"/>
                      <a:pt x="1539" y="506"/>
                    </a:cubicBezTo>
                    <a:cubicBezTo>
                      <a:pt x="1551" y="521"/>
                      <a:pt x="1564" y="536"/>
                      <a:pt x="1573" y="547"/>
                    </a:cubicBezTo>
                    <a:cubicBezTo>
                      <a:pt x="1578" y="553"/>
                      <a:pt x="1582" y="557"/>
                      <a:pt x="1585" y="561"/>
                    </a:cubicBezTo>
                    <a:cubicBezTo>
                      <a:pt x="1586" y="562"/>
                      <a:pt x="1586" y="563"/>
                      <a:pt x="1587" y="564"/>
                    </a:cubicBezTo>
                    <a:cubicBezTo>
                      <a:pt x="1620" y="565"/>
                      <a:pt x="1814" y="573"/>
                      <a:pt x="1836" y="574"/>
                    </a:cubicBezTo>
                    <a:cubicBezTo>
                      <a:pt x="1838" y="557"/>
                      <a:pt x="1841" y="539"/>
                      <a:pt x="1843" y="521"/>
                    </a:cubicBezTo>
                    <a:cubicBezTo>
                      <a:pt x="1850" y="458"/>
                      <a:pt x="1857" y="397"/>
                      <a:pt x="1859" y="382"/>
                    </a:cubicBezTo>
                    <a:cubicBezTo>
                      <a:pt x="1850" y="371"/>
                      <a:pt x="1813" y="327"/>
                      <a:pt x="1777" y="282"/>
                    </a:cubicBezTo>
                    <a:cubicBezTo>
                      <a:pt x="1756" y="256"/>
                      <a:pt x="1735" y="230"/>
                      <a:pt x="1719" y="210"/>
                    </a:cubicBezTo>
                    <a:cubicBezTo>
                      <a:pt x="1711" y="200"/>
                      <a:pt x="1704" y="192"/>
                      <a:pt x="1700" y="186"/>
                    </a:cubicBezTo>
                    <a:cubicBezTo>
                      <a:pt x="1697" y="183"/>
                      <a:pt x="1696" y="180"/>
                      <a:pt x="1694" y="178"/>
                    </a:cubicBezTo>
                    <a:lnTo>
                      <a:pt x="1498" y="458"/>
                    </a:lnTo>
                    <a:close/>
                    <a:moveTo>
                      <a:pt x="946" y="378"/>
                    </a:moveTo>
                    <a:cubicBezTo>
                      <a:pt x="1091" y="470"/>
                      <a:pt x="1091" y="470"/>
                      <a:pt x="1091" y="470"/>
                    </a:cubicBezTo>
                    <a:cubicBezTo>
                      <a:pt x="1182" y="732"/>
                      <a:pt x="1182" y="732"/>
                      <a:pt x="1182" y="732"/>
                    </a:cubicBezTo>
                    <a:cubicBezTo>
                      <a:pt x="1289" y="646"/>
                      <a:pt x="1289" y="646"/>
                      <a:pt x="1289" y="646"/>
                    </a:cubicBezTo>
                    <a:cubicBezTo>
                      <a:pt x="1538" y="290"/>
                      <a:pt x="1538" y="290"/>
                      <a:pt x="1538" y="290"/>
                    </a:cubicBezTo>
                    <a:cubicBezTo>
                      <a:pt x="1517" y="279"/>
                      <a:pt x="1479" y="255"/>
                      <a:pt x="1442" y="231"/>
                    </a:cubicBezTo>
                    <a:cubicBezTo>
                      <a:pt x="1399" y="204"/>
                      <a:pt x="1360" y="179"/>
                      <a:pt x="1360" y="179"/>
                    </a:cubicBezTo>
                    <a:cubicBezTo>
                      <a:pt x="1360" y="179"/>
                      <a:pt x="1360" y="179"/>
                      <a:pt x="1360" y="179"/>
                    </a:cubicBezTo>
                    <a:cubicBezTo>
                      <a:pt x="1245" y="317"/>
                      <a:pt x="1245" y="317"/>
                      <a:pt x="1245" y="317"/>
                    </a:cubicBezTo>
                    <a:cubicBezTo>
                      <a:pt x="1041" y="135"/>
                      <a:pt x="1041" y="135"/>
                      <a:pt x="1041" y="135"/>
                    </a:cubicBezTo>
                    <a:lnTo>
                      <a:pt x="946" y="378"/>
                    </a:lnTo>
                    <a:close/>
                    <a:moveTo>
                      <a:pt x="881" y="439"/>
                    </a:moveTo>
                    <a:cubicBezTo>
                      <a:pt x="915" y="600"/>
                      <a:pt x="915" y="600"/>
                      <a:pt x="915" y="600"/>
                    </a:cubicBezTo>
                    <a:cubicBezTo>
                      <a:pt x="872" y="624"/>
                      <a:pt x="872" y="624"/>
                      <a:pt x="872" y="624"/>
                    </a:cubicBezTo>
                    <a:cubicBezTo>
                      <a:pt x="854" y="773"/>
                      <a:pt x="854" y="773"/>
                      <a:pt x="854" y="773"/>
                    </a:cubicBezTo>
                    <a:cubicBezTo>
                      <a:pt x="917" y="828"/>
                      <a:pt x="917" y="828"/>
                      <a:pt x="917" y="828"/>
                    </a:cubicBezTo>
                    <a:cubicBezTo>
                      <a:pt x="940" y="929"/>
                      <a:pt x="940" y="929"/>
                      <a:pt x="940" y="929"/>
                    </a:cubicBezTo>
                    <a:cubicBezTo>
                      <a:pt x="1169" y="743"/>
                      <a:pt x="1169" y="743"/>
                      <a:pt x="1169" y="743"/>
                    </a:cubicBezTo>
                    <a:cubicBezTo>
                      <a:pt x="1077" y="481"/>
                      <a:pt x="1077" y="481"/>
                      <a:pt x="1077" y="481"/>
                    </a:cubicBezTo>
                    <a:cubicBezTo>
                      <a:pt x="935" y="391"/>
                      <a:pt x="935" y="391"/>
                      <a:pt x="935" y="391"/>
                    </a:cubicBezTo>
                    <a:lnTo>
                      <a:pt x="881" y="439"/>
                    </a:lnTo>
                    <a:close/>
                    <a:moveTo>
                      <a:pt x="367" y="285"/>
                    </a:moveTo>
                    <a:cubicBezTo>
                      <a:pt x="614" y="628"/>
                      <a:pt x="614" y="628"/>
                      <a:pt x="614" y="628"/>
                    </a:cubicBezTo>
                    <a:cubicBezTo>
                      <a:pt x="852" y="374"/>
                      <a:pt x="852" y="374"/>
                      <a:pt x="852" y="374"/>
                    </a:cubicBezTo>
                    <a:cubicBezTo>
                      <a:pt x="852" y="374"/>
                      <a:pt x="852" y="374"/>
                      <a:pt x="852" y="374"/>
                    </a:cubicBezTo>
                    <a:cubicBezTo>
                      <a:pt x="855" y="372"/>
                      <a:pt x="855" y="372"/>
                      <a:pt x="855" y="372"/>
                    </a:cubicBezTo>
                    <a:cubicBezTo>
                      <a:pt x="857" y="369"/>
                      <a:pt x="857" y="369"/>
                      <a:pt x="857" y="369"/>
                    </a:cubicBezTo>
                    <a:cubicBezTo>
                      <a:pt x="857" y="369"/>
                      <a:pt x="857" y="369"/>
                      <a:pt x="857" y="369"/>
                    </a:cubicBezTo>
                    <a:cubicBezTo>
                      <a:pt x="885" y="344"/>
                      <a:pt x="885" y="344"/>
                      <a:pt x="885" y="344"/>
                    </a:cubicBezTo>
                    <a:cubicBezTo>
                      <a:pt x="921" y="257"/>
                      <a:pt x="921" y="257"/>
                      <a:pt x="921" y="257"/>
                    </a:cubicBezTo>
                    <a:cubicBezTo>
                      <a:pt x="881" y="222"/>
                      <a:pt x="760" y="116"/>
                      <a:pt x="638" y="9"/>
                    </a:cubicBezTo>
                    <a:cubicBezTo>
                      <a:pt x="638" y="9"/>
                      <a:pt x="637" y="8"/>
                      <a:pt x="636" y="8"/>
                    </a:cubicBezTo>
                    <a:cubicBezTo>
                      <a:pt x="638" y="11"/>
                      <a:pt x="638" y="11"/>
                      <a:pt x="638" y="11"/>
                    </a:cubicBezTo>
                    <a:cubicBezTo>
                      <a:pt x="636" y="11"/>
                      <a:pt x="615" y="31"/>
                      <a:pt x="587" y="59"/>
                    </a:cubicBezTo>
                    <a:cubicBezTo>
                      <a:pt x="520" y="126"/>
                      <a:pt x="408" y="242"/>
                      <a:pt x="367" y="285"/>
                    </a:cubicBezTo>
                    <a:close/>
                    <a:moveTo>
                      <a:pt x="251" y="1015"/>
                    </a:moveTo>
                    <a:cubicBezTo>
                      <a:pt x="252" y="1014"/>
                      <a:pt x="252" y="1014"/>
                      <a:pt x="252" y="1014"/>
                    </a:cubicBezTo>
                    <a:cubicBezTo>
                      <a:pt x="583" y="662"/>
                      <a:pt x="583" y="662"/>
                      <a:pt x="583" y="662"/>
                    </a:cubicBezTo>
                    <a:cubicBezTo>
                      <a:pt x="342" y="327"/>
                      <a:pt x="342" y="327"/>
                      <a:pt x="342" y="327"/>
                    </a:cubicBezTo>
                    <a:cubicBezTo>
                      <a:pt x="331" y="358"/>
                      <a:pt x="311" y="409"/>
                      <a:pt x="291" y="461"/>
                    </a:cubicBezTo>
                    <a:cubicBezTo>
                      <a:pt x="275" y="502"/>
                      <a:pt x="259" y="542"/>
                      <a:pt x="247" y="573"/>
                    </a:cubicBezTo>
                    <a:cubicBezTo>
                      <a:pt x="240" y="588"/>
                      <a:pt x="235" y="601"/>
                      <a:pt x="231" y="610"/>
                    </a:cubicBezTo>
                    <a:cubicBezTo>
                      <a:pt x="228" y="615"/>
                      <a:pt x="227" y="618"/>
                      <a:pt x="225" y="621"/>
                    </a:cubicBezTo>
                    <a:cubicBezTo>
                      <a:pt x="224" y="622"/>
                      <a:pt x="224" y="623"/>
                      <a:pt x="223" y="624"/>
                    </a:cubicBezTo>
                    <a:cubicBezTo>
                      <a:pt x="222" y="625"/>
                      <a:pt x="222" y="627"/>
                      <a:pt x="216" y="628"/>
                    </a:cubicBezTo>
                    <a:cubicBezTo>
                      <a:pt x="207" y="628"/>
                      <a:pt x="145" y="620"/>
                      <a:pt x="130" y="619"/>
                    </a:cubicBezTo>
                    <a:cubicBezTo>
                      <a:pt x="127" y="624"/>
                      <a:pt x="118" y="640"/>
                      <a:pt x="107" y="661"/>
                    </a:cubicBezTo>
                    <a:cubicBezTo>
                      <a:pt x="79" y="717"/>
                      <a:pt x="36" y="808"/>
                      <a:pt x="18" y="846"/>
                    </a:cubicBezTo>
                    <a:cubicBezTo>
                      <a:pt x="34" y="856"/>
                      <a:pt x="50" y="865"/>
                      <a:pt x="66" y="875"/>
                    </a:cubicBezTo>
                    <a:cubicBezTo>
                      <a:pt x="153" y="932"/>
                      <a:pt x="221" y="988"/>
                      <a:pt x="251" y="1015"/>
                    </a:cubicBezTo>
                    <a:close/>
                    <a:moveTo>
                      <a:pt x="330" y="1436"/>
                    </a:moveTo>
                    <a:cubicBezTo>
                      <a:pt x="700" y="1128"/>
                      <a:pt x="700" y="1128"/>
                      <a:pt x="700" y="1128"/>
                    </a:cubicBezTo>
                    <a:cubicBezTo>
                      <a:pt x="480" y="866"/>
                      <a:pt x="480" y="866"/>
                      <a:pt x="480" y="866"/>
                    </a:cubicBezTo>
                    <a:cubicBezTo>
                      <a:pt x="300" y="1059"/>
                      <a:pt x="300" y="1059"/>
                      <a:pt x="300" y="1059"/>
                    </a:cubicBezTo>
                    <a:cubicBezTo>
                      <a:pt x="269" y="1090"/>
                      <a:pt x="228" y="1138"/>
                      <a:pt x="165" y="1187"/>
                    </a:cubicBezTo>
                    <a:cubicBezTo>
                      <a:pt x="243" y="1270"/>
                      <a:pt x="243" y="1270"/>
                      <a:pt x="243" y="1270"/>
                    </a:cubicBezTo>
                    <a:cubicBezTo>
                      <a:pt x="200" y="1316"/>
                      <a:pt x="200" y="1316"/>
                      <a:pt x="200" y="1316"/>
                    </a:cubicBezTo>
                    <a:cubicBezTo>
                      <a:pt x="206" y="1310"/>
                      <a:pt x="206" y="1310"/>
                      <a:pt x="206" y="1310"/>
                    </a:cubicBezTo>
                    <a:lnTo>
                      <a:pt x="330" y="1436"/>
                    </a:lnTo>
                    <a:close/>
                    <a:moveTo>
                      <a:pt x="342" y="1821"/>
                    </a:moveTo>
                    <a:cubicBezTo>
                      <a:pt x="537" y="1726"/>
                      <a:pt x="537" y="1726"/>
                      <a:pt x="537" y="1726"/>
                    </a:cubicBezTo>
                    <a:cubicBezTo>
                      <a:pt x="537" y="1706"/>
                      <a:pt x="534" y="1632"/>
                      <a:pt x="534" y="1606"/>
                    </a:cubicBezTo>
                    <a:cubicBezTo>
                      <a:pt x="534" y="1604"/>
                      <a:pt x="534" y="1602"/>
                      <a:pt x="534" y="1600"/>
                    </a:cubicBezTo>
                    <a:cubicBezTo>
                      <a:pt x="535" y="1598"/>
                      <a:pt x="534" y="1598"/>
                      <a:pt x="535" y="1595"/>
                    </a:cubicBezTo>
                    <a:cubicBezTo>
                      <a:pt x="506" y="1569"/>
                      <a:pt x="436" y="1499"/>
                      <a:pt x="399" y="1463"/>
                    </a:cubicBezTo>
                    <a:cubicBezTo>
                      <a:pt x="156" y="1666"/>
                      <a:pt x="156" y="1666"/>
                      <a:pt x="156" y="1666"/>
                    </a:cubicBezTo>
                    <a:lnTo>
                      <a:pt x="342" y="1821"/>
                    </a:lnTo>
                    <a:close/>
                    <a:moveTo>
                      <a:pt x="258" y="2049"/>
                    </a:moveTo>
                    <a:cubicBezTo>
                      <a:pt x="278" y="2041"/>
                      <a:pt x="304" y="2032"/>
                      <a:pt x="341" y="2030"/>
                    </a:cubicBezTo>
                    <a:cubicBezTo>
                      <a:pt x="343" y="2030"/>
                      <a:pt x="346" y="2030"/>
                      <a:pt x="348" y="2030"/>
                    </a:cubicBezTo>
                    <a:cubicBezTo>
                      <a:pt x="409" y="2031"/>
                      <a:pt x="480" y="2063"/>
                      <a:pt x="520" y="2076"/>
                    </a:cubicBezTo>
                    <a:cubicBezTo>
                      <a:pt x="528" y="2045"/>
                      <a:pt x="540" y="2001"/>
                      <a:pt x="553" y="1957"/>
                    </a:cubicBezTo>
                    <a:cubicBezTo>
                      <a:pt x="564" y="1916"/>
                      <a:pt x="575" y="1876"/>
                      <a:pt x="583" y="1845"/>
                    </a:cubicBezTo>
                    <a:cubicBezTo>
                      <a:pt x="587" y="1830"/>
                      <a:pt x="591" y="1817"/>
                      <a:pt x="593" y="1808"/>
                    </a:cubicBezTo>
                    <a:cubicBezTo>
                      <a:pt x="594" y="1803"/>
                      <a:pt x="595" y="1799"/>
                      <a:pt x="596" y="1797"/>
                    </a:cubicBezTo>
                    <a:cubicBezTo>
                      <a:pt x="596" y="1796"/>
                      <a:pt x="596" y="1795"/>
                      <a:pt x="596" y="1794"/>
                    </a:cubicBezTo>
                    <a:cubicBezTo>
                      <a:pt x="597" y="1794"/>
                      <a:pt x="597" y="1793"/>
                      <a:pt x="597" y="1793"/>
                    </a:cubicBezTo>
                    <a:cubicBezTo>
                      <a:pt x="600" y="1794"/>
                      <a:pt x="600" y="1794"/>
                      <a:pt x="600" y="1794"/>
                    </a:cubicBezTo>
                    <a:cubicBezTo>
                      <a:pt x="573" y="1769"/>
                      <a:pt x="552" y="1749"/>
                      <a:pt x="544" y="1741"/>
                    </a:cubicBezTo>
                    <a:cubicBezTo>
                      <a:pt x="346" y="1837"/>
                      <a:pt x="346" y="1837"/>
                      <a:pt x="346" y="1837"/>
                    </a:cubicBezTo>
                    <a:lnTo>
                      <a:pt x="258" y="2049"/>
                    </a:lnTo>
                    <a:close/>
                    <a:moveTo>
                      <a:pt x="273" y="2583"/>
                    </a:moveTo>
                    <a:cubicBezTo>
                      <a:pt x="139" y="2332"/>
                      <a:pt x="139" y="2332"/>
                      <a:pt x="139" y="2332"/>
                    </a:cubicBezTo>
                    <a:cubicBezTo>
                      <a:pt x="48" y="2356"/>
                      <a:pt x="48" y="2356"/>
                      <a:pt x="48" y="2356"/>
                    </a:cubicBezTo>
                    <a:cubicBezTo>
                      <a:pt x="46" y="2369"/>
                      <a:pt x="40" y="2403"/>
                      <a:pt x="33" y="2438"/>
                    </a:cubicBezTo>
                    <a:cubicBezTo>
                      <a:pt x="26" y="2478"/>
                      <a:pt x="18" y="2522"/>
                      <a:pt x="17" y="2535"/>
                    </a:cubicBezTo>
                    <a:cubicBezTo>
                      <a:pt x="28" y="2543"/>
                      <a:pt x="58" y="2572"/>
                      <a:pt x="88" y="2600"/>
                    </a:cubicBezTo>
                    <a:cubicBezTo>
                      <a:pt x="103" y="2615"/>
                      <a:pt x="118" y="2628"/>
                      <a:pt x="130" y="2639"/>
                    </a:cubicBezTo>
                    <a:cubicBezTo>
                      <a:pt x="135" y="2644"/>
                      <a:pt x="140" y="2648"/>
                      <a:pt x="143" y="2651"/>
                    </a:cubicBezTo>
                    <a:cubicBezTo>
                      <a:pt x="144" y="2652"/>
                      <a:pt x="145" y="2653"/>
                      <a:pt x="145" y="2653"/>
                    </a:cubicBezTo>
                    <a:cubicBezTo>
                      <a:pt x="156" y="2649"/>
                      <a:pt x="187" y="2631"/>
                      <a:pt x="216" y="2615"/>
                    </a:cubicBezTo>
                    <a:cubicBezTo>
                      <a:pt x="239" y="2602"/>
                      <a:pt x="262" y="2589"/>
                      <a:pt x="273" y="2583"/>
                    </a:cubicBezTo>
                    <a:close/>
                    <a:moveTo>
                      <a:pt x="430" y="2730"/>
                    </a:moveTo>
                    <a:cubicBezTo>
                      <a:pt x="435" y="2728"/>
                      <a:pt x="439" y="2726"/>
                      <a:pt x="441" y="2725"/>
                    </a:cubicBezTo>
                    <a:cubicBezTo>
                      <a:pt x="561" y="2661"/>
                      <a:pt x="561" y="2661"/>
                      <a:pt x="561" y="2661"/>
                    </a:cubicBezTo>
                    <a:cubicBezTo>
                      <a:pt x="550" y="2631"/>
                      <a:pt x="528" y="2568"/>
                      <a:pt x="505" y="2504"/>
                    </a:cubicBezTo>
                    <a:cubicBezTo>
                      <a:pt x="489" y="2460"/>
                      <a:pt x="474" y="2416"/>
                      <a:pt x="462" y="2382"/>
                    </a:cubicBezTo>
                    <a:cubicBezTo>
                      <a:pt x="456" y="2365"/>
                      <a:pt x="451" y="2351"/>
                      <a:pt x="448" y="2340"/>
                    </a:cubicBezTo>
                    <a:cubicBezTo>
                      <a:pt x="444" y="2329"/>
                      <a:pt x="442" y="2325"/>
                      <a:pt x="442" y="2320"/>
                    </a:cubicBezTo>
                    <a:cubicBezTo>
                      <a:pt x="442" y="2320"/>
                      <a:pt x="442" y="2320"/>
                      <a:pt x="442" y="2320"/>
                    </a:cubicBezTo>
                    <a:cubicBezTo>
                      <a:pt x="442" y="2319"/>
                      <a:pt x="442" y="2319"/>
                      <a:pt x="442" y="2319"/>
                    </a:cubicBezTo>
                    <a:cubicBezTo>
                      <a:pt x="442" y="2317"/>
                      <a:pt x="442" y="2317"/>
                      <a:pt x="442" y="2317"/>
                    </a:cubicBezTo>
                    <a:cubicBezTo>
                      <a:pt x="443" y="2314"/>
                      <a:pt x="483" y="2194"/>
                      <a:pt x="500" y="2142"/>
                    </a:cubicBezTo>
                    <a:cubicBezTo>
                      <a:pt x="457" y="2127"/>
                      <a:pt x="386" y="2098"/>
                      <a:pt x="348" y="2099"/>
                    </a:cubicBezTo>
                    <a:cubicBezTo>
                      <a:pt x="347" y="2099"/>
                      <a:pt x="346" y="2099"/>
                      <a:pt x="345" y="2099"/>
                    </a:cubicBezTo>
                    <a:cubicBezTo>
                      <a:pt x="299" y="2101"/>
                      <a:pt x="282" y="2114"/>
                      <a:pt x="250" y="2126"/>
                    </a:cubicBezTo>
                    <a:cubicBezTo>
                      <a:pt x="241" y="2129"/>
                      <a:pt x="202" y="2146"/>
                      <a:pt x="169" y="2161"/>
                    </a:cubicBezTo>
                    <a:cubicBezTo>
                      <a:pt x="155" y="2168"/>
                      <a:pt x="142" y="2174"/>
                      <a:pt x="131" y="2179"/>
                    </a:cubicBezTo>
                    <a:lnTo>
                      <a:pt x="430" y="2730"/>
                    </a:lnTo>
                    <a:close/>
                    <a:moveTo>
                      <a:pt x="472" y="2895"/>
                    </a:moveTo>
                    <a:cubicBezTo>
                      <a:pt x="471" y="2894"/>
                      <a:pt x="471" y="2893"/>
                      <a:pt x="470" y="2892"/>
                    </a:cubicBezTo>
                    <a:cubicBezTo>
                      <a:pt x="469" y="2892"/>
                      <a:pt x="469" y="2891"/>
                      <a:pt x="468" y="2891"/>
                    </a:cubicBezTo>
                    <a:cubicBezTo>
                      <a:pt x="468" y="2890"/>
                      <a:pt x="468" y="2890"/>
                      <a:pt x="467" y="2888"/>
                    </a:cubicBezTo>
                    <a:cubicBezTo>
                      <a:pt x="467" y="2888"/>
                      <a:pt x="466" y="2887"/>
                      <a:pt x="466" y="2886"/>
                    </a:cubicBezTo>
                    <a:cubicBezTo>
                      <a:pt x="462" y="2889"/>
                      <a:pt x="459" y="2891"/>
                      <a:pt x="456" y="2893"/>
                    </a:cubicBezTo>
                    <a:cubicBezTo>
                      <a:pt x="464" y="2895"/>
                      <a:pt x="470" y="2897"/>
                      <a:pt x="475" y="2898"/>
                    </a:cubicBezTo>
                    <a:cubicBezTo>
                      <a:pt x="474" y="2897"/>
                      <a:pt x="473" y="2896"/>
                      <a:pt x="472" y="2895"/>
                    </a:cubicBezTo>
                    <a:close/>
                    <a:moveTo>
                      <a:pt x="571" y="3010"/>
                    </a:moveTo>
                    <a:cubicBezTo>
                      <a:pt x="545" y="2980"/>
                      <a:pt x="523" y="2955"/>
                      <a:pt x="506" y="2935"/>
                    </a:cubicBezTo>
                    <a:cubicBezTo>
                      <a:pt x="499" y="2927"/>
                      <a:pt x="493" y="2920"/>
                      <a:pt x="488" y="2914"/>
                    </a:cubicBezTo>
                    <a:cubicBezTo>
                      <a:pt x="487" y="2914"/>
                      <a:pt x="486" y="2915"/>
                      <a:pt x="484" y="2916"/>
                    </a:cubicBezTo>
                    <a:cubicBezTo>
                      <a:pt x="481" y="2917"/>
                      <a:pt x="481" y="2917"/>
                      <a:pt x="481" y="2917"/>
                    </a:cubicBezTo>
                    <a:cubicBezTo>
                      <a:pt x="478" y="2916"/>
                      <a:pt x="478" y="2916"/>
                      <a:pt x="478" y="2916"/>
                    </a:cubicBezTo>
                    <a:cubicBezTo>
                      <a:pt x="474" y="2915"/>
                      <a:pt x="460" y="2911"/>
                      <a:pt x="440" y="2906"/>
                    </a:cubicBezTo>
                    <a:cubicBezTo>
                      <a:pt x="438" y="2908"/>
                      <a:pt x="436" y="2909"/>
                      <a:pt x="435" y="2911"/>
                    </a:cubicBezTo>
                    <a:cubicBezTo>
                      <a:pt x="426" y="2920"/>
                      <a:pt x="343" y="3010"/>
                      <a:pt x="239" y="3121"/>
                    </a:cubicBezTo>
                    <a:cubicBezTo>
                      <a:pt x="261" y="3119"/>
                      <a:pt x="282" y="3116"/>
                      <a:pt x="301" y="3113"/>
                    </a:cubicBezTo>
                    <a:cubicBezTo>
                      <a:pt x="387" y="3098"/>
                      <a:pt x="387" y="3098"/>
                      <a:pt x="387" y="3098"/>
                    </a:cubicBezTo>
                    <a:cubicBezTo>
                      <a:pt x="388" y="3098"/>
                      <a:pt x="388" y="3098"/>
                      <a:pt x="388" y="3098"/>
                    </a:cubicBezTo>
                    <a:cubicBezTo>
                      <a:pt x="391" y="3098"/>
                      <a:pt x="414" y="3092"/>
                      <a:pt x="433" y="3086"/>
                    </a:cubicBezTo>
                    <a:cubicBezTo>
                      <a:pt x="450" y="3081"/>
                      <a:pt x="465" y="3076"/>
                      <a:pt x="470" y="3075"/>
                    </a:cubicBezTo>
                    <a:cubicBezTo>
                      <a:pt x="506" y="3051"/>
                      <a:pt x="535" y="3032"/>
                      <a:pt x="571" y="3010"/>
                    </a:cubicBezTo>
                    <a:close/>
                    <a:moveTo>
                      <a:pt x="631" y="2974"/>
                    </a:moveTo>
                    <a:cubicBezTo>
                      <a:pt x="651" y="2962"/>
                      <a:pt x="665" y="2954"/>
                      <a:pt x="669" y="2952"/>
                    </a:cubicBezTo>
                    <a:cubicBezTo>
                      <a:pt x="683" y="2944"/>
                      <a:pt x="853" y="2852"/>
                      <a:pt x="1107" y="2714"/>
                    </a:cubicBezTo>
                    <a:cubicBezTo>
                      <a:pt x="1143" y="2695"/>
                      <a:pt x="1182" y="2674"/>
                      <a:pt x="1221" y="2653"/>
                    </a:cubicBezTo>
                    <a:cubicBezTo>
                      <a:pt x="1220" y="2653"/>
                      <a:pt x="1220" y="2652"/>
                      <a:pt x="1220" y="2652"/>
                    </a:cubicBezTo>
                    <a:cubicBezTo>
                      <a:pt x="1219" y="2651"/>
                      <a:pt x="1219" y="2651"/>
                      <a:pt x="1218" y="2650"/>
                    </a:cubicBezTo>
                    <a:cubicBezTo>
                      <a:pt x="1218" y="2649"/>
                      <a:pt x="1217" y="2651"/>
                      <a:pt x="1216" y="2645"/>
                    </a:cubicBezTo>
                    <a:cubicBezTo>
                      <a:pt x="1216" y="2642"/>
                      <a:pt x="1218" y="2638"/>
                      <a:pt x="1220" y="2637"/>
                    </a:cubicBezTo>
                    <a:cubicBezTo>
                      <a:pt x="1221" y="2637"/>
                      <a:pt x="1222" y="2636"/>
                      <a:pt x="1223" y="2636"/>
                    </a:cubicBezTo>
                    <a:cubicBezTo>
                      <a:pt x="1224" y="2636"/>
                      <a:pt x="1224" y="2636"/>
                      <a:pt x="1224" y="2636"/>
                    </a:cubicBezTo>
                    <a:cubicBezTo>
                      <a:pt x="1224" y="2636"/>
                      <a:pt x="1224" y="2636"/>
                      <a:pt x="1224" y="2636"/>
                    </a:cubicBezTo>
                    <a:cubicBezTo>
                      <a:pt x="1224" y="2636"/>
                      <a:pt x="1224" y="2636"/>
                      <a:pt x="1224" y="2636"/>
                    </a:cubicBezTo>
                    <a:cubicBezTo>
                      <a:pt x="1224" y="2636"/>
                      <a:pt x="1224" y="2636"/>
                      <a:pt x="1224" y="2636"/>
                    </a:cubicBezTo>
                    <a:cubicBezTo>
                      <a:pt x="1224" y="2636"/>
                      <a:pt x="1224" y="2636"/>
                      <a:pt x="1224" y="2636"/>
                    </a:cubicBezTo>
                    <a:cubicBezTo>
                      <a:pt x="1225" y="2636"/>
                      <a:pt x="1226" y="2636"/>
                      <a:pt x="1227" y="2637"/>
                    </a:cubicBezTo>
                    <a:cubicBezTo>
                      <a:pt x="1228" y="2637"/>
                      <a:pt x="1229" y="2637"/>
                      <a:pt x="1229" y="2638"/>
                    </a:cubicBezTo>
                    <a:cubicBezTo>
                      <a:pt x="1230" y="2638"/>
                      <a:pt x="1230" y="2638"/>
                      <a:pt x="1230" y="2639"/>
                    </a:cubicBezTo>
                    <a:cubicBezTo>
                      <a:pt x="1230" y="2639"/>
                      <a:pt x="1231" y="2639"/>
                      <a:pt x="1231" y="2640"/>
                    </a:cubicBezTo>
                    <a:cubicBezTo>
                      <a:pt x="1231" y="2640"/>
                      <a:pt x="1231" y="2640"/>
                      <a:pt x="1231" y="2641"/>
                    </a:cubicBezTo>
                    <a:cubicBezTo>
                      <a:pt x="1232" y="2642"/>
                      <a:pt x="1234" y="2643"/>
                      <a:pt x="1236" y="2645"/>
                    </a:cubicBezTo>
                    <a:cubicBezTo>
                      <a:pt x="1479" y="2513"/>
                      <a:pt x="1771" y="2356"/>
                      <a:pt x="2084" y="2187"/>
                    </a:cubicBezTo>
                    <a:cubicBezTo>
                      <a:pt x="2106" y="2166"/>
                      <a:pt x="2106" y="2166"/>
                      <a:pt x="2106" y="2166"/>
                    </a:cubicBezTo>
                    <a:cubicBezTo>
                      <a:pt x="2107" y="2166"/>
                      <a:pt x="2107" y="2166"/>
                      <a:pt x="2107" y="2166"/>
                    </a:cubicBezTo>
                    <a:cubicBezTo>
                      <a:pt x="2140" y="2147"/>
                      <a:pt x="2174" y="2129"/>
                      <a:pt x="2208" y="2111"/>
                    </a:cubicBezTo>
                    <a:cubicBezTo>
                      <a:pt x="2208" y="2109"/>
                      <a:pt x="2208" y="2108"/>
                      <a:pt x="2208" y="2108"/>
                    </a:cubicBezTo>
                    <a:cubicBezTo>
                      <a:pt x="2212" y="2109"/>
                      <a:pt x="2212" y="2109"/>
                      <a:pt x="2212" y="2109"/>
                    </a:cubicBezTo>
                    <a:cubicBezTo>
                      <a:pt x="2278" y="2073"/>
                      <a:pt x="2344" y="2038"/>
                      <a:pt x="2410" y="2003"/>
                    </a:cubicBezTo>
                    <a:cubicBezTo>
                      <a:pt x="2405" y="1991"/>
                      <a:pt x="2405" y="1991"/>
                      <a:pt x="2405" y="1991"/>
                    </a:cubicBezTo>
                    <a:cubicBezTo>
                      <a:pt x="2418" y="1986"/>
                      <a:pt x="2418" y="1986"/>
                      <a:pt x="2418" y="1986"/>
                    </a:cubicBezTo>
                    <a:cubicBezTo>
                      <a:pt x="2422" y="1996"/>
                      <a:pt x="2422" y="1996"/>
                      <a:pt x="2422" y="1996"/>
                    </a:cubicBezTo>
                    <a:cubicBezTo>
                      <a:pt x="2493" y="1958"/>
                      <a:pt x="2564" y="1920"/>
                      <a:pt x="2633" y="1883"/>
                    </a:cubicBezTo>
                    <a:cubicBezTo>
                      <a:pt x="2625" y="1872"/>
                      <a:pt x="2625" y="1872"/>
                      <a:pt x="2625" y="1872"/>
                    </a:cubicBezTo>
                    <a:cubicBezTo>
                      <a:pt x="2636" y="1863"/>
                      <a:pt x="2636" y="1863"/>
                      <a:pt x="2636" y="1863"/>
                    </a:cubicBezTo>
                    <a:cubicBezTo>
                      <a:pt x="2646" y="1876"/>
                      <a:pt x="2646" y="1876"/>
                      <a:pt x="2646" y="1876"/>
                    </a:cubicBezTo>
                    <a:cubicBezTo>
                      <a:pt x="2794" y="1797"/>
                      <a:pt x="2938" y="1720"/>
                      <a:pt x="3072" y="1649"/>
                    </a:cubicBezTo>
                    <a:cubicBezTo>
                      <a:pt x="3071" y="1647"/>
                      <a:pt x="3071" y="1647"/>
                      <a:pt x="3071" y="1647"/>
                    </a:cubicBezTo>
                    <a:cubicBezTo>
                      <a:pt x="3084" y="1641"/>
                      <a:pt x="3084" y="1641"/>
                      <a:pt x="3084" y="1641"/>
                    </a:cubicBezTo>
                    <a:cubicBezTo>
                      <a:pt x="3085" y="1643"/>
                      <a:pt x="3085" y="1643"/>
                      <a:pt x="3085" y="1643"/>
                    </a:cubicBezTo>
                    <a:cubicBezTo>
                      <a:pt x="3408" y="1471"/>
                      <a:pt x="3671" y="1333"/>
                      <a:pt x="3798" y="1269"/>
                    </a:cubicBezTo>
                    <a:cubicBezTo>
                      <a:pt x="3751" y="1155"/>
                      <a:pt x="3751" y="1155"/>
                      <a:pt x="3751" y="1155"/>
                    </a:cubicBezTo>
                    <a:cubicBezTo>
                      <a:pt x="3540" y="1264"/>
                      <a:pt x="2907" y="1614"/>
                      <a:pt x="2276" y="1954"/>
                    </a:cubicBezTo>
                    <a:cubicBezTo>
                      <a:pt x="1447" y="2401"/>
                      <a:pt x="610" y="2844"/>
                      <a:pt x="609" y="2844"/>
                    </a:cubicBezTo>
                    <a:cubicBezTo>
                      <a:pt x="609" y="2845"/>
                      <a:pt x="609" y="2845"/>
                      <a:pt x="609" y="2845"/>
                    </a:cubicBezTo>
                    <a:cubicBezTo>
                      <a:pt x="608" y="2845"/>
                      <a:pt x="608" y="2845"/>
                      <a:pt x="608" y="2845"/>
                    </a:cubicBezTo>
                    <a:cubicBezTo>
                      <a:pt x="601" y="2849"/>
                      <a:pt x="600" y="2850"/>
                      <a:pt x="549" y="2879"/>
                    </a:cubicBezTo>
                    <a:cubicBezTo>
                      <a:pt x="567" y="2901"/>
                      <a:pt x="596" y="2934"/>
                      <a:pt x="631" y="2974"/>
                    </a:cubicBezTo>
                    <a:close/>
                    <a:moveTo>
                      <a:pt x="499" y="3153"/>
                    </a:moveTo>
                    <a:cubicBezTo>
                      <a:pt x="588" y="3311"/>
                      <a:pt x="588" y="3311"/>
                      <a:pt x="588" y="3311"/>
                    </a:cubicBezTo>
                    <a:cubicBezTo>
                      <a:pt x="707" y="3243"/>
                      <a:pt x="707" y="3243"/>
                      <a:pt x="707" y="3243"/>
                    </a:cubicBezTo>
                    <a:cubicBezTo>
                      <a:pt x="711" y="3250"/>
                      <a:pt x="711" y="3250"/>
                      <a:pt x="711" y="3250"/>
                    </a:cubicBezTo>
                    <a:cubicBezTo>
                      <a:pt x="711" y="3250"/>
                      <a:pt x="788" y="3371"/>
                      <a:pt x="865" y="3492"/>
                    </a:cubicBezTo>
                    <a:cubicBezTo>
                      <a:pt x="904" y="3553"/>
                      <a:pt x="942" y="3614"/>
                      <a:pt x="971" y="3660"/>
                    </a:cubicBezTo>
                    <a:cubicBezTo>
                      <a:pt x="986" y="3682"/>
                      <a:pt x="998" y="3702"/>
                      <a:pt x="1006" y="3715"/>
                    </a:cubicBezTo>
                    <a:cubicBezTo>
                      <a:pt x="1010" y="3722"/>
                      <a:pt x="1013" y="3728"/>
                      <a:pt x="1016" y="3731"/>
                    </a:cubicBezTo>
                    <a:cubicBezTo>
                      <a:pt x="1017" y="3733"/>
                      <a:pt x="1018" y="3735"/>
                      <a:pt x="1018" y="3736"/>
                    </a:cubicBezTo>
                    <a:cubicBezTo>
                      <a:pt x="1019" y="3736"/>
                      <a:pt x="1019" y="3737"/>
                      <a:pt x="1019" y="3737"/>
                    </a:cubicBezTo>
                    <a:cubicBezTo>
                      <a:pt x="1020" y="3738"/>
                      <a:pt x="1020" y="3737"/>
                      <a:pt x="1020" y="3742"/>
                    </a:cubicBezTo>
                    <a:cubicBezTo>
                      <a:pt x="1020" y="3747"/>
                      <a:pt x="1017" y="3748"/>
                      <a:pt x="1016" y="3749"/>
                    </a:cubicBezTo>
                    <a:cubicBezTo>
                      <a:pt x="1015" y="3749"/>
                      <a:pt x="1015" y="3750"/>
                      <a:pt x="1012" y="3750"/>
                    </a:cubicBezTo>
                    <a:cubicBezTo>
                      <a:pt x="1007" y="3752"/>
                      <a:pt x="984" y="3767"/>
                      <a:pt x="964" y="3781"/>
                    </a:cubicBezTo>
                    <a:cubicBezTo>
                      <a:pt x="945" y="3794"/>
                      <a:pt x="927" y="3806"/>
                      <a:pt x="922" y="3809"/>
                    </a:cubicBezTo>
                    <a:cubicBezTo>
                      <a:pt x="759" y="4036"/>
                      <a:pt x="759" y="4036"/>
                      <a:pt x="759" y="4036"/>
                    </a:cubicBezTo>
                    <a:cubicBezTo>
                      <a:pt x="835" y="4085"/>
                      <a:pt x="937" y="4142"/>
                      <a:pt x="986" y="4172"/>
                    </a:cubicBezTo>
                    <a:cubicBezTo>
                      <a:pt x="986" y="4172"/>
                      <a:pt x="986" y="4172"/>
                      <a:pt x="986" y="4172"/>
                    </a:cubicBezTo>
                    <a:cubicBezTo>
                      <a:pt x="981" y="4158"/>
                      <a:pt x="975" y="4143"/>
                      <a:pt x="969" y="4130"/>
                    </a:cubicBezTo>
                    <a:cubicBezTo>
                      <a:pt x="948" y="4081"/>
                      <a:pt x="926" y="4042"/>
                      <a:pt x="926" y="4014"/>
                    </a:cubicBezTo>
                    <a:cubicBezTo>
                      <a:pt x="926" y="4014"/>
                      <a:pt x="926" y="4014"/>
                      <a:pt x="926" y="4014"/>
                    </a:cubicBezTo>
                    <a:cubicBezTo>
                      <a:pt x="927" y="3954"/>
                      <a:pt x="975" y="3896"/>
                      <a:pt x="1102" y="3838"/>
                    </a:cubicBezTo>
                    <a:cubicBezTo>
                      <a:pt x="1111" y="3834"/>
                      <a:pt x="1119" y="3831"/>
                      <a:pt x="1128" y="3829"/>
                    </a:cubicBezTo>
                    <a:cubicBezTo>
                      <a:pt x="1126" y="3819"/>
                      <a:pt x="1123" y="3806"/>
                      <a:pt x="1123" y="3792"/>
                    </a:cubicBezTo>
                    <a:cubicBezTo>
                      <a:pt x="1123" y="3773"/>
                      <a:pt x="1127" y="3751"/>
                      <a:pt x="1143" y="3733"/>
                    </a:cubicBezTo>
                    <a:cubicBezTo>
                      <a:pt x="1150" y="3727"/>
                      <a:pt x="1162" y="3719"/>
                      <a:pt x="1176" y="3711"/>
                    </a:cubicBezTo>
                    <a:cubicBezTo>
                      <a:pt x="1098" y="3620"/>
                      <a:pt x="996" y="3502"/>
                      <a:pt x="893" y="3383"/>
                    </a:cubicBezTo>
                    <a:cubicBezTo>
                      <a:pt x="802" y="3279"/>
                      <a:pt x="712" y="3174"/>
                      <a:pt x="638" y="3088"/>
                    </a:cubicBezTo>
                    <a:cubicBezTo>
                      <a:pt x="590" y="3109"/>
                      <a:pt x="541" y="3132"/>
                      <a:pt x="499" y="3153"/>
                    </a:cubicBezTo>
                    <a:close/>
                    <a:moveTo>
                      <a:pt x="911" y="3798"/>
                    </a:moveTo>
                    <a:cubicBezTo>
                      <a:pt x="912" y="3797"/>
                      <a:pt x="912" y="3797"/>
                      <a:pt x="912" y="3797"/>
                    </a:cubicBezTo>
                    <a:cubicBezTo>
                      <a:pt x="912" y="3797"/>
                      <a:pt x="934" y="3781"/>
                      <a:pt x="957" y="3766"/>
                    </a:cubicBezTo>
                    <a:cubicBezTo>
                      <a:pt x="968" y="3758"/>
                      <a:pt x="980" y="3750"/>
                      <a:pt x="989" y="3744"/>
                    </a:cubicBezTo>
                    <a:cubicBezTo>
                      <a:pt x="994" y="3742"/>
                      <a:pt x="997" y="3739"/>
                      <a:pt x="1000" y="3738"/>
                    </a:cubicBezTo>
                    <a:cubicBezTo>
                      <a:pt x="983" y="3709"/>
                      <a:pt x="916" y="3602"/>
                      <a:pt x="850" y="3498"/>
                    </a:cubicBezTo>
                    <a:cubicBezTo>
                      <a:pt x="784" y="3394"/>
                      <a:pt x="719" y="3292"/>
                      <a:pt x="702" y="3265"/>
                    </a:cubicBezTo>
                    <a:cubicBezTo>
                      <a:pt x="596" y="3325"/>
                      <a:pt x="596" y="3325"/>
                      <a:pt x="596" y="3325"/>
                    </a:cubicBezTo>
                    <a:cubicBezTo>
                      <a:pt x="741" y="3585"/>
                      <a:pt x="741" y="3585"/>
                      <a:pt x="741" y="3585"/>
                    </a:cubicBezTo>
                    <a:cubicBezTo>
                      <a:pt x="630" y="3640"/>
                      <a:pt x="630" y="3640"/>
                      <a:pt x="630" y="3640"/>
                    </a:cubicBezTo>
                    <a:cubicBezTo>
                      <a:pt x="724" y="3799"/>
                      <a:pt x="724" y="3799"/>
                      <a:pt x="724" y="3799"/>
                    </a:cubicBezTo>
                    <a:cubicBezTo>
                      <a:pt x="632" y="3910"/>
                      <a:pt x="632" y="3910"/>
                      <a:pt x="632" y="3910"/>
                    </a:cubicBezTo>
                    <a:cubicBezTo>
                      <a:pt x="650" y="3934"/>
                      <a:pt x="697" y="3991"/>
                      <a:pt x="746" y="4027"/>
                    </a:cubicBezTo>
                    <a:lnTo>
                      <a:pt x="911" y="3798"/>
                    </a:lnTo>
                    <a:close/>
                    <a:moveTo>
                      <a:pt x="447" y="3180"/>
                    </a:moveTo>
                    <a:cubicBezTo>
                      <a:pt x="493" y="3156"/>
                      <a:pt x="493" y="3156"/>
                      <a:pt x="493" y="3156"/>
                    </a:cubicBezTo>
                    <a:cubicBezTo>
                      <a:pt x="476" y="3164"/>
                      <a:pt x="461" y="3172"/>
                      <a:pt x="449" y="3179"/>
                    </a:cubicBezTo>
                    <a:cubicBezTo>
                      <a:pt x="448" y="3179"/>
                      <a:pt x="448" y="3179"/>
                      <a:pt x="447" y="3180"/>
                    </a:cubicBezTo>
                    <a:close/>
                    <a:moveTo>
                      <a:pt x="352" y="3321"/>
                    </a:moveTo>
                    <a:cubicBezTo>
                      <a:pt x="352" y="3320"/>
                      <a:pt x="352" y="3320"/>
                      <a:pt x="352" y="3320"/>
                    </a:cubicBezTo>
                    <a:cubicBezTo>
                      <a:pt x="358" y="3333"/>
                      <a:pt x="358" y="3333"/>
                      <a:pt x="358" y="3333"/>
                    </a:cubicBezTo>
                    <a:cubicBezTo>
                      <a:pt x="358" y="3333"/>
                      <a:pt x="446" y="3554"/>
                      <a:pt x="503" y="3676"/>
                    </a:cubicBezTo>
                    <a:cubicBezTo>
                      <a:pt x="531" y="3736"/>
                      <a:pt x="562" y="3797"/>
                      <a:pt x="591" y="3845"/>
                    </a:cubicBezTo>
                    <a:cubicBezTo>
                      <a:pt x="621" y="3895"/>
                      <a:pt x="621" y="3895"/>
                      <a:pt x="621" y="3895"/>
                    </a:cubicBezTo>
                    <a:cubicBezTo>
                      <a:pt x="621" y="3895"/>
                      <a:pt x="621" y="3895"/>
                      <a:pt x="621" y="3895"/>
                    </a:cubicBezTo>
                    <a:cubicBezTo>
                      <a:pt x="621" y="3895"/>
                      <a:pt x="622" y="3896"/>
                      <a:pt x="622" y="3896"/>
                    </a:cubicBezTo>
                    <a:cubicBezTo>
                      <a:pt x="704" y="3797"/>
                      <a:pt x="704" y="3797"/>
                      <a:pt x="704" y="3797"/>
                    </a:cubicBezTo>
                    <a:cubicBezTo>
                      <a:pt x="607" y="3633"/>
                      <a:pt x="607" y="3633"/>
                      <a:pt x="607" y="3633"/>
                    </a:cubicBezTo>
                    <a:cubicBezTo>
                      <a:pt x="718" y="3578"/>
                      <a:pt x="718" y="3578"/>
                      <a:pt x="718" y="3578"/>
                    </a:cubicBezTo>
                    <a:cubicBezTo>
                      <a:pt x="493" y="3174"/>
                      <a:pt x="493" y="3174"/>
                      <a:pt x="493" y="3174"/>
                    </a:cubicBezTo>
                    <a:cubicBezTo>
                      <a:pt x="325" y="3262"/>
                      <a:pt x="325" y="3262"/>
                      <a:pt x="325" y="3262"/>
                    </a:cubicBezTo>
                    <a:lnTo>
                      <a:pt x="352" y="3321"/>
                    </a:lnTo>
                    <a:close/>
                    <a:moveTo>
                      <a:pt x="118" y="3771"/>
                    </a:moveTo>
                    <a:cubicBezTo>
                      <a:pt x="433" y="3631"/>
                      <a:pt x="433" y="3631"/>
                      <a:pt x="433" y="3631"/>
                    </a:cubicBezTo>
                    <a:cubicBezTo>
                      <a:pt x="403" y="3563"/>
                      <a:pt x="371" y="3484"/>
                      <a:pt x="347" y="3427"/>
                    </a:cubicBezTo>
                    <a:cubicBezTo>
                      <a:pt x="345" y="3428"/>
                      <a:pt x="345" y="3428"/>
                      <a:pt x="345" y="3428"/>
                    </a:cubicBezTo>
                    <a:cubicBezTo>
                      <a:pt x="345" y="3428"/>
                      <a:pt x="330" y="3439"/>
                      <a:pt x="307" y="3455"/>
                    </a:cubicBezTo>
                    <a:cubicBezTo>
                      <a:pt x="380" y="3604"/>
                      <a:pt x="380" y="3604"/>
                      <a:pt x="380" y="3604"/>
                    </a:cubicBezTo>
                    <a:cubicBezTo>
                      <a:pt x="373" y="3607"/>
                      <a:pt x="373" y="3607"/>
                      <a:pt x="373" y="3607"/>
                    </a:cubicBezTo>
                    <a:cubicBezTo>
                      <a:pt x="189" y="3683"/>
                      <a:pt x="189" y="3683"/>
                      <a:pt x="189" y="3683"/>
                    </a:cubicBezTo>
                    <a:cubicBezTo>
                      <a:pt x="170" y="3613"/>
                      <a:pt x="170" y="3613"/>
                      <a:pt x="170" y="3613"/>
                    </a:cubicBezTo>
                    <a:cubicBezTo>
                      <a:pt x="295" y="3463"/>
                      <a:pt x="295" y="3463"/>
                      <a:pt x="295" y="3463"/>
                    </a:cubicBezTo>
                    <a:cubicBezTo>
                      <a:pt x="266" y="3483"/>
                      <a:pt x="229" y="3509"/>
                      <a:pt x="191" y="3536"/>
                    </a:cubicBezTo>
                    <a:cubicBezTo>
                      <a:pt x="152" y="3563"/>
                      <a:pt x="113" y="3590"/>
                      <a:pt x="85" y="3611"/>
                    </a:cubicBezTo>
                    <a:cubicBezTo>
                      <a:pt x="73" y="3619"/>
                      <a:pt x="63" y="3627"/>
                      <a:pt x="34" y="3648"/>
                    </a:cubicBezTo>
                    <a:cubicBezTo>
                      <a:pt x="34" y="3648"/>
                      <a:pt x="34" y="3648"/>
                      <a:pt x="34" y="3648"/>
                    </a:cubicBezTo>
                    <a:cubicBezTo>
                      <a:pt x="34" y="3648"/>
                      <a:pt x="34" y="3648"/>
                      <a:pt x="34" y="3648"/>
                    </a:cubicBezTo>
                    <a:cubicBezTo>
                      <a:pt x="46" y="3664"/>
                      <a:pt x="46" y="3664"/>
                      <a:pt x="46" y="3664"/>
                    </a:cubicBezTo>
                    <a:cubicBezTo>
                      <a:pt x="52" y="3675"/>
                      <a:pt x="79" y="3714"/>
                      <a:pt x="118" y="3771"/>
                    </a:cubicBezTo>
                    <a:close/>
                    <a:moveTo>
                      <a:pt x="186" y="3617"/>
                    </a:moveTo>
                    <a:cubicBezTo>
                      <a:pt x="199" y="3663"/>
                      <a:pt x="199" y="3663"/>
                      <a:pt x="199" y="3663"/>
                    </a:cubicBezTo>
                    <a:cubicBezTo>
                      <a:pt x="360" y="3597"/>
                      <a:pt x="360" y="3597"/>
                      <a:pt x="360" y="3597"/>
                    </a:cubicBezTo>
                    <a:cubicBezTo>
                      <a:pt x="302" y="3478"/>
                      <a:pt x="302" y="3478"/>
                      <a:pt x="302" y="3478"/>
                    </a:cubicBezTo>
                    <a:lnTo>
                      <a:pt x="186" y="3617"/>
                    </a:lnTo>
                    <a:close/>
                    <a:moveTo>
                      <a:pt x="459" y="4259"/>
                    </a:moveTo>
                    <a:cubicBezTo>
                      <a:pt x="710" y="4056"/>
                      <a:pt x="710" y="4056"/>
                      <a:pt x="710" y="4056"/>
                    </a:cubicBezTo>
                    <a:cubicBezTo>
                      <a:pt x="640" y="4003"/>
                      <a:pt x="594" y="3932"/>
                      <a:pt x="593" y="3931"/>
                    </a:cubicBezTo>
                    <a:cubicBezTo>
                      <a:pt x="593" y="3931"/>
                      <a:pt x="593" y="3931"/>
                      <a:pt x="593" y="3931"/>
                    </a:cubicBezTo>
                    <a:cubicBezTo>
                      <a:pt x="564" y="3888"/>
                      <a:pt x="506" y="3789"/>
                      <a:pt x="462" y="3695"/>
                    </a:cubicBezTo>
                    <a:cubicBezTo>
                      <a:pt x="455" y="3680"/>
                      <a:pt x="447" y="3662"/>
                      <a:pt x="439" y="3644"/>
                    </a:cubicBezTo>
                    <a:cubicBezTo>
                      <a:pt x="126" y="3783"/>
                      <a:pt x="126" y="3783"/>
                      <a:pt x="126" y="3783"/>
                    </a:cubicBezTo>
                    <a:cubicBezTo>
                      <a:pt x="197" y="3884"/>
                      <a:pt x="303" y="4037"/>
                      <a:pt x="414" y="4195"/>
                    </a:cubicBezTo>
                    <a:cubicBezTo>
                      <a:pt x="429" y="4217"/>
                      <a:pt x="444" y="4238"/>
                      <a:pt x="459" y="4259"/>
                    </a:cubicBezTo>
                    <a:close/>
                    <a:moveTo>
                      <a:pt x="641" y="4517"/>
                    </a:moveTo>
                    <a:cubicBezTo>
                      <a:pt x="650" y="4514"/>
                      <a:pt x="650" y="4514"/>
                      <a:pt x="650" y="4514"/>
                    </a:cubicBezTo>
                    <a:cubicBezTo>
                      <a:pt x="655" y="4513"/>
                      <a:pt x="716" y="4488"/>
                      <a:pt x="782" y="4403"/>
                    </a:cubicBezTo>
                    <a:cubicBezTo>
                      <a:pt x="816" y="4360"/>
                      <a:pt x="840" y="4295"/>
                      <a:pt x="854" y="4241"/>
                    </a:cubicBezTo>
                    <a:cubicBezTo>
                      <a:pt x="864" y="4204"/>
                      <a:pt x="869" y="4174"/>
                      <a:pt x="872" y="4157"/>
                    </a:cubicBezTo>
                    <a:cubicBezTo>
                      <a:pt x="826" y="4130"/>
                      <a:pt x="774" y="4100"/>
                      <a:pt x="731" y="4071"/>
                    </a:cubicBezTo>
                    <a:cubicBezTo>
                      <a:pt x="728" y="4069"/>
                      <a:pt x="725" y="4067"/>
                      <a:pt x="722" y="4065"/>
                    </a:cubicBezTo>
                    <a:cubicBezTo>
                      <a:pt x="467" y="4271"/>
                      <a:pt x="467" y="4271"/>
                      <a:pt x="467" y="4271"/>
                    </a:cubicBezTo>
                    <a:cubicBezTo>
                      <a:pt x="527" y="4356"/>
                      <a:pt x="586" y="4440"/>
                      <a:pt x="641" y="4517"/>
                    </a:cubicBezTo>
                    <a:close/>
                    <a:moveTo>
                      <a:pt x="227" y="5008"/>
                    </a:moveTo>
                    <a:cubicBezTo>
                      <a:pt x="319" y="4961"/>
                      <a:pt x="319" y="4961"/>
                      <a:pt x="319" y="4961"/>
                    </a:cubicBezTo>
                    <a:cubicBezTo>
                      <a:pt x="337" y="4948"/>
                      <a:pt x="337" y="4948"/>
                      <a:pt x="337" y="4948"/>
                    </a:cubicBezTo>
                    <a:cubicBezTo>
                      <a:pt x="339" y="4951"/>
                      <a:pt x="339" y="4951"/>
                      <a:pt x="339" y="4951"/>
                    </a:cubicBezTo>
                    <a:cubicBezTo>
                      <a:pt x="727" y="4750"/>
                      <a:pt x="727" y="4750"/>
                      <a:pt x="727" y="4750"/>
                    </a:cubicBezTo>
                    <a:cubicBezTo>
                      <a:pt x="693" y="4702"/>
                      <a:pt x="652" y="4645"/>
                      <a:pt x="607" y="4583"/>
                    </a:cubicBezTo>
                    <a:cubicBezTo>
                      <a:pt x="150" y="4804"/>
                      <a:pt x="150" y="4804"/>
                      <a:pt x="150" y="4804"/>
                    </a:cubicBezTo>
                    <a:cubicBezTo>
                      <a:pt x="115" y="4948"/>
                      <a:pt x="115" y="4948"/>
                      <a:pt x="115" y="4948"/>
                    </a:cubicBezTo>
                    <a:cubicBezTo>
                      <a:pt x="141" y="4955"/>
                      <a:pt x="166" y="4963"/>
                      <a:pt x="185" y="4975"/>
                    </a:cubicBezTo>
                    <a:cubicBezTo>
                      <a:pt x="199" y="4983"/>
                      <a:pt x="213" y="4995"/>
                      <a:pt x="227" y="5008"/>
                    </a:cubicBezTo>
                    <a:close/>
                    <a:moveTo>
                      <a:pt x="292" y="5080"/>
                    </a:moveTo>
                    <a:cubicBezTo>
                      <a:pt x="319" y="5069"/>
                      <a:pt x="319" y="5069"/>
                      <a:pt x="319" y="5069"/>
                    </a:cubicBezTo>
                    <a:cubicBezTo>
                      <a:pt x="269" y="5002"/>
                      <a:pt x="269" y="5002"/>
                      <a:pt x="269" y="5002"/>
                    </a:cubicBezTo>
                    <a:cubicBezTo>
                      <a:pt x="237" y="5019"/>
                      <a:pt x="237" y="5019"/>
                      <a:pt x="237" y="5019"/>
                    </a:cubicBezTo>
                    <a:cubicBezTo>
                      <a:pt x="255" y="5037"/>
                      <a:pt x="274" y="5057"/>
                      <a:pt x="292" y="5080"/>
                    </a:cubicBezTo>
                    <a:close/>
                    <a:moveTo>
                      <a:pt x="367" y="5173"/>
                    </a:moveTo>
                    <a:cubicBezTo>
                      <a:pt x="390" y="5165"/>
                      <a:pt x="390" y="5165"/>
                      <a:pt x="390" y="5165"/>
                    </a:cubicBezTo>
                    <a:cubicBezTo>
                      <a:pt x="328" y="5081"/>
                      <a:pt x="328" y="5081"/>
                      <a:pt x="328" y="5081"/>
                    </a:cubicBezTo>
                    <a:cubicBezTo>
                      <a:pt x="302" y="5091"/>
                      <a:pt x="302" y="5091"/>
                      <a:pt x="302" y="5091"/>
                    </a:cubicBezTo>
                    <a:cubicBezTo>
                      <a:pt x="303" y="5092"/>
                      <a:pt x="304" y="5093"/>
                      <a:pt x="305" y="5094"/>
                    </a:cubicBezTo>
                    <a:cubicBezTo>
                      <a:pt x="327" y="5121"/>
                      <a:pt x="348" y="5149"/>
                      <a:pt x="367" y="5173"/>
                    </a:cubicBezTo>
                    <a:close/>
                    <a:moveTo>
                      <a:pt x="261" y="5591"/>
                    </a:moveTo>
                    <a:cubicBezTo>
                      <a:pt x="291" y="5584"/>
                      <a:pt x="336" y="5574"/>
                      <a:pt x="382" y="5563"/>
                    </a:cubicBezTo>
                    <a:cubicBezTo>
                      <a:pt x="442" y="5550"/>
                      <a:pt x="500" y="5536"/>
                      <a:pt x="528" y="5531"/>
                    </a:cubicBezTo>
                    <a:cubicBezTo>
                      <a:pt x="473" y="5439"/>
                      <a:pt x="387" y="5313"/>
                      <a:pt x="353" y="5266"/>
                    </a:cubicBezTo>
                    <a:cubicBezTo>
                      <a:pt x="344" y="5252"/>
                      <a:pt x="330" y="5233"/>
                      <a:pt x="314" y="5212"/>
                    </a:cubicBezTo>
                    <a:cubicBezTo>
                      <a:pt x="127" y="5436"/>
                      <a:pt x="127" y="5436"/>
                      <a:pt x="127" y="5436"/>
                    </a:cubicBezTo>
                    <a:cubicBezTo>
                      <a:pt x="152" y="5451"/>
                      <a:pt x="185" y="5475"/>
                      <a:pt x="214" y="5513"/>
                    </a:cubicBezTo>
                    <a:cubicBezTo>
                      <a:pt x="228" y="5532"/>
                      <a:pt x="246" y="5559"/>
                      <a:pt x="261" y="5591"/>
                    </a:cubicBezTo>
                    <a:close/>
                    <a:moveTo>
                      <a:pt x="243" y="6442"/>
                    </a:moveTo>
                    <a:cubicBezTo>
                      <a:pt x="556" y="6470"/>
                      <a:pt x="556" y="6470"/>
                      <a:pt x="556" y="6470"/>
                    </a:cubicBezTo>
                    <a:cubicBezTo>
                      <a:pt x="552" y="6454"/>
                      <a:pt x="549" y="6439"/>
                      <a:pt x="548" y="6425"/>
                    </a:cubicBezTo>
                    <a:cubicBezTo>
                      <a:pt x="548" y="6420"/>
                      <a:pt x="549" y="6415"/>
                      <a:pt x="549" y="6410"/>
                    </a:cubicBezTo>
                    <a:cubicBezTo>
                      <a:pt x="553" y="6387"/>
                      <a:pt x="567" y="6307"/>
                      <a:pt x="581" y="6236"/>
                    </a:cubicBezTo>
                    <a:cubicBezTo>
                      <a:pt x="515" y="6214"/>
                      <a:pt x="329" y="6146"/>
                      <a:pt x="271" y="6124"/>
                    </a:cubicBezTo>
                    <a:cubicBezTo>
                      <a:pt x="160" y="6294"/>
                      <a:pt x="160" y="6294"/>
                      <a:pt x="160" y="6294"/>
                    </a:cubicBezTo>
                    <a:lnTo>
                      <a:pt x="243" y="6442"/>
                    </a:lnTo>
                    <a:close/>
                    <a:moveTo>
                      <a:pt x="159" y="6674"/>
                    </a:moveTo>
                    <a:cubicBezTo>
                      <a:pt x="250" y="6729"/>
                      <a:pt x="523" y="6905"/>
                      <a:pt x="560" y="6930"/>
                    </a:cubicBezTo>
                    <a:cubicBezTo>
                      <a:pt x="748" y="6670"/>
                      <a:pt x="748" y="6670"/>
                      <a:pt x="748" y="6670"/>
                    </a:cubicBezTo>
                    <a:cubicBezTo>
                      <a:pt x="753" y="6671"/>
                      <a:pt x="753" y="6671"/>
                      <a:pt x="753" y="6671"/>
                    </a:cubicBezTo>
                    <a:cubicBezTo>
                      <a:pt x="748" y="6668"/>
                      <a:pt x="748" y="6668"/>
                      <a:pt x="748" y="6668"/>
                    </a:cubicBezTo>
                    <a:cubicBezTo>
                      <a:pt x="749" y="6668"/>
                      <a:pt x="749" y="6668"/>
                      <a:pt x="749" y="6668"/>
                    </a:cubicBezTo>
                    <a:cubicBezTo>
                      <a:pt x="708" y="6640"/>
                      <a:pt x="708" y="6640"/>
                      <a:pt x="708" y="6640"/>
                    </a:cubicBezTo>
                    <a:cubicBezTo>
                      <a:pt x="685" y="6624"/>
                      <a:pt x="685" y="6624"/>
                      <a:pt x="685" y="6624"/>
                    </a:cubicBezTo>
                    <a:cubicBezTo>
                      <a:pt x="665" y="6612"/>
                      <a:pt x="656" y="6606"/>
                      <a:pt x="640" y="6595"/>
                    </a:cubicBezTo>
                    <a:cubicBezTo>
                      <a:pt x="624" y="6583"/>
                      <a:pt x="613" y="6576"/>
                      <a:pt x="604" y="6567"/>
                    </a:cubicBezTo>
                    <a:cubicBezTo>
                      <a:pt x="602" y="6566"/>
                      <a:pt x="602" y="6566"/>
                      <a:pt x="602" y="6566"/>
                    </a:cubicBezTo>
                    <a:cubicBezTo>
                      <a:pt x="601" y="6564"/>
                      <a:pt x="601" y="6564"/>
                      <a:pt x="601" y="6564"/>
                    </a:cubicBezTo>
                    <a:cubicBezTo>
                      <a:pt x="584" y="6541"/>
                      <a:pt x="570" y="6513"/>
                      <a:pt x="560" y="6484"/>
                    </a:cubicBezTo>
                    <a:cubicBezTo>
                      <a:pt x="244" y="6456"/>
                      <a:pt x="244" y="6456"/>
                      <a:pt x="244" y="6456"/>
                    </a:cubicBezTo>
                    <a:lnTo>
                      <a:pt x="159" y="6674"/>
                    </a:lnTo>
                    <a:close/>
                    <a:moveTo>
                      <a:pt x="648" y="7011"/>
                    </a:moveTo>
                    <a:cubicBezTo>
                      <a:pt x="551" y="6943"/>
                      <a:pt x="551" y="6943"/>
                      <a:pt x="551" y="6943"/>
                    </a:cubicBezTo>
                    <a:cubicBezTo>
                      <a:pt x="552" y="6941"/>
                      <a:pt x="552" y="6941"/>
                      <a:pt x="552" y="6941"/>
                    </a:cubicBezTo>
                    <a:cubicBezTo>
                      <a:pt x="530" y="6927"/>
                      <a:pt x="436" y="6868"/>
                      <a:pt x="342" y="6807"/>
                    </a:cubicBezTo>
                    <a:cubicBezTo>
                      <a:pt x="289" y="6773"/>
                      <a:pt x="235" y="6738"/>
                      <a:pt x="194" y="6712"/>
                    </a:cubicBezTo>
                    <a:cubicBezTo>
                      <a:pt x="178" y="6702"/>
                      <a:pt x="165" y="6694"/>
                      <a:pt x="154" y="6687"/>
                    </a:cubicBezTo>
                    <a:cubicBezTo>
                      <a:pt x="40" y="6978"/>
                      <a:pt x="40" y="6978"/>
                      <a:pt x="40" y="6978"/>
                    </a:cubicBezTo>
                    <a:cubicBezTo>
                      <a:pt x="464" y="7314"/>
                      <a:pt x="464" y="7314"/>
                      <a:pt x="464" y="7314"/>
                    </a:cubicBezTo>
                    <a:lnTo>
                      <a:pt x="648" y="7011"/>
                    </a:lnTo>
                    <a:close/>
                    <a:moveTo>
                      <a:pt x="549" y="7377"/>
                    </a:moveTo>
                    <a:cubicBezTo>
                      <a:pt x="571" y="7297"/>
                      <a:pt x="662" y="7188"/>
                      <a:pt x="683" y="7146"/>
                    </a:cubicBezTo>
                    <a:cubicBezTo>
                      <a:pt x="685" y="7141"/>
                      <a:pt x="686" y="7137"/>
                      <a:pt x="686" y="7133"/>
                    </a:cubicBezTo>
                    <a:cubicBezTo>
                      <a:pt x="687" y="7121"/>
                      <a:pt x="675" y="7107"/>
                      <a:pt x="661" y="7096"/>
                    </a:cubicBezTo>
                    <a:cubicBezTo>
                      <a:pt x="648" y="7085"/>
                      <a:pt x="634" y="7079"/>
                      <a:pt x="634" y="7079"/>
                    </a:cubicBezTo>
                    <a:cubicBezTo>
                      <a:pt x="644" y="7056"/>
                      <a:pt x="644" y="7056"/>
                      <a:pt x="644" y="7056"/>
                    </a:cubicBezTo>
                    <a:cubicBezTo>
                      <a:pt x="645" y="7057"/>
                      <a:pt x="660" y="7064"/>
                      <a:pt x="676" y="7077"/>
                    </a:cubicBezTo>
                    <a:cubicBezTo>
                      <a:pt x="692" y="7089"/>
                      <a:pt x="710" y="7107"/>
                      <a:pt x="711" y="7133"/>
                    </a:cubicBezTo>
                    <a:cubicBezTo>
                      <a:pt x="711" y="7141"/>
                      <a:pt x="709" y="7149"/>
                      <a:pt x="705" y="7157"/>
                    </a:cubicBezTo>
                    <a:cubicBezTo>
                      <a:pt x="680" y="7206"/>
                      <a:pt x="582" y="7324"/>
                      <a:pt x="570" y="7393"/>
                    </a:cubicBezTo>
                    <a:cubicBezTo>
                      <a:pt x="575" y="7397"/>
                      <a:pt x="580" y="7401"/>
                      <a:pt x="585" y="7404"/>
                    </a:cubicBezTo>
                    <a:cubicBezTo>
                      <a:pt x="605" y="7420"/>
                      <a:pt x="624" y="7435"/>
                      <a:pt x="641" y="7448"/>
                    </a:cubicBezTo>
                    <a:cubicBezTo>
                      <a:pt x="652" y="7410"/>
                      <a:pt x="661" y="7375"/>
                      <a:pt x="662" y="7368"/>
                    </a:cubicBezTo>
                    <a:cubicBezTo>
                      <a:pt x="664" y="7361"/>
                      <a:pt x="662" y="7340"/>
                      <a:pt x="672" y="7308"/>
                    </a:cubicBezTo>
                    <a:cubicBezTo>
                      <a:pt x="678" y="7291"/>
                      <a:pt x="686" y="7280"/>
                      <a:pt x="698" y="7265"/>
                    </a:cubicBezTo>
                    <a:cubicBezTo>
                      <a:pt x="714" y="7243"/>
                      <a:pt x="736" y="7217"/>
                      <a:pt x="754" y="7197"/>
                    </a:cubicBezTo>
                    <a:cubicBezTo>
                      <a:pt x="763" y="7187"/>
                      <a:pt x="772" y="7178"/>
                      <a:pt x="778" y="7171"/>
                    </a:cubicBezTo>
                    <a:cubicBezTo>
                      <a:pt x="781" y="7168"/>
                      <a:pt x="783" y="7165"/>
                      <a:pt x="785" y="7163"/>
                    </a:cubicBezTo>
                    <a:cubicBezTo>
                      <a:pt x="786" y="7162"/>
                      <a:pt x="787" y="7162"/>
                      <a:pt x="788" y="7161"/>
                    </a:cubicBezTo>
                    <a:cubicBezTo>
                      <a:pt x="788" y="7160"/>
                      <a:pt x="789" y="7160"/>
                      <a:pt x="789" y="7159"/>
                    </a:cubicBezTo>
                    <a:cubicBezTo>
                      <a:pt x="789" y="7159"/>
                      <a:pt x="790" y="7159"/>
                      <a:pt x="790" y="7159"/>
                    </a:cubicBezTo>
                    <a:cubicBezTo>
                      <a:pt x="790" y="7159"/>
                      <a:pt x="790" y="7159"/>
                      <a:pt x="790" y="7159"/>
                    </a:cubicBezTo>
                    <a:cubicBezTo>
                      <a:pt x="797" y="7152"/>
                      <a:pt x="881" y="7066"/>
                      <a:pt x="961" y="6982"/>
                    </a:cubicBezTo>
                    <a:cubicBezTo>
                      <a:pt x="1001" y="6942"/>
                      <a:pt x="1040" y="6901"/>
                      <a:pt x="1069" y="6870"/>
                    </a:cubicBezTo>
                    <a:cubicBezTo>
                      <a:pt x="763" y="6678"/>
                      <a:pt x="763" y="6678"/>
                      <a:pt x="763" y="6678"/>
                    </a:cubicBezTo>
                    <a:cubicBezTo>
                      <a:pt x="574" y="6939"/>
                      <a:pt x="574" y="6939"/>
                      <a:pt x="574" y="6939"/>
                    </a:cubicBezTo>
                    <a:cubicBezTo>
                      <a:pt x="670" y="7006"/>
                      <a:pt x="670" y="7006"/>
                      <a:pt x="670" y="7006"/>
                    </a:cubicBezTo>
                    <a:cubicBezTo>
                      <a:pt x="477" y="7324"/>
                      <a:pt x="477" y="7324"/>
                      <a:pt x="477" y="7324"/>
                    </a:cubicBezTo>
                    <a:cubicBezTo>
                      <a:pt x="493" y="7335"/>
                      <a:pt x="522" y="7356"/>
                      <a:pt x="549" y="7377"/>
                    </a:cubicBezTo>
                    <a:close/>
                    <a:moveTo>
                      <a:pt x="221" y="8137"/>
                    </a:moveTo>
                    <a:cubicBezTo>
                      <a:pt x="238" y="8115"/>
                      <a:pt x="256" y="8092"/>
                      <a:pt x="273" y="8069"/>
                    </a:cubicBezTo>
                    <a:cubicBezTo>
                      <a:pt x="302" y="8031"/>
                      <a:pt x="332" y="7992"/>
                      <a:pt x="360" y="7954"/>
                    </a:cubicBezTo>
                    <a:cubicBezTo>
                      <a:pt x="379" y="7869"/>
                      <a:pt x="415" y="7782"/>
                      <a:pt x="443" y="7747"/>
                    </a:cubicBezTo>
                    <a:cubicBezTo>
                      <a:pt x="468" y="7717"/>
                      <a:pt x="491" y="7646"/>
                      <a:pt x="509" y="7575"/>
                    </a:cubicBezTo>
                    <a:cubicBezTo>
                      <a:pt x="519" y="7532"/>
                      <a:pt x="528" y="7488"/>
                      <a:pt x="535" y="7452"/>
                    </a:cubicBezTo>
                    <a:cubicBezTo>
                      <a:pt x="526" y="7445"/>
                      <a:pt x="517" y="7439"/>
                      <a:pt x="509" y="7433"/>
                    </a:cubicBezTo>
                    <a:cubicBezTo>
                      <a:pt x="394" y="7704"/>
                      <a:pt x="394" y="7704"/>
                      <a:pt x="394" y="7704"/>
                    </a:cubicBezTo>
                    <a:cubicBezTo>
                      <a:pt x="289" y="7662"/>
                      <a:pt x="289" y="7662"/>
                      <a:pt x="289" y="7662"/>
                    </a:cubicBezTo>
                    <a:cubicBezTo>
                      <a:pt x="82" y="8018"/>
                      <a:pt x="82" y="8018"/>
                      <a:pt x="82" y="8018"/>
                    </a:cubicBezTo>
                    <a:cubicBezTo>
                      <a:pt x="145" y="8072"/>
                      <a:pt x="194" y="8114"/>
                      <a:pt x="221" y="8137"/>
                    </a:cubicBezTo>
                    <a:close/>
                    <a:moveTo>
                      <a:pt x="714" y="8540"/>
                    </a:moveTo>
                    <a:cubicBezTo>
                      <a:pt x="797" y="8350"/>
                      <a:pt x="797" y="8350"/>
                      <a:pt x="797" y="8350"/>
                    </a:cubicBezTo>
                    <a:cubicBezTo>
                      <a:pt x="780" y="8345"/>
                      <a:pt x="764" y="8339"/>
                      <a:pt x="745" y="8334"/>
                    </a:cubicBezTo>
                    <a:cubicBezTo>
                      <a:pt x="638" y="8305"/>
                      <a:pt x="498" y="8271"/>
                      <a:pt x="385" y="8255"/>
                    </a:cubicBezTo>
                    <a:cubicBezTo>
                      <a:pt x="330" y="8247"/>
                      <a:pt x="288" y="8242"/>
                      <a:pt x="260" y="8238"/>
                    </a:cubicBezTo>
                    <a:cubicBezTo>
                      <a:pt x="247" y="8236"/>
                      <a:pt x="238" y="8235"/>
                      <a:pt x="231" y="8234"/>
                    </a:cubicBezTo>
                    <a:cubicBezTo>
                      <a:pt x="181" y="8299"/>
                      <a:pt x="140" y="8352"/>
                      <a:pt x="121" y="8376"/>
                    </a:cubicBezTo>
                    <a:lnTo>
                      <a:pt x="714" y="8540"/>
                    </a:lnTo>
                    <a:close/>
                    <a:moveTo>
                      <a:pt x="1142" y="8692"/>
                    </a:moveTo>
                    <a:cubicBezTo>
                      <a:pt x="1214" y="8614"/>
                      <a:pt x="1214" y="8614"/>
                      <a:pt x="1214" y="8614"/>
                    </a:cubicBezTo>
                    <a:cubicBezTo>
                      <a:pt x="1204" y="8604"/>
                      <a:pt x="1184" y="8585"/>
                      <a:pt x="1157" y="8562"/>
                    </a:cubicBezTo>
                    <a:cubicBezTo>
                      <a:pt x="1150" y="8573"/>
                      <a:pt x="1141" y="8584"/>
                      <a:pt x="1128" y="8594"/>
                    </a:cubicBezTo>
                    <a:cubicBezTo>
                      <a:pt x="1098" y="8617"/>
                      <a:pt x="1069" y="8627"/>
                      <a:pt x="1042" y="8627"/>
                    </a:cubicBezTo>
                    <a:cubicBezTo>
                      <a:pt x="999" y="8627"/>
                      <a:pt x="964" y="8602"/>
                      <a:pt x="937" y="8577"/>
                    </a:cubicBezTo>
                    <a:cubicBezTo>
                      <a:pt x="910" y="8552"/>
                      <a:pt x="887" y="8526"/>
                      <a:pt x="877" y="8524"/>
                    </a:cubicBezTo>
                    <a:cubicBezTo>
                      <a:pt x="873" y="8523"/>
                      <a:pt x="868" y="8522"/>
                      <a:pt x="863" y="8522"/>
                    </a:cubicBezTo>
                    <a:cubicBezTo>
                      <a:pt x="846" y="8522"/>
                      <a:pt x="824" y="8530"/>
                      <a:pt x="808" y="8544"/>
                    </a:cubicBezTo>
                    <a:cubicBezTo>
                      <a:pt x="791" y="8558"/>
                      <a:pt x="779" y="8577"/>
                      <a:pt x="779" y="8601"/>
                    </a:cubicBezTo>
                    <a:cubicBezTo>
                      <a:pt x="779" y="8605"/>
                      <a:pt x="781" y="8619"/>
                      <a:pt x="781" y="8624"/>
                    </a:cubicBezTo>
                    <a:cubicBezTo>
                      <a:pt x="781" y="8624"/>
                      <a:pt x="755" y="8609"/>
                      <a:pt x="755" y="8609"/>
                    </a:cubicBezTo>
                    <a:cubicBezTo>
                      <a:pt x="755" y="8606"/>
                      <a:pt x="755" y="8603"/>
                      <a:pt x="755" y="8601"/>
                    </a:cubicBezTo>
                    <a:cubicBezTo>
                      <a:pt x="756" y="8536"/>
                      <a:pt x="816" y="8498"/>
                      <a:pt x="863" y="8497"/>
                    </a:cubicBezTo>
                    <a:cubicBezTo>
                      <a:pt x="871" y="8497"/>
                      <a:pt x="878" y="8498"/>
                      <a:pt x="884" y="8501"/>
                    </a:cubicBezTo>
                    <a:cubicBezTo>
                      <a:pt x="908" y="8509"/>
                      <a:pt x="927" y="8535"/>
                      <a:pt x="953" y="8559"/>
                    </a:cubicBezTo>
                    <a:cubicBezTo>
                      <a:pt x="979" y="8582"/>
                      <a:pt x="1009" y="8603"/>
                      <a:pt x="1042" y="8603"/>
                    </a:cubicBezTo>
                    <a:cubicBezTo>
                      <a:pt x="1063" y="8603"/>
                      <a:pt x="1086" y="8595"/>
                      <a:pt x="1113" y="8574"/>
                    </a:cubicBezTo>
                    <a:cubicBezTo>
                      <a:pt x="1125" y="8565"/>
                      <a:pt x="1133" y="8555"/>
                      <a:pt x="1139" y="8546"/>
                    </a:cubicBezTo>
                    <a:cubicBezTo>
                      <a:pt x="1138" y="8546"/>
                      <a:pt x="1138" y="8546"/>
                      <a:pt x="1137" y="8545"/>
                    </a:cubicBezTo>
                    <a:cubicBezTo>
                      <a:pt x="1090" y="8505"/>
                      <a:pt x="1031" y="8459"/>
                      <a:pt x="995" y="8441"/>
                    </a:cubicBezTo>
                    <a:cubicBezTo>
                      <a:pt x="931" y="8408"/>
                      <a:pt x="879" y="8380"/>
                      <a:pt x="812" y="8356"/>
                    </a:cubicBezTo>
                    <a:cubicBezTo>
                      <a:pt x="695" y="8623"/>
                      <a:pt x="695" y="8623"/>
                      <a:pt x="695" y="8623"/>
                    </a:cubicBezTo>
                    <a:lnTo>
                      <a:pt x="1142" y="8692"/>
                    </a:lnTo>
                    <a:close/>
                    <a:moveTo>
                      <a:pt x="843" y="9006"/>
                    </a:moveTo>
                    <a:cubicBezTo>
                      <a:pt x="846" y="9025"/>
                      <a:pt x="882" y="9236"/>
                      <a:pt x="886" y="9285"/>
                    </a:cubicBezTo>
                    <a:cubicBezTo>
                      <a:pt x="900" y="9284"/>
                      <a:pt x="914" y="9283"/>
                      <a:pt x="927" y="9281"/>
                    </a:cubicBezTo>
                    <a:cubicBezTo>
                      <a:pt x="979" y="9277"/>
                      <a:pt x="1030" y="9273"/>
                      <a:pt x="1069" y="9269"/>
                    </a:cubicBezTo>
                    <a:cubicBezTo>
                      <a:pt x="1088" y="9268"/>
                      <a:pt x="1104" y="9266"/>
                      <a:pt x="1115" y="9265"/>
                    </a:cubicBezTo>
                    <a:cubicBezTo>
                      <a:pt x="1121" y="9265"/>
                      <a:pt x="1126" y="9264"/>
                      <a:pt x="1129" y="9264"/>
                    </a:cubicBezTo>
                    <a:cubicBezTo>
                      <a:pt x="1130" y="9264"/>
                      <a:pt x="1131" y="9263"/>
                      <a:pt x="1132" y="9263"/>
                    </a:cubicBezTo>
                    <a:cubicBezTo>
                      <a:pt x="1138" y="9257"/>
                      <a:pt x="1162" y="9221"/>
                      <a:pt x="1183" y="9187"/>
                    </a:cubicBezTo>
                    <a:cubicBezTo>
                      <a:pt x="1206" y="9151"/>
                      <a:pt x="1227" y="9117"/>
                      <a:pt x="1227" y="9117"/>
                    </a:cubicBezTo>
                    <a:cubicBezTo>
                      <a:pt x="1230" y="9111"/>
                      <a:pt x="1230" y="9111"/>
                      <a:pt x="1230" y="9111"/>
                    </a:cubicBezTo>
                    <a:cubicBezTo>
                      <a:pt x="1313" y="9149"/>
                      <a:pt x="1313" y="9149"/>
                      <a:pt x="1313" y="9149"/>
                    </a:cubicBezTo>
                    <a:cubicBezTo>
                      <a:pt x="1326" y="9134"/>
                      <a:pt x="1374" y="9077"/>
                      <a:pt x="1422" y="9019"/>
                    </a:cubicBezTo>
                    <a:cubicBezTo>
                      <a:pt x="1450" y="8985"/>
                      <a:pt x="1478" y="8951"/>
                      <a:pt x="1499" y="8924"/>
                    </a:cubicBezTo>
                    <a:cubicBezTo>
                      <a:pt x="1510" y="8911"/>
                      <a:pt x="1518" y="8900"/>
                      <a:pt x="1524" y="8892"/>
                    </a:cubicBezTo>
                    <a:cubicBezTo>
                      <a:pt x="1526" y="8890"/>
                      <a:pt x="1526" y="8889"/>
                      <a:pt x="1527" y="8888"/>
                    </a:cubicBezTo>
                    <a:cubicBezTo>
                      <a:pt x="1526" y="8887"/>
                      <a:pt x="1524" y="8885"/>
                      <a:pt x="1523" y="8884"/>
                    </a:cubicBezTo>
                    <a:cubicBezTo>
                      <a:pt x="1487" y="8849"/>
                      <a:pt x="1409" y="8781"/>
                      <a:pt x="1342" y="8723"/>
                    </a:cubicBezTo>
                    <a:cubicBezTo>
                      <a:pt x="1291" y="8680"/>
                      <a:pt x="1246" y="8642"/>
                      <a:pt x="1226" y="8625"/>
                    </a:cubicBezTo>
                    <a:cubicBezTo>
                      <a:pt x="1149" y="8710"/>
                      <a:pt x="1149" y="8710"/>
                      <a:pt x="1149" y="8710"/>
                    </a:cubicBezTo>
                    <a:cubicBezTo>
                      <a:pt x="914" y="8673"/>
                      <a:pt x="914" y="8673"/>
                      <a:pt x="914" y="8673"/>
                    </a:cubicBezTo>
                    <a:lnTo>
                      <a:pt x="843" y="9006"/>
                    </a:lnTo>
                    <a:close/>
                    <a:moveTo>
                      <a:pt x="117" y="8616"/>
                    </a:moveTo>
                    <a:cubicBezTo>
                      <a:pt x="183" y="8529"/>
                      <a:pt x="183" y="8529"/>
                      <a:pt x="183" y="8529"/>
                    </a:cubicBezTo>
                    <a:cubicBezTo>
                      <a:pt x="95" y="8465"/>
                      <a:pt x="95" y="8465"/>
                      <a:pt x="95" y="8465"/>
                    </a:cubicBezTo>
                    <a:cubicBezTo>
                      <a:pt x="19" y="8565"/>
                      <a:pt x="19" y="8565"/>
                      <a:pt x="19" y="8565"/>
                    </a:cubicBezTo>
                    <a:lnTo>
                      <a:pt x="117" y="8616"/>
                    </a:lnTo>
                    <a:close/>
                    <a:moveTo>
                      <a:pt x="699" y="9296"/>
                    </a:moveTo>
                    <a:cubicBezTo>
                      <a:pt x="700" y="9297"/>
                      <a:pt x="701" y="9297"/>
                      <a:pt x="701" y="9298"/>
                    </a:cubicBezTo>
                    <a:cubicBezTo>
                      <a:pt x="715" y="9298"/>
                      <a:pt x="789" y="9292"/>
                      <a:pt x="872" y="9286"/>
                    </a:cubicBezTo>
                    <a:cubicBezTo>
                      <a:pt x="869" y="9240"/>
                      <a:pt x="829" y="9007"/>
                      <a:pt x="829" y="9007"/>
                    </a:cubicBezTo>
                    <a:cubicBezTo>
                      <a:pt x="829" y="9005"/>
                      <a:pt x="829" y="9005"/>
                      <a:pt x="829" y="9005"/>
                    </a:cubicBezTo>
                    <a:cubicBezTo>
                      <a:pt x="829" y="9004"/>
                      <a:pt x="829" y="9004"/>
                      <a:pt x="829" y="9004"/>
                    </a:cubicBezTo>
                    <a:cubicBezTo>
                      <a:pt x="121" y="8634"/>
                      <a:pt x="121" y="8634"/>
                      <a:pt x="121" y="8634"/>
                    </a:cubicBezTo>
                    <a:cubicBezTo>
                      <a:pt x="28" y="8757"/>
                      <a:pt x="28" y="8757"/>
                      <a:pt x="28" y="8757"/>
                    </a:cubicBezTo>
                    <a:cubicBezTo>
                      <a:pt x="384" y="8945"/>
                      <a:pt x="384" y="8945"/>
                      <a:pt x="384" y="8945"/>
                    </a:cubicBezTo>
                    <a:cubicBezTo>
                      <a:pt x="384" y="8946"/>
                      <a:pt x="384" y="8946"/>
                      <a:pt x="384" y="8946"/>
                    </a:cubicBezTo>
                    <a:cubicBezTo>
                      <a:pt x="385" y="8946"/>
                      <a:pt x="462" y="9034"/>
                      <a:pt x="541" y="9122"/>
                    </a:cubicBezTo>
                    <a:cubicBezTo>
                      <a:pt x="581" y="9166"/>
                      <a:pt x="620" y="9210"/>
                      <a:pt x="651" y="9244"/>
                    </a:cubicBezTo>
                    <a:cubicBezTo>
                      <a:pt x="666" y="9260"/>
                      <a:pt x="679" y="9274"/>
                      <a:pt x="688" y="9284"/>
                    </a:cubicBezTo>
                    <a:cubicBezTo>
                      <a:pt x="692" y="9289"/>
                      <a:pt x="696" y="9293"/>
                      <a:pt x="699" y="9296"/>
                    </a:cubicBezTo>
                    <a:close/>
                    <a:moveTo>
                      <a:pt x="492" y="9930"/>
                    </a:moveTo>
                    <a:cubicBezTo>
                      <a:pt x="497" y="9923"/>
                      <a:pt x="504" y="9913"/>
                      <a:pt x="512" y="9902"/>
                    </a:cubicBezTo>
                    <a:cubicBezTo>
                      <a:pt x="431" y="9838"/>
                      <a:pt x="431" y="9838"/>
                      <a:pt x="431" y="9838"/>
                    </a:cubicBezTo>
                    <a:cubicBezTo>
                      <a:pt x="435" y="9833"/>
                      <a:pt x="435" y="9833"/>
                      <a:pt x="435" y="9833"/>
                    </a:cubicBezTo>
                    <a:cubicBezTo>
                      <a:pt x="485" y="9771"/>
                      <a:pt x="485" y="9771"/>
                      <a:pt x="485" y="9771"/>
                    </a:cubicBezTo>
                    <a:cubicBezTo>
                      <a:pt x="522" y="9800"/>
                      <a:pt x="522" y="9800"/>
                      <a:pt x="522" y="9800"/>
                    </a:cubicBezTo>
                    <a:cubicBezTo>
                      <a:pt x="549" y="9766"/>
                      <a:pt x="549" y="9766"/>
                      <a:pt x="549" y="9766"/>
                    </a:cubicBezTo>
                    <a:cubicBezTo>
                      <a:pt x="588" y="9798"/>
                      <a:pt x="588" y="9798"/>
                      <a:pt x="588" y="9798"/>
                    </a:cubicBezTo>
                    <a:cubicBezTo>
                      <a:pt x="591" y="9793"/>
                      <a:pt x="595" y="9789"/>
                      <a:pt x="598" y="9785"/>
                    </a:cubicBezTo>
                    <a:cubicBezTo>
                      <a:pt x="627" y="9745"/>
                      <a:pt x="656" y="9706"/>
                      <a:pt x="678" y="9676"/>
                    </a:cubicBezTo>
                    <a:cubicBezTo>
                      <a:pt x="689" y="9661"/>
                      <a:pt x="699" y="9648"/>
                      <a:pt x="706" y="9639"/>
                    </a:cubicBezTo>
                    <a:cubicBezTo>
                      <a:pt x="709" y="9635"/>
                      <a:pt x="712" y="9631"/>
                      <a:pt x="714" y="9629"/>
                    </a:cubicBezTo>
                    <a:cubicBezTo>
                      <a:pt x="717" y="9626"/>
                      <a:pt x="716" y="9625"/>
                      <a:pt x="721" y="9623"/>
                    </a:cubicBezTo>
                    <a:cubicBezTo>
                      <a:pt x="722" y="9622"/>
                      <a:pt x="723" y="9622"/>
                      <a:pt x="724" y="9622"/>
                    </a:cubicBezTo>
                    <a:cubicBezTo>
                      <a:pt x="724" y="9622"/>
                      <a:pt x="724" y="9622"/>
                      <a:pt x="724" y="9622"/>
                    </a:cubicBezTo>
                    <a:cubicBezTo>
                      <a:pt x="731" y="9623"/>
                      <a:pt x="741" y="9628"/>
                      <a:pt x="759" y="9637"/>
                    </a:cubicBezTo>
                    <a:cubicBezTo>
                      <a:pt x="802" y="9657"/>
                      <a:pt x="873" y="9695"/>
                      <a:pt x="894" y="9707"/>
                    </a:cubicBezTo>
                    <a:cubicBezTo>
                      <a:pt x="900" y="9691"/>
                      <a:pt x="913" y="9655"/>
                      <a:pt x="925" y="9617"/>
                    </a:cubicBezTo>
                    <a:cubicBezTo>
                      <a:pt x="942" y="9569"/>
                      <a:pt x="958" y="9517"/>
                      <a:pt x="959" y="9509"/>
                    </a:cubicBezTo>
                    <a:cubicBezTo>
                      <a:pt x="959" y="9509"/>
                      <a:pt x="959" y="9509"/>
                      <a:pt x="959" y="9508"/>
                    </a:cubicBezTo>
                    <a:cubicBezTo>
                      <a:pt x="959" y="9508"/>
                      <a:pt x="959" y="9508"/>
                      <a:pt x="959" y="9508"/>
                    </a:cubicBezTo>
                    <a:cubicBezTo>
                      <a:pt x="964" y="9508"/>
                      <a:pt x="964" y="9508"/>
                      <a:pt x="964" y="9508"/>
                    </a:cubicBezTo>
                    <a:cubicBezTo>
                      <a:pt x="966" y="9501"/>
                      <a:pt x="966" y="9501"/>
                      <a:pt x="966" y="9501"/>
                    </a:cubicBezTo>
                    <a:cubicBezTo>
                      <a:pt x="930" y="9295"/>
                      <a:pt x="930" y="9295"/>
                      <a:pt x="930" y="9295"/>
                    </a:cubicBezTo>
                    <a:cubicBezTo>
                      <a:pt x="915" y="9296"/>
                      <a:pt x="899" y="9298"/>
                      <a:pt x="884" y="9299"/>
                    </a:cubicBezTo>
                    <a:cubicBezTo>
                      <a:pt x="883" y="9300"/>
                      <a:pt x="881" y="9301"/>
                      <a:pt x="878" y="9302"/>
                    </a:cubicBezTo>
                    <a:cubicBezTo>
                      <a:pt x="878" y="9299"/>
                      <a:pt x="878" y="9299"/>
                      <a:pt x="878" y="9299"/>
                    </a:cubicBezTo>
                    <a:cubicBezTo>
                      <a:pt x="793" y="9306"/>
                      <a:pt x="716" y="9312"/>
                      <a:pt x="701" y="9312"/>
                    </a:cubicBezTo>
                    <a:cubicBezTo>
                      <a:pt x="701" y="9312"/>
                      <a:pt x="701" y="9312"/>
                      <a:pt x="701" y="9312"/>
                    </a:cubicBezTo>
                    <a:cubicBezTo>
                      <a:pt x="695" y="9317"/>
                      <a:pt x="669" y="9348"/>
                      <a:pt x="637" y="9391"/>
                    </a:cubicBezTo>
                    <a:cubicBezTo>
                      <a:pt x="540" y="9519"/>
                      <a:pt x="370" y="9752"/>
                      <a:pt x="344" y="9788"/>
                    </a:cubicBezTo>
                    <a:lnTo>
                      <a:pt x="492" y="9930"/>
                    </a:lnTo>
                    <a:close/>
                    <a:moveTo>
                      <a:pt x="531" y="9901"/>
                    </a:moveTo>
                    <a:cubicBezTo>
                      <a:pt x="594" y="9951"/>
                      <a:pt x="594" y="9951"/>
                      <a:pt x="594" y="9951"/>
                    </a:cubicBezTo>
                    <a:cubicBezTo>
                      <a:pt x="632" y="9904"/>
                      <a:pt x="632" y="9904"/>
                      <a:pt x="632" y="9904"/>
                    </a:cubicBezTo>
                    <a:cubicBezTo>
                      <a:pt x="595" y="9875"/>
                      <a:pt x="595" y="9875"/>
                      <a:pt x="595" y="9875"/>
                    </a:cubicBezTo>
                    <a:cubicBezTo>
                      <a:pt x="621" y="9841"/>
                      <a:pt x="621" y="9841"/>
                      <a:pt x="621" y="9841"/>
                    </a:cubicBezTo>
                    <a:cubicBezTo>
                      <a:pt x="591" y="9817"/>
                      <a:pt x="591" y="9817"/>
                      <a:pt x="591" y="9817"/>
                    </a:cubicBezTo>
                    <a:cubicBezTo>
                      <a:pt x="569" y="9848"/>
                      <a:pt x="548" y="9877"/>
                      <a:pt x="531" y="9901"/>
                    </a:cubicBezTo>
                    <a:close/>
                    <a:moveTo>
                      <a:pt x="580" y="9808"/>
                    </a:moveTo>
                    <a:cubicBezTo>
                      <a:pt x="551" y="9785"/>
                      <a:pt x="551" y="9785"/>
                      <a:pt x="551" y="9785"/>
                    </a:cubicBezTo>
                    <a:cubicBezTo>
                      <a:pt x="524" y="9819"/>
                      <a:pt x="524" y="9819"/>
                      <a:pt x="524" y="9819"/>
                    </a:cubicBezTo>
                    <a:cubicBezTo>
                      <a:pt x="487" y="9789"/>
                      <a:pt x="487" y="9789"/>
                      <a:pt x="487" y="9789"/>
                    </a:cubicBezTo>
                    <a:cubicBezTo>
                      <a:pt x="450" y="9836"/>
                      <a:pt x="450" y="9836"/>
                      <a:pt x="450" y="9836"/>
                    </a:cubicBezTo>
                    <a:cubicBezTo>
                      <a:pt x="520" y="9892"/>
                      <a:pt x="520" y="9892"/>
                      <a:pt x="520" y="9892"/>
                    </a:cubicBezTo>
                    <a:cubicBezTo>
                      <a:pt x="537" y="9868"/>
                      <a:pt x="558" y="9839"/>
                      <a:pt x="580" y="9808"/>
                    </a:cubicBezTo>
                    <a:close/>
                    <a:moveTo>
                      <a:pt x="703" y="10129"/>
                    </a:moveTo>
                    <a:cubicBezTo>
                      <a:pt x="965" y="9779"/>
                      <a:pt x="965" y="9779"/>
                      <a:pt x="965" y="9779"/>
                    </a:cubicBezTo>
                    <a:cubicBezTo>
                      <a:pt x="894" y="9722"/>
                      <a:pt x="894" y="9722"/>
                      <a:pt x="894" y="9722"/>
                    </a:cubicBezTo>
                    <a:cubicBezTo>
                      <a:pt x="889" y="9720"/>
                      <a:pt x="852" y="9699"/>
                      <a:pt x="812" y="9679"/>
                    </a:cubicBezTo>
                    <a:cubicBezTo>
                      <a:pt x="791" y="9668"/>
                      <a:pt x="770" y="9657"/>
                      <a:pt x="753" y="9649"/>
                    </a:cubicBezTo>
                    <a:cubicBezTo>
                      <a:pt x="745" y="9645"/>
                      <a:pt x="737" y="9642"/>
                      <a:pt x="732" y="9639"/>
                    </a:cubicBezTo>
                    <a:cubicBezTo>
                      <a:pt x="729" y="9638"/>
                      <a:pt x="727" y="9637"/>
                      <a:pt x="726" y="9637"/>
                    </a:cubicBezTo>
                    <a:cubicBezTo>
                      <a:pt x="714" y="9650"/>
                      <a:pt x="659" y="9725"/>
                      <a:pt x="606" y="9796"/>
                    </a:cubicBezTo>
                    <a:cubicBezTo>
                      <a:pt x="604" y="9800"/>
                      <a:pt x="602" y="9803"/>
                      <a:pt x="599" y="9806"/>
                    </a:cubicBezTo>
                    <a:cubicBezTo>
                      <a:pt x="640" y="9839"/>
                      <a:pt x="640" y="9839"/>
                      <a:pt x="640" y="9839"/>
                    </a:cubicBezTo>
                    <a:cubicBezTo>
                      <a:pt x="613" y="9873"/>
                      <a:pt x="613" y="9873"/>
                      <a:pt x="613" y="9873"/>
                    </a:cubicBezTo>
                    <a:cubicBezTo>
                      <a:pt x="650" y="9902"/>
                      <a:pt x="650" y="9902"/>
                      <a:pt x="650" y="9902"/>
                    </a:cubicBezTo>
                    <a:cubicBezTo>
                      <a:pt x="596" y="9969"/>
                      <a:pt x="596" y="9969"/>
                      <a:pt x="596" y="9969"/>
                    </a:cubicBezTo>
                    <a:cubicBezTo>
                      <a:pt x="523" y="9911"/>
                      <a:pt x="523" y="9911"/>
                      <a:pt x="523" y="9911"/>
                    </a:cubicBezTo>
                    <a:cubicBezTo>
                      <a:pt x="514" y="9923"/>
                      <a:pt x="507" y="9933"/>
                      <a:pt x="503" y="9939"/>
                    </a:cubicBezTo>
                    <a:cubicBezTo>
                      <a:pt x="700" y="10127"/>
                      <a:pt x="700" y="10127"/>
                      <a:pt x="700" y="10127"/>
                    </a:cubicBezTo>
                    <a:lnTo>
                      <a:pt x="703" y="10129"/>
                    </a:lnTo>
                    <a:close/>
                    <a:moveTo>
                      <a:pt x="958" y="10186"/>
                    </a:moveTo>
                    <a:cubicBezTo>
                      <a:pt x="881" y="10141"/>
                      <a:pt x="881" y="10141"/>
                      <a:pt x="881" y="10141"/>
                    </a:cubicBezTo>
                    <a:cubicBezTo>
                      <a:pt x="885" y="10135"/>
                      <a:pt x="885" y="10135"/>
                      <a:pt x="885" y="10135"/>
                    </a:cubicBezTo>
                    <a:cubicBezTo>
                      <a:pt x="925" y="10067"/>
                      <a:pt x="925" y="10067"/>
                      <a:pt x="925" y="10067"/>
                    </a:cubicBezTo>
                    <a:cubicBezTo>
                      <a:pt x="965" y="10090"/>
                      <a:pt x="965" y="10090"/>
                      <a:pt x="965" y="10090"/>
                    </a:cubicBezTo>
                    <a:cubicBezTo>
                      <a:pt x="987" y="10053"/>
                      <a:pt x="987" y="10053"/>
                      <a:pt x="987" y="10053"/>
                    </a:cubicBezTo>
                    <a:cubicBezTo>
                      <a:pt x="1032" y="10079"/>
                      <a:pt x="1032" y="10079"/>
                      <a:pt x="1032" y="10079"/>
                    </a:cubicBezTo>
                    <a:cubicBezTo>
                      <a:pt x="1055" y="10046"/>
                      <a:pt x="1077" y="10014"/>
                      <a:pt x="1095" y="9989"/>
                    </a:cubicBezTo>
                    <a:cubicBezTo>
                      <a:pt x="1104" y="9977"/>
                      <a:pt x="1111" y="9966"/>
                      <a:pt x="1117" y="9959"/>
                    </a:cubicBezTo>
                    <a:cubicBezTo>
                      <a:pt x="1119" y="9956"/>
                      <a:pt x="1121" y="9953"/>
                      <a:pt x="1123" y="9951"/>
                    </a:cubicBezTo>
                    <a:cubicBezTo>
                      <a:pt x="1033" y="9834"/>
                      <a:pt x="1033" y="9834"/>
                      <a:pt x="1033" y="9834"/>
                    </a:cubicBezTo>
                    <a:cubicBezTo>
                      <a:pt x="976" y="9788"/>
                      <a:pt x="976" y="9788"/>
                      <a:pt x="976" y="9788"/>
                    </a:cubicBezTo>
                    <a:cubicBezTo>
                      <a:pt x="716" y="10135"/>
                      <a:pt x="716" y="10135"/>
                      <a:pt x="716" y="10135"/>
                    </a:cubicBezTo>
                    <a:cubicBezTo>
                      <a:pt x="928" y="10226"/>
                      <a:pt x="928" y="10226"/>
                      <a:pt x="928" y="10226"/>
                    </a:cubicBezTo>
                    <a:cubicBezTo>
                      <a:pt x="934" y="10219"/>
                      <a:pt x="944" y="10204"/>
                      <a:pt x="958" y="10186"/>
                    </a:cubicBezTo>
                    <a:close/>
                    <a:moveTo>
                      <a:pt x="977" y="10182"/>
                    </a:moveTo>
                    <a:cubicBezTo>
                      <a:pt x="1058" y="10230"/>
                      <a:pt x="1058" y="10230"/>
                      <a:pt x="1058" y="10230"/>
                    </a:cubicBezTo>
                    <a:cubicBezTo>
                      <a:pt x="1089" y="10178"/>
                      <a:pt x="1089" y="10178"/>
                      <a:pt x="1089" y="10178"/>
                    </a:cubicBezTo>
                    <a:cubicBezTo>
                      <a:pt x="1048" y="10154"/>
                      <a:pt x="1048" y="10154"/>
                      <a:pt x="1048" y="10154"/>
                    </a:cubicBezTo>
                    <a:cubicBezTo>
                      <a:pt x="1070" y="10117"/>
                      <a:pt x="1070" y="10117"/>
                      <a:pt x="1070" y="10117"/>
                    </a:cubicBezTo>
                    <a:cubicBezTo>
                      <a:pt x="1036" y="10097"/>
                      <a:pt x="1036" y="10097"/>
                      <a:pt x="1036" y="10097"/>
                    </a:cubicBezTo>
                    <a:cubicBezTo>
                      <a:pt x="1034" y="10101"/>
                      <a:pt x="1031" y="10105"/>
                      <a:pt x="1029" y="10109"/>
                    </a:cubicBezTo>
                    <a:cubicBezTo>
                      <a:pt x="1011" y="10135"/>
                      <a:pt x="993" y="10160"/>
                      <a:pt x="977" y="10182"/>
                    </a:cubicBezTo>
                    <a:close/>
                    <a:moveTo>
                      <a:pt x="1024" y="10090"/>
                    </a:moveTo>
                    <a:cubicBezTo>
                      <a:pt x="992" y="10071"/>
                      <a:pt x="992" y="10071"/>
                      <a:pt x="992" y="10071"/>
                    </a:cubicBezTo>
                    <a:cubicBezTo>
                      <a:pt x="970" y="10108"/>
                      <a:pt x="970" y="10108"/>
                      <a:pt x="970" y="10108"/>
                    </a:cubicBezTo>
                    <a:cubicBezTo>
                      <a:pt x="930" y="10085"/>
                      <a:pt x="930" y="10085"/>
                      <a:pt x="930" y="10085"/>
                    </a:cubicBezTo>
                    <a:cubicBezTo>
                      <a:pt x="899" y="10136"/>
                      <a:pt x="899" y="10136"/>
                      <a:pt x="899" y="10136"/>
                    </a:cubicBezTo>
                    <a:cubicBezTo>
                      <a:pt x="965" y="10175"/>
                      <a:pt x="965" y="10175"/>
                      <a:pt x="965" y="10175"/>
                    </a:cubicBezTo>
                    <a:cubicBezTo>
                      <a:pt x="983" y="10150"/>
                      <a:pt x="1004" y="10120"/>
                      <a:pt x="1024" y="10090"/>
                    </a:cubicBezTo>
                    <a:close/>
                    <a:moveTo>
                      <a:pt x="1580" y="10434"/>
                    </a:moveTo>
                    <a:cubicBezTo>
                      <a:pt x="1668" y="10191"/>
                      <a:pt x="1668" y="10191"/>
                      <a:pt x="1668" y="10191"/>
                    </a:cubicBezTo>
                    <a:cubicBezTo>
                      <a:pt x="1204" y="10057"/>
                      <a:pt x="1204" y="10057"/>
                      <a:pt x="1204" y="10057"/>
                    </a:cubicBezTo>
                    <a:cubicBezTo>
                      <a:pt x="1132" y="9963"/>
                      <a:pt x="1132" y="9963"/>
                      <a:pt x="1132" y="9963"/>
                    </a:cubicBezTo>
                    <a:cubicBezTo>
                      <a:pt x="1118" y="9980"/>
                      <a:pt x="1082" y="10032"/>
                      <a:pt x="1044" y="10087"/>
                    </a:cubicBezTo>
                    <a:cubicBezTo>
                      <a:pt x="1088" y="10112"/>
                      <a:pt x="1088" y="10112"/>
                      <a:pt x="1088" y="10112"/>
                    </a:cubicBezTo>
                    <a:cubicBezTo>
                      <a:pt x="1066" y="10149"/>
                      <a:pt x="1066" y="10149"/>
                      <a:pt x="1066" y="10149"/>
                    </a:cubicBezTo>
                    <a:cubicBezTo>
                      <a:pt x="1107" y="10173"/>
                      <a:pt x="1107" y="10173"/>
                      <a:pt x="1107" y="10173"/>
                    </a:cubicBezTo>
                    <a:cubicBezTo>
                      <a:pt x="1063" y="10248"/>
                      <a:pt x="1063" y="10248"/>
                      <a:pt x="1063" y="10248"/>
                    </a:cubicBezTo>
                    <a:cubicBezTo>
                      <a:pt x="970" y="10193"/>
                      <a:pt x="970" y="10193"/>
                      <a:pt x="970" y="10193"/>
                    </a:cubicBezTo>
                    <a:cubicBezTo>
                      <a:pt x="968" y="10196"/>
                      <a:pt x="966" y="10199"/>
                      <a:pt x="964" y="10201"/>
                    </a:cubicBezTo>
                    <a:cubicBezTo>
                      <a:pt x="955" y="10214"/>
                      <a:pt x="947" y="10224"/>
                      <a:pt x="942" y="10231"/>
                    </a:cubicBezTo>
                    <a:cubicBezTo>
                      <a:pt x="941" y="10232"/>
                      <a:pt x="941" y="10232"/>
                      <a:pt x="941" y="10232"/>
                    </a:cubicBezTo>
                    <a:cubicBezTo>
                      <a:pt x="1255" y="10369"/>
                      <a:pt x="1255" y="10369"/>
                      <a:pt x="1255" y="10369"/>
                    </a:cubicBezTo>
                    <a:cubicBezTo>
                      <a:pt x="1255" y="10369"/>
                      <a:pt x="1256" y="10369"/>
                      <a:pt x="1257" y="10369"/>
                    </a:cubicBezTo>
                    <a:cubicBezTo>
                      <a:pt x="1281" y="10313"/>
                      <a:pt x="1281" y="10313"/>
                      <a:pt x="1281" y="10313"/>
                    </a:cubicBezTo>
                    <a:cubicBezTo>
                      <a:pt x="1196" y="10280"/>
                      <a:pt x="1196" y="10280"/>
                      <a:pt x="1196" y="10280"/>
                    </a:cubicBezTo>
                    <a:cubicBezTo>
                      <a:pt x="1199" y="10274"/>
                      <a:pt x="1199" y="10274"/>
                      <a:pt x="1199" y="10274"/>
                    </a:cubicBezTo>
                    <a:cubicBezTo>
                      <a:pt x="1227" y="10200"/>
                      <a:pt x="1227" y="10200"/>
                      <a:pt x="1227" y="10200"/>
                    </a:cubicBezTo>
                    <a:cubicBezTo>
                      <a:pt x="1271" y="10217"/>
                      <a:pt x="1271" y="10217"/>
                      <a:pt x="1271" y="10217"/>
                    </a:cubicBezTo>
                    <a:cubicBezTo>
                      <a:pt x="1286" y="10176"/>
                      <a:pt x="1286" y="10176"/>
                      <a:pt x="1286" y="10176"/>
                    </a:cubicBezTo>
                    <a:cubicBezTo>
                      <a:pt x="1332" y="10194"/>
                      <a:pt x="1332" y="10194"/>
                      <a:pt x="1332" y="10194"/>
                    </a:cubicBezTo>
                    <a:cubicBezTo>
                      <a:pt x="1371" y="10106"/>
                      <a:pt x="1371" y="10106"/>
                      <a:pt x="1371" y="10106"/>
                    </a:cubicBezTo>
                    <a:cubicBezTo>
                      <a:pt x="1384" y="10111"/>
                      <a:pt x="1384" y="10111"/>
                      <a:pt x="1384" y="10111"/>
                    </a:cubicBezTo>
                    <a:cubicBezTo>
                      <a:pt x="1346" y="10199"/>
                      <a:pt x="1346" y="10199"/>
                      <a:pt x="1346" y="10199"/>
                    </a:cubicBezTo>
                    <a:cubicBezTo>
                      <a:pt x="1395" y="10218"/>
                      <a:pt x="1395" y="10218"/>
                      <a:pt x="1395" y="10218"/>
                    </a:cubicBezTo>
                    <a:cubicBezTo>
                      <a:pt x="1380" y="10259"/>
                      <a:pt x="1380" y="10259"/>
                      <a:pt x="1380" y="10259"/>
                    </a:cubicBezTo>
                    <a:cubicBezTo>
                      <a:pt x="1424" y="10276"/>
                      <a:pt x="1424" y="10276"/>
                      <a:pt x="1424" y="10276"/>
                    </a:cubicBezTo>
                    <a:cubicBezTo>
                      <a:pt x="1393" y="10356"/>
                      <a:pt x="1393" y="10356"/>
                      <a:pt x="1393" y="10356"/>
                    </a:cubicBezTo>
                    <a:cubicBezTo>
                      <a:pt x="1294" y="10318"/>
                      <a:pt x="1294" y="10318"/>
                      <a:pt x="1294" y="10318"/>
                    </a:cubicBezTo>
                    <a:cubicBezTo>
                      <a:pt x="1271" y="10372"/>
                      <a:pt x="1271" y="10372"/>
                      <a:pt x="1271" y="10372"/>
                    </a:cubicBezTo>
                    <a:cubicBezTo>
                      <a:pt x="1313" y="10381"/>
                      <a:pt x="1434" y="10405"/>
                      <a:pt x="1580" y="10434"/>
                    </a:cubicBezTo>
                    <a:close/>
                    <a:moveTo>
                      <a:pt x="1363" y="10266"/>
                    </a:moveTo>
                    <a:cubicBezTo>
                      <a:pt x="1378" y="10226"/>
                      <a:pt x="1378" y="10226"/>
                      <a:pt x="1378" y="10226"/>
                    </a:cubicBezTo>
                    <a:cubicBezTo>
                      <a:pt x="1340" y="10211"/>
                      <a:pt x="1340" y="10211"/>
                      <a:pt x="1340" y="10211"/>
                    </a:cubicBezTo>
                    <a:cubicBezTo>
                      <a:pt x="1299" y="10306"/>
                      <a:pt x="1299" y="10306"/>
                      <a:pt x="1299" y="10306"/>
                    </a:cubicBezTo>
                    <a:cubicBezTo>
                      <a:pt x="1385" y="10339"/>
                      <a:pt x="1385" y="10339"/>
                      <a:pt x="1385" y="10339"/>
                    </a:cubicBezTo>
                    <a:cubicBezTo>
                      <a:pt x="1407" y="10283"/>
                      <a:pt x="1407" y="10283"/>
                      <a:pt x="1407" y="10283"/>
                    </a:cubicBezTo>
                    <a:lnTo>
                      <a:pt x="1363" y="10266"/>
                    </a:lnTo>
                    <a:close/>
                    <a:moveTo>
                      <a:pt x="1327" y="10206"/>
                    </a:moveTo>
                    <a:cubicBezTo>
                      <a:pt x="1294" y="10193"/>
                      <a:pt x="1294" y="10193"/>
                      <a:pt x="1294" y="10193"/>
                    </a:cubicBezTo>
                    <a:cubicBezTo>
                      <a:pt x="1279" y="10234"/>
                      <a:pt x="1279" y="10234"/>
                      <a:pt x="1279" y="10234"/>
                    </a:cubicBezTo>
                    <a:cubicBezTo>
                      <a:pt x="1235" y="10217"/>
                      <a:pt x="1235" y="10217"/>
                      <a:pt x="1235" y="10217"/>
                    </a:cubicBezTo>
                    <a:cubicBezTo>
                      <a:pt x="1213" y="10273"/>
                      <a:pt x="1213" y="10273"/>
                      <a:pt x="1213" y="10273"/>
                    </a:cubicBezTo>
                    <a:cubicBezTo>
                      <a:pt x="1286" y="10301"/>
                      <a:pt x="1286" y="10301"/>
                      <a:pt x="1286" y="10301"/>
                    </a:cubicBezTo>
                    <a:lnTo>
                      <a:pt x="1327" y="10206"/>
                    </a:lnTo>
                    <a:close/>
                    <a:moveTo>
                      <a:pt x="2521" y="10204"/>
                    </a:moveTo>
                    <a:cubicBezTo>
                      <a:pt x="1895" y="10089"/>
                      <a:pt x="1895" y="10089"/>
                      <a:pt x="1895" y="10089"/>
                    </a:cubicBezTo>
                    <a:cubicBezTo>
                      <a:pt x="1893" y="10090"/>
                      <a:pt x="1893" y="10090"/>
                      <a:pt x="1893" y="10090"/>
                    </a:cubicBezTo>
                    <a:cubicBezTo>
                      <a:pt x="1874" y="10129"/>
                      <a:pt x="1874" y="10129"/>
                      <a:pt x="1874" y="10129"/>
                    </a:cubicBezTo>
                    <a:cubicBezTo>
                      <a:pt x="1869" y="10126"/>
                      <a:pt x="1866" y="10124"/>
                      <a:pt x="1864" y="10122"/>
                    </a:cubicBezTo>
                    <a:cubicBezTo>
                      <a:pt x="1818" y="10234"/>
                      <a:pt x="1818" y="10234"/>
                      <a:pt x="1818" y="10234"/>
                    </a:cubicBezTo>
                    <a:cubicBezTo>
                      <a:pt x="1682" y="10195"/>
                      <a:pt x="1682" y="10195"/>
                      <a:pt x="1682" y="10195"/>
                    </a:cubicBezTo>
                    <a:cubicBezTo>
                      <a:pt x="1594" y="10437"/>
                      <a:pt x="1594" y="10437"/>
                      <a:pt x="1594" y="10437"/>
                    </a:cubicBezTo>
                    <a:cubicBezTo>
                      <a:pt x="1655" y="10450"/>
                      <a:pt x="1720" y="10463"/>
                      <a:pt x="1786" y="10476"/>
                    </a:cubicBezTo>
                    <a:cubicBezTo>
                      <a:pt x="2037" y="10526"/>
                      <a:pt x="2293" y="10577"/>
                      <a:pt x="2323" y="10583"/>
                    </a:cubicBezTo>
                    <a:cubicBezTo>
                      <a:pt x="2394" y="10498"/>
                      <a:pt x="2494" y="10466"/>
                      <a:pt x="2518" y="10460"/>
                    </a:cubicBezTo>
                    <a:lnTo>
                      <a:pt x="2521" y="10204"/>
                    </a:lnTo>
                    <a:close/>
                    <a:moveTo>
                      <a:pt x="2582" y="10201"/>
                    </a:moveTo>
                    <a:cubicBezTo>
                      <a:pt x="2580" y="10153"/>
                      <a:pt x="2579" y="10102"/>
                      <a:pt x="2578" y="10048"/>
                    </a:cubicBezTo>
                    <a:cubicBezTo>
                      <a:pt x="2574" y="10047"/>
                      <a:pt x="2574" y="10047"/>
                      <a:pt x="2574" y="10047"/>
                    </a:cubicBezTo>
                    <a:cubicBezTo>
                      <a:pt x="2575" y="10149"/>
                      <a:pt x="2575" y="10149"/>
                      <a:pt x="2575" y="10149"/>
                    </a:cubicBezTo>
                    <a:cubicBezTo>
                      <a:pt x="2441" y="10155"/>
                      <a:pt x="2441" y="10155"/>
                      <a:pt x="2441" y="10155"/>
                    </a:cubicBezTo>
                    <a:cubicBezTo>
                      <a:pt x="2440" y="10025"/>
                      <a:pt x="2440" y="10025"/>
                      <a:pt x="2440" y="10025"/>
                    </a:cubicBezTo>
                    <a:cubicBezTo>
                      <a:pt x="2200" y="9985"/>
                      <a:pt x="2200" y="9985"/>
                      <a:pt x="2200" y="9985"/>
                    </a:cubicBezTo>
                    <a:cubicBezTo>
                      <a:pt x="2188" y="10129"/>
                      <a:pt x="2188" y="10129"/>
                      <a:pt x="2188" y="10129"/>
                    </a:cubicBezTo>
                    <a:lnTo>
                      <a:pt x="2582" y="10201"/>
                    </a:lnTo>
                    <a:close/>
                    <a:moveTo>
                      <a:pt x="2595" y="8691"/>
                    </a:moveTo>
                    <a:cubicBezTo>
                      <a:pt x="2611" y="8644"/>
                      <a:pt x="2634" y="8603"/>
                      <a:pt x="2661" y="8569"/>
                    </a:cubicBezTo>
                    <a:cubicBezTo>
                      <a:pt x="2658" y="8562"/>
                      <a:pt x="2616" y="8498"/>
                      <a:pt x="2576" y="8438"/>
                    </a:cubicBezTo>
                    <a:cubicBezTo>
                      <a:pt x="2555" y="8406"/>
                      <a:pt x="2535" y="8375"/>
                      <a:pt x="2519" y="8351"/>
                    </a:cubicBezTo>
                    <a:cubicBezTo>
                      <a:pt x="2515" y="8344"/>
                      <a:pt x="2511" y="8338"/>
                      <a:pt x="2507" y="8332"/>
                    </a:cubicBezTo>
                    <a:cubicBezTo>
                      <a:pt x="2453" y="8358"/>
                      <a:pt x="2379" y="8389"/>
                      <a:pt x="2306" y="8404"/>
                    </a:cubicBezTo>
                    <a:cubicBezTo>
                      <a:pt x="2263" y="8413"/>
                      <a:pt x="2231" y="8421"/>
                      <a:pt x="2208" y="8427"/>
                    </a:cubicBezTo>
                    <a:cubicBezTo>
                      <a:pt x="2319" y="8524"/>
                      <a:pt x="2372" y="8622"/>
                      <a:pt x="2390" y="8662"/>
                    </a:cubicBezTo>
                    <a:lnTo>
                      <a:pt x="2595" y="8691"/>
                    </a:lnTo>
                    <a:close/>
                    <a:moveTo>
                      <a:pt x="2638" y="9484"/>
                    </a:moveTo>
                    <a:cubicBezTo>
                      <a:pt x="2703" y="9477"/>
                      <a:pt x="2842" y="9462"/>
                      <a:pt x="2981" y="9446"/>
                    </a:cubicBezTo>
                    <a:cubicBezTo>
                      <a:pt x="3012" y="9443"/>
                      <a:pt x="3044" y="9439"/>
                      <a:pt x="3074" y="9435"/>
                    </a:cubicBezTo>
                    <a:cubicBezTo>
                      <a:pt x="3182" y="9079"/>
                      <a:pt x="3182" y="9079"/>
                      <a:pt x="3182" y="9079"/>
                    </a:cubicBezTo>
                    <a:cubicBezTo>
                      <a:pt x="3124" y="9024"/>
                      <a:pt x="3124" y="9024"/>
                      <a:pt x="3124" y="9024"/>
                    </a:cubicBezTo>
                    <a:cubicBezTo>
                      <a:pt x="3124" y="9020"/>
                      <a:pt x="3124" y="9020"/>
                      <a:pt x="3124" y="9020"/>
                    </a:cubicBezTo>
                    <a:cubicBezTo>
                      <a:pt x="3124" y="9020"/>
                      <a:pt x="3140" y="8884"/>
                      <a:pt x="3150" y="8789"/>
                    </a:cubicBezTo>
                    <a:cubicBezTo>
                      <a:pt x="2650" y="8737"/>
                      <a:pt x="2650" y="8737"/>
                      <a:pt x="2650" y="8737"/>
                    </a:cubicBezTo>
                    <a:cubicBezTo>
                      <a:pt x="2644" y="8761"/>
                      <a:pt x="2641" y="8787"/>
                      <a:pt x="2641" y="8814"/>
                    </a:cubicBezTo>
                    <a:cubicBezTo>
                      <a:pt x="2641" y="8859"/>
                      <a:pt x="2640" y="8933"/>
                      <a:pt x="2640" y="9026"/>
                    </a:cubicBezTo>
                    <a:cubicBezTo>
                      <a:pt x="3123" y="9012"/>
                      <a:pt x="3123" y="9012"/>
                      <a:pt x="3123" y="9012"/>
                    </a:cubicBezTo>
                    <a:cubicBezTo>
                      <a:pt x="3123" y="9026"/>
                      <a:pt x="3123" y="9026"/>
                      <a:pt x="3123" y="9026"/>
                    </a:cubicBezTo>
                    <a:cubicBezTo>
                      <a:pt x="2639" y="9039"/>
                      <a:pt x="2639" y="9039"/>
                      <a:pt x="2639" y="9039"/>
                    </a:cubicBezTo>
                    <a:cubicBezTo>
                      <a:pt x="2639" y="9152"/>
                      <a:pt x="2638" y="9290"/>
                      <a:pt x="2638" y="9438"/>
                    </a:cubicBezTo>
                    <a:cubicBezTo>
                      <a:pt x="2638" y="9453"/>
                      <a:pt x="2638" y="9469"/>
                      <a:pt x="2638" y="9484"/>
                    </a:cubicBezTo>
                    <a:close/>
                    <a:moveTo>
                      <a:pt x="2967" y="9648"/>
                    </a:moveTo>
                    <a:cubicBezTo>
                      <a:pt x="2849" y="9664"/>
                      <a:pt x="2849" y="9664"/>
                      <a:pt x="2849" y="9664"/>
                    </a:cubicBezTo>
                    <a:cubicBezTo>
                      <a:pt x="2865" y="9771"/>
                      <a:pt x="2865" y="9771"/>
                      <a:pt x="2865" y="9771"/>
                    </a:cubicBezTo>
                    <a:cubicBezTo>
                      <a:pt x="2880" y="9769"/>
                      <a:pt x="2922" y="9763"/>
                      <a:pt x="2974" y="9756"/>
                    </a:cubicBezTo>
                    <a:cubicBezTo>
                      <a:pt x="2972" y="9725"/>
                      <a:pt x="2970" y="9689"/>
                      <a:pt x="2968" y="9653"/>
                    </a:cubicBezTo>
                    <a:cubicBezTo>
                      <a:pt x="2967" y="9651"/>
                      <a:pt x="2967" y="9650"/>
                      <a:pt x="2967" y="9648"/>
                    </a:cubicBezTo>
                    <a:close/>
                    <a:moveTo>
                      <a:pt x="2978" y="9821"/>
                    </a:moveTo>
                    <a:cubicBezTo>
                      <a:pt x="2977" y="9809"/>
                      <a:pt x="2976" y="9790"/>
                      <a:pt x="2975" y="9769"/>
                    </a:cubicBezTo>
                    <a:cubicBezTo>
                      <a:pt x="2909" y="9778"/>
                      <a:pt x="2860" y="9785"/>
                      <a:pt x="2860" y="9785"/>
                    </a:cubicBezTo>
                    <a:cubicBezTo>
                      <a:pt x="2854" y="9786"/>
                      <a:pt x="2854" y="9786"/>
                      <a:pt x="2854" y="9786"/>
                    </a:cubicBezTo>
                    <a:cubicBezTo>
                      <a:pt x="2834" y="9653"/>
                      <a:pt x="2834" y="9653"/>
                      <a:pt x="2834" y="9653"/>
                    </a:cubicBezTo>
                    <a:cubicBezTo>
                      <a:pt x="2966" y="9635"/>
                      <a:pt x="2966" y="9635"/>
                      <a:pt x="2966" y="9635"/>
                    </a:cubicBezTo>
                    <a:cubicBezTo>
                      <a:pt x="2964" y="9595"/>
                      <a:pt x="2961" y="9556"/>
                      <a:pt x="2959" y="9526"/>
                    </a:cubicBezTo>
                    <a:cubicBezTo>
                      <a:pt x="2958" y="9514"/>
                      <a:pt x="2957" y="9503"/>
                      <a:pt x="2956" y="9495"/>
                    </a:cubicBezTo>
                    <a:cubicBezTo>
                      <a:pt x="2823" y="9510"/>
                      <a:pt x="2696" y="9523"/>
                      <a:pt x="2638" y="9530"/>
                    </a:cubicBezTo>
                    <a:cubicBezTo>
                      <a:pt x="2638" y="9596"/>
                      <a:pt x="2638" y="9662"/>
                      <a:pt x="2639" y="9728"/>
                    </a:cubicBezTo>
                    <a:cubicBezTo>
                      <a:pt x="2640" y="9779"/>
                      <a:pt x="2640" y="9829"/>
                      <a:pt x="2641" y="9879"/>
                    </a:cubicBezTo>
                    <a:lnTo>
                      <a:pt x="2978" y="9821"/>
                    </a:lnTo>
                    <a:close/>
                    <a:moveTo>
                      <a:pt x="2980" y="9634"/>
                    </a:moveTo>
                    <a:cubicBezTo>
                      <a:pt x="3163" y="9609"/>
                      <a:pt x="3163" y="9609"/>
                      <a:pt x="3163" y="9609"/>
                    </a:cubicBezTo>
                    <a:cubicBezTo>
                      <a:pt x="3163" y="9582"/>
                      <a:pt x="3163" y="9555"/>
                      <a:pt x="3162" y="9532"/>
                    </a:cubicBezTo>
                    <a:cubicBezTo>
                      <a:pt x="3162" y="9509"/>
                      <a:pt x="3162" y="9490"/>
                      <a:pt x="3161" y="9477"/>
                    </a:cubicBezTo>
                    <a:cubicBezTo>
                      <a:pt x="3161" y="9474"/>
                      <a:pt x="3161" y="9472"/>
                      <a:pt x="3161" y="9470"/>
                    </a:cubicBezTo>
                    <a:cubicBezTo>
                      <a:pt x="3101" y="9478"/>
                      <a:pt x="3035" y="9485"/>
                      <a:pt x="2970" y="9493"/>
                    </a:cubicBezTo>
                    <a:cubicBezTo>
                      <a:pt x="2973" y="9523"/>
                      <a:pt x="2977" y="9577"/>
                      <a:pt x="2980" y="9634"/>
                    </a:cubicBezTo>
                    <a:close/>
                    <a:moveTo>
                      <a:pt x="2988" y="9754"/>
                    </a:moveTo>
                    <a:cubicBezTo>
                      <a:pt x="3015" y="9750"/>
                      <a:pt x="3045" y="9746"/>
                      <a:pt x="3075" y="9742"/>
                    </a:cubicBezTo>
                    <a:cubicBezTo>
                      <a:pt x="3105" y="9738"/>
                      <a:pt x="3135" y="9734"/>
                      <a:pt x="3163" y="9730"/>
                    </a:cubicBezTo>
                    <a:cubicBezTo>
                      <a:pt x="3163" y="9715"/>
                      <a:pt x="3163" y="9700"/>
                      <a:pt x="3163" y="9683"/>
                    </a:cubicBezTo>
                    <a:cubicBezTo>
                      <a:pt x="3163" y="9664"/>
                      <a:pt x="3163" y="9643"/>
                      <a:pt x="3163" y="9623"/>
                    </a:cubicBezTo>
                    <a:cubicBezTo>
                      <a:pt x="2981" y="9647"/>
                      <a:pt x="2981" y="9647"/>
                      <a:pt x="2981" y="9647"/>
                    </a:cubicBezTo>
                    <a:cubicBezTo>
                      <a:pt x="2983" y="9684"/>
                      <a:pt x="2986" y="9722"/>
                      <a:pt x="2988" y="9754"/>
                    </a:cubicBezTo>
                    <a:close/>
                    <a:moveTo>
                      <a:pt x="3163" y="9789"/>
                    </a:moveTo>
                    <a:cubicBezTo>
                      <a:pt x="3163" y="9778"/>
                      <a:pt x="3163" y="9762"/>
                      <a:pt x="3163" y="9743"/>
                    </a:cubicBezTo>
                    <a:cubicBezTo>
                      <a:pt x="3108" y="9751"/>
                      <a:pt x="3043" y="9759"/>
                      <a:pt x="2988" y="9767"/>
                    </a:cubicBezTo>
                    <a:cubicBezTo>
                      <a:pt x="2990" y="9788"/>
                      <a:pt x="2991" y="9806"/>
                      <a:pt x="2991" y="9818"/>
                    </a:cubicBezTo>
                    <a:lnTo>
                      <a:pt x="3163" y="9789"/>
                    </a:lnTo>
                    <a:close/>
                    <a:moveTo>
                      <a:pt x="3208" y="10331"/>
                    </a:moveTo>
                    <a:cubicBezTo>
                      <a:pt x="3205" y="10333"/>
                      <a:pt x="3205" y="10333"/>
                      <a:pt x="3205" y="10333"/>
                    </a:cubicBezTo>
                    <a:cubicBezTo>
                      <a:pt x="3205" y="10333"/>
                      <a:pt x="3205" y="10333"/>
                      <a:pt x="3205" y="10333"/>
                    </a:cubicBezTo>
                    <a:lnTo>
                      <a:pt x="3208" y="10331"/>
                    </a:lnTo>
                    <a:close/>
                    <a:moveTo>
                      <a:pt x="3713" y="10042"/>
                    </a:moveTo>
                    <a:cubicBezTo>
                      <a:pt x="3662" y="9749"/>
                      <a:pt x="3662" y="9749"/>
                      <a:pt x="3662" y="9749"/>
                    </a:cubicBezTo>
                    <a:cubicBezTo>
                      <a:pt x="3019" y="9859"/>
                      <a:pt x="3019" y="9859"/>
                      <a:pt x="3019" y="9859"/>
                    </a:cubicBezTo>
                    <a:cubicBezTo>
                      <a:pt x="3074" y="10072"/>
                      <a:pt x="3074" y="10072"/>
                      <a:pt x="3074" y="10072"/>
                    </a:cubicBezTo>
                    <a:cubicBezTo>
                      <a:pt x="3192" y="10321"/>
                      <a:pt x="3192" y="10321"/>
                      <a:pt x="3192" y="10321"/>
                    </a:cubicBezTo>
                    <a:cubicBezTo>
                      <a:pt x="3199" y="10328"/>
                      <a:pt x="3199" y="10328"/>
                      <a:pt x="3199" y="10328"/>
                    </a:cubicBezTo>
                    <a:cubicBezTo>
                      <a:pt x="3200" y="10328"/>
                      <a:pt x="3200" y="10328"/>
                      <a:pt x="3200" y="10328"/>
                    </a:cubicBezTo>
                    <a:cubicBezTo>
                      <a:pt x="3230" y="10304"/>
                      <a:pt x="3666" y="10068"/>
                      <a:pt x="3713" y="10042"/>
                    </a:cubicBezTo>
                    <a:close/>
                    <a:moveTo>
                      <a:pt x="4506" y="10274"/>
                    </a:moveTo>
                    <a:cubicBezTo>
                      <a:pt x="4493" y="10273"/>
                      <a:pt x="4493" y="10273"/>
                      <a:pt x="4493" y="10273"/>
                    </a:cubicBezTo>
                    <a:cubicBezTo>
                      <a:pt x="4493" y="10273"/>
                      <a:pt x="4498" y="10200"/>
                      <a:pt x="4504" y="10127"/>
                    </a:cubicBezTo>
                    <a:cubicBezTo>
                      <a:pt x="4507" y="10091"/>
                      <a:pt x="4510" y="10055"/>
                      <a:pt x="4513" y="10027"/>
                    </a:cubicBezTo>
                    <a:cubicBezTo>
                      <a:pt x="4514" y="10018"/>
                      <a:pt x="4515" y="10011"/>
                      <a:pt x="4515" y="10004"/>
                    </a:cubicBezTo>
                    <a:cubicBezTo>
                      <a:pt x="4509" y="10005"/>
                      <a:pt x="4503" y="10005"/>
                      <a:pt x="4497" y="10005"/>
                    </a:cubicBezTo>
                    <a:cubicBezTo>
                      <a:pt x="4492" y="10005"/>
                      <a:pt x="4486" y="10005"/>
                      <a:pt x="4481" y="10004"/>
                    </a:cubicBezTo>
                    <a:cubicBezTo>
                      <a:pt x="4481" y="10006"/>
                      <a:pt x="4481" y="10006"/>
                      <a:pt x="4481" y="10006"/>
                    </a:cubicBezTo>
                    <a:cubicBezTo>
                      <a:pt x="4481" y="10006"/>
                      <a:pt x="4481" y="10006"/>
                      <a:pt x="4481" y="10006"/>
                    </a:cubicBezTo>
                    <a:cubicBezTo>
                      <a:pt x="4477" y="10006"/>
                      <a:pt x="4474" y="10005"/>
                      <a:pt x="4471" y="10004"/>
                    </a:cubicBezTo>
                    <a:cubicBezTo>
                      <a:pt x="4399" y="10004"/>
                      <a:pt x="4328" y="10000"/>
                      <a:pt x="4267" y="9989"/>
                    </a:cubicBezTo>
                    <a:cubicBezTo>
                      <a:pt x="4222" y="9981"/>
                      <a:pt x="4173" y="9971"/>
                      <a:pt x="4128" y="9949"/>
                    </a:cubicBezTo>
                    <a:cubicBezTo>
                      <a:pt x="4019" y="10198"/>
                      <a:pt x="4019" y="10198"/>
                      <a:pt x="4019" y="10198"/>
                    </a:cubicBezTo>
                    <a:cubicBezTo>
                      <a:pt x="4006" y="10193"/>
                      <a:pt x="4006" y="10193"/>
                      <a:pt x="4006" y="10193"/>
                    </a:cubicBezTo>
                    <a:cubicBezTo>
                      <a:pt x="4116" y="9943"/>
                      <a:pt x="4116" y="9943"/>
                      <a:pt x="4116" y="9943"/>
                    </a:cubicBezTo>
                    <a:cubicBezTo>
                      <a:pt x="4096" y="9932"/>
                      <a:pt x="4078" y="9920"/>
                      <a:pt x="4060" y="9903"/>
                    </a:cubicBezTo>
                    <a:cubicBezTo>
                      <a:pt x="4013" y="9859"/>
                      <a:pt x="3981" y="9793"/>
                      <a:pt x="3968" y="9696"/>
                    </a:cubicBezTo>
                    <a:cubicBezTo>
                      <a:pt x="3706" y="9741"/>
                      <a:pt x="3706" y="9741"/>
                      <a:pt x="3706" y="9741"/>
                    </a:cubicBezTo>
                    <a:cubicBezTo>
                      <a:pt x="3788" y="10202"/>
                      <a:pt x="3788" y="10202"/>
                      <a:pt x="3788" y="10202"/>
                    </a:cubicBezTo>
                    <a:cubicBezTo>
                      <a:pt x="3850" y="10201"/>
                      <a:pt x="4010" y="10197"/>
                      <a:pt x="4010" y="10197"/>
                    </a:cubicBezTo>
                    <a:cubicBezTo>
                      <a:pt x="4012" y="10197"/>
                      <a:pt x="4012" y="10197"/>
                      <a:pt x="4012" y="10197"/>
                    </a:cubicBezTo>
                    <a:cubicBezTo>
                      <a:pt x="4262" y="10356"/>
                      <a:pt x="4262" y="10356"/>
                      <a:pt x="4262" y="10356"/>
                    </a:cubicBezTo>
                    <a:cubicBezTo>
                      <a:pt x="4255" y="10368"/>
                      <a:pt x="4255" y="10368"/>
                      <a:pt x="4255" y="10368"/>
                    </a:cubicBezTo>
                    <a:cubicBezTo>
                      <a:pt x="4255" y="10368"/>
                      <a:pt x="4255" y="10368"/>
                      <a:pt x="4255" y="10368"/>
                    </a:cubicBezTo>
                    <a:cubicBezTo>
                      <a:pt x="4008" y="10211"/>
                      <a:pt x="4008" y="10211"/>
                      <a:pt x="4008" y="10211"/>
                    </a:cubicBezTo>
                    <a:cubicBezTo>
                      <a:pt x="3997" y="10211"/>
                      <a:pt x="3942" y="10212"/>
                      <a:pt x="3887" y="10214"/>
                    </a:cubicBezTo>
                    <a:cubicBezTo>
                      <a:pt x="3857" y="10215"/>
                      <a:pt x="3826" y="10215"/>
                      <a:pt x="3803" y="10216"/>
                    </a:cubicBezTo>
                    <a:cubicBezTo>
                      <a:pt x="3798" y="10216"/>
                      <a:pt x="3794" y="10216"/>
                      <a:pt x="3790" y="10216"/>
                    </a:cubicBezTo>
                    <a:cubicBezTo>
                      <a:pt x="3847" y="10540"/>
                      <a:pt x="3847" y="10540"/>
                      <a:pt x="3847" y="10540"/>
                    </a:cubicBezTo>
                    <a:cubicBezTo>
                      <a:pt x="4169" y="10576"/>
                      <a:pt x="4169" y="10576"/>
                      <a:pt x="4169" y="10576"/>
                    </a:cubicBezTo>
                    <a:cubicBezTo>
                      <a:pt x="4174" y="10565"/>
                      <a:pt x="4194" y="10520"/>
                      <a:pt x="4215" y="10474"/>
                    </a:cubicBezTo>
                    <a:cubicBezTo>
                      <a:pt x="4227" y="10448"/>
                      <a:pt x="4239" y="10421"/>
                      <a:pt x="4248" y="10400"/>
                    </a:cubicBezTo>
                    <a:cubicBezTo>
                      <a:pt x="4252" y="10389"/>
                      <a:pt x="4256" y="10380"/>
                      <a:pt x="4258" y="10373"/>
                    </a:cubicBezTo>
                    <a:cubicBezTo>
                      <a:pt x="4259" y="10370"/>
                      <a:pt x="4260" y="10367"/>
                      <a:pt x="4261" y="10365"/>
                    </a:cubicBezTo>
                    <a:cubicBezTo>
                      <a:pt x="4261" y="10364"/>
                      <a:pt x="4262" y="10364"/>
                      <a:pt x="4262" y="10363"/>
                    </a:cubicBezTo>
                    <a:cubicBezTo>
                      <a:pt x="4262" y="10363"/>
                      <a:pt x="4261" y="10362"/>
                      <a:pt x="4261" y="10362"/>
                    </a:cubicBezTo>
                    <a:cubicBezTo>
                      <a:pt x="4263" y="10354"/>
                      <a:pt x="4265" y="10356"/>
                      <a:pt x="4266" y="10355"/>
                    </a:cubicBezTo>
                    <a:cubicBezTo>
                      <a:pt x="4281" y="10346"/>
                      <a:pt x="4480" y="10282"/>
                      <a:pt x="4506" y="10274"/>
                    </a:cubicBezTo>
                    <a:close/>
                    <a:moveTo>
                      <a:pt x="5035" y="10530"/>
                    </a:moveTo>
                    <a:cubicBezTo>
                      <a:pt x="5035" y="10435"/>
                      <a:pt x="5034" y="10344"/>
                      <a:pt x="5030" y="10270"/>
                    </a:cubicBezTo>
                    <a:cubicBezTo>
                      <a:pt x="5027" y="10193"/>
                      <a:pt x="5020" y="10133"/>
                      <a:pt x="5013" y="10109"/>
                    </a:cubicBezTo>
                    <a:cubicBezTo>
                      <a:pt x="4996" y="10055"/>
                      <a:pt x="4974" y="10029"/>
                      <a:pt x="4950" y="10014"/>
                    </a:cubicBezTo>
                    <a:cubicBezTo>
                      <a:pt x="4925" y="9999"/>
                      <a:pt x="4892" y="9994"/>
                      <a:pt x="4851" y="9994"/>
                    </a:cubicBezTo>
                    <a:cubicBezTo>
                      <a:pt x="4821" y="9994"/>
                      <a:pt x="4787" y="9997"/>
                      <a:pt x="4751" y="9998"/>
                    </a:cubicBezTo>
                    <a:cubicBezTo>
                      <a:pt x="4690" y="10000"/>
                      <a:pt x="4611" y="10003"/>
                      <a:pt x="4530" y="10004"/>
                    </a:cubicBezTo>
                    <a:cubicBezTo>
                      <a:pt x="4526" y="10032"/>
                      <a:pt x="4521" y="10085"/>
                      <a:pt x="4517" y="10135"/>
                    </a:cubicBezTo>
                    <a:cubicBezTo>
                      <a:pt x="4512" y="10204"/>
                      <a:pt x="4507" y="10270"/>
                      <a:pt x="4507" y="10273"/>
                    </a:cubicBezTo>
                    <a:cubicBezTo>
                      <a:pt x="4507" y="10273"/>
                      <a:pt x="4508" y="10273"/>
                      <a:pt x="4508" y="10273"/>
                    </a:cubicBezTo>
                    <a:cubicBezTo>
                      <a:pt x="4513" y="10271"/>
                      <a:pt x="4513" y="10271"/>
                      <a:pt x="4513" y="10271"/>
                    </a:cubicBezTo>
                    <a:cubicBezTo>
                      <a:pt x="4721" y="10567"/>
                      <a:pt x="4721" y="10567"/>
                      <a:pt x="4721" y="10567"/>
                    </a:cubicBezTo>
                    <a:lnTo>
                      <a:pt x="5035" y="10530"/>
                    </a:lnTo>
                    <a:close/>
                    <a:moveTo>
                      <a:pt x="5989" y="9709"/>
                    </a:moveTo>
                    <a:cubicBezTo>
                      <a:pt x="5989" y="9632"/>
                      <a:pt x="5987" y="9564"/>
                      <a:pt x="5987" y="9525"/>
                    </a:cubicBezTo>
                    <a:cubicBezTo>
                      <a:pt x="5985" y="9442"/>
                      <a:pt x="5962" y="9293"/>
                      <a:pt x="5939" y="9167"/>
                    </a:cubicBezTo>
                    <a:cubicBezTo>
                      <a:pt x="5923" y="9078"/>
                      <a:pt x="5907" y="9000"/>
                      <a:pt x="5899" y="8962"/>
                    </a:cubicBezTo>
                    <a:cubicBezTo>
                      <a:pt x="4519" y="8973"/>
                      <a:pt x="4519" y="8973"/>
                      <a:pt x="4519" y="8973"/>
                    </a:cubicBezTo>
                    <a:cubicBezTo>
                      <a:pt x="4546" y="9018"/>
                      <a:pt x="4578" y="9094"/>
                      <a:pt x="4579" y="9201"/>
                    </a:cubicBezTo>
                    <a:cubicBezTo>
                      <a:pt x="4579" y="9246"/>
                      <a:pt x="4572" y="9297"/>
                      <a:pt x="4558" y="9353"/>
                    </a:cubicBezTo>
                    <a:cubicBezTo>
                      <a:pt x="4503" y="9559"/>
                      <a:pt x="4490" y="9646"/>
                      <a:pt x="4490" y="9711"/>
                    </a:cubicBezTo>
                    <a:cubicBezTo>
                      <a:pt x="4490" y="9729"/>
                      <a:pt x="4491" y="9745"/>
                      <a:pt x="4492" y="9763"/>
                    </a:cubicBezTo>
                    <a:cubicBezTo>
                      <a:pt x="4496" y="9808"/>
                      <a:pt x="4496" y="9860"/>
                      <a:pt x="4498" y="9900"/>
                    </a:cubicBezTo>
                    <a:cubicBezTo>
                      <a:pt x="4499" y="9916"/>
                      <a:pt x="4500" y="9929"/>
                      <a:pt x="4501" y="9939"/>
                    </a:cubicBezTo>
                    <a:cubicBezTo>
                      <a:pt x="4590" y="9939"/>
                      <a:pt x="4680" y="9935"/>
                      <a:pt x="4749" y="9932"/>
                    </a:cubicBezTo>
                    <a:cubicBezTo>
                      <a:pt x="4783" y="9931"/>
                      <a:pt x="4818" y="9929"/>
                      <a:pt x="4851" y="9929"/>
                    </a:cubicBezTo>
                    <a:cubicBezTo>
                      <a:pt x="4897" y="9929"/>
                      <a:pt x="4942" y="9933"/>
                      <a:pt x="4983" y="9958"/>
                    </a:cubicBezTo>
                    <a:cubicBezTo>
                      <a:pt x="5025" y="9982"/>
                      <a:pt x="5056" y="10026"/>
                      <a:pt x="5076" y="10090"/>
                    </a:cubicBezTo>
                    <a:cubicBezTo>
                      <a:pt x="5077" y="10095"/>
                      <a:pt x="5078" y="10101"/>
                      <a:pt x="5079" y="10106"/>
                    </a:cubicBezTo>
                    <a:cubicBezTo>
                      <a:pt x="5146" y="10116"/>
                      <a:pt x="5568" y="10184"/>
                      <a:pt x="5716" y="10215"/>
                    </a:cubicBezTo>
                    <a:cubicBezTo>
                      <a:pt x="5791" y="10230"/>
                      <a:pt x="5876" y="10250"/>
                      <a:pt x="5958" y="10270"/>
                    </a:cubicBezTo>
                    <a:cubicBezTo>
                      <a:pt x="5963" y="10217"/>
                      <a:pt x="5975" y="10101"/>
                      <a:pt x="5983" y="9972"/>
                    </a:cubicBezTo>
                    <a:cubicBezTo>
                      <a:pt x="5987" y="9890"/>
                      <a:pt x="5989" y="9793"/>
                      <a:pt x="5989" y="9709"/>
                    </a:cubicBezTo>
                    <a:close/>
                    <a:moveTo>
                      <a:pt x="6321" y="10369"/>
                    </a:moveTo>
                    <a:cubicBezTo>
                      <a:pt x="6399" y="10127"/>
                      <a:pt x="6399" y="10127"/>
                      <a:pt x="6399" y="10127"/>
                    </a:cubicBezTo>
                    <a:cubicBezTo>
                      <a:pt x="6462" y="10104"/>
                      <a:pt x="6462" y="10104"/>
                      <a:pt x="6462" y="10104"/>
                    </a:cubicBezTo>
                    <a:cubicBezTo>
                      <a:pt x="6465" y="10086"/>
                      <a:pt x="6478" y="10011"/>
                      <a:pt x="6491" y="9935"/>
                    </a:cubicBezTo>
                    <a:cubicBezTo>
                      <a:pt x="6495" y="9915"/>
                      <a:pt x="6498" y="9895"/>
                      <a:pt x="6502" y="9877"/>
                    </a:cubicBezTo>
                    <a:cubicBezTo>
                      <a:pt x="6491" y="9876"/>
                      <a:pt x="6446" y="9865"/>
                      <a:pt x="6399" y="9853"/>
                    </a:cubicBezTo>
                    <a:cubicBezTo>
                      <a:pt x="6356" y="9842"/>
                      <a:pt x="6312" y="9831"/>
                      <a:pt x="6304" y="9830"/>
                    </a:cubicBezTo>
                    <a:cubicBezTo>
                      <a:pt x="6294" y="9835"/>
                      <a:pt x="6246" y="9863"/>
                      <a:pt x="6246" y="9863"/>
                    </a:cubicBezTo>
                    <a:cubicBezTo>
                      <a:pt x="6244" y="9864"/>
                      <a:pt x="6244" y="9864"/>
                      <a:pt x="6244" y="9864"/>
                    </a:cubicBezTo>
                    <a:cubicBezTo>
                      <a:pt x="6053" y="9854"/>
                      <a:pt x="6053" y="9854"/>
                      <a:pt x="6053" y="9854"/>
                    </a:cubicBezTo>
                    <a:cubicBezTo>
                      <a:pt x="6052" y="9895"/>
                      <a:pt x="6050" y="9937"/>
                      <a:pt x="6048" y="9975"/>
                    </a:cubicBezTo>
                    <a:cubicBezTo>
                      <a:pt x="6040" y="10114"/>
                      <a:pt x="6027" y="10237"/>
                      <a:pt x="6022" y="10285"/>
                    </a:cubicBezTo>
                    <a:cubicBezTo>
                      <a:pt x="6089" y="10302"/>
                      <a:pt x="6150" y="10318"/>
                      <a:pt x="6195" y="10329"/>
                    </a:cubicBezTo>
                    <a:cubicBezTo>
                      <a:pt x="6237" y="10340"/>
                      <a:pt x="6274" y="10354"/>
                      <a:pt x="6321" y="10369"/>
                    </a:cubicBezTo>
                    <a:close/>
                    <a:moveTo>
                      <a:pt x="6915" y="10186"/>
                    </a:moveTo>
                    <a:cubicBezTo>
                      <a:pt x="6816" y="10003"/>
                      <a:pt x="6816" y="10003"/>
                      <a:pt x="6816" y="10003"/>
                    </a:cubicBezTo>
                    <a:cubicBezTo>
                      <a:pt x="6505" y="9935"/>
                      <a:pt x="6505" y="9935"/>
                      <a:pt x="6505" y="9935"/>
                    </a:cubicBezTo>
                    <a:cubicBezTo>
                      <a:pt x="6490" y="10022"/>
                      <a:pt x="6475" y="10111"/>
                      <a:pt x="6475" y="10111"/>
                    </a:cubicBezTo>
                    <a:cubicBezTo>
                      <a:pt x="6474" y="10115"/>
                      <a:pt x="6474" y="10115"/>
                      <a:pt x="6474" y="10115"/>
                    </a:cubicBezTo>
                    <a:cubicBezTo>
                      <a:pt x="6410" y="10137"/>
                      <a:pt x="6410" y="10137"/>
                      <a:pt x="6410" y="10137"/>
                    </a:cubicBezTo>
                    <a:cubicBezTo>
                      <a:pt x="6335" y="10373"/>
                      <a:pt x="6335" y="10373"/>
                      <a:pt x="6335" y="10373"/>
                    </a:cubicBezTo>
                    <a:cubicBezTo>
                      <a:pt x="6417" y="10397"/>
                      <a:pt x="6533" y="10424"/>
                      <a:pt x="6761" y="10447"/>
                    </a:cubicBezTo>
                    <a:cubicBezTo>
                      <a:pt x="6773" y="10448"/>
                      <a:pt x="6785" y="10449"/>
                      <a:pt x="6798" y="10451"/>
                    </a:cubicBezTo>
                    <a:cubicBezTo>
                      <a:pt x="6817" y="10407"/>
                      <a:pt x="6860" y="10311"/>
                      <a:pt x="6915" y="10186"/>
                    </a:cubicBezTo>
                    <a:close/>
                    <a:moveTo>
                      <a:pt x="8725" y="7965"/>
                    </a:moveTo>
                    <a:cubicBezTo>
                      <a:pt x="8646" y="7910"/>
                      <a:pt x="8444" y="7769"/>
                      <a:pt x="8241" y="7628"/>
                    </a:cubicBezTo>
                    <a:cubicBezTo>
                      <a:pt x="8111" y="7538"/>
                      <a:pt x="7982" y="7447"/>
                      <a:pt x="7884" y="7379"/>
                    </a:cubicBezTo>
                    <a:cubicBezTo>
                      <a:pt x="7874" y="7371"/>
                      <a:pt x="7864" y="7364"/>
                      <a:pt x="7854" y="7357"/>
                    </a:cubicBezTo>
                    <a:cubicBezTo>
                      <a:pt x="7630" y="8722"/>
                      <a:pt x="7630" y="8722"/>
                      <a:pt x="7630" y="8722"/>
                    </a:cubicBezTo>
                    <a:cubicBezTo>
                      <a:pt x="7629" y="8726"/>
                      <a:pt x="7629" y="8726"/>
                      <a:pt x="7629" y="8726"/>
                    </a:cubicBezTo>
                    <a:cubicBezTo>
                      <a:pt x="7629" y="8726"/>
                      <a:pt x="7434" y="9169"/>
                      <a:pt x="7238" y="9614"/>
                    </a:cubicBezTo>
                    <a:cubicBezTo>
                      <a:pt x="7141" y="9836"/>
                      <a:pt x="7043" y="10058"/>
                      <a:pt x="6969" y="10225"/>
                    </a:cubicBezTo>
                    <a:cubicBezTo>
                      <a:pt x="6932" y="10309"/>
                      <a:pt x="6902" y="10378"/>
                      <a:pt x="6880" y="10427"/>
                    </a:cubicBezTo>
                    <a:cubicBezTo>
                      <a:pt x="6874" y="10440"/>
                      <a:pt x="6869" y="10451"/>
                      <a:pt x="6865" y="10461"/>
                    </a:cubicBezTo>
                    <a:cubicBezTo>
                      <a:pt x="7231" y="10527"/>
                      <a:pt x="7628" y="10735"/>
                      <a:pt x="7630" y="10736"/>
                    </a:cubicBezTo>
                    <a:cubicBezTo>
                      <a:pt x="7631" y="10736"/>
                      <a:pt x="7631" y="10736"/>
                      <a:pt x="7631" y="10736"/>
                    </a:cubicBezTo>
                    <a:cubicBezTo>
                      <a:pt x="7637" y="10740"/>
                      <a:pt x="7637" y="10740"/>
                      <a:pt x="7637" y="10740"/>
                    </a:cubicBezTo>
                    <a:cubicBezTo>
                      <a:pt x="8541" y="9100"/>
                      <a:pt x="8541" y="9100"/>
                      <a:pt x="8541" y="9100"/>
                    </a:cubicBezTo>
                    <a:cubicBezTo>
                      <a:pt x="8543" y="9009"/>
                      <a:pt x="8558" y="8258"/>
                      <a:pt x="8562" y="8208"/>
                    </a:cubicBezTo>
                    <a:cubicBezTo>
                      <a:pt x="8576" y="8075"/>
                      <a:pt x="8652" y="8000"/>
                      <a:pt x="8725" y="7965"/>
                    </a:cubicBezTo>
                    <a:close/>
                    <a:moveTo>
                      <a:pt x="9099" y="9364"/>
                    </a:moveTo>
                    <a:cubicBezTo>
                      <a:pt x="9105" y="9243"/>
                      <a:pt x="9135" y="8868"/>
                      <a:pt x="9138" y="8792"/>
                    </a:cubicBezTo>
                    <a:cubicBezTo>
                      <a:pt x="9136" y="8793"/>
                      <a:pt x="9136" y="8793"/>
                      <a:pt x="9136" y="8793"/>
                    </a:cubicBezTo>
                    <a:cubicBezTo>
                      <a:pt x="9134" y="8793"/>
                      <a:pt x="9134" y="8793"/>
                      <a:pt x="9134" y="8793"/>
                    </a:cubicBezTo>
                    <a:cubicBezTo>
                      <a:pt x="9133" y="8792"/>
                      <a:pt x="8999" y="8759"/>
                      <a:pt x="8863" y="8725"/>
                    </a:cubicBezTo>
                    <a:cubicBezTo>
                      <a:pt x="8765" y="8701"/>
                      <a:pt x="8665" y="8677"/>
                      <a:pt x="8616" y="8665"/>
                    </a:cubicBezTo>
                    <a:cubicBezTo>
                      <a:pt x="8612" y="8850"/>
                      <a:pt x="8608" y="9033"/>
                      <a:pt x="8607" y="9090"/>
                    </a:cubicBezTo>
                    <a:cubicBezTo>
                      <a:pt x="8643" y="9112"/>
                      <a:pt x="8734" y="9167"/>
                      <a:pt x="8838" y="9226"/>
                    </a:cubicBezTo>
                    <a:cubicBezTo>
                      <a:pt x="8926" y="9276"/>
                      <a:pt x="9023" y="9329"/>
                      <a:pt x="9099" y="9364"/>
                    </a:cubicBezTo>
                    <a:close/>
                    <a:moveTo>
                      <a:pt x="9674" y="9546"/>
                    </a:moveTo>
                    <a:cubicBezTo>
                      <a:pt x="9680" y="9522"/>
                      <a:pt x="9691" y="9477"/>
                      <a:pt x="9703" y="9419"/>
                    </a:cubicBezTo>
                    <a:cubicBezTo>
                      <a:pt x="9755" y="9184"/>
                      <a:pt x="9846" y="8744"/>
                      <a:pt x="9852" y="8714"/>
                    </a:cubicBezTo>
                    <a:cubicBezTo>
                      <a:pt x="9520" y="8609"/>
                      <a:pt x="9520" y="8609"/>
                      <a:pt x="9520" y="8609"/>
                    </a:cubicBezTo>
                    <a:cubicBezTo>
                      <a:pt x="9153" y="8785"/>
                      <a:pt x="9153" y="8785"/>
                      <a:pt x="9153" y="8785"/>
                    </a:cubicBezTo>
                    <a:cubicBezTo>
                      <a:pt x="9151" y="8843"/>
                      <a:pt x="9118" y="9253"/>
                      <a:pt x="9112" y="9370"/>
                    </a:cubicBezTo>
                    <a:cubicBezTo>
                      <a:pt x="9145" y="9385"/>
                      <a:pt x="9174" y="9397"/>
                      <a:pt x="9195" y="9403"/>
                    </a:cubicBezTo>
                    <a:cubicBezTo>
                      <a:pt x="9344" y="9446"/>
                      <a:pt x="9525" y="9486"/>
                      <a:pt x="9674" y="9546"/>
                    </a:cubicBezTo>
                    <a:close/>
                    <a:moveTo>
                      <a:pt x="9826" y="9700"/>
                    </a:moveTo>
                    <a:cubicBezTo>
                      <a:pt x="9826" y="9700"/>
                      <a:pt x="9826" y="9700"/>
                      <a:pt x="9826" y="9700"/>
                    </a:cubicBezTo>
                    <a:cubicBezTo>
                      <a:pt x="9822" y="9710"/>
                      <a:pt x="9822" y="9710"/>
                      <a:pt x="9822" y="9710"/>
                    </a:cubicBezTo>
                    <a:lnTo>
                      <a:pt x="9826" y="9700"/>
                    </a:lnTo>
                    <a:close/>
                    <a:moveTo>
                      <a:pt x="10417" y="9692"/>
                    </a:moveTo>
                    <a:cubicBezTo>
                      <a:pt x="10415" y="9691"/>
                      <a:pt x="10415" y="9691"/>
                      <a:pt x="10415" y="9691"/>
                    </a:cubicBezTo>
                    <a:cubicBezTo>
                      <a:pt x="10267" y="9462"/>
                      <a:pt x="10267" y="9462"/>
                      <a:pt x="10267" y="9462"/>
                    </a:cubicBezTo>
                    <a:cubicBezTo>
                      <a:pt x="10481" y="9178"/>
                      <a:pt x="10481" y="9178"/>
                      <a:pt x="10481" y="9178"/>
                    </a:cubicBezTo>
                    <a:cubicBezTo>
                      <a:pt x="10130" y="8802"/>
                      <a:pt x="10130" y="8802"/>
                      <a:pt x="10130" y="8802"/>
                    </a:cubicBezTo>
                    <a:cubicBezTo>
                      <a:pt x="9865" y="8718"/>
                      <a:pt x="9865" y="8718"/>
                      <a:pt x="9865" y="8718"/>
                    </a:cubicBezTo>
                    <a:cubicBezTo>
                      <a:pt x="9860" y="8744"/>
                      <a:pt x="9819" y="8942"/>
                      <a:pt x="9777" y="9141"/>
                    </a:cubicBezTo>
                    <a:cubicBezTo>
                      <a:pt x="9755" y="9247"/>
                      <a:pt x="9732" y="9354"/>
                      <a:pt x="9714" y="9434"/>
                    </a:cubicBezTo>
                    <a:cubicBezTo>
                      <a:pt x="9705" y="9474"/>
                      <a:pt x="9698" y="9508"/>
                      <a:pt x="9692" y="9531"/>
                    </a:cubicBezTo>
                    <a:cubicBezTo>
                      <a:pt x="9690" y="9539"/>
                      <a:pt x="9688" y="9545"/>
                      <a:pt x="9687" y="9551"/>
                    </a:cubicBezTo>
                    <a:cubicBezTo>
                      <a:pt x="9687" y="9551"/>
                      <a:pt x="9688" y="9551"/>
                      <a:pt x="9688" y="9551"/>
                    </a:cubicBezTo>
                    <a:cubicBezTo>
                      <a:pt x="9766" y="9584"/>
                      <a:pt x="9867" y="9646"/>
                      <a:pt x="9956" y="9708"/>
                    </a:cubicBezTo>
                    <a:cubicBezTo>
                      <a:pt x="10045" y="9772"/>
                      <a:pt x="10120" y="9832"/>
                      <a:pt x="10151" y="9872"/>
                    </a:cubicBezTo>
                    <a:cubicBezTo>
                      <a:pt x="10155" y="9878"/>
                      <a:pt x="10159" y="9884"/>
                      <a:pt x="10162" y="9892"/>
                    </a:cubicBezTo>
                    <a:cubicBezTo>
                      <a:pt x="10203" y="9859"/>
                      <a:pt x="10297" y="9786"/>
                      <a:pt x="10417" y="9692"/>
                    </a:cubicBezTo>
                    <a:close/>
                    <a:moveTo>
                      <a:pt x="10746" y="9435"/>
                    </a:moveTo>
                    <a:cubicBezTo>
                      <a:pt x="10785" y="9404"/>
                      <a:pt x="10824" y="9374"/>
                      <a:pt x="10863" y="9344"/>
                    </a:cubicBezTo>
                    <a:cubicBezTo>
                      <a:pt x="10493" y="9186"/>
                      <a:pt x="10493" y="9186"/>
                      <a:pt x="10493" y="9186"/>
                    </a:cubicBezTo>
                    <a:cubicBezTo>
                      <a:pt x="10284" y="9462"/>
                      <a:pt x="10284" y="9462"/>
                      <a:pt x="10284" y="9462"/>
                    </a:cubicBezTo>
                    <a:cubicBezTo>
                      <a:pt x="10426" y="9682"/>
                      <a:pt x="10426" y="9682"/>
                      <a:pt x="10426" y="9682"/>
                    </a:cubicBezTo>
                    <a:cubicBezTo>
                      <a:pt x="10428" y="9684"/>
                      <a:pt x="10428" y="9684"/>
                      <a:pt x="10428" y="9684"/>
                    </a:cubicBezTo>
                    <a:cubicBezTo>
                      <a:pt x="10524" y="9608"/>
                      <a:pt x="10635" y="9522"/>
                      <a:pt x="10746" y="9435"/>
                    </a:cubicBezTo>
                    <a:close/>
                    <a:moveTo>
                      <a:pt x="11530" y="9831"/>
                    </a:moveTo>
                    <a:cubicBezTo>
                      <a:pt x="11530" y="9812"/>
                      <a:pt x="11529" y="9793"/>
                      <a:pt x="11529" y="9785"/>
                    </a:cubicBezTo>
                    <a:cubicBezTo>
                      <a:pt x="10907" y="9366"/>
                      <a:pt x="10907" y="9366"/>
                      <a:pt x="10907" y="9366"/>
                    </a:cubicBezTo>
                    <a:cubicBezTo>
                      <a:pt x="10856" y="9406"/>
                      <a:pt x="10804" y="9446"/>
                      <a:pt x="10753" y="9487"/>
                    </a:cubicBezTo>
                    <a:cubicBezTo>
                      <a:pt x="10651" y="9566"/>
                      <a:pt x="10551" y="9645"/>
                      <a:pt x="10462" y="9714"/>
                    </a:cubicBezTo>
                    <a:cubicBezTo>
                      <a:pt x="10844" y="10051"/>
                      <a:pt x="10844" y="10051"/>
                      <a:pt x="10844" y="10051"/>
                    </a:cubicBezTo>
                    <a:cubicBezTo>
                      <a:pt x="11490" y="9904"/>
                      <a:pt x="11490" y="9904"/>
                      <a:pt x="11490" y="9904"/>
                    </a:cubicBezTo>
                    <a:cubicBezTo>
                      <a:pt x="11489" y="9886"/>
                      <a:pt x="11489" y="9869"/>
                      <a:pt x="11488" y="9854"/>
                    </a:cubicBezTo>
                    <a:cubicBezTo>
                      <a:pt x="11530" y="9854"/>
                      <a:pt x="11530" y="9854"/>
                      <a:pt x="11530" y="9854"/>
                    </a:cubicBezTo>
                    <a:cubicBezTo>
                      <a:pt x="11530" y="9847"/>
                      <a:pt x="11530" y="9839"/>
                      <a:pt x="11530" y="9831"/>
                    </a:cubicBezTo>
                    <a:close/>
                    <a:moveTo>
                      <a:pt x="11537" y="9774"/>
                    </a:moveTo>
                    <a:cubicBezTo>
                      <a:pt x="11552" y="9768"/>
                      <a:pt x="11617" y="9743"/>
                      <a:pt x="11683" y="9717"/>
                    </a:cubicBezTo>
                    <a:cubicBezTo>
                      <a:pt x="11720" y="9702"/>
                      <a:pt x="11758" y="9687"/>
                      <a:pt x="11787" y="9676"/>
                    </a:cubicBezTo>
                    <a:cubicBezTo>
                      <a:pt x="11796" y="9673"/>
                      <a:pt x="11803" y="9670"/>
                      <a:pt x="11810" y="9667"/>
                    </a:cubicBezTo>
                    <a:cubicBezTo>
                      <a:pt x="11690" y="9386"/>
                      <a:pt x="11690" y="9386"/>
                      <a:pt x="11690" y="9386"/>
                    </a:cubicBezTo>
                    <a:cubicBezTo>
                      <a:pt x="11690" y="9387"/>
                      <a:pt x="11689" y="9384"/>
                      <a:pt x="11686" y="9378"/>
                    </a:cubicBezTo>
                    <a:cubicBezTo>
                      <a:pt x="11667" y="9340"/>
                      <a:pt x="11576" y="9178"/>
                      <a:pt x="11366" y="9011"/>
                    </a:cubicBezTo>
                    <a:cubicBezTo>
                      <a:pt x="11302" y="9059"/>
                      <a:pt x="11121" y="9199"/>
                      <a:pt x="10918" y="9357"/>
                    </a:cubicBezTo>
                    <a:lnTo>
                      <a:pt x="11537" y="9774"/>
                    </a:lnTo>
                    <a:close/>
                    <a:moveTo>
                      <a:pt x="11816" y="9680"/>
                    </a:moveTo>
                    <a:cubicBezTo>
                      <a:pt x="11809" y="9682"/>
                      <a:pt x="11801" y="9685"/>
                      <a:pt x="11792" y="9689"/>
                    </a:cubicBezTo>
                    <a:cubicBezTo>
                      <a:pt x="11714" y="9720"/>
                      <a:pt x="11571" y="9775"/>
                      <a:pt x="11543" y="9786"/>
                    </a:cubicBezTo>
                    <a:cubicBezTo>
                      <a:pt x="11543" y="9795"/>
                      <a:pt x="11544" y="9813"/>
                      <a:pt x="11544" y="9831"/>
                    </a:cubicBezTo>
                    <a:cubicBezTo>
                      <a:pt x="11544" y="9839"/>
                      <a:pt x="11544" y="9846"/>
                      <a:pt x="11544" y="9854"/>
                    </a:cubicBezTo>
                    <a:cubicBezTo>
                      <a:pt x="11554" y="9853"/>
                      <a:pt x="11554" y="9853"/>
                      <a:pt x="11554" y="9853"/>
                    </a:cubicBezTo>
                    <a:cubicBezTo>
                      <a:pt x="11556" y="9945"/>
                      <a:pt x="11565" y="10079"/>
                      <a:pt x="11584" y="10222"/>
                    </a:cubicBezTo>
                    <a:cubicBezTo>
                      <a:pt x="11603" y="10371"/>
                      <a:pt x="11636" y="10532"/>
                      <a:pt x="11680" y="10615"/>
                    </a:cubicBezTo>
                    <a:cubicBezTo>
                      <a:pt x="11724" y="10701"/>
                      <a:pt x="11761" y="10755"/>
                      <a:pt x="11787" y="10789"/>
                    </a:cubicBezTo>
                    <a:cubicBezTo>
                      <a:pt x="12099" y="10341"/>
                      <a:pt x="12099" y="10341"/>
                      <a:pt x="12099" y="10341"/>
                    </a:cubicBezTo>
                    <a:lnTo>
                      <a:pt x="11816" y="9680"/>
                    </a:lnTo>
                    <a:close/>
                    <a:moveTo>
                      <a:pt x="13671" y="8034"/>
                    </a:moveTo>
                    <a:cubicBezTo>
                      <a:pt x="13755" y="7502"/>
                      <a:pt x="14120" y="5294"/>
                      <a:pt x="14181" y="4925"/>
                    </a:cubicBezTo>
                    <a:cubicBezTo>
                      <a:pt x="11731" y="5611"/>
                      <a:pt x="11731" y="5611"/>
                      <a:pt x="11731" y="5611"/>
                    </a:cubicBezTo>
                    <a:cubicBezTo>
                      <a:pt x="11781" y="5666"/>
                      <a:pt x="11851" y="5737"/>
                      <a:pt x="11913" y="5798"/>
                    </a:cubicBezTo>
                    <a:cubicBezTo>
                      <a:pt x="11979" y="5863"/>
                      <a:pt x="12036" y="5917"/>
                      <a:pt x="12048" y="5928"/>
                    </a:cubicBezTo>
                    <a:cubicBezTo>
                      <a:pt x="12069" y="5942"/>
                      <a:pt x="12210" y="6030"/>
                      <a:pt x="12363" y="6123"/>
                    </a:cubicBezTo>
                    <a:cubicBezTo>
                      <a:pt x="12528" y="6224"/>
                      <a:pt x="12710" y="6332"/>
                      <a:pt x="12759" y="6354"/>
                    </a:cubicBezTo>
                    <a:cubicBezTo>
                      <a:pt x="12836" y="6386"/>
                      <a:pt x="12863" y="6434"/>
                      <a:pt x="12862" y="6470"/>
                    </a:cubicBezTo>
                    <a:cubicBezTo>
                      <a:pt x="12862" y="6485"/>
                      <a:pt x="12858" y="6496"/>
                      <a:pt x="12855" y="6501"/>
                    </a:cubicBezTo>
                    <a:cubicBezTo>
                      <a:pt x="12785" y="6705"/>
                      <a:pt x="12785" y="6705"/>
                      <a:pt x="12785" y="6705"/>
                    </a:cubicBezTo>
                    <a:cubicBezTo>
                      <a:pt x="12601" y="6986"/>
                      <a:pt x="12601" y="6986"/>
                      <a:pt x="12601" y="6986"/>
                    </a:cubicBezTo>
                    <a:cubicBezTo>
                      <a:pt x="12657" y="7240"/>
                      <a:pt x="12657" y="7240"/>
                      <a:pt x="12657" y="7240"/>
                    </a:cubicBezTo>
                    <a:cubicBezTo>
                      <a:pt x="12609" y="7231"/>
                      <a:pt x="12609" y="7231"/>
                      <a:pt x="12609" y="7231"/>
                    </a:cubicBezTo>
                    <a:cubicBezTo>
                      <a:pt x="12608" y="7231"/>
                      <a:pt x="12460" y="7204"/>
                      <a:pt x="12286" y="7173"/>
                    </a:cubicBezTo>
                    <a:cubicBezTo>
                      <a:pt x="12112" y="7141"/>
                      <a:pt x="11912" y="7106"/>
                      <a:pt x="11812" y="7091"/>
                    </a:cubicBezTo>
                    <a:cubicBezTo>
                      <a:pt x="11803" y="7090"/>
                      <a:pt x="11795" y="7089"/>
                      <a:pt x="11787" y="7089"/>
                    </a:cubicBezTo>
                    <a:cubicBezTo>
                      <a:pt x="11752" y="7089"/>
                      <a:pt x="11728" y="7101"/>
                      <a:pt x="11707" y="7119"/>
                    </a:cubicBezTo>
                    <a:cubicBezTo>
                      <a:pt x="11677" y="7147"/>
                      <a:pt x="11657" y="7193"/>
                      <a:pt x="11647" y="7234"/>
                    </a:cubicBezTo>
                    <a:cubicBezTo>
                      <a:pt x="11642" y="7254"/>
                      <a:pt x="11639" y="7272"/>
                      <a:pt x="11637" y="7285"/>
                    </a:cubicBezTo>
                    <a:cubicBezTo>
                      <a:pt x="11636" y="7295"/>
                      <a:pt x="11635" y="7302"/>
                      <a:pt x="11635" y="7304"/>
                    </a:cubicBezTo>
                    <a:cubicBezTo>
                      <a:pt x="11656" y="7677"/>
                      <a:pt x="11656" y="7677"/>
                      <a:pt x="11656" y="7677"/>
                    </a:cubicBezTo>
                    <a:cubicBezTo>
                      <a:pt x="11837" y="7764"/>
                      <a:pt x="11891" y="7897"/>
                      <a:pt x="11889" y="8003"/>
                    </a:cubicBezTo>
                    <a:cubicBezTo>
                      <a:pt x="11889" y="8106"/>
                      <a:pt x="11846" y="8183"/>
                      <a:pt x="11841" y="8192"/>
                    </a:cubicBezTo>
                    <a:cubicBezTo>
                      <a:pt x="11431" y="8979"/>
                      <a:pt x="11431" y="8979"/>
                      <a:pt x="11431" y="8979"/>
                    </a:cubicBezTo>
                    <a:cubicBezTo>
                      <a:pt x="11666" y="9174"/>
                      <a:pt x="11749" y="9357"/>
                      <a:pt x="11750" y="9360"/>
                    </a:cubicBezTo>
                    <a:cubicBezTo>
                      <a:pt x="11801" y="9479"/>
                      <a:pt x="11801" y="9479"/>
                      <a:pt x="11801" y="9479"/>
                    </a:cubicBezTo>
                    <a:cubicBezTo>
                      <a:pt x="11828" y="9469"/>
                      <a:pt x="11916" y="9435"/>
                      <a:pt x="12015" y="9396"/>
                    </a:cubicBezTo>
                    <a:cubicBezTo>
                      <a:pt x="12134" y="9349"/>
                      <a:pt x="12270" y="9294"/>
                      <a:pt x="12328" y="9265"/>
                    </a:cubicBezTo>
                    <a:cubicBezTo>
                      <a:pt x="12386" y="9236"/>
                      <a:pt x="12419" y="9218"/>
                      <a:pt x="12434" y="9200"/>
                    </a:cubicBezTo>
                    <a:cubicBezTo>
                      <a:pt x="12448" y="9183"/>
                      <a:pt x="12455" y="9162"/>
                      <a:pt x="12455" y="9106"/>
                    </a:cubicBezTo>
                    <a:cubicBezTo>
                      <a:pt x="12455" y="9098"/>
                      <a:pt x="12455" y="9089"/>
                      <a:pt x="12455" y="9080"/>
                    </a:cubicBezTo>
                    <a:cubicBezTo>
                      <a:pt x="12455" y="9078"/>
                      <a:pt x="12455" y="9075"/>
                      <a:pt x="12455" y="9073"/>
                    </a:cubicBezTo>
                    <a:cubicBezTo>
                      <a:pt x="12454" y="8993"/>
                      <a:pt x="12498" y="8940"/>
                      <a:pt x="12539" y="8913"/>
                    </a:cubicBezTo>
                    <a:cubicBezTo>
                      <a:pt x="12580" y="8885"/>
                      <a:pt x="12619" y="8877"/>
                      <a:pt x="12621" y="8876"/>
                    </a:cubicBezTo>
                    <a:cubicBezTo>
                      <a:pt x="12624" y="8876"/>
                      <a:pt x="12624" y="8876"/>
                      <a:pt x="12624" y="8876"/>
                    </a:cubicBezTo>
                    <a:cubicBezTo>
                      <a:pt x="13631" y="8842"/>
                      <a:pt x="13631" y="8842"/>
                      <a:pt x="13631" y="8842"/>
                    </a:cubicBezTo>
                    <a:cubicBezTo>
                      <a:pt x="13626" y="8816"/>
                      <a:pt x="13616" y="8749"/>
                      <a:pt x="13616" y="8629"/>
                    </a:cubicBezTo>
                    <a:cubicBezTo>
                      <a:pt x="13616" y="8499"/>
                      <a:pt x="13627" y="8306"/>
                      <a:pt x="13671" y="8034"/>
                    </a:cubicBezTo>
                    <a:close/>
                    <a:moveTo>
                      <a:pt x="13707" y="8851"/>
                    </a:moveTo>
                    <a:cubicBezTo>
                      <a:pt x="13683" y="8852"/>
                      <a:pt x="13683" y="8852"/>
                      <a:pt x="13683" y="8852"/>
                    </a:cubicBezTo>
                    <a:cubicBezTo>
                      <a:pt x="13685" y="8906"/>
                      <a:pt x="13685" y="8906"/>
                      <a:pt x="13685" y="8906"/>
                    </a:cubicBezTo>
                    <a:cubicBezTo>
                      <a:pt x="13679" y="8906"/>
                      <a:pt x="13679" y="8906"/>
                      <a:pt x="13679" y="8906"/>
                    </a:cubicBezTo>
                    <a:cubicBezTo>
                      <a:pt x="13679" y="8906"/>
                      <a:pt x="13680" y="8907"/>
                      <a:pt x="13680" y="8907"/>
                    </a:cubicBezTo>
                    <a:cubicBezTo>
                      <a:pt x="13694" y="8912"/>
                      <a:pt x="13703" y="8912"/>
                      <a:pt x="13706" y="8912"/>
                    </a:cubicBezTo>
                    <a:cubicBezTo>
                      <a:pt x="13707" y="8912"/>
                      <a:pt x="13707" y="8912"/>
                      <a:pt x="13707" y="8912"/>
                    </a:cubicBezTo>
                    <a:lnTo>
                      <a:pt x="13707" y="8851"/>
                    </a:lnTo>
                    <a:close/>
                    <a:moveTo>
                      <a:pt x="13750" y="8899"/>
                    </a:moveTo>
                    <a:cubicBezTo>
                      <a:pt x="13718" y="8851"/>
                      <a:pt x="13718" y="8851"/>
                      <a:pt x="13718" y="8851"/>
                    </a:cubicBezTo>
                    <a:cubicBezTo>
                      <a:pt x="13718" y="8851"/>
                      <a:pt x="13718" y="8851"/>
                      <a:pt x="13718" y="8851"/>
                    </a:cubicBezTo>
                    <a:lnTo>
                      <a:pt x="13750" y="8899"/>
                    </a:lnTo>
                    <a:close/>
                    <a:moveTo>
                      <a:pt x="15332" y="6264"/>
                    </a:moveTo>
                    <a:cubicBezTo>
                      <a:pt x="15225" y="6404"/>
                      <a:pt x="15057" y="6627"/>
                      <a:pt x="15002" y="6731"/>
                    </a:cubicBezTo>
                    <a:cubicBezTo>
                      <a:pt x="15000" y="6734"/>
                      <a:pt x="15000" y="6734"/>
                      <a:pt x="15000" y="6734"/>
                    </a:cubicBezTo>
                    <a:cubicBezTo>
                      <a:pt x="14997" y="6737"/>
                      <a:pt x="14997" y="6737"/>
                      <a:pt x="14997" y="6737"/>
                    </a:cubicBezTo>
                    <a:cubicBezTo>
                      <a:pt x="14997" y="6737"/>
                      <a:pt x="14997" y="6737"/>
                      <a:pt x="14997" y="6737"/>
                    </a:cubicBezTo>
                    <a:cubicBezTo>
                      <a:pt x="14993" y="6742"/>
                      <a:pt x="14917" y="6837"/>
                      <a:pt x="14875" y="7164"/>
                    </a:cubicBezTo>
                    <a:cubicBezTo>
                      <a:pt x="14852" y="7340"/>
                      <a:pt x="14832" y="7548"/>
                      <a:pt x="14818" y="7712"/>
                    </a:cubicBezTo>
                    <a:cubicBezTo>
                      <a:pt x="14804" y="7876"/>
                      <a:pt x="14796" y="7995"/>
                      <a:pt x="14796" y="7996"/>
                    </a:cubicBezTo>
                    <a:cubicBezTo>
                      <a:pt x="14796" y="7997"/>
                      <a:pt x="14796" y="7997"/>
                      <a:pt x="14796" y="7997"/>
                    </a:cubicBezTo>
                    <a:cubicBezTo>
                      <a:pt x="14796" y="7998"/>
                      <a:pt x="14796" y="7998"/>
                      <a:pt x="14796" y="7998"/>
                    </a:cubicBezTo>
                    <a:cubicBezTo>
                      <a:pt x="14796" y="8000"/>
                      <a:pt x="14766" y="8232"/>
                      <a:pt x="14626" y="8487"/>
                    </a:cubicBezTo>
                    <a:cubicBezTo>
                      <a:pt x="14558" y="8609"/>
                      <a:pt x="14540" y="8766"/>
                      <a:pt x="14540" y="8887"/>
                    </a:cubicBezTo>
                    <a:cubicBezTo>
                      <a:pt x="14540" y="8942"/>
                      <a:pt x="14544" y="8990"/>
                      <a:pt x="14547" y="9024"/>
                    </a:cubicBezTo>
                    <a:cubicBezTo>
                      <a:pt x="14549" y="9039"/>
                      <a:pt x="14550" y="9051"/>
                      <a:pt x="14552" y="9060"/>
                    </a:cubicBezTo>
                    <a:cubicBezTo>
                      <a:pt x="15369" y="9047"/>
                      <a:pt x="16559" y="9029"/>
                      <a:pt x="16677" y="9029"/>
                    </a:cubicBezTo>
                    <a:cubicBezTo>
                      <a:pt x="16684" y="9029"/>
                      <a:pt x="16684" y="9029"/>
                      <a:pt x="16684" y="9029"/>
                    </a:cubicBezTo>
                    <a:cubicBezTo>
                      <a:pt x="16685" y="9029"/>
                      <a:pt x="16686" y="9029"/>
                      <a:pt x="16687" y="9029"/>
                    </a:cubicBezTo>
                    <a:cubicBezTo>
                      <a:pt x="16687" y="9029"/>
                      <a:pt x="16688" y="9030"/>
                      <a:pt x="16689" y="9030"/>
                    </a:cubicBezTo>
                    <a:cubicBezTo>
                      <a:pt x="16689" y="9030"/>
                      <a:pt x="16690" y="9030"/>
                      <a:pt x="16690" y="9030"/>
                    </a:cubicBezTo>
                    <a:cubicBezTo>
                      <a:pt x="16694" y="9030"/>
                      <a:pt x="16700" y="9030"/>
                      <a:pt x="16708" y="9030"/>
                    </a:cubicBezTo>
                    <a:cubicBezTo>
                      <a:pt x="16760" y="9030"/>
                      <a:pt x="16896" y="9033"/>
                      <a:pt x="17066" y="9078"/>
                    </a:cubicBezTo>
                    <a:cubicBezTo>
                      <a:pt x="17067" y="9076"/>
                      <a:pt x="17067" y="9076"/>
                      <a:pt x="17068" y="9074"/>
                    </a:cubicBezTo>
                    <a:cubicBezTo>
                      <a:pt x="17104" y="9012"/>
                      <a:pt x="17254" y="8734"/>
                      <a:pt x="17254" y="8352"/>
                    </a:cubicBezTo>
                    <a:cubicBezTo>
                      <a:pt x="17254" y="8215"/>
                      <a:pt x="17235" y="8065"/>
                      <a:pt x="17184" y="7906"/>
                    </a:cubicBezTo>
                    <a:cubicBezTo>
                      <a:pt x="17184" y="7904"/>
                      <a:pt x="17184" y="7904"/>
                      <a:pt x="17184" y="7904"/>
                    </a:cubicBezTo>
                    <a:cubicBezTo>
                      <a:pt x="17183" y="7902"/>
                      <a:pt x="17183" y="7902"/>
                      <a:pt x="17183" y="7902"/>
                    </a:cubicBezTo>
                    <a:cubicBezTo>
                      <a:pt x="17183" y="7902"/>
                      <a:pt x="17181" y="7891"/>
                      <a:pt x="17176" y="7870"/>
                    </a:cubicBezTo>
                    <a:cubicBezTo>
                      <a:pt x="17143" y="7721"/>
                      <a:pt x="16972" y="7086"/>
                      <a:pt x="16463" y="6585"/>
                    </a:cubicBezTo>
                    <a:cubicBezTo>
                      <a:pt x="16111" y="6237"/>
                      <a:pt x="15671" y="6097"/>
                      <a:pt x="15476" y="6049"/>
                    </a:cubicBezTo>
                    <a:cubicBezTo>
                      <a:pt x="15475" y="6053"/>
                      <a:pt x="15473" y="6056"/>
                      <a:pt x="15472" y="6059"/>
                    </a:cubicBezTo>
                    <a:cubicBezTo>
                      <a:pt x="15469" y="6067"/>
                      <a:pt x="15466" y="6072"/>
                      <a:pt x="15461" y="6079"/>
                    </a:cubicBezTo>
                    <a:cubicBezTo>
                      <a:pt x="15459" y="6081"/>
                      <a:pt x="15456" y="6083"/>
                      <a:pt x="15453" y="6085"/>
                    </a:cubicBezTo>
                    <a:cubicBezTo>
                      <a:pt x="15440" y="6110"/>
                      <a:pt x="15403" y="6173"/>
                      <a:pt x="15332" y="6264"/>
                    </a:cubicBezTo>
                    <a:close/>
                    <a:moveTo>
                      <a:pt x="14192" y="5794"/>
                    </a:moveTo>
                    <a:cubicBezTo>
                      <a:pt x="14060" y="6598"/>
                      <a:pt x="13877" y="7703"/>
                      <a:pt x="13821" y="8058"/>
                    </a:cubicBezTo>
                    <a:cubicBezTo>
                      <a:pt x="13779" y="8323"/>
                      <a:pt x="13768" y="8508"/>
                      <a:pt x="13768" y="8629"/>
                    </a:cubicBezTo>
                    <a:cubicBezTo>
                      <a:pt x="13768" y="8699"/>
                      <a:pt x="13772" y="8748"/>
                      <a:pt x="13775" y="8778"/>
                    </a:cubicBezTo>
                    <a:cubicBezTo>
                      <a:pt x="13777" y="8793"/>
                      <a:pt x="13779" y="8804"/>
                      <a:pt x="13780" y="8810"/>
                    </a:cubicBezTo>
                    <a:cubicBezTo>
                      <a:pt x="13780" y="8813"/>
                      <a:pt x="13781" y="8815"/>
                      <a:pt x="13781" y="8816"/>
                    </a:cubicBezTo>
                    <a:cubicBezTo>
                      <a:pt x="13781" y="8817"/>
                      <a:pt x="13781" y="8817"/>
                      <a:pt x="13781" y="8817"/>
                    </a:cubicBezTo>
                    <a:cubicBezTo>
                      <a:pt x="13782" y="8820"/>
                      <a:pt x="13783" y="8824"/>
                      <a:pt x="13783" y="8827"/>
                    </a:cubicBezTo>
                    <a:cubicBezTo>
                      <a:pt x="13784" y="8833"/>
                      <a:pt x="13784" y="8837"/>
                      <a:pt x="13783" y="8841"/>
                    </a:cubicBezTo>
                    <a:cubicBezTo>
                      <a:pt x="13784" y="8846"/>
                      <a:pt x="13784" y="8858"/>
                      <a:pt x="13785" y="8872"/>
                    </a:cubicBezTo>
                    <a:cubicBezTo>
                      <a:pt x="13788" y="8913"/>
                      <a:pt x="13794" y="8982"/>
                      <a:pt x="13802" y="9072"/>
                    </a:cubicBezTo>
                    <a:cubicBezTo>
                      <a:pt x="13875" y="9071"/>
                      <a:pt x="14141" y="9066"/>
                      <a:pt x="14486" y="9061"/>
                    </a:cubicBezTo>
                    <a:cubicBezTo>
                      <a:pt x="14481" y="9028"/>
                      <a:pt x="14475" y="8965"/>
                      <a:pt x="14475" y="8887"/>
                    </a:cubicBezTo>
                    <a:cubicBezTo>
                      <a:pt x="14475" y="8760"/>
                      <a:pt x="14492" y="8594"/>
                      <a:pt x="14568" y="8455"/>
                    </a:cubicBezTo>
                    <a:cubicBezTo>
                      <a:pt x="14635" y="8333"/>
                      <a:pt x="14676" y="8216"/>
                      <a:pt x="14700" y="8130"/>
                    </a:cubicBezTo>
                    <a:cubicBezTo>
                      <a:pt x="14712" y="8087"/>
                      <a:pt x="14720" y="8051"/>
                      <a:pt x="14725" y="8027"/>
                    </a:cubicBezTo>
                    <a:cubicBezTo>
                      <a:pt x="14729" y="8005"/>
                      <a:pt x="14731" y="7992"/>
                      <a:pt x="14731" y="7990"/>
                    </a:cubicBezTo>
                    <a:cubicBezTo>
                      <a:pt x="14733" y="7961"/>
                      <a:pt x="14765" y="7499"/>
                      <a:pt x="14810" y="7156"/>
                    </a:cubicBezTo>
                    <a:cubicBezTo>
                      <a:pt x="14852" y="6829"/>
                      <a:pt x="14928" y="6718"/>
                      <a:pt x="14945" y="6697"/>
                    </a:cubicBezTo>
                    <a:cubicBezTo>
                      <a:pt x="15008" y="6582"/>
                      <a:pt x="15173" y="6365"/>
                      <a:pt x="15280" y="6224"/>
                    </a:cubicBezTo>
                    <a:cubicBezTo>
                      <a:pt x="15325" y="6166"/>
                      <a:pt x="15355" y="6121"/>
                      <a:pt x="15374" y="6090"/>
                    </a:cubicBezTo>
                    <a:cubicBezTo>
                      <a:pt x="15384" y="6074"/>
                      <a:pt x="15391" y="6063"/>
                      <a:pt x="15395" y="6055"/>
                    </a:cubicBezTo>
                    <a:cubicBezTo>
                      <a:pt x="15399" y="6047"/>
                      <a:pt x="15401" y="6044"/>
                      <a:pt x="15401" y="6044"/>
                    </a:cubicBezTo>
                    <a:cubicBezTo>
                      <a:pt x="15407" y="6033"/>
                      <a:pt x="15407" y="6033"/>
                      <a:pt x="15407" y="6033"/>
                    </a:cubicBezTo>
                    <a:cubicBezTo>
                      <a:pt x="15397" y="6031"/>
                      <a:pt x="15390" y="6029"/>
                      <a:pt x="15385" y="6028"/>
                    </a:cubicBezTo>
                    <a:lnTo>
                      <a:pt x="14192" y="5794"/>
                    </a:lnTo>
                    <a:close/>
                    <a:moveTo>
                      <a:pt x="12697" y="3742"/>
                    </a:moveTo>
                    <a:cubicBezTo>
                      <a:pt x="12684" y="3755"/>
                      <a:pt x="12550" y="3888"/>
                      <a:pt x="12405" y="4030"/>
                    </a:cubicBezTo>
                    <a:cubicBezTo>
                      <a:pt x="12386" y="4048"/>
                      <a:pt x="12368" y="4065"/>
                      <a:pt x="12350" y="4083"/>
                    </a:cubicBezTo>
                    <a:cubicBezTo>
                      <a:pt x="12400" y="4151"/>
                      <a:pt x="12533" y="4357"/>
                      <a:pt x="12533" y="4358"/>
                    </a:cubicBezTo>
                    <a:cubicBezTo>
                      <a:pt x="12535" y="4361"/>
                      <a:pt x="12535" y="4361"/>
                      <a:pt x="12535" y="4361"/>
                    </a:cubicBezTo>
                    <a:cubicBezTo>
                      <a:pt x="12475" y="4509"/>
                      <a:pt x="12475" y="4509"/>
                      <a:pt x="12475" y="4509"/>
                    </a:cubicBezTo>
                    <a:cubicBezTo>
                      <a:pt x="12475" y="4509"/>
                      <a:pt x="12475" y="4509"/>
                      <a:pt x="12475" y="4509"/>
                    </a:cubicBezTo>
                    <a:cubicBezTo>
                      <a:pt x="12475" y="4510"/>
                      <a:pt x="12475" y="4510"/>
                      <a:pt x="12475" y="4510"/>
                    </a:cubicBezTo>
                    <a:cubicBezTo>
                      <a:pt x="12419" y="4649"/>
                      <a:pt x="12419" y="4649"/>
                      <a:pt x="12419" y="4649"/>
                    </a:cubicBezTo>
                    <a:cubicBezTo>
                      <a:pt x="12090" y="4846"/>
                      <a:pt x="12090" y="4846"/>
                      <a:pt x="12090" y="4846"/>
                    </a:cubicBezTo>
                    <a:cubicBezTo>
                      <a:pt x="12137" y="4944"/>
                      <a:pt x="12184" y="5042"/>
                      <a:pt x="12219" y="5117"/>
                    </a:cubicBezTo>
                    <a:cubicBezTo>
                      <a:pt x="12238" y="5155"/>
                      <a:pt x="12254" y="5187"/>
                      <a:pt x="12265" y="5209"/>
                    </a:cubicBezTo>
                    <a:cubicBezTo>
                      <a:pt x="12269" y="5218"/>
                      <a:pt x="12292" y="5269"/>
                      <a:pt x="12295" y="5275"/>
                    </a:cubicBezTo>
                    <a:cubicBezTo>
                      <a:pt x="12234" y="5299"/>
                      <a:pt x="12234" y="5299"/>
                      <a:pt x="12234" y="5299"/>
                    </a:cubicBezTo>
                    <a:cubicBezTo>
                      <a:pt x="12204" y="5240"/>
                      <a:pt x="12109" y="5040"/>
                      <a:pt x="12029" y="4872"/>
                    </a:cubicBezTo>
                    <a:cubicBezTo>
                      <a:pt x="11039" y="5187"/>
                      <a:pt x="11039" y="5187"/>
                      <a:pt x="11039" y="5187"/>
                    </a:cubicBezTo>
                    <a:cubicBezTo>
                      <a:pt x="11176" y="5580"/>
                      <a:pt x="11176" y="5580"/>
                      <a:pt x="11176" y="5580"/>
                    </a:cubicBezTo>
                    <a:cubicBezTo>
                      <a:pt x="11182" y="5595"/>
                      <a:pt x="11182" y="5595"/>
                      <a:pt x="11182" y="5595"/>
                    </a:cubicBezTo>
                    <a:cubicBezTo>
                      <a:pt x="11125" y="5615"/>
                      <a:pt x="11125" y="5615"/>
                      <a:pt x="11125" y="5615"/>
                    </a:cubicBezTo>
                    <a:cubicBezTo>
                      <a:pt x="11125" y="5615"/>
                      <a:pt x="11125" y="5615"/>
                      <a:pt x="11125" y="5615"/>
                    </a:cubicBezTo>
                    <a:cubicBezTo>
                      <a:pt x="11125" y="5615"/>
                      <a:pt x="10992" y="5658"/>
                      <a:pt x="10792" y="5722"/>
                    </a:cubicBezTo>
                    <a:cubicBezTo>
                      <a:pt x="10737" y="5740"/>
                      <a:pt x="10675" y="5760"/>
                      <a:pt x="10611" y="5781"/>
                    </a:cubicBezTo>
                    <a:cubicBezTo>
                      <a:pt x="10611" y="5783"/>
                      <a:pt x="10612" y="5785"/>
                      <a:pt x="10612" y="5785"/>
                    </a:cubicBezTo>
                    <a:cubicBezTo>
                      <a:pt x="10599" y="5789"/>
                      <a:pt x="10599" y="5789"/>
                      <a:pt x="10599" y="5789"/>
                    </a:cubicBezTo>
                    <a:cubicBezTo>
                      <a:pt x="10599" y="5789"/>
                      <a:pt x="10599" y="5789"/>
                      <a:pt x="10599" y="5789"/>
                    </a:cubicBezTo>
                    <a:cubicBezTo>
                      <a:pt x="10599" y="5789"/>
                      <a:pt x="10598" y="5788"/>
                      <a:pt x="10597" y="5785"/>
                    </a:cubicBezTo>
                    <a:cubicBezTo>
                      <a:pt x="10317" y="5875"/>
                      <a:pt x="9970" y="5987"/>
                      <a:pt x="9670" y="6084"/>
                    </a:cubicBezTo>
                    <a:cubicBezTo>
                      <a:pt x="9483" y="6144"/>
                      <a:pt x="9315" y="6199"/>
                      <a:pt x="9193" y="6239"/>
                    </a:cubicBezTo>
                    <a:cubicBezTo>
                      <a:pt x="9133" y="6259"/>
                      <a:pt x="9084" y="6275"/>
                      <a:pt x="9050" y="6286"/>
                    </a:cubicBezTo>
                    <a:cubicBezTo>
                      <a:pt x="9033" y="6292"/>
                      <a:pt x="9020" y="6297"/>
                      <a:pt x="9011" y="6300"/>
                    </a:cubicBezTo>
                    <a:cubicBezTo>
                      <a:pt x="9006" y="6301"/>
                      <a:pt x="9003" y="6302"/>
                      <a:pt x="9001" y="6303"/>
                    </a:cubicBezTo>
                    <a:cubicBezTo>
                      <a:pt x="9000" y="6304"/>
                      <a:pt x="9000" y="6305"/>
                      <a:pt x="8996" y="6305"/>
                    </a:cubicBezTo>
                    <a:cubicBezTo>
                      <a:pt x="8994" y="6305"/>
                      <a:pt x="8994" y="6305"/>
                      <a:pt x="8993" y="6305"/>
                    </a:cubicBezTo>
                    <a:cubicBezTo>
                      <a:pt x="8988" y="6303"/>
                      <a:pt x="8988" y="6303"/>
                      <a:pt x="8988" y="6303"/>
                    </a:cubicBezTo>
                    <a:cubicBezTo>
                      <a:pt x="8988" y="6302"/>
                      <a:pt x="8988" y="6302"/>
                      <a:pt x="8988" y="6302"/>
                    </a:cubicBezTo>
                    <a:cubicBezTo>
                      <a:pt x="8973" y="6296"/>
                      <a:pt x="8928" y="6277"/>
                      <a:pt x="8928" y="6277"/>
                    </a:cubicBezTo>
                    <a:cubicBezTo>
                      <a:pt x="8921" y="6274"/>
                      <a:pt x="8921" y="6274"/>
                      <a:pt x="8921" y="6274"/>
                    </a:cubicBezTo>
                    <a:cubicBezTo>
                      <a:pt x="8924" y="6268"/>
                      <a:pt x="8924" y="6268"/>
                      <a:pt x="8924" y="6268"/>
                    </a:cubicBezTo>
                    <a:cubicBezTo>
                      <a:pt x="8924" y="6268"/>
                      <a:pt x="9001" y="6103"/>
                      <a:pt x="9080" y="5938"/>
                    </a:cubicBezTo>
                    <a:cubicBezTo>
                      <a:pt x="9119" y="5856"/>
                      <a:pt x="9158" y="5773"/>
                      <a:pt x="9189" y="5711"/>
                    </a:cubicBezTo>
                    <a:cubicBezTo>
                      <a:pt x="9204" y="5680"/>
                      <a:pt x="9217" y="5655"/>
                      <a:pt x="9227" y="5637"/>
                    </a:cubicBezTo>
                    <a:cubicBezTo>
                      <a:pt x="9232" y="5627"/>
                      <a:pt x="9236" y="5620"/>
                      <a:pt x="9239" y="5615"/>
                    </a:cubicBezTo>
                    <a:cubicBezTo>
                      <a:pt x="9240" y="5613"/>
                      <a:pt x="9242" y="5611"/>
                      <a:pt x="9243" y="5609"/>
                    </a:cubicBezTo>
                    <a:cubicBezTo>
                      <a:pt x="9244" y="5608"/>
                      <a:pt x="9244" y="5607"/>
                      <a:pt x="9247" y="5605"/>
                    </a:cubicBezTo>
                    <a:cubicBezTo>
                      <a:pt x="9249" y="5603"/>
                      <a:pt x="9255" y="5591"/>
                      <a:pt x="9262" y="5577"/>
                    </a:cubicBezTo>
                    <a:cubicBezTo>
                      <a:pt x="9293" y="5514"/>
                      <a:pt x="9357" y="5370"/>
                      <a:pt x="9413" y="5241"/>
                    </a:cubicBezTo>
                    <a:cubicBezTo>
                      <a:pt x="9439" y="5181"/>
                      <a:pt x="9464" y="5125"/>
                      <a:pt x="9482" y="5082"/>
                    </a:cubicBezTo>
                    <a:cubicBezTo>
                      <a:pt x="9481" y="5078"/>
                      <a:pt x="9481" y="5078"/>
                      <a:pt x="9481" y="5078"/>
                    </a:cubicBezTo>
                    <a:cubicBezTo>
                      <a:pt x="9485" y="5077"/>
                      <a:pt x="9485" y="5077"/>
                      <a:pt x="9485" y="5077"/>
                    </a:cubicBezTo>
                    <a:cubicBezTo>
                      <a:pt x="9494" y="5055"/>
                      <a:pt x="9502" y="5037"/>
                      <a:pt x="9508" y="5023"/>
                    </a:cubicBezTo>
                    <a:cubicBezTo>
                      <a:pt x="9487" y="5014"/>
                      <a:pt x="9470" y="5005"/>
                      <a:pt x="9457" y="4998"/>
                    </a:cubicBezTo>
                    <a:cubicBezTo>
                      <a:pt x="9407" y="5103"/>
                      <a:pt x="9407" y="5103"/>
                      <a:pt x="9407" y="5103"/>
                    </a:cubicBezTo>
                    <a:cubicBezTo>
                      <a:pt x="8770" y="6485"/>
                      <a:pt x="8770" y="6485"/>
                      <a:pt x="8770" y="6485"/>
                    </a:cubicBezTo>
                    <a:cubicBezTo>
                      <a:pt x="8775" y="6485"/>
                      <a:pt x="8781" y="6485"/>
                      <a:pt x="8789" y="6485"/>
                    </a:cubicBezTo>
                    <a:cubicBezTo>
                      <a:pt x="8788" y="6482"/>
                      <a:pt x="8788" y="6482"/>
                      <a:pt x="8788" y="6482"/>
                    </a:cubicBezTo>
                    <a:cubicBezTo>
                      <a:pt x="8788" y="6482"/>
                      <a:pt x="8788" y="6482"/>
                      <a:pt x="8788" y="6482"/>
                    </a:cubicBezTo>
                    <a:cubicBezTo>
                      <a:pt x="9677" y="6180"/>
                      <a:pt x="9677" y="6180"/>
                      <a:pt x="9677" y="6180"/>
                    </a:cubicBezTo>
                    <a:cubicBezTo>
                      <a:pt x="10984" y="5751"/>
                      <a:pt x="10984" y="5751"/>
                      <a:pt x="10984" y="5751"/>
                    </a:cubicBezTo>
                    <a:cubicBezTo>
                      <a:pt x="14193" y="4854"/>
                      <a:pt x="14193" y="4854"/>
                      <a:pt x="14193" y="4854"/>
                    </a:cubicBezTo>
                    <a:cubicBezTo>
                      <a:pt x="14195" y="4840"/>
                      <a:pt x="14195" y="4840"/>
                      <a:pt x="14195" y="4840"/>
                    </a:cubicBezTo>
                    <a:cubicBezTo>
                      <a:pt x="14222" y="4822"/>
                      <a:pt x="14222" y="4822"/>
                      <a:pt x="14222" y="4822"/>
                    </a:cubicBezTo>
                    <a:cubicBezTo>
                      <a:pt x="14222" y="4822"/>
                      <a:pt x="14224" y="4821"/>
                      <a:pt x="14229" y="4817"/>
                    </a:cubicBezTo>
                    <a:cubicBezTo>
                      <a:pt x="14264" y="4794"/>
                      <a:pt x="14416" y="4681"/>
                      <a:pt x="14514" y="4546"/>
                    </a:cubicBezTo>
                    <a:cubicBezTo>
                      <a:pt x="14571" y="4467"/>
                      <a:pt x="14617" y="4378"/>
                      <a:pt x="14649" y="4309"/>
                    </a:cubicBezTo>
                    <a:cubicBezTo>
                      <a:pt x="14665" y="4275"/>
                      <a:pt x="14677" y="4246"/>
                      <a:pt x="14685" y="4225"/>
                    </a:cubicBezTo>
                    <a:cubicBezTo>
                      <a:pt x="14689" y="4215"/>
                      <a:pt x="14692" y="4207"/>
                      <a:pt x="14694" y="4201"/>
                    </a:cubicBezTo>
                    <a:cubicBezTo>
                      <a:pt x="14696" y="4196"/>
                      <a:pt x="14697" y="4194"/>
                      <a:pt x="14697" y="4194"/>
                    </a:cubicBezTo>
                    <a:cubicBezTo>
                      <a:pt x="14700" y="4183"/>
                      <a:pt x="14700" y="4183"/>
                      <a:pt x="14700" y="4183"/>
                    </a:cubicBezTo>
                    <a:cubicBezTo>
                      <a:pt x="14983" y="3794"/>
                      <a:pt x="14983" y="3794"/>
                      <a:pt x="14983" y="3794"/>
                    </a:cubicBezTo>
                    <a:cubicBezTo>
                      <a:pt x="14964" y="3781"/>
                      <a:pt x="14936" y="3760"/>
                      <a:pt x="14902" y="3728"/>
                    </a:cubicBezTo>
                    <a:cubicBezTo>
                      <a:pt x="14889" y="3717"/>
                      <a:pt x="14875" y="3702"/>
                      <a:pt x="14857" y="3682"/>
                    </a:cubicBezTo>
                    <a:cubicBezTo>
                      <a:pt x="14730" y="3543"/>
                      <a:pt x="14419" y="3165"/>
                      <a:pt x="14418" y="3164"/>
                    </a:cubicBezTo>
                    <a:cubicBezTo>
                      <a:pt x="14412" y="3158"/>
                      <a:pt x="14412" y="3158"/>
                      <a:pt x="14412" y="3158"/>
                    </a:cubicBezTo>
                    <a:cubicBezTo>
                      <a:pt x="14408" y="3150"/>
                      <a:pt x="14408" y="3150"/>
                      <a:pt x="14408" y="3150"/>
                    </a:cubicBezTo>
                    <a:cubicBezTo>
                      <a:pt x="14408" y="3149"/>
                      <a:pt x="14408" y="3149"/>
                      <a:pt x="14408" y="3149"/>
                    </a:cubicBezTo>
                    <a:cubicBezTo>
                      <a:pt x="14402" y="3136"/>
                      <a:pt x="14326" y="2997"/>
                      <a:pt x="14206" y="2922"/>
                    </a:cubicBezTo>
                    <a:cubicBezTo>
                      <a:pt x="14142" y="2882"/>
                      <a:pt x="14063" y="2856"/>
                      <a:pt x="13984" y="2836"/>
                    </a:cubicBezTo>
                    <a:cubicBezTo>
                      <a:pt x="13935" y="2824"/>
                      <a:pt x="13888" y="2814"/>
                      <a:pt x="13843" y="2804"/>
                    </a:cubicBezTo>
                    <a:lnTo>
                      <a:pt x="12697" y="3742"/>
                    </a:lnTo>
                    <a:close/>
                    <a:moveTo>
                      <a:pt x="13319" y="2423"/>
                    </a:moveTo>
                    <a:cubicBezTo>
                      <a:pt x="13315" y="2388"/>
                      <a:pt x="13315" y="2388"/>
                      <a:pt x="13315" y="2388"/>
                    </a:cubicBezTo>
                    <a:cubicBezTo>
                      <a:pt x="13318" y="2357"/>
                      <a:pt x="13318" y="2357"/>
                      <a:pt x="13318" y="2357"/>
                    </a:cubicBezTo>
                    <a:cubicBezTo>
                      <a:pt x="13318" y="2358"/>
                      <a:pt x="13318" y="2358"/>
                      <a:pt x="13318" y="2358"/>
                    </a:cubicBezTo>
                    <a:cubicBezTo>
                      <a:pt x="13318" y="2358"/>
                      <a:pt x="13318" y="2358"/>
                      <a:pt x="13318" y="2358"/>
                    </a:cubicBezTo>
                    <a:cubicBezTo>
                      <a:pt x="13319" y="2353"/>
                      <a:pt x="13325" y="2326"/>
                      <a:pt x="13330" y="2293"/>
                    </a:cubicBezTo>
                    <a:cubicBezTo>
                      <a:pt x="13334" y="2259"/>
                      <a:pt x="13338" y="2218"/>
                      <a:pt x="13338" y="2175"/>
                    </a:cubicBezTo>
                    <a:cubicBezTo>
                      <a:pt x="13338" y="2125"/>
                      <a:pt x="13333" y="2074"/>
                      <a:pt x="13320" y="2037"/>
                    </a:cubicBezTo>
                    <a:cubicBezTo>
                      <a:pt x="13301" y="1979"/>
                      <a:pt x="13264" y="1928"/>
                      <a:pt x="13194" y="1880"/>
                    </a:cubicBezTo>
                    <a:cubicBezTo>
                      <a:pt x="13125" y="1832"/>
                      <a:pt x="13022" y="1789"/>
                      <a:pt x="12880" y="1756"/>
                    </a:cubicBezTo>
                    <a:cubicBezTo>
                      <a:pt x="12594" y="1687"/>
                      <a:pt x="12336" y="1678"/>
                      <a:pt x="12127" y="1668"/>
                    </a:cubicBezTo>
                    <a:cubicBezTo>
                      <a:pt x="12021" y="1664"/>
                      <a:pt x="11793" y="1649"/>
                      <a:pt x="11589" y="1636"/>
                    </a:cubicBezTo>
                    <a:cubicBezTo>
                      <a:pt x="11488" y="1629"/>
                      <a:pt x="11393" y="1623"/>
                      <a:pt x="11323" y="1618"/>
                    </a:cubicBezTo>
                    <a:cubicBezTo>
                      <a:pt x="11291" y="1616"/>
                      <a:pt x="11264" y="1614"/>
                      <a:pt x="11245" y="1613"/>
                    </a:cubicBezTo>
                    <a:cubicBezTo>
                      <a:pt x="11239" y="1702"/>
                      <a:pt x="11214" y="1891"/>
                      <a:pt x="11095" y="2018"/>
                    </a:cubicBezTo>
                    <a:cubicBezTo>
                      <a:pt x="10986" y="2134"/>
                      <a:pt x="10810" y="2293"/>
                      <a:pt x="10724" y="2371"/>
                    </a:cubicBezTo>
                    <a:cubicBezTo>
                      <a:pt x="10796" y="2419"/>
                      <a:pt x="10942" y="2516"/>
                      <a:pt x="11085" y="2609"/>
                    </a:cubicBezTo>
                    <a:cubicBezTo>
                      <a:pt x="11287" y="2741"/>
                      <a:pt x="11410" y="2848"/>
                      <a:pt x="11411" y="2848"/>
                    </a:cubicBezTo>
                    <a:cubicBezTo>
                      <a:pt x="11413" y="2850"/>
                      <a:pt x="11413" y="2850"/>
                      <a:pt x="11413" y="2850"/>
                    </a:cubicBezTo>
                    <a:cubicBezTo>
                      <a:pt x="11688" y="3196"/>
                      <a:pt x="11688" y="3196"/>
                      <a:pt x="11688" y="3196"/>
                    </a:cubicBezTo>
                    <a:cubicBezTo>
                      <a:pt x="11703" y="3186"/>
                      <a:pt x="11731" y="3166"/>
                      <a:pt x="11776" y="3126"/>
                    </a:cubicBezTo>
                    <a:cubicBezTo>
                      <a:pt x="11822" y="3085"/>
                      <a:pt x="11872" y="3072"/>
                      <a:pt x="11912" y="3072"/>
                    </a:cubicBezTo>
                    <a:cubicBezTo>
                      <a:pt x="11969" y="3072"/>
                      <a:pt x="12008" y="3097"/>
                      <a:pt x="12011" y="3098"/>
                    </a:cubicBezTo>
                    <a:cubicBezTo>
                      <a:pt x="12013" y="3100"/>
                      <a:pt x="12013" y="3100"/>
                      <a:pt x="12013" y="3100"/>
                    </a:cubicBezTo>
                    <a:cubicBezTo>
                      <a:pt x="12685" y="3667"/>
                      <a:pt x="12685" y="3667"/>
                      <a:pt x="12685" y="3667"/>
                    </a:cubicBezTo>
                    <a:cubicBezTo>
                      <a:pt x="13766" y="2782"/>
                      <a:pt x="13766" y="2782"/>
                      <a:pt x="13766" y="2782"/>
                    </a:cubicBezTo>
                    <a:cubicBezTo>
                      <a:pt x="13763" y="2782"/>
                      <a:pt x="13760" y="2781"/>
                      <a:pt x="13758" y="2780"/>
                    </a:cubicBezTo>
                    <a:cubicBezTo>
                      <a:pt x="13686" y="2755"/>
                      <a:pt x="13600" y="2703"/>
                      <a:pt x="13518" y="2639"/>
                    </a:cubicBezTo>
                    <a:cubicBezTo>
                      <a:pt x="13437" y="2575"/>
                      <a:pt x="13361" y="2503"/>
                      <a:pt x="13319" y="2423"/>
                    </a:cubicBezTo>
                    <a:close/>
                    <a:moveTo>
                      <a:pt x="8472" y="481"/>
                    </a:moveTo>
                    <a:cubicBezTo>
                      <a:pt x="8369" y="370"/>
                      <a:pt x="8369" y="370"/>
                      <a:pt x="8369" y="370"/>
                    </a:cubicBezTo>
                    <a:cubicBezTo>
                      <a:pt x="8424" y="319"/>
                      <a:pt x="8424" y="319"/>
                      <a:pt x="8424" y="319"/>
                    </a:cubicBezTo>
                    <a:cubicBezTo>
                      <a:pt x="8429" y="323"/>
                      <a:pt x="8429" y="323"/>
                      <a:pt x="8429" y="323"/>
                    </a:cubicBezTo>
                    <a:cubicBezTo>
                      <a:pt x="8527" y="430"/>
                      <a:pt x="8527" y="430"/>
                      <a:pt x="8527" y="430"/>
                    </a:cubicBezTo>
                    <a:lnTo>
                      <a:pt x="8472" y="481"/>
                    </a:lnTo>
                    <a:close/>
                    <a:moveTo>
                      <a:pt x="8387" y="371"/>
                    </a:moveTo>
                    <a:cubicBezTo>
                      <a:pt x="8472" y="463"/>
                      <a:pt x="8472" y="463"/>
                      <a:pt x="8472" y="463"/>
                    </a:cubicBezTo>
                    <a:cubicBezTo>
                      <a:pt x="8509" y="429"/>
                      <a:pt x="8509" y="429"/>
                      <a:pt x="8509" y="429"/>
                    </a:cubicBezTo>
                    <a:cubicBezTo>
                      <a:pt x="8424" y="337"/>
                      <a:pt x="8424" y="337"/>
                      <a:pt x="8424" y="337"/>
                    </a:cubicBezTo>
                    <a:lnTo>
                      <a:pt x="8387" y="371"/>
                    </a:lnTo>
                    <a:close/>
                    <a:moveTo>
                      <a:pt x="11524" y="9501"/>
                    </a:moveTo>
                    <a:cubicBezTo>
                      <a:pt x="11608" y="9575"/>
                      <a:pt x="11608" y="9575"/>
                      <a:pt x="11608" y="9575"/>
                    </a:cubicBezTo>
                    <a:cubicBezTo>
                      <a:pt x="11505" y="9691"/>
                      <a:pt x="11505" y="9691"/>
                      <a:pt x="11505" y="9691"/>
                    </a:cubicBezTo>
                    <a:cubicBezTo>
                      <a:pt x="11422" y="9618"/>
                      <a:pt x="11422" y="9618"/>
                      <a:pt x="11422" y="9618"/>
                    </a:cubicBezTo>
                    <a:cubicBezTo>
                      <a:pt x="11426" y="9613"/>
                      <a:pt x="11426" y="9613"/>
                      <a:pt x="11426" y="9613"/>
                    </a:cubicBezTo>
                    <a:lnTo>
                      <a:pt x="11524" y="9501"/>
                    </a:lnTo>
                    <a:close/>
                    <a:moveTo>
                      <a:pt x="11525" y="9520"/>
                    </a:moveTo>
                    <a:cubicBezTo>
                      <a:pt x="11440" y="9617"/>
                      <a:pt x="11440" y="9617"/>
                      <a:pt x="11440" y="9617"/>
                    </a:cubicBezTo>
                    <a:cubicBezTo>
                      <a:pt x="11504" y="9673"/>
                      <a:pt x="11504" y="9673"/>
                      <a:pt x="11504" y="9673"/>
                    </a:cubicBezTo>
                    <a:cubicBezTo>
                      <a:pt x="11589" y="9576"/>
                      <a:pt x="11589" y="9576"/>
                      <a:pt x="11589" y="9576"/>
                    </a:cubicBezTo>
                    <a:lnTo>
                      <a:pt x="11525" y="9520"/>
                    </a:lnTo>
                    <a:close/>
                    <a:moveTo>
                      <a:pt x="2438" y="7"/>
                    </a:moveTo>
                    <a:cubicBezTo>
                      <a:pt x="2440" y="0"/>
                      <a:pt x="2440" y="0"/>
                      <a:pt x="2440" y="0"/>
                    </a:cubicBezTo>
                    <a:cubicBezTo>
                      <a:pt x="2428" y="0"/>
                      <a:pt x="2428" y="0"/>
                      <a:pt x="2428" y="0"/>
                    </a:cubicBezTo>
                    <a:lnTo>
                      <a:pt x="2438" y="7"/>
                    </a:lnTo>
                    <a:close/>
                    <a:moveTo>
                      <a:pt x="1227" y="2637"/>
                    </a:moveTo>
                    <a:cubicBezTo>
                      <a:pt x="1227" y="2637"/>
                      <a:pt x="1227" y="2637"/>
                      <a:pt x="1227" y="2637"/>
                    </a:cubicBezTo>
                    <a:cubicBezTo>
                      <a:pt x="1227" y="2637"/>
                      <a:pt x="1227" y="2637"/>
                      <a:pt x="1227" y="2637"/>
                    </a:cubicBezTo>
                    <a:cubicBezTo>
                      <a:pt x="1227" y="2637"/>
                      <a:pt x="1227" y="2637"/>
                      <a:pt x="1227" y="2637"/>
                    </a:cubicBezTo>
                    <a:close/>
                    <a:moveTo>
                      <a:pt x="13585" y="4408"/>
                    </a:moveTo>
                    <a:cubicBezTo>
                      <a:pt x="13389" y="4190"/>
                      <a:pt x="13389" y="4190"/>
                      <a:pt x="13389" y="4190"/>
                    </a:cubicBezTo>
                    <a:cubicBezTo>
                      <a:pt x="14082" y="3573"/>
                      <a:pt x="14082" y="3573"/>
                      <a:pt x="14082" y="3573"/>
                    </a:cubicBezTo>
                    <a:cubicBezTo>
                      <a:pt x="14088" y="3568"/>
                      <a:pt x="14088" y="3568"/>
                      <a:pt x="14088" y="3568"/>
                    </a:cubicBezTo>
                    <a:cubicBezTo>
                      <a:pt x="14243" y="3746"/>
                      <a:pt x="14243" y="3746"/>
                      <a:pt x="14243" y="3746"/>
                    </a:cubicBezTo>
                    <a:cubicBezTo>
                      <a:pt x="14463" y="3553"/>
                      <a:pt x="14463" y="3553"/>
                      <a:pt x="14463" y="3553"/>
                    </a:cubicBezTo>
                    <a:cubicBezTo>
                      <a:pt x="14646" y="3756"/>
                      <a:pt x="14646" y="3756"/>
                      <a:pt x="14646" y="3756"/>
                    </a:cubicBezTo>
                    <a:cubicBezTo>
                      <a:pt x="14306" y="4058"/>
                      <a:pt x="14306" y="4058"/>
                      <a:pt x="14306" y="4058"/>
                    </a:cubicBezTo>
                    <a:cubicBezTo>
                      <a:pt x="14516" y="4295"/>
                      <a:pt x="14516" y="4295"/>
                      <a:pt x="14516" y="4295"/>
                    </a:cubicBezTo>
                    <a:cubicBezTo>
                      <a:pt x="14339" y="4453"/>
                      <a:pt x="14339" y="4453"/>
                      <a:pt x="14339" y="4453"/>
                    </a:cubicBezTo>
                    <a:cubicBezTo>
                      <a:pt x="14243" y="4342"/>
                      <a:pt x="14243" y="4342"/>
                      <a:pt x="14243" y="4342"/>
                    </a:cubicBezTo>
                    <a:cubicBezTo>
                      <a:pt x="13990" y="4563"/>
                      <a:pt x="13990" y="4563"/>
                      <a:pt x="13990" y="4563"/>
                    </a:cubicBezTo>
                    <a:cubicBezTo>
                      <a:pt x="13929" y="4494"/>
                      <a:pt x="13929" y="4494"/>
                      <a:pt x="13929" y="4494"/>
                    </a:cubicBezTo>
                    <a:cubicBezTo>
                      <a:pt x="14178" y="4267"/>
                      <a:pt x="14178" y="4267"/>
                      <a:pt x="14178" y="4267"/>
                    </a:cubicBezTo>
                    <a:cubicBezTo>
                      <a:pt x="14073" y="4150"/>
                      <a:pt x="14073" y="4150"/>
                      <a:pt x="14073" y="4150"/>
                    </a:cubicBezTo>
                    <a:cubicBezTo>
                      <a:pt x="14126" y="4098"/>
                      <a:pt x="14126" y="4098"/>
                      <a:pt x="14126" y="4098"/>
                    </a:cubicBezTo>
                    <a:cubicBezTo>
                      <a:pt x="14042" y="4000"/>
                      <a:pt x="14042" y="4000"/>
                      <a:pt x="14042" y="4000"/>
                    </a:cubicBezTo>
                    <a:cubicBezTo>
                      <a:pt x="13804" y="4215"/>
                      <a:pt x="13804" y="4215"/>
                      <a:pt x="13804" y="4215"/>
                    </a:cubicBezTo>
                    <a:cubicBezTo>
                      <a:pt x="13880" y="4302"/>
                      <a:pt x="13880" y="4302"/>
                      <a:pt x="13880" y="4302"/>
                    </a:cubicBezTo>
                    <a:cubicBezTo>
                      <a:pt x="13721" y="4447"/>
                      <a:pt x="13721" y="4447"/>
                      <a:pt x="13721" y="4447"/>
                    </a:cubicBezTo>
                    <a:cubicBezTo>
                      <a:pt x="13642" y="4356"/>
                      <a:pt x="13642" y="4356"/>
                      <a:pt x="13642" y="4356"/>
                    </a:cubicBezTo>
                    <a:lnTo>
                      <a:pt x="13585" y="4408"/>
                    </a:lnTo>
                    <a:close/>
                    <a:moveTo>
                      <a:pt x="13410" y="4191"/>
                    </a:moveTo>
                    <a:cubicBezTo>
                      <a:pt x="13586" y="4387"/>
                      <a:pt x="13586" y="4387"/>
                      <a:pt x="13586" y="4387"/>
                    </a:cubicBezTo>
                    <a:cubicBezTo>
                      <a:pt x="13643" y="4335"/>
                      <a:pt x="13643" y="4335"/>
                      <a:pt x="13643" y="4335"/>
                    </a:cubicBezTo>
                    <a:cubicBezTo>
                      <a:pt x="13722" y="4426"/>
                      <a:pt x="13722" y="4426"/>
                      <a:pt x="13722" y="4426"/>
                    </a:cubicBezTo>
                    <a:cubicBezTo>
                      <a:pt x="13859" y="4301"/>
                      <a:pt x="13859" y="4301"/>
                      <a:pt x="13859" y="4301"/>
                    </a:cubicBezTo>
                    <a:cubicBezTo>
                      <a:pt x="13783" y="4214"/>
                      <a:pt x="13783" y="4214"/>
                      <a:pt x="13783" y="4214"/>
                    </a:cubicBezTo>
                    <a:cubicBezTo>
                      <a:pt x="14044" y="3979"/>
                      <a:pt x="14044" y="3979"/>
                      <a:pt x="14044" y="3979"/>
                    </a:cubicBezTo>
                    <a:cubicBezTo>
                      <a:pt x="14146" y="4099"/>
                      <a:pt x="14146" y="4099"/>
                      <a:pt x="14146" y="4099"/>
                    </a:cubicBezTo>
                    <a:cubicBezTo>
                      <a:pt x="14094" y="4151"/>
                      <a:pt x="14094" y="4151"/>
                      <a:pt x="14094" y="4151"/>
                    </a:cubicBezTo>
                    <a:cubicBezTo>
                      <a:pt x="14198" y="4268"/>
                      <a:pt x="14198" y="4268"/>
                      <a:pt x="14198" y="4268"/>
                    </a:cubicBezTo>
                    <a:cubicBezTo>
                      <a:pt x="13949" y="4495"/>
                      <a:pt x="13949" y="4495"/>
                      <a:pt x="13949" y="4495"/>
                    </a:cubicBezTo>
                    <a:cubicBezTo>
                      <a:pt x="13992" y="4543"/>
                      <a:pt x="13992" y="4543"/>
                      <a:pt x="13992" y="4543"/>
                    </a:cubicBezTo>
                    <a:cubicBezTo>
                      <a:pt x="14244" y="4321"/>
                      <a:pt x="14244" y="4321"/>
                      <a:pt x="14244" y="4321"/>
                    </a:cubicBezTo>
                    <a:cubicBezTo>
                      <a:pt x="14340" y="4432"/>
                      <a:pt x="14340" y="4432"/>
                      <a:pt x="14340" y="4432"/>
                    </a:cubicBezTo>
                    <a:cubicBezTo>
                      <a:pt x="14495" y="4294"/>
                      <a:pt x="14495" y="4294"/>
                      <a:pt x="14495" y="4294"/>
                    </a:cubicBezTo>
                    <a:cubicBezTo>
                      <a:pt x="14285" y="4057"/>
                      <a:pt x="14285" y="4057"/>
                      <a:pt x="14285" y="4057"/>
                    </a:cubicBezTo>
                    <a:cubicBezTo>
                      <a:pt x="14625" y="3754"/>
                      <a:pt x="14625" y="3754"/>
                      <a:pt x="14625" y="3754"/>
                    </a:cubicBezTo>
                    <a:cubicBezTo>
                      <a:pt x="14462" y="3573"/>
                      <a:pt x="14462" y="3573"/>
                      <a:pt x="14462" y="3573"/>
                    </a:cubicBezTo>
                    <a:cubicBezTo>
                      <a:pt x="14242" y="3767"/>
                      <a:pt x="14242" y="3767"/>
                      <a:pt x="14242" y="3767"/>
                    </a:cubicBezTo>
                    <a:cubicBezTo>
                      <a:pt x="14086" y="3589"/>
                      <a:pt x="14086" y="3589"/>
                      <a:pt x="14086" y="3589"/>
                    </a:cubicBezTo>
                    <a:lnTo>
                      <a:pt x="13410" y="4191"/>
                    </a:lnTo>
                    <a:close/>
                    <a:moveTo>
                      <a:pt x="614" y="4378"/>
                    </a:moveTo>
                    <a:cubicBezTo>
                      <a:pt x="631" y="4316"/>
                      <a:pt x="631" y="4316"/>
                      <a:pt x="631" y="4316"/>
                    </a:cubicBezTo>
                    <a:cubicBezTo>
                      <a:pt x="584" y="4313"/>
                      <a:pt x="584" y="4313"/>
                      <a:pt x="584" y="4313"/>
                    </a:cubicBezTo>
                    <a:cubicBezTo>
                      <a:pt x="540" y="4259"/>
                      <a:pt x="540" y="4259"/>
                      <a:pt x="540" y="4259"/>
                    </a:cubicBezTo>
                    <a:cubicBezTo>
                      <a:pt x="675" y="4156"/>
                      <a:pt x="675" y="4156"/>
                      <a:pt x="675" y="4156"/>
                    </a:cubicBezTo>
                    <a:cubicBezTo>
                      <a:pt x="747" y="4392"/>
                      <a:pt x="747" y="4392"/>
                      <a:pt x="747" y="4392"/>
                    </a:cubicBezTo>
                    <a:cubicBezTo>
                      <a:pt x="649" y="4461"/>
                      <a:pt x="649" y="4461"/>
                      <a:pt x="649" y="4461"/>
                    </a:cubicBezTo>
                    <a:cubicBezTo>
                      <a:pt x="646" y="4453"/>
                      <a:pt x="646" y="4453"/>
                      <a:pt x="646" y="4453"/>
                    </a:cubicBezTo>
                    <a:lnTo>
                      <a:pt x="614" y="4378"/>
                    </a:lnTo>
                    <a:close/>
                    <a:moveTo>
                      <a:pt x="650" y="4303"/>
                    </a:moveTo>
                    <a:cubicBezTo>
                      <a:pt x="630" y="4377"/>
                      <a:pt x="630" y="4377"/>
                      <a:pt x="630" y="4377"/>
                    </a:cubicBezTo>
                    <a:cubicBezTo>
                      <a:pt x="656" y="4438"/>
                      <a:pt x="656" y="4438"/>
                      <a:pt x="656" y="4438"/>
                    </a:cubicBezTo>
                    <a:cubicBezTo>
                      <a:pt x="730" y="4386"/>
                      <a:pt x="730" y="4386"/>
                      <a:pt x="730" y="4386"/>
                    </a:cubicBezTo>
                    <a:cubicBezTo>
                      <a:pt x="667" y="4181"/>
                      <a:pt x="667" y="4181"/>
                      <a:pt x="667" y="4181"/>
                    </a:cubicBezTo>
                    <a:cubicBezTo>
                      <a:pt x="561" y="4261"/>
                      <a:pt x="561" y="4261"/>
                      <a:pt x="561" y="4261"/>
                    </a:cubicBezTo>
                    <a:cubicBezTo>
                      <a:pt x="591" y="4298"/>
                      <a:pt x="591" y="4298"/>
                      <a:pt x="591" y="4298"/>
                    </a:cubicBezTo>
                    <a:lnTo>
                      <a:pt x="650" y="4303"/>
                    </a:lnTo>
                    <a:close/>
                    <a:moveTo>
                      <a:pt x="8033" y="359"/>
                    </a:moveTo>
                    <a:cubicBezTo>
                      <a:pt x="7930" y="248"/>
                      <a:pt x="7930" y="248"/>
                      <a:pt x="7930" y="248"/>
                    </a:cubicBezTo>
                    <a:cubicBezTo>
                      <a:pt x="7986" y="197"/>
                      <a:pt x="7986" y="197"/>
                      <a:pt x="7986" y="197"/>
                    </a:cubicBezTo>
                    <a:cubicBezTo>
                      <a:pt x="7990" y="201"/>
                      <a:pt x="7990" y="201"/>
                      <a:pt x="7990" y="201"/>
                    </a:cubicBezTo>
                    <a:cubicBezTo>
                      <a:pt x="8089" y="308"/>
                      <a:pt x="8089" y="308"/>
                      <a:pt x="8089" y="308"/>
                    </a:cubicBezTo>
                    <a:lnTo>
                      <a:pt x="8033" y="359"/>
                    </a:lnTo>
                    <a:close/>
                    <a:moveTo>
                      <a:pt x="7949" y="249"/>
                    </a:moveTo>
                    <a:cubicBezTo>
                      <a:pt x="8034" y="341"/>
                      <a:pt x="8034" y="341"/>
                      <a:pt x="8034" y="341"/>
                    </a:cubicBezTo>
                    <a:cubicBezTo>
                      <a:pt x="8071" y="307"/>
                      <a:pt x="8071" y="307"/>
                      <a:pt x="8071" y="307"/>
                    </a:cubicBezTo>
                    <a:cubicBezTo>
                      <a:pt x="7985" y="215"/>
                      <a:pt x="7985" y="215"/>
                      <a:pt x="7985" y="215"/>
                    </a:cubicBezTo>
                    <a:lnTo>
                      <a:pt x="7949" y="249"/>
                    </a:lnTo>
                    <a:close/>
                    <a:moveTo>
                      <a:pt x="1165" y="77"/>
                    </a:moveTo>
                    <a:cubicBezTo>
                      <a:pt x="1298" y="196"/>
                      <a:pt x="1298" y="196"/>
                      <a:pt x="1298" y="196"/>
                    </a:cubicBezTo>
                    <a:cubicBezTo>
                      <a:pt x="1241" y="260"/>
                      <a:pt x="1241" y="260"/>
                      <a:pt x="1241" y="260"/>
                    </a:cubicBezTo>
                    <a:cubicBezTo>
                      <a:pt x="1239" y="260"/>
                      <a:pt x="1110" y="144"/>
                      <a:pt x="1110" y="144"/>
                    </a:cubicBezTo>
                    <a:lnTo>
                      <a:pt x="1165" y="77"/>
                    </a:lnTo>
                    <a:close/>
                    <a:moveTo>
                      <a:pt x="1167" y="97"/>
                    </a:moveTo>
                    <a:cubicBezTo>
                      <a:pt x="1129" y="142"/>
                      <a:pt x="1129" y="142"/>
                      <a:pt x="1129" y="142"/>
                    </a:cubicBezTo>
                    <a:cubicBezTo>
                      <a:pt x="1167" y="176"/>
                      <a:pt x="1219" y="222"/>
                      <a:pt x="1240" y="240"/>
                    </a:cubicBezTo>
                    <a:cubicBezTo>
                      <a:pt x="1279" y="197"/>
                      <a:pt x="1279" y="197"/>
                      <a:pt x="1279" y="197"/>
                    </a:cubicBezTo>
                    <a:lnTo>
                      <a:pt x="1167" y="97"/>
                    </a:lnTo>
                    <a:close/>
                    <a:moveTo>
                      <a:pt x="1231" y="2640"/>
                    </a:moveTo>
                    <a:cubicBezTo>
                      <a:pt x="1231" y="2640"/>
                      <a:pt x="1231" y="2640"/>
                      <a:pt x="1231" y="2640"/>
                    </a:cubicBezTo>
                    <a:cubicBezTo>
                      <a:pt x="1231" y="2640"/>
                      <a:pt x="1231" y="2640"/>
                      <a:pt x="1231" y="2640"/>
                    </a:cubicBezTo>
                    <a:cubicBezTo>
                      <a:pt x="1231" y="2640"/>
                      <a:pt x="1231" y="2640"/>
                      <a:pt x="1231" y="2640"/>
                    </a:cubicBezTo>
                    <a:close/>
                    <a:moveTo>
                      <a:pt x="9534" y="9107"/>
                    </a:moveTo>
                    <a:cubicBezTo>
                      <a:pt x="9465" y="9129"/>
                      <a:pt x="9465" y="9129"/>
                      <a:pt x="9465" y="9129"/>
                    </a:cubicBezTo>
                    <a:cubicBezTo>
                      <a:pt x="9488" y="9201"/>
                      <a:pt x="9488" y="9201"/>
                      <a:pt x="9488" y="9201"/>
                    </a:cubicBezTo>
                    <a:cubicBezTo>
                      <a:pt x="9416" y="9224"/>
                      <a:pt x="9416" y="9224"/>
                      <a:pt x="9416" y="9224"/>
                    </a:cubicBezTo>
                    <a:cubicBezTo>
                      <a:pt x="9414" y="9218"/>
                      <a:pt x="9414" y="9218"/>
                      <a:pt x="9414" y="9218"/>
                    </a:cubicBezTo>
                    <a:cubicBezTo>
                      <a:pt x="9358" y="9034"/>
                      <a:pt x="9358" y="9034"/>
                      <a:pt x="9358" y="9034"/>
                    </a:cubicBezTo>
                    <a:cubicBezTo>
                      <a:pt x="9405" y="9019"/>
                      <a:pt x="9405" y="9019"/>
                      <a:pt x="9405" y="9019"/>
                    </a:cubicBezTo>
                    <a:cubicBezTo>
                      <a:pt x="9401" y="9008"/>
                      <a:pt x="9401" y="9008"/>
                      <a:pt x="9401" y="9008"/>
                    </a:cubicBezTo>
                    <a:cubicBezTo>
                      <a:pt x="9399" y="9002"/>
                      <a:pt x="9399" y="9002"/>
                      <a:pt x="9399" y="9002"/>
                    </a:cubicBezTo>
                    <a:cubicBezTo>
                      <a:pt x="9491" y="8972"/>
                      <a:pt x="9491" y="8972"/>
                      <a:pt x="9491" y="8972"/>
                    </a:cubicBezTo>
                    <a:lnTo>
                      <a:pt x="9534" y="9107"/>
                    </a:lnTo>
                    <a:close/>
                    <a:moveTo>
                      <a:pt x="9448" y="9120"/>
                    </a:moveTo>
                    <a:cubicBezTo>
                      <a:pt x="9518" y="9098"/>
                      <a:pt x="9518" y="9098"/>
                      <a:pt x="9518" y="9098"/>
                    </a:cubicBezTo>
                    <a:cubicBezTo>
                      <a:pt x="9483" y="8989"/>
                      <a:pt x="9483" y="8989"/>
                      <a:pt x="9483" y="8989"/>
                    </a:cubicBezTo>
                    <a:cubicBezTo>
                      <a:pt x="9416" y="9010"/>
                      <a:pt x="9416" y="9010"/>
                      <a:pt x="9416" y="9010"/>
                    </a:cubicBezTo>
                    <a:cubicBezTo>
                      <a:pt x="9419" y="9021"/>
                      <a:pt x="9419" y="9021"/>
                      <a:pt x="9419" y="9021"/>
                    </a:cubicBezTo>
                    <a:cubicBezTo>
                      <a:pt x="9421" y="9028"/>
                      <a:pt x="9421" y="9028"/>
                      <a:pt x="9421" y="9028"/>
                    </a:cubicBezTo>
                    <a:cubicBezTo>
                      <a:pt x="9374" y="9043"/>
                      <a:pt x="9374" y="9043"/>
                      <a:pt x="9374" y="9043"/>
                    </a:cubicBezTo>
                    <a:cubicBezTo>
                      <a:pt x="9424" y="9208"/>
                      <a:pt x="9424" y="9208"/>
                      <a:pt x="9424" y="9208"/>
                    </a:cubicBezTo>
                    <a:cubicBezTo>
                      <a:pt x="9471" y="9193"/>
                      <a:pt x="9471" y="9193"/>
                      <a:pt x="9471" y="9193"/>
                    </a:cubicBezTo>
                    <a:lnTo>
                      <a:pt x="9448" y="9120"/>
                    </a:lnTo>
                    <a:close/>
                    <a:moveTo>
                      <a:pt x="3183" y="25"/>
                    </a:moveTo>
                    <a:cubicBezTo>
                      <a:pt x="3183" y="25"/>
                      <a:pt x="3183" y="26"/>
                      <a:pt x="3183" y="26"/>
                    </a:cubicBezTo>
                    <a:cubicBezTo>
                      <a:pt x="3118" y="56"/>
                      <a:pt x="3118" y="56"/>
                      <a:pt x="3118" y="56"/>
                    </a:cubicBezTo>
                    <a:cubicBezTo>
                      <a:pt x="3097" y="30"/>
                      <a:pt x="3097" y="30"/>
                      <a:pt x="3097" y="30"/>
                    </a:cubicBezTo>
                    <a:cubicBezTo>
                      <a:pt x="3061" y="48"/>
                      <a:pt x="3061" y="48"/>
                      <a:pt x="3061" y="48"/>
                    </a:cubicBezTo>
                    <a:cubicBezTo>
                      <a:pt x="3041" y="0"/>
                      <a:pt x="3041" y="0"/>
                      <a:pt x="3041" y="0"/>
                    </a:cubicBezTo>
                    <a:cubicBezTo>
                      <a:pt x="3025" y="0"/>
                      <a:pt x="3025" y="0"/>
                      <a:pt x="3025" y="0"/>
                    </a:cubicBezTo>
                    <a:cubicBezTo>
                      <a:pt x="3054" y="69"/>
                      <a:pt x="3054" y="69"/>
                      <a:pt x="3054" y="69"/>
                    </a:cubicBezTo>
                    <a:cubicBezTo>
                      <a:pt x="3093" y="49"/>
                      <a:pt x="3093" y="49"/>
                      <a:pt x="3093" y="49"/>
                    </a:cubicBezTo>
                    <a:cubicBezTo>
                      <a:pt x="3114" y="75"/>
                      <a:pt x="3114" y="75"/>
                      <a:pt x="3114" y="75"/>
                    </a:cubicBezTo>
                    <a:cubicBezTo>
                      <a:pt x="3199" y="34"/>
                      <a:pt x="3199" y="34"/>
                      <a:pt x="3199" y="34"/>
                    </a:cubicBezTo>
                    <a:cubicBezTo>
                      <a:pt x="3198" y="29"/>
                      <a:pt x="3198" y="29"/>
                      <a:pt x="3198" y="29"/>
                    </a:cubicBezTo>
                    <a:cubicBezTo>
                      <a:pt x="3198" y="29"/>
                      <a:pt x="3198" y="28"/>
                      <a:pt x="3198" y="25"/>
                    </a:cubicBezTo>
                    <a:cubicBezTo>
                      <a:pt x="3198" y="20"/>
                      <a:pt x="3199" y="10"/>
                      <a:pt x="3211" y="0"/>
                    </a:cubicBezTo>
                    <a:cubicBezTo>
                      <a:pt x="3191" y="0"/>
                      <a:pt x="3191" y="0"/>
                      <a:pt x="3191" y="0"/>
                    </a:cubicBezTo>
                    <a:cubicBezTo>
                      <a:pt x="3185" y="9"/>
                      <a:pt x="3183" y="19"/>
                      <a:pt x="3183" y="25"/>
                    </a:cubicBezTo>
                    <a:close/>
                    <a:moveTo>
                      <a:pt x="10002" y="8963"/>
                    </a:moveTo>
                    <a:cubicBezTo>
                      <a:pt x="10136" y="8963"/>
                      <a:pt x="10136" y="8963"/>
                      <a:pt x="10136" y="8963"/>
                    </a:cubicBezTo>
                    <a:cubicBezTo>
                      <a:pt x="10136" y="9132"/>
                      <a:pt x="10136" y="9132"/>
                      <a:pt x="10136" y="9132"/>
                    </a:cubicBezTo>
                    <a:cubicBezTo>
                      <a:pt x="10050" y="9132"/>
                      <a:pt x="10050" y="9132"/>
                      <a:pt x="10050" y="9132"/>
                    </a:cubicBezTo>
                    <a:cubicBezTo>
                      <a:pt x="10050" y="9234"/>
                      <a:pt x="10050" y="9234"/>
                      <a:pt x="10050" y="9234"/>
                    </a:cubicBezTo>
                    <a:cubicBezTo>
                      <a:pt x="9922" y="9234"/>
                      <a:pt x="9922" y="9234"/>
                      <a:pt x="9922" y="9234"/>
                    </a:cubicBezTo>
                    <a:cubicBezTo>
                      <a:pt x="9922" y="9051"/>
                      <a:pt x="9922" y="9051"/>
                      <a:pt x="9922" y="9051"/>
                    </a:cubicBezTo>
                    <a:cubicBezTo>
                      <a:pt x="10002" y="9051"/>
                      <a:pt x="10002" y="9051"/>
                      <a:pt x="10002" y="9051"/>
                    </a:cubicBezTo>
                    <a:lnTo>
                      <a:pt x="10002" y="8963"/>
                    </a:lnTo>
                    <a:close/>
                    <a:moveTo>
                      <a:pt x="10014" y="9063"/>
                    </a:moveTo>
                    <a:cubicBezTo>
                      <a:pt x="9934" y="9063"/>
                      <a:pt x="9934" y="9063"/>
                      <a:pt x="9934" y="9063"/>
                    </a:cubicBezTo>
                    <a:cubicBezTo>
                      <a:pt x="9934" y="9222"/>
                      <a:pt x="9934" y="9222"/>
                      <a:pt x="9934" y="9222"/>
                    </a:cubicBezTo>
                    <a:cubicBezTo>
                      <a:pt x="10038" y="9222"/>
                      <a:pt x="10038" y="9222"/>
                      <a:pt x="10038" y="9222"/>
                    </a:cubicBezTo>
                    <a:cubicBezTo>
                      <a:pt x="10038" y="9120"/>
                      <a:pt x="10038" y="9120"/>
                      <a:pt x="10038" y="9120"/>
                    </a:cubicBezTo>
                    <a:cubicBezTo>
                      <a:pt x="10044" y="9120"/>
                      <a:pt x="10044" y="9120"/>
                      <a:pt x="10044" y="9120"/>
                    </a:cubicBezTo>
                    <a:cubicBezTo>
                      <a:pt x="10124" y="9120"/>
                      <a:pt x="10124" y="9120"/>
                      <a:pt x="10124" y="9120"/>
                    </a:cubicBezTo>
                    <a:cubicBezTo>
                      <a:pt x="10124" y="8975"/>
                      <a:pt x="10124" y="8975"/>
                      <a:pt x="10124" y="8975"/>
                    </a:cubicBezTo>
                    <a:cubicBezTo>
                      <a:pt x="10014" y="8975"/>
                      <a:pt x="10014" y="8975"/>
                      <a:pt x="10014" y="8975"/>
                    </a:cubicBezTo>
                    <a:lnTo>
                      <a:pt x="10014" y="9063"/>
                    </a:lnTo>
                    <a:close/>
                    <a:moveTo>
                      <a:pt x="501" y="3608"/>
                    </a:moveTo>
                    <a:cubicBezTo>
                      <a:pt x="408" y="3345"/>
                      <a:pt x="408" y="3345"/>
                      <a:pt x="408" y="3345"/>
                    </a:cubicBezTo>
                    <a:cubicBezTo>
                      <a:pt x="482" y="3322"/>
                      <a:pt x="482" y="3322"/>
                      <a:pt x="482" y="3322"/>
                    </a:cubicBezTo>
                    <a:cubicBezTo>
                      <a:pt x="602" y="3567"/>
                      <a:pt x="602" y="3567"/>
                      <a:pt x="602" y="3567"/>
                    </a:cubicBezTo>
                    <a:cubicBezTo>
                      <a:pt x="594" y="3570"/>
                      <a:pt x="594" y="3570"/>
                      <a:pt x="594" y="3570"/>
                    </a:cubicBezTo>
                    <a:lnTo>
                      <a:pt x="501" y="3608"/>
                    </a:lnTo>
                    <a:close/>
                    <a:moveTo>
                      <a:pt x="427" y="3355"/>
                    </a:moveTo>
                    <a:cubicBezTo>
                      <a:pt x="509" y="3588"/>
                      <a:pt x="509" y="3588"/>
                      <a:pt x="509" y="3588"/>
                    </a:cubicBezTo>
                    <a:cubicBezTo>
                      <a:pt x="581" y="3559"/>
                      <a:pt x="581" y="3559"/>
                      <a:pt x="581" y="3559"/>
                    </a:cubicBezTo>
                    <a:cubicBezTo>
                      <a:pt x="474" y="3340"/>
                      <a:pt x="474" y="3340"/>
                      <a:pt x="474" y="3340"/>
                    </a:cubicBezTo>
                    <a:lnTo>
                      <a:pt x="427" y="3355"/>
                    </a:lnTo>
                    <a:close/>
                    <a:moveTo>
                      <a:pt x="7504" y="521"/>
                    </a:moveTo>
                    <a:cubicBezTo>
                      <a:pt x="7360" y="504"/>
                      <a:pt x="7360" y="504"/>
                      <a:pt x="7360" y="504"/>
                    </a:cubicBezTo>
                    <a:cubicBezTo>
                      <a:pt x="7369" y="428"/>
                      <a:pt x="7369" y="428"/>
                      <a:pt x="7369" y="428"/>
                    </a:cubicBezTo>
                    <a:cubicBezTo>
                      <a:pt x="7519" y="447"/>
                      <a:pt x="7519" y="447"/>
                      <a:pt x="7519" y="447"/>
                    </a:cubicBezTo>
                    <a:cubicBezTo>
                      <a:pt x="7510" y="522"/>
                      <a:pt x="7510" y="522"/>
                      <a:pt x="7510" y="522"/>
                    </a:cubicBezTo>
                    <a:lnTo>
                      <a:pt x="7504" y="521"/>
                    </a:lnTo>
                    <a:close/>
                    <a:moveTo>
                      <a:pt x="7499" y="507"/>
                    </a:moveTo>
                    <a:cubicBezTo>
                      <a:pt x="7505" y="458"/>
                      <a:pt x="7505" y="458"/>
                      <a:pt x="7505" y="458"/>
                    </a:cubicBezTo>
                    <a:cubicBezTo>
                      <a:pt x="7380" y="443"/>
                      <a:pt x="7380" y="443"/>
                      <a:pt x="7380" y="443"/>
                    </a:cubicBezTo>
                    <a:cubicBezTo>
                      <a:pt x="7374" y="492"/>
                      <a:pt x="7374" y="492"/>
                      <a:pt x="7374" y="492"/>
                    </a:cubicBezTo>
                    <a:lnTo>
                      <a:pt x="7499" y="507"/>
                    </a:lnTo>
                    <a:close/>
                    <a:moveTo>
                      <a:pt x="131" y="2352"/>
                    </a:moveTo>
                    <a:cubicBezTo>
                      <a:pt x="215" y="2511"/>
                      <a:pt x="215" y="2511"/>
                      <a:pt x="215" y="2511"/>
                    </a:cubicBezTo>
                    <a:cubicBezTo>
                      <a:pt x="140" y="2549"/>
                      <a:pt x="140" y="2549"/>
                      <a:pt x="140" y="2549"/>
                    </a:cubicBezTo>
                    <a:cubicBezTo>
                      <a:pt x="57" y="2391"/>
                      <a:pt x="57" y="2391"/>
                      <a:pt x="57" y="2391"/>
                    </a:cubicBezTo>
                    <a:lnTo>
                      <a:pt x="131" y="2352"/>
                    </a:lnTo>
                    <a:close/>
                    <a:moveTo>
                      <a:pt x="196" y="2505"/>
                    </a:moveTo>
                    <a:cubicBezTo>
                      <a:pt x="126" y="2371"/>
                      <a:pt x="126" y="2371"/>
                      <a:pt x="126" y="2371"/>
                    </a:cubicBezTo>
                    <a:cubicBezTo>
                      <a:pt x="76" y="2397"/>
                      <a:pt x="76" y="2397"/>
                      <a:pt x="76" y="2397"/>
                    </a:cubicBezTo>
                    <a:cubicBezTo>
                      <a:pt x="146" y="2531"/>
                      <a:pt x="146" y="2531"/>
                      <a:pt x="146" y="2531"/>
                    </a:cubicBezTo>
                    <a:lnTo>
                      <a:pt x="196" y="2505"/>
                    </a:lnTo>
                    <a:close/>
                    <a:moveTo>
                      <a:pt x="7651" y="506"/>
                    </a:moveTo>
                    <a:cubicBezTo>
                      <a:pt x="7564" y="383"/>
                      <a:pt x="7564" y="383"/>
                      <a:pt x="7564" y="383"/>
                    </a:cubicBezTo>
                    <a:cubicBezTo>
                      <a:pt x="7626" y="339"/>
                      <a:pt x="7626" y="339"/>
                      <a:pt x="7626" y="339"/>
                    </a:cubicBezTo>
                    <a:cubicBezTo>
                      <a:pt x="7629" y="344"/>
                      <a:pt x="7629" y="344"/>
                      <a:pt x="7629" y="344"/>
                    </a:cubicBezTo>
                    <a:cubicBezTo>
                      <a:pt x="7713" y="463"/>
                      <a:pt x="7713" y="463"/>
                      <a:pt x="7713" y="463"/>
                    </a:cubicBezTo>
                    <a:lnTo>
                      <a:pt x="7651" y="506"/>
                    </a:lnTo>
                    <a:close/>
                    <a:moveTo>
                      <a:pt x="7582" y="386"/>
                    </a:moveTo>
                    <a:cubicBezTo>
                      <a:pt x="7654" y="488"/>
                      <a:pt x="7654" y="488"/>
                      <a:pt x="7654" y="488"/>
                    </a:cubicBezTo>
                    <a:cubicBezTo>
                      <a:pt x="7694" y="460"/>
                      <a:pt x="7694" y="460"/>
                      <a:pt x="7694" y="460"/>
                    </a:cubicBezTo>
                    <a:cubicBezTo>
                      <a:pt x="7622" y="357"/>
                      <a:pt x="7622" y="357"/>
                      <a:pt x="7622" y="357"/>
                    </a:cubicBezTo>
                    <a:lnTo>
                      <a:pt x="7582" y="386"/>
                    </a:lnTo>
                    <a:close/>
                    <a:moveTo>
                      <a:pt x="1229" y="2638"/>
                    </a:moveTo>
                    <a:cubicBezTo>
                      <a:pt x="1229" y="2638"/>
                      <a:pt x="1229" y="2638"/>
                      <a:pt x="1229" y="2638"/>
                    </a:cubicBezTo>
                    <a:cubicBezTo>
                      <a:pt x="1229" y="2638"/>
                      <a:pt x="1229" y="2638"/>
                      <a:pt x="1229" y="2638"/>
                    </a:cubicBezTo>
                    <a:cubicBezTo>
                      <a:pt x="1229" y="2638"/>
                      <a:pt x="1229" y="2638"/>
                      <a:pt x="1229" y="2638"/>
                    </a:cubicBezTo>
                    <a:close/>
                    <a:moveTo>
                      <a:pt x="10551" y="9401"/>
                    </a:moveTo>
                    <a:cubicBezTo>
                      <a:pt x="10552" y="9512"/>
                      <a:pt x="10552" y="9512"/>
                      <a:pt x="10552" y="9512"/>
                    </a:cubicBezTo>
                    <a:cubicBezTo>
                      <a:pt x="10397" y="9513"/>
                      <a:pt x="10397" y="9513"/>
                      <a:pt x="10397" y="9513"/>
                    </a:cubicBezTo>
                    <a:cubicBezTo>
                      <a:pt x="10396" y="9402"/>
                      <a:pt x="10396" y="9402"/>
                      <a:pt x="10396" y="9402"/>
                    </a:cubicBezTo>
                    <a:cubicBezTo>
                      <a:pt x="10403" y="9402"/>
                      <a:pt x="10403" y="9402"/>
                      <a:pt x="10403" y="9402"/>
                    </a:cubicBezTo>
                    <a:lnTo>
                      <a:pt x="10551" y="9401"/>
                    </a:lnTo>
                    <a:close/>
                    <a:moveTo>
                      <a:pt x="10539" y="9499"/>
                    </a:moveTo>
                    <a:cubicBezTo>
                      <a:pt x="10538" y="9414"/>
                      <a:pt x="10538" y="9414"/>
                      <a:pt x="10538" y="9414"/>
                    </a:cubicBezTo>
                    <a:cubicBezTo>
                      <a:pt x="10409" y="9415"/>
                      <a:pt x="10409" y="9415"/>
                      <a:pt x="10409" y="9415"/>
                    </a:cubicBezTo>
                    <a:cubicBezTo>
                      <a:pt x="10410" y="9500"/>
                      <a:pt x="10410" y="9500"/>
                      <a:pt x="10410" y="9500"/>
                    </a:cubicBezTo>
                    <a:lnTo>
                      <a:pt x="10539" y="9499"/>
                    </a:lnTo>
                    <a:close/>
                    <a:moveTo>
                      <a:pt x="1227" y="2637"/>
                    </a:moveTo>
                    <a:cubicBezTo>
                      <a:pt x="1227" y="2637"/>
                      <a:pt x="1227" y="2637"/>
                      <a:pt x="1227" y="2637"/>
                    </a:cubicBezTo>
                    <a:cubicBezTo>
                      <a:pt x="1228" y="2637"/>
                      <a:pt x="1228" y="2637"/>
                      <a:pt x="1228" y="2637"/>
                    </a:cubicBezTo>
                    <a:cubicBezTo>
                      <a:pt x="1227" y="2637"/>
                      <a:pt x="1227" y="2637"/>
                      <a:pt x="1227" y="2637"/>
                    </a:cubicBezTo>
                    <a:close/>
                    <a:moveTo>
                      <a:pt x="8796" y="4057"/>
                    </a:moveTo>
                    <a:cubicBezTo>
                      <a:pt x="8796" y="4150"/>
                      <a:pt x="8796" y="4150"/>
                      <a:pt x="8796" y="4150"/>
                    </a:cubicBezTo>
                    <a:cubicBezTo>
                      <a:pt x="8861" y="4150"/>
                      <a:pt x="8861" y="4150"/>
                      <a:pt x="8861" y="4150"/>
                    </a:cubicBezTo>
                    <a:cubicBezTo>
                      <a:pt x="8861" y="4282"/>
                      <a:pt x="8861" y="4282"/>
                      <a:pt x="8861" y="4282"/>
                    </a:cubicBezTo>
                    <a:cubicBezTo>
                      <a:pt x="8318" y="4282"/>
                      <a:pt x="8318" y="4282"/>
                      <a:pt x="8318" y="4282"/>
                    </a:cubicBezTo>
                    <a:cubicBezTo>
                      <a:pt x="8318" y="4151"/>
                      <a:pt x="8318" y="4151"/>
                      <a:pt x="8318" y="4151"/>
                    </a:cubicBezTo>
                    <a:cubicBezTo>
                      <a:pt x="8381" y="4151"/>
                      <a:pt x="8381" y="4151"/>
                      <a:pt x="8381" y="4151"/>
                    </a:cubicBezTo>
                    <a:cubicBezTo>
                      <a:pt x="8381" y="4060"/>
                      <a:pt x="8381" y="4060"/>
                      <a:pt x="8381" y="4060"/>
                    </a:cubicBezTo>
                    <a:cubicBezTo>
                      <a:pt x="8316" y="4060"/>
                      <a:pt x="8316" y="4060"/>
                      <a:pt x="8316" y="4060"/>
                    </a:cubicBezTo>
                    <a:cubicBezTo>
                      <a:pt x="8316" y="3929"/>
                      <a:pt x="8316" y="3929"/>
                      <a:pt x="8316" y="3929"/>
                    </a:cubicBezTo>
                    <a:cubicBezTo>
                      <a:pt x="8860" y="3929"/>
                      <a:pt x="8860" y="3929"/>
                      <a:pt x="8860" y="3929"/>
                    </a:cubicBezTo>
                    <a:cubicBezTo>
                      <a:pt x="8860" y="3937"/>
                      <a:pt x="8860" y="3937"/>
                      <a:pt x="8860" y="3937"/>
                    </a:cubicBezTo>
                    <a:cubicBezTo>
                      <a:pt x="8862" y="4057"/>
                      <a:pt x="8862" y="4057"/>
                      <a:pt x="8862" y="4057"/>
                    </a:cubicBezTo>
                    <a:lnTo>
                      <a:pt x="8796" y="4057"/>
                    </a:lnTo>
                    <a:close/>
                    <a:moveTo>
                      <a:pt x="8782" y="4164"/>
                    </a:moveTo>
                    <a:cubicBezTo>
                      <a:pt x="8782" y="4043"/>
                      <a:pt x="8782" y="4043"/>
                      <a:pt x="8782" y="4043"/>
                    </a:cubicBezTo>
                    <a:cubicBezTo>
                      <a:pt x="8847" y="4043"/>
                      <a:pt x="8847" y="4043"/>
                      <a:pt x="8847" y="4043"/>
                    </a:cubicBezTo>
                    <a:cubicBezTo>
                      <a:pt x="8846" y="3944"/>
                      <a:pt x="8846" y="3944"/>
                      <a:pt x="8846" y="3944"/>
                    </a:cubicBezTo>
                    <a:cubicBezTo>
                      <a:pt x="8331" y="3944"/>
                      <a:pt x="8331" y="3944"/>
                      <a:pt x="8331" y="3944"/>
                    </a:cubicBezTo>
                    <a:cubicBezTo>
                      <a:pt x="8331" y="4045"/>
                      <a:pt x="8331" y="4045"/>
                      <a:pt x="8331" y="4045"/>
                    </a:cubicBezTo>
                    <a:cubicBezTo>
                      <a:pt x="8396" y="4045"/>
                      <a:pt x="8396" y="4045"/>
                      <a:pt x="8396" y="4045"/>
                    </a:cubicBezTo>
                    <a:cubicBezTo>
                      <a:pt x="8396" y="4166"/>
                      <a:pt x="8396" y="4166"/>
                      <a:pt x="8396" y="4166"/>
                    </a:cubicBezTo>
                    <a:cubicBezTo>
                      <a:pt x="8332" y="4166"/>
                      <a:pt x="8332" y="4166"/>
                      <a:pt x="8332" y="4166"/>
                    </a:cubicBezTo>
                    <a:cubicBezTo>
                      <a:pt x="8332" y="4267"/>
                      <a:pt x="8332" y="4267"/>
                      <a:pt x="8332" y="4267"/>
                    </a:cubicBezTo>
                    <a:cubicBezTo>
                      <a:pt x="8847" y="4267"/>
                      <a:pt x="8847" y="4267"/>
                      <a:pt x="8847" y="4267"/>
                    </a:cubicBezTo>
                    <a:cubicBezTo>
                      <a:pt x="8847" y="4164"/>
                      <a:pt x="8847" y="4164"/>
                      <a:pt x="8847" y="4164"/>
                    </a:cubicBezTo>
                    <a:lnTo>
                      <a:pt x="8782" y="4164"/>
                    </a:lnTo>
                    <a:close/>
                    <a:moveTo>
                      <a:pt x="2005" y="129"/>
                    </a:moveTo>
                    <a:cubicBezTo>
                      <a:pt x="1963" y="101"/>
                      <a:pt x="1963" y="101"/>
                      <a:pt x="1963" y="101"/>
                    </a:cubicBezTo>
                    <a:cubicBezTo>
                      <a:pt x="1905" y="187"/>
                      <a:pt x="1905" y="187"/>
                      <a:pt x="1905" y="187"/>
                    </a:cubicBezTo>
                    <a:cubicBezTo>
                      <a:pt x="1911" y="225"/>
                      <a:pt x="1911" y="225"/>
                      <a:pt x="1911" y="225"/>
                    </a:cubicBezTo>
                    <a:cubicBezTo>
                      <a:pt x="1872" y="278"/>
                      <a:pt x="1872" y="278"/>
                      <a:pt x="1872" y="278"/>
                    </a:cubicBezTo>
                    <a:cubicBezTo>
                      <a:pt x="1826" y="225"/>
                      <a:pt x="1826" y="225"/>
                      <a:pt x="1826" y="225"/>
                    </a:cubicBezTo>
                    <a:cubicBezTo>
                      <a:pt x="1835" y="136"/>
                      <a:pt x="1835" y="136"/>
                      <a:pt x="1835" y="136"/>
                    </a:cubicBezTo>
                    <a:cubicBezTo>
                      <a:pt x="1865" y="152"/>
                      <a:pt x="1865" y="152"/>
                      <a:pt x="1865" y="152"/>
                    </a:cubicBezTo>
                    <a:cubicBezTo>
                      <a:pt x="1991" y="0"/>
                      <a:pt x="1991" y="0"/>
                      <a:pt x="1991" y="0"/>
                    </a:cubicBezTo>
                    <a:cubicBezTo>
                      <a:pt x="1972" y="0"/>
                      <a:pt x="1972" y="0"/>
                      <a:pt x="1972" y="0"/>
                    </a:cubicBezTo>
                    <a:cubicBezTo>
                      <a:pt x="1861" y="133"/>
                      <a:pt x="1861" y="133"/>
                      <a:pt x="1861" y="133"/>
                    </a:cubicBezTo>
                    <a:cubicBezTo>
                      <a:pt x="1823" y="113"/>
                      <a:pt x="1823" y="113"/>
                      <a:pt x="1823" y="113"/>
                    </a:cubicBezTo>
                    <a:cubicBezTo>
                      <a:pt x="1810" y="230"/>
                      <a:pt x="1810" y="230"/>
                      <a:pt x="1810" y="230"/>
                    </a:cubicBezTo>
                    <a:cubicBezTo>
                      <a:pt x="1873" y="302"/>
                      <a:pt x="1873" y="302"/>
                      <a:pt x="1873" y="302"/>
                    </a:cubicBezTo>
                    <a:cubicBezTo>
                      <a:pt x="1927" y="228"/>
                      <a:pt x="1927" y="228"/>
                      <a:pt x="1927" y="228"/>
                    </a:cubicBezTo>
                    <a:cubicBezTo>
                      <a:pt x="1920" y="190"/>
                      <a:pt x="1920" y="190"/>
                      <a:pt x="1920" y="190"/>
                    </a:cubicBezTo>
                    <a:cubicBezTo>
                      <a:pt x="1967" y="122"/>
                      <a:pt x="1967" y="122"/>
                      <a:pt x="1967" y="122"/>
                    </a:cubicBezTo>
                    <a:cubicBezTo>
                      <a:pt x="2007" y="148"/>
                      <a:pt x="2007" y="148"/>
                      <a:pt x="2007" y="148"/>
                    </a:cubicBezTo>
                    <a:cubicBezTo>
                      <a:pt x="2168" y="4"/>
                      <a:pt x="2168" y="4"/>
                      <a:pt x="2168" y="4"/>
                    </a:cubicBezTo>
                    <a:cubicBezTo>
                      <a:pt x="2172" y="0"/>
                      <a:pt x="2172" y="0"/>
                      <a:pt x="2172" y="0"/>
                    </a:cubicBezTo>
                    <a:cubicBezTo>
                      <a:pt x="2150" y="0"/>
                      <a:pt x="2150" y="0"/>
                      <a:pt x="2150" y="0"/>
                    </a:cubicBezTo>
                    <a:lnTo>
                      <a:pt x="2005" y="129"/>
                    </a:lnTo>
                    <a:close/>
                    <a:moveTo>
                      <a:pt x="299" y="2401"/>
                    </a:moveTo>
                    <a:cubicBezTo>
                      <a:pt x="302" y="2347"/>
                      <a:pt x="302" y="2347"/>
                      <a:pt x="302" y="2347"/>
                    </a:cubicBezTo>
                    <a:cubicBezTo>
                      <a:pt x="260" y="2346"/>
                      <a:pt x="260" y="2346"/>
                      <a:pt x="260" y="2346"/>
                    </a:cubicBezTo>
                    <a:cubicBezTo>
                      <a:pt x="213" y="2259"/>
                      <a:pt x="213" y="2259"/>
                      <a:pt x="213" y="2259"/>
                    </a:cubicBezTo>
                    <a:cubicBezTo>
                      <a:pt x="225" y="2173"/>
                      <a:pt x="225" y="2173"/>
                      <a:pt x="225" y="2173"/>
                    </a:cubicBezTo>
                    <a:cubicBezTo>
                      <a:pt x="358" y="2125"/>
                      <a:pt x="358" y="2125"/>
                      <a:pt x="358" y="2125"/>
                    </a:cubicBezTo>
                    <a:cubicBezTo>
                      <a:pt x="398" y="2196"/>
                      <a:pt x="398" y="2196"/>
                      <a:pt x="398" y="2196"/>
                    </a:cubicBezTo>
                    <a:cubicBezTo>
                      <a:pt x="299" y="2197"/>
                      <a:pt x="299" y="2197"/>
                      <a:pt x="299" y="2197"/>
                    </a:cubicBezTo>
                    <a:cubicBezTo>
                      <a:pt x="292" y="2265"/>
                      <a:pt x="292" y="2265"/>
                      <a:pt x="292" y="2265"/>
                    </a:cubicBezTo>
                    <a:cubicBezTo>
                      <a:pt x="396" y="2265"/>
                      <a:pt x="396" y="2265"/>
                      <a:pt x="396" y="2265"/>
                    </a:cubicBezTo>
                    <a:cubicBezTo>
                      <a:pt x="383" y="2375"/>
                      <a:pt x="383" y="2375"/>
                      <a:pt x="383" y="2375"/>
                    </a:cubicBezTo>
                    <a:cubicBezTo>
                      <a:pt x="513" y="2647"/>
                      <a:pt x="513" y="2647"/>
                      <a:pt x="513" y="2647"/>
                    </a:cubicBezTo>
                    <a:cubicBezTo>
                      <a:pt x="445" y="2678"/>
                      <a:pt x="445" y="2678"/>
                      <a:pt x="445" y="2678"/>
                    </a:cubicBezTo>
                    <a:lnTo>
                      <a:pt x="299" y="2401"/>
                    </a:lnTo>
                    <a:close/>
                    <a:moveTo>
                      <a:pt x="303" y="2333"/>
                    </a:moveTo>
                    <a:cubicBezTo>
                      <a:pt x="317" y="2333"/>
                      <a:pt x="317" y="2333"/>
                      <a:pt x="317" y="2333"/>
                    </a:cubicBezTo>
                    <a:cubicBezTo>
                      <a:pt x="316" y="2348"/>
                      <a:pt x="316" y="2348"/>
                      <a:pt x="316" y="2348"/>
                    </a:cubicBezTo>
                    <a:cubicBezTo>
                      <a:pt x="313" y="2398"/>
                      <a:pt x="313" y="2398"/>
                      <a:pt x="313" y="2398"/>
                    </a:cubicBezTo>
                    <a:cubicBezTo>
                      <a:pt x="451" y="2660"/>
                      <a:pt x="451" y="2660"/>
                      <a:pt x="451" y="2660"/>
                    </a:cubicBezTo>
                    <a:cubicBezTo>
                      <a:pt x="494" y="2640"/>
                      <a:pt x="494" y="2640"/>
                      <a:pt x="494" y="2640"/>
                    </a:cubicBezTo>
                    <a:cubicBezTo>
                      <a:pt x="370" y="2381"/>
                      <a:pt x="370" y="2381"/>
                      <a:pt x="370" y="2381"/>
                    </a:cubicBezTo>
                    <a:cubicBezTo>
                      <a:pt x="368" y="2377"/>
                      <a:pt x="368" y="2377"/>
                      <a:pt x="368" y="2377"/>
                    </a:cubicBezTo>
                    <a:cubicBezTo>
                      <a:pt x="369" y="2373"/>
                      <a:pt x="369" y="2373"/>
                      <a:pt x="369" y="2373"/>
                    </a:cubicBezTo>
                    <a:cubicBezTo>
                      <a:pt x="380" y="2279"/>
                      <a:pt x="380" y="2279"/>
                      <a:pt x="380" y="2279"/>
                    </a:cubicBezTo>
                    <a:cubicBezTo>
                      <a:pt x="292" y="2279"/>
                      <a:pt x="292" y="2279"/>
                      <a:pt x="292" y="2279"/>
                    </a:cubicBezTo>
                    <a:cubicBezTo>
                      <a:pt x="276" y="2279"/>
                      <a:pt x="276" y="2279"/>
                      <a:pt x="276" y="2279"/>
                    </a:cubicBezTo>
                    <a:cubicBezTo>
                      <a:pt x="278" y="2263"/>
                      <a:pt x="278" y="2263"/>
                      <a:pt x="278" y="2263"/>
                    </a:cubicBezTo>
                    <a:cubicBezTo>
                      <a:pt x="285" y="2196"/>
                      <a:pt x="285" y="2196"/>
                      <a:pt x="285" y="2196"/>
                    </a:cubicBezTo>
                    <a:cubicBezTo>
                      <a:pt x="286" y="2183"/>
                      <a:pt x="286" y="2183"/>
                      <a:pt x="286" y="2183"/>
                    </a:cubicBezTo>
                    <a:cubicBezTo>
                      <a:pt x="299" y="2183"/>
                      <a:pt x="299" y="2183"/>
                      <a:pt x="299" y="2183"/>
                    </a:cubicBezTo>
                    <a:cubicBezTo>
                      <a:pt x="375" y="2182"/>
                      <a:pt x="375" y="2182"/>
                      <a:pt x="375" y="2182"/>
                    </a:cubicBezTo>
                    <a:cubicBezTo>
                      <a:pt x="352" y="2142"/>
                      <a:pt x="352" y="2142"/>
                      <a:pt x="352" y="2142"/>
                    </a:cubicBezTo>
                    <a:cubicBezTo>
                      <a:pt x="238" y="2183"/>
                      <a:pt x="238" y="2183"/>
                      <a:pt x="238" y="2183"/>
                    </a:cubicBezTo>
                    <a:cubicBezTo>
                      <a:pt x="227" y="2256"/>
                      <a:pt x="227" y="2256"/>
                      <a:pt x="227" y="2256"/>
                    </a:cubicBezTo>
                    <a:cubicBezTo>
                      <a:pt x="269" y="2332"/>
                      <a:pt x="269" y="2332"/>
                      <a:pt x="269" y="2332"/>
                    </a:cubicBezTo>
                    <a:lnTo>
                      <a:pt x="303" y="2333"/>
                    </a:lnTo>
                    <a:close/>
                    <a:moveTo>
                      <a:pt x="8719" y="4052"/>
                    </a:moveTo>
                    <a:cubicBezTo>
                      <a:pt x="8724" y="4163"/>
                      <a:pt x="8724" y="4163"/>
                      <a:pt x="8724" y="4163"/>
                    </a:cubicBezTo>
                    <a:cubicBezTo>
                      <a:pt x="8460" y="4163"/>
                      <a:pt x="8460" y="4163"/>
                      <a:pt x="8460" y="4163"/>
                    </a:cubicBezTo>
                    <a:cubicBezTo>
                      <a:pt x="8460" y="4045"/>
                      <a:pt x="8460" y="4045"/>
                      <a:pt x="8460" y="4045"/>
                    </a:cubicBezTo>
                    <a:cubicBezTo>
                      <a:pt x="8719" y="4045"/>
                      <a:pt x="8719" y="4045"/>
                      <a:pt x="8719" y="4045"/>
                    </a:cubicBezTo>
                    <a:lnTo>
                      <a:pt x="8719" y="4052"/>
                    </a:lnTo>
                    <a:close/>
                    <a:moveTo>
                      <a:pt x="8708" y="4148"/>
                    </a:moveTo>
                    <a:cubicBezTo>
                      <a:pt x="8705" y="4060"/>
                      <a:pt x="8705" y="4060"/>
                      <a:pt x="8705" y="4060"/>
                    </a:cubicBezTo>
                    <a:cubicBezTo>
                      <a:pt x="8474" y="4060"/>
                      <a:pt x="8474" y="4060"/>
                      <a:pt x="8474" y="4060"/>
                    </a:cubicBezTo>
                    <a:cubicBezTo>
                      <a:pt x="8474" y="4148"/>
                      <a:pt x="8474" y="4148"/>
                      <a:pt x="8474" y="4148"/>
                    </a:cubicBezTo>
                    <a:lnTo>
                      <a:pt x="8708" y="4148"/>
                    </a:lnTo>
                    <a:close/>
                    <a:moveTo>
                      <a:pt x="1228" y="2637"/>
                    </a:moveTo>
                    <a:cubicBezTo>
                      <a:pt x="1228" y="2637"/>
                      <a:pt x="1228" y="2637"/>
                      <a:pt x="1228" y="2637"/>
                    </a:cubicBezTo>
                    <a:cubicBezTo>
                      <a:pt x="1228" y="2637"/>
                      <a:pt x="1228" y="2637"/>
                      <a:pt x="1229" y="2637"/>
                    </a:cubicBezTo>
                    <a:lnTo>
                      <a:pt x="1228" y="2637"/>
                    </a:lnTo>
                    <a:close/>
                    <a:moveTo>
                      <a:pt x="1959" y="581"/>
                    </a:moveTo>
                    <a:cubicBezTo>
                      <a:pt x="1891" y="551"/>
                      <a:pt x="1891" y="551"/>
                      <a:pt x="1891" y="551"/>
                    </a:cubicBezTo>
                    <a:cubicBezTo>
                      <a:pt x="1911" y="385"/>
                      <a:pt x="1911" y="385"/>
                      <a:pt x="1911" y="385"/>
                    </a:cubicBezTo>
                    <a:cubicBezTo>
                      <a:pt x="1965" y="347"/>
                      <a:pt x="1965" y="347"/>
                      <a:pt x="1965" y="347"/>
                    </a:cubicBezTo>
                    <a:cubicBezTo>
                      <a:pt x="2004" y="375"/>
                      <a:pt x="2004" y="375"/>
                      <a:pt x="2004" y="375"/>
                    </a:cubicBezTo>
                    <a:cubicBezTo>
                      <a:pt x="2083" y="304"/>
                      <a:pt x="2083" y="304"/>
                      <a:pt x="2083" y="304"/>
                    </a:cubicBezTo>
                    <a:cubicBezTo>
                      <a:pt x="2055" y="264"/>
                      <a:pt x="2055" y="264"/>
                      <a:pt x="2055" y="264"/>
                    </a:cubicBezTo>
                    <a:cubicBezTo>
                      <a:pt x="2229" y="59"/>
                      <a:pt x="2229" y="59"/>
                      <a:pt x="2229" y="59"/>
                    </a:cubicBezTo>
                    <a:cubicBezTo>
                      <a:pt x="2344" y="131"/>
                      <a:pt x="2344" y="131"/>
                      <a:pt x="2344" y="131"/>
                    </a:cubicBezTo>
                    <a:cubicBezTo>
                      <a:pt x="2340" y="138"/>
                      <a:pt x="2340" y="138"/>
                      <a:pt x="2340" y="138"/>
                    </a:cubicBezTo>
                    <a:cubicBezTo>
                      <a:pt x="2192" y="369"/>
                      <a:pt x="2192" y="369"/>
                      <a:pt x="2192" y="369"/>
                    </a:cubicBezTo>
                    <a:cubicBezTo>
                      <a:pt x="2143" y="346"/>
                      <a:pt x="2143" y="346"/>
                      <a:pt x="2143" y="346"/>
                    </a:cubicBezTo>
                    <a:cubicBezTo>
                      <a:pt x="2089" y="410"/>
                      <a:pt x="2089" y="410"/>
                      <a:pt x="2089" y="410"/>
                    </a:cubicBezTo>
                    <a:cubicBezTo>
                      <a:pt x="2117" y="460"/>
                      <a:pt x="2117" y="460"/>
                      <a:pt x="2117" y="460"/>
                    </a:cubicBezTo>
                    <a:lnTo>
                      <a:pt x="1959" y="581"/>
                    </a:lnTo>
                    <a:close/>
                    <a:moveTo>
                      <a:pt x="1957" y="564"/>
                    </a:moveTo>
                    <a:cubicBezTo>
                      <a:pt x="2098" y="456"/>
                      <a:pt x="2098" y="456"/>
                      <a:pt x="2098" y="456"/>
                    </a:cubicBezTo>
                    <a:cubicBezTo>
                      <a:pt x="2071" y="408"/>
                      <a:pt x="2071" y="408"/>
                      <a:pt x="2071" y="408"/>
                    </a:cubicBezTo>
                    <a:cubicBezTo>
                      <a:pt x="2139" y="328"/>
                      <a:pt x="2139" y="328"/>
                      <a:pt x="2139" y="328"/>
                    </a:cubicBezTo>
                    <a:cubicBezTo>
                      <a:pt x="2187" y="350"/>
                      <a:pt x="2187" y="350"/>
                      <a:pt x="2187" y="350"/>
                    </a:cubicBezTo>
                    <a:cubicBezTo>
                      <a:pt x="2323" y="136"/>
                      <a:pt x="2323" y="136"/>
                      <a:pt x="2323" y="136"/>
                    </a:cubicBezTo>
                    <a:cubicBezTo>
                      <a:pt x="2232" y="78"/>
                      <a:pt x="2232" y="78"/>
                      <a:pt x="2232" y="78"/>
                    </a:cubicBezTo>
                    <a:cubicBezTo>
                      <a:pt x="2073" y="265"/>
                      <a:pt x="2073" y="265"/>
                      <a:pt x="2073" y="265"/>
                    </a:cubicBezTo>
                    <a:cubicBezTo>
                      <a:pt x="2102" y="307"/>
                      <a:pt x="2102" y="307"/>
                      <a:pt x="2102" y="307"/>
                    </a:cubicBezTo>
                    <a:cubicBezTo>
                      <a:pt x="2004" y="394"/>
                      <a:pt x="2004" y="394"/>
                      <a:pt x="2004" y="394"/>
                    </a:cubicBezTo>
                    <a:cubicBezTo>
                      <a:pt x="1965" y="365"/>
                      <a:pt x="1965" y="365"/>
                      <a:pt x="1965" y="365"/>
                    </a:cubicBezTo>
                    <a:cubicBezTo>
                      <a:pt x="1925" y="394"/>
                      <a:pt x="1925" y="394"/>
                      <a:pt x="1925" y="394"/>
                    </a:cubicBezTo>
                    <a:cubicBezTo>
                      <a:pt x="1907" y="542"/>
                      <a:pt x="1907" y="542"/>
                      <a:pt x="1907" y="542"/>
                    </a:cubicBezTo>
                    <a:lnTo>
                      <a:pt x="1957" y="564"/>
                    </a:lnTo>
                    <a:close/>
                    <a:moveTo>
                      <a:pt x="583" y="4010"/>
                    </a:moveTo>
                    <a:cubicBezTo>
                      <a:pt x="648" y="4060"/>
                      <a:pt x="648" y="4060"/>
                      <a:pt x="648" y="4060"/>
                    </a:cubicBezTo>
                    <a:cubicBezTo>
                      <a:pt x="640" y="4065"/>
                      <a:pt x="640" y="4065"/>
                      <a:pt x="640" y="4065"/>
                    </a:cubicBezTo>
                    <a:cubicBezTo>
                      <a:pt x="458" y="4194"/>
                      <a:pt x="458" y="4194"/>
                      <a:pt x="458" y="4194"/>
                    </a:cubicBezTo>
                    <a:cubicBezTo>
                      <a:pt x="172" y="3797"/>
                      <a:pt x="172" y="3797"/>
                      <a:pt x="172" y="3797"/>
                    </a:cubicBezTo>
                    <a:cubicBezTo>
                      <a:pt x="268" y="3768"/>
                      <a:pt x="268" y="3768"/>
                      <a:pt x="268" y="3768"/>
                    </a:cubicBezTo>
                    <a:cubicBezTo>
                      <a:pt x="337" y="3876"/>
                      <a:pt x="337" y="3876"/>
                      <a:pt x="337" y="3876"/>
                    </a:cubicBezTo>
                    <a:cubicBezTo>
                      <a:pt x="386" y="3853"/>
                      <a:pt x="386" y="3853"/>
                      <a:pt x="386" y="3853"/>
                    </a:cubicBezTo>
                    <a:cubicBezTo>
                      <a:pt x="447" y="3948"/>
                      <a:pt x="447" y="3948"/>
                      <a:pt x="447" y="3948"/>
                    </a:cubicBezTo>
                    <a:cubicBezTo>
                      <a:pt x="510" y="3922"/>
                      <a:pt x="510" y="3922"/>
                      <a:pt x="510" y="3922"/>
                    </a:cubicBezTo>
                    <a:cubicBezTo>
                      <a:pt x="552" y="3975"/>
                      <a:pt x="552" y="3975"/>
                      <a:pt x="552" y="3975"/>
                    </a:cubicBezTo>
                    <a:cubicBezTo>
                      <a:pt x="444" y="4042"/>
                      <a:pt x="444" y="4042"/>
                      <a:pt x="444" y="4042"/>
                    </a:cubicBezTo>
                    <a:cubicBezTo>
                      <a:pt x="472" y="4071"/>
                      <a:pt x="472" y="4071"/>
                      <a:pt x="472" y="4071"/>
                    </a:cubicBezTo>
                    <a:lnTo>
                      <a:pt x="583" y="4010"/>
                    </a:lnTo>
                    <a:close/>
                    <a:moveTo>
                      <a:pt x="623" y="4059"/>
                    </a:moveTo>
                    <a:cubicBezTo>
                      <a:pt x="582" y="4028"/>
                      <a:pt x="582" y="4028"/>
                      <a:pt x="582" y="4028"/>
                    </a:cubicBezTo>
                    <a:cubicBezTo>
                      <a:pt x="470" y="4089"/>
                      <a:pt x="470" y="4089"/>
                      <a:pt x="470" y="4089"/>
                    </a:cubicBezTo>
                    <a:cubicBezTo>
                      <a:pt x="420" y="4040"/>
                      <a:pt x="420" y="4040"/>
                      <a:pt x="420" y="4040"/>
                    </a:cubicBezTo>
                    <a:cubicBezTo>
                      <a:pt x="531" y="3972"/>
                      <a:pt x="531" y="3972"/>
                      <a:pt x="531" y="3972"/>
                    </a:cubicBezTo>
                    <a:cubicBezTo>
                      <a:pt x="505" y="3940"/>
                      <a:pt x="505" y="3940"/>
                      <a:pt x="505" y="3940"/>
                    </a:cubicBezTo>
                    <a:cubicBezTo>
                      <a:pt x="441" y="3966"/>
                      <a:pt x="441" y="3966"/>
                      <a:pt x="441" y="3966"/>
                    </a:cubicBezTo>
                    <a:cubicBezTo>
                      <a:pt x="381" y="3872"/>
                      <a:pt x="381" y="3872"/>
                      <a:pt x="381" y="3872"/>
                    </a:cubicBezTo>
                    <a:cubicBezTo>
                      <a:pt x="331" y="3895"/>
                      <a:pt x="331" y="3895"/>
                      <a:pt x="331" y="3895"/>
                    </a:cubicBezTo>
                    <a:cubicBezTo>
                      <a:pt x="262" y="3785"/>
                      <a:pt x="262" y="3785"/>
                      <a:pt x="262" y="3785"/>
                    </a:cubicBezTo>
                    <a:cubicBezTo>
                      <a:pt x="196" y="3805"/>
                      <a:pt x="196" y="3805"/>
                      <a:pt x="196" y="3805"/>
                    </a:cubicBezTo>
                    <a:cubicBezTo>
                      <a:pt x="461" y="4174"/>
                      <a:pt x="461" y="4174"/>
                      <a:pt x="461" y="4174"/>
                    </a:cubicBezTo>
                    <a:lnTo>
                      <a:pt x="623" y="4059"/>
                    </a:lnTo>
                    <a:close/>
                    <a:moveTo>
                      <a:pt x="2626" y="141"/>
                    </a:moveTo>
                    <a:cubicBezTo>
                      <a:pt x="2645" y="43"/>
                      <a:pt x="2645" y="43"/>
                      <a:pt x="2645" y="43"/>
                    </a:cubicBezTo>
                    <a:cubicBezTo>
                      <a:pt x="2770" y="84"/>
                      <a:pt x="2770" y="84"/>
                      <a:pt x="2770" y="84"/>
                    </a:cubicBezTo>
                    <a:cubicBezTo>
                      <a:pt x="2775" y="0"/>
                      <a:pt x="2775" y="0"/>
                      <a:pt x="2775" y="0"/>
                    </a:cubicBezTo>
                    <a:cubicBezTo>
                      <a:pt x="2761" y="0"/>
                      <a:pt x="2761" y="0"/>
                      <a:pt x="2761" y="0"/>
                    </a:cubicBezTo>
                    <a:cubicBezTo>
                      <a:pt x="2756" y="64"/>
                      <a:pt x="2756" y="64"/>
                      <a:pt x="2756" y="64"/>
                    </a:cubicBezTo>
                    <a:cubicBezTo>
                      <a:pt x="2634" y="23"/>
                      <a:pt x="2634" y="23"/>
                      <a:pt x="2634" y="23"/>
                    </a:cubicBezTo>
                    <a:cubicBezTo>
                      <a:pt x="2616" y="117"/>
                      <a:pt x="2616" y="117"/>
                      <a:pt x="2616" y="117"/>
                    </a:cubicBezTo>
                    <a:cubicBezTo>
                      <a:pt x="2531" y="64"/>
                      <a:pt x="2531" y="64"/>
                      <a:pt x="2531" y="64"/>
                    </a:cubicBezTo>
                    <a:cubicBezTo>
                      <a:pt x="2546" y="0"/>
                      <a:pt x="2546" y="0"/>
                      <a:pt x="2546" y="0"/>
                    </a:cubicBezTo>
                    <a:cubicBezTo>
                      <a:pt x="2530" y="0"/>
                      <a:pt x="2530" y="0"/>
                      <a:pt x="2530" y="0"/>
                    </a:cubicBezTo>
                    <a:cubicBezTo>
                      <a:pt x="2514" y="70"/>
                      <a:pt x="2514" y="70"/>
                      <a:pt x="2514" y="70"/>
                    </a:cubicBezTo>
                    <a:lnTo>
                      <a:pt x="2626" y="141"/>
                    </a:lnTo>
                    <a:close/>
                    <a:moveTo>
                      <a:pt x="2606" y="742"/>
                    </a:moveTo>
                    <a:cubicBezTo>
                      <a:pt x="2540" y="755"/>
                      <a:pt x="2540" y="755"/>
                      <a:pt x="2540" y="755"/>
                    </a:cubicBezTo>
                    <a:cubicBezTo>
                      <a:pt x="2727" y="347"/>
                      <a:pt x="2727" y="347"/>
                      <a:pt x="2727" y="347"/>
                    </a:cubicBezTo>
                    <a:cubicBezTo>
                      <a:pt x="2831" y="369"/>
                      <a:pt x="2831" y="369"/>
                      <a:pt x="2831" y="369"/>
                    </a:cubicBezTo>
                    <a:cubicBezTo>
                      <a:pt x="2832" y="373"/>
                      <a:pt x="2832" y="373"/>
                      <a:pt x="2832" y="373"/>
                    </a:cubicBezTo>
                    <a:cubicBezTo>
                      <a:pt x="2860" y="463"/>
                      <a:pt x="2860" y="463"/>
                      <a:pt x="2860" y="463"/>
                    </a:cubicBezTo>
                    <a:lnTo>
                      <a:pt x="2606" y="742"/>
                    </a:lnTo>
                    <a:close/>
                    <a:moveTo>
                      <a:pt x="2598" y="729"/>
                    </a:moveTo>
                    <a:cubicBezTo>
                      <a:pt x="2844" y="459"/>
                      <a:pt x="2844" y="459"/>
                      <a:pt x="2844" y="459"/>
                    </a:cubicBezTo>
                    <a:cubicBezTo>
                      <a:pt x="2819" y="382"/>
                      <a:pt x="2819" y="382"/>
                      <a:pt x="2819" y="382"/>
                    </a:cubicBezTo>
                    <a:cubicBezTo>
                      <a:pt x="2735" y="364"/>
                      <a:pt x="2735" y="364"/>
                      <a:pt x="2735" y="364"/>
                    </a:cubicBezTo>
                    <a:cubicBezTo>
                      <a:pt x="2565" y="735"/>
                      <a:pt x="2565" y="735"/>
                      <a:pt x="2565" y="735"/>
                    </a:cubicBezTo>
                    <a:lnTo>
                      <a:pt x="2598" y="729"/>
                    </a:lnTo>
                    <a:close/>
                    <a:moveTo>
                      <a:pt x="937" y="594"/>
                    </a:moveTo>
                    <a:cubicBezTo>
                      <a:pt x="992" y="568"/>
                      <a:pt x="992" y="568"/>
                      <a:pt x="992" y="568"/>
                    </a:cubicBezTo>
                    <a:cubicBezTo>
                      <a:pt x="977" y="525"/>
                      <a:pt x="977" y="525"/>
                      <a:pt x="977" y="525"/>
                    </a:cubicBezTo>
                    <a:cubicBezTo>
                      <a:pt x="1068" y="488"/>
                      <a:pt x="1068" y="488"/>
                      <a:pt x="1068" y="488"/>
                    </a:cubicBezTo>
                    <a:cubicBezTo>
                      <a:pt x="1102" y="586"/>
                      <a:pt x="1102" y="586"/>
                      <a:pt x="1102" y="586"/>
                    </a:cubicBezTo>
                    <a:cubicBezTo>
                      <a:pt x="1046" y="609"/>
                      <a:pt x="1046" y="609"/>
                      <a:pt x="1046" y="609"/>
                    </a:cubicBezTo>
                    <a:cubicBezTo>
                      <a:pt x="1053" y="628"/>
                      <a:pt x="1053" y="628"/>
                      <a:pt x="1053" y="628"/>
                    </a:cubicBezTo>
                    <a:cubicBezTo>
                      <a:pt x="1084" y="618"/>
                      <a:pt x="1084" y="618"/>
                      <a:pt x="1084" y="618"/>
                    </a:cubicBezTo>
                    <a:cubicBezTo>
                      <a:pt x="1117" y="717"/>
                      <a:pt x="1117" y="717"/>
                      <a:pt x="1117" y="717"/>
                    </a:cubicBezTo>
                    <a:cubicBezTo>
                      <a:pt x="1060" y="741"/>
                      <a:pt x="1060" y="741"/>
                      <a:pt x="1060" y="741"/>
                    </a:cubicBezTo>
                    <a:cubicBezTo>
                      <a:pt x="1073" y="783"/>
                      <a:pt x="1073" y="783"/>
                      <a:pt x="1073" y="783"/>
                    </a:cubicBezTo>
                    <a:cubicBezTo>
                      <a:pt x="985" y="818"/>
                      <a:pt x="985" y="818"/>
                      <a:pt x="985" y="818"/>
                    </a:cubicBezTo>
                    <a:cubicBezTo>
                      <a:pt x="950" y="724"/>
                      <a:pt x="950" y="724"/>
                      <a:pt x="950" y="724"/>
                    </a:cubicBezTo>
                    <a:cubicBezTo>
                      <a:pt x="1006" y="698"/>
                      <a:pt x="1006" y="698"/>
                      <a:pt x="1006" y="698"/>
                    </a:cubicBezTo>
                    <a:cubicBezTo>
                      <a:pt x="1000" y="680"/>
                      <a:pt x="1000" y="680"/>
                      <a:pt x="1000" y="680"/>
                    </a:cubicBezTo>
                    <a:cubicBezTo>
                      <a:pt x="968" y="689"/>
                      <a:pt x="968" y="689"/>
                      <a:pt x="968" y="689"/>
                    </a:cubicBezTo>
                    <a:lnTo>
                      <a:pt x="937" y="594"/>
                    </a:lnTo>
                    <a:close/>
                    <a:moveTo>
                      <a:pt x="1009" y="575"/>
                    </a:moveTo>
                    <a:cubicBezTo>
                      <a:pt x="998" y="581"/>
                      <a:pt x="998" y="581"/>
                      <a:pt x="998" y="581"/>
                    </a:cubicBezTo>
                    <a:cubicBezTo>
                      <a:pt x="954" y="601"/>
                      <a:pt x="954" y="601"/>
                      <a:pt x="954" y="601"/>
                    </a:cubicBezTo>
                    <a:cubicBezTo>
                      <a:pt x="977" y="672"/>
                      <a:pt x="977" y="672"/>
                      <a:pt x="977" y="672"/>
                    </a:cubicBezTo>
                    <a:cubicBezTo>
                      <a:pt x="996" y="666"/>
                      <a:pt x="996" y="666"/>
                      <a:pt x="996" y="666"/>
                    </a:cubicBezTo>
                    <a:cubicBezTo>
                      <a:pt x="1009" y="663"/>
                      <a:pt x="1009" y="663"/>
                      <a:pt x="1009" y="663"/>
                    </a:cubicBezTo>
                    <a:cubicBezTo>
                      <a:pt x="1013" y="675"/>
                      <a:pt x="1013" y="675"/>
                      <a:pt x="1013" y="675"/>
                    </a:cubicBezTo>
                    <a:cubicBezTo>
                      <a:pt x="1020" y="694"/>
                      <a:pt x="1020" y="694"/>
                      <a:pt x="1020" y="694"/>
                    </a:cubicBezTo>
                    <a:cubicBezTo>
                      <a:pt x="1024" y="706"/>
                      <a:pt x="1024" y="706"/>
                      <a:pt x="1024" y="706"/>
                    </a:cubicBezTo>
                    <a:cubicBezTo>
                      <a:pt x="1012" y="711"/>
                      <a:pt x="1012" y="711"/>
                      <a:pt x="1012" y="711"/>
                    </a:cubicBezTo>
                    <a:cubicBezTo>
                      <a:pt x="968" y="731"/>
                      <a:pt x="968" y="731"/>
                      <a:pt x="968" y="731"/>
                    </a:cubicBezTo>
                    <a:cubicBezTo>
                      <a:pt x="993" y="800"/>
                      <a:pt x="993" y="800"/>
                      <a:pt x="993" y="800"/>
                    </a:cubicBezTo>
                    <a:cubicBezTo>
                      <a:pt x="1056" y="775"/>
                      <a:pt x="1056" y="775"/>
                      <a:pt x="1056" y="775"/>
                    </a:cubicBezTo>
                    <a:cubicBezTo>
                      <a:pt x="1046" y="745"/>
                      <a:pt x="1046" y="745"/>
                      <a:pt x="1046" y="745"/>
                    </a:cubicBezTo>
                    <a:cubicBezTo>
                      <a:pt x="1043" y="733"/>
                      <a:pt x="1043" y="733"/>
                      <a:pt x="1043" y="733"/>
                    </a:cubicBezTo>
                    <a:cubicBezTo>
                      <a:pt x="1054" y="728"/>
                      <a:pt x="1054" y="728"/>
                      <a:pt x="1054" y="728"/>
                    </a:cubicBezTo>
                    <a:cubicBezTo>
                      <a:pt x="1100" y="709"/>
                      <a:pt x="1100" y="709"/>
                      <a:pt x="1100" y="709"/>
                    </a:cubicBezTo>
                    <a:cubicBezTo>
                      <a:pt x="1075" y="636"/>
                      <a:pt x="1075" y="636"/>
                      <a:pt x="1075" y="636"/>
                    </a:cubicBezTo>
                    <a:cubicBezTo>
                      <a:pt x="1058" y="642"/>
                      <a:pt x="1058" y="642"/>
                      <a:pt x="1058" y="642"/>
                    </a:cubicBezTo>
                    <a:cubicBezTo>
                      <a:pt x="1045" y="646"/>
                      <a:pt x="1045" y="646"/>
                      <a:pt x="1045" y="646"/>
                    </a:cubicBezTo>
                    <a:cubicBezTo>
                      <a:pt x="1040" y="633"/>
                      <a:pt x="1040" y="633"/>
                      <a:pt x="1040" y="633"/>
                    </a:cubicBezTo>
                    <a:cubicBezTo>
                      <a:pt x="1033" y="614"/>
                      <a:pt x="1033" y="614"/>
                      <a:pt x="1033" y="614"/>
                    </a:cubicBezTo>
                    <a:cubicBezTo>
                      <a:pt x="1029" y="601"/>
                      <a:pt x="1029" y="601"/>
                      <a:pt x="1029" y="601"/>
                    </a:cubicBezTo>
                    <a:cubicBezTo>
                      <a:pt x="1041" y="596"/>
                      <a:pt x="1041" y="596"/>
                      <a:pt x="1041" y="596"/>
                    </a:cubicBezTo>
                    <a:cubicBezTo>
                      <a:pt x="1084" y="578"/>
                      <a:pt x="1084" y="578"/>
                      <a:pt x="1084" y="578"/>
                    </a:cubicBezTo>
                    <a:cubicBezTo>
                      <a:pt x="1059" y="507"/>
                      <a:pt x="1059" y="507"/>
                      <a:pt x="1059" y="507"/>
                    </a:cubicBezTo>
                    <a:cubicBezTo>
                      <a:pt x="994" y="533"/>
                      <a:pt x="994" y="533"/>
                      <a:pt x="994" y="533"/>
                    </a:cubicBezTo>
                    <a:cubicBezTo>
                      <a:pt x="1005" y="563"/>
                      <a:pt x="1005" y="563"/>
                      <a:pt x="1005" y="563"/>
                    </a:cubicBezTo>
                    <a:lnTo>
                      <a:pt x="1009" y="575"/>
                    </a:lnTo>
                    <a:close/>
                    <a:moveTo>
                      <a:pt x="4133" y="129"/>
                    </a:moveTo>
                    <a:cubicBezTo>
                      <a:pt x="4090" y="124"/>
                      <a:pt x="4090" y="124"/>
                      <a:pt x="4090" y="124"/>
                    </a:cubicBezTo>
                    <a:cubicBezTo>
                      <a:pt x="4082" y="123"/>
                      <a:pt x="4082" y="123"/>
                      <a:pt x="4082" y="123"/>
                    </a:cubicBezTo>
                    <a:cubicBezTo>
                      <a:pt x="4077" y="131"/>
                      <a:pt x="4077" y="131"/>
                      <a:pt x="4077" y="131"/>
                    </a:cubicBezTo>
                    <a:cubicBezTo>
                      <a:pt x="4072" y="139"/>
                      <a:pt x="4072" y="139"/>
                      <a:pt x="4072" y="139"/>
                    </a:cubicBezTo>
                    <a:cubicBezTo>
                      <a:pt x="4052" y="125"/>
                      <a:pt x="4052" y="125"/>
                      <a:pt x="4052" y="125"/>
                    </a:cubicBezTo>
                    <a:cubicBezTo>
                      <a:pt x="4128" y="0"/>
                      <a:pt x="4128" y="0"/>
                      <a:pt x="4128" y="0"/>
                    </a:cubicBezTo>
                    <a:cubicBezTo>
                      <a:pt x="4111" y="0"/>
                      <a:pt x="4111" y="0"/>
                      <a:pt x="4111" y="0"/>
                    </a:cubicBezTo>
                    <a:cubicBezTo>
                      <a:pt x="4033" y="129"/>
                      <a:pt x="4033" y="129"/>
                      <a:pt x="4033" y="129"/>
                    </a:cubicBezTo>
                    <a:cubicBezTo>
                      <a:pt x="4076" y="159"/>
                      <a:pt x="4076" y="159"/>
                      <a:pt x="4076" y="159"/>
                    </a:cubicBezTo>
                    <a:cubicBezTo>
                      <a:pt x="4089" y="138"/>
                      <a:pt x="4089" y="138"/>
                      <a:pt x="4089" y="138"/>
                    </a:cubicBezTo>
                    <a:cubicBezTo>
                      <a:pt x="4144" y="144"/>
                      <a:pt x="4144" y="144"/>
                      <a:pt x="4144" y="144"/>
                    </a:cubicBezTo>
                    <a:cubicBezTo>
                      <a:pt x="4182" y="0"/>
                      <a:pt x="4182" y="0"/>
                      <a:pt x="4182" y="0"/>
                    </a:cubicBezTo>
                    <a:cubicBezTo>
                      <a:pt x="4168" y="0"/>
                      <a:pt x="4168" y="0"/>
                      <a:pt x="4168" y="0"/>
                    </a:cubicBezTo>
                    <a:lnTo>
                      <a:pt x="4133" y="129"/>
                    </a:lnTo>
                    <a:close/>
                    <a:moveTo>
                      <a:pt x="7589" y="24"/>
                    </a:moveTo>
                    <a:cubicBezTo>
                      <a:pt x="7565" y="0"/>
                      <a:pt x="7565" y="0"/>
                      <a:pt x="7565" y="0"/>
                    </a:cubicBezTo>
                    <a:cubicBezTo>
                      <a:pt x="7546" y="0"/>
                      <a:pt x="7546" y="0"/>
                      <a:pt x="7546" y="0"/>
                    </a:cubicBezTo>
                    <a:cubicBezTo>
                      <a:pt x="7584" y="38"/>
                      <a:pt x="7584" y="38"/>
                      <a:pt x="7584" y="38"/>
                    </a:cubicBezTo>
                    <a:cubicBezTo>
                      <a:pt x="7589" y="42"/>
                      <a:pt x="7589" y="42"/>
                      <a:pt x="7589" y="42"/>
                    </a:cubicBezTo>
                    <a:cubicBezTo>
                      <a:pt x="7630" y="0"/>
                      <a:pt x="7630" y="0"/>
                      <a:pt x="7630" y="0"/>
                    </a:cubicBezTo>
                    <a:cubicBezTo>
                      <a:pt x="7612" y="0"/>
                      <a:pt x="7612" y="0"/>
                      <a:pt x="7612" y="0"/>
                    </a:cubicBezTo>
                    <a:lnTo>
                      <a:pt x="7589" y="24"/>
                    </a:lnTo>
                    <a:close/>
                    <a:moveTo>
                      <a:pt x="3701" y="10402"/>
                    </a:moveTo>
                    <a:cubicBezTo>
                      <a:pt x="3688" y="10404"/>
                      <a:pt x="3688" y="10404"/>
                      <a:pt x="3688" y="10404"/>
                    </a:cubicBezTo>
                    <a:cubicBezTo>
                      <a:pt x="3697" y="10458"/>
                      <a:pt x="3697" y="10458"/>
                      <a:pt x="3697" y="10458"/>
                    </a:cubicBezTo>
                    <a:cubicBezTo>
                      <a:pt x="3489" y="10494"/>
                      <a:pt x="3489" y="10494"/>
                      <a:pt x="3489" y="10494"/>
                    </a:cubicBezTo>
                    <a:cubicBezTo>
                      <a:pt x="3475" y="10416"/>
                      <a:pt x="3475" y="10416"/>
                      <a:pt x="3475" y="10416"/>
                    </a:cubicBezTo>
                    <a:cubicBezTo>
                      <a:pt x="3561" y="10402"/>
                      <a:pt x="3561" y="10402"/>
                      <a:pt x="3561" y="10402"/>
                    </a:cubicBezTo>
                    <a:cubicBezTo>
                      <a:pt x="3558" y="10387"/>
                      <a:pt x="3558" y="10387"/>
                      <a:pt x="3558" y="10387"/>
                    </a:cubicBezTo>
                    <a:cubicBezTo>
                      <a:pt x="3371" y="10419"/>
                      <a:pt x="3371" y="10419"/>
                      <a:pt x="3371" y="10419"/>
                    </a:cubicBezTo>
                    <a:cubicBezTo>
                      <a:pt x="3359" y="10344"/>
                      <a:pt x="3359" y="10344"/>
                      <a:pt x="3359" y="10344"/>
                    </a:cubicBezTo>
                    <a:cubicBezTo>
                      <a:pt x="3428" y="10332"/>
                      <a:pt x="3428" y="10332"/>
                      <a:pt x="3428" y="10332"/>
                    </a:cubicBezTo>
                    <a:cubicBezTo>
                      <a:pt x="3415" y="10257"/>
                      <a:pt x="3415" y="10257"/>
                      <a:pt x="3415" y="10257"/>
                    </a:cubicBezTo>
                    <a:cubicBezTo>
                      <a:pt x="3562" y="10232"/>
                      <a:pt x="3562" y="10232"/>
                      <a:pt x="3562" y="10232"/>
                    </a:cubicBezTo>
                    <a:cubicBezTo>
                      <a:pt x="3577" y="10322"/>
                      <a:pt x="3577" y="10322"/>
                      <a:pt x="3577" y="10322"/>
                    </a:cubicBezTo>
                    <a:cubicBezTo>
                      <a:pt x="3684" y="10304"/>
                      <a:pt x="3684" y="10304"/>
                      <a:pt x="3684" y="10304"/>
                    </a:cubicBezTo>
                    <a:cubicBezTo>
                      <a:pt x="3685" y="10310"/>
                      <a:pt x="3685" y="10310"/>
                      <a:pt x="3685" y="10310"/>
                    </a:cubicBezTo>
                    <a:lnTo>
                      <a:pt x="3701" y="10402"/>
                    </a:lnTo>
                    <a:close/>
                    <a:moveTo>
                      <a:pt x="3672" y="10393"/>
                    </a:moveTo>
                    <a:cubicBezTo>
                      <a:pt x="3685" y="10391"/>
                      <a:pt x="3685" y="10391"/>
                      <a:pt x="3685" y="10391"/>
                    </a:cubicBezTo>
                    <a:cubicBezTo>
                      <a:pt x="3673" y="10319"/>
                      <a:pt x="3673" y="10319"/>
                      <a:pt x="3673" y="10319"/>
                    </a:cubicBezTo>
                    <a:cubicBezTo>
                      <a:pt x="3566" y="10338"/>
                      <a:pt x="3566" y="10338"/>
                      <a:pt x="3566" y="10338"/>
                    </a:cubicBezTo>
                    <a:cubicBezTo>
                      <a:pt x="3551" y="10247"/>
                      <a:pt x="3551" y="10247"/>
                      <a:pt x="3551" y="10247"/>
                    </a:cubicBezTo>
                    <a:cubicBezTo>
                      <a:pt x="3430" y="10268"/>
                      <a:pt x="3430" y="10268"/>
                      <a:pt x="3430" y="10268"/>
                    </a:cubicBezTo>
                    <a:cubicBezTo>
                      <a:pt x="3443" y="10343"/>
                      <a:pt x="3443" y="10343"/>
                      <a:pt x="3443" y="10343"/>
                    </a:cubicBezTo>
                    <a:cubicBezTo>
                      <a:pt x="3374" y="10355"/>
                      <a:pt x="3374" y="10355"/>
                      <a:pt x="3374" y="10355"/>
                    </a:cubicBezTo>
                    <a:cubicBezTo>
                      <a:pt x="3382" y="10403"/>
                      <a:pt x="3382" y="10403"/>
                      <a:pt x="3382" y="10403"/>
                    </a:cubicBezTo>
                    <a:cubicBezTo>
                      <a:pt x="3569" y="10371"/>
                      <a:pt x="3569" y="10371"/>
                      <a:pt x="3569" y="10371"/>
                    </a:cubicBezTo>
                    <a:cubicBezTo>
                      <a:pt x="3576" y="10413"/>
                      <a:pt x="3576" y="10413"/>
                      <a:pt x="3576" y="10413"/>
                    </a:cubicBezTo>
                    <a:cubicBezTo>
                      <a:pt x="3491" y="10427"/>
                      <a:pt x="3491" y="10427"/>
                      <a:pt x="3491" y="10427"/>
                    </a:cubicBezTo>
                    <a:cubicBezTo>
                      <a:pt x="3500" y="10478"/>
                      <a:pt x="3500" y="10478"/>
                      <a:pt x="3500" y="10478"/>
                    </a:cubicBezTo>
                    <a:cubicBezTo>
                      <a:pt x="3681" y="10447"/>
                      <a:pt x="3681" y="10447"/>
                      <a:pt x="3681" y="10447"/>
                    </a:cubicBezTo>
                    <a:lnTo>
                      <a:pt x="3672" y="10393"/>
                    </a:lnTo>
                    <a:close/>
                    <a:moveTo>
                      <a:pt x="161" y="6734"/>
                    </a:moveTo>
                    <a:cubicBezTo>
                      <a:pt x="422" y="6895"/>
                      <a:pt x="422" y="6895"/>
                      <a:pt x="422" y="6895"/>
                    </a:cubicBezTo>
                    <a:cubicBezTo>
                      <a:pt x="411" y="6901"/>
                      <a:pt x="411" y="6901"/>
                      <a:pt x="411" y="6901"/>
                    </a:cubicBezTo>
                    <a:cubicBezTo>
                      <a:pt x="352" y="6939"/>
                      <a:pt x="352" y="6939"/>
                      <a:pt x="352" y="6939"/>
                    </a:cubicBezTo>
                    <a:cubicBezTo>
                      <a:pt x="231" y="6874"/>
                      <a:pt x="231" y="6874"/>
                      <a:pt x="231" y="6874"/>
                    </a:cubicBezTo>
                    <a:cubicBezTo>
                      <a:pt x="157" y="6931"/>
                      <a:pt x="157" y="6931"/>
                      <a:pt x="157" y="6931"/>
                    </a:cubicBezTo>
                    <a:cubicBezTo>
                      <a:pt x="217" y="7015"/>
                      <a:pt x="217" y="7015"/>
                      <a:pt x="217" y="7015"/>
                    </a:cubicBezTo>
                    <a:cubicBezTo>
                      <a:pt x="182" y="7040"/>
                      <a:pt x="182" y="7040"/>
                      <a:pt x="182" y="7040"/>
                    </a:cubicBezTo>
                    <a:cubicBezTo>
                      <a:pt x="73" y="6968"/>
                      <a:pt x="73" y="6968"/>
                      <a:pt x="73" y="6968"/>
                    </a:cubicBezTo>
                    <a:lnTo>
                      <a:pt x="161" y="6734"/>
                    </a:lnTo>
                    <a:close/>
                    <a:moveTo>
                      <a:pt x="169" y="6756"/>
                    </a:moveTo>
                    <a:cubicBezTo>
                      <a:pt x="91" y="6962"/>
                      <a:pt x="91" y="6962"/>
                      <a:pt x="91" y="6962"/>
                    </a:cubicBezTo>
                    <a:cubicBezTo>
                      <a:pt x="182" y="7022"/>
                      <a:pt x="182" y="7022"/>
                      <a:pt x="182" y="7022"/>
                    </a:cubicBezTo>
                    <a:cubicBezTo>
                      <a:pt x="196" y="7012"/>
                      <a:pt x="196" y="7012"/>
                      <a:pt x="196" y="7012"/>
                    </a:cubicBezTo>
                    <a:cubicBezTo>
                      <a:pt x="137" y="6929"/>
                      <a:pt x="137" y="6929"/>
                      <a:pt x="137" y="6929"/>
                    </a:cubicBezTo>
                    <a:cubicBezTo>
                      <a:pt x="230" y="6856"/>
                      <a:pt x="230" y="6856"/>
                      <a:pt x="230" y="6856"/>
                    </a:cubicBezTo>
                    <a:cubicBezTo>
                      <a:pt x="351" y="6922"/>
                      <a:pt x="351" y="6922"/>
                      <a:pt x="351" y="6922"/>
                    </a:cubicBezTo>
                    <a:cubicBezTo>
                      <a:pt x="394" y="6895"/>
                      <a:pt x="394" y="6895"/>
                      <a:pt x="394" y="6895"/>
                    </a:cubicBezTo>
                    <a:lnTo>
                      <a:pt x="169" y="6756"/>
                    </a:lnTo>
                    <a:close/>
                    <a:moveTo>
                      <a:pt x="4008" y="22"/>
                    </a:moveTo>
                    <a:cubicBezTo>
                      <a:pt x="3937" y="33"/>
                      <a:pt x="3937" y="33"/>
                      <a:pt x="3937" y="33"/>
                    </a:cubicBezTo>
                    <a:cubicBezTo>
                      <a:pt x="3930" y="0"/>
                      <a:pt x="3930" y="0"/>
                      <a:pt x="3930" y="0"/>
                    </a:cubicBezTo>
                    <a:cubicBezTo>
                      <a:pt x="3916" y="0"/>
                      <a:pt x="3916" y="0"/>
                      <a:pt x="3916" y="0"/>
                    </a:cubicBezTo>
                    <a:cubicBezTo>
                      <a:pt x="3926" y="49"/>
                      <a:pt x="3926" y="49"/>
                      <a:pt x="3926" y="49"/>
                    </a:cubicBezTo>
                    <a:cubicBezTo>
                      <a:pt x="4024" y="34"/>
                      <a:pt x="4024" y="34"/>
                      <a:pt x="4024" y="34"/>
                    </a:cubicBezTo>
                    <a:cubicBezTo>
                      <a:pt x="4019" y="0"/>
                      <a:pt x="4019" y="0"/>
                      <a:pt x="4019" y="0"/>
                    </a:cubicBezTo>
                    <a:cubicBezTo>
                      <a:pt x="4005" y="0"/>
                      <a:pt x="4005" y="0"/>
                      <a:pt x="4005" y="0"/>
                    </a:cubicBezTo>
                    <a:lnTo>
                      <a:pt x="4008" y="22"/>
                    </a:lnTo>
                    <a:close/>
                    <a:moveTo>
                      <a:pt x="3893" y="344"/>
                    </a:moveTo>
                    <a:cubicBezTo>
                      <a:pt x="3936" y="299"/>
                      <a:pt x="3936" y="299"/>
                      <a:pt x="3936" y="299"/>
                    </a:cubicBezTo>
                    <a:cubicBezTo>
                      <a:pt x="3917" y="274"/>
                      <a:pt x="3917" y="274"/>
                      <a:pt x="3917" y="274"/>
                    </a:cubicBezTo>
                    <a:cubicBezTo>
                      <a:pt x="3966" y="229"/>
                      <a:pt x="3966" y="229"/>
                      <a:pt x="3966" y="229"/>
                    </a:cubicBezTo>
                    <a:cubicBezTo>
                      <a:pt x="3984" y="245"/>
                      <a:pt x="3984" y="245"/>
                      <a:pt x="3984" y="245"/>
                    </a:cubicBezTo>
                    <a:cubicBezTo>
                      <a:pt x="4030" y="205"/>
                      <a:pt x="4030" y="205"/>
                      <a:pt x="4030" y="205"/>
                    </a:cubicBezTo>
                    <a:cubicBezTo>
                      <a:pt x="4093" y="269"/>
                      <a:pt x="4093" y="269"/>
                      <a:pt x="4093" y="269"/>
                    </a:cubicBezTo>
                    <a:cubicBezTo>
                      <a:pt x="4046" y="316"/>
                      <a:pt x="4046" y="316"/>
                      <a:pt x="4046" y="316"/>
                    </a:cubicBezTo>
                    <a:cubicBezTo>
                      <a:pt x="4021" y="296"/>
                      <a:pt x="4021" y="296"/>
                      <a:pt x="4021" y="296"/>
                    </a:cubicBezTo>
                    <a:cubicBezTo>
                      <a:pt x="3983" y="338"/>
                      <a:pt x="3983" y="338"/>
                      <a:pt x="3983" y="338"/>
                    </a:cubicBezTo>
                    <a:cubicBezTo>
                      <a:pt x="4001" y="360"/>
                      <a:pt x="4001" y="360"/>
                      <a:pt x="4001" y="360"/>
                    </a:cubicBezTo>
                    <a:cubicBezTo>
                      <a:pt x="3953" y="408"/>
                      <a:pt x="3953" y="408"/>
                      <a:pt x="3953" y="408"/>
                    </a:cubicBezTo>
                    <a:lnTo>
                      <a:pt x="3893" y="344"/>
                    </a:lnTo>
                    <a:close/>
                    <a:moveTo>
                      <a:pt x="3955" y="300"/>
                    </a:moveTo>
                    <a:cubicBezTo>
                      <a:pt x="3946" y="309"/>
                      <a:pt x="3946" y="309"/>
                      <a:pt x="3946" y="309"/>
                    </a:cubicBezTo>
                    <a:cubicBezTo>
                      <a:pt x="3912" y="344"/>
                      <a:pt x="3912" y="344"/>
                      <a:pt x="3912" y="344"/>
                    </a:cubicBezTo>
                    <a:cubicBezTo>
                      <a:pt x="3954" y="388"/>
                      <a:pt x="3954" y="388"/>
                      <a:pt x="3954" y="388"/>
                    </a:cubicBezTo>
                    <a:cubicBezTo>
                      <a:pt x="3982" y="359"/>
                      <a:pt x="3982" y="359"/>
                      <a:pt x="3982" y="359"/>
                    </a:cubicBezTo>
                    <a:cubicBezTo>
                      <a:pt x="3972" y="347"/>
                      <a:pt x="3972" y="347"/>
                      <a:pt x="3972" y="347"/>
                    </a:cubicBezTo>
                    <a:cubicBezTo>
                      <a:pt x="3965" y="338"/>
                      <a:pt x="3965" y="338"/>
                      <a:pt x="3965" y="338"/>
                    </a:cubicBezTo>
                    <a:cubicBezTo>
                      <a:pt x="3973" y="329"/>
                      <a:pt x="3973" y="329"/>
                      <a:pt x="3973" y="329"/>
                    </a:cubicBezTo>
                    <a:cubicBezTo>
                      <a:pt x="4010" y="286"/>
                      <a:pt x="4010" y="286"/>
                      <a:pt x="4010" y="286"/>
                    </a:cubicBezTo>
                    <a:cubicBezTo>
                      <a:pt x="4019" y="276"/>
                      <a:pt x="4019" y="276"/>
                      <a:pt x="4019" y="276"/>
                    </a:cubicBezTo>
                    <a:cubicBezTo>
                      <a:pt x="4030" y="285"/>
                      <a:pt x="4030" y="285"/>
                      <a:pt x="4030" y="285"/>
                    </a:cubicBezTo>
                    <a:cubicBezTo>
                      <a:pt x="4045" y="297"/>
                      <a:pt x="4045" y="297"/>
                      <a:pt x="4045" y="297"/>
                    </a:cubicBezTo>
                    <a:cubicBezTo>
                      <a:pt x="4073" y="269"/>
                      <a:pt x="4073" y="269"/>
                      <a:pt x="4073" y="269"/>
                    </a:cubicBezTo>
                    <a:cubicBezTo>
                      <a:pt x="4029" y="224"/>
                      <a:pt x="4029" y="224"/>
                      <a:pt x="4029" y="224"/>
                    </a:cubicBezTo>
                    <a:cubicBezTo>
                      <a:pt x="3993" y="256"/>
                      <a:pt x="3993" y="256"/>
                      <a:pt x="3993" y="256"/>
                    </a:cubicBezTo>
                    <a:cubicBezTo>
                      <a:pt x="3984" y="264"/>
                      <a:pt x="3984" y="264"/>
                      <a:pt x="3984" y="264"/>
                    </a:cubicBezTo>
                    <a:cubicBezTo>
                      <a:pt x="3975" y="256"/>
                      <a:pt x="3975" y="256"/>
                      <a:pt x="3975" y="256"/>
                    </a:cubicBezTo>
                    <a:cubicBezTo>
                      <a:pt x="3966" y="248"/>
                      <a:pt x="3966" y="248"/>
                      <a:pt x="3966" y="248"/>
                    </a:cubicBezTo>
                    <a:cubicBezTo>
                      <a:pt x="3936" y="276"/>
                      <a:pt x="3936" y="276"/>
                      <a:pt x="3936" y="276"/>
                    </a:cubicBezTo>
                    <a:cubicBezTo>
                      <a:pt x="3947" y="290"/>
                      <a:pt x="3947" y="290"/>
                      <a:pt x="3947" y="290"/>
                    </a:cubicBezTo>
                    <a:lnTo>
                      <a:pt x="3955" y="300"/>
                    </a:lnTo>
                    <a:close/>
                    <a:moveTo>
                      <a:pt x="1124" y="470"/>
                    </a:moveTo>
                    <a:cubicBezTo>
                      <a:pt x="976" y="340"/>
                      <a:pt x="976" y="340"/>
                      <a:pt x="976" y="340"/>
                    </a:cubicBezTo>
                    <a:cubicBezTo>
                      <a:pt x="1042" y="159"/>
                      <a:pt x="1042" y="159"/>
                      <a:pt x="1042" y="159"/>
                    </a:cubicBezTo>
                    <a:cubicBezTo>
                      <a:pt x="1245" y="333"/>
                      <a:pt x="1245" y="333"/>
                      <a:pt x="1245" y="333"/>
                    </a:cubicBezTo>
                    <a:cubicBezTo>
                      <a:pt x="1363" y="194"/>
                      <a:pt x="1363" y="194"/>
                      <a:pt x="1363" y="194"/>
                    </a:cubicBezTo>
                    <a:cubicBezTo>
                      <a:pt x="1506" y="287"/>
                      <a:pt x="1506" y="287"/>
                      <a:pt x="1506" y="287"/>
                    </a:cubicBezTo>
                    <a:cubicBezTo>
                      <a:pt x="1419" y="413"/>
                      <a:pt x="1419" y="413"/>
                      <a:pt x="1419" y="413"/>
                    </a:cubicBezTo>
                    <a:cubicBezTo>
                      <a:pt x="1345" y="413"/>
                      <a:pt x="1345" y="413"/>
                      <a:pt x="1345" y="413"/>
                    </a:cubicBezTo>
                    <a:cubicBezTo>
                      <a:pt x="1313" y="457"/>
                      <a:pt x="1313" y="457"/>
                      <a:pt x="1313" y="457"/>
                    </a:cubicBezTo>
                    <a:cubicBezTo>
                      <a:pt x="1326" y="533"/>
                      <a:pt x="1326" y="533"/>
                      <a:pt x="1326" y="533"/>
                    </a:cubicBezTo>
                    <a:cubicBezTo>
                      <a:pt x="1263" y="628"/>
                      <a:pt x="1263" y="628"/>
                      <a:pt x="1263" y="628"/>
                    </a:cubicBezTo>
                    <a:cubicBezTo>
                      <a:pt x="1198" y="674"/>
                      <a:pt x="1198" y="674"/>
                      <a:pt x="1198" y="674"/>
                    </a:cubicBezTo>
                    <a:lnTo>
                      <a:pt x="1124" y="470"/>
                    </a:lnTo>
                    <a:close/>
                    <a:moveTo>
                      <a:pt x="992" y="336"/>
                    </a:moveTo>
                    <a:cubicBezTo>
                      <a:pt x="1133" y="460"/>
                      <a:pt x="1133" y="460"/>
                      <a:pt x="1133" y="460"/>
                    </a:cubicBezTo>
                    <a:cubicBezTo>
                      <a:pt x="1136" y="462"/>
                      <a:pt x="1136" y="462"/>
                      <a:pt x="1136" y="462"/>
                    </a:cubicBezTo>
                    <a:cubicBezTo>
                      <a:pt x="1137" y="465"/>
                      <a:pt x="1137" y="465"/>
                      <a:pt x="1137" y="465"/>
                    </a:cubicBezTo>
                    <a:cubicBezTo>
                      <a:pt x="1205" y="652"/>
                      <a:pt x="1205" y="652"/>
                      <a:pt x="1205" y="652"/>
                    </a:cubicBezTo>
                    <a:cubicBezTo>
                      <a:pt x="1253" y="618"/>
                      <a:pt x="1253" y="618"/>
                      <a:pt x="1253" y="618"/>
                    </a:cubicBezTo>
                    <a:cubicBezTo>
                      <a:pt x="1311" y="530"/>
                      <a:pt x="1311" y="530"/>
                      <a:pt x="1311" y="530"/>
                    </a:cubicBezTo>
                    <a:cubicBezTo>
                      <a:pt x="1299" y="460"/>
                      <a:pt x="1299" y="460"/>
                      <a:pt x="1299" y="460"/>
                    </a:cubicBezTo>
                    <a:cubicBezTo>
                      <a:pt x="1298" y="454"/>
                      <a:pt x="1298" y="454"/>
                      <a:pt x="1298" y="454"/>
                    </a:cubicBezTo>
                    <a:cubicBezTo>
                      <a:pt x="1301" y="449"/>
                      <a:pt x="1301" y="449"/>
                      <a:pt x="1301" y="449"/>
                    </a:cubicBezTo>
                    <a:cubicBezTo>
                      <a:pt x="1333" y="405"/>
                      <a:pt x="1333" y="405"/>
                      <a:pt x="1333" y="405"/>
                    </a:cubicBezTo>
                    <a:cubicBezTo>
                      <a:pt x="1337" y="399"/>
                      <a:pt x="1337" y="399"/>
                      <a:pt x="1337" y="399"/>
                    </a:cubicBezTo>
                    <a:cubicBezTo>
                      <a:pt x="1345" y="399"/>
                      <a:pt x="1345" y="399"/>
                      <a:pt x="1345" y="399"/>
                    </a:cubicBezTo>
                    <a:cubicBezTo>
                      <a:pt x="1412" y="399"/>
                      <a:pt x="1412" y="399"/>
                      <a:pt x="1412" y="399"/>
                    </a:cubicBezTo>
                    <a:cubicBezTo>
                      <a:pt x="1487" y="291"/>
                      <a:pt x="1487" y="291"/>
                      <a:pt x="1487" y="291"/>
                    </a:cubicBezTo>
                    <a:cubicBezTo>
                      <a:pt x="1366" y="212"/>
                      <a:pt x="1366" y="212"/>
                      <a:pt x="1366" y="212"/>
                    </a:cubicBezTo>
                    <a:cubicBezTo>
                      <a:pt x="1256" y="342"/>
                      <a:pt x="1256" y="342"/>
                      <a:pt x="1256" y="342"/>
                    </a:cubicBezTo>
                    <a:cubicBezTo>
                      <a:pt x="1247" y="352"/>
                      <a:pt x="1247" y="352"/>
                      <a:pt x="1247" y="352"/>
                    </a:cubicBezTo>
                    <a:cubicBezTo>
                      <a:pt x="1236" y="343"/>
                      <a:pt x="1236" y="343"/>
                      <a:pt x="1236" y="343"/>
                    </a:cubicBezTo>
                    <a:cubicBezTo>
                      <a:pt x="1048" y="183"/>
                      <a:pt x="1048" y="183"/>
                      <a:pt x="1048" y="183"/>
                    </a:cubicBezTo>
                    <a:lnTo>
                      <a:pt x="992" y="336"/>
                    </a:lnTo>
                    <a:close/>
                    <a:moveTo>
                      <a:pt x="3011" y="445"/>
                    </a:moveTo>
                    <a:cubicBezTo>
                      <a:pt x="2993" y="328"/>
                      <a:pt x="2993" y="328"/>
                      <a:pt x="2993" y="328"/>
                    </a:cubicBezTo>
                    <a:cubicBezTo>
                      <a:pt x="3000" y="327"/>
                      <a:pt x="3000" y="327"/>
                      <a:pt x="3000" y="327"/>
                    </a:cubicBezTo>
                    <a:cubicBezTo>
                      <a:pt x="3001" y="327"/>
                      <a:pt x="3001" y="327"/>
                      <a:pt x="3001" y="327"/>
                    </a:cubicBezTo>
                    <a:cubicBezTo>
                      <a:pt x="3004" y="327"/>
                      <a:pt x="3053" y="327"/>
                      <a:pt x="3102" y="304"/>
                    </a:cubicBezTo>
                    <a:cubicBezTo>
                      <a:pt x="3245" y="184"/>
                      <a:pt x="3245" y="184"/>
                      <a:pt x="3245" y="184"/>
                    </a:cubicBezTo>
                    <a:cubicBezTo>
                      <a:pt x="3364" y="338"/>
                      <a:pt x="3364" y="338"/>
                      <a:pt x="3364" y="338"/>
                    </a:cubicBezTo>
                    <a:cubicBezTo>
                      <a:pt x="3358" y="342"/>
                      <a:pt x="3358" y="342"/>
                      <a:pt x="3358" y="342"/>
                    </a:cubicBezTo>
                    <a:cubicBezTo>
                      <a:pt x="3283" y="392"/>
                      <a:pt x="3283" y="392"/>
                      <a:pt x="3283" y="392"/>
                    </a:cubicBezTo>
                    <a:cubicBezTo>
                      <a:pt x="3263" y="338"/>
                      <a:pt x="3263" y="338"/>
                      <a:pt x="3263" y="338"/>
                    </a:cubicBezTo>
                    <a:cubicBezTo>
                      <a:pt x="3249" y="363"/>
                      <a:pt x="3217" y="413"/>
                      <a:pt x="3176" y="427"/>
                    </a:cubicBezTo>
                    <a:cubicBezTo>
                      <a:pt x="3124" y="444"/>
                      <a:pt x="3018" y="444"/>
                      <a:pt x="3018" y="445"/>
                    </a:cubicBezTo>
                    <a:lnTo>
                      <a:pt x="3011" y="445"/>
                    </a:lnTo>
                    <a:close/>
                    <a:moveTo>
                      <a:pt x="3010" y="342"/>
                    </a:moveTo>
                    <a:cubicBezTo>
                      <a:pt x="3024" y="430"/>
                      <a:pt x="3024" y="430"/>
                      <a:pt x="3024" y="430"/>
                    </a:cubicBezTo>
                    <a:cubicBezTo>
                      <a:pt x="3047" y="429"/>
                      <a:pt x="3131" y="426"/>
                      <a:pt x="3171" y="413"/>
                    </a:cubicBezTo>
                    <a:cubicBezTo>
                      <a:pt x="3194" y="406"/>
                      <a:pt x="3216" y="382"/>
                      <a:pt x="3231" y="360"/>
                    </a:cubicBezTo>
                    <a:cubicBezTo>
                      <a:pt x="3247" y="337"/>
                      <a:pt x="3257" y="317"/>
                      <a:pt x="3257" y="317"/>
                    </a:cubicBezTo>
                    <a:cubicBezTo>
                      <a:pt x="3264" y="301"/>
                      <a:pt x="3264" y="301"/>
                      <a:pt x="3264" y="301"/>
                    </a:cubicBezTo>
                    <a:cubicBezTo>
                      <a:pt x="3290" y="370"/>
                      <a:pt x="3290" y="370"/>
                      <a:pt x="3290" y="370"/>
                    </a:cubicBezTo>
                    <a:cubicBezTo>
                      <a:pt x="3343" y="334"/>
                      <a:pt x="3343" y="334"/>
                      <a:pt x="3343" y="334"/>
                    </a:cubicBezTo>
                    <a:cubicBezTo>
                      <a:pt x="3243" y="205"/>
                      <a:pt x="3243" y="205"/>
                      <a:pt x="3243" y="205"/>
                    </a:cubicBezTo>
                    <a:cubicBezTo>
                      <a:pt x="3110" y="316"/>
                      <a:pt x="3110" y="316"/>
                      <a:pt x="3110" y="316"/>
                    </a:cubicBezTo>
                    <a:cubicBezTo>
                      <a:pt x="3110" y="317"/>
                      <a:pt x="3110" y="317"/>
                      <a:pt x="3110" y="317"/>
                    </a:cubicBezTo>
                    <a:cubicBezTo>
                      <a:pt x="3068" y="336"/>
                      <a:pt x="3027" y="341"/>
                      <a:pt x="3010" y="342"/>
                    </a:cubicBezTo>
                    <a:close/>
                    <a:moveTo>
                      <a:pt x="3510" y="197"/>
                    </a:moveTo>
                    <a:cubicBezTo>
                      <a:pt x="3425" y="264"/>
                      <a:pt x="3425" y="264"/>
                      <a:pt x="3425" y="264"/>
                    </a:cubicBezTo>
                    <a:cubicBezTo>
                      <a:pt x="3317" y="137"/>
                      <a:pt x="3317" y="137"/>
                      <a:pt x="3317" y="137"/>
                    </a:cubicBezTo>
                    <a:cubicBezTo>
                      <a:pt x="3503" y="113"/>
                      <a:pt x="3503" y="113"/>
                      <a:pt x="3503" y="113"/>
                    </a:cubicBezTo>
                    <a:cubicBezTo>
                      <a:pt x="3503" y="121"/>
                      <a:pt x="3503" y="121"/>
                      <a:pt x="3503" y="121"/>
                    </a:cubicBezTo>
                    <a:lnTo>
                      <a:pt x="3510" y="197"/>
                    </a:lnTo>
                    <a:close/>
                    <a:moveTo>
                      <a:pt x="3494" y="190"/>
                    </a:moveTo>
                    <a:cubicBezTo>
                      <a:pt x="3489" y="130"/>
                      <a:pt x="3489" y="130"/>
                      <a:pt x="3489" y="130"/>
                    </a:cubicBezTo>
                    <a:cubicBezTo>
                      <a:pt x="3346" y="149"/>
                      <a:pt x="3346" y="149"/>
                      <a:pt x="3346" y="149"/>
                    </a:cubicBezTo>
                    <a:cubicBezTo>
                      <a:pt x="3427" y="244"/>
                      <a:pt x="3427" y="244"/>
                      <a:pt x="3427" y="244"/>
                    </a:cubicBezTo>
                    <a:lnTo>
                      <a:pt x="3494" y="190"/>
                    </a:lnTo>
                    <a:close/>
                    <a:moveTo>
                      <a:pt x="6561" y="452"/>
                    </a:moveTo>
                    <a:cubicBezTo>
                      <a:pt x="6419" y="424"/>
                      <a:pt x="6419" y="424"/>
                      <a:pt x="6419" y="424"/>
                    </a:cubicBezTo>
                    <a:cubicBezTo>
                      <a:pt x="6433" y="350"/>
                      <a:pt x="6433" y="350"/>
                      <a:pt x="6433" y="350"/>
                    </a:cubicBezTo>
                    <a:cubicBezTo>
                      <a:pt x="6582" y="378"/>
                      <a:pt x="6582" y="378"/>
                      <a:pt x="6582" y="378"/>
                    </a:cubicBezTo>
                    <a:cubicBezTo>
                      <a:pt x="6568" y="453"/>
                      <a:pt x="6568" y="453"/>
                      <a:pt x="6568" y="453"/>
                    </a:cubicBezTo>
                    <a:lnTo>
                      <a:pt x="6561" y="452"/>
                    </a:lnTo>
                    <a:close/>
                    <a:moveTo>
                      <a:pt x="6557" y="437"/>
                    </a:moveTo>
                    <a:cubicBezTo>
                      <a:pt x="6567" y="389"/>
                      <a:pt x="6567" y="389"/>
                      <a:pt x="6567" y="389"/>
                    </a:cubicBezTo>
                    <a:cubicBezTo>
                      <a:pt x="6444" y="365"/>
                      <a:pt x="6444" y="365"/>
                      <a:pt x="6444" y="365"/>
                    </a:cubicBezTo>
                    <a:cubicBezTo>
                      <a:pt x="6434" y="414"/>
                      <a:pt x="6434" y="414"/>
                      <a:pt x="6434" y="414"/>
                    </a:cubicBezTo>
                    <a:lnTo>
                      <a:pt x="6557" y="437"/>
                    </a:lnTo>
                    <a:close/>
                    <a:moveTo>
                      <a:pt x="4950" y="10725"/>
                    </a:moveTo>
                    <a:cubicBezTo>
                      <a:pt x="4950" y="10715"/>
                      <a:pt x="4950" y="10715"/>
                      <a:pt x="4950" y="10715"/>
                    </a:cubicBezTo>
                    <a:cubicBezTo>
                      <a:pt x="4832" y="10715"/>
                      <a:pt x="4832" y="10715"/>
                      <a:pt x="4832" y="10715"/>
                    </a:cubicBezTo>
                    <a:cubicBezTo>
                      <a:pt x="4835" y="10801"/>
                      <a:pt x="4835" y="10801"/>
                      <a:pt x="4835" y="10801"/>
                    </a:cubicBezTo>
                    <a:cubicBezTo>
                      <a:pt x="4848" y="10801"/>
                      <a:pt x="4848" y="10801"/>
                      <a:pt x="4848" y="10801"/>
                    </a:cubicBezTo>
                    <a:cubicBezTo>
                      <a:pt x="4846" y="10728"/>
                      <a:pt x="4846" y="10728"/>
                      <a:pt x="4846" y="10728"/>
                    </a:cubicBezTo>
                    <a:cubicBezTo>
                      <a:pt x="4937" y="10728"/>
                      <a:pt x="4937" y="10728"/>
                      <a:pt x="4937" y="10728"/>
                    </a:cubicBezTo>
                    <a:cubicBezTo>
                      <a:pt x="4937" y="10738"/>
                      <a:pt x="4937" y="10738"/>
                      <a:pt x="4937" y="10738"/>
                    </a:cubicBezTo>
                    <a:cubicBezTo>
                      <a:pt x="4989" y="10738"/>
                      <a:pt x="4989" y="10738"/>
                      <a:pt x="4989" y="10738"/>
                    </a:cubicBezTo>
                    <a:cubicBezTo>
                      <a:pt x="4989" y="10801"/>
                      <a:pt x="4989" y="10801"/>
                      <a:pt x="4989" y="10801"/>
                    </a:cubicBezTo>
                    <a:cubicBezTo>
                      <a:pt x="5002" y="10801"/>
                      <a:pt x="5002" y="10801"/>
                      <a:pt x="5002" y="10801"/>
                    </a:cubicBezTo>
                    <a:cubicBezTo>
                      <a:pt x="5002" y="10725"/>
                      <a:pt x="5002" y="10725"/>
                      <a:pt x="5002" y="10725"/>
                    </a:cubicBezTo>
                    <a:lnTo>
                      <a:pt x="4950" y="10725"/>
                    </a:lnTo>
                    <a:close/>
                    <a:moveTo>
                      <a:pt x="4" y="8092"/>
                    </a:moveTo>
                    <a:cubicBezTo>
                      <a:pt x="123" y="8195"/>
                      <a:pt x="123" y="8195"/>
                      <a:pt x="123" y="8195"/>
                    </a:cubicBezTo>
                    <a:cubicBezTo>
                      <a:pt x="4" y="8341"/>
                      <a:pt x="4" y="8341"/>
                      <a:pt x="4" y="8341"/>
                    </a:cubicBezTo>
                    <a:cubicBezTo>
                      <a:pt x="4" y="8364"/>
                      <a:pt x="4" y="8364"/>
                      <a:pt x="4" y="8364"/>
                    </a:cubicBezTo>
                    <a:cubicBezTo>
                      <a:pt x="139" y="8198"/>
                      <a:pt x="139" y="8198"/>
                      <a:pt x="139" y="8198"/>
                    </a:cubicBezTo>
                    <a:cubicBezTo>
                      <a:pt x="144" y="8193"/>
                      <a:pt x="144" y="8193"/>
                      <a:pt x="144" y="8193"/>
                    </a:cubicBezTo>
                    <a:cubicBezTo>
                      <a:pt x="4" y="8073"/>
                      <a:pt x="4" y="8073"/>
                      <a:pt x="4" y="8073"/>
                    </a:cubicBezTo>
                    <a:lnTo>
                      <a:pt x="4" y="8092"/>
                    </a:lnTo>
                    <a:close/>
                    <a:moveTo>
                      <a:pt x="4" y="6083"/>
                    </a:moveTo>
                    <a:cubicBezTo>
                      <a:pt x="0" y="6083"/>
                      <a:pt x="0" y="6083"/>
                      <a:pt x="0" y="6083"/>
                    </a:cubicBezTo>
                    <a:cubicBezTo>
                      <a:pt x="4" y="6062"/>
                      <a:pt x="4" y="6062"/>
                      <a:pt x="4" y="6062"/>
                    </a:cubicBezTo>
                    <a:cubicBezTo>
                      <a:pt x="35" y="5900"/>
                      <a:pt x="35" y="5900"/>
                      <a:pt x="35" y="5900"/>
                    </a:cubicBezTo>
                    <a:cubicBezTo>
                      <a:pt x="86" y="5910"/>
                      <a:pt x="86" y="5910"/>
                      <a:pt x="86" y="5910"/>
                    </a:cubicBezTo>
                    <a:cubicBezTo>
                      <a:pt x="87" y="5906"/>
                      <a:pt x="87" y="5906"/>
                      <a:pt x="87" y="5906"/>
                    </a:cubicBezTo>
                    <a:cubicBezTo>
                      <a:pt x="88" y="5900"/>
                      <a:pt x="88" y="5900"/>
                      <a:pt x="88" y="5900"/>
                    </a:cubicBezTo>
                    <a:cubicBezTo>
                      <a:pt x="203" y="5921"/>
                      <a:pt x="203" y="5921"/>
                      <a:pt x="203" y="5921"/>
                    </a:cubicBezTo>
                    <a:cubicBezTo>
                      <a:pt x="178" y="6041"/>
                      <a:pt x="178" y="6041"/>
                      <a:pt x="178" y="6041"/>
                    </a:cubicBezTo>
                    <a:cubicBezTo>
                      <a:pt x="172" y="6040"/>
                      <a:pt x="172" y="6040"/>
                      <a:pt x="172" y="6040"/>
                    </a:cubicBezTo>
                    <a:cubicBezTo>
                      <a:pt x="122" y="6031"/>
                      <a:pt x="122" y="6031"/>
                      <a:pt x="122" y="6031"/>
                    </a:cubicBezTo>
                    <a:cubicBezTo>
                      <a:pt x="108" y="6103"/>
                      <a:pt x="108" y="6103"/>
                      <a:pt x="108" y="6103"/>
                    </a:cubicBezTo>
                    <a:lnTo>
                      <a:pt x="4" y="6083"/>
                    </a:lnTo>
                    <a:close/>
                    <a:moveTo>
                      <a:pt x="16" y="6072"/>
                    </a:moveTo>
                    <a:cubicBezTo>
                      <a:pt x="98" y="6087"/>
                      <a:pt x="98" y="6087"/>
                      <a:pt x="98" y="6087"/>
                    </a:cubicBezTo>
                    <a:cubicBezTo>
                      <a:pt x="111" y="6016"/>
                      <a:pt x="111" y="6016"/>
                      <a:pt x="111" y="6016"/>
                    </a:cubicBezTo>
                    <a:cubicBezTo>
                      <a:pt x="168" y="6026"/>
                      <a:pt x="168" y="6026"/>
                      <a:pt x="168" y="6026"/>
                    </a:cubicBezTo>
                    <a:cubicBezTo>
                      <a:pt x="188" y="5932"/>
                      <a:pt x="188" y="5932"/>
                      <a:pt x="188" y="5932"/>
                    </a:cubicBezTo>
                    <a:cubicBezTo>
                      <a:pt x="98" y="5915"/>
                      <a:pt x="98" y="5915"/>
                      <a:pt x="98" y="5915"/>
                    </a:cubicBezTo>
                    <a:cubicBezTo>
                      <a:pt x="98" y="5919"/>
                      <a:pt x="98" y="5919"/>
                      <a:pt x="98" y="5919"/>
                    </a:cubicBezTo>
                    <a:cubicBezTo>
                      <a:pt x="96" y="5925"/>
                      <a:pt x="96" y="5925"/>
                      <a:pt x="96" y="5925"/>
                    </a:cubicBezTo>
                    <a:cubicBezTo>
                      <a:pt x="45" y="5916"/>
                      <a:pt x="45" y="5916"/>
                      <a:pt x="45" y="5916"/>
                    </a:cubicBezTo>
                    <a:lnTo>
                      <a:pt x="16" y="6072"/>
                    </a:lnTo>
                    <a:close/>
                    <a:moveTo>
                      <a:pt x="4" y="8932"/>
                    </a:moveTo>
                    <a:cubicBezTo>
                      <a:pt x="75" y="8983"/>
                      <a:pt x="75" y="8983"/>
                      <a:pt x="75" y="8983"/>
                    </a:cubicBezTo>
                    <a:cubicBezTo>
                      <a:pt x="4" y="9081"/>
                      <a:pt x="4" y="9081"/>
                      <a:pt x="4" y="9081"/>
                    </a:cubicBezTo>
                    <a:cubicBezTo>
                      <a:pt x="4" y="9105"/>
                      <a:pt x="4" y="9105"/>
                      <a:pt x="4" y="9105"/>
                    </a:cubicBezTo>
                    <a:cubicBezTo>
                      <a:pt x="180" y="8860"/>
                      <a:pt x="180" y="8860"/>
                      <a:pt x="180" y="8860"/>
                    </a:cubicBezTo>
                    <a:cubicBezTo>
                      <a:pt x="169" y="8852"/>
                      <a:pt x="169" y="8852"/>
                      <a:pt x="169" y="8852"/>
                    </a:cubicBezTo>
                    <a:cubicBezTo>
                      <a:pt x="83" y="8972"/>
                      <a:pt x="83" y="8972"/>
                      <a:pt x="83" y="8972"/>
                    </a:cubicBezTo>
                    <a:cubicBezTo>
                      <a:pt x="4" y="8915"/>
                      <a:pt x="4" y="8915"/>
                      <a:pt x="4" y="8915"/>
                    </a:cubicBezTo>
                    <a:lnTo>
                      <a:pt x="4" y="8932"/>
                    </a:lnTo>
                    <a:close/>
                    <a:moveTo>
                      <a:pt x="4" y="7092"/>
                    </a:moveTo>
                    <a:cubicBezTo>
                      <a:pt x="49" y="7123"/>
                      <a:pt x="49" y="7123"/>
                      <a:pt x="49" y="7123"/>
                    </a:cubicBezTo>
                    <a:cubicBezTo>
                      <a:pt x="15" y="7172"/>
                      <a:pt x="15" y="7172"/>
                      <a:pt x="15" y="7172"/>
                    </a:cubicBezTo>
                    <a:cubicBezTo>
                      <a:pt x="4" y="7165"/>
                      <a:pt x="4" y="7165"/>
                      <a:pt x="4" y="7165"/>
                    </a:cubicBezTo>
                    <a:cubicBezTo>
                      <a:pt x="4" y="7181"/>
                      <a:pt x="4" y="7181"/>
                      <a:pt x="4" y="7181"/>
                    </a:cubicBezTo>
                    <a:cubicBezTo>
                      <a:pt x="18" y="7190"/>
                      <a:pt x="18" y="7190"/>
                      <a:pt x="18" y="7190"/>
                    </a:cubicBezTo>
                    <a:cubicBezTo>
                      <a:pt x="63" y="7125"/>
                      <a:pt x="63" y="7125"/>
                      <a:pt x="63" y="7125"/>
                    </a:cubicBezTo>
                    <a:cubicBezTo>
                      <a:pt x="67" y="7119"/>
                      <a:pt x="67" y="7119"/>
                      <a:pt x="67" y="7119"/>
                    </a:cubicBezTo>
                    <a:cubicBezTo>
                      <a:pt x="4" y="7076"/>
                      <a:pt x="4" y="7076"/>
                      <a:pt x="4" y="7076"/>
                    </a:cubicBezTo>
                    <a:lnTo>
                      <a:pt x="4" y="7092"/>
                    </a:lnTo>
                    <a:close/>
                    <a:moveTo>
                      <a:pt x="610" y="307"/>
                    </a:moveTo>
                    <a:cubicBezTo>
                      <a:pt x="654" y="264"/>
                      <a:pt x="654" y="264"/>
                      <a:pt x="654" y="264"/>
                    </a:cubicBezTo>
                    <a:cubicBezTo>
                      <a:pt x="634" y="229"/>
                      <a:pt x="634" y="229"/>
                      <a:pt x="634" y="229"/>
                    </a:cubicBezTo>
                    <a:cubicBezTo>
                      <a:pt x="528" y="307"/>
                      <a:pt x="528" y="307"/>
                      <a:pt x="528" y="307"/>
                    </a:cubicBezTo>
                    <a:cubicBezTo>
                      <a:pt x="507" y="280"/>
                      <a:pt x="507" y="280"/>
                      <a:pt x="507" y="280"/>
                    </a:cubicBezTo>
                    <a:cubicBezTo>
                      <a:pt x="526" y="251"/>
                      <a:pt x="526" y="251"/>
                      <a:pt x="526" y="251"/>
                    </a:cubicBezTo>
                    <a:cubicBezTo>
                      <a:pt x="479" y="207"/>
                      <a:pt x="479" y="207"/>
                      <a:pt x="479" y="207"/>
                    </a:cubicBezTo>
                    <a:cubicBezTo>
                      <a:pt x="643" y="58"/>
                      <a:pt x="643" y="58"/>
                      <a:pt x="643" y="58"/>
                    </a:cubicBezTo>
                    <a:cubicBezTo>
                      <a:pt x="862" y="261"/>
                      <a:pt x="862" y="261"/>
                      <a:pt x="862" y="261"/>
                    </a:cubicBezTo>
                    <a:cubicBezTo>
                      <a:pt x="857" y="267"/>
                      <a:pt x="857" y="267"/>
                      <a:pt x="857" y="267"/>
                    </a:cubicBezTo>
                    <a:cubicBezTo>
                      <a:pt x="798" y="328"/>
                      <a:pt x="798" y="328"/>
                      <a:pt x="798" y="328"/>
                    </a:cubicBezTo>
                    <a:cubicBezTo>
                      <a:pt x="753" y="285"/>
                      <a:pt x="753" y="285"/>
                      <a:pt x="753" y="285"/>
                    </a:cubicBezTo>
                    <a:cubicBezTo>
                      <a:pt x="679" y="348"/>
                      <a:pt x="679" y="348"/>
                      <a:pt x="679" y="348"/>
                    </a:cubicBezTo>
                    <a:lnTo>
                      <a:pt x="610" y="307"/>
                    </a:lnTo>
                    <a:close/>
                    <a:moveTo>
                      <a:pt x="672" y="267"/>
                    </a:moveTo>
                    <a:cubicBezTo>
                      <a:pt x="634" y="304"/>
                      <a:pt x="634" y="304"/>
                      <a:pt x="634" y="304"/>
                    </a:cubicBezTo>
                    <a:cubicBezTo>
                      <a:pt x="677" y="330"/>
                      <a:pt x="677" y="330"/>
                      <a:pt x="677" y="330"/>
                    </a:cubicBezTo>
                    <a:cubicBezTo>
                      <a:pt x="754" y="265"/>
                      <a:pt x="754" y="265"/>
                      <a:pt x="754" y="265"/>
                    </a:cubicBezTo>
                    <a:cubicBezTo>
                      <a:pt x="798" y="307"/>
                      <a:pt x="798" y="307"/>
                      <a:pt x="798" y="307"/>
                    </a:cubicBezTo>
                    <a:cubicBezTo>
                      <a:pt x="841" y="262"/>
                      <a:pt x="841" y="262"/>
                      <a:pt x="841" y="262"/>
                    </a:cubicBezTo>
                    <a:cubicBezTo>
                      <a:pt x="643" y="78"/>
                      <a:pt x="643" y="78"/>
                      <a:pt x="643" y="78"/>
                    </a:cubicBezTo>
                    <a:cubicBezTo>
                      <a:pt x="501" y="207"/>
                      <a:pt x="501" y="207"/>
                      <a:pt x="501" y="207"/>
                    </a:cubicBezTo>
                    <a:cubicBezTo>
                      <a:pt x="545" y="249"/>
                      <a:pt x="545" y="249"/>
                      <a:pt x="545" y="249"/>
                    </a:cubicBezTo>
                    <a:cubicBezTo>
                      <a:pt x="525" y="280"/>
                      <a:pt x="525" y="280"/>
                      <a:pt x="525" y="280"/>
                    </a:cubicBezTo>
                    <a:cubicBezTo>
                      <a:pt x="531" y="287"/>
                      <a:pt x="531" y="287"/>
                      <a:pt x="531" y="287"/>
                    </a:cubicBezTo>
                    <a:cubicBezTo>
                      <a:pt x="639" y="207"/>
                      <a:pt x="639" y="207"/>
                      <a:pt x="639" y="207"/>
                    </a:cubicBezTo>
                    <a:lnTo>
                      <a:pt x="672" y="267"/>
                    </a:lnTo>
                    <a:close/>
                    <a:moveTo>
                      <a:pt x="3933" y="195"/>
                    </a:moveTo>
                    <a:cubicBezTo>
                      <a:pt x="3883" y="239"/>
                      <a:pt x="3883" y="239"/>
                      <a:pt x="3883" y="239"/>
                    </a:cubicBezTo>
                    <a:cubicBezTo>
                      <a:pt x="3865" y="223"/>
                      <a:pt x="3865" y="223"/>
                      <a:pt x="3865" y="223"/>
                    </a:cubicBezTo>
                    <a:cubicBezTo>
                      <a:pt x="3818" y="262"/>
                      <a:pt x="3818" y="262"/>
                      <a:pt x="3818" y="262"/>
                    </a:cubicBezTo>
                    <a:cubicBezTo>
                      <a:pt x="3756" y="197"/>
                      <a:pt x="3756" y="197"/>
                      <a:pt x="3756" y="197"/>
                    </a:cubicBezTo>
                    <a:cubicBezTo>
                      <a:pt x="3804" y="151"/>
                      <a:pt x="3804" y="151"/>
                      <a:pt x="3804" y="151"/>
                    </a:cubicBezTo>
                    <a:cubicBezTo>
                      <a:pt x="3829" y="172"/>
                      <a:pt x="3829" y="172"/>
                      <a:pt x="3829" y="172"/>
                    </a:cubicBezTo>
                    <a:cubicBezTo>
                      <a:pt x="3867" y="130"/>
                      <a:pt x="3867" y="130"/>
                      <a:pt x="3867" y="130"/>
                    </a:cubicBezTo>
                    <a:cubicBezTo>
                      <a:pt x="3843" y="106"/>
                      <a:pt x="3843" y="106"/>
                      <a:pt x="3843" y="106"/>
                    </a:cubicBezTo>
                    <a:cubicBezTo>
                      <a:pt x="3895" y="60"/>
                      <a:pt x="3895" y="60"/>
                      <a:pt x="3895" y="60"/>
                    </a:cubicBezTo>
                    <a:cubicBezTo>
                      <a:pt x="3958" y="126"/>
                      <a:pt x="3958" y="126"/>
                      <a:pt x="3958" y="126"/>
                    </a:cubicBezTo>
                    <a:cubicBezTo>
                      <a:pt x="3914" y="170"/>
                      <a:pt x="3914" y="170"/>
                      <a:pt x="3914" y="170"/>
                    </a:cubicBezTo>
                    <a:lnTo>
                      <a:pt x="3933" y="195"/>
                    </a:lnTo>
                    <a:close/>
                    <a:moveTo>
                      <a:pt x="3883" y="221"/>
                    </a:moveTo>
                    <a:cubicBezTo>
                      <a:pt x="3914" y="193"/>
                      <a:pt x="3914" y="193"/>
                      <a:pt x="3914" y="193"/>
                    </a:cubicBezTo>
                    <a:cubicBezTo>
                      <a:pt x="3903" y="178"/>
                      <a:pt x="3903" y="178"/>
                      <a:pt x="3903" y="178"/>
                    </a:cubicBezTo>
                    <a:cubicBezTo>
                      <a:pt x="3895" y="169"/>
                      <a:pt x="3895" y="169"/>
                      <a:pt x="3895" y="169"/>
                    </a:cubicBezTo>
                    <a:cubicBezTo>
                      <a:pt x="3904" y="160"/>
                      <a:pt x="3904" y="160"/>
                      <a:pt x="3904" y="160"/>
                    </a:cubicBezTo>
                    <a:cubicBezTo>
                      <a:pt x="3938" y="126"/>
                      <a:pt x="3938" y="126"/>
                      <a:pt x="3938" y="126"/>
                    </a:cubicBezTo>
                    <a:cubicBezTo>
                      <a:pt x="3894" y="79"/>
                      <a:pt x="3894" y="79"/>
                      <a:pt x="3894" y="79"/>
                    </a:cubicBezTo>
                    <a:cubicBezTo>
                      <a:pt x="3863" y="106"/>
                      <a:pt x="3863" y="106"/>
                      <a:pt x="3863" y="106"/>
                    </a:cubicBezTo>
                    <a:cubicBezTo>
                      <a:pt x="3877" y="120"/>
                      <a:pt x="3877" y="120"/>
                      <a:pt x="3877" y="120"/>
                    </a:cubicBezTo>
                    <a:cubicBezTo>
                      <a:pt x="3887" y="130"/>
                      <a:pt x="3887" y="130"/>
                      <a:pt x="3887" y="130"/>
                    </a:cubicBezTo>
                    <a:cubicBezTo>
                      <a:pt x="3878" y="140"/>
                      <a:pt x="3878" y="140"/>
                      <a:pt x="3878" y="140"/>
                    </a:cubicBezTo>
                    <a:cubicBezTo>
                      <a:pt x="3839" y="181"/>
                      <a:pt x="3839" y="181"/>
                      <a:pt x="3839" y="181"/>
                    </a:cubicBezTo>
                    <a:cubicBezTo>
                      <a:pt x="3830" y="191"/>
                      <a:pt x="3830" y="191"/>
                      <a:pt x="3830" y="191"/>
                    </a:cubicBezTo>
                    <a:cubicBezTo>
                      <a:pt x="3820" y="183"/>
                      <a:pt x="3820" y="183"/>
                      <a:pt x="3820" y="183"/>
                    </a:cubicBezTo>
                    <a:cubicBezTo>
                      <a:pt x="3805" y="170"/>
                      <a:pt x="3805" y="170"/>
                      <a:pt x="3805" y="170"/>
                    </a:cubicBezTo>
                    <a:cubicBezTo>
                      <a:pt x="3776" y="198"/>
                      <a:pt x="3776" y="198"/>
                      <a:pt x="3776" y="198"/>
                    </a:cubicBezTo>
                    <a:cubicBezTo>
                      <a:pt x="3819" y="243"/>
                      <a:pt x="3819" y="243"/>
                      <a:pt x="3819" y="243"/>
                    </a:cubicBezTo>
                    <a:cubicBezTo>
                      <a:pt x="3856" y="212"/>
                      <a:pt x="3856" y="212"/>
                      <a:pt x="3856" y="212"/>
                    </a:cubicBezTo>
                    <a:cubicBezTo>
                      <a:pt x="3865" y="204"/>
                      <a:pt x="3865" y="204"/>
                      <a:pt x="3865" y="204"/>
                    </a:cubicBezTo>
                    <a:cubicBezTo>
                      <a:pt x="3874" y="213"/>
                      <a:pt x="3874" y="213"/>
                      <a:pt x="3874" y="213"/>
                    </a:cubicBezTo>
                    <a:lnTo>
                      <a:pt x="3883" y="221"/>
                    </a:lnTo>
                    <a:close/>
                    <a:moveTo>
                      <a:pt x="4" y="5895"/>
                    </a:moveTo>
                    <a:cubicBezTo>
                      <a:pt x="4" y="5966"/>
                      <a:pt x="4" y="5966"/>
                      <a:pt x="4" y="5966"/>
                    </a:cubicBezTo>
                    <a:cubicBezTo>
                      <a:pt x="6" y="5953"/>
                      <a:pt x="7" y="5941"/>
                      <a:pt x="7" y="5929"/>
                    </a:cubicBezTo>
                    <a:cubicBezTo>
                      <a:pt x="7" y="5917"/>
                      <a:pt x="6" y="5906"/>
                      <a:pt x="4" y="5895"/>
                    </a:cubicBezTo>
                    <a:close/>
                    <a:moveTo>
                      <a:pt x="4" y="6330"/>
                    </a:moveTo>
                    <a:cubicBezTo>
                      <a:pt x="69" y="6362"/>
                      <a:pt x="69" y="6362"/>
                      <a:pt x="69" y="6362"/>
                    </a:cubicBezTo>
                    <a:cubicBezTo>
                      <a:pt x="47" y="6406"/>
                      <a:pt x="47" y="6406"/>
                      <a:pt x="47" y="6406"/>
                    </a:cubicBezTo>
                    <a:cubicBezTo>
                      <a:pt x="4" y="6385"/>
                      <a:pt x="4" y="6385"/>
                      <a:pt x="4" y="6385"/>
                    </a:cubicBezTo>
                    <a:cubicBezTo>
                      <a:pt x="4" y="6400"/>
                      <a:pt x="4" y="6400"/>
                      <a:pt x="4" y="6400"/>
                    </a:cubicBezTo>
                    <a:cubicBezTo>
                      <a:pt x="47" y="6421"/>
                      <a:pt x="47" y="6421"/>
                      <a:pt x="47" y="6421"/>
                    </a:cubicBezTo>
                    <a:cubicBezTo>
                      <a:pt x="52" y="6424"/>
                      <a:pt x="52" y="6424"/>
                      <a:pt x="52" y="6424"/>
                    </a:cubicBezTo>
                    <a:cubicBezTo>
                      <a:pt x="86" y="6356"/>
                      <a:pt x="86" y="6356"/>
                      <a:pt x="86" y="6356"/>
                    </a:cubicBezTo>
                    <a:cubicBezTo>
                      <a:pt x="4" y="6315"/>
                      <a:pt x="4" y="6315"/>
                      <a:pt x="4" y="6315"/>
                    </a:cubicBezTo>
                    <a:lnTo>
                      <a:pt x="4" y="6330"/>
                    </a:lnTo>
                    <a:close/>
                    <a:moveTo>
                      <a:pt x="3573" y="402"/>
                    </a:moveTo>
                    <a:cubicBezTo>
                      <a:pt x="3570" y="401"/>
                      <a:pt x="3592" y="398"/>
                      <a:pt x="3592" y="398"/>
                    </a:cubicBezTo>
                    <a:cubicBezTo>
                      <a:pt x="3578" y="321"/>
                      <a:pt x="3578" y="321"/>
                      <a:pt x="3578" y="321"/>
                    </a:cubicBezTo>
                    <a:cubicBezTo>
                      <a:pt x="3660" y="305"/>
                      <a:pt x="3660" y="305"/>
                      <a:pt x="3660" y="305"/>
                    </a:cubicBezTo>
                    <a:cubicBezTo>
                      <a:pt x="3677" y="384"/>
                      <a:pt x="3677" y="384"/>
                      <a:pt x="3677" y="384"/>
                    </a:cubicBezTo>
                    <a:cubicBezTo>
                      <a:pt x="3751" y="371"/>
                      <a:pt x="3751" y="371"/>
                      <a:pt x="3751" y="371"/>
                    </a:cubicBezTo>
                    <a:cubicBezTo>
                      <a:pt x="3765" y="456"/>
                      <a:pt x="3765" y="456"/>
                      <a:pt x="3765" y="456"/>
                    </a:cubicBezTo>
                    <a:cubicBezTo>
                      <a:pt x="3589" y="482"/>
                      <a:pt x="3589" y="482"/>
                      <a:pt x="3589" y="482"/>
                    </a:cubicBezTo>
                    <a:cubicBezTo>
                      <a:pt x="3589" y="482"/>
                      <a:pt x="3575" y="403"/>
                      <a:pt x="3573" y="402"/>
                    </a:cubicBezTo>
                    <a:close/>
                    <a:moveTo>
                      <a:pt x="3590" y="412"/>
                    </a:moveTo>
                    <a:cubicBezTo>
                      <a:pt x="3592" y="423"/>
                      <a:pt x="3595" y="440"/>
                      <a:pt x="3600" y="467"/>
                    </a:cubicBezTo>
                    <a:cubicBezTo>
                      <a:pt x="3749" y="444"/>
                      <a:pt x="3749" y="444"/>
                      <a:pt x="3749" y="444"/>
                    </a:cubicBezTo>
                    <a:cubicBezTo>
                      <a:pt x="3740" y="388"/>
                      <a:pt x="3740" y="388"/>
                      <a:pt x="3740" y="388"/>
                    </a:cubicBezTo>
                    <a:cubicBezTo>
                      <a:pt x="3679" y="398"/>
                      <a:pt x="3679" y="398"/>
                      <a:pt x="3679" y="398"/>
                    </a:cubicBezTo>
                    <a:cubicBezTo>
                      <a:pt x="3666" y="400"/>
                      <a:pt x="3666" y="400"/>
                      <a:pt x="3666" y="400"/>
                    </a:cubicBezTo>
                    <a:cubicBezTo>
                      <a:pt x="3663" y="387"/>
                      <a:pt x="3663" y="387"/>
                      <a:pt x="3663" y="387"/>
                    </a:cubicBezTo>
                    <a:cubicBezTo>
                      <a:pt x="3649" y="321"/>
                      <a:pt x="3649" y="321"/>
                      <a:pt x="3649" y="321"/>
                    </a:cubicBezTo>
                    <a:cubicBezTo>
                      <a:pt x="3595" y="332"/>
                      <a:pt x="3595" y="332"/>
                      <a:pt x="3595" y="332"/>
                    </a:cubicBezTo>
                    <a:cubicBezTo>
                      <a:pt x="3606" y="395"/>
                      <a:pt x="3606" y="395"/>
                      <a:pt x="3606" y="395"/>
                    </a:cubicBezTo>
                    <a:cubicBezTo>
                      <a:pt x="3608" y="409"/>
                      <a:pt x="3608" y="409"/>
                      <a:pt x="3608" y="409"/>
                    </a:cubicBezTo>
                    <a:cubicBezTo>
                      <a:pt x="3594" y="412"/>
                      <a:pt x="3594" y="412"/>
                      <a:pt x="3594" y="412"/>
                    </a:cubicBezTo>
                    <a:cubicBezTo>
                      <a:pt x="3593" y="412"/>
                      <a:pt x="3591" y="412"/>
                      <a:pt x="3590" y="412"/>
                    </a:cubicBezTo>
                    <a:close/>
                    <a:moveTo>
                      <a:pt x="916" y="9232"/>
                    </a:moveTo>
                    <a:cubicBezTo>
                      <a:pt x="873" y="8987"/>
                      <a:pt x="873" y="8987"/>
                      <a:pt x="873" y="8987"/>
                    </a:cubicBezTo>
                    <a:cubicBezTo>
                      <a:pt x="940" y="8728"/>
                      <a:pt x="940" y="8728"/>
                      <a:pt x="940" y="8728"/>
                    </a:cubicBezTo>
                    <a:cubicBezTo>
                      <a:pt x="1099" y="8756"/>
                      <a:pt x="1099" y="8756"/>
                      <a:pt x="1099" y="8756"/>
                    </a:cubicBezTo>
                    <a:cubicBezTo>
                      <a:pt x="1068" y="8913"/>
                      <a:pt x="1068" y="8913"/>
                      <a:pt x="1068" y="8913"/>
                    </a:cubicBezTo>
                    <a:cubicBezTo>
                      <a:pt x="1139" y="8962"/>
                      <a:pt x="1139" y="8962"/>
                      <a:pt x="1139" y="8962"/>
                    </a:cubicBezTo>
                    <a:cubicBezTo>
                      <a:pt x="1243" y="8839"/>
                      <a:pt x="1243" y="8839"/>
                      <a:pt x="1243" y="8839"/>
                    </a:cubicBezTo>
                    <a:cubicBezTo>
                      <a:pt x="1332" y="8880"/>
                      <a:pt x="1332" y="8880"/>
                      <a:pt x="1332" y="8880"/>
                    </a:cubicBezTo>
                    <a:cubicBezTo>
                      <a:pt x="1385" y="8812"/>
                      <a:pt x="1385" y="8812"/>
                      <a:pt x="1385" y="8812"/>
                    </a:cubicBezTo>
                    <a:cubicBezTo>
                      <a:pt x="1480" y="8894"/>
                      <a:pt x="1480" y="8894"/>
                      <a:pt x="1480" y="8894"/>
                    </a:cubicBezTo>
                    <a:cubicBezTo>
                      <a:pt x="1476" y="8900"/>
                      <a:pt x="1476" y="8900"/>
                      <a:pt x="1476" y="8900"/>
                    </a:cubicBezTo>
                    <a:cubicBezTo>
                      <a:pt x="1313" y="9108"/>
                      <a:pt x="1313" y="9108"/>
                      <a:pt x="1313" y="9108"/>
                    </a:cubicBezTo>
                    <a:cubicBezTo>
                      <a:pt x="1216" y="9053"/>
                      <a:pt x="1216" y="9053"/>
                      <a:pt x="1216" y="9053"/>
                    </a:cubicBezTo>
                    <a:cubicBezTo>
                      <a:pt x="1111" y="9219"/>
                      <a:pt x="1111" y="9219"/>
                      <a:pt x="1111" y="9219"/>
                    </a:cubicBezTo>
                    <a:lnTo>
                      <a:pt x="916" y="9232"/>
                    </a:lnTo>
                    <a:close/>
                    <a:moveTo>
                      <a:pt x="888" y="8988"/>
                    </a:moveTo>
                    <a:cubicBezTo>
                      <a:pt x="928" y="9216"/>
                      <a:pt x="928" y="9216"/>
                      <a:pt x="928" y="9216"/>
                    </a:cubicBezTo>
                    <a:cubicBezTo>
                      <a:pt x="1103" y="9205"/>
                      <a:pt x="1103" y="9205"/>
                      <a:pt x="1103" y="9205"/>
                    </a:cubicBezTo>
                    <a:cubicBezTo>
                      <a:pt x="1211" y="9034"/>
                      <a:pt x="1211" y="9034"/>
                      <a:pt x="1211" y="9034"/>
                    </a:cubicBezTo>
                    <a:cubicBezTo>
                      <a:pt x="1310" y="9089"/>
                      <a:pt x="1310" y="9089"/>
                      <a:pt x="1310" y="9089"/>
                    </a:cubicBezTo>
                    <a:cubicBezTo>
                      <a:pt x="1460" y="8896"/>
                      <a:pt x="1460" y="8896"/>
                      <a:pt x="1460" y="8896"/>
                    </a:cubicBezTo>
                    <a:cubicBezTo>
                      <a:pt x="1387" y="8833"/>
                      <a:pt x="1387" y="8833"/>
                      <a:pt x="1387" y="8833"/>
                    </a:cubicBezTo>
                    <a:cubicBezTo>
                      <a:pt x="1336" y="8898"/>
                      <a:pt x="1336" y="8898"/>
                      <a:pt x="1336" y="8898"/>
                    </a:cubicBezTo>
                    <a:cubicBezTo>
                      <a:pt x="1247" y="8857"/>
                      <a:pt x="1247" y="8857"/>
                      <a:pt x="1247" y="8857"/>
                    </a:cubicBezTo>
                    <a:cubicBezTo>
                      <a:pt x="1142" y="8982"/>
                      <a:pt x="1142" y="8982"/>
                      <a:pt x="1142" y="8982"/>
                    </a:cubicBezTo>
                    <a:cubicBezTo>
                      <a:pt x="1052" y="8920"/>
                      <a:pt x="1052" y="8920"/>
                      <a:pt x="1052" y="8920"/>
                    </a:cubicBezTo>
                    <a:cubicBezTo>
                      <a:pt x="1082" y="8768"/>
                      <a:pt x="1082" y="8768"/>
                      <a:pt x="1082" y="8768"/>
                    </a:cubicBezTo>
                    <a:cubicBezTo>
                      <a:pt x="951" y="8745"/>
                      <a:pt x="951" y="8745"/>
                      <a:pt x="951" y="8745"/>
                    </a:cubicBezTo>
                    <a:lnTo>
                      <a:pt x="888" y="8988"/>
                    </a:lnTo>
                    <a:close/>
                    <a:moveTo>
                      <a:pt x="1167" y="432"/>
                    </a:moveTo>
                    <a:cubicBezTo>
                      <a:pt x="1046" y="324"/>
                      <a:pt x="1046" y="324"/>
                      <a:pt x="1046" y="324"/>
                    </a:cubicBezTo>
                    <a:cubicBezTo>
                      <a:pt x="1039" y="318"/>
                      <a:pt x="1039" y="318"/>
                      <a:pt x="1039" y="318"/>
                    </a:cubicBezTo>
                    <a:cubicBezTo>
                      <a:pt x="1042" y="309"/>
                      <a:pt x="1042" y="309"/>
                      <a:pt x="1042" y="309"/>
                    </a:cubicBezTo>
                    <a:cubicBezTo>
                      <a:pt x="1058" y="259"/>
                      <a:pt x="1058" y="259"/>
                      <a:pt x="1058" y="259"/>
                    </a:cubicBezTo>
                    <a:cubicBezTo>
                      <a:pt x="1064" y="239"/>
                      <a:pt x="1064" y="239"/>
                      <a:pt x="1064" y="239"/>
                    </a:cubicBezTo>
                    <a:cubicBezTo>
                      <a:pt x="1080" y="253"/>
                      <a:pt x="1080" y="253"/>
                      <a:pt x="1080" y="253"/>
                    </a:cubicBezTo>
                    <a:cubicBezTo>
                      <a:pt x="1204" y="362"/>
                      <a:pt x="1204" y="362"/>
                      <a:pt x="1204" y="362"/>
                    </a:cubicBezTo>
                    <a:cubicBezTo>
                      <a:pt x="1212" y="368"/>
                      <a:pt x="1212" y="368"/>
                      <a:pt x="1212" y="368"/>
                    </a:cubicBezTo>
                    <a:cubicBezTo>
                      <a:pt x="1208" y="377"/>
                      <a:pt x="1208" y="377"/>
                      <a:pt x="1208" y="377"/>
                    </a:cubicBezTo>
                    <a:cubicBezTo>
                      <a:pt x="1189" y="427"/>
                      <a:pt x="1189" y="427"/>
                      <a:pt x="1189" y="427"/>
                    </a:cubicBezTo>
                    <a:cubicBezTo>
                      <a:pt x="1182" y="445"/>
                      <a:pt x="1182" y="445"/>
                      <a:pt x="1182" y="445"/>
                    </a:cubicBezTo>
                    <a:lnTo>
                      <a:pt x="1167" y="432"/>
                    </a:lnTo>
                    <a:close/>
                    <a:moveTo>
                      <a:pt x="1055" y="313"/>
                    </a:moveTo>
                    <a:cubicBezTo>
                      <a:pt x="1176" y="421"/>
                      <a:pt x="1176" y="421"/>
                      <a:pt x="1176" y="421"/>
                    </a:cubicBezTo>
                    <a:cubicBezTo>
                      <a:pt x="1195" y="372"/>
                      <a:pt x="1195" y="372"/>
                      <a:pt x="1195" y="372"/>
                    </a:cubicBezTo>
                    <a:cubicBezTo>
                      <a:pt x="1071" y="264"/>
                      <a:pt x="1071" y="264"/>
                      <a:pt x="1071" y="264"/>
                    </a:cubicBezTo>
                    <a:lnTo>
                      <a:pt x="1055" y="313"/>
                    </a:lnTo>
                    <a:close/>
                    <a:moveTo>
                      <a:pt x="8366" y="10514"/>
                    </a:moveTo>
                    <a:cubicBezTo>
                      <a:pt x="8461" y="10515"/>
                      <a:pt x="8461" y="10515"/>
                      <a:pt x="8461" y="10515"/>
                    </a:cubicBezTo>
                    <a:cubicBezTo>
                      <a:pt x="8461" y="10610"/>
                      <a:pt x="8461" y="10610"/>
                      <a:pt x="8461" y="10610"/>
                    </a:cubicBezTo>
                    <a:cubicBezTo>
                      <a:pt x="8454" y="10610"/>
                      <a:pt x="8454" y="10610"/>
                      <a:pt x="8454" y="10610"/>
                    </a:cubicBezTo>
                    <a:cubicBezTo>
                      <a:pt x="8366" y="10609"/>
                      <a:pt x="8366" y="10609"/>
                      <a:pt x="8366" y="10609"/>
                    </a:cubicBezTo>
                    <a:lnTo>
                      <a:pt x="8366" y="10514"/>
                    </a:lnTo>
                    <a:close/>
                    <a:moveTo>
                      <a:pt x="8379" y="10596"/>
                    </a:moveTo>
                    <a:cubicBezTo>
                      <a:pt x="8448" y="10597"/>
                      <a:pt x="8448" y="10597"/>
                      <a:pt x="8448" y="10597"/>
                    </a:cubicBezTo>
                    <a:cubicBezTo>
                      <a:pt x="8448" y="10528"/>
                      <a:pt x="8448" y="10528"/>
                      <a:pt x="8448" y="10528"/>
                    </a:cubicBezTo>
                    <a:cubicBezTo>
                      <a:pt x="8379" y="10527"/>
                      <a:pt x="8379" y="10527"/>
                      <a:pt x="8379" y="10527"/>
                    </a:cubicBezTo>
                    <a:lnTo>
                      <a:pt x="8379" y="10596"/>
                    </a:lnTo>
                    <a:close/>
                    <a:moveTo>
                      <a:pt x="6390" y="95"/>
                    </a:moveTo>
                    <a:cubicBezTo>
                      <a:pt x="6415" y="0"/>
                      <a:pt x="6415" y="0"/>
                      <a:pt x="6415" y="0"/>
                    </a:cubicBezTo>
                    <a:cubicBezTo>
                      <a:pt x="6400" y="0"/>
                      <a:pt x="6400" y="0"/>
                      <a:pt x="6400" y="0"/>
                    </a:cubicBezTo>
                    <a:cubicBezTo>
                      <a:pt x="6377" y="92"/>
                      <a:pt x="6377" y="92"/>
                      <a:pt x="6377" y="92"/>
                    </a:cubicBezTo>
                    <a:lnTo>
                      <a:pt x="6390" y="95"/>
                    </a:lnTo>
                    <a:close/>
                    <a:moveTo>
                      <a:pt x="730" y="8383"/>
                    </a:moveTo>
                    <a:cubicBezTo>
                      <a:pt x="675" y="8454"/>
                      <a:pt x="675" y="8454"/>
                      <a:pt x="675" y="8454"/>
                    </a:cubicBezTo>
                    <a:cubicBezTo>
                      <a:pt x="675" y="8454"/>
                      <a:pt x="642" y="8438"/>
                      <a:pt x="613" y="8424"/>
                    </a:cubicBezTo>
                    <a:cubicBezTo>
                      <a:pt x="584" y="8411"/>
                      <a:pt x="574" y="8439"/>
                      <a:pt x="574" y="8439"/>
                    </a:cubicBezTo>
                    <a:cubicBezTo>
                      <a:pt x="505" y="8406"/>
                      <a:pt x="505" y="8406"/>
                      <a:pt x="505" y="8406"/>
                    </a:cubicBezTo>
                    <a:cubicBezTo>
                      <a:pt x="505" y="8406"/>
                      <a:pt x="422" y="8399"/>
                      <a:pt x="422" y="8397"/>
                    </a:cubicBezTo>
                    <a:cubicBezTo>
                      <a:pt x="421" y="8351"/>
                      <a:pt x="307" y="8368"/>
                      <a:pt x="307" y="8368"/>
                    </a:cubicBezTo>
                    <a:cubicBezTo>
                      <a:pt x="299" y="8282"/>
                      <a:pt x="299" y="8282"/>
                      <a:pt x="299" y="8282"/>
                    </a:cubicBezTo>
                    <a:cubicBezTo>
                      <a:pt x="299" y="8282"/>
                      <a:pt x="416" y="8260"/>
                      <a:pt x="537" y="8284"/>
                    </a:cubicBezTo>
                    <a:cubicBezTo>
                      <a:pt x="656" y="8306"/>
                      <a:pt x="730" y="8383"/>
                      <a:pt x="730" y="8383"/>
                    </a:cubicBezTo>
                    <a:close/>
                    <a:moveTo>
                      <a:pt x="711" y="8385"/>
                    </a:moveTo>
                    <a:cubicBezTo>
                      <a:pt x="689" y="8365"/>
                      <a:pt x="625" y="8314"/>
                      <a:pt x="535" y="8297"/>
                    </a:cubicBezTo>
                    <a:cubicBezTo>
                      <a:pt x="498" y="8290"/>
                      <a:pt x="458" y="8287"/>
                      <a:pt x="416" y="8287"/>
                    </a:cubicBezTo>
                    <a:cubicBezTo>
                      <a:pt x="370" y="8287"/>
                      <a:pt x="333" y="8291"/>
                      <a:pt x="314" y="8294"/>
                    </a:cubicBezTo>
                    <a:cubicBezTo>
                      <a:pt x="320" y="8352"/>
                      <a:pt x="320" y="8352"/>
                      <a:pt x="320" y="8352"/>
                    </a:cubicBezTo>
                    <a:cubicBezTo>
                      <a:pt x="328" y="8352"/>
                      <a:pt x="339" y="8351"/>
                      <a:pt x="352" y="8351"/>
                    </a:cubicBezTo>
                    <a:cubicBezTo>
                      <a:pt x="408" y="8351"/>
                      <a:pt x="428" y="8367"/>
                      <a:pt x="434" y="8385"/>
                    </a:cubicBezTo>
                    <a:cubicBezTo>
                      <a:pt x="448" y="8387"/>
                      <a:pt x="478" y="8389"/>
                      <a:pt x="506" y="8392"/>
                    </a:cubicBezTo>
                    <a:cubicBezTo>
                      <a:pt x="509" y="8392"/>
                      <a:pt x="509" y="8392"/>
                      <a:pt x="509" y="8392"/>
                    </a:cubicBezTo>
                    <a:cubicBezTo>
                      <a:pt x="511" y="8393"/>
                      <a:pt x="511" y="8393"/>
                      <a:pt x="511" y="8393"/>
                    </a:cubicBezTo>
                    <a:cubicBezTo>
                      <a:pt x="569" y="8421"/>
                      <a:pt x="569" y="8421"/>
                      <a:pt x="569" y="8421"/>
                    </a:cubicBezTo>
                    <a:cubicBezTo>
                      <a:pt x="575" y="8413"/>
                      <a:pt x="585" y="8407"/>
                      <a:pt x="598" y="8407"/>
                    </a:cubicBezTo>
                    <a:cubicBezTo>
                      <a:pt x="605" y="8407"/>
                      <a:pt x="612" y="8408"/>
                      <a:pt x="619" y="8411"/>
                    </a:cubicBezTo>
                    <a:cubicBezTo>
                      <a:pt x="638" y="8420"/>
                      <a:pt x="659" y="8431"/>
                      <a:pt x="671" y="8436"/>
                    </a:cubicBezTo>
                    <a:lnTo>
                      <a:pt x="711" y="8385"/>
                    </a:lnTo>
                    <a:close/>
                    <a:moveTo>
                      <a:pt x="5509" y="0"/>
                    </a:moveTo>
                    <a:cubicBezTo>
                      <a:pt x="5625" y="0"/>
                      <a:pt x="5625" y="0"/>
                      <a:pt x="5625" y="0"/>
                    </a:cubicBezTo>
                    <a:cubicBezTo>
                      <a:pt x="5661" y="4"/>
                      <a:pt x="5661" y="4"/>
                      <a:pt x="5661" y="4"/>
                    </a:cubicBezTo>
                    <a:cubicBezTo>
                      <a:pt x="5652" y="79"/>
                      <a:pt x="5652" y="79"/>
                      <a:pt x="5652" y="79"/>
                    </a:cubicBezTo>
                    <a:cubicBezTo>
                      <a:pt x="5646" y="79"/>
                      <a:pt x="5646" y="79"/>
                      <a:pt x="5646" y="79"/>
                    </a:cubicBezTo>
                    <a:cubicBezTo>
                      <a:pt x="5502" y="61"/>
                      <a:pt x="5502" y="61"/>
                      <a:pt x="5502" y="61"/>
                    </a:cubicBezTo>
                    <a:lnTo>
                      <a:pt x="5509" y="0"/>
                    </a:lnTo>
                    <a:close/>
                    <a:moveTo>
                      <a:pt x="5522" y="0"/>
                    </a:moveTo>
                    <a:cubicBezTo>
                      <a:pt x="5516" y="50"/>
                      <a:pt x="5516" y="50"/>
                      <a:pt x="5516" y="50"/>
                    </a:cubicBezTo>
                    <a:cubicBezTo>
                      <a:pt x="5641" y="65"/>
                      <a:pt x="5641" y="65"/>
                      <a:pt x="5641" y="65"/>
                    </a:cubicBezTo>
                    <a:cubicBezTo>
                      <a:pt x="5647" y="16"/>
                      <a:pt x="5647" y="16"/>
                      <a:pt x="5647" y="16"/>
                    </a:cubicBezTo>
                    <a:lnTo>
                      <a:pt x="5522" y="0"/>
                    </a:lnTo>
                    <a:close/>
                    <a:moveTo>
                      <a:pt x="1081" y="9064"/>
                    </a:moveTo>
                    <a:cubicBezTo>
                      <a:pt x="972" y="9137"/>
                      <a:pt x="972" y="9137"/>
                      <a:pt x="972" y="9137"/>
                    </a:cubicBezTo>
                    <a:cubicBezTo>
                      <a:pt x="1018" y="8996"/>
                      <a:pt x="1018" y="8996"/>
                      <a:pt x="1018" y="8996"/>
                    </a:cubicBezTo>
                    <a:cubicBezTo>
                      <a:pt x="1089" y="9058"/>
                      <a:pt x="1089" y="9058"/>
                      <a:pt x="1089" y="9058"/>
                    </a:cubicBezTo>
                    <a:lnTo>
                      <a:pt x="1081" y="9064"/>
                    </a:lnTo>
                    <a:close/>
                    <a:moveTo>
                      <a:pt x="1065" y="9057"/>
                    </a:moveTo>
                    <a:cubicBezTo>
                      <a:pt x="1025" y="9022"/>
                      <a:pt x="1025" y="9022"/>
                      <a:pt x="1025" y="9022"/>
                    </a:cubicBezTo>
                    <a:cubicBezTo>
                      <a:pt x="999" y="9101"/>
                      <a:pt x="999" y="9101"/>
                      <a:pt x="999" y="9101"/>
                    </a:cubicBezTo>
                    <a:lnTo>
                      <a:pt x="1065" y="9057"/>
                    </a:lnTo>
                    <a:close/>
                    <a:moveTo>
                      <a:pt x="5778" y="98"/>
                    </a:moveTo>
                    <a:cubicBezTo>
                      <a:pt x="5788" y="23"/>
                      <a:pt x="5788" y="23"/>
                      <a:pt x="5788" y="23"/>
                    </a:cubicBezTo>
                    <a:cubicBezTo>
                      <a:pt x="5938" y="41"/>
                      <a:pt x="5938" y="41"/>
                      <a:pt x="5938" y="41"/>
                    </a:cubicBezTo>
                    <a:cubicBezTo>
                      <a:pt x="5929" y="116"/>
                      <a:pt x="5929" y="116"/>
                      <a:pt x="5929" y="116"/>
                    </a:cubicBezTo>
                    <a:cubicBezTo>
                      <a:pt x="5922" y="116"/>
                      <a:pt x="5922" y="116"/>
                      <a:pt x="5922" y="116"/>
                    </a:cubicBezTo>
                    <a:lnTo>
                      <a:pt x="5778" y="98"/>
                    </a:lnTo>
                    <a:close/>
                    <a:moveTo>
                      <a:pt x="5793" y="86"/>
                    </a:moveTo>
                    <a:cubicBezTo>
                      <a:pt x="5917" y="102"/>
                      <a:pt x="5917" y="102"/>
                      <a:pt x="5917" y="102"/>
                    </a:cubicBezTo>
                    <a:cubicBezTo>
                      <a:pt x="5923" y="53"/>
                      <a:pt x="5923" y="53"/>
                      <a:pt x="5923" y="53"/>
                    </a:cubicBezTo>
                    <a:cubicBezTo>
                      <a:pt x="5799" y="37"/>
                      <a:pt x="5799" y="37"/>
                      <a:pt x="5799" y="37"/>
                    </a:cubicBezTo>
                    <a:lnTo>
                      <a:pt x="5793" y="86"/>
                    </a:lnTo>
                    <a:close/>
                    <a:moveTo>
                      <a:pt x="831" y="7061"/>
                    </a:moveTo>
                    <a:cubicBezTo>
                      <a:pt x="663" y="6954"/>
                      <a:pt x="663" y="6954"/>
                      <a:pt x="663" y="6954"/>
                    </a:cubicBezTo>
                    <a:cubicBezTo>
                      <a:pt x="799" y="6706"/>
                      <a:pt x="799" y="6706"/>
                      <a:pt x="799" y="6706"/>
                    </a:cubicBezTo>
                    <a:cubicBezTo>
                      <a:pt x="1036" y="6854"/>
                      <a:pt x="1036" y="6854"/>
                      <a:pt x="1036" y="6854"/>
                    </a:cubicBezTo>
                    <a:lnTo>
                      <a:pt x="831" y="7061"/>
                    </a:lnTo>
                    <a:close/>
                    <a:moveTo>
                      <a:pt x="829" y="7043"/>
                    </a:moveTo>
                    <a:cubicBezTo>
                      <a:pt x="1014" y="6856"/>
                      <a:pt x="1014" y="6856"/>
                      <a:pt x="1014" y="6856"/>
                    </a:cubicBezTo>
                    <a:cubicBezTo>
                      <a:pt x="804" y="6726"/>
                      <a:pt x="804" y="6726"/>
                      <a:pt x="804" y="6726"/>
                    </a:cubicBezTo>
                    <a:cubicBezTo>
                      <a:pt x="682" y="6949"/>
                      <a:pt x="682" y="6949"/>
                      <a:pt x="682" y="6949"/>
                    </a:cubicBezTo>
                    <a:lnTo>
                      <a:pt x="829" y="7043"/>
                    </a:lnTo>
                    <a:close/>
                    <a:moveTo>
                      <a:pt x="1733" y="405"/>
                    </a:moveTo>
                    <a:cubicBezTo>
                      <a:pt x="1730" y="405"/>
                      <a:pt x="1764" y="307"/>
                      <a:pt x="1764" y="307"/>
                    </a:cubicBezTo>
                    <a:cubicBezTo>
                      <a:pt x="1825" y="378"/>
                      <a:pt x="1825" y="378"/>
                      <a:pt x="1825" y="378"/>
                    </a:cubicBezTo>
                    <a:cubicBezTo>
                      <a:pt x="1813" y="544"/>
                      <a:pt x="1813" y="544"/>
                      <a:pt x="1813" y="544"/>
                    </a:cubicBezTo>
                    <a:cubicBezTo>
                      <a:pt x="1733" y="538"/>
                      <a:pt x="1733" y="538"/>
                      <a:pt x="1733" y="538"/>
                    </a:cubicBezTo>
                    <a:cubicBezTo>
                      <a:pt x="1741" y="476"/>
                      <a:pt x="1741" y="476"/>
                      <a:pt x="1741" y="476"/>
                    </a:cubicBezTo>
                    <a:cubicBezTo>
                      <a:pt x="1741" y="476"/>
                      <a:pt x="1765" y="436"/>
                      <a:pt x="1762" y="436"/>
                    </a:cubicBezTo>
                    <a:cubicBezTo>
                      <a:pt x="1759" y="436"/>
                      <a:pt x="1736" y="405"/>
                      <a:pt x="1733" y="405"/>
                    </a:cubicBezTo>
                    <a:close/>
                    <a:moveTo>
                      <a:pt x="1748" y="400"/>
                    </a:moveTo>
                    <a:cubicBezTo>
                      <a:pt x="1751" y="403"/>
                      <a:pt x="1754" y="407"/>
                      <a:pt x="1758" y="411"/>
                    </a:cubicBezTo>
                    <a:cubicBezTo>
                      <a:pt x="1761" y="415"/>
                      <a:pt x="1764" y="419"/>
                      <a:pt x="1767" y="422"/>
                    </a:cubicBezTo>
                    <a:cubicBezTo>
                      <a:pt x="1770" y="422"/>
                      <a:pt x="1770" y="422"/>
                      <a:pt x="1770" y="422"/>
                    </a:cubicBezTo>
                    <a:cubicBezTo>
                      <a:pt x="1774" y="429"/>
                      <a:pt x="1774" y="429"/>
                      <a:pt x="1774" y="429"/>
                    </a:cubicBezTo>
                    <a:cubicBezTo>
                      <a:pt x="1778" y="436"/>
                      <a:pt x="1779" y="438"/>
                      <a:pt x="1755" y="480"/>
                    </a:cubicBezTo>
                    <a:cubicBezTo>
                      <a:pt x="1749" y="526"/>
                      <a:pt x="1749" y="526"/>
                      <a:pt x="1749" y="526"/>
                    </a:cubicBezTo>
                    <a:cubicBezTo>
                      <a:pt x="1800" y="529"/>
                      <a:pt x="1800" y="529"/>
                      <a:pt x="1800" y="529"/>
                    </a:cubicBezTo>
                    <a:cubicBezTo>
                      <a:pt x="1811" y="383"/>
                      <a:pt x="1811" y="383"/>
                      <a:pt x="1811" y="383"/>
                    </a:cubicBezTo>
                    <a:cubicBezTo>
                      <a:pt x="1769" y="334"/>
                      <a:pt x="1769" y="334"/>
                      <a:pt x="1769" y="334"/>
                    </a:cubicBezTo>
                    <a:cubicBezTo>
                      <a:pt x="1760" y="362"/>
                      <a:pt x="1751" y="388"/>
                      <a:pt x="1748" y="400"/>
                    </a:cubicBezTo>
                    <a:close/>
                    <a:moveTo>
                      <a:pt x="929" y="6866"/>
                    </a:moveTo>
                    <a:cubicBezTo>
                      <a:pt x="911" y="6878"/>
                      <a:pt x="911" y="6878"/>
                      <a:pt x="911" y="6878"/>
                    </a:cubicBezTo>
                    <a:cubicBezTo>
                      <a:pt x="785" y="6962"/>
                      <a:pt x="785" y="6962"/>
                      <a:pt x="785" y="6962"/>
                    </a:cubicBezTo>
                    <a:cubicBezTo>
                      <a:pt x="780" y="6966"/>
                      <a:pt x="780" y="6966"/>
                      <a:pt x="780" y="6966"/>
                    </a:cubicBezTo>
                    <a:cubicBezTo>
                      <a:pt x="774" y="6965"/>
                      <a:pt x="774" y="6965"/>
                      <a:pt x="774" y="6965"/>
                    </a:cubicBezTo>
                    <a:cubicBezTo>
                      <a:pt x="747" y="6959"/>
                      <a:pt x="747" y="6959"/>
                      <a:pt x="747" y="6959"/>
                    </a:cubicBezTo>
                    <a:cubicBezTo>
                      <a:pt x="728" y="6956"/>
                      <a:pt x="728" y="6956"/>
                      <a:pt x="728" y="6956"/>
                    </a:cubicBezTo>
                    <a:cubicBezTo>
                      <a:pt x="738" y="6939"/>
                      <a:pt x="738" y="6939"/>
                      <a:pt x="738" y="6939"/>
                    </a:cubicBezTo>
                    <a:cubicBezTo>
                      <a:pt x="813" y="6813"/>
                      <a:pt x="813" y="6813"/>
                      <a:pt x="813" y="6813"/>
                    </a:cubicBezTo>
                    <a:cubicBezTo>
                      <a:pt x="820" y="6801"/>
                      <a:pt x="820" y="6801"/>
                      <a:pt x="820" y="6801"/>
                    </a:cubicBezTo>
                    <a:cubicBezTo>
                      <a:pt x="832" y="6808"/>
                      <a:pt x="832" y="6808"/>
                      <a:pt x="832" y="6808"/>
                    </a:cubicBezTo>
                    <a:cubicBezTo>
                      <a:pt x="910" y="6855"/>
                      <a:pt x="910" y="6855"/>
                      <a:pt x="910" y="6855"/>
                    </a:cubicBezTo>
                    <a:lnTo>
                      <a:pt x="929" y="6866"/>
                    </a:lnTo>
                    <a:close/>
                    <a:moveTo>
                      <a:pt x="903" y="6867"/>
                    </a:moveTo>
                    <a:cubicBezTo>
                      <a:pt x="825" y="6820"/>
                      <a:pt x="825" y="6820"/>
                      <a:pt x="825" y="6820"/>
                    </a:cubicBezTo>
                    <a:cubicBezTo>
                      <a:pt x="750" y="6946"/>
                      <a:pt x="750" y="6946"/>
                      <a:pt x="750" y="6946"/>
                    </a:cubicBezTo>
                    <a:cubicBezTo>
                      <a:pt x="777" y="6951"/>
                      <a:pt x="777" y="6951"/>
                      <a:pt x="777" y="6951"/>
                    </a:cubicBezTo>
                    <a:lnTo>
                      <a:pt x="903" y="6867"/>
                    </a:lnTo>
                    <a:close/>
                    <a:moveTo>
                      <a:pt x="4701" y="74"/>
                    </a:moveTo>
                    <a:cubicBezTo>
                      <a:pt x="4715" y="0"/>
                      <a:pt x="4715" y="0"/>
                      <a:pt x="4715" y="0"/>
                    </a:cubicBezTo>
                    <a:cubicBezTo>
                      <a:pt x="4702" y="0"/>
                      <a:pt x="4702" y="0"/>
                      <a:pt x="4702" y="0"/>
                    </a:cubicBezTo>
                    <a:cubicBezTo>
                      <a:pt x="4691" y="59"/>
                      <a:pt x="4691" y="59"/>
                      <a:pt x="4691" y="59"/>
                    </a:cubicBezTo>
                    <a:cubicBezTo>
                      <a:pt x="4562" y="38"/>
                      <a:pt x="4562" y="38"/>
                      <a:pt x="4562" y="38"/>
                    </a:cubicBezTo>
                    <a:cubicBezTo>
                      <a:pt x="4569" y="0"/>
                      <a:pt x="4569" y="0"/>
                      <a:pt x="4569" y="0"/>
                    </a:cubicBezTo>
                    <a:cubicBezTo>
                      <a:pt x="4556" y="0"/>
                      <a:pt x="4556" y="0"/>
                      <a:pt x="4556" y="0"/>
                    </a:cubicBezTo>
                    <a:cubicBezTo>
                      <a:pt x="4547" y="49"/>
                      <a:pt x="4547" y="49"/>
                      <a:pt x="4547" y="49"/>
                    </a:cubicBezTo>
                    <a:lnTo>
                      <a:pt x="4701" y="74"/>
                    </a:lnTo>
                    <a:close/>
                    <a:moveTo>
                      <a:pt x="7330" y="114"/>
                    </a:moveTo>
                    <a:cubicBezTo>
                      <a:pt x="7253" y="80"/>
                      <a:pt x="7253" y="80"/>
                      <a:pt x="7253" y="80"/>
                    </a:cubicBezTo>
                    <a:cubicBezTo>
                      <a:pt x="7283" y="10"/>
                      <a:pt x="7283" y="10"/>
                      <a:pt x="7283" y="10"/>
                    </a:cubicBezTo>
                    <a:cubicBezTo>
                      <a:pt x="7367" y="47"/>
                      <a:pt x="7367" y="47"/>
                      <a:pt x="7367" y="47"/>
                    </a:cubicBezTo>
                    <a:cubicBezTo>
                      <a:pt x="7336" y="116"/>
                      <a:pt x="7336" y="116"/>
                      <a:pt x="7336" y="116"/>
                    </a:cubicBezTo>
                    <a:lnTo>
                      <a:pt x="7330" y="114"/>
                    </a:lnTo>
                    <a:close/>
                    <a:moveTo>
                      <a:pt x="7330" y="99"/>
                    </a:moveTo>
                    <a:cubicBezTo>
                      <a:pt x="7349" y="54"/>
                      <a:pt x="7349" y="54"/>
                      <a:pt x="7349" y="54"/>
                    </a:cubicBezTo>
                    <a:cubicBezTo>
                      <a:pt x="7290" y="27"/>
                      <a:pt x="7290" y="27"/>
                      <a:pt x="7290" y="27"/>
                    </a:cubicBezTo>
                    <a:cubicBezTo>
                      <a:pt x="7270" y="73"/>
                      <a:pt x="7270" y="73"/>
                      <a:pt x="7270" y="73"/>
                    </a:cubicBezTo>
                    <a:lnTo>
                      <a:pt x="7330" y="99"/>
                    </a:lnTo>
                    <a:close/>
                    <a:moveTo>
                      <a:pt x="2103" y="882"/>
                    </a:moveTo>
                    <a:cubicBezTo>
                      <a:pt x="1956" y="824"/>
                      <a:pt x="1956" y="824"/>
                      <a:pt x="1956" y="824"/>
                    </a:cubicBezTo>
                    <a:cubicBezTo>
                      <a:pt x="1993" y="745"/>
                      <a:pt x="1993" y="745"/>
                      <a:pt x="1993" y="745"/>
                    </a:cubicBezTo>
                    <a:cubicBezTo>
                      <a:pt x="2261" y="656"/>
                      <a:pt x="2261" y="656"/>
                      <a:pt x="2261" y="656"/>
                    </a:cubicBezTo>
                    <a:cubicBezTo>
                      <a:pt x="2287" y="558"/>
                      <a:pt x="2287" y="558"/>
                      <a:pt x="2287" y="558"/>
                    </a:cubicBezTo>
                    <a:cubicBezTo>
                      <a:pt x="2323" y="554"/>
                      <a:pt x="2323" y="554"/>
                      <a:pt x="2323" y="554"/>
                    </a:cubicBezTo>
                    <a:cubicBezTo>
                      <a:pt x="2383" y="450"/>
                      <a:pt x="2383" y="450"/>
                      <a:pt x="2383" y="450"/>
                    </a:cubicBezTo>
                    <a:cubicBezTo>
                      <a:pt x="2356" y="422"/>
                      <a:pt x="2356" y="422"/>
                      <a:pt x="2356" y="422"/>
                    </a:cubicBezTo>
                    <a:cubicBezTo>
                      <a:pt x="2429" y="203"/>
                      <a:pt x="2429" y="203"/>
                      <a:pt x="2429" y="203"/>
                    </a:cubicBezTo>
                    <a:cubicBezTo>
                      <a:pt x="2599" y="312"/>
                      <a:pt x="2599" y="312"/>
                      <a:pt x="2599" y="312"/>
                    </a:cubicBezTo>
                    <a:cubicBezTo>
                      <a:pt x="2595" y="318"/>
                      <a:pt x="2595" y="318"/>
                      <a:pt x="2595" y="318"/>
                    </a:cubicBezTo>
                    <a:cubicBezTo>
                      <a:pt x="2427" y="605"/>
                      <a:pt x="2427" y="605"/>
                      <a:pt x="2427" y="605"/>
                    </a:cubicBezTo>
                    <a:cubicBezTo>
                      <a:pt x="2382" y="609"/>
                      <a:pt x="2382" y="609"/>
                      <a:pt x="2382" y="609"/>
                    </a:cubicBezTo>
                    <a:cubicBezTo>
                      <a:pt x="2358" y="726"/>
                      <a:pt x="2358" y="726"/>
                      <a:pt x="2358" y="726"/>
                    </a:cubicBezTo>
                    <a:cubicBezTo>
                      <a:pt x="2187" y="807"/>
                      <a:pt x="2187" y="807"/>
                      <a:pt x="2187" y="807"/>
                    </a:cubicBezTo>
                    <a:cubicBezTo>
                      <a:pt x="2158" y="794"/>
                      <a:pt x="2158" y="794"/>
                      <a:pt x="2158" y="794"/>
                    </a:cubicBezTo>
                    <a:lnTo>
                      <a:pt x="2103" y="882"/>
                    </a:lnTo>
                    <a:close/>
                    <a:moveTo>
                      <a:pt x="2097" y="863"/>
                    </a:moveTo>
                    <a:cubicBezTo>
                      <a:pt x="2152" y="775"/>
                      <a:pt x="2152" y="775"/>
                      <a:pt x="2152" y="775"/>
                    </a:cubicBezTo>
                    <a:cubicBezTo>
                      <a:pt x="2186" y="791"/>
                      <a:pt x="2186" y="791"/>
                      <a:pt x="2186" y="791"/>
                    </a:cubicBezTo>
                    <a:cubicBezTo>
                      <a:pt x="2345" y="716"/>
                      <a:pt x="2345" y="716"/>
                      <a:pt x="2345" y="716"/>
                    </a:cubicBezTo>
                    <a:cubicBezTo>
                      <a:pt x="2369" y="595"/>
                      <a:pt x="2369" y="595"/>
                      <a:pt x="2369" y="595"/>
                    </a:cubicBezTo>
                    <a:cubicBezTo>
                      <a:pt x="2418" y="591"/>
                      <a:pt x="2418" y="591"/>
                      <a:pt x="2418" y="591"/>
                    </a:cubicBezTo>
                    <a:cubicBezTo>
                      <a:pt x="2579" y="317"/>
                      <a:pt x="2579" y="317"/>
                      <a:pt x="2579" y="317"/>
                    </a:cubicBezTo>
                    <a:cubicBezTo>
                      <a:pt x="2437" y="225"/>
                      <a:pt x="2437" y="225"/>
                      <a:pt x="2437" y="225"/>
                    </a:cubicBezTo>
                    <a:cubicBezTo>
                      <a:pt x="2373" y="418"/>
                      <a:pt x="2373" y="418"/>
                      <a:pt x="2373" y="418"/>
                    </a:cubicBezTo>
                    <a:cubicBezTo>
                      <a:pt x="2401" y="448"/>
                      <a:pt x="2401" y="448"/>
                      <a:pt x="2401" y="448"/>
                    </a:cubicBezTo>
                    <a:cubicBezTo>
                      <a:pt x="2332" y="568"/>
                      <a:pt x="2332" y="568"/>
                      <a:pt x="2332" y="568"/>
                    </a:cubicBezTo>
                    <a:cubicBezTo>
                      <a:pt x="2298" y="572"/>
                      <a:pt x="2298" y="572"/>
                      <a:pt x="2298" y="572"/>
                    </a:cubicBezTo>
                    <a:cubicBezTo>
                      <a:pt x="2273" y="667"/>
                      <a:pt x="2273" y="667"/>
                      <a:pt x="2273" y="667"/>
                    </a:cubicBezTo>
                    <a:cubicBezTo>
                      <a:pt x="2004" y="757"/>
                      <a:pt x="2004" y="757"/>
                      <a:pt x="2004" y="757"/>
                    </a:cubicBezTo>
                    <a:cubicBezTo>
                      <a:pt x="1976" y="816"/>
                      <a:pt x="1976" y="816"/>
                      <a:pt x="1976" y="816"/>
                    </a:cubicBezTo>
                    <a:lnTo>
                      <a:pt x="2097" y="863"/>
                    </a:lnTo>
                    <a:close/>
                    <a:moveTo>
                      <a:pt x="794" y="9218"/>
                    </a:moveTo>
                    <a:cubicBezTo>
                      <a:pt x="682" y="9227"/>
                      <a:pt x="682" y="9227"/>
                      <a:pt x="682" y="9227"/>
                    </a:cubicBezTo>
                    <a:cubicBezTo>
                      <a:pt x="418" y="8920"/>
                      <a:pt x="418" y="8920"/>
                      <a:pt x="418" y="8920"/>
                    </a:cubicBezTo>
                    <a:cubicBezTo>
                      <a:pt x="432" y="8836"/>
                      <a:pt x="432" y="8836"/>
                      <a:pt x="432" y="8836"/>
                    </a:cubicBezTo>
                    <a:cubicBezTo>
                      <a:pt x="783" y="9014"/>
                      <a:pt x="783" y="9014"/>
                      <a:pt x="783" y="9014"/>
                    </a:cubicBezTo>
                    <a:cubicBezTo>
                      <a:pt x="802" y="9217"/>
                      <a:pt x="802" y="9217"/>
                      <a:pt x="802" y="9217"/>
                    </a:cubicBezTo>
                    <a:lnTo>
                      <a:pt x="794" y="9218"/>
                    </a:lnTo>
                    <a:close/>
                    <a:moveTo>
                      <a:pt x="786" y="9203"/>
                    </a:moveTo>
                    <a:cubicBezTo>
                      <a:pt x="769" y="9024"/>
                      <a:pt x="769" y="9024"/>
                      <a:pt x="769" y="9024"/>
                    </a:cubicBezTo>
                    <a:cubicBezTo>
                      <a:pt x="444" y="8859"/>
                      <a:pt x="444" y="8859"/>
                      <a:pt x="444" y="8859"/>
                    </a:cubicBezTo>
                    <a:cubicBezTo>
                      <a:pt x="434" y="8916"/>
                      <a:pt x="434" y="8916"/>
                      <a:pt x="434" y="8916"/>
                    </a:cubicBezTo>
                    <a:cubicBezTo>
                      <a:pt x="688" y="9211"/>
                      <a:pt x="688" y="9211"/>
                      <a:pt x="688" y="9211"/>
                    </a:cubicBezTo>
                    <a:lnTo>
                      <a:pt x="786" y="9203"/>
                    </a:lnTo>
                    <a:close/>
                    <a:moveTo>
                      <a:pt x="1744" y="791"/>
                    </a:moveTo>
                    <a:cubicBezTo>
                      <a:pt x="1846" y="842"/>
                      <a:pt x="1846" y="842"/>
                      <a:pt x="1846" y="842"/>
                    </a:cubicBezTo>
                    <a:cubicBezTo>
                      <a:pt x="1846" y="842"/>
                      <a:pt x="1832" y="892"/>
                      <a:pt x="1829" y="892"/>
                    </a:cubicBezTo>
                    <a:cubicBezTo>
                      <a:pt x="1826" y="892"/>
                      <a:pt x="2014" y="983"/>
                      <a:pt x="2014" y="983"/>
                    </a:cubicBezTo>
                    <a:cubicBezTo>
                      <a:pt x="2014" y="983"/>
                      <a:pt x="1948" y="1030"/>
                      <a:pt x="1945" y="1030"/>
                    </a:cubicBezTo>
                    <a:cubicBezTo>
                      <a:pt x="1942" y="1030"/>
                      <a:pt x="1697" y="1038"/>
                      <a:pt x="1695" y="1038"/>
                    </a:cubicBezTo>
                    <a:cubicBezTo>
                      <a:pt x="1693" y="1038"/>
                      <a:pt x="1600" y="915"/>
                      <a:pt x="1600" y="915"/>
                    </a:cubicBezTo>
                    <a:lnTo>
                      <a:pt x="1744" y="791"/>
                    </a:lnTo>
                    <a:close/>
                    <a:moveTo>
                      <a:pt x="1746" y="808"/>
                    </a:moveTo>
                    <a:cubicBezTo>
                      <a:pt x="1619" y="918"/>
                      <a:pt x="1619" y="918"/>
                      <a:pt x="1619" y="918"/>
                    </a:cubicBezTo>
                    <a:cubicBezTo>
                      <a:pt x="1648" y="956"/>
                      <a:pt x="1689" y="1009"/>
                      <a:pt x="1701" y="1024"/>
                    </a:cubicBezTo>
                    <a:cubicBezTo>
                      <a:pt x="1716" y="1024"/>
                      <a:pt x="1757" y="1023"/>
                      <a:pt x="1801" y="1021"/>
                    </a:cubicBezTo>
                    <a:cubicBezTo>
                      <a:pt x="1889" y="1018"/>
                      <a:pt x="1930" y="1017"/>
                      <a:pt x="1942" y="1016"/>
                    </a:cubicBezTo>
                    <a:cubicBezTo>
                      <a:pt x="1948" y="1012"/>
                      <a:pt x="1967" y="1000"/>
                      <a:pt x="1987" y="985"/>
                    </a:cubicBezTo>
                    <a:cubicBezTo>
                      <a:pt x="1969" y="977"/>
                      <a:pt x="1942" y="964"/>
                      <a:pt x="1915" y="951"/>
                    </a:cubicBezTo>
                    <a:cubicBezTo>
                      <a:pt x="1813" y="900"/>
                      <a:pt x="1813" y="900"/>
                      <a:pt x="1816" y="889"/>
                    </a:cubicBezTo>
                    <a:cubicBezTo>
                      <a:pt x="1818" y="878"/>
                      <a:pt x="1818" y="878"/>
                      <a:pt x="1818" y="878"/>
                    </a:cubicBezTo>
                    <a:cubicBezTo>
                      <a:pt x="1821" y="878"/>
                      <a:pt x="1821" y="878"/>
                      <a:pt x="1821" y="878"/>
                    </a:cubicBezTo>
                    <a:cubicBezTo>
                      <a:pt x="1823" y="871"/>
                      <a:pt x="1826" y="860"/>
                      <a:pt x="1829" y="849"/>
                    </a:cubicBezTo>
                    <a:lnTo>
                      <a:pt x="1746" y="808"/>
                    </a:lnTo>
                    <a:close/>
                    <a:moveTo>
                      <a:pt x="8268" y="10533"/>
                    </a:moveTo>
                    <a:cubicBezTo>
                      <a:pt x="8269" y="10724"/>
                      <a:pt x="8269" y="10724"/>
                      <a:pt x="8269" y="10724"/>
                    </a:cubicBezTo>
                    <a:cubicBezTo>
                      <a:pt x="8262" y="10724"/>
                      <a:pt x="8262" y="10724"/>
                      <a:pt x="8262" y="10724"/>
                    </a:cubicBezTo>
                    <a:cubicBezTo>
                      <a:pt x="8179" y="10727"/>
                      <a:pt x="8179" y="10727"/>
                      <a:pt x="8179" y="10727"/>
                    </a:cubicBezTo>
                    <a:cubicBezTo>
                      <a:pt x="8179" y="10769"/>
                      <a:pt x="8179" y="10769"/>
                      <a:pt x="8179" y="10769"/>
                    </a:cubicBezTo>
                    <a:cubicBezTo>
                      <a:pt x="8096" y="10768"/>
                      <a:pt x="8096" y="10768"/>
                      <a:pt x="8096" y="10768"/>
                    </a:cubicBezTo>
                    <a:cubicBezTo>
                      <a:pt x="8091" y="10725"/>
                      <a:pt x="8091" y="10725"/>
                      <a:pt x="8091" y="10725"/>
                    </a:cubicBezTo>
                    <a:cubicBezTo>
                      <a:pt x="7956" y="10726"/>
                      <a:pt x="7956" y="10726"/>
                      <a:pt x="7956" y="10726"/>
                    </a:cubicBezTo>
                    <a:cubicBezTo>
                      <a:pt x="7954" y="10670"/>
                      <a:pt x="7954" y="10670"/>
                      <a:pt x="7954" y="10670"/>
                    </a:cubicBezTo>
                    <a:cubicBezTo>
                      <a:pt x="7934" y="10669"/>
                      <a:pt x="7934" y="10669"/>
                      <a:pt x="7934" y="10669"/>
                    </a:cubicBezTo>
                    <a:cubicBezTo>
                      <a:pt x="7928" y="10669"/>
                      <a:pt x="7928" y="10669"/>
                      <a:pt x="7928" y="10669"/>
                    </a:cubicBezTo>
                    <a:cubicBezTo>
                      <a:pt x="7926" y="10601"/>
                      <a:pt x="7926" y="10601"/>
                      <a:pt x="7926" y="10601"/>
                    </a:cubicBezTo>
                    <a:cubicBezTo>
                      <a:pt x="7959" y="10599"/>
                      <a:pt x="7959" y="10599"/>
                      <a:pt x="7959" y="10599"/>
                    </a:cubicBezTo>
                    <a:cubicBezTo>
                      <a:pt x="7956" y="10533"/>
                      <a:pt x="7956" y="10533"/>
                      <a:pt x="7956" y="10533"/>
                    </a:cubicBezTo>
                    <a:cubicBezTo>
                      <a:pt x="8031" y="10532"/>
                      <a:pt x="8031" y="10532"/>
                      <a:pt x="8031" y="10532"/>
                    </a:cubicBezTo>
                    <a:cubicBezTo>
                      <a:pt x="8030" y="10514"/>
                      <a:pt x="8030" y="10514"/>
                      <a:pt x="8030" y="10514"/>
                    </a:cubicBezTo>
                    <a:cubicBezTo>
                      <a:pt x="8030" y="10507"/>
                      <a:pt x="8030" y="10507"/>
                      <a:pt x="8030" y="10507"/>
                    </a:cubicBezTo>
                    <a:cubicBezTo>
                      <a:pt x="8131" y="10503"/>
                      <a:pt x="8131" y="10503"/>
                      <a:pt x="8131" y="10503"/>
                    </a:cubicBezTo>
                    <a:cubicBezTo>
                      <a:pt x="8133" y="10532"/>
                      <a:pt x="8133" y="10532"/>
                      <a:pt x="8133" y="10532"/>
                    </a:cubicBezTo>
                    <a:lnTo>
                      <a:pt x="8268" y="10533"/>
                    </a:lnTo>
                    <a:close/>
                    <a:moveTo>
                      <a:pt x="8256" y="10711"/>
                    </a:moveTo>
                    <a:cubicBezTo>
                      <a:pt x="8255" y="10546"/>
                      <a:pt x="8255" y="10546"/>
                      <a:pt x="8255" y="10546"/>
                    </a:cubicBezTo>
                    <a:cubicBezTo>
                      <a:pt x="8121" y="10545"/>
                      <a:pt x="8121" y="10545"/>
                      <a:pt x="8121" y="10545"/>
                    </a:cubicBezTo>
                    <a:cubicBezTo>
                      <a:pt x="8119" y="10517"/>
                      <a:pt x="8119" y="10517"/>
                      <a:pt x="8119" y="10517"/>
                    </a:cubicBezTo>
                    <a:cubicBezTo>
                      <a:pt x="8044" y="10520"/>
                      <a:pt x="8044" y="10520"/>
                      <a:pt x="8044" y="10520"/>
                    </a:cubicBezTo>
                    <a:cubicBezTo>
                      <a:pt x="8045" y="10539"/>
                      <a:pt x="8045" y="10539"/>
                      <a:pt x="8045" y="10539"/>
                    </a:cubicBezTo>
                    <a:cubicBezTo>
                      <a:pt x="8045" y="10545"/>
                      <a:pt x="8045" y="10545"/>
                      <a:pt x="8045" y="10545"/>
                    </a:cubicBezTo>
                    <a:cubicBezTo>
                      <a:pt x="7970" y="10546"/>
                      <a:pt x="7970" y="10546"/>
                      <a:pt x="7970" y="10546"/>
                    </a:cubicBezTo>
                    <a:cubicBezTo>
                      <a:pt x="7973" y="10611"/>
                      <a:pt x="7973" y="10611"/>
                      <a:pt x="7973" y="10611"/>
                    </a:cubicBezTo>
                    <a:cubicBezTo>
                      <a:pt x="7940" y="10614"/>
                      <a:pt x="7940" y="10614"/>
                      <a:pt x="7940" y="10614"/>
                    </a:cubicBezTo>
                    <a:cubicBezTo>
                      <a:pt x="7941" y="10657"/>
                      <a:pt x="7941" y="10657"/>
                      <a:pt x="7941" y="10657"/>
                    </a:cubicBezTo>
                    <a:cubicBezTo>
                      <a:pt x="7960" y="10658"/>
                      <a:pt x="7960" y="10658"/>
                      <a:pt x="7960" y="10658"/>
                    </a:cubicBezTo>
                    <a:cubicBezTo>
                      <a:pt x="7966" y="10658"/>
                      <a:pt x="7966" y="10658"/>
                      <a:pt x="7966" y="10658"/>
                    </a:cubicBezTo>
                    <a:cubicBezTo>
                      <a:pt x="7969" y="10713"/>
                      <a:pt x="7969" y="10713"/>
                      <a:pt x="7969" y="10713"/>
                    </a:cubicBezTo>
                    <a:cubicBezTo>
                      <a:pt x="8103" y="10712"/>
                      <a:pt x="8103" y="10712"/>
                      <a:pt x="8103" y="10712"/>
                    </a:cubicBezTo>
                    <a:cubicBezTo>
                      <a:pt x="8108" y="10755"/>
                      <a:pt x="8108" y="10755"/>
                      <a:pt x="8108" y="10755"/>
                    </a:cubicBezTo>
                    <a:cubicBezTo>
                      <a:pt x="8166" y="10756"/>
                      <a:pt x="8166" y="10756"/>
                      <a:pt x="8166" y="10756"/>
                    </a:cubicBezTo>
                    <a:cubicBezTo>
                      <a:pt x="8166" y="10714"/>
                      <a:pt x="8166" y="10714"/>
                      <a:pt x="8166" y="10714"/>
                    </a:cubicBezTo>
                    <a:lnTo>
                      <a:pt x="8256" y="10711"/>
                    </a:lnTo>
                    <a:close/>
                    <a:moveTo>
                      <a:pt x="1606" y="533"/>
                    </a:moveTo>
                    <a:cubicBezTo>
                      <a:pt x="1546" y="455"/>
                      <a:pt x="1546" y="455"/>
                      <a:pt x="1546" y="455"/>
                    </a:cubicBezTo>
                    <a:cubicBezTo>
                      <a:pt x="1691" y="240"/>
                      <a:pt x="1691" y="240"/>
                      <a:pt x="1691" y="240"/>
                    </a:cubicBezTo>
                    <a:cubicBezTo>
                      <a:pt x="1730" y="282"/>
                      <a:pt x="1730" y="282"/>
                      <a:pt x="1730" y="282"/>
                    </a:cubicBezTo>
                    <a:cubicBezTo>
                      <a:pt x="1675" y="441"/>
                      <a:pt x="1675" y="441"/>
                      <a:pt x="1675" y="441"/>
                    </a:cubicBezTo>
                    <a:cubicBezTo>
                      <a:pt x="1710" y="476"/>
                      <a:pt x="1710" y="476"/>
                      <a:pt x="1710" y="476"/>
                    </a:cubicBezTo>
                    <a:cubicBezTo>
                      <a:pt x="1701" y="538"/>
                      <a:pt x="1701" y="538"/>
                      <a:pt x="1701" y="538"/>
                    </a:cubicBezTo>
                    <a:lnTo>
                      <a:pt x="1606" y="533"/>
                    </a:lnTo>
                    <a:close/>
                    <a:moveTo>
                      <a:pt x="1564" y="455"/>
                    </a:moveTo>
                    <a:cubicBezTo>
                      <a:pt x="1613" y="520"/>
                      <a:pt x="1613" y="520"/>
                      <a:pt x="1613" y="520"/>
                    </a:cubicBezTo>
                    <a:cubicBezTo>
                      <a:pt x="1689" y="524"/>
                      <a:pt x="1689" y="524"/>
                      <a:pt x="1689" y="524"/>
                    </a:cubicBezTo>
                    <a:cubicBezTo>
                      <a:pt x="1696" y="481"/>
                      <a:pt x="1696" y="481"/>
                      <a:pt x="1696" y="481"/>
                    </a:cubicBezTo>
                    <a:cubicBezTo>
                      <a:pt x="1665" y="451"/>
                      <a:pt x="1665" y="451"/>
                      <a:pt x="1665" y="451"/>
                    </a:cubicBezTo>
                    <a:cubicBezTo>
                      <a:pt x="1658" y="445"/>
                      <a:pt x="1658" y="445"/>
                      <a:pt x="1658" y="445"/>
                    </a:cubicBezTo>
                    <a:cubicBezTo>
                      <a:pt x="1661" y="436"/>
                      <a:pt x="1661" y="436"/>
                      <a:pt x="1661" y="436"/>
                    </a:cubicBezTo>
                    <a:cubicBezTo>
                      <a:pt x="1714" y="285"/>
                      <a:pt x="1714" y="285"/>
                      <a:pt x="1714" y="285"/>
                    </a:cubicBezTo>
                    <a:cubicBezTo>
                      <a:pt x="1693" y="262"/>
                      <a:pt x="1693" y="262"/>
                      <a:pt x="1693" y="262"/>
                    </a:cubicBezTo>
                    <a:lnTo>
                      <a:pt x="1564" y="455"/>
                    </a:lnTo>
                    <a:close/>
                    <a:moveTo>
                      <a:pt x="7111" y="0"/>
                    </a:moveTo>
                    <a:cubicBezTo>
                      <a:pt x="7127" y="0"/>
                      <a:pt x="7127" y="0"/>
                      <a:pt x="7127" y="0"/>
                    </a:cubicBezTo>
                    <a:cubicBezTo>
                      <a:pt x="7197" y="30"/>
                      <a:pt x="7197" y="30"/>
                      <a:pt x="7197" y="30"/>
                    </a:cubicBezTo>
                    <a:cubicBezTo>
                      <a:pt x="7167" y="100"/>
                      <a:pt x="7167" y="100"/>
                      <a:pt x="7167" y="100"/>
                    </a:cubicBezTo>
                    <a:cubicBezTo>
                      <a:pt x="7161" y="97"/>
                      <a:pt x="7161" y="97"/>
                      <a:pt x="7161" y="97"/>
                    </a:cubicBezTo>
                    <a:cubicBezTo>
                      <a:pt x="7083" y="63"/>
                      <a:pt x="7083" y="63"/>
                      <a:pt x="7083" y="63"/>
                    </a:cubicBezTo>
                    <a:lnTo>
                      <a:pt x="7111" y="0"/>
                    </a:lnTo>
                    <a:close/>
                    <a:moveTo>
                      <a:pt x="7180" y="37"/>
                    </a:moveTo>
                    <a:cubicBezTo>
                      <a:pt x="7120" y="11"/>
                      <a:pt x="7120" y="11"/>
                      <a:pt x="7120" y="11"/>
                    </a:cubicBezTo>
                    <a:cubicBezTo>
                      <a:pt x="7101" y="56"/>
                      <a:pt x="7101" y="56"/>
                      <a:pt x="7101" y="56"/>
                    </a:cubicBezTo>
                    <a:cubicBezTo>
                      <a:pt x="7160" y="83"/>
                      <a:pt x="7160" y="83"/>
                      <a:pt x="7160" y="83"/>
                    </a:cubicBezTo>
                    <a:lnTo>
                      <a:pt x="7180" y="37"/>
                    </a:lnTo>
                    <a:close/>
                    <a:moveTo>
                      <a:pt x="8304" y="0"/>
                    </a:moveTo>
                    <a:cubicBezTo>
                      <a:pt x="8336" y="0"/>
                      <a:pt x="8336" y="0"/>
                      <a:pt x="8336" y="0"/>
                    </a:cubicBezTo>
                    <a:cubicBezTo>
                      <a:pt x="8440" y="68"/>
                      <a:pt x="8440" y="68"/>
                      <a:pt x="8440" y="68"/>
                    </a:cubicBezTo>
                    <a:cubicBezTo>
                      <a:pt x="8398" y="131"/>
                      <a:pt x="8398" y="131"/>
                      <a:pt x="8398" y="131"/>
                    </a:cubicBezTo>
                    <a:cubicBezTo>
                      <a:pt x="8272" y="48"/>
                      <a:pt x="8272" y="48"/>
                      <a:pt x="8272" y="48"/>
                    </a:cubicBezTo>
                    <a:lnTo>
                      <a:pt x="8304" y="0"/>
                    </a:lnTo>
                    <a:close/>
                    <a:moveTo>
                      <a:pt x="8422" y="72"/>
                    </a:moveTo>
                    <a:cubicBezTo>
                      <a:pt x="8317" y="3"/>
                      <a:pt x="8317" y="3"/>
                      <a:pt x="8317" y="3"/>
                    </a:cubicBezTo>
                    <a:cubicBezTo>
                      <a:pt x="8290" y="45"/>
                      <a:pt x="8290" y="45"/>
                      <a:pt x="8290" y="45"/>
                    </a:cubicBezTo>
                    <a:cubicBezTo>
                      <a:pt x="8395" y="113"/>
                      <a:pt x="8395" y="113"/>
                      <a:pt x="8395" y="113"/>
                    </a:cubicBezTo>
                    <a:lnTo>
                      <a:pt x="8422" y="72"/>
                    </a:lnTo>
                    <a:close/>
                    <a:moveTo>
                      <a:pt x="481" y="7411"/>
                    </a:moveTo>
                    <a:cubicBezTo>
                      <a:pt x="481" y="7411"/>
                      <a:pt x="481" y="7411"/>
                      <a:pt x="481" y="7411"/>
                    </a:cubicBezTo>
                    <a:cubicBezTo>
                      <a:pt x="481" y="7411"/>
                      <a:pt x="481" y="7411"/>
                      <a:pt x="481" y="7411"/>
                    </a:cubicBezTo>
                    <a:close/>
                    <a:moveTo>
                      <a:pt x="345" y="675"/>
                    </a:moveTo>
                    <a:cubicBezTo>
                      <a:pt x="258" y="630"/>
                      <a:pt x="258" y="630"/>
                      <a:pt x="258" y="630"/>
                    </a:cubicBezTo>
                    <a:cubicBezTo>
                      <a:pt x="369" y="408"/>
                      <a:pt x="369" y="408"/>
                      <a:pt x="369" y="408"/>
                    </a:cubicBezTo>
                    <a:cubicBezTo>
                      <a:pt x="540" y="636"/>
                      <a:pt x="540" y="636"/>
                      <a:pt x="540" y="636"/>
                    </a:cubicBezTo>
                    <a:cubicBezTo>
                      <a:pt x="535" y="641"/>
                      <a:pt x="535" y="641"/>
                      <a:pt x="535" y="641"/>
                    </a:cubicBezTo>
                    <a:cubicBezTo>
                      <a:pt x="492" y="682"/>
                      <a:pt x="492" y="682"/>
                      <a:pt x="492" y="682"/>
                    </a:cubicBezTo>
                    <a:cubicBezTo>
                      <a:pt x="423" y="637"/>
                      <a:pt x="423" y="637"/>
                      <a:pt x="423" y="637"/>
                    </a:cubicBezTo>
                    <a:lnTo>
                      <a:pt x="345" y="675"/>
                    </a:lnTo>
                    <a:close/>
                    <a:moveTo>
                      <a:pt x="278" y="624"/>
                    </a:moveTo>
                    <a:cubicBezTo>
                      <a:pt x="345" y="658"/>
                      <a:pt x="345" y="658"/>
                      <a:pt x="345" y="658"/>
                    </a:cubicBezTo>
                    <a:cubicBezTo>
                      <a:pt x="424" y="620"/>
                      <a:pt x="424" y="620"/>
                      <a:pt x="424" y="620"/>
                    </a:cubicBezTo>
                    <a:cubicBezTo>
                      <a:pt x="490" y="663"/>
                      <a:pt x="490" y="663"/>
                      <a:pt x="490" y="663"/>
                    </a:cubicBezTo>
                    <a:cubicBezTo>
                      <a:pt x="520" y="635"/>
                      <a:pt x="520" y="635"/>
                      <a:pt x="520" y="635"/>
                    </a:cubicBezTo>
                    <a:cubicBezTo>
                      <a:pt x="372" y="436"/>
                      <a:pt x="372" y="436"/>
                      <a:pt x="372" y="436"/>
                    </a:cubicBezTo>
                    <a:lnTo>
                      <a:pt x="278" y="624"/>
                    </a:lnTo>
                    <a:close/>
                    <a:moveTo>
                      <a:pt x="3915" y="9742"/>
                    </a:moveTo>
                    <a:cubicBezTo>
                      <a:pt x="3976" y="9827"/>
                      <a:pt x="3976" y="9827"/>
                      <a:pt x="3976" y="9827"/>
                    </a:cubicBezTo>
                    <a:cubicBezTo>
                      <a:pt x="3855" y="9912"/>
                      <a:pt x="3855" y="9912"/>
                      <a:pt x="3855" y="9912"/>
                    </a:cubicBezTo>
                    <a:cubicBezTo>
                      <a:pt x="3851" y="9907"/>
                      <a:pt x="3851" y="9907"/>
                      <a:pt x="3851" y="9907"/>
                    </a:cubicBezTo>
                    <a:cubicBezTo>
                      <a:pt x="3795" y="9827"/>
                      <a:pt x="3795" y="9827"/>
                      <a:pt x="3795" y="9827"/>
                    </a:cubicBezTo>
                    <a:lnTo>
                      <a:pt x="3915" y="9742"/>
                    </a:lnTo>
                    <a:close/>
                    <a:moveTo>
                      <a:pt x="3958" y="9824"/>
                    </a:moveTo>
                    <a:cubicBezTo>
                      <a:pt x="3912" y="9760"/>
                      <a:pt x="3912" y="9760"/>
                      <a:pt x="3912" y="9760"/>
                    </a:cubicBezTo>
                    <a:cubicBezTo>
                      <a:pt x="3813" y="9830"/>
                      <a:pt x="3813" y="9830"/>
                      <a:pt x="3813" y="9830"/>
                    </a:cubicBezTo>
                    <a:cubicBezTo>
                      <a:pt x="3858" y="9894"/>
                      <a:pt x="3858" y="9894"/>
                      <a:pt x="3858" y="9894"/>
                    </a:cubicBezTo>
                    <a:lnTo>
                      <a:pt x="3958" y="9824"/>
                    </a:lnTo>
                    <a:close/>
                    <a:moveTo>
                      <a:pt x="260" y="899"/>
                    </a:moveTo>
                    <a:cubicBezTo>
                      <a:pt x="236" y="976"/>
                      <a:pt x="236" y="976"/>
                      <a:pt x="236" y="976"/>
                    </a:cubicBezTo>
                    <a:cubicBezTo>
                      <a:pt x="228" y="970"/>
                      <a:pt x="228" y="970"/>
                      <a:pt x="228" y="970"/>
                    </a:cubicBezTo>
                    <a:cubicBezTo>
                      <a:pt x="57" y="849"/>
                      <a:pt x="57" y="849"/>
                      <a:pt x="57" y="849"/>
                    </a:cubicBezTo>
                    <a:cubicBezTo>
                      <a:pt x="150" y="668"/>
                      <a:pt x="150" y="668"/>
                      <a:pt x="150" y="668"/>
                    </a:cubicBezTo>
                    <a:cubicBezTo>
                      <a:pt x="233" y="821"/>
                      <a:pt x="233" y="821"/>
                      <a:pt x="233" y="821"/>
                    </a:cubicBezTo>
                    <a:cubicBezTo>
                      <a:pt x="214" y="881"/>
                      <a:pt x="214" y="881"/>
                      <a:pt x="214" y="881"/>
                    </a:cubicBezTo>
                    <a:lnTo>
                      <a:pt x="260" y="899"/>
                    </a:lnTo>
                    <a:close/>
                    <a:moveTo>
                      <a:pt x="242" y="908"/>
                    </a:moveTo>
                    <a:cubicBezTo>
                      <a:pt x="196" y="890"/>
                      <a:pt x="196" y="890"/>
                      <a:pt x="196" y="890"/>
                    </a:cubicBezTo>
                    <a:cubicBezTo>
                      <a:pt x="217" y="822"/>
                      <a:pt x="217" y="822"/>
                      <a:pt x="217" y="822"/>
                    </a:cubicBezTo>
                    <a:cubicBezTo>
                      <a:pt x="150" y="699"/>
                      <a:pt x="150" y="699"/>
                      <a:pt x="150" y="699"/>
                    </a:cubicBezTo>
                    <a:cubicBezTo>
                      <a:pt x="76" y="844"/>
                      <a:pt x="76" y="844"/>
                      <a:pt x="76" y="844"/>
                    </a:cubicBezTo>
                    <a:cubicBezTo>
                      <a:pt x="228" y="952"/>
                      <a:pt x="228" y="952"/>
                      <a:pt x="228" y="952"/>
                    </a:cubicBezTo>
                    <a:lnTo>
                      <a:pt x="242" y="908"/>
                    </a:lnTo>
                    <a:close/>
                    <a:moveTo>
                      <a:pt x="4" y="9186"/>
                    </a:moveTo>
                    <a:cubicBezTo>
                      <a:pt x="29" y="9236"/>
                      <a:pt x="29" y="9236"/>
                      <a:pt x="29" y="9236"/>
                    </a:cubicBezTo>
                    <a:cubicBezTo>
                      <a:pt x="4" y="9264"/>
                      <a:pt x="4" y="9264"/>
                      <a:pt x="4" y="9264"/>
                    </a:cubicBezTo>
                    <a:cubicBezTo>
                      <a:pt x="4" y="9284"/>
                      <a:pt x="4" y="9284"/>
                      <a:pt x="4" y="9284"/>
                    </a:cubicBezTo>
                    <a:cubicBezTo>
                      <a:pt x="46" y="9239"/>
                      <a:pt x="46" y="9239"/>
                      <a:pt x="46" y="9239"/>
                    </a:cubicBezTo>
                    <a:cubicBezTo>
                      <a:pt x="4" y="9154"/>
                      <a:pt x="4" y="9154"/>
                      <a:pt x="4" y="9154"/>
                    </a:cubicBezTo>
                    <a:lnTo>
                      <a:pt x="4" y="9186"/>
                    </a:lnTo>
                    <a:close/>
                    <a:moveTo>
                      <a:pt x="179" y="7329"/>
                    </a:moveTo>
                    <a:cubicBezTo>
                      <a:pt x="140" y="7302"/>
                      <a:pt x="140" y="7302"/>
                      <a:pt x="140" y="7302"/>
                    </a:cubicBezTo>
                    <a:cubicBezTo>
                      <a:pt x="189" y="7231"/>
                      <a:pt x="189" y="7231"/>
                      <a:pt x="189" y="7231"/>
                    </a:cubicBezTo>
                    <a:cubicBezTo>
                      <a:pt x="363" y="7350"/>
                      <a:pt x="363" y="7350"/>
                      <a:pt x="363" y="7350"/>
                    </a:cubicBezTo>
                    <a:cubicBezTo>
                      <a:pt x="359" y="7356"/>
                      <a:pt x="359" y="7356"/>
                      <a:pt x="359" y="7356"/>
                    </a:cubicBezTo>
                    <a:cubicBezTo>
                      <a:pt x="314" y="7421"/>
                      <a:pt x="314" y="7421"/>
                      <a:pt x="314" y="7421"/>
                    </a:cubicBezTo>
                    <a:cubicBezTo>
                      <a:pt x="275" y="7395"/>
                      <a:pt x="275" y="7395"/>
                      <a:pt x="275" y="7395"/>
                    </a:cubicBezTo>
                    <a:cubicBezTo>
                      <a:pt x="250" y="7430"/>
                      <a:pt x="250" y="7430"/>
                      <a:pt x="250" y="7430"/>
                    </a:cubicBezTo>
                    <a:cubicBezTo>
                      <a:pt x="154" y="7364"/>
                      <a:pt x="154" y="7364"/>
                      <a:pt x="154" y="7364"/>
                    </a:cubicBezTo>
                    <a:lnTo>
                      <a:pt x="179" y="7329"/>
                    </a:lnTo>
                    <a:close/>
                    <a:moveTo>
                      <a:pt x="197" y="7325"/>
                    </a:moveTo>
                    <a:cubicBezTo>
                      <a:pt x="173" y="7361"/>
                      <a:pt x="173" y="7361"/>
                      <a:pt x="173" y="7361"/>
                    </a:cubicBezTo>
                    <a:cubicBezTo>
                      <a:pt x="247" y="7412"/>
                      <a:pt x="247" y="7412"/>
                      <a:pt x="247" y="7412"/>
                    </a:cubicBezTo>
                    <a:cubicBezTo>
                      <a:pt x="272" y="7377"/>
                      <a:pt x="272" y="7377"/>
                      <a:pt x="272" y="7377"/>
                    </a:cubicBezTo>
                    <a:cubicBezTo>
                      <a:pt x="310" y="7403"/>
                      <a:pt x="310" y="7403"/>
                      <a:pt x="310" y="7403"/>
                    </a:cubicBezTo>
                    <a:cubicBezTo>
                      <a:pt x="344" y="7354"/>
                      <a:pt x="344" y="7354"/>
                      <a:pt x="344" y="7354"/>
                    </a:cubicBezTo>
                    <a:cubicBezTo>
                      <a:pt x="192" y="7249"/>
                      <a:pt x="192" y="7249"/>
                      <a:pt x="192" y="7249"/>
                    </a:cubicBezTo>
                    <a:cubicBezTo>
                      <a:pt x="158" y="7298"/>
                      <a:pt x="158" y="7298"/>
                      <a:pt x="158" y="7298"/>
                    </a:cubicBezTo>
                    <a:lnTo>
                      <a:pt x="197" y="7325"/>
                    </a:lnTo>
                    <a:close/>
                    <a:moveTo>
                      <a:pt x="58" y="3824"/>
                    </a:moveTo>
                    <a:cubicBezTo>
                      <a:pt x="54" y="3816"/>
                      <a:pt x="54" y="3816"/>
                      <a:pt x="54" y="3816"/>
                    </a:cubicBezTo>
                    <a:cubicBezTo>
                      <a:pt x="4" y="3860"/>
                      <a:pt x="4" y="3860"/>
                      <a:pt x="4" y="3860"/>
                    </a:cubicBezTo>
                    <a:cubicBezTo>
                      <a:pt x="4" y="3880"/>
                      <a:pt x="4" y="3880"/>
                      <a:pt x="4" y="3880"/>
                    </a:cubicBezTo>
                    <a:cubicBezTo>
                      <a:pt x="50" y="3839"/>
                      <a:pt x="50" y="3839"/>
                      <a:pt x="50" y="3839"/>
                    </a:cubicBezTo>
                    <a:cubicBezTo>
                      <a:pt x="162" y="4031"/>
                      <a:pt x="162" y="4031"/>
                      <a:pt x="162" y="4031"/>
                    </a:cubicBezTo>
                    <a:cubicBezTo>
                      <a:pt x="4" y="4115"/>
                      <a:pt x="4" y="4115"/>
                      <a:pt x="4" y="4115"/>
                    </a:cubicBezTo>
                    <a:cubicBezTo>
                      <a:pt x="4" y="4131"/>
                      <a:pt x="4" y="4131"/>
                      <a:pt x="4" y="4131"/>
                    </a:cubicBezTo>
                    <a:cubicBezTo>
                      <a:pt x="182" y="4037"/>
                      <a:pt x="182" y="4037"/>
                      <a:pt x="182" y="4037"/>
                    </a:cubicBezTo>
                    <a:lnTo>
                      <a:pt x="58" y="3824"/>
                    </a:lnTo>
                    <a:close/>
                    <a:moveTo>
                      <a:pt x="797" y="8902"/>
                    </a:moveTo>
                    <a:cubicBezTo>
                      <a:pt x="388" y="8712"/>
                      <a:pt x="388" y="8712"/>
                      <a:pt x="388" y="8712"/>
                    </a:cubicBezTo>
                    <a:cubicBezTo>
                      <a:pt x="512" y="8529"/>
                      <a:pt x="512" y="8529"/>
                      <a:pt x="512" y="8529"/>
                    </a:cubicBezTo>
                    <a:cubicBezTo>
                      <a:pt x="646" y="8663"/>
                      <a:pt x="646" y="8663"/>
                      <a:pt x="646" y="8663"/>
                    </a:cubicBezTo>
                    <a:cubicBezTo>
                      <a:pt x="834" y="8706"/>
                      <a:pt x="834" y="8706"/>
                      <a:pt x="834" y="8706"/>
                    </a:cubicBezTo>
                    <a:cubicBezTo>
                      <a:pt x="833" y="8713"/>
                      <a:pt x="833" y="8713"/>
                      <a:pt x="833" y="8713"/>
                    </a:cubicBezTo>
                    <a:lnTo>
                      <a:pt x="797" y="8902"/>
                    </a:lnTo>
                    <a:close/>
                    <a:moveTo>
                      <a:pt x="786" y="8881"/>
                    </a:moveTo>
                    <a:cubicBezTo>
                      <a:pt x="817" y="8717"/>
                      <a:pt x="817" y="8717"/>
                      <a:pt x="817" y="8717"/>
                    </a:cubicBezTo>
                    <a:cubicBezTo>
                      <a:pt x="639" y="8676"/>
                      <a:pt x="639" y="8676"/>
                      <a:pt x="639" y="8676"/>
                    </a:cubicBezTo>
                    <a:cubicBezTo>
                      <a:pt x="514" y="8552"/>
                      <a:pt x="514" y="8552"/>
                      <a:pt x="514" y="8552"/>
                    </a:cubicBezTo>
                    <a:cubicBezTo>
                      <a:pt x="410" y="8706"/>
                      <a:pt x="410" y="8706"/>
                      <a:pt x="410" y="8706"/>
                    </a:cubicBezTo>
                    <a:lnTo>
                      <a:pt x="786" y="8881"/>
                    </a:lnTo>
                    <a:close/>
                    <a:moveTo>
                      <a:pt x="3301" y="9869"/>
                    </a:moveTo>
                    <a:cubicBezTo>
                      <a:pt x="3370" y="9936"/>
                      <a:pt x="3370" y="9936"/>
                      <a:pt x="3370" y="9936"/>
                    </a:cubicBezTo>
                    <a:cubicBezTo>
                      <a:pt x="3271" y="10037"/>
                      <a:pt x="3271" y="10037"/>
                      <a:pt x="3271" y="10037"/>
                    </a:cubicBezTo>
                    <a:cubicBezTo>
                      <a:pt x="3219" y="9986"/>
                      <a:pt x="3219" y="9986"/>
                      <a:pt x="3219" y="9986"/>
                    </a:cubicBezTo>
                    <a:cubicBezTo>
                      <a:pt x="3166" y="10040"/>
                      <a:pt x="3166" y="10040"/>
                      <a:pt x="3166" y="10040"/>
                    </a:cubicBezTo>
                    <a:cubicBezTo>
                      <a:pt x="3111" y="9986"/>
                      <a:pt x="3111" y="9986"/>
                      <a:pt x="3111" y="9986"/>
                    </a:cubicBezTo>
                    <a:cubicBezTo>
                      <a:pt x="3116" y="9982"/>
                      <a:pt x="3116" y="9982"/>
                      <a:pt x="3116" y="9982"/>
                    </a:cubicBezTo>
                    <a:cubicBezTo>
                      <a:pt x="3252" y="9847"/>
                      <a:pt x="3252" y="9847"/>
                      <a:pt x="3252" y="9847"/>
                    </a:cubicBezTo>
                    <a:cubicBezTo>
                      <a:pt x="3288" y="9882"/>
                      <a:pt x="3288" y="9882"/>
                      <a:pt x="3288" y="9882"/>
                    </a:cubicBezTo>
                    <a:cubicBezTo>
                      <a:pt x="3296" y="9873"/>
                      <a:pt x="3296" y="9873"/>
                      <a:pt x="3296" y="9873"/>
                    </a:cubicBezTo>
                    <a:lnTo>
                      <a:pt x="3301" y="9869"/>
                    </a:lnTo>
                    <a:close/>
                    <a:moveTo>
                      <a:pt x="3301" y="9887"/>
                    </a:moveTo>
                    <a:cubicBezTo>
                      <a:pt x="3293" y="9895"/>
                      <a:pt x="3293" y="9895"/>
                      <a:pt x="3293" y="9895"/>
                    </a:cubicBezTo>
                    <a:cubicBezTo>
                      <a:pt x="3288" y="9900"/>
                      <a:pt x="3288" y="9900"/>
                      <a:pt x="3288" y="9900"/>
                    </a:cubicBezTo>
                    <a:cubicBezTo>
                      <a:pt x="3253" y="9865"/>
                      <a:pt x="3253" y="9865"/>
                      <a:pt x="3253" y="9865"/>
                    </a:cubicBezTo>
                    <a:cubicBezTo>
                      <a:pt x="3130" y="9986"/>
                      <a:pt x="3130" y="9986"/>
                      <a:pt x="3130" y="9986"/>
                    </a:cubicBezTo>
                    <a:cubicBezTo>
                      <a:pt x="3165" y="10021"/>
                      <a:pt x="3165" y="10021"/>
                      <a:pt x="3165" y="10021"/>
                    </a:cubicBezTo>
                    <a:cubicBezTo>
                      <a:pt x="3218" y="9967"/>
                      <a:pt x="3218" y="9967"/>
                      <a:pt x="3218" y="9967"/>
                    </a:cubicBezTo>
                    <a:cubicBezTo>
                      <a:pt x="3271" y="10018"/>
                      <a:pt x="3271" y="10018"/>
                      <a:pt x="3271" y="10018"/>
                    </a:cubicBezTo>
                    <a:cubicBezTo>
                      <a:pt x="3351" y="9936"/>
                      <a:pt x="3351" y="9936"/>
                      <a:pt x="3351" y="9936"/>
                    </a:cubicBezTo>
                    <a:lnTo>
                      <a:pt x="3301" y="9887"/>
                    </a:lnTo>
                    <a:close/>
                    <a:moveTo>
                      <a:pt x="3978" y="10352"/>
                    </a:moveTo>
                    <a:cubicBezTo>
                      <a:pt x="4039" y="10437"/>
                      <a:pt x="4039" y="10437"/>
                      <a:pt x="4039" y="10437"/>
                    </a:cubicBezTo>
                    <a:cubicBezTo>
                      <a:pt x="3918" y="10522"/>
                      <a:pt x="3918" y="10522"/>
                      <a:pt x="3918" y="10522"/>
                    </a:cubicBezTo>
                    <a:cubicBezTo>
                      <a:pt x="3914" y="10517"/>
                      <a:pt x="3914" y="10517"/>
                      <a:pt x="3914" y="10517"/>
                    </a:cubicBezTo>
                    <a:cubicBezTo>
                      <a:pt x="3858" y="10437"/>
                      <a:pt x="3858" y="10437"/>
                      <a:pt x="3858" y="10437"/>
                    </a:cubicBezTo>
                    <a:lnTo>
                      <a:pt x="3978" y="10352"/>
                    </a:lnTo>
                    <a:close/>
                    <a:moveTo>
                      <a:pt x="4021" y="10434"/>
                    </a:moveTo>
                    <a:cubicBezTo>
                      <a:pt x="3975" y="10370"/>
                      <a:pt x="3975" y="10370"/>
                      <a:pt x="3975" y="10370"/>
                    </a:cubicBezTo>
                    <a:cubicBezTo>
                      <a:pt x="3876" y="10440"/>
                      <a:pt x="3876" y="10440"/>
                      <a:pt x="3876" y="10440"/>
                    </a:cubicBezTo>
                    <a:cubicBezTo>
                      <a:pt x="3921" y="10504"/>
                      <a:pt x="3921" y="10504"/>
                      <a:pt x="3921" y="10504"/>
                    </a:cubicBezTo>
                    <a:lnTo>
                      <a:pt x="4021" y="10434"/>
                    </a:lnTo>
                    <a:close/>
                    <a:moveTo>
                      <a:pt x="493" y="1705"/>
                    </a:moveTo>
                    <a:cubicBezTo>
                      <a:pt x="333" y="1795"/>
                      <a:pt x="333" y="1795"/>
                      <a:pt x="333" y="1795"/>
                    </a:cubicBezTo>
                    <a:cubicBezTo>
                      <a:pt x="191" y="1656"/>
                      <a:pt x="191" y="1656"/>
                      <a:pt x="191" y="1656"/>
                    </a:cubicBezTo>
                    <a:cubicBezTo>
                      <a:pt x="260" y="1600"/>
                      <a:pt x="260" y="1600"/>
                      <a:pt x="260" y="1600"/>
                    </a:cubicBezTo>
                    <a:cubicBezTo>
                      <a:pt x="295" y="1621"/>
                      <a:pt x="295" y="1621"/>
                      <a:pt x="295" y="1621"/>
                    </a:cubicBezTo>
                    <a:cubicBezTo>
                      <a:pt x="321" y="1606"/>
                      <a:pt x="321" y="1606"/>
                      <a:pt x="321" y="1606"/>
                    </a:cubicBezTo>
                    <a:cubicBezTo>
                      <a:pt x="297" y="1567"/>
                      <a:pt x="297" y="1567"/>
                      <a:pt x="297" y="1567"/>
                    </a:cubicBezTo>
                    <a:cubicBezTo>
                      <a:pt x="393" y="1495"/>
                      <a:pt x="393" y="1495"/>
                      <a:pt x="393" y="1495"/>
                    </a:cubicBezTo>
                    <a:cubicBezTo>
                      <a:pt x="511" y="1599"/>
                      <a:pt x="511" y="1599"/>
                      <a:pt x="511" y="1599"/>
                    </a:cubicBezTo>
                    <a:cubicBezTo>
                      <a:pt x="496" y="1703"/>
                      <a:pt x="496" y="1703"/>
                      <a:pt x="496" y="1703"/>
                    </a:cubicBezTo>
                    <a:lnTo>
                      <a:pt x="493" y="1705"/>
                    </a:lnTo>
                    <a:close/>
                    <a:moveTo>
                      <a:pt x="482" y="1694"/>
                    </a:moveTo>
                    <a:cubicBezTo>
                      <a:pt x="495" y="1605"/>
                      <a:pt x="495" y="1605"/>
                      <a:pt x="495" y="1605"/>
                    </a:cubicBezTo>
                    <a:cubicBezTo>
                      <a:pt x="392" y="1514"/>
                      <a:pt x="392" y="1514"/>
                      <a:pt x="392" y="1514"/>
                    </a:cubicBezTo>
                    <a:cubicBezTo>
                      <a:pt x="317" y="1571"/>
                      <a:pt x="317" y="1571"/>
                      <a:pt x="317" y="1571"/>
                    </a:cubicBezTo>
                    <a:cubicBezTo>
                      <a:pt x="341" y="1612"/>
                      <a:pt x="341" y="1612"/>
                      <a:pt x="341" y="1612"/>
                    </a:cubicBezTo>
                    <a:cubicBezTo>
                      <a:pt x="295" y="1638"/>
                      <a:pt x="295" y="1638"/>
                      <a:pt x="295" y="1638"/>
                    </a:cubicBezTo>
                    <a:cubicBezTo>
                      <a:pt x="261" y="1618"/>
                      <a:pt x="261" y="1618"/>
                      <a:pt x="261" y="1618"/>
                    </a:cubicBezTo>
                    <a:cubicBezTo>
                      <a:pt x="213" y="1657"/>
                      <a:pt x="213" y="1657"/>
                      <a:pt x="213" y="1657"/>
                    </a:cubicBezTo>
                    <a:cubicBezTo>
                      <a:pt x="336" y="1777"/>
                      <a:pt x="336" y="1777"/>
                      <a:pt x="336" y="1777"/>
                    </a:cubicBezTo>
                    <a:lnTo>
                      <a:pt x="482" y="1694"/>
                    </a:lnTo>
                    <a:close/>
                    <a:moveTo>
                      <a:pt x="4913" y="10124"/>
                    </a:moveTo>
                    <a:cubicBezTo>
                      <a:pt x="4956" y="10148"/>
                      <a:pt x="4956" y="10148"/>
                      <a:pt x="4956" y="10148"/>
                    </a:cubicBezTo>
                    <a:cubicBezTo>
                      <a:pt x="4860" y="10322"/>
                      <a:pt x="4860" y="10322"/>
                      <a:pt x="4860" y="10322"/>
                    </a:cubicBezTo>
                    <a:cubicBezTo>
                      <a:pt x="4854" y="10319"/>
                      <a:pt x="4854" y="10319"/>
                      <a:pt x="4854" y="10319"/>
                    </a:cubicBezTo>
                    <a:cubicBezTo>
                      <a:pt x="4794" y="10284"/>
                      <a:pt x="4794" y="10284"/>
                      <a:pt x="4794" y="10284"/>
                    </a:cubicBezTo>
                    <a:cubicBezTo>
                      <a:pt x="4831" y="10219"/>
                      <a:pt x="4831" y="10219"/>
                      <a:pt x="4831" y="10219"/>
                    </a:cubicBezTo>
                    <a:cubicBezTo>
                      <a:pt x="4768" y="10182"/>
                      <a:pt x="4768" y="10182"/>
                      <a:pt x="4768" y="10182"/>
                    </a:cubicBezTo>
                    <a:cubicBezTo>
                      <a:pt x="4838" y="10060"/>
                      <a:pt x="4838" y="10060"/>
                      <a:pt x="4838" y="10060"/>
                    </a:cubicBezTo>
                    <a:cubicBezTo>
                      <a:pt x="4922" y="10108"/>
                      <a:pt x="4922" y="10108"/>
                      <a:pt x="4922" y="10108"/>
                    </a:cubicBezTo>
                    <a:lnTo>
                      <a:pt x="4913" y="10124"/>
                    </a:lnTo>
                    <a:close/>
                    <a:moveTo>
                      <a:pt x="4895" y="10129"/>
                    </a:moveTo>
                    <a:cubicBezTo>
                      <a:pt x="4904" y="10113"/>
                      <a:pt x="4904" y="10113"/>
                      <a:pt x="4904" y="10113"/>
                    </a:cubicBezTo>
                    <a:cubicBezTo>
                      <a:pt x="4843" y="10078"/>
                      <a:pt x="4843" y="10078"/>
                      <a:pt x="4843" y="10078"/>
                    </a:cubicBezTo>
                    <a:cubicBezTo>
                      <a:pt x="4786" y="10178"/>
                      <a:pt x="4786" y="10178"/>
                      <a:pt x="4786" y="10178"/>
                    </a:cubicBezTo>
                    <a:cubicBezTo>
                      <a:pt x="4849" y="10214"/>
                      <a:pt x="4849" y="10214"/>
                      <a:pt x="4849" y="10214"/>
                    </a:cubicBezTo>
                    <a:cubicBezTo>
                      <a:pt x="4812" y="10280"/>
                      <a:pt x="4812" y="10280"/>
                      <a:pt x="4812" y="10280"/>
                    </a:cubicBezTo>
                    <a:cubicBezTo>
                      <a:pt x="4854" y="10304"/>
                      <a:pt x="4854" y="10304"/>
                      <a:pt x="4854" y="10304"/>
                    </a:cubicBezTo>
                    <a:cubicBezTo>
                      <a:pt x="4938" y="10153"/>
                      <a:pt x="4938" y="10153"/>
                      <a:pt x="4938" y="10153"/>
                    </a:cubicBezTo>
                    <a:lnTo>
                      <a:pt x="4895" y="10129"/>
                    </a:lnTo>
                    <a:close/>
                    <a:moveTo>
                      <a:pt x="5450" y="9173"/>
                    </a:moveTo>
                    <a:cubicBezTo>
                      <a:pt x="5632" y="9173"/>
                      <a:pt x="5632" y="9173"/>
                      <a:pt x="5632" y="9173"/>
                    </a:cubicBezTo>
                    <a:cubicBezTo>
                      <a:pt x="5632" y="9181"/>
                      <a:pt x="5632" y="9181"/>
                      <a:pt x="5632" y="9181"/>
                    </a:cubicBezTo>
                    <a:cubicBezTo>
                      <a:pt x="5631" y="9394"/>
                      <a:pt x="5631" y="9394"/>
                      <a:pt x="5631" y="9394"/>
                    </a:cubicBezTo>
                    <a:cubicBezTo>
                      <a:pt x="5545" y="9394"/>
                      <a:pt x="5545" y="9394"/>
                      <a:pt x="5545" y="9394"/>
                    </a:cubicBezTo>
                    <a:cubicBezTo>
                      <a:pt x="5545" y="9498"/>
                      <a:pt x="5545" y="9498"/>
                      <a:pt x="5545" y="9498"/>
                    </a:cubicBezTo>
                    <a:cubicBezTo>
                      <a:pt x="5393" y="9498"/>
                      <a:pt x="5393" y="9498"/>
                      <a:pt x="5393" y="9498"/>
                    </a:cubicBezTo>
                    <a:cubicBezTo>
                      <a:pt x="5393" y="9395"/>
                      <a:pt x="5393" y="9395"/>
                      <a:pt x="5393" y="9395"/>
                    </a:cubicBezTo>
                    <a:cubicBezTo>
                      <a:pt x="5118" y="9395"/>
                      <a:pt x="5118" y="9395"/>
                      <a:pt x="5118" y="9395"/>
                    </a:cubicBezTo>
                    <a:cubicBezTo>
                      <a:pt x="5118" y="9656"/>
                      <a:pt x="5118" y="9656"/>
                      <a:pt x="5118" y="9656"/>
                    </a:cubicBezTo>
                    <a:cubicBezTo>
                      <a:pt x="5005" y="9656"/>
                      <a:pt x="5005" y="9656"/>
                      <a:pt x="5005" y="9656"/>
                    </a:cubicBezTo>
                    <a:cubicBezTo>
                      <a:pt x="5005" y="9394"/>
                      <a:pt x="5005" y="9394"/>
                      <a:pt x="5005" y="9394"/>
                    </a:cubicBezTo>
                    <a:cubicBezTo>
                      <a:pt x="4944" y="9394"/>
                      <a:pt x="4944" y="9394"/>
                      <a:pt x="4944" y="9394"/>
                    </a:cubicBezTo>
                    <a:cubicBezTo>
                      <a:pt x="4944" y="9172"/>
                      <a:pt x="4944" y="9172"/>
                      <a:pt x="4944" y="9172"/>
                    </a:cubicBezTo>
                    <a:cubicBezTo>
                      <a:pt x="5079" y="9172"/>
                      <a:pt x="5079" y="9172"/>
                      <a:pt x="5079" y="9172"/>
                    </a:cubicBezTo>
                    <a:cubicBezTo>
                      <a:pt x="5079" y="9102"/>
                      <a:pt x="5079" y="9102"/>
                      <a:pt x="5079" y="9102"/>
                    </a:cubicBezTo>
                    <a:cubicBezTo>
                      <a:pt x="5450" y="9102"/>
                      <a:pt x="5450" y="9102"/>
                      <a:pt x="5450" y="9102"/>
                    </a:cubicBezTo>
                    <a:lnTo>
                      <a:pt x="5450" y="9173"/>
                    </a:lnTo>
                    <a:close/>
                    <a:moveTo>
                      <a:pt x="5435" y="9188"/>
                    </a:moveTo>
                    <a:cubicBezTo>
                      <a:pt x="5435" y="9116"/>
                      <a:pt x="5435" y="9116"/>
                      <a:pt x="5435" y="9116"/>
                    </a:cubicBezTo>
                    <a:cubicBezTo>
                      <a:pt x="5093" y="9116"/>
                      <a:pt x="5093" y="9116"/>
                      <a:pt x="5093" y="9116"/>
                    </a:cubicBezTo>
                    <a:cubicBezTo>
                      <a:pt x="5093" y="9187"/>
                      <a:pt x="5093" y="9187"/>
                      <a:pt x="5093" y="9187"/>
                    </a:cubicBezTo>
                    <a:cubicBezTo>
                      <a:pt x="4958" y="9187"/>
                      <a:pt x="4958" y="9187"/>
                      <a:pt x="4958" y="9187"/>
                    </a:cubicBezTo>
                    <a:cubicBezTo>
                      <a:pt x="4958" y="9379"/>
                      <a:pt x="4958" y="9379"/>
                      <a:pt x="4958" y="9379"/>
                    </a:cubicBezTo>
                    <a:cubicBezTo>
                      <a:pt x="5020" y="9379"/>
                      <a:pt x="5020" y="9379"/>
                      <a:pt x="5020" y="9379"/>
                    </a:cubicBezTo>
                    <a:cubicBezTo>
                      <a:pt x="5020" y="9641"/>
                      <a:pt x="5020" y="9641"/>
                      <a:pt x="5020" y="9641"/>
                    </a:cubicBezTo>
                    <a:cubicBezTo>
                      <a:pt x="5103" y="9641"/>
                      <a:pt x="5103" y="9641"/>
                      <a:pt x="5103" y="9641"/>
                    </a:cubicBezTo>
                    <a:cubicBezTo>
                      <a:pt x="5103" y="9381"/>
                      <a:pt x="5103" y="9381"/>
                      <a:pt x="5103" y="9381"/>
                    </a:cubicBezTo>
                    <a:cubicBezTo>
                      <a:pt x="5408" y="9381"/>
                      <a:pt x="5408" y="9381"/>
                      <a:pt x="5408" y="9381"/>
                    </a:cubicBezTo>
                    <a:cubicBezTo>
                      <a:pt x="5408" y="9483"/>
                      <a:pt x="5408" y="9483"/>
                      <a:pt x="5408" y="9483"/>
                    </a:cubicBezTo>
                    <a:cubicBezTo>
                      <a:pt x="5531" y="9483"/>
                      <a:pt x="5531" y="9483"/>
                      <a:pt x="5531" y="9483"/>
                    </a:cubicBezTo>
                    <a:cubicBezTo>
                      <a:pt x="5531" y="9379"/>
                      <a:pt x="5531" y="9379"/>
                      <a:pt x="5531" y="9379"/>
                    </a:cubicBezTo>
                    <a:cubicBezTo>
                      <a:pt x="5616" y="9379"/>
                      <a:pt x="5616" y="9379"/>
                      <a:pt x="5616" y="9379"/>
                    </a:cubicBezTo>
                    <a:cubicBezTo>
                      <a:pt x="5617" y="9188"/>
                      <a:pt x="5617" y="9188"/>
                      <a:pt x="5617" y="9188"/>
                    </a:cubicBezTo>
                    <a:lnTo>
                      <a:pt x="5435" y="9188"/>
                    </a:lnTo>
                    <a:close/>
                    <a:moveTo>
                      <a:pt x="908" y="132"/>
                    </a:moveTo>
                    <a:cubicBezTo>
                      <a:pt x="766" y="30"/>
                      <a:pt x="766" y="30"/>
                      <a:pt x="766" y="30"/>
                    </a:cubicBezTo>
                    <a:cubicBezTo>
                      <a:pt x="775" y="0"/>
                      <a:pt x="775" y="0"/>
                      <a:pt x="775" y="0"/>
                    </a:cubicBezTo>
                    <a:cubicBezTo>
                      <a:pt x="760" y="0"/>
                      <a:pt x="760" y="0"/>
                      <a:pt x="760" y="0"/>
                    </a:cubicBezTo>
                    <a:cubicBezTo>
                      <a:pt x="749" y="36"/>
                      <a:pt x="749" y="36"/>
                      <a:pt x="749" y="36"/>
                    </a:cubicBezTo>
                    <a:cubicBezTo>
                      <a:pt x="907" y="150"/>
                      <a:pt x="907" y="150"/>
                      <a:pt x="907" y="150"/>
                    </a:cubicBezTo>
                    <a:cubicBezTo>
                      <a:pt x="915" y="156"/>
                      <a:pt x="915" y="156"/>
                      <a:pt x="915" y="156"/>
                    </a:cubicBezTo>
                    <a:cubicBezTo>
                      <a:pt x="971" y="0"/>
                      <a:pt x="971" y="0"/>
                      <a:pt x="971" y="0"/>
                    </a:cubicBezTo>
                    <a:cubicBezTo>
                      <a:pt x="956" y="0"/>
                      <a:pt x="956" y="0"/>
                      <a:pt x="956" y="0"/>
                    </a:cubicBezTo>
                    <a:lnTo>
                      <a:pt x="908" y="132"/>
                    </a:lnTo>
                    <a:close/>
                    <a:moveTo>
                      <a:pt x="4172" y="10048"/>
                    </a:moveTo>
                    <a:cubicBezTo>
                      <a:pt x="4357" y="10054"/>
                      <a:pt x="4357" y="10054"/>
                      <a:pt x="4357" y="10054"/>
                    </a:cubicBezTo>
                    <a:cubicBezTo>
                      <a:pt x="4354" y="10163"/>
                      <a:pt x="4354" y="10163"/>
                      <a:pt x="4354" y="10163"/>
                    </a:cubicBezTo>
                    <a:cubicBezTo>
                      <a:pt x="4281" y="10161"/>
                      <a:pt x="4281" y="10161"/>
                      <a:pt x="4281" y="10161"/>
                    </a:cubicBezTo>
                    <a:cubicBezTo>
                      <a:pt x="4279" y="10218"/>
                      <a:pt x="4279" y="10218"/>
                      <a:pt x="4279" y="10218"/>
                    </a:cubicBezTo>
                    <a:cubicBezTo>
                      <a:pt x="4273" y="10218"/>
                      <a:pt x="4273" y="10218"/>
                      <a:pt x="4273" y="10218"/>
                    </a:cubicBezTo>
                    <a:cubicBezTo>
                      <a:pt x="4156" y="10217"/>
                      <a:pt x="4156" y="10217"/>
                      <a:pt x="4156" y="10217"/>
                    </a:cubicBezTo>
                    <a:cubicBezTo>
                      <a:pt x="4160" y="10100"/>
                      <a:pt x="4160" y="10100"/>
                      <a:pt x="4160" y="10100"/>
                    </a:cubicBezTo>
                    <a:cubicBezTo>
                      <a:pt x="4170" y="10100"/>
                      <a:pt x="4170" y="10100"/>
                      <a:pt x="4170" y="10100"/>
                    </a:cubicBezTo>
                    <a:lnTo>
                      <a:pt x="4172" y="10048"/>
                    </a:lnTo>
                    <a:close/>
                    <a:moveTo>
                      <a:pt x="4173" y="10113"/>
                    </a:moveTo>
                    <a:cubicBezTo>
                      <a:pt x="4170" y="10204"/>
                      <a:pt x="4170" y="10204"/>
                      <a:pt x="4170" y="10204"/>
                    </a:cubicBezTo>
                    <a:cubicBezTo>
                      <a:pt x="4266" y="10205"/>
                      <a:pt x="4266" y="10205"/>
                      <a:pt x="4266" y="10205"/>
                    </a:cubicBezTo>
                    <a:cubicBezTo>
                      <a:pt x="4268" y="10148"/>
                      <a:pt x="4268" y="10148"/>
                      <a:pt x="4268" y="10148"/>
                    </a:cubicBezTo>
                    <a:cubicBezTo>
                      <a:pt x="4341" y="10150"/>
                      <a:pt x="4341" y="10150"/>
                      <a:pt x="4341" y="10150"/>
                    </a:cubicBezTo>
                    <a:cubicBezTo>
                      <a:pt x="4344" y="10066"/>
                      <a:pt x="4344" y="10066"/>
                      <a:pt x="4344" y="10066"/>
                    </a:cubicBezTo>
                    <a:cubicBezTo>
                      <a:pt x="4185" y="10061"/>
                      <a:pt x="4185" y="10061"/>
                      <a:pt x="4185" y="10061"/>
                    </a:cubicBezTo>
                    <a:cubicBezTo>
                      <a:pt x="4183" y="10113"/>
                      <a:pt x="4183" y="10113"/>
                      <a:pt x="4183" y="10113"/>
                    </a:cubicBezTo>
                    <a:lnTo>
                      <a:pt x="4173" y="10113"/>
                    </a:lnTo>
                    <a:close/>
                    <a:moveTo>
                      <a:pt x="295" y="5545"/>
                    </a:moveTo>
                    <a:cubicBezTo>
                      <a:pt x="225" y="5426"/>
                      <a:pt x="225" y="5426"/>
                      <a:pt x="225" y="5426"/>
                    </a:cubicBezTo>
                    <a:cubicBezTo>
                      <a:pt x="344" y="5356"/>
                      <a:pt x="344" y="5356"/>
                      <a:pt x="344" y="5356"/>
                    </a:cubicBezTo>
                    <a:cubicBezTo>
                      <a:pt x="347" y="5362"/>
                      <a:pt x="347" y="5362"/>
                      <a:pt x="347" y="5362"/>
                    </a:cubicBezTo>
                    <a:cubicBezTo>
                      <a:pt x="414" y="5475"/>
                      <a:pt x="414" y="5475"/>
                      <a:pt x="414" y="5475"/>
                    </a:cubicBezTo>
                    <a:lnTo>
                      <a:pt x="295" y="5545"/>
                    </a:lnTo>
                    <a:close/>
                    <a:moveTo>
                      <a:pt x="243" y="5431"/>
                    </a:moveTo>
                    <a:cubicBezTo>
                      <a:pt x="300" y="5527"/>
                      <a:pt x="300" y="5527"/>
                      <a:pt x="300" y="5527"/>
                    </a:cubicBezTo>
                    <a:cubicBezTo>
                      <a:pt x="396" y="5470"/>
                      <a:pt x="396" y="5470"/>
                      <a:pt x="396" y="5470"/>
                    </a:cubicBezTo>
                    <a:cubicBezTo>
                      <a:pt x="339" y="5374"/>
                      <a:pt x="339" y="5374"/>
                      <a:pt x="339" y="5374"/>
                    </a:cubicBezTo>
                    <a:lnTo>
                      <a:pt x="243" y="5431"/>
                    </a:lnTo>
                    <a:close/>
                    <a:moveTo>
                      <a:pt x="414" y="1102"/>
                    </a:moveTo>
                    <a:cubicBezTo>
                      <a:pt x="366" y="1030"/>
                      <a:pt x="366" y="1030"/>
                      <a:pt x="366" y="1030"/>
                    </a:cubicBezTo>
                    <a:cubicBezTo>
                      <a:pt x="490" y="895"/>
                      <a:pt x="490" y="895"/>
                      <a:pt x="490" y="895"/>
                    </a:cubicBezTo>
                    <a:cubicBezTo>
                      <a:pt x="660" y="1115"/>
                      <a:pt x="660" y="1115"/>
                      <a:pt x="660" y="1115"/>
                    </a:cubicBezTo>
                    <a:cubicBezTo>
                      <a:pt x="654" y="1120"/>
                      <a:pt x="654" y="1120"/>
                      <a:pt x="654" y="1120"/>
                    </a:cubicBezTo>
                    <a:cubicBezTo>
                      <a:pt x="444" y="1292"/>
                      <a:pt x="444" y="1292"/>
                      <a:pt x="444" y="1292"/>
                    </a:cubicBezTo>
                    <a:cubicBezTo>
                      <a:pt x="385" y="1200"/>
                      <a:pt x="385" y="1200"/>
                      <a:pt x="385" y="1200"/>
                    </a:cubicBezTo>
                    <a:cubicBezTo>
                      <a:pt x="481" y="1108"/>
                      <a:pt x="481" y="1108"/>
                      <a:pt x="481" y="1108"/>
                    </a:cubicBezTo>
                    <a:cubicBezTo>
                      <a:pt x="461" y="1065"/>
                      <a:pt x="461" y="1065"/>
                      <a:pt x="461" y="1065"/>
                    </a:cubicBezTo>
                    <a:lnTo>
                      <a:pt x="414" y="1102"/>
                    </a:lnTo>
                    <a:close/>
                    <a:moveTo>
                      <a:pt x="385" y="1031"/>
                    </a:moveTo>
                    <a:cubicBezTo>
                      <a:pt x="417" y="1080"/>
                      <a:pt x="417" y="1080"/>
                      <a:pt x="417" y="1080"/>
                    </a:cubicBezTo>
                    <a:cubicBezTo>
                      <a:pt x="467" y="1042"/>
                      <a:pt x="467" y="1042"/>
                      <a:pt x="467" y="1042"/>
                    </a:cubicBezTo>
                    <a:cubicBezTo>
                      <a:pt x="498" y="1112"/>
                      <a:pt x="498" y="1112"/>
                      <a:pt x="498" y="1112"/>
                    </a:cubicBezTo>
                    <a:cubicBezTo>
                      <a:pt x="404" y="1203"/>
                      <a:pt x="404" y="1203"/>
                      <a:pt x="404" y="1203"/>
                    </a:cubicBezTo>
                    <a:cubicBezTo>
                      <a:pt x="447" y="1270"/>
                      <a:pt x="447" y="1270"/>
                      <a:pt x="447" y="1270"/>
                    </a:cubicBezTo>
                    <a:cubicBezTo>
                      <a:pt x="639" y="1113"/>
                      <a:pt x="639" y="1113"/>
                      <a:pt x="639" y="1113"/>
                    </a:cubicBezTo>
                    <a:cubicBezTo>
                      <a:pt x="489" y="918"/>
                      <a:pt x="489" y="918"/>
                      <a:pt x="489" y="918"/>
                    </a:cubicBezTo>
                    <a:lnTo>
                      <a:pt x="385" y="1031"/>
                    </a:lnTo>
                    <a:close/>
                    <a:moveTo>
                      <a:pt x="13" y="4215"/>
                    </a:moveTo>
                    <a:cubicBezTo>
                      <a:pt x="10" y="4208"/>
                      <a:pt x="10" y="4208"/>
                      <a:pt x="10" y="4208"/>
                    </a:cubicBezTo>
                    <a:cubicBezTo>
                      <a:pt x="4" y="4210"/>
                      <a:pt x="4" y="4210"/>
                      <a:pt x="4" y="4210"/>
                    </a:cubicBezTo>
                    <a:cubicBezTo>
                      <a:pt x="4" y="4234"/>
                      <a:pt x="4" y="4234"/>
                      <a:pt x="4" y="4234"/>
                    </a:cubicBezTo>
                    <a:cubicBezTo>
                      <a:pt x="22" y="4278"/>
                      <a:pt x="22" y="4278"/>
                      <a:pt x="22" y="4278"/>
                    </a:cubicBezTo>
                    <a:cubicBezTo>
                      <a:pt x="4" y="4289"/>
                      <a:pt x="4" y="4289"/>
                      <a:pt x="4" y="4289"/>
                    </a:cubicBezTo>
                    <a:cubicBezTo>
                      <a:pt x="4" y="4307"/>
                      <a:pt x="4" y="4307"/>
                      <a:pt x="4" y="4307"/>
                    </a:cubicBezTo>
                    <a:cubicBezTo>
                      <a:pt x="40" y="4284"/>
                      <a:pt x="40" y="4284"/>
                      <a:pt x="40" y="4284"/>
                    </a:cubicBezTo>
                    <a:lnTo>
                      <a:pt x="13" y="4215"/>
                    </a:lnTo>
                    <a:close/>
                    <a:moveTo>
                      <a:pt x="443" y="118"/>
                    </a:moveTo>
                    <a:cubicBezTo>
                      <a:pt x="393" y="151"/>
                      <a:pt x="393" y="151"/>
                      <a:pt x="393" y="151"/>
                    </a:cubicBezTo>
                    <a:cubicBezTo>
                      <a:pt x="367" y="112"/>
                      <a:pt x="367" y="112"/>
                      <a:pt x="367" y="112"/>
                    </a:cubicBezTo>
                    <a:cubicBezTo>
                      <a:pt x="319" y="144"/>
                      <a:pt x="319" y="144"/>
                      <a:pt x="319" y="144"/>
                    </a:cubicBezTo>
                    <a:cubicBezTo>
                      <a:pt x="281" y="85"/>
                      <a:pt x="281" y="85"/>
                      <a:pt x="281" y="85"/>
                    </a:cubicBezTo>
                    <a:cubicBezTo>
                      <a:pt x="328" y="53"/>
                      <a:pt x="328" y="53"/>
                      <a:pt x="328" y="53"/>
                    </a:cubicBezTo>
                    <a:cubicBezTo>
                      <a:pt x="303" y="14"/>
                      <a:pt x="303" y="14"/>
                      <a:pt x="303" y="14"/>
                    </a:cubicBezTo>
                    <a:cubicBezTo>
                      <a:pt x="324" y="0"/>
                      <a:pt x="324" y="0"/>
                      <a:pt x="324" y="0"/>
                    </a:cubicBezTo>
                    <a:cubicBezTo>
                      <a:pt x="300" y="0"/>
                      <a:pt x="300" y="0"/>
                      <a:pt x="300" y="0"/>
                    </a:cubicBezTo>
                    <a:cubicBezTo>
                      <a:pt x="284" y="10"/>
                      <a:pt x="284" y="10"/>
                      <a:pt x="284" y="10"/>
                    </a:cubicBezTo>
                    <a:cubicBezTo>
                      <a:pt x="310" y="49"/>
                      <a:pt x="310" y="49"/>
                      <a:pt x="310" y="49"/>
                    </a:cubicBezTo>
                    <a:cubicBezTo>
                      <a:pt x="262" y="81"/>
                      <a:pt x="262" y="81"/>
                      <a:pt x="262" y="81"/>
                    </a:cubicBezTo>
                    <a:cubicBezTo>
                      <a:pt x="316" y="162"/>
                      <a:pt x="316" y="162"/>
                      <a:pt x="316" y="162"/>
                    </a:cubicBezTo>
                    <a:cubicBezTo>
                      <a:pt x="364" y="130"/>
                      <a:pt x="364" y="130"/>
                      <a:pt x="364" y="130"/>
                    </a:cubicBezTo>
                    <a:cubicBezTo>
                      <a:pt x="390" y="169"/>
                      <a:pt x="390" y="169"/>
                      <a:pt x="390" y="169"/>
                    </a:cubicBezTo>
                    <a:cubicBezTo>
                      <a:pt x="456" y="125"/>
                      <a:pt x="456" y="125"/>
                      <a:pt x="456" y="125"/>
                    </a:cubicBezTo>
                    <a:cubicBezTo>
                      <a:pt x="462" y="122"/>
                      <a:pt x="462" y="122"/>
                      <a:pt x="462" y="122"/>
                    </a:cubicBezTo>
                    <a:cubicBezTo>
                      <a:pt x="381" y="0"/>
                      <a:pt x="381" y="0"/>
                      <a:pt x="381" y="0"/>
                    </a:cubicBezTo>
                    <a:cubicBezTo>
                      <a:pt x="365" y="0"/>
                      <a:pt x="365" y="0"/>
                      <a:pt x="365" y="0"/>
                    </a:cubicBezTo>
                    <a:lnTo>
                      <a:pt x="443" y="118"/>
                    </a:lnTo>
                    <a:close/>
                    <a:moveTo>
                      <a:pt x="11053" y="20"/>
                    </a:moveTo>
                    <a:cubicBezTo>
                      <a:pt x="11204" y="31"/>
                      <a:pt x="11355" y="42"/>
                      <a:pt x="11356" y="42"/>
                    </a:cubicBezTo>
                    <a:cubicBezTo>
                      <a:pt x="11356" y="42"/>
                      <a:pt x="11543" y="52"/>
                      <a:pt x="11643" y="52"/>
                    </a:cubicBezTo>
                    <a:cubicBezTo>
                      <a:pt x="11658" y="52"/>
                      <a:pt x="11672" y="52"/>
                      <a:pt x="11683" y="51"/>
                    </a:cubicBezTo>
                    <a:cubicBezTo>
                      <a:pt x="11693" y="50"/>
                      <a:pt x="11699" y="50"/>
                      <a:pt x="11709" y="48"/>
                    </a:cubicBezTo>
                    <a:cubicBezTo>
                      <a:pt x="11747" y="40"/>
                      <a:pt x="11781" y="22"/>
                      <a:pt x="11811" y="0"/>
                    </a:cubicBezTo>
                    <a:cubicBezTo>
                      <a:pt x="10785" y="0"/>
                      <a:pt x="10785" y="0"/>
                      <a:pt x="10785" y="0"/>
                    </a:cubicBezTo>
                    <a:cubicBezTo>
                      <a:pt x="10801" y="1"/>
                      <a:pt x="10821" y="2"/>
                      <a:pt x="10845" y="4"/>
                    </a:cubicBezTo>
                    <a:cubicBezTo>
                      <a:pt x="10902" y="8"/>
                      <a:pt x="10978" y="14"/>
                      <a:pt x="11053" y="20"/>
                    </a:cubicBezTo>
                    <a:close/>
                    <a:moveTo>
                      <a:pt x="566" y="6723"/>
                    </a:moveTo>
                    <a:cubicBezTo>
                      <a:pt x="548" y="6739"/>
                      <a:pt x="513" y="6750"/>
                      <a:pt x="481" y="6750"/>
                    </a:cubicBezTo>
                    <a:cubicBezTo>
                      <a:pt x="479" y="6750"/>
                      <a:pt x="477" y="6750"/>
                      <a:pt x="475" y="6750"/>
                    </a:cubicBezTo>
                    <a:cubicBezTo>
                      <a:pt x="441" y="6748"/>
                      <a:pt x="401" y="6720"/>
                      <a:pt x="384" y="6711"/>
                    </a:cubicBezTo>
                    <a:cubicBezTo>
                      <a:pt x="368" y="6703"/>
                      <a:pt x="314" y="6701"/>
                      <a:pt x="301" y="6698"/>
                    </a:cubicBezTo>
                    <a:cubicBezTo>
                      <a:pt x="291" y="6695"/>
                      <a:pt x="282" y="6690"/>
                      <a:pt x="281" y="6680"/>
                    </a:cubicBezTo>
                    <a:cubicBezTo>
                      <a:pt x="281" y="6676"/>
                      <a:pt x="283" y="6672"/>
                      <a:pt x="287" y="6670"/>
                    </a:cubicBezTo>
                    <a:cubicBezTo>
                      <a:pt x="293" y="6665"/>
                      <a:pt x="302" y="6664"/>
                      <a:pt x="314" y="6664"/>
                    </a:cubicBezTo>
                    <a:cubicBezTo>
                      <a:pt x="336" y="6664"/>
                      <a:pt x="364" y="6668"/>
                      <a:pt x="378" y="6670"/>
                    </a:cubicBezTo>
                    <a:cubicBezTo>
                      <a:pt x="393" y="6673"/>
                      <a:pt x="416" y="6678"/>
                      <a:pt x="442" y="6678"/>
                    </a:cubicBezTo>
                    <a:cubicBezTo>
                      <a:pt x="452" y="6678"/>
                      <a:pt x="462" y="6677"/>
                      <a:pt x="473" y="6676"/>
                    </a:cubicBezTo>
                    <a:cubicBezTo>
                      <a:pt x="510" y="6669"/>
                      <a:pt x="571" y="6638"/>
                      <a:pt x="578" y="6634"/>
                    </a:cubicBezTo>
                    <a:cubicBezTo>
                      <a:pt x="578" y="6634"/>
                      <a:pt x="579" y="6633"/>
                      <a:pt x="581" y="6633"/>
                    </a:cubicBezTo>
                    <a:cubicBezTo>
                      <a:pt x="586" y="6635"/>
                      <a:pt x="584" y="6637"/>
                      <a:pt x="585" y="6637"/>
                    </a:cubicBezTo>
                    <a:cubicBezTo>
                      <a:pt x="586" y="6643"/>
                      <a:pt x="587" y="6662"/>
                      <a:pt x="591" y="6669"/>
                    </a:cubicBezTo>
                    <a:cubicBezTo>
                      <a:pt x="592" y="6671"/>
                      <a:pt x="593" y="6674"/>
                      <a:pt x="593" y="6677"/>
                    </a:cubicBezTo>
                    <a:cubicBezTo>
                      <a:pt x="592" y="6691"/>
                      <a:pt x="581" y="6709"/>
                      <a:pt x="566" y="6723"/>
                    </a:cubicBezTo>
                    <a:close/>
                    <a:moveTo>
                      <a:pt x="560" y="6717"/>
                    </a:moveTo>
                    <a:cubicBezTo>
                      <a:pt x="574" y="6704"/>
                      <a:pt x="585" y="6686"/>
                      <a:pt x="584" y="6677"/>
                    </a:cubicBezTo>
                    <a:cubicBezTo>
                      <a:pt x="584" y="6675"/>
                      <a:pt x="584" y="6674"/>
                      <a:pt x="584" y="6673"/>
                    </a:cubicBezTo>
                    <a:cubicBezTo>
                      <a:pt x="581" y="6667"/>
                      <a:pt x="579" y="6658"/>
                      <a:pt x="579" y="6651"/>
                    </a:cubicBezTo>
                    <a:cubicBezTo>
                      <a:pt x="578" y="6648"/>
                      <a:pt x="578" y="6646"/>
                      <a:pt x="578" y="6644"/>
                    </a:cubicBezTo>
                    <a:cubicBezTo>
                      <a:pt x="562" y="6651"/>
                      <a:pt x="509" y="6678"/>
                      <a:pt x="474" y="6684"/>
                    </a:cubicBezTo>
                    <a:cubicBezTo>
                      <a:pt x="463" y="6686"/>
                      <a:pt x="452" y="6686"/>
                      <a:pt x="442" y="6686"/>
                    </a:cubicBezTo>
                    <a:cubicBezTo>
                      <a:pt x="415" y="6686"/>
                      <a:pt x="391" y="6681"/>
                      <a:pt x="376" y="6678"/>
                    </a:cubicBezTo>
                    <a:cubicBezTo>
                      <a:pt x="363" y="6676"/>
                      <a:pt x="335" y="6672"/>
                      <a:pt x="314" y="6672"/>
                    </a:cubicBezTo>
                    <a:cubicBezTo>
                      <a:pt x="303" y="6672"/>
                      <a:pt x="294" y="6674"/>
                      <a:pt x="292" y="6676"/>
                    </a:cubicBezTo>
                    <a:cubicBezTo>
                      <a:pt x="290" y="6678"/>
                      <a:pt x="289" y="6679"/>
                      <a:pt x="289" y="6680"/>
                    </a:cubicBezTo>
                    <a:cubicBezTo>
                      <a:pt x="289" y="6682"/>
                      <a:pt x="295" y="6688"/>
                      <a:pt x="303" y="6690"/>
                    </a:cubicBezTo>
                    <a:cubicBezTo>
                      <a:pt x="314" y="6693"/>
                      <a:pt x="368" y="6695"/>
                      <a:pt x="388" y="6704"/>
                    </a:cubicBezTo>
                    <a:cubicBezTo>
                      <a:pt x="406" y="6713"/>
                      <a:pt x="446" y="6741"/>
                      <a:pt x="475" y="6742"/>
                    </a:cubicBezTo>
                    <a:cubicBezTo>
                      <a:pt x="477" y="6742"/>
                      <a:pt x="479" y="6742"/>
                      <a:pt x="481" y="6742"/>
                    </a:cubicBezTo>
                    <a:cubicBezTo>
                      <a:pt x="510" y="6742"/>
                      <a:pt x="545" y="6731"/>
                      <a:pt x="560" y="6717"/>
                    </a:cubicBezTo>
                    <a:close/>
                    <a:moveTo>
                      <a:pt x="77" y="1144"/>
                    </a:moveTo>
                    <a:cubicBezTo>
                      <a:pt x="4" y="1039"/>
                      <a:pt x="4" y="1039"/>
                      <a:pt x="4" y="1039"/>
                    </a:cubicBezTo>
                    <a:cubicBezTo>
                      <a:pt x="4" y="1062"/>
                      <a:pt x="4" y="1062"/>
                      <a:pt x="4" y="1062"/>
                    </a:cubicBezTo>
                    <a:cubicBezTo>
                      <a:pt x="59" y="1140"/>
                      <a:pt x="59" y="1140"/>
                      <a:pt x="59" y="1140"/>
                    </a:cubicBezTo>
                    <a:cubicBezTo>
                      <a:pt x="18" y="1169"/>
                      <a:pt x="18" y="1169"/>
                      <a:pt x="18" y="1169"/>
                    </a:cubicBezTo>
                    <a:cubicBezTo>
                      <a:pt x="4" y="1149"/>
                      <a:pt x="4" y="1149"/>
                      <a:pt x="4" y="1149"/>
                    </a:cubicBezTo>
                    <a:cubicBezTo>
                      <a:pt x="4" y="1172"/>
                      <a:pt x="4" y="1172"/>
                      <a:pt x="4" y="1172"/>
                    </a:cubicBezTo>
                    <a:cubicBezTo>
                      <a:pt x="15" y="1187"/>
                      <a:pt x="15" y="1187"/>
                      <a:pt x="15" y="1187"/>
                    </a:cubicBezTo>
                    <a:lnTo>
                      <a:pt x="77" y="1144"/>
                    </a:lnTo>
                    <a:close/>
                    <a:moveTo>
                      <a:pt x="69" y="1459"/>
                    </a:moveTo>
                    <a:cubicBezTo>
                      <a:pt x="4" y="1477"/>
                      <a:pt x="4" y="1477"/>
                      <a:pt x="4" y="1477"/>
                    </a:cubicBezTo>
                    <a:cubicBezTo>
                      <a:pt x="4" y="1492"/>
                      <a:pt x="4" y="1492"/>
                      <a:pt x="4" y="1492"/>
                    </a:cubicBezTo>
                    <a:cubicBezTo>
                      <a:pt x="62" y="1476"/>
                      <a:pt x="62" y="1476"/>
                      <a:pt x="62" y="1476"/>
                    </a:cubicBezTo>
                    <a:cubicBezTo>
                      <a:pt x="109" y="1558"/>
                      <a:pt x="109" y="1558"/>
                      <a:pt x="109" y="1558"/>
                    </a:cubicBezTo>
                    <a:cubicBezTo>
                      <a:pt x="4" y="1647"/>
                      <a:pt x="4" y="1647"/>
                      <a:pt x="4" y="1647"/>
                    </a:cubicBezTo>
                    <a:cubicBezTo>
                      <a:pt x="4" y="1666"/>
                      <a:pt x="4" y="1666"/>
                      <a:pt x="4" y="1666"/>
                    </a:cubicBezTo>
                    <a:cubicBezTo>
                      <a:pt x="128" y="1561"/>
                      <a:pt x="128" y="1561"/>
                      <a:pt x="128" y="1561"/>
                    </a:cubicBezTo>
                    <a:lnTo>
                      <a:pt x="69" y="1459"/>
                    </a:lnTo>
                    <a:close/>
                    <a:moveTo>
                      <a:pt x="51" y="1301"/>
                    </a:moveTo>
                    <a:cubicBezTo>
                      <a:pt x="23" y="1312"/>
                      <a:pt x="23" y="1312"/>
                      <a:pt x="23" y="1312"/>
                    </a:cubicBezTo>
                    <a:cubicBezTo>
                      <a:pt x="23" y="1312"/>
                      <a:pt x="16" y="1315"/>
                      <a:pt x="4" y="1320"/>
                    </a:cubicBezTo>
                    <a:cubicBezTo>
                      <a:pt x="4" y="1355"/>
                      <a:pt x="4" y="1355"/>
                      <a:pt x="4" y="1355"/>
                    </a:cubicBezTo>
                    <a:cubicBezTo>
                      <a:pt x="31" y="1324"/>
                      <a:pt x="31" y="1324"/>
                      <a:pt x="31" y="1324"/>
                    </a:cubicBezTo>
                    <a:lnTo>
                      <a:pt x="51" y="1301"/>
                    </a:lnTo>
                    <a:close/>
                    <a:moveTo>
                      <a:pt x="3098" y="9170"/>
                    </a:moveTo>
                    <a:cubicBezTo>
                      <a:pt x="2977" y="9256"/>
                      <a:pt x="2977" y="9256"/>
                      <a:pt x="2977" y="9256"/>
                    </a:cubicBezTo>
                    <a:cubicBezTo>
                      <a:pt x="2974" y="9250"/>
                      <a:pt x="2974" y="9250"/>
                      <a:pt x="2974" y="9250"/>
                    </a:cubicBezTo>
                    <a:cubicBezTo>
                      <a:pt x="2917" y="9171"/>
                      <a:pt x="2917" y="9171"/>
                      <a:pt x="2917" y="9171"/>
                    </a:cubicBezTo>
                    <a:cubicBezTo>
                      <a:pt x="3037" y="9085"/>
                      <a:pt x="3037" y="9085"/>
                      <a:pt x="3037" y="9085"/>
                    </a:cubicBezTo>
                    <a:lnTo>
                      <a:pt x="3098" y="9170"/>
                    </a:lnTo>
                    <a:close/>
                    <a:moveTo>
                      <a:pt x="2980" y="9238"/>
                    </a:moveTo>
                    <a:cubicBezTo>
                      <a:pt x="3080" y="9167"/>
                      <a:pt x="3080" y="9167"/>
                      <a:pt x="3080" y="9167"/>
                    </a:cubicBezTo>
                    <a:cubicBezTo>
                      <a:pt x="3034" y="9103"/>
                      <a:pt x="3034" y="9103"/>
                      <a:pt x="3034" y="9103"/>
                    </a:cubicBezTo>
                    <a:cubicBezTo>
                      <a:pt x="2935" y="9174"/>
                      <a:pt x="2935" y="9174"/>
                      <a:pt x="2935" y="9174"/>
                    </a:cubicBezTo>
                    <a:lnTo>
                      <a:pt x="2980" y="9238"/>
                    </a:lnTo>
                    <a:close/>
                    <a:moveTo>
                      <a:pt x="3739" y="48"/>
                    </a:moveTo>
                    <a:cubicBezTo>
                      <a:pt x="3719" y="40"/>
                      <a:pt x="3719" y="40"/>
                      <a:pt x="3719" y="40"/>
                    </a:cubicBezTo>
                    <a:cubicBezTo>
                      <a:pt x="3732" y="0"/>
                      <a:pt x="3732" y="0"/>
                      <a:pt x="3732" y="0"/>
                    </a:cubicBezTo>
                    <a:cubicBezTo>
                      <a:pt x="3716" y="0"/>
                      <a:pt x="3716" y="0"/>
                      <a:pt x="3716" y="0"/>
                    </a:cubicBezTo>
                    <a:cubicBezTo>
                      <a:pt x="3701" y="49"/>
                      <a:pt x="3701" y="49"/>
                      <a:pt x="3701" y="49"/>
                    </a:cubicBezTo>
                    <a:cubicBezTo>
                      <a:pt x="3743" y="66"/>
                      <a:pt x="3743" y="66"/>
                      <a:pt x="3743" y="66"/>
                    </a:cubicBezTo>
                    <a:cubicBezTo>
                      <a:pt x="3813" y="0"/>
                      <a:pt x="3813" y="0"/>
                      <a:pt x="3813" y="0"/>
                    </a:cubicBezTo>
                    <a:cubicBezTo>
                      <a:pt x="3792" y="0"/>
                      <a:pt x="3792" y="0"/>
                      <a:pt x="3792" y="0"/>
                    </a:cubicBezTo>
                    <a:lnTo>
                      <a:pt x="3739" y="48"/>
                    </a:lnTo>
                    <a:close/>
                    <a:moveTo>
                      <a:pt x="2739" y="8792"/>
                    </a:moveTo>
                    <a:cubicBezTo>
                      <a:pt x="2883" y="8806"/>
                      <a:pt x="2883" y="8806"/>
                      <a:pt x="2883" y="8806"/>
                    </a:cubicBezTo>
                    <a:cubicBezTo>
                      <a:pt x="2876" y="8882"/>
                      <a:pt x="2876" y="8882"/>
                      <a:pt x="2876" y="8882"/>
                    </a:cubicBezTo>
                    <a:cubicBezTo>
                      <a:pt x="2725" y="8867"/>
                      <a:pt x="2725" y="8867"/>
                      <a:pt x="2725" y="8867"/>
                    </a:cubicBezTo>
                    <a:cubicBezTo>
                      <a:pt x="2732" y="8792"/>
                      <a:pt x="2732" y="8792"/>
                      <a:pt x="2732" y="8792"/>
                    </a:cubicBezTo>
                    <a:lnTo>
                      <a:pt x="2739" y="8792"/>
                    </a:lnTo>
                    <a:close/>
                    <a:moveTo>
                      <a:pt x="2739" y="8855"/>
                    </a:moveTo>
                    <a:cubicBezTo>
                      <a:pt x="2864" y="8867"/>
                      <a:pt x="2864" y="8867"/>
                      <a:pt x="2864" y="8867"/>
                    </a:cubicBezTo>
                    <a:cubicBezTo>
                      <a:pt x="2869" y="8818"/>
                      <a:pt x="2869" y="8818"/>
                      <a:pt x="2869" y="8818"/>
                    </a:cubicBezTo>
                    <a:cubicBezTo>
                      <a:pt x="2744" y="8806"/>
                      <a:pt x="2744" y="8806"/>
                      <a:pt x="2744" y="8806"/>
                    </a:cubicBezTo>
                    <a:lnTo>
                      <a:pt x="2739" y="8855"/>
                    </a:lnTo>
                    <a:close/>
                    <a:moveTo>
                      <a:pt x="151" y="4553"/>
                    </a:moveTo>
                    <a:cubicBezTo>
                      <a:pt x="126" y="4518"/>
                      <a:pt x="126" y="4518"/>
                      <a:pt x="126" y="4518"/>
                    </a:cubicBezTo>
                    <a:cubicBezTo>
                      <a:pt x="267" y="4421"/>
                      <a:pt x="267" y="4421"/>
                      <a:pt x="267" y="4421"/>
                    </a:cubicBezTo>
                    <a:cubicBezTo>
                      <a:pt x="292" y="4454"/>
                      <a:pt x="292" y="4454"/>
                      <a:pt x="292" y="4454"/>
                    </a:cubicBezTo>
                    <a:cubicBezTo>
                      <a:pt x="242" y="4498"/>
                      <a:pt x="242" y="4498"/>
                      <a:pt x="242" y="4498"/>
                    </a:cubicBezTo>
                    <a:cubicBezTo>
                      <a:pt x="315" y="4581"/>
                      <a:pt x="315" y="4581"/>
                      <a:pt x="315" y="4581"/>
                    </a:cubicBezTo>
                    <a:cubicBezTo>
                      <a:pt x="432" y="4528"/>
                      <a:pt x="432" y="4528"/>
                      <a:pt x="432" y="4528"/>
                    </a:cubicBezTo>
                    <a:cubicBezTo>
                      <a:pt x="461" y="4571"/>
                      <a:pt x="461" y="4571"/>
                      <a:pt x="461" y="4571"/>
                    </a:cubicBezTo>
                    <a:cubicBezTo>
                      <a:pt x="545" y="4546"/>
                      <a:pt x="545" y="4546"/>
                      <a:pt x="545" y="4546"/>
                    </a:cubicBezTo>
                    <a:cubicBezTo>
                      <a:pt x="555" y="4543"/>
                      <a:pt x="555" y="4543"/>
                      <a:pt x="555" y="4543"/>
                    </a:cubicBezTo>
                    <a:cubicBezTo>
                      <a:pt x="340" y="4250"/>
                      <a:pt x="340" y="4250"/>
                      <a:pt x="340" y="4250"/>
                    </a:cubicBezTo>
                    <a:cubicBezTo>
                      <a:pt x="4" y="4474"/>
                      <a:pt x="4" y="4474"/>
                      <a:pt x="4" y="4474"/>
                    </a:cubicBezTo>
                    <a:cubicBezTo>
                      <a:pt x="4" y="4492"/>
                      <a:pt x="4" y="4492"/>
                      <a:pt x="4" y="4492"/>
                    </a:cubicBezTo>
                    <a:cubicBezTo>
                      <a:pt x="336" y="4270"/>
                      <a:pt x="336" y="4270"/>
                      <a:pt x="336" y="4270"/>
                    </a:cubicBezTo>
                    <a:cubicBezTo>
                      <a:pt x="531" y="4534"/>
                      <a:pt x="531" y="4534"/>
                      <a:pt x="531" y="4534"/>
                    </a:cubicBezTo>
                    <a:cubicBezTo>
                      <a:pt x="467" y="4553"/>
                      <a:pt x="467" y="4553"/>
                      <a:pt x="467" y="4553"/>
                    </a:cubicBezTo>
                    <a:cubicBezTo>
                      <a:pt x="437" y="4509"/>
                      <a:pt x="437" y="4509"/>
                      <a:pt x="437" y="4509"/>
                    </a:cubicBezTo>
                    <a:cubicBezTo>
                      <a:pt x="319" y="4563"/>
                      <a:pt x="319" y="4563"/>
                      <a:pt x="319" y="4563"/>
                    </a:cubicBezTo>
                    <a:cubicBezTo>
                      <a:pt x="263" y="4499"/>
                      <a:pt x="263" y="4499"/>
                      <a:pt x="263" y="4499"/>
                    </a:cubicBezTo>
                    <a:cubicBezTo>
                      <a:pt x="312" y="4456"/>
                      <a:pt x="312" y="4456"/>
                      <a:pt x="312" y="4456"/>
                    </a:cubicBezTo>
                    <a:cubicBezTo>
                      <a:pt x="270" y="4401"/>
                      <a:pt x="270" y="4401"/>
                      <a:pt x="270" y="4401"/>
                    </a:cubicBezTo>
                    <a:cubicBezTo>
                      <a:pt x="105" y="4514"/>
                      <a:pt x="105" y="4514"/>
                      <a:pt x="105" y="4514"/>
                    </a:cubicBezTo>
                    <a:cubicBezTo>
                      <a:pt x="130" y="4549"/>
                      <a:pt x="130" y="4549"/>
                      <a:pt x="130" y="4549"/>
                    </a:cubicBezTo>
                    <a:cubicBezTo>
                      <a:pt x="10" y="4629"/>
                      <a:pt x="10" y="4629"/>
                      <a:pt x="10" y="4629"/>
                    </a:cubicBezTo>
                    <a:cubicBezTo>
                      <a:pt x="4" y="4626"/>
                      <a:pt x="4" y="4626"/>
                      <a:pt x="4" y="4626"/>
                    </a:cubicBezTo>
                    <a:cubicBezTo>
                      <a:pt x="4" y="4643"/>
                      <a:pt x="4" y="4643"/>
                      <a:pt x="4" y="4643"/>
                    </a:cubicBezTo>
                    <a:cubicBezTo>
                      <a:pt x="11" y="4646"/>
                      <a:pt x="11" y="4646"/>
                      <a:pt x="11" y="4646"/>
                    </a:cubicBezTo>
                    <a:lnTo>
                      <a:pt x="151" y="4553"/>
                    </a:lnTo>
                    <a:close/>
                    <a:moveTo>
                      <a:pt x="183" y="1935"/>
                    </a:moveTo>
                    <a:cubicBezTo>
                      <a:pt x="293" y="1835"/>
                      <a:pt x="293" y="1835"/>
                      <a:pt x="293" y="1835"/>
                    </a:cubicBezTo>
                    <a:cubicBezTo>
                      <a:pt x="299" y="1829"/>
                      <a:pt x="299" y="1829"/>
                      <a:pt x="299" y="1829"/>
                    </a:cubicBezTo>
                    <a:cubicBezTo>
                      <a:pt x="152" y="1695"/>
                      <a:pt x="152" y="1695"/>
                      <a:pt x="152" y="1695"/>
                    </a:cubicBezTo>
                    <a:cubicBezTo>
                      <a:pt x="4" y="1809"/>
                      <a:pt x="4" y="1809"/>
                      <a:pt x="4" y="1809"/>
                    </a:cubicBezTo>
                    <a:cubicBezTo>
                      <a:pt x="4" y="1828"/>
                      <a:pt x="4" y="1828"/>
                      <a:pt x="4" y="1828"/>
                    </a:cubicBezTo>
                    <a:cubicBezTo>
                      <a:pt x="151" y="1715"/>
                      <a:pt x="151" y="1715"/>
                      <a:pt x="151" y="1715"/>
                    </a:cubicBezTo>
                    <a:cubicBezTo>
                      <a:pt x="277" y="1829"/>
                      <a:pt x="277" y="1829"/>
                      <a:pt x="277" y="1829"/>
                    </a:cubicBezTo>
                    <a:cubicBezTo>
                      <a:pt x="177" y="1920"/>
                      <a:pt x="177" y="1920"/>
                      <a:pt x="177" y="1920"/>
                    </a:cubicBezTo>
                    <a:cubicBezTo>
                      <a:pt x="37" y="1913"/>
                      <a:pt x="37" y="1913"/>
                      <a:pt x="37" y="1913"/>
                    </a:cubicBezTo>
                    <a:cubicBezTo>
                      <a:pt x="4" y="1859"/>
                      <a:pt x="4" y="1859"/>
                      <a:pt x="4" y="1859"/>
                    </a:cubicBezTo>
                    <a:cubicBezTo>
                      <a:pt x="4" y="1887"/>
                      <a:pt x="4" y="1887"/>
                      <a:pt x="4" y="1887"/>
                    </a:cubicBezTo>
                    <a:cubicBezTo>
                      <a:pt x="28" y="1927"/>
                      <a:pt x="28" y="1927"/>
                      <a:pt x="28" y="1927"/>
                    </a:cubicBezTo>
                    <a:lnTo>
                      <a:pt x="183" y="1935"/>
                    </a:lnTo>
                    <a:close/>
                    <a:moveTo>
                      <a:pt x="54" y="2215"/>
                    </a:moveTo>
                    <a:cubicBezTo>
                      <a:pt x="4" y="2136"/>
                      <a:pt x="4" y="2136"/>
                      <a:pt x="4" y="2136"/>
                    </a:cubicBezTo>
                    <a:cubicBezTo>
                      <a:pt x="4" y="2164"/>
                      <a:pt x="4" y="2164"/>
                      <a:pt x="4" y="2164"/>
                    </a:cubicBezTo>
                    <a:cubicBezTo>
                      <a:pt x="38" y="2217"/>
                      <a:pt x="38" y="2217"/>
                      <a:pt x="38" y="2217"/>
                    </a:cubicBezTo>
                    <a:cubicBezTo>
                      <a:pt x="11" y="2302"/>
                      <a:pt x="11" y="2302"/>
                      <a:pt x="11" y="2302"/>
                    </a:cubicBezTo>
                    <a:cubicBezTo>
                      <a:pt x="4" y="2303"/>
                      <a:pt x="4" y="2303"/>
                      <a:pt x="4" y="2303"/>
                    </a:cubicBezTo>
                    <a:cubicBezTo>
                      <a:pt x="4" y="2318"/>
                      <a:pt x="4" y="2318"/>
                      <a:pt x="4" y="2318"/>
                    </a:cubicBezTo>
                    <a:cubicBezTo>
                      <a:pt x="23" y="2315"/>
                      <a:pt x="23" y="2315"/>
                      <a:pt x="23" y="2315"/>
                    </a:cubicBezTo>
                    <a:lnTo>
                      <a:pt x="54" y="2215"/>
                    </a:lnTo>
                    <a:close/>
                    <a:moveTo>
                      <a:pt x="522" y="6400"/>
                    </a:moveTo>
                    <a:cubicBezTo>
                      <a:pt x="384" y="6397"/>
                      <a:pt x="384" y="6397"/>
                      <a:pt x="384" y="6397"/>
                    </a:cubicBezTo>
                    <a:cubicBezTo>
                      <a:pt x="387" y="6260"/>
                      <a:pt x="387" y="6260"/>
                      <a:pt x="387" y="6260"/>
                    </a:cubicBezTo>
                    <a:cubicBezTo>
                      <a:pt x="393" y="6260"/>
                      <a:pt x="393" y="6260"/>
                      <a:pt x="393" y="6260"/>
                    </a:cubicBezTo>
                    <a:cubicBezTo>
                      <a:pt x="525" y="6262"/>
                      <a:pt x="525" y="6262"/>
                      <a:pt x="525" y="6262"/>
                    </a:cubicBezTo>
                    <a:lnTo>
                      <a:pt x="522" y="6400"/>
                    </a:lnTo>
                    <a:close/>
                    <a:moveTo>
                      <a:pt x="511" y="6275"/>
                    </a:moveTo>
                    <a:cubicBezTo>
                      <a:pt x="400" y="6273"/>
                      <a:pt x="400" y="6273"/>
                      <a:pt x="400" y="6273"/>
                    </a:cubicBezTo>
                    <a:cubicBezTo>
                      <a:pt x="398" y="6385"/>
                      <a:pt x="398" y="6385"/>
                      <a:pt x="398" y="6385"/>
                    </a:cubicBezTo>
                    <a:cubicBezTo>
                      <a:pt x="509" y="6387"/>
                      <a:pt x="509" y="6387"/>
                      <a:pt x="509" y="6387"/>
                    </a:cubicBezTo>
                    <a:lnTo>
                      <a:pt x="511" y="6275"/>
                    </a:lnTo>
                    <a:close/>
                    <a:moveTo>
                      <a:pt x="56" y="4838"/>
                    </a:moveTo>
                    <a:cubicBezTo>
                      <a:pt x="4" y="4824"/>
                      <a:pt x="4" y="4824"/>
                      <a:pt x="4" y="4824"/>
                    </a:cubicBezTo>
                    <a:cubicBezTo>
                      <a:pt x="4" y="4839"/>
                      <a:pt x="4" y="4839"/>
                      <a:pt x="4" y="4839"/>
                    </a:cubicBezTo>
                    <a:cubicBezTo>
                      <a:pt x="20" y="4843"/>
                      <a:pt x="20" y="4843"/>
                      <a:pt x="20" y="4843"/>
                    </a:cubicBezTo>
                    <a:cubicBezTo>
                      <a:pt x="4" y="4853"/>
                      <a:pt x="4" y="4853"/>
                      <a:pt x="4" y="4853"/>
                    </a:cubicBezTo>
                    <a:cubicBezTo>
                      <a:pt x="4" y="4870"/>
                      <a:pt x="4" y="4870"/>
                      <a:pt x="4" y="4870"/>
                    </a:cubicBezTo>
                    <a:cubicBezTo>
                      <a:pt x="42" y="4847"/>
                      <a:pt x="42" y="4847"/>
                      <a:pt x="42" y="4847"/>
                    </a:cubicBezTo>
                    <a:lnTo>
                      <a:pt x="56" y="4838"/>
                    </a:lnTo>
                    <a:close/>
                    <a:moveTo>
                      <a:pt x="10007" y="37"/>
                    </a:moveTo>
                    <a:cubicBezTo>
                      <a:pt x="10143" y="0"/>
                      <a:pt x="10143" y="0"/>
                      <a:pt x="10143" y="0"/>
                    </a:cubicBezTo>
                    <a:cubicBezTo>
                      <a:pt x="10088" y="0"/>
                      <a:pt x="10088" y="0"/>
                      <a:pt x="10088" y="0"/>
                    </a:cubicBezTo>
                    <a:cubicBezTo>
                      <a:pt x="10017" y="19"/>
                      <a:pt x="10017" y="19"/>
                      <a:pt x="10017" y="19"/>
                    </a:cubicBezTo>
                    <a:cubicBezTo>
                      <a:pt x="10011" y="0"/>
                      <a:pt x="10011" y="0"/>
                      <a:pt x="10011" y="0"/>
                    </a:cubicBezTo>
                    <a:cubicBezTo>
                      <a:pt x="9996" y="0"/>
                      <a:pt x="9996" y="0"/>
                      <a:pt x="9996" y="0"/>
                    </a:cubicBezTo>
                    <a:lnTo>
                      <a:pt x="10007" y="37"/>
                    </a:lnTo>
                    <a:close/>
                    <a:moveTo>
                      <a:pt x="46" y="4813"/>
                    </a:moveTo>
                    <a:cubicBezTo>
                      <a:pt x="61" y="4806"/>
                      <a:pt x="61" y="4806"/>
                      <a:pt x="61" y="4806"/>
                    </a:cubicBezTo>
                    <a:cubicBezTo>
                      <a:pt x="75" y="4800"/>
                      <a:pt x="75" y="4800"/>
                      <a:pt x="75" y="4800"/>
                    </a:cubicBezTo>
                    <a:cubicBezTo>
                      <a:pt x="4" y="4762"/>
                      <a:pt x="4" y="4762"/>
                      <a:pt x="4" y="4762"/>
                    </a:cubicBezTo>
                    <a:cubicBezTo>
                      <a:pt x="4" y="4779"/>
                      <a:pt x="4" y="4779"/>
                      <a:pt x="4" y="4779"/>
                    </a:cubicBezTo>
                    <a:cubicBezTo>
                      <a:pt x="37" y="4797"/>
                      <a:pt x="37" y="4797"/>
                      <a:pt x="37" y="4797"/>
                    </a:cubicBezTo>
                    <a:cubicBezTo>
                      <a:pt x="4" y="4786"/>
                      <a:pt x="4" y="4786"/>
                      <a:pt x="4" y="4786"/>
                    </a:cubicBezTo>
                    <a:cubicBezTo>
                      <a:pt x="4" y="4802"/>
                      <a:pt x="4" y="4802"/>
                      <a:pt x="4" y="4802"/>
                    </a:cubicBezTo>
                    <a:cubicBezTo>
                      <a:pt x="43" y="4814"/>
                      <a:pt x="43" y="4814"/>
                      <a:pt x="43" y="4814"/>
                    </a:cubicBezTo>
                    <a:lnTo>
                      <a:pt x="46" y="4813"/>
                    </a:lnTo>
                    <a:close/>
                    <a:moveTo>
                      <a:pt x="88" y="5226"/>
                    </a:moveTo>
                    <a:cubicBezTo>
                      <a:pt x="101" y="5224"/>
                      <a:pt x="101" y="5224"/>
                      <a:pt x="101" y="5224"/>
                    </a:cubicBezTo>
                    <a:cubicBezTo>
                      <a:pt x="84" y="5133"/>
                      <a:pt x="84" y="5133"/>
                      <a:pt x="84" y="5133"/>
                    </a:cubicBezTo>
                    <a:cubicBezTo>
                      <a:pt x="83" y="5126"/>
                      <a:pt x="83" y="5126"/>
                      <a:pt x="83" y="5126"/>
                    </a:cubicBezTo>
                    <a:cubicBezTo>
                      <a:pt x="4" y="5141"/>
                      <a:pt x="4" y="5141"/>
                      <a:pt x="4" y="5141"/>
                    </a:cubicBezTo>
                    <a:cubicBezTo>
                      <a:pt x="4" y="5154"/>
                      <a:pt x="4" y="5154"/>
                      <a:pt x="4" y="5154"/>
                    </a:cubicBezTo>
                    <a:cubicBezTo>
                      <a:pt x="72" y="5142"/>
                      <a:pt x="72" y="5142"/>
                      <a:pt x="72" y="5142"/>
                    </a:cubicBezTo>
                    <a:cubicBezTo>
                      <a:pt x="86" y="5213"/>
                      <a:pt x="86" y="5213"/>
                      <a:pt x="86" y="5213"/>
                    </a:cubicBezTo>
                    <a:cubicBezTo>
                      <a:pt x="73" y="5216"/>
                      <a:pt x="73" y="5216"/>
                      <a:pt x="73" y="5216"/>
                    </a:cubicBezTo>
                    <a:cubicBezTo>
                      <a:pt x="83" y="5270"/>
                      <a:pt x="83" y="5270"/>
                      <a:pt x="83" y="5270"/>
                    </a:cubicBezTo>
                    <a:cubicBezTo>
                      <a:pt x="4" y="5284"/>
                      <a:pt x="4" y="5284"/>
                      <a:pt x="4" y="5284"/>
                    </a:cubicBezTo>
                    <a:cubicBezTo>
                      <a:pt x="4" y="5298"/>
                      <a:pt x="4" y="5298"/>
                      <a:pt x="4" y="5298"/>
                    </a:cubicBezTo>
                    <a:cubicBezTo>
                      <a:pt x="98" y="5280"/>
                      <a:pt x="98" y="5280"/>
                      <a:pt x="98" y="5280"/>
                    </a:cubicBezTo>
                    <a:lnTo>
                      <a:pt x="88" y="5226"/>
                    </a:lnTo>
                    <a:close/>
                    <a:moveTo>
                      <a:pt x="57" y="5657"/>
                    </a:moveTo>
                    <a:cubicBezTo>
                      <a:pt x="63" y="5658"/>
                      <a:pt x="63" y="5658"/>
                      <a:pt x="63" y="5658"/>
                    </a:cubicBezTo>
                    <a:cubicBezTo>
                      <a:pt x="89" y="5538"/>
                      <a:pt x="89" y="5538"/>
                      <a:pt x="89" y="5538"/>
                    </a:cubicBezTo>
                    <a:cubicBezTo>
                      <a:pt x="4" y="5522"/>
                      <a:pt x="4" y="5522"/>
                      <a:pt x="4" y="5522"/>
                    </a:cubicBezTo>
                    <a:cubicBezTo>
                      <a:pt x="4" y="5536"/>
                      <a:pt x="4" y="5536"/>
                      <a:pt x="4" y="5536"/>
                    </a:cubicBezTo>
                    <a:cubicBezTo>
                      <a:pt x="73" y="5549"/>
                      <a:pt x="73" y="5549"/>
                      <a:pt x="73" y="5549"/>
                    </a:cubicBezTo>
                    <a:cubicBezTo>
                      <a:pt x="53" y="5643"/>
                      <a:pt x="53" y="5643"/>
                      <a:pt x="53" y="5643"/>
                    </a:cubicBezTo>
                    <a:cubicBezTo>
                      <a:pt x="4" y="5634"/>
                      <a:pt x="4" y="5634"/>
                      <a:pt x="4" y="5634"/>
                    </a:cubicBezTo>
                    <a:cubicBezTo>
                      <a:pt x="4" y="5663"/>
                      <a:pt x="4" y="5663"/>
                      <a:pt x="4" y="5663"/>
                    </a:cubicBezTo>
                    <a:cubicBezTo>
                      <a:pt x="7" y="5648"/>
                      <a:pt x="7" y="5648"/>
                      <a:pt x="7" y="5648"/>
                    </a:cubicBezTo>
                    <a:lnTo>
                      <a:pt x="57" y="5657"/>
                    </a:lnTo>
                    <a:close/>
                    <a:moveTo>
                      <a:pt x="10286" y="278"/>
                    </a:moveTo>
                    <a:cubicBezTo>
                      <a:pt x="10142" y="318"/>
                      <a:pt x="10142" y="318"/>
                      <a:pt x="10142" y="318"/>
                    </a:cubicBezTo>
                    <a:cubicBezTo>
                      <a:pt x="10227" y="622"/>
                      <a:pt x="10227" y="622"/>
                      <a:pt x="10227" y="622"/>
                    </a:cubicBezTo>
                    <a:cubicBezTo>
                      <a:pt x="9554" y="797"/>
                      <a:pt x="9554" y="797"/>
                      <a:pt x="9554" y="797"/>
                    </a:cubicBezTo>
                    <a:cubicBezTo>
                      <a:pt x="9511" y="643"/>
                      <a:pt x="9511" y="643"/>
                      <a:pt x="9511" y="643"/>
                    </a:cubicBezTo>
                    <a:cubicBezTo>
                      <a:pt x="9581" y="620"/>
                      <a:pt x="9581" y="620"/>
                      <a:pt x="9581" y="620"/>
                    </a:cubicBezTo>
                    <a:cubicBezTo>
                      <a:pt x="9512" y="389"/>
                      <a:pt x="9512" y="389"/>
                      <a:pt x="9512" y="389"/>
                    </a:cubicBezTo>
                    <a:cubicBezTo>
                      <a:pt x="9437" y="405"/>
                      <a:pt x="9437" y="405"/>
                      <a:pt x="9437" y="405"/>
                    </a:cubicBezTo>
                    <a:cubicBezTo>
                      <a:pt x="9379" y="195"/>
                      <a:pt x="9379" y="195"/>
                      <a:pt x="9379" y="195"/>
                    </a:cubicBezTo>
                    <a:cubicBezTo>
                      <a:pt x="9679" y="113"/>
                      <a:pt x="9679" y="113"/>
                      <a:pt x="9679" y="113"/>
                    </a:cubicBezTo>
                    <a:cubicBezTo>
                      <a:pt x="9667" y="72"/>
                      <a:pt x="9667" y="72"/>
                      <a:pt x="9667" y="72"/>
                    </a:cubicBezTo>
                    <a:cubicBezTo>
                      <a:pt x="9928" y="0"/>
                      <a:pt x="9928" y="0"/>
                      <a:pt x="9928" y="0"/>
                    </a:cubicBezTo>
                    <a:cubicBezTo>
                      <a:pt x="9872" y="0"/>
                      <a:pt x="9872" y="0"/>
                      <a:pt x="9872" y="0"/>
                    </a:cubicBezTo>
                    <a:cubicBezTo>
                      <a:pt x="9649" y="61"/>
                      <a:pt x="9649" y="61"/>
                      <a:pt x="9649" y="61"/>
                    </a:cubicBezTo>
                    <a:cubicBezTo>
                      <a:pt x="9661" y="103"/>
                      <a:pt x="9661" y="103"/>
                      <a:pt x="9661" y="103"/>
                    </a:cubicBezTo>
                    <a:cubicBezTo>
                      <a:pt x="9368" y="183"/>
                      <a:pt x="9368" y="183"/>
                      <a:pt x="9368" y="183"/>
                    </a:cubicBezTo>
                    <a:cubicBezTo>
                      <a:pt x="9361" y="185"/>
                      <a:pt x="9361" y="185"/>
                      <a:pt x="9361" y="185"/>
                    </a:cubicBezTo>
                    <a:cubicBezTo>
                      <a:pt x="9426" y="423"/>
                      <a:pt x="9426" y="423"/>
                      <a:pt x="9426" y="423"/>
                    </a:cubicBezTo>
                    <a:cubicBezTo>
                      <a:pt x="9502" y="406"/>
                      <a:pt x="9502" y="406"/>
                      <a:pt x="9502" y="406"/>
                    </a:cubicBezTo>
                    <a:cubicBezTo>
                      <a:pt x="9563" y="610"/>
                      <a:pt x="9563" y="610"/>
                      <a:pt x="9563" y="610"/>
                    </a:cubicBezTo>
                    <a:cubicBezTo>
                      <a:pt x="9493" y="633"/>
                      <a:pt x="9493" y="633"/>
                      <a:pt x="9493" y="633"/>
                    </a:cubicBezTo>
                    <a:cubicBezTo>
                      <a:pt x="9544" y="815"/>
                      <a:pt x="9544" y="815"/>
                      <a:pt x="9544" y="815"/>
                    </a:cubicBezTo>
                    <a:cubicBezTo>
                      <a:pt x="10245" y="633"/>
                      <a:pt x="10245" y="633"/>
                      <a:pt x="10245" y="633"/>
                    </a:cubicBezTo>
                    <a:cubicBezTo>
                      <a:pt x="10161" y="329"/>
                      <a:pt x="10161" y="329"/>
                      <a:pt x="10161" y="329"/>
                    </a:cubicBezTo>
                    <a:cubicBezTo>
                      <a:pt x="10305" y="288"/>
                      <a:pt x="10305" y="288"/>
                      <a:pt x="10305" y="288"/>
                    </a:cubicBezTo>
                    <a:cubicBezTo>
                      <a:pt x="10222" y="0"/>
                      <a:pt x="10222" y="0"/>
                      <a:pt x="10222" y="0"/>
                    </a:cubicBezTo>
                    <a:cubicBezTo>
                      <a:pt x="10206" y="0"/>
                      <a:pt x="10206" y="0"/>
                      <a:pt x="10206" y="0"/>
                    </a:cubicBezTo>
                    <a:lnTo>
                      <a:pt x="10286" y="278"/>
                    </a:lnTo>
                    <a:close/>
                    <a:moveTo>
                      <a:pt x="156" y="403"/>
                    </a:moveTo>
                    <a:cubicBezTo>
                      <a:pt x="60" y="238"/>
                      <a:pt x="60" y="238"/>
                      <a:pt x="60" y="238"/>
                    </a:cubicBezTo>
                    <a:cubicBezTo>
                      <a:pt x="65" y="235"/>
                      <a:pt x="65" y="235"/>
                      <a:pt x="65" y="235"/>
                    </a:cubicBezTo>
                    <a:cubicBezTo>
                      <a:pt x="134" y="195"/>
                      <a:pt x="134" y="195"/>
                      <a:pt x="134" y="195"/>
                    </a:cubicBezTo>
                    <a:cubicBezTo>
                      <a:pt x="158" y="235"/>
                      <a:pt x="158" y="235"/>
                      <a:pt x="158" y="235"/>
                    </a:cubicBezTo>
                    <a:cubicBezTo>
                      <a:pt x="207" y="206"/>
                      <a:pt x="207" y="206"/>
                      <a:pt x="207" y="206"/>
                    </a:cubicBezTo>
                    <a:cubicBezTo>
                      <a:pt x="256" y="290"/>
                      <a:pt x="256" y="290"/>
                      <a:pt x="256" y="290"/>
                    </a:cubicBezTo>
                    <a:cubicBezTo>
                      <a:pt x="207" y="319"/>
                      <a:pt x="207" y="319"/>
                      <a:pt x="207" y="319"/>
                    </a:cubicBezTo>
                    <a:cubicBezTo>
                      <a:pt x="230" y="359"/>
                      <a:pt x="230" y="359"/>
                      <a:pt x="230" y="359"/>
                    </a:cubicBezTo>
                    <a:lnTo>
                      <a:pt x="156" y="403"/>
                    </a:lnTo>
                    <a:close/>
                    <a:moveTo>
                      <a:pt x="78" y="243"/>
                    </a:moveTo>
                    <a:cubicBezTo>
                      <a:pt x="161" y="385"/>
                      <a:pt x="161" y="385"/>
                      <a:pt x="161" y="385"/>
                    </a:cubicBezTo>
                    <a:cubicBezTo>
                      <a:pt x="212" y="355"/>
                      <a:pt x="212" y="355"/>
                      <a:pt x="212" y="355"/>
                    </a:cubicBezTo>
                    <a:cubicBezTo>
                      <a:pt x="189" y="314"/>
                      <a:pt x="189" y="314"/>
                      <a:pt x="189" y="314"/>
                    </a:cubicBezTo>
                    <a:cubicBezTo>
                      <a:pt x="238" y="285"/>
                      <a:pt x="238" y="285"/>
                      <a:pt x="238" y="285"/>
                    </a:cubicBezTo>
                    <a:cubicBezTo>
                      <a:pt x="203" y="224"/>
                      <a:pt x="203" y="224"/>
                      <a:pt x="203" y="224"/>
                    </a:cubicBezTo>
                    <a:cubicBezTo>
                      <a:pt x="153" y="253"/>
                      <a:pt x="153" y="253"/>
                      <a:pt x="153" y="253"/>
                    </a:cubicBezTo>
                    <a:cubicBezTo>
                      <a:pt x="129" y="213"/>
                      <a:pt x="129" y="213"/>
                      <a:pt x="129" y="213"/>
                    </a:cubicBezTo>
                    <a:lnTo>
                      <a:pt x="78" y="243"/>
                    </a:lnTo>
                    <a:close/>
                    <a:moveTo>
                      <a:pt x="4359" y="10714"/>
                    </a:moveTo>
                    <a:cubicBezTo>
                      <a:pt x="4353" y="10801"/>
                      <a:pt x="4353" y="10801"/>
                      <a:pt x="4353" y="10801"/>
                    </a:cubicBezTo>
                    <a:cubicBezTo>
                      <a:pt x="4366" y="10801"/>
                      <a:pt x="4366" y="10801"/>
                      <a:pt x="4366" y="10801"/>
                    </a:cubicBezTo>
                    <a:cubicBezTo>
                      <a:pt x="4371" y="10727"/>
                      <a:pt x="4371" y="10727"/>
                      <a:pt x="4371" y="10727"/>
                    </a:cubicBezTo>
                    <a:cubicBezTo>
                      <a:pt x="4493" y="10737"/>
                      <a:pt x="4493" y="10737"/>
                      <a:pt x="4493" y="10737"/>
                    </a:cubicBezTo>
                    <a:cubicBezTo>
                      <a:pt x="4488" y="10801"/>
                      <a:pt x="4488" y="10801"/>
                      <a:pt x="4488" y="10801"/>
                    </a:cubicBezTo>
                    <a:cubicBezTo>
                      <a:pt x="4501" y="10801"/>
                      <a:pt x="4501" y="10801"/>
                      <a:pt x="4501" y="10801"/>
                    </a:cubicBezTo>
                    <a:cubicBezTo>
                      <a:pt x="4507" y="10725"/>
                      <a:pt x="4507" y="10725"/>
                      <a:pt x="4507" y="10725"/>
                    </a:cubicBezTo>
                    <a:lnTo>
                      <a:pt x="4359" y="10714"/>
                    </a:lnTo>
                    <a:close/>
                    <a:moveTo>
                      <a:pt x="3285" y="9126"/>
                    </a:moveTo>
                    <a:cubicBezTo>
                      <a:pt x="3282" y="9010"/>
                      <a:pt x="3282" y="9010"/>
                      <a:pt x="3282" y="9010"/>
                    </a:cubicBezTo>
                    <a:cubicBezTo>
                      <a:pt x="3399" y="9009"/>
                      <a:pt x="3399" y="9009"/>
                      <a:pt x="3399" y="9009"/>
                    </a:cubicBezTo>
                    <a:cubicBezTo>
                      <a:pt x="3400" y="9020"/>
                      <a:pt x="3400" y="9020"/>
                      <a:pt x="3400" y="9020"/>
                    </a:cubicBezTo>
                    <a:cubicBezTo>
                      <a:pt x="3452" y="9019"/>
                      <a:pt x="3452" y="9019"/>
                      <a:pt x="3452" y="9019"/>
                    </a:cubicBezTo>
                    <a:cubicBezTo>
                      <a:pt x="3453" y="9205"/>
                      <a:pt x="3453" y="9205"/>
                      <a:pt x="3453" y="9205"/>
                    </a:cubicBezTo>
                    <a:cubicBezTo>
                      <a:pt x="3343" y="9206"/>
                      <a:pt x="3343" y="9206"/>
                      <a:pt x="3343" y="9206"/>
                    </a:cubicBezTo>
                    <a:cubicBezTo>
                      <a:pt x="3343" y="9132"/>
                      <a:pt x="3343" y="9132"/>
                      <a:pt x="3343" y="9132"/>
                    </a:cubicBezTo>
                    <a:cubicBezTo>
                      <a:pt x="3286" y="9133"/>
                      <a:pt x="3286" y="9133"/>
                      <a:pt x="3286" y="9133"/>
                    </a:cubicBezTo>
                    <a:lnTo>
                      <a:pt x="3285" y="9126"/>
                    </a:lnTo>
                    <a:close/>
                    <a:moveTo>
                      <a:pt x="3295" y="9023"/>
                    </a:moveTo>
                    <a:cubicBezTo>
                      <a:pt x="3298" y="9120"/>
                      <a:pt x="3298" y="9120"/>
                      <a:pt x="3298" y="9120"/>
                    </a:cubicBezTo>
                    <a:cubicBezTo>
                      <a:pt x="3356" y="9119"/>
                      <a:pt x="3356" y="9119"/>
                      <a:pt x="3356" y="9119"/>
                    </a:cubicBezTo>
                    <a:cubicBezTo>
                      <a:pt x="3356" y="9192"/>
                      <a:pt x="3356" y="9192"/>
                      <a:pt x="3356" y="9192"/>
                    </a:cubicBezTo>
                    <a:cubicBezTo>
                      <a:pt x="3440" y="9192"/>
                      <a:pt x="3440" y="9192"/>
                      <a:pt x="3440" y="9192"/>
                    </a:cubicBezTo>
                    <a:cubicBezTo>
                      <a:pt x="3439" y="9033"/>
                      <a:pt x="3439" y="9033"/>
                      <a:pt x="3439" y="9033"/>
                    </a:cubicBezTo>
                    <a:cubicBezTo>
                      <a:pt x="3387" y="9033"/>
                      <a:pt x="3387" y="9033"/>
                      <a:pt x="3387" y="9033"/>
                    </a:cubicBezTo>
                    <a:cubicBezTo>
                      <a:pt x="3386" y="9022"/>
                      <a:pt x="3386" y="9022"/>
                      <a:pt x="3386" y="9022"/>
                    </a:cubicBezTo>
                    <a:lnTo>
                      <a:pt x="3295" y="9023"/>
                    </a:lnTo>
                    <a:close/>
                    <a:moveTo>
                      <a:pt x="5868" y="6895"/>
                    </a:moveTo>
                    <a:cubicBezTo>
                      <a:pt x="5787" y="7116"/>
                      <a:pt x="5787" y="7116"/>
                      <a:pt x="5787" y="7116"/>
                    </a:cubicBezTo>
                    <a:cubicBezTo>
                      <a:pt x="5631" y="6996"/>
                      <a:pt x="5631" y="6996"/>
                      <a:pt x="5631" y="6996"/>
                    </a:cubicBezTo>
                    <a:cubicBezTo>
                      <a:pt x="5720" y="6817"/>
                      <a:pt x="5720" y="6817"/>
                      <a:pt x="5720" y="6817"/>
                    </a:cubicBezTo>
                    <a:cubicBezTo>
                      <a:pt x="5801" y="6768"/>
                      <a:pt x="5801" y="6768"/>
                      <a:pt x="5801" y="6768"/>
                    </a:cubicBezTo>
                    <a:cubicBezTo>
                      <a:pt x="6174" y="6770"/>
                      <a:pt x="6174" y="6770"/>
                      <a:pt x="6174" y="6770"/>
                    </a:cubicBezTo>
                    <a:cubicBezTo>
                      <a:pt x="6173" y="6779"/>
                      <a:pt x="6173" y="6779"/>
                      <a:pt x="6173" y="6779"/>
                    </a:cubicBezTo>
                    <a:cubicBezTo>
                      <a:pt x="6124" y="7005"/>
                      <a:pt x="6124" y="7005"/>
                      <a:pt x="6124" y="7005"/>
                    </a:cubicBezTo>
                    <a:lnTo>
                      <a:pt x="5868" y="6895"/>
                    </a:lnTo>
                    <a:close/>
                    <a:moveTo>
                      <a:pt x="5859" y="6875"/>
                    </a:moveTo>
                    <a:cubicBezTo>
                      <a:pt x="6113" y="6984"/>
                      <a:pt x="6113" y="6984"/>
                      <a:pt x="6113" y="6984"/>
                    </a:cubicBezTo>
                    <a:cubicBezTo>
                      <a:pt x="6156" y="6785"/>
                      <a:pt x="6156" y="6785"/>
                      <a:pt x="6156" y="6785"/>
                    </a:cubicBezTo>
                    <a:cubicBezTo>
                      <a:pt x="5805" y="6783"/>
                      <a:pt x="5805" y="6783"/>
                      <a:pt x="5805" y="6783"/>
                    </a:cubicBezTo>
                    <a:cubicBezTo>
                      <a:pt x="5731" y="6827"/>
                      <a:pt x="5731" y="6827"/>
                      <a:pt x="5731" y="6827"/>
                    </a:cubicBezTo>
                    <a:cubicBezTo>
                      <a:pt x="5649" y="6991"/>
                      <a:pt x="5649" y="6991"/>
                      <a:pt x="5649" y="6991"/>
                    </a:cubicBezTo>
                    <a:cubicBezTo>
                      <a:pt x="5780" y="7092"/>
                      <a:pt x="5780" y="7092"/>
                      <a:pt x="5780" y="7092"/>
                    </a:cubicBezTo>
                    <a:lnTo>
                      <a:pt x="5859" y="6875"/>
                    </a:lnTo>
                    <a:close/>
                    <a:moveTo>
                      <a:pt x="5529" y="6759"/>
                    </a:moveTo>
                    <a:cubicBezTo>
                      <a:pt x="5116" y="6879"/>
                      <a:pt x="5116" y="6879"/>
                      <a:pt x="5116" y="6879"/>
                    </a:cubicBezTo>
                    <a:cubicBezTo>
                      <a:pt x="5096" y="6823"/>
                      <a:pt x="5096" y="6823"/>
                      <a:pt x="5096" y="6823"/>
                    </a:cubicBezTo>
                    <a:cubicBezTo>
                      <a:pt x="5370" y="6704"/>
                      <a:pt x="5370" y="6704"/>
                      <a:pt x="5370" y="6704"/>
                    </a:cubicBezTo>
                    <a:cubicBezTo>
                      <a:pt x="5425" y="6575"/>
                      <a:pt x="5425" y="6575"/>
                      <a:pt x="5425" y="6575"/>
                    </a:cubicBezTo>
                    <a:cubicBezTo>
                      <a:pt x="5486" y="6580"/>
                      <a:pt x="5486" y="6580"/>
                      <a:pt x="5486" y="6580"/>
                    </a:cubicBezTo>
                    <a:cubicBezTo>
                      <a:pt x="5487" y="6585"/>
                      <a:pt x="5487" y="6585"/>
                      <a:pt x="5487" y="6585"/>
                    </a:cubicBezTo>
                    <a:lnTo>
                      <a:pt x="5529" y="6759"/>
                    </a:lnTo>
                    <a:close/>
                    <a:moveTo>
                      <a:pt x="5125" y="6861"/>
                    </a:moveTo>
                    <a:cubicBezTo>
                      <a:pt x="5511" y="6749"/>
                      <a:pt x="5511" y="6749"/>
                      <a:pt x="5511" y="6749"/>
                    </a:cubicBezTo>
                    <a:cubicBezTo>
                      <a:pt x="5474" y="6594"/>
                      <a:pt x="5474" y="6594"/>
                      <a:pt x="5474" y="6594"/>
                    </a:cubicBezTo>
                    <a:cubicBezTo>
                      <a:pt x="5434" y="6591"/>
                      <a:pt x="5434" y="6591"/>
                      <a:pt x="5434" y="6591"/>
                    </a:cubicBezTo>
                    <a:cubicBezTo>
                      <a:pt x="5381" y="6715"/>
                      <a:pt x="5381" y="6715"/>
                      <a:pt x="5381" y="6715"/>
                    </a:cubicBezTo>
                    <a:cubicBezTo>
                      <a:pt x="5115" y="6831"/>
                      <a:pt x="5115" y="6831"/>
                      <a:pt x="5115" y="6831"/>
                    </a:cubicBezTo>
                    <a:lnTo>
                      <a:pt x="5125" y="6861"/>
                    </a:lnTo>
                    <a:close/>
                    <a:moveTo>
                      <a:pt x="5161" y="7083"/>
                    </a:moveTo>
                    <a:cubicBezTo>
                      <a:pt x="5031" y="6818"/>
                      <a:pt x="5031" y="6818"/>
                      <a:pt x="5031" y="6818"/>
                    </a:cubicBezTo>
                    <a:cubicBezTo>
                      <a:pt x="5270" y="6648"/>
                      <a:pt x="5270" y="6648"/>
                      <a:pt x="5270" y="6648"/>
                    </a:cubicBezTo>
                    <a:cubicBezTo>
                      <a:pt x="5385" y="6401"/>
                      <a:pt x="5385" y="6401"/>
                      <a:pt x="5385" y="6401"/>
                    </a:cubicBezTo>
                    <a:cubicBezTo>
                      <a:pt x="5633" y="6446"/>
                      <a:pt x="5633" y="6446"/>
                      <a:pt x="5633" y="6446"/>
                    </a:cubicBezTo>
                    <a:cubicBezTo>
                      <a:pt x="5632" y="6453"/>
                      <a:pt x="5632" y="6453"/>
                      <a:pt x="5632" y="6453"/>
                    </a:cubicBezTo>
                    <a:cubicBezTo>
                      <a:pt x="5600" y="6759"/>
                      <a:pt x="5600" y="6759"/>
                      <a:pt x="5600" y="6759"/>
                    </a:cubicBezTo>
                    <a:lnTo>
                      <a:pt x="5161" y="7083"/>
                    </a:lnTo>
                    <a:close/>
                    <a:moveTo>
                      <a:pt x="5050" y="6823"/>
                    </a:moveTo>
                    <a:cubicBezTo>
                      <a:pt x="5166" y="7061"/>
                      <a:pt x="5166" y="7061"/>
                      <a:pt x="5166" y="7061"/>
                    </a:cubicBezTo>
                    <a:cubicBezTo>
                      <a:pt x="5586" y="6751"/>
                      <a:pt x="5586" y="6751"/>
                      <a:pt x="5586" y="6751"/>
                    </a:cubicBezTo>
                    <a:cubicBezTo>
                      <a:pt x="5617" y="6458"/>
                      <a:pt x="5617" y="6458"/>
                      <a:pt x="5617" y="6458"/>
                    </a:cubicBezTo>
                    <a:cubicBezTo>
                      <a:pt x="5394" y="6418"/>
                      <a:pt x="5394" y="6418"/>
                      <a:pt x="5394" y="6418"/>
                    </a:cubicBezTo>
                    <a:cubicBezTo>
                      <a:pt x="5281" y="6658"/>
                      <a:pt x="5281" y="6658"/>
                      <a:pt x="5281" y="6658"/>
                    </a:cubicBezTo>
                    <a:lnTo>
                      <a:pt x="5050" y="6823"/>
                    </a:lnTo>
                    <a:close/>
                    <a:moveTo>
                      <a:pt x="3604" y="3033"/>
                    </a:moveTo>
                    <a:cubicBezTo>
                      <a:pt x="3651" y="3018"/>
                      <a:pt x="3651" y="3018"/>
                      <a:pt x="3651" y="3018"/>
                    </a:cubicBezTo>
                    <a:cubicBezTo>
                      <a:pt x="3648" y="3007"/>
                      <a:pt x="3648" y="3007"/>
                      <a:pt x="3648" y="3007"/>
                    </a:cubicBezTo>
                    <a:cubicBezTo>
                      <a:pt x="3645" y="3000"/>
                      <a:pt x="3645" y="3000"/>
                      <a:pt x="3645" y="3000"/>
                    </a:cubicBezTo>
                    <a:cubicBezTo>
                      <a:pt x="3737" y="2970"/>
                      <a:pt x="3737" y="2970"/>
                      <a:pt x="3737" y="2970"/>
                    </a:cubicBezTo>
                    <a:cubicBezTo>
                      <a:pt x="3782" y="3104"/>
                      <a:pt x="3782" y="3104"/>
                      <a:pt x="3782" y="3104"/>
                    </a:cubicBezTo>
                    <a:cubicBezTo>
                      <a:pt x="3712" y="3127"/>
                      <a:pt x="3712" y="3127"/>
                      <a:pt x="3712" y="3127"/>
                    </a:cubicBezTo>
                    <a:cubicBezTo>
                      <a:pt x="3736" y="3199"/>
                      <a:pt x="3736" y="3199"/>
                      <a:pt x="3736" y="3199"/>
                    </a:cubicBezTo>
                    <a:cubicBezTo>
                      <a:pt x="3664" y="3223"/>
                      <a:pt x="3664" y="3223"/>
                      <a:pt x="3664" y="3223"/>
                    </a:cubicBezTo>
                    <a:cubicBezTo>
                      <a:pt x="3662" y="3216"/>
                      <a:pt x="3662" y="3216"/>
                      <a:pt x="3662" y="3216"/>
                    </a:cubicBezTo>
                    <a:lnTo>
                      <a:pt x="3604" y="3033"/>
                    </a:lnTo>
                    <a:close/>
                    <a:moveTo>
                      <a:pt x="3668" y="3026"/>
                    </a:moveTo>
                    <a:cubicBezTo>
                      <a:pt x="3621" y="3042"/>
                      <a:pt x="3621" y="3042"/>
                      <a:pt x="3621" y="3042"/>
                    </a:cubicBezTo>
                    <a:cubicBezTo>
                      <a:pt x="3672" y="3206"/>
                      <a:pt x="3672" y="3206"/>
                      <a:pt x="3672" y="3206"/>
                    </a:cubicBezTo>
                    <a:cubicBezTo>
                      <a:pt x="3719" y="3190"/>
                      <a:pt x="3719" y="3190"/>
                      <a:pt x="3719" y="3190"/>
                    </a:cubicBezTo>
                    <a:cubicBezTo>
                      <a:pt x="3696" y="3118"/>
                      <a:pt x="3696" y="3118"/>
                      <a:pt x="3696" y="3118"/>
                    </a:cubicBezTo>
                    <a:cubicBezTo>
                      <a:pt x="3765" y="3096"/>
                      <a:pt x="3765" y="3096"/>
                      <a:pt x="3765" y="3096"/>
                    </a:cubicBezTo>
                    <a:cubicBezTo>
                      <a:pt x="3729" y="2987"/>
                      <a:pt x="3729" y="2987"/>
                      <a:pt x="3729" y="2987"/>
                    </a:cubicBezTo>
                    <a:cubicBezTo>
                      <a:pt x="3662" y="3009"/>
                      <a:pt x="3662" y="3009"/>
                      <a:pt x="3662" y="3009"/>
                    </a:cubicBezTo>
                    <a:cubicBezTo>
                      <a:pt x="3666" y="3020"/>
                      <a:pt x="3666" y="3020"/>
                      <a:pt x="3666" y="3020"/>
                    </a:cubicBezTo>
                    <a:lnTo>
                      <a:pt x="3668" y="3026"/>
                    </a:lnTo>
                    <a:close/>
                    <a:moveTo>
                      <a:pt x="3123" y="3189"/>
                    </a:moveTo>
                    <a:cubicBezTo>
                      <a:pt x="3277" y="3117"/>
                      <a:pt x="3277" y="3117"/>
                      <a:pt x="3277" y="3117"/>
                    </a:cubicBezTo>
                    <a:cubicBezTo>
                      <a:pt x="3281" y="3122"/>
                      <a:pt x="3281" y="3122"/>
                      <a:pt x="3281" y="3122"/>
                    </a:cubicBezTo>
                    <a:cubicBezTo>
                      <a:pt x="3281" y="3122"/>
                      <a:pt x="3293" y="3136"/>
                      <a:pt x="3305" y="3151"/>
                    </a:cubicBezTo>
                    <a:cubicBezTo>
                      <a:pt x="3311" y="3158"/>
                      <a:pt x="3318" y="3165"/>
                      <a:pt x="3323" y="3170"/>
                    </a:cubicBezTo>
                    <a:cubicBezTo>
                      <a:pt x="3326" y="3173"/>
                      <a:pt x="3328" y="3175"/>
                      <a:pt x="3329" y="3177"/>
                    </a:cubicBezTo>
                    <a:cubicBezTo>
                      <a:pt x="3330" y="3177"/>
                      <a:pt x="3330" y="3177"/>
                      <a:pt x="3330" y="3177"/>
                    </a:cubicBezTo>
                    <a:cubicBezTo>
                      <a:pt x="3342" y="3177"/>
                      <a:pt x="3342" y="3177"/>
                      <a:pt x="3342" y="3177"/>
                    </a:cubicBezTo>
                    <a:cubicBezTo>
                      <a:pt x="3335" y="3188"/>
                      <a:pt x="3335" y="3188"/>
                      <a:pt x="3335" y="3188"/>
                    </a:cubicBezTo>
                    <a:cubicBezTo>
                      <a:pt x="3335" y="3188"/>
                      <a:pt x="3325" y="3206"/>
                      <a:pt x="3315" y="3225"/>
                    </a:cubicBezTo>
                    <a:cubicBezTo>
                      <a:pt x="3310" y="3234"/>
                      <a:pt x="3304" y="3244"/>
                      <a:pt x="3301" y="3251"/>
                    </a:cubicBezTo>
                    <a:cubicBezTo>
                      <a:pt x="3299" y="3255"/>
                      <a:pt x="3297" y="3258"/>
                      <a:pt x="3296" y="3260"/>
                    </a:cubicBezTo>
                    <a:cubicBezTo>
                      <a:pt x="3297" y="3261"/>
                      <a:pt x="3298" y="3261"/>
                      <a:pt x="3298" y="3261"/>
                    </a:cubicBezTo>
                    <a:cubicBezTo>
                      <a:pt x="3319" y="3276"/>
                      <a:pt x="3373" y="3331"/>
                      <a:pt x="3373" y="3331"/>
                    </a:cubicBezTo>
                    <a:cubicBezTo>
                      <a:pt x="3384" y="3342"/>
                      <a:pt x="3384" y="3342"/>
                      <a:pt x="3384" y="3342"/>
                    </a:cubicBezTo>
                    <a:cubicBezTo>
                      <a:pt x="3153" y="3361"/>
                      <a:pt x="3153" y="3361"/>
                      <a:pt x="3153" y="3361"/>
                    </a:cubicBezTo>
                    <a:cubicBezTo>
                      <a:pt x="3151" y="3365"/>
                      <a:pt x="3148" y="3371"/>
                      <a:pt x="3145" y="3378"/>
                    </a:cubicBezTo>
                    <a:cubicBezTo>
                      <a:pt x="3141" y="3386"/>
                      <a:pt x="3137" y="3396"/>
                      <a:pt x="3135" y="3400"/>
                    </a:cubicBezTo>
                    <a:cubicBezTo>
                      <a:pt x="3136" y="3401"/>
                      <a:pt x="3136" y="3402"/>
                      <a:pt x="3137" y="3404"/>
                    </a:cubicBezTo>
                    <a:cubicBezTo>
                      <a:pt x="3135" y="3412"/>
                      <a:pt x="3133" y="3409"/>
                      <a:pt x="3133" y="3410"/>
                    </a:cubicBezTo>
                    <a:cubicBezTo>
                      <a:pt x="3128" y="3414"/>
                      <a:pt x="3079" y="3434"/>
                      <a:pt x="3029" y="3456"/>
                    </a:cubicBezTo>
                    <a:cubicBezTo>
                      <a:pt x="3004" y="3466"/>
                      <a:pt x="2979" y="3477"/>
                      <a:pt x="2961" y="3485"/>
                    </a:cubicBezTo>
                    <a:cubicBezTo>
                      <a:pt x="2952" y="3489"/>
                      <a:pt x="2944" y="3492"/>
                      <a:pt x="2939" y="3494"/>
                    </a:cubicBezTo>
                    <a:cubicBezTo>
                      <a:pt x="2936" y="3496"/>
                      <a:pt x="2934" y="3497"/>
                      <a:pt x="2933" y="3497"/>
                    </a:cubicBezTo>
                    <a:cubicBezTo>
                      <a:pt x="2932" y="3497"/>
                      <a:pt x="2932" y="3498"/>
                      <a:pt x="2932" y="3498"/>
                    </a:cubicBezTo>
                    <a:cubicBezTo>
                      <a:pt x="2931" y="3498"/>
                      <a:pt x="2929" y="3499"/>
                      <a:pt x="2927" y="3499"/>
                    </a:cubicBezTo>
                    <a:cubicBezTo>
                      <a:pt x="2927" y="3499"/>
                      <a:pt x="2925" y="3499"/>
                      <a:pt x="2923" y="3498"/>
                    </a:cubicBezTo>
                    <a:cubicBezTo>
                      <a:pt x="2921" y="3497"/>
                      <a:pt x="2920" y="3493"/>
                      <a:pt x="2920" y="3492"/>
                    </a:cubicBezTo>
                    <a:cubicBezTo>
                      <a:pt x="2920" y="3491"/>
                      <a:pt x="2920" y="3490"/>
                      <a:pt x="2921" y="3489"/>
                    </a:cubicBezTo>
                    <a:cubicBezTo>
                      <a:pt x="2921" y="3489"/>
                      <a:pt x="2921" y="3489"/>
                      <a:pt x="2921" y="3489"/>
                    </a:cubicBezTo>
                    <a:cubicBezTo>
                      <a:pt x="2921" y="3469"/>
                      <a:pt x="2896" y="3323"/>
                      <a:pt x="2896" y="3323"/>
                    </a:cubicBezTo>
                    <a:cubicBezTo>
                      <a:pt x="2894" y="3315"/>
                      <a:pt x="2894" y="3315"/>
                      <a:pt x="2894" y="3315"/>
                    </a:cubicBezTo>
                    <a:cubicBezTo>
                      <a:pt x="3091" y="3290"/>
                      <a:pt x="3091" y="3290"/>
                      <a:pt x="3091" y="3290"/>
                    </a:cubicBezTo>
                    <a:lnTo>
                      <a:pt x="3123" y="3189"/>
                    </a:lnTo>
                    <a:close/>
                    <a:moveTo>
                      <a:pt x="3135" y="3200"/>
                    </a:moveTo>
                    <a:cubicBezTo>
                      <a:pt x="3102" y="3304"/>
                      <a:pt x="3102" y="3304"/>
                      <a:pt x="3102" y="3304"/>
                    </a:cubicBezTo>
                    <a:cubicBezTo>
                      <a:pt x="2911" y="3328"/>
                      <a:pt x="2911" y="3328"/>
                      <a:pt x="2911" y="3328"/>
                    </a:cubicBezTo>
                    <a:cubicBezTo>
                      <a:pt x="2916" y="3355"/>
                      <a:pt x="2932" y="3446"/>
                      <a:pt x="2935" y="3480"/>
                    </a:cubicBezTo>
                    <a:cubicBezTo>
                      <a:pt x="2941" y="3477"/>
                      <a:pt x="2949" y="3474"/>
                      <a:pt x="2959" y="3470"/>
                    </a:cubicBezTo>
                    <a:cubicBezTo>
                      <a:pt x="2987" y="3457"/>
                      <a:pt x="3029" y="3439"/>
                      <a:pt x="3064" y="3425"/>
                    </a:cubicBezTo>
                    <a:cubicBezTo>
                      <a:pt x="3081" y="3417"/>
                      <a:pt x="3097" y="3411"/>
                      <a:pt x="3108" y="3406"/>
                    </a:cubicBezTo>
                    <a:cubicBezTo>
                      <a:pt x="3113" y="3404"/>
                      <a:pt x="3117" y="3402"/>
                      <a:pt x="3120" y="3400"/>
                    </a:cubicBezTo>
                    <a:cubicBezTo>
                      <a:pt x="3123" y="3385"/>
                      <a:pt x="3142" y="3351"/>
                      <a:pt x="3142" y="3350"/>
                    </a:cubicBezTo>
                    <a:cubicBezTo>
                      <a:pt x="3144" y="3347"/>
                      <a:pt x="3144" y="3347"/>
                      <a:pt x="3144" y="3347"/>
                    </a:cubicBezTo>
                    <a:cubicBezTo>
                      <a:pt x="3351" y="3330"/>
                      <a:pt x="3351" y="3330"/>
                      <a:pt x="3351" y="3330"/>
                    </a:cubicBezTo>
                    <a:cubicBezTo>
                      <a:pt x="3344" y="3323"/>
                      <a:pt x="3335" y="3314"/>
                      <a:pt x="3326" y="3305"/>
                    </a:cubicBezTo>
                    <a:cubicBezTo>
                      <a:pt x="3317" y="3297"/>
                      <a:pt x="3307" y="3288"/>
                      <a:pt x="3299" y="3281"/>
                    </a:cubicBezTo>
                    <a:cubicBezTo>
                      <a:pt x="3296" y="3278"/>
                      <a:pt x="3292" y="3275"/>
                      <a:pt x="3290" y="3273"/>
                    </a:cubicBezTo>
                    <a:cubicBezTo>
                      <a:pt x="3289" y="3273"/>
                      <a:pt x="3288" y="3272"/>
                      <a:pt x="3287" y="3272"/>
                    </a:cubicBezTo>
                    <a:cubicBezTo>
                      <a:pt x="3285" y="3272"/>
                      <a:pt x="3282" y="3270"/>
                      <a:pt x="3281" y="3268"/>
                    </a:cubicBezTo>
                    <a:cubicBezTo>
                      <a:pt x="3280" y="3266"/>
                      <a:pt x="3280" y="3265"/>
                      <a:pt x="3280" y="3264"/>
                    </a:cubicBezTo>
                    <a:cubicBezTo>
                      <a:pt x="3281" y="3257"/>
                      <a:pt x="3283" y="3253"/>
                      <a:pt x="3287" y="3245"/>
                    </a:cubicBezTo>
                    <a:cubicBezTo>
                      <a:pt x="3296" y="3227"/>
                      <a:pt x="3312" y="3199"/>
                      <a:pt x="3319" y="3187"/>
                    </a:cubicBezTo>
                    <a:cubicBezTo>
                      <a:pt x="3307" y="3176"/>
                      <a:pt x="3282" y="3147"/>
                      <a:pt x="3273" y="3135"/>
                    </a:cubicBezTo>
                    <a:lnTo>
                      <a:pt x="3135" y="3200"/>
                    </a:lnTo>
                    <a:close/>
                    <a:moveTo>
                      <a:pt x="5628" y="1593"/>
                    </a:moveTo>
                    <a:cubicBezTo>
                      <a:pt x="5486" y="1568"/>
                      <a:pt x="5486" y="1568"/>
                      <a:pt x="5486" y="1568"/>
                    </a:cubicBezTo>
                    <a:cubicBezTo>
                      <a:pt x="5498" y="1498"/>
                      <a:pt x="5498" y="1498"/>
                      <a:pt x="5498" y="1498"/>
                    </a:cubicBezTo>
                    <a:cubicBezTo>
                      <a:pt x="5647" y="1524"/>
                      <a:pt x="5647" y="1524"/>
                      <a:pt x="5647" y="1524"/>
                    </a:cubicBezTo>
                    <a:cubicBezTo>
                      <a:pt x="5635" y="1594"/>
                      <a:pt x="5635" y="1594"/>
                      <a:pt x="5635" y="1594"/>
                    </a:cubicBezTo>
                    <a:lnTo>
                      <a:pt x="5628" y="1593"/>
                    </a:lnTo>
                    <a:close/>
                    <a:moveTo>
                      <a:pt x="5624" y="1580"/>
                    </a:moveTo>
                    <a:cubicBezTo>
                      <a:pt x="5632" y="1534"/>
                      <a:pt x="5632" y="1534"/>
                      <a:pt x="5632" y="1534"/>
                    </a:cubicBezTo>
                    <a:cubicBezTo>
                      <a:pt x="5508" y="1513"/>
                      <a:pt x="5508" y="1513"/>
                      <a:pt x="5508" y="1513"/>
                    </a:cubicBezTo>
                    <a:cubicBezTo>
                      <a:pt x="5500" y="1558"/>
                      <a:pt x="5500" y="1558"/>
                      <a:pt x="5500" y="1558"/>
                    </a:cubicBezTo>
                    <a:lnTo>
                      <a:pt x="5624" y="1580"/>
                    </a:lnTo>
                    <a:close/>
                    <a:moveTo>
                      <a:pt x="4475" y="7190"/>
                    </a:moveTo>
                    <a:cubicBezTo>
                      <a:pt x="4521" y="7336"/>
                      <a:pt x="4521" y="7336"/>
                      <a:pt x="4521" y="7336"/>
                    </a:cubicBezTo>
                    <a:cubicBezTo>
                      <a:pt x="4376" y="7400"/>
                      <a:pt x="4376" y="7400"/>
                      <a:pt x="4376" y="7400"/>
                    </a:cubicBezTo>
                    <a:cubicBezTo>
                      <a:pt x="4352" y="7361"/>
                      <a:pt x="4352" y="7361"/>
                      <a:pt x="4352" y="7361"/>
                    </a:cubicBezTo>
                    <a:cubicBezTo>
                      <a:pt x="4167" y="7634"/>
                      <a:pt x="4167" y="7634"/>
                      <a:pt x="4167" y="7634"/>
                    </a:cubicBezTo>
                    <a:cubicBezTo>
                      <a:pt x="4029" y="7720"/>
                      <a:pt x="4029" y="7720"/>
                      <a:pt x="4029" y="7720"/>
                    </a:cubicBezTo>
                    <a:cubicBezTo>
                      <a:pt x="3994" y="7628"/>
                      <a:pt x="3994" y="7628"/>
                      <a:pt x="3994" y="7628"/>
                    </a:cubicBezTo>
                    <a:cubicBezTo>
                      <a:pt x="4331" y="7225"/>
                      <a:pt x="4331" y="7225"/>
                      <a:pt x="4331" y="7225"/>
                    </a:cubicBezTo>
                    <a:cubicBezTo>
                      <a:pt x="4358" y="7238"/>
                      <a:pt x="4358" y="7238"/>
                      <a:pt x="4358" y="7238"/>
                    </a:cubicBezTo>
                    <a:cubicBezTo>
                      <a:pt x="4472" y="7182"/>
                      <a:pt x="4472" y="7182"/>
                      <a:pt x="4472" y="7182"/>
                    </a:cubicBezTo>
                    <a:lnTo>
                      <a:pt x="4475" y="7190"/>
                    </a:lnTo>
                    <a:close/>
                    <a:moveTo>
                      <a:pt x="4503" y="7327"/>
                    </a:moveTo>
                    <a:cubicBezTo>
                      <a:pt x="4463" y="7202"/>
                      <a:pt x="4463" y="7202"/>
                      <a:pt x="4463" y="7202"/>
                    </a:cubicBezTo>
                    <a:cubicBezTo>
                      <a:pt x="4359" y="7254"/>
                      <a:pt x="4359" y="7254"/>
                      <a:pt x="4359" y="7254"/>
                    </a:cubicBezTo>
                    <a:cubicBezTo>
                      <a:pt x="4335" y="7244"/>
                      <a:pt x="4335" y="7244"/>
                      <a:pt x="4335" y="7244"/>
                    </a:cubicBezTo>
                    <a:cubicBezTo>
                      <a:pt x="4011" y="7631"/>
                      <a:pt x="4011" y="7631"/>
                      <a:pt x="4011" y="7631"/>
                    </a:cubicBezTo>
                    <a:cubicBezTo>
                      <a:pt x="4037" y="7698"/>
                      <a:pt x="4037" y="7698"/>
                      <a:pt x="4037" y="7698"/>
                    </a:cubicBezTo>
                    <a:cubicBezTo>
                      <a:pt x="4156" y="7623"/>
                      <a:pt x="4156" y="7623"/>
                      <a:pt x="4156" y="7623"/>
                    </a:cubicBezTo>
                    <a:cubicBezTo>
                      <a:pt x="4352" y="7334"/>
                      <a:pt x="4352" y="7334"/>
                      <a:pt x="4352" y="7334"/>
                    </a:cubicBezTo>
                    <a:cubicBezTo>
                      <a:pt x="4382" y="7381"/>
                      <a:pt x="4382" y="7381"/>
                      <a:pt x="4382" y="7381"/>
                    </a:cubicBezTo>
                    <a:lnTo>
                      <a:pt x="4503" y="7327"/>
                    </a:lnTo>
                    <a:close/>
                    <a:moveTo>
                      <a:pt x="5486" y="1381"/>
                    </a:moveTo>
                    <a:cubicBezTo>
                      <a:pt x="5635" y="1407"/>
                      <a:pt x="5635" y="1407"/>
                      <a:pt x="5635" y="1407"/>
                    </a:cubicBezTo>
                    <a:cubicBezTo>
                      <a:pt x="5623" y="1477"/>
                      <a:pt x="5623" y="1477"/>
                      <a:pt x="5623" y="1477"/>
                    </a:cubicBezTo>
                    <a:cubicBezTo>
                      <a:pt x="5617" y="1476"/>
                      <a:pt x="5617" y="1476"/>
                      <a:pt x="5617" y="1476"/>
                    </a:cubicBezTo>
                    <a:cubicBezTo>
                      <a:pt x="5474" y="1451"/>
                      <a:pt x="5474" y="1451"/>
                      <a:pt x="5474" y="1451"/>
                    </a:cubicBezTo>
                    <a:lnTo>
                      <a:pt x="5486" y="1381"/>
                    </a:lnTo>
                    <a:close/>
                    <a:moveTo>
                      <a:pt x="5489" y="1441"/>
                    </a:moveTo>
                    <a:cubicBezTo>
                      <a:pt x="5613" y="1463"/>
                      <a:pt x="5613" y="1463"/>
                      <a:pt x="5613" y="1463"/>
                    </a:cubicBezTo>
                    <a:cubicBezTo>
                      <a:pt x="5620" y="1417"/>
                      <a:pt x="5620" y="1417"/>
                      <a:pt x="5620" y="1417"/>
                    </a:cubicBezTo>
                    <a:cubicBezTo>
                      <a:pt x="5497" y="1396"/>
                      <a:pt x="5497" y="1396"/>
                      <a:pt x="5497" y="1396"/>
                    </a:cubicBezTo>
                    <a:lnTo>
                      <a:pt x="5489" y="1441"/>
                    </a:lnTo>
                    <a:close/>
                    <a:moveTo>
                      <a:pt x="4628" y="7392"/>
                    </a:moveTo>
                    <a:cubicBezTo>
                      <a:pt x="4593" y="7245"/>
                      <a:pt x="4593" y="7245"/>
                      <a:pt x="4593" y="7245"/>
                    </a:cubicBezTo>
                    <a:cubicBezTo>
                      <a:pt x="4881" y="7123"/>
                      <a:pt x="4881" y="7123"/>
                      <a:pt x="4881" y="7123"/>
                    </a:cubicBezTo>
                    <a:cubicBezTo>
                      <a:pt x="4893" y="7036"/>
                      <a:pt x="4893" y="7036"/>
                      <a:pt x="4893" y="7036"/>
                    </a:cubicBezTo>
                    <a:cubicBezTo>
                      <a:pt x="4984" y="7004"/>
                      <a:pt x="4984" y="7004"/>
                      <a:pt x="4984" y="7004"/>
                    </a:cubicBezTo>
                    <a:cubicBezTo>
                      <a:pt x="4988" y="7008"/>
                      <a:pt x="4988" y="7008"/>
                      <a:pt x="4988" y="7008"/>
                    </a:cubicBezTo>
                    <a:cubicBezTo>
                      <a:pt x="5039" y="7074"/>
                      <a:pt x="5039" y="7074"/>
                      <a:pt x="5039" y="7074"/>
                    </a:cubicBezTo>
                    <a:cubicBezTo>
                      <a:pt x="4963" y="7115"/>
                      <a:pt x="4963" y="7115"/>
                      <a:pt x="4963" y="7115"/>
                    </a:cubicBezTo>
                    <a:cubicBezTo>
                      <a:pt x="4964" y="7189"/>
                      <a:pt x="4964" y="7189"/>
                      <a:pt x="4964" y="7189"/>
                    </a:cubicBezTo>
                    <a:lnTo>
                      <a:pt x="4628" y="7392"/>
                    </a:lnTo>
                    <a:close/>
                    <a:moveTo>
                      <a:pt x="4610" y="7254"/>
                    </a:moveTo>
                    <a:cubicBezTo>
                      <a:pt x="4638" y="7369"/>
                      <a:pt x="4638" y="7369"/>
                      <a:pt x="4638" y="7369"/>
                    </a:cubicBezTo>
                    <a:cubicBezTo>
                      <a:pt x="4949" y="7181"/>
                      <a:pt x="4949" y="7181"/>
                      <a:pt x="4949" y="7181"/>
                    </a:cubicBezTo>
                    <a:cubicBezTo>
                      <a:pt x="4949" y="7106"/>
                      <a:pt x="4949" y="7106"/>
                      <a:pt x="4949" y="7106"/>
                    </a:cubicBezTo>
                    <a:cubicBezTo>
                      <a:pt x="5016" y="7070"/>
                      <a:pt x="5016" y="7070"/>
                      <a:pt x="5016" y="7070"/>
                    </a:cubicBezTo>
                    <a:cubicBezTo>
                      <a:pt x="4979" y="7021"/>
                      <a:pt x="4979" y="7021"/>
                      <a:pt x="4979" y="7021"/>
                    </a:cubicBezTo>
                    <a:cubicBezTo>
                      <a:pt x="4906" y="7047"/>
                      <a:pt x="4906" y="7047"/>
                      <a:pt x="4906" y="7047"/>
                    </a:cubicBezTo>
                    <a:cubicBezTo>
                      <a:pt x="4895" y="7133"/>
                      <a:pt x="4895" y="7133"/>
                      <a:pt x="4895" y="7133"/>
                    </a:cubicBezTo>
                    <a:lnTo>
                      <a:pt x="4610" y="7254"/>
                    </a:lnTo>
                    <a:close/>
                    <a:moveTo>
                      <a:pt x="6485" y="7099"/>
                    </a:moveTo>
                    <a:cubicBezTo>
                      <a:pt x="6602" y="7110"/>
                      <a:pt x="6602" y="7110"/>
                      <a:pt x="6602" y="7110"/>
                    </a:cubicBezTo>
                    <a:cubicBezTo>
                      <a:pt x="6587" y="7232"/>
                      <a:pt x="6587" y="7232"/>
                      <a:pt x="6587" y="7232"/>
                    </a:cubicBezTo>
                    <a:cubicBezTo>
                      <a:pt x="6581" y="7231"/>
                      <a:pt x="6581" y="7231"/>
                      <a:pt x="6581" y="7231"/>
                    </a:cubicBezTo>
                    <a:cubicBezTo>
                      <a:pt x="6530" y="7226"/>
                      <a:pt x="6530" y="7226"/>
                      <a:pt x="6530" y="7226"/>
                    </a:cubicBezTo>
                    <a:cubicBezTo>
                      <a:pt x="6524" y="7299"/>
                      <a:pt x="6524" y="7299"/>
                      <a:pt x="6524" y="7299"/>
                    </a:cubicBezTo>
                    <a:cubicBezTo>
                      <a:pt x="6414" y="7289"/>
                      <a:pt x="6414" y="7289"/>
                      <a:pt x="6414" y="7289"/>
                    </a:cubicBezTo>
                    <a:cubicBezTo>
                      <a:pt x="6432" y="7104"/>
                      <a:pt x="6432" y="7104"/>
                      <a:pt x="6432" y="7104"/>
                    </a:cubicBezTo>
                    <a:cubicBezTo>
                      <a:pt x="6484" y="7109"/>
                      <a:pt x="6484" y="7109"/>
                      <a:pt x="6484" y="7109"/>
                    </a:cubicBezTo>
                    <a:cubicBezTo>
                      <a:pt x="6484" y="7105"/>
                      <a:pt x="6484" y="7105"/>
                      <a:pt x="6484" y="7105"/>
                    </a:cubicBezTo>
                    <a:lnTo>
                      <a:pt x="6485" y="7099"/>
                    </a:lnTo>
                    <a:close/>
                    <a:moveTo>
                      <a:pt x="6495" y="7123"/>
                    </a:moveTo>
                    <a:cubicBezTo>
                      <a:pt x="6443" y="7118"/>
                      <a:pt x="6443" y="7118"/>
                      <a:pt x="6443" y="7118"/>
                    </a:cubicBezTo>
                    <a:cubicBezTo>
                      <a:pt x="6429" y="7277"/>
                      <a:pt x="6429" y="7277"/>
                      <a:pt x="6429" y="7277"/>
                    </a:cubicBezTo>
                    <a:cubicBezTo>
                      <a:pt x="6512" y="7285"/>
                      <a:pt x="6512" y="7285"/>
                      <a:pt x="6512" y="7285"/>
                    </a:cubicBezTo>
                    <a:cubicBezTo>
                      <a:pt x="6518" y="7212"/>
                      <a:pt x="6518" y="7212"/>
                      <a:pt x="6518" y="7212"/>
                    </a:cubicBezTo>
                    <a:cubicBezTo>
                      <a:pt x="6576" y="7217"/>
                      <a:pt x="6576" y="7217"/>
                      <a:pt x="6576" y="7217"/>
                    </a:cubicBezTo>
                    <a:cubicBezTo>
                      <a:pt x="6587" y="7122"/>
                      <a:pt x="6587" y="7122"/>
                      <a:pt x="6587" y="7122"/>
                    </a:cubicBezTo>
                    <a:cubicBezTo>
                      <a:pt x="6496" y="7113"/>
                      <a:pt x="6496" y="7113"/>
                      <a:pt x="6496" y="7113"/>
                    </a:cubicBezTo>
                    <a:cubicBezTo>
                      <a:pt x="6496" y="7117"/>
                      <a:pt x="6496" y="7117"/>
                      <a:pt x="6496" y="7117"/>
                    </a:cubicBezTo>
                    <a:lnTo>
                      <a:pt x="6495" y="7123"/>
                    </a:lnTo>
                    <a:close/>
                    <a:moveTo>
                      <a:pt x="7093" y="6807"/>
                    </a:moveTo>
                    <a:cubicBezTo>
                      <a:pt x="7076" y="6916"/>
                      <a:pt x="7076" y="6916"/>
                      <a:pt x="7076" y="6916"/>
                    </a:cubicBezTo>
                    <a:cubicBezTo>
                      <a:pt x="7004" y="6905"/>
                      <a:pt x="7004" y="6905"/>
                      <a:pt x="7004" y="6905"/>
                    </a:cubicBezTo>
                    <a:cubicBezTo>
                      <a:pt x="6995" y="6961"/>
                      <a:pt x="6995" y="6961"/>
                      <a:pt x="6995" y="6961"/>
                    </a:cubicBezTo>
                    <a:cubicBezTo>
                      <a:pt x="6989" y="6960"/>
                      <a:pt x="6989" y="6960"/>
                      <a:pt x="6989" y="6960"/>
                    </a:cubicBezTo>
                    <a:cubicBezTo>
                      <a:pt x="6874" y="6946"/>
                      <a:pt x="6874" y="6946"/>
                      <a:pt x="6874" y="6946"/>
                    </a:cubicBezTo>
                    <a:cubicBezTo>
                      <a:pt x="6891" y="6829"/>
                      <a:pt x="6891" y="6829"/>
                      <a:pt x="6891" y="6829"/>
                    </a:cubicBezTo>
                    <a:cubicBezTo>
                      <a:pt x="6901" y="6831"/>
                      <a:pt x="6901" y="6831"/>
                      <a:pt x="6901" y="6831"/>
                    </a:cubicBezTo>
                    <a:cubicBezTo>
                      <a:pt x="6909" y="6779"/>
                      <a:pt x="6909" y="6779"/>
                      <a:pt x="6909" y="6779"/>
                    </a:cubicBezTo>
                    <a:lnTo>
                      <a:pt x="7093" y="6807"/>
                    </a:lnTo>
                    <a:close/>
                    <a:moveTo>
                      <a:pt x="7078" y="6818"/>
                    </a:moveTo>
                    <a:cubicBezTo>
                      <a:pt x="6920" y="6794"/>
                      <a:pt x="6920" y="6794"/>
                      <a:pt x="6920" y="6794"/>
                    </a:cubicBezTo>
                    <a:cubicBezTo>
                      <a:pt x="6913" y="6846"/>
                      <a:pt x="6913" y="6846"/>
                      <a:pt x="6913" y="6846"/>
                    </a:cubicBezTo>
                    <a:cubicBezTo>
                      <a:pt x="6902" y="6844"/>
                      <a:pt x="6902" y="6844"/>
                      <a:pt x="6902" y="6844"/>
                    </a:cubicBezTo>
                    <a:cubicBezTo>
                      <a:pt x="6889" y="6935"/>
                      <a:pt x="6889" y="6935"/>
                      <a:pt x="6889" y="6935"/>
                    </a:cubicBezTo>
                    <a:cubicBezTo>
                      <a:pt x="6984" y="6947"/>
                      <a:pt x="6984" y="6947"/>
                      <a:pt x="6984" y="6947"/>
                    </a:cubicBezTo>
                    <a:cubicBezTo>
                      <a:pt x="6993" y="6890"/>
                      <a:pt x="6993" y="6890"/>
                      <a:pt x="6993" y="6890"/>
                    </a:cubicBezTo>
                    <a:cubicBezTo>
                      <a:pt x="7065" y="6901"/>
                      <a:pt x="7065" y="6901"/>
                      <a:pt x="7065" y="6901"/>
                    </a:cubicBezTo>
                    <a:lnTo>
                      <a:pt x="7078" y="6818"/>
                    </a:lnTo>
                    <a:close/>
                    <a:moveTo>
                      <a:pt x="7009" y="7189"/>
                    </a:moveTo>
                    <a:cubicBezTo>
                      <a:pt x="7126" y="7200"/>
                      <a:pt x="7126" y="7200"/>
                      <a:pt x="7126" y="7200"/>
                    </a:cubicBezTo>
                    <a:cubicBezTo>
                      <a:pt x="7112" y="7322"/>
                      <a:pt x="7112" y="7322"/>
                      <a:pt x="7112" y="7322"/>
                    </a:cubicBezTo>
                    <a:cubicBezTo>
                      <a:pt x="7105" y="7321"/>
                      <a:pt x="7105" y="7321"/>
                      <a:pt x="7105" y="7321"/>
                    </a:cubicBezTo>
                    <a:cubicBezTo>
                      <a:pt x="7055" y="7317"/>
                      <a:pt x="7055" y="7317"/>
                      <a:pt x="7055" y="7317"/>
                    </a:cubicBezTo>
                    <a:cubicBezTo>
                      <a:pt x="7048" y="7390"/>
                      <a:pt x="7048" y="7390"/>
                      <a:pt x="7048" y="7390"/>
                    </a:cubicBezTo>
                    <a:cubicBezTo>
                      <a:pt x="6939" y="7379"/>
                      <a:pt x="6939" y="7379"/>
                      <a:pt x="6939" y="7379"/>
                    </a:cubicBezTo>
                    <a:cubicBezTo>
                      <a:pt x="6956" y="7195"/>
                      <a:pt x="6956" y="7195"/>
                      <a:pt x="6956" y="7195"/>
                    </a:cubicBezTo>
                    <a:cubicBezTo>
                      <a:pt x="7008" y="7199"/>
                      <a:pt x="7008" y="7199"/>
                      <a:pt x="7008" y="7199"/>
                    </a:cubicBezTo>
                    <a:cubicBezTo>
                      <a:pt x="7008" y="7196"/>
                      <a:pt x="7008" y="7196"/>
                      <a:pt x="7008" y="7196"/>
                    </a:cubicBezTo>
                    <a:lnTo>
                      <a:pt x="7009" y="7189"/>
                    </a:lnTo>
                    <a:close/>
                    <a:moveTo>
                      <a:pt x="7020" y="7214"/>
                    </a:moveTo>
                    <a:cubicBezTo>
                      <a:pt x="6968" y="7209"/>
                      <a:pt x="6968" y="7209"/>
                      <a:pt x="6968" y="7209"/>
                    </a:cubicBezTo>
                    <a:cubicBezTo>
                      <a:pt x="6953" y="7367"/>
                      <a:pt x="6953" y="7367"/>
                      <a:pt x="6953" y="7367"/>
                    </a:cubicBezTo>
                    <a:cubicBezTo>
                      <a:pt x="7036" y="7375"/>
                      <a:pt x="7036" y="7375"/>
                      <a:pt x="7036" y="7375"/>
                    </a:cubicBezTo>
                    <a:cubicBezTo>
                      <a:pt x="7043" y="7302"/>
                      <a:pt x="7043" y="7302"/>
                      <a:pt x="7043" y="7302"/>
                    </a:cubicBezTo>
                    <a:cubicBezTo>
                      <a:pt x="7100" y="7308"/>
                      <a:pt x="7100" y="7308"/>
                      <a:pt x="7100" y="7308"/>
                    </a:cubicBezTo>
                    <a:cubicBezTo>
                      <a:pt x="7111" y="7212"/>
                      <a:pt x="7111" y="7212"/>
                      <a:pt x="7111" y="7212"/>
                    </a:cubicBezTo>
                    <a:cubicBezTo>
                      <a:pt x="7021" y="7203"/>
                      <a:pt x="7021" y="7203"/>
                      <a:pt x="7021" y="7203"/>
                    </a:cubicBezTo>
                    <a:cubicBezTo>
                      <a:pt x="7020" y="7207"/>
                      <a:pt x="7020" y="7207"/>
                      <a:pt x="7020" y="7207"/>
                    </a:cubicBezTo>
                    <a:lnTo>
                      <a:pt x="7020" y="7214"/>
                    </a:lnTo>
                    <a:close/>
                    <a:moveTo>
                      <a:pt x="6799" y="6748"/>
                    </a:moveTo>
                    <a:cubicBezTo>
                      <a:pt x="6783" y="6856"/>
                      <a:pt x="6783" y="6856"/>
                      <a:pt x="6783" y="6856"/>
                    </a:cubicBezTo>
                    <a:cubicBezTo>
                      <a:pt x="6711" y="6845"/>
                      <a:pt x="6711" y="6845"/>
                      <a:pt x="6711" y="6845"/>
                    </a:cubicBezTo>
                    <a:cubicBezTo>
                      <a:pt x="6702" y="6902"/>
                      <a:pt x="6702" y="6902"/>
                      <a:pt x="6702" y="6902"/>
                    </a:cubicBezTo>
                    <a:cubicBezTo>
                      <a:pt x="6696" y="6901"/>
                      <a:pt x="6696" y="6901"/>
                      <a:pt x="6696" y="6901"/>
                    </a:cubicBezTo>
                    <a:cubicBezTo>
                      <a:pt x="6580" y="6886"/>
                      <a:pt x="6580" y="6886"/>
                      <a:pt x="6580" y="6886"/>
                    </a:cubicBezTo>
                    <a:cubicBezTo>
                      <a:pt x="6598" y="6770"/>
                      <a:pt x="6598" y="6770"/>
                      <a:pt x="6598" y="6770"/>
                    </a:cubicBezTo>
                    <a:cubicBezTo>
                      <a:pt x="6608" y="6772"/>
                      <a:pt x="6608" y="6772"/>
                      <a:pt x="6608" y="6772"/>
                    </a:cubicBezTo>
                    <a:cubicBezTo>
                      <a:pt x="6616" y="6720"/>
                      <a:pt x="6616" y="6720"/>
                      <a:pt x="6616" y="6720"/>
                    </a:cubicBezTo>
                    <a:lnTo>
                      <a:pt x="6799" y="6748"/>
                    </a:lnTo>
                    <a:close/>
                    <a:moveTo>
                      <a:pt x="6785" y="6759"/>
                    </a:moveTo>
                    <a:cubicBezTo>
                      <a:pt x="6627" y="6735"/>
                      <a:pt x="6627" y="6735"/>
                      <a:pt x="6627" y="6735"/>
                    </a:cubicBezTo>
                    <a:cubicBezTo>
                      <a:pt x="6619" y="6787"/>
                      <a:pt x="6619" y="6787"/>
                      <a:pt x="6619" y="6787"/>
                    </a:cubicBezTo>
                    <a:cubicBezTo>
                      <a:pt x="6609" y="6785"/>
                      <a:pt x="6609" y="6785"/>
                      <a:pt x="6609" y="6785"/>
                    </a:cubicBezTo>
                    <a:cubicBezTo>
                      <a:pt x="6595" y="6875"/>
                      <a:pt x="6595" y="6875"/>
                      <a:pt x="6595" y="6875"/>
                    </a:cubicBezTo>
                    <a:cubicBezTo>
                      <a:pt x="6691" y="6887"/>
                      <a:pt x="6691" y="6887"/>
                      <a:pt x="6691" y="6887"/>
                    </a:cubicBezTo>
                    <a:cubicBezTo>
                      <a:pt x="6700" y="6830"/>
                      <a:pt x="6700" y="6830"/>
                      <a:pt x="6700" y="6830"/>
                    </a:cubicBezTo>
                    <a:cubicBezTo>
                      <a:pt x="6772" y="6841"/>
                      <a:pt x="6772" y="6841"/>
                      <a:pt x="6772" y="6841"/>
                    </a:cubicBezTo>
                    <a:lnTo>
                      <a:pt x="6785" y="6759"/>
                    </a:lnTo>
                    <a:close/>
                    <a:moveTo>
                      <a:pt x="6770" y="7091"/>
                    </a:moveTo>
                    <a:cubicBezTo>
                      <a:pt x="6887" y="7102"/>
                      <a:pt x="6887" y="7102"/>
                      <a:pt x="6887" y="7102"/>
                    </a:cubicBezTo>
                    <a:cubicBezTo>
                      <a:pt x="6873" y="7224"/>
                      <a:pt x="6873" y="7224"/>
                      <a:pt x="6873" y="7224"/>
                    </a:cubicBezTo>
                    <a:cubicBezTo>
                      <a:pt x="6866" y="7223"/>
                      <a:pt x="6866" y="7223"/>
                      <a:pt x="6866" y="7223"/>
                    </a:cubicBezTo>
                    <a:cubicBezTo>
                      <a:pt x="6816" y="7219"/>
                      <a:pt x="6816" y="7219"/>
                      <a:pt x="6816" y="7219"/>
                    </a:cubicBezTo>
                    <a:cubicBezTo>
                      <a:pt x="6809" y="7291"/>
                      <a:pt x="6809" y="7291"/>
                      <a:pt x="6809" y="7291"/>
                    </a:cubicBezTo>
                    <a:cubicBezTo>
                      <a:pt x="6700" y="7281"/>
                      <a:pt x="6700" y="7281"/>
                      <a:pt x="6700" y="7281"/>
                    </a:cubicBezTo>
                    <a:cubicBezTo>
                      <a:pt x="6717" y="7096"/>
                      <a:pt x="6717" y="7096"/>
                      <a:pt x="6717" y="7096"/>
                    </a:cubicBezTo>
                    <a:cubicBezTo>
                      <a:pt x="6769" y="7101"/>
                      <a:pt x="6769" y="7101"/>
                      <a:pt x="6769" y="7101"/>
                    </a:cubicBezTo>
                    <a:cubicBezTo>
                      <a:pt x="6769" y="7097"/>
                      <a:pt x="6769" y="7097"/>
                      <a:pt x="6769" y="7097"/>
                    </a:cubicBezTo>
                    <a:lnTo>
                      <a:pt x="6770" y="7091"/>
                    </a:lnTo>
                    <a:close/>
                    <a:moveTo>
                      <a:pt x="6781" y="7116"/>
                    </a:moveTo>
                    <a:cubicBezTo>
                      <a:pt x="6729" y="7111"/>
                      <a:pt x="6729" y="7111"/>
                      <a:pt x="6729" y="7111"/>
                    </a:cubicBezTo>
                    <a:cubicBezTo>
                      <a:pt x="6714" y="7269"/>
                      <a:pt x="6714" y="7269"/>
                      <a:pt x="6714" y="7269"/>
                    </a:cubicBezTo>
                    <a:cubicBezTo>
                      <a:pt x="6797" y="7277"/>
                      <a:pt x="6797" y="7277"/>
                      <a:pt x="6797" y="7277"/>
                    </a:cubicBezTo>
                    <a:cubicBezTo>
                      <a:pt x="6804" y="7204"/>
                      <a:pt x="6804" y="7204"/>
                      <a:pt x="6804" y="7204"/>
                    </a:cubicBezTo>
                    <a:cubicBezTo>
                      <a:pt x="6861" y="7210"/>
                      <a:pt x="6861" y="7210"/>
                      <a:pt x="6861" y="7210"/>
                    </a:cubicBezTo>
                    <a:cubicBezTo>
                      <a:pt x="6873" y="7114"/>
                      <a:pt x="6873" y="7114"/>
                      <a:pt x="6873" y="7114"/>
                    </a:cubicBezTo>
                    <a:cubicBezTo>
                      <a:pt x="6782" y="7105"/>
                      <a:pt x="6782" y="7105"/>
                      <a:pt x="6782" y="7105"/>
                    </a:cubicBezTo>
                    <a:cubicBezTo>
                      <a:pt x="6781" y="7109"/>
                      <a:pt x="6781" y="7109"/>
                      <a:pt x="6781" y="7109"/>
                    </a:cubicBezTo>
                    <a:lnTo>
                      <a:pt x="6781" y="7116"/>
                    </a:lnTo>
                    <a:close/>
                    <a:moveTo>
                      <a:pt x="6475" y="7594"/>
                    </a:moveTo>
                    <a:cubicBezTo>
                      <a:pt x="6400" y="7594"/>
                      <a:pt x="6400" y="7594"/>
                      <a:pt x="6400" y="7594"/>
                    </a:cubicBezTo>
                    <a:cubicBezTo>
                      <a:pt x="6400" y="7587"/>
                      <a:pt x="6400" y="7587"/>
                      <a:pt x="6400" y="7587"/>
                    </a:cubicBezTo>
                    <a:cubicBezTo>
                      <a:pt x="6400" y="7503"/>
                      <a:pt x="6400" y="7503"/>
                      <a:pt x="6400" y="7503"/>
                    </a:cubicBezTo>
                    <a:cubicBezTo>
                      <a:pt x="6475" y="7503"/>
                      <a:pt x="6475" y="7503"/>
                      <a:pt x="6475" y="7503"/>
                    </a:cubicBezTo>
                    <a:lnTo>
                      <a:pt x="6475" y="7594"/>
                    </a:lnTo>
                    <a:close/>
                    <a:moveTo>
                      <a:pt x="6462" y="7516"/>
                    </a:moveTo>
                    <a:cubicBezTo>
                      <a:pt x="6413" y="7516"/>
                      <a:pt x="6413" y="7516"/>
                      <a:pt x="6413" y="7516"/>
                    </a:cubicBezTo>
                    <a:cubicBezTo>
                      <a:pt x="6413" y="7581"/>
                      <a:pt x="6413" y="7581"/>
                      <a:pt x="6413" y="7581"/>
                    </a:cubicBezTo>
                    <a:cubicBezTo>
                      <a:pt x="6462" y="7581"/>
                      <a:pt x="6462" y="7581"/>
                      <a:pt x="6462" y="7581"/>
                    </a:cubicBezTo>
                    <a:lnTo>
                      <a:pt x="6462" y="7516"/>
                    </a:lnTo>
                    <a:close/>
                    <a:moveTo>
                      <a:pt x="3993" y="7920"/>
                    </a:moveTo>
                    <a:cubicBezTo>
                      <a:pt x="4046" y="8011"/>
                      <a:pt x="4046" y="8011"/>
                      <a:pt x="4046" y="8011"/>
                    </a:cubicBezTo>
                    <a:cubicBezTo>
                      <a:pt x="3918" y="8085"/>
                      <a:pt x="3918" y="8085"/>
                      <a:pt x="3918" y="8085"/>
                    </a:cubicBezTo>
                    <a:cubicBezTo>
                      <a:pt x="3915" y="8079"/>
                      <a:pt x="3915" y="8079"/>
                      <a:pt x="3915" y="8079"/>
                    </a:cubicBezTo>
                    <a:cubicBezTo>
                      <a:pt x="3865" y="7995"/>
                      <a:pt x="3865" y="7995"/>
                      <a:pt x="3865" y="7995"/>
                    </a:cubicBezTo>
                    <a:lnTo>
                      <a:pt x="3993" y="7920"/>
                    </a:lnTo>
                    <a:close/>
                    <a:moveTo>
                      <a:pt x="4028" y="8006"/>
                    </a:moveTo>
                    <a:cubicBezTo>
                      <a:pt x="3989" y="7938"/>
                      <a:pt x="3989" y="7938"/>
                      <a:pt x="3989" y="7938"/>
                    </a:cubicBezTo>
                    <a:cubicBezTo>
                      <a:pt x="3883" y="7999"/>
                      <a:pt x="3883" y="7999"/>
                      <a:pt x="3883" y="7999"/>
                    </a:cubicBezTo>
                    <a:cubicBezTo>
                      <a:pt x="3922" y="8067"/>
                      <a:pt x="3922" y="8067"/>
                      <a:pt x="3922" y="8067"/>
                    </a:cubicBezTo>
                    <a:lnTo>
                      <a:pt x="4028" y="8006"/>
                    </a:lnTo>
                    <a:close/>
                    <a:moveTo>
                      <a:pt x="6105" y="7054"/>
                    </a:moveTo>
                    <a:cubicBezTo>
                      <a:pt x="6025" y="7311"/>
                      <a:pt x="6025" y="7311"/>
                      <a:pt x="6025" y="7311"/>
                    </a:cubicBezTo>
                    <a:cubicBezTo>
                      <a:pt x="5812" y="7138"/>
                      <a:pt x="5812" y="7138"/>
                      <a:pt x="5812" y="7138"/>
                    </a:cubicBezTo>
                    <a:cubicBezTo>
                      <a:pt x="5886" y="6939"/>
                      <a:pt x="5886" y="6939"/>
                      <a:pt x="5886" y="6939"/>
                    </a:cubicBezTo>
                    <a:cubicBezTo>
                      <a:pt x="6107" y="7048"/>
                      <a:pt x="6107" y="7048"/>
                      <a:pt x="6107" y="7048"/>
                    </a:cubicBezTo>
                    <a:lnTo>
                      <a:pt x="6105" y="7054"/>
                    </a:lnTo>
                    <a:close/>
                    <a:moveTo>
                      <a:pt x="6089" y="7056"/>
                    </a:moveTo>
                    <a:cubicBezTo>
                      <a:pt x="5894" y="6959"/>
                      <a:pt x="5894" y="6959"/>
                      <a:pt x="5894" y="6959"/>
                    </a:cubicBezTo>
                    <a:cubicBezTo>
                      <a:pt x="5830" y="7133"/>
                      <a:pt x="5830" y="7133"/>
                      <a:pt x="5830" y="7133"/>
                    </a:cubicBezTo>
                    <a:cubicBezTo>
                      <a:pt x="6017" y="7286"/>
                      <a:pt x="6017" y="7286"/>
                      <a:pt x="6017" y="7286"/>
                    </a:cubicBezTo>
                    <a:lnTo>
                      <a:pt x="6089" y="7056"/>
                    </a:lnTo>
                    <a:close/>
                    <a:moveTo>
                      <a:pt x="5878" y="7121"/>
                    </a:moveTo>
                    <a:cubicBezTo>
                      <a:pt x="5914" y="7016"/>
                      <a:pt x="5914" y="7016"/>
                      <a:pt x="5914" y="7016"/>
                    </a:cubicBezTo>
                    <a:cubicBezTo>
                      <a:pt x="6033" y="7082"/>
                      <a:pt x="6033" y="7082"/>
                      <a:pt x="6033" y="7082"/>
                    </a:cubicBezTo>
                    <a:cubicBezTo>
                      <a:pt x="6030" y="7088"/>
                      <a:pt x="6030" y="7088"/>
                      <a:pt x="6030" y="7088"/>
                    </a:cubicBezTo>
                    <a:cubicBezTo>
                      <a:pt x="5996" y="7162"/>
                      <a:pt x="5996" y="7162"/>
                      <a:pt x="5996" y="7162"/>
                    </a:cubicBezTo>
                    <a:lnTo>
                      <a:pt x="5878" y="7121"/>
                    </a:lnTo>
                    <a:close/>
                    <a:moveTo>
                      <a:pt x="5897" y="7112"/>
                    </a:moveTo>
                    <a:cubicBezTo>
                      <a:pt x="5988" y="7144"/>
                      <a:pt x="5988" y="7144"/>
                      <a:pt x="5988" y="7144"/>
                    </a:cubicBezTo>
                    <a:cubicBezTo>
                      <a:pt x="6014" y="7088"/>
                      <a:pt x="6014" y="7088"/>
                      <a:pt x="6014" y="7088"/>
                    </a:cubicBezTo>
                    <a:cubicBezTo>
                      <a:pt x="5922" y="7038"/>
                      <a:pt x="5922" y="7038"/>
                      <a:pt x="5922" y="7038"/>
                    </a:cubicBezTo>
                    <a:lnTo>
                      <a:pt x="5897" y="7112"/>
                    </a:lnTo>
                    <a:close/>
                    <a:moveTo>
                      <a:pt x="4358" y="7104"/>
                    </a:moveTo>
                    <a:cubicBezTo>
                      <a:pt x="4358" y="7104"/>
                      <a:pt x="4358" y="7104"/>
                      <a:pt x="4358" y="7104"/>
                    </a:cubicBezTo>
                    <a:cubicBezTo>
                      <a:pt x="4358" y="7104"/>
                      <a:pt x="4358" y="7104"/>
                      <a:pt x="4358" y="7104"/>
                    </a:cubicBezTo>
                    <a:close/>
                    <a:moveTo>
                      <a:pt x="5574" y="2257"/>
                    </a:moveTo>
                    <a:cubicBezTo>
                      <a:pt x="5431" y="2232"/>
                      <a:pt x="5431" y="2232"/>
                      <a:pt x="5431" y="2232"/>
                    </a:cubicBezTo>
                    <a:cubicBezTo>
                      <a:pt x="5443" y="2161"/>
                      <a:pt x="5443" y="2161"/>
                      <a:pt x="5443" y="2161"/>
                    </a:cubicBezTo>
                    <a:cubicBezTo>
                      <a:pt x="5592" y="2188"/>
                      <a:pt x="5592" y="2188"/>
                      <a:pt x="5592" y="2188"/>
                    </a:cubicBezTo>
                    <a:cubicBezTo>
                      <a:pt x="5580" y="2258"/>
                      <a:pt x="5580" y="2258"/>
                      <a:pt x="5580" y="2258"/>
                    </a:cubicBezTo>
                    <a:lnTo>
                      <a:pt x="5574" y="2257"/>
                    </a:lnTo>
                    <a:close/>
                    <a:moveTo>
                      <a:pt x="5570" y="2243"/>
                    </a:moveTo>
                    <a:cubicBezTo>
                      <a:pt x="5578" y="2198"/>
                      <a:pt x="5578" y="2198"/>
                      <a:pt x="5578" y="2198"/>
                    </a:cubicBezTo>
                    <a:cubicBezTo>
                      <a:pt x="5454" y="2176"/>
                      <a:pt x="5454" y="2176"/>
                      <a:pt x="5454" y="2176"/>
                    </a:cubicBezTo>
                    <a:cubicBezTo>
                      <a:pt x="5446" y="2221"/>
                      <a:pt x="5446" y="2221"/>
                      <a:pt x="5446" y="2221"/>
                    </a:cubicBezTo>
                    <a:lnTo>
                      <a:pt x="5570" y="2243"/>
                    </a:lnTo>
                    <a:close/>
                    <a:moveTo>
                      <a:pt x="5495" y="1618"/>
                    </a:moveTo>
                    <a:cubicBezTo>
                      <a:pt x="5644" y="1644"/>
                      <a:pt x="5644" y="1644"/>
                      <a:pt x="5644" y="1644"/>
                    </a:cubicBezTo>
                    <a:cubicBezTo>
                      <a:pt x="5632" y="1714"/>
                      <a:pt x="5632" y="1714"/>
                      <a:pt x="5632" y="1714"/>
                    </a:cubicBezTo>
                    <a:cubicBezTo>
                      <a:pt x="5626" y="1713"/>
                      <a:pt x="5626" y="1713"/>
                      <a:pt x="5626" y="1713"/>
                    </a:cubicBezTo>
                    <a:cubicBezTo>
                      <a:pt x="5483" y="1688"/>
                      <a:pt x="5483" y="1688"/>
                      <a:pt x="5483" y="1688"/>
                    </a:cubicBezTo>
                    <a:lnTo>
                      <a:pt x="5495" y="1618"/>
                    </a:lnTo>
                    <a:close/>
                    <a:moveTo>
                      <a:pt x="5498" y="1678"/>
                    </a:moveTo>
                    <a:cubicBezTo>
                      <a:pt x="5622" y="1699"/>
                      <a:pt x="5622" y="1699"/>
                      <a:pt x="5622" y="1699"/>
                    </a:cubicBezTo>
                    <a:cubicBezTo>
                      <a:pt x="5630" y="1654"/>
                      <a:pt x="5630" y="1654"/>
                      <a:pt x="5630" y="1654"/>
                    </a:cubicBezTo>
                    <a:cubicBezTo>
                      <a:pt x="5506" y="1632"/>
                      <a:pt x="5506" y="1632"/>
                      <a:pt x="5506" y="1632"/>
                    </a:cubicBezTo>
                    <a:lnTo>
                      <a:pt x="5498" y="1678"/>
                    </a:lnTo>
                    <a:close/>
                    <a:moveTo>
                      <a:pt x="3556" y="7508"/>
                    </a:moveTo>
                    <a:cubicBezTo>
                      <a:pt x="3417" y="7499"/>
                      <a:pt x="3417" y="7499"/>
                      <a:pt x="3417" y="7499"/>
                    </a:cubicBezTo>
                    <a:cubicBezTo>
                      <a:pt x="3449" y="7215"/>
                      <a:pt x="3449" y="7215"/>
                      <a:pt x="3449" y="7215"/>
                    </a:cubicBezTo>
                    <a:cubicBezTo>
                      <a:pt x="3779" y="7295"/>
                      <a:pt x="3779" y="7295"/>
                      <a:pt x="3779" y="7295"/>
                    </a:cubicBezTo>
                    <a:cubicBezTo>
                      <a:pt x="3778" y="7301"/>
                      <a:pt x="3778" y="7301"/>
                      <a:pt x="3778" y="7301"/>
                    </a:cubicBezTo>
                    <a:cubicBezTo>
                      <a:pt x="3768" y="7371"/>
                      <a:pt x="3768" y="7371"/>
                      <a:pt x="3768" y="7371"/>
                    </a:cubicBezTo>
                    <a:cubicBezTo>
                      <a:pt x="3576" y="7332"/>
                      <a:pt x="3576" y="7332"/>
                      <a:pt x="3576" y="7332"/>
                    </a:cubicBezTo>
                    <a:lnTo>
                      <a:pt x="3556" y="7508"/>
                    </a:lnTo>
                    <a:close/>
                    <a:moveTo>
                      <a:pt x="3543" y="7492"/>
                    </a:moveTo>
                    <a:cubicBezTo>
                      <a:pt x="3564" y="7314"/>
                      <a:pt x="3564" y="7314"/>
                      <a:pt x="3564" y="7314"/>
                    </a:cubicBezTo>
                    <a:cubicBezTo>
                      <a:pt x="3755" y="7354"/>
                      <a:pt x="3755" y="7354"/>
                      <a:pt x="3755" y="7354"/>
                    </a:cubicBezTo>
                    <a:cubicBezTo>
                      <a:pt x="3762" y="7306"/>
                      <a:pt x="3762" y="7306"/>
                      <a:pt x="3762" y="7306"/>
                    </a:cubicBezTo>
                    <a:cubicBezTo>
                      <a:pt x="3462" y="7234"/>
                      <a:pt x="3462" y="7234"/>
                      <a:pt x="3462" y="7234"/>
                    </a:cubicBezTo>
                    <a:cubicBezTo>
                      <a:pt x="3434" y="7485"/>
                      <a:pt x="3434" y="7485"/>
                      <a:pt x="3434" y="7485"/>
                    </a:cubicBezTo>
                    <a:lnTo>
                      <a:pt x="3543" y="7492"/>
                    </a:lnTo>
                    <a:close/>
                    <a:moveTo>
                      <a:pt x="5602" y="5455"/>
                    </a:moveTo>
                    <a:cubicBezTo>
                      <a:pt x="5456" y="5429"/>
                      <a:pt x="5456" y="5429"/>
                      <a:pt x="5456" y="5429"/>
                    </a:cubicBezTo>
                    <a:cubicBezTo>
                      <a:pt x="5458" y="5423"/>
                      <a:pt x="5458" y="5423"/>
                      <a:pt x="5458" y="5423"/>
                    </a:cubicBezTo>
                    <a:cubicBezTo>
                      <a:pt x="5475" y="5326"/>
                      <a:pt x="5475" y="5326"/>
                      <a:pt x="5475" y="5326"/>
                    </a:cubicBezTo>
                    <a:cubicBezTo>
                      <a:pt x="5621" y="5353"/>
                      <a:pt x="5621" y="5353"/>
                      <a:pt x="5621" y="5353"/>
                    </a:cubicBezTo>
                    <a:lnTo>
                      <a:pt x="5602" y="5455"/>
                    </a:lnTo>
                    <a:close/>
                    <a:moveTo>
                      <a:pt x="5592" y="5440"/>
                    </a:moveTo>
                    <a:cubicBezTo>
                      <a:pt x="5606" y="5363"/>
                      <a:pt x="5606" y="5363"/>
                      <a:pt x="5606" y="5363"/>
                    </a:cubicBezTo>
                    <a:cubicBezTo>
                      <a:pt x="5485" y="5341"/>
                      <a:pt x="5485" y="5341"/>
                      <a:pt x="5485" y="5341"/>
                    </a:cubicBezTo>
                    <a:cubicBezTo>
                      <a:pt x="5471" y="5419"/>
                      <a:pt x="5471" y="5419"/>
                      <a:pt x="5471" y="5419"/>
                    </a:cubicBezTo>
                    <a:lnTo>
                      <a:pt x="5592" y="5440"/>
                    </a:lnTo>
                    <a:close/>
                    <a:moveTo>
                      <a:pt x="5567" y="5488"/>
                    </a:moveTo>
                    <a:cubicBezTo>
                      <a:pt x="5712" y="5515"/>
                      <a:pt x="5712" y="5515"/>
                      <a:pt x="5712" y="5515"/>
                    </a:cubicBezTo>
                    <a:cubicBezTo>
                      <a:pt x="5694" y="5618"/>
                      <a:pt x="5694" y="5618"/>
                      <a:pt x="5694" y="5618"/>
                    </a:cubicBezTo>
                    <a:cubicBezTo>
                      <a:pt x="5548" y="5591"/>
                      <a:pt x="5548" y="5591"/>
                      <a:pt x="5548" y="5591"/>
                    </a:cubicBezTo>
                    <a:cubicBezTo>
                      <a:pt x="5549" y="5585"/>
                      <a:pt x="5549" y="5585"/>
                      <a:pt x="5549" y="5585"/>
                    </a:cubicBezTo>
                    <a:lnTo>
                      <a:pt x="5567" y="5488"/>
                    </a:lnTo>
                    <a:close/>
                    <a:moveTo>
                      <a:pt x="5577" y="5503"/>
                    </a:moveTo>
                    <a:cubicBezTo>
                      <a:pt x="5563" y="5581"/>
                      <a:pt x="5563" y="5581"/>
                      <a:pt x="5563" y="5581"/>
                    </a:cubicBezTo>
                    <a:cubicBezTo>
                      <a:pt x="5683" y="5603"/>
                      <a:pt x="5683" y="5603"/>
                      <a:pt x="5683" y="5603"/>
                    </a:cubicBezTo>
                    <a:cubicBezTo>
                      <a:pt x="5697" y="5525"/>
                      <a:pt x="5697" y="5525"/>
                      <a:pt x="5697" y="5525"/>
                    </a:cubicBezTo>
                    <a:lnTo>
                      <a:pt x="5577" y="5503"/>
                    </a:lnTo>
                    <a:close/>
                    <a:moveTo>
                      <a:pt x="2114" y="5816"/>
                    </a:moveTo>
                    <a:cubicBezTo>
                      <a:pt x="1989" y="5781"/>
                      <a:pt x="1989" y="5781"/>
                      <a:pt x="1989" y="5781"/>
                    </a:cubicBezTo>
                    <a:cubicBezTo>
                      <a:pt x="2087" y="5558"/>
                      <a:pt x="2087" y="5558"/>
                      <a:pt x="2087" y="5558"/>
                    </a:cubicBezTo>
                    <a:cubicBezTo>
                      <a:pt x="2233" y="5606"/>
                      <a:pt x="2233" y="5606"/>
                      <a:pt x="2233" y="5606"/>
                    </a:cubicBezTo>
                    <a:cubicBezTo>
                      <a:pt x="2333" y="5761"/>
                      <a:pt x="2333" y="5761"/>
                      <a:pt x="2333" y="5761"/>
                    </a:cubicBezTo>
                    <a:cubicBezTo>
                      <a:pt x="2565" y="5828"/>
                      <a:pt x="2565" y="5828"/>
                      <a:pt x="2565" y="5828"/>
                    </a:cubicBezTo>
                    <a:cubicBezTo>
                      <a:pt x="2562" y="5835"/>
                      <a:pt x="2562" y="5835"/>
                      <a:pt x="2562" y="5835"/>
                    </a:cubicBezTo>
                    <a:cubicBezTo>
                      <a:pt x="2510" y="5992"/>
                      <a:pt x="2510" y="5992"/>
                      <a:pt x="2510" y="5992"/>
                    </a:cubicBezTo>
                    <a:cubicBezTo>
                      <a:pt x="2390" y="5955"/>
                      <a:pt x="2390" y="5955"/>
                      <a:pt x="2390" y="5955"/>
                    </a:cubicBezTo>
                    <a:cubicBezTo>
                      <a:pt x="2404" y="5919"/>
                      <a:pt x="2404" y="5919"/>
                      <a:pt x="2404" y="5919"/>
                    </a:cubicBezTo>
                    <a:cubicBezTo>
                      <a:pt x="2239" y="5876"/>
                      <a:pt x="2239" y="5876"/>
                      <a:pt x="2239" y="5876"/>
                    </a:cubicBezTo>
                    <a:cubicBezTo>
                      <a:pt x="2158" y="5745"/>
                      <a:pt x="2158" y="5745"/>
                      <a:pt x="2158" y="5745"/>
                    </a:cubicBezTo>
                    <a:cubicBezTo>
                      <a:pt x="2156" y="5745"/>
                      <a:pt x="2154" y="5744"/>
                      <a:pt x="2151" y="5743"/>
                    </a:cubicBezTo>
                    <a:cubicBezTo>
                      <a:pt x="2150" y="5743"/>
                      <a:pt x="2149" y="5743"/>
                      <a:pt x="2148" y="5742"/>
                    </a:cubicBezTo>
                    <a:cubicBezTo>
                      <a:pt x="2139" y="5761"/>
                      <a:pt x="2116" y="5810"/>
                      <a:pt x="2116" y="5810"/>
                    </a:cubicBezTo>
                    <a:lnTo>
                      <a:pt x="2114" y="5816"/>
                    </a:lnTo>
                    <a:close/>
                    <a:moveTo>
                      <a:pt x="2106" y="5798"/>
                    </a:moveTo>
                    <a:cubicBezTo>
                      <a:pt x="2109" y="5791"/>
                      <a:pt x="2114" y="5779"/>
                      <a:pt x="2120" y="5767"/>
                    </a:cubicBezTo>
                    <a:cubicBezTo>
                      <a:pt x="2124" y="5758"/>
                      <a:pt x="2128" y="5749"/>
                      <a:pt x="2131" y="5742"/>
                    </a:cubicBezTo>
                    <a:cubicBezTo>
                      <a:pt x="2133" y="5739"/>
                      <a:pt x="2134" y="5736"/>
                      <a:pt x="2135" y="5734"/>
                    </a:cubicBezTo>
                    <a:cubicBezTo>
                      <a:pt x="2136" y="5733"/>
                      <a:pt x="2136" y="5732"/>
                      <a:pt x="2136" y="5731"/>
                    </a:cubicBezTo>
                    <a:cubicBezTo>
                      <a:pt x="2136" y="5731"/>
                      <a:pt x="2136" y="5731"/>
                      <a:pt x="2136" y="5731"/>
                    </a:cubicBezTo>
                    <a:cubicBezTo>
                      <a:pt x="2136" y="5730"/>
                      <a:pt x="2137" y="5730"/>
                      <a:pt x="2137" y="5729"/>
                    </a:cubicBezTo>
                    <a:cubicBezTo>
                      <a:pt x="2137" y="5729"/>
                      <a:pt x="2137" y="5729"/>
                      <a:pt x="2137" y="5729"/>
                    </a:cubicBezTo>
                    <a:cubicBezTo>
                      <a:pt x="2137" y="5729"/>
                      <a:pt x="2137" y="5729"/>
                      <a:pt x="2137" y="5729"/>
                    </a:cubicBezTo>
                    <a:cubicBezTo>
                      <a:pt x="2137" y="5729"/>
                      <a:pt x="2137" y="5728"/>
                      <a:pt x="2138" y="5728"/>
                    </a:cubicBezTo>
                    <a:cubicBezTo>
                      <a:pt x="2138" y="5728"/>
                      <a:pt x="2138" y="5728"/>
                      <a:pt x="2138" y="5728"/>
                    </a:cubicBezTo>
                    <a:cubicBezTo>
                      <a:pt x="2138" y="5728"/>
                      <a:pt x="2138" y="5728"/>
                      <a:pt x="2138" y="5728"/>
                    </a:cubicBezTo>
                    <a:cubicBezTo>
                      <a:pt x="2138" y="5728"/>
                      <a:pt x="2138" y="5728"/>
                      <a:pt x="2138" y="5728"/>
                    </a:cubicBezTo>
                    <a:cubicBezTo>
                      <a:pt x="2138" y="5728"/>
                      <a:pt x="2138" y="5728"/>
                      <a:pt x="2138" y="5728"/>
                    </a:cubicBezTo>
                    <a:cubicBezTo>
                      <a:pt x="2139" y="5727"/>
                      <a:pt x="2140" y="5726"/>
                      <a:pt x="2141" y="5726"/>
                    </a:cubicBezTo>
                    <a:cubicBezTo>
                      <a:pt x="2141" y="5726"/>
                      <a:pt x="2142" y="5725"/>
                      <a:pt x="2143" y="5725"/>
                    </a:cubicBezTo>
                    <a:cubicBezTo>
                      <a:pt x="2145" y="5725"/>
                      <a:pt x="2146" y="5726"/>
                      <a:pt x="2147" y="5727"/>
                    </a:cubicBezTo>
                    <a:cubicBezTo>
                      <a:pt x="2151" y="5728"/>
                      <a:pt x="2165" y="5732"/>
                      <a:pt x="2165" y="5732"/>
                    </a:cubicBezTo>
                    <a:cubicBezTo>
                      <a:pt x="2168" y="5733"/>
                      <a:pt x="2168" y="5733"/>
                      <a:pt x="2168" y="5733"/>
                    </a:cubicBezTo>
                    <a:cubicBezTo>
                      <a:pt x="2248" y="5863"/>
                      <a:pt x="2248" y="5863"/>
                      <a:pt x="2248" y="5863"/>
                    </a:cubicBezTo>
                    <a:cubicBezTo>
                      <a:pt x="2424" y="5909"/>
                      <a:pt x="2424" y="5909"/>
                      <a:pt x="2424" y="5909"/>
                    </a:cubicBezTo>
                    <a:cubicBezTo>
                      <a:pt x="2410" y="5946"/>
                      <a:pt x="2410" y="5946"/>
                      <a:pt x="2410" y="5946"/>
                    </a:cubicBezTo>
                    <a:cubicBezTo>
                      <a:pt x="2500" y="5974"/>
                      <a:pt x="2500" y="5974"/>
                      <a:pt x="2500" y="5974"/>
                    </a:cubicBezTo>
                    <a:cubicBezTo>
                      <a:pt x="2546" y="5838"/>
                      <a:pt x="2546" y="5838"/>
                      <a:pt x="2546" y="5838"/>
                    </a:cubicBezTo>
                    <a:cubicBezTo>
                      <a:pt x="2324" y="5774"/>
                      <a:pt x="2324" y="5774"/>
                      <a:pt x="2324" y="5774"/>
                    </a:cubicBezTo>
                    <a:cubicBezTo>
                      <a:pt x="2224" y="5618"/>
                      <a:pt x="2224" y="5618"/>
                      <a:pt x="2224" y="5618"/>
                    </a:cubicBezTo>
                    <a:cubicBezTo>
                      <a:pt x="2095" y="5576"/>
                      <a:pt x="2095" y="5576"/>
                      <a:pt x="2095" y="5576"/>
                    </a:cubicBezTo>
                    <a:cubicBezTo>
                      <a:pt x="2010" y="5771"/>
                      <a:pt x="2010" y="5771"/>
                      <a:pt x="2010" y="5771"/>
                    </a:cubicBezTo>
                    <a:lnTo>
                      <a:pt x="2106" y="5798"/>
                    </a:lnTo>
                    <a:close/>
                    <a:moveTo>
                      <a:pt x="5389" y="4142"/>
                    </a:moveTo>
                    <a:cubicBezTo>
                      <a:pt x="5408" y="4258"/>
                      <a:pt x="5408" y="4258"/>
                      <a:pt x="5408" y="4258"/>
                    </a:cubicBezTo>
                    <a:cubicBezTo>
                      <a:pt x="5286" y="4276"/>
                      <a:pt x="5286" y="4276"/>
                      <a:pt x="5286" y="4276"/>
                    </a:cubicBezTo>
                    <a:cubicBezTo>
                      <a:pt x="5285" y="4269"/>
                      <a:pt x="5285" y="4269"/>
                      <a:pt x="5285" y="4269"/>
                    </a:cubicBezTo>
                    <a:cubicBezTo>
                      <a:pt x="5277" y="4219"/>
                      <a:pt x="5277" y="4219"/>
                      <a:pt x="5277" y="4219"/>
                    </a:cubicBezTo>
                    <a:cubicBezTo>
                      <a:pt x="5205" y="4231"/>
                      <a:pt x="5205" y="4231"/>
                      <a:pt x="5205" y="4231"/>
                    </a:cubicBezTo>
                    <a:cubicBezTo>
                      <a:pt x="5187" y="4123"/>
                      <a:pt x="5187" y="4123"/>
                      <a:pt x="5187" y="4123"/>
                    </a:cubicBezTo>
                    <a:cubicBezTo>
                      <a:pt x="5370" y="4092"/>
                      <a:pt x="5370" y="4092"/>
                      <a:pt x="5370" y="4092"/>
                    </a:cubicBezTo>
                    <a:cubicBezTo>
                      <a:pt x="5378" y="4144"/>
                      <a:pt x="5378" y="4144"/>
                      <a:pt x="5378" y="4144"/>
                    </a:cubicBezTo>
                    <a:cubicBezTo>
                      <a:pt x="5382" y="4143"/>
                      <a:pt x="5382" y="4143"/>
                      <a:pt x="5382" y="4143"/>
                    </a:cubicBezTo>
                    <a:lnTo>
                      <a:pt x="5389" y="4142"/>
                    </a:lnTo>
                    <a:close/>
                    <a:moveTo>
                      <a:pt x="5393" y="4247"/>
                    </a:moveTo>
                    <a:cubicBezTo>
                      <a:pt x="5378" y="4157"/>
                      <a:pt x="5378" y="4157"/>
                      <a:pt x="5378" y="4157"/>
                    </a:cubicBezTo>
                    <a:cubicBezTo>
                      <a:pt x="5374" y="4158"/>
                      <a:pt x="5374" y="4158"/>
                      <a:pt x="5374" y="4158"/>
                    </a:cubicBezTo>
                    <a:cubicBezTo>
                      <a:pt x="5368" y="4159"/>
                      <a:pt x="5368" y="4159"/>
                      <a:pt x="5368" y="4159"/>
                    </a:cubicBezTo>
                    <a:cubicBezTo>
                      <a:pt x="5359" y="4107"/>
                      <a:pt x="5359" y="4107"/>
                      <a:pt x="5359" y="4107"/>
                    </a:cubicBezTo>
                    <a:cubicBezTo>
                      <a:pt x="5202" y="4134"/>
                      <a:pt x="5202" y="4134"/>
                      <a:pt x="5202" y="4134"/>
                    </a:cubicBezTo>
                    <a:cubicBezTo>
                      <a:pt x="5216" y="4216"/>
                      <a:pt x="5216" y="4216"/>
                      <a:pt x="5216" y="4216"/>
                    </a:cubicBezTo>
                    <a:cubicBezTo>
                      <a:pt x="5288" y="4204"/>
                      <a:pt x="5288" y="4204"/>
                      <a:pt x="5288" y="4204"/>
                    </a:cubicBezTo>
                    <a:cubicBezTo>
                      <a:pt x="5297" y="4261"/>
                      <a:pt x="5297" y="4261"/>
                      <a:pt x="5297" y="4261"/>
                    </a:cubicBezTo>
                    <a:lnTo>
                      <a:pt x="5393" y="4247"/>
                    </a:lnTo>
                    <a:close/>
                    <a:moveTo>
                      <a:pt x="1379" y="5500"/>
                    </a:moveTo>
                    <a:cubicBezTo>
                      <a:pt x="1337" y="5408"/>
                      <a:pt x="1337" y="5408"/>
                      <a:pt x="1337" y="5408"/>
                    </a:cubicBezTo>
                    <a:cubicBezTo>
                      <a:pt x="1549" y="5349"/>
                      <a:pt x="1549" y="5349"/>
                      <a:pt x="1549" y="5349"/>
                    </a:cubicBezTo>
                    <a:cubicBezTo>
                      <a:pt x="1659" y="5390"/>
                      <a:pt x="1659" y="5390"/>
                      <a:pt x="1659" y="5390"/>
                    </a:cubicBezTo>
                    <a:cubicBezTo>
                      <a:pt x="1518" y="5561"/>
                      <a:pt x="1518" y="5561"/>
                      <a:pt x="1518" y="5561"/>
                    </a:cubicBezTo>
                    <a:lnTo>
                      <a:pt x="1379" y="5500"/>
                    </a:lnTo>
                    <a:close/>
                    <a:moveTo>
                      <a:pt x="1357" y="5417"/>
                    </a:moveTo>
                    <a:cubicBezTo>
                      <a:pt x="1390" y="5489"/>
                      <a:pt x="1390" y="5489"/>
                      <a:pt x="1390" y="5489"/>
                    </a:cubicBezTo>
                    <a:cubicBezTo>
                      <a:pt x="1514" y="5544"/>
                      <a:pt x="1514" y="5544"/>
                      <a:pt x="1514" y="5544"/>
                    </a:cubicBezTo>
                    <a:cubicBezTo>
                      <a:pt x="1636" y="5396"/>
                      <a:pt x="1636" y="5396"/>
                      <a:pt x="1636" y="5396"/>
                    </a:cubicBezTo>
                    <a:cubicBezTo>
                      <a:pt x="1548" y="5364"/>
                      <a:pt x="1548" y="5364"/>
                      <a:pt x="1548" y="5364"/>
                    </a:cubicBezTo>
                    <a:lnTo>
                      <a:pt x="1357" y="5417"/>
                    </a:lnTo>
                    <a:close/>
                    <a:moveTo>
                      <a:pt x="5430" y="4647"/>
                    </a:moveTo>
                    <a:cubicBezTo>
                      <a:pt x="5359" y="4642"/>
                      <a:pt x="5359" y="4642"/>
                      <a:pt x="5359" y="4642"/>
                    </a:cubicBezTo>
                    <a:cubicBezTo>
                      <a:pt x="5360" y="4636"/>
                      <a:pt x="5360" y="4636"/>
                      <a:pt x="5360" y="4636"/>
                    </a:cubicBezTo>
                    <a:cubicBezTo>
                      <a:pt x="5370" y="4491"/>
                      <a:pt x="5370" y="4491"/>
                      <a:pt x="5370" y="4491"/>
                    </a:cubicBezTo>
                    <a:cubicBezTo>
                      <a:pt x="5440" y="4496"/>
                      <a:pt x="5440" y="4496"/>
                      <a:pt x="5440" y="4496"/>
                    </a:cubicBezTo>
                    <a:lnTo>
                      <a:pt x="5430" y="4647"/>
                    </a:lnTo>
                    <a:close/>
                    <a:moveTo>
                      <a:pt x="5427" y="4508"/>
                    </a:moveTo>
                    <a:cubicBezTo>
                      <a:pt x="5382" y="4505"/>
                      <a:pt x="5382" y="4505"/>
                      <a:pt x="5382" y="4505"/>
                    </a:cubicBezTo>
                    <a:cubicBezTo>
                      <a:pt x="5373" y="4630"/>
                      <a:pt x="5373" y="4630"/>
                      <a:pt x="5373" y="4630"/>
                    </a:cubicBezTo>
                    <a:cubicBezTo>
                      <a:pt x="5418" y="4633"/>
                      <a:pt x="5418" y="4633"/>
                      <a:pt x="5418" y="4633"/>
                    </a:cubicBezTo>
                    <a:lnTo>
                      <a:pt x="5427" y="4508"/>
                    </a:lnTo>
                    <a:close/>
                    <a:moveTo>
                      <a:pt x="1856" y="6114"/>
                    </a:moveTo>
                    <a:cubicBezTo>
                      <a:pt x="1682" y="6020"/>
                      <a:pt x="1682" y="6020"/>
                      <a:pt x="1682" y="6020"/>
                    </a:cubicBezTo>
                    <a:cubicBezTo>
                      <a:pt x="1719" y="5951"/>
                      <a:pt x="1719" y="5951"/>
                      <a:pt x="1719" y="5951"/>
                    </a:cubicBezTo>
                    <a:cubicBezTo>
                      <a:pt x="1786" y="5984"/>
                      <a:pt x="1786" y="5984"/>
                      <a:pt x="1786" y="5984"/>
                    </a:cubicBezTo>
                    <a:cubicBezTo>
                      <a:pt x="1815" y="5930"/>
                      <a:pt x="1815" y="5930"/>
                      <a:pt x="1815" y="5930"/>
                    </a:cubicBezTo>
                    <a:cubicBezTo>
                      <a:pt x="1801" y="5922"/>
                      <a:pt x="1801" y="5922"/>
                      <a:pt x="1801" y="5922"/>
                    </a:cubicBezTo>
                    <a:cubicBezTo>
                      <a:pt x="1827" y="5864"/>
                      <a:pt x="1827" y="5864"/>
                      <a:pt x="1827" y="5864"/>
                    </a:cubicBezTo>
                    <a:cubicBezTo>
                      <a:pt x="1720" y="5801"/>
                      <a:pt x="1720" y="5801"/>
                      <a:pt x="1720" y="5801"/>
                    </a:cubicBezTo>
                    <a:cubicBezTo>
                      <a:pt x="1795" y="5661"/>
                      <a:pt x="1795" y="5661"/>
                      <a:pt x="1795" y="5661"/>
                    </a:cubicBezTo>
                    <a:cubicBezTo>
                      <a:pt x="1814" y="5667"/>
                      <a:pt x="1814" y="5667"/>
                      <a:pt x="1814" y="5667"/>
                    </a:cubicBezTo>
                    <a:cubicBezTo>
                      <a:pt x="1838" y="5627"/>
                      <a:pt x="1838" y="5627"/>
                      <a:pt x="1838" y="5627"/>
                    </a:cubicBezTo>
                    <a:cubicBezTo>
                      <a:pt x="1742" y="5571"/>
                      <a:pt x="1742" y="5571"/>
                      <a:pt x="1742" y="5571"/>
                    </a:cubicBezTo>
                    <a:cubicBezTo>
                      <a:pt x="1824" y="5430"/>
                      <a:pt x="1824" y="5430"/>
                      <a:pt x="1824" y="5430"/>
                    </a:cubicBezTo>
                    <a:cubicBezTo>
                      <a:pt x="1840" y="5438"/>
                      <a:pt x="1840" y="5438"/>
                      <a:pt x="1840" y="5438"/>
                    </a:cubicBezTo>
                    <a:cubicBezTo>
                      <a:pt x="1862" y="5401"/>
                      <a:pt x="1862" y="5401"/>
                      <a:pt x="1862" y="5401"/>
                    </a:cubicBezTo>
                    <a:cubicBezTo>
                      <a:pt x="1840" y="5387"/>
                      <a:pt x="1840" y="5387"/>
                      <a:pt x="1840" y="5387"/>
                    </a:cubicBezTo>
                    <a:cubicBezTo>
                      <a:pt x="1922" y="5247"/>
                      <a:pt x="1922" y="5247"/>
                      <a:pt x="1922" y="5247"/>
                    </a:cubicBezTo>
                    <a:cubicBezTo>
                      <a:pt x="1939" y="5253"/>
                      <a:pt x="1939" y="5253"/>
                      <a:pt x="1939" y="5253"/>
                    </a:cubicBezTo>
                    <a:cubicBezTo>
                      <a:pt x="1965" y="5209"/>
                      <a:pt x="1965" y="5209"/>
                      <a:pt x="1965" y="5209"/>
                    </a:cubicBezTo>
                    <a:cubicBezTo>
                      <a:pt x="2070" y="5269"/>
                      <a:pt x="2070" y="5269"/>
                      <a:pt x="2070" y="5269"/>
                    </a:cubicBezTo>
                    <a:cubicBezTo>
                      <a:pt x="2038" y="5327"/>
                      <a:pt x="2038" y="5327"/>
                      <a:pt x="2038" y="5327"/>
                    </a:cubicBezTo>
                    <a:cubicBezTo>
                      <a:pt x="2019" y="5321"/>
                      <a:pt x="2019" y="5321"/>
                      <a:pt x="2019" y="5321"/>
                    </a:cubicBezTo>
                    <a:cubicBezTo>
                      <a:pt x="1989" y="5376"/>
                      <a:pt x="1989" y="5376"/>
                      <a:pt x="1989" y="5376"/>
                    </a:cubicBezTo>
                    <a:cubicBezTo>
                      <a:pt x="2053" y="5413"/>
                      <a:pt x="2053" y="5413"/>
                      <a:pt x="2053" y="5413"/>
                    </a:cubicBezTo>
                    <a:cubicBezTo>
                      <a:pt x="2016" y="5483"/>
                      <a:pt x="2016" y="5483"/>
                      <a:pt x="2016" y="5483"/>
                    </a:cubicBezTo>
                    <a:cubicBezTo>
                      <a:pt x="1971" y="5460"/>
                      <a:pt x="1971" y="5460"/>
                      <a:pt x="1971" y="5460"/>
                    </a:cubicBezTo>
                    <a:cubicBezTo>
                      <a:pt x="1941" y="5513"/>
                      <a:pt x="1941" y="5513"/>
                      <a:pt x="1941" y="5513"/>
                    </a:cubicBezTo>
                    <a:cubicBezTo>
                      <a:pt x="1921" y="5506"/>
                      <a:pt x="1921" y="5506"/>
                      <a:pt x="1921" y="5506"/>
                    </a:cubicBezTo>
                    <a:cubicBezTo>
                      <a:pt x="1892" y="5561"/>
                      <a:pt x="1892" y="5561"/>
                      <a:pt x="1892" y="5561"/>
                    </a:cubicBezTo>
                    <a:cubicBezTo>
                      <a:pt x="1956" y="5596"/>
                      <a:pt x="1956" y="5596"/>
                      <a:pt x="1956" y="5596"/>
                    </a:cubicBezTo>
                    <a:cubicBezTo>
                      <a:pt x="1917" y="5667"/>
                      <a:pt x="1917" y="5667"/>
                      <a:pt x="1917" y="5667"/>
                    </a:cubicBezTo>
                    <a:cubicBezTo>
                      <a:pt x="1950" y="5682"/>
                      <a:pt x="1950" y="5682"/>
                      <a:pt x="1950" y="5682"/>
                    </a:cubicBezTo>
                    <a:cubicBezTo>
                      <a:pt x="1918" y="5744"/>
                      <a:pt x="1918" y="5744"/>
                      <a:pt x="1918" y="5744"/>
                    </a:cubicBezTo>
                    <a:cubicBezTo>
                      <a:pt x="1896" y="5734"/>
                      <a:pt x="1896" y="5734"/>
                      <a:pt x="1896" y="5734"/>
                    </a:cubicBezTo>
                    <a:cubicBezTo>
                      <a:pt x="1864" y="5788"/>
                      <a:pt x="1864" y="5788"/>
                      <a:pt x="1864" y="5788"/>
                    </a:cubicBezTo>
                    <a:cubicBezTo>
                      <a:pt x="1934" y="5826"/>
                      <a:pt x="1934" y="5826"/>
                      <a:pt x="1934" y="5826"/>
                    </a:cubicBezTo>
                    <a:cubicBezTo>
                      <a:pt x="1896" y="5892"/>
                      <a:pt x="1896" y="5892"/>
                      <a:pt x="1896" y="5892"/>
                    </a:cubicBezTo>
                    <a:cubicBezTo>
                      <a:pt x="1940" y="5916"/>
                      <a:pt x="1940" y="5916"/>
                      <a:pt x="1940" y="5916"/>
                    </a:cubicBezTo>
                    <a:cubicBezTo>
                      <a:pt x="1916" y="5961"/>
                      <a:pt x="1916" y="5961"/>
                      <a:pt x="1916" y="5961"/>
                    </a:cubicBezTo>
                    <a:cubicBezTo>
                      <a:pt x="1933" y="5974"/>
                      <a:pt x="1933" y="5974"/>
                      <a:pt x="1933" y="5974"/>
                    </a:cubicBezTo>
                    <a:lnTo>
                      <a:pt x="1856" y="6114"/>
                    </a:lnTo>
                    <a:close/>
                    <a:moveTo>
                      <a:pt x="1850" y="6095"/>
                    </a:moveTo>
                    <a:cubicBezTo>
                      <a:pt x="1915" y="5978"/>
                      <a:pt x="1915" y="5978"/>
                      <a:pt x="1915" y="5978"/>
                    </a:cubicBezTo>
                    <a:cubicBezTo>
                      <a:pt x="1908" y="5972"/>
                      <a:pt x="1908" y="5972"/>
                      <a:pt x="1908" y="5972"/>
                    </a:cubicBezTo>
                    <a:cubicBezTo>
                      <a:pt x="1899" y="5965"/>
                      <a:pt x="1899" y="5965"/>
                      <a:pt x="1899" y="5965"/>
                    </a:cubicBezTo>
                    <a:cubicBezTo>
                      <a:pt x="1904" y="5954"/>
                      <a:pt x="1904" y="5954"/>
                      <a:pt x="1904" y="5954"/>
                    </a:cubicBezTo>
                    <a:cubicBezTo>
                      <a:pt x="1921" y="5922"/>
                      <a:pt x="1921" y="5922"/>
                      <a:pt x="1921" y="5922"/>
                    </a:cubicBezTo>
                    <a:cubicBezTo>
                      <a:pt x="1889" y="5905"/>
                      <a:pt x="1889" y="5905"/>
                      <a:pt x="1889" y="5905"/>
                    </a:cubicBezTo>
                    <a:cubicBezTo>
                      <a:pt x="1877" y="5898"/>
                      <a:pt x="1877" y="5898"/>
                      <a:pt x="1877" y="5898"/>
                    </a:cubicBezTo>
                    <a:cubicBezTo>
                      <a:pt x="1884" y="5885"/>
                      <a:pt x="1884" y="5885"/>
                      <a:pt x="1884" y="5885"/>
                    </a:cubicBezTo>
                    <a:cubicBezTo>
                      <a:pt x="1915" y="5831"/>
                      <a:pt x="1915" y="5831"/>
                      <a:pt x="1915" y="5831"/>
                    </a:cubicBezTo>
                    <a:cubicBezTo>
                      <a:pt x="1858" y="5800"/>
                      <a:pt x="1858" y="5800"/>
                      <a:pt x="1858" y="5800"/>
                    </a:cubicBezTo>
                    <a:cubicBezTo>
                      <a:pt x="1845" y="5793"/>
                      <a:pt x="1845" y="5793"/>
                      <a:pt x="1845" y="5793"/>
                    </a:cubicBezTo>
                    <a:cubicBezTo>
                      <a:pt x="1852" y="5781"/>
                      <a:pt x="1852" y="5781"/>
                      <a:pt x="1852" y="5781"/>
                    </a:cubicBezTo>
                    <a:cubicBezTo>
                      <a:pt x="1884" y="5727"/>
                      <a:pt x="1884" y="5727"/>
                      <a:pt x="1884" y="5727"/>
                    </a:cubicBezTo>
                    <a:cubicBezTo>
                      <a:pt x="1890" y="5717"/>
                      <a:pt x="1890" y="5717"/>
                      <a:pt x="1890" y="5717"/>
                    </a:cubicBezTo>
                    <a:cubicBezTo>
                      <a:pt x="1901" y="5721"/>
                      <a:pt x="1901" y="5721"/>
                      <a:pt x="1901" y="5721"/>
                    </a:cubicBezTo>
                    <a:cubicBezTo>
                      <a:pt x="1912" y="5726"/>
                      <a:pt x="1912" y="5726"/>
                      <a:pt x="1912" y="5726"/>
                    </a:cubicBezTo>
                    <a:cubicBezTo>
                      <a:pt x="1931" y="5689"/>
                      <a:pt x="1931" y="5689"/>
                      <a:pt x="1931" y="5689"/>
                    </a:cubicBezTo>
                    <a:cubicBezTo>
                      <a:pt x="1912" y="5679"/>
                      <a:pt x="1912" y="5679"/>
                      <a:pt x="1912" y="5679"/>
                    </a:cubicBezTo>
                    <a:cubicBezTo>
                      <a:pt x="1898" y="5673"/>
                      <a:pt x="1898" y="5673"/>
                      <a:pt x="1898" y="5673"/>
                    </a:cubicBezTo>
                    <a:cubicBezTo>
                      <a:pt x="1905" y="5660"/>
                      <a:pt x="1905" y="5660"/>
                      <a:pt x="1905" y="5660"/>
                    </a:cubicBezTo>
                    <a:cubicBezTo>
                      <a:pt x="1937" y="5602"/>
                      <a:pt x="1937" y="5602"/>
                      <a:pt x="1937" y="5602"/>
                    </a:cubicBezTo>
                    <a:cubicBezTo>
                      <a:pt x="1885" y="5573"/>
                      <a:pt x="1885" y="5573"/>
                      <a:pt x="1885" y="5573"/>
                    </a:cubicBezTo>
                    <a:cubicBezTo>
                      <a:pt x="1873" y="5567"/>
                      <a:pt x="1873" y="5567"/>
                      <a:pt x="1873" y="5567"/>
                    </a:cubicBezTo>
                    <a:cubicBezTo>
                      <a:pt x="1879" y="5555"/>
                      <a:pt x="1879" y="5555"/>
                      <a:pt x="1879" y="5555"/>
                    </a:cubicBezTo>
                    <a:cubicBezTo>
                      <a:pt x="1908" y="5499"/>
                      <a:pt x="1908" y="5499"/>
                      <a:pt x="1908" y="5499"/>
                    </a:cubicBezTo>
                    <a:cubicBezTo>
                      <a:pt x="1914" y="5489"/>
                      <a:pt x="1914" y="5489"/>
                      <a:pt x="1914" y="5489"/>
                    </a:cubicBezTo>
                    <a:cubicBezTo>
                      <a:pt x="1925" y="5493"/>
                      <a:pt x="1925" y="5493"/>
                      <a:pt x="1925" y="5493"/>
                    </a:cubicBezTo>
                    <a:cubicBezTo>
                      <a:pt x="1935" y="5496"/>
                      <a:pt x="1935" y="5496"/>
                      <a:pt x="1935" y="5496"/>
                    </a:cubicBezTo>
                    <a:cubicBezTo>
                      <a:pt x="1959" y="5453"/>
                      <a:pt x="1959" y="5453"/>
                      <a:pt x="1959" y="5453"/>
                    </a:cubicBezTo>
                    <a:cubicBezTo>
                      <a:pt x="1965" y="5441"/>
                      <a:pt x="1965" y="5441"/>
                      <a:pt x="1965" y="5441"/>
                    </a:cubicBezTo>
                    <a:cubicBezTo>
                      <a:pt x="1977" y="5447"/>
                      <a:pt x="1977" y="5447"/>
                      <a:pt x="1977" y="5447"/>
                    </a:cubicBezTo>
                    <a:cubicBezTo>
                      <a:pt x="2010" y="5464"/>
                      <a:pt x="2010" y="5464"/>
                      <a:pt x="2010" y="5464"/>
                    </a:cubicBezTo>
                    <a:cubicBezTo>
                      <a:pt x="2034" y="5418"/>
                      <a:pt x="2034" y="5418"/>
                      <a:pt x="2034" y="5418"/>
                    </a:cubicBezTo>
                    <a:cubicBezTo>
                      <a:pt x="1982" y="5388"/>
                      <a:pt x="1982" y="5388"/>
                      <a:pt x="1982" y="5388"/>
                    </a:cubicBezTo>
                    <a:cubicBezTo>
                      <a:pt x="1970" y="5381"/>
                      <a:pt x="1970" y="5381"/>
                      <a:pt x="1970" y="5381"/>
                    </a:cubicBezTo>
                    <a:cubicBezTo>
                      <a:pt x="1977" y="5369"/>
                      <a:pt x="1977" y="5369"/>
                      <a:pt x="1977" y="5369"/>
                    </a:cubicBezTo>
                    <a:cubicBezTo>
                      <a:pt x="2007" y="5315"/>
                      <a:pt x="2007" y="5315"/>
                      <a:pt x="2007" y="5315"/>
                    </a:cubicBezTo>
                    <a:cubicBezTo>
                      <a:pt x="2012" y="5305"/>
                      <a:pt x="2012" y="5305"/>
                      <a:pt x="2012" y="5305"/>
                    </a:cubicBezTo>
                    <a:cubicBezTo>
                      <a:pt x="2023" y="5308"/>
                      <a:pt x="2023" y="5308"/>
                      <a:pt x="2023" y="5308"/>
                    </a:cubicBezTo>
                    <a:cubicBezTo>
                      <a:pt x="2032" y="5311"/>
                      <a:pt x="2032" y="5311"/>
                      <a:pt x="2032" y="5311"/>
                    </a:cubicBezTo>
                    <a:cubicBezTo>
                      <a:pt x="2051" y="5274"/>
                      <a:pt x="2051" y="5274"/>
                      <a:pt x="2051" y="5274"/>
                    </a:cubicBezTo>
                    <a:cubicBezTo>
                      <a:pt x="1970" y="5228"/>
                      <a:pt x="1970" y="5228"/>
                      <a:pt x="1970" y="5228"/>
                    </a:cubicBezTo>
                    <a:cubicBezTo>
                      <a:pt x="1951" y="5260"/>
                      <a:pt x="1951" y="5260"/>
                      <a:pt x="1951" y="5260"/>
                    </a:cubicBezTo>
                    <a:cubicBezTo>
                      <a:pt x="1945" y="5270"/>
                      <a:pt x="1945" y="5270"/>
                      <a:pt x="1945" y="5270"/>
                    </a:cubicBezTo>
                    <a:cubicBezTo>
                      <a:pt x="1934" y="5266"/>
                      <a:pt x="1934" y="5266"/>
                      <a:pt x="1934" y="5266"/>
                    </a:cubicBezTo>
                    <a:cubicBezTo>
                      <a:pt x="1928" y="5264"/>
                      <a:pt x="1928" y="5264"/>
                      <a:pt x="1928" y="5264"/>
                    </a:cubicBezTo>
                    <a:cubicBezTo>
                      <a:pt x="1858" y="5382"/>
                      <a:pt x="1858" y="5382"/>
                      <a:pt x="1858" y="5382"/>
                    </a:cubicBezTo>
                    <a:cubicBezTo>
                      <a:pt x="1870" y="5390"/>
                      <a:pt x="1870" y="5390"/>
                      <a:pt x="1870" y="5390"/>
                    </a:cubicBezTo>
                    <a:cubicBezTo>
                      <a:pt x="1881" y="5397"/>
                      <a:pt x="1881" y="5397"/>
                      <a:pt x="1881" y="5397"/>
                    </a:cubicBezTo>
                    <a:cubicBezTo>
                      <a:pt x="1874" y="5409"/>
                      <a:pt x="1874" y="5409"/>
                      <a:pt x="1874" y="5409"/>
                    </a:cubicBezTo>
                    <a:cubicBezTo>
                      <a:pt x="1851" y="5445"/>
                      <a:pt x="1851" y="5445"/>
                      <a:pt x="1851" y="5445"/>
                    </a:cubicBezTo>
                    <a:cubicBezTo>
                      <a:pt x="1845" y="5457"/>
                      <a:pt x="1845" y="5457"/>
                      <a:pt x="1845" y="5457"/>
                    </a:cubicBezTo>
                    <a:cubicBezTo>
                      <a:pt x="1833" y="5450"/>
                      <a:pt x="1833" y="5450"/>
                      <a:pt x="1833" y="5450"/>
                    </a:cubicBezTo>
                    <a:cubicBezTo>
                      <a:pt x="1830" y="5449"/>
                      <a:pt x="1830" y="5449"/>
                      <a:pt x="1830" y="5449"/>
                    </a:cubicBezTo>
                    <a:cubicBezTo>
                      <a:pt x="1761" y="5566"/>
                      <a:pt x="1761" y="5566"/>
                      <a:pt x="1761" y="5566"/>
                    </a:cubicBezTo>
                    <a:cubicBezTo>
                      <a:pt x="1845" y="5615"/>
                      <a:pt x="1845" y="5615"/>
                      <a:pt x="1845" y="5615"/>
                    </a:cubicBezTo>
                    <a:cubicBezTo>
                      <a:pt x="1857" y="5622"/>
                      <a:pt x="1857" y="5622"/>
                      <a:pt x="1857" y="5622"/>
                    </a:cubicBezTo>
                    <a:cubicBezTo>
                      <a:pt x="1850" y="5634"/>
                      <a:pt x="1850" y="5634"/>
                      <a:pt x="1850" y="5634"/>
                    </a:cubicBezTo>
                    <a:cubicBezTo>
                      <a:pt x="1826" y="5674"/>
                      <a:pt x="1826" y="5674"/>
                      <a:pt x="1826" y="5674"/>
                    </a:cubicBezTo>
                    <a:cubicBezTo>
                      <a:pt x="1820" y="5684"/>
                      <a:pt x="1820" y="5684"/>
                      <a:pt x="1820" y="5684"/>
                    </a:cubicBezTo>
                    <a:cubicBezTo>
                      <a:pt x="1810" y="5680"/>
                      <a:pt x="1810" y="5680"/>
                      <a:pt x="1810" y="5680"/>
                    </a:cubicBezTo>
                    <a:cubicBezTo>
                      <a:pt x="1802" y="5677"/>
                      <a:pt x="1802" y="5677"/>
                      <a:pt x="1802" y="5677"/>
                    </a:cubicBezTo>
                    <a:cubicBezTo>
                      <a:pt x="1738" y="5796"/>
                      <a:pt x="1738" y="5796"/>
                      <a:pt x="1738" y="5796"/>
                    </a:cubicBezTo>
                    <a:cubicBezTo>
                      <a:pt x="1834" y="5851"/>
                      <a:pt x="1834" y="5851"/>
                      <a:pt x="1834" y="5851"/>
                    </a:cubicBezTo>
                    <a:cubicBezTo>
                      <a:pt x="1845" y="5858"/>
                      <a:pt x="1845" y="5858"/>
                      <a:pt x="1845" y="5858"/>
                    </a:cubicBezTo>
                    <a:cubicBezTo>
                      <a:pt x="1840" y="5869"/>
                      <a:pt x="1840" y="5869"/>
                      <a:pt x="1840" y="5869"/>
                    </a:cubicBezTo>
                    <a:cubicBezTo>
                      <a:pt x="1819" y="5916"/>
                      <a:pt x="1819" y="5916"/>
                      <a:pt x="1819" y="5916"/>
                    </a:cubicBezTo>
                    <a:cubicBezTo>
                      <a:pt x="1822" y="5918"/>
                      <a:pt x="1822" y="5918"/>
                      <a:pt x="1822" y="5918"/>
                    </a:cubicBezTo>
                    <a:cubicBezTo>
                      <a:pt x="1834" y="5925"/>
                      <a:pt x="1834" y="5925"/>
                      <a:pt x="1834" y="5925"/>
                    </a:cubicBezTo>
                    <a:cubicBezTo>
                      <a:pt x="1827" y="5937"/>
                      <a:pt x="1827" y="5937"/>
                      <a:pt x="1827" y="5937"/>
                    </a:cubicBezTo>
                    <a:cubicBezTo>
                      <a:pt x="1799" y="5991"/>
                      <a:pt x="1799" y="5991"/>
                      <a:pt x="1799" y="5991"/>
                    </a:cubicBezTo>
                    <a:cubicBezTo>
                      <a:pt x="1792" y="6003"/>
                      <a:pt x="1792" y="6003"/>
                      <a:pt x="1792" y="6003"/>
                    </a:cubicBezTo>
                    <a:cubicBezTo>
                      <a:pt x="1780" y="5997"/>
                      <a:pt x="1780" y="5997"/>
                      <a:pt x="1780" y="5997"/>
                    </a:cubicBezTo>
                    <a:cubicBezTo>
                      <a:pt x="1725" y="5969"/>
                      <a:pt x="1725" y="5969"/>
                      <a:pt x="1725" y="5969"/>
                    </a:cubicBezTo>
                    <a:cubicBezTo>
                      <a:pt x="1701" y="6015"/>
                      <a:pt x="1701" y="6015"/>
                      <a:pt x="1701" y="6015"/>
                    </a:cubicBezTo>
                    <a:lnTo>
                      <a:pt x="1850" y="6095"/>
                    </a:lnTo>
                    <a:close/>
                    <a:moveTo>
                      <a:pt x="3655" y="7174"/>
                    </a:moveTo>
                    <a:cubicBezTo>
                      <a:pt x="3479" y="7128"/>
                      <a:pt x="3479" y="7128"/>
                      <a:pt x="3479" y="7128"/>
                    </a:cubicBezTo>
                    <a:cubicBezTo>
                      <a:pt x="3494" y="7011"/>
                      <a:pt x="3494" y="7011"/>
                      <a:pt x="3494" y="7011"/>
                    </a:cubicBezTo>
                    <a:cubicBezTo>
                      <a:pt x="3617" y="7049"/>
                      <a:pt x="3617" y="7049"/>
                      <a:pt x="3617" y="7049"/>
                    </a:cubicBezTo>
                    <a:cubicBezTo>
                      <a:pt x="3628" y="6952"/>
                      <a:pt x="3628" y="6952"/>
                      <a:pt x="3628" y="6952"/>
                    </a:cubicBezTo>
                    <a:cubicBezTo>
                      <a:pt x="4175" y="7141"/>
                      <a:pt x="4175" y="7141"/>
                      <a:pt x="4175" y="7141"/>
                    </a:cubicBezTo>
                    <a:cubicBezTo>
                      <a:pt x="4155" y="7148"/>
                      <a:pt x="4155" y="7148"/>
                      <a:pt x="4155" y="7148"/>
                    </a:cubicBezTo>
                    <a:cubicBezTo>
                      <a:pt x="4019" y="7196"/>
                      <a:pt x="4019" y="7196"/>
                      <a:pt x="4019" y="7196"/>
                    </a:cubicBezTo>
                    <a:cubicBezTo>
                      <a:pt x="3820" y="7145"/>
                      <a:pt x="3820" y="7145"/>
                      <a:pt x="3820" y="7145"/>
                    </a:cubicBezTo>
                    <a:lnTo>
                      <a:pt x="3655" y="7174"/>
                    </a:lnTo>
                    <a:close/>
                    <a:moveTo>
                      <a:pt x="3495" y="7117"/>
                    </a:moveTo>
                    <a:cubicBezTo>
                      <a:pt x="3656" y="7159"/>
                      <a:pt x="3656" y="7159"/>
                      <a:pt x="3656" y="7159"/>
                    </a:cubicBezTo>
                    <a:cubicBezTo>
                      <a:pt x="3821" y="7130"/>
                      <a:pt x="3821" y="7130"/>
                      <a:pt x="3821" y="7130"/>
                    </a:cubicBezTo>
                    <a:cubicBezTo>
                      <a:pt x="4018" y="7180"/>
                      <a:pt x="4018" y="7180"/>
                      <a:pt x="4018" y="7180"/>
                    </a:cubicBezTo>
                    <a:cubicBezTo>
                      <a:pt x="4130" y="7142"/>
                      <a:pt x="4130" y="7142"/>
                      <a:pt x="4130" y="7142"/>
                    </a:cubicBezTo>
                    <a:cubicBezTo>
                      <a:pt x="3640" y="6972"/>
                      <a:pt x="3640" y="6972"/>
                      <a:pt x="3640" y="6972"/>
                    </a:cubicBezTo>
                    <a:cubicBezTo>
                      <a:pt x="3630" y="7068"/>
                      <a:pt x="3630" y="7068"/>
                      <a:pt x="3630" y="7068"/>
                    </a:cubicBezTo>
                    <a:cubicBezTo>
                      <a:pt x="3506" y="7030"/>
                      <a:pt x="3506" y="7030"/>
                      <a:pt x="3506" y="7030"/>
                    </a:cubicBezTo>
                    <a:lnTo>
                      <a:pt x="3495" y="7117"/>
                    </a:lnTo>
                    <a:close/>
                    <a:moveTo>
                      <a:pt x="4369" y="8170"/>
                    </a:moveTo>
                    <a:cubicBezTo>
                      <a:pt x="4308" y="8170"/>
                      <a:pt x="4308" y="8170"/>
                      <a:pt x="4308" y="8170"/>
                    </a:cubicBezTo>
                    <a:cubicBezTo>
                      <a:pt x="4308" y="8164"/>
                      <a:pt x="4308" y="8164"/>
                      <a:pt x="4308" y="8164"/>
                    </a:cubicBezTo>
                    <a:cubicBezTo>
                      <a:pt x="4308" y="8079"/>
                      <a:pt x="4308" y="8079"/>
                      <a:pt x="4308" y="8079"/>
                    </a:cubicBezTo>
                    <a:cubicBezTo>
                      <a:pt x="4353" y="8079"/>
                      <a:pt x="4353" y="8079"/>
                      <a:pt x="4353" y="8079"/>
                    </a:cubicBezTo>
                    <a:cubicBezTo>
                      <a:pt x="4353" y="8011"/>
                      <a:pt x="4353" y="8011"/>
                      <a:pt x="4353" y="8011"/>
                    </a:cubicBezTo>
                    <a:cubicBezTo>
                      <a:pt x="4429" y="8011"/>
                      <a:pt x="4429" y="8011"/>
                      <a:pt x="4429" y="8011"/>
                    </a:cubicBezTo>
                    <a:cubicBezTo>
                      <a:pt x="4429" y="8103"/>
                      <a:pt x="4429" y="8103"/>
                      <a:pt x="4429" y="8103"/>
                    </a:cubicBezTo>
                    <a:cubicBezTo>
                      <a:pt x="4384" y="8103"/>
                      <a:pt x="4384" y="8103"/>
                      <a:pt x="4384" y="8103"/>
                    </a:cubicBezTo>
                    <a:cubicBezTo>
                      <a:pt x="4384" y="8118"/>
                      <a:pt x="4384" y="8118"/>
                      <a:pt x="4384" y="8118"/>
                    </a:cubicBezTo>
                    <a:cubicBezTo>
                      <a:pt x="4445" y="8118"/>
                      <a:pt x="4445" y="8118"/>
                      <a:pt x="4445" y="8118"/>
                    </a:cubicBezTo>
                    <a:cubicBezTo>
                      <a:pt x="4445" y="8210"/>
                      <a:pt x="4445" y="8210"/>
                      <a:pt x="4445" y="8210"/>
                    </a:cubicBezTo>
                    <a:cubicBezTo>
                      <a:pt x="4369" y="8210"/>
                      <a:pt x="4369" y="8210"/>
                      <a:pt x="4369" y="8210"/>
                    </a:cubicBezTo>
                    <a:cubicBezTo>
                      <a:pt x="4369" y="8203"/>
                      <a:pt x="4369" y="8203"/>
                      <a:pt x="4369" y="8203"/>
                    </a:cubicBezTo>
                    <a:lnTo>
                      <a:pt x="4369" y="8170"/>
                    </a:lnTo>
                    <a:close/>
                    <a:moveTo>
                      <a:pt x="4384" y="8132"/>
                    </a:moveTo>
                    <a:cubicBezTo>
                      <a:pt x="4384" y="8170"/>
                      <a:pt x="4384" y="8170"/>
                      <a:pt x="4384" y="8170"/>
                    </a:cubicBezTo>
                    <a:cubicBezTo>
                      <a:pt x="4382" y="8170"/>
                      <a:pt x="4382" y="8170"/>
                      <a:pt x="4382" y="8170"/>
                    </a:cubicBezTo>
                    <a:cubicBezTo>
                      <a:pt x="4382" y="8197"/>
                      <a:pt x="4382" y="8197"/>
                      <a:pt x="4382" y="8197"/>
                    </a:cubicBezTo>
                    <a:cubicBezTo>
                      <a:pt x="4432" y="8197"/>
                      <a:pt x="4432" y="8197"/>
                      <a:pt x="4432" y="8197"/>
                    </a:cubicBezTo>
                    <a:cubicBezTo>
                      <a:pt x="4432" y="8132"/>
                      <a:pt x="4432" y="8132"/>
                      <a:pt x="4432" y="8132"/>
                    </a:cubicBezTo>
                    <a:lnTo>
                      <a:pt x="4384" y="8132"/>
                    </a:lnTo>
                    <a:close/>
                    <a:moveTo>
                      <a:pt x="4366" y="8079"/>
                    </a:moveTo>
                    <a:cubicBezTo>
                      <a:pt x="4384" y="8079"/>
                      <a:pt x="4384" y="8079"/>
                      <a:pt x="4384" y="8079"/>
                    </a:cubicBezTo>
                    <a:cubicBezTo>
                      <a:pt x="4384" y="8090"/>
                      <a:pt x="4384" y="8090"/>
                      <a:pt x="4384" y="8090"/>
                    </a:cubicBezTo>
                    <a:cubicBezTo>
                      <a:pt x="4416" y="8090"/>
                      <a:pt x="4416" y="8090"/>
                      <a:pt x="4416" y="8090"/>
                    </a:cubicBezTo>
                    <a:cubicBezTo>
                      <a:pt x="4416" y="8024"/>
                      <a:pt x="4416" y="8024"/>
                      <a:pt x="4416" y="8024"/>
                    </a:cubicBezTo>
                    <a:cubicBezTo>
                      <a:pt x="4366" y="8024"/>
                      <a:pt x="4366" y="8024"/>
                      <a:pt x="4366" y="8024"/>
                    </a:cubicBezTo>
                    <a:lnTo>
                      <a:pt x="4366" y="8079"/>
                    </a:lnTo>
                    <a:close/>
                    <a:moveTo>
                      <a:pt x="4369" y="8157"/>
                    </a:moveTo>
                    <a:cubicBezTo>
                      <a:pt x="4369" y="8118"/>
                      <a:pt x="4369" y="8118"/>
                      <a:pt x="4369" y="8118"/>
                    </a:cubicBezTo>
                    <a:cubicBezTo>
                      <a:pt x="4371" y="8118"/>
                      <a:pt x="4371" y="8118"/>
                      <a:pt x="4371" y="8118"/>
                    </a:cubicBezTo>
                    <a:cubicBezTo>
                      <a:pt x="4371" y="8103"/>
                      <a:pt x="4371" y="8103"/>
                      <a:pt x="4371" y="8103"/>
                    </a:cubicBezTo>
                    <a:cubicBezTo>
                      <a:pt x="4353" y="8103"/>
                      <a:pt x="4353" y="8103"/>
                      <a:pt x="4353" y="8103"/>
                    </a:cubicBezTo>
                    <a:cubicBezTo>
                      <a:pt x="4353" y="8096"/>
                      <a:pt x="4353" y="8096"/>
                      <a:pt x="4353" y="8096"/>
                    </a:cubicBezTo>
                    <a:cubicBezTo>
                      <a:pt x="4353" y="8092"/>
                      <a:pt x="4353" y="8092"/>
                      <a:pt x="4353" y="8092"/>
                    </a:cubicBezTo>
                    <a:cubicBezTo>
                      <a:pt x="4322" y="8092"/>
                      <a:pt x="4322" y="8092"/>
                      <a:pt x="4322" y="8092"/>
                    </a:cubicBezTo>
                    <a:cubicBezTo>
                      <a:pt x="4322" y="8157"/>
                      <a:pt x="4322" y="8157"/>
                      <a:pt x="4322" y="8157"/>
                    </a:cubicBezTo>
                    <a:lnTo>
                      <a:pt x="4369" y="8157"/>
                    </a:lnTo>
                    <a:close/>
                    <a:moveTo>
                      <a:pt x="7083" y="6232"/>
                    </a:moveTo>
                    <a:cubicBezTo>
                      <a:pt x="7213" y="6231"/>
                      <a:pt x="7213" y="6231"/>
                      <a:pt x="7213" y="6231"/>
                    </a:cubicBezTo>
                    <a:cubicBezTo>
                      <a:pt x="7212" y="6402"/>
                      <a:pt x="7212" y="6402"/>
                      <a:pt x="7212" y="6402"/>
                    </a:cubicBezTo>
                    <a:cubicBezTo>
                      <a:pt x="7125" y="6402"/>
                      <a:pt x="7125" y="6402"/>
                      <a:pt x="7125" y="6402"/>
                    </a:cubicBezTo>
                    <a:cubicBezTo>
                      <a:pt x="7125" y="6500"/>
                      <a:pt x="7125" y="6500"/>
                      <a:pt x="7125" y="6500"/>
                    </a:cubicBezTo>
                    <a:cubicBezTo>
                      <a:pt x="7002" y="6500"/>
                      <a:pt x="7002" y="6500"/>
                      <a:pt x="7002" y="6500"/>
                    </a:cubicBezTo>
                    <a:cubicBezTo>
                      <a:pt x="7000" y="6318"/>
                      <a:pt x="7000" y="6318"/>
                      <a:pt x="7000" y="6318"/>
                    </a:cubicBezTo>
                    <a:cubicBezTo>
                      <a:pt x="7083" y="6316"/>
                      <a:pt x="7083" y="6316"/>
                      <a:pt x="7083" y="6316"/>
                    </a:cubicBezTo>
                    <a:lnTo>
                      <a:pt x="7083" y="6232"/>
                    </a:lnTo>
                    <a:close/>
                    <a:moveTo>
                      <a:pt x="7096" y="6245"/>
                    </a:moveTo>
                    <a:cubicBezTo>
                      <a:pt x="7097" y="6329"/>
                      <a:pt x="7097" y="6329"/>
                      <a:pt x="7097" y="6329"/>
                    </a:cubicBezTo>
                    <a:cubicBezTo>
                      <a:pt x="7013" y="6331"/>
                      <a:pt x="7013" y="6331"/>
                      <a:pt x="7013" y="6331"/>
                    </a:cubicBezTo>
                    <a:cubicBezTo>
                      <a:pt x="7015" y="6487"/>
                      <a:pt x="7015" y="6487"/>
                      <a:pt x="7015" y="6487"/>
                    </a:cubicBezTo>
                    <a:cubicBezTo>
                      <a:pt x="7112" y="6487"/>
                      <a:pt x="7112" y="6487"/>
                      <a:pt x="7112" y="6487"/>
                    </a:cubicBezTo>
                    <a:cubicBezTo>
                      <a:pt x="7112" y="6389"/>
                      <a:pt x="7112" y="6389"/>
                      <a:pt x="7112" y="6389"/>
                    </a:cubicBezTo>
                    <a:cubicBezTo>
                      <a:pt x="7119" y="6389"/>
                      <a:pt x="7119" y="6389"/>
                      <a:pt x="7119" y="6389"/>
                    </a:cubicBezTo>
                    <a:cubicBezTo>
                      <a:pt x="7199" y="6388"/>
                      <a:pt x="7199" y="6388"/>
                      <a:pt x="7199" y="6388"/>
                    </a:cubicBezTo>
                    <a:cubicBezTo>
                      <a:pt x="7200" y="6244"/>
                      <a:pt x="7200" y="6244"/>
                      <a:pt x="7200" y="6244"/>
                    </a:cubicBezTo>
                    <a:lnTo>
                      <a:pt x="7096" y="6245"/>
                    </a:lnTo>
                    <a:close/>
                    <a:moveTo>
                      <a:pt x="5539" y="2111"/>
                    </a:moveTo>
                    <a:cubicBezTo>
                      <a:pt x="5396" y="2086"/>
                      <a:pt x="5396" y="2086"/>
                      <a:pt x="5396" y="2086"/>
                    </a:cubicBezTo>
                    <a:cubicBezTo>
                      <a:pt x="5408" y="2016"/>
                      <a:pt x="5408" y="2016"/>
                      <a:pt x="5408" y="2016"/>
                    </a:cubicBezTo>
                    <a:cubicBezTo>
                      <a:pt x="5557" y="2042"/>
                      <a:pt x="5557" y="2042"/>
                      <a:pt x="5557" y="2042"/>
                    </a:cubicBezTo>
                    <a:cubicBezTo>
                      <a:pt x="5545" y="2112"/>
                      <a:pt x="5545" y="2112"/>
                      <a:pt x="5545" y="2112"/>
                    </a:cubicBezTo>
                    <a:lnTo>
                      <a:pt x="5539" y="2111"/>
                    </a:lnTo>
                    <a:close/>
                    <a:moveTo>
                      <a:pt x="5535" y="2097"/>
                    </a:moveTo>
                    <a:cubicBezTo>
                      <a:pt x="5542" y="2052"/>
                      <a:pt x="5542" y="2052"/>
                      <a:pt x="5542" y="2052"/>
                    </a:cubicBezTo>
                    <a:cubicBezTo>
                      <a:pt x="5419" y="2030"/>
                      <a:pt x="5419" y="2030"/>
                      <a:pt x="5419" y="2030"/>
                    </a:cubicBezTo>
                    <a:cubicBezTo>
                      <a:pt x="5411" y="2076"/>
                      <a:pt x="5411" y="2076"/>
                      <a:pt x="5411" y="2076"/>
                    </a:cubicBezTo>
                    <a:lnTo>
                      <a:pt x="5535" y="2097"/>
                    </a:lnTo>
                    <a:close/>
                    <a:moveTo>
                      <a:pt x="4267" y="7742"/>
                    </a:moveTo>
                    <a:cubicBezTo>
                      <a:pt x="4368" y="7919"/>
                      <a:pt x="4368" y="7919"/>
                      <a:pt x="4368" y="7919"/>
                    </a:cubicBezTo>
                    <a:cubicBezTo>
                      <a:pt x="4362" y="7923"/>
                      <a:pt x="4362" y="7923"/>
                      <a:pt x="4362" y="7923"/>
                    </a:cubicBezTo>
                    <a:cubicBezTo>
                      <a:pt x="4287" y="7971"/>
                      <a:pt x="4287" y="7971"/>
                      <a:pt x="4287" y="7971"/>
                    </a:cubicBezTo>
                    <a:cubicBezTo>
                      <a:pt x="4242" y="7898"/>
                      <a:pt x="4242" y="7898"/>
                      <a:pt x="4242" y="7898"/>
                    </a:cubicBezTo>
                    <a:cubicBezTo>
                      <a:pt x="4158" y="7939"/>
                      <a:pt x="4158" y="7939"/>
                      <a:pt x="4158" y="7939"/>
                    </a:cubicBezTo>
                    <a:cubicBezTo>
                      <a:pt x="4088" y="7833"/>
                      <a:pt x="4088" y="7833"/>
                      <a:pt x="4088" y="7833"/>
                    </a:cubicBezTo>
                    <a:lnTo>
                      <a:pt x="4267" y="7742"/>
                    </a:lnTo>
                    <a:close/>
                    <a:moveTo>
                      <a:pt x="4348" y="7915"/>
                    </a:moveTo>
                    <a:cubicBezTo>
                      <a:pt x="4262" y="7762"/>
                      <a:pt x="4262" y="7762"/>
                      <a:pt x="4262" y="7762"/>
                    </a:cubicBezTo>
                    <a:cubicBezTo>
                      <a:pt x="4109" y="7838"/>
                      <a:pt x="4109" y="7838"/>
                      <a:pt x="4109" y="7838"/>
                    </a:cubicBezTo>
                    <a:cubicBezTo>
                      <a:pt x="4163" y="7920"/>
                      <a:pt x="4163" y="7920"/>
                      <a:pt x="4163" y="7920"/>
                    </a:cubicBezTo>
                    <a:cubicBezTo>
                      <a:pt x="4248" y="7879"/>
                      <a:pt x="4248" y="7879"/>
                      <a:pt x="4248" y="7879"/>
                    </a:cubicBezTo>
                    <a:cubicBezTo>
                      <a:pt x="4292" y="7950"/>
                      <a:pt x="4292" y="7950"/>
                      <a:pt x="4292" y="7950"/>
                    </a:cubicBezTo>
                    <a:lnTo>
                      <a:pt x="4348" y="7915"/>
                    </a:lnTo>
                    <a:close/>
                    <a:moveTo>
                      <a:pt x="4968" y="2889"/>
                    </a:moveTo>
                    <a:cubicBezTo>
                      <a:pt x="4957" y="2635"/>
                      <a:pt x="4957" y="2635"/>
                      <a:pt x="4957" y="2635"/>
                    </a:cubicBezTo>
                    <a:cubicBezTo>
                      <a:pt x="5041" y="2631"/>
                      <a:pt x="5041" y="2631"/>
                      <a:pt x="5041" y="2631"/>
                    </a:cubicBezTo>
                    <a:cubicBezTo>
                      <a:pt x="5052" y="2891"/>
                      <a:pt x="5052" y="2891"/>
                      <a:pt x="5052" y="2891"/>
                    </a:cubicBezTo>
                    <a:cubicBezTo>
                      <a:pt x="4968" y="2895"/>
                      <a:pt x="4968" y="2895"/>
                      <a:pt x="4968" y="2895"/>
                    </a:cubicBezTo>
                    <a:lnTo>
                      <a:pt x="4968" y="2889"/>
                    </a:lnTo>
                    <a:close/>
                    <a:moveTo>
                      <a:pt x="4970" y="2648"/>
                    </a:moveTo>
                    <a:cubicBezTo>
                      <a:pt x="4981" y="2881"/>
                      <a:pt x="4981" y="2881"/>
                      <a:pt x="4981" y="2881"/>
                    </a:cubicBezTo>
                    <a:cubicBezTo>
                      <a:pt x="5039" y="2879"/>
                      <a:pt x="5039" y="2879"/>
                      <a:pt x="5039" y="2879"/>
                    </a:cubicBezTo>
                    <a:cubicBezTo>
                      <a:pt x="5028" y="2645"/>
                      <a:pt x="5028" y="2645"/>
                      <a:pt x="5028" y="2645"/>
                    </a:cubicBezTo>
                    <a:lnTo>
                      <a:pt x="4970" y="2648"/>
                    </a:lnTo>
                    <a:close/>
                    <a:moveTo>
                      <a:pt x="3834" y="7523"/>
                    </a:moveTo>
                    <a:cubicBezTo>
                      <a:pt x="3879" y="7312"/>
                      <a:pt x="3879" y="7312"/>
                      <a:pt x="3879" y="7312"/>
                    </a:cubicBezTo>
                    <a:cubicBezTo>
                      <a:pt x="4016" y="7349"/>
                      <a:pt x="4016" y="7349"/>
                      <a:pt x="4016" y="7349"/>
                    </a:cubicBezTo>
                    <a:cubicBezTo>
                      <a:pt x="4010" y="7358"/>
                      <a:pt x="4010" y="7358"/>
                      <a:pt x="4010" y="7358"/>
                    </a:cubicBezTo>
                    <a:cubicBezTo>
                      <a:pt x="3892" y="7518"/>
                      <a:pt x="3892" y="7518"/>
                      <a:pt x="3892" y="7518"/>
                    </a:cubicBezTo>
                    <a:lnTo>
                      <a:pt x="3834" y="7523"/>
                    </a:lnTo>
                    <a:close/>
                    <a:moveTo>
                      <a:pt x="3852" y="7507"/>
                    </a:moveTo>
                    <a:cubicBezTo>
                      <a:pt x="3885" y="7504"/>
                      <a:pt x="3885" y="7504"/>
                      <a:pt x="3885" y="7504"/>
                    </a:cubicBezTo>
                    <a:cubicBezTo>
                      <a:pt x="3991" y="7358"/>
                      <a:pt x="3991" y="7358"/>
                      <a:pt x="3991" y="7358"/>
                    </a:cubicBezTo>
                    <a:cubicBezTo>
                      <a:pt x="3890" y="7330"/>
                      <a:pt x="3890" y="7330"/>
                      <a:pt x="3890" y="7330"/>
                    </a:cubicBezTo>
                    <a:lnTo>
                      <a:pt x="3852" y="7507"/>
                    </a:lnTo>
                    <a:close/>
                    <a:moveTo>
                      <a:pt x="5237" y="2836"/>
                    </a:moveTo>
                    <a:cubicBezTo>
                      <a:pt x="5226" y="2583"/>
                      <a:pt x="5226" y="2583"/>
                      <a:pt x="5226" y="2583"/>
                    </a:cubicBezTo>
                    <a:cubicBezTo>
                      <a:pt x="5310" y="2579"/>
                      <a:pt x="5310" y="2579"/>
                      <a:pt x="5310" y="2579"/>
                    </a:cubicBezTo>
                    <a:cubicBezTo>
                      <a:pt x="5321" y="2839"/>
                      <a:pt x="5321" y="2839"/>
                      <a:pt x="5321" y="2839"/>
                    </a:cubicBezTo>
                    <a:cubicBezTo>
                      <a:pt x="5237" y="2843"/>
                      <a:pt x="5237" y="2843"/>
                      <a:pt x="5237" y="2843"/>
                    </a:cubicBezTo>
                    <a:lnTo>
                      <a:pt x="5237" y="2836"/>
                    </a:lnTo>
                    <a:close/>
                    <a:moveTo>
                      <a:pt x="5239" y="2595"/>
                    </a:moveTo>
                    <a:cubicBezTo>
                      <a:pt x="5250" y="2829"/>
                      <a:pt x="5250" y="2829"/>
                      <a:pt x="5250" y="2829"/>
                    </a:cubicBezTo>
                    <a:cubicBezTo>
                      <a:pt x="5308" y="2826"/>
                      <a:pt x="5308" y="2826"/>
                      <a:pt x="5308" y="2826"/>
                    </a:cubicBezTo>
                    <a:cubicBezTo>
                      <a:pt x="5297" y="2593"/>
                      <a:pt x="5297" y="2593"/>
                      <a:pt x="5297" y="2593"/>
                    </a:cubicBezTo>
                    <a:lnTo>
                      <a:pt x="5239" y="2595"/>
                    </a:lnTo>
                    <a:close/>
                    <a:moveTo>
                      <a:pt x="5217" y="2235"/>
                    </a:moveTo>
                    <a:cubicBezTo>
                      <a:pt x="5311" y="2235"/>
                      <a:pt x="5311" y="2235"/>
                      <a:pt x="5311" y="2235"/>
                    </a:cubicBezTo>
                    <a:cubicBezTo>
                      <a:pt x="5310" y="2416"/>
                      <a:pt x="5310" y="2416"/>
                      <a:pt x="5310" y="2416"/>
                    </a:cubicBezTo>
                    <a:cubicBezTo>
                      <a:pt x="5303" y="2416"/>
                      <a:pt x="5303" y="2416"/>
                      <a:pt x="5303" y="2416"/>
                    </a:cubicBezTo>
                    <a:cubicBezTo>
                      <a:pt x="5216" y="2416"/>
                      <a:pt x="5216" y="2416"/>
                      <a:pt x="5216" y="2416"/>
                    </a:cubicBezTo>
                    <a:cubicBezTo>
                      <a:pt x="5216" y="2371"/>
                      <a:pt x="5216" y="2371"/>
                      <a:pt x="5216" y="2371"/>
                    </a:cubicBezTo>
                    <a:cubicBezTo>
                      <a:pt x="5154" y="2371"/>
                      <a:pt x="5154" y="2371"/>
                      <a:pt x="5154" y="2371"/>
                    </a:cubicBezTo>
                    <a:cubicBezTo>
                      <a:pt x="5155" y="2279"/>
                      <a:pt x="5155" y="2279"/>
                      <a:pt x="5155" y="2279"/>
                    </a:cubicBezTo>
                    <a:cubicBezTo>
                      <a:pt x="5217" y="2279"/>
                      <a:pt x="5217" y="2279"/>
                      <a:pt x="5217" y="2279"/>
                    </a:cubicBezTo>
                    <a:lnTo>
                      <a:pt x="5217" y="2235"/>
                    </a:lnTo>
                    <a:close/>
                    <a:moveTo>
                      <a:pt x="5230" y="2293"/>
                    </a:moveTo>
                    <a:cubicBezTo>
                      <a:pt x="5168" y="2292"/>
                      <a:pt x="5168" y="2292"/>
                      <a:pt x="5168" y="2292"/>
                    </a:cubicBezTo>
                    <a:cubicBezTo>
                      <a:pt x="5168" y="2358"/>
                      <a:pt x="5168" y="2358"/>
                      <a:pt x="5168" y="2358"/>
                    </a:cubicBezTo>
                    <a:cubicBezTo>
                      <a:pt x="5230" y="2358"/>
                      <a:pt x="5230" y="2358"/>
                      <a:pt x="5230" y="2358"/>
                    </a:cubicBezTo>
                    <a:cubicBezTo>
                      <a:pt x="5229" y="2403"/>
                      <a:pt x="5229" y="2403"/>
                      <a:pt x="5229" y="2403"/>
                    </a:cubicBezTo>
                    <a:cubicBezTo>
                      <a:pt x="5297" y="2403"/>
                      <a:pt x="5297" y="2403"/>
                      <a:pt x="5297" y="2403"/>
                    </a:cubicBezTo>
                    <a:cubicBezTo>
                      <a:pt x="5298" y="2248"/>
                      <a:pt x="5298" y="2248"/>
                      <a:pt x="5298" y="2248"/>
                    </a:cubicBezTo>
                    <a:cubicBezTo>
                      <a:pt x="5230" y="2248"/>
                      <a:pt x="5230" y="2248"/>
                      <a:pt x="5230" y="2248"/>
                    </a:cubicBezTo>
                    <a:lnTo>
                      <a:pt x="5230" y="2293"/>
                    </a:lnTo>
                    <a:close/>
                    <a:moveTo>
                      <a:pt x="5433" y="2489"/>
                    </a:moveTo>
                    <a:cubicBezTo>
                      <a:pt x="5584" y="2492"/>
                      <a:pt x="5584" y="2492"/>
                      <a:pt x="5584" y="2492"/>
                    </a:cubicBezTo>
                    <a:cubicBezTo>
                      <a:pt x="5583" y="2563"/>
                      <a:pt x="5583" y="2563"/>
                      <a:pt x="5583" y="2563"/>
                    </a:cubicBezTo>
                    <a:cubicBezTo>
                      <a:pt x="5577" y="2563"/>
                      <a:pt x="5577" y="2563"/>
                      <a:pt x="5577" y="2563"/>
                    </a:cubicBezTo>
                    <a:cubicBezTo>
                      <a:pt x="5432" y="2561"/>
                      <a:pt x="5432" y="2561"/>
                      <a:pt x="5432" y="2561"/>
                    </a:cubicBezTo>
                    <a:lnTo>
                      <a:pt x="5433" y="2489"/>
                    </a:lnTo>
                    <a:close/>
                    <a:moveTo>
                      <a:pt x="5445" y="2548"/>
                    </a:moveTo>
                    <a:cubicBezTo>
                      <a:pt x="5570" y="2550"/>
                      <a:pt x="5570" y="2550"/>
                      <a:pt x="5570" y="2550"/>
                    </a:cubicBezTo>
                    <a:cubicBezTo>
                      <a:pt x="5571" y="2504"/>
                      <a:pt x="5571" y="2504"/>
                      <a:pt x="5571" y="2504"/>
                    </a:cubicBezTo>
                    <a:cubicBezTo>
                      <a:pt x="5446" y="2502"/>
                      <a:pt x="5446" y="2502"/>
                      <a:pt x="5446" y="2502"/>
                    </a:cubicBezTo>
                    <a:lnTo>
                      <a:pt x="5445" y="2548"/>
                    </a:lnTo>
                    <a:close/>
                    <a:moveTo>
                      <a:pt x="2156" y="6260"/>
                    </a:moveTo>
                    <a:cubicBezTo>
                      <a:pt x="1995" y="5883"/>
                      <a:pt x="1995" y="5883"/>
                      <a:pt x="1995" y="5883"/>
                    </a:cubicBezTo>
                    <a:cubicBezTo>
                      <a:pt x="2101" y="5918"/>
                      <a:pt x="2101" y="5918"/>
                      <a:pt x="2101" y="5918"/>
                    </a:cubicBezTo>
                    <a:cubicBezTo>
                      <a:pt x="2178" y="6074"/>
                      <a:pt x="2178" y="6074"/>
                      <a:pt x="2178" y="6074"/>
                    </a:cubicBezTo>
                    <a:cubicBezTo>
                      <a:pt x="2270" y="6107"/>
                      <a:pt x="2270" y="6107"/>
                      <a:pt x="2270" y="6107"/>
                    </a:cubicBezTo>
                    <a:cubicBezTo>
                      <a:pt x="2303" y="6042"/>
                      <a:pt x="2303" y="6042"/>
                      <a:pt x="2303" y="6042"/>
                    </a:cubicBezTo>
                    <a:cubicBezTo>
                      <a:pt x="2472" y="6097"/>
                      <a:pt x="2472" y="6097"/>
                      <a:pt x="2472" y="6097"/>
                    </a:cubicBezTo>
                    <a:cubicBezTo>
                      <a:pt x="2469" y="6105"/>
                      <a:pt x="2469" y="6105"/>
                      <a:pt x="2469" y="6105"/>
                    </a:cubicBezTo>
                    <a:cubicBezTo>
                      <a:pt x="2405" y="6266"/>
                      <a:pt x="2405" y="6266"/>
                      <a:pt x="2405" y="6266"/>
                    </a:cubicBezTo>
                    <a:cubicBezTo>
                      <a:pt x="2364" y="6252"/>
                      <a:pt x="2364" y="6252"/>
                      <a:pt x="2364" y="6252"/>
                    </a:cubicBezTo>
                    <a:cubicBezTo>
                      <a:pt x="2337" y="6320"/>
                      <a:pt x="2337" y="6320"/>
                      <a:pt x="2337" y="6320"/>
                    </a:cubicBezTo>
                    <a:lnTo>
                      <a:pt x="2156" y="6260"/>
                    </a:lnTo>
                    <a:close/>
                    <a:moveTo>
                      <a:pt x="2021" y="5907"/>
                    </a:moveTo>
                    <a:cubicBezTo>
                      <a:pt x="2167" y="6248"/>
                      <a:pt x="2167" y="6248"/>
                      <a:pt x="2167" y="6248"/>
                    </a:cubicBezTo>
                    <a:cubicBezTo>
                      <a:pt x="2328" y="6301"/>
                      <a:pt x="2328" y="6301"/>
                      <a:pt x="2328" y="6301"/>
                    </a:cubicBezTo>
                    <a:cubicBezTo>
                      <a:pt x="2356" y="6234"/>
                      <a:pt x="2356" y="6234"/>
                      <a:pt x="2356" y="6234"/>
                    </a:cubicBezTo>
                    <a:cubicBezTo>
                      <a:pt x="2396" y="6247"/>
                      <a:pt x="2396" y="6247"/>
                      <a:pt x="2396" y="6247"/>
                    </a:cubicBezTo>
                    <a:cubicBezTo>
                      <a:pt x="2453" y="6106"/>
                      <a:pt x="2453" y="6106"/>
                      <a:pt x="2453" y="6106"/>
                    </a:cubicBezTo>
                    <a:cubicBezTo>
                      <a:pt x="2310" y="6060"/>
                      <a:pt x="2310" y="6060"/>
                      <a:pt x="2310" y="6060"/>
                    </a:cubicBezTo>
                    <a:cubicBezTo>
                      <a:pt x="2278" y="6125"/>
                      <a:pt x="2278" y="6125"/>
                      <a:pt x="2278" y="6125"/>
                    </a:cubicBezTo>
                    <a:cubicBezTo>
                      <a:pt x="2167" y="6086"/>
                      <a:pt x="2167" y="6086"/>
                      <a:pt x="2167" y="6086"/>
                    </a:cubicBezTo>
                    <a:cubicBezTo>
                      <a:pt x="2091" y="5930"/>
                      <a:pt x="2091" y="5930"/>
                      <a:pt x="2091" y="5930"/>
                    </a:cubicBezTo>
                    <a:lnTo>
                      <a:pt x="2021" y="5907"/>
                    </a:lnTo>
                    <a:close/>
                    <a:moveTo>
                      <a:pt x="5582" y="2682"/>
                    </a:moveTo>
                    <a:cubicBezTo>
                      <a:pt x="5596" y="2786"/>
                      <a:pt x="5596" y="2786"/>
                      <a:pt x="5596" y="2786"/>
                    </a:cubicBezTo>
                    <a:cubicBezTo>
                      <a:pt x="5449" y="2805"/>
                      <a:pt x="5449" y="2805"/>
                      <a:pt x="5449" y="2805"/>
                    </a:cubicBezTo>
                    <a:cubicBezTo>
                      <a:pt x="5448" y="2798"/>
                      <a:pt x="5448" y="2798"/>
                      <a:pt x="5448" y="2798"/>
                    </a:cubicBezTo>
                    <a:cubicBezTo>
                      <a:pt x="5436" y="2701"/>
                      <a:pt x="5436" y="2701"/>
                      <a:pt x="5436" y="2701"/>
                    </a:cubicBezTo>
                    <a:lnTo>
                      <a:pt x="5582" y="2682"/>
                    </a:lnTo>
                    <a:close/>
                    <a:moveTo>
                      <a:pt x="5581" y="2774"/>
                    </a:moveTo>
                    <a:cubicBezTo>
                      <a:pt x="5571" y="2697"/>
                      <a:pt x="5571" y="2697"/>
                      <a:pt x="5571" y="2697"/>
                    </a:cubicBezTo>
                    <a:cubicBezTo>
                      <a:pt x="5450" y="2712"/>
                      <a:pt x="5450" y="2712"/>
                      <a:pt x="5450" y="2712"/>
                    </a:cubicBezTo>
                    <a:cubicBezTo>
                      <a:pt x="5460" y="2790"/>
                      <a:pt x="5460" y="2790"/>
                      <a:pt x="5460" y="2790"/>
                    </a:cubicBezTo>
                    <a:lnTo>
                      <a:pt x="5581" y="2774"/>
                    </a:lnTo>
                    <a:close/>
                    <a:moveTo>
                      <a:pt x="5447" y="2325"/>
                    </a:moveTo>
                    <a:cubicBezTo>
                      <a:pt x="5596" y="2351"/>
                      <a:pt x="5596" y="2351"/>
                      <a:pt x="5596" y="2351"/>
                    </a:cubicBezTo>
                    <a:cubicBezTo>
                      <a:pt x="5584" y="2422"/>
                      <a:pt x="5584" y="2422"/>
                      <a:pt x="5584" y="2422"/>
                    </a:cubicBezTo>
                    <a:cubicBezTo>
                      <a:pt x="5578" y="2421"/>
                      <a:pt x="5578" y="2421"/>
                      <a:pt x="5578" y="2421"/>
                    </a:cubicBezTo>
                    <a:cubicBezTo>
                      <a:pt x="5435" y="2396"/>
                      <a:pt x="5435" y="2396"/>
                      <a:pt x="5435" y="2396"/>
                    </a:cubicBezTo>
                    <a:lnTo>
                      <a:pt x="5447" y="2325"/>
                    </a:lnTo>
                    <a:close/>
                    <a:moveTo>
                      <a:pt x="5450" y="2385"/>
                    </a:moveTo>
                    <a:cubicBezTo>
                      <a:pt x="5574" y="2407"/>
                      <a:pt x="5574" y="2407"/>
                      <a:pt x="5574" y="2407"/>
                    </a:cubicBezTo>
                    <a:cubicBezTo>
                      <a:pt x="5581" y="2362"/>
                      <a:pt x="5581" y="2362"/>
                      <a:pt x="5581" y="2362"/>
                    </a:cubicBezTo>
                    <a:cubicBezTo>
                      <a:pt x="5458" y="2340"/>
                      <a:pt x="5458" y="2340"/>
                      <a:pt x="5458" y="2340"/>
                    </a:cubicBezTo>
                    <a:lnTo>
                      <a:pt x="5450" y="2385"/>
                    </a:lnTo>
                    <a:close/>
                    <a:moveTo>
                      <a:pt x="5758" y="2923"/>
                    </a:moveTo>
                    <a:cubicBezTo>
                      <a:pt x="5906" y="2932"/>
                      <a:pt x="5906" y="2932"/>
                      <a:pt x="5906" y="2932"/>
                    </a:cubicBezTo>
                    <a:cubicBezTo>
                      <a:pt x="5899" y="3036"/>
                      <a:pt x="5899" y="3036"/>
                      <a:pt x="5899" y="3036"/>
                    </a:cubicBezTo>
                    <a:cubicBezTo>
                      <a:pt x="5752" y="3027"/>
                      <a:pt x="5752" y="3027"/>
                      <a:pt x="5752" y="3027"/>
                    </a:cubicBezTo>
                    <a:cubicBezTo>
                      <a:pt x="5752" y="3020"/>
                      <a:pt x="5752" y="3020"/>
                      <a:pt x="5752" y="3020"/>
                    </a:cubicBezTo>
                    <a:lnTo>
                      <a:pt x="5758" y="2923"/>
                    </a:lnTo>
                    <a:close/>
                    <a:moveTo>
                      <a:pt x="5765" y="3015"/>
                    </a:moveTo>
                    <a:cubicBezTo>
                      <a:pt x="5887" y="3022"/>
                      <a:pt x="5887" y="3022"/>
                      <a:pt x="5887" y="3022"/>
                    </a:cubicBezTo>
                    <a:cubicBezTo>
                      <a:pt x="5892" y="2944"/>
                      <a:pt x="5892" y="2944"/>
                      <a:pt x="5892" y="2944"/>
                    </a:cubicBezTo>
                    <a:cubicBezTo>
                      <a:pt x="5770" y="2936"/>
                      <a:pt x="5770" y="2936"/>
                      <a:pt x="5770" y="2936"/>
                    </a:cubicBezTo>
                    <a:lnTo>
                      <a:pt x="5765" y="3015"/>
                    </a:lnTo>
                    <a:close/>
                    <a:moveTo>
                      <a:pt x="5465" y="1244"/>
                    </a:moveTo>
                    <a:cubicBezTo>
                      <a:pt x="5614" y="1270"/>
                      <a:pt x="5614" y="1270"/>
                      <a:pt x="5614" y="1270"/>
                    </a:cubicBezTo>
                    <a:cubicBezTo>
                      <a:pt x="5602" y="1341"/>
                      <a:pt x="5602" y="1341"/>
                      <a:pt x="5602" y="1341"/>
                    </a:cubicBezTo>
                    <a:cubicBezTo>
                      <a:pt x="5596" y="1340"/>
                      <a:pt x="5596" y="1340"/>
                      <a:pt x="5596" y="1340"/>
                    </a:cubicBezTo>
                    <a:cubicBezTo>
                      <a:pt x="5453" y="1315"/>
                      <a:pt x="5453" y="1315"/>
                      <a:pt x="5453" y="1315"/>
                    </a:cubicBezTo>
                    <a:lnTo>
                      <a:pt x="5465" y="1244"/>
                    </a:lnTo>
                    <a:close/>
                    <a:moveTo>
                      <a:pt x="5468" y="1304"/>
                    </a:moveTo>
                    <a:cubicBezTo>
                      <a:pt x="5592" y="1326"/>
                      <a:pt x="5592" y="1326"/>
                      <a:pt x="5592" y="1326"/>
                    </a:cubicBezTo>
                    <a:cubicBezTo>
                      <a:pt x="5600" y="1281"/>
                      <a:pt x="5600" y="1281"/>
                      <a:pt x="5600" y="1281"/>
                    </a:cubicBezTo>
                    <a:cubicBezTo>
                      <a:pt x="5476" y="1259"/>
                      <a:pt x="5476" y="1259"/>
                      <a:pt x="5476" y="1259"/>
                    </a:cubicBezTo>
                    <a:lnTo>
                      <a:pt x="5468" y="1304"/>
                    </a:lnTo>
                    <a:close/>
                    <a:moveTo>
                      <a:pt x="5192" y="2991"/>
                    </a:moveTo>
                    <a:cubicBezTo>
                      <a:pt x="5209" y="3095"/>
                      <a:pt x="5209" y="3095"/>
                      <a:pt x="5209" y="3095"/>
                    </a:cubicBezTo>
                    <a:cubicBezTo>
                      <a:pt x="5063" y="3118"/>
                      <a:pt x="5063" y="3118"/>
                      <a:pt x="5063" y="3118"/>
                    </a:cubicBezTo>
                    <a:cubicBezTo>
                      <a:pt x="5061" y="3111"/>
                      <a:pt x="5061" y="3111"/>
                      <a:pt x="5061" y="3111"/>
                    </a:cubicBezTo>
                    <a:cubicBezTo>
                      <a:pt x="5046" y="3015"/>
                      <a:pt x="5046" y="3015"/>
                      <a:pt x="5046" y="3015"/>
                    </a:cubicBezTo>
                    <a:lnTo>
                      <a:pt x="5192" y="2991"/>
                    </a:lnTo>
                    <a:close/>
                    <a:moveTo>
                      <a:pt x="5194" y="3084"/>
                    </a:moveTo>
                    <a:cubicBezTo>
                      <a:pt x="5181" y="3006"/>
                      <a:pt x="5181" y="3006"/>
                      <a:pt x="5181" y="3006"/>
                    </a:cubicBezTo>
                    <a:cubicBezTo>
                      <a:pt x="5061" y="3025"/>
                      <a:pt x="5061" y="3025"/>
                      <a:pt x="5061" y="3025"/>
                    </a:cubicBezTo>
                    <a:cubicBezTo>
                      <a:pt x="5073" y="3103"/>
                      <a:pt x="5073" y="3103"/>
                      <a:pt x="5073" y="3103"/>
                    </a:cubicBezTo>
                    <a:lnTo>
                      <a:pt x="5194" y="3084"/>
                    </a:lnTo>
                    <a:close/>
                    <a:moveTo>
                      <a:pt x="5364" y="3576"/>
                    </a:moveTo>
                    <a:cubicBezTo>
                      <a:pt x="5318" y="3585"/>
                      <a:pt x="5318" y="3585"/>
                      <a:pt x="5318" y="3585"/>
                    </a:cubicBezTo>
                    <a:cubicBezTo>
                      <a:pt x="5326" y="3627"/>
                      <a:pt x="5326" y="3627"/>
                      <a:pt x="5326" y="3627"/>
                    </a:cubicBezTo>
                    <a:cubicBezTo>
                      <a:pt x="5212" y="3650"/>
                      <a:pt x="5212" y="3650"/>
                      <a:pt x="5212" y="3650"/>
                    </a:cubicBezTo>
                    <a:cubicBezTo>
                      <a:pt x="5203" y="3608"/>
                      <a:pt x="5203" y="3608"/>
                      <a:pt x="5203" y="3608"/>
                    </a:cubicBezTo>
                    <a:cubicBezTo>
                      <a:pt x="5157" y="3617"/>
                      <a:pt x="5157" y="3617"/>
                      <a:pt x="5157" y="3617"/>
                    </a:cubicBezTo>
                    <a:cubicBezTo>
                      <a:pt x="5140" y="3532"/>
                      <a:pt x="5140" y="3532"/>
                      <a:pt x="5140" y="3532"/>
                    </a:cubicBezTo>
                    <a:cubicBezTo>
                      <a:pt x="5347" y="3491"/>
                      <a:pt x="5347" y="3491"/>
                      <a:pt x="5347" y="3491"/>
                    </a:cubicBezTo>
                    <a:cubicBezTo>
                      <a:pt x="5348" y="3498"/>
                      <a:pt x="5348" y="3498"/>
                      <a:pt x="5348" y="3498"/>
                    </a:cubicBezTo>
                    <a:lnTo>
                      <a:pt x="5364" y="3576"/>
                    </a:lnTo>
                    <a:close/>
                    <a:moveTo>
                      <a:pt x="5302" y="3575"/>
                    </a:moveTo>
                    <a:cubicBezTo>
                      <a:pt x="5348" y="3565"/>
                      <a:pt x="5348" y="3565"/>
                      <a:pt x="5348" y="3565"/>
                    </a:cubicBezTo>
                    <a:cubicBezTo>
                      <a:pt x="5336" y="3507"/>
                      <a:pt x="5336" y="3507"/>
                      <a:pt x="5336" y="3507"/>
                    </a:cubicBezTo>
                    <a:cubicBezTo>
                      <a:pt x="5156" y="3543"/>
                      <a:pt x="5156" y="3543"/>
                      <a:pt x="5156" y="3543"/>
                    </a:cubicBezTo>
                    <a:cubicBezTo>
                      <a:pt x="5167" y="3602"/>
                      <a:pt x="5167" y="3602"/>
                      <a:pt x="5167" y="3602"/>
                    </a:cubicBezTo>
                    <a:cubicBezTo>
                      <a:pt x="5213" y="3592"/>
                      <a:pt x="5213" y="3592"/>
                      <a:pt x="5213" y="3592"/>
                    </a:cubicBezTo>
                    <a:cubicBezTo>
                      <a:pt x="5222" y="3635"/>
                      <a:pt x="5222" y="3635"/>
                      <a:pt x="5222" y="3635"/>
                    </a:cubicBezTo>
                    <a:cubicBezTo>
                      <a:pt x="5311" y="3617"/>
                      <a:pt x="5311" y="3617"/>
                      <a:pt x="5311" y="3617"/>
                    </a:cubicBezTo>
                    <a:lnTo>
                      <a:pt x="5302" y="3575"/>
                    </a:lnTo>
                    <a:close/>
                    <a:moveTo>
                      <a:pt x="6858" y="4595"/>
                    </a:moveTo>
                    <a:cubicBezTo>
                      <a:pt x="6933" y="4602"/>
                      <a:pt x="6933" y="4602"/>
                      <a:pt x="6933" y="4602"/>
                    </a:cubicBezTo>
                    <a:cubicBezTo>
                      <a:pt x="6926" y="4678"/>
                      <a:pt x="6926" y="4678"/>
                      <a:pt x="6926" y="4678"/>
                    </a:cubicBezTo>
                    <a:cubicBezTo>
                      <a:pt x="6920" y="4677"/>
                      <a:pt x="6920" y="4677"/>
                      <a:pt x="6920" y="4677"/>
                    </a:cubicBezTo>
                    <a:cubicBezTo>
                      <a:pt x="6729" y="4657"/>
                      <a:pt x="6729" y="4657"/>
                      <a:pt x="6729" y="4657"/>
                    </a:cubicBezTo>
                    <a:cubicBezTo>
                      <a:pt x="6733" y="4608"/>
                      <a:pt x="6733" y="4608"/>
                      <a:pt x="6733" y="4608"/>
                    </a:cubicBezTo>
                    <a:cubicBezTo>
                      <a:pt x="6722" y="4607"/>
                      <a:pt x="6722" y="4607"/>
                      <a:pt x="6722" y="4607"/>
                    </a:cubicBezTo>
                    <a:cubicBezTo>
                      <a:pt x="6715" y="4606"/>
                      <a:pt x="6715" y="4606"/>
                      <a:pt x="6715" y="4606"/>
                    </a:cubicBezTo>
                    <a:cubicBezTo>
                      <a:pt x="6724" y="4510"/>
                      <a:pt x="6724" y="4510"/>
                      <a:pt x="6724" y="4510"/>
                    </a:cubicBezTo>
                    <a:cubicBezTo>
                      <a:pt x="6864" y="4523"/>
                      <a:pt x="6864" y="4523"/>
                      <a:pt x="6864" y="4523"/>
                    </a:cubicBezTo>
                    <a:lnTo>
                      <a:pt x="6858" y="4595"/>
                    </a:lnTo>
                    <a:close/>
                    <a:moveTo>
                      <a:pt x="6844" y="4607"/>
                    </a:moveTo>
                    <a:cubicBezTo>
                      <a:pt x="6850" y="4535"/>
                      <a:pt x="6850" y="4535"/>
                      <a:pt x="6850" y="4535"/>
                    </a:cubicBezTo>
                    <a:cubicBezTo>
                      <a:pt x="6736" y="4524"/>
                      <a:pt x="6736" y="4524"/>
                      <a:pt x="6736" y="4524"/>
                    </a:cubicBezTo>
                    <a:cubicBezTo>
                      <a:pt x="6729" y="4594"/>
                      <a:pt x="6729" y="4594"/>
                      <a:pt x="6729" y="4594"/>
                    </a:cubicBezTo>
                    <a:cubicBezTo>
                      <a:pt x="6741" y="4595"/>
                      <a:pt x="6741" y="4595"/>
                      <a:pt x="6741" y="4595"/>
                    </a:cubicBezTo>
                    <a:cubicBezTo>
                      <a:pt x="6748" y="4596"/>
                      <a:pt x="6748" y="4596"/>
                      <a:pt x="6748" y="4596"/>
                    </a:cubicBezTo>
                    <a:cubicBezTo>
                      <a:pt x="6743" y="4645"/>
                      <a:pt x="6743" y="4645"/>
                      <a:pt x="6743" y="4645"/>
                    </a:cubicBezTo>
                    <a:cubicBezTo>
                      <a:pt x="6914" y="4664"/>
                      <a:pt x="6914" y="4664"/>
                      <a:pt x="6914" y="4664"/>
                    </a:cubicBezTo>
                    <a:cubicBezTo>
                      <a:pt x="6919" y="4614"/>
                      <a:pt x="6919" y="4614"/>
                      <a:pt x="6919" y="4614"/>
                    </a:cubicBezTo>
                    <a:lnTo>
                      <a:pt x="6844" y="4607"/>
                    </a:lnTo>
                    <a:close/>
                    <a:moveTo>
                      <a:pt x="5466" y="1946"/>
                    </a:moveTo>
                    <a:cubicBezTo>
                      <a:pt x="5323" y="1921"/>
                      <a:pt x="5323" y="1921"/>
                      <a:pt x="5323" y="1921"/>
                    </a:cubicBezTo>
                    <a:cubicBezTo>
                      <a:pt x="5335" y="1851"/>
                      <a:pt x="5335" y="1851"/>
                      <a:pt x="5335" y="1851"/>
                    </a:cubicBezTo>
                    <a:cubicBezTo>
                      <a:pt x="5484" y="1877"/>
                      <a:pt x="5484" y="1877"/>
                      <a:pt x="5484" y="1877"/>
                    </a:cubicBezTo>
                    <a:cubicBezTo>
                      <a:pt x="5472" y="1947"/>
                      <a:pt x="5472" y="1947"/>
                      <a:pt x="5472" y="1947"/>
                    </a:cubicBezTo>
                    <a:lnTo>
                      <a:pt x="5466" y="1946"/>
                    </a:lnTo>
                    <a:close/>
                    <a:moveTo>
                      <a:pt x="5462" y="1932"/>
                    </a:moveTo>
                    <a:cubicBezTo>
                      <a:pt x="5470" y="1887"/>
                      <a:pt x="5470" y="1887"/>
                      <a:pt x="5470" y="1887"/>
                    </a:cubicBezTo>
                    <a:cubicBezTo>
                      <a:pt x="5346" y="1865"/>
                      <a:pt x="5346" y="1865"/>
                      <a:pt x="5346" y="1865"/>
                    </a:cubicBezTo>
                    <a:cubicBezTo>
                      <a:pt x="5338" y="1911"/>
                      <a:pt x="5338" y="1911"/>
                      <a:pt x="5338" y="1911"/>
                    </a:cubicBezTo>
                    <a:lnTo>
                      <a:pt x="5462" y="1932"/>
                    </a:lnTo>
                    <a:close/>
                    <a:moveTo>
                      <a:pt x="5327" y="3305"/>
                    </a:moveTo>
                    <a:cubicBezTo>
                      <a:pt x="5256" y="3322"/>
                      <a:pt x="5256" y="3322"/>
                      <a:pt x="5256" y="3322"/>
                    </a:cubicBezTo>
                    <a:cubicBezTo>
                      <a:pt x="5269" y="3377"/>
                      <a:pt x="5269" y="3377"/>
                      <a:pt x="5269" y="3377"/>
                    </a:cubicBezTo>
                    <a:cubicBezTo>
                      <a:pt x="5263" y="3379"/>
                      <a:pt x="5263" y="3379"/>
                      <a:pt x="5263" y="3379"/>
                    </a:cubicBezTo>
                    <a:cubicBezTo>
                      <a:pt x="5150" y="3409"/>
                      <a:pt x="5150" y="3409"/>
                      <a:pt x="5150" y="3409"/>
                    </a:cubicBezTo>
                    <a:cubicBezTo>
                      <a:pt x="5123" y="3295"/>
                      <a:pt x="5123" y="3295"/>
                      <a:pt x="5123" y="3295"/>
                    </a:cubicBezTo>
                    <a:cubicBezTo>
                      <a:pt x="5133" y="3292"/>
                      <a:pt x="5133" y="3292"/>
                      <a:pt x="5133" y="3292"/>
                    </a:cubicBezTo>
                    <a:cubicBezTo>
                      <a:pt x="5121" y="3241"/>
                      <a:pt x="5121" y="3241"/>
                      <a:pt x="5121" y="3241"/>
                    </a:cubicBezTo>
                    <a:cubicBezTo>
                      <a:pt x="5301" y="3198"/>
                      <a:pt x="5301" y="3198"/>
                      <a:pt x="5301" y="3198"/>
                    </a:cubicBezTo>
                    <a:lnTo>
                      <a:pt x="5327" y="3305"/>
                    </a:lnTo>
                    <a:close/>
                    <a:moveTo>
                      <a:pt x="5240" y="3312"/>
                    </a:moveTo>
                    <a:cubicBezTo>
                      <a:pt x="5311" y="3295"/>
                      <a:pt x="5311" y="3295"/>
                      <a:pt x="5311" y="3295"/>
                    </a:cubicBezTo>
                    <a:cubicBezTo>
                      <a:pt x="5291" y="3214"/>
                      <a:pt x="5291" y="3214"/>
                      <a:pt x="5291" y="3214"/>
                    </a:cubicBezTo>
                    <a:cubicBezTo>
                      <a:pt x="5136" y="3251"/>
                      <a:pt x="5136" y="3251"/>
                      <a:pt x="5136" y="3251"/>
                    </a:cubicBezTo>
                    <a:cubicBezTo>
                      <a:pt x="5149" y="3302"/>
                      <a:pt x="5149" y="3302"/>
                      <a:pt x="5149" y="3302"/>
                    </a:cubicBezTo>
                    <a:cubicBezTo>
                      <a:pt x="5139" y="3304"/>
                      <a:pt x="5139" y="3304"/>
                      <a:pt x="5139" y="3304"/>
                    </a:cubicBezTo>
                    <a:cubicBezTo>
                      <a:pt x="5160" y="3393"/>
                      <a:pt x="5160" y="3393"/>
                      <a:pt x="5160" y="3393"/>
                    </a:cubicBezTo>
                    <a:cubicBezTo>
                      <a:pt x="5253" y="3368"/>
                      <a:pt x="5253" y="3368"/>
                      <a:pt x="5253" y="3368"/>
                    </a:cubicBezTo>
                    <a:lnTo>
                      <a:pt x="5240" y="3312"/>
                    </a:lnTo>
                    <a:close/>
                    <a:moveTo>
                      <a:pt x="6884" y="4257"/>
                    </a:moveTo>
                    <a:cubicBezTo>
                      <a:pt x="6960" y="4264"/>
                      <a:pt x="6960" y="4264"/>
                      <a:pt x="6960" y="4264"/>
                    </a:cubicBezTo>
                    <a:cubicBezTo>
                      <a:pt x="6953" y="4340"/>
                      <a:pt x="6953" y="4340"/>
                      <a:pt x="6953" y="4340"/>
                    </a:cubicBezTo>
                    <a:cubicBezTo>
                      <a:pt x="6946" y="4339"/>
                      <a:pt x="6946" y="4339"/>
                      <a:pt x="6946" y="4339"/>
                    </a:cubicBezTo>
                    <a:cubicBezTo>
                      <a:pt x="6756" y="4319"/>
                      <a:pt x="6756" y="4319"/>
                      <a:pt x="6756" y="4319"/>
                    </a:cubicBezTo>
                    <a:cubicBezTo>
                      <a:pt x="6760" y="4270"/>
                      <a:pt x="6760" y="4270"/>
                      <a:pt x="6760" y="4270"/>
                    </a:cubicBezTo>
                    <a:cubicBezTo>
                      <a:pt x="6748" y="4269"/>
                      <a:pt x="6748" y="4269"/>
                      <a:pt x="6748" y="4269"/>
                    </a:cubicBezTo>
                    <a:cubicBezTo>
                      <a:pt x="6742" y="4268"/>
                      <a:pt x="6742" y="4268"/>
                      <a:pt x="6742" y="4268"/>
                    </a:cubicBezTo>
                    <a:cubicBezTo>
                      <a:pt x="6751" y="4172"/>
                      <a:pt x="6751" y="4172"/>
                      <a:pt x="6751" y="4172"/>
                    </a:cubicBezTo>
                    <a:cubicBezTo>
                      <a:pt x="6891" y="4185"/>
                      <a:pt x="6891" y="4185"/>
                      <a:pt x="6891" y="4185"/>
                    </a:cubicBezTo>
                    <a:lnTo>
                      <a:pt x="6884" y="4257"/>
                    </a:lnTo>
                    <a:close/>
                    <a:moveTo>
                      <a:pt x="6870" y="4269"/>
                    </a:moveTo>
                    <a:cubicBezTo>
                      <a:pt x="6877" y="4196"/>
                      <a:pt x="6877" y="4196"/>
                      <a:pt x="6877" y="4196"/>
                    </a:cubicBezTo>
                    <a:cubicBezTo>
                      <a:pt x="6763" y="4186"/>
                      <a:pt x="6763" y="4186"/>
                      <a:pt x="6763" y="4186"/>
                    </a:cubicBezTo>
                    <a:cubicBezTo>
                      <a:pt x="6756" y="4256"/>
                      <a:pt x="6756" y="4256"/>
                      <a:pt x="6756" y="4256"/>
                    </a:cubicBezTo>
                    <a:cubicBezTo>
                      <a:pt x="6768" y="4257"/>
                      <a:pt x="6768" y="4257"/>
                      <a:pt x="6768" y="4257"/>
                    </a:cubicBezTo>
                    <a:cubicBezTo>
                      <a:pt x="6774" y="4258"/>
                      <a:pt x="6774" y="4258"/>
                      <a:pt x="6774" y="4258"/>
                    </a:cubicBezTo>
                    <a:cubicBezTo>
                      <a:pt x="6770" y="4307"/>
                      <a:pt x="6770" y="4307"/>
                      <a:pt x="6770" y="4307"/>
                    </a:cubicBezTo>
                    <a:cubicBezTo>
                      <a:pt x="6941" y="4325"/>
                      <a:pt x="6941" y="4325"/>
                      <a:pt x="6941" y="4325"/>
                    </a:cubicBezTo>
                    <a:cubicBezTo>
                      <a:pt x="6946" y="4276"/>
                      <a:pt x="6946" y="4276"/>
                      <a:pt x="6946" y="4276"/>
                    </a:cubicBezTo>
                    <a:lnTo>
                      <a:pt x="6870" y="4269"/>
                    </a:lnTo>
                    <a:close/>
                    <a:moveTo>
                      <a:pt x="5207" y="1669"/>
                    </a:moveTo>
                    <a:cubicBezTo>
                      <a:pt x="5231" y="1770"/>
                      <a:pt x="5231" y="1770"/>
                      <a:pt x="5231" y="1770"/>
                    </a:cubicBezTo>
                    <a:cubicBezTo>
                      <a:pt x="5087" y="1804"/>
                      <a:pt x="5087" y="1804"/>
                      <a:pt x="5087" y="1804"/>
                    </a:cubicBezTo>
                    <a:cubicBezTo>
                      <a:pt x="5086" y="1798"/>
                      <a:pt x="5086" y="1798"/>
                      <a:pt x="5086" y="1798"/>
                    </a:cubicBezTo>
                    <a:cubicBezTo>
                      <a:pt x="5063" y="1703"/>
                      <a:pt x="5063" y="1703"/>
                      <a:pt x="5063" y="1703"/>
                    </a:cubicBezTo>
                    <a:lnTo>
                      <a:pt x="5207" y="1669"/>
                    </a:lnTo>
                    <a:close/>
                    <a:moveTo>
                      <a:pt x="5216" y="1761"/>
                    </a:moveTo>
                    <a:cubicBezTo>
                      <a:pt x="5197" y="1684"/>
                      <a:pt x="5197" y="1684"/>
                      <a:pt x="5197" y="1684"/>
                    </a:cubicBezTo>
                    <a:cubicBezTo>
                      <a:pt x="5079" y="1713"/>
                      <a:pt x="5079" y="1713"/>
                      <a:pt x="5079" y="1713"/>
                    </a:cubicBezTo>
                    <a:cubicBezTo>
                      <a:pt x="5097" y="1789"/>
                      <a:pt x="5097" y="1789"/>
                      <a:pt x="5097" y="1789"/>
                    </a:cubicBezTo>
                    <a:lnTo>
                      <a:pt x="5216" y="1761"/>
                    </a:lnTo>
                    <a:close/>
                    <a:moveTo>
                      <a:pt x="4789" y="1565"/>
                    </a:moveTo>
                    <a:cubicBezTo>
                      <a:pt x="4893" y="1566"/>
                      <a:pt x="4893" y="1566"/>
                      <a:pt x="4893" y="1566"/>
                    </a:cubicBezTo>
                    <a:cubicBezTo>
                      <a:pt x="4892" y="1714"/>
                      <a:pt x="4892" y="1714"/>
                      <a:pt x="4892" y="1714"/>
                    </a:cubicBezTo>
                    <a:cubicBezTo>
                      <a:pt x="4886" y="1714"/>
                      <a:pt x="4886" y="1714"/>
                      <a:pt x="4886" y="1714"/>
                    </a:cubicBezTo>
                    <a:cubicBezTo>
                      <a:pt x="4788" y="1713"/>
                      <a:pt x="4788" y="1713"/>
                      <a:pt x="4788" y="1713"/>
                    </a:cubicBezTo>
                    <a:lnTo>
                      <a:pt x="4789" y="1565"/>
                    </a:lnTo>
                    <a:close/>
                    <a:moveTo>
                      <a:pt x="4801" y="1701"/>
                    </a:moveTo>
                    <a:cubicBezTo>
                      <a:pt x="4879" y="1701"/>
                      <a:pt x="4879" y="1701"/>
                      <a:pt x="4879" y="1701"/>
                    </a:cubicBezTo>
                    <a:cubicBezTo>
                      <a:pt x="4880" y="1579"/>
                      <a:pt x="4880" y="1579"/>
                      <a:pt x="4880" y="1579"/>
                    </a:cubicBezTo>
                    <a:cubicBezTo>
                      <a:pt x="4802" y="1578"/>
                      <a:pt x="4802" y="1578"/>
                      <a:pt x="4802" y="1578"/>
                    </a:cubicBezTo>
                    <a:lnTo>
                      <a:pt x="4801" y="1701"/>
                    </a:lnTo>
                    <a:close/>
                    <a:moveTo>
                      <a:pt x="3935" y="2554"/>
                    </a:moveTo>
                    <a:cubicBezTo>
                      <a:pt x="3935" y="2554"/>
                      <a:pt x="3935" y="2554"/>
                      <a:pt x="3935" y="2554"/>
                    </a:cubicBezTo>
                    <a:cubicBezTo>
                      <a:pt x="3935" y="2554"/>
                      <a:pt x="3935" y="2554"/>
                      <a:pt x="3935" y="2554"/>
                    </a:cubicBezTo>
                    <a:close/>
                    <a:moveTo>
                      <a:pt x="983" y="4921"/>
                    </a:moveTo>
                    <a:cubicBezTo>
                      <a:pt x="1048" y="4858"/>
                      <a:pt x="1048" y="4858"/>
                      <a:pt x="1048" y="4858"/>
                    </a:cubicBezTo>
                    <a:cubicBezTo>
                      <a:pt x="1018" y="4810"/>
                      <a:pt x="1018" y="4810"/>
                      <a:pt x="1018" y="4810"/>
                    </a:cubicBezTo>
                    <a:cubicBezTo>
                      <a:pt x="1119" y="4795"/>
                      <a:pt x="1119" y="4795"/>
                      <a:pt x="1119" y="4795"/>
                    </a:cubicBezTo>
                    <a:cubicBezTo>
                      <a:pt x="1152" y="4831"/>
                      <a:pt x="1152" y="4831"/>
                      <a:pt x="1152" y="4831"/>
                    </a:cubicBezTo>
                    <a:cubicBezTo>
                      <a:pt x="1323" y="4810"/>
                      <a:pt x="1323" y="4810"/>
                      <a:pt x="1323" y="4810"/>
                    </a:cubicBezTo>
                    <a:cubicBezTo>
                      <a:pt x="1383" y="4936"/>
                      <a:pt x="1383" y="4936"/>
                      <a:pt x="1383" y="4936"/>
                    </a:cubicBezTo>
                    <a:cubicBezTo>
                      <a:pt x="1160" y="5156"/>
                      <a:pt x="1160" y="5156"/>
                      <a:pt x="1160" y="5156"/>
                    </a:cubicBezTo>
                    <a:lnTo>
                      <a:pt x="983" y="4921"/>
                    </a:lnTo>
                    <a:close/>
                    <a:moveTo>
                      <a:pt x="1066" y="4860"/>
                    </a:moveTo>
                    <a:cubicBezTo>
                      <a:pt x="1058" y="4868"/>
                      <a:pt x="1058" y="4868"/>
                      <a:pt x="1058" y="4868"/>
                    </a:cubicBezTo>
                    <a:cubicBezTo>
                      <a:pt x="1001" y="4922"/>
                      <a:pt x="1001" y="4922"/>
                      <a:pt x="1001" y="4922"/>
                    </a:cubicBezTo>
                    <a:cubicBezTo>
                      <a:pt x="1162" y="5135"/>
                      <a:pt x="1162" y="5135"/>
                      <a:pt x="1162" y="5135"/>
                    </a:cubicBezTo>
                    <a:cubicBezTo>
                      <a:pt x="1366" y="4933"/>
                      <a:pt x="1366" y="4933"/>
                      <a:pt x="1366" y="4933"/>
                    </a:cubicBezTo>
                    <a:cubicBezTo>
                      <a:pt x="1315" y="4825"/>
                      <a:pt x="1315" y="4825"/>
                      <a:pt x="1315" y="4825"/>
                    </a:cubicBezTo>
                    <a:cubicBezTo>
                      <a:pt x="1154" y="4845"/>
                      <a:pt x="1154" y="4845"/>
                      <a:pt x="1154" y="4845"/>
                    </a:cubicBezTo>
                    <a:cubicBezTo>
                      <a:pt x="1147" y="4846"/>
                      <a:pt x="1147" y="4846"/>
                      <a:pt x="1147" y="4846"/>
                    </a:cubicBezTo>
                    <a:cubicBezTo>
                      <a:pt x="1142" y="4840"/>
                      <a:pt x="1142" y="4840"/>
                      <a:pt x="1142" y="4840"/>
                    </a:cubicBezTo>
                    <a:cubicBezTo>
                      <a:pt x="1114" y="4810"/>
                      <a:pt x="1114" y="4810"/>
                      <a:pt x="1114" y="4810"/>
                    </a:cubicBezTo>
                    <a:cubicBezTo>
                      <a:pt x="1041" y="4821"/>
                      <a:pt x="1041" y="4821"/>
                      <a:pt x="1041" y="4821"/>
                    </a:cubicBezTo>
                    <a:cubicBezTo>
                      <a:pt x="1060" y="4851"/>
                      <a:pt x="1060" y="4851"/>
                      <a:pt x="1060" y="4851"/>
                    </a:cubicBezTo>
                    <a:lnTo>
                      <a:pt x="1066" y="4860"/>
                    </a:lnTo>
                    <a:close/>
                    <a:moveTo>
                      <a:pt x="7215" y="6655"/>
                    </a:moveTo>
                    <a:cubicBezTo>
                      <a:pt x="7399" y="6683"/>
                      <a:pt x="7399" y="6683"/>
                      <a:pt x="7399" y="6683"/>
                    </a:cubicBezTo>
                    <a:cubicBezTo>
                      <a:pt x="7382" y="6792"/>
                      <a:pt x="7382" y="6792"/>
                      <a:pt x="7382" y="6792"/>
                    </a:cubicBezTo>
                    <a:cubicBezTo>
                      <a:pt x="7310" y="6781"/>
                      <a:pt x="7310" y="6781"/>
                      <a:pt x="7310" y="6781"/>
                    </a:cubicBezTo>
                    <a:cubicBezTo>
                      <a:pt x="7302" y="6837"/>
                      <a:pt x="7302" y="6837"/>
                      <a:pt x="7302" y="6837"/>
                    </a:cubicBezTo>
                    <a:cubicBezTo>
                      <a:pt x="7295" y="6836"/>
                      <a:pt x="7295" y="6836"/>
                      <a:pt x="7295" y="6836"/>
                    </a:cubicBezTo>
                    <a:cubicBezTo>
                      <a:pt x="7180" y="6822"/>
                      <a:pt x="7180" y="6822"/>
                      <a:pt x="7180" y="6822"/>
                    </a:cubicBezTo>
                    <a:cubicBezTo>
                      <a:pt x="7197" y="6705"/>
                      <a:pt x="7197" y="6705"/>
                      <a:pt x="7197" y="6705"/>
                    </a:cubicBezTo>
                    <a:cubicBezTo>
                      <a:pt x="7208" y="6707"/>
                      <a:pt x="7208" y="6707"/>
                      <a:pt x="7208" y="6707"/>
                    </a:cubicBezTo>
                    <a:lnTo>
                      <a:pt x="7215" y="6655"/>
                    </a:lnTo>
                    <a:close/>
                    <a:moveTo>
                      <a:pt x="7219" y="6722"/>
                    </a:moveTo>
                    <a:cubicBezTo>
                      <a:pt x="7208" y="6720"/>
                      <a:pt x="7208" y="6720"/>
                      <a:pt x="7208" y="6720"/>
                    </a:cubicBezTo>
                    <a:cubicBezTo>
                      <a:pt x="7195" y="6811"/>
                      <a:pt x="7195" y="6811"/>
                      <a:pt x="7195" y="6811"/>
                    </a:cubicBezTo>
                    <a:cubicBezTo>
                      <a:pt x="7290" y="6823"/>
                      <a:pt x="7290" y="6823"/>
                      <a:pt x="7290" y="6823"/>
                    </a:cubicBezTo>
                    <a:cubicBezTo>
                      <a:pt x="7299" y="6766"/>
                      <a:pt x="7299" y="6766"/>
                      <a:pt x="7299" y="6766"/>
                    </a:cubicBezTo>
                    <a:cubicBezTo>
                      <a:pt x="7371" y="6777"/>
                      <a:pt x="7371" y="6777"/>
                      <a:pt x="7371" y="6777"/>
                    </a:cubicBezTo>
                    <a:cubicBezTo>
                      <a:pt x="7384" y="6694"/>
                      <a:pt x="7384" y="6694"/>
                      <a:pt x="7384" y="6694"/>
                    </a:cubicBezTo>
                    <a:cubicBezTo>
                      <a:pt x="7226" y="6670"/>
                      <a:pt x="7226" y="6670"/>
                      <a:pt x="7226" y="6670"/>
                    </a:cubicBezTo>
                    <a:lnTo>
                      <a:pt x="7219" y="6722"/>
                    </a:lnTo>
                    <a:close/>
                    <a:moveTo>
                      <a:pt x="4727" y="2359"/>
                    </a:moveTo>
                    <a:cubicBezTo>
                      <a:pt x="4716" y="2106"/>
                      <a:pt x="4716" y="2106"/>
                      <a:pt x="4716" y="2106"/>
                    </a:cubicBezTo>
                    <a:cubicBezTo>
                      <a:pt x="4800" y="2102"/>
                      <a:pt x="4800" y="2102"/>
                      <a:pt x="4800" y="2102"/>
                    </a:cubicBezTo>
                    <a:cubicBezTo>
                      <a:pt x="4811" y="2362"/>
                      <a:pt x="4811" y="2362"/>
                      <a:pt x="4811" y="2362"/>
                    </a:cubicBezTo>
                    <a:cubicBezTo>
                      <a:pt x="4727" y="2365"/>
                      <a:pt x="4727" y="2365"/>
                      <a:pt x="4727" y="2365"/>
                    </a:cubicBezTo>
                    <a:lnTo>
                      <a:pt x="4727" y="2359"/>
                    </a:lnTo>
                    <a:close/>
                    <a:moveTo>
                      <a:pt x="4729" y="2118"/>
                    </a:moveTo>
                    <a:cubicBezTo>
                      <a:pt x="4740" y="2352"/>
                      <a:pt x="4740" y="2352"/>
                      <a:pt x="4740" y="2352"/>
                    </a:cubicBezTo>
                    <a:cubicBezTo>
                      <a:pt x="4798" y="2349"/>
                      <a:pt x="4798" y="2349"/>
                      <a:pt x="4798" y="2349"/>
                    </a:cubicBezTo>
                    <a:cubicBezTo>
                      <a:pt x="4787" y="2116"/>
                      <a:pt x="4787" y="2116"/>
                      <a:pt x="4787" y="2116"/>
                    </a:cubicBezTo>
                    <a:lnTo>
                      <a:pt x="4729" y="2118"/>
                    </a:lnTo>
                    <a:close/>
                    <a:moveTo>
                      <a:pt x="3979" y="2420"/>
                    </a:moveTo>
                    <a:cubicBezTo>
                      <a:pt x="3936" y="2460"/>
                      <a:pt x="3936" y="2460"/>
                      <a:pt x="3936" y="2460"/>
                    </a:cubicBezTo>
                    <a:cubicBezTo>
                      <a:pt x="3849" y="2346"/>
                      <a:pt x="3849" y="2346"/>
                      <a:pt x="3849" y="2346"/>
                    </a:cubicBezTo>
                    <a:cubicBezTo>
                      <a:pt x="3896" y="2309"/>
                      <a:pt x="3896" y="2309"/>
                      <a:pt x="3896" y="2309"/>
                    </a:cubicBezTo>
                    <a:cubicBezTo>
                      <a:pt x="3860" y="2262"/>
                      <a:pt x="3860" y="2262"/>
                      <a:pt x="3860" y="2262"/>
                    </a:cubicBezTo>
                    <a:cubicBezTo>
                      <a:pt x="3813" y="2299"/>
                      <a:pt x="3813" y="2299"/>
                      <a:pt x="3813" y="2299"/>
                    </a:cubicBezTo>
                    <a:cubicBezTo>
                      <a:pt x="3723" y="2180"/>
                      <a:pt x="3723" y="2180"/>
                      <a:pt x="3723" y="2180"/>
                    </a:cubicBezTo>
                    <a:cubicBezTo>
                      <a:pt x="3767" y="2152"/>
                      <a:pt x="3767" y="2152"/>
                      <a:pt x="3767" y="2152"/>
                    </a:cubicBezTo>
                    <a:cubicBezTo>
                      <a:pt x="3732" y="2103"/>
                      <a:pt x="3732" y="2103"/>
                      <a:pt x="3732" y="2103"/>
                    </a:cubicBezTo>
                    <a:cubicBezTo>
                      <a:pt x="3686" y="2133"/>
                      <a:pt x="3686" y="2133"/>
                      <a:pt x="3686" y="2133"/>
                    </a:cubicBezTo>
                    <a:cubicBezTo>
                      <a:pt x="3620" y="2038"/>
                      <a:pt x="3620" y="2038"/>
                      <a:pt x="3620" y="2038"/>
                    </a:cubicBezTo>
                    <a:cubicBezTo>
                      <a:pt x="3758" y="1983"/>
                      <a:pt x="3758" y="1983"/>
                      <a:pt x="3758" y="1983"/>
                    </a:cubicBezTo>
                    <a:cubicBezTo>
                      <a:pt x="3736" y="1930"/>
                      <a:pt x="3736" y="1930"/>
                      <a:pt x="3736" y="1930"/>
                    </a:cubicBezTo>
                    <a:cubicBezTo>
                      <a:pt x="4012" y="1855"/>
                      <a:pt x="4012" y="1855"/>
                      <a:pt x="4012" y="1855"/>
                    </a:cubicBezTo>
                    <a:cubicBezTo>
                      <a:pt x="4109" y="2075"/>
                      <a:pt x="4109" y="2075"/>
                      <a:pt x="4109" y="2075"/>
                    </a:cubicBezTo>
                    <a:cubicBezTo>
                      <a:pt x="4070" y="2092"/>
                      <a:pt x="4070" y="2092"/>
                      <a:pt x="4070" y="2092"/>
                    </a:cubicBezTo>
                    <a:cubicBezTo>
                      <a:pt x="4156" y="2276"/>
                      <a:pt x="4156" y="2276"/>
                      <a:pt x="4156" y="2276"/>
                    </a:cubicBezTo>
                    <a:cubicBezTo>
                      <a:pt x="4153" y="2280"/>
                      <a:pt x="4153" y="2280"/>
                      <a:pt x="4153" y="2280"/>
                    </a:cubicBezTo>
                    <a:cubicBezTo>
                      <a:pt x="4139" y="2298"/>
                      <a:pt x="4139" y="2298"/>
                      <a:pt x="4139" y="2298"/>
                    </a:cubicBezTo>
                    <a:cubicBezTo>
                      <a:pt x="4161" y="2328"/>
                      <a:pt x="4161" y="2328"/>
                      <a:pt x="4161" y="2328"/>
                    </a:cubicBezTo>
                    <a:cubicBezTo>
                      <a:pt x="3999" y="2446"/>
                      <a:pt x="3999" y="2446"/>
                      <a:pt x="3999" y="2446"/>
                    </a:cubicBezTo>
                    <a:lnTo>
                      <a:pt x="3979" y="2420"/>
                    </a:lnTo>
                    <a:close/>
                    <a:moveTo>
                      <a:pt x="3938" y="2438"/>
                    </a:moveTo>
                    <a:cubicBezTo>
                      <a:pt x="3981" y="2399"/>
                      <a:pt x="3981" y="2399"/>
                      <a:pt x="3981" y="2399"/>
                    </a:cubicBezTo>
                    <a:cubicBezTo>
                      <a:pt x="4002" y="2426"/>
                      <a:pt x="4002" y="2426"/>
                      <a:pt x="4002" y="2426"/>
                    </a:cubicBezTo>
                    <a:cubicBezTo>
                      <a:pt x="4140" y="2325"/>
                      <a:pt x="4140" y="2325"/>
                      <a:pt x="4140" y="2325"/>
                    </a:cubicBezTo>
                    <a:cubicBezTo>
                      <a:pt x="4120" y="2298"/>
                      <a:pt x="4120" y="2298"/>
                      <a:pt x="4120" y="2298"/>
                    </a:cubicBezTo>
                    <a:cubicBezTo>
                      <a:pt x="4138" y="2274"/>
                      <a:pt x="4138" y="2274"/>
                      <a:pt x="4138" y="2274"/>
                    </a:cubicBezTo>
                    <a:cubicBezTo>
                      <a:pt x="4050" y="2085"/>
                      <a:pt x="4050" y="2085"/>
                      <a:pt x="4050" y="2085"/>
                    </a:cubicBezTo>
                    <a:cubicBezTo>
                      <a:pt x="4090" y="2067"/>
                      <a:pt x="4090" y="2067"/>
                      <a:pt x="4090" y="2067"/>
                    </a:cubicBezTo>
                    <a:cubicBezTo>
                      <a:pt x="4004" y="1873"/>
                      <a:pt x="4004" y="1873"/>
                      <a:pt x="4004" y="1873"/>
                    </a:cubicBezTo>
                    <a:cubicBezTo>
                      <a:pt x="3756" y="1940"/>
                      <a:pt x="3756" y="1940"/>
                      <a:pt x="3756" y="1940"/>
                    </a:cubicBezTo>
                    <a:cubicBezTo>
                      <a:pt x="3778" y="1992"/>
                      <a:pt x="3778" y="1992"/>
                      <a:pt x="3778" y="1992"/>
                    </a:cubicBezTo>
                    <a:cubicBezTo>
                      <a:pt x="3643" y="2045"/>
                      <a:pt x="3643" y="2045"/>
                      <a:pt x="3643" y="2045"/>
                    </a:cubicBezTo>
                    <a:cubicBezTo>
                      <a:pt x="3690" y="2113"/>
                      <a:pt x="3690" y="2113"/>
                      <a:pt x="3690" y="2113"/>
                    </a:cubicBezTo>
                    <a:cubicBezTo>
                      <a:pt x="3736" y="2082"/>
                      <a:pt x="3736" y="2082"/>
                      <a:pt x="3736" y="2082"/>
                    </a:cubicBezTo>
                    <a:cubicBezTo>
                      <a:pt x="3787" y="2156"/>
                      <a:pt x="3787" y="2156"/>
                      <a:pt x="3787" y="2156"/>
                    </a:cubicBezTo>
                    <a:cubicBezTo>
                      <a:pt x="3745" y="2184"/>
                      <a:pt x="3745" y="2184"/>
                      <a:pt x="3745" y="2184"/>
                    </a:cubicBezTo>
                    <a:cubicBezTo>
                      <a:pt x="3816" y="2278"/>
                      <a:pt x="3816" y="2278"/>
                      <a:pt x="3816" y="2278"/>
                    </a:cubicBezTo>
                    <a:cubicBezTo>
                      <a:pt x="3863" y="2241"/>
                      <a:pt x="3863" y="2241"/>
                      <a:pt x="3863" y="2241"/>
                    </a:cubicBezTo>
                    <a:cubicBezTo>
                      <a:pt x="3916" y="2312"/>
                      <a:pt x="3916" y="2312"/>
                      <a:pt x="3916" y="2312"/>
                    </a:cubicBezTo>
                    <a:cubicBezTo>
                      <a:pt x="3870" y="2348"/>
                      <a:pt x="3870" y="2348"/>
                      <a:pt x="3870" y="2348"/>
                    </a:cubicBezTo>
                    <a:lnTo>
                      <a:pt x="3938" y="2438"/>
                    </a:lnTo>
                    <a:close/>
                    <a:moveTo>
                      <a:pt x="3660" y="2571"/>
                    </a:moveTo>
                    <a:cubicBezTo>
                      <a:pt x="3542" y="2623"/>
                      <a:pt x="3542" y="2623"/>
                      <a:pt x="3542" y="2623"/>
                    </a:cubicBezTo>
                    <a:cubicBezTo>
                      <a:pt x="3564" y="2308"/>
                      <a:pt x="3564" y="2308"/>
                      <a:pt x="3564" y="2308"/>
                    </a:cubicBezTo>
                    <a:cubicBezTo>
                      <a:pt x="3578" y="2306"/>
                      <a:pt x="3578" y="2306"/>
                      <a:pt x="3578" y="2306"/>
                    </a:cubicBezTo>
                    <a:cubicBezTo>
                      <a:pt x="3666" y="2568"/>
                      <a:pt x="3666" y="2568"/>
                      <a:pt x="3666" y="2568"/>
                    </a:cubicBezTo>
                    <a:lnTo>
                      <a:pt x="3660" y="2571"/>
                    </a:lnTo>
                    <a:close/>
                    <a:moveTo>
                      <a:pt x="3648" y="2560"/>
                    </a:moveTo>
                    <a:cubicBezTo>
                      <a:pt x="3576" y="2346"/>
                      <a:pt x="3576" y="2346"/>
                      <a:pt x="3576" y="2346"/>
                    </a:cubicBezTo>
                    <a:cubicBezTo>
                      <a:pt x="3558" y="2599"/>
                      <a:pt x="3558" y="2599"/>
                      <a:pt x="3558" y="2599"/>
                    </a:cubicBezTo>
                    <a:lnTo>
                      <a:pt x="3648" y="2560"/>
                    </a:lnTo>
                    <a:close/>
                    <a:moveTo>
                      <a:pt x="3878" y="2556"/>
                    </a:moveTo>
                    <a:cubicBezTo>
                      <a:pt x="3883" y="2563"/>
                      <a:pt x="3883" y="2563"/>
                      <a:pt x="3883" y="2563"/>
                    </a:cubicBezTo>
                    <a:cubicBezTo>
                      <a:pt x="3876" y="2567"/>
                      <a:pt x="3876" y="2567"/>
                      <a:pt x="3876" y="2567"/>
                    </a:cubicBezTo>
                    <a:cubicBezTo>
                      <a:pt x="3875" y="2567"/>
                      <a:pt x="3827" y="2596"/>
                      <a:pt x="3779" y="2626"/>
                    </a:cubicBezTo>
                    <a:cubicBezTo>
                      <a:pt x="3755" y="2641"/>
                      <a:pt x="3730" y="2656"/>
                      <a:pt x="3712" y="2667"/>
                    </a:cubicBezTo>
                    <a:cubicBezTo>
                      <a:pt x="3703" y="2673"/>
                      <a:pt x="3696" y="2678"/>
                      <a:pt x="3691" y="2681"/>
                    </a:cubicBezTo>
                    <a:cubicBezTo>
                      <a:pt x="3688" y="2682"/>
                      <a:pt x="3686" y="2684"/>
                      <a:pt x="3685" y="2685"/>
                    </a:cubicBezTo>
                    <a:cubicBezTo>
                      <a:pt x="3684" y="2688"/>
                      <a:pt x="3683" y="2690"/>
                      <a:pt x="3680" y="2694"/>
                    </a:cubicBezTo>
                    <a:cubicBezTo>
                      <a:pt x="3670" y="2714"/>
                      <a:pt x="3643" y="2756"/>
                      <a:pt x="3620" y="2795"/>
                    </a:cubicBezTo>
                    <a:cubicBezTo>
                      <a:pt x="3608" y="2814"/>
                      <a:pt x="3597" y="2833"/>
                      <a:pt x="3589" y="2846"/>
                    </a:cubicBezTo>
                    <a:cubicBezTo>
                      <a:pt x="3585" y="2853"/>
                      <a:pt x="3582" y="2859"/>
                      <a:pt x="3579" y="2863"/>
                    </a:cubicBezTo>
                    <a:cubicBezTo>
                      <a:pt x="3578" y="2865"/>
                      <a:pt x="3577" y="2867"/>
                      <a:pt x="3577" y="2868"/>
                    </a:cubicBezTo>
                    <a:cubicBezTo>
                      <a:pt x="3577" y="2869"/>
                      <a:pt x="3577" y="2870"/>
                      <a:pt x="3576" y="2871"/>
                    </a:cubicBezTo>
                    <a:cubicBezTo>
                      <a:pt x="3575" y="2874"/>
                      <a:pt x="3571" y="2875"/>
                      <a:pt x="3569" y="2875"/>
                    </a:cubicBezTo>
                    <a:cubicBezTo>
                      <a:pt x="3569" y="2875"/>
                      <a:pt x="3569" y="2875"/>
                      <a:pt x="3569" y="2875"/>
                    </a:cubicBezTo>
                    <a:cubicBezTo>
                      <a:pt x="3567" y="2875"/>
                      <a:pt x="3564" y="2873"/>
                      <a:pt x="3563" y="2871"/>
                    </a:cubicBezTo>
                    <a:cubicBezTo>
                      <a:pt x="3562" y="2870"/>
                      <a:pt x="3562" y="2869"/>
                      <a:pt x="3562" y="2868"/>
                    </a:cubicBezTo>
                    <a:cubicBezTo>
                      <a:pt x="3557" y="2857"/>
                      <a:pt x="3519" y="2790"/>
                      <a:pt x="3483" y="2727"/>
                    </a:cubicBezTo>
                    <a:cubicBezTo>
                      <a:pt x="3445" y="2660"/>
                      <a:pt x="3407" y="2595"/>
                      <a:pt x="3407" y="2595"/>
                    </a:cubicBezTo>
                    <a:cubicBezTo>
                      <a:pt x="3405" y="2593"/>
                      <a:pt x="3405" y="2593"/>
                      <a:pt x="3405" y="2593"/>
                    </a:cubicBezTo>
                    <a:cubicBezTo>
                      <a:pt x="3522" y="2098"/>
                      <a:pt x="3522" y="2098"/>
                      <a:pt x="3522" y="2098"/>
                    </a:cubicBezTo>
                    <a:cubicBezTo>
                      <a:pt x="3876" y="2554"/>
                      <a:pt x="3876" y="2554"/>
                      <a:pt x="3876" y="2554"/>
                    </a:cubicBezTo>
                    <a:lnTo>
                      <a:pt x="3878" y="2556"/>
                    </a:lnTo>
                    <a:close/>
                    <a:moveTo>
                      <a:pt x="3861" y="2559"/>
                    </a:moveTo>
                    <a:cubicBezTo>
                      <a:pt x="3529" y="2132"/>
                      <a:pt x="3529" y="2132"/>
                      <a:pt x="3529" y="2132"/>
                    </a:cubicBezTo>
                    <a:cubicBezTo>
                      <a:pt x="3421" y="2590"/>
                      <a:pt x="3421" y="2590"/>
                      <a:pt x="3421" y="2590"/>
                    </a:cubicBezTo>
                    <a:cubicBezTo>
                      <a:pt x="3429" y="2603"/>
                      <a:pt x="3463" y="2663"/>
                      <a:pt x="3498" y="2723"/>
                    </a:cubicBezTo>
                    <a:cubicBezTo>
                      <a:pt x="3517" y="2757"/>
                      <a:pt x="3537" y="2791"/>
                      <a:pt x="3552" y="2817"/>
                    </a:cubicBezTo>
                    <a:cubicBezTo>
                      <a:pt x="3559" y="2831"/>
                      <a:pt x="3565" y="2842"/>
                      <a:pt x="3569" y="2850"/>
                    </a:cubicBezTo>
                    <a:cubicBezTo>
                      <a:pt x="3569" y="2850"/>
                      <a:pt x="3569" y="2850"/>
                      <a:pt x="3570" y="2850"/>
                    </a:cubicBezTo>
                    <a:cubicBezTo>
                      <a:pt x="3581" y="2830"/>
                      <a:pt x="3606" y="2790"/>
                      <a:pt x="3628" y="2754"/>
                    </a:cubicBezTo>
                    <a:cubicBezTo>
                      <a:pt x="3639" y="2734"/>
                      <a:pt x="3651" y="2716"/>
                      <a:pt x="3659" y="2702"/>
                    </a:cubicBezTo>
                    <a:cubicBezTo>
                      <a:pt x="3663" y="2695"/>
                      <a:pt x="3666" y="2689"/>
                      <a:pt x="3668" y="2685"/>
                    </a:cubicBezTo>
                    <a:cubicBezTo>
                      <a:pt x="3669" y="2683"/>
                      <a:pt x="3670" y="2682"/>
                      <a:pt x="3671" y="2680"/>
                    </a:cubicBezTo>
                    <a:cubicBezTo>
                      <a:pt x="3671" y="2680"/>
                      <a:pt x="3671" y="2680"/>
                      <a:pt x="3671" y="2680"/>
                    </a:cubicBezTo>
                    <a:cubicBezTo>
                      <a:pt x="3672" y="2676"/>
                      <a:pt x="3673" y="2676"/>
                      <a:pt x="3673" y="2676"/>
                    </a:cubicBezTo>
                    <a:cubicBezTo>
                      <a:pt x="3677" y="2672"/>
                      <a:pt x="3688" y="2665"/>
                      <a:pt x="3707" y="2653"/>
                    </a:cubicBezTo>
                    <a:cubicBezTo>
                      <a:pt x="3754" y="2624"/>
                      <a:pt x="3836" y="2573"/>
                      <a:pt x="3861" y="2559"/>
                    </a:cubicBezTo>
                    <a:close/>
                    <a:moveTo>
                      <a:pt x="5568" y="1826"/>
                    </a:moveTo>
                    <a:cubicBezTo>
                      <a:pt x="5426" y="1801"/>
                      <a:pt x="5426" y="1801"/>
                      <a:pt x="5426" y="1801"/>
                    </a:cubicBezTo>
                    <a:cubicBezTo>
                      <a:pt x="5438" y="1731"/>
                      <a:pt x="5438" y="1731"/>
                      <a:pt x="5438" y="1731"/>
                    </a:cubicBezTo>
                    <a:cubicBezTo>
                      <a:pt x="5587" y="1757"/>
                      <a:pt x="5587" y="1757"/>
                      <a:pt x="5587" y="1757"/>
                    </a:cubicBezTo>
                    <a:cubicBezTo>
                      <a:pt x="5575" y="1827"/>
                      <a:pt x="5575" y="1827"/>
                      <a:pt x="5575" y="1827"/>
                    </a:cubicBezTo>
                    <a:lnTo>
                      <a:pt x="5568" y="1826"/>
                    </a:lnTo>
                    <a:close/>
                    <a:moveTo>
                      <a:pt x="5564" y="1813"/>
                    </a:moveTo>
                    <a:cubicBezTo>
                      <a:pt x="5572" y="1767"/>
                      <a:pt x="5572" y="1767"/>
                      <a:pt x="5572" y="1767"/>
                    </a:cubicBezTo>
                    <a:cubicBezTo>
                      <a:pt x="5449" y="1746"/>
                      <a:pt x="5449" y="1746"/>
                      <a:pt x="5449" y="1746"/>
                    </a:cubicBezTo>
                    <a:cubicBezTo>
                      <a:pt x="5441" y="1791"/>
                      <a:pt x="5441" y="1791"/>
                      <a:pt x="5441" y="1791"/>
                    </a:cubicBezTo>
                    <a:lnTo>
                      <a:pt x="5564" y="1813"/>
                    </a:lnTo>
                    <a:close/>
                    <a:moveTo>
                      <a:pt x="5854" y="6593"/>
                    </a:moveTo>
                    <a:cubicBezTo>
                      <a:pt x="5848" y="6593"/>
                      <a:pt x="5848" y="6593"/>
                      <a:pt x="5848" y="6593"/>
                    </a:cubicBezTo>
                    <a:cubicBezTo>
                      <a:pt x="5850" y="6496"/>
                      <a:pt x="5850" y="6496"/>
                      <a:pt x="5850" y="6496"/>
                    </a:cubicBezTo>
                    <a:cubicBezTo>
                      <a:pt x="5991" y="6500"/>
                      <a:pt x="5991" y="6500"/>
                      <a:pt x="5991" y="6500"/>
                    </a:cubicBezTo>
                    <a:cubicBezTo>
                      <a:pt x="5989" y="6573"/>
                      <a:pt x="5989" y="6573"/>
                      <a:pt x="5989" y="6573"/>
                    </a:cubicBezTo>
                    <a:cubicBezTo>
                      <a:pt x="6065" y="6574"/>
                      <a:pt x="6065" y="6574"/>
                      <a:pt x="6065" y="6574"/>
                    </a:cubicBezTo>
                    <a:cubicBezTo>
                      <a:pt x="6063" y="6650"/>
                      <a:pt x="6063" y="6650"/>
                      <a:pt x="6063" y="6650"/>
                    </a:cubicBezTo>
                    <a:cubicBezTo>
                      <a:pt x="6057" y="6650"/>
                      <a:pt x="6057" y="6650"/>
                      <a:pt x="6057" y="6650"/>
                    </a:cubicBezTo>
                    <a:cubicBezTo>
                      <a:pt x="5865" y="6643"/>
                      <a:pt x="5865" y="6643"/>
                      <a:pt x="5865" y="6643"/>
                    </a:cubicBezTo>
                    <a:cubicBezTo>
                      <a:pt x="5866" y="6593"/>
                      <a:pt x="5866" y="6593"/>
                      <a:pt x="5866" y="6593"/>
                    </a:cubicBezTo>
                    <a:lnTo>
                      <a:pt x="5854" y="6593"/>
                    </a:lnTo>
                    <a:close/>
                    <a:moveTo>
                      <a:pt x="5861" y="6580"/>
                    </a:moveTo>
                    <a:cubicBezTo>
                      <a:pt x="5873" y="6580"/>
                      <a:pt x="5873" y="6580"/>
                      <a:pt x="5873" y="6580"/>
                    </a:cubicBezTo>
                    <a:cubicBezTo>
                      <a:pt x="5879" y="6581"/>
                      <a:pt x="5879" y="6581"/>
                      <a:pt x="5879" y="6581"/>
                    </a:cubicBezTo>
                    <a:cubicBezTo>
                      <a:pt x="5878" y="6630"/>
                      <a:pt x="5878" y="6630"/>
                      <a:pt x="5878" y="6630"/>
                    </a:cubicBezTo>
                    <a:cubicBezTo>
                      <a:pt x="6050" y="6637"/>
                      <a:pt x="6050" y="6637"/>
                      <a:pt x="6050" y="6637"/>
                    </a:cubicBezTo>
                    <a:cubicBezTo>
                      <a:pt x="6052" y="6587"/>
                      <a:pt x="6052" y="6587"/>
                      <a:pt x="6052" y="6587"/>
                    </a:cubicBezTo>
                    <a:cubicBezTo>
                      <a:pt x="5976" y="6586"/>
                      <a:pt x="5976" y="6586"/>
                      <a:pt x="5976" y="6586"/>
                    </a:cubicBezTo>
                    <a:cubicBezTo>
                      <a:pt x="5978" y="6512"/>
                      <a:pt x="5978" y="6512"/>
                      <a:pt x="5978" y="6512"/>
                    </a:cubicBezTo>
                    <a:cubicBezTo>
                      <a:pt x="5863" y="6510"/>
                      <a:pt x="5863" y="6510"/>
                      <a:pt x="5863" y="6510"/>
                    </a:cubicBezTo>
                    <a:lnTo>
                      <a:pt x="5861" y="6580"/>
                    </a:lnTo>
                    <a:close/>
                    <a:moveTo>
                      <a:pt x="7749" y="2049"/>
                    </a:moveTo>
                    <a:cubicBezTo>
                      <a:pt x="7801" y="2103"/>
                      <a:pt x="7801" y="2103"/>
                      <a:pt x="7801" y="2103"/>
                    </a:cubicBezTo>
                    <a:cubicBezTo>
                      <a:pt x="7747" y="2156"/>
                      <a:pt x="7747" y="2156"/>
                      <a:pt x="7747" y="2156"/>
                    </a:cubicBezTo>
                    <a:cubicBezTo>
                      <a:pt x="7742" y="2151"/>
                      <a:pt x="7742" y="2151"/>
                      <a:pt x="7742" y="2151"/>
                    </a:cubicBezTo>
                    <a:cubicBezTo>
                      <a:pt x="7611" y="2012"/>
                      <a:pt x="7611" y="2012"/>
                      <a:pt x="7611" y="2012"/>
                    </a:cubicBezTo>
                    <a:cubicBezTo>
                      <a:pt x="7646" y="1977"/>
                      <a:pt x="7646" y="1977"/>
                      <a:pt x="7646" y="1977"/>
                    </a:cubicBezTo>
                    <a:cubicBezTo>
                      <a:pt x="7638" y="1969"/>
                      <a:pt x="7638" y="1969"/>
                      <a:pt x="7638" y="1969"/>
                    </a:cubicBezTo>
                    <a:cubicBezTo>
                      <a:pt x="7633" y="1964"/>
                      <a:pt x="7633" y="1964"/>
                      <a:pt x="7633" y="1964"/>
                    </a:cubicBezTo>
                    <a:cubicBezTo>
                      <a:pt x="7703" y="1897"/>
                      <a:pt x="7703" y="1897"/>
                      <a:pt x="7703" y="1897"/>
                    </a:cubicBezTo>
                    <a:cubicBezTo>
                      <a:pt x="7801" y="1998"/>
                      <a:pt x="7801" y="1998"/>
                      <a:pt x="7801" y="1998"/>
                    </a:cubicBezTo>
                    <a:lnTo>
                      <a:pt x="7749" y="2049"/>
                    </a:lnTo>
                    <a:close/>
                    <a:moveTo>
                      <a:pt x="7730" y="2049"/>
                    </a:moveTo>
                    <a:cubicBezTo>
                      <a:pt x="7782" y="1998"/>
                      <a:pt x="7782" y="1998"/>
                      <a:pt x="7782" y="1998"/>
                    </a:cubicBezTo>
                    <a:cubicBezTo>
                      <a:pt x="7702" y="1915"/>
                      <a:pt x="7702" y="1915"/>
                      <a:pt x="7702" y="1915"/>
                    </a:cubicBezTo>
                    <a:cubicBezTo>
                      <a:pt x="7652" y="1965"/>
                      <a:pt x="7652" y="1965"/>
                      <a:pt x="7652" y="1965"/>
                    </a:cubicBezTo>
                    <a:cubicBezTo>
                      <a:pt x="7660" y="1973"/>
                      <a:pt x="7660" y="1973"/>
                      <a:pt x="7660" y="1973"/>
                    </a:cubicBezTo>
                    <a:cubicBezTo>
                      <a:pt x="7665" y="1978"/>
                      <a:pt x="7665" y="1978"/>
                      <a:pt x="7665" y="1978"/>
                    </a:cubicBezTo>
                    <a:cubicBezTo>
                      <a:pt x="7629" y="2012"/>
                      <a:pt x="7629" y="2012"/>
                      <a:pt x="7629" y="2012"/>
                    </a:cubicBezTo>
                    <a:cubicBezTo>
                      <a:pt x="7747" y="2137"/>
                      <a:pt x="7747" y="2137"/>
                      <a:pt x="7747" y="2137"/>
                    </a:cubicBezTo>
                    <a:cubicBezTo>
                      <a:pt x="7783" y="2103"/>
                      <a:pt x="7783" y="2103"/>
                      <a:pt x="7783" y="2103"/>
                    </a:cubicBezTo>
                    <a:lnTo>
                      <a:pt x="7730" y="2049"/>
                    </a:lnTo>
                    <a:close/>
                    <a:moveTo>
                      <a:pt x="6281" y="6440"/>
                    </a:moveTo>
                    <a:cubicBezTo>
                      <a:pt x="6165" y="6435"/>
                      <a:pt x="6165" y="6435"/>
                      <a:pt x="6165" y="6435"/>
                    </a:cubicBezTo>
                    <a:cubicBezTo>
                      <a:pt x="6173" y="6318"/>
                      <a:pt x="6173" y="6318"/>
                      <a:pt x="6173" y="6318"/>
                    </a:cubicBezTo>
                    <a:cubicBezTo>
                      <a:pt x="6183" y="6318"/>
                      <a:pt x="6183" y="6318"/>
                      <a:pt x="6183" y="6318"/>
                    </a:cubicBezTo>
                    <a:cubicBezTo>
                      <a:pt x="6187" y="6266"/>
                      <a:pt x="6187" y="6266"/>
                      <a:pt x="6187" y="6266"/>
                    </a:cubicBezTo>
                    <a:cubicBezTo>
                      <a:pt x="6372" y="6279"/>
                      <a:pt x="6372" y="6279"/>
                      <a:pt x="6372" y="6279"/>
                    </a:cubicBezTo>
                    <a:cubicBezTo>
                      <a:pt x="6364" y="6388"/>
                      <a:pt x="6364" y="6388"/>
                      <a:pt x="6364" y="6388"/>
                    </a:cubicBezTo>
                    <a:cubicBezTo>
                      <a:pt x="6292" y="6383"/>
                      <a:pt x="6292" y="6383"/>
                      <a:pt x="6292" y="6383"/>
                    </a:cubicBezTo>
                    <a:cubicBezTo>
                      <a:pt x="6288" y="6440"/>
                      <a:pt x="6288" y="6440"/>
                      <a:pt x="6288" y="6440"/>
                    </a:cubicBezTo>
                    <a:lnTo>
                      <a:pt x="6281" y="6440"/>
                    </a:lnTo>
                    <a:close/>
                    <a:moveTo>
                      <a:pt x="6279" y="6369"/>
                    </a:moveTo>
                    <a:cubicBezTo>
                      <a:pt x="6352" y="6374"/>
                      <a:pt x="6352" y="6374"/>
                      <a:pt x="6352" y="6374"/>
                    </a:cubicBezTo>
                    <a:cubicBezTo>
                      <a:pt x="6358" y="6291"/>
                      <a:pt x="6358" y="6291"/>
                      <a:pt x="6358" y="6291"/>
                    </a:cubicBezTo>
                    <a:cubicBezTo>
                      <a:pt x="6199" y="6280"/>
                      <a:pt x="6199" y="6280"/>
                      <a:pt x="6199" y="6280"/>
                    </a:cubicBezTo>
                    <a:cubicBezTo>
                      <a:pt x="6196" y="6332"/>
                      <a:pt x="6196" y="6332"/>
                      <a:pt x="6196" y="6332"/>
                    </a:cubicBezTo>
                    <a:cubicBezTo>
                      <a:pt x="6185" y="6332"/>
                      <a:pt x="6185" y="6332"/>
                      <a:pt x="6185" y="6332"/>
                    </a:cubicBezTo>
                    <a:cubicBezTo>
                      <a:pt x="6179" y="6422"/>
                      <a:pt x="6179" y="6422"/>
                      <a:pt x="6179" y="6422"/>
                    </a:cubicBezTo>
                    <a:cubicBezTo>
                      <a:pt x="6275" y="6427"/>
                      <a:pt x="6275" y="6427"/>
                      <a:pt x="6275" y="6427"/>
                    </a:cubicBezTo>
                    <a:lnTo>
                      <a:pt x="6279" y="6369"/>
                    </a:lnTo>
                    <a:close/>
                    <a:moveTo>
                      <a:pt x="7606" y="2303"/>
                    </a:moveTo>
                    <a:cubicBezTo>
                      <a:pt x="7659" y="2357"/>
                      <a:pt x="7659" y="2357"/>
                      <a:pt x="7659" y="2357"/>
                    </a:cubicBezTo>
                    <a:cubicBezTo>
                      <a:pt x="7605" y="2410"/>
                      <a:pt x="7605" y="2410"/>
                      <a:pt x="7605" y="2410"/>
                    </a:cubicBezTo>
                    <a:cubicBezTo>
                      <a:pt x="7600" y="2406"/>
                      <a:pt x="7600" y="2406"/>
                      <a:pt x="7600" y="2406"/>
                    </a:cubicBezTo>
                    <a:cubicBezTo>
                      <a:pt x="7468" y="2266"/>
                      <a:pt x="7468" y="2266"/>
                      <a:pt x="7468" y="2266"/>
                    </a:cubicBezTo>
                    <a:cubicBezTo>
                      <a:pt x="7504" y="2232"/>
                      <a:pt x="7504" y="2232"/>
                      <a:pt x="7504" y="2232"/>
                    </a:cubicBezTo>
                    <a:cubicBezTo>
                      <a:pt x="7496" y="2223"/>
                      <a:pt x="7496" y="2223"/>
                      <a:pt x="7496" y="2223"/>
                    </a:cubicBezTo>
                    <a:cubicBezTo>
                      <a:pt x="7491" y="2218"/>
                      <a:pt x="7491" y="2218"/>
                      <a:pt x="7491" y="2218"/>
                    </a:cubicBezTo>
                    <a:cubicBezTo>
                      <a:pt x="7561" y="2151"/>
                      <a:pt x="7561" y="2151"/>
                      <a:pt x="7561" y="2151"/>
                    </a:cubicBezTo>
                    <a:cubicBezTo>
                      <a:pt x="7659" y="2252"/>
                      <a:pt x="7659" y="2252"/>
                      <a:pt x="7659" y="2252"/>
                    </a:cubicBezTo>
                    <a:lnTo>
                      <a:pt x="7606" y="2303"/>
                    </a:lnTo>
                    <a:close/>
                    <a:moveTo>
                      <a:pt x="7588" y="2303"/>
                    </a:moveTo>
                    <a:cubicBezTo>
                      <a:pt x="7640" y="2252"/>
                      <a:pt x="7640" y="2252"/>
                      <a:pt x="7640" y="2252"/>
                    </a:cubicBezTo>
                    <a:cubicBezTo>
                      <a:pt x="7560" y="2170"/>
                      <a:pt x="7560" y="2170"/>
                      <a:pt x="7560" y="2170"/>
                    </a:cubicBezTo>
                    <a:cubicBezTo>
                      <a:pt x="7510" y="2219"/>
                      <a:pt x="7510" y="2219"/>
                      <a:pt x="7510" y="2219"/>
                    </a:cubicBezTo>
                    <a:cubicBezTo>
                      <a:pt x="7518" y="2227"/>
                      <a:pt x="7518" y="2227"/>
                      <a:pt x="7518" y="2227"/>
                    </a:cubicBezTo>
                    <a:cubicBezTo>
                      <a:pt x="7523" y="2232"/>
                      <a:pt x="7523" y="2232"/>
                      <a:pt x="7523" y="2232"/>
                    </a:cubicBezTo>
                    <a:cubicBezTo>
                      <a:pt x="7487" y="2266"/>
                      <a:pt x="7487" y="2266"/>
                      <a:pt x="7487" y="2266"/>
                    </a:cubicBezTo>
                    <a:cubicBezTo>
                      <a:pt x="7605" y="2392"/>
                      <a:pt x="7605" y="2392"/>
                      <a:pt x="7605" y="2392"/>
                    </a:cubicBezTo>
                    <a:cubicBezTo>
                      <a:pt x="7641" y="2357"/>
                      <a:pt x="7641" y="2357"/>
                      <a:pt x="7641" y="2357"/>
                    </a:cubicBezTo>
                    <a:lnTo>
                      <a:pt x="7588" y="2303"/>
                    </a:lnTo>
                    <a:close/>
                    <a:moveTo>
                      <a:pt x="7004" y="5052"/>
                    </a:moveTo>
                    <a:cubicBezTo>
                      <a:pt x="6916" y="5172"/>
                      <a:pt x="6916" y="5172"/>
                      <a:pt x="6916" y="5172"/>
                    </a:cubicBezTo>
                    <a:cubicBezTo>
                      <a:pt x="6855" y="5127"/>
                      <a:pt x="6855" y="5127"/>
                      <a:pt x="6855" y="5127"/>
                    </a:cubicBezTo>
                    <a:cubicBezTo>
                      <a:pt x="6814" y="5184"/>
                      <a:pt x="6814" y="5184"/>
                      <a:pt x="6814" y="5184"/>
                    </a:cubicBezTo>
                    <a:cubicBezTo>
                      <a:pt x="6752" y="5139"/>
                      <a:pt x="6752" y="5139"/>
                      <a:pt x="6752" y="5139"/>
                    </a:cubicBezTo>
                    <a:cubicBezTo>
                      <a:pt x="6864" y="4986"/>
                      <a:pt x="6864" y="4986"/>
                      <a:pt x="6864" y="4986"/>
                    </a:cubicBezTo>
                    <a:cubicBezTo>
                      <a:pt x="6852" y="4977"/>
                      <a:pt x="6852" y="4977"/>
                      <a:pt x="6852" y="4977"/>
                    </a:cubicBezTo>
                    <a:cubicBezTo>
                      <a:pt x="6801" y="5047"/>
                      <a:pt x="6801" y="5047"/>
                      <a:pt x="6801" y="5047"/>
                    </a:cubicBezTo>
                    <a:cubicBezTo>
                      <a:pt x="6737" y="5001"/>
                      <a:pt x="6737" y="5001"/>
                      <a:pt x="6737" y="5001"/>
                    </a:cubicBezTo>
                    <a:cubicBezTo>
                      <a:pt x="6862" y="4830"/>
                      <a:pt x="6862" y="4830"/>
                      <a:pt x="6862" y="4830"/>
                    </a:cubicBezTo>
                    <a:cubicBezTo>
                      <a:pt x="6906" y="4863"/>
                      <a:pt x="6906" y="4863"/>
                      <a:pt x="6906" y="4863"/>
                    </a:cubicBezTo>
                    <a:cubicBezTo>
                      <a:pt x="6910" y="4857"/>
                      <a:pt x="6910" y="4857"/>
                      <a:pt x="6910" y="4857"/>
                    </a:cubicBezTo>
                    <a:cubicBezTo>
                      <a:pt x="6914" y="4852"/>
                      <a:pt x="6914" y="4852"/>
                      <a:pt x="6914" y="4852"/>
                    </a:cubicBezTo>
                    <a:cubicBezTo>
                      <a:pt x="6994" y="4910"/>
                      <a:pt x="6994" y="4910"/>
                      <a:pt x="6994" y="4910"/>
                    </a:cubicBezTo>
                    <a:cubicBezTo>
                      <a:pt x="6990" y="4916"/>
                      <a:pt x="6990" y="4916"/>
                      <a:pt x="6990" y="4916"/>
                    </a:cubicBezTo>
                    <a:cubicBezTo>
                      <a:pt x="6930" y="4998"/>
                      <a:pt x="6930" y="4998"/>
                      <a:pt x="6930" y="4998"/>
                    </a:cubicBezTo>
                    <a:lnTo>
                      <a:pt x="7004" y="5052"/>
                    </a:lnTo>
                    <a:close/>
                    <a:moveTo>
                      <a:pt x="6985" y="5055"/>
                    </a:moveTo>
                    <a:cubicBezTo>
                      <a:pt x="6912" y="5001"/>
                      <a:pt x="6912" y="5001"/>
                      <a:pt x="6912" y="5001"/>
                    </a:cubicBezTo>
                    <a:cubicBezTo>
                      <a:pt x="6976" y="4913"/>
                      <a:pt x="6976" y="4913"/>
                      <a:pt x="6976" y="4913"/>
                    </a:cubicBezTo>
                    <a:cubicBezTo>
                      <a:pt x="6917" y="4870"/>
                      <a:pt x="6917" y="4870"/>
                      <a:pt x="6917" y="4870"/>
                    </a:cubicBezTo>
                    <a:cubicBezTo>
                      <a:pt x="6913" y="4876"/>
                      <a:pt x="6913" y="4876"/>
                      <a:pt x="6913" y="4876"/>
                    </a:cubicBezTo>
                    <a:cubicBezTo>
                      <a:pt x="6909" y="4881"/>
                      <a:pt x="6909" y="4881"/>
                      <a:pt x="6909" y="4881"/>
                    </a:cubicBezTo>
                    <a:cubicBezTo>
                      <a:pt x="6865" y="4849"/>
                      <a:pt x="6865" y="4849"/>
                      <a:pt x="6865" y="4849"/>
                    </a:cubicBezTo>
                    <a:cubicBezTo>
                      <a:pt x="6756" y="4998"/>
                      <a:pt x="6756" y="4998"/>
                      <a:pt x="6756" y="4998"/>
                    </a:cubicBezTo>
                    <a:cubicBezTo>
                      <a:pt x="6798" y="5029"/>
                      <a:pt x="6798" y="5029"/>
                      <a:pt x="6798" y="5029"/>
                    </a:cubicBezTo>
                    <a:cubicBezTo>
                      <a:pt x="6849" y="4959"/>
                      <a:pt x="6849" y="4959"/>
                      <a:pt x="6849" y="4959"/>
                    </a:cubicBezTo>
                    <a:cubicBezTo>
                      <a:pt x="6883" y="4983"/>
                      <a:pt x="6883" y="4983"/>
                      <a:pt x="6883" y="4983"/>
                    </a:cubicBezTo>
                    <a:cubicBezTo>
                      <a:pt x="6771" y="5137"/>
                      <a:pt x="6771" y="5137"/>
                      <a:pt x="6771" y="5137"/>
                    </a:cubicBezTo>
                    <a:cubicBezTo>
                      <a:pt x="6811" y="5166"/>
                      <a:pt x="6811" y="5166"/>
                      <a:pt x="6811" y="5166"/>
                    </a:cubicBezTo>
                    <a:cubicBezTo>
                      <a:pt x="6852" y="5109"/>
                      <a:pt x="6852" y="5109"/>
                      <a:pt x="6852" y="5109"/>
                    </a:cubicBezTo>
                    <a:cubicBezTo>
                      <a:pt x="6914" y="5153"/>
                      <a:pt x="6914" y="5153"/>
                      <a:pt x="6914" y="5153"/>
                    </a:cubicBezTo>
                    <a:lnTo>
                      <a:pt x="6985" y="5055"/>
                    </a:lnTo>
                    <a:close/>
                    <a:moveTo>
                      <a:pt x="6259" y="7307"/>
                    </a:moveTo>
                    <a:cubicBezTo>
                      <a:pt x="6149" y="7297"/>
                      <a:pt x="6149" y="7297"/>
                      <a:pt x="6149" y="7297"/>
                    </a:cubicBezTo>
                    <a:cubicBezTo>
                      <a:pt x="6167" y="7112"/>
                      <a:pt x="6167" y="7112"/>
                      <a:pt x="6167" y="7112"/>
                    </a:cubicBezTo>
                    <a:cubicBezTo>
                      <a:pt x="6219" y="7117"/>
                      <a:pt x="6219" y="7117"/>
                      <a:pt x="6219" y="7117"/>
                    </a:cubicBezTo>
                    <a:cubicBezTo>
                      <a:pt x="6219" y="7113"/>
                      <a:pt x="6219" y="7113"/>
                      <a:pt x="6219" y="7113"/>
                    </a:cubicBezTo>
                    <a:cubicBezTo>
                      <a:pt x="6220" y="7106"/>
                      <a:pt x="6220" y="7106"/>
                      <a:pt x="6220" y="7106"/>
                    </a:cubicBezTo>
                    <a:cubicBezTo>
                      <a:pt x="6337" y="7117"/>
                      <a:pt x="6337" y="7117"/>
                      <a:pt x="6337" y="7117"/>
                    </a:cubicBezTo>
                    <a:cubicBezTo>
                      <a:pt x="6323" y="7239"/>
                      <a:pt x="6323" y="7239"/>
                      <a:pt x="6323" y="7239"/>
                    </a:cubicBezTo>
                    <a:cubicBezTo>
                      <a:pt x="6316" y="7239"/>
                      <a:pt x="6316" y="7239"/>
                      <a:pt x="6316" y="7239"/>
                    </a:cubicBezTo>
                    <a:cubicBezTo>
                      <a:pt x="6266" y="7234"/>
                      <a:pt x="6266" y="7234"/>
                      <a:pt x="6266" y="7234"/>
                    </a:cubicBezTo>
                    <a:lnTo>
                      <a:pt x="6259" y="7307"/>
                    </a:lnTo>
                    <a:close/>
                    <a:moveTo>
                      <a:pt x="6254" y="7220"/>
                    </a:moveTo>
                    <a:cubicBezTo>
                      <a:pt x="6311" y="7225"/>
                      <a:pt x="6311" y="7225"/>
                      <a:pt x="6311" y="7225"/>
                    </a:cubicBezTo>
                    <a:cubicBezTo>
                      <a:pt x="6322" y="7129"/>
                      <a:pt x="6322" y="7129"/>
                      <a:pt x="6322" y="7129"/>
                    </a:cubicBezTo>
                    <a:cubicBezTo>
                      <a:pt x="6232" y="7121"/>
                      <a:pt x="6232" y="7121"/>
                      <a:pt x="6232" y="7121"/>
                    </a:cubicBezTo>
                    <a:cubicBezTo>
                      <a:pt x="6231" y="7125"/>
                      <a:pt x="6231" y="7125"/>
                      <a:pt x="6231" y="7125"/>
                    </a:cubicBezTo>
                    <a:cubicBezTo>
                      <a:pt x="6231" y="7131"/>
                      <a:pt x="6231" y="7131"/>
                      <a:pt x="6231" y="7131"/>
                    </a:cubicBezTo>
                    <a:cubicBezTo>
                      <a:pt x="6179" y="7126"/>
                      <a:pt x="6179" y="7126"/>
                      <a:pt x="6179" y="7126"/>
                    </a:cubicBezTo>
                    <a:cubicBezTo>
                      <a:pt x="6164" y="7285"/>
                      <a:pt x="6164" y="7285"/>
                      <a:pt x="6164" y="7285"/>
                    </a:cubicBezTo>
                    <a:cubicBezTo>
                      <a:pt x="6247" y="7293"/>
                      <a:pt x="6247" y="7293"/>
                      <a:pt x="6247" y="7293"/>
                    </a:cubicBezTo>
                    <a:lnTo>
                      <a:pt x="6254" y="7220"/>
                    </a:lnTo>
                    <a:close/>
                    <a:moveTo>
                      <a:pt x="7111" y="4029"/>
                    </a:moveTo>
                    <a:cubicBezTo>
                      <a:pt x="6910" y="3966"/>
                      <a:pt x="6910" y="3966"/>
                      <a:pt x="6910" y="3966"/>
                    </a:cubicBezTo>
                    <a:cubicBezTo>
                      <a:pt x="6912" y="3959"/>
                      <a:pt x="6912" y="3959"/>
                      <a:pt x="6912" y="3959"/>
                    </a:cubicBezTo>
                    <a:cubicBezTo>
                      <a:pt x="6936" y="3883"/>
                      <a:pt x="6936" y="3883"/>
                      <a:pt x="6936" y="3883"/>
                    </a:cubicBezTo>
                    <a:cubicBezTo>
                      <a:pt x="6981" y="3897"/>
                      <a:pt x="6981" y="3897"/>
                      <a:pt x="6981" y="3897"/>
                    </a:cubicBezTo>
                    <a:cubicBezTo>
                      <a:pt x="6994" y="3856"/>
                      <a:pt x="6994" y="3856"/>
                      <a:pt x="6994" y="3856"/>
                    </a:cubicBezTo>
                    <a:cubicBezTo>
                      <a:pt x="7105" y="3891"/>
                      <a:pt x="7105" y="3891"/>
                      <a:pt x="7105" y="3891"/>
                    </a:cubicBezTo>
                    <a:cubicBezTo>
                      <a:pt x="7092" y="3933"/>
                      <a:pt x="7092" y="3933"/>
                      <a:pt x="7092" y="3933"/>
                    </a:cubicBezTo>
                    <a:cubicBezTo>
                      <a:pt x="7137" y="3947"/>
                      <a:pt x="7137" y="3947"/>
                      <a:pt x="7137" y="3947"/>
                    </a:cubicBezTo>
                    <a:lnTo>
                      <a:pt x="7111" y="4029"/>
                    </a:lnTo>
                    <a:close/>
                    <a:moveTo>
                      <a:pt x="7102" y="4012"/>
                    </a:moveTo>
                    <a:cubicBezTo>
                      <a:pt x="7120" y="3955"/>
                      <a:pt x="7120" y="3955"/>
                      <a:pt x="7120" y="3955"/>
                    </a:cubicBezTo>
                    <a:cubicBezTo>
                      <a:pt x="7076" y="3941"/>
                      <a:pt x="7076" y="3941"/>
                      <a:pt x="7076" y="3941"/>
                    </a:cubicBezTo>
                    <a:cubicBezTo>
                      <a:pt x="7088" y="3900"/>
                      <a:pt x="7088" y="3900"/>
                      <a:pt x="7088" y="3900"/>
                    </a:cubicBezTo>
                    <a:cubicBezTo>
                      <a:pt x="7002" y="3873"/>
                      <a:pt x="7002" y="3873"/>
                      <a:pt x="7002" y="3873"/>
                    </a:cubicBezTo>
                    <a:cubicBezTo>
                      <a:pt x="6989" y="3914"/>
                      <a:pt x="6989" y="3914"/>
                      <a:pt x="6989" y="3914"/>
                    </a:cubicBezTo>
                    <a:cubicBezTo>
                      <a:pt x="6945" y="3900"/>
                      <a:pt x="6945" y="3900"/>
                      <a:pt x="6945" y="3900"/>
                    </a:cubicBezTo>
                    <a:cubicBezTo>
                      <a:pt x="6926" y="3957"/>
                      <a:pt x="6926" y="3957"/>
                      <a:pt x="6926" y="3957"/>
                    </a:cubicBezTo>
                    <a:lnTo>
                      <a:pt x="7102" y="4012"/>
                    </a:lnTo>
                    <a:close/>
                    <a:moveTo>
                      <a:pt x="6698" y="5948"/>
                    </a:moveTo>
                    <a:cubicBezTo>
                      <a:pt x="6773" y="5953"/>
                      <a:pt x="6773" y="5953"/>
                      <a:pt x="6773" y="5953"/>
                    </a:cubicBezTo>
                    <a:cubicBezTo>
                      <a:pt x="6769" y="6029"/>
                      <a:pt x="6769" y="6029"/>
                      <a:pt x="6769" y="6029"/>
                    </a:cubicBezTo>
                    <a:cubicBezTo>
                      <a:pt x="6762" y="6028"/>
                      <a:pt x="6762" y="6028"/>
                      <a:pt x="6762" y="6028"/>
                    </a:cubicBezTo>
                    <a:cubicBezTo>
                      <a:pt x="6571" y="6014"/>
                      <a:pt x="6571" y="6014"/>
                      <a:pt x="6571" y="6014"/>
                    </a:cubicBezTo>
                    <a:cubicBezTo>
                      <a:pt x="6574" y="5964"/>
                      <a:pt x="6574" y="5964"/>
                      <a:pt x="6574" y="5964"/>
                    </a:cubicBezTo>
                    <a:cubicBezTo>
                      <a:pt x="6562" y="5964"/>
                      <a:pt x="6562" y="5964"/>
                      <a:pt x="6562" y="5964"/>
                    </a:cubicBezTo>
                    <a:cubicBezTo>
                      <a:pt x="6556" y="5963"/>
                      <a:pt x="6556" y="5963"/>
                      <a:pt x="6556" y="5963"/>
                    </a:cubicBezTo>
                    <a:cubicBezTo>
                      <a:pt x="6562" y="5867"/>
                      <a:pt x="6562" y="5867"/>
                      <a:pt x="6562" y="5867"/>
                    </a:cubicBezTo>
                    <a:cubicBezTo>
                      <a:pt x="6702" y="5875"/>
                      <a:pt x="6702" y="5875"/>
                      <a:pt x="6702" y="5875"/>
                    </a:cubicBezTo>
                    <a:lnTo>
                      <a:pt x="6698" y="5948"/>
                    </a:lnTo>
                    <a:close/>
                    <a:moveTo>
                      <a:pt x="6684" y="5961"/>
                    </a:moveTo>
                    <a:cubicBezTo>
                      <a:pt x="6689" y="5888"/>
                      <a:pt x="6689" y="5888"/>
                      <a:pt x="6689" y="5888"/>
                    </a:cubicBezTo>
                    <a:cubicBezTo>
                      <a:pt x="6574" y="5881"/>
                      <a:pt x="6574" y="5881"/>
                      <a:pt x="6574" y="5881"/>
                    </a:cubicBezTo>
                    <a:cubicBezTo>
                      <a:pt x="6570" y="5951"/>
                      <a:pt x="6570" y="5951"/>
                      <a:pt x="6570" y="5951"/>
                    </a:cubicBezTo>
                    <a:cubicBezTo>
                      <a:pt x="6581" y="5952"/>
                      <a:pt x="6581" y="5952"/>
                      <a:pt x="6581" y="5952"/>
                    </a:cubicBezTo>
                    <a:cubicBezTo>
                      <a:pt x="6588" y="5952"/>
                      <a:pt x="6588" y="5952"/>
                      <a:pt x="6588" y="5952"/>
                    </a:cubicBezTo>
                    <a:cubicBezTo>
                      <a:pt x="6585" y="6002"/>
                      <a:pt x="6585" y="6002"/>
                      <a:pt x="6585" y="6002"/>
                    </a:cubicBezTo>
                    <a:cubicBezTo>
                      <a:pt x="6757" y="6015"/>
                      <a:pt x="6757" y="6015"/>
                      <a:pt x="6757" y="6015"/>
                    </a:cubicBezTo>
                    <a:cubicBezTo>
                      <a:pt x="6760" y="5965"/>
                      <a:pt x="6760" y="5965"/>
                      <a:pt x="6760" y="5965"/>
                    </a:cubicBezTo>
                    <a:lnTo>
                      <a:pt x="6684" y="5961"/>
                    </a:lnTo>
                    <a:close/>
                    <a:moveTo>
                      <a:pt x="6293" y="6812"/>
                    </a:moveTo>
                    <a:cubicBezTo>
                      <a:pt x="6477" y="6839"/>
                      <a:pt x="6477" y="6839"/>
                      <a:pt x="6477" y="6839"/>
                    </a:cubicBezTo>
                    <a:cubicBezTo>
                      <a:pt x="6460" y="6948"/>
                      <a:pt x="6460" y="6948"/>
                      <a:pt x="6460" y="6948"/>
                    </a:cubicBezTo>
                    <a:cubicBezTo>
                      <a:pt x="6388" y="6937"/>
                      <a:pt x="6388" y="6937"/>
                      <a:pt x="6388" y="6937"/>
                    </a:cubicBezTo>
                    <a:cubicBezTo>
                      <a:pt x="6379" y="6994"/>
                      <a:pt x="6379" y="6994"/>
                      <a:pt x="6379" y="6994"/>
                    </a:cubicBezTo>
                    <a:cubicBezTo>
                      <a:pt x="6373" y="6993"/>
                      <a:pt x="6373" y="6993"/>
                      <a:pt x="6373" y="6993"/>
                    </a:cubicBezTo>
                    <a:cubicBezTo>
                      <a:pt x="6258" y="6978"/>
                      <a:pt x="6258" y="6978"/>
                      <a:pt x="6258" y="6978"/>
                    </a:cubicBezTo>
                    <a:cubicBezTo>
                      <a:pt x="6275" y="6862"/>
                      <a:pt x="6275" y="6862"/>
                      <a:pt x="6275" y="6862"/>
                    </a:cubicBezTo>
                    <a:cubicBezTo>
                      <a:pt x="6285" y="6863"/>
                      <a:pt x="6285" y="6863"/>
                      <a:pt x="6285" y="6863"/>
                    </a:cubicBezTo>
                    <a:lnTo>
                      <a:pt x="6293" y="6812"/>
                    </a:lnTo>
                    <a:close/>
                    <a:moveTo>
                      <a:pt x="6296" y="6878"/>
                    </a:moveTo>
                    <a:cubicBezTo>
                      <a:pt x="6286" y="6877"/>
                      <a:pt x="6286" y="6877"/>
                      <a:pt x="6286" y="6877"/>
                    </a:cubicBezTo>
                    <a:cubicBezTo>
                      <a:pt x="6273" y="6967"/>
                      <a:pt x="6273" y="6967"/>
                      <a:pt x="6273" y="6967"/>
                    </a:cubicBezTo>
                    <a:cubicBezTo>
                      <a:pt x="6368" y="6979"/>
                      <a:pt x="6368" y="6979"/>
                      <a:pt x="6368" y="6979"/>
                    </a:cubicBezTo>
                    <a:cubicBezTo>
                      <a:pt x="6377" y="6922"/>
                      <a:pt x="6377" y="6922"/>
                      <a:pt x="6377" y="6922"/>
                    </a:cubicBezTo>
                    <a:cubicBezTo>
                      <a:pt x="6449" y="6933"/>
                      <a:pt x="6449" y="6933"/>
                      <a:pt x="6449" y="6933"/>
                    </a:cubicBezTo>
                    <a:cubicBezTo>
                      <a:pt x="6462" y="6850"/>
                      <a:pt x="6462" y="6850"/>
                      <a:pt x="6462" y="6850"/>
                    </a:cubicBezTo>
                    <a:cubicBezTo>
                      <a:pt x="6304" y="6827"/>
                      <a:pt x="6304" y="6827"/>
                      <a:pt x="6304" y="6827"/>
                    </a:cubicBezTo>
                    <a:lnTo>
                      <a:pt x="6296" y="6878"/>
                    </a:lnTo>
                    <a:close/>
                    <a:moveTo>
                      <a:pt x="6601" y="6299"/>
                    </a:moveTo>
                    <a:cubicBezTo>
                      <a:pt x="6731" y="6297"/>
                      <a:pt x="6731" y="6297"/>
                      <a:pt x="6731" y="6297"/>
                    </a:cubicBezTo>
                    <a:cubicBezTo>
                      <a:pt x="6730" y="6468"/>
                      <a:pt x="6730" y="6468"/>
                      <a:pt x="6730" y="6468"/>
                    </a:cubicBezTo>
                    <a:cubicBezTo>
                      <a:pt x="6643" y="6469"/>
                      <a:pt x="6643" y="6469"/>
                      <a:pt x="6643" y="6469"/>
                    </a:cubicBezTo>
                    <a:cubicBezTo>
                      <a:pt x="6643" y="6566"/>
                      <a:pt x="6643" y="6566"/>
                      <a:pt x="6643" y="6566"/>
                    </a:cubicBezTo>
                    <a:cubicBezTo>
                      <a:pt x="6520" y="6566"/>
                      <a:pt x="6520" y="6566"/>
                      <a:pt x="6520" y="6566"/>
                    </a:cubicBezTo>
                    <a:cubicBezTo>
                      <a:pt x="6518" y="6384"/>
                      <a:pt x="6518" y="6384"/>
                      <a:pt x="6518" y="6384"/>
                    </a:cubicBezTo>
                    <a:cubicBezTo>
                      <a:pt x="6601" y="6383"/>
                      <a:pt x="6601" y="6383"/>
                      <a:pt x="6601" y="6383"/>
                    </a:cubicBezTo>
                    <a:lnTo>
                      <a:pt x="6601" y="6299"/>
                    </a:lnTo>
                    <a:close/>
                    <a:moveTo>
                      <a:pt x="6614" y="6312"/>
                    </a:moveTo>
                    <a:cubicBezTo>
                      <a:pt x="6615" y="6396"/>
                      <a:pt x="6615" y="6396"/>
                      <a:pt x="6615" y="6396"/>
                    </a:cubicBezTo>
                    <a:cubicBezTo>
                      <a:pt x="6531" y="6397"/>
                      <a:pt x="6531" y="6397"/>
                      <a:pt x="6531" y="6397"/>
                    </a:cubicBezTo>
                    <a:cubicBezTo>
                      <a:pt x="6533" y="6553"/>
                      <a:pt x="6533" y="6553"/>
                      <a:pt x="6533" y="6553"/>
                    </a:cubicBezTo>
                    <a:cubicBezTo>
                      <a:pt x="6630" y="6553"/>
                      <a:pt x="6630" y="6553"/>
                      <a:pt x="6630" y="6553"/>
                    </a:cubicBezTo>
                    <a:cubicBezTo>
                      <a:pt x="6630" y="6456"/>
                      <a:pt x="6630" y="6456"/>
                      <a:pt x="6630" y="6456"/>
                    </a:cubicBezTo>
                    <a:cubicBezTo>
                      <a:pt x="6637" y="6456"/>
                      <a:pt x="6637" y="6456"/>
                      <a:pt x="6637" y="6456"/>
                    </a:cubicBezTo>
                    <a:cubicBezTo>
                      <a:pt x="6717" y="6455"/>
                      <a:pt x="6717" y="6455"/>
                      <a:pt x="6717" y="6455"/>
                    </a:cubicBezTo>
                    <a:cubicBezTo>
                      <a:pt x="6718" y="6311"/>
                      <a:pt x="6718" y="6311"/>
                      <a:pt x="6718" y="6311"/>
                    </a:cubicBezTo>
                    <a:lnTo>
                      <a:pt x="6614" y="6312"/>
                    </a:lnTo>
                    <a:close/>
                    <a:moveTo>
                      <a:pt x="6755" y="5501"/>
                    </a:moveTo>
                    <a:cubicBezTo>
                      <a:pt x="6831" y="5508"/>
                      <a:pt x="6831" y="5508"/>
                      <a:pt x="6831" y="5508"/>
                    </a:cubicBezTo>
                    <a:cubicBezTo>
                      <a:pt x="6824" y="5584"/>
                      <a:pt x="6824" y="5584"/>
                      <a:pt x="6824" y="5584"/>
                    </a:cubicBezTo>
                    <a:cubicBezTo>
                      <a:pt x="6817" y="5583"/>
                      <a:pt x="6817" y="5583"/>
                      <a:pt x="6817" y="5583"/>
                    </a:cubicBezTo>
                    <a:cubicBezTo>
                      <a:pt x="6626" y="5563"/>
                      <a:pt x="6626" y="5563"/>
                      <a:pt x="6626" y="5563"/>
                    </a:cubicBezTo>
                    <a:cubicBezTo>
                      <a:pt x="6631" y="5514"/>
                      <a:pt x="6631" y="5514"/>
                      <a:pt x="6631" y="5514"/>
                    </a:cubicBezTo>
                    <a:cubicBezTo>
                      <a:pt x="6619" y="5513"/>
                      <a:pt x="6619" y="5513"/>
                      <a:pt x="6619" y="5513"/>
                    </a:cubicBezTo>
                    <a:cubicBezTo>
                      <a:pt x="6613" y="5512"/>
                      <a:pt x="6613" y="5512"/>
                      <a:pt x="6613" y="5512"/>
                    </a:cubicBezTo>
                    <a:cubicBezTo>
                      <a:pt x="6622" y="5416"/>
                      <a:pt x="6622" y="5416"/>
                      <a:pt x="6622" y="5416"/>
                    </a:cubicBezTo>
                    <a:cubicBezTo>
                      <a:pt x="6762" y="5429"/>
                      <a:pt x="6762" y="5429"/>
                      <a:pt x="6762" y="5429"/>
                    </a:cubicBezTo>
                    <a:lnTo>
                      <a:pt x="6755" y="5501"/>
                    </a:lnTo>
                    <a:close/>
                    <a:moveTo>
                      <a:pt x="6741" y="5513"/>
                    </a:moveTo>
                    <a:cubicBezTo>
                      <a:pt x="6748" y="5441"/>
                      <a:pt x="6748" y="5441"/>
                      <a:pt x="6748" y="5441"/>
                    </a:cubicBezTo>
                    <a:cubicBezTo>
                      <a:pt x="6633" y="5430"/>
                      <a:pt x="6633" y="5430"/>
                      <a:pt x="6633" y="5430"/>
                    </a:cubicBezTo>
                    <a:cubicBezTo>
                      <a:pt x="6627" y="5500"/>
                      <a:pt x="6627" y="5500"/>
                      <a:pt x="6627" y="5500"/>
                    </a:cubicBezTo>
                    <a:cubicBezTo>
                      <a:pt x="6639" y="5501"/>
                      <a:pt x="6639" y="5501"/>
                      <a:pt x="6639" y="5501"/>
                    </a:cubicBezTo>
                    <a:cubicBezTo>
                      <a:pt x="6645" y="5502"/>
                      <a:pt x="6645" y="5502"/>
                      <a:pt x="6645" y="5502"/>
                    </a:cubicBezTo>
                    <a:cubicBezTo>
                      <a:pt x="6641" y="5551"/>
                      <a:pt x="6641" y="5551"/>
                      <a:pt x="6641" y="5551"/>
                    </a:cubicBezTo>
                    <a:cubicBezTo>
                      <a:pt x="6812" y="5570"/>
                      <a:pt x="6812" y="5570"/>
                      <a:pt x="6812" y="5570"/>
                    </a:cubicBezTo>
                    <a:cubicBezTo>
                      <a:pt x="6816" y="5520"/>
                      <a:pt x="6816" y="5520"/>
                      <a:pt x="6816" y="5520"/>
                    </a:cubicBezTo>
                    <a:lnTo>
                      <a:pt x="6741" y="5513"/>
                    </a:lnTo>
                    <a:close/>
                    <a:moveTo>
                      <a:pt x="7190" y="3598"/>
                    </a:moveTo>
                    <a:cubicBezTo>
                      <a:pt x="7245" y="3615"/>
                      <a:pt x="7245" y="3615"/>
                      <a:pt x="7245" y="3615"/>
                    </a:cubicBezTo>
                    <a:cubicBezTo>
                      <a:pt x="7243" y="3621"/>
                      <a:pt x="7243" y="3621"/>
                      <a:pt x="7243" y="3621"/>
                    </a:cubicBezTo>
                    <a:cubicBezTo>
                      <a:pt x="7212" y="3733"/>
                      <a:pt x="7212" y="3733"/>
                      <a:pt x="7212" y="3733"/>
                    </a:cubicBezTo>
                    <a:cubicBezTo>
                      <a:pt x="7102" y="3701"/>
                      <a:pt x="7102" y="3701"/>
                      <a:pt x="7102" y="3701"/>
                    </a:cubicBezTo>
                    <a:cubicBezTo>
                      <a:pt x="7106" y="3687"/>
                      <a:pt x="7106" y="3687"/>
                      <a:pt x="7106" y="3687"/>
                    </a:cubicBezTo>
                    <a:cubicBezTo>
                      <a:pt x="7056" y="3673"/>
                      <a:pt x="7056" y="3673"/>
                      <a:pt x="7056" y="3673"/>
                    </a:cubicBezTo>
                    <a:cubicBezTo>
                      <a:pt x="7106" y="3494"/>
                      <a:pt x="7106" y="3494"/>
                      <a:pt x="7106" y="3494"/>
                    </a:cubicBezTo>
                    <a:cubicBezTo>
                      <a:pt x="7211" y="3524"/>
                      <a:pt x="7211" y="3524"/>
                      <a:pt x="7211" y="3524"/>
                    </a:cubicBezTo>
                    <a:lnTo>
                      <a:pt x="7190" y="3598"/>
                    </a:lnTo>
                    <a:close/>
                    <a:moveTo>
                      <a:pt x="7173" y="3606"/>
                    </a:moveTo>
                    <a:cubicBezTo>
                      <a:pt x="7195" y="3533"/>
                      <a:pt x="7195" y="3533"/>
                      <a:pt x="7195" y="3533"/>
                    </a:cubicBezTo>
                    <a:cubicBezTo>
                      <a:pt x="7115" y="3510"/>
                      <a:pt x="7115" y="3510"/>
                      <a:pt x="7115" y="3510"/>
                    </a:cubicBezTo>
                    <a:cubicBezTo>
                      <a:pt x="7072" y="3664"/>
                      <a:pt x="7072" y="3664"/>
                      <a:pt x="7072" y="3664"/>
                    </a:cubicBezTo>
                    <a:cubicBezTo>
                      <a:pt x="7123" y="3678"/>
                      <a:pt x="7123" y="3678"/>
                      <a:pt x="7123" y="3678"/>
                    </a:cubicBezTo>
                    <a:cubicBezTo>
                      <a:pt x="7118" y="3692"/>
                      <a:pt x="7118" y="3692"/>
                      <a:pt x="7118" y="3692"/>
                    </a:cubicBezTo>
                    <a:cubicBezTo>
                      <a:pt x="7203" y="3717"/>
                      <a:pt x="7203" y="3717"/>
                      <a:pt x="7203" y="3717"/>
                    </a:cubicBezTo>
                    <a:cubicBezTo>
                      <a:pt x="7229" y="3624"/>
                      <a:pt x="7229" y="3624"/>
                      <a:pt x="7229" y="3624"/>
                    </a:cubicBezTo>
                    <a:lnTo>
                      <a:pt x="7173" y="3606"/>
                    </a:lnTo>
                    <a:close/>
                    <a:moveTo>
                      <a:pt x="7399" y="3632"/>
                    </a:moveTo>
                    <a:cubicBezTo>
                      <a:pt x="7404" y="3618"/>
                      <a:pt x="7404" y="3618"/>
                      <a:pt x="7404" y="3618"/>
                    </a:cubicBezTo>
                    <a:cubicBezTo>
                      <a:pt x="7354" y="3604"/>
                      <a:pt x="7354" y="3604"/>
                      <a:pt x="7354" y="3604"/>
                    </a:cubicBezTo>
                    <a:cubicBezTo>
                      <a:pt x="7403" y="3425"/>
                      <a:pt x="7403" y="3425"/>
                      <a:pt x="7403" y="3425"/>
                    </a:cubicBezTo>
                    <a:cubicBezTo>
                      <a:pt x="7509" y="3454"/>
                      <a:pt x="7509" y="3454"/>
                      <a:pt x="7509" y="3454"/>
                    </a:cubicBezTo>
                    <a:cubicBezTo>
                      <a:pt x="7487" y="3529"/>
                      <a:pt x="7487" y="3529"/>
                      <a:pt x="7487" y="3529"/>
                    </a:cubicBezTo>
                    <a:cubicBezTo>
                      <a:pt x="7542" y="3546"/>
                      <a:pt x="7542" y="3546"/>
                      <a:pt x="7542" y="3546"/>
                    </a:cubicBezTo>
                    <a:cubicBezTo>
                      <a:pt x="7540" y="3552"/>
                      <a:pt x="7540" y="3552"/>
                      <a:pt x="7540" y="3552"/>
                    </a:cubicBezTo>
                    <a:cubicBezTo>
                      <a:pt x="7510" y="3664"/>
                      <a:pt x="7510" y="3664"/>
                      <a:pt x="7510" y="3664"/>
                    </a:cubicBezTo>
                    <a:lnTo>
                      <a:pt x="7399" y="3632"/>
                    </a:lnTo>
                    <a:close/>
                    <a:moveTo>
                      <a:pt x="7420" y="3609"/>
                    </a:moveTo>
                    <a:cubicBezTo>
                      <a:pt x="7416" y="3623"/>
                      <a:pt x="7416" y="3623"/>
                      <a:pt x="7416" y="3623"/>
                    </a:cubicBezTo>
                    <a:cubicBezTo>
                      <a:pt x="7501" y="3648"/>
                      <a:pt x="7501" y="3648"/>
                      <a:pt x="7501" y="3648"/>
                    </a:cubicBezTo>
                    <a:cubicBezTo>
                      <a:pt x="7526" y="3555"/>
                      <a:pt x="7526" y="3555"/>
                      <a:pt x="7526" y="3555"/>
                    </a:cubicBezTo>
                    <a:cubicBezTo>
                      <a:pt x="7471" y="3537"/>
                      <a:pt x="7471" y="3537"/>
                      <a:pt x="7471" y="3537"/>
                    </a:cubicBezTo>
                    <a:cubicBezTo>
                      <a:pt x="7493" y="3463"/>
                      <a:pt x="7493" y="3463"/>
                      <a:pt x="7493" y="3463"/>
                    </a:cubicBezTo>
                    <a:cubicBezTo>
                      <a:pt x="7412" y="3441"/>
                      <a:pt x="7412" y="3441"/>
                      <a:pt x="7412" y="3441"/>
                    </a:cubicBezTo>
                    <a:cubicBezTo>
                      <a:pt x="7370" y="3595"/>
                      <a:pt x="7370" y="3595"/>
                      <a:pt x="7370" y="3595"/>
                    </a:cubicBezTo>
                    <a:lnTo>
                      <a:pt x="7420" y="3609"/>
                    </a:lnTo>
                    <a:close/>
                    <a:moveTo>
                      <a:pt x="6897" y="3323"/>
                    </a:moveTo>
                    <a:cubicBezTo>
                      <a:pt x="6840" y="3313"/>
                      <a:pt x="6840" y="3313"/>
                      <a:pt x="6840" y="3313"/>
                    </a:cubicBezTo>
                    <a:cubicBezTo>
                      <a:pt x="6841" y="3307"/>
                      <a:pt x="6841" y="3307"/>
                      <a:pt x="6841" y="3307"/>
                    </a:cubicBezTo>
                    <a:cubicBezTo>
                      <a:pt x="6856" y="3191"/>
                      <a:pt x="6856" y="3191"/>
                      <a:pt x="6856" y="3191"/>
                    </a:cubicBezTo>
                    <a:cubicBezTo>
                      <a:pt x="6970" y="3209"/>
                      <a:pt x="6970" y="3209"/>
                      <a:pt x="6970" y="3209"/>
                    </a:cubicBezTo>
                    <a:cubicBezTo>
                      <a:pt x="6968" y="3223"/>
                      <a:pt x="6968" y="3223"/>
                      <a:pt x="6968" y="3223"/>
                    </a:cubicBezTo>
                    <a:cubicBezTo>
                      <a:pt x="7019" y="3230"/>
                      <a:pt x="7019" y="3230"/>
                      <a:pt x="7019" y="3230"/>
                    </a:cubicBezTo>
                    <a:cubicBezTo>
                      <a:pt x="6994" y="3414"/>
                      <a:pt x="6994" y="3414"/>
                      <a:pt x="6994" y="3414"/>
                    </a:cubicBezTo>
                    <a:cubicBezTo>
                      <a:pt x="6885" y="3399"/>
                      <a:pt x="6885" y="3399"/>
                      <a:pt x="6885" y="3399"/>
                    </a:cubicBezTo>
                    <a:lnTo>
                      <a:pt x="6897" y="3323"/>
                    </a:lnTo>
                    <a:close/>
                    <a:moveTo>
                      <a:pt x="6912" y="3312"/>
                    </a:moveTo>
                    <a:cubicBezTo>
                      <a:pt x="6900" y="3388"/>
                      <a:pt x="6900" y="3388"/>
                      <a:pt x="6900" y="3388"/>
                    </a:cubicBezTo>
                    <a:cubicBezTo>
                      <a:pt x="6983" y="3399"/>
                      <a:pt x="6983" y="3399"/>
                      <a:pt x="6983" y="3399"/>
                    </a:cubicBezTo>
                    <a:cubicBezTo>
                      <a:pt x="7004" y="3242"/>
                      <a:pt x="7004" y="3242"/>
                      <a:pt x="7004" y="3242"/>
                    </a:cubicBezTo>
                    <a:cubicBezTo>
                      <a:pt x="6952" y="3235"/>
                      <a:pt x="6952" y="3235"/>
                      <a:pt x="6952" y="3235"/>
                    </a:cubicBezTo>
                    <a:cubicBezTo>
                      <a:pt x="6955" y="3220"/>
                      <a:pt x="6955" y="3220"/>
                      <a:pt x="6955" y="3220"/>
                    </a:cubicBezTo>
                    <a:cubicBezTo>
                      <a:pt x="6867" y="3206"/>
                      <a:pt x="6867" y="3206"/>
                      <a:pt x="6867" y="3206"/>
                    </a:cubicBezTo>
                    <a:cubicBezTo>
                      <a:pt x="6855" y="3302"/>
                      <a:pt x="6855" y="3302"/>
                      <a:pt x="6855" y="3302"/>
                    </a:cubicBezTo>
                    <a:lnTo>
                      <a:pt x="6912" y="3312"/>
                    </a:lnTo>
                    <a:close/>
                    <a:moveTo>
                      <a:pt x="7453" y="2555"/>
                    </a:moveTo>
                    <a:cubicBezTo>
                      <a:pt x="7506" y="2609"/>
                      <a:pt x="7506" y="2609"/>
                      <a:pt x="7506" y="2609"/>
                    </a:cubicBezTo>
                    <a:cubicBezTo>
                      <a:pt x="7452" y="2662"/>
                      <a:pt x="7452" y="2662"/>
                      <a:pt x="7452" y="2662"/>
                    </a:cubicBezTo>
                    <a:cubicBezTo>
                      <a:pt x="7447" y="2657"/>
                      <a:pt x="7447" y="2657"/>
                      <a:pt x="7447" y="2657"/>
                    </a:cubicBezTo>
                    <a:cubicBezTo>
                      <a:pt x="7315" y="2518"/>
                      <a:pt x="7315" y="2518"/>
                      <a:pt x="7315" y="2518"/>
                    </a:cubicBezTo>
                    <a:cubicBezTo>
                      <a:pt x="7351" y="2483"/>
                      <a:pt x="7351" y="2483"/>
                      <a:pt x="7351" y="2483"/>
                    </a:cubicBezTo>
                    <a:cubicBezTo>
                      <a:pt x="7343" y="2475"/>
                      <a:pt x="7343" y="2475"/>
                      <a:pt x="7343" y="2475"/>
                    </a:cubicBezTo>
                    <a:cubicBezTo>
                      <a:pt x="7338" y="2470"/>
                      <a:pt x="7338" y="2470"/>
                      <a:pt x="7338" y="2470"/>
                    </a:cubicBezTo>
                    <a:cubicBezTo>
                      <a:pt x="7407" y="2402"/>
                      <a:pt x="7407" y="2402"/>
                      <a:pt x="7407" y="2402"/>
                    </a:cubicBezTo>
                    <a:cubicBezTo>
                      <a:pt x="7506" y="2504"/>
                      <a:pt x="7506" y="2504"/>
                      <a:pt x="7506" y="2504"/>
                    </a:cubicBezTo>
                    <a:lnTo>
                      <a:pt x="7453" y="2555"/>
                    </a:lnTo>
                    <a:close/>
                    <a:moveTo>
                      <a:pt x="7435" y="2554"/>
                    </a:moveTo>
                    <a:cubicBezTo>
                      <a:pt x="7487" y="2503"/>
                      <a:pt x="7487" y="2503"/>
                      <a:pt x="7487" y="2503"/>
                    </a:cubicBezTo>
                    <a:cubicBezTo>
                      <a:pt x="7407" y="2421"/>
                      <a:pt x="7407" y="2421"/>
                      <a:pt x="7407" y="2421"/>
                    </a:cubicBezTo>
                    <a:cubicBezTo>
                      <a:pt x="7357" y="2470"/>
                      <a:pt x="7357" y="2470"/>
                      <a:pt x="7357" y="2470"/>
                    </a:cubicBezTo>
                    <a:cubicBezTo>
                      <a:pt x="7365" y="2479"/>
                      <a:pt x="7365" y="2479"/>
                      <a:pt x="7365" y="2479"/>
                    </a:cubicBezTo>
                    <a:cubicBezTo>
                      <a:pt x="7369" y="2483"/>
                      <a:pt x="7369" y="2483"/>
                      <a:pt x="7369" y="2483"/>
                    </a:cubicBezTo>
                    <a:cubicBezTo>
                      <a:pt x="7334" y="2518"/>
                      <a:pt x="7334" y="2518"/>
                      <a:pt x="7334" y="2518"/>
                    </a:cubicBezTo>
                    <a:cubicBezTo>
                      <a:pt x="7452" y="2643"/>
                      <a:pt x="7452" y="2643"/>
                      <a:pt x="7452" y="2643"/>
                    </a:cubicBezTo>
                    <a:cubicBezTo>
                      <a:pt x="7488" y="2609"/>
                      <a:pt x="7488" y="2609"/>
                      <a:pt x="7488" y="2609"/>
                    </a:cubicBezTo>
                    <a:lnTo>
                      <a:pt x="7435" y="2554"/>
                    </a:lnTo>
                    <a:close/>
                    <a:moveTo>
                      <a:pt x="7276" y="2776"/>
                    </a:moveTo>
                    <a:cubicBezTo>
                      <a:pt x="7329" y="2830"/>
                      <a:pt x="7329" y="2830"/>
                      <a:pt x="7329" y="2830"/>
                    </a:cubicBezTo>
                    <a:cubicBezTo>
                      <a:pt x="7274" y="2883"/>
                      <a:pt x="7274" y="2883"/>
                      <a:pt x="7274" y="2883"/>
                    </a:cubicBezTo>
                    <a:cubicBezTo>
                      <a:pt x="7270" y="2878"/>
                      <a:pt x="7270" y="2878"/>
                      <a:pt x="7270" y="2878"/>
                    </a:cubicBezTo>
                    <a:cubicBezTo>
                      <a:pt x="7138" y="2739"/>
                      <a:pt x="7138" y="2739"/>
                      <a:pt x="7138" y="2739"/>
                    </a:cubicBezTo>
                    <a:cubicBezTo>
                      <a:pt x="7173" y="2704"/>
                      <a:pt x="7173" y="2704"/>
                      <a:pt x="7173" y="2704"/>
                    </a:cubicBezTo>
                    <a:cubicBezTo>
                      <a:pt x="7165" y="2696"/>
                      <a:pt x="7165" y="2696"/>
                      <a:pt x="7165" y="2696"/>
                    </a:cubicBezTo>
                    <a:cubicBezTo>
                      <a:pt x="7161" y="2691"/>
                      <a:pt x="7161" y="2691"/>
                      <a:pt x="7161" y="2691"/>
                    </a:cubicBezTo>
                    <a:cubicBezTo>
                      <a:pt x="7230" y="2624"/>
                      <a:pt x="7230" y="2624"/>
                      <a:pt x="7230" y="2624"/>
                    </a:cubicBezTo>
                    <a:cubicBezTo>
                      <a:pt x="7328" y="2725"/>
                      <a:pt x="7328" y="2725"/>
                      <a:pt x="7328" y="2725"/>
                    </a:cubicBezTo>
                    <a:lnTo>
                      <a:pt x="7276" y="2776"/>
                    </a:lnTo>
                    <a:close/>
                    <a:moveTo>
                      <a:pt x="7257" y="2776"/>
                    </a:moveTo>
                    <a:cubicBezTo>
                      <a:pt x="7310" y="2725"/>
                      <a:pt x="7310" y="2725"/>
                      <a:pt x="7310" y="2725"/>
                    </a:cubicBezTo>
                    <a:cubicBezTo>
                      <a:pt x="7230" y="2642"/>
                      <a:pt x="7230" y="2642"/>
                      <a:pt x="7230" y="2642"/>
                    </a:cubicBezTo>
                    <a:cubicBezTo>
                      <a:pt x="7179" y="2692"/>
                      <a:pt x="7179" y="2692"/>
                      <a:pt x="7179" y="2692"/>
                    </a:cubicBezTo>
                    <a:cubicBezTo>
                      <a:pt x="7187" y="2700"/>
                      <a:pt x="7187" y="2700"/>
                      <a:pt x="7187" y="2700"/>
                    </a:cubicBezTo>
                    <a:cubicBezTo>
                      <a:pt x="7192" y="2705"/>
                      <a:pt x="7192" y="2705"/>
                      <a:pt x="7192" y="2705"/>
                    </a:cubicBezTo>
                    <a:cubicBezTo>
                      <a:pt x="7156" y="2739"/>
                      <a:pt x="7156" y="2739"/>
                      <a:pt x="7156" y="2739"/>
                    </a:cubicBezTo>
                    <a:cubicBezTo>
                      <a:pt x="7275" y="2864"/>
                      <a:pt x="7275" y="2864"/>
                      <a:pt x="7275" y="2864"/>
                    </a:cubicBezTo>
                    <a:cubicBezTo>
                      <a:pt x="7310" y="2830"/>
                      <a:pt x="7310" y="2830"/>
                      <a:pt x="7310" y="2830"/>
                    </a:cubicBezTo>
                    <a:lnTo>
                      <a:pt x="7257" y="2776"/>
                    </a:lnTo>
                    <a:close/>
                    <a:moveTo>
                      <a:pt x="6238" y="7589"/>
                    </a:moveTo>
                    <a:cubicBezTo>
                      <a:pt x="6162" y="7589"/>
                      <a:pt x="6162" y="7589"/>
                      <a:pt x="6162" y="7589"/>
                    </a:cubicBezTo>
                    <a:cubicBezTo>
                      <a:pt x="6162" y="7582"/>
                      <a:pt x="6162" y="7582"/>
                      <a:pt x="6162" y="7582"/>
                    </a:cubicBezTo>
                    <a:cubicBezTo>
                      <a:pt x="6162" y="7497"/>
                      <a:pt x="6162" y="7497"/>
                      <a:pt x="6162" y="7497"/>
                    </a:cubicBezTo>
                    <a:cubicBezTo>
                      <a:pt x="6238" y="7497"/>
                      <a:pt x="6238" y="7497"/>
                      <a:pt x="6238" y="7497"/>
                    </a:cubicBezTo>
                    <a:lnTo>
                      <a:pt x="6238" y="7589"/>
                    </a:lnTo>
                    <a:close/>
                    <a:moveTo>
                      <a:pt x="6225" y="7510"/>
                    </a:moveTo>
                    <a:cubicBezTo>
                      <a:pt x="6175" y="7510"/>
                      <a:pt x="6175" y="7510"/>
                      <a:pt x="6175" y="7510"/>
                    </a:cubicBezTo>
                    <a:cubicBezTo>
                      <a:pt x="6175" y="7576"/>
                      <a:pt x="6175" y="7576"/>
                      <a:pt x="6175" y="7576"/>
                    </a:cubicBezTo>
                    <a:cubicBezTo>
                      <a:pt x="6225" y="7576"/>
                      <a:pt x="6225" y="7576"/>
                      <a:pt x="6225" y="7576"/>
                    </a:cubicBezTo>
                    <a:lnTo>
                      <a:pt x="6225" y="7510"/>
                    </a:lnTo>
                    <a:close/>
                    <a:moveTo>
                      <a:pt x="7242" y="5987"/>
                    </a:moveTo>
                    <a:cubicBezTo>
                      <a:pt x="7044" y="5973"/>
                      <a:pt x="7044" y="5973"/>
                      <a:pt x="7044" y="5973"/>
                    </a:cubicBezTo>
                    <a:cubicBezTo>
                      <a:pt x="7045" y="5967"/>
                      <a:pt x="7045" y="5967"/>
                      <a:pt x="7045" y="5967"/>
                    </a:cubicBezTo>
                    <a:cubicBezTo>
                      <a:pt x="7051" y="5898"/>
                      <a:pt x="7051" y="5898"/>
                      <a:pt x="7051" y="5898"/>
                    </a:cubicBezTo>
                    <a:cubicBezTo>
                      <a:pt x="7126" y="5904"/>
                      <a:pt x="7126" y="5904"/>
                      <a:pt x="7126" y="5904"/>
                    </a:cubicBezTo>
                    <a:cubicBezTo>
                      <a:pt x="7132" y="5831"/>
                      <a:pt x="7132" y="5831"/>
                      <a:pt x="7132" y="5831"/>
                    </a:cubicBezTo>
                    <a:cubicBezTo>
                      <a:pt x="7273" y="5843"/>
                      <a:pt x="7273" y="5843"/>
                      <a:pt x="7273" y="5843"/>
                    </a:cubicBezTo>
                    <a:cubicBezTo>
                      <a:pt x="7265" y="5940"/>
                      <a:pt x="7265" y="5940"/>
                      <a:pt x="7265" y="5940"/>
                    </a:cubicBezTo>
                    <a:cubicBezTo>
                      <a:pt x="7246" y="5938"/>
                      <a:pt x="7246" y="5938"/>
                      <a:pt x="7246" y="5938"/>
                    </a:cubicBezTo>
                    <a:lnTo>
                      <a:pt x="7242" y="5987"/>
                    </a:lnTo>
                    <a:close/>
                    <a:moveTo>
                      <a:pt x="7234" y="5924"/>
                    </a:moveTo>
                    <a:cubicBezTo>
                      <a:pt x="7253" y="5926"/>
                      <a:pt x="7253" y="5926"/>
                      <a:pt x="7253" y="5926"/>
                    </a:cubicBezTo>
                    <a:cubicBezTo>
                      <a:pt x="7259" y="5855"/>
                      <a:pt x="7259" y="5855"/>
                      <a:pt x="7259" y="5855"/>
                    </a:cubicBezTo>
                    <a:cubicBezTo>
                      <a:pt x="7144" y="5845"/>
                      <a:pt x="7144" y="5845"/>
                      <a:pt x="7144" y="5845"/>
                    </a:cubicBezTo>
                    <a:cubicBezTo>
                      <a:pt x="7138" y="5918"/>
                      <a:pt x="7138" y="5918"/>
                      <a:pt x="7138" y="5918"/>
                    </a:cubicBezTo>
                    <a:cubicBezTo>
                      <a:pt x="7063" y="5912"/>
                      <a:pt x="7063" y="5912"/>
                      <a:pt x="7063" y="5912"/>
                    </a:cubicBezTo>
                    <a:cubicBezTo>
                      <a:pt x="7058" y="5961"/>
                      <a:pt x="7058" y="5961"/>
                      <a:pt x="7058" y="5961"/>
                    </a:cubicBezTo>
                    <a:cubicBezTo>
                      <a:pt x="7230" y="5973"/>
                      <a:pt x="7230" y="5973"/>
                      <a:pt x="7230" y="5973"/>
                    </a:cubicBezTo>
                    <a:lnTo>
                      <a:pt x="7234" y="5924"/>
                    </a:lnTo>
                    <a:close/>
                    <a:moveTo>
                      <a:pt x="7069" y="2995"/>
                    </a:moveTo>
                    <a:cubicBezTo>
                      <a:pt x="7121" y="3049"/>
                      <a:pt x="7121" y="3049"/>
                      <a:pt x="7121" y="3049"/>
                    </a:cubicBezTo>
                    <a:cubicBezTo>
                      <a:pt x="7067" y="3102"/>
                      <a:pt x="7067" y="3102"/>
                      <a:pt x="7067" y="3102"/>
                    </a:cubicBezTo>
                    <a:cubicBezTo>
                      <a:pt x="7062" y="3097"/>
                      <a:pt x="7062" y="3097"/>
                      <a:pt x="7062" y="3097"/>
                    </a:cubicBezTo>
                    <a:cubicBezTo>
                      <a:pt x="6931" y="2958"/>
                      <a:pt x="6931" y="2958"/>
                      <a:pt x="6931" y="2958"/>
                    </a:cubicBezTo>
                    <a:cubicBezTo>
                      <a:pt x="6966" y="2923"/>
                      <a:pt x="6966" y="2923"/>
                      <a:pt x="6966" y="2923"/>
                    </a:cubicBezTo>
                    <a:cubicBezTo>
                      <a:pt x="6958" y="2915"/>
                      <a:pt x="6958" y="2915"/>
                      <a:pt x="6958" y="2915"/>
                    </a:cubicBezTo>
                    <a:cubicBezTo>
                      <a:pt x="6953" y="2910"/>
                      <a:pt x="6953" y="2910"/>
                      <a:pt x="6953" y="2910"/>
                    </a:cubicBezTo>
                    <a:cubicBezTo>
                      <a:pt x="7023" y="2843"/>
                      <a:pt x="7023" y="2843"/>
                      <a:pt x="7023" y="2843"/>
                    </a:cubicBezTo>
                    <a:cubicBezTo>
                      <a:pt x="7121" y="2944"/>
                      <a:pt x="7121" y="2944"/>
                      <a:pt x="7121" y="2944"/>
                    </a:cubicBezTo>
                    <a:lnTo>
                      <a:pt x="7069" y="2995"/>
                    </a:lnTo>
                    <a:close/>
                    <a:moveTo>
                      <a:pt x="7050" y="2995"/>
                    </a:moveTo>
                    <a:cubicBezTo>
                      <a:pt x="7102" y="2944"/>
                      <a:pt x="7102" y="2944"/>
                      <a:pt x="7102" y="2944"/>
                    </a:cubicBezTo>
                    <a:cubicBezTo>
                      <a:pt x="7022" y="2861"/>
                      <a:pt x="7022" y="2861"/>
                      <a:pt x="7022" y="2861"/>
                    </a:cubicBezTo>
                    <a:cubicBezTo>
                      <a:pt x="6972" y="2910"/>
                      <a:pt x="6972" y="2910"/>
                      <a:pt x="6972" y="2910"/>
                    </a:cubicBezTo>
                    <a:cubicBezTo>
                      <a:pt x="6980" y="2919"/>
                      <a:pt x="6980" y="2919"/>
                      <a:pt x="6980" y="2919"/>
                    </a:cubicBezTo>
                    <a:cubicBezTo>
                      <a:pt x="6985" y="2924"/>
                      <a:pt x="6985" y="2924"/>
                      <a:pt x="6985" y="2924"/>
                    </a:cubicBezTo>
                    <a:cubicBezTo>
                      <a:pt x="6949" y="2958"/>
                      <a:pt x="6949" y="2958"/>
                      <a:pt x="6949" y="2958"/>
                    </a:cubicBezTo>
                    <a:cubicBezTo>
                      <a:pt x="7067" y="3083"/>
                      <a:pt x="7067" y="3083"/>
                      <a:pt x="7067" y="3083"/>
                    </a:cubicBezTo>
                    <a:cubicBezTo>
                      <a:pt x="7103" y="3049"/>
                      <a:pt x="7103" y="3049"/>
                      <a:pt x="7103" y="3049"/>
                    </a:cubicBezTo>
                    <a:lnTo>
                      <a:pt x="7050" y="2995"/>
                    </a:lnTo>
                    <a:close/>
                    <a:moveTo>
                      <a:pt x="3092" y="5124"/>
                    </a:moveTo>
                    <a:cubicBezTo>
                      <a:pt x="3297" y="5128"/>
                      <a:pt x="3297" y="5128"/>
                      <a:pt x="3297" y="5128"/>
                    </a:cubicBezTo>
                    <a:cubicBezTo>
                      <a:pt x="3293" y="5138"/>
                      <a:pt x="3293" y="5138"/>
                      <a:pt x="3293" y="5138"/>
                    </a:cubicBezTo>
                    <a:cubicBezTo>
                      <a:pt x="3226" y="5282"/>
                      <a:pt x="3226" y="5282"/>
                      <a:pt x="3226" y="5282"/>
                    </a:cubicBezTo>
                    <a:cubicBezTo>
                      <a:pt x="3045" y="5214"/>
                      <a:pt x="3045" y="5214"/>
                      <a:pt x="3045" y="5214"/>
                    </a:cubicBezTo>
                    <a:lnTo>
                      <a:pt x="3092" y="5124"/>
                    </a:lnTo>
                    <a:close/>
                    <a:moveTo>
                      <a:pt x="3101" y="5139"/>
                    </a:moveTo>
                    <a:cubicBezTo>
                      <a:pt x="3066" y="5206"/>
                      <a:pt x="3066" y="5206"/>
                      <a:pt x="3066" y="5206"/>
                    </a:cubicBezTo>
                    <a:cubicBezTo>
                      <a:pt x="3219" y="5263"/>
                      <a:pt x="3219" y="5263"/>
                      <a:pt x="3219" y="5263"/>
                    </a:cubicBezTo>
                    <a:cubicBezTo>
                      <a:pt x="3274" y="5142"/>
                      <a:pt x="3274" y="5142"/>
                      <a:pt x="3274" y="5142"/>
                    </a:cubicBezTo>
                    <a:lnTo>
                      <a:pt x="3101" y="5139"/>
                    </a:lnTo>
                    <a:close/>
                    <a:moveTo>
                      <a:pt x="4875" y="5447"/>
                    </a:moveTo>
                    <a:cubicBezTo>
                      <a:pt x="4821" y="5513"/>
                      <a:pt x="4821" y="5513"/>
                      <a:pt x="4821" y="5513"/>
                    </a:cubicBezTo>
                    <a:cubicBezTo>
                      <a:pt x="4583" y="5219"/>
                      <a:pt x="4583" y="5219"/>
                      <a:pt x="4583" y="5219"/>
                    </a:cubicBezTo>
                    <a:cubicBezTo>
                      <a:pt x="4650" y="5162"/>
                      <a:pt x="4650" y="5162"/>
                      <a:pt x="4650" y="5162"/>
                    </a:cubicBezTo>
                    <a:cubicBezTo>
                      <a:pt x="4878" y="5443"/>
                      <a:pt x="4878" y="5443"/>
                      <a:pt x="4878" y="5443"/>
                    </a:cubicBezTo>
                    <a:lnTo>
                      <a:pt x="4875" y="5447"/>
                    </a:lnTo>
                    <a:close/>
                    <a:moveTo>
                      <a:pt x="4859" y="5443"/>
                    </a:moveTo>
                    <a:cubicBezTo>
                      <a:pt x="4648" y="5183"/>
                      <a:pt x="4648" y="5183"/>
                      <a:pt x="4648" y="5183"/>
                    </a:cubicBezTo>
                    <a:cubicBezTo>
                      <a:pt x="4603" y="5221"/>
                      <a:pt x="4603" y="5221"/>
                      <a:pt x="4603" y="5221"/>
                    </a:cubicBezTo>
                    <a:cubicBezTo>
                      <a:pt x="4821" y="5489"/>
                      <a:pt x="4821" y="5489"/>
                      <a:pt x="4821" y="5489"/>
                    </a:cubicBezTo>
                    <a:lnTo>
                      <a:pt x="4859" y="5443"/>
                    </a:lnTo>
                    <a:close/>
                    <a:moveTo>
                      <a:pt x="3785" y="6618"/>
                    </a:moveTo>
                    <a:cubicBezTo>
                      <a:pt x="3929" y="6771"/>
                      <a:pt x="3929" y="6771"/>
                      <a:pt x="3929" y="6771"/>
                    </a:cubicBezTo>
                    <a:cubicBezTo>
                      <a:pt x="3928" y="6775"/>
                      <a:pt x="3928" y="6775"/>
                      <a:pt x="3928" y="6775"/>
                    </a:cubicBezTo>
                    <a:cubicBezTo>
                      <a:pt x="3904" y="6838"/>
                      <a:pt x="3904" y="6838"/>
                      <a:pt x="3904" y="6838"/>
                    </a:cubicBezTo>
                    <a:cubicBezTo>
                      <a:pt x="3706" y="6761"/>
                      <a:pt x="3706" y="6761"/>
                      <a:pt x="3706" y="6761"/>
                    </a:cubicBezTo>
                    <a:cubicBezTo>
                      <a:pt x="3722" y="6386"/>
                      <a:pt x="3722" y="6386"/>
                      <a:pt x="3722" y="6386"/>
                    </a:cubicBezTo>
                    <a:cubicBezTo>
                      <a:pt x="3796" y="6378"/>
                      <a:pt x="3796" y="6378"/>
                      <a:pt x="3796" y="6378"/>
                    </a:cubicBezTo>
                    <a:lnTo>
                      <a:pt x="3785" y="6618"/>
                    </a:lnTo>
                    <a:close/>
                    <a:moveTo>
                      <a:pt x="3770" y="6623"/>
                    </a:moveTo>
                    <a:cubicBezTo>
                      <a:pt x="3781" y="6394"/>
                      <a:pt x="3781" y="6394"/>
                      <a:pt x="3781" y="6394"/>
                    </a:cubicBezTo>
                    <a:cubicBezTo>
                      <a:pt x="3737" y="6399"/>
                      <a:pt x="3737" y="6399"/>
                      <a:pt x="3737" y="6399"/>
                    </a:cubicBezTo>
                    <a:cubicBezTo>
                      <a:pt x="3722" y="6752"/>
                      <a:pt x="3722" y="6752"/>
                      <a:pt x="3722" y="6752"/>
                    </a:cubicBezTo>
                    <a:cubicBezTo>
                      <a:pt x="3895" y="6819"/>
                      <a:pt x="3895" y="6819"/>
                      <a:pt x="3895" y="6819"/>
                    </a:cubicBezTo>
                    <a:cubicBezTo>
                      <a:pt x="3912" y="6774"/>
                      <a:pt x="3912" y="6774"/>
                      <a:pt x="3912" y="6774"/>
                    </a:cubicBezTo>
                    <a:lnTo>
                      <a:pt x="3770" y="6623"/>
                    </a:lnTo>
                    <a:close/>
                    <a:moveTo>
                      <a:pt x="4636" y="5686"/>
                    </a:moveTo>
                    <a:cubicBezTo>
                      <a:pt x="4487" y="5708"/>
                      <a:pt x="4487" y="5708"/>
                      <a:pt x="4487" y="5708"/>
                    </a:cubicBezTo>
                    <a:cubicBezTo>
                      <a:pt x="4537" y="5543"/>
                      <a:pt x="4537" y="5543"/>
                      <a:pt x="4537" y="5543"/>
                    </a:cubicBezTo>
                    <a:cubicBezTo>
                      <a:pt x="4615" y="5553"/>
                      <a:pt x="4615" y="5553"/>
                      <a:pt x="4615" y="5553"/>
                    </a:cubicBezTo>
                    <a:cubicBezTo>
                      <a:pt x="4616" y="5559"/>
                      <a:pt x="4616" y="5559"/>
                      <a:pt x="4616" y="5559"/>
                    </a:cubicBezTo>
                    <a:lnTo>
                      <a:pt x="4636" y="5686"/>
                    </a:lnTo>
                    <a:close/>
                    <a:moveTo>
                      <a:pt x="4508" y="5690"/>
                    </a:moveTo>
                    <a:cubicBezTo>
                      <a:pt x="4619" y="5673"/>
                      <a:pt x="4619" y="5673"/>
                      <a:pt x="4619" y="5673"/>
                    </a:cubicBezTo>
                    <a:cubicBezTo>
                      <a:pt x="4602" y="5567"/>
                      <a:pt x="4602" y="5567"/>
                      <a:pt x="4602" y="5567"/>
                    </a:cubicBezTo>
                    <a:cubicBezTo>
                      <a:pt x="4548" y="5560"/>
                      <a:pt x="4548" y="5560"/>
                      <a:pt x="4548" y="5560"/>
                    </a:cubicBezTo>
                    <a:lnTo>
                      <a:pt x="4508" y="5690"/>
                    </a:lnTo>
                    <a:close/>
                    <a:moveTo>
                      <a:pt x="4721" y="5630"/>
                    </a:moveTo>
                    <a:cubicBezTo>
                      <a:pt x="4635" y="5774"/>
                      <a:pt x="4635" y="5774"/>
                      <a:pt x="4635" y="5774"/>
                    </a:cubicBezTo>
                    <a:cubicBezTo>
                      <a:pt x="4442" y="5722"/>
                      <a:pt x="4442" y="5722"/>
                      <a:pt x="4442" y="5722"/>
                    </a:cubicBezTo>
                    <a:cubicBezTo>
                      <a:pt x="4452" y="5539"/>
                      <a:pt x="4452" y="5539"/>
                      <a:pt x="4452" y="5539"/>
                    </a:cubicBezTo>
                    <a:cubicBezTo>
                      <a:pt x="4273" y="5249"/>
                      <a:pt x="4273" y="5249"/>
                      <a:pt x="4273" y="5249"/>
                    </a:cubicBezTo>
                    <a:cubicBezTo>
                      <a:pt x="4311" y="5213"/>
                      <a:pt x="4311" y="5213"/>
                      <a:pt x="4311" y="5213"/>
                    </a:cubicBezTo>
                    <a:cubicBezTo>
                      <a:pt x="4304" y="5120"/>
                      <a:pt x="4304" y="5120"/>
                      <a:pt x="4304" y="5120"/>
                    </a:cubicBezTo>
                    <a:cubicBezTo>
                      <a:pt x="4357" y="5110"/>
                      <a:pt x="4357" y="5110"/>
                      <a:pt x="4357" y="5110"/>
                    </a:cubicBezTo>
                    <a:cubicBezTo>
                      <a:pt x="4723" y="5626"/>
                      <a:pt x="4723" y="5626"/>
                      <a:pt x="4723" y="5626"/>
                    </a:cubicBezTo>
                    <a:lnTo>
                      <a:pt x="4721" y="5630"/>
                    </a:lnTo>
                    <a:close/>
                    <a:moveTo>
                      <a:pt x="4706" y="5626"/>
                    </a:moveTo>
                    <a:cubicBezTo>
                      <a:pt x="4351" y="5126"/>
                      <a:pt x="4351" y="5126"/>
                      <a:pt x="4351" y="5126"/>
                    </a:cubicBezTo>
                    <a:cubicBezTo>
                      <a:pt x="4319" y="5132"/>
                      <a:pt x="4319" y="5132"/>
                      <a:pt x="4319" y="5132"/>
                    </a:cubicBezTo>
                    <a:cubicBezTo>
                      <a:pt x="4327" y="5219"/>
                      <a:pt x="4327" y="5219"/>
                      <a:pt x="4327" y="5219"/>
                    </a:cubicBezTo>
                    <a:cubicBezTo>
                      <a:pt x="4292" y="5252"/>
                      <a:pt x="4292" y="5252"/>
                      <a:pt x="4292" y="5252"/>
                    </a:cubicBezTo>
                    <a:cubicBezTo>
                      <a:pt x="4467" y="5535"/>
                      <a:pt x="4467" y="5535"/>
                      <a:pt x="4467" y="5535"/>
                    </a:cubicBezTo>
                    <a:cubicBezTo>
                      <a:pt x="4457" y="5711"/>
                      <a:pt x="4457" y="5711"/>
                      <a:pt x="4457" y="5711"/>
                    </a:cubicBezTo>
                    <a:cubicBezTo>
                      <a:pt x="4628" y="5757"/>
                      <a:pt x="4628" y="5757"/>
                      <a:pt x="4628" y="5757"/>
                    </a:cubicBezTo>
                    <a:lnTo>
                      <a:pt x="4706" y="5626"/>
                    </a:lnTo>
                    <a:close/>
                    <a:moveTo>
                      <a:pt x="4639" y="5016"/>
                    </a:moveTo>
                    <a:cubicBezTo>
                      <a:pt x="4522" y="5094"/>
                      <a:pt x="4522" y="5094"/>
                      <a:pt x="4522" y="5094"/>
                    </a:cubicBezTo>
                    <a:cubicBezTo>
                      <a:pt x="4319" y="4841"/>
                      <a:pt x="4319" y="4841"/>
                      <a:pt x="4319" y="4841"/>
                    </a:cubicBezTo>
                    <a:cubicBezTo>
                      <a:pt x="4409" y="4776"/>
                      <a:pt x="4409" y="4776"/>
                      <a:pt x="4409" y="4776"/>
                    </a:cubicBezTo>
                    <a:cubicBezTo>
                      <a:pt x="4442" y="4604"/>
                      <a:pt x="4442" y="4604"/>
                      <a:pt x="4442" y="4604"/>
                    </a:cubicBezTo>
                    <a:cubicBezTo>
                      <a:pt x="4861" y="4911"/>
                      <a:pt x="4861" y="4911"/>
                      <a:pt x="4861" y="4911"/>
                    </a:cubicBezTo>
                    <a:cubicBezTo>
                      <a:pt x="4858" y="4917"/>
                      <a:pt x="4858" y="4917"/>
                      <a:pt x="4858" y="4917"/>
                    </a:cubicBezTo>
                    <a:cubicBezTo>
                      <a:pt x="4858" y="4917"/>
                      <a:pt x="4818" y="4984"/>
                      <a:pt x="4795" y="5030"/>
                    </a:cubicBezTo>
                    <a:cubicBezTo>
                      <a:pt x="4782" y="5056"/>
                      <a:pt x="4779" y="5088"/>
                      <a:pt x="4779" y="5111"/>
                    </a:cubicBezTo>
                    <a:cubicBezTo>
                      <a:pt x="4779" y="5126"/>
                      <a:pt x="4781" y="5137"/>
                      <a:pt x="4781" y="5137"/>
                    </a:cubicBezTo>
                    <a:cubicBezTo>
                      <a:pt x="4767" y="5142"/>
                      <a:pt x="4767" y="5142"/>
                      <a:pt x="4767" y="5142"/>
                    </a:cubicBezTo>
                    <a:cubicBezTo>
                      <a:pt x="4580" y="4870"/>
                      <a:pt x="4580" y="4870"/>
                      <a:pt x="4580" y="4870"/>
                    </a:cubicBezTo>
                    <a:cubicBezTo>
                      <a:pt x="4546" y="4882"/>
                      <a:pt x="4546" y="4882"/>
                      <a:pt x="4546" y="4882"/>
                    </a:cubicBezTo>
                    <a:lnTo>
                      <a:pt x="4639" y="5016"/>
                    </a:lnTo>
                    <a:close/>
                    <a:moveTo>
                      <a:pt x="4525" y="5075"/>
                    </a:moveTo>
                    <a:cubicBezTo>
                      <a:pt x="4618" y="5013"/>
                      <a:pt x="4618" y="5013"/>
                      <a:pt x="4618" y="5013"/>
                    </a:cubicBezTo>
                    <a:cubicBezTo>
                      <a:pt x="4523" y="4874"/>
                      <a:pt x="4523" y="4874"/>
                      <a:pt x="4523" y="4874"/>
                    </a:cubicBezTo>
                    <a:cubicBezTo>
                      <a:pt x="4586" y="4853"/>
                      <a:pt x="4586" y="4853"/>
                      <a:pt x="4586" y="4853"/>
                    </a:cubicBezTo>
                    <a:cubicBezTo>
                      <a:pt x="4765" y="5112"/>
                      <a:pt x="4765" y="5112"/>
                      <a:pt x="4765" y="5112"/>
                    </a:cubicBezTo>
                    <a:cubicBezTo>
                      <a:pt x="4765" y="5111"/>
                      <a:pt x="4765" y="5111"/>
                      <a:pt x="4765" y="5111"/>
                    </a:cubicBezTo>
                    <a:cubicBezTo>
                      <a:pt x="4765" y="5087"/>
                      <a:pt x="4767" y="5053"/>
                      <a:pt x="4782" y="5024"/>
                    </a:cubicBezTo>
                    <a:cubicBezTo>
                      <a:pt x="4801" y="4985"/>
                      <a:pt x="4831" y="4932"/>
                      <a:pt x="4842" y="4915"/>
                    </a:cubicBezTo>
                    <a:cubicBezTo>
                      <a:pt x="4452" y="4629"/>
                      <a:pt x="4452" y="4629"/>
                      <a:pt x="4452" y="4629"/>
                    </a:cubicBezTo>
                    <a:cubicBezTo>
                      <a:pt x="4422" y="4784"/>
                      <a:pt x="4422" y="4784"/>
                      <a:pt x="4422" y="4784"/>
                    </a:cubicBezTo>
                    <a:cubicBezTo>
                      <a:pt x="4340" y="4844"/>
                      <a:pt x="4340" y="4844"/>
                      <a:pt x="4340" y="4844"/>
                    </a:cubicBezTo>
                    <a:lnTo>
                      <a:pt x="4525" y="5075"/>
                    </a:lnTo>
                    <a:close/>
                    <a:moveTo>
                      <a:pt x="4437" y="4076"/>
                    </a:moveTo>
                    <a:cubicBezTo>
                      <a:pt x="4554" y="4097"/>
                      <a:pt x="4554" y="4097"/>
                      <a:pt x="4554" y="4097"/>
                    </a:cubicBezTo>
                    <a:cubicBezTo>
                      <a:pt x="4556" y="4100"/>
                      <a:pt x="4556" y="4100"/>
                      <a:pt x="4556" y="4100"/>
                    </a:cubicBezTo>
                    <a:cubicBezTo>
                      <a:pt x="4890" y="4534"/>
                      <a:pt x="4890" y="4534"/>
                      <a:pt x="4890" y="4534"/>
                    </a:cubicBezTo>
                    <a:cubicBezTo>
                      <a:pt x="4861" y="4545"/>
                      <a:pt x="4861" y="4545"/>
                      <a:pt x="4861" y="4545"/>
                    </a:cubicBezTo>
                    <a:cubicBezTo>
                      <a:pt x="4526" y="4288"/>
                      <a:pt x="4526" y="4288"/>
                      <a:pt x="4526" y="4288"/>
                    </a:cubicBezTo>
                    <a:lnTo>
                      <a:pt x="4437" y="4076"/>
                    </a:lnTo>
                    <a:close/>
                    <a:moveTo>
                      <a:pt x="4546" y="4111"/>
                    </a:moveTo>
                    <a:cubicBezTo>
                      <a:pt x="4462" y="4095"/>
                      <a:pt x="4462" y="4095"/>
                      <a:pt x="4462" y="4095"/>
                    </a:cubicBezTo>
                    <a:cubicBezTo>
                      <a:pt x="4538" y="4278"/>
                      <a:pt x="4538" y="4278"/>
                      <a:pt x="4538" y="4278"/>
                    </a:cubicBezTo>
                    <a:cubicBezTo>
                      <a:pt x="4863" y="4529"/>
                      <a:pt x="4863" y="4529"/>
                      <a:pt x="4863" y="4529"/>
                    </a:cubicBezTo>
                    <a:cubicBezTo>
                      <a:pt x="4867" y="4527"/>
                      <a:pt x="4867" y="4527"/>
                      <a:pt x="4867" y="4527"/>
                    </a:cubicBezTo>
                    <a:lnTo>
                      <a:pt x="4546" y="4111"/>
                    </a:lnTo>
                    <a:close/>
                    <a:moveTo>
                      <a:pt x="3346" y="6326"/>
                    </a:moveTo>
                    <a:cubicBezTo>
                      <a:pt x="3574" y="6301"/>
                      <a:pt x="3574" y="6301"/>
                      <a:pt x="3574" y="6301"/>
                    </a:cubicBezTo>
                    <a:cubicBezTo>
                      <a:pt x="3574" y="6310"/>
                      <a:pt x="3574" y="6310"/>
                      <a:pt x="3574" y="6310"/>
                    </a:cubicBezTo>
                    <a:cubicBezTo>
                      <a:pt x="3542" y="6773"/>
                      <a:pt x="3542" y="6773"/>
                      <a:pt x="3542" y="6773"/>
                    </a:cubicBezTo>
                    <a:cubicBezTo>
                      <a:pt x="3205" y="6652"/>
                      <a:pt x="3205" y="6652"/>
                      <a:pt x="3205" y="6652"/>
                    </a:cubicBezTo>
                    <a:cubicBezTo>
                      <a:pt x="3279" y="6501"/>
                      <a:pt x="3279" y="6501"/>
                      <a:pt x="3279" y="6501"/>
                    </a:cubicBezTo>
                    <a:cubicBezTo>
                      <a:pt x="3352" y="6541"/>
                      <a:pt x="3352" y="6541"/>
                      <a:pt x="3352" y="6541"/>
                    </a:cubicBezTo>
                    <a:cubicBezTo>
                      <a:pt x="3342" y="6628"/>
                      <a:pt x="3342" y="6628"/>
                      <a:pt x="3342" y="6628"/>
                    </a:cubicBezTo>
                    <a:cubicBezTo>
                      <a:pt x="3400" y="6644"/>
                      <a:pt x="3400" y="6644"/>
                      <a:pt x="3400" y="6644"/>
                    </a:cubicBezTo>
                    <a:cubicBezTo>
                      <a:pt x="3472" y="6381"/>
                      <a:pt x="3472" y="6381"/>
                      <a:pt x="3472" y="6381"/>
                    </a:cubicBezTo>
                    <a:cubicBezTo>
                      <a:pt x="3403" y="6386"/>
                      <a:pt x="3403" y="6386"/>
                      <a:pt x="3403" y="6386"/>
                    </a:cubicBezTo>
                    <a:cubicBezTo>
                      <a:pt x="3379" y="6450"/>
                      <a:pt x="3379" y="6450"/>
                      <a:pt x="3379" y="6450"/>
                    </a:cubicBezTo>
                    <a:cubicBezTo>
                      <a:pt x="3287" y="6452"/>
                      <a:pt x="3287" y="6452"/>
                      <a:pt x="3287" y="6452"/>
                    </a:cubicBezTo>
                    <a:lnTo>
                      <a:pt x="3346" y="6326"/>
                    </a:lnTo>
                    <a:close/>
                    <a:moveTo>
                      <a:pt x="3355" y="6340"/>
                    </a:moveTo>
                    <a:cubicBezTo>
                      <a:pt x="3311" y="6437"/>
                      <a:pt x="3311" y="6437"/>
                      <a:pt x="3311" y="6437"/>
                    </a:cubicBezTo>
                    <a:cubicBezTo>
                      <a:pt x="3369" y="6436"/>
                      <a:pt x="3369" y="6436"/>
                      <a:pt x="3369" y="6436"/>
                    </a:cubicBezTo>
                    <a:cubicBezTo>
                      <a:pt x="3392" y="6372"/>
                      <a:pt x="3392" y="6372"/>
                      <a:pt x="3392" y="6372"/>
                    </a:cubicBezTo>
                    <a:cubicBezTo>
                      <a:pt x="3492" y="6365"/>
                      <a:pt x="3492" y="6365"/>
                      <a:pt x="3492" y="6365"/>
                    </a:cubicBezTo>
                    <a:cubicBezTo>
                      <a:pt x="3410" y="6663"/>
                      <a:pt x="3410" y="6663"/>
                      <a:pt x="3410" y="6663"/>
                    </a:cubicBezTo>
                    <a:cubicBezTo>
                      <a:pt x="3326" y="6639"/>
                      <a:pt x="3326" y="6639"/>
                      <a:pt x="3326" y="6639"/>
                    </a:cubicBezTo>
                    <a:cubicBezTo>
                      <a:pt x="3336" y="6550"/>
                      <a:pt x="3336" y="6550"/>
                      <a:pt x="3336" y="6550"/>
                    </a:cubicBezTo>
                    <a:cubicBezTo>
                      <a:pt x="3286" y="6522"/>
                      <a:pt x="3286" y="6522"/>
                      <a:pt x="3286" y="6522"/>
                    </a:cubicBezTo>
                    <a:cubicBezTo>
                      <a:pt x="3226" y="6644"/>
                      <a:pt x="3226" y="6644"/>
                      <a:pt x="3226" y="6644"/>
                    </a:cubicBezTo>
                    <a:cubicBezTo>
                      <a:pt x="3529" y="6753"/>
                      <a:pt x="3529" y="6753"/>
                      <a:pt x="3529" y="6753"/>
                    </a:cubicBezTo>
                    <a:cubicBezTo>
                      <a:pt x="3558" y="6318"/>
                      <a:pt x="3558" y="6318"/>
                      <a:pt x="3558" y="6318"/>
                    </a:cubicBezTo>
                    <a:lnTo>
                      <a:pt x="3355" y="6340"/>
                    </a:lnTo>
                    <a:close/>
                    <a:moveTo>
                      <a:pt x="2357" y="5057"/>
                    </a:moveTo>
                    <a:cubicBezTo>
                      <a:pt x="2394" y="4826"/>
                      <a:pt x="2394" y="4826"/>
                      <a:pt x="2394" y="4826"/>
                    </a:cubicBezTo>
                    <a:cubicBezTo>
                      <a:pt x="2570" y="4833"/>
                      <a:pt x="2570" y="4833"/>
                      <a:pt x="2570" y="4833"/>
                    </a:cubicBezTo>
                    <a:cubicBezTo>
                      <a:pt x="2542" y="4938"/>
                      <a:pt x="2542" y="4938"/>
                      <a:pt x="2542" y="4938"/>
                    </a:cubicBezTo>
                    <a:cubicBezTo>
                      <a:pt x="2821" y="5007"/>
                      <a:pt x="2821" y="5007"/>
                      <a:pt x="2821" y="5007"/>
                    </a:cubicBezTo>
                    <a:cubicBezTo>
                      <a:pt x="2822" y="5012"/>
                      <a:pt x="2822" y="5012"/>
                      <a:pt x="2822" y="5012"/>
                    </a:cubicBezTo>
                    <a:cubicBezTo>
                      <a:pt x="2839" y="5166"/>
                      <a:pt x="2839" y="5166"/>
                      <a:pt x="2839" y="5166"/>
                    </a:cubicBezTo>
                    <a:cubicBezTo>
                      <a:pt x="2573" y="5132"/>
                      <a:pt x="2573" y="5132"/>
                      <a:pt x="2573" y="5132"/>
                    </a:cubicBezTo>
                    <a:cubicBezTo>
                      <a:pt x="2581" y="5097"/>
                      <a:pt x="2581" y="5097"/>
                      <a:pt x="2581" y="5097"/>
                    </a:cubicBezTo>
                    <a:cubicBezTo>
                      <a:pt x="2465" y="5063"/>
                      <a:pt x="2465" y="5063"/>
                      <a:pt x="2465" y="5063"/>
                    </a:cubicBezTo>
                    <a:lnTo>
                      <a:pt x="2357" y="5057"/>
                    </a:lnTo>
                    <a:close/>
                    <a:moveTo>
                      <a:pt x="2374" y="5043"/>
                    </a:moveTo>
                    <a:cubicBezTo>
                      <a:pt x="2467" y="5049"/>
                      <a:pt x="2467" y="5049"/>
                      <a:pt x="2467" y="5049"/>
                    </a:cubicBezTo>
                    <a:cubicBezTo>
                      <a:pt x="2599" y="5087"/>
                      <a:pt x="2599" y="5087"/>
                      <a:pt x="2599" y="5087"/>
                    </a:cubicBezTo>
                    <a:cubicBezTo>
                      <a:pt x="2591" y="5119"/>
                      <a:pt x="2591" y="5119"/>
                      <a:pt x="2591" y="5119"/>
                    </a:cubicBezTo>
                    <a:cubicBezTo>
                      <a:pt x="2822" y="5149"/>
                      <a:pt x="2822" y="5149"/>
                      <a:pt x="2822" y="5149"/>
                    </a:cubicBezTo>
                    <a:cubicBezTo>
                      <a:pt x="2808" y="5019"/>
                      <a:pt x="2808" y="5019"/>
                      <a:pt x="2808" y="5019"/>
                    </a:cubicBezTo>
                    <a:cubicBezTo>
                      <a:pt x="2524" y="4948"/>
                      <a:pt x="2524" y="4948"/>
                      <a:pt x="2524" y="4948"/>
                    </a:cubicBezTo>
                    <a:cubicBezTo>
                      <a:pt x="2551" y="4847"/>
                      <a:pt x="2551" y="4847"/>
                      <a:pt x="2551" y="4847"/>
                    </a:cubicBezTo>
                    <a:cubicBezTo>
                      <a:pt x="2406" y="4841"/>
                      <a:pt x="2406" y="4841"/>
                      <a:pt x="2406" y="4841"/>
                    </a:cubicBezTo>
                    <a:lnTo>
                      <a:pt x="2374" y="5043"/>
                    </a:lnTo>
                    <a:close/>
                    <a:moveTo>
                      <a:pt x="4489" y="4287"/>
                    </a:moveTo>
                    <a:cubicBezTo>
                      <a:pt x="5000" y="4714"/>
                      <a:pt x="5000" y="4714"/>
                      <a:pt x="5000" y="4714"/>
                    </a:cubicBezTo>
                    <a:cubicBezTo>
                      <a:pt x="4931" y="4833"/>
                      <a:pt x="4931" y="4833"/>
                      <a:pt x="4931" y="4833"/>
                    </a:cubicBezTo>
                    <a:cubicBezTo>
                      <a:pt x="4438" y="4470"/>
                      <a:pt x="4438" y="4470"/>
                      <a:pt x="4438" y="4470"/>
                    </a:cubicBezTo>
                    <a:cubicBezTo>
                      <a:pt x="4188" y="3887"/>
                      <a:pt x="4188" y="3887"/>
                      <a:pt x="4188" y="3887"/>
                    </a:cubicBezTo>
                    <a:cubicBezTo>
                      <a:pt x="4483" y="3950"/>
                      <a:pt x="4483" y="3950"/>
                      <a:pt x="4483" y="3950"/>
                    </a:cubicBezTo>
                    <a:cubicBezTo>
                      <a:pt x="4484" y="3954"/>
                      <a:pt x="4484" y="3954"/>
                      <a:pt x="4484" y="3954"/>
                    </a:cubicBezTo>
                    <a:cubicBezTo>
                      <a:pt x="4524" y="4056"/>
                      <a:pt x="4524" y="4056"/>
                      <a:pt x="4524" y="4056"/>
                    </a:cubicBezTo>
                    <a:cubicBezTo>
                      <a:pt x="4393" y="4040"/>
                      <a:pt x="4393" y="4040"/>
                      <a:pt x="4393" y="4040"/>
                    </a:cubicBezTo>
                    <a:lnTo>
                      <a:pt x="4489" y="4287"/>
                    </a:lnTo>
                    <a:close/>
                    <a:moveTo>
                      <a:pt x="4981" y="4718"/>
                    </a:moveTo>
                    <a:cubicBezTo>
                      <a:pt x="4476" y="4295"/>
                      <a:pt x="4476" y="4295"/>
                      <a:pt x="4476" y="4295"/>
                    </a:cubicBezTo>
                    <a:cubicBezTo>
                      <a:pt x="4370" y="4023"/>
                      <a:pt x="4370" y="4023"/>
                      <a:pt x="4370" y="4023"/>
                    </a:cubicBezTo>
                    <a:cubicBezTo>
                      <a:pt x="4501" y="4038"/>
                      <a:pt x="4501" y="4038"/>
                      <a:pt x="4501" y="4038"/>
                    </a:cubicBezTo>
                    <a:cubicBezTo>
                      <a:pt x="4472" y="3963"/>
                      <a:pt x="4472" y="3963"/>
                      <a:pt x="4472" y="3963"/>
                    </a:cubicBezTo>
                    <a:cubicBezTo>
                      <a:pt x="4213" y="3907"/>
                      <a:pt x="4213" y="3907"/>
                      <a:pt x="4213" y="3907"/>
                    </a:cubicBezTo>
                    <a:cubicBezTo>
                      <a:pt x="4450" y="4461"/>
                      <a:pt x="4450" y="4461"/>
                      <a:pt x="4450" y="4461"/>
                    </a:cubicBezTo>
                    <a:cubicBezTo>
                      <a:pt x="4927" y="4812"/>
                      <a:pt x="4927" y="4812"/>
                      <a:pt x="4927" y="4812"/>
                    </a:cubicBezTo>
                    <a:lnTo>
                      <a:pt x="4981" y="4718"/>
                    </a:lnTo>
                    <a:close/>
                    <a:moveTo>
                      <a:pt x="3329" y="6273"/>
                    </a:moveTo>
                    <a:cubicBezTo>
                      <a:pt x="3130" y="6138"/>
                      <a:pt x="3130" y="6138"/>
                      <a:pt x="3130" y="6138"/>
                    </a:cubicBezTo>
                    <a:cubicBezTo>
                      <a:pt x="3322" y="6111"/>
                      <a:pt x="3322" y="6111"/>
                      <a:pt x="3322" y="6111"/>
                    </a:cubicBezTo>
                    <a:cubicBezTo>
                      <a:pt x="3383" y="6170"/>
                      <a:pt x="3383" y="6170"/>
                      <a:pt x="3383" y="6170"/>
                    </a:cubicBezTo>
                    <a:cubicBezTo>
                      <a:pt x="3746" y="6157"/>
                      <a:pt x="3746" y="6157"/>
                      <a:pt x="3746" y="6157"/>
                    </a:cubicBezTo>
                    <a:cubicBezTo>
                      <a:pt x="3748" y="6158"/>
                      <a:pt x="3748" y="6158"/>
                      <a:pt x="3748" y="6158"/>
                    </a:cubicBezTo>
                    <a:cubicBezTo>
                      <a:pt x="3846" y="6194"/>
                      <a:pt x="3846" y="6194"/>
                      <a:pt x="3846" y="6194"/>
                    </a:cubicBezTo>
                    <a:lnTo>
                      <a:pt x="3329" y="6273"/>
                    </a:lnTo>
                    <a:close/>
                    <a:moveTo>
                      <a:pt x="3170" y="6148"/>
                    </a:moveTo>
                    <a:cubicBezTo>
                      <a:pt x="3333" y="6258"/>
                      <a:pt x="3333" y="6258"/>
                      <a:pt x="3333" y="6258"/>
                    </a:cubicBezTo>
                    <a:cubicBezTo>
                      <a:pt x="3788" y="6188"/>
                      <a:pt x="3788" y="6188"/>
                      <a:pt x="3788" y="6188"/>
                    </a:cubicBezTo>
                    <a:cubicBezTo>
                      <a:pt x="3744" y="6172"/>
                      <a:pt x="3744" y="6172"/>
                      <a:pt x="3744" y="6172"/>
                    </a:cubicBezTo>
                    <a:cubicBezTo>
                      <a:pt x="3377" y="6185"/>
                      <a:pt x="3377" y="6185"/>
                      <a:pt x="3377" y="6185"/>
                    </a:cubicBezTo>
                    <a:cubicBezTo>
                      <a:pt x="3317" y="6127"/>
                      <a:pt x="3317" y="6127"/>
                      <a:pt x="3317" y="6127"/>
                    </a:cubicBezTo>
                    <a:lnTo>
                      <a:pt x="3170" y="6148"/>
                    </a:lnTo>
                    <a:close/>
                    <a:moveTo>
                      <a:pt x="4109" y="6992"/>
                    </a:moveTo>
                    <a:cubicBezTo>
                      <a:pt x="3612" y="6801"/>
                      <a:pt x="3612" y="6801"/>
                      <a:pt x="3612" y="6801"/>
                    </a:cubicBezTo>
                    <a:cubicBezTo>
                      <a:pt x="3648" y="6294"/>
                      <a:pt x="3648" y="6294"/>
                      <a:pt x="3648" y="6294"/>
                    </a:cubicBezTo>
                    <a:cubicBezTo>
                      <a:pt x="3883" y="6264"/>
                      <a:pt x="3883" y="6264"/>
                      <a:pt x="3883" y="6264"/>
                    </a:cubicBezTo>
                    <a:cubicBezTo>
                      <a:pt x="3883" y="6273"/>
                      <a:pt x="3883" y="6273"/>
                      <a:pt x="3883" y="6273"/>
                    </a:cubicBezTo>
                    <a:cubicBezTo>
                      <a:pt x="3873" y="6575"/>
                      <a:pt x="3873" y="6575"/>
                      <a:pt x="3873" y="6575"/>
                    </a:cubicBezTo>
                    <a:cubicBezTo>
                      <a:pt x="4074" y="6787"/>
                      <a:pt x="4074" y="6787"/>
                      <a:pt x="4074" y="6787"/>
                    </a:cubicBezTo>
                    <a:cubicBezTo>
                      <a:pt x="4049" y="6882"/>
                      <a:pt x="4049" y="6882"/>
                      <a:pt x="4049" y="6882"/>
                    </a:cubicBezTo>
                    <a:lnTo>
                      <a:pt x="4109" y="6992"/>
                    </a:lnTo>
                    <a:close/>
                    <a:moveTo>
                      <a:pt x="3627" y="6791"/>
                    </a:moveTo>
                    <a:cubicBezTo>
                      <a:pt x="4077" y="6963"/>
                      <a:pt x="4077" y="6963"/>
                      <a:pt x="4077" y="6963"/>
                    </a:cubicBezTo>
                    <a:cubicBezTo>
                      <a:pt x="4033" y="6884"/>
                      <a:pt x="4033" y="6884"/>
                      <a:pt x="4033" y="6884"/>
                    </a:cubicBezTo>
                    <a:cubicBezTo>
                      <a:pt x="4057" y="6791"/>
                      <a:pt x="4057" y="6791"/>
                      <a:pt x="4057" y="6791"/>
                    </a:cubicBezTo>
                    <a:cubicBezTo>
                      <a:pt x="3858" y="6581"/>
                      <a:pt x="3858" y="6581"/>
                      <a:pt x="3858" y="6581"/>
                    </a:cubicBezTo>
                    <a:cubicBezTo>
                      <a:pt x="3868" y="6281"/>
                      <a:pt x="3868" y="6281"/>
                      <a:pt x="3868" y="6281"/>
                    </a:cubicBezTo>
                    <a:cubicBezTo>
                      <a:pt x="3662" y="6307"/>
                      <a:pt x="3662" y="6307"/>
                      <a:pt x="3662" y="6307"/>
                    </a:cubicBezTo>
                    <a:lnTo>
                      <a:pt x="3627" y="6791"/>
                    </a:lnTo>
                    <a:close/>
                    <a:moveTo>
                      <a:pt x="3202" y="5738"/>
                    </a:moveTo>
                    <a:cubicBezTo>
                      <a:pt x="3211" y="5645"/>
                      <a:pt x="3211" y="5645"/>
                      <a:pt x="3211" y="5645"/>
                    </a:cubicBezTo>
                    <a:cubicBezTo>
                      <a:pt x="3211" y="5641"/>
                      <a:pt x="3215" y="5638"/>
                      <a:pt x="3219" y="5639"/>
                    </a:cubicBezTo>
                    <a:cubicBezTo>
                      <a:pt x="3276" y="5642"/>
                      <a:pt x="3276" y="5642"/>
                      <a:pt x="3276" y="5642"/>
                    </a:cubicBezTo>
                    <a:cubicBezTo>
                      <a:pt x="3283" y="5539"/>
                      <a:pt x="3283" y="5539"/>
                      <a:pt x="3283" y="5539"/>
                    </a:cubicBezTo>
                    <a:cubicBezTo>
                      <a:pt x="3284" y="5535"/>
                      <a:pt x="3284" y="5535"/>
                      <a:pt x="3284" y="5535"/>
                    </a:cubicBezTo>
                    <a:cubicBezTo>
                      <a:pt x="3336" y="5468"/>
                      <a:pt x="3336" y="5468"/>
                      <a:pt x="3336" y="5468"/>
                    </a:cubicBezTo>
                    <a:cubicBezTo>
                      <a:pt x="3338" y="5465"/>
                      <a:pt x="3343" y="5464"/>
                      <a:pt x="3346" y="5467"/>
                    </a:cubicBezTo>
                    <a:cubicBezTo>
                      <a:pt x="3346" y="5467"/>
                      <a:pt x="3450" y="5540"/>
                      <a:pt x="3504" y="5602"/>
                    </a:cubicBezTo>
                    <a:cubicBezTo>
                      <a:pt x="3530" y="5633"/>
                      <a:pt x="3548" y="5672"/>
                      <a:pt x="3548" y="5715"/>
                    </a:cubicBezTo>
                    <a:cubicBezTo>
                      <a:pt x="3548" y="5761"/>
                      <a:pt x="3529" y="5813"/>
                      <a:pt x="3483" y="5866"/>
                    </a:cubicBezTo>
                    <a:cubicBezTo>
                      <a:pt x="3391" y="5972"/>
                      <a:pt x="3094" y="6033"/>
                      <a:pt x="3094" y="6034"/>
                    </a:cubicBezTo>
                    <a:cubicBezTo>
                      <a:pt x="3093" y="6034"/>
                      <a:pt x="3093" y="6034"/>
                      <a:pt x="3092" y="6034"/>
                    </a:cubicBezTo>
                    <a:cubicBezTo>
                      <a:pt x="3090" y="6034"/>
                      <a:pt x="3087" y="6032"/>
                      <a:pt x="3086" y="6030"/>
                    </a:cubicBezTo>
                    <a:cubicBezTo>
                      <a:pt x="3070" y="6001"/>
                      <a:pt x="3070" y="6001"/>
                      <a:pt x="3070" y="6001"/>
                    </a:cubicBezTo>
                    <a:cubicBezTo>
                      <a:pt x="3068" y="5997"/>
                      <a:pt x="3069" y="5993"/>
                      <a:pt x="3072" y="5991"/>
                    </a:cubicBezTo>
                    <a:cubicBezTo>
                      <a:pt x="3072" y="5991"/>
                      <a:pt x="3123" y="5961"/>
                      <a:pt x="3180" y="5916"/>
                    </a:cubicBezTo>
                    <a:cubicBezTo>
                      <a:pt x="3233" y="5873"/>
                      <a:pt x="3291" y="5815"/>
                      <a:pt x="3315" y="5757"/>
                    </a:cubicBezTo>
                    <a:cubicBezTo>
                      <a:pt x="3286" y="5755"/>
                      <a:pt x="3209" y="5746"/>
                      <a:pt x="3209" y="5746"/>
                    </a:cubicBezTo>
                    <a:cubicBezTo>
                      <a:pt x="3205" y="5746"/>
                      <a:pt x="3202" y="5742"/>
                      <a:pt x="3202" y="5738"/>
                    </a:cubicBezTo>
                    <a:close/>
                    <a:moveTo>
                      <a:pt x="3218" y="5733"/>
                    </a:moveTo>
                    <a:cubicBezTo>
                      <a:pt x="3241" y="5735"/>
                      <a:pt x="3312" y="5742"/>
                      <a:pt x="3323" y="5742"/>
                    </a:cubicBezTo>
                    <a:cubicBezTo>
                      <a:pt x="3324" y="5742"/>
                      <a:pt x="3324" y="5742"/>
                      <a:pt x="3324" y="5742"/>
                    </a:cubicBezTo>
                    <a:cubicBezTo>
                      <a:pt x="3325" y="5742"/>
                      <a:pt x="3326" y="5742"/>
                      <a:pt x="3327" y="5742"/>
                    </a:cubicBezTo>
                    <a:cubicBezTo>
                      <a:pt x="3331" y="5743"/>
                      <a:pt x="3333" y="5746"/>
                      <a:pt x="3333" y="5750"/>
                    </a:cubicBezTo>
                    <a:cubicBezTo>
                      <a:pt x="3332" y="5751"/>
                      <a:pt x="3332" y="5751"/>
                      <a:pt x="3332" y="5752"/>
                    </a:cubicBezTo>
                    <a:cubicBezTo>
                      <a:pt x="3332" y="5752"/>
                      <a:pt x="3332" y="5752"/>
                      <a:pt x="3332" y="5752"/>
                    </a:cubicBezTo>
                    <a:cubicBezTo>
                      <a:pt x="3291" y="5872"/>
                      <a:pt x="3121" y="5979"/>
                      <a:pt x="3086" y="6000"/>
                    </a:cubicBezTo>
                    <a:cubicBezTo>
                      <a:pt x="3096" y="6018"/>
                      <a:pt x="3096" y="6018"/>
                      <a:pt x="3096" y="6018"/>
                    </a:cubicBezTo>
                    <a:cubicBezTo>
                      <a:pt x="3114" y="6014"/>
                      <a:pt x="3178" y="5999"/>
                      <a:pt x="3250" y="5975"/>
                    </a:cubicBezTo>
                    <a:cubicBezTo>
                      <a:pt x="3334" y="5947"/>
                      <a:pt x="3430" y="5906"/>
                      <a:pt x="3472" y="5857"/>
                    </a:cubicBezTo>
                    <a:cubicBezTo>
                      <a:pt x="3516" y="5805"/>
                      <a:pt x="3533" y="5757"/>
                      <a:pt x="3533" y="5715"/>
                    </a:cubicBezTo>
                    <a:cubicBezTo>
                      <a:pt x="3533" y="5676"/>
                      <a:pt x="3517" y="5641"/>
                      <a:pt x="3493" y="5612"/>
                    </a:cubicBezTo>
                    <a:cubicBezTo>
                      <a:pt x="3448" y="5560"/>
                      <a:pt x="3366" y="5499"/>
                      <a:pt x="3343" y="5483"/>
                    </a:cubicBezTo>
                    <a:cubicBezTo>
                      <a:pt x="3297" y="5542"/>
                      <a:pt x="3297" y="5542"/>
                      <a:pt x="3297" y="5542"/>
                    </a:cubicBezTo>
                    <a:cubicBezTo>
                      <a:pt x="3290" y="5651"/>
                      <a:pt x="3290" y="5651"/>
                      <a:pt x="3290" y="5651"/>
                    </a:cubicBezTo>
                    <a:cubicBezTo>
                      <a:pt x="3290" y="5655"/>
                      <a:pt x="3286" y="5658"/>
                      <a:pt x="3282" y="5658"/>
                    </a:cubicBezTo>
                    <a:cubicBezTo>
                      <a:pt x="3225" y="5654"/>
                      <a:pt x="3225" y="5654"/>
                      <a:pt x="3225" y="5654"/>
                    </a:cubicBezTo>
                    <a:lnTo>
                      <a:pt x="3218" y="5733"/>
                    </a:lnTo>
                    <a:close/>
                    <a:moveTo>
                      <a:pt x="2729" y="5542"/>
                    </a:moveTo>
                    <a:cubicBezTo>
                      <a:pt x="2656" y="5514"/>
                      <a:pt x="2656" y="5514"/>
                      <a:pt x="2656" y="5514"/>
                    </a:cubicBezTo>
                    <a:cubicBezTo>
                      <a:pt x="2731" y="5317"/>
                      <a:pt x="2731" y="5317"/>
                      <a:pt x="2731" y="5317"/>
                    </a:cubicBezTo>
                    <a:cubicBezTo>
                      <a:pt x="2782" y="5336"/>
                      <a:pt x="2782" y="5336"/>
                      <a:pt x="2782" y="5336"/>
                    </a:cubicBezTo>
                    <a:cubicBezTo>
                      <a:pt x="2784" y="5330"/>
                      <a:pt x="2784" y="5330"/>
                      <a:pt x="2784" y="5330"/>
                    </a:cubicBezTo>
                    <a:cubicBezTo>
                      <a:pt x="2787" y="5323"/>
                      <a:pt x="2787" y="5323"/>
                      <a:pt x="2787" y="5323"/>
                    </a:cubicBezTo>
                    <a:cubicBezTo>
                      <a:pt x="2880" y="5359"/>
                      <a:pt x="2880" y="5359"/>
                      <a:pt x="2880" y="5359"/>
                    </a:cubicBezTo>
                    <a:cubicBezTo>
                      <a:pt x="2877" y="5365"/>
                      <a:pt x="2877" y="5365"/>
                      <a:pt x="2877" y="5365"/>
                    </a:cubicBezTo>
                    <a:cubicBezTo>
                      <a:pt x="2841" y="5460"/>
                      <a:pt x="2841" y="5460"/>
                      <a:pt x="2841" y="5460"/>
                    </a:cubicBezTo>
                    <a:cubicBezTo>
                      <a:pt x="2927" y="5492"/>
                      <a:pt x="2927" y="5492"/>
                      <a:pt x="2927" y="5492"/>
                    </a:cubicBezTo>
                    <a:cubicBezTo>
                      <a:pt x="2874" y="5631"/>
                      <a:pt x="2874" y="5631"/>
                      <a:pt x="2874" y="5631"/>
                    </a:cubicBezTo>
                    <a:cubicBezTo>
                      <a:pt x="2803" y="5605"/>
                      <a:pt x="2803" y="5605"/>
                      <a:pt x="2803" y="5605"/>
                    </a:cubicBezTo>
                    <a:cubicBezTo>
                      <a:pt x="2778" y="5671"/>
                      <a:pt x="2778" y="5671"/>
                      <a:pt x="2778" y="5671"/>
                    </a:cubicBezTo>
                    <a:cubicBezTo>
                      <a:pt x="2707" y="5644"/>
                      <a:pt x="2707" y="5644"/>
                      <a:pt x="2707" y="5644"/>
                    </a:cubicBezTo>
                    <a:cubicBezTo>
                      <a:pt x="2774" y="5466"/>
                      <a:pt x="2774" y="5466"/>
                      <a:pt x="2774" y="5466"/>
                    </a:cubicBezTo>
                    <a:cubicBezTo>
                      <a:pt x="2760" y="5461"/>
                      <a:pt x="2760" y="5461"/>
                      <a:pt x="2760" y="5461"/>
                    </a:cubicBezTo>
                    <a:lnTo>
                      <a:pt x="2729" y="5542"/>
                    </a:lnTo>
                    <a:close/>
                    <a:moveTo>
                      <a:pt x="2722" y="5525"/>
                    </a:moveTo>
                    <a:cubicBezTo>
                      <a:pt x="2752" y="5444"/>
                      <a:pt x="2752" y="5444"/>
                      <a:pt x="2752" y="5444"/>
                    </a:cubicBezTo>
                    <a:cubicBezTo>
                      <a:pt x="2792" y="5458"/>
                      <a:pt x="2792" y="5458"/>
                      <a:pt x="2792" y="5458"/>
                    </a:cubicBezTo>
                    <a:cubicBezTo>
                      <a:pt x="2725" y="5636"/>
                      <a:pt x="2725" y="5636"/>
                      <a:pt x="2725" y="5636"/>
                    </a:cubicBezTo>
                    <a:cubicBezTo>
                      <a:pt x="2771" y="5653"/>
                      <a:pt x="2771" y="5653"/>
                      <a:pt x="2771" y="5653"/>
                    </a:cubicBezTo>
                    <a:cubicBezTo>
                      <a:pt x="2796" y="5587"/>
                      <a:pt x="2796" y="5587"/>
                      <a:pt x="2796" y="5587"/>
                    </a:cubicBezTo>
                    <a:cubicBezTo>
                      <a:pt x="2866" y="5614"/>
                      <a:pt x="2866" y="5614"/>
                      <a:pt x="2866" y="5614"/>
                    </a:cubicBezTo>
                    <a:cubicBezTo>
                      <a:pt x="2910" y="5500"/>
                      <a:pt x="2910" y="5500"/>
                      <a:pt x="2910" y="5500"/>
                    </a:cubicBezTo>
                    <a:cubicBezTo>
                      <a:pt x="2824" y="5468"/>
                      <a:pt x="2824" y="5468"/>
                      <a:pt x="2824" y="5468"/>
                    </a:cubicBezTo>
                    <a:cubicBezTo>
                      <a:pt x="2863" y="5366"/>
                      <a:pt x="2863" y="5366"/>
                      <a:pt x="2863" y="5366"/>
                    </a:cubicBezTo>
                    <a:cubicBezTo>
                      <a:pt x="2794" y="5341"/>
                      <a:pt x="2794" y="5341"/>
                      <a:pt x="2794" y="5341"/>
                    </a:cubicBezTo>
                    <a:cubicBezTo>
                      <a:pt x="2792" y="5347"/>
                      <a:pt x="2792" y="5347"/>
                      <a:pt x="2792" y="5347"/>
                    </a:cubicBezTo>
                    <a:cubicBezTo>
                      <a:pt x="2790" y="5353"/>
                      <a:pt x="2790" y="5353"/>
                      <a:pt x="2790" y="5353"/>
                    </a:cubicBezTo>
                    <a:cubicBezTo>
                      <a:pt x="2738" y="5334"/>
                      <a:pt x="2738" y="5334"/>
                      <a:pt x="2738" y="5334"/>
                    </a:cubicBezTo>
                    <a:cubicBezTo>
                      <a:pt x="2673" y="5506"/>
                      <a:pt x="2673" y="5506"/>
                      <a:pt x="2673" y="5506"/>
                    </a:cubicBezTo>
                    <a:lnTo>
                      <a:pt x="2722" y="5525"/>
                    </a:lnTo>
                    <a:close/>
                    <a:moveTo>
                      <a:pt x="3395" y="6085"/>
                    </a:moveTo>
                    <a:cubicBezTo>
                      <a:pt x="3394" y="6083"/>
                      <a:pt x="3396" y="6080"/>
                      <a:pt x="3398" y="6078"/>
                    </a:cubicBezTo>
                    <a:cubicBezTo>
                      <a:pt x="3401" y="6077"/>
                      <a:pt x="3402" y="6077"/>
                      <a:pt x="3403" y="6077"/>
                    </a:cubicBezTo>
                    <a:cubicBezTo>
                      <a:pt x="3405" y="6078"/>
                      <a:pt x="3457" y="6060"/>
                      <a:pt x="3516" y="6023"/>
                    </a:cubicBezTo>
                    <a:cubicBezTo>
                      <a:pt x="3545" y="6005"/>
                      <a:pt x="3571" y="5974"/>
                      <a:pt x="3590" y="5948"/>
                    </a:cubicBezTo>
                    <a:cubicBezTo>
                      <a:pt x="3609" y="5922"/>
                      <a:pt x="3620" y="5900"/>
                      <a:pt x="3620" y="5900"/>
                    </a:cubicBezTo>
                    <a:cubicBezTo>
                      <a:pt x="3623" y="5894"/>
                      <a:pt x="3623" y="5894"/>
                      <a:pt x="3623" y="5894"/>
                    </a:cubicBezTo>
                    <a:cubicBezTo>
                      <a:pt x="3747" y="5936"/>
                      <a:pt x="3747" y="5936"/>
                      <a:pt x="3747" y="5936"/>
                    </a:cubicBezTo>
                    <a:cubicBezTo>
                      <a:pt x="3747" y="5942"/>
                      <a:pt x="3747" y="5942"/>
                      <a:pt x="3747" y="5942"/>
                    </a:cubicBezTo>
                    <a:cubicBezTo>
                      <a:pt x="3747" y="6083"/>
                      <a:pt x="3747" y="6083"/>
                      <a:pt x="3747" y="6083"/>
                    </a:cubicBezTo>
                    <a:cubicBezTo>
                      <a:pt x="3424" y="6112"/>
                      <a:pt x="3424" y="6112"/>
                      <a:pt x="3424" y="6112"/>
                    </a:cubicBezTo>
                    <a:cubicBezTo>
                      <a:pt x="3422" y="6111"/>
                      <a:pt x="3422" y="6111"/>
                      <a:pt x="3422" y="6111"/>
                    </a:cubicBezTo>
                    <a:cubicBezTo>
                      <a:pt x="3422" y="6111"/>
                      <a:pt x="3416" y="6107"/>
                      <a:pt x="3410" y="6102"/>
                    </a:cubicBezTo>
                    <a:cubicBezTo>
                      <a:pt x="3406" y="6100"/>
                      <a:pt x="3403" y="6097"/>
                      <a:pt x="3401" y="6095"/>
                    </a:cubicBezTo>
                    <a:cubicBezTo>
                      <a:pt x="3398" y="6092"/>
                      <a:pt x="3396" y="6093"/>
                      <a:pt x="3395" y="6085"/>
                    </a:cubicBezTo>
                    <a:close/>
                    <a:moveTo>
                      <a:pt x="3416" y="6089"/>
                    </a:moveTo>
                    <a:cubicBezTo>
                      <a:pt x="3420" y="6092"/>
                      <a:pt x="3425" y="6095"/>
                      <a:pt x="3428" y="6097"/>
                    </a:cubicBezTo>
                    <a:cubicBezTo>
                      <a:pt x="3732" y="6070"/>
                      <a:pt x="3732" y="6070"/>
                      <a:pt x="3732" y="6070"/>
                    </a:cubicBezTo>
                    <a:cubicBezTo>
                      <a:pt x="3732" y="5947"/>
                      <a:pt x="3732" y="5947"/>
                      <a:pt x="3732" y="5947"/>
                    </a:cubicBezTo>
                    <a:cubicBezTo>
                      <a:pt x="3630" y="5912"/>
                      <a:pt x="3630" y="5912"/>
                      <a:pt x="3630" y="5912"/>
                    </a:cubicBezTo>
                    <a:cubicBezTo>
                      <a:pt x="3619" y="5933"/>
                      <a:pt x="3578" y="6002"/>
                      <a:pt x="3524" y="6036"/>
                    </a:cubicBezTo>
                    <a:cubicBezTo>
                      <a:pt x="3476" y="6065"/>
                      <a:pt x="3437" y="6082"/>
                      <a:pt x="3416" y="6089"/>
                    </a:cubicBezTo>
                    <a:close/>
                    <a:moveTo>
                      <a:pt x="3213" y="5793"/>
                    </a:moveTo>
                    <a:cubicBezTo>
                      <a:pt x="3029" y="5946"/>
                      <a:pt x="3029" y="5946"/>
                      <a:pt x="3029" y="5946"/>
                    </a:cubicBezTo>
                    <a:cubicBezTo>
                      <a:pt x="2945" y="5894"/>
                      <a:pt x="2945" y="5894"/>
                      <a:pt x="2945" y="5894"/>
                    </a:cubicBezTo>
                    <a:cubicBezTo>
                      <a:pt x="3146" y="5701"/>
                      <a:pt x="3146" y="5701"/>
                      <a:pt x="3146" y="5701"/>
                    </a:cubicBezTo>
                    <a:cubicBezTo>
                      <a:pt x="3147" y="5767"/>
                      <a:pt x="3147" y="5767"/>
                      <a:pt x="3147" y="5767"/>
                    </a:cubicBezTo>
                    <a:cubicBezTo>
                      <a:pt x="3225" y="5783"/>
                      <a:pt x="3225" y="5783"/>
                      <a:pt x="3225" y="5783"/>
                    </a:cubicBezTo>
                    <a:lnTo>
                      <a:pt x="3213" y="5793"/>
                    </a:lnTo>
                    <a:close/>
                    <a:moveTo>
                      <a:pt x="3192" y="5791"/>
                    </a:moveTo>
                    <a:cubicBezTo>
                      <a:pt x="3133" y="5779"/>
                      <a:pt x="3133" y="5779"/>
                      <a:pt x="3133" y="5779"/>
                    </a:cubicBezTo>
                    <a:cubicBezTo>
                      <a:pt x="3132" y="5735"/>
                      <a:pt x="3132" y="5735"/>
                      <a:pt x="3132" y="5735"/>
                    </a:cubicBezTo>
                    <a:cubicBezTo>
                      <a:pt x="2969" y="5891"/>
                      <a:pt x="2969" y="5891"/>
                      <a:pt x="2969" y="5891"/>
                    </a:cubicBezTo>
                    <a:cubicBezTo>
                      <a:pt x="3028" y="5927"/>
                      <a:pt x="3028" y="5927"/>
                      <a:pt x="3028" y="5927"/>
                    </a:cubicBezTo>
                    <a:lnTo>
                      <a:pt x="3192" y="5791"/>
                    </a:lnTo>
                    <a:close/>
                    <a:moveTo>
                      <a:pt x="4169" y="6687"/>
                    </a:moveTo>
                    <a:cubicBezTo>
                      <a:pt x="4169" y="6687"/>
                      <a:pt x="4120" y="6669"/>
                      <a:pt x="4082" y="6627"/>
                    </a:cubicBezTo>
                    <a:cubicBezTo>
                      <a:pt x="4045" y="6586"/>
                      <a:pt x="4042" y="6524"/>
                      <a:pt x="4042" y="6524"/>
                    </a:cubicBezTo>
                    <a:cubicBezTo>
                      <a:pt x="4023" y="6522"/>
                      <a:pt x="4023" y="6522"/>
                      <a:pt x="4023" y="6522"/>
                    </a:cubicBezTo>
                    <a:cubicBezTo>
                      <a:pt x="4022" y="6068"/>
                      <a:pt x="4022" y="6068"/>
                      <a:pt x="4022" y="6068"/>
                    </a:cubicBezTo>
                    <a:cubicBezTo>
                      <a:pt x="4109" y="6067"/>
                      <a:pt x="4109" y="6067"/>
                      <a:pt x="4109" y="6067"/>
                    </a:cubicBezTo>
                    <a:cubicBezTo>
                      <a:pt x="4109" y="6067"/>
                      <a:pt x="4118" y="6046"/>
                      <a:pt x="4136" y="6023"/>
                    </a:cubicBezTo>
                    <a:cubicBezTo>
                      <a:pt x="4150" y="6007"/>
                      <a:pt x="4171" y="5990"/>
                      <a:pt x="4188" y="5979"/>
                    </a:cubicBezTo>
                    <a:cubicBezTo>
                      <a:pt x="4227" y="5953"/>
                      <a:pt x="4302" y="5953"/>
                      <a:pt x="4302" y="5953"/>
                    </a:cubicBezTo>
                    <a:cubicBezTo>
                      <a:pt x="4361" y="5904"/>
                      <a:pt x="4361" y="5904"/>
                      <a:pt x="4361" y="5904"/>
                    </a:cubicBezTo>
                    <a:cubicBezTo>
                      <a:pt x="4472" y="6029"/>
                      <a:pt x="4472" y="6029"/>
                      <a:pt x="4472" y="6029"/>
                    </a:cubicBezTo>
                    <a:cubicBezTo>
                      <a:pt x="4472" y="6029"/>
                      <a:pt x="4452" y="6052"/>
                      <a:pt x="4452" y="6053"/>
                    </a:cubicBezTo>
                    <a:cubicBezTo>
                      <a:pt x="4483" y="6096"/>
                      <a:pt x="4474" y="6152"/>
                      <a:pt x="4474" y="6152"/>
                    </a:cubicBezTo>
                    <a:cubicBezTo>
                      <a:pt x="4474" y="6152"/>
                      <a:pt x="4427" y="6495"/>
                      <a:pt x="4419" y="6549"/>
                    </a:cubicBezTo>
                    <a:cubicBezTo>
                      <a:pt x="4410" y="6603"/>
                      <a:pt x="4365" y="6648"/>
                      <a:pt x="4365" y="6648"/>
                    </a:cubicBezTo>
                    <a:cubicBezTo>
                      <a:pt x="4363" y="6728"/>
                      <a:pt x="4363" y="6728"/>
                      <a:pt x="4363" y="6728"/>
                    </a:cubicBezTo>
                    <a:cubicBezTo>
                      <a:pt x="4169" y="6727"/>
                      <a:pt x="4169" y="6727"/>
                      <a:pt x="4169" y="6727"/>
                    </a:cubicBezTo>
                    <a:lnTo>
                      <a:pt x="4169" y="6687"/>
                    </a:lnTo>
                    <a:close/>
                    <a:moveTo>
                      <a:pt x="4174" y="6674"/>
                    </a:moveTo>
                    <a:cubicBezTo>
                      <a:pt x="4183" y="6677"/>
                      <a:pt x="4183" y="6677"/>
                      <a:pt x="4183" y="6677"/>
                    </a:cubicBezTo>
                    <a:cubicBezTo>
                      <a:pt x="4183" y="6687"/>
                      <a:pt x="4183" y="6687"/>
                      <a:pt x="4183" y="6687"/>
                    </a:cubicBezTo>
                    <a:cubicBezTo>
                      <a:pt x="4183" y="6713"/>
                      <a:pt x="4183" y="6713"/>
                      <a:pt x="4183" y="6713"/>
                    </a:cubicBezTo>
                    <a:cubicBezTo>
                      <a:pt x="4349" y="6714"/>
                      <a:pt x="4349" y="6714"/>
                      <a:pt x="4349" y="6714"/>
                    </a:cubicBezTo>
                    <a:cubicBezTo>
                      <a:pt x="4351" y="6647"/>
                      <a:pt x="4351" y="6647"/>
                      <a:pt x="4351" y="6647"/>
                    </a:cubicBezTo>
                    <a:cubicBezTo>
                      <a:pt x="4351" y="6642"/>
                      <a:pt x="4351" y="6642"/>
                      <a:pt x="4351" y="6642"/>
                    </a:cubicBezTo>
                    <a:cubicBezTo>
                      <a:pt x="4355" y="6638"/>
                      <a:pt x="4355" y="6638"/>
                      <a:pt x="4355" y="6638"/>
                    </a:cubicBezTo>
                    <a:cubicBezTo>
                      <a:pt x="4355" y="6637"/>
                      <a:pt x="4397" y="6596"/>
                      <a:pt x="4405" y="6547"/>
                    </a:cubicBezTo>
                    <a:cubicBezTo>
                      <a:pt x="4413" y="6494"/>
                      <a:pt x="4460" y="6154"/>
                      <a:pt x="4460" y="6151"/>
                    </a:cubicBezTo>
                    <a:cubicBezTo>
                      <a:pt x="4461" y="6150"/>
                      <a:pt x="4467" y="6099"/>
                      <a:pt x="4441" y="6061"/>
                    </a:cubicBezTo>
                    <a:cubicBezTo>
                      <a:pt x="4439" y="6058"/>
                      <a:pt x="4439" y="6058"/>
                      <a:pt x="4439" y="6058"/>
                    </a:cubicBezTo>
                    <a:cubicBezTo>
                      <a:pt x="4439" y="6053"/>
                      <a:pt x="4439" y="6053"/>
                      <a:pt x="4439" y="6053"/>
                    </a:cubicBezTo>
                    <a:cubicBezTo>
                      <a:pt x="4439" y="6049"/>
                      <a:pt x="4439" y="6047"/>
                      <a:pt x="4454" y="6029"/>
                    </a:cubicBezTo>
                    <a:cubicBezTo>
                      <a:pt x="4359" y="5923"/>
                      <a:pt x="4359" y="5923"/>
                      <a:pt x="4359" y="5923"/>
                    </a:cubicBezTo>
                    <a:cubicBezTo>
                      <a:pt x="4311" y="5964"/>
                      <a:pt x="4311" y="5964"/>
                      <a:pt x="4311" y="5964"/>
                    </a:cubicBezTo>
                    <a:cubicBezTo>
                      <a:pt x="4307" y="5967"/>
                      <a:pt x="4307" y="5967"/>
                      <a:pt x="4307" y="5967"/>
                    </a:cubicBezTo>
                    <a:cubicBezTo>
                      <a:pt x="4302" y="5967"/>
                      <a:pt x="4302" y="5967"/>
                      <a:pt x="4302" y="5967"/>
                    </a:cubicBezTo>
                    <a:cubicBezTo>
                      <a:pt x="4275" y="5967"/>
                      <a:pt x="4223" y="5972"/>
                      <a:pt x="4196" y="5991"/>
                    </a:cubicBezTo>
                    <a:cubicBezTo>
                      <a:pt x="4186" y="5997"/>
                      <a:pt x="4162" y="6014"/>
                      <a:pt x="4147" y="6032"/>
                    </a:cubicBezTo>
                    <a:cubicBezTo>
                      <a:pt x="4130" y="6052"/>
                      <a:pt x="4122" y="6072"/>
                      <a:pt x="4122" y="6072"/>
                    </a:cubicBezTo>
                    <a:cubicBezTo>
                      <a:pt x="4119" y="6081"/>
                      <a:pt x="4119" y="6081"/>
                      <a:pt x="4119" y="6081"/>
                    </a:cubicBezTo>
                    <a:cubicBezTo>
                      <a:pt x="4109" y="6081"/>
                      <a:pt x="4109" y="6081"/>
                      <a:pt x="4109" y="6081"/>
                    </a:cubicBezTo>
                    <a:cubicBezTo>
                      <a:pt x="4036" y="6081"/>
                      <a:pt x="4036" y="6081"/>
                      <a:pt x="4036" y="6081"/>
                    </a:cubicBezTo>
                    <a:cubicBezTo>
                      <a:pt x="4037" y="6509"/>
                      <a:pt x="4037" y="6509"/>
                      <a:pt x="4037" y="6509"/>
                    </a:cubicBezTo>
                    <a:cubicBezTo>
                      <a:pt x="4043" y="6510"/>
                      <a:pt x="4043" y="6510"/>
                      <a:pt x="4043" y="6510"/>
                    </a:cubicBezTo>
                    <a:cubicBezTo>
                      <a:pt x="4056" y="6511"/>
                      <a:pt x="4056" y="6511"/>
                      <a:pt x="4056" y="6511"/>
                    </a:cubicBezTo>
                    <a:cubicBezTo>
                      <a:pt x="4056" y="6523"/>
                      <a:pt x="4056" y="6523"/>
                      <a:pt x="4056" y="6523"/>
                    </a:cubicBezTo>
                    <a:cubicBezTo>
                      <a:pt x="4056" y="6524"/>
                      <a:pt x="4059" y="6581"/>
                      <a:pt x="4092" y="6618"/>
                    </a:cubicBezTo>
                    <a:cubicBezTo>
                      <a:pt x="4127" y="6656"/>
                      <a:pt x="4174" y="6673"/>
                      <a:pt x="4174" y="6674"/>
                    </a:cubicBezTo>
                    <a:close/>
                    <a:moveTo>
                      <a:pt x="4217" y="6635"/>
                    </a:moveTo>
                    <a:cubicBezTo>
                      <a:pt x="4122" y="6621"/>
                      <a:pt x="4102" y="6528"/>
                      <a:pt x="4105" y="6481"/>
                    </a:cubicBezTo>
                    <a:cubicBezTo>
                      <a:pt x="4107" y="6468"/>
                      <a:pt x="4144" y="6184"/>
                      <a:pt x="4155" y="6130"/>
                    </a:cubicBezTo>
                    <a:cubicBezTo>
                      <a:pt x="4166" y="6077"/>
                      <a:pt x="4211" y="6020"/>
                      <a:pt x="4283" y="6020"/>
                    </a:cubicBezTo>
                    <a:cubicBezTo>
                      <a:pt x="4288" y="6020"/>
                      <a:pt x="4294" y="6020"/>
                      <a:pt x="4299" y="6021"/>
                    </a:cubicBezTo>
                    <a:cubicBezTo>
                      <a:pt x="4391" y="6031"/>
                      <a:pt x="4414" y="6122"/>
                      <a:pt x="4414" y="6168"/>
                    </a:cubicBezTo>
                    <a:cubicBezTo>
                      <a:pt x="4414" y="6169"/>
                      <a:pt x="4414" y="6169"/>
                      <a:pt x="4414" y="6169"/>
                    </a:cubicBezTo>
                    <a:cubicBezTo>
                      <a:pt x="4414" y="6170"/>
                      <a:pt x="4414" y="6170"/>
                      <a:pt x="4414" y="6170"/>
                    </a:cubicBezTo>
                    <a:cubicBezTo>
                      <a:pt x="4365" y="6519"/>
                      <a:pt x="4365" y="6519"/>
                      <a:pt x="4365" y="6519"/>
                    </a:cubicBezTo>
                    <a:cubicBezTo>
                      <a:pt x="4356" y="6560"/>
                      <a:pt x="4318" y="6637"/>
                      <a:pt x="4238" y="6637"/>
                    </a:cubicBezTo>
                    <a:cubicBezTo>
                      <a:pt x="4231" y="6637"/>
                      <a:pt x="4224" y="6636"/>
                      <a:pt x="4217" y="6635"/>
                    </a:cubicBezTo>
                    <a:close/>
                    <a:moveTo>
                      <a:pt x="4219" y="6621"/>
                    </a:moveTo>
                    <a:cubicBezTo>
                      <a:pt x="4326" y="6637"/>
                      <a:pt x="4351" y="6517"/>
                      <a:pt x="4351" y="6517"/>
                    </a:cubicBezTo>
                    <a:cubicBezTo>
                      <a:pt x="4400" y="6168"/>
                      <a:pt x="4400" y="6168"/>
                      <a:pt x="4400" y="6168"/>
                    </a:cubicBezTo>
                    <a:cubicBezTo>
                      <a:pt x="4400" y="6168"/>
                      <a:pt x="4401" y="6047"/>
                      <a:pt x="4298" y="6035"/>
                    </a:cubicBezTo>
                    <a:cubicBezTo>
                      <a:pt x="4227" y="6026"/>
                      <a:pt x="4180" y="6079"/>
                      <a:pt x="4169" y="6133"/>
                    </a:cubicBezTo>
                    <a:cubicBezTo>
                      <a:pt x="4157" y="6187"/>
                      <a:pt x="4119" y="6482"/>
                      <a:pt x="4119" y="6482"/>
                    </a:cubicBezTo>
                    <a:cubicBezTo>
                      <a:pt x="4119" y="6482"/>
                      <a:pt x="4112" y="6605"/>
                      <a:pt x="4219" y="6621"/>
                    </a:cubicBezTo>
                    <a:close/>
                    <a:moveTo>
                      <a:pt x="4213" y="6919"/>
                    </a:moveTo>
                    <a:cubicBezTo>
                      <a:pt x="4141" y="6887"/>
                      <a:pt x="4141" y="6887"/>
                      <a:pt x="4141" y="6887"/>
                    </a:cubicBezTo>
                    <a:cubicBezTo>
                      <a:pt x="4151" y="6825"/>
                      <a:pt x="4151" y="6825"/>
                      <a:pt x="4151" y="6825"/>
                    </a:cubicBezTo>
                    <a:cubicBezTo>
                      <a:pt x="4395" y="6862"/>
                      <a:pt x="4395" y="6862"/>
                      <a:pt x="4395" y="6862"/>
                    </a:cubicBezTo>
                    <a:cubicBezTo>
                      <a:pt x="4378" y="6920"/>
                      <a:pt x="4378" y="6920"/>
                      <a:pt x="4378" y="6920"/>
                    </a:cubicBezTo>
                    <a:cubicBezTo>
                      <a:pt x="4314" y="6909"/>
                      <a:pt x="4314" y="6909"/>
                      <a:pt x="4314" y="6909"/>
                    </a:cubicBezTo>
                    <a:cubicBezTo>
                      <a:pt x="4303" y="6980"/>
                      <a:pt x="4303" y="6980"/>
                      <a:pt x="4303" y="6980"/>
                    </a:cubicBezTo>
                    <a:cubicBezTo>
                      <a:pt x="4211" y="6992"/>
                      <a:pt x="4211" y="6992"/>
                      <a:pt x="4211" y="6992"/>
                    </a:cubicBezTo>
                    <a:lnTo>
                      <a:pt x="4213" y="6919"/>
                    </a:lnTo>
                    <a:close/>
                    <a:moveTo>
                      <a:pt x="4218" y="6906"/>
                    </a:moveTo>
                    <a:cubicBezTo>
                      <a:pt x="4227" y="6910"/>
                      <a:pt x="4227" y="6910"/>
                      <a:pt x="4227" y="6910"/>
                    </a:cubicBezTo>
                    <a:cubicBezTo>
                      <a:pt x="4227" y="6919"/>
                      <a:pt x="4227" y="6919"/>
                      <a:pt x="4227" y="6919"/>
                    </a:cubicBezTo>
                    <a:cubicBezTo>
                      <a:pt x="4225" y="6976"/>
                      <a:pt x="4225" y="6976"/>
                      <a:pt x="4225" y="6976"/>
                    </a:cubicBezTo>
                    <a:cubicBezTo>
                      <a:pt x="4291" y="6967"/>
                      <a:pt x="4291" y="6967"/>
                      <a:pt x="4291" y="6967"/>
                    </a:cubicBezTo>
                    <a:cubicBezTo>
                      <a:pt x="4300" y="6907"/>
                      <a:pt x="4300" y="6907"/>
                      <a:pt x="4300" y="6907"/>
                    </a:cubicBezTo>
                    <a:cubicBezTo>
                      <a:pt x="4303" y="6893"/>
                      <a:pt x="4303" y="6893"/>
                      <a:pt x="4303" y="6893"/>
                    </a:cubicBezTo>
                    <a:cubicBezTo>
                      <a:pt x="4317" y="6895"/>
                      <a:pt x="4317" y="6895"/>
                      <a:pt x="4317" y="6895"/>
                    </a:cubicBezTo>
                    <a:cubicBezTo>
                      <a:pt x="4368" y="6904"/>
                      <a:pt x="4368" y="6904"/>
                      <a:pt x="4368" y="6904"/>
                    </a:cubicBezTo>
                    <a:cubicBezTo>
                      <a:pt x="4377" y="6874"/>
                      <a:pt x="4377" y="6874"/>
                      <a:pt x="4377" y="6874"/>
                    </a:cubicBezTo>
                    <a:cubicBezTo>
                      <a:pt x="4163" y="6841"/>
                      <a:pt x="4163" y="6841"/>
                      <a:pt x="4163" y="6841"/>
                    </a:cubicBezTo>
                    <a:cubicBezTo>
                      <a:pt x="4156" y="6879"/>
                      <a:pt x="4156" y="6879"/>
                      <a:pt x="4156" y="6879"/>
                    </a:cubicBezTo>
                    <a:lnTo>
                      <a:pt x="4218" y="6906"/>
                    </a:lnTo>
                    <a:close/>
                    <a:moveTo>
                      <a:pt x="3044" y="6320"/>
                    </a:moveTo>
                    <a:cubicBezTo>
                      <a:pt x="3096" y="6365"/>
                      <a:pt x="3096" y="6365"/>
                      <a:pt x="3096" y="6365"/>
                    </a:cubicBezTo>
                    <a:cubicBezTo>
                      <a:pt x="3091" y="6371"/>
                      <a:pt x="3091" y="6371"/>
                      <a:pt x="3091" y="6371"/>
                    </a:cubicBezTo>
                    <a:cubicBezTo>
                      <a:pt x="3051" y="6412"/>
                      <a:pt x="3051" y="6412"/>
                      <a:pt x="3051" y="6412"/>
                    </a:cubicBezTo>
                    <a:cubicBezTo>
                      <a:pt x="2994" y="6386"/>
                      <a:pt x="2994" y="6386"/>
                      <a:pt x="2994" y="6386"/>
                    </a:cubicBezTo>
                    <a:cubicBezTo>
                      <a:pt x="3007" y="6338"/>
                      <a:pt x="3007" y="6338"/>
                      <a:pt x="3007" y="6338"/>
                    </a:cubicBezTo>
                    <a:lnTo>
                      <a:pt x="3044" y="6320"/>
                    </a:lnTo>
                    <a:close/>
                    <a:moveTo>
                      <a:pt x="3075" y="6366"/>
                    </a:moveTo>
                    <a:cubicBezTo>
                      <a:pt x="3042" y="6337"/>
                      <a:pt x="3042" y="6337"/>
                      <a:pt x="3042" y="6337"/>
                    </a:cubicBezTo>
                    <a:cubicBezTo>
                      <a:pt x="3020" y="6349"/>
                      <a:pt x="3020" y="6349"/>
                      <a:pt x="3020" y="6349"/>
                    </a:cubicBezTo>
                    <a:cubicBezTo>
                      <a:pt x="3012" y="6378"/>
                      <a:pt x="3012" y="6378"/>
                      <a:pt x="3012" y="6378"/>
                    </a:cubicBezTo>
                    <a:cubicBezTo>
                      <a:pt x="3047" y="6394"/>
                      <a:pt x="3047" y="6394"/>
                      <a:pt x="3047" y="6394"/>
                    </a:cubicBezTo>
                    <a:lnTo>
                      <a:pt x="3075" y="6366"/>
                    </a:lnTo>
                    <a:close/>
                    <a:moveTo>
                      <a:pt x="3207" y="6449"/>
                    </a:moveTo>
                    <a:cubicBezTo>
                      <a:pt x="3138" y="6630"/>
                      <a:pt x="3138" y="6630"/>
                      <a:pt x="3138" y="6630"/>
                    </a:cubicBezTo>
                    <a:cubicBezTo>
                      <a:pt x="2770" y="6503"/>
                      <a:pt x="2770" y="6503"/>
                      <a:pt x="2770" y="6503"/>
                    </a:cubicBezTo>
                    <a:cubicBezTo>
                      <a:pt x="2772" y="6497"/>
                      <a:pt x="2772" y="6497"/>
                      <a:pt x="2772" y="6497"/>
                    </a:cubicBezTo>
                    <a:cubicBezTo>
                      <a:pt x="2772" y="6496"/>
                      <a:pt x="2793" y="6389"/>
                      <a:pt x="2808" y="6342"/>
                    </a:cubicBezTo>
                    <a:cubicBezTo>
                      <a:pt x="2822" y="6293"/>
                      <a:pt x="2861" y="6247"/>
                      <a:pt x="2862" y="6247"/>
                    </a:cubicBezTo>
                    <a:cubicBezTo>
                      <a:pt x="2866" y="6242"/>
                      <a:pt x="2866" y="6242"/>
                      <a:pt x="2866" y="6242"/>
                    </a:cubicBezTo>
                    <a:cubicBezTo>
                      <a:pt x="2974" y="6313"/>
                      <a:pt x="2974" y="6313"/>
                      <a:pt x="2974" y="6313"/>
                    </a:cubicBezTo>
                    <a:cubicBezTo>
                      <a:pt x="2955" y="6420"/>
                      <a:pt x="2955" y="6420"/>
                      <a:pt x="2955" y="6420"/>
                    </a:cubicBezTo>
                    <a:cubicBezTo>
                      <a:pt x="3050" y="6467"/>
                      <a:pt x="3050" y="6467"/>
                      <a:pt x="3050" y="6467"/>
                    </a:cubicBezTo>
                    <a:cubicBezTo>
                      <a:pt x="3158" y="6401"/>
                      <a:pt x="3158" y="6401"/>
                      <a:pt x="3158" y="6401"/>
                    </a:cubicBezTo>
                    <a:cubicBezTo>
                      <a:pt x="3209" y="6444"/>
                      <a:pt x="3209" y="6444"/>
                      <a:pt x="3209" y="6444"/>
                    </a:cubicBezTo>
                    <a:lnTo>
                      <a:pt x="3207" y="6449"/>
                    </a:lnTo>
                    <a:close/>
                    <a:moveTo>
                      <a:pt x="3191" y="6449"/>
                    </a:moveTo>
                    <a:cubicBezTo>
                      <a:pt x="3156" y="6420"/>
                      <a:pt x="3156" y="6420"/>
                      <a:pt x="3156" y="6420"/>
                    </a:cubicBezTo>
                    <a:cubicBezTo>
                      <a:pt x="3051" y="6484"/>
                      <a:pt x="3051" y="6484"/>
                      <a:pt x="3051" y="6484"/>
                    </a:cubicBezTo>
                    <a:cubicBezTo>
                      <a:pt x="2938" y="6429"/>
                      <a:pt x="2938" y="6429"/>
                      <a:pt x="2938" y="6429"/>
                    </a:cubicBezTo>
                    <a:cubicBezTo>
                      <a:pt x="2958" y="6320"/>
                      <a:pt x="2958" y="6320"/>
                      <a:pt x="2958" y="6320"/>
                    </a:cubicBezTo>
                    <a:cubicBezTo>
                      <a:pt x="2869" y="6261"/>
                      <a:pt x="2869" y="6261"/>
                      <a:pt x="2869" y="6261"/>
                    </a:cubicBezTo>
                    <a:cubicBezTo>
                      <a:pt x="2859" y="6274"/>
                      <a:pt x="2832" y="6310"/>
                      <a:pt x="2822" y="6346"/>
                    </a:cubicBezTo>
                    <a:cubicBezTo>
                      <a:pt x="2810" y="6385"/>
                      <a:pt x="2792" y="6469"/>
                      <a:pt x="2787" y="6493"/>
                    </a:cubicBezTo>
                    <a:cubicBezTo>
                      <a:pt x="3130" y="6611"/>
                      <a:pt x="3130" y="6611"/>
                      <a:pt x="3130" y="6611"/>
                    </a:cubicBezTo>
                    <a:lnTo>
                      <a:pt x="3191" y="6449"/>
                    </a:lnTo>
                    <a:close/>
                    <a:moveTo>
                      <a:pt x="2177" y="4201"/>
                    </a:moveTo>
                    <a:cubicBezTo>
                      <a:pt x="2247" y="4224"/>
                      <a:pt x="2247" y="4224"/>
                      <a:pt x="2247" y="4224"/>
                    </a:cubicBezTo>
                    <a:cubicBezTo>
                      <a:pt x="2239" y="4308"/>
                      <a:pt x="2239" y="4308"/>
                      <a:pt x="2239" y="4308"/>
                    </a:cubicBezTo>
                    <a:cubicBezTo>
                      <a:pt x="2001" y="4252"/>
                      <a:pt x="2001" y="4252"/>
                      <a:pt x="2001" y="4252"/>
                    </a:cubicBezTo>
                    <a:cubicBezTo>
                      <a:pt x="2048" y="4084"/>
                      <a:pt x="2048" y="4084"/>
                      <a:pt x="2048" y="4084"/>
                    </a:cubicBezTo>
                    <a:cubicBezTo>
                      <a:pt x="2185" y="4127"/>
                      <a:pt x="2185" y="4127"/>
                      <a:pt x="2185" y="4127"/>
                    </a:cubicBezTo>
                    <a:lnTo>
                      <a:pt x="2177" y="4201"/>
                    </a:lnTo>
                    <a:close/>
                    <a:moveTo>
                      <a:pt x="2173" y="4214"/>
                    </a:moveTo>
                    <a:cubicBezTo>
                      <a:pt x="2162" y="4211"/>
                      <a:pt x="2162" y="4211"/>
                      <a:pt x="2162" y="4211"/>
                    </a:cubicBezTo>
                    <a:cubicBezTo>
                      <a:pt x="2163" y="4200"/>
                      <a:pt x="2163" y="4200"/>
                      <a:pt x="2163" y="4200"/>
                    </a:cubicBezTo>
                    <a:cubicBezTo>
                      <a:pt x="2170" y="4137"/>
                      <a:pt x="2170" y="4137"/>
                      <a:pt x="2170" y="4137"/>
                    </a:cubicBezTo>
                    <a:cubicBezTo>
                      <a:pt x="2057" y="4102"/>
                      <a:pt x="2057" y="4102"/>
                      <a:pt x="2057" y="4102"/>
                    </a:cubicBezTo>
                    <a:cubicBezTo>
                      <a:pt x="2018" y="4242"/>
                      <a:pt x="2018" y="4242"/>
                      <a:pt x="2018" y="4242"/>
                    </a:cubicBezTo>
                    <a:cubicBezTo>
                      <a:pt x="2227" y="4291"/>
                      <a:pt x="2227" y="4291"/>
                      <a:pt x="2227" y="4291"/>
                    </a:cubicBezTo>
                    <a:cubicBezTo>
                      <a:pt x="2232" y="4234"/>
                      <a:pt x="2232" y="4234"/>
                      <a:pt x="2232" y="4234"/>
                    </a:cubicBezTo>
                    <a:lnTo>
                      <a:pt x="2173" y="4214"/>
                    </a:lnTo>
                    <a:close/>
                    <a:moveTo>
                      <a:pt x="2594" y="4129"/>
                    </a:moveTo>
                    <a:cubicBezTo>
                      <a:pt x="2594" y="4129"/>
                      <a:pt x="2594" y="4129"/>
                      <a:pt x="2594" y="4129"/>
                    </a:cubicBezTo>
                    <a:cubicBezTo>
                      <a:pt x="2594" y="4129"/>
                      <a:pt x="2594" y="4129"/>
                      <a:pt x="2594" y="4129"/>
                    </a:cubicBezTo>
                    <a:close/>
                    <a:moveTo>
                      <a:pt x="2798" y="3836"/>
                    </a:moveTo>
                    <a:cubicBezTo>
                      <a:pt x="2883" y="3724"/>
                      <a:pt x="2883" y="3724"/>
                      <a:pt x="2883" y="3724"/>
                    </a:cubicBezTo>
                    <a:cubicBezTo>
                      <a:pt x="3094" y="3807"/>
                      <a:pt x="3094" y="3807"/>
                      <a:pt x="3094" y="3807"/>
                    </a:cubicBezTo>
                    <a:cubicBezTo>
                      <a:pt x="3161" y="3949"/>
                      <a:pt x="3161" y="3949"/>
                      <a:pt x="3161" y="3949"/>
                    </a:cubicBezTo>
                    <a:cubicBezTo>
                      <a:pt x="3139" y="4006"/>
                      <a:pt x="3139" y="4006"/>
                      <a:pt x="3139" y="4006"/>
                    </a:cubicBezTo>
                    <a:cubicBezTo>
                      <a:pt x="3034" y="4146"/>
                      <a:pt x="3034" y="4146"/>
                      <a:pt x="3034" y="4146"/>
                    </a:cubicBezTo>
                    <a:cubicBezTo>
                      <a:pt x="2979" y="4085"/>
                      <a:pt x="2979" y="4085"/>
                      <a:pt x="2979" y="4085"/>
                    </a:cubicBezTo>
                    <a:cubicBezTo>
                      <a:pt x="3010" y="3976"/>
                      <a:pt x="3010" y="3976"/>
                      <a:pt x="3010" y="3976"/>
                    </a:cubicBezTo>
                    <a:cubicBezTo>
                      <a:pt x="2977" y="3962"/>
                      <a:pt x="2977" y="3962"/>
                      <a:pt x="2977" y="3962"/>
                    </a:cubicBezTo>
                    <a:cubicBezTo>
                      <a:pt x="2972" y="3901"/>
                      <a:pt x="2972" y="3901"/>
                      <a:pt x="2972" y="3901"/>
                    </a:cubicBezTo>
                    <a:lnTo>
                      <a:pt x="2798" y="3836"/>
                    </a:lnTo>
                    <a:close/>
                    <a:moveTo>
                      <a:pt x="2820" y="3830"/>
                    </a:moveTo>
                    <a:cubicBezTo>
                      <a:pt x="2977" y="3888"/>
                      <a:pt x="2977" y="3888"/>
                      <a:pt x="2977" y="3888"/>
                    </a:cubicBezTo>
                    <a:cubicBezTo>
                      <a:pt x="2986" y="3891"/>
                      <a:pt x="2986" y="3891"/>
                      <a:pt x="2986" y="3891"/>
                    </a:cubicBezTo>
                    <a:cubicBezTo>
                      <a:pt x="2986" y="3900"/>
                      <a:pt x="2986" y="3900"/>
                      <a:pt x="2986" y="3900"/>
                    </a:cubicBezTo>
                    <a:cubicBezTo>
                      <a:pt x="2990" y="3952"/>
                      <a:pt x="2990" y="3952"/>
                      <a:pt x="2990" y="3952"/>
                    </a:cubicBezTo>
                    <a:cubicBezTo>
                      <a:pt x="3016" y="3963"/>
                      <a:pt x="3016" y="3963"/>
                      <a:pt x="3016" y="3963"/>
                    </a:cubicBezTo>
                    <a:cubicBezTo>
                      <a:pt x="3027" y="3968"/>
                      <a:pt x="3027" y="3968"/>
                      <a:pt x="3027" y="3968"/>
                    </a:cubicBezTo>
                    <a:cubicBezTo>
                      <a:pt x="3024" y="3979"/>
                      <a:pt x="3024" y="3979"/>
                      <a:pt x="3024" y="3979"/>
                    </a:cubicBezTo>
                    <a:cubicBezTo>
                      <a:pt x="2995" y="4081"/>
                      <a:pt x="2995" y="4081"/>
                      <a:pt x="2995" y="4081"/>
                    </a:cubicBezTo>
                    <a:cubicBezTo>
                      <a:pt x="3033" y="4124"/>
                      <a:pt x="3033" y="4124"/>
                      <a:pt x="3033" y="4124"/>
                    </a:cubicBezTo>
                    <a:cubicBezTo>
                      <a:pt x="3127" y="3999"/>
                      <a:pt x="3127" y="3999"/>
                      <a:pt x="3127" y="3999"/>
                    </a:cubicBezTo>
                    <a:cubicBezTo>
                      <a:pt x="3145" y="3949"/>
                      <a:pt x="3145" y="3949"/>
                      <a:pt x="3145" y="3949"/>
                    </a:cubicBezTo>
                    <a:cubicBezTo>
                      <a:pt x="3083" y="3818"/>
                      <a:pt x="3083" y="3818"/>
                      <a:pt x="3083" y="3818"/>
                    </a:cubicBezTo>
                    <a:cubicBezTo>
                      <a:pt x="2888" y="3741"/>
                      <a:pt x="2888" y="3741"/>
                      <a:pt x="2888" y="3741"/>
                    </a:cubicBezTo>
                    <a:lnTo>
                      <a:pt x="2820" y="3830"/>
                    </a:lnTo>
                    <a:close/>
                    <a:moveTo>
                      <a:pt x="4126" y="3475"/>
                    </a:moveTo>
                    <a:cubicBezTo>
                      <a:pt x="4186" y="3533"/>
                      <a:pt x="4186" y="3533"/>
                      <a:pt x="4186" y="3533"/>
                    </a:cubicBezTo>
                    <a:cubicBezTo>
                      <a:pt x="4185" y="3538"/>
                      <a:pt x="4185" y="3538"/>
                      <a:pt x="4185" y="3538"/>
                    </a:cubicBezTo>
                    <a:cubicBezTo>
                      <a:pt x="4090" y="3773"/>
                      <a:pt x="4090" y="3773"/>
                      <a:pt x="4090" y="3773"/>
                    </a:cubicBezTo>
                    <a:cubicBezTo>
                      <a:pt x="4022" y="3790"/>
                      <a:pt x="4022" y="3790"/>
                      <a:pt x="4022" y="3790"/>
                    </a:cubicBezTo>
                    <a:cubicBezTo>
                      <a:pt x="4012" y="3735"/>
                      <a:pt x="4012" y="3735"/>
                      <a:pt x="4012" y="3735"/>
                    </a:cubicBezTo>
                    <a:cubicBezTo>
                      <a:pt x="3814" y="3777"/>
                      <a:pt x="3814" y="3777"/>
                      <a:pt x="3814" y="3777"/>
                    </a:cubicBezTo>
                    <a:cubicBezTo>
                      <a:pt x="3821" y="3854"/>
                      <a:pt x="3821" y="3854"/>
                      <a:pt x="3821" y="3854"/>
                    </a:cubicBezTo>
                    <a:cubicBezTo>
                      <a:pt x="3646" y="3905"/>
                      <a:pt x="3646" y="3905"/>
                      <a:pt x="3646" y="3905"/>
                    </a:cubicBezTo>
                    <a:cubicBezTo>
                      <a:pt x="3513" y="3743"/>
                      <a:pt x="3513" y="3743"/>
                      <a:pt x="3513" y="3743"/>
                    </a:cubicBezTo>
                    <a:cubicBezTo>
                      <a:pt x="3676" y="3666"/>
                      <a:pt x="3676" y="3666"/>
                      <a:pt x="3676" y="3666"/>
                    </a:cubicBezTo>
                    <a:cubicBezTo>
                      <a:pt x="3647" y="3629"/>
                      <a:pt x="3647" y="3629"/>
                      <a:pt x="3647" y="3629"/>
                    </a:cubicBezTo>
                    <a:cubicBezTo>
                      <a:pt x="3742" y="3582"/>
                      <a:pt x="3742" y="3582"/>
                      <a:pt x="3742" y="3582"/>
                    </a:cubicBezTo>
                    <a:cubicBezTo>
                      <a:pt x="3802" y="3619"/>
                      <a:pt x="3802" y="3619"/>
                      <a:pt x="3802" y="3619"/>
                    </a:cubicBezTo>
                    <a:cubicBezTo>
                      <a:pt x="4026" y="3570"/>
                      <a:pt x="4026" y="3570"/>
                      <a:pt x="4026" y="3570"/>
                    </a:cubicBezTo>
                    <a:cubicBezTo>
                      <a:pt x="4018" y="3514"/>
                      <a:pt x="4018" y="3514"/>
                      <a:pt x="4018" y="3514"/>
                    </a:cubicBezTo>
                    <a:lnTo>
                      <a:pt x="4126" y="3475"/>
                    </a:lnTo>
                    <a:close/>
                    <a:moveTo>
                      <a:pt x="4169" y="3537"/>
                    </a:moveTo>
                    <a:cubicBezTo>
                      <a:pt x="4122" y="3492"/>
                      <a:pt x="4122" y="3492"/>
                      <a:pt x="4122" y="3492"/>
                    </a:cubicBezTo>
                    <a:cubicBezTo>
                      <a:pt x="4034" y="3524"/>
                      <a:pt x="4034" y="3524"/>
                      <a:pt x="4034" y="3524"/>
                    </a:cubicBezTo>
                    <a:cubicBezTo>
                      <a:pt x="4043" y="3582"/>
                      <a:pt x="4043" y="3582"/>
                      <a:pt x="4043" y="3582"/>
                    </a:cubicBezTo>
                    <a:cubicBezTo>
                      <a:pt x="3800" y="3635"/>
                      <a:pt x="3800" y="3635"/>
                      <a:pt x="3800" y="3635"/>
                    </a:cubicBezTo>
                    <a:cubicBezTo>
                      <a:pt x="3741" y="3599"/>
                      <a:pt x="3741" y="3599"/>
                      <a:pt x="3741" y="3599"/>
                    </a:cubicBezTo>
                    <a:cubicBezTo>
                      <a:pt x="3670" y="3634"/>
                      <a:pt x="3670" y="3634"/>
                      <a:pt x="3670" y="3634"/>
                    </a:cubicBezTo>
                    <a:cubicBezTo>
                      <a:pt x="3699" y="3672"/>
                      <a:pt x="3699" y="3672"/>
                      <a:pt x="3699" y="3672"/>
                    </a:cubicBezTo>
                    <a:cubicBezTo>
                      <a:pt x="3536" y="3749"/>
                      <a:pt x="3536" y="3749"/>
                      <a:pt x="3536" y="3749"/>
                    </a:cubicBezTo>
                    <a:cubicBezTo>
                      <a:pt x="3652" y="3888"/>
                      <a:pt x="3652" y="3888"/>
                      <a:pt x="3652" y="3888"/>
                    </a:cubicBezTo>
                    <a:cubicBezTo>
                      <a:pt x="3805" y="3843"/>
                      <a:pt x="3805" y="3843"/>
                      <a:pt x="3805" y="3843"/>
                    </a:cubicBezTo>
                    <a:cubicBezTo>
                      <a:pt x="3798" y="3766"/>
                      <a:pt x="3798" y="3766"/>
                      <a:pt x="3798" y="3766"/>
                    </a:cubicBezTo>
                    <a:cubicBezTo>
                      <a:pt x="4023" y="3718"/>
                      <a:pt x="4023" y="3718"/>
                      <a:pt x="4023" y="3718"/>
                    </a:cubicBezTo>
                    <a:cubicBezTo>
                      <a:pt x="4034" y="3772"/>
                      <a:pt x="4034" y="3772"/>
                      <a:pt x="4034" y="3772"/>
                    </a:cubicBezTo>
                    <a:cubicBezTo>
                      <a:pt x="4079" y="3761"/>
                      <a:pt x="4079" y="3761"/>
                      <a:pt x="4079" y="3761"/>
                    </a:cubicBezTo>
                    <a:lnTo>
                      <a:pt x="4169" y="3537"/>
                    </a:lnTo>
                    <a:close/>
                    <a:moveTo>
                      <a:pt x="3164" y="3542"/>
                    </a:moveTo>
                    <a:cubicBezTo>
                      <a:pt x="3337" y="3760"/>
                      <a:pt x="3337" y="3760"/>
                      <a:pt x="3337" y="3760"/>
                    </a:cubicBezTo>
                    <a:cubicBezTo>
                      <a:pt x="3335" y="3837"/>
                      <a:pt x="3335" y="3837"/>
                      <a:pt x="3335" y="3837"/>
                    </a:cubicBezTo>
                    <a:cubicBezTo>
                      <a:pt x="3228" y="3897"/>
                      <a:pt x="3228" y="3897"/>
                      <a:pt x="3228" y="3897"/>
                    </a:cubicBezTo>
                    <a:cubicBezTo>
                      <a:pt x="3117" y="3745"/>
                      <a:pt x="3117" y="3745"/>
                      <a:pt x="3117" y="3745"/>
                    </a:cubicBezTo>
                    <a:cubicBezTo>
                      <a:pt x="2947" y="3676"/>
                      <a:pt x="2947" y="3676"/>
                      <a:pt x="2947" y="3676"/>
                    </a:cubicBezTo>
                    <a:cubicBezTo>
                      <a:pt x="2949" y="3669"/>
                      <a:pt x="2949" y="3669"/>
                      <a:pt x="2949" y="3669"/>
                    </a:cubicBezTo>
                    <a:cubicBezTo>
                      <a:pt x="2950" y="3667"/>
                      <a:pt x="2957" y="3649"/>
                      <a:pt x="3001" y="3619"/>
                    </a:cubicBezTo>
                    <a:cubicBezTo>
                      <a:pt x="3045" y="3589"/>
                      <a:pt x="3155" y="3540"/>
                      <a:pt x="3155" y="3540"/>
                    </a:cubicBezTo>
                    <a:cubicBezTo>
                      <a:pt x="3161" y="3537"/>
                      <a:pt x="3161" y="3537"/>
                      <a:pt x="3161" y="3537"/>
                    </a:cubicBezTo>
                    <a:lnTo>
                      <a:pt x="3164" y="3542"/>
                    </a:lnTo>
                    <a:close/>
                    <a:moveTo>
                      <a:pt x="3322" y="3765"/>
                    </a:moveTo>
                    <a:cubicBezTo>
                      <a:pt x="3156" y="3556"/>
                      <a:pt x="3156" y="3556"/>
                      <a:pt x="3156" y="3556"/>
                    </a:cubicBezTo>
                    <a:cubicBezTo>
                      <a:pt x="3134" y="3566"/>
                      <a:pt x="3045" y="3607"/>
                      <a:pt x="3009" y="3632"/>
                    </a:cubicBezTo>
                    <a:cubicBezTo>
                      <a:pt x="2988" y="3646"/>
                      <a:pt x="2976" y="3657"/>
                      <a:pt x="2970" y="3664"/>
                    </a:cubicBezTo>
                    <a:cubicBezTo>
                      <a:pt x="2969" y="3666"/>
                      <a:pt x="2968" y="3667"/>
                      <a:pt x="2967" y="3668"/>
                    </a:cubicBezTo>
                    <a:cubicBezTo>
                      <a:pt x="3127" y="3733"/>
                      <a:pt x="3127" y="3733"/>
                      <a:pt x="3127" y="3733"/>
                    </a:cubicBezTo>
                    <a:cubicBezTo>
                      <a:pt x="3232" y="3877"/>
                      <a:pt x="3232" y="3877"/>
                      <a:pt x="3232" y="3877"/>
                    </a:cubicBezTo>
                    <a:cubicBezTo>
                      <a:pt x="3321" y="3828"/>
                      <a:pt x="3321" y="3828"/>
                      <a:pt x="3321" y="3828"/>
                    </a:cubicBezTo>
                    <a:lnTo>
                      <a:pt x="3322" y="3765"/>
                    </a:lnTo>
                    <a:close/>
                    <a:moveTo>
                      <a:pt x="2001" y="3838"/>
                    </a:moveTo>
                    <a:cubicBezTo>
                      <a:pt x="2015" y="3876"/>
                      <a:pt x="2015" y="3876"/>
                      <a:pt x="2015" y="3876"/>
                    </a:cubicBezTo>
                    <a:cubicBezTo>
                      <a:pt x="1980" y="3959"/>
                      <a:pt x="1980" y="3959"/>
                      <a:pt x="1980" y="3959"/>
                    </a:cubicBezTo>
                    <a:cubicBezTo>
                      <a:pt x="1901" y="3874"/>
                      <a:pt x="1901" y="3874"/>
                      <a:pt x="1901" y="3874"/>
                    </a:cubicBezTo>
                    <a:lnTo>
                      <a:pt x="2001" y="3838"/>
                    </a:lnTo>
                    <a:close/>
                    <a:moveTo>
                      <a:pt x="2000" y="3875"/>
                    </a:moveTo>
                    <a:cubicBezTo>
                      <a:pt x="1993" y="3856"/>
                      <a:pt x="1993" y="3856"/>
                      <a:pt x="1993" y="3856"/>
                    </a:cubicBezTo>
                    <a:cubicBezTo>
                      <a:pt x="1926" y="3880"/>
                      <a:pt x="1926" y="3880"/>
                      <a:pt x="1926" y="3880"/>
                    </a:cubicBezTo>
                    <a:cubicBezTo>
                      <a:pt x="1976" y="3934"/>
                      <a:pt x="1976" y="3934"/>
                      <a:pt x="1976" y="3934"/>
                    </a:cubicBezTo>
                    <a:lnTo>
                      <a:pt x="2000" y="3875"/>
                    </a:lnTo>
                    <a:close/>
                    <a:moveTo>
                      <a:pt x="1770" y="3841"/>
                    </a:moveTo>
                    <a:cubicBezTo>
                      <a:pt x="1672" y="3874"/>
                      <a:pt x="1672" y="3874"/>
                      <a:pt x="1672" y="3874"/>
                    </a:cubicBezTo>
                    <a:cubicBezTo>
                      <a:pt x="1577" y="3780"/>
                      <a:pt x="1577" y="3780"/>
                      <a:pt x="1577" y="3780"/>
                    </a:cubicBezTo>
                    <a:cubicBezTo>
                      <a:pt x="1751" y="3707"/>
                      <a:pt x="1751" y="3707"/>
                      <a:pt x="1751" y="3707"/>
                    </a:cubicBezTo>
                    <a:cubicBezTo>
                      <a:pt x="1933" y="3646"/>
                      <a:pt x="1933" y="3646"/>
                      <a:pt x="1933" y="3646"/>
                    </a:cubicBezTo>
                    <a:cubicBezTo>
                      <a:pt x="1977" y="3766"/>
                      <a:pt x="1977" y="3766"/>
                      <a:pt x="1977" y="3766"/>
                    </a:cubicBezTo>
                    <a:cubicBezTo>
                      <a:pt x="1869" y="3801"/>
                      <a:pt x="1869" y="3801"/>
                      <a:pt x="1869" y="3801"/>
                    </a:cubicBezTo>
                    <a:cubicBezTo>
                      <a:pt x="1848" y="3781"/>
                      <a:pt x="1848" y="3781"/>
                      <a:pt x="1848" y="3781"/>
                    </a:cubicBezTo>
                    <a:cubicBezTo>
                      <a:pt x="1749" y="3816"/>
                      <a:pt x="1749" y="3816"/>
                      <a:pt x="1749" y="3816"/>
                    </a:cubicBezTo>
                    <a:lnTo>
                      <a:pt x="1770" y="3841"/>
                    </a:lnTo>
                    <a:close/>
                    <a:moveTo>
                      <a:pt x="1746" y="3835"/>
                    </a:moveTo>
                    <a:cubicBezTo>
                      <a:pt x="1738" y="3825"/>
                      <a:pt x="1738" y="3825"/>
                      <a:pt x="1738" y="3825"/>
                    </a:cubicBezTo>
                    <a:cubicBezTo>
                      <a:pt x="1725" y="3809"/>
                      <a:pt x="1725" y="3809"/>
                      <a:pt x="1725" y="3809"/>
                    </a:cubicBezTo>
                    <a:cubicBezTo>
                      <a:pt x="1744" y="3802"/>
                      <a:pt x="1744" y="3802"/>
                      <a:pt x="1744" y="3802"/>
                    </a:cubicBezTo>
                    <a:cubicBezTo>
                      <a:pt x="1844" y="3768"/>
                      <a:pt x="1844" y="3768"/>
                      <a:pt x="1844" y="3768"/>
                    </a:cubicBezTo>
                    <a:cubicBezTo>
                      <a:pt x="1852" y="3765"/>
                      <a:pt x="1852" y="3765"/>
                      <a:pt x="1852" y="3765"/>
                    </a:cubicBezTo>
                    <a:cubicBezTo>
                      <a:pt x="1858" y="3771"/>
                      <a:pt x="1858" y="3771"/>
                      <a:pt x="1858" y="3771"/>
                    </a:cubicBezTo>
                    <a:cubicBezTo>
                      <a:pt x="1873" y="3785"/>
                      <a:pt x="1873" y="3785"/>
                      <a:pt x="1873" y="3785"/>
                    </a:cubicBezTo>
                    <a:cubicBezTo>
                      <a:pt x="1959" y="3757"/>
                      <a:pt x="1959" y="3757"/>
                      <a:pt x="1959" y="3757"/>
                    </a:cubicBezTo>
                    <a:cubicBezTo>
                      <a:pt x="1924" y="3664"/>
                      <a:pt x="1924" y="3664"/>
                      <a:pt x="1924" y="3664"/>
                    </a:cubicBezTo>
                    <a:cubicBezTo>
                      <a:pt x="1755" y="3720"/>
                      <a:pt x="1755" y="3720"/>
                      <a:pt x="1755" y="3720"/>
                    </a:cubicBezTo>
                    <a:cubicBezTo>
                      <a:pt x="1601" y="3785"/>
                      <a:pt x="1601" y="3785"/>
                      <a:pt x="1601" y="3785"/>
                    </a:cubicBezTo>
                    <a:cubicBezTo>
                      <a:pt x="1675" y="3859"/>
                      <a:pt x="1675" y="3859"/>
                      <a:pt x="1675" y="3859"/>
                    </a:cubicBezTo>
                    <a:lnTo>
                      <a:pt x="1746" y="3835"/>
                    </a:lnTo>
                    <a:close/>
                    <a:moveTo>
                      <a:pt x="2075" y="4000"/>
                    </a:moveTo>
                    <a:cubicBezTo>
                      <a:pt x="2118" y="3871"/>
                      <a:pt x="2118" y="3871"/>
                      <a:pt x="2118" y="3871"/>
                    </a:cubicBezTo>
                    <a:cubicBezTo>
                      <a:pt x="2397" y="3875"/>
                      <a:pt x="2397" y="3875"/>
                      <a:pt x="2397" y="3875"/>
                    </a:cubicBezTo>
                    <a:cubicBezTo>
                      <a:pt x="2362" y="3955"/>
                      <a:pt x="2362" y="3955"/>
                      <a:pt x="2362" y="3955"/>
                    </a:cubicBezTo>
                    <a:cubicBezTo>
                      <a:pt x="2240" y="3952"/>
                      <a:pt x="2240" y="3952"/>
                      <a:pt x="2240" y="3952"/>
                    </a:cubicBezTo>
                    <a:cubicBezTo>
                      <a:pt x="2218" y="4038"/>
                      <a:pt x="2218" y="4038"/>
                      <a:pt x="2218" y="4038"/>
                    </a:cubicBezTo>
                    <a:lnTo>
                      <a:pt x="2075" y="4000"/>
                    </a:lnTo>
                    <a:close/>
                    <a:moveTo>
                      <a:pt x="2093" y="3990"/>
                    </a:moveTo>
                    <a:cubicBezTo>
                      <a:pt x="2208" y="4021"/>
                      <a:pt x="2208" y="4021"/>
                      <a:pt x="2208" y="4021"/>
                    </a:cubicBezTo>
                    <a:cubicBezTo>
                      <a:pt x="2227" y="3949"/>
                      <a:pt x="2227" y="3949"/>
                      <a:pt x="2227" y="3949"/>
                    </a:cubicBezTo>
                    <a:cubicBezTo>
                      <a:pt x="2230" y="3938"/>
                      <a:pt x="2230" y="3938"/>
                      <a:pt x="2230" y="3938"/>
                    </a:cubicBezTo>
                    <a:cubicBezTo>
                      <a:pt x="2241" y="3938"/>
                      <a:pt x="2241" y="3938"/>
                      <a:pt x="2241" y="3938"/>
                    </a:cubicBezTo>
                    <a:cubicBezTo>
                      <a:pt x="2353" y="3941"/>
                      <a:pt x="2353" y="3941"/>
                      <a:pt x="2353" y="3941"/>
                    </a:cubicBezTo>
                    <a:cubicBezTo>
                      <a:pt x="2376" y="3889"/>
                      <a:pt x="2376" y="3889"/>
                      <a:pt x="2376" y="3889"/>
                    </a:cubicBezTo>
                    <a:cubicBezTo>
                      <a:pt x="2128" y="3885"/>
                      <a:pt x="2128" y="3885"/>
                      <a:pt x="2128" y="3885"/>
                    </a:cubicBezTo>
                    <a:lnTo>
                      <a:pt x="2093" y="3990"/>
                    </a:lnTo>
                    <a:close/>
                    <a:moveTo>
                      <a:pt x="2621" y="4114"/>
                    </a:moveTo>
                    <a:cubicBezTo>
                      <a:pt x="2689" y="3998"/>
                      <a:pt x="2760" y="3966"/>
                      <a:pt x="2801" y="3966"/>
                    </a:cubicBezTo>
                    <a:cubicBezTo>
                      <a:pt x="2812" y="3966"/>
                      <a:pt x="2820" y="3968"/>
                      <a:pt x="2827" y="3972"/>
                    </a:cubicBezTo>
                    <a:cubicBezTo>
                      <a:pt x="2840" y="3981"/>
                      <a:pt x="2848" y="3991"/>
                      <a:pt x="2849" y="4031"/>
                    </a:cubicBezTo>
                    <a:cubicBezTo>
                      <a:pt x="2849" y="4031"/>
                      <a:pt x="2849" y="4032"/>
                      <a:pt x="2849" y="4033"/>
                    </a:cubicBezTo>
                    <a:cubicBezTo>
                      <a:pt x="2849" y="4075"/>
                      <a:pt x="2806" y="4111"/>
                      <a:pt x="2795" y="4149"/>
                    </a:cubicBezTo>
                    <a:cubicBezTo>
                      <a:pt x="2790" y="4168"/>
                      <a:pt x="2789" y="4196"/>
                      <a:pt x="2789" y="4220"/>
                    </a:cubicBezTo>
                    <a:cubicBezTo>
                      <a:pt x="2789" y="4245"/>
                      <a:pt x="2790" y="4266"/>
                      <a:pt x="2790" y="4266"/>
                    </a:cubicBezTo>
                    <a:cubicBezTo>
                      <a:pt x="2778" y="4340"/>
                      <a:pt x="2710" y="4361"/>
                      <a:pt x="2653" y="4386"/>
                    </a:cubicBezTo>
                    <a:cubicBezTo>
                      <a:pt x="2595" y="4411"/>
                      <a:pt x="2543" y="4414"/>
                      <a:pt x="2543" y="4414"/>
                    </a:cubicBezTo>
                    <a:cubicBezTo>
                      <a:pt x="2536" y="4414"/>
                      <a:pt x="2536" y="4414"/>
                      <a:pt x="2536" y="4414"/>
                    </a:cubicBezTo>
                    <a:cubicBezTo>
                      <a:pt x="2539" y="4408"/>
                      <a:pt x="2539" y="4408"/>
                      <a:pt x="2539" y="4408"/>
                    </a:cubicBezTo>
                    <a:cubicBezTo>
                      <a:pt x="2539" y="4407"/>
                      <a:pt x="2543" y="4399"/>
                      <a:pt x="2572" y="4372"/>
                    </a:cubicBezTo>
                    <a:cubicBezTo>
                      <a:pt x="2625" y="4323"/>
                      <a:pt x="2615" y="4235"/>
                      <a:pt x="2620" y="4217"/>
                    </a:cubicBezTo>
                    <a:cubicBezTo>
                      <a:pt x="2620" y="4215"/>
                      <a:pt x="2621" y="4214"/>
                      <a:pt x="2621" y="4212"/>
                    </a:cubicBezTo>
                    <a:cubicBezTo>
                      <a:pt x="2621" y="4200"/>
                      <a:pt x="2614" y="4178"/>
                      <a:pt x="2614" y="4153"/>
                    </a:cubicBezTo>
                    <a:cubicBezTo>
                      <a:pt x="2614" y="4140"/>
                      <a:pt x="2616" y="4127"/>
                      <a:pt x="2621" y="4114"/>
                    </a:cubicBezTo>
                    <a:close/>
                    <a:moveTo>
                      <a:pt x="2622" y="4153"/>
                    </a:moveTo>
                    <a:cubicBezTo>
                      <a:pt x="2622" y="4176"/>
                      <a:pt x="2629" y="4198"/>
                      <a:pt x="2629" y="4212"/>
                    </a:cubicBezTo>
                    <a:cubicBezTo>
                      <a:pt x="2629" y="4214"/>
                      <a:pt x="2629" y="4217"/>
                      <a:pt x="2628" y="4219"/>
                    </a:cubicBezTo>
                    <a:cubicBezTo>
                      <a:pt x="2624" y="4232"/>
                      <a:pt x="2635" y="4326"/>
                      <a:pt x="2577" y="4378"/>
                    </a:cubicBezTo>
                    <a:cubicBezTo>
                      <a:pt x="2563" y="4391"/>
                      <a:pt x="2556" y="4400"/>
                      <a:pt x="2551" y="4405"/>
                    </a:cubicBezTo>
                    <a:cubicBezTo>
                      <a:pt x="2568" y="4403"/>
                      <a:pt x="2607" y="4397"/>
                      <a:pt x="2650" y="4378"/>
                    </a:cubicBezTo>
                    <a:cubicBezTo>
                      <a:pt x="2708" y="4353"/>
                      <a:pt x="2771" y="4333"/>
                      <a:pt x="2782" y="4266"/>
                    </a:cubicBezTo>
                    <a:cubicBezTo>
                      <a:pt x="2782" y="4266"/>
                      <a:pt x="2781" y="4245"/>
                      <a:pt x="2781" y="4220"/>
                    </a:cubicBezTo>
                    <a:cubicBezTo>
                      <a:pt x="2781" y="4196"/>
                      <a:pt x="2782" y="4167"/>
                      <a:pt x="2787" y="4147"/>
                    </a:cubicBezTo>
                    <a:cubicBezTo>
                      <a:pt x="2799" y="4106"/>
                      <a:pt x="2842" y="4069"/>
                      <a:pt x="2841" y="4033"/>
                    </a:cubicBezTo>
                    <a:cubicBezTo>
                      <a:pt x="2841" y="4032"/>
                      <a:pt x="2841" y="4032"/>
                      <a:pt x="2841" y="4031"/>
                    </a:cubicBezTo>
                    <a:cubicBezTo>
                      <a:pt x="2839" y="3991"/>
                      <a:pt x="2834" y="3987"/>
                      <a:pt x="2822" y="3979"/>
                    </a:cubicBezTo>
                    <a:cubicBezTo>
                      <a:pt x="2818" y="3976"/>
                      <a:pt x="2810" y="3974"/>
                      <a:pt x="2801" y="3974"/>
                    </a:cubicBezTo>
                    <a:cubicBezTo>
                      <a:pt x="2764" y="3974"/>
                      <a:pt x="2695" y="4004"/>
                      <a:pt x="2628" y="4118"/>
                    </a:cubicBezTo>
                    <a:cubicBezTo>
                      <a:pt x="2624" y="4129"/>
                      <a:pt x="2622" y="4141"/>
                      <a:pt x="2622" y="4153"/>
                    </a:cubicBezTo>
                    <a:close/>
                    <a:moveTo>
                      <a:pt x="4712" y="3760"/>
                    </a:moveTo>
                    <a:cubicBezTo>
                      <a:pt x="4691" y="3613"/>
                      <a:pt x="4691" y="3613"/>
                      <a:pt x="4691" y="3613"/>
                    </a:cubicBezTo>
                    <a:cubicBezTo>
                      <a:pt x="4794" y="3599"/>
                      <a:pt x="4794" y="3599"/>
                      <a:pt x="4794" y="3599"/>
                    </a:cubicBezTo>
                    <a:cubicBezTo>
                      <a:pt x="4815" y="3745"/>
                      <a:pt x="4815" y="3745"/>
                      <a:pt x="4815" y="3745"/>
                    </a:cubicBezTo>
                    <a:cubicBezTo>
                      <a:pt x="4809" y="3746"/>
                      <a:pt x="4809" y="3746"/>
                      <a:pt x="4809" y="3746"/>
                    </a:cubicBezTo>
                    <a:lnTo>
                      <a:pt x="4712" y="3760"/>
                    </a:lnTo>
                    <a:close/>
                    <a:moveTo>
                      <a:pt x="4706" y="3624"/>
                    </a:moveTo>
                    <a:cubicBezTo>
                      <a:pt x="4723" y="3745"/>
                      <a:pt x="4723" y="3745"/>
                      <a:pt x="4723" y="3745"/>
                    </a:cubicBezTo>
                    <a:cubicBezTo>
                      <a:pt x="4800" y="3734"/>
                      <a:pt x="4800" y="3734"/>
                      <a:pt x="4800" y="3734"/>
                    </a:cubicBezTo>
                    <a:cubicBezTo>
                      <a:pt x="4783" y="3613"/>
                      <a:pt x="4783" y="3613"/>
                      <a:pt x="4783" y="3613"/>
                    </a:cubicBezTo>
                    <a:lnTo>
                      <a:pt x="4706" y="3624"/>
                    </a:lnTo>
                    <a:close/>
                    <a:moveTo>
                      <a:pt x="4905" y="3036"/>
                    </a:moveTo>
                    <a:cubicBezTo>
                      <a:pt x="4930" y="3137"/>
                      <a:pt x="4930" y="3137"/>
                      <a:pt x="4930" y="3137"/>
                    </a:cubicBezTo>
                    <a:cubicBezTo>
                      <a:pt x="4786" y="3172"/>
                      <a:pt x="4786" y="3172"/>
                      <a:pt x="4786" y="3172"/>
                    </a:cubicBezTo>
                    <a:cubicBezTo>
                      <a:pt x="4784" y="3165"/>
                      <a:pt x="4784" y="3165"/>
                      <a:pt x="4784" y="3165"/>
                    </a:cubicBezTo>
                    <a:cubicBezTo>
                      <a:pt x="4761" y="3070"/>
                      <a:pt x="4761" y="3070"/>
                      <a:pt x="4761" y="3070"/>
                    </a:cubicBezTo>
                    <a:lnTo>
                      <a:pt x="4905" y="3036"/>
                    </a:lnTo>
                    <a:close/>
                    <a:moveTo>
                      <a:pt x="4914" y="3128"/>
                    </a:moveTo>
                    <a:cubicBezTo>
                      <a:pt x="4896" y="3051"/>
                      <a:pt x="4896" y="3051"/>
                      <a:pt x="4896" y="3051"/>
                    </a:cubicBezTo>
                    <a:cubicBezTo>
                      <a:pt x="4777" y="3080"/>
                      <a:pt x="4777" y="3080"/>
                      <a:pt x="4777" y="3080"/>
                    </a:cubicBezTo>
                    <a:cubicBezTo>
                      <a:pt x="4795" y="3156"/>
                      <a:pt x="4795" y="3156"/>
                      <a:pt x="4795" y="3156"/>
                    </a:cubicBezTo>
                    <a:lnTo>
                      <a:pt x="4914" y="3128"/>
                    </a:lnTo>
                    <a:close/>
                    <a:moveTo>
                      <a:pt x="2891" y="6216"/>
                    </a:moveTo>
                    <a:cubicBezTo>
                      <a:pt x="2889" y="6211"/>
                      <a:pt x="2889" y="6211"/>
                      <a:pt x="2889" y="6211"/>
                    </a:cubicBezTo>
                    <a:cubicBezTo>
                      <a:pt x="2894" y="6207"/>
                      <a:pt x="2894" y="6207"/>
                      <a:pt x="2894" y="6207"/>
                    </a:cubicBezTo>
                    <a:cubicBezTo>
                      <a:pt x="2933" y="6178"/>
                      <a:pt x="3058" y="6159"/>
                      <a:pt x="3058" y="6159"/>
                    </a:cubicBezTo>
                    <a:cubicBezTo>
                      <a:pt x="3061" y="6158"/>
                      <a:pt x="3061" y="6158"/>
                      <a:pt x="3061" y="6158"/>
                    </a:cubicBezTo>
                    <a:cubicBezTo>
                      <a:pt x="3279" y="6305"/>
                      <a:pt x="3279" y="6305"/>
                      <a:pt x="3279" y="6305"/>
                    </a:cubicBezTo>
                    <a:cubicBezTo>
                      <a:pt x="3276" y="6311"/>
                      <a:pt x="3276" y="6311"/>
                      <a:pt x="3276" y="6311"/>
                    </a:cubicBezTo>
                    <a:cubicBezTo>
                      <a:pt x="3225" y="6417"/>
                      <a:pt x="3225" y="6417"/>
                      <a:pt x="3225" y="6417"/>
                    </a:cubicBezTo>
                    <a:cubicBezTo>
                      <a:pt x="3077" y="6255"/>
                      <a:pt x="3077" y="6255"/>
                      <a:pt x="3077" y="6255"/>
                    </a:cubicBezTo>
                    <a:cubicBezTo>
                      <a:pt x="3000" y="6283"/>
                      <a:pt x="3000" y="6283"/>
                      <a:pt x="3000" y="6283"/>
                    </a:cubicBezTo>
                    <a:cubicBezTo>
                      <a:pt x="2997" y="6281"/>
                      <a:pt x="2997" y="6281"/>
                      <a:pt x="2997" y="6281"/>
                    </a:cubicBezTo>
                    <a:cubicBezTo>
                      <a:pt x="2997" y="6281"/>
                      <a:pt x="2972" y="6267"/>
                      <a:pt x="2946" y="6252"/>
                    </a:cubicBezTo>
                    <a:cubicBezTo>
                      <a:pt x="2933" y="6244"/>
                      <a:pt x="2921" y="6237"/>
                      <a:pt x="2911" y="6231"/>
                    </a:cubicBezTo>
                    <a:cubicBezTo>
                      <a:pt x="2906" y="6228"/>
                      <a:pt x="2902" y="6225"/>
                      <a:pt x="2899" y="6223"/>
                    </a:cubicBezTo>
                    <a:cubicBezTo>
                      <a:pt x="2897" y="6222"/>
                      <a:pt x="2896" y="6221"/>
                      <a:pt x="2895" y="6221"/>
                    </a:cubicBezTo>
                    <a:cubicBezTo>
                      <a:pt x="2894" y="6219"/>
                      <a:pt x="2893" y="6220"/>
                      <a:pt x="2891" y="6216"/>
                    </a:cubicBezTo>
                    <a:close/>
                    <a:moveTo>
                      <a:pt x="2911" y="6214"/>
                    </a:moveTo>
                    <a:cubicBezTo>
                      <a:pt x="2921" y="6220"/>
                      <a:pt x="2939" y="6231"/>
                      <a:pt x="2956" y="6240"/>
                    </a:cubicBezTo>
                    <a:cubicBezTo>
                      <a:pt x="2975" y="6252"/>
                      <a:pt x="2994" y="6263"/>
                      <a:pt x="3001" y="6267"/>
                    </a:cubicBezTo>
                    <a:cubicBezTo>
                      <a:pt x="3081" y="6238"/>
                      <a:pt x="3081" y="6238"/>
                      <a:pt x="3081" y="6238"/>
                    </a:cubicBezTo>
                    <a:cubicBezTo>
                      <a:pt x="3221" y="6391"/>
                      <a:pt x="3221" y="6391"/>
                      <a:pt x="3221" y="6391"/>
                    </a:cubicBezTo>
                    <a:cubicBezTo>
                      <a:pt x="3260" y="6310"/>
                      <a:pt x="3260" y="6310"/>
                      <a:pt x="3260" y="6310"/>
                    </a:cubicBezTo>
                    <a:cubicBezTo>
                      <a:pt x="3058" y="6174"/>
                      <a:pt x="3058" y="6174"/>
                      <a:pt x="3058" y="6174"/>
                    </a:cubicBezTo>
                    <a:cubicBezTo>
                      <a:pt x="3049" y="6175"/>
                      <a:pt x="3023" y="6180"/>
                      <a:pt x="2994" y="6187"/>
                    </a:cubicBezTo>
                    <a:cubicBezTo>
                      <a:pt x="2964" y="6194"/>
                      <a:pt x="2930" y="6204"/>
                      <a:pt x="2911" y="6214"/>
                    </a:cubicBezTo>
                    <a:close/>
                    <a:moveTo>
                      <a:pt x="4505" y="3733"/>
                    </a:moveTo>
                    <a:cubicBezTo>
                      <a:pt x="4506" y="3734"/>
                      <a:pt x="4508" y="3736"/>
                      <a:pt x="4508" y="3738"/>
                    </a:cubicBezTo>
                    <a:cubicBezTo>
                      <a:pt x="4506" y="3745"/>
                      <a:pt x="4505" y="3744"/>
                      <a:pt x="4504" y="3746"/>
                    </a:cubicBezTo>
                    <a:cubicBezTo>
                      <a:pt x="4497" y="3751"/>
                      <a:pt x="4476" y="3761"/>
                      <a:pt x="4475" y="3762"/>
                    </a:cubicBezTo>
                    <a:cubicBezTo>
                      <a:pt x="4472" y="3763"/>
                      <a:pt x="4472" y="3763"/>
                      <a:pt x="4472" y="3763"/>
                    </a:cubicBezTo>
                    <a:cubicBezTo>
                      <a:pt x="4284" y="3649"/>
                      <a:pt x="4284" y="3649"/>
                      <a:pt x="4284" y="3649"/>
                    </a:cubicBezTo>
                    <a:cubicBezTo>
                      <a:pt x="4409" y="3560"/>
                      <a:pt x="4409" y="3560"/>
                      <a:pt x="4409" y="3560"/>
                    </a:cubicBezTo>
                    <a:lnTo>
                      <a:pt x="4505" y="3733"/>
                    </a:lnTo>
                    <a:close/>
                    <a:moveTo>
                      <a:pt x="4490" y="3737"/>
                    </a:moveTo>
                    <a:cubicBezTo>
                      <a:pt x="4404" y="3581"/>
                      <a:pt x="4404" y="3581"/>
                      <a:pt x="4404" y="3581"/>
                    </a:cubicBezTo>
                    <a:cubicBezTo>
                      <a:pt x="4310" y="3648"/>
                      <a:pt x="4310" y="3648"/>
                      <a:pt x="4310" y="3648"/>
                    </a:cubicBezTo>
                    <a:cubicBezTo>
                      <a:pt x="4472" y="3746"/>
                      <a:pt x="4472" y="3746"/>
                      <a:pt x="4472" y="3746"/>
                    </a:cubicBezTo>
                    <a:cubicBezTo>
                      <a:pt x="4475" y="3745"/>
                      <a:pt x="4479" y="3743"/>
                      <a:pt x="4483" y="3741"/>
                    </a:cubicBezTo>
                    <a:cubicBezTo>
                      <a:pt x="4485" y="3740"/>
                      <a:pt x="4488" y="3738"/>
                      <a:pt x="4490" y="3737"/>
                    </a:cubicBezTo>
                    <a:close/>
                    <a:moveTo>
                      <a:pt x="4618" y="3768"/>
                    </a:moveTo>
                    <a:cubicBezTo>
                      <a:pt x="4613" y="3771"/>
                      <a:pt x="4613" y="3771"/>
                      <a:pt x="4613" y="3771"/>
                    </a:cubicBezTo>
                    <a:cubicBezTo>
                      <a:pt x="4484" y="3846"/>
                      <a:pt x="4484" y="3846"/>
                      <a:pt x="4484" y="3846"/>
                    </a:cubicBezTo>
                    <a:cubicBezTo>
                      <a:pt x="4198" y="3766"/>
                      <a:pt x="4198" y="3766"/>
                      <a:pt x="4198" y="3766"/>
                    </a:cubicBezTo>
                    <a:cubicBezTo>
                      <a:pt x="4273" y="3584"/>
                      <a:pt x="4273" y="3584"/>
                      <a:pt x="4273" y="3584"/>
                    </a:cubicBezTo>
                    <a:cubicBezTo>
                      <a:pt x="4358" y="3524"/>
                      <a:pt x="4358" y="3524"/>
                      <a:pt x="4358" y="3524"/>
                    </a:cubicBezTo>
                    <a:cubicBezTo>
                      <a:pt x="4527" y="3508"/>
                      <a:pt x="4527" y="3508"/>
                      <a:pt x="4527" y="3508"/>
                    </a:cubicBezTo>
                    <a:lnTo>
                      <a:pt x="4618" y="3768"/>
                    </a:lnTo>
                    <a:close/>
                    <a:moveTo>
                      <a:pt x="4600" y="3762"/>
                    </a:moveTo>
                    <a:cubicBezTo>
                      <a:pt x="4517" y="3524"/>
                      <a:pt x="4517" y="3524"/>
                      <a:pt x="4517" y="3524"/>
                    </a:cubicBezTo>
                    <a:cubicBezTo>
                      <a:pt x="4363" y="3539"/>
                      <a:pt x="4363" y="3539"/>
                      <a:pt x="4363" y="3539"/>
                    </a:cubicBezTo>
                    <a:cubicBezTo>
                      <a:pt x="4285" y="3593"/>
                      <a:pt x="4285" y="3593"/>
                      <a:pt x="4285" y="3593"/>
                    </a:cubicBezTo>
                    <a:cubicBezTo>
                      <a:pt x="4218" y="3757"/>
                      <a:pt x="4218" y="3757"/>
                      <a:pt x="4218" y="3757"/>
                    </a:cubicBezTo>
                    <a:cubicBezTo>
                      <a:pt x="4482" y="3830"/>
                      <a:pt x="4482" y="3830"/>
                      <a:pt x="4482" y="3830"/>
                    </a:cubicBezTo>
                    <a:lnTo>
                      <a:pt x="4600" y="3762"/>
                    </a:lnTo>
                    <a:close/>
                    <a:moveTo>
                      <a:pt x="4704" y="3078"/>
                    </a:moveTo>
                    <a:cubicBezTo>
                      <a:pt x="4728" y="3180"/>
                      <a:pt x="4728" y="3180"/>
                      <a:pt x="4728" y="3180"/>
                    </a:cubicBezTo>
                    <a:cubicBezTo>
                      <a:pt x="4584" y="3214"/>
                      <a:pt x="4584" y="3214"/>
                      <a:pt x="4584" y="3214"/>
                    </a:cubicBezTo>
                    <a:cubicBezTo>
                      <a:pt x="4583" y="3208"/>
                      <a:pt x="4583" y="3208"/>
                      <a:pt x="4583" y="3208"/>
                    </a:cubicBezTo>
                    <a:cubicBezTo>
                      <a:pt x="4560" y="3113"/>
                      <a:pt x="4560" y="3113"/>
                      <a:pt x="4560" y="3113"/>
                    </a:cubicBezTo>
                    <a:lnTo>
                      <a:pt x="4704" y="3078"/>
                    </a:lnTo>
                    <a:close/>
                    <a:moveTo>
                      <a:pt x="4713" y="3170"/>
                    </a:moveTo>
                    <a:cubicBezTo>
                      <a:pt x="4694" y="3094"/>
                      <a:pt x="4694" y="3094"/>
                      <a:pt x="4694" y="3094"/>
                    </a:cubicBezTo>
                    <a:cubicBezTo>
                      <a:pt x="4575" y="3122"/>
                      <a:pt x="4575" y="3122"/>
                      <a:pt x="4575" y="3122"/>
                    </a:cubicBezTo>
                    <a:cubicBezTo>
                      <a:pt x="4594" y="3199"/>
                      <a:pt x="4594" y="3199"/>
                      <a:pt x="4594" y="3199"/>
                    </a:cubicBezTo>
                    <a:lnTo>
                      <a:pt x="4713" y="3170"/>
                    </a:lnTo>
                    <a:close/>
                    <a:moveTo>
                      <a:pt x="4332" y="3180"/>
                    </a:moveTo>
                    <a:cubicBezTo>
                      <a:pt x="4356" y="3282"/>
                      <a:pt x="4356" y="3282"/>
                      <a:pt x="4356" y="3282"/>
                    </a:cubicBezTo>
                    <a:cubicBezTo>
                      <a:pt x="4213" y="3316"/>
                      <a:pt x="4213" y="3316"/>
                      <a:pt x="4213" y="3316"/>
                    </a:cubicBezTo>
                    <a:cubicBezTo>
                      <a:pt x="4211" y="3310"/>
                      <a:pt x="4211" y="3310"/>
                      <a:pt x="4211" y="3310"/>
                    </a:cubicBezTo>
                    <a:cubicBezTo>
                      <a:pt x="4188" y="3215"/>
                      <a:pt x="4188" y="3215"/>
                      <a:pt x="4188" y="3215"/>
                    </a:cubicBezTo>
                    <a:lnTo>
                      <a:pt x="4332" y="3180"/>
                    </a:lnTo>
                    <a:close/>
                    <a:moveTo>
                      <a:pt x="4341" y="3272"/>
                    </a:moveTo>
                    <a:cubicBezTo>
                      <a:pt x="4322" y="3196"/>
                      <a:pt x="4322" y="3196"/>
                      <a:pt x="4322" y="3196"/>
                    </a:cubicBezTo>
                    <a:cubicBezTo>
                      <a:pt x="4204" y="3224"/>
                      <a:pt x="4204" y="3224"/>
                      <a:pt x="4204" y="3224"/>
                    </a:cubicBezTo>
                    <a:cubicBezTo>
                      <a:pt x="4222" y="3301"/>
                      <a:pt x="4222" y="3301"/>
                      <a:pt x="4222" y="3301"/>
                    </a:cubicBezTo>
                    <a:lnTo>
                      <a:pt x="4341" y="3272"/>
                    </a:lnTo>
                    <a:close/>
                    <a:moveTo>
                      <a:pt x="3596" y="3646"/>
                    </a:moveTo>
                    <a:cubicBezTo>
                      <a:pt x="3455" y="3697"/>
                      <a:pt x="3455" y="3697"/>
                      <a:pt x="3455" y="3697"/>
                    </a:cubicBezTo>
                    <a:cubicBezTo>
                      <a:pt x="3302" y="3490"/>
                      <a:pt x="3302" y="3490"/>
                      <a:pt x="3302" y="3490"/>
                    </a:cubicBezTo>
                    <a:cubicBezTo>
                      <a:pt x="4098" y="3250"/>
                      <a:pt x="4098" y="3250"/>
                      <a:pt x="4098" y="3250"/>
                    </a:cubicBezTo>
                    <a:cubicBezTo>
                      <a:pt x="4098" y="3260"/>
                      <a:pt x="4098" y="3260"/>
                      <a:pt x="4098" y="3260"/>
                    </a:cubicBezTo>
                    <a:cubicBezTo>
                      <a:pt x="4097" y="3354"/>
                      <a:pt x="4097" y="3354"/>
                      <a:pt x="4097" y="3354"/>
                    </a:cubicBezTo>
                    <a:cubicBezTo>
                      <a:pt x="3967" y="3393"/>
                      <a:pt x="3967" y="3393"/>
                      <a:pt x="3967" y="3393"/>
                    </a:cubicBezTo>
                    <a:cubicBezTo>
                      <a:pt x="3986" y="3489"/>
                      <a:pt x="3986" y="3489"/>
                      <a:pt x="3986" y="3489"/>
                    </a:cubicBezTo>
                    <a:cubicBezTo>
                      <a:pt x="3772" y="3536"/>
                      <a:pt x="3772" y="3536"/>
                      <a:pt x="3772" y="3536"/>
                    </a:cubicBezTo>
                    <a:cubicBezTo>
                      <a:pt x="3719" y="3484"/>
                      <a:pt x="3719" y="3484"/>
                      <a:pt x="3719" y="3484"/>
                    </a:cubicBezTo>
                    <a:cubicBezTo>
                      <a:pt x="3573" y="3600"/>
                      <a:pt x="3573" y="3600"/>
                      <a:pt x="3573" y="3600"/>
                    </a:cubicBezTo>
                    <a:lnTo>
                      <a:pt x="3596" y="3646"/>
                    </a:lnTo>
                    <a:close/>
                    <a:moveTo>
                      <a:pt x="3460" y="3680"/>
                    </a:moveTo>
                    <a:cubicBezTo>
                      <a:pt x="3576" y="3638"/>
                      <a:pt x="3576" y="3638"/>
                      <a:pt x="3576" y="3638"/>
                    </a:cubicBezTo>
                    <a:cubicBezTo>
                      <a:pt x="3555" y="3596"/>
                      <a:pt x="3555" y="3596"/>
                      <a:pt x="3555" y="3596"/>
                    </a:cubicBezTo>
                    <a:cubicBezTo>
                      <a:pt x="3720" y="3464"/>
                      <a:pt x="3720" y="3464"/>
                      <a:pt x="3720" y="3464"/>
                    </a:cubicBezTo>
                    <a:cubicBezTo>
                      <a:pt x="3777" y="3520"/>
                      <a:pt x="3777" y="3520"/>
                      <a:pt x="3777" y="3520"/>
                    </a:cubicBezTo>
                    <a:cubicBezTo>
                      <a:pt x="3969" y="3478"/>
                      <a:pt x="3969" y="3478"/>
                      <a:pt x="3969" y="3478"/>
                    </a:cubicBezTo>
                    <a:cubicBezTo>
                      <a:pt x="3950" y="3382"/>
                      <a:pt x="3950" y="3382"/>
                      <a:pt x="3950" y="3382"/>
                    </a:cubicBezTo>
                    <a:cubicBezTo>
                      <a:pt x="4082" y="3343"/>
                      <a:pt x="4082" y="3343"/>
                      <a:pt x="4082" y="3343"/>
                    </a:cubicBezTo>
                    <a:cubicBezTo>
                      <a:pt x="4083" y="3270"/>
                      <a:pt x="4083" y="3270"/>
                      <a:pt x="4083" y="3270"/>
                    </a:cubicBezTo>
                    <a:cubicBezTo>
                      <a:pt x="3327" y="3498"/>
                      <a:pt x="3327" y="3498"/>
                      <a:pt x="3327" y="3498"/>
                    </a:cubicBezTo>
                    <a:lnTo>
                      <a:pt x="3460" y="3680"/>
                    </a:lnTo>
                    <a:close/>
                    <a:moveTo>
                      <a:pt x="2423" y="5496"/>
                    </a:moveTo>
                    <a:cubicBezTo>
                      <a:pt x="2316" y="5476"/>
                      <a:pt x="2316" y="5476"/>
                      <a:pt x="2316" y="5476"/>
                    </a:cubicBezTo>
                    <a:cubicBezTo>
                      <a:pt x="2349" y="5294"/>
                      <a:pt x="2349" y="5294"/>
                      <a:pt x="2349" y="5294"/>
                    </a:cubicBezTo>
                    <a:cubicBezTo>
                      <a:pt x="2400" y="5303"/>
                      <a:pt x="2400" y="5303"/>
                      <a:pt x="2400" y="5303"/>
                    </a:cubicBezTo>
                    <a:cubicBezTo>
                      <a:pt x="2401" y="5299"/>
                      <a:pt x="2401" y="5299"/>
                      <a:pt x="2401" y="5299"/>
                    </a:cubicBezTo>
                    <a:cubicBezTo>
                      <a:pt x="2402" y="5293"/>
                      <a:pt x="2402" y="5293"/>
                      <a:pt x="2402" y="5293"/>
                    </a:cubicBezTo>
                    <a:cubicBezTo>
                      <a:pt x="2518" y="5314"/>
                      <a:pt x="2518" y="5314"/>
                      <a:pt x="2518" y="5314"/>
                    </a:cubicBezTo>
                    <a:cubicBezTo>
                      <a:pt x="2493" y="5434"/>
                      <a:pt x="2493" y="5434"/>
                      <a:pt x="2493" y="5434"/>
                    </a:cubicBezTo>
                    <a:cubicBezTo>
                      <a:pt x="2487" y="5433"/>
                      <a:pt x="2487" y="5433"/>
                      <a:pt x="2487" y="5433"/>
                    </a:cubicBezTo>
                    <a:cubicBezTo>
                      <a:pt x="2437" y="5424"/>
                      <a:pt x="2437" y="5424"/>
                      <a:pt x="2437" y="5424"/>
                    </a:cubicBezTo>
                    <a:lnTo>
                      <a:pt x="2423" y="5496"/>
                    </a:lnTo>
                    <a:close/>
                    <a:moveTo>
                      <a:pt x="2413" y="5480"/>
                    </a:moveTo>
                    <a:cubicBezTo>
                      <a:pt x="2426" y="5408"/>
                      <a:pt x="2426" y="5408"/>
                      <a:pt x="2426" y="5408"/>
                    </a:cubicBezTo>
                    <a:cubicBezTo>
                      <a:pt x="2483" y="5419"/>
                      <a:pt x="2483" y="5419"/>
                      <a:pt x="2483" y="5419"/>
                    </a:cubicBezTo>
                    <a:cubicBezTo>
                      <a:pt x="2502" y="5324"/>
                      <a:pt x="2502" y="5324"/>
                      <a:pt x="2502" y="5324"/>
                    </a:cubicBezTo>
                    <a:cubicBezTo>
                      <a:pt x="2412" y="5308"/>
                      <a:pt x="2412" y="5308"/>
                      <a:pt x="2412" y="5308"/>
                    </a:cubicBezTo>
                    <a:cubicBezTo>
                      <a:pt x="2412" y="5312"/>
                      <a:pt x="2412" y="5312"/>
                      <a:pt x="2412" y="5312"/>
                    </a:cubicBezTo>
                    <a:cubicBezTo>
                      <a:pt x="2411" y="5318"/>
                      <a:pt x="2411" y="5318"/>
                      <a:pt x="2411" y="5318"/>
                    </a:cubicBezTo>
                    <a:cubicBezTo>
                      <a:pt x="2359" y="5309"/>
                      <a:pt x="2359" y="5309"/>
                      <a:pt x="2359" y="5309"/>
                    </a:cubicBezTo>
                    <a:cubicBezTo>
                      <a:pt x="2331" y="5465"/>
                      <a:pt x="2331" y="5465"/>
                      <a:pt x="2331" y="5465"/>
                    </a:cubicBezTo>
                    <a:lnTo>
                      <a:pt x="2413" y="5480"/>
                    </a:lnTo>
                    <a:close/>
                    <a:moveTo>
                      <a:pt x="1707" y="5342"/>
                    </a:moveTo>
                    <a:cubicBezTo>
                      <a:pt x="1586" y="5304"/>
                      <a:pt x="1586" y="5304"/>
                      <a:pt x="1586" y="5304"/>
                    </a:cubicBezTo>
                    <a:cubicBezTo>
                      <a:pt x="1603" y="5074"/>
                      <a:pt x="1603" y="5074"/>
                      <a:pt x="1603" y="5074"/>
                    </a:cubicBezTo>
                    <a:cubicBezTo>
                      <a:pt x="1862" y="5149"/>
                      <a:pt x="1862" y="5149"/>
                      <a:pt x="1862" y="5149"/>
                    </a:cubicBezTo>
                    <a:lnTo>
                      <a:pt x="1707" y="5342"/>
                    </a:lnTo>
                    <a:close/>
                    <a:moveTo>
                      <a:pt x="1702" y="5326"/>
                    </a:moveTo>
                    <a:cubicBezTo>
                      <a:pt x="1838" y="5157"/>
                      <a:pt x="1838" y="5157"/>
                      <a:pt x="1838" y="5157"/>
                    </a:cubicBezTo>
                    <a:cubicBezTo>
                      <a:pt x="1616" y="5093"/>
                      <a:pt x="1616" y="5093"/>
                      <a:pt x="1616" y="5093"/>
                    </a:cubicBezTo>
                    <a:cubicBezTo>
                      <a:pt x="1601" y="5294"/>
                      <a:pt x="1601" y="5294"/>
                      <a:pt x="1601" y="5294"/>
                    </a:cubicBezTo>
                    <a:lnTo>
                      <a:pt x="1702" y="5326"/>
                    </a:lnTo>
                    <a:close/>
                    <a:moveTo>
                      <a:pt x="4519" y="3126"/>
                    </a:moveTo>
                    <a:cubicBezTo>
                      <a:pt x="4543" y="3227"/>
                      <a:pt x="4543" y="3227"/>
                      <a:pt x="4543" y="3227"/>
                    </a:cubicBezTo>
                    <a:cubicBezTo>
                      <a:pt x="4399" y="3262"/>
                      <a:pt x="4399" y="3262"/>
                      <a:pt x="4399" y="3262"/>
                    </a:cubicBezTo>
                    <a:cubicBezTo>
                      <a:pt x="4398" y="3256"/>
                      <a:pt x="4398" y="3256"/>
                      <a:pt x="4398" y="3256"/>
                    </a:cubicBezTo>
                    <a:cubicBezTo>
                      <a:pt x="4375" y="3160"/>
                      <a:pt x="4375" y="3160"/>
                      <a:pt x="4375" y="3160"/>
                    </a:cubicBezTo>
                    <a:lnTo>
                      <a:pt x="4519" y="3126"/>
                    </a:lnTo>
                    <a:close/>
                    <a:moveTo>
                      <a:pt x="4527" y="3218"/>
                    </a:moveTo>
                    <a:cubicBezTo>
                      <a:pt x="4509" y="3141"/>
                      <a:pt x="4509" y="3141"/>
                      <a:pt x="4509" y="3141"/>
                    </a:cubicBezTo>
                    <a:cubicBezTo>
                      <a:pt x="4390" y="3170"/>
                      <a:pt x="4390" y="3170"/>
                      <a:pt x="4390" y="3170"/>
                    </a:cubicBezTo>
                    <a:cubicBezTo>
                      <a:pt x="4409" y="3246"/>
                      <a:pt x="4409" y="3246"/>
                      <a:pt x="4409" y="3246"/>
                    </a:cubicBezTo>
                    <a:lnTo>
                      <a:pt x="4527" y="3218"/>
                    </a:lnTo>
                    <a:close/>
                    <a:moveTo>
                      <a:pt x="4245" y="5439"/>
                    </a:moveTo>
                    <a:cubicBezTo>
                      <a:pt x="4292" y="5487"/>
                      <a:pt x="4292" y="5487"/>
                      <a:pt x="4292" y="5487"/>
                    </a:cubicBezTo>
                    <a:cubicBezTo>
                      <a:pt x="4251" y="5577"/>
                      <a:pt x="4251" y="5577"/>
                      <a:pt x="4251" y="5577"/>
                    </a:cubicBezTo>
                    <a:cubicBezTo>
                      <a:pt x="4145" y="5488"/>
                      <a:pt x="4145" y="5488"/>
                      <a:pt x="4145" y="5488"/>
                    </a:cubicBezTo>
                    <a:cubicBezTo>
                      <a:pt x="4224" y="5319"/>
                      <a:pt x="4224" y="5319"/>
                      <a:pt x="4224" y="5319"/>
                    </a:cubicBezTo>
                    <a:cubicBezTo>
                      <a:pt x="4258" y="5386"/>
                      <a:pt x="4258" y="5386"/>
                      <a:pt x="4258" y="5386"/>
                    </a:cubicBezTo>
                    <a:lnTo>
                      <a:pt x="4245" y="5439"/>
                    </a:lnTo>
                    <a:close/>
                    <a:moveTo>
                      <a:pt x="4235" y="5449"/>
                    </a:moveTo>
                    <a:cubicBezTo>
                      <a:pt x="4229" y="5443"/>
                      <a:pt x="4229" y="5443"/>
                      <a:pt x="4229" y="5443"/>
                    </a:cubicBezTo>
                    <a:cubicBezTo>
                      <a:pt x="4231" y="5435"/>
                      <a:pt x="4231" y="5435"/>
                      <a:pt x="4231" y="5435"/>
                    </a:cubicBezTo>
                    <a:cubicBezTo>
                      <a:pt x="4243" y="5387"/>
                      <a:pt x="4243" y="5387"/>
                      <a:pt x="4243" y="5387"/>
                    </a:cubicBezTo>
                    <a:cubicBezTo>
                      <a:pt x="4225" y="5350"/>
                      <a:pt x="4225" y="5350"/>
                      <a:pt x="4225" y="5350"/>
                    </a:cubicBezTo>
                    <a:cubicBezTo>
                      <a:pt x="4162" y="5484"/>
                      <a:pt x="4162" y="5484"/>
                      <a:pt x="4162" y="5484"/>
                    </a:cubicBezTo>
                    <a:cubicBezTo>
                      <a:pt x="4246" y="5554"/>
                      <a:pt x="4246" y="5554"/>
                      <a:pt x="4246" y="5554"/>
                    </a:cubicBezTo>
                    <a:cubicBezTo>
                      <a:pt x="4276" y="5490"/>
                      <a:pt x="4276" y="5490"/>
                      <a:pt x="4276" y="5490"/>
                    </a:cubicBezTo>
                    <a:lnTo>
                      <a:pt x="4235" y="5449"/>
                    </a:lnTo>
                    <a:close/>
                    <a:moveTo>
                      <a:pt x="4113" y="2698"/>
                    </a:moveTo>
                    <a:cubicBezTo>
                      <a:pt x="4276" y="2629"/>
                      <a:pt x="4276" y="2629"/>
                      <a:pt x="4276" y="2629"/>
                    </a:cubicBezTo>
                    <a:cubicBezTo>
                      <a:pt x="4337" y="2787"/>
                      <a:pt x="4337" y="2787"/>
                      <a:pt x="4337" y="2787"/>
                    </a:cubicBezTo>
                    <a:cubicBezTo>
                      <a:pt x="4241" y="2827"/>
                      <a:pt x="4241" y="2827"/>
                      <a:pt x="4241" y="2827"/>
                    </a:cubicBezTo>
                    <a:cubicBezTo>
                      <a:pt x="4280" y="2918"/>
                      <a:pt x="4280" y="2918"/>
                      <a:pt x="4280" y="2918"/>
                    </a:cubicBezTo>
                    <a:cubicBezTo>
                      <a:pt x="4126" y="2984"/>
                      <a:pt x="4126" y="2984"/>
                      <a:pt x="4126" y="2984"/>
                    </a:cubicBezTo>
                    <a:cubicBezTo>
                      <a:pt x="4061" y="2830"/>
                      <a:pt x="4061" y="2830"/>
                      <a:pt x="4061" y="2830"/>
                    </a:cubicBezTo>
                    <a:cubicBezTo>
                      <a:pt x="4147" y="2793"/>
                      <a:pt x="4147" y="2793"/>
                      <a:pt x="4147" y="2793"/>
                    </a:cubicBezTo>
                    <a:lnTo>
                      <a:pt x="4113" y="2698"/>
                    </a:lnTo>
                    <a:close/>
                    <a:moveTo>
                      <a:pt x="4269" y="2647"/>
                    </a:moveTo>
                    <a:cubicBezTo>
                      <a:pt x="4129" y="2705"/>
                      <a:pt x="4129" y="2705"/>
                      <a:pt x="4129" y="2705"/>
                    </a:cubicBezTo>
                    <a:cubicBezTo>
                      <a:pt x="4164" y="2800"/>
                      <a:pt x="4164" y="2800"/>
                      <a:pt x="4164" y="2800"/>
                    </a:cubicBezTo>
                    <a:cubicBezTo>
                      <a:pt x="4078" y="2837"/>
                      <a:pt x="4078" y="2837"/>
                      <a:pt x="4078" y="2837"/>
                    </a:cubicBezTo>
                    <a:cubicBezTo>
                      <a:pt x="4133" y="2966"/>
                      <a:pt x="4133" y="2966"/>
                      <a:pt x="4133" y="2966"/>
                    </a:cubicBezTo>
                    <a:cubicBezTo>
                      <a:pt x="4263" y="2911"/>
                      <a:pt x="4263" y="2911"/>
                      <a:pt x="4263" y="2911"/>
                    </a:cubicBezTo>
                    <a:cubicBezTo>
                      <a:pt x="4224" y="2820"/>
                      <a:pt x="4224" y="2820"/>
                      <a:pt x="4224" y="2820"/>
                    </a:cubicBezTo>
                    <a:cubicBezTo>
                      <a:pt x="4230" y="2817"/>
                      <a:pt x="4230" y="2817"/>
                      <a:pt x="4230" y="2817"/>
                    </a:cubicBezTo>
                    <a:cubicBezTo>
                      <a:pt x="4320" y="2780"/>
                      <a:pt x="4320" y="2780"/>
                      <a:pt x="4320" y="2780"/>
                    </a:cubicBezTo>
                    <a:lnTo>
                      <a:pt x="4269" y="2647"/>
                    </a:lnTo>
                    <a:close/>
                    <a:moveTo>
                      <a:pt x="4186" y="5283"/>
                    </a:moveTo>
                    <a:cubicBezTo>
                      <a:pt x="4115" y="5453"/>
                      <a:pt x="4115" y="5453"/>
                      <a:pt x="4115" y="5453"/>
                    </a:cubicBezTo>
                    <a:cubicBezTo>
                      <a:pt x="4023" y="5375"/>
                      <a:pt x="4023" y="5375"/>
                      <a:pt x="4023" y="5375"/>
                    </a:cubicBezTo>
                    <a:cubicBezTo>
                      <a:pt x="4023" y="5375"/>
                      <a:pt x="4044" y="5324"/>
                      <a:pt x="4059" y="5274"/>
                    </a:cubicBezTo>
                    <a:cubicBezTo>
                      <a:pt x="4072" y="5228"/>
                      <a:pt x="4079" y="5183"/>
                      <a:pt x="4086" y="5156"/>
                    </a:cubicBezTo>
                    <a:cubicBezTo>
                      <a:pt x="4101" y="5099"/>
                      <a:pt x="4164" y="5030"/>
                      <a:pt x="4164" y="5030"/>
                    </a:cubicBezTo>
                    <a:cubicBezTo>
                      <a:pt x="4215" y="5175"/>
                      <a:pt x="4215" y="5175"/>
                      <a:pt x="4215" y="5175"/>
                    </a:cubicBezTo>
                    <a:cubicBezTo>
                      <a:pt x="4154" y="5227"/>
                      <a:pt x="4154" y="5227"/>
                      <a:pt x="4154" y="5227"/>
                    </a:cubicBezTo>
                    <a:lnTo>
                      <a:pt x="4186" y="5283"/>
                    </a:lnTo>
                    <a:close/>
                    <a:moveTo>
                      <a:pt x="4170" y="5284"/>
                    </a:moveTo>
                    <a:cubicBezTo>
                      <a:pt x="4142" y="5234"/>
                      <a:pt x="4142" y="5234"/>
                      <a:pt x="4142" y="5234"/>
                    </a:cubicBezTo>
                    <a:cubicBezTo>
                      <a:pt x="4137" y="5224"/>
                      <a:pt x="4137" y="5224"/>
                      <a:pt x="4137" y="5224"/>
                    </a:cubicBezTo>
                    <a:cubicBezTo>
                      <a:pt x="4145" y="5217"/>
                      <a:pt x="4145" y="5217"/>
                      <a:pt x="4145" y="5217"/>
                    </a:cubicBezTo>
                    <a:cubicBezTo>
                      <a:pt x="4198" y="5171"/>
                      <a:pt x="4198" y="5171"/>
                      <a:pt x="4198" y="5171"/>
                    </a:cubicBezTo>
                    <a:cubicBezTo>
                      <a:pt x="4159" y="5058"/>
                      <a:pt x="4159" y="5058"/>
                      <a:pt x="4159" y="5058"/>
                    </a:cubicBezTo>
                    <a:cubicBezTo>
                      <a:pt x="4140" y="5081"/>
                      <a:pt x="4109" y="5123"/>
                      <a:pt x="4100" y="5160"/>
                    </a:cubicBezTo>
                    <a:cubicBezTo>
                      <a:pt x="4097" y="5170"/>
                      <a:pt x="4094" y="5183"/>
                      <a:pt x="4091" y="5197"/>
                    </a:cubicBezTo>
                    <a:cubicBezTo>
                      <a:pt x="4086" y="5221"/>
                      <a:pt x="4081" y="5249"/>
                      <a:pt x="4072" y="5277"/>
                    </a:cubicBezTo>
                    <a:cubicBezTo>
                      <a:pt x="4061" y="5315"/>
                      <a:pt x="4047" y="5353"/>
                      <a:pt x="4040" y="5371"/>
                    </a:cubicBezTo>
                    <a:cubicBezTo>
                      <a:pt x="4109" y="5430"/>
                      <a:pt x="4109" y="5430"/>
                      <a:pt x="4109" y="5430"/>
                    </a:cubicBezTo>
                    <a:lnTo>
                      <a:pt x="4170" y="5284"/>
                    </a:lnTo>
                    <a:close/>
                    <a:moveTo>
                      <a:pt x="2579" y="3743"/>
                    </a:moveTo>
                    <a:cubicBezTo>
                      <a:pt x="2578" y="3636"/>
                      <a:pt x="2578" y="3636"/>
                      <a:pt x="2578" y="3636"/>
                    </a:cubicBezTo>
                    <a:cubicBezTo>
                      <a:pt x="2760" y="3664"/>
                      <a:pt x="2760" y="3664"/>
                      <a:pt x="2760" y="3664"/>
                    </a:cubicBezTo>
                    <a:cubicBezTo>
                      <a:pt x="2676" y="3758"/>
                      <a:pt x="2676" y="3758"/>
                      <a:pt x="2676" y="3758"/>
                    </a:cubicBezTo>
                    <a:lnTo>
                      <a:pt x="2579" y="3743"/>
                    </a:lnTo>
                    <a:close/>
                    <a:moveTo>
                      <a:pt x="2592" y="3652"/>
                    </a:moveTo>
                    <a:cubicBezTo>
                      <a:pt x="2593" y="3731"/>
                      <a:pt x="2593" y="3731"/>
                      <a:pt x="2593" y="3731"/>
                    </a:cubicBezTo>
                    <a:cubicBezTo>
                      <a:pt x="2670" y="3743"/>
                      <a:pt x="2670" y="3743"/>
                      <a:pt x="2670" y="3743"/>
                    </a:cubicBezTo>
                    <a:cubicBezTo>
                      <a:pt x="2733" y="3674"/>
                      <a:pt x="2733" y="3674"/>
                      <a:pt x="2733" y="3674"/>
                    </a:cubicBezTo>
                    <a:lnTo>
                      <a:pt x="2592" y="3652"/>
                    </a:lnTo>
                    <a:close/>
                    <a:moveTo>
                      <a:pt x="4964" y="3577"/>
                    </a:moveTo>
                    <a:cubicBezTo>
                      <a:pt x="4984" y="3723"/>
                      <a:pt x="4984" y="3723"/>
                      <a:pt x="4984" y="3723"/>
                    </a:cubicBezTo>
                    <a:cubicBezTo>
                      <a:pt x="4978" y="3724"/>
                      <a:pt x="4978" y="3724"/>
                      <a:pt x="4978" y="3724"/>
                    </a:cubicBezTo>
                    <a:cubicBezTo>
                      <a:pt x="4881" y="3738"/>
                      <a:pt x="4881" y="3738"/>
                      <a:pt x="4881" y="3738"/>
                    </a:cubicBezTo>
                    <a:cubicBezTo>
                      <a:pt x="4861" y="3591"/>
                      <a:pt x="4861" y="3591"/>
                      <a:pt x="4861" y="3591"/>
                    </a:cubicBezTo>
                    <a:lnTo>
                      <a:pt x="4964" y="3577"/>
                    </a:lnTo>
                    <a:close/>
                    <a:moveTo>
                      <a:pt x="4970" y="3712"/>
                    </a:moveTo>
                    <a:cubicBezTo>
                      <a:pt x="4953" y="3592"/>
                      <a:pt x="4953" y="3592"/>
                      <a:pt x="4953" y="3592"/>
                    </a:cubicBezTo>
                    <a:cubicBezTo>
                      <a:pt x="4875" y="3602"/>
                      <a:pt x="4875" y="3602"/>
                      <a:pt x="4875" y="3602"/>
                    </a:cubicBezTo>
                    <a:cubicBezTo>
                      <a:pt x="4892" y="3723"/>
                      <a:pt x="4892" y="3723"/>
                      <a:pt x="4892" y="3723"/>
                    </a:cubicBezTo>
                    <a:lnTo>
                      <a:pt x="4970" y="3712"/>
                    </a:lnTo>
                    <a:close/>
                    <a:moveTo>
                      <a:pt x="2586" y="4724"/>
                    </a:moveTo>
                    <a:cubicBezTo>
                      <a:pt x="2453" y="4720"/>
                      <a:pt x="2453" y="4720"/>
                      <a:pt x="2453" y="4720"/>
                    </a:cubicBezTo>
                    <a:cubicBezTo>
                      <a:pt x="2541" y="4588"/>
                      <a:pt x="2541" y="4588"/>
                      <a:pt x="2541" y="4588"/>
                    </a:cubicBezTo>
                    <a:cubicBezTo>
                      <a:pt x="2711" y="4564"/>
                      <a:pt x="2711" y="4564"/>
                      <a:pt x="2711" y="4564"/>
                    </a:cubicBezTo>
                    <a:cubicBezTo>
                      <a:pt x="2677" y="4642"/>
                      <a:pt x="2677" y="4642"/>
                      <a:pt x="2677" y="4642"/>
                    </a:cubicBezTo>
                    <a:cubicBezTo>
                      <a:pt x="2617" y="4642"/>
                      <a:pt x="2617" y="4642"/>
                      <a:pt x="2617" y="4642"/>
                    </a:cubicBezTo>
                    <a:lnTo>
                      <a:pt x="2586" y="4724"/>
                    </a:lnTo>
                    <a:close/>
                    <a:moveTo>
                      <a:pt x="2576" y="4710"/>
                    </a:moveTo>
                    <a:cubicBezTo>
                      <a:pt x="2604" y="4637"/>
                      <a:pt x="2604" y="4637"/>
                      <a:pt x="2604" y="4637"/>
                    </a:cubicBezTo>
                    <a:cubicBezTo>
                      <a:pt x="2608" y="4628"/>
                      <a:pt x="2608" y="4628"/>
                      <a:pt x="2608" y="4628"/>
                    </a:cubicBezTo>
                    <a:cubicBezTo>
                      <a:pt x="2617" y="4628"/>
                      <a:pt x="2617" y="4628"/>
                      <a:pt x="2617" y="4628"/>
                    </a:cubicBezTo>
                    <a:cubicBezTo>
                      <a:pt x="2668" y="4628"/>
                      <a:pt x="2668" y="4628"/>
                      <a:pt x="2668" y="4628"/>
                    </a:cubicBezTo>
                    <a:cubicBezTo>
                      <a:pt x="2689" y="4582"/>
                      <a:pt x="2689" y="4582"/>
                      <a:pt x="2689" y="4582"/>
                    </a:cubicBezTo>
                    <a:cubicBezTo>
                      <a:pt x="2549" y="4601"/>
                      <a:pt x="2549" y="4601"/>
                      <a:pt x="2549" y="4601"/>
                    </a:cubicBezTo>
                    <a:cubicBezTo>
                      <a:pt x="2479" y="4707"/>
                      <a:pt x="2479" y="4707"/>
                      <a:pt x="2479" y="4707"/>
                    </a:cubicBezTo>
                    <a:lnTo>
                      <a:pt x="2576" y="4710"/>
                    </a:lnTo>
                    <a:close/>
                    <a:moveTo>
                      <a:pt x="3637" y="5432"/>
                    </a:moveTo>
                    <a:cubicBezTo>
                      <a:pt x="3518" y="5134"/>
                      <a:pt x="3518" y="5134"/>
                      <a:pt x="3518" y="5134"/>
                    </a:cubicBezTo>
                    <a:cubicBezTo>
                      <a:pt x="3603" y="5067"/>
                      <a:pt x="3603" y="5067"/>
                      <a:pt x="3603" y="5067"/>
                    </a:cubicBezTo>
                    <a:cubicBezTo>
                      <a:pt x="3639" y="5122"/>
                      <a:pt x="3639" y="5122"/>
                      <a:pt x="3639" y="5122"/>
                    </a:cubicBezTo>
                    <a:cubicBezTo>
                      <a:pt x="3630" y="5155"/>
                      <a:pt x="3630" y="5155"/>
                      <a:pt x="3630" y="5155"/>
                    </a:cubicBezTo>
                    <a:cubicBezTo>
                      <a:pt x="3665" y="5234"/>
                      <a:pt x="3665" y="5234"/>
                      <a:pt x="3665" y="5234"/>
                    </a:cubicBezTo>
                    <a:cubicBezTo>
                      <a:pt x="3726" y="5230"/>
                      <a:pt x="3726" y="5230"/>
                      <a:pt x="3726" y="5230"/>
                    </a:cubicBezTo>
                    <a:cubicBezTo>
                      <a:pt x="3762" y="5335"/>
                      <a:pt x="3762" y="5335"/>
                      <a:pt x="3762" y="5335"/>
                    </a:cubicBezTo>
                    <a:cubicBezTo>
                      <a:pt x="3790" y="5320"/>
                      <a:pt x="3790" y="5320"/>
                      <a:pt x="3790" y="5320"/>
                    </a:cubicBezTo>
                    <a:cubicBezTo>
                      <a:pt x="3821" y="5419"/>
                      <a:pt x="3821" y="5419"/>
                      <a:pt x="3821" y="5419"/>
                    </a:cubicBezTo>
                    <a:cubicBezTo>
                      <a:pt x="3797" y="5422"/>
                      <a:pt x="3797" y="5422"/>
                      <a:pt x="3797" y="5422"/>
                    </a:cubicBezTo>
                    <a:cubicBezTo>
                      <a:pt x="3804" y="5455"/>
                      <a:pt x="3804" y="5455"/>
                      <a:pt x="3804" y="5455"/>
                    </a:cubicBezTo>
                    <a:cubicBezTo>
                      <a:pt x="3722" y="5483"/>
                      <a:pt x="3722" y="5483"/>
                      <a:pt x="3722" y="5483"/>
                    </a:cubicBezTo>
                    <a:lnTo>
                      <a:pt x="3637" y="5432"/>
                    </a:lnTo>
                    <a:close/>
                    <a:moveTo>
                      <a:pt x="3534" y="5138"/>
                    </a:moveTo>
                    <a:cubicBezTo>
                      <a:pt x="3648" y="5422"/>
                      <a:pt x="3648" y="5422"/>
                      <a:pt x="3648" y="5422"/>
                    </a:cubicBezTo>
                    <a:cubicBezTo>
                      <a:pt x="3723" y="5468"/>
                      <a:pt x="3723" y="5468"/>
                      <a:pt x="3723" y="5468"/>
                    </a:cubicBezTo>
                    <a:cubicBezTo>
                      <a:pt x="3787" y="5446"/>
                      <a:pt x="3787" y="5446"/>
                      <a:pt x="3787" y="5446"/>
                    </a:cubicBezTo>
                    <a:cubicBezTo>
                      <a:pt x="3783" y="5425"/>
                      <a:pt x="3783" y="5425"/>
                      <a:pt x="3783" y="5425"/>
                    </a:cubicBezTo>
                    <a:cubicBezTo>
                      <a:pt x="3780" y="5410"/>
                      <a:pt x="3780" y="5410"/>
                      <a:pt x="3780" y="5410"/>
                    </a:cubicBezTo>
                    <a:cubicBezTo>
                      <a:pt x="3795" y="5408"/>
                      <a:pt x="3795" y="5408"/>
                      <a:pt x="3795" y="5408"/>
                    </a:cubicBezTo>
                    <a:cubicBezTo>
                      <a:pt x="3803" y="5407"/>
                      <a:pt x="3803" y="5407"/>
                      <a:pt x="3803" y="5407"/>
                    </a:cubicBezTo>
                    <a:cubicBezTo>
                      <a:pt x="3781" y="5341"/>
                      <a:pt x="3781" y="5341"/>
                      <a:pt x="3781" y="5341"/>
                    </a:cubicBezTo>
                    <a:cubicBezTo>
                      <a:pt x="3769" y="5347"/>
                      <a:pt x="3769" y="5347"/>
                      <a:pt x="3769" y="5347"/>
                    </a:cubicBezTo>
                    <a:cubicBezTo>
                      <a:pt x="3755" y="5355"/>
                      <a:pt x="3755" y="5355"/>
                      <a:pt x="3755" y="5355"/>
                    </a:cubicBezTo>
                    <a:cubicBezTo>
                      <a:pt x="3749" y="5340"/>
                      <a:pt x="3749" y="5340"/>
                      <a:pt x="3749" y="5340"/>
                    </a:cubicBezTo>
                    <a:cubicBezTo>
                      <a:pt x="3716" y="5245"/>
                      <a:pt x="3716" y="5245"/>
                      <a:pt x="3716" y="5245"/>
                    </a:cubicBezTo>
                    <a:cubicBezTo>
                      <a:pt x="3666" y="5248"/>
                      <a:pt x="3666" y="5248"/>
                      <a:pt x="3666" y="5248"/>
                    </a:cubicBezTo>
                    <a:cubicBezTo>
                      <a:pt x="3656" y="5249"/>
                      <a:pt x="3656" y="5249"/>
                      <a:pt x="3656" y="5249"/>
                    </a:cubicBezTo>
                    <a:cubicBezTo>
                      <a:pt x="3652" y="5240"/>
                      <a:pt x="3652" y="5240"/>
                      <a:pt x="3652" y="5240"/>
                    </a:cubicBezTo>
                    <a:cubicBezTo>
                      <a:pt x="3617" y="5160"/>
                      <a:pt x="3617" y="5160"/>
                      <a:pt x="3617" y="5160"/>
                    </a:cubicBezTo>
                    <a:cubicBezTo>
                      <a:pt x="3615" y="5156"/>
                      <a:pt x="3615" y="5156"/>
                      <a:pt x="3615" y="5156"/>
                    </a:cubicBezTo>
                    <a:cubicBezTo>
                      <a:pt x="3616" y="5151"/>
                      <a:pt x="3616" y="5151"/>
                      <a:pt x="3616" y="5151"/>
                    </a:cubicBezTo>
                    <a:cubicBezTo>
                      <a:pt x="3624" y="5124"/>
                      <a:pt x="3624" y="5124"/>
                      <a:pt x="3624" y="5124"/>
                    </a:cubicBezTo>
                    <a:cubicBezTo>
                      <a:pt x="3599" y="5087"/>
                      <a:pt x="3599" y="5087"/>
                      <a:pt x="3599" y="5087"/>
                    </a:cubicBezTo>
                    <a:lnTo>
                      <a:pt x="3534" y="5138"/>
                    </a:lnTo>
                    <a:close/>
                    <a:moveTo>
                      <a:pt x="4924" y="3849"/>
                    </a:moveTo>
                    <a:cubicBezTo>
                      <a:pt x="5005" y="3881"/>
                      <a:pt x="5005" y="3881"/>
                      <a:pt x="5005" y="3881"/>
                    </a:cubicBezTo>
                    <a:cubicBezTo>
                      <a:pt x="4980" y="3944"/>
                      <a:pt x="4980" y="3944"/>
                      <a:pt x="4980" y="3944"/>
                    </a:cubicBezTo>
                    <a:cubicBezTo>
                      <a:pt x="4974" y="3942"/>
                      <a:pt x="4974" y="3942"/>
                      <a:pt x="4974" y="3942"/>
                    </a:cubicBezTo>
                    <a:cubicBezTo>
                      <a:pt x="4899" y="3912"/>
                      <a:pt x="4899" y="3912"/>
                      <a:pt x="4899" y="3912"/>
                    </a:cubicBezTo>
                    <a:lnTo>
                      <a:pt x="4924" y="3849"/>
                    </a:lnTo>
                    <a:close/>
                    <a:moveTo>
                      <a:pt x="4932" y="3866"/>
                    </a:moveTo>
                    <a:cubicBezTo>
                      <a:pt x="4916" y="3905"/>
                      <a:pt x="4916" y="3905"/>
                      <a:pt x="4916" y="3905"/>
                    </a:cubicBezTo>
                    <a:cubicBezTo>
                      <a:pt x="4972" y="3927"/>
                      <a:pt x="4972" y="3927"/>
                      <a:pt x="4972" y="3927"/>
                    </a:cubicBezTo>
                    <a:cubicBezTo>
                      <a:pt x="4988" y="3888"/>
                      <a:pt x="4988" y="3888"/>
                      <a:pt x="4988" y="3888"/>
                    </a:cubicBezTo>
                    <a:lnTo>
                      <a:pt x="4932" y="3866"/>
                    </a:lnTo>
                    <a:close/>
                    <a:moveTo>
                      <a:pt x="4832" y="2658"/>
                    </a:moveTo>
                    <a:cubicBezTo>
                      <a:pt x="4844" y="2918"/>
                      <a:pt x="4844" y="2918"/>
                      <a:pt x="4844" y="2918"/>
                    </a:cubicBezTo>
                    <a:cubicBezTo>
                      <a:pt x="4760" y="2921"/>
                      <a:pt x="4760" y="2921"/>
                      <a:pt x="4760" y="2921"/>
                    </a:cubicBezTo>
                    <a:cubicBezTo>
                      <a:pt x="4760" y="2915"/>
                      <a:pt x="4760" y="2915"/>
                      <a:pt x="4760" y="2915"/>
                    </a:cubicBezTo>
                    <a:cubicBezTo>
                      <a:pt x="4748" y="2661"/>
                      <a:pt x="4748" y="2661"/>
                      <a:pt x="4748" y="2661"/>
                    </a:cubicBezTo>
                    <a:lnTo>
                      <a:pt x="4832" y="2658"/>
                    </a:lnTo>
                    <a:close/>
                    <a:moveTo>
                      <a:pt x="4830" y="2905"/>
                    </a:moveTo>
                    <a:cubicBezTo>
                      <a:pt x="4820" y="2671"/>
                      <a:pt x="4820" y="2671"/>
                      <a:pt x="4820" y="2671"/>
                    </a:cubicBezTo>
                    <a:cubicBezTo>
                      <a:pt x="4762" y="2674"/>
                      <a:pt x="4762" y="2674"/>
                      <a:pt x="4762" y="2674"/>
                    </a:cubicBezTo>
                    <a:cubicBezTo>
                      <a:pt x="4773" y="2908"/>
                      <a:pt x="4773" y="2908"/>
                      <a:pt x="4773" y="2908"/>
                    </a:cubicBezTo>
                    <a:lnTo>
                      <a:pt x="4830" y="2905"/>
                    </a:lnTo>
                    <a:close/>
                    <a:moveTo>
                      <a:pt x="5067" y="5901"/>
                    </a:moveTo>
                    <a:cubicBezTo>
                      <a:pt x="5045" y="5814"/>
                      <a:pt x="4999" y="5737"/>
                      <a:pt x="4999" y="5737"/>
                    </a:cubicBezTo>
                    <a:cubicBezTo>
                      <a:pt x="4991" y="5724"/>
                      <a:pt x="4991" y="5724"/>
                      <a:pt x="4991" y="5724"/>
                    </a:cubicBezTo>
                    <a:cubicBezTo>
                      <a:pt x="5309" y="5763"/>
                      <a:pt x="5309" y="5763"/>
                      <a:pt x="5309" y="5763"/>
                    </a:cubicBezTo>
                    <a:cubicBezTo>
                      <a:pt x="5310" y="5768"/>
                      <a:pt x="5310" y="5768"/>
                      <a:pt x="5310" y="5768"/>
                    </a:cubicBezTo>
                    <a:cubicBezTo>
                      <a:pt x="5333" y="5925"/>
                      <a:pt x="5333" y="5925"/>
                      <a:pt x="5333" y="5925"/>
                    </a:cubicBezTo>
                    <a:cubicBezTo>
                      <a:pt x="5244" y="5913"/>
                      <a:pt x="5244" y="5913"/>
                      <a:pt x="5244" y="5913"/>
                    </a:cubicBezTo>
                    <a:cubicBezTo>
                      <a:pt x="5214" y="5987"/>
                      <a:pt x="5214" y="5987"/>
                      <a:pt x="5214" y="5987"/>
                    </a:cubicBezTo>
                    <a:cubicBezTo>
                      <a:pt x="5320" y="5964"/>
                      <a:pt x="5320" y="5964"/>
                      <a:pt x="5320" y="5964"/>
                    </a:cubicBezTo>
                    <a:cubicBezTo>
                      <a:pt x="5317" y="5975"/>
                      <a:pt x="5317" y="5975"/>
                      <a:pt x="5317" y="5975"/>
                    </a:cubicBezTo>
                    <a:cubicBezTo>
                      <a:pt x="5317" y="5975"/>
                      <a:pt x="5310" y="6013"/>
                      <a:pt x="5302" y="6051"/>
                    </a:cubicBezTo>
                    <a:cubicBezTo>
                      <a:pt x="5298" y="6070"/>
                      <a:pt x="5294" y="6089"/>
                      <a:pt x="5292" y="6103"/>
                    </a:cubicBezTo>
                    <a:cubicBezTo>
                      <a:pt x="5290" y="6110"/>
                      <a:pt x="5289" y="6116"/>
                      <a:pt x="5288" y="6121"/>
                    </a:cubicBezTo>
                    <a:cubicBezTo>
                      <a:pt x="5288" y="6123"/>
                      <a:pt x="5287" y="6124"/>
                      <a:pt x="5287" y="6126"/>
                    </a:cubicBezTo>
                    <a:cubicBezTo>
                      <a:pt x="5287" y="6126"/>
                      <a:pt x="5287" y="6126"/>
                      <a:pt x="5287" y="6126"/>
                    </a:cubicBezTo>
                    <a:cubicBezTo>
                      <a:pt x="5287" y="6129"/>
                      <a:pt x="5286" y="6129"/>
                      <a:pt x="5286" y="6130"/>
                    </a:cubicBezTo>
                    <a:cubicBezTo>
                      <a:pt x="5280" y="6127"/>
                      <a:pt x="5280" y="6127"/>
                      <a:pt x="5280" y="6127"/>
                    </a:cubicBezTo>
                    <a:cubicBezTo>
                      <a:pt x="5280" y="6134"/>
                      <a:pt x="5280" y="6134"/>
                      <a:pt x="5280" y="6134"/>
                    </a:cubicBezTo>
                    <a:cubicBezTo>
                      <a:pt x="5279" y="6134"/>
                      <a:pt x="5279" y="6134"/>
                      <a:pt x="5279" y="6134"/>
                    </a:cubicBezTo>
                    <a:cubicBezTo>
                      <a:pt x="5279" y="6134"/>
                      <a:pt x="5278" y="6133"/>
                      <a:pt x="5277" y="6133"/>
                    </a:cubicBezTo>
                    <a:cubicBezTo>
                      <a:pt x="5263" y="6131"/>
                      <a:pt x="5095" y="6126"/>
                      <a:pt x="5095" y="6126"/>
                    </a:cubicBezTo>
                    <a:cubicBezTo>
                      <a:pt x="5087" y="6125"/>
                      <a:pt x="5087" y="6125"/>
                      <a:pt x="5087" y="6125"/>
                    </a:cubicBezTo>
                    <a:cubicBezTo>
                      <a:pt x="5088" y="6118"/>
                      <a:pt x="5088" y="6118"/>
                      <a:pt x="5088" y="6118"/>
                    </a:cubicBezTo>
                    <a:cubicBezTo>
                      <a:pt x="5088" y="6118"/>
                      <a:pt x="5088" y="6112"/>
                      <a:pt x="5088" y="6101"/>
                    </a:cubicBezTo>
                    <a:cubicBezTo>
                      <a:pt x="5088" y="6064"/>
                      <a:pt x="5086" y="5974"/>
                      <a:pt x="5067" y="5901"/>
                    </a:cubicBezTo>
                    <a:close/>
                    <a:moveTo>
                      <a:pt x="5019" y="5742"/>
                    </a:moveTo>
                    <a:cubicBezTo>
                      <a:pt x="5033" y="5768"/>
                      <a:pt x="5064" y="5829"/>
                      <a:pt x="5081" y="5897"/>
                    </a:cubicBezTo>
                    <a:cubicBezTo>
                      <a:pt x="5100" y="5972"/>
                      <a:pt x="5103" y="6063"/>
                      <a:pt x="5103" y="6101"/>
                    </a:cubicBezTo>
                    <a:cubicBezTo>
                      <a:pt x="5103" y="6105"/>
                      <a:pt x="5103" y="6108"/>
                      <a:pt x="5103" y="6111"/>
                    </a:cubicBezTo>
                    <a:cubicBezTo>
                      <a:pt x="5117" y="6112"/>
                      <a:pt x="5152" y="6113"/>
                      <a:pt x="5188" y="6114"/>
                    </a:cubicBezTo>
                    <a:cubicBezTo>
                      <a:pt x="5211" y="6115"/>
                      <a:pt x="5234" y="6116"/>
                      <a:pt x="5251" y="6117"/>
                    </a:cubicBezTo>
                    <a:cubicBezTo>
                      <a:pt x="5260" y="6117"/>
                      <a:pt x="5267" y="6118"/>
                      <a:pt x="5272" y="6118"/>
                    </a:cubicBezTo>
                    <a:cubicBezTo>
                      <a:pt x="5273" y="6118"/>
                      <a:pt x="5273" y="6118"/>
                      <a:pt x="5274" y="6118"/>
                    </a:cubicBezTo>
                    <a:cubicBezTo>
                      <a:pt x="5276" y="6105"/>
                      <a:pt x="5282" y="6077"/>
                      <a:pt x="5288" y="6048"/>
                    </a:cubicBezTo>
                    <a:cubicBezTo>
                      <a:pt x="5293" y="6022"/>
                      <a:pt x="5298" y="5997"/>
                      <a:pt x="5301" y="5983"/>
                    </a:cubicBezTo>
                    <a:cubicBezTo>
                      <a:pt x="5189" y="6007"/>
                      <a:pt x="5189" y="6007"/>
                      <a:pt x="5189" y="6007"/>
                    </a:cubicBezTo>
                    <a:cubicBezTo>
                      <a:pt x="5234" y="5897"/>
                      <a:pt x="5234" y="5897"/>
                      <a:pt x="5234" y="5897"/>
                    </a:cubicBezTo>
                    <a:cubicBezTo>
                      <a:pt x="5315" y="5908"/>
                      <a:pt x="5315" y="5908"/>
                      <a:pt x="5315" y="5908"/>
                    </a:cubicBezTo>
                    <a:cubicBezTo>
                      <a:pt x="5296" y="5776"/>
                      <a:pt x="5296" y="5776"/>
                      <a:pt x="5296" y="5776"/>
                    </a:cubicBezTo>
                    <a:lnTo>
                      <a:pt x="5019" y="5742"/>
                    </a:lnTo>
                    <a:close/>
                    <a:moveTo>
                      <a:pt x="5411" y="4800"/>
                    </a:moveTo>
                    <a:cubicBezTo>
                      <a:pt x="5260" y="4790"/>
                      <a:pt x="5260" y="4790"/>
                      <a:pt x="5260" y="4790"/>
                    </a:cubicBezTo>
                    <a:cubicBezTo>
                      <a:pt x="5265" y="4719"/>
                      <a:pt x="5265" y="4719"/>
                      <a:pt x="5265" y="4719"/>
                    </a:cubicBezTo>
                    <a:cubicBezTo>
                      <a:pt x="5271" y="4720"/>
                      <a:pt x="5271" y="4720"/>
                      <a:pt x="5271" y="4720"/>
                    </a:cubicBezTo>
                    <a:cubicBezTo>
                      <a:pt x="5416" y="4729"/>
                      <a:pt x="5416" y="4729"/>
                      <a:pt x="5416" y="4729"/>
                    </a:cubicBezTo>
                    <a:lnTo>
                      <a:pt x="5411" y="4800"/>
                    </a:lnTo>
                    <a:close/>
                    <a:moveTo>
                      <a:pt x="5402" y="4742"/>
                    </a:moveTo>
                    <a:cubicBezTo>
                      <a:pt x="5277" y="4733"/>
                      <a:pt x="5277" y="4733"/>
                      <a:pt x="5277" y="4733"/>
                    </a:cubicBezTo>
                    <a:cubicBezTo>
                      <a:pt x="5274" y="4778"/>
                      <a:pt x="5274" y="4778"/>
                      <a:pt x="5274" y="4778"/>
                    </a:cubicBezTo>
                    <a:cubicBezTo>
                      <a:pt x="5399" y="4786"/>
                      <a:pt x="5399" y="4786"/>
                      <a:pt x="5399" y="4786"/>
                    </a:cubicBezTo>
                    <a:lnTo>
                      <a:pt x="5402" y="4742"/>
                    </a:lnTo>
                    <a:close/>
                    <a:moveTo>
                      <a:pt x="2690" y="4717"/>
                    </a:moveTo>
                    <a:cubicBezTo>
                      <a:pt x="2795" y="4717"/>
                      <a:pt x="2795" y="4717"/>
                      <a:pt x="2795" y="4717"/>
                    </a:cubicBezTo>
                    <a:cubicBezTo>
                      <a:pt x="2830" y="4612"/>
                      <a:pt x="2830" y="4612"/>
                      <a:pt x="2830" y="4612"/>
                    </a:cubicBezTo>
                    <a:cubicBezTo>
                      <a:pt x="2955" y="4604"/>
                      <a:pt x="2955" y="4604"/>
                      <a:pt x="2955" y="4604"/>
                    </a:cubicBezTo>
                    <a:cubicBezTo>
                      <a:pt x="2874" y="4850"/>
                      <a:pt x="2874" y="4850"/>
                      <a:pt x="2874" y="4850"/>
                    </a:cubicBezTo>
                    <a:cubicBezTo>
                      <a:pt x="2647" y="4838"/>
                      <a:pt x="2647" y="4838"/>
                      <a:pt x="2647" y="4838"/>
                    </a:cubicBezTo>
                    <a:lnTo>
                      <a:pt x="2690" y="4717"/>
                    </a:lnTo>
                    <a:close/>
                    <a:moveTo>
                      <a:pt x="2699" y="4731"/>
                    </a:moveTo>
                    <a:cubicBezTo>
                      <a:pt x="2666" y="4825"/>
                      <a:pt x="2666" y="4825"/>
                      <a:pt x="2666" y="4825"/>
                    </a:cubicBezTo>
                    <a:cubicBezTo>
                      <a:pt x="2864" y="4835"/>
                      <a:pt x="2864" y="4835"/>
                      <a:pt x="2864" y="4835"/>
                    </a:cubicBezTo>
                    <a:cubicBezTo>
                      <a:pt x="2935" y="4619"/>
                      <a:pt x="2935" y="4619"/>
                      <a:pt x="2935" y="4619"/>
                    </a:cubicBezTo>
                    <a:cubicBezTo>
                      <a:pt x="2840" y="4625"/>
                      <a:pt x="2840" y="4625"/>
                      <a:pt x="2840" y="4625"/>
                    </a:cubicBezTo>
                    <a:cubicBezTo>
                      <a:pt x="2808" y="4722"/>
                      <a:pt x="2808" y="4722"/>
                      <a:pt x="2808" y="4722"/>
                    </a:cubicBezTo>
                    <a:cubicBezTo>
                      <a:pt x="2805" y="4731"/>
                      <a:pt x="2805" y="4731"/>
                      <a:pt x="2805" y="4731"/>
                    </a:cubicBezTo>
                    <a:cubicBezTo>
                      <a:pt x="2795" y="4731"/>
                      <a:pt x="2795" y="4731"/>
                      <a:pt x="2795" y="4731"/>
                    </a:cubicBezTo>
                    <a:lnTo>
                      <a:pt x="2699" y="4731"/>
                    </a:lnTo>
                    <a:close/>
                    <a:moveTo>
                      <a:pt x="5194" y="4481"/>
                    </a:moveTo>
                    <a:cubicBezTo>
                      <a:pt x="5264" y="4486"/>
                      <a:pt x="5264" y="4486"/>
                      <a:pt x="5264" y="4486"/>
                    </a:cubicBezTo>
                    <a:cubicBezTo>
                      <a:pt x="5254" y="4637"/>
                      <a:pt x="5254" y="4637"/>
                      <a:pt x="5254" y="4637"/>
                    </a:cubicBezTo>
                    <a:cubicBezTo>
                      <a:pt x="5183" y="4632"/>
                      <a:pt x="5183" y="4632"/>
                      <a:pt x="5183" y="4632"/>
                    </a:cubicBezTo>
                    <a:cubicBezTo>
                      <a:pt x="5184" y="4625"/>
                      <a:pt x="5184" y="4625"/>
                      <a:pt x="5184" y="4625"/>
                    </a:cubicBezTo>
                    <a:lnTo>
                      <a:pt x="5194" y="4481"/>
                    </a:lnTo>
                    <a:close/>
                    <a:moveTo>
                      <a:pt x="5197" y="4620"/>
                    </a:moveTo>
                    <a:cubicBezTo>
                      <a:pt x="5242" y="4623"/>
                      <a:pt x="5242" y="4623"/>
                      <a:pt x="5242" y="4623"/>
                    </a:cubicBezTo>
                    <a:cubicBezTo>
                      <a:pt x="5250" y="4498"/>
                      <a:pt x="5250" y="4498"/>
                      <a:pt x="5250" y="4498"/>
                    </a:cubicBezTo>
                    <a:cubicBezTo>
                      <a:pt x="5206" y="4495"/>
                      <a:pt x="5206" y="4495"/>
                      <a:pt x="5206" y="4495"/>
                    </a:cubicBezTo>
                    <a:lnTo>
                      <a:pt x="5197" y="4620"/>
                    </a:lnTo>
                    <a:close/>
                    <a:moveTo>
                      <a:pt x="4939" y="3996"/>
                    </a:moveTo>
                    <a:cubicBezTo>
                      <a:pt x="5020" y="4028"/>
                      <a:pt x="5020" y="4028"/>
                      <a:pt x="5020" y="4028"/>
                    </a:cubicBezTo>
                    <a:cubicBezTo>
                      <a:pt x="4994" y="4092"/>
                      <a:pt x="4994" y="4092"/>
                      <a:pt x="4994" y="4092"/>
                    </a:cubicBezTo>
                    <a:cubicBezTo>
                      <a:pt x="4988" y="4089"/>
                      <a:pt x="4988" y="4089"/>
                      <a:pt x="4988" y="4089"/>
                    </a:cubicBezTo>
                    <a:cubicBezTo>
                      <a:pt x="4914" y="4060"/>
                      <a:pt x="4914" y="4060"/>
                      <a:pt x="4914" y="4060"/>
                    </a:cubicBezTo>
                    <a:lnTo>
                      <a:pt x="4939" y="3996"/>
                    </a:lnTo>
                    <a:close/>
                    <a:moveTo>
                      <a:pt x="4947" y="4013"/>
                    </a:moveTo>
                    <a:cubicBezTo>
                      <a:pt x="4931" y="4053"/>
                      <a:pt x="4931" y="4053"/>
                      <a:pt x="4931" y="4053"/>
                    </a:cubicBezTo>
                    <a:cubicBezTo>
                      <a:pt x="4987" y="4075"/>
                      <a:pt x="4987" y="4075"/>
                      <a:pt x="4987" y="4075"/>
                    </a:cubicBezTo>
                    <a:cubicBezTo>
                      <a:pt x="5003" y="4036"/>
                      <a:pt x="5003" y="4036"/>
                      <a:pt x="5003" y="4036"/>
                    </a:cubicBezTo>
                    <a:lnTo>
                      <a:pt x="4947" y="4013"/>
                    </a:lnTo>
                    <a:close/>
                    <a:moveTo>
                      <a:pt x="1431" y="4598"/>
                    </a:moveTo>
                    <a:cubicBezTo>
                      <a:pt x="1394" y="4478"/>
                      <a:pt x="1394" y="4478"/>
                      <a:pt x="1394" y="4478"/>
                    </a:cubicBezTo>
                    <a:cubicBezTo>
                      <a:pt x="1781" y="4428"/>
                      <a:pt x="1781" y="4428"/>
                      <a:pt x="1781" y="4428"/>
                    </a:cubicBezTo>
                    <a:cubicBezTo>
                      <a:pt x="1781" y="4428"/>
                      <a:pt x="1841" y="4493"/>
                      <a:pt x="1916" y="4536"/>
                    </a:cubicBezTo>
                    <a:cubicBezTo>
                      <a:pt x="1991" y="4578"/>
                      <a:pt x="2120" y="4612"/>
                      <a:pt x="2120" y="4612"/>
                    </a:cubicBezTo>
                    <a:cubicBezTo>
                      <a:pt x="2060" y="4872"/>
                      <a:pt x="2060" y="4872"/>
                      <a:pt x="2060" y="4872"/>
                    </a:cubicBezTo>
                    <a:cubicBezTo>
                      <a:pt x="1952" y="5002"/>
                      <a:pt x="1952" y="5002"/>
                      <a:pt x="1952" y="5002"/>
                    </a:cubicBezTo>
                    <a:cubicBezTo>
                      <a:pt x="1876" y="4980"/>
                      <a:pt x="1876" y="4980"/>
                      <a:pt x="1876" y="4980"/>
                    </a:cubicBezTo>
                    <a:cubicBezTo>
                      <a:pt x="1948" y="4712"/>
                      <a:pt x="1948" y="4712"/>
                      <a:pt x="1948" y="4712"/>
                    </a:cubicBezTo>
                    <a:cubicBezTo>
                      <a:pt x="1948" y="4712"/>
                      <a:pt x="1851" y="4686"/>
                      <a:pt x="1808" y="4659"/>
                    </a:cubicBezTo>
                    <a:cubicBezTo>
                      <a:pt x="1766" y="4631"/>
                      <a:pt x="1722" y="4567"/>
                      <a:pt x="1722" y="4567"/>
                    </a:cubicBezTo>
                    <a:lnTo>
                      <a:pt x="1431" y="4598"/>
                    </a:lnTo>
                    <a:close/>
                    <a:moveTo>
                      <a:pt x="1412" y="4490"/>
                    </a:moveTo>
                    <a:cubicBezTo>
                      <a:pt x="1441" y="4583"/>
                      <a:pt x="1441" y="4583"/>
                      <a:pt x="1441" y="4583"/>
                    </a:cubicBezTo>
                    <a:cubicBezTo>
                      <a:pt x="1721" y="4553"/>
                      <a:pt x="1721" y="4553"/>
                      <a:pt x="1721" y="4553"/>
                    </a:cubicBezTo>
                    <a:cubicBezTo>
                      <a:pt x="1729" y="4552"/>
                      <a:pt x="1729" y="4552"/>
                      <a:pt x="1729" y="4552"/>
                    </a:cubicBezTo>
                    <a:cubicBezTo>
                      <a:pt x="1734" y="4559"/>
                      <a:pt x="1734" y="4559"/>
                      <a:pt x="1734" y="4559"/>
                    </a:cubicBezTo>
                    <a:cubicBezTo>
                      <a:pt x="1734" y="4560"/>
                      <a:pt x="1776" y="4621"/>
                      <a:pt x="1816" y="4647"/>
                    </a:cubicBezTo>
                    <a:cubicBezTo>
                      <a:pt x="1856" y="4673"/>
                      <a:pt x="1950" y="4698"/>
                      <a:pt x="1951" y="4698"/>
                    </a:cubicBezTo>
                    <a:cubicBezTo>
                      <a:pt x="1965" y="4702"/>
                      <a:pt x="1965" y="4702"/>
                      <a:pt x="1965" y="4702"/>
                    </a:cubicBezTo>
                    <a:cubicBezTo>
                      <a:pt x="1961" y="4715"/>
                      <a:pt x="1961" y="4715"/>
                      <a:pt x="1961" y="4715"/>
                    </a:cubicBezTo>
                    <a:cubicBezTo>
                      <a:pt x="1893" y="4970"/>
                      <a:pt x="1893" y="4970"/>
                      <a:pt x="1893" y="4970"/>
                    </a:cubicBezTo>
                    <a:cubicBezTo>
                      <a:pt x="1947" y="4986"/>
                      <a:pt x="1947" y="4986"/>
                      <a:pt x="1947" y="4986"/>
                    </a:cubicBezTo>
                    <a:cubicBezTo>
                      <a:pt x="2047" y="4865"/>
                      <a:pt x="2047" y="4865"/>
                      <a:pt x="2047" y="4865"/>
                    </a:cubicBezTo>
                    <a:cubicBezTo>
                      <a:pt x="2103" y="4622"/>
                      <a:pt x="2103" y="4622"/>
                      <a:pt x="2103" y="4622"/>
                    </a:cubicBezTo>
                    <a:cubicBezTo>
                      <a:pt x="2068" y="4612"/>
                      <a:pt x="1972" y="4583"/>
                      <a:pt x="1909" y="4548"/>
                    </a:cubicBezTo>
                    <a:cubicBezTo>
                      <a:pt x="1845" y="4511"/>
                      <a:pt x="1792" y="4459"/>
                      <a:pt x="1776" y="4442"/>
                    </a:cubicBezTo>
                    <a:lnTo>
                      <a:pt x="1412" y="4490"/>
                    </a:lnTo>
                    <a:close/>
                    <a:moveTo>
                      <a:pt x="2719" y="6280"/>
                    </a:moveTo>
                    <a:cubicBezTo>
                      <a:pt x="2676" y="6453"/>
                      <a:pt x="2676" y="6453"/>
                      <a:pt x="2676" y="6453"/>
                    </a:cubicBezTo>
                    <a:cubicBezTo>
                      <a:pt x="2440" y="6368"/>
                      <a:pt x="2440" y="6368"/>
                      <a:pt x="2440" y="6368"/>
                    </a:cubicBezTo>
                    <a:cubicBezTo>
                      <a:pt x="2648" y="5877"/>
                      <a:pt x="2648" y="5877"/>
                      <a:pt x="2648" y="5877"/>
                    </a:cubicBezTo>
                    <a:cubicBezTo>
                      <a:pt x="2864" y="5932"/>
                      <a:pt x="2864" y="5932"/>
                      <a:pt x="2864" y="5932"/>
                    </a:cubicBezTo>
                    <a:cubicBezTo>
                      <a:pt x="2919" y="6096"/>
                      <a:pt x="2919" y="6096"/>
                      <a:pt x="2919" y="6096"/>
                    </a:cubicBezTo>
                    <a:cubicBezTo>
                      <a:pt x="2910" y="6097"/>
                      <a:pt x="2910" y="6097"/>
                      <a:pt x="2910" y="6097"/>
                    </a:cubicBezTo>
                    <a:cubicBezTo>
                      <a:pt x="2843" y="6105"/>
                      <a:pt x="2805" y="6128"/>
                      <a:pt x="2784" y="6148"/>
                    </a:cubicBezTo>
                    <a:cubicBezTo>
                      <a:pt x="2774" y="6158"/>
                      <a:pt x="2768" y="6168"/>
                      <a:pt x="2764" y="6175"/>
                    </a:cubicBezTo>
                    <a:cubicBezTo>
                      <a:pt x="2760" y="6182"/>
                      <a:pt x="2759" y="6186"/>
                      <a:pt x="2759" y="6186"/>
                    </a:cubicBezTo>
                    <a:cubicBezTo>
                      <a:pt x="2757" y="6194"/>
                      <a:pt x="2757" y="6194"/>
                      <a:pt x="2757" y="6194"/>
                    </a:cubicBezTo>
                    <a:cubicBezTo>
                      <a:pt x="2683" y="6168"/>
                      <a:pt x="2683" y="6168"/>
                      <a:pt x="2683" y="6168"/>
                    </a:cubicBezTo>
                    <a:cubicBezTo>
                      <a:pt x="2728" y="6060"/>
                      <a:pt x="2728" y="6060"/>
                      <a:pt x="2728" y="6060"/>
                    </a:cubicBezTo>
                    <a:cubicBezTo>
                      <a:pt x="2671" y="6050"/>
                      <a:pt x="2671" y="6050"/>
                      <a:pt x="2671" y="6050"/>
                    </a:cubicBezTo>
                    <a:cubicBezTo>
                      <a:pt x="2561" y="6315"/>
                      <a:pt x="2561" y="6315"/>
                      <a:pt x="2561" y="6315"/>
                    </a:cubicBezTo>
                    <a:cubicBezTo>
                      <a:pt x="2593" y="6325"/>
                      <a:pt x="2593" y="6325"/>
                      <a:pt x="2593" y="6325"/>
                    </a:cubicBezTo>
                    <a:cubicBezTo>
                      <a:pt x="2623" y="6255"/>
                      <a:pt x="2623" y="6255"/>
                      <a:pt x="2623" y="6255"/>
                    </a:cubicBezTo>
                    <a:lnTo>
                      <a:pt x="2719" y="6280"/>
                    </a:lnTo>
                    <a:close/>
                    <a:moveTo>
                      <a:pt x="2701" y="6290"/>
                    </a:moveTo>
                    <a:cubicBezTo>
                      <a:pt x="2631" y="6272"/>
                      <a:pt x="2631" y="6272"/>
                      <a:pt x="2631" y="6272"/>
                    </a:cubicBezTo>
                    <a:cubicBezTo>
                      <a:pt x="2601" y="6344"/>
                      <a:pt x="2601" y="6344"/>
                      <a:pt x="2601" y="6344"/>
                    </a:cubicBezTo>
                    <a:cubicBezTo>
                      <a:pt x="2541" y="6324"/>
                      <a:pt x="2541" y="6324"/>
                      <a:pt x="2541" y="6324"/>
                    </a:cubicBezTo>
                    <a:cubicBezTo>
                      <a:pt x="2662" y="6034"/>
                      <a:pt x="2662" y="6034"/>
                      <a:pt x="2662" y="6034"/>
                    </a:cubicBezTo>
                    <a:cubicBezTo>
                      <a:pt x="2748" y="6049"/>
                      <a:pt x="2748" y="6049"/>
                      <a:pt x="2748" y="6049"/>
                    </a:cubicBezTo>
                    <a:cubicBezTo>
                      <a:pt x="2703" y="6159"/>
                      <a:pt x="2703" y="6159"/>
                      <a:pt x="2703" y="6159"/>
                    </a:cubicBezTo>
                    <a:cubicBezTo>
                      <a:pt x="2748" y="6175"/>
                      <a:pt x="2748" y="6175"/>
                      <a:pt x="2748" y="6175"/>
                    </a:cubicBezTo>
                    <a:cubicBezTo>
                      <a:pt x="2756" y="6154"/>
                      <a:pt x="2791" y="6099"/>
                      <a:pt x="2899" y="6084"/>
                    </a:cubicBezTo>
                    <a:cubicBezTo>
                      <a:pt x="2853" y="5944"/>
                      <a:pt x="2853" y="5944"/>
                      <a:pt x="2853" y="5944"/>
                    </a:cubicBezTo>
                    <a:cubicBezTo>
                      <a:pt x="2657" y="5894"/>
                      <a:pt x="2657" y="5894"/>
                      <a:pt x="2657" y="5894"/>
                    </a:cubicBezTo>
                    <a:cubicBezTo>
                      <a:pt x="2460" y="6359"/>
                      <a:pt x="2460" y="6359"/>
                      <a:pt x="2460" y="6359"/>
                    </a:cubicBezTo>
                    <a:cubicBezTo>
                      <a:pt x="2666" y="6433"/>
                      <a:pt x="2666" y="6433"/>
                      <a:pt x="2666" y="6433"/>
                    </a:cubicBezTo>
                    <a:lnTo>
                      <a:pt x="2701" y="6290"/>
                    </a:lnTo>
                    <a:close/>
                    <a:moveTo>
                      <a:pt x="2199" y="3622"/>
                    </a:moveTo>
                    <a:cubicBezTo>
                      <a:pt x="2309" y="3619"/>
                      <a:pt x="2309" y="3619"/>
                      <a:pt x="2309" y="3619"/>
                    </a:cubicBezTo>
                    <a:cubicBezTo>
                      <a:pt x="2309" y="3619"/>
                      <a:pt x="2309" y="3619"/>
                      <a:pt x="2309" y="3619"/>
                    </a:cubicBezTo>
                    <a:cubicBezTo>
                      <a:pt x="2309" y="3619"/>
                      <a:pt x="2309" y="3619"/>
                      <a:pt x="2309" y="3619"/>
                    </a:cubicBezTo>
                    <a:cubicBezTo>
                      <a:pt x="2311" y="3619"/>
                      <a:pt x="2311" y="3619"/>
                      <a:pt x="2311" y="3619"/>
                    </a:cubicBezTo>
                    <a:cubicBezTo>
                      <a:pt x="2478" y="3626"/>
                      <a:pt x="2478" y="3626"/>
                      <a:pt x="2478" y="3626"/>
                    </a:cubicBezTo>
                    <a:cubicBezTo>
                      <a:pt x="2391" y="3797"/>
                      <a:pt x="2391" y="3797"/>
                      <a:pt x="2391" y="3797"/>
                    </a:cubicBezTo>
                    <a:cubicBezTo>
                      <a:pt x="2210" y="3798"/>
                      <a:pt x="2210" y="3798"/>
                      <a:pt x="2210" y="3798"/>
                    </a:cubicBezTo>
                    <a:cubicBezTo>
                      <a:pt x="2210" y="3798"/>
                      <a:pt x="2210" y="3798"/>
                      <a:pt x="2210" y="3798"/>
                    </a:cubicBezTo>
                    <a:cubicBezTo>
                      <a:pt x="2202" y="3798"/>
                      <a:pt x="2202" y="3798"/>
                      <a:pt x="2202" y="3798"/>
                    </a:cubicBezTo>
                    <a:cubicBezTo>
                      <a:pt x="2202" y="3798"/>
                      <a:pt x="2202" y="3798"/>
                      <a:pt x="2202" y="3798"/>
                    </a:cubicBezTo>
                    <a:cubicBezTo>
                      <a:pt x="2095" y="3798"/>
                      <a:pt x="2095" y="3798"/>
                      <a:pt x="2095" y="3798"/>
                    </a:cubicBezTo>
                    <a:cubicBezTo>
                      <a:pt x="2044" y="3635"/>
                      <a:pt x="2044" y="3635"/>
                      <a:pt x="2044" y="3635"/>
                    </a:cubicBezTo>
                    <a:cubicBezTo>
                      <a:pt x="2193" y="3623"/>
                      <a:pt x="2193" y="3623"/>
                      <a:pt x="2193" y="3623"/>
                    </a:cubicBezTo>
                    <a:cubicBezTo>
                      <a:pt x="2196" y="3622"/>
                      <a:pt x="2196" y="3622"/>
                      <a:pt x="2196" y="3622"/>
                    </a:cubicBezTo>
                    <a:cubicBezTo>
                      <a:pt x="2199" y="3622"/>
                      <a:pt x="2199" y="3622"/>
                      <a:pt x="2199" y="3622"/>
                    </a:cubicBezTo>
                    <a:cubicBezTo>
                      <a:pt x="2199" y="3622"/>
                      <a:pt x="2199" y="3622"/>
                      <a:pt x="2199" y="3622"/>
                    </a:cubicBezTo>
                    <a:close/>
                    <a:moveTo>
                      <a:pt x="2201" y="3784"/>
                    </a:moveTo>
                    <a:cubicBezTo>
                      <a:pt x="2200" y="3767"/>
                      <a:pt x="2199" y="3740"/>
                      <a:pt x="2197" y="3712"/>
                    </a:cubicBezTo>
                    <a:cubicBezTo>
                      <a:pt x="2196" y="3690"/>
                      <a:pt x="2194" y="3668"/>
                      <a:pt x="2193" y="3652"/>
                    </a:cubicBezTo>
                    <a:cubicBezTo>
                      <a:pt x="2192" y="3648"/>
                      <a:pt x="2192" y="3644"/>
                      <a:pt x="2192" y="3637"/>
                    </a:cubicBezTo>
                    <a:cubicBezTo>
                      <a:pt x="2062" y="3647"/>
                      <a:pt x="2062" y="3647"/>
                      <a:pt x="2062" y="3647"/>
                    </a:cubicBezTo>
                    <a:cubicBezTo>
                      <a:pt x="2105" y="3784"/>
                      <a:pt x="2105" y="3784"/>
                      <a:pt x="2105" y="3784"/>
                    </a:cubicBezTo>
                    <a:lnTo>
                      <a:pt x="2201" y="3784"/>
                    </a:lnTo>
                    <a:close/>
                    <a:moveTo>
                      <a:pt x="2308" y="3783"/>
                    </a:moveTo>
                    <a:cubicBezTo>
                      <a:pt x="2383" y="3783"/>
                      <a:pt x="2383" y="3783"/>
                      <a:pt x="2383" y="3783"/>
                    </a:cubicBezTo>
                    <a:cubicBezTo>
                      <a:pt x="2456" y="3639"/>
                      <a:pt x="2456" y="3639"/>
                      <a:pt x="2456" y="3639"/>
                    </a:cubicBezTo>
                    <a:cubicBezTo>
                      <a:pt x="2317" y="3633"/>
                      <a:pt x="2317" y="3633"/>
                      <a:pt x="2317" y="3633"/>
                    </a:cubicBezTo>
                    <a:lnTo>
                      <a:pt x="2308" y="3783"/>
                    </a:lnTo>
                    <a:close/>
                    <a:moveTo>
                      <a:pt x="2200" y="3636"/>
                    </a:moveTo>
                    <a:cubicBezTo>
                      <a:pt x="2204" y="3681"/>
                      <a:pt x="2208" y="3753"/>
                      <a:pt x="2209" y="3784"/>
                    </a:cubicBezTo>
                    <a:cubicBezTo>
                      <a:pt x="2300" y="3783"/>
                      <a:pt x="2300" y="3783"/>
                      <a:pt x="2300" y="3783"/>
                    </a:cubicBezTo>
                    <a:cubicBezTo>
                      <a:pt x="2309" y="3633"/>
                      <a:pt x="2309" y="3633"/>
                      <a:pt x="2309" y="3633"/>
                    </a:cubicBezTo>
                    <a:cubicBezTo>
                      <a:pt x="2308" y="3633"/>
                      <a:pt x="2308" y="3633"/>
                      <a:pt x="2308" y="3633"/>
                    </a:cubicBezTo>
                    <a:lnTo>
                      <a:pt x="2200" y="3636"/>
                    </a:lnTo>
                    <a:close/>
                    <a:moveTo>
                      <a:pt x="5296" y="5278"/>
                    </a:moveTo>
                    <a:cubicBezTo>
                      <a:pt x="5196" y="5394"/>
                      <a:pt x="5196" y="5394"/>
                      <a:pt x="5196" y="5394"/>
                    </a:cubicBezTo>
                    <a:cubicBezTo>
                      <a:pt x="5260" y="5433"/>
                      <a:pt x="5260" y="5433"/>
                      <a:pt x="5260" y="5433"/>
                    </a:cubicBezTo>
                    <a:cubicBezTo>
                      <a:pt x="5269" y="5666"/>
                      <a:pt x="5269" y="5666"/>
                      <a:pt x="5269" y="5666"/>
                    </a:cubicBezTo>
                    <a:cubicBezTo>
                      <a:pt x="5261" y="5666"/>
                      <a:pt x="5261" y="5666"/>
                      <a:pt x="5261" y="5666"/>
                    </a:cubicBezTo>
                    <a:cubicBezTo>
                      <a:pt x="5005" y="5640"/>
                      <a:pt x="5005" y="5640"/>
                      <a:pt x="5005" y="5640"/>
                    </a:cubicBezTo>
                    <a:cubicBezTo>
                      <a:pt x="4962" y="5603"/>
                      <a:pt x="4962" y="5603"/>
                      <a:pt x="4962" y="5603"/>
                    </a:cubicBezTo>
                    <a:cubicBezTo>
                      <a:pt x="4968" y="5598"/>
                      <a:pt x="4968" y="5598"/>
                      <a:pt x="4968" y="5598"/>
                    </a:cubicBezTo>
                    <a:cubicBezTo>
                      <a:pt x="4968" y="5598"/>
                      <a:pt x="4990" y="5575"/>
                      <a:pt x="5012" y="5538"/>
                    </a:cubicBezTo>
                    <a:cubicBezTo>
                      <a:pt x="5035" y="5500"/>
                      <a:pt x="5057" y="5447"/>
                      <a:pt x="5057" y="5387"/>
                    </a:cubicBezTo>
                    <a:cubicBezTo>
                      <a:pt x="5057" y="5376"/>
                      <a:pt x="5056" y="5366"/>
                      <a:pt x="5055" y="5355"/>
                    </a:cubicBezTo>
                    <a:cubicBezTo>
                      <a:pt x="5046" y="5285"/>
                      <a:pt x="5027" y="5235"/>
                      <a:pt x="5010" y="5203"/>
                    </a:cubicBezTo>
                    <a:cubicBezTo>
                      <a:pt x="4994" y="5171"/>
                      <a:pt x="4980" y="5157"/>
                      <a:pt x="4980" y="5157"/>
                    </a:cubicBezTo>
                    <a:cubicBezTo>
                      <a:pt x="4976" y="5153"/>
                      <a:pt x="4976" y="5153"/>
                      <a:pt x="4976" y="5153"/>
                    </a:cubicBezTo>
                    <a:cubicBezTo>
                      <a:pt x="5048" y="5007"/>
                      <a:pt x="5048" y="5007"/>
                      <a:pt x="5048" y="5007"/>
                    </a:cubicBezTo>
                    <a:cubicBezTo>
                      <a:pt x="5351" y="5026"/>
                      <a:pt x="5351" y="5026"/>
                      <a:pt x="5351" y="5026"/>
                    </a:cubicBezTo>
                    <a:cubicBezTo>
                      <a:pt x="5323" y="5136"/>
                      <a:pt x="5323" y="5136"/>
                      <a:pt x="5323" y="5136"/>
                    </a:cubicBezTo>
                    <a:cubicBezTo>
                      <a:pt x="5155" y="5127"/>
                      <a:pt x="5155" y="5127"/>
                      <a:pt x="5155" y="5127"/>
                    </a:cubicBezTo>
                    <a:lnTo>
                      <a:pt x="5296" y="5278"/>
                    </a:lnTo>
                    <a:close/>
                    <a:moveTo>
                      <a:pt x="5173" y="5397"/>
                    </a:moveTo>
                    <a:cubicBezTo>
                      <a:pt x="5276" y="5279"/>
                      <a:pt x="5276" y="5279"/>
                      <a:pt x="5276" y="5279"/>
                    </a:cubicBezTo>
                    <a:cubicBezTo>
                      <a:pt x="5119" y="5111"/>
                      <a:pt x="5119" y="5111"/>
                      <a:pt x="5119" y="5111"/>
                    </a:cubicBezTo>
                    <a:cubicBezTo>
                      <a:pt x="5312" y="5121"/>
                      <a:pt x="5312" y="5121"/>
                      <a:pt x="5312" y="5121"/>
                    </a:cubicBezTo>
                    <a:cubicBezTo>
                      <a:pt x="5333" y="5040"/>
                      <a:pt x="5333" y="5040"/>
                      <a:pt x="5333" y="5040"/>
                    </a:cubicBezTo>
                    <a:cubicBezTo>
                      <a:pt x="5057" y="5022"/>
                      <a:pt x="5057" y="5022"/>
                      <a:pt x="5057" y="5022"/>
                    </a:cubicBezTo>
                    <a:cubicBezTo>
                      <a:pt x="4994" y="5151"/>
                      <a:pt x="4994" y="5151"/>
                      <a:pt x="4994" y="5151"/>
                    </a:cubicBezTo>
                    <a:cubicBezTo>
                      <a:pt x="5007" y="5167"/>
                      <a:pt x="5053" y="5230"/>
                      <a:pt x="5070" y="5353"/>
                    </a:cubicBezTo>
                    <a:cubicBezTo>
                      <a:pt x="5071" y="5364"/>
                      <a:pt x="5072" y="5376"/>
                      <a:pt x="5072" y="5387"/>
                    </a:cubicBezTo>
                    <a:cubicBezTo>
                      <a:pt x="5072" y="5497"/>
                      <a:pt x="5004" y="5580"/>
                      <a:pt x="4984" y="5602"/>
                    </a:cubicBezTo>
                    <a:cubicBezTo>
                      <a:pt x="5011" y="5625"/>
                      <a:pt x="5011" y="5625"/>
                      <a:pt x="5011" y="5625"/>
                    </a:cubicBezTo>
                    <a:cubicBezTo>
                      <a:pt x="5254" y="5650"/>
                      <a:pt x="5254" y="5650"/>
                      <a:pt x="5254" y="5650"/>
                    </a:cubicBezTo>
                    <a:cubicBezTo>
                      <a:pt x="5246" y="5442"/>
                      <a:pt x="5246" y="5442"/>
                      <a:pt x="5246" y="5442"/>
                    </a:cubicBezTo>
                    <a:lnTo>
                      <a:pt x="5173" y="5397"/>
                    </a:lnTo>
                    <a:close/>
                    <a:moveTo>
                      <a:pt x="1695" y="4741"/>
                    </a:moveTo>
                    <a:cubicBezTo>
                      <a:pt x="1734" y="4782"/>
                      <a:pt x="1803" y="4797"/>
                      <a:pt x="1803" y="4797"/>
                    </a:cubicBezTo>
                    <a:cubicBezTo>
                      <a:pt x="1764" y="4946"/>
                      <a:pt x="1764" y="4946"/>
                      <a:pt x="1764" y="4946"/>
                    </a:cubicBezTo>
                    <a:cubicBezTo>
                      <a:pt x="1764" y="4946"/>
                      <a:pt x="1609" y="4896"/>
                      <a:pt x="1550" y="4858"/>
                    </a:cubicBezTo>
                    <a:cubicBezTo>
                      <a:pt x="1491" y="4820"/>
                      <a:pt x="1451" y="4682"/>
                      <a:pt x="1451" y="4682"/>
                    </a:cubicBezTo>
                    <a:cubicBezTo>
                      <a:pt x="1639" y="4656"/>
                      <a:pt x="1639" y="4656"/>
                      <a:pt x="1639" y="4656"/>
                    </a:cubicBezTo>
                    <a:cubicBezTo>
                      <a:pt x="1639" y="4656"/>
                      <a:pt x="1655" y="4700"/>
                      <a:pt x="1695" y="4741"/>
                    </a:cubicBezTo>
                    <a:close/>
                    <a:moveTo>
                      <a:pt x="1786" y="4807"/>
                    </a:moveTo>
                    <a:cubicBezTo>
                      <a:pt x="1763" y="4800"/>
                      <a:pt x="1716" y="4783"/>
                      <a:pt x="1685" y="4750"/>
                    </a:cubicBezTo>
                    <a:cubicBezTo>
                      <a:pt x="1655" y="4719"/>
                      <a:pt x="1638" y="4687"/>
                      <a:pt x="1630" y="4671"/>
                    </a:cubicBezTo>
                    <a:cubicBezTo>
                      <a:pt x="1470" y="4693"/>
                      <a:pt x="1470" y="4693"/>
                      <a:pt x="1470" y="4693"/>
                    </a:cubicBezTo>
                    <a:cubicBezTo>
                      <a:pt x="1482" y="4730"/>
                      <a:pt x="1515" y="4819"/>
                      <a:pt x="1557" y="4846"/>
                    </a:cubicBezTo>
                    <a:cubicBezTo>
                      <a:pt x="1604" y="4877"/>
                      <a:pt x="1715" y="4915"/>
                      <a:pt x="1755" y="4928"/>
                    </a:cubicBezTo>
                    <a:lnTo>
                      <a:pt x="1786" y="4807"/>
                    </a:lnTo>
                    <a:close/>
                    <a:moveTo>
                      <a:pt x="3095" y="4659"/>
                    </a:moveTo>
                    <a:cubicBezTo>
                      <a:pt x="3355" y="4754"/>
                      <a:pt x="3355" y="4754"/>
                      <a:pt x="3355" y="4754"/>
                    </a:cubicBezTo>
                    <a:cubicBezTo>
                      <a:pt x="3393" y="4869"/>
                      <a:pt x="3393" y="4869"/>
                      <a:pt x="3393" y="4869"/>
                    </a:cubicBezTo>
                    <a:cubicBezTo>
                      <a:pt x="3382" y="4894"/>
                      <a:pt x="3382" y="4894"/>
                      <a:pt x="3382" y="4894"/>
                    </a:cubicBezTo>
                    <a:cubicBezTo>
                      <a:pt x="3244" y="4890"/>
                      <a:pt x="3244" y="4890"/>
                      <a:pt x="3244" y="4890"/>
                    </a:cubicBezTo>
                    <a:cubicBezTo>
                      <a:pt x="3210" y="4844"/>
                      <a:pt x="3210" y="4844"/>
                      <a:pt x="3210" y="4844"/>
                    </a:cubicBezTo>
                    <a:cubicBezTo>
                      <a:pt x="3227" y="4795"/>
                      <a:pt x="3227" y="4795"/>
                      <a:pt x="3227" y="4795"/>
                    </a:cubicBezTo>
                    <a:cubicBezTo>
                      <a:pt x="3065" y="4738"/>
                      <a:pt x="3065" y="4738"/>
                      <a:pt x="3065" y="4738"/>
                    </a:cubicBezTo>
                    <a:lnTo>
                      <a:pt x="3095" y="4659"/>
                    </a:lnTo>
                    <a:close/>
                    <a:moveTo>
                      <a:pt x="3104" y="4676"/>
                    </a:moveTo>
                    <a:cubicBezTo>
                      <a:pt x="3083" y="4729"/>
                      <a:pt x="3083" y="4729"/>
                      <a:pt x="3083" y="4729"/>
                    </a:cubicBezTo>
                    <a:cubicBezTo>
                      <a:pt x="3231" y="4782"/>
                      <a:pt x="3231" y="4782"/>
                      <a:pt x="3231" y="4782"/>
                    </a:cubicBezTo>
                    <a:cubicBezTo>
                      <a:pt x="3244" y="4787"/>
                      <a:pt x="3244" y="4787"/>
                      <a:pt x="3244" y="4787"/>
                    </a:cubicBezTo>
                    <a:cubicBezTo>
                      <a:pt x="3240" y="4800"/>
                      <a:pt x="3240" y="4800"/>
                      <a:pt x="3240" y="4800"/>
                    </a:cubicBezTo>
                    <a:cubicBezTo>
                      <a:pt x="3226" y="4842"/>
                      <a:pt x="3226" y="4842"/>
                      <a:pt x="3226" y="4842"/>
                    </a:cubicBezTo>
                    <a:cubicBezTo>
                      <a:pt x="3251" y="4876"/>
                      <a:pt x="3251" y="4876"/>
                      <a:pt x="3251" y="4876"/>
                    </a:cubicBezTo>
                    <a:cubicBezTo>
                      <a:pt x="3373" y="4879"/>
                      <a:pt x="3373" y="4879"/>
                      <a:pt x="3373" y="4879"/>
                    </a:cubicBezTo>
                    <a:cubicBezTo>
                      <a:pt x="3378" y="4868"/>
                      <a:pt x="3378" y="4868"/>
                      <a:pt x="3378" y="4868"/>
                    </a:cubicBezTo>
                    <a:cubicBezTo>
                      <a:pt x="3344" y="4765"/>
                      <a:pt x="3344" y="4765"/>
                      <a:pt x="3344" y="4765"/>
                    </a:cubicBezTo>
                    <a:lnTo>
                      <a:pt x="3104" y="4676"/>
                    </a:lnTo>
                    <a:close/>
                    <a:moveTo>
                      <a:pt x="4026" y="5783"/>
                    </a:moveTo>
                    <a:cubicBezTo>
                      <a:pt x="4011" y="5799"/>
                      <a:pt x="4013" y="5852"/>
                      <a:pt x="4009" y="5867"/>
                    </a:cubicBezTo>
                    <a:cubicBezTo>
                      <a:pt x="4007" y="5877"/>
                      <a:pt x="3999" y="5882"/>
                      <a:pt x="3990" y="5882"/>
                    </a:cubicBezTo>
                    <a:cubicBezTo>
                      <a:pt x="3990" y="5882"/>
                      <a:pt x="3990" y="5882"/>
                      <a:pt x="3989" y="5882"/>
                    </a:cubicBezTo>
                    <a:cubicBezTo>
                      <a:pt x="3984" y="5882"/>
                      <a:pt x="3977" y="5881"/>
                      <a:pt x="3970" y="5880"/>
                    </a:cubicBezTo>
                    <a:cubicBezTo>
                      <a:pt x="3950" y="5874"/>
                      <a:pt x="3939" y="5831"/>
                      <a:pt x="3938" y="5800"/>
                    </a:cubicBezTo>
                    <a:cubicBezTo>
                      <a:pt x="3938" y="5796"/>
                      <a:pt x="3939" y="5791"/>
                      <a:pt x="3939" y="5787"/>
                    </a:cubicBezTo>
                    <a:cubicBezTo>
                      <a:pt x="3930" y="5788"/>
                      <a:pt x="3902" y="5801"/>
                      <a:pt x="3889" y="5809"/>
                    </a:cubicBezTo>
                    <a:cubicBezTo>
                      <a:pt x="3880" y="5815"/>
                      <a:pt x="3870" y="5820"/>
                      <a:pt x="3859" y="5820"/>
                    </a:cubicBezTo>
                    <a:cubicBezTo>
                      <a:pt x="3850" y="5820"/>
                      <a:pt x="3840" y="5817"/>
                      <a:pt x="3831" y="5809"/>
                    </a:cubicBezTo>
                    <a:cubicBezTo>
                      <a:pt x="3823" y="5803"/>
                      <a:pt x="3820" y="5796"/>
                      <a:pt x="3820" y="5788"/>
                    </a:cubicBezTo>
                    <a:cubicBezTo>
                      <a:pt x="3820" y="5770"/>
                      <a:pt x="3835" y="5752"/>
                      <a:pt x="3852" y="5743"/>
                    </a:cubicBezTo>
                    <a:cubicBezTo>
                      <a:pt x="3876" y="5731"/>
                      <a:pt x="3911" y="5729"/>
                      <a:pt x="3940" y="5726"/>
                    </a:cubicBezTo>
                    <a:cubicBezTo>
                      <a:pt x="3970" y="5724"/>
                      <a:pt x="4012" y="5715"/>
                      <a:pt x="4020" y="5695"/>
                    </a:cubicBezTo>
                    <a:cubicBezTo>
                      <a:pt x="4020" y="5694"/>
                      <a:pt x="4020" y="5694"/>
                      <a:pt x="4020" y="5694"/>
                    </a:cubicBezTo>
                    <a:cubicBezTo>
                      <a:pt x="4020" y="5694"/>
                      <a:pt x="4020" y="5692"/>
                      <a:pt x="4016" y="5690"/>
                    </a:cubicBezTo>
                    <a:cubicBezTo>
                      <a:pt x="3987" y="5674"/>
                      <a:pt x="3864" y="5666"/>
                      <a:pt x="3841" y="5662"/>
                    </a:cubicBezTo>
                    <a:cubicBezTo>
                      <a:pt x="3817" y="5657"/>
                      <a:pt x="3804" y="5640"/>
                      <a:pt x="3804" y="5626"/>
                    </a:cubicBezTo>
                    <a:cubicBezTo>
                      <a:pt x="3804" y="5622"/>
                      <a:pt x="3804" y="5619"/>
                      <a:pt x="3806" y="5616"/>
                    </a:cubicBezTo>
                    <a:cubicBezTo>
                      <a:pt x="3809" y="5612"/>
                      <a:pt x="3814" y="5610"/>
                      <a:pt x="3818" y="5610"/>
                    </a:cubicBezTo>
                    <a:cubicBezTo>
                      <a:pt x="3829" y="5611"/>
                      <a:pt x="3844" y="5619"/>
                      <a:pt x="3848" y="5621"/>
                    </a:cubicBezTo>
                    <a:cubicBezTo>
                      <a:pt x="3862" y="5620"/>
                      <a:pt x="4007" y="5615"/>
                      <a:pt x="4065" y="5615"/>
                    </a:cubicBezTo>
                    <a:cubicBezTo>
                      <a:pt x="4071" y="5615"/>
                      <a:pt x="4077" y="5615"/>
                      <a:pt x="4081" y="5616"/>
                    </a:cubicBezTo>
                    <a:cubicBezTo>
                      <a:pt x="4124" y="5617"/>
                      <a:pt x="4150" y="5636"/>
                      <a:pt x="4150" y="5636"/>
                    </a:cubicBezTo>
                    <a:cubicBezTo>
                      <a:pt x="4148" y="5640"/>
                      <a:pt x="4148" y="5640"/>
                      <a:pt x="4148" y="5640"/>
                    </a:cubicBezTo>
                    <a:cubicBezTo>
                      <a:pt x="4151" y="5637"/>
                      <a:pt x="4151" y="5637"/>
                      <a:pt x="4151" y="5637"/>
                    </a:cubicBezTo>
                    <a:cubicBezTo>
                      <a:pt x="4155" y="5642"/>
                      <a:pt x="4156" y="5648"/>
                      <a:pt x="4156" y="5654"/>
                    </a:cubicBezTo>
                    <a:cubicBezTo>
                      <a:pt x="4156" y="5672"/>
                      <a:pt x="4146" y="5693"/>
                      <a:pt x="4142" y="5700"/>
                    </a:cubicBezTo>
                    <a:cubicBezTo>
                      <a:pt x="4137" y="5705"/>
                      <a:pt x="4114" y="5720"/>
                      <a:pt x="4088" y="5738"/>
                    </a:cubicBezTo>
                    <a:cubicBezTo>
                      <a:pt x="4062" y="5756"/>
                      <a:pt x="4034" y="5775"/>
                      <a:pt x="4026" y="5783"/>
                    </a:cubicBezTo>
                    <a:close/>
                    <a:moveTo>
                      <a:pt x="4020" y="5778"/>
                    </a:moveTo>
                    <a:cubicBezTo>
                      <a:pt x="4030" y="5768"/>
                      <a:pt x="4057" y="5749"/>
                      <a:pt x="4083" y="5731"/>
                    </a:cubicBezTo>
                    <a:cubicBezTo>
                      <a:pt x="4109" y="5714"/>
                      <a:pt x="4134" y="5697"/>
                      <a:pt x="4135" y="5695"/>
                    </a:cubicBezTo>
                    <a:cubicBezTo>
                      <a:pt x="4138" y="5691"/>
                      <a:pt x="4148" y="5669"/>
                      <a:pt x="4148" y="5654"/>
                    </a:cubicBezTo>
                    <a:cubicBezTo>
                      <a:pt x="4148" y="5649"/>
                      <a:pt x="4147" y="5645"/>
                      <a:pt x="4145" y="5643"/>
                    </a:cubicBezTo>
                    <a:cubicBezTo>
                      <a:pt x="4142" y="5641"/>
                      <a:pt x="4119" y="5625"/>
                      <a:pt x="4081" y="5624"/>
                    </a:cubicBezTo>
                    <a:cubicBezTo>
                      <a:pt x="4077" y="5624"/>
                      <a:pt x="4071" y="5624"/>
                      <a:pt x="4065" y="5624"/>
                    </a:cubicBezTo>
                    <a:cubicBezTo>
                      <a:pt x="4004" y="5624"/>
                      <a:pt x="3847" y="5629"/>
                      <a:pt x="3847" y="5629"/>
                    </a:cubicBezTo>
                    <a:cubicBezTo>
                      <a:pt x="3846" y="5629"/>
                      <a:pt x="3846" y="5629"/>
                      <a:pt x="3846" y="5629"/>
                    </a:cubicBezTo>
                    <a:cubicBezTo>
                      <a:pt x="3845" y="5629"/>
                      <a:pt x="3845" y="5629"/>
                      <a:pt x="3845" y="5629"/>
                    </a:cubicBezTo>
                    <a:cubicBezTo>
                      <a:pt x="3845" y="5628"/>
                      <a:pt x="3827" y="5618"/>
                      <a:pt x="3818" y="5619"/>
                    </a:cubicBezTo>
                    <a:cubicBezTo>
                      <a:pt x="3815" y="5619"/>
                      <a:pt x="3814" y="5619"/>
                      <a:pt x="3813" y="5620"/>
                    </a:cubicBezTo>
                    <a:cubicBezTo>
                      <a:pt x="3812" y="5622"/>
                      <a:pt x="3812" y="5624"/>
                      <a:pt x="3812" y="5626"/>
                    </a:cubicBezTo>
                    <a:cubicBezTo>
                      <a:pt x="3812" y="5635"/>
                      <a:pt x="3822" y="5650"/>
                      <a:pt x="3842" y="5654"/>
                    </a:cubicBezTo>
                    <a:cubicBezTo>
                      <a:pt x="3855" y="5656"/>
                      <a:pt x="3901" y="5660"/>
                      <a:pt x="3943" y="5666"/>
                    </a:cubicBezTo>
                    <a:cubicBezTo>
                      <a:pt x="3965" y="5668"/>
                      <a:pt x="3985" y="5672"/>
                      <a:pt x="4000" y="5676"/>
                    </a:cubicBezTo>
                    <a:cubicBezTo>
                      <a:pt x="4016" y="5681"/>
                      <a:pt x="4027" y="5684"/>
                      <a:pt x="4028" y="5694"/>
                    </a:cubicBezTo>
                    <a:cubicBezTo>
                      <a:pt x="4028" y="5695"/>
                      <a:pt x="4028" y="5697"/>
                      <a:pt x="4028" y="5698"/>
                    </a:cubicBezTo>
                    <a:cubicBezTo>
                      <a:pt x="4015" y="5725"/>
                      <a:pt x="3971" y="5731"/>
                      <a:pt x="3941" y="5734"/>
                    </a:cubicBezTo>
                    <a:cubicBezTo>
                      <a:pt x="3912" y="5737"/>
                      <a:pt x="3878" y="5739"/>
                      <a:pt x="3856" y="5751"/>
                    </a:cubicBezTo>
                    <a:cubicBezTo>
                      <a:pt x="3841" y="5758"/>
                      <a:pt x="3828" y="5775"/>
                      <a:pt x="3828" y="5788"/>
                    </a:cubicBezTo>
                    <a:cubicBezTo>
                      <a:pt x="3828" y="5793"/>
                      <a:pt x="3830" y="5798"/>
                      <a:pt x="3836" y="5803"/>
                    </a:cubicBezTo>
                    <a:cubicBezTo>
                      <a:pt x="3844" y="5810"/>
                      <a:pt x="3852" y="5812"/>
                      <a:pt x="3859" y="5812"/>
                    </a:cubicBezTo>
                    <a:cubicBezTo>
                      <a:pt x="3867" y="5812"/>
                      <a:pt x="3876" y="5808"/>
                      <a:pt x="3885" y="5802"/>
                    </a:cubicBezTo>
                    <a:cubicBezTo>
                      <a:pt x="3900" y="5794"/>
                      <a:pt x="3928" y="5779"/>
                      <a:pt x="3941" y="5779"/>
                    </a:cubicBezTo>
                    <a:cubicBezTo>
                      <a:pt x="3943" y="5779"/>
                      <a:pt x="3948" y="5780"/>
                      <a:pt x="3948" y="5785"/>
                    </a:cubicBezTo>
                    <a:cubicBezTo>
                      <a:pt x="3948" y="5786"/>
                      <a:pt x="3948" y="5786"/>
                      <a:pt x="3948" y="5787"/>
                    </a:cubicBezTo>
                    <a:cubicBezTo>
                      <a:pt x="3947" y="5790"/>
                      <a:pt x="3947" y="5795"/>
                      <a:pt x="3947" y="5800"/>
                    </a:cubicBezTo>
                    <a:cubicBezTo>
                      <a:pt x="3946" y="5828"/>
                      <a:pt x="3961" y="5872"/>
                      <a:pt x="3972" y="5872"/>
                    </a:cubicBezTo>
                    <a:cubicBezTo>
                      <a:pt x="3979" y="5873"/>
                      <a:pt x="3985" y="5874"/>
                      <a:pt x="3989" y="5874"/>
                    </a:cubicBezTo>
                    <a:cubicBezTo>
                      <a:pt x="3997" y="5873"/>
                      <a:pt x="3999" y="5873"/>
                      <a:pt x="4001" y="5865"/>
                    </a:cubicBezTo>
                    <a:cubicBezTo>
                      <a:pt x="4005" y="5853"/>
                      <a:pt x="4001" y="5799"/>
                      <a:pt x="4020" y="5778"/>
                    </a:cubicBezTo>
                    <a:close/>
                    <a:moveTo>
                      <a:pt x="5526" y="5939"/>
                    </a:moveTo>
                    <a:cubicBezTo>
                      <a:pt x="5671" y="5965"/>
                      <a:pt x="5671" y="5965"/>
                      <a:pt x="5671" y="5965"/>
                    </a:cubicBezTo>
                    <a:cubicBezTo>
                      <a:pt x="5653" y="6068"/>
                      <a:pt x="5653" y="6068"/>
                      <a:pt x="5653" y="6068"/>
                    </a:cubicBezTo>
                    <a:cubicBezTo>
                      <a:pt x="5507" y="6042"/>
                      <a:pt x="5507" y="6042"/>
                      <a:pt x="5507" y="6042"/>
                    </a:cubicBezTo>
                    <a:cubicBezTo>
                      <a:pt x="5508" y="6035"/>
                      <a:pt x="5508" y="6035"/>
                      <a:pt x="5508" y="6035"/>
                    </a:cubicBezTo>
                    <a:lnTo>
                      <a:pt x="5526" y="5939"/>
                    </a:lnTo>
                    <a:close/>
                    <a:moveTo>
                      <a:pt x="5536" y="5954"/>
                    </a:moveTo>
                    <a:cubicBezTo>
                      <a:pt x="5522" y="6031"/>
                      <a:pt x="5522" y="6031"/>
                      <a:pt x="5522" y="6031"/>
                    </a:cubicBezTo>
                    <a:cubicBezTo>
                      <a:pt x="5642" y="6053"/>
                      <a:pt x="5642" y="6053"/>
                      <a:pt x="5642" y="6053"/>
                    </a:cubicBezTo>
                    <a:cubicBezTo>
                      <a:pt x="5656" y="5976"/>
                      <a:pt x="5656" y="5976"/>
                      <a:pt x="5656" y="5976"/>
                    </a:cubicBezTo>
                    <a:lnTo>
                      <a:pt x="5536" y="5954"/>
                    </a:lnTo>
                    <a:close/>
                    <a:moveTo>
                      <a:pt x="5511" y="5788"/>
                    </a:moveTo>
                    <a:cubicBezTo>
                      <a:pt x="5657" y="5815"/>
                      <a:pt x="5657" y="5815"/>
                      <a:pt x="5657" y="5815"/>
                    </a:cubicBezTo>
                    <a:cubicBezTo>
                      <a:pt x="5638" y="5917"/>
                      <a:pt x="5638" y="5917"/>
                      <a:pt x="5638" y="5917"/>
                    </a:cubicBezTo>
                    <a:cubicBezTo>
                      <a:pt x="5492" y="5891"/>
                      <a:pt x="5492" y="5891"/>
                      <a:pt x="5492" y="5891"/>
                    </a:cubicBezTo>
                    <a:cubicBezTo>
                      <a:pt x="5494" y="5885"/>
                      <a:pt x="5494" y="5885"/>
                      <a:pt x="5494" y="5885"/>
                    </a:cubicBezTo>
                    <a:lnTo>
                      <a:pt x="5511" y="5788"/>
                    </a:lnTo>
                    <a:close/>
                    <a:moveTo>
                      <a:pt x="5522" y="5803"/>
                    </a:moveTo>
                    <a:cubicBezTo>
                      <a:pt x="5508" y="5880"/>
                      <a:pt x="5508" y="5880"/>
                      <a:pt x="5508" y="5880"/>
                    </a:cubicBezTo>
                    <a:cubicBezTo>
                      <a:pt x="5628" y="5902"/>
                      <a:pt x="5628" y="5902"/>
                      <a:pt x="5628" y="5902"/>
                    </a:cubicBezTo>
                    <a:cubicBezTo>
                      <a:pt x="5642" y="5825"/>
                      <a:pt x="5642" y="5825"/>
                      <a:pt x="5642" y="5825"/>
                    </a:cubicBezTo>
                    <a:lnTo>
                      <a:pt x="5522" y="5803"/>
                    </a:lnTo>
                    <a:close/>
                    <a:moveTo>
                      <a:pt x="4107" y="4835"/>
                    </a:moveTo>
                    <a:cubicBezTo>
                      <a:pt x="4136" y="4877"/>
                      <a:pt x="4136" y="4877"/>
                      <a:pt x="4136" y="4877"/>
                    </a:cubicBezTo>
                    <a:cubicBezTo>
                      <a:pt x="3981" y="4971"/>
                      <a:pt x="3981" y="4971"/>
                      <a:pt x="3981" y="4971"/>
                    </a:cubicBezTo>
                    <a:cubicBezTo>
                      <a:pt x="3928" y="4883"/>
                      <a:pt x="3928" y="4883"/>
                      <a:pt x="3928" y="4883"/>
                    </a:cubicBezTo>
                    <a:cubicBezTo>
                      <a:pt x="4012" y="4830"/>
                      <a:pt x="4012" y="4830"/>
                      <a:pt x="4012" y="4830"/>
                    </a:cubicBezTo>
                    <a:cubicBezTo>
                      <a:pt x="3996" y="4802"/>
                      <a:pt x="3996" y="4802"/>
                      <a:pt x="3996" y="4802"/>
                    </a:cubicBezTo>
                    <a:cubicBezTo>
                      <a:pt x="4082" y="4752"/>
                      <a:pt x="4082" y="4752"/>
                      <a:pt x="4082" y="4752"/>
                    </a:cubicBezTo>
                    <a:cubicBezTo>
                      <a:pt x="4125" y="4824"/>
                      <a:pt x="4125" y="4824"/>
                      <a:pt x="4125" y="4824"/>
                    </a:cubicBezTo>
                    <a:lnTo>
                      <a:pt x="4107" y="4835"/>
                    </a:lnTo>
                    <a:close/>
                    <a:moveTo>
                      <a:pt x="4095" y="4842"/>
                    </a:moveTo>
                    <a:cubicBezTo>
                      <a:pt x="4087" y="4830"/>
                      <a:pt x="4087" y="4830"/>
                      <a:pt x="4087" y="4830"/>
                    </a:cubicBezTo>
                    <a:cubicBezTo>
                      <a:pt x="4100" y="4822"/>
                      <a:pt x="4100" y="4822"/>
                      <a:pt x="4100" y="4822"/>
                    </a:cubicBezTo>
                    <a:cubicBezTo>
                      <a:pt x="4106" y="4819"/>
                      <a:pt x="4106" y="4819"/>
                      <a:pt x="4106" y="4819"/>
                    </a:cubicBezTo>
                    <a:cubicBezTo>
                      <a:pt x="4077" y="4771"/>
                      <a:pt x="4077" y="4771"/>
                      <a:pt x="4077" y="4771"/>
                    </a:cubicBezTo>
                    <a:cubicBezTo>
                      <a:pt x="4015" y="4807"/>
                      <a:pt x="4015" y="4807"/>
                      <a:pt x="4015" y="4807"/>
                    </a:cubicBezTo>
                    <a:cubicBezTo>
                      <a:pt x="4024" y="4823"/>
                      <a:pt x="4024" y="4823"/>
                      <a:pt x="4024" y="4823"/>
                    </a:cubicBezTo>
                    <a:cubicBezTo>
                      <a:pt x="4032" y="4834"/>
                      <a:pt x="4032" y="4834"/>
                      <a:pt x="4032" y="4834"/>
                    </a:cubicBezTo>
                    <a:cubicBezTo>
                      <a:pt x="4020" y="4842"/>
                      <a:pt x="4020" y="4842"/>
                      <a:pt x="4020" y="4842"/>
                    </a:cubicBezTo>
                    <a:cubicBezTo>
                      <a:pt x="3947" y="4887"/>
                      <a:pt x="3947" y="4887"/>
                      <a:pt x="3947" y="4887"/>
                    </a:cubicBezTo>
                    <a:cubicBezTo>
                      <a:pt x="3986" y="4952"/>
                      <a:pt x="3986" y="4952"/>
                      <a:pt x="3986" y="4952"/>
                    </a:cubicBezTo>
                    <a:cubicBezTo>
                      <a:pt x="4116" y="4872"/>
                      <a:pt x="4116" y="4872"/>
                      <a:pt x="4116" y="4872"/>
                    </a:cubicBezTo>
                    <a:lnTo>
                      <a:pt x="4095" y="4842"/>
                    </a:lnTo>
                    <a:close/>
                    <a:moveTo>
                      <a:pt x="5012" y="6702"/>
                    </a:moveTo>
                    <a:cubicBezTo>
                      <a:pt x="5009" y="6642"/>
                      <a:pt x="5009" y="6642"/>
                      <a:pt x="5009" y="6642"/>
                    </a:cubicBezTo>
                    <a:cubicBezTo>
                      <a:pt x="5071" y="6285"/>
                      <a:pt x="5071" y="6285"/>
                      <a:pt x="5071" y="6285"/>
                    </a:cubicBezTo>
                    <a:cubicBezTo>
                      <a:pt x="5263" y="6195"/>
                      <a:pt x="5263" y="6195"/>
                      <a:pt x="5263" y="6195"/>
                    </a:cubicBezTo>
                    <a:cubicBezTo>
                      <a:pt x="5328" y="6214"/>
                      <a:pt x="5328" y="6214"/>
                      <a:pt x="5328" y="6214"/>
                    </a:cubicBezTo>
                    <a:cubicBezTo>
                      <a:pt x="5288" y="6386"/>
                      <a:pt x="5288" y="6386"/>
                      <a:pt x="5288" y="6386"/>
                    </a:cubicBezTo>
                    <a:cubicBezTo>
                      <a:pt x="5252" y="6282"/>
                      <a:pt x="5252" y="6282"/>
                      <a:pt x="5252" y="6282"/>
                    </a:cubicBezTo>
                    <a:cubicBezTo>
                      <a:pt x="5180" y="6340"/>
                      <a:pt x="5180" y="6340"/>
                      <a:pt x="5180" y="6340"/>
                    </a:cubicBezTo>
                    <a:cubicBezTo>
                      <a:pt x="5174" y="6408"/>
                      <a:pt x="5174" y="6408"/>
                      <a:pt x="5174" y="6408"/>
                    </a:cubicBezTo>
                    <a:cubicBezTo>
                      <a:pt x="5243" y="6438"/>
                      <a:pt x="5243" y="6438"/>
                      <a:pt x="5243" y="6438"/>
                    </a:cubicBezTo>
                    <a:cubicBezTo>
                      <a:pt x="5201" y="6517"/>
                      <a:pt x="5201" y="6517"/>
                      <a:pt x="5201" y="6517"/>
                    </a:cubicBezTo>
                    <a:cubicBezTo>
                      <a:pt x="5150" y="6512"/>
                      <a:pt x="5150" y="6512"/>
                      <a:pt x="5150" y="6512"/>
                    </a:cubicBezTo>
                    <a:cubicBezTo>
                      <a:pt x="5129" y="6611"/>
                      <a:pt x="5129" y="6611"/>
                      <a:pt x="5129" y="6611"/>
                    </a:cubicBezTo>
                    <a:lnTo>
                      <a:pt x="5012" y="6702"/>
                    </a:lnTo>
                    <a:close/>
                    <a:moveTo>
                      <a:pt x="5023" y="6643"/>
                    </a:moveTo>
                    <a:cubicBezTo>
                      <a:pt x="5025" y="6675"/>
                      <a:pt x="5025" y="6675"/>
                      <a:pt x="5025" y="6675"/>
                    </a:cubicBezTo>
                    <a:cubicBezTo>
                      <a:pt x="5117" y="6603"/>
                      <a:pt x="5117" y="6603"/>
                      <a:pt x="5117" y="6603"/>
                    </a:cubicBezTo>
                    <a:cubicBezTo>
                      <a:pt x="5136" y="6510"/>
                      <a:pt x="5136" y="6510"/>
                      <a:pt x="5136" y="6510"/>
                    </a:cubicBezTo>
                    <a:cubicBezTo>
                      <a:pt x="5138" y="6497"/>
                      <a:pt x="5138" y="6497"/>
                      <a:pt x="5138" y="6497"/>
                    </a:cubicBezTo>
                    <a:cubicBezTo>
                      <a:pt x="5151" y="6498"/>
                      <a:pt x="5151" y="6498"/>
                      <a:pt x="5151" y="6498"/>
                    </a:cubicBezTo>
                    <a:cubicBezTo>
                      <a:pt x="5193" y="6502"/>
                      <a:pt x="5193" y="6502"/>
                      <a:pt x="5193" y="6502"/>
                    </a:cubicBezTo>
                    <a:cubicBezTo>
                      <a:pt x="5223" y="6445"/>
                      <a:pt x="5223" y="6445"/>
                      <a:pt x="5223" y="6445"/>
                    </a:cubicBezTo>
                    <a:cubicBezTo>
                      <a:pt x="5169" y="6421"/>
                      <a:pt x="5169" y="6421"/>
                      <a:pt x="5169" y="6421"/>
                    </a:cubicBezTo>
                    <a:cubicBezTo>
                      <a:pt x="5160" y="6417"/>
                      <a:pt x="5160" y="6417"/>
                      <a:pt x="5160" y="6417"/>
                    </a:cubicBezTo>
                    <a:cubicBezTo>
                      <a:pt x="5160" y="6407"/>
                      <a:pt x="5160" y="6407"/>
                      <a:pt x="5160" y="6407"/>
                    </a:cubicBezTo>
                    <a:cubicBezTo>
                      <a:pt x="5166" y="6339"/>
                      <a:pt x="5166" y="6339"/>
                      <a:pt x="5166" y="6339"/>
                    </a:cubicBezTo>
                    <a:cubicBezTo>
                      <a:pt x="5167" y="6333"/>
                      <a:pt x="5167" y="6333"/>
                      <a:pt x="5167" y="6333"/>
                    </a:cubicBezTo>
                    <a:cubicBezTo>
                      <a:pt x="5172" y="6329"/>
                      <a:pt x="5172" y="6329"/>
                      <a:pt x="5172" y="6329"/>
                    </a:cubicBezTo>
                    <a:cubicBezTo>
                      <a:pt x="5243" y="6272"/>
                      <a:pt x="5243" y="6272"/>
                      <a:pt x="5243" y="6272"/>
                    </a:cubicBezTo>
                    <a:cubicBezTo>
                      <a:pt x="5258" y="6259"/>
                      <a:pt x="5258" y="6259"/>
                      <a:pt x="5258" y="6259"/>
                    </a:cubicBezTo>
                    <a:cubicBezTo>
                      <a:pt x="5265" y="6278"/>
                      <a:pt x="5265" y="6278"/>
                      <a:pt x="5265" y="6278"/>
                    </a:cubicBezTo>
                    <a:cubicBezTo>
                      <a:pt x="5285" y="6336"/>
                      <a:pt x="5285" y="6336"/>
                      <a:pt x="5285" y="6336"/>
                    </a:cubicBezTo>
                    <a:cubicBezTo>
                      <a:pt x="5311" y="6224"/>
                      <a:pt x="5311" y="6224"/>
                      <a:pt x="5311" y="6224"/>
                    </a:cubicBezTo>
                    <a:cubicBezTo>
                      <a:pt x="5264" y="6209"/>
                      <a:pt x="5264" y="6209"/>
                      <a:pt x="5264" y="6209"/>
                    </a:cubicBezTo>
                    <a:cubicBezTo>
                      <a:pt x="5083" y="6294"/>
                      <a:pt x="5083" y="6294"/>
                      <a:pt x="5083" y="6294"/>
                    </a:cubicBezTo>
                    <a:lnTo>
                      <a:pt x="5023" y="6643"/>
                    </a:lnTo>
                    <a:close/>
                    <a:moveTo>
                      <a:pt x="4964" y="4142"/>
                    </a:moveTo>
                    <a:cubicBezTo>
                      <a:pt x="5044" y="4174"/>
                      <a:pt x="5044" y="4174"/>
                      <a:pt x="5044" y="4174"/>
                    </a:cubicBezTo>
                    <a:cubicBezTo>
                      <a:pt x="5019" y="4238"/>
                      <a:pt x="5019" y="4238"/>
                      <a:pt x="5019" y="4238"/>
                    </a:cubicBezTo>
                    <a:cubicBezTo>
                      <a:pt x="5013" y="4235"/>
                      <a:pt x="5013" y="4235"/>
                      <a:pt x="5013" y="4235"/>
                    </a:cubicBezTo>
                    <a:cubicBezTo>
                      <a:pt x="4939" y="4206"/>
                      <a:pt x="4939" y="4206"/>
                      <a:pt x="4939" y="4206"/>
                    </a:cubicBezTo>
                    <a:lnTo>
                      <a:pt x="4964" y="4142"/>
                    </a:lnTo>
                    <a:close/>
                    <a:moveTo>
                      <a:pt x="4971" y="4159"/>
                    </a:moveTo>
                    <a:cubicBezTo>
                      <a:pt x="4956" y="4198"/>
                      <a:pt x="4956" y="4198"/>
                      <a:pt x="4956" y="4198"/>
                    </a:cubicBezTo>
                    <a:cubicBezTo>
                      <a:pt x="5012" y="4221"/>
                      <a:pt x="5012" y="4221"/>
                      <a:pt x="5012" y="4221"/>
                    </a:cubicBezTo>
                    <a:cubicBezTo>
                      <a:pt x="5027" y="4182"/>
                      <a:pt x="5027" y="4182"/>
                      <a:pt x="5027" y="4182"/>
                    </a:cubicBezTo>
                    <a:lnTo>
                      <a:pt x="4971" y="4159"/>
                    </a:lnTo>
                    <a:close/>
                    <a:moveTo>
                      <a:pt x="3402" y="4016"/>
                    </a:moveTo>
                    <a:cubicBezTo>
                      <a:pt x="3429" y="3968"/>
                      <a:pt x="3429" y="3968"/>
                      <a:pt x="3429" y="3968"/>
                    </a:cubicBezTo>
                    <a:cubicBezTo>
                      <a:pt x="3429" y="3968"/>
                      <a:pt x="3563" y="4036"/>
                      <a:pt x="3565" y="4036"/>
                    </a:cubicBezTo>
                    <a:cubicBezTo>
                      <a:pt x="3567" y="4036"/>
                      <a:pt x="3507" y="4153"/>
                      <a:pt x="3507" y="4153"/>
                    </a:cubicBezTo>
                    <a:cubicBezTo>
                      <a:pt x="3481" y="4139"/>
                      <a:pt x="3481" y="4139"/>
                      <a:pt x="3481" y="4139"/>
                    </a:cubicBezTo>
                    <a:cubicBezTo>
                      <a:pt x="3443" y="4210"/>
                      <a:pt x="3443" y="4210"/>
                      <a:pt x="3443" y="4210"/>
                    </a:cubicBezTo>
                    <a:cubicBezTo>
                      <a:pt x="3197" y="4082"/>
                      <a:pt x="3197" y="4082"/>
                      <a:pt x="3197" y="4082"/>
                    </a:cubicBezTo>
                    <a:cubicBezTo>
                      <a:pt x="3267" y="3947"/>
                      <a:pt x="3267" y="3947"/>
                      <a:pt x="3267" y="3947"/>
                    </a:cubicBezTo>
                    <a:lnTo>
                      <a:pt x="3402" y="4016"/>
                    </a:lnTo>
                    <a:close/>
                    <a:moveTo>
                      <a:pt x="3408" y="4035"/>
                    </a:moveTo>
                    <a:cubicBezTo>
                      <a:pt x="3396" y="4029"/>
                      <a:pt x="3396" y="4029"/>
                      <a:pt x="3396" y="4029"/>
                    </a:cubicBezTo>
                    <a:cubicBezTo>
                      <a:pt x="3273" y="3966"/>
                      <a:pt x="3273" y="3966"/>
                      <a:pt x="3273" y="3966"/>
                    </a:cubicBezTo>
                    <a:cubicBezTo>
                      <a:pt x="3216" y="4076"/>
                      <a:pt x="3216" y="4076"/>
                      <a:pt x="3216" y="4076"/>
                    </a:cubicBezTo>
                    <a:cubicBezTo>
                      <a:pt x="3437" y="4192"/>
                      <a:pt x="3437" y="4192"/>
                      <a:pt x="3437" y="4192"/>
                    </a:cubicBezTo>
                    <a:cubicBezTo>
                      <a:pt x="3468" y="4132"/>
                      <a:pt x="3468" y="4132"/>
                      <a:pt x="3468" y="4132"/>
                    </a:cubicBezTo>
                    <a:cubicBezTo>
                      <a:pt x="3475" y="4120"/>
                      <a:pt x="3475" y="4120"/>
                      <a:pt x="3475" y="4120"/>
                    </a:cubicBezTo>
                    <a:cubicBezTo>
                      <a:pt x="3487" y="4126"/>
                      <a:pt x="3487" y="4126"/>
                      <a:pt x="3487" y="4126"/>
                    </a:cubicBezTo>
                    <a:cubicBezTo>
                      <a:pt x="3501" y="4134"/>
                      <a:pt x="3501" y="4134"/>
                      <a:pt x="3501" y="4134"/>
                    </a:cubicBezTo>
                    <a:cubicBezTo>
                      <a:pt x="3520" y="4098"/>
                      <a:pt x="3538" y="4061"/>
                      <a:pt x="3547" y="4043"/>
                    </a:cubicBezTo>
                    <a:cubicBezTo>
                      <a:pt x="3531" y="4036"/>
                      <a:pt x="3500" y="4020"/>
                      <a:pt x="3435" y="3986"/>
                    </a:cubicBezTo>
                    <a:cubicBezTo>
                      <a:pt x="3414" y="4023"/>
                      <a:pt x="3414" y="4023"/>
                      <a:pt x="3414" y="4023"/>
                    </a:cubicBezTo>
                    <a:lnTo>
                      <a:pt x="3408" y="4035"/>
                    </a:lnTo>
                    <a:close/>
                    <a:moveTo>
                      <a:pt x="5627" y="6356"/>
                    </a:moveTo>
                    <a:cubicBezTo>
                      <a:pt x="5481" y="6330"/>
                      <a:pt x="5481" y="6330"/>
                      <a:pt x="5481" y="6330"/>
                    </a:cubicBezTo>
                    <a:cubicBezTo>
                      <a:pt x="5482" y="6324"/>
                      <a:pt x="5482" y="6324"/>
                      <a:pt x="5482" y="6324"/>
                    </a:cubicBezTo>
                    <a:cubicBezTo>
                      <a:pt x="5500" y="6227"/>
                      <a:pt x="5500" y="6227"/>
                      <a:pt x="5500" y="6227"/>
                    </a:cubicBezTo>
                    <a:cubicBezTo>
                      <a:pt x="5645" y="6254"/>
                      <a:pt x="5645" y="6254"/>
                      <a:pt x="5645" y="6254"/>
                    </a:cubicBezTo>
                    <a:lnTo>
                      <a:pt x="5627" y="6356"/>
                    </a:lnTo>
                    <a:close/>
                    <a:moveTo>
                      <a:pt x="5616" y="6341"/>
                    </a:moveTo>
                    <a:cubicBezTo>
                      <a:pt x="5630" y="6264"/>
                      <a:pt x="5630" y="6264"/>
                      <a:pt x="5630" y="6264"/>
                    </a:cubicBezTo>
                    <a:cubicBezTo>
                      <a:pt x="5510" y="6242"/>
                      <a:pt x="5510" y="6242"/>
                      <a:pt x="5510" y="6242"/>
                    </a:cubicBezTo>
                    <a:cubicBezTo>
                      <a:pt x="5496" y="6320"/>
                      <a:pt x="5496" y="6320"/>
                      <a:pt x="5496" y="6320"/>
                    </a:cubicBezTo>
                    <a:lnTo>
                      <a:pt x="5616" y="6341"/>
                    </a:lnTo>
                    <a:close/>
                    <a:moveTo>
                      <a:pt x="3498" y="4257"/>
                    </a:moveTo>
                    <a:cubicBezTo>
                      <a:pt x="3764" y="4306"/>
                      <a:pt x="3764" y="4306"/>
                      <a:pt x="3764" y="4306"/>
                    </a:cubicBezTo>
                    <a:cubicBezTo>
                      <a:pt x="3791" y="4412"/>
                      <a:pt x="3791" y="4412"/>
                      <a:pt x="3791" y="4412"/>
                    </a:cubicBezTo>
                    <a:cubicBezTo>
                      <a:pt x="3791" y="4412"/>
                      <a:pt x="3791" y="4412"/>
                      <a:pt x="3791" y="4412"/>
                    </a:cubicBezTo>
                    <a:cubicBezTo>
                      <a:pt x="3792" y="4416"/>
                      <a:pt x="3792" y="4416"/>
                      <a:pt x="3792" y="4416"/>
                    </a:cubicBezTo>
                    <a:cubicBezTo>
                      <a:pt x="3923" y="4505"/>
                      <a:pt x="3923" y="4505"/>
                      <a:pt x="3923" y="4505"/>
                    </a:cubicBezTo>
                    <a:cubicBezTo>
                      <a:pt x="4038" y="4666"/>
                      <a:pt x="4038" y="4666"/>
                      <a:pt x="4038" y="4666"/>
                    </a:cubicBezTo>
                    <a:cubicBezTo>
                      <a:pt x="3834" y="4731"/>
                      <a:pt x="3834" y="4731"/>
                      <a:pt x="3834" y="4731"/>
                    </a:cubicBezTo>
                    <a:cubicBezTo>
                      <a:pt x="3769" y="4566"/>
                      <a:pt x="3769" y="4566"/>
                      <a:pt x="3769" y="4566"/>
                    </a:cubicBezTo>
                    <a:cubicBezTo>
                      <a:pt x="3582" y="4469"/>
                      <a:pt x="3582" y="4469"/>
                      <a:pt x="3582" y="4469"/>
                    </a:cubicBezTo>
                    <a:cubicBezTo>
                      <a:pt x="3581" y="4469"/>
                      <a:pt x="3580" y="4469"/>
                      <a:pt x="3580" y="4469"/>
                    </a:cubicBezTo>
                    <a:cubicBezTo>
                      <a:pt x="3579" y="4464"/>
                      <a:pt x="3579" y="4464"/>
                      <a:pt x="3579" y="4464"/>
                    </a:cubicBezTo>
                    <a:lnTo>
                      <a:pt x="3498" y="4257"/>
                    </a:lnTo>
                    <a:close/>
                    <a:moveTo>
                      <a:pt x="3909" y="4512"/>
                    </a:moveTo>
                    <a:cubicBezTo>
                      <a:pt x="3783" y="4563"/>
                      <a:pt x="3783" y="4563"/>
                      <a:pt x="3783" y="4563"/>
                    </a:cubicBezTo>
                    <a:cubicBezTo>
                      <a:pt x="3842" y="4714"/>
                      <a:pt x="3842" y="4714"/>
                      <a:pt x="3842" y="4714"/>
                    </a:cubicBezTo>
                    <a:cubicBezTo>
                      <a:pt x="4015" y="4659"/>
                      <a:pt x="4015" y="4659"/>
                      <a:pt x="4015" y="4659"/>
                    </a:cubicBezTo>
                    <a:cubicBezTo>
                      <a:pt x="3913" y="4515"/>
                      <a:pt x="3913" y="4515"/>
                      <a:pt x="3913" y="4515"/>
                    </a:cubicBezTo>
                    <a:lnTo>
                      <a:pt x="3909" y="4512"/>
                    </a:lnTo>
                    <a:close/>
                    <a:moveTo>
                      <a:pt x="3779" y="4423"/>
                    </a:moveTo>
                    <a:cubicBezTo>
                      <a:pt x="3743" y="4432"/>
                      <a:pt x="3647" y="4454"/>
                      <a:pt x="3603" y="4464"/>
                    </a:cubicBezTo>
                    <a:cubicBezTo>
                      <a:pt x="3775" y="4553"/>
                      <a:pt x="3775" y="4553"/>
                      <a:pt x="3775" y="4553"/>
                    </a:cubicBezTo>
                    <a:cubicBezTo>
                      <a:pt x="3779" y="4555"/>
                      <a:pt x="3779" y="4555"/>
                      <a:pt x="3779" y="4555"/>
                    </a:cubicBezTo>
                    <a:cubicBezTo>
                      <a:pt x="3901" y="4506"/>
                      <a:pt x="3901" y="4506"/>
                      <a:pt x="3901" y="4506"/>
                    </a:cubicBezTo>
                    <a:cubicBezTo>
                      <a:pt x="3784" y="4427"/>
                      <a:pt x="3784" y="4427"/>
                      <a:pt x="3784" y="4427"/>
                    </a:cubicBezTo>
                    <a:cubicBezTo>
                      <a:pt x="3779" y="4424"/>
                      <a:pt x="3779" y="4424"/>
                      <a:pt x="3779" y="4424"/>
                    </a:cubicBezTo>
                    <a:lnTo>
                      <a:pt x="3779" y="4423"/>
                    </a:lnTo>
                    <a:close/>
                    <a:moveTo>
                      <a:pt x="3753" y="4318"/>
                    </a:moveTo>
                    <a:cubicBezTo>
                      <a:pt x="3520" y="4275"/>
                      <a:pt x="3520" y="4275"/>
                      <a:pt x="3520" y="4275"/>
                    </a:cubicBezTo>
                    <a:cubicBezTo>
                      <a:pt x="3592" y="4458"/>
                      <a:pt x="3592" y="4458"/>
                      <a:pt x="3592" y="4458"/>
                    </a:cubicBezTo>
                    <a:cubicBezTo>
                      <a:pt x="3630" y="4449"/>
                      <a:pt x="3739" y="4424"/>
                      <a:pt x="3777" y="4415"/>
                    </a:cubicBezTo>
                    <a:lnTo>
                      <a:pt x="3753" y="4318"/>
                    </a:lnTo>
                    <a:close/>
                    <a:moveTo>
                      <a:pt x="3409" y="5067"/>
                    </a:moveTo>
                    <a:cubicBezTo>
                      <a:pt x="3537" y="5474"/>
                      <a:pt x="3537" y="5474"/>
                      <a:pt x="3537" y="5474"/>
                    </a:cubicBezTo>
                    <a:cubicBezTo>
                      <a:pt x="3517" y="5455"/>
                      <a:pt x="3517" y="5455"/>
                      <a:pt x="3517" y="5455"/>
                    </a:cubicBezTo>
                    <a:cubicBezTo>
                      <a:pt x="3431" y="5376"/>
                      <a:pt x="3431" y="5376"/>
                      <a:pt x="3431" y="5376"/>
                    </a:cubicBezTo>
                    <a:cubicBezTo>
                      <a:pt x="3408" y="5323"/>
                      <a:pt x="3408" y="5323"/>
                      <a:pt x="3408" y="5323"/>
                    </a:cubicBezTo>
                    <a:cubicBezTo>
                      <a:pt x="3397" y="5349"/>
                      <a:pt x="3397" y="5349"/>
                      <a:pt x="3397" y="5349"/>
                    </a:cubicBezTo>
                    <a:cubicBezTo>
                      <a:pt x="3289" y="5307"/>
                      <a:pt x="3289" y="5307"/>
                      <a:pt x="3289" y="5307"/>
                    </a:cubicBezTo>
                    <a:lnTo>
                      <a:pt x="3409" y="5067"/>
                    </a:lnTo>
                    <a:close/>
                    <a:moveTo>
                      <a:pt x="3507" y="5426"/>
                    </a:moveTo>
                    <a:cubicBezTo>
                      <a:pt x="3406" y="5106"/>
                      <a:pt x="3406" y="5106"/>
                      <a:pt x="3406" y="5106"/>
                    </a:cubicBezTo>
                    <a:cubicBezTo>
                      <a:pt x="3309" y="5299"/>
                      <a:pt x="3309" y="5299"/>
                      <a:pt x="3309" y="5299"/>
                    </a:cubicBezTo>
                    <a:cubicBezTo>
                      <a:pt x="3389" y="5330"/>
                      <a:pt x="3389" y="5330"/>
                      <a:pt x="3389" y="5330"/>
                    </a:cubicBezTo>
                    <a:cubicBezTo>
                      <a:pt x="3409" y="5287"/>
                      <a:pt x="3409" y="5287"/>
                      <a:pt x="3409" y="5287"/>
                    </a:cubicBezTo>
                    <a:cubicBezTo>
                      <a:pt x="3443" y="5367"/>
                      <a:pt x="3443" y="5367"/>
                      <a:pt x="3443" y="5367"/>
                    </a:cubicBezTo>
                    <a:lnTo>
                      <a:pt x="3507" y="5426"/>
                    </a:lnTo>
                    <a:close/>
                    <a:moveTo>
                      <a:pt x="5766" y="4512"/>
                    </a:moveTo>
                    <a:cubicBezTo>
                      <a:pt x="5836" y="4516"/>
                      <a:pt x="5836" y="4516"/>
                      <a:pt x="5836" y="4516"/>
                    </a:cubicBezTo>
                    <a:cubicBezTo>
                      <a:pt x="5826" y="4668"/>
                      <a:pt x="5826" y="4668"/>
                      <a:pt x="5826" y="4668"/>
                    </a:cubicBezTo>
                    <a:cubicBezTo>
                      <a:pt x="5755" y="4663"/>
                      <a:pt x="5755" y="4663"/>
                      <a:pt x="5755" y="4663"/>
                    </a:cubicBezTo>
                    <a:cubicBezTo>
                      <a:pt x="5756" y="4656"/>
                      <a:pt x="5756" y="4656"/>
                      <a:pt x="5756" y="4656"/>
                    </a:cubicBezTo>
                    <a:lnTo>
                      <a:pt x="5766" y="4512"/>
                    </a:lnTo>
                    <a:close/>
                    <a:moveTo>
                      <a:pt x="5769" y="4651"/>
                    </a:moveTo>
                    <a:cubicBezTo>
                      <a:pt x="5813" y="4654"/>
                      <a:pt x="5813" y="4654"/>
                      <a:pt x="5813" y="4654"/>
                    </a:cubicBezTo>
                    <a:cubicBezTo>
                      <a:pt x="5822" y="4529"/>
                      <a:pt x="5822" y="4529"/>
                      <a:pt x="5822" y="4529"/>
                    </a:cubicBezTo>
                    <a:cubicBezTo>
                      <a:pt x="5778" y="4526"/>
                      <a:pt x="5778" y="4526"/>
                      <a:pt x="5778" y="4526"/>
                    </a:cubicBezTo>
                    <a:lnTo>
                      <a:pt x="5769" y="4651"/>
                    </a:lnTo>
                    <a:close/>
                    <a:moveTo>
                      <a:pt x="5615" y="4749"/>
                    </a:moveTo>
                    <a:cubicBezTo>
                      <a:pt x="5798" y="4778"/>
                      <a:pt x="5798" y="4778"/>
                      <a:pt x="5798" y="4778"/>
                    </a:cubicBezTo>
                    <a:cubicBezTo>
                      <a:pt x="5780" y="4887"/>
                      <a:pt x="5780" y="4887"/>
                      <a:pt x="5780" y="4887"/>
                    </a:cubicBezTo>
                    <a:cubicBezTo>
                      <a:pt x="5708" y="4875"/>
                      <a:pt x="5708" y="4875"/>
                      <a:pt x="5708" y="4875"/>
                    </a:cubicBezTo>
                    <a:cubicBezTo>
                      <a:pt x="5699" y="4932"/>
                      <a:pt x="5699" y="4932"/>
                      <a:pt x="5699" y="4932"/>
                    </a:cubicBezTo>
                    <a:cubicBezTo>
                      <a:pt x="5693" y="4931"/>
                      <a:pt x="5693" y="4931"/>
                      <a:pt x="5693" y="4931"/>
                    </a:cubicBezTo>
                    <a:cubicBezTo>
                      <a:pt x="5577" y="4915"/>
                      <a:pt x="5577" y="4915"/>
                      <a:pt x="5577" y="4915"/>
                    </a:cubicBezTo>
                    <a:cubicBezTo>
                      <a:pt x="5596" y="4799"/>
                      <a:pt x="5596" y="4799"/>
                      <a:pt x="5596" y="4799"/>
                    </a:cubicBezTo>
                    <a:cubicBezTo>
                      <a:pt x="5607" y="4800"/>
                      <a:pt x="5607" y="4800"/>
                      <a:pt x="5607" y="4800"/>
                    </a:cubicBezTo>
                    <a:lnTo>
                      <a:pt x="5615" y="4749"/>
                    </a:lnTo>
                    <a:close/>
                    <a:moveTo>
                      <a:pt x="5617" y="4815"/>
                    </a:moveTo>
                    <a:cubicBezTo>
                      <a:pt x="5607" y="4814"/>
                      <a:pt x="5607" y="4814"/>
                      <a:pt x="5607" y="4814"/>
                    </a:cubicBezTo>
                    <a:cubicBezTo>
                      <a:pt x="5593" y="4904"/>
                      <a:pt x="5593" y="4904"/>
                      <a:pt x="5593" y="4904"/>
                    </a:cubicBezTo>
                    <a:cubicBezTo>
                      <a:pt x="5688" y="4917"/>
                      <a:pt x="5688" y="4917"/>
                      <a:pt x="5688" y="4917"/>
                    </a:cubicBezTo>
                    <a:cubicBezTo>
                      <a:pt x="5697" y="4860"/>
                      <a:pt x="5697" y="4860"/>
                      <a:pt x="5697" y="4860"/>
                    </a:cubicBezTo>
                    <a:cubicBezTo>
                      <a:pt x="5770" y="4872"/>
                      <a:pt x="5770" y="4872"/>
                      <a:pt x="5770" y="4872"/>
                    </a:cubicBezTo>
                    <a:cubicBezTo>
                      <a:pt x="5783" y="4789"/>
                      <a:pt x="5783" y="4789"/>
                      <a:pt x="5783" y="4789"/>
                    </a:cubicBezTo>
                    <a:cubicBezTo>
                      <a:pt x="5626" y="4764"/>
                      <a:pt x="5626" y="4764"/>
                      <a:pt x="5626" y="4764"/>
                    </a:cubicBezTo>
                    <a:lnTo>
                      <a:pt x="5617" y="4815"/>
                    </a:lnTo>
                    <a:close/>
                    <a:moveTo>
                      <a:pt x="5434" y="5613"/>
                    </a:moveTo>
                    <a:cubicBezTo>
                      <a:pt x="5580" y="5639"/>
                      <a:pt x="5580" y="5639"/>
                      <a:pt x="5580" y="5639"/>
                    </a:cubicBezTo>
                    <a:cubicBezTo>
                      <a:pt x="5561" y="5742"/>
                      <a:pt x="5561" y="5742"/>
                      <a:pt x="5561" y="5742"/>
                    </a:cubicBezTo>
                    <a:cubicBezTo>
                      <a:pt x="5415" y="5716"/>
                      <a:pt x="5415" y="5716"/>
                      <a:pt x="5415" y="5716"/>
                    </a:cubicBezTo>
                    <a:cubicBezTo>
                      <a:pt x="5417" y="5709"/>
                      <a:pt x="5417" y="5709"/>
                      <a:pt x="5417" y="5709"/>
                    </a:cubicBezTo>
                    <a:lnTo>
                      <a:pt x="5434" y="5613"/>
                    </a:lnTo>
                    <a:close/>
                    <a:moveTo>
                      <a:pt x="5445" y="5628"/>
                    </a:moveTo>
                    <a:cubicBezTo>
                      <a:pt x="5431" y="5705"/>
                      <a:pt x="5431" y="5705"/>
                      <a:pt x="5431" y="5705"/>
                    </a:cubicBezTo>
                    <a:cubicBezTo>
                      <a:pt x="5551" y="5727"/>
                      <a:pt x="5551" y="5727"/>
                      <a:pt x="5551" y="5727"/>
                    </a:cubicBezTo>
                    <a:cubicBezTo>
                      <a:pt x="5565" y="5650"/>
                      <a:pt x="5565" y="5650"/>
                      <a:pt x="5565" y="5650"/>
                    </a:cubicBezTo>
                    <a:lnTo>
                      <a:pt x="5445" y="5628"/>
                    </a:lnTo>
                    <a:close/>
                    <a:moveTo>
                      <a:pt x="5367" y="3808"/>
                    </a:moveTo>
                    <a:cubicBezTo>
                      <a:pt x="5384" y="3892"/>
                      <a:pt x="5384" y="3892"/>
                      <a:pt x="5384" y="3892"/>
                    </a:cubicBezTo>
                    <a:cubicBezTo>
                      <a:pt x="5177" y="3934"/>
                      <a:pt x="5177" y="3934"/>
                      <a:pt x="5177" y="3934"/>
                    </a:cubicBezTo>
                    <a:cubicBezTo>
                      <a:pt x="5176" y="3927"/>
                      <a:pt x="5176" y="3927"/>
                      <a:pt x="5176" y="3927"/>
                    </a:cubicBezTo>
                    <a:cubicBezTo>
                      <a:pt x="5161" y="3849"/>
                      <a:pt x="5161" y="3849"/>
                      <a:pt x="5161" y="3849"/>
                    </a:cubicBezTo>
                    <a:cubicBezTo>
                      <a:pt x="5207" y="3840"/>
                      <a:pt x="5207" y="3840"/>
                      <a:pt x="5207" y="3840"/>
                    </a:cubicBezTo>
                    <a:cubicBezTo>
                      <a:pt x="5198" y="3798"/>
                      <a:pt x="5198" y="3798"/>
                      <a:pt x="5198" y="3798"/>
                    </a:cubicBezTo>
                    <a:cubicBezTo>
                      <a:pt x="5313" y="3775"/>
                      <a:pt x="5313" y="3775"/>
                      <a:pt x="5313" y="3775"/>
                    </a:cubicBezTo>
                    <a:cubicBezTo>
                      <a:pt x="5321" y="3817"/>
                      <a:pt x="5321" y="3817"/>
                      <a:pt x="5321" y="3817"/>
                    </a:cubicBezTo>
                    <a:lnTo>
                      <a:pt x="5367" y="3808"/>
                    </a:lnTo>
                    <a:close/>
                    <a:moveTo>
                      <a:pt x="5369" y="3882"/>
                    </a:moveTo>
                    <a:cubicBezTo>
                      <a:pt x="5357" y="3823"/>
                      <a:pt x="5357" y="3823"/>
                      <a:pt x="5357" y="3823"/>
                    </a:cubicBezTo>
                    <a:cubicBezTo>
                      <a:pt x="5311" y="3832"/>
                      <a:pt x="5311" y="3832"/>
                      <a:pt x="5311" y="3832"/>
                    </a:cubicBezTo>
                    <a:cubicBezTo>
                      <a:pt x="5302" y="3790"/>
                      <a:pt x="5302" y="3790"/>
                      <a:pt x="5302" y="3790"/>
                    </a:cubicBezTo>
                    <a:cubicBezTo>
                      <a:pt x="5214" y="3808"/>
                      <a:pt x="5214" y="3808"/>
                      <a:pt x="5214" y="3808"/>
                    </a:cubicBezTo>
                    <a:cubicBezTo>
                      <a:pt x="5222" y="3850"/>
                      <a:pt x="5222" y="3850"/>
                      <a:pt x="5222" y="3850"/>
                    </a:cubicBezTo>
                    <a:cubicBezTo>
                      <a:pt x="5176" y="3859"/>
                      <a:pt x="5176" y="3859"/>
                      <a:pt x="5176" y="3859"/>
                    </a:cubicBezTo>
                    <a:cubicBezTo>
                      <a:pt x="5188" y="3918"/>
                      <a:pt x="5188" y="3918"/>
                      <a:pt x="5188" y="3918"/>
                    </a:cubicBezTo>
                    <a:lnTo>
                      <a:pt x="5369" y="3882"/>
                    </a:lnTo>
                    <a:close/>
                    <a:moveTo>
                      <a:pt x="4955" y="6019"/>
                    </a:moveTo>
                    <a:cubicBezTo>
                      <a:pt x="4958" y="6041"/>
                      <a:pt x="4959" y="6064"/>
                      <a:pt x="4959" y="6088"/>
                    </a:cubicBezTo>
                    <a:cubicBezTo>
                      <a:pt x="4959" y="6185"/>
                      <a:pt x="4937" y="6282"/>
                      <a:pt x="4937" y="6282"/>
                    </a:cubicBezTo>
                    <a:cubicBezTo>
                      <a:pt x="4936" y="6287"/>
                      <a:pt x="4936" y="6287"/>
                      <a:pt x="4936" y="6287"/>
                    </a:cubicBezTo>
                    <a:cubicBezTo>
                      <a:pt x="4777" y="6311"/>
                      <a:pt x="4777" y="6311"/>
                      <a:pt x="4777" y="6311"/>
                    </a:cubicBezTo>
                    <a:cubicBezTo>
                      <a:pt x="4634" y="6179"/>
                      <a:pt x="4634" y="6179"/>
                      <a:pt x="4634" y="6179"/>
                    </a:cubicBezTo>
                    <a:cubicBezTo>
                      <a:pt x="4675" y="6065"/>
                      <a:pt x="4675" y="6065"/>
                      <a:pt x="4675" y="6065"/>
                    </a:cubicBezTo>
                    <a:cubicBezTo>
                      <a:pt x="4779" y="6067"/>
                      <a:pt x="4779" y="6067"/>
                      <a:pt x="4779" y="6067"/>
                    </a:cubicBezTo>
                    <a:cubicBezTo>
                      <a:pt x="4782" y="6058"/>
                      <a:pt x="4787" y="6038"/>
                      <a:pt x="4787" y="6016"/>
                    </a:cubicBezTo>
                    <a:cubicBezTo>
                      <a:pt x="4787" y="6011"/>
                      <a:pt x="4786" y="6006"/>
                      <a:pt x="4786" y="6001"/>
                    </a:cubicBezTo>
                    <a:cubicBezTo>
                      <a:pt x="4782" y="5965"/>
                      <a:pt x="4741" y="5879"/>
                      <a:pt x="4741" y="5879"/>
                    </a:cubicBezTo>
                    <a:cubicBezTo>
                      <a:pt x="4738" y="5873"/>
                      <a:pt x="4738" y="5873"/>
                      <a:pt x="4738" y="5873"/>
                    </a:cubicBezTo>
                    <a:cubicBezTo>
                      <a:pt x="4860" y="5769"/>
                      <a:pt x="4860" y="5769"/>
                      <a:pt x="4860" y="5769"/>
                    </a:cubicBezTo>
                    <a:cubicBezTo>
                      <a:pt x="4865" y="5777"/>
                      <a:pt x="4865" y="5777"/>
                      <a:pt x="4865" y="5777"/>
                    </a:cubicBezTo>
                    <a:cubicBezTo>
                      <a:pt x="4865" y="5778"/>
                      <a:pt x="4939" y="5904"/>
                      <a:pt x="4955" y="6019"/>
                    </a:cubicBezTo>
                    <a:close/>
                    <a:moveTo>
                      <a:pt x="4944" y="6088"/>
                    </a:moveTo>
                    <a:cubicBezTo>
                      <a:pt x="4944" y="6065"/>
                      <a:pt x="4943" y="6042"/>
                      <a:pt x="4940" y="6021"/>
                    </a:cubicBezTo>
                    <a:cubicBezTo>
                      <a:pt x="4927" y="5926"/>
                      <a:pt x="4872" y="5821"/>
                      <a:pt x="4856" y="5792"/>
                    </a:cubicBezTo>
                    <a:cubicBezTo>
                      <a:pt x="4756" y="5877"/>
                      <a:pt x="4756" y="5877"/>
                      <a:pt x="4756" y="5877"/>
                    </a:cubicBezTo>
                    <a:cubicBezTo>
                      <a:pt x="4765" y="5896"/>
                      <a:pt x="4796" y="5964"/>
                      <a:pt x="4800" y="5999"/>
                    </a:cubicBezTo>
                    <a:cubicBezTo>
                      <a:pt x="4801" y="6005"/>
                      <a:pt x="4801" y="6010"/>
                      <a:pt x="4801" y="6016"/>
                    </a:cubicBezTo>
                    <a:cubicBezTo>
                      <a:pt x="4801" y="6049"/>
                      <a:pt x="4791" y="6076"/>
                      <a:pt x="4791" y="6077"/>
                    </a:cubicBezTo>
                    <a:cubicBezTo>
                      <a:pt x="4790" y="6082"/>
                      <a:pt x="4790" y="6082"/>
                      <a:pt x="4790" y="6082"/>
                    </a:cubicBezTo>
                    <a:cubicBezTo>
                      <a:pt x="4686" y="6080"/>
                      <a:pt x="4686" y="6080"/>
                      <a:pt x="4686" y="6080"/>
                    </a:cubicBezTo>
                    <a:cubicBezTo>
                      <a:pt x="4652" y="6175"/>
                      <a:pt x="4652" y="6175"/>
                      <a:pt x="4652" y="6175"/>
                    </a:cubicBezTo>
                    <a:cubicBezTo>
                      <a:pt x="4782" y="6295"/>
                      <a:pt x="4782" y="6295"/>
                      <a:pt x="4782" y="6295"/>
                    </a:cubicBezTo>
                    <a:cubicBezTo>
                      <a:pt x="4924" y="6274"/>
                      <a:pt x="4924" y="6274"/>
                      <a:pt x="4924" y="6274"/>
                    </a:cubicBezTo>
                    <a:cubicBezTo>
                      <a:pt x="4928" y="6253"/>
                      <a:pt x="4945" y="6170"/>
                      <a:pt x="4944" y="6088"/>
                    </a:cubicBezTo>
                    <a:close/>
                    <a:moveTo>
                      <a:pt x="2893" y="4987"/>
                    </a:moveTo>
                    <a:cubicBezTo>
                      <a:pt x="2947" y="4839"/>
                      <a:pt x="2947" y="4839"/>
                      <a:pt x="2947" y="4839"/>
                    </a:cubicBezTo>
                    <a:cubicBezTo>
                      <a:pt x="3141" y="4899"/>
                      <a:pt x="3141" y="4899"/>
                      <a:pt x="3141" y="4899"/>
                    </a:cubicBezTo>
                    <a:cubicBezTo>
                      <a:pt x="3085" y="5032"/>
                      <a:pt x="3085" y="5032"/>
                      <a:pt x="3085" y="5032"/>
                    </a:cubicBezTo>
                    <a:cubicBezTo>
                      <a:pt x="3017" y="5009"/>
                      <a:pt x="3017" y="5009"/>
                      <a:pt x="3017" y="5009"/>
                    </a:cubicBezTo>
                    <a:cubicBezTo>
                      <a:pt x="3001" y="5051"/>
                      <a:pt x="3001" y="5051"/>
                      <a:pt x="3001" y="5051"/>
                    </a:cubicBezTo>
                    <a:cubicBezTo>
                      <a:pt x="2998" y="5115"/>
                      <a:pt x="2998" y="5115"/>
                      <a:pt x="2998" y="5115"/>
                    </a:cubicBezTo>
                    <a:cubicBezTo>
                      <a:pt x="3059" y="5118"/>
                      <a:pt x="3059" y="5118"/>
                      <a:pt x="3059" y="5118"/>
                    </a:cubicBezTo>
                    <a:cubicBezTo>
                      <a:pt x="3019" y="5207"/>
                      <a:pt x="3019" y="5207"/>
                      <a:pt x="3019" y="5207"/>
                    </a:cubicBezTo>
                    <a:cubicBezTo>
                      <a:pt x="2907" y="5179"/>
                      <a:pt x="2907" y="5179"/>
                      <a:pt x="2907" y="5179"/>
                    </a:cubicBezTo>
                    <a:lnTo>
                      <a:pt x="2893" y="4987"/>
                    </a:lnTo>
                    <a:close/>
                    <a:moveTo>
                      <a:pt x="2908" y="4990"/>
                    </a:moveTo>
                    <a:cubicBezTo>
                      <a:pt x="2921" y="5167"/>
                      <a:pt x="2921" y="5167"/>
                      <a:pt x="2921" y="5167"/>
                    </a:cubicBezTo>
                    <a:cubicBezTo>
                      <a:pt x="3011" y="5189"/>
                      <a:pt x="3011" y="5189"/>
                      <a:pt x="3011" y="5189"/>
                    </a:cubicBezTo>
                    <a:cubicBezTo>
                      <a:pt x="3037" y="5132"/>
                      <a:pt x="3037" y="5132"/>
                      <a:pt x="3037" y="5132"/>
                    </a:cubicBezTo>
                    <a:cubicBezTo>
                      <a:pt x="2983" y="5129"/>
                      <a:pt x="2983" y="5129"/>
                      <a:pt x="2983" y="5129"/>
                    </a:cubicBezTo>
                    <a:cubicBezTo>
                      <a:pt x="2986" y="5048"/>
                      <a:pt x="2986" y="5048"/>
                      <a:pt x="2986" y="5048"/>
                    </a:cubicBezTo>
                    <a:cubicBezTo>
                      <a:pt x="3009" y="4990"/>
                      <a:pt x="3009" y="4990"/>
                      <a:pt x="3009" y="4990"/>
                    </a:cubicBezTo>
                    <a:cubicBezTo>
                      <a:pt x="3015" y="4992"/>
                      <a:pt x="3015" y="4992"/>
                      <a:pt x="3015" y="4992"/>
                    </a:cubicBezTo>
                    <a:cubicBezTo>
                      <a:pt x="3077" y="5014"/>
                      <a:pt x="3077" y="5014"/>
                      <a:pt x="3077" y="5014"/>
                    </a:cubicBezTo>
                    <a:cubicBezTo>
                      <a:pt x="3121" y="4908"/>
                      <a:pt x="3121" y="4908"/>
                      <a:pt x="3121" y="4908"/>
                    </a:cubicBezTo>
                    <a:cubicBezTo>
                      <a:pt x="2956" y="4857"/>
                      <a:pt x="2956" y="4857"/>
                      <a:pt x="2956" y="4857"/>
                    </a:cubicBezTo>
                    <a:lnTo>
                      <a:pt x="2908" y="4990"/>
                    </a:lnTo>
                    <a:close/>
                    <a:moveTo>
                      <a:pt x="1107" y="4949"/>
                    </a:moveTo>
                    <a:cubicBezTo>
                      <a:pt x="1093" y="4931"/>
                      <a:pt x="1093" y="4931"/>
                      <a:pt x="1093" y="4931"/>
                    </a:cubicBezTo>
                    <a:cubicBezTo>
                      <a:pt x="1115" y="4926"/>
                      <a:pt x="1115" y="4926"/>
                      <a:pt x="1115" y="4926"/>
                    </a:cubicBezTo>
                    <a:cubicBezTo>
                      <a:pt x="1268" y="4896"/>
                      <a:pt x="1268" y="4896"/>
                      <a:pt x="1268" y="4896"/>
                    </a:cubicBezTo>
                    <a:cubicBezTo>
                      <a:pt x="1314" y="4887"/>
                      <a:pt x="1314" y="4887"/>
                      <a:pt x="1314" y="4887"/>
                    </a:cubicBezTo>
                    <a:cubicBezTo>
                      <a:pt x="1281" y="4920"/>
                      <a:pt x="1281" y="4920"/>
                      <a:pt x="1281" y="4920"/>
                    </a:cubicBezTo>
                    <a:cubicBezTo>
                      <a:pt x="1181" y="5018"/>
                      <a:pt x="1181" y="5018"/>
                      <a:pt x="1181" y="5018"/>
                    </a:cubicBezTo>
                    <a:cubicBezTo>
                      <a:pt x="1170" y="5029"/>
                      <a:pt x="1170" y="5029"/>
                      <a:pt x="1170" y="5029"/>
                    </a:cubicBezTo>
                    <a:cubicBezTo>
                      <a:pt x="1160" y="5017"/>
                      <a:pt x="1160" y="5017"/>
                      <a:pt x="1160" y="5017"/>
                    </a:cubicBezTo>
                    <a:lnTo>
                      <a:pt x="1107" y="4949"/>
                    </a:lnTo>
                    <a:close/>
                    <a:moveTo>
                      <a:pt x="1118" y="4940"/>
                    </a:moveTo>
                    <a:cubicBezTo>
                      <a:pt x="1171" y="5008"/>
                      <a:pt x="1171" y="5008"/>
                      <a:pt x="1171" y="5008"/>
                    </a:cubicBezTo>
                    <a:cubicBezTo>
                      <a:pt x="1271" y="4910"/>
                      <a:pt x="1271" y="4910"/>
                      <a:pt x="1271" y="4910"/>
                    </a:cubicBezTo>
                    <a:lnTo>
                      <a:pt x="1118" y="4940"/>
                    </a:lnTo>
                    <a:close/>
                    <a:moveTo>
                      <a:pt x="5584" y="4970"/>
                    </a:moveTo>
                    <a:cubicBezTo>
                      <a:pt x="5767" y="5000"/>
                      <a:pt x="5767" y="5000"/>
                      <a:pt x="5767" y="5000"/>
                    </a:cubicBezTo>
                    <a:cubicBezTo>
                      <a:pt x="5750" y="5108"/>
                      <a:pt x="5750" y="5108"/>
                      <a:pt x="5750" y="5108"/>
                    </a:cubicBezTo>
                    <a:cubicBezTo>
                      <a:pt x="5678" y="5096"/>
                      <a:pt x="5678" y="5096"/>
                      <a:pt x="5678" y="5096"/>
                    </a:cubicBezTo>
                    <a:cubicBezTo>
                      <a:pt x="5668" y="5153"/>
                      <a:pt x="5668" y="5153"/>
                      <a:pt x="5668" y="5153"/>
                    </a:cubicBezTo>
                    <a:cubicBezTo>
                      <a:pt x="5662" y="5152"/>
                      <a:pt x="5662" y="5152"/>
                      <a:pt x="5662" y="5152"/>
                    </a:cubicBezTo>
                    <a:cubicBezTo>
                      <a:pt x="5547" y="5136"/>
                      <a:pt x="5547" y="5136"/>
                      <a:pt x="5547" y="5136"/>
                    </a:cubicBezTo>
                    <a:cubicBezTo>
                      <a:pt x="5566" y="5020"/>
                      <a:pt x="5566" y="5020"/>
                      <a:pt x="5566" y="5020"/>
                    </a:cubicBezTo>
                    <a:cubicBezTo>
                      <a:pt x="5576" y="5022"/>
                      <a:pt x="5576" y="5022"/>
                      <a:pt x="5576" y="5022"/>
                    </a:cubicBezTo>
                    <a:lnTo>
                      <a:pt x="5584" y="4970"/>
                    </a:lnTo>
                    <a:close/>
                    <a:moveTo>
                      <a:pt x="5587" y="5037"/>
                    </a:moveTo>
                    <a:cubicBezTo>
                      <a:pt x="5576" y="5035"/>
                      <a:pt x="5576" y="5035"/>
                      <a:pt x="5576" y="5035"/>
                    </a:cubicBezTo>
                    <a:cubicBezTo>
                      <a:pt x="5562" y="5125"/>
                      <a:pt x="5562" y="5125"/>
                      <a:pt x="5562" y="5125"/>
                    </a:cubicBezTo>
                    <a:cubicBezTo>
                      <a:pt x="5657" y="5138"/>
                      <a:pt x="5657" y="5138"/>
                      <a:pt x="5657" y="5138"/>
                    </a:cubicBezTo>
                    <a:cubicBezTo>
                      <a:pt x="5667" y="5081"/>
                      <a:pt x="5667" y="5081"/>
                      <a:pt x="5667" y="5081"/>
                    </a:cubicBezTo>
                    <a:cubicBezTo>
                      <a:pt x="5739" y="5093"/>
                      <a:pt x="5739" y="5093"/>
                      <a:pt x="5739" y="5093"/>
                    </a:cubicBezTo>
                    <a:cubicBezTo>
                      <a:pt x="5752" y="5011"/>
                      <a:pt x="5752" y="5011"/>
                      <a:pt x="5752" y="5011"/>
                    </a:cubicBezTo>
                    <a:cubicBezTo>
                      <a:pt x="5595" y="4985"/>
                      <a:pt x="5595" y="4985"/>
                      <a:pt x="5595" y="4985"/>
                    </a:cubicBezTo>
                    <a:lnTo>
                      <a:pt x="5587" y="5037"/>
                    </a:lnTo>
                    <a:close/>
                    <a:moveTo>
                      <a:pt x="4530" y="8254"/>
                    </a:moveTo>
                    <a:cubicBezTo>
                      <a:pt x="4590" y="8339"/>
                      <a:pt x="4590" y="8339"/>
                      <a:pt x="4590" y="8339"/>
                    </a:cubicBezTo>
                    <a:cubicBezTo>
                      <a:pt x="4469" y="8424"/>
                      <a:pt x="4469" y="8424"/>
                      <a:pt x="4469" y="8424"/>
                    </a:cubicBezTo>
                    <a:cubicBezTo>
                      <a:pt x="4465" y="8419"/>
                      <a:pt x="4465" y="8419"/>
                      <a:pt x="4465" y="8419"/>
                    </a:cubicBezTo>
                    <a:cubicBezTo>
                      <a:pt x="4409" y="8338"/>
                      <a:pt x="4409" y="8338"/>
                      <a:pt x="4409" y="8338"/>
                    </a:cubicBezTo>
                    <a:lnTo>
                      <a:pt x="4530" y="8254"/>
                    </a:lnTo>
                    <a:close/>
                    <a:moveTo>
                      <a:pt x="4572" y="8336"/>
                    </a:moveTo>
                    <a:cubicBezTo>
                      <a:pt x="4527" y="8272"/>
                      <a:pt x="4527" y="8272"/>
                      <a:pt x="4527" y="8272"/>
                    </a:cubicBezTo>
                    <a:cubicBezTo>
                      <a:pt x="4427" y="8342"/>
                      <a:pt x="4427" y="8342"/>
                      <a:pt x="4427" y="8342"/>
                    </a:cubicBezTo>
                    <a:cubicBezTo>
                      <a:pt x="4472" y="8406"/>
                      <a:pt x="4472" y="8406"/>
                      <a:pt x="4472" y="8406"/>
                    </a:cubicBezTo>
                    <a:lnTo>
                      <a:pt x="4572" y="8336"/>
                    </a:lnTo>
                    <a:close/>
                    <a:moveTo>
                      <a:pt x="4303" y="9306"/>
                    </a:moveTo>
                    <a:cubicBezTo>
                      <a:pt x="4350" y="9306"/>
                      <a:pt x="4350" y="9306"/>
                      <a:pt x="4350" y="9306"/>
                    </a:cubicBezTo>
                    <a:cubicBezTo>
                      <a:pt x="4350" y="9462"/>
                      <a:pt x="4350" y="9462"/>
                      <a:pt x="4350" y="9462"/>
                    </a:cubicBezTo>
                    <a:cubicBezTo>
                      <a:pt x="4272" y="9462"/>
                      <a:pt x="4272" y="9462"/>
                      <a:pt x="4272" y="9462"/>
                    </a:cubicBezTo>
                    <a:cubicBezTo>
                      <a:pt x="4272" y="9499"/>
                      <a:pt x="4272" y="9499"/>
                      <a:pt x="4272" y="9499"/>
                    </a:cubicBezTo>
                    <a:cubicBezTo>
                      <a:pt x="4175" y="9499"/>
                      <a:pt x="4175" y="9499"/>
                      <a:pt x="4175" y="9499"/>
                    </a:cubicBezTo>
                    <a:cubicBezTo>
                      <a:pt x="4175" y="9459"/>
                      <a:pt x="4175" y="9459"/>
                      <a:pt x="4175" y="9459"/>
                    </a:cubicBezTo>
                    <a:cubicBezTo>
                      <a:pt x="4165" y="9457"/>
                      <a:pt x="4165" y="9457"/>
                      <a:pt x="4165" y="9457"/>
                    </a:cubicBezTo>
                    <a:cubicBezTo>
                      <a:pt x="4160" y="9456"/>
                      <a:pt x="4160" y="9456"/>
                      <a:pt x="4160" y="9456"/>
                    </a:cubicBezTo>
                    <a:cubicBezTo>
                      <a:pt x="4160" y="9416"/>
                      <a:pt x="4160" y="9416"/>
                      <a:pt x="4160" y="9416"/>
                    </a:cubicBezTo>
                    <a:cubicBezTo>
                      <a:pt x="4145" y="9416"/>
                      <a:pt x="4145" y="9416"/>
                      <a:pt x="4145" y="9416"/>
                    </a:cubicBezTo>
                    <a:cubicBezTo>
                      <a:pt x="4139" y="9416"/>
                      <a:pt x="4139" y="9416"/>
                      <a:pt x="4139" y="9416"/>
                    </a:cubicBezTo>
                    <a:cubicBezTo>
                      <a:pt x="4139" y="9340"/>
                      <a:pt x="4139" y="9340"/>
                      <a:pt x="4139" y="9340"/>
                    </a:cubicBezTo>
                    <a:cubicBezTo>
                      <a:pt x="4165" y="9340"/>
                      <a:pt x="4165" y="9340"/>
                      <a:pt x="4165" y="9340"/>
                    </a:cubicBezTo>
                    <a:cubicBezTo>
                      <a:pt x="4165" y="9306"/>
                      <a:pt x="4165" y="9306"/>
                      <a:pt x="4165" y="9306"/>
                    </a:cubicBezTo>
                    <a:cubicBezTo>
                      <a:pt x="4228" y="9306"/>
                      <a:pt x="4228" y="9306"/>
                      <a:pt x="4228" y="9306"/>
                    </a:cubicBezTo>
                    <a:cubicBezTo>
                      <a:pt x="4228" y="9277"/>
                      <a:pt x="4228" y="9277"/>
                      <a:pt x="4228" y="9277"/>
                    </a:cubicBezTo>
                    <a:cubicBezTo>
                      <a:pt x="4303" y="9277"/>
                      <a:pt x="4303" y="9277"/>
                      <a:pt x="4303" y="9277"/>
                    </a:cubicBezTo>
                    <a:lnTo>
                      <a:pt x="4303" y="9306"/>
                    </a:lnTo>
                    <a:close/>
                    <a:moveTo>
                      <a:pt x="4290" y="9319"/>
                    </a:moveTo>
                    <a:cubicBezTo>
                      <a:pt x="4290" y="9290"/>
                      <a:pt x="4290" y="9290"/>
                      <a:pt x="4290" y="9290"/>
                    </a:cubicBezTo>
                    <a:cubicBezTo>
                      <a:pt x="4241" y="9290"/>
                      <a:pt x="4241" y="9290"/>
                      <a:pt x="4241" y="9290"/>
                    </a:cubicBezTo>
                    <a:cubicBezTo>
                      <a:pt x="4241" y="9319"/>
                      <a:pt x="4241" y="9319"/>
                      <a:pt x="4241" y="9319"/>
                    </a:cubicBezTo>
                    <a:cubicBezTo>
                      <a:pt x="4178" y="9319"/>
                      <a:pt x="4178" y="9319"/>
                      <a:pt x="4178" y="9319"/>
                    </a:cubicBezTo>
                    <a:cubicBezTo>
                      <a:pt x="4178" y="9353"/>
                      <a:pt x="4178" y="9353"/>
                      <a:pt x="4178" y="9353"/>
                    </a:cubicBezTo>
                    <a:cubicBezTo>
                      <a:pt x="4152" y="9353"/>
                      <a:pt x="4152" y="9353"/>
                      <a:pt x="4152" y="9353"/>
                    </a:cubicBezTo>
                    <a:cubicBezTo>
                      <a:pt x="4152" y="9402"/>
                      <a:pt x="4152" y="9402"/>
                      <a:pt x="4152" y="9402"/>
                    </a:cubicBezTo>
                    <a:cubicBezTo>
                      <a:pt x="4166" y="9402"/>
                      <a:pt x="4166" y="9402"/>
                      <a:pt x="4166" y="9402"/>
                    </a:cubicBezTo>
                    <a:cubicBezTo>
                      <a:pt x="4173" y="9402"/>
                      <a:pt x="4173" y="9402"/>
                      <a:pt x="4173" y="9402"/>
                    </a:cubicBezTo>
                    <a:cubicBezTo>
                      <a:pt x="4173" y="9445"/>
                      <a:pt x="4173" y="9445"/>
                      <a:pt x="4173" y="9445"/>
                    </a:cubicBezTo>
                    <a:cubicBezTo>
                      <a:pt x="4183" y="9447"/>
                      <a:pt x="4183" y="9447"/>
                      <a:pt x="4183" y="9447"/>
                    </a:cubicBezTo>
                    <a:cubicBezTo>
                      <a:pt x="4188" y="9448"/>
                      <a:pt x="4188" y="9448"/>
                      <a:pt x="4188" y="9448"/>
                    </a:cubicBezTo>
                    <a:cubicBezTo>
                      <a:pt x="4188" y="9453"/>
                      <a:pt x="4188" y="9453"/>
                      <a:pt x="4188" y="9453"/>
                    </a:cubicBezTo>
                    <a:cubicBezTo>
                      <a:pt x="4188" y="9486"/>
                      <a:pt x="4188" y="9486"/>
                      <a:pt x="4188" y="9486"/>
                    </a:cubicBezTo>
                    <a:cubicBezTo>
                      <a:pt x="4259" y="9486"/>
                      <a:pt x="4259" y="9486"/>
                      <a:pt x="4259" y="9486"/>
                    </a:cubicBezTo>
                    <a:cubicBezTo>
                      <a:pt x="4259" y="9449"/>
                      <a:pt x="4259" y="9449"/>
                      <a:pt x="4259" y="9449"/>
                    </a:cubicBezTo>
                    <a:cubicBezTo>
                      <a:pt x="4337" y="9449"/>
                      <a:pt x="4337" y="9449"/>
                      <a:pt x="4337" y="9449"/>
                    </a:cubicBezTo>
                    <a:cubicBezTo>
                      <a:pt x="4337" y="9319"/>
                      <a:pt x="4337" y="9319"/>
                      <a:pt x="4337" y="9319"/>
                    </a:cubicBezTo>
                    <a:lnTo>
                      <a:pt x="4290" y="9319"/>
                    </a:lnTo>
                    <a:close/>
                    <a:moveTo>
                      <a:pt x="3979" y="9309"/>
                    </a:moveTo>
                    <a:cubicBezTo>
                      <a:pt x="3858" y="9394"/>
                      <a:pt x="3858" y="9394"/>
                      <a:pt x="3858" y="9394"/>
                    </a:cubicBezTo>
                    <a:cubicBezTo>
                      <a:pt x="3855" y="9389"/>
                      <a:pt x="3855" y="9389"/>
                      <a:pt x="3855" y="9389"/>
                    </a:cubicBezTo>
                    <a:cubicBezTo>
                      <a:pt x="3798" y="9309"/>
                      <a:pt x="3798" y="9309"/>
                      <a:pt x="3798" y="9309"/>
                    </a:cubicBezTo>
                    <a:cubicBezTo>
                      <a:pt x="3919" y="9224"/>
                      <a:pt x="3919" y="9224"/>
                      <a:pt x="3919" y="9224"/>
                    </a:cubicBezTo>
                    <a:lnTo>
                      <a:pt x="3979" y="9309"/>
                    </a:lnTo>
                    <a:close/>
                    <a:moveTo>
                      <a:pt x="3861" y="9376"/>
                    </a:moveTo>
                    <a:cubicBezTo>
                      <a:pt x="3961" y="9306"/>
                      <a:pt x="3961" y="9306"/>
                      <a:pt x="3961" y="9306"/>
                    </a:cubicBezTo>
                    <a:cubicBezTo>
                      <a:pt x="3916" y="9242"/>
                      <a:pt x="3916" y="9242"/>
                      <a:pt x="3916" y="9242"/>
                    </a:cubicBezTo>
                    <a:cubicBezTo>
                      <a:pt x="3816" y="9312"/>
                      <a:pt x="3816" y="9312"/>
                      <a:pt x="3816" y="9312"/>
                    </a:cubicBezTo>
                    <a:lnTo>
                      <a:pt x="3861" y="9376"/>
                    </a:lnTo>
                    <a:close/>
                    <a:moveTo>
                      <a:pt x="683" y="6488"/>
                    </a:moveTo>
                    <a:cubicBezTo>
                      <a:pt x="657" y="6392"/>
                      <a:pt x="657" y="6392"/>
                      <a:pt x="657" y="6392"/>
                    </a:cubicBezTo>
                    <a:cubicBezTo>
                      <a:pt x="718" y="6244"/>
                      <a:pt x="718" y="6244"/>
                      <a:pt x="718" y="6244"/>
                    </a:cubicBezTo>
                    <a:cubicBezTo>
                      <a:pt x="839" y="6275"/>
                      <a:pt x="839" y="6275"/>
                      <a:pt x="839" y="6275"/>
                    </a:cubicBezTo>
                    <a:cubicBezTo>
                      <a:pt x="845" y="6202"/>
                      <a:pt x="845" y="6202"/>
                      <a:pt x="845" y="6202"/>
                    </a:cubicBezTo>
                    <a:cubicBezTo>
                      <a:pt x="692" y="6197"/>
                      <a:pt x="692" y="6197"/>
                      <a:pt x="692" y="6197"/>
                    </a:cubicBezTo>
                    <a:cubicBezTo>
                      <a:pt x="707" y="6088"/>
                      <a:pt x="707" y="6088"/>
                      <a:pt x="707" y="6088"/>
                    </a:cubicBezTo>
                    <a:cubicBezTo>
                      <a:pt x="987" y="6084"/>
                      <a:pt x="987" y="6084"/>
                      <a:pt x="987" y="6084"/>
                    </a:cubicBezTo>
                    <a:cubicBezTo>
                      <a:pt x="1050" y="6156"/>
                      <a:pt x="1050" y="6156"/>
                      <a:pt x="1050" y="6156"/>
                    </a:cubicBezTo>
                    <a:cubicBezTo>
                      <a:pt x="1048" y="6161"/>
                      <a:pt x="1048" y="6161"/>
                      <a:pt x="1048" y="6161"/>
                    </a:cubicBezTo>
                    <a:cubicBezTo>
                      <a:pt x="981" y="6311"/>
                      <a:pt x="981" y="6311"/>
                      <a:pt x="981" y="6311"/>
                    </a:cubicBezTo>
                    <a:cubicBezTo>
                      <a:pt x="833" y="6360"/>
                      <a:pt x="833" y="6360"/>
                      <a:pt x="833" y="6360"/>
                    </a:cubicBezTo>
                    <a:cubicBezTo>
                      <a:pt x="831" y="6371"/>
                      <a:pt x="831" y="6371"/>
                      <a:pt x="831" y="6371"/>
                    </a:cubicBezTo>
                    <a:cubicBezTo>
                      <a:pt x="908" y="6413"/>
                      <a:pt x="908" y="6413"/>
                      <a:pt x="908" y="6413"/>
                    </a:cubicBezTo>
                    <a:cubicBezTo>
                      <a:pt x="814" y="6570"/>
                      <a:pt x="814" y="6570"/>
                      <a:pt x="814" y="6570"/>
                    </a:cubicBezTo>
                    <a:lnTo>
                      <a:pt x="683" y="6488"/>
                    </a:lnTo>
                    <a:close/>
                    <a:moveTo>
                      <a:pt x="673" y="6393"/>
                    </a:moveTo>
                    <a:cubicBezTo>
                      <a:pt x="695" y="6478"/>
                      <a:pt x="695" y="6478"/>
                      <a:pt x="695" y="6478"/>
                    </a:cubicBezTo>
                    <a:cubicBezTo>
                      <a:pt x="809" y="6549"/>
                      <a:pt x="809" y="6549"/>
                      <a:pt x="809" y="6549"/>
                    </a:cubicBezTo>
                    <a:cubicBezTo>
                      <a:pt x="887" y="6418"/>
                      <a:pt x="887" y="6418"/>
                      <a:pt x="887" y="6418"/>
                    </a:cubicBezTo>
                    <a:cubicBezTo>
                      <a:pt x="814" y="6378"/>
                      <a:pt x="814" y="6378"/>
                      <a:pt x="814" y="6378"/>
                    </a:cubicBezTo>
                    <a:cubicBezTo>
                      <a:pt x="821" y="6348"/>
                      <a:pt x="821" y="6348"/>
                      <a:pt x="821" y="6348"/>
                    </a:cubicBezTo>
                    <a:cubicBezTo>
                      <a:pt x="970" y="6300"/>
                      <a:pt x="970" y="6300"/>
                      <a:pt x="970" y="6300"/>
                    </a:cubicBezTo>
                    <a:cubicBezTo>
                      <a:pt x="1033" y="6159"/>
                      <a:pt x="1033" y="6159"/>
                      <a:pt x="1033" y="6159"/>
                    </a:cubicBezTo>
                    <a:cubicBezTo>
                      <a:pt x="980" y="6099"/>
                      <a:pt x="980" y="6099"/>
                      <a:pt x="980" y="6099"/>
                    </a:cubicBezTo>
                    <a:cubicBezTo>
                      <a:pt x="720" y="6103"/>
                      <a:pt x="720" y="6103"/>
                      <a:pt x="720" y="6103"/>
                    </a:cubicBezTo>
                    <a:cubicBezTo>
                      <a:pt x="709" y="6182"/>
                      <a:pt x="709" y="6182"/>
                      <a:pt x="709" y="6182"/>
                    </a:cubicBezTo>
                    <a:cubicBezTo>
                      <a:pt x="861" y="6188"/>
                      <a:pt x="861" y="6188"/>
                      <a:pt x="861" y="6188"/>
                    </a:cubicBezTo>
                    <a:cubicBezTo>
                      <a:pt x="852" y="6293"/>
                      <a:pt x="852" y="6293"/>
                      <a:pt x="852" y="6293"/>
                    </a:cubicBezTo>
                    <a:cubicBezTo>
                      <a:pt x="727" y="6261"/>
                      <a:pt x="727" y="6261"/>
                      <a:pt x="727" y="6261"/>
                    </a:cubicBezTo>
                    <a:lnTo>
                      <a:pt x="673" y="6393"/>
                    </a:lnTo>
                    <a:close/>
                    <a:moveTo>
                      <a:pt x="1283" y="6538"/>
                    </a:moveTo>
                    <a:cubicBezTo>
                      <a:pt x="1112" y="6792"/>
                      <a:pt x="1112" y="6792"/>
                      <a:pt x="1112" y="6792"/>
                    </a:cubicBezTo>
                    <a:cubicBezTo>
                      <a:pt x="885" y="6651"/>
                      <a:pt x="885" y="6651"/>
                      <a:pt x="885" y="6651"/>
                    </a:cubicBezTo>
                    <a:cubicBezTo>
                      <a:pt x="1060" y="6384"/>
                      <a:pt x="1060" y="6384"/>
                      <a:pt x="1060" y="6384"/>
                    </a:cubicBezTo>
                    <a:cubicBezTo>
                      <a:pt x="1122" y="6345"/>
                      <a:pt x="1122" y="6345"/>
                      <a:pt x="1122" y="6345"/>
                    </a:cubicBezTo>
                    <a:cubicBezTo>
                      <a:pt x="1178" y="6223"/>
                      <a:pt x="1178" y="6223"/>
                      <a:pt x="1178" y="6223"/>
                    </a:cubicBezTo>
                    <a:cubicBezTo>
                      <a:pt x="1399" y="6406"/>
                      <a:pt x="1399" y="6406"/>
                      <a:pt x="1399" y="6406"/>
                    </a:cubicBezTo>
                    <a:cubicBezTo>
                      <a:pt x="1332" y="6473"/>
                      <a:pt x="1332" y="6473"/>
                      <a:pt x="1332" y="6473"/>
                    </a:cubicBezTo>
                    <a:cubicBezTo>
                      <a:pt x="1252" y="6429"/>
                      <a:pt x="1252" y="6429"/>
                      <a:pt x="1252" y="6429"/>
                    </a:cubicBezTo>
                    <a:cubicBezTo>
                      <a:pt x="1135" y="6448"/>
                      <a:pt x="1135" y="6448"/>
                      <a:pt x="1135" y="6448"/>
                    </a:cubicBezTo>
                    <a:cubicBezTo>
                      <a:pt x="1021" y="6621"/>
                      <a:pt x="1021" y="6621"/>
                      <a:pt x="1021" y="6621"/>
                    </a:cubicBezTo>
                    <a:cubicBezTo>
                      <a:pt x="1069" y="6654"/>
                      <a:pt x="1069" y="6654"/>
                      <a:pt x="1069" y="6654"/>
                    </a:cubicBezTo>
                    <a:cubicBezTo>
                      <a:pt x="1187" y="6476"/>
                      <a:pt x="1187" y="6476"/>
                      <a:pt x="1187" y="6476"/>
                    </a:cubicBezTo>
                    <a:lnTo>
                      <a:pt x="1283" y="6538"/>
                    </a:lnTo>
                    <a:close/>
                    <a:moveTo>
                      <a:pt x="1264" y="6542"/>
                    </a:moveTo>
                    <a:cubicBezTo>
                      <a:pt x="1191" y="6496"/>
                      <a:pt x="1191" y="6496"/>
                      <a:pt x="1191" y="6496"/>
                    </a:cubicBezTo>
                    <a:cubicBezTo>
                      <a:pt x="1080" y="6661"/>
                      <a:pt x="1080" y="6661"/>
                      <a:pt x="1080" y="6661"/>
                    </a:cubicBezTo>
                    <a:cubicBezTo>
                      <a:pt x="1073" y="6673"/>
                      <a:pt x="1073" y="6673"/>
                      <a:pt x="1073" y="6673"/>
                    </a:cubicBezTo>
                    <a:cubicBezTo>
                      <a:pt x="1061" y="6665"/>
                      <a:pt x="1061" y="6665"/>
                      <a:pt x="1061" y="6665"/>
                    </a:cubicBezTo>
                    <a:cubicBezTo>
                      <a:pt x="1013" y="6632"/>
                      <a:pt x="1013" y="6632"/>
                      <a:pt x="1013" y="6632"/>
                    </a:cubicBezTo>
                    <a:cubicBezTo>
                      <a:pt x="1001" y="6625"/>
                      <a:pt x="1001" y="6625"/>
                      <a:pt x="1001" y="6625"/>
                    </a:cubicBezTo>
                    <a:cubicBezTo>
                      <a:pt x="1009" y="6613"/>
                      <a:pt x="1009" y="6613"/>
                      <a:pt x="1009" y="6613"/>
                    </a:cubicBezTo>
                    <a:cubicBezTo>
                      <a:pt x="1124" y="6440"/>
                      <a:pt x="1124" y="6440"/>
                      <a:pt x="1124" y="6440"/>
                    </a:cubicBezTo>
                    <a:cubicBezTo>
                      <a:pt x="1127" y="6435"/>
                      <a:pt x="1127" y="6435"/>
                      <a:pt x="1127" y="6435"/>
                    </a:cubicBezTo>
                    <a:cubicBezTo>
                      <a:pt x="1133" y="6434"/>
                      <a:pt x="1133" y="6434"/>
                      <a:pt x="1133" y="6434"/>
                    </a:cubicBezTo>
                    <a:cubicBezTo>
                      <a:pt x="1250" y="6415"/>
                      <a:pt x="1250" y="6415"/>
                      <a:pt x="1250" y="6415"/>
                    </a:cubicBezTo>
                    <a:cubicBezTo>
                      <a:pt x="1255" y="6415"/>
                      <a:pt x="1255" y="6415"/>
                      <a:pt x="1255" y="6415"/>
                    </a:cubicBezTo>
                    <a:cubicBezTo>
                      <a:pt x="1259" y="6417"/>
                      <a:pt x="1259" y="6417"/>
                      <a:pt x="1259" y="6417"/>
                    </a:cubicBezTo>
                    <a:cubicBezTo>
                      <a:pt x="1330" y="6456"/>
                      <a:pt x="1330" y="6456"/>
                      <a:pt x="1330" y="6456"/>
                    </a:cubicBezTo>
                    <a:cubicBezTo>
                      <a:pt x="1378" y="6407"/>
                      <a:pt x="1378" y="6407"/>
                      <a:pt x="1378" y="6407"/>
                    </a:cubicBezTo>
                    <a:cubicBezTo>
                      <a:pt x="1183" y="6246"/>
                      <a:pt x="1183" y="6246"/>
                      <a:pt x="1183" y="6246"/>
                    </a:cubicBezTo>
                    <a:cubicBezTo>
                      <a:pt x="1135" y="6351"/>
                      <a:pt x="1135" y="6351"/>
                      <a:pt x="1135" y="6351"/>
                    </a:cubicBezTo>
                    <a:cubicBezTo>
                      <a:pt x="1133" y="6355"/>
                      <a:pt x="1133" y="6355"/>
                      <a:pt x="1133" y="6355"/>
                    </a:cubicBezTo>
                    <a:cubicBezTo>
                      <a:pt x="1130" y="6357"/>
                      <a:pt x="1130" y="6357"/>
                      <a:pt x="1130" y="6357"/>
                    </a:cubicBezTo>
                    <a:cubicBezTo>
                      <a:pt x="1070" y="6394"/>
                      <a:pt x="1070" y="6394"/>
                      <a:pt x="1070" y="6394"/>
                    </a:cubicBezTo>
                    <a:cubicBezTo>
                      <a:pt x="905" y="6646"/>
                      <a:pt x="905" y="6646"/>
                      <a:pt x="905" y="6646"/>
                    </a:cubicBezTo>
                    <a:cubicBezTo>
                      <a:pt x="1108" y="6773"/>
                      <a:pt x="1108" y="6773"/>
                      <a:pt x="1108" y="6773"/>
                    </a:cubicBezTo>
                    <a:lnTo>
                      <a:pt x="1264" y="6542"/>
                    </a:lnTo>
                    <a:close/>
                    <a:moveTo>
                      <a:pt x="4873" y="8576"/>
                    </a:moveTo>
                    <a:cubicBezTo>
                      <a:pt x="4766" y="8561"/>
                      <a:pt x="4766" y="8561"/>
                      <a:pt x="4766" y="8561"/>
                    </a:cubicBezTo>
                    <a:cubicBezTo>
                      <a:pt x="4726" y="8338"/>
                      <a:pt x="4726" y="8338"/>
                      <a:pt x="4726" y="8338"/>
                    </a:cubicBezTo>
                    <a:cubicBezTo>
                      <a:pt x="4932" y="8243"/>
                      <a:pt x="4932" y="8243"/>
                      <a:pt x="4932" y="8243"/>
                    </a:cubicBezTo>
                    <a:cubicBezTo>
                      <a:pt x="4963" y="8371"/>
                      <a:pt x="4963" y="8371"/>
                      <a:pt x="4963" y="8371"/>
                    </a:cubicBezTo>
                    <a:cubicBezTo>
                      <a:pt x="5076" y="8345"/>
                      <a:pt x="5076" y="8345"/>
                      <a:pt x="5076" y="8345"/>
                    </a:cubicBezTo>
                    <a:cubicBezTo>
                      <a:pt x="5075" y="8355"/>
                      <a:pt x="5075" y="8355"/>
                      <a:pt x="5075" y="8355"/>
                    </a:cubicBezTo>
                    <a:cubicBezTo>
                      <a:pt x="5052" y="8845"/>
                      <a:pt x="5052" y="8845"/>
                      <a:pt x="5052" y="8845"/>
                    </a:cubicBezTo>
                    <a:cubicBezTo>
                      <a:pt x="4875" y="8847"/>
                      <a:pt x="4875" y="8847"/>
                      <a:pt x="4875" y="8847"/>
                    </a:cubicBezTo>
                    <a:lnTo>
                      <a:pt x="4873" y="8576"/>
                    </a:lnTo>
                    <a:close/>
                    <a:moveTo>
                      <a:pt x="4779" y="8548"/>
                    </a:moveTo>
                    <a:cubicBezTo>
                      <a:pt x="4888" y="8563"/>
                      <a:pt x="4888" y="8563"/>
                      <a:pt x="4888" y="8563"/>
                    </a:cubicBezTo>
                    <a:cubicBezTo>
                      <a:pt x="4890" y="8832"/>
                      <a:pt x="4890" y="8832"/>
                      <a:pt x="4890" y="8832"/>
                    </a:cubicBezTo>
                    <a:cubicBezTo>
                      <a:pt x="5038" y="8831"/>
                      <a:pt x="5038" y="8831"/>
                      <a:pt x="5038" y="8831"/>
                    </a:cubicBezTo>
                    <a:cubicBezTo>
                      <a:pt x="5060" y="8364"/>
                      <a:pt x="5060" y="8364"/>
                      <a:pt x="5060" y="8364"/>
                    </a:cubicBezTo>
                    <a:cubicBezTo>
                      <a:pt x="4952" y="8389"/>
                      <a:pt x="4952" y="8389"/>
                      <a:pt x="4952" y="8389"/>
                    </a:cubicBezTo>
                    <a:cubicBezTo>
                      <a:pt x="4922" y="8264"/>
                      <a:pt x="4922" y="8264"/>
                      <a:pt x="4922" y="8264"/>
                    </a:cubicBezTo>
                    <a:cubicBezTo>
                      <a:pt x="4742" y="8347"/>
                      <a:pt x="4742" y="8347"/>
                      <a:pt x="4742" y="8347"/>
                    </a:cubicBezTo>
                    <a:lnTo>
                      <a:pt x="4779" y="8548"/>
                    </a:lnTo>
                    <a:close/>
                    <a:moveTo>
                      <a:pt x="650" y="7984"/>
                    </a:moveTo>
                    <a:cubicBezTo>
                      <a:pt x="659" y="7995"/>
                      <a:pt x="664" y="8007"/>
                      <a:pt x="664" y="8021"/>
                    </a:cubicBezTo>
                    <a:cubicBezTo>
                      <a:pt x="664" y="8042"/>
                      <a:pt x="652" y="8065"/>
                      <a:pt x="621" y="8094"/>
                    </a:cubicBezTo>
                    <a:cubicBezTo>
                      <a:pt x="590" y="8122"/>
                      <a:pt x="552" y="8135"/>
                      <a:pt x="517" y="8135"/>
                    </a:cubicBezTo>
                    <a:cubicBezTo>
                      <a:pt x="494" y="8135"/>
                      <a:pt x="472" y="8129"/>
                      <a:pt x="456" y="8116"/>
                    </a:cubicBezTo>
                    <a:cubicBezTo>
                      <a:pt x="445" y="8108"/>
                      <a:pt x="441" y="8097"/>
                      <a:pt x="441" y="8085"/>
                    </a:cubicBezTo>
                    <a:cubicBezTo>
                      <a:pt x="441" y="8049"/>
                      <a:pt x="476" y="8004"/>
                      <a:pt x="503" y="7985"/>
                    </a:cubicBezTo>
                    <a:cubicBezTo>
                      <a:pt x="524" y="7970"/>
                      <a:pt x="557" y="7959"/>
                      <a:pt x="589" y="7959"/>
                    </a:cubicBezTo>
                    <a:cubicBezTo>
                      <a:pt x="613" y="7959"/>
                      <a:pt x="636" y="7966"/>
                      <a:pt x="650" y="7984"/>
                    </a:cubicBezTo>
                    <a:close/>
                    <a:moveTo>
                      <a:pt x="656" y="8021"/>
                    </a:moveTo>
                    <a:cubicBezTo>
                      <a:pt x="656" y="8009"/>
                      <a:pt x="651" y="7999"/>
                      <a:pt x="643" y="7989"/>
                    </a:cubicBezTo>
                    <a:cubicBezTo>
                      <a:pt x="647" y="7986"/>
                      <a:pt x="647" y="7986"/>
                      <a:pt x="647" y="7986"/>
                    </a:cubicBezTo>
                    <a:cubicBezTo>
                      <a:pt x="643" y="7988"/>
                      <a:pt x="643" y="7988"/>
                      <a:pt x="643" y="7988"/>
                    </a:cubicBezTo>
                    <a:cubicBezTo>
                      <a:pt x="632" y="7974"/>
                      <a:pt x="612" y="7967"/>
                      <a:pt x="589" y="7967"/>
                    </a:cubicBezTo>
                    <a:cubicBezTo>
                      <a:pt x="559" y="7967"/>
                      <a:pt x="526" y="7978"/>
                      <a:pt x="508" y="7991"/>
                    </a:cubicBezTo>
                    <a:cubicBezTo>
                      <a:pt x="482" y="8009"/>
                      <a:pt x="449" y="8054"/>
                      <a:pt x="449" y="8085"/>
                    </a:cubicBezTo>
                    <a:cubicBezTo>
                      <a:pt x="449" y="8095"/>
                      <a:pt x="452" y="8103"/>
                      <a:pt x="461" y="8110"/>
                    </a:cubicBezTo>
                    <a:cubicBezTo>
                      <a:pt x="475" y="8121"/>
                      <a:pt x="495" y="8127"/>
                      <a:pt x="517" y="8127"/>
                    </a:cubicBezTo>
                    <a:cubicBezTo>
                      <a:pt x="549" y="8127"/>
                      <a:pt x="586" y="8115"/>
                      <a:pt x="615" y="8087"/>
                    </a:cubicBezTo>
                    <a:cubicBezTo>
                      <a:pt x="645" y="8060"/>
                      <a:pt x="656" y="8038"/>
                      <a:pt x="656" y="8021"/>
                    </a:cubicBezTo>
                    <a:close/>
                    <a:moveTo>
                      <a:pt x="1363" y="9391"/>
                    </a:moveTo>
                    <a:cubicBezTo>
                      <a:pt x="1260" y="9299"/>
                      <a:pt x="1260" y="9299"/>
                      <a:pt x="1260" y="9299"/>
                    </a:cubicBezTo>
                    <a:cubicBezTo>
                      <a:pt x="1351" y="9196"/>
                      <a:pt x="1351" y="9196"/>
                      <a:pt x="1351" y="9196"/>
                    </a:cubicBezTo>
                    <a:cubicBezTo>
                      <a:pt x="1356" y="9200"/>
                      <a:pt x="1356" y="9200"/>
                      <a:pt x="1356" y="9200"/>
                    </a:cubicBezTo>
                    <a:cubicBezTo>
                      <a:pt x="1454" y="9287"/>
                      <a:pt x="1454" y="9287"/>
                      <a:pt x="1454" y="9287"/>
                    </a:cubicBezTo>
                    <a:lnTo>
                      <a:pt x="1363" y="9391"/>
                    </a:lnTo>
                    <a:close/>
                    <a:moveTo>
                      <a:pt x="1362" y="9372"/>
                    </a:moveTo>
                    <a:cubicBezTo>
                      <a:pt x="1436" y="9288"/>
                      <a:pt x="1436" y="9288"/>
                      <a:pt x="1436" y="9288"/>
                    </a:cubicBezTo>
                    <a:cubicBezTo>
                      <a:pt x="1352" y="9214"/>
                      <a:pt x="1352" y="9214"/>
                      <a:pt x="1352" y="9214"/>
                    </a:cubicBezTo>
                    <a:cubicBezTo>
                      <a:pt x="1278" y="9298"/>
                      <a:pt x="1278" y="9298"/>
                      <a:pt x="1278" y="9298"/>
                    </a:cubicBezTo>
                    <a:lnTo>
                      <a:pt x="1362" y="9372"/>
                    </a:lnTo>
                    <a:close/>
                    <a:moveTo>
                      <a:pt x="1047" y="9318"/>
                    </a:moveTo>
                    <a:cubicBezTo>
                      <a:pt x="1177" y="9334"/>
                      <a:pt x="1177" y="9334"/>
                      <a:pt x="1177" y="9334"/>
                    </a:cubicBezTo>
                    <a:cubicBezTo>
                      <a:pt x="1160" y="9471"/>
                      <a:pt x="1160" y="9471"/>
                      <a:pt x="1160" y="9471"/>
                    </a:cubicBezTo>
                    <a:cubicBezTo>
                      <a:pt x="1023" y="9454"/>
                      <a:pt x="1023" y="9454"/>
                      <a:pt x="1023" y="9454"/>
                    </a:cubicBezTo>
                    <a:cubicBezTo>
                      <a:pt x="1040" y="9317"/>
                      <a:pt x="1040" y="9317"/>
                      <a:pt x="1040" y="9317"/>
                    </a:cubicBezTo>
                    <a:lnTo>
                      <a:pt x="1047" y="9318"/>
                    </a:lnTo>
                    <a:close/>
                    <a:moveTo>
                      <a:pt x="1052" y="9332"/>
                    </a:moveTo>
                    <a:cubicBezTo>
                      <a:pt x="1038" y="9442"/>
                      <a:pt x="1038" y="9442"/>
                      <a:pt x="1038" y="9442"/>
                    </a:cubicBezTo>
                    <a:cubicBezTo>
                      <a:pt x="1149" y="9456"/>
                      <a:pt x="1149" y="9456"/>
                      <a:pt x="1149" y="9456"/>
                    </a:cubicBezTo>
                    <a:cubicBezTo>
                      <a:pt x="1162" y="9345"/>
                      <a:pt x="1162" y="9345"/>
                      <a:pt x="1162" y="9345"/>
                    </a:cubicBezTo>
                    <a:lnTo>
                      <a:pt x="1052" y="9332"/>
                    </a:lnTo>
                    <a:close/>
                    <a:moveTo>
                      <a:pt x="3295" y="9725"/>
                    </a:moveTo>
                    <a:cubicBezTo>
                      <a:pt x="3295" y="9725"/>
                      <a:pt x="3295" y="9725"/>
                      <a:pt x="3295" y="9725"/>
                    </a:cubicBezTo>
                    <a:cubicBezTo>
                      <a:pt x="3295" y="9725"/>
                      <a:pt x="3295" y="9725"/>
                      <a:pt x="3295" y="9725"/>
                    </a:cubicBezTo>
                    <a:close/>
                    <a:moveTo>
                      <a:pt x="1216" y="2694"/>
                    </a:moveTo>
                    <a:cubicBezTo>
                      <a:pt x="1572" y="3002"/>
                      <a:pt x="1572" y="3002"/>
                      <a:pt x="1572" y="3002"/>
                    </a:cubicBezTo>
                    <a:cubicBezTo>
                      <a:pt x="1562" y="3125"/>
                      <a:pt x="1562" y="3125"/>
                      <a:pt x="1562" y="3125"/>
                    </a:cubicBezTo>
                    <a:cubicBezTo>
                      <a:pt x="1415" y="3112"/>
                      <a:pt x="1415" y="3112"/>
                      <a:pt x="1415" y="3112"/>
                    </a:cubicBezTo>
                    <a:cubicBezTo>
                      <a:pt x="1308" y="3007"/>
                      <a:pt x="1308" y="3007"/>
                      <a:pt x="1308" y="3007"/>
                    </a:cubicBezTo>
                    <a:cubicBezTo>
                      <a:pt x="1328" y="2991"/>
                      <a:pt x="1328" y="2991"/>
                      <a:pt x="1328" y="2991"/>
                    </a:cubicBezTo>
                    <a:cubicBezTo>
                      <a:pt x="1157" y="2826"/>
                      <a:pt x="1157" y="2826"/>
                      <a:pt x="1157" y="2826"/>
                    </a:cubicBezTo>
                    <a:cubicBezTo>
                      <a:pt x="1108" y="2853"/>
                      <a:pt x="1108" y="2853"/>
                      <a:pt x="1108" y="2853"/>
                    </a:cubicBezTo>
                    <a:cubicBezTo>
                      <a:pt x="1128" y="2888"/>
                      <a:pt x="1128" y="2888"/>
                      <a:pt x="1128" y="2888"/>
                    </a:cubicBezTo>
                    <a:cubicBezTo>
                      <a:pt x="1002" y="2948"/>
                      <a:pt x="1002" y="2948"/>
                      <a:pt x="1002" y="2948"/>
                    </a:cubicBezTo>
                    <a:cubicBezTo>
                      <a:pt x="936" y="2844"/>
                      <a:pt x="936" y="2844"/>
                      <a:pt x="936" y="2844"/>
                    </a:cubicBezTo>
                    <a:lnTo>
                      <a:pt x="1216" y="2694"/>
                    </a:lnTo>
                    <a:close/>
                    <a:moveTo>
                      <a:pt x="1557" y="3008"/>
                    </a:moveTo>
                    <a:cubicBezTo>
                      <a:pt x="1215" y="2711"/>
                      <a:pt x="1215" y="2711"/>
                      <a:pt x="1215" y="2711"/>
                    </a:cubicBezTo>
                    <a:cubicBezTo>
                      <a:pt x="956" y="2849"/>
                      <a:pt x="956" y="2849"/>
                      <a:pt x="956" y="2849"/>
                    </a:cubicBezTo>
                    <a:cubicBezTo>
                      <a:pt x="1007" y="2931"/>
                      <a:pt x="1007" y="2931"/>
                      <a:pt x="1007" y="2931"/>
                    </a:cubicBezTo>
                    <a:cubicBezTo>
                      <a:pt x="1109" y="2882"/>
                      <a:pt x="1109" y="2882"/>
                      <a:pt x="1109" y="2882"/>
                    </a:cubicBezTo>
                    <a:cubicBezTo>
                      <a:pt x="1096" y="2860"/>
                      <a:pt x="1096" y="2860"/>
                      <a:pt x="1096" y="2860"/>
                    </a:cubicBezTo>
                    <a:cubicBezTo>
                      <a:pt x="1089" y="2847"/>
                      <a:pt x="1089" y="2847"/>
                      <a:pt x="1089" y="2847"/>
                    </a:cubicBezTo>
                    <a:cubicBezTo>
                      <a:pt x="1102" y="2841"/>
                      <a:pt x="1102" y="2841"/>
                      <a:pt x="1102" y="2841"/>
                    </a:cubicBezTo>
                    <a:cubicBezTo>
                      <a:pt x="1150" y="2814"/>
                      <a:pt x="1150" y="2814"/>
                      <a:pt x="1150" y="2814"/>
                    </a:cubicBezTo>
                    <a:cubicBezTo>
                      <a:pt x="1159" y="2809"/>
                      <a:pt x="1159" y="2809"/>
                      <a:pt x="1159" y="2809"/>
                    </a:cubicBezTo>
                    <a:cubicBezTo>
                      <a:pt x="1167" y="2816"/>
                      <a:pt x="1167" y="2816"/>
                      <a:pt x="1167" y="2816"/>
                    </a:cubicBezTo>
                    <a:cubicBezTo>
                      <a:pt x="1338" y="2981"/>
                      <a:pt x="1338" y="2981"/>
                      <a:pt x="1338" y="2981"/>
                    </a:cubicBezTo>
                    <a:cubicBezTo>
                      <a:pt x="1350" y="2992"/>
                      <a:pt x="1350" y="2992"/>
                      <a:pt x="1350" y="2992"/>
                    </a:cubicBezTo>
                    <a:cubicBezTo>
                      <a:pt x="1337" y="3002"/>
                      <a:pt x="1337" y="3002"/>
                      <a:pt x="1337" y="3002"/>
                    </a:cubicBezTo>
                    <a:cubicBezTo>
                      <a:pt x="1329" y="3008"/>
                      <a:pt x="1329" y="3008"/>
                      <a:pt x="1329" y="3008"/>
                    </a:cubicBezTo>
                    <a:cubicBezTo>
                      <a:pt x="1421" y="3098"/>
                      <a:pt x="1421" y="3098"/>
                      <a:pt x="1421" y="3098"/>
                    </a:cubicBezTo>
                    <a:cubicBezTo>
                      <a:pt x="1549" y="3110"/>
                      <a:pt x="1549" y="3110"/>
                      <a:pt x="1549" y="3110"/>
                    </a:cubicBezTo>
                    <a:lnTo>
                      <a:pt x="1557" y="3008"/>
                    </a:lnTo>
                    <a:close/>
                    <a:moveTo>
                      <a:pt x="5003" y="8314"/>
                    </a:moveTo>
                    <a:cubicBezTo>
                      <a:pt x="4997" y="8094"/>
                      <a:pt x="4997" y="8094"/>
                      <a:pt x="4997" y="8094"/>
                    </a:cubicBezTo>
                    <a:cubicBezTo>
                      <a:pt x="5094" y="7965"/>
                      <a:pt x="5094" y="7965"/>
                      <a:pt x="5094" y="7965"/>
                    </a:cubicBezTo>
                    <a:cubicBezTo>
                      <a:pt x="5367" y="7952"/>
                      <a:pt x="5367" y="7952"/>
                      <a:pt x="5367" y="7952"/>
                    </a:cubicBezTo>
                    <a:cubicBezTo>
                      <a:pt x="5368" y="7959"/>
                      <a:pt x="5368" y="7959"/>
                      <a:pt x="5368" y="7959"/>
                    </a:cubicBezTo>
                    <a:cubicBezTo>
                      <a:pt x="5433" y="8317"/>
                      <a:pt x="5433" y="8317"/>
                      <a:pt x="5433" y="8317"/>
                    </a:cubicBezTo>
                    <a:cubicBezTo>
                      <a:pt x="5120" y="8407"/>
                      <a:pt x="5120" y="8407"/>
                      <a:pt x="5120" y="8407"/>
                    </a:cubicBezTo>
                    <a:cubicBezTo>
                      <a:pt x="5119" y="8287"/>
                      <a:pt x="5119" y="8287"/>
                      <a:pt x="5119" y="8287"/>
                    </a:cubicBezTo>
                    <a:lnTo>
                      <a:pt x="5003" y="8314"/>
                    </a:lnTo>
                    <a:close/>
                    <a:moveTo>
                      <a:pt x="5012" y="8099"/>
                    </a:moveTo>
                    <a:cubicBezTo>
                      <a:pt x="5017" y="8296"/>
                      <a:pt x="5017" y="8296"/>
                      <a:pt x="5017" y="8296"/>
                    </a:cubicBezTo>
                    <a:cubicBezTo>
                      <a:pt x="5134" y="8268"/>
                      <a:pt x="5134" y="8268"/>
                      <a:pt x="5134" y="8268"/>
                    </a:cubicBezTo>
                    <a:cubicBezTo>
                      <a:pt x="5135" y="8387"/>
                      <a:pt x="5135" y="8387"/>
                      <a:pt x="5135" y="8387"/>
                    </a:cubicBezTo>
                    <a:cubicBezTo>
                      <a:pt x="5416" y="8306"/>
                      <a:pt x="5416" y="8306"/>
                      <a:pt x="5416" y="8306"/>
                    </a:cubicBezTo>
                    <a:cubicBezTo>
                      <a:pt x="5355" y="7968"/>
                      <a:pt x="5355" y="7968"/>
                      <a:pt x="5355" y="7968"/>
                    </a:cubicBezTo>
                    <a:cubicBezTo>
                      <a:pt x="5102" y="7979"/>
                      <a:pt x="5102" y="7979"/>
                      <a:pt x="5102" y="7979"/>
                    </a:cubicBezTo>
                    <a:lnTo>
                      <a:pt x="5012" y="8099"/>
                    </a:lnTo>
                    <a:close/>
                    <a:moveTo>
                      <a:pt x="10540" y="8870"/>
                    </a:moveTo>
                    <a:cubicBezTo>
                      <a:pt x="10438" y="8927"/>
                      <a:pt x="10438" y="8927"/>
                      <a:pt x="10438" y="8927"/>
                    </a:cubicBezTo>
                    <a:cubicBezTo>
                      <a:pt x="10383" y="8823"/>
                      <a:pt x="10383" y="8823"/>
                      <a:pt x="10383" y="8823"/>
                    </a:cubicBezTo>
                    <a:cubicBezTo>
                      <a:pt x="10393" y="8818"/>
                      <a:pt x="10393" y="8818"/>
                      <a:pt x="10393" y="8818"/>
                    </a:cubicBezTo>
                    <a:cubicBezTo>
                      <a:pt x="10368" y="8772"/>
                      <a:pt x="10368" y="8772"/>
                      <a:pt x="10368" y="8772"/>
                    </a:cubicBezTo>
                    <a:cubicBezTo>
                      <a:pt x="10532" y="8685"/>
                      <a:pt x="10532" y="8685"/>
                      <a:pt x="10532" y="8685"/>
                    </a:cubicBezTo>
                    <a:cubicBezTo>
                      <a:pt x="10583" y="8782"/>
                      <a:pt x="10583" y="8782"/>
                      <a:pt x="10583" y="8782"/>
                    </a:cubicBezTo>
                    <a:cubicBezTo>
                      <a:pt x="10519" y="8816"/>
                      <a:pt x="10519" y="8816"/>
                      <a:pt x="10519" y="8816"/>
                    </a:cubicBezTo>
                    <a:cubicBezTo>
                      <a:pt x="10546" y="8867"/>
                      <a:pt x="10546" y="8867"/>
                      <a:pt x="10546" y="8867"/>
                    </a:cubicBezTo>
                    <a:lnTo>
                      <a:pt x="10540" y="8870"/>
                    </a:lnTo>
                    <a:close/>
                    <a:moveTo>
                      <a:pt x="10528" y="8861"/>
                    </a:moveTo>
                    <a:cubicBezTo>
                      <a:pt x="10501" y="8811"/>
                      <a:pt x="10501" y="8811"/>
                      <a:pt x="10501" y="8811"/>
                    </a:cubicBezTo>
                    <a:cubicBezTo>
                      <a:pt x="10566" y="8776"/>
                      <a:pt x="10566" y="8776"/>
                      <a:pt x="10566" y="8776"/>
                    </a:cubicBezTo>
                    <a:cubicBezTo>
                      <a:pt x="10526" y="8703"/>
                      <a:pt x="10526" y="8703"/>
                      <a:pt x="10526" y="8703"/>
                    </a:cubicBezTo>
                    <a:cubicBezTo>
                      <a:pt x="10386" y="8777"/>
                      <a:pt x="10386" y="8777"/>
                      <a:pt x="10386" y="8777"/>
                    </a:cubicBezTo>
                    <a:cubicBezTo>
                      <a:pt x="10410" y="8823"/>
                      <a:pt x="10410" y="8823"/>
                      <a:pt x="10410" y="8823"/>
                    </a:cubicBezTo>
                    <a:cubicBezTo>
                      <a:pt x="10401" y="8828"/>
                      <a:pt x="10401" y="8828"/>
                      <a:pt x="10401" y="8828"/>
                    </a:cubicBezTo>
                    <a:cubicBezTo>
                      <a:pt x="10444" y="8909"/>
                      <a:pt x="10444" y="8909"/>
                      <a:pt x="10444" y="8909"/>
                    </a:cubicBezTo>
                    <a:lnTo>
                      <a:pt x="10528" y="8861"/>
                    </a:lnTo>
                    <a:close/>
                    <a:moveTo>
                      <a:pt x="792" y="7718"/>
                    </a:moveTo>
                    <a:cubicBezTo>
                      <a:pt x="767" y="7706"/>
                      <a:pt x="767" y="7706"/>
                      <a:pt x="767" y="7706"/>
                    </a:cubicBezTo>
                    <a:cubicBezTo>
                      <a:pt x="798" y="7581"/>
                      <a:pt x="798" y="7581"/>
                      <a:pt x="798" y="7581"/>
                    </a:cubicBezTo>
                    <a:cubicBezTo>
                      <a:pt x="803" y="7559"/>
                      <a:pt x="803" y="7559"/>
                      <a:pt x="803" y="7559"/>
                    </a:cubicBezTo>
                    <a:cubicBezTo>
                      <a:pt x="821" y="7574"/>
                      <a:pt x="821" y="7574"/>
                      <a:pt x="821" y="7574"/>
                    </a:cubicBezTo>
                    <a:cubicBezTo>
                      <a:pt x="865" y="7610"/>
                      <a:pt x="865" y="7610"/>
                      <a:pt x="865" y="7610"/>
                    </a:cubicBezTo>
                    <a:cubicBezTo>
                      <a:pt x="875" y="7620"/>
                      <a:pt x="875" y="7620"/>
                      <a:pt x="875" y="7620"/>
                    </a:cubicBezTo>
                    <a:cubicBezTo>
                      <a:pt x="866" y="7630"/>
                      <a:pt x="866" y="7630"/>
                      <a:pt x="866" y="7630"/>
                    </a:cubicBezTo>
                    <a:lnTo>
                      <a:pt x="792" y="7718"/>
                    </a:lnTo>
                    <a:close/>
                    <a:moveTo>
                      <a:pt x="781" y="7709"/>
                    </a:moveTo>
                    <a:cubicBezTo>
                      <a:pt x="856" y="7621"/>
                      <a:pt x="856" y="7621"/>
                      <a:pt x="856" y="7621"/>
                    </a:cubicBezTo>
                    <a:cubicBezTo>
                      <a:pt x="812" y="7584"/>
                      <a:pt x="812" y="7584"/>
                      <a:pt x="812" y="7584"/>
                    </a:cubicBezTo>
                    <a:lnTo>
                      <a:pt x="781" y="7709"/>
                    </a:lnTo>
                    <a:close/>
                    <a:moveTo>
                      <a:pt x="713" y="7593"/>
                    </a:moveTo>
                    <a:cubicBezTo>
                      <a:pt x="737" y="7534"/>
                      <a:pt x="746" y="7445"/>
                      <a:pt x="746" y="7445"/>
                    </a:cubicBezTo>
                    <a:cubicBezTo>
                      <a:pt x="993" y="7625"/>
                      <a:pt x="993" y="7625"/>
                      <a:pt x="993" y="7625"/>
                    </a:cubicBezTo>
                    <a:cubicBezTo>
                      <a:pt x="895" y="7717"/>
                      <a:pt x="895" y="7717"/>
                      <a:pt x="895" y="7717"/>
                    </a:cubicBezTo>
                    <a:cubicBezTo>
                      <a:pt x="884" y="7871"/>
                      <a:pt x="884" y="7871"/>
                      <a:pt x="884" y="7871"/>
                    </a:cubicBezTo>
                    <a:cubicBezTo>
                      <a:pt x="654" y="7714"/>
                      <a:pt x="654" y="7714"/>
                      <a:pt x="654" y="7714"/>
                    </a:cubicBezTo>
                    <a:cubicBezTo>
                      <a:pt x="654" y="7714"/>
                      <a:pt x="690" y="7653"/>
                      <a:pt x="713" y="7593"/>
                    </a:cubicBezTo>
                    <a:close/>
                    <a:moveTo>
                      <a:pt x="726" y="7599"/>
                    </a:moveTo>
                    <a:cubicBezTo>
                      <a:pt x="708" y="7644"/>
                      <a:pt x="684" y="7689"/>
                      <a:pt x="672" y="7710"/>
                    </a:cubicBezTo>
                    <a:cubicBezTo>
                      <a:pt x="872" y="7846"/>
                      <a:pt x="872" y="7846"/>
                      <a:pt x="872" y="7846"/>
                    </a:cubicBezTo>
                    <a:cubicBezTo>
                      <a:pt x="881" y="7717"/>
                      <a:pt x="881" y="7717"/>
                      <a:pt x="881" y="7717"/>
                    </a:cubicBezTo>
                    <a:cubicBezTo>
                      <a:pt x="881" y="7711"/>
                      <a:pt x="881" y="7711"/>
                      <a:pt x="881" y="7711"/>
                    </a:cubicBezTo>
                    <a:cubicBezTo>
                      <a:pt x="885" y="7707"/>
                      <a:pt x="885" y="7707"/>
                      <a:pt x="885" y="7707"/>
                    </a:cubicBezTo>
                    <a:cubicBezTo>
                      <a:pt x="971" y="7627"/>
                      <a:pt x="971" y="7627"/>
                      <a:pt x="971" y="7627"/>
                    </a:cubicBezTo>
                    <a:cubicBezTo>
                      <a:pt x="757" y="7470"/>
                      <a:pt x="757" y="7470"/>
                      <a:pt x="757" y="7470"/>
                    </a:cubicBezTo>
                    <a:cubicBezTo>
                      <a:pt x="752" y="7501"/>
                      <a:pt x="743" y="7557"/>
                      <a:pt x="726" y="7599"/>
                    </a:cubicBezTo>
                    <a:close/>
                    <a:moveTo>
                      <a:pt x="8337" y="6777"/>
                    </a:moveTo>
                    <a:cubicBezTo>
                      <a:pt x="8775" y="6777"/>
                      <a:pt x="8775" y="6777"/>
                      <a:pt x="8775" y="6777"/>
                    </a:cubicBezTo>
                    <a:cubicBezTo>
                      <a:pt x="8777" y="6742"/>
                      <a:pt x="8777" y="6742"/>
                      <a:pt x="8777" y="6742"/>
                    </a:cubicBezTo>
                    <a:cubicBezTo>
                      <a:pt x="8787" y="6747"/>
                      <a:pt x="8787" y="6747"/>
                      <a:pt x="8787" y="6747"/>
                    </a:cubicBezTo>
                    <a:cubicBezTo>
                      <a:pt x="8787" y="6748"/>
                      <a:pt x="8879" y="6788"/>
                      <a:pt x="8882" y="6846"/>
                    </a:cubicBezTo>
                    <a:cubicBezTo>
                      <a:pt x="8881" y="6875"/>
                      <a:pt x="8856" y="6898"/>
                      <a:pt x="8832" y="6916"/>
                    </a:cubicBezTo>
                    <a:cubicBezTo>
                      <a:pt x="8809" y="6933"/>
                      <a:pt x="8785" y="6944"/>
                      <a:pt x="8785" y="6944"/>
                    </a:cubicBezTo>
                    <a:cubicBezTo>
                      <a:pt x="8775" y="6949"/>
                      <a:pt x="8775" y="6949"/>
                      <a:pt x="8775" y="6949"/>
                    </a:cubicBezTo>
                    <a:cubicBezTo>
                      <a:pt x="8775" y="6917"/>
                      <a:pt x="8775" y="6917"/>
                      <a:pt x="8775" y="6917"/>
                    </a:cubicBezTo>
                    <a:cubicBezTo>
                      <a:pt x="8333" y="6917"/>
                      <a:pt x="8333" y="6917"/>
                      <a:pt x="8333" y="6917"/>
                    </a:cubicBezTo>
                    <a:cubicBezTo>
                      <a:pt x="8333" y="6957"/>
                      <a:pt x="8333" y="6957"/>
                      <a:pt x="8333" y="6957"/>
                    </a:cubicBezTo>
                    <a:cubicBezTo>
                      <a:pt x="8324" y="6954"/>
                      <a:pt x="8324" y="6954"/>
                      <a:pt x="8324" y="6954"/>
                    </a:cubicBezTo>
                    <a:cubicBezTo>
                      <a:pt x="8324" y="6953"/>
                      <a:pt x="8213" y="6926"/>
                      <a:pt x="8211" y="6850"/>
                    </a:cubicBezTo>
                    <a:cubicBezTo>
                      <a:pt x="8213" y="6774"/>
                      <a:pt x="8327" y="6736"/>
                      <a:pt x="8327" y="6735"/>
                    </a:cubicBezTo>
                    <a:cubicBezTo>
                      <a:pt x="8337" y="6732"/>
                      <a:pt x="8337" y="6732"/>
                      <a:pt x="8337" y="6732"/>
                    </a:cubicBezTo>
                    <a:lnTo>
                      <a:pt x="8337" y="6777"/>
                    </a:lnTo>
                    <a:close/>
                    <a:moveTo>
                      <a:pt x="8322" y="6792"/>
                    </a:moveTo>
                    <a:cubicBezTo>
                      <a:pt x="8322" y="6753"/>
                      <a:pt x="8322" y="6753"/>
                      <a:pt x="8322" y="6753"/>
                    </a:cubicBezTo>
                    <a:cubicBezTo>
                      <a:pt x="8312" y="6757"/>
                      <a:pt x="8295" y="6765"/>
                      <a:pt x="8278" y="6777"/>
                    </a:cubicBezTo>
                    <a:cubicBezTo>
                      <a:pt x="8251" y="6795"/>
                      <a:pt x="8225" y="6820"/>
                      <a:pt x="8226" y="6850"/>
                    </a:cubicBezTo>
                    <a:cubicBezTo>
                      <a:pt x="8226" y="6879"/>
                      <a:pt x="8250" y="6902"/>
                      <a:pt x="8276" y="6917"/>
                    </a:cubicBezTo>
                    <a:cubicBezTo>
                      <a:pt x="8292" y="6927"/>
                      <a:pt x="8309" y="6933"/>
                      <a:pt x="8319" y="6937"/>
                    </a:cubicBezTo>
                    <a:cubicBezTo>
                      <a:pt x="8319" y="6902"/>
                      <a:pt x="8319" y="6902"/>
                      <a:pt x="8319" y="6902"/>
                    </a:cubicBezTo>
                    <a:cubicBezTo>
                      <a:pt x="8789" y="6902"/>
                      <a:pt x="8789" y="6902"/>
                      <a:pt x="8789" y="6902"/>
                    </a:cubicBezTo>
                    <a:cubicBezTo>
                      <a:pt x="8789" y="6926"/>
                      <a:pt x="8789" y="6926"/>
                      <a:pt x="8789" y="6926"/>
                    </a:cubicBezTo>
                    <a:cubicBezTo>
                      <a:pt x="8798" y="6921"/>
                      <a:pt x="8811" y="6913"/>
                      <a:pt x="8824" y="6904"/>
                    </a:cubicBezTo>
                    <a:cubicBezTo>
                      <a:pt x="8846" y="6888"/>
                      <a:pt x="8867" y="6865"/>
                      <a:pt x="8867" y="6846"/>
                    </a:cubicBezTo>
                    <a:cubicBezTo>
                      <a:pt x="8867" y="6826"/>
                      <a:pt x="8847" y="6804"/>
                      <a:pt x="8825" y="6787"/>
                    </a:cubicBezTo>
                    <a:cubicBezTo>
                      <a:pt x="8812" y="6778"/>
                      <a:pt x="8799" y="6770"/>
                      <a:pt x="8791" y="6766"/>
                    </a:cubicBezTo>
                    <a:cubicBezTo>
                      <a:pt x="8790" y="6792"/>
                      <a:pt x="8790" y="6792"/>
                      <a:pt x="8790" y="6792"/>
                    </a:cubicBezTo>
                    <a:cubicBezTo>
                      <a:pt x="8783" y="6792"/>
                      <a:pt x="8783" y="6792"/>
                      <a:pt x="8783" y="6792"/>
                    </a:cubicBezTo>
                    <a:lnTo>
                      <a:pt x="8322" y="6792"/>
                    </a:lnTo>
                    <a:close/>
                    <a:moveTo>
                      <a:pt x="5188" y="8239"/>
                    </a:moveTo>
                    <a:cubicBezTo>
                      <a:pt x="5188" y="8238"/>
                      <a:pt x="5160" y="8107"/>
                      <a:pt x="5160" y="8097"/>
                    </a:cubicBezTo>
                    <a:cubicBezTo>
                      <a:pt x="5160" y="8096"/>
                      <a:pt x="5160" y="8096"/>
                      <a:pt x="5160" y="8095"/>
                    </a:cubicBezTo>
                    <a:cubicBezTo>
                      <a:pt x="5160" y="8095"/>
                      <a:pt x="5160" y="8091"/>
                      <a:pt x="5165" y="8089"/>
                    </a:cubicBezTo>
                    <a:cubicBezTo>
                      <a:pt x="5165" y="8089"/>
                      <a:pt x="5165" y="8089"/>
                      <a:pt x="5165" y="8089"/>
                    </a:cubicBezTo>
                    <a:cubicBezTo>
                      <a:pt x="5168" y="8089"/>
                      <a:pt x="5168" y="8089"/>
                      <a:pt x="5169" y="8089"/>
                    </a:cubicBezTo>
                    <a:cubicBezTo>
                      <a:pt x="5170" y="8089"/>
                      <a:pt x="5171" y="8089"/>
                      <a:pt x="5172" y="8089"/>
                    </a:cubicBezTo>
                    <a:cubicBezTo>
                      <a:pt x="5193" y="8088"/>
                      <a:pt x="5270" y="8088"/>
                      <a:pt x="5270" y="8088"/>
                    </a:cubicBezTo>
                    <a:cubicBezTo>
                      <a:pt x="5277" y="8088"/>
                      <a:pt x="5277" y="8088"/>
                      <a:pt x="5277" y="8088"/>
                    </a:cubicBezTo>
                    <a:cubicBezTo>
                      <a:pt x="5278" y="8094"/>
                      <a:pt x="5278" y="8094"/>
                      <a:pt x="5278" y="8094"/>
                    </a:cubicBezTo>
                    <a:cubicBezTo>
                      <a:pt x="5293" y="8223"/>
                      <a:pt x="5293" y="8223"/>
                      <a:pt x="5293" y="8223"/>
                    </a:cubicBezTo>
                    <a:cubicBezTo>
                      <a:pt x="5190" y="8246"/>
                      <a:pt x="5190" y="8246"/>
                      <a:pt x="5190" y="8246"/>
                    </a:cubicBezTo>
                    <a:lnTo>
                      <a:pt x="5188" y="8239"/>
                    </a:lnTo>
                    <a:close/>
                    <a:moveTo>
                      <a:pt x="5176" y="8103"/>
                    </a:moveTo>
                    <a:cubicBezTo>
                      <a:pt x="5178" y="8116"/>
                      <a:pt x="5183" y="8143"/>
                      <a:pt x="5189" y="8168"/>
                    </a:cubicBezTo>
                    <a:cubicBezTo>
                      <a:pt x="5194" y="8193"/>
                      <a:pt x="5199" y="8217"/>
                      <a:pt x="5201" y="8228"/>
                    </a:cubicBezTo>
                    <a:cubicBezTo>
                      <a:pt x="5277" y="8211"/>
                      <a:pt x="5277" y="8211"/>
                      <a:pt x="5277" y="8211"/>
                    </a:cubicBezTo>
                    <a:cubicBezTo>
                      <a:pt x="5264" y="8103"/>
                      <a:pt x="5264" y="8103"/>
                      <a:pt x="5264" y="8103"/>
                    </a:cubicBezTo>
                    <a:cubicBezTo>
                      <a:pt x="5255" y="8103"/>
                      <a:pt x="5237" y="8103"/>
                      <a:pt x="5220" y="8103"/>
                    </a:cubicBezTo>
                    <a:cubicBezTo>
                      <a:pt x="5207" y="8103"/>
                      <a:pt x="5194" y="8103"/>
                      <a:pt x="5184" y="8103"/>
                    </a:cubicBezTo>
                    <a:cubicBezTo>
                      <a:pt x="5181" y="8103"/>
                      <a:pt x="5178" y="8103"/>
                      <a:pt x="5176" y="8103"/>
                    </a:cubicBezTo>
                    <a:close/>
                    <a:moveTo>
                      <a:pt x="1183" y="7106"/>
                    </a:moveTo>
                    <a:cubicBezTo>
                      <a:pt x="1044" y="7030"/>
                      <a:pt x="1044" y="7030"/>
                      <a:pt x="1044" y="7030"/>
                    </a:cubicBezTo>
                    <a:cubicBezTo>
                      <a:pt x="1125" y="6932"/>
                      <a:pt x="1125" y="6932"/>
                      <a:pt x="1125" y="6932"/>
                    </a:cubicBezTo>
                    <a:cubicBezTo>
                      <a:pt x="1193" y="6911"/>
                      <a:pt x="1193" y="6911"/>
                      <a:pt x="1193" y="6911"/>
                    </a:cubicBezTo>
                    <a:cubicBezTo>
                      <a:pt x="1256" y="6961"/>
                      <a:pt x="1256" y="6961"/>
                      <a:pt x="1256" y="6961"/>
                    </a:cubicBezTo>
                    <a:lnTo>
                      <a:pt x="1183" y="7106"/>
                    </a:lnTo>
                    <a:close/>
                    <a:moveTo>
                      <a:pt x="1177" y="7087"/>
                    </a:moveTo>
                    <a:cubicBezTo>
                      <a:pt x="1239" y="6965"/>
                      <a:pt x="1239" y="6965"/>
                      <a:pt x="1239" y="6965"/>
                    </a:cubicBezTo>
                    <a:cubicBezTo>
                      <a:pt x="1190" y="6926"/>
                      <a:pt x="1190" y="6926"/>
                      <a:pt x="1190" y="6926"/>
                    </a:cubicBezTo>
                    <a:cubicBezTo>
                      <a:pt x="1133" y="6944"/>
                      <a:pt x="1133" y="6944"/>
                      <a:pt x="1133" y="6944"/>
                    </a:cubicBezTo>
                    <a:cubicBezTo>
                      <a:pt x="1066" y="7026"/>
                      <a:pt x="1066" y="7026"/>
                      <a:pt x="1066" y="7026"/>
                    </a:cubicBezTo>
                    <a:lnTo>
                      <a:pt x="1177" y="7087"/>
                    </a:lnTo>
                    <a:close/>
                    <a:moveTo>
                      <a:pt x="6190" y="9532"/>
                    </a:moveTo>
                    <a:cubicBezTo>
                      <a:pt x="6306" y="9619"/>
                      <a:pt x="6306" y="9619"/>
                      <a:pt x="6306" y="9619"/>
                    </a:cubicBezTo>
                    <a:cubicBezTo>
                      <a:pt x="6261" y="9680"/>
                      <a:pt x="6261" y="9680"/>
                      <a:pt x="6261" y="9680"/>
                    </a:cubicBezTo>
                    <a:cubicBezTo>
                      <a:pt x="6140" y="9589"/>
                      <a:pt x="6140" y="9589"/>
                      <a:pt x="6140" y="9589"/>
                    </a:cubicBezTo>
                    <a:cubicBezTo>
                      <a:pt x="6185" y="9528"/>
                      <a:pt x="6185" y="9528"/>
                      <a:pt x="6185" y="9528"/>
                    </a:cubicBezTo>
                    <a:lnTo>
                      <a:pt x="6190" y="9532"/>
                    </a:lnTo>
                    <a:close/>
                    <a:moveTo>
                      <a:pt x="6288" y="9622"/>
                    </a:moveTo>
                    <a:cubicBezTo>
                      <a:pt x="6188" y="9547"/>
                      <a:pt x="6188" y="9547"/>
                      <a:pt x="6188" y="9547"/>
                    </a:cubicBezTo>
                    <a:cubicBezTo>
                      <a:pt x="6158" y="9586"/>
                      <a:pt x="6158" y="9586"/>
                      <a:pt x="6158" y="9586"/>
                    </a:cubicBezTo>
                    <a:cubicBezTo>
                      <a:pt x="6258" y="9662"/>
                      <a:pt x="6258" y="9662"/>
                      <a:pt x="6258" y="9662"/>
                    </a:cubicBezTo>
                    <a:lnTo>
                      <a:pt x="6288" y="9622"/>
                    </a:lnTo>
                    <a:close/>
                    <a:moveTo>
                      <a:pt x="924" y="7166"/>
                    </a:moveTo>
                    <a:cubicBezTo>
                      <a:pt x="998" y="7087"/>
                      <a:pt x="998" y="7087"/>
                      <a:pt x="998" y="7087"/>
                    </a:cubicBezTo>
                    <a:cubicBezTo>
                      <a:pt x="1151" y="7171"/>
                      <a:pt x="1151" y="7171"/>
                      <a:pt x="1151" y="7171"/>
                    </a:cubicBezTo>
                    <a:cubicBezTo>
                      <a:pt x="1000" y="7477"/>
                      <a:pt x="1000" y="7477"/>
                      <a:pt x="1000" y="7477"/>
                    </a:cubicBezTo>
                    <a:cubicBezTo>
                      <a:pt x="787" y="7324"/>
                      <a:pt x="787" y="7324"/>
                      <a:pt x="787" y="7324"/>
                    </a:cubicBezTo>
                    <a:cubicBezTo>
                      <a:pt x="886" y="7219"/>
                      <a:pt x="886" y="7219"/>
                      <a:pt x="886" y="7219"/>
                    </a:cubicBezTo>
                    <a:cubicBezTo>
                      <a:pt x="956" y="7354"/>
                      <a:pt x="956" y="7354"/>
                      <a:pt x="956" y="7354"/>
                    </a:cubicBezTo>
                    <a:cubicBezTo>
                      <a:pt x="1018" y="7228"/>
                      <a:pt x="1018" y="7228"/>
                      <a:pt x="1018" y="7228"/>
                    </a:cubicBezTo>
                    <a:lnTo>
                      <a:pt x="924" y="7166"/>
                    </a:lnTo>
                    <a:close/>
                    <a:moveTo>
                      <a:pt x="946" y="7164"/>
                    </a:moveTo>
                    <a:cubicBezTo>
                      <a:pt x="1025" y="7216"/>
                      <a:pt x="1025" y="7216"/>
                      <a:pt x="1025" y="7216"/>
                    </a:cubicBezTo>
                    <a:cubicBezTo>
                      <a:pt x="1036" y="7223"/>
                      <a:pt x="1036" y="7223"/>
                      <a:pt x="1036" y="7223"/>
                    </a:cubicBezTo>
                    <a:cubicBezTo>
                      <a:pt x="1030" y="7234"/>
                      <a:pt x="1030" y="7234"/>
                      <a:pt x="1030" y="7234"/>
                    </a:cubicBezTo>
                    <a:cubicBezTo>
                      <a:pt x="969" y="7360"/>
                      <a:pt x="969" y="7360"/>
                      <a:pt x="969" y="7360"/>
                    </a:cubicBezTo>
                    <a:cubicBezTo>
                      <a:pt x="957" y="7385"/>
                      <a:pt x="957" y="7385"/>
                      <a:pt x="957" y="7385"/>
                    </a:cubicBezTo>
                    <a:cubicBezTo>
                      <a:pt x="944" y="7360"/>
                      <a:pt x="944" y="7360"/>
                      <a:pt x="944" y="7360"/>
                    </a:cubicBezTo>
                    <a:cubicBezTo>
                      <a:pt x="883" y="7243"/>
                      <a:pt x="883" y="7243"/>
                      <a:pt x="883" y="7243"/>
                    </a:cubicBezTo>
                    <a:cubicBezTo>
                      <a:pt x="808" y="7322"/>
                      <a:pt x="808" y="7322"/>
                      <a:pt x="808" y="7322"/>
                    </a:cubicBezTo>
                    <a:cubicBezTo>
                      <a:pt x="995" y="7456"/>
                      <a:pt x="995" y="7456"/>
                      <a:pt x="995" y="7456"/>
                    </a:cubicBezTo>
                    <a:cubicBezTo>
                      <a:pt x="1132" y="7177"/>
                      <a:pt x="1132" y="7177"/>
                      <a:pt x="1132" y="7177"/>
                    </a:cubicBezTo>
                    <a:cubicBezTo>
                      <a:pt x="1001" y="7105"/>
                      <a:pt x="1001" y="7105"/>
                      <a:pt x="1001" y="7105"/>
                    </a:cubicBezTo>
                    <a:lnTo>
                      <a:pt x="946" y="7164"/>
                    </a:lnTo>
                    <a:close/>
                    <a:moveTo>
                      <a:pt x="1613" y="2605"/>
                    </a:moveTo>
                    <a:cubicBezTo>
                      <a:pt x="1582" y="2564"/>
                      <a:pt x="1582" y="2564"/>
                      <a:pt x="1582" y="2564"/>
                    </a:cubicBezTo>
                    <a:cubicBezTo>
                      <a:pt x="1585" y="2505"/>
                      <a:pt x="1585" y="2505"/>
                      <a:pt x="1585" y="2505"/>
                    </a:cubicBezTo>
                    <a:cubicBezTo>
                      <a:pt x="1807" y="2384"/>
                      <a:pt x="1807" y="2384"/>
                      <a:pt x="1807" y="2384"/>
                    </a:cubicBezTo>
                    <a:cubicBezTo>
                      <a:pt x="1831" y="2428"/>
                      <a:pt x="1831" y="2428"/>
                      <a:pt x="1831" y="2428"/>
                    </a:cubicBezTo>
                    <a:cubicBezTo>
                      <a:pt x="1824" y="2493"/>
                      <a:pt x="1824" y="2493"/>
                      <a:pt x="1824" y="2493"/>
                    </a:cubicBezTo>
                    <a:lnTo>
                      <a:pt x="1613" y="2605"/>
                    </a:lnTo>
                    <a:close/>
                    <a:moveTo>
                      <a:pt x="1596" y="2560"/>
                    </a:moveTo>
                    <a:cubicBezTo>
                      <a:pt x="1617" y="2587"/>
                      <a:pt x="1617" y="2587"/>
                      <a:pt x="1617" y="2587"/>
                    </a:cubicBezTo>
                    <a:cubicBezTo>
                      <a:pt x="1811" y="2484"/>
                      <a:pt x="1811" y="2484"/>
                      <a:pt x="1811" y="2484"/>
                    </a:cubicBezTo>
                    <a:cubicBezTo>
                      <a:pt x="1817" y="2431"/>
                      <a:pt x="1817" y="2431"/>
                      <a:pt x="1817" y="2431"/>
                    </a:cubicBezTo>
                    <a:cubicBezTo>
                      <a:pt x="1802" y="2403"/>
                      <a:pt x="1802" y="2403"/>
                      <a:pt x="1802" y="2403"/>
                    </a:cubicBezTo>
                    <a:cubicBezTo>
                      <a:pt x="1598" y="2513"/>
                      <a:pt x="1598" y="2513"/>
                      <a:pt x="1598" y="2513"/>
                    </a:cubicBezTo>
                    <a:lnTo>
                      <a:pt x="1596" y="2560"/>
                    </a:lnTo>
                    <a:close/>
                    <a:moveTo>
                      <a:pt x="2641" y="1926"/>
                    </a:moveTo>
                    <a:cubicBezTo>
                      <a:pt x="3164" y="2672"/>
                      <a:pt x="3164" y="2672"/>
                      <a:pt x="3164" y="2672"/>
                    </a:cubicBezTo>
                    <a:cubicBezTo>
                      <a:pt x="3158" y="2676"/>
                      <a:pt x="3158" y="2676"/>
                      <a:pt x="3158" y="2676"/>
                    </a:cubicBezTo>
                    <a:cubicBezTo>
                      <a:pt x="3023" y="2769"/>
                      <a:pt x="3023" y="2769"/>
                      <a:pt x="3023" y="2769"/>
                    </a:cubicBezTo>
                    <a:cubicBezTo>
                      <a:pt x="2874" y="2569"/>
                      <a:pt x="2874" y="2569"/>
                      <a:pt x="2874" y="2569"/>
                    </a:cubicBezTo>
                    <a:cubicBezTo>
                      <a:pt x="2932" y="2563"/>
                      <a:pt x="2932" y="2563"/>
                      <a:pt x="2932" y="2563"/>
                    </a:cubicBezTo>
                    <a:cubicBezTo>
                      <a:pt x="2645" y="2157"/>
                      <a:pt x="2645" y="2157"/>
                      <a:pt x="2645" y="2157"/>
                    </a:cubicBezTo>
                    <a:cubicBezTo>
                      <a:pt x="2642" y="2159"/>
                      <a:pt x="2642" y="2159"/>
                      <a:pt x="2642" y="2159"/>
                    </a:cubicBezTo>
                    <a:cubicBezTo>
                      <a:pt x="2838" y="2716"/>
                      <a:pt x="2838" y="2716"/>
                      <a:pt x="2838" y="2716"/>
                    </a:cubicBezTo>
                    <a:cubicBezTo>
                      <a:pt x="2897" y="2659"/>
                      <a:pt x="2897" y="2659"/>
                      <a:pt x="2897" y="2659"/>
                    </a:cubicBezTo>
                    <a:cubicBezTo>
                      <a:pt x="2942" y="2814"/>
                      <a:pt x="2942" y="2814"/>
                      <a:pt x="2942" y="2814"/>
                    </a:cubicBezTo>
                    <a:cubicBezTo>
                      <a:pt x="2800" y="2879"/>
                      <a:pt x="2800" y="2879"/>
                      <a:pt x="2800" y="2879"/>
                    </a:cubicBezTo>
                    <a:cubicBezTo>
                      <a:pt x="2469" y="2026"/>
                      <a:pt x="2469" y="2026"/>
                      <a:pt x="2469" y="2026"/>
                    </a:cubicBezTo>
                    <a:lnTo>
                      <a:pt x="2641" y="1926"/>
                    </a:lnTo>
                    <a:close/>
                    <a:moveTo>
                      <a:pt x="3144" y="2668"/>
                    </a:moveTo>
                    <a:cubicBezTo>
                      <a:pt x="2637" y="1946"/>
                      <a:pt x="2637" y="1946"/>
                      <a:pt x="2637" y="1946"/>
                    </a:cubicBezTo>
                    <a:cubicBezTo>
                      <a:pt x="2487" y="2033"/>
                      <a:pt x="2487" y="2033"/>
                      <a:pt x="2487" y="2033"/>
                    </a:cubicBezTo>
                    <a:cubicBezTo>
                      <a:pt x="2808" y="2859"/>
                      <a:pt x="2808" y="2859"/>
                      <a:pt x="2808" y="2859"/>
                    </a:cubicBezTo>
                    <a:cubicBezTo>
                      <a:pt x="2924" y="2806"/>
                      <a:pt x="2924" y="2806"/>
                      <a:pt x="2924" y="2806"/>
                    </a:cubicBezTo>
                    <a:cubicBezTo>
                      <a:pt x="2889" y="2687"/>
                      <a:pt x="2889" y="2687"/>
                      <a:pt x="2889" y="2687"/>
                    </a:cubicBezTo>
                    <a:cubicBezTo>
                      <a:pt x="2831" y="2742"/>
                      <a:pt x="2831" y="2742"/>
                      <a:pt x="2831" y="2742"/>
                    </a:cubicBezTo>
                    <a:cubicBezTo>
                      <a:pt x="2625" y="2154"/>
                      <a:pt x="2625" y="2154"/>
                      <a:pt x="2625" y="2154"/>
                    </a:cubicBezTo>
                    <a:cubicBezTo>
                      <a:pt x="2649" y="2137"/>
                      <a:pt x="2649" y="2137"/>
                      <a:pt x="2649" y="2137"/>
                    </a:cubicBezTo>
                    <a:cubicBezTo>
                      <a:pt x="2958" y="2575"/>
                      <a:pt x="2958" y="2575"/>
                      <a:pt x="2958" y="2575"/>
                    </a:cubicBezTo>
                    <a:cubicBezTo>
                      <a:pt x="2901" y="2581"/>
                      <a:pt x="2901" y="2581"/>
                      <a:pt x="2901" y="2581"/>
                    </a:cubicBezTo>
                    <a:cubicBezTo>
                      <a:pt x="3026" y="2749"/>
                      <a:pt x="3026" y="2749"/>
                      <a:pt x="3026" y="2749"/>
                    </a:cubicBezTo>
                    <a:lnTo>
                      <a:pt x="3144" y="2668"/>
                    </a:lnTo>
                    <a:close/>
                    <a:moveTo>
                      <a:pt x="2401" y="2082"/>
                    </a:moveTo>
                    <a:cubicBezTo>
                      <a:pt x="2641" y="2726"/>
                      <a:pt x="2641" y="2726"/>
                      <a:pt x="2641" y="2726"/>
                    </a:cubicBezTo>
                    <a:cubicBezTo>
                      <a:pt x="2628" y="2724"/>
                      <a:pt x="2628" y="2724"/>
                      <a:pt x="2628" y="2724"/>
                    </a:cubicBezTo>
                    <a:cubicBezTo>
                      <a:pt x="2628" y="2724"/>
                      <a:pt x="2518" y="2706"/>
                      <a:pt x="2477" y="2651"/>
                    </a:cubicBezTo>
                    <a:cubicBezTo>
                      <a:pt x="2477" y="2651"/>
                      <a:pt x="2477" y="2651"/>
                      <a:pt x="2477" y="2651"/>
                    </a:cubicBezTo>
                    <a:cubicBezTo>
                      <a:pt x="2476" y="2650"/>
                      <a:pt x="2476" y="2650"/>
                      <a:pt x="2476" y="2650"/>
                    </a:cubicBezTo>
                    <a:cubicBezTo>
                      <a:pt x="2476" y="2648"/>
                      <a:pt x="2365" y="2312"/>
                      <a:pt x="2352" y="2272"/>
                    </a:cubicBezTo>
                    <a:cubicBezTo>
                      <a:pt x="2271" y="2251"/>
                      <a:pt x="2271" y="2251"/>
                      <a:pt x="2271" y="2251"/>
                    </a:cubicBezTo>
                    <a:cubicBezTo>
                      <a:pt x="2244" y="2153"/>
                      <a:pt x="2244" y="2153"/>
                      <a:pt x="2244" y="2153"/>
                    </a:cubicBezTo>
                    <a:lnTo>
                      <a:pt x="2401" y="2082"/>
                    </a:lnTo>
                    <a:close/>
                    <a:moveTo>
                      <a:pt x="2618" y="2707"/>
                    </a:moveTo>
                    <a:cubicBezTo>
                      <a:pt x="2393" y="2102"/>
                      <a:pt x="2393" y="2102"/>
                      <a:pt x="2393" y="2102"/>
                    </a:cubicBezTo>
                    <a:cubicBezTo>
                      <a:pt x="2262" y="2162"/>
                      <a:pt x="2262" y="2162"/>
                      <a:pt x="2262" y="2162"/>
                    </a:cubicBezTo>
                    <a:cubicBezTo>
                      <a:pt x="2283" y="2239"/>
                      <a:pt x="2283" y="2239"/>
                      <a:pt x="2283" y="2239"/>
                    </a:cubicBezTo>
                    <a:cubicBezTo>
                      <a:pt x="2363" y="2260"/>
                      <a:pt x="2363" y="2260"/>
                      <a:pt x="2363" y="2260"/>
                    </a:cubicBezTo>
                    <a:cubicBezTo>
                      <a:pt x="2365" y="2264"/>
                      <a:pt x="2365" y="2264"/>
                      <a:pt x="2365" y="2264"/>
                    </a:cubicBezTo>
                    <a:cubicBezTo>
                      <a:pt x="2365" y="2264"/>
                      <a:pt x="2483" y="2623"/>
                      <a:pt x="2490" y="2644"/>
                    </a:cubicBezTo>
                    <a:cubicBezTo>
                      <a:pt x="2507" y="2667"/>
                      <a:pt x="2542" y="2684"/>
                      <a:pt x="2573" y="2694"/>
                    </a:cubicBezTo>
                    <a:cubicBezTo>
                      <a:pt x="2591" y="2700"/>
                      <a:pt x="2607" y="2705"/>
                      <a:pt x="2618" y="2707"/>
                    </a:cubicBezTo>
                    <a:close/>
                    <a:moveTo>
                      <a:pt x="1567" y="608"/>
                    </a:moveTo>
                    <a:cubicBezTo>
                      <a:pt x="1567" y="608"/>
                      <a:pt x="1769" y="621"/>
                      <a:pt x="1773" y="621"/>
                    </a:cubicBezTo>
                    <a:cubicBezTo>
                      <a:pt x="1767" y="674"/>
                      <a:pt x="1767" y="674"/>
                      <a:pt x="1767" y="674"/>
                    </a:cubicBezTo>
                    <a:cubicBezTo>
                      <a:pt x="1767" y="674"/>
                      <a:pt x="1720" y="713"/>
                      <a:pt x="1723" y="713"/>
                    </a:cubicBezTo>
                    <a:cubicBezTo>
                      <a:pt x="1726" y="713"/>
                      <a:pt x="1616" y="709"/>
                      <a:pt x="1616" y="709"/>
                    </a:cubicBezTo>
                    <a:cubicBezTo>
                      <a:pt x="1584" y="732"/>
                      <a:pt x="1584" y="732"/>
                      <a:pt x="1584" y="732"/>
                    </a:cubicBezTo>
                    <a:cubicBezTo>
                      <a:pt x="1632" y="788"/>
                      <a:pt x="1632" y="788"/>
                      <a:pt x="1632" y="788"/>
                    </a:cubicBezTo>
                    <a:cubicBezTo>
                      <a:pt x="1534" y="873"/>
                      <a:pt x="1534" y="873"/>
                      <a:pt x="1534" y="873"/>
                    </a:cubicBezTo>
                    <a:cubicBezTo>
                      <a:pt x="1376" y="687"/>
                      <a:pt x="1376" y="687"/>
                      <a:pt x="1376" y="687"/>
                    </a:cubicBezTo>
                    <a:cubicBezTo>
                      <a:pt x="1491" y="520"/>
                      <a:pt x="1491" y="520"/>
                      <a:pt x="1491" y="520"/>
                    </a:cubicBezTo>
                    <a:lnTo>
                      <a:pt x="1567" y="608"/>
                    </a:lnTo>
                    <a:close/>
                    <a:moveTo>
                      <a:pt x="1757" y="634"/>
                    </a:moveTo>
                    <a:cubicBezTo>
                      <a:pt x="1718" y="632"/>
                      <a:pt x="1615" y="625"/>
                      <a:pt x="1566" y="622"/>
                    </a:cubicBezTo>
                    <a:cubicBezTo>
                      <a:pt x="1560" y="621"/>
                      <a:pt x="1560" y="621"/>
                      <a:pt x="1560" y="621"/>
                    </a:cubicBezTo>
                    <a:cubicBezTo>
                      <a:pt x="1556" y="617"/>
                      <a:pt x="1556" y="617"/>
                      <a:pt x="1556" y="617"/>
                    </a:cubicBezTo>
                    <a:cubicBezTo>
                      <a:pt x="1492" y="543"/>
                      <a:pt x="1492" y="543"/>
                      <a:pt x="1492" y="543"/>
                    </a:cubicBezTo>
                    <a:cubicBezTo>
                      <a:pt x="1394" y="686"/>
                      <a:pt x="1394" y="686"/>
                      <a:pt x="1394" y="686"/>
                    </a:cubicBezTo>
                    <a:cubicBezTo>
                      <a:pt x="1536" y="854"/>
                      <a:pt x="1536" y="854"/>
                      <a:pt x="1536" y="854"/>
                    </a:cubicBezTo>
                    <a:cubicBezTo>
                      <a:pt x="1612" y="787"/>
                      <a:pt x="1612" y="787"/>
                      <a:pt x="1612" y="787"/>
                    </a:cubicBezTo>
                    <a:cubicBezTo>
                      <a:pt x="1574" y="741"/>
                      <a:pt x="1574" y="741"/>
                      <a:pt x="1574" y="741"/>
                    </a:cubicBezTo>
                    <a:cubicBezTo>
                      <a:pt x="1564" y="729"/>
                      <a:pt x="1564" y="729"/>
                      <a:pt x="1564" y="729"/>
                    </a:cubicBezTo>
                    <a:cubicBezTo>
                      <a:pt x="1576" y="721"/>
                      <a:pt x="1576" y="721"/>
                      <a:pt x="1576" y="721"/>
                    </a:cubicBezTo>
                    <a:cubicBezTo>
                      <a:pt x="1608" y="698"/>
                      <a:pt x="1608" y="698"/>
                      <a:pt x="1608" y="698"/>
                    </a:cubicBezTo>
                    <a:cubicBezTo>
                      <a:pt x="1612" y="695"/>
                      <a:pt x="1612" y="695"/>
                      <a:pt x="1612" y="695"/>
                    </a:cubicBezTo>
                    <a:cubicBezTo>
                      <a:pt x="1617" y="696"/>
                      <a:pt x="1617" y="696"/>
                      <a:pt x="1617" y="696"/>
                    </a:cubicBezTo>
                    <a:cubicBezTo>
                      <a:pt x="1617" y="696"/>
                      <a:pt x="1693" y="698"/>
                      <a:pt x="1716" y="698"/>
                    </a:cubicBezTo>
                    <a:cubicBezTo>
                      <a:pt x="1723" y="692"/>
                      <a:pt x="1734" y="682"/>
                      <a:pt x="1754" y="666"/>
                    </a:cubicBezTo>
                    <a:lnTo>
                      <a:pt x="1757" y="634"/>
                    </a:lnTo>
                    <a:close/>
                    <a:moveTo>
                      <a:pt x="1079" y="1204"/>
                    </a:moveTo>
                    <a:cubicBezTo>
                      <a:pt x="1316" y="1381"/>
                      <a:pt x="1316" y="1381"/>
                      <a:pt x="1316" y="1381"/>
                    </a:cubicBezTo>
                    <a:cubicBezTo>
                      <a:pt x="1341" y="1342"/>
                      <a:pt x="1341" y="1342"/>
                      <a:pt x="1341" y="1342"/>
                    </a:cubicBezTo>
                    <a:cubicBezTo>
                      <a:pt x="1428" y="1402"/>
                      <a:pt x="1428" y="1402"/>
                      <a:pt x="1428" y="1402"/>
                    </a:cubicBezTo>
                    <a:cubicBezTo>
                      <a:pt x="1363" y="1507"/>
                      <a:pt x="1363" y="1507"/>
                      <a:pt x="1363" y="1507"/>
                    </a:cubicBezTo>
                    <a:cubicBezTo>
                      <a:pt x="1041" y="1266"/>
                      <a:pt x="1041" y="1266"/>
                      <a:pt x="1041" y="1266"/>
                    </a:cubicBezTo>
                    <a:lnTo>
                      <a:pt x="1079" y="1204"/>
                    </a:lnTo>
                    <a:close/>
                    <a:moveTo>
                      <a:pt x="1083" y="1224"/>
                    </a:moveTo>
                    <a:cubicBezTo>
                      <a:pt x="1060" y="1262"/>
                      <a:pt x="1060" y="1262"/>
                      <a:pt x="1060" y="1262"/>
                    </a:cubicBezTo>
                    <a:cubicBezTo>
                      <a:pt x="1359" y="1487"/>
                      <a:pt x="1359" y="1487"/>
                      <a:pt x="1359" y="1487"/>
                    </a:cubicBezTo>
                    <a:cubicBezTo>
                      <a:pt x="1409" y="1406"/>
                      <a:pt x="1409" y="1406"/>
                      <a:pt x="1409" y="1406"/>
                    </a:cubicBezTo>
                    <a:cubicBezTo>
                      <a:pt x="1345" y="1361"/>
                      <a:pt x="1345" y="1361"/>
                      <a:pt x="1345" y="1361"/>
                    </a:cubicBezTo>
                    <a:cubicBezTo>
                      <a:pt x="1328" y="1389"/>
                      <a:pt x="1328" y="1389"/>
                      <a:pt x="1328" y="1389"/>
                    </a:cubicBezTo>
                    <a:cubicBezTo>
                      <a:pt x="1320" y="1402"/>
                      <a:pt x="1320" y="1402"/>
                      <a:pt x="1320" y="1402"/>
                    </a:cubicBezTo>
                    <a:cubicBezTo>
                      <a:pt x="1308" y="1392"/>
                      <a:pt x="1308" y="1392"/>
                      <a:pt x="1308" y="1392"/>
                    </a:cubicBezTo>
                    <a:lnTo>
                      <a:pt x="1083" y="1224"/>
                    </a:lnTo>
                    <a:close/>
                    <a:moveTo>
                      <a:pt x="2613" y="2821"/>
                    </a:moveTo>
                    <a:cubicBezTo>
                      <a:pt x="2616" y="2822"/>
                      <a:pt x="2688" y="2870"/>
                      <a:pt x="2688" y="2870"/>
                    </a:cubicBezTo>
                    <a:cubicBezTo>
                      <a:pt x="2700" y="2878"/>
                      <a:pt x="2700" y="2878"/>
                      <a:pt x="2700" y="2878"/>
                    </a:cubicBezTo>
                    <a:cubicBezTo>
                      <a:pt x="2686" y="2883"/>
                      <a:pt x="2686" y="2883"/>
                      <a:pt x="2686" y="2883"/>
                    </a:cubicBezTo>
                    <a:cubicBezTo>
                      <a:pt x="2686" y="2883"/>
                      <a:pt x="2582" y="2919"/>
                      <a:pt x="2466" y="2919"/>
                    </a:cubicBezTo>
                    <a:cubicBezTo>
                      <a:pt x="2460" y="2919"/>
                      <a:pt x="2454" y="2919"/>
                      <a:pt x="2448" y="2919"/>
                    </a:cubicBezTo>
                    <a:cubicBezTo>
                      <a:pt x="2325" y="2915"/>
                      <a:pt x="2225" y="2886"/>
                      <a:pt x="2225" y="2886"/>
                    </a:cubicBezTo>
                    <a:cubicBezTo>
                      <a:pt x="2219" y="2885"/>
                      <a:pt x="2219" y="2885"/>
                      <a:pt x="2219" y="2885"/>
                    </a:cubicBezTo>
                    <a:cubicBezTo>
                      <a:pt x="2266" y="2326"/>
                      <a:pt x="2266" y="2326"/>
                      <a:pt x="2266" y="2326"/>
                    </a:cubicBezTo>
                    <a:cubicBezTo>
                      <a:pt x="2314" y="2338"/>
                      <a:pt x="2314" y="2338"/>
                      <a:pt x="2314" y="2338"/>
                    </a:cubicBezTo>
                    <a:cubicBezTo>
                      <a:pt x="2450" y="2749"/>
                      <a:pt x="2450" y="2749"/>
                      <a:pt x="2450" y="2749"/>
                    </a:cubicBezTo>
                    <a:cubicBezTo>
                      <a:pt x="2455" y="2754"/>
                      <a:pt x="2472" y="2767"/>
                      <a:pt x="2497" y="2781"/>
                    </a:cubicBezTo>
                    <a:cubicBezTo>
                      <a:pt x="2526" y="2798"/>
                      <a:pt x="2567" y="2816"/>
                      <a:pt x="2610" y="2820"/>
                    </a:cubicBezTo>
                    <a:cubicBezTo>
                      <a:pt x="2610" y="2820"/>
                      <a:pt x="2610" y="2820"/>
                      <a:pt x="2610" y="2820"/>
                    </a:cubicBezTo>
                    <a:cubicBezTo>
                      <a:pt x="2613" y="2820"/>
                      <a:pt x="2613" y="2821"/>
                      <a:pt x="2613" y="2821"/>
                    </a:cubicBezTo>
                    <a:close/>
                    <a:moveTo>
                      <a:pt x="2618" y="2841"/>
                    </a:moveTo>
                    <a:cubicBezTo>
                      <a:pt x="2614" y="2839"/>
                      <a:pt x="2611" y="2837"/>
                      <a:pt x="2609" y="2836"/>
                    </a:cubicBezTo>
                    <a:cubicBezTo>
                      <a:pt x="2609" y="2835"/>
                      <a:pt x="2608" y="2835"/>
                      <a:pt x="2608" y="2835"/>
                    </a:cubicBezTo>
                    <a:cubicBezTo>
                      <a:pt x="2515" y="2825"/>
                      <a:pt x="2439" y="2760"/>
                      <a:pt x="2439" y="2759"/>
                    </a:cubicBezTo>
                    <a:cubicBezTo>
                      <a:pt x="2437" y="2758"/>
                      <a:pt x="2437" y="2758"/>
                      <a:pt x="2437" y="2758"/>
                    </a:cubicBezTo>
                    <a:cubicBezTo>
                      <a:pt x="2303" y="2350"/>
                      <a:pt x="2303" y="2350"/>
                      <a:pt x="2303" y="2350"/>
                    </a:cubicBezTo>
                    <a:cubicBezTo>
                      <a:pt x="2279" y="2344"/>
                      <a:pt x="2279" y="2344"/>
                      <a:pt x="2279" y="2344"/>
                    </a:cubicBezTo>
                    <a:cubicBezTo>
                      <a:pt x="2235" y="2874"/>
                      <a:pt x="2235" y="2874"/>
                      <a:pt x="2235" y="2874"/>
                    </a:cubicBezTo>
                    <a:cubicBezTo>
                      <a:pt x="2258" y="2880"/>
                      <a:pt x="2345" y="2901"/>
                      <a:pt x="2449" y="2904"/>
                    </a:cubicBezTo>
                    <a:cubicBezTo>
                      <a:pt x="2454" y="2904"/>
                      <a:pt x="2460" y="2904"/>
                      <a:pt x="2466" y="2904"/>
                    </a:cubicBezTo>
                    <a:cubicBezTo>
                      <a:pt x="2522" y="2904"/>
                      <a:pt x="2576" y="2896"/>
                      <a:pt x="2616" y="2887"/>
                    </a:cubicBezTo>
                    <a:cubicBezTo>
                      <a:pt x="2638" y="2882"/>
                      <a:pt x="2656" y="2877"/>
                      <a:pt x="2667" y="2874"/>
                    </a:cubicBezTo>
                    <a:cubicBezTo>
                      <a:pt x="2660" y="2869"/>
                      <a:pt x="2652" y="2864"/>
                      <a:pt x="2643" y="2858"/>
                    </a:cubicBezTo>
                    <a:cubicBezTo>
                      <a:pt x="2634" y="2852"/>
                      <a:pt x="2625" y="2846"/>
                      <a:pt x="2618" y="2841"/>
                    </a:cubicBezTo>
                    <a:close/>
                    <a:moveTo>
                      <a:pt x="2964" y="625"/>
                    </a:moveTo>
                    <a:cubicBezTo>
                      <a:pt x="2964" y="625"/>
                      <a:pt x="3317" y="960"/>
                      <a:pt x="3319" y="961"/>
                    </a:cubicBezTo>
                    <a:cubicBezTo>
                      <a:pt x="3214" y="1114"/>
                      <a:pt x="3214" y="1114"/>
                      <a:pt x="3214" y="1114"/>
                    </a:cubicBezTo>
                    <a:cubicBezTo>
                      <a:pt x="3149" y="995"/>
                      <a:pt x="3149" y="995"/>
                      <a:pt x="3149" y="995"/>
                    </a:cubicBezTo>
                    <a:cubicBezTo>
                      <a:pt x="3203" y="970"/>
                      <a:pt x="3203" y="970"/>
                      <a:pt x="3203" y="970"/>
                    </a:cubicBezTo>
                    <a:cubicBezTo>
                      <a:pt x="2972" y="740"/>
                      <a:pt x="2972" y="740"/>
                      <a:pt x="2972" y="740"/>
                    </a:cubicBezTo>
                    <a:cubicBezTo>
                      <a:pt x="2842" y="837"/>
                      <a:pt x="2842" y="837"/>
                      <a:pt x="2842" y="837"/>
                    </a:cubicBezTo>
                    <a:cubicBezTo>
                      <a:pt x="3050" y="1095"/>
                      <a:pt x="3050" y="1095"/>
                      <a:pt x="3050" y="1095"/>
                    </a:cubicBezTo>
                    <a:cubicBezTo>
                      <a:pt x="3089" y="1028"/>
                      <a:pt x="3089" y="1028"/>
                      <a:pt x="3089" y="1028"/>
                    </a:cubicBezTo>
                    <a:cubicBezTo>
                      <a:pt x="3160" y="1160"/>
                      <a:pt x="3160" y="1160"/>
                      <a:pt x="3160" y="1160"/>
                    </a:cubicBezTo>
                    <a:cubicBezTo>
                      <a:pt x="3160" y="1160"/>
                      <a:pt x="3036" y="1244"/>
                      <a:pt x="3037" y="1244"/>
                    </a:cubicBezTo>
                    <a:cubicBezTo>
                      <a:pt x="3038" y="1244"/>
                      <a:pt x="2705" y="810"/>
                      <a:pt x="2705" y="810"/>
                    </a:cubicBezTo>
                    <a:lnTo>
                      <a:pt x="2964" y="625"/>
                    </a:lnTo>
                    <a:close/>
                    <a:moveTo>
                      <a:pt x="3301" y="963"/>
                    </a:moveTo>
                    <a:cubicBezTo>
                      <a:pt x="3277" y="940"/>
                      <a:pt x="3203" y="870"/>
                      <a:pt x="2963" y="643"/>
                    </a:cubicBezTo>
                    <a:cubicBezTo>
                      <a:pt x="2724" y="813"/>
                      <a:pt x="2724" y="813"/>
                      <a:pt x="2724" y="813"/>
                    </a:cubicBezTo>
                    <a:cubicBezTo>
                      <a:pt x="2949" y="1106"/>
                      <a:pt x="3018" y="1197"/>
                      <a:pt x="3040" y="1225"/>
                    </a:cubicBezTo>
                    <a:cubicBezTo>
                      <a:pt x="3054" y="1215"/>
                      <a:pt x="3082" y="1196"/>
                      <a:pt x="3141" y="1156"/>
                    </a:cubicBezTo>
                    <a:cubicBezTo>
                      <a:pt x="3088" y="1057"/>
                      <a:pt x="3088" y="1057"/>
                      <a:pt x="3088" y="1057"/>
                    </a:cubicBezTo>
                    <a:cubicBezTo>
                      <a:pt x="3062" y="1102"/>
                      <a:pt x="3062" y="1102"/>
                      <a:pt x="3062" y="1102"/>
                    </a:cubicBezTo>
                    <a:cubicBezTo>
                      <a:pt x="3052" y="1119"/>
                      <a:pt x="3052" y="1119"/>
                      <a:pt x="3052" y="1119"/>
                    </a:cubicBezTo>
                    <a:cubicBezTo>
                      <a:pt x="3039" y="1104"/>
                      <a:pt x="3039" y="1104"/>
                      <a:pt x="3039" y="1104"/>
                    </a:cubicBezTo>
                    <a:cubicBezTo>
                      <a:pt x="2831" y="845"/>
                      <a:pt x="2831" y="845"/>
                      <a:pt x="2831" y="845"/>
                    </a:cubicBezTo>
                    <a:cubicBezTo>
                      <a:pt x="2822" y="834"/>
                      <a:pt x="2822" y="834"/>
                      <a:pt x="2822" y="834"/>
                    </a:cubicBezTo>
                    <a:cubicBezTo>
                      <a:pt x="2834" y="825"/>
                      <a:pt x="2834" y="825"/>
                      <a:pt x="2834" y="825"/>
                    </a:cubicBezTo>
                    <a:cubicBezTo>
                      <a:pt x="2964" y="729"/>
                      <a:pt x="2964" y="729"/>
                      <a:pt x="2964" y="729"/>
                    </a:cubicBezTo>
                    <a:cubicBezTo>
                      <a:pt x="2973" y="722"/>
                      <a:pt x="2973" y="722"/>
                      <a:pt x="2973" y="722"/>
                    </a:cubicBezTo>
                    <a:cubicBezTo>
                      <a:pt x="2982" y="730"/>
                      <a:pt x="2982" y="730"/>
                      <a:pt x="2982" y="730"/>
                    </a:cubicBezTo>
                    <a:cubicBezTo>
                      <a:pt x="3212" y="960"/>
                      <a:pt x="3212" y="960"/>
                      <a:pt x="3212" y="960"/>
                    </a:cubicBezTo>
                    <a:cubicBezTo>
                      <a:pt x="3226" y="974"/>
                      <a:pt x="3226" y="974"/>
                      <a:pt x="3226" y="974"/>
                    </a:cubicBezTo>
                    <a:cubicBezTo>
                      <a:pt x="3209" y="982"/>
                      <a:pt x="3209" y="982"/>
                      <a:pt x="3209" y="982"/>
                    </a:cubicBezTo>
                    <a:cubicBezTo>
                      <a:pt x="3169" y="1002"/>
                      <a:pt x="3169" y="1002"/>
                      <a:pt x="3169" y="1002"/>
                    </a:cubicBezTo>
                    <a:cubicBezTo>
                      <a:pt x="3215" y="1088"/>
                      <a:pt x="3215" y="1088"/>
                      <a:pt x="3215" y="1088"/>
                    </a:cubicBezTo>
                    <a:lnTo>
                      <a:pt x="3301" y="963"/>
                    </a:lnTo>
                    <a:close/>
                    <a:moveTo>
                      <a:pt x="2924" y="1883"/>
                    </a:moveTo>
                    <a:cubicBezTo>
                      <a:pt x="3092" y="1795"/>
                      <a:pt x="3092" y="1795"/>
                      <a:pt x="3092" y="1795"/>
                    </a:cubicBezTo>
                    <a:cubicBezTo>
                      <a:pt x="3345" y="2280"/>
                      <a:pt x="3345" y="2280"/>
                      <a:pt x="3345" y="2280"/>
                    </a:cubicBezTo>
                    <a:cubicBezTo>
                      <a:pt x="3344" y="2282"/>
                      <a:pt x="3344" y="2282"/>
                      <a:pt x="3344" y="2282"/>
                    </a:cubicBezTo>
                    <a:cubicBezTo>
                      <a:pt x="3344" y="2283"/>
                      <a:pt x="3317" y="2439"/>
                      <a:pt x="3285" y="2507"/>
                    </a:cubicBezTo>
                    <a:cubicBezTo>
                      <a:pt x="3284" y="2509"/>
                      <a:pt x="3281" y="2511"/>
                      <a:pt x="3278" y="2511"/>
                    </a:cubicBezTo>
                    <a:cubicBezTo>
                      <a:pt x="3273" y="2510"/>
                      <a:pt x="3274" y="2509"/>
                      <a:pt x="3273" y="2509"/>
                    </a:cubicBezTo>
                    <a:cubicBezTo>
                      <a:pt x="3265" y="2501"/>
                      <a:pt x="3238" y="2459"/>
                      <a:pt x="3210" y="2415"/>
                    </a:cubicBezTo>
                    <a:cubicBezTo>
                      <a:pt x="3183" y="2373"/>
                      <a:pt x="3157" y="2331"/>
                      <a:pt x="3157" y="2331"/>
                    </a:cubicBezTo>
                    <a:cubicBezTo>
                      <a:pt x="3155" y="2328"/>
                      <a:pt x="3155" y="2328"/>
                      <a:pt x="3155" y="2328"/>
                    </a:cubicBezTo>
                    <a:cubicBezTo>
                      <a:pt x="3157" y="2325"/>
                      <a:pt x="3157" y="2325"/>
                      <a:pt x="3157" y="2325"/>
                    </a:cubicBezTo>
                    <a:cubicBezTo>
                      <a:pt x="3157" y="2325"/>
                      <a:pt x="3181" y="2266"/>
                      <a:pt x="3184" y="2240"/>
                    </a:cubicBezTo>
                    <a:cubicBezTo>
                      <a:pt x="3179" y="2230"/>
                      <a:pt x="3145" y="2168"/>
                      <a:pt x="3112" y="2108"/>
                    </a:cubicBezTo>
                    <a:cubicBezTo>
                      <a:pt x="3084" y="2057"/>
                      <a:pt x="3056" y="2006"/>
                      <a:pt x="3046" y="1989"/>
                    </a:cubicBezTo>
                    <a:cubicBezTo>
                      <a:pt x="2988" y="2020"/>
                      <a:pt x="2988" y="2020"/>
                      <a:pt x="2988" y="2020"/>
                    </a:cubicBezTo>
                    <a:cubicBezTo>
                      <a:pt x="3101" y="2255"/>
                      <a:pt x="3101" y="2255"/>
                      <a:pt x="3101" y="2255"/>
                    </a:cubicBezTo>
                    <a:cubicBezTo>
                      <a:pt x="3071" y="2301"/>
                      <a:pt x="3071" y="2301"/>
                      <a:pt x="3071" y="2301"/>
                    </a:cubicBezTo>
                    <a:cubicBezTo>
                      <a:pt x="3256" y="2569"/>
                      <a:pt x="3256" y="2569"/>
                      <a:pt x="3256" y="2569"/>
                    </a:cubicBezTo>
                    <a:cubicBezTo>
                      <a:pt x="3213" y="2629"/>
                      <a:pt x="3213" y="2629"/>
                      <a:pt x="3213" y="2629"/>
                    </a:cubicBezTo>
                    <a:cubicBezTo>
                      <a:pt x="2736" y="1903"/>
                      <a:pt x="2736" y="1903"/>
                      <a:pt x="2736" y="1903"/>
                    </a:cubicBezTo>
                    <a:cubicBezTo>
                      <a:pt x="2893" y="1818"/>
                      <a:pt x="2893" y="1818"/>
                      <a:pt x="2893" y="1818"/>
                    </a:cubicBezTo>
                    <a:lnTo>
                      <a:pt x="2924" y="1883"/>
                    </a:lnTo>
                    <a:close/>
                    <a:moveTo>
                      <a:pt x="3085" y="1815"/>
                    </a:moveTo>
                    <a:cubicBezTo>
                      <a:pt x="2917" y="1904"/>
                      <a:pt x="2917" y="1904"/>
                      <a:pt x="2917" y="1904"/>
                    </a:cubicBezTo>
                    <a:cubicBezTo>
                      <a:pt x="2887" y="1839"/>
                      <a:pt x="2887" y="1839"/>
                      <a:pt x="2887" y="1839"/>
                    </a:cubicBezTo>
                    <a:cubicBezTo>
                      <a:pt x="2758" y="1909"/>
                      <a:pt x="2758" y="1909"/>
                      <a:pt x="2758" y="1909"/>
                    </a:cubicBezTo>
                    <a:cubicBezTo>
                      <a:pt x="3213" y="2603"/>
                      <a:pt x="3213" y="2603"/>
                      <a:pt x="3213" y="2603"/>
                    </a:cubicBezTo>
                    <a:cubicBezTo>
                      <a:pt x="3238" y="2569"/>
                      <a:pt x="3238" y="2569"/>
                      <a:pt x="3238" y="2569"/>
                    </a:cubicBezTo>
                    <a:cubicBezTo>
                      <a:pt x="3054" y="2302"/>
                      <a:pt x="3054" y="2302"/>
                      <a:pt x="3054" y="2302"/>
                    </a:cubicBezTo>
                    <a:cubicBezTo>
                      <a:pt x="3084" y="2254"/>
                      <a:pt x="3084" y="2254"/>
                      <a:pt x="3084" y="2254"/>
                    </a:cubicBezTo>
                    <a:cubicBezTo>
                      <a:pt x="2968" y="2014"/>
                      <a:pt x="2968" y="2014"/>
                      <a:pt x="2968" y="2014"/>
                    </a:cubicBezTo>
                    <a:cubicBezTo>
                      <a:pt x="3052" y="1969"/>
                      <a:pt x="3052" y="1969"/>
                      <a:pt x="3052" y="1969"/>
                    </a:cubicBezTo>
                    <a:cubicBezTo>
                      <a:pt x="3055" y="1975"/>
                      <a:pt x="3055" y="1975"/>
                      <a:pt x="3055" y="1975"/>
                    </a:cubicBezTo>
                    <a:cubicBezTo>
                      <a:pt x="3055" y="1975"/>
                      <a:pt x="3091" y="2039"/>
                      <a:pt x="3126" y="2104"/>
                    </a:cubicBezTo>
                    <a:cubicBezTo>
                      <a:pt x="3144" y="2136"/>
                      <a:pt x="3162" y="2169"/>
                      <a:pt x="3175" y="2193"/>
                    </a:cubicBezTo>
                    <a:cubicBezTo>
                      <a:pt x="3182" y="2205"/>
                      <a:pt x="3188" y="2216"/>
                      <a:pt x="3191" y="2223"/>
                    </a:cubicBezTo>
                    <a:cubicBezTo>
                      <a:pt x="3193" y="2227"/>
                      <a:pt x="3195" y="2230"/>
                      <a:pt x="3196" y="2232"/>
                    </a:cubicBezTo>
                    <a:cubicBezTo>
                      <a:pt x="3197" y="2233"/>
                      <a:pt x="3197" y="2234"/>
                      <a:pt x="3197" y="2234"/>
                    </a:cubicBezTo>
                    <a:cubicBezTo>
                      <a:pt x="3198" y="2236"/>
                      <a:pt x="3198" y="2234"/>
                      <a:pt x="3198" y="2239"/>
                    </a:cubicBezTo>
                    <a:cubicBezTo>
                      <a:pt x="3198" y="2239"/>
                      <a:pt x="3198" y="2239"/>
                      <a:pt x="3198" y="2239"/>
                    </a:cubicBezTo>
                    <a:cubicBezTo>
                      <a:pt x="3198" y="2239"/>
                      <a:pt x="3198" y="2239"/>
                      <a:pt x="3198" y="2239"/>
                    </a:cubicBezTo>
                    <a:cubicBezTo>
                      <a:pt x="3196" y="2265"/>
                      <a:pt x="3177" y="2313"/>
                      <a:pt x="3172" y="2327"/>
                    </a:cubicBezTo>
                    <a:cubicBezTo>
                      <a:pt x="3179" y="2337"/>
                      <a:pt x="3202" y="2375"/>
                      <a:pt x="3225" y="2412"/>
                    </a:cubicBezTo>
                    <a:cubicBezTo>
                      <a:pt x="3239" y="2434"/>
                      <a:pt x="3254" y="2456"/>
                      <a:pt x="3264" y="2472"/>
                    </a:cubicBezTo>
                    <a:cubicBezTo>
                      <a:pt x="3269" y="2479"/>
                      <a:pt x="3273" y="2485"/>
                      <a:pt x="3277" y="2490"/>
                    </a:cubicBezTo>
                    <a:cubicBezTo>
                      <a:pt x="3302" y="2426"/>
                      <a:pt x="3326" y="2301"/>
                      <a:pt x="3329" y="2282"/>
                    </a:cubicBezTo>
                    <a:lnTo>
                      <a:pt x="3085" y="1815"/>
                    </a:lnTo>
                    <a:close/>
                    <a:moveTo>
                      <a:pt x="3850" y="581"/>
                    </a:moveTo>
                    <a:cubicBezTo>
                      <a:pt x="3775" y="593"/>
                      <a:pt x="3775" y="593"/>
                      <a:pt x="3775" y="593"/>
                    </a:cubicBezTo>
                    <a:cubicBezTo>
                      <a:pt x="3790" y="674"/>
                      <a:pt x="3790" y="674"/>
                      <a:pt x="3790" y="674"/>
                    </a:cubicBezTo>
                    <a:cubicBezTo>
                      <a:pt x="3708" y="685"/>
                      <a:pt x="3708" y="685"/>
                      <a:pt x="3708" y="685"/>
                    </a:cubicBezTo>
                    <a:cubicBezTo>
                      <a:pt x="3690" y="607"/>
                      <a:pt x="3690" y="607"/>
                      <a:pt x="3690" y="607"/>
                    </a:cubicBezTo>
                    <a:cubicBezTo>
                      <a:pt x="3690" y="607"/>
                      <a:pt x="3669" y="611"/>
                      <a:pt x="3671" y="609"/>
                    </a:cubicBezTo>
                    <a:cubicBezTo>
                      <a:pt x="3672" y="607"/>
                      <a:pt x="3656" y="533"/>
                      <a:pt x="3656" y="533"/>
                    </a:cubicBezTo>
                    <a:cubicBezTo>
                      <a:pt x="3836" y="497"/>
                      <a:pt x="3836" y="497"/>
                      <a:pt x="3836" y="497"/>
                    </a:cubicBezTo>
                    <a:lnTo>
                      <a:pt x="3850" y="581"/>
                    </a:lnTo>
                    <a:close/>
                    <a:moveTo>
                      <a:pt x="3834" y="570"/>
                    </a:moveTo>
                    <a:cubicBezTo>
                      <a:pt x="3824" y="513"/>
                      <a:pt x="3824" y="513"/>
                      <a:pt x="3824" y="513"/>
                    </a:cubicBezTo>
                    <a:cubicBezTo>
                      <a:pt x="3673" y="544"/>
                      <a:pt x="3673" y="544"/>
                      <a:pt x="3673" y="544"/>
                    </a:cubicBezTo>
                    <a:cubicBezTo>
                      <a:pt x="3678" y="568"/>
                      <a:pt x="3681" y="584"/>
                      <a:pt x="3683" y="594"/>
                    </a:cubicBezTo>
                    <a:cubicBezTo>
                      <a:pt x="3685" y="594"/>
                      <a:pt x="3686" y="593"/>
                      <a:pt x="3688" y="593"/>
                    </a:cubicBezTo>
                    <a:cubicBezTo>
                      <a:pt x="3701" y="591"/>
                      <a:pt x="3701" y="591"/>
                      <a:pt x="3701" y="591"/>
                    </a:cubicBezTo>
                    <a:cubicBezTo>
                      <a:pt x="3704" y="604"/>
                      <a:pt x="3704" y="604"/>
                      <a:pt x="3704" y="604"/>
                    </a:cubicBezTo>
                    <a:cubicBezTo>
                      <a:pt x="3718" y="670"/>
                      <a:pt x="3718" y="670"/>
                      <a:pt x="3718" y="670"/>
                    </a:cubicBezTo>
                    <a:cubicBezTo>
                      <a:pt x="3773" y="663"/>
                      <a:pt x="3773" y="663"/>
                      <a:pt x="3773" y="663"/>
                    </a:cubicBezTo>
                    <a:cubicBezTo>
                      <a:pt x="3761" y="595"/>
                      <a:pt x="3761" y="595"/>
                      <a:pt x="3761" y="595"/>
                    </a:cubicBezTo>
                    <a:cubicBezTo>
                      <a:pt x="3759" y="581"/>
                      <a:pt x="3759" y="581"/>
                      <a:pt x="3759" y="581"/>
                    </a:cubicBezTo>
                    <a:cubicBezTo>
                      <a:pt x="3773" y="579"/>
                      <a:pt x="3773" y="579"/>
                      <a:pt x="3773" y="579"/>
                    </a:cubicBezTo>
                    <a:lnTo>
                      <a:pt x="3834" y="570"/>
                    </a:lnTo>
                    <a:close/>
                    <a:moveTo>
                      <a:pt x="1413" y="3155"/>
                    </a:moveTo>
                    <a:cubicBezTo>
                      <a:pt x="1551" y="3167"/>
                      <a:pt x="1551" y="3167"/>
                      <a:pt x="1551" y="3167"/>
                    </a:cubicBezTo>
                    <a:cubicBezTo>
                      <a:pt x="1546" y="3247"/>
                      <a:pt x="1546" y="3247"/>
                      <a:pt x="1546" y="3247"/>
                    </a:cubicBezTo>
                    <a:cubicBezTo>
                      <a:pt x="1306" y="3367"/>
                      <a:pt x="1306" y="3367"/>
                      <a:pt x="1306" y="3367"/>
                    </a:cubicBezTo>
                    <a:cubicBezTo>
                      <a:pt x="1275" y="3318"/>
                      <a:pt x="1275" y="3318"/>
                      <a:pt x="1275" y="3318"/>
                    </a:cubicBezTo>
                    <a:cubicBezTo>
                      <a:pt x="1223" y="3346"/>
                      <a:pt x="1223" y="3346"/>
                      <a:pt x="1223" y="3346"/>
                    </a:cubicBezTo>
                    <a:cubicBezTo>
                      <a:pt x="1020" y="2989"/>
                      <a:pt x="1020" y="2989"/>
                      <a:pt x="1020" y="2989"/>
                    </a:cubicBezTo>
                    <a:cubicBezTo>
                      <a:pt x="1133" y="2931"/>
                      <a:pt x="1133" y="2931"/>
                      <a:pt x="1133" y="2931"/>
                    </a:cubicBezTo>
                    <a:cubicBezTo>
                      <a:pt x="1240" y="3041"/>
                      <a:pt x="1240" y="3041"/>
                      <a:pt x="1240" y="3041"/>
                    </a:cubicBezTo>
                    <a:cubicBezTo>
                      <a:pt x="1279" y="3024"/>
                      <a:pt x="1279" y="3024"/>
                      <a:pt x="1279" y="3024"/>
                    </a:cubicBezTo>
                    <a:lnTo>
                      <a:pt x="1413" y="3155"/>
                    </a:lnTo>
                    <a:close/>
                    <a:moveTo>
                      <a:pt x="1536" y="3180"/>
                    </a:moveTo>
                    <a:cubicBezTo>
                      <a:pt x="1412" y="3169"/>
                      <a:pt x="1412" y="3169"/>
                      <a:pt x="1412" y="3169"/>
                    </a:cubicBezTo>
                    <a:cubicBezTo>
                      <a:pt x="1407" y="3169"/>
                      <a:pt x="1407" y="3169"/>
                      <a:pt x="1407" y="3169"/>
                    </a:cubicBezTo>
                    <a:cubicBezTo>
                      <a:pt x="1403" y="3165"/>
                      <a:pt x="1403" y="3165"/>
                      <a:pt x="1403" y="3165"/>
                    </a:cubicBezTo>
                    <a:cubicBezTo>
                      <a:pt x="1276" y="3041"/>
                      <a:pt x="1276" y="3041"/>
                      <a:pt x="1276" y="3041"/>
                    </a:cubicBezTo>
                    <a:cubicBezTo>
                      <a:pt x="1245" y="3054"/>
                      <a:pt x="1245" y="3054"/>
                      <a:pt x="1245" y="3054"/>
                    </a:cubicBezTo>
                    <a:cubicBezTo>
                      <a:pt x="1236" y="3058"/>
                      <a:pt x="1236" y="3058"/>
                      <a:pt x="1236" y="3058"/>
                    </a:cubicBezTo>
                    <a:cubicBezTo>
                      <a:pt x="1230" y="3051"/>
                      <a:pt x="1230" y="3051"/>
                      <a:pt x="1230" y="3051"/>
                    </a:cubicBezTo>
                    <a:cubicBezTo>
                      <a:pt x="1130" y="2948"/>
                      <a:pt x="1130" y="2948"/>
                      <a:pt x="1130" y="2948"/>
                    </a:cubicBezTo>
                    <a:cubicBezTo>
                      <a:pt x="1039" y="2994"/>
                      <a:pt x="1039" y="2994"/>
                      <a:pt x="1039" y="2994"/>
                    </a:cubicBezTo>
                    <a:cubicBezTo>
                      <a:pt x="1229" y="3327"/>
                      <a:pt x="1229" y="3327"/>
                      <a:pt x="1229" y="3327"/>
                    </a:cubicBezTo>
                    <a:cubicBezTo>
                      <a:pt x="1268" y="3306"/>
                      <a:pt x="1268" y="3306"/>
                      <a:pt x="1268" y="3306"/>
                    </a:cubicBezTo>
                    <a:cubicBezTo>
                      <a:pt x="1279" y="3300"/>
                      <a:pt x="1279" y="3300"/>
                      <a:pt x="1279" y="3300"/>
                    </a:cubicBezTo>
                    <a:cubicBezTo>
                      <a:pt x="1286" y="3311"/>
                      <a:pt x="1286" y="3311"/>
                      <a:pt x="1286" y="3311"/>
                    </a:cubicBezTo>
                    <a:cubicBezTo>
                      <a:pt x="1311" y="3349"/>
                      <a:pt x="1311" y="3349"/>
                      <a:pt x="1311" y="3349"/>
                    </a:cubicBezTo>
                    <a:cubicBezTo>
                      <a:pt x="1533" y="3238"/>
                      <a:pt x="1533" y="3238"/>
                      <a:pt x="1533" y="3238"/>
                    </a:cubicBezTo>
                    <a:lnTo>
                      <a:pt x="1536" y="3180"/>
                    </a:lnTo>
                    <a:close/>
                    <a:moveTo>
                      <a:pt x="3527" y="722"/>
                    </a:moveTo>
                    <a:cubicBezTo>
                      <a:pt x="3527" y="728"/>
                      <a:pt x="3526" y="734"/>
                      <a:pt x="3524" y="739"/>
                    </a:cubicBezTo>
                    <a:cubicBezTo>
                      <a:pt x="3514" y="773"/>
                      <a:pt x="3470" y="789"/>
                      <a:pt x="3423" y="789"/>
                    </a:cubicBezTo>
                    <a:cubicBezTo>
                      <a:pt x="3404" y="789"/>
                      <a:pt x="3384" y="786"/>
                      <a:pt x="3366" y="781"/>
                    </a:cubicBezTo>
                    <a:cubicBezTo>
                      <a:pt x="3309" y="764"/>
                      <a:pt x="3263" y="714"/>
                      <a:pt x="3263" y="671"/>
                    </a:cubicBezTo>
                    <a:cubicBezTo>
                      <a:pt x="3263" y="665"/>
                      <a:pt x="3264" y="658"/>
                      <a:pt x="3267" y="653"/>
                    </a:cubicBezTo>
                    <a:cubicBezTo>
                      <a:pt x="3278" y="623"/>
                      <a:pt x="3311" y="606"/>
                      <a:pt x="3356" y="606"/>
                    </a:cubicBezTo>
                    <a:cubicBezTo>
                      <a:pt x="3378" y="606"/>
                      <a:pt x="3404" y="610"/>
                      <a:pt x="3431" y="619"/>
                    </a:cubicBezTo>
                    <a:cubicBezTo>
                      <a:pt x="3488" y="638"/>
                      <a:pt x="3527" y="680"/>
                      <a:pt x="3527" y="722"/>
                    </a:cubicBezTo>
                    <a:close/>
                    <a:moveTo>
                      <a:pt x="3519" y="722"/>
                    </a:moveTo>
                    <a:cubicBezTo>
                      <a:pt x="3519" y="685"/>
                      <a:pt x="3483" y="645"/>
                      <a:pt x="3429" y="627"/>
                    </a:cubicBezTo>
                    <a:cubicBezTo>
                      <a:pt x="3402" y="619"/>
                      <a:pt x="3377" y="615"/>
                      <a:pt x="3356" y="615"/>
                    </a:cubicBezTo>
                    <a:cubicBezTo>
                      <a:pt x="3313" y="615"/>
                      <a:pt x="3284" y="630"/>
                      <a:pt x="3274" y="656"/>
                    </a:cubicBezTo>
                    <a:cubicBezTo>
                      <a:pt x="3272" y="660"/>
                      <a:pt x="3271" y="666"/>
                      <a:pt x="3271" y="671"/>
                    </a:cubicBezTo>
                    <a:cubicBezTo>
                      <a:pt x="3271" y="708"/>
                      <a:pt x="3314" y="758"/>
                      <a:pt x="3368" y="773"/>
                    </a:cubicBezTo>
                    <a:cubicBezTo>
                      <a:pt x="3386" y="778"/>
                      <a:pt x="3405" y="781"/>
                      <a:pt x="3423" y="781"/>
                    </a:cubicBezTo>
                    <a:cubicBezTo>
                      <a:pt x="3469" y="781"/>
                      <a:pt x="3509" y="765"/>
                      <a:pt x="3516" y="737"/>
                    </a:cubicBezTo>
                    <a:cubicBezTo>
                      <a:pt x="3518" y="732"/>
                      <a:pt x="3519" y="727"/>
                      <a:pt x="3519" y="722"/>
                    </a:cubicBezTo>
                    <a:close/>
                    <a:moveTo>
                      <a:pt x="1848" y="2363"/>
                    </a:moveTo>
                    <a:cubicBezTo>
                      <a:pt x="2127" y="2215"/>
                      <a:pt x="2127" y="2215"/>
                      <a:pt x="2127" y="2215"/>
                    </a:cubicBezTo>
                    <a:cubicBezTo>
                      <a:pt x="2066" y="2732"/>
                      <a:pt x="2066" y="2732"/>
                      <a:pt x="2066" y="2732"/>
                    </a:cubicBezTo>
                    <a:cubicBezTo>
                      <a:pt x="2008" y="2757"/>
                      <a:pt x="2008" y="2757"/>
                      <a:pt x="2008" y="2757"/>
                    </a:cubicBezTo>
                    <a:cubicBezTo>
                      <a:pt x="1827" y="2684"/>
                      <a:pt x="1827" y="2684"/>
                      <a:pt x="1827" y="2684"/>
                    </a:cubicBezTo>
                    <a:cubicBezTo>
                      <a:pt x="1903" y="2651"/>
                      <a:pt x="1903" y="2651"/>
                      <a:pt x="1903" y="2651"/>
                    </a:cubicBezTo>
                    <a:cubicBezTo>
                      <a:pt x="1935" y="2376"/>
                      <a:pt x="1935" y="2376"/>
                      <a:pt x="1935" y="2376"/>
                    </a:cubicBezTo>
                    <a:cubicBezTo>
                      <a:pt x="1872" y="2407"/>
                      <a:pt x="1872" y="2407"/>
                      <a:pt x="1872" y="2407"/>
                    </a:cubicBezTo>
                    <a:lnTo>
                      <a:pt x="1848" y="2363"/>
                    </a:lnTo>
                    <a:close/>
                    <a:moveTo>
                      <a:pt x="2110" y="2239"/>
                    </a:moveTo>
                    <a:cubicBezTo>
                      <a:pt x="1867" y="2368"/>
                      <a:pt x="1867" y="2368"/>
                      <a:pt x="1867" y="2368"/>
                    </a:cubicBezTo>
                    <a:cubicBezTo>
                      <a:pt x="1878" y="2389"/>
                      <a:pt x="1878" y="2389"/>
                      <a:pt x="1878" y="2389"/>
                    </a:cubicBezTo>
                    <a:cubicBezTo>
                      <a:pt x="1929" y="2364"/>
                      <a:pt x="1929" y="2364"/>
                      <a:pt x="1929" y="2364"/>
                    </a:cubicBezTo>
                    <a:cubicBezTo>
                      <a:pt x="1952" y="2353"/>
                      <a:pt x="1952" y="2353"/>
                      <a:pt x="1952" y="2353"/>
                    </a:cubicBezTo>
                    <a:cubicBezTo>
                      <a:pt x="1949" y="2378"/>
                      <a:pt x="1949" y="2378"/>
                      <a:pt x="1949" y="2378"/>
                    </a:cubicBezTo>
                    <a:cubicBezTo>
                      <a:pt x="1917" y="2653"/>
                      <a:pt x="1917" y="2653"/>
                      <a:pt x="1917" y="2653"/>
                    </a:cubicBezTo>
                    <a:cubicBezTo>
                      <a:pt x="1916" y="2661"/>
                      <a:pt x="1916" y="2661"/>
                      <a:pt x="1916" y="2661"/>
                    </a:cubicBezTo>
                    <a:cubicBezTo>
                      <a:pt x="1908" y="2664"/>
                      <a:pt x="1908" y="2664"/>
                      <a:pt x="1908" y="2664"/>
                    </a:cubicBezTo>
                    <a:cubicBezTo>
                      <a:pt x="1863" y="2683"/>
                      <a:pt x="1863" y="2683"/>
                      <a:pt x="1863" y="2683"/>
                    </a:cubicBezTo>
                    <a:cubicBezTo>
                      <a:pt x="2007" y="2742"/>
                      <a:pt x="2007" y="2742"/>
                      <a:pt x="2007" y="2742"/>
                    </a:cubicBezTo>
                    <a:cubicBezTo>
                      <a:pt x="2053" y="2722"/>
                      <a:pt x="2053" y="2722"/>
                      <a:pt x="2053" y="2722"/>
                    </a:cubicBezTo>
                    <a:lnTo>
                      <a:pt x="2110" y="2239"/>
                    </a:lnTo>
                    <a:close/>
                    <a:moveTo>
                      <a:pt x="1292" y="1321"/>
                    </a:moveTo>
                    <a:cubicBezTo>
                      <a:pt x="1206" y="1259"/>
                      <a:pt x="1206" y="1259"/>
                      <a:pt x="1206" y="1259"/>
                    </a:cubicBezTo>
                    <a:cubicBezTo>
                      <a:pt x="1336" y="1178"/>
                      <a:pt x="1336" y="1178"/>
                      <a:pt x="1336" y="1178"/>
                    </a:cubicBezTo>
                    <a:cubicBezTo>
                      <a:pt x="1488" y="1292"/>
                      <a:pt x="1488" y="1292"/>
                      <a:pt x="1488" y="1292"/>
                    </a:cubicBezTo>
                    <a:cubicBezTo>
                      <a:pt x="1448" y="1360"/>
                      <a:pt x="1448" y="1360"/>
                      <a:pt x="1448" y="1360"/>
                    </a:cubicBezTo>
                    <a:cubicBezTo>
                      <a:pt x="1346" y="1287"/>
                      <a:pt x="1346" y="1287"/>
                      <a:pt x="1346" y="1287"/>
                    </a:cubicBezTo>
                    <a:lnTo>
                      <a:pt x="1292" y="1321"/>
                    </a:lnTo>
                    <a:close/>
                    <a:moveTo>
                      <a:pt x="1231" y="1260"/>
                    </a:moveTo>
                    <a:cubicBezTo>
                      <a:pt x="1292" y="1304"/>
                      <a:pt x="1292" y="1304"/>
                      <a:pt x="1292" y="1304"/>
                    </a:cubicBezTo>
                    <a:cubicBezTo>
                      <a:pt x="1338" y="1275"/>
                      <a:pt x="1338" y="1275"/>
                      <a:pt x="1338" y="1275"/>
                    </a:cubicBezTo>
                    <a:cubicBezTo>
                      <a:pt x="1346" y="1270"/>
                      <a:pt x="1346" y="1270"/>
                      <a:pt x="1346" y="1270"/>
                    </a:cubicBezTo>
                    <a:cubicBezTo>
                      <a:pt x="1354" y="1275"/>
                      <a:pt x="1354" y="1275"/>
                      <a:pt x="1354" y="1275"/>
                    </a:cubicBezTo>
                    <a:cubicBezTo>
                      <a:pt x="1443" y="1340"/>
                      <a:pt x="1443" y="1340"/>
                      <a:pt x="1443" y="1340"/>
                    </a:cubicBezTo>
                    <a:cubicBezTo>
                      <a:pt x="1470" y="1296"/>
                      <a:pt x="1470" y="1296"/>
                      <a:pt x="1470" y="1296"/>
                    </a:cubicBezTo>
                    <a:cubicBezTo>
                      <a:pt x="1335" y="1195"/>
                      <a:pt x="1335" y="1195"/>
                      <a:pt x="1335" y="1195"/>
                    </a:cubicBezTo>
                    <a:lnTo>
                      <a:pt x="1231" y="1260"/>
                    </a:lnTo>
                    <a:close/>
                    <a:moveTo>
                      <a:pt x="450" y="5694"/>
                    </a:moveTo>
                    <a:cubicBezTo>
                      <a:pt x="581" y="5696"/>
                      <a:pt x="581" y="5696"/>
                      <a:pt x="581" y="5696"/>
                    </a:cubicBezTo>
                    <a:cubicBezTo>
                      <a:pt x="579" y="5834"/>
                      <a:pt x="579" y="5834"/>
                      <a:pt x="579" y="5834"/>
                    </a:cubicBezTo>
                    <a:cubicBezTo>
                      <a:pt x="441" y="5832"/>
                      <a:pt x="441" y="5832"/>
                      <a:pt x="441" y="5832"/>
                    </a:cubicBezTo>
                    <a:cubicBezTo>
                      <a:pt x="443" y="5694"/>
                      <a:pt x="443" y="5694"/>
                      <a:pt x="443" y="5694"/>
                    </a:cubicBezTo>
                    <a:lnTo>
                      <a:pt x="450" y="5694"/>
                    </a:lnTo>
                    <a:close/>
                    <a:moveTo>
                      <a:pt x="454" y="5819"/>
                    </a:moveTo>
                    <a:cubicBezTo>
                      <a:pt x="566" y="5821"/>
                      <a:pt x="566" y="5821"/>
                      <a:pt x="566" y="5821"/>
                    </a:cubicBezTo>
                    <a:cubicBezTo>
                      <a:pt x="568" y="5709"/>
                      <a:pt x="568" y="5709"/>
                      <a:pt x="568" y="5709"/>
                    </a:cubicBezTo>
                    <a:cubicBezTo>
                      <a:pt x="456" y="5707"/>
                      <a:pt x="456" y="5707"/>
                      <a:pt x="456" y="5707"/>
                    </a:cubicBezTo>
                    <a:lnTo>
                      <a:pt x="454" y="5819"/>
                    </a:lnTo>
                    <a:close/>
                    <a:moveTo>
                      <a:pt x="689" y="673"/>
                    </a:moveTo>
                    <a:cubicBezTo>
                      <a:pt x="868" y="841"/>
                      <a:pt x="868" y="841"/>
                      <a:pt x="868" y="841"/>
                    </a:cubicBezTo>
                    <a:cubicBezTo>
                      <a:pt x="863" y="846"/>
                      <a:pt x="863" y="846"/>
                      <a:pt x="863" y="846"/>
                    </a:cubicBezTo>
                    <a:cubicBezTo>
                      <a:pt x="815" y="897"/>
                      <a:pt x="815" y="897"/>
                      <a:pt x="815" y="897"/>
                    </a:cubicBezTo>
                    <a:cubicBezTo>
                      <a:pt x="759" y="841"/>
                      <a:pt x="759" y="841"/>
                      <a:pt x="759" y="841"/>
                    </a:cubicBezTo>
                    <a:cubicBezTo>
                      <a:pt x="722" y="962"/>
                      <a:pt x="722" y="962"/>
                      <a:pt x="722" y="962"/>
                    </a:cubicBezTo>
                    <a:cubicBezTo>
                      <a:pt x="707" y="961"/>
                      <a:pt x="707" y="961"/>
                      <a:pt x="707" y="961"/>
                    </a:cubicBezTo>
                    <a:cubicBezTo>
                      <a:pt x="686" y="833"/>
                      <a:pt x="686" y="833"/>
                      <a:pt x="686" y="833"/>
                    </a:cubicBezTo>
                    <a:cubicBezTo>
                      <a:pt x="617" y="932"/>
                      <a:pt x="617" y="932"/>
                      <a:pt x="617" y="932"/>
                    </a:cubicBezTo>
                    <a:cubicBezTo>
                      <a:pt x="536" y="846"/>
                      <a:pt x="536" y="846"/>
                      <a:pt x="536" y="846"/>
                    </a:cubicBezTo>
                    <a:lnTo>
                      <a:pt x="689" y="673"/>
                    </a:lnTo>
                    <a:close/>
                    <a:moveTo>
                      <a:pt x="690" y="694"/>
                    </a:moveTo>
                    <a:cubicBezTo>
                      <a:pt x="556" y="845"/>
                      <a:pt x="556" y="845"/>
                      <a:pt x="556" y="845"/>
                    </a:cubicBezTo>
                    <a:cubicBezTo>
                      <a:pt x="615" y="909"/>
                      <a:pt x="615" y="909"/>
                      <a:pt x="615" y="909"/>
                    </a:cubicBezTo>
                    <a:cubicBezTo>
                      <a:pt x="695" y="794"/>
                      <a:pt x="695" y="794"/>
                      <a:pt x="695" y="794"/>
                    </a:cubicBezTo>
                    <a:cubicBezTo>
                      <a:pt x="717" y="928"/>
                      <a:pt x="717" y="928"/>
                      <a:pt x="717" y="928"/>
                    </a:cubicBezTo>
                    <a:cubicBezTo>
                      <a:pt x="752" y="813"/>
                      <a:pt x="752" y="813"/>
                      <a:pt x="752" y="813"/>
                    </a:cubicBezTo>
                    <a:cubicBezTo>
                      <a:pt x="814" y="875"/>
                      <a:pt x="814" y="875"/>
                      <a:pt x="814" y="875"/>
                    </a:cubicBezTo>
                    <a:cubicBezTo>
                      <a:pt x="847" y="841"/>
                      <a:pt x="847" y="841"/>
                      <a:pt x="847" y="841"/>
                    </a:cubicBezTo>
                    <a:lnTo>
                      <a:pt x="690" y="694"/>
                    </a:lnTo>
                    <a:close/>
                    <a:moveTo>
                      <a:pt x="465" y="6109"/>
                    </a:moveTo>
                    <a:cubicBezTo>
                      <a:pt x="330" y="6079"/>
                      <a:pt x="330" y="6079"/>
                      <a:pt x="330" y="6079"/>
                    </a:cubicBezTo>
                    <a:cubicBezTo>
                      <a:pt x="360" y="5944"/>
                      <a:pt x="360" y="5944"/>
                      <a:pt x="360" y="5944"/>
                    </a:cubicBezTo>
                    <a:cubicBezTo>
                      <a:pt x="366" y="5946"/>
                      <a:pt x="366" y="5946"/>
                      <a:pt x="366" y="5946"/>
                    </a:cubicBezTo>
                    <a:cubicBezTo>
                      <a:pt x="494" y="5974"/>
                      <a:pt x="494" y="5974"/>
                      <a:pt x="494" y="5974"/>
                    </a:cubicBezTo>
                    <a:lnTo>
                      <a:pt x="465" y="6109"/>
                    </a:lnTo>
                    <a:close/>
                    <a:moveTo>
                      <a:pt x="455" y="6093"/>
                    </a:moveTo>
                    <a:cubicBezTo>
                      <a:pt x="479" y="5984"/>
                      <a:pt x="479" y="5984"/>
                      <a:pt x="479" y="5984"/>
                    </a:cubicBezTo>
                    <a:cubicBezTo>
                      <a:pt x="370" y="5960"/>
                      <a:pt x="370" y="5960"/>
                      <a:pt x="370" y="5960"/>
                    </a:cubicBezTo>
                    <a:cubicBezTo>
                      <a:pt x="346" y="6069"/>
                      <a:pt x="346" y="6069"/>
                      <a:pt x="346" y="6069"/>
                    </a:cubicBezTo>
                    <a:lnTo>
                      <a:pt x="455" y="6093"/>
                    </a:lnTo>
                    <a:close/>
                    <a:moveTo>
                      <a:pt x="725" y="1209"/>
                    </a:moveTo>
                    <a:cubicBezTo>
                      <a:pt x="804" y="1163"/>
                      <a:pt x="804" y="1163"/>
                      <a:pt x="804" y="1163"/>
                    </a:cubicBezTo>
                    <a:cubicBezTo>
                      <a:pt x="935" y="1290"/>
                      <a:pt x="935" y="1290"/>
                      <a:pt x="935" y="1290"/>
                    </a:cubicBezTo>
                    <a:cubicBezTo>
                      <a:pt x="932" y="1295"/>
                      <a:pt x="932" y="1295"/>
                      <a:pt x="932" y="1295"/>
                    </a:cubicBezTo>
                    <a:cubicBezTo>
                      <a:pt x="903" y="1350"/>
                      <a:pt x="903" y="1350"/>
                      <a:pt x="903" y="1350"/>
                    </a:cubicBezTo>
                    <a:cubicBezTo>
                      <a:pt x="846" y="1354"/>
                      <a:pt x="846" y="1354"/>
                      <a:pt x="846" y="1354"/>
                    </a:cubicBezTo>
                    <a:lnTo>
                      <a:pt x="725" y="1209"/>
                    </a:lnTo>
                    <a:close/>
                    <a:moveTo>
                      <a:pt x="802" y="1181"/>
                    </a:moveTo>
                    <a:cubicBezTo>
                      <a:pt x="748" y="1213"/>
                      <a:pt x="748" y="1213"/>
                      <a:pt x="748" y="1213"/>
                    </a:cubicBezTo>
                    <a:cubicBezTo>
                      <a:pt x="852" y="1339"/>
                      <a:pt x="852" y="1339"/>
                      <a:pt x="852" y="1339"/>
                    </a:cubicBezTo>
                    <a:cubicBezTo>
                      <a:pt x="894" y="1336"/>
                      <a:pt x="894" y="1336"/>
                      <a:pt x="894" y="1336"/>
                    </a:cubicBezTo>
                    <a:cubicBezTo>
                      <a:pt x="917" y="1293"/>
                      <a:pt x="917" y="1293"/>
                      <a:pt x="917" y="1293"/>
                    </a:cubicBezTo>
                    <a:lnTo>
                      <a:pt x="802" y="1181"/>
                    </a:lnTo>
                    <a:close/>
                    <a:moveTo>
                      <a:pt x="1717" y="2729"/>
                    </a:moveTo>
                    <a:cubicBezTo>
                      <a:pt x="1952" y="2779"/>
                      <a:pt x="1952" y="2779"/>
                      <a:pt x="1952" y="2779"/>
                    </a:cubicBezTo>
                    <a:cubicBezTo>
                      <a:pt x="1641" y="2910"/>
                      <a:pt x="1641" y="2910"/>
                      <a:pt x="1641" y="2910"/>
                    </a:cubicBezTo>
                    <a:cubicBezTo>
                      <a:pt x="1302" y="2653"/>
                      <a:pt x="1302" y="2653"/>
                      <a:pt x="1302" y="2653"/>
                    </a:cubicBezTo>
                    <a:cubicBezTo>
                      <a:pt x="1519" y="2537"/>
                      <a:pt x="1519" y="2537"/>
                      <a:pt x="1519" y="2537"/>
                    </a:cubicBezTo>
                    <a:cubicBezTo>
                      <a:pt x="1541" y="2582"/>
                      <a:pt x="1541" y="2582"/>
                      <a:pt x="1541" y="2582"/>
                    </a:cubicBezTo>
                    <a:cubicBezTo>
                      <a:pt x="1497" y="2607"/>
                      <a:pt x="1497" y="2607"/>
                      <a:pt x="1497" y="2607"/>
                    </a:cubicBezTo>
                    <a:cubicBezTo>
                      <a:pt x="1672" y="2746"/>
                      <a:pt x="1672" y="2746"/>
                      <a:pt x="1672" y="2746"/>
                    </a:cubicBezTo>
                    <a:lnTo>
                      <a:pt x="1717" y="2729"/>
                    </a:lnTo>
                    <a:close/>
                    <a:moveTo>
                      <a:pt x="1719" y="2743"/>
                    </a:moveTo>
                    <a:cubicBezTo>
                      <a:pt x="1677" y="2759"/>
                      <a:pt x="1677" y="2759"/>
                      <a:pt x="1677" y="2759"/>
                    </a:cubicBezTo>
                    <a:cubicBezTo>
                      <a:pt x="1670" y="2762"/>
                      <a:pt x="1670" y="2762"/>
                      <a:pt x="1670" y="2762"/>
                    </a:cubicBezTo>
                    <a:cubicBezTo>
                      <a:pt x="1664" y="2757"/>
                      <a:pt x="1664" y="2757"/>
                      <a:pt x="1664" y="2757"/>
                    </a:cubicBezTo>
                    <a:cubicBezTo>
                      <a:pt x="1489" y="2618"/>
                      <a:pt x="1489" y="2618"/>
                      <a:pt x="1489" y="2618"/>
                    </a:cubicBezTo>
                    <a:cubicBezTo>
                      <a:pt x="1473" y="2606"/>
                      <a:pt x="1473" y="2606"/>
                      <a:pt x="1473" y="2606"/>
                    </a:cubicBezTo>
                    <a:cubicBezTo>
                      <a:pt x="1490" y="2595"/>
                      <a:pt x="1490" y="2595"/>
                      <a:pt x="1490" y="2595"/>
                    </a:cubicBezTo>
                    <a:cubicBezTo>
                      <a:pt x="1522" y="2576"/>
                      <a:pt x="1522" y="2576"/>
                      <a:pt x="1522" y="2576"/>
                    </a:cubicBezTo>
                    <a:cubicBezTo>
                      <a:pt x="1513" y="2556"/>
                      <a:pt x="1513" y="2556"/>
                      <a:pt x="1513" y="2556"/>
                    </a:cubicBezTo>
                    <a:cubicBezTo>
                      <a:pt x="1328" y="2655"/>
                      <a:pt x="1328" y="2655"/>
                      <a:pt x="1328" y="2655"/>
                    </a:cubicBezTo>
                    <a:cubicBezTo>
                      <a:pt x="1643" y="2894"/>
                      <a:pt x="1643" y="2894"/>
                      <a:pt x="1643" y="2894"/>
                    </a:cubicBezTo>
                    <a:cubicBezTo>
                      <a:pt x="1906" y="2784"/>
                      <a:pt x="1906" y="2784"/>
                      <a:pt x="1906" y="2784"/>
                    </a:cubicBezTo>
                    <a:lnTo>
                      <a:pt x="1719" y="2743"/>
                    </a:lnTo>
                    <a:close/>
                    <a:moveTo>
                      <a:pt x="10812" y="8982"/>
                    </a:moveTo>
                    <a:cubicBezTo>
                      <a:pt x="10788" y="8936"/>
                      <a:pt x="10788" y="8936"/>
                      <a:pt x="10788" y="8936"/>
                    </a:cubicBezTo>
                    <a:cubicBezTo>
                      <a:pt x="10952" y="8849"/>
                      <a:pt x="10952" y="8849"/>
                      <a:pt x="10952" y="8849"/>
                    </a:cubicBezTo>
                    <a:cubicBezTo>
                      <a:pt x="11003" y="8946"/>
                      <a:pt x="11003" y="8946"/>
                      <a:pt x="11003" y="8946"/>
                    </a:cubicBezTo>
                    <a:cubicBezTo>
                      <a:pt x="10938" y="8980"/>
                      <a:pt x="10938" y="8980"/>
                      <a:pt x="10938" y="8980"/>
                    </a:cubicBezTo>
                    <a:cubicBezTo>
                      <a:pt x="10965" y="9031"/>
                      <a:pt x="10965" y="9031"/>
                      <a:pt x="10965" y="9031"/>
                    </a:cubicBezTo>
                    <a:cubicBezTo>
                      <a:pt x="10960" y="9034"/>
                      <a:pt x="10960" y="9034"/>
                      <a:pt x="10960" y="9034"/>
                    </a:cubicBezTo>
                    <a:cubicBezTo>
                      <a:pt x="10858" y="9091"/>
                      <a:pt x="10858" y="9091"/>
                      <a:pt x="10858" y="9091"/>
                    </a:cubicBezTo>
                    <a:cubicBezTo>
                      <a:pt x="10803" y="8987"/>
                      <a:pt x="10803" y="8987"/>
                      <a:pt x="10803" y="8987"/>
                    </a:cubicBezTo>
                    <a:lnTo>
                      <a:pt x="10812" y="8982"/>
                    </a:lnTo>
                    <a:close/>
                    <a:moveTo>
                      <a:pt x="10830" y="8988"/>
                    </a:moveTo>
                    <a:cubicBezTo>
                      <a:pt x="10821" y="8993"/>
                      <a:pt x="10821" y="8993"/>
                      <a:pt x="10821" y="8993"/>
                    </a:cubicBezTo>
                    <a:cubicBezTo>
                      <a:pt x="10863" y="9073"/>
                      <a:pt x="10863" y="9073"/>
                      <a:pt x="10863" y="9073"/>
                    </a:cubicBezTo>
                    <a:cubicBezTo>
                      <a:pt x="10948" y="9026"/>
                      <a:pt x="10948" y="9026"/>
                      <a:pt x="10948" y="9026"/>
                    </a:cubicBezTo>
                    <a:cubicBezTo>
                      <a:pt x="10921" y="8975"/>
                      <a:pt x="10921" y="8975"/>
                      <a:pt x="10921" y="8975"/>
                    </a:cubicBezTo>
                    <a:cubicBezTo>
                      <a:pt x="10985" y="8941"/>
                      <a:pt x="10985" y="8941"/>
                      <a:pt x="10985" y="8941"/>
                    </a:cubicBezTo>
                    <a:cubicBezTo>
                      <a:pt x="10946" y="8867"/>
                      <a:pt x="10946" y="8867"/>
                      <a:pt x="10946" y="8867"/>
                    </a:cubicBezTo>
                    <a:cubicBezTo>
                      <a:pt x="10806" y="8942"/>
                      <a:pt x="10806" y="8942"/>
                      <a:pt x="10806" y="8942"/>
                    </a:cubicBezTo>
                    <a:lnTo>
                      <a:pt x="10830" y="8988"/>
                    </a:lnTo>
                    <a:close/>
                    <a:moveTo>
                      <a:pt x="969" y="1254"/>
                    </a:moveTo>
                    <a:cubicBezTo>
                      <a:pt x="838" y="1126"/>
                      <a:pt x="838" y="1126"/>
                      <a:pt x="838" y="1126"/>
                    </a:cubicBezTo>
                    <a:cubicBezTo>
                      <a:pt x="943" y="1041"/>
                      <a:pt x="943" y="1041"/>
                      <a:pt x="943" y="1041"/>
                    </a:cubicBezTo>
                    <a:cubicBezTo>
                      <a:pt x="1020" y="1144"/>
                      <a:pt x="1020" y="1144"/>
                      <a:pt x="1020" y="1144"/>
                    </a:cubicBezTo>
                    <a:cubicBezTo>
                      <a:pt x="1018" y="1148"/>
                      <a:pt x="1018" y="1148"/>
                      <a:pt x="1018" y="1148"/>
                    </a:cubicBezTo>
                    <a:lnTo>
                      <a:pt x="969" y="1254"/>
                    </a:lnTo>
                    <a:close/>
                    <a:moveTo>
                      <a:pt x="964" y="1229"/>
                    </a:moveTo>
                    <a:cubicBezTo>
                      <a:pt x="1003" y="1145"/>
                      <a:pt x="1003" y="1145"/>
                      <a:pt x="1003" y="1145"/>
                    </a:cubicBezTo>
                    <a:cubicBezTo>
                      <a:pt x="940" y="1062"/>
                      <a:pt x="940" y="1062"/>
                      <a:pt x="940" y="1062"/>
                    </a:cubicBezTo>
                    <a:cubicBezTo>
                      <a:pt x="860" y="1127"/>
                      <a:pt x="860" y="1127"/>
                      <a:pt x="860" y="1127"/>
                    </a:cubicBezTo>
                    <a:lnTo>
                      <a:pt x="964" y="1229"/>
                    </a:lnTo>
                    <a:close/>
                    <a:moveTo>
                      <a:pt x="2340" y="8068"/>
                    </a:moveTo>
                    <a:cubicBezTo>
                      <a:pt x="2337" y="7952"/>
                      <a:pt x="2337" y="7952"/>
                      <a:pt x="2337" y="7952"/>
                    </a:cubicBezTo>
                    <a:cubicBezTo>
                      <a:pt x="2454" y="7951"/>
                      <a:pt x="2454" y="7951"/>
                      <a:pt x="2454" y="7951"/>
                    </a:cubicBezTo>
                    <a:cubicBezTo>
                      <a:pt x="2454" y="7961"/>
                      <a:pt x="2454" y="7961"/>
                      <a:pt x="2454" y="7961"/>
                    </a:cubicBezTo>
                    <a:cubicBezTo>
                      <a:pt x="2506" y="7961"/>
                      <a:pt x="2506" y="7961"/>
                      <a:pt x="2506" y="7961"/>
                    </a:cubicBezTo>
                    <a:cubicBezTo>
                      <a:pt x="2508" y="8146"/>
                      <a:pt x="2508" y="8146"/>
                      <a:pt x="2508" y="8146"/>
                    </a:cubicBezTo>
                    <a:cubicBezTo>
                      <a:pt x="2398" y="8147"/>
                      <a:pt x="2398" y="8147"/>
                      <a:pt x="2398" y="8147"/>
                    </a:cubicBezTo>
                    <a:cubicBezTo>
                      <a:pt x="2398" y="8074"/>
                      <a:pt x="2398" y="8074"/>
                      <a:pt x="2398" y="8074"/>
                    </a:cubicBezTo>
                    <a:cubicBezTo>
                      <a:pt x="2340" y="8074"/>
                      <a:pt x="2340" y="8074"/>
                      <a:pt x="2340" y="8074"/>
                    </a:cubicBezTo>
                    <a:lnTo>
                      <a:pt x="2340" y="8068"/>
                    </a:lnTo>
                    <a:close/>
                    <a:moveTo>
                      <a:pt x="2350" y="7965"/>
                    </a:moveTo>
                    <a:cubicBezTo>
                      <a:pt x="2353" y="8061"/>
                      <a:pt x="2353" y="8061"/>
                      <a:pt x="2353" y="8061"/>
                    </a:cubicBezTo>
                    <a:cubicBezTo>
                      <a:pt x="2411" y="8061"/>
                      <a:pt x="2411" y="8061"/>
                      <a:pt x="2411" y="8061"/>
                    </a:cubicBezTo>
                    <a:cubicBezTo>
                      <a:pt x="2411" y="8134"/>
                      <a:pt x="2411" y="8134"/>
                      <a:pt x="2411" y="8134"/>
                    </a:cubicBezTo>
                    <a:cubicBezTo>
                      <a:pt x="2495" y="8133"/>
                      <a:pt x="2495" y="8133"/>
                      <a:pt x="2495" y="8133"/>
                    </a:cubicBezTo>
                    <a:cubicBezTo>
                      <a:pt x="2493" y="7974"/>
                      <a:pt x="2493" y="7974"/>
                      <a:pt x="2493" y="7974"/>
                    </a:cubicBezTo>
                    <a:cubicBezTo>
                      <a:pt x="2441" y="7974"/>
                      <a:pt x="2441" y="7974"/>
                      <a:pt x="2441" y="7974"/>
                    </a:cubicBezTo>
                    <a:cubicBezTo>
                      <a:pt x="2441" y="7964"/>
                      <a:pt x="2441" y="7964"/>
                      <a:pt x="2441" y="7964"/>
                    </a:cubicBezTo>
                    <a:lnTo>
                      <a:pt x="2350" y="7965"/>
                    </a:lnTo>
                    <a:close/>
                    <a:moveTo>
                      <a:pt x="2778" y="8437"/>
                    </a:moveTo>
                    <a:cubicBezTo>
                      <a:pt x="2729" y="8353"/>
                      <a:pt x="2729" y="8353"/>
                      <a:pt x="2729" y="8353"/>
                    </a:cubicBezTo>
                    <a:cubicBezTo>
                      <a:pt x="2857" y="8279"/>
                      <a:pt x="2857" y="8279"/>
                      <a:pt x="2857" y="8279"/>
                    </a:cubicBezTo>
                    <a:cubicBezTo>
                      <a:pt x="2909" y="8369"/>
                      <a:pt x="2909" y="8369"/>
                      <a:pt x="2909" y="8369"/>
                    </a:cubicBezTo>
                    <a:cubicBezTo>
                      <a:pt x="2781" y="8443"/>
                      <a:pt x="2781" y="8443"/>
                      <a:pt x="2781" y="8443"/>
                    </a:cubicBezTo>
                    <a:lnTo>
                      <a:pt x="2778" y="8437"/>
                    </a:lnTo>
                    <a:close/>
                    <a:moveTo>
                      <a:pt x="2747" y="8357"/>
                    </a:moveTo>
                    <a:cubicBezTo>
                      <a:pt x="2786" y="8425"/>
                      <a:pt x="2786" y="8425"/>
                      <a:pt x="2786" y="8425"/>
                    </a:cubicBezTo>
                    <a:cubicBezTo>
                      <a:pt x="2892" y="8364"/>
                      <a:pt x="2892" y="8364"/>
                      <a:pt x="2892" y="8364"/>
                    </a:cubicBezTo>
                    <a:cubicBezTo>
                      <a:pt x="2852" y="8296"/>
                      <a:pt x="2852" y="8296"/>
                      <a:pt x="2852" y="8296"/>
                    </a:cubicBezTo>
                    <a:lnTo>
                      <a:pt x="2747" y="8357"/>
                    </a:lnTo>
                    <a:close/>
                    <a:moveTo>
                      <a:pt x="3105" y="8740"/>
                    </a:moveTo>
                    <a:cubicBezTo>
                      <a:pt x="2954" y="8726"/>
                      <a:pt x="2954" y="8726"/>
                      <a:pt x="2954" y="8726"/>
                    </a:cubicBezTo>
                    <a:cubicBezTo>
                      <a:pt x="2962" y="8650"/>
                      <a:pt x="2962" y="8650"/>
                      <a:pt x="2962" y="8650"/>
                    </a:cubicBezTo>
                    <a:cubicBezTo>
                      <a:pt x="2968" y="8651"/>
                      <a:pt x="2968" y="8651"/>
                      <a:pt x="2968" y="8651"/>
                    </a:cubicBezTo>
                    <a:cubicBezTo>
                      <a:pt x="3112" y="8665"/>
                      <a:pt x="3112" y="8665"/>
                      <a:pt x="3112" y="8665"/>
                    </a:cubicBezTo>
                    <a:lnTo>
                      <a:pt x="3105" y="8740"/>
                    </a:lnTo>
                    <a:close/>
                    <a:moveTo>
                      <a:pt x="3098" y="8677"/>
                    </a:moveTo>
                    <a:cubicBezTo>
                      <a:pt x="2973" y="8665"/>
                      <a:pt x="2973" y="8665"/>
                      <a:pt x="2973" y="8665"/>
                    </a:cubicBezTo>
                    <a:cubicBezTo>
                      <a:pt x="2969" y="8714"/>
                      <a:pt x="2969" y="8714"/>
                      <a:pt x="2969" y="8714"/>
                    </a:cubicBezTo>
                    <a:cubicBezTo>
                      <a:pt x="3093" y="8726"/>
                      <a:pt x="3093" y="8726"/>
                      <a:pt x="3093" y="8726"/>
                    </a:cubicBezTo>
                    <a:lnTo>
                      <a:pt x="3098" y="8677"/>
                    </a:lnTo>
                    <a:close/>
                    <a:moveTo>
                      <a:pt x="4525" y="1851"/>
                    </a:moveTo>
                    <a:cubicBezTo>
                      <a:pt x="4669" y="1816"/>
                      <a:pt x="4669" y="1816"/>
                      <a:pt x="4669" y="1816"/>
                    </a:cubicBezTo>
                    <a:cubicBezTo>
                      <a:pt x="4693" y="1918"/>
                      <a:pt x="4693" y="1918"/>
                      <a:pt x="4693" y="1918"/>
                    </a:cubicBezTo>
                    <a:cubicBezTo>
                      <a:pt x="4549" y="1952"/>
                      <a:pt x="4549" y="1952"/>
                      <a:pt x="4549" y="1952"/>
                    </a:cubicBezTo>
                    <a:cubicBezTo>
                      <a:pt x="4548" y="1946"/>
                      <a:pt x="4548" y="1946"/>
                      <a:pt x="4548" y="1946"/>
                    </a:cubicBezTo>
                    <a:lnTo>
                      <a:pt x="4525" y="1851"/>
                    </a:lnTo>
                    <a:close/>
                    <a:moveTo>
                      <a:pt x="4659" y="1832"/>
                    </a:moveTo>
                    <a:cubicBezTo>
                      <a:pt x="4541" y="1860"/>
                      <a:pt x="4541" y="1860"/>
                      <a:pt x="4541" y="1860"/>
                    </a:cubicBezTo>
                    <a:cubicBezTo>
                      <a:pt x="4559" y="1936"/>
                      <a:pt x="4559" y="1936"/>
                      <a:pt x="4559" y="1936"/>
                    </a:cubicBezTo>
                    <a:cubicBezTo>
                      <a:pt x="4678" y="1908"/>
                      <a:pt x="4678" y="1908"/>
                      <a:pt x="4678" y="1908"/>
                    </a:cubicBezTo>
                    <a:lnTo>
                      <a:pt x="4659" y="1832"/>
                    </a:lnTo>
                    <a:close/>
                    <a:moveTo>
                      <a:pt x="1821" y="3902"/>
                    </a:moveTo>
                    <a:cubicBezTo>
                      <a:pt x="1947" y="4033"/>
                      <a:pt x="1947" y="4033"/>
                      <a:pt x="1947" y="4033"/>
                    </a:cubicBezTo>
                    <a:cubicBezTo>
                      <a:pt x="1863" y="4110"/>
                      <a:pt x="1863" y="4110"/>
                      <a:pt x="1863" y="4110"/>
                    </a:cubicBezTo>
                    <a:cubicBezTo>
                      <a:pt x="1705" y="3943"/>
                      <a:pt x="1705" y="3943"/>
                      <a:pt x="1705" y="3943"/>
                    </a:cubicBezTo>
                    <a:lnTo>
                      <a:pt x="1821" y="3902"/>
                    </a:lnTo>
                    <a:close/>
                    <a:moveTo>
                      <a:pt x="1927" y="4032"/>
                    </a:moveTo>
                    <a:cubicBezTo>
                      <a:pt x="1817" y="3918"/>
                      <a:pt x="1817" y="3918"/>
                      <a:pt x="1817" y="3918"/>
                    </a:cubicBezTo>
                    <a:cubicBezTo>
                      <a:pt x="1730" y="3949"/>
                      <a:pt x="1730" y="3949"/>
                      <a:pt x="1730" y="3949"/>
                    </a:cubicBezTo>
                    <a:cubicBezTo>
                      <a:pt x="1863" y="4090"/>
                      <a:pt x="1863" y="4090"/>
                      <a:pt x="1863" y="4090"/>
                    </a:cubicBezTo>
                    <a:lnTo>
                      <a:pt x="1927" y="4032"/>
                    </a:lnTo>
                    <a:close/>
                    <a:moveTo>
                      <a:pt x="9927" y="5114"/>
                    </a:moveTo>
                    <a:cubicBezTo>
                      <a:pt x="9972" y="5259"/>
                      <a:pt x="9972" y="5259"/>
                      <a:pt x="9972" y="5259"/>
                    </a:cubicBezTo>
                    <a:cubicBezTo>
                      <a:pt x="9900" y="5281"/>
                      <a:pt x="9900" y="5281"/>
                      <a:pt x="9900" y="5281"/>
                    </a:cubicBezTo>
                    <a:cubicBezTo>
                      <a:pt x="9898" y="5275"/>
                      <a:pt x="9898" y="5275"/>
                      <a:pt x="9898" y="5275"/>
                    </a:cubicBezTo>
                    <a:cubicBezTo>
                      <a:pt x="9855" y="5137"/>
                      <a:pt x="9855" y="5137"/>
                      <a:pt x="9855" y="5137"/>
                    </a:cubicBezTo>
                    <a:lnTo>
                      <a:pt x="9927" y="5114"/>
                    </a:lnTo>
                    <a:close/>
                    <a:moveTo>
                      <a:pt x="9956" y="5250"/>
                    </a:moveTo>
                    <a:cubicBezTo>
                      <a:pt x="9919" y="5131"/>
                      <a:pt x="9919" y="5131"/>
                      <a:pt x="9919" y="5131"/>
                    </a:cubicBezTo>
                    <a:cubicBezTo>
                      <a:pt x="9871" y="5145"/>
                      <a:pt x="9871" y="5145"/>
                      <a:pt x="9871" y="5145"/>
                    </a:cubicBezTo>
                    <a:cubicBezTo>
                      <a:pt x="9908" y="5265"/>
                      <a:pt x="9908" y="5265"/>
                      <a:pt x="9908" y="5265"/>
                    </a:cubicBezTo>
                    <a:lnTo>
                      <a:pt x="9956" y="5250"/>
                    </a:lnTo>
                    <a:close/>
                    <a:moveTo>
                      <a:pt x="2150" y="8533"/>
                    </a:moveTo>
                    <a:cubicBezTo>
                      <a:pt x="2241" y="8635"/>
                      <a:pt x="2241" y="8635"/>
                      <a:pt x="2241" y="8635"/>
                    </a:cubicBezTo>
                    <a:cubicBezTo>
                      <a:pt x="1956" y="8715"/>
                      <a:pt x="1956" y="8715"/>
                      <a:pt x="1956" y="8715"/>
                    </a:cubicBezTo>
                    <a:cubicBezTo>
                      <a:pt x="1833" y="8699"/>
                      <a:pt x="1833" y="8699"/>
                      <a:pt x="1833" y="8699"/>
                    </a:cubicBezTo>
                    <a:cubicBezTo>
                      <a:pt x="1756" y="8794"/>
                      <a:pt x="1756" y="8794"/>
                      <a:pt x="1756" y="8794"/>
                    </a:cubicBezTo>
                    <a:cubicBezTo>
                      <a:pt x="1878" y="8903"/>
                      <a:pt x="1878" y="8903"/>
                      <a:pt x="1878" y="8903"/>
                    </a:cubicBezTo>
                    <a:cubicBezTo>
                      <a:pt x="1781" y="8994"/>
                      <a:pt x="1781" y="8994"/>
                      <a:pt x="1781" y="8994"/>
                    </a:cubicBezTo>
                    <a:cubicBezTo>
                      <a:pt x="1610" y="8834"/>
                      <a:pt x="1610" y="8834"/>
                      <a:pt x="1610" y="8834"/>
                    </a:cubicBezTo>
                    <a:cubicBezTo>
                      <a:pt x="1799" y="8553"/>
                      <a:pt x="1799" y="8553"/>
                      <a:pt x="1799" y="8553"/>
                    </a:cubicBezTo>
                    <a:cubicBezTo>
                      <a:pt x="1899" y="8620"/>
                      <a:pt x="1899" y="8620"/>
                      <a:pt x="1899" y="8620"/>
                    </a:cubicBezTo>
                    <a:cubicBezTo>
                      <a:pt x="2023" y="8413"/>
                      <a:pt x="2023" y="8413"/>
                      <a:pt x="2023" y="8413"/>
                    </a:cubicBezTo>
                    <a:cubicBezTo>
                      <a:pt x="2029" y="8419"/>
                      <a:pt x="2029" y="8419"/>
                      <a:pt x="2029" y="8419"/>
                    </a:cubicBezTo>
                    <a:lnTo>
                      <a:pt x="2150" y="8533"/>
                    </a:lnTo>
                    <a:close/>
                    <a:moveTo>
                      <a:pt x="2214" y="8627"/>
                    </a:moveTo>
                    <a:cubicBezTo>
                      <a:pt x="2140" y="8544"/>
                      <a:pt x="2140" y="8544"/>
                      <a:pt x="2140" y="8544"/>
                    </a:cubicBezTo>
                    <a:cubicBezTo>
                      <a:pt x="2026" y="8436"/>
                      <a:pt x="2026" y="8436"/>
                      <a:pt x="2026" y="8436"/>
                    </a:cubicBezTo>
                    <a:cubicBezTo>
                      <a:pt x="1904" y="8641"/>
                      <a:pt x="1904" y="8641"/>
                      <a:pt x="1904" y="8641"/>
                    </a:cubicBezTo>
                    <a:cubicBezTo>
                      <a:pt x="1803" y="8573"/>
                      <a:pt x="1803" y="8573"/>
                      <a:pt x="1803" y="8573"/>
                    </a:cubicBezTo>
                    <a:cubicBezTo>
                      <a:pt x="1629" y="8832"/>
                      <a:pt x="1629" y="8832"/>
                      <a:pt x="1629" y="8832"/>
                    </a:cubicBezTo>
                    <a:cubicBezTo>
                      <a:pt x="1781" y="8973"/>
                      <a:pt x="1781" y="8973"/>
                      <a:pt x="1781" y="8973"/>
                    </a:cubicBezTo>
                    <a:cubicBezTo>
                      <a:pt x="1856" y="8903"/>
                      <a:pt x="1856" y="8903"/>
                      <a:pt x="1856" y="8903"/>
                    </a:cubicBezTo>
                    <a:cubicBezTo>
                      <a:pt x="1735" y="8796"/>
                      <a:pt x="1735" y="8796"/>
                      <a:pt x="1735" y="8796"/>
                    </a:cubicBezTo>
                    <a:cubicBezTo>
                      <a:pt x="1827" y="8684"/>
                      <a:pt x="1827" y="8684"/>
                      <a:pt x="1827" y="8684"/>
                    </a:cubicBezTo>
                    <a:cubicBezTo>
                      <a:pt x="1954" y="8700"/>
                      <a:pt x="1954" y="8700"/>
                      <a:pt x="1954" y="8700"/>
                    </a:cubicBezTo>
                    <a:lnTo>
                      <a:pt x="2214" y="8627"/>
                    </a:lnTo>
                    <a:close/>
                    <a:moveTo>
                      <a:pt x="5604" y="8643"/>
                    </a:moveTo>
                    <a:cubicBezTo>
                      <a:pt x="5603" y="8472"/>
                      <a:pt x="5603" y="8472"/>
                      <a:pt x="5603" y="8472"/>
                    </a:cubicBezTo>
                    <a:cubicBezTo>
                      <a:pt x="5733" y="8473"/>
                      <a:pt x="5733" y="8473"/>
                      <a:pt x="5733" y="8473"/>
                    </a:cubicBezTo>
                    <a:cubicBezTo>
                      <a:pt x="5730" y="8558"/>
                      <a:pt x="5730" y="8558"/>
                      <a:pt x="5730" y="8558"/>
                    </a:cubicBezTo>
                    <a:cubicBezTo>
                      <a:pt x="5814" y="8559"/>
                      <a:pt x="5814" y="8559"/>
                      <a:pt x="5814" y="8559"/>
                    </a:cubicBezTo>
                    <a:cubicBezTo>
                      <a:pt x="5812" y="8741"/>
                      <a:pt x="5812" y="8741"/>
                      <a:pt x="5812" y="8741"/>
                    </a:cubicBezTo>
                    <a:cubicBezTo>
                      <a:pt x="5689" y="8741"/>
                      <a:pt x="5689" y="8741"/>
                      <a:pt x="5689" y="8741"/>
                    </a:cubicBezTo>
                    <a:cubicBezTo>
                      <a:pt x="5688" y="8644"/>
                      <a:pt x="5688" y="8644"/>
                      <a:pt x="5688" y="8644"/>
                    </a:cubicBezTo>
                    <a:lnTo>
                      <a:pt x="5604" y="8643"/>
                    </a:lnTo>
                    <a:close/>
                    <a:moveTo>
                      <a:pt x="5616" y="8486"/>
                    </a:moveTo>
                    <a:cubicBezTo>
                      <a:pt x="5617" y="8630"/>
                      <a:pt x="5617" y="8630"/>
                      <a:pt x="5617" y="8630"/>
                    </a:cubicBezTo>
                    <a:cubicBezTo>
                      <a:pt x="5701" y="8631"/>
                      <a:pt x="5701" y="8631"/>
                      <a:pt x="5701" y="8631"/>
                    </a:cubicBezTo>
                    <a:cubicBezTo>
                      <a:pt x="5701" y="8637"/>
                      <a:pt x="5701" y="8637"/>
                      <a:pt x="5701" y="8637"/>
                    </a:cubicBezTo>
                    <a:cubicBezTo>
                      <a:pt x="5702" y="8728"/>
                      <a:pt x="5702" y="8728"/>
                      <a:pt x="5702" y="8728"/>
                    </a:cubicBezTo>
                    <a:cubicBezTo>
                      <a:pt x="5799" y="8728"/>
                      <a:pt x="5799" y="8728"/>
                      <a:pt x="5799" y="8728"/>
                    </a:cubicBezTo>
                    <a:cubicBezTo>
                      <a:pt x="5801" y="8572"/>
                      <a:pt x="5801" y="8572"/>
                      <a:pt x="5801" y="8572"/>
                    </a:cubicBezTo>
                    <a:cubicBezTo>
                      <a:pt x="5717" y="8571"/>
                      <a:pt x="5717" y="8571"/>
                      <a:pt x="5717" y="8571"/>
                    </a:cubicBezTo>
                    <a:cubicBezTo>
                      <a:pt x="5720" y="8486"/>
                      <a:pt x="5720" y="8486"/>
                      <a:pt x="5720" y="8486"/>
                    </a:cubicBezTo>
                    <a:lnTo>
                      <a:pt x="5616" y="8486"/>
                    </a:lnTo>
                    <a:close/>
                    <a:moveTo>
                      <a:pt x="10218" y="5031"/>
                    </a:moveTo>
                    <a:cubicBezTo>
                      <a:pt x="10262" y="5176"/>
                      <a:pt x="10262" y="5176"/>
                      <a:pt x="10262" y="5176"/>
                    </a:cubicBezTo>
                    <a:cubicBezTo>
                      <a:pt x="10190" y="5198"/>
                      <a:pt x="10190" y="5198"/>
                      <a:pt x="10190" y="5198"/>
                    </a:cubicBezTo>
                    <a:cubicBezTo>
                      <a:pt x="10188" y="5192"/>
                      <a:pt x="10188" y="5192"/>
                      <a:pt x="10188" y="5192"/>
                    </a:cubicBezTo>
                    <a:cubicBezTo>
                      <a:pt x="10145" y="5053"/>
                      <a:pt x="10145" y="5053"/>
                      <a:pt x="10145" y="5053"/>
                    </a:cubicBezTo>
                    <a:lnTo>
                      <a:pt x="10218" y="5031"/>
                    </a:lnTo>
                    <a:close/>
                    <a:moveTo>
                      <a:pt x="10246" y="5167"/>
                    </a:moveTo>
                    <a:cubicBezTo>
                      <a:pt x="10209" y="5047"/>
                      <a:pt x="10209" y="5047"/>
                      <a:pt x="10209" y="5047"/>
                    </a:cubicBezTo>
                    <a:cubicBezTo>
                      <a:pt x="10162" y="5062"/>
                      <a:pt x="10162" y="5062"/>
                      <a:pt x="10162" y="5062"/>
                    </a:cubicBezTo>
                    <a:cubicBezTo>
                      <a:pt x="10199" y="5182"/>
                      <a:pt x="10199" y="5182"/>
                      <a:pt x="10199" y="5182"/>
                    </a:cubicBezTo>
                    <a:lnTo>
                      <a:pt x="10246" y="5167"/>
                    </a:lnTo>
                    <a:close/>
                    <a:moveTo>
                      <a:pt x="10114" y="5064"/>
                    </a:moveTo>
                    <a:cubicBezTo>
                      <a:pt x="10158" y="5208"/>
                      <a:pt x="10158" y="5208"/>
                      <a:pt x="10158" y="5208"/>
                    </a:cubicBezTo>
                    <a:cubicBezTo>
                      <a:pt x="10086" y="5231"/>
                      <a:pt x="10086" y="5231"/>
                      <a:pt x="10086" y="5231"/>
                    </a:cubicBezTo>
                    <a:cubicBezTo>
                      <a:pt x="10084" y="5224"/>
                      <a:pt x="10084" y="5224"/>
                      <a:pt x="10084" y="5224"/>
                    </a:cubicBezTo>
                    <a:cubicBezTo>
                      <a:pt x="10041" y="5086"/>
                      <a:pt x="10041" y="5086"/>
                      <a:pt x="10041" y="5086"/>
                    </a:cubicBezTo>
                    <a:lnTo>
                      <a:pt x="10114" y="5064"/>
                    </a:lnTo>
                    <a:close/>
                    <a:moveTo>
                      <a:pt x="10142" y="5200"/>
                    </a:moveTo>
                    <a:cubicBezTo>
                      <a:pt x="10105" y="5080"/>
                      <a:pt x="10105" y="5080"/>
                      <a:pt x="10105" y="5080"/>
                    </a:cubicBezTo>
                    <a:cubicBezTo>
                      <a:pt x="10058" y="5095"/>
                      <a:pt x="10058" y="5095"/>
                      <a:pt x="10058" y="5095"/>
                    </a:cubicBezTo>
                    <a:cubicBezTo>
                      <a:pt x="10095" y="5214"/>
                      <a:pt x="10095" y="5214"/>
                      <a:pt x="10095" y="5214"/>
                    </a:cubicBezTo>
                    <a:lnTo>
                      <a:pt x="10142" y="5200"/>
                    </a:lnTo>
                    <a:close/>
                    <a:moveTo>
                      <a:pt x="10505" y="4364"/>
                    </a:moveTo>
                    <a:cubicBezTo>
                      <a:pt x="10553" y="4510"/>
                      <a:pt x="10553" y="4510"/>
                      <a:pt x="10553" y="4510"/>
                    </a:cubicBezTo>
                    <a:cubicBezTo>
                      <a:pt x="10601" y="4497"/>
                      <a:pt x="10601" y="4497"/>
                      <a:pt x="10601" y="4497"/>
                    </a:cubicBezTo>
                    <a:cubicBezTo>
                      <a:pt x="10678" y="4743"/>
                      <a:pt x="10678" y="4743"/>
                      <a:pt x="10678" y="4743"/>
                    </a:cubicBezTo>
                    <a:cubicBezTo>
                      <a:pt x="10680" y="4750"/>
                      <a:pt x="10680" y="4750"/>
                      <a:pt x="10680" y="4750"/>
                    </a:cubicBezTo>
                    <a:cubicBezTo>
                      <a:pt x="10466" y="4817"/>
                      <a:pt x="10466" y="4817"/>
                      <a:pt x="10466" y="4817"/>
                    </a:cubicBezTo>
                    <a:cubicBezTo>
                      <a:pt x="10438" y="4727"/>
                      <a:pt x="10438" y="4727"/>
                      <a:pt x="10438" y="4727"/>
                    </a:cubicBezTo>
                    <a:cubicBezTo>
                      <a:pt x="10295" y="4770"/>
                      <a:pt x="10295" y="4770"/>
                      <a:pt x="10295" y="4770"/>
                    </a:cubicBezTo>
                    <a:cubicBezTo>
                      <a:pt x="10322" y="4860"/>
                      <a:pt x="10322" y="4860"/>
                      <a:pt x="10322" y="4860"/>
                    </a:cubicBezTo>
                    <a:cubicBezTo>
                      <a:pt x="10120" y="4926"/>
                      <a:pt x="10120" y="4926"/>
                      <a:pt x="10120" y="4926"/>
                    </a:cubicBezTo>
                    <a:cubicBezTo>
                      <a:pt x="10103" y="4875"/>
                      <a:pt x="10103" y="4875"/>
                      <a:pt x="10103" y="4875"/>
                    </a:cubicBezTo>
                    <a:cubicBezTo>
                      <a:pt x="10179" y="4850"/>
                      <a:pt x="10179" y="4850"/>
                      <a:pt x="10179" y="4850"/>
                    </a:cubicBezTo>
                    <a:cubicBezTo>
                      <a:pt x="10146" y="4745"/>
                      <a:pt x="10146" y="4745"/>
                      <a:pt x="10146" y="4745"/>
                    </a:cubicBezTo>
                    <a:cubicBezTo>
                      <a:pt x="10074" y="4766"/>
                      <a:pt x="10074" y="4766"/>
                      <a:pt x="10074" y="4766"/>
                    </a:cubicBezTo>
                    <a:cubicBezTo>
                      <a:pt x="10043" y="4667"/>
                      <a:pt x="10043" y="4667"/>
                      <a:pt x="10043" y="4667"/>
                    </a:cubicBezTo>
                    <a:cubicBezTo>
                      <a:pt x="10396" y="4557"/>
                      <a:pt x="10396" y="4557"/>
                      <a:pt x="10396" y="4557"/>
                    </a:cubicBezTo>
                    <a:cubicBezTo>
                      <a:pt x="10353" y="4413"/>
                      <a:pt x="10353" y="4413"/>
                      <a:pt x="10353" y="4413"/>
                    </a:cubicBezTo>
                    <a:lnTo>
                      <a:pt x="10505" y="4364"/>
                    </a:lnTo>
                    <a:close/>
                    <a:moveTo>
                      <a:pt x="10543" y="4528"/>
                    </a:moveTo>
                    <a:cubicBezTo>
                      <a:pt x="10496" y="4383"/>
                      <a:pt x="10496" y="4383"/>
                      <a:pt x="10496" y="4383"/>
                    </a:cubicBezTo>
                    <a:cubicBezTo>
                      <a:pt x="10372" y="4423"/>
                      <a:pt x="10372" y="4423"/>
                      <a:pt x="10372" y="4423"/>
                    </a:cubicBezTo>
                    <a:cubicBezTo>
                      <a:pt x="10415" y="4567"/>
                      <a:pt x="10415" y="4567"/>
                      <a:pt x="10415" y="4567"/>
                    </a:cubicBezTo>
                    <a:cubicBezTo>
                      <a:pt x="10061" y="4677"/>
                      <a:pt x="10061" y="4677"/>
                      <a:pt x="10061" y="4677"/>
                    </a:cubicBezTo>
                    <a:cubicBezTo>
                      <a:pt x="10084" y="4748"/>
                      <a:pt x="10084" y="4748"/>
                      <a:pt x="10084" y="4748"/>
                    </a:cubicBezTo>
                    <a:cubicBezTo>
                      <a:pt x="10156" y="4727"/>
                      <a:pt x="10156" y="4727"/>
                      <a:pt x="10156" y="4727"/>
                    </a:cubicBezTo>
                    <a:cubicBezTo>
                      <a:pt x="10197" y="4859"/>
                      <a:pt x="10197" y="4859"/>
                      <a:pt x="10197" y="4859"/>
                    </a:cubicBezTo>
                    <a:cubicBezTo>
                      <a:pt x="10122" y="4884"/>
                      <a:pt x="10122" y="4884"/>
                      <a:pt x="10122" y="4884"/>
                    </a:cubicBezTo>
                    <a:cubicBezTo>
                      <a:pt x="10129" y="4908"/>
                      <a:pt x="10129" y="4908"/>
                      <a:pt x="10129" y="4908"/>
                    </a:cubicBezTo>
                    <a:cubicBezTo>
                      <a:pt x="10303" y="4850"/>
                      <a:pt x="10303" y="4850"/>
                      <a:pt x="10303" y="4850"/>
                    </a:cubicBezTo>
                    <a:cubicBezTo>
                      <a:pt x="10276" y="4760"/>
                      <a:pt x="10276" y="4760"/>
                      <a:pt x="10276" y="4760"/>
                    </a:cubicBezTo>
                    <a:cubicBezTo>
                      <a:pt x="10447" y="4708"/>
                      <a:pt x="10447" y="4708"/>
                      <a:pt x="10447" y="4708"/>
                    </a:cubicBezTo>
                    <a:cubicBezTo>
                      <a:pt x="10476" y="4798"/>
                      <a:pt x="10476" y="4798"/>
                      <a:pt x="10476" y="4798"/>
                    </a:cubicBezTo>
                    <a:cubicBezTo>
                      <a:pt x="10661" y="4740"/>
                      <a:pt x="10661" y="4740"/>
                      <a:pt x="10661" y="4740"/>
                    </a:cubicBezTo>
                    <a:cubicBezTo>
                      <a:pt x="10591" y="4515"/>
                      <a:pt x="10591" y="4515"/>
                      <a:pt x="10591" y="4515"/>
                    </a:cubicBezTo>
                    <a:lnTo>
                      <a:pt x="10543" y="4528"/>
                    </a:lnTo>
                    <a:close/>
                    <a:moveTo>
                      <a:pt x="9360" y="5948"/>
                    </a:moveTo>
                    <a:cubicBezTo>
                      <a:pt x="9360" y="5948"/>
                      <a:pt x="9360" y="5948"/>
                      <a:pt x="9360" y="5948"/>
                    </a:cubicBezTo>
                    <a:cubicBezTo>
                      <a:pt x="9360" y="5948"/>
                      <a:pt x="9360" y="5948"/>
                      <a:pt x="9360" y="5948"/>
                    </a:cubicBezTo>
                    <a:close/>
                    <a:moveTo>
                      <a:pt x="9861" y="8322"/>
                    </a:moveTo>
                    <a:cubicBezTo>
                      <a:pt x="9775" y="8322"/>
                      <a:pt x="9775" y="8322"/>
                      <a:pt x="9775" y="8322"/>
                    </a:cubicBezTo>
                    <a:cubicBezTo>
                      <a:pt x="9775" y="8153"/>
                      <a:pt x="9775" y="8153"/>
                      <a:pt x="9775" y="8153"/>
                    </a:cubicBezTo>
                    <a:cubicBezTo>
                      <a:pt x="9909" y="8153"/>
                      <a:pt x="9909" y="8153"/>
                      <a:pt x="9909" y="8153"/>
                    </a:cubicBezTo>
                    <a:cubicBezTo>
                      <a:pt x="9909" y="8242"/>
                      <a:pt x="9909" y="8242"/>
                      <a:pt x="9909" y="8242"/>
                    </a:cubicBezTo>
                    <a:cubicBezTo>
                      <a:pt x="9989" y="8242"/>
                      <a:pt x="9989" y="8242"/>
                      <a:pt x="9989" y="8242"/>
                    </a:cubicBezTo>
                    <a:cubicBezTo>
                      <a:pt x="9989" y="8424"/>
                      <a:pt x="9989" y="8424"/>
                      <a:pt x="9989" y="8424"/>
                    </a:cubicBezTo>
                    <a:cubicBezTo>
                      <a:pt x="9861" y="8424"/>
                      <a:pt x="9861" y="8424"/>
                      <a:pt x="9861" y="8424"/>
                    </a:cubicBezTo>
                    <a:lnTo>
                      <a:pt x="9861" y="8322"/>
                    </a:lnTo>
                    <a:close/>
                    <a:moveTo>
                      <a:pt x="9873" y="8311"/>
                    </a:moveTo>
                    <a:cubicBezTo>
                      <a:pt x="9873" y="8317"/>
                      <a:pt x="9873" y="8317"/>
                      <a:pt x="9873" y="8317"/>
                    </a:cubicBezTo>
                    <a:cubicBezTo>
                      <a:pt x="9873" y="8412"/>
                      <a:pt x="9873" y="8412"/>
                      <a:pt x="9873" y="8412"/>
                    </a:cubicBezTo>
                    <a:cubicBezTo>
                      <a:pt x="9977" y="8412"/>
                      <a:pt x="9977" y="8412"/>
                      <a:pt x="9977" y="8412"/>
                    </a:cubicBezTo>
                    <a:cubicBezTo>
                      <a:pt x="9977" y="8253"/>
                      <a:pt x="9977" y="8253"/>
                      <a:pt x="9977" y="8253"/>
                    </a:cubicBezTo>
                    <a:cubicBezTo>
                      <a:pt x="9897" y="8253"/>
                      <a:pt x="9897" y="8253"/>
                      <a:pt x="9897" y="8253"/>
                    </a:cubicBezTo>
                    <a:cubicBezTo>
                      <a:pt x="9897" y="8165"/>
                      <a:pt x="9897" y="8165"/>
                      <a:pt x="9897" y="8165"/>
                    </a:cubicBezTo>
                    <a:cubicBezTo>
                      <a:pt x="9787" y="8165"/>
                      <a:pt x="9787" y="8165"/>
                      <a:pt x="9787" y="8165"/>
                    </a:cubicBezTo>
                    <a:cubicBezTo>
                      <a:pt x="9787" y="8311"/>
                      <a:pt x="9787" y="8311"/>
                      <a:pt x="9787" y="8311"/>
                    </a:cubicBezTo>
                    <a:lnTo>
                      <a:pt x="9873" y="8311"/>
                    </a:lnTo>
                    <a:close/>
                    <a:moveTo>
                      <a:pt x="9515" y="5187"/>
                    </a:moveTo>
                    <a:cubicBezTo>
                      <a:pt x="9560" y="5332"/>
                      <a:pt x="9560" y="5332"/>
                      <a:pt x="9560" y="5332"/>
                    </a:cubicBezTo>
                    <a:cubicBezTo>
                      <a:pt x="9487" y="5354"/>
                      <a:pt x="9487" y="5354"/>
                      <a:pt x="9487" y="5354"/>
                    </a:cubicBezTo>
                    <a:cubicBezTo>
                      <a:pt x="9485" y="5348"/>
                      <a:pt x="9485" y="5348"/>
                      <a:pt x="9485" y="5348"/>
                    </a:cubicBezTo>
                    <a:cubicBezTo>
                      <a:pt x="9442" y="5210"/>
                      <a:pt x="9442" y="5210"/>
                      <a:pt x="9442" y="5210"/>
                    </a:cubicBezTo>
                    <a:lnTo>
                      <a:pt x="9515" y="5187"/>
                    </a:lnTo>
                    <a:close/>
                    <a:moveTo>
                      <a:pt x="9543" y="5323"/>
                    </a:moveTo>
                    <a:cubicBezTo>
                      <a:pt x="9506" y="5204"/>
                      <a:pt x="9506" y="5204"/>
                      <a:pt x="9506" y="5204"/>
                    </a:cubicBezTo>
                    <a:cubicBezTo>
                      <a:pt x="9459" y="5218"/>
                      <a:pt x="9459" y="5218"/>
                      <a:pt x="9459" y="5218"/>
                    </a:cubicBezTo>
                    <a:cubicBezTo>
                      <a:pt x="9496" y="5338"/>
                      <a:pt x="9496" y="5338"/>
                      <a:pt x="9496" y="5338"/>
                    </a:cubicBezTo>
                    <a:lnTo>
                      <a:pt x="9543" y="5323"/>
                    </a:lnTo>
                    <a:close/>
                    <a:moveTo>
                      <a:pt x="4460" y="2233"/>
                    </a:moveTo>
                    <a:cubicBezTo>
                      <a:pt x="4390" y="2256"/>
                      <a:pt x="4390" y="2256"/>
                      <a:pt x="4390" y="2256"/>
                    </a:cubicBezTo>
                    <a:cubicBezTo>
                      <a:pt x="4414" y="2328"/>
                      <a:pt x="4414" y="2328"/>
                      <a:pt x="4414" y="2328"/>
                    </a:cubicBezTo>
                    <a:cubicBezTo>
                      <a:pt x="4342" y="2352"/>
                      <a:pt x="4342" y="2352"/>
                      <a:pt x="4342" y="2352"/>
                    </a:cubicBezTo>
                    <a:cubicBezTo>
                      <a:pt x="4340" y="2345"/>
                      <a:pt x="4340" y="2345"/>
                      <a:pt x="4340" y="2345"/>
                    </a:cubicBezTo>
                    <a:cubicBezTo>
                      <a:pt x="4282" y="2162"/>
                      <a:pt x="4282" y="2162"/>
                      <a:pt x="4282" y="2162"/>
                    </a:cubicBezTo>
                    <a:cubicBezTo>
                      <a:pt x="4329" y="2147"/>
                      <a:pt x="4329" y="2147"/>
                      <a:pt x="4329" y="2147"/>
                    </a:cubicBezTo>
                    <a:cubicBezTo>
                      <a:pt x="4326" y="2136"/>
                      <a:pt x="4326" y="2136"/>
                      <a:pt x="4326" y="2136"/>
                    </a:cubicBezTo>
                    <a:cubicBezTo>
                      <a:pt x="4323" y="2130"/>
                      <a:pt x="4323" y="2130"/>
                      <a:pt x="4323" y="2130"/>
                    </a:cubicBezTo>
                    <a:cubicBezTo>
                      <a:pt x="4415" y="2099"/>
                      <a:pt x="4415" y="2099"/>
                      <a:pt x="4415" y="2099"/>
                    </a:cubicBezTo>
                    <a:lnTo>
                      <a:pt x="4460" y="2233"/>
                    </a:lnTo>
                    <a:close/>
                    <a:moveTo>
                      <a:pt x="4374" y="2248"/>
                    </a:moveTo>
                    <a:cubicBezTo>
                      <a:pt x="4443" y="2225"/>
                      <a:pt x="4443" y="2225"/>
                      <a:pt x="4443" y="2225"/>
                    </a:cubicBezTo>
                    <a:cubicBezTo>
                      <a:pt x="4407" y="2116"/>
                      <a:pt x="4407" y="2116"/>
                      <a:pt x="4407" y="2116"/>
                    </a:cubicBezTo>
                    <a:cubicBezTo>
                      <a:pt x="4340" y="2138"/>
                      <a:pt x="4340" y="2138"/>
                      <a:pt x="4340" y="2138"/>
                    </a:cubicBezTo>
                    <a:cubicBezTo>
                      <a:pt x="4344" y="2149"/>
                      <a:pt x="4344" y="2149"/>
                      <a:pt x="4344" y="2149"/>
                    </a:cubicBezTo>
                    <a:cubicBezTo>
                      <a:pt x="4346" y="2155"/>
                      <a:pt x="4346" y="2155"/>
                      <a:pt x="4346" y="2155"/>
                    </a:cubicBezTo>
                    <a:cubicBezTo>
                      <a:pt x="4299" y="2171"/>
                      <a:pt x="4299" y="2171"/>
                      <a:pt x="4299" y="2171"/>
                    </a:cubicBezTo>
                    <a:cubicBezTo>
                      <a:pt x="4350" y="2335"/>
                      <a:pt x="4350" y="2335"/>
                      <a:pt x="4350" y="2335"/>
                    </a:cubicBezTo>
                    <a:cubicBezTo>
                      <a:pt x="4397" y="2320"/>
                      <a:pt x="4397" y="2320"/>
                      <a:pt x="4397" y="2320"/>
                    </a:cubicBezTo>
                    <a:lnTo>
                      <a:pt x="4374" y="2248"/>
                    </a:lnTo>
                    <a:close/>
                    <a:moveTo>
                      <a:pt x="6905" y="9334"/>
                    </a:moveTo>
                    <a:cubicBezTo>
                      <a:pt x="7023" y="9335"/>
                      <a:pt x="7023" y="9335"/>
                      <a:pt x="7023" y="9335"/>
                    </a:cubicBezTo>
                    <a:cubicBezTo>
                      <a:pt x="7019" y="9457"/>
                      <a:pt x="7019" y="9457"/>
                      <a:pt x="7019" y="9457"/>
                    </a:cubicBezTo>
                    <a:cubicBezTo>
                      <a:pt x="7013" y="9457"/>
                      <a:pt x="7013" y="9457"/>
                      <a:pt x="7013" y="9457"/>
                    </a:cubicBezTo>
                    <a:cubicBezTo>
                      <a:pt x="6962" y="9457"/>
                      <a:pt x="6962" y="9457"/>
                      <a:pt x="6962" y="9457"/>
                    </a:cubicBezTo>
                    <a:cubicBezTo>
                      <a:pt x="6962" y="9530"/>
                      <a:pt x="6962" y="9530"/>
                      <a:pt x="6962" y="9530"/>
                    </a:cubicBezTo>
                    <a:cubicBezTo>
                      <a:pt x="6852" y="9529"/>
                      <a:pt x="6852" y="9529"/>
                      <a:pt x="6852" y="9529"/>
                    </a:cubicBezTo>
                    <a:cubicBezTo>
                      <a:pt x="6853" y="9344"/>
                      <a:pt x="6853" y="9344"/>
                      <a:pt x="6853" y="9344"/>
                    </a:cubicBezTo>
                    <a:cubicBezTo>
                      <a:pt x="6905" y="9344"/>
                      <a:pt x="6905" y="9344"/>
                      <a:pt x="6905" y="9344"/>
                    </a:cubicBezTo>
                    <a:cubicBezTo>
                      <a:pt x="6905" y="9340"/>
                      <a:pt x="6905" y="9340"/>
                      <a:pt x="6905" y="9340"/>
                    </a:cubicBezTo>
                    <a:lnTo>
                      <a:pt x="6905" y="9334"/>
                    </a:lnTo>
                    <a:close/>
                    <a:moveTo>
                      <a:pt x="6918" y="9358"/>
                    </a:moveTo>
                    <a:cubicBezTo>
                      <a:pt x="6866" y="9357"/>
                      <a:pt x="6866" y="9357"/>
                      <a:pt x="6866" y="9357"/>
                    </a:cubicBezTo>
                    <a:cubicBezTo>
                      <a:pt x="6865" y="9516"/>
                      <a:pt x="6865" y="9516"/>
                      <a:pt x="6865" y="9516"/>
                    </a:cubicBezTo>
                    <a:cubicBezTo>
                      <a:pt x="6948" y="9517"/>
                      <a:pt x="6948" y="9517"/>
                      <a:pt x="6948" y="9517"/>
                    </a:cubicBezTo>
                    <a:cubicBezTo>
                      <a:pt x="6949" y="9444"/>
                      <a:pt x="6949" y="9444"/>
                      <a:pt x="6949" y="9444"/>
                    </a:cubicBezTo>
                    <a:cubicBezTo>
                      <a:pt x="7007" y="9444"/>
                      <a:pt x="7007" y="9444"/>
                      <a:pt x="7007" y="9444"/>
                    </a:cubicBezTo>
                    <a:cubicBezTo>
                      <a:pt x="7009" y="9348"/>
                      <a:pt x="7009" y="9348"/>
                      <a:pt x="7009" y="9348"/>
                    </a:cubicBezTo>
                    <a:cubicBezTo>
                      <a:pt x="6918" y="9347"/>
                      <a:pt x="6918" y="9347"/>
                      <a:pt x="6918" y="9347"/>
                    </a:cubicBezTo>
                    <a:cubicBezTo>
                      <a:pt x="6918" y="9351"/>
                      <a:pt x="6918" y="9351"/>
                      <a:pt x="6918" y="9351"/>
                    </a:cubicBezTo>
                    <a:lnTo>
                      <a:pt x="6918" y="9358"/>
                    </a:lnTo>
                    <a:close/>
                    <a:moveTo>
                      <a:pt x="10447" y="5115"/>
                    </a:moveTo>
                    <a:cubicBezTo>
                      <a:pt x="10375" y="5137"/>
                      <a:pt x="10375" y="5137"/>
                      <a:pt x="10375" y="5137"/>
                    </a:cubicBezTo>
                    <a:cubicBezTo>
                      <a:pt x="10373" y="5131"/>
                      <a:pt x="10373" y="5131"/>
                      <a:pt x="10373" y="5131"/>
                    </a:cubicBezTo>
                    <a:cubicBezTo>
                      <a:pt x="10330" y="4992"/>
                      <a:pt x="10330" y="4992"/>
                      <a:pt x="10330" y="4992"/>
                    </a:cubicBezTo>
                    <a:cubicBezTo>
                      <a:pt x="10403" y="4970"/>
                      <a:pt x="10403" y="4970"/>
                      <a:pt x="10403" y="4970"/>
                    </a:cubicBezTo>
                    <a:lnTo>
                      <a:pt x="10447" y="5115"/>
                    </a:lnTo>
                    <a:close/>
                    <a:moveTo>
                      <a:pt x="10383" y="5121"/>
                    </a:moveTo>
                    <a:cubicBezTo>
                      <a:pt x="10431" y="5106"/>
                      <a:pt x="10431" y="5106"/>
                      <a:pt x="10431" y="5106"/>
                    </a:cubicBezTo>
                    <a:cubicBezTo>
                      <a:pt x="10394" y="4986"/>
                      <a:pt x="10394" y="4986"/>
                      <a:pt x="10394" y="4986"/>
                    </a:cubicBezTo>
                    <a:cubicBezTo>
                      <a:pt x="10346" y="5001"/>
                      <a:pt x="10346" y="5001"/>
                      <a:pt x="10346" y="5001"/>
                    </a:cubicBezTo>
                    <a:lnTo>
                      <a:pt x="10383" y="5121"/>
                    </a:lnTo>
                    <a:close/>
                    <a:moveTo>
                      <a:pt x="9619" y="5155"/>
                    </a:moveTo>
                    <a:cubicBezTo>
                      <a:pt x="9664" y="5299"/>
                      <a:pt x="9664" y="5299"/>
                      <a:pt x="9664" y="5299"/>
                    </a:cubicBezTo>
                    <a:cubicBezTo>
                      <a:pt x="9591" y="5322"/>
                      <a:pt x="9591" y="5322"/>
                      <a:pt x="9591" y="5322"/>
                    </a:cubicBezTo>
                    <a:cubicBezTo>
                      <a:pt x="9589" y="5316"/>
                      <a:pt x="9589" y="5316"/>
                      <a:pt x="9589" y="5316"/>
                    </a:cubicBezTo>
                    <a:cubicBezTo>
                      <a:pt x="9547" y="5177"/>
                      <a:pt x="9547" y="5177"/>
                      <a:pt x="9547" y="5177"/>
                    </a:cubicBezTo>
                    <a:lnTo>
                      <a:pt x="9619" y="5155"/>
                    </a:lnTo>
                    <a:close/>
                    <a:moveTo>
                      <a:pt x="9647" y="5291"/>
                    </a:moveTo>
                    <a:cubicBezTo>
                      <a:pt x="9610" y="5171"/>
                      <a:pt x="9610" y="5171"/>
                      <a:pt x="9610" y="5171"/>
                    </a:cubicBezTo>
                    <a:cubicBezTo>
                      <a:pt x="9563" y="5186"/>
                      <a:pt x="9563" y="5186"/>
                      <a:pt x="9563" y="5186"/>
                    </a:cubicBezTo>
                    <a:cubicBezTo>
                      <a:pt x="9600" y="5305"/>
                      <a:pt x="9600" y="5305"/>
                      <a:pt x="9600" y="5305"/>
                    </a:cubicBezTo>
                    <a:lnTo>
                      <a:pt x="9647" y="5291"/>
                    </a:lnTo>
                    <a:close/>
                    <a:moveTo>
                      <a:pt x="6887" y="9908"/>
                    </a:moveTo>
                    <a:cubicBezTo>
                      <a:pt x="6777" y="9909"/>
                      <a:pt x="6777" y="9909"/>
                      <a:pt x="6777" y="9909"/>
                    </a:cubicBezTo>
                    <a:cubicBezTo>
                      <a:pt x="6777" y="9835"/>
                      <a:pt x="6777" y="9835"/>
                      <a:pt x="6777" y="9835"/>
                    </a:cubicBezTo>
                    <a:cubicBezTo>
                      <a:pt x="6720" y="9836"/>
                      <a:pt x="6720" y="9836"/>
                      <a:pt x="6720" y="9836"/>
                    </a:cubicBezTo>
                    <a:cubicBezTo>
                      <a:pt x="6720" y="9829"/>
                      <a:pt x="6720" y="9829"/>
                      <a:pt x="6720" y="9829"/>
                    </a:cubicBezTo>
                    <a:cubicBezTo>
                      <a:pt x="6716" y="9713"/>
                      <a:pt x="6716" y="9713"/>
                      <a:pt x="6716" y="9713"/>
                    </a:cubicBezTo>
                    <a:cubicBezTo>
                      <a:pt x="6834" y="9712"/>
                      <a:pt x="6834" y="9712"/>
                      <a:pt x="6834" y="9712"/>
                    </a:cubicBezTo>
                    <a:cubicBezTo>
                      <a:pt x="6834" y="9723"/>
                      <a:pt x="6834" y="9723"/>
                      <a:pt x="6834" y="9723"/>
                    </a:cubicBezTo>
                    <a:cubicBezTo>
                      <a:pt x="6886" y="9722"/>
                      <a:pt x="6886" y="9722"/>
                      <a:pt x="6886" y="9722"/>
                    </a:cubicBezTo>
                    <a:lnTo>
                      <a:pt x="6887" y="9908"/>
                    </a:lnTo>
                    <a:close/>
                    <a:moveTo>
                      <a:pt x="6874" y="9895"/>
                    </a:moveTo>
                    <a:cubicBezTo>
                      <a:pt x="6873" y="9736"/>
                      <a:pt x="6873" y="9736"/>
                      <a:pt x="6873" y="9736"/>
                    </a:cubicBezTo>
                    <a:cubicBezTo>
                      <a:pt x="6821" y="9736"/>
                      <a:pt x="6821" y="9736"/>
                      <a:pt x="6821" y="9736"/>
                    </a:cubicBezTo>
                    <a:cubicBezTo>
                      <a:pt x="6821" y="9726"/>
                      <a:pt x="6821" y="9726"/>
                      <a:pt x="6821" y="9726"/>
                    </a:cubicBezTo>
                    <a:cubicBezTo>
                      <a:pt x="6729" y="9726"/>
                      <a:pt x="6729" y="9726"/>
                      <a:pt x="6729" y="9726"/>
                    </a:cubicBezTo>
                    <a:cubicBezTo>
                      <a:pt x="6732" y="9823"/>
                      <a:pt x="6732" y="9823"/>
                      <a:pt x="6732" y="9823"/>
                    </a:cubicBezTo>
                    <a:cubicBezTo>
                      <a:pt x="6790" y="9822"/>
                      <a:pt x="6790" y="9822"/>
                      <a:pt x="6790" y="9822"/>
                    </a:cubicBezTo>
                    <a:cubicBezTo>
                      <a:pt x="6791" y="9895"/>
                      <a:pt x="6791" y="9895"/>
                      <a:pt x="6791" y="9895"/>
                    </a:cubicBezTo>
                    <a:lnTo>
                      <a:pt x="6874" y="9895"/>
                    </a:lnTo>
                    <a:close/>
                    <a:moveTo>
                      <a:pt x="10740" y="5017"/>
                    </a:moveTo>
                    <a:cubicBezTo>
                      <a:pt x="10668" y="5039"/>
                      <a:pt x="10668" y="5039"/>
                      <a:pt x="10668" y="5039"/>
                    </a:cubicBezTo>
                    <a:cubicBezTo>
                      <a:pt x="10666" y="5033"/>
                      <a:pt x="10666" y="5033"/>
                      <a:pt x="10666" y="5033"/>
                    </a:cubicBezTo>
                    <a:cubicBezTo>
                      <a:pt x="10623" y="4895"/>
                      <a:pt x="10623" y="4895"/>
                      <a:pt x="10623" y="4895"/>
                    </a:cubicBezTo>
                    <a:cubicBezTo>
                      <a:pt x="10695" y="4872"/>
                      <a:pt x="10695" y="4872"/>
                      <a:pt x="10695" y="4872"/>
                    </a:cubicBezTo>
                    <a:lnTo>
                      <a:pt x="10740" y="5017"/>
                    </a:lnTo>
                    <a:close/>
                    <a:moveTo>
                      <a:pt x="10676" y="5023"/>
                    </a:moveTo>
                    <a:cubicBezTo>
                      <a:pt x="10724" y="5008"/>
                      <a:pt x="10724" y="5008"/>
                      <a:pt x="10724" y="5008"/>
                    </a:cubicBezTo>
                    <a:cubicBezTo>
                      <a:pt x="10687" y="4889"/>
                      <a:pt x="10687" y="4889"/>
                      <a:pt x="10687" y="4889"/>
                    </a:cubicBezTo>
                    <a:cubicBezTo>
                      <a:pt x="10639" y="4903"/>
                      <a:pt x="10639" y="4903"/>
                      <a:pt x="10639" y="4903"/>
                    </a:cubicBezTo>
                    <a:lnTo>
                      <a:pt x="10676" y="5023"/>
                    </a:lnTo>
                    <a:close/>
                    <a:moveTo>
                      <a:pt x="7366" y="9072"/>
                    </a:moveTo>
                    <a:cubicBezTo>
                      <a:pt x="7257" y="9073"/>
                      <a:pt x="7257" y="9073"/>
                      <a:pt x="7257" y="9073"/>
                    </a:cubicBezTo>
                    <a:cubicBezTo>
                      <a:pt x="7256" y="9000"/>
                      <a:pt x="7256" y="9000"/>
                      <a:pt x="7256" y="9000"/>
                    </a:cubicBezTo>
                    <a:cubicBezTo>
                      <a:pt x="7199" y="9000"/>
                      <a:pt x="7199" y="9000"/>
                      <a:pt x="7199" y="9000"/>
                    </a:cubicBezTo>
                    <a:cubicBezTo>
                      <a:pt x="7199" y="8994"/>
                      <a:pt x="7199" y="8994"/>
                      <a:pt x="7199" y="8994"/>
                    </a:cubicBezTo>
                    <a:cubicBezTo>
                      <a:pt x="7195" y="8878"/>
                      <a:pt x="7195" y="8878"/>
                      <a:pt x="7195" y="8878"/>
                    </a:cubicBezTo>
                    <a:cubicBezTo>
                      <a:pt x="7313" y="8877"/>
                      <a:pt x="7313" y="8877"/>
                      <a:pt x="7313" y="8877"/>
                    </a:cubicBezTo>
                    <a:cubicBezTo>
                      <a:pt x="7313" y="8887"/>
                      <a:pt x="7313" y="8887"/>
                      <a:pt x="7313" y="8887"/>
                    </a:cubicBezTo>
                    <a:cubicBezTo>
                      <a:pt x="7365" y="8887"/>
                      <a:pt x="7365" y="8887"/>
                      <a:pt x="7365" y="8887"/>
                    </a:cubicBezTo>
                    <a:lnTo>
                      <a:pt x="7366" y="9072"/>
                    </a:lnTo>
                    <a:close/>
                    <a:moveTo>
                      <a:pt x="7353" y="9059"/>
                    </a:moveTo>
                    <a:cubicBezTo>
                      <a:pt x="7352" y="8900"/>
                      <a:pt x="7352" y="8900"/>
                      <a:pt x="7352" y="8900"/>
                    </a:cubicBezTo>
                    <a:cubicBezTo>
                      <a:pt x="7300" y="8900"/>
                      <a:pt x="7300" y="8900"/>
                      <a:pt x="7300" y="8900"/>
                    </a:cubicBezTo>
                    <a:cubicBezTo>
                      <a:pt x="7300" y="8890"/>
                      <a:pt x="7300" y="8890"/>
                      <a:pt x="7300" y="8890"/>
                    </a:cubicBezTo>
                    <a:cubicBezTo>
                      <a:pt x="7209" y="8891"/>
                      <a:pt x="7209" y="8891"/>
                      <a:pt x="7209" y="8891"/>
                    </a:cubicBezTo>
                    <a:cubicBezTo>
                      <a:pt x="7212" y="8987"/>
                      <a:pt x="7212" y="8987"/>
                      <a:pt x="7212" y="8987"/>
                    </a:cubicBezTo>
                    <a:cubicBezTo>
                      <a:pt x="7269" y="8987"/>
                      <a:pt x="7269" y="8987"/>
                      <a:pt x="7269" y="8987"/>
                    </a:cubicBezTo>
                    <a:cubicBezTo>
                      <a:pt x="7270" y="9060"/>
                      <a:pt x="7270" y="9060"/>
                      <a:pt x="7270" y="9060"/>
                    </a:cubicBezTo>
                    <a:lnTo>
                      <a:pt x="7353" y="9059"/>
                    </a:lnTo>
                    <a:close/>
                    <a:moveTo>
                      <a:pt x="12057" y="4651"/>
                    </a:moveTo>
                    <a:cubicBezTo>
                      <a:pt x="12066" y="4646"/>
                      <a:pt x="12066" y="4646"/>
                      <a:pt x="12066" y="4646"/>
                    </a:cubicBezTo>
                    <a:cubicBezTo>
                      <a:pt x="12043" y="4600"/>
                      <a:pt x="12043" y="4600"/>
                      <a:pt x="12043" y="4600"/>
                    </a:cubicBezTo>
                    <a:cubicBezTo>
                      <a:pt x="12208" y="4515"/>
                      <a:pt x="12208" y="4515"/>
                      <a:pt x="12208" y="4515"/>
                    </a:cubicBezTo>
                    <a:cubicBezTo>
                      <a:pt x="12258" y="4613"/>
                      <a:pt x="12258" y="4613"/>
                      <a:pt x="12258" y="4613"/>
                    </a:cubicBezTo>
                    <a:cubicBezTo>
                      <a:pt x="12193" y="4646"/>
                      <a:pt x="12193" y="4646"/>
                      <a:pt x="12193" y="4646"/>
                    </a:cubicBezTo>
                    <a:cubicBezTo>
                      <a:pt x="12219" y="4697"/>
                      <a:pt x="12219" y="4697"/>
                      <a:pt x="12219" y="4697"/>
                    </a:cubicBezTo>
                    <a:cubicBezTo>
                      <a:pt x="12213" y="4701"/>
                      <a:pt x="12213" y="4701"/>
                      <a:pt x="12213" y="4701"/>
                    </a:cubicBezTo>
                    <a:cubicBezTo>
                      <a:pt x="12110" y="4756"/>
                      <a:pt x="12110" y="4756"/>
                      <a:pt x="12110" y="4756"/>
                    </a:cubicBezTo>
                    <a:lnTo>
                      <a:pt x="12057" y="4651"/>
                    </a:lnTo>
                    <a:close/>
                    <a:moveTo>
                      <a:pt x="12084" y="4652"/>
                    </a:moveTo>
                    <a:cubicBezTo>
                      <a:pt x="12075" y="4657"/>
                      <a:pt x="12075" y="4657"/>
                      <a:pt x="12075" y="4657"/>
                    </a:cubicBezTo>
                    <a:cubicBezTo>
                      <a:pt x="12116" y="4738"/>
                      <a:pt x="12116" y="4738"/>
                      <a:pt x="12116" y="4738"/>
                    </a:cubicBezTo>
                    <a:cubicBezTo>
                      <a:pt x="12201" y="4692"/>
                      <a:pt x="12201" y="4692"/>
                      <a:pt x="12201" y="4692"/>
                    </a:cubicBezTo>
                    <a:cubicBezTo>
                      <a:pt x="12175" y="4641"/>
                      <a:pt x="12175" y="4641"/>
                      <a:pt x="12175" y="4641"/>
                    </a:cubicBezTo>
                    <a:cubicBezTo>
                      <a:pt x="12240" y="4608"/>
                      <a:pt x="12240" y="4608"/>
                      <a:pt x="12240" y="4608"/>
                    </a:cubicBezTo>
                    <a:cubicBezTo>
                      <a:pt x="12202" y="4533"/>
                      <a:pt x="12202" y="4533"/>
                      <a:pt x="12202" y="4533"/>
                    </a:cubicBezTo>
                    <a:cubicBezTo>
                      <a:pt x="12060" y="4605"/>
                      <a:pt x="12060" y="4605"/>
                      <a:pt x="12060" y="4605"/>
                    </a:cubicBezTo>
                    <a:lnTo>
                      <a:pt x="12084" y="4652"/>
                    </a:lnTo>
                    <a:close/>
                    <a:moveTo>
                      <a:pt x="11717" y="4754"/>
                    </a:moveTo>
                    <a:cubicBezTo>
                      <a:pt x="11667" y="4738"/>
                      <a:pt x="11667" y="4738"/>
                      <a:pt x="11667" y="4738"/>
                    </a:cubicBezTo>
                    <a:cubicBezTo>
                      <a:pt x="11725" y="4562"/>
                      <a:pt x="11725" y="4562"/>
                      <a:pt x="11725" y="4562"/>
                    </a:cubicBezTo>
                    <a:cubicBezTo>
                      <a:pt x="11829" y="4596"/>
                      <a:pt x="11829" y="4596"/>
                      <a:pt x="11829" y="4596"/>
                    </a:cubicBezTo>
                    <a:cubicBezTo>
                      <a:pt x="11806" y="4665"/>
                      <a:pt x="11806" y="4665"/>
                      <a:pt x="11806" y="4665"/>
                    </a:cubicBezTo>
                    <a:cubicBezTo>
                      <a:pt x="11861" y="4683"/>
                      <a:pt x="11861" y="4683"/>
                      <a:pt x="11861" y="4683"/>
                    </a:cubicBezTo>
                    <a:cubicBezTo>
                      <a:pt x="11859" y="4689"/>
                      <a:pt x="11859" y="4689"/>
                      <a:pt x="11859" y="4689"/>
                    </a:cubicBezTo>
                    <a:cubicBezTo>
                      <a:pt x="11826" y="4801"/>
                      <a:pt x="11826" y="4801"/>
                      <a:pt x="11826" y="4801"/>
                    </a:cubicBezTo>
                    <a:cubicBezTo>
                      <a:pt x="11714" y="4764"/>
                      <a:pt x="11714" y="4764"/>
                      <a:pt x="11714" y="4764"/>
                    </a:cubicBezTo>
                    <a:lnTo>
                      <a:pt x="11717" y="4754"/>
                    </a:lnTo>
                    <a:close/>
                    <a:moveTo>
                      <a:pt x="11734" y="4746"/>
                    </a:moveTo>
                    <a:cubicBezTo>
                      <a:pt x="11730" y="4756"/>
                      <a:pt x="11730" y="4756"/>
                      <a:pt x="11730" y="4756"/>
                    </a:cubicBezTo>
                    <a:cubicBezTo>
                      <a:pt x="11817" y="4784"/>
                      <a:pt x="11817" y="4784"/>
                      <a:pt x="11817" y="4784"/>
                    </a:cubicBezTo>
                    <a:cubicBezTo>
                      <a:pt x="11845" y="4691"/>
                      <a:pt x="11845" y="4691"/>
                      <a:pt x="11845" y="4691"/>
                    </a:cubicBezTo>
                    <a:cubicBezTo>
                      <a:pt x="11790" y="4674"/>
                      <a:pt x="11790" y="4674"/>
                      <a:pt x="11790" y="4674"/>
                    </a:cubicBezTo>
                    <a:cubicBezTo>
                      <a:pt x="11812" y="4604"/>
                      <a:pt x="11812" y="4604"/>
                      <a:pt x="11812" y="4604"/>
                    </a:cubicBezTo>
                    <a:cubicBezTo>
                      <a:pt x="11733" y="4578"/>
                      <a:pt x="11733" y="4578"/>
                      <a:pt x="11733" y="4578"/>
                    </a:cubicBezTo>
                    <a:cubicBezTo>
                      <a:pt x="11684" y="4730"/>
                      <a:pt x="11684" y="4730"/>
                      <a:pt x="11684" y="4730"/>
                    </a:cubicBezTo>
                    <a:lnTo>
                      <a:pt x="11734" y="4746"/>
                    </a:lnTo>
                    <a:close/>
                    <a:moveTo>
                      <a:pt x="2452" y="9042"/>
                    </a:moveTo>
                    <a:cubicBezTo>
                      <a:pt x="2301" y="9027"/>
                      <a:pt x="2301" y="9027"/>
                      <a:pt x="2301" y="9027"/>
                    </a:cubicBezTo>
                    <a:cubicBezTo>
                      <a:pt x="2308" y="8952"/>
                      <a:pt x="2308" y="8952"/>
                      <a:pt x="2308" y="8952"/>
                    </a:cubicBezTo>
                    <a:cubicBezTo>
                      <a:pt x="2315" y="8953"/>
                      <a:pt x="2315" y="8953"/>
                      <a:pt x="2315" y="8953"/>
                    </a:cubicBezTo>
                    <a:cubicBezTo>
                      <a:pt x="2459" y="8967"/>
                      <a:pt x="2459" y="8967"/>
                      <a:pt x="2459" y="8967"/>
                    </a:cubicBezTo>
                    <a:lnTo>
                      <a:pt x="2452" y="9042"/>
                    </a:lnTo>
                    <a:close/>
                    <a:moveTo>
                      <a:pt x="2445" y="8978"/>
                    </a:moveTo>
                    <a:cubicBezTo>
                      <a:pt x="2320" y="8966"/>
                      <a:pt x="2320" y="8966"/>
                      <a:pt x="2320" y="8966"/>
                    </a:cubicBezTo>
                    <a:cubicBezTo>
                      <a:pt x="2315" y="9016"/>
                      <a:pt x="2315" y="9016"/>
                      <a:pt x="2315" y="9016"/>
                    </a:cubicBezTo>
                    <a:cubicBezTo>
                      <a:pt x="2440" y="9028"/>
                      <a:pt x="2440" y="9028"/>
                      <a:pt x="2440" y="9028"/>
                    </a:cubicBezTo>
                    <a:lnTo>
                      <a:pt x="2445" y="8978"/>
                    </a:lnTo>
                    <a:close/>
                    <a:moveTo>
                      <a:pt x="2504" y="9182"/>
                    </a:moveTo>
                    <a:cubicBezTo>
                      <a:pt x="2516" y="9285"/>
                      <a:pt x="2516" y="9285"/>
                      <a:pt x="2516" y="9285"/>
                    </a:cubicBezTo>
                    <a:cubicBezTo>
                      <a:pt x="2370" y="9303"/>
                      <a:pt x="2370" y="9303"/>
                      <a:pt x="2370" y="9303"/>
                    </a:cubicBezTo>
                    <a:cubicBezTo>
                      <a:pt x="2369" y="9297"/>
                      <a:pt x="2369" y="9297"/>
                      <a:pt x="2369" y="9297"/>
                    </a:cubicBezTo>
                    <a:cubicBezTo>
                      <a:pt x="2357" y="9200"/>
                      <a:pt x="2357" y="9200"/>
                      <a:pt x="2357" y="9200"/>
                    </a:cubicBezTo>
                    <a:lnTo>
                      <a:pt x="2504" y="9182"/>
                    </a:lnTo>
                    <a:close/>
                    <a:moveTo>
                      <a:pt x="2502" y="9274"/>
                    </a:moveTo>
                    <a:cubicBezTo>
                      <a:pt x="2492" y="9196"/>
                      <a:pt x="2492" y="9196"/>
                      <a:pt x="2492" y="9196"/>
                    </a:cubicBezTo>
                    <a:cubicBezTo>
                      <a:pt x="2371" y="9211"/>
                      <a:pt x="2371" y="9211"/>
                      <a:pt x="2371" y="9211"/>
                    </a:cubicBezTo>
                    <a:cubicBezTo>
                      <a:pt x="2381" y="9289"/>
                      <a:pt x="2381" y="9289"/>
                      <a:pt x="2381" y="9289"/>
                    </a:cubicBezTo>
                    <a:lnTo>
                      <a:pt x="2502" y="9274"/>
                    </a:lnTo>
                    <a:close/>
                    <a:moveTo>
                      <a:pt x="11407" y="4866"/>
                    </a:moveTo>
                    <a:cubicBezTo>
                      <a:pt x="11358" y="4850"/>
                      <a:pt x="11358" y="4850"/>
                      <a:pt x="11358" y="4850"/>
                    </a:cubicBezTo>
                    <a:cubicBezTo>
                      <a:pt x="11415" y="4674"/>
                      <a:pt x="11415" y="4674"/>
                      <a:pt x="11415" y="4674"/>
                    </a:cubicBezTo>
                    <a:cubicBezTo>
                      <a:pt x="11519" y="4708"/>
                      <a:pt x="11519" y="4708"/>
                      <a:pt x="11519" y="4708"/>
                    </a:cubicBezTo>
                    <a:cubicBezTo>
                      <a:pt x="11497" y="4777"/>
                      <a:pt x="11497" y="4777"/>
                      <a:pt x="11497" y="4777"/>
                    </a:cubicBezTo>
                    <a:cubicBezTo>
                      <a:pt x="11551" y="4795"/>
                      <a:pt x="11551" y="4795"/>
                      <a:pt x="11551" y="4795"/>
                    </a:cubicBezTo>
                    <a:cubicBezTo>
                      <a:pt x="11549" y="4801"/>
                      <a:pt x="11549" y="4801"/>
                      <a:pt x="11549" y="4801"/>
                    </a:cubicBezTo>
                    <a:cubicBezTo>
                      <a:pt x="11516" y="4913"/>
                      <a:pt x="11516" y="4913"/>
                      <a:pt x="11516" y="4913"/>
                    </a:cubicBezTo>
                    <a:cubicBezTo>
                      <a:pt x="11404" y="4876"/>
                      <a:pt x="11404" y="4876"/>
                      <a:pt x="11404" y="4876"/>
                    </a:cubicBezTo>
                    <a:lnTo>
                      <a:pt x="11407" y="4866"/>
                    </a:lnTo>
                    <a:close/>
                    <a:moveTo>
                      <a:pt x="11424" y="4858"/>
                    </a:moveTo>
                    <a:cubicBezTo>
                      <a:pt x="11421" y="4868"/>
                      <a:pt x="11421" y="4868"/>
                      <a:pt x="11421" y="4868"/>
                    </a:cubicBezTo>
                    <a:cubicBezTo>
                      <a:pt x="11507" y="4896"/>
                      <a:pt x="11507" y="4896"/>
                      <a:pt x="11507" y="4896"/>
                    </a:cubicBezTo>
                    <a:cubicBezTo>
                      <a:pt x="11535" y="4803"/>
                      <a:pt x="11535" y="4803"/>
                      <a:pt x="11535" y="4803"/>
                    </a:cubicBezTo>
                    <a:cubicBezTo>
                      <a:pt x="11480" y="4786"/>
                      <a:pt x="11480" y="4786"/>
                      <a:pt x="11480" y="4786"/>
                    </a:cubicBezTo>
                    <a:cubicBezTo>
                      <a:pt x="11503" y="4716"/>
                      <a:pt x="11503" y="4716"/>
                      <a:pt x="11503" y="4716"/>
                    </a:cubicBezTo>
                    <a:cubicBezTo>
                      <a:pt x="11423" y="4690"/>
                      <a:pt x="11423" y="4690"/>
                      <a:pt x="11423" y="4690"/>
                    </a:cubicBezTo>
                    <a:cubicBezTo>
                      <a:pt x="11374" y="4842"/>
                      <a:pt x="11374" y="4842"/>
                      <a:pt x="11374" y="4842"/>
                    </a:cubicBezTo>
                    <a:lnTo>
                      <a:pt x="11424" y="4858"/>
                    </a:lnTo>
                    <a:close/>
                    <a:moveTo>
                      <a:pt x="9302" y="8444"/>
                    </a:moveTo>
                    <a:cubicBezTo>
                      <a:pt x="9108" y="8506"/>
                      <a:pt x="9108" y="8506"/>
                      <a:pt x="9108" y="8506"/>
                    </a:cubicBezTo>
                    <a:cubicBezTo>
                      <a:pt x="9092" y="8454"/>
                      <a:pt x="9092" y="8454"/>
                      <a:pt x="9092" y="8454"/>
                    </a:cubicBezTo>
                    <a:cubicBezTo>
                      <a:pt x="9085" y="8456"/>
                      <a:pt x="9085" y="8456"/>
                      <a:pt x="9085" y="8456"/>
                    </a:cubicBezTo>
                    <a:cubicBezTo>
                      <a:pt x="9079" y="8458"/>
                      <a:pt x="9079" y="8458"/>
                      <a:pt x="9079" y="8458"/>
                    </a:cubicBezTo>
                    <a:cubicBezTo>
                      <a:pt x="9049" y="8364"/>
                      <a:pt x="9049" y="8364"/>
                      <a:pt x="9049" y="8364"/>
                    </a:cubicBezTo>
                    <a:cubicBezTo>
                      <a:pt x="9055" y="8362"/>
                      <a:pt x="9055" y="8362"/>
                      <a:pt x="9055" y="8362"/>
                    </a:cubicBezTo>
                    <a:cubicBezTo>
                      <a:pt x="9148" y="8332"/>
                      <a:pt x="9148" y="8332"/>
                      <a:pt x="9148" y="8332"/>
                    </a:cubicBezTo>
                    <a:cubicBezTo>
                      <a:pt x="9120" y="8245"/>
                      <a:pt x="9120" y="8245"/>
                      <a:pt x="9120" y="8245"/>
                    </a:cubicBezTo>
                    <a:cubicBezTo>
                      <a:pt x="9257" y="8201"/>
                      <a:pt x="9257" y="8201"/>
                      <a:pt x="9257" y="8201"/>
                    </a:cubicBezTo>
                    <a:cubicBezTo>
                      <a:pt x="9280" y="8273"/>
                      <a:pt x="9280" y="8273"/>
                      <a:pt x="9280" y="8273"/>
                    </a:cubicBezTo>
                    <a:cubicBezTo>
                      <a:pt x="9345" y="8252"/>
                      <a:pt x="9345" y="8252"/>
                      <a:pt x="9345" y="8252"/>
                    </a:cubicBezTo>
                    <a:cubicBezTo>
                      <a:pt x="9368" y="8324"/>
                      <a:pt x="9368" y="8324"/>
                      <a:pt x="9368" y="8324"/>
                    </a:cubicBezTo>
                    <a:cubicBezTo>
                      <a:pt x="9194" y="8380"/>
                      <a:pt x="9194" y="8380"/>
                      <a:pt x="9194" y="8380"/>
                    </a:cubicBezTo>
                    <a:cubicBezTo>
                      <a:pt x="9199" y="8395"/>
                      <a:pt x="9199" y="8395"/>
                      <a:pt x="9199" y="8395"/>
                    </a:cubicBezTo>
                    <a:cubicBezTo>
                      <a:pt x="9278" y="8369"/>
                      <a:pt x="9278" y="8369"/>
                      <a:pt x="9278" y="8369"/>
                    </a:cubicBezTo>
                    <a:lnTo>
                      <a:pt x="9302" y="8444"/>
                    </a:lnTo>
                    <a:close/>
                    <a:moveTo>
                      <a:pt x="9117" y="8490"/>
                    </a:moveTo>
                    <a:cubicBezTo>
                      <a:pt x="9286" y="8435"/>
                      <a:pt x="9286" y="8435"/>
                      <a:pt x="9286" y="8435"/>
                    </a:cubicBezTo>
                    <a:cubicBezTo>
                      <a:pt x="9270" y="8386"/>
                      <a:pt x="9270" y="8386"/>
                      <a:pt x="9270" y="8386"/>
                    </a:cubicBezTo>
                    <a:cubicBezTo>
                      <a:pt x="9190" y="8411"/>
                      <a:pt x="9190" y="8411"/>
                      <a:pt x="9190" y="8411"/>
                    </a:cubicBezTo>
                    <a:cubicBezTo>
                      <a:pt x="9177" y="8372"/>
                      <a:pt x="9177" y="8372"/>
                      <a:pt x="9177" y="8372"/>
                    </a:cubicBezTo>
                    <a:cubicBezTo>
                      <a:pt x="9351" y="8316"/>
                      <a:pt x="9351" y="8316"/>
                      <a:pt x="9351" y="8316"/>
                    </a:cubicBezTo>
                    <a:cubicBezTo>
                      <a:pt x="9336" y="8268"/>
                      <a:pt x="9336" y="8268"/>
                      <a:pt x="9336" y="8268"/>
                    </a:cubicBezTo>
                    <a:cubicBezTo>
                      <a:pt x="9271" y="8289"/>
                      <a:pt x="9271" y="8289"/>
                      <a:pt x="9271" y="8289"/>
                    </a:cubicBezTo>
                    <a:cubicBezTo>
                      <a:pt x="9248" y="8217"/>
                      <a:pt x="9248" y="8217"/>
                      <a:pt x="9248" y="8217"/>
                    </a:cubicBezTo>
                    <a:cubicBezTo>
                      <a:pt x="9136" y="8253"/>
                      <a:pt x="9136" y="8253"/>
                      <a:pt x="9136" y="8253"/>
                    </a:cubicBezTo>
                    <a:cubicBezTo>
                      <a:pt x="9165" y="8340"/>
                      <a:pt x="9165" y="8340"/>
                      <a:pt x="9165" y="8340"/>
                    </a:cubicBezTo>
                    <a:cubicBezTo>
                      <a:pt x="9065" y="8372"/>
                      <a:pt x="9065" y="8372"/>
                      <a:pt x="9065" y="8372"/>
                    </a:cubicBezTo>
                    <a:cubicBezTo>
                      <a:pt x="9088" y="8442"/>
                      <a:pt x="9088" y="8442"/>
                      <a:pt x="9088" y="8442"/>
                    </a:cubicBezTo>
                    <a:cubicBezTo>
                      <a:pt x="9094" y="8440"/>
                      <a:pt x="9094" y="8440"/>
                      <a:pt x="9094" y="8440"/>
                    </a:cubicBezTo>
                    <a:cubicBezTo>
                      <a:pt x="9100" y="8438"/>
                      <a:pt x="9100" y="8438"/>
                      <a:pt x="9100" y="8438"/>
                    </a:cubicBezTo>
                    <a:lnTo>
                      <a:pt x="9117" y="8490"/>
                    </a:lnTo>
                    <a:close/>
                    <a:moveTo>
                      <a:pt x="1602" y="8481"/>
                    </a:moveTo>
                    <a:cubicBezTo>
                      <a:pt x="1499" y="8720"/>
                      <a:pt x="1499" y="8720"/>
                      <a:pt x="1499" y="8720"/>
                    </a:cubicBezTo>
                    <a:cubicBezTo>
                      <a:pt x="1390" y="8615"/>
                      <a:pt x="1390" y="8615"/>
                      <a:pt x="1390" y="8615"/>
                    </a:cubicBezTo>
                    <a:cubicBezTo>
                      <a:pt x="1443" y="8527"/>
                      <a:pt x="1443" y="8527"/>
                      <a:pt x="1443" y="8527"/>
                    </a:cubicBezTo>
                    <a:cubicBezTo>
                      <a:pt x="1249" y="8363"/>
                      <a:pt x="1249" y="8363"/>
                      <a:pt x="1249" y="8363"/>
                    </a:cubicBezTo>
                    <a:cubicBezTo>
                      <a:pt x="1505" y="8048"/>
                      <a:pt x="1505" y="8048"/>
                      <a:pt x="1505" y="8048"/>
                    </a:cubicBezTo>
                    <a:cubicBezTo>
                      <a:pt x="1895" y="8347"/>
                      <a:pt x="1895" y="8347"/>
                      <a:pt x="1895" y="8347"/>
                    </a:cubicBezTo>
                    <a:cubicBezTo>
                      <a:pt x="1893" y="8352"/>
                      <a:pt x="1893" y="8352"/>
                      <a:pt x="1893" y="8352"/>
                    </a:cubicBezTo>
                    <a:cubicBezTo>
                      <a:pt x="1838" y="8469"/>
                      <a:pt x="1838" y="8469"/>
                      <a:pt x="1838" y="8469"/>
                    </a:cubicBezTo>
                    <a:cubicBezTo>
                      <a:pt x="1604" y="8338"/>
                      <a:pt x="1604" y="8338"/>
                      <a:pt x="1604" y="8338"/>
                    </a:cubicBezTo>
                    <a:cubicBezTo>
                      <a:pt x="1640" y="8285"/>
                      <a:pt x="1640" y="8285"/>
                      <a:pt x="1640" y="8285"/>
                    </a:cubicBezTo>
                    <a:cubicBezTo>
                      <a:pt x="1540" y="8221"/>
                      <a:pt x="1540" y="8221"/>
                      <a:pt x="1540" y="8221"/>
                    </a:cubicBezTo>
                    <a:cubicBezTo>
                      <a:pt x="1434" y="8355"/>
                      <a:pt x="1434" y="8355"/>
                      <a:pt x="1434" y="8355"/>
                    </a:cubicBezTo>
                    <a:lnTo>
                      <a:pt x="1602" y="8481"/>
                    </a:lnTo>
                    <a:close/>
                    <a:moveTo>
                      <a:pt x="1583" y="8486"/>
                    </a:moveTo>
                    <a:cubicBezTo>
                      <a:pt x="1413" y="8358"/>
                      <a:pt x="1413" y="8358"/>
                      <a:pt x="1413" y="8358"/>
                    </a:cubicBezTo>
                    <a:cubicBezTo>
                      <a:pt x="1536" y="8201"/>
                      <a:pt x="1536" y="8201"/>
                      <a:pt x="1536" y="8201"/>
                    </a:cubicBezTo>
                    <a:cubicBezTo>
                      <a:pt x="1660" y="8281"/>
                      <a:pt x="1660" y="8281"/>
                      <a:pt x="1660" y="8281"/>
                    </a:cubicBezTo>
                    <a:cubicBezTo>
                      <a:pt x="1625" y="8333"/>
                      <a:pt x="1625" y="8333"/>
                      <a:pt x="1625" y="8333"/>
                    </a:cubicBezTo>
                    <a:cubicBezTo>
                      <a:pt x="1831" y="8449"/>
                      <a:pt x="1831" y="8449"/>
                      <a:pt x="1831" y="8449"/>
                    </a:cubicBezTo>
                    <a:cubicBezTo>
                      <a:pt x="1877" y="8351"/>
                      <a:pt x="1877" y="8351"/>
                      <a:pt x="1877" y="8351"/>
                    </a:cubicBezTo>
                    <a:cubicBezTo>
                      <a:pt x="1507" y="8068"/>
                      <a:pt x="1507" y="8068"/>
                      <a:pt x="1507" y="8068"/>
                    </a:cubicBezTo>
                    <a:cubicBezTo>
                      <a:pt x="1269" y="8361"/>
                      <a:pt x="1269" y="8361"/>
                      <a:pt x="1269" y="8361"/>
                    </a:cubicBezTo>
                    <a:cubicBezTo>
                      <a:pt x="1462" y="8524"/>
                      <a:pt x="1462" y="8524"/>
                      <a:pt x="1462" y="8524"/>
                    </a:cubicBezTo>
                    <a:cubicBezTo>
                      <a:pt x="1409" y="8613"/>
                      <a:pt x="1409" y="8613"/>
                      <a:pt x="1409" y="8613"/>
                    </a:cubicBezTo>
                    <a:cubicBezTo>
                      <a:pt x="1494" y="8694"/>
                      <a:pt x="1494" y="8694"/>
                      <a:pt x="1494" y="8694"/>
                    </a:cubicBezTo>
                    <a:lnTo>
                      <a:pt x="1583" y="8486"/>
                    </a:lnTo>
                    <a:close/>
                    <a:moveTo>
                      <a:pt x="1867" y="9102"/>
                    </a:moveTo>
                    <a:cubicBezTo>
                      <a:pt x="1953" y="8982"/>
                      <a:pt x="1953" y="8982"/>
                      <a:pt x="1953" y="8982"/>
                    </a:cubicBezTo>
                    <a:cubicBezTo>
                      <a:pt x="2038" y="9043"/>
                      <a:pt x="2038" y="9043"/>
                      <a:pt x="2038" y="9043"/>
                    </a:cubicBezTo>
                    <a:cubicBezTo>
                      <a:pt x="1952" y="9163"/>
                      <a:pt x="1952" y="9163"/>
                      <a:pt x="1952" y="9163"/>
                    </a:cubicBezTo>
                    <a:cubicBezTo>
                      <a:pt x="1947" y="9159"/>
                      <a:pt x="1947" y="9159"/>
                      <a:pt x="1947" y="9159"/>
                    </a:cubicBezTo>
                    <a:lnTo>
                      <a:pt x="1867" y="9102"/>
                    </a:lnTo>
                    <a:close/>
                    <a:moveTo>
                      <a:pt x="1885" y="9100"/>
                    </a:moveTo>
                    <a:cubicBezTo>
                      <a:pt x="1949" y="9145"/>
                      <a:pt x="1949" y="9145"/>
                      <a:pt x="1949" y="9145"/>
                    </a:cubicBezTo>
                    <a:cubicBezTo>
                      <a:pt x="2020" y="9046"/>
                      <a:pt x="2020" y="9046"/>
                      <a:pt x="2020" y="9046"/>
                    </a:cubicBezTo>
                    <a:cubicBezTo>
                      <a:pt x="1956" y="9000"/>
                      <a:pt x="1956" y="9000"/>
                      <a:pt x="1956" y="9000"/>
                    </a:cubicBezTo>
                    <a:lnTo>
                      <a:pt x="1885" y="9100"/>
                    </a:lnTo>
                    <a:close/>
                    <a:moveTo>
                      <a:pt x="12363" y="4313"/>
                    </a:moveTo>
                    <a:cubicBezTo>
                      <a:pt x="12439" y="4313"/>
                      <a:pt x="12439" y="4313"/>
                      <a:pt x="12439" y="4313"/>
                    </a:cubicBezTo>
                    <a:cubicBezTo>
                      <a:pt x="12439" y="4404"/>
                      <a:pt x="12439" y="4404"/>
                      <a:pt x="12439" y="4404"/>
                    </a:cubicBezTo>
                    <a:cubicBezTo>
                      <a:pt x="12363" y="4404"/>
                      <a:pt x="12363" y="4404"/>
                      <a:pt x="12363" y="4404"/>
                    </a:cubicBezTo>
                    <a:cubicBezTo>
                      <a:pt x="12363" y="4397"/>
                      <a:pt x="12363" y="4397"/>
                      <a:pt x="12363" y="4397"/>
                    </a:cubicBezTo>
                    <a:lnTo>
                      <a:pt x="12363" y="4313"/>
                    </a:lnTo>
                    <a:close/>
                    <a:moveTo>
                      <a:pt x="12376" y="4391"/>
                    </a:moveTo>
                    <a:cubicBezTo>
                      <a:pt x="12426" y="4391"/>
                      <a:pt x="12426" y="4391"/>
                      <a:pt x="12426" y="4391"/>
                    </a:cubicBezTo>
                    <a:cubicBezTo>
                      <a:pt x="12426" y="4326"/>
                      <a:pt x="12426" y="4326"/>
                      <a:pt x="12426" y="4326"/>
                    </a:cubicBezTo>
                    <a:cubicBezTo>
                      <a:pt x="12376" y="4326"/>
                      <a:pt x="12376" y="4326"/>
                      <a:pt x="12376" y="4326"/>
                    </a:cubicBezTo>
                    <a:lnTo>
                      <a:pt x="12376" y="4391"/>
                    </a:lnTo>
                    <a:close/>
                    <a:moveTo>
                      <a:pt x="10844" y="4984"/>
                    </a:moveTo>
                    <a:cubicBezTo>
                      <a:pt x="10772" y="5007"/>
                      <a:pt x="10772" y="5007"/>
                      <a:pt x="10772" y="5007"/>
                    </a:cubicBezTo>
                    <a:cubicBezTo>
                      <a:pt x="10770" y="5001"/>
                      <a:pt x="10770" y="5001"/>
                      <a:pt x="10770" y="5001"/>
                    </a:cubicBezTo>
                    <a:cubicBezTo>
                      <a:pt x="10727" y="4862"/>
                      <a:pt x="10727" y="4862"/>
                      <a:pt x="10727" y="4862"/>
                    </a:cubicBezTo>
                    <a:cubicBezTo>
                      <a:pt x="10799" y="4840"/>
                      <a:pt x="10799" y="4840"/>
                      <a:pt x="10799" y="4840"/>
                    </a:cubicBezTo>
                    <a:lnTo>
                      <a:pt x="10844" y="4984"/>
                    </a:lnTo>
                    <a:close/>
                    <a:moveTo>
                      <a:pt x="10780" y="4990"/>
                    </a:moveTo>
                    <a:cubicBezTo>
                      <a:pt x="10828" y="4976"/>
                      <a:pt x="10828" y="4976"/>
                      <a:pt x="10828" y="4976"/>
                    </a:cubicBezTo>
                    <a:cubicBezTo>
                      <a:pt x="10791" y="4856"/>
                      <a:pt x="10791" y="4856"/>
                      <a:pt x="10791" y="4856"/>
                    </a:cubicBezTo>
                    <a:cubicBezTo>
                      <a:pt x="10743" y="4871"/>
                      <a:pt x="10743" y="4871"/>
                      <a:pt x="10743" y="4871"/>
                    </a:cubicBezTo>
                    <a:lnTo>
                      <a:pt x="10780" y="4990"/>
                    </a:lnTo>
                    <a:close/>
                    <a:moveTo>
                      <a:pt x="9342" y="5441"/>
                    </a:moveTo>
                    <a:cubicBezTo>
                      <a:pt x="9415" y="5419"/>
                      <a:pt x="9415" y="5419"/>
                      <a:pt x="9415" y="5419"/>
                    </a:cubicBezTo>
                    <a:cubicBezTo>
                      <a:pt x="9459" y="5564"/>
                      <a:pt x="9459" y="5564"/>
                      <a:pt x="9459" y="5564"/>
                    </a:cubicBezTo>
                    <a:cubicBezTo>
                      <a:pt x="9387" y="5586"/>
                      <a:pt x="9387" y="5586"/>
                      <a:pt x="9387" y="5586"/>
                    </a:cubicBezTo>
                    <a:cubicBezTo>
                      <a:pt x="9385" y="5580"/>
                      <a:pt x="9385" y="5580"/>
                      <a:pt x="9385" y="5580"/>
                    </a:cubicBezTo>
                    <a:lnTo>
                      <a:pt x="9342" y="5441"/>
                    </a:lnTo>
                    <a:close/>
                    <a:moveTo>
                      <a:pt x="9406" y="5435"/>
                    </a:moveTo>
                    <a:cubicBezTo>
                      <a:pt x="9359" y="5450"/>
                      <a:pt x="9359" y="5450"/>
                      <a:pt x="9359" y="5450"/>
                    </a:cubicBezTo>
                    <a:cubicBezTo>
                      <a:pt x="9396" y="5570"/>
                      <a:pt x="9396" y="5570"/>
                      <a:pt x="9396" y="5570"/>
                    </a:cubicBezTo>
                    <a:cubicBezTo>
                      <a:pt x="9443" y="5555"/>
                      <a:pt x="9443" y="5555"/>
                      <a:pt x="9443" y="5555"/>
                    </a:cubicBezTo>
                    <a:lnTo>
                      <a:pt x="9406" y="5435"/>
                    </a:lnTo>
                    <a:close/>
                    <a:moveTo>
                      <a:pt x="2146" y="8754"/>
                    </a:moveTo>
                    <a:cubicBezTo>
                      <a:pt x="2291" y="8768"/>
                      <a:pt x="2291" y="8768"/>
                      <a:pt x="2291" y="8768"/>
                    </a:cubicBezTo>
                    <a:cubicBezTo>
                      <a:pt x="2283" y="8844"/>
                      <a:pt x="2283" y="8844"/>
                      <a:pt x="2283" y="8844"/>
                    </a:cubicBezTo>
                    <a:cubicBezTo>
                      <a:pt x="2132" y="8829"/>
                      <a:pt x="2132" y="8829"/>
                      <a:pt x="2132" y="8829"/>
                    </a:cubicBezTo>
                    <a:cubicBezTo>
                      <a:pt x="2140" y="8754"/>
                      <a:pt x="2140" y="8754"/>
                      <a:pt x="2140" y="8754"/>
                    </a:cubicBezTo>
                    <a:lnTo>
                      <a:pt x="2146" y="8754"/>
                    </a:lnTo>
                    <a:close/>
                    <a:moveTo>
                      <a:pt x="2147" y="8817"/>
                    </a:moveTo>
                    <a:cubicBezTo>
                      <a:pt x="2272" y="8829"/>
                      <a:pt x="2272" y="8829"/>
                      <a:pt x="2272" y="8829"/>
                    </a:cubicBezTo>
                    <a:cubicBezTo>
                      <a:pt x="2276" y="8780"/>
                      <a:pt x="2276" y="8780"/>
                      <a:pt x="2276" y="8780"/>
                    </a:cubicBezTo>
                    <a:cubicBezTo>
                      <a:pt x="2152" y="8768"/>
                      <a:pt x="2152" y="8768"/>
                      <a:pt x="2152" y="8768"/>
                    </a:cubicBezTo>
                    <a:lnTo>
                      <a:pt x="2147" y="8817"/>
                    </a:lnTo>
                    <a:close/>
                    <a:moveTo>
                      <a:pt x="9751" y="5169"/>
                    </a:moveTo>
                    <a:cubicBezTo>
                      <a:pt x="9823" y="5147"/>
                      <a:pt x="9823" y="5147"/>
                      <a:pt x="9823" y="5147"/>
                    </a:cubicBezTo>
                    <a:cubicBezTo>
                      <a:pt x="9868" y="5292"/>
                      <a:pt x="9868" y="5292"/>
                      <a:pt x="9868" y="5292"/>
                    </a:cubicBezTo>
                    <a:cubicBezTo>
                      <a:pt x="9796" y="5314"/>
                      <a:pt x="9796" y="5314"/>
                      <a:pt x="9796" y="5314"/>
                    </a:cubicBezTo>
                    <a:cubicBezTo>
                      <a:pt x="9794" y="5308"/>
                      <a:pt x="9794" y="5308"/>
                      <a:pt x="9794" y="5308"/>
                    </a:cubicBezTo>
                    <a:lnTo>
                      <a:pt x="9751" y="5169"/>
                    </a:lnTo>
                    <a:close/>
                    <a:moveTo>
                      <a:pt x="9815" y="5163"/>
                    </a:moveTo>
                    <a:cubicBezTo>
                      <a:pt x="9767" y="5178"/>
                      <a:pt x="9767" y="5178"/>
                      <a:pt x="9767" y="5178"/>
                    </a:cubicBezTo>
                    <a:cubicBezTo>
                      <a:pt x="9804" y="5298"/>
                      <a:pt x="9804" y="5298"/>
                      <a:pt x="9804" y="5298"/>
                    </a:cubicBezTo>
                    <a:cubicBezTo>
                      <a:pt x="9852" y="5283"/>
                      <a:pt x="9852" y="5283"/>
                      <a:pt x="9852" y="5283"/>
                    </a:cubicBezTo>
                    <a:lnTo>
                      <a:pt x="9815" y="5163"/>
                    </a:lnTo>
                    <a:close/>
                    <a:moveTo>
                      <a:pt x="10551" y="5082"/>
                    </a:moveTo>
                    <a:cubicBezTo>
                      <a:pt x="10479" y="5104"/>
                      <a:pt x="10479" y="5104"/>
                      <a:pt x="10479" y="5104"/>
                    </a:cubicBezTo>
                    <a:cubicBezTo>
                      <a:pt x="10477" y="5098"/>
                      <a:pt x="10477" y="5098"/>
                      <a:pt x="10477" y="5098"/>
                    </a:cubicBezTo>
                    <a:cubicBezTo>
                      <a:pt x="10434" y="4960"/>
                      <a:pt x="10434" y="4960"/>
                      <a:pt x="10434" y="4960"/>
                    </a:cubicBezTo>
                    <a:cubicBezTo>
                      <a:pt x="10507" y="4937"/>
                      <a:pt x="10507" y="4937"/>
                      <a:pt x="10507" y="4937"/>
                    </a:cubicBezTo>
                    <a:lnTo>
                      <a:pt x="10551" y="5082"/>
                    </a:lnTo>
                    <a:close/>
                    <a:moveTo>
                      <a:pt x="10488" y="5088"/>
                    </a:moveTo>
                    <a:cubicBezTo>
                      <a:pt x="10535" y="5073"/>
                      <a:pt x="10535" y="5073"/>
                      <a:pt x="10535" y="5073"/>
                    </a:cubicBezTo>
                    <a:cubicBezTo>
                      <a:pt x="10498" y="4954"/>
                      <a:pt x="10498" y="4954"/>
                      <a:pt x="10498" y="4954"/>
                    </a:cubicBezTo>
                    <a:cubicBezTo>
                      <a:pt x="10451" y="4968"/>
                      <a:pt x="10451" y="4968"/>
                      <a:pt x="10451" y="4968"/>
                    </a:cubicBezTo>
                    <a:lnTo>
                      <a:pt x="10488" y="5088"/>
                    </a:lnTo>
                    <a:close/>
                    <a:moveTo>
                      <a:pt x="11223" y="4898"/>
                    </a:moveTo>
                    <a:cubicBezTo>
                      <a:pt x="11221" y="4904"/>
                      <a:pt x="11221" y="4904"/>
                      <a:pt x="11221" y="4904"/>
                    </a:cubicBezTo>
                    <a:cubicBezTo>
                      <a:pt x="11188" y="5015"/>
                      <a:pt x="11188" y="5015"/>
                      <a:pt x="11188" y="5015"/>
                    </a:cubicBezTo>
                    <a:cubicBezTo>
                      <a:pt x="11076" y="4979"/>
                      <a:pt x="11076" y="4979"/>
                      <a:pt x="11076" y="4979"/>
                    </a:cubicBezTo>
                    <a:cubicBezTo>
                      <a:pt x="11079" y="4969"/>
                      <a:pt x="11079" y="4969"/>
                      <a:pt x="11079" y="4969"/>
                    </a:cubicBezTo>
                    <a:cubicBezTo>
                      <a:pt x="11030" y="4953"/>
                      <a:pt x="11030" y="4953"/>
                      <a:pt x="11030" y="4953"/>
                    </a:cubicBezTo>
                    <a:cubicBezTo>
                      <a:pt x="11087" y="4777"/>
                      <a:pt x="11087" y="4777"/>
                      <a:pt x="11087" y="4777"/>
                    </a:cubicBezTo>
                    <a:cubicBezTo>
                      <a:pt x="11191" y="4810"/>
                      <a:pt x="11191" y="4810"/>
                      <a:pt x="11191" y="4810"/>
                    </a:cubicBezTo>
                    <a:cubicBezTo>
                      <a:pt x="11169" y="4880"/>
                      <a:pt x="11169" y="4880"/>
                      <a:pt x="11169" y="4880"/>
                    </a:cubicBezTo>
                    <a:lnTo>
                      <a:pt x="11223" y="4898"/>
                    </a:lnTo>
                    <a:close/>
                    <a:moveTo>
                      <a:pt x="11207" y="4906"/>
                    </a:moveTo>
                    <a:cubicBezTo>
                      <a:pt x="11152" y="4888"/>
                      <a:pt x="11152" y="4888"/>
                      <a:pt x="11152" y="4888"/>
                    </a:cubicBezTo>
                    <a:cubicBezTo>
                      <a:pt x="11175" y="4819"/>
                      <a:pt x="11175" y="4819"/>
                      <a:pt x="11175" y="4819"/>
                    </a:cubicBezTo>
                    <a:cubicBezTo>
                      <a:pt x="11095" y="4793"/>
                      <a:pt x="11095" y="4793"/>
                      <a:pt x="11095" y="4793"/>
                    </a:cubicBezTo>
                    <a:cubicBezTo>
                      <a:pt x="11046" y="4945"/>
                      <a:pt x="11046" y="4945"/>
                      <a:pt x="11046" y="4945"/>
                    </a:cubicBezTo>
                    <a:cubicBezTo>
                      <a:pt x="11096" y="4961"/>
                      <a:pt x="11096" y="4961"/>
                      <a:pt x="11096" y="4961"/>
                    </a:cubicBezTo>
                    <a:cubicBezTo>
                      <a:pt x="11093" y="4971"/>
                      <a:pt x="11093" y="4971"/>
                      <a:pt x="11093" y="4971"/>
                    </a:cubicBezTo>
                    <a:cubicBezTo>
                      <a:pt x="11179" y="4999"/>
                      <a:pt x="11179" y="4999"/>
                      <a:pt x="11179" y="4999"/>
                    </a:cubicBezTo>
                    <a:lnTo>
                      <a:pt x="11207" y="4906"/>
                    </a:lnTo>
                    <a:close/>
                    <a:moveTo>
                      <a:pt x="2216" y="9161"/>
                    </a:moveTo>
                    <a:cubicBezTo>
                      <a:pt x="2130" y="9282"/>
                      <a:pt x="2130" y="9282"/>
                      <a:pt x="2130" y="9282"/>
                    </a:cubicBezTo>
                    <a:cubicBezTo>
                      <a:pt x="2125" y="9278"/>
                      <a:pt x="2125" y="9278"/>
                      <a:pt x="2125" y="9278"/>
                    </a:cubicBezTo>
                    <a:cubicBezTo>
                      <a:pt x="2045" y="9221"/>
                      <a:pt x="2045" y="9221"/>
                      <a:pt x="2045" y="9221"/>
                    </a:cubicBezTo>
                    <a:cubicBezTo>
                      <a:pt x="2131" y="9100"/>
                      <a:pt x="2131" y="9100"/>
                      <a:pt x="2131" y="9100"/>
                    </a:cubicBezTo>
                    <a:lnTo>
                      <a:pt x="2216" y="9161"/>
                    </a:lnTo>
                    <a:close/>
                    <a:moveTo>
                      <a:pt x="2198" y="9164"/>
                    </a:moveTo>
                    <a:cubicBezTo>
                      <a:pt x="2134" y="9119"/>
                      <a:pt x="2134" y="9119"/>
                      <a:pt x="2134" y="9119"/>
                    </a:cubicBezTo>
                    <a:cubicBezTo>
                      <a:pt x="2063" y="9218"/>
                      <a:pt x="2063" y="9218"/>
                      <a:pt x="2063" y="9218"/>
                    </a:cubicBezTo>
                    <a:cubicBezTo>
                      <a:pt x="2127" y="9264"/>
                      <a:pt x="2127" y="9264"/>
                      <a:pt x="2127" y="9264"/>
                    </a:cubicBezTo>
                    <a:lnTo>
                      <a:pt x="2198" y="9164"/>
                    </a:lnTo>
                    <a:close/>
                    <a:moveTo>
                      <a:pt x="1024" y="9719"/>
                    </a:moveTo>
                    <a:cubicBezTo>
                      <a:pt x="1007" y="9582"/>
                      <a:pt x="1007" y="9582"/>
                      <a:pt x="1007" y="9582"/>
                    </a:cubicBezTo>
                    <a:cubicBezTo>
                      <a:pt x="1013" y="9581"/>
                      <a:pt x="1013" y="9581"/>
                      <a:pt x="1013" y="9581"/>
                    </a:cubicBezTo>
                    <a:cubicBezTo>
                      <a:pt x="1144" y="9564"/>
                      <a:pt x="1144" y="9564"/>
                      <a:pt x="1144" y="9564"/>
                    </a:cubicBezTo>
                    <a:cubicBezTo>
                      <a:pt x="1161" y="9701"/>
                      <a:pt x="1161" y="9701"/>
                      <a:pt x="1161" y="9701"/>
                    </a:cubicBezTo>
                    <a:lnTo>
                      <a:pt x="1024" y="9719"/>
                    </a:lnTo>
                    <a:close/>
                    <a:moveTo>
                      <a:pt x="1022" y="9593"/>
                    </a:moveTo>
                    <a:cubicBezTo>
                      <a:pt x="1036" y="9704"/>
                      <a:pt x="1036" y="9704"/>
                      <a:pt x="1036" y="9704"/>
                    </a:cubicBezTo>
                    <a:cubicBezTo>
                      <a:pt x="1147" y="9690"/>
                      <a:pt x="1147" y="9690"/>
                      <a:pt x="1147" y="9690"/>
                    </a:cubicBezTo>
                    <a:cubicBezTo>
                      <a:pt x="1132" y="9579"/>
                      <a:pt x="1132" y="9579"/>
                      <a:pt x="1132" y="9579"/>
                    </a:cubicBezTo>
                    <a:lnTo>
                      <a:pt x="1022" y="9593"/>
                    </a:lnTo>
                    <a:close/>
                    <a:moveTo>
                      <a:pt x="1516" y="9980"/>
                    </a:moveTo>
                    <a:cubicBezTo>
                      <a:pt x="1397" y="9911"/>
                      <a:pt x="1397" y="9911"/>
                      <a:pt x="1397" y="9911"/>
                    </a:cubicBezTo>
                    <a:cubicBezTo>
                      <a:pt x="1467" y="9792"/>
                      <a:pt x="1467" y="9792"/>
                      <a:pt x="1467" y="9792"/>
                    </a:cubicBezTo>
                    <a:cubicBezTo>
                      <a:pt x="1472" y="9795"/>
                      <a:pt x="1472" y="9795"/>
                      <a:pt x="1472" y="9795"/>
                    </a:cubicBezTo>
                    <a:cubicBezTo>
                      <a:pt x="1586" y="9861"/>
                      <a:pt x="1586" y="9861"/>
                      <a:pt x="1586" y="9861"/>
                    </a:cubicBezTo>
                    <a:lnTo>
                      <a:pt x="1516" y="9980"/>
                    </a:lnTo>
                    <a:close/>
                    <a:moveTo>
                      <a:pt x="1512" y="9962"/>
                    </a:moveTo>
                    <a:cubicBezTo>
                      <a:pt x="1568" y="9866"/>
                      <a:pt x="1568" y="9866"/>
                      <a:pt x="1568" y="9866"/>
                    </a:cubicBezTo>
                    <a:cubicBezTo>
                      <a:pt x="1471" y="9809"/>
                      <a:pt x="1471" y="9809"/>
                      <a:pt x="1471" y="9809"/>
                    </a:cubicBezTo>
                    <a:cubicBezTo>
                      <a:pt x="1415" y="9906"/>
                      <a:pt x="1415" y="9906"/>
                      <a:pt x="1415" y="9906"/>
                    </a:cubicBezTo>
                    <a:lnTo>
                      <a:pt x="1512" y="9962"/>
                    </a:lnTo>
                    <a:close/>
                    <a:moveTo>
                      <a:pt x="1674" y="9935"/>
                    </a:moveTo>
                    <a:cubicBezTo>
                      <a:pt x="1787" y="10001"/>
                      <a:pt x="1787" y="10001"/>
                      <a:pt x="1787" y="10001"/>
                    </a:cubicBezTo>
                    <a:cubicBezTo>
                      <a:pt x="1717" y="10120"/>
                      <a:pt x="1717" y="10120"/>
                      <a:pt x="1717" y="10120"/>
                    </a:cubicBezTo>
                    <a:cubicBezTo>
                      <a:pt x="1598" y="10051"/>
                      <a:pt x="1598" y="10051"/>
                      <a:pt x="1598" y="10051"/>
                    </a:cubicBezTo>
                    <a:cubicBezTo>
                      <a:pt x="1668" y="9932"/>
                      <a:pt x="1668" y="9932"/>
                      <a:pt x="1668" y="9932"/>
                    </a:cubicBezTo>
                    <a:lnTo>
                      <a:pt x="1674" y="9935"/>
                    </a:lnTo>
                    <a:close/>
                    <a:moveTo>
                      <a:pt x="1769" y="10006"/>
                    </a:moveTo>
                    <a:cubicBezTo>
                      <a:pt x="1673" y="9949"/>
                      <a:pt x="1673" y="9949"/>
                      <a:pt x="1673" y="9949"/>
                    </a:cubicBezTo>
                    <a:cubicBezTo>
                      <a:pt x="1616" y="10046"/>
                      <a:pt x="1616" y="10046"/>
                      <a:pt x="1616" y="10046"/>
                    </a:cubicBezTo>
                    <a:cubicBezTo>
                      <a:pt x="1713" y="10102"/>
                      <a:pt x="1713" y="10102"/>
                      <a:pt x="1713" y="10102"/>
                    </a:cubicBezTo>
                    <a:lnTo>
                      <a:pt x="1769" y="10006"/>
                    </a:lnTo>
                    <a:close/>
                    <a:moveTo>
                      <a:pt x="8436" y="6418"/>
                    </a:moveTo>
                    <a:cubicBezTo>
                      <a:pt x="8438" y="6488"/>
                      <a:pt x="8438" y="6488"/>
                      <a:pt x="8438" y="6488"/>
                    </a:cubicBezTo>
                    <a:cubicBezTo>
                      <a:pt x="8286" y="6492"/>
                      <a:pt x="8286" y="6492"/>
                      <a:pt x="8286" y="6492"/>
                    </a:cubicBezTo>
                    <a:cubicBezTo>
                      <a:pt x="8285" y="6421"/>
                      <a:pt x="8285" y="6421"/>
                      <a:pt x="8285" y="6421"/>
                    </a:cubicBezTo>
                    <a:cubicBezTo>
                      <a:pt x="8291" y="6421"/>
                      <a:pt x="8291" y="6421"/>
                      <a:pt x="8291" y="6421"/>
                    </a:cubicBezTo>
                    <a:lnTo>
                      <a:pt x="8436" y="6418"/>
                    </a:lnTo>
                    <a:close/>
                    <a:moveTo>
                      <a:pt x="8424" y="6476"/>
                    </a:moveTo>
                    <a:cubicBezTo>
                      <a:pt x="8423" y="6431"/>
                      <a:pt x="8423" y="6431"/>
                      <a:pt x="8423" y="6431"/>
                    </a:cubicBezTo>
                    <a:cubicBezTo>
                      <a:pt x="8298" y="6434"/>
                      <a:pt x="8298" y="6434"/>
                      <a:pt x="8298" y="6434"/>
                    </a:cubicBezTo>
                    <a:cubicBezTo>
                      <a:pt x="8299" y="6478"/>
                      <a:pt x="8299" y="6478"/>
                      <a:pt x="8299" y="6478"/>
                    </a:cubicBezTo>
                    <a:lnTo>
                      <a:pt x="8424" y="6476"/>
                    </a:lnTo>
                    <a:close/>
                    <a:moveTo>
                      <a:pt x="5857" y="8190"/>
                    </a:moveTo>
                    <a:cubicBezTo>
                      <a:pt x="5853" y="8073"/>
                      <a:pt x="5853" y="8073"/>
                      <a:pt x="5853" y="8073"/>
                    </a:cubicBezTo>
                    <a:cubicBezTo>
                      <a:pt x="5971" y="8073"/>
                      <a:pt x="5971" y="8073"/>
                      <a:pt x="5971" y="8073"/>
                    </a:cubicBezTo>
                    <a:cubicBezTo>
                      <a:pt x="5971" y="8083"/>
                      <a:pt x="5971" y="8083"/>
                      <a:pt x="5971" y="8083"/>
                    </a:cubicBezTo>
                    <a:cubicBezTo>
                      <a:pt x="6023" y="8083"/>
                      <a:pt x="6023" y="8083"/>
                      <a:pt x="6023" y="8083"/>
                    </a:cubicBezTo>
                    <a:cubicBezTo>
                      <a:pt x="6025" y="8268"/>
                      <a:pt x="6025" y="8268"/>
                      <a:pt x="6025" y="8268"/>
                    </a:cubicBezTo>
                    <a:cubicBezTo>
                      <a:pt x="5915" y="8269"/>
                      <a:pt x="5915" y="8269"/>
                      <a:pt x="5915" y="8269"/>
                    </a:cubicBezTo>
                    <a:cubicBezTo>
                      <a:pt x="5914" y="8196"/>
                      <a:pt x="5914" y="8196"/>
                      <a:pt x="5914" y="8196"/>
                    </a:cubicBezTo>
                    <a:cubicBezTo>
                      <a:pt x="5857" y="8196"/>
                      <a:pt x="5857" y="8196"/>
                      <a:pt x="5857" y="8196"/>
                    </a:cubicBezTo>
                    <a:lnTo>
                      <a:pt x="5857" y="8190"/>
                    </a:lnTo>
                    <a:close/>
                    <a:moveTo>
                      <a:pt x="5867" y="8086"/>
                    </a:moveTo>
                    <a:cubicBezTo>
                      <a:pt x="5870" y="8183"/>
                      <a:pt x="5870" y="8183"/>
                      <a:pt x="5870" y="8183"/>
                    </a:cubicBezTo>
                    <a:cubicBezTo>
                      <a:pt x="5927" y="8183"/>
                      <a:pt x="5927" y="8183"/>
                      <a:pt x="5927" y="8183"/>
                    </a:cubicBezTo>
                    <a:cubicBezTo>
                      <a:pt x="5928" y="8256"/>
                      <a:pt x="5928" y="8256"/>
                      <a:pt x="5928" y="8256"/>
                    </a:cubicBezTo>
                    <a:cubicBezTo>
                      <a:pt x="6011" y="8255"/>
                      <a:pt x="6011" y="8255"/>
                      <a:pt x="6011" y="8255"/>
                    </a:cubicBezTo>
                    <a:cubicBezTo>
                      <a:pt x="6010" y="8096"/>
                      <a:pt x="6010" y="8096"/>
                      <a:pt x="6010" y="8096"/>
                    </a:cubicBezTo>
                    <a:cubicBezTo>
                      <a:pt x="5958" y="8096"/>
                      <a:pt x="5958" y="8096"/>
                      <a:pt x="5958" y="8096"/>
                    </a:cubicBezTo>
                    <a:cubicBezTo>
                      <a:pt x="5958" y="8086"/>
                      <a:pt x="5958" y="8086"/>
                      <a:pt x="5958" y="8086"/>
                    </a:cubicBezTo>
                    <a:lnTo>
                      <a:pt x="5867" y="8086"/>
                    </a:lnTo>
                    <a:close/>
                    <a:moveTo>
                      <a:pt x="6652" y="7664"/>
                    </a:moveTo>
                    <a:cubicBezTo>
                      <a:pt x="6651" y="7513"/>
                      <a:pt x="6651" y="7513"/>
                      <a:pt x="6651" y="7513"/>
                    </a:cubicBezTo>
                    <a:cubicBezTo>
                      <a:pt x="6721" y="7512"/>
                      <a:pt x="6721" y="7512"/>
                      <a:pt x="6721" y="7512"/>
                    </a:cubicBezTo>
                    <a:cubicBezTo>
                      <a:pt x="6721" y="7519"/>
                      <a:pt x="6721" y="7519"/>
                      <a:pt x="6721" y="7519"/>
                    </a:cubicBezTo>
                    <a:cubicBezTo>
                      <a:pt x="6723" y="7664"/>
                      <a:pt x="6723" y="7664"/>
                      <a:pt x="6723" y="7664"/>
                    </a:cubicBezTo>
                    <a:lnTo>
                      <a:pt x="6652" y="7664"/>
                    </a:lnTo>
                    <a:close/>
                    <a:moveTo>
                      <a:pt x="6664" y="7526"/>
                    </a:moveTo>
                    <a:cubicBezTo>
                      <a:pt x="6665" y="7651"/>
                      <a:pt x="6665" y="7651"/>
                      <a:pt x="6665" y="7651"/>
                    </a:cubicBezTo>
                    <a:cubicBezTo>
                      <a:pt x="6709" y="7651"/>
                      <a:pt x="6709" y="7651"/>
                      <a:pt x="6709" y="7651"/>
                    </a:cubicBezTo>
                    <a:cubicBezTo>
                      <a:pt x="6708" y="7525"/>
                      <a:pt x="6708" y="7525"/>
                      <a:pt x="6708" y="7525"/>
                    </a:cubicBezTo>
                    <a:lnTo>
                      <a:pt x="6664" y="7526"/>
                    </a:lnTo>
                    <a:close/>
                    <a:moveTo>
                      <a:pt x="6408" y="8386"/>
                    </a:moveTo>
                    <a:cubicBezTo>
                      <a:pt x="6408" y="8315"/>
                      <a:pt x="6408" y="8315"/>
                      <a:pt x="6408" y="8315"/>
                    </a:cubicBezTo>
                    <a:cubicBezTo>
                      <a:pt x="6415" y="8315"/>
                      <a:pt x="6415" y="8315"/>
                      <a:pt x="6415" y="8315"/>
                    </a:cubicBezTo>
                    <a:cubicBezTo>
                      <a:pt x="6560" y="8315"/>
                      <a:pt x="6560" y="8315"/>
                      <a:pt x="6560" y="8315"/>
                    </a:cubicBezTo>
                    <a:cubicBezTo>
                      <a:pt x="6560" y="8385"/>
                      <a:pt x="6560" y="8385"/>
                      <a:pt x="6560" y="8385"/>
                    </a:cubicBezTo>
                    <a:lnTo>
                      <a:pt x="6408" y="8386"/>
                    </a:lnTo>
                    <a:close/>
                    <a:moveTo>
                      <a:pt x="6421" y="8328"/>
                    </a:moveTo>
                    <a:cubicBezTo>
                      <a:pt x="6421" y="8373"/>
                      <a:pt x="6421" y="8373"/>
                      <a:pt x="6421" y="8373"/>
                    </a:cubicBezTo>
                    <a:cubicBezTo>
                      <a:pt x="6547" y="8372"/>
                      <a:pt x="6547" y="8372"/>
                      <a:pt x="6547" y="8372"/>
                    </a:cubicBezTo>
                    <a:cubicBezTo>
                      <a:pt x="6546" y="8328"/>
                      <a:pt x="6546" y="8328"/>
                      <a:pt x="6546" y="8328"/>
                    </a:cubicBezTo>
                    <a:lnTo>
                      <a:pt x="6421" y="8328"/>
                    </a:lnTo>
                    <a:close/>
                    <a:moveTo>
                      <a:pt x="5487" y="7425"/>
                    </a:moveTo>
                    <a:cubicBezTo>
                      <a:pt x="5324" y="7216"/>
                      <a:pt x="5324" y="7216"/>
                      <a:pt x="5324" y="7216"/>
                    </a:cubicBezTo>
                    <a:cubicBezTo>
                      <a:pt x="5457" y="7120"/>
                      <a:pt x="5457" y="7120"/>
                      <a:pt x="5457" y="7120"/>
                    </a:cubicBezTo>
                    <a:cubicBezTo>
                      <a:pt x="5648" y="7304"/>
                      <a:pt x="5648" y="7304"/>
                      <a:pt x="5648" y="7304"/>
                    </a:cubicBezTo>
                    <a:cubicBezTo>
                      <a:pt x="5641" y="7309"/>
                      <a:pt x="5641" y="7309"/>
                      <a:pt x="5641" y="7309"/>
                    </a:cubicBezTo>
                    <a:lnTo>
                      <a:pt x="5487" y="7425"/>
                    </a:lnTo>
                    <a:close/>
                    <a:moveTo>
                      <a:pt x="5345" y="7219"/>
                    </a:moveTo>
                    <a:cubicBezTo>
                      <a:pt x="5490" y="7404"/>
                      <a:pt x="5490" y="7404"/>
                      <a:pt x="5490" y="7404"/>
                    </a:cubicBezTo>
                    <a:cubicBezTo>
                      <a:pt x="5626" y="7302"/>
                      <a:pt x="5626" y="7302"/>
                      <a:pt x="5626" y="7302"/>
                    </a:cubicBezTo>
                    <a:cubicBezTo>
                      <a:pt x="5456" y="7139"/>
                      <a:pt x="5456" y="7139"/>
                      <a:pt x="5456" y="7139"/>
                    </a:cubicBezTo>
                    <a:lnTo>
                      <a:pt x="5345" y="7219"/>
                    </a:lnTo>
                    <a:close/>
                    <a:moveTo>
                      <a:pt x="5089" y="7707"/>
                    </a:moveTo>
                    <a:cubicBezTo>
                      <a:pt x="4930" y="7469"/>
                      <a:pt x="4930" y="7469"/>
                      <a:pt x="4930" y="7469"/>
                    </a:cubicBezTo>
                    <a:cubicBezTo>
                      <a:pt x="5104" y="7379"/>
                      <a:pt x="5104" y="7379"/>
                      <a:pt x="5104" y="7379"/>
                    </a:cubicBezTo>
                    <a:cubicBezTo>
                      <a:pt x="5108" y="7385"/>
                      <a:pt x="5108" y="7385"/>
                      <a:pt x="5108" y="7385"/>
                    </a:cubicBezTo>
                    <a:cubicBezTo>
                      <a:pt x="5244" y="7606"/>
                      <a:pt x="5244" y="7606"/>
                      <a:pt x="5244" y="7606"/>
                    </a:cubicBezTo>
                    <a:lnTo>
                      <a:pt x="5089" y="7707"/>
                    </a:lnTo>
                    <a:close/>
                    <a:moveTo>
                      <a:pt x="4951" y="7475"/>
                    </a:moveTo>
                    <a:cubicBezTo>
                      <a:pt x="5093" y="7687"/>
                      <a:pt x="5093" y="7687"/>
                      <a:pt x="5093" y="7687"/>
                    </a:cubicBezTo>
                    <a:cubicBezTo>
                      <a:pt x="5224" y="7602"/>
                      <a:pt x="5224" y="7602"/>
                      <a:pt x="5224" y="7602"/>
                    </a:cubicBezTo>
                    <a:cubicBezTo>
                      <a:pt x="5099" y="7399"/>
                      <a:pt x="5099" y="7399"/>
                      <a:pt x="5099" y="7399"/>
                    </a:cubicBezTo>
                    <a:lnTo>
                      <a:pt x="4951" y="7475"/>
                    </a:lnTo>
                    <a:close/>
                    <a:moveTo>
                      <a:pt x="3741" y="8980"/>
                    </a:moveTo>
                    <a:cubicBezTo>
                      <a:pt x="3885" y="8994"/>
                      <a:pt x="3885" y="8994"/>
                      <a:pt x="3885" y="8994"/>
                    </a:cubicBezTo>
                    <a:cubicBezTo>
                      <a:pt x="3878" y="9069"/>
                      <a:pt x="3878" y="9069"/>
                      <a:pt x="3878" y="9069"/>
                    </a:cubicBezTo>
                    <a:cubicBezTo>
                      <a:pt x="3727" y="9055"/>
                      <a:pt x="3727" y="9055"/>
                      <a:pt x="3727" y="9055"/>
                    </a:cubicBezTo>
                    <a:cubicBezTo>
                      <a:pt x="3735" y="8979"/>
                      <a:pt x="3735" y="8979"/>
                      <a:pt x="3735" y="8979"/>
                    </a:cubicBezTo>
                    <a:lnTo>
                      <a:pt x="3741" y="8980"/>
                    </a:lnTo>
                    <a:close/>
                    <a:moveTo>
                      <a:pt x="3742" y="9043"/>
                    </a:moveTo>
                    <a:cubicBezTo>
                      <a:pt x="3866" y="9055"/>
                      <a:pt x="3866" y="9055"/>
                      <a:pt x="3866" y="9055"/>
                    </a:cubicBezTo>
                    <a:cubicBezTo>
                      <a:pt x="3871" y="9006"/>
                      <a:pt x="3871" y="9006"/>
                      <a:pt x="3871" y="9006"/>
                    </a:cubicBezTo>
                    <a:cubicBezTo>
                      <a:pt x="3746" y="8994"/>
                      <a:pt x="3746" y="8994"/>
                      <a:pt x="3746" y="8994"/>
                    </a:cubicBezTo>
                    <a:lnTo>
                      <a:pt x="3742" y="9043"/>
                    </a:lnTo>
                    <a:close/>
                    <a:moveTo>
                      <a:pt x="8404" y="4966"/>
                    </a:moveTo>
                    <a:cubicBezTo>
                      <a:pt x="8404" y="5030"/>
                      <a:pt x="8392" y="5085"/>
                      <a:pt x="8388" y="5099"/>
                    </a:cubicBezTo>
                    <a:cubicBezTo>
                      <a:pt x="8384" y="5113"/>
                      <a:pt x="8363" y="5180"/>
                      <a:pt x="8326" y="5243"/>
                    </a:cubicBezTo>
                    <a:cubicBezTo>
                      <a:pt x="8289" y="5307"/>
                      <a:pt x="8237" y="5369"/>
                      <a:pt x="8167" y="5369"/>
                    </a:cubicBezTo>
                    <a:cubicBezTo>
                      <a:pt x="8156" y="5369"/>
                      <a:pt x="8145" y="5368"/>
                      <a:pt x="8134" y="5364"/>
                    </a:cubicBezTo>
                    <a:cubicBezTo>
                      <a:pt x="8030" y="5335"/>
                      <a:pt x="8001" y="5229"/>
                      <a:pt x="8001" y="5131"/>
                    </a:cubicBezTo>
                    <a:cubicBezTo>
                      <a:pt x="8001" y="5082"/>
                      <a:pt x="8009" y="5034"/>
                      <a:pt x="8018" y="4997"/>
                    </a:cubicBezTo>
                    <a:cubicBezTo>
                      <a:pt x="8044" y="4898"/>
                      <a:pt x="8134" y="4739"/>
                      <a:pt x="8244" y="4737"/>
                    </a:cubicBezTo>
                    <a:cubicBezTo>
                      <a:pt x="8254" y="4737"/>
                      <a:pt x="8265" y="4739"/>
                      <a:pt x="8275" y="4742"/>
                    </a:cubicBezTo>
                    <a:cubicBezTo>
                      <a:pt x="8381" y="4773"/>
                      <a:pt x="8404" y="4879"/>
                      <a:pt x="8404" y="4966"/>
                    </a:cubicBezTo>
                    <a:close/>
                    <a:moveTo>
                      <a:pt x="8389" y="4966"/>
                    </a:moveTo>
                    <a:cubicBezTo>
                      <a:pt x="8389" y="4880"/>
                      <a:pt x="8367" y="4783"/>
                      <a:pt x="8271" y="4756"/>
                    </a:cubicBezTo>
                    <a:cubicBezTo>
                      <a:pt x="8273" y="4749"/>
                      <a:pt x="8273" y="4749"/>
                      <a:pt x="8273" y="4749"/>
                    </a:cubicBezTo>
                    <a:cubicBezTo>
                      <a:pt x="8271" y="4756"/>
                      <a:pt x="8271" y="4756"/>
                      <a:pt x="8271" y="4756"/>
                    </a:cubicBezTo>
                    <a:cubicBezTo>
                      <a:pt x="8262" y="4753"/>
                      <a:pt x="8253" y="4752"/>
                      <a:pt x="8244" y="4752"/>
                    </a:cubicBezTo>
                    <a:cubicBezTo>
                      <a:pt x="8149" y="4750"/>
                      <a:pt x="8056" y="4904"/>
                      <a:pt x="8032" y="5001"/>
                    </a:cubicBezTo>
                    <a:cubicBezTo>
                      <a:pt x="8023" y="5036"/>
                      <a:pt x="8016" y="5083"/>
                      <a:pt x="8016" y="5131"/>
                    </a:cubicBezTo>
                    <a:cubicBezTo>
                      <a:pt x="8016" y="5227"/>
                      <a:pt x="8044" y="5324"/>
                      <a:pt x="8138" y="5350"/>
                    </a:cubicBezTo>
                    <a:cubicBezTo>
                      <a:pt x="8148" y="5353"/>
                      <a:pt x="8157" y="5354"/>
                      <a:pt x="8167" y="5354"/>
                    </a:cubicBezTo>
                    <a:cubicBezTo>
                      <a:pt x="8227" y="5355"/>
                      <a:pt x="8278" y="5298"/>
                      <a:pt x="8313" y="5236"/>
                    </a:cubicBezTo>
                    <a:cubicBezTo>
                      <a:pt x="8349" y="5174"/>
                      <a:pt x="8370" y="5108"/>
                      <a:pt x="8374" y="5095"/>
                    </a:cubicBezTo>
                    <a:cubicBezTo>
                      <a:pt x="8377" y="5083"/>
                      <a:pt x="8389" y="5028"/>
                      <a:pt x="8389" y="4966"/>
                    </a:cubicBezTo>
                    <a:close/>
                    <a:moveTo>
                      <a:pt x="4051" y="8918"/>
                    </a:moveTo>
                    <a:cubicBezTo>
                      <a:pt x="3900" y="8903"/>
                      <a:pt x="3900" y="8903"/>
                      <a:pt x="3900" y="8903"/>
                    </a:cubicBezTo>
                    <a:cubicBezTo>
                      <a:pt x="3907" y="8828"/>
                      <a:pt x="3907" y="8828"/>
                      <a:pt x="3907" y="8828"/>
                    </a:cubicBezTo>
                    <a:cubicBezTo>
                      <a:pt x="3914" y="8828"/>
                      <a:pt x="3914" y="8828"/>
                      <a:pt x="3914" y="8828"/>
                    </a:cubicBezTo>
                    <a:cubicBezTo>
                      <a:pt x="4058" y="8842"/>
                      <a:pt x="4058" y="8842"/>
                      <a:pt x="4058" y="8842"/>
                    </a:cubicBezTo>
                    <a:lnTo>
                      <a:pt x="4051" y="8918"/>
                    </a:lnTo>
                    <a:close/>
                    <a:moveTo>
                      <a:pt x="4044" y="8854"/>
                    </a:moveTo>
                    <a:cubicBezTo>
                      <a:pt x="3919" y="8842"/>
                      <a:pt x="3919" y="8842"/>
                      <a:pt x="3919" y="8842"/>
                    </a:cubicBezTo>
                    <a:cubicBezTo>
                      <a:pt x="3914" y="8891"/>
                      <a:pt x="3914" y="8891"/>
                      <a:pt x="3914" y="8891"/>
                    </a:cubicBezTo>
                    <a:cubicBezTo>
                      <a:pt x="4039" y="8903"/>
                      <a:pt x="4039" y="8903"/>
                      <a:pt x="4039" y="8903"/>
                    </a:cubicBezTo>
                    <a:lnTo>
                      <a:pt x="4044" y="8854"/>
                    </a:lnTo>
                    <a:close/>
                    <a:moveTo>
                      <a:pt x="6588" y="8542"/>
                    </a:moveTo>
                    <a:cubicBezTo>
                      <a:pt x="6590" y="8687"/>
                      <a:pt x="6590" y="8687"/>
                      <a:pt x="6590" y="8687"/>
                    </a:cubicBezTo>
                    <a:cubicBezTo>
                      <a:pt x="6519" y="8687"/>
                      <a:pt x="6519" y="8687"/>
                      <a:pt x="6519" y="8687"/>
                    </a:cubicBezTo>
                    <a:cubicBezTo>
                      <a:pt x="6518" y="8536"/>
                      <a:pt x="6518" y="8536"/>
                      <a:pt x="6518" y="8536"/>
                    </a:cubicBezTo>
                    <a:cubicBezTo>
                      <a:pt x="6588" y="8535"/>
                      <a:pt x="6588" y="8535"/>
                      <a:pt x="6588" y="8535"/>
                    </a:cubicBezTo>
                    <a:lnTo>
                      <a:pt x="6588" y="8542"/>
                    </a:lnTo>
                    <a:close/>
                    <a:moveTo>
                      <a:pt x="6576" y="8674"/>
                    </a:moveTo>
                    <a:cubicBezTo>
                      <a:pt x="6575" y="8548"/>
                      <a:pt x="6575" y="8548"/>
                      <a:pt x="6575" y="8548"/>
                    </a:cubicBezTo>
                    <a:cubicBezTo>
                      <a:pt x="6531" y="8549"/>
                      <a:pt x="6531" y="8549"/>
                      <a:pt x="6531" y="8549"/>
                    </a:cubicBezTo>
                    <a:cubicBezTo>
                      <a:pt x="6532" y="8674"/>
                      <a:pt x="6532" y="8674"/>
                      <a:pt x="6532" y="8674"/>
                    </a:cubicBezTo>
                    <a:lnTo>
                      <a:pt x="6576" y="8674"/>
                    </a:lnTo>
                    <a:close/>
                    <a:moveTo>
                      <a:pt x="7551" y="6455"/>
                    </a:moveTo>
                    <a:cubicBezTo>
                      <a:pt x="7552" y="6525"/>
                      <a:pt x="7552" y="6525"/>
                      <a:pt x="7552" y="6525"/>
                    </a:cubicBezTo>
                    <a:cubicBezTo>
                      <a:pt x="7401" y="6529"/>
                      <a:pt x="7401" y="6529"/>
                      <a:pt x="7401" y="6529"/>
                    </a:cubicBezTo>
                    <a:cubicBezTo>
                      <a:pt x="7399" y="6458"/>
                      <a:pt x="7399" y="6458"/>
                      <a:pt x="7399" y="6458"/>
                    </a:cubicBezTo>
                    <a:cubicBezTo>
                      <a:pt x="7406" y="6458"/>
                      <a:pt x="7406" y="6458"/>
                      <a:pt x="7406" y="6458"/>
                    </a:cubicBezTo>
                    <a:lnTo>
                      <a:pt x="7551" y="6455"/>
                    </a:lnTo>
                    <a:close/>
                    <a:moveTo>
                      <a:pt x="7539" y="6513"/>
                    </a:moveTo>
                    <a:cubicBezTo>
                      <a:pt x="7538" y="6468"/>
                      <a:pt x="7538" y="6468"/>
                      <a:pt x="7538" y="6468"/>
                    </a:cubicBezTo>
                    <a:cubicBezTo>
                      <a:pt x="7413" y="6471"/>
                      <a:pt x="7413" y="6471"/>
                      <a:pt x="7413" y="6471"/>
                    </a:cubicBezTo>
                    <a:cubicBezTo>
                      <a:pt x="7414" y="6515"/>
                      <a:pt x="7414" y="6515"/>
                      <a:pt x="7414" y="6515"/>
                    </a:cubicBezTo>
                    <a:lnTo>
                      <a:pt x="7539" y="6513"/>
                    </a:lnTo>
                    <a:close/>
                    <a:moveTo>
                      <a:pt x="7730" y="6453"/>
                    </a:moveTo>
                    <a:cubicBezTo>
                      <a:pt x="7732" y="6523"/>
                      <a:pt x="7732" y="6523"/>
                      <a:pt x="7732" y="6523"/>
                    </a:cubicBezTo>
                    <a:cubicBezTo>
                      <a:pt x="7580" y="6527"/>
                      <a:pt x="7580" y="6527"/>
                      <a:pt x="7580" y="6527"/>
                    </a:cubicBezTo>
                    <a:cubicBezTo>
                      <a:pt x="7579" y="6456"/>
                      <a:pt x="7579" y="6456"/>
                      <a:pt x="7579" y="6456"/>
                    </a:cubicBezTo>
                    <a:cubicBezTo>
                      <a:pt x="7585" y="6456"/>
                      <a:pt x="7585" y="6456"/>
                      <a:pt x="7585" y="6456"/>
                    </a:cubicBezTo>
                    <a:lnTo>
                      <a:pt x="7730" y="6453"/>
                    </a:lnTo>
                    <a:close/>
                    <a:moveTo>
                      <a:pt x="7718" y="6510"/>
                    </a:moveTo>
                    <a:cubicBezTo>
                      <a:pt x="7717" y="6466"/>
                      <a:pt x="7717" y="6466"/>
                      <a:pt x="7717" y="6466"/>
                    </a:cubicBezTo>
                    <a:cubicBezTo>
                      <a:pt x="7592" y="6469"/>
                      <a:pt x="7592" y="6469"/>
                      <a:pt x="7592" y="6469"/>
                    </a:cubicBezTo>
                    <a:cubicBezTo>
                      <a:pt x="7593" y="6513"/>
                      <a:pt x="7593" y="6513"/>
                      <a:pt x="7593" y="6513"/>
                    </a:cubicBezTo>
                    <a:lnTo>
                      <a:pt x="7718" y="6510"/>
                    </a:lnTo>
                    <a:close/>
                    <a:moveTo>
                      <a:pt x="7917" y="6446"/>
                    </a:moveTo>
                    <a:cubicBezTo>
                      <a:pt x="7918" y="6516"/>
                      <a:pt x="7918" y="6516"/>
                      <a:pt x="7918" y="6516"/>
                    </a:cubicBezTo>
                    <a:cubicBezTo>
                      <a:pt x="7767" y="6519"/>
                      <a:pt x="7767" y="6519"/>
                      <a:pt x="7767" y="6519"/>
                    </a:cubicBezTo>
                    <a:cubicBezTo>
                      <a:pt x="7765" y="6449"/>
                      <a:pt x="7765" y="6449"/>
                      <a:pt x="7765" y="6449"/>
                    </a:cubicBezTo>
                    <a:cubicBezTo>
                      <a:pt x="7772" y="6449"/>
                      <a:pt x="7772" y="6449"/>
                      <a:pt x="7772" y="6449"/>
                    </a:cubicBezTo>
                    <a:lnTo>
                      <a:pt x="7917" y="6446"/>
                    </a:lnTo>
                    <a:close/>
                    <a:moveTo>
                      <a:pt x="7905" y="6503"/>
                    </a:moveTo>
                    <a:cubicBezTo>
                      <a:pt x="7904" y="6459"/>
                      <a:pt x="7904" y="6459"/>
                      <a:pt x="7904" y="6459"/>
                    </a:cubicBezTo>
                    <a:cubicBezTo>
                      <a:pt x="7779" y="6462"/>
                      <a:pt x="7779" y="6462"/>
                      <a:pt x="7779" y="6462"/>
                    </a:cubicBezTo>
                    <a:cubicBezTo>
                      <a:pt x="7780" y="6506"/>
                      <a:pt x="7780" y="6506"/>
                      <a:pt x="7780" y="6506"/>
                    </a:cubicBezTo>
                    <a:lnTo>
                      <a:pt x="7905" y="6503"/>
                    </a:lnTo>
                    <a:close/>
                    <a:moveTo>
                      <a:pt x="5456" y="7580"/>
                    </a:moveTo>
                    <a:cubicBezTo>
                      <a:pt x="5195" y="7189"/>
                      <a:pt x="5195" y="7189"/>
                      <a:pt x="5195" y="7189"/>
                    </a:cubicBezTo>
                    <a:cubicBezTo>
                      <a:pt x="5484" y="6998"/>
                      <a:pt x="5484" y="6998"/>
                      <a:pt x="5484" y="6998"/>
                    </a:cubicBezTo>
                    <a:cubicBezTo>
                      <a:pt x="5511" y="7039"/>
                      <a:pt x="5511" y="7039"/>
                      <a:pt x="5511" y="7039"/>
                    </a:cubicBezTo>
                    <a:cubicBezTo>
                      <a:pt x="5805" y="7298"/>
                      <a:pt x="5805" y="7298"/>
                      <a:pt x="5805" y="7298"/>
                    </a:cubicBezTo>
                    <a:cubicBezTo>
                      <a:pt x="5798" y="7304"/>
                      <a:pt x="5798" y="7304"/>
                      <a:pt x="5798" y="7304"/>
                    </a:cubicBezTo>
                    <a:lnTo>
                      <a:pt x="5456" y="7580"/>
                    </a:lnTo>
                    <a:close/>
                    <a:moveTo>
                      <a:pt x="5215" y="7193"/>
                    </a:moveTo>
                    <a:cubicBezTo>
                      <a:pt x="5459" y="7558"/>
                      <a:pt x="5459" y="7558"/>
                      <a:pt x="5459" y="7558"/>
                    </a:cubicBezTo>
                    <a:cubicBezTo>
                      <a:pt x="5782" y="7298"/>
                      <a:pt x="5782" y="7298"/>
                      <a:pt x="5782" y="7298"/>
                    </a:cubicBezTo>
                    <a:cubicBezTo>
                      <a:pt x="5499" y="7049"/>
                      <a:pt x="5499" y="7049"/>
                      <a:pt x="5499" y="7049"/>
                    </a:cubicBezTo>
                    <a:cubicBezTo>
                      <a:pt x="5480" y="7019"/>
                      <a:pt x="5480" y="7019"/>
                      <a:pt x="5480" y="7019"/>
                    </a:cubicBezTo>
                    <a:lnTo>
                      <a:pt x="5215" y="7193"/>
                    </a:lnTo>
                    <a:close/>
                    <a:moveTo>
                      <a:pt x="4995" y="7906"/>
                    </a:moveTo>
                    <a:cubicBezTo>
                      <a:pt x="4988" y="7910"/>
                      <a:pt x="4988" y="7910"/>
                      <a:pt x="4988" y="7910"/>
                    </a:cubicBezTo>
                    <a:cubicBezTo>
                      <a:pt x="4581" y="8140"/>
                      <a:pt x="4581" y="8140"/>
                      <a:pt x="4581" y="8140"/>
                    </a:cubicBezTo>
                    <a:cubicBezTo>
                      <a:pt x="4327" y="7699"/>
                      <a:pt x="4327" y="7699"/>
                      <a:pt x="4327" y="7699"/>
                    </a:cubicBezTo>
                    <a:cubicBezTo>
                      <a:pt x="4713" y="7482"/>
                      <a:pt x="4713" y="7482"/>
                      <a:pt x="4713" y="7482"/>
                    </a:cubicBezTo>
                    <a:lnTo>
                      <a:pt x="4995" y="7906"/>
                    </a:lnTo>
                    <a:close/>
                    <a:moveTo>
                      <a:pt x="4974" y="7901"/>
                    </a:moveTo>
                    <a:cubicBezTo>
                      <a:pt x="4708" y="7501"/>
                      <a:pt x="4708" y="7501"/>
                      <a:pt x="4708" y="7501"/>
                    </a:cubicBezTo>
                    <a:cubicBezTo>
                      <a:pt x="4347" y="7704"/>
                      <a:pt x="4347" y="7704"/>
                      <a:pt x="4347" y="7704"/>
                    </a:cubicBezTo>
                    <a:cubicBezTo>
                      <a:pt x="4586" y="8120"/>
                      <a:pt x="4586" y="8120"/>
                      <a:pt x="4586" y="8120"/>
                    </a:cubicBezTo>
                    <a:lnTo>
                      <a:pt x="4974" y="7901"/>
                    </a:lnTo>
                    <a:close/>
                    <a:moveTo>
                      <a:pt x="7943" y="6510"/>
                    </a:moveTo>
                    <a:cubicBezTo>
                      <a:pt x="7941" y="6439"/>
                      <a:pt x="7941" y="6439"/>
                      <a:pt x="7941" y="6439"/>
                    </a:cubicBezTo>
                    <a:cubicBezTo>
                      <a:pt x="7948" y="6439"/>
                      <a:pt x="7948" y="6439"/>
                      <a:pt x="7948" y="6439"/>
                    </a:cubicBezTo>
                    <a:cubicBezTo>
                      <a:pt x="8093" y="6436"/>
                      <a:pt x="8093" y="6436"/>
                      <a:pt x="8093" y="6436"/>
                    </a:cubicBezTo>
                    <a:cubicBezTo>
                      <a:pt x="8094" y="6507"/>
                      <a:pt x="8094" y="6507"/>
                      <a:pt x="8094" y="6507"/>
                    </a:cubicBezTo>
                    <a:lnTo>
                      <a:pt x="7943" y="6510"/>
                    </a:lnTo>
                    <a:close/>
                    <a:moveTo>
                      <a:pt x="7955" y="6452"/>
                    </a:moveTo>
                    <a:cubicBezTo>
                      <a:pt x="7956" y="6497"/>
                      <a:pt x="7956" y="6497"/>
                      <a:pt x="7956" y="6497"/>
                    </a:cubicBezTo>
                    <a:cubicBezTo>
                      <a:pt x="8081" y="6494"/>
                      <a:pt x="8081" y="6494"/>
                      <a:pt x="8081" y="6494"/>
                    </a:cubicBezTo>
                    <a:cubicBezTo>
                      <a:pt x="8080" y="6450"/>
                      <a:pt x="8080" y="6450"/>
                      <a:pt x="8080" y="6450"/>
                    </a:cubicBezTo>
                    <a:lnTo>
                      <a:pt x="7955" y="6452"/>
                    </a:lnTo>
                    <a:close/>
                    <a:moveTo>
                      <a:pt x="5872" y="7734"/>
                    </a:moveTo>
                    <a:cubicBezTo>
                      <a:pt x="5931" y="7733"/>
                      <a:pt x="5931" y="7733"/>
                      <a:pt x="5931" y="7733"/>
                    </a:cubicBezTo>
                    <a:cubicBezTo>
                      <a:pt x="5930" y="7603"/>
                      <a:pt x="5930" y="7603"/>
                      <a:pt x="5930" y="7603"/>
                    </a:cubicBezTo>
                    <a:cubicBezTo>
                      <a:pt x="6001" y="7603"/>
                      <a:pt x="6001" y="7603"/>
                      <a:pt x="6001" y="7603"/>
                    </a:cubicBezTo>
                    <a:cubicBezTo>
                      <a:pt x="6001" y="7609"/>
                      <a:pt x="6001" y="7609"/>
                      <a:pt x="6001" y="7609"/>
                    </a:cubicBezTo>
                    <a:cubicBezTo>
                      <a:pt x="6002" y="7754"/>
                      <a:pt x="6002" y="7754"/>
                      <a:pt x="6002" y="7754"/>
                    </a:cubicBezTo>
                    <a:cubicBezTo>
                      <a:pt x="5943" y="7755"/>
                      <a:pt x="5943" y="7755"/>
                      <a:pt x="5943" y="7755"/>
                    </a:cubicBezTo>
                    <a:cubicBezTo>
                      <a:pt x="5944" y="7885"/>
                      <a:pt x="5944" y="7885"/>
                      <a:pt x="5944" y="7885"/>
                    </a:cubicBezTo>
                    <a:cubicBezTo>
                      <a:pt x="5873" y="7885"/>
                      <a:pt x="5873" y="7885"/>
                      <a:pt x="5873" y="7885"/>
                    </a:cubicBezTo>
                    <a:lnTo>
                      <a:pt x="5872" y="7734"/>
                    </a:lnTo>
                    <a:close/>
                    <a:moveTo>
                      <a:pt x="5943" y="7616"/>
                    </a:moveTo>
                    <a:cubicBezTo>
                      <a:pt x="5944" y="7741"/>
                      <a:pt x="5944" y="7741"/>
                      <a:pt x="5944" y="7741"/>
                    </a:cubicBezTo>
                    <a:cubicBezTo>
                      <a:pt x="5989" y="7741"/>
                      <a:pt x="5989" y="7741"/>
                      <a:pt x="5989" y="7741"/>
                    </a:cubicBezTo>
                    <a:cubicBezTo>
                      <a:pt x="5988" y="7616"/>
                      <a:pt x="5988" y="7616"/>
                      <a:pt x="5988" y="7616"/>
                    </a:cubicBezTo>
                    <a:lnTo>
                      <a:pt x="5943" y="7616"/>
                    </a:lnTo>
                    <a:close/>
                    <a:moveTo>
                      <a:pt x="5885" y="7747"/>
                    </a:moveTo>
                    <a:cubicBezTo>
                      <a:pt x="5886" y="7872"/>
                      <a:pt x="5886" y="7872"/>
                      <a:pt x="5886" y="7872"/>
                    </a:cubicBezTo>
                    <a:cubicBezTo>
                      <a:pt x="5931" y="7872"/>
                      <a:pt x="5931" y="7872"/>
                      <a:pt x="5931" y="7872"/>
                    </a:cubicBezTo>
                    <a:cubicBezTo>
                      <a:pt x="5930" y="7746"/>
                      <a:pt x="5930" y="7746"/>
                      <a:pt x="5930" y="7746"/>
                    </a:cubicBezTo>
                    <a:lnTo>
                      <a:pt x="5885" y="7747"/>
                    </a:lnTo>
                    <a:close/>
                    <a:moveTo>
                      <a:pt x="6858" y="8374"/>
                    </a:moveTo>
                    <a:cubicBezTo>
                      <a:pt x="6918" y="8459"/>
                      <a:pt x="6918" y="8459"/>
                      <a:pt x="6918" y="8459"/>
                    </a:cubicBezTo>
                    <a:cubicBezTo>
                      <a:pt x="6798" y="8545"/>
                      <a:pt x="6798" y="8545"/>
                      <a:pt x="6798" y="8545"/>
                    </a:cubicBezTo>
                    <a:cubicBezTo>
                      <a:pt x="6794" y="8539"/>
                      <a:pt x="6794" y="8539"/>
                      <a:pt x="6794" y="8539"/>
                    </a:cubicBezTo>
                    <a:cubicBezTo>
                      <a:pt x="6737" y="8460"/>
                      <a:pt x="6737" y="8460"/>
                      <a:pt x="6737" y="8460"/>
                    </a:cubicBezTo>
                    <a:lnTo>
                      <a:pt x="6858" y="8374"/>
                    </a:lnTo>
                    <a:close/>
                    <a:moveTo>
                      <a:pt x="6900" y="8456"/>
                    </a:moveTo>
                    <a:cubicBezTo>
                      <a:pt x="6855" y="8392"/>
                      <a:pt x="6855" y="8392"/>
                      <a:pt x="6855" y="8392"/>
                    </a:cubicBezTo>
                    <a:cubicBezTo>
                      <a:pt x="6755" y="8463"/>
                      <a:pt x="6755" y="8463"/>
                      <a:pt x="6755" y="8463"/>
                    </a:cubicBezTo>
                    <a:cubicBezTo>
                      <a:pt x="6801" y="8527"/>
                      <a:pt x="6801" y="8527"/>
                      <a:pt x="6801" y="8527"/>
                    </a:cubicBezTo>
                    <a:lnTo>
                      <a:pt x="6900" y="8456"/>
                    </a:lnTo>
                    <a:close/>
                    <a:moveTo>
                      <a:pt x="5811" y="7532"/>
                    </a:moveTo>
                    <a:cubicBezTo>
                      <a:pt x="5754" y="7452"/>
                      <a:pt x="5754" y="7452"/>
                      <a:pt x="5754" y="7452"/>
                    </a:cubicBezTo>
                    <a:cubicBezTo>
                      <a:pt x="5875" y="7366"/>
                      <a:pt x="5875" y="7366"/>
                      <a:pt x="5875" y="7366"/>
                    </a:cubicBezTo>
                    <a:cubicBezTo>
                      <a:pt x="5935" y="7451"/>
                      <a:pt x="5935" y="7451"/>
                      <a:pt x="5935" y="7451"/>
                    </a:cubicBezTo>
                    <a:cubicBezTo>
                      <a:pt x="5815" y="7537"/>
                      <a:pt x="5815" y="7537"/>
                      <a:pt x="5815" y="7537"/>
                    </a:cubicBezTo>
                    <a:lnTo>
                      <a:pt x="5811" y="7532"/>
                    </a:lnTo>
                    <a:close/>
                    <a:moveTo>
                      <a:pt x="5772" y="7455"/>
                    </a:moveTo>
                    <a:cubicBezTo>
                      <a:pt x="5818" y="7519"/>
                      <a:pt x="5818" y="7519"/>
                      <a:pt x="5818" y="7519"/>
                    </a:cubicBezTo>
                    <a:cubicBezTo>
                      <a:pt x="5917" y="7448"/>
                      <a:pt x="5917" y="7448"/>
                      <a:pt x="5917" y="7448"/>
                    </a:cubicBezTo>
                    <a:cubicBezTo>
                      <a:pt x="5872" y="7384"/>
                      <a:pt x="5872" y="7384"/>
                      <a:pt x="5872" y="7384"/>
                    </a:cubicBezTo>
                    <a:lnTo>
                      <a:pt x="5772" y="7455"/>
                    </a:lnTo>
                    <a:close/>
                    <a:moveTo>
                      <a:pt x="7338" y="7192"/>
                    </a:moveTo>
                    <a:cubicBezTo>
                      <a:pt x="7287" y="7188"/>
                      <a:pt x="7287" y="7188"/>
                      <a:pt x="7287" y="7188"/>
                    </a:cubicBezTo>
                    <a:cubicBezTo>
                      <a:pt x="7280" y="7260"/>
                      <a:pt x="7280" y="7260"/>
                      <a:pt x="7280" y="7260"/>
                    </a:cubicBezTo>
                    <a:cubicBezTo>
                      <a:pt x="7171" y="7250"/>
                      <a:pt x="7171" y="7250"/>
                      <a:pt x="7171" y="7250"/>
                    </a:cubicBezTo>
                    <a:cubicBezTo>
                      <a:pt x="7188" y="7065"/>
                      <a:pt x="7188" y="7065"/>
                      <a:pt x="7188" y="7065"/>
                    </a:cubicBezTo>
                    <a:cubicBezTo>
                      <a:pt x="7240" y="7070"/>
                      <a:pt x="7240" y="7070"/>
                      <a:pt x="7240" y="7070"/>
                    </a:cubicBezTo>
                    <a:cubicBezTo>
                      <a:pt x="7241" y="7066"/>
                      <a:pt x="7241" y="7066"/>
                      <a:pt x="7241" y="7066"/>
                    </a:cubicBezTo>
                    <a:cubicBezTo>
                      <a:pt x="7241" y="7060"/>
                      <a:pt x="7241" y="7060"/>
                      <a:pt x="7241" y="7060"/>
                    </a:cubicBezTo>
                    <a:cubicBezTo>
                      <a:pt x="7358" y="7071"/>
                      <a:pt x="7358" y="7071"/>
                      <a:pt x="7358" y="7071"/>
                    </a:cubicBezTo>
                    <a:cubicBezTo>
                      <a:pt x="7344" y="7193"/>
                      <a:pt x="7344" y="7193"/>
                      <a:pt x="7344" y="7193"/>
                    </a:cubicBezTo>
                    <a:lnTo>
                      <a:pt x="7338" y="7192"/>
                    </a:lnTo>
                    <a:close/>
                    <a:moveTo>
                      <a:pt x="7333" y="7179"/>
                    </a:moveTo>
                    <a:cubicBezTo>
                      <a:pt x="7344" y="7083"/>
                      <a:pt x="7344" y="7083"/>
                      <a:pt x="7344" y="7083"/>
                    </a:cubicBezTo>
                    <a:cubicBezTo>
                      <a:pt x="7253" y="7074"/>
                      <a:pt x="7253" y="7074"/>
                      <a:pt x="7253" y="7074"/>
                    </a:cubicBezTo>
                    <a:cubicBezTo>
                      <a:pt x="7253" y="7078"/>
                      <a:pt x="7253" y="7078"/>
                      <a:pt x="7253" y="7078"/>
                    </a:cubicBezTo>
                    <a:cubicBezTo>
                      <a:pt x="7252" y="7085"/>
                      <a:pt x="7252" y="7085"/>
                      <a:pt x="7252" y="7085"/>
                    </a:cubicBezTo>
                    <a:cubicBezTo>
                      <a:pt x="7200" y="7080"/>
                      <a:pt x="7200" y="7080"/>
                      <a:pt x="7200" y="7080"/>
                    </a:cubicBezTo>
                    <a:cubicBezTo>
                      <a:pt x="7185" y="7238"/>
                      <a:pt x="7185" y="7238"/>
                      <a:pt x="7185" y="7238"/>
                    </a:cubicBezTo>
                    <a:cubicBezTo>
                      <a:pt x="7268" y="7246"/>
                      <a:pt x="7268" y="7246"/>
                      <a:pt x="7268" y="7246"/>
                    </a:cubicBezTo>
                    <a:cubicBezTo>
                      <a:pt x="7275" y="7173"/>
                      <a:pt x="7275" y="7173"/>
                      <a:pt x="7275" y="7173"/>
                    </a:cubicBezTo>
                    <a:lnTo>
                      <a:pt x="7333" y="7179"/>
                    </a:lnTo>
                    <a:close/>
                    <a:moveTo>
                      <a:pt x="5057" y="7879"/>
                    </a:moveTo>
                    <a:cubicBezTo>
                      <a:pt x="4758" y="7450"/>
                      <a:pt x="4758" y="7450"/>
                      <a:pt x="4758" y="7450"/>
                    </a:cubicBezTo>
                    <a:cubicBezTo>
                      <a:pt x="5161" y="7236"/>
                      <a:pt x="5161" y="7236"/>
                      <a:pt x="5161" y="7236"/>
                    </a:cubicBezTo>
                    <a:cubicBezTo>
                      <a:pt x="5404" y="7618"/>
                      <a:pt x="5404" y="7618"/>
                      <a:pt x="5404" y="7618"/>
                    </a:cubicBezTo>
                    <a:cubicBezTo>
                      <a:pt x="5398" y="7622"/>
                      <a:pt x="5398" y="7622"/>
                      <a:pt x="5398" y="7622"/>
                    </a:cubicBezTo>
                    <a:lnTo>
                      <a:pt x="5057" y="7879"/>
                    </a:lnTo>
                    <a:close/>
                    <a:moveTo>
                      <a:pt x="4779" y="7455"/>
                    </a:moveTo>
                    <a:cubicBezTo>
                      <a:pt x="5060" y="7858"/>
                      <a:pt x="5060" y="7858"/>
                      <a:pt x="5060" y="7858"/>
                    </a:cubicBezTo>
                    <a:cubicBezTo>
                      <a:pt x="5384" y="7614"/>
                      <a:pt x="5384" y="7614"/>
                      <a:pt x="5384" y="7614"/>
                    </a:cubicBezTo>
                    <a:cubicBezTo>
                      <a:pt x="5156" y="7256"/>
                      <a:pt x="5156" y="7256"/>
                      <a:pt x="5156" y="7256"/>
                    </a:cubicBezTo>
                    <a:lnTo>
                      <a:pt x="4779" y="7455"/>
                    </a:lnTo>
                    <a:close/>
                    <a:moveTo>
                      <a:pt x="2420" y="3160"/>
                    </a:moveTo>
                    <a:cubicBezTo>
                      <a:pt x="2501" y="3216"/>
                      <a:pt x="2501" y="3216"/>
                      <a:pt x="2501" y="3216"/>
                    </a:cubicBezTo>
                    <a:cubicBezTo>
                      <a:pt x="2561" y="3326"/>
                      <a:pt x="2561" y="3326"/>
                      <a:pt x="2561" y="3326"/>
                    </a:cubicBezTo>
                    <a:cubicBezTo>
                      <a:pt x="2304" y="3318"/>
                      <a:pt x="2304" y="3318"/>
                      <a:pt x="2304" y="3318"/>
                    </a:cubicBezTo>
                    <a:cubicBezTo>
                      <a:pt x="2343" y="3050"/>
                      <a:pt x="2343" y="3050"/>
                      <a:pt x="2343" y="3050"/>
                    </a:cubicBezTo>
                    <a:cubicBezTo>
                      <a:pt x="2428" y="3048"/>
                      <a:pt x="2428" y="3048"/>
                      <a:pt x="2428" y="3048"/>
                    </a:cubicBezTo>
                    <a:cubicBezTo>
                      <a:pt x="2428" y="3056"/>
                      <a:pt x="2428" y="3056"/>
                      <a:pt x="2428" y="3056"/>
                    </a:cubicBezTo>
                    <a:lnTo>
                      <a:pt x="2420" y="3160"/>
                    </a:lnTo>
                    <a:close/>
                    <a:moveTo>
                      <a:pt x="2404" y="3167"/>
                    </a:moveTo>
                    <a:cubicBezTo>
                      <a:pt x="2412" y="3063"/>
                      <a:pt x="2412" y="3063"/>
                      <a:pt x="2412" y="3063"/>
                    </a:cubicBezTo>
                    <a:cubicBezTo>
                      <a:pt x="2356" y="3064"/>
                      <a:pt x="2356" y="3064"/>
                      <a:pt x="2356" y="3064"/>
                    </a:cubicBezTo>
                    <a:cubicBezTo>
                      <a:pt x="2321" y="3304"/>
                      <a:pt x="2321" y="3304"/>
                      <a:pt x="2321" y="3304"/>
                    </a:cubicBezTo>
                    <a:cubicBezTo>
                      <a:pt x="2536" y="3310"/>
                      <a:pt x="2536" y="3310"/>
                      <a:pt x="2536" y="3310"/>
                    </a:cubicBezTo>
                    <a:cubicBezTo>
                      <a:pt x="2490" y="3226"/>
                      <a:pt x="2490" y="3226"/>
                      <a:pt x="2490" y="3226"/>
                    </a:cubicBezTo>
                    <a:lnTo>
                      <a:pt x="2404" y="3167"/>
                    </a:lnTo>
                    <a:close/>
                    <a:moveTo>
                      <a:pt x="3172" y="8375"/>
                    </a:moveTo>
                    <a:cubicBezTo>
                      <a:pt x="3224" y="8466"/>
                      <a:pt x="3224" y="8466"/>
                      <a:pt x="3224" y="8466"/>
                    </a:cubicBezTo>
                    <a:cubicBezTo>
                      <a:pt x="3096" y="8540"/>
                      <a:pt x="3096" y="8540"/>
                      <a:pt x="3096" y="8540"/>
                    </a:cubicBezTo>
                    <a:cubicBezTo>
                      <a:pt x="3093" y="8534"/>
                      <a:pt x="3093" y="8534"/>
                      <a:pt x="3093" y="8534"/>
                    </a:cubicBezTo>
                    <a:cubicBezTo>
                      <a:pt x="3044" y="8450"/>
                      <a:pt x="3044" y="8450"/>
                      <a:pt x="3044" y="8450"/>
                    </a:cubicBezTo>
                    <a:lnTo>
                      <a:pt x="3172" y="8375"/>
                    </a:lnTo>
                    <a:close/>
                    <a:moveTo>
                      <a:pt x="3206" y="8461"/>
                    </a:moveTo>
                    <a:cubicBezTo>
                      <a:pt x="3167" y="8393"/>
                      <a:pt x="3167" y="8393"/>
                      <a:pt x="3167" y="8393"/>
                    </a:cubicBezTo>
                    <a:cubicBezTo>
                      <a:pt x="3061" y="8454"/>
                      <a:pt x="3061" y="8454"/>
                      <a:pt x="3061" y="8454"/>
                    </a:cubicBezTo>
                    <a:cubicBezTo>
                      <a:pt x="3101" y="8522"/>
                      <a:pt x="3101" y="8522"/>
                      <a:pt x="3101" y="8522"/>
                    </a:cubicBezTo>
                    <a:lnTo>
                      <a:pt x="3206" y="8461"/>
                    </a:lnTo>
                    <a:close/>
                    <a:moveTo>
                      <a:pt x="1913" y="3015"/>
                    </a:moveTo>
                    <a:cubicBezTo>
                      <a:pt x="2074" y="2965"/>
                      <a:pt x="2074" y="2965"/>
                      <a:pt x="2074" y="2965"/>
                    </a:cubicBezTo>
                    <a:cubicBezTo>
                      <a:pt x="2042" y="3132"/>
                      <a:pt x="2042" y="3132"/>
                      <a:pt x="2042" y="3132"/>
                    </a:cubicBezTo>
                    <a:cubicBezTo>
                      <a:pt x="1915" y="3178"/>
                      <a:pt x="1915" y="3178"/>
                      <a:pt x="1915" y="3178"/>
                    </a:cubicBezTo>
                    <a:cubicBezTo>
                      <a:pt x="1779" y="3315"/>
                      <a:pt x="1779" y="3315"/>
                      <a:pt x="1779" y="3315"/>
                    </a:cubicBezTo>
                    <a:cubicBezTo>
                      <a:pt x="1654" y="3242"/>
                      <a:pt x="1654" y="3242"/>
                      <a:pt x="1654" y="3242"/>
                    </a:cubicBezTo>
                    <a:cubicBezTo>
                      <a:pt x="1669" y="3012"/>
                      <a:pt x="1669" y="3012"/>
                      <a:pt x="1669" y="3012"/>
                    </a:cubicBezTo>
                    <a:cubicBezTo>
                      <a:pt x="1811" y="2955"/>
                      <a:pt x="1811" y="2955"/>
                      <a:pt x="1811" y="2955"/>
                    </a:cubicBezTo>
                    <a:cubicBezTo>
                      <a:pt x="1799" y="3097"/>
                      <a:pt x="1799" y="3097"/>
                      <a:pt x="1799" y="3097"/>
                    </a:cubicBezTo>
                    <a:lnTo>
                      <a:pt x="1913" y="3015"/>
                    </a:lnTo>
                    <a:close/>
                    <a:moveTo>
                      <a:pt x="1919" y="3028"/>
                    </a:moveTo>
                    <a:cubicBezTo>
                      <a:pt x="1807" y="3108"/>
                      <a:pt x="1807" y="3108"/>
                      <a:pt x="1807" y="3108"/>
                    </a:cubicBezTo>
                    <a:cubicBezTo>
                      <a:pt x="1782" y="3126"/>
                      <a:pt x="1782" y="3126"/>
                      <a:pt x="1782" y="3126"/>
                    </a:cubicBezTo>
                    <a:cubicBezTo>
                      <a:pt x="1785" y="3096"/>
                      <a:pt x="1785" y="3096"/>
                      <a:pt x="1785" y="3096"/>
                    </a:cubicBezTo>
                    <a:cubicBezTo>
                      <a:pt x="1795" y="2976"/>
                      <a:pt x="1795" y="2976"/>
                      <a:pt x="1795" y="2976"/>
                    </a:cubicBezTo>
                    <a:cubicBezTo>
                      <a:pt x="1682" y="3021"/>
                      <a:pt x="1682" y="3021"/>
                      <a:pt x="1682" y="3021"/>
                    </a:cubicBezTo>
                    <a:cubicBezTo>
                      <a:pt x="1669" y="3234"/>
                      <a:pt x="1669" y="3234"/>
                      <a:pt x="1669" y="3234"/>
                    </a:cubicBezTo>
                    <a:cubicBezTo>
                      <a:pt x="1777" y="3298"/>
                      <a:pt x="1777" y="3298"/>
                      <a:pt x="1777" y="3298"/>
                    </a:cubicBezTo>
                    <a:cubicBezTo>
                      <a:pt x="1905" y="3168"/>
                      <a:pt x="1905" y="3168"/>
                      <a:pt x="1905" y="3168"/>
                    </a:cubicBezTo>
                    <a:cubicBezTo>
                      <a:pt x="1907" y="3166"/>
                      <a:pt x="1907" y="3166"/>
                      <a:pt x="1907" y="3166"/>
                    </a:cubicBezTo>
                    <a:cubicBezTo>
                      <a:pt x="1910" y="3165"/>
                      <a:pt x="1910" y="3165"/>
                      <a:pt x="1910" y="3165"/>
                    </a:cubicBezTo>
                    <a:cubicBezTo>
                      <a:pt x="2029" y="3121"/>
                      <a:pt x="2029" y="3121"/>
                      <a:pt x="2029" y="3121"/>
                    </a:cubicBezTo>
                    <a:cubicBezTo>
                      <a:pt x="2056" y="2985"/>
                      <a:pt x="2056" y="2985"/>
                      <a:pt x="2056" y="2985"/>
                    </a:cubicBezTo>
                    <a:lnTo>
                      <a:pt x="1919" y="3028"/>
                    </a:lnTo>
                    <a:close/>
                    <a:moveTo>
                      <a:pt x="993" y="7762"/>
                    </a:moveTo>
                    <a:cubicBezTo>
                      <a:pt x="1059" y="7688"/>
                      <a:pt x="1059" y="7688"/>
                      <a:pt x="1059" y="7688"/>
                    </a:cubicBezTo>
                    <a:cubicBezTo>
                      <a:pt x="1440" y="7980"/>
                      <a:pt x="1440" y="7980"/>
                      <a:pt x="1440" y="7980"/>
                    </a:cubicBezTo>
                    <a:cubicBezTo>
                      <a:pt x="1435" y="7986"/>
                      <a:pt x="1435" y="7986"/>
                      <a:pt x="1435" y="7986"/>
                    </a:cubicBezTo>
                    <a:cubicBezTo>
                      <a:pt x="1194" y="8301"/>
                      <a:pt x="1194" y="8301"/>
                      <a:pt x="1194" y="8301"/>
                    </a:cubicBezTo>
                    <a:cubicBezTo>
                      <a:pt x="1078" y="8200"/>
                      <a:pt x="1078" y="8200"/>
                      <a:pt x="1078" y="8200"/>
                    </a:cubicBezTo>
                    <a:cubicBezTo>
                      <a:pt x="1133" y="8095"/>
                      <a:pt x="1133" y="8095"/>
                      <a:pt x="1133" y="8095"/>
                    </a:cubicBezTo>
                    <a:cubicBezTo>
                      <a:pt x="1029" y="8013"/>
                      <a:pt x="1029" y="8013"/>
                      <a:pt x="1029" y="8013"/>
                    </a:cubicBezTo>
                    <a:cubicBezTo>
                      <a:pt x="1058" y="7899"/>
                      <a:pt x="1058" y="7899"/>
                      <a:pt x="1058" y="7899"/>
                    </a:cubicBezTo>
                    <a:lnTo>
                      <a:pt x="993" y="7762"/>
                    </a:lnTo>
                    <a:close/>
                    <a:moveTo>
                      <a:pt x="1011" y="7764"/>
                    </a:moveTo>
                    <a:cubicBezTo>
                      <a:pt x="1073" y="7897"/>
                      <a:pt x="1073" y="7897"/>
                      <a:pt x="1073" y="7897"/>
                    </a:cubicBezTo>
                    <a:cubicBezTo>
                      <a:pt x="1046" y="8007"/>
                      <a:pt x="1046" y="8007"/>
                      <a:pt x="1046" y="8007"/>
                    </a:cubicBezTo>
                    <a:cubicBezTo>
                      <a:pt x="1152" y="8091"/>
                      <a:pt x="1152" y="8091"/>
                      <a:pt x="1152" y="8091"/>
                    </a:cubicBezTo>
                    <a:cubicBezTo>
                      <a:pt x="1097" y="8196"/>
                      <a:pt x="1097" y="8196"/>
                      <a:pt x="1097" y="8196"/>
                    </a:cubicBezTo>
                    <a:cubicBezTo>
                      <a:pt x="1192" y="8279"/>
                      <a:pt x="1192" y="8279"/>
                      <a:pt x="1192" y="8279"/>
                    </a:cubicBezTo>
                    <a:cubicBezTo>
                      <a:pt x="1419" y="7983"/>
                      <a:pt x="1419" y="7983"/>
                      <a:pt x="1419" y="7983"/>
                    </a:cubicBezTo>
                    <a:cubicBezTo>
                      <a:pt x="1060" y="7708"/>
                      <a:pt x="1060" y="7708"/>
                      <a:pt x="1060" y="7708"/>
                    </a:cubicBezTo>
                    <a:lnTo>
                      <a:pt x="1011" y="7764"/>
                    </a:lnTo>
                    <a:close/>
                    <a:moveTo>
                      <a:pt x="1207" y="8024"/>
                    </a:moveTo>
                    <a:cubicBezTo>
                      <a:pt x="1124" y="7943"/>
                      <a:pt x="1124" y="7943"/>
                      <a:pt x="1124" y="7943"/>
                    </a:cubicBezTo>
                    <a:cubicBezTo>
                      <a:pt x="1131" y="7843"/>
                      <a:pt x="1131" y="7843"/>
                      <a:pt x="1131" y="7843"/>
                    </a:cubicBezTo>
                    <a:cubicBezTo>
                      <a:pt x="1257" y="7972"/>
                      <a:pt x="1257" y="7972"/>
                      <a:pt x="1257" y="7972"/>
                    </a:cubicBezTo>
                    <a:cubicBezTo>
                      <a:pt x="1252" y="7977"/>
                      <a:pt x="1252" y="7977"/>
                      <a:pt x="1252" y="7977"/>
                    </a:cubicBezTo>
                    <a:lnTo>
                      <a:pt x="1207" y="8024"/>
                    </a:lnTo>
                    <a:close/>
                    <a:moveTo>
                      <a:pt x="1207" y="8003"/>
                    </a:moveTo>
                    <a:cubicBezTo>
                      <a:pt x="1236" y="7972"/>
                      <a:pt x="1236" y="7972"/>
                      <a:pt x="1236" y="7972"/>
                    </a:cubicBezTo>
                    <a:cubicBezTo>
                      <a:pt x="1143" y="7877"/>
                      <a:pt x="1143" y="7877"/>
                      <a:pt x="1143" y="7877"/>
                    </a:cubicBezTo>
                    <a:cubicBezTo>
                      <a:pt x="1140" y="7937"/>
                      <a:pt x="1140" y="7937"/>
                      <a:pt x="1140" y="7937"/>
                    </a:cubicBezTo>
                    <a:lnTo>
                      <a:pt x="1207" y="8003"/>
                    </a:lnTo>
                    <a:close/>
                    <a:moveTo>
                      <a:pt x="4361" y="1895"/>
                    </a:moveTo>
                    <a:cubicBezTo>
                      <a:pt x="4263" y="1895"/>
                      <a:pt x="4263" y="1895"/>
                      <a:pt x="4263" y="1895"/>
                    </a:cubicBezTo>
                    <a:cubicBezTo>
                      <a:pt x="4264" y="1747"/>
                      <a:pt x="4264" y="1747"/>
                      <a:pt x="4264" y="1747"/>
                    </a:cubicBezTo>
                    <a:cubicBezTo>
                      <a:pt x="4368" y="1747"/>
                      <a:pt x="4368" y="1747"/>
                      <a:pt x="4368" y="1747"/>
                    </a:cubicBezTo>
                    <a:cubicBezTo>
                      <a:pt x="4367" y="1895"/>
                      <a:pt x="4367" y="1895"/>
                      <a:pt x="4367" y="1895"/>
                    </a:cubicBezTo>
                    <a:lnTo>
                      <a:pt x="4361" y="1895"/>
                    </a:lnTo>
                    <a:close/>
                    <a:moveTo>
                      <a:pt x="4355" y="1760"/>
                    </a:moveTo>
                    <a:cubicBezTo>
                      <a:pt x="4277" y="1760"/>
                      <a:pt x="4277" y="1760"/>
                      <a:pt x="4277" y="1760"/>
                    </a:cubicBezTo>
                    <a:cubicBezTo>
                      <a:pt x="4276" y="1882"/>
                      <a:pt x="4276" y="1882"/>
                      <a:pt x="4276" y="1882"/>
                    </a:cubicBezTo>
                    <a:cubicBezTo>
                      <a:pt x="4354" y="1882"/>
                      <a:pt x="4354" y="1882"/>
                      <a:pt x="4354" y="1882"/>
                    </a:cubicBezTo>
                    <a:lnTo>
                      <a:pt x="4355" y="1760"/>
                    </a:lnTo>
                    <a:close/>
                    <a:moveTo>
                      <a:pt x="2208" y="7767"/>
                    </a:moveTo>
                    <a:cubicBezTo>
                      <a:pt x="2134" y="7702"/>
                      <a:pt x="2134" y="7702"/>
                      <a:pt x="2134" y="7702"/>
                    </a:cubicBezTo>
                    <a:cubicBezTo>
                      <a:pt x="2231" y="7591"/>
                      <a:pt x="2231" y="7591"/>
                      <a:pt x="2231" y="7591"/>
                    </a:cubicBezTo>
                    <a:cubicBezTo>
                      <a:pt x="2309" y="7659"/>
                      <a:pt x="2309" y="7659"/>
                      <a:pt x="2309" y="7659"/>
                    </a:cubicBezTo>
                    <a:cubicBezTo>
                      <a:pt x="2212" y="7771"/>
                      <a:pt x="2212" y="7771"/>
                      <a:pt x="2212" y="7771"/>
                    </a:cubicBezTo>
                    <a:lnTo>
                      <a:pt x="2208" y="7767"/>
                    </a:lnTo>
                    <a:close/>
                    <a:moveTo>
                      <a:pt x="2152" y="7701"/>
                    </a:moveTo>
                    <a:cubicBezTo>
                      <a:pt x="2211" y="7753"/>
                      <a:pt x="2211" y="7753"/>
                      <a:pt x="2211" y="7753"/>
                    </a:cubicBezTo>
                    <a:cubicBezTo>
                      <a:pt x="2291" y="7660"/>
                      <a:pt x="2291" y="7660"/>
                      <a:pt x="2291" y="7660"/>
                    </a:cubicBezTo>
                    <a:cubicBezTo>
                      <a:pt x="2232" y="7609"/>
                      <a:pt x="2232" y="7609"/>
                      <a:pt x="2232" y="7609"/>
                    </a:cubicBezTo>
                    <a:lnTo>
                      <a:pt x="2152" y="7701"/>
                    </a:lnTo>
                    <a:close/>
                    <a:moveTo>
                      <a:pt x="2690" y="7686"/>
                    </a:moveTo>
                    <a:cubicBezTo>
                      <a:pt x="2672" y="7670"/>
                      <a:pt x="2613" y="7654"/>
                      <a:pt x="2565" y="7619"/>
                    </a:cubicBezTo>
                    <a:cubicBezTo>
                      <a:pt x="2517" y="7583"/>
                      <a:pt x="2442" y="7450"/>
                      <a:pt x="2406" y="7424"/>
                    </a:cubicBezTo>
                    <a:cubicBezTo>
                      <a:pt x="2370" y="7398"/>
                      <a:pt x="2229" y="7360"/>
                      <a:pt x="2156" y="7320"/>
                    </a:cubicBezTo>
                    <a:cubicBezTo>
                      <a:pt x="2082" y="7278"/>
                      <a:pt x="1995" y="7129"/>
                      <a:pt x="1995" y="7128"/>
                    </a:cubicBezTo>
                    <a:cubicBezTo>
                      <a:pt x="2002" y="7123"/>
                      <a:pt x="2002" y="7123"/>
                      <a:pt x="2002" y="7123"/>
                    </a:cubicBezTo>
                    <a:cubicBezTo>
                      <a:pt x="2002" y="7124"/>
                      <a:pt x="2132" y="7251"/>
                      <a:pt x="2178" y="7278"/>
                    </a:cubicBezTo>
                    <a:cubicBezTo>
                      <a:pt x="2224" y="7304"/>
                      <a:pt x="2379" y="7342"/>
                      <a:pt x="2449" y="7367"/>
                    </a:cubicBezTo>
                    <a:cubicBezTo>
                      <a:pt x="2522" y="7394"/>
                      <a:pt x="2607" y="7562"/>
                      <a:pt x="2640" y="7582"/>
                    </a:cubicBezTo>
                    <a:cubicBezTo>
                      <a:pt x="2672" y="7603"/>
                      <a:pt x="2775" y="7604"/>
                      <a:pt x="2813" y="7614"/>
                    </a:cubicBezTo>
                    <a:cubicBezTo>
                      <a:pt x="2829" y="7618"/>
                      <a:pt x="2834" y="7636"/>
                      <a:pt x="2834" y="7654"/>
                    </a:cubicBezTo>
                    <a:cubicBezTo>
                      <a:pt x="2833" y="7691"/>
                      <a:pt x="2816" y="7740"/>
                      <a:pt x="2792" y="7742"/>
                    </a:cubicBezTo>
                    <a:cubicBezTo>
                      <a:pt x="2762" y="7741"/>
                      <a:pt x="2710" y="7704"/>
                      <a:pt x="2690" y="7686"/>
                    </a:cubicBezTo>
                    <a:close/>
                    <a:moveTo>
                      <a:pt x="2570" y="7612"/>
                    </a:moveTo>
                    <a:cubicBezTo>
                      <a:pt x="2617" y="7647"/>
                      <a:pt x="2673" y="7661"/>
                      <a:pt x="2695" y="7680"/>
                    </a:cubicBezTo>
                    <a:cubicBezTo>
                      <a:pt x="2714" y="7697"/>
                      <a:pt x="2768" y="7734"/>
                      <a:pt x="2792" y="7734"/>
                    </a:cubicBezTo>
                    <a:cubicBezTo>
                      <a:pt x="2798" y="7734"/>
                      <a:pt x="2807" y="7724"/>
                      <a:pt x="2814" y="7708"/>
                    </a:cubicBezTo>
                    <a:cubicBezTo>
                      <a:pt x="2821" y="7692"/>
                      <a:pt x="2826" y="7671"/>
                      <a:pt x="2826" y="7654"/>
                    </a:cubicBezTo>
                    <a:cubicBezTo>
                      <a:pt x="2826" y="7636"/>
                      <a:pt x="2821" y="7624"/>
                      <a:pt x="2811" y="7622"/>
                    </a:cubicBezTo>
                    <a:cubicBezTo>
                      <a:pt x="2775" y="7612"/>
                      <a:pt x="2672" y="7613"/>
                      <a:pt x="2635" y="7589"/>
                    </a:cubicBezTo>
                    <a:cubicBezTo>
                      <a:pt x="2598" y="7564"/>
                      <a:pt x="2514" y="7398"/>
                      <a:pt x="2446" y="7375"/>
                    </a:cubicBezTo>
                    <a:cubicBezTo>
                      <a:pt x="2377" y="7350"/>
                      <a:pt x="2223" y="7313"/>
                      <a:pt x="2174" y="7285"/>
                    </a:cubicBezTo>
                    <a:cubicBezTo>
                      <a:pt x="2138" y="7264"/>
                      <a:pt x="2059" y="7190"/>
                      <a:pt x="2019" y="7152"/>
                    </a:cubicBezTo>
                    <a:cubicBezTo>
                      <a:pt x="2048" y="7197"/>
                      <a:pt x="2109" y="7284"/>
                      <a:pt x="2160" y="7312"/>
                    </a:cubicBezTo>
                    <a:cubicBezTo>
                      <a:pt x="2232" y="7352"/>
                      <a:pt x="2371" y="7389"/>
                      <a:pt x="2410" y="7418"/>
                    </a:cubicBezTo>
                    <a:cubicBezTo>
                      <a:pt x="2449" y="7446"/>
                      <a:pt x="2524" y="7578"/>
                      <a:pt x="2570" y="7612"/>
                    </a:cubicBezTo>
                    <a:close/>
                    <a:moveTo>
                      <a:pt x="2130" y="8085"/>
                    </a:moveTo>
                    <a:cubicBezTo>
                      <a:pt x="2033" y="8197"/>
                      <a:pt x="2033" y="8197"/>
                      <a:pt x="2033" y="8197"/>
                    </a:cubicBezTo>
                    <a:cubicBezTo>
                      <a:pt x="2028" y="8193"/>
                      <a:pt x="2028" y="8193"/>
                      <a:pt x="2028" y="8193"/>
                    </a:cubicBezTo>
                    <a:cubicBezTo>
                      <a:pt x="1954" y="8129"/>
                      <a:pt x="1954" y="8129"/>
                      <a:pt x="1954" y="8129"/>
                    </a:cubicBezTo>
                    <a:cubicBezTo>
                      <a:pt x="2051" y="8017"/>
                      <a:pt x="2051" y="8017"/>
                      <a:pt x="2051" y="8017"/>
                    </a:cubicBezTo>
                    <a:lnTo>
                      <a:pt x="2130" y="8085"/>
                    </a:lnTo>
                    <a:close/>
                    <a:moveTo>
                      <a:pt x="2112" y="8087"/>
                    </a:moveTo>
                    <a:cubicBezTo>
                      <a:pt x="2053" y="8035"/>
                      <a:pt x="2053" y="8035"/>
                      <a:pt x="2053" y="8035"/>
                    </a:cubicBezTo>
                    <a:cubicBezTo>
                      <a:pt x="1973" y="8127"/>
                      <a:pt x="1973" y="8127"/>
                      <a:pt x="1973" y="8127"/>
                    </a:cubicBezTo>
                    <a:cubicBezTo>
                      <a:pt x="2032" y="8179"/>
                      <a:pt x="2032" y="8179"/>
                      <a:pt x="2032" y="8179"/>
                    </a:cubicBezTo>
                    <a:lnTo>
                      <a:pt x="2112" y="8087"/>
                    </a:lnTo>
                    <a:close/>
                    <a:moveTo>
                      <a:pt x="3084" y="2864"/>
                    </a:moveTo>
                    <a:cubicBezTo>
                      <a:pt x="3120" y="3092"/>
                      <a:pt x="3120" y="3092"/>
                      <a:pt x="3120" y="3092"/>
                    </a:cubicBezTo>
                    <a:cubicBezTo>
                      <a:pt x="3083" y="3106"/>
                      <a:pt x="3083" y="3106"/>
                      <a:pt x="3083" y="3106"/>
                    </a:cubicBezTo>
                    <a:cubicBezTo>
                      <a:pt x="3027" y="3056"/>
                      <a:pt x="3027" y="3056"/>
                      <a:pt x="3027" y="3056"/>
                    </a:cubicBezTo>
                    <a:cubicBezTo>
                      <a:pt x="3018" y="3139"/>
                      <a:pt x="3018" y="3139"/>
                      <a:pt x="3018" y="3139"/>
                    </a:cubicBezTo>
                    <a:cubicBezTo>
                      <a:pt x="2833" y="3239"/>
                      <a:pt x="2833" y="3239"/>
                      <a:pt x="2833" y="3239"/>
                    </a:cubicBezTo>
                    <a:cubicBezTo>
                      <a:pt x="2651" y="3024"/>
                      <a:pt x="2651" y="3024"/>
                      <a:pt x="2651" y="3024"/>
                    </a:cubicBezTo>
                    <a:cubicBezTo>
                      <a:pt x="2796" y="3002"/>
                      <a:pt x="2796" y="3002"/>
                      <a:pt x="2796" y="3002"/>
                    </a:cubicBezTo>
                    <a:cubicBezTo>
                      <a:pt x="2899" y="3050"/>
                      <a:pt x="2899" y="3050"/>
                      <a:pt x="2899" y="3050"/>
                    </a:cubicBezTo>
                    <a:cubicBezTo>
                      <a:pt x="2911" y="2947"/>
                      <a:pt x="2911" y="2947"/>
                      <a:pt x="2911" y="2947"/>
                    </a:cubicBezTo>
                    <a:cubicBezTo>
                      <a:pt x="3082" y="2854"/>
                      <a:pt x="3082" y="2854"/>
                      <a:pt x="3082" y="2854"/>
                    </a:cubicBezTo>
                    <a:lnTo>
                      <a:pt x="3084" y="2864"/>
                    </a:lnTo>
                    <a:close/>
                    <a:moveTo>
                      <a:pt x="3104" y="3082"/>
                    </a:moveTo>
                    <a:cubicBezTo>
                      <a:pt x="3071" y="2877"/>
                      <a:pt x="3071" y="2877"/>
                      <a:pt x="3071" y="2877"/>
                    </a:cubicBezTo>
                    <a:cubicBezTo>
                      <a:pt x="2925" y="2956"/>
                      <a:pt x="2925" y="2956"/>
                      <a:pt x="2925" y="2956"/>
                    </a:cubicBezTo>
                    <a:cubicBezTo>
                      <a:pt x="2912" y="3072"/>
                      <a:pt x="2912" y="3072"/>
                      <a:pt x="2912" y="3072"/>
                    </a:cubicBezTo>
                    <a:cubicBezTo>
                      <a:pt x="2794" y="3017"/>
                      <a:pt x="2794" y="3017"/>
                      <a:pt x="2794" y="3017"/>
                    </a:cubicBezTo>
                    <a:cubicBezTo>
                      <a:pt x="2679" y="3035"/>
                      <a:pt x="2679" y="3035"/>
                      <a:pt x="2679" y="3035"/>
                    </a:cubicBezTo>
                    <a:cubicBezTo>
                      <a:pt x="2836" y="3220"/>
                      <a:pt x="2836" y="3220"/>
                      <a:pt x="2836" y="3220"/>
                    </a:cubicBezTo>
                    <a:cubicBezTo>
                      <a:pt x="3004" y="3130"/>
                      <a:pt x="3004" y="3130"/>
                      <a:pt x="3004" y="3130"/>
                    </a:cubicBezTo>
                    <a:cubicBezTo>
                      <a:pt x="3015" y="3026"/>
                      <a:pt x="3015" y="3026"/>
                      <a:pt x="3015" y="3026"/>
                    </a:cubicBezTo>
                    <a:cubicBezTo>
                      <a:pt x="3086" y="3089"/>
                      <a:pt x="3086" y="3089"/>
                      <a:pt x="3086" y="3089"/>
                    </a:cubicBezTo>
                    <a:lnTo>
                      <a:pt x="3104" y="3082"/>
                    </a:lnTo>
                    <a:close/>
                    <a:moveTo>
                      <a:pt x="4345" y="8787"/>
                    </a:moveTo>
                    <a:cubicBezTo>
                      <a:pt x="4272" y="8784"/>
                      <a:pt x="4272" y="8784"/>
                      <a:pt x="4272" y="8784"/>
                    </a:cubicBezTo>
                    <a:cubicBezTo>
                      <a:pt x="4269" y="8841"/>
                      <a:pt x="4269" y="8841"/>
                      <a:pt x="4269" y="8841"/>
                    </a:cubicBezTo>
                    <a:cubicBezTo>
                      <a:pt x="4263" y="8841"/>
                      <a:pt x="4263" y="8841"/>
                      <a:pt x="4263" y="8841"/>
                    </a:cubicBezTo>
                    <a:cubicBezTo>
                      <a:pt x="4146" y="8838"/>
                      <a:pt x="4146" y="8838"/>
                      <a:pt x="4146" y="8838"/>
                    </a:cubicBezTo>
                    <a:cubicBezTo>
                      <a:pt x="4152" y="8720"/>
                      <a:pt x="4152" y="8720"/>
                      <a:pt x="4152" y="8720"/>
                    </a:cubicBezTo>
                    <a:cubicBezTo>
                      <a:pt x="4163" y="8721"/>
                      <a:pt x="4163" y="8721"/>
                      <a:pt x="4163" y="8721"/>
                    </a:cubicBezTo>
                    <a:cubicBezTo>
                      <a:pt x="4165" y="8668"/>
                      <a:pt x="4165" y="8668"/>
                      <a:pt x="4165" y="8668"/>
                    </a:cubicBezTo>
                    <a:cubicBezTo>
                      <a:pt x="4350" y="8678"/>
                      <a:pt x="4350" y="8678"/>
                      <a:pt x="4350" y="8678"/>
                    </a:cubicBezTo>
                    <a:lnTo>
                      <a:pt x="4345" y="8787"/>
                    </a:lnTo>
                    <a:close/>
                    <a:moveTo>
                      <a:pt x="4337" y="8690"/>
                    </a:moveTo>
                    <a:cubicBezTo>
                      <a:pt x="4178" y="8682"/>
                      <a:pt x="4178" y="8682"/>
                      <a:pt x="4178" y="8682"/>
                    </a:cubicBezTo>
                    <a:cubicBezTo>
                      <a:pt x="4175" y="8734"/>
                      <a:pt x="4175" y="8734"/>
                      <a:pt x="4175" y="8734"/>
                    </a:cubicBezTo>
                    <a:cubicBezTo>
                      <a:pt x="4165" y="8734"/>
                      <a:pt x="4165" y="8734"/>
                      <a:pt x="4165" y="8734"/>
                    </a:cubicBezTo>
                    <a:cubicBezTo>
                      <a:pt x="4160" y="8825"/>
                      <a:pt x="4160" y="8825"/>
                      <a:pt x="4160" y="8825"/>
                    </a:cubicBezTo>
                    <a:cubicBezTo>
                      <a:pt x="4257" y="8827"/>
                      <a:pt x="4257" y="8827"/>
                      <a:pt x="4257" y="8827"/>
                    </a:cubicBezTo>
                    <a:cubicBezTo>
                      <a:pt x="4259" y="8770"/>
                      <a:pt x="4259" y="8770"/>
                      <a:pt x="4259" y="8770"/>
                    </a:cubicBezTo>
                    <a:cubicBezTo>
                      <a:pt x="4333" y="8774"/>
                      <a:pt x="4333" y="8774"/>
                      <a:pt x="4333" y="8774"/>
                    </a:cubicBezTo>
                    <a:lnTo>
                      <a:pt x="4337" y="8690"/>
                    </a:lnTo>
                    <a:close/>
                    <a:moveTo>
                      <a:pt x="3741" y="8740"/>
                    </a:moveTo>
                    <a:cubicBezTo>
                      <a:pt x="3678" y="8703"/>
                      <a:pt x="3678" y="8703"/>
                      <a:pt x="3678" y="8703"/>
                    </a:cubicBezTo>
                    <a:cubicBezTo>
                      <a:pt x="3748" y="8581"/>
                      <a:pt x="3748" y="8581"/>
                      <a:pt x="3748" y="8581"/>
                    </a:cubicBezTo>
                    <a:cubicBezTo>
                      <a:pt x="3832" y="8629"/>
                      <a:pt x="3832" y="8629"/>
                      <a:pt x="3832" y="8629"/>
                    </a:cubicBezTo>
                    <a:cubicBezTo>
                      <a:pt x="3823" y="8645"/>
                      <a:pt x="3823" y="8645"/>
                      <a:pt x="3823" y="8645"/>
                    </a:cubicBezTo>
                    <a:cubicBezTo>
                      <a:pt x="3866" y="8670"/>
                      <a:pt x="3866" y="8670"/>
                      <a:pt x="3866" y="8670"/>
                    </a:cubicBezTo>
                    <a:cubicBezTo>
                      <a:pt x="3769" y="8843"/>
                      <a:pt x="3769" y="8843"/>
                      <a:pt x="3769" y="8843"/>
                    </a:cubicBezTo>
                    <a:cubicBezTo>
                      <a:pt x="3763" y="8840"/>
                      <a:pt x="3763" y="8840"/>
                      <a:pt x="3763" y="8840"/>
                    </a:cubicBezTo>
                    <a:cubicBezTo>
                      <a:pt x="3703" y="8805"/>
                      <a:pt x="3703" y="8805"/>
                      <a:pt x="3703" y="8805"/>
                    </a:cubicBezTo>
                    <a:lnTo>
                      <a:pt x="3741" y="8740"/>
                    </a:lnTo>
                    <a:close/>
                    <a:moveTo>
                      <a:pt x="3759" y="8735"/>
                    </a:moveTo>
                    <a:cubicBezTo>
                      <a:pt x="3721" y="8801"/>
                      <a:pt x="3721" y="8801"/>
                      <a:pt x="3721" y="8801"/>
                    </a:cubicBezTo>
                    <a:cubicBezTo>
                      <a:pt x="3764" y="8825"/>
                      <a:pt x="3764" y="8825"/>
                      <a:pt x="3764" y="8825"/>
                    </a:cubicBezTo>
                    <a:cubicBezTo>
                      <a:pt x="3848" y="8675"/>
                      <a:pt x="3848" y="8675"/>
                      <a:pt x="3848" y="8675"/>
                    </a:cubicBezTo>
                    <a:cubicBezTo>
                      <a:pt x="3805" y="8650"/>
                      <a:pt x="3805" y="8650"/>
                      <a:pt x="3805" y="8650"/>
                    </a:cubicBezTo>
                    <a:cubicBezTo>
                      <a:pt x="3814" y="8634"/>
                      <a:pt x="3814" y="8634"/>
                      <a:pt x="3814" y="8634"/>
                    </a:cubicBezTo>
                    <a:cubicBezTo>
                      <a:pt x="3753" y="8599"/>
                      <a:pt x="3753" y="8599"/>
                      <a:pt x="3753" y="8599"/>
                    </a:cubicBezTo>
                    <a:cubicBezTo>
                      <a:pt x="3696" y="8699"/>
                      <a:pt x="3696" y="8699"/>
                      <a:pt x="3696" y="8699"/>
                    </a:cubicBezTo>
                    <a:lnTo>
                      <a:pt x="3759" y="8735"/>
                    </a:lnTo>
                    <a:close/>
                    <a:moveTo>
                      <a:pt x="4673" y="7646"/>
                    </a:moveTo>
                    <a:cubicBezTo>
                      <a:pt x="4810" y="7869"/>
                      <a:pt x="4810" y="7869"/>
                      <a:pt x="4810" y="7869"/>
                    </a:cubicBezTo>
                    <a:cubicBezTo>
                      <a:pt x="4633" y="7963"/>
                      <a:pt x="4633" y="7963"/>
                      <a:pt x="4633" y="7963"/>
                    </a:cubicBezTo>
                    <a:cubicBezTo>
                      <a:pt x="4494" y="7730"/>
                      <a:pt x="4494" y="7730"/>
                      <a:pt x="4494" y="7730"/>
                    </a:cubicBezTo>
                    <a:cubicBezTo>
                      <a:pt x="4669" y="7641"/>
                      <a:pt x="4669" y="7641"/>
                      <a:pt x="4669" y="7641"/>
                    </a:cubicBezTo>
                    <a:lnTo>
                      <a:pt x="4673" y="7646"/>
                    </a:lnTo>
                    <a:close/>
                    <a:moveTo>
                      <a:pt x="4789" y="7863"/>
                    </a:moveTo>
                    <a:cubicBezTo>
                      <a:pt x="4664" y="7660"/>
                      <a:pt x="4664" y="7660"/>
                      <a:pt x="4664" y="7660"/>
                    </a:cubicBezTo>
                    <a:cubicBezTo>
                      <a:pt x="4515" y="7736"/>
                      <a:pt x="4515" y="7736"/>
                      <a:pt x="4515" y="7736"/>
                    </a:cubicBezTo>
                    <a:cubicBezTo>
                      <a:pt x="4639" y="7943"/>
                      <a:pt x="4639" y="7943"/>
                      <a:pt x="4639" y="7943"/>
                    </a:cubicBezTo>
                    <a:lnTo>
                      <a:pt x="4789" y="7863"/>
                    </a:lnTo>
                    <a:close/>
                    <a:moveTo>
                      <a:pt x="3145" y="8212"/>
                    </a:moveTo>
                    <a:cubicBezTo>
                      <a:pt x="3096" y="8127"/>
                      <a:pt x="3096" y="8127"/>
                      <a:pt x="3096" y="8127"/>
                    </a:cubicBezTo>
                    <a:cubicBezTo>
                      <a:pt x="3224" y="8053"/>
                      <a:pt x="3224" y="8053"/>
                      <a:pt x="3224" y="8053"/>
                    </a:cubicBezTo>
                    <a:cubicBezTo>
                      <a:pt x="3276" y="8143"/>
                      <a:pt x="3276" y="8143"/>
                      <a:pt x="3276" y="8143"/>
                    </a:cubicBezTo>
                    <a:cubicBezTo>
                      <a:pt x="3148" y="8217"/>
                      <a:pt x="3148" y="8217"/>
                      <a:pt x="3148" y="8217"/>
                    </a:cubicBezTo>
                    <a:lnTo>
                      <a:pt x="3145" y="8212"/>
                    </a:lnTo>
                    <a:close/>
                    <a:moveTo>
                      <a:pt x="3113" y="8132"/>
                    </a:moveTo>
                    <a:cubicBezTo>
                      <a:pt x="3153" y="8199"/>
                      <a:pt x="3153" y="8199"/>
                      <a:pt x="3153" y="8199"/>
                    </a:cubicBezTo>
                    <a:cubicBezTo>
                      <a:pt x="3258" y="8138"/>
                      <a:pt x="3258" y="8138"/>
                      <a:pt x="3258" y="8138"/>
                    </a:cubicBezTo>
                    <a:cubicBezTo>
                      <a:pt x="3219" y="8070"/>
                      <a:pt x="3219" y="8070"/>
                      <a:pt x="3219" y="8070"/>
                    </a:cubicBezTo>
                    <a:lnTo>
                      <a:pt x="3113" y="8132"/>
                    </a:lnTo>
                    <a:close/>
                    <a:moveTo>
                      <a:pt x="864" y="5804"/>
                    </a:moveTo>
                    <a:cubicBezTo>
                      <a:pt x="1016" y="5881"/>
                      <a:pt x="1016" y="5881"/>
                      <a:pt x="1016" y="5881"/>
                    </a:cubicBezTo>
                    <a:cubicBezTo>
                      <a:pt x="1011" y="5983"/>
                      <a:pt x="1011" y="5983"/>
                      <a:pt x="1011" y="5983"/>
                    </a:cubicBezTo>
                    <a:cubicBezTo>
                      <a:pt x="697" y="5986"/>
                      <a:pt x="697" y="5986"/>
                      <a:pt x="697" y="5986"/>
                    </a:cubicBezTo>
                    <a:cubicBezTo>
                      <a:pt x="709" y="5744"/>
                      <a:pt x="709" y="5744"/>
                      <a:pt x="709" y="5744"/>
                    </a:cubicBezTo>
                    <a:cubicBezTo>
                      <a:pt x="926" y="5697"/>
                      <a:pt x="926" y="5697"/>
                      <a:pt x="926" y="5697"/>
                    </a:cubicBezTo>
                    <a:cubicBezTo>
                      <a:pt x="926" y="5707"/>
                      <a:pt x="926" y="5707"/>
                      <a:pt x="926" y="5707"/>
                    </a:cubicBezTo>
                    <a:cubicBezTo>
                      <a:pt x="925" y="5751"/>
                      <a:pt x="925" y="5751"/>
                      <a:pt x="925" y="5751"/>
                    </a:cubicBezTo>
                    <a:lnTo>
                      <a:pt x="864" y="5804"/>
                    </a:lnTo>
                    <a:close/>
                    <a:moveTo>
                      <a:pt x="838" y="5807"/>
                    </a:moveTo>
                    <a:cubicBezTo>
                      <a:pt x="910" y="5745"/>
                      <a:pt x="910" y="5745"/>
                      <a:pt x="910" y="5745"/>
                    </a:cubicBezTo>
                    <a:cubicBezTo>
                      <a:pt x="911" y="5716"/>
                      <a:pt x="911" y="5716"/>
                      <a:pt x="911" y="5716"/>
                    </a:cubicBezTo>
                    <a:cubicBezTo>
                      <a:pt x="723" y="5756"/>
                      <a:pt x="723" y="5756"/>
                      <a:pt x="723" y="5756"/>
                    </a:cubicBezTo>
                    <a:cubicBezTo>
                      <a:pt x="713" y="5972"/>
                      <a:pt x="713" y="5972"/>
                      <a:pt x="713" y="5972"/>
                    </a:cubicBezTo>
                    <a:cubicBezTo>
                      <a:pt x="997" y="5969"/>
                      <a:pt x="997" y="5969"/>
                      <a:pt x="997" y="5969"/>
                    </a:cubicBezTo>
                    <a:cubicBezTo>
                      <a:pt x="1000" y="5890"/>
                      <a:pt x="1000" y="5890"/>
                      <a:pt x="1000" y="5890"/>
                    </a:cubicBezTo>
                    <a:lnTo>
                      <a:pt x="838" y="5807"/>
                    </a:lnTo>
                    <a:close/>
                    <a:moveTo>
                      <a:pt x="1391" y="6963"/>
                    </a:moveTo>
                    <a:cubicBezTo>
                      <a:pt x="1443" y="6852"/>
                      <a:pt x="1443" y="6852"/>
                      <a:pt x="1443" y="6852"/>
                    </a:cubicBezTo>
                    <a:cubicBezTo>
                      <a:pt x="1504" y="6909"/>
                      <a:pt x="1504" y="6909"/>
                      <a:pt x="1504" y="6909"/>
                    </a:cubicBezTo>
                    <a:cubicBezTo>
                      <a:pt x="1453" y="7015"/>
                      <a:pt x="1453" y="7015"/>
                      <a:pt x="1453" y="7015"/>
                    </a:cubicBezTo>
                    <a:cubicBezTo>
                      <a:pt x="1456" y="7018"/>
                      <a:pt x="1456" y="7018"/>
                      <a:pt x="1456" y="7018"/>
                    </a:cubicBezTo>
                    <a:cubicBezTo>
                      <a:pt x="1450" y="7024"/>
                      <a:pt x="1450" y="7024"/>
                      <a:pt x="1450" y="7024"/>
                    </a:cubicBezTo>
                    <a:cubicBezTo>
                      <a:pt x="1449" y="7023"/>
                      <a:pt x="1449" y="7023"/>
                      <a:pt x="1449" y="7023"/>
                    </a:cubicBezTo>
                    <a:cubicBezTo>
                      <a:pt x="1399" y="7128"/>
                      <a:pt x="1399" y="7128"/>
                      <a:pt x="1399" y="7128"/>
                    </a:cubicBezTo>
                    <a:cubicBezTo>
                      <a:pt x="1401" y="7130"/>
                      <a:pt x="1401" y="7130"/>
                      <a:pt x="1401" y="7130"/>
                    </a:cubicBezTo>
                    <a:cubicBezTo>
                      <a:pt x="1396" y="7136"/>
                      <a:pt x="1396" y="7136"/>
                      <a:pt x="1396" y="7136"/>
                    </a:cubicBezTo>
                    <a:cubicBezTo>
                      <a:pt x="1395" y="7135"/>
                      <a:pt x="1395" y="7135"/>
                      <a:pt x="1395" y="7135"/>
                    </a:cubicBezTo>
                    <a:cubicBezTo>
                      <a:pt x="1344" y="7241"/>
                      <a:pt x="1344" y="7241"/>
                      <a:pt x="1344" y="7241"/>
                    </a:cubicBezTo>
                    <a:cubicBezTo>
                      <a:pt x="1347" y="7243"/>
                      <a:pt x="1347" y="7243"/>
                      <a:pt x="1347" y="7243"/>
                    </a:cubicBezTo>
                    <a:cubicBezTo>
                      <a:pt x="1342" y="7249"/>
                      <a:pt x="1342" y="7249"/>
                      <a:pt x="1342" y="7249"/>
                    </a:cubicBezTo>
                    <a:cubicBezTo>
                      <a:pt x="1341" y="7248"/>
                      <a:pt x="1341" y="7248"/>
                      <a:pt x="1341" y="7248"/>
                    </a:cubicBezTo>
                    <a:cubicBezTo>
                      <a:pt x="1285" y="7365"/>
                      <a:pt x="1285" y="7365"/>
                      <a:pt x="1285" y="7365"/>
                    </a:cubicBezTo>
                    <a:cubicBezTo>
                      <a:pt x="1287" y="7367"/>
                      <a:pt x="1287" y="7367"/>
                      <a:pt x="1287" y="7367"/>
                    </a:cubicBezTo>
                    <a:cubicBezTo>
                      <a:pt x="1282" y="7373"/>
                      <a:pt x="1282" y="7373"/>
                      <a:pt x="1282" y="7373"/>
                    </a:cubicBezTo>
                    <a:cubicBezTo>
                      <a:pt x="1281" y="7373"/>
                      <a:pt x="1281" y="7373"/>
                      <a:pt x="1281" y="7373"/>
                    </a:cubicBezTo>
                    <a:cubicBezTo>
                      <a:pt x="1227" y="7487"/>
                      <a:pt x="1227" y="7487"/>
                      <a:pt x="1227" y="7487"/>
                    </a:cubicBezTo>
                    <a:cubicBezTo>
                      <a:pt x="1230" y="7490"/>
                      <a:pt x="1230" y="7490"/>
                      <a:pt x="1230" y="7490"/>
                    </a:cubicBezTo>
                    <a:cubicBezTo>
                      <a:pt x="1225" y="7496"/>
                      <a:pt x="1225" y="7496"/>
                      <a:pt x="1225" y="7496"/>
                    </a:cubicBezTo>
                    <a:cubicBezTo>
                      <a:pt x="1223" y="7494"/>
                      <a:pt x="1223" y="7494"/>
                      <a:pt x="1223" y="7494"/>
                    </a:cubicBezTo>
                    <a:cubicBezTo>
                      <a:pt x="1168" y="7609"/>
                      <a:pt x="1168" y="7609"/>
                      <a:pt x="1168" y="7609"/>
                    </a:cubicBezTo>
                    <a:cubicBezTo>
                      <a:pt x="1104" y="7564"/>
                      <a:pt x="1104" y="7564"/>
                      <a:pt x="1104" y="7564"/>
                    </a:cubicBezTo>
                    <a:cubicBezTo>
                      <a:pt x="1162" y="7442"/>
                      <a:pt x="1162" y="7442"/>
                      <a:pt x="1162" y="7442"/>
                    </a:cubicBezTo>
                    <a:cubicBezTo>
                      <a:pt x="1159" y="7440"/>
                      <a:pt x="1159" y="7440"/>
                      <a:pt x="1159" y="7440"/>
                    </a:cubicBezTo>
                    <a:cubicBezTo>
                      <a:pt x="1164" y="7434"/>
                      <a:pt x="1164" y="7434"/>
                      <a:pt x="1164" y="7434"/>
                    </a:cubicBezTo>
                    <a:cubicBezTo>
                      <a:pt x="1166" y="7435"/>
                      <a:pt x="1166" y="7435"/>
                      <a:pt x="1166" y="7435"/>
                    </a:cubicBezTo>
                    <a:cubicBezTo>
                      <a:pt x="1220" y="7320"/>
                      <a:pt x="1220" y="7320"/>
                      <a:pt x="1220" y="7320"/>
                    </a:cubicBezTo>
                    <a:cubicBezTo>
                      <a:pt x="1216" y="7317"/>
                      <a:pt x="1216" y="7317"/>
                      <a:pt x="1216" y="7317"/>
                    </a:cubicBezTo>
                    <a:cubicBezTo>
                      <a:pt x="1222" y="7311"/>
                      <a:pt x="1222" y="7311"/>
                      <a:pt x="1222" y="7311"/>
                    </a:cubicBezTo>
                    <a:cubicBezTo>
                      <a:pt x="1224" y="7313"/>
                      <a:pt x="1224" y="7313"/>
                      <a:pt x="1224" y="7313"/>
                    </a:cubicBezTo>
                    <a:cubicBezTo>
                      <a:pt x="1279" y="7196"/>
                      <a:pt x="1279" y="7196"/>
                      <a:pt x="1279" y="7196"/>
                    </a:cubicBezTo>
                    <a:cubicBezTo>
                      <a:pt x="1276" y="7193"/>
                      <a:pt x="1276" y="7193"/>
                      <a:pt x="1276" y="7193"/>
                    </a:cubicBezTo>
                    <a:cubicBezTo>
                      <a:pt x="1281" y="7187"/>
                      <a:pt x="1281" y="7187"/>
                      <a:pt x="1281" y="7187"/>
                    </a:cubicBezTo>
                    <a:cubicBezTo>
                      <a:pt x="1283" y="7188"/>
                      <a:pt x="1283" y="7188"/>
                      <a:pt x="1283" y="7188"/>
                    </a:cubicBezTo>
                    <a:cubicBezTo>
                      <a:pt x="1333" y="7083"/>
                      <a:pt x="1333" y="7083"/>
                      <a:pt x="1333" y="7083"/>
                    </a:cubicBezTo>
                    <a:cubicBezTo>
                      <a:pt x="1330" y="7080"/>
                      <a:pt x="1330" y="7080"/>
                      <a:pt x="1330" y="7080"/>
                    </a:cubicBezTo>
                    <a:cubicBezTo>
                      <a:pt x="1336" y="7074"/>
                      <a:pt x="1336" y="7074"/>
                      <a:pt x="1336" y="7074"/>
                    </a:cubicBezTo>
                    <a:cubicBezTo>
                      <a:pt x="1337" y="7075"/>
                      <a:pt x="1337" y="7075"/>
                      <a:pt x="1337" y="7075"/>
                    </a:cubicBezTo>
                    <a:cubicBezTo>
                      <a:pt x="1387" y="6970"/>
                      <a:pt x="1387" y="6970"/>
                      <a:pt x="1387" y="6970"/>
                    </a:cubicBezTo>
                    <a:cubicBezTo>
                      <a:pt x="1384" y="6968"/>
                      <a:pt x="1384" y="6968"/>
                      <a:pt x="1384" y="6968"/>
                    </a:cubicBezTo>
                    <a:cubicBezTo>
                      <a:pt x="1390" y="6962"/>
                      <a:pt x="1390" y="6962"/>
                      <a:pt x="1390" y="6962"/>
                    </a:cubicBezTo>
                    <a:lnTo>
                      <a:pt x="1391" y="6963"/>
                    </a:lnTo>
                    <a:close/>
                    <a:moveTo>
                      <a:pt x="1212" y="7485"/>
                    </a:moveTo>
                    <a:cubicBezTo>
                      <a:pt x="1173" y="7452"/>
                      <a:pt x="1173" y="7452"/>
                      <a:pt x="1173" y="7452"/>
                    </a:cubicBezTo>
                    <a:cubicBezTo>
                      <a:pt x="1121" y="7560"/>
                      <a:pt x="1121" y="7560"/>
                      <a:pt x="1121" y="7560"/>
                    </a:cubicBezTo>
                    <a:cubicBezTo>
                      <a:pt x="1162" y="7588"/>
                      <a:pt x="1162" y="7588"/>
                      <a:pt x="1162" y="7588"/>
                    </a:cubicBezTo>
                    <a:lnTo>
                      <a:pt x="1212" y="7485"/>
                    </a:lnTo>
                    <a:close/>
                    <a:moveTo>
                      <a:pt x="1270" y="7363"/>
                    </a:moveTo>
                    <a:cubicBezTo>
                      <a:pt x="1231" y="7330"/>
                      <a:pt x="1231" y="7330"/>
                      <a:pt x="1231" y="7330"/>
                    </a:cubicBezTo>
                    <a:cubicBezTo>
                      <a:pt x="1177" y="7444"/>
                      <a:pt x="1177" y="7444"/>
                      <a:pt x="1177" y="7444"/>
                    </a:cubicBezTo>
                    <a:cubicBezTo>
                      <a:pt x="1216" y="7477"/>
                      <a:pt x="1216" y="7477"/>
                      <a:pt x="1216" y="7477"/>
                    </a:cubicBezTo>
                    <a:lnTo>
                      <a:pt x="1270" y="7363"/>
                    </a:lnTo>
                    <a:close/>
                    <a:moveTo>
                      <a:pt x="1330" y="7239"/>
                    </a:moveTo>
                    <a:cubicBezTo>
                      <a:pt x="1290" y="7205"/>
                      <a:pt x="1290" y="7205"/>
                      <a:pt x="1290" y="7205"/>
                    </a:cubicBezTo>
                    <a:cubicBezTo>
                      <a:pt x="1235" y="7322"/>
                      <a:pt x="1235" y="7322"/>
                      <a:pt x="1235" y="7322"/>
                    </a:cubicBezTo>
                    <a:cubicBezTo>
                      <a:pt x="1274" y="7356"/>
                      <a:pt x="1274" y="7356"/>
                      <a:pt x="1274" y="7356"/>
                    </a:cubicBezTo>
                    <a:lnTo>
                      <a:pt x="1330" y="7239"/>
                    </a:lnTo>
                    <a:close/>
                    <a:moveTo>
                      <a:pt x="1384" y="7126"/>
                    </a:moveTo>
                    <a:cubicBezTo>
                      <a:pt x="1344" y="7092"/>
                      <a:pt x="1344" y="7092"/>
                      <a:pt x="1344" y="7092"/>
                    </a:cubicBezTo>
                    <a:cubicBezTo>
                      <a:pt x="1294" y="7198"/>
                      <a:pt x="1294" y="7198"/>
                      <a:pt x="1294" y="7198"/>
                    </a:cubicBezTo>
                    <a:cubicBezTo>
                      <a:pt x="1334" y="7231"/>
                      <a:pt x="1334" y="7231"/>
                      <a:pt x="1334" y="7231"/>
                    </a:cubicBezTo>
                    <a:lnTo>
                      <a:pt x="1384" y="7126"/>
                    </a:lnTo>
                    <a:close/>
                    <a:moveTo>
                      <a:pt x="1402" y="6972"/>
                    </a:moveTo>
                    <a:cubicBezTo>
                      <a:pt x="1442" y="7006"/>
                      <a:pt x="1442" y="7006"/>
                      <a:pt x="1442" y="7006"/>
                    </a:cubicBezTo>
                    <a:cubicBezTo>
                      <a:pt x="1487" y="6912"/>
                      <a:pt x="1487" y="6912"/>
                      <a:pt x="1487" y="6912"/>
                    </a:cubicBezTo>
                    <a:cubicBezTo>
                      <a:pt x="1448" y="6876"/>
                      <a:pt x="1448" y="6876"/>
                      <a:pt x="1448" y="6876"/>
                    </a:cubicBezTo>
                    <a:lnTo>
                      <a:pt x="1402" y="6972"/>
                    </a:lnTo>
                    <a:close/>
                    <a:moveTo>
                      <a:pt x="1398" y="6980"/>
                    </a:moveTo>
                    <a:cubicBezTo>
                      <a:pt x="1348" y="7084"/>
                      <a:pt x="1348" y="7084"/>
                      <a:pt x="1348" y="7084"/>
                    </a:cubicBezTo>
                    <a:cubicBezTo>
                      <a:pt x="1388" y="7118"/>
                      <a:pt x="1388" y="7118"/>
                      <a:pt x="1388" y="7118"/>
                    </a:cubicBezTo>
                    <a:cubicBezTo>
                      <a:pt x="1438" y="7014"/>
                      <a:pt x="1438" y="7014"/>
                      <a:pt x="1438" y="7014"/>
                    </a:cubicBezTo>
                    <a:lnTo>
                      <a:pt x="1398" y="6980"/>
                    </a:lnTo>
                    <a:close/>
                    <a:moveTo>
                      <a:pt x="1198" y="5733"/>
                    </a:moveTo>
                    <a:cubicBezTo>
                      <a:pt x="1187" y="5716"/>
                      <a:pt x="1187" y="5716"/>
                      <a:pt x="1187" y="5716"/>
                    </a:cubicBezTo>
                    <a:cubicBezTo>
                      <a:pt x="1207" y="5712"/>
                      <a:pt x="1207" y="5712"/>
                      <a:pt x="1207" y="5712"/>
                    </a:cubicBezTo>
                    <a:cubicBezTo>
                      <a:pt x="1301" y="5692"/>
                      <a:pt x="1301" y="5692"/>
                      <a:pt x="1301" y="5692"/>
                    </a:cubicBezTo>
                    <a:cubicBezTo>
                      <a:pt x="1306" y="5691"/>
                      <a:pt x="1306" y="5691"/>
                      <a:pt x="1306" y="5691"/>
                    </a:cubicBezTo>
                    <a:cubicBezTo>
                      <a:pt x="1310" y="5693"/>
                      <a:pt x="1310" y="5693"/>
                      <a:pt x="1310" y="5693"/>
                    </a:cubicBezTo>
                    <a:cubicBezTo>
                      <a:pt x="1421" y="5757"/>
                      <a:pt x="1421" y="5757"/>
                      <a:pt x="1421" y="5757"/>
                    </a:cubicBezTo>
                    <a:cubicBezTo>
                      <a:pt x="1428" y="5760"/>
                      <a:pt x="1428" y="5760"/>
                      <a:pt x="1428" y="5760"/>
                    </a:cubicBezTo>
                    <a:cubicBezTo>
                      <a:pt x="1428" y="5767"/>
                      <a:pt x="1428" y="5767"/>
                      <a:pt x="1428" y="5767"/>
                    </a:cubicBezTo>
                    <a:cubicBezTo>
                      <a:pt x="1465" y="6064"/>
                      <a:pt x="1465" y="6064"/>
                      <a:pt x="1465" y="6064"/>
                    </a:cubicBezTo>
                    <a:cubicBezTo>
                      <a:pt x="1465" y="6069"/>
                      <a:pt x="1465" y="6069"/>
                      <a:pt x="1465" y="6069"/>
                    </a:cubicBezTo>
                    <a:cubicBezTo>
                      <a:pt x="1462" y="6073"/>
                      <a:pt x="1462" y="6073"/>
                      <a:pt x="1462" y="6073"/>
                    </a:cubicBezTo>
                    <a:cubicBezTo>
                      <a:pt x="1420" y="6135"/>
                      <a:pt x="1420" y="6135"/>
                      <a:pt x="1420" y="6135"/>
                    </a:cubicBezTo>
                    <a:cubicBezTo>
                      <a:pt x="1412" y="6147"/>
                      <a:pt x="1412" y="6147"/>
                      <a:pt x="1412" y="6147"/>
                    </a:cubicBezTo>
                    <a:cubicBezTo>
                      <a:pt x="1400" y="6138"/>
                      <a:pt x="1400" y="6138"/>
                      <a:pt x="1400" y="6138"/>
                    </a:cubicBezTo>
                    <a:cubicBezTo>
                      <a:pt x="1285" y="6049"/>
                      <a:pt x="1285" y="6049"/>
                      <a:pt x="1285" y="6049"/>
                    </a:cubicBezTo>
                    <a:cubicBezTo>
                      <a:pt x="1279" y="6045"/>
                      <a:pt x="1279" y="6045"/>
                      <a:pt x="1279" y="6045"/>
                    </a:cubicBezTo>
                    <a:cubicBezTo>
                      <a:pt x="1279" y="6039"/>
                      <a:pt x="1279" y="6039"/>
                      <a:pt x="1279" y="6039"/>
                    </a:cubicBezTo>
                    <a:cubicBezTo>
                      <a:pt x="1272" y="5846"/>
                      <a:pt x="1272" y="5846"/>
                      <a:pt x="1272" y="5846"/>
                    </a:cubicBezTo>
                    <a:lnTo>
                      <a:pt x="1198" y="5733"/>
                    </a:lnTo>
                    <a:close/>
                    <a:moveTo>
                      <a:pt x="1210" y="5725"/>
                    </a:moveTo>
                    <a:cubicBezTo>
                      <a:pt x="1285" y="5842"/>
                      <a:pt x="1285" y="5842"/>
                      <a:pt x="1285" y="5842"/>
                    </a:cubicBezTo>
                    <a:cubicBezTo>
                      <a:pt x="1293" y="6038"/>
                      <a:pt x="1293" y="6038"/>
                      <a:pt x="1293" y="6038"/>
                    </a:cubicBezTo>
                    <a:cubicBezTo>
                      <a:pt x="1409" y="6127"/>
                      <a:pt x="1409" y="6127"/>
                      <a:pt x="1409" y="6127"/>
                    </a:cubicBezTo>
                    <a:cubicBezTo>
                      <a:pt x="1451" y="6066"/>
                      <a:pt x="1451" y="6066"/>
                      <a:pt x="1451" y="6066"/>
                    </a:cubicBezTo>
                    <a:cubicBezTo>
                      <a:pt x="1415" y="5769"/>
                      <a:pt x="1415" y="5769"/>
                      <a:pt x="1415" y="5769"/>
                    </a:cubicBezTo>
                    <a:cubicBezTo>
                      <a:pt x="1304" y="5706"/>
                      <a:pt x="1304" y="5706"/>
                      <a:pt x="1304" y="5706"/>
                    </a:cubicBezTo>
                    <a:lnTo>
                      <a:pt x="1210" y="5725"/>
                    </a:lnTo>
                    <a:close/>
                    <a:moveTo>
                      <a:pt x="1696" y="6446"/>
                    </a:moveTo>
                    <a:cubicBezTo>
                      <a:pt x="1581" y="6407"/>
                      <a:pt x="1581" y="6407"/>
                      <a:pt x="1581" y="6407"/>
                    </a:cubicBezTo>
                    <a:cubicBezTo>
                      <a:pt x="1694" y="6233"/>
                      <a:pt x="1694" y="6233"/>
                      <a:pt x="1694" y="6233"/>
                    </a:cubicBezTo>
                    <a:cubicBezTo>
                      <a:pt x="1801" y="6274"/>
                      <a:pt x="1801" y="6274"/>
                      <a:pt x="1801" y="6274"/>
                    </a:cubicBezTo>
                    <a:lnTo>
                      <a:pt x="1696" y="6446"/>
                    </a:lnTo>
                    <a:close/>
                    <a:moveTo>
                      <a:pt x="1690" y="6429"/>
                    </a:moveTo>
                    <a:cubicBezTo>
                      <a:pt x="1780" y="6281"/>
                      <a:pt x="1780" y="6281"/>
                      <a:pt x="1780" y="6281"/>
                    </a:cubicBezTo>
                    <a:cubicBezTo>
                      <a:pt x="1700" y="6251"/>
                      <a:pt x="1700" y="6251"/>
                      <a:pt x="1700" y="6251"/>
                    </a:cubicBezTo>
                    <a:cubicBezTo>
                      <a:pt x="1603" y="6399"/>
                      <a:pt x="1603" y="6399"/>
                      <a:pt x="1603" y="6399"/>
                    </a:cubicBezTo>
                    <a:lnTo>
                      <a:pt x="1690" y="6429"/>
                    </a:lnTo>
                    <a:close/>
                    <a:moveTo>
                      <a:pt x="1409" y="6598"/>
                    </a:moveTo>
                    <a:cubicBezTo>
                      <a:pt x="1522" y="6425"/>
                      <a:pt x="1522" y="6425"/>
                      <a:pt x="1522" y="6425"/>
                    </a:cubicBezTo>
                    <a:cubicBezTo>
                      <a:pt x="1637" y="6470"/>
                      <a:pt x="1637" y="6470"/>
                      <a:pt x="1637" y="6470"/>
                    </a:cubicBezTo>
                    <a:cubicBezTo>
                      <a:pt x="1532" y="6641"/>
                      <a:pt x="1532" y="6641"/>
                      <a:pt x="1532" y="6641"/>
                    </a:cubicBezTo>
                    <a:lnTo>
                      <a:pt x="1409" y="6598"/>
                    </a:lnTo>
                    <a:close/>
                    <a:moveTo>
                      <a:pt x="1431" y="6591"/>
                    </a:moveTo>
                    <a:cubicBezTo>
                      <a:pt x="1526" y="6624"/>
                      <a:pt x="1526" y="6624"/>
                      <a:pt x="1526" y="6624"/>
                    </a:cubicBezTo>
                    <a:cubicBezTo>
                      <a:pt x="1616" y="6477"/>
                      <a:pt x="1616" y="6477"/>
                      <a:pt x="1616" y="6477"/>
                    </a:cubicBezTo>
                    <a:cubicBezTo>
                      <a:pt x="1527" y="6442"/>
                      <a:pt x="1527" y="6442"/>
                      <a:pt x="1527" y="6442"/>
                    </a:cubicBezTo>
                    <a:lnTo>
                      <a:pt x="1431" y="6591"/>
                    </a:lnTo>
                    <a:close/>
                    <a:moveTo>
                      <a:pt x="8011" y="3596"/>
                    </a:moveTo>
                    <a:cubicBezTo>
                      <a:pt x="8111" y="3643"/>
                      <a:pt x="8111" y="3643"/>
                      <a:pt x="8111" y="3643"/>
                    </a:cubicBezTo>
                    <a:cubicBezTo>
                      <a:pt x="7990" y="3878"/>
                      <a:pt x="7990" y="3878"/>
                      <a:pt x="7990" y="3878"/>
                    </a:cubicBezTo>
                    <a:cubicBezTo>
                      <a:pt x="7886" y="3824"/>
                      <a:pt x="7886" y="3824"/>
                      <a:pt x="7886" y="3824"/>
                    </a:cubicBezTo>
                    <a:cubicBezTo>
                      <a:pt x="8005" y="3593"/>
                      <a:pt x="8005" y="3593"/>
                      <a:pt x="8005" y="3593"/>
                    </a:cubicBezTo>
                    <a:lnTo>
                      <a:pt x="8011" y="3596"/>
                    </a:lnTo>
                    <a:close/>
                    <a:moveTo>
                      <a:pt x="8011" y="3613"/>
                    </a:moveTo>
                    <a:cubicBezTo>
                      <a:pt x="7906" y="3818"/>
                      <a:pt x="7906" y="3818"/>
                      <a:pt x="7906" y="3818"/>
                    </a:cubicBezTo>
                    <a:cubicBezTo>
                      <a:pt x="7984" y="3858"/>
                      <a:pt x="7984" y="3858"/>
                      <a:pt x="7984" y="3858"/>
                    </a:cubicBezTo>
                    <a:cubicBezTo>
                      <a:pt x="8091" y="3650"/>
                      <a:pt x="8091" y="3650"/>
                      <a:pt x="8091" y="3650"/>
                    </a:cubicBezTo>
                    <a:lnTo>
                      <a:pt x="8011" y="3613"/>
                    </a:lnTo>
                    <a:close/>
                    <a:moveTo>
                      <a:pt x="435" y="1447"/>
                    </a:moveTo>
                    <a:cubicBezTo>
                      <a:pt x="676" y="1253"/>
                      <a:pt x="676" y="1253"/>
                      <a:pt x="676" y="1253"/>
                    </a:cubicBezTo>
                    <a:cubicBezTo>
                      <a:pt x="676" y="1269"/>
                      <a:pt x="676" y="1269"/>
                      <a:pt x="676" y="1269"/>
                    </a:cubicBezTo>
                    <a:cubicBezTo>
                      <a:pt x="672" y="1460"/>
                      <a:pt x="672" y="1460"/>
                      <a:pt x="672" y="1460"/>
                    </a:cubicBezTo>
                    <a:cubicBezTo>
                      <a:pt x="538" y="1554"/>
                      <a:pt x="538" y="1554"/>
                      <a:pt x="538" y="1554"/>
                    </a:cubicBezTo>
                    <a:lnTo>
                      <a:pt x="435" y="1447"/>
                    </a:lnTo>
                    <a:close/>
                    <a:moveTo>
                      <a:pt x="661" y="1285"/>
                    </a:moveTo>
                    <a:cubicBezTo>
                      <a:pt x="457" y="1449"/>
                      <a:pt x="457" y="1449"/>
                      <a:pt x="457" y="1449"/>
                    </a:cubicBezTo>
                    <a:cubicBezTo>
                      <a:pt x="540" y="1535"/>
                      <a:pt x="540" y="1535"/>
                      <a:pt x="540" y="1535"/>
                    </a:cubicBezTo>
                    <a:cubicBezTo>
                      <a:pt x="657" y="1452"/>
                      <a:pt x="657" y="1452"/>
                      <a:pt x="657" y="1452"/>
                    </a:cubicBezTo>
                    <a:lnTo>
                      <a:pt x="661" y="1285"/>
                    </a:lnTo>
                    <a:close/>
                    <a:moveTo>
                      <a:pt x="8280" y="3575"/>
                    </a:moveTo>
                    <a:cubicBezTo>
                      <a:pt x="8031" y="4058"/>
                      <a:pt x="8031" y="4058"/>
                      <a:pt x="8031" y="4058"/>
                    </a:cubicBezTo>
                    <a:cubicBezTo>
                      <a:pt x="7915" y="3999"/>
                      <a:pt x="7915" y="3999"/>
                      <a:pt x="7915" y="3999"/>
                    </a:cubicBezTo>
                    <a:cubicBezTo>
                      <a:pt x="7944" y="3942"/>
                      <a:pt x="7944" y="3942"/>
                      <a:pt x="7944" y="3942"/>
                    </a:cubicBezTo>
                    <a:cubicBezTo>
                      <a:pt x="7863" y="3900"/>
                      <a:pt x="7863" y="3900"/>
                      <a:pt x="7863" y="3900"/>
                    </a:cubicBezTo>
                    <a:cubicBezTo>
                      <a:pt x="7833" y="3958"/>
                      <a:pt x="7833" y="3958"/>
                      <a:pt x="7833" y="3958"/>
                    </a:cubicBezTo>
                    <a:cubicBezTo>
                      <a:pt x="7717" y="3898"/>
                      <a:pt x="7717" y="3898"/>
                      <a:pt x="7717" y="3898"/>
                    </a:cubicBezTo>
                    <a:cubicBezTo>
                      <a:pt x="7966" y="3415"/>
                      <a:pt x="7966" y="3415"/>
                      <a:pt x="7966" y="3415"/>
                    </a:cubicBezTo>
                    <a:cubicBezTo>
                      <a:pt x="7972" y="3418"/>
                      <a:pt x="7972" y="3418"/>
                      <a:pt x="7972" y="3418"/>
                    </a:cubicBezTo>
                    <a:cubicBezTo>
                      <a:pt x="8080" y="3472"/>
                      <a:pt x="8080" y="3472"/>
                      <a:pt x="8080" y="3472"/>
                    </a:cubicBezTo>
                    <a:cubicBezTo>
                      <a:pt x="8051" y="3530"/>
                      <a:pt x="8051" y="3530"/>
                      <a:pt x="8051" y="3530"/>
                    </a:cubicBezTo>
                    <a:cubicBezTo>
                      <a:pt x="8133" y="3572"/>
                      <a:pt x="8133" y="3572"/>
                      <a:pt x="8133" y="3572"/>
                    </a:cubicBezTo>
                    <a:cubicBezTo>
                      <a:pt x="8162" y="3514"/>
                      <a:pt x="8162" y="3514"/>
                      <a:pt x="8162" y="3514"/>
                    </a:cubicBezTo>
                    <a:lnTo>
                      <a:pt x="8280" y="3575"/>
                    </a:lnTo>
                    <a:close/>
                    <a:moveTo>
                      <a:pt x="8260" y="3581"/>
                    </a:moveTo>
                    <a:cubicBezTo>
                      <a:pt x="8169" y="3534"/>
                      <a:pt x="8169" y="3534"/>
                      <a:pt x="8169" y="3534"/>
                    </a:cubicBezTo>
                    <a:cubicBezTo>
                      <a:pt x="8139" y="3592"/>
                      <a:pt x="8139" y="3592"/>
                      <a:pt x="8139" y="3592"/>
                    </a:cubicBezTo>
                    <a:cubicBezTo>
                      <a:pt x="8031" y="3537"/>
                      <a:pt x="8031" y="3537"/>
                      <a:pt x="8031" y="3537"/>
                    </a:cubicBezTo>
                    <a:cubicBezTo>
                      <a:pt x="8061" y="3479"/>
                      <a:pt x="8061" y="3479"/>
                      <a:pt x="8061" y="3479"/>
                    </a:cubicBezTo>
                    <a:cubicBezTo>
                      <a:pt x="7972" y="3435"/>
                      <a:pt x="7972" y="3435"/>
                      <a:pt x="7972" y="3435"/>
                    </a:cubicBezTo>
                    <a:cubicBezTo>
                      <a:pt x="7737" y="3892"/>
                      <a:pt x="7737" y="3892"/>
                      <a:pt x="7737" y="3892"/>
                    </a:cubicBezTo>
                    <a:cubicBezTo>
                      <a:pt x="7827" y="3938"/>
                      <a:pt x="7827" y="3938"/>
                      <a:pt x="7827" y="3938"/>
                    </a:cubicBezTo>
                    <a:cubicBezTo>
                      <a:pt x="7857" y="3880"/>
                      <a:pt x="7857" y="3880"/>
                      <a:pt x="7857" y="3880"/>
                    </a:cubicBezTo>
                    <a:cubicBezTo>
                      <a:pt x="7964" y="3935"/>
                      <a:pt x="7964" y="3935"/>
                      <a:pt x="7964" y="3935"/>
                    </a:cubicBezTo>
                    <a:cubicBezTo>
                      <a:pt x="7934" y="3992"/>
                      <a:pt x="7934" y="3992"/>
                      <a:pt x="7934" y="3992"/>
                    </a:cubicBezTo>
                    <a:cubicBezTo>
                      <a:pt x="8024" y="4039"/>
                      <a:pt x="8024" y="4039"/>
                      <a:pt x="8024" y="4039"/>
                    </a:cubicBezTo>
                    <a:lnTo>
                      <a:pt x="8260" y="3581"/>
                    </a:lnTo>
                    <a:close/>
                    <a:moveTo>
                      <a:pt x="8633" y="2713"/>
                    </a:moveTo>
                    <a:cubicBezTo>
                      <a:pt x="8531" y="2894"/>
                      <a:pt x="8531" y="2894"/>
                      <a:pt x="8531" y="2894"/>
                    </a:cubicBezTo>
                    <a:cubicBezTo>
                      <a:pt x="8411" y="2828"/>
                      <a:pt x="8411" y="2828"/>
                      <a:pt x="8411" y="2828"/>
                    </a:cubicBezTo>
                    <a:cubicBezTo>
                      <a:pt x="8545" y="2595"/>
                      <a:pt x="8545" y="2595"/>
                      <a:pt x="8545" y="2595"/>
                    </a:cubicBezTo>
                    <a:cubicBezTo>
                      <a:pt x="8422" y="2523"/>
                      <a:pt x="8422" y="2523"/>
                      <a:pt x="8422" y="2523"/>
                    </a:cubicBezTo>
                    <a:cubicBezTo>
                      <a:pt x="8288" y="2756"/>
                      <a:pt x="8288" y="2756"/>
                      <a:pt x="8288" y="2756"/>
                    </a:cubicBezTo>
                    <a:cubicBezTo>
                      <a:pt x="8210" y="2709"/>
                      <a:pt x="8210" y="2709"/>
                      <a:pt x="8210" y="2709"/>
                    </a:cubicBezTo>
                    <a:cubicBezTo>
                      <a:pt x="8371" y="2435"/>
                      <a:pt x="8371" y="2435"/>
                      <a:pt x="8371" y="2435"/>
                    </a:cubicBezTo>
                    <a:cubicBezTo>
                      <a:pt x="8309" y="2400"/>
                      <a:pt x="8309" y="2400"/>
                      <a:pt x="8309" y="2400"/>
                    </a:cubicBezTo>
                    <a:cubicBezTo>
                      <a:pt x="8229" y="2537"/>
                      <a:pt x="8229" y="2537"/>
                      <a:pt x="8229" y="2537"/>
                    </a:cubicBezTo>
                    <a:cubicBezTo>
                      <a:pt x="8162" y="2499"/>
                      <a:pt x="8162" y="2499"/>
                      <a:pt x="8162" y="2499"/>
                    </a:cubicBezTo>
                    <a:cubicBezTo>
                      <a:pt x="8241" y="2355"/>
                      <a:pt x="8241" y="2355"/>
                      <a:pt x="8241" y="2355"/>
                    </a:cubicBezTo>
                    <a:cubicBezTo>
                      <a:pt x="8183" y="2324"/>
                      <a:pt x="8183" y="2324"/>
                      <a:pt x="8183" y="2324"/>
                    </a:cubicBezTo>
                    <a:cubicBezTo>
                      <a:pt x="8241" y="2234"/>
                      <a:pt x="8241" y="2234"/>
                      <a:pt x="8241" y="2234"/>
                    </a:cubicBezTo>
                    <a:cubicBezTo>
                      <a:pt x="8247" y="2237"/>
                      <a:pt x="8247" y="2237"/>
                      <a:pt x="8247" y="2237"/>
                    </a:cubicBezTo>
                    <a:cubicBezTo>
                      <a:pt x="8423" y="2333"/>
                      <a:pt x="8423" y="2333"/>
                      <a:pt x="8423" y="2333"/>
                    </a:cubicBezTo>
                    <a:cubicBezTo>
                      <a:pt x="8481" y="2245"/>
                      <a:pt x="8481" y="2245"/>
                      <a:pt x="8481" y="2245"/>
                    </a:cubicBezTo>
                    <a:cubicBezTo>
                      <a:pt x="8797" y="2429"/>
                      <a:pt x="8797" y="2429"/>
                      <a:pt x="8797" y="2429"/>
                    </a:cubicBezTo>
                    <a:cubicBezTo>
                      <a:pt x="8741" y="2524"/>
                      <a:pt x="8741" y="2524"/>
                      <a:pt x="8741" y="2524"/>
                    </a:cubicBezTo>
                    <a:cubicBezTo>
                      <a:pt x="8680" y="2488"/>
                      <a:pt x="8680" y="2488"/>
                      <a:pt x="8680" y="2488"/>
                    </a:cubicBezTo>
                    <a:cubicBezTo>
                      <a:pt x="8579" y="2678"/>
                      <a:pt x="8579" y="2678"/>
                      <a:pt x="8579" y="2678"/>
                    </a:cubicBezTo>
                    <a:lnTo>
                      <a:pt x="8633" y="2713"/>
                    </a:lnTo>
                    <a:close/>
                    <a:moveTo>
                      <a:pt x="8613" y="2718"/>
                    </a:moveTo>
                    <a:cubicBezTo>
                      <a:pt x="8559" y="2683"/>
                      <a:pt x="8559" y="2683"/>
                      <a:pt x="8559" y="2683"/>
                    </a:cubicBezTo>
                    <a:cubicBezTo>
                      <a:pt x="8674" y="2467"/>
                      <a:pt x="8674" y="2467"/>
                      <a:pt x="8674" y="2467"/>
                    </a:cubicBezTo>
                    <a:cubicBezTo>
                      <a:pt x="8736" y="2504"/>
                      <a:pt x="8736" y="2504"/>
                      <a:pt x="8736" y="2504"/>
                    </a:cubicBezTo>
                    <a:cubicBezTo>
                      <a:pt x="8777" y="2434"/>
                      <a:pt x="8777" y="2434"/>
                      <a:pt x="8777" y="2434"/>
                    </a:cubicBezTo>
                    <a:cubicBezTo>
                      <a:pt x="8486" y="2265"/>
                      <a:pt x="8486" y="2265"/>
                      <a:pt x="8486" y="2265"/>
                    </a:cubicBezTo>
                    <a:cubicBezTo>
                      <a:pt x="8428" y="2353"/>
                      <a:pt x="8428" y="2353"/>
                      <a:pt x="8428" y="2353"/>
                    </a:cubicBezTo>
                    <a:cubicBezTo>
                      <a:pt x="8246" y="2254"/>
                      <a:pt x="8246" y="2254"/>
                      <a:pt x="8246" y="2254"/>
                    </a:cubicBezTo>
                    <a:cubicBezTo>
                      <a:pt x="8204" y="2318"/>
                      <a:pt x="8204" y="2318"/>
                      <a:pt x="8204" y="2318"/>
                    </a:cubicBezTo>
                    <a:cubicBezTo>
                      <a:pt x="8261" y="2349"/>
                      <a:pt x="8261" y="2349"/>
                      <a:pt x="8261" y="2349"/>
                    </a:cubicBezTo>
                    <a:cubicBezTo>
                      <a:pt x="8182" y="2494"/>
                      <a:pt x="8182" y="2494"/>
                      <a:pt x="8182" y="2494"/>
                    </a:cubicBezTo>
                    <a:cubicBezTo>
                      <a:pt x="8223" y="2517"/>
                      <a:pt x="8223" y="2517"/>
                      <a:pt x="8223" y="2517"/>
                    </a:cubicBezTo>
                    <a:cubicBezTo>
                      <a:pt x="8304" y="2380"/>
                      <a:pt x="8304" y="2380"/>
                      <a:pt x="8304" y="2380"/>
                    </a:cubicBezTo>
                    <a:cubicBezTo>
                      <a:pt x="8391" y="2429"/>
                      <a:pt x="8391" y="2429"/>
                      <a:pt x="8391" y="2429"/>
                    </a:cubicBezTo>
                    <a:cubicBezTo>
                      <a:pt x="8230" y="2704"/>
                      <a:pt x="8230" y="2704"/>
                      <a:pt x="8230" y="2704"/>
                    </a:cubicBezTo>
                    <a:cubicBezTo>
                      <a:pt x="8282" y="2736"/>
                      <a:pt x="8282" y="2736"/>
                      <a:pt x="8282" y="2736"/>
                    </a:cubicBezTo>
                    <a:cubicBezTo>
                      <a:pt x="8417" y="2502"/>
                      <a:pt x="8417" y="2502"/>
                      <a:pt x="8417" y="2502"/>
                    </a:cubicBezTo>
                    <a:cubicBezTo>
                      <a:pt x="8565" y="2589"/>
                      <a:pt x="8565" y="2589"/>
                      <a:pt x="8565" y="2589"/>
                    </a:cubicBezTo>
                    <a:cubicBezTo>
                      <a:pt x="8431" y="2822"/>
                      <a:pt x="8431" y="2822"/>
                      <a:pt x="8431" y="2822"/>
                    </a:cubicBezTo>
                    <a:cubicBezTo>
                      <a:pt x="8525" y="2874"/>
                      <a:pt x="8525" y="2874"/>
                      <a:pt x="8525" y="2874"/>
                    </a:cubicBezTo>
                    <a:lnTo>
                      <a:pt x="8613" y="2718"/>
                    </a:lnTo>
                    <a:close/>
                    <a:moveTo>
                      <a:pt x="1197" y="834"/>
                    </a:moveTo>
                    <a:cubicBezTo>
                      <a:pt x="1292" y="973"/>
                      <a:pt x="1292" y="973"/>
                      <a:pt x="1292" y="973"/>
                    </a:cubicBezTo>
                    <a:cubicBezTo>
                      <a:pt x="1275" y="1085"/>
                      <a:pt x="1275" y="1085"/>
                      <a:pt x="1275" y="1085"/>
                    </a:cubicBezTo>
                    <a:cubicBezTo>
                      <a:pt x="1120" y="1086"/>
                      <a:pt x="1120" y="1086"/>
                      <a:pt x="1120" y="1086"/>
                    </a:cubicBezTo>
                    <a:cubicBezTo>
                      <a:pt x="1128" y="892"/>
                      <a:pt x="1128" y="892"/>
                      <a:pt x="1128" y="892"/>
                    </a:cubicBezTo>
                    <a:lnTo>
                      <a:pt x="1197" y="834"/>
                    </a:lnTo>
                    <a:close/>
                    <a:moveTo>
                      <a:pt x="1278" y="976"/>
                    </a:moveTo>
                    <a:cubicBezTo>
                      <a:pt x="1195" y="855"/>
                      <a:pt x="1195" y="855"/>
                      <a:pt x="1195" y="855"/>
                    </a:cubicBezTo>
                    <a:cubicBezTo>
                      <a:pt x="1142" y="899"/>
                      <a:pt x="1142" y="899"/>
                      <a:pt x="1142" y="899"/>
                    </a:cubicBezTo>
                    <a:cubicBezTo>
                      <a:pt x="1134" y="1072"/>
                      <a:pt x="1134" y="1072"/>
                      <a:pt x="1134" y="1072"/>
                    </a:cubicBezTo>
                    <a:cubicBezTo>
                      <a:pt x="1263" y="1071"/>
                      <a:pt x="1263" y="1071"/>
                      <a:pt x="1263" y="1071"/>
                    </a:cubicBezTo>
                    <a:lnTo>
                      <a:pt x="1278" y="976"/>
                    </a:lnTo>
                    <a:close/>
                    <a:moveTo>
                      <a:pt x="659" y="1788"/>
                    </a:moveTo>
                    <a:cubicBezTo>
                      <a:pt x="591" y="1726"/>
                      <a:pt x="591" y="1726"/>
                      <a:pt x="591" y="1726"/>
                    </a:cubicBezTo>
                    <a:cubicBezTo>
                      <a:pt x="696" y="1661"/>
                      <a:pt x="696" y="1661"/>
                      <a:pt x="696" y="1661"/>
                    </a:cubicBezTo>
                    <a:cubicBezTo>
                      <a:pt x="766" y="1725"/>
                      <a:pt x="766" y="1725"/>
                      <a:pt x="766" y="1725"/>
                    </a:cubicBezTo>
                    <a:lnTo>
                      <a:pt x="659" y="1788"/>
                    </a:lnTo>
                    <a:close/>
                    <a:moveTo>
                      <a:pt x="614" y="1728"/>
                    </a:moveTo>
                    <a:cubicBezTo>
                      <a:pt x="660" y="1771"/>
                      <a:pt x="660" y="1771"/>
                      <a:pt x="660" y="1771"/>
                    </a:cubicBezTo>
                    <a:cubicBezTo>
                      <a:pt x="743" y="1723"/>
                      <a:pt x="743" y="1723"/>
                      <a:pt x="743" y="1723"/>
                    </a:cubicBezTo>
                    <a:cubicBezTo>
                      <a:pt x="694" y="1678"/>
                      <a:pt x="694" y="1678"/>
                      <a:pt x="694" y="1678"/>
                    </a:cubicBezTo>
                    <a:lnTo>
                      <a:pt x="614" y="1728"/>
                    </a:lnTo>
                    <a:close/>
                    <a:moveTo>
                      <a:pt x="597" y="2055"/>
                    </a:moveTo>
                    <a:cubicBezTo>
                      <a:pt x="643" y="1880"/>
                      <a:pt x="643" y="1880"/>
                      <a:pt x="643" y="1880"/>
                    </a:cubicBezTo>
                    <a:cubicBezTo>
                      <a:pt x="804" y="2043"/>
                      <a:pt x="804" y="2043"/>
                      <a:pt x="804" y="2043"/>
                    </a:cubicBezTo>
                    <a:lnTo>
                      <a:pt x="597" y="2055"/>
                    </a:lnTo>
                    <a:close/>
                    <a:moveTo>
                      <a:pt x="616" y="2040"/>
                    </a:moveTo>
                    <a:cubicBezTo>
                      <a:pt x="772" y="2031"/>
                      <a:pt x="772" y="2031"/>
                      <a:pt x="772" y="2031"/>
                    </a:cubicBezTo>
                    <a:cubicBezTo>
                      <a:pt x="651" y="1908"/>
                      <a:pt x="651" y="1908"/>
                      <a:pt x="651" y="1908"/>
                    </a:cubicBezTo>
                    <a:lnTo>
                      <a:pt x="616" y="2040"/>
                    </a:lnTo>
                    <a:close/>
                    <a:moveTo>
                      <a:pt x="1782" y="1352"/>
                    </a:moveTo>
                    <a:cubicBezTo>
                      <a:pt x="1798" y="1358"/>
                      <a:pt x="1855" y="1354"/>
                      <a:pt x="1882" y="1369"/>
                    </a:cubicBezTo>
                    <a:cubicBezTo>
                      <a:pt x="1893" y="1374"/>
                      <a:pt x="1899" y="1381"/>
                      <a:pt x="1899" y="1390"/>
                    </a:cubicBezTo>
                    <a:cubicBezTo>
                      <a:pt x="1898" y="1405"/>
                      <a:pt x="1883" y="1418"/>
                      <a:pt x="1855" y="1433"/>
                    </a:cubicBezTo>
                    <a:cubicBezTo>
                      <a:pt x="1811" y="1457"/>
                      <a:pt x="1762" y="1460"/>
                      <a:pt x="1740" y="1468"/>
                    </a:cubicBezTo>
                    <a:cubicBezTo>
                      <a:pt x="1717" y="1476"/>
                      <a:pt x="1707" y="1484"/>
                      <a:pt x="1696" y="1510"/>
                    </a:cubicBezTo>
                    <a:cubicBezTo>
                      <a:pt x="1684" y="1539"/>
                      <a:pt x="1656" y="1557"/>
                      <a:pt x="1656" y="1557"/>
                    </a:cubicBezTo>
                    <a:cubicBezTo>
                      <a:pt x="1654" y="1558"/>
                      <a:pt x="1654" y="1558"/>
                      <a:pt x="1654" y="1558"/>
                    </a:cubicBezTo>
                    <a:cubicBezTo>
                      <a:pt x="1653" y="1558"/>
                      <a:pt x="1653" y="1558"/>
                      <a:pt x="1653" y="1558"/>
                    </a:cubicBezTo>
                    <a:cubicBezTo>
                      <a:pt x="1636" y="1553"/>
                      <a:pt x="1631" y="1535"/>
                      <a:pt x="1631" y="1516"/>
                    </a:cubicBezTo>
                    <a:cubicBezTo>
                      <a:pt x="1631" y="1496"/>
                      <a:pt x="1636" y="1474"/>
                      <a:pt x="1643" y="1455"/>
                    </a:cubicBezTo>
                    <a:cubicBezTo>
                      <a:pt x="1657" y="1418"/>
                      <a:pt x="1683" y="1411"/>
                      <a:pt x="1691" y="1394"/>
                    </a:cubicBezTo>
                    <a:cubicBezTo>
                      <a:pt x="1693" y="1389"/>
                      <a:pt x="1694" y="1385"/>
                      <a:pt x="1694" y="1380"/>
                    </a:cubicBezTo>
                    <a:cubicBezTo>
                      <a:pt x="1694" y="1366"/>
                      <a:pt x="1685" y="1350"/>
                      <a:pt x="1677" y="1341"/>
                    </a:cubicBezTo>
                    <a:cubicBezTo>
                      <a:pt x="1673" y="1336"/>
                      <a:pt x="1670" y="1331"/>
                      <a:pt x="1671" y="1326"/>
                    </a:cubicBezTo>
                    <a:cubicBezTo>
                      <a:pt x="1671" y="1314"/>
                      <a:pt x="1680" y="1304"/>
                      <a:pt x="1689" y="1293"/>
                    </a:cubicBezTo>
                    <a:cubicBezTo>
                      <a:pt x="1703" y="1277"/>
                      <a:pt x="1741" y="1262"/>
                      <a:pt x="1744" y="1248"/>
                    </a:cubicBezTo>
                    <a:cubicBezTo>
                      <a:pt x="1749" y="1231"/>
                      <a:pt x="1754" y="1193"/>
                      <a:pt x="1798" y="1189"/>
                    </a:cubicBezTo>
                    <a:cubicBezTo>
                      <a:pt x="1800" y="1189"/>
                      <a:pt x="1801" y="1189"/>
                      <a:pt x="1802" y="1189"/>
                    </a:cubicBezTo>
                    <a:cubicBezTo>
                      <a:pt x="1836" y="1190"/>
                      <a:pt x="1844" y="1230"/>
                      <a:pt x="1844" y="1254"/>
                    </a:cubicBezTo>
                    <a:cubicBezTo>
                      <a:pt x="1844" y="1261"/>
                      <a:pt x="1843" y="1267"/>
                      <a:pt x="1842" y="1271"/>
                    </a:cubicBezTo>
                    <a:cubicBezTo>
                      <a:pt x="1835" y="1294"/>
                      <a:pt x="1788" y="1291"/>
                      <a:pt x="1768" y="1306"/>
                    </a:cubicBezTo>
                    <a:cubicBezTo>
                      <a:pt x="1762" y="1310"/>
                      <a:pt x="1760" y="1315"/>
                      <a:pt x="1760" y="1321"/>
                    </a:cubicBezTo>
                    <a:cubicBezTo>
                      <a:pt x="1760" y="1333"/>
                      <a:pt x="1772" y="1348"/>
                      <a:pt x="1782" y="1352"/>
                    </a:cubicBezTo>
                    <a:close/>
                    <a:moveTo>
                      <a:pt x="1879" y="1376"/>
                    </a:moveTo>
                    <a:cubicBezTo>
                      <a:pt x="1855" y="1363"/>
                      <a:pt x="1799" y="1367"/>
                      <a:pt x="1779" y="1360"/>
                    </a:cubicBezTo>
                    <a:cubicBezTo>
                      <a:pt x="1765" y="1354"/>
                      <a:pt x="1752" y="1337"/>
                      <a:pt x="1752" y="1321"/>
                    </a:cubicBezTo>
                    <a:cubicBezTo>
                      <a:pt x="1752" y="1313"/>
                      <a:pt x="1755" y="1305"/>
                      <a:pt x="1763" y="1299"/>
                    </a:cubicBezTo>
                    <a:cubicBezTo>
                      <a:pt x="1787" y="1284"/>
                      <a:pt x="1834" y="1281"/>
                      <a:pt x="1834" y="1269"/>
                    </a:cubicBezTo>
                    <a:cubicBezTo>
                      <a:pt x="1835" y="1266"/>
                      <a:pt x="1836" y="1260"/>
                      <a:pt x="1836" y="1254"/>
                    </a:cubicBezTo>
                    <a:cubicBezTo>
                      <a:pt x="1836" y="1243"/>
                      <a:pt x="1834" y="1228"/>
                      <a:pt x="1828" y="1216"/>
                    </a:cubicBezTo>
                    <a:cubicBezTo>
                      <a:pt x="1823" y="1205"/>
                      <a:pt x="1815" y="1197"/>
                      <a:pt x="1802" y="1197"/>
                    </a:cubicBezTo>
                    <a:cubicBezTo>
                      <a:pt x="1801" y="1197"/>
                      <a:pt x="1800" y="1197"/>
                      <a:pt x="1799" y="1197"/>
                    </a:cubicBezTo>
                    <a:cubicBezTo>
                      <a:pt x="1761" y="1201"/>
                      <a:pt x="1758" y="1232"/>
                      <a:pt x="1752" y="1250"/>
                    </a:cubicBezTo>
                    <a:cubicBezTo>
                      <a:pt x="1744" y="1272"/>
                      <a:pt x="1706" y="1284"/>
                      <a:pt x="1695" y="1298"/>
                    </a:cubicBezTo>
                    <a:cubicBezTo>
                      <a:pt x="1686" y="1309"/>
                      <a:pt x="1678" y="1319"/>
                      <a:pt x="1679" y="1326"/>
                    </a:cubicBezTo>
                    <a:cubicBezTo>
                      <a:pt x="1679" y="1329"/>
                      <a:pt x="1680" y="1332"/>
                      <a:pt x="1683" y="1335"/>
                    </a:cubicBezTo>
                    <a:cubicBezTo>
                      <a:pt x="1692" y="1346"/>
                      <a:pt x="1702" y="1363"/>
                      <a:pt x="1702" y="1380"/>
                    </a:cubicBezTo>
                    <a:cubicBezTo>
                      <a:pt x="1702" y="1386"/>
                      <a:pt x="1701" y="1392"/>
                      <a:pt x="1698" y="1397"/>
                    </a:cubicBezTo>
                    <a:cubicBezTo>
                      <a:pt x="1687" y="1419"/>
                      <a:pt x="1664" y="1424"/>
                      <a:pt x="1651" y="1458"/>
                    </a:cubicBezTo>
                    <a:cubicBezTo>
                      <a:pt x="1644" y="1476"/>
                      <a:pt x="1639" y="1498"/>
                      <a:pt x="1639" y="1516"/>
                    </a:cubicBezTo>
                    <a:cubicBezTo>
                      <a:pt x="1639" y="1534"/>
                      <a:pt x="1644" y="1546"/>
                      <a:pt x="1653" y="1549"/>
                    </a:cubicBezTo>
                    <a:cubicBezTo>
                      <a:pt x="1659" y="1545"/>
                      <a:pt x="1679" y="1529"/>
                      <a:pt x="1688" y="1507"/>
                    </a:cubicBezTo>
                    <a:cubicBezTo>
                      <a:pt x="1699" y="1479"/>
                      <a:pt x="1713" y="1468"/>
                      <a:pt x="1737" y="1460"/>
                    </a:cubicBezTo>
                    <a:cubicBezTo>
                      <a:pt x="1761" y="1451"/>
                      <a:pt x="1808" y="1449"/>
                      <a:pt x="1851" y="1426"/>
                    </a:cubicBezTo>
                    <a:cubicBezTo>
                      <a:pt x="1879" y="1412"/>
                      <a:pt x="1891" y="1398"/>
                      <a:pt x="1891" y="1390"/>
                    </a:cubicBezTo>
                    <a:cubicBezTo>
                      <a:pt x="1891" y="1385"/>
                      <a:pt x="1888" y="1381"/>
                      <a:pt x="1879" y="1376"/>
                    </a:cubicBezTo>
                    <a:close/>
                    <a:moveTo>
                      <a:pt x="716" y="1846"/>
                    </a:moveTo>
                    <a:cubicBezTo>
                      <a:pt x="817" y="1776"/>
                      <a:pt x="817" y="1776"/>
                      <a:pt x="817" y="1776"/>
                    </a:cubicBezTo>
                    <a:cubicBezTo>
                      <a:pt x="890" y="1844"/>
                      <a:pt x="890" y="1844"/>
                      <a:pt x="890" y="1844"/>
                    </a:cubicBezTo>
                    <a:cubicBezTo>
                      <a:pt x="966" y="1778"/>
                      <a:pt x="966" y="1778"/>
                      <a:pt x="966" y="1778"/>
                    </a:cubicBezTo>
                    <a:cubicBezTo>
                      <a:pt x="1029" y="1860"/>
                      <a:pt x="1029" y="1860"/>
                      <a:pt x="1029" y="1860"/>
                    </a:cubicBezTo>
                    <a:cubicBezTo>
                      <a:pt x="878" y="2003"/>
                      <a:pt x="878" y="2003"/>
                      <a:pt x="878" y="2003"/>
                    </a:cubicBezTo>
                    <a:lnTo>
                      <a:pt x="716" y="1846"/>
                    </a:lnTo>
                    <a:close/>
                    <a:moveTo>
                      <a:pt x="815" y="1794"/>
                    </a:moveTo>
                    <a:cubicBezTo>
                      <a:pt x="738" y="1848"/>
                      <a:pt x="738" y="1848"/>
                      <a:pt x="738" y="1848"/>
                    </a:cubicBezTo>
                    <a:cubicBezTo>
                      <a:pt x="878" y="1984"/>
                      <a:pt x="878" y="1984"/>
                      <a:pt x="878" y="1984"/>
                    </a:cubicBezTo>
                    <a:cubicBezTo>
                      <a:pt x="1010" y="1859"/>
                      <a:pt x="1010" y="1859"/>
                      <a:pt x="1010" y="1859"/>
                    </a:cubicBezTo>
                    <a:cubicBezTo>
                      <a:pt x="964" y="1799"/>
                      <a:pt x="964" y="1799"/>
                      <a:pt x="964" y="1799"/>
                    </a:cubicBezTo>
                    <a:cubicBezTo>
                      <a:pt x="899" y="1854"/>
                      <a:pt x="899" y="1854"/>
                      <a:pt x="899" y="1854"/>
                    </a:cubicBezTo>
                    <a:cubicBezTo>
                      <a:pt x="890" y="1862"/>
                      <a:pt x="890" y="1862"/>
                      <a:pt x="890" y="1862"/>
                    </a:cubicBezTo>
                    <a:cubicBezTo>
                      <a:pt x="881" y="1854"/>
                      <a:pt x="881" y="1854"/>
                      <a:pt x="881" y="1854"/>
                    </a:cubicBezTo>
                    <a:lnTo>
                      <a:pt x="815" y="1794"/>
                    </a:lnTo>
                    <a:close/>
                    <a:moveTo>
                      <a:pt x="2595" y="1023"/>
                    </a:moveTo>
                    <a:cubicBezTo>
                      <a:pt x="2621" y="1104"/>
                      <a:pt x="2621" y="1104"/>
                      <a:pt x="2621" y="1104"/>
                    </a:cubicBezTo>
                    <a:cubicBezTo>
                      <a:pt x="2443" y="1174"/>
                      <a:pt x="2443" y="1174"/>
                      <a:pt x="2443" y="1174"/>
                    </a:cubicBezTo>
                    <a:cubicBezTo>
                      <a:pt x="2310" y="912"/>
                      <a:pt x="2310" y="912"/>
                      <a:pt x="2310" y="912"/>
                    </a:cubicBezTo>
                    <a:cubicBezTo>
                      <a:pt x="2369" y="869"/>
                      <a:pt x="2369" y="869"/>
                      <a:pt x="2369" y="869"/>
                    </a:cubicBezTo>
                    <a:cubicBezTo>
                      <a:pt x="2511" y="1048"/>
                      <a:pt x="2511" y="1048"/>
                      <a:pt x="2511" y="1048"/>
                    </a:cubicBezTo>
                    <a:lnTo>
                      <a:pt x="2595" y="1023"/>
                    </a:lnTo>
                    <a:close/>
                    <a:moveTo>
                      <a:pt x="2603" y="1096"/>
                    </a:moveTo>
                    <a:cubicBezTo>
                      <a:pt x="2586" y="1040"/>
                      <a:pt x="2586" y="1040"/>
                      <a:pt x="2586" y="1040"/>
                    </a:cubicBezTo>
                    <a:cubicBezTo>
                      <a:pt x="2515" y="1061"/>
                      <a:pt x="2515" y="1061"/>
                      <a:pt x="2515" y="1061"/>
                    </a:cubicBezTo>
                    <a:cubicBezTo>
                      <a:pt x="2506" y="1064"/>
                      <a:pt x="2506" y="1064"/>
                      <a:pt x="2506" y="1064"/>
                    </a:cubicBezTo>
                    <a:cubicBezTo>
                      <a:pt x="2500" y="1056"/>
                      <a:pt x="2500" y="1056"/>
                      <a:pt x="2500" y="1056"/>
                    </a:cubicBezTo>
                    <a:cubicBezTo>
                      <a:pt x="2367" y="888"/>
                      <a:pt x="2367" y="888"/>
                      <a:pt x="2367" y="888"/>
                    </a:cubicBezTo>
                    <a:cubicBezTo>
                      <a:pt x="2328" y="917"/>
                      <a:pt x="2328" y="917"/>
                      <a:pt x="2328" y="917"/>
                    </a:cubicBezTo>
                    <a:cubicBezTo>
                      <a:pt x="2450" y="1156"/>
                      <a:pt x="2450" y="1156"/>
                      <a:pt x="2450" y="1156"/>
                    </a:cubicBezTo>
                    <a:lnTo>
                      <a:pt x="2603" y="1096"/>
                    </a:lnTo>
                    <a:close/>
                    <a:moveTo>
                      <a:pt x="1155" y="1491"/>
                    </a:moveTo>
                    <a:cubicBezTo>
                      <a:pt x="1295" y="1602"/>
                      <a:pt x="1295" y="1602"/>
                      <a:pt x="1295" y="1602"/>
                    </a:cubicBezTo>
                    <a:cubicBezTo>
                      <a:pt x="1241" y="1670"/>
                      <a:pt x="1241" y="1670"/>
                      <a:pt x="1241" y="1670"/>
                    </a:cubicBezTo>
                    <a:cubicBezTo>
                      <a:pt x="1103" y="1559"/>
                      <a:pt x="1103" y="1559"/>
                      <a:pt x="1103" y="1559"/>
                    </a:cubicBezTo>
                    <a:lnTo>
                      <a:pt x="1155" y="1491"/>
                    </a:lnTo>
                    <a:close/>
                    <a:moveTo>
                      <a:pt x="1157" y="1511"/>
                    </a:moveTo>
                    <a:cubicBezTo>
                      <a:pt x="1123" y="1556"/>
                      <a:pt x="1123" y="1556"/>
                      <a:pt x="1123" y="1556"/>
                    </a:cubicBezTo>
                    <a:cubicBezTo>
                      <a:pt x="1238" y="1650"/>
                      <a:pt x="1238" y="1650"/>
                      <a:pt x="1238" y="1650"/>
                    </a:cubicBezTo>
                    <a:cubicBezTo>
                      <a:pt x="1275" y="1604"/>
                      <a:pt x="1275" y="1604"/>
                      <a:pt x="1275" y="1604"/>
                    </a:cubicBezTo>
                    <a:lnTo>
                      <a:pt x="1157" y="1511"/>
                    </a:lnTo>
                    <a:close/>
                    <a:moveTo>
                      <a:pt x="1063" y="1960"/>
                    </a:moveTo>
                    <a:cubicBezTo>
                      <a:pt x="1479" y="1564"/>
                      <a:pt x="1479" y="1564"/>
                      <a:pt x="1479" y="1564"/>
                    </a:cubicBezTo>
                    <a:cubicBezTo>
                      <a:pt x="1542" y="1697"/>
                      <a:pt x="1542" y="1697"/>
                      <a:pt x="1542" y="1697"/>
                    </a:cubicBezTo>
                    <a:cubicBezTo>
                      <a:pt x="1052" y="2024"/>
                      <a:pt x="1052" y="2024"/>
                      <a:pt x="1052" y="2024"/>
                    </a:cubicBezTo>
                    <a:lnTo>
                      <a:pt x="1063" y="1960"/>
                    </a:lnTo>
                    <a:close/>
                    <a:moveTo>
                      <a:pt x="1071" y="1994"/>
                    </a:moveTo>
                    <a:cubicBezTo>
                      <a:pt x="1524" y="1692"/>
                      <a:pt x="1524" y="1692"/>
                      <a:pt x="1524" y="1692"/>
                    </a:cubicBezTo>
                    <a:cubicBezTo>
                      <a:pt x="1475" y="1588"/>
                      <a:pt x="1475" y="1588"/>
                      <a:pt x="1475" y="1588"/>
                    </a:cubicBezTo>
                    <a:cubicBezTo>
                      <a:pt x="1076" y="1967"/>
                      <a:pt x="1076" y="1967"/>
                      <a:pt x="1076" y="1967"/>
                    </a:cubicBezTo>
                    <a:lnTo>
                      <a:pt x="1071" y="1994"/>
                    </a:lnTo>
                    <a:close/>
                    <a:moveTo>
                      <a:pt x="7645" y="4923"/>
                    </a:moveTo>
                    <a:cubicBezTo>
                      <a:pt x="7447" y="4908"/>
                      <a:pt x="7447" y="4908"/>
                      <a:pt x="7447" y="4908"/>
                    </a:cubicBezTo>
                    <a:cubicBezTo>
                      <a:pt x="7448" y="4902"/>
                      <a:pt x="7448" y="4902"/>
                      <a:pt x="7448" y="4902"/>
                    </a:cubicBezTo>
                    <a:cubicBezTo>
                      <a:pt x="7453" y="4833"/>
                      <a:pt x="7453" y="4833"/>
                      <a:pt x="7453" y="4833"/>
                    </a:cubicBezTo>
                    <a:cubicBezTo>
                      <a:pt x="7529" y="4839"/>
                      <a:pt x="7529" y="4839"/>
                      <a:pt x="7529" y="4839"/>
                    </a:cubicBezTo>
                    <a:cubicBezTo>
                      <a:pt x="7535" y="4766"/>
                      <a:pt x="7535" y="4766"/>
                      <a:pt x="7535" y="4766"/>
                    </a:cubicBezTo>
                    <a:cubicBezTo>
                      <a:pt x="7676" y="4779"/>
                      <a:pt x="7676" y="4779"/>
                      <a:pt x="7676" y="4779"/>
                    </a:cubicBezTo>
                    <a:cubicBezTo>
                      <a:pt x="7667" y="4875"/>
                      <a:pt x="7667" y="4875"/>
                      <a:pt x="7667" y="4875"/>
                    </a:cubicBezTo>
                    <a:cubicBezTo>
                      <a:pt x="7649" y="4873"/>
                      <a:pt x="7649" y="4873"/>
                      <a:pt x="7649" y="4873"/>
                    </a:cubicBezTo>
                    <a:lnTo>
                      <a:pt x="7645" y="4923"/>
                    </a:lnTo>
                    <a:close/>
                    <a:moveTo>
                      <a:pt x="7637" y="4859"/>
                    </a:moveTo>
                    <a:cubicBezTo>
                      <a:pt x="7655" y="4861"/>
                      <a:pt x="7655" y="4861"/>
                      <a:pt x="7655" y="4861"/>
                    </a:cubicBezTo>
                    <a:cubicBezTo>
                      <a:pt x="7662" y="4790"/>
                      <a:pt x="7662" y="4790"/>
                      <a:pt x="7662" y="4790"/>
                    </a:cubicBezTo>
                    <a:cubicBezTo>
                      <a:pt x="7547" y="4781"/>
                      <a:pt x="7547" y="4781"/>
                      <a:pt x="7547" y="4781"/>
                    </a:cubicBezTo>
                    <a:cubicBezTo>
                      <a:pt x="7541" y="4853"/>
                      <a:pt x="7541" y="4853"/>
                      <a:pt x="7541" y="4853"/>
                    </a:cubicBezTo>
                    <a:cubicBezTo>
                      <a:pt x="7465" y="4847"/>
                      <a:pt x="7465" y="4847"/>
                      <a:pt x="7465" y="4847"/>
                    </a:cubicBezTo>
                    <a:cubicBezTo>
                      <a:pt x="7461" y="4896"/>
                      <a:pt x="7461" y="4896"/>
                      <a:pt x="7461" y="4896"/>
                    </a:cubicBezTo>
                    <a:cubicBezTo>
                      <a:pt x="7633" y="4909"/>
                      <a:pt x="7633" y="4909"/>
                      <a:pt x="7633" y="4909"/>
                    </a:cubicBezTo>
                    <a:lnTo>
                      <a:pt x="7637" y="4859"/>
                    </a:lnTo>
                    <a:close/>
                    <a:moveTo>
                      <a:pt x="5039" y="1260"/>
                    </a:moveTo>
                    <a:cubicBezTo>
                      <a:pt x="4941" y="1260"/>
                      <a:pt x="4941" y="1260"/>
                      <a:pt x="4941" y="1260"/>
                    </a:cubicBezTo>
                    <a:cubicBezTo>
                      <a:pt x="4942" y="1112"/>
                      <a:pt x="4942" y="1112"/>
                      <a:pt x="4942" y="1112"/>
                    </a:cubicBezTo>
                    <a:cubicBezTo>
                      <a:pt x="5047" y="1112"/>
                      <a:pt x="5047" y="1112"/>
                      <a:pt x="5047" y="1112"/>
                    </a:cubicBezTo>
                    <a:cubicBezTo>
                      <a:pt x="5046" y="1260"/>
                      <a:pt x="5046" y="1260"/>
                      <a:pt x="5046" y="1260"/>
                    </a:cubicBezTo>
                    <a:lnTo>
                      <a:pt x="5039" y="1260"/>
                    </a:lnTo>
                    <a:close/>
                    <a:moveTo>
                      <a:pt x="5034" y="1125"/>
                    </a:moveTo>
                    <a:cubicBezTo>
                      <a:pt x="4955" y="1125"/>
                      <a:pt x="4955" y="1125"/>
                      <a:pt x="4955" y="1125"/>
                    </a:cubicBezTo>
                    <a:cubicBezTo>
                      <a:pt x="4954" y="1247"/>
                      <a:pt x="4954" y="1247"/>
                      <a:pt x="4954" y="1247"/>
                    </a:cubicBezTo>
                    <a:cubicBezTo>
                      <a:pt x="5033" y="1247"/>
                      <a:pt x="5033" y="1247"/>
                      <a:pt x="5033" y="1247"/>
                    </a:cubicBezTo>
                    <a:lnTo>
                      <a:pt x="5034" y="1125"/>
                    </a:lnTo>
                    <a:close/>
                    <a:moveTo>
                      <a:pt x="2476" y="915"/>
                    </a:moveTo>
                    <a:cubicBezTo>
                      <a:pt x="2662" y="864"/>
                      <a:pt x="2662" y="864"/>
                      <a:pt x="2662" y="864"/>
                    </a:cubicBezTo>
                    <a:cubicBezTo>
                      <a:pt x="2927" y="1239"/>
                      <a:pt x="2927" y="1239"/>
                      <a:pt x="2927" y="1239"/>
                    </a:cubicBezTo>
                    <a:cubicBezTo>
                      <a:pt x="2928" y="1239"/>
                      <a:pt x="2711" y="1197"/>
                      <a:pt x="2711" y="1197"/>
                    </a:cubicBezTo>
                    <a:cubicBezTo>
                      <a:pt x="2630" y="975"/>
                      <a:pt x="2630" y="975"/>
                      <a:pt x="2630" y="975"/>
                    </a:cubicBezTo>
                    <a:cubicBezTo>
                      <a:pt x="2542" y="996"/>
                      <a:pt x="2542" y="996"/>
                      <a:pt x="2542" y="996"/>
                    </a:cubicBezTo>
                    <a:lnTo>
                      <a:pt x="2476" y="915"/>
                    </a:lnTo>
                    <a:close/>
                    <a:moveTo>
                      <a:pt x="2656" y="880"/>
                    </a:moveTo>
                    <a:cubicBezTo>
                      <a:pt x="2500" y="923"/>
                      <a:pt x="2500" y="923"/>
                      <a:pt x="2500" y="923"/>
                    </a:cubicBezTo>
                    <a:cubicBezTo>
                      <a:pt x="2547" y="981"/>
                      <a:pt x="2547" y="981"/>
                      <a:pt x="2547" y="981"/>
                    </a:cubicBezTo>
                    <a:cubicBezTo>
                      <a:pt x="2626" y="961"/>
                      <a:pt x="2626" y="961"/>
                      <a:pt x="2626" y="961"/>
                    </a:cubicBezTo>
                    <a:cubicBezTo>
                      <a:pt x="2639" y="958"/>
                      <a:pt x="2639" y="958"/>
                      <a:pt x="2639" y="958"/>
                    </a:cubicBezTo>
                    <a:cubicBezTo>
                      <a:pt x="2643" y="970"/>
                      <a:pt x="2643" y="970"/>
                      <a:pt x="2643" y="970"/>
                    </a:cubicBezTo>
                    <a:cubicBezTo>
                      <a:pt x="2721" y="1185"/>
                      <a:pt x="2721" y="1185"/>
                      <a:pt x="2721" y="1185"/>
                    </a:cubicBezTo>
                    <a:cubicBezTo>
                      <a:pt x="2815" y="1203"/>
                      <a:pt x="2867" y="1213"/>
                      <a:pt x="2895" y="1219"/>
                    </a:cubicBezTo>
                    <a:lnTo>
                      <a:pt x="2656" y="880"/>
                    </a:lnTo>
                    <a:close/>
                    <a:moveTo>
                      <a:pt x="5442" y="1129"/>
                    </a:moveTo>
                    <a:cubicBezTo>
                      <a:pt x="5591" y="1155"/>
                      <a:pt x="5591" y="1155"/>
                      <a:pt x="5591" y="1155"/>
                    </a:cubicBezTo>
                    <a:cubicBezTo>
                      <a:pt x="5579" y="1225"/>
                      <a:pt x="5579" y="1225"/>
                      <a:pt x="5579" y="1225"/>
                    </a:cubicBezTo>
                    <a:cubicBezTo>
                      <a:pt x="5572" y="1224"/>
                      <a:pt x="5572" y="1224"/>
                      <a:pt x="5572" y="1224"/>
                    </a:cubicBezTo>
                    <a:cubicBezTo>
                      <a:pt x="5430" y="1199"/>
                      <a:pt x="5430" y="1199"/>
                      <a:pt x="5430" y="1199"/>
                    </a:cubicBezTo>
                    <a:lnTo>
                      <a:pt x="5442" y="1129"/>
                    </a:lnTo>
                    <a:close/>
                    <a:moveTo>
                      <a:pt x="5445" y="1189"/>
                    </a:moveTo>
                    <a:cubicBezTo>
                      <a:pt x="5568" y="1210"/>
                      <a:pt x="5568" y="1210"/>
                      <a:pt x="5568" y="1210"/>
                    </a:cubicBezTo>
                    <a:cubicBezTo>
                      <a:pt x="5576" y="1165"/>
                      <a:pt x="5576" y="1165"/>
                      <a:pt x="5576" y="1165"/>
                    </a:cubicBezTo>
                    <a:cubicBezTo>
                      <a:pt x="5452" y="1143"/>
                      <a:pt x="5452" y="1143"/>
                      <a:pt x="5452" y="1143"/>
                    </a:cubicBezTo>
                    <a:lnTo>
                      <a:pt x="5445" y="1189"/>
                    </a:lnTo>
                    <a:close/>
                    <a:moveTo>
                      <a:pt x="2247" y="1071"/>
                    </a:moveTo>
                    <a:cubicBezTo>
                      <a:pt x="2270" y="1115"/>
                      <a:pt x="2270" y="1115"/>
                      <a:pt x="2270" y="1115"/>
                    </a:cubicBezTo>
                    <a:cubicBezTo>
                      <a:pt x="2294" y="1106"/>
                      <a:pt x="2294" y="1106"/>
                      <a:pt x="2294" y="1106"/>
                    </a:cubicBezTo>
                    <a:cubicBezTo>
                      <a:pt x="2347" y="1213"/>
                      <a:pt x="2347" y="1213"/>
                      <a:pt x="2347" y="1213"/>
                    </a:cubicBezTo>
                    <a:cubicBezTo>
                      <a:pt x="2072" y="1347"/>
                      <a:pt x="2072" y="1347"/>
                      <a:pt x="2072" y="1347"/>
                    </a:cubicBezTo>
                    <a:cubicBezTo>
                      <a:pt x="2019" y="1235"/>
                      <a:pt x="2019" y="1235"/>
                      <a:pt x="2019" y="1235"/>
                    </a:cubicBezTo>
                    <a:cubicBezTo>
                      <a:pt x="2136" y="1181"/>
                      <a:pt x="2136" y="1181"/>
                      <a:pt x="2136" y="1181"/>
                    </a:cubicBezTo>
                    <a:cubicBezTo>
                      <a:pt x="2129" y="1152"/>
                      <a:pt x="2129" y="1152"/>
                      <a:pt x="2129" y="1152"/>
                    </a:cubicBezTo>
                    <a:cubicBezTo>
                      <a:pt x="2143" y="1142"/>
                      <a:pt x="2143" y="1142"/>
                      <a:pt x="2143" y="1142"/>
                    </a:cubicBezTo>
                    <a:cubicBezTo>
                      <a:pt x="2117" y="1094"/>
                      <a:pt x="2117" y="1094"/>
                      <a:pt x="2117" y="1094"/>
                    </a:cubicBezTo>
                    <a:cubicBezTo>
                      <a:pt x="2147" y="1075"/>
                      <a:pt x="2147" y="1075"/>
                      <a:pt x="2147" y="1075"/>
                    </a:cubicBezTo>
                    <a:cubicBezTo>
                      <a:pt x="2163" y="1110"/>
                      <a:pt x="2163" y="1110"/>
                      <a:pt x="2163" y="1110"/>
                    </a:cubicBezTo>
                    <a:lnTo>
                      <a:pt x="2247" y="1071"/>
                    </a:lnTo>
                    <a:close/>
                    <a:moveTo>
                      <a:pt x="2258" y="1122"/>
                    </a:moveTo>
                    <a:cubicBezTo>
                      <a:pt x="2241" y="1089"/>
                      <a:pt x="2241" y="1089"/>
                      <a:pt x="2241" y="1089"/>
                    </a:cubicBezTo>
                    <a:cubicBezTo>
                      <a:pt x="2169" y="1123"/>
                      <a:pt x="2169" y="1123"/>
                      <a:pt x="2169" y="1123"/>
                    </a:cubicBezTo>
                    <a:cubicBezTo>
                      <a:pt x="2157" y="1129"/>
                      <a:pt x="2157" y="1129"/>
                      <a:pt x="2157" y="1129"/>
                    </a:cubicBezTo>
                    <a:cubicBezTo>
                      <a:pt x="2151" y="1116"/>
                      <a:pt x="2151" y="1116"/>
                      <a:pt x="2151" y="1116"/>
                    </a:cubicBezTo>
                    <a:cubicBezTo>
                      <a:pt x="2141" y="1095"/>
                      <a:pt x="2141" y="1095"/>
                      <a:pt x="2141" y="1095"/>
                    </a:cubicBezTo>
                    <a:cubicBezTo>
                      <a:pt x="2136" y="1099"/>
                      <a:pt x="2136" y="1099"/>
                      <a:pt x="2136" y="1099"/>
                    </a:cubicBezTo>
                    <a:cubicBezTo>
                      <a:pt x="2155" y="1135"/>
                      <a:pt x="2155" y="1135"/>
                      <a:pt x="2155" y="1135"/>
                    </a:cubicBezTo>
                    <a:cubicBezTo>
                      <a:pt x="2161" y="1146"/>
                      <a:pt x="2161" y="1146"/>
                      <a:pt x="2161" y="1146"/>
                    </a:cubicBezTo>
                    <a:cubicBezTo>
                      <a:pt x="2151" y="1153"/>
                      <a:pt x="2151" y="1153"/>
                      <a:pt x="2151" y="1153"/>
                    </a:cubicBezTo>
                    <a:cubicBezTo>
                      <a:pt x="2144" y="1158"/>
                      <a:pt x="2144" y="1158"/>
                      <a:pt x="2144" y="1158"/>
                    </a:cubicBezTo>
                    <a:cubicBezTo>
                      <a:pt x="2149" y="1178"/>
                      <a:pt x="2149" y="1178"/>
                      <a:pt x="2149" y="1178"/>
                    </a:cubicBezTo>
                    <a:cubicBezTo>
                      <a:pt x="2152" y="1189"/>
                      <a:pt x="2152" y="1189"/>
                      <a:pt x="2152" y="1189"/>
                    </a:cubicBezTo>
                    <a:cubicBezTo>
                      <a:pt x="2142" y="1194"/>
                      <a:pt x="2142" y="1194"/>
                      <a:pt x="2142" y="1194"/>
                    </a:cubicBezTo>
                    <a:cubicBezTo>
                      <a:pt x="2038" y="1242"/>
                      <a:pt x="2038" y="1242"/>
                      <a:pt x="2038" y="1242"/>
                    </a:cubicBezTo>
                    <a:cubicBezTo>
                      <a:pt x="2079" y="1328"/>
                      <a:pt x="2079" y="1328"/>
                      <a:pt x="2079" y="1328"/>
                    </a:cubicBezTo>
                    <a:cubicBezTo>
                      <a:pt x="2328" y="1206"/>
                      <a:pt x="2328" y="1206"/>
                      <a:pt x="2328" y="1206"/>
                    </a:cubicBezTo>
                    <a:cubicBezTo>
                      <a:pt x="2287" y="1124"/>
                      <a:pt x="2287" y="1124"/>
                      <a:pt x="2287" y="1124"/>
                    </a:cubicBezTo>
                    <a:cubicBezTo>
                      <a:pt x="2275" y="1128"/>
                      <a:pt x="2275" y="1128"/>
                      <a:pt x="2275" y="1128"/>
                    </a:cubicBezTo>
                    <a:cubicBezTo>
                      <a:pt x="2263" y="1133"/>
                      <a:pt x="2263" y="1133"/>
                      <a:pt x="2263" y="1133"/>
                    </a:cubicBezTo>
                    <a:lnTo>
                      <a:pt x="2258" y="1122"/>
                    </a:lnTo>
                    <a:close/>
                    <a:moveTo>
                      <a:pt x="1147" y="1434"/>
                    </a:moveTo>
                    <a:cubicBezTo>
                      <a:pt x="1092" y="1502"/>
                      <a:pt x="1092" y="1502"/>
                      <a:pt x="1092" y="1502"/>
                    </a:cubicBezTo>
                    <a:cubicBezTo>
                      <a:pt x="955" y="1391"/>
                      <a:pt x="955" y="1391"/>
                      <a:pt x="955" y="1391"/>
                    </a:cubicBezTo>
                    <a:cubicBezTo>
                      <a:pt x="1007" y="1324"/>
                      <a:pt x="1007" y="1324"/>
                      <a:pt x="1007" y="1324"/>
                    </a:cubicBezTo>
                    <a:lnTo>
                      <a:pt x="1147" y="1434"/>
                    </a:lnTo>
                    <a:close/>
                    <a:moveTo>
                      <a:pt x="1127" y="1436"/>
                    </a:moveTo>
                    <a:cubicBezTo>
                      <a:pt x="1009" y="1343"/>
                      <a:pt x="1009" y="1343"/>
                      <a:pt x="1009" y="1343"/>
                    </a:cubicBezTo>
                    <a:cubicBezTo>
                      <a:pt x="975" y="1388"/>
                      <a:pt x="975" y="1388"/>
                      <a:pt x="975" y="1388"/>
                    </a:cubicBezTo>
                    <a:cubicBezTo>
                      <a:pt x="1090" y="1482"/>
                      <a:pt x="1090" y="1482"/>
                      <a:pt x="1090" y="1482"/>
                    </a:cubicBezTo>
                    <a:lnTo>
                      <a:pt x="1127" y="1436"/>
                    </a:lnTo>
                    <a:close/>
                    <a:moveTo>
                      <a:pt x="5348" y="1432"/>
                    </a:moveTo>
                    <a:cubicBezTo>
                      <a:pt x="5392" y="1577"/>
                      <a:pt x="5392" y="1577"/>
                      <a:pt x="5392" y="1577"/>
                    </a:cubicBezTo>
                    <a:cubicBezTo>
                      <a:pt x="5324" y="1598"/>
                      <a:pt x="5324" y="1598"/>
                      <a:pt x="5324" y="1598"/>
                    </a:cubicBezTo>
                    <a:cubicBezTo>
                      <a:pt x="5322" y="1592"/>
                      <a:pt x="5322" y="1592"/>
                      <a:pt x="5322" y="1592"/>
                    </a:cubicBezTo>
                    <a:cubicBezTo>
                      <a:pt x="5280" y="1453"/>
                      <a:pt x="5280" y="1453"/>
                      <a:pt x="5280" y="1453"/>
                    </a:cubicBezTo>
                    <a:lnTo>
                      <a:pt x="5348" y="1432"/>
                    </a:lnTo>
                    <a:close/>
                    <a:moveTo>
                      <a:pt x="5376" y="1569"/>
                    </a:moveTo>
                    <a:cubicBezTo>
                      <a:pt x="5340" y="1448"/>
                      <a:pt x="5340" y="1448"/>
                      <a:pt x="5340" y="1448"/>
                    </a:cubicBezTo>
                    <a:cubicBezTo>
                      <a:pt x="5296" y="1462"/>
                      <a:pt x="5296" y="1462"/>
                      <a:pt x="5296" y="1462"/>
                    </a:cubicBezTo>
                    <a:cubicBezTo>
                      <a:pt x="5332" y="1582"/>
                      <a:pt x="5332" y="1582"/>
                      <a:pt x="5332" y="1582"/>
                    </a:cubicBezTo>
                    <a:lnTo>
                      <a:pt x="5376" y="1569"/>
                    </a:lnTo>
                    <a:close/>
                    <a:moveTo>
                      <a:pt x="7727" y="4149"/>
                    </a:moveTo>
                    <a:cubicBezTo>
                      <a:pt x="7713" y="4202"/>
                      <a:pt x="7713" y="4202"/>
                      <a:pt x="7713" y="4202"/>
                    </a:cubicBezTo>
                    <a:cubicBezTo>
                      <a:pt x="7720" y="4204"/>
                      <a:pt x="7720" y="4204"/>
                      <a:pt x="7720" y="4204"/>
                    </a:cubicBezTo>
                    <a:cubicBezTo>
                      <a:pt x="7726" y="4206"/>
                      <a:pt x="7726" y="4206"/>
                      <a:pt x="7726" y="4206"/>
                    </a:cubicBezTo>
                    <a:cubicBezTo>
                      <a:pt x="7701" y="4302"/>
                      <a:pt x="7701" y="4302"/>
                      <a:pt x="7701" y="4302"/>
                    </a:cubicBezTo>
                    <a:cubicBezTo>
                      <a:pt x="7695" y="4300"/>
                      <a:pt x="7695" y="4300"/>
                      <a:pt x="7695" y="4300"/>
                    </a:cubicBezTo>
                    <a:cubicBezTo>
                      <a:pt x="7596" y="4275"/>
                      <a:pt x="7596" y="4275"/>
                      <a:pt x="7596" y="4275"/>
                    </a:cubicBezTo>
                    <a:cubicBezTo>
                      <a:pt x="7573" y="4363"/>
                      <a:pt x="7573" y="4363"/>
                      <a:pt x="7573" y="4363"/>
                    </a:cubicBezTo>
                    <a:cubicBezTo>
                      <a:pt x="7429" y="4326"/>
                      <a:pt x="7429" y="4326"/>
                      <a:pt x="7429" y="4326"/>
                    </a:cubicBezTo>
                    <a:cubicBezTo>
                      <a:pt x="7448" y="4252"/>
                      <a:pt x="7448" y="4252"/>
                      <a:pt x="7448" y="4252"/>
                    </a:cubicBezTo>
                    <a:cubicBezTo>
                      <a:pt x="7380" y="4235"/>
                      <a:pt x="7380" y="4235"/>
                      <a:pt x="7380" y="4235"/>
                    </a:cubicBezTo>
                    <a:cubicBezTo>
                      <a:pt x="7399" y="4161"/>
                      <a:pt x="7399" y="4161"/>
                      <a:pt x="7399" y="4161"/>
                    </a:cubicBezTo>
                    <a:cubicBezTo>
                      <a:pt x="7583" y="4209"/>
                      <a:pt x="7583" y="4209"/>
                      <a:pt x="7583" y="4209"/>
                    </a:cubicBezTo>
                    <a:cubicBezTo>
                      <a:pt x="7587" y="4194"/>
                      <a:pt x="7587" y="4194"/>
                      <a:pt x="7587" y="4194"/>
                    </a:cubicBezTo>
                    <a:cubicBezTo>
                      <a:pt x="7503" y="4172"/>
                      <a:pt x="7503" y="4172"/>
                      <a:pt x="7503" y="4172"/>
                    </a:cubicBezTo>
                    <a:cubicBezTo>
                      <a:pt x="7523" y="4096"/>
                      <a:pt x="7523" y="4096"/>
                      <a:pt x="7523" y="4096"/>
                    </a:cubicBezTo>
                    <a:lnTo>
                      <a:pt x="7727" y="4149"/>
                    </a:lnTo>
                    <a:close/>
                    <a:moveTo>
                      <a:pt x="7697" y="4212"/>
                    </a:moveTo>
                    <a:cubicBezTo>
                      <a:pt x="7711" y="4159"/>
                      <a:pt x="7711" y="4159"/>
                      <a:pt x="7711" y="4159"/>
                    </a:cubicBezTo>
                    <a:cubicBezTo>
                      <a:pt x="7532" y="4112"/>
                      <a:pt x="7532" y="4112"/>
                      <a:pt x="7532" y="4112"/>
                    </a:cubicBezTo>
                    <a:cubicBezTo>
                      <a:pt x="7519" y="4163"/>
                      <a:pt x="7519" y="4163"/>
                      <a:pt x="7519" y="4163"/>
                    </a:cubicBezTo>
                    <a:cubicBezTo>
                      <a:pt x="7603" y="4184"/>
                      <a:pt x="7603" y="4184"/>
                      <a:pt x="7603" y="4184"/>
                    </a:cubicBezTo>
                    <a:cubicBezTo>
                      <a:pt x="7592" y="4225"/>
                      <a:pt x="7592" y="4225"/>
                      <a:pt x="7592" y="4225"/>
                    </a:cubicBezTo>
                    <a:cubicBezTo>
                      <a:pt x="7409" y="4177"/>
                      <a:pt x="7409" y="4177"/>
                      <a:pt x="7409" y="4177"/>
                    </a:cubicBezTo>
                    <a:cubicBezTo>
                      <a:pt x="7396" y="4225"/>
                      <a:pt x="7396" y="4225"/>
                      <a:pt x="7396" y="4225"/>
                    </a:cubicBezTo>
                    <a:cubicBezTo>
                      <a:pt x="7465" y="4243"/>
                      <a:pt x="7465" y="4243"/>
                      <a:pt x="7465" y="4243"/>
                    </a:cubicBezTo>
                    <a:cubicBezTo>
                      <a:pt x="7446" y="4316"/>
                      <a:pt x="7446" y="4316"/>
                      <a:pt x="7446" y="4316"/>
                    </a:cubicBezTo>
                    <a:cubicBezTo>
                      <a:pt x="7564" y="4347"/>
                      <a:pt x="7564" y="4347"/>
                      <a:pt x="7564" y="4347"/>
                    </a:cubicBezTo>
                    <a:cubicBezTo>
                      <a:pt x="7587" y="4258"/>
                      <a:pt x="7587" y="4258"/>
                      <a:pt x="7587" y="4258"/>
                    </a:cubicBezTo>
                    <a:cubicBezTo>
                      <a:pt x="7692" y="4286"/>
                      <a:pt x="7692" y="4286"/>
                      <a:pt x="7692" y="4286"/>
                    </a:cubicBezTo>
                    <a:cubicBezTo>
                      <a:pt x="7710" y="4215"/>
                      <a:pt x="7710" y="4215"/>
                      <a:pt x="7710" y="4215"/>
                    </a:cubicBezTo>
                    <a:cubicBezTo>
                      <a:pt x="7703" y="4214"/>
                      <a:pt x="7703" y="4214"/>
                      <a:pt x="7703" y="4214"/>
                    </a:cubicBezTo>
                    <a:lnTo>
                      <a:pt x="7697" y="4212"/>
                    </a:lnTo>
                    <a:close/>
                    <a:moveTo>
                      <a:pt x="5229" y="1122"/>
                    </a:moveTo>
                    <a:cubicBezTo>
                      <a:pt x="5333" y="1123"/>
                      <a:pt x="5333" y="1123"/>
                      <a:pt x="5333" y="1123"/>
                    </a:cubicBezTo>
                    <a:cubicBezTo>
                      <a:pt x="5332" y="1271"/>
                      <a:pt x="5332" y="1271"/>
                      <a:pt x="5332" y="1271"/>
                    </a:cubicBezTo>
                    <a:cubicBezTo>
                      <a:pt x="5325" y="1271"/>
                      <a:pt x="5325" y="1271"/>
                      <a:pt x="5325" y="1271"/>
                    </a:cubicBezTo>
                    <a:cubicBezTo>
                      <a:pt x="5227" y="1270"/>
                      <a:pt x="5227" y="1270"/>
                      <a:pt x="5227" y="1270"/>
                    </a:cubicBezTo>
                    <a:lnTo>
                      <a:pt x="5229" y="1122"/>
                    </a:lnTo>
                    <a:close/>
                    <a:moveTo>
                      <a:pt x="5240" y="1257"/>
                    </a:moveTo>
                    <a:cubicBezTo>
                      <a:pt x="5319" y="1258"/>
                      <a:pt x="5319" y="1258"/>
                      <a:pt x="5319" y="1258"/>
                    </a:cubicBezTo>
                    <a:cubicBezTo>
                      <a:pt x="5320" y="1136"/>
                      <a:pt x="5320" y="1136"/>
                      <a:pt x="5320" y="1136"/>
                    </a:cubicBezTo>
                    <a:cubicBezTo>
                      <a:pt x="5241" y="1135"/>
                      <a:pt x="5241" y="1135"/>
                      <a:pt x="5241" y="1135"/>
                    </a:cubicBezTo>
                    <a:lnTo>
                      <a:pt x="5240" y="1257"/>
                    </a:lnTo>
                    <a:close/>
                    <a:moveTo>
                      <a:pt x="4400" y="1456"/>
                    </a:moveTo>
                    <a:cubicBezTo>
                      <a:pt x="4417" y="1516"/>
                      <a:pt x="4417" y="1516"/>
                      <a:pt x="4417" y="1516"/>
                    </a:cubicBezTo>
                    <a:cubicBezTo>
                      <a:pt x="4093" y="1720"/>
                      <a:pt x="4093" y="1720"/>
                      <a:pt x="4093" y="1720"/>
                    </a:cubicBezTo>
                    <a:cubicBezTo>
                      <a:pt x="4015" y="1557"/>
                      <a:pt x="4015" y="1557"/>
                      <a:pt x="4015" y="1557"/>
                    </a:cubicBezTo>
                    <a:cubicBezTo>
                      <a:pt x="4072" y="1525"/>
                      <a:pt x="4072" y="1525"/>
                      <a:pt x="4072" y="1525"/>
                    </a:cubicBezTo>
                    <a:cubicBezTo>
                      <a:pt x="4063" y="1505"/>
                      <a:pt x="4063" y="1505"/>
                      <a:pt x="4063" y="1505"/>
                    </a:cubicBezTo>
                    <a:cubicBezTo>
                      <a:pt x="3981" y="1485"/>
                      <a:pt x="3981" y="1485"/>
                      <a:pt x="3981" y="1485"/>
                    </a:cubicBezTo>
                    <a:cubicBezTo>
                      <a:pt x="3889" y="1262"/>
                      <a:pt x="3889" y="1262"/>
                      <a:pt x="3889" y="1262"/>
                    </a:cubicBezTo>
                    <a:cubicBezTo>
                      <a:pt x="4018" y="1212"/>
                      <a:pt x="4018" y="1212"/>
                      <a:pt x="4018" y="1212"/>
                    </a:cubicBezTo>
                    <a:cubicBezTo>
                      <a:pt x="4123" y="1240"/>
                      <a:pt x="4123" y="1240"/>
                      <a:pt x="4123" y="1240"/>
                    </a:cubicBezTo>
                    <a:cubicBezTo>
                      <a:pt x="4154" y="1232"/>
                      <a:pt x="4154" y="1232"/>
                      <a:pt x="4154" y="1232"/>
                    </a:cubicBezTo>
                    <a:cubicBezTo>
                      <a:pt x="4137" y="1178"/>
                      <a:pt x="4137" y="1178"/>
                      <a:pt x="4137" y="1178"/>
                    </a:cubicBezTo>
                    <a:cubicBezTo>
                      <a:pt x="4313" y="1139"/>
                      <a:pt x="4313" y="1139"/>
                      <a:pt x="4313" y="1139"/>
                    </a:cubicBezTo>
                    <a:cubicBezTo>
                      <a:pt x="4314" y="1147"/>
                      <a:pt x="4314" y="1147"/>
                      <a:pt x="4314" y="1147"/>
                    </a:cubicBezTo>
                    <a:cubicBezTo>
                      <a:pt x="4336" y="1258"/>
                      <a:pt x="4336" y="1258"/>
                      <a:pt x="4336" y="1258"/>
                    </a:cubicBezTo>
                    <a:cubicBezTo>
                      <a:pt x="4357" y="1457"/>
                      <a:pt x="4357" y="1457"/>
                      <a:pt x="4357" y="1457"/>
                    </a:cubicBezTo>
                    <a:lnTo>
                      <a:pt x="4400" y="1456"/>
                    </a:lnTo>
                    <a:close/>
                    <a:moveTo>
                      <a:pt x="4400" y="1509"/>
                    </a:moveTo>
                    <a:cubicBezTo>
                      <a:pt x="4389" y="1471"/>
                      <a:pt x="4389" y="1471"/>
                      <a:pt x="4389" y="1471"/>
                    </a:cubicBezTo>
                    <a:cubicBezTo>
                      <a:pt x="4344" y="1472"/>
                      <a:pt x="4344" y="1472"/>
                      <a:pt x="4344" y="1472"/>
                    </a:cubicBezTo>
                    <a:cubicBezTo>
                      <a:pt x="4321" y="1261"/>
                      <a:pt x="4321" y="1261"/>
                      <a:pt x="4321" y="1261"/>
                    </a:cubicBezTo>
                    <a:cubicBezTo>
                      <a:pt x="4301" y="1157"/>
                      <a:pt x="4301" y="1157"/>
                      <a:pt x="4301" y="1157"/>
                    </a:cubicBezTo>
                    <a:cubicBezTo>
                      <a:pt x="4156" y="1189"/>
                      <a:pt x="4156" y="1189"/>
                      <a:pt x="4156" y="1189"/>
                    </a:cubicBezTo>
                    <a:cubicBezTo>
                      <a:pt x="4172" y="1242"/>
                      <a:pt x="4172" y="1242"/>
                      <a:pt x="4172" y="1242"/>
                    </a:cubicBezTo>
                    <a:cubicBezTo>
                      <a:pt x="4123" y="1255"/>
                      <a:pt x="4123" y="1255"/>
                      <a:pt x="4123" y="1255"/>
                    </a:cubicBezTo>
                    <a:cubicBezTo>
                      <a:pt x="4018" y="1228"/>
                      <a:pt x="4018" y="1228"/>
                      <a:pt x="4018" y="1228"/>
                    </a:cubicBezTo>
                    <a:cubicBezTo>
                      <a:pt x="3908" y="1270"/>
                      <a:pt x="3908" y="1270"/>
                      <a:pt x="3908" y="1270"/>
                    </a:cubicBezTo>
                    <a:cubicBezTo>
                      <a:pt x="3991" y="1472"/>
                      <a:pt x="3991" y="1472"/>
                      <a:pt x="3991" y="1472"/>
                    </a:cubicBezTo>
                    <a:cubicBezTo>
                      <a:pt x="4074" y="1492"/>
                      <a:pt x="4074" y="1492"/>
                      <a:pt x="4074" y="1492"/>
                    </a:cubicBezTo>
                    <a:cubicBezTo>
                      <a:pt x="4091" y="1531"/>
                      <a:pt x="4091" y="1531"/>
                      <a:pt x="4091" y="1531"/>
                    </a:cubicBezTo>
                    <a:cubicBezTo>
                      <a:pt x="4035" y="1563"/>
                      <a:pt x="4035" y="1563"/>
                      <a:pt x="4035" y="1563"/>
                    </a:cubicBezTo>
                    <a:cubicBezTo>
                      <a:pt x="4099" y="1699"/>
                      <a:pt x="4099" y="1699"/>
                      <a:pt x="4099" y="1699"/>
                    </a:cubicBezTo>
                    <a:lnTo>
                      <a:pt x="4400" y="1509"/>
                    </a:lnTo>
                    <a:close/>
                    <a:moveTo>
                      <a:pt x="6473" y="9029"/>
                    </a:moveTo>
                    <a:cubicBezTo>
                      <a:pt x="6473" y="9104"/>
                      <a:pt x="6473" y="9104"/>
                      <a:pt x="6473" y="9104"/>
                    </a:cubicBezTo>
                    <a:cubicBezTo>
                      <a:pt x="6322" y="9105"/>
                      <a:pt x="6322" y="9105"/>
                      <a:pt x="6322" y="9105"/>
                    </a:cubicBezTo>
                    <a:cubicBezTo>
                      <a:pt x="6321" y="9030"/>
                      <a:pt x="6321" y="9030"/>
                      <a:pt x="6321" y="9030"/>
                    </a:cubicBezTo>
                    <a:cubicBezTo>
                      <a:pt x="6328" y="9030"/>
                      <a:pt x="6328" y="9030"/>
                      <a:pt x="6328" y="9030"/>
                    </a:cubicBezTo>
                    <a:lnTo>
                      <a:pt x="6473" y="9029"/>
                    </a:lnTo>
                    <a:close/>
                    <a:moveTo>
                      <a:pt x="6460" y="9091"/>
                    </a:moveTo>
                    <a:cubicBezTo>
                      <a:pt x="6460" y="9042"/>
                      <a:pt x="6460" y="9042"/>
                      <a:pt x="6460" y="9042"/>
                    </a:cubicBezTo>
                    <a:cubicBezTo>
                      <a:pt x="6335" y="9043"/>
                      <a:pt x="6335" y="9043"/>
                      <a:pt x="6335" y="9043"/>
                    </a:cubicBezTo>
                    <a:cubicBezTo>
                      <a:pt x="6335" y="9092"/>
                      <a:pt x="6335" y="9092"/>
                      <a:pt x="6335" y="9092"/>
                    </a:cubicBezTo>
                    <a:lnTo>
                      <a:pt x="6460" y="9091"/>
                    </a:lnTo>
                    <a:close/>
                    <a:moveTo>
                      <a:pt x="8428" y="720"/>
                    </a:moveTo>
                    <a:cubicBezTo>
                      <a:pt x="8325" y="608"/>
                      <a:pt x="8325" y="608"/>
                      <a:pt x="8325" y="608"/>
                    </a:cubicBezTo>
                    <a:cubicBezTo>
                      <a:pt x="8380" y="557"/>
                      <a:pt x="8380" y="557"/>
                      <a:pt x="8380" y="557"/>
                    </a:cubicBezTo>
                    <a:cubicBezTo>
                      <a:pt x="8385" y="562"/>
                      <a:pt x="8385" y="562"/>
                      <a:pt x="8385" y="562"/>
                    </a:cubicBezTo>
                    <a:cubicBezTo>
                      <a:pt x="8483" y="668"/>
                      <a:pt x="8483" y="668"/>
                      <a:pt x="8483" y="668"/>
                    </a:cubicBezTo>
                    <a:lnTo>
                      <a:pt x="8428" y="720"/>
                    </a:lnTo>
                    <a:close/>
                    <a:moveTo>
                      <a:pt x="8343" y="609"/>
                    </a:moveTo>
                    <a:cubicBezTo>
                      <a:pt x="8428" y="701"/>
                      <a:pt x="8428" y="701"/>
                      <a:pt x="8428" y="701"/>
                    </a:cubicBezTo>
                    <a:cubicBezTo>
                      <a:pt x="8465" y="667"/>
                      <a:pt x="8465" y="667"/>
                      <a:pt x="8465" y="667"/>
                    </a:cubicBezTo>
                    <a:cubicBezTo>
                      <a:pt x="8380" y="575"/>
                      <a:pt x="8380" y="575"/>
                      <a:pt x="8380" y="575"/>
                    </a:cubicBezTo>
                    <a:lnTo>
                      <a:pt x="8343" y="609"/>
                    </a:lnTo>
                    <a:close/>
                    <a:moveTo>
                      <a:pt x="4509" y="1260"/>
                    </a:moveTo>
                    <a:cubicBezTo>
                      <a:pt x="4412" y="1270"/>
                      <a:pt x="4412" y="1270"/>
                      <a:pt x="4412" y="1270"/>
                    </a:cubicBezTo>
                    <a:cubicBezTo>
                      <a:pt x="4398" y="1122"/>
                      <a:pt x="4398" y="1122"/>
                      <a:pt x="4398" y="1122"/>
                    </a:cubicBezTo>
                    <a:cubicBezTo>
                      <a:pt x="4502" y="1113"/>
                      <a:pt x="4502" y="1113"/>
                      <a:pt x="4502" y="1113"/>
                    </a:cubicBezTo>
                    <a:cubicBezTo>
                      <a:pt x="4516" y="1260"/>
                      <a:pt x="4516" y="1260"/>
                      <a:pt x="4516" y="1260"/>
                    </a:cubicBezTo>
                    <a:lnTo>
                      <a:pt x="4509" y="1260"/>
                    </a:lnTo>
                    <a:close/>
                    <a:moveTo>
                      <a:pt x="4502" y="1248"/>
                    </a:moveTo>
                    <a:cubicBezTo>
                      <a:pt x="4490" y="1127"/>
                      <a:pt x="4490" y="1127"/>
                      <a:pt x="4490" y="1127"/>
                    </a:cubicBezTo>
                    <a:cubicBezTo>
                      <a:pt x="4412" y="1134"/>
                      <a:pt x="4412" y="1134"/>
                      <a:pt x="4412" y="1134"/>
                    </a:cubicBezTo>
                    <a:cubicBezTo>
                      <a:pt x="4423" y="1256"/>
                      <a:pt x="4423" y="1256"/>
                      <a:pt x="4423" y="1256"/>
                    </a:cubicBezTo>
                    <a:lnTo>
                      <a:pt x="4502" y="1248"/>
                    </a:lnTo>
                    <a:close/>
                    <a:moveTo>
                      <a:pt x="6468" y="9247"/>
                    </a:moveTo>
                    <a:cubicBezTo>
                      <a:pt x="6468" y="9322"/>
                      <a:pt x="6468" y="9322"/>
                      <a:pt x="6468" y="9322"/>
                    </a:cubicBezTo>
                    <a:cubicBezTo>
                      <a:pt x="6317" y="9324"/>
                      <a:pt x="6317" y="9324"/>
                      <a:pt x="6317" y="9324"/>
                    </a:cubicBezTo>
                    <a:cubicBezTo>
                      <a:pt x="6316" y="9248"/>
                      <a:pt x="6316" y="9248"/>
                      <a:pt x="6316" y="9248"/>
                    </a:cubicBezTo>
                    <a:cubicBezTo>
                      <a:pt x="6323" y="9248"/>
                      <a:pt x="6323" y="9248"/>
                      <a:pt x="6323" y="9248"/>
                    </a:cubicBezTo>
                    <a:lnTo>
                      <a:pt x="6468" y="9247"/>
                    </a:lnTo>
                    <a:close/>
                    <a:moveTo>
                      <a:pt x="6455" y="9310"/>
                    </a:moveTo>
                    <a:cubicBezTo>
                      <a:pt x="6455" y="9260"/>
                      <a:pt x="6455" y="9260"/>
                      <a:pt x="6455" y="9260"/>
                    </a:cubicBezTo>
                    <a:cubicBezTo>
                      <a:pt x="6329" y="9261"/>
                      <a:pt x="6329" y="9261"/>
                      <a:pt x="6329" y="9261"/>
                    </a:cubicBezTo>
                    <a:cubicBezTo>
                      <a:pt x="6330" y="9310"/>
                      <a:pt x="6330" y="9310"/>
                      <a:pt x="6330" y="9310"/>
                    </a:cubicBezTo>
                    <a:lnTo>
                      <a:pt x="6455" y="9310"/>
                    </a:lnTo>
                    <a:close/>
                    <a:moveTo>
                      <a:pt x="6224" y="8642"/>
                    </a:moveTo>
                    <a:cubicBezTo>
                      <a:pt x="6223" y="8490"/>
                      <a:pt x="6223" y="8490"/>
                      <a:pt x="6223" y="8490"/>
                    </a:cubicBezTo>
                    <a:cubicBezTo>
                      <a:pt x="6294" y="8490"/>
                      <a:pt x="6294" y="8490"/>
                      <a:pt x="6294" y="8490"/>
                    </a:cubicBezTo>
                    <a:cubicBezTo>
                      <a:pt x="6294" y="8496"/>
                      <a:pt x="6294" y="8496"/>
                      <a:pt x="6294" y="8496"/>
                    </a:cubicBezTo>
                    <a:cubicBezTo>
                      <a:pt x="6295" y="8641"/>
                      <a:pt x="6295" y="8641"/>
                      <a:pt x="6295" y="8641"/>
                    </a:cubicBezTo>
                    <a:lnTo>
                      <a:pt x="6224" y="8642"/>
                    </a:lnTo>
                    <a:close/>
                    <a:moveTo>
                      <a:pt x="6237" y="8503"/>
                    </a:moveTo>
                    <a:cubicBezTo>
                      <a:pt x="6237" y="8629"/>
                      <a:pt x="6237" y="8629"/>
                      <a:pt x="6237" y="8629"/>
                    </a:cubicBezTo>
                    <a:cubicBezTo>
                      <a:pt x="6282" y="8628"/>
                      <a:pt x="6282" y="8628"/>
                      <a:pt x="6282" y="8628"/>
                    </a:cubicBezTo>
                    <a:cubicBezTo>
                      <a:pt x="6281" y="8503"/>
                      <a:pt x="6281" y="8503"/>
                      <a:pt x="6281" y="8503"/>
                    </a:cubicBezTo>
                    <a:lnTo>
                      <a:pt x="6237" y="8503"/>
                    </a:lnTo>
                    <a:close/>
                    <a:moveTo>
                      <a:pt x="7458" y="5255"/>
                    </a:moveTo>
                    <a:cubicBezTo>
                      <a:pt x="7260" y="5240"/>
                      <a:pt x="7260" y="5240"/>
                      <a:pt x="7260" y="5240"/>
                    </a:cubicBezTo>
                    <a:cubicBezTo>
                      <a:pt x="7261" y="5234"/>
                      <a:pt x="7261" y="5234"/>
                      <a:pt x="7261" y="5234"/>
                    </a:cubicBezTo>
                    <a:cubicBezTo>
                      <a:pt x="7267" y="5165"/>
                      <a:pt x="7267" y="5165"/>
                      <a:pt x="7267" y="5165"/>
                    </a:cubicBezTo>
                    <a:cubicBezTo>
                      <a:pt x="7342" y="5171"/>
                      <a:pt x="7342" y="5171"/>
                      <a:pt x="7342" y="5171"/>
                    </a:cubicBezTo>
                    <a:cubicBezTo>
                      <a:pt x="7349" y="5098"/>
                      <a:pt x="7349" y="5098"/>
                      <a:pt x="7349" y="5098"/>
                    </a:cubicBezTo>
                    <a:cubicBezTo>
                      <a:pt x="7489" y="5111"/>
                      <a:pt x="7489" y="5111"/>
                      <a:pt x="7489" y="5111"/>
                    </a:cubicBezTo>
                    <a:cubicBezTo>
                      <a:pt x="7481" y="5207"/>
                      <a:pt x="7481" y="5207"/>
                      <a:pt x="7481" y="5207"/>
                    </a:cubicBezTo>
                    <a:cubicBezTo>
                      <a:pt x="7463" y="5205"/>
                      <a:pt x="7463" y="5205"/>
                      <a:pt x="7463" y="5205"/>
                    </a:cubicBezTo>
                    <a:lnTo>
                      <a:pt x="7458" y="5255"/>
                    </a:lnTo>
                    <a:close/>
                    <a:moveTo>
                      <a:pt x="7451" y="5191"/>
                    </a:moveTo>
                    <a:cubicBezTo>
                      <a:pt x="7469" y="5193"/>
                      <a:pt x="7469" y="5193"/>
                      <a:pt x="7469" y="5193"/>
                    </a:cubicBezTo>
                    <a:cubicBezTo>
                      <a:pt x="7475" y="5123"/>
                      <a:pt x="7475" y="5123"/>
                      <a:pt x="7475" y="5123"/>
                    </a:cubicBezTo>
                    <a:cubicBezTo>
                      <a:pt x="7361" y="5113"/>
                      <a:pt x="7361" y="5113"/>
                      <a:pt x="7361" y="5113"/>
                    </a:cubicBezTo>
                    <a:cubicBezTo>
                      <a:pt x="7354" y="5185"/>
                      <a:pt x="7354" y="5185"/>
                      <a:pt x="7354" y="5185"/>
                    </a:cubicBezTo>
                    <a:cubicBezTo>
                      <a:pt x="7279" y="5179"/>
                      <a:pt x="7279" y="5179"/>
                      <a:pt x="7279" y="5179"/>
                    </a:cubicBezTo>
                    <a:cubicBezTo>
                      <a:pt x="7275" y="5228"/>
                      <a:pt x="7275" y="5228"/>
                      <a:pt x="7275" y="5228"/>
                    </a:cubicBezTo>
                    <a:cubicBezTo>
                      <a:pt x="7446" y="5241"/>
                      <a:pt x="7446" y="5241"/>
                      <a:pt x="7446" y="5241"/>
                    </a:cubicBezTo>
                    <a:lnTo>
                      <a:pt x="7451" y="5191"/>
                    </a:lnTo>
                    <a:close/>
                    <a:moveTo>
                      <a:pt x="7754" y="4627"/>
                    </a:moveTo>
                    <a:cubicBezTo>
                      <a:pt x="7556" y="4613"/>
                      <a:pt x="7556" y="4613"/>
                      <a:pt x="7556" y="4613"/>
                    </a:cubicBezTo>
                    <a:cubicBezTo>
                      <a:pt x="7556" y="4607"/>
                      <a:pt x="7556" y="4607"/>
                      <a:pt x="7556" y="4607"/>
                    </a:cubicBezTo>
                    <a:cubicBezTo>
                      <a:pt x="7562" y="4538"/>
                      <a:pt x="7562" y="4538"/>
                      <a:pt x="7562" y="4538"/>
                    </a:cubicBezTo>
                    <a:cubicBezTo>
                      <a:pt x="7638" y="4544"/>
                      <a:pt x="7638" y="4544"/>
                      <a:pt x="7638" y="4544"/>
                    </a:cubicBezTo>
                    <a:cubicBezTo>
                      <a:pt x="7644" y="4471"/>
                      <a:pt x="7644" y="4471"/>
                      <a:pt x="7644" y="4471"/>
                    </a:cubicBezTo>
                    <a:cubicBezTo>
                      <a:pt x="7784" y="4483"/>
                      <a:pt x="7784" y="4483"/>
                      <a:pt x="7784" y="4483"/>
                    </a:cubicBezTo>
                    <a:cubicBezTo>
                      <a:pt x="7776" y="4580"/>
                      <a:pt x="7776" y="4580"/>
                      <a:pt x="7776" y="4580"/>
                    </a:cubicBezTo>
                    <a:cubicBezTo>
                      <a:pt x="7758" y="4578"/>
                      <a:pt x="7758" y="4578"/>
                      <a:pt x="7758" y="4578"/>
                    </a:cubicBezTo>
                    <a:lnTo>
                      <a:pt x="7754" y="4627"/>
                    </a:lnTo>
                    <a:close/>
                    <a:moveTo>
                      <a:pt x="7746" y="4564"/>
                    </a:moveTo>
                    <a:cubicBezTo>
                      <a:pt x="7764" y="4565"/>
                      <a:pt x="7764" y="4565"/>
                      <a:pt x="7764" y="4565"/>
                    </a:cubicBezTo>
                    <a:cubicBezTo>
                      <a:pt x="7770" y="4495"/>
                      <a:pt x="7770" y="4495"/>
                      <a:pt x="7770" y="4495"/>
                    </a:cubicBezTo>
                    <a:cubicBezTo>
                      <a:pt x="7656" y="4485"/>
                      <a:pt x="7656" y="4485"/>
                      <a:pt x="7656" y="4485"/>
                    </a:cubicBezTo>
                    <a:cubicBezTo>
                      <a:pt x="7649" y="4558"/>
                      <a:pt x="7649" y="4558"/>
                      <a:pt x="7649" y="4558"/>
                    </a:cubicBezTo>
                    <a:cubicBezTo>
                      <a:pt x="7574" y="4552"/>
                      <a:pt x="7574" y="4552"/>
                      <a:pt x="7574" y="4552"/>
                    </a:cubicBezTo>
                    <a:cubicBezTo>
                      <a:pt x="7570" y="4601"/>
                      <a:pt x="7570" y="4601"/>
                      <a:pt x="7570" y="4601"/>
                    </a:cubicBezTo>
                    <a:cubicBezTo>
                      <a:pt x="7742" y="4613"/>
                      <a:pt x="7742" y="4613"/>
                      <a:pt x="7742" y="4613"/>
                    </a:cubicBezTo>
                    <a:lnTo>
                      <a:pt x="7746" y="4564"/>
                    </a:lnTo>
                    <a:close/>
                    <a:moveTo>
                      <a:pt x="8039" y="1191"/>
                    </a:moveTo>
                    <a:cubicBezTo>
                      <a:pt x="8215" y="1287"/>
                      <a:pt x="8215" y="1287"/>
                      <a:pt x="8215" y="1287"/>
                    </a:cubicBezTo>
                    <a:cubicBezTo>
                      <a:pt x="8274" y="1199"/>
                      <a:pt x="8274" y="1199"/>
                      <a:pt x="8274" y="1199"/>
                    </a:cubicBezTo>
                    <a:cubicBezTo>
                      <a:pt x="8589" y="1383"/>
                      <a:pt x="8589" y="1383"/>
                      <a:pt x="8589" y="1383"/>
                    </a:cubicBezTo>
                    <a:cubicBezTo>
                      <a:pt x="8533" y="1477"/>
                      <a:pt x="8533" y="1477"/>
                      <a:pt x="8533" y="1477"/>
                    </a:cubicBezTo>
                    <a:cubicBezTo>
                      <a:pt x="8472" y="1442"/>
                      <a:pt x="8472" y="1442"/>
                      <a:pt x="8472" y="1442"/>
                    </a:cubicBezTo>
                    <a:cubicBezTo>
                      <a:pt x="8371" y="1632"/>
                      <a:pt x="8371" y="1632"/>
                      <a:pt x="8371" y="1632"/>
                    </a:cubicBezTo>
                    <a:cubicBezTo>
                      <a:pt x="8425" y="1667"/>
                      <a:pt x="8425" y="1667"/>
                      <a:pt x="8425" y="1667"/>
                    </a:cubicBezTo>
                    <a:cubicBezTo>
                      <a:pt x="8323" y="1848"/>
                      <a:pt x="8323" y="1848"/>
                      <a:pt x="8323" y="1848"/>
                    </a:cubicBezTo>
                    <a:cubicBezTo>
                      <a:pt x="8203" y="1782"/>
                      <a:pt x="8203" y="1782"/>
                      <a:pt x="8203" y="1782"/>
                    </a:cubicBezTo>
                    <a:cubicBezTo>
                      <a:pt x="8337" y="1548"/>
                      <a:pt x="8337" y="1548"/>
                      <a:pt x="8337" y="1548"/>
                    </a:cubicBezTo>
                    <a:cubicBezTo>
                      <a:pt x="8215" y="1476"/>
                      <a:pt x="8215" y="1476"/>
                      <a:pt x="8215" y="1476"/>
                    </a:cubicBezTo>
                    <a:cubicBezTo>
                      <a:pt x="8080" y="1710"/>
                      <a:pt x="8080" y="1710"/>
                      <a:pt x="8080" y="1710"/>
                    </a:cubicBezTo>
                    <a:cubicBezTo>
                      <a:pt x="8002" y="1662"/>
                      <a:pt x="8002" y="1662"/>
                      <a:pt x="8002" y="1662"/>
                    </a:cubicBezTo>
                    <a:cubicBezTo>
                      <a:pt x="8163" y="1388"/>
                      <a:pt x="8163" y="1388"/>
                      <a:pt x="8163" y="1388"/>
                    </a:cubicBezTo>
                    <a:cubicBezTo>
                      <a:pt x="8102" y="1353"/>
                      <a:pt x="8102" y="1353"/>
                      <a:pt x="8102" y="1353"/>
                    </a:cubicBezTo>
                    <a:cubicBezTo>
                      <a:pt x="8021" y="1491"/>
                      <a:pt x="8021" y="1491"/>
                      <a:pt x="8021" y="1491"/>
                    </a:cubicBezTo>
                    <a:cubicBezTo>
                      <a:pt x="7955" y="1453"/>
                      <a:pt x="7955" y="1453"/>
                      <a:pt x="7955" y="1453"/>
                    </a:cubicBezTo>
                    <a:cubicBezTo>
                      <a:pt x="8033" y="1309"/>
                      <a:pt x="8033" y="1309"/>
                      <a:pt x="8033" y="1309"/>
                    </a:cubicBezTo>
                    <a:cubicBezTo>
                      <a:pt x="7975" y="1277"/>
                      <a:pt x="7975" y="1277"/>
                      <a:pt x="7975" y="1277"/>
                    </a:cubicBezTo>
                    <a:cubicBezTo>
                      <a:pt x="8033" y="1188"/>
                      <a:pt x="8033" y="1188"/>
                      <a:pt x="8033" y="1188"/>
                    </a:cubicBezTo>
                    <a:lnTo>
                      <a:pt x="8039" y="1191"/>
                    </a:lnTo>
                    <a:close/>
                    <a:moveTo>
                      <a:pt x="8038" y="1207"/>
                    </a:moveTo>
                    <a:cubicBezTo>
                      <a:pt x="7996" y="1272"/>
                      <a:pt x="7996" y="1272"/>
                      <a:pt x="7996" y="1272"/>
                    </a:cubicBezTo>
                    <a:cubicBezTo>
                      <a:pt x="8054" y="1303"/>
                      <a:pt x="8054" y="1303"/>
                      <a:pt x="8054" y="1303"/>
                    </a:cubicBezTo>
                    <a:cubicBezTo>
                      <a:pt x="7975" y="1447"/>
                      <a:pt x="7975" y="1447"/>
                      <a:pt x="7975" y="1447"/>
                    </a:cubicBezTo>
                    <a:cubicBezTo>
                      <a:pt x="8016" y="1471"/>
                      <a:pt x="8016" y="1471"/>
                      <a:pt x="8016" y="1471"/>
                    </a:cubicBezTo>
                    <a:cubicBezTo>
                      <a:pt x="8096" y="1333"/>
                      <a:pt x="8096" y="1333"/>
                      <a:pt x="8096" y="1333"/>
                    </a:cubicBezTo>
                    <a:cubicBezTo>
                      <a:pt x="8184" y="1383"/>
                      <a:pt x="8184" y="1383"/>
                      <a:pt x="8184" y="1383"/>
                    </a:cubicBezTo>
                    <a:cubicBezTo>
                      <a:pt x="8022" y="1657"/>
                      <a:pt x="8022" y="1657"/>
                      <a:pt x="8022" y="1657"/>
                    </a:cubicBezTo>
                    <a:cubicBezTo>
                      <a:pt x="8075" y="1689"/>
                      <a:pt x="8075" y="1689"/>
                      <a:pt x="8075" y="1689"/>
                    </a:cubicBezTo>
                    <a:cubicBezTo>
                      <a:pt x="8209" y="1456"/>
                      <a:pt x="8209" y="1456"/>
                      <a:pt x="8209" y="1456"/>
                    </a:cubicBezTo>
                    <a:cubicBezTo>
                      <a:pt x="8357" y="1543"/>
                      <a:pt x="8357" y="1543"/>
                      <a:pt x="8357" y="1543"/>
                    </a:cubicBezTo>
                    <a:cubicBezTo>
                      <a:pt x="8223" y="1776"/>
                      <a:pt x="8223" y="1776"/>
                      <a:pt x="8223" y="1776"/>
                    </a:cubicBezTo>
                    <a:cubicBezTo>
                      <a:pt x="8317" y="1828"/>
                      <a:pt x="8317" y="1828"/>
                      <a:pt x="8317" y="1828"/>
                    </a:cubicBezTo>
                    <a:cubicBezTo>
                      <a:pt x="8405" y="1672"/>
                      <a:pt x="8405" y="1672"/>
                      <a:pt x="8405" y="1672"/>
                    </a:cubicBezTo>
                    <a:cubicBezTo>
                      <a:pt x="8351" y="1637"/>
                      <a:pt x="8351" y="1637"/>
                      <a:pt x="8351" y="1637"/>
                    </a:cubicBezTo>
                    <a:cubicBezTo>
                      <a:pt x="8467" y="1421"/>
                      <a:pt x="8467" y="1421"/>
                      <a:pt x="8467" y="1421"/>
                    </a:cubicBezTo>
                    <a:cubicBezTo>
                      <a:pt x="8528" y="1457"/>
                      <a:pt x="8528" y="1457"/>
                      <a:pt x="8528" y="1457"/>
                    </a:cubicBezTo>
                    <a:cubicBezTo>
                      <a:pt x="8569" y="1388"/>
                      <a:pt x="8569" y="1388"/>
                      <a:pt x="8569" y="1388"/>
                    </a:cubicBezTo>
                    <a:cubicBezTo>
                      <a:pt x="8278" y="1219"/>
                      <a:pt x="8278" y="1219"/>
                      <a:pt x="8278" y="1219"/>
                    </a:cubicBezTo>
                    <a:cubicBezTo>
                      <a:pt x="8220" y="1306"/>
                      <a:pt x="8220" y="1306"/>
                      <a:pt x="8220" y="1306"/>
                    </a:cubicBezTo>
                    <a:lnTo>
                      <a:pt x="8038" y="1207"/>
                    </a:lnTo>
                    <a:close/>
                    <a:moveTo>
                      <a:pt x="7534" y="6641"/>
                    </a:moveTo>
                    <a:cubicBezTo>
                      <a:pt x="7718" y="6669"/>
                      <a:pt x="7718" y="6669"/>
                      <a:pt x="7718" y="6669"/>
                    </a:cubicBezTo>
                    <a:cubicBezTo>
                      <a:pt x="7701" y="6777"/>
                      <a:pt x="7701" y="6777"/>
                      <a:pt x="7701" y="6777"/>
                    </a:cubicBezTo>
                    <a:cubicBezTo>
                      <a:pt x="7629" y="6766"/>
                      <a:pt x="7629" y="6766"/>
                      <a:pt x="7629" y="6766"/>
                    </a:cubicBezTo>
                    <a:cubicBezTo>
                      <a:pt x="7621" y="6823"/>
                      <a:pt x="7621" y="6823"/>
                      <a:pt x="7621" y="6823"/>
                    </a:cubicBezTo>
                    <a:cubicBezTo>
                      <a:pt x="7614" y="6822"/>
                      <a:pt x="7614" y="6822"/>
                      <a:pt x="7614" y="6822"/>
                    </a:cubicBezTo>
                    <a:cubicBezTo>
                      <a:pt x="7499" y="6808"/>
                      <a:pt x="7499" y="6808"/>
                      <a:pt x="7499" y="6808"/>
                    </a:cubicBezTo>
                    <a:cubicBezTo>
                      <a:pt x="7516" y="6691"/>
                      <a:pt x="7516" y="6691"/>
                      <a:pt x="7516" y="6691"/>
                    </a:cubicBezTo>
                    <a:cubicBezTo>
                      <a:pt x="7527" y="6693"/>
                      <a:pt x="7527" y="6693"/>
                      <a:pt x="7527" y="6693"/>
                    </a:cubicBezTo>
                    <a:lnTo>
                      <a:pt x="7534" y="6641"/>
                    </a:lnTo>
                    <a:close/>
                    <a:moveTo>
                      <a:pt x="7538" y="6708"/>
                    </a:moveTo>
                    <a:cubicBezTo>
                      <a:pt x="7527" y="6706"/>
                      <a:pt x="7527" y="6706"/>
                      <a:pt x="7527" y="6706"/>
                    </a:cubicBezTo>
                    <a:cubicBezTo>
                      <a:pt x="7514" y="6796"/>
                      <a:pt x="7514" y="6796"/>
                      <a:pt x="7514" y="6796"/>
                    </a:cubicBezTo>
                    <a:cubicBezTo>
                      <a:pt x="7609" y="6808"/>
                      <a:pt x="7609" y="6808"/>
                      <a:pt x="7609" y="6808"/>
                    </a:cubicBezTo>
                    <a:cubicBezTo>
                      <a:pt x="7618" y="6752"/>
                      <a:pt x="7618" y="6752"/>
                      <a:pt x="7618" y="6752"/>
                    </a:cubicBezTo>
                    <a:cubicBezTo>
                      <a:pt x="7690" y="6762"/>
                      <a:pt x="7690" y="6762"/>
                      <a:pt x="7690" y="6762"/>
                    </a:cubicBezTo>
                    <a:cubicBezTo>
                      <a:pt x="7703" y="6680"/>
                      <a:pt x="7703" y="6680"/>
                      <a:pt x="7703" y="6680"/>
                    </a:cubicBezTo>
                    <a:cubicBezTo>
                      <a:pt x="7545" y="6656"/>
                      <a:pt x="7545" y="6656"/>
                      <a:pt x="7545" y="6656"/>
                    </a:cubicBezTo>
                    <a:lnTo>
                      <a:pt x="7538" y="6708"/>
                    </a:lnTo>
                    <a:close/>
                    <a:moveTo>
                      <a:pt x="3345" y="1815"/>
                    </a:moveTo>
                    <a:cubicBezTo>
                      <a:pt x="3302" y="1733"/>
                      <a:pt x="3302" y="1733"/>
                      <a:pt x="3302" y="1733"/>
                    </a:cubicBezTo>
                    <a:cubicBezTo>
                      <a:pt x="3684" y="1547"/>
                      <a:pt x="3684" y="1547"/>
                      <a:pt x="3684" y="1547"/>
                    </a:cubicBezTo>
                    <a:cubicBezTo>
                      <a:pt x="3704" y="1589"/>
                      <a:pt x="3704" y="1589"/>
                      <a:pt x="3704" y="1589"/>
                    </a:cubicBezTo>
                    <a:cubicBezTo>
                      <a:pt x="3699" y="1593"/>
                      <a:pt x="3699" y="1593"/>
                      <a:pt x="3699" y="1593"/>
                    </a:cubicBezTo>
                    <a:cubicBezTo>
                      <a:pt x="3699" y="1593"/>
                      <a:pt x="3658" y="1618"/>
                      <a:pt x="3603" y="1651"/>
                    </a:cubicBezTo>
                    <a:cubicBezTo>
                      <a:pt x="3601" y="1652"/>
                      <a:pt x="3600" y="1654"/>
                      <a:pt x="3600" y="1659"/>
                    </a:cubicBezTo>
                    <a:cubicBezTo>
                      <a:pt x="3600" y="1670"/>
                      <a:pt x="3608" y="1689"/>
                      <a:pt x="3616" y="1705"/>
                    </a:cubicBezTo>
                    <a:cubicBezTo>
                      <a:pt x="3624" y="1720"/>
                      <a:pt x="3632" y="1732"/>
                      <a:pt x="3632" y="1732"/>
                    </a:cubicBezTo>
                    <a:cubicBezTo>
                      <a:pt x="3637" y="1740"/>
                      <a:pt x="3637" y="1740"/>
                      <a:pt x="3637" y="1740"/>
                    </a:cubicBezTo>
                    <a:cubicBezTo>
                      <a:pt x="3511" y="1797"/>
                      <a:pt x="3511" y="1797"/>
                      <a:pt x="3511" y="1797"/>
                    </a:cubicBezTo>
                    <a:cubicBezTo>
                      <a:pt x="3508" y="1793"/>
                      <a:pt x="3508" y="1793"/>
                      <a:pt x="3508" y="1793"/>
                    </a:cubicBezTo>
                    <a:cubicBezTo>
                      <a:pt x="3508" y="1793"/>
                      <a:pt x="3498" y="1783"/>
                      <a:pt x="3485" y="1772"/>
                    </a:cubicBezTo>
                    <a:cubicBezTo>
                      <a:pt x="3471" y="1762"/>
                      <a:pt x="3454" y="1752"/>
                      <a:pt x="3443" y="1753"/>
                    </a:cubicBezTo>
                    <a:cubicBezTo>
                      <a:pt x="3440" y="1753"/>
                      <a:pt x="3437" y="1753"/>
                      <a:pt x="3435" y="1755"/>
                    </a:cubicBezTo>
                    <a:cubicBezTo>
                      <a:pt x="3382" y="1787"/>
                      <a:pt x="3352" y="1810"/>
                      <a:pt x="3352" y="1810"/>
                    </a:cubicBezTo>
                    <a:lnTo>
                      <a:pt x="3345" y="1815"/>
                    </a:lnTo>
                    <a:close/>
                    <a:moveTo>
                      <a:pt x="3322" y="1740"/>
                    </a:moveTo>
                    <a:cubicBezTo>
                      <a:pt x="3350" y="1793"/>
                      <a:pt x="3350" y="1793"/>
                      <a:pt x="3350" y="1793"/>
                    </a:cubicBezTo>
                    <a:cubicBezTo>
                      <a:pt x="3362" y="1784"/>
                      <a:pt x="3389" y="1766"/>
                      <a:pt x="3427" y="1742"/>
                    </a:cubicBezTo>
                    <a:cubicBezTo>
                      <a:pt x="3432" y="1739"/>
                      <a:pt x="3438" y="1738"/>
                      <a:pt x="3443" y="1738"/>
                    </a:cubicBezTo>
                    <a:cubicBezTo>
                      <a:pt x="3472" y="1739"/>
                      <a:pt x="3504" y="1769"/>
                      <a:pt x="3515" y="1779"/>
                    </a:cubicBezTo>
                    <a:cubicBezTo>
                      <a:pt x="3615" y="1733"/>
                      <a:pt x="3615" y="1733"/>
                      <a:pt x="3615" y="1733"/>
                    </a:cubicBezTo>
                    <a:cubicBezTo>
                      <a:pt x="3606" y="1718"/>
                      <a:pt x="3586" y="1684"/>
                      <a:pt x="3585" y="1659"/>
                    </a:cubicBezTo>
                    <a:cubicBezTo>
                      <a:pt x="3585" y="1652"/>
                      <a:pt x="3588" y="1643"/>
                      <a:pt x="3595" y="1639"/>
                    </a:cubicBezTo>
                    <a:cubicBezTo>
                      <a:pt x="3638" y="1613"/>
                      <a:pt x="3672" y="1592"/>
                      <a:pt x="3685" y="1584"/>
                    </a:cubicBezTo>
                    <a:cubicBezTo>
                      <a:pt x="3677" y="1566"/>
                      <a:pt x="3677" y="1566"/>
                      <a:pt x="3677" y="1566"/>
                    </a:cubicBezTo>
                    <a:lnTo>
                      <a:pt x="3322" y="1740"/>
                    </a:lnTo>
                    <a:close/>
                    <a:moveTo>
                      <a:pt x="7590" y="7202"/>
                    </a:moveTo>
                    <a:cubicBezTo>
                      <a:pt x="7481" y="7192"/>
                      <a:pt x="7481" y="7192"/>
                      <a:pt x="7481" y="7192"/>
                    </a:cubicBezTo>
                    <a:cubicBezTo>
                      <a:pt x="7498" y="7007"/>
                      <a:pt x="7498" y="7007"/>
                      <a:pt x="7498" y="7007"/>
                    </a:cubicBezTo>
                    <a:cubicBezTo>
                      <a:pt x="7550" y="7012"/>
                      <a:pt x="7550" y="7012"/>
                      <a:pt x="7550" y="7012"/>
                    </a:cubicBezTo>
                    <a:cubicBezTo>
                      <a:pt x="7551" y="7008"/>
                      <a:pt x="7551" y="7008"/>
                      <a:pt x="7551" y="7008"/>
                    </a:cubicBezTo>
                    <a:cubicBezTo>
                      <a:pt x="7551" y="7002"/>
                      <a:pt x="7551" y="7002"/>
                      <a:pt x="7551" y="7002"/>
                    </a:cubicBezTo>
                    <a:cubicBezTo>
                      <a:pt x="7668" y="7013"/>
                      <a:pt x="7668" y="7013"/>
                      <a:pt x="7668" y="7013"/>
                    </a:cubicBezTo>
                    <a:cubicBezTo>
                      <a:pt x="7654" y="7135"/>
                      <a:pt x="7654" y="7135"/>
                      <a:pt x="7654" y="7135"/>
                    </a:cubicBezTo>
                    <a:cubicBezTo>
                      <a:pt x="7648" y="7134"/>
                      <a:pt x="7648" y="7134"/>
                      <a:pt x="7648" y="7134"/>
                    </a:cubicBezTo>
                    <a:cubicBezTo>
                      <a:pt x="7597" y="7129"/>
                      <a:pt x="7597" y="7129"/>
                      <a:pt x="7597" y="7129"/>
                    </a:cubicBezTo>
                    <a:lnTo>
                      <a:pt x="7590" y="7202"/>
                    </a:lnTo>
                    <a:close/>
                    <a:moveTo>
                      <a:pt x="7585" y="7115"/>
                    </a:moveTo>
                    <a:cubicBezTo>
                      <a:pt x="7643" y="7121"/>
                      <a:pt x="7643" y="7121"/>
                      <a:pt x="7643" y="7121"/>
                    </a:cubicBezTo>
                    <a:cubicBezTo>
                      <a:pt x="7654" y="7025"/>
                      <a:pt x="7654" y="7025"/>
                      <a:pt x="7654" y="7025"/>
                    </a:cubicBezTo>
                    <a:cubicBezTo>
                      <a:pt x="7563" y="7016"/>
                      <a:pt x="7563" y="7016"/>
                      <a:pt x="7563" y="7016"/>
                    </a:cubicBezTo>
                    <a:cubicBezTo>
                      <a:pt x="7563" y="7020"/>
                      <a:pt x="7563" y="7020"/>
                      <a:pt x="7563" y="7020"/>
                    </a:cubicBezTo>
                    <a:cubicBezTo>
                      <a:pt x="7562" y="7026"/>
                      <a:pt x="7562" y="7026"/>
                      <a:pt x="7562" y="7026"/>
                    </a:cubicBezTo>
                    <a:cubicBezTo>
                      <a:pt x="7510" y="7022"/>
                      <a:pt x="7510" y="7022"/>
                      <a:pt x="7510" y="7022"/>
                    </a:cubicBezTo>
                    <a:cubicBezTo>
                      <a:pt x="7495" y="7180"/>
                      <a:pt x="7495" y="7180"/>
                      <a:pt x="7495" y="7180"/>
                    </a:cubicBezTo>
                    <a:cubicBezTo>
                      <a:pt x="7578" y="7188"/>
                      <a:pt x="7578" y="7188"/>
                      <a:pt x="7578" y="7188"/>
                    </a:cubicBezTo>
                    <a:lnTo>
                      <a:pt x="7585" y="7115"/>
                    </a:lnTo>
                    <a:close/>
                    <a:moveTo>
                      <a:pt x="533" y="2229"/>
                    </a:moveTo>
                    <a:cubicBezTo>
                      <a:pt x="533" y="2217"/>
                      <a:pt x="539" y="2205"/>
                      <a:pt x="540" y="2201"/>
                    </a:cubicBezTo>
                    <a:cubicBezTo>
                      <a:pt x="540" y="2201"/>
                      <a:pt x="540" y="2200"/>
                      <a:pt x="540" y="2199"/>
                    </a:cubicBezTo>
                    <a:cubicBezTo>
                      <a:pt x="540" y="2195"/>
                      <a:pt x="544" y="2195"/>
                      <a:pt x="544" y="2195"/>
                    </a:cubicBezTo>
                    <a:cubicBezTo>
                      <a:pt x="545" y="2195"/>
                      <a:pt x="547" y="2195"/>
                      <a:pt x="548" y="2196"/>
                    </a:cubicBezTo>
                    <a:cubicBezTo>
                      <a:pt x="548" y="2197"/>
                      <a:pt x="548" y="2197"/>
                      <a:pt x="549" y="2198"/>
                    </a:cubicBezTo>
                    <a:cubicBezTo>
                      <a:pt x="557" y="2203"/>
                      <a:pt x="591" y="2220"/>
                      <a:pt x="599" y="2224"/>
                    </a:cubicBezTo>
                    <a:cubicBezTo>
                      <a:pt x="608" y="2229"/>
                      <a:pt x="649" y="2232"/>
                      <a:pt x="685" y="2241"/>
                    </a:cubicBezTo>
                    <a:cubicBezTo>
                      <a:pt x="722" y="2252"/>
                      <a:pt x="733" y="2283"/>
                      <a:pt x="738" y="2313"/>
                    </a:cubicBezTo>
                    <a:cubicBezTo>
                      <a:pt x="744" y="2342"/>
                      <a:pt x="752" y="2345"/>
                      <a:pt x="776" y="2361"/>
                    </a:cubicBezTo>
                    <a:cubicBezTo>
                      <a:pt x="780" y="2364"/>
                      <a:pt x="785" y="2365"/>
                      <a:pt x="791" y="2365"/>
                    </a:cubicBezTo>
                    <a:cubicBezTo>
                      <a:pt x="813" y="2365"/>
                      <a:pt x="847" y="2347"/>
                      <a:pt x="884" y="2328"/>
                    </a:cubicBezTo>
                    <a:cubicBezTo>
                      <a:pt x="899" y="2320"/>
                      <a:pt x="910" y="2317"/>
                      <a:pt x="919" y="2317"/>
                    </a:cubicBezTo>
                    <a:cubicBezTo>
                      <a:pt x="941" y="2317"/>
                      <a:pt x="947" y="2334"/>
                      <a:pt x="947" y="2334"/>
                    </a:cubicBezTo>
                    <a:cubicBezTo>
                      <a:pt x="948" y="2338"/>
                      <a:pt x="948" y="2338"/>
                      <a:pt x="948" y="2338"/>
                    </a:cubicBezTo>
                    <a:cubicBezTo>
                      <a:pt x="945" y="2339"/>
                      <a:pt x="945" y="2339"/>
                      <a:pt x="945" y="2339"/>
                    </a:cubicBezTo>
                    <a:cubicBezTo>
                      <a:pt x="940" y="2341"/>
                      <a:pt x="926" y="2366"/>
                      <a:pt x="913" y="2391"/>
                    </a:cubicBezTo>
                    <a:cubicBezTo>
                      <a:pt x="898" y="2416"/>
                      <a:pt x="866" y="2447"/>
                      <a:pt x="822" y="2476"/>
                    </a:cubicBezTo>
                    <a:cubicBezTo>
                      <a:pt x="794" y="2494"/>
                      <a:pt x="760" y="2501"/>
                      <a:pt x="734" y="2501"/>
                    </a:cubicBezTo>
                    <a:cubicBezTo>
                      <a:pt x="718" y="2501"/>
                      <a:pt x="705" y="2498"/>
                      <a:pt x="697" y="2495"/>
                    </a:cubicBezTo>
                    <a:cubicBezTo>
                      <a:pt x="676" y="2487"/>
                      <a:pt x="616" y="2460"/>
                      <a:pt x="616" y="2460"/>
                    </a:cubicBezTo>
                    <a:cubicBezTo>
                      <a:pt x="611" y="2457"/>
                      <a:pt x="611" y="2457"/>
                      <a:pt x="611" y="2457"/>
                    </a:cubicBezTo>
                    <a:cubicBezTo>
                      <a:pt x="615" y="2453"/>
                      <a:pt x="615" y="2453"/>
                      <a:pt x="615" y="2453"/>
                    </a:cubicBezTo>
                    <a:cubicBezTo>
                      <a:pt x="615" y="2453"/>
                      <a:pt x="646" y="2417"/>
                      <a:pt x="646" y="2376"/>
                    </a:cubicBezTo>
                    <a:cubicBezTo>
                      <a:pt x="646" y="2371"/>
                      <a:pt x="645" y="2365"/>
                      <a:pt x="644" y="2360"/>
                    </a:cubicBezTo>
                    <a:cubicBezTo>
                      <a:pt x="634" y="2313"/>
                      <a:pt x="583" y="2286"/>
                      <a:pt x="550" y="2261"/>
                    </a:cubicBezTo>
                    <a:cubicBezTo>
                      <a:pt x="537" y="2251"/>
                      <a:pt x="533" y="2239"/>
                      <a:pt x="533" y="2229"/>
                    </a:cubicBezTo>
                    <a:close/>
                    <a:moveTo>
                      <a:pt x="541" y="2229"/>
                    </a:moveTo>
                    <a:cubicBezTo>
                      <a:pt x="541" y="2237"/>
                      <a:pt x="544" y="2246"/>
                      <a:pt x="555" y="2254"/>
                    </a:cubicBezTo>
                    <a:cubicBezTo>
                      <a:pt x="587" y="2279"/>
                      <a:pt x="640" y="2306"/>
                      <a:pt x="652" y="2358"/>
                    </a:cubicBezTo>
                    <a:cubicBezTo>
                      <a:pt x="653" y="2364"/>
                      <a:pt x="654" y="2370"/>
                      <a:pt x="654" y="2376"/>
                    </a:cubicBezTo>
                    <a:cubicBezTo>
                      <a:pt x="654" y="2412"/>
                      <a:pt x="633" y="2443"/>
                      <a:pt x="624" y="2454"/>
                    </a:cubicBezTo>
                    <a:cubicBezTo>
                      <a:pt x="639" y="2461"/>
                      <a:pt x="683" y="2481"/>
                      <a:pt x="700" y="2488"/>
                    </a:cubicBezTo>
                    <a:cubicBezTo>
                      <a:pt x="707" y="2490"/>
                      <a:pt x="719" y="2492"/>
                      <a:pt x="734" y="2492"/>
                    </a:cubicBezTo>
                    <a:cubicBezTo>
                      <a:pt x="759" y="2492"/>
                      <a:pt x="791" y="2486"/>
                      <a:pt x="818" y="2469"/>
                    </a:cubicBezTo>
                    <a:cubicBezTo>
                      <a:pt x="861" y="2440"/>
                      <a:pt x="892" y="2410"/>
                      <a:pt x="905" y="2387"/>
                    </a:cubicBezTo>
                    <a:cubicBezTo>
                      <a:pt x="918" y="2365"/>
                      <a:pt x="928" y="2343"/>
                      <a:pt x="938" y="2334"/>
                    </a:cubicBezTo>
                    <a:cubicBezTo>
                      <a:pt x="936" y="2331"/>
                      <a:pt x="931" y="2326"/>
                      <a:pt x="919" y="2326"/>
                    </a:cubicBezTo>
                    <a:cubicBezTo>
                      <a:pt x="912" y="2326"/>
                      <a:pt x="902" y="2328"/>
                      <a:pt x="888" y="2335"/>
                    </a:cubicBezTo>
                    <a:cubicBezTo>
                      <a:pt x="850" y="2354"/>
                      <a:pt x="817" y="2373"/>
                      <a:pt x="791" y="2373"/>
                    </a:cubicBezTo>
                    <a:cubicBezTo>
                      <a:pt x="784" y="2373"/>
                      <a:pt x="777" y="2371"/>
                      <a:pt x="771" y="2368"/>
                    </a:cubicBezTo>
                    <a:cubicBezTo>
                      <a:pt x="749" y="2353"/>
                      <a:pt x="735" y="2346"/>
                      <a:pt x="730" y="2314"/>
                    </a:cubicBezTo>
                    <a:cubicBezTo>
                      <a:pt x="724" y="2284"/>
                      <a:pt x="716" y="2258"/>
                      <a:pt x="682" y="2249"/>
                    </a:cubicBezTo>
                    <a:cubicBezTo>
                      <a:pt x="647" y="2240"/>
                      <a:pt x="609" y="2237"/>
                      <a:pt x="596" y="2231"/>
                    </a:cubicBezTo>
                    <a:cubicBezTo>
                      <a:pt x="590" y="2229"/>
                      <a:pt x="577" y="2222"/>
                      <a:pt x="565" y="2216"/>
                    </a:cubicBezTo>
                    <a:cubicBezTo>
                      <a:pt x="559" y="2213"/>
                      <a:pt x="553" y="2210"/>
                      <a:pt x="549" y="2207"/>
                    </a:cubicBezTo>
                    <a:cubicBezTo>
                      <a:pt x="548" y="2207"/>
                      <a:pt x="547" y="2207"/>
                      <a:pt x="547" y="2206"/>
                    </a:cubicBezTo>
                    <a:cubicBezTo>
                      <a:pt x="544" y="2212"/>
                      <a:pt x="541" y="2220"/>
                      <a:pt x="541" y="2229"/>
                    </a:cubicBezTo>
                    <a:close/>
                    <a:moveTo>
                      <a:pt x="7337" y="5445"/>
                    </a:moveTo>
                    <a:cubicBezTo>
                      <a:pt x="7328" y="5541"/>
                      <a:pt x="7328" y="5541"/>
                      <a:pt x="7328" y="5541"/>
                    </a:cubicBezTo>
                    <a:cubicBezTo>
                      <a:pt x="7310" y="5539"/>
                      <a:pt x="7310" y="5539"/>
                      <a:pt x="7310" y="5539"/>
                    </a:cubicBezTo>
                    <a:cubicBezTo>
                      <a:pt x="7306" y="5589"/>
                      <a:pt x="7306" y="5589"/>
                      <a:pt x="7306" y="5589"/>
                    </a:cubicBezTo>
                    <a:cubicBezTo>
                      <a:pt x="7108" y="5574"/>
                      <a:pt x="7108" y="5574"/>
                      <a:pt x="7108" y="5574"/>
                    </a:cubicBezTo>
                    <a:cubicBezTo>
                      <a:pt x="7108" y="5568"/>
                      <a:pt x="7108" y="5568"/>
                      <a:pt x="7108" y="5568"/>
                    </a:cubicBezTo>
                    <a:cubicBezTo>
                      <a:pt x="7114" y="5499"/>
                      <a:pt x="7114" y="5499"/>
                      <a:pt x="7114" y="5499"/>
                    </a:cubicBezTo>
                    <a:cubicBezTo>
                      <a:pt x="7190" y="5505"/>
                      <a:pt x="7190" y="5505"/>
                      <a:pt x="7190" y="5505"/>
                    </a:cubicBezTo>
                    <a:cubicBezTo>
                      <a:pt x="7196" y="5433"/>
                      <a:pt x="7196" y="5433"/>
                      <a:pt x="7196" y="5433"/>
                    </a:cubicBezTo>
                    <a:lnTo>
                      <a:pt x="7337" y="5445"/>
                    </a:lnTo>
                    <a:close/>
                    <a:moveTo>
                      <a:pt x="7322" y="5457"/>
                    </a:moveTo>
                    <a:cubicBezTo>
                      <a:pt x="7208" y="5447"/>
                      <a:pt x="7208" y="5447"/>
                      <a:pt x="7208" y="5447"/>
                    </a:cubicBezTo>
                    <a:cubicBezTo>
                      <a:pt x="7202" y="5520"/>
                      <a:pt x="7202" y="5520"/>
                      <a:pt x="7202" y="5520"/>
                    </a:cubicBezTo>
                    <a:cubicBezTo>
                      <a:pt x="7126" y="5513"/>
                      <a:pt x="7126" y="5513"/>
                      <a:pt x="7126" y="5513"/>
                    </a:cubicBezTo>
                    <a:cubicBezTo>
                      <a:pt x="7122" y="5562"/>
                      <a:pt x="7122" y="5562"/>
                      <a:pt x="7122" y="5562"/>
                    </a:cubicBezTo>
                    <a:cubicBezTo>
                      <a:pt x="7294" y="5575"/>
                      <a:pt x="7294" y="5575"/>
                      <a:pt x="7294" y="5575"/>
                    </a:cubicBezTo>
                    <a:cubicBezTo>
                      <a:pt x="7298" y="5525"/>
                      <a:pt x="7298" y="5525"/>
                      <a:pt x="7298" y="5525"/>
                    </a:cubicBezTo>
                    <a:cubicBezTo>
                      <a:pt x="7316" y="5527"/>
                      <a:pt x="7316" y="5527"/>
                      <a:pt x="7316" y="5527"/>
                    </a:cubicBezTo>
                    <a:lnTo>
                      <a:pt x="7322" y="5457"/>
                    </a:lnTo>
                    <a:close/>
                    <a:moveTo>
                      <a:pt x="3259" y="1636"/>
                    </a:moveTo>
                    <a:cubicBezTo>
                      <a:pt x="3244" y="1604"/>
                      <a:pt x="3244" y="1604"/>
                      <a:pt x="3244" y="1604"/>
                    </a:cubicBezTo>
                    <a:cubicBezTo>
                      <a:pt x="3524" y="1462"/>
                      <a:pt x="3524" y="1462"/>
                      <a:pt x="3524" y="1462"/>
                    </a:cubicBezTo>
                    <a:cubicBezTo>
                      <a:pt x="3548" y="1517"/>
                      <a:pt x="3548" y="1517"/>
                      <a:pt x="3548" y="1517"/>
                    </a:cubicBezTo>
                    <a:cubicBezTo>
                      <a:pt x="3796" y="1402"/>
                      <a:pt x="3796" y="1402"/>
                      <a:pt x="3796" y="1402"/>
                    </a:cubicBezTo>
                    <a:cubicBezTo>
                      <a:pt x="3799" y="1409"/>
                      <a:pt x="3799" y="1409"/>
                      <a:pt x="3799" y="1409"/>
                    </a:cubicBezTo>
                    <a:cubicBezTo>
                      <a:pt x="3918" y="1686"/>
                      <a:pt x="3918" y="1686"/>
                      <a:pt x="3918" y="1686"/>
                    </a:cubicBezTo>
                    <a:cubicBezTo>
                      <a:pt x="3803" y="1730"/>
                      <a:pt x="3803" y="1730"/>
                      <a:pt x="3803" y="1730"/>
                    </a:cubicBezTo>
                    <a:cubicBezTo>
                      <a:pt x="3825" y="1779"/>
                      <a:pt x="3825" y="1779"/>
                      <a:pt x="3825" y="1779"/>
                    </a:cubicBezTo>
                    <a:cubicBezTo>
                      <a:pt x="3816" y="1781"/>
                      <a:pt x="3816" y="1781"/>
                      <a:pt x="3816" y="1781"/>
                    </a:cubicBezTo>
                    <a:cubicBezTo>
                      <a:pt x="3816" y="1781"/>
                      <a:pt x="3732" y="1802"/>
                      <a:pt x="3675" y="1828"/>
                    </a:cubicBezTo>
                    <a:cubicBezTo>
                      <a:pt x="3617" y="1854"/>
                      <a:pt x="3552" y="1897"/>
                      <a:pt x="3552" y="1897"/>
                    </a:cubicBezTo>
                    <a:cubicBezTo>
                      <a:pt x="3546" y="1901"/>
                      <a:pt x="3546" y="1901"/>
                      <a:pt x="3546" y="1901"/>
                    </a:cubicBezTo>
                    <a:cubicBezTo>
                      <a:pt x="3516" y="1856"/>
                      <a:pt x="3516" y="1856"/>
                      <a:pt x="3516" y="1856"/>
                    </a:cubicBezTo>
                    <a:cubicBezTo>
                      <a:pt x="3507" y="1863"/>
                      <a:pt x="3484" y="1880"/>
                      <a:pt x="3436" y="1914"/>
                    </a:cubicBezTo>
                    <a:cubicBezTo>
                      <a:pt x="3373" y="1956"/>
                      <a:pt x="3369" y="2088"/>
                      <a:pt x="3370" y="2102"/>
                    </a:cubicBezTo>
                    <a:cubicBezTo>
                      <a:pt x="3370" y="2103"/>
                      <a:pt x="3370" y="2103"/>
                      <a:pt x="3370" y="2103"/>
                    </a:cubicBezTo>
                    <a:cubicBezTo>
                      <a:pt x="3356" y="2106"/>
                      <a:pt x="3356" y="2106"/>
                      <a:pt x="3356" y="2106"/>
                    </a:cubicBezTo>
                    <a:cubicBezTo>
                      <a:pt x="3162" y="1685"/>
                      <a:pt x="3162" y="1685"/>
                      <a:pt x="3162" y="1685"/>
                    </a:cubicBezTo>
                    <a:lnTo>
                      <a:pt x="3259" y="1636"/>
                    </a:lnTo>
                    <a:close/>
                    <a:moveTo>
                      <a:pt x="3263" y="1610"/>
                    </a:moveTo>
                    <a:cubicBezTo>
                      <a:pt x="3278" y="1643"/>
                      <a:pt x="3278" y="1643"/>
                      <a:pt x="3278" y="1643"/>
                    </a:cubicBezTo>
                    <a:cubicBezTo>
                      <a:pt x="3181" y="1692"/>
                      <a:pt x="3181" y="1692"/>
                      <a:pt x="3181" y="1692"/>
                    </a:cubicBezTo>
                    <a:cubicBezTo>
                      <a:pt x="3356" y="2072"/>
                      <a:pt x="3356" y="2072"/>
                      <a:pt x="3356" y="2072"/>
                    </a:cubicBezTo>
                    <a:cubicBezTo>
                      <a:pt x="3360" y="2026"/>
                      <a:pt x="3373" y="1940"/>
                      <a:pt x="3427" y="1902"/>
                    </a:cubicBezTo>
                    <a:cubicBezTo>
                      <a:pt x="3498" y="1852"/>
                      <a:pt x="3513" y="1840"/>
                      <a:pt x="3514" y="1840"/>
                    </a:cubicBezTo>
                    <a:cubicBezTo>
                      <a:pt x="3520" y="1835"/>
                      <a:pt x="3520" y="1835"/>
                      <a:pt x="3520" y="1835"/>
                    </a:cubicBezTo>
                    <a:cubicBezTo>
                      <a:pt x="3550" y="1881"/>
                      <a:pt x="3550" y="1881"/>
                      <a:pt x="3550" y="1881"/>
                    </a:cubicBezTo>
                    <a:cubicBezTo>
                      <a:pt x="3568" y="1870"/>
                      <a:pt x="3620" y="1837"/>
                      <a:pt x="3668" y="1815"/>
                    </a:cubicBezTo>
                    <a:cubicBezTo>
                      <a:pt x="3716" y="1793"/>
                      <a:pt x="3781" y="1775"/>
                      <a:pt x="3804" y="1769"/>
                    </a:cubicBezTo>
                    <a:cubicBezTo>
                      <a:pt x="3783" y="1722"/>
                      <a:pt x="3783" y="1722"/>
                      <a:pt x="3783" y="1722"/>
                    </a:cubicBezTo>
                    <a:cubicBezTo>
                      <a:pt x="3898" y="1678"/>
                      <a:pt x="3898" y="1678"/>
                      <a:pt x="3898" y="1678"/>
                    </a:cubicBezTo>
                    <a:cubicBezTo>
                      <a:pt x="3788" y="1422"/>
                      <a:pt x="3788" y="1422"/>
                      <a:pt x="3788" y="1422"/>
                    </a:cubicBezTo>
                    <a:cubicBezTo>
                      <a:pt x="3540" y="1536"/>
                      <a:pt x="3540" y="1536"/>
                      <a:pt x="3540" y="1536"/>
                    </a:cubicBezTo>
                    <a:cubicBezTo>
                      <a:pt x="3517" y="1482"/>
                      <a:pt x="3517" y="1482"/>
                      <a:pt x="3517" y="1482"/>
                    </a:cubicBezTo>
                    <a:lnTo>
                      <a:pt x="3263" y="1610"/>
                    </a:lnTo>
                    <a:close/>
                    <a:moveTo>
                      <a:pt x="4181" y="1284"/>
                    </a:moveTo>
                    <a:cubicBezTo>
                      <a:pt x="4222" y="1498"/>
                      <a:pt x="4222" y="1498"/>
                      <a:pt x="4222" y="1498"/>
                    </a:cubicBezTo>
                    <a:cubicBezTo>
                      <a:pt x="4190" y="1512"/>
                      <a:pt x="4190" y="1512"/>
                      <a:pt x="4190" y="1512"/>
                    </a:cubicBezTo>
                    <a:cubicBezTo>
                      <a:pt x="4107" y="1308"/>
                      <a:pt x="4107" y="1308"/>
                      <a:pt x="4107" y="1308"/>
                    </a:cubicBezTo>
                    <a:cubicBezTo>
                      <a:pt x="4179" y="1275"/>
                      <a:pt x="4179" y="1275"/>
                      <a:pt x="4179" y="1275"/>
                    </a:cubicBezTo>
                    <a:lnTo>
                      <a:pt x="4181" y="1284"/>
                    </a:lnTo>
                    <a:close/>
                    <a:moveTo>
                      <a:pt x="4205" y="1489"/>
                    </a:moveTo>
                    <a:cubicBezTo>
                      <a:pt x="4168" y="1296"/>
                      <a:pt x="4168" y="1296"/>
                      <a:pt x="4168" y="1296"/>
                    </a:cubicBezTo>
                    <a:cubicBezTo>
                      <a:pt x="4126" y="1316"/>
                      <a:pt x="4126" y="1316"/>
                      <a:pt x="4126" y="1316"/>
                    </a:cubicBezTo>
                    <a:cubicBezTo>
                      <a:pt x="4198" y="1492"/>
                      <a:pt x="4198" y="1492"/>
                      <a:pt x="4198" y="1492"/>
                    </a:cubicBezTo>
                    <a:lnTo>
                      <a:pt x="4205" y="1489"/>
                    </a:lnTo>
                    <a:close/>
                    <a:moveTo>
                      <a:pt x="6996" y="8606"/>
                    </a:moveTo>
                    <a:cubicBezTo>
                      <a:pt x="6992" y="8489"/>
                      <a:pt x="6992" y="8489"/>
                      <a:pt x="6992" y="8489"/>
                    </a:cubicBezTo>
                    <a:cubicBezTo>
                      <a:pt x="7110" y="8488"/>
                      <a:pt x="7110" y="8488"/>
                      <a:pt x="7110" y="8488"/>
                    </a:cubicBezTo>
                    <a:cubicBezTo>
                      <a:pt x="7110" y="8499"/>
                      <a:pt x="7110" y="8499"/>
                      <a:pt x="7110" y="8499"/>
                    </a:cubicBezTo>
                    <a:cubicBezTo>
                      <a:pt x="7162" y="8499"/>
                      <a:pt x="7162" y="8499"/>
                      <a:pt x="7162" y="8499"/>
                    </a:cubicBezTo>
                    <a:cubicBezTo>
                      <a:pt x="7164" y="8684"/>
                      <a:pt x="7164" y="8684"/>
                      <a:pt x="7164" y="8684"/>
                    </a:cubicBezTo>
                    <a:cubicBezTo>
                      <a:pt x="7054" y="8685"/>
                      <a:pt x="7054" y="8685"/>
                      <a:pt x="7054" y="8685"/>
                    </a:cubicBezTo>
                    <a:cubicBezTo>
                      <a:pt x="7053" y="8612"/>
                      <a:pt x="7053" y="8612"/>
                      <a:pt x="7053" y="8612"/>
                    </a:cubicBezTo>
                    <a:cubicBezTo>
                      <a:pt x="6996" y="8612"/>
                      <a:pt x="6996" y="8612"/>
                      <a:pt x="6996" y="8612"/>
                    </a:cubicBezTo>
                    <a:lnTo>
                      <a:pt x="6996" y="8606"/>
                    </a:lnTo>
                    <a:close/>
                    <a:moveTo>
                      <a:pt x="7006" y="8502"/>
                    </a:moveTo>
                    <a:cubicBezTo>
                      <a:pt x="7009" y="8599"/>
                      <a:pt x="7009" y="8599"/>
                      <a:pt x="7009" y="8599"/>
                    </a:cubicBezTo>
                    <a:cubicBezTo>
                      <a:pt x="7066" y="8598"/>
                      <a:pt x="7066" y="8598"/>
                      <a:pt x="7066" y="8598"/>
                    </a:cubicBezTo>
                    <a:cubicBezTo>
                      <a:pt x="7067" y="8672"/>
                      <a:pt x="7067" y="8672"/>
                      <a:pt x="7067" y="8672"/>
                    </a:cubicBezTo>
                    <a:cubicBezTo>
                      <a:pt x="7150" y="8671"/>
                      <a:pt x="7150" y="8671"/>
                      <a:pt x="7150" y="8671"/>
                    </a:cubicBezTo>
                    <a:cubicBezTo>
                      <a:pt x="7149" y="8512"/>
                      <a:pt x="7149" y="8512"/>
                      <a:pt x="7149" y="8512"/>
                    </a:cubicBezTo>
                    <a:cubicBezTo>
                      <a:pt x="7097" y="8512"/>
                      <a:pt x="7097" y="8512"/>
                      <a:pt x="7097" y="8512"/>
                    </a:cubicBezTo>
                    <a:cubicBezTo>
                      <a:pt x="7097" y="8502"/>
                      <a:pt x="7097" y="8502"/>
                      <a:pt x="7097" y="8502"/>
                    </a:cubicBezTo>
                    <a:lnTo>
                      <a:pt x="7006" y="8502"/>
                    </a:lnTo>
                    <a:close/>
                    <a:moveTo>
                      <a:pt x="6486" y="8816"/>
                    </a:moveTo>
                    <a:cubicBezTo>
                      <a:pt x="6486" y="8891"/>
                      <a:pt x="6486" y="8891"/>
                      <a:pt x="6486" y="8891"/>
                    </a:cubicBezTo>
                    <a:cubicBezTo>
                      <a:pt x="6335" y="8893"/>
                      <a:pt x="6335" y="8893"/>
                      <a:pt x="6335" y="8893"/>
                    </a:cubicBezTo>
                    <a:cubicBezTo>
                      <a:pt x="6334" y="8817"/>
                      <a:pt x="6334" y="8817"/>
                      <a:pt x="6334" y="8817"/>
                    </a:cubicBezTo>
                    <a:cubicBezTo>
                      <a:pt x="6341" y="8817"/>
                      <a:pt x="6341" y="8817"/>
                      <a:pt x="6341" y="8817"/>
                    </a:cubicBezTo>
                    <a:lnTo>
                      <a:pt x="6486" y="8816"/>
                    </a:lnTo>
                    <a:close/>
                    <a:moveTo>
                      <a:pt x="6473" y="8878"/>
                    </a:moveTo>
                    <a:cubicBezTo>
                      <a:pt x="6472" y="8829"/>
                      <a:pt x="6472" y="8829"/>
                      <a:pt x="6472" y="8829"/>
                    </a:cubicBezTo>
                    <a:cubicBezTo>
                      <a:pt x="6347" y="8830"/>
                      <a:pt x="6347" y="8830"/>
                      <a:pt x="6347" y="8830"/>
                    </a:cubicBezTo>
                    <a:cubicBezTo>
                      <a:pt x="6348" y="8879"/>
                      <a:pt x="6348" y="8879"/>
                      <a:pt x="6348" y="8879"/>
                    </a:cubicBezTo>
                    <a:lnTo>
                      <a:pt x="6473" y="8878"/>
                    </a:lnTo>
                    <a:close/>
                  </a:path>
                </a:pathLst>
              </a:custGeom>
              <a:gradFill>
                <a:gsLst>
                  <a:gs pos="33000">
                    <a:srgbClr val="966600">
                      <a:alpha val="0"/>
                    </a:srgbClr>
                  </a:gs>
                  <a:gs pos="100000">
                    <a:srgbClr val="966600"/>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34" name="Freeform 27">
                <a:extLst>
                  <a:ext uri="{FF2B5EF4-FFF2-40B4-BE49-F238E27FC236}">
                    <a16:creationId xmlns:a16="http://schemas.microsoft.com/office/drawing/2014/main" id="{2453E3AF-2DA6-4F04-BFC9-22062AA083A3}"/>
                  </a:ext>
                </a:extLst>
              </p:cNvPr>
              <p:cNvSpPr>
                <a:spLocks noSelect="1"/>
              </p:cNvSpPr>
              <p:nvPr userDrawn="1"/>
            </p:nvSpPr>
            <p:spPr bwMode="gray">
              <a:xfrm>
                <a:off x="4079" y="1437"/>
                <a:ext cx="3603" cy="2160"/>
              </a:xfrm>
              <a:custGeom>
                <a:avLst/>
                <a:gdLst>
                  <a:gd name="T0" fmla="*/ 12533 w 18011"/>
                  <a:gd name="T1" fmla="*/ 1549 h 10812"/>
                  <a:gd name="T2" fmla="*/ 6978 w 18011"/>
                  <a:gd name="T3" fmla="*/ 550 h 10812"/>
                  <a:gd name="T4" fmla="*/ 3914 w 18011"/>
                  <a:gd name="T5" fmla="*/ 521 h 10812"/>
                  <a:gd name="T6" fmla="*/ 2472 w 18011"/>
                  <a:gd name="T7" fmla="*/ 763 h 10812"/>
                  <a:gd name="T8" fmla="*/ 347 w 18011"/>
                  <a:gd name="T9" fmla="*/ 2094 h 10812"/>
                  <a:gd name="T10" fmla="*/ 2541 w 18011"/>
                  <a:gd name="T11" fmla="*/ 1464 h 10812"/>
                  <a:gd name="T12" fmla="*/ 3586 w 18011"/>
                  <a:gd name="T13" fmla="*/ 1080 h 10812"/>
                  <a:gd name="T14" fmla="*/ 1944 w 18011"/>
                  <a:gd name="T15" fmla="*/ 5115 h 10812"/>
                  <a:gd name="T16" fmla="*/ 405 w 18011"/>
                  <a:gd name="T17" fmla="*/ 4215 h 10812"/>
                  <a:gd name="T18" fmla="*/ 612 w 18011"/>
                  <a:gd name="T19" fmla="*/ 6186 h 10812"/>
                  <a:gd name="T20" fmla="*/ 142 w 18011"/>
                  <a:gd name="T21" fmla="*/ 5466 h 10812"/>
                  <a:gd name="T22" fmla="*/ 227 w 18011"/>
                  <a:gd name="T23" fmla="*/ 8170 h 10812"/>
                  <a:gd name="T24" fmla="*/ 1860 w 18011"/>
                  <a:gd name="T25" fmla="*/ 9979 h 10812"/>
                  <a:gd name="T26" fmla="*/ 573 w 18011"/>
                  <a:gd name="T27" fmla="*/ 10351 h 10812"/>
                  <a:gd name="T28" fmla="*/ 4500 w 18011"/>
                  <a:gd name="T29" fmla="*/ 10001 h 10812"/>
                  <a:gd name="T30" fmla="*/ 9190 w 18011"/>
                  <a:gd name="T31" fmla="*/ 10812 h 10812"/>
                  <a:gd name="T32" fmla="*/ 12509 w 18011"/>
                  <a:gd name="T33" fmla="*/ 9090 h 10812"/>
                  <a:gd name="T34" fmla="*/ 17308 w 18011"/>
                  <a:gd name="T35" fmla="*/ 8363 h 10812"/>
                  <a:gd name="T36" fmla="*/ 14995 w 18011"/>
                  <a:gd name="T37" fmla="*/ 3640 h 10812"/>
                  <a:gd name="T38" fmla="*/ 10797 w 18011"/>
                  <a:gd name="T39" fmla="*/ 2250 h 10812"/>
                  <a:gd name="T40" fmla="*/ 11711 w 18011"/>
                  <a:gd name="T41" fmla="*/ 3255 h 10812"/>
                  <a:gd name="T42" fmla="*/ 7739 w 18011"/>
                  <a:gd name="T43" fmla="*/ 7137 h 10812"/>
                  <a:gd name="T44" fmla="*/ 4650 w 18011"/>
                  <a:gd name="T45" fmla="*/ 5879 h 10812"/>
                  <a:gd name="T46" fmla="*/ 4223 w 18011"/>
                  <a:gd name="T47" fmla="*/ 4876 h 10812"/>
                  <a:gd name="T48" fmla="*/ 4022 w 18011"/>
                  <a:gd name="T49" fmla="*/ 5157 h 10812"/>
                  <a:gd name="T50" fmla="*/ 8468 w 18011"/>
                  <a:gd name="T51" fmla="*/ 3093 h 10812"/>
                  <a:gd name="T52" fmla="*/ 5942 w 18011"/>
                  <a:gd name="T53" fmla="*/ 4455 h 10812"/>
                  <a:gd name="T54" fmla="*/ 4250 w 18011"/>
                  <a:gd name="T55" fmla="*/ 5633 h 10812"/>
                  <a:gd name="T56" fmla="*/ 4752 w 18011"/>
                  <a:gd name="T57" fmla="*/ 5501 h 10812"/>
                  <a:gd name="T58" fmla="*/ 6082 w 18011"/>
                  <a:gd name="T59" fmla="*/ 3729 h 10812"/>
                  <a:gd name="T60" fmla="*/ 5353 w 18011"/>
                  <a:gd name="T61" fmla="*/ 2880 h 10812"/>
                  <a:gd name="T62" fmla="*/ 5016 w 18011"/>
                  <a:gd name="T63" fmla="*/ 6132 h 10812"/>
                  <a:gd name="T64" fmla="*/ 4072 w 18011"/>
                  <a:gd name="T65" fmla="*/ 7813 h 10812"/>
                  <a:gd name="T66" fmla="*/ 8682 w 18011"/>
                  <a:gd name="T67" fmla="*/ 1361 h 10812"/>
                  <a:gd name="T68" fmla="*/ 6714 w 18011"/>
                  <a:gd name="T69" fmla="*/ 3702 h 10812"/>
                  <a:gd name="T70" fmla="*/ 5316 w 18011"/>
                  <a:gd name="T71" fmla="*/ 1990 h 10812"/>
                  <a:gd name="T72" fmla="*/ 3788 w 18011"/>
                  <a:gd name="T73" fmla="*/ 1115 h 10812"/>
                  <a:gd name="T74" fmla="*/ 3764 w 18011"/>
                  <a:gd name="T75" fmla="*/ 1152 h 10812"/>
                  <a:gd name="T76" fmla="*/ 2308 w 18011"/>
                  <a:gd name="T77" fmla="*/ 3003 h 10812"/>
                  <a:gd name="T78" fmla="*/ 1166 w 18011"/>
                  <a:gd name="T79" fmla="*/ 3415 h 10812"/>
                  <a:gd name="T80" fmla="*/ 2303 w 18011"/>
                  <a:gd name="T81" fmla="*/ 4613 h 10812"/>
                  <a:gd name="T82" fmla="*/ 2709 w 18011"/>
                  <a:gd name="T83" fmla="*/ 6522 h 10812"/>
                  <a:gd name="T84" fmla="*/ 1185 w 18011"/>
                  <a:gd name="T85" fmla="*/ 4393 h 10812"/>
                  <a:gd name="T86" fmla="*/ 611 w 18011"/>
                  <a:gd name="T87" fmla="*/ 5580 h 10812"/>
                  <a:gd name="T88" fmla="*/ 1147 w 18011"/>
                  <a:gd name="T89" fmla="*/ 6881 h 10812"/>
                  <a:gd name="T90" fmla="*/ 1266 w 18011"/>
                  <a:gd name="T91" fmla="*/ 8597 h 10812"/>
                  <a:gd name="T92" fmla="*/ 2608 w 18011"/>
                  <a:gd name="T93" fmla="*/ 8718 h 10812"/>
                  <a:gd name="T94" fmla="*/ 4160 w 18011"/>
                  <a:gd name="T95" fmla="*/ 8117 h 10812"/>
                  <a:gd name="T96" fmla="*/ 6000 w 18011"/>
                  <a:gd name="T97" fmla="*/ 9983 h 10812"/>
                  <a:gd name="T98" fmla="*/ 7466 w 18011"/>
                  <a:gd name="T99" fmla="*/ 8988 h 10812"/>
                  <a:gd name="T100" fmla="*/ 11316 w 18011"/>
                  <a:gd name="T101" fmla="*/ 9017 h 10812"/>
                  <a:gd name="T102" fmla="*/ 12550 w 18011"/>
                  <a:gd name="T103" fmla="*/ 6987 h 10812"/>
                  <a:gd name="T104" fmla="*/ 16680 w 18011"/>
                  <a:gd name="T105" fmla="*/ 9055 h 10812"/>
                  <a:gd name="T106" fmla="*/ 13766 w 18011"/>
                  <a:gd name="T107" fmla="*/ 8833 h 10812"/>
                  <a:gd name="T108" fmla="*/ 12291 w 18011"/>
                  <a:gd name="T109" fmla="*/ 7169 h 10812"/>
                  <a:gd name="T110" fmla="*/ 8796 w 18011"/>
                  <a:gd name="T111" fmla="*/ 6507 h 10812"/>
                  <a:gd name="T112" fmla="*/ 11080 w 18011"/>
                  <a:gd name="T113" fmla="*/ 2632 h 10812"/>
                  <a:gd name="T114" fmla="*/ 2827 w 18011"/>
                  <a:gd name="T115" fmla="*/ 3987 h 10812"/>
                  <a:gd name="T116" fmla="*/ 702 w 18011"/>
                  <a:gd name="T117" fmla="*/ 2502 h 10812"/>
                  <a:gd name="T118" fmla="*/ 1043 w 18011"/>
                  <a:gd name="T119" fmla="*/ 11 h 10812"/>
                  <a:gd name="T120" fmla="*/ 1562 w 18011"/>
                  <a:gd name="T121" fmla="*/ 274 h 10812"/>
                  <a:gd name="T122" fmla="*/ 1698 w 18011"/>
                  <a:gd name="T123" fmla="*/ 1406 h 10812"/>
                  <a:gd name="T124" fmla="*/ 2172 w 18011"/>
                  <a:gd name="T125" fmla="*/ 3389 h 10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11" h="10812">
                    <a:moveTo>
                      <a:pt x="17155" y="911"/>
                    </a:moveTo>
                    <a:cubicBezTo>
                      <a:pt x="17181" y="908"/>
                      <a:pt x="17403" y="881"/>
                      <a:pt x="17631" y="854"/>
                    </a:cubicBezTo>
                    <a:cubicBezTo>
                      <a:pt x="17770" y="838"/>
                      <a:pt x="17911" y="822"/>
                      <a:pt x="18011" y="810"/>
                    </a:cubicBezTo>
                    <a:cubicBezTo>
                      <a:pt x="18011" y="694"/>
                      <a:pt x="18011" y="694"/>
                      <a:pt x="18011" y="694"/>
                    </a:cubicBezTo>
                    <a:cubicBezTo>
                      <a:pt x="18001" y="696"/>
                      <a:pt x="17990" y="697"/>
                      <a:pt x="17978" y="698"/>
                    </a:cubicBezTo>
                    <a:cubicBezTo>
                      <a:pt x="17884" y="709"/>
                      <a:pt x="17760" y="724"/>
                      <a:pt x="17635" y="738"/>
                    </a:cubicBezTo>
                    <a:cubicBezTo>
                      <a:pt x="17387" y="768"/>
                      <a:pt x="17140" y="797"/>
                      <a:pt x="17140" y="797"/>
                    </a:cubicBezTo>
                    <a:cubicBezTo>
                      <a:pt x="17137" y="797"/>
                      <a:pt x="17137" y="797"/>
                      <a:pt x="17137" y="797"/>
                    </a:cubicBezTo>
                    <a:cubicBezTo>
                      <a:pt x="15704" y="1091"/>
                      <a:pt x="15704" y="1091"/>
                      <a:pt x="15704" y="1091"/>
                    </a:cubicBezTo>
                    <a:cubicBezTo>
                      <a:pt x="15698" y="1093"/>
                      <a:pt x="15698" y="1093"/>
                      <a:pt x="15698" y="1093"/>
                    </a:cubicBezTo>
                    <a:cubicBezTo>
                      <a:pt x="15698" y="1093"/>
                      <a:pt x="15685" y="1099"/>
                      <a:pt x="15667" y="1107"/>
                    </a:cubicBezTo>
                    <a:cubicBezTo>
                      <a:pt x="15665" y="1099"/>
                      <a:pt x="15662" y="1087"/>
                      <a:pt x="15662" y="1087"/>
                    </a:cubicBezTo>
                    <a:cubicBezTo>
                      <a:pt x="15662" y="1087"/>
                      <a:pt x="15662" y="1087"/>
                      <a:pt x="15662" y="1087"/>
                    </a:cubicBezTo>
                    <a:cubicBezTo>
                      <a:pt x="15639" y="904"/>
                      <a:pt x="15576" y="398"/>
                      <a:pt x="15527" y="11"/>
                    </a:cubicBezTo>
                    <a:cubicBezTo>
                      <a:pt x="15491" y="11"/>
                      <a:pt x="15491" y="11"/>
                      <a:pt x="15491" y="11"/>
                    </a:cubicBezTo>
                    <a:cubicBezTo>
                      <a:pt x="15514" y="198"/>
                      <a:pt x="15541" y="413"/>
                      <a:pt x="15566" y="607"/>
                    </a:cubicBezTo>
                    <a:cubicBezTo>
                      <a:pt x="15593" y="828"/>
                      <a:pt x="15617" y="1019"/>
                      <a:pt x="15628" y="1108"/>
                    </a:cubicBezTo>
                    <a:cubicBezTo>
                      <a:pt x="15628" y="1114"/>
                      <a:pt x="15629" y="1121"/>
                      <a:pt x="15629" y="1123"/>
                    </a:cubicBezTo>
                    <a:cubicBezTo>
                      <a:pt x="15594" y="1138"/>
                      <a:pt x="15555" y="1154"/>
                      <a:pt x="15541" y="1161"/>
                    </a:cubicBezTo>
                    <a:cubicBezTo>
                      <a:pt x="15535" y="1164"/>
                      <a:pt x="15532" y="1165"/>
                      <a:pt x="15524" y="1169"/>
                    </a:cubicBezTo>
                    <a:cubicBezTo>
                      <a:pt x="15518" y="1173"/>
                      <a:pt x="15509" y="1178"/>
                      <a:pt x="15498" y="1184"/>
                    </a:cubicBezTo>
                    <a:cubicBezTo>
                      <a:pt x="15477" y="1196"/>
                      <a:pt x="15448" y="1212"/>
                      <a:pt x="15414" y="1231"/>
                    </a:cubicBezTo>
                    <a:cubicBezTo>
                      <a:pt x="15344" y="1270"/>
                      <a:pt x="15252" y="1321"/>
                      <a:pt x="15153" y="1375"/>
                    </a:cubicBezTo>
                    <a:cubicBezTo>
                      <a:pt x="14956" y="1482"/>
                      <a:pt x="14729" y="1600"/>
                      <a:pt x="14614" y="1642"/>
                    </a:cubicBezTo>
                    <a:cubicBezTo>
                      <a:pt x="14499" y="1683"/>
                      <a:pt x="14391" y="1720"/>
                      <a:pt x="14306" y="1747"/>
                    </a:cubicBezTo>
                    <a:cubicBezTo>
                      <a:pt x="14224" y="1774"/>
                      <a:pt x="14161" y="1793"/>
                      <a:pt x="14148" y="1795"/>
                    </a:cubicBezTo>
                    <a:cubicBezTo>
                      <a:pt x="14143" y="1795"/>
                      <a:pt x="14143" y="1796"/>
                      <a:pt x="14140" y="1796"/>
                    </a:cubicBezTo>
                    <a:cubicBezTo>
                      <a:pt x="14138" y="1797"/>
                      <a:pt x="14135" y="1797"/>
                      <a:pt x="14132" y="1798"/>
                    </a:cubicBezTo>
                    <a:cubicBezTo>
                      <a:pt x="14125" y="1799"/>
                      <a:pt x="14116" y="1801"/>
                      <a:pt x="14105" y="1804"/>
                    </a:cubicBezTo>
                    <a:cubicBezTo>
                      <a:pt x="14083" y="1809"/>
                      <a:pt x="14053" y="1816"/>
                      <a:pt x="14018" y="1824"/>
                    </a:cubicBezTo>
                    <a:cubicBezTo>
                      <a:pt x="13947" y="1841"/>
                      <a:pt x="13854" y="1863"/>
                      <a:pt x="13762" y="1885"/>
                    </a:cubicBezTo>
                    <a:cubicBezTo>
                      <a:pt x="13629" y="1918"/>
                      <a:pt x="13497" y="1949"/>
                      <a:pt x="13434" y="1965"/>
                    </a:cubicBezTo>
                    <a:cubicBezTo>
                      <a:pt x="13401" y="1894"/>
                      <a:pt x="13348" y="1832"/>
                      <a:pt x="13273" y="1781"/>
                    </a:cubicBezTo>
                    <a:cubicBezTo>
                      <a:pt x="13184" y="1720"/>
                      <a:pt x="13066" y="1673"/>
                      <a:pt x="12914" y="1637"/>
                    </a:cubicBezTo>
                    <a:cubicBezTo>
                      <a:pt x="12783" y="1605"/>
                      <a:pt x="12658" y="1586"/>
                      <a:pt x="12541" y="1573"/>
                    </a:cubicBezTo>
                    <a:cubicBezTo>
                      <a:pt x="12533" y="1549"/>
                      <a:pt x="12533" y="1549"/>
                      <a:pt x="12533" y="1549"/>
                    </a:cubicBezTo>
                    <a:cubicBezTo>
                      <a:pt x="12533" y="1549"/>
                      <a:pt x="12532" y="1548"/>
                      <a:pt x="12532" y="1548"/>
                    </a:cubicBezTo>
                    <a:cubicBezTo>
                      <a:pt x="12067" y="36"/>
                      <a:pt x="12067" y="36"/>
                      <a:pt x="12067" y="36"/>
                    </a:cubicBezTo>
                    <a:cubicBezTo>
                      <a:pt x="12067" y="36"/>
                      <a:pt x="12064" y="26"/>
                      <a:pt x="12058" y="11"/>
                    </a:cubicBezTo>
                    <a:cubicBezTo>
                      <a:pt x="12019" y="11"/>
                      <a:pt x="12019" y="11"/>
                      <a:pt x="12019" y="11"/>
                    </a:cubicBezTo>
                    <a:cubicBezTo>
                      <a:pt x="12022" y="17"/>
                      <a:pt x="12024" y="23"/>
                      <a:pt x="12026" y="28"/>
                    </a:cubicBezTo>
                    <a:cubicBezTo>
                      <a:pt x="12031" y="39"/>
                      <a:pt x="12033" y="46"/>
                      <a:pt x="12033" y="46"/>
                    </a:cubicBezTo>
                    <a:cubicBezTo>
                      <a:pt x="12495" y="1550"/>
                      <a:pt x="12495" y="1550"/>
                      <a:pt x="12495" y="1550"/>
                    </a:cubicBezTo>
                    <a:cubicBezTo>
                      <a:pt x="12495" y="1553"/>
                      <a:pt x="12495" y="1562"/>
                      <a:pt x="12494" y="1568"/>
                    </a:cubicBezTo>
                    <a:cubicBezTo>
                      <a:pt x="12361" y="1555"/>
                      <a:pt x="12241" y="1551"/>
                      <a:pt x="12136" y="1546"/>
                    </a:cubicBezTo>
                    <a:cubicBezTo>
                      <a:pt x="11938" y="1537"/>
                      <a:pt x="11272" y="1492"/>
                      <a:pt x="11225" y="1488"/>
                    </a:cubicBezTo>
                    <a:cubicBezTo>
                      <a:pt x="11219" y="1487"/>
                      <a:pt x="11193" y="1483"/>
                      <a:pt x="11152" y="1474"/>
                    </a:cubicBezTo>
                    <a:cubicBezTo>
                      <a:pt x="11103" y="1465"/>
                      <a:pt x="11032" y="1451"/>
                      <a:pt x="10946" y="1431"/>
                    </a:cubicBezTo>
                    <a:cubicBezTo>
                      <a:pt x="10774" y="1393"/>
                      <a:pt x="10539" y="1333"/>
                      <a:pt x="10290" y="1251"/>
                    </a:cubicBezTo>
                    <a:cubicBezTo>
                      <a:pt x="10282" y="1248"/>
                      <a:pt x="10275" y="1246"/>
                      <a:pt x="10268" y="1244"/>
                    </a:cubicBezTo>
                    <a:cubicBezTo>
                      <a:pt x="10269" y="1220"/>
                      <a:pt x="10269" y="1220"/>
                      <a:pt x="10269" y="1220"/>
                    </a:cubicBezTo>
                    <a:cubicBezTo>
                      <a:pt x="10696" y="11"/>
                      <a:pt x="10696" y="11"/>
                      <a:pt x="10696" y="11"/>
                    </a:cubicBezTo>
                    <a:cubicBezTo>
                      <a:pt x="10658" y="11"/>
                      <a:pt x="10658" y="11"/>
                      <a:pt x="10658" y="11"/>
                    </a:cubicBezTo>
                    <a:cubicBezTo>
                      <a:pt x="10235" y="1206"/>
                      <a:pt x="10235" y="1206"/>
                      <a:pt x="10235" y="1206"/>
                    </a:cubicBezTo>
                    <a:cubicBezTo>
                      <a:pt x="10230" y="1213"/>
                      <a:pt x="10224" y="1222"/>
                      <a:pt x="10219" y="1227"/>
                    </a:cubicBezTo>
                    <a:cubicBezTo>
                      <a:pt x="9735" y="1062"/>
                      <a:pt x="9178" y="810"/>
                      <a:pt x="9023" y="743"/>
                    </a:cubicBezTo>
                    <a:cubicBezTo>
                      <a:pt x="8872" y="678"/>
                      <a:pt x="8729" y="547"/>
                      <a:pt x="8681" y="434"/>
                    </a:cubicBezTo>
                    <a:cubicBezTo>
                      <a:pt x="8651" y="367"/>
                      <a:pt x="8642" y="286"/>
                      <a:pt x="8642" y="203"/>
                    </a:cubicBezTo>
                    <a:cubicBezTo>
                      <a:pt x="8642" y="147"/>
                      <a:pt x="8646" y="91"/>
                      <a:pt x="8649" y="39"/>
                    </a:cubicBezTo>
                    <a:cubicBezTo>
                      <a:pt x="8649" y="32"/>
                      <a:pt x="8649" y="22"/>
                      <a:pt x="8650" y="11"/>
                    </a:cubicBezTo>
                    <a:cubicBezTo>
                      <a:pt x="8535" y="11"/>
                      <a:pt x="8535" y="11"/>
                      <a:pt x="8535" y="11"/>
                    </a:cubicBezTo>
                    <a:cubicBezTo>
                      <a:pt x="8535" y="20"/>
                      <a:pt x="8534" y="28"/>
                      <a:pt x="8534" y="34"/>
                    </a:cubicBezTo>
                    <a:cubicBezTo>
                      <a:pt x="8532" y="84"/>
                      <a:pt x="8527" y="142"/>
                      <a:pt x="8527" y="203"/>
                    </a:cubicBezTo>
                    <a:cubicBezTo>
                      <a:pt x="8528" y="293"/>
                      <a:pt x="8536" y="390"/>
                      <a:pt x="8576" y="481"/>
                    </a:cubicBezTo>
                    <a:cubicBezTo>
                      <a:pt x="8598" y="530"/>
                      <a:pt x="8631" y="578"/>
                      <a:pt x="8670" y="624"/>
                    </a:cubicBezTo>
                    <a:cubicBezTo>
                      <a:pt x="8653" y="638"/>
                      <a:pt x="8632" y="655"/>
                      <a:pt x="8607" y="672"/>
                    </a:cubicBezTo>
                    <a:cubicBezTo>
                      <a:pt x="8549" y="714"/>
                      <a:pt x="8474" y="757"/>
                      <a:pt x="8413" y="771"/>
                    </a:cubicBezTo>
                    <a:cubicBezTo>
                      <a:pt x="8343" y="787"/>
                      <a:pt x="8253" y="800"/>
                      <a:pt x="8181" y="809"/>
                    </a:cubicBezTo>
                    <a:cubicBezTo>
                      <a:pt x="8135" y="814"/>
                      <a:pt x="8096" y="818"/>
                      <a:pt x="8075" y="820"/>
                    </a:cubicBezTo>
                    <a:cubicBezTo>
                      <a:pt x="8008" y="777"/>
                      <a:pt x="7766" y="622"/>
                      <a:pt x="7562" y="571"/>
                    </a:cubicBezTo>
                    <a:cubicBezTo>
                      <a:pt x="7438" y="540"/>
                      <a:pt x="7323" y="528"/>
                      <a:pt x="7218" y="528"/>
                    </a:cubicBezTo>
                    <a:cubicBezTo>
                      <a:pt x="7130" y="528"/>
                      <a:pt x="7050" y="537"/>
                      <a:pt x="6978" y="550"/>
                    </a:cubicBezTo>
                    <a:cubicBezTo>
                      <a:pt x="6804" y="582"/>
                      <a:pt x="6732" y="702"/>
                      <a:pt x="6728" y="709"/>
                    </a:cubicBezTo>
                    <a:cubicBezTo>
                      <a:pt x="6727" y="710"/>
                      <a:pt x="6727" y="710"/>
                      <a:pt x="6727" y="710"/>
                    </a:cubicBezTo>
                    <a:cubicBezTo>
                      <a:pt x="6727" y="711"/>
                      <a:pt x="6727" y="711"/>
                      <a:pt x="6727" y="711"/>
                    </a:cubicBezTo>
                    <a:cubicBezTo>
                      <a:pt x="6696" y="766"/>
                      <a:pt x="6668" y="827"/>
                      <a:pt x="6654" y="857"/>
                    </a:cubicBezTo>
                    <a:cubicBezTo>
                      <a:pt x="6647" y="858"/>
                      <a:pt x="6636" y="859"/>
                      <a:pt x="6623" y="859"/>
                    </a:cubicBezTo>
                    <a:cubicBezTo>
                      <a:pt x="6613" y="859"/>
                      <a:pt x="6603" y="859"/>
                      <a:pt x="6591" y="858"/>
                    </a:cubicBezTo>
                    <a:cubicBezTo>
                      <a:pt x="6587" y="858"/>
                      <a:pt x="6570" y="857"/>
                      <a:pt x="6543" y="855"/>
                    </a:cubicBezTo>
                    <a:cubicBezTo>
                      <a:pt x="6566" y="767"/>
                      <a:pt x="6591" y="681"/>
                      <a:pt x="6632" y="627"/>
                    </a:cubicBezTo>
                    <a:cubicBezTo>
                      <a:pt x="6661" y="587"/>
                      <a:pt x="6682" y="559"/>
                      <a:pt x="6703" y="539"/>
                    </a:cubicBezTo>
                    <a:cubicBezTo>
                      <a:pt x="6724" y="520"/>
                      <a:pt x="6746" y="505"/>
                      <a:pt x="6785" y="489"/>
                    </a:cubicBezTo>
                    <a:cubicBezTo>
                      <a:pt x="6863" y="456"/>
                      <a:pt x="7008" y="424"/>
                      <a:pt x="7290" y="370"/>
                    </a:cubicBezTo>
                    <a:cubicBezTo>
                      <a:pt x="7654" y="300"/>
                      <a:pt x="7917" y="163"/>
                      <a:pt x="8098" y="11"/>
                    </a:cubicBezTo>
                    <a:cubicBezTo>
                      <a:pt x="7860" y="11"/>
                      <a:pt x="7860" y="11"/>
                      <a:pt x="7860" y="11"/>
                    </a:cubicBezTo>
                    <a:cubicBezTo>
                      <a:pt x="7709" y="104"/>
                      <a:pt x="7514" y="185"/>
                      <a:pt x="7263" y="233"/>
                    </a:cubicBezTo>
                    <a:cubicBezTo>
                      <a:pt x="7051" y="274"/>
                      <a:pt x="6915" y="302"/>
                      <a:pt x="6818" y="330"/>
                    </a:cubicBezTo>
                    <a:cubicBezTo>
                      <a:pt x="6721" y="358"/>
                      <a:pt x="6657" y="390"/>
                      <a:pt x="6607" y="438"/>
                    </a:cubicBezTo>
                    <a:cubicBezTo>
                      <a:pt x="6574" y="470"/>
                      <a:pt x="6549" y="504"/>
                      <a:pt x="6520" y="544"/>
                    </a:cubicBezTo>
                    <a:cubicBezTo>
                      <a:pt x="6466" y="617"/>
                      <a:pt x="6440" y="702"/>
                      <a:pt x="6419" y="780"/>
                    </a:cubicBezTo>
                    <a:cubicBezTo>
                      <a:pt x="6413" y="802"/>
                      <a:pt x="6407" y="824"/>
                      <a:pt x="6401" y="845"/>
                    </a:cubicBezTo>
                    <a:cubicBezTo>
                      <a:pt x="6256" y="835"/>
                      <a:pt x="6047" y="820"/>
                      <a:pt x="5840" y="805"/>
                    </a:cubicBezTo>
                    <a:cubicBezTo>
                      <a:pt x="5477" y="779"/>
                      <a:pt x="5122" y="754"/>
                      <a:pt x="5121" y="754"/>
                    </a:cubicBezTo>
                    <a:cubicBezTo>
                      <a:pt x="5113" y="753"/>
                      <a:pt x="5113" y="753"/>
                      <a:pt x="5113" y="753"/>
                    </a:cubicBezTo>
                    <a:cubicBezTo>
                      <a:pt x="5105" y="755"/>
                      <a:pt x="5105" y="755"/>
                      <a:pt x="5105" y="755"/>
                    </a:cubicBezTo>
                    <a:cubicBezTo>
                      <a:pt x="5105" y="755"/>
                      <a:pt x="4987" y="780"/>
                      <a:pt x="4844" y="806"/>
                    </a:cubicBezTo>
                    <a:cubicBezTo>
                      <a:pt x="4700" y="833"/>
                      <a:pt x="4530" y="862"/>
                      <a:pt x="4430" y="870"/>
                    </a:cubicBezTo>
                    <a:cubicBezTo>
                      <a:pt x="4401" y="872"/>
                      <a:pt x="4374" y="873"/>
                      <a:pt x="4348" y="873"/>
                    </a:cubicBezTo>
                    <a:cubicBezTo>
                      <a:pt x="4244" y="873"/>
                      <a:pt x="4157" y="858"/>
                      <a:pt x="4069" y="858"/>
                    </a:cubicBezTo>
                    <a:cubicBezTo>
                      <a:pt x="4042" y="858"/>
                      <a:pt x="4015" y="860"/>
                      <a:pt x="3987" y="864"/>
                    </a:cubicBezTo>
                    <a:cubicBezTo>
                      <a:pt x="3980" y="848"/>
                      <a:pt x="3980" y="848"/>
                      <a:pt x="3980" y="848"/>
                    </a:cubicBezTo>
                    <a:cubicBezTo>
                      <a:pt x="3979" y="847"/>
                      <a:pt x="3979" y="846"/>
                      <a:pt x="3978" y="844"/>
                    </a:cubicBezTo>
                    <a:cubicBezTo>
                      <a:pt x="3977" y="842"/>
                      <a:pt x="3975" y="838"/>
                      <a:pt x="3974" y="835"/>
                    </a:cubicBezTo>
                    <a:cubicBezTo>
                      <a:pt x="3970" y="827"/>
                      <a:pt x="3965" y="816"/>
                      <a:pt x="3960" y="804"/>
                    </a:cubicBezTo>
                    <a:cubicBezTo>
                      <a:pt x="3950" y="779"/>
                      <a:pt x="3942" y="750"/>
                      <a:pt x="3938" y="720"/>
                    </a:cubicBezTo>
                    <a:cubicBezTo>
                      <a:pt x="3939" y="716"/>
                      <a:pt x="3939" y="716"/>
                      <a:pt x="3939" y="716"/>
                    </a:cubicBezTo>
                    <a:cubicBezTo>
                      <a:pt x="3937" y="717"/>
                      <a:pt x="3937" y="717"/>
                      <a:pt x="3937" y="717"/>
                    </a:cubicBezTo>
                    <a:cubicBezTo>
                      <a:pt x="3932" y="686"/>
                      <a:pt x="3914" y="577"/>
                      <a:pt x="3914" y="521"/>
                    </a:cubicBezTo>
                    <a:cubicBezTo>
                      <a:pt x="4060" y="457"/>
                      <a:pt x="4060" y="457"/>
                      <a:pt x="4060" y="457"/>
                    </a:cubicBezTo>
                    <a:cubicBezTo>
                      <a:pt x="4213" y="381"/>
                      <a:pt x="4213" y="381"/>
                      <a:pt x="4213" y="381"/>
                    </a:cubicBezTo>
                    <a:cubicBezTo>
                      <a:pt x="4213" y="380"/>
                      <a:pt x="4213" y="380"/>
                      <a:pt x="4213" y="380"/>
                    </a:cubicBezTo>
                    <a:cubicBezTo>
                      <a:pt x="4258" y="358"/>
                      <a:pt x="4331" y="319"/>
                      <a:pt x="4377" y="277"/>
                    </a:cubicBezTo>
                    <a:cubicBezTo>
                      <a:pt x="4424" y="232"/>
                      <a:pt x="4469" y="136"/>
                      <a:pt x="4504" y="11"/>
                    </a:cubicBezTo>
                    <a:cubicBezTo>
                      <a:pt x="4467" y="11"/>
                      <a:pt x="4467" y="11"/>
                      <a:pt x="4467" y="11"/>
                    </a:cubicBezTo>
                    <a:cubicBezTo>
                      <a:pt x="4433" y="129"/>
                      <a:pt x="4390" y="216"/>
                      <a:pt x="4353" y="250"/>
                    </a:cubicBezTo>
                    <a:cubicBezTo>
                      <a:pt x="4322" y="279"/>
                      <a:pt x="4278" y="306"/>
                      <a:pt x="4235" y="327"/>
                    </a:cubicBezTo>
                    <a:cubicBezTo>
                      <a:pt x="4227" y="332"/>
                      <a:pt x="4227" y="332"/>
                      <a:pt x="4227" y="332"/>
                    </a:cubicBezTo>
                    <a:cubicBezTo>
                      <a:pt x="4218" y="337"/>
                      <a:pt x="4211" y="340"/>
                      <a:pt x="4206" y="343"/>
                    </a:cubicBezTo>
                    <a:cubicBezTo>
                      <a:pt x="4206" y="343"/>
                      <a:pt x="4206" y="343"/>
                      <a:pt x="4206" y="343"/>
                    </a:cubicBezTo>
                    <a:cubicBezTo>
                      <a:pt x="4173" y="359"/>
                      <a:pt x="4173" y="359"/>
                      <a:pt x="4173" y="359"/>
                    </a:cubicBezTo>
                    <a:cubicBezTo>
                      <a:pt x="4152" y="365"/>
                      <a:pt x="4152" y="365"/>
                      <a:pt x="4152" y="365"/>
                    </a:cubicBezTo>
                    <a:cubicBezTo>
                      <a:pt x="4154" y="368"/>
                      <a:pt x="4154" y="368"/>
                      <a:pt x="4154" y="368"/>
                    </a:cubicBezTo>
                    <a:cubicBezTo>
                      <a:pt x="4044" y="423"/>
                      <a:pt x="4044" y="423"/>
                      <a:pt x="4044" y="423"/>
                    </a:cubicBezTo>
                    <a:cubicBezTo>
                      <a:pt x="3911" y="481"/>
                      <a:pt x="3911" y="481"/>
                      <a:pt x="3911" y="481"/>
                    </a:cubicBezTo>
                    <a:cubicBezTo>
                      <a:pt x="3910" y="471"/>
                      <a:pt x="3909" y="459"/>
                      <a:pt x="3907" y="449"/>
                    </a:cubicBezTo>
                    <a:cubicBezTo>
                      <a:pt x="3904" y="430"/>
                      <a:pt x="3898" y="420"/>
                      <a:pt x="3897" y="418"/>
                    </a:cubicBezTo>
                    <a:cubicBezTo>
                      <a:pt x="3896" y="417"/>
                      <a:pt x="3896" y="417"/>
                      <a:pt x="3896" y="417"/>
                    </a:cubicBezTo>
                    <a:cubicBezTo>
                      <a:pt x="3708" y="199"/>
                      <a:pt x="3708" y="199"/>
                      <a:pt x="3708" y="199"/>
                    </a:cubicBezTo>
                    <a:cubicBezTo>
                      <a:pt x="3708" y="199"/>
                      <a:pt x="3708" y="199"/>
                      <a:pt x="3708" y="199"/>
                    </a:cubicBezTo>
                    <a:cubicBezTo>
                      <a:pt x="3708" y="199"/>
                      <a:pt x="3624" y="99"/>
                      <a:pt x="3532" y="11"/>
                    </a:cubicBezTo>
                    <a:cubicBezTo>
                      <a:pt x="3479" y="11"/>
                      <a:pt x="3479" y="11"/>
                      <a:pt x="3479" y="11"/>
                    </a:cubicBezTo>
                    <a:cubicBezTo>
                      <a:pt x="3489" y="20"/>
                      <a:pt x="3499" y="30"/>
                      <a:pt x="3510" y="39"/>
                    </a:cubicBezTo>
                    <a:cubicBezTo>
                      <a:pt x="3486" y="43"/>
                      <a:pt x="3452" y="48"/>
                      <a:pt x="3415" y="56"/>
                    </a:cubicBezTo>
                    <a:cubicBezTo>
                      <a:pt x="3346" y="70"/>
                      <a:pt x="3266" y="90"/>
                      <a:pt x="3220" y="121"/>
                    </a:cubicBezTo>
                    <a:cubicBezTo>
                      <a:pt x="3142" y="175"/>
                      <a:pt x="3000" y="288"/>
                      <a:pt x="2852" y="287"/>
                    </a:cubicBezTo>
                    <a:cubicBezTo>
                      <a:pt x="2840" y="287"/>
                      <a:pt x="2828" y="286"/>
                      <a:pt x="2816" y="285"/>
                    </a:cubicBezTo>
                    <a:cubicBezTo>
                      <a:pt x="2651" y="264"/>
                      <a:pt x="2540" y="171"/>
                      <a:pt x="2451" y="108"/>
                    </a:cubicBezTo>
                    <a:cubicBezTo>
                      <a:pt x="2421" y="87"/>
                      <a:pt x="2371" y="51"/>
                      <a:pt x="2316" y="11"/>
                    </a:cubicBezTo>
                    <a:cubicBezTo>
                      <a:pt x="2255" y="11"/>
                      <a:pt x="2255" y="11"/>
                      <a:pt x="2255" y="11"/>
                    </a:cubicBezTo>
                    <a:cubicBezTo>
                      <a:pt x="2325" y="62"/>
                      <a:pt x="2393" y="111"/>
                      <a:pt x="2431" y="138"/>
                    </a:cubicBezTo>
                    <a:cubicBezTo>
                      <a:pt x="2494" y="182"/>
                      <a:pt x="2573" y="246"/>
                      <a:pt x="2680" y="287"/>
                    </a:cubicBezTo>
                    <a:cubicBezTo>
                      <a:pt x="2675" y="304"/>
                      <a:pt x="2675" y="304"/>
                      <a:pt x="2675" y="304"/>
                    </a:cubicBezTo>
                    <a:cubicBezTo>
                      <a:pt x="2675" y="304"/>
                      <a:pt x="2675" y="304"/>
                      <a:pt x="2675" y="304"/>
                    </a:cubicBezTo>
                    <a:cubicBezTo>
                      <a:pt x="2472" y="763"/>
                      <a:pt x="2472" y="763"/>
                      <a:pt x="2472" y="763"/>
                    </a:cubicBezTo>
                    <a:cubicBezTo>
                      <a:pt x="1997" y="1085"/>
                      <a:pt x="1997" y="1085"/>
                      <a:pt x="1997" y="1085"/>
                    </a:cubicBezTo>
                    <a:cubicBezTo>
                      <a:pt x="1664" y="1111"/>
                      <a:pt x="1664" y="1111"/>
                      <a:pt x="1664" y="1111"/>
                    </a:cubicBezTo>
                    <a:cubicBezTo>
                      <a:pt x="1333" y="700"/>
                      <a:pt x="1333" y="700"/>
                      <a:pt x="1333" y="700"/>
                    </a:cubicBezTo>
                    <a:cubicBezTo>
                      <a:pt x="1314" y="716"/>
                      <a:pt x="1314" y="716"/>
                      <a:pt x="1314" y="716"/>
                    </a:cubicBezTo>
                    <a:cubicBezTo>
                      <a:pt x="1643" y="1125"/>
                      <a:pt x="1643" y="1125"/>
                      <a:pt x="1643" y="1125"/>
                    </a:cubicBezTo>
                    <a:cubicBezTo>
                      <a:pt x="1610" y="1182"/>
                      <a:pt x="1386" y="1567"/>
                      <a:pt x="1364" y="1605"/>
                    </a:cubicBezTo>
                    <a:cubicBezTo>
                      <a:pt x="1360" y="1609"/>
                      <a:pt x="1360" y="1609"/>
                      <a:pt x="1360" y="1609"/>
                    </a:cubicBezTo>
                    <a:cubicBezTo>
                      <a:pt x="1359" y="1610"/>
                      <a:pt x="1359" y="1610"/>
                      <a:pt x="1358" y="1611"/>
                    </a:cubicBezTo>
                    <a:cubicBezTo>
                      <a:pt x="1354" y="1615"/>
                      <a:pt x="1348" y="1620"/>
                      <a:pt x="1341" y="1627"/>
                    </a:cubicBezTo>
                    <a:cubicBezTo>
                      <a:pt x="1327" y="1640"/>
                      <a:pt x="1306" y="1660"/>
                      <a:pt x="1282" y="1683"/>
                    </a:cubicBezTo>
                    <a:cubicBezTo>
                      <a:pt x="1233" y="1729"/>
                      <a:pt x="1168" y="1791"/>
                      <a:pt x="1102" y="1853"/>
                    </a:cubicBezTo>
                    <a:cubicBezTo>
                      <a:pt x="972" y="1977"/>
                      <a:pt x="843" y="2100"/>
                      <a:pt x="843" y="2100"/>
                    </a:cubicBezTo>
                    <a:cubicBezTo>
                      <a:pt x="858" y="2116"/>
                      <a:pt x="858" y="2116"/>
                      <a:pt x="858" y="2116"/>
                    </a:cubicBezTo>
                    <a:cubicBezTo>
                      <a:pt x="847" y="2114"/>
                      <a:pt x="838" y="2113"/>
                      <a:pt x="829" y="2113"/>
                    </a:cubicBezTo>
                    <a:cubicBezTo>
                      <a:pt x="821" y="2112"/>
                      <a:pt x="814" y="2112"/>
                      <a:pt x="807" y="2112"/>
                    </a:cubicBezTo>
                    <a:cubicBezTo>
                      <a:pt x="779" y="2112"/>
                      <a:pt x="758" y="2116"/>
                      <a:pt x="740" y="2118"/>
                    </a:cubicBezTo>
                    <a:cubicBezTo>
                      <a:pt x="697" y="2124"/>
                      <a:pt x="672" y="2138"/>
                      <a:pt x="644" y="2138"/>
                    </a:cubicBezTo>
                    <a:cubicBezTo>
                      <a:pt x="617" y="2138"/>
                      <a:pt x="569" y="2118"/>
                      <a:pt x="527" y="2105"/>
                    </a:cubicBezTo>
                    <a:cubicBezTo>
                      <a:pt x="489" y="2093"/>
                      <a:pt x="411" y="2057"/>
                      <a:pt x="351" y="2056"/>
                    </a:cubicBezTo>
                    <a:cubicBezTo>
                      <a:pt x="349" y="2056"/>
                      <a:pt x="347" y="2057"/>
                      <a:pt x="345" y="2057"/>
                    </a:cubicBezTo>
                    <a:cubicBezTo>
                      <a:pt x="288" y="2059"/>
                      <a:pt x="257" y="2079"/>
                      <a:pt x="236" y="2086"/>
                    </a:cubicBezTo>
                    <a:cubicBezTo>
                      <a:pt x="215" y="2094"/>
                      <a:pt x="144" y="2127"/>
                      <a:pt x="107" y="2144"/>
                    </a:cubicBezTo>
                    <a:cubicBezTo>
                      <a:pt x="102" y="2144"/>
                      <a:pt x="95" y="2144"/>
                      <a:pt x="90" y="2141"/>
                    </a:cubicBezTo>
                    <a:cubicBezTo>
                      <a:pt x="88" y="2135"/>
                      <a:pt x="88" y="2135"/>
                      <a:pt x="88" y="2135"/>
                    </a:cubicBezTo>
                    <a:cubicBezTo>
                      <a:pt x="88" y="2135"/>
                      <a:pt x="88" y="2135"/>
                      <a:pt x="88" y="2135"/>
                    </a:cubicBezTo>
                    <a:cubicBezTo>
                      <a:pt x="7" y="1977"/>
                      <a:pt x="7" y="1977"/>
                      <a:pt x="7" y="1977"/>
                    </a:cubicBezTo>
                    <a:cubicBezTo>
                      <a:pt x="7" y="2057"/>
                      <a:pt x="7" y="2057"/>
                      <a:pt x="7" y="2057"/>
                    </a:cubicBezTo>
                    <a:cubicBezTo>
                      <a:pt x="55" y="2151"/>
                      <a:pt x="55" y="2151"/>
                      <a:pt x="55" y="2151"/>
                    </a:cubicBezTo>
                    <a:cubicBezTo>
                      <a:pt x="55" y="2151"/>
                      <a:pt x="55" y="2151"/>
                      <a:pt x="55" y="2151"/>
                    </a:cubicBezTo>
                    <a:cubicBezTo>
                      <a:pt x="389" y="2772"/>
                      <a:pt x="389" y="2772"/>
                      <a:pt x="389" y="2772"/>
                    </a:cubicBezTo>
                    <a:cubicBezTo>
                      <a:pt x="422" y="2754"/>
                      <a:pt x="422" y="2754"/>
                      <a:pt x="422" y="2754"/>
                    </a:cubicBezTo>
                    <a:cubicBezTo>
                      <a:pt x="117" y="2189"/>
                      <a:pt x="117" y="2189"/>
                      <a:pt x="117" y="2189"/>
                    </a:cubicBezTo>
                    <a:cubicBezTo>
                      <a:pt x="117" y="2186"/>
                      <a:pt x="118" y="2182"/>
                      <a:pt x="122" y="2179"/>
                    </a:cubicBezTo>
                    <a:cubicBezTo>
                      <a:pt x="133" y="2173"/>
                      <a:pt x="149" y="2166"/>
                      <a:pt x="166" y="2158"/>
                    </a:cubicBezTo>
                    <a:cubicBezTo>
                      <a:pt x="199" y="2143"/>
                      <a:pt x="237" y="2126"/>
                      <a:pt x="248" y="2122"/>
                    </a:cubicBezTo>
                    <a:cubicBezTo>
                      <a:pt x="277" y="2112"/>
                      <a:pt x="298" y="2097"/>
                      <a:pt x="347" y="2094"/>
                    </a:cubicBezTo>
                    <a:cubicBezTo>
                      <a:pt x="348" y="2094"/>
                      <a:pt x="349" y="2094"/>
                      <a:pt x="351" y="2094"/>
                    </a:cubicBezTo>
                    <a:cubicBezTo>
                      <a:pt x="396" y="2094"/>
                      <a:pt x="474" y="2127"/>
                      <a:pt x="515" y="2141"/>
                    </a:cubicBezTo>
                    <a:cubicBezTo>
                      <a:pt x="555" y="2153"/>
                      <a:pt x="603" y="2175"/>
                      <a:pt x="644" y="2176"/>
                    </a:cubicBezTo>
                    <a:cubicBezTo>
                      <a:pt x="684" y="2175"/>
                      <a:pt x="710" y="2160"/>
                      <a:pt x="745" y="2155"/>
                    </a:cubicBezTo>
                    <a:cubicBezTo>
                      <a:pt x="764" y="2153"/>
                      <a:pt x="783" y="2149"/>
                      <a:pt x="807" y="2149"/>
                    </a:cubicBezTo>
                    <a:cubicBezTo>
                      <a:pt x="813" y="2149"/>
                      <a:pt x="819" y="2150"/>
                      <a:pt x="826" y="2150"/>
                    </a:cubicBezTo>
                    <a:cubicBezTo>
                      <a:pt x="852" y="2152"/>
                      <a:pt x="881" y="2156"/>
                      <a:pt x="913" y="2175"/>
                    </a:cubicBezTo>
                    <a:cubicBezTo>
                      <a:pt x="946" y="2195"/>
                      <a:pt x="981" y="2257"/>
                      <a:pt x="1004" y="2313"/>
                    </a:cubicBezTo>
                    <a:cubicBezTo>
                      <a:pt x="1028" y="2370"/>
                      <a:pt x="1041" y="2420"/>
                      <a:pt x="1041" y="2421"/>
                    </a:cubicBezTo>
                    <a:cubicBezTo>
                      <a:pt x="1078" y="2411"/>
                      <a:pt x="1078" y="2411"/>
                      <a:pt x="1078" y="2411"/>
                    </a:cubicBezTo>
                    <a:cubicBezTo>
                      <a:pt x="1078" y="2410"/>
                      <a:pt x="1063" y="2358"/>
                      <a:pt x="1039" y="2299"/>
                    </a:cubicBezTo>
                    <a:cubicBezTo>
                      <a:pt x="1014" y="2240"/>
                      <a:pt x="980" y="2174"/>
                      <a:pt x="932" y="2143"/>
                    </a:cubicBezTo>
                    <a:cubicBezTo>
                      <a:pt x="907" y="2128"/>
                      <a:pt x="883" y="2121"/>
                      <a:pt x="861" y="2117"/>
                    </a:cubicBezTo>
                    <a:cubicBezTo>
                      <a:pt x="874" y="2104"/>
                      <a:pt x="993" y="1991"/>
                      <a:pt x="1115" y="1875"/>
                    </a:cubicBezTo>
                    <a:cubicBezTo>
                      <a:pt x="1239" y="1757"/>
                      <a:pt x="1366" y="1637"/>
                      <a:pt x="1379" y="1625"/>
                    </a:cubicBezTo>
                    <a:cubicBezTo>
                      <a:pt x="1379" y="1625"/>
                      <a:pt x="1379" y="1625"/>
                      <a:pt x="1379" y="1625"/>
                    </a:cubicBezTo>
                    <a:cubicBezTo>
                      <a:pt x="1380" y="1624"/>
                      <a:pt x="1380" y="1624"/>
                      <a:pt x="1381" y="1623"/>
                    </a:cubicBezTo>
                    <a:cubicBezTo>
                      <a:pt x="1381" y="1623"/>
                      <a:pt x="1382" y="1623"/>
                      <a:pt x="1382" y="1623"/>
                    </a:cubicBezTo>
                    <a:cubicBezTo>
                      <a:pt x="1382" y="1622"/>
                      <a:pt x="1382" y="1622"/>
                      <a:pt x="1382" y="1622"/>
                    </a:cubicBezTo>
                    <a:cubicBezTo>
                      <a:pt x="1382" y="1622"/>
                      <a:pt x="1383" y="1621"/>
                      <a:pt x="1383" y="1621"/>
                    </a:cubicBezTo>
                    <a:cubicBezTo>
                      <a:pt x="1383" y="1621"/>
                      <a:pt x="1383" y="1621"/>
                      <a:pt x="1383" y="1621"/>
                    </a:cubicBezTo>
                    <a:cubicBezTo>
                      <a:pt x="1383" y="1621"/>
                      <a:pt x="1383" y="1621"/>
                      <a:pt x="1383" y="1621"/>
                    </a:cubicBezTo>
                    <a:cubicBezTo>
                      <a:pt x="1383" y="1621"/>
                      <a:pt x="1383" y="1621"/>
                      <a:pt x="1383" y="1621"/>
                    </a:cubicBezTo>
                    <a:cubicBezTo>
                      <a:pt x="1383" y="1620"/>
                      <a:pt x="1383" y="1620"/>
                      <a:pt x="1384" y="1620"/>
                    </a:cubicBezTo>
                    <a:cubicBezTo>
                      <a:pt x="1384" y="1619"/>
                      <a:pt x="1385" y="1617"/>
                      <a:pt x="1386" y="1615"/>
                    </a:cubicBezTo>
                    <a:cubicBezTo>
                      <a:pt x="1388" y="1612"/>
                      <a:pt x="1391" y="1606"/>
                      <a:pt x="1395" y="1600"/>
                    </a:cubicBezTo>
                    <a:cubicBezTo>
                      <a:pt x="1403" y="1586"/>
                      <a:pt x="1414" y="1567"/>
                      <a:pt x="1428" y="1544"/>
                    </a:cubicBezTo>
                    <a:cubicBezTo>
                      <a:pt x="1454" y="1498"/>
                      <a:pt x="1490" y="1437"/>
                      <a:pt x="1526" y="1375"/>
                    </a:cubicBezTo>
                    <a:cubicBezTo>
                      <a:pt x="1588" y="1268"/>
                      <a:pt x="1651" y="1161"/>
                      <a:pt x="1665" y="1135"/>
                    </a:cubicBezTo>
                    <a:cubicBezTo>
                      <a:pt x="2005" y="1109"/>
                      <a:pt x="2005" y="1109"/>
                      <a:pt x="2005" y="1109"/>
                    </a:cubicBezTo>
                    <a:cubicBezTo>
                      <a:pt x="2258" y="937"/>
                      <a:pt x="2258" y="937"/>
                      <a:pt x="2258" y="937"/>
                    </a:cubicBezTo>
                    <a:cubicBezTo>
                      <a:pt x="2526" y="1497"/>
                      <a:pt x="2526" y="1497"/>
                      <a:pt x="2526" y="1497"/>
                    </a:cubicBezTo>
                    <a:cubicBezTo>
                      <a:pt x="2527" y="1496"/>
                      <a:pt x="2527" y="1496"/>
                      <a:pt x="2527" y="1496"/>
                    </a:cubicBezTo>
                    <a:cubicBezTo>
                      <a:pt x="2576" y="1599"/>
                      <a:pt x="2576" y="1599"/>
                      <a:pt x="2576" y="1599"/>
                    </a:cubicBezTo>
                    <a:cubicBezTo>
                      <a:pt x="2599" y="1588"/>
                      <a:pt x="2599" y="1588"/>
                      <a:pt x="2599" y="1588"/>
                    </a:cubicBezTo>
                    <a:cubicBezTo>
                      <a:pt x="2541" y="1464"/>
                      <a:pt x="2541" y="1464"/>
                      <a:pt x="2541" y="1464"/>
                    </a:cubicBezTo>
                    <a:cubicBezTo>
                      <a:pt x="2539" y="1466"/>
                      <a:pt x="2539" y="1466"/>
                      <a:pt x="2539" y="1466"/>
                    </a:cubicBezTo>
                    <a:cubicBezTo>
                      <a:pt x="2278" y="923"/>
                      <a:pt x="2278" y="923"/>
                      <a:pt x="2278" y="923"/>
                    </a:cubicBezTo>
                    <a:cubicBezTo>
                      <a:pt x="2500" y="773"/>
                      <a:pt x="2500" y="773"/>
                      <a:pt x="2500" y="773"/>
                    </a:cubicBezTo>
                    <a:cubicBezTo>
                      <a:pt x="2502" y="774"/>
                      <a:pt x="2502" y="774"/>
                      <a:pt x="2502" y="774"/>
                    </a:cubicBezTo>
                    <a:cubicBezTo>
                      <a:pt x="2504" y="771"/>
                      <a:pt x="2504" y="771"/>
                      <a:pt x="2504" y="771"/>
                    </a:cubicBezTo>
                    <a:cubicBezTo>
                      <a:pt x="2504" y="771"/>
                      <a:pt x="2504" y="771"/>
                      <a:pt x="2504" y="771"/>
                    </a:cubicBezTo>
                    <a:cubicBezTo>
                      <a:pt x="2504" y="770"/>
                      <a:pt x="2504" y="770"/>
                      <a:pt x="2504" y="770"/>
                    </a:cubicBezTo>
                    <a:cubicBezTo>
                      <a:pt x="2707" y="312"/>
                      <a:pt x="2707" y="312"/>
                      <a:pt x="2707" y="312"/>
                    </a:cubicBezTo>
                    <a:cubicBezTo>
                      <a:pt x="2714" y="299"/>
                      <a:pt x="2714" y="299"/>
                      <a:pt x="2714" y="299"/>
                    </a:cubicBezTo>
                    <a:cubicBezTo>
                      <a:pt x="2745" y="308"/>
                      <a:pt x="2777" y="316"/>
                      <a:pt x="2811" y="321"/>
                    </a:cubicBezTo>
                    <a:cubicBezTo>
                      <a:pt x="2825" y="322"/>
                      <a:pt x="2839" y="323"/>
                      <a:pt x="2852" y="323"/>
                    </a:cubicBezTo>
                    <a:cubicBezTo>
                      <a:pt x="3018" y="323"/>
                      <a:pt x="3164" y="203"/>
                      <a:pt x="3240" y="151"/>
                    </a:cubicBezTo>
                    <a:cubicBezTo>
                      <a:pt x="3277" y="126"/>
                      <a:pt x="3355" y="104"/>
                      <a:pt x="3423" y="91"/>
                    </a:cubicBezTo>
                    <a:cubicBezTo>
                      <a:pt x="3479" y="80"/>
                      <a:pt x="3527" y="73"/>
                      <a:pt x="3542" y="72"/>
                    </a:cubicBezTo>
                    <a:cubicBezTo>
                      <a:pt x="3556" y="86"/>
                      <a:pt x="3570" y="100"/>
                      <a:pt x="3583" y="114"/>
                    </a:cubicBezTo>
                    <a:cubicBezTo>
                      <a:pt x="3639" y="173"/>
                      <a:pt x="3676" y="220"/>
                      <a:pt x="3676" y="220"/>
                    </a:cubicBezTo>
                    <a:cubicBezTo>
                      <a:pt x="3678" y="221"/>
                      <a:pt x="3678" y="221"/>
                      <a:pt x="3678" y="221"/>
                    </a:cubicBezTo>
                    <a:cubicBezTo>
                      <a:pt x="3865" y="438"/>
                      <a:pt x="3865" y="438"/>
                      <a:pt x="3865" y="438"/>
                    </a:cubicBezTo>
                    <a:cubicBezTo>
                      <a:pt x="3865" y="439"/>
                      <a:pt x="3865" y="440"/>
                      <a:pt x="3866" y="441"/>
                    </a:cubicBezTo>
                    <a:cubicBezTo>
                      <a:pt x="3867" y="444"/>
                      <a:pt x="3868" y="449"/>
                      <a:pt x="3870" y="455"/>
                    </a:cubicBezTo>
                    <a:cubicBezTo>
                      <a:pt x="3873" y="475"/>
                      <a:pt x="3875" y="503"/>
                      <a:pt x="3876" y="512"/>
                    </a:cubicBezTo>
                    <a:cubicBezTo>
                      <a:pt x="3876" y="514"/>
                      <a:pt x="3876" y="517"/>
                      <a:pt x="3876" y="520"/>
                    </a:cubicBezTo>
                    <a:cubicBezTo>
                      <a:pt x="3876" y="581"/>
                      <a:pt x="3893" y="695"/>
                      <a:pt x="3898" y="728"/>
                    </a:cubicBezTo>
                    <a:cubicBezTo>
                      <a:pt x="3898" y="728"/>
                      <a:pt x="3898" y="728"/>
                      <a:pt x="3898" y="728"/>
                    </a:cubicBezTo>
                    <a:cubicBezTo>
                      <a:pt x="3898" y="729"/>
                      <a:pt x="3899" y="731"/>
                      <a:pt x="3899" y="733"/>
                    </a:cubicBezTo>
                    <a:cubicBezTo>
                      <a:pt x="3899" y="735"/>
                      <a:pt x="3900" y="737"/>
                      <a:pt x="3900" y="737"/>
                    </a:cubicBezTo>
                    <a:cubicBezTo>
                      <a:pt x="3900" y="743"/>
                      <a:pt x="3900" y="743"/>
                      <a:pt x="3900" y="743"/>
                    </a:cubicBezTo>
                    <a:cubicBezTo>
                      <a:pt x="3901" y="743"/>
                      <a:pt x="3901" y="743"/>
                      <a:pt x="3901" y="743"/>
                    </a:cubicBezTo>
                    <a:cubicBezTo>
                      <a:pt x="3911" y="793"/>
                      <a:pt x="3935" y="838"/>
                      <a:pt x="3943" y="855"/>
                    </a:cubicBezTo>
                    <a:cubicBezTo>
                      <a:pt x="3949" y="871"/>
                      <a:pt x="3949" y="871"/>
                      <a:pt x="3949" y="871"/>
                    </a:cubicBezTo>
                    <a:cubicBezTo>
                      <a:pt x="3946" y="872"/>
                      <a:pt x="3943" y="873"/>
                      <a:pt x="3940" y="874"/>
                    </a:cubicBezTo>
                    <a:cubicBezTo>
                      <a:pt x="3863" y="895"/>
                      <a:pt x="3795" y="934"/>
                      <a:pt x="3740" y="972"/>
                    </a:cubicBezTo>
                    <a:cubicBezTo>
                      <a:pt x="3686" y="1009"/>
                      <a:pt x="3643" y="1045"/>
                      <a:pt x="3626" y="1057"/>
                    </a:cubicBezTo>
                    <a:cubicBezTo>
                      <a:pt x="3626" y="1057"/>
                      <a:pt x="3625" y="1058"/>
                      <a:pt x="3624" y="1058"/>
                    </a:cubicBezTo>
                    <a:cubicBezTo>
                      <a:pt x="3622" y="1059"/>
                      <a:pt x="3620" y="1061"/>
                      <a:pt x="3616" y="1063"/>
                    </a:cubicBezTo>
                    <a:cubicBezTo>
                      <a:pt x="3609" y="1067"/>
                      <a:pt x="3599" y="1073"/>
                      <a:pt x="3586" y="1080"/>
                    </a:cubicBezTo>
                    <a:cubicBezTo>
                      <a:pt x="3561" y="1094"/>
                      <a:pt x="3525" y="1113"/>
                      <a:pt x="3482" y="1136"/>
                    </a:cubicBezTo>
                    <a:cubicBezTo>
                      <a:pt x="3397" y="1182"/>
                      <a:pt x="3281" y="1244"/>
                      <a:pt x="3154" y="1312"/>
                    </a:cubicBezTo>
                    <a:cubicBezTo>
                      <a:pt x="2900" y="1447"/>
                      <a:pt x="2600" y="1606"/>
                      <a:pt x="2400" y="1712"/>
                    </a:cubicBezTo>
                    <a:cubicBezTo>
                      <a:pt x="2267" y="1782"/>
                      <a:pt x="2208" y="1811"/>
                      <a:pt x="2208" y="1811"/>
                    </a:cubicBezTo>
                    <a:cubicBezTo>
                      <a:pt x="2204" y="1813"/>
                      <a:pt x="2204" y="1813"/>
                      <a:pt x="2204" y="1813"/>
                    </a:cubicBezTo>
                    <a:cubicBezTo>
                      <a:pt x="1283" y="2303"/>
                      <a:pt x="1283" y="2303"/>
                      <a:pt x="1283" y="2303"/>
                    </a:cubicBezTo>
                    <a:cubicBezTo>
                      <a:pt x="451" y="2749"/>
                      <a:pt x="451" y="2749"/>
                      <a:pt x="451" y="2749"/>
                    </a:cubicBezTo>
                    <a:cubicBezTo>
                      <a:pt x="445" y="2752"/>
                      <a:pt x="421" y="2764"/>
                      <a:pt x="399" y="2778"/>
                    </a:cubicBezTo>
                    <a:cubicBezTo>
                      <a:pt x="380" y="2791"/>
                      <a:pt x="358" y="2806"/>
                      <a:pt x="339" y="2826"/>
                    </a:cubicBezTo>
                    <a:cubicBezTo>
                      <a:pt x="334" y="2831"/>
                      <a:pt x="317" y="2849"/>
                      <a:pt x="292" y="2876"/>
                    </a:cubicBezTo>
                    <a:cubicBezTo>
                      <a:pt x="232" y="2866"/>
                      <a:pt x="169" y="2859"/>
                      <a:pt x="119" y="2864"/>
                    </a:cubicBezTo>
                    <a:cubicBezTo>
                      <a:pt x="78" y="2867"/>
                      <a:pt x="39" y="2882"/>
                      <a:pt x="7" y="2900"/>
                    </a:cubicBezTo>
                    <a:cubicBezTo>
                      <a:pt x="7" y="3164"/>
                      <a:pt x="7" y="3164"/>
                      <a:pt x="7" y="3164"/>
                    </a:cubicBezTo>
                    <a:cubicBezTo>
                      <a:pt x="14" y="3164"/>
                      <a:pt x="20" y="3163"/>
                      <a:pt x="26" y="3163"/>
                    </a:cubicBezTo>
                    <a:cubicBezTo>
                      <a:pt x="20" y="3169"/>
                      <a:pt x="14" y="3176"/>
                      <a:pt x="7" y="3183"/>
                    </a:cubicBezTo>
                    <a:cubicBezTo>
                      <a:pt x="7" y="3364"/>
                      <a:pt x="7" y="3364"/>
                      <a:pt x="7" y="3364"/>
                    </a:cubicBezTo>
                    <a:cubicBezTo>
                      <a:pt x="35" y="3334"/>
                      <a:pt x="63" y="3304"/>
                      <a:pt x="92" y="3273"/>
                    </a:cubicBezTo>
                    <a:cubicBezTo>
                      <a:pt x="132" y="3229"/>
                      <a:pt x="173" y="3186"/>
                      <a:pt x="211" y="3144"/>
                    </a:cubicBezTo>
                    <a:cubicBezTo>
                      <a:pt x="244" y="3141"/>
                      <a:pt x="277" y="3137"/>
                      <a:pt x="305" y="3132"/>
                    </a:cubicBezTo>
                    <a:cubicBezTo>
                      <a:pt x="391" y="3117"/>
                      <a:pt x="391" y="3117"/>
                      <a:pt x="391" y="3117"/>
                    </a:cubicBezTo>
                    <a:cubicBezTo>
                      <a:pt x="403" y="3116"/>
                      <a:pt x="476" y="3093"/>
                      <a:pt x="476" y="3093"/>
                    </a:cubicBezTo>
                    <a:cubicBezTo>
                      <a:pt x="518" y="3066"/>
                      <a:pt x="550" y="3045"/>
                      <a:pt x="593" y="3019"/>
                    </a:cubicBezTo>
                    <a:cubicBezTo>
                      <a:pt x="601" y="3029"/>
                      <a:pt x="609" y="3038"/>
                      <a:pt x="617" y="3048"/>
                    </a:cubicBezTo>
                    <a:cubicBezTo>
                      <a:pt x="696" y="3140"/>
                      <a:pt x="802" y="3262"/>
                      <a:pt x="908" y="3384"/>
                    </a:cubicBezTo>
                    <a:cubicBezTo>
                      <a:pt x="1119" y="3629"/>
                      <a:pt x="1331" y="3873"/>
                      <a:pt x="1331" y="3873"/>
                    </a:cubicBezTo>
                    <a:cubicBezTo>
                      <a:pt x="1799" y="4411"/>
                      <a:pt x="1799" y="4411"/>
                      <a:pt x="1799" y="4411"/>
                    </a:cubicBezTo>
                    <a:cubicBezTo>
                      <a:pt x="1800" y="4411"/>
                      <a:pt x="1800" y="4411"/>
                      <a:pt x="1800" y="4411"/>
                    </a:cubicBezTo>
                    <a:cubicBezTo>
                      <a:pt x="1800" y="4412"/>
                      <a:pt x="1888" y="4499"/>
                      <a:pt x="1999" y="4547"/>
                    </a:cubicBezTo>
                    <a:cubicBezTo>
                      <a:pt x="2091" y="4586"/>
                      <a:pt x="2188" y="4590"/>
                      <a:pt x="2227" y="4590"/>
                    </a:cubicBezTo>
                    <a:cubicBezTo>
                      <a:pt x="2241" y="4590"/>
                      <a:pt x="2256" y="4590"/>
                      <a:pt x="2271" y="4590"/>
                    </a:cubicBezTo>
                    <a:cubicBezTo>
                      <a:pt x="2270" y="4594"/>
                      <a:pt x="2268" y="4597"/>
                      <a:pt x="2267" y="4600"/>
                    </a:cubicBezTo>
                    <a:cubicBezTo>
                      <a:pt x="2239" y="4680"/>
                      <a:pt x="2232" y="4709"/>
                      <a:pt x="2230" y="4719"/>
                    </a:cubicBezTo>
                    <a:cubicBezTo>
                      <a:pt x="2224" y="4729"/>
                      <a:pt x="2203" y="4764"/>
                      <a:pt x="2171" y="4813"/>
                    </a:cubicBezTo>
                    <a:cubicBezTo>
                      <a:pt x="2134" y="4871"/>
                      <a:pt x="2081" y="4949"/>
                      <a:pt x="2023" y="5027"/>
                    </a:cubicBezTo>
                    <a:cubicBezTo>
                      <a:pt x="2001" y="5056"/>
                      <a:pt x="1978" y="5090"/>
                      <a:pt x="1957" y="5116"/>
                    </a:cubicBezTo>
                    <a:cubicBezTo>
                      <a:pt x="1952" y="5115"/>
                      <a:pt x="1947" y="5115"/>
                      <a:pt x="1944" y="5115"/>
                    </a:cubicBezTo>
                    <a:cubicBezTo>
                      <a:pt x="1918" y="5109"/>
                      <a:pt x="1886" y="5104"/>
                      <a:pt x="1846" y="5094"/>
                    </a:cubicBezTo>
                    <a:cubicBezTo>
                      <a:pt x="1742" y="5069"/>
                      <a:pt x="1601" y="5027"/>
                      <a:pt x="1523" y="4975"/>
                    </a:cubicBezTo>
                    <a:cubicBezTo>
                      <a:pt x="1414" y="4901"/>
                      <a:pt x="1403" y="4839"/>
                      <a:pt x="1392" y="4805"/>
                    </a:cubicBezTo>
                    <a:cubicBezTo>
                      <a:pt x="1382" y="4771"/>
                      <a:pt x="1355" y="4665"/>
                      <a:pt x="1338" y="4601"/>
                    </a:cubicBezTo>
                    <a:cubicBezTo>
                      <a:pt x="1319" y="4534"/>
                      <a:pt x="1257" y="4434"/>
                      <a:pt x="1203" y="4376"/>
                    </a:cubicBezTo>
                    <a:cubicBezTo>
                      <a:pt x="1167" y="4336"/>
                      <a:pt x="1101" y="4279"/>
                      <a:pt x="1046" y="4237"/>
                    </a:cubicBezTo>
                    <a:cubicBezTo>
                      <a:pt x="1052" y="4220"/>
                      <a:pt x="1065" y="4181"/>
                      <a:pt x="1086" y="4141"/>
                    </a:cubicBezTo>
                    <a:cubicBezTo>
                      <a:pt x="1107" y="4101"/>
                      <a:pt x="1137" y="4059"/>
                      <a:pt x="1162" y="4029"/>
                    </a:cubicBezTo>
                    <a:cubicBezTo>
                      <a:pt x="1181" y="4007"/>
                      <a:pt x="1204" y="3982"/>
                      <a:pt x="1228" y="3961"/>
                    </a:cubicBezTo>
                    <a:cubicBezTo>
                      <a:pt x="1277" y="3917"/>
                      <a:pt x="1328" y="3883"/>
                      <a:pt x="1328" y="3883"/>
                    </a:cubicBezTo>
                    <a:cubicBezTo>
                      <a:pt x="1328" y="3883"/>
                      <a:pt x="1328" y="3883"/>
                      <a:pt x="1328" y="3883"/>
                    </a:cubicBezTo>
                    <a:cubicBezTo>
                      <a:pt x="1314" y="3863"/>
                      <a:pt x="1314" y="3863"/>
                      <a:pt x="1314" y="3863"/>
                    </a:cubicBezTo>
                    <a:cubicBezTo>
                      <a:pt x="1314" y="3863"/>
                      <a:pt x="1262" y="3897"/>
                      <a:pt x="1211" y="3942"/>
                    </a:cubicBezTo>
                    <a:cubicBezTo>
                      <a:pt x="1186" y="3965"/>
                      <a:pt x="1163" y="3991"/>
                      <a:pt x="1144" y="4014"/>
                    </a:cubicBezTo>
                    <a:cubicBezTo>
                      <a:pt x="1117" y="4045"/>
                      <a:pt x="1087" y="4087"/>
                      <a:pt x="1064" y="4130"/>
                    </a:cubicBezTo>
                    <a:cubicBezTo>
                      <a:pt x="1045" y="4166"/>
                      <a:pt x="1032" y="4201"/>
                      <a:pt x="1026" y="4221"/>
                    </a:cubicBezTo>
                    <a:cubicBezTo>
                      <a:pt x="1009" y="4209"/>
                      <a:pt x="994" y="4198"/>
                      <a:pt x="983" y="4191"/>
                    </a:cubicBezTo>
                    <a:cubicBezTo>
                      <a:pt x="934" y="4161"/>
                      <a:pt x="829" y="4103"/>
                      <a:pt x="753" y="4053"/>
                    </a:cubicBezTo>
                    <a:cubicBezTo>
                      <a:pt x="716" y="4029"/>
                      <a:pt x="684" y="3996"/>
                      <a:pt x="661" y="3970"/>
                    </a:cubicBezTo>
                    <a:cubicBezTo>
                      <a:pt x="654" y="3962"/>
                      <a:pt x="647" y="3953"/>
                      <a:pt x="641" y="3945"/>
                    </a:cubicBezTo>
                    <a:cubicBezTo>
                      <a:pt x="644" y="3943"/>
                      <a:pt x="644" y="3943"/>
                      <a:pt x="644" y="3943"/>
                    </a:cubicBezTo>
                    <a:cubicBezTo>
                      <a:pt x="644" y="3943"/>
                      <a:pt x="634" y="3939"/>
                      <a:pt x="618" y="3914"/>
                    </a:cubicBezTo>
                    <a:cubicBezTo>
                      <a:pt x="587" y="3867"/>
                      <a:pt x="535" y="3772"/>
                      <a:pt x="498" y="3691"/>
                    </a:cubicBezTo>
                    <a:cubicBezTo>
                      <a:pt x="440" y="3569"/>
                      <a:pt x="350" y="3344"/>
                      <a:pt x="350" y="3343"/>
                    </a:cubicBezTo>
                    <a:cubicBezTo>
                      <a:pt x="328" y="3358"/>
                      <a:pt x="328" y="3358"/>
                      <a:pt x="328" y="3358"/>
                    </a:cubicBezTo>
                    <a:cubicBezTo>
                      <a:pt x="328" y="3359"/>
                      <a:pt x="416" y="3579"/>
                      <a:pt x="474" y="3702"/>
                    </a:cubicBezTo>
                    <a:cubicBezTo>
                      <a:pt x="515" y="3791"/>
                      <a:pt x="573" y="3888"/>
                      <a:pt x="602" y="3934"/>
                    </a:cubicBezTo>
                    <a:cubicBezTo>
                      <a:pt x="602" y="3934"/>
                      <a:pt x="602" y="3934"/>
                      <a:pt x="602" y="3934"/>
                    </a:cubicBezTo>
                    <a:cubicBezTo>
                      <a:pt x="603" y="3935"/>
                      <a:pt x="660" y="4022"/>
                      <a:pt x="739" y="4074"/>
                    </a:cubicBezTo>
                    <a:cubicBezTo>
                      <a:pt x="785" y="4103"/>
                      <a:pt x="839" y="4136"/>
                      <a:pt x="887" y="4163"/>
                    </a:cubicBezTo>
                    <a:cubicBezTo>
                      <a:pt x="885" y="4178"/>
                      <a:pt x="879" y="4212"/>
                      <a:pt x="868" y="4254"/>
                    </a:cubicBezTo>
                    <a:cubicBezTo>
                      <a:pt x="853" y="4309"/>
                      <a:pt x="829" y="4375"/>
                      <a:pt x="794" y="4420"/>
                    </a:cubicBezTo>
                    <a:cubicBezTo>
                      <a:pt x="726" y="4507"/>
                      <a:pt x="664" y="4532"/>
                      <a:pt x="657" y="4534"/>
                    </a:cubicBezTo>
                    <a:cubicBezTo>
                      <a:pt x="637" y="4540"/>
                      <a:pt x="637" y="4540"/>
                      <a:pt x="637" y="4540"/>
                    </a:cubicBezTo>
                    <a:cubicBezTo>
                      <a:pt x="635" y="4541"/>
                      <a:pt x="635" y="4541"/>
                      <a:pt x="635" y="4541"/>
                    </a:cubicBezTo>
                    <a:cubicBezTo>
                      <a:pt x="563" y="4440"/>
                      <a:pt x="483" y="4326"/>
                      <a:pt x="405" y="4215"/>
                    </a:cubicBezTo>
                    <a:cubicBezTo>
                      <a:pt x="222" y="3953"/>
                      <a:pt x="45" y="3699"/>
                      <a:pt x="32" y="3677"/>
                    </a:cubicBezTo>
                    <a:cubicBezTo>
                      <a:pt x="34" y="3677"/>
                      <a:pt x="34" y="3677"/>
                      <a:pt x="34" y="3677"/>
                    </a:cubicBezTo>
                    <a:cubicBezTo>
                      <a:pt x="33" y="3673"/>
                      <a:pt x="30" y="3670"/>
                      <a:pt x="26" y="3668"/>
                    </a:cubicBezTo>
                    <a:cubicBezTo>
                      <a:pt x="7" y="3639"/>
                      <a:pt x="7" y="3639"/>
                      <a:pt x="7" y="3639"/>
                    </a:cubicBezTo>
                    <a:cubicBezTo>
                      <a:pt x="7" y="3669"/>
                      <a:pt x="7" y="3669"/>
                      <a:pt x="7" y="3669"/>
                    </a:cubicBezTo>
                    <a:cubicBezTo>
                      <a:pt x="7" y="3670"/>
                      <a:pt x="6" y="3670"/>
                      <a:pt x="6" y="3670"/>
                    </a:cubicBezTo>
                    <a:cubicBezTo>
                      <a:pt x="1" y="3674"/>
                      <a:pt x="0" y="3680"/>
                      <a:pt x="0" y="3684"/>
                    </a:cubicBezTo>
                    <a:cubicBezTo>
                      <a:pt x="1" y="3692"/>
                      <a:pt x="1" y="3690"/>
                      <a:pt x="2" y="3692"/>
                    </a:cubicBezTo>
                    <a:cubicBezTo>
                      <a:pt x="2" y="3693"/>
                      <a:pt x="2" y="3693"/>
                      <a:pt x="3" y="3693"/>
                    </a:cubicBezTo>
                    <a:cubicBezTo>
                      <a:pt x="3" y="3694"/>
                      <a:pt x="4" y="3695"/>
                      <a:pt x="4" y="3697"/>
                    </a:cubicBezTo>
                    <a:cubicBezTo>
                      <a:pt x="5" y="3698"/>
                      <a:pt x="6" y="3700"/>
                      <a:pt x="7" y="3701"/>
                    </a:cubicBezTo>
                    <a:cubicBezTo>
                      <a:pt x="7" y="3705"/>
                      <a:pt x="7" y="3705"/>
                      <a:pt x="7" y="3705"/>
                    </a:cubicBezTo>
                    <a:cubicBezTo>
                      <a:pt x="32" y="3743"/>
                      <a:pt x="32" y="3743"/>
                      <a:pt x="32" y="3743"/>
                    </a:cubicBezTo>
                    <a:cubicBezTo>
                      <a:pt x="33" y="3745"/>
                      <a:pt x="33" y="3745"/>
                      <a:pt x="33" y="3745"/>
                    </a:cubicBezTo>
                    <a:cubicBezTo>
                      <a:pt x="35" y="3748"/>
                      <a:pt x="37" y="3751"/>
                      <a:pt x="39" y="3753"/>
                    </a:cubicBezTo>
                    <a:cubicBezTo>
                      <a:pt x="40" y="3756"/>
                      <a:pt x="40" y="3756"/>
                      <a:pt x="40" y="3756"/>
                    </a:cubicBezTo>
                    <a:cubicBezTo>
                      <a:pt x="40" y="3755"/>
                      <a:pt x="40" y="3755"/>
                      <a:pt x="40" y="3755"/>
                    </a:cubicBezTo>
                    <a:cubicBezTo>
                      <a:pt x="60" y="3783"/>
                      <a:pt x="89" y="3818"/>
                      <a:pt x="119" y="3863"/>
                    </a:cubicBezTo>
                    <a:cubicBezTo>
                      <a:pt x="187" y="3963"/>
                      <a:pt x="279" y="4098"/>
                      <a:pt x="375" y="4235"/>
                    </a:cubicBezTo>
                    <a:cubicBezTo>
                      <a:pt x="452" y="4346"/>
                      <a:pt x="532" y="4458"/>
                      <a:pt x="603" y="4558"/>
                    </a:cubicBezTo>
                    <a:cubicBezTo>
                      <a:pt x="603" y="4558"/>
                      <a:pt x="603" y="4558"/>
                      <a:pt x="602" y="4558"/>
                    </a:cubicBezTo>
                    <a:cubicBezTo>
                      <a:pt x="134" y="4785"/>
                      <a:pt x="134" y="4785"/>
                      <a:pt x="134" y="4785"/>
                    </a:cubicBezTo>
                    <a:cubicBezTo>
                      <a:pt x="7" y="4711"/>
                      <a:pt x="7" y="4711"/>
                      <a:pt x="7" y="4711"/>
                    </a:cubicBezTo>
                    <a:cubicBezTo>
                      <a:pt x="7" y="4741"/>
                      <a:pt x="7" y="4741"/>
                      <a:pt x="7" y="4741"/>
                    </a:cubicBezTo>
                    <a:cubicBezTo>
                      <a:pt x="118" y="4806"/>
                      <a:pt x="118" y="4806"/>
                      <a:pt x="118" y="4806"/>
                    </a:cubicBezTo>
                    <a:cubicBezTo>
                      <a:pt x="86" y="4941"/>
                      <a:pt x="86" y="4941"/>
                      <a:pt x="86" y="4941"/>
                    </a:cubicBezTo>
                    <a:cubicBezTo>
                      <a:pt x="73" y="4965"/>
                      <a:pt x="73" y="4965"/>
                      <a:pt x="73" y="4965"/>
                    </a:cubicBezTo>
                    <a:cubicBezTo>
                      <a:pt x="51" y="4961"/>
                      <a:pt x="28" y="4958"/>
                      <a:pt x="7" y="4957"/>
                    </a:cubicBezTo>
                    <a:cubicBezTo>
                      <a:pt x="7" y="4993"/>
                      <a:pt x="7" y="4993"/>
                      <a:pt x="7" y="4993"/>
                    </a:cubicBezTo>
                    <a:cubicBezTo>
                      <a:pt x="63" y="4997"/>
                      <a:pt x="131" y="5010"/>
                      <a:pt x="163" y="5030"/>
                    </a:cubicBezTo>
                    <a:cubicBezTo>
                      <a:pt x="185" y="5043"/>
                      <a:pt x="228" y="5088"/>
                      <a:pt x="268" y="5137"/>
                    </a:cubicBezTo>
                    <a:cubicBezTo>
                      <a:pt x="308" y="5186"/>
                      <a:pt x="347" y="5239"/>
                      <a:pt x="369" y="5269"/>
                    </a:cubicBezTo>
                    <a:cubicBezTo>
                      <a:pt x="411" y="5329"/>
                      <a:pt x="535" y="5510"/>
                      <a:pt x="579" y="5596"/>
                    </a:cubicBezTo>
                    <a:cubicBezTo>
                      <a:pt x="623" y="5683"/>
                      <a:pt x="632" y="5732"/>
                      <a:pt x="635" y="5778"/>
                    </a:cubicBezTo>
                    <a:cubicBezTo>
                      <a:pt x="635" y="5783"/>
                      <a:pt x="635" y="5793"/>
                      <a:pt x="635" y="5805"/>
                    </a:cubicBezTo>
                    <a:cubicBezTo>
                      <a:pt x="635" y="5892"/>
                      <a:pt x="627" y="6125"/>
                      <a:pt x="612" y="6186"/>
                    </a:cubicBezTo>
                    <a:cubicBezTo>
                      <a:pt x="595" y="6262"/>
                      <a:pt x="572" y="6393"/>
                      <a:pt x="567" y="6424"/>
                    </a:cubicBezTo>
                    <a:cubicBezTo>
                      <a:pt x="566" y="6428"/>
                      <a:pt x="566" y="6432"/>
                      <a:pt x="566" y="6436"/>
                    </a:cubicBezTo>
                    <a:cubicBezTo>
                      <a:pt x="567" y="6475"/>
                      <a:pt x="588" y="6530"/>
                      <a:pt x="616" y="6566"/>
                    </a:cubicBezTo>
                    <a:cubicBezTo>
                      <a:pt x="617" y="6567"/>
                      <a:pt x="617" y="6567"/>
                      <a:pt x="617" y="6567"/>
                    </a:cubicBezTo>
                    <a:cubicBezTo>
                      <a:pt x="617" y="6568"/>
                      <a:pt x="617" y="6568"/>
                      <a:pt x="617" y="6568"/>
                    </a:cubicBezTo>
                    <a:cubicBezTo>
                      <a:pt x="629" y="6579"/>
                      <a:pt x="655" y="6597"/>
                      <a:pt x="693" y="6622"/>
                    </a:cubicBezTo>
                    <a:cubicBezTo>
                      <a:pt x="702" y="6628"/>
                      <a:pt x="702" y="6628"/>
                      <a:pt x="702" y="6628"/>
                    </a:cubicBezTo>
                    <a:cubicBezTo>
                      <a:pt x="737" y="6650"/>
                      <a:pt x="757" y="6665"/>
                      <a:pt x="772" y="6674"/>
                    </a:cubicBezTo>
                    <a:cubicBezTo>
                      <a:pt x="771" y="6674"/>
                      <a:pt x="771" y="6674"/>
                      <a:pt x="771" y="6674"/>
                    </a:cubicBezTo>
                    <a:cubicBezTo>
                      <a:pt x="1097" y="6879"/>
                      <a:pt x="1097" y="6879"/>
                      <a:pt x="1097" y="6879"/>
                    </a:cubicBezTo>
                    <a:cubicBezTo>
                      <a:pt x="1093" y="6883"/>
                      <a:pt x="1089" y="6887"/>
                      <a:pt x="1085" y="6891"/>
                    </a:cubicBezTo>
                    <a:cubicBezTo>
                      <a:pt x="1054" y="6923"/>
                      <a:pt x="1013" y="6966"/>
                      <a:pt x="972" y="7008"/>
                    </a:cubicBezTo>
                    <a:cubicBezTo>
                      <a:pt x="892" y="7090"/>
                      <a:pt x="810" y="7175"/>
                      <a:pt x="804" y="7181"/>
                    </a:cubicBezTo>
                    <a:cubicBezTo>
                      <a:pt x="804" y="7181"/>
                      <a:pt x="804" y="7181"/>
                      <a:pt x="804" y="7181"/>
                    </a:cubicBezTo>
                    <a:cubicBezTo>
                      <a:pt x="802" y="7182"/>
                      <a:pt x="803" y="7182"/>
                      <a:pt x="802" y="7183"/>
                    </a:cubicBezTo>
                    <a:cubicBezTo>
                      <a:pt x="801" y="7184"/>
                      <a:pt x="800" y="7184"/>
                      <a:pt x="799" y="7185"/>
                    </a:cubicBezTo>
                    <a:cubicBezTo>
                      <a:pt x="798" y="7187"/>
                      <a:pt x="795" y="7190"/>
                      <a:pt x="792" y="7193"/>
                    </a:cubicBezTo>
                    <a:cubicBezTo>
                      <a:pt x="786" y="7199"/>
                      <a:pt x="778" y="7208"/>
                      <a:pt x="769" y="7218"/>
                    </a:cubicBezTo>
                    <a:cubicBezTo>
                      <a:pt x="751" y="7239"/>
                      <a:pt x="729" y="7264"/>
                      <a:pt x="713" y="7285"/>
                    </a:cubicBezTo>
                    <a:cubicBezTo>
                      <a:pt x="702" y="7300"/>
                      <a:pt x="694" y="7311"/>
                      <a:pt x="690" y="7323"/>
                    </a:cubicBezTo>
                    <a:cubicBezTo>
                      <a:pt x="680" y="7354"/>
                      <a:pt x="683" y="7371"/>
                      <a:pt x="681" y="7381"/>
                    </a:cubicBezTo>
                    <a:cubicBezTo>
                      <a:pt x="679" y="7392"/>
                      <a:pt x="666" y="7440"/>
                      <a:pt x="652" y="7485"/>
                    </a:cubicBezTo>
                    <a:cubicBezTo>
                      <a:pt x="649" y="7482"/>
                      <a:pt x="646" y="7480"/>
                      <a:pt x="642" y="7477"/>
                    </a:cubicBezTo>
                    <a:cubicBezTo>
                      <a:pt x="625" y="7463"/>
                      <a:pt x="601" y="7445"/>
                      <a:pt x="578" y="7427"/>
                    </a:cubicBezTo>
                    <a:cubicBezTo>
                      <a:pt x="540" y="7398"/>
                      <a:pt x="491" y="7362"/>
                      <a:pt x="474" y="7349"/>
                    </a:cubicBezTo>
                    <a:cubicBezTo>
                      <a:pt x="32" y="6999"/>
                      <a:pt x="32" y="6999"/>
                      <a:pt x="32" y="6999"/>
                    </a:cubicBezTo>
                    <a:cubicBezTo>
                      <a:pt x="35" y="6982"/>
                      <a:pt x="35" y="6982"/>
                      <a:pt x="35" y="6982"/>
                    </a:cubicBezTo>
                    <a:cubicBezTo>
                      <a:pt x="240" y="6462"/>
                      <a:pt x="240" y="6462"/>
                      <a:pt x="240" y="6462"/>
                    </a:cubicBezTo>
                    <a:cubicBezTo>
                      <a:pt x="153" y="6304"/>
                      <a:pt x="153" y="6304"/>
                      <a:pt x="153" y="6304"/>
                    </a:cubicBezTo>
                    <a:cubicBezTo>
                      <a:pt x="268" y="6127"/>
                      <a:pt x="268" y="6127"/>
                      <a:pt x="268" y="6127"/>
                    </a:cubicBezTo>
                    <a:cubicBezTo>
                      <a:pt x="268" y="6123"/>
                      <a:pt x="268" y="6123"/>
                      <a:pt x="268" y="6123"/>
                    </a:cubicBezTo>
                    <a:cubicBezTo>
                      <a:pt x="268" y="6123"/>
                      <a:pt x="268" y="6121"/>
                      <a:pt x="268" y="6118"/>
                    </a:cubicBezTo>
                    <a:cubicBezTo>
                      <a:pt x="268" y="6090"/>
                      <a:pt x="269" y="5961"/>
                      <a:pt x="291" y="5843"/>
                    </a:cubicBezTo>
                    <a:cubicBezTo>
                      <a:pt x="295" y="5821"/>
                      <a:pt x="297" y="5800"/>
                      <a:pt x="297" y="5779"/>
                    </a:cubicBezTo>
                    <a:cubicBezTo>
                      <a:pt x="296" y="5667"/>
                      <a:pt x="245" y="5576"/>
                      <a:pt x="209" y="5529"/>
                    </a:cubicBezTo>
                    <a:cubicBezTo>
                      <a:pt x="188" y="5501"/>
                      <a:pt x="163" y="5480"/>
                      <a:pt x="142" y="5466"/>
                    </a:cubicBezTo>
                    <a:cubicBezTo>
                      <a:pt x="120" y="5451"/>
                      <a:pt x="106" y="5443"/>
                      <a:pt x="92" y="5442"/>
                    </a:cubicBezTo>
                    <a:cubicBezTo>
                      <a:pt x="92" y="5442"/>
                      <a:pt x="92" y="5442"/>
                      <a:pt x="92" y="5442"/>
                    </a:cubicBezTo>
                    <a:cubicBezTo>
                      <a:pt x="91" y="5442"/>
                      <a:pt x="90" y="5442"/>
                      <a:pt x="89" y="5442"/>
                    </a:cubicBezTo>
                    <a:cubicBezTo>
                      <a:pt x="86" y="5441"/>
                      <a:pt x="82" y="5441"/>
                      <a:pt x="78" y="5440"/>
                    </a:cubicBezTo>
                    <a:cubicBezTo>
                      <a:pt x="69" y="5439"/>
                      <a:pt x="57" y="5437"/>
                      <a:pt x="44" y="5435"/>
                    </a:cubicBezTo>
                    <a:cubicBezTo>
                      <a:pt x="33" y="5433"/>
                      <a:pt x="20" y="5431"/>
                      <a:pt x="7" y="5429"/>
                    </a:cubicBezTo>
                    <a:cubicBezTo>
                      <a:pt x="7" y="5455"/>
                      <a:pt x="7" y="5455"/>
                      <a:pt x="7" y="5455"/>
                    </a:cubicBezTo>
                    <a:cubicBezTo>
                      <a:pt x="19" y="5457"/>
                      <a:pt x="30" y="5459"/>
                      <a:pt x="39" y="5461"/>
                    </a:cubicBezTo>
                    <a:cubicBezTo>
                      <a:pt x="68" y="5465"/>
                      <a:pt x="86" y="5468"/>
                      <a:pt x="92" y="5468"/>
                    </a:cubicBezTo>
                    <a:cubicBezTo>
                      <a:pt x="92" y="5468"/>
                      <a:pt x="92" y="5468"/>
                      <a:pt x="92" y="5468"/>
                    </a:cubicBezTo>
                    <a:cubicBezTo>
                      <a:pt x="93" y="5469"/>
                      <a:pt x="93" y="5469"/>
                      <a:pt x="94" y="5469"/>
                    </a:cubicBezTo>
                    <a:cubicBezTo>
                      <a:pt x="96" y="5470"/>
                      <a:pt x="99" y="5471"/>
                      <a:pt x="103" y="5472"/>
                    </a:cubicBezTo>
                    <a:cubicBezTo>
                      <a:pt x="109" y="5476"/>
                      <a:pt x="118" y="5481"/>
                      <a:pt x="127" y="5487"/>
                    </a:cubicBezTo>
                    <a:cubicBezTo>
                      <a:pt x="146" y="5500"/>
                      <a:pt x="169" y="5520"/>
                      <a:pt x="188" y="5545"/>
                    </a:cubicBezTo>
                    <a:cubicBezTo>
                      <a:pt x="222" y="5589"/>
                      <a:pt x="270" y="5675"/>
                      <a:pt x="270" y="5779"/>
                    </a:cubicBezTo>
                    <a:cubicBezTo>
                      <a:pt x="270" y="5798"/>
                      <a:pt x="269" y="5818"/>
                      <a:pt x="265" y="5838"/>
                    </a:cubicBezTo>
                    <a:cubicBezTo>
                      <a:pt x="243" y="5959"/>
                      <a:pt x="242" y="6089"/>
                      <a:pt x="242" y="6118"/>
                    </a:cubicBezTo>
                    <a:cubicBezTo>
                      <a:pt x="242" y="6120"/>
                      <a:pt x="242" y="6120"/>
                      <a:pt x="242" y="6120"/>
                    </a:cubicBezTo>
                    <a:cubicBezTo>
                      <a:pt x="122" y="6303"/>
                      <a:pt x="122" y="6303"/>
                      <a:pt x="122" y="6303"/>
                    </a:cubicBezTo>
                    <a:cubicBezTo>
                      <a:pt x="211" y="6464"/>
                      <a:pt x="211" y="6464"/>
                      <a:pt x="211" y="6464"/>
                    </a:cubicBezTo>
                    <a:cubicBezTo>
                      <a:pt x="15" y="6962"/>
                      <a:pt x="15" y="6962"/>
                      <a:pt x="15" y="6962"/>
                    </a:cubicBezTo>
                    <a:cubicBezTo>
                      <a:pt x="7" y="6970"/>
                      <a:pt x="7" y="6970"/>
                      <a:pt x="7" y="6970"/>
                    </a:cubicBezTo>
                    <a:cubicBezTo>
                      <a:pt x="2" y="6976"/>
                      <a:pt x="2" y="6976"/>
                      <a:pt x="2" y="6976"/>
                    </a:cubicBezTo>
                    <a:cubicBezTo>
                      <a:pt x="0" y="6978"/>
                      <a:pt x="0" y="6978"/>
                      <a:pt x="0" y="6978"/>
                    </a:cubicBezTo>
                    <a:cubicBezTo>
                      <a:pt x="6" y="6986"/>
                      <a:pt x="6" y="6986"/>
                      <a:pt x="6" y="6986"/>
                    </a:cubicBezTo>
                    <a:cubicBezTo>
                      <a:pt x="5" y="6988"/>
                      <a:pt x="5" y="6988"/>
                      <a:pt x="5" y="6988"/>
                    </a:cubicBezTo>
                    <a:cubicBezTo>
                      <a:pt x="5" y="6988"/>
                      <a:pt x="5" y="6988"/>
                      <a:pt x="5" y="6988"/>
                    </a:cubicBezTo>
                    <a:cubicBezTo>
                      <a:pt x="7" y="6989"/>
                      <a:pt x="7" y="6989"/>
                      <a:pt x="7" y="6989"/>
                    </a:cubicBezTo>
                    <a:cubicBezTo>
                      <a:pt x="7" y="7025"/>
                      <a:pt x="7" y="7025"/>
                      <a:pt x="7" y="7025"/>
                    </a:cubicBezTo>
                    <a:cubicBezTo>
                      <a:pt x="470" y="7392"/>
                      <a:pt x="470" y="7392"/>
                      <a:pt x="470" y="7392"/>
                    </a:cubicBezTo>
                    <a:cubicBezTo>
                      <a:pt x="470" y="7393"/>
                      <a:pt x="470" y="7393"/>
                      <a:pt x="470" y="7393"/>
                    </a:cubicBezTo>
                    <a:cubicBezTo>
                      <a:pt x="470" y="7394"/>
                      <a:pt x="560" y="7461"/>
                      <a:pt x="614" y="7503"/>
                    </a:cubicBezTo>
                    <a:cubicBezTo>
                      <a:pt x="625" y="7511"/>
                      <a:pt x="634" y="7518"/>
                      <a:pt x="640" y="7523"/>
                    </a:cubicBezTo>
                    <a:cubicBezTo>
                      <a:pt x="620" y="7582"/>
                      <a:pt x="581" y="7697"/>
                      <a:pt x="542" y="7753"/>
                    </a:cubicBezTo>
                    <a:cubicBezTo>
                      <a:pt x="520" y="7784"/>
                      <a:pt x="401" y="7941"/>
                      <a:pt x="288" y="8090"/>
                    </a:cubicBezTo>
                    <a:cubicBezTo>
                      <a:pt x="268" y="8117"/>
                      <a:pt x="247" y="8144"/>
                      <a:pt x="227" y="8170"/>
                    </a:cubicBezTo>
                    <a:cubicBezTo>
                      <a:pt x="200" y="8147"/>
                      <a:pt x="117" y="8075"/>
                      <a:pt x="7" y="7982"/>
                    </a:cubicBezTo>
                    <a:cubicBezTo>
                      <a:pt x="7" y="8029"/>
                      <a:pt x="7" y="8029"/>
                      <a:pt x="7" y="8029"/>
                    </a:cubicBezTo>
                    <a:cubicBezTo>
                      <a:pt x="108" y="8115"/>
                      <a:pt x="182" y="8179"/>
                      <a:pt x="205" y="8199"/>
                    </a:cubicBezTo>
                    <a:cubicBezTo>
                      <a:pt x="125" y="8303"/>
                      <a:pt x="60" y="8386"/>
                      <a:pt x="60" y="8386"/>
                    </a:cubicBezTo>
                    <a:cubicBezTo>
                      <a:pt x="61" y="8386"/>
                      <a:pt x="61" y="8386"/>
                      <a:pt x="61" y="8386"/>
                    </a:cubicBezTo>
                    <a:cubicBezTo>
                      <a:pt x="7" y="8455"/>
                      <a:pt x="7" y="8455"/>
                      <a:pt x="7" y="8455"/>
                    </a:cubicBezTo>
                    <a:cubicBezTo>
                      <a:pt x="7" y="8514"/>
                      <a:pt x="7" y="8514"/>
                      <a:pt x="7" y="8514"/>
                    </a:cubicBezTo>
                    <a:cubicBezTo>
                      <a:pt x="98" y="8397"/>
                      <a:pt x="98" y="8397"/>
                      <a:pt x="98" y="8397"/>
                    </a:cubicBezTo>
                    <a:cubicBezTo>
                      <a:pt x="98" y="8397"/>
                      <a:pt x="98" y="8397"/>
                      <a:pt x="98" y="8397"/>
                    </a:cubicBezTo>
                    <a:cubicBezTo>
                      <a:pt x="98" y="8397"/>
                      <a:pt x="151" y="8331"/>
                      <a:pt x="227" y="8231"/>
                    </a:cubicBezTo>
                    <a:cubicBezTo>
                      <a:pt x="228" y="8230"/>
                      <a:pt x="230" y="8229"/>
                      <a:pt x="232" y="8229"/>
                    </a:cubicBezTo>
                    <a:cubicBezTo>
                      <a:pt x="232" y="8229"/>
                      <a:pt x="233" y="8229"/>
                      <a:pt x="234" y="8229"/>
                    </a:cubicBezTo>
                    <a:cubicBezTo>
                      <a:pt x="241" y="8230"/>
                      <a:pt x="251" y="8232"/>
                      <a:pt x="265" y="8233"/>
                    </a:cubicBezTo>
                    <a:cubicBezTo>
                      <a:pt x="293" y="8237"/>
                      <a:pt x="335" y="8243"/>
                      <a:pt x="390" y="8251"/>
                    </a:cubicBezTo>
                    <a:cubicBezTo>
                      <a:pt x="504" y="8266"/>
                      <a:pt x="645" y="8300"/>
                      <a:pt x="752" y="8330"/>
                    </a:cubicBezTo>
                    <a:cubicBezTo>
                      <a:pt x="858" y="8359"/>
                      <a:pt x="921" y="8395"/>
                      <a:pt x="1005" y="8438"/>
                    </a:cubicBezTo>
                    <a:cubicBezTo>
                      <a:pt x="1043" y="8458"/>
                      <a:pt x="1102" y="8504"/>
                      <a:pt x="1150" y="8544"/>
                    </a:cubicBezTo>
                    <a:cubicBezTo>
                      <a:pt x="1199" y="8585"/>
                      <a:pt x="1236" y="8620"/>
                      <a:pt x="1236" y="8620"/>
                    </a:cubicBezTo>
                    <a:cubicBezTo>
                      <a:pt x="1241" y="8624"/>
                      <a:pt x="1241" y="8624"/>
                      <a:pt x="1241" y="8624"/>
                    </a:cubicBezTo>
                    <a:cubicBezTo>
                      <a:pt x="1241" y="8624"/>
                      <a:pt x="1241" y="8624"/>
                      <a:pt x="1241" y="8624"/>
                    </a:cubicBezTo>
                    <a:cubicBezTo>
                      <a:pt x="1262" y="8643"/>
                      <a:pt x="1306" y="8682"/>
                      <a:pt x="1354" y="8723"/>
                    </a:cubicBezTo>
                    <a:cubicBezTo>
                      <a:pt x="1422" y="8781"/>
                      <a:pt x="1500" y="8849"/>
                      <a:pt x="1537" y="8885"/>
                    </a:cubicBezTo>
                    <a:cubicBezTo>
                      <a:pt x="1566" y="8913"/>
                      <a:pt x="1636" y="8979"/>
                      <a:pt x="1709" y="9048"/>
                    </a:cubicBezTo>
                    <a:cubicBezTo>
                      <a:pt x="1332" y="9511"/>
                      <a:pt x="1332" y="9511"/>
                      <a:pt x="1332" y="9511"/>
                    </a:cubicBezTo>
                    <a:cubicBezTo>
                      <a:pt x="1325" y="9518"/>
                      <a:pt x="1299" y="9542"/>
                      <a:pt x="1299" y="9581"/>
                    </a:cubicBezTo>
                    <a:cubicBezTo>
                      <a:pt x="1299" y="9610"/>
                      <a:pt x="1314" y="9643"/>
                      <a:pt x="1354" y="9674"/>
                    </a:cubicBezTo>
                    <a:cubicBezTo>
                      <a:pt x="1452" y="9752"/>
                      <a:pt x="1627" y="9835"/>
                      <a:pt x="1688" y="9874"/>
                    </a:cubicBezTo>
                    <a:cubicBezTo>
                      <a:pt x="1752" y="9914"/>
                      <a:pt x="1803" y="9946"/>
                      <a:pt x="1828" y="9995"/>
                    </a:cubicBezTo>
                    <a:cubicBezTo>
                      <a:pt x="1847" y="10035"/>
                      <a:pt x="1858" y="10079"/>
                      <a:pt x="1867" y="10103"/>
                    </a:cubicBezTo>
                    <a:cubicBezTo>
                      <a:pt x="1871" y="10112"/>
                      <a:pt x="1870" y="10118"/>
                      <a:pt x="1883" y="10127"/>
                    </a:cubicBezTo>
                    <a:cubicBezTo>
                      <a:pt x="1894" y="10105"/>
                      <a:pt x="1894" y="10105"/>
                      <a:pt x="1894" y="10105"/>
                    </a:cubicBezTo>
                    <a:cubicBezTo>
                      <a:pt x="1903" y="10097"/>
                      <a:pt x="1903" y="10097"/>
                      <a:pt x="1903" y="10097"/>
                    </a:cubicBezTo>
                    <a:cubicBezTo>
                      <a:pt x="1903" y="10097"/>
                      <a:pt x="1903" y="10097"/>
                      <a:pt x="1903" y="10097"/>
                    </a:cubicBezTo>
                    <a:cubicBezTo>
                      <a:pt x="1903" y="10096"/>
                      <a:pt x="1902" y="10094"/>
                      <a:pt x="1901" y="10091"/>
                    </a:cubicBezTo>
                    <a:cubicBezTo>
                      <a:pt x="1898" y="10084"/>
                      <a:pt x="1895" y="10074"/>
                      <a:pt x="1891" y="10062"/>
                    </a:cubicBezTo>
                    <a:cubicBezTo>
                      <a:pt x="1884" y="10039"/>
                      <a:pt x="1874" y="10008"/>
                      <a:pt x="1860" y="9979"/>
                    </a:cubicBezTo>
                    <a:cubicBezTo>
                      <a:pt x="1829" y="9917"/>
                      <a:pt x="1770" y="9884"/>
                      <a:pt x="1707" y="9844"/>
                    </a:cubicBezTo>
                    <a:cubicBezTo>
                      <a:pt x="1642" y="9802"/>
                      <a:pt x="1470" y="9719"/>
                      <a:pt x="1376" y="9646"/>
                    </a:cubicBezTo>
                    <a:cubicBezTo>
                      <a:pt x="1342" y="9618"/>
                      <a:pt x="1335" y="9597"/>
                      <a:pt x="1335" y="9581"/>
                    </a:cubicBezTo>
                    <a:cubicBezTo>
                      <a:pt x="1335" y="9563"/>
                      <a:pt x="1347" y="9547"/>
                      <a:pt x="1354" y="9541"/>
                    </a:cubicBezTo>
                    <a:cubicBezTo>
                      <a:pt x="1356" y="9539"/>
                      <a:pt x="1356" y="9538"/>
                      <a:pt x="1356" y="9538"/>
                    </a:cubicBezTo>
                    <a:cubicBezTo>
                      <a:pt x="1358" y="9537"/>
                      <a:pt x="1358" y="9537"/>
                      <a:pt x="1358" y="9537"/>
                    </a:cubicBezTo>
                    <a:cubicBezTo>
                      <a:pt x="1735" y="9073"/>
                      <a:pt x="1735" y="9073"/>
                      <a:pt x="1735" y="9073"/>
                    </a:cubicBezTo>
                    <a:cubicBezTo>
                      <a:pt x="1839" y="9171"/>
                      <a:pt x="1942" y="9268"/>
                      <a:pt x="1943" y="9268"/>
                    </a:cubicBezTo>
                    <a:cubicBezTo>
                      <a:pt x="1990" y="9307"/>
                      <a:pt x="2143" y="9461"/>
                      <a:pt x="2239" y="9505"/>
                    </a:cubicBezTo>
                    <a:cubicBezTo>
                      <a:pt x="2290" y="9527"/>
                      <a:pt x="2380" y="9536"/>
                      <a:pt x="2461" y="9542"/>
                    </a:cubicBezTo>
                    <a:cubicBezTo>
                      <a:pt x="2516" y="9545"/>
                      <a:pt x="2564" y="9546"/>
                      <a:pt x="2590" y="9547"/>
                    </a:cubicBezTo>
                    <a:cubicBezTo>
                      <a:pt x="2590" y="9611"/>
                      <a:pt x="2591" y="9675"/>
                      <a:pt x="2591" y="9740"/>
                    </a:cubicBezTo>
                    <a:cubicBezTo>
                      <a:pt x="2595" y="10088"/>
                      <a:pt x="2605" y="10423"/>
                      <a:pt x="2608" y="10534"/>
                    </a:cubicBezTo>
                    <a:cubicBezTo>
                      <a:pt x="2608" y="10534"/>
                      <a:pt x="2607" y="10534"/>
                      <a:pt x="2607" y="10534"/>
                    </a:cubicBezTo>
                    <a:cubicBezTo>
                      <a:pt x="2606" y="10533"/>
                      <a:pt x="2605" y="10560"/>
                      <a:pt x="2605" y="10560"/>
                    </a:cubicBezTo>
                    <a:cubicBezTo>
                      <a:pt x="2605" y="10560"/>
                      <a:pt x="2605" y="10561"/>
                      <a:pt x="2604" y="10561"/>
                    </a:cubicBezTo>
                    <a:cubicBezTo>
                      <a:pt x="2514" y="10573"/>
                      <a:pt x="2435" y="10620"/>
                      <a:pt x="2381" y="10687"/>
                    </a:cubicBezTo>
                    <a:cubicBezTo>
                      <a:pt x="2339" y="10673"/>
                      <a:pt x="2257" y="10648"/>
                      <a:pt x="2138" y="10623"/>
                    </a:cubicBezTo>
                    <a:cubicBezTo>
                      <a:pt x="1963" y="10587"/>
                      <a:pt x="1790" y="10575"/>
                      <a:pt x="1626" y="10543"/>
                    </a:cubicBezTo>
                    <a:cubicBezTo>
                      <a:pt x="1457" y="10510"/>
                      <a:pt x="1224" y="10433"/>
                      <a:pt x="947" y="10328"/>
                    </a:cubicBezTo>
                    <a:cubicBezTo>
                      <a:pt x="868" y="10298"/>
                      <a:pt x="752" y="10226"/>
                      <a:pt x="628" y="10133"/>
                    </a:cubicBezTo>
                    <a:cubicBezTo>
                      <a:pt x="503" y="10041"/>
                      <a:pt x="367" y="9929"/>
                      <a:pt x="240" y="9817"/>
                    </a:cubicBezTo>
                    <a:cubicBezTo>
                      <a:pt x="157" y="9745"/>
                      <a:pt x="78" y="9674"/>
                      <a:pt x="7" y="9608"/>
                    </a:cubicBezTo>
                    <a:cubicBezTo>
                      <a:pt x="7" y="9673"/>
                      <a:pt x="7" y="9673"/>
                      <a:pt x="7" y="9673"/>
                    </a:cubicBezTo>
                    <a:cubicBezTo>
                      <a:pt x="7" y="9764"/>
                      <a:pt x="7" y="9764"/>
                      <a:pt x="7" y="9764"/>
                    </a:cubicBezTo>
                    <a:cubicBezTo>
                      <a:pt x="7" y="9844"/>
                      <a:pt x="7" y="9844"/>
                      <a:pt x="7" y="9844"/>
                    </a:cubicBezTo>
                    <a:cubicBezTo>
                      <a:pt x="21" y="9859"/>
                      <a:pt x="34" y="9872"/>
                      <a:pt x="44" y="9883"/>
                    </a:cubicBezTo>
                    <a:cubicBezTo>
                      <a:pt x="105" y="9943"/>
                      <a:pt x="201" y="10051"/>
                      <a:pt x="302" y="10141"/>
                    </a:cubicBezTo>
                    <a:cubicBezTo>
                      <a:pt x="320" y="10229"/>
                      <a:pt x="361" y="10435"/>
                      <a:pt x="370" y="10589"/>
                    </a:cubicBezTo>
                    <a:cubicBezTo>
                      <a:pt x="375" y="10672"/>
                      <a:pt x="382" y="10745"/>
                      <a:pt x="388" y="10812"/>
                    </a:cubicBezTo>
                    <a:cubicBezTo>
                      <a:pt x="414" y="10812"/>
                      <a:pt x="414" y="10812"/>
                      <a:pt x="414" y="10812"/>
                    </a:cubicBezTo>
                    <a:cubicBezTo>
                      <a:pt x="409" y="10744"/>
                      <a:pt x="401" y="10670"/>
                      <a:pt x="396" y="10587"/>
                    </a:cubicBezTo>
                    <a:cubicBezTo>
                      <a:pt x="388" y="10460"/>
                      <a:pt x="360" y="10298"/>
                      <a:pt x="339" y="10195"/>
                    </a:cubicBezTo>
                    <a:cubicBezTo>
                      <a:pt x="345" y="10179"/>
                      <a:pt x="345" y="10179"/>
                      <a:pt x="345" y="10179"/>
                    </a:cubicBezTo>
                    <a:cubicBezTo>
                      <a:pt x="394" y="10220"/>
                      <a:pt x="442" y="10256"/>
                      <a:pt x="481" y="10285"/>
                    </a:cubicBezTo>
                    <a:cubicBezTo>
                      <a:pt x="528" y="10319"/>
                      <a:pt x="565" y="10344"/>
                      <a:pt x="573" y="10351"/>
                    </a:cubicBezTo>
                    <a:cubicBezTo>
                      <a:pt x="612" y="10381"/>
                      <a:pt x="712" y="10450"/>
                      <a:pt x="827" y="10526"/>
                    </a:cubicBezTo>
                    <a:cubicBezTo>
                      <a:pt x="941" y="10602"/>
                      <a:pt x="1066" y="10682"/>
                      <a:pt x="1151" y="10731"/>
                    </a:cubicBezTo>
                    <a:cubicBezTo>
                      <a:pt x="1199" y="10759"/>
                      <a:pt x="1244" y="10786"/>
                      <a:pt x="1288" y="10812"/>
                    </a:cubicBezTo>
                    <a:cubicBezTo>
                      <a:pt x="1544" y="10812"/>
                      <a:pt x="1544" y="10812"/>
                      <a:pt x="1544" y="10812"/>
                    </a:cubicBezTo>
                    <a:cubicBezTo>
                      <a:pt x="1432" y="10768"/>
                      <a:pt x="1336" y="10705"/>
                      <a:pt x="1208" y="10632"/>
                    </a:cubicBezTo>
                    <a:cubicBezTo>
                      <a:pt x="1128" y="10585"/>
                      <a:pt x="1003" y="10505"/>
                      <a:pt x="890" y="10431"/>
                    </a:cubicBezTo>
                    <a:cubicBezTo>
                      <a:pt x="887" y="10428"/>
                      <a:pt x="883" y="10426"/>
                      <a:pt x="880" y="10424"/>
                    </a:cubicBezTo>
                    <a:cubicBezTo>
                      <a:pt x="889" y="10428"/>
                      <a:pt x="897" y="10432"/>
                      <a:pt x="906" y="10435"/>
                    </a:cubicBezTo>
                    <a:cubicBezTo>
                      <a:pt x="1186" y="10541"/>
                      <a:pt x="1422" y="10620"/>
                      <a:pt x="1604" y="10656"/>
                    </a:cubicBezTo>
                    <a:cubicBezTo>
                      <a:pt x="1777" y="10689"/>
                      <a:pt x="1949" y="10701"/>
                      <a:pt x="2115" y="10736"/>
                    </a:cubicBezTo>
                    <a:cubicBezTo>
                      <a:pt x="2211" y="10755"/>
                      <a:pt x="2282" y="10776"/>
                      <a:pt x="2325" y="10790"/>
                    </a:cubicBezTo>
                    <a:cubicBezTo>
                      <a:pt x="2322" y="10797"/>
                      <a:pt x="2320" y="10804"/>
                      <a:pt x="2318" y="10812"/>
                    </a:cubicBezTo>
                    <a:cubicBezTo>
                      <a:pt x="2446" y="10812"/>
                      <a:pt x="2446" y="10812"/>
                      <a:pt x="2446" y="10812"/>
                    </a:cubicBezTo>
                    <a:cubicBezTo>
                      <a:pt x="2481" y="10733"/>
                      <a:pt x="2559" y="10678"/>
                      <a:pt x="2651" y="10678"/>
                    </a:cubicBezTo>
                    <a:cubicBezTo>
                      <a:pt x="2742" y="10678"/>
                      <a:pt x="2821" y="10733"/>
                      <a:pt x="2856" y="10812"/>
                    </a:cubicBezTo>
                    <a:cubicBezTo>
                      <a:pt x="2983" y="10812"/>
                      <a:pt x="2983" y="10812"/>
                      <a:pt x="2983" y="10812"/>
                    </a:cubicBezTo>
                    <a:cubicBezTo>
                      <a:pt x="2943" y="10665"/>
                      <a:pt x="2810" y="10557"/>
                      <a:pt x="2651" y="10557"/>
                    </a:cubicBezTo>
                    <a:cubicBezTo>
                      <a:pt x="2650" y="10557"/>
                      <a:pt x="2648" y="10558"/>
                      <a:pt x="2647" y="10558"/>
                    </a:cubicBezTo>
                    <a:cubicBezTo>
                      <a:pt x="2645" y="10545"/>
                      <a:pt x="2645" y="10545"/>
                      <a:pt x="2645" y="10545"/>
                    </a:cubicBezTo>
                    <a:cubicBezTo>
                      <a:pt x="2642" y="10466"/>
                      <a:pt x="2634" y="10216"/>
                      <a:pt x="2630" y="9928"/>
                    </a:cubicBezTo>
                    <a:cubicBezTo>
                      <a:pt x="3672" y="9749"/>
                      <a:pt x="3672" y="9749"/>
                      <a:pt x="3672" y="9749"/>
                    </a:cubicBezTo>
                    <a:cubicBezTo>
                      <a:pt x="3820" y="10583"/>
                      <a:pt x="3820" y="10583"/>
                      <a:pt x="3820" y="10583"/>
                    </a:cubicBezTo>
                    <a:cubicBezTo>
                      <a:pt x="4296" y="10636"/>
                      <a:pt x="4296" y="10636"/>
                      <a:pt x="4296" y="10636"/>
                    </a:cubicBezTo>
                    <a:cubicBezTo>
                      <a:pt x="4279" y="10812"/>
                      <a:pt x="4279" y="10812"/>
                      <a:pt x="4279" y="10812"/>
                    </a:cubicBezTo>
                    <a:cubicBezTo>
                      <a:pt x="4305" y="10812"/>
                      <a:pt x="4305" y="10812"/>
                      <a:pt x="4305" y="10812"/>
                    </a:cubicBezTo>
                    <a:cubicBezTo>
                      <a:pt x="4325" y="10613"/>
                      <a:pt x="4325" y="10613"/>
                      <a:pt x="4325" y="10613"/>
                    </a:cubicBezTo>
                    <a:cubicBezTo>
                      <a:pt x="3842" y="10560"/>
                      <a:pt x="3842" y="10560"/>
                      <a:pt x="3842" y="10560"/>
                    </a:cubicBezTo>
                    <a:cubicBezTo>
                      <a:pt x="3698" y="9744"/>
                      <a:pt x="3698" y="9744"/>
                      <a:pt x="3698" y="9744"/>
                    </a:cubicBezTo>
                    <a:cubicBezTo>
                      <a:pt x="3973" y="9697"/>
                      <a:pt x="3973" y="9697"/>
                      <a:pt x="3973" y="9697"/>
                    </a:cubicBezTo>
                    <a:cubicBezTo>
                      <a:pt x="3985" y="9697"/>
                      <a:pt x="3985" y="9697"/>
                      <a:pt x="3985" y="9697"/>
                    </a:cubicBezTo>
                    <a:cubicBezTo>
                      <a:pt x="3996" y="9796"/>
                      <a:pt x="4028" y="9861"/>
                      <a:pt x="4073" y="9904"/>
                    </a:cubicBezTo>
                    <a:cubicBezTo>
                      <a:pt x="4130" y="9957"/>
                      <a:pt x="4204" y="9974"/>
                      <a:pt x="4273" y="9986"/>
                    </a:cubicBezTo>
                    <a:cubicBezTo>
                      <a:pt x="4332" y="9996"/>
                      <a:pt x="4403" y="10000"/>
                      <a:pt x="4475" y="10001"/>
                    </a:cubicBezTo>
                    <a:cubicBezTo>
                      <a:pt x="4478" y="10002"/>
                      <a:pt x="4481" y="10002"/>
                      <a:pt x="4484" y="10002"/>
                    </a:cubicBezTo>
                    <a:cubicBezTo>
                      <a:pt x="4484" y="10001"/>
                      <a:pt x="4484" y="10001"/>
                      <a:pt x="4484" y="10001"/>
                    </a:cubicBezTo>
                    <a:cubicBezTo>
                      <a:pt x="4489" y="10001"/>
                      <a:pt x="4495" y="10001"/>
                      <a:pt x="4500" y="10001"/>
                    </a:cubicBezTo>
                    <a:cubicBezTo>
                      <a:pt x="4592" y="10001"/>
                      <a:pt x="4684" y="9996"/>
                      <a:pt x="4754" y="9994"/>
                    </a:cubicBezTo>
                    <a:cubicBezTo>
                      <a:pt x="4790" y="9993"/>
                      <a:pt x="4823" y="9991"/>
                      <a:pt x="4854" y="9991"/>
                    </a:cubicBezTo>
                    <a:cubicBezTo>
                      <a:pt x="4896" y="9991"/>
                      <a:pt x="4932" y="9995"/>
                      <a:pt x="4960" y="10012"/>
                    </a:cubicBezTo>
                    <a:cubicBezTo>
                      <a:pt x="4989" y="10029"/>
                      <a:pt x="5013" y="10059"/>
                      <a:pt x="5030" y="10116"/>
                    </a:cubicBezTo>
                    <a:cubicBezTo>
                      <a:pt x="5047" y="10171"/>
                      <a:pt x="5053" y="10353"/>
                      <a:pt x="5053" y="10552"/>
                    </a:cubicBezTo>
                    <a:cubicBezTo>
                      <a:pt x="5053" y="10637"/>
                      <a:pt x="5052" y="10726"/>
                      <a:pt x="5051" y="10812"/>
                    </a:cubicBezTo>
                    <a:cubicBezTo>
                      <a:pt x="5087" y="10812"/>
                      <a:pt x="5087" y="10812"/>
                      <a:pt x="5087" y="10812"/>
                    </a:cubicBezTo>
                    <a:cubicBezTo>
                      <a:pt x="5088" y="10726"/>
                      <a:pt x="5089" y="10637"/>
                      <a:pt x="5089" y="10552"/>
                    </a:cubicBezTo>
                    <a:cubicBezTo>
                      <a:pt x="5089" y="10396"/>
                      <a:pt x="5086" y="10254"/>
                      <a:pt x="5076" y="10167"/>
                    </a:cubicBezTo>
                    <a:cubicBezTo>
                      <a:pt x="5108" y="10172"/>
                      <a:pt x="5211" y="10189"/>
                      <a:pt x="5327" y="10208"/>
                    </a:cubicBezTo>
                    <a:cubicBezTo>
                      <a:pt x="5468" y="10232"/>
                      <a:pt x="5630" y="10259"/>
                      <a:pt x="5709" y="10275"/>
                    </a:cubicBezTo>
                    <a:cubicBezTo>
                      <a:pt x="5867" y="10308"/>
                      <a:pt x="6075" y="10361"/>
                      <a:pt x="6185" y="10389"/>
                    </a:cubicBezTo>
                    <a:cubicBezTo>
                      <a:pt x="6292" y="10417"/>
                      <a:pt x="6379" y="10472"/>
                      <a:pt x="6759" y="10508"/>
                    </a:cubicBezTo>
                    <a:cubicBezTo>
                      <a:pt x="6772" y="10510"/>
                      <a:pt x="6785" y="10511"/>
                      <a:pt x="6797" y="10513"/>
                    </a:cubicBezTo>
                    <a:cubicBezTo>
                      <a:pt x="6796" y="10518"/>
                      <a:pt x="6795" y="10525"/>
                      <a:pt x="6794" y="10533"/>
                    </a:cubicBezTo>
                    <a:cubicBezTo>
                      <a:pt x="6790" y="10554"/>
                      <a:pt x="6785" y="10584"/>
                      <a:pt x="6779" y="10620"/>
                    </a:cubicBezTo>
                    <a:cubicBezTo>
                      <a:pt x="6770" y="10674"/>
                      <a:pt x="6758" y="10741"/>
                      <a:pt x="6747" y="10812"/>
                    </a:cubicBezTo>
                    <a:cubicBezTo>
                      <a:pt x="6783" y="10812"/>
                      <a:pt x="6783" y="10812"/>
                      <a:pt x="6783" y="10812"/>
                    </a:cubicBezTo>
                    <a:cubicBezTo>
                      <a:pt x="6806" y="10677"/>
                      <a:pt x="6826" y="10554"/>
                      <a:pt x="6833" y="10518"/>
                    </a:cubicBezTo>
                    <a:cubicBezTo>
                      <a:pt x="7097" y="10560"/>
                      <a:pt x="7392" y="10688"/>
                      <a:pt x="7530" y="10753"/>
                    </a:cubicBezTo>
                    <a:cubicBezTo>
                      <a:pt x="7579" y="10776"/>
                      <a:pt x="7608" y="10791"/>
                      <a:pt x="7609" y="10792"/>
                    </a:cubicBezTo>
                    <a:cubicBezTo>
                      <a:pt x="7628" y="10803"/>
                      <a:pt x="7628" y="10803"/>
                      <a:pt x="7628" y="10803"/>
                    </a:cubicBezTo>
                    <a:cubicBezTo>
                      <a:pt x="7624" y="10812"/>
                      <a:pt x="7624" y="10812"/>
                      <a:pt x="7624" y="10812"/>
                    </a:cubicBezTo>
                    <a:cubicBezTo>
                      <a:pt x="7713" y="10812"/>
                      <a:pt x="7713" y="10812"/>
                      <a:pt x="7713" y="10812"/>
                    </a:cubicBezTo>
                    <a:cubicBezTo>
                      <a:pt x="7677" y="10790"/>
                      <a:pt x="7677" y="10790"/>
                      <a:pt x="7677" y="10790"/>
                    </a:cubicBezTo>
                    <a:cubicBezTo>
                      <a:pt x="8584" y="9144"/>
                      <a:pt x="8584" y="9144"/>
                      <a:pt x="8584" y="9144"/>
                    </a:cubicBezTo>
                    <a:cubicBezTo>
                      <a:pt x="8665" y="9194"/>
                      <a:pt x="9041" y="9421"/>
                      <a:pt x="9184" y="9463"/>
                    </a:cubicBezTo>
                    <a:cubicBezTo>
                      <a:pt x="9340" y="9508"/>
                      <a:pt x="9527" y="9549"/>
                      <a:pt x="9672" y="9609"/>
                    </a:cubicBezTo>
                    <a:cubicBezTo>
                      <a:pt x="9713" y="9627"/>
                      <a:pt x="9765" y="9655"/>
                      <a:pt x="9818" y="9687"/>
                    </a:cubicBezTo>
                    <a:cubicBezTo>
                      <a:pt x="9815" y="9691"/>
                      <a:pt x="9813" y="9695"/>
                      <a:pt x="9809" y="9700"/>
                    </a:cubicBezTo>
                    <a:cubicBezTo>
                      <a:pt x="9801" y="9713"/>
                      <a:pt x="9790" y="9731"/>
                      <a:pt x="9776" y="9754"/>
                    </a:cubicBezTo>
                    <a:cubicBezTo>
                      <a:pt x="9748" y="9799"/>
                      <a:pt x="9710" y="9861"/>
                      <a:pt x="9665" y="9932"/>
                    </a:cubicBezTo>
                    <a:cubicBezTo>
                      <a:pt x="9576" y="10074"/>
                      <a:pt x="9463" y="10247"/>
                      <a:pt x="9366" y="10373"/>
                    </a:cubicBezTo>
                    <a:cubicBezTo>
                      <a:pt x="9203" y="10588"/>
                      <a:pt x="9187" y="10707"/>
                      <a:pt x="9187" y="10745"/>
                    </a:cubicBezTo>
                    <a:cubicBezTo>
                      <a:pt x="9187" y="10751"/>
                      <a:pt x="9187" y="10756"/>
                      <a:pt x="9187" y="10758"/>
                    </a:cubicBezTo>
                    <a:cubicBezTo>
                      <a:pt x="9190" y="10812"/>
                      <a:pt x="9190" y="10812"/>
                      <a:pt x="9190" y="10812"/>
                    </a:cubicBezTo>
                    <a:cubicBezTo>
                      <a:pt x="9227" y="10812"/>
                      <a:pt x="9227" y="10812"/>
                      <a:pt x="9227" y="10812"/>
                    </a:cubicBezTo>
                    <a:cubicBezTo>
                      <a:pt x="9223" y="10754"/>
                      <a:pt x="9223" y="10754"/>
                      <a:pt x="9223" y="10754"/>
                    </a:cubicBezTo>
                    <a:cubicBezTo>
                      <a:pt x="9223" y="10752"/>
                      <a:pt x="9223" y="10752"/>
                      <a:pt x="9223" y="10752"/>
                    </a:cubicBezTo>
                    <a:cubicBezTo>
                      <a:pt x="9223" y="10752"/>
                      <a:pt x="9223" y="10752"/>
                      <a:pt x="9223" y="10751"/>
                    </a:cubicBezTo>
                    <a:cubicBezTo>
                      <a:pt x="9223" y="10750"/>
                      <a:pt x="9223" y="10748"/>
                      <a:pt x="9223" y="10745"/>
                    </a:cubicBezTo>
                    <a:cubicBezTo>
                      <a:pt x="9223" y="10717"/>
                      <a:pt x="9235" y="10606"/>
                      <a:pt x="9395" y="10395"/>
                    </a:cubicBezTo>
                    <a:cubicBezTo>
                      <a:pt x="9538" y="10207"/>
                      <a:pt x="9715" y="9922"/>
                      <a:pt x="9801" y="9782"/>
                    </a:cubicBezTo>
                    <a:cubicBezTo>
                      <a:pt x="9824" y="9745"/>
                      <a:pt x="9842" y="9716"/>
                      <a:pt x="9848" y="9706"/>
                    </a:cubicBezTo>
                    <a:cubicBezTo>
                      <a:pt x="9876" y="9724"/>
                      <a:pt x="9903" y="9742"/>
                      <a:pt x="9929" y="9761"/>
                    </a:cubicBezTo>
                    <a:cubicBezTo>
                      <a:pt x="10016" y="9822"/>
                      <a:pt x="10092" y="9885"/>
                      <a:pt x="10113" y="9914"/>
                    </a:cubicBezTo>
                    <a:cubicBezTo>
                      <a:pt x="10122" y="9925"/>
                      <a:pt x="10139" y="9966"/>
                      <a:pt x="10157" y="10022"/>
                    </a:cubicBezTo>
                    <a:cubicBezTo>
                      <a:pt x="10175" y="10078"/>
                      <a:pt x="10195" y="10150"/>
                      <a:pt x="10216" y="10229"/>
                    </a:cubicBezTo>
                    <a:cubicBezTo>
                      <a:pt x="10258" y="10387"/>
                      <a:pt x="10302" y="10574"/>
                      <a:pt x="10334" y="10719"/>
                    </a:cubicBezTo>
                    <a:cubicBezTo>
                      <a:pt x="10342" y="10752"/>
                      <a:pt x="10345" y="10783"/>
                      <a:pt x="10346" y="10812"/>
                    </a:cubicBezTo>
                    <a:cubicBezTo>
                      <a:pt x="10382" y="10812"/>
                      <a:pt x="10382" y="10812"/>
                      <a:pt x="10382" y="10812"/>
                    </a:cubicBezTo>
                    <a:cubicBezTo>
                      <a:pt x="10381" y="10780"/>
                      <a:pt x="10378" y="10747"/>
                      <a:pt x="10370" y="10711"/>
                    </a:cubicBezTo>
                    <a:cubicBezTo>
                      <a:pt x="10320" y="10493"/>
                      <a:pt x="10246" y="10182"/>
                      <a:pt x="10191" y="10011"/>
                    </a:cubicBezTo>
                    <a:cubicBezTo>
                      <a:pt x="10183" y="9986"/>
                      <a:pt x="10175" y="9964"/>
                      <a:pt x="10168" y="9946"/>
                    </a:cubicBezTo>
                    <a:cubicBezTo>
                      <a:pt x="10193" y="9926"/>
                      <a:pt x="10349" y="9804"/>
                      <a:pt x="10543" y="9652"/>
                    </a:cubicBezTo>
                    <a:cubicBezTo>
                      <a:pt x="10754" y="9487"/>
                      <a:pt x="11009" y="9288"/>
                      <a:pt x="11183" y="9153"/>
                    </a:cubicBezTo>
                    <a:cubicBezTo>
                      <a:pt x="11275" y="9081"/>
                      <a:pt x="11345" y="9027"/>
                      <a:pt x="11373" y="9006"/>
                    </a:cubicBezTo>
                    <a:cubicBezTo>
                      <a:pt x="11556" y="9150"/>
                      <a:pt x="11651" y="9291"/>
                      <a:pt x="11688" y="9356"/>
                    </a:cubicBezTo>
                    <a:cubicBezTo>
                      <a:pt x="11701" y="9379"/>
                      <a:pt x="11707" y="9392"/>
                      <a:pt x="11706" y="9392"/>
                    </a:cubicBezTo>
                    <a:cubicBezTo>
                      <a:pt x="12119" y="10354"/>
                      <a:pt x="12119" y="10354"/>
                      <a:pt x="12119" y="10354"/>
                    </a:cubicBezTo>
                    <a:cubicBezTo>
                      <a:pt x="11800" y="10812"/>
                      <a:pt x="11800" y="10812"/>
                      <a:pt x="11800" y="10812"/>
                    </a:cubicBezTo>
                    <a:cubicBezTo>
                      <a:pt x="11844" y="10812"/>
                      <a:pt x="11844" y="10812"/>
                      <a:pt x="11844" y="10812"/>
                    </a:cubicBezTo>
                    <a:cubicBezTo>
                      <a:pt x="12137" y="10392"/>
                      <a:pt x="12137" y="10392"/>
                      <a:pt x="12137" y="10392"/>
                    </a:cubicBezTo>
                    <a:cubicBezTo>
                      <a:pt x="12886" y="10812"/>
                      <a:pt x="12886" y="10812"/>
                      <a:pt x="12886" y="10812"/>
                    </a:cubicBezTo>
                    <a:cubicBezTo>
                      <a:pt x="12960" y="10812"/>
                      <a:pt x="12960" y="10812"/>
                      <a:pt x="12960" y="10812"/>
                    </a:cubicBezTo>
                    <a:cubicBezTo>
                      <a:pt x="12143" y="10354"/>
                      <a:pt x="12143" y="10354"/>
                      <a:pt x="12143" y="10354"/>
                    </a:cubicBezTo>
                    <a:cubicBezTo>
                      <a:pt x="12156" y="10349"/>
                      <a:pt x="12156" y="10349"/>
                      <a:pt x="12156" y="10349"/>
                    </a:cubicBezTo>
                    <a:cubicBezTo>
                      <a:pt x="11810" y="9542"/>
                      <a:pt x="11810" y="9542"/>
                      <a:pt x="11810" y="9542"/>
                    </a:cubicBezTo>
                    <a:cubicBezTo>
                      <a:pt x="11860" y="9523"/>
                      <a:pt x="12236" y="9380"/>
                      <a:pt x="12354" y="9321"/>
                    </a:cubicBezTo>
                    <a:cubicBezTo>
                      <a:pt x="12411" y="9292"/>
                      <a:pt x="12449" y="9274"/>
                      <a:pt x="12475" y="9244"/>
                    </a:cubicBezTo>
                    <a:cubicBezTo>
                      <a:pt x="12501" y="9214"/>
                      <a:pt x="12509" y="9175"/>
                      <a:pt x="12509" y="9117"/>
                    </a:cubicBezTo>
                    <a:cubicBezTo>
                      <a:pt x="12509" y="9108"/>
                      <a:pt x="12509" y="9099"/>
                      <a:pt x="12509" y="9090"/>
                    </a:cubicBezTo>
                    <a:cubicBezTo>
                      <a:pt x="12509" y="9088"/>
                      <a:pt x="12509" y="9086"/>
                      <a:pt x="12509" y="9084"/>
                    </a:cubicBezTo>
                    <a:cubicBezTo>
                      <a:pt x="12508" y="8994"/>
                      <a:pt x="12578" y="8957"/>
                      <a:pt x="12615" y="8943"/>
                    </a:cubicBezTo>
                    <a:cubicBezTo>
                      <a:pt x="12624" y="8940"/>
                      <a:pt x="12630" y="8938"/>
                      <a:pt x="12633" y="8937"/>
                    </a:cubicBezTo>
                    <a:cubicBezTo>
                      <a:pt x="13641" y="8904"/>
                      <a:pt x="13641" y="8904"/>
                      <a:pt x="13641" y="8904"/>
                    </a:cubicBezTo>
                    <a:cubicBezTo>
                      <a:pt x="13656" y="8907"/>
                      <a:pt x="13656" y="8907"/>
                      <a:pt x="13656" y="8907"/>
                    </a:cubicBezTo>
                    <a:cubicBezTo>
                      <a:pt x="13658" y="8925"/>
                      <a:pt x="13660" y="8948"/>
                      <a:pt x="13662" y="8976"/>
                    </a:cubicBezTo>
                    <a:cubicBezTo>
                      <a:pt x="13667" y="9044"/>
                      <a:pt x="13676" y="9136"/>
                      <a:pt x="13685" y="9244"/>
                    </a:cubicBezTo>
                    <a:cubicBezTo>
                      <a:pt x="13705" y="9460"/>
                      <a:pt x="13731" y="9741"/>
                      <a:pt x="13757" y="10019"/>
                    </a:cubicBezTo>
                    <a:cubicBezTo>
                      <a:pt x="13784" y="10312"/>
                      <a:pt x="13812" y="10603"/>
                      <a:pt x="13831" y="10812"/>
                    </a:cubicBezTo>
                    <a:cubicBezTo>
                      <a:pt x="13947" y="10812"/>
                      <a:pt x="13947" y="10812"/>
                      <a:pt x="13947" y="10812"/>
                    </a:cubicBezTo>
                    <a:cubicBezTo>
                      <a:pt x="13932" y="10651"/>
                      <a:pt x="13912" y="10440"/>
                      <a:pt x="13890" y="10215"/>
                    </a:cubicBezTo>
                    <a:cubicBezTo>
                      <a:pt x="13854" y="9831"/>
                      <a:pt x="13815" y="9410"/>
                      <a:pt x="13791" y="9137"/>
                    </a:cubicBezTo>
                    <a:cubicBezTo>
                      <a:pt x="13803" y="9134"/>
                      <a:pt x="13803" y="9134"/>
                      <a:pt x="13803" y="9134"/>
                    </a:cubicBezTo>
                    <a:cubicBezTo>
                      <a:pt x="13851" y="9133"/>
                      <a:pt x="14003" y="9130"/>
                      <a:pt x="14213" y="9127"/>
                    </a:cubicBezTo>
                    <a:cubicBezTo>
                      <a:pt x="14303" y="9126"/>
                      <a:pt x="14405" y="9124"/>
                      <a:pt x="14513" y="9123"/>
                    </a:cubicBezTo>
                    <a:cubicBezTo>
                      <a:pt x="14544" y="9251"/>
                      <a:pt x="14687" y="9852"/>
                      <a:pt x="14818" y="10346"/>
                    </a:cubicBezTo>
                    <a:cubicBezTo>
                      <a:pt x="14853" y="10478"/>
                      <a:pt x="14898" y="10645"/>
                      <a:pt x="14944" y="10812"/>
                    </a:cubicBezTo>
                    <a:cubicBezTo>
                      <a:pt x="14982" y="10812"/>
                      <a:pt x="14982" y="10812"/>
                      <a:pt x="14982" y="10812"/>
                    </a:cubicBezTo>
                    <a:cubicBezTo>
                      <a:pt x="14935" y="10642"/>
                      <a:pt x="14888" y="10471"/>
                      <a:pt x="14853" y="10337"/>
                    </a:cubicBezTo>
                    <a:cubicBezTo>
                      <a:pt x="14779" y="10059"/>
                      <a:pt x="14701" y="9747"/>
                      <a:pt x="14642" y="9504"/>
                    </a:cubicBezTo>
                    <a:cubicBezTo>
                      <a:pt x="14598" y="9324"/>
                      <a:pt x="14565" y="9183"/>
                      <a:pt x="14550" y="9122"/>
                    </a:cubicBezTo>
                    <a:cubicBezTo>
                      <a:pt x="14741" y="9119"/>
                      <a:pt x="14952" y="9116"/>
                      <a:pt x="15166" y="9113"/>
                    </a:cubicBezTo>
                    <a:cubicBezTo>
                      <a:pt x="15867" y="9102"/>
                      <a:pt x="16590" y="9091"/>
                      <a:pt x="16680" y="9091"/>
                    </a:cubicBezTo>
                    <a:cubicBezTo>
                      <a:pt x="16682" y="9091"/>
                      <a:pt x="16684" y="9091"/>
                      <a:pt x="16685" y="9091"/>
                    </a:cubicBezTo>
                    <a:cubicBezTo>
                      <a:pt x="16686" y="9091"/>
                      <a:pt x="16686" y="9091"/>
                      <a:pt x="16686" y="9091"/>
                    </a:cubicBezTo>
                    <a:cubicBezTo>
                      <a:pt x="16688" y="9092"/>
                      <a:pt x="16688" y="9092"/>
                      <a:pt x="16689" y="9092"/>
                    </a:cubicBezTo>
                    <a:cubicBezTo>
                      <a:pt x="16690" y="9092"/>
                      <a:pt x="16691" y="9092"/>
                      <a:pt x="16692" y="9092"/>
                    </a:cubicBezTo>
                    <a:cubicBezTo>
                      <a:pt x="16696" y="9092"/>
                      <a:pt x="16702" y="9091"/>
                      <a:pt x="16711" y="9091"/>
                    </a:cubicBezTo>
                    <a:cubicBezTo>
                      <a:pt x="16799" y="9091"/>
                      <a:pt x="17144" y="9101"/>
                      <a:pt x="17476" y="9327"/>
                    </a:cubicBezTo>
                    <a:cubicBezTo>
                      <a:pt x="17686" y="9469"/>
                      <a:pt x="17851" y="9599"/>
                      <a:pt x="18008" y="9720"/>
                    </a:cubicBezTo>
                    <a:cubicBezTo>
                      <a:pt x="18009" y="9720"/>
                      <a:pt x="18010" y="9721"/>
                      <a:pt x="18011" y="9722"/>
                    </a:cubicBezTo>
                    <a:cubicBezTo>
                      <a:pt x="18011" y="9677"/>
                      <a:pt x="18011" y="9677"/>
                      <a:pt x="18011" y="9677"/>
                    </a:cubicBezTo>
                    <a:cubicBezTo>
                      <a:pt x="18010" y="9676"/>
                      <a:pt x="18009" y="9675"/>
                      <a:pt x="18008" y="9674"/>
                    </a:cubicBezTo>
                    <a:cubicBezTo>
                      <a:pt x="17858" y="9558"/>
                      <a:pt x="17697" y="9433"/>
                      <a:pt x="17497" y="9297"/>
                    </a:cubicBezTo>
                    <a:cubicBezTo>
                      <a:pt x="17365" y="9208"/>
                      <a:pt x="17231" y="9152"/>
                      <a:pt x="17112" y="9116"/>
                    </a:cubicBezTo>
                    <a:cubicBezTo>
                      <a:pt x="17144" y="9063"/>
                      <a:pt x="17308" y="8772"/>
                      <a:pt x="17308" y="8363"/>
                    </a:cubicBezTo>
                    <a:cubicBezTo>
                      <a:pt x="17308" y="8222"/>
                      <a:pt x="17288" y="8066"/>
                      <a:pt x="17236" y="7902"/>
                    </a:cubicBezTo>
                    <a:cubicBezTo>
                      <a:pt x="17229" y="7868"/>
                      <a:pt x="17083" y="7132"/>
                      <a:pt x="16502" y="6560"/>
                    </a:cubicBezTo>
                    <a:cubicBezTo>
                      <a:pt x="16130" y="6193"/>
                      <a:pt x="15667" y="6053"/>
                      <a:pt x="15476" y="6007"/>
                    </a:cubicBezTo>
                    <a:cubicBezTo>
                      <a:pt x="15477" y="6004"/>
                      <a:pt x="15477" y="6003"/>
                      <a:pt x="15477" y="6000"/>
                    </a:cubicBezTo>
                    <a:cubicBezTo>
                      <a:pt x="15527" y="5723"/>
                      <a:pt x="15683" y="5396"/>
                      <a:pt x="16223" y="5246"/>
                    </a:cubicBezTo>
                    <a:cubicBezTo>
                      <a:pt x="16630" y="5134"/>
                      <a:pt x="17137" y="5104"/>
                      <a:pt x="17399" y="5088"/>
                    </a:cubicBezTo>
                    <a:cubicBezTo>
                      <a:pt x="17487" y="5082"/>
                      <a:pt x="17545" y="5079"/>
                      <a:pt x="17569" y="5073"/>
                    </a:cubicBezTo>
                    <a:cubicBezTo>
                      <a:pt x="17622" y="5060"/>
                      <a:pt x="17799" y="5006"/>
                      <a:pt x="18008" y="4891"/>
                    </a:cubicBezTo>
                    <a:cubicBezTo>
                      <a:pt x="18009" y="4890"/>
                      <a:pt x="18010" y="4890"/>
                      <a:pt x="18011" y="4889"/>
                    </a:cubicBezTo>
                    <a:cubicBezTo>
                      <a:pt x="18011" y="4848"/>
                      <a:pt x="18011" y="4848"/>
                      <a:pt x="18011" y="4848"/>
                    </a:cubicBezTo>
                    <a:cubicBezTo>
                      <a:pt x="18010" y="4848"/>
                      <a:pt x="18009" y="4849"/>
                      <a:pt x="18008" y="4850"/>
                    </a:cubicBezTo>
                    <a:cubicBezTo>
                      <a:pt x="17795" y="4970"/>
                      <a:pt x="17612" y="5026"/>
                      <a:pt x="17560" y="5038"/>
                    </a:cubicBezTo>
                    <a:cubicBezTo>
                      <a:pt x="17545" y="5042"/>
                      <a:pt x="17484" y="5047"/>
                      <a:pt x="17397" y="5052"/>
                    </a:cubicBezTo>
                    <a:cubicBezTo>
                      <a:pt x="17310" y="5057"/>
                      <a:pt x="17195" y="5064"/>
                      <a:pt x="17065" y="5075"/>
                    </a:cubicBezTo>
                    <a:cubicBezTo>
                      <a:pt x="16806" y="5097"/>
                      <a:pt x="16488" y="5136"/>
                      <a:pt x="16213" y="5212"/>
                    </a:cubicBezTo>
                    <a:cubicBezTo>
                      <a:pt x="15661" y="5363"/>
                      <a:pt x="15491" y="5709"/>
                      <a:pt x="15442" y="5994"/>
                    </a:cubicBezTo>
                    <a:cubicBezTo>
                      <a:pt x="15442" y="5996"/>
                      <a:pt x="15441" y="5997"/>
                      <a:pt x="15441" y="5998"/>
                    </a:cubicBezTo>
                    <a:cubicBezTo>
                      <a:pt x="15422" y="5994"/>
                      <a:pt x="15407" y="5991"/>
                      <a:pt x="15398" y="5989"/>
                    </a:cubicBezTo>
                    <a:cubicBezTo>
                      <a:pt x="14206" y="5755"/>
                      <a:pt x="14206" y="5755"/>
                      <a:pt x="14206" y="5755"/>
                    </a:cubicBezTo>
                    <a:cubicBezTo>
                      <a:pt x="14200" y="5752"/>
                      <a:pt x="14192" y="5749"/>
                      <a:pt x="14186" y="5746"/>
                    </a:cubicBezTo>
                    <a:cubicBezTo>
                      <a:pt x="14212" y="5587"/>
                      <a:pt x="14236" y="5441"/>
                      <a:pt x="14256" y="5318"/>
                    </a:cubicBezTo>
                    <a:cubicBezTo>
                      <a:pt x="14289" y="5123"/>
                      <a:pt x="14312" y="4983"/>
                      <a:pt x="14321" y="4929"/>
                    </a:cubicBezTo>
                    <a:cubicBezTo>
                      <a:pt x="14374" y="4891"/>
                      <a:pt x="14519" y="4780"/>
                      <a:pt x="14625" y="4635"/>
                    </a:cubicBezTo>
                    <a:cubicBezTo>
                      <a:pt x="14739" y="4477"/>
                      <a:pt x="14808" y="4297"/>
                      <a:pt x="14823" y="4257"/>
                    </a:cubicBezTo>
                    <a:cubicBezTo>
                      <a:pt x="15130" y="3836"/>
                      <a:pt x="15130" y="3836"/>
                      <a:pt x="15130" y="3836"/>
                    </a:cubicBezTo>
                    <a:cubicBezTo>
                      <a:pt x="15317" y="3879"/>
                      <a:pt x="15767" y="3983"/>
                      <a:pt x="16050" y="4040"/>
                    </a:cubicBezTo>
                    <a:cubicBezTo>
                      <a:pt x="16228" y="4076"/>
                      <a:pt x="16770" y="4214"/>
                      <a:pt x="17266" y="4342"/>
                    </a:cubicBezTo>
                    <a:cubicBezTo>
                      <a:pt x="17556" y="4417"/>
                      <a:pt x="17830" y="4488"/>
                      <a:pt x="18008" y="4535"/>
                    </a:cubicBezTo>
                    <a:cubicBezTo>
                      <a:pt x="18009" y="4536"/>
                      <a:pt x="18010" y="4536"/>
                      <a:pt x="18011" y="4536"/>
                    </a:cubicBezTo>
                    <a:cubicBezTo>
                      <a:pt x="18011" y="4417"/>
                      <a:pt x="18011" y="4417"/>
                      <a:pt x="18011" y="4417"/>
                    </a:cubicBezTo>
                    <a:cubicBezTo>
                      <a:pt x="18010" y="4417"/>
                      <a:pt x="18009" y="4417"/>
                      <a:pt x="18008" y="4417"/>
                    </a:cubicBezTo>
                    <a:cubicBezTo>
                      <a:pt x="17508" y="4285"/>
                      <a:pt x="16358" y="3986"/>
                      <a:pt x="16073" y="3928"/>
                    </a:cubicBezTo>
                    <a:cubicBezTo>
                      <a:pt x="15893" y="3891"/>
                      <a:pt x="15642" y="3835"/>
                      <a:pt x="15436" y="3788"/>
                    </a:cubicBezTo>
                    <a:cubicBezTo>
                      <a:pt x="15256" y="3747"/>
                      <a:pt x="15111" y="3713"/>
                      <a:pt x="15078" y="3706"/>
                    </a:cubicBezTo>
                    <a:cubicBezTo>
                      <a:pt x="15075" y="3704"/>
                      <a:pt x="15070" y="3701"/>
                      <a:pt x="15064" y="3697"/>
                    </a:cubicBezTo>
                    <a:cubicBezTo>
                      <a:pt x="15050" y="3687"/>
                      <a:pt x="15027" y="3670"/>
                      <a:pt x="14995" y="3640"/>
                    </a:cubicBezTo>
                    <a:cubicBezTo>
                      <a:pt x="14983" y="3630"/>
                      <a:pt x="14943" y="3587"/>
                      <a:pt x="14896" y="3532"/>
                    </a:cubicBezTo>
                    <a:cubicBezTo>
                      <a:pt x="14849" y="3478"/>
                      <a:pt x="14792" y="3410"/>
                      <a:pt x="14737" y="3345"/>
                    </a:cubicBezTo>
                    <a:cubicBezTo>
                      <a:pt x="14638" y="3228"/>
                      <a:pt x="14547" y="3118"/>
                      <a:pt x="14528" y="3095"/>
                    </a:cubicBezTo>
                    <a:cubicBezTo>
                      <a:pt x="14510" y="3061"/>
                      <a:pt x="14429" y="2916"/>
                      <a:pt x="14280" y="2820"/>
                    </a:cubicBezTo>
                    <a:cubicBezTo>
                      <a:pt x="14196" y="2768"/>
                      <a:pt x="14104" y="2739"/>
                      <a:pt x="14019" y="2718"/>
                    </a:cubicBezTo>
                    <a:cubicBezTo>
                      <a:pt x="13934" y="2697"/>
                      <a:pt x="13856" y="2683"/>
                      <a:pt x="13804" y="2665"/>
                    </a:cubicBezTo>
                    <a:cubicBezTo>
                      <a:pt x="13757" y="2649"/>
                      <a:pt x="13675" y="2602"/>
                      <a:pt x="13603" y="2545"/>
                    </a:cubicBezTo>
                    <a:cubicBezTo>
                      <a:pt x="13540" y="2496"/>
                      <a:pt x="13483" y="2439"/>
                      <a:pt x="13452" y="2393"/>
                    </a:cubicBezTo>
                    <a:cubicBezTo>
                      <a:pt x="13456" y="2380"/>
                      <a:pt x="13459" y="2363"/>
                      <a:pt x="13462" y="2343"/>
                    </a:cubicBezTo>
                    <a:cubicBezTo>
                      <a:pt x="13469" y="2302"/>
                      <a:pt x="13475" y="2246"/>
                      <a:pt x="13475" y="2186"/>
                    </a:cubicBezTo>
                    <a:cubicBezTo>
                      <a:pt x="13475" y="2150"/>
                      <a:pt x="13472" y="2112"/>
                      <a:pt x="13466" y="2075"/>
                    </a:cubicBezTo>
                    <a:cubicBezTo>
                      <a:pt x="13573" y="2049"/>
                      <a:pt x="13852" y="1981"/>
                      <a:pt x="14024" y="1941"/>
                    </a:cubicBezTo>
                    <a:cubicBezTo>
                      <a:pt x="14094" y="1924"/>
                      <a:pt x="14149" y="1911"/>
                      <a:pt x="14161" y="1909"/>
                    </a:cubicBezTo>
                    <a:cubicBezTo>
                      <a:pt x="14166" y="1909"/>
                      <a:pt x="14168" y="1908"/>
                      <a:pt x="14171" y="1908"/>
                    </a:cubicBezTo>
                    <a:cubicBezTo>
                      <a:pt x="14175" y="1907"/>
                      <a:pt x="14179" y="1906"/>
                      <a:pt x="14183" y="1905"/>
                    </a:cubicBezTo>
                    <a:cubicBezTo>
                      <a:pt x="14192" y="1902"/>
                      <a:pt x="14204" y="1899"/>
                      <a:pt x="14217" y="1895"/>
                    </a:cubicBezTo>
                    <a:cubicBezTo>
                      <a:pt x="14244" y="1887"/>
                      <a:pt x="14281" y="1876"/>
                      <a:pt x="14325" y="1862"/>
                    </a:cubicBezTo>
                    <a:cubicBezTo>
                      <a:pt x="14413" y="1834"/>
                      <a:pt x="14529" y="1794"/>
                      <a:pt x="14653" y="1749"/>
                    </a:cubicBezTo>
                    <a:cubicBezTo>
                      <a:pt x="14750" y="1714"/>
                      <a:pt x="14897" y="1641"/>
                      <a:pt x="15048" y="1562"/>
                    </a:cubicBezTo>
                    <a:cubicBezTo>
                      <a:pt x="15200" y="1482"/>
                      <a:pt x="15354" y="1396"/>
                      <a:pt x="15460" y="1337"/>
                    </a:cubicBezTo>
                    <a:cubicBezTo>
                      <a:pt x="15530" y="1298"/>
                      <a:pt x="15580" y="1269"/>
                      <a:pt x="15588" y="1265"/>
                    </a:cubicBezTo>
                    <a:cubicBezTo>
                      <a:pt x="15588" y="1265"/>
                      <a:pt x="15588" y="1265"/>
                      <a:pt x="15588" y="1265"/>
                    </a:cubicBezTo>
                    <a:cubicBezTo>
                      <a:pt x="15613" y="1254"/>
                      <a:pt x="15714" y="1211"/>
                      <a:pt x="15738" y="1201"/>
                    </a:cubicBezTo>
                    <a:lnTo>
                      <a:pt x="17155" y="911"/>
                    </a:lnTo>
                    <a:close/>
                    <a:moveTo>
                      <a:pt x="8439" y="883"/>
                    </a:moveTo>
                    <a:cubicBezTo>
                      <a:pt x="8516" y="865"/>
                      <a:pt x="8588" y="823"/>
                      <a:pt x="8648" y="783"/>
                    </a:cubicBezTo>
                    <a:cubicBezTo>
                      <a:pt x="8691" y="754"/>
                      <a:pt x="8727" y="726"/>
                      <a:pt x="8752" y="705"/>
                    </a:cubicBezTo>
                    <a:cubicBezTo>
                      <a:pt x="8818" y="763"/>
                      <a:pt x="8896" y="812"/>
                      <a:pt x="8977" y="848"/>
                    </a:cubicBezTo>
                    <a:cubicBezTo>
                      <a:pt x="9139" y="918"/>
                      <a:pt x="9746" y="1193"/>
                      <a:pt x="10254" y="1360"/>
                    </a:cubicBezTo>
                    <a:cubicBezTo>
                      <a:pt x="10717" y="1512"/>
                      <a:pt x="11127" y="1587"/>
                      <a:pt x="11197" y="1600"/>
                    </a:cubicBezTo>
                    <a:cubicBezTo>
                      <a:pt x="11198" y="1603"/>
                      <a:pt x="11198" y="1608"/>
                      <a:pt x="11198" y="1612"/>
                    </a:cubicBezTo>
                    <a:cubicBezTo>
                      <a:pt x="11198" y="1618"/>
                      <a:pt x="11197" y="1624"/>
                      <a:pt x="11196" y="1632"/>
                    </a:cubicBezTo>
                    <a:cubicBezTo>
                      <a:pt x="11196" y="1632"/>
                      <a:pt x="11196" y="1632"/>
                      <a:pt x="11196" y="1632"/>
                    </a:cubicBezTo>
                    <a:cubicBezTo>
                      <a:pt x="11196" y="1632"/>
                      <a:pt x="11197" y="1632"/>
                      <a:pt x="11196" y="1632"/>
                    </a:cubicBezTo>
                    <a:cubicBezTo>
                      <a:pt x="11189" y="1720"/>
                      <a:pt x="11161" y="1890"/>
                      <a:pt x="11061" y="1994"/>
                    </a:cubicBezTo>
                    <a:cubicBezTo>
                      <a:pt x="10988" y="2071"/>
                      <a:pt x="10883" y="2170"/>
                      <a:pt x="10797" y="2250"/>
                    </a:cubicBezTo>
                    <a:cubicBezTo>
                      <a:pt x="10745" y="2297"/>
                      <a:pt x="10700" y="2338"/>
                      <a:pt x="10672" y="2363"/>
                    </a:cubicBezTo>
                    <a:cubicBezTo>
                      <a:pt x="10671" y="2362"/>
                      <a:pt x="10671" y="2362"/>
                      <a:pt x="10671" y="2362"/>
                    </a:cubicBezTo>
                    <a:cubicBezTo>
                      <a:pt x="10670" y="2362"/>
                      <a:pt x="10670" y="2362"/>
                      <a:pt x="10670" y="2362"/>
                    </a:cubicBezTo>
                    <a:cubicBezTo>
                      <a:pt x="10670" y="2362"/>
                      <a:pt x="10209" y="2146"/>
                      <a:pt x="10045" y="2076"/>
                    </a:cubicBezTo>
                    <a:cubicBezTo>
                      <a:pt x="9884" y="2007"/>
                      <a:pt x="9463" y="1779"/>
                      <a:pt x="9304" y="1693"/>
                    </a:cubicBezTo>
                    <a:cubicBezTo>
                      <a:pt x="9146" y="1608"/>
                      <a:pt x="8803" y="1392"/>
                      <a:pt x="8700" y="1330"/>
                    </a:cubicBezTo>
                    <a:cubicBezTo>
                      <a:pt x="8651" y="1301"/>
                      <a:pt x="8500" y="1191"/>
                      <a:pt x="8362" y="1090"/>
                    </a:cubicBezTo>
                    <a:cubicBezTo>
                      <a:pt x="8287" y="1035"/>
                      <a:pt x="8215" y="982"/>
                      <a:pt x="8166" y="945"/>
                    </a:cubicBezTo>
                    <a:cubicBezTo>
                      <a:pt x="8159" y="927"/>
                      <a:pt x="8159" y="927"/>
                      <a:pt x="8159" y="927"/>
                    </a:cubicBezTo>
                    <a:cubicBezTo>
                      <a:pt x="8237" y="918"/>
                      <a:pt x="8349" y="903"/>
                      <a:pt x="8439" y="883"/>
                    </a:cubicBezTo>
                    <a:close/>
                    <a:moveTo>
                      <a:pt x="12309" y="4066"/>
                    </a:moveTo>
                    <a:cubicBezTo>
                      <a:pt x="12177" y="4194"/>
                      <a:pt x="12049" y="4317"/>
                      <a:pt x="12010" y="4347"/>
                    </a:cubicBezTo>
                    <a:cubicBezTo>
                      <a:pt x="11941" y="4401"/>
                      <a:pt x="11890" y="4426"/>
                      <a:pt x="11870" y="4434"/>
                    </a:cubicBezTo>
                    <a:cubicBezTo>
                      <a:pt x="11863" y="4437"/>
                      <a:pt x="11860" y="4438"/>
                      <a:pt x="11860" y="4438"/>
                    </a:cubicBezTo>
                    <a:cubicBezTo>
                      <a:pt x="11860" y="4438"/>
                      <a:pt x="11762" y="4470"/>
                      <a:pt x="11609" y="4520"/>
                    </a:cubicBezTo>
                    <a:cubicBezTo>
                      <a:pt x="11457" y="4570"/>
                      <a:pt x="11251" y="4638"/>
                      <a:pt x="11036" y="4708"/>
                    </a:cubicBezTo>
                    <a:cubicBezTo>
                      <a:pt x="10607" y="4848"/>
                      <a:pt x="10142" y="4999"/>
                      <a:pt x="10004" y="5042"/>
                    </a:cubicBezTo>
                    <a:cubicBezTo>
                      <a:pt x="9952" y="5058"/>
                      <a:pt x="9901" y="5064"/>
                      <a:pt x="9850" y="5064"/>
                    </a:cubicBezTo>
                    <a:cubicBezTo>
                      <a:pt x="9693" y="5064"/>
                      <a:pt x="9551" y="5000"/>
                      <a:pt x="9491" y="4968"/>
                    </a:cubicBezTo>
                    <a:cubicBezTo>
                      <a:pt x="9481" y="4963"/>
                      <a:pt x="9474" y="4958"/>
                      <a:pt x="9469" y="4955"/>
                    </a:cubicBezTo>
                    <a:cubicBezTo>
                      <a:pt x="10669" y="2414"/>
                      <a:pt x="10669" y="2414"/>
                      <a:pt x="10669" y="2414"/>
                    </a:cubicBezTo>
                    <a:cubicBezTo>
                      <a:pt x="10670" y="2412"/>
                      <a:pt x="10672" y="2410"/>
                      <a:pt x="10675" y="2408"/>
                    </a:cubicBezTo>
                    <a:cubicBezTo>
                      <a:pt x="10734" y="2447"/>
                      <a:pt x="10899" y="2557"/>
                      <a:pt x="11060" y="2663"/>
                    </a:cubicBezTo>
                    <a:cubicBezTo>
                      <a:pt x="11160" y="2728"/>
                      <a:pt x="11240" y="2786"/>
                      <a:pt x="11295" y="2829"/>
                    </a:cubicBezTo>
                    <a:cubicBezTo>
                      <a:pt x="11344" y="2867"/>
                      <a:pt x="11373" y="2891"/>
                      <a:pt x="11379" y="2897"/>
                    </a:cubicBezTo>
                    <a:lnTo>
                      <a:pt x="12309" y="4066"/>
                    </a:lnTo>
                    <a:close/>
                    <a:moveTo>
                      <a:pt x="11711" y="3255"/>
                    </a:moveTo>
                    <a:cubicBezTo>
                      <a:pt x="11713" y="3254"/>
                      <a:pt x="11714" y="3253"/>
                      <a:pt x="11717" y="3252"/>
                    </a:cubicBezTo>
                    <a:cubicBezTo>
                      <a:pt x="11734" y="3240"/>
                      <a:pt x="11763" y="3218"/>
                      <a:pt x="11812" y="3175"/>
                    </a:cubicBezTo>
                    <a:cubicBezTo>
                      <a:pt x="11850" y="3143"/>
                      <a:pt x="11885" y="3134"/>
                      <a:pt x="11915" y="3134"/>
                    </a:cubicBezTo>
                    <a:cubicBezTo>
                      <a:pt x="11947" y="3134"/>
                      <a:pt x="11972" y="3145"/>
                      <a:pt x="11982" y="3150"/>
                    </a:cubicBezTo>
                    <a:cubicBezTo>
                      <a:pt x="11984" y="3151"/>
                      <a:pt x="11985" y="3151"/>
                      <a:pt x="11986" y="3152"/>
                    </a:cubicBezTo>
                    <a:cubicBezTo>
                      <a:pt x="12660" y="3721"/>
                      <a:pt x="12660" y="3721"/>
                      <a:pt x="12660" y="3721"/>
                    </a:cubicBezTo>
                    <a:cubicBezTo>
                      <a:pt x="12636" y="3745"/>
                      <a:pt x="12509" y="3871"/>
                      <a:pt x="12372" y="4005"/>
                    </a:cubicBezTo>
                    <a:cubicBezTo>
                      <a:pt x="12360" y="4017"/>
                      <a:pt x="12347" y="4029"/>
                      <a:pt x="12335" y="4041"/>
                    </a:cubicBezTo>
                    <a:lnTo>
                      <a:pt x="11711" y="3255"/>
                    </a:lnTo>
                    <a:close/>
                    <a:moveTo>
                      <a:pt x="8380" y="7672"/>
                    </a:moveTo>
                    <a:cubicBezTo>
                      <a:pt x="8161" y="7520"/>
                      <a:pt x="7915" y="7348"/>
                      <a:pt x="7809" y="7272"/>
                    </a:cubicBezTo>
                    <a:cubicBezTo>
                      <a:pt x="7790" y="7258"/>
                      <a:pt x="7775" y="7247"/>
                      <a:pt x="7766" y="7241"/>
                    </a:cubicBezTo>
                    <a:cubicBezTo>
                      <a:pt x="7767" y="7237"/>
                      <a:pt x="7767" y="7232"/>
                      <a:pt x="7768" y="7227"/>
                    </a:cubicBezTo>
                    <a:cubicBezTo>
                      <a:pt x="7770" y="7212"/>
                      <a:pt x="7772" y="7192"/>
                      <a:pt x="7773" y="7168"/>
                    </a:cubicBezTo>
                    <a:cubicBezTo>
                      <a:pt x="7776" y="7119"/>
                      <a:pt x="7780" y="7052"/>
                      <a:pt x="7783" y="6980"/>
                    </a:cubicBezTo>
                    <a:cubicBezTo>
                      <a:pt x="7791" y="6836"/>
                      <a:pt x="7802" y="6671"/>
                      <a:pt x="7819" y="6593"/>
                    </a:cubicBezTo>
                    <a:cubicBezTo>
                      <a:pt x="7816" y="6593"/>
                      <a:pt x="7816" y="6593"/>
                      <a:pt x="7816" y="6593"/>
                    </a:cubicBezTo>
                    <a:cubicBezTo>
                      <a:pt x="8672" y="6558"/>
                      <a:pt x="8672" y="6558"/>
                      <a:pt x="8672" y="6558"/>
                    </a:cubicBezTo>
                    <a:cubicBezTo>
                      <a:pt x="8762" y="6546"/>
                      <a:pt x="8762" y="6546"/>
                      <a:pt x="8762" y="6546"/>
                    </a:cubicBezTo>
                    <a:cubicBezTo>
                      <a:pt x="8793" y="6547"/>
                      <a:pt x="9258" y="6564"/>
                      <a:pt x="9596" y="6564"/>
                    </a:cubicBezTo>
                    <a:cubicBezTo>
                      <a:pt x="9654" y="6564"/>
                      <a:pt x="9709" y="6564"/>
                      <a:pt x="9757" y="6562"/>
                    </a:cubicBezTo>
                    <a:cubicBezTo>
                      <a:pt x="9762" y="6562"/>
                      <a:pt x="9766" y="6562"/>
                      <a:pt x="9771" y="6562"/>
                    </a:cubicBezTo>
                    <a:cubicBezTo>
                      <a:pt x="9907" y="6562"/>
                      <a:pt x="9984" y="6609"/>
                      <a:pt x="10029" y="6659"/>
                    </a:cubicBezTo>
                    <a:cubicBezTo>
                      <a:pt x="10074" y="6710"/>
                      <a:pt x="10088" y="6767"/>
                      <a:pt x="10092" y="6790"/>
                    </a:cubicBezTo>
                    <a:cubicBezTo>
                      <a:pt x="10093" y="6794"/>
                      <a:pt x="10093" y="6797"/>
                      <a:pt x="10093" y="6798"/>
                    </a:cubicBezTo>
                    <a:cubicBezTo>
                      <a:pt x="10093" y="6810"/>
                      <a:pt x="10095" y="6980"/>
                      <a:pt x="10097" y="7191"/>
                    </a:cubicBezTo>
                    <a:cubicBezTo>
                      <a:pt x="10098" y="7410"/>
                      <a:pt x="10100" y="7672"/>
                      <a:pt x="10100" y="7846"/>
                    </a:cubicBezTo>
                    <a:cubicBezTo>
                      <a:pt x="10100" y="7945"/>
                      <a:pt x="10099" y="8019"/>
                      <a:pt x="10098" y="8032"/>
                    </a:cubicBezTo>
                    <a:cubicBezTo>
                      <a:pt x="8892" y="7951"/>
                      <a:pt x="8892" y="7951"/>
                      <a:pt x="8892" y="7951"/>
                    </a:cubicBezTo>
                    <a:cubicBezTo>
                      <a:pt x="8892" y="7951"/>
                      <a:pt x="8891" y="7951"/>
                      <a:pt x="8890" y="7951"/>
                    </a:cubicBezTo>
                    <a:cubicBezTo>
                      <a:pt x="8883" y="7951"/>
                      <a:pt x="8838" y="7951"/>
                      <a:pt x="8784" y="7969"/>
                    </a:cubicBezTo>
                    <a:cubicBezTo>
                      <a:pt x="8791" y="7958"/>
                      <a:pt x="8791" y="7958"/>
                      <a:pt x="8791" y="7958"/>
                    </a:cubicBezTo>
                    <a:cubicBezTo>
                      <a:pt x="8791" y="7958"/>
                      <a:pt x="8599" y="7824"/>
                      <a:pt x="8380" y="7672"/>
                    </a:cubicBezTo>
                    <a:close/>
                    <a:moveTo>
                      <a:pt x="6194" y="8739"/>
                    </a:moveTo>
                    <a:cubicBezTo>
                      <a:pt x="6093" y="7454"/>
                      <a:pt x="6093" y="7454"/>
                      <a:pt x="6093" y="7454"/>
                    </a:cubicBezTo>
                    <a:cubicBezTo>
                      <a:pt x="5591" y="7013"/>
                      <a:pt x="5591" y="7013"/>
                      <a:pt x="5591" y="7013"/>
                    </a:cubicBezTo>
                    <a:cubicBezTo>
                      <a:pt x="5656" y="6844"/>
                      <a:pt x="5656" y="6844"/>
                      <a:pt x="5656" y="6844"/>
                    </a:cubicBezTo>
                    <a:cubicBezTo>
                      <a:pt x="5658" y="6835"/>
                      <a:pt x="5658" y="6835"/>
                      <a:pt x="5658" y="6835"/>
                    </a:cubicBezTo>
                    <a:cubicBezTo>
                      <a:pt x="5788" y="6742"/>
                      <a:pt x="5788" y="6742"/>
                      <a:pt x="5788" y="6742"/>
                    </a:cubicBezTo>
                    <a:cubicBezTo>
                      <a:pt x="5839" y="6742"/>
                      <a:pt x="6213" y="6741"/>
                      <a:pt x="6367" y="6726"/>
                    </a:cubicBezTo>
                    <a:cubicBezTo>
                      <a:pt x="6531" y="6709"/>
                      <a:pt x="6694" y="6689"/>
                      <a:pt x="6854" y="6656"/>
                    </a:cubicBezTo>
                    <a:cubicBezTo>
                      <a:pt x="6932" y="6640"/>
                      <a:pt x="7055" y="6629"/>
                      <a:pt x="7159" y="6622"/>
                    </a:cubicBezTo>
                    <a:cubicBezTo>
                      <a:pt x="7262" y="6614"/>
                      <a:pt x="7345" y="6611"/>
                      <a:pt x="7345" y="6611"/>
                    </a:cubicBezTo>
                    <a:cubicBezTo>
                      <a:pt x="7782" y="6594"/>
                      <a:pt x="7782" y="6594"/>
                      <a:pt x="7782" y="6594"/>
                    </a:cubicBezTo>
                    <a:cubicBezTo>
                      <a:pt x="7757" y="6716"/>
                      <a:pt x="7748" y="6985"/>
                      <a:pt x="7739" y="7137"/>
                    </a:cubicBezTo>
                    <a:cubicBezTo>
                      <a:pt x="7736" y="7185"/>
                      <a:pt x="7733" y="7223"/>
                      <a:pt x="7730" y="7235"/>
                    </a:cubicBezTo>
                    <a:cubicBezTo>
                      <a:pt x="7730" y="7235"/>
                      <a:pt x="7730" y="7235"/>
                      <a:pt x="7730" y="7235"/>
                    </a:cubicBezTo>
                    <a:cubicBezTo>
                      <a:pt x="7729" y="7236"/>
                      <a:pt x="7720" y="7248"/>
                      <a:pt x="7702" y="7266"/>
                    </a:cubicBezTo>
                    <a:cubicBezTo>
                      <a:pt x="7682" y="7285"/>
                      <a:pt x="7654" y="7311"/>
                      <a:pt x="7618" y="7336"/>
                    </a:cubicBezTo>
                    <a:cubicBezTo>
                      <a:pt x="7545" y="7387"/>
                      <a:pt x="7441" y="7438"/>
                      <a:pt x="7316" y="7440"/>
                    </a:cubicBezTo>
                    <a:cubicBezTo>
                      <a:pt x="7185" y="7442"/>
                      <a:pt x="6880" y="7443"/>
                      <a:pt x="6608" y="7444"/>
                    </a:cubicBezTo>
                    <a:cubicBezTo>
                      <a:pt x="6336" y="7444"/>
                      <a:pt x="6096" y="7444"/>
                      <a:pt x="6096" y="7445"/>
                    </a:cubicBezTo>
                    <a:cubicBezTo>
                      <a:pt x="6096" y="7481"/>
                      <a:pt x="6096" y="7481"/>
                      <a:pt x="6096" y="7481"/>
                    </a:cubicBezTo>
                    <a:cubicBezTo>
                      <a:pt x="6096" y="7481"/>
                      <a:pt x="7055" y="7481"/>
                      <a:pt x="7316" y="7477"/>
                    </a:cubicBezTo>
                    <a:cubicBezTo>
                      <a:pt x="7547" y="7472"/>
                      <a:pt x="7704" y="7318"/>
                      <a:pt x="7747" y="7271"/>
                    </a:cubicBezTo>
                    <a:cubicBezTo>
                      <a:pt x="7754" y="7277"/>
                      <a:pt x="7765" y="7284"/>
                      <a:pt x="7778" y="7294"/>
                    </a:cubicBezTo>
                    <a:cubicBezTo>
                      <a:pt x="7791" y="7303"/>
                      <a:pt x="7807" y="7315"/>
                      <a:pt x="7824" y="7327"/>
                    </a:cubicBezTo>
                    <a:cubicBezTo>
                      <a:pt x="7812" y="7325"/>
                      <a:pt x="7812" y="7325"/>
                      <a:pt x="7812" y="7325"/>
                    </a:cubicBezTo>
                    <a:cubicBezTo>
                      <a:pt x="7584" y="8718"/>
                      <a:pt x="7584" y="8718"/>
                      <a:pt x="7584" y="8718"/>
                    </a:cubicBezTo>
                    <a:cubicBezTo>
                      <a:pt x="7581" y="8727"/>
                      <a:pt x="7566" y="8759"/>
                      <a:pt x="7544" y="8810"/>
                    </a:cubicBezTo>
                    <a:cubicBezTo>
                      <a:pt x="7545" y="8779"/>
                      <a:pt x="7545" y="8779"/>
                      <a:pt x="7545" y="8779"/>
                    </a:cubicBezTo>
                    <a:lnTo>
                      <a:pt x="6194" y="8739"/>
                    </a:lnTo>
                    <a:close/>
                    <a:moveTo>
                      <a:pt x="3617" y="5610"/>
                    </a:moveTo>
                    <a:cubicBezTo>
                      <a:pt x="3651" y="5601"/>
                      <a:pt x="3823" y="5558"/>
                      <a:pt x="3892" y="5500"/>
                    </a:cubicBezTo>
                    <a:cubicBezTo>
                      <a:pt x="3930" y="5467"/>
                      <a:pt x="3951" y="5437"/>
                      <a:pt x="3965" y="5411"/>
                    </a:cubicBezTo>
                    <a:cubicBezTo>
                      <a:pt x="3988" y="5433"/>
                      <a:pt x="4083" y="5520"/>
                      <a:pt x="4153" y="5582"/>
                    </a:cubicBezTo>
                    <a:cubicBezTo>
                      <a:pt x="4191" y="5616"/>
                      <a:pt x="4222" y="5641"/>
                      <a:pt x="4230" y="5648"/>
                    </a:cubicBezTo>
                    <a:cubicBezTo>
                      <a:pt x="4230" y="5648"/>
                      <a:pt x="4230" y="5648"/>
                      <a:pt x="4230" y="5648"/>
                    </a:cubicBezTo>
                    <a:cubicBezTo>
                      <a:pt x="4230" y="5648"/>
                      <a:pt x="4230" y="5648"/>
                      <a:pt x="4230" y="5648"/>
                    </a:cubicBezTo>
                    <a:cubicBezTo>
                      <a:pt x="4231" y="5649"/>
                      <a:pt x="4232" y="5650"/>
                      <a:pt x="4232" y="5651"/>
                    </a:cubicBezTo>
                    <a:cubicBezTo>
                      <a:pt x="4234" y="5653"/>
                      <a:pt x="4236" y="5655"/>
                      <a:pt x="4239" y="5659"/>
                    </a:cubicBezTo>
                    <a:cubicBezTo>
                      <a:pt x="4244" y="5665"/>
                      <a:pt x="4251" y="5674"/>
                      <a:pt x="4258" y="5684"/>
                    </a:cubicBezTo>
                    <a:cubicBezTo>
                      <a:pt x="4271" y="5704"/>
                      <a:pt x="4284" y="5729"/>
                      <a:pt x="4284" y="5748"/>
                    </a:cubicBezTo>
                    <a:cubicBezTo>
                      <a:pt x="4284" y="5753"/>
                      <a:pt x="4283" y="5758"/>
                      <a:pt x="4281" y="5762"/>
                    </a:cubicBezTo>
                    <a:cubicBezTo>
                      <a:pt x="4282" y="5762"/>
                      <a:pt x="4282" y="5762"/>
                      <a:pt x="4282" y="5762"/>
                    </a:cubicBezTo>
                    <a:cubicBezTo>
                      <a:pt x="4282" y="5763"/>
                      <a:pt x="4281" y="5764"/>
                      <a:pt x="4281" y="5765"/>
                    </a:cubicBezTo>
                    <a:cubicBezTo>
                      <a:pt x="4281" y="5773"/>
                      <a:pt x="4286" y="5773"/>
                      <a:pt x="4286" y="5773"/>
                    </a:cubicBezTo>
                    <a:cubicBezTo>
                      <a:pt x="4291" y="5774"/>
                      <a:pt x="4291" y="5774"/>
                      <a:pt x="4291" y="5774"/>
                    </a:cubicBezTo>
                    <a:cubicBezTo>
                      <a:pt x="4637" y="5873"/>
                      <a:pt x="4637" y="5873"/>
                      <a:pt x="4637" y="5873"/>
                    </a:cubicBezTo>
                    <a:cubicBezTo>
                      <a:pt x="4637" y="5873"/>
                      <a:pt x="4637" y="5873"/>
                      <a:pt x="4637" y="5873"/>
                    </a:cubicBezTo>
                    <a:cubicBezTo>
                      <a:pt x="4637" y="5873"/>
                      <a:pt x="4646" y="5877"/>
                      <a:pt x="4650" y="5879"/>
                    </a:cubicBezTo>
                    <a:cubicBezTo>
                      <a:pt x="4654" y="5881"/>
                      <a:pt x="4653" y="5882"/>
                      <a:pt x="4653" y="5882"/>
                    </a:cubicBezTo>
                    <a:cubicBezTo>
                      <a:pt x="4653" y="5882"/>
                      <a:pt x="4653" y="5882"/>
                      <a:pt x="4653" y="5882"/>
                    </a:cubicBezTo>
                    <a:cubicBezTo>
                      <a:pt x="4653" y="5882"/>
                      <a:pt x="4623" y="5957"/>
                      <a:pt x="4608" y="5996"/>
                    </a:cubicBezTo>
                    <a:cubicBezTo>
                      <a:pt x="4578" y="6075"/>
                      <a:pt x="4546" y="6157"/>
                      <a:pt x="4541" y="6186"/>
                    </a:cubicBezTo>
                    <a:cubicBezTo>
                      <a:pt x="4531" y="6235"/>
                      <a:pt x="4512" y="6347"/>
                      <a:pt x="4506" y="6397"/>
                    </a:cubicBezTo>
                    <a:cubicBezTo>
                      <a:pt x="4501" y="6445"/>
                      <a:pt x="4446" y="6822"/>
                      <a:pt x="4434" y="6869"/>
                    </a:cubicBezTo>
                    <a:cubicBezTo>
                      <a:pt x="4422" y="6919"/>
                      <a:pt x="4409" y="6954"/>
                      <a:pt x="4384" y="6993"/>
                    </a:cubicBezTo>
                    <a:cubicBezTo>
                      <a:pt x="4359" y="7030"/>
                      <a:pt x="4312" y="7092"/>
                      <a:pt x="4305" y="7101"/>
                    </a:cubicBezTo>
                    <a:cubicBezTo>
                      <a:pt x="2739" y="6533"/>
                      <a:pt x="2739" y="6533"/>
                      <a:pt x="2739" y="6533"/>
                    </a:cubicBezTo>
                    <a:cubicBezTo>
                      <a:pt x="2738" y="6527"/>
                      <a:pt x="2737" y="6522"/>
                      <a:pt x="2737" y="6517"/>
                    </a:cubicBezTo>
                    <a:cubicBezTo>
                      <a:pt x="2741" y="6497"/>
                      <a:pt x="2747" y="6469"/>
                      <a:pt x="2755" y="6437"/>
                    </a:cubicBezTo>
                    <a:cubicBezTo>
                      <a:pt x="2772" y="6373"/>
                      <a:pt x="2798" y="6295"/>
                      <a:pt x="2834" y="6239"/>
                    </a:cubicBezTo>
                    <a:cubicBezTo>
                      <a:pt x="2857" y="6201"/>
                      <a:pt x="2902" y="6183"/>
                      <a:pt x="2965" y="6162"/>
                    </a:cubicBezTo>
                    <a:cubicBezTo>
                      <a:pt x="3069" y="6125"/>
                      <a:pt x="3271" y="6109"/>
                      <a:pt x="3367" y="6074"/>
                    </a:cubicBezTo>
                    <a:cubicBezTo>
                      <a:pt x="3367" y="6074"/>
                      <a:pt x="3367" y="6074"/>
                      <a:pt x="3367" y="6074"/>
                    </a:cubicBezTo>
                    <a:cubicBezTo>
                      <a:pt x="3368" y="6074"/>
                      <a:pt x="3368" y="6074"/>
                      <a:pt x="3368" y="6074"/>
                    </a:cubicBezTo>
                    <a:cubicBezTo>
                      <a:pt x="3369" y="6073"/>
                      <a:pt x="3580" y="5974"/>
                      <a:pt x="3631" y="5834"/>
                    </a:cubicBezTo>
                    <a:cubicBezTo>
                      <a:pt x="3645" y="5794"/>
                      <a:pt x="3651" y="5759"/>
                      <a:pt x="3651" y="5727"/>
                    </a:cubicBezTo>
                    <a:cubicBezTo>
                      <a:pt x="3651" y="5682"/>
                      <a:pt x="3638" y="5644"/>
                      <a:pt x="3617" y="5610"/>
                    </a:cubicBezTo>
                    <a:close/>
                    <a:moveTo>
                      <a:pt x="2871" y="4226"/>
                    </a:moveTo>
                    <a:cubicBezTo>
                      <a:pt x="2902" y="4083"/>
                      <a:pt x="2902" y="4083"/>
                      <a:pt x="2902" y="4083"/>
                    </a:cubicBezTo>
                    <a:cubicBezTo>
                      <a:pt x="2902" y="4081"/>
                      <a:pt x="2902" y="4081"/>
                      <a:pt x="2902" y="4081"/>
                    </a:cubicBezTo>
                    <a:cubicBezTo>
                      <a:pt x="2902" y="4081"/>
                      <a:pt x="2904" y="4002"/>
                      <a:pt x="2904" y="3966"/>
                    </a:cubicBezTo>
                    <a:cubicBezTo>
                      <a:pt x="2904" y="3958"/>
                      <a:pt x="2904" y="3952"/>
                      <a:pt x="2903" y="3948"/>
                    </a:cubicBezTo>
                    <a:cubicBezTo>
                      <a:pt x="2903" y="3947"/>
                      <a:pt x="2904" y="3947"/>
                      <a:pt x="2902" y="3942"/>
                    </a:cubicBezTo>
                    <a:cubicBezTo>
                      <a:pt x="2901" y="3941"/>
                      <a:pt x="2901" y="3939"/>
                      <a:pt x="2898" y="3938"/>
                    </a:cubicBezTo>
                    <a:cubicBezTo>
                      <a:pt x="2897" y="3936"/>
                      <a:pt x="2895" y="3934"/>
                      <a:pt x="2892" y="3932"/>
                    </a:cubicBezTo>
                    <a:cubicBezTo>
                      <a:pt x="2886" y="3927"/>
                      <a:pt x="2875" y="3922"/>
                      <a:pt x="2854" y="3916"/>
                    </a:cubicBezTo>
                    <a:cubicBezTo>
                      <a:pt x="2826" y="3907"/>
                      <a:pt x="2746" y="3882"/>
                      <a:pt x="2703" y="3869"/>
                    </a:cubicBezTo>
                    <a:cubicBezTo>
                      <a:pt x="2703" y="3869"/>
                      <a:pt x="2704" y="3868"/>
                      <a:pt x="2705" y="3867"/>
                    </a:cubicBezTo>
                    <a:cubicBezTo>
                      <a:pt x="2751" y="3808"/>
                      <a:pt x="2804" y="3755"/>
                      <a:pt x="2844" y="3716"/>
                    </a:cubicBezTo>
                    <a:cubicBezTo>
                      <a:pt x="2868" y="3693"/>
                      <a:pt x="2885" y="3678"/>
                      <a:pt x="2895" y="3668"/>
                    </a:cubicBezTo>
                    <a:cubicBezTo>
                      <a:pt x="2993" y="3578"/>
                      <a:pt x="3122" y="3526"/>
                      <a:pt x="3173" y="3506"/>
                    </a:cubicBezTo>
                    <a:cubicBezTo>
                      <a:pt x="3414" y="3818"/>
                      <a:pt x="3414" y="3818"/>
                      <a:pt x="3414" y="3818"/>
                    </a:cubicBezTo>
                    <a:cubicBezTo>
                      <a:pt x="3414" y="3818"/>
                      <a:pt x="3414" y="3818"/>
                      <a:pt x="3414" y="3818"/>
                    </a:cubicBezTo>
                    <a:cubicBezTo>
                      <a:pt x="4223" y="4876"/>
                      <a:pt x="4223" y="4876"/>
                      <a:pt x="4223" y="4876"/>
                    </a:cubicBezTo>
                    <a:cubicBezTo>
                      <a:pt x="4223" y="4879"/>
                      <a:pt x="4223" y="4879"/>
                      <a:pt x="4223" y="4879"/>
                    </a:cubicBezTo>
                    <a:cubicBezTo>
                      <a:pt x="4223" y="4879"/>
                      <a:pt x="4224" y="4880"/>
                      <a:pt x="4226" y="4883"/>
                    </a:cubicBezTo>
                    <a:cubicBezTo>
                      <a:pt x="4217" y="4896"/>
                      <a:pt x="4217" y="4896"/>
                      <a:pt x="4217" y="4896"/>
                    </a:cubicBezTo>
                    <a:cubicBezTo>
                      <a:pt x="4222" y="4902"/>
                      <a:pt x="4222" y="4902"/>
                      <a:pt x="4222" y="4902"/>
                    </a:cubicBezTo>
                    <a:cubicBezTo>
                      <a:pt x="4217" y="4896"/>
                      <a:pt x="4217" y="4896"/>
                      <a:pt x="4217" y="4896"/>
                    </a:cubicBezTo>
                    <a:cubicBezTo>
                      <a:pt x="4216" y="4897"/>
                      <a:pt x="4184" y="4922"/>
                      <a:pt x="4151" y="4953"/>
                    </a:cubicBezTo>
                    <a:cubicBezTo>
                      <a:pt x="4128" y="4973"/>
                      <a:pt x="4106" y="4997"/>
                      <a:pt x="4089" y="5016"/>
                    </a:cubicBezTo>
                    <a:cubicBezTo>
                      <a:pt x="4076" y="5031"/>
                      <a:pt x="4066" y="5047"/>
                      <a:pt x="4058" y="5063"/>
                    </a:cubicBezTo>
                    <a:cubicBezTo>
                      <a:pt x="4053" y="5059"/>
                      <a:pt x="4047" y="5054"/>
                      <a:pt x="4040" y="5047"/>
                    </a:cubicBezTo>
                    <a:cubicBezTo>
                      <a:pt x="4023" y="5033"/>
                      <a:pt x="4002" y="5014"/>
                      <a:pt x="3980" y="4995"/>
                    </a:cubicBezTo>
                    <a:cubicBezTo>
                      <a:pt x="3942" y="4962"/>
                      <a:pt x="3904" y="4929"/>
                      <a:pt x="3896" y="4922"/>
                    </a:cubicBezTo>
                    <a:cubicBezTo>
                      <a:pt x="3756" y="4628"/>
                      <a:pt x="3756" y="4628"/>
                      <a:pt x="3756" y="4628"/>
                    </a:cubicBezTo>
                    <a:cubicBezTo>
                      <a:pt x="3754" y="4627"/>
                      <a:pt x="3754" y="4627"/>
                      <a:pt x="3754" y="4627"/>
                    </a:cubicBezTo>
                    <a:cubicBezTo>
                      <a:pt x="3754" y="4627"/>
                      <a:pt x="3708" y="4593"/>
                      <a:pt x="3662" y="4559"/>
                    </a:cubicBezTo>
                    <a:cubicBezTo>
                      <a:pt x="3619" y="4528"/>
                      <a:pt x="3578" y="4498"/>
                      <a:pt x="3566" y="4490"/>
                    </a:cubicBezTo>
                    <a:cubicBezTo>
                      <a:pt x="3565" y="4489"/>
                      <a:pt x="3564" y="4487"/>
                      <a:pt x="3563" y="4484"/>
                    </a:cubicBezTo>
                    <a:cubicBezTo>
                      <a:pt x="3560" y="4479"/>
                      <a:pt x="3556" y="4470"/>
                      <a:pt x="3552" y="4460"/>
                    </a:cubicBezTo>
                    <a:cubicBezTo>
                      <a:pt x="3543" y="4440"/>
                      <a:pt x="3530" y="4414"/>
                      <a:pt x="3518" y="4387"/>
                    </a:cubicBezTo>
                    <a:cubicBezTo>
                      <a:pt x="3494" y="4334"/>
                      <a:pt x="3470" y="4281"/>
                      <a:pt x="3470" y="4281"/>
                    </a:cubicBezTo>
                    <a:cubicBezTo>
                      <a:pt x="3469" y="4277"/>
                      <a:pt x="3469" y="4277"/>
                      <a:pt x="3469" y="4277"/>
                    </a:cubicBezTo>
                    <a:cubicBezTo>
                      <a:pt x="3164" y="4114"/>
                      <a:pt x="3164" y="4114"/>
                      <a:pt x="3164" y="4114"/>
                    </a:cubicBezTo>
                    <a:cubicBezTo>
                      <a:pt x="3152" y="4135"/>
                      <a:pt x="3152" y="4135"/>
                      <a:pt x="3152" y="4135"/>
                    </a:cubicBezTo>
                    <a:cubicBezTo>
                      <a:pt x="3450" y="4295"/>
                      <a:pt x="3450" y="4295"/>
                      <a:pt x="3450" y="4295"/>
                    </a:cubicBezTo>
                    <a:cubicBezTo>
                      <a:pt x="3462" y="4322"/>
                      <a:pt x="3536" y="4488"/>
                      <a:pt x="3545" y="4504"/>
                    </a:cubicBezTo>
                    <a:cubicBezTo>
                      <a:pt x="3546" y="4505"/>
                      <a:pt x="3546" y="4505"/>
                      <a:pt x="3548" y="4508"/>
                    </a:cubicBezTo>
                    <a:cubicBezTo>
                      <a:pt x="3549" y="4508"/>
                      <a:pt x="3549" y="4509"/>
                      <a:pt x="3551" y="4510"/>
                    </a:cubicBezTo>
                    <a:cubicBezTo>
                      <a:pt x="3552" y="4510"/>
                      <a:pt x="3552" y="4510"/>
                      <a:pt x="3552" y="4511"/>
                    </a:cubicBezTo>
                    <a:cubicBezTo>
                      <a:pt x="3554" y="4511"/>
                      <a:pt x="3556" y="4513"/>
                      <a:pt x="3558" y="4515"/>
                    </a:cubicBezTo>
                    <a:cubicBezTo>
                      <a:pt x="3564" y="4518"/>
                      <a:pt x="3571" y="4524"/>
                      <a:pt x="3580" y="4530"/>
                    </a:cubicBezTo>
                    <a:cubicBezTo>
                      <a:pt x="3598" y="4543"/>
                      <a:pt x="3622" y="4560"/>
                      <a:pt x="3645" y="4578"/>
                    </a:cubicBezTo>
                    <a:cubicBezTo>
                      <a:pt x="3686" y="4607"/>
                      <a:pt x="3726" y="4637"/>
                      <a:pt x="3737" y="4644"/>
                    </a:cubicBezTo>
                    <a:cubicBezTo>
                      <a:pt x="3876" y="4937"/>
                      <a:pt x="3876" y="4937"/>
                      <a:pt x="3876" y="4937"/>
                    </a:cubicBezTo>
                    <a:cubicBezTo>
                      <a:pt x="3877" y="4939"/>
                      <a:pt x="3877" y="4939"/>
                      <a:pt x="3877" y="4939"/>
                    </a:cubicBezTo>
                    <a:cubicBezTo>
                      <a:pt x="3877" y="4939"/>
                      <a:pt x="3971" y="5021"/>
                      <a:pt x="4021" y="5064"/>
                    </a:cubicBezTo>
                    <a:cubicBezTo>
                      <a:pt x="4033" y="5074"/>
                      <a:pt x="4042" y="5081"/>
                      <a:pt x="4047" y="5086"/>
                    </a:cubicBezTo>
                    <a:cubicBezTo>
                      <a:pt x="4035" y="5114"/>
                      <a:pt x="4028" y="5140"/>
                      <a:pt x="4022" y="5157"/>
                    </a:cubicBezTo>
                    <a:cubicBezTo>
                      <a:pt x="4011" y="5190"/>
                      <a:pt x="3980" y="5305"/>
                      <a:pt x="3966" y="5342"/>
                    </a:cubicBezTo>
                    <a:cubicBezTo>
                      <a:pt x="3953" y="5378"/>
                      <a:pt x="3945" y="5415"/>
                      <a:pt x="3892" y="5466"/>
                    </a:cubicBezTo>
                    <a:cubicBezTo>
                      <a:pt x="3811" y="5198"/>
                      <a:pt x="3811" y="5198"/>
                      <a:pt x="3811" y="5198"/>
                    </a:cubicBezTo>
                    <a:cubicBezTo>
                      <a:pt x="3611" y="4996"/>
                      <a:pt x="3611" y="4996"/>
                      <a:pt x="3611" y="4996"/>
                    </a:cubicBezTo>
                    <a:cubicBezTo>
                      <a:pt x="3391" y="4716"/>
                      <a:pt x="3391" y="4716"/>
                      <a:pt x="3391" y="4716"/>
                    </a:cubicBezTo>
                    <a:cubicBezTo>
                      <a:pt x="3242" y="4640"/>
                      <a:pt x="3242" y="4640"/>
                      <a:pt x="3242" y="4640"/>
                    </a:cubicBezTo>
                    <a:cubicBezTo>
                      <a:pt x="2899" y="4521"/>
                      <a:pt x="2899" y="4521"/>
                      <a:pt x="2899" y="4521"/>
                    </a:cubicBezTo>
                    <a:cubicBezTo>
                      <a:pt x="2801" y="4410"/>
                      <a:pt x="2801" y="4410"/>
                      <a:pt x="2801" y="4410"/>
                    </a:cubicBezTo>
                    <a:lnTo>
                      <a:pt x="2871" y="4226"/>
                    </a:lnTo>
                    <a:close/>
                    <a:moveTo>
                      <a:pt x="2777" y="4404"/>
                    </a:moveTo>
                    <a:cubicBezTo>
                      <a:pt x="2681" y="4497"/>
                      <a:pt x="2681" y="4497"/>
                      <a:pt x="2681" y="4497"/>
                    </a:cubicBezTo>
                    <a:cubicBezTo>
                      <a:pt x="2509" y="4547"/>
                      <a:pt x="2509" y="4547"/>
                      <a:pt x="2509" y="4547"/>
                    </a:cubicBezTo>
                    <a:cubicBezTo>
                      <a:pt x="2335" y="4561"/>
                      <a:pt x="2335" y="4561"/>
                      <a:pt x="2335" y="4561"/>
                    </a:cubicBezTo>
                    <a:cubicBezTo>
                      <a:pt x="2330" y="4560"/>
                      <a:pt x="2322" y="4560"/>
                      <a:pt x="2322" y="4560"/>
                    </a:cubicBezTo>
                    <a:cubicBezTo>
                      <a:pt x="2360" y="4462"/>
                      <a:pt x="2418" y="4332"/>
                      <a:pt x="2482" y="4209"/>
                    </a:cubicBezTo>
                    <a:cubicBezTo>
                      <a:pt x="2517" y="4143"/>
                      <a:pt x="2546" y="4095"/>
                      <a:pt x="2577" y="4047"/>
                    </a:cubicBezTo>
                    <a:cubicBezTo>
                      <a:pt x="2609" y="3995"/>
                      <a:pt x="2644" y="3946"/>
                      <a:pt x="2686" y="3890"/>
                    </a:cubicBezTo>
                    <a:cubicBezTo>
                      <a:pt x="2688" y="3891"/>
                      <a:pt x="2690" y="3891"/>
                      <a:pt x="2693" y="3892"/>
                    </a:cubicBezTo>
                    <a:cubicBezTo>
                      <a:pt x="2707" y="3896"/>
                      <a:pt x="2725" y="3902"/>
                      <a:pt x="2745" y="3908"/>
                    </a:cubicBezTo>
                    <a:cubicBezTo>
                      <a:pt x="2784" y="3920"/>
                      <a:pt x="2828" y="3933"/>
                      <a:pt x="2847" y="3939"/>
                    </a:cubicBezTo>
                    <a:cubicBezTo>
                      <a:pt x="2864" y="3944"/>
                      <a:pt x="2872" y="3948"/>
                      <a:pt x="2876" y="3951"/>
                    </a:cubicBezTo>
                    <a:cubicBezTo>
                      <a:pt x="2878" y="3952"/>
                      <a:pt x="2879" y="3953"/>
                      <a:pt x="2879" y="3953"/>
                    </a:cubicBezTo>
                    <a:cubicBezTo>
                      <a:pt x="2879" y="3956"/>
                      <a:pt x="2879" y="3960"/>
                      <a:pt x="2879" y="3966"/>
                    </a:cubicBezTo>
                    <a:cubicBezTo>
                      <a:pt x="2879" y="3999"/>
                      <a:pt x="2877" y="4070"/>
                      <a:pt x="2877" y="4080"/>
                    </a:cubicBezTo>
                    <a:cubicBezTo>
                      <a:pt x="2847" y="4219"/>
                      <a:pt x="2847" y="4219"/>
                      <a:pt x="2847" y="4219"/>
                    </a:cubicBezTo>
                    <a:lnTo>
                      <a:pt x="2777" y="4404"/>
                    </a:lnTo>
                    <a:close/>
                    <a:moveTo>
                      <a:pt x="8468" y="3093"/>
                    </a:moveTo>
                    <a:cubicBezTo>
                      <a:pt x="8499" y="3113"/>
                      <a:pt x="8525" y="3130"/>
                      <a:pt x="8546" y="3144"/>
                    </a:cubicBezTo>
                    <a:cubicBezTo>
                      <a:pt x="8568" y="3161"/>
                      <a:pt x="8568" y="3161"/>
                      <a:pt x="8568" y="3161"/>
                    </a:cubicBezTo>
                    <a:cubicBezTo>
                      <a:pt x="8047" y="4229"/>
                      <a:pt x="8047" y="4229"/>
                      <a:pt x="8047" y="4229"/>
                    </a:cubicBezTo>
                    <a:cubicBezTo>
                      <a:pt x="8004" y="4206"/>
                      <a:pt x="7837" y="4120"/>
                      <a:pt x="7514" y="3964"/>
                    </a:cubicBezTo>
                    <a:cubicBezTo>
                      <a:pt x="7515" y="3958"/>
                      <a:pt x="7515" y="3958"/>
                      <a:pt x="7515" y="3958"/>
                    </a:cubicBezTo>
                    <a:cubicBezTo>
                      <a:pt x="7526" y="3916"/>
                      <a:pt x="7587" y="3701"/>
                      <a:pt x="7656" y="3457"/>
                    </a:cubicBezTo>
                    <a:cubicBezTo>
                      <a:pt x="7732" y="3187"/>
                      <a:pt x="7820" y="2883"/>
                      <a:pt x="7861" y="2751"/>
                    </a:cubicBezTo>
                    <a:cubicBezTo>
                      <a:pt x="7868" y="2729"/>
                      <a:pt x="7874" y="2711"/>
                      <a:pt x="7878" y="2700"/>
                    </a:cubicBezTo>
                    <a:cubicBezTo>
                      <a:pt x="7947" y="2746"/>
                      <a:pt x="8280" y="2970"/>
                      <a:pt x="8468" y="3093"/>
                    </a:cubicBezTo>
                    <a:close/>
                    <a:moveTo>
                      <a:pt x="7892" y="2677"/>
                    </a:moveTo>
                    <a:cubicBezTo>
                      <a:pt x="7893" y="2676"/>
                      <a:pt x="7894" y="2675"/>
                      <a:pt x="7895" y="2673"/>
                    </a:cubicBezTo>
                    <a:cubicBezTo>
                      <a:pt x="7902" y="2663"/>
                      <a:pt x="7912" y="2649"/>
                      <a:pt x="7924" y="2631"/>
                    </a:cubicBezTo>
                    <a:cubicBezTo>
                      <a:pt x="7948" y="2596"/>
                      <a:pt x="7982" y="2545"/>
                      <a:pt x="8023" y="2483"/>
                    </a:cubicBezTo>
                    <a:cubicBezTo>
                      <a:pt x="8103" y="2361"/>
                      <a:pt x="8209" y="2197"/>
                      <a:pt x="8315" y="2034"/>
                    </a:cubicBezTo>
                    <a:cubicBezTo>
                      <a:pt x="8497" y="1753"/>
                      <a:pt x="8677" y="1472"/>
                      <a:pt x="8723" y="1399"/>
                    </a:cubicBezTo>
                    <a:cubicBezTo>
                      <a:pt x="8734" y="1393"/>
                      <a:pt x="8734" y="1393"/>
                      <a:pt x="8734" y="1393"/>
                    </a:cubicBezTo>
                    <a:cubicBezTo>
                      <a:pt x="8866" y="1474"/>
                      <a:pt x="9128" y="1638"/>
                      <a:pt x="9271" y="1716"/>
                    </a:cubicBezTo>
                    <a:cubicBezTo>
                      <a:pt x="8585" y="3125"/>
                      <a:pt x="8585" y="3125"/>
                      <a:pt x="8585" y="3125"/>
                    </a:cubicBezTo>
                    <a:cubicBezTo>
                      <a:pt x="8578" y="3125"/>
                      <a:pt x="8570" y="3124"/>
                      <a:pt x="8562" y="3123"/>
                    </a:cubicBezTo>
                    <a:cubicBezTo>
                      <a:pt x="8543" y="3111"/>
                      <a:pt x="8520" y="3096"/>
                      <a:pt x="8492" y="3077"/>
                    </a:cubicBezTo>
                    <a:cubicBezTo>
                      <a:pt x="8423" y="3032"/>
                      <a:pt x="8332" y="2972"/>
                      <a:pt x="8241" y="2911"/>
                    </a:cubicBezTo>
                    <a:cubicBezTo>
                      <a:pt x="8087" y="2808"/>
                      <a:pt x="7935" y="2706"/>
                      <a:pt x="7892" y="2677"/>
                    </a:cubicBezTo>
                    <a:close/>
                    <a:moveTo>
                      <a:pt x="7904" y="4196"/>
                    </a:moveTo>
                    <a:cubicBezTo>
                      <a:pt x="7972" y="4230"/>
                      <a:pt x="8013" y="4252"/>
                      <a:pt x="8031" y="4261"/>
                    </a:cubicBezTo>
                    <a:cubicBezTo>
                      <a:pt x="7339" y="5683"/>
                      <a:pt x="7339" y="5683"/>
                      <a:pt x="7339" y="5683"/>
                    </a:cubicBezTo>
                    <a:cubicBezTo>
                      <a:pt x="7294" y="6250"/>
                      <a:pt x="7294" y="6250"/>
                      <a:pt x="7294" y="6250"/>
                    </a:cubicBezTo>
                    <a:cubicBezTo>
                      <a:pt x="7294" y="6251"/>
                      <a:pt x="7294" y="6251"/>
                      <a:pt x="7294" y="6251"/>
                    </a:cubicBezTo>
                    <a:cubicBezTo>
                      <a:pt x="7294" y="6251"/>
                      <a:pt x="7294" y="6395"/>
                      <a:pt x="7329" y="6576"/>
                    </a:cubicBezTo>
                    <a:cubicBezTo>
                      <a:pt x="7261" y="6579"/>
                      <a:pt x="6989" y="6592"/>
                      <a:pt x="6847" y="6621"/>
                    </a:cubicBezTo>
                    <a:cubicBezTo>
                      <a:pt x="6711" y="6648"/>
                      <a:pt x="6572" y="6667"/>
                      <a:pt x="6433" y="6682"/>
                    </a:cubicBezTo>
                    <a:cubicBezTo>
                      <a:pt x="6746" y="3741"/>
                      <a:pt x="6746" y="3741"/>
                      <a:pt x="6746" y="3741"/>
                    </a:cubicBezTo>
                    <a:cubicBezTo>
                      <a:pt x="6755" y="3743"/>
                      <a:pt x="6769" y="3745"/>
                      <a:pt x="6786" y="3748"/>
                    </a:cubicBezTo>
                    <a:cubicBezTo>
                      <a:pt x="6823" y="3756"/>
                      <a:pt x="6876" y="3767"/>
                      <a:pt x="6942" y="3785"/>
                    </a:cubicBezTo>
                    <a:cubicBezTo>
                      <a:pt x="7074" y="3820"/>
                      <a:pt x="7256" y="3880"/>
                      <a:pt x="7459" y="3978"/>
                    </a:cubicBezTo>
                    <a:cubicBezTo>
                      <a:pt x="7663" y="4076"/>
                      <a:pt x="7809" y="4148"/>
                      <a:pt x="7904" y="4196"/>
                    </a:cubicBezTo>
                    <a:close/>
                    <a:moveTo>
                      <a:pt x="6396" y="6685"/>
                    </a:moveTo>
                    <a:cubicBezTo>
                      <a:pt x="6396" y="6685"/>
                      <a:pt x="6396" y="6685"/>
                      <a:pt x="6396" y="6685"/>
                    </a:cubicBezTo>
                    <a:cubicBezTo>
                      <a:pt x="6400" y="6686"/>
                      <a:pt x="6400" y="6686"/>
                      <a:pt x="6400" y="6686"/>
                    </a:cubicBezTo>
                    <a:cubicBezTo>
                      <a:pt x="6388" y="6687"/>
                      <a:pt x="6376" y="6688"/>
                      <a:pt x="6363" y="6690"/>
                    </a:cubicBezTo>
                    <a:cubicBezTo>
                      <a:pt x="6283" y="6698"/>
                      <a:pt x="6137" y="6702"/>
                      <a:pt x="6012" y="6704"/>
                    </a:cubicBezTo>
                    <a:cubicBezTo>
                      <a:pt x="5887" y="6706"/>
                      <a:pt x="5782" y="6706"/>
                      <a:pt x="5782" y="6706"/>
                    </a:cubicBezTo>
                    <a:cubicBezTo>
                      <a:pt x="5776" y="6706"/>
                      <a:pt x="5776" y="6706"/>
                      <a:pt x="5776" y="6706"/>
                    </a:cubicBezTo>
                    <a:cubicBezTo>
                      <a:pt x="5671" y="6782"/>
                      <a:pt x="5671" y="6782"/>
                      <a:pt x="5671" y="6782"/>
                    </a:cubicBezTo>
                    <a:cubicBezTo>
                      <a:pt x="5685" y="6723"/>
                      <a:pt x="5685" y="6723"/>
                      <a:pt x="5685" y="6723"/>
                    </a:cubicBezTo>
                    <a:cubicBezTo>
                      <a:pt x="5942" y="4455"/>
                      <a:pt x="5942" y="4455"/>
                      <a:pt x="5942" y="4455"/>
                    </a:cubicBezTo>
                    <a:cubicBezTo>
                      <a:pt x="6020" y="4227"/>
                      <a:pt x="6020" y="4227"/>
                      <a:pt x="6020" y="4227"/>
                    </a:cubicBezTo>
                    <a:cubicBezTo>
                      <a:pt x="6118" y="3736"/>
                      <a:pt x="6118" y="3736"/>
                      <a:pt x="6118" y="3736"/>
                    </a:cubicBezTo>
                    <a:cubicBezTo>
                      <a:pt x="6119" y="3731"/>
                      <a:pt x="6119" y="3731"/>
                      <a:pt x="6119" y="3731"/>
                    </a:cubicBezTo>
                    <a:cubicBezTo>
                      <a:pt x="6710" y="3738"/>
                      <a:pt x="6710" y="3738"/>
                      <a:pt x="6710" y="3738"/>
                    </a:cubicBezTo>
                    <a:lnTo>
                      <a:pt x="6396" y="6685"/>
                    </a:lnTo>
                    <a:close/>
                    <a:moveTo>
                      <a:pt x="4859" y="5634"/>
                    </a:moveTo>
                    <a:cubicBezTo>
                      <a:pt x="4859" y="5633"/>
                      <a:pt x="4860" y="5631"/>
                      <a:pt x="4861" y="5630"/>
                    </a:cubicBezTo>
                    <a:cubicBezTo>
                      <a:pt x="4907" y="5575"/>
                      <a:pt x="4953" y="5509"/>
                      <a:pt x="4953" y="5408"/>
                    </a:cubicBezTo>
                    <a:cubicBezTo>
                      <a:pt x="4953" y="5372"/>
                      <a:pt x="4947" y="5332"/>
                      <a:pt x="4935" y="5286"/>
                    </a:cubicBezTo>
                    <a:cubicBezTo>
                      <a:pt x="4916" y="5221"/>
                      <a:pt x="4900" y="5168"/>
                      <a:pt x="4900" y="5120"/>
                    </a:cubicBezTo>
                    <a:cubicBezTo>
                      <a:pt x="4900" y="5082"/>
                      <a:pt x="4909" y="5047"/>
                      <a:pt x="4937" y="5007"/>
                    </a:cubicBezTo>
                    <a:cubicBezTo>
                      <a:pt x="5002" y="4911"/>
                      <a:pt x="5091" y="4801"/>
                      <a:pt x="5115" y="4698"/>
                    </a:cubicBezTo>
                    <a:cubicBezTo>
                      <a:pt x="5115" y="4696"/>
                      <a:pt x="5115" y="4694"/>
                      <a:pt x="5116" y="4693"/>
                    </a:cubicBezTo>
                    <a:cubicBezTo>
                      <a:pt x="5126" y="4689"/>
                      <a:pt x="5126" y="4689"/>
                      <a:pt x="5126" y="4689"/>
                    </a:cubicBezTo>
                    <a:cubicBezTo>
                      <a:pt x="5856" y="4753"/>
                      <a:pt x="5856" y="4753"/>
                      <a:pt x="5856" y="4753"/>
                    </a:cubicBezTo>
                    <a:cubicBezTo>
                      <a:pt x="5862" y="4756"/>
                      <a:pt x="5868" y="4759"/>
                      <a:pt x="5871" y="4759"/>
                    </a:cubicBezTo>
                    <a:cubicBezTo>
                      <a:pt x="5650" y="6717"/>
                      <a:pt x="5650" y="6717"/>
                      <a:pt x="5650" y="6717"/>
                    </a:cubicBezTo>
                    <a:cubicBezTo>
                      <a:pt x="5626" y="6814"/>
                      <a:pt x="5626" y="6814"/>
                      <a:pt x="5626" y="6814"/>
                    </a:cubicBezTo>
                    <a:cubicBezTo>
                      <a:pt x="5149" y="7158"/>
                      <a:pt x="5149" y="7158"/>
                      <a:pt x="5149" y="7158"/>
                    </a:cubicBezTo>
                    <a:cubicBezTo>
                      <a:pt x="5146" y="7154"/>
                      <a:pt x="5142" y="7150"/>
                      <a:pt x="5139" y="7146"/>
                    </a:cubicBezTo>
                    <a:cubicBezTo>
                      <a:pt x="5124" y="7109"/>
                      <a:pt x="5098" y="7048"/>
                      <a:pt x="5058" y="6980"/>
                    </a:cubicBezTo>
                    <a:cubicBezTo>
                      <a:pt x="5027" y="6928"/>
                      <a:pt x="5007" y="6879"/>
                      <a:pt x="4994" y="6843"/>
                    </a:cubicBezTo>
                    <a:cubicBezTo>
                      <a:pt x="4992" y="6837"/>
                      <a:pt x="4991" y="6833"/>
                      <a:pt x="4989" y="6828"/>
                    </a:cubicBezTo>
                    <a:cubicBezTo>
                      <a:pt x="4989" y="6826"/>
                      <a:pt x="4989" y="6826"/>
                      <a:pt x="4989" y="6826"/>
                    </a:cubicBezTo>
                    <a:cubicBezTo>
                      <a:pt x="4989" y="6826"/>
                      <a:pt x="4982" y="6796"/>
                      <a:pt x="4981" y="6783"/>
                    </a:cubicBezTo>
                    <a:cubicBezTo>
                      <a:pt x="4979" y="6770"/>
                      <a:pt x="4978" y="6748"/>
                      <a:pt x="4978" y="6728"/>
                    </a:cubicBezTo>
                    <a:cubicBezTo>
                      <a:pt x="4978" y="6707"/>
                      <a:pt x="4979" y="6687"/>
                      <a:pt x="4979" y="6679"/>
                    </a:cubicBezTo>
                    <a:cubicBezTo>
                      <a:pt x="4987" y="6589"/>
                      <a:pt x="5004" y="6472"/>
                      <a:pt x="5009" y="6437"/>
                    </a:cubicBezTo>
                    <a:cubicBezTo>
                      <a:pt x="5014" y="6405"/>
                      <a:pt x="5024" y="6332"/>
                      <a:pt x="5031" y="6266"/>
                    </a:cubicBezTo>
                    <a:cubicBezTo>
                      <a:pt x="5035" y="6231"/>
                      <a:pt x="5038" y="6197"/>
                      <a:pt x="5040" y="6179"/>
                    </a:cubicBezTo>
                    <a:cubicBezTo>
                      <a:pt x="5041" y="6176"/>
                      <a:pt x="5042" y="6159"/>
                      <a:pt x="5042" y="6132"/>
                    </a:cubicBezTo>
                    <a:cubicBezTo>
                      <a:pt x="5042" y="6034"/>
                      <a:pt x="5027" y="5805"/>
                      <a:pt x="4859" y="5634"/>
                    </a:cubicBezTo>
                    <a:close/>
                    <a:moveTo>
                      <a:pt x="4308" y="5754"/>
                    </a:moveTo>
                    <a:cubicBezTo>
                      <a:pt x="4308" y="5752"/>
                      <a:pt x="4308" y="5750"/>
                      <a:pt x="4308" y="5748"/>
                    </a:cubicBezTo>
                    <a:cubicBezTo>
                      <a:pt x="4307" y="5698"/>
                      <a:pt x="4259" y="5646"/>
                      <a:pt x="4251" y="5634"/>
                    </a:cubicBezTo>
                    <a:cubicBezTo>
                      <a:pt x="4250" y="5634"/>
                      <a:pt x="4250" y="5633"/>
                      <a:pt x="4250" y="5633"/>
                    </a:cubicBezTo>
                    <a:cubicBezTo>
                      <a:pt x="4250" y="5633"/>
                      <a:pt x="4249" y="5633"/>
                      <a:pt x="4249" y="5633"/>
                    </a:cubicBezTo>
                    <a:cubicBezTo>
                      <a:pt x="4249" y="5633"/>
                      <a:pt x="4249" y="5633"/>
                      <a:pt x="4249" y="5632"/>
                    </a:cubicBezTo>
                    <a:cubicBezTo>
                      <a:pt x="4249" y="5632"/>
                      <a:pt x="4249" y="5632"/>
                      <a:pt x="4248" y="5631"/>
                    </a:cubicBezTo>
                    <a:cubicBezTo>
                      <a:pt x="4248" y="5631"/>
                      <a:pt x="4248" y="5631"/>
                      <a:pt x="4247" y="5630"/>
                    </a:cubicBezTo>
                    <a:cubicBezTo>
                      <a:pt x="4247" y="5630"/>
                      <a:pt x="4246" y="5630"/>
                      <a:pt x="4246" y="5629"/>
                    </a:cubicBezTo>
                    <a:cubicBezTo>
                      <a:pt x="4245" y="5628"/>
                      <a:pt x="4243" y="5627"/>
                      <a:pt x="4241" y="5625"/>
                    </a:cubicBezTo>
                    <a:cubicBezTo>
                      <a:pt x="4237" y="5622"/>
                      <a:pt x="4232" y="5617"/>
                      <a:pt x="4225" y="5612"/>
                    </a:cubicBezTo>
                    <a:cubicBezTo>
                      <a:pt x="4211" y="5600"/>
                      <a:pt x="4191" y="5583"/>
                      <a:pt x="4169" y="5564"/>
                    </a:cubicBezTo>
                    <a:cubicBezTo>
                      <a:pt x="4089" y="5492"/>
                      <a:pt x="3976" y="5388"/>
                      <a:pt x="3976" y="5388"/>
                    </a:cubicBezTo>
                    <a:cubicBezTo>
                      <a:pt x="3976" y="5388"/>
                      <a:pt x="3976" y="5388"/>
                      <a:pt x="3976" y="5388"/>
                    </a:cubicBezTo>
                    <a:cubicBezTo>
                      <a:pt x="3975" y="5389"/>
                      <a:pt x="3975" y="5389"/>
                      <a:pt x="3975" y="5389"/>
                    </a:cubicBezTo>
                    <a:cubicBezTo>
                      <a:pt x="3981" y="5375"/>
                      <a:pt x="3985" y="5362"/>
                      <a:pt x="3989" y="5351"/>
                    </a:cubicBezTo>
                    <a:cubicBezTo>
                      <a:pt x="4004" y="5311"/>
                      <a:pt x="4035" y="5196"/>
                      <a:pt x="4046" y="5165"/>
                    </a:cubicBezTo>
                    <a:cubicBezTo>
                      <a:pt x="4057" y="5132"/>
                      <a:pt x="4069" y="5078"/>
                      <a:pt x="4108" y="5032"/>
                    </a:cubicBezTo>
                    <a:cubicBezTo>
                      <a:pt x="4124" y="5013"/>
                      <a:pt x="4145" y="4991"/>
                      <a:pt x="4167" y="4971"/>
                    </a:cubicBezTo>
                    <a:cubicBezTo>
                      <a:pt x="4200" y="4941"/>
                      <a:pt x="4230" y="4918"/>
                      <a:pt x="4230" y="4918"/>
                    </a:cubicBezTo>
                    <a:cubicBezTo>
                      <a:pt x="4233" y="4915"/>
                      <a:pt x="4233" y="4915"/>
                      <a:pt x="4233" y="4915"/>
                    </a:cubicBezTo>
                    <a:cubicBezTo>
                      <a:pt x="4240" y="4923"/>
                      <a:pt x="4240" y="4923"/>
                      <a:pt x="4240" y="4923"/>
                    </a:cubicBezTo>
                    <a:cubicBezTo>
                      <a:pt x="4242" y="4903"/>
                      <a:pt x="4242" y="4903"/>
                      <a:pt x="4242" y="4903"/>
                    </a:cubicBezTo>
                    <a:cubicBezTo>
                      <a:pt x="4271" y="4941"/>
                      <a:pt x="4333" y="5020"/>
                      <a:pt x="4406" y="5113"/>
                    </a:cubicBezTo>
                    <a:cubicBezTo>
                      <a:pt x="4508" y="5244"/>
                      <a:pt x="4631" y="5403"/>
                      <a:pt x="4716" y="5513"/>
                    </a:cubicBezTo>
                    <a:cubicBezTo>
                      <a:pt x="4763" y="5574"/>
                      <a:pt x="4798" y="5621"/>
                      <a:pt x="4810" y="5637"/>
                    </a:cubicBezTo>
                    <a:cubicBezTo>
                      <a:pt x="4760" y="5704"/>
                      <a:pt x="4695" y="5806"/>
                      <a:pt x="4669" y="5848"/>
                    </a:cubicBezTo>
                    <a:cubicBezTo>
                      <a:pt x="4667" y="5849"/>
                      <a:pt x="4664" y="5857"/>
                      <a:pt x="4664" y="5857"/>
                    </a:cubicBezTo>
                    <a:cubicBezTo>
                      <a:pt x="4647" y="5851"/>
                      <a:pt x="4647" y="5851"/>
                      <a:pt x="4647" y="5851"/>
                    </a:cubicBezTo>
                    <a:cubicBezTo>
                      <a:pt x="4643" y="5859"/>
                      <a:pt x="4643" y="5859"/>
                      <a:pt x="4643" y="5859"/>
                    </a:cubicBezTo>
                    <a:cubicBezTo>
                      <a:pt x="4647" y="5851"/>
                      <a:pt x="4647" y="5851"/>
                      <a:pt x="4647" y="5851"/>
                    </a:cubicBezTo>
                    <a:lnTo>
                      <a:pt x="4308" y="5754"/>
                    </a:lnTo>
                    <a:close/>
                    <a:moveTo>
                      <a:pt x="4228" y="5637"/>
                    </a:moveTo>
                    <a:cubicBezTo>
                      <a:pt x="4227" y="5637"/>
                      <a:pt x="4227" y="5638"/>
                      <a:pt x="4227" y="5638"/>
                    </a:cubicBezTo>
                    <a:cubicBezTo>
                      <a:pt x="4227" y="5637"/>
                      <a:pt x="4227" y="5637"/>
                      <a:pt x="4228" y="5637"/>
                    </a:cubicBezTo>
                    <a:close/>
                    <a:moveTo>
                      <a:pt x="4227" y="5640"/>
                    </a:moveTo>
                    <a:cubicBezTo>
                      <a:pt x="4227" y="5640"/>
                      <a:pt x="4227" y="5640"/>
                      <a:pt x="4227" y="5640"/>
                    </a:cubicBezTo>
                    <a:cubicBezTo>
                      <a:pt x="4227" y="5640"/>
                      <a:pt x="4227" y="5640"/>
                      <a:pt x="4227" y="5640"/>
                    </a:cubicBezTo>
                    <a:cubicBezTo>
                      <a:pt x="4227" y="5640"/>
                      <a:pt x="4227" y="5640"/>
                      <a:pt x="4227" y="5640"/>
                    </a:cubicBezTo>
                    <a:close/>
                    <a:moveTo>
                      <a:pt x="4752" y="5501"/>
                    </a:moveTo>
                    <a:cubicBezTo>
                      <a:pt x="4696" y="5429"/>
                      <a:pt x="4622" y="5333"/>
                      <a:pt x="4548" y="5237"/>
                    </a:cubicBezTo>
                    <a:cubicBezTo>
                      <a:pt x="4427" y="5082"/>
                      <a:pt x="4292" y="4905"/>
                      <a:pt x="4247" y="4846"/>
                    </a:cubicBezTo>
                    <a:cubicBezTo>
                      <a:pt x="4247" y="4846"/>
                      <a:pt x="4247" y="4846"/>
                      <a:pt x="4247" y="4846"/>
                    </a:cubicBezTo>
                    <a:cubicBezTo>
                      <a:pt x="4247" y="4845"/>
                      <a:pt x="4247" y="4845"/>
                      <a:pt x="4247" y="4845"/>
                    </a:cubicBezTo>
                    <a:cubicBezTo>
                      <a:pt x="4237" y="4832"/>
                      <a:pt x="4231" y="4825"/>
                      <a:pt x="4231" y="4825"/>
                    </a:cubicBezTo>
                    <a:cubicBezTo>
                      <a:pt x="4231" y="4825"/>
                      <a:pt x="4231" y="4825"/>
                      <a:pt x="4231" y="4825"/>
                    </a:cubicBezTo>
                    <a:cubicBezTo>
                      <a:pt x="3618" y="4023"/>
                      <a:pt x="3618" y="4023"/>
                      <a:pt x="3618" y="4023"/>
                    </a:cubicBezTo>
                    <a:cubicBezTo>
                      <a:pt x="3631" y="4016"/>
                      <a:pt x="3631" y="4016"/>
                      <a:pt x="3631" y="4016"/>
                    </a:cubicBezTo>
                    <a:cubicBezTo>
                      <a:pt x="3965" y="3901"/>
                      <a:pt x="3965" y="3901"/>
                      <a:pt x="3965" y="3901"/>
                    </a:cubicBezTo>
                    <a:cubicBezTo>
                      <a:pt x="3964" y="3900"/>
                      <a:pt x="3964" y="3900"/>
                      <a:pt x="3964" y="3900"/>
                    </a:cubicBezTo>
                    <a:cubicBezTo>
                      <a:pt x="4135" y="3849"/>
                      <a:pt x="4135" y="3849"/>
                      <a:pt x="4135" y="3849"/>
                    </a:cubicBezTo>
                    <a:cubicBezTo>
                      <a:pt x="4536" y="3924"/>
                      <a:pt x="4536" y="3924"/>
                      <a:pt x="4536" y="3924"/>
                    </a:cubicBezTo>
                    <a:cubicBezTo>
                      <a:pt x="4535" y="3930"/>
                      <a:pt x="4533" y="3935"/>
                      <a:pt x="4533" y="3942"/>
                    </a:cubicBezTo>
                    <a:cubicBezTo>
                      <a:pt x="4533" y="3968"/>
                      <a:pt x="4543" y="3997"/>
                      <a:pt x="4565" y="4029"/>
                    </a:cubicBezTo>
                    <a:cubicBezTo>
                      <a:pt x="4636" y="4133"/>
                      <a:pt x="5026" y="4632"/>
                      <a:pt x="5077" y="4698"/>
                    </a:cubicBezTo>
                    <a:cubicBezTo>
                      <a:pt x="5054" y="4786"/>
                      <a:pt x="4971" y="4892"/>
                      <a:pt x="4907" y="4986"/>
                    </a:cubicBezTo>
                    <a:cubicBezTo>
                      <a:pt x="4876" y="5032"/>
                      <a:pt x="4864" y="5076"/>
                      <a:pt x="4864" y="5120"/>
                    </a:cubicBezTo>
                    <a:cubicBezTo>
                      <a:pt x="4864" y="5176"/>
                      <a:pt x="4882" y="5231"/>
                      <a:pt x="4900" y="5296"/>
                    </a:cubicBezTo>
                    <a:cubicBezTo>
                      <a:pt x="4912" y="5339"/>
                      <a:pt x="4917" y="5376"/>
                      <a:pt x="4917" y="5408"/>
                    </a:cubicBezTo>
                    <a:cubicBezTo>
                      <a:pt x="4917" y="5498"/>
                      <a:pt x="4878" y="5553"/>
                      <a:pt x="4833" y="5607"/>
                    </a:cubicBezTo>
                    <a:cubicBezTo>
                      <a:pt x="4833" y="5607"/>
                      <a:pt x="4833" y="5608"/>
                      <a:pt x="4833" y="5608"/>
                    </a:cubicBezTo>
                    <a:cubicBezTo>
                      <a:pt x="4829" y="5602"/>
                      <a:pt x="4825" y="5596"/>
                      <a:pt x="4819" y="5589"/>
                    </a:cubicBezTo>
                    <a:cubicBezTo>
                      <a:pt x="4803" y="5567"/>
                      <a:pt x="4780" y="5537"/>
                      <a:pt x="4752" y="5501"/>
                    </a:cubicBezTo>
                    <a:close/>
                    <a:moveTo>
                      <a:pt x="4570" y="3942"/>
                    </a:moveTo>
                    <a:cubicBezTo>
                      <a:pt x="4570" y="3919"/>
                      <a:pt x="4580" y="3902"/>
                      <a:pt x="4595" y="3888"/>
                    </a:cubicBezTo>
                    <a:cubicBezTo>
                      <a:pt x="4609" y="3874"/>
                      <a:pt x="4628" y="3865"/>
                      <a:pt x="4639" y="3861"/>
                    </a:cubicBezTo>
                    <a:cubicBezTo>
                      <a:pt x="4644" y="3859"/>
                      <a:pt x="4675" y="3852"/>
                      <a:pt x="4715" y="3845"/>
                    </a:cubicBezTo>
                    <a:cubicBezTo>
                      <a:pt x="4756" y="3838"/>
                      <a:pt x="4807" y="3830"/>
                      <a:pt x="4857" y="3822"/>
                    </a:cubicBezTo>
                    <a:cubicBezTo>
                      <a:pt x="4940" y="3809"/>
                      <a:pt x="5019" y="3797"/>
                      <a:pt x="5043" y="3793"/>
                    </a:cubicBezTo>
                    <a:cubicBezTo>
                      <a:pt x="5075" y="4061"/>
                      <a:pt x="5105" y="4303"/>
                      <a:pt x="5114" y="4351"/>
                    </a:cubicBezTo>
                    <a:cubicBezTo>
                      <a:pt x="5119" y="4375"/>
                      <a:pt x="5121" y="4401"/>
                      <a:pt x="5121" y="4427"/>
                    </a:cubicBezTo>
                    <a:cubicBezTo>
                      <a:pt x="5121" y="4503"/>
                      <a:pt x="5104" y="4585"/>
                      <a:pt x="5088" y="4653"/>
                    </a:cubicBezTo>
                    <a:cubicBezTo>
                      <a:pt x="5049" y="4604"/>
                      <a:pt x="4968" y="4499"/>
                      <a:pt x="4881" y="4387"/>
                    </a:cubicBezTo>
                    <a:cubicBezTo>
                      <a:pt x="4761" y="4232"/>
                      <a:pt x="4631" y="4063"/>
                      <a:pt x="4595" y="4009"/>
                    </a:cubicBezTo>
                    <a:cubicBezTo>
                      <a:pt x="4576" y="3981"/>
                      <a:pt x="4570" y="3959"/>
                      <a:pt x="4570" y="3942"/>
                    </a:cubicBezTo>
                    <a:close/>
                    <a:moveTo>
                      <a:pt x="6082" y="3729"/>
                    </a:moveTo>
                    <a:cubicBezTo>
                      <a:pt x="5985" y="4218"/>
                      <a:pt x="5985" y="4218"/>
                      <a:pt x="5985" y="4218"/>
                    </a:cubicBezTo>
                    <a:cubicBezTo>
                      <a:pt x="5922" y="4402"/>
                      <a:pt x="5922" y="4402"/>
                      <a:pt x="5922" y="4402"/>
                    </a:cubicBezTo>
                    <a:cubicBezTo>
                      <a:pt x="5895" y="4341"/>
                      <a:pt x="5895" y="4341"/>
                      <a:pt x="5895" y="4341"/>
                    </a:cubicBezTo>
                    <a:cubicBezTo>
                      <a:pt x="6007" y="2855"/>
                      <a:pt x="6007" y="2855"/>
                      <a:pt x="6007" y="2855"/>
                    </a:cubicBezTo>
                    <a:cubicBezTo>
                      <a:pt x="6144" y="2847"/>
                      <a:pt x="6235" y="2846"/>
                      <a:pt x="6254" y="2845"/>
                    </a:cubicBezTo>
                    <a:cubicBezTo>
                      <a:pt x="6254" y="2845"/>
                      <a:pt x="6254" y="2846"/>
                      <a:pt x="6254" y="2846"/>
                    </a:cubicBezTo>
                    <a:cubicBezTo>
                      <a:pt x="6254" y="2847"/>
                      <a:pt x="6254" y="2847"/>
                      <a:pt x="6254" y="2847"/>
                    </a:cubicBezTo>
                    <a:lnTo>
                      <a:pt x="6082" y="3729"/>
                    </a:lnTo>
                    <a:close/>
                    <a:moveTo>
                      <a:pt x="5858" y="4348"/>
                    </a:moveTo>
                    <a:cubicBezTo>
                      <a:pt x="5906" y="4454"/>
                      <a:pt x="5906" y="4454"/>
                      <a:pt x="5906" y="4454"/>
                    </a:cubicBezTo>
                    <a:cubicBezTo>
                      <a:pt x="5875" y="4729"/>
                      <a:pt x="5875" y="4729"/>
                      <a:pt x="5875" y="4729"/>
                    </a:cubicBezTo>
                    <a:cubicBezTo>
                      <a:pt x="5870" y="4729"/>
                      <a:pt x="5870" y="4729"/>
                      <a:pt x="5870" y="4729"/>
                    </a:cubicBezTo>
                    <a:cubicBezTo>
                      <a:pt x="5870" y="4728"/>
                      <a:pt x="5870" y="4728"/>
                      <a:pt x="5870" y="4728"/>
                    </a:cubicBezTo>
                    <a:cubicBezTo>
                      <a:pt x="5130" y="4663"/>
                      <a:pt x="5130" y="4663"/>
                      <a:pt x="5130" y="4663"/>
                    </a:cubicBezTo>
                    <a:cubicBezTo>
                      <a:pt x="5123" y="4661"/>
                      <a:pt x="5123" y="4661"/>
                      <a:pt x="5123" y="4661"/>
                    </a:cubicBezTo>
                    <a:cubicBezTo>
                      <a:pt x="5139" y="4592"/>
                      <a:pt x="5157" y="4508"/>
                      <a:pt x="5157" y="4427"/>
                    </a:cubicBezTo>
                    <a:cubicBezTo>
                      <a:pt x="5157" y="4399"/>
                      <a:pt x="5155" y="4371"/>
                      <a:pt x="5150" y="4345"/>
                    </a:cubicBezTo>
                    <a:cubicBezTo>
                      <a:pt x="5139" y="4290"/>
                      <a:pt x="5097" y="3945"/>
                      <a:pt x="5059" y="3617"/>
                    </a:cubicBezTo>
                    <a:cubicBezTo>
                      <a:pt x="5022" y="3307"/>
                      <a:pt x="4988" y="3010"/>
                      <a:pt x="4984" y="2977"/>
                    </a:cubicBezTo>
                    <a:cubicBezTo>
                      <a:pt x="5270" y="2920"/>
                      <a:pt x="5565" y="2887"/>
                      <a:pt x="5799" y="2869"/>
                    </a:cubicBezTo>
                    <a:cubicBezTo>
                      <a:pt x="5861" y="2864"/>
                      <a:pt x="5918" y="2860"/>
                      <a:pt x="5971" y="2857"/>
                    </a:cubicBezTo>
                    <a:lnTo>
                      <a:pt x="5858" y="4348"/>
                    </a:lnTo>
                    <a:close/>
                    <a:moveTo>
                      <a:pt x="5353" y="2880"/>
                    </a:moveTo>
                    <a:cubicBezTo>
                      <a:pt x="5185" y="2902"/>
                      <a:pt x="5008" y="2932"/>
                      <a:pt x="4839" y="2972"/>
                    </a:cubicBezTo>
                    <a:cubicBezTo>
                      <a:pt x="4770" y="2988"/>
                      <a:pt x="4697" y="3006"/>
                      <a:pt x="4623" y="3025"/>
                    </a:cubicBezTo>
                    <a:cubicBezTo>
                      <a:pt x="4197" y="2097"/>
                      <a:pt x="4197" y="2097"/>
                      <a:pt x="4197" y="2097"/>
                    </a:cubicBezTo>
                    <a:cubicBezTo>
                      <a:pt x="4197" y="2096"/>
                      <a:pt x="4197" y="2096"/>
                      <a:pt x="4197" y="2096"/>
                    </a:cubicBezTo>
                    <a:cubicBezTo>
                      <a:pt x="4323" y="2090"/>
                      <a:pt x="4752" y="2064"/>
                      <a:pt x="4962" y="2030"/>
                    </a:cubicBezTo>
                    <a:cubicBezTo>
                      <a:pt x="5075" y="2012"/>
                      <a:pt x="5166" y="1965"/>
                      <a:pt x="5237" y="1913"/>
                    </a:cubicBezTo>
                    <a:cubicBezTo>
                      <a:pt x="5243" y="1919"/>
                      <a:pt x="5250" y="1928"/>
                      <a:pt x="5258" y="1938"/>
                    </a:cubicBezTo>
                    <a:cubicBezTo>
                      <a:pt x="5272" y="1957"/>
                      <a:pt x="5287" y="1981"/>
                      <a:pt x="5291" y="1996"/>
                    </a:cubicBezTo>
                    <a:cubicBezTo>
                      <a:pt x="5297" y="2019"/>
                      <a:pt x="5320" y="2066"/>
                      <a:pt x="5344" y="2125"/>
                    </a:cubicBezTo>
                    <a:cubicBezTo>
                      <a:pt x="5368" y="2184"/>
                      <a:pt x="5392" y="2253"/>
                      <a:pt x="5397" y="2313"/>
                    </a:cubicBezTo>
                    <a:cubicBezTo>
                      <a:pt x="5397" y="2325"/>
                      <a:pt x="5398" y="2341"/>
                      <a:pt x="5398" y="2359"/>
                    </a:cubicBezTo>
                    <a:cubicBezTo>
                      <a:pt x="5398" y="2497"/>
                      <a:pt x="5373" y="2778"/>
                      <a:pt x="5365" y="2862"/>
                    </a:cubicBezTo>
                    <a:lnTo>
                      <a:pt x="5353" y="2880"/>
                    </a:lnTo>
                    <a:close/>
                    <a:moveTo>
                      <a:pt x="4847" y="3007"/>
                    </a:moveTo>
                    <a:cubicBezTo>
                      <a:pt x="4880" y="2999"/>
                      <a:pt x="4914" y="2992"/>
                      <a:pt x="4948" y="2985"/>
                    </a:cubicBezTo>
                    <a:cubicBezTo>
                      <a:pt x="4954" y="3036"/>
                      <a:pt x="4997" y="3411"/>
                      <a:pt x="5039" y="3757"/>
                    </a:cubicBezTo>
                    <a:cubicBezTo>
                      <a:pt x="5001" y="3763"/>
                      <a:pt x="4819" y="3790"/>
                      <a:pt x="4709" y="3810"/>
                    </a:cubicBezTo>
                    <a:cubicBezTo>
                      <a:pt x="4668" y="3817"/>
                      <a:pt x="4639" y="3823"/>
                      <a:pt x="4626" y="3827"/>
                    </a:cubicBezTo>
                    <a:cubicBezTo>
                      <a:pt x="4612" y="3833"/>
                      <a:pt x="4590" y="3843"/>
                      <a:pt x="4570" y="3862"/>
                    </a:cubicBezTo>
                    <a:cubicBezTo>
                      <a:pt x="4560" y="3871"/>
                      <a:pt x="4550" y="3884"/>
                      <a:pt x="4543" y="3899"/>
                    </a:cubicBezTo>
                    <a:cubicBezTo>
                      <a:pt x="4535" y="3897"/>
                      <a:pt x="4535" y="3897"/>
                      <a:pt x="4535" y="3897"/>
                    </a:cubicBezTo>
                    <a:cubicBezTo>
                      <a:pt x="4134" y="3823"/>
                      <a:pt x="4134" y="3823"/>
                      <a:pt x="4134" y="3823"/>
                    </a:cubicBezTo>
                    <a:cubicBezTo>
                      <a:pt x="3938" y="3880"/>
                      <a:pt x="3938" y="3880"/>
                      <a:pt x="3938" y="3880"/>
                    </a:cubicBezTo>
                    <a:cubicBezTo>
                      <a:pt x="3938" y="3881"/>
                      <a:pt x="3938" y="3881"/>
                      <a:pt x="3938" y="3881"/>
                    </a:cubicBezTo>
                    <a:cubicBezTo>
                      <a:pt x="3609" y="3988"/>
                      <a:pt x="3609" y="3988"/>
                      <a:pt x="3609" y="3988"/>
                    </a:cubicBezTo>
                    <a:cubicBezTo>
                      <a:pt x="3609" y="3989"/>
                      <a:pt x="3609" y="3989"/>
                      <a:pt x="3609" y="3989"/>
                    </a:cubicBezTo>
                    <a:cubicBezTo>
                      <a:pt x="3594" y="3992"/>
                      <a:pt x="3594" y="3992"/>
                      <a:pt x="3594" y="3992"/>
                    </a:cubicBezTo>
                    <a:cubicBezTo>
                      <a:pt x="3444" y="3796"/>
                      <a:pt x="3444" y="3796"/>
                      <a:pt x="3444" y="3796"/>
                    </a:cubicBezTo>
                    <a:cubicBezTo>
                      <a:pt x="3443" y="3797"/>
                      <a:pt x="3443" y="3797"/>
                      <a:pt x="3443" y="3797"/>
                    </a:cubicBezTo>
                    <a:cubicBezTo>
                      <a:pt x="3211" y="3489"/>
                      <a:pt x="3211" y="3489"/>
                      <a:pt x="3211" y="3489"/>
                    </a:cubicBezTo>
                    <a:cubicBezTo>
                      <a:pt x="3218" y="3487"/>
                      <a:pt x="3226" y="3484"/>
                      <a:pt x="3236" y="3480"/>
                    </a:cubicBezTo>
                    <a:cubicBezTo>
                      <a:pt x="3265" y="3470"/>
                      <a:pt x="3307" y="3456"/>
                      <a:pt x="3359" y="3439"/>
                    </a:cubicBezTo>
                    <a:cubicBezTo>
                      <a:pt x="3463" y="3405"/>
                      <a:pt x="3608" y="3358"/>
                      <a:pt x="3774" y="3307"/>
                    </a:cubicBezTo>
                    <a:cubicBezTo>
                      <a:pt x="4106" y="3204"/>
                      <a:pt x="4520" y="3083"/>
                      <a:pt x="4847" y="3007"/>
                    </a:cubicBezTo>
                    <a:close/>
                    <a:moveTo>
                      <a:pt x="4349" y="7106"/>
                    </a:moveTo>
                    <a:cubicBezTo>
                      <a:pt x="4367" y="7082"/>
                      <a:pt x="4396" y="7042"/>
                      <a:pt x="4415" y="7014"/>
                    </a:cubicBezTo>
                    <a:cubicBezTo>
                      <a:pt x="4444" y="6971"/>
                      <a:pt x="4458" y="6930"/>
                      <a:pt x="4471" y="6878"/>
                    </a:cubicBezTo>
                    <a:cubicBezTo>
                      <a:pt x="4484" y="6824"/>
                      <a:pt x="4538" y="6453"/>
                      <a:pt x="4544" y="6402"/>
                    </a:cubicBezTo>
                    <a:cubicBezTo>
                      <a:pt x="4549" y="6354"/>
                      <a:pt x="4568" y="6241"/>
                      <a:pt x="4578" y="6193"/>
                    </a:cubicBezTo>
                    <a:cubicBezTo>
                      <a:pt x="4581" y="6172"/>
                      <a:pt x="4613" y="6087"/>
                      <a:pt x="4643" y="6010"/>
                    </a:cubicBezTo>
                    <a:cubicBezTo>
                      <a:pt x="4667" y="5949"/>
                      <a:pt x="4690" y="5891"/>
                      <a:pt x="4699" y="5870"/>
                    </a:cubicBezTo>
                    <a:cubicBezTo>
                      <a:pt x="4700" y="5868"/>
                      <a:pt x="4701" y="5866"/>
                      <a:pt x="4701" y="5865"/>
                    </a:cubicBezTo>
                    <a:cubicBezTo>
                      <a:pt x="4702" y="5864"/>
                      <a:pt x="4702" y="5863"/>
                      <a:pt x="4703" y="5862"/>
                    </a:cubicBezTo>
                    <a:cubicBezTo>
                      <a:pt x="4703" y="5862"/>
                      <a:pt x="4703" y="5862"/>
                      <a:pt x="4703" y="5862"/>
                    </a:cubicBezTo>
                    <a:cubicBezTo>
                      <a:pt x="4703" y="5862"/>
                      <a:pt x="4703" y="5862"/>
                      <a:pt x="4703" y="5862"/>
                    </a:cubicBezTo>
                    <a:cubicBezTo>
                      <a:pt x="4715" y="5843"/>
                      <a:pt x="4732" y="5816"/>
                      <a:pt x="4752" y="5786"/>
                    </a:cubicBezTo>
                    <a:cubicBezTo>
                      <a:pt x="4780" y="5742"/>
                      <a:pt x="4814" y="5693"/>
                      <a:pt x="4841" y="5656"/>
                    </a:cubicBezTo>
                    <a:cubicBezTo>
                      <a:pt x="4848" y="5661"/>
                      <a:pt x="4848" y="5661"/>
                      <a:pt x="4848" y="5661"/>
                    </a:cubicBezTo>
                    <a:cubicBezTo>
                      <a:pt x="5001" y="5822"/>
                      <a:pt x="5016" y="6039"/>
                      <a:pt x="5016" y="6132"/>
                    </a:cubicBezTo>
                    <a:cubicBezTo>
                      <a:pt x="5016" y="6147"/>
                      <a:pt x="5016" y="6159"/>
                      <a:pt x="5016" y="6167"/>
                    </a:cubicBezTo>
                    <a:cubicBezTo>
                      <a:pt x="5016" y="6170"/>
                      <a:pt x="5015" y="6173"/>
                      <a:pt x="5015" y="6177"/>
                    </a:cubicBezTo>
                    <a:cubicBezTo>
                      <a:pt x="5013" y="6177"/>
                      <a:pt x="5013" y="6177"/>
                      <a:pt x="5013" y="6177"/>
                    </a:cubicBezTo>
                    <a:cubicBezTo>
                      <a:pt x="5015" y="6177"/>
                      <a:pt x="5015" y="6177"/>
                      <a:pt x="5015" y="6177"/>
                    </a:cubicBezTo>
                    <a:cubicBezTo>
                      <a:pt x="5014" y="6197"/>
                      <a:pt x="5011" y="6229"/>
                      <a:pt x="5007" y="6264"/>
                    </a:cubicBezTo>
                    <a:cubicBezTo>
                      <a:pt x="5000" y="6328"/>
                      <a:pt x="4989" y="6402"/>
                      <a:pt x="4985" y="6433"/>
                    </a:cubicBezTo>
                    <a:cubicBezTo>
                      <a:pt x="4979" y="6469"/>
                      <a:pt x="4963" y="6586"/>
                      <a:pt x="4955" y="6677"/>
                    </a:cubicBezTo>
                    <a:cubicBezTo>
                      <a:pt x="4954" y="6686"/>
                      <a:pt x="4953" y="6706"/>
                      <a:pt x="4953" y="6728"/>
                    </a:cubicBezTo>
                    <a:cubicBezTo>
                      <a:pt x="4953" y="6749"/>
                      <a:pt x="4952" y="6763"/>
                      <a:pt x="4954" y="6786"/>
                    </a:cubicBezTo>
                    <a:cubicBezTo>
                      <a:pt x="4954" y="6787"/>
                      <a:pt x="4954" y="6789"/>
                      <a:pt x="4955" y="6790"/>
                    </a:cubicBezTo>
                    <a:cubicBezTo>
                      <a:pt x="4952" y="6791"/>
                      <a:pt x="4952" y="6791"/>
                      <a:pt x="4952" y="6791"/>
                    </a:cubicBezTo>
                    <a:cubicBezTo>
                      <a:pt x="4952" y="6791"/>
                      <a:pt x="4955" y="6807"/>
                      <a:pt x="4963" y="6831"/>
                    </a:cubicBezTo>
                    <a:cubicBezTo>
                      <a:pt x="4964" y="6836"/>
                      <a:pt x="4965" y="6840"/>
                      <a:pt x="4965" y="6840"/>
                    </a:cubicBezTo>
                    <a:cubicBezTo>
                      <a:pt x="4966" y="6842"/>
                      <a:pt x="4966" y="6842"/>
                      <a:pt x="4966" y="6842"/>
                    </a:cubicBezTo>
                    <a:cubicBezTo>
                      <a:pt x="4979" y="6879"/>
                      <a:pt x="5000" y="6934"/>
                      <a:pt x="5035" y="6993"/>
                    </a:cubicBezTo>
                    <a:cubicBezTo>
                      <a:pt x="5066" y="7046"/>
                      <a:pt x="5089" y="7095"/>
                      <a:pt x="5104" y="7131"/>
                    </a:cubicBezTo>
                    <a:cubicBezTo>
                      <a:pt x="5111" y="7146"/>
                      <a:pt x="5115" y="7158"/>
                      <a:pt x="5119" y="7168"/>
                    </a:cubicBezTo>
                    <a:cubicBezTo>
                      <a:pt x="5119" y="7171"/>
                      <a:pt x="5119" y="7173"/>
                      <a:pt x="5120" y="7175"/>
                    </a:cubicBezTo>
                    <a:cubicBezTo>
                      <a:pt x="4054" y="7782"/>
                      <a:pt x="4054" y="7782"/>
                      <a:pt x="4054" y="7782"/>
                    </a:cubicBezTo>
                    <a:cubicBezTo>
                      <a:pt x="4011" y="7806"/>
                      <a:pt x="4011" y="7806"/>
                      <a:pt x="4011" y="7806"/>
                    </a:cubicBezTo>
                    <a:cubicBezTo>
                      <a:pt x="3942" y="7641"/>
                      <a:pt x="3942" y="7641"/>
                      <a:pt x="3942" y="7641"/>
                    </a:cubicBezTo>
                    <a:cubicBezTo>
                      <a:pt x="4349" y="7106"/>
                      <a:pt x="4349" y="7106"/>
                      <a:pt x="4349" y="7106"/>
                    </a:cubicBezTo>
                    <a:close/>
                    <a:moveTo>
                      <a:pt x="4072" y="7813"/>
                    </a:moveTo>
                    <a:cubicBezTo>
                      <a:pt x="5167" y="7190"/>
                      <a:pt x="5167" y="7190"/>
                      <a:pt x="5167" y="7190"/>
                    </a:cubicBezTo>
                    <a:cubicBezTo>
                      <a:pt x="5606" y="6873"/>
                      <a:pt x="5606" y="6873"/>
                      <a:pt x="5606" y="6873"/>
                    </a:cubicBezTo>
                    <a:cubicBezTo>
                      <a:pt x="5548" y="7023"/>
                      <a:pt x="5548" y="7023"/>
                      <a:pt x="5548" y="7023"/>
                    </a:cubicBezTo>
                    <a:cubicBezTo>
                      <a:pt x="6058" y="7471"/>
                      <a:pt x="6058" y="7471"/>
                      <a:pt x="6058" y="7471"/>
                    </a:cubicBezTo>
                    <a:cubicBezTo>
                      <a:pt x="6159" y="8748"/>
                      <a:pt x="6159" y="8748"/>
                      <a:pt x="6159" y="8748"/>
                    </a:cubicBezTo>
                    <a:cubicBezTo>
                      <a:pt x="5923" y="8922"/>
                      <a:pt x="5923" y="8922"/>
                      <a:pt x="5923" y="8922"/>
                    </a:cubicBezTo>
                    <a:cubicBezTo>
                      <a:pt x="4477" y="8934"/>
                      <a:pt x="4477" y="8934"/>
                      <a:pt x="4477" y="8934"/>
                    </a:cubicBezTo>
                    <a:cubicBezTo>
                      <a:pt x="4461" y="8847"/>
                      <a:pt x="4403" y="8529"/>
                      <a:pt x="4370" y="8431"/>
                    </a:cubicBezTo>
                    <a:cubicBezTo>
                      <a:pt x="4353" y="8379"/>
                      <a:pt x="4271" y="8234"/>
                      <a:pt x="4192" y="8099"/>
                    </a:cubicBezTo>
                    <a:cubicBezTo>
                      <a:pt x="4113" y="7964"/>
                      <a:pt x="4038" y="7841"/>
                      <a:pt x="4038" y="7841"/>
                    </a:cubicBezTo>
                    <a:cubicBezTo>
                      <a:pt x="4037" y="7838"/>
                      <a:pt x="4037" y="7838"/>
                      <a:pt x="4037" y="7838"/>
                    </a:cubicBezTo>
                    <a:cubicBezTo>
                      <a:pt x="4033" y="7835"/>
                      <a:pt x="4033" y="7835"/>
                      <a:pt x="4033" y="7835"/>
                    </a:cubicBezTo>
                    <a:lnTo>
                      <a:pt x="4072" y="7813"/>
                    </a:lnTo>
                    <a:close/>
                    <a:moveTo>
                      <a:pt x="6183" y="8774"/>
                    </a:moveTo>
                    <a:cubicBezTo>
                      <a:pt x="6274" y="8777"/>
                      <a:pt x="6274" y="8777"/>
                      <a:pt x="6274" y="8777"/>
                    </a:cubicBezTo>
                    <a:cubicBezTo>
                      <a:pt x="6274" y="8828"/>
                      <a:pt x="6273" y="9110"/>
                      <a:pt x="6266" y="9306"/>
                    </a:cubicBezTo>
                    <a:cubicBezTo>
                      <a:pt x="6263" y="9370"/>
                      <a:pt x="6247" y="9418"/>
                      <a:pt x="6219" y="9443"/>
                    </a:cubicBezTo>
                    <a:cubicBezTo>
                      <a:pt x="6175" y="9487"/>
                      <a:pt x="6104" y="9497"/>
                      <a:pt x="6061" y="9497"/>
                    </a:cubicBezTo>
                    <a:cubicBezTo>
                      <a:pt x="6052" y="9497"/>
                      <a:pt x="6044" y="9497"/>
                      <a:pt x="6038" y="9496"/>
                    </a:cubicBezTo>
                    <a:cubicBezTo>
                      <a:pt x="6026" y="9322"/>
                      <a:pt x="5962" y="9010"/>
                      <a:pt x="5949" y="8947"/>
                    </a:cubicBezTo>
                    <a:lnTo>
                      <a:pt x="6183" y="8774"/>
                    </a:lnTo>
                    <a:close/>
                    <a:moveTo>
                      <a:pt x="8669" y="6522"/>
                    </a:moveTo>
                    <a:cubicBezTo>
                      <a:pt x="7344" y="6575"/>
                      <a:pt x="7344" y="6575"/>
                      <a:pt x="7344" y="6575"/>
                    </a:cubicBezTo>
                    <a:cubicBezTo>
                      <a:pt x="7344" y="6575"/>
                      <a:pt x="7339" y="6576"/>
                      <a:pt x="7331" y="6576"/>
                    </a:cubicBezTo>
                    <a:cubicBezTo>
                      <a:pt x="7364" y="6570"/>
                      <a:pt x="7364" y="6570"/>
                      <a:pt x="7364" y="6570"/>
                    </a:cubicBezTo>
                    <a:cubicBezTo>
                      <a:pt x="7347" y="6481"/>
                      <a:pt x="7338" y="6401"/>
                      <a:pt x="7334" y="6343"/>
                    </a:cubicBezTo>
                    <a:cubicBezTo>
                      <a:pt x="7330" y="6290"/>
                      <a:pt x="7330" y="6256"/>
                      <a:pt x="7330" y="6251"/>
                    </a:cubicBezTo>
                    <a:cubicBezTo>
                      <a:pt x="7375" y="5692"/>
                      <a:pt x="7375" y="5692"/>
                      <a:pt x="7375" y="5692"/>
                    </a:cubicBezTo>
                    <a:cubicBezTo>
                      <a:pt x="8064" y="4278"/>
                      <a:pt x="8064" y="4278"/>
                      <a:pt x="8064" y="4278"/>
                    </a:cubicBezTo>
                    <a:cubicBezTo>
                      <a:pt x="9422" y="4971"/>
                      <a:pt x="9422" y="4971"/>
                      <a:pt x="9422" y="4971"/>
                    </a:cubicBezTo>
                    <a:cubicBezTo>
                      <a:pt x="9364" y="5092"/>
                      <a:pt x="9364" y="5092"/>
                      <a:pt x="9364" y="5092"/>
                    </a:cubicBezTo>
                    <a:cubicBezTo>
                      <a:pt x="8707" y="6517"/>
                      <a:pt x="8707" y="6517"/>
                      <a:pt x="8707" y="6517"/>
                    </a:cubicBezTo>
                    <a:lnTo>
                      <a:pt x="8669" y="6522"/>
                    </a:lnTo>
                    <a:close/>
                    <a:moveTo>
                      <a:pt x="8079" y="4246"/>
                    </a:moveTo>
                    <a:cubicBezTo>
                      <a:pt x="8600" y="3177"/>
                      <a:pt x="8600" y="3177"/>
                      <a:pt x="8600" y="3177"/>
                    </a:cubicBezTo>
                    <a:cubicBezTo>
                      <a:pt x="8601" y="3177"/>
                      <a:pt x="8602" y="3177"/>
                      <a:pt x="8603" y="3177"/>
                    </a:cubicBezTo>
                    <a:cubicBezTo>
                      <a:pt x="8603" y="3170"/>
                      <a:pt x="8603" y="3170"/>
                      <a:pt x="8603" y="3170"/>
                    </a:cubicBezTo>
                    <a:cubicBezTo>
                      <a:pt x="9303" y="1734"/>
                      <a:pt x="9303" y="1734"/>
                      <a:pt x="9303" y="1734"/>
                    </a:cubicBezTo>
                    <a:cubicBezTo>
                      <a:pt x="9473" y="1825"/>
                      <a:pt x="9871" y="2041"/>
                      <a:pt x="10031" y="2109"/>
                    </a:cubicBezTo>
                    <a:cubicBezTo>
                      <a:pt x="10112" y="2144"/>
                      <a:pt x="10268" y="2215"/>
                      <a:pt x="10404" y="2278"/>
                    </a:cubicBezTo>
                    <a:cubicBezTo>
                      <a:pt x="10513" y="2329"/>
                      <a:pt x="10610" y="2373"/>
                      <a:pt x="10642" y="2389"/>
                    </a:cubicBezTo>
                    <a:cubicBezTo>
                      <a:pt x="10642" y="2389"/>
                      <a:pt x="10642" y="2389"/>
                      <a:pt x="10642" y="2389"/>
                    </a:cubicBezTo>
                    <a:cubicBezTo>
                      <a:pt x="10639" y="2392"/>
                      <a:pt x="10639" y="2392"/>
                      <a:pt x="10639" y="2392"/>
                    </a:cubicBezTo>
                    <a:cubicBezTo>
                      <a:pt x="9437" y="4938"/>
                      <a:pt x="9437" y="4938"/>
                      <a:pt x="9437" y="4938"/>
                    </a:cubicBezTo>
                    <a:lnTo>
                      <a:pt x="8079" y="4246"/>
                    </a:lnTo>
                    <a:close/>
                    <a:moveTo>
                      <a:pt x="8064" y="936"/>
                    </a:moveTo>
                    <a:cubicBezTo>
                      <a:pt x="8065" y="936"/>
                      <a:pt x="8065" y="936"/>
                      <a:pt x="8065" y="936"/>
                    </a:cubicBezTo>
                    <a:cubicBezTo>
                      <a:pt x="8065" y="936"/>
                      <a:pt x="8074" y="935"/>
                      <a:pt x="8090" y="934"/>
                    </a:cubicBezTo>
                    <a:cubicBezTo>
                      <a:pt x="8171" y="994"/>
                      <a:pt x="8588" y="1305"/>
                      <a:pt x="8682" y="1361"/>
                    </a:cubicBezTo>
                    <a:cubicBezTo>
                      <a:pt x="8688" y="1365"/>
                      <a:pt x="8695" y="1369"/>
                      <a:pt x="8702" y="1374"/>
                    </a:cubicBezTo>
                    <a:cubicBezTo>
                      <a:pt x="8703" y="1382"/>
                      <a:pt x="8703" y="1382"/>
                      <a:pt x="8703" y="1382"/>
                    </a:cubicBezTo>
                    <a:cubicBezTo>
                      <a:pt x="8673" y="1430"/>
                      <a:pt x="8576" y="1581"/>
                      <a:pt x="8458" y="1764"/>
                    </a:cubicBezTo>
                    <a:cubicBezTo>
                      <a:pt x="8315" y="1986"/>
                      <a:pt x="8141" y="2255"/>
                      <a:pt x="8018" y="2443"/>
                    </a:cubicBezTo>
                    <a:cubicBezTo>
                      <a:pt x="7937" y="2567"/>
                      <a:pt x="7877" y="2656"/>
                      <a:pt x="7865" y="2669"/>
                    </a:cubicBezTo>
                    <a:cubicBezTo>
                      <a:pt x="7861" y="2671"/>
                      <a:pt x="7862" y="2673"/>
                      <a:pt x="7860" y="2674"/>
                    </a:cubicBezTo>
                    <a:cubicBezTo>
                      <a:pt x="7860" y="2676"/>
                      <a:pt x="7859" y="2677"/>
                      <a:pt x="7858" y="2678"/>
                    </a:cubicBezTo>
                    <a:cubicBezTo>
                      <a:pt x="7857" y="2681"/>
                      <a:pt x="7855" y="2685"/>
                      <a:pt x="7854" y="2690"/>
                    </a:cubicBezTo>
                    <a:cubicBezTo>
                      <a:pt x="7850" y="2700"/>
                      <a:pt x="7845" y="2714"/>
                      <a:pt x="7840" y="2731"/>
                    </a:cubicBezTo>
                    <a:cubicBezTo>
                      <a:pt x="7829" y="2767"/>
                      <a:pt x="7813" y="2817"/>
                      <a:pt x="7796" y="2877"/>
                    </a:cubicBezTo>
                    <a:cubicBezTo>
                      <a:pt x="7760" y="2997"/>
                      <a:pt x="7714" y="3157"/>
                      <a:pt x="7668" y="3318"/>
                    </a:cubicBezTo>
                    <a:cubicBezTo>
                      <a:pt x="7590" y="3591"/>
                      <a:pt x="7514" y="3863"/>
                      <a:pt x="7493" y="3938"/>
                    </a:cubicBezTo>
                    <a:cubicBezTo>
                      <a:pt x="7490" y="3940"/>
                      <a:pt x="7484" y="3944"/>
                      <a:pt x="7479" y="3947"/>
                    </a:cubicBezTo>
                    <a:cubicBezTo>
                      <a:pt x="7478" y="3947"/>
                      <a:pt x="7476" y="3946"/>
                      <a:pt x="7475" y="3945"/>
                    </a:cubicBezTo>
                    <a:cubicBezTo>
                      <a:pt x="7114" y="3772"/>
                      <a:pt x="6818" y="3716"/>
                      <a:pt x="6750" y="3705"/>
                    </a:cubicBezTo>
                    <a:cubicBezTo>
                      <a:pt x="6844" y="2818"/>
                      <a:pt x="6844" y="2818"/>
                      <a:pt x="6844" y="2818"/>
                    </a:cubicBezTo>
                    <a:cubicBezTo>
                      <a:pt x="6847" y="2810"/>
                      <a:pt x="6847" y="2810"/>
                      <a:pt x="6847" y="2810"/>
                    </a:cubicBezTo>
                    <a:cubicBezTo>
                      <a:pt x="6849" y="2813"/>
                      <a:pt x="6849" y="2813"/>
                      <a:pt x="6849" y="2813"/>
                    </a:cubicBezTo>
                    <a:cubicBezTo>
                      <a:pt x="7248" y="2537"/>
                      <a:pt x="7248" y="2537"/>
                      <a:pt x="7248" y="2537"/>
                    </a:cubicBezTo>
                    <a:cubicBezTo>
                      <a:pt x="8054" y="950"/>
                      <a:pt x="8054" y="950"/>
                      <a:pt x="8054" y="950"/>
                    </a:cubicBezTo>
                    <a:lnTo>
                      <a:pt x="8064" y="936"/>
                    </a:lnTo>
                    <a:close/>
                    <a:moveTo>
                      <a:pt x="7532" y="682"/>
                    </a:moveTo>
                    <a:cubicBezTo>
                      <a:pt x="7533" y="682"/>
                      <a:pt x="7534" y="682"/>
                      <a:pt x="7534" y="682"/>
                    </a:cubicBezTo>
                    <a:cubicBezTo>
                      <a:pt x="7686" y="719"/>
                      <a:pt x="7891" y="839"/>
                      <a:pt x="7980" y="896"/>
                    </a:cubicBezTo>
                    <a:cubicBezTo>
                      <a:pt x="8005" y="912"/>
                      <a:pt x="8021" y="922"/>
                      <a:pt x="8025" y="925"/>
                    </a:cubicBezTo>
                    <a:cubicBezTo>
                      <a:pt x="8024" y="928"/>
                      <a:pt x="8023" y="930"/>
                      <a:pt x="8022" y="933"/>
                    </a:cubicBezTo>
                    <a:cubicBezTo>
                      <a:pt x="7220" y="2513"/>
                      <a:pt x="7220" y="2513"/>
                      <a:pt x="7220" y="2513"/>
                    </a:cubicBezTo>
                    <a:cubicBezTo>
                      <a:pt x="6863" y="2760"/>
                      <a:pt x="6863" y="2760"/>
                      <a:pt x="6863" y="2760"/>
                    </a:cubicBezTo>
                    <a:cubicBezTo>
                      <a:pt x="7524" y="693"/>
                      <a:pt x="7524" y="693"/>
                      <a:pt x="7524" y="693"/>
                    </a:cubicBezTo>
                    <a:cubicBezTo>
                      <a:pt x="7527" y="689"/>
                      <a:pt x="7530" y="685"/>
                      <a:pt x="7532" y="682"/>
                    </a:cubicBezTo>
                    <a:close/>
                    <a:moveTo>
                      <a:pt x="7037" y="656"/>
                    </a:moveTo>
                    <a:cubicBezTo>
                      <a:pt x="7093" y="648"/>
                      <a:pt x="7153" y="643"/>
                      <a:pt x="7218" y="643"/>
                    </a:cubicBezTo>
                    <a:cubicBezTo>
                      <a:pt x="7301" y="643"/>
                      <a:pt x="7392" y="652"/>
                      <a:pt x="7489" y="673"/>
                    </a:cubicBezTo>
                    <a:cubicBezTo>
                      <a:pt x="7488" y="680"/>
                      <a:pt x="7487" y="690"/>
                      <a:pt x="7486" y="693"/>
                    </a:cubicBezTo>
                    <a:cubicBezTo>
                      <a:pt x="6809" y="2811"/>
                      <a:pt x="6809" y="2811"/>
                      <a:pt x="6809" y="2811"/>
                    </a:cubicBezTo>
                    <a:cubicBezTo>
                      <a:pt x="6714" y="3702"/>
                      <a:pt x="6714" y="3702"/>
                      <a:pt x="6714" y="3702"/>
                    </a:cubicBezTo>
                    <a:cubicBezTo>
                      <a:pt x="6126" y="3695"/>
                      <a:pt x="6126" y="3695"/>
                      <a:pt x="6126" y="3695"/>
                    </a:cubicBezTo>
                    <a:cubicBezTo>
                      <a:pt x="6289" y="2856"/>
                      <a:pt x="6289" y="2856"/>
                      <a:pt x="6289" y="2856"/>
                    </a:cubicBezTo>
                    <a:cubicBezTo>
                      <a:pt x="6306" y="2806"/>
                      <a:pt x="6951" y="907"/>
                      <a:pt x="7031" y="666"/>
                    </a:cubicBezTo>
                    <a:lnTo>
                      <a:pt x="7037" y="656"/>
                    </a:lnTo>
                    <a:close/>
                    <a:moveTo>
                      <a:pt x="6672" y="970"/>
                    </a:moveTo>
                    <a:cubicBezTo>
                      <a:pt x="6692" y="967"/>
                      <a:pt x="6713" y="960"/>
                      <a:pt x="6733" y="944"/>
                    </a:cubicBezTo>
                    <a:cubicBezTo>
                      <a:pt x="6744" y="936"/>
                      <a:pt x="6744" y="936"/>
                      <a:pt x="6744" y="936"/>
                    </a:cubicBezTo>
                    <a:cubicBezTo>
                      <a:pt x="6750" y="923"/>
                      <a:pt x="6750" y="923"/>
                      <a:pt x="6750" y="923"/>
                    </a:cubicBezTo>
                    <a:cubicBezTo>
                      <a:pt x="6750" y="923"/>
                      <a:pt x="6759" y="902"/>
                      <a:pt x="6774" y="872"/>
                    </a:cubicBezTo>
                    <a:cubicBezTo>
                      <a:pt x="6788" y="842"/>
                      <a:pt x="6807" y="803"/>
                      <a:pt x="6827" y="767"/>
                    </a:cubicBezTo>
                    <a:cubicBezTo>
                      <a:pt x="6827" y="766"/>
                      <a:pt x="6827" y="766"/>
                      <a:pt x="6828" y="766"/>
                    </a:cubicBezTo>
                    <a:cubicBezTo>
                      <a:pt x="6829" y="764"/>
                      <a:pt x="6831" y="761"/>
                      <a:pt x="6834" y="757"/>
                    </a:cubicBezTo>
                    <a:cubicBezTo>
                      <a:pt x="6840" y="749"/>
                      <a:pt x="6850" y="738"/>
                      <a:pt x="6864" y="726"/>
                    </a:cubicBezTo>
                    <a:cubicBezTo>
                      <a:pt x="6890" y="703"/>
                      <a:pt x="6929" y="679"/>
                      <a:pt x="6985" y="666"/>
                    </a:cubicBezTo>
                    <a:cubicBezTo>
                      <a:pt x="6986" y="688"/>
                      <a:pt x="6986" y="688"/>
                      <a:pt x="6986" y="688"/>
                    </a:cubicBezTo>
                    <a:cubicBezTo>
                      <a:pt x="6974" y="723"/>
                      <a:pt x="6957" y="774"/>
                      <a:pt x="6936" y="836"/>
                    </a:cubicBezTo>
                    <a:cubicBezTo>
                      <a:pt x="6893" y="963"/>
                      <a:pt x="6834" y="1138"/>
                      <a:pt x="6768" y="1333"/>
                    </a:cubicBezTo>
                    <a:cubicBezTo>
                      <a:pt x="6636" y="1722"/>
                      <a:pt x="6477" y="2189"/>
                      <a:pt x="6372" y="2500"/>
                    </a:cubicBezTo>
                    <a:cubicBezTo>
                      <a:pt x="6313" y="2671"/>
                      <a:pt x="6271" y="2795"/>
                      <a:pt x="6258" y="2833"/>
                    </a:cubicBezTo>
                    <a:cubicBezTo>
                      <a:pt x="6258" y="2809"/>
                      <a:pt x="6258" y="2809"/>
                      <a:pt x="6258" y="2809"/>
                    </a:cubicBezTo>
                    <a:cubicBezTo>
                      <a:pt x="6258" y="2809"/>
                      <a:pt x="6166" y="2810"/>
                      <a:pt x="6018" y="2818"/>
                    </a:cubicBezTo>
                    <a:lnTo>
                      <a:pt x="6672" y="970"/>
                    </a:lnTo>
                    <a:close/>
                    <a:moveTo>
                      <a:pt x="6484" y="1034"/>
                    </a:moveTo>
                    <a:cubicBezTo>
                      <a:pt x="6495" y="1013"/>
                      <a:pt x="6503" y="990"/>
                      <a:pt x="6511" y="968"/>
                    </a:cubicBezTo>
                    <a:cubicBezTo>
                      <a:pt x="6553" y="971"/>
                      <a:pt x="6580" y="972"/>
                      <a:pt x="6586" y="973"/>
                    </a:cubicBezTo>
                    <a:cubicBezTo>
                      <a:pt x="6598" y="973"/>
                      <a:pt x="6610" y="974"/>
                      <a:pt x="6623" y="974"/>
                    </a:cubicBezTo>
                    <a:cubicBezTo>
                      <a:pt x="6625" y="974"/>
                      <a:pt x="6626" y="974"/>
                      <a:pt x="6628" y="974"/>
                    </a:cubicBezTo>
                    <a:cubicBezTo>
                      <a:pt x="6623" y="993"/>
                      <a:pt x="6623" y="993"/>
                      <a:pt x="6623" y="993"/>
                    </a:cubicBezTo>
                    <a:cubicBezTo>
                      <a:pt x="6626" y="994"/>
                      <a:pt x="6626" y="994"/>
                      <a:pt x="6626" y="994"/>
                    </a:cubicBezTo>
                    <a:cubicBezTo>
                      <a:pt x="5979" y="2820"/>
                      <a:pt x="5979" y="2820"/>
                      <a:pt x="5979" y="2820"/>
                    </a:cubicBezTo>
                    <a:cubicBezTo>
                      <a:pt x="5824" y="2829"/>
                      <a:pt x="5619" y="2845"/>
                      <a:pt x="5397" y="2874"/>
                    </a:cubicBezTo>
                    <a:cubicBezTo>
                      <a:pt x="5392" y="2856"/>
                      <a:pt x="5392" y="2856"/>
                      <a:pt x="5392" y="2856"/>
                    </a:cubicBezTo>
                    <a:cubicBezTo>
                      <a:pt x="5401" y="2763"/>
                      <a:pt x="5424" y="2495"/>
                      <a:pt x="5424" y="2359"/>
                    </a:cubicBezTo>
                    <a:cubicBezTo>
                      <a:pt x="5424" y="2341"/>
                      <a:pt x="5424" y="2325"/>
                      <a:pt x="5423" y="2311"/>
                    </a:cubicBezTo>
                    <a:cubicBezTo>
                      <a:pt x="5418" y="2246"/>
                      <a:pt x="5393" y="2175"/>
                      <a:pt x="5369" y="2115"/>
                    </a:cubicBezTo>
                    <a:cubicBezTo>
                      <a:pt x="5344" y="2056"/>
                      <a:pt x="5320" y="2006"/>
                      <a:pt x="5316" y="1990"/>
                    </a:cubicBezTo>
                    <a:cubicBezTo>
                      <a:pt x="5307" y="1956"/>
                      <a:pt x="5274" y="1916"/>
                      <a:pt x="5259" y="1897"/>
                    </a:cubicBezTo>
                    <a:cubicBezTo>
                      <a:pt x="5331" y="1841"/>
                      <a:pt x="5381" y="1781"/>
                      <a:pt x="5410" y="1750"/>
                    </a:cubicBezTo>
                    <a:cubicBezTo>
                      <a:pt x="5449" y="1707"/>
                      <a:pt x="5461" y="1648"/>
                      <a:pt x="5461" y="1583"/>
                    </a:cubicBezTo>
                    <a:cubicBezTo>
                      <a:pt x="5461" y="1544"/>
                      <a:pt x="5457" y="1502"/>
                      <a:pt x="5452" y="1459"/>
                    </a:cubicBezTo>
                    <a:cubicBezTo>
                      <a:pt x="5441" y="1373"/>
                      <a:pt x="5409" y="1202"/>
                      <a:pt x="5393" y="1119"/>
                    </a:cubicBezTo>
                    <a:cubicBezTo>
                      <a:pt x="5645" y="1140"/>
                      <a:pt x="5967" y="1170"/>
                      <a:pt x="6174" y="1170"/>
                    </a:cubicBezTo>
                    <a:cubicBezTo>
                      <a:pt x="6217" y="1170"/>
                      <a:pt x="6255" y="1169"/>
                      <a:pt x="6288" y="1165"/>
                    </a:cubicBezTo>
                    <a:cubicBezTo>
                      <a:pt x="6322" y="1162"/>
                      <a:pt x="6349" y="1158"/>
                      <a:pt x="6377" y="1146"/>
                    </a:cubicBezTo>
                    <a:cubicBezTo>
                      <a:pt x="6430" y="1122"/>
                      <a:pt x="6463" y="1078"/>
                      <a:pt x="6484" y="1034"/>
                    </a:cubicBezTo>
                    <a:close/>
                    <a:moveTo>
                      <a:pt x="5121" y="869"/>
                    </a:moveTo>
                    <a:cubicBezTo>
                      <a:pt x="5207" y="875"/>
                      <a:pt x="5978" y="930"/>
                      <a:pt x="6366" y="958"/>
                    </a:cubicBezTo>
                    <a:cubicBezTo>
                      <a:pt x="6364" y="963"/>
                      <a:pt x="6361" y="968"/>
                      <a:pt x="6359" y="973"/>
                    </a:cubicBezTo>
                    <a:cubicBezTo>
                      <a:pt x="6345" y="1002"/>
                      <a:pt x="6332" y="1014"/>
                      <a:pt x="6321" y="1018"/>
                    </a:cubicBezTo>
                    <a:cubicBezTo>
                      <a:pt x="6320" y="1019"/>
                      <a:pt x="6301" y="1024"/>
                      <a:pt x="6275" y="1027"/>
                    </a:cubicBezTo>
                    <a:cubicBezTo>
                      <a:pt x="6249" y="1029"/>
                      <a:pt x="6214" y="1030"/>
                      <a:pt x="6174" y="1030"/>
                    </a:cubicBezTo>
                    <a:cubicBezTo>
                      <a:pt x="5906" y="1031"/>
                      <a:pt x="5406" y="975"/>
                      <a:pt x="5158" y="963"/>
                    </a:cubicBezTo>
                    <a:cubicBezTo>
                      <a:pt x="5079" y="960"/>
                      <a:pt x="4979" y="956"/>
                      <a:pt x="4868" y="956"/>
                    </a:cubicBezTo>
                    <a:cubicBezTo>
                      <a:pt x="4786" y="957"/>
                      <a:pt x="4697" y="958"/>
                      <a:pt x="4606" y="964"/>
                    </a:cubicBezTo>
                    <a:cubicBezTo>
                      <a:pt x="4814" y="932"/>
                      <a:pt x="5072" y="879"/>
                      <a:pt x="5121" y="869"/>
                    </a:cubicBezTo>
                    <a:close/>
                    <a:moveTo>
                      <a:pt x="4868" y="1096"/>
                    </a:moveTo>
                    <a:cubicBezTo>
                      <a:pt x="4976" y="1096"/>
                      <a:pt x="5074" y="1099"/>
                      <a:pt x="5152" y="1103"/>
                    </a:cubicBezTo>
                    <a:cubicBezTo>
                      <a:pt x="5210" y="1105"/>
                      <a:pt x="5284" y="1111"/>
                      <a:pt x="5366" y="1117"/>
                    </a:cubicBezTo>
                    <a:cubicBezTo>
                      <a:pt x="5381" y="1197"/>
                      <a:pt x="5415" y="1375"/>
                      <a:pt x="5426" y="1462"/>
                    </a:cubicBezTo>
                    <a:cubicBezTo>
                      <a:pt x="5431" y="1505"/>
                      <a:pt x="5435" y="1546"/>
                      <a:pt x="5435" y="1583"/>
                    </a:cubicBezTo>
                    <a:cubicBezTo>
                      <a:pt x="5435" y="1646"/>
                      <a:pt x="5423" y="1697"/>
                      <a:pt x="5390" y="1733"/>
                    </a:cubicBezTo>
                    <a:cubicBezTo>
                      <a:pt x="5332" y="1796"/>
                      <a:pt x="5194" y="1966"/>
                      <a:pt x="4958" y="2004"/>
                    </a:cubicBezTo>
                    <a:cubicBezTo>
                      <a:pt x="4747" y="2038"/>
                      <a:pt x="4301" y="2065"/>
                      <a:pt x="4188" y="2071"/>
                    </a:cubicBezTo>
                    <a:cubicBezTo>
                      <a:pt x="4185" y="2070"/>
                      <a:pt x="4185" y="2070"/>
                      <a:pt x="4185" y="2070"/>
                    </a:cubicBezTo>
                    <a:cubicBezTo>
                      <a:pt x="3850" y="1265"/>
                      <a:pt x="3850" y="1265"/>
                      <a:pt x="3850" y="1265"/>
                    </a:cubicBezTo>
                    <a:cubicBezTo>
                      <a:pt x="4128" y="1128"/>
                      <a:pt x="4546" y="1095"/>
                      <a:pt x="4868" y="1096"/>
                    </a:cubicBezTo>
                    <a:close/>
                    <a:moveTo>
                      <a:pt x="3804" y="1067"/>
                    </a:moveTo>
                    <a:cubicBezTo>
                      <a:pt x="3853" y="1033"/>
                      <a:pt x="3912" y="1000"/>
                      <a:pt x="3970" y="984"/>
                    </a:cubicBezTo>
                    <a:cubicBezTo>
                      <a:pt x="4001" y="976"/>
                      <a:pt x="4033" y="973"/>
                      <a:pt x="4069" y="973"/>
                    </a:cubicBezTo>
                    <a:cubicBezTo>
                      <a:pt x="4143" y="973"/>
                      <a:pt x="4233" y="987"/>
                      <a:pt x="4346" y="987"/>
                    </a:cubicBezTo>
                    <a:cubicBezTo>
                      <a:pt x="4152" y="1013"/>
                      <a:pt x="3960" y="1058"/>
                      <a:pt x="3796" y="1136"/>
                    </a:cubicBezTo>
                    <a:cubicBezTo>
                      <a:pt x="3788" y="1115"/>
                      <a:pt x="3788" y="1115"/>
                      <a:pt x="3788" y="1115"/>
                    </a:cubicBezTo>
                    <a:cubicBezTo>
                      <a:pt x="3779" y="1085"/>
                      <a:pt x="3779" y="1085"/>
                      <a:pt x="3779" y="1085"/>
                    </a:cubicBezTo>
                    <a:cubicBezTo>
                      <a:pt x="3787" y="1079"/>
                      <a:pt x="3795" y="1073"/>
                      <a:pt x="3804" y="1067"/>
                    </a:cubicBezTo>
                    <a:close/>
                    <a:moveTo>
                      <a:pt x="483" y="2919"/>
                    </a:moveTo>
                    <a:cubicBezTo>
                      <a:pt x="479" y="2918"/>
                      <a:pt x="460" y="2913"/>
                      <a:pt x="433" y="2906"/>
                    </a:cubicBezTo>
                    <a:cubicBezTo>
                      <a:pt x="441" y="2899"/>
                      <a:pt x="454" y="2889"/>
                      <a:pt x="466" y="2882"/>
                    </a:cubicBezTo>
                    <a:cubicBezTo>
                      <a:pt x="471" y="2878"/>
                      <a:pt x="477" y="2874"/>
                      <a:pt x="484" y="2871"/>
                    </a:cubicBezTo>
                    <a:cubicBezTo>
                      <a:pt x="483" y="2873"/>
                      <a:pt x="482" y="2874"/>
                      <a:pt x="481" y="2876"/>
                    </a:cubicBezTo>
                    <a:cubicBezTo>
                      <a:pt x="481" y="2877"/>
                      <a:pt x="480" y="2879"/>
                      <a:pt x="480" y="2881"/>
                    </a:cubicBezTo>
                    <a:cubicBezTo>
                      <a:pt x="481" y="2888"/>
                      <a:pt x="482" y="2888"/>
                      <a:pt x="482" y="2889"/>
                    </a:cubicBezTo>
                    <a:cubicBezTo>
                      <a:pt x="483" y="2890"/>
                      <a:pt x="483" y="2891"/>
                      <a:pt x="483" y="2891"/>
                    </a:cubicBezTo>
                    <a:cubicBezTo>
                      <a:pt x="484" y="2892"/>
                      <a:pt x="484" y="2892"/>
                      <a:pt x="484" y="2892"/>
                    </a:cubicBezTo>
                    <a:cubicBezTo>
                      <a:pt x="484" y="2893"/>
                      <a:pt x="485" y="2893"/>
                      <a:pt x="485" y="2894"/>
                    </a:cubicBezTo>
                    <a:cubicBezTo>
                      <a:pt x="486" y="2894"/>
                      <a:pt x="486" y="2895"/>
                      <a:pt x="487" y="2896"/>
                    </a:cubicBezTo>
                    <a:cubicBezTo>
                      <a:pt x="489" y="2898"/>
                      <a:pt x="491" y="2901"/>
                      <a:pt x="494" y="2905"/>
                    </a:cubicBezTo>
                    <a:cubicBezTo>
                      <a:pt x="496" y="2906"/>
                      <a:pt x="498" y="2909"/>
                      <a:pt x="499" y="2910"/>
                    </a:cubicBezTo>
                    <a:cubicBezTo>
                      <a:pt x="494" y="2913"/>
                      <a:pt x="489" y="2916"/>
                      <a:pt x="483" y="2919"/>
                    </a:cubicBezTo>
                    <a:close/>
                    <a:moveTo>
                      <a:pt x="609" y="2848"/>
                    </a:moveTo>
                    <a:cubicBezTo>
                      <a:pt x="608" y="2848"/>
                      <a:pt x="608" y="2848"/>
                      <a:pt x="608" y="2848"/>
                    </a:cubicBezTo>
                    <a:cubicBezTo>
                      <a:pt x="607" y="2849"/>
                      <a:pt x="607" y="2849"/>
                      <a:pt x="607" y="2849"/>
                    </a:cubicBezTo>
                    <a:cubicBezTo>
                      <a:pt x="600" y="2854"/>
                      <a:pt x="599" y="2854"/>
                      <a:pt x="533" y="2891"/>
                    </a:cubicBezTo>
                    <a:cubicBezTo>
                      <a:pt x="523" y="2880"/>
                      <a:pt x="516" y="2873"/>
                      <a:pt x="515" y="2871"/>
                    </a:cubicBezTo>
                    <a:cubicBezTo>
                      <a:pt x="514" y="2870"/>
                      <a:pt x="513" y="2869"/>
                      <a:pt x="513" y="2868"/>
                    </a:cubicBezTo>
                    <a:cubicBezTo>
                      <a:pt x="509" y="2864"/>
                      <a:pt x="505" y="2862"/>
                      <a:pt x="500" y="2862"/>
                    </a:cubicBezTo>
                    <a:cubicBezTo>
                      <a:pt x="503" y="2860"/>
                      <a:pt x="506" y="2859"/>
                      <a:pt x="506" y="2859"/>
                    </a:cubicBezTo>
                    <a:cubicBezTo>
                      <a:pt x="507" y="2859"/>
                      <a:pt x="507" y="2859"/>
                      <a:pt x="507" y="2859"/>
                    </a:cubicBezTo>
                    <a:cubicBezTo>
                      <a:pt x="1341" y="2412"/>
                      <a:pt x="1341" y="2412"/>
                      <a:pt x="1341" y="2412"/>
                    </a:cubicBezTo>
                    <a:cubicBezTo>
                      <a:pt x="2234" y="1929"/>
                      <a:pt x="2234" y="1929"/>
                      <a:pt x="2234" y="1929"/>
                    </a:cubicBezTo>
                    <a:cubicBezTo>
                      <a:pt x="2235" y="1930"/>
                      <a:pt x="2235" y="1930"/>
                      <a:pt x="2235" y="1930"/>
                    </a:cubicBezTo>
                    <a:cubicBezTo>
                      <a:pt x="2234" y="1929"/>
                      <a:pt x="2244" y="1924"/>
                      <a:pt x="2261" y="1915"/>
                    </a:cubicBezTo>
                    <a:cubicBezTo>
                      <a:pt x="2263" y="1913"/>
                      <a:pt x="2263" y="1913"/>
                      <a:pt x="2263" y="1913"/>
                    </a:cubicBezTo>
                    <a:cubicBezTo>
                      <a:pt x="2263" y="1913"/>
                      <a:pt x="2263" y="1913"/>
                      <a:pt x="2263" y="1913"/>
                    </a:cubicBezTo>
                    <a:cubicBezTo>
                      <a:pt x="2449" y="1812"/>
                      <a:pt x="3491" y="1265"/>
                      <a:pt x="3664" y="1168"/>
                    </a:cubicBezTo>
                    <a:cubicBezTo>
                      <a:pt x="3678" y="1160"/>
                      <a:pt x="3684" y="1157"/>
                      <a:pt x="3693" y="1151"/>
                    </a:cubicBezTo>
                    <a:cubicBezTo>
                      <a:pt x="3706" y="1141"/>
                      <a:pt x="3723" y="1127"/>
                      <a:pt x="3744" y="1111"/>
                    </a:cubicBezTo>
                    <a:cubicBezTo>
                      <a:pt x="3745" y="1112"/>
                      <a:pt x="3747" y="1113"/>
                      <a:pt x="3748" y="1115"/>
                    </a:cubicBezTo>
                    <a:cubicBezTo>
                      <a:pt x="3764" y="1152"/>
                      <a:pt x="3764" y="1152"/>
                      <a:pt x="3764" y="1152"/>
                    </a:cubicBezTo>
                    <a:cubicBezTo>
                      <a:pt x="3567" y="1252"/>
                      <a:pt x="2920" y="1610"/>
                      <a:pt x="2275" y="1958"/>
                    </a:cubicBezTo>
                    <a:cubicBezTo>
                      <a:pt x="1446" y="2405"/>
                      <a:pt x="609" y="2848"/>
                      <a:pt x="609" y="2848"/>
                    </a:cubicBezTo>
                    <a:close/>
                    <a:moveTo>
                      <a:pt x="1096" y="3544"/>
                    </a:moveTo>
                    <a:cubicBezTo>
                      <a:pt x="949" y="3375"/>
                      <a:pt x="773" y="3170"/>
                      <a:pt x="653" y="3031"/>
                    </a:cubicBezTo>
                    <a:cubicBezTo>
                      <a:pt x="643" y="3020"/>
                      <a:pt x="634" y="3010"/>
                      <a:pt x="626" y="3000"/>
                    </a:cubicBezTo>
                    <a:cubicBezTo>
                      <a:pt x="652" y="2984"/>
                      <a:pt x="672" y="2972"/>
                      <a:pt x="676" y="2970"/>
                    </a:cubicBezTo>
                    <a:cubicBezTo>
                      <a:pt x="690" y="2962"/>
                      <a:pt x="859" y="2870"/>
                      <a:pt x="1114" y="2732"/>
                    </a:cubicBezTo>
                    <a:cubicBezTo>
                      <a:pt x="1380" y="2589"/>
                      <a:pt x="1721" y="2405"/>
                      <a:pt x="2092" y="2204"/>
                    </a:cubicBezTo>
                    <a:cubicBezTo>
                      <a:pt x="2114" y="2184"/>
                      <a:pt x="2114" y="2184"/>
                      <a:pt x="2114" y="2184"/>
                    </a:cubicBezTo>
                    <a:cubicBezTo>
                      <a:pt x="2829" y="1797"/>
                      <a:pt x="3589" y="1397"/>
                      <a:pt x="3817" y="1281"/>
                    </a:cubicBezTo>
                    <a:cubicBezTo>
                      <a:pt x="4025" y="1781"/>
                      <a:pt x="4025" y="1781"/>
                      <a:pt x="4025" y="1781"/>
                    </a:cubicBezTo>
                    <a:cubicBezTo>
                      <a:pt x="4018" y="1786"/>
                      <a:pt x="4010" y="1792"/>
                      <a:pt x="4006" y="1796"/>
                    </a:cubicBezTo>
                    <a:cubicBezTo>
                      <a:pt x="3952" y="1810"/>
                      <a:pt x="3845" y="1839"/>
                      <a:pt x="3741" y="1872"/>
                    </a:cubicBezTo>
                    <a:cubicBezTo>
                      <a:pt x="3597" y="1917"/>
                      <a:pt x="3520" y="1971"/>
                      <a:pt x="3476" y="2028"/>
                    </a:cubicBezTo>
                    <a:cubicBezTo>
                      <a:pt x="3432" y="2086"/>
                      <a:pt x="3422" y="2146"/>
                      <a:pt x="3408" y="2198"/>
                    </a:cubicBezTo>
                    <a:cubicBezTo>
                      <a:pt x="3379" y="2307"/>
                      <a:pt x="3368" y="2528"/>
                      <a:pt x="3284" y="2643"/>
                    </a:cubicBezTo>
                    <a:cubicBezTo>
                      <a:pt x="3241" y="2704"/>
                      <a:pt x="3223" y="2721"/>
                      <a:pt x="3177" y="2746"/>
                    </a:cubicBezTo>
                    <a:cubicBezTo>
                      <a:pt x="3131" y="2771"/>
                      <a:pt x="3056" y="2803"/>
                      <a:pt x="2906" y="2886"/>
                    </a:cubicBezTo>
                    <a:cubicBezTo>
                      <a:pt x="2748" y="2974"/>
                      <a:pt x="2580" y="2993"/>
                      <a:pt x="2465" y="2993"/>
                    </a:cubicBezTo>
                    <a:cubicBezTo>
                      <a:pt x="2376" y="2993"/>
                      <a:pt x="2335" y="2982"/>
                      <a:pt x="2336" y="2982"/>
                    </a:cubicBezTo>
                    <a:cubicBezTo>
                      <a:pt x="2334" y="2982"/>
                      <a:pt x="2334" y="2982"/>
                      <a:pt x="2334" y="2982"/>
                    </a:cubicBezTo>
                    <a:cubicBezTo>
                      <a:pt x="2298" y="2976"/>
                      <a:pt x="2210" y="2958"/>
                      <a:pt x="2155" y="2935"/>
                    </a:cubicBezTo>
                    <a:cubicBezTo>
                      <a:pt x="2118" y="2919"/>
                      <a:pt x="2082" y="2892"/>
                      <a:pt x="2055" y="2868"/>
                    </a:cubicBezTo>
                    <a:cubicBezTo>
                      <a:pt x="2029" y="2845"/>
                      <a:pt x="2012" y="2826"/>
                      <a:pt x="2012" y="2826"/>
                    </a:cubicBezTo>
                    <a:cubicBezTo>
                      <a:pt x="2006" y="2819"/>
                      <a:pt x="2006" y="2819"/>
                      <a:pt x="2006" y="2819"/>
                    </a:cubicBezTo>
                    <a:cubicBezTo>
                      <a:pt x="1624" y="2980"/>
                      <a:pt x="1624" y="2980"/>
                      <a:pt x="1624" y="2980"/>
                    </a:cubicBezTo>
                    <a:cubicBezTo>
                      <a:pt x="1366" y="2761"/>
                      <a:pt x="1366" y="2761"/>
                      <a:pt x="1366" y="2761"/>
                    </a:cubicBezTo>
                    <a:cubicBezTo>
                      <a:pt x="1351" y="2780"/>
                      <a:pt x="1351" y="2780"/>
                      <a:pt x="1351" y="2780"/>
                    </a:cubicBezTo>
                    <a:cubicBezTo>
                      <a:pt x="1610" y="3000"/>
                      <a:pt x="1610" y="3000"/>
                      <a:pt x="1610" y="3000"/>
                    </a:cubicBezTo>
                    <a:cubicBezTo>
                      <a:pt x="1608" y="3032"/>
                      <a:pt x="1592" y="3200"/>
                      <a:pt x="1592" y="3201"/>
                    </a:cubicBezTo>
                    <a:cubicBezTo>
                      <a:pt x="1592" y="3201"/>
                      <a:pt x="1592" y="3201"/>
                      <a:pt x="1592" y="3201"/>
                    </a:cubicBezTo>
                    <a:cubicBezTo>
                      <a:pt x="1616" y="3203"/>
                      <a:pt x="1616" y="3203"/>
                      <a:pt x="1616" y="3203"/>
                    </a:cubicBezTo>
                    <a:cubicBezTo>
                      <a:pt x="1616" y="3202"/>
                      <a:pt x="1632" y="3041"/>
                      <a:pt x="1634" y="3003"/>
                    </a:cubicBezTo>
                    <a:cubicBezTo>
                      <a:pt x="1999" y="2848"/>
                      <a:pt x="1999" y="2848"/>
                      <a:pt x="1999" y="2848"/>
                    </a:cubicBezTo>
                    <a:cubicBezTo>
                      <a:pt x="2018" y="2868"/>
                      <a:pt x="2077" y="2929"/>
                      <a:pt x="2146" y="2957"/>
                    </a:cubicBezTo>
                    <a:cubicBezTo>
                      <a:pt x="2196" y="2978"/>
                      <a:pt x="2268" y="2994"/>
                      <a:pt x="2308" y="3003"/>
                    </a:cubicBezTo>
                    <a:cubicBezTo>
                      <a:pt x="2199" y="3546"/>
                      <a:pt x="2199" y="3546"/>
                      <a:pt x="2199" y="3546"/>
                    </a:cubicBezTo>
                    <a:cubicBezTo>
                      <a:pt x="2223" y="3551"/>
                      <a:pt x="2223" y="3551"/>
                      <a:pt x="2223" y="3551"/>
                    </a:cubicBezTo>
                    <a:cubicBezTo>
                      <a:pt x="2332" y="3007"/>
                      <a:pt x="2332" y="3007"/>
                      <a:pt x="2332" y="3007"/>
                    </a:cubicBezTo>
                    <a:cubicBezTo>
                      <a:pt x="2336" y="3008"/>
                      <a:pt x="2339" y="3008"/>
                      <a:pt x="2339" y="3008"/>
                    </a:cubicBezTo>
                    <a:cubicBezTo>
                      <a:pt x="2339" y="3009"/>
                      <a:pt x="2339" y="3009"/>
                      <a:pt x="2339" y="3009"/>
                    </a:cubicBezTo>
                    <a:cubicBezTo>
                      <a:pt x="2362" y="3013"/>
                      <a:pt x="2405" y="3019"/>
                      <a:pt x="2465" y="3019"/>
                    </a:cubicBezTo>
                    <a:cubicBezTo>
                      <a:pt x="2583" y="3019"/>
                      <a:pt x="2755" y="2999"/>
                      <a:pt x="2919" y="2909"/>
                    </a:cubicBezTo>
                    <a:cubicBezTo>
                      <a:pt x="3069" y="2826"/>
                      <a:pt x="3141" y="2795"/>
                      <a:pt x="3190" y="2769"/>
                    </a:cubicBezTo>
                    <a:cubicBezTo>
                      <a:pt x="3238" y="2743"/>
                      <a:pt x="3262" y="2719"/>
                      <a:pt x="3306" y="2659"/>
                    </a:cubicBezTo>
                    <a:cubicBezTo>
                      <a:pt x="3396" y="2532"/>
                      <a:pt x="3405" y="2309"/>
                      <a:pt x="3433" y="2205"/>
                    </a:cubicBezTo>
                    <a:cubicBezTo>
                      <a:pt x="3448" y="2151"/>
                      <a:pt x="3457" y="2096"/>
                      <a:pt x="3497" y="2044"/>
                    </a:cubicBezTo>
                    <a:cubicBezTo>
                      <a:pt x="3537" y="1992"/>
                      <a:pt x="3608" y="1941"/>
                      <a:pt x="3749" y="1897"/>
                    </a:cubicBezTo>
                    <a:cubicBezTo>
                      <a:pt x="3863" y="1861"/>
                      <a:pt x="3981" y="1830"/>
                      <a:pt x="4027" y="1818"/>
                    </a:cubicBezTo>
                    <a:cubicBezTo>
                      <a:pt x="4032" y="1818"/>
                      <a:pt x="4037" y="1819"/>
                      <a:pt x="4042" y="1819"/>
                    </a:cubicBezTo>
                    <a:cubicBezTo>
                      <a:pt x="4156" y="2094"/>
                      <a:pt x="4156" y="2094"/>
                      <a:pt x="4156" y="2094"/>
                    </a:cubicBezTo>
                    <a:cubicBezTo>
                      <a:pt x="4587" y="3034"/>
                      <a:pt x="4587" y="3034"/>
                      <a:pt x="4587" y="3034"/>
                    </a:cubicBezTo>
                    <a:cubicBezTo>
                      <a:pt x="3982" y="3193"/>
                      <a:pt x="3250" y="3434"/>
                      <a:pt x="3184" y="3461"/>
                    </a:cubicBezTo>
                    <a:cubicBezTo>
                      <a:pt x="3181" y="3463"/>
                      <a:pt x="3180" y="3462"/>
                      <a:pt x="3175" y="3466"/>
                    </a:cubicBezTo>
                    <a:cubicBezTo>
                      <a:pt x="3175" y="3466"/>
                      <a:pt x="3174" y="3467"/>
                      <a:pt x="3173" y="3468"/>
                    </a:cubicBezTo>
                    <a:cubicBezTo>
                      <a:pt x="3172" y="3468"/>
                      <a:pt x="3172" y="3468"/>
                      <a:pt x="3171" y="3468"/>
                    </a:cubicBezTo>
                    <a:cubicBezTo>
                      <a:pt x="3166" y="3471"/>
                      <a:pt x="3158" y="3474"/>
                      <a:pt x="3148" y="3477"/>
                    </a:cubicBezTo>
                    <a:cubicBezTo>
                      <a:pt x="3127" y="3485"/>
                      <a:pt x="3098" y="3496"/>
                      <a:pt x="3066" y="3510"/>
                    </a:cubicBezTo>
                    <a:cubicBezTo>
                      <a:pt x="3010" y="3535"/>
                      <a:pt x="2954" y="3571"/>
                      <a:pt x="2899" y="3618"/>
                    </a:cubicBezTo>
                    <a:cubicBezTo>
                      <a:pt x="2898" y="3616"/>
                      <a:pt x="2898" y="3616"/>
                      <a:pt x="2898" y="3616"/>
                    </a:cubicBezTo>
                    <a:cubicBezTo>
                      <a:pt x="2898" y="3616"/>
                      <a:pt x="2892" y="3621"/>
                      <a:pt x="2883" y="3629"/>
                    </a:cubicBezTo>
                    <a:cubicBezTo>
                      <a:pt x="2849" y="3621"/>
                      <a:pt x="2677" y="3581"/>
                      <a:pt x="2462" y="3569"/>
                    </a:cubicBezTo>
                    <a:cubicBezTo>
                      <a:pt x="2365" y="3563"/>
                      <a:pt x="2282" y="3560"/>
                      <a:pt x="2211" y="3560"/>
                    </a:cubicBezTo>
                    <a:cubicBezTo>
                      <a:pt x="2108" y="3560"/>
                      <a:pt x="2029" y="3566"/>
                      <a:pt x="1966" y="3580"/>
                    </a:cubicBezTo>
                    <a:cubicBezTo>
                      <a:pt x="1860" y="3604"/>
                      <a:pt x="1626" y="3699"/>
                      <a:pt x="1543" y="3735"/>
                    </a:cubicBezTo>
                    <a:cubicBezTo>
                      <a:pt x="1527" y="3742"/>
                      <a:pt x="1510" y="3750"/>
                      <a:pt x="1493" y="3758"/>
                    </a:cubicBezTo>
                    <a:cubicBezTo>
                      <a:pt x="1473" y="3737"/>
                      <a:pt x="1351" y="3603"/>
                      <a:pt x="1301" y="3545"/>
                    </a:cubicBezTo>
                    <a:cubicBezTo>
                      <a:pt x="1247" y="3481"/>
                      <a:pt x="1227" y="3444"/>
                      <a:pt x="1198" y="3395"/>
                    </a:cubicBezTo>
                    <a:cubicBezTo>
                      <a:pt x="1184" y="3372"/>
                      <a:pt x="1111" y="3242"/>
                      <a:pt x="1041" y="3119"/>
                    </a:cubicBezTo>
                    <a:cubicBezTo>
                      <a:pt x="991" y="3031"/>
                      <a:pt x="928" y="2920"/>
                      <a:pt x="910" y="2887"/>
                    </a:cubicBezTo>
                    <a:cubicBezTo>
                      <a:pt x="876" y="2905"/>
                      <a:pt x="876" y="2905"/>
                      <a:pt x="876" y="2905"/>
                    </a:cubicBezTo>
                    <a:cubicBezTo>
                      <a:pt x="919" y="2981"/>
                      <a:pt x="1139" y="3370"/>
                      <a:pt x="1166" y="3415"/>
                    </a:cubicBezTo>
                    <a:cubicBezTo>
                      <a:pt x="1194" y="3463"/>
                      <a:pt x="1216" y="3504"/>
                      <a:pt x="1272" y="3569"/>
                    </a:cubicBezTo>
                    <a:cubicBezTo>
                      <a:pt x="1318" y="3624"/>
                      <a:pt x="1424" y="3739"/>
                      <a:pt x="1457" y="3775"/>
                    </a:cubicBezTo>
                    <a:cubicBezTo>
                      <a:pt x="1403" y="3802"/>
                      <a:pt x="1354" y="3827"/>
                      <a:pt x="1345" y="3831"/>
                    </a:cubicBezTo>
                    <a:cubicBezTo>
                      <a:pt x="1310" y="3791"/>
                      <a:pt x="1212" y="3679"/>
                      <a:pt x="1096" y="3544"/>
                    </a:cubicBezTo>
                    <a:close/>
                    <a:moveTo>
                      <a:pt x="2227" y="4552"/>
                    </a:moveTo>
                    <a:cubicBezTo>
                      <a:pt x="2190" y="4552"/>
                      <a:pt x="2097" y="4548"/>
                      <a:pt x="2014" y="4512"/>
                    </a:cubicBezTo>
                    <a:cubicBezTo>
                      <a:pt x="1963" y="4490"/>
                      <a:pt x="1915" y="4458"/>
                      <a:pt x="1881" y="4432"/>
                    </a:cubicBezTo>
                    <a:cubicBezTo>
                      <a:pt x="1849" y="4407"/>
                      <a:pt x="1829" y="4387"/>
                      <a:pt x="1826" y="4385"/>
                    </a:cubicBezTo>
                    <a:cubicBezTo>
                      <a:pt x="1370" y="3861"/>
                      <a:pt x="1370" y="3861"/>
                      <a:pt x="1370" y="3861"/>
                    </a:cubicBezTo>
                    <a:cubicBezTo>
                      <a:pt x="1373" y="3859"/>
                      <a:pt x="1376" y="3858"/>
                      <a:pt x="1380" y="3856"/>
                    </a:cubicBezTo>
                    <a:cubicBezTo>
                      <a:pt x="1393" y="3850"/>
                      <a:pt x="1410" y="3841"/>
                      <a:pt x="1430" y="3831"/>
                    </a:cubicBezTo>
                    <a:cubicBezTo>
                      <a:pt x="1469" y="3812"/>
                      <a:pt x="1518" y="3788"/>
                      <a:pt x="1558" y="3770"/>
                    </a:cubicBezTo>
                    <a:cubicBezTo>
                      <a:pt x="1638" y="3734"/>
                      <a:pt x="1875" y="3639"/>
                      <a:pt x="1974" y="3617"/>
                    </a:cubicBezTo>
                    <a:cubicBezTo>
                      <a:pt x="2033" y="3604"/>
                      <a:pt x="2109" y="3598"/>
                      <a:pt x="2211" y="3598"/>
                    </a:cubicBezTo>
                    <a:cubicBezTo>
                      <a:pt x="2281" y="3598"/>
                      <a:pt x="2363" y="3601"/>
                      <a:pt x="2460" y="3606"/>
                    </a:cubicBezTo>
                    <a:cubicBezTo>
                      <a:pt x="2578" y="3613"/>
                      <a:pt x="2681" y="3627"/>
                      <a:pt x="2754" y="3640"/>
                    </a:cubicBezTo>
                    <a:cubicBezTo>
                      <a:pt x="2797" y="3648"/>
                      <a:pt x="2830" y="3655"/>
                      <a:pt x="2849" y="3660"/>
                    </a:cubicBezTo>
                    <a:cubicBezTo>
                      <a:pt x="2804" y="3701"/>
                      <a:pt x="2734" y="3769"/>
                      <a:pt x="2675" y="3843"/>
                    </a:cubicBezTo>
                    <a:cubicBezTo>
                      <a:pt x="2670" y="3850"/>
                      <a:pt x="2666" y="3856"/>
                      <a:pt x="2661" y="3862"/>
                    </a:cubicBezTo>
                    <a:cubicBezTo>
                      <a:pt x="2656" y="3862"/>
                      <a:pt x="2649" y="3862"/>
                      <a:pt x="2640" y="3862"/>
                    </a:cubicBezTo>
                    <a:cubicBezTo>
                      <a:pt x="2622" y="3862"/>
                      <a:pt x="2599" y="3862"/>
                      <a:pt x="2575" y="3862"/>
                    </a:cubicBezTo>
                    <a:cubicBezTo>
                      <a:pt x="2527" y="3862"/>
                      <a:pt x="2482" y="3862"/>
                      <a:pt x="2482" y="3862"/>
                    </a:cubicBezTo>
                    <a:cubicBezTo>
                      <a:pt x="2482" y="3887"/>
                      <a:pt x="2482" y="3887"/>
                      <a:pt x="2482" y="3887"/>
                    </a:cubicBezTo>
                    <a:cubicBezTo>
                      <a:pt x="2482" y="3887"/>
                      <a:pt x="2527" y="3887"/>
                      <a:pt x="2575" y="3887"/>
                    </a:cubicBezTo>
                    <a:cubicBezTo>
                      <a:pt x="2600" y="3887"/>
                      <a:pt x="2624" y="3887"/>
                      <a:pt x="2642" y="3887"/>
                    </a:cubicBezTo>
                    <a:cubicBezTo>
                      <a:pt x="2605" y="3935"/>
                      <a:pt x="2574" y="3980"/>
                      <a:pt x="2545" y="4027"/>
                    </a:cubicBezTo>
                    <a:cubicBezTo>
                      <a:pt x="2514" y="4075"/>
                      <a:pt x="2484" y="4125"/>
                      <a:pt x="2449" y="4191"/>
                    </a:cubicBezTo>
                    <a:cubicBezTo>
                      <a:pt x="2382" y="4318"/>
                      <a:pt x="2322" y="4453"/>
                      <a:pt x="2284" y="4553"/>
                    </a:cubicBezTo>
                    <a:cubicBezTo>
                      <a:pt x="2266" y="4553"/>
                      <a:pt x="2245" y="4552"/>
                      <a:pt x="2227" y="4552"/>
                    </a:cubicBezTo>
                    <a:close/>
                    <a:moveTo>
                      <a:pt x="2053" y="5050"/>
                    </a:moveTo>
                    <a:cubicBezTo>
                      <a:pt x="2172" y="4892"/>
                      <a:pt x="2264" y="4735"/>
                      <a:pt x="2265" y="4735"/>
                    </a:cubicBezTo>
                    <a:cubicBezTo>
                      <a:pt x="2267" y="4731"/>
                      <a:pt x="2267" y="4731"/>
                      <a:pt x="2267" y="4731"/>
                    </a:cubicBezTo>
                    <a:cubicBezTo>
                      <a:pt x="2267" y="4727"/>
                      <a:pt x="2267" y="4727"/>
                      <a:pt x="2267" y="4727"/>
                    </a:cubicBezTo>
                    <a:cubicBezTo>
                      <a:pt x="2267" y="4727"/>
                      <a:pt x="2267" y="4726"/>
                      <a:pt x="2268" y="4725"/>
                    </a:cubicBezTo>
                    <a:cubicBezTo>
                      <a:pt x="2268" y="4722"/>
                      <a:pt x="2269" y="4717"/>
                      <a:pt x="2272" y="4709"/>
                    </a:cubicBezTo>
                    <a:cubicBezTo>
                      <a:pt x="2276" y="4692"/>
                      <a:pt x="2285" y="4663"/>
                      <a:pt x="2303" y="4613"/>
                    </a:cubicBezTo>
                    <a:cubicBezTo>
                      <a:pt x="2306" y="4604"/>
                      <a:pt x="2309" y="4595"/>
                      <a:pt x="2312" y="4586"/>
                    </a:cubicBezTo>
                    <a:cubicBezTo>
                      <a:pt x="2313" y="4586"/>
                      <a:pt x="2313" y="4586"/>
                      <a:pt x="2313" y="4586"/>
                    </a:cubicBezTo>
                    <a:cubicBezTo>
                      <a:pt x="2313" y="4587"/>
                      <a:pt x="2313" y="4587"/>
                      <a:pt x="2313" y="4587"/>
                    </a:cubicBezTo>
                    <a:cubicBezTo>
                      <a:pt x="2513" y="4571"/>
                      <a:pt x="2513" y="4571"/>
                      <a:pt x="2513" y="4571"/>
                    </a:cubicBezTo>
                    <a:cubicBezTo>
                      <a:pt x="2694" y="4519"/>
                      <a:pt x="2694" y="4519"/>
                      <a:pt x="2694" y="4519"/>
                    </a:cubicBezTo>
                    <a:cubicBezTo>
                      <a:pt x="2785" y="4430"/>
                      <a:pt x="2785" y="4430"/>
                      <a:pt x="2785" y="4430"/>
                    </a:cubicBezTo>
                    <a:cubicBezTo>
                      <a:pt x="2885" y="4542"/>
                      <a:pt x="2885" y="4542"/>
                      <a:pt x="2885" y="4542"/>
                    </a:cubicBezTo>
                    <a:cubicBezTo>
                      <a:pt x="3232" y="4663"/>
                      <a:pt x="3232" y="4663"/>
                      <a:pt x="3232" y="4663"/>
                    </a:cubicBezTo>
                    <a:cubicBezTo>
                      <a:pt x="3375" y="4736"/>
                      <a:pt x="3375" y="4736"/>
                      <a:pt x="3375" y="4736"/>
                    </a:cubicBezTo>
                    <a:cubicBezTo>
                      <a:pt x="3593" y="5012"/>
                      <a:pt x="3593" y="5012"/>
                      <a:pt x="3593" y="5012"/>
                    </a:cubicBezTo>
                    <a:cubicBezTo>
                      <a:pt x="3789" y="5211"/>
                      <a:pt x="3789" y="5211"/>
                      <a:pt x="3789" y="5211"/>
                    </a:cubicBezTo>
                    <a:cubicBezTo>
                      <a:pt x="3872" y="5484"/>
                      <a:pt x="3872" y="5484"/>
                      <a:pt x="3872" y="5484"/>
                    </a:cubicBezTo>
                    <a:cubicBezTo>
                      <a:pt x="3838" y="5511"/>
                      <a:pt x="3774" y="5537"/>
                      <a:pt x="3718" y="5555"/>
                    </a:cubicBezTo>
                    <a:cubicBezTo>
                      <a:pt x="3666" y="5572"/>
                      <a:pt x="3614" y="5586"/>
                      <a:pt x="3603" y="5589"/>
                    </a:cubicBezTo>
                    <a:cubicBezTo>
                      <a:pt x="3590" y="5571"/>
                      <a:pt x="3575" y="5554"/>
                      <a:pt x="3558" y="5538"/>
                    </a:cubicBezTo>
                    <a:cubicBezTo>
                      <a:pt x="3481" y="5463"/>
                      <a:pt x="3304" y="5339"/>
                      <a:pt x="3152" y="5293"/>
                    </a:cubicBezTo>
                    <a:cubicBezTo>
                      <a:pt x="3004" y="5249"/>
                      <a:pt x="2870" y="5204"/>
                      <a:pt x="2628" y="5180"/>
                    </a:cubicBezTo>
                    <a:cubicBezTo>
                      <a:pt x="2473" y="5165"/>
                      <a:pt x="2378" y="5155"/>
                      <a:pt x="2328" y="5150"/>
                    </a:cubicBezTo>
                    <a:cubicBezTo>
                      <a:pt x="2319" y="5149"/>
                      <a:pt x="2319" y="5149"/>
                      <a:pt x="2319" y="5149"/>
                    </a:cubicBezTo>
                    <a:cubicBezTo>
                      <a:pt x="2319" y="5149"/>
                      <a:pt x="2112" y="5129"/>
                      <a:pt x="2002" y="5119"/>
                    </a:cubicBezTo>
                    <a:cubicBezTo>
                      <a:pt x="2020" y="5096"/>
                      <a:pt x="2037" y="5071"/>
                      <a:pt x="2053" y="5050"/>
                    </a:cubicBezTo>
                    <a:close/>
                    <a:moveTo>
                      <a:pt x="1984" y="5142"/>
                    </a:moveTo>
                    <a:cubicBezTo>
                      <a:pt x="2071" y="5150"/>
                      <a:pt x="2246" y="5166"/>
                      <a:pt x="2300" y="5172"/>
                    </a:cubicBezTo>
                    <a:cubicBezTo>
                      <a:pt x="2337" y="5176"/>
                      <a:pt x="2438" y="5187"/>
                      <a:pt x="2625" y="5206"/>
                    </a:cubicBezTo>
                    <a:cubicBezTo>
                      <a:pt x="2865" y="5230"/>
                      <a:pt x="2995" y="5274"/>
                      <a:pt x="3145" y="5318"/>
                    </a:cubicBezTo>
                    <a:cubicBezTo>
                      <a:pt x="3290" y="5362"/>
                      <a:pt x="3466" y="5485"/>
                      <a:pt x="3539" y="5556"/>
                    </a:cubicBezTo>
                    <a:cubicBezTo>
                      <a:pt x="3592" y="5608"/>
                      <a:pt x="3625" y="5658"/>
                      <a:pt x="3625" y="5727"/>
                    </a:cubicBezTo>
                    <a:cubicBezTo>
                      <a:pt x="3625" y="5756"/>
                      <a:pt x="3619" y="5788"/>
                      <a:pt x="3606" y="5825"/>
                    </a:cubicBezTo>
                    <a:cubicBezTo>
                      <a:pt x="3585" y="5886"/>
                      <a:pt x="3523" y="5943"/>
                      <a:pt x="3465" y="5984"/>
                    </a:cubicBezTo>
                    <a:cubicBezTo>
                      <a:pt x="3411" y="6023"/>
                      <a:pt x="3363" y="6047"/>
                      <a:pt x="3357" y="6050"/>
                    </a:cubicBezTo>
                    <a:cubicBezTo>
                      <a:pt x="3268" y="6083"/>
                      <a:pt x="3066" y="6098"/>
                      <a:pt x="2956" y="6137"/>
                    </a:cubicBezTo>
                    <a:cubicBezTo>
                      <a:pt x="2894" y="6159"/>
                      <a:pt x="2842" y="6177"/>
                      <a:pt x="2811" y="6225"/>
                    </a:cubicBezTo>
                    <a:cubicBezTo>
                      <a:pt x="2759" y="6308"/>
                      <a:pt x="2728" y="6431"/>
                      <a:pt x="2714" y="6499"/>
                    </a:cubicBezTo>
                    <a:cubicBezTo>
                      <a:pt x="2713" y="6498"/>
                      <a:pt x="2713" y="6498"/>
                      <a:pt x="2713" y="6498"/>
                    </a:cubicBezTo>
                    <a:cubicBezTo>
                      <a:pt x="2713" y="6498"/>
                      <a:pt x="2713" y="6501"/>
                      <a:pt x="2713" y="6504"/>
                    </a:cubicBezTo>
                    <a:cubicBezTo>
                      <a:pt x="2711" y="6510"/>
                      <a:pt x="2710" y="6516"/>
                      <a:pt x="2709" y="6522"/>
                    </a:cubicBezTo>
                    <a:cubicBezTo>
                      <a:pt x="2709" y="6522"/>
                      <a:pt x="2709" y="6522"/>
                      <a:pt x="2709" y="6522"/>
                    </a:cubicBezTo>
                    <a:cubicBezTo>
                      <a:pt x="1908" y="6231"/>
                      <a:pt x="1908" y="6231"/>
                      <a:pt x="1908" y="6231"/>
                    </a:cubicBezTo>
                    <a:cubicBezTo>
                      <a:pt x="1908" y="6231"/>
                      <a:pt x="1908" y="6231"/>
                      <a:pt x="1908" y="6231"/>
                    </a:cubicBezTo>
                    <a:cubicBezTo>
                      <a:pt x="1662" y="6143"/>
                      <a:pt x="1662" y="6143"/>
                      <a:pt x="1662" y="6143"/>
                    </a:cubicBezTo>
                    <a:cubicBezTo>
                      <a:pt x="1595" y="5667"/>
                      <a:pt x="1595" y="5667"/>
                      <a:pt x="1595" y="5667"/>
                    </a:cubicBezTo>
                    <a:cubicBezTo>
                      <a:pt x="1562" y="5650"/>
                      <a:pt x="1562" y="5650"/>
                      <a:pt x="1562" y="5650"/>
                    </a:cubicBezTo>
                    <a:cubicBezTo>
                      <a:pt x="1601" y="5604"/>
                      <a:pt x="1721" y="5463"/>
                      <a:pt x="1833" y="5328"/>
                    </a:cubicBezTo>
                    <a:cubicBezTo>
                      <a:pt x="1890" y="5261"/>
                      <a:pt x="1941" y="5193"/>
                      <a:pt x="1984" y="5142"/>
                    </a:cubicBezTo>
                    <a:close/>
                    <a:moveTo>
                      <a:pt x="671" y="5776"/>
                    </a:moveTo>
                    <a:cubicBezTo>
                      <a:pt x="670" y="5759"/>
                      <a:pt x="668" y="5742"/>
                      <a:pt x="664" y="5723"/>
                    </a:cubicBezTo>
                    <a:cubicBezTo>
                      <a:pt x="673" y="5721"/>
                      <a:pt x="686" y="5718"/>
                      <a:pt x="702" y="5714"/>
                    </a:cubicBezTo>
                    <a:cubicBezTo>
                      <a:pt x="733" y="5707"/>
                      <a:pt x="772" y="5699"/>
                      <a:pt x="815" y="5690"/>
                    </a:cubicBezTo>
                    <a:cubicBezTo>
                      <a:pt x="815" y="5690"/>
                      <a:pt x="931" y="5666"/>
                      <a:pt x="969" y="5658"/>
                    </a:cubicBezTo>
                    <a:cubicBezTo>
                      <a:pt x="969" y="5658"/>
                      <a:pt x="969" y="5658"/>
                      <a:pt x="969" y="5658"/>
                    </a:cubicBezTo>
                    <a:cubicBezTo>
                      <a:pt x="969" y="5658"/>
                      <a:pt x="980" y="5656"/>
                      <a:pt x="985" y="5654"/>
                    </a:cubicBezTo>
                    <a:cubicBezTo>
                      <a:pt x="995" y="5652"/>
                      <a:pt x="1010" y="5649"/>
                      <a:pt x="1027" y="5645"/>
                    </a:cubicBezTo>
                    <a:cubicBezTo>
                      <a:pt x="1061" y="5637"/>
                      <a:pt x="1107" y="5627"/>
                      <a:pt x="1153" y="5617"/>
                    </a:cubicBezTo>
                    <a:cubicBezTo>
                      <a:pt x="1230" y="5599"/>
                      <a:pt x="1307" y="5583"/>
                      <a:pt x="1329" y="5578"/>
                    </a:cubicBezTo>
                    <a:cubicBezTo>
                      <a:pt x="1561" y="5692"/>
                      <a:pt x="1561" y="5692"/>
                      <a:pt x="1561" y="5692"/>
                    </a:cubicBezTo>
                    <a:cubicBezTo>
                      <a:pt x="1625" y="6152"/>
                      <a:pt x="1625" y="6152"/>
                      <a:pt x="1625" y="6152"/>
                    </a:cubicBezTo>
                    <a:cubicBezTo>
                      <a:pt x="1625" y="6153"/>
                      <a:pt x="1624" y="6154"/>
                      <a:pt x="1623" y="6155"/>
                    </a:cubicBezTo>
                    <a:cubicBezTo>
                      <a:pt x="1620" y="6160"/>
                      <a:pt x="1615" y="6168"/>
                      <a:pt x="1609" y="6177"/>
                    </a:cubicBezTo>
                    <a:cubicBezTo>
                      <a:pt x="1597" y="6196"/>
                      <a:pt x="1581" y="6220"/>
                      <a:pt x="1565" y="6245"/>
                    </a:cubicBezTo>
                    <a:cubicBezTo>
                      <a:pt x="1534" y="6293"/>
                      <a:pt x="1503" y="6341"/>
                      <a:pt x="1503" y="6341"/>
                    </a:cubicBezTo>
                    <a:cubicBezTo>
                      <a:pt x="1456" y="6407"/>
                      <a:pt x="1456" y="6407"/>
                      <a:pt x="1456" y="6407"/>
                    </a:cubicBezTo>
                    <a:cubicBezTo>
                      <a:pt x="1126" y="6118"/>
                      <a:pt x="1126" y="6118"/>
                      <a:pt x="1126" y="6118"/>
                    </a:cubicBezTo>
                    <a:cubicBezTo>
                      <a:pt x="1024" y="6024"/>
                      <a:pt x="1024" y="6024"/>
                      <a:pt x="1024" y="6024"/>
                    </a:cubicBezTo>
                    <a:cubicBezTo>
                      <a:pt x="664" y="6028"/>
                      <a:pt x="664" y="6028"/>
                      <a:pt x="664" y="6028"/>
                    </a:cubicBezTo>
                    <a:cubicBezTo>
                      <a:pt x="669" y="5945"/>
                      <a:pt x="671" y="5854"/>
                      <a:pt x="671" y="5805"/>
                    </a:cubicBezTo>
                    <a:cubicBezTo>
                      <a:pt x="671" y="5792"/>
                      <a:pt x="671" y="5783"/>
                      <a:pt x="671" y="5776"/>
                    </a:cubicBezTo>
                    <a:close/>
                    <a:moveTo>
                      <a:pt x="678" y="4552"/>
                    </a:moveTo>
                    <a:cubicBezTo>
                      <a:pt x="686" y="4548"/>
                      <a:pt x="698" y="4542"/>
                      <a:pt x="712" y="4533"/>
                    </a:cubicBezTo>
                    <a:cubicBezTo>
                      <a:pt x="739" y="4514"/>
                      <a:pt x="775" y="4484"/>
                      <a:pt x="813" y="4435"/>
                    </a:cubicBezTo>
                    <a:cubicBezTo>
                      <a:pt x="876" y="4354"/>
                      <a:pt x="902" y="4223"/>
                      <a:pt x="909" y="4176"/>
                    </a:cubicBezTo>
                    <a:cubicBezTo>
                      <a:pt x="934" y="4190"/>
                      <a:pt x="955" y="4203"/>
                      <a:pt x="970" y="4212"/>
                    </a:cubicBezTo>
                    <a:cubicBezTo>
                      <a:pt x="1017" y="4241"/>
                      <a:pt x="1135" y="4338"/>
                      <a:pt x="1185" y="4393"/>
                    </a:cubicBezTo>
                    <a:cubicBezTo>
                      <a:pt x="1236" y="4447"/>
                      <a:pt x="1298" y="4548"/>
                      <a:pt x="1314" y="4608"/>
                    </a:cubicBezTo>
                    <a:cubicBezTo>
                      <a:pt x="1332" y="4671"/>
                      <a:pt x="1358" y="4776"/>
                      <a:pt x="1368" y="4811"/>
                    </a:cubicBezTo>
                    <a:cubicBezTo>
                      <a:pt x="1378" y="4846"/>
                      <a:pt x="1395" y="4920"/>
                      <a:pt x="1510" y="4995"/>
                    </a:cubicBezTo>
                    <a:cubicBezTo>
                      <a:pt x="1593" y="5051"/>
                      <a:pt x="1735" y="5093"/>
                      <a:pt x="1840" y="5118"/>
                    </a:cubicBezTo>
                    <a:cubicBezTo>
                      <a:pt x="1881" y="5128"/>
                      <a:pt x="1914" y="5133"/>
                      <a:pt x="1938" y="5139"/>
                    </a:cubicBezTo>
                    <a:cubicBezTo>
                      <a:pt x="1899" y="5187"/>
                      <a:pt x="1853" y="5245"/>
                      <a:pt x="1804" y="5304"/>
                    </a:cubicBezTo>
                    <a:cubicBezTo>
                      <a:pt x="1685" y="5447"/>
                      <a:pt x="1558" y="5596"/>
                      <a:pt x="1527" y="5633"/>
                    </a:cubicBezTo>
                    <a:cubicBezTo>
                      <a:pt x="1344" y="5543"/>
                      <a:pt x="1344" y="5543"/>
                      <a:pt x="1344" y="5543"/>
                    </a:cubicBezTo>
                    <a:cubicBezTo>
                      <a:pt x="875" y="4878"/>
                      <a:pt x="875" y="4878"/>
                      <a:pt x="875" y="4878"/>
                    </a:cubicBezTo>
                    <a:cubicBezTo>
                      <a:pt x="874" y="4875"/>
                      <a:pt x="874" y="4876"/>
                      <a:pt x="873" y="4875"/>
                    </a:cubicBezTo>
                    <a:cubicBezTo>
                      <a:pt x="873" y="4874"/>
                      <a:pt x="873" y="4874"/>
                      <a:pt x="873" y="4874"/>
                    </a:cubicBezTo>
                    <a:cubicBezTo>
                      <a:pt x="872" y="4873"/>
                      <a:pt x="872" y="4873"/>
                      <a:pt x="872" y="4872"/>
                    </a:cubicBezTo>
                    <a:cubicBezTo>
                      <a:pt x="871" y="4872"/>
                      <a:pt x="871" y="4870"/>
                      <a:pt x="870" y="4869"/>
                    </a:cubicBezTo>
                    <a:cubicBezTo>
                      <a:pt x="868" y="4866"/>
                      <a:pt x="865" y="4862"/>
                      <a:pt x="861" y="4857"/>
                    </a:cubicBezTo>
                    <a:cubicBezTo>
                      <a:pt x="854" y="4847"/>
                      <a:pt x="844" y="4833"/>
                      <a:pt x="831" y="4814"/>
                    </a:cubicBezTo>
                    <a:cubicBezTo>
                      <a:pt x="804" y="4777"/>
                      <a:pt x="767" y="4725"/>
                      <a:pt x="722" y="4663"/>
                    </a:cubicBezTo>
                    <a:cubicBezTo>
                      <a:pt x="700" y="4632"/>
                      <a:pt x="676" y="4598"/>
                      <a:pt x="650" y="4562"/>
                    </a:cubicBezTo>
                    <a:cubicBezTo>
                      <a:pt x="665" y="4558"/>
                      <a:pt x="669" y="4556"/>
                      <a:pt x="678" y="4552"/>
                    </a:cubicBezTo>
                    <a:close/>
                    <a:moveTo>
                      <a:pt x="611" y="5580"/>
                    </a:moveTo>
                    <a:cubicBezTo>
                      <a:pt x="564" y="5490"/>
                      <a:pt x="441" y="5309"/>
                      <a:pt x="398" y="5248"/>
                    </a:cubicBezTo>
                    <a:cubicBezTo>
                      <a:pt x="376" y="5217"/>
                      <a:pt x="337" y="5164"/>
                      <a:pt x="296" y="5114"/>
                    </a:cubicBezTo>
                    <a:cubicBezTo>
                      <a:pt x="255" y="5064"/>
                      <a:pt x="213" y="5018"/>
                      <a:pt x="181" y="4999"/>
                    </a:cubicBezTo>
                    <a:cubicBezTo>
                      <a:pt x="161" y="4987"/>
                      <a:pt x="134" y="4978"/>
                      <a:pt x="106" y="4971"/>
                    </a:cubicBezTo>
                    <a:cubicBezTo>
                      <a:pt x="144" y="4809"/>
                      <a:pt x="144" y="4809"/>
                      <a:pt x="144" y="4809"/>
                    </a:cubicBezTo>
                    <a:cubicBezTo>
                      <a:pt x="608" y="4584"/>
                      <a:pt x="608" y="4584"/>
                      <a:pt x="608" y="4584"/>
                    </a:cubicBezTo>
                    <a:cubicBezTo>
                      <a:pt x="621" y="4583"/>
                      <a:pt x="621" y="4583"/>
                      <a:pt x="621" y="4583"/>
                    </a:cubicBezTo>
                    <a:cubicBezTo>
                      <a:pt x="721" y="4724"/>
                      <a:pt x="802" y="4836"/>
                      <a:pt x="831" y="4877"/>
                    </a:cubicBezTo>
                    <a:cubicBezTo>
                      <a:pt x="830" y="4877"/>
                      <a:pt x="830" y="4877"/>
                      <a:pt x="830" y="4877"/>
                    </a:cubicBezTo>
                    <a:cubicBezTo>
                      <a:pt x="1299" y="5546"/>
                      <a:pt x="1299" y="5546"/>
                      <a:pt x="1299" y="5546"/>
                    </a:cubicBezTo>
                    <a:cubicBezTo>
                      <a:pt x="1232" y="5561"/>
                      <a:pt x="1060" y="5599"/>
                      <a:pt x="995" y="5613"/>
                    </a:cubicBezTo>
                    <a:cubicBezTo>
                      <a:pt x="993" y="5613"/>
                      <a:pt x="992" y="5614"/>
                      <a:pt x="989" y="5614"/>
                    </a:cubicBezTo>
                    <a:cubicBezTo>
                      <a:pt x="986" y="5615"/>
                      <a:pt x="982" y="5615"/>
                      <a:pt x="977" y="5616"/>
                    </a:cubicBezTo>
                    <a:cubicBezTo>
                      <a:pt x="967" y="5618"/>
                      <a:pt x="953" y="5621"/>
                      <a:pt x="937" y="5625"/>
                    </a:cubicBezTo>
                    <a:cubicBezTo>
                      <a:pt x="905" y="5632"/>
                      <a:pt x="862" y="5641"/>
                      <a:pt x="819" y="5651"/>
                    </a:cubicBezTo>
                    <a:cubicBezTo>
                      <a:pt x="751" y="5666"/>
                      <a:pt x="685" y="5681"/>
                      <a:pt x="656" y="5688"/>
                    </a:cubicBezTo>
                    <a:cubicBezTo>
                      <a:pt x="647" y="5657"/>
                      <a:pt x="633" y="5622"/>
                      <a:pt x="611" y="5580"/>
                    </a:cubicBezTo>
                    <a:close/>
                    <a:moveTo>
                      <a:pt x="825" y="6662"/>
                    </a:moveTo>
                    <a:cubicBezTo>
                      <a:pt x="824" y="6662"/>
                      <a:pt x="824" y="6662"/>
                      <a:pt x="824" y="6662"/>
                    </a:cubicBezTo>
                    <a:cubicBezTo>
                      <a:pt x="814" y="6656"/>
                      <a:pt x="811" y="6654"/>
                      <a:pt x="796" y="6645"/>
                    </a:cubicBezTo>
                    <a:cubicBezTo>
                      <a:pt x="790" y="6641"/>
                      <a:pt x="790" y="6641"/>
                      <a:pt x="790" y="6641"/>
                    </a:cubicBezTo>
                    <a:cubicBezTo>
                      <a:pt x="760" y="6623"/>
                      <a:pt x="700" y="6583"/>
                      <a:pt x="675" y="6566"/>
                    </a:cubicBezTo>
                    <a:cubicBezTo>
                      <a:pt x="659" y="6555"/>
                      <a:pt x="647" y="6546"/>
                      <a:pt x="643" y="6543"/>
                    </a:cubicBezTo>
                    <a:cubicBezTo>
                      <a:pt x="621" y="6515"/>
                      <a:pt x="601" y="6461"/>
                      <a:pt x="602" y="6436"/>
                    </a:cubicBezTo>
                    <a:cubicBezTo>
                      <a:pt x="602" y="6433"/>
                      <a:pt x="602" y="6431"/>
                      <a:pt x="602" y="6430"/>
                    </a:cubicBezTo>
                    <a:cubicBezTo>
                      <a:pt x="607" y="6400"/>
                      <a:pt x="630" y="6269"/>
                      <a:pt x="648" y="6194"/>
                    </a:cubicBezTo>
                    <a:cubicBezTo>
                      <a:pt x="654" y="6166"/>
                      <a:pt x="659" y="6113"/>
                      <a:pt x="663" y="6055"/>
                    </a:cubicBezTo>
                    <a:cubicBezTo>
                      <a:pt x="663" y="6054"/>
                      <a:pt x="663" y="6054"/>
                      <a:pt x="663" y="6054"/>
                    </a:cubicBezTo>
                    <a:cubicBezTo>
                      <a:pt x="1014" y="6051"/>
                      <a:pt x="1014" y="6051"/>
                      <a:pt x="1014" y="6051"/>
                    </a:cubicBezTo>
                    <a:cubicBezTo>
                      <a:pt x="1113" y="6142"/>
                      <a:pt x="1113" y="6142"/>
                      <a:pt x="1113" y="6142"/>
                    </a:cubicBezTo>
                    <a:cubicBezTo>
                      <a:pt x="1113" y="6142"/>
                      <a:pt x="1113" y="6142"/>
                      <a:pt x="1113" y="6142"/>
                    </a:cubicBezTo>
                    <a:cubicBezTo>
                      <a:pt x="1121" y="6149"/>
                      <a:pt x="1121" y="6149"/>
                      <a:pt x="1121" y="6149"/>
                    </a:cubicBezTo>
                    <a:cubicBezTo>
                      <a:pt x="1153" y="6178"/>
                      <a:pt x="1153" y="6178"/>
                      <a:pt x="1153" y="6178"/>
                    </a:cubicBezTo>
                    <a:cubicBezTo>
                      <a:pt x="1153" y="6178"/>
                      <a:pt x="1153" y="6178"/>
                      <a:pt x="1153" y="6178"/>
                    </a:cubicBezTo>
                    <a:cubicBezTo>
                      <a:pt x="1154" y="6177"/>
                      <a:pt x="1154" y="6177"/>
                      <a:pt x="1154" y="6177"/>
                    </a:cubicBezTo>
                    <a:cubicBezTo>
                      <a:pt x="1441" y="6427"/>
                      <a:pt x="1441" y="6427"/>
                      <a:pt x="1441" y="6427"/>
                    </a:cubicBezTo>
                    <a:cubicBezTo>
                      <a:pt x="1255" y="6682"/>
                      <a:pt x="1255" y="6682"/>
                      <a:pt x="1255" y="6682"/>
                    </a:cubicBezTo>
                    <a:cubicBezTo>
                      <a:pt x="1255" y="6682"/>
                      <a:pt x="1143" y="6826"/>
                      <a:pt x="1134" y="6839"/>
                    </a:cubicBezTo>
                    <a:cubicBezTo>
                      <a:pt x="1134" y="6839"/>
                      <a:pt x="1134" y="6839"/>
                      <a:pt x="1134" y="6839"/>
                    </a:cubicBezTo>
                    <a:cubicBezTo>
                      <a:pt x="1134" y="6840"/>
                      <a:pt x="1133" y="6841"/>
                      <a:pt x="1132" y="6842"/>
                    </a:cubicBezTo>
                    <a:cubicBezTo>
                      <a:pt x="1130" y="6844"/>
                      <a:pt x="1127" y="6847"/>
                      <a:pt x="1124" y="6851"/>
                    </a:cubicBezTo>
                    <a:lnTo>
                      <a:pt x="825" y="6662"/>
                    </a:lnTo>
                    <a:close/>
                    <a:moveTo>
                      <a:pt x="726" y="7334"/>
                    </a:moveTo>
                    <a:cubicBezTo>
                      <a:pt x="726" y="7333"/>
                      <a:pt x="733" y="7321"/>
                      <a:pt x="742" y="7309"/>
                    </a:cubicBezTo>
                    <a:cubicBezTo>
                      <a:pt x="752" y="7296"/>
                      <a:pt x="764" y="7282"/>
                      <a:pt x="776" y="7267"/>
                    </a:cubicBezTo>
                    <a:cubicBezTo>
                      <a:pt x="800" y="7240"/>
                      <a:pt x="824" y="7213"/>
                      <a:pt x="828" y="7210"/>
                    </a:cubicBezTo>
                    <a:cubicBezTo>
                      <a:pt x="829" y="7209"/>
                      <a:pt x="829" y="7209"/>
                      <a:pt x="829" y="7209"/>
                    </a:cubicBezTo>
                    <a:cubicBezTo>
                      <a:pt x="830" y="7208"/>
                      <a:pt x="830" y="7208"/>
                      <a:pt x="830" y="7208"/>
                    </a:cubicBezTo>
                    <a:cubicBezTo>
                      <a:pt x="831" y="7207"/>
                      <a:pt x="832" y="7206"/>
                      <a:pt x="833" y="7205"/>
                    </a:cubicBezTo>
                    <a:cubicBezTo>
                      <a:pt x="835" y="7203"/>
                      <a:pt x="838" y="7201"/>
                      <a:pt x="841" y="7197"/>
                    </a:cubicBezTo>
                    <a:cubicBezTo>
                      <a:pt x="848" y="7190"/>
                      <a:pt x="858" y="7179"/>
                      <a:pt x="871" y="7166"/>
                    </a:cubicBezTo>
                    <a:cubicBezTo>
                      <a:pt x="896" y="7141"/>
                      <a:pt x="929" y="7107"/>
                      <a:pt x="964" y="7070"/>
                    </a:cubicBezTo>
                    <a:cubicBezTo>
                      <a:pt x="1035" y="6997"/>
                      <a:pt x="1114" y="6915"/>
                      <a:pt x="1147" y="6881"/>
                    </a:cubicBezTo>
                    <a:cubicBezTo>
                      <a:pt x="1157" y="6870"/>
                      <a:pt x="1161" y="6866"/>
                      <a:pt x="1164" y="6862"/>
                    </a:cubicBezTo>
                    <a:cubicBezTo>
                      <a:pt x="1165" y="6861"/>
                      <a:pt x="1165" y="6862"/>
                      <a:pt x="1166" y="6860"/>
                    </a:cubicBezTo>
                    <a:cubicBezTo>
                      <a:pt x="1166" y="6860"/>
                      <a:pt x="1166" y="6860"/>
                      <a:pt x="1166" y="6859"/>
                    </a:cubicBezTo>
                    <a:cubicBezTo>
                      <a:pt x="1167" y="6858"/>
                      <a:pt x="1168" y="6857"/>
                      <a:pt x="1170" y="6854"/>
                    </a:cubicBezTo>
                    <a:cubicBezTo>
                      <a:pt x="1173" y="6850"/>
                      <a:pt x="1178" y="6844"/>
                      <a:pt x="1184" y="6836"/>
                    </a:cubicBezTo>
                    <a:cubicBezTo>
                      <a:pt x="1195" y="6822"/>
                      <a:pt x="1210" y="6802"/>
                      <a:pt x="1225" y="6783"/>
                    </a:cubicBezTo>
                    <a:cubicBezTo>
                      <a:pt x="1255" y="6744"/>
                      <a:pt x="1285" y="6705"/>
                      <a:pt x="1285" y="6705"/>
                    </a:cubicBezTo>
                    <a:cubicBezTo>
                      <a:pt x="1535" y="6362"/>
                      <a:pt x="1535" y="6362"/>
                      <a:pt x="1535" y="6362"/>
                    </a:cubicBezTo>
                    <a:cubicBezTo>
                      <a:pt x="1535" y="6362"/>
                      <a:pt x="1564" y="6317"/>
                      <a:pt x="1594" y="6269"/>
                    </a:cubicBezTo>
                    <a:cubicBezTo>
                      <a:pt x="1617" y="6234"/>
                      <a:pt x="1641" y="6197"/>
                      <a:pt x="1652" y="6179"/>
                    </a:cubicBezTo>
                    <a:cubicBezTo>
                      <a:pt x="1911" y="6271"/>
                      <a:pt x="1911" y="6271"/>
                      <a:pt x="1911" y="6271"/>
                    </a:cubicBezTo>
                    <a:cubicBezTo>
                      <a:pt x="1911" y="6271"/>
                      <a:pt x="1911" y="6271"/>
                      <a:pt x="1911" y="6271"/>
                    </a:cubicBezTo>
                    <a:cubicBezTo>
                      <a:pt x="4286" y="7132"/>
                      <a:pt x="4286" y="7132"/>
                      <a:pt x="4286" y="7132"/>
                    </a:cubicBezTo>
                    <a:cubicBezTo>
                      <a:pt x="3912" y="7620"/>
                      <a:pt x="3912" y="7620"/>
                      <a:pt x="3912" y="7620"/>
                    </a:cubicBezTo>
                    <a:cubicBezTo>
                      <a:pt x="3887" y="7618"/>
                      <a:pt x="3809" y="7615"/>
                      <a:pt x="3716" y="7615"/>
                    </a:cubicBezTo>
                    <a:cubicBezTo>
                      <a:pt x="3606" y="7615"/>
                      <a:pt x="3478" y="7620"/>
                      <a:pt x="3397" y="7640"/>
                    </a:cubicBezTo>
                    <a:cubicBezTo>
                      <a:pt x="3381" y="7642"/>
                      <a:pt x="3246" y="7658"/>
                      <a:pt x="3111" y="7778"/>
                    </a:cubicBezTo>
                    <a:cubicBezTo>
                      <a:pt x="3058" y="7825"/>
                      <a:pt x="2962" y="7893"/>
                      <a:pt x="2869" y="7974"/>
                    </a:cubicBezTo>
                    <a:cubicBezTo>
                      <a:pt x="2729" y="8097"/>
                      <a:pt x="2591" y="8234"/>
                      <a:pt x="2566" y="8258"/>
                    </a:cubicBezTo>
                    <a:cubicBezTo>
                      <a:pt x="2558" y="8262"/>
                      <a:pt x="2526" y="8280"/>
                      <a:pt x="2481" y="8301"/>
                    </a:cubicBezTo>
                    <a:cubicBezTo>
                      <a:pt x="2429" y="8325"/>
                      <a:pt x="2362" y="8352"/>
                      <a:pt x="2298" y="8365"/>
                    </a:cubicBezTo>
                    <a:cubicBezTo>
                      <a:pt x="2203" y="8386"/>
                      <a:pt x="2161" y="8398"/>
                      <a:pt x="2144" y="8403"/>
                    </a:cubicBezTo>
                    <a:cubicBezTo>
                      <a:pt x="2049" y="8333"/>
                      <a:pt x="1792" y="8139"/>
                      <a:pt x="1554" y="7961"/>
                    </a:cubicBezTo>
                    <a:cubicBezTo>
                      <a:pt x="1311" y="7778"/>
                      <a:pt x="1091" y="7614"/>
                      <a:pt x="1090" y="7614"/>
                    </a:cubicBezTo>
                    <a:cubicBezTo>
                      <a:pt x="1089" y="7611"/>
                      <a:pt x="1089" y="7611"/>
                      <a:pt x="1089" y="7611"/>
                    </a:cubicBezTo>
                    <a:cubicBezTo>
                      <a:pt x="1088" y="7612"/>
                      <a:pt x="1088" y="7612"/>
                      <a:pt x="1088" y="7612"/>
                    </a:cubicBezTo>
                    <a:cubicBezTo>
                      <a:pt x="725" y="7339"/>
                      <a:pt x="725" y="7339"/>
                      <a:pt x="725" y="7339"/>
                    </a:cubicBezTo>
                    <a:cubicBezTo>
                      <a:pt x="725" y="7337"/>
                      <a:pt x="725" y="7336"/>
                      <a:pt x="726" y="7334"/>
                    </a:cubicBezTo>
                    <a:close/>
                    <a:moveTo>
                      <a:pt x="2593" y="8825"/>
                    </a:moveTo>
                    <a:cubicBezTo>
                      <a:pt x="2593" y="8924"/>
                      <a:pt x="2590" y="9171"/>
                      <a:pt x="2590" y="9449"/>
                    </a:cubicBezTo>
                    <a:cubicBezTo>
                      <a:pt x="2590" y="9469"/>
                      <a:pt x="2590" y="9490"/>
                      <a:pt x="2590" y="9511"/>
                    </a:cubicBezTo>
                    <a:cubicBezTo>
                      <a:pt x="2565" y="9510"/>
                      <a:pt x="2517" y="9509"/>
                      <a:pt x="2463" y="9506"/>
                    </a:cubicBezTo>
                    <a:cubicBezTo>
                      <a:pt x="2385" y="9501"/>
                      <a:pt x="2294" y="9490"/>
                      <a:pt x="2254" y="9472"/>
                    </a:cubicBezTo>
                    <a:cubicBezTo>
                      <a:pt x="2169" y="9435"/>
                      <a:pt x="2015" y="9282"/>
                      <a:pt x="1967" y="9241"/>
                    </a:cubicBezTo>
                    <a:cubicBezTo>
                      <a:pt x="1966" y="9241"/>
                      <a:pt x="1637" y="8931"/>
                      <a:pt x="1562" y="8859"/>
                    </a:cubicBezTo>
                    <a:cubicBezTo>
                      <a:pt x="1497" y="8796"/>
                      <a:pt x="1319" y="8642"/>
                      <a:pt x="1266" y="8597"/>
                    </a:cubicBezTo>
                    <a:cubicBezTo>
                      <a:pt x="1266" y="8597"/>
                      <a:pt x="1266" y="8597"/>
                      <a:pt x="1266" y="8597"/>
                    </a:cubicBezTo>
                    <a:cubicBezTo>
                      <a:pt x="1262" y="8593"/>
                      <a:pt x="1262" y="8593"/>
                      <a:pt x="1262" y="8593"/>
                    </a:cubicBezTo>
                    <a:cubicBezTo>
                      <a:pt x="1261" y="8592"/>
                      <a:pt x="1110" y="8450"/>
                      <a:pt x="1022" y="8404"/>
                    </a:cubicBezTo>
                    <a:cubicBezTo>
                      <a:pt x="939" y="8362"/>
                      <a:pt x="872" y="8324"/>
                      <a:pt x="762" y="8294"/>
                    </a:cubicBezTo>
                    <a:cubicBezTo>
                      <a:pt x="654" y="8264"/>
                      <a:pt x="512" y="8229"/>
                      <a:pt x="396" y="8213"/>
                    </a:cubicBezTo>
                    <a:cubicBezTo>
                      <a:pt x="330" y="8204"/>
                      <a:pt x="283" y="8198"/>
                      <a:pt x="256" y="8194"/>
                    </a:cubicBezTo>
                    <a:cubicBezTo>
                      <a:pt x="383" y="8027"/>
                      <a:pt x="546" y="7814"/>
                      <a:pt x="573" y="7774"/>
                    </a:cubicBezTo>
                    <a:cubicBezTo>
                      <a:pt x="621" y="7704"/>
                      <a:pt x="663" y="7571"/>
                      <a:pt x="680" y="7520"/>
                    </a:cubicBezTo>
                    <a:cubicBezTo>
                      <a:pt x="698" y="7467"/>
                      <a:pt x="715" y="7405"/>
                      <a:pt x="718" y="7388"/>
                    </a:cubicBezTo>
                    <a:cubicBezTo>
                      <a:pt x="718" y="7385"/>
                      <a:pt x="718" y="7383"/>
                      <a:pt x="718" y="7381"/>
                    </a:cubicBezTo>
                    <a:cubicBezTo>
                      <a:pt x="1061" y="7640"/>
                      <a:pt x="1061" y="7640"/>
                      <a:pt x="1061" y="7640"/>
                    </a:cubicBezTo>
                    <a:cubicBezTo>
                      <a:pt x="1061" y="7640"/>
                      <a:pt x="1061" y="7640"/>
                      <a:pt x="1061" y="7640"/>
                    </a:cubicBezTo>
                    <a:cubicBezTo>
                      <a:pt x="1075" y="7650"/>
                      <a:pt x="1955" y="8308"/>
                      <a:pt x="2130" y="8438"/>
                    </a:cubicBezTo>
                    <a:cubicBezTo>
                      <a:pt x="2259" y="8534"/>
                      <a:pt x="2321" y="8639"/>
                      <a:pt x="2343" y="8685"/>
                    </a:cubicBezTo>
                    <a:cubicBezTo>
                      <a:pt x="2350" y="8701"/>
                      <a:pt x="2353" y="8709"/>
                      <a:pt x="2353" y="8709"/>
                    </a:cubicBezTo>
                    <a:cubicBezTo>
                      <a:pt x="2357" y="8719"/>
                      <a:pt x="2357" y="8719"/>
                      <a:pt x="2357" y="8719"/>
                    </a:cubicBezTo>
                    <a:cubicBezTo>
                      <a:pt x="2600" y="8754"/>
                      <a:pt x="2600" y="8754"/>
                      <a:pt x="2600" y="8754"/>
                    </a:cubicBezTo>
                    <a:cubicBezTo>
                      <a:pt x="2596" y="8776"/>
                      <a:pt x="2593" y="8800"/>
                      <a:pt x="2593" y="8825"/>
                    </a:cubicBezTo>
                    <a:close/>
                    <a:moveTo>
                      <a:pt x="2383" y="8686"/>
                    </a:moveTo>
                    <a:cubicBezTo>
                      <a:pt x="2368" y="8652"/>
                      <a:pt x="2312" y="8539"/>
                      <a:pt x="2178" y="8431"/>
                    </a:cubicBezTo>
                    <a:cubicBezTo>
                      <a:pt x="2202" y="8424"/>
                      <a:pt x="2242" y="8414"/>
                      <a:pt x="2306" y="8401"/>
                    </a:cubicBezTo>
                    <a:cubicBezTo>
                      <a:pt x="2441" y="8372"/>
                      <a:pt x="2585" y="8288"/>
                      <a:pt x="2586" y="8288"/>
                    </a:cubicBezTo>
                    <a:cubicBezTo>
                      <a:pt x="2587" y="8287"/>
                      <a:pt x="2587" y="8287"/>
                      <a:pt x="2587" y="8287"/>
                    </a:cubicBezTo>
                    <a:cubicBezTo>
                      <a:pt x="2589" y="8286"/>
                      <a:pt x="2589" y="8286"/>
                      <a:pt x="2589" y="8286"/>
                    </a:cubicBezTo>
                    <a:cubicBezTo>
                      <a:pt x="2611" y="8265"/>
                      <a:pt x="2751" y="8126"/>
                      <a:pt x="2893" y="8001"/>
                    </a:cubicBezTo>
                    <a:cubicBezTo>
                      <a:pt x="2984" y="7922"/>
                      <a:pt x="3079" y="7854"/>
                      <a:pt x="3135" y="7805"/>
                    </a:cubicBezTo>
                    <a:cubicBezTo>
                      <a:pt x="3236" y="7715"/>
                      <a:pt x="3336" y="7687"/>
                      <a:pt x="3379" y="7679"/>
                    </a:cubicBezTo>
                    <a:cubicBezTo>
                      <a:pt x="3394" y="7676"/>
                      <a:pt x="3401" y="7676"/>
                      <a:pt x="3401" y="7676"/>
                    </a:cubicBezTo>
                    <a:cubicBezTo>
                      <a:pt x="3403" y="7676"/>
                      <a:pt x="3403" y="7676"/>
                      <a:pt x="3403" y="7676"/>
                    </a:cubicBezTo>
                    <a:cubicBezTo>
                      <a:pt x="3404" y="7675"/>
                      <a:pt x="3404" y="7675"/>
                      <a:pt x="3404" y="7675"/>
                    </a:cubicBezTo>
                    <a:cubicBezTo>
                      <a:pt x="3478" y="7656"/>
                      <a:pt x="3607" y="7651"/>
                      <a:pt x="3716" y="7651"/>
                    </a:cubicBezTo>
                    <a:cubicBezTo>
                      <a:pt x="3806" y="7651"/>
                      <a:pt x="3882" y="7654"/>
                      <a:pt x="3909" y="7655"/>
                    </a:cubicBezTo>
                    <a:cubicBezTo>
                      <a:pt x="3979" y="7824"/>
                      <a:pt x="3979" y="7824"/>
                      <a:pt x="3979" y="7824"/>
                    </a:cubicBezTo>
                    <a:cubicBezTo>
                      <a:pt x="2901" y="8425"/>
                      <a:pt x="2901" y="8425"/>
                      <a:pt x="2901" y="8425"/>
                    </a:cubicBezTo>
                    <a:cubicBezTo>
                      <a:pt x="2889" y="8430"/>
                      <a:pt x="2819" y="8456"/>
                      <a:pt x="2749" y="8514"/>
                    </a:cubicBezTo>
                    <a:cubicBezTo>
                      <a:pt x="2692" y="8560"/>
                      <a:pt x="2635" y="8627"/>
                      <a:pt x="2608" y="8718"/>
                    </a:cubicBezTo>
                    <a:lnTo>
                      <a:pt x="2383" y="8686"/>
                    </a:lnTo>
                    <a:close/>
                    <a:moveTo>
                      <a:pt x="3982" y="9669"/>
                    </a:moveTo>
                    <a:cubicBezTo>
                      <a:pt x="2641" y="9900"/>
                      <a:pt x="2641" y="9900"/>
                      <a:pt x="2641" y="9900"/>
                    </a:cubicBezTo>
                    <a:cubicBezTo>
                      <a:pt x="2637" y="9899"/>
                      <a:pt x="2633" y="9898"/>
                      <a:pt x="2629" y="9897"/>
                    </a:cubicBezTo>
                    <a:cubicBezTo>
                      <a:pt x="2629" y="9845"/>
                      <a:pt x="2628" y="9793"/>
                      <a:pt x="2627" y="9739"/>
                    </a:cubicBezTo>
                    <a:cubicBezTo>
                      <a:pt x="2627" y="9671"/>
                      <a:pt x="2626" y="9603"/>
                      <a:pt x="2626" y="9535"/>
                    </a:cubicBezTo>
                    <a:cubicBezTo>
                      <a:pt x="2637" y="9532"/>
                      <a:pt x="2637" y="9532"/>
                      <a:pt x="2637" y="9532"/>
                    </a:cubicBezTo>
                    <a:cubicBezTo>
                      <a:pt x="2766" y="9518"/>
                      <a:pt x="3264" y="9464"/>
                      <a:pt x="3356" y="9445"/>
                    </a:cubicBezTo>
                    <a:cubicBezTo>
                      <a:pt x="3360" y="9475"/>
                      <a:pt x="3370" y="9538"/>
                      <a:pt x="3379" y="9603"/>
                    </a:cubicBezTo>
                    <a:cubicBezTo>
                      <a:pt x="3391" y="9685"/>
                      <a:pt x="3404" y="9766"/>
                      <a:pt x="3404" y="9766"/>
                    </a:cubicBezTo>
                    <a:cubicBezTo>
                      <a:pt x="3404" y="9766"/>
                      <a:pt x="3404" y="9766"/>
                      <a:pt x="3404" y="9766"/>
                    </a:cubicBezTo>
                    <a:cubicBezTo>
                      <a:pt x="3430" y="9762"/>
                      <a:pt x="3430" y="9762"/>
                      <a:pt x="3430" y="9762"/>
                    </a:cubicBezTo>
                    <a:cubicBezTo>
                      <a:pt x="3430" y="9762"/>
                      <a:pt x="3417" y="9681"/>
                      <a:pt x="3405" y="9599"/>
                    </a:cubicBezTo>
                    <a:cubicBezTo>
                      <a:pt x="3394" y="9522"/>
                      <a:pt x="3382" y="9441"/>
                      <a:pt x="3381" y="9429"/>
                    </a:cubicBezTo>
                    <a:cubicBezTo>
                      <a:pt x="3381" y="9429"/>
                      <a:pt x="3381" y="9428"/>
                      <a:pt x="3381" y="9428"/>
                    </a:cubicBezTo>
                    <a:cubicBezTo>
                      <a:pt x="3381" y="9427"/>
                      <a:pt x="3381" y="9427"/>
                      <a:pt x="3381" y="9426"/>
                    </a:cubicBezTo>
                    <a:cubicBezTo>
                      <a:pt x="3381" y="9426"/>
                      <a:pt x="3381" y="9426"/>
                      <a:pt x="3381" y="9426"/>
                    </a:cubicBezTo>
                    <a:cubicBezTo>
                      <a:pt x="3380" y="9425"/>
                      <a:pt x="3380" y="9424"/>
                      <a:pt x="3380" y="9423"/>
                    </a:cubicBezTo>
                    <a:cubicBezTo>
                      <a:pt x="3379" y="9421"/>
                      <a:pt x="3379" y="9421"/>
                      <a:pt x="3379" y="9421"/>
                    </a:cubicBezTo>
                    <a:cubicBezTo>
                      <a:pt x="3379" y="9421"/>
                      <a:pt x="3379" y="9421"/>
                      <a:pt x="3379" y="9421"/>
                    </a:cubicBezTo>
                    <a:cubicBezTo>
                      <a:pt x="3378" y="9419"/>
                      <a:pt x="3376" y="9415"/>
                      <a:pt x="3367" y="9414"/>
                    </a:cubicBezTo>
                    <a:cubicBezTo>
                      <a:pt x="3363" y="9414"/>
                      <a:pt x="3361" y="9416"/>
                      <a:pt x="3359" y="9417"/>
                    </a:cubicBezTo>
                    <a:cubicBezTo>
                      <a:pt x="3358" y="9418"/>
                      <a:pt x="3357" y="9418"/>
                      <a:pt x="3356" y="9418"/>
                    </a:cubicBezTo>
                    <a:cubicBezTo>
                      <a:pt x="3351" y="9419"/>
                      <a:pt x="3343" y="9421"/>
                      <a:pt x="3333" y="9423"/>
                    </a:cubicBezTo>
                    <a:cubicBezTo>
                      <a:pt x="3312" y="9426"/>
                      <a:pt x="3282" y="9430"/>
                      <a:pt x="3247" y="9435"/>
                    </a:cubicBezTo>
                    <a:cubicBezTo>
                      <a:pt x="3175" y="9444"/>
                      <a:pt x="3080" y="9456"/>
                      <a:pt x="2985" y="9467"/>
                    </a:cubicBezTo>
                    <a:cubicBezTo>
                      <a:pt x="2838" y="9483"/>
                      <a:pt x="2692" y="9499"/>
                      <a:pt x="2632" y="9506"/>
                    </a:cubicBezTo>
                    <a:cubicBezTo>
                      <a:pt x="2630" y="9506"/>
                      <a:pt x="2628" y="9505"/>
                      <a:pt x="2626" y="9505"/>
                    </a:cubicBezTo>
                    <a:cubicBezTo>
                      <a:pt x="2626" y="9486"/>
                      <a:pt x="2626" y="9467"/>
                      <a:pt x="2626" y="9449"/>
                    </a:cubicBezTo>
                    <a:cubicBezTo>
                      <a:pt x="2626" y="9171"/>
                      <a:pt x="2629" y="8925"/>
                      <a:pt x="2629" y="8825"/>
                    </a:cubicBezTo>
                    <a:cubicBezTo>
                      <a:pt x="2629" y="8625"/>
                      <a:pt x="2789" y="8519"/>
                      <a:pt x="2870" y="8478"/>
                    </a:cubicBezTo>
                    <a:cubicBezTo>
                      <a:pt x="2897" y="8465"/>
                      <a:pt x="2915" y="8459"/>
                      <a:pt x="2915" y="8459"/>
                    </a:cubicBezTo>
                    <a:cubicBezTo>
                      <a:pt x="2916" y="8458"/>
                      <a:pt x="2916" y="8458"/>
                      <a:pt x="2916" y="8458"/>
                    </a:cubicBezTo>
                    <a:cubicBezTo>
                      <a:pt x="3999" y="7854"/>
                      <a:pt x="3999" y="7854"/>
                      <a:pt x="3999" y="7854"/>
                    </a:cubicBezTo>
                    <a:cubicBezTo>
                      <a:pt x="4009" y="7862"/>
                      <a:pt x="4009" y="7862"/>
                      <a:pt x="4009" y="7862"/>
                    </a:cubicBezTo>
                    <a:cubicBezTo>
                      <a:pt x="4020" y="7881"/>
                      <a:pt x="4089" y="7994"/>
                      <a:pt x="4160" y="8117"/>
                    </a:cubicBezTo>
                    <a:cubicBezTo>
                      <a:pt x="4239" y="8251"/>
                      <a:pt x="4322" y="8399"/>
                      <a:pt x="4336" y="8443"/>
                    </a:cubicBezTo>
                    <a:cubicBezTo>
                      <a:pt x="4354" y="8496"/>
                      <a:pt x="4381" y="8627"/>
                      <a:pt x="4404" y="8743"/>
                    </a:cubicBezTo>
                    <a:cubicBezTo>
                      <a:pt x="4423" y="8838"/>
                      <a:pt x="4438" y="8923"/>
                      <a:pt x="4444" y="8953"/>
                    </a:cubicBezTo>
                    <a:cubicBezTo>
                      <a:pt x="4411" y="8976"/>
                      <a:pt x="4345" y="9022"/>
                      <a:pt x="4276" y="9070"/>
                    </a:cubicBezTo>
                    <a:cubicBezTo>
                      <a:pt x="4180" y="9139"/>
                      <a:pt x="4081" y="9209"/>
                      <a:pt x="4066" y="9223"/>
                    </a:cubicBezTo>
                    <a:cubicBezTo>
                      <a:pt x="4064" y="9224"/>
                      <a:pt x="4064" y="9223"/>
                      <a:pt x="4061" y="9228"/>
                    </a:cubicBezTo>
                    <a:cubicBezTo>
                      <a:pt x="4061" y="9228"/>
                      <a:pt x="4061" y="9228"/>
                      <a:pt x="4061" y="9228"/>
                    </a:cubicBezTo>
                    <a:cubicBezTo>
                      <a:pt x="4061" y="9228"/>
                      <a:pt x="4061" y="9228"/>
                      <a:pt x="4061" y="9228"/>
                    </a:cubicBezTo>
                    <a:cubicBezTo>
                      <a:pt x="4061" y="9228"/>
                      <a:pt x="4060" y="9228"/>
                      <a:pt x="4060" y="9228"/>
                    </a:cubicBezTo>
                    <a:cubicBezTo>
                      <a:pt x="4060" y="9229"/>
                      <a:pt x="4059" y="9230"/>
                      <a:pt x="4058" y="9232"/>
                    </a:cubicBezTo>
                    <a:cubicBezTo>
                      <a:pt x="4055" y="9235"/>
                      <a:pt x="4052" y="9239"/>
                      <a:pt x="4048" y="9245"/>
                    </a:cubicBezTo>
                    <a:cubicBezTo>
                      <a:pt x="4040" y="9258"/>
                      <a:pt x="4030" y="9276"/>
                      <a:pt x="4020" y="9303"/>
                    </a:cubicBezTo>
                    <a:cubicBezTo>
                      <a:pt x="4001" y="9358"/>
                      <a:pt x="3982" y="9448"/>
                      <a:pt x="3980" y="9601"/>
                    </a:cubicBezTo>
                    <a:cubicBezTo>
                      <a:pt x="3980" y="9605"/>
                      <a:pt x="3980" y="9609"/>
                      <a:pt x="3980" y="9613"/>
                    </a:cubicBezTo>
                    <a:cubicBezTo>
                      <a:pt x="3980" y="9633"/>
                      <a:pt x="3981" y="9651"/>
                      <a:pt x="3982" y="9669"/>
                    </a:cubicBezTo>
                    <a:close/>
                    <a:moveTo>
                      <a:pt x="4444" y="9778"/>
                    </a:moveTo>
                    <a:cubicBezTo>
                      <a:pt x="4448" y="9815"/>
                      <a:pt x="4448" y="9859"/>
                      <a:pt x="4450" y="9897"/>
                    </a:cubicBezTo>
                    <a:cubicBezTo>
                      <a:pt x="4451" y="9924"/>
                      <a:pt x="4452" y="9946"/>
                      <a:pt x="4455" y="9964"/>
                    </a:cubicBezTo>
                    <a:cubicBezTo>
                      <a:pt x="4391" y="9963"/>
                      <a:pt x="4330" y="9959"/>
                      <a:pt x="4279" y="9950"/>
                    </a:cubicBezTo>
                    <a:cubicBezTo>
                      <a:pt x="4211" y="9938"/>
                      <a:pt x="4146" y="9923"/>
                      <a:pt x="4098" y="9877"/>
                    </a:cubicBezTo>
                    <a:cubicBezTo>
                      <a:pt x="4051" y="9833"/>
                      <a:pt x="4016" y="9756"/>
                      <a:pt x="4016" y="9613"/>
                    </a:cubicBezTo>
                    <a:cubicBezTo>
                      <a:pt x="4016" y="9609"/>
                      <a:pt x="4016" y="9605"/>
                      <a:pt x="4016" y="9601"/>
                    </a:cubicBezTo>
                    <a:cubicBezTo>
                      <a:pt x="4020" y="9339"/>
                      <a:pt x="4073" y="9271"/>
                      <a:pt x="4086" y="9255"/>
                    </a:cubicBezTo>
                    <a:cubicBezTo>
                      <a:pt x="4087" y="9252"/>
                      <a:pt x="4088" y="9252"/>
                      <a:pt x="4090" y="9249"/>
                    </a:cubicBezTo>
                    <a:cubicBezTo>
                      <a:pt x="4091" y="9249"/>
                      <a:pt x="4091" y="9248"/>
                      <a:pt x="4092" y="9247"/>
                    </a:cubicBezTo>
                    <a:cubicBezTo>
                      <a:pt x="4095" y="9245"/>
                      <a:pt x="4100" y="9242"/>
                      <a:pt x="4105" y="9237"/>
                    </a:cubicBezTo>
                    <a:cubicBezTo>
                      <a:pt x="4116" y="9229"/>
                      <a:pt x="4132" y="9218"/>
                      <a:pt x="4151" y="9204"/>
                    </a:cubicBezTo>
                    <a:cubicBezTo>
                      <a:pt x="4188" y="9177"/>
                      <a:pt x="4238" y="9142"/>
                      <a:pt x="4288" y="9106"/>
                    </a:cubicBezTo>
                    <a:cubicBezTo>
                      <a:pt x="4357" y="9058"/>
                      <a:pt x="4425" y="9010"/>
                      <a:pt x="4461" y="8985"/>
                    </a:cubicBezTo>
                    <a:cubicBezTo>
                      <a:pt x="4461" y="8986"/>
                      <a:pt x="4462" y="8986"/>
                      <a:pt x="4462" y="8987"/>
                    </a:cubicBezTo>
                    <a:cubicBezTo>
                      <a:pt x="4470" y="8997"/>
                      <a:pt x="4480" y="9012"/>
                      <a:pt x="4490" y="9032"/>
                    </a:cubicBezTo>
                    <a:cubicBezTo>
                      <a:pt x="4510" y="9072"/>
                      <a:pt x="4531" y="9132"/>
                      <a:pt x="4531" y="9212"/>
                    </a:cubicBezTo>
                    <a:cubicBezTo>
                      <a:pt x="4531" y="9253"/>
                      <a:pt x="4525" y="9299"/>
                      <a:pt x="4511" y="9351"/>
                    </a:cubicBezTo>
                    <a:cubicBezTo>
                      <a:pt x="4457" y="9558"/>
                      <a:pt x="4442" y="9649"/>
                      <a:pt x="4442" y="9722"/>
                    </a:cubicBezTo>
                    <a:cubicBezTo>
                      <a:pt x="4442" y="9741"/>
                      <a:pt x="4443" y="9759"/>
                      <a:pt x="4444" y="9778"/>
                    </a:cubicBezTo>
                    <a:close/>
                    <a:moveTo>
                      <a:pt x="6000" y="9983"/>
                    </a:moveTo>
                    <a:cubicBezTo>
                      <a:pt x="5992" y="10129"/>
                      <a:pt x="5978" y="10258"/>
                      <a:pt x="5973" y="10299"/>
                    </a:cubicBezTo>
                    <a:cubicBezTo>
                      <a:pt x="5888" y="10278"/>
                      <a:pt x="5796" y="10256"/>
                      <a:pt x="5716" y="10240"/>
                    </a:cubicBezTo>
                    <a:cubicBezTo>
                      <a:pt x="5556" y="10207"/>
                      <a:pt x="5071" y="10130"/>
                      <a:pt x="5070" y="10130"/>
                    </a:cubicBezTo>
                    <a:cubicBezTo>
                      <a:pt x="5070" y="10131"/>
                      <a:pt x="5070" y="10131"/>
                      <a:pt x="5070" y="10131"/>
                    </a:cubicBezTo>
                    <a:cubicBezTo>
                      <a:pt x="5068" y="10121"/>
                      <a:pt x="5066" y="10113"/>
                      <a:pt x="5064" y="10106"/>
                    </a:cubicBezTo>
                    <a:cubicBezTo>
                      <a:pt x="5046" y="10043"/>
                      <a:pt x="5016" y="10004"/>
                      <a:pt x="4979" y="9981"/>
                    </a:cubicBezTo>
                    <a:cubicBezTo>
                      <a:pt x="4941" y="9959"/>
                      <a:pt x="4899" y="9955"/>
                      <a:pt x="4854" y="9954"/>
                    </a:cubicBezTo>
                    <a:cubicBezTo>
                      <a:pt x="4821" y="9954"/>
                      <a:pt x="4787" y="9957"/>
                      <a:pt x="4753" y="9958"/>
                    </a:cubicBezTo>
                    <a:cubicBezTo>
                      <a:pt x="4683" y="9960"/>
                      <a:pt x="4591" y="9965"/>
                      <a:pt x="4500" y="9965"/>
                    </a:cubicBezTo>
                    <a:cubicBezTo>
                      <a:pt x="4497" y="9965"/>
                      <a:pt x="4495" y="9965"/>
                      <a:pt x="4492" y="9965"/>
                    </a:cubicBezTo>
                    <a:cubicBezTo>
                      <a:pt x="4491" y="9963"/>
                      <a:pt x="4491" y="9962"/>
                      <a:pt x="4491" y="9961"/>
                    </a:cubicBezTo>
                    <a:cubicBezTo>
                      <a:pt x="4489" y="9950"/>
                      <a:pt x="4487" y="9932"/>
                      <a:pt x="4486" y="9912"/>
                    </a:cubicBezTo>
                    <a:cubicBezTo>
                      <a:pt x="4484" y="9871"/>
                      <a:pt x="4484" y="9819"/>
                      <a:pt x="4480" y="9775"/>
                    </a:cubicBezTo>
                    <a:cubicBezTo>
                      <a:pt x="4479" y="9757"/>
                      <a:pt x="4478" y="9740"/>
                      <a:pt x="4478" y="9722"/>
                    </a:cubicBezTo>
                    <a:cubicBezTo>
                      <a:pt x="4478" y="9654"/>
                      <a:pt x="4492" y="9567"/>
                      <a:pt x="4546" y="9361"/>
                    </a:cubicBezTo>
                    <a:cubicBezTo>
                      <a:pt x="4561" y="9306"/>
                      <a:pt x="4567" y="9256"/>
                      <a:pt x="4567" y="9212"/>
                    </a:cubicBezTo>
                    <a:cubicBezTo>
                      <a:pt x="4567" y="9087"/>
                      <a:pt x="4521" y="9006"/>
                      <a:pt x="4494" y="8970"/>
                    </a:cubicBezTo>
                    <a:cubicBezTo>
                      <a:pt x="5914" y="8958"/>
                      <a:pt x="5914" y="8958"/>
                      <a:pt x="5914" y="8958"/>
                    </a:cubicBezTo>
                    <a:cubicBezTo>
                      <a:pt x="5921" y="8991"/>
                      <a:pt x="5938" y="9076"/>
                      <a:pt x="5956" y="9175"/>
                    </a:cubicBezTo>
                    <a:cubicBezTo>
                      <a:pt x="5979" y="9302"/>
                      <a:pt x="6002" y="9451"/>
                      <a:pt x="6004" y="9536"/>
                    </a:cubicBezTo>
                    <a:cubicBezTo>
                      <a:pt x="6005" y="9575"/>
                      <a:pt x="6006" y="9643"/>
                      <a:pt x="6006" y="9720"/>
                    </a:cubicBezTo>
                    <a:cubicBezTo>
                      <a:pt x="6006" y="9804"/>
                      <a:pt x="6005" y="9901"/>
                      <a:pt x="6000" y="9983"/>
                    </a:cubicBezTo>
                    <a:close/>
                    <a:moveTo>
                      <a:pt x="6810" y="10478"/>
                    </a:moveTo>
                    <a:cubicBezTo>
                      <a:pt x="6794" y="10476"/>
                      <a:pt x="6778" y="10474"/>
                      <a:pt x="6763" y="10472"/>
                    </a:cubicBezTo>
                    <a:cubicBezTo>
                      <a:pt x="6384" y="10436"/>
                      <a:pt x="6308" y="10384"/>
                      <a:pt x="6194" y="10355"/>
                    </a:cubicBezTo>
                    <a:cubicBezTo>
                      <a:pt x="6147" y="10342"/>
                      <a:pt x="6081" y="10325"/>
                      <a:pt x="6009" y="10308"/>
                    </a:cubicBezTo>
                    <a:cubicBezTo>
                      <a:pt x="6013" y="10272"/>
                      <a:pt x="6028" y="10138"/>
                      <a:pt x="6036" y="9985"/>
                    </a:cubicBezTo>
                    <a:cubicBezTo>
                      <a:pt x="6041" y="9902"/>
                      <a:pt x="6043" y="9805"/>
                      <a:pt x="6043" y="9720"/>
                    </a:cubicBezTo>
                    <a:cubicBezTo>
                      <a:pt x="6043" y="9642"/>
                      <a:pt x="6041" y="9574"/>
                      <a:pt x="6040" y="9535"/>
                    </a:cubicBezTo>
                    <a:cubicBezTo>
                      <a:pt x="6040" y="9534"/>
                      <a:pt x="6040" y="9533"/>
                      <a:pt x="6040" y="9532"/>
                    </a:cubicBezTo>
                    <a:cubicBezTo>
                      <a:pt x="6047" y="9533"/>
                      <a:pt x="6053" y="9533"/>
                      <a:pt x="6061" y="9533"/>
                    </a:cubicBezTo>
                    <a:cubicBezTo>
                      <a:pt x="6109" y="9533"/>
                      <a:pt x="6188" y="9523"/>
                      <a:pt x="6244" y="9469"/>
                    </a:cubicBezTo>
                    <a:cubicBezTo>
                      <a:pt x="6282" y="9433"/>
                      <a:pt x="6299" y="9376"/>
                      <a:pt x="6302" y="9308"/>
                    </a:cubicBezTo>
                    <a:cubicBezTo>
                      <a:pt x="6309" y="9112"/>
                      <a:pt x="6310" y="8832"/>
                      <a:pt x="6310" y="8778"/>
                    </a:cubicBezTo>
                    <a:cubicBezTo>
                      <a:pt x="7542" y="8815"/>
                      <a:pt x="7542" y="8815"/>
                      <a:pt x="7542" y="8815"/>
                    </a:cubicBezTo>
                    <a:cubicBezTo>
                      <a:pt x="7522" y="8860"/>
                      <a:pt x="7496" y="8919"/>
                      <a:pt x="7466" y="8988"/>
                    </a:cubicBezTo>
                    <a:cubicBezTo>
                      <a:pt x="7394" y="9151"/>
                      <a:pt x="7298" y="9369"/>
                      <a:pt x="7202" y="9589"/>
                    </a:cubicBezTo>
                    <a:cubicBezTo>
                      <a:pt x="7026" y="9988"/>
                      <a:pt x="6848" y="10393"/>
                      <a:pt x="6810" y="10478"/>
                    </a:cubicBezTo>
                    <a:close/>
                    <a:moveTo>
                      <a:pt x="8579" y="8220"/>
                    </a:moveTo>
                    <a:cubicBezTo>
                      <a:pt x="8575" y="8270"/>
                      <a:pt x="8560" y="9045"/>
                      <a:pt x="8559" y="9115"/>
                    </a:cubicBezTo>
                    <a:cubicBezTo>
                      <a:pt x="7646" y="10772"/>
                      <a:pt x="7646" y="10772"/>
                      <a:pt x="7646" y="10772"/>
                    </a:cubicBezTo>
                    <a:cubicBezTo>
                      <a:pt x="7626" y="10760"/>
                      <a:pt x="7626" y="10760"/>
                      <a:pt x="7626" y="10760"/>
                    </a:cubicBezTo>
                    <a:cubicBezTo>
                      <a:pt x="7625" y="10760"/>
                      <a:pt x="7214" y="10545"/>
                      <a:pt x="6847" y="10484"/>
                    </a:cubicBezTo>
                    <a:cubicBezTo>
                      <a:pt x="6852" y="10471"/>
                      <a:pt x="6860" y="10454"/>
                      <a:pt x="6869" y="10432"/>
                    </a:cubicBezTo>
                    <a:cubicBezTo>
                      <a:pt x="6891" y="10383"/>
                      <a:pt x="6922" y="10314"/>
                      <a:pt x="6959" y="10230"/>
                    </a:cubicBezTo>
                    <a:cubicBezTo>
                      <a:pt x="7032" y="10063"/>
                      <a:pt x="7130" y="9841"/>
                      <a:pt x="7228" y="9619"/>
                    </a:cubicBezTo>
                    <a:cubicBezTo>
                      <a:pt x="7423" y="9175"/>
                      <a:pt x="7618" y="8731"/>
                      <a:pt x="7618" y="8731"/>
                    </a:cubicBezTo>
                    <a:cubicBezTo>
                      <a:pt x="7619" y="8729"/>
                      <a:pt x="7619" y="8729"/>
                      <a:pt x="7619" y="8729"/>
                    </a:cubicBezTo>
                    <a:cubicBezTo>
                      <a:pt x="7846" y="7342"/>
                      <a:pt x="7846" y="7342"/>
                      <a:pt x="7846" y="7342"/>
                    </a:cubicBezTo>
                    <a:cubicBezTo>
                      <a:pt x="7862" y="7353"/>
                      <a:pt x="7878" y="7365"/>
                      <a:pt x="7896" y="7378"/>
                    </a:cubicBezTo>
                    <a:cubicBezTo>
                      <a:pt x="7993" y="7446"/>
                      <a:pt x="8123" y="7537"/>
                      <a:pt x="8252" y="7627"/>
                    </a:cubicBezTo>
                    <a:cubicBezTo>
                      <a:pt x="8477" y="7784"/>
                      <a:pt x="8702" y="7940"/>
                      <a:pt x="8757" y="7978"/>
                    </a:cubicBezTo>
                    <a:cubicBezTo>
                      <a:pt x="8752" y="7981"/>
                      <a:pt x="8746" y="7983"/>
                      <a:pt x="8741" y="7985"/>
                    </a:cubicBezTo>
                    <a:cubicBezTo>
                      <a:pt x="8669" y="8019"/>
                      <a:pt x="8594" y="8089"/>
                      <a:pt x="8579" y="8220"/>
                    </a:cubicBezTo>
                    <a:close/>
                    <a:moveTo>
                      <a:pt x="11316" y="9017"/>
                    </a:moveTo>
                    <a:cubicBezTo>
                      <a:pt x="11281" y="9043"/>
                      <a:pt x="11233" y="9081"/>
                      <a:pt x="11175" y="9126"/>
                    </a:cubicBezTo>
                    <a:cubicBezTo>
                      <a:pt x="11060" y="9215"/>
                      <a:pt x="10907" y="9334"/>
                      <a:pt x="10755" y="9453"/>
                    </a:cubicBezTo>
                    <a:cubicBezTo>
                      <a:pt x="10481" y="9667"/>
                      <a:pt x="10209" y="9880"/>
                      <a:pt x="10158" y="9921"/>
                    </a:cubicBezTo>
                    <a:cubicBezTo>
                      <a:pt x="10152" y="9909"/>
                      <a:pt x="10147" y="9899"/>
                      <a:pt x="10142" y="9892"/>
                    </a:cubicBezTo>
                    <a:cubicBezTo>
                      <a:pt x="10114" y="9855"/>
                      <a:pt x="10039" y="9794"/>
                      <a:pt x="9950" y="9731"/>
                    </a:cubicBezTo>
                    <a:cubicBezTo>
                      <a:pt x="9862" y="9669"/>
                      <a:pt x="9761" y="9608"/>
                      <a:pt x="9686" y="9576"/>
                    </a:cubicBezTo>
                    <a:cubicBezTo>
                      <a:pt x="9536" y="9514"/>
                      <a:pt x="9348" y="9473"/>
                      <a:pt x="9194" y="9428"/>
                    </a:cubicBezTo>
                    <a:cubicBezTo>
                      <a:pt x="9120" y="9407"/>
                      <a:pt x="8967" y="9326"/>
                      <a:pt x="8834" y="9250"/>
                    </a:cubicBezTo>
                    <a:cubicBezTo>
                      <a:pt x="8722" y="9186"/>
                      <a:pt x="8624" y="9127"/>
                      <a:pt x="8595" y="9109"/>
                    </a:cubicBezTo>
                    <a:cubicBezTo>
                      <a:pt x="8597" y="9015"/>
                      <a:pt x="8612" y="8267"/>
                      <a:pt x="8615" y="8224"/>
                    </a:cubicBezTo>
                    <a:cubicBezTo>
                      <a:pt x="8629" y="8105"/>
                      <a:pt x="8692" y="8049"/>
                      <a:pt x="8756" y="8018"/>
                    </a:cubicBezTo>
                    <a:cubicBezTo>
                      <a:pt x="8820" y="7988"/>
                      <a:pt x="8884" y="7986"/>
                      <a:pt x="8890" y="7987"/>
                    </a:cubicBezTo>
                    <a:cubicBezTo>
                      <a:pt x="10096" y="8068"/>
                      <a:pt x="10096" y="8068"/>
                      <a:pt x="10096" y="8068"/>
                    </a:cubicBezTo>
                    <a:cubicBezTo>
                      <a:pt x="10132" y="8095"/>
                      <a:pt x="10377" y="8282"/>
                      <a:pt x="10525" y="8395"/>
                    </a:cubicBezTo>
                    <a:cubicBezTo>
                      <a:pt x="10685" y="8518"/>
                      <a:pt x="11027" y="8755"/>
                      <a:pt x="11321" y="8967"/>
                    </a:cubicBezTo>
                    <a:cubicBezTo>
                      <a:pt x="11331" y="8974"/>
                      <a:pt x="11342" y="8982"/>
                      <a:pt x="11352" y="8990"/>
                    </a:cubicBezTo>
                    <a:cubicBezTo>
                      <a:pt x="11342" y="8997"/>
                      <a:pt x="11331" y="9006"/>
                      <a:pt x="11316" y="9017"/>
                    </a:cubicBezTo>
                    <a:close/>
                    <a:moveTo>
                      <a:pt x="10102" y="8026"/>
                    </a:moveTo>
                    <a:cubicBezTo>
                      <a:pt x="10109" y="8032"/>
                      <a:pt x="10109" y="8032"/>
                      <a:pt x="10109" y="8032"/>
                    </a:cubicBezTo>
                    <a:cubicBezTo>
                      <a:pt x="10109" y="8032"/>
                      <a:pt x="10109" y="8032"/>
                      <a:pt x="10109" y="8032"/>
                    </a:cubicBezTo>
                    <a:lnTo>
                      <a:pt x="10102" y="8026"/>
                    </a:lnTo>
                    <a:close/>
                    <a:moveTo>
                      <a:pt x="11342" y="8937"/>
                    </a:moveTo>
                    <a:cubicBezTo>
                      <a:pt x="11048" y="8725"/>
                      <a:pt x="10705" y="8488"/>
                      <a:pt x="10547" y="8366"/>
                    </a:cubicBezTo>
                    <a:cubicBezTo>
                      <a:pt x="10410" y="8261"/>
                      <a:pt x="10190" y="8094"/>
                      <a:pt x="10130" y="8048"/>
                    </a:cubicBezTo>
                    <a:cubicBezTo>
                      <a:pt x="10131" y="8047"/>
                      <a:pt x="10132" y="8045"/>
                      <a:pt x="10132" y="8044"/>
                    </a:cubicBezTo>
                    <a:cubicBezTo>
                      <a:pt x="10133" y="8042"/>
                      <a:pt x="10133" y="8041"/>
                      <a:pt x="10133" y="8041"/>
                    </a:cubicBezTo>
                    <a:cubicBezTo>
                      <a:pt x="10134" y="8039"/>
                      <a:pt x="10134" y="8038"/>
                      <a:pt x="10134" y="8036"/>
                    </a:cubicBezTo>
                    <a:cubicBezTo>
                      <a:pt x="10134" y="8033"/>
                      <a:pt x="10134" y="8030"/>
                      <a:pt x="10135" y="8025"/>
                    </a:cubicBezTo>
                    <a:cubicBezTo>
                      <a:pt x="10135" y="8016"/>
                      <a:pt x="10135" y="8002"/>
                      <a:pt x="10136" y="7985"/>
                    </a:cubicBezTo>
                    <a:cubicBezTo>
                      <a:pt x="10136" y="7952"/>
                      <a:pt x="10136" y="7904"/>
                      <a:pt x="10136" y="7846"/>
                    </a:cubicBezTo>
                    <a:cubicBezTo>
                      <a:pt x="10136" y="7498"/>
                      <a:pt x="10129" y="6797"/>
                      <a:pt x="10129" y="6797"/>
                    </a:cubicBezTo>
                    <a:cubicBezTo>
                      <a:pt x="10129" y="6797"/>
                      <a:pt x="10129" y="6797"/>
                      <a:pt x="10129" y="6797"/>
                    </a:cubicBezTo>
                    <a:cubicBezTo>
                      <a:pt x="10129" y="6796"/>
                      <a:pt x="10129" y="6796"/>
                      <a:pt x="10129" y="6796"/>
                    </a:cubicBezTo>
                    <a:cubicBezTo>
                      <a:pt x="10129" y="6794"/>
                      <a:pt x="10124" y="6728"/>
                      <a:pt x="10076" y="6660"/>
                    </a:cubicBezTo>
                    <a:cubicBezTo>
                      <a:pt x="10028" y="6593"/>
                      <a:pt x="9936" y="6526"/>
                      <a:pt x="9771" y="6526"/>
                    </a:cubicBezTo>
                    <a:cubicBezTo>
                      <a:pt x="9766" y="6526"/>
                      <a:pt x="9761" y="6526"/>
                      <a:pt x="9756" y="6526"/>
                    </a:cubicBezTo>
                    <a:cubicBezTo>
                      <a:pt x="9708" y="6528"/>
                      <a:pt x="9654" y="6528"/>
                      <a:pt x="9596" y="6528"/>
                    </a:cubicBezTo>
                    <a:cubicBezTo>
                      <a:pt x="9421" y="6528"/>
                      <a:pt x="9213" y="6524"/>
                      <a:pt x="9048" y="6519"/>
                    </a:cubicBezTo>
                    <a:cubicBezTo>
                      <a:pt x="8986" y="6517"/>
                      <a:pt x="8931" y="6516"/>
                      <a:pt x="8886" y="6514"/>
                    </a:cubicBezTo>
                    <a:cubicBezTo>
                      <a:pt x="9697" y="6239"/>
                      <a:pt x="9697" y="6239"/>
                      <a:pt x="9697" y="6239"/>
                    </a:cubicBezTo>
                    <a:cubicBezTo>
                      <a:pt x="11002" y="5811"/>
                      <a:pt x="11002" y="5811"/>
                      <a:pt x="11002" y="5811"/>
                    </a:cubicBezTo>
                    <a:cubicBezTo>
                      <a:pt x="11668" y="5625"/>
                      <a:pt x="11668" y="5625"/>
                      <a:pt x="11668" y="5625"/>
                    </a:cubicBezTo>
                    <a:cubicBezTo>
                      <a:pt x="11772" y="5745"/>
                      <a:pt x="12018" y="5978"/>
                      <a:pt x="12018" y="5978"/>
                    </a:cubicBezTo>
                    <a:cubicBezTo>
                      <a:pt x="12019" y="5980"/>
                      <a:pt x="12019" y="5980"/>
                      <a:pt x="12019" y="5980"/>
                    </a:cubicBezTo>
                    <a:cubicBezTo>
                      <a:pt x="12021" y="5981"/>
                      <a:pt x="12021" y="5981"/>
                      <a:pt x="12021" y="5981"/>
                    </a:cubicBezTo>
                    <a:cubicBezTo>
                      <a:pt x="12021" y="5981"/>
                      <a:pt x="12173" y="6076"/>
                      <a:pt x="12339" y="6177"/>
                    </a:cubicBezTo>
                    <a:cubicBezTo>
                      <a:pt x="12506" y="6279"/>
                      <a:pt x="12684" y="6386"/>
                      <a:pt x="12742" y="6411"/>
                    </a:cubicBezTo>
                    <a:cubicBezTo>
                      <a:pt x="12809" y="6441"/>
                      <a:pt x="12813" y="6468"/>
                      <a:pt x="12814" y="6481"/>
                    </a:cubicBezTo>
                    <a:cubicBezTo>
                      <a:pt x="12814" y="6487"/>
                      <a:pt x="12812" y="6491"/>
                      <a:pt x="12812" y="6492"/>
                    </a:cubicBezTo>
                    <a:cubicBezTo>
                      <a:pt x="12812" y="6492"/>
                      <a:pt x="12812" y="6492"/>
                      <a:pt x="12812" y="6492"/>
                    </a:cubicBezTo>
                    <a:cubicBezTo>
                      <a:pt x="12811" y="6493"/>
                      <a:pt x="12811" y="6493"/>
                      <a:pt x="12811" y="6493"/>
                    </a:cubicBezTo>
                    <a:cubicBezTo>
                      <a:pt x="12742" y="6694"/>
                      <a:pt x="12742" y="6694"/>
                      <a:pt x="12742" y="6694"/>
                    </a:cubicBezTo>
                    <a:cubicBezTo>
                      <a:pt x="12550" y="6987"/>
                      <a:pt x="12550" y="6987"/>
                      <a:pt x="12550" y="6987"/>
                    </a:cubicBezTo>
                    <a:cubicBezTo>
                      <a:pt x="12594" y="7187"/>
                      <a:pt x="12594" y="7187"/>
                      <a:pt x="12594" y="7187"/>
                    </a:cubicBezTo>
                    <a:cubicBezTo>
                      <a:pt x="12476" y="7166"/>
                      <a:pt x="11999" y="7079"/>
                      <a:pt x="11823" y="7052"/>
                    </a:cubicBezTo>
                    <a:cubicBezTo>
                      <a:pt x="11811" y="7050"/>
                      <a:pt x="11800" y="7049"/>
                      <a:pt x="11790" y="7049"/>
                    </a:cubicBezTo>
                    <a:cubicBezTo>
                      <a:pt x="11693" y="7049"/>
                      <a:pt x="11641" y="7120"/>
                      <a:pt x="11616" y="7185"/>
                    </a:cubicBezTo>
                    <a:cubicBezTo>
                      <a:pt x="11590" y="7250"/>
                      <a:pt x="11587" y="7313"/>
                      <a:pt x="11587" y="7314"/>
                    </a:cubicBezTo>
                    <a:cubicBezTo>
                      <a:pt x="11587" y="7315"/>
                      <a:pt x="11587" y="7315"/>
                      <a:pt x="11587" y="7315"/>
                    </a:cubicBezTo>
                    <a:cubicBezTo>
                      <a:pt x="11610" y="7721"/>
                      <a:pt x="11610" y="7721"/>
                      <a:pt x="11610" y="7721"/>
                    </a:cubicBezTo>
                    <a:cubicBezTo>
                      <a:pt x="11620" y="7726"/>
                      <a:pt x="11620" y="7726"/>
                      <a:pt x="11620" y="7726"/>
                    </a:cubicBezTo>
                    <a:cubicBezTo>
                      <a:pt x="11801" y="7809"/>
                      <a:pt x="11841" y="7921"/>
                      <a:pt x="11841" y="8014"/>
                    </a:cubicBezTo>
                    <a:cubicBezTo>
                      <a:pt x="11842" y="8083"/>
                      <a:pt x="11818" y="8142"/>
                      <a:pt x="11806" y="8166"/>
                    </a:cubicBezTo>
                    <a:cubicBezTo>
                      <a:pt x="11802" y="8174"/>
                      <a:pt x="11800" y="8178"/>
                      <a:pt x="11800" y="8179"/>
                    </a:cubicBezTo>
                    <a:cubicBezTo>
                      <a:pt x="11386" y="8971"/>
                      <a:pt x="11386" y="8971"/>
                      <a:pt x="11386" y="8971"/>
                    </a:cubicBezTo>
                    <a:cubicBezTo>
                      <a:pt x="11372" y="8960"/>
                      <a:pt x="11357" y="8949"/>
                      <a:pt x="11342" y="8937"/>
                    </a:cubicBezTo>
                    <a:close/>
                    <a:moveTo>
                      <a:pt x="13766" y="8856"/>
                    </a:moveTo>
                    <a:cubicBezTo>
                      <a:pt x="13766" y="8856"/>
                      <a:pt x="13766" y="8856"/>
                      <a:pt x="13766" y="8856"/>
                    </a:cubicBezTo>
                    <a:cubicBezTo>
                      <a:pt x="13767" y="8856"/>
                      <a:pt x="13767" y="8856"/>
                      <a:pt x="13767" y="8856"/>
                    </a:cubicBezTo>
                    <a:lnTo>
                      <a:pt x="13766" y="8856"/>
                    </a:lnTo>
                    <a:close/>
                    <a:moveTo>
                      <a:pt x="15445" y="6085"/>
                    </a:moveTo>
                    <a:cubicBezTo>
                      <a:pt x="15448" y="6084"/>
                      <a:pt x="15451" y="6082"/>
                      <a:pt x="15453" y="6080"/>
                    </a:cubicBezTo>
                    <a:cubicBezTo>
                      <a:pt x="15456" y="6076"/>
                      <a:pt x="15459" y="6071"/>
                      <a:pt x="15461" y="6065"/>
                    </a:cubicBezTo>
                    <a:cubicBezTo>
                      <a:pt x="15464" y="6059"/>
                      <a:pt x="15466" y="6051"/>
                      <a:pt x="15469" y="6042"/>
                    </a:cubicBezTo>
                    <a:cubicBezTo>
                      <a:pt x="15657" y="6087"/>
                      <a:pt x="16112" y="6226"/>
                      <a:pt x="16477" y="6585"/>
                    </a:cubicBezTo>
                    <a:cubicBezTo>
                      <a:pt x="16916" y="7018"/>
                      <a:pt x="17104" y="7547"/>
                      <a:pt x="17170" y="7785"/>
                    </a:cubicBezTo>
                    <a:cubicBezTo>
                      <a:pt x="17192" y="7864"/>
                      <a:pt x="17201" y="7910"/>
                      <a:pt x="17201" y="7910"/>
                    </a:cubicBezTo>
                    <a:cubicBezTo>
                      <a:pt x="17201" y="7911"/>
                      <a:pt x="17201" y="7911"/>
                      <a:pt x="17201" y="7911"/>
                    </a:cubicBezTo>
                    <a:cubicBezTo>
                      <a:pt x="17201" y="7912"/>
                      <a:pt x="17201" y="7912"/>
                      <a:pt x="17201" y="7912"/>
                    </a:cubicBezTo>
                    <a:cubicBezTo>
                      <a:pt x="17252" y="8073"/>
                      <a:pt x="17272" y="8225"/>
                      <a:pt x="17272" y="8363"/>
                    </a:cubicBezTo>
                    <a:cubicBezTo>
                      <a:pt x="17272" y="8694"/>
                      <a:pt x="17161" y="8947"/>
                      <a:pt x="17106" y="9053"/>
                    </a:cubicBezTo>
                    <a:cubicBezTo>
                      <a:pt x="17088" y="9087"/>
                      <a:pt x="17076" y="9105"/>
                      <a:pt x="17076" y="9106"/>
                    </a:cubicBezTo>
                    <a:cubicBezTo>
                      <a:pt x="16902" y="9059"/>
                      <a:pt x="16763" y="9055"/>
                      <a:pt x="16711" y="9055"/>
                    </a:cubicBezTo>
                    <a:cubicBezTo>
                      <a:pt x="16702" y="9055"/>
                      <a:pt x="16695" y="9056"/>
                      <a:pt x="16692" y="9056"/>
                    </a:cubicBezTo>
                    <a:cubicBezTo>
                      <a:pt x="16692" y="9056"/>
                      <a:pt x="16692" y="9056"/>
                      <a:pt x="16692" y="9056"/>
                    </a:cubicBezTo>
                    <a:cubicBezTo>
                      <a:pt x="16691" y="9055"/>
                      <a:pt x="16691" y="9055"/>
                      <a:pt x="16690" y="9055"/>
                    </a:cubicBezTo>
                    <a:cubicBezTo>
                      <a:pt x="16690" y="9055"/>
                      <a:pt x="16689" y="9055"/>
                      <a:pt x="16689" y="9055"/>
                    </a:cubicBezTo>
                    <a:cubicBezTo>
                      <a:pt x="16688" y="9055"/>
                      <a:pt x="16688" y="9055"/>
                      <a:pt x="16687" y="9055"/>
                    </a:cubicBezTo>
                    <a:cubicBezTo>
                      <a:pt x="16685" y="9055"/>
                      <a:pt x="16683" y="9055"/>
                      <a:pt x="16680" y="9055"/>
                    </a:cubicBezTo>
                    <a:cubicBezTo>
                      <a:pt x="16562" y="9055"/>
                      <a:pt x="15359" y="9073"/>
                      <a:pt x="14542" y="9086"/>
                    </a:cubicBezTo>
                    <a:cubicBezTo>
                      <a:pt x="14539" y="9070"/>
                      <a:pt x="14529" y="8997"/>
                      <a:pt x="14529" y="8898"/>
                    </a:cubicBezTo>
                    <a:cubicBezTo>
                      <a:pt x="14529" y="8776"/>
                      <a:pt x="14546" y="8616"/>
                      <a:pt x="14616" y="8490"/>
                    </a:cubicBezTo>
                    <a:cubicBezTo>
                      <a:pt x="14755" y="8239"/>
                      <a:pt x="14784" y="8008"/>
                      <a:pt x="14784" y="8007"/>
                    </a:cubicBezTo>
                    <a:cubicBezTo>
                      <a:pt x="14785" y="8006"/>
                      <a:pt x="14785" y="8006"/>
                      <a:pt x="14785" y="8006"/>
                    </a:cubicBezTo>
                    <a:cubicBezTo>
                      <a:pt x="14785" y="8006"/>
                      <a:pt x="14785" y="8006"/>
                      <a:pt x="14785" y="8006"/>
                    </a:cubicBezTo>
                    <a:cubicBezTo>
                      <a:pt x="14785" y="8005"/>
                      <a:pt x="14793" y="7886"/>
                      <a:pt x="14807" y="7722"/>
                    </a:cubicBezTo>
                    <a:cubicBezTo>
                      <a:pt x="14820" y="7557"/>
                      <a:pt x="14840" y="7349"/>
                      <a:pt x="14863" y="7173"/>
                    </a:cubicBezTo>
                    <a:cubicBezTo>
                      <a:pt x="14903" y="6866"/>
                      <a:pt x="14972" y="6761"/>
                      <a:pt x="14986" y="6742"/>
                    </a:cubicBezTo>
                    <a:cubicBezTo>
                      <a:pt x="14988" y="6739"/>
                      <a:pt x="14989" y="6738"/>
                      <a:pt x="14989" y="6738"/>
                    </a:cubicBezTo>
                    <a:cubicBezTo>
                      <a:pt x="14991" y="6737"/>
                      <a:pt x="14991" y="6737"/>
                      <a:pt x="14991" y="6737"/>
                    </a:cubicBezTo>
                    <a:cubicBezTo>
                      <a:pt x="14992" y="6735"/>
                      <a:pt x="14992" y="6735"/>
                      <a:pt x="14992" y="6735"/>
                    </a:cubicBezTo>
                    <a:cubicBezTo>
                      <a:pt x="15048" y="6628"/>
                      <a:pt x="15216" y="6407"/>
                      <a:pt x="15324" y="6266"/>
                    </a:cubicBezTo>
                    <a:cubicBezTo>
                      <a:pt x="15397" y="6171"/>
                      <a:pt x="15434" y="6107"/>
                      <a:pt x="15445" y="6085"/>
                    </a:cubicBezTo>
                    <a:close/>
                    <a:moveTo>
                      <a:pt x="14189" y="5789"/>
                    </a:moveTo>
                    <a:cubicBezTo>
                      <a:pt x="15391" y="6025"/>
                      <a:pt x="15391" y="6025"/>
                      <a:pt x="15391" y="6025"/>
                    </a:cubicBezTo>
                    <a:cubicBezTo>
                      <a:pt x="15399" y="6026"/>
                      <a:pt x="15414" y="6029"/>
                      <a:pt x="15433" y="6034"/>
                    </a:cubicBezTo>
                    <a:cubicBezTo>
                      <a:pt x="15433" y="6036"/>
                      <a:pt x="15432" y="6038"/>
                      <a:pt x="15432" y="6040"/>
                    </a:cubicBezTo>
                    <a:cubicBezTo>
                      <a:pt x="15429" y="6037"/>
                      <a:pt x="15429" y="6037"/>
                      <a:pt x="15429" y="6037"/>
                    </a:cubicBezTo>
                    <a:cubicBezTo>
                      <a:pt x="15417" y="6061"/>
                      <a:pt x="15417" y="6061"/>
                      <a:pt x="15417" y="6061"/>
                    </a:cubicBezTo>
                    <a:cubicBezTo>
                      <a:pt x="15417" y="6061"/>
                      <a:pt x="15409" y="6077"/>
                      <a:pt x="15390" y="6109"/>
                    </a:cubicBezTo>
                    <a:cubicBezTo>
                      <a:pt x="15371" y="6140"/>
                      <a:pt x="15340" y="6186"/>
                      <a:pt x="15295" y="6244"/>
                    </a:cubicBezTo>
                    <a:cubicBezTo>
                      <a:pt x="15187" y="6385"/>
                      <a:pt x="15021" y="6604"/>
                      <a:pt x="14961" y="6716"/>
                    </a:cubicBezTo>
                    <a:cubicBezTo>
                      <a:pt x="14948" y="6732"/>
                      <a:pt x="14870" y="6837"/>
                      <a:pt x="14827" y="7168"/>
                    </a:cubicBezTo>
                    <a:cubicBezTo>
                      <a:pt x="14783" y="7513"/>
                      <a:pt x="14750" y="7977"/>
                      <a:pt x="14749" y="8002"/>
                    </a:cubicBezTo>
                    <a:cubicBezTo>
                      <a:pt x="14749" y="8002"/>
                      <a:pt x="14747" y="8016"/>
                      <a:pt x="14742" y="8041"/>
                    </a:cubicBezTo>
                    <a:cubicBezTo>
                      <a:pt x="14737" y="8066"/>
                      <a:pt x="14729" y="8101"/>
                      <a:pt x="14717" y="8145"/>
                    </a:cubicBezTo>
                    <a:cubicBezTo>
                      <a:pt x="14693" y="8232"/>
                      <a:pt x="14652" y="8350"/>
                      <a:pt x="14584" y="8473"/>
                    </a:cubicBezTo>
                    <a:cubicBezTo>
                      <a:pt x="14510" y="8608"/>
                      <a:pt x="14493" y="8772"/>
                      <a:pt x="14493" y="8898"/>
                    </a:cubicBezTo>
                    <a:cubicBezTo>
                      <a:pt x="14493" y="8991"/>
                      <a:pt x="14502" y="9063"/>
                      <a:pt x="14505" y="9087"/>
                    </a:cubicBezTo>
                    <a:cubicBezTo>
                      <a:pt x="14153" y="9092"/>
                      <a:pt x="13879" y="9096"/>
                      <a:pt x="13805" y="9098"/>
                    </a:cubicBezTo>
                    <a:cubicBezTo>
                      <a:pt x="13787" y="9095"/>
                      <a:pt x="13787" y="9095"/>
                      <a:pt x="13787" y="9095"/>
                    </a:cubicBezTo>
                    <a:cubicBezTo>
                      <a:pt x="13783" y="9046"/>
                      <a:pt x="13779" y="9002"/>
                      <a:pt x="13776" y="8966"/>
                    </a:cubicBezTo>
                    <a:cubicBezTo>
                      <a:pt x="13771" y="8906"/>
                      <a:pt x="13768" y="8863"/>
                      <a:pt x="13767" y="8852"/>
                    </a:cubicBezTo>
                    <a:cubicBezTo>
                      <a:pt x="13768" y="8849"/>
                      <a:pt x="13768" y="8845"/>
                      <a:pt x="13767" y="8840"/>
                    </a:cubicBezTo>
                    <a:cubicBezTo>
                      <a:pt x="13767" y="8838"/>
                      <a:pt x="13767" y="8835"/>
                      <a:pt x="13766" y="8833"/>
                    </a:cubicBezTo>
                    <a:cubicBezTo>
                      <a:pt x="13766" y="8832"/>
                      <a:pt x="13766" y="8832"/>
                      <a:pt x="13766" y="8832"/>
                    </a:cubicBezTo>
                    <a:cubicBezTo>
                      <a:pt x="13766" y="8832"/>
                      <a:pt x="13766" y="8832"/>
                      <a:pt x="13766" y="8832"/>
                    </a:cubicBezTo>
                    <a:cubicBezTo>
                      <a:pt x="13766" y="8832"/>
                      <a:pt x="13766" y="8832"/>
                      <a:pt x="13766" y="8831"/>
                    </a:cubicBezTo>
                    <a:cubicBezTo>
                      <a:pt x="13765" y="8830"/>
                      <a:pt x="13765" y="8828"/>
                      <a:pt x="13764" y="8825"/>
                    </a:cubicBezTo>
                    <a:cubicBezTo>
                      <a:pt x="13763" y="8818"/>
                      <a:pt x="13761" y="8807"/>
                      <a:pt x="13760" y="8791"/>
                    </a:cubicBezTo>
                    <a:cubicBezTo>
                      <a:pt x="13756" y="8760"/>
                      <a:pt x="13752" y="8711"/>
                      <a:pt x="13752" y="8640"/>
                    </a:cubicBezTo>
                    <a:cubicBezTo>
                      <a:pt x="13752" y="8518"/>
                      <a:pt x="13763" y="8332"/>
                      <a:pt x="13806" y="8066"/>
                    </a:cubicBezTo>
                    <a:cubicBezTo>
                      <a:pt x="13862" y="7709"/>
                      <a:pt x="14046" y="6593"/>
                      <a:pt x="14179" y="5788"/>
                    </a:cubicBezTo>
                    <a:lnTo>
                      <a:pt x="14189" y="5789"/>
                    </a:lnTo>
                    <a:close/>
                    <a:moveTo>
                      <a:pt x="13692" y="8048"/>
                    </a:moveTo>
                    <a:cubicBezTo>
                      <a:pt x="13649" y="8319"/>
                      <a:pt x="13637" y="8511"/>
                      <a:pt x="13637" y="8640"/>
                    </a:cubicBezTo>
                    <a:cubicBezTo>
                      <a:pt x="13637" y="8763"/>
                      <a:pt x="13648" y="8829"/>
                      <a:pt x="13653" y="8852"/>
                    </a:cubicBezTo>
                    <a:cubicBezTo>
                      <a:pt x="13653" y="8855"/>
                      <a:pt x="13653" y="8859"/>
                      <a:pt x="13653" y="8864"/>
                    </a:cubicBezTo>
                    <a:cubicBezTo>
                      <a:pt x="13648" y="8865"/>
                      <a:pt x="13642" y="8867"/>
                      <a:pt x="13637" y="8868"/>
                    </a:cubicBezTo>
                    <a:cubicBezTo>
                      <a:pt x="12629" y="8901"/>
                      <a:pt x="12629" y="8901"/>
                      <a:pt x="12629" y="8901"/>
                    </a:cubicBezTo>
                    <a:cubicBezTo>
                      <a:pt x="12627" y="8902"/>
                      <a:pt x="12627" y="8902"/>
                      <a:pt x="12627" y="8902"/>
                    </a:cubicBezTo>
                    <a:cubicBezTo>
                      <a:pt x="12626" y="8902"/>
                      <a:pt x="12589" y="8910"/>
                      <a:pt x="12550" y="8936"/>
                    </a:cubicBezTo>
                    <a:cubicBezTo>
                      <a:pt x="12512" y="8962"/>
                      <a:pt x="12472" y="9010"/>
                      <a:pt x="12472" y="9084"/>
                    </a:cubicBezTo>
                    <a:cubicBezTo>
                      <a:pt x="12472" y="9086"/>
                      <a:pt x="12473" y="9088"/>
                      <a:pt x="12473" y="9091"/>
                    </a:cubicBezTo>
                    <a:cubicBezTo>
                      <a:pt x="12473" y="9100"/>
                      <a:pt x="12473" y="9108"/>
                      <a:pt x="12473" y="9117"/>
                    </a:cubicBezTo>
                    <a:cubicBezTo>
                      <a:pt x="12473" y="9173"/>
                      <a:pt x="12466" y="9200"/>
                      <a:pt x="12448" y="9221"/>
                    </a:cubicBezTo>
                    <a:cubicBezTo>
                      <a:pt x="12430" y="9242"/>
                      <a:pt x="12395" y="9260"/>
                      <a:pt x="12338" y="9289"/>
                    </a:cubicBezTo>
                    <a:cubicBezTo>
                      <a:pt x="12278" y="9319"/>
                      <a:pt x="12143" y="9374"/>
                      <a:pt x="12024" y="9421"/>
                    </a:cubicBezTo>
                    <a:cubicBezTo>
                      <a:pt x="11904" y="9468"/>
                      <a:pt x="11801" y="9507"/>
                      <a:pt x="11800" y="9507"/>
                    </a:cubicBezTo>
                    <a:cubicBezTo>
                      <a:pt x="11796" y="9509"/>
                      <a:pt x="11796" y="9509"/>
                      <a:pt x="11796" y="9509"/>
                    </a:cubicBezTo>
                    <a:cubicBezTo>
                      <a:pt x="11740" y="9377"/>
                      <a:pt x="11740" y="9377"/>
                      <a:pt x="11740" y="9377"/>
                    </a:cubicBezTo>
                    <a:cubicBezTo>
                      <a:pt x="11739" y="9375"/>
                      <a:pt x="11655" y="9189"/>
                      <a:pt x="11415" y="8994"/>
                    </a:cubicBezTo>
                    <a:cubicBezTo>
                      <a:pt x="11831" y="8196"/>
                      <a:pt x="11831" y="8196"/>
                      <a:pt x="11831" y="8196"/>
                    </a:cubicBezTo>
                    <a:cubicBezTo>
                      <a:pt x="11832" y="8195"/>
                      <a:pt x="11877" y="8117"/>
                      <a:pt x="11878" y="8014"/>
                    </a:cubicBezTo>
                    <a:cubicBezTo>
                      <a:pt x="11878" y="7911"/>
                      <a:pt x="11828" y="7783"/>
                      <a:pt x="11645" y="7698"/>
                    </a:cubicBezTo>
                    <a:cubicBezTo>
                      <a:pt x="11623" y="7315"/>
                      <a:pt x="11623" y="7315"/>
                      <a:pt x="11623" y="7315"/>
                    </a:cubicBezTo>
                    <a:cubicBezTo>
                      <a:pt x="11624" y="7312"/>
                      <a:pt x="11624" y="7299"/>
                      <a:pt x="11628" y="7279"/>
                    </a:cubicBezTo>
                    <a:cubicBezTo>
                      <a:pt x="11631" y="7257"/>
                      <a:pt x="11638" y="7227"/>
                      <a:pt x="11650" y="7198"/>
                    </a:cubicBezTo>
                    <a:cubicBezTo>
                      <a:pt x="11674" y="7139"/>
                      <a:pt x="11714" y="7085"/>
                      <a:pt x="11790" y="7085"/>
                    </a:cubicBezTo>
                    <a:cubicBezTo>
                      <a:pt x="11798" y="7085"/>
                      <a:pt x="11808" y="7086"/>
                      <a:pt x="11817" y="7088"/>
                    </a:cubicBezTo>
                    <a:cubicBezTo>
                      <a:pt x="11918" y="7103"/>
                      <a:pt x="12117" y="7138"/>
                      <a:pt x="12291" y="7169"/>
                    </a:cubicBezTo>
                    <a:cubicBezTo>
                      <a:pt x="12465" y="7200"/>
                      <a:pt x="12614" y="7228"/>
                      <a:pt x="12614" y="7228"/>
                    </a:cubicBezTo>
                    <a:cubicBezTo>
                      <a:pt x="12641" y="7233"/>
                      <a:pt x="12641" y="7233"/>
                      <a:pt x="12641" y="7233"/>
                    </a:cubicBezTo>
                    <a:cubicBezTo>
                      <a:pt x="12589" y="6994"/>
                      <a:pt x="12589" y="6994"/>
                      <a:pt x="12589" y="6994"/>
                    </a:cubicBezTo>
                    <a:cubicBezTo>
                      <a:pt x="12774" y="6710"/>
                      <a:pt x="12774" y="6710"/>
                      <a:pt x="12774" y="6710"/>
                    </a:cubicBezTo>
                    <a:cubicBezTo>
                      <a:pt x="12845" y="6507"/>
                      <a:pt x="12845" y="6507"/>
                      <a:pt x="12845" y="6507"/>
                    </a:cubicBezTo>
                    <a:cubicBezTo>
                      <a:pt x="12847" y="6503"/>
                      <a:pt x="12850" y="6494"/>
                      <a:pt x="12850" y="6481"/>
                    </a:cubicBezTo>
                    <a:cubicBezTo>
                      <a:pt x="12851" y="6452"/>
                      <a:pt x="12830" y="6410"/>
                      <a:pt x="12756" y="6378"/>
                    </a:cubicBezTo>
                    <a:cubicBezTo>
                      <a:pt x="12704" y="6356"/>
                      <a:pt x="12524" y="6248"/>
                      <a:pt x="12358" y="6147"/>
                    </a:cubicBezTo>
                    <a:cubicBezTo>
                      <a:pt x="12202" y="6051"/>
                      <a:pt x="12058" y="5961"/>
                      <a:pt x="12042" y="5951"/>
                    </a:cubicBezTo>
                    <a:cubicBezTo>
                      <a:pt x="12032" y="5942"/>
                      <a:pt x="11974" y="5887"/>
                      <a:pt x="11906" y="5819"/>
                    </a:cubicBezTo>
                    <a:cubicBezTo>
                      <a:pt x="11837" y="5752"/>
                      <a:pt x="11758" y="5672"/>
                      <a:pt x="11707" y="5614"/>
                    </a:cubicBezTo>
                    <a:cubicBezTo>
                      <a:pt x="14189" y="4920"/>
                      <a:pt x="14189" y="4920"/>
                      <a:pt x="14189" y="4920"/>
                    </a:cubicBezTo>
                    <a:cubicBezTo>
                      <a:pt x="14206" y="4918"/>
                      <a:pt x="14206" y="4918"/>
                      <a:pt x="14206" y="4918"/>
                    </a:cubicBezTo>
                    <a:cubicBezTo>
                      <a:pt x="14158" y="5212"/>
                      <a:pt x="13778" y="7505"/>
                      <a:pt x="13692" y="8048"/>
                    </a:cubicBezTo>
                    <a:close/>
                    <a:moveTo>
                      <a:pt x="13846" y="2795"/>
                    </a:moveTo>
                    <a:cubicBezTo>
                      <a:pt x="13892" y="2806"/>
                      <a:pt x="13941" y="2816"/>
                      <a:pt x="13991" y="2829"/>
                    </a:cubicBezTo>
                    <a:cubicBezTo>
                      <a:pt x="14071" y="2849"/>
                      <a:pt x="14152" y="2875"/>
                      <a:pt x="14219" y="2917"/>
                    </a:cubicBezTo>
                    <a:cubicBezTo>
                      <a:pt x="14336" y="2991"/>
                      <a:pt x="14411" y="3119"/>
                      <a:pt x="14426" y="3147"/>
                    </a:cubicBezTo>
                    <a:cubicBezTo>
                      <a:pt x="14428" y="3151"/>
                      <a:pt x="14428" y="3152"/>
                      <a:pt x="14428" y="3152"/>
                    </a:cubicBezTo>
                    <a:cubicBezTo>
                      <a:pt x="14431" y="3158"/>
                      <a:pt x="14431" y="3158"/>
                      <a:pt x="14431" y="3158"/>
                    </a:cubicBezTo>
                    <a:cubicBezTo>
                      <a:pt x="14436" y="3163"/>
                      <a:pt x="14436" y="3163"/>
                      <a:pt x="14436" y="3163"/>
                    </a:cubicBezTo>
                    <a:cubicBezTo>
                      <a:pt x="14436" y="3164"/>
                      <a:pt x="14666" y="3442"/>
                      <a:pt x="14810" y="3608"/>
                    </a:cubicBezTo>
                    <a:cubicBezTo>
                      <a:pt x="14859" y="3664"/>
                      <a:pt x="14895" y="3705"/>
                      <a:pt x="14917" y="3725"/>
                    </a:cubicBezTo>
                    <a:cubicBezTo>
                      <a:pt x="14962" y="3766"/>
                      <a:pt x="14994" y="3789"/>
                      <a:pt x="15013" y="3801"/>
                    </a:cubicBezTo>
                    <a:cubicBezTo>
                      <a:pt x="14720" y="4203"/>
                      <a:pt x="14720" y="4203"/>
                      <a:pt x="14720" y="4203"/>
                    </a:cubicBezTo>
                    <a:cubicBezTo>
                      <a:pt x="14718" y="4211"/>
                      <a:pt x="14718" y="4211"/>
                      <a:pt x="14718" y="4211"/>
                    </a:cubicBezTo>
                    <a:cubicBezTo>
                      <a:pt x="14718" y="4211"/>
                      <a:pt x="14714" y="4222"/>
                      <a:pt x="14705" y="4243"/>
                    </a:cubicBezTo>
                    <a:cubicBezTo>
                      <a:pt x="14697" y="4264"/>
                      <a:pt x="14685" y="4293"/>
                      <a:pt x="14669" y="4328"/>
                    </a:cubicBezTo>
                    <a:cubicBezTo>
                      <a:pt x="14637" y="4398"/>
                      <a:pt x="14590" y="4488"/>
                      <a:pt x="14532" y="4568"/>
                    </a:cubicBezTo>
                    <a:cubicBezTo>
                      <a:pt x="14432" y="4706"/>
                      <a:pt x="14278" y="4819"/>
                      <a:pt x="14243" y="4844"/>
                    </a:cubicBezTo>
                    <a:cubicBezTo>
                      <a:pt x="14238" y="4847"/>
                      <a:pt x="14236" y="4849"/>
                      <a:pt x="14236" y="4849"/>
                    </a:cubicBezTo>
                    <a:cubicBezTo>
                      <a:pt x="14215" y="4862"/>
                      <a:pt x="14215" y="4862"/>
                      <a:pt x="14215" y="4862"/>
                    </a:cubicBezTo>
                    <a:cubicBezTo>
                      <a:pt x="14213" y="4876"/>
                      <a:pt x="14213" y="4876"/>
                      <a:pt x="14213" y="4876"/>
                    </a:cubicBezTo>
                    <a:cubicBezTo>
                      <a:pt x="10991" y="5776"/>
                      <a:pt x="10991" y="5776"/>
                      <a:pt x="10991" y="5776"/>
                    </a:cubicBezTo>
                    <a:cubicBezTo>
                      <a:pt x="9685" y="6205"/>
                      <a:pt x="9685" y="6205"/>
                      <a:pt x="9685" y="6205"/>
                    </a:cubicBezTo>
                    <a:cubicBezTo>
                      <a:pt x="8796" y="6507"/>
                      <a:pt x="8796" y="6507"/>
                      <a:pt x="8796" y="6507"/>
                    </a:cubicBezTo>
                    <a:cubicBezTo>
                      <a:pt x="8796" y="6507"/>
                      <a:pt x="8796" y="6507"/>
                      <a:pt x="8796" y="6507"/>
                    </a:cubicBezTo>
                    <a:cubicBezTo>
                      <a:pt x="8797" y="6511"/>
                      <a:pt x="8797" y="6511"/>
                      <a:pt x="8797" y="6511"/>
                    </a:cubicBezTo>
                    <a:cubicBezTo>
                      <a:pt x="8774" y="6511"/>
                      <a:pt x="8761" y="6510"/>
                      <a:pt x="8761" y="6510"/>
                    </a:cubicBezTo>
                    <a:cubicBezTo>
                      <a:pt x="8760" y="6510"/>
                      <a:pt x="8760" y="6510"/>
                      <a:pt x="8760" y="6510"/>
                    </a:cubicBezTo>
                    <a:cubicBezTo>
                      <a:pt x="8749" y="6511"/>
                      <a:pt x="8749" y="6511"/>
                      <a:pt x="8749" y="6511"/>
                    </a:cubicBezTo>
                    <a:cubicBezTo>
                      <a:pt x="9397" y="5108"/>
                      <a:pt x="9397" y="5108"/>
                      <a:pt x="9397" y="5108"/>
                    </a:cubicBezTo>
                    <a:cubicBezTo>
                      <a:pt x="9453" y="4988"/>
                      <a:pt x="9453" y="4988"/>
                      <a:pt x="9453" y="4988"/>
                    </a:cubicBezTo>
                    <a:cubicBezTo>
                      <a:pt x="9499" y="5015"/>
                      <a:pt x="9661" y="5100"/>
                      <a:pt x="9850" y="5100"/>
                    </a:cubicBezTo>
                    <a:cubicBezTo>
                      <a:pt x="9904" y="5100"/>
                      <a:pt x="9959" y="5093"/>
                      <a:pt x="10015" y="5076"/>
                    </a:cubicBezTo>
                    <a:cubicBezTo>
                      <a:pt x="10133" y="5040"/>
                      <a:pt x="10486" y="4925"/>
                      <a:pt x="10853" y="4806"/>
                    </a:cubicBezTo>
                    <a:cubicBezTo>
                      <a:pt x="11131" y="5608"/>
                      <a:pt x="11131" y="5608"/>
                      <a:pt x="11131" y="5608"/>
                    </a:cubicBezTo>
                    <a:cubicBezTo>
                      <a:pt x="11165" y="5596"/>
                      <a:pt x="11165" y="5596"/>
                      <a:pt x="11165" y="5596"/>
                    </a:cubicBezTo>
                    <a:cubicBezTo>
                      <a:pt x="10887" y="4794"/>
                      <a:pt x="10887" y="4794"/>
                      <a:pt x="10887" y="4794"/>
                    </a:cubicBezTo>
                    <a:cubicBezTo>
                      <a:pt x="11324" y="4652"/>
                      <a:pt x="11770" y="4506"/>
                      <a:pt x="11856" y="4477"/>
                    </a:cubicBezTo>
                    <a:cubicBezTo>
                      <a:pt x="11898" y="4565"/>
                      <a:pt x="12119" y="5031"/>
                      <a:pt x="12241" y="5285"/>
                    </a:cubicBezTo>
                    <a:cubicBezTo>
                      <a:pt x="12274" y="5272"/>
                      <a:pt x="12274" y="5272"/>
                      <a:pt x="12274" y="5272"/>
                    </a:cubicBezTo>
                    <a:cubicBezTo>
                      <a:pt x="12230" y="5177"/>
                      <a:pt x="12220" y="5157"/>
                      <a:pt x="12209" y="5134"/>
                    </a:cubicBezTo>
                    <a:cubicBezTo>
                      <a:pt x="12172" y="5058"/>
                      <a:pt x="12123" y="4956"/>
                      <a:pt x="12075" y="4854"/>
                    </a:cubicBezTo>
                    <a:cubicBezTo>
                      <a:pt x="11995" y="4685"/>
                      <a:pt x="11915" y="4517"/>
                      <a:pt x="11890" y="4465"/>
                    </a:cubicBezTo>
                    <a:cubicBezTo>
                      <a:pt x="11916" y="4453"/>
                      <a:pt x="11966" y="4427"/>
                      <a:pt x="12032" y="4376"/>
                    </a:cubicBezTo>
                    <a:cubicBezTo>
                      <a:pt x="12127" y="4301"/>
                      <a:pt x="12666" y="3766"/>
                      <a:pt x="12690" y="3742"/>
                    </a:cubicBezTo>
                    <a:lnTo>
                      <a:pt x="13846" y="2795"/>
                    </a:lnTo>
                    <a:close/>
                    <a:moveTo>
                      <a:pt x="13533" y="2635"/>
                    </a:moveTo>
                    <a:cubicBezTo>
                      <a:pt x="13613" y="2698"/>
                      <a:pt x="13698" y="2749"/>
                      <a:pt x="13767" y="2773"/>
                    </a:cubicBezTo>
                    <a:cubicBezTo>
                      <a:pt x="13774" y="2776"/>
                      <a:pt x="13782" y="2778"/>
                      <a:pt x="13789" y="2780"/>
                    </a:cubicBezTo>
                    <a:cubicBezTo>
                      <a:pt x="13788" y="2787"/>
                      <a:pt x="13785" y="2795"/>
                      <a:pt x="13784" y="2800"/>
                    </a:cubicBezTo>
                    <a:cubicBezTo>
                      <a:pt x="12673" y="3710"/>
                      <a:pt x="12673" y="3710"/>
                      <a:pt x="12673" y="3710"/>
                    </a:cubicBezTo>
                    <a:cubicBezTo>
                      <a:pt x="12685" y="3695"/>
                      <a:pt x="12685" y="3695"/>
                      <a:pt x="12685" y="3695"/>
                    </a:cubicBezTo>
                    <a:cubicBezTo>
                      <a:pt x="12007" y="3123"/>
                      <a:pt x="12007" y="3123"/>
                      <a:pt x="12007" y="3123"/>
                    </a:cubicBezTo>
                    <a:cubicBezTo>
                      <a:pt x="12006" y="3122"/>
                      <a:pt x="12006" y="3122"/>
                      <a:pt x="12006" y="3122"/>
                    </a:cubicBezTo>
                    <a:cubicBezTo>
                      <a:pt x="12004" y="3121"/>
                      <a:pt x="11968" y="3098"/>
                      <a:pt x="11915" y="3098"/>
                    </a:cubicBezTo>
                    <a:cubicBezTo>
                      <a:pt x="11878" y="3098"/>
                      <a:pt x="11832" y="3110"/>
                      <a:pt x="11789" y="3148"/>
                    </a:cubicBezTo>
                    <a:cubicBezTo>
                      <a:pt x="11728" y="3201"/>
                      <a:pt x="11699" y="3221"/>
                      <a:pt x="11688" y="3227"/>
                    </a:cubicBezTo>
                    <a:cubicBezTo>
                      <a:pt x="11406" y="2872"/>
                      <a:pt x="11406" y="2872"/>
                      <a:pt x="11406" y="2872"/>
                    </a:cubicBezTo>
                    <a:cubicBezTo>
                      <a:pt x="11404" y="2870"/>
                      <a:pt x="11404" y="2870"/>
                      <a:pt x="11404" y="2870"/>
                    </a:cubicBezTo>
                    <a:cubicBezTo>
                      <a:pt x="11404" y="2870"/>
                      <a:pt x="11281" y="2764"/>
                      <a:pt x="11080" y="2632"/>
                    </a:cubicBezTo>
                    <a:cubicBezTo>
                      <a:pt x="10926" y="2532"/>
                      <a:pt x="10767" y="2426"/>
                      <a:pt x="10703" y="2383"/>
                    </a:cubicBezTo>
                    <a:cubicBezTo>
                      <a:pt x="10782" y="2313"/>
                      <a:pt x="10972" y="2141"/>
                      <a:pt x="11087" y="2019"/>
                    </a:cubicBezTo>
                    <a:cubicBezTo>
                      <a:pt x="11201" y="1898"/>
                      <a:pt x="11227" y="1714"/>
                      <a:pt x="11233" y="1626"/>
                    </a:cubicBezTo>
                    <a:cubicBezTo>
                      <a:pt x="11243" y="1604"/>
                      <a:pt x="11243" y="1604"/>
                      <a:pt x="11243" y="1604"/>
                    </a:cubicBezTo>
                    <a:cubicBezTo>
                      <a:pt x="11243" y="1604"/>
                      <a:pt x="11244" y="1604"/>
                      <a:pt x="11244" y="1605"/>
                    </a:cubicBezTo>
                    <a:cubicBezTo>
                      <a:pt x="11264" y="1606"/>
                      <a:pt x="11293" y="1608"/>
                      <a:pt x="11328" y="1610"/>
                    </a:cubicBezTo>
                    <a:cubicBezTo>
                      <a:pt x="11397" y="1615"/>
                      <a:pt x="11492" y="1622"/>
                      <a:pt x="11594" y="1628"/>
                    </a:cubicBezTo>
                    <a:cubicBezTo>
                      <a:pt x="11797" y="1642"/>
                      <a:pt x="12026" y="1656"/>
                      <a:pt x="12131" y="1661"/>
                    </a:cubicBezTo>
                    <a:cubicBezTo>
                      <a:pt x="12340" y="1670"/>
                      <a:pt x="12599" y="1679"/>
                      <a:pt x="12888" y="1748"/>
                    </a:cubicBezTo>
                    <a:cubicBezTo>
                      <a:pt x="13031" y="1782"/>
                      <a:pt x="13136" y="1826"/>
                      <a:pt x="13208" y="1876"/>
                    </a:cubicBezTo>
                    <a:cubicBezTo>
                      <a:pt x="13280" y="1926"/>
                      <a:pt x="13320" y="1980"/>
                      <a:pt x="13341" y="2042"/>
                    </a:cubicBezTo>
                    <a:cubicBezTo>
                      <a:pt x="13354" y="2082"/>
                      <a:pt x="13360" y="2135"/>
                      <a:pt x="13360" y="2186"/>
                    </a:cubicBezTo>
                    <a:cubicBezTo>
                      <a:pt x="13360" y="2232"/>
                      <a:pt x="13356" y="2277"/>
                      <a:pt x="13351" y="2312"/>
                    </a:cubicBezTo>
                    <a:cubicBezTo>
                      <a:pt x="13346" y="2343"/>
                      <a:pt x="13340" y="2369"/>
                      <a:pt x="13339" y="2374"/>
                    </a:cubicBezTo>
                    <a:cubicBezTo>
                      <a:pt x="13338" y="2375"/>
                      <a:pt x="13338" y="2375"/>
                      <a:pt x="13338" y="2375"/>
                    </a:cubicBezTo>
                    <a:cubicBezTo>
                      <a:pt x="13337" y="2401"/>
                      <a:pt x="13337" y="2401"/>
                      <a:pt x="13337" y="2401"/>
                    </a:cubicBezTo>
                    <a:cubicBezTo>
                      <a:pt x="13339" y="2426"/>
                      <a:pt x="13339" y="2426"/>
                      <a:pt x="13339" y="2426"/>
                    </a:cubicBezTo>
                    <a:cubicBezTo>
                      <a:pt x="13379" y="2500"/>
                      <a:pt x="13452" y="2572"/>
                      <a:pt x="13533" y="2635"/>
                    </a:cubicBezTo>
                    <a:close/>
                    <a:moveTo>
                      <a:pt x="11670" y="10633"/>
                    </a:moveTo>
                    <a:cubicBezTo>
                      <a:pt x="11716" y="10723"/>
                      <a:pt x="11753" y="10778"/>
                      <a:pt x="11781" y="10812"/>
                    </a:cubicBezTo>
                    <a:cubicBezTo>
                      <a:pt x="11735" y="10812"/>
                      <a:pt x="11735" y="10812"/>
                      <a:pt x="11735" y="10812"/>
                    </a:cubicBezTo>
                    <a:cubicBezTo>
                      <a:pt x="11709" y="10775"/>
                      <a:pt x="11676" y="10724"/>
                      <a:pt x="11638" y="10650"/>
                    </a:cubicBezTo>
                    <a:cubicBezTo>
                      <a:pt x="11540" y="10459"/>
                      <a:pt x="11508" y="9998"/>
                      <a:pt x="11508" y="9897"/>
                    </a:cubicBezTo>
                    <a:cubicBezTo>
                      <a:pt x="11507" y="9876"/>
                      <a:pt x="11507" y="9876"/>
                      <a:pt x="11507" y="9876"/>
                    </a:cubicBezTo>
                    <a:cubicBezTo>
                      <a:pt x="11544" y="9876"/>
                      <a:pt x="11544" y="9876"/>
                      <a:pt x="11544" y="9876"/>
                    </a:cubicBezTo>
                    <a:cubicBezTo>
                      <a:pt x="11544" y="9897"/>
                      <a:pt x="11544" y="9897"/>
                      <a:pt x="11544" y="9897"/>
                    </a:cubicBezTo>
                    <a:cubicBezTo>
                      <a:pt x="11543" y="9992"/>
                      <a:pt x="11578" y="10458"/>
                      <a:pt x="11670" y="10633"/>
                    </a:cubicBezTo>
                    <a:close/>
                    <a:moveTo>
                      <a:pt x="2848" y="4042"/>
                    </a:moveTo>
                    <a:cubicBezTo>
                      <a:pt x="2850" y="4082"/>
                      <a:pt x="2806" y="4119"/>
                      <a:pt x="2794" y="4159"/>
                    </a:cubicBezTo>
                    <a:cubicBezTo>
                      <a:pt x="2783" y="4200"/>
                      <a:pt x="2789" y="4277"/>
                      <a:pt x="2789" y="4277"/>
                    </a:cubicBezTo>
                    <a:cubicBezTo>
                      <a:pt x="2777" y="4348"/>
                      <a:pt x="2712" y="4368"/>
                      <a:pt x="2655" y="4393"/>
                    </a:cubicBezTo>
                    <a:cubicBezTo>
                      <a:pt x="2597" y="4418"/>
                      <a:pt x="2546" y="4421"/>
                      <a:pt x="2546" y="4421"/>
                    </a:cubicBezTo>
                    <a:cubicBezTo>
                      <a:pt x="2546" y="4421"/>
                      <a:pt x="2549" y="4413"/>
                      <a:pt x="2578" y="4386"/>
                    </a:cubicBezTo>
                    <a:cubicBezTo>
                      <a:pt x="2633" y="4335"/>
                      <a:pt x="2623" y="4244"/>
                      <a:pt x="2627" y="4229"/>
                    </a:cubicBezTo>
                    <a:cubicBezTo>
                      <a:pt x="2631" y="4213"/>
                      <a:pt x="2611" y="4167"/>
                      <a:pt x="2628" y="4127"/>
                    </a:cubicBezTo>
                    <a:cubicBezTo>
                      <a:pt x="2713" y="3981"/>
                      <a:pt x="2802" y="3971"/>
                      <a:pt x="2827" y="3987"/>
                    </a:cubicBezTo>
                    <a:cubicBezTo>
                      <a:pt x="2840" y="3995"/>
                      <a:pt x="2847" y="4002"/>
                      <a:pt x="2848" y="4042"/>
                    </a:cubicBezTo>
                    <a:close/>
                    <a:moveTo>
                      <a:pt x="650" y="7997"/>
                    </a:moveTo>
                    <a:cubicBezTo>
                      <a:pt x="670" y="8024"/>
                      <a:pt x="672" y="8054"/>
                      <a:pt x="621" y="8102"/>
                    </a:cubicBezTo>
                    <a:cubicBezTo>
                      <a:pt x="570" y="8149"/>
                      <a:pt x="498" y="8153"/>
                      <a:pt x="461" y="8124"/>
                    </a:cubicBezTo>
                    <a:cubicBezTo>
                      <a:pt x="424" y="8095"/>
                      <a:pt x="473" y="8024"/>
                      <a:pt x="508" y="7999"/>
                    </a:cubicBezTo>
                    <a:cubicBezTo>
                      <a:pt x="543" y="7974"/>
                      <a:pt x="620" y="7959"/>
                      <a:pt x="650" y="7997"/>
                    </a:cubicBezTo>
                    <a:close/>
                    <a:moveTo>
                      <a:pt x="7023" y="252"/>
                    </a:moveTo>
                    <a:cubicBezTo>
                      <a:pt x="6987" y="247"/>
                      <a:pt x="6987" y="247"/>
                      <a:pt x="6987" y="247"/>
                    </a:cubicBezTo>
                    <a:cubicBezTo>
                      <a:pt x="7021" y="11"/>
                      <a:pt x="7021" y="11"/>
                      <a:pt x="7021" y="11"/>
                    </a:cubicBezTo>
                    <a:cubicBezTo>
                      <a:pt x="7058" y="11"/>
                      <a:pt x="7058" y="11"/>
                      <a:pt x="7058" y="11"/>
                    </a:cubicBezTo>
                    <a:lnTo>
                      <a:pt x="7023" y="252"/>
                    </a:lnTo>
                    <a:close/>
                    <a:moveTo>
                      <a:pt x="11057" y="16"/>
                    </a:moveTo>
                    <a:cubicBezTo>
                      <a:pt x="11034" y="14"/>
                      <a:pt x="11010" y="12"/>
                      <a:pt x="10987" y="11"/>
                    </a:cubicBezTo>
                    <a:cubicBezTo>
                      <a:pt x="11571" y="11"/>
                      <a:pt x="11571" y="11"/>
                      <a:pt x="11571" y="11"/>
                    </a:cubicBezTo>
                    <a:cubicBezTo>
                      <a:pt x="11599" y="11"/>
                      <a:pt x="11625" y="12"/>
                      <a:pt x="11646" y="12"/>
                    </a:cubicBezTo>
                    <a:cubicBezTo>
                      <a:pt x="11661" y="12"/>
                      <a:pt x="11673" y="12"/>
                      <a:pt x="11683" y="11"/>
                    </a:cubicBezTo>
                    <a:cubicBezTo>
                      <a:pt x="11686" y="11"/>
                      <a:pt x="11688" y="11"/>
                      <a:pt x="11690" y="11"/>
                    </a:cubicBezTo>
                    <a:cubicBezTo>
                      <a:pt x="11788" y="11"/>
                      <a:pt x="11788" y="11"/>
                      <a:pt x="11788" y="11"/>
                    </a:cubicBezTo>
                    <a:cubicBezTo>
                      <a:pt x="11764" y="26"/>
                      <a:pt x="11737" y="38"/>
                      <a:pt x="11708" y="44"/>
                    </a:cubicBezTo>
                    <a:cubicBezTo>
                      <a:pt x="11701" y="46"/>
                      <a:pt x="11695" y="47"/>
                      <a:pt x="11685" y="47"/>
                    </a:cubicBezTo>
                    <a:cubicBezTo>
                      <a:pt x="11674" y="48"/>
                      <a:pt x="11661" y="48"/>
                      <a:pt x="11646" y="48"/>
                    </a:cubicBezTo>
                    <a:cubicBezTo>
                      <a:pt x="11547" y="48"/>
                      <a:pt x="11360" y="38"/>
                      <a:pt x="11360" y="38"/>
                    </a:cubicBezTo>
                    <a:cubicBezTo>
                      <a:pt x="11359" y="38"/>
                      <a:pt x="11208" y="27"/>
                      <a:pt x="11057" y="16"/>
                    </a:cubicBezTo>
                    <a:close/>
                    <a:moveTo>
                      <a:pt x="621" y="2467"/>
                    </a:moveTo>
                    <a:cubicBezTo>
                      <a:pt x="621" y="2467"/>
                      <a:pt x="662" y="2419"/>
                      <a:pt x="651" y="2370"/>
                    </a:cubicBezTo>
                    <a:cubicBezTo>
                      <a:pt x="640" y="2321"/>
                      <a:pt x="588" y="2293"/>
                      <a:pt x="555" y="2269"/>
                    </a:cubicBezTo>
                    <a:cubicBezTo>
                      <a:pt x="526" y="2246"/>
                      <a:pt x="547" y="2216"/>
                      <a:pt x="548" y="2211"/>
                    </a:cubicBezTo>
                    <a:cubicBezTo>
                      <a:pt x="553" y="2216"/>
                      <a:pt x="591" y="2234"/>
                      <a:pt x="600" y="2239"/>
                    </a:cubicBezTo>
                    <a:cubicBezTo>
                      <a:pt x="611" y="2244"/>
                      <a:pt x="651" y="2247"/>
                      <a:pt x="687" y="2256"/>
                    </a:cubicBezTo>
                    <a:cubicBezTo>
                      <a:pt x="722" y="2266"/>
                      <a:pt x="732" y="2295"/>
                      <a:pt x="737" y="2325"/>
                    </a:cubicBezTo>
                    <a:cubicBezTo>
                      <a:pt x="743" y="2355"/>
                      <a:pt x="753" y="2360"/>
                      <a:pt x="777" y="2375"/>
                    </a:cubicBezTo>
                    <a:cubicBezTo>
                      <a:pt x="800" y="2390"/>
                      <a:pt x="841" y="2367"/>
                      <a:pt x="889" y="2342"/>
                    </a:cubicBezTo>
                    <a:cubicBezTo>
                      <a:pt x="937" y="2318"/>
                      <a:pt x="946" y="2347"/>
                      <a:pt x="946" y="2347"/>
                    </a:cubicBezTo>
                    <a:cubicBezTo>
                      <a:pt x="938" y="2351"/>
                      <a:pt x="926" y="2375"/>
                      <a:pt x="912" y="2400"/>
                    </a:cubicBezTo>
                    <a:cubicBezTo>
                      <a:pt x="898" y="2424"/>
                      <a:pt x="867" y="2455"/>
                      <a:pt x="823" y="2483"/>
                    </a:cubicBezTo>
                    <a:cubicBezTo>
                      <a:pt x="779" y="2512"/>
                      <a:pt x="722" y="2511"/>
                      <a:pt x="702" y="2502"/>
                    </a:cubicBezTo>
                    <a:cubicBezTo>
                      <a:pt x="681" y="2494"/>
                      <a:pt x="621" y="2467"/>
                      <a:pt x="621" y="2467"/>
                    </a:cubicBezTo>
                    <a:close/>
                    <a:moveTo>
                      <a:pt x="5733" y="183"/>
                    </a:moveTo>
                    <a:cubicBezTo>
                      <a:pt x="5697" y="177"/>
                      <a:pt x="5697" y="177"/>
                      <a:pt x="5697" y="177"/>
                    </a:cubicBezTo>
                    <a:cubicBezTo>
                      <a:pt x="5726" y="11"/>
                      <a:pt x="5726" y="11"/>
                      <a:pt x="5726" y="11"/>
                    </a:cubicBezTo>
                    <a:cubicBezTo>
                      <a:pt x="5763" y="11"/>
                      <a:pt x="5763" y="11"/>
                      <a:pt x="5763" y="11"/>
                    </a:cubicBezTo>
                    <a:lnTo>
                      <a:pt x="5733" y="183"/>
                    </a:lnTo>
                    <a:close/>
                    <a:moveTo>
                      <a:pt x="3370" y="788"/>
                    </a:moveTo>
                    <a:cubicBezTo>
                      <a:pt x="3306" y="770"/>
                      <a:pt x="3257" y="706"/>
                      <a:pt x="3273" y="665"/>
                    </a:cubicBezTo>
                    <a:cubicBezTo>
                      <a:pt x="3290" y="624"/>
                      <a:pt x="3351" y="608"/>
                      <a:pt x="3433" y="634"/>
                    </a:cubicBezTo>
                    <a:cubicBezTo>
                      <a:pt x="3497" y="655"/>
                      <a:pt x="3536" y="706"/>
                      <a:pt x="3523" y="749"/>
                    </a:cubicBezTo>
                    <a:cubicBezTo>
                      <a:pt x="3511" y="792"/>
                      <a:pt x="3433" y="807"/>
                      <a:pt x="3370" y="788"/>
                    </a:cubicBezTo>
                    <a:close/>
                    <a:moveTo>
                      <a:pt x="7" y="1274"/>
                    </a:moveTo>
                    <a:cubicBezTo>
                      <a:pt x="7" y="1235"/>
                      <a:pt x="7" y="1235"/>
                      <a:pt x="7" y="1235"/>
                    </a:cubicBezTo>
                    <a:cubicBezTo>
                      <a:pt x="117" y="1186"/>
                      <a:pt x="182" y="1122"/>
                      <a:pt x="230" y="1072"/>
                    </a:cubicBezTo>
                    <a:cubicBezTo>
                      <a:pt x="222" y="1064"/>
                      <a:pt x="206" y="1051"/>
                      <a:pt x="183" y="1032"/>
                    </a:cubicBezTo>
                    <a:cubicBezTo>
                      <a:pt x="142" y="999"/>
                      <a:pt x="80" y="952"/>
                      <a:pt x="7" y="908"/>
                    </a:cubicBezTo>
                    <a:cubicBezTo>
                      <a:pt x="7" y="866"/>
                      <a:pt x="7" y="866"/>
                      <a:pt x="7" y="866"/>
                    </a:cubicBezTo>
                    <a:cubicBezTo>
                      <a:pt x="133" y="940"/>
                      <a:pt x="230" y="1024"/>
                      <a:pt x="255" y="1046"/>
                    </a:cubicBezTo>
                    <a:cubicBezTo>
                      <a:pt x="259" y="1042"/>
                      <a:pt x="262" y="1039"/>
                      <a:pt x="266" y="1035"/>
                    </a:cubicBezTo>
                    <a:cubicBezTo>
                      <a:pt x="603" y="676"/>
                      <a:pt x="603" y="676"/>
                      <a:pt x="603" y="676"/>
                    </a:cubicBezTo>
                    <a:cubicBezTo>
                      <a:pt x="601" y="673"/>
                      <a:pt x="601" y="673"/>
                      <a:pt x="601" y="673"/>
                    </a:cubicBezTo>
                    <a:cubicBezTo>
                      <a:pt x="599" y="675"/>
                      <a:pt x="599" y="675"/>
                      <a:pt x="599" y="675"/>
                    </a:cubicBezTo>
                    <a:cubicBezTo>
                      <a:pt x="180" y="93"/>
                      <a:pt x="180" y="93"/>
                      <a:pt x="180" y="93"/>
                    </a:cubicBezTo>
                    <a:cubicBezTo>
                      <a:pt x="7" y="28"/>
                      <a:pt x="7" y="28"/>
                      <a:pt x="7" y="28"/>
                    </a:cubicBezTo>
                    <a:cubicBezTo>
                      <a:pt x="7" y="11"/>
                      <a:pt x="7" y="11"/>
                      <a:pt x="7" y="11"/>
                    </a:cubicBezTo>
                    <a:cubicBezTo>
                      <a:pt x="7" y="0"/>
                      <a:pt x="7" y="0"/>
                      <a:pt x="7" y="0"/>
                    </a:cubicBezTo>
                    <a:cubicBezTo>
                      <a:pt x="37" y="11"/>
                      <a:pt x="37" y="11"/>
                      <a:pt x="37" y="11"/>
                    </a:cubicBezTo>
                    <a:cubicBezTo>
                      <a:pt x="197" y="71"/>
                      <a:pt x="197" y="71"/>
                      <a:pt x="197" y="71"/>
                    </a:cubicBezTo>
                    <a:cubicBezTo>
                      <a:pt x="615" y="653"/>
                      <a:pt x="615" y="653"/>
                      <a:pt x="615" y="653"/>
                    </a:cubicBezTo>
                    <a:cubicBezTo>
                      <a:pt x="617" y="654"/>
                      <a:pt x="619" y="656"/>
                      <a:pt x="621" y="657"/>
                    </a:cubicBezTo>
                    <a:cubicBezTo>
                      <a:pt x="871" y="390"/>
                      <a:pt x="871" y="390"/>
                      <a:pt x="871" y="390"/>
                    </a:cubicBezTo>
                    <a:cubicBezTo>
                      <a:pt x="871" y="392"/>
                      <a:pt x="871" y="392"/>
                      <a:pt x="871" y="392"/>
                    </a:cubicBezTo>
                    <a:cubicBezTo>
                      <a:pt x="901" y="364"/>
                      <a:pt x="901" y="364"/>
                      <a:pt x="901" y="364"/>
                    </a:cubicBezTo>
                    <a:cubicBezTo>
                      <a:pt x="1030" y="46"/>
                      <a:pt x="1030" y="46"/>
                      <a:pt x="1030" y="46"/>
                    </a:cubicBezTo>
                    <a:cubicBezTo>
                      <a:pt x="1030" y="46"/>
                      <a:pt x="1030" y="46"/>
                      <a:pt x="1030" y="46"/>
                    </a:cubicBezTo>
                    <a:cubicBezTo>
                      <a:pt x="1043" y="11"/>
                      <a:pt x="1043" y="11"/>
                      <a:pt x="1043" y="11"/>
                    </a:cubicBezTo>
                    <a:cubicBezTo>
                      <a:pt x="1082" y="11"/>
                      <a:pt x="1082" y="11"/>
                      <a:pt x="1082" y="11"/>
                    </a:cubicBezTo>
                    <a:cubicBezTo>
                      <a:pt x="1056" y="81"/>
                      <a:pt x="1056" y="81"/>
                      <a:pt x="1056" y="81"/>
                    </a:cubicBezTo>
                    <a:cubicBezTo>
                      <a:pt x="1054" y="81"/>
                      <a:pt x="1054" y="81"/>
                      <a:pt x="1054" y="81"/>
                    </a:cubicBezTo>
                    <a:cubicBezTo>
                      <a:pt x="933" y="386"/>
                      <a:pt x="933" y="386"/>
                      <a:pt x="933" y="386"/>
                    </a:cubicBezTo>
                    <a:cubicBezTo>
                      <a:pt x="931" y="390"/>
                      <a:pt x="931" y="390"/>
                      <a:pt x="931" y="390"/>
                    </a:cubicBezTo>
                    <a:cubicBezTo>
                      <a:pt x="866" y="445"/>
                      <a:pt x="866" y="445"/>
                      <a:pt x="866" y="445"/>
                    </a:cubicBezTo>
                    <a:cubicBezTo>
                      <a:pt x="292" y="1060"/>
                      <a:pt x="292" y="1060"/>
                      <a:pt x="292" y="1060"/>
                    </a:cubicBezTo>
                    <a:cubicBezTo>
                      <a:pt x="240" y="1112"/>
                      <a:pt x="164" y="1208"/>
                      <a:pt x="7" y="1274"/>
                    </a:cubicBezTo>
                    <a:close/>
                    <a:moveTo>
                      <a:pt x="4350" y="7106"/>
                    </a:moveTo>
                    <a:cubicBezTo>
                      <a:pt x="4349" y="7106"/>
                      <a:pt x="4349" y="7106"/>
                      <a:pt x="4349" y="7106"/>
                    </a:cubicBezTo>
                    <a:cubicBezTo>
                      <a:pt x="4350" y="7106"/>
                      <a:pt x="4350" y="7106"/>
                      <a:pt x="4350" y="7106"/>
                    </a:cubicBezTo>
                    <a:close/>
                    <a:moveTo>
                      <a:pt x="949" y="1001"/>
                    </a:moveTo>
                    <a:cubicBezTo>
                      <a:pt x="7" y="1784"/>
                      <a:pt x="7" y="1784"/>
                      <a:pt x="7" y="1784"/>
                    </a:cubicBezTo>
                    <a:cubicBezTo>
                      <a:pt x="7" y="1737"/>
                      <a:pt x="7" y="1737"/>
                      <a:pt x="7" y="1737"/>
                    </a:cubicBezTo>
                    <a:cubicBezTo>
                      <a:pt x="931" y="968"/>
                      <a:pt x="931" y="968"/>
                      <a:pt x="931" y="968"/>
                    </a:cubicBezTo>
                    <a:cubicBezTo>
                      <a:pt x="931" y="968"/>
                      <a:pt x="931" y="968"/>
                      <a:pt x="931" y="968"/>
                    </a:cubicBezTo>
                    <a:cubicBezTo>
                      <a:pt x="934" y="966"/>
                      <a:pt x="934" y="966"/>
                      <a:pt x="934" y="966"/>
                    </a:cubicBezTo>
                    <a:cubicBezTo>
                      <a:pt x="940" y="961"/>
                      <a:pt x="940" y="961"/>
                      <a:pt x="940" y="961"/>
                    </a:cubicBezTo>
                    <a:cubicBezTo>
                      <a:pt x="940" y="961"/>
                      <a:pt x="940" y="961"/>
                      <a:pt x="940" y="961"/>
                    </a:cubicBezTo>
                    <a:cubicBezTo>
                      <a:pt x="1289" y="676"/>
                      <a:pt x="1289" y="676"/>
                      <a:pt x="1289" y="676"/>
                    </a:cubicBezTo>
                    <a:cubicBezTo>
                      <a:pt x="1560" y="298"/>
                      <a:pt x="1560" y="298"/>
                      <a:pt x="1560" y="298"/>
                    </a:cubicBezTo>
                    <a:cubicBezTo>
                      <a:pt x="1556" y="298"/>
                      <a:pt x="1555" y="297"/>
                      <a:pt x="1553" y="296"/>
                    </a:cubicBezTo>
                    <a:cubicBezTo>
                      <a:pt x="1524" y="282"/>
                      <a:pt x="1369" y="182"/>
                      <a:pt x="1369" y="181"/>
                    </a:cubicBezTo>
                    <a:cubicBezTo>
                      <a:pt x="1362" y="177"/>
                      <a:pt x="1362" y="177"/>
                      <a:pt x="1362" y="177"/>
                    </a:cubicBezTo>
                    <a:cubicBezTo>
                      <a:pt x="1395" y="15"/>
                      <a:pt x="1395" y="15"/>
                      <a:pt x="1395" y="15"/>
                    </a:cubicBezTo>
                    <a:cubicBezTo>
                      <a:pt x="1392" y="11"/>
                      <a:pt x="1392" y="11"/>
                      <a:pt x="1392" y="11"/>
                    </a:cubicBezTo>
                    <a:cubicBezTo>
                      <a:pt x="1421" y="11"/>
                      <a:pt x="1421" y="11"/>
                      <a:pt x="1421" y="11"/>
                    </a:cubicBezTo>
                    <a:cubicBezTo>
                      <a:pt x="1422" y="11"/>
                      <a:pt x="1422" y="11"/>
                      <a:pt x="1422" y="11"/>
                    </a:cubicBezTo>
                    <a:cubicBezTo>
                      <a:pt x="1389" y="165"/>
                      <a:pt x="1389" y="165"/>
                      <a:pt x="1389" y="165"/>
                    </a:cubicBezTo>
                    <a:cubicBezTo>
                      <a:pt x="1403" y="175"/>
                      <a:pt x="1437" y="196"/>
                      <a:pt x="1472" y="218"/>
                    </a:cubicBezTo>
                    <a:cubicBezTo>
                      <a:pt x="1495" y="233"/>
                      <a:pt x="1518" y="247"/>
                      <a:pt x="1535" y="258"/>
                    </a:cubicBezTo>
                    <a:cubicBezTo>
                      <a:pt x="1544" y="263"/>
                      <a:pt x="1552" y="268"/>
                      <a:pt x="1557" y="271"/>
                    </a:cubicBezTo>
                    <a:cubicBezTo>
                      <a:pt x="1560" y="272"/>
                      <a:pt x="1562" y="273"/>
                      <a:pt x="1563" y="274"/>
                    </a:cubicBezTo>
                    <a:cubicBezTo>
                      <a:pt x="1564" y="274"/>
                      <a:pt x="1565" y="274"/>
                      <a:pt x="1565" y="274"/>
                    </a:cubicBezTo>
                    <a:cubicBezTo>
                      <a:pt x="1562" y="283"/>
                      <a:pt x="1562" y="283"/>
                      <a:pt x="1562" y="283"/>
                    </a:cubicBezTo>
                    <a:cubicBezTo>
                      <a:pt x="1562" y="274"/>
                      <a:pt x="1562" y="274"/>
                      <a:pt x="1562" y="274"/>
                    </a:cubicBezTo>
                    <a:cubicBezTo>
                      <a:pt x="1562" y="286"/>
                      <a:pt x="1562" y="286"/>
                      <a:pt x="1562" y="286"/>
                    </a:cubicBezTo>
                    <a:cubicBezTo>
                      <a:pt x="1563" y="293"/>
                      <a:pt x="1563" y="293"/>
                      <a:pt x="1563" y="293"/>
                    </a:cubicBezTo>
                    <a:cubicBezTo>
                      <a:pt x="1650" y="172"/>
                      <a:pt x="1650" y="172"/>
                      <a:pt x="1650" y="172"/>
                    </a:cubicBezTo>
                    <a:cubicBezTo>
                      <a:pt x="1647" y="169"/>
                      <a:pt x="1647" y="169"/>
                      <a:pt x="1647" y="169"/>
                    </a:cubicBezTo>
                    <a:cubicBezTo>
                      <a:pt x="1647" y="169"/>
                      <a:pt x="1647" y="169"/>
                      <a:pt x="1647" y="169"/>
                    </a:cubicBezTo>
                    <a:cubicBezTo>
                      <a:pt x="1647" y="169"/>
                      <a:pt x="1647" y="169"/>
                      <a:pt x="1647" y="169"/>
                    </a:cubicBezTo>
                    <a:cubicBezTo>
                      <a:pt x="1652" y="165"/>
                      <a:pt x="1673" y="136"/>
                      <a:pt x="1698" y="101"/>
                    </a:cubicBezTo>
                    <a:cubicBezTo>
                      <a:pt x="1698" y="104"/>
                      <a:pt x="1698" y="104"/>
                      <a:pt x="1698" y="104"/>
                    </a:cubicBezTo>
                    <a:cubicBezTo>
                      <a:pt x="1716" y="79"/>
                      <a:pt x="1716" y="79"/>
                      <a:pt x="1716" y="79"/>
                    </a:cubicBezTo>
                    <a:cubicBezTo>
                      <a:pt x="1731" y="58"/>
                      <a:pt x="1746" y="35"/>
                      <a:pt x="1761" y="11"/>
                    </a:cubicBezTo>
                    <a:cubicBezTo>
                      <a:pt x="1803" y="11"/>
                      <a:pt x="1803" y="11"/>
                      <a:pt x="1803" y="11"/>
                    </a:cubicBezTo>
                    <a:cubicBezTo>
                      <a:pt x="1788" y="33"/>
                      <a:pt x="1773" y="55"/>
                      <a:pt x="1759" y="75"/>
                    </a:cubicBezTo>
                    <a:cubicBezTo>
                      <a:pt x="1738" y="106"/>
                      <a:pt x="1719" y="132"/>
                      <a:pt x="1704" y="153"/>
                    </a:cubicBezTo>
                    <a:cubicBezTo>
                      <a:pt x="1317" y="702"/>
                      <a:pt x="1317" y="702"/>
                      <a:pt x="1317" y="702"/>
                    </a:cubicBezTo>
                    <a:cubicBezTo>
                      <a:pt x="1319" y="703"/>
                      <a:pt x="1319" y="703"/>
                      <a:pt x="1319" y="703"/>
                    </a:cubicBezTo>
                    <a:lnTo>
                      <a:pt x="949" y="1001"/>
                    </a:lnTo>
                    <a:close/>
                    <a:moveTo>
                      <a:pt x="3813" y="5629"/>
                    </a:moveTo>
                    <a:cubicBezTo>
                      <a:pt x="3820" y="5618"/>
                      <a:pt x="3850" y="5636"/>
                      <a:pt x="3850" y="5636"/>
                    </a:cubicBezTo>
                    <a:cubicBezTo>
                      <a:pt x="3850" y="5636"/>
                      <a:pt x="4042" y="5629"/>
                      <a:pt x="4084" y="5631"/>
                    </a:cubicBezTo>
                    <a:cubicBezTo>
                      <a:pt x="4126" y="5632"/>
                      <a:pt x="4151" y="5651"/>
                      <a:pt x="4151" y="5651"/>
                    </a:cubicBezTo>
                    <a:cubicBezTo>
                      <a:pt x="4162" y="5665"/>
                      <a:pt x="4147" y="5701"/>
                      <a:pt x="4141" y="5708"/>
                    </a:cubicBezTo>
                    <a:cubicBezTo>
                      <a:pt x="4136" y="5716"/>
                      <a:pt x="4043" y="5773"/>
                      <a:pt x="4026" y="5792"/>
                    </a:cubicBezTo>
                    <a:cubicBezTo>
                      <a:pt x="4009" y="5810"/>
                      <a:pt x="4012" y="5863"/>
                      <a:pt x="4008" y="5877"/>
                    </a:cubicBezTo>
                    <a:cubicBezTo>
                      <a:pt x="4005" y="5892"/>
                      <a:pt x="3993" y="5890"/>
                      <a:pt x="3974" y="5887"/>
                    </a:cubicBezTo>
                    <a:cubicBezTo>
                      <a:pt x="3956" y="5883"/>
                      <a:pt x="3941" y="5824"/>
                      <a:pt x="3947" y="5797"/>
                    </a:cubicBezTo>
                    <a:cubicBezTo>
                      <a:pt x="3949" y="5787"/>
                      <a:pt x="3907" y="5806"/>
                      <a:pt x="3890" y="5817"/>
                    </a:cubicBezTo>
                    <a:cubicBezTo>
                      <a:pt x="3873" y="5828"/>
                      <a:pt x="3857" y="5834"/>
                      <a:pt x="3836" y="5817"/>
                    </a:cubicBezTo>
                    <a:cubicBezTo>
                      <a:pt x="3816" y="5800"/>
                      <a:pt x="3834" y="5770"/>
                      <a:pt x="3857" y="5758"/>
                    </a:cubicBezTo>
                    <a:cubicBezTo>
                      <a:pt x="3880" y="5746"/>
                      <a:pt x="3915" y="5744"/>
                      <a:pt x="3944" y="5741"/>
                    </a:cubicBezTo>
                    <a:cubicBezTo>
                      <a:pt x="3973" y="5738"/>
                      <a:pt x="4017" y="5731"/>
                      <a:pt x="4027" y="5707"/>
                    </a:cubicBezTo>
                    <a:cubicBezTo>
                      <a:pt x="4037" y="5684"/>
                      <a:pt x="3872" y="5674"/>
                      <a:pt x="3844" y="5669"/>
                    </a:cubicBezTo>
                    <a:cubicBezTo>
                      <a:pt x="3817" y="5663"/>
                      <a:pt x="3806" y="5640"/>
                      <a:pt x="3813" y="5629"/>
                    </a:cubicBezTo>
                    <a:close/>
                    <a:moveTo>
                      <a:pt x="1041" y="2421"/>
                    </a:moveTo>
                    <a:cubicBezTo>
                      <a:pt x="1041" y="2421"/>
                      <a:pt x="1041" y="2421"/>
                      <a:pt x="1041" y="2421"/>
                    </a:cubicBezTo>
                    <a:cubicBezTo>
                      <a:pt x="1041" y="2421"/>
                      <a:pt x="1041" y="2421"/>
                      <a:pt x="1041" y="2421"/>
                    </a:cubicBezTo>
                    <a:close/>
                    <a:moveTo>
                      <a:pt x="1698" y="1406"/>
                    </a:moveTo>
                    <a:cubicBezTo>
                      <a:pt x="1707" y="1387"/>
                      <a:pt x="1695" y="1363"/>
                      <a:pt x="1683" y="1349"/>
                    </a:cubicBezTo>
                    <a:cubicBezTo>
                      <a:pt x="1670" y="1335"/>
                      <a:pt x="1683" y="1322"/>
                      <a:pt x="1695" y="1307"/>
                    </a:cubicBezTo>
                    <a:cubicBezTo>
                      <a:pt x="1707" y="1292"/>
                      <a:pt x="1746" y="1278"/>
                      <a:pt x="1751" y="1260"/>
                    </a:cubicBezTo>
                    <a:cubicBezTo>
                      <a:pt x="1756" y="1242"/>
                      <a:pt x="1761" y="1208"/>
                      <a:pt x="1802" y="1204"/>
                    </a:cubicBezTo>
                    <a:cubicBezTo>
                      <a:pt x="1843" y="1200"/>
                      <a:pt x="1845" y="1263"/>
                      <a:pt x="1841" y="1281"/>
                    </a:cubicBezTo>
                    <a:cubicBezTo>
                      <a:pt x="1837" y="1298"/>
                      <a:pt x="1791" y="1298"/>
                      <a:pt x="1769" y="1314"/>
                    </a:cubicBezTo>
                    <a:cubicBezTo>
                      <a:pt x="1747" y="1329"/>
                      <a:pt x="1766" y="1360"/>
                      <a:pt x="1784" y="1367"/>
                    </a:cubicBezTo>
                    <a:cubicBezTo>
                      <a:pt x="1802" y="1374"/>
                      <a:pt x="1858" y="1370"/>
                      <a:pt x="1884" y="1383"/>
                    </a:cubicBezTo>
                    <a:cubicBezTo>
                      <a:pt x="1909" y="1397"/>
                      <a:pt x="1900" y="1417"/>
                      <a:pt x="1856" y="1441"/>
                    </a:cubicBezTo>
                    <a:cubicBezTo>
                      <a:pt x="1812" y="1464"/>
                      <a:pt x="1765" y="1467"/>
                      <a:pt x="1741" y="1475"/>
                    </a:cubicBezTo>
                    <a:cubicBezTo>
                      <a:pt x="1718" y="1483"/>
                      <a:pt x="1706" y="1493"/>
                      <a:pt x="1695" y="1520"/>
                    </a:cubicBezTo>
                    <a:cubicBezTo>
                      <a:pt x="1684" y="1547"/>
                      <a:pt x="1657" y="1565"/>
                      <a:pt x="1657" y="1565"/>
                    </a:cubicBezTo>
                    <a:cubicBezTo>
                      <a:pt x="1629" y="1558"/>
                      <a:pt x="1636" y="1503"/>
                      <a:pt x="1650" y="1468"/>
                    </a:cubicBezTo>
                    <a:cubicBezTo>
                      <a:pt x="1664" y="1432"/>
                      <a:pt x="1688" y="1426"/>
                      <a:pt x="1698" y="1406"/>
                    </a:cubicBezTo>
                    <a:close/>
                    <a:moveTo>
                      <a:pt x="2429" y="4229"/>
                    </a:moveTo>
                    <a:cubicBezTo>
                      <a:pt x="2256" y="4147"/>
                      <a:pt x="2256" y="4147"/>
                      <a:pt x="2256" y="4147"/>
                    </a:cubicBezTo>
                    <a:cubicBezTo>
                      <a:pt x="2249" y="4144"/>
                      <a:pt x="2194" y="4126"/>
                      <a:pt x="2139" y="4108"/>
                    </a:cubicBezTo>
                    <a:cubicBezTo>
                      <a:pt x="2110" y="4098"/>
                      <a:pt x="2080" y="4089"/>
                      <a:pt x="2058" y="4081"/>
                    </a:cubicBezTo>
                    <a:cubicBezTo>
                      <a:pt x="2047" y="4078"/>
                      <a:pt x="2037" y="4075"/>
                      <a:pt x="2031" y="4072"/>
                    </a:cubicBezTo>
                    <a:cubicBezTo>
                      <a:pt x="2030" y="4072"/>
                      <a:pt x="2030" y="4072"/>
                      <a:pt x="2029" y="4072"/>
                    </a:cubicBezTo>
                    <a:cubicBezTo>
                      <a:pt x="1992" y="4175"/>
                      <a:pt x="1992" y="4175"/>
                      <a:pt x="1992" y="4175"/>
                    </a:cubicBezTo>
                    <a:cubicBezTo>
                      <a:pt x="1800" y="4331"/>
                      <a:pt x="1800" y="4331"/>
                      <a:pt x="1800" y="4331"/>
                    </a:cubicBezTo>
                    <a:cubicBezTo>
                      <a:pt x="1783" y="4313"/>
                      <a:pt x="1783" y="4313"/>
                      <a:pt x="1783" y="4313"/>
                    </a:cubicBezTo>
                    <a:cubicBezTo>
                      <a:pt x="1971" y="4160"/>
                      <a:pt x="1971" y="4160"/>
                      <a:pt x="1971" y="4160"/>
                    </a:cubicBezTo>
                    <a:cubicBezTo>
                      <a:pt x="2071" y="3885"/>
                      <a:pt x="2071" y="3885"/>
                      <a:pt x="2071" y="3885"/>
                    </a:cubicBezTo>
                    <a:cubicBezTo>
                      <a:pt x="2094" y="3893"/>
                      <a:pt x="2094" y="3893"/>
                      <a:pt x="2094" y="3893"/>
                    </a:cubicBezTo>
                    <a:cubicBezTo>
                      <a:pt x="2038" y="4049"/>
                      <a:pt x="2038" y="4049"/>
                      <a:pt x="2038" y="4049"/>
                    </a:cubicBezTo>
                    <a:cubicBezTo>
                      <a:pt x="2083" y="4064"/>
                      <a:pt x="2265" y="4124"/>
                      <a:pt x="2265" y="4124"/>
                    </a:cubicBezTo>
                    <a:cubicBezTo>
                      <a:pt x="2266" y="4124"/>
                      <a:pt x="2266" y="4124"/>
                      <a:pt x="2266" y="4124"/>
                    </a:cubicBezTo>
                    <a:cubicBezTo>
                      <a:pt x="2439" y="4207"/>
                      <a:pt x="2439" y="4207"/>
                      <a:pt x="2439" y="4207"/>
                    </a:cubicBezTo>
                    <a:cubicBezTo>
                      <a:pt x="2429" y="4229"/>
                      <a:pt x="2429" y="4229"/>
                      <a:pt x="2429" y="4229"/>
                    </a:cubicBezTo>
                    <a:close/>
                    <a:moveTo>
                      <a:pt x="1662" y="3616"/>
                    </a:moveTo>
                    <a:cubicBezTo>
                      <a:pt x="1661" y="3606"/>
                      <a:pt x="1756" y="3549"/>
                      <a:pt x="1807" y="3529"/>
                    </a:cubicBezTo>
                    <a:cubicBezTo>
                      <a:pt x="1858" y="3508"/>
                      <a:pt x="1918" y="3467"/>
                      <a:pt x="1978" y="3399"/>
                    </a:cubicBezTo>
                    <a:cubicBezTo>
                      <a:pt x="2038" y="3330"/>
                      <a:pt x="2100" y="3308"/>
                      <a:pt x="2127" y="3320"/>
                    </a:cubicBezTo>
                    <a:cubicBezTo>
                      <a:pt x="2162" y="3335"/>
                      <a:pt x="2180" y="3367"/>
                      <a:pt x="2172" y="3389"/>
                    </a:cubicBezTo>
                    <a:cubicBezTo>
                      <a:pt x="2164" y="3411"/>
                      <a:pt x="2124" y="3393"/>
                      <a:pt x="2075" y="3393"/>
                    </a:cubicBezTo>
                    <a:cubicBezTo>
                      <a:pt x="2026" y="3393"/>
                      <a:pt x="2011" y="3433"/>
                      <a:pt x="1987" y="3474"/>
                    </a:cubicBezTo>
                    <a:cubicBezTo>
                      <a:pt x="1964" y="3515"/>
                      <a:pt x="1933" y="3516"/>
                      <a:pt x="1896" y="3530"/>
                    </a:cubicBezTo>
                    <a:cubicBezTo>
                      <a:pt x="1859" y="3544"/>
                      <a:pt x="1800" y="3567"/>
                      <a:pt x="1759" y="3593"/>
                    </a:cubicBezTo>
                    <a:cubicBezTo>
                      <a:pt x="1718" y="3619"/>
                      <a:pt x="1664" y="3626"/>
                      <a:pt x="1662" y="3616"/>
                    </a:cubicBezTo>
                    <a:close/>
                  </a:path>
                </a:pathLst>
              </a:custGeom>
              <a:solidFill>
                <a:srgbClr val="D898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grpSp>
        <p:sp>
          <p:nvSpPr>
            <p:cNvPr id="31" name="---Onder grijs">
              <a:extLst>
                <a:ext uri="{FF2B5EF4-FFF2-40B4-BE49-F238E27FC236}">
                  <a16:creationId xmlns:a16="http://schemas.microsoft.com/office/drawing/2014/main" id="{5AED442C-5379-4E8F-9487-B56DA1942F9A}"/>
                </a:ext>
              </a:extLst>
            </p:cNvPr>
            <p:cNvSpPr>
              <a:spLocks noSelect="1"/>
            </p:cNvSpPr>
            <p:nvPr userDrawn="1"/>
          </p:nvSpPr>
          <p:spPr bwMode="gray">
            <a:xfrm>
              <a:off x="6478588" y="5713200"/>
              <a:ext cx="5716588" cy="1146175"/>
            </a:xfrm>
            <a:custGeom>
              <a:avLst/>
              <a:gdLst>
                <a:gd name="T0" fmla="*/ 4081 w 18004"/>
                <a:gd name="T1" fmla="*/ 69 h 3615"/>
                <a:gd name="T2" fmla="*/ 4999 w 18004"/>
                <a:gd name="T3" fmla="*/ 0 h 3615"/>
                <a:gd name="T4" fmla="*/ 4922 w 18004"/>
                <a:gd name="T5" fmla="*/ 564 h 3615"/>
                <a:gd name="T6" fmla="*/ 5139 w 18004"/>
                <a:gd name="T7" fmla="*/ 3404 h 3615"/>
                <a:gd name="T8" fmla="*/ 5117 w 18004"/>
                <a:gd name="T9" fmla="*/ 3600 h 3615"/>
                <a:gd name="T10" fmla="*/ 4520 w 18004"/>
                <a:gd name="T11" fmla="*/ 3310 h 3615"/>
                <a:gd name="T12" fmla="*/ 3509 w 18004"/>
                <a:gd name="T13" fmla="*/ 3411 h 3615"/>
                <a:gd name="T14" fmla="*/ 3318 w 18004"/>
                <a:gd name="T15" fmla="*/ 3258 h 3615"/>
                <a:gd name="T16" fmla="*/ 3293 w 18004"/>
                <a:gd name="T17" fmla="*/ 3107 h 3615"/>
                <a:gd name="T18" fmla="*/ 4189 w 18004"/>
                <a:gd name="T19" fmla="*/ 2929 h 3615"/>
                <a:gd name="T20" fmla="*/ 5553 w 18004"/>
                <a:gd name="T21" fmla="*/ 2498 h 3615"/>
                <a:gd name="T22" fmla="*/ 5134 w 18004"/>
                <a:gd name="T23" fmla="*/ 2164 h 3615"/>
                <a:gd name="T24" fmla="*/ 131 w 18004"/>
                <a:gd name="T25" fmla="*/ 2201 h 3615"/>
                <a:gd name="T26" fmla="*/ 191 w 18004"/>
                <a:gd name="T27" fmla="*/ 1972 h 3615"/>
                <a:gd name="T28" fmla="*/ 5445 w 18004"/>
                <a:gd name="T29" fmla="*/ 2827 h 3615"/>
                <a:gd name="T30" fmla="*/ 5083 w 18004"/>
                <a:gd name="T31" fmla="*/ 2970 h 3615"/>
                <a:gd name="T32" fmla="*/ 1260 w 18004"/>
                <a:gd name="T33" fmla="*/ 967 h 3615"/>
                <a:gd name="T34" fmla="*/ 1850 w 18004"/>
                <a:gd name="T35" fmla="*/ 455 h 3615"/>
                <a:gd name="T36" fmla="*/ 2989 w 18004"/>
                <a:gd name="T37" fmla="*/ 761 h 3615"/>
                <a:gd name="T38" fmla="*/ 2974 w 18004"/>
                <a:gd name="T39" fmla="*/ 832 h 3615"/>
                <a:gd name="T40" fmla="*/ 14992 w 18004"/>
                <a:gd name="T41" fmla="*/ 0 h 3615"/>
                <a:gd name="T42" fmla="*/ 13818 w 18004"/>
                <a:gd name="T43" fmla="*/ 328 h 3615"/>
                <a:gd name="T44" fmla="*/ 11201 w 18004"/>
                <a:gd name="T45" fmla="*/ 553 h 3615"/>
                <a:gd name="T46" fmla="*/ 10915 w 18004"/>
                <a:gd name="T47" fmla="*/ 574 h 3615"/>
                <a:gd name="T48" fmla="*/ 9185 w 18004"/>
                <a:gd name="T49" fmla="*/ 270 h 3615"/>
                <a:gd name="T50" fmla="*/ 7684 w 18004"/>
                <a:gd name="T51" fmla="*/ 1941 h 3615"/>
                <a:gd name="T52" fmla="*/ 5023 w 18004"/>
                <a:gd name="T53" fmla="*/ 219 h 3615"/>
                <a:gd name="T54" fmla="*/ 4581 w 18004"/>
                <a:gd name="T55" fmla="*/ 160 h 3615"/>
                <a:gd name="T56" fmla="*/ 3894 w 18004"/>
                <a:gd name="T57" fmla="*/ 0 h 3615"/>
                <a:gd name="T58" fmla="*/ 3629 w 18004"/>
                <a:gd name="T59" fmla="*/ 130 h 3615"/>
                <a:gd name="T60" fmla="*/ 3932 w 18004"/>
                <a:gd name="T61" fmla="*/ 1715 h 3615"/>
                <a:gd name="T62" fmla="*/ 2644 w 18004"/>
                <a:gd name="T63" fmla="*/ 291 h 3615"/>
                <a:gd name="T64" fmla="*/ 2031 w 18004"/>
                <a:gd name="T65" fmla="*/ 788 h 3615"/>
                <a:gd name="T66" fmla="*/ 1231 w 18004"/>
                <a:gd name="T67" fmla="*/ 3438 h 3615"/>
                <a:gd name="T68" fmla="*/ 2824 w 18004"/>
                <a:gd name="T69" fmla="*/ 2477 h 3615"/>
                <a:gd name="T70" fmla="*/ 3349 w 18004"/>
                <a:gd name="T71" fmla="*/ 3566 h 3615"/>
                <a:gd name="T72" fmla="*/ 4923 w 18004"/>
                <a:gd name="T73" fmla="*/ 1907 h 3615"/>
                <a:gd name="T74" fmla="*/ 5580 w 18004"/>
                <a:gd name="T75" fmla="*/ 3534 h 3615"/>
                <a:gd name="T76" fmla="*/ 7546 w 18004"/>
                <a:gd name="T77" fmla="*/ 3600 h 3615"/>
                <a:gd name="T78" fmla="*/ 11144 w 18004"/>
                <a:gd name="T79" fmla="*/ 2799 h 3615"/>
                <a:gd name="T80" fmla="*/ 15308 w 18004"/>
                <a:gd name="T81" fmla="*/ 3532 h 3615"/>
                <a:gd name="T82" fmla="*/ 17257 w 18004"/>
                <a:gd name="T83" fmla="*/ 2238 h 3615"/>
                <a:gd name="T84" fmla="*/ 17477 w 18004"/>
                <a:gd name="T85" fmla="*/ 2376 h 3615"/>
                <a:gd name="T86" fmla="*/ 3078 w 18004"/>
                <a:gd name="T87" fmla="*/ 342 h 3615"/>
                <a:gd name="T88" fmla="*/ 2516 w 18004"/>
                <a:gd name="T89" fmla="*/ 425 h 3615"/>
                <a:gd name="T90" fmla="*/ 3403 w 18004"/>
                <a:gd name="T91" fmla="*/ 1858 h 3615"/>
                <a:gd name="T92" fmla="*/ 2351 w 18004"/>
                <a:gd name="T93" fmla="*/ 1567 h 3615"/>
                <a:gd name="T94" fmla="*/ 3095 w 18004"/>
                <a:gd name="T95" fmla="*/ 1820 h 3615"/>
                <a:gd name="T96" fmla="*/ 4144 w 18004"/>
                <a:gd name="T97" fmla="*/ 1955 h 3615"/>
                <a:gd name="T98" fmla="*/ 3814 w 18004"/>
                <a:gd name="T99" fmla="*/ 2784 h 3615"/>
                <a:gd name="T100" fmla="*/ 3970 w 18004"/>
                <a:gd name="T101" fmla="*/ 2899 h 3615"/>
                <a:gd name="T102" fmla="*/ 3602 w 18004"/>
                <a:gd name="T103" fmla="*/ 3224 h 3615"/>
                <a:gd name="T104" fmla="*/ 4289 w 18004"/>
                <a:gd name="T105" fmla="*/ 3336 h 3615"/>
                <a:gd name="T106" fmla="*/ 3844 w 18004"/>
                <a:gd name="T107" fmla="*/ 2396 h 3615"/>
                <a:gd name="T108" fmla="*/ 4974 w 18004"/>
                <a:gd name="T109" fmla="*/ 3218 h 3615"/>
                <a:gd name="T110" fmla="*/ 6695 w 18004"/>
                <a:gd name="T111" fmla="*/ 1906 h 3615"/>
                <a:gd name="T112" fmla="*/ 10817 w 18004"/>
                <a:gd name="T113" fmla="*/ 606 h 3615"/>
                <a:gd name="T114" fmla="*/ 11184 w 18004"/>
                <a:gd name="T115" fmla="*/ 541 h 3615"/>
                <a:gd name="T116" fmla="*/ 7822 w 18004"/>
                <a:gd name="T117" fmla="*/ 958 h 3615"/>
                <a:gd name="T118" fmla="*/ 9048 w 18004"/>
                <a:gd name="T119" fmla="*/ 1695 h 3615"/>
                <a:gd name="T120" fmla="*/ 12939 w 18004"/>
                <a:gd name="T121" fmla="*/ 2718 h 3615"/>
                <a:gd name="T122" fmla="*/ 101 w 18004"/>
                <a:gd name="T123" fmla="*/ 552 h 3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04" h="3615">
                  <a:moveTo>
                    <a:pt x="3946" y="222"/>
                  </a:moveTo>
                  <a:cubicBezTo>
                    <a:pt x="3999" y="168"/>
                    <a:pt x="3999" y="168"/>
                    <a:pt x="3999" y="168"/>
                  </a:cubicBezTo>
                  <a:cubicBezTo>
                    <a:pt x="4051" y="219"/>
                    <a:pt x="4051" y="219"/>
                    <a:pt x="4051" y="219"/>
                  </a:cubicBezTo>
                  <a:cubicBezTo>
                    <a:pt x="4150" y="118"/>
                    <a:pt x="4150" y="118"/>
                    <a:pt x="4150" y="118"/>
                  </a:cubicBezTo>
                  <a:cubicBezTo>
                    <a:pt x="4081" y="51"/>
                    <a:pt x="4081" y="51"/>
                    <a:pt x="4081" y="51"/>
                  </a:cubicBezTo>
                  <a:cubicBezTo>
                    <a:pt x="4076" y="55"/>
                    <a:pt x="4076" y="55"/>
                    <a:pt x="4076" y="55"/>
                  </a:cubicBezTo>
                  <a:cubicBezTo>
                    <a:pt x="4068" y="64"/>
                    <a:pt x="4068" y="64"/>
                    <a:pt x="4068" y="64"/>
                  </a:cubicBezTo>
                  <a:cubicBezTo>
                    <a:pt x="4033" y="29"/>
                    <a:pt x="4033" y="29"/>
                    <a:pt x="4033" y="29"/>
                  </a:cubicBezTo>
                  <a:cubicBezTo>
                    <a:pt x="3896" y="164"/>
                    <a:pt x="3896" y="164"/>
                    <a:pt x="3896" y="164"/>
                  </a:cubicBezTo>
                  <a:cubicBezTo>
                    <a:pt x="3892" y="169"/>
                    <a:pt x="3892" y="169"/>
                    <a:pt x="3892" y="169"/>
                  </a:cubicBezTo>
                  <a:lnTo>
                    <a:pt x="3946" y="222"/>
                  </a:lnTo>
                  <a:close/>
                  <a:moveTo>
                    <a:pt x="4033" y="47"/>
                  </a:moveTo>
                  <a:cubicBezTo>
                    <a:pt x="4068" y="82"/>
                    <a:pt x="4068" y="82"/>
                    <a:pt x="4068" y="82"/>
                  </a:cubicBezTo>
                  <a:cubicBezTo>
                    <a:pt x="4073" y="78"/>
                    <a:pt x="4073" y="78"/>
                    <a:pt x="4073" y="78"/>
                  </a:cubicBezTo>
                  <a:cubicBezTo>
                    <a:pt x="4081" y="69"/>
                    <a:pt x="4081" y="69"/>
                    <a:pt x="4081" y="69"/>
                  </a:cubicBezTo>
                  <a:cubicBezTo>
                    <a:pt x="4131" y="119"/>
                    <a:pt x="4131" y="119"/>
                    <a:pt x="4131" y="119"/>
                  </a:cubicBezTo>
                  <a:cubicBezTo>
                    <a:pt x="4051" y="200"/>
                    <a:pt x="4051" y="200"/>
                    <a:pt x="4051" y="200"/>
                  </a:cubicBezTo>
                  <a:cubicBezTo>
                    <a:pt x="3999" y="149"/>
                    <a:pt x="3999" y="149"/>
                    <a:pt x="3999" y="149"/>
                  </a:cubicBezTo>
                  <a:cubicBezTo>
                    <a:pt x="3946" y="203"/>
                    <a:pt x="3946" y="203"/>
                    <a:pt x="3946" y="203"/>
                  </a:cubicBezTo>
                  <a:cubicBezTo>
                    <a:pt x="3910" y="169"/>
                    <a:pt x="3910" y="169"/>
                    <a:pt x="3910" y="169"/>
                  </a:cubicBezTo>
                  <a:lnTo>
                    <a:pt x="4033" y="47"/>
                  </a:lnTo>
                  <a:close/>
                  <a:moveTo>
                    <a:pt x="4831" y="23"/>
                  </a:moveTo>
                  <a:cubicBezTo>
                    <a:pt x="4831" y="0"/>
                    <a:pt x="4831" y="0"/>
                    <a:pt x="4831" y="0"/>
                  </a:cubicBezTo>
                  <a:cubicBezTo>
                    <a:pt x="4844" y="0"/>
                    <a:pt x="4844" y="0"/>
                    <a:pt x="4844" y="0"/>
                  </a:cubicBezTo>
                  <a:cubicBezTo>
                    <a:pt x="4844" y="16"/>
                    <a:pt x="4844" y="16"/>
                    <a:pt x="4844" y="16"/>
                  </a:cubicBezTo>
                  <a:cubicBezTo>
                    <a:pt x="4902" y="16"/>
                    <a:pt x="4902" y="16"/>
                    <a:pt x="4902" y="16"/>
                  </a:cubicBezTo>
                  <a:cubicBezTo>
                    <a:pt x="4902" y="89"/>
                    <a:pt x="4902" y="89"/>
                    <a:pt x="4902" y="89"/>
                  </a:cubicBezTo>
                  <a:cubicBezTo>
                    <a:pt x="4986" y="88"/>
                    <a:pt x="4986" y="88"/>
                    <a:pt x="4986" y="88"/>
                  </a:cubicBezTo>
                  <a:cubicBezTo>
                    <a:pt x="4985" y="0"/>
                    <a:pt x="4985" y="0"/>
                    <a:pt x="4985" y="0"/>
                  </a:cubicBezTo>
                  <a:cubicBezTo>
                    <a:pt x="4999" y="0"/>
                    <a:pt x="4999" y="0"/>
                    <a:pt x="4999" y="0"/>
                  </a:cubicBezTo>
                  <a:cubicBezTo>
                    <a:pt x="4999" y="101"/>
                    <a:pt x="4999" y="101"/>
                    <a:pt x="4999" y="101"/>
                  </a:cubicBezTo>
                  <a:cubicBezTo>
                    <a:pt x="4889" y="102"/>
                    <a:pt x="4889" y="102"/>
                    <a:pt x="4889" y="102"/>
                  </a:cubicBezTo>
                  <a:cubicBezTo>
                    <a:pt x="4889" y="29"/>
                    <a:pt x="4889" y="29"/>
                    <a:pt x="4889" y="29"/>
                  </a:cubicBezTo>
                  <a:cubicBezTo>
                    <a:pt x="4832" y="29"/>
                    <a:pt x="4832" y="29"/>
                    <a:pt x="4832" y="29"/>
                  </a:cubicBezTo>
                  <a:lnTo>
                    <a:pt x="4831" y="23"/>
                  </a:lnTo>
                  <a:close/>
                  <a:moveTo>
                    <a:pt x="4724" y="465"/>
                  </a:moveTo>
                  <a:cubicBezTo>
                    <a:pt x="4725" y="635"/>
                    <a:pt x="4725" y="635"/>
                    <a:pt x="4725" y="635"/>
                  </a:cubicBezTo>
                  <a:cubicBezTo>
                    <a:pt x="4810" y="636"/>
                    <a:pt x="4810" y="636"/>
                    <a:pt x="4810" y="636"/>
                  </a:cubicBezTo>
                  <a:cubicBezTo>
                    <a:pt x="4811" y="733"/>
                    <a:pt x="4811" y="733"/>
                    <a:pt x="4811" y="733"/>
                  </a:cubicBezTo>
                  <a:cubicBezTo>
                    <a:pt x="4933" y="733"/>
                    <a:pt x="4933" y="733"/>
                    <a:pt x="4933" y="733"/>
                  </a:cubicBezTo>
                  <a:cubicBezTo>
                    <a:pt x="4936" y="551"/>
                    <a:pt x="4936" y="551"/>
                    <a:pt x="4936" y="551"/>
                  </a:cubicBezTo>
                  <a:cubicBezTo>
                    <a:pt x="4852" y="550"/>
                    <a:pt x="4852" y="550"/>
                    <a:pt x="4852" y="550"/>
                  </a:cubicBezTo>
                  <a:cubicBezTo>
                    <a:pt x="4855" y="466"/>
                    <a:pt x="4855" y="466"/>
                    <a:pt x="4855" y="466"/>
                  </a:cubicBezTo>
                  <a:lnTo>
                    <a:pt x="4724" y="465"/>
                  </a:lnTo>
                  <a:close/>
                  <a:moveTo>
                    <a:pt x="4922" y="564"/>
                  </a:moveTo>
                  <a:cubicBezTo>
                    <a:pt x="4920" y="720"/>
                    <a:pt x="4920" y="720"/>
                    <a:pt x="4920" y="720"/>
                  </a:cubicBezTo>
                  <a:cubicBezTo>
                    <a:pt x="4824" y="720"/>
                    <a:pt x="4824" y="720"/>
                    <a:pt x="4824" y="720"/>
                  </a:cubicBezTo>
                  <a:cubicBezTo>
                    <a:pt x="4823" y="630"/>
                    <a:pt x="4823" y="630"/>
                    <a:pt x="4823" y="630"/>
                  </a:cubicBezTo>
                  <a:cubicBezTo>
                    <a:pt x="4823" y="623"/>
                    <a:pt x="4823" y="623"/>
                    <a:pt x="4823" y="623"/>
                  </a:cubicBezTo>
                  <a:cubicBezTo>
                    <a:pt x="4738" y="622"/>
                    <a:pt x="4738" y="622"/>
                    <a:pt x="4738" y="622"/>
                  </a:cubicBezTo>
                  <a:cubicBezTo>
                    <a:pt x="4737" y="478"/>
                    <a:pt x="4737" y="478"/>
                    <a:pt x="4737" y="478"/>
                  </a:cubicBezTo>
                  <a:cubicBezTo>
                    <a:pt x="4841" y="479"/>
                    <a:pt x="4841" y="479"/>
                    <a:pt x="4841" y="479"/>
                  </a:cubicBezTo>
                  <a:cubicBezTo>
                    <a:pt x="4838" y="563"/>
                    <a:pt x="4838" y="563"/>
                    <a:pt x="4838" y="563"/>
                  </a:cubicBezTo>
                  <a:lnTo>
                    <a:pt x="4922" y="564"/>
                  </a:lnTo>
                  <a:close/>
                  <a:moveTo>
                    <a:pt x="5139" y="3404"/>
                  </a:moveTo>
                  <a:cubicBezTo>
                    <a:pt x="5156" y="3294"/>
                    <a:pt x="5156" y="3294"/>
                    <a:pt x="5156" y="3294"/>
                  </a:cubicBezTo>
                  <a:cubicBezTo>
                    <a:pt x="5002" y="3271"/>
                    <a:pt x="5002" y="3271"/>
                    <a:pt x="5002" y="3271"/>
                  </a:cubicBezTo>
                  <a:cubicBezTo>
                    <a:pt x="4986" y="3381"/>
                    <a:pt x="4986" y="3381"/>
                    <a:pt x="4986" y="3381"/>
                  </a:cubicBezTo>
                  <a:cubicBezTo>
                    <a:pt x="5133" y="3403"/>
                    <a:pt x="5133" y="3403"/>
                    <a:pt x="5133" y="3403"/>
                  </a:cubicBezTo>
                  <a:lnTo>
                    <a:pt x="5139" y="3404"/>
                  </a:lnTo>
                  <a:close/>
                  <a:moveTo>
                    <a:pt x="5001" y="3370"/>
                  </a:moveTo>
                  <a:cubicBezTo>
                    <a:pt x="5013" y="3286"/>
                    <a:pt x="5013" y="3286"/>
                    <a:pt x="5013" y="3286"/>
                  </a:cubicBezTo>
                  <a:cubicBezTo>
                    <a:pt x="5141" y="3305"/>
                    <a:pt x="5141" y="3305"/>
                    <a:pt x="5141" y="3305"/>
                  </a:cubicBezTo>
                  <a:cubicBezTo>
                    <a:pt x="5128" y="3389"/>
                    <a:pt x="5128" y="3389"/>
                    <a:pt x="5128" y="3389"/>
                  </a:cubicBezTo>
                  <a:lnTo>
                    <a:pt x="5001" y="3370"/>
                  </a:lnTo>
                  <a:close/>
                  <a:moveTo>
                    <a:pt x="4974" y="3592"/>
                  </a:moveTo>
                  <a:cubicBezTo>
                    <a:pt x="5028" y="3600"/>
                    <a:pt x="5028" y="3600"/>
                    <a:pt x="5028" y="3600"/>
                  </a:cubicBezTo>
                  <a:cubicBezTo>
                    <a:pt x="5121" y="3614"/>
                    <a:pt x="5121" y="3614"/>
                    <a:pt x="5121" y="3614"/>
                  </a:cubicBezTo>
                  <a:cubicBezTo>
                    <a:pt x="5128" y="3615"/>
                    <a:pt x="5128" y="3615"/>
                    <a:pt x="5128" y="3615"/>
                  </a:cubicBezTo>
                  <a:cubicBezTo>
                    <a:pt x="5130" y="3600"/>
                    <a:pt x="5130" y="3600"/>
                    <a:pt x="5130" y="3600"/>
                  </a:cubicBezTo>
                  <a:cubicBezTo>
                    <a:pt x="5144" y="3505"/>
                    <a:pt x="5144" y="3505"/>
                    <a:pt x="5144" y="3505"/>
                  </a:cubicBezTo>
                  <a:cubicBezTo>
                    <a:pt x="4991" y="3482"/>
                    <a:pt x="4991" y="3482"/>
                    <a:pt x="4991" y="3482"/>
                  </a:cubicBezTo>
                  <a:lnTo>
                    <a:pt x="4974" y="3592"/>
                  </a:lnTo>
                  <a:close/>
                  <a:moveTo>
                    <a:pt x="5129" y="3516"/>
                  </a:moveTo>
                  <a:cubicBezTo>
                    <a:pt x="5117" y="3600"/>
                    <a:pt x="5117" y="3600"/>
                    <a:pt x="5117" y="3600"/>
                  </a:cubicBezTo>
                  <a:cubicBezTo>
                    <a:pt x="5117" y="3600"/>
                    <a:pt x="5117" y="3600"/>
                    <a:pt x="5117" y="3600"/>
                  </a:cubicBezTo>
                  <a:cubicBezTo>
                    <a:pt x="5116" y="3600"/>
                    <a:pt x="5116" y="3600"/>
                    <a:pt x="5116" y="3600"/>
                  </a:cubicBezTo>
                  <a:cubicBezTo>
                    <a:pt x="4989" y="3581"/>
                    <a:pt x="4989" y="3581"/>
                    <a:pt x="4989" y="3581"/>
                  </a:cubicBezTo>
                  <a:cubicBezTo>
                    <a:pt x="5002" y="3497"/>
                    <a:pt x="5002" y="3497"/>
                    <a:pt x="5002" y="3497"/>
                  </a:cubicBezTo>
                  <a:lnTo>
                    <a:pt x="5129" y="3516"/>
                  </a:lnTo>
                  <a:close/>
                  <a:moveTo>
                    <a:pt x="4531" y="3325"/>
                  </a:moveTo>
                  <a:cubicBezTo>
                    <a:pt x="4548" y="3215"/>
                    <a:pt x="4548" y="3215"/>
                    <a:pt x="4548" y="3215"/>
                  </a:cubicBezTo>
                  <a:cubicBezTo>
                    <a:pt x="4394" y="3192"/>
                    <a:pt x="4394" y="3192"/>
                    <a:pt x="4394" y="3192"/>
                  </a:cubicBezTo>
                  <a:cubicBezTo>
                    <a:pt x="4378" y="3302"/>
                    <a:pt x="4378" y="3302"/>
                    <a:pt x="4378" y="3302"/>
                  </a:cubicBezTo>
                  <a:cubicBezTo>
                    <a:pt x="4525" y="3324"/>
                    <a:pt x="4525" y="3324"/>
                    <a:pt x="4525" y="3324"/>
                  </a:cubicBezTo>
                  <a:lnTo>
                    <a:pt x="4531" y="3325"/>
                  </a:lnTo>
                  <a:close/>
                  <a:moveTo>
                    <a:pt x="4393" y="3291"/>
                  </a:moveTo>
                  <a:cubicBezTo>
                    <a:pt x="4405" y="3207"/>
                    <a:pt x="4405" y="3207"/>
                    <a:pt x="4405" y="3207"/>
                  </a:cubicBezTo>
                  <a:cubicBezTo>
                    <a:pt x="4533" y="3226"/>
                    <a:pt x="4533" y="3226"/>
                    <a:pt x="4533" y="3226"/>
                  </a:cubicBezTo>
                  <a:cubicBezTo>
                    <a:pt x="4520" y="3310"/>
                    <a:pt x="4520" y="3310"/>
                    <a:pt x="4520" y="3310"/>
                  </a:cubicBezTo>
                  <a:lnTo>
                    <a:pt x="4393" y="3291"/>
                  </a:lnTo>
                  <a:close/>
                  <a:moveTo>
                    <a:pt x="4508" y="3529"/>
                  </a:moveTo>
                  <a:cubicBezTo>
                    <a:pt x="4524" y="3419"/>
                    <a:pt x="4524" y="3419"/>
                    <a:pt x="4524" y="3419"/>
                  </a:cubicBezTo>
                  <a:cubicBezTo>
                    <a:pt x="4371" y="3396"/>
                    <a:pt x="4371" y="3396"/>
                    <a:pt x="4371" y="3396"/>
                  </a:cubicBezTo>
                  <a:cubicBezTo>
                    <a:pt x="4354" y="3506"/>
                    <a:pt x="4354" y="3506"/>
                    <a:pt x="4354" y="3506"/>
                  </a:cubicBezTo>
                  <a:cubicBezTo>
                    <a:pt x="4501" y="3528"/>
                    <a:pt x="4501" y="3528"/>
                    <a:pt x="4501" y="3528"/>
                  </a:cubicBezTo>
                  <a:lnTo>
                    <a:pt x="4508" y="3529"/>
                  </a:lnTo>
                  <a:close/>
                  <a:moveTo>
                    <a:pt x="4369" y="3495"/>
                  </a:moveTo>
                  <a:cubicBezTo>
                    <a:pt x="4382" y="3411"/>
                    <a:pt x="4382" y="3411"/>
                    <a:pt x="4382" y="3411"/>
                  </a:cubicBezTo>
                  <a:cubicBezTo>
                    <a:pt x="4509" y="3430"/>
                    <a:pt x="4509" y="3430"/>
                    <a:pt x="4509" y="3430"/>
                  </a:cubicBezTo>
                  <a:cubicBezTo>
                    <a:pt x="4497" y="3514"/>
                    <a:pt x="4497" y="3514"/>
                    <a:pt x="4497" y="3514"/>
                  </a:cubicBezTo>
                  <a:lnTo>
                    <a:pt x="4369" y="3495"/>
                  </a:lnTo>
                  <a:close/>
                  <a:moveTo>
                    <a:pt x="3356" y="3514"/>
                  </a:moveTo>
                  <a:cubicBezTo>
                    <a:pt x="3507" y="3517"/>
                    <a:pt x="3507" y="3517"/>
                    <a:pt x="3507" y="3517"/>
                  </a:cubicBezTo>
                  <a:cubicBezTo>
                    <a:pt x="3509" y="3411"/>
                    <a:pt x="3509" y="3411"/>
                    <a:pt x="3509" y="3411"/>
                  </a:cubicBezTo>
                  <a:cubicBezTo>
                    <a:pt x="3365" y="3409"/>
                    <a:pt x="3365" y="3409"/>
                    <a:pt x="3365" y="3409"/>
                  </a:cubicBezTo>
                  <a:cubicBezTo>
                    <a:pt x="3358" y="3408"/>
                    <a:pt x="3358" y="3408"/>
                    <a:pt x="3358" y="3408"/>
                  </a:cubicBezTo>
                  <a:lnTo>
                    <a:pt x="3356" y="3514"/>
                  </a:lnTo>
                  <a:close/>
                  <a:moveTo>
                    <a:pt x="3371" y="3421"/>
                  </a:moveTo>
                  <a:cubicBezTo>
                    <a:pt x="3497" y="3424"/>
                    <a:pt x="3497" y="3424"/>
                    <a:pt x="3497" y="3424"/>
                  </a:cubicBezTo>
                  <a:cubicBezTo>
                    <a:pt x="3495" y="3504"/>
                    <a:pt x="3495" y="3504"/>
                    <a:pt x="3495" y="3504"/>
                  </a:cubicBezTo>
                  <a:cubicBezTo>
                    <a:pt x="3369" y="3502"/>
                    <a:pt x="3369" y="3502"/>
                    <a:pt x="3369" y="3502"/>
                  </a:cubicBezTo>
                  <a:lnTo>
                    <a:pt x="3371" y="3421"/>
                  </a:lnTo>
                  <a:close/>
                  <a:moveTo>
                    <a:pt x="3305" y="3246"/>
                  </a:moveTo>
                  <a:cubicBezTo>
                    <a:pt x="3303" y="3351"/>
                    <a:pt x="3303" y="3351"/>
                    <a:pt x="3303" y="3351"/>
                  </a:cubicBezTo>
                  <a:cubicBezTo>
                    <a:pt x="3454" y="3354"/>
                    <a:pt x="3454" y="3354"/>
                    <a:pt x="3454" y="3354"/>
                  </a:cubicBezTo>
                  <a:cubicBezTo>
                    <a:pt x="3457" y="3249"/>
                    <a:pt x="3457" y="3249"/>
                    <a:pt x="3457" y="3249"/>
                  </a:cubicBezTo>
                  <a:cubicBezTo>
                    <a:pt x="3312" y="3246"/>
                    <a:pt x="3312" y="3246"/>
                    <a:pt x="3312" y="3246"/>
                  </a:cubicBezTo>
                  <a:lnTo>
                    <a:pt x="3305" y="3246"/>
                  </a:lnTo>
                  <a:close/>
                  <a:moveTo>
                    <a:pt x="3318" y="3258"/>
                  </a:moveTo>
                  <a:cubicBezTo>
                    <a:pt x="3444" y="3261"/>
                    <a:pt x="3444" y="3261"/>
                    <a:pt x="3444" y="3261"/>
                  </a:cubicBezTo>
                  <a:cubicBezTo>
                    <a:pt x="3442" y="3341"/>
                    <a:pt x="3442" y="3341"/>
                    <a:pt x="3442" y="3341"/>
                  </a:cubicBezTo>
                  <a:cubicBezTo>
                    <a:pt x="3316" y="3339"/>
                    <a:pt x="3316" y="3339"/>
                    <a:pt x="3316" y="3339"/>
                  </a:cubicBezTo>
                  <a:lnTo>
                    <a:pt x="3318" y="3258"/>
                  </a:lnTo>
                  <a:close/>
                  <a:moveTo>
                    <a:pt x="3281" y="3094"/>
                  </a:moveTo>
                  <a:cubicBezTo>
                    <a:pt x="3278" y="3200"/>
                    <a:pt x="3278" y="3200"/>
                    <a:pt x="3278" y="3200"/>
                  </a:cubicBezTo>
                  <a:cubicBezTo>
                    <a:pt x="3430" y="3203"/>
                    <a:pt x="3430" y="3203"/>
                    <a:pt x="3430" y="3203"/>
                  </a:cubicBezTo>
                  <a:cubicBezTo>
                    <a:pt x="3432" y="3097"/>
                    <a:pt x="3432" y="3097"/>
                    <a:pt x="3432" y="3097"/>
                  </a:cubicBezTo>
                  <a:cubicBezTo>
                    <a:pt x="3287" y="3094"/>
                    <a:pt x="3287" y="3094"/>
                    <a:pt x="3287" y="3094"/>
                  </a:cubicBezTo>
                  <a:lnTo>
                    <a:pt x="3281" y="3094"/>
                  </a:lnTo>
                  <a:close/>
                  <a:moveTo>
                    <a:pt x="3293" y="3107"/>
                  </a:moveTo>
                  <a:cubicBezTo>
                    <a:pt x="3419" y="3110"/>
                    <a:pt x="3419" y="3110"/>
                    <a:pt x="3419" y="3110"/>
                  </a:cubicBezTo>
                  <a:cubicBezTo>
                    <a:pt x="3417" y="3190"/>
                    <a:pt x="3417" y="3190"/>
                    <a:pt x="3417" y="3190"/>
                  </a:cubicBezTo>
                  <a:cubicBezTo>
                    <a:pt x="3291" y="3187"/>
                    <a:pt x="3291" y="3187"/>
                    <a:pt x="3291" y="3187"/>
                  </a:cubicBezTo>
                  <a:lnTo>
                    <a:pt x="3293" y="3107"/>
                  </a:lnTo>
                  <a:close/>
                  <a:moveTo>
                    <a:pt x="3896" y="2899"/>
                  </a:moveTo>
                  <a:cubicBezTo>
                    <a:pt x="3752" y="2896"/>
                    <a:pt x="3752" y="2896"/>
                    <a:pt x="3752" y="2896"/>
                  </a:cubicBezTo>
                  <a:cubicBezTo>
                    <a:pt x="3745" y="2896"/>
                    <a:pt x="3745" y="2896"/>
                    <a:pt x="3745" y="2896"/>
                  </a:cubicBezTo>
                  <a:cubicBezTo>
                    <a:pt x="3743" y="3001"/>
                    <a:pt x="3743" y="3001"/>
                    <a:pt x="3743" y="3001"/>
                  </a:cubicBezTo>
                  <a:cubicBezTo>
                    <a:pt x="3894" y="3004"/>
                    <a:pt x="3894" y="3004"/>
                    <a:pt x="3894" y="3004"/>
                  </a:cubicBezTo>
                  <a:lnTo>
                    <a:pt x="3896" y="2899"/>
                  </a:lnTo>
                  <a:close/>
                  <a:moveTo>
                    <a:pt x="3882" y="2992"/>
                  </a:moveTo>
                  <a:cubicBezTo>
                    <a:pt x="3756" y="2989"/>
                    <a:pt x="3756" y="2989"/>
                    <a:pt x="3756" y="2989"/>
                  </a:cubicBezTo>
                  <a:cubicBezTo>
                    <a:pt x="3758" y="2909"/>
                    <a:pt x="3758" y="2909"/>
                    <a:pt x="3758" y="2909"/>
                  </a:cubicBezTo>
                  <a:cubicBezTo>
                    <a:pt x="3884" y="2911"/>
                    <a:pt x="3884" y="2911"/>
                    <a:pt x="3884" y="2911"/>
                  </a:cubicBezTo>
                  <a:lnTo>
                    <a:pt x="3882" y="2992"/>
                  </a:lnTo>
                  <a:close/>
                  <a:moveTo>
                    <a:pt x="4038" y="2926"/>
                  </a:moveTo>
                  <a:cubicBezTo>
                    <a:pt x="4036" y="3032"/>
                    <a:pt x="4036" y="3032"/>
                    <a:pt x="4036" y="3032"/>
                  </a:cubicBezTo>
                  <a:cubicBezTo>
                    <a:pt x="4187" y="3035"/>
                    <a:pt x="4187" y="3035"/>
                    <a:pt x="4187" y="3035"/>
                  </a:cubicBezTo>
                  <a:cubicBezTo>
                    <a:pt x="4189" y="2929"/>
                    <a:pt x="4189" y="2929"/>
                    <a:pt x="4189" y="2929"/>
                  </a:cubicBezTo>
                  <a:cubicBezTo>
                    <a:pt x="4044" y="2926"/>
                    <a:pt x="4044" y="2926"/>
                    <a:pt x="4044" y="2926"/>
                  </a:cubicBezTo>
                  <a:lnTo>
                    <a:pt x="4038" y="2926"/>
                  </a:lnTo>
                  <a:close/>
                  <a:moveTo>
                    <a:pt x="4050" y="2939"/>
                  </a:moveTo>
                  <a:cubicBezTo>
                    <a:pt x="4176" y="2942"/>
                    <a:pt x="4176" y="2942"/>
                    <a:pt x="4176" y="2942"/>
                  </a:cubicBezTo>
                  <a:cubicBezTo>
                    <a:pt x="4174" y="3022"/>
                    <a:pt x="4174" y="3022"/>
                    <a:pt x="4174" y="3022"/>
                  </a:cubicBezTo>
                  <a:cubicBezTo>
                    <a:pt x="4048" y="3019"/>
                    <a:pt x="4048" y="3019"/>
                    <a:pt x="4048" y="3019"/>
                  </a:cubicBezTo>
                  <a:lnTo>
                    <a:pt x="4050" y="2939"/>
                  </a:lnTo>
                  <a:close/>
                  <a:moveTo>
                    <a:pt x="5368" y="2474"/>
                  </a:moveTo>
                  <a:cubicBezTo>
                    <a:pt x="5367" y="2481"/>
                    <a:pt x="5367" y="2481"/>
                    <a:pt x="5367" y="2481"/>
                  </a:cubicBezTo>
                  <a:cubicBezTo>
                    <a:pt x="5563" y="2513"/>
                    <a:pt x="5563" y="2513"/>
                    <a:pt x="5563" y="2513"/>
                  </a:cubicBezTo>
                  <a:cubicBezTo>
                    <a:pt x="5579" y="2417"/>
                    <a:pt x="5579" y="2417"/>
                    <a:pt x="5579" y="2417"/>
                  </a:cubicBezTo>
                  <a:cubicBezTo>
                    <a:pt x="5383" y="2385"/>
                    <a:pt x="5383" y="2385"/>
                    <a:pt x="5383" y="2385"/>
                  </a:cubicBezTo>
                  <a:lnTo>
                    <a:pt x="5368" y="2474"/>
                  </a:lnTo>
                  <a:close/>
                  <a:moveTo>
                    <a:pt x="5564" y="2428"/>
                  </a:moveTo>
                  <a:cubicBezTo>
                    <a:pt x="5553" y="2498"/>
                    <a:pt x="5553" y="2498"/>
                    <a:pt x="5553" y="2498"/>
                  </a:cubicBezTo>
                  <a:cubicBezTo>
                    <a:pt x="5382" y="2470"/>
                    <a:pt x="5382" y="2470"/>
                    <a:pt x="5382" y="2470"/>
                  </a:cubicBezTo>
                  <a:cubicBezTo>
                    <a:pt x="5394" y="2400"/>
                    <a:pt x="5394" y="2400"/>
                    <a:pt x="5394" y="2400"/>
                  </a:cubicBezTo>
                  <a:lnTo>
                    <a:pt x="5564" y="2428"/>
                  </a:lnTo>
                  <a:close/>
                  <a:moveTo>
                    <a:pt x="5460" y="2333"/>
                  </a:moveTo>
                  <a:cubicBezTo>
                    <a:pt x="5487" y="2144"/>
                    <a:pt x="5487" y="2144"/>
                    <a:pt x="5487" y="2144"/>
                  </a:cubicBezTo>
                  <a:cubicBezTo>
                    <a:pt x="5488" y="2137"/>
                    <a:pt x="5488" y="2137"/>
                    <a:pt x="5488" y="2137"/>
                  </a:cubicBezTo>
                  <a:cubicBezTo>
                    <a:pt x="5166" y="2091"/>
                    <a:pt x="5166" y="2091"/>
                    <a:pt x="5166" y="2091"/>
                  </a:cubicBezTo>
                  <a:cubicBezTo>
                    <a:pt x="5158" y="2153"/>
                    <a:pt x="5158" y="2153"/>
                    <a:pt x="5158" y="2153"/>
                  </a:cubicBezTo>
                  <a:cubicBezTo>
                    <a:pt x="5123" y="2150"/>
                    <a:pt x="5123" y="2150"/>
                    <a:pt x="5123" y="2150"/>
                  </a:cubicBezTo>
                  <a:cubicBezTo>
                    <a:pt x="5110" y="2235"/>
                    <a:pt x="5110" y="2235"/>
                    <a:pt x="5110" y="2235"/>
                  </a:cubicBezTo>
                  <a:cubicBezTo>
                    <a:pt x="5143" y="2241"/>
                    <a:pt x="5143" y="2241"/>
                    <a:pt x="5143" y="2241"/>
                  </a:cubicBezTo>
                  <a:cubicBezTo>
                    <a:pt x="5138" y="2288"/>
                    <a:pt x="5138" y="2288"/>
                    <a:pt x="5138" y="2288"/>
                  </a:cubicBezTo>
                  <a:lnTo>
                    <a:pt x="5460" y="2333"/>
                  </a:lnTo>
                  <a:close/>
                  <a:moveTo>
                    <a:pt x="5125" y="2224"/>
                  </a:moveTo>
                  <a:cubicBezTo>
                    <a:pt x="5134" y="2164"/>
                    <a:pt x="5134" y="2164"/>
                    <a:pt x="5134" y="2164"/>
                  </a:cubicBezTo>
                  <a:cubicBezTo>
                    <a:pt x="5169" y="2167"/>
                    <a:pt x="5169" y="2167"/>
                    <a:pt x="5169" y="2167"/>
                  </a:cubicBezTo>
                  <a:cubicBezTo>
                    <a:pt x="5178" y="2105"/>
                    <a:pt x="5178" y="2105"/>
                    <a:pt x="5178" y="2105"/>
                  </a:cubicBezTo>
                  <a:cubicBezTo>
                    <a:pt x="5473" y="2148"/>
                    <a:pt x="5473" y="2148"/>
                    <a:pt x="5473" y="2148"/>
                  </a:cubicBezTo>
                  <a:cubicBezTo>
                    <a:pt x="5449" y="2318"/>
                    <a:pt x="5449" y="2318"/>
                    <a:pt x="5449" y="2318"/>
                  </a:cubicBezTo>
                  <a:cubicBezTo>
                    <a:pt x="5152" y="2277"/>
                    <a:pt x="5152" y="2277"/>
                    <a:pt x="5152" y="2277"/>
                  </a:cubicBezTo>
                  <a:cubicBezTo>
                    <a:pt x="5157" y="2230"/>
                    <a:pt x="5157" y="2230"/>
                    <a:pt x="5157" y="2230"/>
                  </a:cubicBezTo>
                  <a:lnTo>
                    <a:pt x="5125" y="2224"/>
                  </a:lnTo>
                  <a:close/>
                  <a:moveTo>
                    <a:pt x="215" y="1986"/>
                  </a:moveTo>
                  <a:cubicBezTo>
                    <a:pt x="196" y="1955"/>
                    <a:pt x="196" y="1955"/>
                    <a:pt x="196" y="1955"/>
                  </a:cubicBezTo>
                  <a:cubicBezTo>
                    <a:pt x="121" y="1990"/>
                    <a:pt x="121" y="1990"/>
                    <a:pt x="121" y="1990"/>
                  </a:cubicBezTo>
                  <a:cubicBezTo>
                    <a:pt x="138" y="2026"/>
                    <a:pt x="138" y="2026"/>
                    <a:pt x="138" y="2026"/>
                  </a:cubicBezTo>
                  <a:cubicBezTo>
                    <a:pt x="84" y="2049"/>
                    <a:pt x="84" y="2049"/>
                    <a:pt x="84" y="2049"/>
                  </a:cubicBezTo>
                  <a:cubicBezTo>
                    <a:pt x="105" y="2093"/>
                    <a:pt x="105" y="2093"/>
                    <a:pt x="105" y="2093"/>
                  </a:cubicBezTo>
                  <a:cubicBezTo>
                    <a:pt x="88" y="2099"/>
                    <a:pt x="88" y="2099"/>
                    <a:pt x="88" y="2099"/>
                  </a:cubicBezTo>
                  <a:cubicBezTo>
                    <a:pt x="131" y="2201"/>
                    <a:pt x="131" y="2201"/>
                    <a:pt x="131" y="2201"/>
                  </a:cubicBezTo>
                  <a:cubicBezTo>
                    <a:pt x="158" y="2191"/>
                    <a:pt x="158" y="2191"/>
                    <a:pt x="158" y="2191"/>
                  </a:cubicBezTo>
                  <a:cubicBezTo>
                    <a:pt x="236" y="2366"/>
                    <a:pt x="236" y="2366"/>
                    <a:pt x="236" y="2366"/>
                  </a:cubicBezTo>
                  <a:cubicBezTo>
                    <a:pt x="404" y="2288"/>
                    <a:pt x="404" y="2288"/>
                    <a:pt x="404" y="2288"/>
                  </a:cubicBezTo>
                  <a:cubicBezTo>
                    <a:pt x="410" y="2286"/>
                    <a:pt x="410" y="2286"/>
                    <a:pt x="410" y="2286"/>
                  </a:cubicBezTo>
                  <a:cubicBezTo>
                    <a:pt x="267" y="1964"/>
                    <a:pt x="267" y="1964"/>
                    <a:pt x="267" y="1964"/>
                  </a:cubicBezTo>
                  <a:lnTo>
                    <a:pt x="215" y="1986"/>
                  </a:lnTo>
                  <a:close/>
                  <a:moveTo>
                    <a:pt x="243" y="2348"/>
                  </a:moveTo>
                  <a:cubicBezTo>
                    <a:pt x="165" y="2174"/>
                    <a:pt x="165" y="2174"/>
                    <a:pt x="165" y="2174"/>
                  </a:cubicBezTo>
                  <a:cubicBezTo>
                    <a:pt x="138" y="2184"/>
                    <a:pt x="138" y="2184"/>
                    <a:pt x="138" y="2184"/>
                  </a:cubicBezTo>
                  <a:cubicBezTo>
                    <a:pt x="105" y="2107"/>
                    <a:pt x="105" y="2107"/>
                    <a:pt x="105" y="2107"/>
                  </a:cubicBezTo>
                  <a:cubicBezTo>
                    <a:pt x="122" y="2100"/>
                    <a:pt x="122" y="2100"/>
                    <a:pt x="122" y="2100"/>
                  </a:cubicBezTo>
                  <a:cubicBezTo>
                    <a:pt x="102" y="2056"/>
                    <a:pt x="102" y="2056"/>
                    <a:pt x="102" y="2056"/>
                  </a:cubicBezTo>
                  <a:cubicBezTo>
                    <a:pt x="155" y="2033"/>
                    <a:pt x="155" y="2033"/>
                    <a:pt x="155" y="2033"/>
                  </a:cubicBezTo>
                  <a:cubicBezTo>
                    <a:pt x="139" y="1996"/>
                    <a:pt x="139" y="1996"/>
                    <a:pt x="139" y="1996"/>
                  </a:cubicBezTo>
                  <a:cubicBezTo>
                    <a:pt x="191" y="1972"/>
                    <a:pt x="191" y="1972"/>
                    <a:pt x="191" y="1972"/>
                  </a:cubicBezTo>
                  <a:cubicBezTo>
                    <a:pt x="209" y="2002"/>
                    <a:pt x="209" y="2002"/>
                    <a:pt x="209" y="2002"/>
                  </a:cubicBezTo>
                  <a:cubicBezTo>
                    <a:pt x="260" y="1981"/>
                    <a:pt x="260" y="1981"/>
                    <a:pt x="260" y="1981"/>
                  </a:cubicBezTo>
                  <a:cubicBezTo>
                    <a:pt x="393" y="2279"/>
                    <a:pt x="393" y="2279"/>
                    <a:pt x="393" y="2279"/>
                  </a:cubicBezTo>
                  <a:lnTo>
                    <a:pt x="243" y="2348"/>
                  </a:lnTo>
                  <a:close/>
                  <a:moveTo>
                    <a:pt x="5037" y="2921"/>
                  </a:moveTo>
                  <a:cubicBezTo>
                    <a:pt x="5077" y="2925"/>
                    <a:pt x="5077" y="2925"/>
                    <a:pt x="5077" y="2925"/>
                  </a:cubicBezTo>
                  <a:cubicBezTo>
                    <a:pt x="5068" y="2982"/>
                    <a:pt x="5068" y="2982"/>
                    <a:pt x="5068" y="2982"/>
                  </a:cubicBezTo>
                  <a:cubicBezTo>
                    <a:pt x="5111" y="2986"/>
                    <a:pt x="5111" y="2986"/>
                    <a:pt x="5111" y="2986"/>
                  </a:cubicBezTo>
                  <a:cubicBezTo>
                    <a:pt x="5109" y="3006"/>
                    <a:pt x="5109" y="3006"/>
                    <a:pt x="5109" y="3006"/>
                  </a:cubicBezTo>
                  <a:cubicBezTo>
                    <a:pt x="5215" y="3020"/>
                    <a:pt x="5215" y="3020"/>
                    <a:pt x="5215" y="3020"/>
                  </a:cubicBezTo>
                  <a:cubicBezTo>
                    <a:pt x="5216" y="3015"/>
                    <a:pt x="5216" y="3015"/>
                    <a:pt x="5216" y="3015"/>
                  </a:cubicBezTo>
                  <a:cubicBezTo>
                    <a:pt x="5220" y="3002"/>
                    <a:pt x="5220" y="3002"/>
                    <a:pt x="5220" y="3002"/>
                  </a:cubicBezTo>
                  <a:cubicBezTo>
                    <a:pt x="5415" y="3027"/>
                    <a:pt x="5415" y="3027"/>
                    <a:pt x="5415" y="3027"/>
                  </a:cubicBezTo>
                  <a:cubicBezTo>
                    <a:pt x="5444" y="2834"/>
                    <a:pt x="5444" y="2834"/>
                    <a:pt x="5444" y="2834"/>
                  </a:cubicBezTo>
                  <a:cubicBezTo>
                    <a:pt x="5445" y="2827"/>
                    <a:pt x="5445" y="2827"/>
                    <a:pt x="5445" y="2827"/>
                  </a:cubicBezTo>
                  <a:cubicBezTo>
                    <a:pt x="5091" y="2782"/>
                    <a:pt x="5091" y="2782"/>
                    <a:pt x="5091" y="2782"/>
                  </a:cubicBezTo>
                  <a:cubicBezTo>
                    <a:pt x="5082" y="2837"/>
                    <a:pt x="5082" y="2837"/>
                    <a:pt x="5082" y="2837"/>
                  </a:cubicBezTo>
                  <a:cubicBezTo>
                    <a:pt x="5049" y="2833"/>
                    <a:pt x="5049" y="2833"/>
                    <a:pt x="5049" y="2833"/>
                  </a:cubicBezTo>
                  <a:lnTo>
                    <a:pt x="5037" y="2921"/>
                  </a:lnTo>
                  <a:close/>
                  <a:moveTo>
                    <a:pt x="5060" y="2848"/>
                  </a:moveTo>
                  <a:cubicBezTo>
                    <a:pt x="5093" y="2851"/>
                    <a:pt x="5093" y="2851"/>
                    <a:pt x="5093" y="2851"/>
                  </a:cubicBezTo>
                  <a:cubicBezTo>
                    <a:pt x="5102" y="2796"/>
                    <a:pt x="5102" y="2796"/>
                    <a:pt x="5102" y="2796"/>
                  </a:cubicBezTo>
                  <a:cubicBezTo>
                    <a:pt x="5430" y="2838"/>
                    <a:pt x="5430" y="2838"/>
                    <a:pt x="5430" y="2838"/>
                  </a:cubicBezTo>
                  <a:cubicBezTo>
                    <a:pt x="5404" y="3013"/>
                    <a:pt x="5404" y="3013"/>
                    <a:pt x="5404" y="3013"/>
                  </a:cubicBezTo>
                  <a:cubicBezTo>
                    <a:pt x="5211" y="2988"/>
                    <a:pt x="5211" y="2988"/>
                    <a:pt x="5211" y="2988"/>
                  </a:cubicBezTo>
                  <a:cubicBezTo>
                    <a:pt x="5209" y="2993"/>
                    <a:pt x="5209" y="2993"/>
                    <a:pt x="5209" y="2993"/>
                  </a:cubicBezTo>
                  <a:cubicBezTo>
                    <a:pt x="5205" y="3006"/>
                    <a:pt x="5205" y="3006"/>
                    <a:pt x="5205" y="3006"/>
                  </a:cubicBezTo>
                  <a:cubicBezTo>
                    <a:pt x="5123" y="2995"/>
                    <a:pt x="5123" y="2995"/>
                    <a:pt x="5123" y="2995"/>
                  </a:cubicBezTo>
                  <a:cubicBezTo>
                    <a:pt x="5126" y="2974"/>
                    <a:pt x="5126" y="2974"/>
                    <a:pt x="5126" y="2974"/>
                  </a:cubicBezTo>
                  <a:cubicBezTo>
                    <a:pt x="5083" y="2970"/>
                    <a:pt x="5083" y="2970"/>
                    <a:pt x="5083" y="2970"/>
                  </a:cubicBezTo>
                  <a:cubicBezTo>
                    <a:pt x="5092" y="2913"/>
                    <a:pt x="5092" y="2913"/>
                    <a:pt x="5092" y="2913"/>
                  </a:cubicBezTo>
                  <a:cubicBezTo>
                    <a:pt x="5052" y="2909"/>
                    <a:pt x="5052" y="2909"/>
                    <a:pt x="5052" y="2909"/>
                  </a:cubicBezTo>
                  <a:lnTo>
                    <a:pt x="5060" y="2848"/>
                  </a:lnTo>
                  <a:close/>
                  <a:moveTo>
                    <a:pt x="4495" y="20"/>
                  </a:moveTo>
                  <a:cubicBezTo>
                    <a:pt x="4347" y="9"/>
                    <a:pt x="4347" y="9"/>
                    <a:pt x="4347" y="9"/>
                  </a:cubicBezTo>
                  <a:cubicBezTo>
                    <a:pt x="4348" y="2"/>
                    <a:pt x="4348" y="2"/>
                    <a:pt x="4348" y="2"/>
                  </a:cubicBezTo>
                  <a:cubicBezTo>
                    <a:pt x="4348" y="0"/>
                    <a:pt x="4348" y="0"/>
                    <a:pt x="4348" y="0"/>
                  </a:cubicBezTo>
                  <a:cubicBezTo>
                    <a:pt x="4405" y="0"/>
                    <a:pt x="4405" y="0"/>
                    <a:pt x="4405" y="0"/>
                  </a:cubicBezTo>
                  <a:cubicBezTo>
                    <a:pt x="4483" y="6"/>
                    <a:pt x="4483" y="6"/>
                    <a:pt x="4483" y="6"/>
                  </a:cubicBezTo>
                  <a:cubicBezTo>
                    <a:pt x="4483" y="0"/>
                    <a:pt x="4483" y="0"/>
                    <a:pt x="4483" y="0"/>
                  </a:cubicBezTo>
                  <a:cubicBezTo>
                    <a:pt x="4496" y="0"/>
                    <a:pt x="4496" y="0"/>
                    <a:pt x="4496" y="0"/>
                  </a:cubicBezTo>
                  <a:lnTo>
                    <a:pt x="4495" y="20"/>
                  </a:lnTo>
                  <a:close/>
                  <a:moveTo>
                    <a:pt x="485" y="380"/>
                  </a:moveTo>
                  <a:cubicBezTo>
                    <a:pt x="384" y="676"/>
                    <a:pt x="384" y="676"/>
                    <a:pt x="384" y="676"/>
                  </a:cubicBezTo>
                  <a:cubicBezTo>
                    <a:pt x="1260" y="967"/>
                    <a:pt x="1260" y="967"/>
                    <a:pt x="1260" y="967"/>
                  </a:cubicBezTo>
                  <a:cubicBezTo>
                    <a:pt x="1342" y="718"/>
                    <a:pt x="1342" y="718"/>
                    <a:pt x="1342" y="718"/>
                  </a:cubicBezTo>
                  <a:cubicBezTo>
                    <a:pt x="1558" y="787"/>
                    <a:pt x="1558" y="787"/>
                    <a:pt x="1558" y="787"/>
                  </a:cubicBezTo>
                  <a:cubicBezTo>
                    <a:pt x="1594" y="678"/>
                    <a:pt x="1594" y="678"/>
                    <a:pt x="1594" y="678"/>
                  </a:cubicBezTo>
                  <a:cubicBezTo>
                    <a:pt x="1774" y="739"/>
                    <a:pt x="1774" y="739"/>
                    <a:pt x="1774" y="739"/>
                  </a:cubicBezTo>
                  <a:cubicBezTo>
                    <a:pt x="1866" y="453"/>
                    <a:pt x="1866" y="453"/>
                    <a:pt x="1866" y="453"/>
                  </a:cubicBezTo>
                  <a:cubicBezTo>
                    <a:pt x="1868" y="446"/>
                    <a:pt x="1868" y="446"/>
                    <a:pt x="1868" y="446"/>
                  </a:cubicBezTo>
                  <a:cubicBezTo>
                    <a:pt x="996" y="154"/>
                    <a:pt x="996" y="154"/>
                    <a:pt x="996" y="154"/>
                  </a:cubicBezTo>
                  <a:cubicBezTo>
                    <a:pt x="903" y="449"/>
                    <a:pt x="903" y="449"/>
                    <a:pt x="903" y="449"/>
                  </a:cubicBezTo>
                  <a:cubicBezTo>
                    <a:pt x="1129" y="525"/>
                    <a:pt x="1129" y="525"/>
                    <a:pt x="1129" y="525"/>
                  </a:cubicBezTo>
                  <a:cubicBezTo>
                    <a:pt x="1106" y="589"/>
                    <a:pt x="1106" y="589"/>
                    <a:pt x="1106" y="589"/>
                  </a:cubicBezTo>
                  <a:lnTo>
                    <a:pt x="485" y="380"/>
                  </a:lnTo>
                  <a:close/>
                  <a:moveTo>
                    <a:pt x="1148" y="516"/>
                  </a:moveTo>
                  <a:cubicBezTo>
                    <a:pt x="922" y="440"/>
                    <a:pt x="922" y="440"/>
                    <a:pt x="922" y="440"/>
                  </a:cubicBezTo>
                  <a:cubicBezTo>
                    <a:pt x="1005" y="173"/>
                    <a:pt x="1005" y="173"/>
                    <a:pt x="1005" y="173"/>
                  </a:cubicBezTo>
                  <a:cubicBezTo>
                    <a:pt x="1850" y="455"/>
                    <a:pt x="1850" y="455"/>
                    <a:pt x="1850" y="455"/>
                  </a:cubicBezTo>
                  <a:cubicBezTo>
                    <a:pt x="1764" y="720"/>
                    <a:pt x="1764" y="720"/>
                    <a:pt x="1764" y="720"/>
                  </a:cubicBezTo>
                  <a:cubicBezTo>
                    <a:pt x="1585" y="660"/>
                    <a:pt x="1585" y="660"/>
                    <a:pt x="1585" y="660"/>
                  </a:cubicBezTo>
                  <a:cubicBezTo>
                    <a:pt x="1549" y="769"/>
                    <a:pt x="1549" y="769"/>
                    <a:pt x="1549" y="769"/>
                  </a:cubicBezTo>
                  <a:cubicBezTo>
                    <a:pt x="1332" y="699"/>
                    <a:pt x="1332" y="699"/>
                    <a:pt x="1332" y="699"/>
                  </a:cubicBezTo>
                  <a:cubicBezTo>
                    <a:pt x="1251" y="948"/>
                    <a:pt x="1251" y="948"/>
                    <a:pt x="1251" y="948"/>
                  </a:cubicBezTo>
                  <a:cubicBezTo>
                    <a:pt x="403" y="667"/>
                    <a:pt x="403" y="667"/>
                    <a:pt x="403" y="667"/>
                  </a:cubicBezTo>
                  <a:cubicBezTo>
                    <a:pt x="495" y="399"/>
                    <a:pt x="495" y="399"/>
                    <a:pt x="495" y="399"/>
                  </a:cubicBezTo>
                  <a:cubicBezTo>
                    <a:pt x="1115" y="608"/>
                    <a:pt x="1115" y="608"/>
                    <a:pt x="1115" y="608"/>
                  </a:cubicBezTo>
                  <a:lnTo>
                    <a:pt x="1148" y="516"/>
                  </a:lnTo>
                  <a:close/>
                  <a:moveTo>
                    <a:pt x="3004" y="922"/>
                  </a:moveTo>
                  <a:cubicBezTo>
                    <a:pt x="3142" y="921"/>
                    <a:pt x="3142" y="921"/>
                    <a:pt x="3142" y="921"/>
                  </a:cubicBezTo>
                  <a:cubicBezTo>
                    <a:pt x="3142" y="827"/>
                    <a:pt x="3142" y="827"/>
                    <a:pt x="3142" y="827"/>
                  </a:cubicBezTo>
                  <a:cubicBezTo>
                    <a:pt x="3142" y="819"/>
                    <a:pt x="3142" y="819"/>
                    <a:pt x="3142" y="819"/>
                  </a:cubicBezTo>
                  <a:cubicBezTo>
                    <a:pt x="2989" y="817"/>
                    <a:pt x="2989" y="817"/>
                    <a:pt x="2989" y="817"/>
                  </a:cubicBezTo>
                  <a:cubicBezTo>
                    <a:pt x="2989" y="761"/>
                    <a:pt x="2989" y="761"/>
                    <a:pt x="2989" y="761"/>
                  </a:cubicBezTo>
                  <a:cubicBezTo>
                    <a:pt x="2841" y="763"/>
                    <a:pt x="2841" y="763"/>
                    <a:pt x="2841" y="763"/>
                  </a:cubicBezTo>
                  <a:cubicBezTo>
                    <a:pt x="2840" y="770"/>
                    <a:pt x="2840" y="770"/>
                    <a:pt x="2840" y="770"/>
                  </a:cubicBezTo>
                  <a:cubicBezTo>
                    <a:pt x="2839" y="784"/>
                    <a:pt x="2839" y="784"/>
                    <a:pt x="2839" y="784"/>
                  </a:cubicBezTo>
                  <a:cubicBezTo>
                    <a:pt x="2487" y="784"/>
                    <a:pt x="2487" y="784"/>
                    <a:pt x="2487" y="784"/>
                  </a:cubicBezTo>
                  <a:cubicBezTo>
                    <a:pt x="2486" y="1056"/>
                    <a:pt x="2486" y="1056"/>
                    <a:pt x="2486" y="1056"/>
                  </a:cubicBezTo>
                  <a:cubicBezTo>
                    <a:pt x="2999" y="975"/>
                    <a:pt x="2999" y="975"/>
                    <a:pt x="2999" y="975"/>
                  </a:cubicBezTo>
                  <a:lnTo>
                    <a:pt x="3004" y="922"/>
                  </a:lnTo>
                  <a:close/>
                  <a:moveTo>
                    <a:pt x="2986" y="962"/>
                  </a:moveTo>
                  <a:cubicBezTo>
                    <a:pt x="2501" y="1038"/>
                    <a:pt x="2501" y="1038"/>
                    <a:pt x="2501" y="1038"/>
                  </a:cubicBezTo>
                  <a:cubicBezTo>
                    <a:pt x="2502" y="798"/>
                    <a:pt x="2502" y="798"/>
                    <a:pt x="2502" y="798"/>
                  </a:cubicBezTo>
                  <a:cubicBezTo>
                    <a:pt x="2853" y="799"/>
                    <a:pt x="2853" y="799"/>
                    <a:pt x="2853" y="799"/>
                  </a:cubicBezTo>
                  <a:cubicBezTo>
                    <a:pt x="2853" y="792"/>
                    <a:pt x="2853" y="792"/>
                    <a:pt x="2853" y="792"/>
                  </a:cubicBezTo>
                  <a:cubicBezTo>
                    <a:pt x="2854" y="778"/>
                    <a:pt x="2854" y="778"/>
                    <a:pt x="2854" y="778"/>
                  </a:cubicBezTo>
                  <a:cubicBezTo>
                    <a:pt x="2974" y="776"/>
                    <a:pt x="2974" y="776"/>
                    <a:pt x="2974" y="776"/>
                  </a:cubicBezTo>
                  <a:cubicBezTo>
                    <a:pt x="2974" y="832"/>
                    <a:pt x="2974" y="832"/>
                    <a:pt x="2974" y="832"/>
                  </a:cubicBezTo>
                  <a:cubicBezTo>
                    <a:pt x="3127" y="834"/>
                    <a:pt x="3127" y="834"/>
                    <a:pt x="3127" y="834"/>
                  </a:cubicBezTo>
                  <a:cubicBezTo>
                    <a:pt x="3128" y="906"/>
                    <a:pt x="3128" y="906"/>
                    <a:pt x="3128" y="906"/>
                  </a:cubicBezTo>
                  <a:cubicBezTo>
                    <a:pt x="2991" y="908"/>
                    <a:pt x="2991" y="908"/>
                    <a:pt x="2991" y="908"/>
                  </a:cubicBezTo>
                  <a:lnTo>
                    <a:pt x="2986" y="962"/>
                  </a:lnTo>
                  <a:close/>
                  <a:moveTo>
                    <a:pt x="18004" y="1864"/>
                  </a:moveTo>
                  <a:cubicBezTo>
                    <a:pt x="17944" y="1913"/>
                    <a:pt x="17882" y="1964"/>
                    <a:pt x="17823" y="2012"/>
                  </a:cubicBezTo>
                  <a:cubicBezTo>
                    <a:pt x="17654" y="2149"/>
                    <a:pt x="17502" y="2272"/>
                    <a:pt x="17430" y="2329"/>
                  </a:cubicBezTo>
                  <a:cubicBezTo>
                    <a:pt x="17380" y="2277"/>
                    <a:pt x="17340" y="2230"/>
                    <a:pt x="17306" y="2195"/>
                  </a:cubicBezTo>
                  <a:cubicBezTo>
                    <a:pt x="17288" y="2173"/>
                    <a:pt x="16823" y="1638"/>
                    <a:pt x="16201" y="1271"/>
                  </a:cubicBezTo>
                  <a:cubicBezTo>
                    <a:pt x="16011" y="1158"/>
                    <a:pt x="15772" y="1016"/>
                    <a:pt x="15532" y="888"/>
                  </a:cubicBezTo>
                  <a:cubicBezTo>
                    <a:pt x="15407" y="822"/>
                    <a:pt x="15282" y="757"/>
                    <a:pt x="15163" y="696"/>
                  </a:cubicBezTo>
                  <a:cubicBezTo>
                    <a:pt x="15178" y="694"/>
                    <a:pt x="15178" y="694"/>
                    <a:pt x="15178" y="694"/>
                  </a:cubicBezTo>
                  <a:cubicBezTo>
                    <a:pt x="15174" y="672"/>
                    <a:pt x="15160" y="617"/>
                    <a:pt x="15138" y="533"/>
                  </a:cubicBezTo>
                  <a:cubicBezTo>
                    <a:pt x="15116" y="450"/>
                    <a:pt x="15086" y="342"/>
                    <a:pt x="15054" y="223"/>
                  </a:cubicBezTo>
                  <a:cubicBezTo>
                    <a:pt x="15034" y="152"/>
                    <a:pt x="15013" y="76"/>
                    <a:pt x="14992" y="0"/>
                  </a:cubicBezTo>
                  <a:cubicBezTo>
                    <a:pt x="14924" y="0"/>
                    <a:pt x="14924" y="0"/>
                    <a:pt x="14924" y="0"/>
                  </a:cubicBezTo>
                  <a:cubicBezTo>
                    <a:pt x="14981" y="207"/>
                    <a:pt x="15038" y="413"/>
                    <a:pt x="15075" y="550"/>
                  </a:cubicBezTo>
                  <a:cubicBezTo>
                    <a:pt x="15088" y="598"/>
                    <a:pt x="15098" y="639"/>
                    <a:pt x="15105" y="666"/>
                  </a:cubicBezTo>
                  <a:cubicBezTo>
                    <a:pt x="14874" y="549"/>
                    <a:pt x="14672" y="449"/>
                    <a:pt x="14552" y="390"/>
                  </a:cubicBezTo>
                  <a:cubicBezTo>
                    <a:pt x="14494" y="361"/>
                    <a:pt x="14454" y="341"/>
                    <a:pt x="14442" y="335"/>
                  </a:cubicBezTo>
                  <a:cubicBezTo>
                    <a:pt x="14435" y="329"/>
                    <a:pt x="14427" y="328"/>
                    <a:pt x="14423" y="327"/>
                  </a:cubicBezTo>
                  <a:cubicBezTo>
                    <a:pt x="13986" y="280"/>
                    <a:pt x="13986" y="280"/>
                    <a:pt x="13986" y="280"/>
                  </a:cubicBezTo>
                  <a:cubicBezTo>
                    <a:pt x="13984" y="254"/>
                    <a:pt x="13974" y="150"/>
                    <a:pt x="13959" y="0"/>
                  </a:cubicBezTo>
                  <a:cubicBezTo>
                    <a:pt x="13806" y="0"/>
                    <a:pt x="13806" y="0"/>
                    <a:pt x="13806" y="0"/>
                  </a:cubicBezTo>
                  <a:cubicBezTo>
                    <a:pt x="13818" y="121"/>
                    <a:pt x="13827" y="215"/>
                    <a:pt x="13831" y="263"/>
                  </a:cubicBezTo>
                  <a:cubicBezTo>
                    <a:pt x="13379" y="214"/>
                    <a:pt x="13379" y="214"/>
                    <a:pt x="13379" y="214"/>
                  </a:cubicBezTo>
                  <a:cubicBezTo>
                    <a:pt x="12998" y="0"/>
                    <a:pt x="12998" y="0"/>
                    <a:pt x="12998" y="0"/>
                  </a:cubicBezTo>
                  <a:cubicBezTo>
                    <a:pt x="12863" y="0"/>
                    <a:pt x="12863" y="0"/>
                    <a:pt x="12863" y="0"/>
                  </a:cubicBezTo>
                  <a:cubicBezTo>
                    <a:pt x="13359" y="278"/>
                    <a:pt x="13359" y="278"/>
                    <a:pt x="13359" y="278"/>
                  </a:cubicBezTo>
                  <a:cubicBezTo>
                    <a:pt x="13818" y="328"/>
                    <a:pt x="13818" y="328"/>
                    <a:pt x="13818" y="328"/>
                  </a:cubicBezTo>
                  <a:cubicBezTo>
                    <a:pt x="13134" y="2295"/>
                    <a:pt x="13134" y="2295"/>
                    <a:pt x="13134" y="2295"/>
                  </a:cubicBezTo>
                  <a:cubicBezTo>
                    <a:pt x="12166" y="1912"/>
                    <a:pt x="12166" y="1912"/>
                    <a:pt x="12166" y="1912"/>
                  </a:cubicBezTo>
                  <a:cubicBezTo>
                    <a:pt x="11973" y="640"/>
                    <a:pt x="11973" y="640"/>
                    <a:pt x="11973" y="640"/>
                  </a:cubicBezTo>
                  <a:cubicBezTo>
                    <a:pt x="11843" y="36"/>
                    <a:pt x="11843" y="36"/>
                    <a:pt x="11843" y="36"/>
                  </a:cubicBezTo>
                  <a:cubicBezTo>
                    <a:pt x="11830" y="29"/>
                    <a:pt x="11830" y="29"/>
                    <a:pt x="11830" y="29"/>
                  </a:cubicBezTo>
                  <a:cubicBezTo>
                    <a:pt x="11830" y="29"/>
                    <a:pt x="11830" y="29"/>
                    <a:pt x="11830" y="29"/>
                  </a:cubicBezTo>
                  <a:cubicBezTo>
                    <a:pt x="11830" y="29"/>
                    <a:pt x="11829" y="29"/>
                    <a:pt x="11829" y="29"/>
                  </a:cubicBezTo>
                  <a:cubicBezTo>
                    <a:pt x="11849" y="0"/>
                    <a:pt x="11849" y="0"/>
                    <a:pt x="11849" y="0"/>
                  </a:cubicBezTo>
                  <a:cubicBezTo>
                    <a:pt x="11716" y="0"/>
                    <a:pt x="11716" y="0"/>
                    <a:pt x="11716" y="0"/>
                  </a:cubicBezTo>
                  <a:cubicBezTo>
                    <a:pt x="11748" y="44"/>
                    <a:pt x="11771" y="66"/>
                    <a:pt x="11784" y="77"/>
                  </a:cubicBezTo>
                  <a:cubicBezTo>
                    <a:pt x="11899" y="610"/>
                    <a:pt x="11899" y="610"/>
                    <a:pt x="11899" y="610"/>
                  </a:cubicBezTo>
                  <a:cubicBezTo>
                    <a:pt x="11002" y="771"/>
                    <a:pt x="11002" y="771"/>
                    <a:pt x="11002" y="771"/>
                  </a:cubicBezTo>
                  <a:cubicBezTo>
                    <a:pt x="10980" y="642"/>
                    <a:pt x="10980" y="642"/>
                    <a:pt x="10980" y="642"/>
                  </a:cubicBezTo>
                  <a:cubicBezTo>
                    <a:pt x="11209" y="603"/>
                    <a:pt x="11209" y="603"/>
                    <a:pt x="11209" y="603"/>
                  </a:cubicBezTo>
                  <a:cubicBezTo>
                    <a:pt x="11201" y="553"/>
                    <a:pt x="11201" y="553"/>
                    <a:pt x="11201" y="553"/>
                  </a:cubicBezTo>
                  <a:cubicBezTo>
                    <a:pt x="11295" y="537"/>
                    <a:pt x="11295" y="537"/>
                    <a:pt x="11295" y="537"/>
                  </a:cubicBezTo>
                  <a:cubicBezTo>
                    <a:pt x="11273" y="406"/>
                    <a:pt x="11273" y="406"/>
                    <a:pt x="11273" y="406"/>
                  </a:cubicBezTo>
                  <a:cubicBezTo>
                    <a:pt x="11178" y="422"/>
                    <a:pt x="11178" y="422"/>
                    <a:pt x="11178" y="422"/>
                  </a:cubicBezTo>
                  <a:cubicBezTo>
                    <a:pt x="11149" y="254"/>
                    <a:pt x="11149" y="254"/>
                    <a:pt x="11149" y="254"/>
                  </a:cubicBezTo>
                  <a:cubicBezTo>
                    <a:pt x="11108" y="261"/>
                    <a:pt x="11108" y="261"/>
                    <a:pt x="11108" y="261"/>
                  </a:cubicBezTo>
                  <a:cubicBezTo>
                    <a:pt x="11090" y="170"/>
                    <a:pt x="11090" y="170"/>
                    <a:pt x="11090" y="170"/>
                  </a:cubicBezTo>
                  <a:cubicBezTo>
                    <a:pt x="11089" y="163"/>
                    <a:pt x="11089" y="163"/>
                    <a:pt x="11089" y="163"/>
                  </a:cubicBezTo>
                  <a:cubicBezTo>
                    <a:pt x="11005" y="177"/>
                    <a:pt x="11005" y="177"/>
                    <a:pt x="11005" y="177"/>
                  </a:cubicBezTo>
                  <a:cubicBezTo>
                    <a:pt x="11022" y="275"/>
                    <a:pt x="11022" y="275"/>
                    <a:pt x="11022" y="275"/>
                  </a:cubicBezTo>
                  <a:cubicBezTo>
                    <a:pt x="10872" y="300"/>
                    <a:pt x="10872" y="300"/>
                    <a:pt x="10872" y="300"/>
                  </a:cubicBezTo>
                  <a:cubicBezTo>
                    <a:pt x="10880" y="348"/>
                    <a:pt x="10880" y="348"/>
                    <a:pt x="10880" y="348"/>
                  </a:cubicBezTo>
                  <a:cubicBezTo>
                    <a:pt x="10721" y="375"/>
                    <a:pt x="10721" y="375"/>
                    <a:pt x="10721" y="375"/>
                  </a:cubicBezTo>
                  <a:cubicBezTo>
                    <a:pt x="10740" y="484"/>
                    <a:pt x="10740" y="484"/>
                    <a:pt x="10740" y="484"/>
                  </a:cubicBezTo>
                  <a:cubicBezTo>
                    <a:pt x="10895" y="458"/>
                    <a:pt x="10895" y="458"/>
                    <a:pt x="10895" y="458"/>
                  </a:cubicBezTo>
                  <a:cubicBezTo>
                    <a:pt x="10915" y="574"/>
                    <a:pt x="10915" y="574"/>
                    <a:pt x="10915" y="574"/>
                  </a:cubicBezTo>
                  <a:cubicBezTo>
                    <a:pt x="10800" y="594"/>
                    <a:pt x="10800" y="594"/>
                    <a:pt x="10800" y="594"/>
                  </a:cubicBezTo>
                  <a:cubicBezTo>
                    <a:pt x="10835" y="801"/>
                    <a:pt x="10835" y="801"/>
                    <a:pt x="10835" y="801"/>
                  </a:cubicBezTo>
                  <a:cubicBezTo>
                    <a:pt x="10313" y="894"/>
                    <a:pt x="10313" y="894"/>
                    <a:pt x="10313" y="894"/>
                  </a:cubicBezTo>
                  <a:cubicBezTo>
                    <a:pt x="10311" y="878"/>
                    <a:pt x="10309" y="856"/>
                    <a:pt x="10307" y="831"/>
                  </a:cubicBezTo>
                  <a:cubicBezTo>
                    <a:pt x="10301" y="773"/>
                    <a:pt x="10294" y="697"/>
                    <a:pt x="10286" y="620"/>
                  </a:cubicBezTo>
                  <a:cubicBezTo>
                    <a:pt x="10274" y="498"/>
                    <a:pt x="10262" y="376"/>
                    <a:pt x="10257" y="332"/>
                  </a:cubicBezTo>
                  <a:cubicBezTo>
                    <a:pt x="10296" y="298"/>
                    <a:pt x="10391" y="195"/>
                    <a:pt x="10392" y="14"/>
                  </a:cubicBezTo>
                  <a:cubicBezTo>
                    <a:pt x="10392" y="9"/>
                    <a:pt x="10391" y="5"/>
                    <a:pt x="10391" y="0"/>
                  </a:cubicBezTo>
                  <a:cubicBezTo>
                    <a:pt x="10325" y="0"/>
                    <a:pt x="10325" y="0"/>
                    <a:pt x="10325" y="0"/>
                  </a:cubicBezTo>
                  <a:cubicBezTo>
                    <a:pt x="10325" y="5"/>
                    <a:pt x="10326" y="10"/>
                    <a:pt x="10326" y="14"/>
                  </a:cubicBezTo>
                  <a:cubicBezTo>
                    <a:pt x="10326" y="174"/>
                    <a:pt x="10238" y="262"/>
                    <a:pt x="10212" y="285"/>
                  </a:cubicBezTo>
                  <a:cubicBezTo>
                    <a:pt x="9251" y="271"/>
                    <a:pt x="9251" y="271"/>
                    <a:pt x="9251" y="271"/>
                  </a:cubicBezTo>
                  <a:cubicBezTo>
                    <a:pt x="9235" y="0"/>
                    <a:pt x="9235" y="0"/>
                    <a:pt x="9235" y="0"/>
                  </a:cubicBezTo>
                  <a:cubicBezTo>
                    <a:pt x="9169" y="0"/>
                    <a:pt x="9169" y="0"/>
                    <a:pt x="9169" y="0"/>
                  </a:cubicBezTo>
                  <a:cubicBezTo>
                    <a:pt x="9185" y="270"/>
                    <a:pt x="9185" y="270"/>
                    <a:pt x="9185" y="270"/>
                  </a:cubicBezTo>
                  <a:cubicBezTo>
                    <a:pt x="9160" y="270"/>
                    <a:pt x="9160" y="270"/>
                    <a:pt x="9160" y="270"/>
                  </a:cubicBezTo>
                  <a:cubicBezTo>
                    <a:pt x="9150" y="285"/>
                    <a:pt x="9150" y="285"/>
                    <a:pt x="9150" y="285"/>
                  </a:cubicBezTo>
                  <a:cubicBezTo>
                    <a:pt x="9150" y="285"/>
                    <a:pt x="9102" y="360"/>
                    <a:pt x="9045" y="446"/>
                  </a:cubicBezTo>
                  <a:cubicBezTo>
                    <a:pt x="8989" y="533"/>
                    <a:pt x="8924" y="631"/>
                    <a:pt x="8891" y="677"/>
                  </a:cubicBezTo>
                  <a:cubicBezTo>
                    <a:pt x="8891" y="677"/>
                    <a:pt x="8891" y="678"/>
                    <a:pt x="8890" y="678"/>
                  </a:cubicBezTo>
                  <a:cubicBezTo>
                    <a:pt x="7749" y="0"/>
                    <a:pt x="7749" y="0"/>
                    <a:pt x="7749" y="0"/>
                  </a:cubicBezTo>
                  <a:cubicBezTo>
                    <a:pt x="7595" y="0"/>
                    <a:pt x="7595" y="0"/>
                    <a:pt x="7595" y="0"/>
                  </a:cubicBezTo>
                  <a:cubicBezTo>
                    <a:pt x="7528" y="121"/>
                    <a:pt x="7528" y="121"/>
                    <a:pt x="7528" y="121"/>
                  </a:cubicBezTo>
                  <a:cubicBezTo>
                    <a:pt x="7528" y="123"/>
                    <a:pt x="7528" y="123"/>
                    <a:pt x="7528" y="123"/>
                  </a:cubicBezTo>
                  <a:cubicBezTo>
                    <a:pt x="7526" y="126"/>
                    <a:pt x="7503" y="181"/>
                    <a:pt x="7503" y="275"/>
                  </a:cubicBezTo>
                  <a:cubicBezTo>
                    <a:pt x="7503" y="343"/>
                    <a:pt x="7515" y="430"/>
                    <a:pt x="7556" y="532"/>
                  </a:cubicBezTo>
                  <a:cubicBezTo>
                    <a:pt x="7642" y="746"/>
                    <a:pt x="7752" y="965"/>
                    <a:pt x="7771" y="1002"/>
                  </a:cubicBezTo>
                  <a:cubicBezTo>
                    <a:pt x="7847" y="1703"/>
                    <a:pt x="7847" y="1703"/>
                    <a:pt x="7847" y="1703"/>
                  </a:cubicBezTo>
                  <a:cubicBezTo>
                    <a:pt x="7759" y="1945"/>
                    <a:pt x="7759" y="1945"/>
                    <a:pt x="7759" y="1945"/>
                  </a:cubicBezTo>
                  <a:cubicBezTo>
                    <a:pt x="7722" y="1943"/>
                    <a:pt x="7694" y="1942"/>
                    <a:pt x="7684" y="1941"/>
                  </a:cubicBezTo>
                  <a:cubicBezTo>
                    <a:pt x="7683" y="1941"/>
                    <a:pt x="7682" y="1941"/>
                    <a:pt x="7681" y="1941"/>
                  </a:cubicBezTo>
                  <a:cubicBezTo>
                    <a:pt x="7681" y="1941"/>
                    <a:pt x="7557" y="1936"/>
                    <a:pt x="7373" y="1930"/>
                  </a:cubicBezTo>
                  <a:cubicBezTo>
                    <a:pt x="7331" y="1928"/>
                    <a:pt x="7286" y="1927"/>
                    <a:pt x="7239" y="1925"/>
                  </a:cubicBezTo>
                  <a:cubicBezTo>
                    <a:pt x="6718" y="439"/>
                    <a:pt x="6718" y="439"/>
                    <a:pt x="6718" y="439"/>
                  </a:cubicBezTo>
                  <a:cubicBezTo>
                    <a:pt x="6725" y="395"/>
                    <a:pt x="6759" y="187"/>
                    <a:pt x="6790" y="0"/>
                  </a:cubicBezTo>
                  <a:cubicBezTo>
                    <a:pt x="6723" y="0"/>
                    <a:pt x="6723" y="0"/>
                    <a:pt x="6723" y="0"/>
                  </a:cubicBezTo>
                  <a:cubicBezTo>
                    <a:pt x="6720" y="20"/>
                    <a:pt x="6717" y="39"/>
                    <a:pt x="6714" y="59"/>
                  </a:cubicBezTo>
                  <a:cubicBezTo>
                    <a:pt x="6689" y="209"/>
                    <a:pt x="6664" y="359"/>
                    <a:pt x="6655" y="414"/>
                  </a:cubicBezTo>
                  <a:cubicBezTo>
                    <a:pt x="6562" y="433"/>
                    <a:pt x="6481" y="441"/>
                    <a:pt x="6411" y="441"/>
                  </a:cubicBezTo>
                  <a:cubicBezTo>
                    <a:pt x="6259" y="441"/>
                    <a:pt x="6151" y="408"/>
                    <a:pt x="6051" y="385"/>
                  </a:cubicBezTo>
                  <a:cubicBezTo>
                    <a:pt x="5979" y="369"/>
                    <a:pt x="5736" y="306"/>
                    <a:pt x="5512" y="247"/>
                  </a:cubicBezTo>
                  <a:cubicBezTo>
                    <a:pt x="5316" y="195"/>
                    <a:pt x="5135" y="147"/>
                    <a:pt x="5091" y="135"/>
                  </a:cubicBezTo>
                  <a:cubicBezTo>
                    <a:pt x="5092" y="92"/>
                    <a:pt x="5093" y="47"/>
                    <a:pt x="5094" y="0"/>
                  </a:cubicBezTo>
                  <a:cubicBezTo>
                    <a:pt x="5029" y="0"/>
                    <a:pt x="5029" y="0"/>
                    <a:pt x="5029" y="0"/>
                  </a:cubicBezTo>
                  <a:cubicBezTo>
                    <a:pt x="5027" y="79"/>
                    <a:pt x="5025" y="154"/>
                    <a:pt x="5023" y="219"/>
                  </a:cubicBezTo>
                  <a:cubicBezTo>
                    <a:pt x="5020" y="325"/>
                    <a:pt x="5017" y="406"/>
                    <a:pt x="5016" y="440"/>
                  </a:cubicBezTo>
                  <a:cubicBezTo>
                    <a:pt x="4598" y="162"/>
                    <a:pt x="4598" y="162"/>
                    <a:pt x="4598" y="162"/>
                  </a:cubicBezTo>
                  <a:cubicBezTo>
                    <a:pt x="4591" y="174"/>
                    <a:pt x="4591" y="174"/>
                    <a:pt x="4591" y="174"/>
                  </a:cubicBezTo>
                  <a:cubicBezTo>
                    <a:pt x="5016" y="456"/>
                    <a:pt x="5016" y="456"/>
                    <a:pt x="5016" y="456"/>
                  </a:cubicBezTo>
                  <a:cubicBezTo>
                    <a:pt x="5016" y="456"/>
                    <a:pt x="5016" y="457"/>
                    <a:pt x="5016" y="457"/>
                  </a:cubicBezTo>
                  <a:cubicBezTo>
                    <a:pt x="5015" y="459"/>
                    <a:pt x="5015" y="459"/>
                    <a:pt x="5015" y="459"/>
                  </a:cubicBezTo>
                  <a:cubicBezTo>
                    <a:pt x="5080" y="1026"/>
                    <a:pt x="5080" y="1026"/>
                    <a:pt x="5080" y="1026"/>
                  </a:cubicBezTo>
                  <a:cubicBezTo>
                    <a:pt x="4608" y="716"/>
                    <a:pt x="4608" y="716"/>
                    <a:pt x="4608" y="716"/>
                  </a:cubicBezTo>
                  <a:cubicBezTo>
                    <a:pt x="4354" y="244"/>
                    <a:pt x="4354" y="244"/>
                    <a:pt x="4354" y="244"/>
                  </a:cubicBezTo>
                  <a:cubicBezTo>
                    <a:pt x="4381" y="237"/>
                    <a:pt x="4419" y="225"/>
                    <a:pt x="4457" y="213"/>
                  </a:cubicBezTo>
                  <a:cubicBezTo>
                    <a:pt x="4523" y="193"/>
                    <a:pt x="4588" y="172"/>
                    <a:pt x="4588" y="172"/>
                  </a:cubicBezTo>
                  <a:cubicBezTo>
                    <a:pt x="4592" y="171"/>
                    <a:pt x="4592" y="171"/>
                    <a:pt x="4592" y="171"/>
                  </a:cubicBezTo>
                  <a:cubicBezTo>
                    <a:pt x="4646" y="0"/>
                    <a:pt x="4646" y="0"/>
                    <a:pt x="4646" y="0"/>
                  </a:cubicBezTo>
                  <a:cubicBezTo>
                    <a:pt x="4632" y="0"/>
                    <a:pt x="4632" y="0"/>
                    <a:pt x="4632" y="0"/>
                  </a:cubicBezTo>
                  <a:cubicBezTo>
                    <a:pt x="4581" y="160"/>
                    <a:pt x="4581" y="160"/>
                    <a:pt x="4581" y="160"/>
                  </a:cubicBezTo>
                  <a:cubicBezTo>
                    <a:pt x="4566" y="165"/>
                    <a:pt x="4510" y="182"/>
                    <a:pt x="4453" y="200"/>
                  </a:cubicBezTo>
                  <a:cubicBezTo>
                    <a:pt x="4414" y="212"/>
                    <a:pt x="4374" y="224"/>
                    <a:pt x="4347" y="232"/>
                  </a:cubicBezTo>
                  <a:cubicBezTo>
                    <a:pt x="4294" y="132"/>
                    <a:pt x="4294" y="132"/>
                    <a:pt x="4294" y="132"/>
                  </a:cubicBezTo>
                  <a:cubicBezTo>
                    <a:pt x="4307" y="0"/>
                    <a:pt x="4307" y="0"/>
                    <a:pt x="4307" y="0"/>
                  </a:cubicBezTo>
                  <a:cubicBezTo>
                    <a:pt x="4262" y="0"/>
                    <a:pt x="4262" y="0"/>
                    <a:pt x="4262" y="0"/>
                  </a:cubicBezTo>
                  <a:cubicBezTo>
                    <a:pt x="4248" y="142"/>
                    <a:pt x="4248" y="142"/>
                    <a:pt x="4248" y="142"/>
                  </a:cubicBezTo>
                  <a:cubicBezTo>
                    <a:pt x="4390" y="407"/>
                    <a:pt x="4390" y="407"/>
                    <a:pt x="4390" y="407"/>
                  </a:cubicBezTo>
                  <a:cubicBezTo>
                    <a:pt x="4374" y="417"/>
                    <a:pt x="4346" y="435"/>
                    <a:pt x="4317" y="453"/>
                  </a:cubicBezTo>
                  <a:cubicBezTo>
                    <a:pt x="4278" y="479"/>
                    <a:pt x="4239" y="504"/>
                    <a:pt x="4225" y="515"/>
                  </a:cubicBezTo>
                  <a:cubicBezTo>
                    <a:pt x="4224" y="514"/>
                    <a:pt x="4223" y="514"/>
                    <a:pt x="4222" y="513"/>
                  </a:cubicBezTo>
                  <a:cubicBezTo>
                    <a:pt x="4217" y="509"/>
                    <a:pt x="4210" y="504"/>
                    <a:pt x="4201" y="498"/>
                  </a:cubicBezTo>
                  <a:cubicBezTo>
                    <a:pt x="4182" y="485"/>
                    <a:pt x="4156" y="467"/>
                    <a:pt x="4124" y="446"/>
                  </a:cubicBezTo>
                  <a:cubicBezTo>
                    <a:pt x="4061" y="403"/>
                    <a:pt x="3977" y="346"/>
                    <a:pt x="3891" y="289"/>
                  </a:cubicBezTo>
                  <a:cubicBezTo>
                    <a:pt x="3859" y="267"/>
                    <a:pt x="3826" y="245"/>
                    <a:pt x="3795" y="224"/>
                  </a:cubicBezTo>
                  <a:cubicBezTo>
                    <a:pt x="3894" y="0"/>
                    <a:pt x="3894" y="0"/>
                    <a:pt x="3894" y="0"/>
                  </a:cubicBezTo>
                  <a:cubicBezTo>
                    <a:pt x="3878" y="0"/>
                    <a:pt x="3878" y="0"/>
                    <a:pt x="3878" y="0"/>
                  </a:cubicBezTo>
                  <a:cubicBezTo>
                    <a:pt x="3783" y="216"/>
                    <a:pt x="3783" y="216"/>
                    <a:pt x="3783" y="216"/>
                  </a:cubicBezTo>
                  <a:cubicBezTo>
                    <a:pt x="3663" y="135"/>
                    <a:pt x="3559" y="66"/>
                    <a:pt x="3537" y="50"/>
                  </a:cubicBezTo>
                  <a:cubicBezTo>
                    <a:pt x="3537" y="49"/>
                    <a:pt x="3537" y="48"/>
                    <a:pt x="3538" y="46"/>
                  </a:cubicBezTo>
                  <a:cubicBezTo>
                    <a:pt x="3538" y="40"/>
                    <a:pt x="3539" y="33"/>
                    <a:pt x="3539" y="24"/>
                  </a:cubicBezTo>
                  <a:cubicBezTo>
                    <a:pt x="3540" y="17"/>
                    <a:pt x="3540" y="9"/>
                    <a:pt x="3540" y="0"/>
                  </a:cubicBezTo>
                  <a:cubicBezTo>
                    <a:pt x="3526" y="0"/>
                    <a:pt x="3526" y="0"/>
                    <a:pt x="3526" y="0"/>
                  </a:cubicBezTo>
                  <a:cubicBezTo>
                    <a:pt x="3525" y="24"/>
                    <a:pt x="3524" y="43"/>
                    <a:pt x="3523" y="49"/>
                  </a:cubicBezTo>
                  <a:cubicBezTo>
                    <a:pt x="3522" y="50"/>
                    <a:pt x="3522" y="51"/>
                    <a:pt x="3522" y="52"/>
                  </a:cubicBezTo>
                  <a:cubicBezTo>
                    <a:pt x="3520" y="60"/>
                    <a:pt x="3520" y="60"/>
                    <a:pt x="3520" y="60"/>
                  </a:cubicBezTo>
                  <a:cubicBezTo>
                    <a:pt x="3526" y="60"/>
                    <a:pt x="3526" y="60"/>
                    <a:pt x="3526" y="60"/>
                  </a:cubicBezTo>
                  <a:cubicBezTo>
                    <a:pt x="3526" y="60"/>
                    <a:pt x="3526" y="60"/>
                    <a:pt x="3526" y="60"/>
                  </a:cubicBezTo>
                  <a:cubicBezTo>
                    <a:pt x="3528" y="61"/>
                    <a:pt x="3530" y="62"/>
                    <a:pt x="3532" y="64"/>
                  </a:cubicBezTo>
                  <a:cubicBezTo>
                    <a:pt x="3537" y="67"/>
                    <a:pt x="3544" y="72"/>
                    <a:pt x="3553" y="78"/>
                  </a:cubicBezTo>
                  <a:cubicBezTo>
                    <a:pt x="3572" y="91"/>
                    <a:pt x="3598" y="108"/>
                    <a:pt x="3629" y="130"/>
                  </a:cubicBezTo>
                  <a:cubicBezTo>
                    <a:pt x="3692" y="172"/>
                    <a:pt x="3776" y="228"/>
                    <a:pt x="3861" y="285"/>
                  </a:cubicBezTo>
                  <a:cubicBezTo>
                    <a:pt x="4029" y="398"/>
                    <a:pt x="4202" y="514"/>
                    <a:pt x="4220" y="528"/>
                  </a:cubicBezTo>
                  <a:cubicBezTo>
                    <a:pt x="4221" y="531"/>
                    <a:pt x="4224" y="531"/>
                    <a:pt x="4226" y="531"/>
                  </a:cubicBezTo>
                  <a:cubicBezTo>
                    <a:pt x="4226" y="531"/>
                    <a:pt x="4230" y="532"/>
                    <a:pt x="4232" y="528"/>
                  </a:cubicBezTo>
                  <a:cubicBezTo>
                    <a:pt x="4232" y="528"/>
                    <a:pt x="4232" y="528"/>
                    <a:pt x="4232" y="527"/>
                  </a:cubicBezTo>
                  <a:cubicBezTo>
                    <a:pt x="4233" y="527"/>
                    <a:pt x="4235" y="525"/>
                    <a:pt x="4237" y="523"/>
                  </a:cubicBezTo>
                  <a:cubicBezTo>
                    <a:pt x="4242" y="520"/>
                    <a:pt x="4249" y="515"/>
                    <a:pt x="4258" y="509"/>
                  </a:cubicBezTo>
                  <a:cubicBezTo>
                    <a:pt x="4275" y="498"/>
                    <a:pt x="4298" y="483"/>
                    <a:pt x="4320" y="468"/>
                  </a:cubicBezTo>
                  <a:cubicBezTo>
                    <a:pt x="4350" y="449"/>
                    <a:pt x="4380" y="430"/>
                    <a:pt x="4397" y="419"/>
                  </a:cubicBezTo>
                  <a:cubicBezTo>
                    <a:pt x="4566" y="734"/>
                    <a:pt x="4566" y="734"/>
                    <a:pt x="4566" y="734"/>
                  </a:cubicBezTo>
                  <a:cubicBezTo>
                    <a:pt x="4206" y="1801"/>
                    <a:pt x="4206" y="1801"/>
                    <a:pt x="4206" y="1801"/>
                  </a:cubicBezTo>
                  <a:cubicBezTo>
                    <a:pt x="4188" y="1802"/>
                    <a:pt x="4167" y="1803"/>
                    <a:pt x="4144" y="1803"/>
                  </a:cubicBezTo>
                  <a:cubicBezTo>
                    <a:pt x="4113" y="1803"/>
                    <a:pt x="4080" y="1801"/>
                    <a:pt x="4053" y="1798"/>
                  </a:cubicBezTo>
                  <a:cubicBezTo>
                    <a:pt x="4025" y="1794"/>
                    <a:pt x="4003" y="1787"/>
                    <a:pt x="3997" y="1784"/>
                  </a:cubicBezTo>
                  <a:cubicBezTo>
                    <a:pt x="3989" y="1781"/>
                    <a:pt x="3959" y="1752"/>
                    <a:pt x="3932" y="1715"/>
                  </a:cubicBezTo>
                  <a:cubicBezTo>
                    <a:pt x="3905" y="1677"/>
                    <a:pt x="3878" y="1631"/>
                    <a:pt x="3855" y="1592"/>
                  </a:cubicBezTo>
                  <a:cubicBezTo>
                    <a:pt x="3848" y="1579"/>
                    <a:pt x="3826" y="1534"/>
                    <a:pt x="3802" y="1479"/>
                  </a:cubicBezTo>
                  <a:cubicBezTo>
                    <a:pt x="3783" y="1433"/>
                    <a:pt x="3760" y="1379"/>
                    <a:pt x="3737" y="1324"/>
                  </a:cubicBezTo>
                  <a:cubicBezTo>
                    <a:pt x="3739" y="1289"/>
                    <a:pt x="3749" y="1110"/>
                    <a:pt x="3755" y="1038"/>
                  </a:cubicBezTo>
                  <a:cubicBezTo>
                    <a:pt x="3756" y="1026"/>
                    <a:pt x="3756" y="1014"/>
                    <a:pt x="3756" y="1000"/>
                  </a:cubicBezTo>
                  <a:cubicBezTo>
                    <a:pt x="3756" y="945"/>
                    <a:pt x="3750" y="864"/>
                    <a:pt x="3733" y="777"/>
                  </a:cubicBezTo>
                  <a:cubicBezTo>
                    <a:pt x="3716" y="691"/>
                    <a:pt x="3690" y="600"/>
                    <a:pt x="3641" y="525"/>
                  </a:cubicBezTo>
                  <a:cubicBezTo>
                    <a:pt x="3607" y="475"/>
                    <a:pt x="3554" y="432"/>
                    <a:pt x="3490" y="384"/>
                  </a:cubicBezTo>
                  <a:cubicBezTo>
                    <a:pt x="3426" y="337"/>
                    <a:pt x="3351" y="289"/>
                    <a:pt x="3280" y="244"/>
                  </a:cubicBezTo>
                  <a:cubicBezTo>
                    <a:pt x="3150" y="164"/>
                    <a:pt x="3030" y="99"/>
                    <a:pt x="3009" y="88"/>
                  </a:cubicBezTo>
                  <a:cubicBezTo>
                    <a:pt x="3009" y="86"/>
                    <a:pt x="3009" y="85"/>
                    <a:pt x="3009" y="83"/>
                  </a:cubicBezTo>
                  <a:cubicBezTo>
                    <a:pt x="3009" y="55"/>
                    <a:pt x="3005" y="27"/>
                    <a:pt x="2999" y="0"/>
                  </a:cubicBezTo>
                  <a:cubicBezTo>
                    <a:pt x="2834" y="0"/>
                    <a:pt x="2834" y="0"/>
                    <a:pt x="2834" y="0"/>
                  </a:cubicBezTo>
                  <a:cubicBezTo>
                    <a:pt x="2845" y="26"/>
                    <a:pt x="2851" y="54"/>
                    <a:pt x="2851" y="83"/>
                  </a:cubicBezTo>
                  <a:cubicBezTo>
                    <a:pt x="2851" y="198"/>
                    <a:pt x="2758" y="291"/>
                    <a:pt x="2644" y="291"/>
                  </a:cubicBezTo>
                  <a:cubicBezTo>
                    <a:pt x="2529" y="291"/>
                    <a:pt x="2436" y="198"/>
                    <a:pt x="2436" y="83"/>
                  </a:cubicBezTo>
                  <a:cubicBezTo>
                    <a:pt x="2436" y="54"/>
                    <a:pt x="2442" y="26"/>
                    <a:pt x="2454" y="0"/>
                  </a:cubicBezTo>
                  <a:cubicBezTo>
                    <a:pt x="2289" y="0"/>
                    <a:pt x="2289" y="0"/>
                    <a:pt x="2289" y="0"/>
                  </a:cubicBezTo>
                  <a:cubicBezTo>
                    <a:pt x="2283" y="27"/>
                    <a:pt x="2278" y="55"/>
                    <a:pt x="2278" y="83"/>
                  </a:cubicBezTo>
                  <a:cubicBezTo>
                    <a:pt x="2278" y="95"/>
                    <a:pt x="2279" y="106"/>
                    <a:pt x="2280" y="118"/>
                  </a:cubicBezTo>
                  <a:cubicBezTo>
                    <a:pt x="2227" y="110"/>
                    <a:pt x="2153" y="98"/>
                    <a:pt x="2073" y="86"/>
                  </a:cubicBezTo>
                  <a:cubicBezTo>
                    <a:pt x="1919" y="61"/>
                    <a:pt x="1741" y="31"/>
                    <a:pt x="1656" y="11"/>
                  </a:cubicBezTo>
                  <a:cubicBezTo>
                    <a:pt x="1643" y="8"/>
                    <a:pt x="1631" y="4"/>
                    <a:pt x="1619" y="0"/>
                  </a:cubicBezTo>
                  <a:cubicBezTo>
                    <a:pt x="1258" y="0"/>
                    <a:pt x="1258" y="0"/>
                    <a:pt x="1258" y="0"/>
                  </a:cubicBezTo>
                  <a:cubicBezTo>
                    <a:pt x="1369" y="66"/>
                    <a:pt x="1477" y="125"/>
                    <a:pt x="1621" y="159"/>
                  </a:cubicBezTo>
                  <a:cubicBezTo>
                    <a:pt x="1717" y="181"/>
                    <a:pt x="1893" y="211"/>
                    <a:pt x="2049" y="236"/>
                  </a:cubicBezTo>
                  <a:cubicBezTo>
                    <a:pt x="2170" y="255"/>
                    <a:pt x="2290" y="274"/>
                    <a:pt x="2337" y="281"/>
                  </a:cubicBezTo>
                  <a:cubicBezTo>
                    <a:pt x="2351" y="304"/>
                    <a:pt x="2368" y="325"/>
                    <a:pt x="2387" y="343"/>
                  </a:cubicBezTo>
                  <a:cubicBezTo>
                    <a:pt x="2367" y="370"/>
                    <a:pt x="2325" y="424"/>
                    <a:pt x="2274" y="490"/>
                  </a:cubicBezTo>
                  <a:cubicBezTo>
                    <a:pt x="2200" y="584"/>
                    <a:pt x="2108" y="701"/>
                    <a:pt x="2031" y="788"/>
                  </a:cubicBezTo>
                  <a:cubicBezTo>
                    <a:pt x="1982" y="846"/>
                    <a:pt x="1935" y="894"/>
                    <a:pt x="1919" y="906"/>
                  </a:cubicBezTo>
                  <a:cubicBezTo>
                    <a:pt x="1912" y="911"/>
                    <a:pt x="1891" y="923"/>
                    <a:pt x="1864" y="937"/>
                  </a:cubicBezTo>
                  <a:cubicBezTo>
                    <a:pt x="1836" y="952"/>
                    <a:pt x="1801" y="968"/>
                    <a:pt x="1760" y="987"/>
                  </a:cubicBezTo>
                  <a:cubicBezTo>
                    <a:pt x="1679" y="1023"/>
                    <a:pt x="1577" y="1066"/>
                    <a:pt x="1472" y="1109"/>
                  </a:cubicBezTo>
                  <a:cubicBezTo>
                    <a:pt x="1261" y="1195"/>
                    <a:pt x="1034" y="1282"/>
                    <a:pt x="917" y="1329"/>
                  </a:cubicBezTo>
                  <a:cubicBezTo>
                    <a:pt x="680" y="1422"/>
                    <a:pt x="342" y="1579"/>
                    <a:pt x="340" y="1580"/>
                  </a:cubicBezTo>
                  <a:cubicBezTo>
                    <a:pt x="340" y="1580"/>
                    <a:pt x="204" y="1645"/>
                    <a:pt x="0" y="1743"/>
                  </a:cubicBezTo>
                  <a:cubicBezTo>
                    <a:pt x="0" y="1913"/>
                    <a:pt x="0" y="1913"/>
                    <a:pt x="0" y="1913"/>
                  </a:cubicBezTo>
                  <a:cubicBezTo>
                    <a:pt x="24" y="1901"/>
                    <a:pt x="47" y="1890"/>
                    <a:pt x="69" y="1880"/>
                  </a:cubicBezTo>
                  <a:cubicBezTo>
                    <a:pt x="271" y="1782"/>
                    <a:pt x="405" y="1718"/>
                    <a:pt x="405" y="1718"/>
                  </a:cubicBezTo>
                  <a:cubicBezTo>
                    <a:pt x="406" y="1718"/>
                    <a:pt x="441" y="1701"/>
                    <a:pt x="496" y="1676"/>
                  </a:cubicBezTo>
                  <a:cubicBezTo>
                    <a:pt x="513" y="1711"/>
                    <a:pt x="542" y="1775"/>
                    <a:pt x="579" y="1857"/>
                  </a:cubicBezTo>
                  <a:cubicBezTo>
                    <a:pt x="637" y="1984"/>
                    <a:pt x="715" y="2155"/>
                    <a:pt x="793" y="2329"/>
                  </a:cubicBezTo>
                  <a:cubicBezTo>
                    <a:pt x="951" y="2675"/>
                    <a:pt x="1113" y="3033"/>
                    <a:pt x="1128" y="3071"/>
                  </a:cubicBezTo>
                  <a:cubicBezTo>
                    <a:pt x="1142" y="3105"/>
                    <a:pt x="1187" y="3265"/>
                    <a:pt x="1231" y="3438"/>
                  </a:cubicBezTo>
                  <a:cubicBezTo>
                    <a:pt x="1244" y="3491"/>
                    <a:pt x="1257" y="3546"/>
                    <a:pt x="1270" y="3600"/>
                  </a:cubicBezTo>
                  <a:cubicBezTo>
                    <a:pt x="1337" y="3600"/>
                    <a:pt x="1337" y="3600"/>
                    <a:pt x="1337" y="3600"/>
                  </a:cubicBezTo>
                  <a:cubicBezTo>
                    <a:pt x="1324" y="3541"/>
                    <a:pt x="1309" y="3481"/>
                    <a:pt x="1294" y="3422"/>
                  </a:cubicBezTo>
                  <a:cubicBezTo>
                    <a:pt x="1250" y="3246"/>
                    <a:pt x="1206" y="3091"/>
                    <a:pt x="1189" y="3046"/>
                  </a:cubicBezTo>
                  <a:cubicBezTo>
                    <a:pt x="1172" y="3004"/>
                    <a:pt x="1011" y="2649"/>
                    <a:pt x="853" y="2301"/>
                  </a:cubicBezTo>
                  <a:cubicBezTo>
                    <a:pt x="831" y="2252"/>
                    <a:pt x="809" y="2204"/>
                    <a:pt x="787" y="2156"/>
                  </a:cubicBezTo>
                  <a:cubicBezTo>
                    <a:pt x="2314" y="1770"/>
                    <a:pt x="2314" y="1770"/>
                    <a:pt x="2314" y="1770"/>
                  </a:cubicBezTo>
                  <a:cubicBezTo>
                    <a:pt x="2322" y="1811"/>
                    <a:pt x="2331" y="1847"/>
                    <a:pt x="2342" y="1872"/>
                  </a:cubicBezTo>
                  <a:cubicBezTo>
                    <a:pt x="2373" y="1937"/>
                    <a:pt x="2446" y="1969"/>
                    <a:pt x="2530" y="1969"/>
                  </a:cubicBezTo>
                  <a:cubicBezTo>
                    <a:pt x="2530" y="1969"/>
                    <a:pt x="2531" y="1969"/>
                    <a:pt x="2531" y="1969"/>
                  </a:cubicBezTo>
                  <a:cubicBezTo>
                    <a:pt x="2537" y="1969"/>
                    <a:pt x="2542" y="1968"/>
                    <a:pt x="2548" y="1968"/>
                  </a:cubicBezTo>
                  <a:cubicBezTo>
                    <a:pt x="2586" y="1966"/>
                    <a:pt x="2648" y="1965"/>
                    <a:pt x="2715" y="1962"/>
                  </a:cubicBezTo>
                  <a:cubicBezTo>
                    <a:pt x="2820" y="2460"/>
                    <a:pt x="2820" y="2460"/>
                    <a:pt x="2820" y="2460"/>
                  </a:cubicBezTo>
                  <a:cubicBezTo>
                    <a:pt x="2820" y="2461"/>
                    <a:pt x="2820" y="2461"/>
                    <a:pt x="2820" y="2462"/>
                  </a:cubicBezTo>
                  <a:cubicBezTo>
                    <a:pt x="2820" y="2468"/>
                    <a:pt x="2821" y="2473"/>
                    <a:pt x="2824" y="2477"/>
                  </a:cubicBezTo>
                  <a:cubicBezTo>
                    <a:pt x="3044" y="3519"/>
                    <a:pt x="3044" y="3519"/>
                    <a:pt x="3044" y="3519"/>
                  </a:cubicBezTo>
                  <a:cubicBezTo>
                    <a:pt x="1522" y="3600"/>
                    <a:pt x="1522" y="3600"/>
                    <a:pt x="1522" y="3600"/>
                  </a:cubicBezTo>
                  <a:cubicBezTo>
                    <a:pt x="2367" y="3600"/>
                    <a:pt x="2367" y="3600"/>
                    <a:pt x="2367" y="3600"/>
                  </a:cubicBezTo>
                  <a:cubicBezTo>
                    <a:pt x="3053" y="3564"/>
                    <a:pt x="3053" y="3564"/>
                    <a:pt x="3053" y="3564"/>
                  </a:cubicBezTo>
                  <a:cubicBezTo>
                    <a:pt x="3061" y="3600"/>
                    <a:pt x="3061" y="3600"/>
                    <a:pt x="3061" y="3600"/>
                  </a:cubicBezTo>
                  <a:cubicBezTo>
                    <a:pt x="3128" y="3600"/>
                    <a:pt x="3128" y="3600"/>
                    <a:pt x="3128" y="3600"/>
                  </a:cubicBezTo>
                  <a:cubicBezTo>
                    <a:pt x="3123" y="3577"/>
                    <a:pt x="3123" y="3577"/>
                    <a:pt x="3123" y="3577"/>
                  </a:cubicBezTo>
                  <a:cubicBezTo>
                    <a:pt x="3170" y="3578"/>
                    <a:pt x="3256" y="3579"/>
                    <a:pt x="3343" y="3580"/>
                  </a:cubicBezTo>
                  <a:cubicBezTo>
                    <a:pt x="3472" y="3581"/>
                    <a:pt x="3605" y="3583"/>
                    <a:pt x="3616" y="3585"/>
                  </a:cubicBezTo>
                  <a:cubicBezTo>
                    <a:pt x="3620" y="3586"/>
                    <a:pt x="3644" y="3592"/>
                    <a:pt x="3676" y="3600"/>
                  </a:cubicBezTo>
                  <a:cubicBezTo>
                    <a:pt x="3734" y="3600"/>
                    <a:pt x="3734" y="3600"/>
                    <a:pt x="3734" y="3600"/>
                  </a:cubicBezTo>
                  <a:cubicBezTo>
                    <a:pt x="3673" y="3585"/>
                    <a:pt x="3622" y="3572"/>
                    <a:pt x="3620" y="3571"/>
                  </a:cubicBezTo>
                  <a:cubicBezTo>
                    <a:pt x="3615" y="3570"/>
                    <a:pt x="3608" y="3570"/>
                    <a:pt x="3593" y="3570"/>
                  </a:cubicBezTo>
                  <a:cubicBezTo>
                    <a:pt x="3577" y="3569"/>
                    <a:pt x="3556" y="3569"/>
                    <a:pt x="3531" y="3569"/>
                  </a:cubicBezTo>
                  <a:cubicBezTo>
                    <a:pt x="3481" y="3568"/>
                    <a:pt x="3415" y="3567"/>
                    <a:pt x="3349" y="3566"/>
                  </a:cubicBezTo>
                  <a:cubicBezTo>
                    <a:pt x="3258" y="3565"/>
                    <a:pt x="3167" y="3564"/>
                    <a:pt x="3120" y="3563"/>
                  </a:cubicBezTo>
                  <a:cubicBezTo>
                    <a:pt x="3080" y="3374"/>
                    <a:pt x="3080" y="3374"/>
                    <a:pt x="3080" y="3374"/>
                  </a:cubicBezTo>
                  <a:cubicBezTo>
                    <a:pt x="3581" y="3366"/>
                    <a:pt x="3581" y="3366"/>
                    <a:pt x="3581" y="3366"/>
                  </a:cubicBezTo>
                  <a:cubicBezTo>
                    <a:pt x="3604" y="3376"/>
                    <a:pt x="3929" y="3505"/>
                    <a:pt x="3969" y="3520"/>
                  </a:cubicBezTo>
                  <a:cubicBezTo>
                    <a:pt x="3969" y="3539"/>
                    <a:pt x="3969" y="3552"/>
                    <a:pt x="3969" y="3555"/>
                  </a:cubicBezTo>
                  <a:cubicBezTo>
                    <a:pt x="3958" y="3600"/>
                    <a:pt x="3958" y="3600"/>
                    <a:pt x="3958" y="3600"/>
                  </a:cubicBezTo>
                  <a:cubicBezTo>
                    <a:pt x="3972" y="3600"/>
                    <a:pt x="3972" y="3600"/>
                    <a:pt x="3972" y="3600"/>
                  </a:cubicBezTo>
                  <a:cubicBezTo>
                    <a:pt x="3982" y="3557"/>
                    <a:pt x="3982" y="3557"/>
                    <a:pt x="3982" y="3557"/>
                  </a:cubicBezTo>
                  <a:cubicBezTo>
                    <a:pt x="3982" y="3556"/>
                    <a:pt x="3982" y="3556"/>
                    <a:pt x="3982" y="3556"/>
                  </a:cubicBezTo>
                  <a:cubicBezTo>
                    <a:pt x="3982" y="3556"/>
                    <a:pt x="3983" y="3544"/>
                    <a:pt x="3983" y="3523"/>
                  </a:cubicBezTo>
                  <a:cubicBezTo>
                    <a:pt x="4018" y="3529"/>
                    <a:pt x="4146" y="3546"/>
                    <a:pt x="4274" y="3563"/>
                  </a:cubicBezTo>
                  <a:cubicBezTo>
                    <a:pt x="4394" y="3578"/>
                    <a:pt x="4514" y="3594"/>
                    <a:pt x="4554" y="3599"/>
                  </a:cubicBezTo>
                  <a:cubicBezTo>
                    <a:pt x="4554" y="3600"/>
                    <a:pt x="4554" y="3600"/>
                    <a:pt x="4554" y="3600"/>
                  </a:cubicBezTo>
                  <a:cubicBezTo>
                    <a:pt x="4707" y="3600"/>
                    <a:pt x="4707" y="3600"/>
                    <a:pt x="4707" y="3600"/>
                  </a:cubicBezTo>
                  <a:cubicBezTo>
                    <a:pt x="4923" y="1907"/>
                    <a:pt x="4923" y="1907"/>
                    <a:pt x="4923" y="1907"/>
                  </a:cubicBezTo>
                  <a:cubicBezTo>
                    <a:pt x="4987" y="1895"/>
                    <a:pt x="4987" y="1895"/>
                    <a:pt x="4987" y="1895"/>
                  </a:cubicBezTo>
                  <a:cubicBezTo>
                    <a:pt x="4976" y="1986"/>
                    <a:pt x="4955" y="2149"/>
                    <a:pt x="4928" y="2362"/>
                  </a:cubicBezTo>
                  <a:cubicBezTo>
                    <a:pt x="4887" y="2688"/>
                    <a:pt x="4831" y="3129"/>
                    <a:pt x="4771" y="3600"/>
                  </a:cubicBezTo>
                  <a:cubicBezTo>
                    <a:pt x="4925" y="3600"/>
                    <a:pt x="4925" y="3600"/>
                    <a:pt x="4925" y="3600"/>
                  </a:cubicBezTo>
                  <a:cubicBezTo>
                    <a:pt x="4932" y="3547"/>
                    <a:pt x="4938" y="3495"/>
                    <a:pt x="4945" y="3443"/>
                  </a:cubicBezTo>
                  <a:cubicBezTo>
                    <a:pt x="5515" y="3527"/>
                    <a:pt x="5515" y="3527"/>
                    <a:pt x="5515" y="3527"/>
                  </a:cubicBezTo>
                  <a:cubicBezTo>
                    <a:pt x="5507" y="3600"/>
                    <a:pt x="5507" y="3600"/>
                    <a:pt x="5507" y="3600"/>
                  </a:cubicBezTo>
                  <a:cubicBezTo>
                    <a:pt x="5573" y="3600"/>
                    <a:pt x="5573" y="3600"/>
                    <a:pt x="5573" y="3600"/>
                  </a:cubicBezTo>
                  <a:cubicBezTo>
                    <a:pt x="5575" y="3579"/>
                    <a:pt x="5575" y="3579"/>
                    <a:pt x="5575" y="3579"/>
                  </a:cubicBezTo>
                  <a:cubicBezTo>
                    <a:pt x="5579" y="3580"/>
                    <a:pt x="5582" y="3580"/>
                    <a:pt x="5586" y="3581"/>
                  </a:cubicBezTo>
                  <a:cubicBezTo>
                    <a:pt x="5607" y="3584"/>
                    <a:pt x="5636" y="3589"/>
                    <a:pt x="5670" y="3594"/>
                  </a:cubicBezTo>
                  <a:cubicBezTo>
                    <a:pt x="5684" y="3596"/>
                    <a:pt x="5700" y="3598"/>
                    <a:pt x="5715" y="3600"/>
                  </a:cubicBezTo>
                  <a:cubicBezTo>
                    <a:pt x="6043" y="3600"/>
                    <a:pt x="6043" y="3600"/>
                    <a:pt x="6043" y="3600"/>
                  </a:cubicBezTo>
                  <a:cubicBezTo>
                    <a:pt x="5925" y="3584"/>
                    <a:pt x="5786" y="3565"/>
                    <a:pt x="5686" y="3551"/>
                  </a:cubicBezTo>
                  <a:cubicBezTo>
                    <a:pt x="5640" y="3544"/>
                    <a:pt x="5602" y="3538"/>
                    <a:pt x="5580" y="3534"/>
                  </a:cubicBezTo>
                  <a:cubicBezTo>
                    <a:pt x="5733" y="2024"/>
                    <a:pt x="5733" y="2024"/>
                    <a:pt x="5733" y="2024"/>
                  </a:cubicBezTo>
                  <a:cubicBezTo>
                    <a:pt x="5860" y="2028"/>
                    <a:pt x="6366" y="2046"/>
                    <a:pt x="6830" y="2063"/>
                  </a:cubicBezTo>
                  <a:cubicBezTo>
                    <a:pt x="6291" y="3600"/>
                    <a:pt x="6291" y="3600"/>
                    <a:pt x="6291" y="3600"/>
                  </a:cubicBezTo>
                  <a:cubicBezTo>
                    <a:pt x="6339" y="3600"/>
                    <a:pt x="6339" y="3600"/>
                    <a:pt x="6339" y="3600"/>
                  </a:cubicBezTo>
                  <a:cubicBezTo>
                    <a:pt x="6878" y="2065"/>
                    <a:pt x="6878" y="2065"/>
                    <a:pt x="6878" y="2065"/>
                  </a:cubicBezTo>
                  <a:cubicBezTo>
                    <a:pt x="7276" y="2079"/>
                    <a:pt x="7632" y="2092"/>
                    <a:pt x="7672" y="2093"/>
                  </a:cubicBezTo>
                  <a:cubicBezTo>
                    <a:pt x="7672" y="2093"/>
                    <a:pt x="7673" y="2093"/>
                    <a:pt x="7673" y="2093"/>
                  </a:cubicBezTo>
                  <a:cubicBezTo>
                    <a:pt x="7674" y="2093"/>
                    <a:pt x="7675" y="2093"/>
                    <a:pt x="7675" y="2093"/>
                  </a:cubicBezTo>
                  <a:cubicBezTo>
                    <a:pt x="7676" y="2094"/>
                    <a:pt x="7678" y="2094"/>
                    <a:pt x="7679" y="2094"/>
                  </a:cubicBezTo>
                  <a:cubicBezTo>
                    <a:pt x="7683" y="2094"/>
                    <a:pt x="7687" y="2094"/>
                    <a:pt x="7693" y="2094"/>
                  </a:cubicBezTo>
                  <a:cubicBezTo>
                    <a:pt x="7698" y="2094"/>
                    <a:pt x="7704" y="2095"/>
                    <a:pt x="7710" y="2095"/>
                  </a:cubicBezTo>
                  <a:cubicBezTo>
                    <a:pt x="7412" y="3445"/>
                    <a:pt x="7412" y="3445"/>
                    <a:pt x="7412" y="3445"/>
                  </a:cubicBezTo>
                  <a:cubicBezTo>
                    <a:pt x="7411" y="3447"/>
                    <a:pt x="7408" y="3460"/>
                    <a:pt x="7408" y="3479"/>
                  </a:cubicBezTo>
                  <a:cubicBezTo>
                    <a:pt x="7408" y="3508"/>
                    <a:pt x="7416" y="3555"/>
                    <a:pt x="7451" y="3600"/>
                  </a:cubicBezTo>
                  <a:cubicBezTo>
                    <a:pt x="7546" y="3600"/>
                    <a:pt x="7546" y="3600"/>
                    <a:pt x="7546" y="3600"/>
                  </a:cubicBezTo>
                  <a:cubicBezTo>
                    <a:pt x="7532" y="3591"/>
                    <a:pt x="7521" y="3581"/>
                    <a:pt x="7512" y="3571"/>
                  </a:cubicBezTo>
                  <a:cubicBezTo>
                    <a:pt x="7479" y="3535"/>
                    <a:pt x="7474" y="3500"/>
                    <a:pt x="7474" y="3479"/>
                  </a:cubicBezTo>
                  <a:cubicBezTo>
                    <a:pt x="7474" y="3470"/>
                    <a:pt x="7475" y="3463"/>
                    <a:pt x="7475" y="3462"/>
                  </a:cubicBezTo>
                  <a:cubicBezTo>
                    <a:pt x="7475" y="3462"/>
                    <a:pt x="7475" y="3461"/>
                    <a:pt x="7476" y="3460"/>
                  </a:cubicBezTo>
                  <a:cubicBezTo>
                    <a:pt x="7776" y="2099"/>
                    <a:pt x="7776" y="2099"/>
                    <a:pt x="7776" y="2099"/>
                  </a:cubicBezTo>
                  <a:cubicBezTo>
                    <a:pt x="7806" y="2101"/>
                    <a:pt x="7837" y="2104"/>
                    <a:pt x="7864" y="2108"/>
                  </a:cubicBezTo>
                  <a:cubicBezTo>
                    <a:pt x="7929" y="2117"/>
                    <a:pt x="9328" y="2325"/>
                    <a:pt x="10022" y="2429"/>
                  </a:cubicBezTo>
                  <a:cubicBezTo>
                    <a:pt x="10254" y="2463"/>
                    <a:pt x="10407" y="2486"/>
                    <a:pt x="10407" y="2486"/>
                  </a:cubicBezTo>
                  <a:cubicBezTo>
                    <a:pt x="10408" y="2486"/>
                    <a:pt x="10408" y="2486"/>
                    <a:pt x="10408" y="2486"/>
                  </a:cubicBezTo>
                  <a:cubicBezTo>
                    <a:pt x="10410" y="2486"/>
                    <a:pt x="10410" y="2486"/>
                    <a:pt x="10410" y="2486"/>
                  </a:cubicBezTo>
                  <a:cubicBezTo>
                    <a:pt x="10410" y="2486"/>
                    <a:pt x="10411" y="2486"/>
                    <a:pt x="10416" y="2487"/>
                  </a:cubicBezTo>
                  <a:cubicBezTo>
                    <a:pt x="10420" y="2488"/>
                    <a:pt x="10426" y="2488"/>
                    <a:pt x="10435" y="2490"/>
                  </a:cubicBezTo>
                  <a:cubicBezTo>
                    <a:pt x="10451" y="2492"/>
                    <a:pt x="10476" y="2497"/>
                    <a:pt x="10504" y="2503"/>
                  </a:cubicBezTo>
                  <a:cubicBezTo>
                    <a:pt x="10562" y="2516"/>
                    <a:pt x="10638" y="2537"/>
                    <a:pt x="10709" y="2569"/>
                  </a:cubicBezTo>
                  <a:cubicBezTo>
                    <a:pt x="10782" y="2602"/>
                    <a:pt x="10965" y="2699"/>
                    <a:pt x="11144" y="2799"/>
                  </a:cubicBezTo>
                  <a:cubicBezTo>
                    <a:pt x="11323" y="2899"/>
                    <a:pt x="11503" y="3002"/>
                    <a:pt x="11575" y="3047"/>
                  </a:cubicBezTo>
                  <a:cubicBezTo>
                    <a:pt x="12437" y="3600"/>
                    <a:pt x="12437" y="3600"/>
                    <a:pt x="12437" y="3600"/>
                  </a:cubicBezTo>
                  <a:cubicBezTo>
                    <a:pt x="12714" y="3600"/>
                    <a:pt x="12714" y="3600"/>
                    <a:pt x="12714" y="3600"/>
                  </a:cubicBezTo>
                  <a:cubicBezTo>
                    <a:pt x="12695" y="3587"/>
                    <a:pt x="12695" y="3587"/>
                    <a:pt x="12695" y="3587"/>
                  </a:cubicBezTo>
                  <a:cubicBezTo>
                    <a:pt x="12956" y="3043"/>
                    <a:pt x="13187" y="2549"/>
                    <a:pt x="13248" y="2418"/>
                  </a:cubicBezTo>
                  <a:cubicBezTo>
                    <a:pt x="13253" y="2421"/>
                    <a:pt x="13258" y="2424"/>
                    <a:pt x="13262" y="2427"/>
                  </a:cubicBezTo>
                  <a:cubicBezTo>
                    <a:pt x="13322" y="2464"/>
                    <a:pt x="13393" y="2523"/>
                    <a:pt x="13442" y="2609"/>
                  </a:cubicBezTo>
                  <a:cubicBezTo>
                    <a:pt x="13495" y="2701"/>
                    <a:pt x="13534" y="2766"/>
                    <a:pt x="13588" y="2822"/>
                  </a:cubicBezTo>
                  <a:cubicBezTo>
                    <a:pt x="13643" y="2878"/>
                    <a:pt x="13710" y="2921"/>
                    <a:pt x="13816" y="2969"/>
                  </a:cubicBezTo>
                  <a:cubicBezTo>
                    <a:pt x="14023" y="3062"/>
                    <a:pt x="15214" y="3563"/>
                    <a:pt x="15269" y="3585"/>
                  </a:cubicBezTo>
                  <a:cubicBezTo>
                    <a:pt x="15269" y="3585"/>
                    <a:pt x="15270" y="3586"/>
                    <a:pt x="15271" y="3587"/>
                  </a:cubicBezTo>
                  <a:cubicBezTo>
                    <a:pt x="15274" y="3588"/>
                    <a:pt x="15277" y="3591"/>
                    <a:pt x="15282" y="3594"/>
                  </a:cubicBezTo>
                  <a:cubicBezTo>
                    <a:pt x="15285" y="3596"/>
                    <a:pt x="15288" y="3598"/>
                    <a:pt x="15291" y="3600"/>
                  </a:cubicBezTo>
                  <a:cubicBezTo>
                    <a:pt x="15404" y="3600"/>
                    <a:pt x="15404" y="3600"/>
                    <a:pt x="15404" y="3600"/>
                  </a:cubicBezTo>
                  <a:cubicBezTo>
                    <a:pt x="15360" y="3568"/>
                    <a:pt x="15325" y="3543"/>
                    <a:pt x="15308" y="3532"/>
                  </a:cubicBezTo>
                  <a:cubicBezTo>
                    <a:pt x="15303" y="3529"/>
                    <a:pt x="15301" y="3528"/>
                    <a:pt x="15295" y="3525"/>
                  </a:cubicBezTo>
                  <a:cubicBezTo>
                    <a:pt x="15276" y="3517"/>
                    <a:pt x="14050" y="3002"/>
                    <a:pt x="13843" y="2909"/>
                  </a:cubicBezTo>
                  <a:cubicBezTo>
                    <a:pt x="13741" y="2863"/>
                    <a:pt x="13682" y="2825"/>
                    <a:pt x="13635" y="2777"/>
                  </a:cubicBezTo>
                  <a:cubicBezTo>
                    <a:pt x="13589" y="2729"/>
                    <a:pt x="13552" y="2668"/>
                    <a:pt x="13499" y="2576"/>
                  </a:cubicBezTo>
                  <a:cubicBezTo>
                    <a:pt x="13435" y="2466"/>
                    <a:pt x="13343" y="2397"/>
                    <a:pt x="13274" y="2357"/>
                  </a:cubicBezTo>
                  <a:cubicBezTo>
                    <a:pt x="13974" y="345"/>
                    <a:pt x="13974" y="345"/>
                    <a:pt x="13974" y="345"/>
                  </a:cubicBezTo>
                  <a:cubicBezTo>
                    <a:pt x="14410" y="392"/>
                    <a:pt x="14410" y="392"/>
                    <a:pt x="14410" y="392"/>
                  </a:cubicBezTo>
                  <a:cubicBezTo>
                    <a:pt x="14410" y="392"/>
                    <a:pt x="14411" y="393"/>
                    <a:pt x="14412" y="393"/>
                  </a:cubicBezTo>
                  <a:cubicBezTo>
                    <a:pt x="14416" y="396"/>
                    <a:pt x="14423" y="399"/>
                    <a:pt x="14431" y="403"/>
                  </a:cubicBezTo>
                  <a:cubicBezTo>
                    <a:pt x="14447" y="411"/>
                    <a:pt x="14471" y="423"/>
                    <a:pt x="14501" y="438"/>
                  </a:cubicBezTo>
                  <a:cubicBezTo>
                    <a:pt x="14561" y="468"/>
                    <a:pt x="14647" y="510"/>
                    <a:pt x="14750" y="561"/>
                  </a:cubicBezTo>
                  <a:cubicBezTo>
                    <a:pt x="14956" y="664"/>
                    <a:pt x="15229" y="801"/>
                    <a:pt x="15501" y="946"/>
                  </a:cubicBezTo>
                  <a:cubicBezTo>
                    <a:pt x="15740" y="1073"/>
                    <a:pt x="15978" y="1215"/>
                    <a:pt x="16168" y="1327"/>
                  </a:cubicBezTo>
                  <a:cubicBezTo>
                    <a:pt x="16635" y="1603"/>
                    <a:pt x="17015" y="1978"/>
                    <a:pt x="17175" y="2148"/>
                  </a:cubicBezTo>
                  <a:cubicBezTo>
                    <a:pt x="17228" y="2205"/>
                    <a:pt x="17257" y="2238"/>
                    <a:pt x="17257" y="2238"/>
                  </a:cubicBezTo>
                  <a:cubicBezTo>
                    <a:pt x="17258" y="2239"/>
                    <a:pt x="17258" y="2239"/>
                    <a:pt x="17258" y="2239"/>
                  </a:cubicBezTo>
                  <a:cubicBezTo>
                    <a:pt x="17258" y="2239"/>
                    <a:pt x="17258" y="2239"/>
                    <a:pt x="17258" y="2239"/>
                  </a:cubicBezTo>
                  <a:cubicBezTo>
                    <a:pt x="17290" y="2273"/>
                    <a:pt x="17330" y="2319"/>
                    <a:pt x="17379" y="2370"/>
                  </a:cubicBezTo>
                  <a:cubicBezTo>
                    <a:pt x="17353" y="2394"/>
                    <a:pt x="17260" y="2479"/>
                    <a:pt x="17160" y="2592"/>
                  </a:cubicBezTo>
                  <a:cubicBezTo>
                    <a:pt x="17042" y="2726"/>
                    <a:pt x="16913" y="2896"/>
                    <a:pt x="16871" y="3058"/>
                  </a:cubicBezTo>
                  <a:cubicBezTo>
                    <a:pt x="16831" y="3214"/>
                    <a:pt x="16836" y="3342"/>
                    <a:pt x="16806" y="3455"/>
                  </a:cubicBezTo>
                  <a:cubicBezTo>
                    <a:pt x="16793" y="3505"/>
                    <a:pt x="16775" y="3552"/>
                    <a:pt x="16743" y="3600"/>
                  </a:cubicBezTo>
                  <a:cubicBezTo>
                    <a:pt x="16819" y="3600"/>
                    <a:pt x="16819" y="3600"/>
                    <a:pt x="16819" y="3600"/>
                  </a:cubicBezTo>
                  <a:cubicBezTo>
                    <a:pt x="16843" y="3558"/>
                    <a:pt x="16859" y="3515"/>
                    <a:pt x="16870" y="3471"/>
                  </a:cubicBezTo>
                  <a:cubicBezTo>
                    <a:pt x="16902" y="3345"/>
                    <a:pt x="16897" y="3220"/>
                    <a:pt x="16934" y="3074"/>
                  </a:cubicBezTo>
                  <a:cubicBezTo>
                    <a:pt x="16987" y="2862"/>
                    <a:pt x="17240" y="2593"/>
                    <a:pt x="17363" y="2475"/>
                  </a:cubicBezTo>
                  <a:cubicBezTo>
                    <a:pt x="17395" y="2445"/>
                    <a:pt x="17417" y="2425"/>
                    <a:pt x="17425" y="2417"/>
                  </a:cubicBezTo>
                  <a:cubicBezTo>
                    <a:pt x="17555" y="2545"/>
                    <a:pt x="17740" y="2698"/>
                    <a:pt x="18004" y="2813"/>
                  </a:cubicBezTo>
                  <a:cubicBezTo>
                    <a:pt x="18004" y="2741"/>
                    <a:pt x="18004" y="2741"/>
                    <a:pt x="18004" y="2741"/>
                  </a:cubicBezTo>
                  <a:cubicBezTo>
                    <a:pt x="17767" y="2633"/>
                    <a:pt x="17598" y="2495"/>
                    <a:pt x="17477" y="2376"/>
                  </a:cubicBezTo>
                  <a:cubicBezTo>
                    <a:pt x="17571" y="2300"/>
                    <a:pt x="17789" y="2125"/>
                    <a:pt x="18004" y="1949"/>
                  </a:cubicBezTo>
                  <a:lnTo>
                    <a:pt x="18004" y="1864"/>
                  </a:lnTo>
                  <a:close/>
                  <a:moveTo>
                    <a:pt x="2973" y="242"/>
                  </a:moveTo>
                  <a:cubicBezTo>
                    <a:pt x="2975" y="243"/>
                    <a:pt x="2978" y="244"/>
                    <a:pt x="2980" y="246"/>
                  </a:cubicBezTo>
                  <a:cubicBezTo>
                    <a:pt x="3010" y="263"/>
                    <a:pt x="3052" y="286"/>
                    <a:pt x="3099" y="314"/>
                  </a:cubicBezTo>
                  <a:cubicBezTo>
                    <a:pt x="3194" y="370"/>
                    <a:pt x="3312" y="442"/>
                    <a:pt x="3399" y="507"/>
                  </a:cubicBezTo>
                  <a:cubicBezTo>
                    <a:pt x="3457" y="549"/>
                    <a:pt x="3503" y="592"/>
                    <a:pt x="3514" y="609"/>
                  </a:cubicBezTo>
                  <a:cubicBezTo>
                    <a:pt x="3544" y="655"/>
                    <a:pt x="3569" y="731"/>
                    <a:pt x="3583" y="806"/>
                  </a:cubicBezTo>
                  <a:cubicBezTo>
                    <a:pt x="3597" y="876"/>
                    <a:pt x="3603" y="946"/>
                    <a:pt x="3603" y="991"/>
                  </a:cubicBezTo>
                  <a:cubicBezTo>
                    <a:pt x="3602" y="987"/>
                    <a:pt x="3601" y="984"/>
                    <a:pt x="3600" y="982"/>
                  </a:cubicBezTo>
                  <a:cubicBezTo>
                    <a:pt x="3587" y="945"/>
                    <a:pt x="3563" y="880"/>
                    <a:pt x="3538" y="815"/>
                  </a:cubicBezTo>
                  <a:cubicBezTo>
                    <a:pt x="3512" y="749"/>
                    <a:pt x="3485" y="685"/>
                    <a:pt x="3463" y="645"/>
                  </a:cubicBezTo>
                  <a:cubicBezTo>
                    <a:pt x="3423" y="571"/>
                    <a:pt x="3373" y="504"/>
                    <a:pt x="3303" y="458"/>
                  </a:cubicBezTo>
                  <a:cubicBezTo>
                    <a:pt x="3282" y="444"/>
                    <a:pt x="3252" y="428"/>
                    <a:pt x="3211" y="408"/>
                  </a:cubicBezTo>
                  <a:cubicBezTo>
                    <a:pt x="3171" y="387"/>
                    <a:pt x="3124" y="364"/>
                    <a:pt x="3078" y="342"/>
                  </a:cubicBezTo>
                  <a:cubicBezTo>
                    <a:pt x="3030" y="319"/>
                    <a:pt x="2983" y="297"/>
                    <a:pt x="2951" y="281"/>
                  </a:cubicBezTo>
                  <a:cubicBezTo>
                    <a:pt x="2959" y="268"/>
                    <a:pt x="2966" y="255"/>
                    <a:pt x="2973" y="242"/>
                  </a:cubicBezTo>
                  <a:close/>
                  <a:moveTo>
                    <a:pt x="2285" y="1567"/>
                  </a:moveTo>
                  <a:cubicBezTo>
                    <a:pt x="2285" y="1570"/>
                    <a:pt x="2285" y="1575"/>
                    <a:pt x="2286" y="1579"/>
                  </a:cubicBezTo>
                  <a:cubicBezTo>
                    <a:pt x="2288" y="1604"/>
                    <a:pt x="2294" y="1654"/>
                    <a:pt x="2302" y="1706"/>
                  </a:cubicBezTo>
                  <a:cubicBezTo>
                    <a:pt x="759" y="2095"/>
                    <a:pt x="759" y="2095"/>
                    <a:pt x="759" y="2095"/>
                  </a:cubicBezTo>
                  <a:cubicBezTo>
                    <a:pt x="667" y="1892"/>
                    <a:pt x="588" y="1718"/>
                    <a:pt x="556" y="1649"/>
                  </a:cubicBezTo>
                  <a:cubicBezTo>
                    <a:pt x="571" y="1642"/>
                    <a:pt x="586" y="1635"/>
                    <a:pt x="603" y="1628"/>
                  </a:cubicBezTo>
                  <a:cubicBezTo>
                    <a:pt x="716" y="1578"/>
                    <a:pt x="858" y="1516"/>
                    <a:pt x="973" y="1471"/>
                  </a:cubicBezTo>
                  <a:cubicBezTo>
                    <a:pt x="1074" y="1430"/>
                    <a:pt x="1262" y="1358"/>
                    <a:pt x="1449" y="1283"/>
                  </a:cubicBezTo>
                  <a:cubicBezTo>
                    <a:pt x="1637" y="1207"/>
                    <a:pt x="1825" y="1129"/>
                    <a:pt x="1933" y="1073"/>
                  </a:cubicBezTo>
                  <a:cubicBezTo>
                    <a:pt x="1965" y="1057"/>
                    <a:pt x="1989" y="1043"/>
                    <a:pt x="2010" y="1028"/>
                  </a:cubicBezTo>
                  <a:cubicBezTo>
                    <a:pt x="2049" y="998"/>
                    <a:pt x="2093" y="950"/>
                    <a:pt x="2147" y="888"/>
                  </a:cubicBezTo>
                  <a:cubicBezTo>
                    <a:pt x="2200" y="827"/>
                    <a:pt x="2259" y="755"/>
                    <a:pt x="2314" y="685"/>
                  </a:cubicBezTo>
                  <a:cubicBezTo>
                    <a:pt x="2409" y="567"/>
                    <a:pt x="2493" y="456"/>
                    <a:pt x="2516" y="425"/>
                  </a:cubicBezTo>
                  <a:cubicBezTo>
                    <a:pt x="2556" y="440"/>
                    <a:pt x="2599" y="449"/>
                    <a:pt x="2644" y="449"/>
                  </a:cubicBezTo>
                  <a:cubicBezTo>
                    <a:pt x="2714" y="449"/>
                    <a:pt x="2779" y="429"/>
                    <a:pt x="2834" y="395"/>
                  </a:cubicBezTo>
                  <a:cubicBezTo>
                    <a:pt x="2855" y="405"/>
                    <a:pt x="2904" y="428"/>
                    <a:pt x="2947" y="448"/>
                  </a:cubicBezTo>
                  <a:cubicBezTo>
                    <a:pt x="3008" y="477"/>
                    <a:pt x="3084" y="514"/>
                    <a:pt x="3142" y="544"/>
                  </a:cubicBezTo>
                  <a:cubicBezTo>
                    <a:pt x="3180" y="563"/>
                    <a:pt x="3212" y="580"/>
                    <a:pt x="3219" y="585"/>
                  </a:cubicBezTo>
                  <a:cubicBezTo>
                    <a:pt x="3260" y="612"/>
                    <a:pt x="3296" y="656"/>
                    <a:pt x="3329" y="718"/>
                  </a:cubicBezTo>
                  <a:cubicBezTo>
                    <a:pt x="3344" y="744"/>
                    <a:pt x="3371" y="808"/>
                    <a:pt x="3396" y="871"/>
                  </a:cubicBezTo>
                  <a:cubicBezTo>
                    <a:pt x="3421" y="934"/>
                    <a:pt x="3444" y="998"/>
                    <a:pt x="3456" y="1032"/>
                  </a:cubicBezTo>
                  <a:cubicBezTo>
                    <a:pt x="3467" y="1062"/>
                    <a:pt x="3499" y="1144"/>
                    <a:pt x="3539" y="1243"/>
                  </a:cubicBezTo>
                  <a:cubicBezTo>
                    <a:pt x="3578" y="1341"/>
                    <a:pt x="3625" y="1453"/>
                    <a:pt x="3663" y="1540"/>
                  </a:cubicBezTo>
                  <a:cubicBezTo>
                    <a:pt x="3688" y="1598"/>
                    <a:pt x="3708" y="1641"/>
                    <a:pt x="3723" y="1668"/>
                  </a:cubicBezTo>
                  <a:cubicBezTo>
                    <a:pt x="3742" y="1700"/>
                    <a:pt x="3764" y="1737"/>
                    <a:pt x="3788" y="1774"/>
                  </a:cubicBezTo>
                  <a:cubicBezTo>
                    <a:pt x="3758" y="1783"/>
                    <a:pt x="3718" y="1796"/>
                    <a:pt x="3673" y="1808"/>
                  </a:cubicBezTo>
                  <a:cubicBezTo>
                    <a:pt x="3583" y="1834"/>
                    <a:pt x="3475" y="1859"/>
                    <a:pt x="3419" y="1859"/>
                  </a:cubicBezTo>
                  <a:cubicBezTo>
                    <a:pt x="3413" y="1859"/>
                    <a:pt x="3408" y="1858"/>
                    <a:pt x="3403" y="1858"/>
                  </a:cubicBezTo>
                  <a:cubicBezTo>
                    <a:pt x="3357" y="1853"/>
                    <a:pt x="3287" y="1835"/>
                    <a:pt x="3227" y="1817"/>
                  </a:cubicBezTo>
                  <a:cubicBezTo>
                    <a:pt x="3183" y="1803"/>
                    <a:pt x="3141" y="1788"/>
                    <a:pt x="3120" y="1780"/>
                  </a:cubicBezTo>
                  <a:cubicBezTo>
                    <a:pt x="3127" y="1767"/>
                    <a:pt x="3132" y="1753"/>
                    <a:pt x="3134" y="1740"/>
                  </a:cubicBezTo>
                  <a:cubicBezTo>
                    <a:pt x="3137" y="1723"/>
                    <a:pt x="3138" y="1703"/>
                    <a:pt x="3138" y="1682"/>
                  </a:cubicBezTo>
                  <a:cubicBezTo>
                    <a:pt x="3137" y="1615"/>
                    <a:pt x="3129" y="1533"/>
                    <a:pt x="3103" y="1480"/>
                  </a:cubicBezTo>
                  <a:cubicBezTo>
                    <a:pt x="3073" y="1418"/>
                    <a:pt x="3013" y="1351"/>
                    <a:pt x="2896" y="1344"/>
                  </a:cubicBezTo>
                  <a:cubicBezTo>
                    <a:pt x="2883" y="1343"/>
                    <a:pt x="2867" y="1342"/>
                    <a:pt x="2851" y="1342"/>
                  </a:cubicBezTo>
                  <a:cubicBezTo>
                    <a:pt x="2728" y="1342"/>
                    <a:pt x="2531" y="1367"/>
                    <a:pt x="2436" y="1394"/>
                  </a:cubicBezTo>
                  <a:cubicBezTo>
                    <a:pt x="2328" y="1422"/>
                    <a:pt x="2284" y="1502"/>
                    <a:pt x="2285" y="1567"/>
                  </a:cubicBezTo>
                  <a:close/>
                  <a:moveTo>
                    <a:pt x="2545" y="1903"/>
                  </a:moveTo>
                  <a:cubicBezTo>
                    <a:pt x="2540" y="1903"/>
                    <a:pt x="2536" y="1903"/>
                    <a:pt x="2531" y="1903"/>
                  </a:cubicBezTo>
                  <a:cubicBezTo>
                    <a:pt x="2460" y="1903"/>
                    <a:pt x="2416" y="1878"/>
                    <a:pt x="2401" y="1844"/>
                  </a:cubicBezTo>
                  <a:cubicBezTo>
                    <a:pt x="2392" y="1825"/>
                    <a:pt x="2379" y="1767"/>
                    <a:pt x="2370" y="1712"/>
                  </a:cubicBezTo>
                  <a:cubicBezTo>
                    <a:pt x="2360" y="1655"/>
                    <a:pt x="2353" y="1598"/>
                    <a:pt x="2351" y="1574"/>
                  </a:cubicBezTo>
                  <a:cubicBezTo>
                    <a:pt x="2351" y="1572"/>
                    <a:pt x="2351" y="1569"/>
                    <a:pt x="2351" y="1567"/>
                  </a:cubicBezTo>
                  <a:cubicBezTo>
                    <a:pt x="2352" y="1528"/>
                    <a:pt x="2370" y="1482"/>
                    <a:pt x="2454" y="1457"/>
                  </a:cubicBezTo>
                  <a:cubicBezTo>
                    <a:pt x="2538" y="1433"/>
                    <a:pt x="2737" y="1407"/>
                    <a:pt x="2851" y="1408"/>
                  </a:cubicBezTo>
                  <a:cubicBezTo>
                    <a:pt x="2866" y="1408"/>
                    <a:pt x="2880" y="1408"/>
                    <a:pt x="2891" y="1409"/>
                  </a:cubicBezTo>
                  <a:cubicBezTo>
                    <a:pt x="2986" y="1418"/>
                    <a:pt x="3016" y="1457"/>
                    <a:pt x="3044" y="1509"/>
                  </a:cubicBezTo>
                  <a:cubicBezTo>
                    <a:pt x="3061" y="1542"/>
                    <a:pt x="3073" y="1622"/>
                    <a:pt x="3072" y="1682"/>
                  </a:cubicBezTo>
                  <a:cubicBezTo>
                    <a:pt x="3072" y="1701"/>
                    <a:pt x="3071" y="1718"/>
                    <a:pt x="3069" y="1731"/>
                  </a:cubicBezTo>
                  <a:cubicBezTo>
                    <a:pt x="3102" y="1735"/>
                    <a:pt x="3102" y="1735"/>
                    <a:pt x="3102" y="1735"/>
                  </a:cubicBezTo>
                  <a:cubicBezTo>
                    <a:pt x="3069" y="1731"/>
                    <a:pt x="3069" y="1731"/>
                    <a:pt x="3069" y="1731"/>
                  </a:cubicBezTo>
                  <a:cubicBezTo>
                    <a:pt x="3069" y="1741"/>
                    <a:pt x="3054" y="1772"/>
                    <a:pt x="3027" y="1799"/>
                  </a:cubicBezTo>
                  <a:cubicBezTo>
                    <a:pt x="3001" y="1827"/>
                    <a:pt x="2965" y="1854"/>
                    <a:pt x="2924" y="1868"/>
                  </a:cubicBezTo>
                  <a:cubicBezTo>
                    <a:pt x="2883" y="1882"/>
                    <a:pt x="2809" y="1891"/>
                    <a:pt x="2736" y="1895"/>
                  </a:cubicBezTo>
                  <a:cubicBezTo>
                    <a:pt x="2662" y="1900"/>
                    <a:pt x="2589" y="1900"/>
                    <a:pt x="2545" y="1903"/>
                  </a:cubicBezTo>
                  <a:close/>
                  <a:moveTo>
                    <a:pt x="3099" y="1832"/>
                  </a:moveTo>
                  <a:cubicBezTo>
                    <a:pt x="3095" y="1820"/>
                    <a:pt x="3095" y="1820"/>
                    <a:pt x="3095" y="1820"/>
                  </a:cubicBezTo>
                  <a:cubicBezTo>
                    <a:pt x="3095" y="1820"/>
                    <a:pt x="3095" y="1820"/>
                    <a:pt x="3095" y="1820"/>
                  </a:cubicBezTo>
                  <a:lnTo>
                    <a:pt x="3099" y="1832"/>
                  </a:lnTo>
                  <a:close/>
                  <a:moveTo>
                    <a:pt x="2781" y="1957"/>
                  </a:moveTo>
                  <a:cubicBezTo>
                    <a:pt x="2842" y="1952"/>
                    <a:pt x="2901" y="1945"/>
                    <a:pt x="2945" y="1930"/>
                  </a:cubicBezTo>
                  <a:cubicBezTo>
                    <a:pt x="2998" y="1911"/>
                    <a:pt x="3043" y="1878"/>
                    <a:pt x="3075" y="1844"/>
                  </a:cubicBezTo>
                  <a:cubicBezTo>
                    <a:pt x="3078" y="1841"/>
                    <a:pt x="3080" y="1838"/>
                    <a:pt x="3083" y="1835"/>
                  </a:cubicBezTo>
                  <a:cubicBezTo>
                    <a:pt x="3083" y="1835"/>
                    <a:pt x="3084" y="1836"/>
                    <a:pt x="3084" y="1836"/>
                  </a:cubicBezTo>
                  <a:cubicBezTo>
                    <a:pt x="3091" y="1839"/>
                    <a:pt x="3100" y="1842"/>
                    <a:pt x="3110" y="1846"/>
                  </a:cubicBezTo>
                  <a:cubicBezTo>
                    <a:pt x="3132" y="1854"/>
                    <a:pt x="3161" y="1864"/>
                    <a:pt x="3193" y="1875"/>
                  </a:cubicBezTo>
                  <a:cubicBezTo>
                    <a:pt x="3258" y="1895"/>
                    <a:pt x="3337" y="1917"/>
                    <a:pt x="3396" y="1923"/>
                  </a:cubicBezTo>
                  <a:cubicBezTo>
                    <a:pt x="3403" y="1924"/>
                    <a:pt x="3411" y="1924"/>
                    <a:pt x="3419" y="1924"/>
                  </a:cubicBezTo>
                  <a:cubicBezTo>
                    <a:pt x="3491" y="1924"/>
                    <a:pt x="3598" y="1897"/>
                    <a:pt x="3691" y="1871"/>
                  </a:cubicBezTo>
                  <a:cubicBezTo>
                    <a:pt x="3748" y="1855"/>
                    <a:pt x="3798" y="1840"/>
                    <a:pt x="3829" y="1830"/>
                  </a:cubicBezTo>
                  <a:cubicBezTo>
                    <a:pt x="3856" y="1865"/>
                    <a:pt x="3885" y="1896"/>
                    <a:pt x="3926" y="1919"/>
                  </a:cubicBezTo>
                  <a:cubicBezTo>
                    <a:pt x="3960" y="1937"/>
                    <a:pt x="3995" y="1944"/>
                    <a:pt x="4033" y="1949"/>
                  </a:cubicBezTo>
                  <a:cubicBezTo>
                    <a:pt x="4070" y="1954"/>
                    <a:pt x="4108" y="1955"/>
                    <a:pt x="4144" y="1955"/>
                  </a:cubicBezTo>
                  <a:cubicBezTo>
                    <a:pt x="4177" y="1955"/>
                    <a:pt x="4207" y="1954"/>
                    <a:pt x="4232" y="1952"/>
                  </a:cubicBezTo>
                  <a:cubicBezTo>
                    <a:pt x="4255" y="1950"/>
                    <a:pt x="4338" y="1946"/>
                    <a:pt x="4435" y="1941"/>
                  </a:cubicBezTo>
                  <a:cubicBezTo>
                    <a:pt x="4400" y="1976"/>
                    <a:pt x="4354" y="2021"/>
                    <a:pt x="4298" y="2068"/>
                  </a:cubicBezTo>
                  <a:cubicBezTo>
                    <a:pt x="4172" y="2175"/>
                    <a:pt x="4002" y="2291"/>
                    <a:pt x="3829" y="2332"/>
                  </a:cubicBezTo>
                  <a:cubicBezTo>
                    <a:pt x="3704" y="2361"/>
                    <a:pt x="3639" y="2361"/>
                    <a:pt x="3482" y="2376"/>
                  </a:cubicBezTo>
                  <a:cubicBezTo>
                    <a:pt x="3345" y="2389"/>
                    <a:pt x="3190" y="2402"/>
                    <a:pt x="3069" y="2411"/>
                  </a:cubicBezTo>
                  <a:cubicBezTo>
                    <a:pt x="2984" y="2418"/>
                    <a:pt x="2917" y="2423"/>
                    <a:pt x="2880" y="2426"/>
                  </a:cubicBezTo>
                  <a:lnTo>
                    <a:pt x="2781" y="1957"/>
                  </a:lnTo>
                  <a:close/>
                  <a:moveTo>
                    <a:pt x="2894" y="2491"/>
                  </a:moveTo>
                  <a:cubicBezTo>
                    <a:pt x="2900" y="2491"/>
                    <a:pt x="2907" y="2490"/>
                    <a:pt x="2914" y="2489"/>
                  </a:cubicBezTo>
                  <a:cubicBezTo>
                    <a:pt x="2952" y="2487"/>
                    <a:pt x="3004" y="2482"/>
                    <a:pt x="3066" y="2478"/>
                  </a:cubicBezTo>
                  <a:cubicBezTo>
                    <a:pt x="3189" y="2468"/>
                    <a:pt x="3347" y="2455"/>
                    <a:pt x="3488" y="2441"/>
                  </a:cubicBezTo>
                  <a:cubicBezTo>
                    <a:pt x="3596" y="2431"/>
                    <a:pt x="3663" y="2428"/>
                    <a:pt x="3739" y="2416"/>
                  </a:cubicBezTo>
                  <a:cubicBezTo>
                    <a:pt x="3821" y="2784"/>
                    <a:pt x="3821" y="2784"/>
                    <a:pt x="3821" y="2784"/>
                  </a:cubicBezTo>
                  <a:cubicBezTo>
                    <a:pt x="3819" y="2784"/>
                    <a:pt x="3816" y="2784"/>
                    <a:pt x="3814" y="2784"/>
                  </a:cubicBezTo>
                  <a:cubicBezTo>
                    <a:pt x="3446" y="2804"/>
                    <a:pt x="3306" y="2825"/>
                    <a:pt x="3305" y="2825"/>
                  </a:cubicBezTo>
                  <a:cubicBezTo>
                    <a:pt x="3291" y="2827"/>
                    <a:pt x="3291" y="2827"/>
                    <a:pt x="3291" y="2827"/>
                  </a:cubicBezTo>
                  <a:cubicBezTo>
                    <a:pt x="3295" y="2854"/>
                    <a:pt x="3295" y="2854"/>
                    <a:pt x="3295" y="2854"/>
                  </a:cubicBezTo>
                  <a:cubicBezTo>
                    <a:pt x="3285" y="2855"/>
                    <a:pt x="3270" y="2856"/>
                    <a:pt x="3253" y="2858"/>
                  </a:cubicBezTo>
                  <a:cubicBezTo>
                    <a:pt x="3219" y="2861"/>
                    <a:pt x="3172" y="2866"/>
                    <a:pt x="3126" y="2870"/>
                  </a:cubicBezTo>
                  <a:cubicBezTo>
                    <a:pt x="3069" y="2876"/>
                    <a:pt x="3012" y="2881"/>
                    <a:pt x="2977" y="2884"/>
                  </a:cubicBezTo>
                  <a:lnTo>
                    <a:pt x="2894" y="2491"/>
                  </a:lnTo>
                  <a:close/>
                  <a:moveTo>
                    <a:pt x="2980" y="2898"/>
                  </a:moveTo>
                  <a:cubicBezTo>
                    <a:pt x="3058" y="2891"/>
                    <a:pt x="3242" y="2873"/>
                    <a:pt x="3297" y="2868"/>
                  </a:cubicBezTo>
                  <a:cubicBezTo>
                    <a:pt x="3300" y="2892"/>
                    <a:pt x="3300" y="2892"/>
                    <a:pt x="3300" y="2892"/>
                  </a:cubicBezTo>
                  <a:cubicBezTo>
                    <a:pt x="3315" y="2890"/>
                    <a:pt x="3348" y="2885"/>
                    <a:pt x="3428" y="2877"/>
                  </a:cubicBezTo>
                  <a:cubicBezTo>
                    <a:pt x="3508" y="2870"/>
                    <a:pt x="3634" y="2860"/>
                    <a:pt x="3818" y="2850"/>
                  </a:cubicBezTo>
                  <a:cubicBezTo>
                    <a:pt x="3831" y="2849"/>
                    <a:pt x="3845" y="2848"/>
                    <a:pt x="3859" y="2848"/>
                  </a:cubicBezTo>
                  <a:cubicBezTo>
                    <a:pt x="3895" y="2848"/>
                    <a:pt x="3932" y="2851"/>
                    <a:pt x="3969" y="2855"/>
                  </a:cubicBezTo>
                  <a:cubicBezTo>
                    <a:pt x="3970" y="2867"/>
                    <a:pt x="3970" y="2881"/>
                    <a:pt x="3970" y="2899"/>
                  </a:cubicBezTo>
                  <a:cubicBezTo>
                    <a:pt x="3971" y="2941"/>
                    <a:pt x="3971" y="2998"/>
                    <a:pt x="3971" y="3060"/>
                  </a:cubicBezTo>
                  <a:cubicBezTo>
                    <a:pt x="3928" y="3058"/>
                    <a:pt x="3544" y="3046"/>
                    <a:pt x="3533" y="3046"/>
                  </a:cubicBezTo>
                  <a:cubicBezTo>
                    <a:pt x="3521" y="3046"/>
                    <a:pt x="3191" y="3054"/>
                    <a:pt x="3191" y="3054"/>
                  </a:cubicBezTo>
                  <a:cubicBezTo>
                    <a:pt x="3015" y="3064"/>
                    <a:pt x="3015" y="3064"/>
                    <a:pt x="3015" y="3064"/>
                  </a:cubicBezTo>
                  <a:lnTo>
                    <a:pt x="2980" y="2898"/>
                  </a:lnTo>
                  <a:close/>
                  <a:moveTo>
                    <a:pt x="3969" y="3505"/>
                  </a:moveTo>
                  <a:cubicBezTo>
                    <a:pt x="3913" y="3483"/>
                    <a:pt x="3585" y="3353"/>
                    <a:pt x="3585" y="3353"/>
                  </a:cubicBezTo>
                  <a:cubicBezTo>
                    <a:pt x="3583" y="3352"/>
                    <a:pt x="3583" y="3352"/>
                    <a:pt x="3583" y="3352"/>
                  </a:cubicBezTo>
                  <a:cubicBezTo>
                    <a:pt x="3077" y="3360"/>
                    <a:pt x="3077" y="3360"/>
                    <a:pt x="3077" y="3360"/>
                  </a:cubicBezTo>
                  <a:cubicBezTo>
                    <a:pt x="3051" y="3235"/>
                    <a:pt x="3051" y="3235"/>
                    <a:pt x="3051" y="3235"/>
                  </a:cubicBezTo>
                  <a:cubicBezTo>
                    <a:pt x="3600" y="3238"/>
                    <a:pt x="3600" y="3238"/>
                    <a:pt x="3600" y="3238"/>
                  </a:cubicBezTo>
                  <a:cubicBezTo>
                    <a:pt x="3971" y="3305"/>
                    <a:pt x="3971" y="3305"/>
                    <a:pt x="3971" y="3305"/>
                  </a:cubicBezTo>
                  <a:cubicBezTo>
                    <a:pt x="3970" y="3387"/>
                    <a:pt x="3970" y="3459"/>
                    <a:pt x="3969" y="3505"/>
                  </a:cubicBezTo>
                  <a:close/>
                  <a:moveTo>
                    <a:pt x="3971" y="3291"/>
                  </a:moveTo>
                  <a:cubicBezTo>
                    <a:pt x="3602" y="3224"/>
                    <a:pt x="3602" y="3224"/>
                    <a:pt x="3602" y="3224"/>
                  </a:cubicBezTo>
                  <a:cubicBezTo>
                    <a:pt x="3048" y="3221"/>
                    <a:pt x="3048" y="3221"/>
                    <a:pt x="3048" y="3221"/>
                  </a:cubicBezTo>
                  <a:cubicBezTo>
                    <a:pt x="3018" y="3078"/>
                    <a:pt x="3018" y="3078"/>
                    <a:pt x="3018" y="3078"/>
                  </a:cubicBezTo>
                  <a:cubicBezTo>
                    <a:pt x="3191" y="3068"/>
                    <a:pt x="3191" y="3068"/>
                    <a:pt x="3191" y="3068"/>
                  </a:cubicBezTo>
                  <a:cubicBezTo>
                    <a:pt x="3192" y="3068"/>
                    <a:pt x="3522" y="3060"/>
                    <a:pt x="3533" y="3060"/>
                  </a:cubicBezTo>
                  <a:cubicBezTo>
                    <a:pt x="3543" y="3060"/>
                    <a:pt x="3935" y="3073"/>
                    <a:pt x="3971" y="3074"/>
                  </a:cubicBezTo>
                  <a:cubicBezTo>
                    <a:pt x="3971" y="3075"/>
                    <a:pt x="3972" y="3077"/>
                    <a:pt x="3972" y="3079"/>
                  </a:cubicBezTo>
                  <a:cubicBezTo>
                    <a:pt x="3972" y="3148"/>
                    <a:pt x="3971" y="3222"/>
                    <a:pt x="3971" y="3291"/>
                  </a:cubicBezTo>
                  <a:close/>
                  <a:moveTo>
                    <a:pt x="4555" y="3586"/>
                  </a:moveTo>
                  <a:cubicBezTo>
                    <a:pt x="4516" y="3580"/>
                    <a:pt x="4396" y="3565"/>
                    <a:pt x="4276" y="3549"/>
                  </a:cubicBezTo>
                  <a:cubicBezTo>
                    <a:pt x="4144" y="3531"/>
                    <a:pt x="4010" y="3513"/>
                    <a:pt x="3983" y="3509"/>
                  </a:cubicBezTo>
                  <a:cubicBezTo>
                    <a:pt x="3983" y="3464"/>
                    <a:pt x="3984" y="3390"/>
                    <a:pt x="3985" y="3307"/>
                  </a:cubicBezTo>
                  <a:cubicBezTo>
                    <a:pt x="4054" y="3317"/>
                    <a:pt x="4471" y="3376"/>
                    <a:pt x="4580" y="3390"/>
                  </a:cubicBezTo>
                  <a:lnTo>
                    <a:pt x="4555" y="3586"/>
                  </a:lnTo>
                  <a:close/>
                  <a:moveTo>
                    <a:pt x="4582" y="3376"/>
                  </a:moveTo>
                  <a:cubicBezTo>
                    <a:pt x="4531" y="3370"/>
                    <a:pt x="4409" y="3353"/>
                    <a:pt x="4289" y="3336"/>
                  </a:cubicBezTo>
                  <a:cubicBezTo>
                    <a:pt x="4153" y="3317"/>
                    <a:pt x="4018" y="3298"/>
                    <a:pt x="3985" y="3293"/>
                  </a:cubicBezTo>
                  <a:cubicBezTo>
                    <a:pt x="3985" y="3224"/>
                    <a:pt x="3985" y="3148"/>
                    <a:pt x="3985" y="3079"/>
                  </a:cubicBezTo>
                  <a:cubicBezTo>
                    <a:pt x="3985" y="3078"/>
                    <a:pt x="3985" y="3077"/>
                    <a:pt x="3985" y="3075"/>
                  </a:cubicBezTo>
                  <a:cubicBezTo>
                    <a:pt x="4609" y="3169"/>
                    <a:pt x="4609" y="3169"/>
                    <a:pt x="4609" y="3169"/>
                  </a:cubicBezTo>
                  <a:lnTo>
                    <a:pt x="4582" y="3376"/>
                  </a:lnTo>
                  <a:close/>
                  <a:moveTo>
                    <a:pt x="4610" y="3156"/>
                  </a:moveTo>
                  <a:cubicBezTo>
                    <a:pt x="3985" y="3061"/>
                    <a:pt x="3985" y="3061"/>
                    <a:pt x="3985" y="3061"/>
                  </a:cubicBezTo>
                  <a:cubicBezTo>
                    <a:pt x="3985" y="2974"/>
                    <a:pt x="3985" y="2899"/>
                    <a:pt x="3983" y="2857"/>
                  </a:cubicBezTo>
                  <a:cubicBezTo>
                    <a:pt x="4212" y="2887"/>
                    <a:pt x="4452" y="2988"/>
                    <a:pt x="4569" y="3043"/>
                  </a:cubicBezTo>
                  <a:cubicBezTo>
                    <a:pt x="4591" y="3053"/>
                    <a:pt x="4609" y="3062"/>
                    <a:pt x="4621" y="3068"/>
                  </a:cubicBezTo>
                  <a:lnTo>
                    <a:pt x="4610" y="3156"/>
                  </a:lnTo>
                  <a:close/>
                  <a:moveTo>
                    <a:pt x="4630" y="2999"/>
                  </a:moveTo>
                  <a:cubicBezTo>
                    <a:pt x="4516" y="2943"/>
                    <a:pt x="4186" y="2793"/>
                    <a:pt x="3888" y="2783"/>
                  </a:cubicBezTo>
                  <a:cubicBezTo>
                    <a:pt x="3803" y="2405"/>
                    <a:pt x="3803" y="2405"/>
                    <a:pt x="3803" y="2405"/>
                  </a:cubicBezTo>
                  <a:cubicBezTo>
                    <a:pt x="3816" y="2402"/>
                    <a:pt x="3830" y="2399"/>
                    <a:pt x="3844" y="2396"/>
                  </a:cubicBezTo>
                  <a:cubicBezTo>
                    <a:pt x="4162" y="2319"/>
                    <a:pt x="4445" y="2029"/>
                    <a:pt x="4530" y="1936"/>
                  </a:cubicBezTo>
                  <a:cubicBezTo>
                    <a:pt x="4541" y="1936"/>
                    <a:pt x="4551" y="1935"/>
                    <a:pt x="4562" y="1934"/>
                  </a:cubicBezTo>
                  <a:cubicBezTo>
                    <a:pt x="4640" y="1931"/>
                    <a:pt x="4715" y="1927"/>
                    <a:pt x="4767" y="1925"/>
                  </a:cubicBezTo>
                  <a:lnTo>
                    <a:pt x="4630" y="2999"/>
                  </a:lnTo>
                  <a:close/>
                  <a:moveTo>
                    <a:pt x="4828" y="1769"/>
                  </a:moveTo>
                  <a:cubicBezTo>
                    <a:pt x="4803" y="1770"/>
                    <a:pt x="4683" y="1776"/>
                    <a:pt x="4555" y="1782"/>
                  </a:cubicBezTo>
                  <a:cubicBezTo>
                    <a:pt x="4439" y="1788"/>
                    <a:pt x="4319" y="1794"/>
                    <a:pt x="4255" y="1798"/>
                  </a:cubicBezTo>
                  <a:cubicBezTo>
                    <a:pt x="4602" y="766"/>
                    <a:pt x="4602" y="766"/>
                    <a:pt x="4602" y="766"/>
                  </a:cubicBezTo>
                  <a:cubicBezTo>
                    <a:pt x="5087" y="1084"/>
                    <a:pt x="5087" y="1084"/>
                    <a:pt x="5087" y="1084"/>
                  </a:cubicBezTo>
                  <a:cubicBezTo>
                    <a:pt x="5093" y="1136"/>
                    <a:pt x="5093" y="1136"/>
                    <a:pt x="5093" y="1136"/>
                  </a:cubicBezTo>
                  <a:cubicBezTo>
                    <a:pt x="5054" y="1728"/>
                    <a:pt x="5054" y="1728"/>
                    <a:pt x="5054" y="1728"/>
                  </a:cubicBezTo>
                  <a:lnTo>
                    <a:pt x="4828" y="1769"/>
                  </a:lnTo>
                  <a:close/>
                  <a:moveTo>
                    <a:pt x="5516" y="3513"/>
                  </a:moveTo>
                  <a:cubicBezTo>
                    <a:pt x="4947" y="3429"/>
                    <a:pt x="4947" y="3429"/>
                    <a:pt x="4947" y="3429"/>
                  </a:cubicBezTo>
                  <a:cubicBezTo>
                    <a:pt x="4956" y="3357"/>
                    <a:pt x="4965" y="3287"/>
                    <a:pt x="4974" y="3218"/>
                  </a:cubicBezTo>
                  <a:cubicBezTo>
                    <a:pt x="5538" y="3302"/>
                    <a:pt x="5538" y="3302"/>
                    <a:pt x="5538" y="3302"/>
                  </a:cubicBezTo>
                  <a:lnTo>
                    <a:pt x="5516" y="3513"/>
                  </a:lnTo>
                  <a:close/>
                  <a:moveTo>
                    <a:pt x="5539" y="3288"/>
                  </a:moveTo>
                  <a:cubicBezTo>
                    <a:pt x="4975" y="3204"/>
                    <a:pt x="4975" y="3204"/>
                    <a:pt x="4975" y="3204"/>
                  </a:cubicBezTo>
                  <a:cubicBezTo>
                    <a:pt x="5005" y="2972"/>
                    <a:pt x="5032" y="2755"/>
                    <a:pt x="5056" y="2566"/>
                  </a:cubicBezTo>
                  <a:cubicBezTo>
                    <a:pt x="5603" y="2656"/>
                    <a:pt x="5603" y="2656"/>
                    <a:pt x="5603" y="2656"/>
                  </a:cubicBezTo>
                  <a:lnTo>
                    <a:pt x="5539" y="3288"/>
                  </a:lnTo>
                  <a:close/>
                  <a:moveTo>
                    <a:pt x="5605" y="2642"/>
                  </a:moveTo>
                  <a:cubicBezTo>
                    <a:pt x="5058" y="2552"/>
                    <a:pt x="5058" y="2552"/>
                    <a:pt x="5058" y="2552"/>
                  </a:cubicBezTo>
                  <a:cubicBezTo>
                    <a:pt x="5098" y="2239"/>
                    <a:pt x="5127" y="2003"/>
                    <a:pt x="5141" y="1896"/>
                  </a:cubicBezTo>
                  <a:cubicBezTo>
                    <a:pt x="5202" y="1910"/>
                    <a:pt x="5288" y="1929"/>
                    <a:pt x="5374" y="1948"/>
                  </a:cubicBezTo>
                  <a:cubicBezTo>
                    <a:pt x="5497" y="1976"/>
                    <a:pt x="5621" y="2004"/>
                    <a:pt x="5667" y="2015"/>
                  </a:cubicBezTo>
                  <a:cubicBezTo>
                    <a:pt x="5668" y="2017"/>
                    <a:pt x="5668" y="2017"/>
                    <a:pt x="5668" y="2017"/>
                  </a:cubicBezTo>
                  <a:lnTo>
                    <a:pt x="5605" y="2642"/>
                  </a:lnTo>
                  <a:close/>
                  <a:moveTo>
                    <a:pt x="6695" y="1906"/>
                  </a:moveTo>
                  <a:cubicBezTo>
                    <a:pt x="6241" y="1889"/>
                    <a:pt x="5787" y="1873"/>
                    <a:pt x="5718" y="1871"/>
                  </a:cubicBezTo>
                  <a:cubicBezTo>
                    <a:pt x="5713" y="1870"/>
                    <a:pt x="5706" y="1868"/>
                    <a:pt x="5698" y="1866"/>
                  </a:cubicBezTo>
                  <a:cubicBezTo>
                    <a:pt x="5682" y="1862"/>
                    <a:pt x="5659" y="1857"/>
                    <a:pt x="5632" y="1851"/>
                  </a:cubicBezTo>
                  <a:cubicBezTo>
                    <a:pt x="5577" y="1838"/>
                    <a:pt x="5505" y="1822"/>
                    <a:pt x="5430" y="1805"/>
                  </a:cubicBezTo>
                  <a:cubicBezTo>
                    <a:pt x="5306" y="1777"/>
                    <a:pt x="5178" y="1748"/>
                    <a:pt x="5119" y="1735"/>
                  </a:cubicBezTo>
                  <a:cubicBezTo>
                    <a:pt x="5159" y="1135"/>
                    <a:pt x="5159" y="1135"/>
                    <a:pt x="5159" y="1135"/>
                  </a:cubicBezTo>
                  <a:cubicBezTo>
                    <a:pt x="5081" y="457"/>
                    <a:pt x="5081" y="457"/>
                    <a:pt x="5081" y="457"/>
                  </a:cubicBezTo>
                  <a:cubicBezTo>
                    <a:pt x="5082" y="440"/>
                    <a:pt x="5086" y="339"/>
                    <a:pt x="5090" y="203"/>
                  </a:cubicBezTo>
                  <a:cubicBezTo>
                    <a:pt x="5228" y="240"/>
                    <a:pt x="5903" y="420"/>
                    <a:pt x="6037" y="449"/>
                  </a:cubicBezTo>
                  <a:cubicBezTo>
                    <a:pt x="6133" y="471"/>
                    <a:pt x="6249" y="506"/>
                    <a:pt x="6410" y="506"/>
                  </a:cubicBezTo>
                  <a:cubicBezTo>
                    <a:pt x="6411" y="506"/>
                    <a:pt x="6411" y="506"/>
                    <a:pt x="6411" y="506"/>
                  </a:cubicBezTo>
                  <a:cubicBezTo>
                    <a:pt x="6484" y="506"/>
                    <a:pt x="6568" y="498"/>
                    <a:pt x="6662" y="479"/>
                  </a:cubicBezTo>
                  <a:cubicBezTo>
                    <a:pt x="7169" y="1923"/>
                    <a:pt x="7169" y="1923"/>
                    <a:pt x="7169" y="1923"/>
                  </a:cubicBezTo>
                  <a:cubicBezTo>
                    <a:pt x="7023" y="1917"/>
                    <a:pt x="6859" y="1911"/>
                    <a:pt x="6695" y="1906"/>
                  </a:cubicBezTo>
                  <a:close/>
                  <a:moveTo>
                    <a:pt x="10817" y="606"/>
                  </a:moveTo>
                  <a:cubicBezTo>
                    <a:pt x="10932" y="586"/>
                    <a:pt x="10932" y="586"/>
                    <a:pt x="10932" y="586"/>
                  </a:cubicBezTo>
                  <a:cubicBezTo>
                    <a:pt x="10907" y="441"/>
                    <a:pt x="10907" y="441"/>
                    <a:pt x="10907" y="441"/>
                  </a:cubicBezTo>
                  <a:cubicBezTo>
                    <a:pt x="10752" y="467"/>
                    <a:pt x="10752" y="467"/>
                    <a:pt x="10752" y="467"/>
                  </a:cubicBezTo>
                  <a:cubicBezTo>
                    <a:pt x="10738" y="387"/>
                    <a:pt x="10738" y="387"/>
                    <a:pt x="10738" y="387"/>
                  </a:cubicBezTo>
                  <a:cubicBezTo>
                    <a:pt x="10897" y="360"/>
                    <a:pt x="10897" y="360"/>
                    <a:pt x="10897" y="360"/>
                  </a:cubicBezTo>
                  <a:cubicBezTo>
                    <a:pt x="10889" y="313"/>
                    <a:pt x="10889" y="313"/>
                    <a:pt x="10889" y="313"/>
                  </a:cubicBezTo>
                  <a:cubicBezTo>
                    <a:pt x="11039" y="287"/>
                    <a:pt x="11039" y="287"/>
                    <a:pt x="11039" y="287"/>
                  </a:cubicBezTo>
                  <a:cubicBezTo>
                    <a:pt x="11022" y="189"/>
                    <a:pt x="11022" y="189"/>
                    <a:pt x="11022" y="189"/>
                  </a:cubicBezTo>
                  <a:cubicBezTo>
                    <a:pt x="11077" y="180"/>
                    <a:pt x="11077" y="180"/>
                    <a:pt x="11077" y="180"/>
                  </a:cubicBezTo>
                  <a:cubicBezTo>
                    <a:pt x="11096" y="278"/>
                    <a:pt x="11096" y="278"/>
                    <a:pt x="11096" y="278"/>
                  </a:cubicBezTo>
                  <a:cubicBezTo>
                    <a:pt x="11137" y="271"/>
                    <a:pt x="11137" y="271"/>
                    <a:pt x="11137" y="271"/>
                  </a:cubicBezTo>
                  <a:cubicBezTo>
                    <a:pt x="11165" y="439"/>
                    <a:pt x="11165" y="439"/>
                    <a:pt x="11165" y="439"/>
                  </a:cubicBezTo>
                  <a:cubicBezTo>
                    <a:pt x="11260" y="423"/>
                    <a:pt x="11260" y="423"/>
                    <a:pt x="11260" y="423"/>
                  </a:cubicBezTo>
                  <a:cubicBezTo>
                    <a:pt x="11278" y="525"/>
                    <a:pt x="11278" y="525"/>
                    <a:pt x="11278" y="525"/>
                  </a:cubicBezTo>
                  <a:cubicBezTo>
                    <a:pt x="11184" y="541"/>
                    <a:pt x="11184" y="541"/>
                    <a:pt x="11184" y="541"/>
                  </a:cubicBezTo>
                  <a:cubicBezTo>
                    <a:pt x="11192" y="591"/>
                    <a:pt x="11192" y="591"/>
                    <a:pt x="11192" y="591"/>
                  </a:cubicBezTo>
                  <a:cubicBezTo>
                    <a:pt x="10963" y="630"/>
                    <a:pt x="10963" y="630"/>
                    <a:pt x="10963" y="630"/>
                  </a:cubicBezTo>
                  <a:cubicBezTo>
                    <a:pt x="10986" y="764"/>
                    <a:pt x="10986" y="764"/>
                    <a:pt x="10986" y="764"/>
                  </a:cubicBezTo>
                  <a:cubicBezTo>
                    <a:pt x="10847" y="788"/>
                    <a:pt x="10847" y="788"/>
                    <a:pt x="10847" y="788"/>
                  </a:cubicBezTo>
                  <a:lnTo>
                    <a:pt x="10817" y="606"/>
                  </a:lnTo>
                  <a:close/>
                  <a:moveTo>
                    <a:pt x="7759" y="829"/>
                  </a:moveTo>
                  <a:cubicBezTo>
                    <a:pt x="7717" y="740"/>
                    <a:pt x="7663" y="622"/>
                    <a:pt x="7617" y="507"/>
                  </a:cubicBezTo>
                  <a:cubicBezTo>
                    <a:pt x="7579" y="414"/>
                    <a:pt x="7569" y="335"/>
                    <a:pt x="7569" y="275"/>
                  </a:cubicBezTo>
                  <a:cubicBezTo>
                    <a:pt x="7569" y="203"/>
                    <a:pt x="7584" y="158"/>
                    <a:pt x="7587" y="150"/>
                  </a:cubicBezTo>
                  <a:cubicBezTo>
                    <a:pt x="7658" y="22"/>
                    <a:pt x="7658" y="22"/>
                    <a:pt x="7658" y="22"/>
                  </a:cubicBezTo>
                  <a:cubicBezTo>
                    <a:pt x="8871" y="743"/>
                    <a:pt x="8871" y="743"/>
                    <a:pt x="8871" y="743"/>
                  </a:cubicBezTo>
                  <a:cubicBezTo>
                    <a:pt x="8874" y="765"/>
                    <a:pt x="8879" y="807"/>
                    <a:pt x="8886" y="863"/>
                  </a:cubicBezTo>
                  <a:cubicBezTo>
                    <a:pt x="8850" y="865"/>
                    <a:pt x="8788" y="870"/>
                    <a:pt x="8709" y="877"/>
                  </a:cubicBezTo>
                  <a:cubicBezTo>
                    <a:pt x="8601" y="886"/>
                    <a:pt x="8464" y="899"/>
                    <a:pt x="8329" y="911"/>
                  </a:cubicBezTo>
                  <a:cubicBezTo>
                    <a:pt x="8106" y="931"/>
                    <a:pt x="7890" y="952"/>
                    <a:pt x="7822" y="958"/>
                  </a:cubicBezTo>
                  <a:cubicBezTo>
                    <a:pt x="7810" y="934"/>
                    <a:pt x="7787" y="888"/>
                    <a:pt x="7759" y="829"/>
                  </a:cubicBezTo>
                  <a:close/>
                  <a:moveTo>
                    <a:pt x="7885" y="1957"/>
                  </a:moveTo>
                  <a:cubicBezTo>
                    <a:pt x="7866" y="1954"/>
                    <a:pt x="7846" y="1952"/>
                    <a:pt x="7827" y="1950"/>
                  </a:cubicBezTo>
                  <a:cubicBezTo>
                    <a:pt x="7914" y="1711"/>
                    <a:pt x="7914" y="1711"/>
                    <a:pt x="7914" y="1711"/>
                  </a:cubicBezTo>
                  <a:cubicBezTo>
                    <a:pt x="7839" y="1022"/>
                    <a:pt x="7839" y="1022"/>
                    <a:pt x="7839" y="1022"/>
                  </a:cubicBezTo>
                  <a:cubicBezTo>
                    <a:pt x="7892" y="1017"/>
                    <a:pt x="8005" y="1007"/>
                    <a:pt x="8139" y="994"/>
                  </a:cubicBezTo>
                  <a:cubicBezTo>
                    <a:pt x="8326" y="977"/>
                    <a:pt x="8553" y="956"/>
                    <a:pt x="8714" y="942"/>
                  </a:cubicBezTo>
                  <a:cubicBezTo>
                    <a:pt x="8795" y="935"/>
                    <a:pt x="8861" y="930"/>
                    <a:pt x="8895" y="928"/>
                  </a:cubicBezTo>
                  <a:cubicBezTo>
                    <a:pt x="8900" y="969"/>
                    <a:pt x="8905" y="1013"/>
                    <a:pt x="8911" y="1060"/>
                  </a:cubicBezTo>
                  <a:cubicBezTo>
                    <a:pt x="8934" y="1245"/>
                    <a:pt x="8962" y="1466"/>
                    <a:pt x="8978" y="1613"/>
                  </a:cubicBezTo>
                  <a:cubicBezTo>
                    <a:pt x="8981" y="1641"/>
                    <a:pt x="8983" y="1668"/>
                    <a:pt x="8983" y="1695"/>
                  </a:cubicBezTo>
                  <a:cubicBezTo>
                    <a:pt x="8983" y="1901"/>
                    <a:pt x="8898" y="2064"/>
                    <a:pt x="8875" y="2104"/>
                  </a:cubicBezTo>
                  <a:cubicBezTo>
                    <a:pt x="8367" y="2028"/>
                    <a:pt x="7923" y="1962"/>
                    <a:pt x="7885" y="1957"/>
                  </a:cubicBezTo>
                  <a:close/>
                  <a:moveTo>
                    <a:pt x="8944" y="2114"/>
                  </a:moveTo>
                  <a:cubicBezTo>
                    <a:pt x="8979" y="2047"/>
                    <a:pt x="9048" y="1891"/>
                    <a:pt x="9048" y="1695"/>
                  </a:cubicBezTo>
                  <a:cubicBezTo>
                    <a:pt x="9048" y="1666"/>
                    <a:pt x="9047" y="1636"/>
                    <a:pt x="9043" y="1605"/>
                  </a:cubicBezTo>
                  <a:cubicBezTo>
                    <a:pt x="9013" y="1332"/>
                    <a:pt x="8945" y="802"/>
                    <a:pt x="8935" y="728"/>
                  </a:cubicBezTo>
                  <a:cubicBezTo>
                    <a:pt x="8936" y="726"/>
                    <a:pt x="8937" y="725"/>
                    <a:pt x="8938" y="723"/>
                  </a:cubicBezTo>
                  <a:cubicBezTo>
                    <a:pt x="8947" y="711"/>
                    <a:pt x="8959" y="694"/>
                    <a:pt x="8973" y="674"/>
                  </a:cubicBezTo>
                  <a:cubicBezTo>
                    <a:pt x="9000" y="635"/>
                    <a:pt x="9035" y="582"/>
                    <a:pt x="9069" y="530"/>
                  </a:cubicBezTo>
                  <a:cubicBezTo>
                    <a:pt x="9122" y="449"/>
                    <a:pt x="9174" y="369"/>
                    <a:pt x="9196" y="336"/>
                  </a:cubicBezTo>
                  <a:cubicBezTo>
                    <a:pt x="10193" y="350"/>
                    <a:pt x="10193" y="350"/>
                    <a:pt x="10193" y="350"/>
                  </a:cubicBezTo>
                  <a:cubicBezTo>
                    <a:pt x="10198" y="400"/>
                    <a:pt x="10209" y="509"/>
                    <a:pt x="10220" y="619"/>
                  </a:cubicBezTo>
                  <a:cubicBezTo>
                    <a:pt x="10233" y="749"/>
                    <a:pt x="10246" y="882"/>
                    <a:pt x="10250" y="923"/>
                  </a:cubicBezTo>
                  <a:cubicBezTo>
                    <a:pt x="10116" y="1096"/>
                    <a:pt x="10116" y="1096"/>
                    <a:pt x="10116" y="1096"/>
                  </a:cubicBezTo>
                  <a:cubicBezTo>
                    <a:pt x="10140" y="1765"/>
                    <a:pt x="10140" y="1765"/>
                    <a:pt x="10140" y="1765"/>
                  </a:cubicBezTo>
                  <a:cubicBezTo>
                    <a:pt x="9986" y="1891"/>
                    <a:pt x="9986" y="1891"/>
                    <a:pt x="9986" y="1891"/>
                  </a:cubicBezTo>
                  <a:cubicBezTo>
                    <a:pt x="9864" y="2251"/>
                    <a:pt x="9864" y="2251"/>
                    <a:pt x="9864" y="2251"/>
                  </a:cubicBezTo>
                  <a:cubicBezTo>
                    <a:pt x="9593" y="2210"/>
                    <a:pt x="9260" y="2161"/>
                    <a:pt x="8944" y="2114"/>
                  </a:cubicBezTo>
                  <a:close/>
                  <a:moveTo>
                    <a:pt x="12939" y="2718"/>
                  </a:moveTo>
                  <a:cubicBezTo>
                    <a:pt x="12838" y="2931"/>
                    <a:pt x="12707" y="3209"/>
                    <a:pt x="12566" y="3502"/>
                  </a:cubicBezTo>
                  <a:cubicBezTo>
                    <a:pt x="11657" y="2919"/>
                    <a:pt x="11657" y="2919"/>
                    <a:pt x="11657" y="2919"/>
                  </a:cubicBezTo>
                  <a:cubicBezTo>
                    <a:pt x="11578" y="2869"/>
                    <a:pt x="11399" y="2766"/>
                    <a:pt x="11218" y="2666"/>
                  </a:cubicBezTo>
                  <a:cubicBezTo>
                    <a:pt x="11036" y="2565"/>
                    <a:pt x="10856" y="2468"/>
                    <a:pt x="10772" y="2430"/>
                  </a:cubicBezTo>
                  <a:cubicBezTo>
                    <a:pt x="10612" y="2358"/>
                    <a:pt x="10452" y="2338"/>
                    <a:pt x="10429" y="2335"/>
                  </a:cubicBezTo>
                  <a:cubicBezTo>
                    <a:pt x="10424" y="2334"/>
                    <a:pt x="10220" y="2304"/>
                    <a:pt x="9930" y="2261"/>
                  </a:cubicBezTo>
                  <a:cubicBezTo>
                    <a:pt x="10042" y="1930"/>
                    <a:pt x="10042" y="1930"/>
                    <a:pt x="10042" y="1930"/>
                  </a:cubicBezTo>
                  <a:cubicBezTo>
                    <a:pt x="10207" y="1795"/>
                    <a:pt x="10207" y="1795"/>
                    <a:pt x="10207" y="1795"/>
                  </a:cubicBezTo>
                  <a:cubicBezTo>
                    <a:pt x="10182" y="1118"/>
                    <a:pt x="10182" y="1118"/>
                    <a:pt x="10182" y="1118"/>
                  </a:cubicBezTo>
                  <a:cubicBezTo>
                    <a:pt x="10302" y="963"/>
                    <a:pt x="10302" y="963"/>
                    <a:pt x="10302" y="963"/>
                  </a:cubicBezTo>
                  <a:cubicBezTo>
                    <a:pt x="11912" y="675"/>
                    <a:pt x="11912" y="675"/>
                    <a:pt x="11912" y="675"/>
                  </a:cubicBezTo>
                  <a:cubicBezTo>
                    <a:pt x="12107" y="1959"/>
                    <a:pt x="12107" y="1959"/>
                    <a:pt x="12107" y="1959"/>
                  </a:cubicBezTo>
                  <a:cubicBezTo>
                    <a:pt x="13109" y="2355"/>
                    <a:pt x="13109" y="2355"/>
                    <a:pt x="13109" y="2355"/>
                  </a:cubicBezTo>
                  <a:cubicBezTo>
                    <a:pt x="13082" y="2414"/>
                    <a:pt x="13021" y="2544"/>
                    <a:pt x="12939" y="2718"/>
                  </a:cubicBezTo>
                  <a:close/>
                  <a:moveTo>
                    <a:pt x="101" y="552"/>
                  </a:moveTo>
                  <a:cubicBezTo>
                    <a:pt x="66" y="564"/>
                    <a:pt x="33" y="576"/>
                    <a:pt x="0" y="587"/>
                  </a:cubicBezTo>
                  <a:cubicBezTo>
                    <a:pt x="0" y="539"/>
                    <a:pt x="0" y="539"/>
                    <a:pt x="0" y="539"/>
                  </a:cubicBezTo>
                  <a:cubicBezTo>
                    <a:pt x="28" y="529"/>
                    <a:pt x="57" y="519"/>
                    <a:pt x="86" y="509"/>
                  </a:cubicBezTo>
                  <a:cubicBezTo>
                    <a:pt x="211" y="466"/>
                    <a:pt x="283" y="418"/>
                    <a:pt x="325" y="361"/>
                  </a:cubicBezTo>
                  <a:cubicBezTo>
                    <a:pt x="366" y="305"/>
                    <a:pt x="380" y="236"/>
                    <a:pt x="380" y="146"/>
                  </a:cubicBezTo>
                  <a:cubicBezTo>
                    <a:pt x="380" y="102"/>
                    <a:pt x="376" y="54"/>
                    <a:pt x="372" y="0"/>
                  </a:cubicBezTo>
                  <a:cubicBezTo>
                    <a:pt x="417" y="0"/>
                    <a:pt x="417" y="0"/>
                    <a:pt x="417" y="0"/>
                  </a:cubicBezTo>
                  <a:cubicBezTo>
                    <a:pt x="422" y="53"/>
                    <a:pt x="425" y="101"/>
                    <a:pt x="425" y="146"/>
                  </a:cubicBezTo>
                  <a:cubicBezTo>
                    <a:pt x="425" y="240"/>
                    <a:pt x="411" y="320"/>
                    <a:pt x="361" y="388"/>
                  </a:cubicBezTo>
                  <a:cubicBezTo>
                    <a:pt x="312" y="456"/>
                    <a:pt x="230" y="508"/>
                    <a:pt x="101" y="552"/>
                  </a:cubicBezTo>
                  <a:close/>
                </a:path>
              </a:pathLst>
            </a:custGeom>
            <a:gradFill>
              <a:gsLst>
                <a:gs pos="40000">
                  <a:srgbClr val="FFFFFF"/>
                </a:gs>
                <a:gs pos="100000">
                  <a:srgbClr val="B0AAB2"/>
                </a:gs>
              </a:gsLst>
              <a:lin ang="0" scaled="1"/>
            </a:gradFill>
            <a:ln>
              <a:noFill/>
            </a:ln>
          </p:spPr>
          <p:txBody>
            <a:bodyPr vert="horz" wrap="square" lIns="91440" tIns="45720" rIns="91440" bIns="45720" numCol="1" anchor="t" anchorCtr="0" compatLnSpc="1">
              <a:prstTxWarp prst="textNoShape">
                <a:avLst/>
              </a:prstTxWarp>
            </a:bodyPr>
            <a:lstStyle/>
            <a:p>
              <a:endParaRPr lang="nl-NL" dirty="0"/>
            </a:p>
          </p:txBody>
        </p:sp>
        <p:sp>
          <p:nvSpPr>
            <p:cNvPr id="32" name="---Onder wit">
              <a:extLst>
                <a:ext uri="{FF2B5EF4-FFF2-40B4-BE49-F238E27FC236}">
                  <a16:creationId xmlns:a16="http://schemas.microsoft.com/office/drawing/2014/main" id="{838E86C7-F680-45B8-8899-C873153ADD52}"/>
                </a:ext>
              </a:extLst>
            </p:cNvPr>
            <p:cNvSpPr>
              <a:spLocks noSelect="1"/>
            </p:cNvSpPr>
            <p:nvPr userDrawn="1"/>
          </p:nvSpPr>
          <p:spPr bwMode="gray">
            <a:xfrm>
              <a:off x="6478588" y="5713200"/>
              <a:ext cx="5716588" cy="1141413"/>
            </a:xfrm>
            <a:custGeom>
              <a:avLst/>
              <a:gdLst>
                <a:gd name="T0" fmla="*/ 98 w 18004"/>
                <a:gd name="T1" fmla="*/ 543 h 3600"/>
                <a:gd name="T2" fmla="*/ 16855 w 18004"/>
                <a:gd name="T3" fmla="*/ 3468 h 3600"/>
                <a:gd name="T4" fmla="*/ 16175 w 18004"/>
                <a:gd name="T5" fmla="*/ 1314 h 3600"/>
                <a:gd name="T6" fmla="*/ 13264 w 18004"/>
                <a:gd name="T7" fmla="*/ 2369 h 3600"/>
                <a:gd name="T8" fmla="*/ 15276 w 18004"/>
                <a:gd name="T9" fmla="*/ 3572 h 3600"/>
                <a:gd name="T10" fmla="*/ 12667 w 18004"/>
                <a:gd name="T11" fmla="*/ 3600 h 3600"/>
                <a:gd name="T12" fmla="*/ 10410 w 18004"/>
                <a:gd name="T13" fmla="*/ 2467 h 3600"/>
                <a:gd name="T14" fmla="*/ 7522 w 18004"/>
                <a:gd name="T15" fmla="*/ 3600 h 3600"/>
                <a:gd name="T16" fmla="*/ 7674 w 18004"/>
                <a:gd name="T17" fmla="*/ 2075 h 3600"/>
                <a:gd name="T18" fmla="*/ 5720 w 18004"/>
                <a:gd name="T19" fmla="*/ 2014 h 3600"/>
                <a:gd name="T20" fmla="*/ 5562 w 18004"/>
                <a:gd name="T21" fmla="*/ 3568 h 3600"/>
                <a:gd name="T22" fmla="*/ 4906 w 18004"/>
                <a:gd name="T23" fmla="*/ 3600 h 3600"/>
                <a:gd name="T24" fmla="*/ 4575 w 18004"/>
                <a:gd name="T25" fmla="*/ 3029 h 3600"/>
                <a:gd name="T26" fmla="*/ 3487 w 18004"/>
                <a:gd name="T27" fmla="*/ 2427 h 3600"/>
                <a:gd name="T28" fmla="*/ 1699 w 18004"/>
                <a:gd name="T29" fmla="*/ 3600 h 3600"/>
                <a:gd name="T30" fmla="*/ 2530 w 18004"/>
                <a:gd name="T31" fmla="*/ 1954 h 3600"/>
                <a:gd name="T32" fmla="*/ 592 w 18004"/>
                <a:gd name="T33" fmla="*/ 1850 h 3600"/>
                <a:gd name="T34" fmla="*/ 1479 w 18004"/>
                <a:gd name="T35" fmla="*/ 1127 h 3600"/>
                <a:gd name="T36" fmla="*/ 2348 w 18004"/>
                <a:gd name="T37" fmla="*/ 261 h 3600"/>
                <a:gd name="T38" fmla="*/ 2303 w 18004"/>
                <a:gd name="T39" fmla="*/ 140 h 3600"/>
                <a:gd name="T40" fmla="*/ 2989 w 18004"/>
                <a:gd name="T41" fmla="*/ 83 h 3600"/>
                <a:gd name="T42" fmla="*/ 3479 w 18004"/>
                <a:gd name="T43" fmla="*/ 399 h 3600"/>
                <a:gd name="T44" fmla="*/ 4050 w 18004"/>
                <a:gd name="T45" fmla="*/ 1816 h 3600"/>
                <a:gd name="T46" fmla="*/ 4600 w 18004"/>
                <a:gd name="T47" fmla="*/ 722 h 3600"/>
                <a:gd name="T48" fmla="*/ 5077 w 18004"/>
                <a:gd name="T49" fmla="*/ 147 h 3600"/>
                <a:gd name="T50" fmla="*/ 6703 w 18004"/>
                <a:gd name="T51" fmla="*/ 440 h 3600"/>
                <a:gd name="T52" fmla="*/ 7785 w 18004"/>
                <a:gd name="T53" fmla="*/ 998 h 3600"/>
                <a:gd name="T54" fmla="*/ 8894 w 18004"/>
                <a:gd name="T55" fmla="*/ 698 h 3600"/>
                <a:gd name="T56" fmla="*/ 10217 w 18004"/>
                <a:gd name="T57" fmla="*/ 300 h 3600"/>
                <a:gd name="T58" fmla="*/ 10299 w 18004"/>
                <a:gd name="T59" fmla="*/ 903 h 3600"/>
                <a:gd name="T60" fmla="*/ 11809 w 18004"/>
                <a:gd name="T61" fmla="*/ 31 h 3600"/>
                <a:gd name="T62" fmla="*/ 13842 w 18004"/>
                <a:gd name="T63" fmla="*/ 315 h 3600"/>
                <a:gd name="T64" fmla="*/ 13942 w 18004"/>
                <a:gd name="T65" fmla="*/ 20 h 3600"/>
                <a:gd name="T66" fmla="*/ 14940 w 18004"/>
                <a:gd name="T67" fmla="*/ 0 h 3600"/>
                <a:gd name="T68" fmla="*/ 17832 w 18004"/>
                <a:gd name="T69" fmla="*/ 2023 h 3600"/>
                <a:gd name="T70" fmla="*/ 3446 w 18004"/>
                <a:gd name="T71" fmla="*/ 654 h 3600"/>
                <a:gd name="T72" fmla="*/ 2963 w 18004"/>
                <a:gd name="T73" fmla="*/ 215 h 3600"/>
                <a:gd name="T74" fmla="*/ 3123 w 18004"/>
                <a:gd name="T75" fmla="*/ 1682 h 3600"/>
                <a:gd name="T76" fmla="*/ 3740 w 18004"/>
                <a:gd name="T77" fmla="*/ 1659 h 3600"/>
                <a:gd name="T78" fmla="*/ 2835 w 18004"/>
                <a:gd name="T79" fmla="*/ 372 h 3600"/>
                <a:gd name="T80" fmla="*/ 1815 w 18004"/>
                <a:gd name="T81" fmla="*/ 1109 h 3600"/>
                <a:gd name="T82" fmla="*/ 3094 w 18004"/>
                <a:gd name="T83" fmla="*/ 1818 h 3600"/>
                <a:gd name="T84" fmla="*/ 2892 w 18004"/>
                <a:gd name="T85" fmla="*/ 1394 h 3600"/>
                <a:gd name="T86" fmla="*/ 3832 w 18004"/>
                <a:gd name="T87" fmla="*/ 2346 h 3600"/>
                <a:gd name="T88" fmla="*/ 3826 w 18004"/>
                <a:gd name="T89" fmla="*/ 1815 h 3600"/>
                <a:gd name="T90" fmla="*/ 2940 w 18004"/>
                <a:gd name="T91" fmla="*/ 1916 h 3600"/>
                <a:gd name="T92" fmla="*/ 4516 w 18004"/>
                <a:gd name="T93" fmla="*/ 1929 h 3600"/>
                <a:gd name="T94" fmla="*/ 5108 w 18004"/>
                <a:gd name="T95" fmla="*/ 1136 h 3600"/>
                <a:gd name="T96" fmla="*/ 6672 w 18004"/>
                <a:gd name="T97" fmla="*/ 463 h 3600"/>
                <a:gd name="T98" fmla="*/ 5426 w 18004"/>
                <a:gd name="T99" fmla="*/ 1823 h 3600"/>
                <a:gd name="T100" fmla="*/ 8905 w 18004"/>
                <a:gd name="T101" fmla="*/ 889 h 3600"/>
                <a:gd name="T102" fmla="*/ 7652 w 18004"/>
                <a:gd name="T103" fmla="*/ 2 h 3600"/>
                <a:gd name="T104" fmla="*/ 8891 w 18004"/>
                <a:gd name="T105" fmla="*/ 2104 h 3600"/>
                <a:gd name="T106" fmla="*/ 7810 w 18004"/>
                <a:gd name="T107" fmla="*/ 1952 h 3600"/>
                <a:gd name="T108" fmla="*/ 10265 w 18004"/>
                <a:gd name="T109" fmla="*/ 927 h 3600"/>
                <a:gd name="T110" fmla="*/ 8931 w 18004"/>
                <a:gd name="T111" fmla="*/ 2107 h 3600"/>
                <a:gd name="T112" fmla="*/ 9916 w 18004"/>
                <a:gd name="T113" fmla="*/ 2256 h 3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004" h="3600">
                  <a:moveTo>
                    <a:pt x="98" y="543"/>
                  </a:moveTo>
                  <a:cubicBezTo>
                    <a:pt x="64" y="555"/>
                    <a:pt x="32" y="566"/>
                    <a:pt x="0" y="577"/>
                  </a:cubicBezTo>
                  <a:cubicBezTo>
                    <a:pt x="0" y="549"/>
                    <a:pt x="0" y="549"/>
                    <a:pt x="0" y="549"/>
                  </a:cubicBezTo>
                  <a:cubicBezTo>
                    <a:pt x="29" y="539"/>
                    <a:pt x="58" y="529"/>
                    <a:pt x="89" y="518"/>
                  </a:cubicBezTo>
                  <a:cubicBezTo>
                    <a:pt x="340" y="430"/>
                    <a:pt x="387" y="327"/>
                    <a:pt x="389" y="146"/>
                  </a:cubicBezTo>
                  <a:cubicBezTo>
                    <a:pt x="389" y="102"/>
                    <a:pt x="386" y="53"/>
                    <a:pt x="382" y="0"/>
                  </a:cubicBezTo>
                  <a:cubicBezTo>
                    <a:pt x="408" y="0"/>
                    <a:pt x="408" y="0"/>
                    <a:pt x="408" y="0"/>
                  </a:cubicBezTo>
                  <a:cubicBezTo>
                    <a:pt x="412" y="53"/>
                    <a:pt x="415" y="101"/>
                    <a:pt x="415" y="146"/>
                  </a:cubicBezTo>
                  <a:cubicBezTo>
                    <a:pt x="417" y="333"/>
                    <a:pt x="354" y="457"/>
                    <a:pt x="98" y="543"/>
                  </a:cubicBezTo>
                  <a:close/>
                  <a:moveTo>
                    <a:pt x="18004" y="1930"/>
                  </a:moveTo>
                  <a:cubicBezTo>
                    <a:pt x="17776" y="2116"/>
                    <a:pt x="17541" y="2305"/>
                    <a:pt x="17455" y="2374"/>
                  </a:cubicBezTo>
                  <a:cubicBezTo>
                    <a:pt x="17578" y="2498"/>
                    <a:pt x="17753" y="2645"/>
                    <a:pt x="18004" y="2758"/>
                  </a:cubicBezTo>
                  <a:cubicBezTo>
                    <a:pt x="18004" y="2797"/>
                    <a:pt x="18004" y="2797"/>
                    <a:pt x="18004" y="2797"/>
                  </a:cubicBezTo>
                  <a:cubicBezTo>
                    <a:pt x="17739" y="2681"/>
                    <a:pt x="17554" y="2525"/>
                    <a:pt x="17426" y="2397"/>
                  </a:cubicBezTo>
                  <a:cubicBezTo>
                    <a:pt x="17422" y="2400"/>
                    <a:pt x="17420" y="2402"/>
                    <a:pt x="17420" y="2402"/>
                  </a:cubicBezTo>
                  <a:cubicBezTo>
                    <a:pt x="17420" y="2402"/>
                    <a:pt x="17394" y="2425"/>
                    <a:pt x="17353" y="2465"/>
                  </a:cubicBezTo>
                  <a:cubicBezTo>
                    <a:pt x="17229" y="2583"/>
                    <a:pt x="16975" y="2852"/>
                    <a:pt x="16920" y="3070"/>
                  </a:cubicBezTo>
                  <a:cubicBezTo>
                    <a:pt x="16882" y="3218"/>
                    <a:pt x="16887" y="3344"/>
                    <a:pt x="16855" y="3468"/>
                  </a:cubicBezTo>
                  <a:cubicBezTo>
                    <a:pt x="16844" y="3512"/>
                    <a:pt x="16828" y="3556"/>
                    <a:pt x="16803" y="3600"/>
                  </a:cubicBezTo>
                  <a:cubicBezTo>
                    <a:pt x="16761" y="3600"/>
                    <a:pt x="16761" y="3600"/>
                    <a:pt x="16761" y="3600"/>
                  </a:cubicBezTo>
                  <a:cubicBezTo>
                    <a:pt x="16790" y="3553"/>
                    <a:pt x="16808" y="3507"/>
                    <a:pt x="16820" y="3459"/>
                  </a:cubicBezTo>
                  <a:cubicBezTo>
                    <a:pt x="16850" y="3342"/>
                    <a:pt x="16846" y="3215"/>
                    <a:pt x="16885" y="3061"/>
                  </a:cubicBezTo>
                  <a:cubicBezTo>
                    <a:pt x="16966" y="2749"/>
                    <a:pt x="17396" y="2376"/>
                    <a:pt x="17397" y="2375"/>
                  </a:cubicBezTo>
                  <a:cubicBezTo>
                    <a:pt x="17397" y="2375"/>
                    <a:pt x="17398" y="2373"/>
                    <a:pt x="17401" y="2371"/>
                  </a:cubicBezTo>
                  <a:cubicBezTo>
                    <a:pt x="17347" y="2315"/>
                    <a:pt x="17303" y="2266"/>
                    <a:pt x="17269" y="2229"/>
                  </a:cubicBezTo>
                  <a:cubicBezTo>
                    <a:pt x="17268" y="2229"/>
                    <a:pt x="17239" y="2195"/>
                    <a:pt x="17186" y="2138"/>
                  </a:cubicBezTo>
                  <a:cubicBezTo>
                    <a:pt x="17025" y="1968"/>
                    <a:pt x="16644" y="1591"/>
                    <a:pt x="16175" y="1314"/>
                  </a:cubicBezTo>
                  <a:cubicBezTo>
                    <a:pt x="15985" y="1202"/>
                    <a:pt x="15747" y="1060"/>
                    <a:pt x="15508" y="933"/>
                  </a:cubicBezTo>
                  <a:cubicBezTo>
                    <a:pt x="15236" y="788"/>
                    <a:pt x="14962" y="650"/>
                    <a:pt x="14756" y="548"/>
                  </a:cubicBezTo>
                  <a:cubicBezTo>
                    <a:pt x="14654" y="497"/>
                    <a:pt x="14568" y="455"/>
                    <a:pt x="14508" y="425"/>
                  </a:cubicBezTo>
                  <a:cubicBezTo>
                    <a:pt x="14478" y="410"/>
                    <a:pt x="14454" y="398"/>
                    <a:pt x="14438" y="390"/>
                  </a:cubicBezTo>
                  <a:cubicBezTo>
                    <a:pt x="14430" y="386"/>
                    <a:pt x="14423" y="382"/>
                    <a:pt x="14419" y="380"/>
                  </a:cubicBezTo>
                  <a:cubicBezTo>
                    <a:pt x="14417" y="379"/>
                    <a:pt x="14416" y="378"/>
                    <a:pt x="14415" y="378"/>
                  </a:cubicBezTo>
                  <a:cubicBezTo>
                    <a:pt x="13960" y="328"/>
                    <a:pt x="13960" y="328"/>
                    <a:pt x="13960" y="328"/>
                  </a:cubicBezTo>
                  <a:cubicBezTo>
                    <a:pt x="13254" y="2358"/>
                    <a:pt x="13254" y="2358"/>
                    <a:pt x="13254" y="2358"/>
                  </a:cubicBezTo>
                  <a:cubicBezTo>
                    <a:pt x="13257" y="2361"/>
                    <a:pt x="13260" y="2365"/>
                    <a:pt x="13264" y="2369"/>
                  </a:cubicBezTo>
                  <a:cubicBezTo>
                    <a:pt x="13332" y="2407"/>
                    <a:pt x="13423" y="2475"/>
                    <a:pt x="13486" y="2583"/>
                  </a:cubicBezTo>
                  <a:cubicBezTo>
                    <a:pt x="13593" y="2767"/>
                    <a:pt x="13631" y="2829"/>
                    <a:pt x="13837" y="2923"/>
                  </a:cubicBezTo>
                  <a:cubicBezTo>
                    <a:pt x="14044" y="3016"/>
                    <a:pt x="15269" y="3531"/>
                    <a:pt x="15289" y="3539"/>
                  </a:cubicBezTo>
                  <a:cubicBezTo>
                    <a:pt x="15296" y="3542"/>
                    <a:pt x="15302" y="3546"/>
                    <a:pt x="15316" y="3555"/>
                  </a:cubicBezTo>
                  <a:cubicBezTo>
                    <a:pt x="15331" y="3566"/>
                    <a:pt x="15353" y="3582"/>
                    <a:pt x="15379" y="3600"/>
                  </a:cubicBezTo>
                  <a:cubicBezTo>
                    <a:pt x="15317" y="3600"/>
                    <a:pt x="15317" y="3600"/>
                    <a:pt x="15317" y="3600"/>
                  </a:cubicBezTo>
                  <a:cubicBezTo>
                    <a:pt x="15308" y="3594"/>
                    <a:pt x="15299" y="3588"/>
                    <a:pt x="15293" y="3583"/>
                  </a:cubicBezTo>
                  <a:cubicBezTo>
                    <a:pt x="15288" y="3580"/>
                    <a:pt x="15283" y="3577"/>
                    <a:pt x="15280" y="3575"/>
                  </a:cubicBezTo>
                  <a:cubicBezTo>
                    <a:pt x="15278" y="3574"/>
                    <a:pt x="15277" y="3573"/>
                    <a:pt x="15276" y="3572"/>
                  </a:cubicBezTo>
                  <a:cubicBezTo>
                    <a:pt x="15276" y="3572"/>
                    <a:pt x="15276" y="3572"/>
                    <a:pt x="15275" y="3572"/>
                  </a:cubicBezTo>
                  <a:cubicBezTo>
                    <a:pt x="15245" y="3560"/>
                    <a:pt x="14031" y="3049"/>
                    <a:pt x="13822" y="2956"/>
                  </a:cubicBezTo>
                  <a:cubicBezTo>
                    <a:pt x="13612" y="2862"/>
                    <a:pt x="13560" y="2785"/>
                    <a:pt x="13455" y="2601"/>
                  </a:cubicBezTo>
                  <a:cubicBezTo>
                    <a:pt x="13404" y="2513"/>
                    <a:pt x="13331" y="2452"/>
                    <a:pt x="13270" y="2414"/>
                  </a:cubicBezTo>
                  <a:cubicBezTo>
                    <a:pt x="13262" y="2409"/>
                    <a:pt x="13253" y="2404"/>
                    <a:pt x="13245" y="2399"/>
                  </a:cubicBezTo>
                  <a:cubicBezTo>
                    <a:pt x="13238" y="2397"/>
                    <a:pt x="13238" y="2397"/>
                    <a:pt x="13238" y="2397"/>
                  </a:cubicBezTo>
                  <a:cubicBezTo>
                    <a:pt x="13188" y="2503"/>
                    <a:pt x="12945" y="3022"/>
                    <a:pt x="12671" y="3593"/>
                  </a:cubicBezTo>
                  <a:cubicBezTo>
                    <a:pt x="12681" y="3600"/>
                    <a:pt x="12681" y="3600"/>
                    <a:pt x="12681" y="3600"/>
                  </a:cubicBezTo>
                  <a:cubicBezTo>
                    <a:pt x="12667" y="3600"/>
                    <a:pt x="12667" y="3600"/>
                    <a:pt x="12667" y="3600"/>
                  </a:cubicBezTo>
                  <a:cubicBezTo>
                    <a:pt x="12540" y="3600"/>
                    <a:pt x="12540" y="3600"/>
                    <a:pt x="12540" y="3600"/>
                  </a:cubicBezTo>
                  <a:cubicBezTo>
                    <a:pt x="12472" y="3600"/>
                    <a:pt x="12472" y="3600"/>
                    <a:pt x="12472" y="3600"/>
                  </a:cubicBezTo>
                  <a:cubicBezTo>
                    <a:pt x="11585" y="3032"/>
                    <a:pt x="11585" y="3032"/>
                    <a:pt x="11585" y="3032"/>
                  </a:cubicBezTo>
                  <a:cubicBezTo>
                    <a:pt x="11440" y="2939"/>
                    <a:pt x="10867" y="2619"/>
                    <a:pt x="10717" y="2552"/>
                  </a:cubicBezTo>
                  <a:cubicBezTo>
                    <a:pt x="10644" y="2519"/>
                    <a:pt x="10567" y="2497"/>
                    <a:pt x="10508" y="2485"/>
                  </a:cubicBezTo>
                  <a:cubicBezTo>
                    <a:pt x="10479" y="2478"/>
                    <a:pt x="10455" y="2474"/>
                    <a:pt x="10438" y="2471"/>
                  </a:cubicBezTo>
                  <a:cubicBezTo>
                    <a:pt x="10421" y="2468"/>
                    <a:pt x="10412" y="2468"/>
                    <a:pt x="10412" y="2467"/>
                  </a:cubicBezTo>
                  <a:cubicBezTo>
                    <a:pt x="10411" y="2467"/>
                    <a:pt x="10411" y="2467"/>
                    <a:pt x="10411" y="2467"/>
                  </a:cubicBezTo>
                  <a:cubicBezTo>
                    <a:pt x="10410" y="2467"/>
                    <a:pt x="10410" y="2467"/>
                    <a:pt x="10410" y="2467"/>
                  </a:cubicBezTo>
                  <a:cubicBezTo>
                    <a:pt x="10409" y="2467"/>
                    <a:pt x="10256" y="2444"/>
                    <a:pt x="10025" y="2410"/>
                  </a:cubicBezTo>
                  <a:cubicBezTo>
                    <a:pt x="9331" y="2307"/>
                    <a:pt x="7932" y="2098"/>
                    <a:pt x="7867" y="2089"/>
                  </a:cubicBezTo>
                  <a:cubicBezTo>
                    <a:pt x="7836" y="2085"/>
                    <a:pt x="7800" y="2082"/>
                    <a:pt x="7768" y="2080"/>
                  </a:cubicBezTo>
                  <a:cubicBezTo>
                    <a:pt x="7761" y="2098"/>
                    <a:pt x="7761" y="2098"/>
                    <a:pt x="7761" y="2098"/>
                  </a:cubicBezTo>
                  <a:cubicBezTo>
                    <a:pt x="7461" y="3457"/>
                    <a:pt x="7461" y="3457"/>
                    <a:pt x="7461" y="3457"/>
                  </a:cubicBezTo>
                  <a:cubicBezTo>
                    <a:pt x="7461" y="3458"/>
                    <a:pt x="7461" y="3459"/>
                    <a:pt x="7460" y="3463"/>
                  </a:cubicBezTo>
                  <a:cubicBezTo>
                    <a:pt x="7460" y="3466"/>
                    <a:pt x="7459" y="3472"/>
                    <a:pt x="7459" y="3479"/>
                  </a:cubicBezTo>
                  <a:cubicBezTo>
                    <a:pt x="7459" y="3503"/>
                    <a:pt x="7465" y="3542"/>
                    <a:pt x="7501" y="3581"/>
                  </a:cubicBezTo>
                  <a:cubicBezTo>
                    <a:pt x="7507" y="3588"/>
                    <a:pt x="7514" y="3594"/>
                    <a:pt x="7522" y="3600"/>
                  </a:cubicBezTo>
                  <a:cubicBezTo>
                    <a:pt x="7470" y="3600"/>
                    <a:pt x="7470" y="3600"/>
                    <a:pt x="7470" y="3600"/>
                  </a:cubicBezTo>
                  <a:cubicBezTo>
                    <a:pt x="7431" y="3555"/>
                    <a:pt x="7423" y="3508"/>
                    <a:pt x="7423" y="3479"/>
                  </a:cubicBezTo>
                  <a:cubicBezTo>
                    <a:pt x="7423" y="3461"/>
                    <a:pt x="7426" y="3450"/>
                    <a:pt x="7426" y="3449"/>
                  </a:cubicBezTo>
                  <a:cubicBezTo>
                    <a:pt x="7727" y="2088"/>
                    <a:pt x="7727" y="2088"/>
                    <a:pt x="7727" y="2088"/>
                  </a:cubicBezTo>
                  <a:cubicBezTo>
                    <a:pt x="7727" y="2077"/>
                    <a:pt x="7727" y="2077"/>
                    <a:pt x="7727" y="2077"/>
                  </a:cubicBezTo>
                  <a:cubicBezTo>
                    <a:pt x="7714" y="2076"/>
                    <a:pt x="7702" y="2076"/>
                    <a:pt x="7694" y="2075"/>
                  </a:cubicBezTo>
                  <a:cubicBezTo>
                    <a:pt x="7688" y="2075"/>
                    <a:pt x="7683" y="2075"/>
                    <a:pt x="7680" y="2075"/>
                  </a:cubicBezTo>
                  <a:cubicBezTo>
                    <a:pt x="7679" y="2075"/>
                    <a:pt x="7677" y="2075"/>
                    <a:pt x="7676" y="2075"/>
                  </a:cubicBezTo>
                  <a:cubicBezTo>
                    <a:pt x="7676" y="2075"/>
                    <a:pt x="7675" y="2075"/>
                    <a:pt x="7674" y="2075"/>
                  </a:cubicBezTo>
                  <a:cubicBezTo>
                    <a:pt x="7674" y="2075"/>
                    <a:pt x="7674" y="2075"/>
                    <a:pt x="7673" y="2074"/>
                  </a:cubicBezTo>
                  <a:cubicBezTo>
                    <a:pt x="7635" y="2073"/>
                    <a:pt x="7276" y="2060"/>
                    <a:pt x="6875" y="2046"/>
                  </a:cubicBezTo>
                  <a:cubicBezTo>
                    <a:pt x="6874" y="2048"/>
                    <a:pt x="6873" y="2051"/>
                    <a:pt x="6872" y="2053"/>
                  </a:cubicBezTo>
                  <a:cubicBezTo>
                    <a:pt x="6329" y="3600"/>
                    <a:pt x="6329" y="3600"/>
                    <a:pt x="6329" y="3600"/>
                  </a:cubicBezTo>
                  <a:cubicBezTo>
                    <a:pt x="6301" y="3600"/>
                    <a:pt x="6301" y="3600"/>
                    <a:pt x="6301" y="3600"/>
                  </a:cubicBezTo>
                  <a:cubicBezTo>
                    <a:pt x="6843" y="2057"/>
                    <a:pt x="6843" y="2057"/>
                    <a:pt x="6843" y="2057"/>
                  </a:cubicBezTo>
                  <a:cubicBezTo>
                    <a:pt x="6842" y="2045"/>
                    <a:pt x="6842" y="2045"/>
                    <a:pt x="6842" y="2045"/>
                  </a:cubicBezTo>
                  <a:cubicBezTo>
                    <a:pt x="6358" y="2027"/>
                    <a:pt x="5825" y="2008"/>
                    <a:pt x="5722" y="2005"/>
                  </a:cubicBezTo>
                  <a:cubicBezTo>
                    <a:pt x="5721" y="2008"/>
                    <a:pt x="5720" y="2011"/>
                    <a:pt x="5720" y="2014"/>
                  </a:cubicBezTo>
                  <a:cubicBezTo>
                    <a:pt x="5565" y="3540"/>
                    <a:pt x="5565" y="3540"/>
                    <a:pt x="5565" y="3540"/>
                  </a:cubicBezTo>
                  <a:cubicBezTo>
                    <a:pt x="5572" y="3542"/>
                    <a:pt x="5572" y="3542"/>
                    <a:pt x="5572" y="3542"/>
                  </a:cubicBezTo>
                  <a:cubicBezTo>
                    <a:pt x="5619" y="3551"/>
                    <a:pt x="5778" y="3573"/>
                    <a:pt x="5931" y="3594"/>
                  </a:cubicBezTo>
                  <a:cubicBezTo>
                    <a:pt x="5945" y="3596"/>
                    <a:pt x="5959" y="3598"/>
                    <a:pt x="5973" y="3600"/>
                  </a:cubicBezTo>
                  <a:cubicBezTo>
                    <a:pt x="5783" y="3600"/>
                    <a:pt x="5783" y="3600"/>
                    <a:pt x="5783" y="3600"/>
                  </a:cubicBezTo>
                  <a:cubicBezTo>
                    <a:pt x="5742" y="3595"/>
                    <a:pt x="5704" y="3589"/>
                    <a:pt x="5672" y="3584"/>
                  </a:cubicBezTo>
                  <a:cubicBezTo>
                    <a:pt x="5637" y="3579"/>
                    <a:pt x="5608" y="3575"/>
                    <a:pt x="5587" y="3572"/>
                  </a:cubicBezTo>
                  <a:cubicBezTo>
                    <a:pt x="5580" y="3570"/>
                    <a:pt x="5573" y="3569"/>
                    <a:pt x="5568" y="3568"/>
                  </a:cubicBezTo>
                  <a:cubicBezTo>
                    <a:pt x="5562" y="3568"/>
                    <a:pt x="5562" y="3568"/>
                    <a:pt x="5562" y="3568"/>
                  </a:cubicBezTo>
                  <a:cubicBezTo>
                    <a:pt x="5558" y="3600"/>
                    <a:pt x="5558" y="3600"/>
                    <a:pt x="5558" y="3600"/>
                  </a:cubicBezTo>
                  <a:cubicBezTo>
                    <a:pt x="5522" y="3600"/>
                    <a:pt x="5522" y="3600"/>
                    <a:pt x="5522" y="3600"/>
                  </a:cubicBezTo>
                  <a:cubicBezTo>
                    <a:pt x="5682" y="2029"/>
                    <a:pt x="5682" y="2029"/>
                    <a:pt x="5682" y="2029"/>
                  </a:cubicBezTo>
                  <a:cubicBezTo>
                    <a:pt x="5681" y="2029"/>
                    <a:pt x="5681" y="2029"/>
                    <a:pt x="5681" y="2029"/>
                  </a:cubicBezTo>
                  <a:cubicBezTo>
                    <a:pt x="5680" y="2002"/>
                    <a:pt x="5680" y="2002"/>
                    <a:pt x="5680" y="2002"/>
                  </a:cubicBezTo>
                  <a:cubicBezTo>
                    <a:pt x="5677" y="1998"/>
                    <a:pt x="5677" y="1998"/>
                    <a:pt x="5677" y="1998"/>
                  </a:cubicBezTo>
                  <a:cubicBezTo>
                    <a:pt x="5659" y="1994"/>
                    <a:pt x="5626" y="1986"/>
                    <a:pt x="5585" y="1977"/>
                  </a:cubicBezTo>
                  <a:cubicBezTo>
                    <a:pt x="5453" y="1947"/>
                    <a:pt x="5234" y="1898"/>
                    <a:pt x="5125" y="1873"/>
                  </a:cubicBezTo>
                  <a:cubicBezTo>
                    <a:pt x="5102" y="2051"/>
                    <a:pt x="5011" y="2777"/>
                    <a:pt x="4906" y="3600"/>
                  </a:cubicBezTo>
                  <a:cubicBezTo>
                    <a:pt x="4790" y="3600"/>
                    <a:pt x="4790" y="3600"/>
                    <a:pt x="4790" y="3600"/>
                  </a:cubicBezTo>
                  <a:cubicBezTo>
                    <a:pt x="4845" y="3168"/>
                    <a:pt x="4897" y="2762"/>
                    <a:pt x="4937" y="2447"/>
                  </a:cubicBezTo>
                  <a:cubicBezTo>
                    <a:pt x="4972" y="2170"/>
                    <a:pt x="4998" y="1965"/>
                    <a:pt x="5009" y="1872"/>
                  </a:cubicBezTo>
                  <a:cubicBezTo>
                    <a:pt x="4906" y="1891"/>
                    <a:pt x="4906" y="1891"/>
                    <a:pt x="4906" y="1891"/>
                  </a:cubicBezTo>
                  <a:cubicBezTo>
                    <a:pt x="4688" y="3600"/>
                    <a:pt x="4688" y="3600"/>
                    <a:pt x="4688" y="3600"/>
                  </a:cubicBezTo>
                  <a:cubicBezTo>
                    <a:pt x="4573" y="3600"/>
                    <a:pt x="4573" y="3600"/>
                    <a:pt x="4573" y="3600"/>
                  </a:cubicBezTo>
                  <a:cubicBezTo>
                    <a:pt x="4641" y="3064"/>
                    <a:pt x="4641" y="3064"/>
                    <a:pt x="4641" y="3064"/>
                  </a:cubicBezTo>
                  <a:cubicBezTo>
                    <a:pt x="4637" y="3062"/>
                    <a:pt x="4633" y="3058"/>
                    <a:pt x="4629" y="3055"/>
                  </a:cubicBezTo>
                  <a:cubicBezTo>
                    <a:pt x="4616" y="3049"/>
                    <a:pt x="4598" y="3040"/>
                    <a:pt x="4575" y="3029"/>
                  </a:cubicBezTo>
                  <a:cubicBezTo>
                    <a:pt x="4436" y="2964"/>
                    <a:pt x="4124" y="2833"/>
                    <a:pt x="3859" y="2834"/>
                  </a:cubicBezTo>
                  <a:cubicBezTo>
                    <a:pt x="3845" y="2834"/>
                    <a:pt x="3831" y="2834"/>
                    <a:pt x="3817" y="2835"/>
                  </a:cubicBezTo>
                  <a:cubicBezTo>
                    <a:pt x="3634" y="2845"/>
                    <a:pt x="3507" y="2855"/>
                    <a:pt x="3427" y="2863"/>
                  </a:cubicBezTo>
                  <a:cubicBezTo>
                    <a:pt x="3347" y="2870"/>
                    <a:pt x="3313" y="2875"/>
                    <a:pt x="3313" y="2875"/>
                  </a:cubicBezTo>
                  <a:cubicBezTo>
                    <a:pt x="3307" y="2840"/>
                    <a:pt x="3307" y="2840"/>
                    <a:pt x="3307" y="2840"/>
                  </a:cubicBezTo>
                  <a:cubicBezTo>
                    <a:pt x="3308" y="2840"/>
                    <a:pt x="3447" y="2819"/>
                    <a:pt x="3815" y="2799"/>
                  </a:cubicBezTo>
                  <a:cubicBezTo>
                    <a:pt x="3823" y="2798"/>
                    <a:pt x="3831" y="2798"/>
                    <a:pt x="3839" y="2798"/>
                  </a:cubicBezTo>
                  <a:cubicBezTo>
                    <a:pt x="3750" y="2400"/>
                    <a:pt x="3750" y="2400"/>
                    <a:pt x="3750" y="2400"/>
                  </a:cubicBezTo>
                  <a:cubicBezTo>
                    <a:pt x="3670" y="2413"/>
                    <a:pt x="3602" y="2416"/>
                    <a:pt x="3487" y="2427"/>
                  </a:cubicBezTo>
                  <a:cubicBezTo>
                    <a:pt x="3346" y="2440"/>
                    <a:pt x="3188" y="2453"/>
                    <a:pt x="3065" y="2463"/>
                  </a:cubicBezTo>
                  <a:cubicBezTo>
                    <a:pt x="3003" y="2468"/>
                    <a:pt x="2951" y="2472"/>
                    <a:pt x="2913" y="2475"/>
                  </a:cubicBezTo>
                  <a:cubicBezTo>
                    <a:pt x="2898" y="2476"/>
                    <a:pt x="2885" y="2477"/>
                    <a:pt x="2876" y="2478"/>
                  </a:cubicBezTo>
                  <a:cubicBezTo>
                    <a:pt x="3113" y="3600"/>
                    <a:pt x="3113" y="3600"/>
                    <a:pt x="3113" y="3600"/>
                  </a:cubicBezTo>
                  <a:cubicBezTo>
                    <a:pt x="3076" y="3600"/>
                    <a:pt x="3076" y="3600"/>
                    <a:pt x="3076" y="3600"/>
                  </a:cubicBezTo>
                  <a:cubicBezTo>
                    <a:pt x="3066" y="3554"/>
                    <a:pt x="3066" y="3554"/>
                    <a:pt x="3066" y="3554"/>
                  </a:cubicBezTo>
                  <a:cubicBezTo>
                    <a:pt x="3063" y="3554"/>
                    <a:pt x="3063" y="3554"/>
                    <a:pt x="3063" y="3554"/>
                  </a:cubicBezTo>
                  <a:cubicBezTo>
                    <a:pt x="2190" y="3600"/>
                    <a:pt x="2190" y="3600"/>
                    <a:pt x="2190" y="3600"/>
                  </a:cubicBezTo>
                  <a:cubicBezTo>
                    <a:pt x="1699" y="3600"/>
                    <a:pt x="1699" y="3600"/>
                    <a:pt x="1699" y="3600"/>
                  </a:cubicBezTo>
                  <a:cubicBezTo>
                    <a:pt x="3042" y="3528"/>
                    <a:pt x="3042" y="3528"/>
                    <a:pt x="3042" y="3528"/>
                  </a:cubicBezTo>
                  <a:cubicBezTo>
                    <a:pt x="3060" y="3525"/>
                    <a:pt x="3060" y="3525"/>
                    <a:pt x="3060" y="3525"/>
                  </a:cubicBezTo>
                  <a:cubicBezTo>
                    <a:pt x="2837" y="2471"/>
                    <a:pt x="2837" y="2471"/>
                    <a:pt x="2837" y="2471"/>
                  </a:cubicBezTo>
                  <a:cubicBezTo>
                    <a:pt x="2836" y="2469"/>
                    <a:pt x="2835" y="2466"/>
                    <a:pt x="2835" y="2462"/>
                  </a:cubicBezTo>
                  <a:cubicBezTo>
                    <a:pt x="2835" y="2461"/>
                    <a:pt x="2835" y="2460"/>
                    <a:pt x="2835" y="2459"/>
                  </a:cubicBezTo>
                  <a:cubicBezTo>
                    <a:pt x="2727" y="1946"/>
                    <a:pt x="2727" y="1946"/>
                    <a:pt x="2727" y="1946"/>
                  </a:cubicBezTo>
                  <a:cubicBezTo>
                    <a:pt x="2656" y="1950"/>
                    <a:pt x="2588" y="1951"/>
                    <a:pt x="2548" y="1953"/>
                  </a:cubicBezTo>
                  <a:cubicBezTo>
                    <a:pt x="2542" y="1954"/>
                    <a:pt x="2536" y="1954"/>
                    <a:pt x="2531" y="1954"/>
                  </a:cubicBezTo>
                  <a:cubicBezTo>
                    <a:pt x="2530" y="1954"/>
                    <a:pt x="2530" y="1954"/>
                    <a:pt x="2530" y="1954"/>
                  </a:cubicBezTo>
                  <a:cubicBezTo>
                    <a:pt x="2449" y="1954"/>
                    <a:pt x="2382" y="1924"/>
                    <a:pt x="2355" y="1865"/>
                  </a:cubicBezTo>
                  <a:cubicBezTo>
                    <a:pt x="2344" y="1841"/>
                    <a:pt x="2334" y="1798"/>
                    <a:pt x="2325" y="1752"/>
                  </a:cubicBezTo>
                  <a:cubicBezTo>
                    <a:pt x="766" y="2146"/>
                    <a:pt x="766" y="2146"/>
                    <a:pt x="766" y="2146"/>
                  </a:cubicBezTo>
                  <a:cubicBezTo>
                    <a:pt x="943" y="2534"/>
                    <a:pt x="1156" y="3005"/>
                    <a:pt x="1175" y="3052"/>
                  </a:cubicBezTo>
                  <a:cubicBezTo>
                    <a:pt x="1197" y="3107"/>
                    <a:pt x="1269" y="3369"/>
                    <a:pt x="1322" y="3600"/>
                  </a:cubicBezTo>
                  <a:cubicBezTo>
                    <a:pt x="1285" y="3600"/>
                    <a:pt x="1285" y="3600"/>
                    <a:pt x="1285" y="3600"/>
                  </a:cubicBezTo>
                  <a:cubicBezTo>
                    <a:pt x="1232" y="3372"/>
                    <a:pt x="1162" y="3115"/>
                    <a:pt x="1142" y="3065"/>
                  </a:cubicBezTo>
                  <a:cubicBezTo>
                    <a:pt x="1126" y="3027"/>
                    <a:pt x="964" y="2669"/>
                    <a:pt x="807" y="2322"/>
                  </a:cubicBezTo>
                  <a:cubicBezTo>
                    <a:pt x="728" y="2149"/>
                    <a:pt x="650" y="1978"/>
                    <a:pt x="592" y="1850"/>
                  </a:cubicBezTo>
                  <a:cubicBezTo>
                    <a:pt x="554" y="1766"/>
                    <a:pt x="524" y="1702"/>
                    <a:pt x="509" y="1667"/>
                  </a:cubicBezTo>
                  <a:cubicBezTo>
                    <a:pt x="498" y="1655"/>
                    <a:pt x="498" y="1655"/>
                    <a:pt x="498" y="1655"/>
                  </a:cubicBezTo>
                  <a:cubicBezTo>
                    <a:pt x="437" y="1682"/>
                    <a:pt x="398" y="1701"/>
                    <a:pt x="398" y="1701"/>
                  </a:cubicBezTo>
                  <a:cubicBezTo>
                    <a:pt x="398" y="1700"/>
                    <a:pt x="264" y="1765"/>
                    <a:pt x="61" y="1862"/>
                  </a:cubicBezTo>
                  <a:cubicBezTo>
                    <a:pt x="41" y="1872"/>
                    <a:pt x="21" y="1882"/>
                    <a:pt x="0" y="1892"/>
                  </a:cubicBezTo>
                  <a:cubicBezTo>
                    <a:pt x="0" y="1764"/>
                    <a:pt x="0" y="1764"/>
                    <a:pt x="0" y="1764"/>
                  </a:cubicBezTo>
                  <a:cubicBezTo>
                    <a:pt x="209" y="1664"/>
                    <a:pt x="348" y="1597"/>
                    <a:pt x="349" y="1597"/>
                  </a:cubicBezTo>
                  <a:cubicBezTo>
                    <a:pt x="350" y="1596"/>
                    <a:pt x="688" y="1439"/>
                    <a:pt x="924" y="1346"/>
                  </a:cubicBezTo>
                  <a:cubicBezTo>
                    <a:pt x="1041" y="1300"/>
                    <a:pt x="1268" y="1213"/>
                    <a:pt x="1479" y="1127"/>
                  </a:cubicBezTo>
                  <a:cubicBezTo>
                    <a:pt x="1585" y="1083"/>
                    <a:pt x="1686" y="1041"/>
                    <a:pt x="1768" y="1004"/>
                  </a:cubicBezTo>
                  <a:cubicBezTo>
                    <a:pt x="1849" y="968"/>
                    <a:pt x="1912" y="935"/>
                    <a:pt x="1930" y="921"/>
                  </a:cubicBezTo>
                  <a:cubicBezTo>
                    <a:pt x="1950" y="907"/>
                    <a:pt x="1995" y="859"/>
                    <a:pt x="2046" y="801"/>
                  </a:cubicBezTo>
                  <a:cubicBezTo>
                    <a:pt x="2122" y="713"/>
                    <a:pt x="2215" y="596"/>
                    <a:pt x="2289" y="502"/>
                  </a:cubicBezTo>
                  <a:cubicBezTo>
                    <a:pt x="2339" y="438"/>
                    <a:pt x="2379" y="385"/>
                    <a:pt x="2400" y="357"/>
                  </a:cubicBezTo>
                  <a:cubicBezTo>
                    <a:pt x="2400" y="357"/>
                    <a:pt x="2400" y="357"/>
                    <a:pt x="2400" y="357"/>
                  </a:cubicBezTo>
                  <a:cubicBezTo>
                    <a:pt x="2400" y="357"/>
                    <a:pt x="2402" y="355"/>
                    <a:pt x="2405" y="352"/>
                  </a:cubicBezTo>
                  <a:cubicBezTo>
                    <a:pt x="2408" y="347"/>
                    <a:pt x="2411" y="343"/>
                    <a:pt x="2413" y="340"/>
                  </a:cubicBezTo>
                  <a:cubicBezTo>
                    <a:pt x="2388" y="317"/>
                    <a:pt x="2366" y="291"/>
                    <a:pt x="2348" y="261"/>
                  </a:cubicBezTo>
                  <a:cubicBezTo>
                    <a:pt x="2346" y="261"/>
                    <a:pt x="2343" y="261"/>
                    <a:pt x="2340" y="260"/>
                  </a:cubicBezTo>
                  <a:cubicBezTo>
                    <a:pt x="2339" y="262"/>
                    <a:pt x="2339" y="262"/>
                    <a:pt x="2339" y="262"/>
                  </a:cubicBezTo>
                  <a:cubicBezTo>
                    <a:pt x="2335" y="261"/>
                    <a:pt x="1811" y="184"/>
                    <a:pt x="1626" y="141"/>
                  </a:cubicBezTo>
                  <a:cubicBezTo>
                    <a:pt x="1496" y="110"/>
                    <a:pt x="1396" y="59"/>
                    <a:pt x="1295" y="0"/>
                  </a:cubicBezTo>
                  <a:cubicBezTo>
                    <a:pt x="1558" y="0"/>
                    <a:pt x="1558" y="0"/>
                    <a:pt x="1558" y="0"/>
                  </a:cubicBezTo>
                  <a:cubicBezTo>
                    <a:pt x="1588" y="11"/>
                    <a:pt x="1619" y="21"/>
                    <a:pt x="1652" y="29"/>
                  </a:cubicBezTo>
                  <a:cubicBezTo>
                    <a:pt x="1738" y="49"/>
                    <a:pt x="1916" y="80"/>
                    <a:pt x="2070" y="104"/>
                  </a:cubicBezTo>
                  <a:cubicBezTo>
                    <a:pt x="2154" y="118"/>
                    <a:pt x="2231" y="129"/>
                    <a:pt x="2284" y="137"/>
                  </a:cubicBezTo>
                  <a:cubicBezTo>
                    <a:pt x="2286" y="138"/>
                    <a:pt x="2295" y="139"/>
                    <a:pt x="2303" y="140"/>
                  </a:cubicBezTo>
                  <a:cubicBezTo>
                    <a:pt x="2300" y="121"/>
                    <a:pt x="2298" y="103"/>
                    <a:pt x="2298" y="83"/>
                  </a:cubicBezTo>
                  <a:cubicBezTo>
                    <a:pt x="2298" y="55"/>
                    <a:pt x="2302" y="27"/>
                    <a:pt x="2309" y="0"/>
                  </a:cubicBezTo>
                  <a:cubicBezTo>
                    <a:pt x="2435" y="0"/>
                    <a:pt x="2435" y="0"/>
                    <a:pt x="2435" y="0"/>
                  </a:cubicBezTo>
                  <a:cubicBezTo>
                    <a:pt x="2424" y="26"/>
                    <a:pt x="2419" y="54"/>
                    <a:pt x="2419" y="83"/>
                  </a:cubicBezTo>
                  <a:cubicBezTo>
                    <a:pt x="2419" y="207"/>
                    <a:pt x="2519" y="308"/>
                    <a:pt x="2644" y="308"/>
                  </a:cubicBezTo>
                  <a:cubicBezTo>
                    <a:pt x="2768" y="308"/>
                    <a:pt x="2869" y="207"/>
                    <a:pt x="2869" y="83"/>
                  </a:cubicBezTo>
                  <a:cubicBezTo>
                    <a:pt x="2869" y="54"/>
                    <a:pt x="2863" y="26"/>
                    <a:pt x="2853" y="0"/>
                  </a:cubicBezTo>
                  <a:cubicBezTo>
                    <a:pt x="2979" y="0"/>
                    <a:pt x="2979" y="0"/>
                    <a:pt x="2979" y="0"/>
                  </a:cubicBezTo>
                  <a:cubicBezTo>
                    <a:pt x="2985" y="27"/>
                    <a:pt x="2989" y="55"/>
                    <a:pt x="2989" y="83"/>
                  </a:cubicBezTo>
                  <a:cubicBezTo>
                    <a:pt x="2989" y="88"/>
                    <a:pt x="2989" y="93"/>
                    <a:pt x="2988" y="98"/>
                  </a:cubicBezTo>
                  <a:cubicBezTo>
                    <a:pt x="2991" y="99"/>
                    <a:pt x="2994" y="101"/>
                    <a:pt x="2996" y="102"/>
                  </a:cubicBezTo>
                  <a:cubicBezTo>
                    <a:pt x="2996" y="102"/>
                    <a:pt x="2996" y="102"/>
                    <a:pt x="2996" y="102"/>
                  </a:cubicBezTo>
                  <a:cubicBezTo>
                    <a:pt x="2996" y="102"/>
                    <a:pt x="2996" y="102"/>
                    <a:pt x="2996" y="102"/>
                  </a:cubicBezTo>
                  <a:cubicBezTo>
                    <a:pt x="2996" y="102"/>
                    <a:pt x="2997" y="103"/>
                    <a:pt x="2998" y="103"/>
                  </a:cubicBezTo>
                  <a:cubicBezTo>
                    <a:pt x="3004" y="106"/>
                    <a:pt x="3009" y="109"/>
                    <a:pt x="3008" y="108"/>
                  </a:cubicBezTo>
                  <a:cubicBezTo>
                    <a:pt x="3008" y="108"/>
                    <a:pt x="3009" y="109"/>
                    <a:pt x="3009" y="109"/>
                  </a:cubicBezTo>
                  <a:cubicBezTo>
                    <a:pt x="3045" y="129"/>
                    <a:pt x="3153" y="189"/>
                    <a:pt x="3270" y="260"/>
                  </a:cubicBezTo>
                  <a:cubicBezTo>
                    <a:pt x="3341" y="304"/>
                    <a:pt x="3416" y="353"/>
                    <a:pt x="3479" y="399"/>
                  </a:cubicBezTo>
                  <a:cubicBezTo>
                    <a:pt x="3542" y="447"/>
                    <a:pt x="3594" y="490"/>
                    <a:pt x="3625" y="536"/>
                  </a:cubicBezTo>
                  <a:cubicBezTo>
                    <a:pt x="3716" y="677"/>
                    <a:pt x="3736" y="893"/>
                    <a:pt x="3737" y="1000"/>
                  </a:cubicBezTo>
                  <a:cubicBezTo>
                    <a:pt x="3737" y="1013"/>
                    <a:pt x="3737" y="1025"/>
                    <a:pt x="3736" y="1036"/>
                  </a:cubicBezTo>
                  <a:cubicBezTo>
                    <a:pt x="3730" y="1103"/>
                    <a:pt x="3721" y="1280"/>
                    <a:pt x="3719" y="1330"/>
                  </a:cubicBezTo>
                  <a:cubicBezTo>
                    <a:pt x="3742" y="1386"/>
                    <a:pt x="3765" y="1440"/>
                    <a:pt x="3785" y="1486"/>
                  </a:cubicBezTo>
                  <a:cubicBezTo>
                    <a:pt x="3809" y="1542"/>
                    <a:pt x="3830" y="1587"/>
                    <a:pt x="3839" y="1602"/>
                  </a:cubicBezTo>
                  <a:cubicBezTo>
                    <a:pt x="3862" y="1641"/>
                    <a:pt x="3889" y="1687"/>
                    <a:pt x="3917" y="1726"/>
                  </a:cubicBezTo>
                  <a:cubicBezTo>
                    <a:pt x="3944" y="1764"/>
                    <a:pt x="3975" y="1795"/>
                    <a:pt x="3988" y="1801"/>
                  </a:cubicBezTo>
                  <a:cubicBezTo>
                    <a:pt x="3997" y="1806"/>
                    <a:pt x="4022" y="1813"/>
                    <a:pt x="4050" y="1816"/>
                  </a:cubicBezTo>
                  <a:cubicBezTo>
                    <a:pt x="4079" y="1820"/>
                    <a:pt x="4113" y="1822"/>
                    <a:pt x="4144" y="1822"/>
                  </a:cubicBezTo>
                  <a:cubicBezTo>
                    <a:pt x="4167" y="1822"/>
                    <a:pt x="4189" y="1821"/>
                    <a:pt x="4208" y="1820"/>
                  </a:cubicBezTo>
                  <a:cubicBezTo>
                    <a:pt x="4210" y="1816"/>
                    <a:pt x="4211" y="1812"/>
                    <a:pt x="4213" y="1809"/>
                  </a:cubicBezTo>
                  <a:cubicBezTo>
                    <a:pt x="4576" y="733"/>
                    <a:pt x="4576" y="733"/>
                    <a:pt x="4576" y="733"/>
                  </a:cubicBezTo>
                  <a:cubicBezTo>
                    <a:pt x="4257" y="140"/>
                    <a:pt x="4257" y="140"/>
                    <a:pt x="4257" y="140"/>
                  </a:cubicBezTo>
                  <a:cubicBezTo>
                    <a:pt x="4271" y="0"/>
                    <a:pt x="4271" y="0"/>
                    <a:pt x="4271" y="0"/>
                  </a:cubicBezTo>
                  <a:cubicBezTo>
                    <a:pt x="4297" y="0"/>
                    <a:pt x="4297" y="0"/>
                    <a:pt x="4297" y="0"/>
                  </a:cubicBezTo>
                  <a:cubicBezTo>
                    <a:pt x="4284" y="134"/>
                    <a:pt x="4284" y="134"/>
                    <a:pt x="4284" y="134"/>
                  </a:cubicBezTo>
                  <a:cubicBezTo>
                    <a:pt x="4600" y="722"/>
                    <a:pt x="4600" y="722"/>
                    <a:pt x="4600" y="722"/>
                  </a:cubicBezTo>
                  <a:cubicBezTo>
                    <a:pt x="5081" y="1038"/>
                    <a:pt x="5081" y="1038"/>
                    <a:pt x="5081" y="1038"/>
                  </a:cubicBezTo>
                  <a:cubicBezTo>
                    <a:pt x="5086" y="1039"/>
                    <a:pt x="5092" y="1040"/>
                    <a:pt x="5097" y="1041"/>
                  </a:cubicBezTo>
                  <a:cubicBezTo>
                    <a:pt x="5030" y="459"/>
                    <a:pt x="5030" y="459"/>
                    <a:pt x="5030" y="459"/>
                  </a:cubicBezTo>
                  <a:cubicBezTo>
                    <a:pt x="5030" y="457"/>
                    <a:pt x="5030" y="457"/>
                    <a:pt x="5030" y="457"/>
                  </a:cubicBezTo>
                  <a:cubicBezTo>
                    <a:pt x="5030" y="457"/>
                    <a:pt x="5039" y="245"/>
                    <a:pt x="5043" y="0"/>
                  </a:cubicBezTo>
                  <a:cubicBezTo>
                    <a:pt x="5079" y="0"/>
                    <a:pt x="5079" y="0"/>
                    <a:pt x="5079" y="0"/>
                  </a:cubicBezTo>
                  <a:cubicBezTo>
                    <a:pt x="5078" y="53"/>
                    <a:pt x="5077" y="104"/>
                    <a:pt x="5076" y="152"/>
                  </a:cubicBezTo>
                  <a:cubicBezTo>
                    <a:pt x="5077" y="147"/>
                    <a:pt x="5077" y="147"/>
                    <a:pt x="5077" y="147"/>
                  </a:cubicBezTo>
                  <a:cubicBezTo>
                    <a:pt x="5077" y="147"/>
                    <a:pt x="5077" y="147"/>
                    <a:pt x="5077" y="147"/>
                  </a:cubicBezTo>
                  <a:cubicBezTo>
                    <a:pt x="5078" y="147"/>
                    <a:pt x="5283" y="202"/>
                    <a:pt x="5508" y="261"/>
                  </a:cubicBezTo>
                  <a:cubicBezTo>
                    <a:pt x="5732" y="320"/>
                    <a:pt x="5975" y="384"/>
                    <a:pt x="6048" y="400"/>
                  </a:cubicBezTo>
                  <a:cubicBezTo>
                    <a:pt x="6147" y="422"/>
                    <a:pt x="6256" y="456"/>
                    <a:pt x="6411" y="456"/>
                  </a:cubicBezTo>
                  <a:cubicBezTo>
                    <a:pt x="6485" y="456"/>
                    <a:pt x="6570" y="447"/>
                    <a:pt x="6668" y="427"/>
                  </a:cubicBezTo>
                  <a:cubicBezTo>
                    <a:pt x="6675" y="382"/>
                    <a:pt x="6702" y="222"/>
                    <a:pt x="6728" y="61"/>
                  </a:cubicBezTo>
                  <a:cubicBezTo>
                    <a:pt x="6732" y="41"/>
                    <a:pt x="6735" y="20"/>
                    <a:pt x="6738" y="0"/>
                  </a:cubicBezTo>
                  <a:cubicBezTo>
                    <a:pt x="6775" y="0"/>
                    <a:pt x="6775" y="0"/>
                    <a:pt x="6775" y="0"/>
                  </a:cubicBezTo>
                  <a:cubicBezTo>
                    <a:pt x="6770" y="27"/>
                    <a:pt x="6766" y="53"/>
                    <a:pt x="6762" y="80"/>
                  </a:cubicBezTo>
                  <a:cubicBezTo>
                    <a:pt x="6734" y="248"/>
                    <a:pt x="6707" y="411"/>
                    <a:pt x="6703" y="440"/>
                  </a:cubicBezTo>
                  <a:cubicBezTo>
                    <a:pt x="7225" y="1931"/>
                    <a:pt x="7225" y="1931"/>
                    <a:pt x="7225" y="1931"/>
                  </a:cubicBezTo>
                  <a:cubicBezTo>
                    <a:pt x="7232" y="1944"/>
                    <a:pt x="7232" y="1944"/>
                    <a:pt x="7232" y="1944"/>
                  </a:cubicBezTo>
                  <a:cubicBezTo>
                    <a:pt x="7282" y="1945"/>
                    <a:pt x="7329" y="1947"/>
                    <a:pt x="7372" y="1949"/>
                  </a:cubicBezTo>
                  <a:cubicBezTo>
                    <a:pt x="7557" y="1955"/>
                    <a:pt x="7680" y="1960"/>
                    <a:pt x="7680" y="1960"/>
                  </a:cubicBezTo>
                  <a:cubicBezTo>
                    <a:pt x="7681" y="1960"/>
                    <a:pt x="7682" y="1960"/>
                    <a:pt x="7683" y="1960"/>
                  </a:cubicBezTo>
                  <a:cubicBezTo>
                    <a:pt x="7692" y="1960"/>
                    <a:pt x="7725" y="1962"/>
                    <a:pt x="7765" y="1964"/>
                  </a:cubicBezTo>
                  <a:cubicBezTo>
                    <a:pt x="7771" y="1953"/>
                    <a:pt x="7771" y="1953"/>
                    <a:pt x="7771" y="1953"/>
                  </a:cubicBezTo>
                  <a:cubicBezTo>
                    <a:pt x="7862" y="1705"/>
                    <a:pt x="7862" y="1705"/>
                    <a:pt x="7862" y="1705"/>
                  </a:cubicBezTo>
                  <a:cubicBezTo>
                    <a:pt x="7785" y="998"/>
                    <a:pt x="7785" y="998"/>
                    <a:pt x="7785" y="998"/>
                  </a:cubicBezTo>
                  <a:cubicBezTo>
                    <a:pt x="7771" y="970"/>
                    <a:pt x="7658" y="745"/>
                    <a:pt x="7570" y="526"/>
                  </a:cubicBezTo>
                  <a:cubicBezTo>
                    <a:pt x="7530" y="427"/>
                    <a:pt x="7518" y="341"/>
                    <a:pt x="7518" y="275"/>
                  </a:cubicBezTo>
                  <a:cubicBezTo>
                    <a:pt x="7518" y="184"/>
                    <a:pt x="7541" y="130"/>
                    <a:pt x="7541" y="129"/>
                  </a:cubicBezTo>
                  <a:cubicBezTo>
                    <a:pt x="7542" y="128"/>
                    <a:pt x="7542" y="128"/>
                    <a:pt x="7542" y="128"/>
                  </a:cubicBezTo>
                  <a:cubicBezTo>
                    <a:pt x="7612" y="0"/>
                    <a:pt x="7612" y="0"/>
                    <a:pt x="7612" y="0"/>
                  </a:cubicBezTo>
                  <a:cubicBezTo>
                    <a:pt x="7650" y="0"/>
                    <a:pt x="7650" y="0"/>
                    <a:pt x="7650" y="0"/>
                  </a:cubicBezTo>
                  <a:cubicBezTo>
                    <a:pt x="7653" y="0"/>
                    <a:pt x="7653" y="0"/>
                    <a:pt x="7653" y="0"/>
                  </a:cubicBezTo>
                  <a:cubicBezTo>
                    <a:pt x="7720" y="0"/>
                    <a:pt x="7720" y="0"/>
                    <a:pt x="7720" y="0"/>
                  </a:cubicBezTo>
                  <a:cubicBezTo>
                    <a:pt x="8894" y="698"/>
                    <a:pt x="8894" y="698"/>
                    <a:pt x="8894" y="698"/>
                  </a:cubicBezTo>
                  <a:cubicBezTo>
                    <a:pt x="8904" y="684"/>
                    <a:pt x="8920" y="662"/>
                    <a:pt x="8938" y="635"/>
                  </a:cubicBezTo>
                  <a:cubicBezTo>
                    <a:pt x="9020" y="513"/>
                    <a:pt x="9162" y="294"/>
                    <a:pt x="9163" y="293"/>
                  </a:cubicBezTo>
                  <a:cubicBezTo>
                    <a:pt x="9168" y="285"/>
                    <a:pt x="9168" y="285"/>
                    <a:pt x="9168" y="285"/>
                  </a:cubicBezTo>
                  <a:cubicBezTo>
                    <a:pt x="9201" y="285"/>
                    <a:pt x="9201" y="285"/>
                    <a:pt x="9201" y="285"/>
                  </a:cubicBezTo>
                  <a:cubicBezTo>
                    <a:pt x="9184" y="0"/>
                    <a:pt x="9184" y="0"/>
                    <a:pt x="9184" y="0"/>
                  </a:cubicBezTo>
                  <a:cubicBezTo>
                    <a:pt x="9220" y="0"/>
                    <a:pt x="9220" y="0"/>
                    <a:pt x="9220" y="0"/>
                  </a:cubicBezTo>
                  <a:cubicBezTo>
                    <a:pt x="9237" y="286"/>
                    <a:pt x="9237" y="286"/>
                    <a:pt x="9237" y="286"/>
                  </a:cubicBezTo>
                  <a:cubicBezTo>
                    <a:pt x="9235" y="286"/>
                    <a:pt x="9235" y="286"/>
                    <a:pt x="9235" y="286"/>
                  </a:cubicBezTo>
                  <a:cubicBezTo>
                    <a:pt x="10217" y="300"/>
                    <a:pt x="10217" y="300"/>
                    <a:pt x="10217" y="300"/>
                  </a:cubicBezTo>
                  <a:cubicBezTo>
                    <a:pt x="10217" y="299"/>
                    <a:pt x="10217" y="299"/>
                    <a:pt x="10217" y="299"/>
                  </a:cubicBezTo>
                  <a:cubicBezTo>
                    <a:pt x="10241" y="280"/>
                    <a:pt x="10341" y="188"/>
                    <a:pt x="10341" y="14"/>
                  </a:cubicBezTo>
                  <a:cubicBezTo>
                    <a:pt x="10341" y="10"/>
                    <a:pt x="10340" y="5"/>
                    <a:pt x="10340" y="0"/>
                  </a:cubicBezTo>
                  <a:cubicBezTo>
                    <a:pt x="10376" y="0"/>
                    <a:pt x="10376" y="0"/>
                    <a:pt x="10376" y="0"/>
                  </a:cubicBezTo>
                  <a:cubicBezTo>
                    <a:pt x="10376" y="5"/>
                    <a:pt x="10377" y="10"/>
                    <a:pt x="10377" y="14"/>
                  </a:cubicBezTo>
                  <a:cubicBezTo>
                    <a:pt x="10377" y="200"/>
                    <a:pt x="10273" y="300"/>
                    <a:pt x="10242" y="326"/>
                  </a:cubicBezTo>
                  <a:cubicBezTo>
                    <a:pt x="10246" y="361"/>
                    <a:pt x="10258" y="491"/>
                    <a:pt x="10271" y="621"/>
                  </a:cubicBezTo>
                  <a:cubicBezTo>
                    <a:pt x="10279" y="698"/>
                    <a:pt x="10287" y="775"/>
                    <a:pt x="10292" y="833"/>
                  </a:cubicBezTo>
                  <a:cubicBezTo>
                    <a:pt x="10295" y="862"/>
                    <a:pt x="10297" y="886"/>
                    <a:pt x="10299" y="903"/>
                  </a:cubicBezTo>
                  <a:cubicBezTo>
                    <a:pt x="10299" y="906"/>
                    <a:pt x="10300" y="909"/>
                    <a:pt x="10300" y="911"/>
                  </a:cubicBezTo>
                  <a:cubicBezTo>
                    <a:pt x="11917" y="622"/>
                    <a:pt x="11917" y="622"/>
                    <a:pt x="11917" y="622"/>
                  </a:cubicBezTo>
                  <a:cubicBezTo>
                    <a:pt x="11798" y="69"/>
                    <a:pt x="11798" y="69"/>
                    <a:pt x="11798" y="69"/>
                  </a:cubicBezTo>
                  <a:cubicBezTo>
                    <a:pt x="11787" y="61"/>
                    <a:pt x="11765" y="42"/>
                    <a:pt x="11734" y="0"/>
                  </a:cubicBezTo>
                  <a:cubicBezTo>
                    <a:pt x="11780" y="0"/>
                    <a:pt x="11780" y="0"/>
                    <a:pt x="11780" y="0"/>
                  </a:cubicBezTo>
                  <a:cubicBezTo>
                    <a:pt x="11781" y="2"/>
                    <a:pt x="11783" y="3"/>
                    <a:pt x="11784" y="5"/>
                  </a:cubicBezTo>
                  <a:cubicBezTo>
                    <a:pt x="11787" y="0"/>
                    <a:pt x="11787" y="0"/>
                    <a:pt x="11787" y="0"/>
                  </a:cubicBezTo>
                  <a:cubicBezTo>
                    <a:pt x="11831" y="0"/>
                    <a:pt x="11831" y="0"/>
                    <a:pt x="11831" y="0"/>
                  </a:cubicBezTo>
                  <a:cubicBezTo>
                    <a:pt x="11809" y="31"/>
                    <a:pt x="11809" y="31"/>
                    <a:pt x="11809" y="31"/>
                  </a:cubicBezTo>
                  <a:cubicBezTo>
                    <a:pt x="11811" y="33"/>
                    <a:pt x="11813" y="35"/>
                    <a:pt x="11814" y="36"/>
                  </a:cubicBezTo>
                  <a:cubicBezTo>
                    <a:pt x="11818" y="39"/>
                    <a:pt x="11820" y="41"/>
                    <a:pt x="11821" y="42"/>
                  </a:cubicBezTo>
                  <a:cubicBezTo>
                    <a:pt x="11822" y="42"/>
                    <a:pt x="11822" y="42"/>
                    <a:pt x="11823" y="42"/>
                  </a:cubicBezTo>
                  <a:cubicBezTo>
                    <a:pt x="11823" y="42"/>
                    <a:pt x="11823" y="42"/>
                    <a:pt x="11823" y="42"/>
                  </a:cubicBezTo>
                  <a:cubicBezTo>
                    <a:pt x="11830" y="46"/>
                    <a:pt x="11830" y="46"/>
                    <a:pt x="11830" y="46"/>
                  </a:cubicBezTo>
                  <a:cubicBezTo>
                    <a:pt x="11958" y="643"/>
                    <a:pt x="11958" y="643"/>
                    <a:pt x="11958" y="643"/>
                  </a:cubicBezTo>
                  <a:cubicBezTo>
                    <a:pt x="12153" y="1922"/>
                    <a:pt x="12153" y="1922"/>
                    <a:pt x="12153" y="1922"/>
                  </a:cubicBezTo>
                  <a:cubicBezTo>
                    <a:pt x="13147" y="2315"/>
                    <a:pt x="13147" y="2315"/>
                    <a:pt x="13147" y="2315"/>
                  </a:cubicBezTo>
                  <a:cubicBezTo>
                    <a:pt x="13842" y="315"/>
                    <a:pt x="13842" y="315"/>
                    <a:pt x="13842" y="315"/>
                  </a:cubicBezTo>
                  <a:cubicBezTo>
                    <a:pt x="13363" y="263"/>
                    <a:pt x="13363" y="263"/>
                    <a:pt x="13363" y="263"/>
                  </a:cubicBezTo>
                  <a:cubicBezTo>
                    <a:pt x="12894" y="0"/>
                    <a:pt x="12894" y="0"/>
                    <a:pt x="12894" y="0"/>
                  </a:cubicBezTo>
                  <a:cubicBezTo>
                    <a:pt x="12967" y="0"/>
                    <a:pt x="12967" y="0"/>
                    <a:pt x="12967" y="0"/>
                  </a:cubicBezTo>
                  <a:cubicBezTo>
                    <a:pt x="13374" y="228"/>
                    <a:pt x="13374" y="228"/>
                    <a:pt x="13374" y="228"/>
                  </a:cubicBezTo>
                  <a:cubicBezTo>
                    <a:pt x="13842" y="279"/>
                    <a:pt x="13842" y="279"/>
                    <a:pt x="13842" y="279"/>
                  </a:cubicBezTo>
                  <a:cubicBezTo>
                    <a:pt x="13852" y="280"/>
                    <a:pt x="13852" y="280"/>
                    <a:pt x="13852" y="280"/>
                  </a:cubicBezTo>
                  <a:cubicBezTo>
                    <a:pt x="13848" y="240"/>
                    <a:pt x="13838" y="139"/>
                    <a:pt x="13825" y="0"/>
                  </a:cubicBezTo>
                  <a:cubicBezTo>
                    <a:pt x="13941" y="0"/>
                    <a:pt x="13941" y="0"/>
                    <a:pt x="13941" y="0"/>
                  </a:cubicBezTo>
                  <a:cubicBezTo>
                    <a:pt x="13941" y="7"/>
                    <a:pt x="13942" y="14"/>
                    <a:pt x="13942" y="20"/>
                  </a:cubicBezTo>
                  <a:cubicBezTo>
                    <a:pt x="13958" y="184"/>
                    <a:pt x="13968" y="288"/>
                    <a:pt x="13968" y="288"/>
                  </a:cubicBezTo>
                  <a:cubicBezTo>
                    <a:pt x="13968" y="292"/>
                    <a:pt x="13968" y="292"/>
                    <a:pt x="13968" y="292"/>
                  </a:cubicBezTo>
                  <a:cubicBezTo>
                    <a:pt x="13970" y="292"/>
                    <a:pt x="13973" y="293"/>
                    <a:pt x="13975" y="294"/>
                  </a:cubicBezTo>
                  <a:cubicBezTo>
                    <a:pt x="14422" y="342"/>
                    <a:pt x="14422" y="342"/>
                    <a:pt x="14422" y="342"/>
                  </a:cubicBezTo>
                  <a:cubicBezTo>
                    <a:pt x="14423" y="342"/>
                    <a:pt x="14429" y="342"/>
                    <a:pt x="14434" y="347"/>
                  </a:cubicBezTo>
                  <a:cubicBezTo>
                    <a:pt x="14443" y="352"/>
                    <a:pt x="14481" y="372"/>
                    <a:pt x="14537" y="399"/>
                  </a:cubicBezTo>
                  <a:cubicBezTo>
                    <a:pt x="14660" y="460"/>
                    <a:pt x="14878" y="567"/>
                    <a:pt x="15126" y="694"/>
                  </a:cubicBezTo>
                  <a:cubicBezTo>
                    <a:pt x="15116" y="646"/>
                    <a:pt x="15066" y="458"/>
                    <a:pt x="15005" y="237"/>
                  </a:cubicBezTo>
                  <a:cubicBezTo>
                    <a:pt x="14984" y="161"/>
                    <a:pt x="14962" y="81"/>
                    <a:pt x="14940" y="0"/>
                  </a:cubicBezTo>
                  <a:cubicBezTo>
                    <a:pt x="14977" y="0"/>
                    <a:pt x="14977" y="0"/>
                    <a:pt x="14977" y="0"/>
                  </a:cubicBezTo>
                  <a:cubicBezTo>
                    <a:pt x="14998" y="77"/>
                    <a:pt x="15020" y="154"/>
                    <a:pt x="15040" y="227"/>
                  </a:cubicBezTo>
                  <a:cubicBezTo>
                    <a:pt x="15105" y="465"/>
                    <a:pt x="15158" y="658"/>
                    <a:pt x="15163" y="696"/>
                  </a:cubicBezTo>
                  <a:cubicBezTo>
                    <a:pt x="15138" y="700"/>
                    <a:pt x="15138" y="700"/>
                    <a:pt x="15138" y="700"/>
                  </a:cubicBezTo>
                  <a:cubicBezTo>
                    <a:pt x="15262" y="763"/>
                    <a:pt x="15394" y="831"/>
                    <a:pt x="15525" y="901"/>
                  </a:cubicBezTo>
                  <a:cubicBezTo>
                    <a:pt x="15765" y="1029"/>
                    <a:pt x="16004" y="1171"/>
                    <a:pt x="16193" y="1283"/>
                  </a:cubicBezTo>
                  <a:cubicBezTo>
                    <a:pt x="16825" y="1657"/>
                    <a:pt x="17295" y="2204"/>
                    <a:pt x="17296" y="2205"/>
                  </a:cubicBezTo>
                  <a:cubicBezTo>
                    <a:pt x="17331" y="2243"/>
                    <a:pt x="17374" y="2293"/>
                    <a:pt x="17429" y="2349"/>
                  </a:cubicBezTo>
                  <a:cubicBezTo>
                    <a:pt x="17495" y="2296"/>
                    <a:pt x="17655" y="2168"/>
                    <a:pt x="17832" y="2023"/>
                  </a:cubicBezTo>
                  <a:cubicBezTo>
                    <a:pt x="17889" y="1977"/>
                    <a:pt x="17947" y="1930"/>
                    <a:pt x="18004" y="1883"/>
                  </a:cubicBezTo>
                  <a:lnTo>
                    <a:pt x="18004" y="1930"/>
                  </a:lnTo>
                  <a:close/>
                  <a:moveTo>
                    <a:pt x="2922" y="287"/>
                  </a:moveTo>
                  <a:cubicBezTo>
                    <a:pt x="2941" y="297"/>
                    <a:pt x="2941" y="297"/>
                    <a:pt x="2941" y="297"/>
                  </a:cubicBezTo>
                  <a:cubicBezTo>
                    <a:pt x="2941" y="297"/>
                    <a:pt x="2941" y="297"/>
                    <a:pt x="2941" y="297"/>
                  </a:cubicBezTo>
                  <a:cubicBezTo>
                    <a:pt x="2974" y="313"/>
                    <a:pt x="3021" y="335"/>
                    <a:pt x="3070" y="359"/>
                  </a:cubicBezTo>
                  <a:cubicBezTo>
                    <a:pt x="3116" y="381"/>
                    <a:pt x="3163" y="404"/>
                    <a:pt x="3203" y="424"/>
                  </a:cubicBezTo>
                  <a:cubicBezTo>
                    <a:pt x="3243" y="445"/>
                    <a:pt x="3273" y="461"/>
                    <a:pt x="3293" y="474"/>
                  </a:cubicBezTo>
                  <a:cubicBezTo>
                    <a:pt x="3359" y="518"/>
                    <a:pt x="3407" y="581"/>
                    <a:pt x="3446" y="654"/>
                  </a:cubicBezTo>
                  <a:cubicBezTo>
                    <a:pt x="3468" y="693"/>
                    <a:pt x="3494" y="756"/>
                    <a:pt x="3520" y="822"/>
                  </a:cubicBezTo>
                  <a:cubicBezTo>
                    <a:pt x="3546" y="887"/>
                    <a:pt x="3570" y="951"/>
                    <a:pt x="3582" y="988"/>
                  </a:cubicBezTo>
                  <a:cubicBezTo>
                    <a:pt x="3587" y="1001"/>
                    <a:pt x="3599" y="1033"/>
                    <a:pt x="3616" y="1076"/>
                  </a:cubicBezTo>
                  <a:cubicBezTo>
                    <a:pt x="3618" y="1057"/>
                    <a:pt x="3620" y="1040"/>
                    <a:pt x="3621" y="1026"/>
                  </a:cubicBezTo>
                  <a:cubicBezTo>
                    <a:pt x="3622" y="1020"/>
                    <a:pt x="3622" y="1011"/>
                    <a:pt x="3622" y="1000"/>
                  </a:cubicBezTo>
                  <a:cubicBezTo>
                    <a:pt x="3624" y="910"/>
                    <a:pt x="3597" y="697"/>
                    <a:pt x="3529" y="599"/>
                  </a:cubicBezTo>
                  <a:cubicBezTo>
                    <a:pt x="3516" y="578"/>
                    <a:pt x="3469" y="535"/>
                    <a:pt x="3411" y="492"/>
                  </a:cubicBezTo>
                  <a:cubicBezTo>
                    <a:pt x="3322" y="426"/>
                    <a:pt x="3204" y="353"/>
                    <a:pt x="3109" y="298"/>
                  </a:cubicBezTo>
                  <a:cubicBezTo>
                    <a:pt x="3044" y="260"/>
                    <a:pt x="2991" y="230"/>
                    <a:pt x="2963" y="215"/>
                  </a:cubicBezTo>
                  <a:cubicBezTo>
                    <a:pt x="2952" y="241"/>
                    <a:pt x="2938" y="265"/>
                    <a:pt x="2922" y="287"/>
                  </a:cubicBezTo>
                  <a:close/>
                  <a:moveTo>
                    <a:pt x="2319" y="1717"/>
                  </a:moveTo>
                  <a:cubicBezTo>
                    <a:pt x="2309" y="1660"/>
                    <a:pt x="2303" y="1605"/>
                    <a:pt x="2300" y="1578"/>
                  </a:cubicBezTo>
                  <a:cubicBezTo>
                    <a:pt x="2300" y="1574"/>
                    <a:pt x="2300" y="1570"/>
                    <a:pt x="2300" y="1566"/>
                  </a:cubicBezTo>
                  <a:cubicBezTo>
                    <a:pt x="2299" y="1508"/>
                    <a:pt x="2338" y="1436"/>
                    <a:pt x="2440" y="1408"/>
                  </a:cubicBezTo>
                  <a:cubicBezTo>
                    <a:pt x="2533" y="1382"/>
                    <a:pt x="2730" y="1357"/>
                    <a:pt x="2851" y="1357"/>
                  </a:cubicBezTo>
                  <a:cubicBezTo>
                    <a:pt x="2867" y="1357"/>
                    <a:pt x="2882" y="1357"/>
                    <a:pt x="2895" y="1358"/>
                  </a:cubicBezTo>
                  <a:cubicBezTo>
                    <a:pt x="3007" y="1366"/>
                    <a:pt x="3060" y="1427"/>
                    <a:pt x="3089" y="1487"/>
                  </a:cubicBezTo>
                  <a:cubicBezTo>
                    <a:pt x="3113" y="1535"/>
                    <a:pt x="3123" y="1617"/>
                    <a:pt x="3123" y="1682"/>
                  </a:cubicBezTo>
                  <a:cubicBezTo>
                    <a:pt x="3123" y="1703"/>
                    <a:pt x="3122" y="1722"/>
                    <a:pt x="3120" y="1738"/>
                  </a:cubicBezTo>
                  <a:cubicBezTo>
                    <a:pt x="3117" y="1753"/>
                    <a:pt x="3110" y="1770"/>
                    <a:pt x="3100" y="1787"/>
                  </a:cubicBezTo>
                  <a:cubicBezTo>
                    <a:pt x="3108" y="1792"/>
                    <a:pt x="3160" y="1811"/>
                    <a:pt x="3220" y="1830"/>
                  </a:cubicBezTo>
                  <a:cubicBezTo>
                    <a:pt x="3281" y="1849"/>
                    <a:pt x="3352" y="1867"/>
                    <a:pt x="3402" y="1873"/>
                  </a:cubicBezTo>
                  <a:cubicBezTo>
                    <a:pt x="3407" y="1873"/>
                    <a:pt x="3412" y="1873"/>
                    <a:pt x="3419" y="1873"/>
                  </a:cubicBezTo>
                  <a:cubicBezTo>
                    <a:pt x="3479" y="1874"/>
                    <a:pt x="3586" y="1848"/>
                    <a:pt x="3677" y="1823"/>
                  </a:cubicBezTo>
                  <a:cubicBezTo>
                    <a:pt x="3724" y="1809"/>
                    <a:pt x="3766" y="1796"/>
                    <a:pt x="3796" y="1787"/>
                  </a:cubicBezTo>
                  <a:cubicBezTo>
                    <a:pt x="3812" y="1775"/>
                    <a:pt x="3812" y="1775"/>
                    <a:pt x="3812" y="1775"/>
                  </a:cubicBezTo>
                  <a:cubicBezTo>
                    <a:pt x="3785" y="1736"/>
                    <a:pt x="3760" y="1694"/>
                    <a:pt x="3740" y="1659"/>
                  </a:cubicBezTo>
                  <a:cubicBezTo>
                    <a:pt x="3725" y="1634"/>
                    <a:pt x="3705" y="1590"/>
                    <a:pt x="3680" y="1532"/>
                  </a:cubicBezTo>
                  <a:cubicBezTo>
                    <a:pt x="3605" y="1360"/>
                    <a:pt x="3494" y="1083"/>
                    <a:pt x="3474" y="1026"/>
                  </a:cubicBezTo>
                  <a:cubicBezTo>
                    <a:pt x="3462" y="991"/>
                    <a:pt x="3438" y="927"/>
                    <a:pt x="3413" y="864"/>
                  </a:cubicBezTo>
                  <a:cubicBezTo>
                    <a:pt x="3389" y="801"/>
                    <a:pt x="3361" y="737"/>
                    <a:pt x="3346" y="709"/>
                  </a:cubicBezTo>
                  <a:cubicBezTo>
                    <a:pt x="3311" y="646"/>
                    <a:pt x="3274" y="599"/>
                    <a:pt x="3229" y="569"/>
                  </a:cubicBezTo>
                  <a:cubicBezTo>
                    <a:pt x="3221" y="563"/>
                    <a:pt x="3189" y="546"/>
                    <a:pt x="3151" y="527"/>
                  </a:cubicBezTo>
                  <a:cubicBezTo>
                    <a:pt x="3035" y="468"/>
                    <a:pt x="2847" y="380"/>
                    <a:pt x="2846" y="380"/>
                  </a:cubicBezTo>
                  <a:cubicBezTo>
                    <a:pt x="2847" y="378"/>
                    <a:pt x="2847" y="378"/>
                    <a:pt x="2847" y="378"/>
                  </a:cubicBezTo>
                  <a:cubicBezTo>
                    <a:pt x="2835" y="372"/>
                    <a:pt x="2835" y="372"/>
                    <a:pt x="2835" y="372"/>
                  </a:cubicBezTo>
                  <a:cubicBezTo>
                    <a:pt x="2834" y="371"/>
                    <a:pt x="2834" y="371"/>
                    <a:pt x="2834" y="371"/>
                  </a:cubicBezTo>
                  <a:cubicBezTo>
                    <a:pt x="2780" y="407"/>
                    <a:pt x="2714" y="429"/>
                    <a:pt x="2644" y="429"/>
                  </a:cubicBezTo>
                  <a:cubicBezTo>
                    <a:pt x="2597" y="429"/>
                    <a:pt x="2552" y="419"/>
                    <a:pt x="2511" y="402"/>
                  </a:cubicBezTo>
                  <a:cubicBezTo>
                    <a:pt x="2505" y="409"/>
                    <a:pt x="2499" y="418"/>
                    <a:pt x="2499" y="418"/>
                  </a:cubicBezTo>
                  <a:cubicBezTo>
                    <a:pt x="2499" y="418"/>
                    <a:pt x="2499" y="418"/>
                    <a:pt x="2498" y="418"/>
                  </a:cubicBezTo>
                  <a:cubicBezTo>
                    <a:pt x="2470" y="455"/>
                    <a:pt x="2390" y="560"/>
                    <a:pt x="2300" y="673"/>
                  </a:cubicBezTo>
                  <a:cubicBezTo>
                    <a:pt x="2244" y="743"/>
                    <a:pt x="2185" y="815"/>
                    <a:pt x="2132" y="876"/>
                  </a:cubicBezTo>
                  <a:cubicBezTo>
                    <a:pt x="2079" y="937"/>
                    <a:pt x="2035" y="985"/>
                    <a:pt x="1999" y="1012"/>
                  </a:cubicBezTo>
                  <a:cubicBezTo>
                    <a:pt x="1962" y="1040"/>
                    <a:pt x="1899" y="1070"/>
                    <a:pt x="1815" y="1109"/>
                  </a:cubicBezTo>
                  <a:cubicBezTo>
                    <a:pt x="1565" y="1222"/>
                    <a:pt x="1141" y="1384"/>
                    <a:pt x="966" y="1453"/>
                  </a:cubicBezTo>
                  <a:cubicBezTo>
                    <a:pt x="851" y="1499"/>
                    <a:pt x="708" y="1561"/>
                    <a:pt x="595" y="1611"/>
                  </a:cubicBezTo>
                  <a:cubicBezTo>
                    <a:pt x="576" y="1620"/>
                    <a:pt x="558" y="1628"/>
                    <a:pt x="540" y="1635"/>
                  </a:cubicBezTo>
                  <a:cubicBezTo>
                    <a:pt x="542" y="1654"/>
                    <a:pt x="542" y="1654"/>
                    <a:pt x="542" y="1654"/>
                  </a:cubicBezTo>
                  <a:cubicBezTo>
                    <a:pt x="574" y="1723"/>
                    <a:pt x="656" y="1903"/>
                    <a:pt x="751" y="2113"/>
                  </a:cubicBezTo>
                  <a:lnTo>
                    <a:pt x="2319" y="1717"/>
                  </a:lnTo>
                  <a:close/>
                  <a:moveTo>
                    <a:pt x="3090" y="1803"/>
                  </a:moveTo>
                  <a:cubicBezTo>
                    <a:pt x="3090" y="1803"/>
                    <a:pt x="3090" y="1803"/>
                    <a:pt x="3090" y="1803"/>
                  </a:cubicBezTo>
                  <a:cubicBezTo>
                    <a:pt x="3094" y="1818"/>
                    <a:pt x="3094" y="1818"/>
                    <a:pt x="3094" y="1818"/>
                  </a:cubicBezTo>
                  <a:lnTo>
                    <a:pt x="3090" y="1803"/>
                  </a:lnTo>
                  <a:close/>
                  <a:moveTo>
                    <a:pt x="2929" y="1882"/>
                  </a:moveTo>
                  <a:cubicBezTo>
                    <a:pt x="2972" y="1866"/>
                    <a:pt x="3010" y="1839"/>
                    <a:pt x="3038" y="1809"/>
                  </a:cubicBezTo>
                  <a:cubicBezTo>
                    <a:pt x="3066" y="1780"/>
                    <a:pt x="3082" y="1749"/>
                    <a:pt x="3084" y="1733"/>
                  </a:cubicBezTo>
                  <a:cubicBezTo>
                    <a:pt x="3102" y="1735"/>
                    <a:pt x="3102" y="1735"/>
                    <a:pt x="3102" y="1735"/>
                  </a:cubicBezTo>
                  <a:cubicBezTo>
                    <a:pt x="3084" y="1733"/>
                    <a:pt x="3084" y="1733"/>
                    <a:pt x="3084" y="1733"/>
                  </a:cubicBezTo>
                  <a:cubicBezTo>
                    <a:pt x="3086" y="1719"/>
                    <a:pt x="3087" y="1701"/>
                    <a:pt x="3087" y="1682"/>
                  </a:cubicBezTo>
                  <a:cubicBezTo>
                    <a:pt x="3087" y="1621"/>
                    <a:pt x="3076" y="1540"/>
                    <a:pt x="3057" y="1503"/>
                  </a:cubicBezTo>
                  <a:cubicBezTo>
                    <a:pt x="3029" y="1448"/>
                    <a:pt x="2992" y="1403"/>
                    <a:pt x="2892" y="1394"/>
                  </a:cubicBezTo>
                  <a:cubicBezTo>
                    <a:pt x="2880" y="1393"/>
                    <a:pt x="2866" y="1393"/>
                    <a:pt x="2851" y="1393"/>
                  </a:cubicBezTo>
                  <a:cubicBezTo>
                    <a:pt x="2735" y="1393"/>
                    <a:pt x="2537" y="1418"/>
                    <a:pt x="2450" y="1443"/>
                  </a:cubicBezTo>
                  <a:cubicBezTo>
                    <a:pt x="2360" y="1468"/>
                    <a:pt x="2337" y="1522"/>
                    <a:pt x="2336" y="1566"/>
                  </a:cubicBezTo>
                  <a:cubicBezTo>
                    <a:pt x="2336" y="1570"/>
                    <a:pt x="2336" y="1572"/>
                    <a:pt x="2336" y="1575"/>
                  </a:cubicBezTo>
                  <a:cubicBezTo>
                    <a:pt x="2340" y="1626"/>
                    <a:pt x="2366" y="1804"/>
                    <a:pt x="2388" y="1850"/>
                  </a:cubicBezTo>
                  <a:cubicBezTo>
                    <a:pt x="2406" y="1891"/>
                    <a:pt x="2457" y="1918"/>
                    <a:pt x="2531" y="1918"/>
                  </a:cubicBezTo>
                  <a:cubicBezTo>
                    <a:pt x="2536" y="1918"/>
                    <a:pt x="2541" y="1918"/>
                    <a:pt x="2546" y="1917"/>
                  </a:cubicBezTo>
                  <a:cubicBezTo>
                    <a:pt x="2632" y="1913"/>
                    <a:pt x="2841" y="1913"/>
                    <a:pt x="2929" y="1882"/>
                  </a:cubicBezTo>
                  <a:close/>
                  <a:moveTo>
                    <a:pt x="3832" y="2346"/>
                  </a:moveTo>
                  <a:cubicBezTo>
                    <a:pt x="4009" y="2305"/>
                    <a:pt x="4181" y="2187"/>
                    <a:pt x="4308" y="2079"/>
                  </a:cubicBezTo>
                  <a:cubicBezTo>
                    <a:pt x="4370" y="2027"/>
                    <a:pt x="4420" y="1977"/>
                    <a:pt x="4457" y="1939"/>
                  </a:cubicBezTo>
                  <a:cubicBezTo>
                    <a:pt x="4459" y="1921"/>
                    <a:pt x="4459" y="1921"/>
                    <a:pt x="4459" y="1921"/>
                  </a:cubicBezTo>
                  <a:cubicBezTo>
                    <a:pt x="4352" y="1926"/>
                    <a:pt x="4256" y="1931"/>
                    <a:pt x="4230" y="1933"/>
                  </a:cubicBezTo>
                  <a:cubicBezTo>
                    <a:pt x="4206" y="1935"/>
                    <a:pt x="4176" y="1937"/>
                    <a:pt x="4144" y="1937"/>
                  </a:cubicBezTo>
                  <a:cubicBezTo>
                    <a:pt x="4109" y="1937"/>
                    <a:pt x="4071" y="1935"/>
                    <a:pt x="4035" y="1930"/>
                  </a:cubicBezTo>
                  <a:cubicBezTo>
                    <a:pt x="3999" y="1925"/>
                    <a:pt x="3966" y="1918"/>
                    <a:pt x="3935" y="1902"/>
                  </a:cubicBezTo>
                  <a:cubicBezTo>
                    <a:pt x="3896" y="1881"/>
                    <a:pt x="3867" y="1849"/>
                    <a:pt x="3839" y="1813"/>
                  </a:cubicBezTo>
                  <a:cubicBezTo>
                    <a:pt x="3835" y="1813"/>
                    <a:pt x="3831" y="1814"/>
                    <a:pt x="3826" y="1815"/>
                  </a:cubicBezTo>
                  <a:cubicBezTo>
                    <a:pt x="3748" y="1840"/>
                    <a:pt x="3529" y="1909"/>
                    <a:pt x="3419" y="1909"/>
                  </a:cubicBezTo>
                  <a:cubicBezTo>
                    <a:pt x="3411" y="1909"/>
                    <a:pt x="3404" y="1909"/>
                    <a:pt x="3398" y="1908"/>
                  </a:cubicBezTo>
                  <a:cubicBezTo>
                    <a:pt x="3340" y="1902"/>
                    <a:pt x="3262" y="1881"/>
                    <a:pt x="3197" y="1861"/>
                  </a:cubicBezTo>
                  <a:cubicBezTo>
                    <a:pt x="3165" y="1850"/>
                    <a:pt x="3136" y="1840"/>
                    <a:pt x="3115" y="1832"/>
                  </a:cubicBezTo>
                  <a:cubicBezTo>
                    <a:pt x="3105" y="1829"/>
                    <a:pt x="3097" y="1825"/>
                    <a:pt x="3090" y="1822"/>
                  </a:cubicBezTo>
                  <a:cubicBezTo>
                    <a:pt x="3087" y="1821"/>
                    <a:pt x="3085" y="1820"/>
                    <a:pt x="3082" y="1819"/>
                  </a:cubicBezTo>
                  <a:cubicBezTo>
                    <a:pt x="3081" y="1818"/>
                    <a:pt x="3080" y="1817"/>
                    <a:pt x="3079" y="1816"/>
                  </a:cubicBezTo>
                  <a:cubicBezTo>
                    <a:pt x="3074" y="1822"/>
                    <a:pt x="3070" y="1828"/>
                    <a:pt x="3064" y="1834"/>
                  </a:cubicBezTo>
                  <a:cubicBezTo>
                    <a:pt x="3033" y="1867"/>
                    <a:pt x="2991" y="1898"/>
                    <a:pt x="2940" y="1916"/>
                  </a:cubicBezTo>
                  <a:cubicBezTo>
                    <a:pt x="2896" y="1931"/>
                    <a:pt x="2830" y="1939"/>
                    <a:pt x="2763" y="1944"/>
                  </a:cubicBezTo>
                  <a:cubicBezTo>
                    <a:pt x="2868" y="2442"/>
                    <a:pt x="2868" y="2442"/>
                    <a:pt x="2868" y="2442"/>
                  </a:cubicBezTo>
                  <a:cubicBezTo>
                    <a:pt x="2868" y="2442"/>
                    <a:pt x="2869" y="2442"/>
                    <a:pt x="2869" y="2442"/>
                  </a:cubicBezTo>
                  <a:cubicBezTo>
                    <a:pt x="2944" y="2436"/>
                    <a:pt x="3240" y="2414"/>
                    <a:pt x="3484" y="2391"/>
                  </a:cubicBezTo>
                  <a:cubicBezTo>
                    <a:pt x="3640" y="2376"/>
                    <a:pt x="3706" y="2376"/>
                    <a:pt x="3832" y="2346"/>
                  </a:cubicBezTo>
                  <a:close/>
                  <a:moveTo>
                    <a:pt x="4789" y="1905"/>
                  </a:moveTo>
                  <a:cubicBezTo>
                    <a:pt x="4737" y="1907"/>
                    <a:pt x="4651" y="1911"/>
                    <a:pt x="4562" y="1916"/>
                  </a:cubicBezTo>
                  <a:cubicBezTo>
                    <a:pt x="4551" y="1916"/>
                    <a:pt x="4541" y="1917"/>
                    <a:pt x="4530" y="1917"/>
                  </a:cubicBezTo>
                  <a:cubicBezTo>
                    <a:pt x="4516" y="1929"/>
                    <a:pt x="4516" y="1929"/>
                    <a:pt x="4516" y="1929"/>
                  </a:cubicBezTo>
                  <a:cubicBezTo>
                    <a:pt x="4429" y="2023"/>
                    <a:pt x="4150" y="2308"/>
                    <a:pt x="3840" y="2381"/>
                  </a:cubicBezTo>
                  <a:cubicBezTo>
                    <a:pt x="3821" y="2386"/>
                    <a:pt x="3803" y="2390"/>
                    <a:pt x="3786" y="2393"/>
                  </a:cubicBezTo>
                  <a:cubicBezTo>
                    <a:pt x="3876" y="2798"/>
                    <a:pt x="3876" y="2798"/>
                    <a:pt x="3876" y="2798"/>
                  </a:cubicBezTo>
                  <a:cubicBezTo>
                    <a:pt x="4176" y="2804"/>
                    <a:pt x="4517" y="2960"/>
                    <a:pt x="4628" y="3015"/>
                  </a:cubicBezTo>
                  <a:cubicBezTo>
                    <a:pt x="4647" y="3019"/>
                    <a:pt x="4647" y="3019"/>
                    <a:pt x="4647" y="3019"/>
                  </a:cubicBezTo>
                  <a:lnTo>
                    <a:pt x="4789" y="1905"/>
                  </a:lnTo>
                  <a:close/>
                  <a:moveTo>
                    <a:pt x="5064" y="1745"/>
                  </a:moveTo>
                  <a:cubicBezTo>
                    <a:pt x="5066" y="1737"/>
                    <a:pt x="5068" y="1724"/>
                    <a:pt x="5069" y="1718"/>
                  </a:cubicBezTo>
                  <a:cubicBezTo>
                    <a:pt x="5108" y="1136"/>
                    <a:pt x="5108" y="1136"/>
                    <a:pt x="5108" y="1136"/>
                  </a:cubicBezTo>
                  <a:cubicBezTo>
                    <a:pt x="5102" y="1083"/>
                    <a:pt x="5102" y="1083"/>
                    <a:pt x="5102" y="1083"/>
                  </a:cubicBezTo>
                  <a:cubicBezTo>
                    <a:pt x="4597" y="752"/>
                    <a:pt x="4597" y="752"/>
                    <a:pt x="4597" y="752"/>
                  </a:cubicBezTo>
                  <a:cubicBezTo>
                    <a:pt x="4244" y="1801"/>
                    <a:pt x="4244" y="1801"/>
                    <a:pt x="4244" y="1801"/>
                  </a:cubicBezTo>
                  <a:cubicBezTo>
                    <a:pt x="4242" y="1817"/>
                    <a:pt x="4242" y="1817"/>
                    <a:pt x="4242" y="1817"/>
                  </a:cubicBezTo>
                  <a:cubicBezTo>
                    <a:pt x="4360" y="1810"/>
                    <a:pt x="4786" y="1790"/>
                    <a:pt x="4830" y="1788"/>
                  </a:cubicBezTo>
                  <a:lnTo>
                    <a:pt x="5064" y="1745"/>
                  </a:lnTo>
                  <a:close/>
                  <a:moveTo>
                    <a:pt x="7186" y="1942"/>
                  </a:moveTo>
                  <a:cubicBezTo>
                    <a:pt x="7185" y="1926"/>
                    <a:pt x="7185" y="1926"/>
                    <a:pt x="7185" y="1926"/>
                  </a:cubicBezTo>
                  <a:cubicBezTo>
                    <a:pt x="6672" y="463"/>
                    <a:pt x="6672" y="463"/>
                    <a:pt x="6672" y="463"/>
                  </a:cubicBezTo>
                  <a:cubicBezTo>
                    <a:pt x="6573" y="483"/>
                    <a:pt x="6487" y="492"/>
                    <a:pt x="6411" y="492"/>
                  </a:cubicBezTo>
                  <a:cubicBezTo>
                    <a:pt x="6411" y="492"/>
                    <a:pt x="6411" y="492"/>
                    <a:pt x="6411" y="492"/>
                  </a:cubicBezTo>
                  <a:cubicBezTo>
                    <a:pt x="6251" y="492"/>
                    <a:pt x="6137" y="456"/>
                    <a:pt x="6040" y="435"/>
                  </a:cubicBezTo>
                  <a:cubicBezTo>
                    <a:pt x="5900" y="404"/>
                    <a:pt x="5154" y="205"/>
                    <a:pt x="5075" y="184"/>
                  </a:cubicBezTo>
                  <a:cubicBezTo>
                    <a:pt x="5071" y="333"/>
                    <a:pt x="5067" y="444"/>
                    <a:pt x="5066" y="458"/>
                  </a:cubicBezTo>
                  <a:cubicBezTo>
                    <a:pt x="5144" y="1135"/>
                    <a:pt x="5144" y="1135"/>
                    <a:pt x="5144" y="1135"/>
                  </a:cubicBezTo>
                  <a:cubicBezTo>
                    <a:pt x="5105" y="1731"/>
                    <a:pt x="5105" y="1731"/>
                    <a:pt x="5105" y="1731"/>
                  </a:cubicBezTo>
                  <a:cubicBezTo>
                    <a:pt x="5108" y="1752"/>
                    <a:pt x="5108" y="1752"/>
                    <a:pt x="5108" y="1752"/>
                  </a:cubicBezTo>
                  <a:cubicBezTo>
                    <a:pt x="5163" y="1764"/>
                    <a:pt x="5297" y="1794"/>
                    <a:pt x="5426" y="1823"/>
                  </a:cubicBezTo>
                  <a:cubicBezTo>
                    <a:pt x="5500" y="1840"/>
                    <a:pt x="5573" y="1857"/>
                    <a:pt x="5628" y="1869"/>
                  </a:cubicBezTo>
                  <a:cubicBezTo>
                    <a:pt x="5655" y="1875"/>
                    <a:pt x="5678" y="1881"/>
                    <a:pt x="5694" y="1884"/>
                  </a:cubicBezTo>
                  <a:cubicBezTo>
                    <a:pt x="5702" y="1886"/>
                    <a:pt x="5708" y="1888"/>
                    <a:pt x="5713" y="1889"/>
                  </a:cubicBezTo>
                  <a:cubicBezTo>
                    <a:pt x="5714" y="1889"/>
                    <a:pt x="5715" y="1889"/>
                    <a:pt x="5715" y="1890"/>
                  </a:cubicBezTo>
                  <a:cubicBezTo>
                    <a:pt x="5777" y="1892"/>
                    <a:pt x="6235" y="1908"/>
                    <a:pt x="6694" y="1924"/>
                  </a:cubicBezTo>
                  <a:cubicBezTo>
                    <a:pt x="6865" y="1931"/>
                    <a:pt x="7036" y="1937"/>
                    <a:pt x="7186" y="1942"/>
                  </a:cubicBezTo>
                  <a:close/>
                  <a:moveTo>
                    <a:pt x="8904" y="889"/>
                  </a:moveTo>
                  <a:cubicBezTo>
                    <a:pt x="8905" y="889"/>
                    <a:pt x="8905" y="889"/>
                    <a:pt x="8905" y="889"/>
                  </a:cubicBezTo>
                  <a:cubicBezTo>
                    <a:pt x="8905" y="889"/>
                    <a:pt x="8905" y="889"/>
                    <a:pt x="8905" y="889"/>
                  </a:cubicBezTo>
                  <a:lnTo>
                    <a:pt x="8904" y="889"/>
                  </a:lnTo>
                  <a:close/>
                  <a:moveTo>
                    <a:pt x="8903" y="895"/>
                  </a:moveTo>
                  <a:cubicBezTo>
                    <a:pt x="8905" y="895"/>
                    <a:pt x="8905" y="895"/>
                    <a:pt x="8905" y="895"/>
                  </a:cubicBezTo>
                  <a:cubicBezTo>
                    <a:pt x="8905" y="895"/>
                    <a:pt x="8905" y="895"/>
                    <a:pt x="8905" y="895"/>
                  </a:cubicBezTo>
                  <a:lnTo>
                    <a:pt x="8903" y="895"/>
                  </a:lnTo>
                  <a:close/>
                  <a:moveTo>
                    <a:pt x="7813" y="974"/>
                  </a:moveTo>
                  <a:cubicBezTo>
                    <a:pt x="7925" y="963"/>
                    <a:pt x="8770" y="883"/>
                    <a:pt x="8903" y="877"/>
                  </a:cubicBezTo>
                  <a:cubicBezTo>
                    <a:pt x="8894" y="806"/>
                    <a:pt x="8887" y="754"/>
                    <a:pt x="8885" y="734"/>
                  </a:cubicBezTo>
                  <a:cubicBezTo>
                    <a:pt x="7652" y="2"/>
                    <a:pt x="7652" y="2"/>
                    <a:pt x="7652" y="2"/>
                  </a:cubicBezTo>
                  <a:cubicBezTo>
                    <a:pt x="7574" y="144"/>
                    <a:pt x="7574" y="144"/>
                    <a:pt x="7574" y="144"/>
                  </a:cubicBezTo>
                  <a:cubicBezTo>
                    <a:pt x="7574" y="145"/>
                    <a:pt x="7573" y="147"/>
                    <a:pt x="7571" y="151"/>
                  </a:cubicBezTo>
                  <a:cubicBezTo>
                    <a:pt x="7566" y="168"/>
                    <a:pt x="7554" y="211"/>
                    <a:pt x="7554" y="275"/>
                  </a:cubicBezTo>
                  <a:cubicBezTo>
                    <a:pt x="7554" y="337"/>
                    <a:pt x="7565" y="417"/>
                    <a:pt x="7603" y="513"/>
                  </a:cubicBezTo>
                  <a:cubicBezTo>
                    <a:pt x="7650" y="628"/>
                    <a:pt x="7704" y="746"/>
                    <a:pt x="7746" y="836"/>
                  </a:cubicBezTo>
                  <a:cubicBezTo>
                    <a:pt x="7778" y="902"/>
                    <a:pt x="7803" y="953"/>
                    <a:pt x="7813" y="974"/>
                  </a:cubicBezTo>
                  <a:close/>
                  <a:moveTo>
                    <a:pt x="7883" y="1976"/>
                  </a:moveTo>
                  <a:cubicBezTo>
                    <a:pt x="7920" y="1981"/>
                    <a:pt x="8367" y="2047"/>
                    <a:pt x="8875" y="2123"/>
                  </a:cubicBezTo>
                  <a:cubicBezTo>
                    <a:pt x="8877" y="2121"/>
                    <a:pt x="8885" y="2110"/>
                    <a:pt x="8891" y="2104"/>
                  </a:cubicBezTo>
                  <a:cubicBezTo>
                    <a:pt x="8894" y="2100"/>
                    <a:pt x="8896" y="2095"/>
                    <a:pt x="8899" y="2090"/>
                  </a:cubicBezTo>
                  <a:cubicBezTo>
                    <a:pt x="8932" y="2028"/>
                    <a:pt x="8997" y="1879"/>
                    <a:pt x="8997" y="1695"/>
                  </a:cubicBezTo>
                  <a:cubicBezTo>
                    <a:pt x="8997" y="1668"/>
                    <a:pt x="8996" y="1640"/>
                    <a:pt x="8993" y="1611"/>
                  </a:cubicBezTo>
                  <a:cubicBezTo>
                    <a:pt x="8976" y="1464"/>
                    <a:pt x="8949" y="1243"/>
                    <a:pt x="8926" y="1058"/>
                  </a:cubicBezTo>
                  <a:cubicBezTo>
                    <a:pt x="8919" y="1006"/>
                    <a:pt x="8913" y="956"/>
                    <a:pt x="8908" y="913"/>
                  </a:cubicBezTo>
                  <a:cubicBezTo>
                    <a:pt x="8848" y="915"/>
                    <a:pt x="8586" y="938"/>
                    <a:pt x="8334" y="961"/>
                  </a:cubicBezTo>
                  <a:cubicBezTo>
                    <a:pt x="8106" y="982"/>
                    <a:pt x="7885" y="1003"/>
                    <a:pt x="7823" y="1009"/>
                  </a:cubicBezTo>
                  <a:cubicBezTo>
                    <a:pt x="7899" y="1709"/>
                    <a:pt x="7899" y="1709"/>
                    <a:pt x="7899" y="1709"/>
                  </a:cubicBezTo>
                  <a:cubicBezTo>
                    <a:pt x="7810" y="1952"/>
                    <a:pt x="7810" y="1952"/>
                    <a:pt x="7810" y="1952"/>
                  </a:cubicBezTo>
                  <a:cubicBezTo>
                    <a:pt x="7811" y="1968"/>
                    <a:pt x="7811" y="1968"/>
                    <a:pt x="7811" y="1968"/>
                  </a:cubicBezTo>
                  <a:cubicBezTo>
                    <a:pt x="7835" y="1970"/>
                    <a:pt x="7859" y="1973"/>
                    <a:pt x="7883" y="1976"/>
                  </a:cubicBezTo>
                  <a:close/>
                  <a:moveTo>
                    <a:pt x="8925" y="2130"/>
                  </a:moveTo>
                  <a:cubicBezTo>
                    <a:pt x="9249" y="2178"/>
                    <a:pt x="9593" y="2230"/>
                    <a:pt x="9870" y="2271"/>
                  </a:cubicBezTo>
                  <a:cubicBezTo>
                    <a:pt x="9877" y="2258"/>
                    <a:pt x="9877" y="2258"/>
                    <a:pt x="9877" y="2258"/>
                  </a:cubicBezTo>
                  <a:cubicBezTo>
                    <a:pt x="9999" y="1900"/>
                    <a:pt x="9999" y="1900"/>
                    <a:pt x="9999" y="1900"/>
                  </a:cubicBezTo>
                  <a:cubicBezTo>
                    <a:pt x="10155" y="1772"/>
                    <a:pt x="10155" y="1772"/>
                    <a:pt x="10155" y="1772"/>
                  </a:cubicBezTo>
                  <a:cubicBezTo>
                    <a:pt x="10131" y="1101"/>
                    <a:pt x="10131" y="1101"/>
                    <a:pt x="10131" y="1101"/>
                  </a:cubicBezTo>
                  <a:cubicBezTo>
                    <a:pt x="10265" y="927"/>
                    <a:pt x="10265" y="927"/>
                    <a:pt x="10265" y="927"/>
                  </a:cubicBezTo>
                  <a:cubicBezTo>
                    <a:pt x="10260" y="868"/>
                    <a:pt x="10216" y="426"/>
                    <a:pt x="10207" y="336"/>
                  </a:cubicBezTo>
                  <a:cubicBezTo>
                    <a:pt x="9188" y="321"/>
                    <a:pt x="9188" y="321"/>
                    <a:pt x="9188" y="321"/>
                  </a:cubicBezTo>
                  <a:cubicBezTo>
                    <a:pt x="9170" y="348"/>
                    <a:pt x="9114" y="435"/>
                    <a:pt x="9057" y="522"/>
                  </a:cubicBezTo>
                  <a:cubicBezTo>
                    <a:pt x="9022" y="574"/>
                    <a:pt x="8987" y="626"/>
                    <a:pt x="8960" y="666"/>
                  </a:cubicBezTo>
                  <a:cubicBezTo>
                    <a:pt x="8947" y="686"/>
                    <a:pt x="8935" y="703"/>
                    <a:pt x="8927" y="715"/>
                  </a:cubicBezTo>
                  <a:cubicBezTo>
                    <a:pt x="8924" y="718"/>
                    <a:pt x="8922" y="721"/>
                    <a:pt x="8920" y="724"/>
                  </a:cubicBezTo>
                  <a:cubicBezTo>
                    <a:pt x="8925" y="767"/>
                    <a:pt x="8997" y="1324"/>
                    <a:pt x="9028" y="1607"/>
                  </a:cubicBezTo>
                  <a:cubicBezTo>
                    <a:pt x="9032" y="1637"/>
                    <a:pt x="9033" y="1666"/>
                    <a:pt x="9033" y="1695"/>
                  </a:cubicBezTo>
                  <a:cubicBezTo>
                    <a:pt x="9033" y="1887"/>
                    <a:pt x="8965" y="2041"/>
                    <a:pt x="8931" y="2107"/>
                  </a:cubicBezTo>
                  <a:lnTo>
                    <a:pt x="8925" y="2130"/>
                  </a:lnTo>
                  <a:close/>
                  <a:moveTo>
                    <a:pt x="13133" y="2349"/>
                  </a:moveTo>
                  <a:cubicBezTo>
                    <a:pt x="12120" y="1948"/>
                    <a:pt x="12120" y="1948"/>
                    <a:pt x="12120" y="1948"/>
                  </a:cubicBezTo>
                  <a:cubicBezTo>
                    <a:pt x="11924" y="657"/>
                    <a:pt x="11924" y="657"/>
                    <a:pt x="11924" y="657"/>
                  </a:cubicBezTo>
                  <a:cubicBezTo>
                    <a:pt x="10294" y="949"/>
                    <a:pt x="10294" y="949"/>
                    <a:pt x="10294" y="949"/>
                  </a:cubicBezTo>
                  <a:cubicBezTo>
                    <a:pt x="10167" y="1113"/>
                    <a:pt x="10167" y="1113"/>
                    <a:pt x="10167" y="1113"/>
                  </a:cubicBezTo>
                  <a:cubicBezTo>
                    <a:pt x="10192" y="1789"/>
                    <a:pt x="10192" y="1789"/>
                    <a:pt x="10192" y="1789"/>
                  </a:cubicBezTo>
                  <a:cubicBezTo>
                    <a:pt x="10030" y="1922"/>
                    <a:pt x="10030" y="1922"/>
                    <a:pt x="10030" y="1922"/>
                  </a:cubicBezTo>
                  <a:cubicBezTo>
                    <a:pt x="9916" y="2256"/>
                    <a:pt x="9916" y="2256"/>
                    <a:pt x="9916" y="2256"/>
                  </a:cubicBezTo>
                  <a:cubicBezTo>
                    <a:pt x="9914" y="2277"/>
                    <a:pt x="9914" y="2277"/>
                    <a:pt x="9914" y="2277"/>
                  </a:cubicBezTo>
                  <a:cubicBezTo>
                    <a:pt x="10204" y="2321"/>
                    <a:pt x="10411" y="2351"/>
                    <a:pt x="10426" y="2354"/>
                  </a:cubicBezTo>
                  <a:cubicBezTo>
                    <a:pt x="10442" y="2356"/>
                    <a:pt x="10604" y="2375"/>
                    <a:pt x="10764" y="2447"/>
                  </a:cubicBezTo>
                  <a:cubicBezTo>
                    <a:pt x="10928" y="2521"/>
                    <a:pt x="11492" y="2837"/>
                    <a:pt x="11647" y="2935"/>
                  </a:cubicBezTo>
                  <a:cubicBezTo>
                    <a:pt x="12574" y="3529"/>
                    <a:pt x="12574" y="3529"/>
                    <a:pt x="12574" y="3529"/>
                  </a:cubicBezTo>
                  <a:cubicBezTo>
                    <a:pt x="12718" y="3229"/>
                    <a:pt x="12853" y="2944"/>
                    <a:pt x="12956" y="2726"/>
                  </a:cubicBezTo>
                  <a:cubicBezTo>
                    <a:pt x="13045" y="2536"/>
                    <a:pt x="13110" y="2399"/>
                    <a:pt x="13133" y="23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grpSp>
      <p:sp>
        <p:nvSpPr>
          <p:cNvPr id="2" name="***Titel 1"/>
          <p:cNvSpPr>
            <a:spLocks noGrp="1" noSelect="1"/>
          </p:cNvSpPr>
          <p:nvPr>
            <p:ph type="ctrTitle" hasCustomPrompt="1"/>
          </p:nvPr>
        </p:nvSpPr>
        <p:spPr bwMode="gray">
          <a:xfrm>
            <a:off x="1152000" y="3831183"/>
            <a:ext cx="10404000" cy="1470025"/>
          </a:xfrm>
        </p:spPr>
        <p:txBody>
          <a:bodyPr anchor="t" anchorCtr="0"/>
          <a:lstStyle>
            <a:lvl1pPr algn="l">
              <a:lnSpc>
                <a:spcPct val="96000"/>
              </a:lnSpc>
              <a:defRPr sz="4700" b="0" spc="-180" baseline="0">
                <a:latin typeface="Univers" panose="020B0603020202030204" pitchFamily="34" charset="0"/>
              </a:defRPr>
            </a:lvl1pPr>
          </a:lstStyle>
          <a:p>
            <a:r>
              <a:rPr lang="nl-NL" noProof="1"/>
              <a:t>[Titel,</a:t>
            </a:r>
            <a:br>
              <a:rPr lang="nl-NL" noProof="1"/>
            </a:br>
            <a:r>
              <a:rPr lang="nl-NL" noProof="1"/>
              <a:t>maximaal 2 regels]</a:t>
            </a:r>
          </a:p>
        </p:txBody>
      </p:sp>
      <p:grpSp>
        <p:nvGrpSpPr>
          <p:cNvPr id="17" name="logo">
            <a:extLst>
              <a:ext uri="{FF2B5EF4-FFF2-40B4-BE49-F238E27FC236}">
                <a16:creationId xmlns:a16="http://schemas.microsoft.com/office/drawing/2014/main" id="{3D914ECC-8068-414F-AA0F-262DD3112D62}"/>
              </a:ext>
            </a:extLst>
          </p:cNvPr>
          <p:cNvGrpSpPr>
            <a:grpSpLocks noSelect="1" noChangeAspect="1"/>
          </p:cNvGrpSpPr>
          <p:nvPr userDrawn="1"/>
        </p:nvGrpSpPr>
        <p:grpSpPr bwMode="gray">
          <a:xfrm>
            <a:off x="638175" y="6030913"/>
            <a:ext cx="2481263" cy="508000"/>
            <a:chOff x="402" y="3799"/>
            <a:chExt cx="1563" cy="320"/>
          </a:xfrm>
        </p:grpSpPr>
        <p:sp>
          <p:nvSpPr>
            <p:cNvPr id="18" name="Freeform 21">
              <a:extLst>
                <a:ext uri="{FF2B5EF4-FFF2-40B4-BE49-F238E27FC236}">
                  <a16:creationId xmlns:a16="http://schemas.microsoft.com/office/drawing/2014/main" id="{B89CFD78-1671-45B4-A5BB-E8CDF8C13424}"/>
                </a:ext>
              </a:extLst>
            </p:cNvPr>
            <p:cNvSpPr>
              <a:spLocks noSelect="1"/>
            </p:cNvSpPr>
            <p:nvPr userDrawn="1"/>
          </p:nvSpPr>
          <p:spPr bwMode="gray">
            <a:xfrm>
              <a:off x="722" y="3799"/>
              <a:ext cx="1243" cy="320"/>
            </a:xfrm>
            <a:custGeom>
              <a:avLst/>
              <a:gdLst>
                <a:gd name="T0" fmla="*/ 92 w 6217"/>
                <a:gd name="T1" fmla="*/ 0 h 1604"/>
                <a:gd name="T2" fmla="*/ 92 w 6217"/>
                <a:gd name="T3" fmla="*/ 525 h 1604"/>
                <a:gd name="T4" fmla="*/ 762 w 6217"/>
                <a:gd name="T5" fmla="*/ 330 h 1604"/>
                <a:gd name="T6" fmla="*/ 957 w 6217"/>
                <a:gd name="T7" fmla="*/ 729 h 1604"/>
                <a:gd name="T8" fmla="*/ 1912 w 6217"/>
                <a:gd name="T9" fmla="*/ 0 h 1604"/>
                <a:gd name="T10" fmla="*/ 1821 w 6217"/>
                <a:gd name="T11" fmla="*/ 525 h 1604"/>
                <a:gd name="T12" fmla="*/ 3952 w 6217"/>
                <a:gd name="T13" fmla="*/ 1512 h 1604"/>
                <a:gd name="T14" fmla="*/ 3958 w 6217"/>
                <a:gd name="T15" fmla="*/ 1482 h 1604"/>
                <a:gd name="T16" fmla="*/ 4276 w 6217"/>
                <a:gd name="T17" fmla="*/ 1472 h 1604"/>
                <a:gd name="T18" fmla="*/ 4192 w 6217"/>
                <a:gd name="T19" fmla="*/ 1341 h 1604"/>
                <a:gd name="T20" fmla="*/ 4342 w 6217"/>
                <a:gd name="T21" fmla="*/ 1317 h 1604"/>
                <a:gd name="T22" fmla="*/ 4671 w 6217"/>
                <a:gd name="T23" fmla="*/ 1454 h 1604"/>
                <a:gd name="T24" fmla="*/ 4667 w 6217"/>
                <a:gd name="T25" fmla="*/ 1395 h 1604"/>
                <a:gd name="T26" fmla="*/ 4833 w 6217"/>
                <a:gd name="T27" fmla="*/ 1412 h 1604"/>
                <a:gd name="T28" fmla="*/ 4934 w 6217"/>
                <a:gd name="T29" fmla="*/ 1482 h 1604"/>
                <a:gd name="T30" fmla="*/ 5113 w 6217"/>
                <a:gd name="T31" fmla="*/ 1473 h 1604"/>
                <a:gd name="T32" fmla="*/ 5247 w 6217"/>
                <a:gd name="T33" fmla="*/ 1412 h 1604"/>
                <a:gd name="T34" fmla="*/ 5486 w 6217"/>
                <a:gd name="T35" fmla="*/ 1507 h 1604"/>
                <a:gd name="T36" fmla="*/ 5325 w 6217"/>
                <a:gd name="T37" fmla="*/ 1317 h 1604"/>
                <a:gd name="T38" fmla="*/ 5756 w 6217"/>
                <a:gd name="T39" fmla="*/ 1312 h 1604"/>
                <a:gd name="T40" fmla="*/ 5846 w 6217"/>
                <a:gd name="T41" fmla="*/ 1411 h 1604"/>
                <a:gd name="T42" fmla="*/ 6025 w 6217"/>
                <a:gd name="T43" fmla="*/ 1507 h 1604"/>
                <a:gd name="T44" fmla="*/ 5919 w 6217"/>
                <a:gd name="T45" fmla="*/ 1317 h 1604"/>
                <a:gd name="T46" fmla="*/ 6128 w 6217"/>
                <a:gd name="T47" fmla="*/ 1343 h 1604"/>
                <a:gd name="T48" fmla="*/ 6215 w 6217"/>
                <a:gd name="T49" fmla="*/ 1343 h 1604"/>
                <a:gd name="T50" fmla="*/ 2173 w 6217"/>
                <a:gd name="T51" fmla="*/ 1344 h 1604"/>
                <a:gd name="T52" fmla="*/ 2342 w 6217"/>
                <a:gd name="T53" fmla="*/ 1412 h 1604"/>
                <a:gd name="T54" fmla="*/ 2491 w 6217"/>
                <a:gd name="T55" fmla="*/ 1314 h 1604"/>
                <a:gd name="T56" fmla="*/ 2413 w 6217"/>
                <a:gd name="T57" fmla="*/ 1317 h 1604"/>
                <a:gd name="T58" fmla="*/ 2606 w 6217"/>
                <a:gd name="T59" fmla="*/ 1312 h 1604"/>
                <a:gd name="T60" fmla="*/ 2784 w 6217"/>
                <a:gd name="T61" fmla="*/ 1344 h 1604"/>
                <a:gd name="T62" fmla="*/ 2953 w 6217"/>
                <a:gd name="T63" fmla="*/ 1412 h 1604"/>
                <a:gd name="T64" fmla="*/ 2988 w 6217"/>
                <a:gd name="T65" fmla="*/ 1412 h 1604"/>
                <a:gd name="T66" fmla="*/ 3086 w 6217"/>
                <a:gd name="T67" fmla="*/ 1312 h 1604"/>
                <a:gd name="T68" fmla="*/ 3316 w 6217"/>
                <a:gd name="T69" fmla="*/ 1343 h 1604"/>
                <a:gd name="T70" fmla="*/ 3258 w 6217"/>
                <a:gd name="T71" fmla="*/ 1348 h 1604"/>
                <a:gd name="T72" fmla="*/ 3363 w 6217"/>
                <a:gd name="T73" fmla="*/ 1317 h 1604"/>
                <a:gd name="T74" fmla="*/ 3436 w 6217"/>
                <a:gd name="T75" fmla="*/ 1439 h 1604"/>
                <a:gd name="T76" fmla="*/ 3529 w 6217"/>
                <a:gd name="T77" fmla="*/ 1572 h 1604"/>
                <a:gd name="T78" fmla="*/ 3674 w 6217"/>
                <a:gd name="T79" fmla="*/ 1317 h 1604"/>
                <a:gd name="T80" fmla="*/ 32 w 6217"/>
                <a:gd name="T81" fmla="*/ 1473 h 1604"/>
                <a:gd name="T82" fmla="*/ 167 w 6217"/>
                <a:gd name="T83" fmla="*/ 1412 h 1604"/>
                <a:gd name="T84" fmla="*/ 266 w 6217"/>
                <a:gd name="T85" fmla="*/ 1412 h 1604"/>
                <a:gd name="T86" fmla="*/ 608 w 6217"/>
                <a:gd name="T87" fmla="*/ 1476 h 1604"/>
                <a:gd name="T88" fmla="*/ 606 w 6217"/>
                <a:gd name="T89" fmla="*/ 1317 h 1604"/>
                <a:gd name="T90" fmla="*/ 1032 w 6217"/>
                <a:gd name="T91" fmla="*/ 1507 h 1604"/>
                <a:gd name="T92" fmla="*/ 814 w 6217"/>
                <a:gd name="T93" fmla="*/ 1361 h 1604"/>
                <a:gd name="T94" fmla="*/ 833 w 6217"/>
                <a:gd name="T95" fmla="*/ 1317 h 1604"/>
                <a:gd name="T96" fmla="*/ 1068 w 6217"/>
                <a:gd name="T97" fmla="*/ 1195 h 1604"/>
                <a:gd name="T98" fmla="*/ 1293 w 6217"/>
                <a:gd name="T99" fmla="*/ 1412 h 1604"/>
                <a:gd name="T100" fmla="*/ 1497 w 6217"/>
                <a:gd name="T101" fmla="*/ 1507 h 1604"/>
                <a:gd name="T102" fmla="*/ 1330 w 6217"/>
                <a:gd name="T103" fmla="*/ 1317 h 1604"/>
                <a:gd name="T104" fmla="*/ 1638 w 6217"/>
                <a:gd name="T105" fmla="*/ 1312 h 1604"/>
                <a:gd name="T106" fmla="*/ 1707 w 6217"/>
                <a:gd name="T107" fmla="*/ 1200 h 1604"/>
                <a:gd name="T108" fmla="*/ 1854 w 6217"/>
                <a:gd name="T109" fmla="*/ 1512 h 1604"/>
                <a:gd name="T110" fmla="*/ 1923 w 6217"/>
                <a:gd name="T111" fmla="*/ 1346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217" h="1604">
                  <a:moveTo>
                    <a:pt x="92" y="702"/>
                  </a:moveTo>
                  <a:cubicBezTo>
                    <a:pt x="94" y="702"/>
                    <a:pt x="94" y="702"/>
                    <a:pt x="94" y="702"/>
                  </a:cubicBezTo>
                  <a:cubicBezTo>
                    <a:pt x="128" y="764"/>
                    <a:pt x="207" y="814"/>
                    <a:pt x="305" y="814"/>
                  </a:cubicBezTo>
                  <a:cubicBezTo>
                    <a:pt x="459" y="814"/>
                    <a:pt x="580" y="689"/>
                    <a:pt x="580" y="525"/>
                  </a:cubicBezTo>
                  <a:cubicBezTo>
                    <a:pt x="580" y="358"/>
                    <a:pt x="464" y="236"/>
                    <a:pt x="291" y="236"/>
                  </a:cubicBezTo>
                  <a:cubicBezTo>
                    <a:pt x="212" y="236"/>
                    <a:pt x="145" y="271"/>
                    <a:pt x="94" y="330"/>
                  </a:cubicBezTo>
                  <a:cubicBezTo>
                    <a:pt x="92" y="330"/>
                    <a:pt x="92" y="330"/>
                    <a:pt x="92" y="330"/>
                  </a:cubicBezTo>
                  <a:cubicBezTo>
                    <a:pt x="92" y="0"/>
                    <a:pt x="92" y="0"/>
                    <a:pt x="92" y="0"/>
                  </a:cubicBezTo>
                  <a:cubicBezTo>
                    <a:pt x="0" y="0"/>
                    <a:pt x="0" y="0"/>
                    <a:pt x="0" y="0"/>
                  </a:cubicBezTo>
                  <a:cubicBezTo>
                    <a:pt x="0" y="799"/>
                    <a:pt x="0" y="799"/>
                    <a:pt x="0" y="799"/>
                  </a:cubicBezTo>
                  <a:cubicBezTo>
                    <a:pt x="92" y="799"/>
                    <a:pt x="92" y="799"/>
                    <a:pt x="92" y="799"/>
                  </a:cubicBezTo>
                  <a:lnTo>
                    <a:pt x="92" y="702"/>
                  </a:lnTo>
                  <a:close/>
                  <a:moveTo>
                    <a:pt x="287" y="320"/>
                  </a:moveTo>
                  <a:cubicBezTo>
                    <a:pt x="405" y="320"/>
                    <a:pt x="482" y="410"/>
                    <a:pt x="482" y="525"/>
                  </a:cubicBezTo>
                  <a:cubicBezTo>
                    <a:pt x="482" y="640"/>
                    <a:pt x="405" y="729"/>
                    <a:pt x="287" y="729"/>
                  </a:cubicBezTo>
                  <a:cubicBezTo>
                    <a:pt x="168" y="729"/>
                    <a:pt x="92" y="640"/>
                    <a:pt x="92" y="525"/>
                  </a:cubicBezTo>
                  <a:cubicBezTo>
                    <a:pt x="92" y="410"/>
                    <a:pt x="168" y="320"/>
                    <a:pt x="287" y="320"/>
                  </a:cubicBezTo>
                  <a:close/>
                  <a:moveTo>
                    <a:pt x="762" y="702"/>
                  </a:moveTo>
                  <a:cubicBezTo>
                    <a:pt x="765" y="702"/>
                    <a:pt x="765" y="702"/>
                    <a:pt x="765" y="702"/>
                  </a:cubicBezTo>
                  <a:cubicBezTo>
                    <a:pt x="799" y="764"/>
                    <a:pt x="877" y="813"/>
                    <a:pt x="976" y="813"/>
                  </a:cubicBezTo>
                  <a:cubicBezTo>
                    <a:pt x="1130" y="813"/>
                    <a:pt x="1251" y="689"/>
                    <a:pt x="1251" y="525"/>
                  </a:cubicBezTo>
                  <a:cubicBezTo>
                    <a:pt x="1251" y="358"/>
                    <a:pt x="1135" y="236"/>
                    <a:pt x="962" y="236"/>
                  </a:cubicBezTo>
                  <a:cubicBezTo>
                    <a:pt x="882" y="236"/>
                    <a:pt x="815" y="271"/>
                    <a:pt x="765" y="330"/>
                  </a:cubicBezTo>
                  <a:cubicBezTo>
                    <a:pt x="762" y="330"/>
                    <a:pt x="762" y="330"/>
                    <a:pt x="762" y="330"/>
                  </a:cubicBezTo>
                  <a:cubicBezTo>
                    <a:pt x="762" y="250"/>
                    <a:pt x="762" y="250"/>
                    <a:pt x="762" y="250"/>
                  </a:cubicBezTo>
                  <a:cubicBezTo>
                    <a:pt x="671" y="250"/>
                    <a:pt x="671" y="250"/>
                    <a:pt x="671" y="250"/>
                  </a:cubicBezTo>
                  <a:cubicBezTo>
                    <a:pt x="671" y="1057"/>
                    <a:pt x="671" y="1057"/>
                    <a:pt x="671" y="1057"/>
                  </a:cubicBezTo>
                  <a:cubicBezTo>
                    <a:pt x="762" y="1057"/>
                    <a:pt x="762" y="1057"/>
                    <a:pt x="762" y="1057"/>
                  </a:cubicBezTo>
                  <a:lnTo>
                    <a:pt x="762" y="702"/>
                  </a:lnTo>
                  <a:close/>
                  <a:moveTo>
                    <a:pt x="957" y="320"/>
                  </a:moveTo>
                  <a:cubicBezTo>
                    <a:pt x="1076" y="320"/>
                    <a:pt x="1152" y="410"/>
                    <a:pt x="1152" y="525"/>
                  </a:cubicBezTo>
                  <a:cubicBezTo>
                    <a:pt x="1152" y="640"/>
                    <a:pt x="1076" y="729"/>
                    <a:pt x="957" y="729"/>
                  </a:cubicBezTo>
                  <a:cubicBezTo>
                    <a:pt x="839" y="729"/>
                    <a:pt x="762" y="640"/>
                    <a:pt x="762" y="525"/>
                  </a:cubicBezTo>
                  <a:cubicBezTo>
                    <a:pt x="762" y="410"/>
                    <a:pt x="839" y="320"/>
                    <a:pt x="957" y="320"/>
                  </a:cubicBezTo>
                  <a:close/>
                  <a:moveTo>
                    <a:pt x="1607" y="813"/>
                  </a:moveTo>
                  <a:cubicBezTo>
                    <a:pt x="1706" y="813"/>
                    <a:pt x="1785" y="764"/>
                    <a:pt x="1819" y="702"/>
                  </a:cubicBezTo>
                  <a:cubicBezTo>
                    <a:pt x="1821" y="702"/>
                    <a:pt x="1821" y="702"/>
                    <a:pt x="1821" y="702"/>
                  </a:cubicBezTo>
                  <a:cubicBezTo>
                    <a:pt x="1821" y="799"/>
                    <a:pt x="1821" y="799"/>
                    <a:pt x="1821" y="799"/>
                  </a:cubicBezTo>
                  <a:cubicBezTo>
                    <a:pt x="1912" y="799"/>
                    <a:pt x="1912" y="799"/>
                    <a:pt x="1912" y="799"/>
                  </a:cubicBezTo>
                  <a:cubicBezTo>
                    <a:pt x="1912" y="0"/>
                    <a:pt x="1912" y="0"/>
                    <a:pt x="1912" y="0"/>
                  </a:cubicBezTo>
                  <a:cubicBezTo>
                    <a:pt x="1821" y="0"/>
                    <a:pt x="1821" y="0"/>
                    <a:pt x="1821" y="0"/>
                  </a:cubicBezTo>
                  <a:cubicBezTo>
                    <a:pt x="1821" y="330"/>
                    <a:pt x="1821" y="330"/>
                    <a:pt x="1821" y="330"/>
                  </a:cubicBezTo>
                  <a:cubicBezTo>
                    <a:pt x="1819" y="330"/>
                    <a:pt x="1819" y="330"/>
                    <a:pt x="1819" y="330"/>
                  </a:cubicBezTo>
                  <a:cubicBezTo>
                    <a:pt x="1768" y="271"/>
                    <a:pt x="1701" y="236"/>
                    <a:pt x="1621" y="236"/>
                  </a:cubicBezTo>
                  <a:cubicBezTo>
                    <a:pt x="1449" y="236"/>
                    <a:pt x="1333" y="358"/>
                    <a:pt x="1333" y="525"/>
                  </a:cubicBezTo>
                  <a:cubicBezTo>
                    <a:pt x="1333" y="689"/>
                    <a:pt x="1454" y="813"/>
                    <a:pt x="1607" y="813"/>
                  </a:cubicBezTo>
                  <a:close/>
                  <a:moveTo>
                    <a:pt x="1626" y="320"/>
                  </a:moveTo>
                  <a:cubicBezTo>
                    <a:pt x="1745" y="320"/>
                    <a:pt x="1821" y="410"/>
                    <a:pt x="1821" y="525"/>
                  </a:cubicBezTo>
                  <a:cubicBezTo>
                    <a:pt x="1821" y="640"/>
                    <a:pt x="1745" y="729"/>
                    <a:pt x="1626" y="729"/>
                  </a:cubicBezTo>
                  <a:cubicBezTo>
                    <a:pt x="1507" y="729"/>
                    <a:pt x="1431" y="640"/>
                    <a:pt x="1431" y="525"/>
                  </a:cubicBezTo>
                  <a:cubicBezTo>
                    <a:pt x="1431" y="410"/>
                    <a:pt x="1507" y="320"/>
                    <a:pt x="1626" y="320"/>
                  </a:cubicBezTo>
                  <a:close/>
                  <a:moveTo>
                    <a:pt x="4026" y="1344"/>
                  </a:moveTo>
                  <a:cubicBezTo>
                    <a:pt x="4025" y="1344"/>
                    <a:pt x="4025" y="1344"/>
                    <a:pt x="4025" y="1344"/>
                  </a:cubicBezTo>
                  <a:cubicBezTo>
                    <a:pt x="4007" y="1324"/>
                    <a:pt x="3984" y="1312"/>
                    <a:pt x="3957" y="1312"/>
                  </a:cubicBezTo>
                  <a:cubicBezTo>
                    <a:pt x="3897" y="1312"/>
                    <a:pt x="3857" y="1354"/>
                    <a:pt x="3857" y="1412"/>
                  </a:cubicBezTo>
                  <a:cubicBezTo>
                    <a:pt x="3857" y="1469"/>
                    <a:pt x="3898" y="1512"/>
                    <a:pt x="3952" y="1512"/>
                  </a:cubicBezTo>
                  <a:cubicBezTo>
                    <a:pt x="3986" y="1512"/>
                    <a:pt x="4013" y="1495"/>
                    <a:pt x="4025" y="1473"/>
                  </a:cubicBezTo>
                  <a:cubicBezTo>
                    <a:pt x="4026" y="1473"/>
                    <a:pt x="4026" y="1473"/>
                    <a:pt x="4026" y="1473"/>
                  </a:cubicBezTo>
                  <a:cubicBezTo>
                    <a:pt x="4026" y="1507"/>
                    <a:pt x="4026" y="1507"/>
                    <a:pt x="4026" y="1507"/>
                  </a:cubicBezTo>
                  <a:cubicBezTo>
                    <a:pt x="4057" y="1507"/>
                    <a:pt x="4057" y="1507"/>
                    <a:pt x="4057" y="1507"/>
                  </a:cubicBezTo>
                  <a:cubicBezTo>
                    <a:pt x="4057" y="1200"/>
                    <a:pt x="4057" y="1200"/>
                    <a:pt x="4057" y="1200"/>
                  </a:cubicBezTo>
                  <a:cubicBezTo>
                    <a:pt x="4026" y="1200"/>
                    <a:pt x="4026" y="1200"/>
                    <a:pt x="4026" y="1200"/>
                  </a:cubicBezTo>
                  <a:lnTo>
                    <a:pt x="4026" y="1344"/>
                  </a:lnTo>
                  <a:close/>
                  <a:moveTo>
                    <a:pt x="3958" y="1482"/>
                  </a:moveTo>
                  <a:cubicBezTo>
                    <a:pt x="3917" y="1482"/>
                    <a:pt x="3891" y="1452"/>
                    <a:pt x="3891" y="1412"/>
                  </a:cubicBezTo>
                  <a:cubicBezTo>
                    <a:pt x="3891" y="1372"/>
                    <a:pt x="3917" y="1341"/>
                    <a:pt x="3958" y="1341"/>
                  </a:cubicBezTo>
                  <a:cubicBezTo>
                    <a:pt x="3999" y="1341"/>
                    <a:pt x="4026" y="1372"/>
                    <a:pt x="4026" y="1412"/>
                  </a:cubicBezTo>
                  <a:cubicBezTo>
                    <a:pt x="4026" y="1452"/>
                    <a:pt x="3999" y="1482"/>
                    <a:pt x="3958" y="1482"/>
                  </a:cubicBezTo>
                  <a:close/>
                  <a:moveTo>
                    <a:pt x="4193" y="1312"/>
                  </a:moveTo>
                  <a:cubicBezTo>
                    <a:pt x="4137" y="1312"/>
                    <a:pt x="4095" y="1353"/>
                    <a:pt x="4095" y="1412"/>
                  </a:cubicBezTo>
                  <a:cubicBezTo>
                    <a:pt x="4095" y="1467"/>
                    <a:pt x="4132" y="1512"/>
                    <a:pt x="4192" y="1512"/>
                  </a:cubicBezTo>
                  <a:cubicBezTo>
                    <a:pt x="4227" y="1512"/>
                    <a:pt x="4254" y="1501"/>
                    <a:pt x="4276" y="1472"/>
                  </a:cubicBezTo>
                  <a:cubicBezTo>
                    <a:pt x="4252" y="1454"/>
                    <a:pt x="4252" y="1454"/>
                    <a:pt x="4252" y="1454"/>
                  </a:cubicBezTo>
                  <a:cubicBezTo>
                    <a:pt x="4237" y="1473"/>
                    <a:pt x="4219" y="1482"/>
                    <a:pt x="4192" y="1482"/>
                  </a:cubicBezTo>
                  <a:cubicBezTo>
                    <a:pt x="4157" y="1482"/>
                    <a:pt x="4132" y="1454"/>
                    <a:pt x="4129" y="1421"/>
                  </a:cubicBezTo>
                  <a:cubicBezTo>
                    <a:pt x="4283" y="1421"/>
                    <a:pt x="4283" y="1421"/>
                    <a:pt x="4283" y="1421"/>
                  </a:cubicBezTo>
                  <a:cubicBezTo>
                    <a:pt x="4283" y="1411"/>
                    <a:pt x="4283" y="1411"/>
                    <a:pt x="4283" y="1411"/>
                  </a:cubicBezTo>
                  <a:cubicBezTo>
                    <a:pt x="4283" y="1348"/>
                    <a:pt x="4246" y="1312"/>
                    <a:pt x="4193" y="1312"/>
                  </a:cubicBezTo>
                  <a:close/>
                  <a:moveTo>
                    <a:pt x="4129" y="1395"/>
                  </a:moveTo>
                  <a:cubicBezTo>
                    <a:pt x="4133" y="1363"/>
                    <a:pt x="4157" y="1341"/>
                    <a:pt x="4192" y="1341"/>
                  </a:cubicBezTo>
                  <a:cubicBezTo>
                    <a:pt x="4227" y="1341"/>
                    <a:pt x="4248" y="1363"/>
                    <a:pt x="4249" y="1395"/>
                  </a:cubicBezTo>
                  <a:lnTo>
                    <a:pt x="4129" y="1395"/>
                  </a:lnTo>
                  <a:close/>
                  <a:moveTo>
                    <a:pt x="4459" y="1317"/>
                  </a:moveTo>
                  <a:cubicBezTo>
                    <a:pt x="4493" y="1317"/>
                    <a:pt x="4493" y="1317"/>
                    <a:pt x="4493" y="1317"/>
                  </a:cubicBezTo>
                  <a:cubicBezTo>
                    <a:pt x="4418" y="1507"/>
                    <a:pt x="4418" y="1507"/>
                    <a:pt x="4418" y="1507"/>
                  </a:cubicBezTo>
                  <a:cubicBezTo>
                    <a:pt x="4383" y="1507"/>
                    <a:pt x="4383" y="1507"/>
                    <a:pt x="4383" y="1507"/>
                  </a:cubicBezTo>
                  <a:cubicBezTo>
                    <a:pt x="4305" y="1317"/>
                    <a:pt x="4305" y="1317"/>
                    <a:pt x="4305" y="1317"/>
                  </a:cubicBezTo>
                  <a:cubicBezTo>
                    <a:pt x="4342" y="1317"/>
                    <a:pt x="4342" y="1317"/>
                    <a:pt x="4342" y="1317"/>
                  </a:cubicBezTo>
                  <a:cubicBezTo>
                    <a:pt x="4401" y="1466"/>
                    <a:pt x="4401" y="1466"/>
                    <a:pt x="4401" y="1466"/>
                  </a:cubicBezTo>
                  <a:cubicBezTo>
                    <a:pt x="4402" y="1466"/>
                    <a:pt x="4402" y="1466"/>
                    <a:pt x="4402" y="1466"/>
                  </a:cubicBezTo>
                  <a:lnTo>
                    <a:pt x="4459" y="1317"/>
                  </a:lnTo>
                  <a:close/>
                  <a:moveTo>
                    <a:pt x="4611" y="1312"/>
                  </a:moveTo>
                  <a:cubicBezTo>
                    <a:pt x="4555" y="1312"/>
                    <a:pt x="4514" y="1353"/>
                    <a:pt x="4514" y="1412"/>
                  </a:cubicBezTo>
                  <a:cubicBezTo>
                    <a:pt x="4514" y="1467"/>
                    <a:pt x="4550" y="1512"/>
                    <a:pt x="4610" y="1512"/>
                  </a:cubicBezTo>
                  <a:cubicBezTo>
                    <a:pt x="4645" y="1512"/>
                    <a:pt x="4672" y="1501"/>
                    <a:pt x="4695" y="1472"/>
                  </a:cubicBezTo>
                  <a:cubicBezTo>
                    <a:pt x="4671" y="1454"/>
                    <a:pt x="4671" y="1454"/>
                    <a:pt x="4671" y="1454"/>
                  </a:cubicBezTo>
                  <a:cubicBezTo>
                    <a:pt x="4656" y="1473"/>
                    <a:pt x="4637" y="1482"/>
                    <a:pt x="4610" y="1482"/>
                  </a:cubicBezTo>
                  <a:cubicBezTo>
                    <a:pt x="4576" y="1482"/>
                    <a:pt x="4550" y="1454"/>
                    <a:pt x="4548" y="1421"/>
                  </a:cubicBezTo>
                  <a:cubicBezTo>
                    <a:pt x="4702" y="1421"/>
                    <a:pt x="4702" y="1421"/>
                    <a:pt x="4702" y="1421"/>
                  </a:cubicBezTo>
                  <a:cubicBezTo>
                    <a:pt x="4702" y="1411"/>
                    <a:pt x="4702" y="1411"/>
                    <a:pt x="4702" y="1411"/>
                  </a:cubicBezTo>
                  <a:cubicBezTo>
                    <a:pt x="4702" y="1348"/>
                    <a:pt x="4665" y="1312"/>
                    <a:pt x="4611" y="1312"/>
                  </a:cubicBezTo>
                  <a:close/>
                  <a:moveTo>
                    <a:pt x="4548" y="1395"/>
                  </a:moveTo>
                  <a:cubicBezTo>
                    <a:pt x="4552" y="1363"/>
                    <a:pt x="4575" y="1341"/>
                    <a:pt x="4610" y="1341"/>
                  </a:cubicBezTo>
                  <a:cubicBezTo>
                    <a:pt x="4645" y="1341"/>
                    <a:pt x="4666" y="1363"/>
                    <a:pt x="4667" y="1395"/>
                  </a:cubicBezTo>
                  <a:lnTo>
                    <a:pt x="4548" y="1395"/>
                  </a:lnTo>
                  <a:close/>
                  <a:moveTo>
                    <a:pt x="4754" y="1200"/>
                  </a:moveTo>
                  <a:cubicBezTo>
                    <a:pt x="4786" y="1200"/>
                    <a:pt x="4786" y="1200"/>
                    <a:pt x="4786" y="1200"/>
                  </a:cubicBezTo>
                  <a:cubicBezTo>
                    <a:pt x="4786" y="1507"/>
                    <a:pt x="4786" y="1507"/>
                    <a:pt x="4786" y="1507"/>
                  </a:cubicBezTo>
                  <a:cubicBezTo>
                    <a:pt x="4754" y="1507"/>
                    <a:pt x="4754" y="1507"/>
                    <a:pt x="4754" y="1507"/>
                  </a:cubicBezTo>
                  <a:lnTo>
                    <a:pt x="4754" y="1200"/>
                  </a:lnTo>
                  <a:close/>
                  <a:moveTo>
                    <a:pt x="4934" y="1312"/>
                  </a:moveTo>
                  <a:cubicBezTo>
                    <a:pt x="4876" y="1312"/>
                    <a:pt x="4833" y="1352"/>
                    <a:pt x="4833" y="1412"/>
                  </a:cubicBezTo>
                  <a:cubicBezTo>
                    <a:pt x="4833" y="1471"/>
                    <a:pt x="4876" y="1512"/>
                    <a:pt x="4934" y="1512"/>
                  </a:cubicBezTo>
                  <a:cubicBezTo>
                    <a:pt x="4993" y="1512"/>
                    <a:pt x="5036" y="1471"/>
                    <a:pt x="5036" y="1412"/>
                  </a:cubicBezTo>
                  <a:cubicBezTo>
                    <a:pt x="5036" y="1352"/>
                    <a:pt x="4993" y="1312"/>
                    <a:pt x="4934" y="1312"/>
                  </a:cubicBezTo>
                  <a:close/>
                  <a:moveTo>
                    <a:pt x="4934" y="1482"/>
                  </a:moveTo>
                  <a:cubicBezTo>
                    <a:pt x="4893" y="1482"/>
                    <a:pt x="4867" y="1452"/>
                    <a:pt x="4867" y="1412"/>
                  </a:cubicBezTo>
                  <a:cubicBezTo>
                    <a:pt x="4867" y="1372"/>
                    <a:pt x="4893" y="1341"/>
                    <a:pt x="4934" y="1341"/>
                  </a:cubicBezTo>
                  <a:cubicBezTo>
                    <a:pt x="4975" y="1341"/>
                    <a:pt x="5002" y="1372"/>
                    <a:pt x="5002" y="1412"/>
                  </a:cubicBezTo>
                  <a:cubicBezTo>
                    <a:pt x="5002" y="1452"/>
                    <a:pt x="4975" y="1482"/>
                    <a:pt x="4934" y="1482"/>
                  </a:cubicBezTo>
                  <a:close/>
                  <a:moveTo>
                    <a:pt x="5182" y="1312"/>
                  </a:moveTo>
                  <a:cubicBezTo>
                    <a:pt x="5154" y="1312"/>
                    <a:pt x="5131" y="1324"/>
                    <a:pt x="5113" y="1344"/>
                  </a:cubicBezTo>
                  <a:cubicBezTo>
                    <a:pt x="5113" y="1344"/>
                    <a:pt x="5113" y="1344"/>
                    <a:pt x="5113" y="1344"/>
                  </a:cubicBezTo>
                  <a:cubicBezTo>
                    <a:pt x="5113" y="1317"/>
                    <a:pt x="5113" y="1317"/>
                    <a:pt x="5113" y="1317"/>
                  </a:cubicBezTo>
                  <a:cubicBezTo>
                    <a:pt x="5081" y="1317"/>
                    <a:pt x="5081" y="1317"/>
                    <a:pt x="5081" y="1317"/>
                  </a:cubicBezTo>
                  <a:cubicBezTo>
                    <a:pt x="5081" y="1600"/>
                    <a:pt x="5081" y="1600"/>
                    <a:pt x="5081" y="1600"/>
                  </a:cubicBezTo>
                  <a:cubicBezTo>
                    <a:pt x="5113" y="1600"/>
                    <a:pt x="5113" y="1600"/>
                    <a:pt x="5113" y="1600"/>
                  </a:cubicBezTo>
                  <a:cubicBezTo>
                    <a:pt x="5113" y="1473"/>
                    <a:pt x="5113" y="1473"/>
                    <a:pt x="5113" y="1473"/>
                  </a:cubicBezTo>
                  <a:cubicBezTo>
                    <a:pt x="5113" y="1473"/>
                    <a:pt x="5113" y="1473"/>
                    <a:pt x="5113" y="1473"/>
                  </a:cubicBezTo>
                  <a:cubicBezTo>
                    <a:pt x="5125" y="1495"/>
                    <a:pt x="5152" y="1512"/>
                    <a:pt x="5186" y="1512"/>
                  </a:cubicBezTo>
                  <a:cubicBezTo>
                    <a:pt x="5240" y="1512"/>
                    <a:pt x="5282" y="1469"/>
                    <a:pt x="5282" y="1412"/>
                  </a:cubicBezTo>
                  <a:cubicBezTo>
                    <a:pt x="5282" y="1354"/>
                    <a:pt x="5241" y="1312"/>
                    <a:pt x="5182" y="1312"/>
                  </a:cubicBezTo>
                  <a:close/>
                  <a:moveTo>
                    <a:pt x="5180" y="1482"/>
                  </a:moveTo>
                  <a:cubicBezTo>
                    <a:pt x="5139" y="1482"/>
                    <a:pt x="5113" y="1452"/>
                    <a:pt x="5113" y="1412"/>
                  </a:cubicBezTo>
                  <a:cubicBezTo>
                    <a:pt x="5113" y="1372"/>
                    <a:pt x="5139" y="1341"/>
                    <a:pt x="5180" y="1341"/>
                  </a:cubicBezTo>
                  <a:cubicBezTo>
                    <a:pt x="5221" y="1341"/>
                    <a:pt x="5247" y="1372"/>
                    <a:pt x="5247" y="1412"/>
                  </a:cubicBezTo>
                  <a:cubicBezTo>
                    <a:pt x="5247" y="1452"/>
                    <a:pt x="5221" y="1482"/>
                    <a:pt x="5180" y="1482"/>
                  </a:cubicBezTo>
                  <a:close/>
                  <a:moveTo>
                    <a:pt x="5613" y="1391"/>
                  </a:moveTo>
                  <a:cubicBezTo>
                    <a:pt x="5613" y="1507"/>
                    <a:pt x="5613" y="1507"/>
                    <a:pt x="5613" y="1507"/>
                  </a:cubicBezTo>
                  <a:cubicBezTo>
                    <a:pt x="5581" y="1507"/>
                    <a:pt x="5581" y="1507"/>
                    <a:pt x="5581" y="1507"/>
                  </a:cubicBezTo>
                  <a:cubicBezTo>
                    <a:pt x="5581" y="1393"/>
                    <a:pt x="5581" y="1393"/>
                    <a:pt x="5581" y="1393"/>
                  </a:cubicBezTo>
                  <a:cubicBezTo>
                    <a:pt x="5581" y="1367"/>
                    <a:pt x="5572" y="1341"/>
                    <a:pt x="5535" y="1341"/>
                  </a:cubicBezTo>
                  <a:cubicBezTo>
                    <a:pt x="5508" y="1341"/>
                    <a:pt x="5486" y="1363"/>
                    <a:pt x="5486" y="1397"/>
                  </a:cubicBezTo>
                  <a:cubicBezTo>
                    <a:pt x="5486" y="1507"/>
                    <a:pt x="5486" y="1507"/>
                    <a:pt x="5486" y="1507"/>
                  </a:cubicBezTo>
                  <a:cubicBezTo>
                    <a:pt x="5454" y="1507"/>
                    <a:pt x="5454" y="1507"/>
                    <a:pt x="5454" y="1507"/>
                  </a:cubicBezTo>
                  <a:cubicBezTo>
                    <a:pt x="5454" y="1399"/>
                    <a:pt x="5454" y="1399"/>
                    <a:pt x="5454" y="1399"/>
                  </a:cubicBezTo>
                  <a:cubicBezTo>
                    <a:pt x="5454" y="1357"/>
                    <a:pt x="5443" y="1341"/>
                    <a:pt x="5417" y="1341"/>
                  </a:cubicBezTo>
                  <a:cubicBezTo>
                    <a:pt x="5376" y="1341"/>
                    <a:pt x="5358" y="1371"/>
                    <a:pt x="5358" y="1414"/>
                  </a:cubicBezTo>
                  <a:cubicBezTo>
                    <a:pt x="5358" y="1507"/>
                    <a:pt x="5358" y="1507"/>
                    <a:pt x="5358" y="1507"/>
                  </a:cubicBezTo>
                  <a:cubicBezTo>
                    <a:pt x="5327" y="1507"/>
                    <a:pt x="5327" y="1507"/>
                    <a:pt x="5327" y="1507"/>
                  </a:cubicBezTo>
                  <a:cubicBezTo>
                    <a:pt x="5327" y="1362"/>
                    <a:pt x="5327" y="1362"/>
                    <a:pt x="5327" y="1362"/>
                  </a:cubicBezTo>
                  <a:cubicBezTo>
                    <a:pt x="5327" y="1344"/>
                    <a:pt x="5325" y="1329"/>
                    <a:pt x="5325" y="1317"/>
                  </a:cubicBezTo>
                  <a:cubicBezTo>
                    <a:pt x="5355" y="1317"/>
                    <a:pt x="5355" y="1317"/>
                    <a:pt x="5355" y="1317"/>
                  </a:cubicBezTo>
                  <a:cubicBezTo>
                    <a:pt x="5355" y="1327"/>
                    <a:pt x="5356" y="1337"/>
                    <a:pt x="5356" y="1348"/>
                  </a:cubicBezTo>
                  <a:cubicBezTo>
                    <a:pt x="5357" y="1348"/>
                    <a:pt x="5357" y="1348"/>
                    <a:pt x="5357" y="1348"/>
                  </a:cubicBezTo>
                  <a:cubicBezTo>
                    <a:pt x="5365" y="1329"/>
                    <a:pt x="5389" y="1312"/>
                    <a:pt x="5420" y="1312"/>
                  </a:cubicBezTo>
                  <a:cubicBezTo>
                    <a:pt x="5461" y="1312"/>
                    <a:pt x="5474" y="1335"/>
                    <a:pt x="5480" y="1348"/>
                  </a:cubicBezTo>
                  <a:cubicBezTo>
                    <a:pt x="5494" y="1326"/>
                    <a:pt x="5512" y="1312"/>
                    <a:pt x="5540" y="1312"/>
                  </a:cubicBezTo>
                  <a:cubicBezTo>
                    <a:pt x="5595" y="1312"/>
                    <a:pt x="5613" y="1342"/>
                    <a:pt x="5613" y="1391"/>
                  </a:cubicBezTo>
                  <a:close/>
                  <a:moveTo>
                    <a:pt x="5756" y="1312"/>
                  </a:moveTo>
                  <a:cubicBezTo>
                    <a:pt x="5700" y="1312"/>
                    <a:pt x="5658" y="1353"/>
                    <a:pt x="5658" y="1412"/>
                  </a:cubicBezTo>
                  <a:cubicBezTo>
                    <a:pt x="5658" y="1467"/>
                    <a:pt x="5695" y="1512"/>
                    <a:pt x="5754" y="1512"/>
                  </a:cubicBezTo>
                  <a:cubicBezTo>
                    <a:pt x="5790" y="1512"/>
                    <a:pt x="5817" y="1501"/>
                    <a:pt x="5839" y="1472"/>
                  </a:cubicBezTo>
                  <a:cubicBezTo>
                    <a:pt x="5815" y="1454"/>
                    <a:pt x="5815" y="1454"/>
                    <a:pt x="5815" y="1454"/>
                  </a:cubicBezTo>
                  <a:cubicBezTo>
                    <a:pt x="5800" y="1473"/>
                    <a:pt x="5782" y="1482"/>
                    <a:pt x="5754" y="1482"/>
                  </a:cubicBezTo>
                  <a:cubicBezTo>
                    <a:pt x="5720" y="1482"/>
                    <a:pt x="5695" y="1454"/>
                    <a:pt x="5692" y="1421"/>
                  </a:cubicBezTo>
                  <a:cubicBezTo>
                    <a:pt x="5846" y="1421"/>
                    <a:pt x="5846" y="1421"/>
                    <a:pt x="5846" y="1421"/>
                  </a:cubicBezTo>
                  <a:cubicBezTo>
                    <a:pt x="5846" y="1411"/>
                    <a:pt x="5846" y="1411"/>
                    <a:pt x="5846" y="1411"/>
                  </a:cubicBezTo>
                  <a:cubicBezTo>
                    <a:pt x="5846" y="1348"/>
                    <a:pt x="5809" y="1312"/>
                    <a:pt x="5756" y="1312"/>
                  </a:cubicBezTo>
                  <a:close/>
                  <a:moveTo>
                    <a:pt x="5692" y="1395"/>
                  </a:moveTo>
                  <a:cubicBezTo>
                    <a:pt x="5696" y="1363"/>
                    <a:pt x="5720" y="1341"/>
                    <a:pt x="5754" y="1341"/>
                  </a:cubicBezTo>
                  <a:cubicBezTo>
                    <a:pt x="5789" y="1341"/>
                    <a:pt x="5811" y="1363"/>
                    <a:pt x="5812" y="1395"/>
                  </a:cubicBezTo>
                  <a:lnTo>
                    <a:pt x="5692" y="1395"/>
                  </a:lnTo>
                  <a:close/>
                  <a:moveTo>
                    <a:pt x="6057" y="1389"/>
                  </a:moveTo>
                  <a:cubicBezTo>
                    <a:pt x="6057" y="1507"/>
                    <a:pt x="6057" y="1507"/>
                    <a:pt x="6057" y="1507"/>
                  </a:cubicBezTo>
                  <a:cubicBezTo>
                    <a:pt x="6025" y="1507"/>
                    <a:pt x="6025" y="1507"/>
                    <a:pt x="6025" y="1507"/>
                  </a:cubicBezTo>
                  <a:cubicBezTo>
                    <a:pt x="6025" y="1393"/>
                    <a:pt x="6025" y="1393"/>
                    <a:pt x="6025" y="1393"/>
                  </a:cubicBezTo>
                  <a:cubicBezTo>
                    <a:pt x="6025" y="1361"/>
                    <a:pt x="6011" y="1341"/>
                    <a:pt x="5982" y="1341"/>
                  </a:cubicBezTo>
                  <a:cubicBezTo>
                    <a:pt x="5941" y="1341"/>
                    <a:pt x="5923" y="1371"/>
                    <a:pt x="5923" y="1414"/>
                  </a:cubicBezTo>
                  <a:cubicBezTo>
                    <a:pt x="5923" y="1507"/>
                    <a:pt x="5923" y="1507"/>
                    <a:pt x="5923" y="1507"/>
                  </a:cubicBezTo>
                  <a:cubicBezTo>
                    <a:pt x="5891" y="1507"/>
                    <a:pt x="5891" y="1507"/>
                    <a:pt x="5891" y="1507"/>
                  </a:cubicBezTo>
                  <a:cubicBezTo>
                    <a:pt x="5891" y="1362"/>
                    <a:pt x="5891" y="1362"/>
                    <a:pt x="5891" y="1362"/>
                  </a:cubicBezTo>
                  <a:cubicBezTo>
                    <a:pt x="5891" y="1344"/>
                    <a:pt x="5889" y="1329"/>
                    <a:pt x="5889" y="1317"/>
                  </a:cubicBezTo>
                  <a:cubicBezTo>
                    <a:pt x="5919" y="1317"/>
                    <a:pt x="5919" y="1317"/>
                    <a:pt x="5919" y="1317"/>
                  </a:cubicBezTo>
                  <a:cubicBezTo>
                    <a:pt x="5919" y="1327"/>
                    <a:pt x="5920" y="1337"/>
                    <a:pt x="5920" y="1348"/>
                  </a:cubicBezTo>
                  <a:cubicBezTo>
                    <a:pt x="5921" y="1348"/>
                    <a:pt x="5921" y="1348"/>
                    <a:pt x="5921" y="1348"/>
                  </a:cubicBezTo>
                  <a:cubicBezTo>
                    <a:pt x="5930" y="1329"/>
                    <a:pt x="5953" y="1312"/>
                    <a:pt x="5984" y="1312"/>
                  </a:cubicBezTo>
                  <a:cubicBezTo>
                    <a:pt x="6034" y="1312"/>
                    <a:pt x="6057" y="1343"/>
                    <a:pt x="6057" y="1389"/>
                  </a:cubicBezTo>
                  <a:close/>
                  <a:moveTo>
                    <a:pt x="6217" y="1505"/>
                  </a:moveTo>
                  <a:cubicBezTo>
                    <a:pt x="6206" y="1510"/>
                    <a:pt x="6192" y="1512"/>
                    <a:pt x="6180" y="1512"/>
                  </a:cubicBezTo>
                  <a:cubicBezTo>
                    <a:pt x="6135" y="1512"/>
                    <a:pt x="6128" y="1487"/>
                    <a:pt x="6128" y="1448"/>
                  </a:cubicBezTo>
                  <a:cubicBezTo>
                    <a:pt x="6128" y="1343"/>
                    <a:pt x="6128" y="1343"/>
                    <a:pt x="6128" y="1343"/>
                  </a:cubicBezTo>
                  <a:cubicBezTo>
                    <a:pt x="6086" y="1343"/>
                    <a:pt x="6086" y="1343"/>
                    <a:pt x="6086" y="1343"/>
                  </a:cubicBezTo>
                  <a:cubicBezTo>
                    <a:pt x="6086" y="1317"/>
                    <a:pt x="6086" y="1317"/>
                    <a:pt x="6086" y="1317"/>
                  </a:cubicBezTo>
                  <a:cubicBezTo>
                    <a:pt x="6128" y="1317"/>
                    <a:pt x="6128" y="1317"/>
                    <a:pt x="6128" y="1317"/>
                  </a:cubicBezTo>
                  <a:cubicBezTo>
                    <a:pt x="6128" y="1263"/>
                    <a:pt x="6128" y="1263"/>
                    <a:pt x="6128" y="1263"/>
                  </a:cubicBezTo>
                  <a:cubicBezTo>
                    <a:pt x="6159" y="1263"/>
                    <a:pt x="6159" y="1263"/>
                    <a:pt x="6159" y="1263"/>
                  </a:cubicBezTo>
                  <a:cubicBezTo>
                    <a:pt x="6159" y="1317"/>
                    <a:pt x="6159" y="1317"/>
                    <a:pt x="6159" y="1317"/>
                  </a:cubicBezTo>
                  <a:cubicBezTo>
                    <a:pt x="6215" y="1317"/>
                    <a:pt x="6215" y="1317"/>
                    <a:pt x="6215" y="1317"/>
                  </a:cubicBezTo>
                  <a:cubicBezTo>
                    <a:pt x="6215" y="1343"/>
                    <a:pt x="6215" y="1343"/>
                    <a:pt x="6215" y="1343"/>
                  </a:cubicBezTo>
                  <a:cubicBezTo>
                    <a:pt x="6159" y="1343"/>
                    <a:pt x="6159" y="1343"/>
                    <a:pt x="6159" y="1343"/>
                  </a:cubicBezTo>
                  <a:cubicBezTo>
                    <a:pt x="6159" y="1439"/>
                    <a:pt x="6159" y="1439"/>
                    <a:pt x="6159" y="1439"/>
                  </a:cubicBezTo>
                  <a:cubicBezTo>
                    <a:pt x="6159" y="1463"/>
                    <a:pt x="6160" y="1482"/>
                    <a:pt x="6188" y="1482"/>
                  </a:cubicBezTo>
                  <a:cubicBezTo>
                    <a:pt x="6197" y="1482"/>
                    <a:pt x="6207" y="1480"/>
                    <a:pt x="6216" y="1476"/>
                  </a:cubicBezTo>
                  <a:lnTo>
                    <a:pt x="6217" y="1505"/>
                  </a:lnTo>
                  <a:close/>
                  <a:moveTo>
                    <a:pt x="2242" y="1312"/>
                  </a:moveTo>
                  <a:cubicBezTo>
                    <a:pt x="2215" y="1312"/>
                    <a:pt x="2191" y="1324"/>
                    <a:pt x="2174" y="1344"/>
                  </a:cubicBezTo>
                  <a:cubicBezTo>
                    <a:pt x="2173" y="1344"/>
                    <a:pt x="2173" y="1344"/>
                    <a:pt x="2173" y="1344"/>
                  </a:cubicBezTo>
                  <a:cubicBezTo>
                    <a:pt x="2173" y="1317"/>
                    <a:pt x="2173" y="1317"/>
                    <a:pt x="2173" y="1317"/>
                  </a:cubicBezTo>
                  <a:cubicBezTo>
                    <a:pt x="2141" y="1317"/>
                    <a:pt x="2141" y="1317"/>
                    <a:pt x="2141" y="1317"/>
                  </a:cubicBezTo>
                  <a:cubicBezTo>
                    <a:pt x="2141" y="1600"/>
                    <a:pt x="2141" y="1600"/>
                    <a:pt x="2141" y="1600"/>
                  </a:cubicBezTo>
                  <a:cubicBezTo>
                    <a:pt x="2173" y="1600"/>
                    <a:pt x="2173" y="1600"/>
                    <a:pt x="2173" y="1600"/>
                  </a:cubicBezTo>
                  <a:cubicBezTo>
                    <a:pt x="2173" y="1473"/>
                    <a:pt x="2173" y="1473"/>
                    <a:pt x="2173" y="1473"/>
                  </a:cubicBezTo>
                  <a:cubicBezTo>
                    <a:pt x="2174" y="1473"/>
                    <a:pt x="2174" y="1473"/>
                    <a:pt x="2174" y="1473"/>
                  </a:cubicBezTo>
                  <a:cubicBezTo>
                    <a:pt x="2186" y="1495"/>
                    <a:pt x="2213" y="1512"/>
                    <a:pt x="2247" y="1512"/>
                  </a:cubicBezTo>
                  <a:cubicBezTo>
                    <a:pt x="2300" y="1512"/>
                    <a:pt x="2342" y="1469"/>
                    <a:pt x="2342" y="1412"/>
                  </a:cubicBezTo>
                  <a:cubicBezTo>
                    <a:pt x="2342" y="1354"/>
                    <a:pt x="2302" y="1312"/>
                    <a:pt x="2242" y="1312"/>
                  </a:cubicBezTo>
                  <a:close/>
                  <a:moveTo>
                    <a:pt x="2241" y="1482"/>
                  </a:moveTo>
                  <a:cubicBezTo>
                    <a:pt x="2200" y="1482"/>
                    <a:pt x="2173" y="1452"/>
                    <a:pt x="2173" y="1412"/>
                  </a:cubicBezTo>
                  <a:cubicBezTo>
                    <a:pt x="2173" y="1372"/>
                    <a:pt x="2200" y="1341"/>
                    <a:pt x="2241" y="1341"/>
                  </a:cubicBezTo>
                  <a:cubicBezTo>
                    <a:pt x="2282" y="1341"/>
                    <a:pt x="2308" y="1372"/>
                    <a:pt x="2308" y="1412"/>
                  </a:cubicBezTo>
                  <a:cubicBezTo>
                    <a:pt x="2308" y="1452"/>
                    <a:pt x="2282" y="1482"/>
                    <a:pt x="2241" y="1482"/>
                  </a:cubicBezTo>
                  <a:close/>
                  <a:moveTo>
                    <a:pt x="2478" y="1312"/>
                  </a:moveTo>
                  <a:cubicBezTo>
                    <a:pt x="2482" y="1312"/>
                    <a:pt x="2487" y="1312"/>
                    <a:pt x="2491" y="1314"/>
                  </a:cubicBezTo>
                  <a:cubicBezTo>
                    <a:pt x="2489" y="1346"/>
                    <a:pt x="2489" y="1346"/>
                    <a:pt x="2489" y="1346"/>
                  </a:cubicBezTo>
                  <a:cubicBezTo>
                    <a:pt x="2484" y="1344"/>
                    <a:pt x="2478" y="1343"/>
                    <a:pt x="2472" y="1343"/>
                  </a:cubicBezTo>
                  <a:cubicBezTo>
                    <a:pt x="2433" y="1343"/>
                    <a:pt x="2416" y="1371"/>
                    <a:pt x="2416" y="1414"/>
                  </a:cubicBezTo>
                  <a:cubicBezTo>
                    <a:pt x="2416" y="1507"/>
                    <a:pt x="2416" y="1507"/>
                    <a:pt x="2416" y="1507"/>
                  </a:cubicBezTo>
                  <a:cubicBezTo>
                    <a:pt x="2385" y="1507"/>
                    <a:pt x="2385" y="1507"/>
                    <a:pt x="2385" y="1507"/>
                  </a:cubicBezTo>
                  <a:cubicBezTo>
                    <a:pt x="2385" y="1362"/>
                    <a:pt x="2385" y="1362"/>
                    <a:pt x="2385" y="1362"/>
                  </a:cubicBezTo>
                  <a:cubicBezTo>
                    <a:pt x="2385" y="1344"/>
                    <a:pt x="2383" y="1329"/>
                    <a:pt x="2383" y="1317"/>
                  </a:cubicBezTo>
                  <a:cubicBezTo>
                    <a:pt x="2413" y="1317"/>
                    <a:pt x="2413" y="1317"/>
                    <a:pt x="2413" y="1317"/>
                  </a:cubicBezTo>
                  <a:cubicBezTo>
                    <a:pt x="2413" y="1327"/>
                    <a:pt x="2414" y="1337"/>
                    <a:pt x="2414" y="1348"/>
                  </a:cubicBezTo>
                  <a:cubicBezTo>
                    <a:pt x="2415" y="1348"/>
                    <a:pt x="2415" y="1348"/>
                    <a:pt x="2415" y="1348"/>
                  </a:cubicBezTo>
                  <a:cubicBezTo>
                    <a:pt x="2423" y="1329"/>
                    <a:pt x="2447" y="1312"/>
                    <a:pt x="2478" y="1312"/>
                  </a:cubicBezTo>
                  <a:close/>
                  <a:moveTo>
                    <a:pt x="2606" y="1312"/>
                  </a:moveTo>
                  <a:cubicBezTo>
                    <a:pt x="2547" y="1312"/>
                    <a:pt x="2504" y="1352"/>
                    <a:pt x="2504" y="1412"/>
                  </a:cubicBezTo>
                  <a:cubicBezTo>
                    <a:pt x="2504" y="1471"/>
                    <a:pt x="2547" y="1512"/>
                    <a:pt x="2606" y="1512"/>
                  </a:cubicBezTo>
                  <a:cubicBezTo>
                    <a:pt x="2664" y="1512"/>
                    <a:pt x="2707" y="1471"/>
                    <a:pt x="2707" y="1412"/>
                  </a:cubicBezTo>
                  <a:cubicBezTo>
                    <a:pt x="2707" y="1352"/>
                    <a:pt x="2664" y="1312"/>
                    <a:pt x="2606" y="1312"/>
                  </a:cubicBezTo>
                  <a:close/>
                  <a:moveTo>
                    <a:pt x="2606" y="1482"/>
                  </a:moveTo>
                  <a:cubicBezTo>
                    <a:pt x="2565" y="1482"/>
                    <a:pt x="2538" y="1452"/>
                    <a:pt x="2538" y="1412"/>
                  </a:cubicBezTo>
                  <a:cubicBezTo>
                    <a:pt x="2538" y="1372"/>
                    <a:pt x="2565" y="1341"/>
                    <a:pt x="2606" y="1341"/>
                  </a:cubicBezTo>
                  <a:cubicBezTo>
                    <a:pt x="2647" y="1341"/>
                    <a:pt x="2673" y="1372"/>
                    <a:pt x="2673" y="1412"/>
                  </a:cubicBezTo>
                  <a:cubicBezTo>
                    <a:pt x="2673" y="1452"/>
                    <a:pt x="2647" y="1482"/>
                    <a:pt x="2606" y="1482"/>
                  </a:cubicBezTo>
                  <a:close/>
                  <a:moveTo>
                    <a:pt x="2853" y="1312"/>
                  </a:moveTo>
                  <a:cubicBezTo>
                    <a:pt x="2825" y="1312"/>
                    <a:pt x="2802" y="1324"/>
                    <a:pt x="2785" y="1344"/>
                  </a:cubicBezTo>
                  <a:cubicBezTo>
                    <a:pt x="2784" y="1344"/>
                    <a:pt x="2784" y="1344"/>
                    <a:pt x="2784" y="1344"/>
                  </a:cubicBezTo>
                  <a:cubicBezTo>
                    <a:pt x="2784" y="1317"/>
                    <a:pt x="2784" y="1317"/>
                    <a:pt x="2784" y="1317"/>
                  </a:cubicBezTo>
                  <a:cubicBezTo>
                    <a:pt x="2752" y="1317"/>
                    <a:pt x="2752" y="1317"/>
                    <a:pt x="2752" y="1317"/>
                  </a:cubicBezTo>
                  <a:cubicBezTo>
                    <a:pt x="2752" y="1600"/>
                    <a:pt x="2752" y="1600"/>
                    <a:pt x="2752" y="1600"/>
                  </a:cubicBezTo>
                  <a:cubicBezTo>
                    <a:pt x="2784" y="1600"/>
                    <a:pt x="2784" y="1600"/>
                    <a:pt x="2784" y="1600"/>
                  </a:cubicBezTo>
                  <a:cubicBezTo>
                    <a:pt x="2784" y="1473"/>
                    <a:pt x="2784" y="1473"/>
                    <a:pt x="2784" y="1473"/>
                  </a:cubicBezTo>
                  <a:cubicBezTo>
                    <a:pt x="2785" y="1473"/>
                    <a:pt x="2785" y="1473"/>
                    <a:pt x="2785" y="1473"/>
                  </a:cubicBezTo>
                  <a:cubicBezTo>
                    <a:pt x="2796" y="1495"/>
                    <a:pt x="2824" y="1512"/>
                    <a:pt x="2858" y="1512"/>
                  </a:cubicBezTo>
                  <a:cubicBezTo>
                    <a:pt x="2911" y="1512"/>
                    <a:pt x="2953" y="1469"/>
                    <a:pt x="2953" y="1412"/>
                  </a:cubicBezTo>
                  <a:cubicBezTo>
                    <a:pt x="2953" y="1354"/>
                    <a:pt x="2913" y="1312"/>
                    <a:pt x="2853" y="1312"/>
                  </a:cubicBezTo>
                  <a:close/>
                  <a:moveTo>
                    <a:pt x="2851" y="1482"/>
                  </a:moveTo>
                  <a:cubicBezTo>
                    <a:pt x="2810" y="1482"/>
                    <a:pt x="2784" y="1452"/>
                    <a:pt x="2784" y="1412"/>
                  </a:cubicBezTo>
                  <a:cubicBezTo>
                    <a:pt x="2784" y="1372"/>
                    <a:pt x="2810" y="1341"/>
                    <a:pt x="2851" y="1341"/>
                  </a:cubicBezTo>
                  <a:cubicBezTo>
                    <a:pt x="2892" y="1341"/>
                    <a:pt x="2919" y="1372"/>
                    <a:pt x="2919" y="1412"/>
                  </a:cubicBezTo>
                  <a:cubicBezTo>
                    <a:pt x="2919" y="1452"/>
                    <a:pt x="2892" y="1482"/>
                    <a:pt x="2851" y="1482"/>
                  </a:cubicBezTo>
                  <a:close/>
                  <a:moveTo>
                    <a:pt x="3086" y="1312"/>
                  </a:moveTo>
                  <a:cubicBezTo>
                    <a:pt x="3030" y="1312"/>
                    <a:pt x="2988" y="1353"/>
                    <a:pt x="2988" y="1412"/>
                  </a:cubicBezTo>
                  <a:cubicBezTo>
                    <a:pt x="2988" y="1467"/>
                    <a:pt x="3025" y="1512"/>
                    <a:pt x="3085" y="1512"/>
                  </a:cubicBezTo>
                  <a:cubicBezTo>
                    <a:pt x="3120" y="1512"/>
                    <a:pt x="3147" y="1501"/>
                    <a:pt x="3169" y="1472"/>
                  </a:cubicBezTo>
                  <a:cubicBezTo>
                    <a:pt x="3145" y="1454"/>
                    <a:pt x="3145" y="1454"/>
                    <a:pt x="3145" y="1454"/>
                  </a:cubicBezTo>
                  <a:cubicBezTo>
                    <a:pt x="3130" y="1473"/>
                    <a:pt x="3112" y="1482"/>
                    <a:pt x="3085" y="1482"/>
                  </a:cubicBezTo>
                  <a:cubicBezTo>
                    <a:pt x="3050" y="1482"/>
                    <a:pt x="3025" y="1454"/>
                    <a:pt x="3023" y="1421"/>
                  </a:cubicBezTo>
                  <a:cubicBezTo>
                    <a:pt x="3176" y="1421"/>
                    <a:pt x="3176" y="1421"/>
                    <a:pt x="3176" y="1421"/>
                  </a:cubicBezTo>
                  <a:cubicBezTo>
                    <a:pt x="3176" y="1411"/>
                    <a:pt x="3176" y="1411"/>
                    <a:pt x="3176" y="1411"/>
                  </a:cubicBezTo>
                  <a:cubicBezTo>
                    <a:pt x="3176" y="1348"/>
                    <a:pt x="3140" y="1312"/>
                    <a:pt x="3086" y="1312"/>
                  </a:cubicBezTo>
                  <a:close/>
                  <a:moveTo>
                    <a:pt x="3023" y="1395"/>
                  </a:moveTo>
                  <a:cubicBezTo>
                    <a:pt x="3027" y="1363"/>
                    <a:pt x="3050" y="1341"/>
                    <a:pt x="3085" y="1341"/>
                  </a:cubicBezTo>
                  <a:cubicBezTo>
                    <a:pt x="3120" y="1341"/>
                    <a:pt x="3141" y="1363"/>
                    <a:pt x="3142" y="1395"/>
                  </a:cubicBezTo>
                  <a:lnTo>
                    <a:pt x="3023" y="1395"/>
                  </a:lnTo>
                  <a:close/>
                  <a:moveTo>
                    <a:pt x="3322" y="1312"/>
                  </a:moveTo>
                  <a:cubicBezTo>
                    <a:pt x="3326" y="1312"/>
                    <a:pt x="3330" y="1312"/>
                    <a:pt x="3335" y="1314"/>
                  </a:cubicBezTo>
                  <a:cubicBezTo>
                    <a:pt x="3333" y="1346"/>
                    <a:pt x="3333" y="1346"/>
                    <a:pt x="3333" y="1346"/>
                  </a:cubicBezTo>
                  <a:cubicBezTo>
                    <a:pt x="3327" y="1344"/>
                    <a:pt x="3321" y="1343"/>
                    <a:pt x="3316" y="1343"/>
                  </a:cubicBezTo>
                  <a:cubicBezTo>
                    <a:pt x="3277" y="1343"/>
                    <a:pt x="3260" y="1371"/>
                    <a:pt x="3260" y="1414"/>
                  </a:cubicBezTo>
                  <a:cubicBezTo>
                    <a:pt x="3260" y="1507"/>
                    <a:pt x="3260" y="1507"/>
                    <a:pt x="3260" y="1507"/>
                  </a:cubicBezTo>
                  <a:cubicBezTo>
                    <a:pt x="3228" y="1507"/>
                    <a:pt x="3228" y="1507"/>
                    <a:pt x="3228" y="1507"/>
                  </a:cubicBezTo>
                  <a:cubicBezTo>
                    <a:pt x="3228" y="1362"/>
                    <a:pt x="3228" y="1362"/>
                    <a:pt x="3228" y="1362"/>
                  </a:cubicBezTo>
                  <a:cubicBezTo>
                    <a:pt x="3228" y="1344"/>
                    <a:pt x="3227" y="1329"/>
                    <a:pt x="3227" y="1317"/>
                  </a:cubicBezTo>
                  <a:cubicBezTo>
                    <a:pt x="3257" y="1317"/>
                    <a:pt x="3257" y="1317"/>
                    <a:pt x="3257" y="1317"/>
                  </a:cubicBezTo>
                  <a:cubicBezTo>
                    <a:pt x="3257" y="1327"/>
                    <a:pt x="3258" y="1337"/>
                    <a:pt x="3258" y="1348"/>
                  </a:cubicBezTo>
                  <a:cubicBezTo>
                    <a:pt x="3258" y="1348"/>
                    <a:pt x="3258" y="1348"/>
                    <a:pt x="3258" y="1348"/>
                  </a:cubicBezTo>
                  <a:cubicBezTo>
                    <a:pt x="3267" y="1329"/>
                    <a:pt x="3290" y="1312"/>
                    <a:pt x="3322" y="1312"/>
                  </a:cubicBezTo>
                  <a:close/>
                  <a:moveTo>
                    <a:pt x="3492" y="1476"/>
                  </a:moveTo>
                  <a:cubicBezTo>
                    <a:pt x="3494" y="1505"/>
                    <a:pt x="3494" y="1505"/>
                    <a:pt x="3494" y="1505"/>
                  </a:cubicBezTo>
                  <a:cubicBezTo>
                    <a:pt x="3483" y="1510"/>
                    <a:pt x="3468" y="1512"/>
                    <a:pt x="3457" y="1512"/>
                  </a:cubicBezTo>
                  <a:cubicBezTo>
                    <a:pt x="3412" y="1512"/>
                    <a:pt x="3404" y="1487"/>
                    <a:pt x="3404" y="1448"/>
                  </a:cubicBezTo>
                  <a:cubicBezTo>
                    <a:pt x="3404" y="1343"/>
                    <a:pt x="3404" y="1343"/>
                    <a:pt x="3404" y="1343"/>
                  </a:cubicBezTo>
                  <a:cubicBezTo>
                    <a:pt x="3363" y="1343"/>
                    <a:pt x="3363" y="1343"/>
                    <a:pt x="3363" y="1343"/>
                  </a:cubicBezTo>
                  <a:cubicBezTo>
                    <a:pt x="3363" y="1317"/>
                    <a:pt x="3363" y="1317"/>
                    <a:pt x="3363" y="1317"/>
                  </a:cubicBezTo>
                  <a:cubicBezTo>
                    <a:pt x="3404" y="1317"/>
                    <a:pt x="3404" y="1317"/>
                    <a:pt x="3404" y="1317"/>
                  </a:cubicBezTo>
                  <a:cubicBezTo>
                    <a:pt x="3404" y="1263"/>
                    <a:pt x="3404" y="1263"/>
                    <a:pt x="3404" y="1263"/>
                  </a:cubicBezTo>
                  <a:cubicBezTo>
                    <a:pt x="3436" y="1263"/>
                    <a:pt x="3436" y="1263"/>
                    <a:pt x="3436" y="1263"/>
                  </a:cubicBezTo>
                  <a:cubicBezTo>
                    <a:pt x="3436" y="1317"/>
                    <a:pt x="3436" y="1317"/>
                    <a:pt x="3436" y="1317"/>
                  </a:cubicBezTo>
                  <a:cubicBezTo>
                    <a:pt x="3492" y="1317"/>
                    <a:pt x="3492" y="1317"/>
                    <a:pt x="3492" y="1317"/>
                  </a:cubicBezTo>
                  <a:cubicBezTo>
                    <a:pt x="3492" y="1343"/>
                    <a:pt x="3492" y="1343"/>
                    <a:pt x="3492" y="1343"/>
                  </a:cubicBezTo>
                  <a:cubicBezTo>
                    <a:pt x="3436" y="1343"/>
                    <a:pt x="3436" y="1343"/>
                    <a:pt x="3436" y="1343"/>
                  </a:cubicBezTo>
                  <a:cubicBezTo>
                    <a:pt x="3436" y="1439"/>
                    <a:pt x="3436" y="1439"/>
                    <a:pt x="3436" y="1439"/>
                  </a:cubicBezTo>
                  <a:cubicBezTo>
                    <a:pt x="3436" y="1463"/>
                    <a:pt x="3436" y="1482"/>
                    <a:pt x="3464" y="1482"/>
                  </a:cubicBezTo>
                  <a:cubicBezTo>
                    <a:pt x="3474" y="1482"/>
                    <a:pt x="3484" y="1480"/>
                    <a:pt x="3492" y="1476"/>
                  </a:cubicBezTo>
                  <a:close/>
                  <a:moveTo>
                    <a:pt x="3674" y="1317"/>
                  </a:moveTo>
                  <a:cubicBezTo>
                    <a:pt x="3709" y="1317"/>
                    <a:pt x="3709" y="1317"/>
                    <a:pt x="3709" y="1317"/>
                  </a:cubicBezTo>
                  <a:cubicBezTo>
                    <a:pt x="3617" y="1550"/>
                    <a:pt x="3617" y="1550"/>
                    <a:pt x="3617" y="1550"/>
                  </a:cubicBezTo>
                  <a:cubicBezTo>
                    <a:pt x="3604" y="1582"/>
                    <a:pt x="3592" y="1604"/>
                    <a:pt x="3553" y="1604"/>
                  </a:cubicBezTo>
                  <a:cubicBezTo>
                    <a:pt x="3545" y="1604"/>
                    <a:pt x="3533" y="1604"/>
                    <a:pt x="3525" y="1600"/>
                  </a:cubicBezTo>
                  <a:cubicBezTo>
                    <a:pt x="3529" y="1572"/>
                    <a:pt x="3529" y="1572"/>
                    <a:pt x="3529" y="1572"/>
                  </a:cubicBezTo>
                  <a:cubicBezTo>
                    <a:pt x="3536" y="1574"/>
                    <a:pt x="3542" y="1575"/>
                    <a:pt x="3551" y="1575"/>
                  </a:cubicBezTo>
                  <a:cubicBezTo>
                    <a:pt x="3572" y="1575"/>
                    <a:pt x="3580" y="1563"/>
                    <a:pt x="3587" y="1544"/>
                  </a:cubicBezTo>
                  <a:cubicBezTo>
                    <a:pt x="3600" y="1508"/>
                    <a:pt x="3600" y="1508"/>
                    <a:pt x="3600" y="1508"/>
                  </a:cubicBezTo>
                  <a:cubicBezTo>
                    <a:pt x="3521" y="1317"/>
                    <a:pt x="3521" y="1317"/>
                    <a:pt x="3521" y="1317"/>
                  </a:cubicBezTo>
                  <a:cubicBezTo>
                    <a:pt x="3558" y="1317"/>
                    <a:pt x="3558" y="1317"/>
                    <a:pt x="3558" y="1317"/>
                  </a:cubicBezTo>
                  <a:cubicBezTo>
                    <a:pt x="3617" y="1466"/>
                    <a:pt x="3617" y="1466"/>
                    <a:pt x="3617" y="1466"/>
                  </a:cubicBezTo>
                  <a:cubicBezTo>
                    <a:pt x="3618" y="1466"/>
                    <a:pt x="3618" y="1466"/>
                    <a:pt x="3618" y="1466"/>
                  </a:cubicBezTo>
                  <a:lnTo>
                    <a:pt x="3674" y="1317"/>
                  </a:lnTo>
                  <a:close/>
                  <a:moveTo>
                    <a:pt x="101" y="1312"/>
                  </a:moveTo>
                  <a:cubicBezTo>
                    <a:pt x="73" y="1312"/>
                    <a:pt x="50" y="1324"/>
                    <a:pt x="33" y="1344"/>
                  </a:cubicBezTo>
                  <a:cubicBezTo>
                    <a:pt x="32" y="1344"/>
                    <a:pt x="32" y="1344"/>
                    <a:pt x="32" y="1344"/>
                  </a:cubicBezTo>
                  <a:cubicBezTo>
                    <a:pt x="32" y="1200"/>
                    <a:pt x="32" y="1200"/>
                    <a:pt x="32" y="1200"/>
                  </a:cubicBezTo>
                  <a:cubicBezTo>
                    <a:pt x="0" y="1200"/>
                    <a:pt x="0" y="1200"/>
                    <a:pt x="0" y="1200"/>
                  </a:cubicBezTo>
                  <a:cubicBezTo>
                    <a:pt x="0" y="1507"/>
                    <a:pt x="0" y="1507"/>
                    <a:pt x="0" y="1507"/>
                  </a:cubicBezTo>
                  <a:cubicBezTo>
                    <a:pt x="32" y="1507"/>
                    <a:pt x="32" y="1507"/>
                    <a:pt x="32" y="1507"/>
                  </a:cubicBezTo>
                  <a:cubicBezTo>
                    <a:pt x="32" y="1473"/>
                    <a:pt x="32" y="1473"/>
                    <a:pt x="32" y="1473"/>
                  </a:cubicBezTo>
                  <a:cubicBezTo>
                    <a:pt x="33" y="1473"/>
                    <a:pt x="33" y="1473"/>
                    <a:pt x="33" y="1473"/>
                  </a:cubicBezTo>
                  <a:cubicBezTo>
                    <a:pt x="45" y="1495"/>
                    <a:pt x="72" y="1512"/>
                    <a:pt x="106" y="1512"/>
                  </a:cubicBezTo>
                  <a:cubicBezTo>
                    <a:pt x="159" y="1512"/>
                    <a:pt x="201" y="1469"/>
                    <a:pt x="201" y="1412"/>
                  </a:cubicBezTo>
                  <a:cubicBezTo>
                    <a:pt x="201" y="1354"/>
                    <a:pt x="161" y="1312"/>
                    <a:pt x="101" y="1312"/>
                  </a:cubicBezTo>
                  <a:close/>
                  <a:moveTo>
                    <a:pt x="99" y="1482"/>
                  </a:moveTo>
                  <a:cubicBezTo>
                    <a:pt x="58" y="1482"/>
                    <a:pt x="32" y="1452"/>
                    <a:pt x="32" y="1412"/>
                  </a:cubicBezTo>
                  <a:cubicBezTo>
                    <a:pt x="32" y="1372"/>
                    <a:pt x="58" y="1341"/>
                    <a:pt x="99" y="1341"/>
                  </a:cubicBezTo>
                  <a:cubicBezTo>
                    <a:pt x="140" y="1341"/>
                    <a:pt x="167" y="1372"/>
                    <a:pt x="167" y="1412"/>
                  </a:cubicBezTo>
                  <a:cubicBezTo>
                    <a:pt x="167" y="1452"/>
                    <a:pt x="140" y="1482"/>
                    <a:pt x="99" y="1482"/>
                  </a:cubicBezTo>
                  <a:close/>
                  <a:moveTo>
                    <a:pt x="333" y="1312"/>
                  </a:moveTo>
                  <a:cubicBezTo>
                    <a:pt x="275" y="1312"/>
                    <a:pt x="232" y="1352"/>
                    <a:pt x="232" y="1412"/>
                  </a:cubicBezTo>
                  <a:cubicBezTo>
                    <a:pt x="232" y="1471"/>
                    <a:pt x="275" y="1512"/>
                    <a:pt x="333" y="1512"/>
                  </a:cubicBezTo>
                  <a:cubicBezTo>
                    <a:pt x="392" y="1512"/>
                    <a:pt x="435" y="1471"/>
                    <a:pt x="435" y="1412"/>
                  </a:cubicBezTo>
                  <a:cubicBezTo>
                    <a:pt x="435" y="1352"/>
                    <a:pt x="392" y="1312"/>
                    <a:pt x="333" y="1312"/>
                  </a:cubicBezTo>
                  <a:close/>
                  <a:moveTo>
                    <a:pt x="333" y="1482"/>
                  </a:moveTo>
                  <a:cubicBezTo>
                    <a:pt x="292" y="1482"/>
                    <a:pt x="266" y="1452"/>
                    <a:pt x="266" y="1412"/>
                  </a:cubicBezTo>
                  <a:cubicBezTo>
                    <a:pt x="266" y="1372"/>
                    <a:pt x="292" y="1341"/>
                    <a:pt x="333" y="1341"/>
                  </a:cubicBezTo>
                  <a:cubicBezTo>
                    <a:pt x="374" y="1341"/>
                    <a:pt x="401" y="1372"/>
                    <a:pt x="401" y="1412"/>
                  </a:cubicBezTo>
                  <a:cubicBezTo>
                    <a:pt x="401" y="1452"/>
                    <a:pt x="374" y="1482"/>
                    <a:pt x="333" y="1482"/>
                  </a:cubicBezTo>
                  <a:close/>
                  <a:moveTo>
                    <a:pt x="638" y="1462"/>
                  </a:moveTo>
                  <a:cubicBezTo>
                    <a:pt x="638" y="1479"/>
                    <a:pt x="640" y="1494"/>
                    <a:pt x="640" y="1507"/>
                  </a:cubicBezTo>
                  <a:cubicBezTo>
                    <a:pt x="610" y="1507"/>
                    <a:pt x="610" y="1507"/>
                    <a:pt x="610" y="1507"/>
                  </a:cubicBezTo>
                  <a:cubicBezTo>
                    <a:pt x="610" y="1497"/>
                    <a:pt x="609" y="1486"/>
                    <a:pt x="609" y="1476"/>
                  </a:cubicBezTo>
                  <a:cubicBezTo>
                    <a:pt x="608" y="1476"/>
                    <a:pt x="608" y="1476"/>
                    <a:pt x="608" y="1476"/>
                  </a:cubicBezTo>
                  <a:cubicBezTo>
                    <a:pt x="599" y="1494"/>
                    <a:pt x="576" y="1512"/>
                    <a:pt x="545" y="1512"/>
                  </a:cubicBezTo>
                  <a:cubicBezTo>
                    <a:pt x="495" y="1512"/>
                    <a:pt x="472" y="1480"/>
                    <a:pt x="472" y="1434"/>
                  </a:cubicBezTo>
                  <a:cubicBezTo>
                    <a:pt x="472" y="1317"/>
                    <a:pt x="472" y="1317"/>
                    <a:pt x="472" y="1317"/>
                  </a:cubicBezTo>
                  <a:cubicBezTo>
                    <a:pt x="504" y="1317"/>
                    <a:pt x="504" y="1317"/>
                    <a:pt x="504" y="1317"/>
                  </a:cubicBezTo>
                  <a:cubicBezTo>
                    <a:pt x="504" y="1431"/>
                    <a:pt x="504" y="1431"/>
                    <a:pt x="504" y="1431"/>
                  </a:cubicBezTo>
                  <a:cubicBezTo>
                    <a:pt x="504" y="1462"/>
                    <a:pt x="518" y="1482"/>
                    <a:pt x="547" y="1482"/>
                  </a:cubicBezTo>
                  <a:cubicBezTo>
                    <a:pt x="588" y="1482"/>
                    <a:pt x="606" y="1453"/>
                    <a:pt x="606" y="1409"/>
                  </a:cubicBezTo>
                  <a:cubicBezTo>
                    <a:pt x="606" y="1317"/>
                    <a:pt x="606" y="1317"/>
                    <a:pt x="606" y="1317"/>
                  </a:cubicBezTo>
                  <a:cubicBezTo>
                    <a:pt x="638" y="1317"/>
                    <a:pt x="638" y="1317"/>
                    <a:pt x="638" y="1317"/>
                  </a:cubicBezTo>
                  <a:lnTo>
                    <a:pt x="638" y="1462"/>
                  </a:lnTo>
                  <a:close/>
                  <a:moveTo>
                    <a:pt x="1032" y="1281"/>
                  </a:moveTo>
                  <a:cubicBezTo>
                    <a:pt x="1032" y="1317"/>
                    <a:pt x="1032" y="1317"/>
                    <a:pt x="1032" y="1317"/>
                  </a:cubicBezTo>
                  <a:cubicBezTo>
                    <a:pt x="1078" y="1317"/>
                    <a:pt x="1078" y="1317"/>
                    <a:pt x="1078" y="1317"/>
                  </a:cubicBezTo>
                  <a:cubicBezTo>
                    <a:pt x="1078" y="1343"/>
                    <a:pt x="1078" y="1343"/>
                    <a:pt x="1078" y="1343"/>
                  </a:cubicBezTo>
                  <a:cubicBezTo>
                    <a:pt x="1032" y="1343"/>
                    <a:pt x="1032" y="1343"/>
                    <a:pt x="1032" y="1343"/>
                  </a:cubicBezTo>
                  <a:cubicBezTo>
                    <a:pt x="1032" y="1507"/>
                    <a:pt x="1032" y="1507"/>
                    <a:pt x="1032" y="1507"/>
                  </a:cubicBezTo>
                  <a:cubicBezTo>
                    <a:pt x="1000" y="1507"/>
                    <a:pt x="1000" y="1507"/>
                    <a:pt x="1000" y="1507"/>
                  </a:cubicBezTo>
                  <a:cubicBezTo>
                    <a:pt x="1000" y="1343"/>
                    <a:pt x="1000" y="1343"/>
                    <a:pt x="1000" y="1343"/>
                  </a:cubicBezTo>
                  <a:cubicBezTo>
                    <a:pt x="953" y="1343"/>
                    <a:pt x="953" y="1343"/>
                    <a:pt x="953" y="1343"/>
                  </a:cubicBezTo>
                  <a:cubicBezTo>
                    <a:pt x="953" y="1343"/>
                    <a:pt x="953" y="1343"/>
                    <a:pt x="953" y="1343"/>
                  </a:cubicBezTo>
                  <a:cubicBezTo>
                    <a:pt x="900" y="1507"/>
                    <a:pt x="900" y="1507"/>
                    <a:pt x="900" y="1507"/>
                  </a:cubicBezTo>
                  <a:cubicBezTo>
                    <a:pt x="869" y="1507"/>
                    <a:pt x="869" y="1507"/>
                    <a:pt x="869" y="1507"/>
                  </a:cubicBezTo>
                  <a:cubicBezTo>
                    <a:pt x="815" y="1361"/>
                    <a:pt x="815" y="1361"/>
                    <a:pt x="815" y="1361"/>
                  </a:cubicBezTo>
                  <a:cubicBezTo>
                    <a:pt x="814" y="1361"/>
                    <a:pt x="814" y="1361"/>
                    <a:pt x="814" y="1361"/>
                  </a:cubicBezTo>
                  <a:cubicBezTo>
                    <a:pt x="766" y="1507"/>
                    <a:pt x="766" y="1507"/>
                    <a:pt x="766" y="1507"/>
                  </a:cubicBezTo>
                  <a:cubicBezTo>
                    <a:pt x="733" y="1507"/>
                    <a:pt x="733" y="1507"/>
                    <a:pt x="733" y="1507"/>
                  </a:cubicBezTo>
                  <a:cubicBezTo>
                    <a:pt x="671" y="1317"/>
                    <a:pt x="671" y="1317"/>
                    <a:pt x="671" y="1317"/>
                  </a:cubicBezTo>
                  <a:cubicBezTo>
                    <a:pt x="706" y="1317"/>
                    <a:pt x="706" y="1317"/>
                    <a:pt x="706" y="1317"/>
                  </a:cubicBezTo>
                  <a:cubicBezTo>
                    <a:pt x="750" y="1463"/>
                    <a:pt x="750" y="1463"/>
                    <a:pt x="750" y="1463"/>
                  </a:cubicBezTo>
                  <a:cubicBezTo>
                    <a:pt x="751" y="1463"/>
                    <a:pt x="751" y="1463"/>
                    <a:pt x="751" y="1463"/>
                  </a:cubicBezTo>
                  <a:cubicBezTo>
                    <a:pt x="800" y="1317"/>
                    <a:pt x="800" y="1317"/>
                    <a:pt x="800" y="1317"/>
                  </a:cubicBezTo>
                  <a:cubicBezTo>
                    <a:pt x="833" y="1317"/>
                    <a:pt x="833" y="1317"/>
                    <a:pt x="833" y="1317"/>
                  </a:cubicBezTo>
                  <a:cubicBezTo>
                    <a:pt x="883" y="1463"/>
                    <a:pt x="883" y="1463"/>
                    <a:pt x="883" y="1463"/>
                  </a:cubicBezTo>
                  <a:cubicBezTo>
                    <a:pt x="884" y="1463"/>
                    <a:pt x="884" y="1463"/>
                    <a:pt x="884" y="1463"/>
                  </a:cubicBezTo>
                  <a:cubicBezTo>
                    <a:pt x="927" y="1317"/>
                    <a:pt x="927" y="1317"/>
                    <a:pt x="927" y="1317"/>
                  </a:cubicBezTo>
                  <a:cubicBezTo>
                    <a:pt x="953" y="1317"/>
                    <a:pt x="953" y="1317"/>
                    <a:pt x="953" y="1317"/>
                  </a:cubicBezTo>
                  <a:cubicBezTo>
                    <a:pt x="961" y="1317"/>
                    <a:pt x="961" y="1317"/>
                    <a:pt x="961" y="1317"/>
                  </a:cubicBezTo>
                  <a:cubicBezTo>
                    <a:pt x="1000" y="1317"/>
                    <a:pt x="1000" y="1317"/>
                    <a:pt x="1000" y="1317"/>
                  </a:cubicBezTo>
                  <a:cubicBezTo>
                    <a:pt x="1000" y="1274"/>
                    <a:pt x="1000" y="1274"/>
                    <a:pt x="1000" y="1274"/>
                  </a:cubicBezTo>
                  <a:cubicBezTo>
                    <a:pt x="1000" y="1228"/>
                    <a:pt x="1016" y="1195"/>
                    <a:pt x="1068" y="1195"/>
                  </a:cubicBezTo>
                  <a:cubicBezTo>
                    <a:pt x="1076" y="1195"/>
                    <a:pt x="1086" y="1196"/>
                    <a:pt x="1092" y="1200"/>
                  </a:cubicBezTo>
                  <a:cubicBezTo>
                    <a:pt x="1088" y="1228"/>
                    <a:pt x="1088" y="1228"/>
                    <a:pt x="1088" y="1228"/>
                  </a:cubicBezTo>
                  <a:cubicBezTo>
                    <a:pt x="1081" y="1226"/>
                    <a:pt x="1073" y="1224"/>
                    <a:pt x="1066" y="1224"/>
                  </a:cubicBezTo>
                  <a:cubicBezTo>
                    <a:pt x="1033" y="1224"/>
                    <a:pt x="1032" y="1248"/>
                    <a:pt x="1032" y="1281"/>
                  </a:cubicBezTo>
                  <a:close/>
                  <a:moveTo>
                    <a:pt x="1191" y="1312"/>
                  </a:moveTo>
                  <a:cubicBezTo>
                    <a:pt x="1133" y="1312"/>
                    <a:pt x="1090" y="1352"/>
                    <a:pt x="1090" y="1412"/>
                  </a:cubicBezTo>
                  <a:cubicBezTo>
                    <a:pt x="1090" y="1471"/>
                    <a:pt x="1133" y="1512"/>
                    <a:pt x="1191" y="1512"/>
                  </a:cubicBezTo>
                  <a:cubicBezTo>
                    <a:pt x="1250" y="1512"/>
                    <a:pt x="1293" y="1471"/>
                    <a:pt x="1293" y="1412"/>
                  </a:cubicBezTo>
                  <a:cubicBezTo>
                    <a:pt x="1293" y="1352"/>
                    <a:pt x="1250" y="1312"/>
                    <a:pt x="1191" y="1312"/>
                  </a:cubicBezTo>
                  <a:close/>
                  <a:moveTo>
                    <a:pt x="1191" y="1482"/>
                  </a:moveTo>
                  <a:cubicBezTo>
                    <a:pt x="1150" y="1482"/>
                    <a:pt x="1124" y="1452"/>
                    <a:pt x="1124" y="1412"/>
                  </a:cubicBezTo>
                  <a:cubicBezTo>
                    <a:pt x="1124" y="1372"/>
                    <a:pt x="1150" y="1341"/>
                    <a:pt x="1191" y="1341"/>
                  </a:cubicBezTo>
                  <a:cubicBezTo>
                    <a:pt x="1233" y="1341"/>
                    <a:pt x="1259" y="1372"/>
                    <a:pt x="1259" y="1412"/>
                  </a:cubicBezTo>
                  <a:cubicBezTo>
                    <a:pt x="1259" y="1452"/>
                    <a:pt x="1233" y="1482"/>
                    <a:pt x="1191" y="1482"/>
                  </a:cubicBezTo>
                  <a:close/>
                  <a:moveTo>
                    <a:pt x="1497" y="1389"/>
                  </a:moveTo>
                  <a:cubicBezTo>
                    <a:pt x="1497" y="1507"/>
                    <a:pt x="1497" y="1507"/>
                    <a:pt x="1497" y="1507"/>
                  </a:cubicBezTo>
                  <a:cubicBezTo>
                    <a:pt x="1465" y="1507"/>
                    <a:pt x="1465" y="1507"/>
                    <a:pt x="1465" y="1507"/>
                  </a:cubicBezTo>
                  <a:cubicBezTo>
                    <a:pt x="1465" y="1393"/>
                    <a:pt x="1465" y="1393"/>
                    <a:pt x="1465" y="1393"/>
                  </a:cubicBezTo>
                  <a:cubicBezTo>
                    <a:pt x="1465" y="1361"/>
                    <a:pt x="1452" y="1341"/>
                    <a:pt x="1422" y="1341"/>
                  </a:cubicBezTo>
                  <a:cubicBezTo>
                    <a:pt x="1381" y="1341"/>
                    <a:pt x="1363" y="1371"/>
                    <a:pt x="1363" y="1414"/>
                  </a:cubicBezTo>
                  <a:cubicBezTo>
                    <a:pt x="1363" y="1507"/>
                    <a:pt x="1363" y="1507"/>
                    <a:pt x="1363" y="1507"/>
                  </a:cubicBezTo>
                  <a:cubicBezTo>
                    <a:pt x="1331" y="1507"/>
                    <a:pt x="1331" y="1507"/>
                    <a:pt x="1331" y="1507"/>
                  </a:cubicBezTo>
                  <a:cubicBezTo>
                    <a:pt x="1331" y="1362"/>
                    <a:pt x="1331" y="1362"/>
                    <a:pt x="1331" y="1362"/>
                  </a:cubicBezTo>
                  <a:cubicBezTo>
                    <a:pt x="1331" y="1344"/>
                    <a:pt x="1330" y="1329"/>
                    <a:pt x="1330" y="1317"/>
                  </a:cubicBezTo>
                  <a:cubicBezTo>
                    <a:pt x="1360" y="1317"/>
                    <a:pt x="1360" y="1317"/>
                    <a:pt x="1360" y="1317"/>
                  </a:cubicBezTo>
                  <a:cubicBezTo>
                    <a:pt x="1360" y="1327"/>
                    <a:pt x="1360" y="1337"/>
                    <a:pt x="1360" y="1348"/>
                  </a:cubicBezTo>
                  <a:cubicBezTo>
                    <a:pt x="1361" y="1348"/>
                    <a:pt x="1361" y="1348"/>
                    <a:pt x="1361" y="1348"/>
                  </a:cubicBezTo>
                  <a:cubicBezTo>
                    <a:pt x="1370" y="1329"/>
                    <a:pt x="1393" y="1312"/>
                    <a:pt x="1425" y="1312"/>
                  </a:cubicBezTo>
                  <a:cubicBezTo>
                    <a:pt x="1475" y="1312"/>
                    <a:pt x="1497" y="1343"/>
                    <a:pt x="1497" y="1389"/>
                  </a:cubicBezTo>
                  <a:close/>
                  <a:moveTo>
                    <a:pt x="1707" y="1344"/>
                  </a:moveTo>
                  <a:cubicBezTo>
                    <a:pt x="1706" y="1344"/>
                    <a:pt x="1706" y="1344"/>
                    <a:pt x="1706" y="1344"/>
                  </a:cubicBezTo>
                  <a:cubicBezTo>
                    <a:pt x="1689" y="1324"/>
                    <a:pt x="1666" y="1312"/>
                    <a:pt x="1638" y="1312"/>
                  </a:cubicBezTo>
                  <a:cubicBezTo>
                    <a:pt x="1578" y="1312"/>
                    <a:pt x="1538" y="1354"/>
                    <a:pt x="1538" y="1412"/>
                  </a:cubicBezTo>
                  <a:cubicBezTo>
                    <a:pt x="1538" y="1469"/>
                    <a:pt x="1580" y="1512"/>
                    <a:pt x="1633" y="1512"/>
                  </a:cubicBezTo>
                  <a:cubicBezTo>
                    <a:pt x="1667" y="1512"/>
                    <a:pt x="1695" y="1495"/>
                    <a:pt x="1706" y="1473"/>
                  </a:cubicBezTo>
                  <a:cubicBezTo>
                    <a:pt x="1707" y="1473"/>
                    <a:pt x="1707" y="1473"/>
                    <a:pt x="1707" y="1473"/>
                  </a:cubicBezTo>
                  <a:cubicBezTo>
                    <a:pt x="1707" y="1507"/>
                    <a:pt x="1707" y="1507"/>
                    <a:pt x="1707" y="1507"/>
                  </a:cubicBezTo>
                  <a:cubicBezTo>
                    <a:pt x="1739" y="1507"/>
                    <a:pt x="1739" y="1507"/>
                    <a:pt x="1739" y="1507"/>
                  </a:cubicBezTo>
                  <a:cubicBezTo>
                    <a:pt x="1739" y="1200"/>
                    <a:pt x="1739" y="1200"/>
                    <a:pt x="1739" y="1200"/>
                  </a:cubicBezTo>
                  <a:cubicBezTo>
                    <a:pt x="1707" y="1200"/>
                    <a:pt x="1707" y="1200"/>
                    <a:pt x="1707" y="1200"/>
                  </a:cubicBezTo>
                  <a:lnTo>
                    <a:pt x="1707" y="1344"/>
                  </a:lnTo>
                  <a:close/>
                  <a:moveTo>
                    <a:pt x="1640" y="1482"/>
                  </a:moveTo>
                  <a:cubicBezTo>
                    <a:pt x="1599" y="1482"/>
                    <a:pt x="1572" y="1452"/>
                    <a:pt x="1572" y="1412"/>
                  </a:cubicBezTo>
                  <a:cubicBezTo>
                    <a:pt x="1572" y="1372"/>
                    <a:pt x="1599" y="1341"/>
                    <a:pt x="1640" y="1341"/>
                  </a:cubicBezTo>
                  <a:cubicBezTo>
                    <a:pt x="1681" y="1341"/>
                    <a:pt x="1707" y="1372"/>
                    <a:pt x="1707" y="1412"/>
                  </a:cubicBezTo>
                  <a:cubicBezTo>
                    <a:pt x="1707" y="1452"/>
                    <a:pt x="1681" y="1482"/>
                    <a:pt x="1640" y="1482"/>
                  </a:cubicBezTo>
                  <a:close/>
                  <a:moveTo>
                    <a:pt x="1930" y="1452"/>
                  </a:moveTo>
                  <a:cubicBezTo>
                    <a:pt x="1930" y="1495"/>
                    <a:pt x="1891" y="1512"/>
                    <a:pt x="1854" y="1512"/>
                  </a:cubicBezTo>
                  <a:cubicBezTo>
                    <a:pt x="1821" y="1512"/>
                    <a:pt x="1798" y="1503"/>
                    <a:pt x="1780" y="1476"/>
                  </a:cubicBezTo>
                  <a:cubicBezTo>
                    <a:pt x="1805" y="1457"/>
                    <a:pt x="1805" y="1457"/>
                    <a:pt x="1805" y="1457"/>
                  </a:cubicBezTo>
                  <a:cubicBezTo>
                    <a:pt x="1817" y="1472"/>
                    <a:pt x="1831" y="1482"/>
                    <a:pt x="1854" y="1482"/>
                  </a:cubicBezTo>
                  <a:cubicBezTo>
                    <a:pt x="1873" y="1482"/>
                    <a:pt x="1895" y="1474"/>
                    <a:pt x="1895" y="1453"/>
                  </a:cubicBezTo>
                  <a:cubicBezTo>
                    <a:pt x="1895" y="1433"/>
                    <a:pt x="1875" y="1428"/>
                    <a:pt x="1855" y="1423"/>
                  </a:cubicBezTo>
                  <a:cubicBezTo>
                    <a:pt x="1819" y="1415"/>
                    <a:pt x="1788" y="1407"/>
                    <a:pt x="1788" y="1368"/>
                  </a:cubicBezTo>
                  <a:cubicBezTo>
                    <a:pt x="1788" y="1331"/>
                    <a:pt x="1823" y="1312"/>
                    <a:pt x="1859" y="1312"/>
                  </a:cubicBezTo>
                  <a:cubicBezTo>
                    <a:pt x="1886" y="1312"/>
                    <a:pt x="1910" y="1322"/>
                    <a:pt x="1923" y="1346"/>
                  </a:cubicBezTo>
                  <a:cubicBezTo>
                    <a:pt x="1897" y="1364"/>
                    <a:pt x="1897" y="1364"/>
                    <a:pt x="1897" y="1364"/>
                  </a:cubicBezTo>
                  <a:cubicBezTo>
                    <a:pt x="1889" y="1350"/>
                    <a:pt x="1875" y="1341"/>
                    <a:pt x="1857" y="1341"/>
                  </a:cubicBezTo>
                  <a:cubicBezTo>
                    <a:pt x="1839" y="1341"/>
                    <a:pt x="1819" y="1350"/>
                    <a:pt x="1819" y="1367"/>
                  </a:cubicBezTo>
                  <a:cubicBezTo>
                    <a:pt x="1819" y="1383"/>
                    <a:pt x="1842" y="1390"/>
                    <a:pt x="1867" y="1395"/>
                  </a:cubicBezTo>
                  <a:cubicBezTo>
                    <a:pt x="1901" y="1402"/>
                    <a:pt x="1930" y="1414"/>
                    <a:pt x="1930" y="14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19" name="Freeform 22">
              <a:extLst>
                <a:ext uri="{FF2B5EF4-FFF2-40B4-BE49-F238E27FC236}">
                  <a16:creationId xmlns:a16="http://schemas.microsoft.com/office/drawing/2014/main" id="{056F825F-F1D7-4C48-9C9A-4621405E9A59}"/>
                </a:ext>
              </a:extLst>
            </p:cNvPr>
            <p:cNvSpPr>
              <a:spLocks noSelect="1"/>
            </p:cNvSpPr>
            <p:nvPr userDrawn="1"/>
          </p:nvSpPr>
          <p:spPr bwMode="gray">
            <a:xfrm>
              <a:off x="402" y="3915"/>
              <a:ext cx="124" cy="124"/>
            </a:xfrm>
            <a:custGeom>
              <a:avLst/>
              <a:gdLst>
                <a:gd name="T0" fmla="*/ 124 w 124"/>
                <a:gd name="T1" fmla="*/ 80 h 124"/>
                <a:gd name="T2" fmla="*/ 80 w 124"/>
                <a:gd name="T3" fmla="*/ 124 h 124"/>
                <a:gd name="T4" fmla="*/ 0 w 124"/>
                <a:gd name="T5" fmla="*/ 44 h 124"/>
                <a:gd name="T6" fmla="*/ 43 w 124"/>
                <a:gd name="T7" fmla="*/ 0 h 124"/>
                <a:gd name="T8" fmla="*/ 84 w 124"/>
                <a:gd name="T9" fmla="*/ 40 h 124"/>
                <a:gd name="T10" fmla="*/ 124 w 124"/>
                <a:gd name="T11" fmla="*/ 80 h 124"/>
              </a:gdLst>
              <a:ahLst/>
              <a:cxnLst>
                <a:cxn ang="0">
                  <a:pos x="T0" y="T1"/>
                </a:cxn>
                <a:cxn ang="0">
                  <a:pos x="T2" y="T3"/>
                </a:cxn>
                <a:cxn ang="0">
                  <a:pos x="T4" y="T5"/>
                </a:cxn>
                <a:cxn ang="0">
                  <a:pos x="T6" y="T7"/>
                </a:cxn>
                <a:cxn ang="0">
                  <a:pos x="T8" y="T9"/>
                </a:cxn>
                <a:cxn ang="0">
                  <a:pos x="T10" y="T11"/>
                </a:cxn>
              </a:cxnLst>
              <a:rect l="0" t="0" r="r" b="b"/>
              <a:pathLst>
                <a:path w="124" h="124">
                  <a:moveTo>
                    <a:pt x="124" y="80"/>
                  </a:moveTo>
                  <a:lnTo>
                    <a:pt x="80" y="124"/>
                  </a:lnTo>
                  <a:lnTo>
                    <a:pt x="0" y="44"/>
                  </a:lnTo>
                  <a:lnTo>
                    <a:pt x="43" y="0"/>
                  </a:lnTo>
                  <a:lnTo>
                    <a:pt x="84" y="40"/>
                  </a:lnTo>
                  <a:lnTo>
                    <a:pt x="124" y="80"/>
                  </a:lnTo>
                  <a:close/>
                </a:path>
              </a:pathLst>
            </a:custGeom>
            <a:solidFill>
              <a:srgbClr val="C7373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0" name="Freeform 23">
              <a:extLst>
                <a:ext uri="{FF2B5EF4-FFF2-40B4-BE49-F238E27FC236}">
                  <a16:creationId xmlns:a16="http://schemas.microsoft.com/office/drawing/2014/main" id="{20761D69-0BF0-4357-8229-0996157BCDCD}"/>
                </a:ext>
              </a:extLst>
            </p:cNvPr>
            <p:cNvSpPr>
              <a:spLocks noSelect="1"/>
            </p:cNvSpPr>
            <p:nvPr userDrawn="1"/>
          </p:nvSpPr>
          <p:spPr bwMode="gray">
            <a:xfrm>
              <a:off x="438" y="3873"/>
              <a:ext cx="124" cy="89"/>
            </a:xfrm>
            <a:custGeom>
              <a:avLst/>
              <a:gdLst>
                <a:gd name="T0" fmla="*/ 124 w 124"/>
                <a:gd name="T1" fmla="*/ 6 h 89"/>
                <a:gd name="T2" fmla="*/ 120 w 124"/>
                <a:gd name="T3" fmla="*/ 14 h 89"/>
                <a:gd name="T4" fmla="*/ 47 w 124"/>
                <a:gd name="T5" fmla="*/ 89 h 89"/>
                <a:gd name="T6" fmla="*/ 0 w 124"/>
                <a:gd name="T7" fmla="*/ 41 h 89"/>
                <a:gd name="T8" fmla="*/ 44 w 124"/>
                <a:gd name="T9" fmla="*/ 0 h 89"/>
                <a:gd name="T10" fmla="*/ 124 w 124"/>
                <a:gd name="T11" fmla="*/ 6 h 89"/>
              </a:gdLst>
              <a:ahLst/>
              <a:cxnLst>
                <a:cxn ang="0">
                  <a:pos x="T0" y="T1"/>
                </a:cxn>
                <a:cxn ang="0">
                  <a:pos x="T2" y="T3"/>
                </a:cxn>
                <a:cxn ang="0">
                  <a:pos x="T4" y="T5"/>
                </a:cxn>
                <a:cxn ang="0">
                  <a:pos x="T6" y="T7"/>
                </a:cxn>
                <a:cxn ang="0">
                  <a:pos x="T8" y="T9"/>
                </a:cxn>
                <a:cxn ang="0">
                  <a:pos x="T10" y="T11"/>
                </a:cxn>
              </a:cxnLst>
              <a:rect l="0" t="0" r="r" b="b"/>
              <a:pathLst>
                <a:path w="124" h="89">
                  <a:moveTo>
                    <a:pt x="124" y="6"/>
                  </a:moveTo>
                  <a:lnTo>
                    <a:pt x="120" y="14"/>
                  </a:lnTo>
                  <a:lnTo>
                    <a:pt x="47" y="89"/>
                  </a:lnTo>
                  <a:lnTo>
                    <a:pt x="0" y="41"/>
                  </a:lnTo>
                  <a:lnTo>
                    <a:pt x="44" y="0"/>
                  </a:lnTo>
                  <a:lnTo>
                    <a:pt x="124" y="6"/>
                  </a:lnTo>
                  <a:close/>
                </a:path>
              </a:pathLst>
            </a:custGeom>
            <a:solidFill>
              <a:srgbClr val="9C1E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1" name="Freeform 24">
              <a:extLst>
                <a:ext uri="{FF2B5EF4-FFF2-40B4-BE49-F238E27FC236}">
                  <a16:creationId xmlns:a16="http://schemas.microsoft.com/office/drawing/2014/main" id="{4C3FBA13-5216-47D4-9895-D18AEC111867}"/>
                </a:ext>
              </a:extLst>
            </p:cNvPr>
            <p:cNvSpPr>
              <a:spLocks noSelect="1"/>
            </p:cNvSpPr>
            <p:nvPr userDrawn="1"/>
          </p:nvSpPr>
          <p:spPr bwMode="gray">
            <a:xfrm>
              <a:off x="482" y="3879"/>
              <a:ext cx="83" cy="122"/>
            </a:xfrm>
            <a:custGeom>
              <a:avLst/>
              <a:gdLst>
                <a:gd name="T0" fmla="*/ 80 w 83"/>
                <a:gd name="T1" fmla="*/ 0 h 122"/>
                <a:gd name="T2" fmla="*/ 83 w 83"/>
                <a:gd name="T3" fmla="*/ 80 h 122"/>
                <a:gd name="T4" fmla="*/ 42 w 83"/>
                <a:gd name="T5" fmla="*/ 122 h 122"/>
                <a:gd name="T6" fmla="*/ 0 w 83"/>
                <a:gd name="T7" fmla="*/ 80 h 122"/>
                <a:gd name="T8" fmla="*/ 80 w 83"/>
                <a:gd name="T9" fmla="*/ 0 h 122"/>
              </a:gdLst>
              <a:ahLst/>
              <a:cxnLst>
                <a:cxn ang="0">
                  <a:pos x="T0" y="T1"/>
                </a:cxn>
                <a:cxn ang="0">
                  <a:pos x="T2" y="T3"/>
                </a:cxn>
                <a:cxn ang="0">
                  <a:pos x="T4" y="T5"/>
                </a:cxn>
                <a:cxn ang="0">
                  <a:pos x="T6" y="T7"/>
                </a:cxn>
                <a:cxn ang="0">
                  <a:pos x="T8" y="T9"/>
                </a:cxn>
              </a:cxnLst>
              <a:rect l="0" t="0" r="r" b="b"/>
              <a:pathLst>
                <a:path w="83" h="122">
                  <a:moveTo>
                    <a:pt x="80" y="0"/>
                  </a:moveTo>
                  <a:lnTo>
                    <a:pt x="83" y="80"/>
                  </a:lnTo>
                  <a:lnTo>
                    <a:pt x="42" y="122"/>
                  </a:lnTo>
                  <a:lnTo>
                    <a:pt x="0" y="80"/>
                  </a:lnTo>
                  <a:lnTo>
                    <a:pt x="80" y="0"/>
                  </a:lnTo>
                  <a:close/>
                </a:path>
              </a:pathLst>
            </a:custGeom>
            <a:solidFill>
              <a:srgbClr val="C816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2" name="Freeform 25">
              <a:extLst>
                <a:ext uri="{FF2B5EF4-FFF2-40B4-BE49-F238E27FC236}">
                  <a16:creationId xmlns:a16="http://schemas.microsoft.com/office/drawing/2014/main" id="{63FE74A7-7D46-4DDA-9223-2CC2BBEA887D}"/>
                </a:ext>
              </a:extLst>
            </p:cNvPr>
            <p:cNvSpPr>
              <a:spLocks noSelect="1"/>
            </p:cNvSpPr>
            <p:nvPr userDrawn="1"/>
          </p:nvSpPr>
          <p:spPr bwMode="gray">
            <a:xfrm>
              <a:off x="522" y="3879"/>
              <a:ext cx="120" cy="160"/>
            </a:xfrm>
            <a:custGeom>
              <a:avLst/>
              <a:gdLst>
                <a:gd name="T0" fmla="*/ 120 w 120"/>
                <a:gd name="T1" fmla="*/ 0 h 160"/>
                <a:gd name="T2" fmla="*/ 120 w 120"/>
                <a:gd name="T3" fmla="*/ 80 h 160"/>
                <a:gd name="T4" fmla="*/ 40 w 120"/>
                <a:gd name="T5" fmla="*/ 160 h 160"/>
                <a:gd name="T6" fmla="*/ 0 w 120"/>
                <a:gd name="T7" fmla="*/ 120 h 160"/>
                <a:gd name="T8" fmla="*/ 40 w 120"/>
                <a:gd name="T9" fmla="*/ 80 h 160"/>
                <a:gd name="T10" fmla="*/ 40 w 120"/>
                <a:gd name="T11" fmla="*/ 0 h 160"/>
                <a:gd name="T12" fmla="*/ 120 w 120"/>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120" h="160">
                  <a:moveTo>
                    <a:pt x="120" y="0"/>
                  </a:moveTo>
                  <a:lnTo>
                    <a:pt x="120" y="80"/>
                  </a:lnTo>
                  <a:lnTo>
                    <a:pt x="40" y="160"/>
                  </a:lnTo>
                  <a:lnTo>
                    <a:pt x="0" y="120"/>
                  </a:lnTo>
                  <a:lnTo>
                    <a:pt x="40" y="80"/>
                  </a:lnTo>
                  <a:lnTo>
                    <a:pt x="40" y="0"/>
                  </a:lnTo>
                  <a:lnTo>
                    <a:pt x="120" y="0"/>
                  </a:lnTo>
                  <a:close/>
                </a:path>
              </a:pathLst>
            </a:custGeom>
            <a:solidFill>
              <a:srgbClr val="BFCE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3" name="Freeform 26">
              <a:extLst>
                <a:ext uri="{FF2B5EF4-FFF2-40B4-BE49-F238E27FC236}">
                  <a16:creationId xmlns:a16="http://schemas.microsoft.com/office/drawing/2014/main" id="{AE6F7C02-17F5-4A71-95E5-AB7D4FD984E8}"/>
                </a:ext>
              </a:extLst>
            </p:cNvPr>
            <p:cNvSpPr>
              <a:spLocks noSelect="1"/>
            </p:cNvSpPr>
            <p:nvPr userDrawn="1"/>
          </p:nvSpPr>
          <p:spPr bwMode="gray">
            <a:xfrm>
              <a:off x="402" y="3799"/>
              <a:ext cx="160" cy="120"/>
            </a:xfrm>
            <a:custGeom>
              <a:avLst/>
              <a:gdLst>
                <a:gd name="T0" fmla="*/ 160 w 160"/>
                <a:gd name="T1" fmla="*/ 0 h 120"/>
                <a:gd name="T2" fmla="*/ 160 w 160"/>
                <a:gd name="T3" fmla="*/ 80 h 120"/>
                <a:gd name="T4" fmla="*/ 80 w 160"/>
                <a:gd name="T5" fmla="*/ 80 h 120"/>
                <a:gd name="T6" fmla="*/ 40 w 160"/>
                <a:gd name="T7" fmla="*/ 120 h 120"/>
                <a:gd name="T8" fmla="*/ 0 w 160"/>
                <a:gd name="T9" fmla="*/ 80 h 120"/>
                <a:gd name="T10" fmla="*/ 80 w 160"/>
                <a:gd name="T11" fmla="*/ 0 h 120"/>
                <a:gd name="T12" fmla="*/ 160 w 160"/>
                <a:gd name="T13" fmla="*/ 0 h 120"/>
              </a:gdLst>
              <a:ahLst/>
              <a:cxnLst>
                <a:cxn ang="0">
                  <a:pos x="T0" y="T1"/>
                </a:cxn>
                <a:cxn ang="0">
                  <a:pos x="T2" y="T3"/>
                </a:cxn>
                <a:cxn ang="0">
                  <a:pos x="T4" y="T5"/>
                </a:cxn>
                <a:cxn ang="0">
                  <a:pos x="T6" y="T7"/>
                </a:cxn>
                <a:cxn ang="0">
                  <a:pos x="T8" y="T9"/>
                </a:cxn>
                <a:cxn ang="0">
                  <a:pos x="T10" y="T11"/>
                </a:cxn>
                <a:cxn ang="0">
                  <a:pos x="T12" y="T13"/>
                </a:cxn>
              </a:cxnLst>
              <a:rect l="0" t="0" r="r" b="b"/>
              <a:pathLst>
                <a:path w="160" h="120">
                  <a:moveTo>
                    <a:pt x="160" y="0"/>
                  </a:moveTo>
                  <a:lnTo>
                    <a:pt x="160" y="80"/>
                  </a:lnTo>
                  <a:lnTo>
                    <a:pt x="80" y="80"/>
                  </a:lnTo>
                  <a:lnTo>
                    <a:pt x="40" y="120"/>
                  </a:lnTo>
                  <a:lnTo>
                    <a:pt x="0" y="80"/>
                  </a:lnTo>
                  <a:lnTo>
                    <a:pt x="80" y="0"/>
                  </a:lnTo>
                  <a:lnTo>
                    <a:pt x="160" y="0"/>
                  </a:lnTo>
                  <a:close/>
                </a:path>
              </a:pathLst>
            </a:custGeom>
            <a:solidFill>
              <a:srgbClr val="78BC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grpSp>
      <p:sp>
        <p:nvSpPr>
          <p:cNvPr id="27" name="Tijdelijke aanduiding voor afbeelding 18">
            <a:extLst>
              <a:ext uri="{FF2B5EF4-FFF2-40B4-BE49-F238E27FC236}">
                <a16:creationId xmlns:a16="http://schemas.microsoft.com/office/drawing/2014/main" id="{723EA62C-02CD-4C68-B68D-DEC4F61E0C2F}"/>
              </a:ext>
            </a:extLst>
          </p:cNvPr>
          <p:cNvSpPr>
            <a:spLocks noGrp="1" noSelect="1"/>
          </p:cNvSpPr>
          <p:nvPr>
            <p:ph type="pic" idx="1002" hasCustomPrompt="1"/>
          </p:nvPr>
        </p:nvSpPr>
        <p:spPr bwMode="gray">
          <a:xfrm>
            <a:off x="0" y="1588"/>
            <a:ext cx="12195001" cy="3424172"/>
          </a:xfrm>
          <a:custGeom>
            <a:avLst/>
            <a:gdLst>
              <a:gd name="connsiteX0" fmla="*/ 0 w 12195001"/>
              <a:gd name="connsiteY0" fmla="*/ 0 h 3424172"/>
              <a:gd name="connsiteX1" fmla="*/ 12195001 w 12195001"/>
              <a:gd name="connsiteY1" fmla="*/ 0 h 3424172"/>
              <a:gd name="connsiteX2" fmla="*/ 12195001 w 12195001"/>
              <a:gd name="connsiteY2" fmla="*/ 3424172 h 3424172"/>
              <a:gd name="connsiteX3" fmla="*/ 1144522 w 12195001"/>
              <a:gd name="connsiteY3" fmla="*/ 3424172 h 3424172"/>
              <a:gd name="connsiteX4" fmla="*/ 0 w 12195001"/>
              <a:gd name="connsiteY4" fmla="*/ 2282825 h 34241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5001" h="3424172">
                <a:moveTo>
                  <a:pt x="0" y="0"/>
                </a:moveTo>
                <a:lnTo>
                  <a:pt x="12195001" y="0"/>
                </a:lnTo>
                <a:lnTo>
                  <a:pt x="12195001" y="3424172"/>
                </a:lnTo>
                <a:lnTo>
                  <a:pt x="1144522" y="3424172"/>
                </a:lnTo>
                <a:lnTo>
                  <a:pt x="0" y="2282825"/>
                </a:lnTo>
                <a:close/>
              </a:path>
            </a:pathLst>
          </a:custGeom>
          <a:blipFill>
            <a:blip r:embed="rId4"/>
            <a:stretch>
              <a:fillRect/>
            </a:stretch>
          </a:blipFill>
        </p:spPr>
        <p:txBody>
          <a:bodyPr wrap="square">
            <a:noAutofit/>
          </a:bodyPr>
          <a:lstStyle>
            <a:lvl1pPr marL="270108" indent="-270108" algn="l" defTabSz="1088937" rtl="0" eaLnBrk="1" latinLnBrk="0" hangingPunct="1">
              <a:spcBef>
                <a:spcPts val="0"/>
              </a:spcBef>
              <a:buFont typeface="Arial" pitchFamily="34" charset="0"/>
              <a:buNone/>
              <a:defRPr baseline="0"/>
            </a:lvl1pPr>
          </a:lstStyle>
          <a:p>
            <a:r>
              <a:rPr lang="nl-NL" dirty="0"/>
              <a:t> </a:t>
            </a:r>
          </a:p>
        </p:txBody>
      </p:sp>
      <p:sp>
        <p:nvSpPr>
          <p:cNvPr id="28" name="+++Freeform 7 (PHJU)">
            <a:extLst>
              <a:ext uri="{FF2B5EF4-FFF2-40B4-BE49-F238E27FC236}">
                <a16:creationId xmlns:a16="http://schemas.microsoft.com/office/drawing/2014/main" id="{A0A06089-3BC5-4754-BE2B-DA06BCF70FED}"/>
              </a:ext>
            </a:extLst>
          </p:cNvPr>
          <p:cNvSpPr>
            <a:spLocks noGrp="1" noSelect="1"/>
          </p:cNvSpPr>
          <p:nvPr>
            <p:ph type="body" idx="1001" hasCustomPrompt="1"/>
            <p:custDataLst>
              <p:custData r:id="rId1"/>
            </p:custDataLst>
          </p:nvPr>
        </p:nvSpPr>
        <p:spPr bwMode="gray">
          <a:xfrm>
            <a:off x="570960" y="2280240"/>
            <a:ext cx="11626921" cy="1147680"/>
          </a:xfrm>
          <a:custGeom>
            <a:avLst/>
            <a:gdLst>
              <a:gd name="T0" fmla="*/ 363 w 7324"/>
              <a:gd name="T1" fmla="*/ 723 h 723"/>
              <a:gd name="T2" fmla="*/ 7324 w 7324"/>
              <a:gd name="T3" fmla="*/ 723 h 723"/>
              <a:gd name="T4" fmla="*/ 7324 w 7324"/>
              <a:gd name="T5" fmla="*/ 0 h 723"/>
              <a:gd name="T6" fmla="*/ 363 w 7324"/>
              <a:gd name="T7" fmla="*/ 0 h 723"/>
              <a:gd name="T8" fmla="*/ 0 w 7324"/>
              <a:gd name="T9" fmla="*/ 362 h 723"/>
              <a:gd name="T10" fmla="*/ 363 w 7324"/>
              <a:gd name="T11" fmla="*/ 723 h 723"/>
            </a:gdLst>
            <a:ahLst/>
            <a:cxnLst>
              <a:cxn ang="0">
                <a:pos x="T0" y="T1"/>
              </a:cxn>
              <a:cxn ang="0">
                <a:pos x="T2" y="T3"/>
              </a:cxn>
              <a:cxn ang="0">
                <a:pos x="T4" y="T5"/>
              </a:cxn>
              <a:cxn ang="0">
                <a:pos x="T6" y="T7"/>
              </a:cxn>
              <a:cxn ang="0">
                <a:pos x="T8" y="T9"/>
              </a:cxn>
              <a:cxn ang="0">
                <a:pos x="T10" y="T11"/>
              </a:cxn>
            </a:cxnLst>
            <a:rect l="0" t="0" r="r" b="b"/>
            <a:pathLst>
              <a:path w="7324" h="723">
                <a:moveTo>
                  <a:pt x="363" y="723"/>
                </a:moveTo>
                <a:lnTo>
                  <a:pt x="7324" y="723"/>
                </a:lnTo>
                <a:lnTo>
                  <a:pt x="7324" y="0"/>
                </a:lnTo>
                <a:lnTo>
                  <a:pt x="363" y="0"/>
                </a:lnTo>
                <a:lnTo>
                  <a:pt x="0" y="362"/>
                </a:lnTo>
                <a:lnTo>
                  <a:pt x="363" y="723"/>
                </a:lnTo>
                <a:close/>
              </a:path>
            </a:pathLst>
          </a:custGeom>
          <a:solidFill>
            <a:srgbClr val="58525A">
              <a:alpha val="80000"/>
            </a:srgbClr>
          </a:solidFill>
          <a:ln>
            <a:noFill/>
          </a:ln>
        </p:spPr>
        <p:txBody>
          <a:bodyPr vert="horz" wrap="square" lIns="91440" tIns="45720" rIns="91440" bIns="45720" numCol="1" anchor="t" anchorCtr="0" compatLnSpc="1">
            <a:prstTxWarp prst="textNoShape">
              <a:avLst/>
            </a:prstTxWarp>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25" name="+++Freeform 7 (PHJU)">
            <a:extLst>
              <a:ext uri="{FF2B5EF4-FFF2-40B4-BE49-F238E27FC236}">
                <a16:creationId xmlns:a16="http://schemas.microsoft.com/office/drawing/2014/main" id="{89AC9389-B083-49FA-BABB-96F2EF9C3C6C}"/>
              </a:ext>
            </a:extLst>
          </p:cNvPr>
          <p:cNvSpPr>
            <a:spLocks noGrp="1" noSelect="1"/>
          </p:cNvSpPr>
          <p:nvPr>
            <p:ph type="body" idx="1003" hasCustomPrompt="1"/>
            <p:custDataLst>
              <p:custData r:id="rId2"/>
            </p:custDataLst>
          </p:nvPr>
        </p:nvSpPr>
        <p:spPr bwMode="gray">
          <a:xfrm>
            <a:off x="560519" y="2280240"/>
            <a:ext cx="11636640" cy="1147680"/>
          </a:xfrm>
          <a:custGeom>
            <a:avLst/>
            <a:gdLst>
              <a:gd name="T0" fmla="*/ 363 w 7324"/>
              <a:gd name="T1" fmla="*/ 723 h 723"/>
              <a:gd name="T2" fmla="*/ 7324 w 7324"/>
              <a:gd name="T3" fmla="*/ 723 h 723"/>
              <a:gd name="T4" fmla="*/ 7324 w 7324"/>
              <a:gd name="T5" fmla="*/ 0 h 723"/>
              <a:gd name="T6" fmla="*/ 363 w 7324"/>
              <a:gd name="T7" fmla="*/ 0 h 723"/>
              <a:gd name="T8" fmla="*/ 0 w 7324"/>
              <a:gd name="T9" fmla="*/ 362 h 723"/>
              <a:gd name="T10" fmla="*/ 363 w 7324"/>
              <a:gd name="T11" fmla="*/ 723 h 723"/>
            </a:gdLst>
            <a:ahLst/>
            <a:cxnLst>
              <a:cxn ang="0">
                <a:pos x="T0" y="T1"/>
              </a:cxn>
              <a:cxn ang="0">
                <a:pos x="T2" y="T3"/>
              </a:cxn>
              <a:cxn ang="0">
                <a:pos x="T4" y="T5"/>
              </a:cxn>
              <a:cxn ang="0">
                <a:pos x="T6" y="T7"/>
              </a:cxn>
              <a:cxn ang="0">
                <a:pos x="T8" y="T9"/>
              </a:cxn>
              <a:cxn ang="0">
                <a:pos x="T10" y="T11"/>
              </a:cxn>
            </a:cxnLst>
            <a:rect l="0" t="0" r="r" b="b"/>
            <a:pathLst>
              <a:path w="7324" h="723">
                <a:moveTo>
                  <a:pt x="363" y="723"/>
                </a:moveTo>
                <a:lnTo>
                  <a:pt x="7324" y="723"/>
                </a:lnTo>
                <a:lnTo>
                  <a:pt x="7324" y="0"/>
                </a:lnTo>
                <a:lnTo>
                  <a:pt x="363" y="0"/>
                </a:lnTo>
                <a:lnTo>
                  <a:pt x="0" y="362"/>
                </a:lnTo>
                <a:lnTo>
                  <a:pt x="363" y="723"/>
                </a:lnTo>
                <a:close/>
              </a:path>
            </a:pathLst>
          </a:custGeom>
          <a:solidFill>
            <a:srgbClr val="D8981F">
              <a:alpha val="80000"/>
            </a:srgbClr>
          </a:solidFill>
          <a:ln>
            <a:noFill/>
          </a:ln>
        </p:spPr>
        <p:txBody>
          <a:bodyPr vert="horz" wrap="square" lIns="91440" tIns="45720" rIns="91440" bIns="45720" numCol="1" anchor="t" anchorCtr="0" compatLnSpc="1">
            <a:prstTxWarp prst="textNoShape">
              <a:avLst/>
            </a:prstTxWarp>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3" name="Ondertitel 2"/>
          <p:cNvSpPr>
            <a:spLocks noGrp="1" noSelect="1"/>
          </p:cNvSpPr>
          <p:nvPr>
            <p:ph type="subTitle" idx="1" hasCustomPrompt="1"/>
          </p:nvPr>
        </p:nvSpPr>
        <p:spPr bwMode="gray">
          <a:xfrm>
            <a:off x="1152000" y="2697840"/>
            <a:ext cx="10404000" cy="324000"/>
          </a:xfrm>
        </p:spPr>
        <p:txBody>
          <a:bodyPr anchor="ctr" anchorCtr="0">
            <a:noAutofit/>
          </a:bodyPr>
          <a:lstStyle>
            <a:lvl1pPr marL="0" indent="0" algn="l">
              <a:lnSpc>
                <a:spcPct val="100000"/>
              </a:lnSpc>
              <a:buNone/>
              <a:defRPr sz="1800" b="1" i="0" cap="all" spc="70" baseline="0">
                <a:solidFill>
                  <a:schemeClr val="bg1"/>
                </a:solidFill>
                <a:latin typeface="Univers" panose="020B0603020202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noProof="1"/>
              <a:t>[presentator en/of datum]</a:t>
            </a:r>
          </a:p>
        </p:txBody>
      </p:sp>
      <p:sp>
        <p:nvSpPr>
          <p:cNvPr id="35" name="witdriehoek">
            <a:extLst>
              <a:ext uri="{FF2B5EF4-FFF2-40B4-BE49-F238E27FC236}">
                <a16:creationId xmlns:a16="http://schemas.microsoft.com/office/drawing/2014/main" id="{54013549-CEDF-4918-8E44-11C80DA42D8C}"/>
              </a:ext>
            </a:extLst>
          </p:cNvPr>
          <p:cNvSpPr>
            <a:spLocks noSelect="1"/>
          </p:cNvSpPr>
          <p:nvPr userDrawn="1"/>
        </p:nvSpPr>
        <p:spPr bwMode="auto">
          <a:xfrm>
            <a:off x="0" y="2287588"/>
            <a:ext cx="571500" cy="1141413"/>
          </a:xfrm>
          <a:custGeom>
            <a:avLst/>
            <a:gdLst>
              <a:gd name="T0" fmla="*/ 360 w 360"/>
              <a:gd name="T1" fmla="*/ 360 h 719"/>
              <a:gd name="T2" fmla="*/ 0 w 360"/>
              <a:gd name="T3" fmla="*/ 719 h 719"/>
              <a:gd name="T4" fmla="*/ 0 w 360"/>
              <a:gd name="T5" fmla="*/ 0 h 719"/>
              <a:gd name="T6" fmla="*/ 360 w 360"/>
              <a:gd name="T7" fmla="*/ 360 h 719"/>
            </a:gdLst>
            <a:ahLst/>
            <a:cxnLst>
              <a:cxn ang="0">
                <a:pos x="T0" y="T1"/>
              </a:cxn>
              <a:cxn ang="0">
                <a:pos x="T2" y="T3"/>
              </a:cxn>
              <a:cxn ang="0">
                <a:pos x="T4" y="T5"/>
              </a:cxn>
              <a:cxn ang="0">
                <a:pos x="T6" y="T7"/>
              </a:cxn>
            </a:cxnLst>
            <a:rect l="0" t="0" r="r" b="b"/>
            <a:pathLst>
              <a:path w="360" h="719">
                <a:moveTo>
                  <a:pt x="360" y="360"/>
                </a:moveTo>
                <a:lnTo>
                  <a:pt x="0" y="719"/>
                </a:lnTo>
                <a:lnTo>
                  <a:pt x="0" y="0"/>
                </a:lnTo>
                <a:lnTo>
                  <a:pt x="360" y="3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x-none"/>
          </a:p>
        </p:txBody>
      </p:sp>
      <p:sp>
        <p:nvSpPr>
          <p:cNvPr id="36" name="kleurdriehoek">
            <a:extLst>
              <a:ext uri="{FF2B5EF4-FFF2-40B4-BE49-F238E27FC236}">
                <a16:creationId xmlns:a16="http://schemas.microsoft.com/office/drawing/2014/main" id="{2D44C7AC-D0E7-462E-BA60-F869725C4931}"/>
              </a:ext>
            </a:extLst>
          </p:cNvPr>
          <p:cNvSpPr>
            <a:spLocks noSelect="1"/>
          </p:cNvSpPr>
          <p:nvPr userDrawn="1"/>
        </p:nvSpPr>
        <p:spPr bwMode="auto">
          <a:xfrm>
            <a:off x="0" y="2859088"/>
            <a:ext cx="1144588" cy="569913"/>
          </a:xfrm>
          <a:custGeom>
            <a:avLst/>
            <a:gdLst>
              <a:gd name="T0" fmla="*/ 360 w 721"/>
              <a:gd name="T1" fmla="*/ 0 h 359"/>
              <a:gd name="T2" fmla="*/ 721 w 721"/>
              <a:gd name="T3" fmla="*/ 359 h 359"/>
              <a:gd name="T4" fmla="*/ 0 w 721"/>
              <a:gd name="T5" fmla="*/ 359 h 359"/>
              <a:gd name="T6" fmla="*/ 360 w 721"/>
              <a:gd name="T7" fmla="*/ 0 h 359"/>
            </a:gdLst>
            <a:ahLst/>
            <a:cxnLst>
              <a:cxn ang="0">
                <a:pos x="T0" y="T1"/>
              </a:cxn>
              <a:cxn ang="0">
                <a:pos x="T2" y="T3"/>
              </a:cxn>
              <a:cxn ang="0">
                <a:pos x="T4" y="T5"/>
              </a:cxn>
              <a:cxn ang="0">
                <a:pos x="T6" y="T7"/>
              </a:cxn>
            </a:cxnLst>
            <a:rect l="0" t="0" r="r" b="b"/>
            <a:pathLst>
              <a:path w="721" h="359">
                <a:moveTo>
                  <a:pt x="360" y="0"/>
                </a:moveTo>
                <a:lnTo>
                  <a:pt x="721" y="359"/>
                </a:lnTo>
                <a:lnTo>
                  <a:pt x="0" y="359"/>
                </a:lnTo>
                <a:lnTo>
                  <a:pt x="360" y="0"/>
                </a:lnTo>
                <a:close/>
              </a:path>
            </a:pathLst>
          </a:custGeom>
          <a:solidFill>
            <a:srgbClr val="D8981F"/>
          </a:solidFill>
          <a:ln>
            <a:noFill/>
          </a:ln>
        </p:spPr>
        <p:txBody>
          <a:bodyPr vert="horz" wrap="square" lIns="91440" tIns="45720" rIns="91440" bIns="45720" numCol="1" anchor="t" anchorCtr="0" compatLnSpc="1">
            <a:prstTxWarp prst="textNoShape">
              <a:avLst/>
            </a:prstTxWarp>
          </a:bodyPr>
          <a:lstStyle/>
          <a:p>
            <a:endParaRPr lang="x-none"/>
          </a:p>
        </p:txBody>
      </p:sp>
    </p:spTree>
    <p:extLst>
      <p:ext uri="{BB962C8B-B14F-4D97-AF65-F5344CB8AC3E}">
        <p14:creationId xmlns:p14="http://schemas.microsoft.com/office/powerpoint/2010/main" val="18771316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5000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700" fill="hold"/>
                                        <p:tgtEl>
                                          <p:spTgt spid="27"/>
                                        </p:tgtEl>
                                        <p:attrNameLst>
                                          <p:attrName>ppt_x</p:attrName>
                                        </p:attrNameLst>
                                      </p:cBhvr>
                                      <p:tavLst>
                                        <p:tav tm="0">
                                          <p:val>
                                            <p:strVal val="#ppt_x"/>
                                          </p:val>
                                        </p:tav>
                                        <p:tav tm="100000">
                                          <p:val>
                                            <p:strVal val="#ppt_x"/>
                                          </p:val>
                                        </p:tav>
                                      </p:tavLst>
                                    </p:anim>
                                    <p:anim calcmode="lin" valueType="num">
                                      <p:cBhvr additive="base">
                                        <p:cTn id="8" dur="700" fill="hold"/>
                                        <p:tgtEl>
                                          <p:spTgt spid="27"/>
                                        </p:tgtEl>
                                        <p:attrNameLst>
                                          <p:attrName>ppt_y</p:attrName>
                                        </p:attrNameLst>
                                      </p:cBhvr>
                                      <p:tavLst>
                                        <p:tav tm="0">
                                          <p:val>
                                            <p:strVal val="0-#ppt_h/2"/>
                                          </p:val>
                                        </p:tav>
                                        <p:tav tm="100000">
                                          <p:val>
                                            <p:strVal val="#ppt_y"/>
                                          </p:val>
                                        </p:tav>
                                      </p:tavLst>
                                    </p:anim>
                                  </p:childTnLst>
                                </p:cTn>
                              </p:par>
                              <p:par>
                                <p:cTn id="9" presetID="2" presetClass="entr" presetSubtype="4" decel="50000" fill="hold" nodeType="withEffect">
                                  <p:stCondLst>
                                    <p:cond delay="0"/>
                                  </p:stCondLst>
                                  <p:childTnLst>
                                    <p:set>
                                      <p:cBhvr>
                                        <p:cTn id="10" dur="1" fill="hold">
                                          <p:stCondLst>
                                            <p:cond delay="0"/>
                                          </p:stCondLst>
                                        </p:cTn>
                                        <p:tgtEl>
                                          <p:spTgt spid="24"/>
                                        </p:tgtEl>
                                        <p:attrNameLst>
                                          <p:attrName>style.visibility</p:attrName>
                                        </p:attrNameLst>
                                      </p:cBhvr>
                                      <p:to>
                                        <p:strVal val="visible"/>
                                      </p:to>
                                    </p:set>
                                    <p:anim calcmode="lin" valueType="num">
                                      <p:cBhvr additive="base">
                                        <p:cTn id="11" dur="700" fill="hold"/>
                                        <p:tgtEl>
                                          <p:spTgt spid="24"/>
                                        </p:tgtEl>
                                        <p:attrNameLst>
                                          <p:attrName>ppt_x</p:attrName>
                                        </p:attrNameLst>
                                      </p:cBhvr>
                                      <p:tavLst>
                                        <p:tav tm="0">
                                          <p:val>
                                            <p:strVal val="#ppt_x"/>
                                          </p:val>
                                        </p:tav>
                                        <p:tav tm="100000">
                                          <p:val>
                                            <p:strVal val="#ppt_x"/>
                                          </p:val>
                                        </p:tav>
                                      </p:tavLst>
                                    </p:anim>
                                    <p:anim calcmode="lin" valueType="num">
                                      <p:cBhvr additive="base">
                                        <p:cTn id="12" dur="700" fill="hold"/>
                                        <p:tgtEl>
                                          <p:spTgt spid="24"/>
                                        </p:tgtEl>
                                        <p:attrNameLst>
                                          <p:attrName>ppt_y</p:attrName>
                                        </p:attrNameLst>
                                      </p:cBhvr>
                                      <p:tavLst>
                                        <p:tav tm="0">
                                          <p:val>
                                            <p:strVal val="1+#ppt_h/2"/>
                                          </p:val>
                                        </p:tav>
                                        <p:tav tm="100000">
                                          <p:val>
                                            <p:strVal val="#ppt_y"/>
                                          </p:val>
                                        </p:tav>
                                      </p:tavLst>
                                    </p:anim>
                                  </p:childTnLst>
                                </p:cTn>
                              </p:par>
                              <p:par>
                                <p:cTn id="13" presetID="64" presetClass="path" presetSubtype="0" decel="62500" fill="hold" grpId="0" nodeType="withEffect">
                                  <p:stCondLst>
                                    <p:cond delay="0"/>
                                  </p:stCondLst>
                                  <p:childTnLst>
                                    <p:animMotion origin="layout" path="M 1.91617E-6 -0.57523 L 1.91617E-6 -7.40741E-7 " pathEditMode="relative" rAng="0" ptsTypes="AA">
                                      <p:cBhvr>
                                        <p:cTn id="14" dur="800" fill="hold"/>
                                        <p:tgtEl>
                                          <p:spTgt spid="2"/>
                                        </p:tgtEl>
                                        <p:attrNameLst>
                                          <p:attrName>ppt_x</p:attrName>
                                          <p:attrName>ppt_y</p:attrName>
                                        </p:attrNameLst>
                                      </p:cBhvr>
                                      <p:rCtr x="0" y="28750"/>
                                    </p:animMotion>
                                  </p:childTnLst>
                                </p:cTn>
                              </p:par>
                              <p:par>
                                <p:cTn id="15" presetID="10" presetClass="entr" presetSubtype="0" fill="hold" grpId="0" nodeType="withEffect">
                                  <p:stCondLst>
                                    <p:cond delay="500"/>
                                  </p:stCondLst>
                                  <p:childTnLst>
                                    <p:set>
                                      <p:cBhvr>
                                        <p:cTn id="16" dur="1" fill="hold">
                                          <p:stCondLst>
                                            <p:cond delay="0"/>
                                          </p:stCondLst>
                                        </p:cTn>
                                        <p:tgtEl>
                                          <p:spTgt spid="28">
                                            <p:bg/>
                                          </p:spTgt>
                                        </p:tgtEl>
                                        <p:attrNameLst>
                                          <p:attrName>style.visibility</p:attrName>
                                        </p:attrNameLst>
                                      </p:cBhvr>
                                      <p:to>
                                        <p:strVal val="visible"/>
                                      </p:to>
                                    </p:set>
                                    <p:animEffect transition="in" filter="fade">
                                      <p:cBhvr>
                                        <p:cTn id="17" dur="200"/>
                                        <p:tgtEl>
                                          <p:spTgt spid="28">
                                            <p:bg/>
                                          </p:spTgt>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28">
                                            <p:txEl>
                                              <p:pRg st="0" end="0"/>
                                            </p:txEl>
                                          </p:spTgt>
                                        </p:tgtEl>
                                        <p:attrNameLst>
                                          <p:attrName>style.visibility</p:attrName>
                                        </p:attrNameLst>
                                      </p:cBhvr>
                                      <p:to>
                                        <p:strVal val="visible"/>
                                      </p:to>
                                    </p:set>
                                    <p:animEffect transition="in" filter="fade">
                                      <p:cBhvr>
                                        <p:cTn id="20" dur="200"/>
                                        <p:tgtEl>
                                          <p:spTgt spid="28">
                                            <p:txEl>
                                              <p:pRg st="0" end="0"/>
                                            </p:txEl>
                                          </p:spTgt>
                                        </p:tgtEl>
                                      </p:cBhvr>
                                    </p:animEffect>
                                  </p:childTnLst>
                                </p:cTn>
                              </p:par>
                              <p:par>
                                <p:cTn id="21" presetID="10" presetClass="entr" presetSubtype="0" fill="hold" grpId="0" nodeType="withEffect">
                                  <p:stCondLst>
                                    <p:cond delay="500"/>
                                  </p:stCondLst>
                                  <p:childTnLst>
                                    <p:set>
                                      <p:cBhvr>
                                        <p:cTn id="22" dur="1" fill="hold">
                                          <p:stCondLst>
                                            <p:cond delay="0"/>
                                          </p:stCondLst>
                                        </p:cTn>
                                        <p:tgtEl>
                                          <p:spTgt spid="25">
                                            <p:bg/>
                                          </p:spTgt>
                                        </p:tgtEl>
                                        <p:attrNameLst>
                                          <p:attrName>style.visibility</p:attrName>
                                        </p:attrNameLst>
                                      </p:cBhvr>
                                      <p:to>
                                        <p:strVal val="visible"/>
                                      </p:to>
                                    </p:set>
                                    <p:animEffect transition="in" filter="fade">
                                      <p:cBhvr>
                                        <p:cTn id="23" dur="200"/>
                                        <p:tgtEl>
                                          <p:spTgt spid="25">
                                            <p:bg/>
                                          </p:spTgt>
                                        </p:tgtEl>
                                      </p:cBhvr>
                                    </p:animEffect>
                                  </p:childTnLst>
                                </p:cTn>
                              </p:par>
                              <p:par>
                                <p:cTn id="24" presetID="10" presetClass="entr" presetSubtype="0" fill="hold" grpId="0" nodeType="withEffect">
                                  <p:stCondLst>
                                    <p:cond delay="500"/>
                                  </p:stCondLst>
                                  <p:childTnLst>
                                    <p:set>
                                      <p:cBhvr>
                                        <p:cTn id="25" dur="1" fill="hold">
                                          <p:stCondLst>
                                            <p:cond delay="0"/>
                                          </p:stCondLst>
                                        </p:cTn>
                                        <p:tgtEl>
                                          <p:spTgt spid="25">
                                            <p:txEl>
                                              <p:pRg st="0" end="0"/>
                                            </p:txEl>
                                          </p:spTgt>
                                        </p:tgtEl>
                                        <p:attrNameLst>
                                          <p:attrName>style.visibility</p:attrName>
                                        </p:attrNameLst>
                                      </p:cBhvr>
                                      <p:to>
                                        <p:strVal val="visible"/>
                                      </p:to>
                                    </p:set>
                                    <p:animEffect transition="in" filter="fade">
                                      <p:cBhvr>
                                        <p:cTn id="26" dur="200"/>
                                        <p:tgtEl>
                                          <p:spTgt spid="25">
                                            <p:txEl>
                                              <p:pRg st="0" end="0"/>
                                            </p:txEl>
                                          </p:spTgt>
                                        </p:tgtEl>
                                      </p:cBhvr>
                                    </p:animEffect>
                                  </p:childTnLst>
                                </p:cTn>
                              </p:par>
                            </p:childTnLst>
                          </p:cTn>
                        </p:par>
                        <p:par>
                          <p:cTn id="27" fill="hold">
                            <p:stCondLst>
                              <p:cond delay="800"/>
                            </p:stCondLst>
                            <p:childTnLst>
                              <p:par>
                                <p:cTn id="28" presetID="10" presetClass="entr" presetSubtype="0" fill="hold" grpId="0" nodeType="afterEffect">
                                  <p:stCondLst>
                                    <p:cond delay="0"/>
                                  </p:stCondLst>
                                  <p:childTnLst>
                                    <p:set>
                                      <p:cBhvr>
                                        <p:cTn id="29" dur="1" fill="hold">
                                          <p:stCondLst>
                                            <p:cond delay="0"/>
                                          </p:stCondLst>
                                        </p:cTn>
                                        <p:tgtEl>
                                          <p:spTgt spid="3">
                                            <p:txEl>
                                              <p:pRg st="0" end="0"/>
                                            </p:txEl>
                                          </p:spTgt>
                                        </p:tgtEl>
                                        <p:attrNameLst>
                                          <p:attrName>style.visibility</p:attrName>
                                        </p:attrNameLst>
                                      </p:cBhvr>
                                      <p:to>
                                        <p:strVal val="visible"/>
                                      </p:to>
                                    </p:set>
                                    <p:animEffect transition="in" filter="fade">
                                      <p:cBhvr>
                                        <p:cTn id="30" dur="500"/>
                                        <p:tgtEl>
                                          <p:spTgt spid="3">
                                            <p:txEl>
                                              <p:pRg st="0" end="0"/>
                                            </p:txEl>
                                          </p:spTgt>
                                        </p:tgtEl>
                                      </p:cBhvr>
                                    </p:animEffect>
                                  </p:childTnLst>
                                </p:cTn>
                              </p:par>
                            </p:childTnLst>
                          </p:cTn>
                        </p:par>
                        <p:par>
                          <p:cTn id="31" fill="hold">
                            <p:stCondLst>
                              <p:cond delay="1300"/>
                            </p:stCondLst>
                            <p:childTnLst>
                              <p:par>
                                <p:cTn id="32" presetID="1" presetClass="entr" presetSubtype="0" fill="hold" grpId="0" nodeType="afterEffect">
                                  <p:stCondLst>
                                    <p:cond delay="0"/>
                                  </p:stCondLst>
                                  <p:childTnLst>
                                    <p:set>
                                      <p:cBhvr>
                                        <p:cTn id="33"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7" grpId="0" animBg="1"/>
      <p:bldP spid="28" grpId="0" uiExpand="1" build="p" animBg="1">
        <p:tmplLst>
          <p:tmpl>
            <p:tnLst>
              <p:par>
                <p:cTn presetID="10" presetClass="entr" presetSubtype="0" fill="hold" nodeType="withEffect">
                  <p:stCondLst>
                    <p:cond delay="500"/>
                  </p:stCondLst>
                  <p:childTnLst>
                    <p:set>
                      <p:cBhvr>
                        <p:cTn dur="1" fill="hold">
                          <p:stCondLst>
                            <p:cond delay="0"/>
                          </p:stCondLst>
                        </p:cTn>
                        <p:tgtEl>
                          <p:spTgt spid="28"/>
                        </p:tgtEl>
                        <p:attrNameLst>
                          <p:attrName>style.visibility</p:attrName>
                        </p:attrNameLst>
                      </p:cBhvr>
                      <p:to>
                        <p:strVal val="visible"/>
                      </p:to>
                    </p:set>
                    <p:animEffect transition="in" filter="fade">
                      <p:cBhvr>
                        <p:cTn dur="200"/>
                        <p:tgtEl>
                          <p:spTgt spid="28"/>
                        </p:tgtEl>
                      </p:cBhvr>
                    </p:animEffect>
                  </p:childTnLst>
                </p:cTn>
              </p:par>
            </p:tnLst>
          </p:tmpl>
          <p:tmpl lvl="1">
            <p:tnLst>
              <p:par>
                <p:cTn presetID="10" presetClass="entr" presetSubtype="0" fill="hold" nodeType="withEffect">
                  <p:stCondLst>
                    <p:cond delay="500"/>
                  </p:stCondLst>
                  <p:childTnLst>
                    <p:set>
                      <p:cBhvr>
                        <p:cTn dur="1" fill="hold">
                          <p:stCondLst>
                            <p:cond delay="0"/>
                          </p:stCondLst>
                        </p:cTn>
                        <p:tgtEl>
                          <p:spTgt spid="28"/>
                        </p:tgtEl>
                        <p:attrNameLst>
                          <p:attrName>style.visibility</p:attrName>
                        </p:attrNameLst>
                      </p:cBhvr>
                      <p:to>
                        <p:strVal val="visible"/>
                      </p:to>
                    </p:set>
                    <p:animEffect transition="in" filter="fade">
                      <p:cBhvr>
                        <p:cTn dur="200"/>
                        <p:tgtEl>
                          <p:spTgt spid="28"/>
                        </p:tgtEl>
                      </p:cBhvr>
                    </p:animEffect>
                  </p:childTnLst>
                </p:cTn>
              </p:par>
            </p:tnLst>
          </p:tmpl>
        </p:tmplLst>
      </p:bldP>
      <p:bldP spid="25" grpId="0" build="p" animBg="1">
        <p:tmplLst>
          <p:tmpl>
            <p:tnLst>
              <p:par>
                <p:cTn presetID="10" presetClass="entr" presetSubtype="0" fill="hold" nodeType="withEffect">
                  <p:stCondLst>
                    <p:cond delay="500"/>
                  </p:stCondLst>
                  <p:childTnLst>
                    <p:set>
                      <p:cBhvr>
                        <p:cTn dur="1" fill="hold">
                          <p:stCondLst>
                            <p:cond delay="0"/>
                          </p:stCondLst>
                        </p:cTn>
                        <p:tgtEl>
                          <p:spTgt spid="25"/>
                        </p:tgtEl>
                        <p:attrNameLst>
                          <p:attrName>style.visibility</p:attrName>
                        </p:attrNameLst>
                      </p:cBhvr>
                      <p:to>
                        <p:strVal val="visible"/>
                      </p:to>
                    </p:set>
                    <p:animEffect transition="in" filter="fade">
                      <p:cBhvr>
                        <p:cTn dur="200"/>
                        <p:tgtEl>
                          <p:spTgt spid="25"/>
                        </p:tgtEl>
                      </p:cBhvr>
                    </p:animEffect>
                  </p:childTnLst>
                </p:cTn>
              </p:par>
            </p:tnLst>
          </p:tmpl>
          <p:tmpl lvl="1">
            <p:tnLst>
              <p:par>
                <p:cTn presetID="10" presetClass="entr" presetSubtype="0" fill="hold" nodeType="withEffect">
                  <p:stCondLst>
                    <p:cond delay="500"/>
                  </p:stCondLst>
                  <p:childTnLst>
                    <p:set>
                      <p:cBhvr>
                        <p:cTn dur="1" fill="hold">
                          <p:stCondLst>
                            <p:cond delay="0"/>
                          </p:stCondLst>
                        </p:cTn>
                        <p:tgtEl>
                          <p:spTgt spid="25"/>
                        </p:tgtEl>
                        <p:attrNameLst>
                          <p:attrName>style.visibility</p:attrName>
                        </p:attrNameLst>
                      </p:cBhvr>
                      <p:to>
                        <p:strVal val="visible"/>
                      </p:to>
                    </p:set>
                    <p:animEffect transition="in" filter="fade">
                      <p:cBhvr>
                        <p:cTn dur="200"/>
                        <p:tgtEl>
                          <p:spTgt spid="25"/>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P spid="36" grpId="0" animBg="1"/>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el en kader">
    <p:spTree>
      <p:nvGrpSpPr>
        <p:cNvPr id="1" name=""/>
        <p:cNvGrpSpPr/>
        <p:nvPr/>
      </p:nvGrpSpPr>
      <p:grpSpPr>
        <a:xfrm>
          <a:off x="0" y="0"/>
          <a:ext cx="0" cy="0"/>
          <a:chOff x="0" y="0"/>
          <a:chExt cx="0" cy="0"/>
        </a:xfrm>
      </p:grpSpPr>
      <p:sp>
        <p:nvSpPr>
          <p:cNvPr id="3" name="Tijdelijke aanduiding voor inhoud 2"/>
          <p:cNvSpPr>
            <a:spLocks noGrp="1" noSelect="1"/>
          </p:cNvSpPr>
          <p:nvPr>
            <p:ph idx="1" hasCustomPrompt="1"/>
          </p:nvPr>
        </p:nvSpPr>
        <p:spPr bwMode="gray"/>
        <p:txBody>
          <a:bodyPr/>
          <a:lstStyle>
            <a:lvl1pPr>
              <a:defRPr baseline="0"/>
            </a:lvl1pPr>
          </a:lstStyle>
          <a:p>
            <a:pPr lvl="0"/>
            <a:r>
              <a:rPr lang="nl-NL" noProof="1"/>
              <a:t>[Typ tekst of klik op een pictogram om een object in te voegen]</a:t>
            </a:r>
          </a:p>
        </p:txBody>
      </p:sp>
      <p:sp>
        <p:nvSpPr>
          <p:cNvPr id="2" name="Titel 1"/>
          <p:cNvSpPr>
            <a:spLocks noGrp="1" noSelect="1"/>
          </p:cNvSpPr>
          <p:nvPr>
            <p:ph type="title" hasCustomPrompt="1"/>
          </p:nvPr>
        </p:nvSpPr>
        <p:spPr bwMode="gray"/>
        <p:txBody>
          <a:bodyPr/>
          <a:lstStyle>
            <a:lvl1pPr>
              <a:lnSpc>
                <a:spcPct val="100000"/>
              </a:lnSpc>
              <a:defRPr/>
            </a:lvl1pPr>
          </a:lstStyle>
          <a:p>
            <a:r>
              <a:rPr lang="nl-NL" noProof="1"/>
              <a:t>[Titel,</a:t>
            </a:r>
            <a:br>
              <a:rPr lang="nl-NL" noProof="1"/>
            </a:br>
            <a:r>
              <a:rPr lang="nl-NL" noProof="1"/>
              <a:t>maximaal 2 regels]</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Lee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734017EF-B74B-43E4-A6B4-3FE88C9BDF10}"/>
              </a:ext>
            </a:extLst>
          </p:cNvPr>
          <p:cNvGrpSpPr>
            <a:grpSpLocks noSelect="1" noChangeAspect="1"/>
          </p:cNvGrpSpPr>
          <p:nvPr userDrawn="1"/>
        </p:nvGrpSpPr>
        <p:grpSpPr bwMode="gray">
          <a:xfrm>
            <a:off x="6475413" y="8731"/>
            <a:ext cx="5719763" cy="6854826"/>
            <a:chOff x="4079" y="1"/>
            <a:chExt cx="3603" cy="4318"/>
          </a:xfrm>
        </p:grpSpPr>
        <p:sp>
          <p:nvSpPr>
            <p:cNvPr id="6" name="Freeform 5">
              <a:extLst>
                <a:ext uri="{FF2B5EF4-FFF2-40B4-BE49-F238E27FC236}">
                  <a16:creationId xmlns:a16="http://schemas.microsoft.com/office/drawing/2014/main" id="{01F1550E-A58B-492F-A5A2-4FE1948CC3BB}"/>
                </a:ext>
              </a:extLst>
            </p:cNvPr>
            <p:cNvSpPr>
              <a:spLocks noSelect="1"/>
            </p:cNvSpPr>
            <p:nvPr userDrawn="1"/>
          </p:nvSpPr>
          <p:spPr bwMode="gray">
            <a:xfrm>
              <a:off x="4080" y="1"/>
              <a:ext cx="3602" cy="4318"/>
            </a:xfrm>
            <a:custGeom>
              <a:avLst/>
              <a:gdLst>
                <a:gd name="T0" fmla="*/ 11720 w 18008"/>
                <a:gd name="T1" fmla="*/ 18000 h 21615"/>
                <a:gd name="T2" fmla="*/ 2951 w 18008"/>
                <a:gd name="T3" fmla="*/ 18448 h 21615"/>
                <a:gd name="T4" fmla="*/ 475 w 18008"/>
                <a:gd name="T5" fmla="*/ 13933 h 21615"/>
                <a:gd name="T6" fmla="*/ 646 w 18008"/>
                <a:gd name="T7" fmla="*/ 15854 h 21615"/>
                <a:gd name="T8" fmla="*/ 489 w 18008"/>
                <a:gd name="T9" fmla="*/ 8109 h 21615"/>
                <a:gd name="T10" fmla="*/ 3010 w 18008"/>
                <a:gd name="T11" fmla="*/ 7533 h 21615"/>
                <a:gd name="T12" fmla="*/ 5914 w 18008"/>
                <a:gd name="T13" fmla="*/ 14207 h 21615"/>
                <a:gd name="T14" fmla="*/ 3333 w 18008"/>
                <a:gd name="T15" fmla="*/ 13449 h 21615"/>
                <a:gd name="T16" fmla="*/ 3256 w 18008"/>
                <a:gd name="T17" fmla="*/ 9761 h 21615"/>
                <a:gd name="T18" fmla="*/ 4650 w 18008"/>
                <a:gd name="T19" fmla="*/ 12353 h 21615"/>
                <a:gd name="T20" fmla="*/ 3542 w 18008"/>
                <a:gd name="T21" fmla="*/ 9814 h 21615"/>
                <a:gd name="T22" fmla="*/ 4980 w 18008"/>
                <a:gd name="T23" fmla="*/ 11136 h 21615"/>
                <a:gd name="T24" fmla="*/ 3238 w 18008"/>
                <a:gd name="T25" fmla="*/ 4799 h 21615"/>
                <a:gd name="T26" fmla="*/ 6919 w 18008"/>
                <a:gd name="T27" fmla="*/ 11806 h 21615"/>
                <a:gd name="T28" fmla="*/ 7365 w 18008"/>
                <a:gd name="T29" fmla="*/ 16078 h 21615"/>
                <a:gd name="T30" fmla="*/ 6165 w 18008"/>
                <a:gd name="T31" fmla="*/ 13626 h 21615"/>
                <a:gd name="T32" fmla="*/ 10444 w 18008"/>
                <a:gd name="T33" fmla="*/ 16100 h 21615"/>
                <a:gd name="T34" fmla="*/ 8091 w 18008"/>
                <a:gd name="T35" fmla="*/ 17917 h 21615"/>
                <a:gd name="T36" fmla="*/ 7905 w 18008"/>
                <a:gd name="T37" fmla="*/ 13695 h 21615"/>
                <a:gd name="T38" fmla="*/ 3861 w 18008"/>
                <a:gd name="T39" fmla="*/ 16568 h 21615"/>
                <a:gd name="T40" fmla="*/ 6601 w 18008"/>
                <a:gd name="T41" fmla="*/ 13574 h 21615"/>
                <a:gd name="T42" fmla="*/ 6508 w 18008"/>
                <a:gd name="T43" fmla="*/ 3883 h 21615"/>
                <a:gd name="T44" fmla="*/ 7913 w 18008"/>
                <a:gd name="T45" fmla="*/ 12404 h 21615"/>
                <a:gd name="T46" fmla="*/ 1076 w 18008"/>
                <a:gd name="T47" fmla="*/ 9159 h 21615"/>
                <a:gd name="T48" fmla="*/ 1292 w 18008"/>
                <a:gd name="T49" fmla="*/ 8495 h 21615"/>
                <a:gd name="T50" fmla="*/ 3210 w 18008"/>
                <a:gd name="T51" fmla="*/ 12036 h 21615"/>
                <a:gd name="T52" fmla="*/ 1830 w 18008"/>
                <a:gd name="T53" fmla="*/ 12640 h 21615"/>
                <a:gd name="T54" fmla="*/ 750 w 18008"/>
                <a:gd name="T55" fmla="*/ 14137 h 21615"/>
                <a:gd name="T56" fmla="*/ 13999 w 18008"/>
                <a:gd name="T57" fmla="*/ 871 h 21615"/>
                <a:gd name="T58" fmla="*/ 346 w 18008"/>
                <a:gd name="T59" fmla="*/ 10516 h 21615"/>
                <a:gd name="T60" fmla="*/ 12157 w 18008"/>
                <a:gd name="T61" fmla="*/ 17527 h 21615"/>
                <a:gd name="T62" fmla="*/ 10180 w 18008"/>
                <a:gd name="T63" fmla="*/ 12723 h 21615"/>
                <a:gd name="T64" fmla="*/ 9140 w 18008"/>
                <a:gd name="T65" fmla="*/ 15965 h 21615"/>
                <a:gd name="T66" fmla="*/ 7181 w 18008"/>
                <a:gd name="T67" fmla="*/ 3087 h 21615"/>
                <a:gd name="T68" fmla="*/ 2042 w 18008"/>
                <a:gd name="T69" fmla="*/ 14599 h 21615"/>
                <a:gd name="T70" fmla="*/ 1627 w 18008"/>
                <a:gd name="T71" fmla="*/ 7179 h 21615"/>
                <a:gd name="T72" fmla="*/ 2827 w 18008"/>
                <a:gd name="T73" fmla="*/ 10500 h 21615"/>
                <a:gd name="T74" fmla="*/ 6568 w 18008"/>
                <a:gd name="T75" fmla="*/ 7350 h 21615"/>
                <a:gd name="T76" fmla="*/ 5166 w 18008"/>
                <a:gd name="T77" fmla="*/ 6712 h 21615"/>
                <a:gd name="T78" fmla="*/ 6739 w 18008"/>
                <a:gd name="T79" fmla="*/ 7396 h 21615"/>
                <a:gd name="T80" fmla="*/ 3150 w 18008"/>
                <a:gd name="T81" fmla="*/ 5568 h 21615"/>
                <a:gd name="T82" fmla="*/ 4785 w 18008"/>
                <a:gd name="T83" fmla="*/ 7738 h 21615"/>
                <a:gd name="T84" fmla="*/ 2050 w 18008"/>
                <a:gd name="T85" fmla="*/ 5398 h 21615"/>
                <a:gd name="T86" fmla="*/ 3544 w 18008"/>
                <a:gd name="T87" fmla="*/ 7428 h 21615"/>
                <a:gd name="T88" fmla="*/ 5048 w 18008"/>
                <a:gd name="T89" fmla="*/ 13344 h 21615"/>
                <a:gd name="T90" fmla="*/ 5171 w 18008"/>
                <a:gd name="T91" fmla="*/ 9687 h 21615"/>
                <a:gd name="T92" fmla="*/ 4214 w 18008"/>
                <a:gd name="T93" fmla="*/ 12816 h 21615"/>
                <a:gd name="T94" fmla="*/ 4152 w 18008"/>
                <a:gd name="T95" fmla="*/ 10388 h 21615"/>
                <a:gd name="T96" fmla="*/ 5003 w 18008"/>
                <a:gd name="T97" fmla="*/ 13344 h 21615"/>
                <a:gd name="T98" fmla="*/ 6551 w 18008"/>
                <a:gd name="T99" fmla="*/ 9385 h 21615"/>
                <a:gd name="T100" fmla="*/ 5149 w 18008"/>
                <a:gd name="T101" fmla="*/ 8291 h 21615"/>
                <a:gd name="T102" fmla="*/ 6952 w 18008"/>
                <a:gd name="T103" fmla="*/ 12562 h 21615"/>
                <a:gd name="T104" fmla="*/ 2266 w 18008"/>
                <a:gd name="T105" fmla="*/ 5128 h 21615"/>
                <a:gd name="T106" fmla="*/ 4118 w 18008"/>
                <a:gd name="T107" fmla="*/ 7990 h 21615"/>
                <a:gd name="T108" fmla="*/ 6214 w 18008"/>
                <a:gd name="T109" fmla="*/ 14954 h 21615"/>
                <a:gd name="T110" fmla="*/ 1910 w 18008"/>
                <a:gd name="T111" fmla="*/ 4534 h 21615"/>
                <a:gd name="T112" fmla="*/ 1293 w 18008"/>
                <a:gd name="T113" fmla="*/ 10844 h 21615"/>
                <a:gd name="T114" fmla="*/ 1212 w 18008"/>
                <a:gd name="T115" fmla="*/ 17236 h 21615"/>
                <a:gd name="T116" fmla="*/ 7604 w 18008"/>
                <a:gd name="T117" fmla="*/ 14741 h 21615"/>
                <a:gd name="T118" fmla="*/ 4497 w 18008"/>
                <a:gd name="T119" fmla="*/ 2042 h 21615"/>
                <a:gd name="T120" fmla="*/ 865 w 18008"/>
                <a:gd name="T121" fmla="*/ 10683 h 21615"/>
                <a:gd name="T122" fmla="*/ 930 w 18008"/>
                <a:gd name="T123" fmla="*/ 17276 h 21615"/>
                <a:gd name="T124" fmla="*/ 12015 w 18008"/>
                <a:gd name="T125" fmla="*/ 16587 h 2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08" h="21615">
                  <a:moveTo>
                    <a:pt x="3950" y="18222"/>
                  </a:moveTo>
                  <a:cubicBezTo>
                    <a:pt x="4003" y="18168"/>
                    <a:pt x="4003" y="18168"/>
                    <a:pt x="4003" y="18168"/>
                  </a:cubicBezTo>
                  <a:cubicBezTo>
                    <a:pt x="4055" y="18219"/>
                    <a:pt x="4055" y="18219"/>
                    <a:pt x="4055" y="18219"/>
                  </a:cubicBezTo>
                  <a:cubicBezTo>
                    <a:pt x="4154" y="18118"/>
                    <a:pt x="4154" y="18118"/>
                    <a:pt x="4154" y="18118"/>
                  </a:cubicBezTo>
                  <a:cubicBezTo>
                    <a:pt x="4085" y="18051"/>
                    <a:pt x="4085" y="18051"/>
                    <a:pt x="4085" y="18051"/>
                  </a:cubicBezTo>
                  <a:cubicBezTo>
                    <a:pt x="4080" y="18055"/>
                    <a:pt x="4080" y="18055"/>
                    <a:pt x="4080" y="18055"/>
                  </a:cubicBezTo>
                  <a:cubicBezTo>
                    <a:pt x="4072" y="18064"/>
                    <a:pt x="4072" y="18064"/>
                    <a:pt x="4072" y="18064"/>
                  </a:cubicBezTo>
                  <a:cubicBezTo>
                    <a:pt x="4037" y="18029"/>
                    <a:pt x="4037" y="18029"/>
                    <a:pt x="4037" y="18029"/>
                  </a:cubicBezTo>
                  <a:cubicBezTo>
                    <a:pt x="3900" y="18164"/>
                    <a:pt x="3900" y="18164"/>
                    <a:pt x="3900" y="18164"/>
                  </a:cubicBezTo>
                  <a:cubicBezTo>
                    <a:pt x="3896" y="18169"/>
                    <a:pt x="3896" y="18169"/>
                    <a:pt x="3896" y="18169"/>
                  </a:cubicBezTo>
                  <a:lnTo>
                    <a:pt x="3950" y="18222"/>
                  </a:lnTo>
                  <a:close/>
                  <a:moveTo>
                    <a:pt x="4037" y="18047"/>
                  </a:moveTo>
                  <a:cubicBezTo>
                    <a:pt x="4072" y="18082"/>
                    <a:pt x="4072" y="18082"/>
                    <a:pt x="4072" y="18082"/>
                  </a:cubicBezTo>
                  <a:cubicBezTo>
                    <a:pt x="4077" y="18078"/>
                    <a:pt x="4077" y="18078"/>
                    <a:pt x="4077" y="18078"/>
                  </a:cubicBezTo>
                  <a:cubicBezTo>
                    <a:pt x="4085" y="18069"/>
                    <a:pt x="4085" y="18069"/>
                    <a:pt x="4085" y="18069"/>
                  </a:cubicBezTo>
                  <a:cubicBezTo>
                    <a:pt x="4135" y="18119"/>
                    <a:pt x="4135" y="18119"/>
                    <a:pt x="4135" y="18119"/>
                  </a:cubicBezTo>
                  <a:cubicBezTo>
                    <a:pt x="4055" y="18200"/>
                    <a:pt x="4055" y="18200"/>
                    <a:pt x="4055" y="18200"/>
                  </a:cubicBezTo>
                  <a:cubicBezTo>
                    <a:pt x="4003" y="18149"/>
                    <a:pt x="4003" y="18149"/>
                    <a:pt x="4003" y="18149"/>
                  </a:cubicBezTo>
                  <a:cubicBezTo>
                    <a:pt x="3950" y="18203"/>
                    <a:pt x="3950" y="18203"/>
                    <a:pt x="3950" y="18203"/>
                  </a:cubicBezTo>
                  <a:cubicBezTo>
                    <a:pt x="3914" y="18169"/>
                    <a:pt x="3914" y="18169"/>
                    <a:pt x="3914" y="18169"/>
                  </a:cubicBezTo>
                  <a:lnTo>
                    <a:pt x="4037" y="18047"/>
                  </a:lnTo>
                  <a:close/>
                  <a:moveTo>
                    <a:pt x="4835" y="18023"/>
                  </a:moveTo>
                  <a:cubicBezTo>
                    <a:pt x="4835" y="18000"/>
                    <a:pt x="4835" y="18000"/>
                    <a:pt x="4835" y="18000"/>
                  </a:cubicBezTo>
                  <a:cubicBezTo>
                    <a:pt x="4848" y="18000"/>
                    <a:pt x="4848" y="18000"/>
                    <a:pt x="4848" y="18000"/>
                  </a:cubicBezTo>
                  <a:cubicBezTo>
                    <a:pt x="4848" y="18016"/>
                    <a:pt x="4848" y="18016"/>
                    <a:pt x="4848" y="18016"/>
                  </a:cubicBezTo>
                  <a:cubicBezTo>
                    <a:pt x="4906" y="18016"/>
                    <a:pt x="4906" y="18016"/>
                    <a:pt x="4906" y="18016"/>
                  </a:cubicBezTo>
                  <a:cubicBezTo>
                    <a:pt x="4906" y="18089"/>
                    <a:pt x="4906" y="18089"/>
                    <a:pt x="4906" y="18089"/>
                  </a:cubicBezTo>
                  <a:cubicBezTo>
                    <a:pt x="4990" y="18088"/>
                    <a:pt x="4990" y="18088"/>
                    <a:pt x="4990" y="18088"/>
                  </a:cubicBezTo>
                  <a:cubicBezTo>
                    <a:pt x="4989" y="18000"/>
                    <a:pt x="4989" y="18000"/>
                    <a:pt x="4989" y="18000"/>
                  </a:cubicBezTo>
                  <a:cubicBezTo>
                    <a:pt x="5003" y="18000"/>
                    <a:pt x="5003" y="18000"/>
                    <a:pt x="5003" y="18000"/>
                  </a:cubicBezTo>
                  <a:cubicBezTo>
                    <a:pt x="5003" y="18101"/>
                    <a:pt x="5003" y="18101"/>
                    <a:pt x="5003" y="18101"/>
                  </a:cubicBezTo>
                  <a:cubicBezTo>
                    <a:pt x="4893" y="18102"/>
                    <a:pt x="4893" y="18102"/>
                    <a:pt x="4893" y="18102"/>
                  </a:cubicBezTo>
                  <a:cubicBezTo>
                    <a:pt x="4893" y="18029"/>
                    <a:pt x="4893" y="18029"/>
                    <a:pt x="4893" y="18029"/>
                  </a:cubicBezTo>
                  <a:cubicBezTo>
                    <a:pt x="4836" y="18029"/>
                    <a:pt x="4836" y="18029"/>
                    <a:pt x="4836" y="18029"/>
                  </a:cubicBezTo>
                  <a:lnTo>
                    <a:pt x="4835" y="18023"/>
                  </a:lnTo>
                  <a:close/>
                  <a:moveTo>
                    <a:pt x="4728" y="18465"/>
                  </a:moveTo>
                  <a:cubicBezTo>
                    <a:pt x="4729" y="18635"/>
                    <a:pt x="4729" y="18635"/>
                    <a:pt x="4729" y="18635"/>
                  </a:cubicBezTo>
                  <a:cubicBezTo>
                    <a:pt x="4814" y="18636"/>
                    <a:pt x="4814" y="18636"/>
                    <a:pt x="4814" y="18636"/>
                  </a:cubicBezTo>
                  <a:cubicBezTo>
                    <a:pt x="4815" y="18733"/>
                    <a:pt x="4815" y="18733"/>
                    <a:pt x="4815" y="18733"/>
                  </a:cubicBezTo>
                  <a:cubicBezTo>
                    <a:pt x="4937" y="18733"/>
                    <a:pt x="4937" y="18733"/>
                    <a:pt x="4937" y="18733"/>
                  </a:cubicBezTo>
                  <a:cubicBezTo>
                    <a:pt x="4940" y="18551"/>
                    <a:pt x="4940" y="18551"/>
                    <a:pt x="4940" y="18551"/>
                  </a:cubicBezTo>
                  <a:cubicBezTo>
                    <a:pt x="4856" y="18550"/>
                    <a:pt x="4856" y="18550"/>
                    <a:pt x="4856" y="18550"/>
                  </a:cubicBezTo>
                  <a:cubicBezTo>
                    <a:pt x="4859" y="18466"/>
                    <a:pt x="4859" y="18466"/>
                    <a:pt x="4859" y="18466"/>
                  </a:cubicBezTo>
                  <a:lnTo>
                    <a:pt x="4728" y="18465"/>
                  </a:lnTo>
                  <a:close/>
                  <a:moveTo>
                    <a:pt x="4926" y="18564"/>
                  </a:moveTo>
                  <a:cubicBezTo>
                    <a:pt x="4924" y="18720"/>
                    <a:pt x="4924" y="18720"/>
                    <a:pt x="4924" y="18720"/>
                  </a:cubicBezTo>
                  <a:cubicBezTo>
                    <a:pt x="4828" y="18720"/>
                    <a:pt x="4828" y="18720"/>
                    <a:pt x="4828" y="18720"/>
                  </a:cubicBezTo>
                  <a:cubicBezTo>
                    <a:pt x="4827" y="18630"/>
                    <a:pt x="4827" y="18630"/>
                    <a:pt x="4827" y="18630"/>
                  </a:cubicBezTo>
                  <a:cubicBezTo>
                    <a:pt x="4827" y="18623"/>
                    <a:pt x="4827" y="18623"/>
                    <a:pt x="4827" y="18623"/>
                  </a:cubicBezTo>
                  <a:cubicBezTo>
                    <a:pt x="4742" y="18622"/>
                    <a:pt x="4742" y="18622"/>
                    <a:pt x="4742" y="18622"/>
                  </a:cubicBezTo>
                  <a:cubicBezTo>
                    <a:pt x="4741" y="18478"/>
                    <a:pt x="4741" y="18478"/>
                    <a:pt x="4741" y="18478"/>
                  </a:cubicBezTo>
                  <a:cubicBezTo>
                    <a:pt x="4845" y="18479"/>
                    <a:pt x="4845" y="18479"/>
                    <a:pt x="4845" y="18479"/>
                  </a:cubicBezTo>
                  <a:cubicBezTo>
                    <a:pt x="4842" y="18563"/>
                    <a:pt x="4842" y="18563"/>
                    <a:pt x="4842" y="18563"/>
                  </a:cubicBezTo>
                  <a:lnTo>
                    <a:pt x="4926" y="18564"/>
                  </a:lnTo>
                  <a:close/>
                  <a:moveTo>
                    <a:pt x="5143" y="21404"/>
                  </a:moveTo>
                  <a:cubicBezTo>
                    <a:pt x="5160" y="21294"/>
                    <a:pt x="5160" y="21294"/>
                    <a:pt x="5160" y="21294"/>
                  </a:cubicBezTo>
                  <a:cubicBezTo>
                    <a:pt x="5006" y="21271"/>
                    <a:pt x="5006" y="21271"/>
                    <a:pt x="5006" y="21271"/>
                  </a:cubicBezTo>
                  <a:cubicBezTo>
                    <a:pt x="4990" y="21381"/>
                    <a:pt x="4990" y="21381"/>
                    <a:pt x="4990" y="21381"/>
                  </a:cubicBezTo>
                  <a:cubicBezTo>
                    <a:pt x="5137" y="21403"/>
                    <a:pt x="5137" y="21403"/>
                    <a:pt x="5137" y="21403"/>
                  </a:cubicBezTo>
                  <a:lnTo>
                    <a:pt x="5143" y="21404"/>
                  </a:lnTo>
                  <a:close/>
                  <a:moveTo>
                    <a:pt x="5005" y="21370"/>
                  </a:moveTo>
                  <a:cubicBezTo>
                    <a:pt x="5017" y="21286"/>
                    <a:pt x="5017" y="21286"/>
                    <a:pt x="5017" y="21286"/>
                  </a:cubicBezTo>
                  <a:cubicBezTo>
                    <a:pt x="5145" y="21305"/>
                    <a:pt x="5145" y="21305"/>
                    <a:pt x="5145" y="21305"/>
                  </a:cubicBezTo>
                  <a:cubicBezTo>
                    <a:pt x="5132" y="21389"/>
                    <a:pt x="5132" y="21389"/>
                    <a:pt x="5132" y="21389"/>
                  </a:cubicBezTo>
                  <a:lnTo>
                    <a:pt x="5005" y="21370"/>
                  </a:lnTo>
                  <a:close/>
                  <a:moveTo>
                    <a:pt x="4978" y="21592"/>
                  </a:moveTo>
                  <a:cubicBezTo>
                    <a:pt x="5032" y="21600"/>
                    <a:pt x="5032" y="21600"/>
                    <a:pt x="5032" y="21600"/>
                  </a:cubicBezTo>
                  <a:cubicBezTo>
                    <a:pt x="5125" y="21614"/>
                    <a:pt x="5125" y="21614"/>
                    <a:pt x="5125" y="21614"/>
                  </a:cubicBezTo>
                  <a:cubicBezTo>
                    <a:pt x="5132" y="21615"/>
                    <a:pt x="5132" y="21615"/>
                    <a:pt x="5132" y="21615"/>
                  </a:cubicBezTo>
                  <a:cubicBezTo>
                    <a:pt x="5134" y="21600"/>
                    <a:pt x="5134" y="21600"/>
                    <a:pt x="5134" y="21600"/>
                  </a:cubicBezTo>
                  <a:cubicBezTo>
                    <a:pt x="5148" y="21505"/>
                    <a:pt x="5148" y="21505"/>
                    <a:pt x="5148" y="21505"/>
                  </a:cubicBezTo>
                  <a:cubicBezTo>
                    <a:pt x="4995" y="21482"/>
                    <a:pt x="4995" y="21482"/>
                    <a:pt x="4995" y="21482"/>
                  </a:cubicBezTo>
                  <a:lnTo>
                    <a:pt x="4978" y="21592"/>
                  </a:lnTo>
                  <a:close/>
                  <a:moveTo>
                    <a:pt x="5133" y="21516"/>
                  </a:moveTo>
                  <a:cubicBezTo>
                    <a:pt x="5121" y="21600"/>
                    <a:pt x="5121" y="21600"/>
                    <a:pt x="5121" y="21600"/>
                  </a:cubicBezTo>
                  <a:cubicBezTo>
                    <a:pt x="5121" y="21600"/>
                    <a:pt x="5121" y="21600"/>
                    <a:pt x="5121" y="21600"/>
                  </a:cubicBezTo>
                  <a:cubicBezTo>
                    <a:pt x="5120" y="21600"/>
                    <a:pt x="5120" y="21600"/>
                    <a:pt x="5120" y="21600"/>
                  </a:cubicBezTo>
                  <a:cubicBezTo>
                    <a:pt x="4993" y="21581"/>
                    <a:pt x="4993" y="21581"/>
                    <a:pt x="4993" y="21581"/>
                  </a:cubicBezTo>
                  <a:cubicBezTo>
                    <a:pt x="5006" y="21497"/>
                    <a:pt x="5006" y="21497"/>
                    <a:pt x="5006" y="21497"/>
                  </a:cubicBezTo>
                  <a:lnTo>
                    <a:pt x="5133" y="21516"/>
                  </a:lnTo>
                  <a:close/>
                  <a:moveTo>
                    <a:pt x="4535" y="21325"/>
                  </a:moveTo>
                  <a:cubicBezTo>
                    <a:pt x="4552" y="21215"/>
                    <a:pt x="4552" y="21215"/>
                    <a:pt x="4552" y="21215"/>
                  </a:cubicBezTo>
                  <a:cubicBezTo>
                    <a:pt x="4398" y="21192"/>
                    <a:pt x="4398" y="21192"/>
                    <a:pt x="4398" y="21192"/>
                  </a:cubicBezTo>
                  <a:cubicBezTo>
                    <a:pt x="4382" y="21302"/>
                    <a:pt x="4382" y="21302"/>
                    <a:pt x="4382" y="21302"/>
                  </a:cubicBezTo>
                  <a:cubicBezTo>
                    <a:pt x="4529" y="21324"/>
                    <a:pt x="4529" y="21324"/>
                    <a:pt x="4529" y="21324"/>
                  </a:cubicBezTo>
                  <a:lnTo>
                    <a:pt x="4535" y="21325"/>
                  </a:lnTo>
                  <a:close/>
                  <a:moveTo>
                    <a:pt x="4397" y="21291"/>
                  </a:moveTo>
                  <a:cubicBezTo>
                    <a:pt x="4409" y="21207"/>
                    <a:pt x="4409" y="21207"/>
                    <a:pt x="4409" y="21207"/>
                  </a:cubicBezTo>
                  <a:cubicBezTo>
                    <a:pt x="4537" y="21226"/>
                    <a:pt x="4537" y="21226"/>
                    <a:pt x="4537" y="21226"/>
                  </a:cubicBezTo>
                  <a:cubicBezTo>
                    <a:pt x="4524" y="21310"/>
                    <a:pt x="4524" y="21310"/>
                    <a:pt x="4524" y="21310"/>
                  </a:cubicBezTo>
                  <a:lnTo>
                    <a:pt x="4397" y="21291"/>
                  </a:lnTo>
                  <a:close/>
                  <a:moveTo>
                    <a:pt x="4512" y="21529"/>
                  </a:moveTo>
                  <a:cubicBezTo>
                    <a:pt x="4528" y="21419"/>
                    <a:pt x="4528" y="21419"/>
                    <a:pt x="4528" y="21419"/>
                  </a:cubicBezTo>
                  <a:cubicBezTo>
                    <a:pt x="4375" y="21396"/>
                    <a:pt x="4375" y="21396"/>
                    <a:pt x="4375" y="21396"/>
                  </a:cubicBezTo>
                  <a:cubicBezTo>
                    <a:pt x="4358" y="21506"/>
                    <a:pt x="4358" y="21506"/>
                    <a:pt x="4358" y="21506"/>
                  </a:cubicBezTo>
                  <a:cubicBezTo>
                    <a:pt x="4505" y="21528"/>
                    <a:pt x="4505" y="21528"/>
                    <a:pt x="4505" y="21528"/>
                  </a:cubicBezTo>
                  <a:lnTo>
                    <a:pt x="4512" y="21529"/>
                  </a:lnTo>
                  <a:close/>
                  <a:moveTo>
                    <a:pt x="4373" y="21495"/>
                  </a:moveTo>
                  <a:cubicBezTo>
                    <a:pt x="4386" y="21411"/>
                    <a:pt x="4386" y="21411"/>
                    <a:pt x="4386" y="21411"/>
                  </a:cubicBezTo>
                  <a:cubicBezTo>
                    <a:pt x="4513" y="21430"/>
                    <a:pt x="4513" y="21430"/>
                    <a:pt x="4513" y="21430"/>
                  </a:cubicBezTo>
                  <a:cubicBezTo>
                    <a:pt x="4501" y="21514"/>
                    <a:pt x="4501" y="21514"/>
                    <a:pt x="4501" y="21514"/>
                  </a:cubicBezTo>
                  <a:lnTo>
                    <a:pt x="4373" y="21495"/>
                  </a:lnTo>
                  <a:close/>
                  <a:moveTo>
                    <a:pt x="3360" y="21514"/>
                  </a:moveTo>
                  <a:cubicBezTo>
                    <a:pt x="3511" y="21517"/>
                    <a:pt x="3511" y="21517"/>
                    <a:pt x="3511" y="21517"/>
                  </a:cubicBezTo>
                  <a:cubicBezTo>
                    <a:pt x="3513" y="21411"/>
                    <a:pt x="3513" y="21411"/>
                    <a:pt x="3513" y="21411"/>
                  </a:cubicBezTo>
                  <a:cubicBezTo>
                    <a:pt x="3369" y="21409"/>
                    <a:pt x="3369" y="21409"/>
                    <a:pt x="3369" y="21409"/>
                  </a:cubicBezTo>
                  <a:cubicBezTo>
                    <a:pt x="3362" y="21408"/>
                    <a:pt x="3362" y="21408"/>
                    <a:pt x="3362" y="21408"/>
                  </a:cubicBezTo>
                  <a:lnTo>
                    <a:pt x="3360" y="21514"/>
                  </a:lnTo>
                  <a:close/>
                  <a:moveTo>
                    <a:pt x="3375" y="21421"/>
                  </a:moveTo>
                  <a:cubicBezTo>
                    <a:pt x="3501" y="21424"/>
                    <a:pt x="3501" y="21424"/>
                    <a:pt x="3501" y="21424"/>
                  </a:cubicBezTo>
                  <a:cubicBezTo>
                    <a:pt x="3499" y="21504"/>
                    <a:pt x="3499" y="21504"/>
                    <a:pt x="3499" y="21504"/>
                  </a:cubicBezTo>
                  <a:cubicBezTo>
                    <a:pt x="3373" y="21502"/>
                    <a:pt x="3373" y="21502"/>
                    <a:pt x="3373" y="21502"/>
                  </a:cubicBezTo>
                  <a:lnTo>
                    <a:pt x="3375" y="21421"/>
                  </a:lnTo>
                  <a:close/>
                  <a:moveTo>
                    <a:pt x="3309" y="21246"/>
                  </a:moveTo>
                  <a:cubicBezTo>
                    <a:pt x="3307" y="21351"/>
                    <a:pt x="3307" y="21351"/>
                    <a:pt x="3307" y="21351"/>
                  </a:cubicBezTo>
                  <a:cubicBezTo>
                    <a:pt x="3458" y="21354"/>
                    <a:pt x="3458" y="21354"/>
                    <a:pt x="3458" y="21354"/>
                  </a:cubicBezTo>
                  <a:cubicBezTo>
                    <a:pt x="3461" y="21249"/>
                    <a:pt x="3461" y="21249"/>
                    <a:pt x="3461" y="21249"/>
                  </a:cubicBezTo>
                  <a:cubicBezTo>
                    <a:pt x="3316" y="21246"/>
                    <a:pt x="3316" y="21246"/>
                    <a:pt x="3316" y="21246"/>
                  </a:cubicBezTo>
                  <a:lnTo>
                    <a:pt x="3309" y="21246"/>
                  </a:lnTo>
                  <a:close/>
                  <a:moveTo>
                    <a:pt x="3322" y="21258"/>
                  </a:moveTo>
                  <a:cubicBezTo>
                    <a:pt x="3448" y="21261"/>
                    <a:pt x="3448" y="21261"/>
                    <a:pt x="3448" y="21261"/>
                  </a:cubicBezTo>
                  <a:cubicBezTo>
                    <a:pt x="3446" y="21341"/>
                    <a:pt x="3446" y="21341"/>
                    <a:pt x="3446" y="21341"/>
                  </a:cubicBezTo>
                  <a:cubicBezTo>
                    <a:pt x="3320" y="21339"/>
                    <a:pt x="3320" y="21339"/>
                    <a:pt x="3320" y="21339"/>
                  </a:cubicBezTo>
                  <a:lnTo>
                    <a:pt x="3322" y="21258"/>
                  </a:lnTo>
                  <a:close/>
                  <a:moveTo>
                    <a:pt x="3285" y="21094"/>
                  </a:moveTo>
                  <a:cubicBezTo>
                    <a:pt x="3282" y="21200"/>
                    <a:pt x="3282" y="21200"/>
                    <a:pt x="3282" y="21200"/>
                  </a:cubicBezTo>
                  <a:cubicBezTo>
                    <a:pt x="3434" y="21203"/>
                    <a:pt x="3434" y="21203"/>
                    <a:pt x="3434" y="21203"/>
                  </a:cubicBezTo>
                  <a:cubicBezTo>
                    <a:pt x="3436" y="21097"/>
                    <a:pt x="3436" y="21097"/>
                    <a:pt x="3436" y="21097"/>
                  </a:cubicBezTo>
                  <a:cubicBezTo>
                    <a:pt x="3291" y="21094"/>
                    <a:pt x="3291" y="21094"/>
                    <a:pt x="3291" y="21094"/>
                  </a:cubicBezTo>
                  <a:lnTo>
                    <a:pt x="3285" y="21094"/>
                  </a:lnTo>
                  <a:close/>
                  <a:moveTo>
                    <a:pt x="3297" y="21107"/>
                  </a:moveTo>
                  <a:cubicBezTo>
                    <a:pt x="3423" y="21110"/>
                    <a:pt x="3423" y="21110"/>
                    <a:pt x="3423" y="21110"/>
                  </a:cubicBezTo>
                  <a:cubicBezTo>
                    <a:pt x="3421" y="21190"/>
                    <a:pt x="3421" y="21190"/>
                    <a:pt x="3421" y="21190"/>
                  </a:cubicBezTo>
                  <a:cubicBezTo>
                    <a:pt x="3295" y="21187"/>
                    <a:pt x="3295" y="21187"/>
                    <a:pt x="3295" y="21187"/>
                  </a:cubicBezTo>
                  <a:lnTo>
                    <a:pt x="3297" y="21107"/>
                  </a:lnTo>
                  <a:close/>
                  <a:moveTo>
                    <a:pt x="3900" y="20899"/>
                  </a:moveTo>
                  <a:cubicBezTo>
                    <a:pt x="3756" y="20896"/>
                    <a:pt x="3756" y="20896"/>
                    <a:pt x="3756" y="20896"/>
                  </a:cubicBezTo>
                  <a:cubicBezTo>
                    <a:pt x="3749" y="20896"/>
                    <a:pt x="3749" y="20896"/>
                    <a:pt x="3749" y="20896"/>
                  </a:cubicBezTo>
                  <a:cubicBezTo>
                    <a:pt x="3747" y="21001"/>
                    <a:pt x="3747" y="21001"/>
                    <a:pt x="3747" y="21001"/>
                  </a:cubicBezTo>
                  <a:cubicBezTo>
                    <a:pt x="3898" y="21004"/>
                    <a:pt x="3898" y="21004"/>
                    <a:pt x="3898" y="21004"/>
                  </a:cubicBezTo>
                  <a:lnTo>
                    <a:pt x="3900" y="20899"/>
                  </a:lnTo>
                  <a:close/>
                  <a:moveTo>
                    <a:pt x="3886" y="20992"/>
                  </a:moveTo>
                  <a:cubicBezTo>
                    <a:pt x="3760" y="20989"/>
                    <a:pt x="3760" y="20989"/>
                    <a:pt x="3760" y="20989"/>
                  </a:cubicBezTo>
                  <a:cubicBezTo>
                    <a:pt x="3762" y="20909"/>
                    <a:pt x="3762" y="20909"/>
                    <a:pt x="3762" y="20909"/>
                  </a:cubicBezTo>
                  <a:cubicBezTo>
                    <a:pt x="3888" y="20911"/>
                    <a:pt x="3888" y="20911"/>
                    <a:pt x="3888" y="20911"/>
                  </a:cubicBezTo>
                  <a:lnTo>
                    <a:pt x="3886" y="20992"/>
                  </a:lnTo>
                  <a:close/>
                  <a:moveTo>
                    <a:pt x="4042" y="20926"/>
                  </a:moveTo>
                  <a:cubicBezTo>
                    <a:pt x="4040" y="21032"/>
                    <a:pt x="4040" y="21032"/>
                    <a:pt x="4040" y="21032"/>
                  </a:cubicBezTo>
                  <a:cubicBezTo>
                    <a:pt x="4191" y="21035"/>
                    <a:pt x="4191" y="21035"/>
                    <a:pt x="4191" y="21035"/>
                  </a:cubicBezTo>
                  <a:cubicBezTo>
                    <a:pt x="4193" y="20929"/>
                    <a:pt x="4193" y="20929"/>
                    <a:pt x="4193" y="20929"/>
                  </a:cubicBezTo>
                  <a:cubicBezTo>
                    <a:pt x="4048" y="20926"/>
                    <a:pt x="4048" y="20926"/>
                    <a:pt x="4048" y="20926"/>
                  </a:cubicBezTo>
                  <a:lnTo>
                    <a:pt x="4042" y="20926"/>
                  </a:lnTo>
                  <a:close/>
                  <a:moveTo>
                    <a:pt x="4054" y="20939"/>
                  </a:moveTo>
                  <a:cubicBezTo>
                    <a:pt x="4180" y="20942"/>
                    <a:pt x="4180" y="20942"/>
                    <a:pt x="4180" y="20942"/>
                  </a:cubicBezTo>
                  <a:cubicBezTo>
                    <a:pt x="4178" y="21022"/>
                    <a:pt x="4178" y="21022"/>
                    <a:pt x="4178" y="21022"/>
                  </a:cubicBezTo>
                  <a:cubicBezTo>
                    <a:pt x="4052" y="21019"/>
                    <a:pt x="4052" y="21019"/>
                    <a:pt x="4052" y="21019"/>
                  </a:cubicBezTo>
                  <a:lnTo>
                    <a:pt x="4054" y="20939"/>
                  </a:lnTo>
                  <a:close/>
                  <a:moveTo>
                    <a:pt x="5372" y="20474"/>
                  </a:moveTo>
                  <a:cubicBezTo>
                    <a:pt x="5371" y="20481"/>
                    <a:pt x="5371" y="20481"/>
                    <a:pt x="5371" y="20481"/>
                  </a:cubicBezTo>
                  <a:cubicBezTo>
                    <a:pt x="5567" y="20513"/>
                    <a:pt x="5567" y="20513"/>
                    <a:pt x="5567" y="20513"/>
                  </a:cubicBezTo>
                  <a:cubicBezTo>
                    <a:pt x="5583" y="20417"/>
                    <a:pt x="5583" y="20417"/>
                    <a:pt x="5583" y="20417"/>
                  </a:cubicBezTo>
                  <a:cubicBezTo>
                    <a:pt x="5387" y="20385"/>
                    <a:pt x="5387" y="20385"/>
                    <a:pt x="5387" y="20385"/>
                  </a:cubicBezTo>
                  <a:lnTo>
                    <a:pt x="5372" y="20474"/>
                  </a:lnTo>
                  <a:close/>
                  <a:moveTo>
                    <a:pt x="5568" y="20428"/>
                  </a:moveTo>
                  <a:cubicBezTo>
                    <a:pt x="5557" y="20498"/>
                    <a:pt x="5557" y="20498"/>
                    <a:pt x="5557" y="20498"/>
                  </a:cubicBezTo>
                  <a:cubicBezTo>
                    <a:pt x="5386" y="20470"/>
                    <a:pt x="5386" y="20470"/>
                    <a:pt x="5386" y="20470"/>
                  </a:cubicBezTo>
                  <a:cubicBezTo>
                    <a:pt x="5398" y="20400"/>
                    <a:pt x="5398" y="20400"/>
                    <a:pt x="5398" y="20400"/>
                  </a:cubicBezTo>
                  <a:lnTo>
                    <a:pt x="5568" y="20428"/>
                  </a:lnTo>
                  <a:close/>
                  <a:moveTo>
                    <a:pt x="5464" y="20333"/>
                  </a:moveTo>
                  <a:cubicBezTo>
                    <a:pt x="5491" y="20144"/>
                    <a:pt x="5491" y="20144"/>
                    <a:pt x="5491" y="20144"/>
                  </a:cubicBezTo>
                  <a:cubicBezTo>
                    <a:pt x="5492" y="20137"/>
                    <a:pt x="5492" y="20137"/>
                    <a:pt x="5492" y="20137"/>
                  </a:cubicBezTo>
                  <a:cubicBezTo>
                    <a:pt x="5170" y="20091"/>
                    <a:pt x="5170" y="20091"/>
                    <a:pt x="5170" y="20091"/>
                  </a:cubicBezTo>
                  <a:cubicBezTo>
                    <a:pt x="5162" y="20153"/>
                    <a:pt x="5162" y="20153"/>
                    <a:pt x="5162" y="20153"/>
                  </a:cubicBezTo>
                  <a:cubicBezTo>
                    <a:pt x="5127" y="20150"/>
                    <a:pt x="5127" y="20150"/>
                    <a:pt x="5127" y="20150"/>
                  </a:cubicBezTo>
                  <a:cubicBezTo>
                    <a:pt x="5114" y="20235"/>
                    <a:pt x="5114" y="20235"/>
                    <a:pt x="5114" y="20235"/>
                  </a:cubicBezTo>
                  <a:cubicBezTo>
                    <a:pt x="5147" y="20241"/>
                    <a:pt x="5147" y="20241"/>
                    <a:pt x="5147" y="20241"/>
                  </a:cubicBezTo>
                  <a:cubicBezTo>
                    <a:pt x="5142" y="20288"/>
                    <a:pt x="5142" y="20288"/>
                    <a:pt x="5142" y="20288"/>
                  </a:cubicBezTo>
                  <a:lnTo>
                    <a:pt x="5464" y="20333"/>
                  </a:lnTo>
                  <a:close/>
                  <a:moveTo>
                    <a:pt x="5129" y="20224"/>
                  </a:moveTo>
                  <a:cubicBezTo>
                    <a:pt x="5138" y="20164"/>
                    <a:pt x="5138" y="20164"/>
                    <a:pt x="5138" y="20164"/>
                  </a:cubicBezTo>
                  <a:cubicBezTo>
                    <a:pt x="5173" y="20167"/>
                    <a:pt x="5173" y="20167"/>
                    <a:pt x="5173" y="20167"/>
                  </a:cubicBezTo>
                  <a:cubicBezTo>
                    <a:pt x="5182" y="20105"/>
                    <a:pt x="5182" y="20105"/>
                    <a:pt x="5182" y="20105"/>
                  </a:cubicBezTo>
                  <a:cubicBezTo>
                    <a:pt x="5477" y="20148"/>
                    <a:pt x="5477" y="20148"/>
                    <a:pt x="5477" y="20148"/>
                  </a:cubicBezTo>
                  <a:cubicBezTo>
                    <a:pt x="5453" y="20318"/>
                    <a:pt x="5453" y="20318"/>
                    <a:pt x="5453" y="20318"/>
                  </a:cubicBezTo>
                  <a:cubicBezTo>
                    <a:pt x="5156" y="20277"/>
                    <a:pt x="5156" y="20277"/>
                    <a:pt x="5156" y="20277"/>
                  </a:cubicBezTo>
                  <a:cubicBezTo>
                    <a:pt x="5161" y="20230"/>
                    <a:pt x="5161" y="20230"/>
                    <a:pt x="5161" y="20230"/>
                  </a:cubicBezTo>
                  <a:lnTo>
                    <a:pt x="5129" y="20224"/>
                  </a:lnTo>
                  <a:close/>
                  <a:moveTo>
                    <a:pt x="219" y="19986"/>
                  </a:moveTo>
                  <a:cubicBezTo>
                    <a:pt x="200" y="19955"/>
                    <a:pt x="200" y="19955"/>
                    <a:pt x="200" y="19955"/>
                  </a:cubicBezTo>
                  <a:cubicBezTo>
                    <a:pt x="125" y="19990"/>
                    <a:pt x="125" y="19990"/>
                    <a:pt x="125" y="19990"/>
                  </a:cubicBezTo>
                  <a:cubicBezTo>
                    <a:pt x="142" y="20026"/>
                    <a:pt x="142" y="20026"/>
                    <a:pt x="142" y="20026"/>
                  </a:cubicBezTo>
                  <a:cubicBezTo>
                    <a:pt x="88" y="20049"/>
                    <a:pt x="88" y="20049"/>
                    <a:pt x="88" y="20049"/>
                  </a:cubicBezTo>
                  <a:cubicBezTo>
                    <a:pt x="109" y="20093"/>
                    <a:pt x="109" y="20093"/>
                    <a:pt x="109" y="20093"/>
                  </a:cubicBezTo>
                  <a:cubicBezTo>
                    <a:pt x="92" y="20099"/>
                    <a:pt x="92" y="20099"/>
                    <a:pt x="92" y="20099"/>
                  </a:cubicBezTo>
                  <a:cubicBezTo>
                    <a:pt x="135" y="20201"/>
                    <a:pt x="135" y="20201"/>
                    <a:pt x="135" y="20201"/>
                  </a:cubicBezTo>
                  <a:cubicBezTo>
                    <a:pt x="162" y="20191"/>
                    <a:pt x="162" y="20191"/>
                    <a:pt x="162" y="20191"/>
                  </a:cubicBezTo>
                  <a:cubicBezTo>
                    <a:pt x="240" y="20366"/>
                    <a:pt x="240" y="20366"/>
                    <a:pt x="240" y="20366"/>
                  </a:cubicBezTo>
                  <a:cubicBezTo>
                    <a:pt x="408" y="20288"/>
                    <a:pt x="408" y="20288"/>
                    <a:pt x="408" y="20288"/>
                  </a:cubicBezTo>
                  <a:cubicBezTo>
                    <a:pt x="414" y="20286"/>
                    <a:pt x="414" y="20286"/>
                    <a:pt x="414" y="20286"/>
                  </a:cubicBezTo>
                  <a:cubicBezTo>
                    <a:pt x="271" y="19964"/>
                    <a:pt x="271" y="19964"/>
                    <a:pt x="271" y="19964"/>
                  </a:cubicBezTo>
                  <a:lnTo>
                    <a:pt x="219" y="19986"/>
                  </a:lnTo>
                  <a:close/>
                  <a:moveTo>
                    <a:pt x="247" y="20348"/>
                  </a:moveTo>
                  <a:cubicBezTo>
                    <a:pt x="169" y="20174"/>
                    <a:pt x="169" y="20174"/>
                    <a:pt x="169" y="20174"/>
                  </a:cubicBezTo>
                  <a:cubicBezTo>
                    <a:pt x="142" y="20184"/>
                    <a:pt x="142" y="20184"/>
                    <a:pt x="142" y="20184"/>
                  </a:cubicBezTo>
                  <a:cubicBezTo>
                    <a:pt x="109" y="20107"/>
                    <a:pt x="109" y="20107"/>
                    <a:pt x="109" y="20107"/>
                  </a:cubicBezTo>
                  <a:cubicBezTo>
                    <a:pt x="126" y="20100"/>
                    <a:pt x="126" y="20100"/>
                    <a:pt x="126" y="20100"/>
                  </a:cubicBezTo>
                  <a:cubicBezTo>
                    <a:pt x="106" y="20056"/>
                    <a:pt x="106" y="20056"/>
                    <a:pt x="106" y="20056"/>
                  </a:cubicBezTo>
                  <a:cubicBezTo>
                    <a:pt x="159" y="20033"/>
                    <a:pt x="159" y="20033"/>
                    <a:pt x="159" y="20033"/>
                  </a:cubicBezTo>
                  <a:cubicBezTo>
                    <a:pt x="143" y="19996"/>
                    <a:pt x="143" y="19996"/>
                    <a:pt x="143" y="19996"/>
                  </a:cubicBezTo>
                  <a:cubicBezTo>
                    <a:pt x="195" y="19972"/>
                    <a:pt x="195" y="19972"/>
                    <a:pt x="195" y="19972"/>
                  </a:cubicBezTo>
                  <a:cubicBezTo>
                    <a:pt x="213" y="20002"/>
                    <a:pt x="213" y="20002"/>
                    <a:pt x="213" y="20002"/>
                  </a:cubicBezTo>
                  <a:cubicBezTo>
                    <a:pt x="264" y="19981"/>
                    <a:pt x="264" y="19981"/>
                    <a:pt x="264" y="19981"/>
                  </a:cubicBezTo>
                  <a:cubicBezTo>
                    <a:pt x="397" y="20279"/>
                    <a:pt x="397" y="20279"/>
                    <a:pt x="397" y="20279"/>
                  </a:cubicBezTo>
                  <a:lnTo>
                    <a:pt x="247" y="20348"/>
                  </a:lnTo>
                  <a:close/>
                  <a:moveTo>
                    <a:pt x="5041" y="20921"/>
                  </a:moveTo>
                  <a:cubicBezTo>
                    <a:pt x="5081" y="20925"/>
                    <a:pt x="5081" y="20925"/>
                    <a:pt x="5081" y="20925"/>
                  </a:cubicBezTo>
                  <a:cubicBezTo>
                    <a:pt x="5072" y="20982"/>
                    <a:pt x="5072" y="20982"/>
                    <a:pt x="5072" y="20982"/>
                  </a:cubicBezTo>
                  <a:cubicBezTo>
                    <a:pt x="5115" y="20986"/>
                    <a:pt x="5115" y="20986"/>
                    <a:pt x="5115" y="20986"/>
                  </a:cubicBezTo>
                  <a:cubicBezTo>
                    <a:pt x="5113" y="21006"/>
                    <a:pt x="5113" y="21006"/>
                    <a:pt x="5113" y="21006"/>
                  </a:cubicBezTo>
                  <a:cubicBezTo>
                    <a:pt x="5219" y="21020"/>
                    <a:pt x="5219" y="21020"/>
                    <a:pt x="5219" y="21020"/>
                  </a:cubicBezTo>
                  <a:cubicBezTo>
                    <a:pt x="5220" y="21015"/>
                    <a:pt x="5220" y="21015"/>
                    <a:pt x="5220" y="21015"/>
                  </a:cubicBezTo>
                  <a:cubicBezTo>
                    <a:pt x="5224" y="21002"/>
                    <a:pt x="5224" y="21002"/>
                    <a:pt x="5224" y="21002"/>
                  </a:cubicBezTo>
                  <a:cubicBezTo>
                    <a:pt x="5419" y="21027"/>
                    <a:pt x="5419" y="21027"/>
                    <a:pt x="5419" y="21027"/>
                  </a:cubicBezTo>
                  <a:cubicBezTo>
                    <a:pt x="5448" y="20834"/>
                    <a:pt x="5448" y="20834"/>
                    <a:pt x="5448" y="20834"/>
                  </a:cubicBezTo>
                  <a:cubicBezTo>
                    <a:pt x="5449" y="20827"/>
                    <a:pt x="5449" y="20827"/>
                    <a:pt x="5449" y="20827"/>
                  </a:cubicBezTo>
                  <a:cubicBezTo>
                    <a:pt x="5095" y="20782"/>
                    <a:pt x="5095" y="20782"/>
                    <a:pt x="5095" y="20782"/>
                  </a:cubicBezTo>
                  <a:cubicBezTo>
                    <a:pt x="5086" y="20837"/>
                    <a:pt x="5086" y="20837"/>
                    <a:pt x="5086" y="20837"/>
                  </a:cubicBezTo>
                  <a:cubicBezTo>
                    <a:pt x="5053" y="20833"/>
                    <a:pt x="5053" y="20833"/>
                    <a:pt x="5053" y="20833"/>
                  </a:cubicBezTo>
                  <a:lnTo>
                    <a:pt x="5041" y="20921"/>
                  </a:lnTo>
                  <a:close/>
                  <a:moveTo>
                    <a:pt x="5064" y="20848"/>
                  </a:moveTo>
                  <a:cubicBezTo>
                    <a:pt x="5097" y="20851"/>
                    <a:pt x="5097" y="20851"/>
                    <a:pt x="5097" y="20851"/>
                  </a:cubicBezTo>
                  <a:cubicBezTo>
                    <a:pt x="5106" y="20796"/>
                    <a:pt x="5106" y="20796"/>
                    <a:pt x="5106" y="20796"/>
                  </a:cubicBezTo>
                  <a:cubicBezTo>
                    <a:pt x="5434" y="20838"/>
                    <a:pt x="5434" y="20838"/>
                    <a:pt x="5434" y="20838"/>
                  </a:cubicBezTo>
                  <a:cubicBezTo>
                    <a:pt x="5408" y="21013"/>
                    <a:pt x="5408" y="21013"/>
                    <a:pt x="5408" y="21013"/>
                  </a:cubicBezTo>
                  <a:cubicBezTo>
                    <a:pt x="5215" y="20988"/>
                    <a:pt x="5215" y="20988"/>
                    <a:pt x="5215" y="20988"/>
                  </a:cubicBezTo>
                  <a:cubicBezTo>
                    <a:pt x="5213" y="20993"/>
                    <a:pt x="5213" y="20993"/>
                    <a:pt x="5213" y="20993"/>
                  </a:cubicBezTo>
                  <a:cubicBezTo>
                    <a:pt x="5209" y="21006"/>
                    <a:pt x="5209" y="21006"/>
                    <a:pt x="5209" y="21006"/>
                  </a:cubicBezTo>
                  <a:cubicBezTo>
                    <a:pt x="5127" y="20995"/>
                    <a:pt x="5127" y="20995"/>
                    <a:pt x="5127" y="20995"/>
                  </a:cubicBezTo>
                  <a:cubicBezTo>
                    <a:pt x="5130" y="20974"/>
                    <a:pt x="5130" y="20974"/>
                    <a:pt x="5130" y="20974"/>
                  </a:cubicBezTo>
                  <a:cubicBezTo>
                    <a:pt x="5087" y="20970"/>
                    <a:pt x="5087" y="20970"/>
                    <a:pt x="5087" y="20970"/>
                  </a:cubicBezTo>
                  <a:cubicBezTo>
                    <a:pt x="5096" y="20913"/>
                    <a:pt x="5096" y="20913"/>
                    <a:pt x="5096" y="20913"/>
                  </a:cubicBezTo>
                  <a:cubicBezTo>
                    <a:pt x="5056" y="20909"/>
                    <a:pt x="5056" y="20909"/>
                    <a:pt x="5056" y="20909"/>
                  </a:cubicBezTo>
                  <a:lnTo>
                    <a:pt x="5064" y="20848"/>
                  </a:lnTo>
                  <a:close/>
                  <a:moveTo>
                    <a:pt x="4499" y="18020"/>
                  </a:moveTo>
                  <a:cubicBezTo>
                    <a:pt x="4351" y="18009"/>
                    <a:pt x="4351" y="18009"/>
                    <a:pt x="4351" y="18009"/>
                  </a:cubicBezTo>
                  <a:cubicBezTo>
                    <a:pt x="4352" y="18002"/>
                    <a:pt x="4352" y="18002"/>
                    <a:pt x="4352" y="18002"/>
                  </a:cubicBezTo>
                  <a:cubicBezTo>
                    <a:pt x="4352" y="18000"/>
                    <a:pt x="4352" y="18000"/>
                    <a:pt x="4352" y="18000"/>
                  </a:cubicBezTo>
                  <a:cubicBezTo>
                    <a:pt x="4409" y="18000"/>
                    <a:pt x="4409" y="18000"/>
                    <a:pt x="4409" y="18000"/>
                  </a:cubicBezTo>
                  <a:cubicBezTo>
                    <a:pt x="4487" y="18006"/>
                    <a:pt x="4487" y="18006"/>
                    <a:pt x="4487" y="18006"/>
                  </a:cubicBezTo>
                  <a:cubicBezTo>
                    <a:pt x="4487" y="18000"/>
                    <a:pt x="4487" y="18000"/>
                    <a:pt x="4487" y="18000"/>
                  </a:cubicBezTo>
                  <a:cubicBezTo>
                    <a:pt x="4500" y="18000"/>
                    <a:pt x="4500" y="18000"/>
                    <a:pt x="4500" y="18000"/>
                  </a:cubicBezTo>
                  <a:lnTo>
                    <a:pt x="4499" y="18020"/>
                  </a:lnTo>
                  <a:close/>
                  <a:moveTo>
                    <a:pt x="489" y="18380"/>
                  </a:moveTo>
                  <a:cubicBezTo>
                    <a:pt x="388" y="18676"/>
                    <a:pt x="388" y="18676"/>
                    <a:pt x="388" y="18676"/>
                  </a:cubicBezTo>
                  <a:cubicBezTo>
                    <a:pt x="1264" y="18967"/>
                    <a:pt x="1264" y="18967"/>
                    <a:pt x="1264" y="18967"/>
                  </a:cubicBezTo>
                  <a:cubicBezTo>
                    <a:pt x="1346" y="18718"/>
                    <a:pt x="1346" y="18718"/>
                    <a:pt x="1346" y="18718"/>
                  </a:cubicBezTo>
                  <a:cubicBezTo>
                    <a:pt x="1562" y="18787"/>
                    <a:pt x="1562" y="18787"/>
                    <a:pt x="1562" y="18787"/>
                  </a:cubicBezTo>
                  <a:cubicBezTo>
                    <a:pt x="1598" y="18678"/>
                    <a:pt x="1598" y="18678"/>
                    <a:pt x="1598" y="18678"/>
                  </a:cubicBezTo>
                  <a:cubicBezTo>
                    <a:pt x="1778" y="18739"/>
                    <a:pt x="1778" y="18739"/>
                    <a:pt x="1778" y="18739"/>
                  </a:cubicBezTo>
                  <a:cubicBezTo>
                    <a:pt x="1870" y="18453"/>
                    <a:pt x="1870" y="18453"/>
                    <a:pt x="1870" y="18453"/>
                  </a:cubicBezTo>
                  <a:cubicBezTo>
                    <a:pt x="1872" y="18446"/>
                    <a:pt x="1872" y="18446"/>
                    <a:pt x="1872" y="18446"/>
                  </a:cubicBezTo>
                  <a:cubicBezTo>
                    <a:pt x="1000" y="18154"/>
                    <a:pt x="1000" y="18154"/>
                    <a:pt x="1000" y="18154"/>
                  </a:cubicBezTo>
                  <a:cubicBezTo>
                    <a:pt x="907" y="18449"/>
                    <a:pt x="907" y="18449"/>
                    <a:pt x="907" y="18449"/>
                  </a:cubicBezTo>
                  <a:cubicBezTo>
                    <a:pt x="1133" y="18525"/>
                    <a:pt x="1133" y="18525"/>
                    <a:pt x="1133" y="18525"/>
                  </a:cubicBezTo>
                  <a:cubicBezTo>
                    <a:pt x="1110" y="18589"/>
                    <a:pt x="1110" y="18589"/>
                    <a:pt x="1110" y="18589"/>
                  </a:cubicBezTo>
                  <a:lnTo>
                    <a:pt x="489" y="18380"/>
                  </a:lnTo>
                  <a:close/>
                  <a:moveTo>
                    <a:pt x="1152" y="18516"/>
                  </a:moveTo>
                  <a:cubicBezTo>
                    <a:pt x="926" y="18440"/>
                    <a:pt x="926" y="18440"/>
                    <a:pt x="926" y="18440"/>
                  </a:cubicBezTo>
                  <a:cubicBezTo>
                    <a:pt x="1009" y="18173"/>
                    <a:pt x="1009" y="18173"/>
                    <a:pt x="1009" y="18173"/>
                  </a:cubicBezTo>
                  <a:cubicBezTo>
                    <a:pt x="1854" y="18455"/>
                    <a:pt x="1854" y="18455"/>
                    <a:pt x="1854" y="18455"/>
                  </a:cubicBezTo>
                  <a:cubicBezTo>
                    <a:pt x="1768" y="18720"/>
                    <a:pt x="1768" y="18720"/>
                    <a:pt x="1768" y="18720"/>
                  </a:cubicBezTo>
                  <a:cubicBezTo>
                    <a:pt x="1589" y="18660"/>
                    <a:pt x="1589" y="18660"/>
                    <a:pt x="1589" y="18660"/>
                  </a:cubicBezTo>
                  <a:cubicBezTo>
                    <a:pt x="1553" y="18769"/>
                    <a:pt x="1553" y="18769"/>
                    <a:pt x="1553" y="18769"/>
                  </a:cubicBezTo>
                  <a:cubicBezTo>
                    <a:pt x="1336" y="18699"/>
                    <a:pt x="1336" y="18699"/>
                    <a:pt x="1336" y="18699"/>
                  </a:cubicBezTo>
                  <a:cubicBezTo>
                    <a:pt x="1255" y="18948"/>
                    <a:pt x="1255" y="18948"/>
                    <a:pt x="1255" y="18948"/>
                  </a:cubicBezTo>
                  <a:cubicBezTo>
                    <a:pt x="407" y="18667"/>
                    <a:pt x="407" y="18667"/>
                    <a:pt x="407" y="18667"/>
                  </a:cubicBezTo>
                  <a:cubicBezTo>
                    <a:pt x="499" y="18399"/>
                    <a:pt x="499" y="18399"/>
                    <a:pt x="499" y="18399"/>
                  </a:cubicBezTo>
                  <a:cubicBezTo>
                    <a:pt x="1119" y="18608"/>
                    <a:pt x="1119" y="18608"/>
                    <a:pt x="1119" y="18608"/>
                  </a:cubicBezTo>
                  <a:lnTo>
                    <a:pt x="1152" y="18516"/>
                  </a:lnTo>
                  <a:close/>
                  <a:moveTo>
                    <a:pt x="3008" y="18922"/>
                  </a:moveTo>
                  <a:cubicBezTo>
                    <a:pt x="3146" y="18921"/>
                    <a:pt x="3146" y="18921"/>
                    <a:pt x="3146" y="18921"/>
                  </a:cubicBezTo>
                  <a:cubicBezTo>
                    <a:pt x="3146" y="18827"/>
                    <a:pt x="3146" y="18827"/>
                    <a:pt x="3146" y="18827"/>
                  </a:cubicBezTo>
                  <a:cubicBezTo>
                    <a:pt x="3146" y="18819"/>
                    <a:pt x="3146" y="18819"/>
                    <a:pt x="3146" y="18819"/>
                  </a:cubicBezTo>
                  <a:cubicBezTo>
                    <a:pt x="2993" y="18817"/>
                    <a:pt x="2993" y="18817"/>
                    <a:pt x="2993" y="18817"/>
                  </a:cubicBezTo>
                  <a:cubicBezTo>
                    <a:pt x="2993" y="18761"/>
                    <a:pt x="2993" y="18761"/>
                    <a:pt x="2993" y="18761"/>
                  </a:cubicBezTo>
                  <a:cubicBezTo>
                    <a:pt x="2845" y="18763"/>
                    <a:pt x="2845" y="18763"/>
                    <a:pt x="2845" y="18763"/>
                  </a:cubicBezTo>
                  <a:cubicBezTo>
                    <a:pt x="2844" y="18770"/>
                    <a:pt x="2844" y="18770"/>
                    <a:pt x="2844" y="18770"/>
                  </a:cubicBezTo>
                  <a:cubicBezTo>
                    <a:pt x="2843" y="18784"/>
                    <a:pt x="2843" y="18784"/>
                    <a:pt x="2843" y="18784"/>
                  </a:cubicBezTo>
                  <a:cubicBezTo>
                    <a:pt x="2491" y="18784"/>
                    <a:pt x="2491" y="18784"/>
                    <a:pt x="2491" y="18784"/>
                  </a:cubicBezTo>
                  <a:cubicBezTo>
                    <a:pt x="2490" y="19056"/>
                    <a:pt x="2490" y="19056"/>
                    <a:pt x="2490" y="19056"/>
                  </a:cubicBezTo>
                  <a:cubicBezTo>
                    <a:pt x="3003" y="18975"/>
                    <a:pt x="3003" y="18975"/>
                    <a:pt x="3003" y="18975"/>
                  </a:cubicBezTo>
                  <a:lnTo>
                    <a:pt x="3008" y="18922"/>
                  </a:lnTo>
                  <a:close/>
                  <a:moveTo>
                    <a:pt x="2990" y="18962"/>
                  </a:moveTo>
                  <a:cubicBezTo>
                    <a:pt x="2505" y="19038"/>
                    <a:pt x="2505" y="19038"/>
                    <a:pt x="2505" y="19038"/>
                  </a:cubicBezTo>
                  <a:cubicBezTo>
                    <a:pt x="2506" y="18798"/>
                    <a:pt x="2506" y="18798"/>
                    <a:pt x="2506" y="18798"/>
                  </a:cubicBezTo>
                  <a:cubicBezTo>
                    <a:pt x="2857" y="18799"/>
                    <a:pt x="2857" y="18799"/>
                    <a:pt x="2857" y="18799"/>
                  </a:cubicBezTo>
                  <a:cubicBezTo>
                    <a:pt x="2857" y="18792"/>
                    <a:pt x="2857" y="18792"/>
                    <a:pt x="2857" y="18792"/>
                  </a:cubicBezTo>
                  <a:cubicBezTo>
                    <a:pt x="2858" y="18778"/>
                    <a:pt x="2858" y="18778"/>
                    <a:pt x="2858" y="18778"/>
                  </a:cubicBezTo>
                  <a:cubicBezTo>
                    <a:pt x="2978" y="18776"/>
                    <a:pt x="2978" y="18776"/>
                    <a:pt x="2978" y="18776"/>
                  </a:cubicBezTo>
                  <a:cubicBezTo>
                    <a:pt x="2978" y="18832"/>
                    <a:pt x="2978" y="18832"/>
                    <a:pt x="2978" y="18832"/>
                  </a:cubicBezTo>
                  <a:cubicBezTo>
                    <a:pt x="3131" y="18834"/>
                    <a:pt x="3131" y="18834"/>
                    <a:pt x="3131" y="18834"/>
                  </a:cubicBezTo>
                  <a:cubicBezTo>
                    <a:pt x="3132" y="18906"/>
                    <a:pt x="3132" y="18906"/>
                    <a:pt x="3132" y="18906"/>
                  </a:cubicBezTo>
                  <a:cubicBezTo>
                    <a:pt x="2995" y="18908"/>
                    <a:pt x="2995" y="18908"/>
                    <a:pt x="2995" y="18908"/>
                  </a:cubicBezTo>
                  <a:lnTo>
                    <a:pt x="2990" y="18962"/>
                  </a:lnTo>
                  <a:close/>
                  <a:moveTo>
                    <a:pt x="18008" y="19864"/>
                  </a:moveTo>
                  <a:cubicBezTo>
                    <a:pt x="17948" y="19913"/>
                    <a:pt x="17886" y="19964"/>
                    <a:pt x="17827" y="20012"/>
                  </a:cubicBezTo>
                  <a:cubicBezTo>
                    <a:pt x="17658" y="20149"/>
                    <a:pt x="17506" y="20272"/>
                    <a:pt x="17434" y="20329"/>
                  </a:cubicBezTo>
                  <a:cubicBezTo>
                    <a:pt x="17384" y="20277"/>
                    <a:pt x="17344" y="20230"/>
                    <a:pt x="17310" y="20195"/>
                  </a:cubicBezTo>
                  <a:cubicBezTo>
                    <a:pt x="17292" y="20173"/>
                    <a:pt x="16827" y="19638"/>
                    <a:pt x="16205" y="19271"/>
                  </a:cubicBezTo>
                  <a:cubicBezTo>
                    <a:pt x="16015" y="19158"/>
                    <a:pt x="15776" y="19016"/>
                    <a:pt x="15536" y="18888"/>
                  </a:cubicBezTo>
                  <a:cubicBezTo>
                    <a:pt x="15411" y="18822"/>
                    <a:pt x="15286" y="18757"/>
                    <a:pt x="15167" y="18696"/>
                  </a:cubicBezTo>
                  <a:cubicBezTo>
                    <a:pt x="15182" y="18694"/>
                    <a:pt x="15182" y="18694"/>
                    <a:pt x="15182" y="18694"/>
                  </a:cubicBezTo>
                  <a:cubicBezTo>
                    <a:pt x="15178" y="18672"/>
                    <a:pt x="15164" y="18617"/>
                    <a:pt x="15142" y="18533"/>
                  </a:cubicBezTo>
                  <a:cubicBezTo>
                    <a:pt x="15120" y="18450"/>
                    <a:pt x="15090" y="18342"/>
                    <a:pt x="15058" y="18223"/>
                  </a:cubicBezTo>
                  <a:cubicBezTo>
                    <a:pt x="15038" y="18152"/>
                    <a:pt x="15017" y="18076"/>
                    <a:pt x="14996" y="18000"/>
                  </a:cubicBezTo>
                  <a:cubicBezTo>
                    <a:pt x="14928" y="18000"/>
                    <a:pt x="14928" y="18000"/>
                    <a:pt x="14928" y="18000"/>
                  </a:cubicBezTo>
                  <a:cubicBezTo>
                    <a:pt x="14985" y="18207"/>
                    <a:pt x="15042" y="18413"/>
                    <a:pt x="15079" y="18550"/>
                  </a:cubicBezTo>
                  <a:cubicBezTo>
                    <a:pt x="15092" y="18598"/>
                    <a:pt x="15102" y="18639"/>
                    <a:pt x="15109" y="18666"/>
                  </a:cubicBezTo>
                  <a:cubicBezTo>
                    <a:pt x="14878" y="18549"/>
                    <a:pt x="14676" y="18449"/>
                    <a:pt x="14556" y="18390"/>
                  </a:cubicBezTo>
                  <a:cubicBezTo>
                    <a:pt x="14498" y="18361"/>
                    <a:pt x="14458" y="18341"/>
                    <a:pt x="14446" y="18335"/>
                  </a:cubicBezTo>
                  <a:cubicBezTo>
                    <a:pt x="14439" y="18329"/>
                    <a:pt x="14431" y="18328"/>
                    <a:pt x="14427" y="18327"/>
                  </a:cubicBezTo>
                  <a:cubicBezTo>
                    <a:pt x="13990" y="18280"/>
                    <a:pt x="13990" y="18280"/>
                    <a:pt x="13990" y="18280"/>
                  </a:cubicBezTo>
                  <a:cubicBezTo>
                    <a:pt x="13988" y="18254"/>
                    <a:pt x="13978" y="18150"/>
                    <a:pt x="13963" y="18000"/>
                  </a:cubicBezTo>
                  <a:cubicBezTo>
                    <a:pt x="13810" y="18000"/>
                    <a:pt x="13810" y="18000"/>
                    <a:pt x="13810" y="18000"/>
                  </a:cubicBezTo>
                  <a:cubicBezTo>
                    <a:pt x="13822" y="18121"/>
                    <a:pt x="13831" y="18215"/>
                    <a:pt x="13835" y="18263"/>
                  </a:cubicBezTo>
                  <a:cubicBezTo>
                    <a:pt x="13383" y="18214"/>
                    <a:pt x="13383" y="18214"/>
                    <a:pt x="13383" y="18214"/>
                  </a:cubicBezTo>
                  <a:cubicBezTo>
                    <a:pt x="13002" y="18000"/>
                    <a:pt x="13002" y="18000"/>
                    <a:pt x="13002" y="18000"/>
                  </a:cubicBezTo>
                  <a:cubicBezTo>
                    <a:pt x="12867" y="18000"/>
                    <a:pt x="12867" y="18000"/>
                    <a:pt x="12867" y="18000"/>
                  </a:cubicBezTo>
                  <a:cubicBezTo>
                    <a:pt x="13363" y="18278"/>
                    <a:pt x="13363" y="18278"/>
                    <a:pt x="13363" y="18278"/>
                  </a:cubicBezTo>
                  <a:cubicBezTo>
                    <a:pt x="13822" y="18328"/>
                    <a:pt x="13822" y="18328"/>
                    <a:pt x="13822" y="18328"/>
                  </a:cubicBezTo>
                  <a:cubicBezTo>
                    <a:pt x="13138" y="20295"/>
                    <a:pt x="13138" y="20295"/>
                    <a:pt x="13138" y="20295"/>
                  </a:cubicBezTo>
                  <a:cubicBezTo>
                    <a:pt x="12170" y="19912"/>
                    <a:pt x="12170" y="19912"/>
                    <a:pt x="12170" y="19912"/>
                  </a:cubicBezTo>
                  <a:cubicBezTo>
                    <a:pt x="11977" y="18640"/>
                    <a:pt x="11977" y="18640"/>
                    <a:pt x="11977" y="18640"/>
                  </a:cubicBezTo>
                  <a:cubicBezTo>
                    <a:pt x="11847" y="18036"/>
                    <a:pt x="11847" y="18036"/>
                    <a:pt x="11847" y="18036"/>
                  </a:cubicBezTo>
                  <a:cubicBezTo>
                    <a:pt x="11834" y="18029"/>
                    <a:pt x="11834" y="18029"/>
                    <a:pt x="11834" y="18029"/>
                  </a:cubicBezTo>
                  <a:cubicBezTo>
                    <a:pt x="11834" y="18029"/>
                    <a:pt x="11834" y="18029"/>
                    <a:pt x="11834" y="18029"/>
                  </a:cubicBezTo>
                  <a:cubicBezTo>
                    <a:pt x="11834" y="18029"/>
                    <a:pt x="11833" y="18029"/>
                    <a:pt x="11833" y="18029"/>
                  </a:cubicBezTo>
                  <a:cubicBezTo>
                    <a:pt x="11853" y="18000"/>
                    <a:pt x="11853" y="18000"/>
                    <a:pt x="11853" y="18000"/>
                  </a:cubicBezTo>
                  <a:cubicBezTo>
                    <a:pt x="11720" y="18000"/>
                    <a:pt x="11720" y="18000"/>
                    <a:pt x="11720" y="18000"/>
                  </a:cubicBezTo>
                  <a:cubicBezTo>
                    <a:pt x="11752" y="18044"/>
                    <a:pt x="11775" y="18066"/>
                    <a:pt x="11788" y="18077"/>
                  </a:cubicBezTo>
                  <a:cubicBezTo>
                    <a:pt x="11903" y="18610"/>
                    <a:pt x="11903" y="18610"/>
                    <a:pt x="11903" y="18610"/>
                  </a:cubicBezTo>
                  <a:cubicBezTo>
                    <a:pt x="11006" y="18771"/>
                    <a:pt x="11006" y="18771"/>
                    <a:pt x="11006" y="18771"/>
                  </a:cubicBezTo>
                  <a:cubicBezTo>
                    <a:pt x="10984" y="18642"/>
                    <a:pt x="10984" y="18642"/>
                    <a:pt x="10984" y="18642"/>
                  </a:cubicBezTo>
                  <a:cubicBezTo>
                    <a:pt x="11213" y="18603"/>
                    <a:pt x="11213" y="18603"/>
                    <a:pt x="11213" y="18603"/>
                  </a:cubicBezTo>
                  <a:cubicBezTo>
                    <a:pt x="11205" y="18553"/>
                    <a:pt x="11205" y="18553"/>
                    <a:pt x="11205" y="18553"/>
                  </a:cubicBezTo>
                  <a:cubicBezTo>
                    <a:pt x="11299" y="18537"/>
                    <a:pt x="11299" y="18537"/>
                    <a:pt x="11299" y="18537"/>
                  </a:cubicBezTo>
                  <a:cubicBezTo>
                    <a:pt x="11277" y="18406"/>
                    <a:pt x="11277" y="18406"/>
                    <a:pt x="11277" y="18406"/>
                  </a:cubicBezTo>
                  <a:cubicBezTo>
                    <a:pt x="11182" y="18422"/>
                    <a:pt x="11182" y="18422"/>
                    <a:pt x="11182" y="18422"/>
                  </a:cubicBezTo>
                  <a:cubicBezTo>
                    <a:pt x="11153" y="18254"/>
                    <a:pt x="11153" y="18254"/>
                    <a:pt x="11153" y="18254"/>
                  </a:cubicBezTo>
                  <a:cubicBezTo>
                    <a:pt x="11112" y="18261"/>
                    <a:pt x="11112" y="18261"/>
                    <a:pt x="11112" y="18261"/>
                  </a:cubicBezTo>
                  <a:cubicBezTo>
                    <a:pt x="11094" y="18170"/>
                    <a:pt x="11094" y="18170"/>
                    <a:pt x="11094" y="18170"/>
                  </a:cubicBezTo>
                  <a:cubicBezTo>
                    <a:pt x="11093" y="18163"/>
                    <a:pt x="11093" y="18163"/>
                    <a:pt x="11093" y="18163"/>
                  </a:cubicBezTo>
                  <a:cubicBezTo>
                    <a:pt x="11009" y="18177"/>
                    <a:pt x="11009" y="18177"/>
                    <a:pt x="11009" y="18177"/>
                  </a:cubicBezTo>
                  <a:cubicBezTo>
                    <a:pt x="11026" y="18275"/>
                    <a:pt x="11026" y="18275"/>
                    <a:pt x="11026" y="18275"/>
                  </a:cubicBezTo>
                  <a:cubicBezTo>
                    <a:pt x="10876" y="18300"/>
                    <a:pt x="10876" y="18300"/>
                    <a:pt x="10876" y="18300"/>
                  </a:cubicBezTo>
                  <a:cubicBezTo>
                    <a:pt x="10884" y="18348"/>
                    <a:pt x="10884" y="18348"/>
                    <a:pt x="10884" y="18348"/>
                  </a:cubicBezTo>
                  <a:cubicBezTo>
                    <a:pt x="10725" y="18375"/>
                    <a:pt x="10725" y="18375"/>
                    <a:pt x="10725" y="18375"/>
                  </a:cubicBezTo>
                  <a:cubicBezTo>
                    <a:pt x="10744" y="18484"/>
                    <a:pt x="10744" y="18484"/>
                    <a:pt x="10744" y="18484"/>
                  </a:cubicBezTo>
                  <a:cubicBezTo>
                    <a:pt x="10899" y="18458"/>
                    <a:pt x="10899" y="18458"/>
                    <a:pt x="10899" y="18458"/>
                  </a:cubicBezTo>
                  <a:cubicBezTo>
                    <a:pt x="10919" y="18574"/>
                    <a:pt x="10919" y="18574"/>
                    <a:pt x="10919" y="18574"/>
                  </a:cubicBezTo>
                  <a:cubicBezTo>
                    <a:pt x="10804" y="18594"/>
                    <a:pt x="10804" y="18594"/>
                    <a:pt x="10804" y="18594"/>
                  </a:cubicBezTo>
                  <a:cubicBezTo>
                    <a:pt x="10839" y="18801"/>
                    <a:pt x="10839" y="18801"/>
                    <a:pt x="10839" y="18801"/>
                  </a:cubicBezTo>
                  <a:cubicBezTo>
                    <a:pt x="10317" y="18894"/>
                    <a:pt x="10317" y="18894"/>
                    <a:pt x="10317" y="18894"/>
                  </a:cubicBezTo>
                  <a:cubicBezTo>
                    <a:pt x="10315" y="18878"/>
                    <a:pt x="10313" y="18856"/>
                    <a:pt x="10311" y="18831"/>
                  </a:cubicBezTo>
                  <a:cubicBezTo>
                    <a:pt x="10305" y="18773"/>
                    <a:pt x="10298" y="18697"/>
                    <a:pt x="10290" y="18620"/>
                  </a:cubicBezTo>
                  <a:cubicBezTo>
                    <a:pt x="10278" y="18498"/>
                    <a:pt x="10266" y="18376"/>
                    <a:pt x="10261" y="18332"/>
                  </a:cubicBezTo>
                  <a:cubicBezTo>
                    <a:pt x="10300" y="18298"/>
                    <a:pt x="10395" y="18195"/>
                    <a:pt x="10396" y="18014"/>
                  </a:cubicBezTo>
                  <a:cubicBezTo>
                    <a:pt x="10396" y="18009"/>
                    <a:pt x="10395" y="18005"/>
                    <a:pt x="10395" y="18000"/>
                  </a:cubicBezTo>
                  <a:cubicBezTo>
                    <a:pt x="10329" y="18000"/>
                    <a:pt x="10329" y="18000"/>
                    <a:pt x="10329" y="18000"/>
                  </a:cubicBezTo>
                  <a:cubicBezTo>
                    <a:pt x="10329" y="18005"/>
                    <a:pt x="10330" y="18010"/>
                    <a:pt x="10330" y="18014"/>
                  </a:cubicBezTo>
                  <a:cubicBezTo>
                    <a:pt x="10330" y="18174"/>
                    <a:pt x="10242" y="18262"/>
                    <a:pt x="10216" y="18285"/>
                  </a:cubicBezTo>
                  <a:cubicBezTo>
                    <a:pt x="9255" y="18271"/>
                    <a:pt x="9255" y="18271"/>
                    <a:pt x="9255" y="18271"/>
                  </a:cubicBezTo>
                  <a:cubicBezTo>
                    <a:pt x="9239" y="18000"/>
                    <a:pt x="9239" y="18000"/>
                    <a:pt x="9239" y="18000"/>
                  </a:cubicBezTo>
                  <a:cubicBezTo>
                    <a:pt x="9173" y="18000"/>
                    <a:pt x="9173" y="18000"/>
                    <a:pt x="9173" y="18000"/>
                  </a:cubicBezTo>
                  <a:cubicBezTo>
                    <a:pt x="9189" y="18270"/>
                    <a:pt x="9189" y="18270"/>
                    <a:pt x="9189" y="18270"/>
                  </a:cubicBezTo>
                  <a:cubicBezTo>
                    <a:pt x="9164" y="18270"/>
                    <a:pt x="9164" y="18270"/>
                    <a:pt x="9164" y="18270"/>
                  </a:cubicBezTo>
                  <a:cubicBezTo>
                    <a:pt x="9154" y="18285"/>
                    <a:pt x="9154" y="18285"/>
                    <a:pt x="9154" y="18285"/>
                  </a:cubicBezTo>
                  <a:cubicBezTo>
                    <a:pt x="9154" y="18285"/>
                    <a:pt x="9106" y="18360"/>
                    <a:pt x="9049" y="18446"/>
                  </a:cubicBezTo>
                  <a:cubicBezTo>
                    <a:pt x="8993" y="18533"/>
                    <a:pt x="8928" y="18631"/>
                    <a:pt x="8895" y="18677"/>
                  </a:cubicBezTo>
                  <a:cubicBezTo>
                    <a:pt x="8895" y="18677"/>
                    <a:pt x="8895" y="18678"/>
                    <a:pt x="8894" y="18678"/>
                  </a:cubicBezTo>
                  <a:cubicBezTo>
                    <a:pt x="7753" y="18000"/>
                    <a:pt x="7753" y="18000"/>
                    <a:pt x="7753" y="18000"/>
                  </a:cubicBezTo>
                  <a:cubicBezTo>
                    <a:pt x="7599" y="18000"/>
                    <a:pt x="7599" y="18000"/>
                    <a:pt x="7599" y="18000"/>
                  </a:cubicBezTo>
                  <a:cubicBezTo>
                    <a:pt x="7532" y="18121"/>
                    <a:pt x="7532" y="18121"/>
                    <a:pt x="7532" y="18121"/>
                  </a:cubicBezTo>
                  <a:cubicBezTo>
                    <a:pt x="7532" y="18123"/>
                    <a:pt x="7532" y="18123"/>
                    <a:pt x="7532" y="18123"/>
                  </a:cubicBezTo>
                  <a:cubicBezTo>
                    <a:pt x="7530" y="18126"/>
                    <a:pt x="7507" y="18181"/>
                    <a:pt x="7507" y="18275"/>
                  </a:cubicBezTo>
                  <a:cubicBezTo>
                    <a:pt x="7507" y="18343"/>
                    <a:pt x="7519" y="18430"/>
                    <a:pt x="7560" y="18532"/>
                  </a:cubicBezTo>
                  <a:cubicBezTo>
                    <a:pt x="7646" y="18746"/>
                    <a:pt x="7756" y="18965"/>
                    <a:pt x="7775" y="19002"/>
                  </a:cubicBezTo>
                  <a:cubicBezTo>
                    <a:pt x="7851" y="19703"/>
                    <a:pt x="7851" y="19703"/>
                    <a:pt x="7851" y="19703"/>
                  </a:cubicBezTo>
                  <a:cubicBezTo>
                    <a:pt x="7763" y="19945"/>
                    <a:pt x="7763" y="19945"/>
                    <a:pt x="7763" y="19945"/>
                  </a:cubicBezTo>
                  <a:cubicBezTo>
                    <a:pt x="7726" y="19943"/>
                    <a:pt x="7698" y="19942"/>
                    <a:pt x="7688" y="19941"/>
                  </a:cubicBezTo>
                  <a:cubicBezTo>
                    <a:pt x="7687" y="19941"/>
                    <a:pt x="7686" y="19941"/>
                    <a:pt x="7685" y="19941"/>
                  </a:cubicBezTo>
                  <a:cubicBezTo>
                    <a:pt x="7685" y="19941"/>
                    <a:pt x="7561" y="19936"/>
                    <a:pt x="7377" y="19930"/>
                  </a:cubicBezTo>
                  <a:cubicBezTo>
                    <a:pt x="7335" y="19928"/>
                    <a:pt x="7290" y="19927"/>
                    <a:pt x="7243" y="19925"/>
                  </a:cubicBezTo>
                  <a:cubicBezTo>
                    <a:pt x="6722" y="18439"/>
                    <a:pt x="6722" y="18439"/>
                    <a:pt x="6722" y="18439"/>
                  </a:cubicBezTo>
                  <a:cubicBezTo>
                    <a:pt x="6729" y="18395"/>
                    <a:pt x="6763" y="18187"/>
                    <a:pt x="6794" y="18000"/>
                  </a:cubicBezTo>
                  <a:cubicBezTo>
                    <a:pt x="6727" y="18000"/>
                    <a:pt x="6727" y="18000"/>
                    <a:pt x="6727" y="18000"/>
                  </a:cubicBezTo>
                  <a:cubicBezTo>
                    <a:pt x="6724" y="18020"/>
                    <a:pt x="6721" y="18039"/>
                    <a:pt x="6718" y="18059"/>
                  </a:cubicBezTo>
                  <a:cubicBezTo>
                    <a:pt x="6693" y="18209"/>
                    <a:pt x="6668" y="18359"/>
                    <a:pt x="6659" y="18414"/>
                  </a:cubicBezTo>
                  <a:cubicBezTo>
                    <a:pt x="6566" y="18433"/>
                    <a:pt x="6485" y="18441"/>
                    <a:pt x="6415" y="18441"/>
                  </a:cubicBezTo>
                  <a:cubicBezTo>
                    <a:pt x="6263" y="18441"/>
                    <a:pt x="6155" y="18408"/>
                    <a:pt x="6055" y="18385"/>
                  </a:cubicBezTo>
                  <a:cubicBezTo>
                    <a:pt x="5983" y="18369"/>
                    <a:pt x="5740" y="18306"/>
                    <a:pt x="5516" y="18247"/>
                  </a:cubicBezTo>
                  <a:cubicBezTo>
                    <a:pt x="5320" y="18195"/>
                    <a:pt x="5139" y="18147"/>
                    <a:pt x="5095" y="18135"/>
                  </a:cubicBezTo>
                  <a:cubicBezTo>
                    <a:pt x="5096" y="18092"/>
                    <a:pt x="5097" y="18047"/>
                    <a:pt x="5098" y="18000"/>
                  </a:cubicBezTo>
                  <a:cubicBezTo>
                    <a:pt x="5033" y="18000"/>
                    <a:pt x="5033" y="18000"/>
                    <a:pt x="5033" y="18000"/>
                  </a:cubicBezTo>
                  <a:cubicBezTo>
                    <a:pt x="5031" y="18079"/>
                    <a:pt x="5029" y="18154"/>
                    <a:pt x="5027" y="18219"/>
                  </a:cubicBezTo>
                  <a:cubicBezTo>
                    <a:pt x="5024" y="18325"/>
                    <a:pt x="5021" y="18406"/>
                    <a:pt x="5020" y="18440"/>
                  </a:cubicBezTo>
                  <a:cubicBezTo>
                    <a:pt x="4602" y="18162"/>
                    <a:pt x="4602" y="18162"/>
                    <a:pt x="4602" y="18162"/>
                  </a:cubicBezTo>
                  <a:cubicBezTo>
                    <a:pt x="4595" y="18174"/>
                    <a:pt x="4595" y="18174"/>
                    <a:pt x="4595" y="18174"/>
                  </a:cubicBezTo>
                  <a:cubicBezTo>
                    <a:pt x="5020" y="18456"/>
                    <a:pt x="5020" y="18456"/>
                    <a:pt x="5020" y="18456"/>
                  </a:cubicBezTo>
                  <a:cubicBezTo>
                    <a:pt x="5020" y="18456"/>
                    <a:pt x="5020" y="18457"/>
                    <a:pt x="5020" y="18457"/>
                  </a:cubicBezTo>
                  <a:cubicBezTo>
                    <a:pt x="5019" y="18459"/>
                    <a:pt x="5019" y="18459"/>
                    <a:pt x="5019" y="18459"/>
                  </a:cubicBezTo>
                  <a:cubicBezTo>
                    <a:pt x="5084" y="19026"/>
                    <a:pt x="5084" y="19026"/>
                    <a:pt x="5084" y="19026"/>
                  </a:cubicBezTo>
                  <a:cubicBezTo>
                    <a:pt x="4612" y="18716"/>
                    <a:pt x="4612" y="18716"/>
                    <a:pt x="4612" y="18716"/>
                  </a:cubicBezTo>
                  <a:cubicBezTo>
                    <a:pt x="4358" y="18244"/>
                    <a:pt x="4358" y="18244"/>
                    <a:pt x="4358" y="18244"/>
                  </a:cubicBezTo>
                  <a:cubicBezTo>
                    <a:pt x="4385" y="18237"/>
                    <a:pt x="4423" y="18225"/>
                    <a:pt x="4461" y="18213"/>
                  </a:cubicBezTo>
                  <a:cubicBezTo>
                    <a:pt x="4527" y="18193"/>
                    <a:pt x="4592" y="18172"/>
                    <a:pt x="4592" y="18172"/>
                  </a:cubicBezTo>
                  <a:cubicBezTo>
                    <a:pt x="4596" y="18171"/>
                    <a:pt x="4596" y="18171"/>
                    <a:pt x="4596" y="18171"/>
                  </a:cubicBezTo>
                  <a:cubicBezTo>
                    <a:pt x="4650" y="18000"/>
                    <a:pt x="4650" y="18000"/>
                    <a:pt x="4650" y="18000"/>
                  </a:cubicBezTo>
                  <a:cubicBezTo>
                    <a:pt x="4636" y="18000"/>
                    <a:pt x="4636" y="18000"/>
                    <a:pt x="4636" y="18000"/>
                  </a:cubicBezTo>
                  <a:cubicBezTo>
                    <a:pt x="4585" y="18160"/>
                    <a:pt x="4585" y="18160"/>
                    <a:pt x="4585" y="18160"/>
                  </a:cubicBezTo>
                  <a:cubicBezTo>
                    <a:pt x="4570" y="18165"/>
                    <a:pt x="4514" y="18182"/>
                    <a:pt x="4457" y="18200"/>
                  </a:cubicBezTo>
                  <a:cubicBezTo>
                    <a:pt x="4418" y="18212"/>
                    <a:pt x="4378" y="18224"/>
                    <a:pt x="4351" y="18232"/>
                  </a:cubicBezTo>
                  <a:cubicBezTo>
                    <a:pt x="4298" y="18132"/>
                    <a:pt x="4298" y="18132"/>
                    <a:pt x="4298" y="18132"/>
                  </a:cubicBezTo>
                  <a:cubicBezTo>
                    <a:pt x="4311" y="18000"/>
                    <a:pt x="4311" y="18000"/>
                    <a:pt x="4311" y="18000"/>
                  </a:cubicBezTo>
                  <a:cubicBezTo>
                    <a:pt x="4266" y="18000"/>
                    <a:pt x="4266" y="18000"/>
                    <a:pt x="4266" y="18000"/>
                  </a:cubicBezTo>
                  <a:cubicBezTo>
                    <a:pt x="4252" y="18142"/>
                    <a:pt x="4252" y="18142"/>
                    <a:pt x="4252" y="18142"/>
                  </a:cubicBezTo>
                  <a:cubicBezTo>
                    <a:pt x="4394" y="18407"/>
                    <a:pt x="4394" y="18407"/>
                    <a:pt x="4394" y="18407"/>
                  </a:cubicBezTo>
                  <a:cubicBezTo>
                    <a:pt x="4378" y="18417"/>
                    <a:pt x="4350" y="18435"/>
                    <a:pt x="4321" y="18453"/>
                  </a:cubicBezTo>
                  <a:cubicBezTo>
                    <a:pt x="4282" y="18479"/>
                    <a:pt x="4243" y="18504"/>
                    <a:pt x="4229" y="18515"/>
                  </a:cubicBezTo>
                  <a:cubicBezTo>
                    <a:pt x="4228" y="18514"/>
                    <a:pt x="4227" y="18514"/>
                    <a:pt x="4226" y="18513"/>
                  </a:cubicBezTo>
                  <a:cubicBezTo>
                    <a:pt x="4221" y="18509"/>
                    <a:pt x="4214" y="18504"/>
                    <a:pt x="4205" y="18498"/>
                  </a:cubicBezTo>
                  <a:cubicBezTo>
                    <a:pt x="4186" y="18485"/>
                    <a:pt x="4160" y="18467"/>
                    <a:pt x="4128" y="18446"/>
                  </a:cubicBezTo>
                  <a:cubicBezTo>
                    <a:pt x="4065" y="18403"/>
                    <a:pt x="3981" y="18346"/>
                    <a:pt x="3895" y="18289"/>
                  </a:cubicBezTo>
                  <a:cubicBezTo>
                    <a:pt x="3863" y="18267"/>
                    <a:pt x="3830" y="18245"/>
                    <a:pt x="3799" y="18224"/>
                  </a:cubicBezTo>
                  <a:cubicBezTo>
                    <a:pt x="3898" y="18000"/>
                    <a:pt x="3898" y="18000"/>
                    <a:pt x="3898" y="18000"/>
                  </a:cubicBezTo>
                  <a:cubicBezTo>
                    <a:pt x="3882" y="18000"/>
                    <a:pt x="3882" y="18000"/>
                    <a:pt x="3882" y="18000"/>
                  </a:cubicBezTo>
                  <a:cubicBezTo>
                    <a:pt x="3787" y="18216"/>
                    <a:pt x="3787" y="18216"/>
                    <a:pt x="3787" y="18216"/>
                  </a:cubicBezTo>
                  <a:cubicBezTo>
                    <a:pt x="3667" y="18135"/>
                    <a:pt x="3563" y="18066"/>
                    <a:pt x="3541" y="18050"/>
                  </a:cubicBezTo>
                  <a:cubicBezTo>
                    <a:pt x="3541" y="18049"/>
                    <a:pt x="3541" y="18048"/>
                    <a:pt x="3542" y="18046"/>
                  </a:cubicBezTo>
                  <a:cubicBezTo>
                    <a:pt x="3542" y="18040"/>
                    <a:pt x="3543" y="18033"/>
                    <a:pt x="3543" y="18024"/>
                  </a:cubicBezTo>
                  <a:cubicBezTo>
                    <a:pt x="3544" y="18017"/>
                    <a:pt x="3544" y="18009"/>
                    <a:pt x="3544" y="18000"/>
                  </a:cubicBezTo>
                  <a:cubicBezTo>
                    <a:pt x="3530" y="18000"/>
                    <a:pt x="3530" y="18000"/>
                    <a:pt x="3530" y="18000"/>
                  </a:cubicBezTo>
                  <a:cubicBezTo>
                    <a:pt x="3529" y="18024"/>
                    <a:pt x="3528" y="18043"/>
                    <a:pt x="3527" y="18049"/>
                  </a:cubicBezTo>
                  <a:cubicBezTo>
                    <a:pt x="3526" y="18050"/>
                    <a:pt x="3526" y="18051"/>
                    <a:pt x="3526" y="18052"/>
                  </a:cubicBezTo>
                  <a:cubicBezTo>
                    <a:pt x="3524" y="18060"/>
                    <a:pt x="3524" y="18060"/>
                    <a:pt x="3524" y="18060"/>
                  </a:cubicBezTo>
                  <a:cubicBezTo>
                    <a:pt x="3530" y="18060"/>
                    <a:pt x="3530" y="18060"/>
                    <a:pt x="3530" y="18060"/>
                  </a:cubicBezTo>
                  <a:cubicBezTo>
                    <a:pt x="3530" y="18060"/>
                    <a:pt x="3530" y="18060"/>
                    <a:pt x="3530" y="18060"/>
                  </a:cubicBezTo>
                  <a:cubicBezTo>
                    <a:pt x="3532" y="18061"/>
                    <a:pt x="3534" y="18062"/>
                    <a:pt x="3536" y="18064"/>
                  </a:cubicBezTo>
                  <a:cubicBezTo>
                    <a:pt x="3541" y="18067"/>
                    <a:pt x="3548" y="18072"/>
                    <a:pt x="3557" y="18078"/>
                  </a:cubicBezTo>
                  <a:cubicBezTo>
                    <a:pt x="3576" y="18091"/>
                    <a:pt x="3602" y="18108"/>
                    <a:pt x="3633" y="18130"/>
                  </a:cubicBezTo>
                  <a:cubicBezTo>
                    <a:pt x="3696" y="18172"/>
                    <a:pt x="3780" y="18228"/>
                    <a:pt x="3865" y="18285"/>
                  </a:cubicBezTo>
                  <a:cubicBezTo>
                    <a:pt x="4033" y="18398"/>
                    <a:pt x="4206" y="18514"/>
                    <a:pt x="4224" y="18528"/>
                  </a:cubicBezTo>
                  <a:cubicBezTo>
                    <a:pt x="4225" y="18531"/>
                    <a:pt x="4228" y="18531"/>
                    <a:pt x="4230" y="18531"/>
                  </a:cubicBezTo>
                  <a:cubicBezTo>
                    <a:pt x="4230" y="18531"/>
                    <a:pt x="4234" y="18532"/>
                    <a:pt x="4236" y="18528"/>
                  </a:cubicBezTo>
                  <a:cubicBezTo>
                    <a:pt x="4236" y="18528"/>
                    <a:pt x="4236" y="18528"/>
                    <a:pt x="4236" y="18527"/>
                  </a:cubicBezTo>
                  <a:cubicBezTo>
                    <a:pt x="4237" y="18527"/>
                    <a:pt x="4239" y="18525"/>
                    <a:pt x="4241" y="18523"/>
                  </a:cubicBezTo>
                  <a:cubicBezTo>
                    <a:pt x="4246" y="18520"/>
                    <a:pt x="4253" y="18515"/>
                    <a:pt x="4262" y="18509"/>
                  </a:cubicBezTo>
                  <a:cubicBezTo>
                    <a:pt x="4279" y="18498"/>
                    <a:pt x="4302" y="18483"/>
                    <a:pt x="4324" y="18468"/>
                  </a:cubicBezTo>
                  <a:cubicBezTo>
                    <a:pt x="4354" y="18449"/>
                    <a:pt x="4384" y="18430"/>
                    <a:pt x="4401" y="18419"/>
                  </a:cubicBezTo>
                  <a:cubicBezTo>
                    <a:pt x="4570" y="18734"/>
                    <a:pt x="4570" y="18734"/>
                    <a:pt x="4570" y="18734"/>
                  </a:cubicBezTo>
                  <a:cubicBezTo>
                    <a:pt x="4210" y="19801"/>
                    <a:pt x="4210" y="19801"/>
                    <a:pt x="4210" y="19801"/>
                  </a:cubicBezTo>
                  <a:cubicBezTo>
                    <a:pt x="4192" y="19802"/>
                    <a:pt x="4171" y="19803"/>
                    <a:pt x="4148" y="19803"/>
                  </a:cubicBezTo>
                  <a:cubicBezTo>
                    <a:pt x="4117" y="19803"/>
                    <a:pt x="4084" y="19801"/>
                    <a:pt x="4057" y="19798"/>
                  </a:cubicBezTo>
                  <a:cubicBezTo>
                    <a:pt x="4029" y="19794"/>
                    <a:pt x="4007" y="19787"/>
                    <a:pt x="4001" y="19784"/>
                  </a:cubicBezTo>
                  <a:cubicBezTo>
                    <a:pt x="3993" y="19781"/>
                    <a:pt x="3963" y="19752"/>
                    <a:pt x="3936" y="19715"/>
                  </a:cubicBezTo>
                  <a:cubicBezTo>
                    <a:pt x="3909" y="19677"/>
                    <a:pt x="3882" y="19631"/>
                    <a:pt x="3859" y="19592"/>
                  </a:cubicBezTo>
                  <a:cubicBezTo>
                    <a:pt x="3852" y="19579"/>
                    <a:pt x="3830" y="19534"/>
                    <a:pt x="3806" y="19479"/>
                  </a:cubicBezTo>
                  <a:cubicBezTo>
                    <a:pt x="3787" y="19433"/>
                    <a:pt x="3764" y="19379"/>
                    <a:pt x="3741" y="19324"/>
                  </a:cubicBezTo>
                  <a:cubicBezTo>
                    <a:pt x="3743" y="19289"/>
                    <a:pt x="3753" y="19110"/>
                    <a:pt x="3759" y="19038"/>
                  </a:cubicBezTo>
                  <a:cubicBezTo>
                    <a:pt x="3760" y="19026"/>
                    <a:pt x="3760" y="19014"/>
                    <a:pt x="3760" y="19000"/>
                  </a:cubicBezTo>
                  <a:cubicBezTo>
                    <a:pt x="3760" y="18945"/>
                    <a:pt x="3754" y="18864"/>
                    <a:pt x="3737" y="18777"/>
                  </a:cubicBezTo>
                  <a:cubicBezTo>
                    <a:pt x="3720" y="18691"/>
                    <a:pt x="3694" y="18600"/>
                    <a:pt x="3645" y="18525"/>
                  </a:cubicBezTo>
                  <a:cubicBezTo>
                    <a:pt x="3611" y="18475"/>
                    <a:pt x="3558" y="18432"/>
                    <a:pt x="3494" y="18384"/>
                  </a:cubicBezTo>
                  <a:cubicBezTo>
                    <a:pt x="3430" y="18337"/>
                    <a:pt x="3355" y="18289"/>
                    <a:pt x="3284" y="18244"/>
                  </a:cubicBezTo>
                  <a:cubicBezTo>
                    <a:pt x="3154" y="18164"/>
                    <a:pt x="3034" y="18099"/>
                    <a:pt x="3013" y="18088"/>
                  </a:cubicBezTo>
                  <a:cubicBezTo>
                    <a:pt x="3013" y="18086"/>
                    <a:pt x="3013" y="18085"/>
                    <a:pt x="3013" y="18083"/>
                  </a:cubicBezTo>
                  <a:cubicBezTo>
                    <a:pt x="3013" y="18055"/>
                    <a:pt x="3009" y="18027"/>
                    <a:pt x="3003" y="18000"/>
                  </a:cubicBezTo>
                  <a:cubicBezTo>
                    <a:pt x="2838" y="18000"/>
                    <a:pt x="2838" y="18000"/>
                    <a:pt x="2838" y="18000"/>
                  </a:cubicBezTo>
                  <a:cubicBezTo>
                    <a:pt x="2849" y="18026"/>
                    <a:pt x="2855" y="18054"/>
                    <a:pt x="2855" y="18083"/>
                  </a:cubicBezTo>
                  <a:cubicBezTo>
                    <a:pt x="2855" y="18198"/>
                    <a:pt x="2762" y="18291"/>
                    <a:pt x="2648" y="18291"/>
                  </a:cubicBezTo>
                  <a:cubicBezTo>
                    <a:pt x="2533" y="18291"/>
                    <a:pt x="2440" y="18198"/>
                    <a:pt x="2440" y="18083"/>
                  </a:cubicBezTo>
                  <a:cubicBezTo>
                    <a:pt x="2440" y="18054"/>
                    <a:pt x="2446" y="18026"/>
                    <a:pt x="2458" y="18000"/>
                  </a:cubicBezTo>
                  <a:cubicBezTo>
                    <a:pt x="2293" y="18000"/>
                    <a:pt x="2293" y="18000"/>
                    <a:pt x="2293" y="18000"/>
                  </a:cubicBezTo>
                  <a:cubicBezTo>
                    <a:pt x="2287" y="18027"/>
                    <a:pt x="2282" y="18055"/>
                    <a:pt x="2282" y="18083"/>
                  </a:cubicBezTo>
                  <a:cubicBezTo>
                    <a:pt x="2282" y="18095"/>
                    <a:pt x="2283" y="18106"/>
                    <a:pt x="2284" y="18118"/>
                  </a:cubicBezTo>
                  <a:cubicBezTo>
                    <a:pt x="2231" y="18110"/>
                    <a:pt x="2157" y="18098"/>
                    <a:pt x="2077" y="18086"/>
                  </a:cubicBezTo>
                  <a:cubicBezTo>
                    <a:pt x="1923" y="18061"/>
                    <a:pt x="1745" y="18031"/>
                    <a:pt x="1660" y="18011"/>
                  </a:cubicBezTo>
                  <a:cubicBezTo>
                    <a:pt x="1647" y="18008"/>
                    <a:pt x="1635" y="18004"/>
                    <a:pt x="1623" y="18000"/>
                  </a:cubicBezTo>
                  <a:cubicBezTo>
                    <a:pt x="1262" y="18000"/>
                    <a:pt x="1262" y="18000"/>
                    <a:pt x="1262" y="18000"/>
                  </a:cubicBezTo>
                  <a:cubicBezTo>
                    <a:pt x="1373" y="18066"/>
                    <a:pt x="1481" y="18125"/>
                    <a:pt x="1625" y="18159"/>
                  </a:cubicBezTo>
                  <a:cubicBezTo>
                    <a:pt x="1721" y="18181"/>
                    <a:pt x="1897" y="18211"/>
                    <a:pt x="2053" y="18236"/>
                  </a:cubicBezTo>
                  <a:cubicBezTo>
                    <a:pt x="2174" y="18255"/>
                    <a:pt x="2294" y="18274"/>
                    <a:pt x="2341" y="18281"/>
                  </a:cubicBezTo>
                  <a:cubicBezTo>
                    <a:pt x="2355" y="18304"/>
                    <a:pt x="2372" y="18325"/>
                    <a:pt x="2391" y="18343"/>
                  </a:cubicBezTo>
                  <a:cubicBezTo>
                    <a:pt x="2371" y="18370"/>
                    <a:pt x="2329" y="18424"/>
                    <a:pt x="2278" y="18490"/>
                  </a:cubicBezTo>
                  <a:cubicBezTo>
                    <a:pt x="2204" y="18584"/>
                    <a:pt x="2112" y="18701"/>
                    <a:pt x="2035" y="18788"/>
                  </a:cubicBezTo>
                  <a:cubicBezTo>
                    <a:pt x="1986" y="18846"/>
                    <a:pt x="1939" y="18894"/>
                    <a:pt x="1923" y="18906"/>
                  </a:cubicBezTo>
                  <a:cubicBezTo>
                    <a:pt x="1916" y="18911"/>
                    <a:pt x="1895" y="18923"/>
                    <a:pt x="1868" y="18937"/>
                  </a:cubicBezTo>
                  <a:cubicBezTo>
                    <a:pt x="1840" y="18952"/>
                    <a:pt x="1805" y="18968"/>
                    <a:pt x="1764" y="18987"/>
                  </a:cubicBezTo>
                  <a:cubicBezTo>
                    <a:pt x="1683" y="19023"/>
                    <a:pt x="1581" y="19066"/>
                    <a:pt x="1476" y="19109"/>
                  </a:cubicBezTo>
                  <a:cubicBezTo>
                    <a:pt x="1265" y="19195"/>
                    <a:pt x="1038" y="19282"/>
                    <a:pt x="921" y="19329"/>
                  </a:cubicBezTo>
                  <a:cubicBezTo>
                    <a:pt x="684" y="19422"/>
                    <a:pt x="346" y="19579"/>
                    <a:pt x="344" y="19580"/>
                  </a:cubicBezTo>
                  <a:cubicBezTo>
                    <a:pt x="344" y="19580"/>
                    <a:pt x="208" y="19645"/>
                    <a:pt x="4" y="19743"/>
                  </a:cubicBezTo>
                  <a:cubicBezTo>
                    <a:pt x="4" y="19913"/>
                    <a:pt x="4" y="19913"/>
                    <a:pt x="4" y="19913"/>
                  </a:cubicBezTo>
                  <a:cubicBezTo>
                    <a:pt x="28" y="19901"/>
                    <a:pt x="51" y="19890"/>
                    <a:pt x="73" y="19880"/>
                  </a:cubicBezTo>
                  <a:cubicBezTo>
                    <a:pt x="275" y="19782"/>
                    <a:pt x="409" y="19718"/>
                    <a:pt x="409" y="19718"/>
                  </a:cubicBezTo>
                  <a:cubicBezTo>
                    <a:pt x="410" y="19718"/>
                    <a:pt x="445" y="19701"/>
                    <a:pt x="500" y="19676"/>
                  </a:cubicBezTo>
                  <a:cubicBezTo>
                    <a:pt x="517" y="19711"/>
                    <a:pt x="546" y="19775"/>
                    <a:pt x="583" y="19857"/>
                  </a:cubicBezTo>
                  <a:cubicBezTo>
                    <a:pt x="641" y="19984"/>
                    <a:pt x="719" y="20155"/>
                    <a:pt x="797" y="20329"/>
                  </a:cubicBezTo>
                  <a:cubicBezTo>
                    <a:pt x="955" y="20675"/>
                    <a:pt x="1117" y="21033"/>
                    <a:pt x="1132" y="21071"/>
                  </a:cubicBezTo>
                  <a:cubicBezTo>
                    <a:pt x="1146" y="21105"/>
                    <a:pt x="1191" y="21265"/>
                    <a:pt x="1235" y="21438"/>
                  </a:cubicBezTo>
                  <a:cubicBezTo>
                    <a:pt x="1248" y="21491"/>
                    <a:pt x="1261" y="21546"/>
                    <a:pt x="1274" y="21600"/>
                  </a:cubicBezTo>
                  <a:cubicBezTo>
                    <a:pt x="1341" y="21600"/>
                    <a:pt x="1341" y="21600"/>
                    <a:pt x="1341" y="21600"/>
                  </a:cubicBezTo>
                  <a:cubicBezTo>
                    <a:pt x="1328" y="21541"/>
                    <a:pt x="1313" y="21481"/>
                    <a:pt x="1298" y="21422"/>
                  </a:cubicBezTo>
                  <a:cubicBezTo>
                    <a:pt x="1254" y="21246"/>
                    <a:pt x="1210" y="21091"/>
                    <a:pt x="1193" y="21046"/>
                  </a:cubicBezTo>
                  <a:cubicBezTo>
                    <a:pt x="1176" y="21004"/>
                    <a:pt x="1015" y="20649"/>
                    <a:pt x="857" y="20301"/>
                  </a:cubicBezTo>
                  <a:cubicBezTo>
                    <a:pt x="835" y="20252"/>
                    <a:pt x="813" y="20204"/>
                    <a:pt x="791" y="20156"/>
                  </a:cubicBezTo>
                  <a:cubicBezTo>
                    <a:pt x="2318" y="19770"/>
                    <a:pt x="2318" y="19770"/>
                    <a:pt x="2318" y="19770"/>
                  </a:cubicBezTo>
                  <a:cubicBezTo>
                    <a:pt x="2326" y="19811"/>
                    <a:pt x="2335" y="19847"/>
                    <a:pt x="2346" y="19872"/>
                  </a:cubicBezTo>
                  <a:cubicBezTo>
                    <a:pt x="2377" y="19937"/>
                    <a:pt x="2450" y="19969"/>
                    <a:pt x="2534" y="19969"/>
                  </a:cubicBezTo>
                  <a:cubicBezTo>
                    <a:pt x="2534" y="19969"/>
                    <a:pt x="2535" y="19969"/>
                    <a:pt x="2535" y="19969"/>
                  </a:cubicBezTo>
                  <a:cubicBezTo>
                    <a:pt x="2541" y="19969"/>
                    <a:pt x="2546" y="19968"/>
                    <a:pt x="2552" y="19968"/>
                  </a:cubicBezTo>
                  <a:cubicBezTo>
                    <a:pt x="2590" y="19966"/>
                    <a:pt x="2652" y="19965"/>
                    <a:pt x="2719" y="19962"/>
                  </a:cubicBezTo>
                  <a:cubicBezTo>
                    <a:pt x="2824" y="20460"/>
                    <a:pt x="2824" y="20460"/>
                    <a:pt x="2824" y="20460"/>
                  </a:cubicBezTo>
                  <a:cubicBezTo>
                    <a:pt x="2824" y="20461"/>
                    <a:pt x="2824" y="20461"/>
                    <a:pt x="2824" y="20462"/>
                  </a:cubicBezTo>
                  <a:cubicBezTo>
                    <a:pt x="2824" y="20468"/>
                    <a:pt x="2825" y="20473"/>
                    <a:pt x="2828" y="20477"/>
                  </a:cubicBezTo>
                  <a:cubicBezTo>
                    <a:pt x="3048" y="21519"/>
                    <a:pt x="3048" y="21519"/>
                    <a:pt x="3048" y="21519"/>
                  </a:cubicBezTo>
                  <a:cubicBezTo>
                    <a:pt x="1526" y="21600"/>
                    <a:pt x="1526" y="21600"/>
                    <a:pt x="1526" y="21600"/>
                  </a:cubicBezTo>
                  <a:cubicBezTo>
                    <a:pt x="2371" y="21600"/>
                    <a:pt x="2371" y="21600"/>
                    <a:pt x="2371" y="21600"/>
                  </a:cubicBezTo>
                  <a:cubicBezTo>
                    <a:pt x="3057" y="21564"/>
                    <a:pt x="3057" y="21564"/>
                    <a:pt x="3057" y="21564"/>
                  </a:cubicBezTo>
                  <a:cubicBezTo>
                    <a:pt x="3065" y="21600"/>
                    <a:pt x="3065" y="21600"/>
                    <a:pt x="3065" y="21600"/>
                  </a:cubicBezTo>
                  <a:cubicBezTo>
                    <a:pt x="3132" y="21600"/>
                    <a:pt x="3132" y="21600"/>
                    <a:pt x="3132" y="21600"/>
                  </a:cubicBezTo>
                  <a:cubicBezTo>
                    <a:pt x="3127" y="21577"/>
                    <a:pt x="3127" y="21577"/>
                    <a:pt x="3127" y="21577"/>
                  </a:cubicBezTo>
                  <a:cubicBezTo>
                    <a:pt x="3174" y="21578"/>
                    <a:pt x="3260" y="21579"/>
                    <a:pt x="3347" y="21580"/>
                  </a:cubicBezTo>
                  <a:cubicBezTo>
                    <a:pt x="3476" y="21581"/>
                    <a:pt x="3609" y="21583"/>
                    <a:pt x="3620" y="21585"/>
                  </a:cubicBezTo>
                  <a:cubicBezTo>
                    <a:pt x="3624" y="21586"/>
                    <a:pt x="3648" y="21592"/>
                    <a:pt x="3680" y="21600"/>
                  </a:cubicBezTo>
                  <a:cubicBezTo>
                    <a:pt x="3738" y="21600"/>
                    <a:pt x="3738" y="21600"/>
                    <a:pt x="3738" y="21600"/>
                  </a:cubicBezTo>
                  <a:cubicBezTo>
                    <a:pt x="3677" y="21585"/>
                    <a:pt x="3626" y="21572"/>
                    <a:pt x="3624" y="21571"/>
                  </a:cubicBezTo>
                  <a:cubicBezTo>
                    <a:pt x="3619" y="21570"/>
                    <a:pt x="3612" y="21570"/>
                    <a:pt x="3597" y="21570"/>
                  </a:cubicBezTo>
                  <a:cubicBezTo>
                    <a:pt x="3581" y="21569"/>
                    <a:pt x="3560" y="21569"/>
                    <a:pt x="3535" y="21569"/>
                  </a:cubicBezTo>
                  <a:cubicBezTo>
                    <a:pt x="3485" y="21568"/>
                    <a:pt x="3419" y="21567"/>
                    <a:pt x="3353" y="21566"/>
                  </a:cubicBezTo>
                  <a:cubicBezTo>
                    <a:pt x="3262" y="21565"/>
                    <a:pt x="3171" y="21564"/>
                    <a:pt x="3124" y="21563"/>
                  </a:cubicBezTo>
                  <a:cubicBezTo>
                    <a:pt x="3084" y="21374"/>
                    <a:pt x="3084" y="21374"/>
                    <a:pt x="3084" y="21374"/>
                  </a:cubicBezTo>
                  <a:cubicBezTo>
                    <a:pt x="3585" y="21366"/>
                    <a:pt x="3585" y="21366"/>
                    <a:pt x="3585" y="21366"/>
                  </a:cubicBezTo>
                  <a:cubicBezTo>
                    <a:pt x="3608" y="21376"/>
                    <a:pt x="3933" y="21505"/>
                    <a:pt x="3973" y="21520"/>
                  </a:cubicBezTo>
                  <a:cubicBezTo>
                    <a:pt x="3973" y="21539"/>
                    <a:pt x="3973" y="21552"/>
                    <a:pt x="3973" y="21555"/>
                  </a:cubicBezTo>
                  <a:cubicBezTo>
                    <a:pt x="3962" y="21600"/>
                    <a:pt x="3962" y="21600"/>
                    <a:pt x="3962" y="21600"/>
                  </a:cubicBezTo>
                  <a:cubicBezTo>
                    <a:pt x="3976" y="21600"/>
                    <a:pt x="3976" y="21600"/>
                    <a:pt x="3976" y="21600"/>
                  </a:cubicBezTo>
                  <a:cubicBezTo>
                    <a:pt x="3986" y="21557"/>
                    <a:pt x="3986" y="21557"/>
                    <a:pt x="3986" y="21557"/>
                  </a:cubicBezTo>
                  <a:cubicBezTo>
                    <a:pt x="3986" y="21556"/>
                    <a:pt x="3986" y="21556"/>
                    <a:pt x="3986" y="21556"/>
                  </a:cubicBezTo>
                  <a:cubicBezTo>
                    <a:pt x="3986" y="21556"/>
                    <a:pt x="3987" y="21544"/>
                    <a:pt x="3987" y="21523"/>
                  </a:cubicBezTo>
                  <a:cubicBezTo>
                    <a:pt x="4022" y="21529"/>
                    <a:pt x="4150" y="21546"/>
                    <a:pt x="4278" y="21563"/>
                  </a:cubicBezTo>
                  <a:cubicBezTo>
                    <a:pt x="4398" y="21578"/>
                    <a:pt x="4518" y="21594"/>
                    <a:pt x="4558" y="21599"/>
                  </a:cubicBezTo>
                  <a:cubicBezTo>
                    <a:pt x="4558" y="21600"/>
                    <a:pt x="4558" y="21600"/>
                    <a:pt x="4558" y="21600"/>
                  </a:cubicBezTo>
                  <a:cubicBezTo>
                    <a:pt x="4711" y="21600"/>
                    <a:pt x="4711" y="21600"/>
                    <a:pt x="4711" y="21600"/>
                  </a:cubicBezTo>
                  <a:cubicBezTo>
                    <a:pt x="4927" y="19907"/>
                    <a:pt x="4927" y="19907"/>
                    <a:pt x="4927" y="19907"/>
                  </a:cubicBezTo>
                  <a:cubicBezTo>
                    <a:pt x="4991" y="19895"/>
                    <a:pt x="4991" y="19895"/>
                    <a:pt x="4991" y="19895"/>
                  </a:cubicBezTo>
                  <a:cubicBezTo>
                    <a:pt x="4980" y="19986"/>
                    <a:pt x="4959" y="20149"/>
                    <a:pt x="4932" y="20362"/>
                  </a:cubicBezTo>
                  <a:cubicBezTo>
                    <a:pt x="4891" y="20688"/>
                    <a:pt x="4835" y="21129"/>
                    <a:pt x="4775" y="21600"/>
                  </a:cubicBezTo>
                  <a:cubicBezTo>
                    <a:pt x="4929" y="21600"/>
                    <a:pt x="4929" y="21600"/>
                    <a:pt x="4929" y="21600"/>
                  </a:cubicBezTo>
                  <a:cubicBezTo>
                    <a:pt x="4936" y="21547"/>
                    <a:pt x="4942" y="21495"/>
                    <a:pt x="4949" y="21443"/>
                  </a:cubicBezTo>
                  <a:cubicBezTo>
                    <a:pt x="5519" y="21527"/>
                    <a:pt x="5519" y="21527"/>
                    <a:pt x="5519" y="21527"/>
                  </a:cubicBezTo>
                  <a:cubicBezTo>
                    <a:pt x="5511" y="21600"/>
                    <a:pt x="5511" y="21600"/>
                    <a:pt x="5511" y="21600"/>
                  </a:cubicBezTo>
                  <a:cubicBezTo>
                    <a:pt x="5577" y="21600"/>
                    <a:pt x="5577" y="21600"/>
                    <a:pt x="5577" y="21600"/>
                  </a:cubicBezTo>
                  <a:cubicBezTo>
                    <a:pt x="5579" y="21579"/>
                    <a:pt x="5579" y="21579"/>
                    <a:pt x="5579" y="21579"/>
                  </a:cubicBezTo>
                  <a:cubicBezTo>
                    <a:pt x="5583" y="21580"/>
                    <a:pt x="5586" y="21580"/>
                    <a:pt x="5590" y="21581"/>
                  </a:cubicBezTo>
                  <a:cubicBezTo>
                    <a:pt x="5611" y="21584"/>
                    <a:pt x="5640" y="21589"/>
                    <a:pt x="5674" y="21594"/>
                  </a:cubicBezTo>
                  <a:cubicBezTo>
                    <a:pt x="5688" y="21596"/>
                    <a:pt x="5704" y="21598"/>
                    <a:pt x="5719" y="21600"/>
                  </a:cubicBezTo>
                  <a:cubicBezTo>
                    <a:pt x="6047" y="21600"/>
                    <a:pt x="6047" y="21600"/>
                    <a:pt x="6047" y="21600"/>
                  </a:cubicBezTo>
                  <a:cubicBezTo>
                    <a:pt x="5929" y="21584"/>
                    <a:pt x="5790" y="21565"/>
                    <a:pt x="5690" y="21551"/>
                  </a:cubicBezTo>
                  <a:cubicBezTo>
                    <a:pt x="5644" y="21544"/>
                    <a:pt x="5606" y="21538"/>
                    <a:pt x="5584" y="21534"/>
                  </a:cubicBezTo>
                  <a:cubicBezTo>
                    <a:pt x="5737" y="20024"/>
                    <a:pt x="5737" y="20024"/>
                    <a:pt x="5737" y="20024"/>
                  </a:cubicBezTo>
                  <a:cubicBezTo>
                    <a:pt x="5864" y="20028"/>
                    <a:pt x="6370" y="20046"/>
                    <a:pt x="6834" y="20063"/>
                  </a:cubicBezTo>
                  <a:cubicBezTo>
                    <a:pt x="6295" y="21600"/>
                    <a:pt x="6295" y="21600"/>
                    <a:pt x="6295" y="21600"/>
                  </a:cubicBezTo>
                  <a:cubicBezTo>
                    <a:pt x="6343" y="21600"/>
                    <a:pt x="6343" y="21600"/>
                    <a:pt x="6343" y="21600"/>
                  </a:cubicBezTo>
                  <a:cubicBezTo>
                    <a:pt x="6882" y="20065"/>
                    <a:pt x="6882" y="20065"/>
                    <a:pt x="6882" y="20065"/>
                  </a:cubicBezTo>
                  <a:cubicBezTo>
                    <a:pt x="7280" y="20079"/>
                    <a:pt x="7636" y="20092"/>
                    <a:pt x="7676" y="20093"/>
                  </a:cubicBezTo>
                  <a:cubicBezTo>
                    <a:pt x="7676" y="20093"/>
                    <a:pt x="7677" y="20093"/>
                    <a:pt x="7677" y="20093"/>
                  </a:cubicBezTo>
                  <a:cubicBezTo>
                    <a:pt x="7678" y="20093"/>
                    <a:pt x="7679" y="20093"/>
                    <a:pt x="7679" y="20093"/>
                  </a:cubicBezTo>
                  <a:cubicBezTo>
                    <a:pt x="7680" y="20094"/>
                    <a:pt x="7682" y="20094"/>
                    <a:pt x="7683" y="20094"/>
                  </a:cubicBezTo>
                  <a:cubicBezTo>
                    <a:pt x="7687" y="20094"/>
                    <a:pt x="7691" y="20094"/>
                    <a:pt x="7697" y="20094"/>
                  </a:cubicBezTo>
                  <a:cubicBezTo>
                    <a:pt x="7702" y="20094"/>
                    <a:pt x="7708" y="20095"/>
                    <a:pt x="7714" y="20095"/>
                  </a:cubicBezTo>
                  <a:cubicBezTo>
                    <a:pt x="7416" y="21445"/>
                    <a:pt x="7416" y="21445"/>
                    <a:pt x="7416" y="21445"/>
                  </a:cubicBezTo>
                  <a:cubicBezTo>
                    <a:pt x="7415" y="21447"/>
                    <a:pt x="7412" y="21460"/>
                    <a:pt x="7412" y="21479"/>
                  </a:cubicBezTo>
                  <a:cubicBezTo>
                    <a:pt x="7412" y="21508"/>
                    <a:pt x="7420" y="21555"/>
                    <a:pt x="7455" y="21600"/>
                  </a:cubicBezTo>
                  <a:cubicBezTo>
                    <a:pt x="7550" y="21600"/>
                    <a:pt x="7550" y="21600"/>
                    <a:pt x="7550" y="21600"/>
                  </a:cubicBezTo>
                  <a:cubicBezTo>
                    <a:pt x="7536" y="21591"/>
                    <a:pt x="7525" y="21581"/>
                    <a:pt x="7516" y="21571"/>
                  </a:cubicBezTo>
                  <a:cubicBezTo>
                    <a:pt x="7483" y="21535"/>
                    <a:pt x="7478" y="21500"/>
                    <a:pt x="7478" y="21479"/>
                  </a:cubicBezTo>
                  <a:cubicBezTo>
                    <a:pt x="7478" y="21470"/>
                    <a:pt x="7479" y="21463"/>
                    <a:pt x="7479" y="21462"/>
                  </a:cubicBezTo>
                  <a:cubicBezTo>
                    <a:pt x="7479" y="21462"/>
                    <a:pt x="7479" y="21461"/>
                    <a:pt x="7480" y="21460"/>
                  </a:cubicBezTo>
                  <a:cubicBezTo>
                    <a:pt x="7780" y="20099"/>
                    <a:pt x="7780" y="20099"/>
                    <a:pt x="7780" y="20099"/>
                  </a:cubicBezTo>
                  <a:cubicBezTo>
                    <a:pt x="7810" y="20101"/>
                    <a:pt x="7841" y="20104"/>
                    <a:pt x="7868" y="20108"/>
                  </a:cubicBezTo>
                  <a:cubicBezTo>
                    <a:pt x="7933" y="20117"/>
                    <a:pt x="9332" y="20325"/>
                    <a:pt x="10026" y="20429"/>
                  </a:cubicBezTo>
                  <a:cubicBezTo>
                    <a:pt x="10258" y="20463"/>
                    <a:pt x="10411" y="20486"/>
                    <a:pt x="10411" y="20486"/>
                  </a:cubicBezTo>
                  <a:cubicBezTo>
                    <a:pt x="10412" y="20486"/>
                    <a:pt x="10412" y="20486"/>
                    <a:pt x="10412" y="20486"/>
                  </a:cubicBezTo>
                  <a:cubicBezTo>
                    <a:pt x="10414" y="20486"/>
                    <a:pt x="10414" y="20486"/>
                    <a:pt x="10414" y="20486"/>
                  </a:cubicBezTo>
                  <a:cubicBezTo>
                    <a:pt x="10414" y="20486"/>
                    <a:pt x="10415" y="20486"/>
                    <a:pt x="10420" y="20487"/>
                  </a:cubicBezTo>
                  <a:cubicBezTo>
                    <a:pt x="10424" y="20488"/>
                    <a:pt x="10430" y="20488"/>
                    <a:pt x="10439" y="20490"/>
                  </a:cubicBezTo>
                  <a:cubicBezTo>
                    <a:pt x="10455" y="20492"/>
                    <a:pt x="10480" y="20497"/>
                    <a:pt x="10508" y="20503"/>
                  </a:cubicBezTo>
                  <a:cubicBezTo>
                    <a:pt x="10566" y="20516"/>
                    <a:pt x="10642" y="20537"/>
                    <a:pt x="10713" y="20569"/>
                  </a:cubicBezTo>
                  <a:cubicBezTo>
                    <a:pt x="10786" y="20602"/>
                    <a:pt x="10969" y="20699"/>
                    <a:pt x="11148" y="20799"/>
                  </a:cubicBezTo>
                  <a:cubicBezTo>
                    <a:pt x="11327" y="20899"/>
                    <a:pt x="11507" y="21002"/>
                    <a:pt x="11579" y="21047"/>
                  </a:cubicBezTo>
                  <a:cubicBezTo>
                    <a:pt x="12441" y="21600"/>
                    <a:pt x="12441" y="21600"/>
                    <a:pt x="12441" y="21600"/>
                  </a:cubicBezTo>
                  <a:cubicBezTo>
                    <a:pt x="12718" y="21600"/>
                    <a:pt x="12718" y="21600"/>
                    <a:pt x="12718" y="21600"/>
                  </a:cubicBezTo>
                  <a:cubicBezTo>
                    <a:pt x="12699" y="21587"/>
                    <a:pt x="12699" y="21587"/>
                    <a:pt x="12699" y="21587"/>
                  </a:cubicBezTo>
                  <a:cubicBezTo>
                    <a:pt x="12960" y="21043"/>
                    <a:pt x="13191" y="20549"/>
                    <a:pt x="13252" y="20418"/>
                  </a:cubicBezTo>
                  <a:cubicBezTo>
                    <a:pt x="13257" y="20421"/>
                    <a:pt x="13262" y="20424"/>
                    <a:pt x="13266" y="20427"/>
                  </a:cubicBezTo>
                  <a:cubicBezTo>
                    <a:pt x="13326" y="20464"/>
                    <a:pt x="13397" y="20523"/>
                    <a:pt x="13446" y="20609"/>
                  </a:cubicBezTo>
                  <a:cubicBezTo>
                    <a:pt x="13499" y="20701"/>
                    <a:pt x="13538" y="20766"/>
                    <a:pt x="13592" y="20822"/>
                  </a:cubicBezTo>
                  <a:cubicBezTo>
                    <a:pt x="13647" y="20878"/>
                    <a:pt x="13714" y="20921"/>
                    <a:pt x="13820" y="20969"/>
                  </a:cubicBezTo>
                  <a:cubicBezTo>
                    <a:pt x="14027" y="21062"/>
                    <a:pt x="15218" y="21563"/>
                    <a:pt x="15273" y="21585"/>
                  </a:cubicBezTo>
                  <a:cubicBezTo>
                    <a:pt x="15273" y="21585"/>
                    <a:pt x="15274" y="21586"/>
                    <a:pt x="15275" y="21587"/>
                  </a:cubicBezTo>
                  <a:cubicBezTo>
                    <a:pt x="15278" y="21588"/>
                    <a:pt x="15281" y="21591"/>
                    <a:pt x="15286" y="21594"/>
                  </a:cubicBezTo>
                  <a:cubicBezTo>
                    <a:pt x="15289" y="21596"/>
                    <a:pt x="15292" y="21598"/>
                    <a:pt x="15295" y="21600"/>
                  </a:cubicBezTo>
                  <a:cubicBezTo>
                    <a:pt x="15408" y="21600"/>
                    <a:pt x="15408" y="21600"/>
                    <a:pt x="15408" y="21600"/>
                  </a:cubicBezTo>
                  <a:cubicBezTo>
                    <a:pt x="15364" y="21568"/>
                    <a:pt x="15329" y="21543"/>
                    <a:pt x="15312" y="21532"/>
                  </a:cubicBezTo>
                  <a:cubicBezTo>
                    <a:pt x="15307" y="21529"/>
                    <a:pt x="15305" y="21528"/>
                    <a:pt x="15299" y="21525"/>
                  </a:cubicBezTo>
                  <a:cubicBezTo>
                    <a:pt x="15280" y="21517"/>
                    <a:pt x="14054" y="21002"/>
                    <a:pt x="13847" y="20909"/>
                  </a:cubicBezTo>
                  <a:cubicBezTo>
                    <a:pt x="13745" y="20863"/>
                    <a:pt x="13686" y="20825"/>
                    <a:pt x="13639" y="20777"/>
                  </a:cubicBezTo>
                  <a:cubicBezTo>
                    <a:pt x="13593" y="20729"/>
                    <a:pt x="13556" y="20668"/>
                    <a:pt x="13503" y="20576"/>
                  </a:cubicBezTo>
                  <a:cubicBezTo>
                    <a:pt x="13439" y="20466"/>
                    <a:pt x="13347" y="20397"/>
                    <a:pt x="13278" y="20357"/>
                  </a:cubicBezTo>
                  <a:cubicBezTo>
                    <a:pt x="13978" y="18345"/>
                    <a:pt x="13978" y="18345"/>
                    <a:pt x="13978" y="18345"/>
                  </a:cubicBezTo>
                  <a:cubicBezTo>
                    <a:pt x="14414" y="18392"/>
                    <a:pt x="14414" y="18392"/>
                    <a:pt x="14414" y="18392"/>
                  </a:cubicBezTo>
                  <a:cubicBezTo>
                    <a:pt x="14414" y="18392"/>
                    <a:pt x="14415" y="18393"/>
                    <a:pt x="14416" y="18393"/>
                  </a:cubicBezTo>
                  <a:cubicBezTo>
                    <a:pt x="14420" y="18396"/>
                    <a:pt x="14427" y="18399"/>
                    <a:pt x="14435" y="18403"/>
                  </a:cubicBezTo>
                  <a:cubicBezTo>
                    <a:pt x="14451" y="18411"/>
                    <a:pt x="14475" y="18423"/>
                    <a:pt x="14505" y="18438"/>
                  </a:cubicBezTo>
                  <a:cubicBezTo>
                    <a:pt x="14565" y="18468"/>
                    <a:pt x="14651" y="18510"/>
                    <a:pt x="14754" y="18561"/>
                  </a:cubicBezTo>
                  <a:cubicBezTo>
                    <a:pt x="14960" y="18664"/>
                    <a:pt x="15233" y="18801"/>
                    <a:pt x="15505" y="18946"/>
                  </a:cubicBezTo>
                  <a:cubicBezTo>
                    <a:pt x="15744" y="19073"/>
                    <a:pt x="15982" y="19215"/>
                    <a:pt x="16172" y="19327"/>
                  </a:cubicBezTo>
                  <a:cubicBezTo>
                    <a:pt x="16639" y="19603"/>
                    <a:pt x="17019" y="19978"/>
                    <a:pt x="17179" y="20148"/>
                  </a:cubicBezTo>
                  <a:cubicBezTo>
                    <a:pt x="17232" y="20205"/>
                    <a:pt x="17261" y="20238"/>
                    <a:pt x="17261" y="20238"/>
                  </a:cubicBezTo>
                  <a:cubicBezTo>
                    <a:pt x="17262" y="20239"/>
                    <a:pt x="17262" y="20239"/>
                    <a:pt x="17262" y="20239"/>
                  </a:cubicBezTo>
                  <a:cubicBezTo>
                    <a:pt x="17262" y="20239"/>
                    <a:pt x="17262" y="20239"/>
                    <a:pt x="17262" y="20239"/>
                  </a:cubicBezTo>
                  <a:cubicBezTo>
                    <a:pt x="17294" y="20273"/>
                    <a:pt x="17334" y="20319"/>
                    <a:pt x="17383" y="20370"/>
                  </a:cubicBezTo>
                  <a:cubicBezTo>
                    <a:pt x="17357" y="20394"/>
                    <a:pt x="17264" y="20479"/>
                    <a:pt x="17164" y="20592"/>
                  </a:cubicBezTo>
                  <a:cubicBezTo>
                    <a:pt x="17046" y="20726"/>
                    <a:pt x="16917" y="20896"/>
                    <a:pt x="16875" y="21058"/>
                  </a:cubicBezTo>
                  <a:cubicBezTo>
                    <a:pt x="16835" y="21214"/>
                    <a:pt x="16840" y="21342"/>
                    <a:pt x="16810" y="21455"/>
                  </a:cubicBezTo>
                  <a:cubicBezTo>
                    <a:pt x="16797" y="21505"/>
                    <a:pt x="16779" y="21552"/>
                    <a:pt x="16747" y="21600"/>
                  </a:cubicBezTo>
                  <a:cubicBezTo>
                    <a:pt x="16823" y="21600"/>
                    <a:pt x="16823" y="21600"/>
                    <a:pt x="16823" y="21600"/>
                  </a:cubicBezTo>
                  <a:cubicBezTo>
                    <a:pt x="16847" y="21558"/>
                    <a:pt x="16863" y="21515"/>
                    <a:pt x="16874" y="21471"/>
                  </a:cubicBezTo>
                  <a:cubicBezTo>
                    <a:pt x="16906" y="21345"/>
                    <a:pt x="16901" y="21220"/>
                    <a:pt x="16938" y="21074"/>
                  </a:cubicBezTo>
                  <a:cubicBezTo>
                    <a:pt x="16991" y="20862"/>
                    <a:pt x="17244" y="20593"/>
                    <a:pt x="17367" y="20475"/>
                  </a:cubicBezTo>
                  <a:cubicBezTo>
                    <a:pt x="17399" y="20445"/>
                    <a:pt x="17421" y="20425"/>
                    <a:pt x="17429" y="20417"/>
                  </a:cubicBezTo>
                  <a:cubicBezTo>
                    <a:pt x="17559" y="20545"/>
                    <a:pt x="17744" y="20698"/>
                    <a:pt x="18008" y="20813"/>
                  </a:cubicBezTo>
                  <a:cubicBezTo>
                    <a:pt x="18008" y="20741"/>
                    <a:pt x="18008" y="20741"/>
                    <a:pt x="18008" y="20741"/>
                  </a:cubicBezTo>
                  <a:cubicBezTo>
                    <a:pt x="17771" y="20633"/>
                    <a:pt x="17602" y="20495"/>
                    <a:pt x="17481" y="20376"/>
                  </a:cubicBezTo>
                  <a:cubicBezTo>
                    <a:pt x="17575" y="20300"/>
                    <a:pt x="17793" y="20125"/>
                    <a:pt x="18008" y="19949"/>
                  </a:cubicBezTo>
                  <a:lnTo>
                    <a:pt x="18008" y="19864"/>
                  </a:lnTo>
                  <a:close/>
                  <a:moveTo>
                    <a:pt x="2977" y="18242"/>
                  </a:moveTo>
                  <a:cubicBezTo>
                    <a:pt x="2979" y="18243"/>
                    <a:pt x="2982" y="18244"/>
                    <a:pt x="2984" y="18246"/>
                  </a:cubicBezTo>
                  <a:cubicBezTo>
                    <a:pt x="3014" y="18263"/>
                    <a:pt x="3056" y="18286"/>
                    <a:pt x="3103" y="18314"/>
                  </a:cubicBezTo>
                  <a:cubicBezTo>
                    <a:pt x="3198" y="18370"/>
                    <a:pt x="3316" y="18442"/>
                    <a:pt x="3403" y="18507"/>
                  </a:cubicBezTo>
                  <a:cubicBezTo>
                    <a:pt x="3461" y="18549"/>
                    <a:pt x="3507" y="18592"/>
                    <a:pt x="3518" y="18609"/>
                  </a:cubicBezTo>
                  <a:cubicBezTo>
                    <a:pt x="3548" y="18655"/>
                    <a:pt x="3573" y="18731"/>
                    <a:pt x="3587" y="18806"/>
                  </a:cubicBezTo>
                  <a:cubicBezTo>
                    <a:pt x="3601" y="18876"/>
                    <a:pt x="3607" y="18946"/>
                    <a:pt x="3607" y="18991"/>
                  </a:cubicBezTo>
                  <a:cubicBezTo>
                    <a:pt x="3606" y="18987"/>
                    <a:pt x="3605" y="18984"/>
                    <a:pt x="3604" y="18982"/>
                  </a:cubicBezTo>
                  <a:cubicBezTo>
                    <a:pt x="3591" y="18945"/>
                    <a:pt x="3567" y="18880"/>
                    <a:pt x="3542" y="18815"/>
                  </a:cubicBezTo>
                  <a:cubicBezTo>
                    <a:pt x="3516" y="18749"/>
                    <a:pt x="3489" y="18685"/>
                    <a:pt x="3467" y="18645"/>
                  </a:cubicBezTo>
                  <a:cubicBezTo>
                    <a:pt x="3427" y="18571"/>
                    <a:pt x="3377" y="18504"/>
                    <a:pt x="3307" y="18458"/>
                  </a:cubicBezTo>
                  <a:cubicBezTo>
                    <a:pt x="3286" y="18444"/>
                    <a:pt x="3256" y="18428"/>
                    <a:pt x="3215" y="18408"/>
                  </a:cubicBezTo>
                  <a:cubicBezTo>
                    <a:pt x="3175" y="18387"/>
                    <a:pt x="3128" y="18364"/>
                    <a:pt x="3082" y="18342"/>
                  </a:cubicBezTo>
                  <a:cubicBezTo>
                    <a:pt x="3034" y="18319"/>
                    <a:pt x="2987" y="18297"/>
                    <a:pt x="2955" y="18281"/>
                  </a:cubicBezTo>
                  <a:cubicBezTo>
                    <a:pt x="2963" y="18268"/>
                    <a:pt x="2970" y="18255"/>
                    <a:pt x="2977" y="18242"/>
                  </a:cubicBezTo>
                  <a:close/>
                  <a:moveTo>
                    <a:pt x="2289" y="19567"/>
                  </a:moveTo>
                  <a:cubicBezTo>
                    <a:pt x="2289" y="19570"/>
                    <a:pt x="2289" y="19575"/>
                    <a:pt x="2290" y="19579"/>
                  </a:cubicBezTo>
                  <a:cubicBezTo>
                    <a:pt x="2292" y="19604"/>
                    <a:pt x="2298" y="19654"/>
                    <a:pt x="2306" y="19706"/>
                  </a:cubicBezTo>
                  <a:cubicBezTo>
                    <a:pt x="763" y="20095"/>
                    <a:pt x="763" y="20095"/>
                    <a:pt x="763" y="20095"/>
                  </a:cubicBezTo>
                  <a:cubicBezTo>
                    <a:pt x="671" y="19892"/>
                    <a:pt x="592" y="19718"/>
                    <a:pt x="560" y="19649"/>
                  </a:cubicBezTo>
                  <a:cubicBezTo>
                    <a:pt x="575" y="19642"/>
                    <a:pt x="590" y="19635"/>
                    <a:pt x="607" y="19628"/>
                  </a:cubicBezTo>
                  <a:cubicBezTo>
                    <a:pt x="720" y="19578"/>
                    <a:pt x="862" y="19516"/>
                    <a:pt x="977" y="19471"/>
                  </a:cubicBezTo>
                  <a:cubicBezTo>
                    <a:pt x="1078" y="19430"/>
                    <a:pt x="1266" y="19358"/>
                    <a:pt x="1453" y="19283"/>
                  </a:cubicBezTo>
                  <a:cubicBezTo>
                    <a:pt x="1641" y="19207"/>
                    <a:pt x="1829" y="19129"/>
                    <a:pt x="1937" y="19073"/>
                  </a:cubicBezTo>
                  <a:cubicBezTo>
                    <a:pt x="1969" y="19057"/>
                    <a:pt x="1993" y="19043"/>
                    <a:pt x="2014" y="19028"/>
                  </a:cubicBezTo>
                  <a:cubicBezTo>
                    <a:pt x="2053" y="18998"/>
                    <a:pt x="2097" y="18950"/>
                    <a:pt x="2151" y="18888"/>
                  </a:cubicBezTo>
                  <a:cubicBezTo>
                    <a:pt x="2204" y="18827"/>
                    <a:pt x="2263" y="18755"/>
                    <a:pt x="2318" y="18685"/>
                  </a:cubicBezTo>
                  <a:cubicBezTo>
                    <a:pt x="2413" y="18567"/>
                    <a:pt x="2497" y="18456"/>
                    <a:pt x="2520" y="18425"/>
                  </a:cubicBezTo>
                  <a:cubicBezTo>
                    <a:pt x="2560" y="18440"/>
                    <a:pt x="2603" y="18449"/>
                    <a:pt x="2648" y="18449"/>
                  </a:cubicBezTo>
                  <a:cubicBezTo>
                    <a:pt x="2718" y="18449"/>
                    <a:pt x="2783" y="18429"/>
                    <a:pt x="2838" y="18395"/>
                  </a:cubicBezTo>
                  <a:cubicBezTo>
                    <a:pt x="2859" y="18405"/>
                    <a:pt x="2908" y="18428"/>
                    <a:pt x="2951" y="18448"/>
                  </a:cubicBezTo>
                  <a:cubicBezTo>
                    <a:pt x="3012" y="18477"/>
                    <a:pt x="3088" y="18514"/>
                    <a:pt x="3146" y="18544"/>
                  </a:cubicBezTo>
                  <a:cubicBezTo>
                    <a:pt x="3184" y="18563"/>
                    <a:pt x="3216" y="18580"/>
                    <a:pt x="3223" y="18585"/>
                  </a:cubicBezTo>
                  <a:cubicBezTo>
                    <a:pt x="3264" y="18612"/>
                    <a:pt x="3300" y="18656"/>
                    <a:pt x="3333" y="18718"/>
                  </a:cubicBezTo>
                  <a:cubicBezTo>
                    <a:pt x="3348" y="18744"/>
                    <a:pt x="3375" y="18808"/>
                    <a:pt x="3400" y="18871"/>
                  </a:cubicBezTo>
                  <a:cubicBezTo>
                    <a:pt x="3425" y="18934"/>
                    <a:pt x="3448" y="18998"/>
                    <a:pt x="3460" y="19032"/>
                  </a:cubicBezTo>
                  <a:cubicBezTo>
                    <a:pt x="3471" y="19062"/>
                    <a:pt x="3503" y="19144"/>
                    <a:pt x="3543" y="19243"/>
                  </a:cubicBezTo>
                  <a:cubicBezTo>
                    <a:pt x="3582" y="19341"/>
                    <a:pt x="3629" y="19453"/>
                    <a:pt x="3667" y="19540"/>
                  </a:cubicBezTo>
                  <a:cubicBezTo>
                    <a:pt x="3692" y="19598"/>
                    <a:pt x="3712" y="19641"/>
                    <a:pt x="3727" y="19668"/>
                  </a:cubicBezTo>
                  <a:cubicBezTo>
                    <a:pt x="3746" y="19700"/>
                    <a:pt x="3768" y="19737"/>
                    <a:pt x="3792" y="19774"/>
                  </a:cubicBezTo>
                  <a:cubicBezTo>
                    <a:pt x="3762" y="19783"/>
                    <a:pt x="3722" y="19796"/>
                    <a:pt x="3677" y="19808"/>
                  </a:cubicBezTo>
                  <a:cubicBezTo>
                    <a:pt x="3587" y="19834"/>
                    <a:pt x="3479" y="19859"/>
                    <a:pt x="3423" y="19859"/>
                  </a:cubicBezTo>
                  <a:cubicBezTo>
                    <a:pt x="3417" y="19859"/>
                    <a:pt x="3412" y="19858"/>
                    <a:pt x="3407" y="19858"/>
                  </a:cubicBezTo>
                  <a:cubicBezTo>
                    <a:pt x="3361" y="19853"/>
                    <a:pt x="3291" y="19835"/>
                    <a:pt x="3231" y="19817"/>
                  </a:cubicBezTo>
                  <a:cubicBezTo>
                    <a:pt x="3187" y="19803"/>
                    <a:pt x="3145" y="19788"/>
                    <a:pt x="3124" y="19780"/>
                  </a:cubicBezTo>
                  <a:cubicBezTo>
                    <a:pt x="3131" y="19767"/>
                    <a:pt x="3136" y="19753"/>
                    <a:pt x="3138" y="19740"/>
                  </a:cubicBezTo>
                  <a:cubicBezTo>
                    <a:pt x="3141" y="19723"/>
                    <a:pt x="3142" y="19703"/>
                    <a:pt x="3142" y="19682"/>
                  </a:cubicBezTo>
                  <a:cubicBezTo>
                    <a:pt x="3141" y="19615"/>
                    <a:pt x="3133" y="19533"/>
                    <a:pt x="3107" y="19480"/>
                  </a:cubicBezTo>
                  <a:cubicBezTo>
                    <a:pt x="3077" y="19418"/>
                    <a:pt x="3017" y="19351"/>
                    <a:pt x="2900" y="19344"/>
                  </a:cubicBezTo>
                  <a:cubicBezTo>
                    <a:pt x="2887" y="19343"/>
                    <a:pt x="2871" y="19342"/>
                    <a:pt x="2855" y="19342"/>
                  </a:cubicBezTo>
                  <a:cubicBezTo>
                    <a:pt x="2732" y="19342"/>
                    <a:pt x="2535" y="19367"/>
                    <a:pt x="2440" y="19394"/>
                  </a:cubicBezTo>
                  <a:cubicBezTo>
                    <a:pt x="2332" y="19422"/>
                    <a:pt x="2288" y="19502"/>
                    <a:pt x="2289" y="19567"/>
                  </a:cubicBezTo>
                  <a:close/>
                  <a:moveTo>
                    <a:pt x="2549" y="19903"/>
                  </a:moveTo>
                  <a:cubicBezTo>
                    <a:pt x="2544" y="19903"/>
                    <a:pt x="2540" y="19903"/>
                    <a:pt x="2535" y="19903"/>
                  </a:cubicBezTo>
                  <a:cubicBezTo>
                    <a:pt x="2464" y="19903"/>
                    <a:pt x="2420" y="19878"/>
                    <a:pt x="2405" y="19844"/>
                  </a:cubicBezTo>
                  <a:cubicBezTo>
                    <a:pt x="2396" y="19825"/>
                    <a:pt x="2383" y="19767"/>
                    <a:pt x="2374" y="19712"/>
                  </a:cubicBezTo>
                  <a:cubicBezTo>
                    <a:pt x="2364" y="19655"/>
                    <a:pt x="2357" y="19598"/>
                    <a:pt x="2355" y="19574"/>
                  </a:cubicBezTo>
                  <a:cubicBezTo>
                    <a:pt x="2355" y="19572"/>
                    <a:pt x="2355" y="19569"/>
                    <a:pt x="2355" y="19567"/>
                  </a:cubicBezTo>
                  <a:cubicBezTo>
                    <a:pt x="2356" y="19528"/>
                    <a:pt x="2374" y="19482"/>
                    <a:pt x="2458" y="19457"/>
                  </a:cubicBezTo>
                  <a:cubicBezTo>
                    <a:pt x="2542" y="19433"/>
                    <a:pt x="2741" y="19407"/>
                    <a:pt x="2855" y="19408"/>
                  </a:cubicBezTo>
                  <a:cubicBezTo>
                    <a:pt x="2870" y="19408"/>
                    <a:pt x="2884" y="19408"/>
                    <a:pt x="2895" y="19409"/>
                  </a:cubicBezTo>
                  <a:cubicBezTo>
                    <a:pt x="2990" y="19418"/>
                    <a:pt x="3020" y="19457"/>
                    <a:pt x="3048" y="19509"/>
                  </a:cubicBezTo>
                  <a:cubicBezTo>
                    <a:pt x="3065" y="19542"/>
                    <a:pt x="3077" y="19622"/>
                    <a:pt x="3076" y="19682"/>
                  </a:cubicBezTo>
                  <a:cubicBezTo>
                    <a:pt x="3076" y="19701"/>
                    <a:pt x="3075" y="19718"/>
                    <a:pt x="3073" y="19731"/>
                  </a:cubicBezTo>
                  <a:cubicBezTo>
                    <a:pt x="3106" y="19735"/>
                    <a:pt x="3106" y="19735"/>
                    <a:pt x="3106" y="19735"/>
                  </a:cubicBezTo>
                  <a:cubicBezTo>
                    <a:pt x="3073" y="19731"/>
                    <a:pt x="3073" y="19731"/>
                    <a:pt x="3073" y="19731"/>
                  </a:cubicBezTo>
                  <a:cubicBezTo>
                    <a:pt x="3073" y="19741"/>
                    <a:pt x="3058" y="19772"/>
                    <a:pt x="3031" y="19799"/>
                  </a:cubicBezTo>
                  <a:cubicBezTo>
                    <a:pt x="3005" y="19827"/>
                    <a:pt x="2969" y="19854"/>
                    <a:pt x="2928" y="19868"/>
                  </a:cubicBezTo>
                  <a:cubicBezTo>
                    <a:pt x="2887" y="19882"/>
                    <a:pt x="2813" y="19891"/>
                    <a:pt x="2740" y="19895"/>
                  </a:cubicBezTo>
                  <a:cubicBezTo>
                    <a:pt x="2666" y="19900"/>
                    <a:pt x="2593" y="19900"/>
                    <a:pt x="2549" y="19903"/>
                  </a:cubicBezTo>
                  <a:close/>
                  <a:moveTo>
                    <a:pt x="3103" y="19832"/>
                  </a:moveTo>
                  <a:cubicBezTo>
                    <a:pt x="3099" y="19820"/>
                    <a:pt x="3099" y="19820"/>
                    <a:pt x="3099" y="19820"/>
                  </a:cubicBezTo>
                  <a:cubicBezTo>
                    <a:pt x="3099" y="19820"/>
                    <a:pt x="3099" y="19820"/>
                    <a:pt x="3099" y="19820"/>
                  </a:cubicBezTo>
                  <a:lnTo>
                    <a:pt x="3103" y="19832"/>
                  </a:lnTo>
                  <a:close/>
                  <a:moveTo>
                    <a:pt x="2785" y="19957"/>
                  </a:moveTo>
                  <a:cubicBezTo>
                    <a:pt x="2846" y="19952"/>
                    <a:pt x="2905" y="19945"/>
                    <a:pt x="2949" y="19930"/>
                  </a:cubicBezTo>
                  <a:cubicBezTo>
                    <a:pt x="3002" y="19911"/>
                    <a:pt x="3047" y="19878"/>
                    <a:pt x="3079" y="19844"/>
                  </a:cubicBezTo>
                  <a:cubicBezTo>
                    <a:pt x="3082" y="19841"/>
                    <a:pt x="3084" y="19838"/>
                    <a:pt x="3087" y="19835"/>
                  </a:cubicBezTo>
                  <a:cubicBezTo>
                    <a:pt x="3087" y="19835"/>
                    <a:pt x="3088" y="19836"/>
                    <a:pt x="3088" y="19836"/>
                  </a:cubicBezTo>
                  <a:cubicBezTo>
                    <a:pt x="3095" y="19839"/>
                    <a:pt x="3104" y="19842"/>
                    <a:pt x="3114" y="19846"/>
                  </a:cubicBezTo>
                  <a:cubicBezTo>
                    <a:pt x="3136" y="19854"/>
                    <a:pt x="3165" y="19864"/>
                    <a:pt x="3197" y="19875"/>
                  </a:cubicBezTo>
                  <a:cubicBezTo>
                    <a:pt x="3262" y="19895"/>
                    <a:pt x="3341" y="19917"/>
                    <a:pt x="3400" y="19923"/>
                  </a:cubicBezTo>
                  <a:cubicBezTo>
                    <a:pt x="3407" y="19924"/>
                    <a:pt x="3415" y="19924"/>
                    <a:pt x="3423" y="19924"/>
                  </a:cubicBezTo>
                  <a:cubicBezTo>
                    <a:pt x="3495" y="19924"/>
                    <a:pt x="3602" y="19897"/>
                    <a:pt x="3695" y="19871"/>
                  </a:cubicBezTo>
                  <a:cubicBezTo>
                    <a:pt x="3752" y="19855"/>
                    <a:pt x="3802" y="19840"/>
                    <a:pt x="3833" y="19830"/>
                  </a:cubicBezTo>
                  <a:cubicBezTo>
                    <a:pt x="3860" y="19865"/>
                    <a:pt x="3889" y="19896"/>
                    <a:pt x="3930" y="19919"/>
                  </a:cubicBezTo>
                  <a:cubicBezTo>
                    <a:pt x="3964" y="19937"/>
                    <a:pt x="3999" y="19944"/>
                    <a:pt x="4037" y="19949"/>
                  </a:cubicBezTo>
                  <a:cubicBezTo>
                    <a:pt x="4074" y="19954"/>
                    <a:pt x="4112" y="19955"/>
                    <a:pt x="4148" y="19955"/>
                  </a:cubicBezTo>
                  <a:cubicBezTo>
                    <a:pt x="4181" y="19955"/>
                    <a:pt x="4211" y="19954"/>
                    <a:pt x="4236" y="19952"/>
                  </a:cubicBezTo>
                  <a:cubicBezTo>
                    <a:pt x="4259" y="19950"/>
                    <a:pt x="4342" y="19946"/>
                    <a:pt x="4439" y="19941"/>
                  </a:cubicBezTo>
                  <a:cubicBezTo>
                    <a:pt x="4404" y="19976"/>
                    <a:pt x="4358" y="20021"/>
                    <a:pt x="4302" y="20068"/>
                  </a:cubicBezTo>
                  <a:cubicBezTo>
                    <a:pt x="4176" y="20175"/>
                    <a:pt x="4006" y="20291"/>
                    <a:pt x="3833" y="20332"/>
                  </a:cubicBezTo>
                  <a:cubicBezTo>
                    <a:pt x="3708" y="20361"/>
                    <a:pt x="3643" y="20361"/>
                    <a:pt x="3486" y="20376"/>
                  </a:cubicBezTo>
                  <a:cubicBezTo>
                    <a:pt x="3349" y="20389"/>
                    <a:pt x="3194" y="20402"/>
                    <a:pt x="3073" y="20411"/>
                  </a:cubicBezTo>
                  <a:cubicBezTo>
                    <a:pt x="2988" y="20418"/>
                    <a:pt x="2921" y="20423"/>
                    <a:pt x="2884" y="20426"/>
                  </a:cubicBezTo>
                  <a:lnTo>
                    <a:pt x="2785" y="19957"/>
                  </a:lnTo>
                  <a:close/>
                  <a:moveTo>
                    <a:pt x="2898" y="20491"/>
                  </a:moveTo>
                  <a:cubicBezTo>
                    <a:pt x="2904" y="20491"/>
                    <a:pt x="2911" y="20490"/>
                    <a:pt x="2918" y="20489"/>
                  </a:cubicBezTo>
                  <a:cubicBezTo>
                    <a:pt x="2956" y="20487"/>
                    <a:pt x="3008" y="20482"/>
                    <a:pt x="3070" y="20478"/>
                  </a:cubicBezTo>
                  <a:cubicBezTo>
                    <a:pt x="3193" y="20468"/>
                    <a:pt x="3351" y="20455"/>
                    <a:pt x="3492" y="20441"/>
                  </a:cubicBezTo>
                  <a:cubicBezTo>
                    <a:pt x="3600" y="20431"/>
                    <a:pt x="3667" y="20428"/>
                    <a:pt x="3743" y="20416"/>
                  </a:cubicBezTo>
                  <a:cubicBezTo>
                    <a:pt x="3825" y="20784"/>
                    <a:pt x="3825" y="20784"/>
                    <a:pt x="3825" y="20784"/>
                  </a:cubicBezTo>
                  <a:cubicBezTo>
                    <a:pt x="3823" y="20784"/>
                    <a:pt x="3820" y="20784"/>
                    <a:pt x="3818" y="20784"/>
                  </a:cubicBezTo>
                  <a:cubicBezTo>
                    <a:pt x="3450" y="20804"/>
                    <a:pt x="3310" y="20825"/>
                    <a:pt x="3309" y="20825"/>
                  </a:cubicBezTo>
                  <a:cubicBezTo>
                    <a:pt x="3295" y="20827"/>
                    <a:pt x="3295" y="20827"/>
                    <a:pt x="3295" y="20827"/>
                  </a:cubicBezTo>
                  <a:cubicBezTo>
                    <a:pt x="3299" y="20854"/>
                    <a:pt x="3299" y="20854"/>
                    <a:pt x="3299" y="20854"/>
                  </a:cubicBezTo>
                  <a:cubicBezTo>
                    <a:pt x="3289" y="20855"/>
                    <a:pt x="3274" y="20856"/>
                    <a:pt x="3257" y="20858"/>
                  </a:cubicBezTo>
                  <a:cubicBezTo>
                    <a:pt x="3223" y="20861"/>
                    <a:pt x="3176" y="20866"/>
                    <a:pt x="3130" y="20870"/>
                  </a:cubicBezTo>
                  <a:cubicBezTo>
                    <a:pt x="3073" y="20876"/>
                    <a:pt x="3016" y="20881"/>
                    <a:pt x="2981" y="20884"/>
                  </a:cubicBezTo>
                  <a:lnTo>
                    <a:pt x="2898" y="20491"/>
                  </a:lnTo>
                  <a:close/>
                  <a:moveTo>
                    <a:pt x="2984" y="20898"/>
                  </a:moveTo>
                  <a:cubicBezTo>
                    <a:pt x="3062" y="20891"/>
                    <a:pt x="3246" y="20873"/>
                    <a:pt x="3301" y="20868"/>
                  </a:cubicBezTo>
                  <a:cubicBezTo>
                    <a:pt x="3304" y="20892"/>
                    <a:pt x="3304" y="20892"/>
                    <a:pt x="3304" y="20892"/>
                  </a:cubicBezTo>
                  <a:cubicBezTo>
                    <a:pt x="3319" y="20890"/>
                    <a:pt x="3352" y="20885"/>
                    <a:pt x="3432" y="20877"/>
                  </a:cubicBezTo>
                  <a:cubicBezTo>
                    <a:pt x="3512" y="20870"/>
                    <a:pt x="3638" y="20860"/>
                    <a:pt x="3822" y="20850"/>
                  </a:cubicBezTo>
                  <a:cubicBezTo>
                    <a:pt x="3835" y="20849"/>
                    <a:pt x="3849" y="20848"/>
                    <a:pt x="3863" y="20848"/>
                  </a:cubicBezTo>
                  <a:cubicBezTo>
                    <a:pt x="3899" y="20848"/>
                    <a:pt x="3936" y="20851"/>
                    <a:pt x="3973" y="20855"/>
                  </a:cubicBezTo>
                  <a:cubicBezTo>
                    <a:pt x="3974" y="20867"/>
                    <a:pt x="3974" y="20881"/>
                    <a:pt x="3974" y="20899"/>
                  </a:cubicBezTo>
                  <a:cubicBezTo>
                    <a:pt x="3975" y="20941"/>
                    <a:pt x="3975" y="20998"/>
                    <a:pt x="3975" y="21060"/>
                  </a:cubicBezTo>
                  <a:cubicBezTo>
                    <a:pt x="3932" y="21058"/>
                    <a:pt x="3548" y="21046"/>
                    <a:pt x="3537" y="21046"/>
                  </a:cubicBezTo>
                  <a:cubicBezTo>
                    <a:pt x="3525" y="21046"/>
                    <a:pt x="3195" y="21054"/>
                    <a:pt x="3195" y="21054"/>
                  </a:cubicBezTo>
                  <a:cubicBezTo>
                    <a:pt x="3019" y="21064"/>
                    <a:pt x="3019" y="21064"/>
                    <a:pt x="3019" y="21064"/>
                  </a:cubicBezTo>
                  <a:lnTo>
                    <a:pt x="2984" y="20898"/>
                  </a:lnTo>
                  <a:close/>
                  <a:moveTo>
                    <a:pt x="3973" y="21505"/>
                  </a:moveTo>
                  <a:cubicBezTo>
                    <a:pt x="3917" y="21483"/>
                    <a:pt x="3589" y="21353"/>
                    <a:pt x="3589" y="21353"/>
                  </a:cubicBezTo>
                  <a:cubicBezTo>
                    <a:pt x="3587" y="21352"/>
                    <a:pt x="3587" y="21352"/>
                    <a:pt x="3587" y="21352"/>
                  </a:cubicBezTo>
                  <a:cubicBezTo>
                    <a:pt x="3081" y="21360"/>
                    <a:pt x="3081" y="21360"/>
                    <a:pt x="3081" y="21360"/>
                  </a:cubicBezTo>
                  <a:cubicBezTo>
                    <a:pt x="3055" y="21235"/>
                    <a:pt x="3055" y="21235"/>
                    <a:pt x="3055" y="21235"/>
                  </a:cubicBezTo>
                  <a:cubicBezTo>
                    <a:pt x="3604" y="21238"/>
                    <a:pt x="3604" y="21238"/>
                    <a:pt x="3604" y="21238"/>
                  </a:cubicBezTo>
                  <a:cubicBezTo>
                    <a:pt x="3975" y="21305"/>
                    <a:pt x="3975" y="21305"/>
                    <a:pt x="3975" y="21305"/>
                  </a:cubicBezTo>
                  <a:cubicBezTo>
                    <a:pt x="3974" y="21387"/>
                    <a:pt x="3974" y="21459"/>
                    <a:pt x="3973" y="21505"/>
                  </a:cubicBezTo>
                  <a:close/>
                  <a:moveTo>
                    <a:pt x="3975" y="21291"/>
                  </a:moveTo>
                  <a:cubicBezTo>
                    <a:pt x="3606" y="21224"/>
                    <a:pt x="3606" y="21224"/>
                    <a:pt x="3606" y="21224"/>
                  </a:cubicBezTo>
                  <a:cubicBezTo>
                    <a:pt x="3052" y="21221"/>
                    <a:pt x="3052" y="21221"/>
                    <a:pt x="3052" y="21221"/>
                  </a:cubicBezTo>
                  <a:cubicBezTo>
                    <a:pt x="3022" y="21078"/>
                    <a:pt x="3022" y="21078"/>
                    <a:pt x="3022" y="21078"/>
                  </a:cubicBezTo>
                  <a:cubicBezTo>
                    <a:pt x="3195" y="21068"/>
                    <a:pt x="3195" y="21068"/>
                    <a:pt x="3195" y="21068"/>
                  </a:cubicBezTo>
                  <a:cubicBezTo>
                    <a:pt x="3196" y="21068"/>
                    <a:pt x="3526" y="21060"/>
                    <a:pt x="3537" y="21060"/>
                  </a:cubicBezTo>
                  <a:cubicBezTo>
                    <a:pt x="3547" y="21060"/>
                    <a:pt x="3939" y="21073"/>
                    <a:pt x="3975" y="21074"/>
                  </a:cubicBezTo>
                  <a:cubicBezTo>
                    <a:pt x="3975" y="21075"/>
                    <a:pt x="3976" y="21077"/>
                    <a:pt x="3976" y="21079"/>
                  </a:cubicBezTo>
                  <a:cubicBezTo>
                    <a:pt x="3976" y="21148"/>
                    <a:pt x="3975" y="21222"/>
                    <a:pt x="3975" y="21291"/>
                  </a:cubicBezTo>
                  <a:close/>
                  <a:moveTo>
                    <a:pt x="4559" y="21586"/>
                  </a:moveTo>
                  <a:cubicBezTo>
                    <a:pt x="4520" y="21580"/>
                    <a:pt x="4400" y="21565"/>
                    <a:pt x="4280" y="21549"/>
                  </a:cubicBezTo>
                  <a:cubicBezTo>
                    <a:pt x="4148" y="21531"/>
                    <a:pt x="4014" y="21513"/>
                    <a:pt x="3987" y="21509"/>
                  </a:cubicBezTo>
                  <a:cubicBezTo>
                    <a:pt x="3987" y="21464"/>
                    <a:pt x="3988" y="21390"/>
                    <a:pt x="3989" y="21307"/>
                  </a:cubicBezTo>
                  <a:cubicBezTo>
                    <a:pt x="4058" y="21317"/>
                    <a:pt x="4475" y="21376"/>
                    <a:pt x="4584" y="21390"/>
                  </a:cubicBezTo>
                  <a:lnTo>
                    <a:pt x="4559" y="21586"/>
                  </a:lnTo>
                  <a:close/>
                  <a:moveTo>
                    <a:pt x="4586" y="21376"/>
                  </a:moveTo>
                  <a:cubicBezTo>
                    <a:pt x="4535" y="21370"/>
                    <a:pt x="4413" y="21353"/>
                    <a:pt x="4293" y="21336"/>
                  </a:cubicBezTo>
                  <a:cubicBezTo>
                    <a:pt x="4157" y="21317"/>
                    <a:pt x="4022" y="21298"/>
                    <a:pt x="3989" y="21293"/>
                  </a:cubicBezTo>
                  <a:cubicBezTo>
                    <a:pt x="3989" y="21224"/>
                    <a:pt x="3989" y="21148"/>
                    <a:pt x="3989" y="21079"/>
                  </a:cubicBezTo>
                  <a:cubicBezTo>
                    <a:pt x="3989" y="21078"/>
                    <a:pt x="3989" y="21077"/>
                    <a:pt x="3989" y="21075"/>
                  </a:cubicBezTo>
                  <a:cubicBezTo>
                    <a:pt x="4613" y="21169"/>
                    <a:pt x="4613" y="21169"/>
                    <a:pt x="4613" y="21169"/>
                  </a:cubicBezTo>
                  <a:lnTo>
                    <a:pt x="4586" y="21376"/>
                  </a:lnTo>
                  <a:close/>
                  <a:moveTo>
                    <a:pt x="4614" y="21156"/>
                  </a:moveTo>
                  <a:cubicBezTo>
                    <a:pt x="3989" y="21061"/>
                    <a:pt x="3989" y="21061"/>
                    <a:pt x="3989" y="21061"/>
                  </a:cubicBezTo>
                  <a:cubicBezTo>
                    <a:pt x="3989" y="20974"/>
                    <a:pt x="3989" y="20899"/>
                    <a:pt x="3987" y="20857"/>
                  </a:cubicBezTo>
                  <a:cubicBezTo>
                    <a:pt x="4216" y="20887"/>
                    <a:pt x="4456" y="20988"/>
                    <a:pt x="4573" y="21043"/>
                  </a:cubicBezTo>
                  <a:cubicBezTo>
                    <a:pt x="4595" y="21053"/>
                    <a:pt x="4613" y="21062"/>
                    <a:pt x="4625" y="21068"/>
                  </a:cubicBezTo>
                  <a:lnTo>
                    <a:pt x="4614" y="21156"/>
                  </a:lnTo>
                  <a:close/>
                  <a:moveTo>
                    <a:pt x="4634" y="20999"/>
                  </a:moveTo>
                  <a:cubicBezTo>
                    <a:pt x="4520" y="20943"/>
                    <a:pt x="4190" y="20793"/>
                    <a:pt x="3892" y="20783"/>
                  </a:cubicBezTo>
                  <a:cubicBezTo>
                    <a:pt x="3807" y="20405"/>
                    <a:pt x="3807" y="20405"/>
                    <a:pt x="3807" y="20405"/>
                  </a:cubicBezTo>
                  <a:cubicBezTo>
                    <a:pt x="3820" y="20402"/>
                    <a:pt x="3834" y="20399"/>
                    <a:pt x="3848" y="20396"/>
                  </a:cubicBezTo>
                  <a:cubicBezTo>
                    <a:pt x="4166" y="20319"/>
                    <a:pt x="4449" y="20029"/>
                    <a:pt x="4534" y="19936"/>
                  </a:cubicBezTo>
                  <a:cubicBezTo>
                    <a:pt x="4545" y="19936"/>
                    <a:pt x="4555" y="19935"/>
                    <a:pt x="4566" y="19934"/>
                  </a:cubicBezTo>
                  <a:cubicBezTo>
                    <a:pt x="4644" y="19931"/>
                    <a:pt x="4719" y="19927"/>
                    <a:pt x="4771" y="19925"/>
                  </a:cubicBezTo>
                  <a:lnTo>
                    <a:pt x="4634" y="20999"/>
                  </a:lnTo>
                  <a:close/>
                  <a:moveTo>
                    <a:pt x="4832" y="19769"/>
                  </a:moveTo>
                  <a:cubicBezTo>
                    <a:pt x="4807" y="19770"/>
                    <a:pt x="4687" y="19776"/>
                    <a:pt x="4559" y="19782"/>
                  </a:cubicBezTo>
                  <a:cubicBezTo>
                    <a:pt x="4443" y="19788"/>
                    <a:pt x="4323" y="19794"/>
                    <a:pt x="4259" y="19798"/>
                  </a:cubicBezTo>
                  <a:cubicBezTo>
                    <a:pt x="4606" y="18766"/>
                    <a:pt x="4606" y="18766"/>
                    <a:pt x="4606" y="18766"/>
                  </a:cubicBezTo>
                  <a:cubicBezTo>
                    <a:pt x="5091" y="19084"/>
                    <a:pt x="5091" y="19084"/>
                    <a:pt x="5091" y="19084"/>
                  </a:cubicBezTo>
                  <a:cubicBezTo>
                    <a:pt x="5097" y="19136"/>
                    <a:pt x="5097" y="19136"/>
                    <a:pt x="5097" y="19136"/>
                  </a:cubicBezTo>
                  <a:cubicBezTo>
                    <a:pt x="5058" y="19728"/>
                    <a:pt x="5058" y="19728"/>
                    <a:pt x="5058" y="19728"/>
                  </a:cubicBezTo>
                  <a:lnTo>
                    <a:pt x="4832" y="19769"/>
                  </a:lnTo>
                  <a:close/>
                  <a:moveTo>
                    <a:pt x="5520" y="21513"/>
                  </a:moveTo>
                  <a:cubicBezTo>
                    <a:pt x="4951" y="21429"/>
                    <a:pt x="4951" y="21429"/>
                    <a:pt x="4951" y="21429"/>
                  </a:cubicBezTo>
                  <a:cubicBezTo>
                    <a:pt x="4960" y="21357"/>
                    <a:pt x="4969" y="21287"/>
                    <a:pt x="4978" y="21218"/>
                  </a:cubicBezTo>
                  <a:cubicBezTo>
                    <a:pt x="5542" y="21302"/>
                    <a:pt x="5542" y="21302"/>
                    <a:pt x="5542" y="21302"/>
                  </a:cubicBezTo>
                  <a:lnTo>
                    <a:pt x="5520" y="21513"/>
                  </a:lnTo>
                  <a:close/>
                  <a:moveTo>
                    <a:pt x="5543" y="21288"/>
                  </a:moveTo>
                  <a:cubicBezTo>
                    <a:pt x="4979" y="21204"/>
                    <a:pt x="4979" y="21204"/>
                    <a:pt x="4979" y="21204"/>
                  </a:cubicBezTo>
                  <a:cubicBezTo>
                    <a:pt x="5009" y="20972"/>
                    <a:pt x="5036" y="20755"/>
                    <a:pt x="5060" y="20566"/>
                  </a:cubicBezTo>
                  <a:cubicBezTo>
                    <a:pt x="5607" y="20656"/>
                    <a:pt x="5607" y="20656"/>
                    <a:pt x="5607" y="20656"/>
                  </a:cubicBezTo>
                  <a:lnTo>
                    <a:pt x="5543" y="21288"/>
                  </a:lnTo>
                  <a:close/>
                  <a:moveTo>
                    <a:pt x="5609" y="20642"/>
                  </a:moveTo>
                  <a:cubicBezTo>
                    <a:pt x="5062" y="20552"/>
                    <a:pt x="5062" y="20552"/>
                    <a:pt x="5062" y="20552"/>
                  </a:cubicBezTo>
                  <a:cubicBezTo>
                    <a:pt x="5102" y="20239"/>
                    <a:pt x="5131" y="20003"/>
                    <a:pt x="5145" y="19896"/>
                  </a:cubicBezTo>
                  <a:cubicBezTo>
                    <a:pt x="5206" y="19910"/>
                    <a:pt x="5292" y="19929"/>
                    <a:pt x="5378" y="19948"/>
                  </a:cubicBezTo>
                  <a:cubicBezTo>
                    <a:pt x="5501" y="19976"/>
                    <a:pt x="5625" y="20004"/>
                    <a:pt x="5671" y="20015"/>
                  </a:cubicBezTo>
                  <a:cubicBezTo>
                    <a:pt x="5672" y="20017"/>
                    <a:pt x="5672" y="20017"/>
                    <a:pt x="5672" y="20017"/>
                  </a:cubicBezTo>
                  <a:lnTo>
                    <a:pt x="5609" y="20642"/>
                  </a:lnTo>
                  <a:close/>
                  <a:moveTo>
                    <a:pt x="6699" y="19906"/>
                  </a:moveTo>
                  <a:cubicBezTo>
                    <a:pt x="6245" y="19889"/>
                    <a:pt x="5791" y="19873"/>
                    <a:pt x="5722" y="19871"/>
                  </a:cubicBezTo>
                  <a:cubicBezTo>
                    <a:pt x="5717" y="19870"/>
                    <a:pt x="5710" y="19868"/>
                    <a:pt x="5702" y="19866"/>
                  </a:cubicBezTo>
                  <a:cubicBezTo>
                    <a:pt x="5686" y="19862"/>
                    <a:pt x="5663" y="19857"/>
                    <a:pt x="5636" y="19851"/>
                  </a:cubicBezTo>
                  <a:cubicBezTo>
                    <a:pt x="5581" y="19838"/>
                    <a:pt x="5509" y="19822"/>
                    <a:pt x="5434" y="19805"/>
                  </a:cubicBezTo>
                  <a:cubicBezTo>
                    <a:pt x="5310" y="19777"/>
                    <a:pt x="5182" y="19748"/>
                    <a:pt x="5123" y="19735"/>
                  </a:cubicBezTo>
                  <a:cubicBezTo>
                    <a:pt x="5163" y="19135"/>
                    <a:pt x="5163" y="19135"/>
                    <a:pt x="5163" y="19135"/>
                  </a:cubicBezTo>
                  <a:cubicBezTo>
                    <a:pt x="5085" y="18457"/>
                    <a:pt x="5085" y="18457"/>
                    <a:pt x="5085" y="18457"/>
                  </a:cubicBezTo>
                  <a:cubicBezTo>
                    <a:pt x="5086" y="18440"/>
                    <a:pt x="5090" y="18339"/>
                    <a:pt x="5094" y="18203"/>
                  </a:cubicBezTo>
                  <a:cubicBezTo>
                    <a:pt x="5232" y="18240"/>
                    <a:pt x="5907" y="18420"/>
                    <a:pt x="6041" y="18449"/>
                  </a:cubicBezTo>
                  <a:cubicBezTo>
                    <a:pt x="6137" y="18471"/>
                    <a:pt x="6253" y="18506"/>
                    <a:pt x="6414" y="18506"/>
                  </a:cubicBezTo>
                  <a:cubicBezTo>
                    <a:pt x="6415" y="18506"/>
                    <a:pt x="6415" y="18506"/>
                    <a:pt x="6415" y="18506"/>
                  </a:cubicBezTo>
                  <a:cubicBezTo>
                    <a:pt x="6488" y="18506"/>
                    <a:pt x="6572" y="18498"/>
                    <a:pt x="6666" y="18479"/>
                  </a:cubicBezTo>
                  <a:cubicBezTo>
                    <a:pt x="7173" y="19923"/>
                    <a:pt x="7173" y="19923"/>
                    <a:pt x="7173" y="19923"/>
                  </a:cubicBezTo>
                  <a:cubicBezTo>
                    <a:pt x="7027" y="19917"/>
                    <a:pt x="6863" y="19911"/>
                    <a:pt x="6699" y="19906"/>
                  </a:cubicBezTo>
                  <a:close/>
                  <a:moveTo>
                    <a:pt x="10821" y="18606"/>
                  </a:moveTo>
                  <a:cubicBezTo>
                    <a:pt x="10936" y="18586"/>
                    <a:pt x="10936" y="18586"/>
                    <a:pt x="10936" y="18586"/>
                  </a:cubicBezTo>
                  <a:cubicBezTo>
                    <a:pt x="10911" y="18441"/>
                    <a:pt x="10911" y="18441"/>
                    <a:pt x="10911" y="18441"/>
                  </a:cubicBezTo>
                  <a:cubicBezTo>
                    <a:pt x="10756" y="18467"/>
                    <a:pt x="10756" y="18467"/>
                    <a:pt x="10756" y="18467"/>
                  </a:cubicBezTo>
                  <a:cubicBezTo>
                    <a:pt x="10742" y="18387"/>
                    <a:pt x="10742" y="18387"/>
                    <a:pt x="10742" y="18387"/>
                  </a:cubicBezTo>
                  <a:cubicBezTo>
                    <a:pt x="10901" y="18360"/>
                    <a:pt x="10901" y="18360"/>
                    <a:pt x="10901" y="18360"/>
                  </a:cubicBezTo>
                  <a:cubicBezTo>
                    <a:pt x="10893" y="18313"/>
                    <a:pt x="10893" y="18313"/>
                    <a:pt x="10893" y="18313"/>
                  </a:cubicBezTo>
                  <a:cubicBezTo>
                    <a:pt x="11043" y="18287"/>
                    <a:pt x="11043" y="18287"/>
                    <a:pt x="11043" y="18287"/>
                  </a:cubicBezTo>
                  <a:cubicBezTo>
                    <a:pt x="11026" y="18189"/>
                    <a:pt x="11026" y="18189"/>
                    <a:pt x="11026" y="18189"/>
                  </a:cubicBezTo>
                  <a:cubicBezTo>
                    <a:pt x="11081" y="18180"/>
                    <a:pt x="11081" y="18180"/>
                    <a:pt x="11081" y="18180"/>
                  </a:cubicBezTo>
                  <a:cubicBezTo>
                    <a:pt x="11100" y="18278"/>
                    <a:pt x="11100" y="18278"/>
                    <a:pt x="11100" y="18278"/>
                  </a:cubicBezTo>
                  <a:cubicBezTo>
                    <a:pt x="11141" y="18271"/>
                    <a:pt x="11141" y="18271"/>
                    <a:pt x="11141" y="18271"/>
                  </a:cubicBezTo>
                  <a:cubicBezTo>
                    <a:pt x="11169" y="18439"/>
                    <a:pt x="11169" y="18439"/>
                    <a:pt x="11169" y="18439"/>
                  </a:cubicBezTo>
                  <a:cubicBezTo>
                    <a:pt x="11264" y="18423"/>
                    <a:pt x="11264" y="18423"/>
                    <a:pt x="11264" y="18423"/>
                  </a:cubicBezTo>
                  <a:cubicBezTo>
                    <a:pt x="11282" y="18525"/>
                    <a:pt x="11282" y="18525"/>
                    <a:pt x="11282" y="18525"/>
                  </a:cubicBezTo>
                  <a:cubicBezTo>
                    <a:pt x="11188" y="18541"/>
                    <a:pt x="11188" y="18541"/>
                    <a:pt x="11188" y="18541"/>
                  </a:cubicBezTo>
                  <a:cubicBezTo>
                    <a:pt x="11196" y="18591"/>
                    <a:pt x="11196" y="18591"/>
                    <a:pt x="11196" y="18591"/>
                  </a:cubicBezTo>
                  <a:cubicBezTo>
                    <a:pt x="10967" y="18630"/>
                    <a:pt x="10967" y="18630"/>
                    <a:pt x="10967" y="18630"/>
                  </a:cubicBezTo>
                  <a:cubicBezTo>
                    <a:pt x="10990" y="18764"/>
                    <a:pt x="10990" y="18764"/>
                    <a:pt x="10990" y="18764"/>
                  </a:cubicBezTo>
                  <a:cubicBezTo>
                    <a:pt x="10851" y="18788"/>
                    <a:pt x="10851" y="18788"/>
                    <a:pt x="10851" y="18788"/>
                  </a:cubicBezTo>
                  <a:lnTo>
                    <a:pt x="10821" y="18606"/>
                  </a:lnTo>
                  <a:close/>
                  <a:moveTo>
                    <a:pt x="7763" y="18829"/>
                  </a:moveTo>
                  <a:cubicBezTo>
                    <a:pt x="7721" y="18740"/>
                    <a:pt x="7667" y="18622"/>
                    <a:pt x="7621" y="18507"/>
                  </a:cubicBezTo>
                  <a:cubicBezTo>
                    <a:pt x="7583" y="18414"/>
                    <a:pt x="7573" y="18335"/>
                    <a:pt x="7573" y="18275"/>
                  </a:cubicBezTo>
                  <a:cubicBezTo>
                    <a:pt x="7573" y="18203"/>
                    <a:pt x="7588" y="18158"/>
                    <a:pt x="7591" y="18150"/>
                  </a:cubicBezTo>
                  <a:cubicBezTo>
                    <a:pt x="7662" y="18022"/>
                    <a:pt x="7662" y="18022"/>
                    <a:pt x="7662" y="18022"/>
                  </a:cubicBezTo>
                  <a:cubicBezTo>
                    <a:pt x="8875" y="18743"/>
                    <a:pt x="8875" y="18743"/>
                    <a:pt x="8875" y="18743"/>
                  </a:cubicBezTo>
                  <a:cubicBezTo>
                    <a:pt x="8878" y="18765"/>
                    <a:pt x="8883" y="18807"/>
                    <a:pt x="8890" y="18863"/>
                  </a:cubicBezTo>
                  <a:cubicBezTo>
                    <a:pt x="8854" y="18865"/>
                    <a:pt x="8792" y="18870"/>
                    <a:pt x="8713" y="18877"/>
                  </a:cubicBezTo>
                  <a:cubicBezTo>
                    <a:pt x="8605" y="18886"/>
                    <a:pt x="8468" y="18899"/>
                    <a:pt x="8333" y="18911"/>
                  </a:cubicBezTo>
                  <a:cubicBezTo>
                    <a:pt x="8110" y="18931"/>
                    <a:pt x="7894" y="18952"/>
                    <a:pt x="7826" y="18958"/>
                  </a:cubicBezTo>
                  <a:cubicBezTo>
                    <a:pt x="7814" y="18934"/>
                    <a:pt x="7791" y="18888"/>
                    <a:pt x="7763" y="18829"/>
                  </a:cubicBezTo>
                  <a:close/>
                  <a:moveTo>
                    <a:pt x="7889" y="19957"/>
                  </a:moveTo>
                  <a:cubicBezTo>
                    <a:pt x="7870" y="19954"/>
                    <a:pt x="7850" y="19952"/>
                    <a:pt x="7831" y="19950"/>
                  </a:cubicBezTo>
                  <a:cubicBezTo>
                    <a:pt x="7918" y="19711"/>
                    <a:pt x="7918" y="19711"/>
                    <a:pt x="7918" y="19711"/>
                  </a:cubicBezTo>
                  <a:cubicBezTo>
                    <a:pt x="7843" y="19022"/>
                    <a:pt x="7843" y="19022"/>
                    <a:pt x="7843" y="19022"/>
                  </a:cubicBezTo>
                  <a:cubicBezTo>
                    <a:pt x="7896" y="19017"/>
                    <a:pt x="8009" y="19007"/>
                    <a:pt x="8143" y="18994"/>
                  </a:cubicBezTo>
                  <a:cubicBezTo>
                    <a:pt x="8330" y="18977"/>
                    <a:pt x="8557" y="18956"/>
                    <a:pt x="8718" y="18942"/>
                  </a:cubicBezTo>
                  <a:cubicBezTo>
                    <a:pt x="8799" y="18935"/>
                    <a:pt x="8865" y="18930"/>
                    <a:pt x="8899" y="18928"/>
                  </a:cubicBezTo>
                  <a:cubicBezTo>
                    <a:pt x="8904" y="18969"/>
                    <a:pt x="8909" y="19013"/>
                    <a:pt x="8915" y="19060"/>
                  </a:cubicBezTo>
                  <a:cubicBezTo>
                    <a:pt x="8938" y="19245"/>
                    <a:pt x="8966" y="19466"/>
                    <a:pt x="8982" y="19613"/>
                  </a:cubicBezTo>
                  <a:cubicBezTo>
                    <a:pt x="8985" y="19641"/>
                    <a:pt x="8987" y="19668"/>
                    <a:pt x="8987" y="19695"/>
                  </a:cubicBezTo>
                  <a:cubicBezTo>
                    <a:pt x="8987" y="19901"/>
                    <a:pt x="8902" y="20064"/>
                    <a:pt x="8879" y="20104"/>
                  </a:cubicBezTo>
                  <a:cubicBezTo>
                    <a:pt x="8371" y="20028"/>
                    <a:pt x="7927" y="19962"/>
                    <a:pt x="7889" y="19957"/>
                  </a:cubicBezTo>
                  <a:close/>
                  <a:moveTo>
                    <a:pt x="8948" y="20114"/>
                  </a:moveTo>
                  <a:cubicBezTo>
                    <a:pt x="8983" y="20047"/>
                    <a:pt x="9052" y="19891"/>
                    <a:pt x="9052" y="19695"/>
                  </a:cubicBezTo>
                  <a:cubicBezTo>
                    <a:pt x="9052" y="19666"/>
                    <a:pt x="9051" y="19636"/>
                    <a:pt x="9047" y="19605"/>
                  </a:cubicBezTo>
                  <a:cubicBezTo>
                    <a:pt x="9017" y="19332"/>
                    <a:pt x="8949" y="18802"/>
                    <a:pt x="8939" y="18728"/>
                  </a:cubicBezTo>
                  <a:cubicBezTo>
                    <a:pt x="8940" y="18726"/>
                    <a:pt x="8941" y="18725"/>
                    <a:pt x="8942" y="18723"/>
                  </a:cubicBezTo>
                  <a:cubicBezTo>
                    <a:pt x="8951" y="18711"/>
                    <a:pt x="8963" y="18694"/>
                    <a:pt x="8977" y="18674"/>
                  </a:cubicBezTo>
                  <a:cubicBezTo>
                    <a:pt x="9004" y="18635"/>
                    <a:pt x="9039" y="18582"/>
                    <a:pt x="9073" y="18530"/>
                  </a:cubicBezTo>
                  <a:cubicBezTo>
                    <a:pt x="9126" y="18449"/>
                    <a:pt x="9178" y="18369"/>
                    <a:pt x="9200" y="18336"/>
                  </a:cubicBezTo>
                  <a:cubicBezTo>
                    <a:pt x="10197" y="18350"/>
                    <a:pt x="10197" y="18350"/>
                    <a:pt x="10197" y="18350"/>
                  </a:cubicBezTo>
                  <a:cubicBezTo>
                    <a:pt x="10202" y="18400"/>
                    <a:pt x="10213" y="18509"/>
                    <a:pt x="10224" y="18619"/>
                  </a:cubicBezTo>
                  <a:cubicBezTo>
                    <a:pt x="10237" y="18749"/>
                    <a:pt x="10250" y="18882"/>
                    <a:pt x="10254" y="18923"/>
                  </a:cubicBezTo>
                  <a:cubicBezTo>
                    <a:pt x="10120" y="19096"/>
                    <a:pt x="10120" y="19096"/>
                    <a:pt x="10120" y="19096"/>
                  </a:cubicBezTo>
                  <a:cubicBezTo>
                    <a:pt x="10144" y="19765"/>
                    <a:pt x="10144" y="19765"/>
                    <a:pt x="10144" y="19765"/>
                  </a:cubicBezTo>
                  <a:cubicBezTo>
                    <a:pt x="9990" y="19891"/>
                    <a:pt x="9990" y="19891"/>
                    <a:pt x="9990" y="19891"/>
                  </a:cubicBezTo>
                  <a:cubicBezTo>
                    <a:pt x="9868" y="20251"/>
                    <a:pt x="9868" y="20251"/>
                    <a:pt x="9868" y="20251"/>
                  </a:cubicBezTo>
                  <a:cubicBezTo>
                    <a:pt x="9597" y="20210"/>
                    <a:pt x="9264" y="20161"/>
                    <a:pt x="8948" y="20114"/>
                  </a:cubicBezTo>
                  <a:close/>
                  <a:moveTo>
                    <a:pt x="12943" y="20718"/>
                  </a:moveTo>
                  <a:cubicBezTo>
                    <a:pt x="12842" y="20931"/>
                    <a:pt x="12711" y="21209"/>
                    <a:pt x="12570" y="21502"/>
                  </a:cubicBezTo>
                  <a:cubicBezTo>
                    <a:pt x="11661" y="20919"/>
                    <a:pt x="11661" y="20919"/>
                    <a:pt x="11661" y="20919"/>
                  </a:cubicBezTo>
                  <a:cubicBezTo>
                    <a:pt x="11582" y="20869"/>
                    <a:pt x="11403" y="20766"/>
                    <a:pt x="11222" y="20666"/>
                  </a:cubicBezTo>
                  <a:cubicBezTo>
                    <a:pt x="11040" y="20565"/>
                    <a:pt x="10860" y="20468"/>
                    <a:pt x="10776" y="20430"/>
                  </a:cubicBezTo>
                  <a:cubicBezTo>
                    <a:pt x="10616" y="20358"/>
                    <a:pt x="10456" y="20338"/>
                    <a:pt x="10433" y="20335"/>
                  </a:cubicBezTo>
                  <a:cubicBezTo>
                    <a:pt x="10428" y="20334"/>
                    <a:pt x="10224" y="20304"/>
                    <a:pt x="9934" y="20261"/>
                  </a:cubicBezTo>
                  <a:cubicBezTo>
                    <a:pt x="10046" y="19930"/>
                    <a:pt x="10046" y="19930"/>
                    <a:pt x="10046" y="19930"/>
                  </a:cubicBezTo>
                  <a:cubicBezTo>
                    <a:pt x="10211" y="19795"/>
                    <a:pt x="10211" y="19795"/>
                    <a:pt x="10211" y="19795"/>
                  </a:cubicBezTo>
                  <a:cubicBezTo>
                    <a:pt x="10186" y="19118"/>
                    <a:pt x="10186" y="19118"/>
                    <a:pt x="10186" y="19118"/>
                  </a:cubicBezTo>
                  <a:cubicBezTo>
                    <a:pt x="10306" y="18963"/>
                    <a:pt x="10306" y="18963"/>
                    <a:pt x="10306" y="18963"/>
                  </a:cubicBezTo>
                  <a:cubicBezTo>
                    <a:pt x="11916" y="18675"/>
                    <a:pt x="11916" y="18675"/>
                    <a:pt x="11916" y="18675"/>
                  </a:cubicBezTo>
                  <a:cubicBezTo>
                    <a:pt x="12111" y="19959"/>
                    <a:pt x="12111" y="19959"/>
                    <a:pt x="12111" y="19959"/>
                  </a:cubicBezTo>
                  <a:cubicBezTo>
                    <a:pt x="13113" y="20355"/>
                    <a:pt x="13113" y="20355"/>
                    <a:pt x="13113" y="20355"/>
                  </a:cubicBezTo>
                  <a:cubicBezTo>
                    <a:pt x="13086" y="20414"/>
                    <a:pt x="13025" y="20544"/>
                    <a:pt x="12943" y="20718"/>
                  </a:cubicBezTo>
                  <a:close/>
                  <a:moveTo>
                    <a:pt x="105" y="18552"/>
                  </a:moveTo>
                  <a:cubicBezTo>
                    <a:pt x="70" y="18564"/>
                    <a:pt x="37" y="18576"/>
                    <a:pt x="4" y="18587"/>
                  </a:cubicBezTo>
                  <a:cubicBezTo>
                    <a:pt x="4" y="18539"/>
                    <a:pt x="4" y="18539"/>
                    <a:pt x="4" y="18539"/>
                  </a:cubicBezTo>
                  <a:cubicBezTo>
                    <a:pt x="32" y="18529"/>
                    <a:pt x="61" y="18519"/>
                    <a:pt x="90" y="18509"/>
                  </a:cubicBezTo>
                  <a:cubicBezTo>
                    <a:pt x="215" y="18466"/>
                    <a:pt x="287" y="18418"/>
                    <a:pt x="329" y="18361"/>
                  </a:cubicBezTo>
                  <a:cubicBezTo>
                    <a:pt x="370" y="18305"/>
                    <a:pt x="384" y="18236"/>
                    <a:pt x="384" y="18146"/>
                  </a:cubicBezTo>
                  <a:cubicBezTo>
                    <a:pt x="384" y="18102"/>
                    <a:pt x="380" y="18054"/>
                    <a:pt x="376" y="18000"/>
                  </a:cubicBezTo>
                  <a:cubicBezTo>
                    <a:pt x="421" y="18000"/>
                    <a:pt x="421" y="18000"/>
                    <a:pt x="421" y="18000"/>
                  </a:cubicBezTo>
                  <a:cubicBezTo>
                    <a:pt x="426" y="18053"/>
                    <a:pt x="429" y="18101"/>
                    <a:pt x="429" y="18146"/>
                  </a:cubicBezTo>
                  <a:cubicBezTo>
                    <a:pt x="429" y="18240"/>
                    <a:pt x="415" y="18320"/>
                    <a:pt x="365" y="18388"/>
                  </a:cubicBezTo>
                  <a:cubicBezTo>
                    <a:pt x="316" y="18456"/>
                    <a:pt x="234" y="18508"/>
                    <a:pt x="105" y="18552"/>
                  </a:cubicBezTo>
                  <a:close/>
                  <a:moveTo>
                    <a:pt x="0" y="13274"/>
                  </a:moveTo>
                  <a:cubicBezTo>
                    <a:pt x="4" y="13275"/>
                    <a:pt x="4" y="13275"/>
                    <a:pt x="4" y="13275"/>
                  </a:cubicBezTo>
                  <a:cubicBezTo>
                    <a:pt x="108" y="13294"/>
                    <a:pt x="108" y="13294"/>
                    <a:pt x="108" y="13294"/>
                  </a:cubicBezTo>
                  <a:cubicBezTo>
                    <a:pt x="122" y="13222"/>
                    <a:pt x="122" y="13222"/>
                    <a:pt x="122" y="13222"/>
                  </a:cubicBezTo>
                  <a:cubicBezTo>
                    <a:pt x="172" y="13231"/>
                    <a:pt x="172" y="13231"/>
                    <a:pt x="172" y="13231"/>
                  </a:cubicBezTo>
                  <a:cubicBezTo>
                    <a:pt x="178" y="13233"/>
                    <a:pt x="178" y="13233"/>
                    <a:pt x="178" y="13233"/>
                  </a:cubicBezTo>
                  <a:cubicBezTo>
                    <a:pt x="203" y="13113"/>
                    <a:pt x="203" y="13113"/>
                    <a:pt x="203" y="13113"/>
                  </a:cubicBezTo>
                  <a:cubicBezTo>
                    <a:pt x="88" y="13091"/>
                    <a:pt x="88" y="13091"/>
                    <a:pt x="88" y="13091"/>
                  </a:cubicBezTo>
                  <a:cubicBezTo>
                    <a:pt x="87" y="13097"/>
                    <a:pt x="87" y="13097"/>
                    <a:pt x="87" y="13097"/>
                  </a:cubicBezTo>
                  <a:cubicBezTo>
                    <a:pt x="86" y="13101"/>
                    <a:pt x="86" y="13101"/>
                    <a:pt x="86" y="13101"/>
                  </a:cubicBezTo>
                  <a:cubicBezTo>
                    <a:pt x="35" y="13092"/>
                    <a:pt x="35" y="13092"/>
                    <a:pt x="35" y="13092"/>
                  </a:cubicBezTo>
                  <a:cubicBezTo>
                    <a:pt x="4" y="13253"/>
                    <a:pt x="4" y="13253"/>
                    <a:pt x="4" y="13253"/>
                  </a:cubicBezTo>
                  <a:lnTo>
                    <a:pt x="0" y="13274"/>
                  </a:lnTo>
                  <a:close/>
                  <a:moveTo>
                    <a:pt x="45" y="13107"/>
                  </a:moveTo>
                  <a:cubicBezTo>
                    <a:pt x="96" y="13116"/>
                    <a:pt x="96" y="13116"/>
                    <a:pt x="96" y="13116"/>
                  </a:cubicBezTo>
                  <a:cubicBezTo>
                    <a:pt x="98" y="13110"/>
                    <a:pt x="98" y="13110"/>
                    <a:pt x="98" y="13110"/>
                  </a:cubicBezTo>
                  <a:cubicBezTo>
                    <a:pt x="98" y="13106"/>
                    <a:pt x="98" y="13106"/>
                    <a:pt x="98" y="13106"/>
                  </a:cubicBezTo>
                  <a:cubicBezTo>
                    <a:pt x="188" y="13123"/>
                    <a:pt x="188" y="13123"/>
                    <a:pt x="188" y="13123"/>
                  </a:cubicBezTo>
                  <a:cubicBezTo>
                    <a:pt x="168" y="13217"/>
                    <a:pt x="168" y="13217"/>
                    <a:pt x="168" y="13217"/>
                  </a:cubicBezTo>
                  <a:cubicBezTo>
                    <a:pt x="111" y="13207"/>
                    <a:pt x="111" y="13207"/>
                    <a:pt x="111" y="13207"/>
                  </a:cubicBezTo>
                  <a:cubicBezTo>
                    <a:pt x="98" y="13279"/>
                    <a:pt x="98" y="13279"/>
                    <a:pt x="98" y="13279"/>
                  </a:cubicBezTo>
                  <a:cubicBezTo>
                    <a:pt x="16" y="13263"/>
                    <a:pt x="16" y="13263"/>
                    <a:pt x="16" y="13263"/>
                  </a:cubicBezTo>
                  <a:lnTo>
                    <a:pt x="45" y="13107"/>
                  </a:lnTo>
                  <a:close/>
                  <a:moveTo>
                    <a:pt x="9360" y="13139"/>
                  </a:moveTo>
                  <a:cubicBezTo>
                    <a:pt x="9360" y="13139"/>
                    <a:pt x="9360" y="13139"/>
                    <a:pt x="9360" y="13139"/>
                  </a:cubicBezTo>
                  <a:cubicBezTo>
                    <a:pt x="9360" y="13139"/>
                    <a:pt x="9360" y="13139"/>
                    <a:pt x="9360" y="13139"/>
                  </a:cubicBezTo>
                  <a:close/>
                  <a:moveTo>
                    <a:pt x="3412" y="5065"/>
                  </a:moveTo>
                  <a:cubicBezTo>
                    <a:pt x="3412" y="5065"/>
                    <a:pt x="3412" y="5065"/>
                    <a:pt x="3412" y="5065"/>
                  </a:cubicBezTo>
                  <a:cubicBezTo>
                    <a:pt x="3412" y="5065"/>
                    <a:pt x="3412" y="5065"/>
                    <a:pt x="3412" y="5065"/>
                  </a:cubicBezTo>
                  <a:close/>
                  <a:moveTo>
                    <a:pt x="3935" y="9746"/>
                  </a:moveTo>
                  <a:cubicBezTo>
                    <a:pt x="3935" y="9746"/>
                    <a:pt x="3935" y="9746"/>
                    <a:pt x="3935" y="9746"/>
                  </a:cubicBezTo>
                  <a:cubicBezTo>
                    <a:pt x="3935" y="9746"/>
                    <a:pt x="3935" y="9746"/>
                    <a:pt x="3935" y="9746"/>
                  </a:cubicBezTo>
                  <a:close/>
                  <a:moveTo>
                    <a:pt x="2792" y="14933"/>
                  </a:moveTo>
                  <a:cubicBezTo>
                    <a:pt x="2816" y="14931"/>
                    <a:pt x="2833" y="14882"/>
                    <a:pt x="2834" y="14845"/>
                  </a:cubicBezTo>
                  <a:cubicBezTo>
                    <a:pt x="2834" y="14827"/>
                    <a:pt x="2829" y="14810"/>
                    <a:pt x="2813" y="14805"/>
                  </a:cubicBezTo>
                  <a:cubicBezTo>
                    <a:pt x="2775" y="14795"/>
                    <a:pt x="2672" y="14795"/>
                    <a:pt x="2640" y="14773"/>
                  </a:cubicBezTo>
                  <a:cubicBezTo>
                    <a:pt x="2607" y="14753"/>
                    <a:pt x="2522" y="14585"/>
                    <a:pt x="2449" y="14558"/>
                  </a:cubicBezTo>
                  <a:cubicBezTo>
                    <a:pt x="2379" y="14533"/>
                    <a:pt x="2224" y="14496"/>
                    <a:pt x="2178" y="14469"/>
                  </a:cubicBezTo>
                  <a:cubicBezTo>
                    <a:pt x="2132" y="14442"/>
                    <a:pt x="2002" y="14315"/>
                    <a:pt x="2002" y="14315"/>
                  </a:cubicBezTo>
                  <a:cubicBezTo>
                    <a:pt x="1995" y="14320"/>
                    <a:pt x="1995" y="14320"/>
                    <a:pt x="1995" y="14320"/>
                  </a:cubicBezTo>
                  <a:cubicBezTo>
                    <a:pt x="1995" y="14320"/>
                    <a:pt x="2082" y="14470"/>
                    <a:pt x="2156" y="14511"/>
                  </a:cubicBezTo>
                  <a:cubicBezTo>
                    <a:pt x="2229" y="14551"/>
                    <a:pt x="2370" y="14589"/>
                    <a:pt x="2406" y="14615"/>
                  </a:cubicBezTo>
                  <a:cubicBezTo>
                    <a:pt x="2442" y="14641"/>
                    <a:pt x="2517" y="14774"/>
                    <a:pt x="2565" y="14810"/>
                  </a:cubicBezTo>
                  <a:cubicBezTo>
                    <a:pt x="2613" y="14845"/>
                    <a:pt x="2672" y="14861"/>
                    <a:pt x="2690" y="14877"/>
                  </a:cubicBezTo>
                  <a:cubicBezTo>
                    <a:pt x="2710" y="14895"/>
                    <a:pt x="2762" y="14933"/>
                    <a:pt x="2792" y="14933"/>
                  </a:cubicBezTo>
                  <a:close/>
                  <a:moveTo>
                    <a:pt x="2410" y="14609"/>
                  </a:moveTo>
                  <a:cubicBezTo>
                    <a:pt x="2371" y="14580"/>
                    <a:pt x="2232" y="14543"/>
                    <a:pt x="2160" y="14504"/>
                  </a:cubicBezTo>
                  <a:cubicBezTo>
                    <a:pt x="2109" y="14476"/>
                    <a:pt x="2048" y="14388"/>
                    <a:pt x="2019" y="14343"/>
                  </a:cubicBezTo>
                  <a:cubicBezTo>
                    <a:pt x="2059" y="14381"/>
                    <a:pt x="2138" y="14455"/>
                    <a:pt x="2174" y="14476"/>
                  </a:cubicBezTo>
                  <a:cubicBezTo>
                    <a:pt x="2223" y="14504"/>
                    <a:pt x="2377" y="14541"/>
                    <a:pt x="2446" y="14566"/>
                  </a:cubicBezTo>
                  <a:cubicBezTo>
                    <a:pt x="2514" y="14589"/>
                    <a:pt x="2598" y="14756"/>
                    <a:pt x="2635" y="14780"/>
                  </a:cubicBezTo>
                  <a:cubicBezTo>
                    <a:pt x="2672" y="14804"/>
                    <a:pt x="2775" y="14803"/>
                    <a:pt x="2811" y="14813"/>
                  </a:cubicBezTo>
                  <a:cubicBezTo>
                    <a:pt x="2821" y="14815"/>
                    <a:pt x="2826" y="14828"/>
                    <a:pt x="2826" y="14845"/>
                  </a:cubicBezTo>
                  <a:cubicBezTo>
                    <a:pt x="2826" y="14862"/>
                    <a:pt x="2821" y="14883"/>
                    <a:pt x="2814" y="14899"/>
                  </a:cubicBezTo>
                  <a:cubicBezTo>
                    <a:pt x="2807" y="14915"/>
                    <a:pt x="2798" y="14926"/>
                    <a:pt x="2792" y="14925"/>
                  </a:cubicBezTo>
                  <a:cubicBezTo>
                    <a:pt x="2768" y="14925"/>
                    <a:pt x="2714" y="14888"/>
                    <a:pt x="2695" y="14871"/>
                  </a:cubicBezTo>
                  <a:cubicBezTo>
                    <a:pt x="2673" y="14852"/>
                    <a:pt x="2617" y="14838"/>
                    <a:pt x="2570" y="14803"/>
                  </a:cubicBezTo>
                  <a:cubicBezTo>
                    <a:pt x="2524" y="14770"/>
                    <a:pt x="2449" y="14638"/>
                    <a:pt x="2410" y="14609"/>
                  </a:cubicBezTo>
                  <a:close/>
                  <a:moveTo>
                    <a:pt x="593" y="13868"/>
                  </a:moveTo>
                  <a:cubicBezTo>
                    <a:pt x="593" y="13865"/>
                    <a:pt x="592" y="13863"/>
                    <a:pt x="591" y="13860"/>
                  </a:cubicBezTo>
                  <a:cubicBezTo>
                    <a:pt x="587" y="13853"/>
                    <a:pt x="586" y="13834"/>
                    <a:pt x="585" y="13829"/>
                  </a:cubicBezTo>
                  <a:cubicBezTo>
                    <a:pt x="584" y="13828"/>
                    <a:pt x="586" y="13826"/>
                    <a:pt x="581" y="13824"/>
                  </a:cubicBezTo>
                  <a:cubicBezTo>
                    <a:pt x="579" y="13825"/>
                    <a:pt x="578" y="13825"/>
                    <a:pt x="578" y="13826"/>
                  </a:cubicBezTo>
                  <a:cubicBezTo>
                    <a:pt x="571" y="13829"/>
                    <a:pt x="510" y="13861"/>
                    <a:pt x="473" y="13867"/>
                  </a:cubicBezTo>
                  <a:cubicBezTo>
                    <a:pt x="462" y="13869"/>
                    <a:pt x="452" y="13869"/>
                    <a:pt x="442" y="13869"/>
                  </a:cubicBezTo>
                  <a:cubicBezTo>
                    <a:pt x="416" y="13869"/>
                    <a:pt x="393" y="13864"/>
                    <a:pt x="378" y="13862"/>
                  </a:cubicBezTo>
                  <a:cubicBezTo>
                    <a:pt x="364" y="13859"/>
                    <a:pt x="336" y="13856"/>
                    <a:pt x="314" y="13856"/>
                  </a:cubicBezTo>
                  <a:cubicBezTo>
                    <a:pt x="302" y="13856"/>
                    <a:pt x="293" y="13856"/>
                    <a:pt x="287" y="13861"/>
                  </a:cubicBezTo>
                  <a:cubicBezTo>
                    <a:pt x="283" y="13864"/>
                    <a:pt x="281" y="13867"/>
                    <a:pt x="281" y="13871"/>
                  </a:cubicBezTo>
                  <a:cubicBezTo>
                    <a:pt x="282" y="13881"/>
                    <a:pt x="291" y="13886"/>
                    <a:pt x="301" y="13889"/>
                  </a:cubicBezTo>
                  <a:cubicBezTo>
                    <a:pt x="314" y="13893"/>
                    <a:pt x="368" y="13895"/>
                    <a:pt x="384" y="13903"/>
                  </a:cubicBezTo>
                  <a:cubicBezTo>
                    <a:pt x="401" y="13911"/>
                    <a:pt x="441" y="13940"/>
                    <a:pt x="475" y="13942"/>
                  </a:cubicBezTo>
                  <a:cubicBezTo>
                    <a:pt x="477" y="13942"/>
                    <a:pt x="479" y="13942"/>
                    <a:pt x="481" y="13942"/>
                  </a:cubicBezTo>
                  <a:cubicBezTo>
                    <a:pt x="513" y="13942"/>
                    <a:pt x="548" y="13930"/>
                    <a:pt x="566" y="13914"/>
                  </a:cubicBezTo>
                  <a:cubicBezTo>
                    <a:pt x="581" y="13900"/>
                    <a:pt x="592" y="13882"/>
                    <a:pt x="593" y="13868"/>
                  </a:cubicBezTo>
                  <a:close/>
                  <a:moveTo>
                    <a:pt x="481" y="13934"/>
                  </a:moveTo>
                  <a:cubicBezTo>
                    <a:pt x="479" y="13934"/>
                    <a:pt x="477" y="13933"/>
                    <a:pt x="475" y="13933"/>
                  </a:cubicBezTo>
                  <a:cubicBezTo>
                    <a:pt x="446" y="13932"/>
                    <a:pt x="406" y="13904"/>
                    <a:pt x="388" y="13895"/>
                  </a:cubicBezTo>
                  <a:cubicBezTo>
                    <a:pt x="368" y="13886"/>
                    <a:pt x="314" y="13884"/>
                    <a:pt x="303" y="13881"/>
                  </a:cubicBezTo>
                  <a:cubicBezTo>
                    <a:pt x="295" y="13879"/>
                    <a:pt x="289" y="13873"/>
                    <a:pt x="289" y="13871"/>
                  </a:cubicBezTo>
                  <a:cubicBezTo>
                    <a:pt x="289" y="13870"/>
                    <a:pt x="290" y="13869"/>
                    <a:pt x="292" y="13867"/>
                  </a:cubicBezTo>
                  <a:cubicBezTo>
                    <a:pt x="294" y="13865"/>
                    <a:pt x="303" y="13864"/>
                    <a:pt x="314" y="13864"/>
                  </a:cubicBezTo>
                  <a:cubicBezTo>
                    <a:pt x="335" y="13864"/>
                    <a:pt x="363" y="13867"/>
                    <a:pt x="376" y="13870"/>
                  </a:cubicBezTo>
                  <a:cubicBezTo>
                    <a:pt x="391" y="13872"/>
                    <a:pt x="415" y="13878"/>
                    <a:pt x="442" y="13878"/>
                  </a:cubicBezTo>
                  <a:cubicBezTo>
                    <a:pt x="452" y="13878"/>
                    <a:pt x="463" y="13877"/>
                    <a:pt x="474" y="13875"/>
                  </a:cubicBezTo>
                  <a:cubicBezTo>
                    <a:pt x="509" y="13869"/>
                    <a:pt x="562" y="13843"/>
                    <a:pt x="578" y="13835"/>
                  </a:cubicBezTo>
                  <a:cubicBezTo>
                    <a:pt x="578" y="13837"/>
                    <a:pt x="578" y="13839"/>
                    <a:pt x="579" y="13842"/>
                  </a:cubicBezTo>
                  <a:cubicBezTo>
                    <a:pt x="579" y="13849"/>
                    <a:pt x="581" y="13858"/>
                    <a:pt x="584" y="13864"/>
                  </a:cubicBezTo>
                  <a:cubicBezTo>
                    <a:pt x="584" y="13865"/>
                    <a:pt x="584" y="13866"/>
                    <a:pt x="584" y="13868"/>
                  </a:cubicBezTo>
                  <a:cubicBezTo>
                    <a:pt x="585" y="13877"/>
                    <a:pt x="574" y="13896"/>
                    <a:pt x="560" y="13908"/>
                  </a:cubicBezTo>
                  <a:cubicBezTo>
                    <a:pt x="545" y="13922"/>
                    <a:pt x="510" y="13934"/>
                    <a:pt x="481" y="13934"/>
                  </a:cubicBezTo>
                  <a:close/>
                  <a:moveTo>
                    <a:pt x="1229" y="9829"/>
                  </a:moveTo>
                  <a:cubicBezTo>
                    <a:pt x="1228" y="9829"/>
                    <a:pt x="1228" y="9829"/>
                    <a:pt x="1228" y="9829"/>
                  </a:cubicBezTo>
                  <a:cubicBezTo>
                    <a:pt x="1228" y="9829"/>
                    <a:pt x="1228" y="9829"/>
                    <a:pt x="1228" y="9829"/>
                  </a:cubicBezTo>
                  <a:lnTo>
                    <a:pt x="1229" y="9829"/>
                  </a:lnTo>
                  <a:close/>
                  <a:moveTo>
                    <a:pt x="1231" y="9831"/>
                  </a:moveTo>
                  <a:cubicBezTo>
                    <a:pt x="1231" y="9831"/>
                    <a:pt x="1231" y="9831"/>
                    <a:pt x="1231" y="9831"/>
                  </a:cubicBezTo>
                  <a:cubicBezTo>
                    <a:pt x="1231" y="9831"/>
                    <a:pt x="1231" y="9831"/>
                    <a:pt x="1231" y="9831"/>
                  </a:cubicBezTo>
                  <a:cubicBezTo>
                    <a:pt x="1231" y="9831"/>
                    <a:pt x="1231" y="9831"/>
                    <a:pt x="1231" y="9831"/>
                  </a:cubicBezTo>
                  <a:close/>
                  <a:moveTo>
                    <a:pt x="1228" y="9828"/>
                  </a:moveTo>
                  <a:cubicBezTo>
                    <a:pt x="1228" y="9828"/>
                    <a:pt x="1228" y="9828"/>
                    <a:pt x="1227" y="9828"/>
                  </a:cubicBezTo>
                  <a:cubicBezTo>
                    <a:pt x="1227" y="9828"/>
                    <a:pt x="1227" y="9828"/>
                    <a:pt x="1227" y="9828"/>
                  </a:cubicBezTo>
                  <a:cubicBezTo>
                    <a:pt x="1227" y="9828"/>
                    <a:pt x="1227" y="9828"/>
                    <a:pt x="1228" y="9828"/>
                  </a:cubicBezTo>
                  <a:close/>
                  <a:moveTo>
                    <a:pt x="1227" y="9828"/>
                  </a:moveTo>
                  <a:cubicBezTo>
                    <a:pt x="1227" y="9828"/>
                    <a:pt x="1227" y="9828"/>
                    <a:pt x="1227" y="9828"/>
                  </a:cubicBezTo>
                  <a:cubicBezTo>
                    <a:pt x="1227" y="9828"/>
                    <a:pt x="1227" y="9828"/>
                    <a:pt x="1227" y="9828"/>
                  </a:cubicBezTo>
                  <a:cubicBezTo>
                    <a:pt x="1227" y="9828"/>
                    <a:pt x="1227" y="9828"/>
                    <a:pt x="1227" y="9828"/>
                  </a:cubicBezTo>
                  <a:close/>
                  <a:moveTo>
                    <a:pt x="1229" y="9829"/>
                  </a:moveTo>
                  <a:cubicBezTo>
                    <a:pt x="1229" y="9829"/>
                    <a:pt x="1229" y="9829"/>
                    <a:pt x="1229" y="9829"/>
                  </a:cubicBezTo>
                  <a:cubicBezTo>
                    <a:pt x="1229" y="9829"/>
                    <a:pt x="1229" y="9829"/>
                    <a:pt x="1229" y="9829"/>
                  </a:cubicBezTo>
                  <a:cubicBezTo>
                    <a:pt x="1229" y="9829"/>
                    <a:pt x="1229" y="9829"/>
                    <a:pt x="1229" y="9829"/>
                  </a:cubicBezTo>
                  <a:close/>
                  <a:moveTo>
                    <a:pt x="14985" y="700"/>
                  </a:moveTo>
                  <a:cubicBezTo>
                    <a:pt x="14985" y="700"/>
                    <a:pt x="14985" y="700"/>
                    <a:pt x="14985" y="700"/>
                  </a:cubicBezTo>
                  <a:cubicBezTo>
                    <a:pt x="14985" y="700"/>
                    <a:pt x="14985" y="700"/>
                    <a:pt x="14985" y="700"/>
                  </a:cubicBezTo>
                  <a:cubicBezTo>
                    <a:pt x="14985" y="700"/>
                    <a:pt x="14985" y="700"/>
                    <a:pt x="14985" y="700"/>
                  </a:cubicBezTo>
                  <a:close/>
                  <a:moveTo>
                    <a:pt x="14985" y="700"/>
                  </a:moveTo>
                  <a:cubicBezTo>
                    <a:pt x="14985" y="700"/>
                    <a:pt x="14985" y="700"/>
                    <a:pt x="14985" y="700"/>
                  </a:cubicBezTo>
                  <a:cubicBezTo>
                    <a:pt x="14985" y="700"/>
                    <a:pt x="14985" y="700"/>
                    <a:pt x="14985" y="700"/>
                  </a:cubicBezTo>
                  <a:cubicBezTo>
                    <a:pt x="14985" y="700"/>
                    <a:pt x="14985" y="700"/>
                    <a:pt x="14985" y="700"/>
                  </a:cubicBezTo>
                  <a:close/>
                  <a:moveTo>
                    <a:pt x="14985" y="700"/>
                  </a:moveTo>
                  <a:cubicBezTo>
                    <a:pt x="14985" y="700"/>
                    <a:pt x="14985" y="700"/>
                    <a:pt x="14985" y="700"/>
                  </a:cubicBezTo>
                  <a:cubicBezTo>
                    <a:pt x="14985" y="700"/>
                    <a:pt x="14985" y="700"/>
                    <a:pt x="14984" y="701"/>
                  </a:cubicBezTo>
                  <a:cubicBezTo>
                    <a:pt x="14984" y="701"/>
                    <a:pt x="14984" y="701"/>
                    <a:pt x="14984" y="701"/>
                  </a:cubicBezTo>
                  <a:cubicBezTo>
                    <a:pt x="14984" y="700"/>
                    <a:pt x="14985" y="700"/>
                    <a:pt x="14985" y="700"/>
                  </a:cubicBezTo>
                  <a:close/>
                  <a:moveTo>
                    <a:pt x="4088" y="12929"/>
                  </a:moveTo>
                  <a:cubicBezTo>
                    <a:pt x="4114" y="12911"/>
                    <a:pt x="4137" y="12896"/>
                    <a:pt x="4142" y="12891"/>
                  </a:cubicBezTo>
                  <a:cubicBezTo>
                    <a:pt x="4146" y="12884"/>
                    <a:pt x="4156" y="12864"/>
                    <a:pt x="4156" y="12846"/>
                  </a:cubicBezTo>
                  <a:cubicBezTo>
                    <a:pt x="4156" y="12839"/>
                    <a:pt x="4155" y="12833"/>
                    <a:pt x="4151" y="12828"/>
                  </a:cubicBezTo>
                  <a:cubicBezTo>
                    <a:pt x="4148" y="12831"/>
                    <a:pt x="4148" y="12831"/>
                    <a:pt x="4148" y="12831"/>
                  </a:cubicBezTo>
                  <a:cubicBezTo>
                    <a:pt x="4150" y="12828"/>
                    <a:pt x="4150" y="12828"/>
                    <a:pt x="4150" y="12828"/>
                  </a:cubicBezTo>
                  <a:cubicBezTo>
                    <a:pt x="4150" y="12827"/>
                    <a:pt x="4124" y="12808"/>
                    <a:pt x="4081" y="12807"/>
                  </a:cubicBezTo>
                  <a:cubicBezTo>
                    <a:pt x="4077" y="12807"/>
                    <a:pt x="4071" y="12807"/>
                    <a:pt x="4065" y="12807"/>
                  </a:cubicBezTo>
                  <a:cubicBezTo>
                    <a:pt x="4007" y="12807"/>
                    <a:pt x="3862" y="12812"/>
                    <a:pt x="3848" y="12812"/>
                  </a:cubicBezTo>
                  <a:cubicBezTo>
                    <a:pt x="3844" y="12810"/>
                    <a:pt x="3829" y="12802"/>
                    <a:pt x="3818" y="12802"/>
                  </a:cubicBezTo>
                  <a:cubicBezTo>
                    <a:pt x="3814" y="12802"/>
                    <a:pt x="3809" y="12803"/>
                    <a:pt x="3806" y="12807"/>
                  </a:cubicBezTo>
                  <a:cubicBezTo>
                    <a:pt x="3804" y="12810"/>
                    <a:pt x="3804" y="12814"/>
                    <a:pt x="3804" y="12817"/>
                  </a:cubicBezTo>
                  <a:cubicBezTo>
                    <a:pt x="3804" y="12831"/>
                    <a:pt x="3817" y="12848"/>
                    <a:pt x="3841" y="12853"/>
                  </a:cubicBezTo>
                  <a:cubicBezTo>
                    <a:pt x="3864" y="12857"/>
                    <a:pt x="3987" y="12866"/>
                    <a:pt x="4016" y="12881"/>
                  </a:cubicBezTo>
                  <a:cubicBezTo>
                    <a:pt x="4020" y="12883"/>
                    <a:pt x="4020" y="12885"/>
                    <a:pt x="4020" y="12885"/>
                  </a:cubicBezTo>
                  <a:cubicBezTo>
                    <a:pt x="4020" y="12885"/>
                    <a:pt x="4020" y="12886"/>
                    <a:pt x="4020" y="12886"/>
                  </a:cubicBezTo>
                  <a:cubicBezTo>
                    <a:pt x="4012" y="12906"/>
                    <a:pt x="3970" y="12915"/>
                    <a:pt x="3940" y="12918"/>
                  </a:cubicBezTo>
                  <a:cubicBezTo>
                    <a:pt x="3911" y="12920"/>
                    <a:pt x="3876" y="12922"/>
                    <a:pt x="3852" y="12935"/>
                  </a:cubicBezTo>
                  <a:cubicBezTo>
                    <a:pt x="3835" y="12943"/>
                    <a:pt x="3820" y="12961"/>
                    <a:pt x="3820" y="12979"/>
                  </a:cubicBezTo>
                  <a:cubicBezTo>
                    <a:pt x="3820" y="12987"/>
                    <a:pt x="3823" y="12995"/>
                    <a:pt x="3831" y="13000"/>
                  </a:cubicBezTo>
                  <a:cubicBezTo>
                    <a:pt x="3840" y="13008"/>
                    <a:pt x="3850" y="13012"/>
                    <a:pt x="3859" y="13012"/>
                  </a:cubicBezTo>
                  <a:cubicBezTo>
                    <a:pt x="3870" y="13012"/>
                    <a:pt x="3880" y="13007"/>
                    <a:pt x="3889" y="13001"/>
                  </a:cubicBezTo>
                  <a:cubicBezTo>
                    <a:pt x="3902" y="12993"/>
                    <a:pt x="3930" y="12980"/>
                    <a:pt x="3939" y="12979"/>
                  </a:cubicBezTo>
                  <a:cubicBezTo>
                    <a:pt x="3939" y="12983"/>
                    <a:pt x="3938" y="12987"/>
                    <a:pt x="3938" y="12991"/>
                  </a:cubicBezTo>
                  <a:cubicBezTo>
                    <a:pt x="3939" y="13022"/>
                    <a:pt x="3950" y="13065"/>
                    <a:pt x="3970" y="13071"/>
                  </a:cubicBezTo>
                  <a:cubicBezTo>
                    <a:pt x="3977" y="13072"/>
                    <a:pt x="3984" y="13073"/>
                    <a:pt x="3989" y="13073"/>
                  </a:cubicBezTo>
                  <a:cubicBezTo>
                    <a:pt x="3990" y="13073"/>
                    <a:pt x="3990" y="13073"/>
                    <a:pt x="3990" y="13073"/>
                  </a:cubicBezTo>
                  <a:cubicBezTo>
                    <a:pt x="3999" y="13073"/>
                    <a:pt x="4007" y="13069"/>
                    <a:pt x="4009" y="13059"/>
                  </a:cubicBezTo>
                  <a:cubicBezTo>
                    <a:pt x="4013" y="13043"/>
                    <a:pt x="4011" y="12990"/>
                    <a:pt x="4026" y="12975"/>
                  </a:cubicBezTo>
                  <a:cubicBezTo>
                    <a:pt x="4034" y="12966"/>
                    <a:pt x="4062" y="12947"/>
                    <a:pt x="4088" y="12929"/>
                  </a:cubicBezTo>
                  <a:close/>
                  <a:moveTo>
                    <a:pt x="4001" y="13057"/>
                  </a:moveTo>
                  <a:cubicBezTo>
                    <a:pt x="3999" y="13064"/>
                    <a:pt x="3997" y="13065"/>
                    <a:pt x="3989" y="13065"/>
                  </a:cubicBezTo>
                  <a:cubicBezTo>
                    <a:pt x="3985" y="13065"/>
                    <a:pt x="3979" y="13064"/>
                    <a:pt x="3972" y="13063"/>
                  </a:cubicBezTo>
                  <a:cubicBezTo>
                    <a:pt x="3961" y="13063"/>
                    <a:pt x="3946" y="13020"/>
                    <a:pt x="3947" y="12991"/>
                  </a:cubicBezTo>
                  <a:cubicBezTo>
                    <a:pt x="3947" y="12986"/>
                    <a:pt x="3947" y="12982"/>
                    <a:pt x="3948" y="12978"/>
                  </a:cubicBezTo>
                  <a:cubicBezTo>
                    <a:pt x="3948" y="12978"/>
                    <a:pt x="3948" y="12977"/>
                    <a:pt x="3948" y="12976"/>
                  </a:cubicBezTo>
                  <a:cubicBezTo>
                    <a:pt x="3948" y="12972"/>
                    <a:pt x="3943" y="12970"/>
                    <a:pt x="3941" y="12970"/>
                  </a:cubicBezTo>
                  <a:cubicBezTo>
                    <a:pt x="3928" y="12971"/>
                    <a:pt x="3900" y="12985"/>
                    <a:pt x="3885" y="12994"/>
                  </a:cubicBezTo>
                  <a:cubicBezTo>
                    <a:pt x="3876" y="12999"/>
                    <a:pt x="3867" y="13003"/>
                    <a:pt x="3859" y="13003"/>
                  </a:cubicBezTo>
                  <a:cubicBezTo>
                    <a:pt x="3852" y="13003"/>
                    <a:pt x="3844" y="13001"/>
                    <a:pt x="3836" y="12994"/>
                  </a:cubicBezTo>
                  <a:cubicBezTo>
                    <a:pt x="3830" y="12990"/>
                    <a:pt x="3828" y="12985"/>
                    <a:pt x="3828" y="12979"/>
                  </a:cubicBezTo>
                  <a:cubicBezTo>
                    <a:pt x="3828" y="12966"/>
                    <a:pt x="3841" y="12949"/>
                    <a:pt x="3856" y="12942"/>
                  </a:cubicBezTo>
                  <a:cubicBezTo>
                    <a:pt x="3878" y="12931"/>
                    <a:pt x="3912" y="12929"/>
                    <a:pt x="3941" y="12926"/>
                  </a:cubicBezTo>
                  <a:cubicBezTo>
                    <a:pt x="3971" y="12922"/>
                    <a:pt x="4015" y="12916"/>
                    <a:pt x="4028" y="12889"/>
                  </a:cubicBezTo>
                  <a:cubicBezTo>
                    <a:pt x="4028" y="12888"/>
                    <a:pt x="4028" y="12887"/>
                    <a:pt x="4028" y="12885"/>
                  </a:cubicBezTo>
                  <a:cubicBezTo>
                    <a:pt x="4027" y="12875"/>
                    <a:pt x="4016" y="12872"/>
                    <a:pt x="4000" y="12867"/>
                  </a:cubicBezTo>
                  <a:cubicBezTo>
                    <a:pt x="3985" y="12863"/>
                    <a:pt x="3965" y="12860"/>
                    <a:pt x="3943" y="12857"/>
                  </a:cubicBezTo>
                  <a:cubicBezTo>
                    <a:pt x="3901" y="12851"/>
                    <a:pt x="3855" y="12847"/>
                    <a:pt x="3842" y="12845"/>
                  </a:cubicBezTo>
                  <a:cubicBezTo>
                    <a:pt x="3822" y="12841"/>
                    <a:pt x="3812" y="12826"/>
                    <a:pt x="3812" y="12817"/>
                  </a:cubicBezTo>
                  <a:cubicBezTo>
                    <a:pt x="3812" y="12815"/>
                    <a:pt x="3812" y="12813"/>
                    <a:pt x="3813" y="12812"/>
                  </a:cubicBezTo>
                  <a:cubicBezTo>
                    <a:pt x="3814" y="12811"/>
                    <a:pt x="3815" y="12810"/>
                    <a:pt x="3818" y="12810"/>
                  </a:cubicBezTo>
                  <a:cubicBezTo>
                    <a:pt x="3827" y="12810"/>
                    <a:pt x="3845" y="12820"/>
                    <a:pt x="3845" y="12820"/>
                  </a:cubicBezTo>
                  <a:cubicBezTo>
                    <a:pt x="3846" y="12820"/>
                    <a:pt x="3846" y="12820"/>
                    <a:pt x="3846" y="12820"/>
                  </a:cubicBezTo>
                  <a:cubicBezTo>
                    <a:pt x="3847" y="12820"/>
                    <a:pt x="3847" y="12820"/>
                    <a:pt x="3847" y="12820"/>
                  </a:cubicBezTo>
                  <a:cubicBezTo>
                    <a:pt x="3847" y="12820"/>
                    <a:pt x="4004" y="12815"/>
                    <a:pt x="4065" y="12815"/>
                  </a:cubicBezTo>
                  <a:cubicBezTo>
                    <a:pt x="4071" y="12815"/>
                    <a:pt x="4077" y="12815"/>
                    <a:pt x="4081" y="12815"/>
                  </a:cubicBezTo>
                  <a:cubicBezTo>
                    <a:pt x="4119" y="12816"/>
                    <a:pt x="4142" y="12832"/>
                    <a:pt x="4145" y="12834"/>
                  </a:cubicBezTo>
                  <a:cubicBezTo>
                    <a:pt x="4147" y="12837"/>
                    <a:pt x="4148" y="12841"/>
                    <a:pt x="4148" y="12846"/>
                  </a:cubicBezTo>
                  <a:cubicBezTo>
                    <a:pt x="4148" y="12860"/>
                    <a:pt x="4138" y="12882"/>
                    <a:pt x="4135" y="12886"/>
                  </a:cubicBezTo>
                  <a:cubicBezTo>
                    <a:pt x="4134" y="12888"/>
                    <a:pt x="4109" y="12905"/>
                    <a:pt x="4083" y="12923"/>
                  </a:cubicBezTo>
                  <a:cubicBezTo>
                    <a:pt x="4057" y="12940"/>
                    <a:pt x="4030" y="12959"/>
                    <a:pt x="4020" y="12969"/>
                  </a:cubicBezTo>
                  <a:cubicBezTo>
                    <a:pt x="4001" y="12990"/>
                    <a:pt x="4005" y="13044"/>
                    <a:pt x="4001" y="13057"/>
                  </a:cubicBezTo>
                  <a:close/>
                  <a:moveTo>
                    <a:pt x="2614" y="11344"/>
                  </a:moveTo>
                  <a:cubicBezTo>
                    <a:pt x="2614" y="11369"/>
                    <a:pt x="2621" y="11392"/>
                    <a:pt x="2621" y="11403"/>
                  </a:cubicBezTo>
                  <a:cubicBezTo>
                    <a:pt x="2621" y="11405"/>
                    <a:pt x="2620" y="11407"/>
                    <a:pt x="2620" y="11408"/>
                  </a:cubicBezTo>
                  <a:cubicBezTo>
                    <a:pt x="2615" y="11426"/>
                    <a:pt x="2625" y="11514"/>
                    <a:pt x="2572" y="11564"/>
                  </a:cubicBezTo>
                  <a:cubicBezTo>
                    <a:pt x="2543" y="11591"/>
                    <a:pt x="2539" y="11598"/>
                    <a:pt x="2539" y="11599"/>
                  </a:cubicBezTo>
                  <a:cubicBezTo>
                    <a:pt x="2536" y="11605"/>
                    <a:pt x="2536" y="11605"/>
                    <a:pt x="2536" y="11605"/>
                  </a:cubicBezTo>
                  <a:cubicBezTo>
                    <a:pt x="2543" y="11605"/>
                    <a:pt x="2543" y="11605"/>
                    <a:pt x="2543" y="11605"/>
                  </a:cubicBezTo>
                  <a:cubicBezTo>
                    <a:pt x="2543" y="11605"/>
                    <a:pt x="2595" y="11602"/>
                    <a:pt x="2653" y="11577"/>
                  </a:cubicBezTo>
                  <a:cubicBezTo>
                    <a:pt x="2710" y="11553"/>
                    <a:pt x="2778" y="11531"/>
                    <a:pt x="2790" y="11457"/>
                  </a:cubicBezTo>
                  <a:cubicBezTo>
                    <a:pt x="2790" y="11457"/>
                    <a:pt x="2789" y="11437"/>
                    <a:pt x="2789" y="11411"/>
                  </a:cubicBezTo>
                  <a:cubicBezTo>
                    <a:pt x="2789" y="11387"/>
                    <a:pt x="2790" y="11359"/>
                    <a:pt x="2795" y="11341"/>
                  </a:cubicBezTo>
                  <a:cubicBezTo>
                    <a:pt x="2806" y="11302"/>
                    <a:pt x="2849" y="11266"/>
                    <a:pt x="2849" y="11224"/>
                  </a:cubicBezTo>
                  <a:cubicBezTo>
                    <a:pt x="2849" y="11223"/>
                    <a:pt x="2849" y="11223"/>
                    <a:pt x="2849" y="11222"/>
                  </a:cubicBezTo>
                  <a:cubicBezTo>
                    <a:pt x="2848" y="11182"/>
                    <a:pt x="2840" y="11172"/>
                    <a:pt x="2827" y="11163"/>
                  </a:cubicBezTo>
                  <a:cubicBezTo>
                    <a:pt x="2820" y="11159"/>
                    <a:pt x="2812" y="11157"/>
                    <a:pt x="2801" y="11157"/>
                  </a:cubicBezTo>
                  <a:cubicBezTo>
                    <a:pt x="2760" y="11157"/>
                    <a:pt x="2689" y="11189"/>
                    <a:pt x="2621" y="11306"/>
                  </a:cubicBezTo>
                  <a:cubicBezTo>
                    <a:pt x="2616" y="11318"/>
                    <a:pt x="2614" y="11332"/>
                    <a:pt x="2614" y="11344"/>
                  </a:cubicBezTo>
                  <a:close/>
                  <a:moveTo>
                    <a:pt x="2628" y="11309"/>
                  </a:moveTo>
                  <a:cubicBezTo>
                    <a:pt x="2695" y="11195"/>
                    <a:pt x="2764" y="11165"/>
                    <a:pt x="2801" y="11165"/>
                  </a:cubicBezTo>
                  <a:cubicBezTo>
                    <a:pt x="2810" y="11165"/>
                    <a:pt x="2818" y="11167"/>
                    <a:pt x="2822" y="11170"/>
                  </a:cubicBezTo>
                  <a:cubicBezTo>
                    <a:pt x="2834" y="11178"/>
                    <a:pt x="2839" y="11183"/>
                    <a:pt x="2841" y="11223"/>
                  </a:cubicBezTo>
                  <a:cubicBezTo>
                    <a:pt x="2841" y="11223"/>
                    <a:pt x="2841" y="11223"/>
                    <a:pt x="2841" y="11224"/>
                  </a:cubicBezTo>
                  <a:cubicBezTo>
                    <a:pt x="2842" y="11260"/>
                    <a:pt x="2799" y="11297"/>
                    <a:pt x="2787" y="11338"/>
                  </a:cubicBezTo>
                  <a:cubicBezTo>
                    <a:pt x="2782" y="11359"/>
                    <a:pt x="2781" y="11387"/>
                    <a:pt x="2781" y="11411"/>
                  </a:cubicBezTo>
                  <a:cubicBezTo>
                    <a:pt x="2781" y="11436"/>
                    <a:pt x="2782" y="11457"/>
                    <a:pt x="2782" y="11457"/>
                  </a:cubicBezTo>
                  <a:cubicBezTo>
                    <a:pt x="2771" y="11524"/>
                    <a:pt x="2708" y="11545"/>
                    <a:pt x="2650" y="11570"/>
                  </a:cubicBezTo>
                  <a:cubicBezTo>
                    <a:pt x="2607" y="11588"/>
                    <a:pt x="2568" y="11594"/>
                    <a:pt x="2551" y="11596"/>
                  </a:cubicBezTo>
                  <a:cubicBezTo>
                    <a:pt x="2556" y="11591"/>
                    <a:pt x="2563" y="11583"/>
                    <a:pt x="2577" y="11570"/>
                  </a:cubicBezTo>
                  <a:cubicBezTo>
                    <a:pt x="2635" y="11517"/>
                    <a:pt x="2624" y="11423"/>
                    <a:pt x="2628" y="11410"/>
                  </a:cubicBezTo>
                  <a:cubicBezTo>
                    <a:pt x="2629" y="11408"/>
                    <a:pt x="2629" y="11406"/>
                    <a:pt x="2629" y="11403"/>
                  </a:cubicBezTo>
                  <a:cubicBezTo>
                    <a:pt x="2629" y="11389"/>
                    <a:pt x="2622" y="11368"/>
                    <a:pt x="2622" y="11344"/>
                  </a:cubicBezTo>
                  <a:cubicBezTo>
                    <a:pt x="2622" y="11332"/>
                    <a:pt x="2624" y="11320"/>
                    <a:pt x="2628" y="11309"/>
                  </a:cubicBezTo>
                  <a:close/>
                  <a:moveTo>
                    <a:pt x="550" y="9452"/>
                  </a:moveTo>
                  <a:cubicBezTo>
                    <a:pt x="583" y="9477"/>
                    <a:pt x="634" y="9504"/>
                    <a:pt x="644" y="9551"/>
                  </a:cubicBezTo>
                  <a:cubicBezTo>
                    <a:pt x="645" y="9556"/>
                    <a:pt x="646" y="9562"/>
                    <a:pt x="646" y="9567"/>
                  </a:cubicBezTo>
                  <a:cubicBezTo>
                    <a:pt x="646" y="9608"/>
                    <a:pt x="615" y="9644"/>
                    <a:pt x="615" y="9644"/>
                  </a:cubicBezTo>
                  <a:cubicBezTo>
                    <a:pt x="611" y="9649"/>
                    <a:pt x="611" y="9649"/>
                    <a:pt x="611" y="9649"/>
                  </a:cubicBezTo>
                  <a:cubicBezTo>
                    <a:pt x="616" y="9651"/>
                    <a:pt x="616" y="9651"/>
                    <a:pt x="616" y="9651"/>
                  </a:cubicBezTo>
                  <a:cubicBezTo>
                    <a:pt x="616" y="9651"/>
                    <a:pt x="676" y="9678"/>
                    <a:pt x="697" y="9686"/>
                  </a:cubicBezTo>
                  <a:cubicBezTo>
                    <a:pt x="705" y="9690"/>
                    <a:pt x="718" y="9692"/>
                    <a:pt x="734" y="9692"/>
                  </a:cubicBezTo>
                  <a:cubicBezTo>
                    <a:pt x="760" y="9692"/>
                    <a:pt x="794" y="9686"/>
                    <a:pt x="822" y="9667"/>
                  </a:cubicBezTo>
                  <a:cubicBezTo>
                    <a:pt x="866" y="9638"/>
                    <a:pt x="898" y="9608"/>
                    <a:pt x="913" y="9582"/>
                  </a:cubicBezTo>
                  <a:cubicBezTo>
                    <a:pt x="926" y="9558"/>
                    <a:pt x="940" y="9532"/>
                    <a:pt x="945" y="9530"/>
                  </a:cubicBezTo>
                  <a:cubicBezTo>
                    <a:pt x="948" y="9529"/>
                    <a:pt x="948" y="9529"/>
                    <a:pt x="948" y="9529"/>
                  </a:cubicBezTo>
                  <a:cubicBezTo>
                    <a:pt x="947" y="9526"/>
                    <a:pt x="947" y="9526"/>
                    <a:pt x="947" y="9526"/>
                  </a:cubicBezTo>
                  <a:cubicBezTo>
                    <a:pt x="947" y="9525"/>
                    <a:pt x="941" y="9509"/>
                    <a:pt x="919" y="9509"/>
                  </a:cubicBezTo>
                  <a:cubicBezTo>
                    <a:pt x="910" y="9509"/>
                    <a:pt x="899" y="9511"/>
                    <a:pt x="884" y="9519"/>
                  </a:cubicBezTo>
                  <a:cubicBezTo>
                    <a:pt x="847" y="9538"/>
                    <a:pt x="813" y="9556"/>
                    <a:pt x="791" y="9556"/>
                  </a:cubicBezTo>
                  <a:cubicBezTo>
                    <a:pt x="785" y="9556"/>
                    <a:pt x="780" y="9555"/>
                    <a:pt x="776" y="9552"/>
                  </a:cubicBezTo>
                  <a:cubicBezTo>
                    <a:pt x="752" y="9537"/>
                    <a:pt x="744" y="9533"/>
                    <a:pt x="738" y="9504"/>
                  </a:cubicBezTo>
                  <a:cubicBezTo>
                    <a:pt x="733" y="9474"/>
                    <a:pt x="722" y="9443"/>
                    <a:pt x="685" y="9433"/>
                  </a:cubicBezTo>
                  <a:cubicBezTo>
                    <a:pt x="649" y="9423"/>
                    <a:pt x="608" y="9420"/>
                    <a:pt x="599" y="9415"/>
                  </a:cubicBezTo>
                  <a:cubicBezTo>
                    <a:pt x="591" y="9411"/>
                    <a:pt x="557" y="9394"/>
                    <a:pt x="549" y="9389"/>
                  </a:cubicBezTo>
                  <a:cubicBezTo>
                    <a:pt x="548" y="9389"/>
                    <a:pt x="548" y="9388"/>
                    <a:pt x="548" y="9388"/>
                  </a:cubicBezTo>
                  <a:cubicBezTo>
                    <a:pt x="547" y="9386"/>
                    <a:pt x="545" y="9386"/>
                    <a:pt x="544" y="9386"/>
                  </a:cubicBezTo>
                  <a:cubicBezTo>
                    <a:pt x="544" y="9386"/>
                    <a:pt x="540" y="9386"/>
                    <a:pt x="540" y="9390"/>
                  </a:cubicBezTo>
                  <a:cubicBezTo>
                    <a:pt x="540" y="9391"/>
                    <a:pt x="540" y="9392"/>
                    <a:pt x="540" y="9392"/>
                  </a:cubicBezTo>
                  <a:cubicBezTo>
                    <a:pt x="539" y="9396"/>
                    <a:pt x="533" y="9408"/>
                    <a:pt x="533" y="9420"/>
                  </a:cubicBezTo>
                  <a:cubicBezTo>
                    <a:pt x="533" y="9431"/>
                    <a:pt x="537" y="9443"/>
                    <a:pt x="550" y="9452"/>
                  </a:cubicBezTo>
                  <a:close/>
                  <a:moveTo>
                    <a:pt x="547" y="9398"/>
                  </a:moveTo>
                  <a:cubicBezTo>
                    <a:pt x="547" y="9398"/>
                    <a:pt x="548" y="9398"/>
                    <a:pt x="549" y="9399"/>
                  </a:cubicBezTo>
                  <a:cubicBezTo>
                    <a:pt x="553" y="9401"/>
                    <a:pt x="559" y="9404"/>
                    <a:pt x="565" y="9407"/>
                  </a:cubicBezTo>
                  <a:cubicBezTo>
                    <a:pt x="577" y="9413"/>
                    <a:pt x="590" y="9420"/>
                    <a:pt x="596" y="9423"/>
                  </a:cubicBezTo>
                  <a:cubicBezTo>
                    <a:pt x="609" y="9429"/>
                    <a:pt x="647" y="9431"/>
                    <a:pt x="682" y="9441"/>
                  </a:cubicBezTo>
                  <a:cubicBezTo>
                    <a:pt x="716" y="9450"/>
                    <a:pt x="724" y="9476"/>
                    <a:pt x="730" y="9506"/>
                  </a:cubicBezTo>
                  <a:cubicBezTo>
                    <a:pt x="735" y="9537"/>
                    <a:pt x="749" y="9544"/>
                    <a:pt x="771" y="9559"/>
                  </a:cubicBezTo>
                  <a:cubicBezTo>
                    <a:pt x="777" y="9563"/>
                    <a:pt x="784" y="9564"/>
                    <a:pt x="791" y="9564"/>
                  </a:cubicBezTo>
                  <a:cubicBezTo>
                    <a:pt x="817" y="9564"/>
                    <a:pt x="850" y="9545"/>
                    <a:pt x="888" y="9526"/>
                  </a:cubicBezTo>
                  <a:cubicBezTo>
                    <a:pt x="902" y="9519"/>
                    <a:pt x="912" y="9517"/>
                    <a:pt x="919" y="9517"/>
                  </a:cubicBezTo>
                  <a:cubicBezTo>
                    <a:pt x="931" y="9517"/>
                    <a:pt x="936" y="9522"/>
                    <a:pt x="938" y="9526"/>
                  </a:cubicBezTo>
                  <a:cubicBezTo>
                    <a:pt x="928" y="9534"/>
                    <a:pt x="918" y="9556"/>
                    <a:pt x="905" y="9578"/>
                  </a:cubicBezTo>
                  <a:cubicBezTo>
                    <a:pt x="892" y="9602"/>
                    <a:pt x="861" y="9632"/>
                    <a:pt x="818" y="9660"/>
                  </a:cubicBezTo>
                  <a:cubicBezTo>
                    <a:pt x="791" y="9678"/>
                    <a:pt x="759" y="9684"/>
                    <a:pt x="734" y="9684"/>
                  </a:cubicBezTo>
                  <a:cubicBezTo>
                    <a:pt x="719" y="9684"/>
                    <a:pt x="707" y="9682"/>
                    <a:pt x="700" y="9679"/>
                  </a:cubicBezTo>
                  <a:cubicBezTo>
                    <a:pt x="683" y="9672"/>
                    <a:pt x="639" y="9652"/>
                    <a:pt x="624" y="9645"/>
                  </a:cubicBezTo>
                  <a:cubicBezTo>
                    <a:pt x="633" y="9634"/>
                    <a:pt x="654" y="9603"/>
                    <a:pt x="654" y="9567"/>
                  </a:cubicBezTo>
                  <a:cubicBezTo>
                    <a:pt x="654" y="9561"/>
                    <a:pt x="653" y="9555"/>
                    <a:pt x="652" y="9549"/>
                  </a:cubicBezTo>
                  <a:cubicBezTo>
                    <a:pt x="640" y="9497"/>
                    <a:pt x="587" y="9470"/>
                    <a:pt x="555" y="9446"/>
                  </a:cubicBezTo>
                  <a:cubicBezTo>
                    <a:pt x="544" y="9437"/>
                    <a:pt x="541" y="9429"/>
                    <a:pt x="541" y="9420"/>
                  </a:cubicBezTo>
                  <a:cubicBezTo>
                    <a:pt x="541" y="9411"/>
                    <a:pt x="544" y="9403"/>
                    <a:pt x="547" y="9398"/>
                  </a:cubicBezTo>
                  <a:close/>
                  <a:moveTo>
                    <a:pt x="1653" y="8749"/>
                  </a:moveTo>
                  <a:cubicBezTo>
                    <a:pt x="1654" y="8750"/>
                    <a:pt x="1654" y="8750"/>
                    <a:pt x="1654" y="8750"/>
                  </a:cubicBezTo>
                  <a:cubicBezTo>
                    <a:pt x="1656" y="8749"/>
                    <a:pt x="1656" y="8749"/>
                    <a:pt x="1656" y="8749"/>
                  </a:cubicBezTo>
                  <a:cubicBezTo>
                    <a:pt x="1656" y="8748"/>
                    <a:pt x="1684" y="8730"/>
                    <a:pt x="1696" y="8702"/>
                  </a:cubicBezTo>
                  <a:cubicBezTo>
                    <a:pt x="1707" y="8675"/>
                    <a:pt x="1717" y="8667"/>
                    <a:pt x="1740" y="8659"/>
                  </a:cubicBezTo>
                  <a:cubicBezTo>
                    <a:pt x="1762" y="8651"/>
                    <a:pt x="1811" y="8648"/>
                    <a:pt x="1855" y="8624"/>
                  </a:cubicBezTo>
                  <a:cubicBezTo>
                    <a:pt x="1883" y="8609"/>
                    <a:pt x="1898" y="8596"/>
                    <a:pt x="1899" y="8581"/>
                  </a:cubicBezTo>
                  <a:cubicBezTo>
                    <a:pt x="1899" y="8572"/>
                    <a:pt x="1893" y="8565"/>
                    <a:pt x="1882" y="8560"/>
                  </a:cubicBezTo>
                  <a:cubicBezTo>
                    <a:pt x="1855" y="8545"/>
                    <a:pt x="1798" y="8550"/>
                    <a:pt x="1782" y="8543"/>
                  </a:cubicBezTo>
                  <a:cubicBezTo>
                    <a:pt x="1772" y="8539"/>
                    <a:pt x="1760" y="8524"/>
                    <a:pt x="1760" y="8512"/>
                  </a:cubicBezTo>
                  <a:cubicBezTo>
                    <a:pt x="1760" y="8506"/>
                    <a:pt x="1762" y="8501"/>
                    <a:pt x="1768" y="8497"/>
                  </a:cubicBezTo>
                  <a:cubicBezTo>
                    <a:pt x="1788" y="8482"/>
                    <a:pt x="1835" y="8485"/>
                    <a:pt x="1842" y="8462"/>
                  </a:cubicBezTo>
                  <a:cubicBezTo>
                    <a:pt x="1843" y="8458"/>
                    <a:pt x="1844" y="8452"/>
                    <a:pt x="1844" y="8445"/>
                  </a:cubicBezTo>
                  <a:cubicBezTo>
                    <a:pt x="1844" y="8421"/>
                    <a:pt x="1836" y="8381"/>
                    <a:pt x="1802" y="8380"/>
                  </a:cubicBezTo>
                  <a:cubicBezTo>
                    <a:pt x="1801" y="8380"/>
                    <a:pt x="1800" y="8380"/>
                    <a:pt x="1798" y="8380"/>
                  </a:cubicBezTo>
                  <a:cubicBezTo>
                    <a:pt x="1754" y="8385"/>
                    <a:pt x="1749" y="8423"/>
                    <a:pt x="1744" y="8439"/>
                  </a:cubicBezTo>
                  <a:cubicBezTo>
                    <a:pt x="1741" y="8454"/>
                    <a:pt x="1703" y="8468"/>
                    <a:pt x="1689" y="8484"/>
                  </a:cubicBezTo>
                  <a:cubicBezTo>
                    <a:pt x="1680" y="8495"/>
                    <a:pt x="1671" y="8505"/>
                    <a:pt x="1671" y="8517"/>
                  </a:cubicBezTo>
                  <a:cubicBezTo>
                    <a:pt x="1670" y="8522"/>
                    <a:pt x="1673" y="8527"/>
                    <a:pt x="1677" y="8532"/>
                  </a:cubicBezTo>
                  <a:cubicBezTo>
                    <a:pt x="1685" y="8542"/>
                    <a:pt x="1694" y="8558"/>
                    <a:pt x="1694" y="8572"/>
                  </a:cubicBezTo>
                  <a:cubicBezTo>
                    <a:pt x="1694" y="8576"/>
                    <a:pt x="1693" y="8581"/>
                    <a:pt x="1691" y="8585"/>
                  </a:cubicBezTo>
                  <a:cubicBezTo>
                    <a:pt x="1683" y="8602"/>
                    <a:pt x="1657" y="8610"/>
                    <a:pt x="1643" y="8647"/>
                  </a:cubicBezTo>
                  <a:cubicBezTo>
                    <a:pt x="1636" y="8665"/>
                    <a:pt x="1631" y="8688"/>
                    <a:pt x="1631" y="8707"/>
                  </a:cubicBezTo>
                  <a:cubicBezTo>
                    <a:pt x="1631" y="8727"/>
                    <a:pt x="1636" y="8745"/>
                    <a:pt x="1653" y="8749"/>
                  </a:cubicBezTo>
                  <a:close/>
                  <a:moveTo>
                    <a:pt x="1651" y="8650"/>
                  </a:moveTo>
                  <a:cubicBezTo>
                    <a:pt x="1664" y="8616"/>
                    <a:pt x="1687" y="8610"/>
                    <a:pt x="1698" y="8588"/>
                  </a:cubicBezTo>
                  <a:cubicBezTo>
                    <a:pt x="1701" y="8583"/>
                    <a:pt x="1702" y="8577"/>
                    <a:pt x="1702" y="8572"/>
                  </a:cubicBezTo>
                  <a:cubicBezTo>
                    <a:pt x="1702" y="8554"/>
                    <a:pt x="1692" y="8537"/>
                    <a:pt x="1683" y="8527"/>
                  </a:cubicBezTo>
                  <a:cubicBezTo>
                    <a:pt x="1680" y="8523"/>
                    <a:pt x="1679" y="8520"/>
                    <a:pt x="1679" y="8517"/>
                  </a:cubicBezTo>
                  <a:cubicBezTo>
                    <a:pt x="1678" y="8510"/>
                    <a:pt x="1686" y="8500"/>
                    <a:pt x="1695" y="8489"/>
                  </a:cubicBezTo>
                  <a:cubicBezTo>
                    <a:pt x="1706" y="8476"/>
                    <a:pt x="1744" y="8463"/>
                    <a:pt x="1752" y="8442"/>
                  </a:cubicBezTo>
                  <a:cubicBezTo>
                    <a:pt x="1758" y="8423"/>
                    <a:pt x="1761" y="8392"/>
                    <a:pt x="1799" y="8388"/>
                  </a:cubicBezTo>
                  <a:cubicBezTo>
                    <a:pt x="1800" y="8388"/>
                    <a:pt x="1801" y="8388"/>
                    <a:pt x="1802" y="8388"/>
                  </a:cubicBezTo>
                  <a:cubicBezTo>
                    <a:pt x="1815" y="8388"/>
                    <a:pt x="1823" y="8396"/>
                    <a:pt x="1828" y="8407"/>
                  </a:cubicBezTo>
                  <a:cubicBezTo>
                    <a:pt x="1834" y="8419"/>
                    <a:pt x="1836" y="8434"/>
                    <a:pt x="1836" y="8445"/>
                  </a:cubicBezTo>
                  <a:cubicBezTo>
                    <a:pt x="1836" y="8452"/>
                    <a:pt x="1835" y="8457"/>
                    <a:pt x="1834" y="8460"/>
                  </a:cubicBezTo>
                  <a:cubicBezTo>
                    <a:pt x="1834" y="8473"/>
                    <a:pt x="1787" y="8475"/>
                    <a:pt x="1763" y="8490"/>
                  </a:cubicBezTo>
                  <a:cubicBezTo>
                    <a:pt x="1755" y="8496"/>
                    <a:pt x="1752" y="8504"/>
                    <a:pt x="1752" y="8512"/>
                  </a:cubicBezTo>
                  <a:cubicBezTo>
                    <a:pt x="1752" y="8529"/>
                    <a:pt x="1765" y="8545"/>
                    <a:pt x="1779" y="8551"/>
                  </a:cubicBezTo>
                  <a:cubicBezTo>
                    <a:pt x="1799" y="8558"/>
                    <a:pt x="1855" y="8554"/>
                    <a:pt x="1879" y="8567"/>
                  </a:cubicBezTo>
                  <a:cubicBezTo>
                    <a:pt x="1888" y="8572"/>
                    <a:pt x="1891" y="8577"/>
                    <a:pt x="1891" y="8581"/>
                  </a:cubicBezTo>
                  <a:cubicBezTo>
                    <a:pt x="1891" y="8589"/>
                    <a:pt x="1879" y="8603"/>
                    <a:pt x="1851" y="8617"/>
                  </a:cubicBezTo>
                  <a:cubicBezTo>
                    <a:pt x="1808" y="8640"/>
                    <a:pt x="1761" y="8643"/>
                    <a:pt x="1737" y="8651"/>
                  </a:cubicBezTo>
                  <a:cubicBezTo>
                    <a:pt x="1713" y="8659"/>
                    <a:pt x="1699" y="8671"/>
                    <a:pt x="1688" y="8699"/>
                  </a:cubicBezTo>
                  <a:cubicBezTo>
                    <a:pt x="1679" y="8721"/>
                    <a:pt x="1659" y="8737"/>
                    <a:pt x="1653" y="8741"/>
                  </a:cubicBezTo>
                  <a:cubicBezTo>
                    <a:pt x="1644" y="8737"/>
                    <a:pt x="1639" y="8725"/>
                    <a:pt x="1639" y="8707"/>
                  </a:cubicBezTo>
                  <a:cubicBezTo>
                    <a:pt x="1639" y="8689"/>
                    <a:pt x="1644" y="8667"/>
                    <a:pt x="1651" y="8650"/>
                  </a:cubicBezTo>
                  <a:close/>
                  <a:moveTo>
                    <a:pt x="3423" y="7980"/>
                  </a:moveTo>
                  <a:cubicBezTo>
                    <a:pt x="3470" y="7980"/>
                    <a:pt x="3514" y="7964"/>
                    <a:pt x="3524" y="7930"/>
                  </a:cubicBezTo>
                  <a:cubicBezTo>
                    <a:pt x="3526" y="7925"/>
                    <a:pt x="3527" y="7919"/>
                    <a:pt x="3527" y="7913"/>
                  </a:cubicBezTo>
                  <a:cubicBezTo>
                    <a:pt x="3527" y="7871"/>
                    <a:pt x="3488" y="7829"/>
                    <a:pt x="3431" y="7811"/>
                  </a:cubicBezTo>
                  <a:cubicBezTo>
                    <a:pt x="3404" y="7802"/>
                    <a:pt x="3378" y="7798"/>
                    <a:pt x="3356" y="7798"/>
                  </a:cubicBezTo>
                  <a:cubicBezTo>
                    <a:pt x="3311" y="7798"/>
                    <a:pt x="3278" y="7814"/>
                    <a:pt x="3267" y="7844"/>
                  </a:cubicBezTo>
                  <a:cubicBezTo>
                    <a:pt x="3264" y="7850"/>
                    <a:pt x="3263" y="7856"/>
                    <a:pt x="3263" y="7863"/>
                  </a:cubicBezTo>
                  <a:cubicBezTo>
                    <a:pt x="3263" y="7905"/>
                    <a:pt x="3309" y="7956"/>
                    <a:pt x="3366" y="7972"/>
                  </a:cubicBezTo>
                  <a:cubicBezTo>
                    <a:pt x="3384" y="7978"/>
                    <a:pt x="3404" y="7980"/>
                    <a:pt x="3423" y="7980"/>
                  </a:cubicBezTo>
                  <a:close/>
                  <a:moveTo>
                    <a:pt x="3271" y="7863"/>
                  </a:moveTo>
                  <a:cubicBezTo>
                    <a:pt x="3271" y="7857"/>
                    <a:pt x="3272" y="7852"/>
                    <a:pt x="3274" y="7847"/>
                  </a:cubicBezTo>
                  <a:cubicBezTo>
                    <a:pt x="3284" y="7822"/>
                    <a:pt x="3313" y="7806"/>
                    <a:pt x="3356" y="7806"/>
                  </a:cubicBezTo>
                  <a:cubicBezTo>
                    <a:pt x="3377" y="7806"/>
                    <a:pt x="3402" y="7810"/>
                    <a:pt x="3429" y="7819"/>
                  </a:cubicBezTo>
                  <a:cubicBezTo>
                    <a:pt x="3483" y="7836"/>
                    <a:pt x="3519" y="7877"/>
                    <a:pt x="3519" y="7913"/>
                  </a:cubicBezTo>
                  <a:cubicBezTo>
                    <a:pt x="3519" y="7918"/>
                    <a:pt x="3518" y="7923"/>
                    <a:pt x="3516" y="7928"/>
                  </a:cubicBezTo>
                  <a:cubicBezTo>
                    <a:pt x="3509" y="7956"/>
                    <a:pt x="3469" y="7972"/>
                    <a:pt x="3423" y="7972"/>
                  </a:cubicBezTo>
                  <a:cubicBezTo>
                    <a:pt x="3405" y="7972"/>
                    <a:pt x="3386" y="7970"/>
                    <a:pt x="3368" y="7964"/>
                  </a:cubicBezTo>
                  <a:cubicBezTo>
                    <a:pt x="3314" y="7949"/>
                    <a:pt x="3271" y="7899"/>
                    <a:pt x="3271" y="7863"/>
                  </a:cubicBezTo>
                  <a:close/>
                  <a:moveTo>
                    <a:pt x="589" y="15150"/>
                  </a:moveTo>
                  <a:cubicBezTo>
                    <a:pt x="557" y="15150"/>
                    <a:pt x="524" y="15161"/>
                    <a:pt x="503" y="15176"/>
                  </a:cubicBezTo>
                  <a:cubicBezTo>
                    <a:pt x="476" y="15195"/>
                    <a:pt x="441" y="15240"/>
                    <a:pt x="441" y="15276"/>
                  </a:cubicBezTo>
                  <a:cubicBezTo>
                    <a:pt x="441" y="15288"/>
                    <a:pt x="445" y="15300"/>
                    <a:pt x="456" y="15308"/>
                  </a:cubicBezTo>
                  <a:cubicBezTo>
                    <a:pt x="472" y="15320"/>
                    <a:pt x="494" y="15326"/>
                    <a:pt x="517" y="15326"/>
                  </a:cubicBezTo>
                  <a:cubicBezTo>
                    <a:pt x="552" y="15326"/>
                    <a:pt x="590" y="15313"/>
                    <a:pt x="621" y="15285"/>
                  </a:cubicBezTo>
                  <a:cubicBezTo>
                    <a:pt x="652" y="15256"/>
                    <a:pt x="664" y="15233"/>
                    <a:pt x="664" y="15212"/>
                  </a:cubicBezTo>
                  <a:cubicBezTo>
                    <a:pt x="664" y="15198"/>
                    <a:pt x="659" y="15186"/>
                    <a:pt x="650" y="15175"/>
                  </a:cubicBezTo>
                  <a:cubicBezTo>
                    <a:pt x="636" y="15157"/>
                    <a:pt x="613" y="15150"/>
                    <a:pt x="589" y="15150"/>
                  </a:cubicBezTo>
                  <a:close/>
                  <a:moveTo>
                    <a:pt x="615" y="15279"/>
                  </a:moveTo>
                  <a:cubicBezTo>
                    <a:pt x="586" y="15306"/>
                    <a:pt x="549" y="15318"/>
                    <a:pt x="517" y="15318"/>
                  </a:cubicBezTo>
                  <a:cubicBezTo>
                    <a:pt x="495" y="15318"/>
                    <a:pt x="475" y="15312"/>
                    <a:pt x="461" y="15301"/>
                  </a:cubicBezTo>
                  <a:cubicBezTo>
                    <a:pt x="452" y="15295"/>
                    <a:pt x="449" y="15286"/>
                    <a:pt x="449" y="15276"/>
                  </a:cubicBezTo>
                  <a:cubicBezTo>
                    <a:pt x="449" y="15245"/>
                    <a:pt x="482" y="15200"/>
                    <a:pt x="508" y="15183"/>
                  </a:cubicBezTo>
                  <a:cubicBezTo>
                    <a:pt x="526" y="15169"/>
                    <a:pt x="559" y="15158"/>
                    <a:pt x="589" y="15158"/>
                  </a:cubicBezTo>
                  <a:cubicBezTo>
                    <a:pt x="612" y="15158"/>
                    <a:pt x="632" y="15165"/>
                    <a:pt x="643" y="15180"/>
                  </a:cubicBezTo>
                  <a:cubicBezTo>
                    <a:pt x="647" y="15177"/>
                    <a:pt x="647" y="15177"/>
                    <a:pt x="647" y="15177"/>
                  </a:cubicBezTo>
                  <a:cubicBezTo>
                    <a:pt x="643" y="15180"/>
                    <a:pt x="643" y="15180"/>
                    <a:pt x="643" y="15180"/>
                  </a:cubicBezTo>
                  <a:cubicBezTo>
                    <a:pt x="651" y="15190"/>
                    <a:pt x="656" y="15200"/>
                    <a:pt x="656" y="15212"/>
                  </a:cubicBezTo>
                  <a:cubicBezTo>
                    <a:pt x="656" y="15229"/>
                    <a:pt x="645" y="15251"/>
                    <a:pt x="615" y="15279"/>
                  </a:cubicBezTo>
                  <a:close/>
                  <a:moveTo>
                    <a:pt x="2029" y="15610"/>
                  </a:moveTo>
                  <a:cubicBezTo>
                    <a:pt x="2023" y="15604"/>
                    <a:pt x="2023" y="15604"/>
                    <a:pt x="2023" y="15604"/>
                  </a:cubicBezTo>
                  <a:cubicBezTo>
                    <a:pt x="1899" y="15811"/>
                    <a:pt x="1899" y="15811"/>
                    <a:pt x="1899" y="15811"/>
                  </a:cubicBezTo>
                  <a:cubicBezTo>
                    <a:pt x="1799" y="15744"/>
                    <a:pt x="1799" y="15744"/>
                    <a:pt x="1799" y="15744"/>
                  </a:cubicBezTo>
                  <a:cubicBezTo>
                    <a:pt x="1610" y="16025"/>
                    <a:pt x="1610" y="16025"/>
                    <a:pt x="1610" y="16025"/>
                  </a:cubicBezTo>
                  <a:cubicBezTo>
                    <a:pt x="1781" y="16185"/>
                    <a:pt x="1781" y="16185"/>
                    <a:pt x="1781" y="16185"/>
                  </a:cubicBezTo>
                  <a:cubicBezTo>
                    <a:pt x="1878" y="16094"/>
                    <a:pt x="1878" y="16094"/>
                    <a:pt x="1878" y="16094"/>
                  </a:cubicBezTo>
                  <a:cubicBezTo>
                    <a:pt x="1756" y="15985"/>
                    <a:pt x="1756" y="15985"/>
                    <a:pt x="1756" y="15985"/>
                  </a:cubicBezTo>
                  <a:cubicBezTo>
                    <a:pt x="1833" y="15891"/>
                    <a:pt x="1833" y="15891"/>
                    <a:pt x="1833" y="15891"/>
                  </a:cubicBezTo>
                  <a:cubicBezTo>
                    <a:pt x="1956" y="15906"/>
                    <a:pt x="1956" y="15906"/>
                    <a:pt x="1956" y="15906"/>
                  </a:cubicBezTo>
                  <a:cubicBezTo>
                    <a:pt x="2241" y="15826"/>
                    <a:pt x="2241" y="15826"/>
                    <a:pt x="2241" y="15826"/>
                  </a:cubicBezTo>
                  <a:cubicBezTo>
                    <a:pt x="2150" y="15725"/>
                    <a:pt x="2150" y="15725"/>
                    <a:pt x="2150" y="15725"/>
                  </a:cubicBezTo>
                  <a:lnTo>
                    <a:pt x="2029" y="15610"/>
                  </a:lnTo>
                  <a:close/>
                  <a:moveTo>
                    <a:pt x="1954" y="15891"/>
                  </a:moveTo>
                  <a:cubicBezTo>
                    <a:pt x="1827" y="15875"/>
                    <a:pt x="1827" y="15875"/>
                    <a:pt x="1827" y="15875"/>
                  </a:cubicBezTo>
                  <a:cubicBezTo>
                    <a:pt x="1735" y="15987"/>
                    <a:pt x="1735" y="15987"/>
                    <a:pt x="1735" y="15987"/>
                  </a:cubicBezTo>
                  <a:cubicBezTo>
                    <a:pt x="1856" y="16094"/>
                    <a:pt x="1856" y="16094"/>
                    <a:pt x="1856" y="16094"/>
                  </a:cubicBezTo>
                  <a:cubicBezTo>
                    <a:pt x="1781" y="16165"/>
                    <a:pt x="1781" y="16165"/>
                    <a:pt x="1781" y="16165"/>
                  </a:cubicBezTo>
                  <a:cubicBezTo>
                    <a:pt x="1629" y="16023"/>
                    <a:pt x="1629" y="16023"/>
                    <a:pt x="1629" y="16023"/>
                  </a:cubicBezTo>
                  <a:cubicBezTo>
                    <a:pt x="1803" y="15765"/>
                    <a:pt x="1803" y="15765"/>
                    <a:pt x="1803" y="15765"/>
                  </a:cubicBezTo>
                  <a:cubicBezTo>
                    <a:pt x="1904" y="15832"/>
                    <a:pt x="1904" y="15832"/>
                    <a:pt x="1904" y="15832"/>
                  </a:cubicBezTo>
                  <a:cubicBezTo>
                    <a:pt x="2026" y="15627"/>
                    <a:pt x="2026" y="15627"/>
                    <a:pt x="2026" y="15627"/>
                  </a:cubicBezTo>
                  <a:cubicBezTo>
                    <a:pt x="2140" y="15735"/>
                    <a:pt x="2140" y="15735"/>
                    <a:pt x="2140" y="15735"/>
                  </a:cubicBezTo>
                  <a:cubicBezTo>
                    <a:pt x="2214" y="15818"/>
                    <a:pt x="2214" y="15818"/>
                    <a:pt x="2214" y="15818"/>
                  </a:cubicBezTo>
                  <a:lnTo>
                    <a:pt x="1954" y="15891"/>
                  </a:lnTo>
                  <a:close/>
                  <a:moveTo>
                    <a:pt x="1111" y="16410"/>
                  </a:moveTo>
                  <a:cubicBezTo>
                    <a:pt x="1216" y="16244"/>
                    <a:pt x="1216" y="16244"/>
                    <a:pt x="1216" y="16244"/>
                  </a:cubicBezTo>
                  <a:cubicBezTo>
                    <a:pt x="1313" y="16299"/>
                    <a:pt x="1313" y="16299"/>
                    <a:pt x="1313" y="16299"/>
                  </a:cubicBezTo>
                  <a:cubicBezTo>
                    <a:pt x="1476" y="16091"/>
                    <a:pt x="1476" y="16091"/>
                    <a:pt x="1476" y="16091"/>
                  </a:cubicBezTo>
                  <a:cubicBezTo>
                    <a:pt x="1480" y="16085"/>
                    <a:pt x="1480" y="16085"/>
                    <a:pt x="1480" y="16085"/>
                  </a:cubicBezTo>
                  <a:cubicBezTo>
                    <a:pt x="1385" y="16003"/>
                    <a:pt x="1385" y="16003"/>
                    <a:pt x="1385" y="16003"/>
                  </a:cubicBezTo>
                  <a:cubicBezTo>
                    <a:pt x="1332" y="16071"/>
                    <a:pt x="1332" y="16071"/>
                    <a:pt x="1332" y="16071"/>
                  </a:cubicBezTo>
                  <a:cubicBezTo>
                    <a:pt x="1243" y="16030"/>
                    <a:pt x="1243" y="16030"/>
                    <a:pt x="1243" y="16030"/>
                  </a:cubicBezTo>
                  <a:cubicBezTo>
                    <a:pt x="1139" y="16154"/>
                    <a:pt x="1139" y="16154"/>
                    <a:pt x="1139" y="16154"/>
                  </a:cubicBezTo>
                  <a:cubicBezTo>
                    <a:pt x="1068" y="16104"/>
                    <a:pt x="1068" y="16104"/>
                    <a:pt x="1068" y="16104"/>
                  </a:cubicBezTo>
                  <a:cubicBezTo>
                    <a:pt x="1099" y="15948"/>
                    <a:pt x="1099" y="15948"/>
                    <a:pt x="1099" y="15948"/>
                  </a:cubicBezTo>
                  <a:cubicBezTo>
                    <a:pt x="940" y="15919"/>
                    <a:pt x="940" y="15919"/>
                    <a:pt x="940" y="15919"/>
                  </a:cubicBezTo>
                  <a:cubicBezTo>
                    <a:pt x="873" y="16179"/>
                    <a:pt x="873" y="16179"/>
                    <a:pt x="873" y="16179"/>
                  </a:cubicBezTo>
                  <a:cubicBezTo>
                    <a:pt x="916" y="16423"/>
                    <a:pt x="916" y="16423"/>
                    <a:pt x="916" y="16423"/>
                  </a:cubicBezTo>
                  <a:lnTo>
                    <a:pt x="1111" y="16410"/>
                  </a:lnTo>
                  <a:close/>
                  <a:moveTo>
                    <a:pt x="951" y="15936"/>
                  </a:moveTo>
                  <a:cubicBezTo>
                    <a:pt x="1082" y="15959"/>
                    <a:pt x="1082" y="15959"/>
                    <a:pt x="1082" y="15959"/>
                  </a:cubicBezTo>
                  <a:cubicBezTo>
                    <a:pt x="1052" y="16111"/>
                    <a:pt x="1052" y="16111"/>
                    <a:pt x="1052" y="16111"/>
                  </a:cubicBezTo>
                  <a:cubicBezTo>
                    <a:pt x="1142" y="16174"/>
                    <a:pt x="1142" y="16174"/>
                    <a:pt x="1142" y="16174"/>
                  </a:cubicBezTo>
                  <a:cubicBezTo>
                    <a:pt x="1247" y="16048"/>
                    <a:pt x="1247" y="16048"/>
                    <a:pt x="1247" y="16048"/>
                  </a:cubicBezTo>
                  <a:cubicBezTo>
                    <a:pt x="1336" y="16090"/>
                    <a:pt x="1336" y="16090"/>
                    <a:pt x="1336" y="16090"/>
                  </a:cubicBezTo>
                  <a:cubicBezTo>
                    <a:pt x="1387" y="16025"/>
                    <a:pt x="1387" y="16025"/>
                    <a:pt x="1387" y="16025"/>
                  </a:cubicBezTo>
                  <a:cubicBezTo>
                    <a:pt x="1460" y="16087"/>
                    <a:pt x="1460" y="16087"/>
                    <a:pt x="1460" y="16087"/>
                  </a:cubicBezTo>
                  <a:cubicBezTo>
                    <a:pt x="1310" y="16280"/>
                    <a:pt x="1310" y="16280"/>
                    <a:pt x="1310" y="16280"/>
                  </a:cubicBezTo>
                  <a:cubicBezTo>
                    <a:pt x="1211" y="16225"/>
                    <a:pt x="1211" y="16225"/>
                    <a:pt x="1211" y="16225"/>
                  </a:cubicBezTo>
                  <a:cubicBezTo>
                    <a:pt x="1103" y="16396"/>
                    <a:pt x="1103" y="16396"/>
                    <a:pt x="1103" y="16396"/>
                  </a:cubicBezTo>
                  <a:cubicBezTo>
                    <a:pt x="928" y="16408"/>
                    <a:pt x="928" y="16408"/>
                    <a:pt x="928" y="16408"/>
                  </a:cubicBezTo>
                  <a:cubicBezTo>
                    <a:pt x="888" y="16179"/>
                    <a:pt x="888" y="16179"/>
                    <a:pt x="888" y="16179"/>
                  </a:cubicBezTo>
                  <a:lnTo>
                    <a:pt x="951" y="15936"/>
                  </a:lnTo>
                  <a:close/>
                  <a:moveTo>
                    <a:pt x="1089" y="16250"/>
                  </a:moveTo>
                  <a:cubicBezTo>
                    <a:pt x="1018" y="16187"/>
                    <a:pt x="1018" y="16187"/>
                    <a:pt x="1018" y="16187"/>
                  </a:cubicBezTo>
                  <a:cubicBezTo>
                    <a:pt x="972" y="16328"/>
                    <a:pt x="972" y="16328"/>
                    <a:pt x="972" y="16328"/>
                  </a:cubicBezTo>
                  <a:cubicBezTo>
                    <a:pt x="1081" y="16255"/>
                    <a:pt x="1081" y="16255"/>
                    <a:pt x="1081" y="16255"/>
                  </a:cubicBezTo>
                  <a:lnTo>
                    <a:pt x="1089" y="16250"/>
                  </a:lnTo>
                  <a:close/>
                  <a:moveTo>
                    <a:pt x="999" y="16292"/>
                  </a:moveTo>
                  <a:cubicBezTo>
                    <a:pt x="1025" y="16213"/>
                    <a:pt x="1025" y="16213"/>
                    <a:pt x="1025" y="16213"/>
                  </a:cubicBezTo>
                  <a:cubicBezTo>
                    <a:pt x="1065" y="16248"/>
                    <a:pt x="1065" y="16248"/>
                    <a:pt x="1065" y="16248"/>
                  </a:cubicBezTo>
                  <a:lnTo>
                    <a:pt x="999" y="16292"/>
                  </a:lnTo>
                  <a:close/>
                  <a:moveTo>
                    <a:pt x="834" y="15897"/>
                  </a:moveTo>
                  <a:cubicBezTo>
                    <a:pt x="646" y="15854"/>
                    <a:pt x="646" y="15854"/>
                    <a:pt x="646" y="15854"/>
                  </a:cubicBezTo>
                  <a:cubicBezTo>
                    <a:pt x="512" y="15721"/>
                    <a:pt x="512" y="15721"/>
                    <a:pt x="512" y="15721"/>
                  </a:cubicBezTo>
                  <a:cubicBezTo>
                    <a:pt x="388" y="15903"/>
                    <a:pt x="388" y="15903"/>
                    <a:pt x="388" y="15903"/>
                  </a:cubicBezTo>
                  <a:cubicBezTo>
                    <a:pt x="797" y="16093"/>
                    <a:pt x="797" y="16093"/>
                    <a:pt x="797" y="16093"/>
                  </a:cubicBezTo>
                  <a:cubicBezTo>
                    <a:pt x="833" y="15904"/>
                    <a:pt x="833" y="15904"/>
                    <a:pt x="833" y="15904"/>
                  </a:cubicBezTo>
                  <a:lnTo>
                    <a:pt x="834" y="15897"/>
                  </a:lnTo>
                  <a:close/>
                  <a:moveTo>
                    <a:pt x="786" y="16072"/>
                  </a:moveTo>
                  <a:cubicBezTo>
                    <a:pt x="410" y="15897"/>
                    <a:pt x="410" y="15897"/>
                    <a:pt x="410" y="15897"/>
                  </a:cubicBezTo>
                  <a:cubicBezTo>
                    <a:pt x="514" y="15744"/>
                    <a:pt x="514" y="15744"/>
                    <a:pt x="514" y="15744"/>
                  </a:cubicBezTo>
                  <a:cubicBezTo>
                    <a:pt x="639" y="15868"/>
                    <a:pt x="639" y="15868"/>
                    <a:pt x="639" y="15868"/>
                  </a:cubicBezTo>
                  <a:cubicBezTo>
                    <a:pt x="817" y="15908"/>
                    <a:pt x="817" y="15908"/>
                    <a:pt x="817" y="15908"/>
                  </a:cubicBezTo>
                  <a:lnTo>
                    <a:pt x="786" y="16072"/>
                  </a:lnTo>
                  <a:close/>
                  <a:moveTo>
                    <a:pt x="802" y="16408"/>
                  </a:moveTo>
                  <a:cubicBezTo>
                    <a:pt x="783" y="16205"/>
                    <a:pt x="783" y="16205"/>
                    <a:pt x="783" y="16205"/>
                  </a:cubicBezTo>
                  <a:cubicBezTo>
                    <a:pt x="432" y="16028"/>
                    <a:pt x="432" y="16028"/>
                    <a:pt x="432" y="16028"/>
                  </a:cubicBezTo>
                  <a:cubicBezTo>
                    <a:pt x="418" y="16111"/>
                    <a:pt x="418" y="16111"/>
                    <a:pt x="418" y="16111"/>
                  </a:cubicBezTo>
                  <a:cubicBezTo>
                    <a:pt x="682" y="16418"/>
                    <a:pt x="682" y="16418"/>
                    <a:pt x="682" y="16418"/>
                  </a:cubicBezTo>
                  <a:cubicBezTo>
                    <a:pt x="794" y="16409"/>
                    <a:pt x="794" y="16409"/>
                    <a:pt x="794" y="16409"/>
                  </a:cubicBezTo>
                  <a:lnTo>
                    <a:pt x="802" y="16408"/>
                  </a:lnTo>
                  <a:close/>
                  <a:moveTo>
                    <a:pt x="688" y="16403"/>
                  </a:moveTo>
                  <a:cubicBezTo>
                    <a:pt x="434" y="16107"/>
                    <a:pt x="434" y="16107"/>
                    <a:pt x="434" y="16107"/>
                  </a:cubicBezTo>
                  <a:cubicBezTo>
                    <a:pt x="444" y="16050"/>
                    <a:pt x="444" y="16050"/>
                    <a:pt x="444" y="16050"/>
                  </a:cubicBezTo>
                  <a:cubicBezTo>
                    <a:pt x="769" y="16215"/>
                    <a:pt x="769" y="16215"/>
                    <a:pt x="769" y="16215"/>
                  </a:cubicBezTo>
                  <a:cubicBezTo>
                    <a:pt x="786" y="16395"/>
                    <a:pt x="786" y="16395"/>
                    <a:pt x="786" y="16395"/>
                  </a:cubicBezTo>
                  <a:lnTo>
                    <a:pt x="688" y="16403"/>
                  </a:lnTo>
                  <a:close/>
                  <a:moveTo>
                    <a:pt x="4" y="15532"/>
                  </a:moveTo>
                  <a:cubicBezTo>
                    <a:pt x="123" y="15386"/>
                    <a:pt x="123" y="15386"/>
                    <a:pt x="123" y="15386"/>
                  </a:cubicBezTo>
                  <a:cubicBezTo>
                    <a:pt x="4" y="15283"/>
                    <a:pt x="4" y="15283"/>
                    <a:pt x="4" y="15283"/>
                  </a:cubicBezTo>
                  <a:cubicBezTo>
                    <a:pt x="4" y="15264"/>
                    <a:pt x="4" y="15264"/>
                    <a:pt x="4" y="15264"/>
                  </a:cubicBezTo>
                  <a:cubicBezTo>
                    <a:pt x="144" y="15384"/>
                    <a:pt x="144" y="15384"/>
                    <a:pt x="144" y="15384"/>
                  </a:cubicBezTo>
                  <a:cubicBezTo>
                    <a:pt x="139" y="15390"/>
                    <a:pt x="139" y="15390"/>
                    <a:pt x="139" y="15390"/>
                  </a:cubicBezTo>
                  <a:cubicBezTo>
                    <a:pt x="4" y="15555"/>
                    <a:pt x="4" y="15555"/>
                    <a:pt x="4" y="15555"/>
                  </a:cubicBezTo>
                  <a:lnTo>
                    <a:pt x="4" y="15532"/>
                  </a:lnTo>
                  <a:close/>
                  <a:moveTo>
                    <a:pt x="925" y="12943"/>
                  </a:moveTo>
                  <a:cubicBezTo>
                    <a:pt x="926" y="12898"/>
                    <a:pt x="926" y="12898"/>
                    <a:pt x="926" y="12898"/>
                  </a:cubicBezTo>
                  <a:cubicBezTo>
                    <a:pt x="926" y="12889"/>
                    <a:pt x="926" y="12889"/>
                    <a:pt x="926" y="12889"/>
                  </a:cubicBezTo>
                  <a:cubicBezTo>
                    <a:pt x="709" y="12935"/>
                    <a:pt x="709" y="12935"/>
                    <a:pt x="709" y="12935"/>
                  </a:cubicBezTo>
                  <a:cubicBezTo>
                    <a:pt x="697" y="13178"/>
                    <a:pt x="697" y="13178"/>
                    <a:pt x="697" y="13178"/>
                  </a:cubicBezTo>
                  <a:cubicBezTo>
                    <a:pt x="1011" y="13175"/>
                    <a:pt x="1011" y="13175"/>
                    <a:pt x="1011" y="13175"/>
                  </a:cubicBezTo>
                  <a:cubicBezTo>
                    <a:pt x="1016" y="13072"/>
                    <a:pt x="1016" y="13072"/>
                    <a:pt x="1016" y="13072"/>
                  </a:cubicBezTo>
                  <a:cubicBezTo>
                    <a:pt x="864" y="12995"/>
                    <a:pt x="864" y="12995"/>
                    <a:pt x="864" y="12995"/>
                  </a:cubicBezTo>
                  <a:lnTo>
                    <a:pt x="925" y="12943"/>
                  </a:lnTo>
                  <a:close/>
                  <a:moveTo>
                    <a:pt x="1000" y="13081"/>
                  </a:moveTo>
                  <a:cubicBezTo>
                    <a:pt x="997" y="13160"/>
                    <a:pt x="997" y="13160"/>
                    <a:pt x="997" y="13160"/>
                  </a:cubicBezTo>
                  <a:cubicBezTo>
                    <a:pt x="713" y="13163"/>
                    <a:pt x="713" y="13163"/>
                    <a:pt x="713" y="13163"/>
                  </a:cubicBezTo>
                  <a:cubicBezTo>
                    <a:pt x="723" y="12947"/>
                    <a:pt x="723" y="12947"/>
                    <a:pt x="723" y="12947"/>
                  </a:cubicBezTo>
                  <a:cubicBezTo>
                    <a:pt x="911" y="12907"/>
                    <a:pt x="911" y="12907"/>
                    <a:pt x="911" y="12907"/>
                  </a:cubicBezTo>
                  <a:cubicBezTo>
                    <a:pt x="910" y="12936"/>
                    <a:pt x="910" y="12936"/>
                    <a:pt x="910" y="12936"/>
                  </a:cubicBezTo>
                  <a:cubicBezTo>
                    <a:pt x="838" y="12998"/>
                    <a:pt x="838" y="12998"/>
                    <a:pt x="838" y="12998"/>
                  </a:cubicBezTo>
                  <a:lnTo>
                    <a:pt x="1000" y="13081"/>
                  </a:lnTo>
                  <a:close/>
                  <a:moveTo>
                    <a:pt x="814" y="13761"/>
                  </a:moveTo>
                  <a:cubicBezTo>
                    <a:pt x="908" y="13604"/>
                    <a:pt x="908" y="13604"/>
                    <a:pt x="908" y="13604"/>
                  </a:cubicBezTo>
                  <a:cubicBezTo>
                    <a:pt x="831" y="13562"/>
                    <a:pt x="831" y="13562"/>
                    <a:pt x="831" y="13562"/>
                  </a:cubicBezTo>
                  <a:cubicBezTo>
                    <a:pt x="833" y="13551"/>
                    <a:pt x="833" y="13551"/>
                    <a:pt x="833" y="13551"/>
                  </a:cubicBezTo>
                  <a:cubicBezTo>
                    <a:pt x="981" y="13503"/>
                    <a:pt x="981" y="13503"/>
                    <a:pt x="981" y="13503"/>
                  </a:cubicBezTo>
                  <a:cubicBezTo>
                    <a:pt x="1048" y="13352"/>
                    <a:pt x="1048" y="13352"/>
                    <a:pt x="1048" y="13352"/>
                  </a:cubicBezTo>
                  <a:cubicBezTo>
                    <a:pt x="1050" y="13347"/>
                    <a:pt x="1050" y="13347"/>
                    <a:pt x="1050" y="13347"/>
                  </a:cubicBezTo>
                  <a:cubicBezTo>
                    <a:pt x="987" y="13275"/>
                    <a:pt x="987" y="13275"/>
                    <a:pt x="987" y="13275"/>
                  </a:cubicBezTo>
                  <a:cubicBezTo>
                    <a:pt x="707" y="13279"/>
                    <a:pt x="707" y="13279"/>
                    <a:pt x="707" y="13279"/>
                  </a:cubicBezTo>
                  <a:cubicBezTo>
                    <a:pt x="692" y="13388"/>
                    <a:pt x="692" y="13388"/>
                    <a:pt x="692" y="13388"/>
                  </a:cubicBezTo>
                  <a:cubicBezTo>
                    <a:pt x="845" y="13393"/>
                    <a:pt x="845" y="13393"/>
                    <a:pt x="845" y="13393"/>
                  </a:cubicBezTo>
                  <a:cubicBezTo>
                    <a:pt x="839" y="13466"/>
                    <a:pt x="839" y="13466"/>
                    <a:pt x="839" y="13466"/>
                  </a:cubicBezTo>
                  <a:cubicBezTo>
                    <a:pt x="718" y="13435"/>
                    <a:pt x="718" y="13435"/>
                    <a:pt x="718" y="13435"/>
                  </a:cubicBezTo>
                  <a:cubicBezTo>
                    <a:pt x="657" y="13583"/>
                    <a:pt x="657" y="13583"/>
                    <a:pt x="657" y="13583"/>
                  </a:cubicBezTo>
                  <a:cubicBezTo>
                    <a:pt x="683" y="13679"/>
                    <a:pt x="683" y="13679"/>
                    <a:pt x="683" y="13679"/>
                  </a:cubicBezTo>
                  <a:lnTo>
                    <a:pt x="814" y="13761"/>
                  </a:lnTo>
                  <a:close/>
                  <a:moveTo>
                    <a:pt x="727" y="13453"/>
                  </a:moveTo>
                  <a:cubicBezTo>
                    <a:pt x="852" y="13484"/>
                    <a:pt x="852" y="13484"/>
                    <a:pt x="852" y="13484"/>
                  </a:cubicBezTo>
                  <a:cubicBezTo>
                    <a:pt x="861" y="13379"/>
                    <a:pt x="861" y="13379"/>
                    <a:pt x="861" y="13379"/>
                  </a:cubicBezTo>
                  <a:cubicBezTo>
                    <a:pt x="709" y="13374"/>
                    <a:pt x="709" y="13374"/>
                    <a:pt x="709" y="13374"/>
                  </a:cubicBezTo>
                  <a:cubicBezTo>
                    <a:pt x="720" y="13294"/>
                    <a:pt x="720" y="13294"/>
                    <a:pt x="720" y="13294"/>
                  </a:cubicBezTo>
                  <a:cubicBezTo>
                    <a:pt x="980" y="13290"/>
                    <a:pt x="980" y="13290"/>
                    <a:pt x="980" y="13290"/>
                  </a:cubicBezTo>
                  <a:cubicBezTo>
                    <a:pt x="1033" y="13350"/>
                    <a:pt x="1033" y="13350"/>
                    <a:pt x="1033" y="13350"/>
                  </a:cubicBezTo>
                  <a:cubicBezTo>
                    <a:pt x="970" y="13491"/>
                    <a:pt x="970" y="13491"/>
                    <a:pt x="970" y="13491"/>
                  </a:cubicBezTo>
                  <a:cubicBezTo>
                    <a:pt x="821" y="13540"/>
                    <a:pt x="821" y="13540"/>
                    <a:pt x="821" y="13540"/>
                  </a:cubicBezTo>
                  <a:cubicBezTo>
                    <a:pt x="814" y="13570"/>
                    <a:pt x="814" y="13570"/>
                    <a:pt x="814" y="13570"/>
                  </a:cubicBezTo>
                  <a:cubicBezTo>
                    <a:pt x="887" y="13609"/>
                    <a:pt x="887" y="13609"/>
                    <a:pt x="887" y="13609"/>
                  </a:cubicBezTo>
                  <a:cubicBezTo>
                    <a:pt x="809" y="13740"/>
                    <a:pt x="809" y="13740"/>
                    <a:pt x="809" y="13740"/>
                  </a:cubicBezTo>
                  <a:cubicBezTo>
                    <a:pt x="695" y="13669"/>
                    <a:pt x="695" y="13669"/>
                    <a:pt x="695" y="13669"/>
                  </a:cubicBezTo>
                  <a:cubicBezTo>
                    <a:pt x="673" y="13585"/>
                    <a:pt x="673" y="13585"/>
                    <a:pt x="673" y="13585"/>
                  </a:cubicBezTo>
                  <a:lnTo>
                    <a:pt x="727" y="13453"/>
                  </a:lnTo>
                  <a:close/>
                  <a:moveTo>
                    <a:pt x="73" y="14159"/>
                  </a:moveTo>
                  <a:cubicBezTo>
                    <a:pt x="182" y="14231"/>
                    <a:pt x="182" y="14231"/>
                    <a:pt x="182" y="14231"/>
                  </a:cubicBezTo>
                  <a:cubicBezTo>
                    <a:pt x="217" y="14206"/>
                    <a:pt x="217" y="14206"/>
                    <a:pt x="217" y="14206"/>
                  </a:cubicBezTo>
                  <a:cubicBezTo>
                    <a:pt x="157" y="14123"/>
                    <a:pt x="157" y="14123"/>
                    <a:pt x="157" y="14123"/>
                  </a:cubicBezTo>
                  <a:cubicBezTo>
                    <a:pt x="231" y="14065"/>
                    <a:pt x="231" y="14065"/>
                    <a:pt x="231" y="14065"/>
                  </a:cubicBezTo>
                  <a:cubicBezTo>
                    <a:pt x="352" y="14130"/>
                    <a:pt x="352" y="14130"/>
                    <a:pt x="352" y="14130"/>
                  </a:cubicBezTo>
                  <a:cubicBezTo>
                    <a:pt x="411" y="14093"/>
                    <a:pt x="411" y="14093"/>
                    <a:pt x="411" y="14093"/>
                  </a:cubicBezTo>
                  <a:cubicBezTo>
                    <a:pt x="422" y="14086"/>
                    <a:pt x="422" y="14086"/>
                    <a:pt x="422" y="14086"/>
                  </a:cubicBezTo>
                  <a:cubicBezTo>
                    <a:pt x="161" y="13925"/>
                    <a:pt x="161" y="13925"/>
                    <a:pt x="161" y="13925"/>
                  </a:cubicBezTo>
                  <a:lnTo>
                    <a:pt x="73" y="14159"/>
                  </a:lnTo>
                  <a:close/>
                  <a:moveTo>
                    <a:pt x="394" y="14086"/>
                  </a:moveTo>
                  <a:cubicBezTo>
                    <a:pt x="351" y="14113"/>
                    <a:pt x="351" y="14113"/>
                    <a:pt x="351" y="14113"/>
                  </a:cubicBezTo>
                  <a:cubicBezTo>
                    <a:pt x="230" y="14048"/>
                    <a:pt x="230" y="14048"/>
                    <a:pt x="230" y="14048"/>
                  </a:cubicBezTo>
                  <a:cubicBezTo>
                    <a:pt x="137" y="14120"/>
                    <a:pt x="137" y="14120"/>
                    <a:pt x="137" y="14120"/>
                  </a:cubicBezTo>
                  <a:cubicBezTo>
                    <a:pt x="196" y="14203"/>
                    <a:pt x="196" y="14203"/>
                    <a:pt x="196" y="14203"/>
                  </a:cubicBezTo>
                  <a:cubicBezTo>
                    <a:pt x="182" y="14213"/>
                    <a:pt x="182" y="14213"/>
                    <a:pt x="182" y="14213"/>
                  </a:cubicBezTo>
                  <a:cubicBezTo>
                    <a:pt x="91" y="14154"/>
                    <a:pt x="91" y="14154"/>
                    <a:pt x="91" y="14154"/>
                  </a:cubicBezTo>
                  <a:cubicBezTo>
                    <a:pt x="169" y="13947"/>
                    <a:pt x="169" y="13947"/>
                    <a:pt x="169" y="13947"/>
                  </a:cubicBezTo>
                  <a:lnTo>
                    <a:pt x="394" y="14086"/>
                  </a:lnTo>
                  <a:close/>
                  <a:moveTo>
                    <a:pt x="601" y="11800"/>
                  </a:moveTo>
                  <a:cubicBezTo>
                    <a:pt x="598" y="11795"/>
                    <a:pt x="598" y="11795"/>
                    <a:pt x="598" y="11795"/>
                  </a:cubicBezTo>
                  <a:cubicBezTo>
                    <a:pt x="165" y="12002"/>
                    <a:pt x="165" y="12002"/>
                    <a:pt x="165" y="12002"/>
                  </a:cubicBezTo>
                  <a:cubicBezTo>
                    <a:pt x="140" y="12104"/>
                    <a:pt x="140" y="12104"/>
                    <a:pt x="140" y="12104"/>
                  </a:cubicBezTo>
                  <a:cubicBezTo>
                    <a:pt x="255" y="12153"/>
                    <a:pt x="255" y="12153"/>
                    <a:pt x="255" y="12153"/>
                  </a:cubicBezTo>
                  <a:cubicBezTo>
                    <a:pt x="274" y="12058"/>
                    <a:pt x="274" y="12058"/>
                    <a:pt x="274" y="12058"/>
                  </a:cubicBezTo>
                  <a:cubicBezTo>
                    <a:pt x="656" y="11878"/>
                    <a:pt x="656" y="11878"/>
                    <a:pt x="656" y="11878"/>
                  </a:cubicBezTo>
                  <a:lnTo>
                    <a:pt x="601" y="11800"/>
                  </a:lnTo>
                  <a:close/>
                  <a:moveTo>
                    <a:pt x="261" y="12047"/>
                  </a:moveTo>
                  <a:cubicBezTo>
                    <a:pt x="244" y="12132"/>
                    <a:pt x="244" y="12132"/>
                    <a:pt x="244" y="12132"/>
                  </a:cubicBezTo>
                  <a:cubicBezTo>
                    <a:pt x="158" y="12096"/>
                    <a:pt x="158" y="12096"/>
                    <a:pt x="158" y="12096"/>
                  </a:cubicBezTo>
                  <a:cubicBezTo>
                    <a:pt x="178" y="12012"/>
                    <a:pt x="178" y="12012"/>
                    <a:pt x="178" y="12012"/>
                  </a:cubicBezTo>
                  <a:cubicBezTo>
                    <a:pt x="593" y="11814"/>
                    <a:pt x="593" y="11814"/>
                    <a:pt x="593" y="11814"/>
                  </a:cubicBezTo>
                  <a:cubicBezTo>
                    <a:pt x="633" y="11872"/>
                    <a:pt x="633" y="11872"/>
                    <a:pt x="633" y="11872"/>
                  </a:cubicBezTo>
                  <a:lnTo>
                    <a:pt x="261" y="12047"/>
                  </a:lnTo>
                  <a:close/>
                  <a:moveTo>
                    <a:pt x="4" y="11977"/>
                  </a:moveTo>
                  <a:cubicBezTo>
                    <a:pt x="37" y="11988"/>
                    <a:pt x="37" y="11988"/>
                    <a:pt x="37" y="11988"/>
                  </a:cubicBezTo>
                  <a:cubicBezTo>
                    <a:pt x="4" y="11970"/>
                    <a:pt x="4" y="11970"/>
                    <a:pt x="4" y="11970"/>
                  </a:cubicBezTo>
                  <a:cubicBezTo>
                    <a:pt x="4" y="11953"/>
                    <a:pt x="4" y="11953"/>
                    <a:pt x="4" y="11953"/>
                  </a:cubicBezTo>
                  <a:cubicBezTo>
                    <a:pt x="75" y="11992"/>
                    <a:pt x="75" y="11992"/>
                    <a:pt x="75" y="11992"/>
                  </a:cubicBezTo>
                  <a:cubicBezTo>
                    <a:pt x="61" y="11998"/>
                    <a:pt x="61" y="11998"/>
                    <a:pt x="61" y="11998"/>
                  </a:cubicBezTo>
                  <a:cubicBezTo>
                    <a:pt x="46" y="12004"/>
                    <a:pt x="46" y="12004"/>
                    <a:pt x="46" y="12004"/>
                  </a:cubicBezTo>
                  <a:cubicBezTo>
                    <a:pt x="43" y="12005"/>
                    <a:pt x="43" y="12005"/>
                    <a:pt x="43" y="12005"/>
                  </a:cubicBezTo>
                  <a:cubicBezTo>
                    <a:pt x="4" y="11993"/>
                    <a:pt x="4" y="11993"/>
                    <a:pt x="4" y="11993"/>
                  </a:cubicBezTo>
                  <a:lnTo>
                    <a:pt x="4" y="11977"/>
                  </a:lnTo>
                  <a:close/>
                  <a:moveTo>
                    <a:pt x="4" y="12044"/>
                  </a:moveTo>
                  <a:cubicBezTo>
                    <a:pt x="20" y="12035"/>
                    <a:pt x="20" y="12035"/>
                    <a:pt x="20" y="12035"/>
                  </a:cubicBezTo>
                  <a:cubicBezTo>
                    <a:pt x="4" y="12031"/>
                    <a:pt x="4" y="12031"/>
                    <a:pt x="4" y="12031"/>
                  </a:cubicBezTo>
                  <a:cubicBezTo>
                    <a:pt x="4" y="12015"/>
                    <a:pt x="4" y="12015"/>
                    <a:pt x="4" y="12015"/>
                  </a:cubicBezTo>
                  <a:cubicBezTo>
                    <a:pt x="56" y="12029"/>
                    <a:pt x="56" y="12029"/>
                    <a:pt x="56" y="12029"/>
                  </a:cubicBezTo>
                  <a:cubicBezTo>
                    <a:pt x="42" y="12038"/>
                    <a:pt x="42" y="12038"/>
                    <a:pt x="42" y="12038"/>
                  </a:cubicBezTo>
                  <a:cubicBezTo>
                    <a:pt x="4" y="12062"/>
                    <a:pt x="4" y="12062"/>
                    <a:pt x="4" y="12062"/>
                  </a:cubicBezTo>
                  <a:lnTo>
                    <a:pt x="4" y="12044"/>
                  </a:lnTo>
                  <a:close/>
                  <a:moveTo>
                    <a:pt x="10" y="11820"/>
                  </a:moveTo>
                  <a:cubicBezTo>
                    <a:pt x="130" y="11741"/>
                    <a:pt x="130" y="11741"/>
                    <a:pt x="130" y="11741"/>
                  </a:cubicBezTo>
                  <a:cubicBezTo>
                    <a:pt x="105" y="11705"/>
                    <a:pt x="105" y="11705"/>
                    <a:pt x="105" y="11705"/>
                  </a:cubicBezTo>
                  <a:cubicBezTo>
                    <a:pt x="270" y="11592"/>
                    <a:pt x="270" y="11592"/>
                    <a:pt x="270" y="11592"/>
                  </a:cubicBezTo>
                  <a:cubicBezTo>
                    <a:pt x="312" y="11647"/>
                    <a:pt x="312" y="11647"/>
                    <a:pt x="312" y="11647"/>
                  </a:cubicBezTo>
                  <a:cubicBezTo>
                    <a:pt x="263" y="11690"/>
                    <a:pt x="263" y="11690"/>
                    <a:pt x="263" y="11690"/>
                  </a:cubicBezTo>
                  <a:cubicBezTo>
                    <a:pt x="319" y="11754"/>
                    <a:pt x="319" y="11754"/>
                    <a:pt x="319" y="11754"/>
                  </a:cubicBezTo>
                  <a:cubicBezTo>
                    <a:pt x="437" y="11700"/>
                    <a:pt x="437" y="11700"/>
                    <a:pt x="437" y="11700"/>
                  </a:cubicBezTo>
                  <a:cubicBezTo>
                    <a:pt x="467" y="11745"/>
                    <a:pt x="467" y="11745"/>
                    <a:pt x="467" y="11745"/>
                  </a:cubicBezTo>
                  <a:cubicBezTo>
                    <a:pt x="531" y="11726"/>
                    <a:pt x="531" y="11726"/>
                    <a:pt x="531" y="11726"/>
                  </a:cubicBezTo>
                  <a:cubicBezTo>
                    <a:pt x="336" y="11461"/>
                    <a:pt x="336" y="11461"/>
                    <a:pt x="336" y="11461"/>
                  </a:cubicBezTo>
                  <a:cubicBezTo>
                    <a:pt x="4" y="11683"/>
                    <a:pt x="4" y="11683"/>
                    <a:pt x="4" y="11683"/>
                  </a:cubicBezTo>
                  <a:cubicBezTo>
                    <a:pt x="4" y="11665"/>
                    <a:pt x="4" y="11665"/>
                    <a:pt x="4" y="11665"/>
                  </a:cubicBezTo>
                  <a:cubicBezTo>
                    <a:pt x="340" y="11441"/>
                    <a:pt x="340" y="11441"/>
                    <a:pt x="340" y="11441"/>
                  </a:cubicBezTo>
                  <a:cubicBezTo>
                    <a:pt x="555" y="11734"/>
                    <a:pt x="555" y="11734"/>
                    <a:pt x="555" y="11734"/>
                  </a:cubicBezTo>
                  <a:cubicBezTo>
                    <a:pt x="545" y="11737"/>
                    <a:pt x="545" y="11737"/>
                    <a:pt x="545" y="11737"/>
                  </a:cubicBezTo>
                  <a:cubicBezTo>
                    <a:pt x="461" y="11762"/>
                    <a:pt x="461" y="11762"/>
                    <a:pt x="461" y="11762"/>
                  </a:cubicBezTo>
                  <a:cubicBezTo>
                    <a:pt x="432" y="11719"/>
                    <a:pt x="432" y="11719"/>
                    <a:pt x="432" y="11719"/>
                  </a:cubicBezTo>
                  <a:cubicBezTo>
                    <a:pt x="315" y="11772"/>
                    <a:pt x="315" y="11772"/>
                    <a:pt x="315" y="11772"/>
                  </a:cubicBezTo>
                  <a:cubicBezTo>
                    <a:pt x="242" y="11689"/>
                    <a:pt x="242" y="11689"/>
                    <a:pt x="242" y="11689"/>
                  </a:cubicBezTo>
                  <a:cubicBezTo>
                    <a:pt x="292" y="11645"/>
                    <a:pt x="292" y="11645"/>
                    <a:pt x="292" y="11645"/>
                  </a:cubicBezTo>
                  <a:cubicBezTo>
                    <a:pt x="267" y="11612"/>
                    <a:pt x="267" y="11612"/>
                    <a:pt x="267" y="11612"/>
                  </a:cubicBezTo>
                  <a:cubicBezTo>
                    <a:pt x="126" y="11709"/>
                    <a:pt x="126" y="11709"/>
                    <a:pt x="126" y="11709"/>
                  </a:cubicBezTo>
                  <a:cubicBezTo>
                    <a:pt x="151" y="11744"/>
                    <a:pt x="151" y="11744"/>
                    <a:pt x="151" y="11744"/>
                  </a:cubicBezTo>
                  <a:cubicBezTo>
                    <a:pt x="11" y="11837"/>
                    <a:pt x="11" y="11837"/>
                    <a:pt x="11" y="11837"/>
                  </a:cubicBezTo>
                  <a:cubicBezTo>
                    <a:pt x="4" y="11834"/>
                    <a:pt x="4" y="11834"/>
                    <a:pt x="4" y="11834"/>
                  </a:cubicBezTo>
                  <a:cubicBezTo>
                    <a:pt x="4" y="11817"/>
                    <a:pt x="4" y="11817"/>
                    <a:pt x="4" y="11817"/>
                  </a:cubicBezTo>
                  <a:lnTo>
                    <a:pt x="10" y="11820"/>
                  </a:lnTo>
                  <a:close/>
                  <a:moveTo>
                    <a:pt x="646" y="11644"/>
                  </a:moveTo>
                  <a:cubicBezTo>
                    <a:pt x="649" y="11652"/>
                    <a:pt x="649" y="11652"/>
                    <a:pt x="649" y="11652"/>
                  </a:cubicBezTo>
                  <a:cubicBezTo>
                    <a:pt x="747" y="11583"/>
                    <a:pt x="747" y="11583"/>
                    <a:pt x="747" y="11583"/>
                  </a:cubicBezTo>
                  <a:cubicBezTo>
                    <a:pt x="675" y="11347"/>
                    <a:pt x="675" y="11347"/>
                    <a:pt x="675" y="11347"/>
                  </a:cubicBezTo>
                  <a:cubicBezTo>
                    <a:pt x="540" y="11450"/>
                    <a:pt x="540" y="11450"/>
                    <a:pt x="540" y="11450"/>
                  </a:cubicBezTo>
                  <a:cubicBezTo>
                    <a:pt x="584" y="11504"/>
                    <a:pt x="584" y="11504"/>
                    <a:pt x="584" y="11504"/>
                  </a:cubicBezTo>
                  <a:cubicBezTo>
                    <a:pt x="631" y="11508"/>
                    <a:pt x="631" y="11508"/>
                    <a:pt x="631" y="11508"/>
                  </a:cubicBezTo>
                  <a:cubicBezTo>
                    <a:pt x="614" y="11569"/>
                    <a:pt x="614" y="11569"/>
                    <a:pt x="614" y="11569"/>
                  </a:cubicBezTo>
                  <a:lnTo>
                    <a:pt x="646" y="11644"/>
                  </a:lnTo>
                  <a:close/>
                  <a:moveTo>
                    <a:pt x="591" y="11490"/>
                  </a:moveTo>
                  <a:cubicBezTo>
                    <a:pt x="561" y="11453"/>
                    <a:pt x="561" y="11453"/>
                    <a:pt x="561" y="11453"/>
                  </a:cubicBezTo>
                  <a:cubicBezTo>
                    <a:pt x="667" y="11372"/>
                    <a:pt x="667" y="11372"/>
                    <a:pt x="667" y="11372"/>
                  </a:cubicBezTo>
                  <a:cubicBezTo>
                    <a:pt x="730" y="11577"/>
                    <a:pt x="730" y="11577"/>
                    <a:pt x="730" y="11577"/>
                  </a:cubicBezTo>
                  <a:cubicBezTo>
                    <a:pt x="656" y="11630"/>
                    <a:pt x="656" y="11630"/>
                    <a:pt x="656" y="11630"/>
                  </a:cubicBezTo>
                  <a:cubicBezTo>
                    <a:pt x="630" y="11568"/>
                    <a:pt x="630" y="11568"/>
                    <a:pt x="630" y="11568"/>
                  </a:cubicBezTo>
                  <a:cubicBezTo>
                    <a:pt x="650" y="11494"/>
                    <a:pt x="650" y="11494"/>
                    <a:pt x="650" y="11494"/>
                  </a:cubicBezTo>
                  <a:lnTo>
                    <a:pt x="591" y="11490"/>
                  </a:lnTo>
                  <a:close/>
                  <a:moveTo>
                    <a:pt x="4" y="11481"/>
                  </a:moveTo>
                  <a:cubicBezTo>
                    <a:pt x="22" y="11469"/>
                    <a:pt x="22" y="11469"/>
                    <a:pt x="22" y="11469"/>
                  </a:cubicBezTo>
                  <a:cubicBezTo>
                    <a:pt x="4" y="11425"/>
                    <a:pt x="4" y="11425"/>
                    <a:pt x="4" y="11425"/>
                  </a:cubicBezTo>
                  <a:cubicBezTo>
                    <a:pt x="4" y="11402"/>
                    <a:pt x="4" y="11402"/>
                    <a:pt x="4" y="11402"/>
                  </a:cubicBezTo>
                  <a:cubicBezTo>
                    <a:pt x="10" y="11399"/>
                    <a:pt x="10" y="11399"/>
                    <a:pt x="10" y="11399"/>
                  </a:cubicBezTo>
                  <a:cubicBezTo>
                    <a:pt x="13" y="11406"/>
                    <a:pt x="13" y="11406"/>
                    <a:pt x="13" y="11406"/>
                  </a:cubicBezTo>
                  <a:cubicBezTo>
                    <a:pt x="40" y="11475"/>
                    <a:pt x="40" y="11475"/>
                    <a:pt x="40" y="11475"/>
                  </a:cubicBezTo>
                  <a:cubicBezTo>
                    <a:pt x="4" y="11498"/>
                    <a:pt x="4" y="11498"/>
                    <a:pt x="4" y="11498"/>
                  </a:cubicBezTo>
                  <a:lnTo>
                    <a:pt x="4" y="11481"/>
                  </a:lnTo>
                  <a:close/>
                  <a:moveTo>
                    <a:pt x="472" y="11262"/>
                  </a:moveTo>
                  <a:cubicBezTo>
                    <a:pt x="444" y="11233"/>
                    <a:pt x="444" y="11233"/>
                    <a:pt x="444" y="11233"/>
                  </a:cubicBezTo>
                  <a:cubicBezTo>
                    <a:pt x="552" y="11167"/>
                    <a:pt x="552" y="11167"/>
                    <a:pt x="552" y="11167"/>
                  </a:cubicBezTo>
                  <a:cubicBezTo>
                    <a:pt x="510" y="11113"/>
                    <a:pt x="510" y="11113"/>
                    <a:pt x="510" y="11113"/>
                  </a:cubicBezTo>
                  <a:cubicBezTo>
                    <a:pt x="447" y="11139"/>
                    <a:pt x="447" y="11139"/>
                    <a:pt x="447" y="11139"/>
                  </a:cubicBezTo>
                  <a:cubicBezTo>
                    <a:pt x="386" y="11044"/>
                    <a:pt x="386" y="11044"/>
                    <a:pt x="386" y="11044"/>
                  </a:cubicBezTo>
                  <a:cubicBezTo>
                    <a:pt x="337" y="11067"/>
                    <a:pt x="337" y="11067"/>
                    <a:pt x="337" y="11067"/>
                  </a:cubicBezTo>
                  <a:cubicBezTo>
                    <a:pt x="268" y="10959"/>
                    <a:pt x="268" y="10959"/>
                    <a:pt x="268" y="10959"/>
                  </a:cubicBezTo>
                  <a:cubicBezTo>
                    <a:pt x="172" y="10988"/>
                    <a:pt x="172" y="10988"/>
                    <a:pt x="172" y="10988"/>
                  </a:cubicBezTo>
                  <a:cubicBezTo>
                    <a:pt x="458" y="11385"/>
                    <a:pt x="458" y="11385"/>
                    <a:pt x="458" y="11385"/>
                  </a:cubicBezTo>
                  <a:cubicBezTo>
                    <a:pt x="640" y="11257"/>
                    <a:pt x="640" y="11257"/>
                    <a:pt x="640" y="11257"/>
                  </a:cubicBezTo>
                  <a:cubicBezTo>
                    <a:pt x="648" y="11251"/>
                    <a:pt x="648" y="11251"/>
                    <a:pt x="648" y="11251"/>
                  </a:cubicBezTo>
                  <a:cubicBezTo>
                    <a:pt x="583" y="11202"/>
                    <a:pt x="583" y="11202"/>
                    <a:pt x="583" y="11202"/>
                  </a:cubicBezTo>
                  <a:lnTo>
                    <a:pt x="472" y="11262"/>
                  </a:lnTo>
                  <a:close/>
                  <a:moveTo>
                    <a:pt x="461" y="11365"/>
                  </a:moveTo>
                  <a:cubicBezTo>
                    <a:pt x="196" y="10996"/>
                    <a:pt x="196" y="10996"/>
                    <a:pt x="196" y="10996"/>
                  </a:cubicBezTo>
                  <a:cubicBezTo>
                    <a:pt x="262" y="10977"/>
                    <a:pt x="262" y="10977"/>
                    <a:pt x="262" y="10977"/>
                  </a:cubicBezTo>
                  <a:cubicBezTo>
                    <a:pt x="331" y="11086"/>
                    <a:pt x="331" y="11086"/>
                    <a:pt x="331" y="11086"/>
                  </a:cubicBezTo>
                  <a:cubicBezTo>
                    <a:pt x="381" y="11063"/>
                    <a:pt x="381" y="11063"/>
                    <a:pt x="381" y="11063"/>
                  </a:cubicBezTo>
                  <a:cubicBezTo>
                    <a:pt x="441" y="11157"/>
                    <a:pt x="441" y="11157"/>
                    <a:pt x="441" y="11157"/>
                  </a:cubicBezTo>
                  <a:cubicBezTo>
                    <a:pt x="505" y="11131"/>
                    <a:pt x="505" y="11131"/>
                    <a:pt x="505" y="11131"/>
                  </a:cubicBezTo>
                  <a:cubicBezTo>
                    <a:pt x="531" y="11163"/>
                    <a:pt x="531" y="11163"/>
                    <a:pt x="531" y="11163"/>
                  </a:cubicBezTo>
                  <a:cubicBezTo>
                    <a:pt x="420" y="11231"/>
                    <a:pt x="420" y="11231"/>
                    <a:pt x="420" y="11231"/>
                  </a:cubicBezTo>
                  <a:cubicBezTo>
                    <a:pt x="470" y="11280"/>
                    <a:pt x="470" y="11280"/>
                    <a:pt x="470" y="11280"/>
                  </a:cubicBezTo>
                  <a:cubicBezTo>
                    <a:pt x="582" y="11219"/>
                    <a:pt x="582" y="11219"/>
                    <a:pt x="582" y="11219"/>
                  </a:cubicBezTo>
                  <a:cubicBezTo>
                    <a:pt x="623" y="11250"/>
                    <a:pt x="623" y="11250"/>
                    <a:pt x="623" y="11250"/>
                  </a:cubicBezTo>
                  <a:lnTo>
                    <a:pt x="461" y="11365"/>
                  </a:lnTo>
                  <a:close/>
                  <a:moveTo>
                    <a:pt x="594" y="10761"/>
                  </a:moveTo>
                  <a:cubicBezTo>
                    <a:pt x="602" y="10758"/>
                    <a:pt x="602" y="10758"/>
                    <a:pt x="602" y="10758"/>
                  </a:cubicBezTo>
                  <a:cubicBezTo>
                    <a:pt x="482" y="10513"/>
                    <a:pt x="482" y="10513"/>
                    <a:pt x="482" y="10513"/>
                  </a:cubicBezTo>
                  <a:cubicBezTo>
                    <a:pt x="408" y="10536"/>
                    <a:pt x="408" y="10536"/>
                    <a:pt x="408" y="10536"/>
                  </a:cubicBezTo>
                  <a:cubicBezTo>
                    <a:pt x="501" y="10799"/>
                    <a:pt x="501" y="10799"/>
                    <a:pt x="501" y="10799"/>
                  </a:cubicBezTo>
                  <a:lnTo>
                    <a:pt x="594" y="10761"/>
                  </a:lnTo>
                  <a:close/>
                  <a:moveTo>
                    <a:pt x="474" y="10531"/>
                  </a:moveTo>
                  <a:cubicBezTo>
                    <a:pt x="581" y="10751"/>
                    <a:pt x="581" y="10751"/>
                    <a:pt x="581" y="10751"/>
                  </a:cubicBezTo>
                  <a:cubicBezTo>
                    <a:pt x="509" y="10779"/>
                    <a:pt x="509" y="10779"/>
                    <a:pt x="509" y="10779"/>
                  </a:cubicBezTo>
                  <a:cubicBezTo>
                    <a:pt x="427" y="10546"/>
                    <a:pt x="427" y="10546"/>
                    <a:pt x="427" y="10546"/>
                  </a:cubicBezTo>
                  <a:lnTo>
                    <a:pt x="474" y="10531"/>
                  </a:lnTo>
                  <a:close/>
                  <a:moveTo>
                    <a:pt x="4" y="11306"/>
                  </a:moveTo>
                  <a:cubicBezTo>
                    <a:pt x="162" y="11222"/>
                    <a:pt x="162" y="11222"/>
                    <a:pt x="162" y="11222"/>
                  </a:cubicBezTo>
                  <a:cubicBezTo>
                    <a:pt x="50" y="11030"/>
                    <a:pt x="50" y="11030"/>
                    <a:pt x="50" y="11030"/>
                  </a:cubicBezTo>
                  <a:cubicBezTo>
                    <a:pt x="4" y="11071"/>
                    <a:pt x="4" y="11071"/>
                    <a:pt x="4" y="11071"/>
                  </a:cubicBezTo>
                  <a:cubicBezTo>
                    <a:pt x="4" y="11051"/>
                    <a:pt x="4" y="11051"/>
                    <a:pt x="4" y="11051"/>
                  </a:cubicBezTo>
                  <a:cubicBezTo>
                    <a:pt x="54" y="11008"/>
                    <a:pt x="54" y="11008"/>
                    <a:pt x="54" y="11008"/>
                  </a:cubicBezTo>
                  <a:cubicBezTo>
                    <a:pt x="58" y="11015"/>
                    <a:pt x="58" y="11015"/>
                    <a:pt x="58" y="11015"/>
                  </a:cubicBezTo>
                  <a:cubicBezTo>
                    <a:pt x="182" y="11228"/>
                    <a:pt x="182" y="11228"/>
                    <a:pt x="182" y="11228"/>
                  </a:cubicBezTo>
                  <a:cubicBezTo>
                    <a:pt x="4" y="11323"/>
                    <a:pt x="4" y="11323"/>
                    <a:pt x="4" y="11323"/>
                  </a:cubicBezTo>
                  <a:lnTo>
                    <a:pt x="4" y="11306"/>
                  </a:lnTo>
                  <a:close/>
                  <a:moveTo>
                    <a:pt x="23" y="9506"/>
                  </a:moveTo>
                  <a:cubicBezTo>
                    <a:pt x="4" y="9509"/>
                    <a:pt x="4" y="9509"/>
                    <a:pt x="4" y="9509"/>
                  </a:cubicBezTo>
                  <a:cubicBezTo>
                    <a:pt x="4" y="9494"/>
                    <a:pt x="4" y="9494"/>
                    <a:pt x="4" y="9494"/>
                  </a:cubicBezTo>
                  <a:cubicBezTo>
                    <a:pt x="11" y="9493"/>
                    <a:pt x="11" y="9493"/>
                    <a:pt x="11" y="9493"/>
                  </a:cubicBezTo>
                  <a:cubicBezTo>
                    <a:pt x="38" y="9408"/>
                    <a:pt x="38" y="9408"/>
                    <a:pt x="38" y="9408"/>
                  </a:cubicBezTo>
                  <a:cubicBezTo>
                    <a:pt x="4" y="9355"/>
                    <a:pt x="4" y="9355"/>
                    <a:pt x="4" y="9355"/>
                  </a:cubicBezTo>
                  <a:cubicBezTo>
                    <a:pt x="4" y="9327"/>
                    <a:pt x="4" y="9327"/>
                    <a:pt x="4" y="9327"/>
                  </a:cubicBezTo>
                  <a:cubicBezTo>
                    <a:pt x="54" y="9406"/>
                    <a:pt x="54" y="9406"/>
                    <a:pt x="54" y="9406"/>
                  </a:cubicBezTo>
                  <a:lnTo>
                    <a:pt x="23" y="9506"/>
                  </a:lnTo>
                  <a:close/>
                  <a:moveTo>
                    <a:pt x="31" y="8515"/>
                  </a:moveTo>
                  <a:cubicBezTo>
                    <a:pt x="4" y="8546"/>
                    <a:pt x="4" y="8546"/>
                    <a:pt x="4" y="8546"/>
                  </a:cubicBezTo>
                  <a:cubicBezTo>
                    <a:pt x="4" y="8511"/>
                    <a:pt x="4" y="8511"/>
                    <a:pt x="4" y="8511"/>
                  </a:cubicBezTo>
                  <a:cubicBezTo>
                    <a:pt x="16" y="8506"/>
                    <a:pt x="23" y="8504"/>
                    <a:pt x="23" y="8504"/>
                  </a:cubicBezTo>
                  <a:cubicBezTo>
                    <a:pt x="51" y="8492"/>
                    <a:pt x="51" y="8492"/>
                    <a:pt x="51" y="8492"/>
                  </a:cubicBezTo>
                  <a:lnTo>
                    <a:pt x="31" y="8515"/>
                  </a:lnTo>
                  <a:close/>
                  <a:moveTo>
                    <a:pt x="128" y="8752"/>
                  </a:moveTo>
                  <a:cubicBezTo>
                    <a:pt x="4" y="8857"/>
                    <a:pt x="4" y="8857"/>
                    <a:pt x="4" y="8857"/>
                  </a:cubicBezTo>
                  <a:cubicBezTo>
                    <a:pt x="4" y="8838"/>
                    <a:pt x="4" y="8838"/>
                    <a:pt x="4" y="8838"/>
                  </a:cubicBezTo>
                  <a:cubicBezTo>
                    <a:pt x="109" y="8749"/>
                    <a:pt x="109" y="8749"/>
                    <a:pt x="109" y="8749"/>
                  </a:cubicBezTo>
                  <a:cubicBezTo>
                    <a:pt x="62" y="8667"/>
                    <a:pt x="62" y="8667"/>
                    <a:pt x="62" y="8667"/>
                  </a:cubicBezTo>
                  <a:cubicBezTo>
                    <a:pt x="4" y="8684"/>
                    <a:pt x="4" y="8684"/>
                    <a:pt x="4" y="8684"/>
                  </a:cubicBezTo>
                  <a:cubicBezTo>
                    <a:pt x="4" y="8668"/>
                    <a:pt x="4" y="8668"/>
                    <a:pt x="4" y="8668"/>
                  </a:cubicBezTo>
                  <a:cubicBezTo>
                    <a:pt x="69" y="8650"/>
                    <a:pt x="69" y="8650"/>
                    <a:pt x="69" y="8650"/>
                  </a:cubicBezTo>
                  <a:lnTo>
                    <a:pt x="128" y="8752"/>
                  </a:lnTo>
                  <a:close/>
                  <a:moveTo>
                    <a:pt x="28" y="9118"/>
                  </a:moveTo>
                  <a:cubicBezTo>
                    <a:pt x="4" y="9079"/>
                    <a:pt x="4" y="9079"/>
                    <a:pt x="4" y="9079"/>
                  </a:cubicBezTo>
                  <a:cubicBezTo>
                    <a:pt x="4" y="9050"/>
                    <a:pt x="4" y="9050"/>
                    <a:pt x="4" y="9050"/>
                  </a:cubicBezTo>
                  <a:cubicBezTo>
                    <a:pt x="37" y="9104"/>
                    <a:pt x="37" y="9104"/>
                    <a:pt x="37" y="9104"/>
                  </a:cubicBezTo>
                  <a:cubicBezTo>
                    <a:pt x="177" y="9111"/>
                    <a:pt x="177" y="9111"/>
                    <a:pt x="177" y="9111"/>
                  </a:cubicBezTo>
                  <a:cubicBezTo>
                    <a:pt x="277" y="9021"/>
                    <a:pt x="277" y="9021"/>
                    <a:pt x="277" y="9021"/>
                  </a:cubicBezTo>
                  <a:cubicBezTo>
                    <a:pt x="151" y="8906"/>
                    <a:pt x="151" y="8906"/>
                    <a:pt x="151" y="8906"/>
                  </a:cubicBezTo>
                  <a:cubicBezTo>
                    <a:pt x="4" y="9019"/>
                    <a:pt x="4" y="9019"/>
                    <a:pt x="4" y="9019"/>
                  </a:cubicBezTo>
                  <a:cubicBezTo>
                    <a:pt x="4" y="9000"/>
                    <a:pt x="4" y="9000"/>
                    <a:pt x="4" y="9000"/>
                  </a:cubicBezTo>
                  <a:cubicBezTo>
                    <a:pt x="152" y="8887"/>
                    <a:pt x="152" y="8887"/>
                    <a:pt x="152" y="8887"/>
                  </a:cubicBezTo>
                  <a:cubicBezTo>
                    <a:pt x="299" y="9021"/>
                    <a:pt x="299" y="9021"/>
                    <a:pt x="299" y="9021"/>
                  </a:cubicBezTo>
                  <a:cubicBezTo>
                    <a:pt x="293" y="9026"/>
                    <a:pt x="293" y="9026"/>
                    <a:pt x="293" y="9026"/>
                  </a:cubicBezTo>
                  <a:cubicBezTo>
                    <a:pt x="183" y="9126"/>
                    <a:pt x="183" y="9126"/>
                    <a:pt x="183" y="9126"/>
                  </a:cubicBezTo>
                  <a:lnTo>
                    <a:pt x="28" y="9118"/>
                  </a:lnTo>
                  <a:close/>
                  <a:moveTo>
                    <a:pt x="496" y="8894"/>
                  </a:moveTo>
                  <a:cubicBezTo>
                    <a:pt x="511" y="8790"/>
                    <a:pt x="511" y="8790"/>
                    <a:pt x="511" y="8790"/>
                  </a:cubicBezTo>
                  <a:cubicBezTo>
                    <a:pt x="393" y="8687"/>
                    <a:pt x="393" y="8687"/>
                    <a:pt x="393" y="8687"/>
                  </a:cubicBezTo>
                  <a:cubicBezTo>
                    <a:pt x="297" y="8759"/>
                    <a:pt x="297" y="8759"/>
                    <a:pt x="297" y="8759"/>
                  </a:cubicBezTo>
                  <a:cubicBezTo>
                    <a:pt x="321" y="8798"/>
                    <a:pt x="321" y="8798"/>
                    <a:pt x="321" y="8798"/>
                  </a:cubicBezTo>
                  <a:cubicBezTo>
                    <a:pt x="295" y="8812"/>
                    <a:pt x="295" y="8812"/>
                    <a:pt x="295" y="8812"/>
                  </a:cubicBezTo>
                  <a:cubicBezTo>
                    <a:pt x="260" y="8791"/>
                    <a:pt x="260" y="8791"/>
                    <a:pt x="260" y="8791"/>
                  </a:cubicBezTo>
                  <a:cubicBezTo>
                    <a:pt x="191" y="8847"/>
                    <a:pt x="191" y="8847"/>
                    <a:pt x="191" y="8847"/>
                  </a:cubicBezTo>
                  <a:cubicBezTo>
                    <a:pt x="333" y="8986"/>
                    <a:pt x="333" y="8986"/>
                    <a:pt x="333" y="8986"/>
                  </a:cubicBezTo>
                  <a:cubicBezTo>
                    <a:pt x="493" y="8896"/>
                    <a:pt x="493" y="8896"/>
                    <a:pt x="493" y="8896"/>
                  </a:cubicBezTo>
                  <a:lnTo>
                    <a:pt x="496" y="8894"/>
                  </a:lnTo>
                  <a:close/>
                  <a:moveTo>
                    <a:pt x="336" y="8968"/>
                  </a:moveTo>
                  <a:cubicBezTo>
                    <a:pt x="213" y="8848"/>
                    <a:pt x="213" y="8848"/>
                    <a:pt x="213" y="8848"/>
                  </a:cubicBezTo>
                  <a:cubicBezTo>
                    <a:pt x="261" y="8809"/>
                    <a:pt x="261" y="8809"/>
                    <a:pt x="261" y="8809"/>
                  </a:cubicBezTo>
                  <a:cubicBezTo>
                    <a:pt x="295" y="8830"/>
                    <a:pt x="295" y="8830"/>
                    <a:pt x="295" y="8830"/>
                  </a:cubicBezTo>
                  <a:cubicBezTo>
                    <a:pt x="341" y="8803"/>
                    <a:pt x="341" y="8803"/>
                    <a:pt x="341" y="8803"/>
                  </a:cubicBezTo>
                  <a:cubicBezTo>
                    <a:pt x="317" y="8762"/>
                    <a:pt x="317" y="8762"/>
                    <a:pt x="317" y="8762"/>
                  </a:cubicBezTo>
                  <a:cubicBezTo>
                    <a:pt x="392" y="8706"/>
                    <a:pt x="392" y="8706"/>
                    <a:pt x="392" y="8706"/>
                  </a:cubicBezTo>
                  <a:cubicBezTo>
                    <a:pt x="495" y="8796"/>
                    <a:pt x="495" y="8796"/>
                    <a:pt x="495" y="8796"/>
                  </a:cubicBezTo>
                  <a:cubicBezTo>
                    <a:pt x="482" y="8885"/>
                    <a:pt x="482" y="8885"/>
                    <a:pt x="482" y="8885"/>
                  </a:cubicBezTo>
                  <a:lnTo>
                    <a:pt x="336" y="8968"/>
                  </a:lnTo>
                  <a:close/>
                  <a:moveTo>
                    <a:pt x="538" y="8745"/>
                  </a:moveTo>
                  <a:cubicBezTo>
                    <a:pt x="672" y="8652"/>
                    <a:pt x="672" y="8652"/>
                    <a:pt x="672" y="8652"/>
                  </a:cubicBezTo>
                  <a:cubicBezTo>
                    <a:pt x="676" y="8460"/>
                    <a:pt x="676" y="8460"/>
                    <a:pt x="676" y="8460"/>
                  </a:cubicBezTo>
                  <a:cubicBezTo>
                    <a:pt x="676" y="8444"/>
                    <a:pt x="676" y="8444"/>
                    <a:pt x="676" y="8444"/>
                  </a:cubicBezTo>
                  <a:cubicBezTo>
                    <a:pt x="435" y="8638"/>
                    <a:pt x="435" y="8638"/>
                    <a:pt x="435" y="8638"/>
                  </a:cubicBezTo>
                  <a:lnTo>
                    <a:pt x="538" y="8745"/>
                  </a:lnTo>
                  <a:close/>
                  <a:moveTo>
                    <a:pt x="657" y="8644"/>
                  </a:moveTo>
                  <a:cubicBezTo>
                    <a:pt x="540" y="8726"/>
                    <a:pt x="540" y="8726"/>
                    <a:pt x="540" y="8726"/>
                  </a:cubicBezTo>
                  <a:cubicBezTo>
                    <a:pt x="457" y="8640"/>
                    <a:pt x="457" y="8640"/>
                    <a:pt x="457" y="8640"/>
                  </a:cubicBezTo>
                  <a:cubicBezTo>
                    <a:pt x="661" y="8476"/>
                    <a:pt x="661" y="8476"/>
                    <a:pt x="661" y="8476"/>
                  </a:cubicBezTo>
                  <a:lnTo>
                    <a:pt x="657" y="8644"/>
                  </a:lnTo>
                  <a:close/>
                  <a:moveTo>
                    <a:pt x="1018" y="8339"/>
                  </a:moveTo>
                  <a:cubicBezTo>
                    <a:pt x="1020" y="8335"/>
                    <a:pt x="1020" y="8335"/>
                    <a:pt x="1020" y="8335"/>
                  </a:cubicBezTo>
                  <a:cubicBezTo>
                    <a:pt x="943" y="8232"/>
                    <a:pt x="943" y="8232"/>
                    <a:pt x="943" y="8232"/>
                  </a:cubicBezTo>
                  <a:cubicBezTo>
                    <a:pt x="838" y="8318"/>
                    <a:pt x="838" y="8318"/>
                    <a:pt x="838" y="8318"/>
                  </a:cubicBezTo>
                  <a:cubicBezTo>
                    <a:pt x="969" y="8445"/>
                    <a:pt x="969" y="8445"/>
                    <a:pt x="969" y="8445"/>
                  </a:cubicBezTo>
                  <a:lnTo>
                    <a:pt x="1018" y="8339"/>
                  </a:lnTo>
                  <a:close/>
                  <a:moveTo>
                    <a:pt x="860" y="8319"/>
                  </a:moveTo>
                  <a:cubicBezTo>
                    <a:pt x="940" y="8254"/>
                    <a:pt x="940" y="8254"/>
                    <a:pt x="940" y="8254"/>
                  </a:cubicBezTo>
                  <a:cubicBezTo>
                    <a:pt x="1003" y="8337"/>
                    <a:pt x="1003" y="8337"/>
                    <a:pt x="1003" y="8337"/>
                  </a:cubicBezTo>
                  <a:cubicBezTo>
                    <a:pt x="964" y="8420"/>
                    <a:pt x="964" y="8420"/>
                    <a:pt x="964" y="8420"/>
                  </a:cubicBezTo>
                  <a:lnTo>
                    <a:pt x="860" y="8319"/>
                  </a:lnTo>
                  <a:close/>
                  <a:moveTo>
                    <a:pt x="846" y="8545"/>
                  </a:moveTo>
                  <a:cubicBezTo>
                    <a:pt x="903" y="8541"/>
                    <a:pt x="903" y="8541"/>
                    <a:pt x="903" y="8541"/>
                  </a:cubicBezTo>
                  <a:cubicBezTo>
                    <a:pt x="932" y="8486"/>
                    <a:pt x="932" y="8486"/>
                    <a:pt x="932" y="8486"/>
                  </a:cubicBezTo>
                  <a:cubicBezTo>
                    <a:pt x="935" y="8481"/>
                    <a:pt x="935" y="8481"/>
                    <a:pt x="935" y="8481"/>
                  </a:cubicBezTo>
                  <a:cubicBezTo>
                    <a:pt x="804" y="8354"/>
                    <a:pt x="804" y="8354"/>
                    <a:pt x="804" y="8354"/>
                  </a:cubicBezTo>
                  <a:cubicBezTo>
                    <a:pt x="725" y="8400"/>
                    <a:pt x="725" y="8400"/>
                    <a:pt x="725" y="8400"/>
                  </a:cubicBezTo>
                  <a:lnTo>
                    <a:pt x="846" y="8545"/>
                  </a:lnTo>
                  <a:close/>
                  <a:moveTo>
                    <a:pt x="917" y="8484"/>
                  </a:moveTo>
                  <a:cubicBezTo>
                    <a:pt x="894" y="8527"/>
                    <a:pt x="894" y="8527"/>
                    <a:pt x="894" y="8527"/>
                  </a:cubicBezTo>
                  <a:cubicBezTo>
                    <a:pt x="852" y="8530"/>
                    <a:pt x="852" y="8530"/>
                    <a:pt x="852" y="8530"/>
                  </a:cubicBezTo>
                  <a:cubicBezTo>
                    <a:pt x="748" y="8404"/>
                    <a:pt x="748" y="8404"/>
                    <a:pt x="748" y="8404"/>
                  </a:cubicBezTo>
                  <a:cubicBezTo>
                    <a:pt x="802" y="8372"/>
                    <a:pt x="802" y="8372"/>
                    <a:pt x="802" y="8372"/>
                  </a:cubicBezTo>
                  <a:lnTo>
                    <a:pt x="917" y="8484"/>
                  </a:lnTo>
                  <a:close/>
                  <a:moveTo>
                    <a:pt x="461" y="8256"/>
                  </a:moveTo>
                  <a:cubicBezTo>
                    <a:pt x="481" y="8300"/>
                    <a:pt x="481" y="8300"/>
                    <a:pt x="481" y="8300"/>
                  </a:cubicBezTo>
                  <a:cubicBezTo>
                    <a:pt x="385" y="8392"/>
                    <a:pt x="385" y="8392"/>
                    <a:pt x="385" y="8392"/>
                  </a:cubicBezTo>
                  <a:cubicBezTo>
                    <a:pt x="444" y="8483"/>
                    <a:pt x="444" y="8483"/>
                    <a:pt x="444" y="8483"/>
                  </a:cubicBezTo>
                  <a:cubicBezTo>
                    <a:pt x="654" y="8311"/>
                    <a:pt x="654" y="8311"/>
                    <a:pt x="654" y="8311"/>
                  </a:cubicBezTo>
                  <a:cubicBezTo>
                    <a:pt x="660" y="8307"/>
                    <a:pt x="660" y="8307"/>
                    <a:pt x="660" y="8307"/>
                  </a:cubicBezTo>
                  <a:cubicBezTo>
                    <a:pt x="490" y="8086"/>
                    <a:pt x="490" y="8086"/>
                    <a:pt x="490" y="8086"/>
                  </a:cubicBezTo>
                  <a:cubicBezTo>
                    <a:pt x="366" y="8221"/>
                    <a:pt x="366" y="8221"/>
                    <a:pt x="366" y="8221"/>
                  </a:cubicBezTo>
                  <a:cubicBezTo>
                    <a:pt x="414" y="8293"/>
                    <a:pt x="414" y="8293"/>
                    <a:pt x="414" y="8293"/>
                  </a:cubicBezTo>
                  <a:lnTo>
                    <a:pt x="461" y="8256"/>
                  </a:lnTo>
                  <a:close/>
                  <a:moveTo>
                    <a:pt x="489" y="8109"/>
                  </a:moveTo>
                  <a:cubicBezTo>
                    <a:pt x="639" y="8304"/>
                    <a:pt x="639" y="8304"/>
                    <a:pt x="639" y="8304"/>
                  </a:cubicBezTo>
                  <a:cubicBezTo>
                    <a:pt x="447" y="8461"/>
                    <a:pt x="447" y="8461"/>
                    <a:pt x="447" y="8461"/>
                  </a:cubicBezTo>
                  <a:cubicBezTo>
                    <a:pt x="404" y="8394"/>
                    <a:pt x="404" y="8394"/>
                    <a:pt x="404" y="8394"/>
                  </a:cubicBezTo>
                  <a:cubicBezTo>
                    <a:pt x="498" y="8303"/>
                    <a:pt x="498" y="8303"/>
                    <a:pt x="498" y="8303"/>
                  </a:cubicBezTo>
                  <a:cubicBezTo>
                    <a:pt x="467" y="8233"/>
                    <a:pt x="467" y="8233"/>
                    <a:pt x="467" y="8233"/>
                  </a:cubicBezTo>
                  <a:cubicBezTo>
                    <a:pt x="417" y="8272"/>
                    <a:pt x="417" y="8272"/>
                    <a:pt x="417" y="8272"/>
                  </a:cubicBezTo>
                  <a:cubicBezTo>
                    <a:pt x="385" y="8222"/>
                    <a:pt x="385" y="8222"/>
                    <a:pt x="385" y="8222"/>
                  </a:cubicBezTo>
                  <a:lnTo>
                    <a:pt x="489" y="8109"/>
                  </a:lnTo>
                  <a:close/>
                  <a:moveTo>
                    <a:pt x="617" y="8124"/>
                  </a:moveTo>
                  <a:cubicBezTo>
                    <a:pt x="686" y="8024"/>
                    <a:pt x="686" y="8024"/>
                    <a:pt x="686" y="8024"/>
                  </a:cubicBezTo>
                  <a:cubicBezTo>
                    <a:pt x="707" y="8153"/>
                    <a:pt x="707" y="8153"/>
                    <a:pt x="707" y="8153"/>
                  </a:cubicBezTo>
                  <a:cubicBezTo>
                    <a:pt x="722" y="8153"/>
                    <a:pt x="722" y="8153"/>
                    <a:pt x="722" y="8153"/>
                  </a:cubicBezTo>
                  <a:cubicBezTo>
                    <a:pt x="759" y="8032"/>
                    <a:pt x="759" y="8032"/>
                    <a:pt x="759" y="8032"/>
                  </a:cubicBezTo>
                  <a:cubicBezTo>
                    <a:pt x="815" y="8088"/>
                    <a:pt x="815" y="8088"/>
                    <a:pt x="815" y="8088"/>
                  </a:cubicBezTo>
                  <a:cubicBezTo>
                    <a:pt x="863" y="8037"/>
                    <a:pt x="863" y="8037"/>
                    <a:pt x="863" y="8037"/>
                  </a:cubicBezTo>
                  <a:cubicBezTo>
                    <a:pt x="868" y="8032"/>
                    <a:pt x="868" y="8032"/>
                    <a:pt x="868" y="8032"/>
                  </a:cubicBezTo>
                  <a:cubicBezTo>
                    <a:pt x="689" y="7864"/>
                    <a:pt x="689" y="7864"/>
                    <a:pt x="689" y="7864"/>
                  </a:cubicBezTo>
                  <a:cubicBezTo>
                    <a:pt x="536" y="8037"/>
                    <a:pt x="536" y="8037"/>
                    <a:pt x="536" y="8037"/>
                  </a:cubicBezTo>
                  <a:lnTo>
                    <a:pt x="617" y="8124"/>
                  </a:lnTo>
                  <a:close/>
                  <a:moveTo>
                    <a:pt x="690" y="7885"/>
                  </a:moveTo>
                  <a:cubicBezTo>
                    <a:pt x="847" y="8032"/>
                    <a:pt x="847" y="8032"/>
                    <a:pt x="847" y="8032"/>
                  </a:cubicBezTo>
                  <a:cubicBezTo>
                    <a:pt x="814" y="8067"/>
                    <a:pt x="814" y="8067"/>
                    <a:pt x="814" y="8067"/>
                  </a:cubicBezTo>
                  <a:cubicBezTo>
                    <a:pt x="752" y="8004"/>
                    <a:pt x="752" y="8004"/>
                    <a:pt x="752" y="8004"/>
                  </a:cubicBezTo>
                  <a:cubicBezTo>
                    <a:pt x="717" y="8119"/>
                    <a:pt x="717" y="8119"/>
                    <a:pt x="717" y="8119"/>
                  </a:cubicBezTo>
                  <a:cubicBezTo>
                    <a:pt x="695" y="7986"/>
                    <a:pt x="695" y="7986"/>
                    <a:pt x="695" y="7986"/>
                  </a:cubicBezTo>
                  <a:cubicBezTo>
                    <a:pt x="615" y="8100"/>
                    <a:pt x="615" y="8100"/>
                    <a:pt x="615" y="8100"/>
                  </a:cubicBezTo>
                  <a:cubicBezTo>
                    <a:pt x="556" y="8037"/>
                    <a:pt x="556" y="8037"/>
                    <a:pt x="556" y="8037"/>
                  </a:cubicBezTo>
                  <a:lnTo>
                    <a:pt x="690" y="7885"/>
                  </a:lnTo>
                  <a:close/>
                  <a:moveTo>
                    <a:pt x="423" y="7828"/>
                  </a:moveTo>
                  <a:cubicBezTo>
                    <a:pt x="492" y="7873"/>
                    <a:pt x="492" y="7873"/>
                    <a:pt x="492" y="7873"/>
                  </a:cubicBezTo>
                  <a:cubicBezTo>
                    <a:pt x="535" y="7832"/>
                    <a:pt x="535" y="7832"/>
                    <a:pt x="535" y="7832"/>
                  </a:cubicBezTo>
                  <a:cubicBezTo>
                    <a:pt x="540" y="7828"/>
                    <a:pt x="540" y="7828"/>
                    <a:pt x="540" y="7828"/>
                  </a:cubicBezTo>
                  <a:cubicBezTo>
                    <a:pt x="369" y="7600"/>
                    <a:pt x="369" y="7600"/>
                    <a:pt x="369" y="7600"/>
                  </a:cubicBezTo>
                  <a:cubicBezTo>
                    <a:pt x="258" y="7822"/>
                    <a:pt x="258" y="7822"/>
                    <a:pt x="258" y="7822"/>
                  </a:cubicBezTo>
                  <a:cubicBezTo>
                    <a:pt x="345" y="7866"/>
                    <a:pt x="345" y="7866"/>
                    <a:pt x="345" y="7866"/>
                  </a:cubicBezTo>
                  <a:lnTo>
                    <a:pt x="423" y="7828"/>
                  </a:lnTo>
                  <a:close/>
                  <a:moveTo>
                    <a:pt x="372" y="7628"/>
                  </a:moveTo>
                  <a:cubicBezTo>
                    <a:pt x="520" y="7826"/>
                    <a:pt x="520" y="7826"/>
                    <a:pt x="520" y="7826"/>
                  </a:cubicBezTo>
                  <a:cubicBezTo>
                    <a:pt x="490" y="7854"/>
                    <a:pt x="490" y="7854"/>
                    <a:pt x="490" y="7854"/>
                  </a:cubicBezTo>
                  <a:cubicBezTo>
                    <a:pt x="424" y="7811"/>
                    <a:pt x="424" y="7811"/>
                    <a:pt x="424" y="7811"/>
                  </a:cubicBezTo>
                  <a:cubicBezTo>
                    <a:pt x="345" y="7850"/>
                    <a:pt x="345" y="7850"/>
                    <a:pt x="345" y="7850"/>
                  </a:cubicBezTo>
                  <a:cubicBezTo>
                    <a:pt x="278" y="7815"/>
                    <a:pt x="278" y="7815"/>
                    <a:pt x="278" y="7815"/>
                  </a:cubicBezTo>
                  <a:lnTo>
                    <a:pt x="372" y="7628"/>
                  </a:lnTo>
                  <a:close/>
                  <a:moveTo>
                    <a:pt x="214" y="8072"/>
                  </a:moveTo>
                  <a:cubicBezTo>
                    <a:pt x="233" y="8012"/>
                    <a:pt x="233" y="8012"/>
                    <a:pt x="233" y="8012"/>
                  </a:cubicBezTo>
                  <a:cubicBezTo>
                    <a:pt x="150" y="7859"/>
                    <a:pt x="150" y="7859"/>
                    <a:pt x="150" y="7859"/>
                  </a:cubicBezTo>
                  <a:cubicBezTo>
                    <a:pt x="57" y="8040"/>
                    <a:pt x="57" y="8040"/>
                    <a:pt x="57" y="8040"/>
                  </a:cubicBezTo>
                  <a:cubicBezTo>
                    <a:pt x="228" y="8161"/>
                    <a:pt x="228" y="8161"/>
                    <a:pt x="228" y="8161"/>
                  </a:cubicBezTo>
                  <a:cubicBezTo>
                    <a:pt x="236" y="8167"/>
                    <a:pt x="236" y="8167"/>
                    <a:pt x="236" y="8167"/>
                  </a:cubicBezTo>
                  <a:cubicBezTo>
                    <a:pt x="260" y="8091"/>
                    <a:pt x="260" y="8091"/>
                    <a:pt x="260" y="8091"/>
                  </a:cubicBezTo>
                  <a:lnTo>
                    <a:pt x="214" y="8072"/>
                  </a:lnTo>
                  <a:close/>
                  <a:moveTo>
                    <a:pt x="228" y="8143"/>
                  </a:moveTo>
                  <a:cubicBezTo>
                    <a:pt x="76" y="8036"/>
                    <a:pt x="76" y="8036"/>
                    <a:pt x="76" y="8036"/>
                  </a:cubicBezTo>
                  <a:cubicBezTo>
                    <a:pt x="150" y="7891"/>
                    <a:pt x="150" y="7891"/>
                    <a:pt x="150" y="7891"/>
                  </a:cubicBezTo>
                  <a:cubicBezTo>
                    <a:pt x="217" y="8014"/>
                    <a:pt x="217" y="8014"/>
                    <a:pt x="217" y="8014"/>
                  </a:cubicBezTo>
                  <a:cubicBezTo>
                    <a:pt x="196" y="8081"/>
                    <a:pt x="196" y="8081"/>
                    <a:pt x="196" y="8081"/>
                  </a:cubicBezTo>
                  <a:cubicBezTo>
                    <a:pt x="242" y="8099"/>
                    <a:pt x="242" y="8099"/>
                    <a:pt x="242" y="8099"/>
                  </a:cubicBezTo>
                  <a:lnTo>
                    <a:pt x="228" y="8143"/>
                  </a:lnTo>
                  <a:close/>
                  <a:moveTo>
                    <a:pt x="526" y="7443"/>
                  </a:moveTo>
                  <a:cubicBezTo>
                    <a:pt x="507" y="7472"/>
                    <a:pt x="507" y="7472"/>
                    <a:pt x="507" y="7472"/>
                  </a:cubicBezTo>
                  <a:cubicBezTo>
                    <a:pt x="528" y="7498"/>
                    <a:pt x="528" y="7498"/>
                    <a:pt x="528" y="7498"/>
                  </a:cubicBezTo>
                  <a:cubicBezTo>
                    <a:pt x="634" y="7420"/>
                    <a:pt x="634" y="7420"/>
                    <a:pt x="634" y="7420"/>
                  </a:cubicBezTo>
                  <a:cubicBezTo>
                    <a:pt x="654" y="7456"/>
                    <a:pt x="654" y="7456"/>
                    <a:pt x="654" y="7456"/>
                  </a:cubicBezTo>
                  <a:cubicBezTo>
                    <a:pt x="610" y="7498"/>
                    <a:pt x="610" y="7498"/>
                    <a:pt x="610" y="7498"/>
                  </a:cubicBezTo>
                  <a:cubicBezTo>
                    <a:pt x="679" y="7539"/>
                    <a:pt x="679" y="7539"/>
                    <a:pt x="679" y="7539"/>
                  </a:cubicBezTo>
                  <a:cubicBezTo>
                    <a:pt x="753" y="7476"/>
                    <a:pt x="753" y="7476"/>
                    <a:pt x="753" y="7476"/>
                  </a:cubicBezTo>
                  <a:cubicBezTo>
                    <a:pt x="798" y="7519"/>
                    <a:pt x="798" y="7519"/>
                    <a:pt x="798" y="7519"/>
                  </a:cubicBezTo>
                  <a:cubicBezTo>
                    <a:pt x="857" y="7458"/>
                    <a:pt x="857" y="7458"/>
                    <a:pt x="857" y="7458"/>
                  </a:cubicBezTo>
                  <a:cubicBezTo>
                    <a:pt x="862" y="7452"/>
                    <a:pt x="862" y="7452"/>
                    <a:pt x="862" y="7452"/>
                  </a:cubicBezTo>
                  <a:cubicBezTo>
                    <a:pt x="643" y="7249"/>
                    <a:pt x="643" y="7249"/>
                    <a:pt x="643" y="7249"/>
                  </a:cubicBezTo>
                  <a:cubicBezTo>
                    <a:pt x="479" y="7398"/>
                    <a:pt x="479" y="7398"/>
                    <a:pt x="479" y="7398"/>
                  </a:cubicBezTo>
                  <a:lnTo>
                    <a:pt x="526" y="7443"/>
                  </a:lnTo>
                  <a:close/>
                  <a:moveTo>
                    <a:pt x="841" y="7453"/>
                  </a:moveTo>
                  <a:cubicBezTo>
                    <a:pt x="798" y="7498"/>
                    <a:pt x="798" y="7498"/>
                    <a:pt x="798" y="7498"/>
                  </a:cubicBezTo>
                  <a:cubicBezTo>
                    <a:pt x="754" y="7456"/>
                    <a:pt x="754" y="7456"/>
                    <a:pt x="754" y="7456"/>
                  </a:cubicBezTo>
                  <a:cubicBezTo>
                    <a:pt x="677" y="7521"/>
                    <a:pt x="677" y="7521"/>
                    <a:pt x="677" y="7521"/>
                  </a:cubicBezTo>
                  <a:cubicBezTo>
                    <a:pt x="634" y="7495"/>
                    <a:pt x="634" y="7495"/>
                    <a:pt x="634" y="7495"/>
                  </a:cubicBezTo>
                  <a:cubicBezTo>
                    <a:pt x="672" y="7458"/>
                    <a:pt x="672" y="7458"/>
                    <a:pt x="672" y="7458"/>
                  </a:cubicBezTo>
                  <a:cubicBezTo>
                    <a:pt x="639" y="7399"/>
                    <a:pt x="639" y="7399"/>
                    <a:pt x="639" y="7399"/>
                  </a:cubicBezTo>
                  <a:cubicBezTo>
                    <a:pt x="531" y="7478"/>
                    <a:pt x="531" y="7478"/>
                    <a:pt x="531" y="7478"/>
                  </a:cubicBezTo>
                  <a:cubicBezTo>
                    <a:pt x="525" y="7471"/>
                    <a:pt x="525" y="7471"/>
                    <a:pt x="525" y="7471"/>
                  </a:cubicBezTo>
                  <a:cubicBezTo>
                    <a:pt x="545" y="7440"/>
                    <a:pt x="545" y="7440"/>
                    <a:pt x="545" y="7440"/>
                  </a:cubicBezTo>
                  <a:cubicBezTo>
                    <a:pt x="501" y="7398"/>
                    <a:pt x="501" y="7398"/>
                    <a:pt x="501" y="7398"/>
                  </a:cubicBezTo>
                  <a:cubicBezTo>
                    <a:pt x="643" y="7269"/>
                    <a:pt x="643" y="7269"/>
                    <a:pt x="643" y="7269"/>
                  </a:cubicBezTo>
                  <a:lnTo>
                    <a:pt x="841" y="7453"/>
                  </a:lnTo>
                  <a:close/>
                  <a:moveTo>
                    <a:pt x="891" y="6841"/>
                  </a:moveTo>
                  <a:cubicBezTo>
                    <a:pt x="860" y="6862"/>
                    <a:pt x="860" y="6862"/>
                    <a:pt x="860" y="6862"/>
                  </a:cubicBezTo>
                  <a:cubicBezTo>
                    <a:pt x="754" y="6788"/>
                    <a:pt x="754" y="6788"/>
                    <a:pt x="754" y="6788"/>
                  </a:cubicBezTo>
                  <a:cubicBezTo>
                    <a:pt x="712" y="6857"/>
                    <a:pt x="712" y="6857"/>
                    <a:pt x="712" y="6857"/>
                  </a:cubicBezTo>
                  <a:cubicBezTo>
                    <a:pt x="601" y="6765"/>
                    <a:pt x="601" y="6765"/>
                    <a:pt x="601" y="6765"/>
                  </a:cubicBezTo>
                  <a:cubicBezTo>
                    <a:pt x="530" y="6868"/>
                    <a:pt x="530" y="6868"/>
                    <a:pt x="530" y="6868"/>
                  </a:cubicBezTo>
                  <a:cubicBezTo>
                    <a:pt x="746" y="7025"/>
                    <a:pt x="746" y="7025"/>
                    <a:pt x="746" y="7025"/>
                  </a:cubicBezTo>
                  <a:cubicBezTo>
                    <a:pt x="710" y="7079"/>
                    <a:pt x="710" y="7079"/>
                    <a:pt x="710" y="7079"/>
                  </a:cubicBezTo>
                  <a:cubicBezTo>
                    <a:pt x="776" y="7136"/>
                    <a:pt x="776" y="7136"/>
                    <a:pt x="776" y="7136"/>
                  </a:cubicBezTo>
                  <a:cubicBezTo>
                    <a:pt x="749" y="7227"/>
                    <a:pt x="749" y="7227"/>
                    <a:pt x="749" y="7227"/>
                  </a:cubicBezTo>
                  <a:cubicBezTo>
                    <a:pt x="907" y="7341"/>
                    <a:pt x="907" y="7341"/>
                    <a:pt x="907" y="7341"/>
                  </a:cubicBezTo>
                  <a:cubicBezTo>
                    <a:pt x="915" y="7347"/>
                    <a:pt x="915" y="7347"/>
                    <a:pt x="915" y="7347"/>
                  </a:cubicBezTo>
                  <a:cubicBezTo>
                    <a:pt x="1020" y="7055"/>
                    <a:pt x="1020" y="7055"/>
                    <a:pt x="1020" y="7055"/>
                  </a:cubicBezTo>
                  <a:lnTo>
                    <a:pt x="891" y="6841"/>
                  </a:lnTo>
                  <a:close/>
                  <a:moveTo>
                    <a:pt x="908" y="7324"/>
                  </a:moveTo>
                  <a:cubicBezTo>
                    <a:pt x="766" y="7222"/>
                    <a:pt x="766" y="7222"/>
                    <a:pt x="766" y="7222"/>
                  </a:cubicBezTo>
                  <a:cubicBezTo>
                    <a:pt x="793" y="7131"/>
                    <a:pt x="793" y="7131"/>
                    <a:pt x="793" y="7131"/>
                  </a:cubicBezTo>
                  <a:cubicBezTo>
                    <a:pt x="730" y="7077"/>
                    <a:pt x="730" y="7077"/>
                    <a:pt x="730" y="7077"/>
                  </a:cubicBezTo>
                  <a:cubicBezTo>
                    <a:pt x="766" y="7021"/>
                    <a:pt x="766" y="7021"/>
                    <a:pt x="766" y="7021"/>
                  </a:cubicBezTo>
                  <a:cubicBezTo>
                    <a:pt x="550" y="6864"/>
                    <a:pt x="550" y="6864"/>
                    <a:pt x="550" y="6864"/>
                  </a:cubicBezTo>
                  <a:cubicBezTo>
                    <a:pt x="604" y="6787"/>
                    <a:pt x="604" y="6787"/>
                    <a:pt x="604" y="6787"/>
                  </a:cubicBezTo>
                  <a:cubicBezTo>
                    <a:pt x="716" y="6879"/>
                    <a:pt x="716" y="6879"/>
                    <a:pt x="716" y="6879"/>
                  </a:cubicBezTo>
                  <a:cubicBezTo>
                    <a:pt x="758" y="6809"/>
                    <a:pt x="758" y="6809"/>
                    <a:pt x="758" y="6809"/>
                  </a:cubicBezTo>
                  <a:cubicBezTo>
                    <a:pt x="860" y="6880"/>
                    <a:pt x="860" y="6880"/>
                    <a:pt x="860" y="6880"/>
                  </a:cubicBezTo>
                  <a:cubicBezTo>
                    <a:pt x="886" y="6862"/>
                    <a:pt x="886" y="6862"/>
                    <a:pt x="886" y="6862"/>
                  </a:cubicBezTo>
                  <a:cubicBezTo>
                    <a:pt x="1004" y="7057"/>
                    <a:pt x="1004" y="7057"/>
                    <a:pt x="1004" y="7057"/>
                  </a:cubicBezTo>
                  <a:lnTo>
                    <a:pt x="908" y="7324"/>
                  </a:lnTo>
                  <a:close/>
                  <a:moveTo>
                    <a:pt x="140" y="6691"/>
                  </a:moveTo>
                  <a:cubicBezTo>
                    <a:pt x="140" y="6569"/>
                    <a:pt x="140" y="6569"/>
                    <a:pt x="140" y="6569"/>
                  </a:cubicBezTo>
                  <a:cubicBezTo>
                    <a:pt x="229" y="6677"/>
                    <a:pt x="229" y="6677"/>
                    <a:pt x="229" y="6677"/>
                  </a:cubicBezTo>
                  <a:cubicBezTo>
                    <a:pt x="314" y="6613"/>
                    <a:pt x="314" y="6613"/>
                    <a:pt x="314" y="6613"/>
                  </a:cubicBezTo>
                  <a:cubicBezTo>
                    <a:pt x="288" y="6515"/>
                    <a:pt x="288" y="6515"/>
                    <a:pt x="288" y="6515"/>
                  </a:cubicBezTo>
                  <a:cubicBezTo>
                    <a:pt x="412" y="6593"/>
                    <a:pt x="412" y="6593"/>
                    <a:pt x="412" y="6593"/>
                  </a:cubicBezTo>
                  <a:cubicBezTo>
                    <a:pt x="534" y="6541"/>
                    <a:pt x="534" y="6541"/>
                    <a:pt x="534" y="6541"/>
                  </a:cubicBezTo>
                  <a:cubicBezTo>
                    <a:pt x="536" y="6528"/>
                    <a:pt x="536" y="6528"/>
                    <a:pt x="536" y="6528"/>
                  </a:cubicBezTo>
                  <a:cubicBezTo>
                    <a:pt x="536" y="6528"/>
                    <a:pt x="399" y="6429"/>
                    <a:pt x="318" y="6389"/>
                  </a:cubicBezTo>
                  <a:cubicBezTo>
                    <a:pt x="239" y="6349"/>
                    <a:pt x="206" y="6331"/>
                    <a:pt x="206" y="6331"/>
                  </a:cubicBezTo>
                  <a:cubicBezTo>
                    <a:pt x="198" y="6327"/>
                    <a:pt x="198" y="6327"/>
                    <a:pt x="198" y="6327"/>
                  </a:cubicBezTo>
                  <a:cubicBezTo>
                    <a:pt x="196" y="6335"/>
                    <a:pt x="196" y="6335"/>
                    <a:pt x="196" y="6335"/>
                  </a:cubicBezTo>
                  <a:cubicBezTo>
                    <a:pt x="195" y="6335"/>
                    <a:pt x="189" y="6354"/>
                    <a:pt x="175" y="6378"/>
                  </a:cubicBezTo>
                  <a:cubicBezTo>
                    <a:pt x="162" y="6402"/>
                    <a:pt x="143" y="6432"/>
                    <a:pt x="118" y="6452"/>
                  </a:cubicBezTo>
                  <a:cubicBezTo>
                    <a:pt x="76" y="6486"/>
                    <a:pt x="23" y="6515"/>
                    <a:pt x="4" y="6525"/>
                  </a:cubicBezTo>
                  <a:cubicBezTo>
                    <a:pt x="4" y="6604"/>
                    <a:pt x="4" y="6604"/>
                    <a:pt x="4" y="6604"/>
                  </a:cubicBezTo>
                  <a:cubicBezTo>
                    <a:pt x="21" y="6699"/>
                    <a:pt x="21" y="6699"/>
                    <a:pt x="21" y="6699"/>
                  </a:cubicBezTo>
                  <a:lnTo>
                    <a:pt x="140" y="6691"/>
                  </a:lnTo>
                  <a:close/>
                  <a:moveTo>
                    <a:pt x="127" y="6463"/>
                  </a:moveTo>
                  <a:cubicBezTo>
                    <a:pt x="171" y="6427"/>
                    <a:pt x="198" y="6369"/>
                    <a:pt x="206" y="6348"/>
                  </a:cubicBezTo>
                  <a:cubicBezTo>
                    <a:pt x="220" y="6355"/>
                    <a:pt x="253" y="6373"/>
                    <a:pt x="312" y="6402"/>
                  </a:cubicBezTo>
                  <a:cubicBezTo>
                    <a:pt x="377" y="6434"/>
                    <a:pt x="483" y="6508"/>
                    <a:pt x="516" y="6532"/>
                  </a:cubicBezTo>
                  <a:cubicBezTo>
                    <a:pt x="413" y="6577"/>
                    <a:pt x="413" y="6577"/>
                    <a:pt x="413" y="6577"/>
                  </a:cubicBezTo>
                  <a:cubicBezTo>
                    <a:pt x="280" y="6493"/>
                    <a:pt x="280" y="6493"/>
                    <a:pt x="280" y="6493"/>
                  </a:cubicBezTo>
                  <a:cubicBezTo>
                    <a:pt x="269" y="6501"/>
                    <a:pt x="269" y="6501"/>
                    <a:pt x="269" y="6501"/>
                  </a:cubicBezTo>
                  <a:cubicBezTo>
                    <a:pt x="297" y="6607"/>
                    <a:pt x="297" y="6607"/>
                    <a:pt x="297" y="6607"/>
                  </a:cubicBezTo>
                  <a:cubicBezTo>
                    <a:pt x="232" y="6656"/>
                    <a:pt x="232" y="6656"/>
                    <a:pt x="232" y="6656"/>
                  </a:cubicBezTo>
                  <a:cubicBezTo>
                    <a:pt x="139" y="6544"/>
                    <a:pt x="139" y="6544"/>
                    <a:pt x="139" y="6544"/>
                  </a:cubicBezTo>
                  <a:cubicBezTo>
                    <a:pt x="125" y="6549"/>
                    <a:pt x="125" y="6549"/>
                    <a:pt x="125" y="6549"/>
                  </a:cubicBezTo>
                  <a:cubicBezTo>
                    <a:pt x="125" y="6677"/>
                    <a:pt x="125" y="6677"/>
                    <a:pt x="125" y="6677"/>
                  </a:cubicBezTo>
                  <a:cubicBezTo>
                    <a:pt x="33" y="6684"/>
                    <a:pt x="33" y="6684"/>
                    <a:pt x="33" y="6684"/>
                  </a:cubicBezTo>
                  <a:cubicBezTo>
                    <a:pt x="8" y="6540"/>
                    <a:pt x="8" y="6540"/>
                    <a:pt x="8" y="6540"/>
                  </a:cubicBezTo>
                  <a:cubicBezTo>
                    <a:pt x="25" y="6531"/>
                    <a:pt x="82" y="6500"/>
                    <a:pt x="127" y="6463"/>
                  </a:cubicBezTo>
                  <a:close/>
                  <a:moveTo>
                    <a:pt x="1097" y="6711"/>
                  </a:moveTo>
                  <a:cubicBezTo>
                    <a:pt x="1106" y="6728"/>
                    <a:pt x="1109" y="6740"/>
                    <a:pt x="1109" y="6748"/>
                  </a:cubicBezTo>
                  <a:cubicBezTo>
                    <a:pt x="1109" y="6762"/>
                    <a:pt x="1101" y="6763"/>
                    <a:pt x="1088" y="6764"/>
                  </a:cubicBezTo>
                  <a:cubicBezTo>
                    <a:pt x="1078" y="6764"/>
                    <a:pt x="1069" y="6762"/>
                    <a:pt x="1069" y="6762"/>
                  </a:cubicBezTo>
                  <a:cubicBezTo>
                    <a:pt x="1054" y="6757"/>
                    <a:pt x="1054" y="6757"/>
                    <a:pt x="1054" y="6757"/>
                  </a:cubicBezTo>
                  <a:cubicBezTo>
                    <a:pt x="1089" y="6832"/>
                    <a:pt x="1089" y="6832"/>
                    <a:pt x="1089" y="6832"/>
                  </a:cubicBezTo>
                  <a:cubicBezTo>
                    <a:pt x="1091" y="6833"/>
                    <a:pt x="1091" y="6833"/>
                    <a:pt x="1091" y="6833"/>
                  </a:cubicBezTo>
                  <a:cubicBezTo>
                    <a:pt x="1092" y="6833"/>
                    <a:pt x="1135" y="6852"/>
                    <a:pt x="1173" y="6852"/>
                  </a:cubicBezTo>
                  <a:cubicBezTo>
                    <a:pt x="1187" y="6852"/>
                    <a:pt x="1200" y="6850"/>
                    <a:pt x="1211" y="6842"/>
                  </a:cubicBezTo>
                  <a:cubicBezTo>
                    <a:pt x="1226" y="6830"/>
                    <a:pt x="1229" y="6809"/>
                    <a:pt x="1229" y="6789"/>
                  </a:cubicBezTo>
                  <a:cubicBezTo>
                    <a:pt x="1229" y="6767"/>
                    <a:pt x="1225" y="6745"/>
                    <a:pt x="1222" y="6730"/>
                  </a:cubicBezTo>
                  <a:cubicBezTo>
                    <a:pt x="1268" y="6761"/>
                    <a:pt x="1268" y="6761"/>
                    <a:pt x="1268" y="6761"/>
                  </a:cubicBezTo>
                  <a:cubicBezTo>
                    <a:pt x="1337" y="6708"/>
                    <a:pt x="1337" y="6708"/>
                    <a:pt x="1337" y="6708"/>
                  </a:cubicBezTo>
                  <a:cubicBezTo>
                    <a:pt x="1346" y="6701"/>
                    <a:pt x="1346" y="6701"/>
                    <a:pt x="1346" y="6701"/>
                  </a:cubicBezTo>
                  <a:cubicBezTo>
                    <a:pt x="986" y="6494"/>
                    <a:pt x="986" y="6494"/>
                    <a:pt x="986" y="6494"/>
                  </a:cubicBezTo>
                  <a:cubicBezTo>
                    <a:pt x="952" y="6546"/>
                    <a:pt x="952" y="6546"/>
                    <a:pt x="952" y="6546"/>
                  </a:cubicBezTo>
                  <a:cubicBezTo>
                    <a:pt x="957" y="6550"/>
                    <a:pt x="957" y="6550"/>
                    <a:pt x="957" y="6550"/>
                  </a:cubicBezTo>
                  <a:cubicBezTo>
                    <a:pt x="957" y="6550"/>
                    <a:pt x="1054" y="6629"/>
                    <a:pt x="1097" y="6711"/>
                  </a:cubicBezTo>
                  <a:close/>
                  <a:moveTo>
                    <a:pt x="991" y="6514"/>
                  </a:moveTo>
                  <a:cubicBezTo>
                    <a:pt x="1319" y="6703"/>
                    <a:pt x="1319" y="6703"/>
                    <a:pt x="1319" y="6703"/>
                  </a:cubicBezTo>
                  <a:cubicBezTo>
                    <a:pt x="1268" y="6743"/>
                    <a:pt x="1268" y="6743"/>
                    <a:pt x="1268" y="6743"/>
                  </a:cubicBezTo>
                  <a:cubicBezTo>
                    <a:pt x="1197" y="6695"/>
                    <a:pt x="1197" y="6695"/>
                    <a:pt x="1197" y="6695"/>
                  </a:cubicBezTo>
                  <a:cubicBezTo>
                    <a:pt x="1203" y="6715"/>
                    <a:pt x="1203" y="6715"/>
                    <a:pt x="1203" y="6715"/>
                  </a:cubicBezTo>
                  <a:cubicBezTo>
                    <a:pt x="1203" y="6715"/>
                    <a:pt x="1215" y="6754"/>
                    <a:pt x="1215" y="6789"/>
                  </a:cubicBezTo>
                  <a:cubicBezTo>
                    <a:pt x="1215" y="6808"/>
                    <a:pt x="1210" y="6824"/>
                    <a:pt x="1202" y="6830"/>
                  </a:cubicBezTo>
                  <a:cubicBezTo>
                    <a:pt x="1195" y="6835"/>
                    <a:pt x="1185" y="6837"/>
                    <a:pt x="1173" y="6837"/>
                  </a:cubicBezTo>
                  <a:cubicBezTo>
                    <a:pt x="1145" y="6837"/>
                    <a:pt x="1109" y="6824"/>
                    <a:pt x="1100" y="6820"/>
                  </a:cubicBezTo>
                  <a:cubicBezTo>
                    <a:pt x="1080" y="6778"/>
                    <a:pt x="1080" y="6778"/>
                    <a:pt x="1080" y="6778"/>
                  </a:cubicBezTo>
                  <a:cubicBezTo>
                    <a:pt x="1082" y="6779"/>
                    <a:pt x="1085" y="6779"/>
                    <a:pt x="1088" y="6779"/>
                  </a:cubicBezTo>
                  <a:cubicBezTo>
                    <a:pt x="1095" y="6779"/>
                    <a:pt x="1104" y="6778"/>
                    <a:pt x="1111" y="6773"/>
                  </a:cubicBezTo>
                  <a:cubicBezTo>
                    <a:pt x="1119" y="6769"/>
                    <a:pt x="1124" y="6759"/>
                    <a:pt x="1124" y="6748"/>
                  </a:cubicBezTo>
                  <a:cubicBezTo>
                    <a:pt x="1124" y="6736"/>
                    <a:pt x="1119" y="6722"/>
                    <a:pt x="1110" y="6704"/>
                  </a:cubicBezTo>
                  <a:cubicBezTo>
                    <a:pt x="1071" y="6629"/>
                    <a:pt x="992" y="6560"/>
                    <a:pt x="972" y="6543"/>
                  </a:cubicBezTo>
                  <a:lnTo>
                    <a:pt x="991" y="6514"/>
                  </a:lnTo>
                  <a:close/>
                  <a:moveTo>
                    <a:pt x="766" y="6374"/>
                  </a:moveTo>
                  <a:cubicBezTo>
                    <a:pt x="772" y="6367"/>
                    <a:pt x="772" y="6367"/>
                    <a:pt x="772" y="6367"/>
                  </a:cubicBezTo>
                  <a:cubicBezTo>
                    <a:pt x="470" y="6197"/>
                    <a:pt x="470" y="6197"/>
                    <a:pt x="470" y="6197"/>
                  </a:cubicBezTo>
                  <a:cubicBezTo>
                    <a:pt x="444" y="6231"/>
                    <a:pt x="444" y="6231"/>
                    <a:pt x="444" y="6231"/>
                  </a:cubicBezTo>
                  <a:cubicBezTo>
                    <a:pt x="450" y="6236"/>
                    <a:pt x="450" y="6236"/>
                    <a:pt x="450" y="6236"/>
                  </a:cubicBezTo>
                  <a:cubicBezTo>
                    <a:pt x="468" y="6248"/>
                    <a:pt x="519" y="6281"/>
                    <a:pt x="568" y="6317"/>
                  </a:cubicBezTo>
                  <a:cubicBezTo>
                    <a:pt x="617" y="6354"/>
                    <a:pt x="664" y="6395"/>
                    <a:pt x="673" y="6420"/>
                  </a:cubicBezTo>
                  <a:cubicBezTo>
                    <a:pt x="676" y="6428"/>
                    <a:pt x="684" y="6434"/>
                    <a:pt x="691" y="6434"/>
                  </a:cubicBezTo>
                  <a:cubicBezTo>
                    <a:pt x="691" y="6434"/>
                    <a:pt x="692" y="6434"/>
                    <a:pt x="692" y="6434"/>
                  </a:cubicBezTo>
                  <a:cubicBezTo>
                    <a:pt x="709" y="6433"/>
                    <a:pt x="725" y="6417"/>
                    <a:pt x="740" y="6403"/>
                  </a:cubicBezTo>
                  <a:cubicBezTo>
                    <a:pt x="755" y="6388"/>
                    <a:pt x="766" y="6374"/>
                    <a:pt x="766" y="6374"/>
                  </a:cubicBezTo>
                  <a:close/>
                  <a:moveTo>
                    <a:pt x="692" y="6419"/>
                  </a:moveTo>
                  <a:cubicBezTo>
                    <a:pt x="689" y="6418"/>
                    <a:pt x="689" y="6419"/>
                    <a:pt x="687" y="6415"/>
                  </a:cubicBezTo>
                  <a:cubicBezTo>
                    <a:pt x="674" y="6383"/>
                    <a:pt x="626" y="6343"/>
                    <a:pt x="577" y="6306"/>
                  </a:cubicBezTo>
                  <a:cubicBezTo>
                    <a:pt x="532" y="6272"/>
                    <a:pt x="486" y="6242"/>
                    <a:pt x="465" y="6228"/>
                  </a:cubicBezTo>
                  <a:cubicBezTo>
                    <a:pt x="474" y="6216"/>
                    <a:pt x="474" y="6216"/>
                    <a:pt x="474" y="6216"/>
                  </a:cubicBezTo>
                  <a:cubicBezTo>
                    <a:pt x="749" y="6371"/>
                    <a:pt x="749" y="6371"/>
                    <a:pt x="749" y="6371"/>
                  </a:cubicBezTo>
                  <a:cubicBezTo>
                    <a:pt x="745" y="6377"/>
                    <a:pt x="738" y="6385"/>
                    <a:pt x="730" y="6393"/>
                  </a:cubicBezTo>
                  <a:cubicBezTo>
                    <a:pt x="717" y="6407"/>
                    <a:pt x="698" y="6420"/>
                    <a:pt x="692" y="6419"/>
                  </a:cubicBezTo>
                  <a:close/>
                  <a:moveTo>
                    <a:pt x="1474" y="7012"/>
                  </a:moveTo>
                  <a:cubicBezTo>
                    <a:pt x="1521" y="6927"/>
                    <a:pt x="1521" y="6927"/>
                    <a:pt x="1521" y="6927"/>
                  </a:cubicBezTo>
                  <a:cubicBezTo>
                    <a:pt x="1599" y="7013"/>
                    <a:pt x="1599" y="7013"/>
                    <a:pt x="1599" y="7013"/>
                  </a:cubicBezTo>
                  <a:cubicBezTo>
                    <a:pt x="1700" y="7065"/>
                    <a:pt x="1700" y="7065"/>
                    <a:pt x="1700" y="7065"/>
                  </a:cubicBezTo>
                  <a:cubicBezTo>
                    <a:pt x="1809" y="6985"/>
                    <a:pt x="1809" y="6985"/>
                    <a:pt x="1809" y="6985"/>
                  </a:cubicBezTo>
                  <a:cubicBezTo>
                    <a:pt x="1818" y="6978"/>
                    <a:pt x="1818" y="6978"/>
                    <a:pt x="1818" y="6978"/>
                  </a:cubicBezTo>
                  <a:cubicBezTo>
                    <a:pt x="1455" y="6763"/>
                    <a:pt x="1455" y="6763"/>
                    <a:pt x="1455" y="6763"/>
                  </a:cubicBezTo>
                  <a:cubicBezTo>
                    <a:pt x="1373" y="6940"/>
                    <a:pt x="1373" y="6940"/>
                    <a:pt x="1373" y="6940"/>
                  </a:cubicBezTo>
                  <a:cubicBezTo>
                    <a:pt x="1424" y="7046"/>
                    <a:pt x="1424" y="7046"/>
                    <a:pt x="1424" y="7046"/>
                  </a:cubicBezTo>
                  <a:lnTo>
                    <a:pt x="1474" y="7012"/>
                  </a:lnTo>
                  <a:close/>
                  <a:moveTo>
                    <a:pt x="1461" y="6784"/>
                  </a:moveTo>
                  <a:cubicBezTo>
                    <a:pt x="1791" y="6980"/>
                    <a:pt x="1791" y="6980"/>
                    <a:pt x="1791" y="6980"/>
                  </a:cubicBezTo>
                  <a:cubicBezTo>
                    <a:pt x="1699" y="7048"/>
                    <a:pt x="1699" y="7048"/>
                    <a:pt x="1699" y="7048"/>
                  </a:cubicBezTo>
                  <a:cubicBezTo>
                    <a:pt x="1608" y="7001"/>
                    <a:pt x="1608" y="7001"/>
                    <a:pt x="1608" y="7001"/>
                  </a:cubicBezTo>
                  <a:cubicBezTo>
                    <a:pt x="1518" y="6902"/>
                    <a:pt x="1518" y="6902"/>
                    <a:pt x="1518" y="6902"/>
                  </a:cubicBezTo>
                  <a:cubicBezTo>
                    <a:pt x="1462" y="7001"/>
                    <a:pt x="1462" y="7001"/>
                    <a:pt x="1462" y="7001"/>
                  </a:cubicBezTo>
                  <a:cubicBezTo>
                    <a:pt x="1430" y="7024"/>
                    <a:pt x="1430" y="7024"/>
                    <a:pt x="1430" y="7024"/>
                  </a:cubicBezTo>
                  <a:cubicBezTo>
                    <a:pt x="1389" y="6940"/>
                    <a:pt x="1389" y="6940"/>
                    <a:pt x="1389" y="6940"/>
                  </a:cubicBezTo>
                  <a:lnTo>
                    <a:pt x="1461" y="6784"/>
                  </a:lnTo>
                  <a:close/>
                  <a:moveTo>
                    <a:pt x="1927" y="7420"/>
                  </a:moveTo>
                  <a:cubicBezTo>
                    <a:pt x="1920" y="7382"/>
                    <a:pt x="1920" y="7382"/>
                    <a:pt x="1920" y="7382"/>
                  </a:cubicBezTo>
                  <a:cubicBezTo>
                    <a:pt x="1967" y="7313"/>
                    <a:pt x="1967" y="7313"/>
                    <a:pt x="1967" y="7313"/>
                  </a:cubicBezTo>
                  <a:cubicBezTo>
                    <a:pt x="2007" y="7339"/>
                    <a:pt x="2007" y="7339"/>
                    <a:pt x="2007" y="7339"/>
                  </a:cubicBezTo>
                  <a:cubicBezTo>
                    <a:pt x="2168" y="7195"/>
                    <a:pt x="2168" y="7195"/>
                    <a:pt x="2168" y="7195"/>
                  </a:cubicBezTo>
                  <a:cubicBezTo>
                    <a:pt x="2174" y="7189"/>
                    <a:pt x="2174" y="7189"/>
                    <a:pt x="2174" y="7189"/>
                  </a:cubicBezTo>
                  <a:cubicBezTo>
                    <a:pt x="2051" y="7095"/>
                    <a:pt x="2051" y="7095"/>
                    <a:pt x="2051" y="7095"/>
                  </a:cubicBezTo>
                  <a:cubicBezTo>
                    <a:pt x="1861" y="7325"/>
                    <a:pt x="1861" y="7325"/>
                    <a:pt x="1861" y="7325"/>
                  </a:cubicBezTo>
                  <a:cubicBezTo>
                    <a:pt x="1823" y="7304"/>
                    <a:pt x="1823" y="7304"/>
                    <a:pt x="1823" y="7304"/>
                  </a:cubicBezTo>
                  <a:cubicBezTo>
                    <a:pt x="1810" y="7422"/>
                    <a:pt x="1810" y="7422"/>
                    <a:pt x="1810" y="7422"/>
                  </a:cubicBezTo>
                  <a:cubicBezTo>
                    <a:pt x="1873" y="7493"/>
                    <a:pt x="1873" y="7493"/>
                    <a:pt x="1873" y="7493"/>
                  </a:cubicBezTo>
                  <a:lnTo>
                    <a:pt x="1927" y="7420"/>
                  </a:lnTo>
                  <a:close/>
                  <a:moveTo>
                    <a:pt x="1826" y="7417"/>
                  </a:moveTo>
                  <a:cubicBezTo>
                    <a:pt x="1835" y="7327"/>
                    <a:pt x="1835" y="7327"/>
                    <a:pt x="1835" y="7327"/>
                  </a:cubicBezTo>
                  <a:cubicBezTo>
                    <a:pt x="1865" y="7343"/>
                    <a:pt x="1865" y="7343"/>
                    <a:pt x="1865" y="7343"/>
                  </a:cubicBezTo>
                  <a:cubicBezTo>
                    <a:pt x="2054" y="7115"/>
                    <a:pt x="2054" y="7115"/>
                    <a:pt x="2054" y="7115"/>
                  </a:cubicBezTo>
                  <a:cubicBezTo>
                    <a:pt x="2151" y="7190"/>
                    <a:pt x="2151" y="7190"/>
                    <a:pt x="2151" y="7190"/>
                  </a:cubicBezTo>
                  <a:cubicBezTo>
                    <a:pt x="2005" y="7320"/>
                    <a:pt x="2005" y="7320"/>
                    <a:pt x="2005" y="7320"/>
                  </a:cubicBezTo>
                  <a:cubicBezTo>
                    <a:pt x="1963" y="7293"/>
                    <a:pt x="1963" y="7293"/>
                    <a:pt x="1963" y="7293"/>
                  </a:cubicBezTo>
                  <a:cubicBezTo>
                    <a:pt x="1905" y="7378"/>
                    <a:pt x="1905" y="7378"/>
                    <a:pt x="1905" y="7378"/>
                  </a:cubicBezTo>
                  <a:cubicBezTo>
                    <a:pt x="1911" y="7416"/>
                    <a:pt x="1911" y="7416"/>
                    <a:pt x="1911" y="7416"/>
                  </a:cubicBezTo>
                  <a:cubicBezTo>
                    <a:pt x="1872" y="7470"/>
                    <a:pt x="1872" y="7470"/>
                    <a:pt x="1872" y="7470"/>
                  </a:cubicBezTo>
                  <a:lnTo>
                    <a:pt x="1826" y="7417"/>
                  </a:lnTo>
                  <a:close/>
                  <a:moveTo>
                    <a:pt x="2117" y="7651"/>
                  </a:moveTo>
                  <a:cubicBezTo>
                    <a:pt x="2089" y="7601"/>
                    <a:pt x="2089" y="7601"/>
                    <a:pt x="2089" y="7601"/>
                  </a:cubicBezTo>
                  <a:cubicBezTo>
                    <a:pt x="2143" y="7538"/>
                    <a:pt x="2143" y="7538"/>
                    <a:pt x="2143" y="7538"/>
                  </a:cubicBezTo>
                  <a:cubicBezTo>
                    <a:pt x="2192" y="7561"/>
                    <a:pt x="2192" y="7561"/>
                    <a:pt x="2192" y="7561"/>
                  </a:cubicBezTo>
                  <a:cubicBezTo>
                    <a:pt x="2340" y="7329"/>
                    <a:pt x="2340" y="7329"/>
                    <a:pt x="2340" y="7329"/>
                  </a:cubicBezTo>
                  <a:cubicBezTo>
                    <a:pt x="2344" y="7323"/>
                    <a:pt x="2344" y="7323"/>
                    <a:pt x="2344" y="7323"/>
                  </a:cubicBezTo>
                  <a:cubicBezTo>
                    <a:pt x="2229" y="7250"/>
                    <a:pt x="2229" y="7250"/>
                    <a:pt x="2229" y="7250"/>
                  </a:cubicBezTo>
                  <a:cubicBezTo>
                    <a:pt x="2055" y="7455"/>
                    <a:pt x="2055" y="7455"/>
                    <a:pt x="2055" y="7455"/>
                  </a:cubicBezTo>
                  <a:cubicBezTo>
                    <a:pt x="2083" y="7496"/>
                    <a:pt x="2083" y="7496"/>
                    <a:pt x="2083" y="7496"/>
                  </a:cubicBezTo>
                  <a:cubicBezTo>
                    <a:pt x="2004" y="7567"/>
                    <a:pt x="2004" y="7567"/>
                    <a:pt x="2004" y="7567"/>
                  </a:cubicBezTo>
                  <a:cubicBezTo>
                    <a:pt x="1965" y="7538"/>
                    <a:pt x="1965" y="7538"/>
                    <a:pt x="1965" y="7538"/>
                  </a:cubicBezTo>
                  <a:cubicBezTo>
                    <a:pt x="1911" y="7577"/>
                    <a:pt x="1911" y="7577"/>
                    <a:pt x="1911" y="7577"/>
                  </a:cubicBezTo>
                  <a:cubicBezTo>
                    <a:pt x="1891" y="7743"/>
                    <a:pt x="1891" y="7743"/>
                    <a:pt x="1891" y="7743"/>
                  </a:cubicBezTo>
                  <a:cubicBezTo>
                    <a:pt x="1959" y="7772"/>
                    <a:pt x="1959" y="7772"/>
                    <a:pt x="1959" y="7772"/>
                  </a:cubicBezTo>
                  <a:lnTo>
                    <a:pt x="2117" y="7651"/>
                  </a:lnTo>
                  <a:close/>
                  <a:moveTo>
                    <a:pt x="1907" y="7734"/>
                  </a:moveTo>
                  <a:cubicBezTo>
                    <a:pt x="1925" y="7585"/>
                    <a:pt x="1925" y="7585"/>
                    <a:pt x="1925" y="7585"/>
                  </a:cubicBezTo>
                  <a:cubicBezTo>
                    <a:pt x="1965" y="7556"/>
                    <a:pt x="1965" y="7556"/>
                    <a:pt x="1965" y="7556"/>
                  </a:cubicBezTo>
                  <a:cubicBezTo>
                    <a:pt x="2004" y="7586"/>
                    <a:pt x="2004" y="7586"/>
                    <a:pt x="2004" y="7586"/>
                  </a:cubicBezTo>
                  <a:cubicBezTo>
                    <a:pt x="2102" y="7498"/>
                    <a:pt x="2102" y="7498"/>
                    <a:pt x="2102" y="7498"/>
                  </a:cubicBezTo>
                  <a:cubicBezTo>
                    <a:pt x="2073" y="7456"/>
                    <a:pt x="2073" y="7456"/>
                    <a:pt x="2073" y="7456"/>
                  </a:cubicBezTo>
                  <a:cubicBezTo>
                    <a:pt x="2232" y="7270"/>
                    <a:pt x="2232" y="7270"/>
                    <a:pt x="2232" y="7270"/>
                  </a:cubicBezTo>
                  <a:cubicBezTo>
                    <a:pt x="2323" y="7327"/>
                    <a:pt x="2323" y="7327"/>
                    <a:pt x="2323" y="7327"/>
                  </a:cubicBezTo>
                  <a:cubicBezTo>
                    <a:pt x="2187" y="7542"/>
                    <a:pt x="2187" y="7542"/>
                    <a:pt x="2187" y="7542"/>
                  </a:cubicBezTo>
                  <a:cubicBezTo>
                    <a:pt x="2139" y="7520"/>
                    <a:pt x="2139" y="7520"/>
                    <a:pt x="2139" y="7520"/>
                  </a:cubicBezTo>
                  <a:cubicBezTo>
                    <a:pt x="2071" y="7599"/>
                    <a:pt x="2071" y="7599"/>
                    <a:pt x="2071" y="7599"/>
                  </a:cubicBezTo>
                  <a:cubicBezTo>
                    <a:pt x="2098" y="7647"/>
                    <a:pt x="2098" y="7647"/>
                    <a:pt x="2098" y="7647"/>
                  </a:cubicBezTo>
                  <a:cubicBezTo>
                    <a:pt x="1957" y="7755"/>
                    <a:pt x="1957" y="7755"/>
                    <a:pt x="1957" y="7755"/>
                  </a:cubicBezTo>
                  <a:lnTo>
                    <a:pt x="1907" y="7734"/>
                  </a:lnTo>
                  <a:close/>
                  <a:moveTo>
                    <a:pt x="2599" y="7503"/>
                  </a:moveTo>
                  <a:cubicBezTo>
                    <a:pt x="2429" y="7394"/>
                    <a:pt x="2429" y="7394"/>
                    <a:pt x="2429" y="7394"/>
                  </a:cubicBezTo>
                  <a:cubicBezTo>
                    <a:pt x="2356" y="7613"/>
                    <a:pt x="2356" y="7613"/>
                    <a:pt x="2356" y="7613"/>
                  </a:cubicBezTo>
                  <a:cubicBezTo>
                    <a:pt x="2383" y="7642"/>
                    <a:pt x="2383" y="7642"/>
                    <a:pt x="2383" y="7642"/>
                  </a:cubicBezTo>
                  <a:cubicBezTo>
                    <a:pt x="2323" y="7746"/>
                    <a:pt x="2323" y="7746"/>
                    <a:pt x="2323" y="7746"/>
                  </a:cubicBezTo>
                  <a:cubicBezTo>
                    <a:pt x="2287" y="7749"/>
                    <a:pt x="2287" y="7749"/>
                    <a:pt x="2287" y="7749"/>
                  </a:cubicBezTo>
                  <a:cubicBezTo>
                    <a:pt x="2261" y="7847"/>
                    <a:pt x="2261" y="7847"/>
                    <a:pt x="2261" y="7847"/>
                  </a:cubicBezTo>
                  <a:cubicBezTo>
                    <a:pt x="1993" y="7936"/>
                    <a:pt x="1993" y="7936"/>
                    <a:pt x="1993" y="7936"/>
                  </a:cubicBezTo>
                  <a:cubicBezTo>
                    <a:pt x="1956" y="8015"/>
                    <a:pt x="1956" y="8015"/>
                    <a:pt x="1956" y="8015"/>
                  </a:cubicBezTo>
                  <a:cubicBezTo>
                    <a:pt x="2103" y="8073"/>
                    <a:pt x="2103" y="8073"/>
                    <a:pt x="2103" y="8073"/>
                  </a:cubicBezTo>
                  <a:cubicBezTo>
                    <a:pt x="2158" y="7985"/>
                    <a:pt x="2158" y="7985"/>
                    <a:pt x="2158" y="7985"/>
                  </a:cubicBezTo>
                  <a:cubicBezTo>
                    <a:pt x="2187" y="7998"/>
                    <a:pt x="2187" y="7998"/>
                    <a:pt x="2187" y="7998"/>
                  </a:cubicBezTo>
                  <a:cubicBezTo>
                    <a:pt x="2358" y="7917"/>
                    <a:pt x="2358" y="7917"/>
                    <a:pt x="2358" y="7917"/>
                  </a:cubicBezTo>
                  <a:cubicBezTo>
                    <a:pt x="2382" y="7800"/>
                    <a:pt x="2382" y="7800"/>
                    <a:pt x="2382" y="7800"/>
                  </a:cubicBezTo>
                  <a:cubicBezTo>
                    <a:pt x="2427" y="7797"/>
                    <a:pt x="2427" y="7797"/>
                    <a:pt x="2427" y="7797"/>
                  </a:cubicBezTo>
                  <a:cubicBezTo>
                    <a:pt x="2595" y="7509"/>
                    <a:pt x="2595" y="7509"/>
                    <a:pt x="2595" y="7509"/>
                  </a:cubicBezTo>
                  <a:lnTo>
                    <a:pt x="2599" y="7503"/>
                  </a:lnTo>
                  <a:close/>
                  <a:moveTo>
                    <a:pt x="2418" y="7783"/>
                  </a:moveTo>
                  <a:cubicBezTo>
                    <a:pt x="2369" y="7786"/>
                    <a:pt x="2369" y="7786"/>
                    <a:pt x="2369" y="7786"/>
                  </a:cubicBezTo>
                  <a:cubicBezTo>
                    <a:pt x="2345" y="7907"/>
                    <a:pt x="2345" y="7907"/>
                    <a:pt x="2345" y="7907"/>
                  </a:cubicBezTo>
                  <a:cubicBezTo>
                    <a:pt x="2186" y="7982"/>
                    <a:pt x="2186" y="7982"/>
                    <a:pt x="2186" y="7982"/>
                  </a:cubicBezTo>
                  <a:cubicBezTo>
                    <a:pt x="2152" y="7966"/>
                    <a:pt x="2152" y="7966"/>
                    <a:pt x="2152" y="7966"/>
                  </a:cubicBezTo>
                  <a:cubicBezTo>
                    <a:pt x="2097" y="8055"/>
                    <a:pt x="2097" y="8055"/>
                    <a:pt x="2097" y="8055"/>
                  </a:cubicBezTo>
                  <a:cubicBezTo>
                    <a:pt x="1976" y="8007"/>
                    <a:pt x="1976" y="8007"/>
                    <a:pt x="1976" y="8007"/>
                  </a:cubicBezTo>
                  <a:cubicBezTo>
                    <a:pt x="2004" y="7948"/>
                    <a:pt x="2004" y="7948"/>
                    <a:pt x="2004" y="7948"/>
                  </a:cubicBezTo>
                  <a:cubicBezTo>
                    <a:pt x="2273" y="7859"/>
                    <a:pt x="2273" y="7859"/>
                    <a:pt x="2273" y="7859"/>
                  </a:cubicBezTo>
                  <a:cubicBezTo>
                    <a:pt x="2298" y="7763"/>
                    <a:pt x="2298" y="7763"/>
                    <a:pt x="2298" y="7763"/>
                  </a:cubicBezTo>
                  <a:cubicBezTo>
                    <a:pt x="2332" y="7760"/>
                    <a:pt x="2332" y="7760"/>
                    <a:pt x="2332" y="7760"/>
                  </a:cubicBezTo>
                  <a:cubicBezTo>
                    <a:pt x="2401" y="7639"/>
                    <a:pt x="2401" y="7639"/>
                    <a:pt x="2401" y="7639"/>
                  </a:cubicBezTo>
                  <a:cubicBezTo>
                    <a:pt x="2373" y="7609"/>
                    <a:pt x="2373" y="7609"/>
                    <a:pt x="2373" y="7609"/>
                  </a:cubicBezTo>
                  <a:cubicBezTo>
                    <a:pt x="2437" y="7417"/>
                    <a:pt x="2437" y="7417"/>
                    <a:pt x="2437" y="7417"/>
                  </a:cubicBezTo>
                  <a:cubicBezTo>
                    <a:pt x="2579" y="7508"/>
                    <a:pt x="2579" y="7508"/>
                    <a:pt x="2579" y="7508"/>
                  </a:cubicBezTo>
                  <a:lnTo>
                    <a:pt x="2418" y="7783"/>
                  </a:lnTo>
                  <a:close/>
                  <a:moveTo>
                    <a:pt x="2860" y="7654"/>
                  </a:moveTo>
                  <a:cubicBezTo>
                    <a:pt x="2832" y="7564"/>
                    <a:pt x="2832" y="7564"/>
                    <a:pt x="2832" y="7564"/>
                  </a:cubicBezTo>
                  <a:cubicBezTo>
                    <a:pt x="2831" y="7560"/>
                    <a:pt x="2831" y="7560"/>
                    <a:pt x="2831" y="7560"/>
                  </a:cubicBezTo>
                  <a:cubicBezTo>
                    <a:pt x="2727" y="7538"/>
                    <a:pt x="2727" y="7538"/>
                    <a:pt x="2727" y="7538"/>
                  </a:cubicBezTo>
                  <a:cubicBezTo>
                    <a:pt x="2540" y="7946"/>
                    <a:pt x="2540" y="7946"/>
                    <a:pt x="2540" y="7946"/>
                  </a:cubicBezTo>
                  <a:cubicBezTo>
                    <a:pt x="2606" y="7934"/>
                    <a:pt x="2606" y="7934"/>
                    <a:pt x="2606" y="7934"/>
                  </a:cubicBezTo>
                  <a:lnTo>
                    <a:pt x="2860" y="7654"/>
                  </a:lnTo>
                  <a:close/>
                  <a:moveTo>
                    <a:pt x="2565" y="7926"/>
                  </a:moveTo>
                  <a:cubicBezTo>
                    <a:pt x="2735" y="7555"/>
                    <a:pt x="2735" y="7555"/>
                    <a:pt x="2735" y="7555"/>
                  </a:cubicBezTo>
                  <a:cubicBezTo>
                    <a:pt x="2819" y="7573"/>
                    <a:pt x="2819" y="7573"/>
                    <a:pt x="2819" y="7573"/>
                  </a:cubicBezTo>
                  <a:cubicBezTo>
                    <a:pt x="2844" y="7650"/>
                    <a:pt x="2844" y="7650"/>
                    <a:pt x="2844" y="7650"/>
                  </a:cubicBezTo>
                  <a:cubicBezTo>
                    <a:pt x="2598" y="7920"/>
                    <a:pt x="2598" y="7920"/>
                    <a:pt x="2598" y="7920"/>
                  </a:cubicBezTo>
                  <a:lnTo>
                    <a:pt x="2565" y="7926"/>
                  </a:lnTo>
                  <a:close/>
                  <a:moveTo>
                    <a:pt x="3018" y="7636"/>
                  </a:moveTo>
                  <a:cubicBezTo>
                    <a:pt x="3018" y="7636"/>
                    <a:pt x="3124" y="7635"/>
                    <a:pt x="3176" y="7618"/>
                  </a:cubicBezTo>
                  <a:cubicBezTo>
                    <a:pt x="3217" y="7604"/>
                    <a:pt x="3249" y="7554"/>
                    <a:pt x="3263" y="7529"/>
                  </a:cubicBezTo>
                  <a:cubicBezTo>
                    <a:pt x="3283" y="7584"/>
                    <a:pt x="3283" y="7584"/>
                    <a:pt x="3283" y="7584"/>
                  </a:cubicBezTo>
                  <a:cubicBezTo>
                    <a:pt x="3358" y="7534"/>
                    <a:pt x="3358" y="7534"/>
                    <a:pt x="3358" y="7534"/>
                  </a:cubicBezTo>
                  <a:cubicBezTo>
                    <a:pt x="3364" y="7529"/>
                    <a:pt x="3364" y="7529"/>
                    <a:pt x="3364" y="7529"/>
                  </a:cubicBezTo>
                  <a:cubicBezTo>
                    <a:pt x="3245" y="7375"/>
                    <a:pt x="3245" y="7375"/>
                    <a:pt x="3245" y="7375"/>
                  </a:cubicBezTo>
                  <a:cubicBezTo>
                    <a:pt x="3102" y="7495"/>
                    <a:pt x="3102" y="7495"/>
                    <a:pt x="3102" y="7495"/>
                  </a:cubicBezTo>
                  <a:cubicBezTo>
                    <a:pt x="3053" y="7518"/>
                    <a:pt x="3004" y="7518"/>
                    <a:pt x="3001" y="7518"/>
                  </a:cubicBezTo>
                  <a:cubicBezTo>
                    <a:pt x="3001" y="7518"/>
                    <a:pt x="3001" y="7518"/>
                    <a:pt x="3000" y="7519"/>
                  </a:cubicBezTo>
                  <a:cubicBezTo>
                    <a:pt x="2993" y="7519"/>
                    <a:pt x="2993" y="7519"/>
                    <a:pt x="2993" y="7519"/>
                  </a:cubicBezTo>
                  <a:cubicBezTo>
                    <a:pt x="3011" y="7636"/>
                    <a:pt x="3011" y="7636"/>
                    <a:pt x="3011" y="7636"/>
                  </a:cubicBezTo>
                  <a:lnTo>
                    <a:pt x="3018" y="7636"/>
                  </a:lnTo>
                  <a:close/>
                  <a:moveTo>
                    <a:pt x="3110" y="7508"/>
                  </a:moveTo>
                  <a:cubicBezTo>
                    <a:pt x="3110" y="7507"/>
                    <a:pt x="3110" y="7507"/>
                    <a:pt x="3110" y="7507"/>
                  </a:cubicBezTo>
                  <a:cubicBezTo>
                    <a:pt x="3243" y="7396"/>
                    <a:pt x="3243" y="7396"/>
                    <a:pt x="3243" y="7396"/>
                  </a:cubicBezTo>
                  <a:cubicBezTo>
                    <a:pt x="3343" y="7526"/>
                    <a:pt x="3343" y="7526"/>
                    <a:pt x="3343" y="7526"/>
                  </a:cubicBezTo>
                  <a:cubicBezTo>
                    <a:pt x="3290" y="7561"/>
                    <a:pt x="3290" y="7561"/>
                    <a:pt x="3290" y="7561"/>
                  </a:cubicBezTo>
                  <a:cubicBezTo>
                    <a:pt x="3264" y="7493"/>
                    <a:pt x="3264" y="7493"/>
                    <a:pt x="3264" y="7493"/>
                  </a:cubicBezTo>
                  <a:cubicBezTo>
                    <a:pt x="3257" y="7508"/>
                    <a:pt x="3257" y="7508"/>
                    <a:pt x="3257" y="7508"/>
                  </a:cubicBezTo>
                  <a:cubicBezTo>
                    <a:pt x="3257" y="7508"/>
                    <a:pt x="3247" y="7528"/>
                    <a:pt x="3231" y="7551"/>
                  </a:cubicBezTo>
                  <a:cubicBezTo>
                    <a:pt x="3216" y="7573"/>
                    <a:pt x="3194" y="7597"/>
                    <a:pt x="3171" y="7604"/>
                  </a:cubicBezTo>
                  <a:cubicBezTo>
                    <a:pt x="3131" y="7618"/>
                    <a:pt x="3047" y="7620"/>
                    <a:pt x="3024" y="7621"/>
                  </a:cubicBezTo>
                  <a:cubicBezTo>
                    <a:pt x="3010" y="7533"/>
                    <a:pt x="3010" y="7533"/>
                    <a:pt x="3010" y="7533"/>
                  </a:cubicBezTo>
                  <a:cubicBezTo>
                    <a:pt x="3027" y="7532"/>
                    <a:pt x="3068" y="7528"/>
                    <a:pt x="3110" y="7508"/>
                  </a:cubicBezTo>
                  <a:close/>
                  <a:moveTo>
                    <a:pt x="3503" y="7312"/>
                  </a:moveTo>
                  <a:cubicBezTo>
                    <a:pt x="3503" y="7305"/>
                    <a:pt x="3503" y="7305"/>
                    <a:pt x="3503" y="7305"/>
                  </a:cubicBezTo>
                  <a:cubicBezTo>
                    <a:pt x="3317" y="7329"/>
                    <a:pt x="3317" y="7329"/>
                    <a:pt x="3317" y="7329"/>
                  </a:cubicBezTo>
                  <a:cubicBezTo>
                    <a:pt x="3425" y="7456"/>
                    <a:pt x="3425" y="7456"/>
                    <a:pt x="3425" y="7456"/>
                  </a:cubicBezTo>
                  <a:cubicBezTo>
                    <a:pt x="3510" y="7388"/>
                    <a:pt x="3510" y="7388"/>
                    <a:pt x="3510" y="7388"/>
                  </a:cubicBezTo>
                  <a:lnTo>
                    <a:pt x="3503" y="7312"/>
                  </a:lnTo>
                  <a:close/>
                  <a:moveTo>
                    <a:pt x="3427" y="7435"/>
                  </a:moveTo>
                  <a:cubicBezTo>
                    <a:pt x="3346" y="7340"/>
                    <a:pt x="3346" y="7340"/>
                    <a:pt x="3346" y="7340"/>
                  </a:cubicBezTo>
                  <a:cubicBezTo>
                    <a:pt x="3489" y="7321"/>
                    <a:pt x="3489" y="7321"/>
                    <a:pt x="3489" y="7321"/>
                  </a:cubicBezTo>
                  <a:cubicBezTo>
                    <a:pt x="3494" y="7381"/>
                    <a:pt x="3494" y="7381"/>
                    <a:pt x="3494" y="7381"/>
                  </a:cubicBezTo>
                  <a:lnTo>
                    <a:pt x="3427" y="7435"/>
                  </a:lnTo>
                  <a:close/>
                  <a:moveTo>
                    <a:pt x="4449" y="7078"/>
                  </a:moveTo>
                  <a:cubicBezTo>
                    <a:pt x="4510" y="6771"/>
                    <a:pt x="4510" y="6771"/>
                    <a:pt x="4510" y="6771"/>
                  </a:cubicBezTo>
                  <a:cubicBezTo>
                    <a:pt x="4414" y="6714"/>
                    <a:pt x="4414" y="6714"/>
                    <a:pt x="4414" y="6714"/>
                  </a:cubicBezTo>
                  <a:cubicBezTo>
                    <a:pt x="4343" y="6872"/>
                    <a:pt x="4343" y="6872"/>
                    <a:pt x="4343" y="6872"/>
                  </a:cubicBezTo>
                  <a:cubicBezTo>
                    <a:pt x="4337" y="7065"/>
                    <a:pt x="4337" y="7065"/>
                    <a:pt x="4337" y="7065"/>
                  </a:cubicBezTo>
                  <a:cubicBezTo>
                    <a:pt x="4442" y="7077"/>
                    <a:pt x="4442" y="7077"/>
                    <a:pt x="4442" y="7077"/>
                  </a:cubicBezTo>
                  <a:lnTo>
                    <a:pt x="4449" y="7078"/>
                  </a:lnTo>
                  <a:close/>
                  <a:moveTo>
                    <a:pt x="4352" y="7052"/>
                  </a:moveTo>
                  <a:cubicBezTo>
                    <a:pt x="4357" y="6875"/>
                    <a:pt x="4357" y="6875"/>
                    <a:pt x="4357" y="6875"/>
                  </a:cubicBezTo>
                  <a:cubicBezTo>
                    <a:pt x="4420" y="6735"/>
                    <a:pt x="4420" y="6735"/>
                    <a:pt x="4420" y="6735"/>
                  </a:cubicBezTo>
                  <a:cubicBezTo>
                    <a:pt x="4493" y="6778"/>
                    <a:pt x="4493" y="6778"/>
                    <a:pt x="4493" y="6778"/>
                  </a:cubicBezTo>
                  <a:cubicBezTo>
                    <a:pt x="4437" y="7061"/>
                    <a:pt x="4437" y="7061"/>
                    <a:pt x="4437" y="7061"/>
                  </a:cubicBezTo>
                  <a:lnTo>
                    <a:pt x="4352" y="7052"/>
                  </a:lnTo>
                  <a:close/>
                  <a:moveTo>
                    <a:pt x="3899" y="6375"/>
                  </a:moveTo>
                  <a:cubicBezTo>
                    <a:pt x="3843" y="6511"/>
                    <a:pt x="3843" y="6511"/>
                    <a:pt x="3843" y="6511"/>
                  </a:cubicBezTo>
                  <a:cubicBezTo>
                    <a:pt x="3946" y="6571"/>
                    <a:pt x="3946" y="6571"/>
                    <a:pt x="3946" y="6571"/>
                  </a:cubicBezTo>
                  <a:cubicBezTo>
                    <a:pt x="3967" y="6510"/>
                    <a:pt x="3967" y="6510"/>
                    <a:pt x="3967" y="6510"/>
                  </a:cubicBezTo>
                  <a:cubicBezTo>
                    <a:pt x="4068" y="6482"/>
                    <a:pt x="4068" y="6482"/>
                    <a:pt x="4068" y="6482"/>
                  </a:cubicBezTo>
                  <a:cubicBezTo>
                    <a:pt x="4086" y="6477"/>
                    <a:pt x="4086" y="6477"/>
                    <a:pt x="4086" y="6477"/>
                  </a:cubicBezTo>
                  <a:lnTo>
                    <a:pt x="3899" y="6375"/>
                  </a:lnTo>
                  <a:close/>
                  <a:moveTo>
                    <a:pt x="3955" y="6498"/>
                  </a:moveTo>
                  <a:cubicBezTo>
                    <a:pt x="3938" y="6549"/>
                    <a:pt x="3938" y="6549"/>
                    <a:pt x="3938" y="6549"/>
                  </a:cubicBezTo>
                  <a:cubicBezTo>
                    <a:pt x="3861" y="6505"/>
                    <a:pt x="3861" y="6505"/>
                    <a:pt x="3861" y="6505"/>
                  </a:cubicBezTo>
                  <a:cubicBezTo>
                    <a:pt x="3907" y="6396"/>
                    <a:pt x="3907" y="6396"/>
                    <a:pt x="3907" y="6396"/>
                  </a:cubicBezTo>
                  <a:cubicBezTo>
                    <a:pt x="4047" y="6473"/>
                    <a:pt x="4047" y="6473"/>
                    <a:pt x="4047" y="6473"/>
                  </a:cubicBezTo>
                  <a:lnTo>
                    <a:pt x="3955" y="6498"/>
                  </a:lnTo>
                  <a:close/>
                  <a:moveTo>
                    <a:pt x="3758" y="6814"/>
                  </a:moveTo>
                  <a:cubicBezTo>
                    <a:pt x="3760" y="6844"/>
                    <a:pt x="3760" y="6844"/>
                    <a:pt x="3760" y="6844"/>
                  </a:cubicBezTo>
                  <a:cubicBezTo>
                    <a:pt x="3888" y="6864"/>
                    <a:pt x="3888" y="6864"/>
                    <a:pt x="3888" y="6864"/>
                  </a:cubicBezTo>
                  <a:cubicBezTo>
                    <a:pt x="3994" y="6704"/>
                    <a:pt x="3994" y="6704"/>
                    <a:pt x="3994" y="6704"/>
                  </a:cubicBezTo>
                  <a:cubicBezTo>
                    <a:pt x="3998" y="6698"/>
                    <a:pt x="3998" y="6698"/>
                    <a:pt x="3998" y="6698"/>
                  </a:cubicBezTo>
                  <a:cubicBezTo>
                    <a:pt x="3822" y="6573"/>
                    <a:pt x="3822" y="6573"/>
                    <a:pt x="3822" y="6573"/>
                  </a:cubicBezTo>
                  <a:cubicBezTo>
                    <a:pt x="3683" y="6677"/>
                    <a:pt x="3683" y="6677"/>
                    <a:pt x="3683" y="6677"/>
                  </a:cubicBezTo>
                  <a:cubicBezTo>
                    <a:pt x="3809" y="6721"/>
                    <a:pt x="3809" y="6721"/>
                    <a:pt x="3809" y="6721"/>
                  </a:cubicBezTo>
                  <a:lnTo>
                    <a:pt x="3758" y="6814"/>
                  </a:lnTo>
                  <a:close/>
                  <a:moveTo>
                    <a:pt x="3714" y="6672"/>
                  </a:moveTo>
                  <a:cubicBezTo>
                    <a:pt x="3822" y="6591"/>
                    <a:pt x="3822" y="6591"/>
                    <a:pt x="3822" y="6591"/>
                  </a:cubicBezTo>
                  <a:cubicBezTo>
                    <a:pt x="3978" y="6702"/>
                    <a:pt x="3978" y="6702"/>
                    <a:pt x="3978" y="6702"/>
                  </a:cubicBezTo>
                  <a:cubicBezTo>
                    <a:pt x="3881" y="6848"/>
                    <a:pt x="3881" y="6848"/>
                    <a:pt x="3881" y="6848"/>
                  </a:cubicBezTo>
                  <a:cubicBezTo>
                    <a:pt x="3774" y="6831"/>
                    <a:pt x="3774" y="6831"/>
                    <a:pt x="3774" y="6831"/>
                  </a:cubicBezTo>
                  <a:cubicBezTo>
                    <a:pt x="3773" y="6818"/>
                    <a:pt x="3773" y="6818"/>
                    <a:pt x="3773" y="6818"/>
                  </a:cubicBezTo>
                  <a:cubicBezTo>
                    <a:pt x="3830" y="6713"/>
                    <a:pt x="3830" y="6713"/>
                    <a:pt x="3830" y="6713"/>
                  </a:cubicBezTo>
                  <a:lnTo>
                    <a:pt x="3714" y="6672"/>
                  </a:lnTo>
                  <a:close/>
                  <a:moveTo>
                    <a:pt x="3861" y="6945"/>
                  </a:moveTo>
                  <a:cubicBezTo>
                    <a:pt x="3861" y="6945"/>
                    <a:pt x="3861" y="6945"/>
                    <a:pt x="3861" y="6945"/>
                  </a:cubicBezTo>
                  <a:cubicBezTo>
                    <a:pt x="3854" y="6945"/>
                    <a:pt x="3704" y="6918"/>
                    <a:pt x="3704" y="6918"/>
                  </a:cubicBezTo>
                  <a:cubicBezTo>
                    <a:pt x="3699" y="6917"/>
                    <a:pt x="3699" y="6917"/>
                    <a:pt x="3699" y="6917"/>
                  </a:cubicBezTo>
                  <a:cubicBezTo>
                    <a:pt x="3679" y="6949"/>
                    <a:pt x="3679" y="6949"/>
                    <a:pt x="3679" y="6949"/>
                  </a:cubicBezTo>
                  <a:cubicBezTo>
                    <a:pt x="3553" y="6919"/>
                    <a:pt x="3553" y="6919"/>
                    <a:pt x="3553" y="6919"/>
                  </a:cubicBezTo>
                  <a:cubicBezTo>
                    <a:pt x="3500" y="7075"/>
                    <a:pt x="3500" y="7075"/>
                    <a:pt x="3500" y="7075"/>
                  </a:cubicBezTo>
                  <a:cubicBezTo>
                    <a:pt x="3652" y="7152"/>
                    <a:pt x="3652" y="7152"/>
                    <a:pt x="3652" y="7152"/>
                  </a:cubicBezTo>
                  <a:cubicBezTo>
                    <a:pt x="3696" y="7037"/>
                    <a:pt x="3696" y="7037"/>
                    <a:pt x="3696" y="7037"/>
                  </a:cubicBezTo>
                  <a:cubicBezTo>
                    <a:pt x="3846" y="7064"/>
                    <a:pt x="3846" y="7064"/>
                    <a:pt x="3846" y="7064"/>
                  </a:cubicBezTo>
                  <a:cubicBezTo>
                    <a:pt x="3847" y="7057"/>
                    <a:pt x="3847" y="7057"/>
                    <a:pt x="3847" y="7057"/>
                  </a:cubicBezTo>
                  <a:cubicBezTo>
                    <a:pt x="3847" y="7057"/>
                    <a:pt x="3869" y="6981"/>
                    <a:pt x="3869" y="6957"/>
                  </a:cubicBezTo>
                  <a:cubicBezTo>
                    <a:pt x="3869" y="6955"/>
                    <a:pt x="3869" y="6954"/>
                    <a:pt x="3869" y="6952"/>
                  </a:cubicBezTo>
                  <a:cubicBezTo>
                    <a:pt x="3868" y="6950"/>
                    <a:pt x="3866" y="6946"/>
                    <a:pt x="3861" y="6945"/>
                  </a:cubicBezTo>
                  <a:close/>
                  <a:moveTo>
                    <a:pt x="3835" y="7047"/>
                  </a:moveTo>
                  <a:cubicBezTo>
                    <a:pt x="3687" y="7021"/>
                    <a:pt x="3687" y="7021"/>
                    <a:pt x="3687" y="7021"/>
                  </a:cubicBezTo>
                  <a:cubicBezTo>
                    <a:pt x="3644" y="7131"/>
                    <a:pt x="3644" y="7131"/>
                    <a:pt x="3644" y="7131"/>
                  </a:cubicBezTo>
                  <a:cubicBezTo>
                    <a:pt x="3518" y="7068"/>
                    <a:pt x="3518" y="7068"/>
                    <a:pt x="3518" y="7068"/>
                  </a:cubicBezTo>
                  <a:cubicBezTo>
                    <a:pt x="3563" y="6937"/>
                    <a:pt x="3563" y="6937"/>
                    <a:pt x="3563" y="6937"/>
                  </a:cubicBezTo>
                  <a:cubicBezTo>
                    <a:pt x="3686" y="6966"/>
                    <a:pt x="3686" y="6966"/>
                    <a:pt x="3686" y="6966"/>
                  </a:cubicBezTo>
                  <a:cubicBezTo>
                    <a:pt x="3706" y="6934"/>
                    <a:pt x="3706" y="6934"/>
                    <a:pt x="3706" y="6934"/>
                  </a:cubicBezTo>
                  <a:cubicBezTo>
                    <a:pt x="3729" y="6938"/>
                    <a:pt x="3829" y="6955"/>
                    <a:pt x="3855" y="6959"/>
                  </a:cubicBezTo>
                  <a:cubicBezTo>
                    <a:pt x="3854" y="6976"/>
                    <a:pt x="3840" y="7028"/>
                    <a:pt x="3835" y="7047"/>
                  </a:cubicBezTo>
                  <a:close/>
                  <a:moveTo>
                    <a:pt x="3860" y="6954"/>
                  </a:moveTo>
                  <a:cubicBezTo>
                    <a:pt x="3860" y="6954"/>
                    <a:pt x="3860" y="6954"/>
                    <a:pt x="3860" y="6954"/>
                  </a:cubicBezTo>
                  <a:cubicBezTo>
                    <a:pt x="3860" y="6953"/>
                    <a:pt x="3860" y="6953"/>
                    <a:pt x="3860" y="6953"/>
                  </a:cubicBezTo>
                  <a:lnTo>
                    <a:pt x="3860" y="6954"/>
                  </a:lnTo>
                  <a:close/>
                  <a:moveTo>
                    <a:pt x="3701" y="7240"/>
                  </a:moveTo>
                  <a:cubicBezTo>
                    <a:pt x="3743" y="7257"/>
                    <a:pt x="3743" y="7257"/>
                    <a:pt x="3743" y="7257"/>
                  </a:cubicBezTo>
                  <a:cubicBezTo>
                    <a:pt x="3823" y="7182"/>
                    <a:pt x="3823" y="7182"/>
                    <a:pt x="3823" y="7182"/>
                  </a:cubicBezTo>
                  <a:cubicBezTo>
                    <a:pt x="3834" y="7172"/>
                    <a:pt x="3834" y="7172"/>
                    <a:pt x="3834" y="7172"/>
                  </a:cubicBezTo>
                  <a:cubicBezTo>
                    <a:pt x="3729" y="7150"/>
                    <a:pt x="3729" y="7150"/>
                    <a:pt x="3729" y="7150"/>
                  </a:cubicBezTo>
                  <a:lnTo>
                    <a:pt x="3701" y="7240"/>
                  </a:lnTo>
                  <a:close/>
                  <a:moveTo>
                    <a:pt x="3803" y="7181"/>
                  </a:moveTo>
                  <a:cubicBezTo>
                    <a:pt x="3739" y="7240"/>
                    <a:pt x="3739" y="7240"/>
                    <a:pt x="3739" y="7240"/>
                  </a:cubicBezTo>
                  <a:cubicBezTo>
                    <a:pt x="3719" y="7231"/>
                    <a:pt x="3719" y="7231"/>
                    <a:pt x="3719" y="7231"/>
                  </a:cubicBezTo>
                  <a:cubicBezTo>
                    <a:pt x="3739" y="7167"/>
                    <a:pt x="3739" y="7167"/>
                    <a:pt x="3739" y="7167"/>
                  </a:cubicBezTo>
                  <a:lnTo>
                    <a:pt x="3803" y="7181"/>
                  </a:lnTo>
                  <a:close/>
                  <a:moveTo>
                    <a:pt x="3870" y="5794"/>
                  </a:moveTo>
                  <a:cubicBezTo>
                    <a:pt x="3534" y="5717"/>
                    <a:pt x="3534" y="5717"/>
                    <a:pt x="3534" y="5717"/>
                  </a:cubicBezTo>
                  <a:cubicBezTo>
                    <a:pt x="3489" y="5810"/>
                    <a:pt x="3489" y="5810"/>
                    <a:pt x="3489" y="5810"/>
                  </a:cubicBezTo>
                  <a:cubicBezTo>
                    <a:pt x="3732" y="5874"/>
                    <a:pt x="3732" y="5874"/>
                    <a:pt x="3732" y="5874"/>
                  </a:cubicBezTo>
                  <a:cubicBezTo>
                    <a:pt x="3739" y="5845"/>
                    <a:pt x="3739" y="5845"/>
                    <a:pt x="3739" y="5845"/>
                  </a:cubicBezTo>
                  <a:cubicBezTo>
                    <a:pt x="3882" y="5877"/>
                    <a:pt x="3882" y="5877"/>
                    <a:pt x="3882" y="5877"/>
                  </a:cubicBezTo>
                  <a:cubicBezTo>
                    <a:pt x="3871" y="5799"/>
                    <a:pt x="3871" y="5799"/>
                    <a:pt x="3871" y="5799"/>
                  </a:cubicBezTo>
                  <a:lnTo>
                    <a:pt x="3870" y="5794"/>
                  </a:lnTo>
                  <a:close/>
                  <a:moveTo>
                    <a:pt x="3729" y="5827"/>
                  </a:moveTo>
                  <a:cubicBezTo>
                    <a:pt x="3721" y="5856"/>
                    <a:pt x="3721" y="5856"/>
                    <a:pt x="3721" y="5856"/>
                  </a:cubicBezTo>
                  <a:cubicBezTo>
                    <a:pt x="3510" y="5801"/>
                    <a:pt x="3510" y="5801"/>
                    <a:pt x="3510" y="5801"/>
                  </a:cubicBezTo>
                  <a:cubicBezTo>
                    <a:pt x="3542" y="5734"/>
                    <a:pt x="3542" y="5734"/>
                    <a:pt x="3542" y="5734"/>
                  </a:cubicBezTo>
                  <a:cubicBezTo>
                    <a:pt x="3857" y="5806"/>
                    <a:pt x="3857" y="5806"/>
                    <a:pt x="3857" y="5806"/>
                  </a:cubicBezTo>
                  <a:cubicBezTo>
                    <a:pt x="3864" y="5858"/>
                    <a:pt x="3864" y="5858"/>
                    <a:pt x="3864" y="5858"/>
                  </a:cubicBezTo>
                  <a:lnTo>
                    <a:pt x="3729" y="5827"/>
                  </a:lnTo>
                  <a:close/>
                  <a:moveTo>
                    <a:pt x="3850" y="6027"/>
                  </a:moveTo>
                  <a:cubicBezTo>
                    <a:pt x="3854" y="6019"/>
                    <a:pt x="3854" y="6019"/>
                    <a:pt x="3854" y="6019"/>
                  </a:cubicBezTo>
                  <a:cubicBezTo>
                    <a:pt x="3439" y="5904"/>
                    <a:pt x="3439" y="5904"/>
                    <a:pt x="3439" y="5904"/>
                  </a:cubicBezTo>
                  <a:cubicBezTo>
                    <a:pt x="3397" y="6008"/>
                    <a:pt x="3397" y="6008"/>
                    <a:pt x="3397" y="6008"/>
                  </a:cubicBezTo>
                  <a:cubicBezTo>
                    <a:pt x="3371" y="6014"/>
                    <a:pt x="3371" y="6014"/>
                    <a:pt x="3371" y="6014"/>
                  </a:cubicBezTo>
                  <a:cubicBezTo>
                    <a:pt x="3304" y="6129"/>
                    <a:pt x="3304" y="6129"/>
                    <a:pt x="3304" y="6129"/>
                  </a:cubicBezTo>
                  <a:cubicBezTo>
                    <a:pt x="3347" y="6144"/>
                    <a:pt x="3347" y="6144"/>
                    <a:pt x="3347" y="6144"/>
                  </a:cubicBezTo>
                  <a:cubicBezTo>
                    <a:pt x="3343" y="6171"/>
                    <a:pt x="3343" y="6171"/>
                    <a:pt x="3343" y="6171"/>
                  </a:cubicBezTo>
                  <a:cubicBezTo>
                    <a:pt x="3768" y="6362"/>
                    <a:pt x="3768" y="6362"/>
                    <a:pt x="3768" y="6362"/>
                  </a:cubicBezTo>
                  <a:cubicBezTo>
                    <a:pt x="3806" y="6263"/>
                    <a:pt x="3806" y="6263"/>
                    <a:pt x="3806" y="6263"/>
                  </a:cubicBezTo>
                  <a:cubicBezTo>
                    <a:pt x="3728" y="6163"/>
                    <a:pt x="3728" y="6163"/>
                    <a:pt x="3728" y="6163"/>
                  </a:cubicBezTo>
                  <a:cubicBezTo>
                    <a:pt x="3804" y="6125"/>
                    <a:pt x="3804" y="6125"/>
                    <a:pt x="3804" y="6125"/>
                  </a:cubicBezTo>
                  <a:lnTo>
                    <a:pt x="3850" y="6027"/>
                  </a:lnTo>
                  <a:close/>
                  <a:moveTo>
                    <a:pt x="3705" y="6158"/>
                  </a:moveTo>
                  <a:cubicBezTo>
                    <a:pt x="3789" y="6266"/>
                    <a:pt x="3789" y="6266"/>
                    <a:pt x="3789" y="6266"/>
                  </a:cubicBezTo>
                  <a:cubicBezTo>
                    <a:pt x="3760" y="6342"/>
                    <a:pt x="3760" y="6342"/>
                    <a:pt x="3760" y="6342"/>
                  </a:cubicBezTo>
                  <a:cubicBezTo>
                    <a:pt x="3359" y="6162"/>
                    <a:pt x="3359" y="6162"/>
                    <a:pt x="3359" y="6162"/>
                  </a:cubicBezTo>
                  <a:cubicBezTo>
                    <a:pt x="3364" y="6134"/>
                    <a:pt x="3364" y="6134"/>
                    <a:pt x="3364" y="6134"/>
                  </a:cubicBezTo>
                  <a:cubicBezTo>
                    <a:pt x="3326" y="6121"/>
                    <a:pt x="3326" y="6121"/>
                    <a:pt x="3326" y="6121"/>
                  </a:cubicBezTo>
                  <a:cubicBezTo>
                    <a:pt x="3381" y="6027"/>
                    <a:pt x="3381" y="6027"/>
                    <a:pt x="3381" y="6027"/>
                  </a:cubicBezTo>
                  <a:cubicBezTo>
                    <a:pt x="3407" y="6021"/>
                    <a:pt x="3407" y="6021"/>
                    <a:pt x="3407" y="6021"/>
                  </a:cubicBezTo>
                  <a:cubicBezTo>
                    <a:pt x="3448" y="5922"/>
                    <a:pt x="3448" y="5922"/>
                    <a:pt x="3448" y="5922"/>
                  </a:cubicBezTo>
                  <a:cubicBezTo>
                    <a:pt x="3833" y="6029"/>
                    <a:pt x="3833" y="6029"/>
                    <a:pt x="3833" y="6029"/>
                  </a:cubicBezTo>
                  <a:cubicBezTo>
                    <a:pt x="3793" y="6114"/>
                    <a:pt x="3793" y="6114"/>
                    <a:pt x="3793" y="6114"/>
                  </a:cubicBezTo>
                  <a:lnTo>
                    <a:pt x="3705" y="6158"/>
                  </a:lnTo>
                  <a:close/>
                  <a:moveTo>
                    <a:pt x="3422" y="6145"/>
                  </a:moveTo>
                  <a:cubicBezTo>
                    <a:pt x="3576" y="6194"/>
                    <a:pt x="3576" y="6194"/>
                    <a:pt x="3576" y="6194"/>
                  </a:cubicBezTo>
                  <a:cubicBezTo>
                    <a:pt x="3632" y="6053"/>
                    <a:pt x="3632" y="6053"/>
                    <a:pt x="3632" y="6053"/>
                  </a:cubicBezTo>
                  <a:cubicBezTo>
                    <a:pt x="3635" y="6045"/>
                    <a:pt x="3635" y="6045"/>
                    <a:pt x="3635" y="6045"/>
                  </a:cubicBezTo>
                  <a:cubicBezTo>
                    <a:pt x="3492" y="6003"/>
                    <a:pt x="3492" y="6003"/>
                    <a:pt x="3492" y="6003"/>
                  </a:cubicBezTo>
                  <a:lnTo>
                    <a:pt x="3422" y="6145"/>
                  </a:lnTo>
                  <a:close/>
                  <a:moveTo>
                    <a:pt x="3615" y="6055"/>
                  </a:moveTo>
                  <a:cubicBezTo>
                    <a:pt x="3568" y="6176"/>
                    <a:pt x="3568" y="6176"/>
                    <a:pt x="3568" y="6176"/>
                  </a:cubicBezTo>
                  <a:cubicBezTo>
                    <a:pt x="3443" y="6136"/>
                    <a:pt x="3443" y="6136"/>
                    <a:pt x="3443" y="6136"/>
                  </a:cubicBezTo>
                  <a:cubicBezTo>
                    <a:pt x="3499" y="6020"/>
                    <a:pt x="3499" y="6020"/>
                    <a:pt x="3499" y="6020"/>
                  </a:cubicBezTo>
                  <a:lnTo>
                    <a:pt x="3615" y="6055"/>
                  </a:lnTo>
                  <a:close/>
                  <a:moveTo>
                    <a:pt x="3653" y="6526"/>
                  </a:moveTo>
                  <a:cubicBezTo>
                    <a:pt x="3284" y="6257"/>
                    <a:pt x="3284" y="6257"/>
                    <a:pt x="3284" y="6257"/>
                  </a:cubicBezTo>
                  <a:cubicBezTo>
                    <a:pt x="3158" y="6496"/>
                    <a:pt x="3158" y="6496"/>
                    <a:pt x="3158" y="6496"/>
                  </a:cubicBezTo>
                  <a:cubicBezTo>
                    <a:pt x="3488" y="6614"/>
                    <a:pt x="3488" y="6614"/>
                    <a:pt x="3488" y="6614"/>
                  </a:cubicBezTo>
                  <a:cubicBezTo>
                    <a:pt x="3643" y="6531"/>
                    <a:pt x="3643" y="6531"/>
                    <a:pt x="3643" y="6531"/>
                  </a:cubicBezTo>
                  <a:lnTo>
                    <a:pt x="3653" y="6526"/>
                  </a:lnTo>
                  <a:close/>
                  <a:moveTo>
                    <a:pt x="3487" y="6598"/>
                  </a:moveTo>
                  <a:cubicBezTo>
                    <a:pt x="3179" y="6487"/>
                    <a:pt x="3179" y="6487"/>
                    <a:pt x="3179" y="6487"/>
                  </a:cubicBezTo>
                  <a:cubicBezTo>
                    <a:pt x="3289" y="6279"/>
                    <a:pt x="3289" y="6279"/>
                    <a:pt x="3289" y="6279"/>
                  </a:cubicBezTo>
                  <a:cubicBezTo>
                    <a:pt x="3625" y="6524"/>
                    <a:pt x="3625" y="6524"/>
                    <a:pt x="3625" y="6524"/>
                  </a:cubicBezTo>
                  <a:lnTo>
                    <a:pt x="3487" y="6598"/>
                  </a:lnTo>
                  <a:close/>
                  <a:moveTo>
                    <a:pt x="3433" y="6496"/>
                  </a:moveTo>
                  <a:cubicBezTo>
                    <a:pt x="3467" y="6504"/>
                    <a:pt x="3467" y="6504"/>
                    <a:pt x="3467" y="6504"/>
                  </a:cubicBezTo>
                  <a:cubicBezTo>
                    <a:pt x="3295" y="6365"/>
                    <a:pt x="3295" y="6365"/>
                    <a:pt x="3295" y="6365"/>
                  </a:cubicBezTo>
                  <a:cubicBezTo>
                    <a:pt x="3245" y="6446"/>
                    <a:pt x="3245" y="6446"/>
                    <a:pt x="3245" y="6446"/>
                  </a:cubicBezTo>
                  <a:lnTo>
                    <a:pt x="3433" y="6496"/>
                  </a:lnTo>
                  <a:close/>
                  <a:moveTo>
                    <a:pt x="3299" y="6387"/>
                  </a:moveTo>
                  <a:cubicBezTo>
                    <a:pt x="3404" y="6473"/>
                    <a:pt x="3404" y="6473"/>
                    <a:pt x="3404" y="6473"/>
                  </a:cubicBezTo>
                  <a:cubicBezTo>
                    <a:pt x="3268" y="6436"/>
                    <a:pt x="3268" y="6436"/>
                    <a:pt x="3268" y="6436"/>
                  </a:cubicBezTo>
                  <a:lnTo>
                    <a:pt x="3299" y="6387"/>
                  </a:lnTo>
                  <a:close/>
                  <a:moveTo>
                    <a:pt x="3194" y="6645"/>
                  </a:moveTo>
                  <a:cubicBezTo>
                    <a:pt x="3163" y="6746"/>
                    <a:pt x="3163" y="6746"/>
                    <a:pt x="3163" y="6746"/>
                  </a:cubicBezTo>
                  <a:cubicBezTo>
                    <a:pt x="3164" y="6748"/>
                    <a:pt x="3164" y="6748"/>
                    <a:pt x="3164" y="6748"/>
                  </a:cubicBezTo>
                  <a:cubicBezTo>
                    <a:pt x="3164" y="6749"/>
                    <a:pt x="3193" y="6845"/>
                    <a:pt x="3256" y="6893"/>
                  </a:cubicBezTo>
                  <a:cubicBezTo>
                    <a:pt x="3316" y="6938"/>
                    <a:pt x="3346" y="6962"/>
                    <a:pt x="3346" y="6962"/>
                  </a:cubicBezTo>
                  <a:cubicBezTo>
                    <a:pt x="3355" y="6969"/>
                    <a:pt x="3355" y="6969"/>
                    <a:pt x="3355" y="6969"/>
                  </a:cubicBezTo>
                  <a:cubicBezTo>
                    <a:pt x="3385" y="6876"/>
                    <a:pt x="3385" y="6876"/>
                    <a:pt x="3385" y="6876"/>
                  </a:cubicBezTo>
                  <a:cubicBezTo>
                    <a:pt x="3424" y="6887"/>
                    <a:pt x="3424" y="6887"/>
                    <a:pt x="3424" y="6887"/>
                  </a:cubicBezTo>
                  <a:cubicBezTo>
                    <a:pt x="3447" y="6779"/>
                    <a:pt x="3447" y="6779"/>
                    <a:pt x="3447" y="6779"/>
                  </a:cubicBezTo>
                  <a:cubicBezTo>
                    <a:pt x="3448" y="6773"/>
                    <a:pt x="3448" y="6773"/>
                    <a:pt x="3448" y="6773"/>
                  </a:cubicBezTo>
                  <a:lnTo>
                    <a:pt x="3194" y="6645"/>
                  </a:lnTo>
                  <a:close/>
                  <a:moveTo>
                    <a:pt x="3413" y="6869"/>
                  </a:moveTo>
                  <a:cubicBezTo>
                    <a:pt x="3375" y="6857"/>
                    <a:pt x="3375" y="6857"/>
                    <a:pt x="3375" y="6857"/>
                  </a:cubicBezTo>
                  <a:cubicBezTo>
                    <a:pt x="3347" y="6944"/>
                    <a:pt x="3347" y="6944"/>
                    <a:pt x="3347" y="6944"/>
                  </a:cubicBezTo>
                  <a:cubicBezTo>
                    <a:pt x="3334" y="6934"/>
                    <a:pt x="3307" y="6912"/>
                    <a:pt x="3265" y="6881"/>
                  </a:cubicBezTo>
                  <a:cubicBezTo>
                    <a:pt x="3236" y="6859"/>
                    <a:pt x="3214" y="6825"/>
                    <a:pt x="3199" y="6796"/>
                  </a:cubicBezTo>
                  <a:cubicBezTo>
                    <a:pt x="3187" y="6772"/>
                    <a:pt x="3181" y="6753"/>
                    <a:pt x="3178" y="6746"/>
                  </a:cubicBezTo>
                  <a:cubicBezTo>
                    <a:pt x="3203" y="6666"/>
                    <a:pt x="3203" y="6666"/>
                    <a:pt x="3203" y="6666"/>
                  </a:cubicBezTo>
                  <a:cubicBezTo>
                    <a:pt x="3432" y="6781"/>
                    <a:pt x="3432" y="6781"/>
                    <a:pt x="3432" y="6781"/>
                  </a:cubicBezTo>
                  <a:lnTo>
                    <a:pt x="3413" y="6869"/>
                  </a:lnTo>
                  <a:close/>
                  <a:moveTo>
                    <a:pt x="3114" y="7266"/>
                  </a:moveTo>
                  <a:cubicBezTo>
                    <a:pt x="3199" y="7226"/>
                    <a:pt x="3199" y="7226"/>
                    <a:pt x="3199" y="7226"/>
                  </a:cubicBezTo>
                  <a:cubicBezTo>
                    <a:pt x="3198" y="7220"/>
                    <a:pt x="3198" y="7220"/>
                    <a:pt x="3198" y="7220"/>
                  </a:cubicBezTo>
                  <a:cubicBezTo>
                    <a:pt x="3198" y="7220"/>
                    <a:pt x="3198" y="7219"/>
                    <a:pt x="3198" y="7216"/>
                  </a:cubicBezTo>
                  <a:cubicBezTo>
                    <a:pt x="3199" y="7206"/>
                    <a:pt x="3201" y="7171"/>
                    <a:pt x="3301" y="7170"/>
                  </a:cubicBezTo>
                  <a:cubicBezTo>
                    <a:pt x="3310" y="7170"/>
                    <a:pt x="3320" y="7170"/>
                    <a:pt x="3331" y="7171"/>
                  </a:cubicBezTo>
                  <a:cubicBezTo>
                    <a:pt x="3355" y="7173"/>
                    <a:pt x="3355" y="7173"/>
                    <a:pt x="3355" y="7173"/>
                  </a:cubicBezTo>
                  <a:cubicBezTo>
                    <a:pt x="3336" y="7158"/>
                    <a:pt x="3336" y="7158"/>
                    <a:pt x="3336" y="7158"/>
                  </a:cubicBezTo>
                  <a:cubicBezTo>
                    <a:pt x="3336" y="7158"/>
                    <a:pt x="3230" y="7076"/>
                    <a:pt x="3158" y="7032"/>
                  </a:cubicBezTo>
                  <a:cubicBezTo>
                    <a:pt x="3124" y="7011"/>
                    <a:pt x="3084" y="6968"/>
                    <a:pt x="3054" y="6932"/>
                  </a:cubicBezTo>
                  <a:cubicBezTo>
                    <a:pt x="3023" y="6895"/>
                    <a:pt x="3001" y="6864"/>
                    <a:pt x="3001" y="6863"/>
                  </a:cubicBezTo>
                  <a:cubicBezTo>
                    <a:pt x="2998" y="6859"/>
                    <a:pt x="2998" y="6859"/>
                    <a:pt x="2998" y="6859"/>
                  </a:cubicBezTo>
                  <a:cubicBezTo>
                    <a:pt x="2936" y="6876"/>
                    <a:pt x="2936" y="6876"/>
                    <a:pt x="2936" y="6876"/>
                  </a:cubicBezTo>
                  <a:cubicBezTo>
                    <a:pt x="2985" y="6993"/>
                    <a:pt x="2985" y="6993"/>
                    <a:pt x="2985" y="6993"/>
                  </a:cubicBezTo>
                  <a:cubicBezTo>
                    <a:pt x="2948" y="7005"/>
                    <a:pt x="2948" y="7005"/>
                    <a:pt x="2948" y="7005"/>
                  </a:cubicBezTo>
                  <a:cubicBezTo>
                    <a:pt x="3054" y="7260"/>
                    <a:pt x="3054" y="7260"/>
                    <a:pt x="3054" y="7260"/>
                  </a:cubicBezTo>
                  <a:cubicBezTo>
                    <a:pt x="3093" y="7240"/>
                    <a:pt x="3093" y="7240"/>
                    <a:pt x="3093" y="7240"/>
                  </a:cubicBezTo>
                  <a:lnTo>
                    <a:pt x="3114" y="7266"/>
                  </a:lnTo>
                  <a:close/>
                  <a:moveTo>
                    <a:pt x="2968" y="7014"/>
                  </a:moveTo>
                  <a:cubicBezTo>
                    <a:pt x="3005" y="7002"/>
                    <a:pt x="3005" y="7002"/>
                    <a:pt x="3005" y="7002"/>
                  </a:cubicBezTo>
                  <a:cubicBezTo>
                    <a:pt x="2956" y="6886"/>
                    <a:pt x="2956" y="6886"/>
                    <a:pt x="2956" y="6886"/>
                  </a:cubicBezTo>
                  <a:cubicBezTo>
                    <a:pt x="2992" y="6876"/>
                    <a:pt x="2992" y="6876"/>
                    <a:pt x="2992" y="6876"/>
                  </a:cubicBezTo>
                  <a:cubicBezTo>
                    <a:pt x="3008" y="6898"/>
                    <a:pt x="3085" y="7004"/>
                    <a:pt x="3150" y="7044"/>
                  </a:cubicBezTo>
                  <a:cubicBezTo>
                    <a:pt x="3203" y="7076"/>
                    <a:pt x="3275" y="7130"/>
                    <a:pt x="3308" y="7155"/>
                  </a:cubicBezTo>
                  <a:cubicBezTo>
                    <a:pt x="3306" y="7155"/>
                    <a:pt x="3303" y="7155"/>
                    <a:pt x="3301" y="7155"/>
                  </a:cubicBezTo>
                  <a:cubicBezTo>
                    <a:pt x="3250" y="7155"/>
                    <a:pt x="3220" y="7165"/>
                    <a:pt x="3203" y="7178"/>
                  </a:cubicBezTo>
                  <a:cubicBezTo>
                    <a:pt x="3186" y="7191"/>
                    <a:pt x="3183" y="7208"/>
                    <a:pt x="3183" y="7216"/>
                  </a:cubicBezTo>
                  <a:cubicBezTo>
                    <a:pt x="3183" y="7217"/>
                    <a:pt x="3183" y="7217"/>
                    <a:pt x="3183" y="7217"/>
                  </a:cubicBezTo>
                  <a:cubicBezTo>
                    <a:pt x="3118" y="7248"/>
                    <a:pt x="3118" y="7248"/>
                    <a:pt x="3118" y="7248"/>
                  </a:cubicBezTo>
                  <a:cubicBezTo>
                    <a:pt x="3097" y="7222"/>
                    <a:pt x="3097" y="7222"/>
                    <a:pt x="3097" y="7222"/>
                  </a:cubicBezTo>
                  <a:cubicBezTo>
                    <a:pt x="3061" y="7240"/>
                    <a:pt x="3061" y="7240"/>
                    <a:pt x="3061" y="7240"/>
                  </a:cubicBezTo>
                  <a:lnTo>
                    <a:pt x="2968" y="7014"/>
                  </a:lnTo>
                  <a:close/>
                  <a:moveTo>
                    <a:pt x="2626" y="7333"/>
                  </a:moveTo>
                  <a:cubicBezTo>
                    <a:pt x="2645" y="7234"/>
                    <a:pt x="2645" y="7234"/>
                    <a:pt x="2645" y="7234"/>
                  </a:cubicBezTo>
                  <a:cubicBezTo>
                    <a:pt x="2770" y="7275"/>
                    <a:pt x="2770" y="7275"/>
                    <a:pt x="2770" y="7275"/>
                  </a:cubicBezTo>
                  <a:cubicBezTo>
                    <a:pt x="2779" y="7143"/>
                    <a:pt x="2779" y="7143"/>
                    <a:pt x="2779" y="7143"/>
                  </a:cubicBezTo>
                  <a:cubicBezTo>
                    <a:pt x="2667" y="7093"/>
                    <a:pt x="2667" y="7093"/>
                    <a:pt x="2667" y="7093"/>
                  </a:cubicBezTo>
                  <a:cubicBezTo>
                    <a:pt x="2687" y="7033"/>
                    <a:pt x="2687" y="7033"/>
                    <a:pt x="2687" y="7033"/>
                  </a:cubicBezTo>
                  <a:cubicBezTo>
                    <a:pt x="2798" y="7020"/>
                    <a:pt x="2798" y="7020"/>
                    <a:pt x="2798" y="7020"/>
                  </a:cubicBezTo>
                  <a:cubicBezTo>
                    <a:pt x="2773" y="6879"/>
                    <a:pt x="2773" y="6879"/>
                    <a:pt x="2773" y="6879"/>
                  </a:cubicBezTo>
                  <a:cubicBezTo>
                    <a:pt x="2772" y="6875"/>
                    <a:pt x="2772" y="6875"/>
                    <a:pt x="2772" y="6875"/>
                  </a:cubicBezTo>
                  <a:cubicBezTo>
                    <a:pt x="2617" y="6812"/>
                    <a:pt x="2617" y="6812"/>
                    <a:pt x="2617" y="6812"/>
                  </a:cubicBezTo>
                  <a:cubicBezTo>
                    <a:pt x="2514" y="7262"/>
                    <a:pt x="2514" y="7262"/>
                    <a:pt x="2514" y="7262"/>
                  </a:cubicBezTo>
                  <a:lnTo>
                    <a:pt x="2626" y="7333"/>
                  </a:lnTo>
                  <a:close/>
                  <a:moveTo>
                    <a:pt x="2627" y="6832"/>
                  </a:moveTo>
                  <a:cubicBezTo>
                    <a:pt x="2759" y="6885"/>
                    <a:pt x="2759" y="6885"/>
                    <a:pt x="2759" y="6885"/>
                  </a:cubicBezTo>
                  <a:cubicBezTo>
                    <a:pt x="2780" y="7007"/>
                    <a:pt x="2780" y="7007"/>
                    <a:pt x="2780" y="7007"/>
                  </a:cubicBezTo>
                  <a:cubicBezTo>
                    <a:pt x="2675" y="7020"/>
                    <a:pt x="2675" y="7020"/>
                    <a:pt x="2675" y="7020"/>
                  </a:cubicBezTo>
                  <a:cubicBezTo>
                    <a:pt x="2649" y="7101"/>
                    <a:pt x="2649" y="7101"/>
                    <a:pt x="2649" y="7101"/>
                  </a:cubicBezTo>
                  <a:cubicBezTo>
                    <a:pt x="2763" y="7152"/>
                    <a:pt x="2763" y="7152"/>
                    <a:pt x="2763" y="7152"/>
                  </a:cubicBezTo>
                  <a:cubicBezTo>
                    <a:pt x="2756" y="7255"/>
                    <a:pt x="2756" y="7255"/>
                    <a:pt x="2756" y="7255"/>
                  </a:cubicBezTo>
                  <a:cubicBezTo>
                    <a:pt x="2634" y="7215"/>
                    <a:pt x="2634" y="7215"/>
                    <a:pt x="2634" y="7215"/>
                  </a:cubicBezTo>
                  <a:cubicBezTo>
                    <a:pt x="2616" y="7309"/>
                    <a:pt x="2616" y="7309"/>
                    <a:pt x="2616" y="7309"/>
                  </a:cubicBezTo>
                  <a:cubicBezTo>
                    <a:pt x="2531" y="7255"/>
                    <a:pt x="2531" y="7255"/>
                    <a:pt x="2531" y="7255"/>
                  </a:cubicBezTo>
                  <a:lnTo>
                    <a:pt x="2627" y="6832"/>
                  </a:lnTo>
                  <a:close/>
                  <a:moveTo>
                    <a:pt x="2996" y="7372"/>
                  </a:moveTo>
                  <a:cubicBezTo>
                    <a:pt x="2903" y="7155"/>
                    <a:pt x="2903" y="7155"/>
                    <a:pt x="2903" y="7155"/>
                  </a:cubicBezTo>
                  <a:cubicBezTo>
                    <a:pt x="2900" y="7149"/>
                    <a:pt x="2900" y="7149"/>
                    <a:pt x="2900" y="7149"/>
                  </a:cubicBezTo>
                  <a:cubicBezTo>
                    <a:pt x="2849" y="7163"/>
                    <a:pt x="2849" y="7163"/>
                    <a:pt x="2849" y="7163"/>
                  </a:cubicBezTo>
                  <a:cubicBezTo>
                    <a:pt x="2860" y="7406"/>
                    <a:pt x="2860" y="7406"/>
                    <a:pt x="2860" y="7406"/>
                  </a:cubicBezTo>
                  <a:lnTo>
                    <a:pt x="2996" y="7372"/>
                  </a:lnTo>
                  <a:close/>
                  <a:moveTo>
                    <a:pt x="2892" y="7166"/>
                  </a:moveTo>
                  <a:cubicBezTo>
                    <a:pt x="2976" y="7362"/>
                    <a:pt x="2976" y="7362"/>
                    <a:pt x="2976" y="7362"/>
                  </a:cubicBezTo>
                  <a:cubicBezTo>
                    <a:pt x="2874" y="7387"/>
                    <a:pt x="2874" y="7387"/>
                    <a:pt x="2874" y="7387"/>
                  </a:cubicBezTo>
                  <a:cubicBezTo>
                    <a:pt x="2865" y="7174"/>
                    <a:pt x="2865" y="7174"/>
                    <a:pt x="2865" y="7174"/>
                  </a:cubicBezTo>
                  <a:lnTo>
                    <a:pt x="2892" y="7166"/>
                  </a:lnTo>
                  <a:close/>
                  <a:moveTo>
                    <a:pt x="2046" y="6959"/>
                  </a:moveTo>
                  <a:cubicBezTo>
                    <a:pt x="2213" y="7044"/>
                    <a:pt x="2213" y="7044"/>
                    <a:pt x="2213" y="7044"/>
                  </a:cubicBezTo>
                  <a:cubicBezTo>
                    <a:pt x="2261" y="6936"/>
                    <a:pt x="2261" y="6936"/>
                    <a:pt x="2261" y="6936"/>
                  </a:cubicBezTo>
                  <a:cubicBezTo>
                    <a:pt x="2219" y="6912"/>
                    <a:pt x="2219" y="6912"/>
                    <a:pt x="2219" y="6912"/>
                  </a:cubicBezTo>
                  <a:cubicBezTo>
                    <a:pt x="2318" y="6772"/>
                    <a:pt x="2318" y="6772"/>
                    <a:pt x="2318" y="6772"/>
                  </a:cubicBezTo>
                  <a:cubicBezTo>
                    <a:pt x="2422" y="6832"/>
                    <a:pt x="2422" y="6832"/>
                    <a:pt x="2422" y="6832"/>
                  </a:cubicBezTo>
                  <a:cubicBezTo>
                    <a:pt x="2375" y="7000"/>
                    <a:pt x="2375" y="7000"/>
                    <a:pt x="2375" y="7000"/>
                  </a:cubicBezTo>
                  <a:cubicBezTo>
                    <a:pt x="2307" y="6959"/>
                    <a:pt x="2307" y="6959"/>
                    <a:pt x="2307" y="6959"/>
                  </a:cubicBezTo>
                  <a:cubicBezTo>
                    <a:pt x="2255" y="7069"/>
                    <a:pt x="2255" y="7069"/>
                    <a:pt x="2255" y="7069"/>
                  </a:cubicBezTo>
                  <a:cubicBezTo>
                    <a:pt x="2438" y="7198"/>
                    <a:pt x="2438" y="7198"/>
                    <a:pt x="2438" y="7198"/>
                  </a:cubicBezTo>
                  <a:cubicBezTo>
                    <a:pt x="2558" y="6756"/>
                    <a:pt x="2558" y="6756"/>
                    <a:pt x="2558" y="6756"/>
                  </a:cubicBezTo>
                  <a:cubicBezTo>
                    <a:pt x="2560" y="6751"/>
                    <a:pt x="2560" y="6751"/>
                    <a:pt x="2560" y="6751"/>
                  </a:cubicBezTo>
                  <a:cubicBezTo>
                    <a:pt x="2286" y="6587"/>
                    <a:pt x="2286" y="6587"/>
                    <a:pt x="2286" y="6587"/>
                  </a:cubicBezTo>
                  <a:lnTo>
                    <a:pt x="2046" y="6959"/>
                  </a:lnTo>
                  <a:close/>
                  <a:moveTo>
                    <a:pt x="2543" y="6758"/>
                  </a:moveTo>
                  <a:cubicBezTo>
                    <a:pt x="2429" y="7174"/>
                    <a:pt x="2429" y="7174"/>
                    <a:pt x="2429" y="7174"/>
                  </a:cubicBezTo>
                  <a:cubicBezTo>
                    <a:pt x="2273" y="7064"/>
                    <a:pt x="2273" y="7064"/>
                    <a:pt x="2273" y="7064"/>
                  </a:cubicBezTo>
                  <a:cubicBezTo>
                    <a:pt x="2313" y="6980"/>
                    <a:pt x="2313" y="6980"/>
                    <a:pt x="2313" y="6980"/>
                  </a:cubicBezTo>
                  <a:cubicBezTo>
                    <a:pt x="2384" y="7022"/>
                    <a:pt x="2384" y="7022"/>
                    <a:pt x="2384" y="7022"/>
                  </a:cubicBezTo>
                  <a:cubicBezTo>
                    <a:pt x="2440" y="6825"/>
                    <a:pt x="2440" y="6825"/>
                    <a:pt x="2440" y="6825"/>
                  </a:cubicBezTo>
                  <a:cubicBezTo>
                    <a:pt x="2314" y="6753"/>
                    <a:pt x="2314" y="6753"/>
                    <a:pt x="2314" y="6753"/>
                  </a:cubicBezTo>
                  <a:cubicBezTo>
                    <a:pt x="2198" y="6917"/>
                    <a:pt x="2198" y="6917"/>
                    <a:pt x="2198" y="6917"/>
                  </a:cubicBezTo>
                  <a:cubicBezTo>
                    <a:pt x="2242" y="6942"/>
                    <a:pt x="2242" y="6942"/>
                    <a:pt x="2242" y="6942"/>
                  </a:cubicBezTo>
                  <a:cubicBezTo>
                    <a:pt x="2206" y="7023"/>
                    <a:pt x="2206" y="7023"/>
                    <a:pt x="2206" y="7023"/>
                  </a:cubicBezTo>
                  <a:cubicBezTo>
                    <a:pt x="2067" y="6953"/>
                    <a:pt x="2067" y="6953"/>
                    <a:pt x="2067" y="6953"/>
                  </a:cubicBezTo>
                  <a:cubicBezTo>
                    <a:pt x="2291" y="6607"/>
                    <a:pt x="2291" y="6607"/>
                    <a:pt x="2291" y="6607"/>
                  </a:cubicBezTo>
                  <a:lnTo>
                    <a:pt x="2543" y="6758"/>
                  </a:lnTo>
                  <a:close/>
                  <a:moveTo>
                    <a:pt x="1992" y="6921"/>
                  </a:moveTo>
                  <a:cubicBezTo>
                    <a:pt x="2215" y="6562"/>
                    <a:pt x="2215" y="6562"/>
                    <a:pt x="2215" y="6562"/>
                  </a:cubicBezTo>
                  <a:cubicBezTo>
                    <a:pt x="2219" y="6556"/>
                    <a:pt x="2219" y="6556"/>
                    <a:pt x="2219" y="6556"/>
                  </a:cubicBezTo>
                  <a:cubicBezTo>
                    <a:pt x="2074" y="6473"/>
                    <a:pt x="2074" y="6473"/>
                    <a:pt x="2074" y="6473"/>
                  </a:cubicBezTo>
                  <a:cubicBezTo>
                    <a:pt x="1842" y="6820"/>
                    <a:pt x="1842" y="6820"/>
                    <a:pt x="1842" y="6820"/>
                  </a:cubicBezTo>
                  <a:lnTo>
                    <a:pt x="1992" y="6921"/>
                  </a:lnTo>
                  <a:close/>
                  <a:moveTo>
                    <a:pt x="2079" y="6492"/>
                  </a:moveTo>
                  <a:cubicBezTo>
                    <a:pt x="2199" y="6561"/>
                    <a:pt x="2199" y="6561"/>
                    <a:pt x="2199" y="6561"/>
                  </a:cubicBezTo>
                  <a:cubicBezTo>
                    <a:pt x="1988" y="6900"/>
                    <a:pt x="1988" y="6900"/>
                    <a:pt x="1988" y="6900"/>
                  </a:cubicBezTo>
                  <a:cubicBezTo>
                    <a:pt x="1863" y="6816"/>
                    <a:pt x="1863" y="6816"/>
                    <a:pt x="1863" y="6816"/>
                  </a:cubicBezTo>
                  <a:lnTo>
                    <a:pt x="2079" y="6492"/>
                  </a:lnTo>
                  <a:close/>
                  <a:moveTo>
                    <a:pt x="1674" y="6741"/>
                  </a:moveTo>
                  <a:cubicBezTo>
                    <a:pt x="1712" y="6675"/>
                    <a:pt x="1712" y="6675"/>
                    <a:pt x="1712" y="6675"/>
                  </a:cubicBezTo>
                  <a:cubicBezTo>
                    <a:pt x="1800" y="6701"/>
                    <a:pt x="1800" y="6701"/>
                    <a:pt x="1800" y="6701"/>
                  </a:cubicBezTo>
                  <a:cubicBezTo>
                    <a:pt x="1956" y="6536"/>
                    <a:pt x="1956" y="6536"/>
                    <a:pt x="1956" y="6536"/>
                  </a:cubicBezTo>
                  <a:cubicBezTo>
                    <a:pt x="1873" y="6473"/>
                    <a:pt x="1873" y="6473"/>
                    <a:pt x="1873" y="6473"/>
                  </a:cubicBezTo>
                  <a:cubicBezTo>
                    <a:pt x="1867" y="6368"/>
                    <a:pt x="1867" y="6368"/>
                    <a:pt x="1867" y="6368"/>
                  </a:cubicBezTo>
                  <a:cubicBezTo>
                    <a:pt x="1867" y="6364"/>
                    <a:pt x="1867" y="6364"/>
                    <a:pt x="1867" y="6364"/>
                  </a:cubicBezTo>
                  <a:cubicBezTo>
                    <a:pt x="1723" y="6272"/>
                    <a:pt x="1723" y="6272"/>
                    <a:pt x="1723" y="6272"/>
                  </a:cubicBezTo>
                  <a:cubicBezTo>
                    <a:pt x="1510" y="6648"/>
                    <a:pt x="1510" y="6648"/>
                    <a:pt x="1510" y="6648"/>
                  </a:cubicBezTo>
                  <a:lnTo>
                    <a:pt x="1674" y="6741"/>
                  </a:lnTo>
                  <a:close/>
                  <a:moveTo>
                    <a:pt x="1728" y="6293"/>
                  </a:moveTo>
                  <a:cubicBezTo>
                    <a:pt x="1853" y="6373"/>
                    <a:pt x="1853" y="6373"/>
                    <a:pt x="1853" y="6373"/>
                  </a:cubicBezTo>
                  <a:cubicBezTo>
                    <a:pt x="1859" y="6481"/>
                    <a:pt x="1859" y="6481"/>
                    <a:pt x="1859" y="6481"/>
                  </a:cubicBezTo>
                  <a:cubicBezTo>
                    <a:pt x="1934" y="6538"/>
                    <a:pt x="1934" y="6538"/>
                    <a:pt x="1934" y="6538"/>
                  </a:cubicBezTo>
                  <a:cubicBezTo>
                    <a:pt x="1796" y="6684"/>
                    <a:pt x="1796" y="6684"/>
                    <a:pt x="1796" y="6684"/>
                  </a:cubicBezTo>
                  <a:cubicBezTo>
                    <a:pt x="1705" y="6657"/>
                    <a:pt x="1705" y="6657"/>
                    <a:pt x="1705" y="6657"/>
                  </a:cubicBezTo>
                  <a:cubicBezTo>
                    <a:pt x="1668" y="6721"/>
                    <a:pt x="1668" y="6721"/>
                    <a:pt x="1668" y="6721"/>
                  </a:cubicBezTo>
                  <a:cubicBezTo>
                    <a:pt x="1530" y="6643"/>
                    <a:pt x="1530" y="6643"/>
                    <a:pt x="1530" y="6643"/>
                  </a:cubicBezTo>
                  <a:lnTo>
                    <a:pt x="1728" y="6293"/>
                  </a:lnTo>
                  <a:close/>
                  <a:moveTo>
                    <a:pt x="6124" y="14196"/>
                  </a:moveTo>
                  <a:cubicBezTo>
                    <a:pt x="6173" y="13970"/>
                    <a:pt x="6173" y="13970"/>
                    <a:pt x="6173" y="13970"/>
                  </a:cubicBezTo>
                  <a:cubicBezTo>
                    <a:pt x="6174" y="13961"/>
                    <a:pt x="6174" y="13961"/>
                    <a:pt x="6174" y="13961"/>
                  </a:cubicBezTo>
                  <a:cubicBezTo>
                    <a:pt x="5801" y="13959"/>
                    <a:pt x="5801" y="13959"/>
                    <a:pt x="5801" y="13959"/>
                  </a:cubicBezTo>
                  <a:cubicBezTo>
                    <a:pt x="5720" y="14008"/>
                    <a:pt x="5720" y="14008"/>
                    <a:pt x="5720" y="14008"/>
                  </a:cubicBezTo>
                  <a:cubicBezTo>
                    <a:pt x="5631" y="14187"/>
                    <a:pt x="5631" y="14187"/>
                    <a:pt x="5631" y="14187"/>
                  </a:cubicBezTo>
                  <a:cubicBezTo>
                    <a:pt x="5787" y="14307"/>
                    <a:pt x="5787" y="14307"/>
                    <a:pt x="5787" y="14307"/>
                  </a:cubicBezTo>
                  <a:cubicBezTo>
                    <a:pt x="5868" y="14086"/>
                    <a:pt x="5868" y="14086"/>
                    <a:pt x="5868" y="14086"/>
                  </a:cubicBezTo>
                  <a:lnTo>
                    <a:pt x="6124" y="14196"/>
                  </a:lnTo>
                  <a:close/>
                  <a:moveTo>
                    <a:pt x="5780" y="14283"/>
                  </a:moveTo>
                  <a:cubicBezTo>
                    <a:pt x="5649" y="14183"/>
                    <a:pt x="5649" y="14183"/>
                    <a:pt x="5649" y="14183"/>
                  </a:cubicBezTo>
                  <a:cubicBezTo>
                    <a:pt x="5731" y="14018"/>
                    <a:pt x="5731" y="14018"/>
                    <a:pt x="5731" y="14018"/>
                  </a:cubicBezTo>
                  <a:cubicBezTo>
                    <a:pt x="5805" y="13974"/>
                    <a:pt x="5805" y="13974"/>
                    <a:pt x="5805" y="13974"/>
                  </a:cubicBezTo>
                  <a:cubicBezTo>
                    <a:pt x="6156" y="13976"/>
                    <a:pt x="6156" y="13976"/>
                    <a:pt x="6156" y="13976"/>
                  </a:cubicBezTo>
                  <a:cubicBezTo>
                    <a:pt x="6113" y="14175"/>
                    <a:pt x="6113" y="14175"/>
                    <a:pt x="6113" y="14175"/>
                  </a:cubicBezTo>
                  <a:cubicBezTo>
                    <a:pt x="5859" y="14067"/>
                    <a:pt x="5859" y="14067"/>
                    <a:pt x="5859" y="14067"/>
                  </a:cubicBezTo>
                  <a:lnTo>
                    <a:pt x="5780" y="14283"/>
                  </a:lnTo>
                  <a:close/>
                  <a:moveTo>
                    <a:pt x="6107" y="14240"/>
                  </a:moveTo>
                  <a:cubicBezTo>
                    <a:pt x="5886" y="14130"/>
                    <a:pt x="5886" y="14130"/>
                    <a:pt x="5886" y="14130"/>
                  </a:cubicBezTo>
                  <a:cubicBezTo>
                    <a:pt x="5812" y="14329"/>
                    <a:pt x="5812" y="14329"/>
                    <a:pt x="5812" y="14329"/>
                  </a:cubicBezTo>
                  <a:cubicBezTo>
                    <a:pt x="6025" y="14503"/>
                    <a:pt x="6025" y="14503"/>
                    <a:pt x="6025" y="14503"/>
                  </a:cubicBezTo>
                  <a:cubicBezTo>
                    <a:pt x="6105" y="14246"/>
                    <a:pt x="6105" y="14246"/>
                    <a:pt x="6105" y="14246"/>
                  </a:cubicBezTo>
                  <a:lnTo>
                    <a:pt x="6107" y="14240"/>
                  </a:lnTo>
                  <a:close/>
                  <a:moveTo>
                    <a:pt x="6017" y="14477"/>
                  </a:moveTo>
                  <a:cubicBezTo>
                    <a:pt x="5830" y="14324"/>
                    <a:pt x="5830" y="14324"/>
                    <a:pt x="5830" y="14324"/>
                  </a:cubicBezTo>
                  <a:cubicBezTo>
                    <a:pt x="5894" y="14150"/>
                    <a:pt x="5894" y="14150"/>
                    <a:pt x="5894" y="14150"/>
                  </a:cubicBezTo>
                  <a:cubicBezTo>
                    <a:pt x="6089" y="14247"/>
                    <a:pt x="6089" y="14247"/>
                    <a:pt x="6089" y="14247"/>
                  </a:cubicBezTo>
                  <a:lnTo>
                    <a:pt x="6017" y="14477"/>
                  </a:lnTo>
                  <a:close/>
                  <a:moveTo>
                    <a:pt x="5996" y="14353"/>
                  </a:moveTo>
                  <a:cubicBezTo>
                    <a:pt x="6030" y="14279"/>
                    <a:pt x="6030" y="14279"/>
                    <a:pt x="6030" y="14279"/>
                  </a:cubicBezTo>
                  <a:cubicBezTo>
                    <a:pt x="6033" y="14273"/>
                    <a:pt x="6033" y="14273"/>
                    <a:pt x="6033" y="14273"/>
                  </a:cubicBezTo>
                  <a:cubicBezTo>
                    <a:pt x="5914" y="14207"/>
                    <a:pt x="5914" y="14207"/>
                    <a:pt x="5914" y="14207"/>
                  </a:cubicBezTo>
                  <a:cubicBezTo>
                    <a:pt x="5878" y="14312"/>
                    <a:pt x="5878" y="14312"/>
                    <a:pt x="5878" y="14312"/>
                  </a:cubicBezTo>
                  <a:lnTo>
                    <a:pt x="5996" y="14353"/>
                  </a:lnTo>
                  <a:close/>
                  <a:moveTo>
                    <a:pt x="5922" y="14229"/>
                  </a:moveTo>
                  <a:cubicBezTo>
                    <a:pt x="6014" y="14279"/>
                    <a:pt x="6014" y="14279"/>
                    <a:pt x="6014" y="14279"/>
                  </a:cubicBezTo>
                  <a:cubicBezTo>
                    <a:pt x="5988" y="14335"/>
                    <a:pt x="5988" y="14335"/>
                    <a:pt x="5988" y="14335"/>
                  </a:cubicBezTo>
                  <a:cubicBezTo>
                    <a:pt x="5897" y="14303"/>
                    <a:pt x="5897" y="14303"/>
                    <a:pt x="5897" y="14303"/>
                  </a:cubicBezTo>
                  <a:lnTo>
                    <a:pt x="5922" y="14229"/>
                  </a:lnTo>
                  <a:close/>
                  <a:moveTo>
                    <a:pt x="5798" y="14495"/>
                  </a:moveTo>
                  <a:cubicBezTo>
                    <a:pt x="5805" y="14489"/>
                    <a:pt x="5805" y="14489"/>
                    <a:pt x="5805" y="14489"/>
                  </a:cubicBezTo>
                  <a:cubicBezTo>
                    <a:pt x="5511" y="14230"/>
                    <a:pt x="5511" y="14230"/>
                    <a:pt x="5511" y="14230"/>
                  </a:cubicBezTo>
                  <a:cubicBezTo>
                    <a:pt x="5484" y="14189"/>
                    <a:pt x="5484" y="14189"/>
                    <a:pt x="5484" y="14189"/>
                  </a:cubicBezTo>
                  <a:cubicBezTo>
                    <a:pt x="5195" y="14380"/>
                    <a:pt x="5195" y="14380"/>
                    <a:pt x="5195" y="14380"/>
                  </a:cubicBezTo>
                  <a:cubicBezTo>
                    <a:pt x="5456" y="14771"/>
                    <a:pt x="5456" y="14771"/>
                    <a:pt x="5456" y="14771"/>
                  </a:cubicBezTo>
                  <a:lnTo>
                    <a:pt x="5798" y="14495"/>
                  </a:lnTo>
                  <a:close/>
                  <a:moveTo>
                    <a:pt x="5480" y="14210"/>
                  </a:moveTo>
                  <a:cubicBezTo>
                    <a:pt x="5499" y="14240"/>
                    <a:pt x="5499" y="14240"/>
                    <a:pt x="5499" y="14240"/>
                  </a:cubicBezTo>
                  <a:cubicBezTo>
                    <a:pt x="5782" y="14489"/>
                    <a:pt x="5782" y="14489"/>
                    <a:pt x="5782" y="14489"/>
                  </a:cubicBezTo>
                  <a:cubicBezTo>
                    <a:pt x="5459" y="14749"/>
                    <a:pt x="5459" y="14749"/>
                    <a:pt x="5459" y="14749"/>
                  </a:cubicBezTo>
                  <a:cubicBezTo>
                    <a:pt x="5215" y="14385"/>
                    <a:pt x="5215" y="14385"/>
                    <a:pt x="5215" y="14385"/>
                  </a:cubicBezTo>
                  <a:lnTo>
                    <a:pt x="5480" y="14210"/>
                  </a:lnTo>
                  <a:close/>
                  <a:moveTo>
                    <a:pt x="5641" y="14500"/>
                  </a:moveTo>
                  <a:cubicBezTo>
                    <a:pt x="5648" y="14495"/>
                    <a:pt x="5648" y="14495"/>
                    <a:pt x="5648" y="14495"/>
                  </a:cubicBezTo>
                  <a:cubicBezTo>
                    <a:pt x="5457" y="14311"/>
                    <a:pt x="5457" y="14311"/>
                    <a:pt x="5457" y="14311"/>
                  </a:cubicBezTo>
                  <a:cubicBezTo>
                    <a:pt x="5324" y="14407"/>
                    <a:pt x="5324" y="14407"/>
                    <a:pt x="5324" y="14407"/>
                  </a:cubicBezTo>
                  <a:cubicBezTo>
                    <a:pt x="5487" y="14616"/>
                    <a:pt x="5487" y="14616"/>
                    <a:pt x="5487" y="14616"/>
                  </a:cubicBezTo>
                  <a:lnTo>
                    <a:pt x="5641" y="14500"/>
                  </a:lnTo>
                  <a:close/>
                  <a:moveTo>
                    <a:pt x="5456" y="14330"/>
                  </a:moveTo>
                  <a:cubicBezTo>
                    <a:pt x="5626" y="14493"/>
                    <a:pt x="5626" y="14493"/>
                    <a:pt x="5626" y="14493"/>
                  </a:cubicBezTo>
                  <a:cubicBezTo>
                    <a:pt x="5490" y="14595"/>
                    <a:pt x="5490" y="14595"/>
                    <a:pt x="5490" y="14595"/>
                  </a:cubicBezTo>
                  <a:cubicBezTo>
                    <a:pt x="5345" y="14410"/>
                    <a:pt x="5345" y="14410"/>
                    <a:pt x="5345" y="14410"/>
                  </a:cubicBezTo>
                  <a:lnTo>
                    <a:pt x="5456" y="14330"/>
                  </a:lnTo>
                  <a:close/>
                  <a:moveTo>
                    <a:pt x="5398" y="14813"/>
                  </a:moveTo>
                  <a:cubicBezTo>
                    <a:pt x="5404" y="14809"/>
                    <a:pt x="5404" y="14809"/>
                    <a:pt x="5404" y="14809"/>
                  </a:cubicBezTo>
                  <a:cubicBezTo>
                    <a:pt x="5161" y="14428"/>
                    <a:pt x="5161" y="14428"/>
                    <a:pt x="5161" y="14428"/>
                  </a:cubicBezTo>
                  <a:cubicBezTo>
                    <a:pt x="4758" y="14641"/>
                    <a:pt x="4758" y="14641"/>
                    <a:pt x="4758" y="14641"/>
                  </a:cubicBezTo>
                  <a:cubicBezTo>
                    <a:pt x="5057" y="15070"/>
                    <a:pt x="5057" y="15070"/>
                    <a:pt x="5057" y="15070"/>
                  </a:cubicBezTo>
                  <a:lnTo>
                    <a:pt x="5398" y="14813"/>
                  </a:lnTo>
                  <a:close/>
                  <a:moveTo>
                    <a:pt x="5156" y="14447"/>
                  </a:moveTo>
                  <a:cubicBezTo>
                    <a:pt x="5384" y="14806"/>
                    <a:pt x="5384" y="14806"/>
                    <a:pt x="5384" y="14806"/>
                  </a:cubicBezTo>
                  <a:cubicBezTo>
                    <a:pt x="5060" y="15049"/>
                    <a:pt x="5060" y="15049"/>
                    <a:pt x="5060" y="15049"/>
                  </a:cubicBezTo>
                  <a:cubicBezTo>
                    <a:pt x="4779" y="14646"/>
                    <a:pt x="4779" y="14646"/>
                    <a:pt x="4779" y="14646"/>
                  </a:cubicBezTo>
                  <a:lnTo>
                    <a:pt x="5156" y="14447"/>
                  </a:lnTo>
                  <a:close/>
                  <a:moveTo>
                    <a:pt x="5244" y="14797"/>
                  </a:moveTo>
                  <a:cubicBezTo>
                    <a:pt x="5108" y="14576"/>
                    <a:pt x="5108" y="14576"/>
                    <a:pt x="5108" y="14576"/>
                  </a:cubicBezTo>
                  <a:cubicBezTo>
                    <a:pt x="5104" y="14571"/>
                    <a:pt x="5104" y="14571"/>
                    <a:pt x="5104" y="14571"/>
                  </a:cubicBezTo>
                  <a:cubicBezTo>
                    <a:pt x="4930" y="14660"/>
                    <a:pt x="4930" y="14660"/>
                    <a:pt x="4930" y="14660"/>
                  </a:cubicBezTo>
                  <a:cubicBezTo>
                    <a:pt x="5089" y="14898"/>
                    <a:pt x="5089" y="14898"/>
                    <a:pt x="5089" y="14898"/>
                  </a:cubicBezTo>
                  <a:lnTo>
                    <a:pt x="5244" y="14797"/>
                  </a:lnTo>
                  <a:close/>
                  <a:moveTo>
                    <a:pt x="5099" y="14590"/>
                  </a:moveTo>
                  <a:cubicBezTo>
                    <a:pt x="5224" y="14793"/>
                    <a:pt x="5224" y="14793"/>
                    <a:pt x="5224" y="14793"/>
                  </a:cubicBezTo>
                  <a:cubicBezTo>
                    <a:pt x="5093" y="14878"/>
                    <a:pt x="5093" y="14878"/>
                    <a:pt x="5093" y="14878"/>
                  </a:cubicBezTo>
                  <a:cubicBezTo>
                    <a:pt x="4951" y="14666"/>
                    <a:pt x="4951" y="14666"/>
                    <a:pt x="4951" y="14666"/>
                  </a:cubicBezTo>
                  <a:lnTo>
                    <a:pt x="5099" y="14590"/>
                  </a:lnTo>
                  <a:close/>
                  <a:moveTo>
                    <a:pt x="4713" y="14673"/>
                  </a:moveTo>
                  <a:cubicBezTo>
                    <a:pt x="4327" y="14890"/>
                    <a:pt x="4327" y="14890"/>
                    <a:pt x="4327" y="14890"/>
                  </a:cubicBezTo>
                  <a:cubicBezTo>
                    <a:pt x="4581" y="15332"/>
                    <a:pt x="4581" y="15332"/>
                    <a:pt x="4581" y="15332"/>
                  </a:cubicBezTo>
                  <a:cubicBezTo>
                    <a:pt x="4988" y="15101"/>
                    <a:pt x="4988" y="15101"/>
                    <a:pt x="4988" y="15101"/>
                  </a:cubicBezTo>
                  <a:cubicBezTo>
                    <a:pt x="4995" y="15097"/>
                    <a:pt x="4995" y="15097"/>
                    <a:pt x="4995" y="15097"/>
                  </a:cubicBezTo>
                  <a:lnTo>
                    <a:pt x="4713" y="14673"/>
                  </a:lnTo>
                  <a:close/>
                  <a:moveTo>
                    <a:pt x="4586" y="15312"/>
                  </a:moveTo>
                  <a:cubicBezTo>
                    <a:pt x="4347" y="14895"/>
                    <a:pt x="4347" y="14895"/>
                    <a:pt x="4347" y="14895"/>
                  </a:cubicBezTo>
                  <a:cubicBezTo>
                    <a:pt x="4708" y="14693"/>
                    <a:pt x="4708" y="14693"/>
                    <a:pt x="4708" y="14693"/>
                  </a:cubicBezTo>
                  <a:cubicBezTo>
                    <a:pt x="4974" y="15092"/>
                    <a:pt x="4974" y="15092"/>
                    <a:pt x="4974" y="15092"/>
                  </a:cubicBezTo>
                  <a:lnTo>
                    <a:pt x="4586" y="15312"/>
                  </a:lnTo>
                  <a:close/>
                  <a:moveTo>
                    <a:pt x="4669" y="14832"/>
                  </a:moveTo>
                  <a:cubicBezTo>
                    <a:pt x="4494" y="14922"/>
                    <a:pt x="4494" y="14922"/>
                    <a:pt x="4494" y="14922"/>
                  </a:cubicBezTo>
                  <a:cubicBezTo>
                    <a:pt x="4633" y="15154"/>
                    <a:pt x="4633" y="15154"/>
                    <a:pt x="4633" y="15154"/>
                  </a:cubicBezTo>
                  <a:cubicBezTo>
                    <a:pt x="4810" y="15060"/>
                    <a:pt x="4810" y="15060"/>
                    <a:pt x="4810" y="15060"/>
                  </a:cubicBezTo>
                  <a:cubicBezTo>
                    <a:pt x="4673" y="14838"/>
                    <a:pt x="4673" y="14838"/>
                    <a:pt x="4673" y="14838"/>
                  </a:cubicBezTo>
                  <a:lnTo>
                    <a:pt x="4669" y="14832"/>
                  </a:lnTo>
                  <a:close/>
                  <a:moveTo>
                    <a:pt x="4639" y="15134"/>
                  </a:moveTo>
                  <a:cubicBezTo>
                    <a:pt x="4515" y="14928"/>
                    <a:pt x="4515" y="14928"/>
                    <a:pt x="4515" y="14928"/>
                  </a:cubicBezTo>
                  <a:cubicBezTo>
                    <a:pt x="4664" y="14851"/>
                    <a:pt x="4664" y="14851"/>
                    <a:pt x="4664" y="14851"/>
                  </a:cubicBezTo>
                  <a:cubicBezTo>
                    <a:pt x="4789" y="15055"/>
                    <a:pt x="4789" y="15055"/>
                    <a:pt x="4789" y="15055"/>
                  </a:cubicBezTo>
                  <a:lnTo>
                    <a:pt x="4639" y="15134"/>
                  </a:lnTo>
                  <a:close/>
                  <a:moveTo>
                    <a:pt x="4088" y="15024"/>
                  </a:moveTo>
                  <a:cubicBezTo>
                    <a:pt x="4158" y="15130"/>
                    <a:pt x="4158" y="15130"/>
                    <a:pt x="4158" y="15130"/>
                  </a:cubicBezTo>
                  <a:cubicBezTo>
                    <a:pt x="4242" y="15090"/>
                    <a:pt x="4242" y="15090"/>
                    <a:pt x="4242" y="15090"/>
                  </a:cubicBezTo>
                  <a:cubicBezTo>
                    <a:pt x="4287" y="15162"/>
                    <a:pt x="4287" y="15162"/>
                    <a:pt x="4287" y="15162"/>
                  </a:cubicBezTo>
                  <a:cubicBezTo>
                    <a:pt x="4362" y="15115"/>
                    <a:pt x="4362" y="15115"/>
                    <a:pt x="4362" y="15115"/>
                  </a:cubicBezTo>
                  <a:cubicBezTo>
                    <a:pt x="4368" y="15111"/>
                    <a:pt x="4368" y="15111"/>
                    <a:pt x="4368" y="15111"/>
                  </a:cubicBezTo>
                  <a:cubicBezTo>
                    <a:pt x="4267" y="14933"/>
                    <a:pt x="4267" y="14933"/>
                    <a:pt x="4267" y="14933"/>
                  </a:cubicBezTo>
                  <a:lnTo>
                    <a:pt x="4088" y="15024"/>
                  </a:lnTo>
                  <a:close/>
                  <a:moveTo>
                    <a:pt x="4292" y="15142"/>
                  </a:moveTo>
                  <a:cubicBezTo>
                    <a:pt x="4248" y="15071"/>
                    <a:pt x="4248" y="15071"/>
                    <a:pt x="4248" y="15071"/>
                  </a:cubicBezTo>
                  <a:cubicBezTo>
                    <a:pt x="4163" y="15111"/>
                    <a:pt x="4163" y="15111"/>
                    <a:pt x="4163" y="15111"/>
                  </a:cubicBezTo>
                  <a:cubicBezTo>
                    <a:pt x="4109" y="15030"/>
                    <a:pt x="4109" y="15030"/>
                    <a:pt x="4109" y="15030"/>
                  </a:cubicBezTo>
                  <a:cubicBezTo>
                    <a:pt x="4262" y="14953"/>
                    <a:pt x="4262" y="14953"/>
                    <a:pt x="4262" y="14953"/>
                  </a:cubicBezTo>
                  <a:cubicBezTo>
                    <a:pt x="4348" y="15106"/>
                    <a:pt x="4348" y="15106"/>
                    <a:pt x="4348" y="15106"/>
                  </a:cubicBezTo>
                  <a:lnTo>
                    <a:pt x="4292" y="15142"/>
                  </a:lnTo>
                  <a:close/>
                  <a:moveTo>
                    <a:pt x="5119" y="15478"/>
                  </a:moveTo>
                  <a:cubicBezTo>
                    <a:pt x="5120" y="15598"/>
                    <a:pt x="5120" y="15598"/>
                    <a:pt x="5120" y="15598"/>
                  </a:cubicBezTo>
                  <a:cubicBezTo>
                    <a:pt x="5433" y="15508"/>
                    <a:pt x="5433" y="15508"/>
                    <a:pt x="5433" y="15508"/>
                  </a:cubicBezTo>
                  <a:cubicBezTo>
                    <a:pt x="5368" y="15150"/>
                    <a:pt x="5368" y="15150"/>
                    <a:pt x="5368" y="15150"/>
                  </a:cubicBezTo>
                  <a:cubicBezTo>
                    <a:pt x="5367" y="15144"/>
                    <a:pt x="5367" y="15144"/>
                    <a:pt x="5367" y="15144"/>
                  </a:cubicBezTo>
                  <a:cubicBezTo>
                    <a:pt x="5094" y="15156"/>
                    <a:pt x="5094" y="15156"/>
                    <a:pt x="5094" y="15156"/>
                  </a:cubicBezTo>
                  <a:cubicBezTo>
                    <a:pt x="4997" y="15286"/>
                    <a:pt x="4997" y="15286"/>
                    <a:pt x="4997" y="15286"/>
                  </a:cubicBezTo>
                  <a:cubicBezTo>
                    <a:pt x="5003" y="15506"/>
                    <a:pt x="5003" y="15506"/>
                    <a:pt x="5003" y="15506"/>
                  </a:cubicBezTo>
                  <a:lnTo>
                    <a:pt x="5119" y="15478"/>
                  </a:lnTo>
                  <a:close/>
                  <a:moveTo>
                    <a:pt x="5102" y="15170"/>
                  </a:moveTo>
                  <a:cubicBezTo>
                    <a:pt x="5355" y="15159"/>
                    <a:pt x="5355" y="15159"/>
                    <a:pt x="5355" y="15159"/>
                  </a:cubicBezTo>
                  <a:cubicBezTo>
                    <a:pt x="5416" y="15498"/>
                    <a:pt x="5416" y="15498"/>
                    <a:pt x="5416" y="15498"/>
                  </a:cubicBezTo>
                  <a:cubicBezTo>
                    <a:pt x="5135" y="15578"/>
                    <a:pt x="5135" y="15578"/>
                    <a:pt x="5135" y="15578"/>
                  </a:cubicBezTo>
                  <a:cubicBezTo>
                    <a:pt x="5134" y="15460"/>
                    <a:pt x="5134" y="15460"/>
                    <a:pt x="5134" y="15460"/>
                  </a:cubicBezTo>
                  <a:cubicBezTo>
                    <a:pt x="5017" y="15487"/>
                    <a:pt x="5017" y="15487"/>
                    <a:pt x="5017" y="15487"/>
                  </a:cubicBezTo>
                  <a:cubicBezTo>
                    <a:pt x="5012" y="15290"/>
                    <a:pt x="5012" y="15290"/>
                    <a:pt x="5012" y="15290"/>
                  </a:cubicBezTo>
                  <a:lnTo>
                    <a:pt x="5102" y="15170"/>
                  </a:lnTo>
                  <a:close/>
                  <a:moveTo>
                    <a:pt x="4875" y="16039"/>
                  </a:moveTo>
                  <a:cubicBezTo>
                    <a:pt x="5052" y="16037"/>
                    <a:pt x="5052" y="16037"/>
                    <a:pt x="5052" y="16037"/>
                  </a:cubicBezTo>
                  <a:cubicBezTo>
                    <a:pt x="5075" y="15546"/>
                    <a:pt x="5075" y="15546"/>
                    <a:pt x="5075" y="15546"/>
                  </a:cubicBezTo>
                  <a:cubicBezTo>
                    <a:pt x="5076" y="15536"/>
                    <a:pt x="5076" y="15536"/>
                    <a:pt x="5076" y="15536"/>
                  </a:cubicBezTo>
                  <a:cubicBezTo>
                    <a:pt x="4963" y="15562"/>
                    <a:pt x="4963" y="15562"/>
                    <a:pt x="4963" y="15562"/>
                  </a:cubicBezTo>
                  <a:cubicBezTo>
                    <a:pt x="4932" y="15434"/>
                    <a:pt x="4932" y="15434"/>
                    <a:pt x="4932" y="15434"/>
                  </a:cubicBezTo>
                  <a:cubicBezTo>
                    <a:pt x="4726" y="15529"/>
                    <a:pt x="4726" y="15529"/>
                    <a:pt x="4726" y="15529"/>
                  </a:cubicBezTo>
                  <a:cubicBezTo>
                    <a:pt x="4766" y="15752"/>
                    <a:pt x="4766" y="15752"/>
                    <a:pt x="4766" y="15752"/>
                  </a:cubicBezTo>
                  <a:cubicBezTo>
                    <a:pt x="4873" y="15767"/>
                    <a:pt x="4873" y="15767"/>
                    <a:pt x="4873" y="15767"/>
                  </a:cubicBezTo>
                  <a:lnTo>
                    <a:pt x="4875" y="16039"/>
                  </a:lnTo>
                  <a:close/>
                  <a:moveTo>
                    <a:pt x="4742" y="15538"/>
                  </a:moveTo>
                  <a:cubicBezTo>
                    <a:pt x="4922" y="15455"/>
                    <a:pt x="4922" y="15455"/>
                    <a:pt x="4922" y="15455"/>
                  </a:cubicBezTo>
                  <a:cubicBezTo>
                    <a:pt x="4952" y="15580"/>
                    <a:pt x="4952" y="15580"/>
                    <a:pt x="4952" y="15580"/>
                  </a:cubicBezTo>
                  <a:cubicBezTo>
                    <a:pt x="5060" y="15555"/>
                    <a:pt x="5060" y="15555"/>
                    <a:pt x="5060" y="15555"/>
                  </a:cubicBezTo>
                  <a:cubicBezTo>
                    <a:pt x="5038" y="16022"/>
                    <a:pt x="5038" y="16022"/>
                    <a:pt x="5038" y="16022"/>
                  </a:cubicBezTo>
                  <a:cubicBezTo>
                    <a:pt x="4890" y="16024"/>
                    <a:pt x="4890" y="16024"/>
                    <a:pt x="4890" y="16024"/>
                  </a:cubicBezTo>
                  <a:cubicBezTo>
                    <a:pt x="4888" y="15755"/>
                    <a:pt x="4888" y="15755"/>
                    <a:pt x="4888" y="15755"/>
                  </a:cubicBezTo>
                  <a:cubicBezTo>
                    <a:pt x="4779" y="15739"/>
                    <a:pt x="4779" y="15739"/>
                    <a:pt x="4779" y="15739"/>
                  </a:cubicBezTo>
                  <a:lnTo>
                    <a:pt x="4742" y="15538"/>
                  </a:lnTo>
                  <a:close/>
                  <a:moveTo>
                    <a:pt x="5600" y="13950"/>
                  </a:moveTo>
                  <a:cubicBezTo>
                    <a:pt x="5632" y="13644"/>
                    <a:pt x="5632" y="13644"/>
                    <a:pt x="5632" y="13644"/>
                  </a:cubicBezTo>
                  <a:cubicBezTo>
                    <a:pt x="5633" y="13637"/>
                    <a:pt x="5633" y="13637"/>
                    <a:pt x="5633" y="13637"/>
                  </a:cubicBezTo>
                  <a:cubicBezTo>
                    <a:pt x="5385" y="13593"/>
                    <a:pt x="5385" y="13593"/>
                    <a:pt x="5385" y="13593"/>
                  </a:cubicBezTo>
                  <a:cubicBezTo>
                    <a:pt x="5270" y="13839"/>
                    <a:pt x="5270" y="13839"/>
                    <a:pt x="5270" y="13839"/>
                  </a:cubicBezTo>
                  <a:cubicBezTo>
                    <a:pt x="5031" y="14009"/>
                    <a:pt x="5031" y="14009"/>
                    <a:pt x="5031" y="14009"/>
                  </a:cubicBezTo>
                  <a:cubicBezTo>
                    <a:pt x="5161" y="14274"/>
                    <a:pt x="5161" y="14274"/>
                    <a:pt x="5161" y="14274"/>
                  </a:cubicBezTo>
                  <a:lnTo>
                    <a:pt x="5600" y="13950"/>
                  </a:lnTo>
                  <a:close/>
                  <a:moveTo>
                    <a:pt x="5281" y="13849"/>
                  </a:moveTo>
                  <a:cubicBezTo>
                    <a:pt x="5394" y="13609"/>
                    <a:pt x="5394" y="13609"/>
                    <a:pt x="5394" y="13609"/>
                  </a:cubicBezTo>
                  <a:cubicBezTo>
                    <a:pt x="5617" y="13649"/>
                    <a:pt x="5617" y="13649"/>
                    <a:pt x="5617" y="13649"/>
                  </a:cubicBezTo>
                  <a:cubicBezTo>
                    <a:pt x="5586" y="13942"/>
                    <a:pt x="5586" y="13942"/>
                    <a:pt x="5586" y="13942"/>
                  </a:cubicBezTo>
                  <a:cubicBezTo>
                    <a:pt x="5166" y="14252"/>
                    <a:pt x="5166" y="14252"/>
                    <a:pt x="5166" y="14252"/>
                  </a:cubicBezTo>
                  <a:cubicBezTo>
                    <a:pt x="5050" y="14014"/>
                    <a:pt x="5050" y="14014"/>
                    <a:pt x="5050" y="14014"/>
                  </a:cubicBezTo>
                  <a:lnTo>
                    <a:pt x="5281" y="13849"/>
                  </a:lnTo>
                  <a:close/>
                  <a:moveTo>
                    <a:pt x="5487" y="13776"/>
                  </a:moveTo>
                  <a:cubicBezTo>
                    <a:pt x="5486" y="13771"/>
                    <a:pt x="5486" y="13771"/>
                    <a:pt x="5486" y="13771"/>
                  </a:cubicBezTo>
                  <a:cubicBezTo>
                    <a:pt x="5425" y="13767"/>
                    <a:pt x="5425" y="13767"/>
                    <a:pt x="5425" y="13767"/>
                  </a:cubicBezTo>
                  <a:cubicBezTo>
                    <a:pt x="5370" y="13895"/>
                    <a:pt x="5370" y="13895"/>
                    <a:pt x="5370" y="13895"/>
                  </a:cubicBezTo>
                  <a:cubicBezTo>
                    <a:pt x="5096" y="14014"/>
                    <a:pt x="5096" y="14014"/>
                    <a:pt x="5096" y="14014"/>
                  </a:cubicBezTo>
                  <a:cubicBezTo>
                    <a:pt x="5116" y="14070"/>
                    <a:pt x="5116" y="14070"/>
                    <a:pt x="5116" y="14070"/>
                  </a:cubicBezTo>
                  <a:cubicBezTo>
                    <a:pt x="5529" y="13950"/>
                    <a:pt x="5529" y="13950"/>
                    <a:pt x="5529" y="13950"/>
                  </a:cubicBezTo>
                  <a:lnTo>
                    <a:pt x="5487" y="13776"/>
                  </a:lnTo>
                  <a:close/>
                  <a:moveTo>
                    <a:pt x="5115" y="14023"/>
                  </a:moveTo>
                  <a:cubicBezTo>
                    <a:pt x="5381" y="13906"/>
                    <a:pt x="5381" y="13906"/>
                    <a:pt x="5381" y="13906"/>
                  </a:cubicBezTo>
                  <a:cubicBezTo>
                    <a:pt x="5434" y="13782"/>
                    <a:pt x="5434" y="13782"/>
                    <a:pt x="5434" y="13782"/>
                  </a:cubicBezTo>
                  <a:cubicBezTo>
                    <a:pt x="5474" y="13785"/>
                    <a:pt x="5474" y="13785"/>
                    <a:pt x="5474" y="13785"/>
                  </a:cubicBezTo>
                  <a:cubicBezTo>
                    <a:pt x="5511" y="13940"/>
                    <a:pt x="5511" y="13940"/>
                    <a:pt x="5511" y="13940"/>
                  </a:cubicBezTo>
                  <a:cubicBezTo>
                    <a:pt x="5125" y="14052"/>
                    <a:pt x="5125" y="14052"/>
                    <a:pt x="5125" y="14052"/>
                  </a:cubicBezTo>
                  <a:lnTo>
                    <a:pt x="5115" y="14023"/>
                  </a:lnTo>
                  <a:close/>
                  <a:moveTo>
                    <a:pt x="4964" y="14380"/>
                  </a:moveTo>
                  <a:cubicBezTo>
                    <a:pt x="4963" y="14306"/>
                    <a:pt x="4963" y="14306"/>
                    <a:pt x="4963" y="14306"/>
                  </a:cubicBezTo>
                  <a:cubicBezTo>
                    <a:pt x="5039" y="14266"/>
                    <a:pt x="5039" y="14266"/>
                    <a:pt x="5039" y="14266"/>
                  </a:cubicBezTo>
                  <a:cubicBezTo>
                    <a:pt x="4988" y="14199"/>
                    <a:pt x="4988" y="14199"/>
                    <a:pt x="4988" y="14199"/>
                  </a:cubicBezTo>
                  <a:cubicBezTo>
                    <a:pt x="4984" y="14195"/>
                    <a:pt x="4984" y="14195"/>
                    <a:pt x="4984" y="14195"/>
                  </a:cubicBezTo>
                  <a:cubicBezTo>
                    <a:pt x="4893" y="14228"/>
                    <a:pt x="4893" y="14228"/>
                    <a:pt x="4893" y="14228"/>
                  </a:cubicBezTo>
                  <a:cubicBezTo>
                    <a:pt x="4881" y="14314"/>
                    <a:pt x="4881" y="14314"/>
                    <a:pt x="4881" y="14314"/>
                  </a:cubicBezTo>
                  <a:cubicBezTo>
                    <a:pt x="4593" y="14436"/>
                    <a:pt x="4593" y="14436"/>
                    <a:pt x="4593" y="14436"/>
                  </a:cubicBezTo>
                  <a:cubicBezTo>
                    <a:pt x="4628" y="14583"/>
                    <a:pt x="4628" y="14583"/>
                    <a:pt x="4628" y="14583"/>
                  </a:cubicBezTo>
                  <a:lnTo>
                    <a:pt x="4964" y="14380"/>
                  </a:lnTo>
                  <a:close/>
                  <a:moveTo>
                    <a:pt x="4895" y="14325"/>
                  </a:moveTo>
                  <a:cubicBezTo>
                    <a:pt x="4906" y="14238"/>
                    <a:pt x="4906" y="14238"/>
                    <a:pt x="4906" y="14238"/>
                  </a:cubicBezTo>
                  <a:cubicBezTo>
                    <a:pt x="4979" y="14212"/>
                    <a:pt x="4979" y="14212"/>
                    <a:pt x="4979" y="14212"/>
                  </a:cubicBezTo>
                  <a:cubicBezTo>
                    <a:pt x="5016" y="14261"/>
                    <a:pt x="5016" y="14261"/>
                    <a:pt x="5016" y="14261"/>
                  </a:cubicBezTo>
                  <a:cubicBezTo>
                    <a:pt x="4949" y="14298"/>
                    <a:pt x="4949" y="14298"/>
                    <a:pt x="4949" y="14298"/>
                  </a:cubicBezTo>
                  <a:cubicBezTo>
                    <a:pt x="4949" y="14372"/>
                    <a:pt x="4949" y="14372"/>
                    <a:pt x="4949" y="14372"/>
                  </a:cubicBezTo>
                  <a:cubicBezTo>
                    <a:pt x="4638" y="14560"/>
                    <a:pt x="4638" y="14560"/>
                    <a:pt x="4638" y="14560"/>
                  </a:cubicBezTo>
                  <a:cubicBezTo>
                    <a:pt x="4610" y="14445"/>
                    <a:pt x="4610" y="14445"/>
                    <a:pt x="4610" y="14445"/>
                  </a:cubicBezTo>
                  <a:lnTo>
                    <a:pt x="4895" y="14325"/>
                  </a:lnTo>
                  <a:close/>
                  <a:moveTo>
                    <a:pt x="4472" y="14373"/>
                  </a:moveTo>
                  <a:cubicBezTo>
                    <a:pt x="4358" y="14429"/>
                    <a:pt x="4358" y="14429"/>
                    <a:pt x="4358" y="14429"/>
                  </a:cubicBezTo>
                  <a:cubicBezTo>
                    <a:pt x="4331" y="14417"/>
                    <a:pt x="4331" y="14417"/>
                    <a:pt x="4331" y="14417"/>
                  </a:cubicBezTo>
                  <a:cubicBezTo>
                    <a:pt x="3994" y="14819"/>
                    <a:pt x="3994" y="14819"/>
                    <a:pt x="3994" y="14819"/>
                  </a:cubicBezTo>
                  <a:cubicBezTo>
                    <a:pt x="4029" y="14911"/>
                    <a:pt x="4029" y="14911"/>
                    <a:pt x="4029" y="14911"/>
                  </a:cubicBezTo>
                  <a:cubicBezTo>
                    <a:pt x="4167" y="14825"/>
                    <a:pt x="4167" y="14825"/>
                    <a:pt x="4167" y="14825"/>
                  </a:cubicBezTo>
                  <a:cubicBezTo>
                    <a:pt x="4352" y="14552"/>
                    <a:pt x="4352" y="14552"/>
                    <a:pt x="4352" y="14552"/>
                  </a:cubicBezTo>
                  <a:cubicBezTo>
                    <a:pt x="4376" y="14591"/>
                    <a:pt x="4376" y="14591"/>
                    <a:pt x="4376" y="14591"/>
                  </a:cubicBezTo>
                  <a:cubicBezTo>
                    <a:pt x="4521" y="14527"/>
                    <a:pt x="4521" y="14527"/>
                    <a:pt x="4521" y="14527"/>
                  </a:cubicBezTo>
                  <a:cubicBezTo>
                    <a:pt x="4475" y="14381"/>
                    <a:pt x="4475" y="14381"/>
                    <a:pt x="4475" y="14381"/>
                  </a:cubicBezTo>
                  <a:lnTo>
                    <a:pt x="4472" y="14373"/>
                  </a:lnTo>
                  <a:close/>
                  <a:moveTo>
                    <a:pt x="4382" y="14572"/>
                  </a:moveTo>
                  <a:cubicBezTo>
                    <a:pt x="4352" y="14526"/>
                    <a:pt x="4352" y="14526"/>
                    <a:pt x="4352" y="14526"/>
                  </a:cubicBezTo>
                  <a:cubicBezTo>
                    <a:pt x="4156" y="14815"/>
                    <a:pt x="4156" y="14815"/>
                    <a:pt x="4156" y="14815"/>
                  </a:cubicBezTo>
                  <a:cubicBezTo>
                    <a:pt x="4037" y="14889"/>
                    <a:pt x="4037" y="14889"/>
                    <a:pt x="4037" y="14889"/>
                  </a:cubicBezTo>
                  <a:cubicBezTo>
                    <a:pt x="4011" y="14822"/>
                    <a:pt x="4011" y="14822"/>
                    <a:pt x="4011" y="14822"/>
                  </a:cubicBezTo>
                  <a:cubicBezTo>
                    <a:pt x="4335" y="14435"/>
                    <a:pt x="4335" y="14435"/>
                    <a:pt x="4335" y="14435"/>
                  </a:cubicBezTo>
                  <a:cubicBezTo>
                    <a:pt x="4359" y="14446"/>
                    <a:pt x="4359" y="14446"/>
                    <a:pt x="4359" y="14446"/>
                  </a:cubicBezTo>
                  <a:cubicBezTo>
                    <a:pt x="4463" y="14394"/>
                    <a:pt x="4463" y="14394"/>
                    <a:pt x="4463" y="14394"/>
                  </a:cubicBezTo>
                  <a:cubicBezTo>
                    <a:pt x="4503" y="14519"/>
                    <a:pt x="4503" y="14519"/>
                    <a:pt x="4503" y="14519"/>
                  </a:cubicBezTo>
                  <a:lnTo>
                    <a:pt x="4382" y="14572"/>
                  </a:lnTo>
                  <a:close/>
                  <a:moveTo>
                    <a:pt x="3820" y="14336"/>
                  </a:moveTo>
                  <a:cubicBezTo>
                    <a:pt x="4019" y="14387"/>
                    <a:pt x="4019" y="14387"/>
                    <a:pt x="4019" y="14387"/>
                  </a:cubicBezTo>
                  <a:cubicBezTo>
                    <a:pt x="4155" y="14340"/>
                    <a:pt x="4155" y="14340"/>
                    <a:pt x="4155" y="14340"/>
                  </a:cubicBezTo>
                  <a:cubicBezTo>
                    <a:pt x="4175" y="14333"/>
                    <a:pt x="4175" y="14333"/>
                    <a:pt x="4175" y="14333"/>
                  </a:cubicBezTo>
                  <a:cubicBezTo>
                    <a:pt x="3628" y="14143"/>
                    <a:pt x="3628" y="14143"/>
                    <a:pt x="3628" y="14143"/>
                  </a:cubicBezTo>
                  <a:cubicBezTo>
                    <a:pt x="3617" y="14240"/>
                    <a:pt x="3617" y="14240"/>
                    <a:pt x="3617" y="14240"/>
                  </a:cubicBezTo>
                  <a:cubicBezTo>
                    <a:pt x="3494" y="14202"/>
                    <a:pt x="3494" y="14202"/>
                    <a:pt x="3494" y="14202"/>
                  </a:cubicBezTo>
                  <a:cubicBezTo>
                    <a:pt x="3479" y="14319"/>
                    <a:pt x="3479" y="14319"/>
                    <a:pt x="3479" y="14319"/>
                  </a:cubicBezTo>
                  <a:cubicBezTo>
                    <a:pt x="3655" y="14365"/>
                    <a:pt x="3655" y="14365"/>
                    <a:pt x="3655" y="14365"/>
                  </a:cubicBezTo>
                  <a:lnTo>
                    <a:pt x="3820" y="14336"/>
                  </a:lnTo>
                  <a:close/>
                  <a:moveTo>
                    <a:pt x="3506" y="14222"/>
                  </a:moveTo>
                  <a:cubicBezTo>
                    <a:pt x="3630" y="14259"/>
                    <a:pt x="3630" y="14259"/>
                    <a:pt x="3630" y="14259"/>
                  </a:cubicBezTo>
                  <a:cubicBezTo>
                    <a:pt x="3640" y="14163"/>
                    <a:pt x="3640" y="14163"/>
                    <a:pt x="3640" y="14163"/>
                  </a:cubicBezTo>
                  <a:cubicBezTo>
                    <a:pt x="4130" y="14333"/>
                    <a:pt x="4130" y="14333"/>
                    <a:pt x="4130" y="14333"/>
                  </a:cubicBezTo>
                  <a:cubicBezTo>
                    <a:pt x="4018" y="14372"/>
                    <a:pt x="4018" y="14372"/>
                    <a:pt x="4018" y="14372"/>
                  </a:cubicBezTo>
                  <a:cubicBezTo>
                    <a:pt x="3821" y="14321"/>
                    <a:pt x="3821" y="14321"/>
                    <a:pt x="3821" y="14321"/>
                  </a:cubicBezTo>
                  <a:cubicBezTo>
                    <a:pt x="3656" y="14350"/>
                    <a:pt x="3656" y="14350"/>
                    <a:pt x="3656" y="14350"/>
                  </a:cubicBezTo>
                  <a:cubicBezTo>
                    <a:pt x="3495" y="14308"/>
                    <a:pt x="3495" y="14308"/>
                    <a:pt x="3495" y="14308"/>
                  </a:cubicBezTo>
                  <a:lnTo>
                    <a:pt x="3506" y="14222"/>
                  </a:lnTo>
                  <a:close/>
                  <a:moveTo>
                    <a:pt x="3892" y="14710"/>
                  </a:moveTo>
                  <a:cubicBezTo>
                    <a:pt x="4010" y="14549"/>
                    <a:pt x="4010" y="14549"/>
                    <a:pt x="4010" y="14549"/>
                  </a:cubicBezTo>
                  <a:cubicBezTo>
                    <a:pt x="4016" y="14541"/>
                    <a:pt x="4016" y="14541"/>
                    <a:pt x="4016" y="14541"/>
                  </a:cubicBezTo>
                  <a:cubicBezTo>
                    <a:pt x="3879" y="14503"/>
                    <a:pt x="3879" y="14503"/>
                    <a:pt x="3879" y="14503"/>
                  </a:cubicBezTo>
                  <a:cubicBezTo>
                    <a:pt x="3834" y="14715"/>
                    <a:pt x="3834" y="14715"/>
                    <a:pt x="3834" y="14715"/>
                  </a:cubicBezTo>
                  <a:lnTo>
                    <a:pt x="3892" y="14710"/>
                  </a:lnTo>
                  <a:close/>
                  <a:moveTo>
                    <a:pt x="3890" y="14521"/>
                  </a:moveTo>
                  <a:cubicBezTo>
                    <a:pt x="3991" y="14549"/>
                    <a:pt x="3991" y="14549"/>
                    <a:pt x="3991" y="14549"/>
                  </a:cubicBezTo>
                  <a:cubicBezTo>
                    <a:pt x="3885" y="14696"/>
                    <a:pt x="3885" y="14696"/>
                    <a:pt x="3885" y="14696"/>
                  </a:cubicBezTo>
                  <a:cubicBezTo>
                    <a:pt x="3852" y="14698"/>
                    <a:pt x="3852" y="14698"/>
                    <a:pt x="3852" y="14698"/>
                  </a:cubicBezTo>
                  <a:lnTo>
                    <a:pt x="3890" y="14521"/>
                  </a:lnTo>
                  <a:close/>
                  <a:moveTo>
                    <a:pt x="3576" y="14523"/>
                  </a:moveTo>
                  <a:cubicBezTo>
                    <a:pt x="3768" y="14562"/>
                    <a:pt x="3768" y="14562"/>
                    <a:pt x="3768" y="14562"/>
                  </a:cubicBezTo>
                  <a:cubicBezTo>
                    <a:pt x="3778" y="14493"/>
                    <a:pt x="3778" y="14493"/>
                    <a:pt x="3778" y="14493"/>
                  </a:cubicBezTo>
                  <a:cubicBezTo>
                    <a:pt x="3779" y="14486"/>
                    <a:pt x="3779" y="14486"/>
                    <a:pt x="3779" y="14486"/>
                  </a:cubicBezTo>
                  <a:cubicBezTo>
                    <a:pt x="3449" y="14407"/>
                    <a:pt x="3449" y="14407"/>
                    <a:pt x="3449" y="14407"/>
                  </a:cubicBezTo>
                  <a:cubicBezTo>
                    <a:pt x="3417" y="14690"/>
                    <a:pt x="3417" y="14690"/>
                    <a:pt x="3417" y="14690"/>
                  </a:cubicBezTo>
                  <a:cubicBezTo>
                    <a:pt x="3556" y="14699"/>
                    <a:pt x="3556" y="14699"/>
                    <a:pt x="3556" y="14699"/>
                  </a:cubicBezTo>
                  <a:lnTo>
                    <a:pt x="3576" y="14523"/>
                  </a:lnTo>
                  <a:close/>
                  <a:moveTo>
                    <a:pt x="3434" y="14677"/>
                  </a:moveTo>
                  <a:cubicBezTo>
                    <a:pt x="3462" y="14425"/>
                    <a:pt x="3462" y="14425"/>
                    <a:pt x="3462" y="14425"/>
                  </a:cubicBezTo>
                  <a:cubicBezTo>
                    <a:pt x="3762" y="14497"/>
                    <a:pt x="3762" y="14497"/>
                    <a:pt x="3762" y="14497"/>
                  </a:cubicBezTo>
                  <a:cubicBezTo>
                    <a:pt x="3755" y="14545"/>
                    <a:pt x="3755" y="14545"/>
                    <a:pt x="3755" y="14545"/>
                  </a:cubicBezTo>
                  <a:cubicBezTo>
                    <a:pt x="3564" y="14506"/>
                    <a:pt x="3564" y="14506"/>
                    <a:pt x="3564" y="14506"/>
                  </a:cubicBezTo>
                  <a:cubicBezTo>
                    <a:pt x="3543" y="14684"/>
                    <a:pt x="3543" y="14684"/>
                    <a:pt x="3543" y="14684"/>
                  </a:cubicBezTo>
                  <a:lnTo>
                    <a:pt x="3434" y="14677"/>
                  </a:lnTo>
                  <a:close/>
                  <a:moveTo>
                    <a:pt x="3045" y="12405"/>
                  </a:moveTo>
                  <a:cubicBezTo>
                    <a:pt x="3226" y="12473"/>
                    <a:pt x="3226" y="12473"/>
                    <a:pt x="3226" y="12473"/>
                  </a:cubicBezTo>
                  <a:cubicBezTo>
                    <a:pt x="3293" y="12330"/>
                    <a:pt x="3293" y="12330"/>
                    <a:pt x="3293" y="12330"/>
                  </a:cubicBezTo>
                  <a:cubicBezTo>
                    <a:pt x="3297" y="12319"/>
                    <a:pt x="3297" y="12319"/>
                    <a:pt x="3297" y="12319"/>
                  </a:cubicBezTo>
                  <a:cubicBezTo>
                    <a:pt x="3092" y="12315"/>
                    <a:pt x="3092" y="12315"/>
                    <a:pt x="3092" y="12315"/>
                  </a:cubicBezTo>
                  <a:lnTo>
                    <a:pt x="3045" y="12405"/>
                  </a:lnTo>
                  <a:close/>
                  <a:moveTo>
                    <a:pt x="3274" y="12334"/>
                  </a:moveTo>
                  <a:cubicBezTo>
                    <a:pt x="3219" y="12454"/>
                    <a:pt x="3219" y="12454"/>
                    <a:pt x="3219" y="12454"/>
                  </a:cubicBezTo>
                  <a:cubicBezTo>
                    <a:pt x="3066" y="12397"/>
                    <a:pt x="3066" y="12397"/>
                    <a:pt x="3066" y="12397"/>
                  </a:cubicBezTo>
                  <a:cubicBezTo>
                    <a:pt x="3101" y="12330"/>
                    <a:pt x="3101" y="12330"/>
                    <a:pt x="3101" y="12330"/>
                  </a:cubicBezTo>
                  <a:lnTo>
                    <a:pt x="3274" y="12334"/>
                  </a:lnTo>
                  <a:close/>
                  <a:moveTo>
                    <a:pt x="3209" y="12938"/>
                  </a:moveTo>
                  <a:cubicBezTo>
                    <a:pt x="3209" y="12938"/>
                    <a:pt x="3286" y="12946"/>
                    <a:pt x="3315" y="12948"/>
                  </a:cubicBezTo>
                  <a:cubicBezTo>
                    <a:pt x="3291" y="13006"/>
                    <a:pt x="3233" y="13064"/>
                    <a:pt x="3180" y="13107"/>
                  </a:cubicBezTo>
                  <a:cubicBezTo>
                    <a:pt x="3123" y="13153"/>
                    <a:pt x="3072" y="13182"/>
                    <a:pt x="3072" y="13182"/>
                  </a:cubicBezTo>
                  <a:cubicBezTo>
                    <a:pt x="3069" y="13184"/>
                    <a:pt x="3068" y="13188"/>
                    <a:pt x="3070" y="13192"/>
                  </a:cubicBezTo>
                  <a:cubicBezTo>
                    <a:pt x="3086" y="13221"/>
                    <a:pt x="3086" y="13221"/>
                    <a:pt x="3086" y="13221"/>
                  </a:cubicBezTo>
                  <a:cubicBezTo>
                    <a:pt x="3087" y="13224"/>
                    <a:pt x="3090" y="13225"/>
                    <a:pt x="3092" y="13225"/>
                  </a:cubicBezTo>
                  <a:cubicBezTo>
                    <a:pt x="3093" y="13225"/>
                    <a:pt x="3093" y="13225"/>
                    <a:pt x="3094" y="13225"/>
                  </a:cubicBezTo>
                  <a:cubicBezTo>
                    <a:pt x="3094" y="13224"/>
                    <a:pt x="3391" y="13164"/>
                    <a:pt x="3483" y="13058"/>
                  </a:cubicBezTo>
                  <a:cubicBezTo>
                    <a:pt x="3529" y="13004"/>
                    <a:pt x="3548" y="12953"/>
                    <a:pt x="3548" y="12907"/>
                  </a:cubicBezTo>
                  <a:cubicBezTo>
                    <a:pt x="3548" y="12863"/>
                    <a:pt x="3530" y="12825"/>
                    <a:pt x="3504" y="12794"/>
                  </a:cubicBezTo>
                  <a:cubicBezTo>
                    <a:pt x="3450" y="12731"/>
                    <a:pt x="3346" y="12658"/>
                    <a:pt x="3346" y="12658"/>
                  </a:cubicBezTo>
                  <a:cubicBezTo>
                    <a:pt x="3343" y="12656"/>
                    <a:pt x="3338" y="12656"/>
                    <a:pt x="3336" y="12659"/>
                  </a:cubicBezTo>
                  <a:cubicBezTo>
                    <a:pt x="3284" y="12726"/>
                    <a:pt x="3284" y="12726"/>
                    <a:pt x="3284" y="12726"/>
                  </a:cubicBezTo>
                  <a:cubicBezTo>
                    <a:pt x="3283" y="12730"/>
                    <a:pt x="3283" y="12730"/>
                    <a:pt x="3283" y="12730"/>
                  </a:cubicBezTo>
                  <a:cubicBezTo>
                    <a:pt x="3276" y="12834"/>
                    <a:pt x="3276" y="12834"/>
                    <a:pt x="3276" y="12834"/>
                  </a:cubicBezTo>
                  <a:cubicBezTo>
                    <a:pt x="3219" y="12830"/>
                    <a:pt x="3219" y="12830"/>
                    <a:pt x="3219" y="12830"/>
                  </a:cubicBezTo>
                  <a:cubicBezTo>
                    <a:pt x="3215" y="12830"/>
                    <a:pt x="3211" y="12833"/>
                    <a:pt x="3211" y="12836"/>
                  </a:cubicBezTo>
                  <a:cubicBezTo>
                    <a:pt x="3202" y="12930"/>
                    <a:pt x="3202" y="12930"/>
                    <a:pt x="3202" y="12930"/>
                  </a:cubicBezTo>
                  <a:cubicBezTo>
                    <a:pt x="3202" y="12934"/>
                    <a:pt x="3205" y="12937"/>
                    <a:pt x="3209" y="12938"/>
                  </a:cubicBezTo>
                  <a:close/>
                  <a:moveTo>
                    <a:pt x="3225" y="12845"/>
                  </a:moveTo>
                  <a:cubicBezTo>
                    <a:pt x="3282" y="12849"/>
                    <a:pt x="3282" y="12849"/>
                    <a:pt x="3282" y="12849"/>
                  </a:cubicBezTo>
                  <a:cubicBezTo>
                    <a:pt x="3286" y="12849"/>
                    <a:pt x="3290" y="12846"/>
                    <a:pt x="3290" y="12842"/>
                  </a:cubicBezTo>
                  <a:cubicBezTo>
                    <a:pt x="3297" y="12734"/>
                    <a:pt x="3297" y="12734"/>
                    <a:pt x="3297" y="12734"/>
                  </a:cubicBezTo>
                  <a:cubicBezTo>
                    <a:pt x="3343" y="12674"/>
                    <a:pt x="3343" y="12674"/>
                    <a:pt x="3343" y="12674"/>
                  </a:cubicBezTo>
                  <a:cubicBezTo>
                    <a:pt x="3366" y="12690"/>
                    <a:pt x="3448" y="12751"/>
                    <a:pt x="3493" y="12803"/>
                  </a:cubicBezTo>
                  <a:cubicBezTo>
                    <a:pt x="3517" y="12832"/>
                    <a:pt x="3533" y="12867"/>
                    <a:pt x="3533" y="12907"/>
                  </a:cubicBezTo>
                  <a:cubicBezTo>
                    <a:pt x="3533" y="12948"/>
                    <a:pt x="3516" y="12996"/>
                    <a:pt x="3472" y="13048"/>
                  </a:cubicBezTo>
                  <a:cubicBezTo>
                    <a:pt x="3430" y="13097"/>
                    <a:pt x="3334" y="13139"/>
                    <a:pt x="3250" y="13167"/>
                  </a:cubicBezTo>
                  <a:cubicBezTo>
                    <a:pt x="3178" y="13190"/>
                    <a:pt x="3114" y="13205"/>
                    <a:pt x="3096" y="13209"/>
                  </a:cubicBezTo>
                  <a:cubicBezTo>
                    <a:pt x="3086" y="13191"/>
                    <a:pt x="3086" y="13191"/>
                    <a:pt x="3086" y="13191"/>
                  </a:cubicBezTo>
                  <a:cubicBezTo>
                    <a:pt x="3121" y="13170"/>
                    <a:pt x="3291" y="13063"/>
                    <a:pt x="3332" y="12943"/>
                  </a:cubicBezTo>
                  <a:cubicBezTo>
                    <a:pt x="3332" y="12943"/>
                    <a:pt x="3332" y="12943"/>
                    <a:pt x="3332" y="12943"/>
                  </a:cubicBezTo>
                  <a:cubicBezTo>
                    <a:pt x="3332" y="12942"/>
                    <a:pt x="3332" y="12942"/>
                    <a:pt x="3333" y="12941"/>
                  </a:cubicBezTo>
                  <a:cubicBezTo>
                    <a:pt x="3333" y="12938"/>
                    <a:pt x="3331" y="12934"/>
                    <a:pt x="3327" y="12933"/>
                  </a:cubicBezTo>
                  <a:cubicBezTo>
                    <a:pt x="3326" y="12933"/>
                    <a:pt x="3325" y="12933"/>
                    <a:pt x="3324" y="12933"/>
                  </a:cubicBezTo>
                  <a:cubicBezTo>
                    <a:pt x="3323" y="12933"/>
                    <a:pt x="3323" y="12933"/>
                    <a:pt x="3323" y="12933"/>
                  </a:cubicBezTo>
                  <a:cubicBezTo>
                    <a:pt x="3312" y="12933"/>
                    <a:pt x="3241" y="12926"/>
                    <a:pt x="3218" y="12924"/>
                  </a:cubicBezTo>
                  <a:lnTo>
                    <a:pt x="3225" y="12845"/>
                  </a:lnTo>
                  <a:close/>
                  <a:moveTo>
                    <a:pt x="3225" y="12974"/>
                  </a:moveTo>
                  <a:cubicBezTo>
                    <a:pt x="3147" y="12958"/>
                    <a:pt x="3147" y="12958"/>
                    <a:pt x="3147" y="12958"/>
                  </a:cubicBezTo>
                  <a:cubicBezTo>
                    <a:pt x="3146" y="12892"/>
                    <a:pt x="3146" y="12892"/>
                    <a:pt x="3146" y="12892"/>
                  </a:cubicBezTo>
                  <a:cubicBezTo>
                    <a:pt x="2945" y="13085"/>
                    <a:pt x="2945" y="13085"/>
                    <a:pt x="2945" y="13085"/>
                  </a:cubicBezTo>
                  <a:cubicBezTo>
                    <a:pt x="3029" y="13137"/>
                    <a:pt x="3029" y="13137"/>
                    <a:pt x="3029" y="13137"/>
                  </a:cubicBezTo>
                  <a:cubicBezTo>
                    <a:pt x="3213" y="12984"/>
                    <a:pt x="3213" y="12984"/>
                    <a:pt x="3213" y="12984"/>
                  </a:cubicBezTo>
                  <a:lnTo>
                    <a:pt x="3225" y="12974"/>
                  </a:lnTo>
                  <a:close/>
                  <a:moveTo>
                    <a:pt x="3028" y="13119"/>
                  </a:moveTo>
                  <a:cubicBezTo>
                    <a:pt x="2969" y="13082"/>
                    <a:pt x="2969" y="13082"/>
                    <a:pt x="2969" y="13082"/>
                  </a:cubicBezTo>
                  <a:cubicBezTo>
                    <a:pt x="3132" y="12926"/>
                    <a:pt x="3132" y="12926"/>
                    <a:pt x="3132" y="12926"/>
                  </a:cubicBezTo>
                  <a:cubicBezTo>
                    <a:pt x="3133" y="12970"/>
                    <a:pt x="3133" y="12970"/>
                    <a:pt x="3133" y="12970"/>
                  </a:cubicBezTo>
                  <a:cubicBezTo>
                    <a:pt x="3192" y="12982"/>
                    <a:pt x="3192" y="12982"/>
                    <a:pt x="3192" y="12982"/>
                  </a:cubicBezTo>
                  <a:lnTo>
                    <a:pt x="3028" y="13119"/>
                  </a:lnTo>
                  <a:close/>
                  <a:moveTo>
                    <a:pt x="3401" y="13286"/>
                  </a:moveTo>
                  <a:cubicBezTo>
                    <a:pt x="3403" y="13289"/>
                    <a:pt x="3406" y="13291"/>
                    <a:pt x="3410" y="13293"/>
                  </a:cubicBezTo>
                  <a:cubicBezTo>
                    <a:pt x="3416" y="13298"/>
                    <a:pt x="3422" y="13302"/>
                    <a:pt x="3422" y="13302"/>
                  </a:cubicBezTo>
                  <a:cubicBezTo>
                    <a:pt x="3424" y="13304"/>
                    <a:pt x="3424" y="13304"/>
                    <a:pt x="3424" y="13304"/>
                  </a:cubicBezTo>
                  <a:cubicBezTo>
                    <a:pt x="3747" y="13274"/>
                    <a:pt x="3747" y="13274"/>
                    <a:pt x="3747" y="13274"/>
                  </a:cubicBezTo>
                  <a:cubicBezTo>
                    <a:pt x="3747" y="13133"/>
                    <a:pt x="3747" y="13133"/>
                    <a:pt x="3747" y="13133"/>
                  </a:cubicBezTo>
                  <a:cubicBezTo>
                    <a:pt x="3747" y="13127"/>
                    <a:pt x="3747" y="13127"/>
                    <a:pt x="3747" y="13127"/>
                  </a:cubicBezTo>
                  <a:cubicBezTo>
                    <a:pt x="3623" y="13086"/>
                    <a:pt x="3623" y="13086"/>
                    <a:pt x="3623" y="13086"/>
                  </a:cubicBezTo>
                  <a:cubicBezTo>
                    <a:pt x="3620" y="13091"/>
                    <a:pt x="3620" y="13091"/>
                    <a:pt x="3620" y="13091"/>
                  </a:cubicBezTo>
                  <a:cubicBezTo>
                    <a:pt x="3620" y="13091"/>
                    <a:pt x="3609" y="13113"/>
                    <a:pt x="3590" y="13139"/>
                  </a:cubicBezTo>
                  <a:cubicBezTo>
                    <a:pt x="3571" y="13166"/>
                    <a:pt x="3545" y="13196"/>
                    <a:pt x="3516" y="13214"/>
                  </a:cubicBezTo>
                  <a:cubicBezTo>
                    <a:pt x="3457" y="13251"/>
                    <a:pt x="3405" y="13269"/>
                    <a:pt x="3403" y="13268"/>
                  </a:cubicBezTo>
                  <a:cubicBezTo>
                    <a:pt x="3402" y="13268"/>
                    <a:pt x="3401" y="13268"/>
                    <a:pt x="3398" y="13269"/>
                  </a:cubicBezTo>
                  <a:cubicBezTo>
                    <a:pt x="3396" y="13271"/>
                    <a:pt x="3394" y="13274"/>
                    <a:pt x="3395" y="13276"/>
                  </a:cubicBezTo>
                  <a:cubicBezTo>
                    <a:pt x="3396" y="13284"/>
                    <a:pt x="3398" y="13283"/>
                    <a:pt x="3401" y="13286"/>
                  </a:cubicBezTo>
                  <a:close/>
                  <a:moveTo>
                    <a:pt x="3524" y="13227"/>
                  </a:moveTo>
                  <a:cubicBezTo>
                    <a:pt x="3578" y="13193"/>
                    <a:pt x="3619" y="13124"/>
                    <a:pt x="3630" y="13104"/>
                  </a:cubicBezTo>
                  <a:cubicBezTo>
                    <a:pt x="3732" y="13138"/>
                    <a:pt x="3732" y="13138"/>
                    <a:pt x="3732" y="13138"/>
                  </a:cubicBezTo>
                  <a:cubicBezTo>
                    <a:pt x="3732" y="13261"/>
                    <a:pt x="3732" y="13261"/>
                    <a:pt x="3732" y="13261"/>
                  </a:cubicBezTo>
                  <a:cubicBezTo>
                    <a:pt x="3428" y="13288"/>
                    <a:pt x="3428" y="13288"/>
                    <a:pt x="3428" y="13288"/>
                  </a:cubicBezTo>
                  <a:cubicBezTo>
                    <a:pt x="3425" y="13287"/>
                    <a:pt x="3420" y="13283"/>
                    <a:pt x="3416" y="13280"/>
                  </a:cubicBezTo>
                  <a:cubicBezTo>
                    <a:pt x="3437" y="13273"/>
                    <a:pt x="3476" y="13256"/>
                    <a:pt x="3524" y="13227"/>
                  </a:cubicBezTo>
                  <a:close/>
                  <a:moveTo>
                    <a:pt x="3846" y="13385"/>
                  </a:moveTo>
                  <a:cubicBezTo>
                    <a:pt x="3748" y="13349"/>
                    <a:pt x="3748" y="13349"/>
                    <a:pt x="3748" y="13349"/>
                  </a:cubicBezTo>
                  <a:cubicBezTo>
                    <a:pt x="3746" y="13348"/>
                    <a:pt x="3746" y="13348"/>
                    <a:pt x="3746" y="13348"/>
                  </a:cubicBezTo>
                  <a:cubicBezTo>
                    <a:pt x="3383" y="13361"/>
                    <a:pt x="3383" y="13361"/>
                    <a:pt x="3383" y="13361"/>
                  </a:cubicBezTo>
                  <a:cubicBezTo>
                    <a:pt x="3322" y="13302"/>
                    <a:pt x="3322" y="13302"/>
                    <a:pt x="3322" y="13302"/>
                  </a:cubicBezTo>
                  <a:cubicBezTo>
                    <a:pt x="3130" y="13330"/>
                    <a:pt x="3130" y="13330"/>
                    <a:pt x="3130" y="13330"/>
                  </a:cubicBezTo>
                  <a:cubicBezTo>
                    <a:pt x="3329" y="13464"/>
                    <a:pt x="3329" y="13464"/>
                    <a:pt x="3329" y="13464"/>
                  </a:cubicBezTo>
                  <a:lnTo>
                    <a:pt x="3846" y="13385"/>
                  </a:lnTo>
                  <a:close/>
                  <a:moveTo>
                    <a:pt x="3317" y="13318"/>
                  </a:moveTo>
                  <a:cubicBezTo>
                    <a:pt x="3377" y="13376"/>
                    <a:pt x="3377" y="13376"/>
                    <a:pt x="3377" y="13376"/>
                  </a:cubicBezTo>
                  <a:cubicBezTo>
                    <a:pt x="3744" y="13363"/>
                    <a:pt x="3744" y="13363"/>
                    <a:pt x="3744" y="13363"/>
                  </a:cubicBezTo>
                  <a:cubicBezTo>
                    <a:pt x="3788" y="13379"/>
                    <a:pt x="3788" y="13379"/>
                    <a:pt x="3788" y="13379"/>
                  </a:cubicBezTo>
                  <a:cubicBezTo>
                    <a:pt x="3333" y="13449"/>
                    <a:pt x="3333" y="13449"/>
                    <a:pt x="3333" y="13449"/>
                  </a:cubicBezTo>
                  <a:cubicBezTo>
                    <a:pt x="3170" y="13339"/>
                    <a:pt x="3170" y="13339"/>
                    <a:pt x="3170" y="13339"/>
                  </a:cubicBezTo>
                  <a:lnTo>
                    <a:pt x="3317" y="13318"/>
                  </a:lnTo>
                  <a:close/>
                  <a:moveTo>
                    <a:pt x="4049" y="14073"/>
                  </a:moveTo>
                  <a:cubicBezTo>
                    <a:pt x="4074" y="13978"/>
                    <a:pt x="4074" y="13978"/>
                    <a:pt x="4074" y="13978"/>
                  </a:cubicBezTo>
                  <a:cubicBezTo>
                    <a:pt x="3873" y="13766"/>
                    <a:pt x="3873" y="13766"/>
                    <a:pt x="3873" y="13766"/>
                  </a:cubicBezTo>
                  <a:cubicBezTo>
                    <a:pt x="3883" y="13464"/>
                    <a:pt x="3883" y="13464"/>
                    <a:pt x="3883" y="13464"/>
                  </a:cubicBezTo>
                  <a:cubicBezTo>
                    <a:pt x="3883" y="13455"/>
                    <a:pt x="3883" y="13455"/>
                    <a:pt x="3883" y="13455"/>
                  </a:cubicBezTo>
                  <a:cubicBezTo>
                    <a:pt x="3648" y="13485"/>
                    <a:pt x="3648" y="13485"/>
                    <a:pt x="3648" y="13485"/>
                  </a:cubicBezTo>
                  <a:cubicBezTo>
                    <a:pt x="3612" y="13992"/>
                    <a:pt x="3612" y="13992"/>
                    <a:pt x="3612" y="13992"/>
                  </a:cubicBezTo>
                  <a:cubicBezTo>
                    <a:pt x="4109" y="14183"/>
                    <a:pt x="4109" y="14183"/>
                    <a:pt x="4109" y="14183"/>
                  </a:cubicBezTo>
                  <a:lnTo>
                    <a:pt x="4049" y="14073"/>
                  </a:lnTo>
                  <a:close/>
                  <a:moveTo>
                    <a:pt x="3662" y="13498"/>
                  </a:moveTo>
                  <a:cubicBezTo>
                    <a:pt x="3868" y="13472"/>
                    <a:pt x="3868" y="13472"/>
                    <a:pt x="3868" y="13472"/>
                  </a:cubicBezTo>
                  <a:cubicBezTo>
                    <a:pt x="3858" y="13772"/>
                    <a:pt x="3858" y="13772"/>
                    <a:pt x="3858" y="13772"/>
                  </a:cubicBezTo>
                  <a:cubicBezTo>
                    <a:pt x="4057" y="13982"/>
                    <a:pt x="4057" y="13982"/>
                    <a:pt x="4057" y="13982"/>
                  </a:cubicBezTo>
                  <a:cubicBezTo>
                    <a:pt x="4033" y="14075"/>
                    <a:pt x="4033" y="14075"/>
                    <a:pt x="4033" y="14075"/>
                  </a:cubicBezTo>
                  <a:cubicBezTo>
                    <a:pt x="4077" y="14155"/>
                    <a:pt x="4077" y="14155"/>
                    <a:pt x="4077" y="14155"/>
                  </a:cubicBezTo>
                  <a:cubicBezTo>
                    <a:pt x="3627" y="13983"/>
                    <a:pt x="3627" y="13983"/>
                    <a:pt x="3627" y="13983"/>
                  </a:cubicBezTo>
                  <a:lnTo>
                    <a:pt x="3662" y="13498"/>
                  </a:lnTo>
                  <a:close/>
                  <a:moveTo>
                    <a:pt x="3796" y="13569"/>
                  </a:moveTo>
                  <a:cubicBezTo>
                    <a:pt x="3722" y="13577"/>
                    <a:pt x="3722" y="13577"/>
                    <a:pt x="3722" y="13577"/>
                  </a:cubicBezTo>
                  <a:cubicBezTo>
                    <a:pt x="3706" y="13953"/>
                    <a:pt x="3706" y="13953"/>
                    <a:pt x="3706" y="13953"/>
                  </a:cubicBezTo>
                  <a:cubicBezTo>
                    <a:pt x="3904" y="14030"/>
                    <a:pt x="3904" y="14030"/>
                    <a:pt x="3904" y="14030"/>
                  </a:cubicBezTo>
                  <a:cubicBezTo>
                    <a:pt x="3928" y="13966"/>
                    <a:pt x="3928" y="13966"/>
                    <a:pt x="3928" y="13966"/>
                  </a:cubicBezTo>
                  <a:cubicBezTo>
                    <a:pt x="3929" y="13962"/>
                    <a:pt x="3929" y="13962"/>
                    <a:pt x="3929" y="13962"/>
                  </a:cubicBezTo>
                  <a:cubicBezTo>
                    <a:pt x="3785" y="13809"/>
                    <a:pt x="3785" y="13809"/>
                    <a:pt x="3785" y="13809"/>
                  </a:cubicBezTo>
                  <a:lnTo>
                    <a:pt x="3796" y="13569"/>
                  </a:lnTo>
                  <a:close/>
                  <a:moveTo>
                    <a:pt x="3912" y="13966"/>
                  </a:moveTo>
                  <a:cubicBezTo>
                    <a:pt x="3895" y="14011"/>
                    <a:pt x="3895" y="14011"/>
                    <a:pt x="3895" y="14011"/>
                  </a:cubicBezTo>
                  <a:cubicBezTo>
                    <a:pt x="3722" y="13943"/>
                    <a:pt x="3722" y="13943"/>
                    <a:pt x="3722" y="13943"/>
                  </a:cubicBezTo>
                  <a:cubicBezTo>
                    <a:pt x="3737" y="13591"/>
                    <a:pt x="3737" y="13591"/>
                    <a:pt x="3737" y="13591"/>
                  </a:cubicBezTo>
                  <a:cubicBezTo>
                    <a:pt x="3781" y="13586"/>
                    <a:pt x="3781" y="13586"/>
                    <a:pt x="3781" y="13586"/>
                  </a:cubicBezTo>
                  <a:cubicBezTo>
                    <a:pt x="3770" y="13814"/>
                    <a:pt x="3770" y="13814"/>
                    <a:pt x="3770" y="13814"/>
                  </a:cubicBezTo>
                  <a:lnTo>
                    <a:pt x="3912" y="13966"/>
                  </a:lnTo>
                  <a:close/>
                  <a:moveTo>
                    <a:pt x="3287" y="13643"/>
                  </a:moveTo>
                  <a:cubicBezTo>
                    <a:pt x="3379" y="13642"/>
                    <a:pt x="3379" y="13642"/>
                    <a:pt x="3379" y="13642"/>
                  </a:cubicBezTo>
                  <a:cubicBezTo>
                    <a:pt x="3403" y="13577"/>
                    <a:pt x="3403" y="13577"/>
                    <a:pt x="3403" y="13577"/>
                  </a:cubicBezTo>
                  <a:cubicBezTo>
                    <a:pt x="3472" y="13573"/>
                    <a:pt x="3472" y="13573"/>
                    <a:pt x="3472" y="13573"/>
                  </a:cubicBezTo>
                  <a:cubicBezTo>
                    <a:pt x="3400" y="13836"/>
                    <a:pt x="3400" y="13836"/>
                    <a:pt x="3400" y="13836"/>
                  </a:cubicBezTo>
                  <a:cubicBezTo>
                    <a:pt x="3342" y="13819"/>
                    <a:pt x="3342" y="13819"/>
                    <a:pt x="3342" y="13819"/>
                  </a:cubicBezTo>
                  <a:cubicBezTo>
                    <a:pt x="3352" y="13733"/>
                    <a:pt x="3352" y="13733"/>
                    <a:pt x="3352" y="13733"/>
                  </a:cubicBezTo>
                  <a:cubicBezTo>
                    <a:pt x="3279" y="13693"/>
                    <a:pt x="3279" y="13693"/>
                    <a:pt x="3279" y="13693"/>
                  </a:cubicBezTo>
                  <a:cubicBezTo>
                    <a:pt x="3205" y="13844"/>
                    <a:pt x="3205" y="13844"/>
                    <a:pt x="3205" y="13844"/>
                  </a:cubicBezTo>
                  <a:cubicBezTo>
                    <a:pt x="3542" y="13964"/>
                    <a:pt x="3542" y="13964"/>
                    <a:pt x="3542" y="13964"/>
                  </a:cubicBezTo>
                  <a:cubicBezTo>
                    <a:pt x="3574" y="13501"/>
                    <a:pt x="3574" y="13501"/>
                    <a:pt x="3574" y="13501"/>
                  </a:cubicBezTo>
                  <a:cubicBezTo>
                    <a:pt x="3574" y="13492"/>
                    <a:pt x="3574" y="13492"/>
                    <a:pt x="3574" y="13492"/>
                  </a:cubicBezTo>
                  <a:cubicBezTo>
                    <a:pt x="3346" y="13517"/>
                    <a:pt x="3346" y="13517"/>
                    <a:pt x="3346" y="13517"/>
                  </a:cubicBezTo>
                  <a:lnTo>
                    <a:pt x="3287" y="13643"/>
                  </a:lnTo>
                  <a:close/>
                  <a:moveTo>
                    <a:pt x="3558" y="13509"/>
                  </a:moveTo>
                  <a:cubicBezTo>
                    <a:pt x="3529" y="13944"/>
                    <a:pt x="3529" y="13944"/>
                    <a:pt x="3529" y="13944"/>
                  </a:cubicBezTo>
                  <a:cubicBezTo>
                    <a:pt x="3226" y="13835"/>
                    <a:pt x="3226" y="13835"/>
                    <a:pt x="3226" y="13835"/>
                  </a:cubicBezTo>
                  <a:cubicBezTo>
                    <a:pt x="3286" y="13713"/>
                    <a:pt x="3286" y="13713"/>
                    <a:pt x="3286" y="13713"/>
                  </a:cubicBezTo>
                  <a:cubicBezTo>
                    <a:pt x="3336" y="13741"/>
                    <a:pt x="3336" y="13741"/>
                    <a:pt x="3336" y="13741"/>
                  </a:cubicBezTo>
                  <a:cubicBezTo>
                    <a:pt x="3326" y="13830"/>
                    <a:pt x="3326" y="13830"/>
                    <a:pt x="3326" y="13830"/>
                  </a:cubicBezTo>
                  <a:cubicBezTo>
                    <a:pt x="3410" y="13854"/>
                    <a:pt x="3410" y="13854"/>
                    <a:pt x="3410" y="13854"/>
                  </a:cubicBezTo>
                  <a:cubicBezTo>
                    <a:pt x="3492" y="13557"/>
                    <a:pt x="3492" y="13557"/>
                    <a:pt x="3492" y="13557"/>
                  </a:cubicBezTo>
                  <a:cubicBezTo>
                    <a:pt x="3392" y="13563"/>
                    <a:pt x="3392" y="13563"/>
                    <a:pt x="3392" y="13563"/>
                  </a:cubicBezTo>
                  <a:cubicBezTo>
                    <a:pt x="3369" y="13627"/>
                    <a:pt x="3369" y="13627"/>
                    <a:pt x="3369" y="13627"/>
                  </a:cubicBezTo>
                  <a:cubicBezTo>
                    <a:pt x="3311" y="13628"/>
                    <a:pt x="3311" y="13628"/>
                    <a:pt x="3311" y="13628"/>
                  </a:cubicBezTo>
                  <a:cubicBezTo>
                    <a:pt x="3355" y="13531"/>
                    <a:pt x="3355" y="13531"/>
                    <a:pt x="3355" y="13531"/>
                  </a:cubicBezTo>
                  <a:lnTo>
                    <a:pt x="3558" y="13509"/>
                  </a:lnTo>
                  <a:close/>
                  <a:moveTo>
                    <a:pt x="2895" y="13412"/>
                  </a:moveTo>
                  <a:cubicBezTo>
                    <a:pt x="2896" y="13413"/>
                    <a:pt x="2897" y="13413"/>
                    <a:pt x="2899" y="13414"/>
                  </a:cubicBezTo>
                  <a:cubicBezTo>
                    <a:pt x="2902" y="13417"/>
                    <a:pt x="2906" y="13419"/>
                    <a:pt x="2911" y="13422"/>
                  </a:cubicBezTo>
                  <a:cubicBezTo>
                    <a:pt x="2921" y="13428"/>
                    <a:pt x="2933" y="13436"/>
                    <a:pt x="2946" y="13443"/>
                  </a:cubicBezTo>
                  <a:cubicBezTo>
                    <a:pt x="2972" y="13458"/>
                    <a:pt x="2997" y="13472"/>
                    <a:pt x="2997" y="13472"/>
                  </a:cubicBezTo>
                  <a:cubicBezTo>
                    <a:pt x="3000" y="13474"/>
                    <a:pt x="3000" y="13474"/>
                    <a:pt x="3000" y="13474"/>
                  </a:cubicBezTo>
                  <a:cubicBezTo>
                    <a:pt x="3077" y="13446"/>
                    <a:pt x="3077" y="13446"/>
                    <a:pt x="3077" y="13446"/>
                  </a:cubicBezTo>
                  <a:cubicBezTo>
                    <a:pt x="3225" y="13609"/>
                    <a:pt x="3225" y="13609"/>
                    <a:pt x="3225" y="13609"/>
                  </a:cubicBezTo>
                  <a:cubicBezTo>
                    <a:pt x="3276" y="13502"/>
                    <a:pt x="3276" y="13502"/>
                    <a:pt x="3276" y="13502"/>
                  </a:cubicBezTo>
                  <a:cubicBezTo>
                    <a:pt x="3279" y="13496"/>
                    <a:pt x="3279" y="13496"/>
                    <a:pt x="3279" y="13496"/>
                  </a:cubicBezTo>
                  <a:cubicBezTo>
                    <a:pt x="3061" y="13350"/>
                    <a:pt x="3061" y="13350"/>
                    <a:pt x="3061" y="13350"/>
                  </a:cubicBezTo>
                  <a:cubicBezTo>
                    <a:pt x="3058" y="13350"/>
                    <a:pt x="3058" y="13350"/>
                    <a:pt x="3058" y="13350"/>
                  </a:cubicBezTo>
                  <a:cubicBezTo>
                    <a:pt x="3058" y="13350"/>
                    <a:pt x="2933" y="13369"/>
                    <a:pt x="2894" y="13399"/>
                  </a:cubicBezTo>
                  <a:cubicBezTo>
                    <a:pt x="2889" y="13402"/>
                    <a:pt x="2889" y="13402"/>
                    <a:pt x="2889" y="13402"/>
                  </a:cubicBezTo>
                  <a:cubicBezTo>
                    <a:pt x="2891" y="13407"/>
                    <a:pt x="2891" y="13407"/>
                    <a:pt x="2891" y="13407"/>
                  </a:cubicBezTo>
                  <a:cubicBezTo>
                    <a:pt x="2893" y="13411"/>
                    <a:pt x="2894" y="13411"/>
                    <a:pt x="2895" y="13412"/>
                  </a:cubicBezTo>
                  <a:close/>
                  <a:moveTo>
                    <a:pt x="2994" y="13378"/>
                  </a:moveTo>
                  <a:cubicBezTo>
                    <a:pt x="3023" y="13371"/>
                    <a:pt x="3049" y="13367"/>
                    <a:pt x="3058" y="13365"/>
                  </a:cubicBezTo>
                  <a:cubicBezTo>
                    <a:pt x="3260" y="13501"/>
                    <a:pt x="3260" y="13501"/>
                    <a:pt x="3260" y="13501"/>
                  </a:cubicBezTo>
                  <a:cubicBezTo>
                    <a:pt x="3221" y="13583"/>
                    <a:pt x="3221" y="13583"/>
                    <a:pt x="3221" y="13583"/>
                  </a:cubicBezTo>
                  <a:cubicBezTo>
                    <a:pt x="3081" y="13429"/>
                    <a:pt x="3081" y="13429"/>
                    <a:pt x="3081" y="13429"/>
                  </a:cubicBezTo>
                  <a:cubicBezTo>
                    <a:pt x="3001" y="13458"/>
                    <a:pt x="3001" y="13458"/>
                    <a:pt x="3001" y="13458"/>
                  </a:cubicBezTo>
                  <a:cubicBezTo>
                    <a:pt x="2994" y="13454"/>
                    <a:pt x="2975" y="13443"/>
                    <a:pt x="2956" y="13432"/>
                  </a:cubicBezTo>
                  <a:cubicBezTo>
                    <a:pt x="2939" y="13422"/>
                    <a:pt x="2921" y="13411"/>
                    <a:pt x="2911" y="13405"/>
                  </a:cubicBezTo>
                  <a:cubicBezTo>
                    <a:pt x="2930" y="13395"/>
                    <a:pt x="2964" y="13385"/>
                    <a:pt x="2994" y="13378"/>
                  </a:cubicBezTo>
                  <a:close/>
                  <a:moveTo>
                    <a:pt x="3209" y="13635"/>
                  </a:moveTo>
                  <a:cubicBezTo>
                    <a:pt x="3158" y="13593"/>
                    <a:pt x="3158" y="13593"/>
                    <a:pt x="3158" y="13593"/>
                  </a:cubicBezTo>
                  <a:cubicBezTo>
                    <a:pt x="3050" y="13658"/>
                    <a:pt x="3050" y="13658"/>
                    <a:pt x="3050" y="13658"/>
                  </a:cubicBezTo>
                  <a:cubicBezTo>
                    <a:pt x="2955" y="13612"/>
                    <a:pt x="2955" y="13612"/>
                    <a:pt x="2955" y="13612"/>
                  </a:cubicBezTo>
                  <a:cubicBezTo>
                    <a:pt x="2974" y="13504"/>
                    <a:pt x="2974" y="13504"/>
                    <a:pt x="2974" y="13504"/>
                  </a:cubicBezTo>
                  <a:cubicBezTo>
                    <a:pt x="2866" y="13433"/>
                    <a:pt x="2866" y="13433"/>
                    <a:pt x="2866" y="13433"/>
                  </a:cubicBezTo>
                  <a:cubicBezTo>
                    <a:pt x="2862" y="13438"/>
                    <a:pt x="2862" y="13438"/>
                    <a:pt x="2862" y="13438"/>
                  </a:cubicBezTo>
                  <a:cubicBezTo>
                    <a:pt x="2861" y="13438"/>
                    <a:pt x="2822" y="13484"/>
                    <a:pt x="2808" y="13533"/>
                  </a:cubicBezTo>
                  <a:cubicBezTo>
                    <a:pt x="2793" y="13580"/>
                    <a:pt x="2772" y="13688"/>
                    <a:pt x="2772" y="13688"/>
                  </a:cubicBezTo>
                  <a:cubicBezTo>
                    <a:pt x="2770" y="13694"/>
                    <a:pt x="2770" y="13694"/>
                    <a:pt x="2770" y="13694"/>
                  </a:cubicBezTo>
                  <a:cubicBezTo>
                    <a:pt x="3138" y="13821"/>
                    <a:pt x="3138" y="13821"/>
                    <a:pt x="3138" y="13821"/>
                  </a:cubicBezTo>
                  <a:cubicBezTo>
                    <a:pt x="3207" y="13640"/>
                    <a:pt x="3207" y="13640"/>
                    <a:pt x="3207" y="13640"/>
                  </a:cubicBezTo>
                  <a:lnTo>
                    <a:pt x="3209" y="13635"/>
                  </a:lnTo>
                  <a:close/>
                  <a:moveTo>
                    <a:pt x="3130" y="13802"/>
                  </a:moveTo>
                  <a:cubicBezTo>
                    <a:pt x="2787" y="13684"/>
                    <a:pt x="2787" y="13684"/>
                    <a:pt x="2787" y="13684"/>
                  </a:cubicBezTo>
                  <a:cubicBezTo>
                    <a:pt x="2792" y="13661"/>
                    <a:pt x="2810" y="13576"/>
                    <a:pt x="2822" y="13537"/>
                  </a:cubicBezTo>
                  <a:cubicBezTo>
                    <a:pt x="2832" y="13502"/>
                    <a:pt x="2859" y="13465"/>
                    <a:pt x="2869" y="13452"/>
                  </a:cubicBezTo>
                  <a:cubicBezTo>
                    <a:pt x="2958" y="13511"/>
                    <a:pt x="2958" y="13511"/>
                    <a:pt x="2958" y="13511"/>
                  </a:cubicBezTo>
                  <a:cubicBezTo>
                    <a:pt x="2938" y="13620"/>
                    <a:pt x="2938" y="13620"/>
                    <a:pt x="2938" y="13620"/>
                  </a:cubicBezTo>
                  <a:cubicBezTo>
                    <a:pt x="3051" y="13675"/>
                    <a:pt x="3051" y="13675"/>
                    <a:pt x="3051" y="13675"/>
                  </a:cubicBezTo>
                  <a:cubicBezTo>
                    <a:pt x="3156" y="13611"/>
                    <a:pt x="3156" y="13611"/>
                    <a:pt x="3156" y="13611"/>
                  </a:cubicBezTo>
                  <a:cubicBezTo>
                    <a:pt x="3191" y="13640"/>
                    <a:pt x="3191" y="13640"/>
                    <a:pt x="3191" y="13640"/>
                  </a:cubicBezTo>
                  <a:lnTo>
                    <a:pt x="3130" y="13802"/>
                  </a:lnTo>
                  <a:close/>
                  <a:moveTo>
                    <a:pt x="3007" y="13530"/>
                  </a:moveTo>
                  <a:cubicBezTo>
                    <a:pt x="2994" y="13578"/>
                    <a:pt x="2994" y="13578"/>
                    <a:pt x="2994" y="13578"/>
                  </a:cubicBezTo>
                  <a:cubicBezTo>
                    <a:pt x="3051" y="13604"/>
                    <a:pt x="3051" y="13604"/>
                    <a:pt x="3051" y="13604"/>
                  </a:cubicBezTo>
                  <a:cubicBezTo>
                    <a:pt x="3091" y="13562"/>
                    <a:pt x="3091" y="13562"/>
                    <a:pt x="3091" y="13562"/>
                  </a:cubicBezTo>
                  <a:cubicBezTo>
                    <a:pt x="3096" y="13556"/>
                    <a:pt x="3096" y="13556"/>
                    <a:pt x="3096" y="13556"/>
                  </a:cubicBezTo>
                  <a:cubicBezTo>
                    <a:pt x="3044" y="13511"/>
                    <a:pt x="3044" y="13511"/>
                    <a:pt x="3044" y="13511"/>
                  </a:cubicBezTo>
                  <a:lnTo>
                    <a:pt x="3007" y="13530"/>
                  </a:lnTo>
                  <a:close/>
                  <a:moveTo>
                    <a:pt x="3047" y="13586"/>
                  </a:moveTo>
                  <a:cubicBezTo>
                    <a:pt x="3012" y="13570"/>
                    <a:pt x="3012" y="13570"/>
                    <a:pt x="3012" y="13570"/>
                  </a:cubicBezTo>
                  <a:cubicBezTo>
                    <a:pt x="3020" y="13540"/>
                    <a:pt x="3020" y="13540"/>
                    <a:pt x="3020" y="13540"/>
                  </a:cubicBezTo>
                  <a:cubicBezTo>
                    <a:pt x="3042" y="13529"/>
                    <a:pt x="3042" y="13529"/>
                    <a:pt x="3042" y="13529"/>
                  </a:cubicBezTo>
                  <a:cubicBezTo>
                    <a:pt x="3075" y="13557"/>
                    <a:pt x="3075" y="13557"/>
                    <a:pt x="3075" y="13557"/>
                  </a:cubicBezTo>
                  <a:lnTo>
                    <a:pt x="3047" y="13586"/>
                  </a:lnTo>
                  <a:close/>
                  <a:moveTo>
                    <a:pt x="2623" y="13446"/>
                  </a:moveTo>
                  <a:cubicBezTo>
                    <a:pt x="2593" y="13517"/>
                    <a:pt x="2593" y="13517"/>
                    <a:pt x="2593" y="13517"/>
                  </a:cubicBezTo>
                  <a:cubicBezTo>
                    <a:pt x="2561" y="13506"/>
                    <a:pt x="2561" y="13506"/>
                    <a:pt x="2561" y="13506"/>
                  </a:cubicBezTo>
                  <a:cubicBezTo>
                    <a:pt x="2671" y="13241"/>
                    <a:pt x="2671" y="13241"/>
                    <a:pt x="2671" y="13241"/>
                  </a:cubicBezTo>
                  <a:cubicBezTo>
                    <a:pt x="2728" y="13251"/>
                    <a:pt x="2728" y="13251"/>
                    <a:pt x="2728" y="13251"/>
                  </a:cubicBezTo>
                  <a:cubicBezTo>
                    <a:pt x="2683" y="13359"/>
                    <a:pt x="2683" y="13359"/>
                    <a:pt x="2683" y="13359"/>
                  </a:cubicBezTo>
                  <a:cubicBezTo>
                    <a:pt x="2757" y="13385"/>
                    <a:pt x="2757" y="13385"/>
                    <a:pt x="2757" y="13385"/>
                  </a:cubicBezTo>
                  <a:cubicBezTo>
                    <a:pt x="2759" y="13377"/>
                    <a:pt x="2759" y="13377"/>
                    <a:pt x="2759" y="13377"/>
                  </a:cubicBezTo>
                  <a:cubicBezTo>
                    <a:pt x="2759" y="13377"/>
                    <a:pt x="2760" y="13373"/>
                    <a:pt x="2764" y="13366"/>
                  </a:cubicBezTo>
                  <a:cubicBezTo>
                    <a:pt x="2768" y="13359"/>
                    <a:pt x="2774" y="13350"/>
                    <a:pt x="2784" y="13339"/>
                  </a:cubicBezTo>
                  <a:cubicBezTo>
                    <a:pt x="2805" y="13319"/>
                    <a:pt x="2843" y="13296"/>
                    <a:pt x="2910" y="13289"/>
                  </a:cubicBezTo>
                  <a:cubicBezTo>
                    <a:pt x="2919" y="13288"/>
                    <a:pt x="2919" y="13288"/>
                    <a:pt x="2919" y="13288"/>
                  </a:cubicBezTo>
                  <a:cubicBezTo>
                    <a:pt x="2864" y="13123"/>
                    <a:pt x="2864" y="13123"/>
                    <a:pt x="2864" y="13123"/>
                  </a:cubicBezTo>
                  <a:cubicBezTo>
                    <a:pt x="2648" y="13068"/>
                    <a:pt x="2648" y="13068"/>
                    <a:pt x="2648" y="13068"/>
                  </a:cubicBezTo>
                  <a:cubicBezTo>
                    <a:pt x="2440" y="13559"/>
                    <a:pt x="2440" y="13559"/>
                    <a:pt x="2440" y="13559"/>
                  </a:cubicBezTo>
                  <a:cubicBezTo>
                    <a:pt x="2676" y="13644"/>
                    <a:pt x="2676" y="13644"/>
                    <a:pt x="2676" y="13644"/>
                  </a:cubicBezTo>
                  <a:cubicBezTo>
                    <a:pt x="2719" y="13471"/>
                    <a:pt x="2719" y="13471"/>
                    <a:pt x="2719" y="13471"/>
                  </a:cubicBezTo>
                  <a:lnTo>
                    <a:pt x="2623" y="13446"/>
                  </a:lnTo>
                  <a:close/>
                  <a:moveTo>
                    <a:pt x="2666" y="13624"/>
                  </a:moveTo>
                  <a:cubicBezTo>
                    <a:pt x="2460" y="13550"/>
                    <a:pt x="2460" y="13550"/>
                    <a:pt x="2460" y="13550"/>
                  </a:cubicBezTo>
                  <a:cubicBezTo>
                    <a:pt x="2657" y="13085"/>
                    <a:pt x="2657" y="13085"/>
                    <a:pt x="2657" y="13085"/>
                  </a:cubicBezTo>
                  <a:cubicBezTo>
                    <a:pt x="2853" y="13135"/>
                    <a:pt x="2853" y="13135"/>
                    <a:pt x="2853" y="13135"/>
                  </a:cubicBezTo>
                  <a:cubicBezTo>
                    <a:pt x="2899" y="13275"/>
                    <a:pt x="2899" y="13275"/>
                    <a:pt x="2899" y="13275"/>
                  </a:cubicBezTo>
                  <a:cubicBezTo>
                    <a:pt x="2791" y="13290"/>
                    <a:pt x="2756" y="13346"/>
                    <a:pt x="2748" y="13366"/>
                  </a:cubicBezTo>
                  <a:cubicBezTo>
                    <a:pt x="2703" y="13351"/>
                    <a:pt x="2703" y="13351"/>
                    <a:pt x="2703" y="13351"/>
                  </a:cubicBezTo>
                  <a:cubicBezTo>
                    <a:pt x="2748" y="13240"/>
                    <a:pt x="2748" y="13240"/>
                    <a:pt x="2748" y="13240"/>
                  </a:cubicBezTo>
                  <a:cubicBezTo>
                    <a:pt x="2662" y="13225"/>
                    <a:pt x="2662" y="13225"/>
                    <a:pt x="2662" y="13225"/>
                  </a:cubicBezTo>
                  <a:cubicBezTo>
                    <a:pt x="2541" y="13515"/>
                    <a:pt x="2541" y="13515"/>
                    <a:pt x="2541" y="13515"/>
                  </a:cubicBezTo>
                  <a:cubicBezTo>
                    <a:pt x="2601" y="13535"/>
                    <a:pt x="2601" y="13535"/>
                    <a:pt x="2601" y="13535"/>
                  </a:cubicBezTo>
                  <a:cubicBezTo>
                    <a:pt x="2631" y="13464"/>
                    <a:pt x="2631" y="13464"/>
                    <a:pt x="2631" y="13464"/>
                  </a:cubicBezTo>
                  <a:cubicBezTo>
                    <a:pt x="2701" y="13481"/>
                    <a:pt x="2701" y="13481"/>
                    <a:pt x="2701" y="13481"/>
                  </a:cubicBezTo>
                  <a:lnTo>
                    <a:pt x="2666" y="13624"/>
                  </a:lnTo>
                  <a:close/>
                  <a:moveTo>
                    <a:pt x="2116" y="13001"/>
                  </a:moveTo>
                  <a:cubicBezTo>
                    <a:pt x="2116" y="13001"/>
                    <a:pt x="2139" y="12952"/>
                    <a:pt x="2148" y="12933"/>
                  </a:cubicBezTo>
                  <a:cubicBezTo>
                    <a:pt x="2149" y="12934"/>
                    <a:pt x="2150" y="12934"/>
                    <a:pt x="2151" y="12935"/>
                  </a:cubicBezTo>
                  <a:cubicBezTo>
                    <a:pt x="2154" y="12935"/>
                    <a:pt x="2156" y="12936"/>
                    <a:pt x="2158" y="12937"/>
                  </a:cubicBezTo>
                  <a:cubicBezTo>
                    <a:pt x="2239" y="13067"/>
                    <a:pt x="2239" y="13067"/>
                    <a:pt x="2239" y="13067"/>
                  </a:cubicBezTo>
                  <a:cubicBezTo>
                    <a:pt x="2404" y="13111"/>
                    <a:pt x="2404" y="13111"/>
                    <a:pt x="2404" y="13111"/>
                  </a:cubicBezTo>
                  <a:cubicBezTo>
                    <a:pt x="2390" y="13147"/>
                    <a:pt x="2390" y="13147"/>
                    <a:pt x="2390" y="13147"/>
                  </a:cubicBezTo>
                  <a:cubicBezTo>
                    <a:pt x="2510" y="13183"/>
                    <a:pt x="2510" y="13183"/>
                    <a:pt x="2510" y="13183"/>
                  </a:cubicBezTo>
                  <a:cubicBezTo>
                    <a:pt x="2562" y="13027"/>
                    <a:pt x="2562" y="13027"/>
                    <a:pt x="2562" y="13027"/>
                  </a:cubicBezTo>
                  <a:cubicBezTo>
                    <a:pt x="2565" y="13019"/>
                    <a:pt x="2565" y="13019"/>
                    <a:pt x="2565" y="13019"/>
                  </a:cubicBezTo>
                  <a:cubicBezTo>
                    <a:pt x="2333" y="12953"/>
                    <a:pt x="2333" y="12953"/>
                    <a:pt x="2333" y="12953"/>
                  </a:cubicBezTo>
                  <a:cubicBezTo>
                    <a:pt x="2233" y="12797"/>
                    <a:pt x="2233" y="12797"/>
                    <a:pt x="2233" y="12797"/>
                  </a:cubicBezTo>
                  <a:cubicBezTo>
                    <a:pt x="2087" y="12749"/>
                    <a:pt x="2087" y="12749"/>
                    <a:pt x="2087" y="12749"/>
                  </a:cubicBezTo>
                  <a:cubicBezTo>
                    <a:pt x="1989" y="12972"/>
                    <a:pt x="1989" y="12972"/>
                    <a:pt x="1989" y="12972"/>
                  </a:cubicBezTo>
                  <a:cubicBezTo>
                    <a:pt x="2114" y="13007"/>
                    <a:pt x="2114" y="13007"/>
                    <a:pt x="2114" y="13007"/>
                  </a:cubicBezTo>
                  <a:lnTo>
                    <a:pt x="2116" y="13001"/>
                  </a:lnTo>
                  <a:close/>
                  <a:moveTo>
                    <a:pt x="2010" y="12963"/>
                  </a:moveTo>
                  <a:cubicBezTo>
                    <a:pt x="2095" y="12767"/>
                    <a:pt x="2095" y="12767"/>
                    <a:pt x="2095" y="12767"/>
                  </a:cubicBezTo>
                  <a:cubicBezTo>
                    <a:pt x="2224" y="12809"/>
                    <a:pt x="2224" y="12809"/>
                    <a:pt x="2224" y="12809"/>
                  </a:cubicBezTo>
                  <a:cubicBezTo>
                    <a:pt x="2324" y="12965"/>
                    <a:pt x="2324" y="12965"/>
                    <a:pt x="2324" y="12965"/>
                  </a:cubicBezTo>
                  <a:cubicBezTo>
                    <a:pt x="2546" y="13029"/>
                    <a:pt x="2546" y="13029"/>
                    <a:pt x="2546" y="13029"/>
                  </a:cubicBezTo>
                  <a:cubicBezTo>
                    <a:pt x="2500" y="13165"/>
                    <a:pt x="2500" y="13165"/>
                    <a:pt x="2500" y="13165"/>
                  </a:cubicBezTo>
                  <a:cubicBezTo>
                    <a:pt x="2410" y="13137"/>
                    <a:pt x="2410" y="13137"/>
                    <a:pt x="2410" y="13137"/>
                  </a:cubicBezTo>
                  <a:cubicBezTo>
                    <a:pt x="2424" y="13101"/>
                    <a:pt x="2424" y="13101"/>
                    <a:pt x="2424" y="13101"/>
                  </a:cubicBezTo>
                  <a:cubicBezTo>
                    <a:pt x="2248" y="13054"/>
                    <a:pt x="2248" y="13054"/>
                    <a:pt x="2248" y="13054"/>
                  </a:cubicBezTo>
                  <a:cubicBezTo>
                    <a:pt x="2168" y="12924"/>
                    <a:pt x="2168" y="12924"/>
                    <a:pt x="2168" y="12924"/>
                  </a:cubicBezTo>
                  <a:cubicBezTo>
                    <a:pt x="2165" y="12923"/>
                    <a:pt x="2165" y="12923"/>
                    <a:pt x="2165" y="12923"/>
                  </a:cubicBezTo>
                  <a:cubicBezTo>
                    <a:pt x="2165" y="12923"/>
                    <a:pt x="2151" y="12919"/>
                    <a:pt x="2147" y="12918"/>
                  </a:cubicBezTo>
                  <a:cubicBezTo>
                    <a:pt x="2146" y="12917"/>
                    <a:pt x="2145" y="12917"/>
                    <a:pt x="2143" y="12917"/>
                  </a:cubicBezTo>
                  <a:cubicBezTo>
                    <a:pt x="2142" y="12917"/>
                    <a:pt x="2141" y="12917"/>
                    <a:pt x="2141" y="12917"/>
                  </a:cubicBezTo>
                  <a:cubicBezTo>
                    <a:pt x="2140" y="12918"/>
                    <a:pt x="2139" y="12918"/>
                    <a:pt x="2138" y="12919"/>
                  </a:cubicBezTo>
                  <a:cubicBezTo>
                    <a:pt x="2138" y="12919"/>
                    <a:pt x="2138" y="12919"/>
                    <a:pt x="2138" y="12919"/>
                  </a:cubicBezTo>
                  <a:cubicBezTo>
                    <a:pt x="2138" y="12919"/>
                    <a:pt x="2138" y="12919"/>
                    <a:pt x="2138" y="12919"/>
                  </a:cubicBezTo>
                  <a:cubicBezTo>
                    <a:pt x="2138" y="12919"/>
                    <a:pt x="2138" y="12919"/>
                    <a:pt x="2138" y="12919"/>
                  </a:cubicBezTo>
                  <a:cubicBezTo>
                    <a:pt x="2138" y="12919"/>
                    <a:pt x="2138" y="12920"/>
                    <a:pt x="2138" y="12920"/>
                  </a:cubicBezTo>
                  <a:cubicBezTo>
                    <a:pt x="2137" y="12920"/>
                    <a:pt x="2137" y="12920"/>
                    <a:pt x="2137" y="12920"/>
                  </a:cubicBezTo>
                  <a:cubicBezTo>
                    <a:pt x="2137" y="12920"/>
                    <a:pt x="2137" y="12920"/>
                    <a:pt x="2137" y="12920"/>
                  </a:cubicBezTo>
                  <a:cubicBezTo>
                    <a:pt x="2137" y="12920"/>
                    <a:pt x="2137" y="12920"/>
                    <a:pt x="2137" y="12920"/>
                  </a:cubicBezTo>
                  <a:cubicBezTo>
                    <a:pt x="2137" y="12921"/>
                    <a:pt x="2136" y="12922"/>
                    <a:pt x="2136" y="12922"/>
                  </a:cubicBezTo>
                  <a:cubicBezTo>
                    <a:pt x="2136" y="12922"/>
                    <a:pt x="2136" y="12922"/>
                    <a:pt x="2136" y="12922"/>
                  </a:cubicBezTo>
                  <a:cubicBezTo>
                    <a:pt x="2136" y="12923"/>
                    <a:pt x="2136" y="12924"/>
                    <a:pt x="2135" y="12925"/>
                  </a:cubicBezTo>
                  <a:cubicBezTo>
                    <a:pt x="2134" y="12927"/>
                    <a:pt x="2133" y="12930"/>
                    <a:pt x="2131" y="12933"/>
                  </a:cubicBezTo>
                  <a:cubicBezTo>
                    <a:pt x="2128" y="12940"/>
                    <a:pt x="2124" y="12949"/>
                    <a:pt x="2120" y="12959"/>
                  </a:cubicBezTo>
                  <a:cubicBezTo>
                    <a:pt x="2114" y="12971"/>
                    <a:pt x="2109" y="12982"/>
                    <a:pt x="2106" y="12989"/>
                  </a:cubicBezTo>
                  <a:lnTo>
                    <a:pt x="2010" y="12963"/>
                  </a:lnTo>
                  <a:close/>
                  <a:moveTo>
                    <a:pt x="2337" y="13511"/>
                  </a:moveTo>
                  <a:cubicBezTo>
                    <a:pt x="2364" y="13443"/>
                    <a:pt x="2364" y="13443"/>
                    <a:pt x="2364" y="13443"/>
                  </a:cubicBezTo>
                  <a:cubicBezTo>
                    <a:pt x="2405" y="13457"/>
                    <a:pt x="2405" y="13457"/>
                    <a:pt x="2405" y="13457"/>
                  </a:cubicBezTo>
                  <a:cubicBezTo>
                    <a:pt x="2469" y="13296"/>
                    <a:pt x="2469" y="13296"/>
                    <a:pt x="2469" y="13296"/>
                  </a:cubicBezTo>
                  <a:cubicBezTo>
                    <a:pt x="2472" y="13288"/>
                    <a:pt x="2472" y="13288"/>
                    <a:pt x="2472" y="13288"/>
                  </a:cubicBezTo>
                  <a:cubicBezTo>
                    <a:pt x="2303" y="13233"/>
                    <a:pt x="2303" y="13233"/>
                    <a:pt x="2303" y="13233"/>
                  </a:cubicBezTo>
                  <a:cubicBezTo>
                    <a:pt x="2270" y="13298"/>
                    <a:pt x="2270" y="13298"/>
                    <a:pt x="2270" y="13298"/>
                  </a:cubicBezTo>
                  <a:cubicBezTo>
                    <a:pt x="2178" y="13265"/>
                    <a:pt x="2178" y="13265"/>
                    <a:pt x="2178" y="13265"/>
                  </a:cubicBezTo>
                  <a:cubicBezTo>
                    <a:pt x="2101" y="13109"/>
                    <a:pt x="2101" y="13109"/>
                    <a:pt x="2101" y="13109"/>
                  </a:cubicBezTo>
                  <a:cubicBezTo>
                    <a:pt x="1995" y="13075"/>
                    <a:pt x="1995" y="13075"/>
                    <a:pt x="1995" y="13075"/>
                  </a:cubicBezTo>
                  <a:cubicBezTo>
                    <a:pt x="2156" y="13451"/>
                    <a:pt x="2156" y="13451"/>
                    <a:pt x="2156" y="13451"/>
                  </a:cubicBezTo>
                  <a:lnTo>
                    <a:pt x="2337" y="13511"/>
                  </a:lnTo>
                  <a:close/>
                  <a:moveTo>
                    <a:pt x="2091" y="13121"/>
                  </a:moveTo>
                  <a:cubicBezTo>
                    <a:pt x="2167" y="13277"/>
                    <a:pt x="2167" y="13277"/>
                    <a:pt x="2167" y="13277"/>
                  </a:cubicBezTo>
                  <a:cubicBezTo>
                    <a:pt x="2278" y="13317"/>
                    <a:pt x="2278" y="13317"/>
                    <a:pt x="2278" y="13317"/>
                  </a:cubicBezTo>
                  <a:cubicBezTo>
                    <a:pt x="2310" y="13251"/>
                    <a:pt x="2310" y="13251"/>
                    <a:pt x="2310" y="13251"/>
                  </a:cubicBezTo>
                  <a:cubicBezTo>
                    <a:pt x="2453" y="13298"/>
                    <a:pt x="2453" y="13298"/>
                    <a:pt x="2453" y="13298"/>
                  </a:cubicBezTo>
                  <a:cubicBezTo>
                    <a:pt x="2396" y="13438"/>
                    <a:pt x="2396" y="13438"/>
                    <a:pt x="2396" y="13438"/>
                  </a:cubicBezTo>
                  <a:cubicBezTo>
                    <a:pt x="2356" y="13425"/>
                    <a:pt x="2356" y="13425"/>
                    <a:pt x="2356" y="13425"/>
                  </a:cubicBezTo>
                  <a:cubicBezTo>
                    <a:pt x="2328" y="13493"/>
                    <a:pt x="2328" y="13493"/>
                    <a:pt x="2328" y="13493"/>
                  </a:cubicBezTo>
                  <a:cubicBezTo>
                    <a:pt x="2167" y="13439"/>
                    <a:pt x="2167" y="13439"/>
                    <a:pt x="2167" y="13439"/>
                  </a:cubicBezTo>
                  <a:cubicBezTo>
                    <a:pt x="2021" y="13099"/>
                    <a:pt x="2021" y="13099"/>
                    <a:pt x="2021" y="13099"/>
                  </a:cubicBezTo>
                  <a:lnTo>
                    <a:pt x="2091" y="13121"/>
                  </a:lnTo>
                  <a:close/>
                  <a:moveTo>
                    <a:pt x="2428" y="10248"/>
                  </a:moveTo>
                  <a:cubicBezTo>
                    <a:pt x="2428" y="10239"/>
                    <a:pt x="2428" y="10239"/>
                    <a:pt x="2428" y="10239"/>
                  </a:cubicBezTo>
                  <a:cubicBezTo>
                    <a:pt x="2343" y="10241"/>
                    <a:pt x="2343" y="10241"/>
                    <a:pt x="2343" y="10241"/>
                  </a:cubicBezTo>
                  <a:cubicBezTo>
                    <a:pt x="2304" y="10510"/>
                    <a:pt x="2304" y="10510"/>
                    <a:pt x="2304" y="10510"/>
                  </a:cubicBezTo>
                  <a:cubicBezTo>
                    <a:pt x="2561" y="10517"/>
                    <a:pt x="2561" y="10517"/>
                    <a:pt x="2561" y="10517"/>
                  </a:cubicBezTo>
                  <a:cubicBezTo>
                    <a:pt x="2501" y="10407"/>
                    <a:pt x="2501" y="10407"/>
                    <a:pt x="2501" y="10407"/>
                  </a:cubicBezTo>
                  <a:cubicBezTo>
                    <a:pt x="2420" y="10351"/>
                    <a:pt x="2420" y="10351"/>
                    <a:pt x="2420" y="10351"/>
                  </a:cubicBezTo>
                  <a:lnTo>
                    <a:pt x="2428" y="10248"/>
                  </a:lnTo>
                  <a:close/>
                  <a:moveTo>
                    <a:pt x="2490" y="10417"/>
                  </a:moveTo>
                  <a:cubicBezTo>
                    <a:pt x="2536" y="10502"/>
                    <a:pt x="2536" y="10502"/>
                    <a:pt x="2536" y="10502"/>
                  </a:cubicBezTo>
                  <a:cubicBezTo>
                    <a:pt x="2321" y="10495"/>
                    <a:pt x="2321" y="10495"/>
                    <a:pt x="2321" y="10495"/>
                  </a:cubicBezTo>
                  <a:cubicBezTo>
                    <a:pt x="2356" y="10256"/>
                    <a:pt x="2356" y="10256"/>
                    <a:pt x="2356" y="10256"/>
                  </a:cubicBezTo>
                  <a:cubicBezTo>
                    <a:pt x="2412" y="10254"/>
                    <a:pt x="2412" y="10254"/>
                    <a:pt x="2412" y="10254"/>
                  </a:cubicBezTo>
                  <a:cubicBezTo>
                    <a:pt x="2404" y="10359"/>
                    <a:pt x="2404" y="10359"/>
                    <a:pt x="2404" y="10359"/>
                  </a:cubicBezTo>
                  <a:lnTo>
                    <a:pt x="2490" y="10417"/>
                  </a:lnTo>
                  <a:close/>
                  <a:moveTo>
                    <a:pt x="3082" y="10045"/>
                  </a:moveTo>
                  <a:cubicBezTo>
                    <a:pt x="2911" y="10138"/>
                    <a:pt x="2911" y="10138"/>
                    <a:pt x="2911" y="10138"/>
                  </a:cubicBezTo>
                  <a:cubicBezTo>
                    <a:pt x="2899" y="10241"/>
                    <a:pt x="2899" y="10241"/>
                    <a:pt x="2899" y="10241"/>
                  </a:cubicBezTo>
                  <a:cubicBezTo>
                    <a:pt x="2796" y="10193"/>
                    <a:pt x="2796" y="10193"/>
                    <a:pt x="2796" y="10193"/>
                  </a:cubicBezTo>
                  <a:cubicBezTo>
                    <a:pt x="2651" y="10215"/>
                    <a:pt x="2651" y="10215"/>
                    <a:pt x="2651" y="10215"/>
                  </a:cubicBezTo>
                  <a:cubicBezTo>
                    <a:pt x="2833" y="10430"/>
                    <a:pt x="2833" y="10430"/>
                    <a:pt x="2833" y="10430"/>
                  </a:cubicBezTo>
                  <a:cubicBezTo>
                    <a:pt x="3018" y="10330"/>
                    <a:pt x="3018" y="10330"/>
                    <a:pt x="3018" y="10330"/>
                  </a:cubicBezTo>
                  <a:cubicBezTo>
                    <a:pt x="3027" y="10247"/>
                    <a:pt x="3027" y="10247"/>
                    <a:pt x="3027" y="10247"/>
                  </a:cubicBezTo>
                  <a:cubicBezTo>
                    <a:pt x="3083" y="10297"/>
                    <a:pt x="3083" y="10297"/>
                    <a:pt x="3083" y="10297"/>
                  </a:cubicBezTo>
                  <a:cubicBezTo>
                    <a:pt x="3120" y="10283"/>
                    <a:pt x="3120" y="10283"/>
                    <a:pt x="3120" y="10283"/>
                  </a:cubicBezTo>
                  <a:cubicBezTo>
                    <a:pt x="3084" y="10055"/>
                    <a:pt x="3084" y="10055"/>
                    <a:pt x="3084" y="10055"/>
                  </a:cubicBezTo>
                  <a:lnTo>
                    <a:pt x="3082" y="10045"/>
                  </a:lnTo>
                  <a:close/>
                  <a:moveTo>
                    <a:pt x="3086" y="10280"/>
                  </a:moveTo>
                  <a:cubicBezTo>
                    <a:pt x="3015" y="10217"/>
                    <a:pt x="3015" y="10217"/>
                    <a:pt x="3015" y="10217"/>
                  </a:cubicBezTo>
                  <a:cubicBezTo>
                    <a:pt x="3004" y="10321"/>
                    <a:pt x="3004" y="10321"/>
                    <a:pt x="3004" y="10321"/>
                  </a:cubicBezTo>
                  <a:cubicBezTo>
                    <a:pt x="2836" y="10411"/>
                    <a:pt x="2836" y="10411"/>
                    <a:pt x="2836" y="10411"/>
                  </a:cubicBezTo>
                  <a:cubicBezTo>
                    <a:pt x="2679" y="10226"/>
                    <a:pt x="2679" y="10226"/>
                    <a:pt x="2679" y="10226"/>
                  </a:cubicBezTo>
                  <a:cubicBezTo>
                    <a:pt x="2794" y="10208"/>
                    <a:pt x="2794" y="10208"/>
                    <a:pt x="2794" y="10208"/>
                  </a:cubicBezTo>
                  <a:cubicBezTo>
                    <a:pt x="2912" y="10264"/>
                    <a:pt x="2912" y="10264"/>
                    <a:pt x="2912" y="10264"/>
                  </a:cubicBezTo>
                  <a:cubicBezTo>
                    <a:pt x="2925" y="10148"/>
                    <a:pt x="2925" y="10148"/>
                    <a:pt x="2925" y="10148"/>
                  </a:cubicBezTo>
                  <a:cubicBezTo>
                    <a:pt x="3071" y="10068"/>
                    <a:pt x="3071" y="10068"/>
                    <a:pt x="3071" y="10068"/>
                  </a:cubicBezTo>
                  <a:cubicBezTo>
                    <a:pt x="3104" y="10274"/>
                    <a:pt x="3104" y="10274"/>
                    <a:pt x="3104" y="10274"/>
                  </a:cubicBezTo>
                  <a:lnTo>
                    <a:pt x="3086" y="10280"/>
                  </a:lnTo>
                  <a:close/>
                  <a:moveTo>
                    <a:pt x="2610" y="10011"/>
                  </a:moveTo>
                  <a:cubicBezTo>
                    <a:pt x="2610" y="10011"/>
                    <a:pt x="2610" y="10011"/>
                    <a:pt x="2610" y="10011"/>
                  </a:cubicBezTo>
                  <a:cubicBezTo>
                    <a:pt x="2567" y="10007"/>
                    <a:pt x="2526" y="9989"/>
                    <a:pt x="2497" y="9972"/>
                  </a:cubicBezTo>
                  <a:cubicBezTo>
                    <a:pt x="2472" y="9958"/>
                    <a:pt x="2455" y="9945"/>
                    <a:pt x="2450" y="9941"/>
                  </a:cubicBezTo>
                  <a:cubicBezTo>
                    <a:pt x="2314" y="9529"/>
                    <a:pt x="2314" y="9529"/>
                    <a:pt x="2314" y="9529"/>
                  </a:cubicBezTo>
                  <a:cubicBezTo>
                    <a:pt x="2266" y="9517"/>
                    <a:pt x="2266" y="9517"/>
                    <a:pt x="2266" y="9517"/>
                  </a:cubicBezTo>
                  <a:cubicBezTo>
                    <a:pt x="2219" y="10076"/>
                    <a:pt x="2219" y="10076"/>
                    <a:pt x="2219" y="10076"/>
                  </a:cubicBezTo>
                  <a:cubicBezTo>
                    <a:pt x="2225" y="10078"/>
                    <a:pt x="2225" y="10078"/>
                    <a:pt x="2225" y="10078"/>
                  </a:cubicBezTo>
                  <a:cubicBezTo>
                    <a:pt x="2225" y="10078"/>
                    <a:pt x="2325" y="10106"/>
                    <a:pt x="2448" y="10110"/>
                  </a:cubicBezTo>
                  <a:cubicBezTo>
                    <a:pt x="2454" y="10110"/>
                    <a:pt x="2460" y="10110"/>
                    <a:pt x="2466" y="10110"/>
                  </a:cubicBezTo>
                  <a:cubicBezTo>
                    <a:pt x="2582" y="10110"/>
                    <a:pt x="2686" y="10074"/>
                    <a:pt x="2686" y="10074"/>
                  </a:cubicBezTo>
                  <a:cubicBezTo>
                    <a:pt x="2700" y="10069"/>
                    <a:pt x="2700" y="10069"/>
                    <a:pt x="2700" y="10069"/>
                  </a:cubicBezTo>
                  <a:cubicBezTo>
                    <a:pt x="2688" y="10061"/>
                    <a:pt x="2688" y="10061"/>
                    <a:pt x="2688" y="10061"/>
                  </a:cubicBezTo>
                  <a:cubicBezTo>
                    <a:pt x="2688" y="10061"/>
                    <a:pt x="2616" y="10013"/>
                    <a:pt x="2613" y="10012"/>
                  </a:cubicBezTo>
                  <a:cubicBezTo>
                    <a:pt x="2613" y="10012"/>
                    <a:pt x="2613" y="10012"/>
                    <a:pt x="2610" y="10011"/>
                  </a:cubicBezTo>
                  <a:close/>
                  <a:moveTo>
                    <a:pt x="2643" y="10049"/>
                  </a:moveTo>
                  <a:cubicBezTo>
                    <a:pt x="2652" y="10055"/>
                    <a:pt x="2660" y="10060"/>
                    <a:pt x="2667" y="10065"/>
                  </a:cubicBezTo>
                  <a:cubicBezTo>
                    <a:pt x="2656" y="10068"/>
                    <a:pt x="2638" y="10073"/>
                    <a:pt x="2616" y="10078"/>
                  </a:cubicBezTo>
                  <a:cubicBezTo>
                    <a:pt x="2576" y="10087"/>
                    <a:pt x="2522" y="10096"/>
                    <a:pt x="2466" y="10096"/>
                  </a:cubicBezTo>
                  <a:cubicBezTo>
                    <a:pt x="2460" y="10096"/>
                    <a:pt x="2454" y="10096"/>
                    <a:pt x="2449" y="10095"/>
                  </a:cubicBezTo>
                  <a:cubicBezTo>
                    <a:pt x="2345" y="10092"/>
                    <a:pt x="2258" y="10071"/>
                    <a:pt x="2235" y="10065"/>
                  </a:cubicBezTo>
                  <a:cubicBezTo>
                    <a:pt x="2279" y="9536"/>
                    <a:pt x="2279" y="9536"/>
                    <a:pt x="2279" y="9536"/>
                  </a:cubicBezTo>
                  <a:cubicBezTo>
                    <a:pt x="2303" y="9541"/>
                    <a:pt x="2303" y="9541"/>
                    <a:pt x="2303" y="9541"/>
                  </a:cubicBezTo>
                  <a:cubicBezTo>
                    <a:pt x="2437" y="9949"/>
                    <a:pt x="2437" y="9949"/>
                    <a:pt x="2437" y="9949"/>
                  </a:cubicBezTo>
                  <a:cubicBezTo>
                    <a:pt x="2439" y="9951"/>
                    <a:pt x="2439" y="9951"/>
                    <a:pt x="2439" y="9951"/>
                  </a:cubicBezTo>
                  <a:cubicBezTo>
                    <a:pt x="2439" y="9951"/>
                    <a:pt x="2515" y="10016"/>
                    <a:pt x="2608" y="10026"/>
                  </a:cubicBezTo>
                  <a:cubicBezTo>
                    <a:pt x="2608" y="10026"/>
                    <a:pt x="2609" y="10027"/>
                    <a:pt x="2609" y="10027"/>
                  </a:cubicBezTo>
                  <a:cubicBezTo>
                    <a:pt x="2611" y="10028"/>
                    <a:pt x="2614" y="10030"/>
                    <a:pt x="2618" y="10032"/>
                  </a:cubicBezTo>
                  <a:cubicBezTo>
                    <a:pt x="2625" y="10037"/>
                    <a:pt x="2634" y="10043"/>
                    <a:pt x="2643" y="10049"/>
                  </a:cubicBezTo>
                  <a:close/>
                  <a:moveTo>
                    <a:pt x="2244" y="9345"/>
                  </a:moveTo>
                  <a:cubicBezTo>
                    <a:pt x="2271" y="9442"/>
                    <a:pt x="2271" y="9442"/>
                    <a:pt x="2271" y="9442"/>
                  </a:cubicBezTo>
                  <a:cubicBezTo>
                    <a:pt x="2352" y="9464"/>
                    <a:pt x="2352" y="9464"/>
                    <a:pt x="2352" y="9464"/>
                  </a:cubicBezTo>
                  <a:cubicBezTo>
                    <a:pt x="2365" y="9503"/>
                    <a:pt x="2476" y="9839"/>
                    <a:pt x="2476" y="9841"/>
                  </a:cubicBezTo>
                  <a:cubicBezTo>
                    <a:pt x="2477" y="9842"/>
                    <a:pt x="2477" y="9842"/>
                    <a:pt x="2477" y="9842"/>
                  </a:cubicBezTo>
                  <a:cubicBezTo>
                    <a:pt x="2477" y="9843"/>
                    <a:pt x="2477" y="9843"/>
                    <a:pt x="2477" y="9843"/>
                  </a:cubicBezTo>
                  <a:cubicBezTo>
                    <a:pt x="2518" y="9898"/>
                    <a:pt x="2628" y="9915"/>
                    <a:pt x="2628" y="9915"/>
                  </a:cubicBezTo>
                  <a:cubicBezTo>
                    <a:pt x="2641" y="9917"/>
                    <a:pt x="2641" y="9917"/>
                    <a:pt x="2641" y="9917"/>
                  </a:cubicBezTo>
                  <a:cubicBezTo>
                    <a:pt x="2401" y="9274"/>
                    <a:pt x="2401" y="9274"/>
                    <a:pt x="2401" y="9274"/>
                  </a:cubicBezTo>
                  <a:lnTo>
                    <a:pt x="2244" y="9345"/>
                  </a:lnTo>
                  <a:close/>
                  <a:moveTo>
                    <a:pt x="2573" y="9885"/>
                  </a:moveTo>
                  <a:cubicBezTo>
                    <a:pt x="2542" y="9875"/>
                    <a:pt x="2507" y="9858"/>
                    <a:pt x="2490" y="9835"/>
                  </a:cubicBezTo>
                  <a:cubicBezTo>
                    <a:pt x="2483" y="9814"/>
                    <a:pt x="2365" y="9456"/>
                    <a:pt x="2365" y="9455"/>
                  </a:cubicBezTo>
                  <a:cubicBezTo>
                    <a:pt x="2363" y="9451"/>
                    <a:pt x="2363" y="9451"/>
                    <a:pt x="2363" y="9451"/>
                  </a:cubicBezTo>
                  <a:cubicBezTo>
                    <a:pt x="2283" y="9430"/>
                    <a:pt x="2283" y="9430"/>
                    <a:pt x="2283" y="9430"/>
                  </a:cubicBezTo>
                  <a:cubicBezTo>
                    <a:pt x="2262" y="9353"/>
                    <a:pt x="2262" y="9353"/>
                    <a:pt x="2262" y="9353"/>
                  </a:cubicBezTo>
                  <a:cubicBezTo>
                    <a:pt x="2393" y="9294"/>
                    <a:pt x="2393" y="9294"/>
                    <a:pt x="2393" y="9294"/>
                  </a:cubicBezTo>
                  <a:cubicBezTo>
                    <a:pt x="2618" y="9898"/>
                    <a:pt x="2618" y="9898"/>
                    <a:pt x="2618" y="9898"/>
                  </a:cubicBezTo>
                  <a:cubicBezTo>
                    <a:pt x="2607" y="9896"/>
                    <a:pt x="2591" y="9892"/>
                    <a:pt x="2573" y="9885"/>
                  </a:cubicBezTo>
                  <a:close/>
                  <a:moveTo>
                    <a:pt x="2469" y="9217"/>
                  </a:moveTo>
                  <a:cubicBezTo>
                    <a:pt x="2800" y="10071"/>
                    <a:pt x="2800" y="10071"/>
                    <a:pt x="2800" y="10071"/>
                  </a:cubicBezTo>
                  <a:cubicBezTo>
                    <a:pt x="2942" y="10005"/>
                    <a:pt x="2942" y="10005"/>
                    <a:pt x="2942" y="10005"/>
                  </a:cubicBezTo>
                  <a:cubicBezTo>
                    <a:pt x="2897" y="9851"/>
                    <a:pt x="2897" y="9851"/>
                    <a:pt x="2897" y="9851"/>
                  </a:cubicBezTo>
                  <a:cubicBezTo>
                    <a:pt x="2838" y="9907"/>
                    <a:pt x="2838" y="9907"/>
                    <a:pt x="2838" y="9907"/>
                  </a:cubicBezTo>
                  <a:cubicBezTo>
                    <a:pt x="2642" y="9351"/>
                    <a:pt x="2642" y="9351"/>
                    <a:pt x="2642" y="9351"/>
                  </a:cubicBezTo>
                  <a:cubicBezTo>
                    <a:pt x="2645" y="9349"/>
                    <a:pt x="2645" y="9349"/>
                    <a:pt x="2645" y="9349"/>
                  </a:cubicBezTo>
                  <a:cubicBezTo>
                    <a:pt x="2932" y="9754"/>
                    <a:pt x="2932" y="9754"/>
                    <a:pt x="2932" y="9754"/>
                  </a:cubicBezTo>
                  <a:cubicBezTo>
                    <a:pt x="2874" y="9760"/>
                    <a:pt x="2874" y="9760"/>
                    <a:pt x="2874" y="9760"/>
                  </a:cubicBezTo>
                  <a:cubicBezTo>
                    <a:pt x="3023" y="9961"/>
                    <a:pt x="3023" y="9961"/>
                    <a:pt x="3023" y="9961"/>
                  </a:cubicBezTo>
                  <a:cubicBezTo>
                    <a:pt x="3158" y="9867"/>
                    <a:pt x="3158" y="9867"/>
                    <a:pt x="3158" y="9867"/>
                  </a:cubicBezTo>
                  <a:cubicBezTo>
                    <a:pt x="3164" y="9863"/>
                    <a:pt x="3164" y="9863"/>
                    <a:pt x="3164" y="9863"/>
                  </a:cubicBezTo>
                  <a:cubicBezTo>
                    <a:pt x="2641" y="9117"/>
                    <a:pt x="2641" y="9117"/>
                    <a:pt x="2641" y="9117"/>
                  </a:cubicBezTo>
                  <a:lnTo>
                    <a:pt x="2469" y="9217"/>
                  </a:lnTo>
                  <a:close/>
                  <a:moveTo>
                    <a:pt x="3026" y="9940"/>
                  </a:moveTo>
                  <a:cubicBezTo>
                    <a:pt x="2901" y="9772"/>
                    <a:pt x="2901" y="9772"/>
                    <a:pt x="2901" y="9772"/>
                  </a:cubicBezTo>
                  <a:cubicBezTo>
                    <a:pt x="2958" y="9767"/>
                    <a:pt x="2958" y="9767"/>
                    <a:pt x="2958" y="9767"/>
                  </a:cubicBezTo>
                  <a:cubicBezTo>
                    <a:pt x="2649" y="9328"/>
                    <a:pt x="2649" y="9328"/>
                    <a:pt x="2649" y="9328"/>
                  </a:cubicBezTo>
                  <a:cubicBezTo>
                    <a:pt x="2625" y="9345"/>
                    <a:pt x="2625" y="9345"/>
                    <a:pt x="2625" y="9345"/>
                  </a:cubicBezTo>
                  <a:cubicBezTo>
                    <a:pt x="2831" y="9934"/>
                    <a:pt x="2831" y="9934"/>
                    <a:pt x="2831" y="9934"/>
                  </a:cubicBezTo>
                  <a:cubicBezTo>
                    <a:pt x="2889" y="9878"/>
                    <a:pt x="2889" y="9878"/>
                    <a:pt x="2889" y="9878"/>
                  </a:cubicBezTo>
                  <a:cubicBezTo>
                    <a:pt x="2924" y="9997"/>
                    <a:pt x="2924" y="9997"/>
                    <a:pt x="2924" y="9997"/>
                  </a:cubicBezTo>
                  <a:cubicBezTo>
                    <a:pt x="2808" y="10051"/>
                    <a:pt x="2808" y="10051"/>
                    <a:pt x="2808" y="10051"/>
                  </a:cubicBezTo>
                  <a:cubicBezTo>
                    <a:pt x="2487" y="9224"/>
                    <a:pt x="2487" y="9224"/>
                    <a:pt x="2487" y="9224"/>
                  </a:cubicBezTo>
                  <a:cubicBezTo>
                    <a:pt x="2637" y="9137"/>
                    <a:pt x="2637" y="9137"/>
                    <a:pt x="2637" y="9137"/>
                  </a:cubicBezTo>
                  <a:cubicBezTo>
                    <a:pt x="3144" y="9859"/>
                    <a:pt x="3144" y="9859"/>
                    <a:pt x="3144" y="9859"/>
                  </a:cubicBezTo>
                  <a:lnTo>
                    <a:pt x="3026" y="9940"/>
                  </a:lnTo>
                  <a:close/>
                  <a:moveTo>
                    <a:pt x="2893" y="9010"/>
                  </a:moveTo>
                  <a:cubicBezTo>
                    <a:pt x="2736" y="9094"/>
                    <a:pt x="2736" y="9094"/>
                    <a:pt x="2736" y="9094"/>
                  </a:cubicBezTo>
                  <a:cubicBezTo>
                    <a:pt x="3213" y="9820"/>
                    <a:pt x="3213" y="9820"/>
                    <a:pt x="3213" y="9820"/>
                  </a:cubicBezTo>
                  <a:cubicBezTo>
                    <a:pt x="3256" y="9761"/>
                    <a:pt x="3256" y="9761"/>
                    <a:pt x="3256" y="9761"/>
                  </a:cubicBezTo>
                  <a:cubicBezTo>
                    <a:pt x="3071" y="9493"/>
                    <a:pt x="3071" y="9493"/>
                    <a:pt x="3071" y="9493"/>
                  </a:cubicBezTo>
                  <a:cubicBezTo>
                    <a:pt x="3101" y="9447"/>
                    <a:pt x="3101" y="9447"/>
                    <a:pt x="3101" y="9447"/>
                  </a:cubicBezTo>
                  <a:cubicBezTo>
                    <a:pt x="2988" y="9212"/>
                    <a:pt x="2988" y="9212"/>
                    <a:pt x="2988" y="9212"/>
                  </a:cubicBezTo>
                  <a:cubicBezTo>
                    <a:pt x="3046" y="9180"/>
                    <a:pt x="3046" y="9180"/>
                    <a:pt x="3046" y="9180"/>
                  </a:cubicBezTo>
                  <a:cubicBezTo>
                    <a:pt x="3056" y="9197"/>
                    <a:pt x="3084" y="9248"/>
                    <a:pt x="3112" y="9299"/>
                  </a:cubicBezTo>
                  <a:cubicBezTo>
                    <a:pt x="3145" y="9359"/>
                    <a:pt x="3179" y="9421"/>
                    <a:pt x="3184" y="9431"/>
                  </a:cubicBezTo>
                  <a:cubicBezTo>
                    <a:pt x="3181" y="9457"/>
                    <a:pt x="3157" y="9516"/>
                    <a:pt x="3157" y="9516"/>
                  </a:cubicBezTo>
                  <a:cubicBezTo>
                    <a:pt x="3155" y="9519"/>
                    <a:pt x="3155" y="9519"/>
                    <a:pt x="3155" y="9519"/>
                  </a:cubicBezTo>
                  <a:cubicBezTo>
                    <a:pt x="3157" y="9523"/>
                    <a:pt x="3157" y="9523"/>
                    <a:pt x="3157" y="9523"/>
                  </a:cubicBezTo>
                  <a:cubicBezTo>
                    <a:pt x="3157" y="9523"/>
                    <a:pt x="3183" y="9564"/>
                    <a:pt x="3210" y="9607"/>
                  </a:cubicBezTo>
                  <a:cubicBezTo>
                    <a:pt x="3238" y="9650"/>
                    <a:pt x="3265" y="9692"/>
                    <a:pt x="3273" y="9700"/>
                  </a:cubicBezTo>
                  <a:cubicBezTo>
                    <a:pt x="3274" y="9700"/>
                    <a:pt x="3273" y="9702"/>
                    <a:pt x="3278" y="9702"/>
                  </a:cubicBezTo>
                  <a:cubicBezTo>
                    <a:pt x="3281" y="9702"/>
                    <a:pt x="3284" y="9701"/>
                    <a:pt x="3285" y="9698"/>
                  </a:cubicBezTo>
                  <a:cubicBezTo>
                    <a:pt x="3317" y="9630"/>
                    <a:pt x="3344" y="9474"/>
                    <a:pt x="3344" y="9473"/>
                  </a:cubicBezTo>
                  <a:cubicBezTo>
                    <a:pt x="3345" y="9471"/>
                    <a:pt x="3345" y="9471"/>
                    <a:pt x="3345" y="9471"/>
                  </a:cubicBezTo>
                  <a:cubicBezTo>
                    <a:pt x="3092" y="8986"/>
                    <a:pt x="3092" y="8986"/>
                    <a:pt x="3092" y="8986"/>
                  </a:cubicBezTo>
                  <a:cubicBezTo>
                    <a:pt x="2924" y="9075"/>
                    <a:pt x="2924" y="9075"/>
                    <a:pt x="2924" y="9075"/>
                  </a:cubicBezTo>
                  <a:lnTo>
                    <a:pt x="2893" y="9010"/>
                  </a:lnTo>
                  <a:close/>
                  <a:moveTo>
                    <a:pt x="3329" y="9473"/>
                  </a:moveTo>
                  <a:cubicBezTo>
                    <a:pt x="3326" y="9492"/>
                    <a:pt x="3302" y="9617"/>
                    <a:pt x="3277" y="9681"/>
                  </a:cubicBezTo>
                  <a:cubicBezTo>
                    <a:pt x="3273" y="9676"/>
                    <a:pt x="3269" y="9670"/>
                    <a:pt x="3264" y="9663"/>
                  </a:cubicBezTo>
                  <a:cubicBezTo>
                    <a:pt x="3254" y="9647"/>
                    <a:pt x="3239" y="9625"/>
                    <a:pt x="3225" y="9603"/>
                  </a:cubicBezTo>
                  <a:cubicBezTo>
                    <a:pt x="3202" y="9566"/>
                    <a:pt x="3179" y="9529"/>
                    <a:pt x="3172" y="9518"/>
                  </a:cubicBezTo>
                  <a:cubicBezTo>
                    <a:pt x="3177" y="9504"/>
                    <a:pt x="3196" y="9456"/>
                    <a:pt x="3198" y="9430"/>
                  </a:cubicBezTo>
                  <a:cubicBezTo>
                    <a:pt x="3198" y="9430"/>
                    <a:pt x="3198" y="9430"/>
                    <a:pt x="3198" y="9430"/>
                  </a:cubicBezTo>
                  <a:cubicBezTo>
                    <a:pt x="3198" y="9430"/>
                    <a:pt x="3198" y="9430"/>
                    <a:pt x="3198" y="9430"/>
                  </a:cubicBezTo>
                  <a:cubicBezTo>
                    <a:pt x="3198" y="9425"/>
                    <a:pt x="3198" y="9427"/>
                    <a:pt x="3197" y="9426"/>
                  </a:cubicBezTo>
                  <a:cubicBezTo>
                    <a:pt x="3197" y="9425"/>
                    <a:pt x="3197" y="9424"/>
                    <a:pt x="3196" y="9423"/>
                  </a:cubicBezTo>
                  <a:cubicBezTo>
                    <a:pt x="3195" y="9421"/>
                    <a:pt x="3193" y="9418"/>
                    <a:pt x="3191" y="9414"/>
                  </a:cubicBezTo>
                  <a:cubicBezTo>
                    <a:pt x="3188" y="9407"/>
                    <a:pt x="3182" y="9397"/>
                    <a:pt x="3175" y="9384"/>
                  </a:cubicBezTo>
                  <a:cubicBezTo>
                    <a:pt x="3162" y="9360"/>
                    <a:pt x="3144" y="9328"/>
                    <a:pt x="3126" y="9295"/>
                  </a:cubicBezTo>
                  <a:cubicBezTo>
                    <a:pt x="3091" y="9231"/>
                    <a:pt x="3055" y="9167"/>
                    <a:pt x="3055" y="9167"/>
                  </a:cubicBezTo>
                  <a:cubicBezTo>
                    <a:pt x="3052" y="9160"/>
                    <a:pt x="3052" y="9160"/>
                    <a:pt x="3052" y="9160"/>
                  </a:cubicBezTo>
                  <a:cubicBezTo>
                    <a:pt x="2968" y="9205"/>
                    <a:pt x="2968" y="9205"/>
                    <a:pt x="2968" y="9205"/>
                  </a:cubicBezTo>
                  <a:cubicBezTo>
                    <a:pt x="3084" y="9446"/>
                    <a:pt x="3084" y="9446"/>
                    <a:pt x="3084" y="9446"/>
                  </a:cubicBezTo>
                  <a:cubicBezTo>
                    <a:pt x="3054" y="9493"/>
                    <a:pt x="3054" y="9493"/>
                    <a:pt x="3054" y="9493"/>
                  </a:cubicBezTo>
                  <a:cubicBezTo>
                    <a:pt x="3238" y="9760"/>
                    <a:pt x="3238" y="9760"/>
                    <a:pt x="3238" y="9760"/>
                  </a:cubicBezTo>
                  <a:cubicBezTo>
                    <a:pt x="3213" y="9794"/>
                    <a:pt x="3213" y="9794"/>
                    <a:pt x="3213" y="9794"/>
                  </a:cubicBezTo>
                  <a:cubicBezTo>
                    <a:pt x="2758" y="9100"/>
                    <a:pt x="2758" y="9100"/>
                    <a:pt x="2758" y="9100"/>
                  </a:cubicBezTo>
                  <a:cubicBezTo>
                    <a:pt x="2887" y="9030"/>
                    <a:pt x="2887" y="9030"/>
                    <a:pt x="2887" y="9030"/>
                  </a:cubicBezTo>
                  <a:cubicBezTo>
                    <a:pt x="2917" y="9095"/>
                    <a:pt x="2917" y="9095"/>
                    <a:pt x="2917" y="9095"/>
                  </a:cubicBezTo>
                  <a:cubicBezTo>
                    <a:pt x="3085" y="9006"/>
                    <a:pt x="3085" y="9006"/>
                    <a:pt x="3085" y="9006"/>
                  </a:cubicBezTo>
                  <a:lnTo>
                    <a:pt x="3329" y="9473"/>
                  </a:lnTo>
                  <a:close/>
                  <a:moveTo>
                    <a:pt x="3162" y="8876"/>
                  </a:moveTo>
                  <a:cubicBezTo>
                    <a:pt x="3356" y="9297"/>
                    <a:pt x="3356" y="9297"/>
                    <a:pt x="3356" y="9297"/>
                  </a:cubicBezTo>
                  <a:cubicBezTo>
                    <a:pt x="3370" y="9294"/>
                    <a:pt x="3370" y="9294"/>
                    <a:pt x="3370" y="9294"/>
                  </a:cubicBezTo>
                  <a:cubicBezTo>
                    <a:pt x="3370" y="9293"/>
                    <a:pt x="3370" y="9293"/>
                    <a:pt x="3370" y="9293"/>
                  </a:cubicBezTo>
                  <a:cubicBezTo>
                    <a:pt x="3369" y="9280"/>
                    <a:pt x="3373" y="9148"/>
                    <a:pt x="3436" y="9105"/>
                  </a:cubicBezTo>
                  <a:cubicBezTo>
                    <a:pt x="3484" y="9071"/>
                    <a:pt x="3507" y="9055"/>
                    <a:pt x="3516" y="9047"/>
                  </a:cubicBezTo>
                  <a:cubicBezTo>
                    <a:pt x="3546" y="9093"/>
                    <a:pt x="3546" y="9093"/>
                    <a:pt x="3546" y="9093"/>
                  </a:cubicBezTo>
                  <a:cubicBezTo>
                    <a:pt x="3552" y="9089"/>
                    <a:pt x="3552" y="9089"/>
                    <a:pt x="3552" y="9089"/>
                  </a:cubicBezTo>
                  <a:cubicBezTo>
                    <a:pt x="3552" y="9089"/>
                    <a:pt x="3617" y="9046"/>
                    <a:pt x="3675" y="9020"/>
                  </a:cubicBezTo>
                  <a:cubicBezTo>
                    <a:pt x="3732" y="8994"/>
                    <a:pt x="3816" y="8972"/>
                    <a:pt x="3816" y="8972"/>
                  </a:cubicBezTo>
                  <a:cubicBezTo>
                    <a:pt x="3825" y="8970"/>
                    <a:pt x="3825" y="8970"/>
                    <a:pt x="3825" y="8970"/>
                  </a:cubicBezTo>
                  <a:cubicBezTo>
                    <a:pt x="3803" y="8921"/>
                    <a:pt x="3803" y="8921"/>
                    <a:pt x="3803" y="8921"/>
                  </a:cubicBezTo>
                  <a:cubicBezTo>
                    <a:pt x="3918" y="8878"/>
                    <a:pt x="3918" y="8878"/>
                    <a:pt x="3918" y="8878"/>
                  </a:cubicBezTo>
                  <a:cubicBezTo>
                    <a:pt x="3799" y="8600"/>
                    <a:pt x="3799" y="8600"/>
                    <a:pt x="3799" y="8600"/>
                  </a:cubicBezTo>
                  <a:cubicBezTo>
                    <a:pt x="3796" y="8593"/>
                    <a:pt x="3796" y="8593"/>
                    <a:pt x="3796" y="8593"/>
                  </a:cubicBezTo>
                  <a:cubicBezTo>
                    <a:pt x="3548" y="8708"/>
                    <a:pt x="3548" y="8708"/>
                    <a:pt x="3548" y="8708"/>
                  </a:cubicBezTo>
                  <a:cubicBezTo>
                    <a:pt x="3524" y="8654"/>
                    <a:pt x="3524" y="8654"/>
                    <a:pt x="3524" y="8654"/>
                  </a:cubicBezTo>
                  <a:cubicBezTo>
                    <a:pt x="3244" y="8795"/>
                    <a:pt x="3244" y="8795"/>
                    <a:pt x="3244" y="8795"/>
                  </a:cubicBezTo>
                  <a:cubicBezTo>
                    <a:pt x="3259" y="8827"/>
                    <a:pt x="3259" y="8827"/>
                    <a:pt x="3259" y="8827"/>
                  </a:cubicBezTo>
                  <a:lnTo>
                    <a:pt x="3162" y="8876"/>
                  </a:lnTo>
                  <a:close/>
                  <a:moveTo>
                    <a:pt x="3517" y="8674"/>
                  </a:moveTo>
                  <a:cubicBezTo>
                    <a:pt x="3540" y="8728"/>
                    <a:pt x="3540" y="8728"/>
                    <a:pt x="3540" y="8728"/>
                  </a:cubicBezTo>
                  <a:cubicBezTo>
                    <a:pt x="3788" y="8613"/>
                    <a:pt x="3788" y="8613"/>
                    <a:pt x="3788" y="8613"/>
                  </a:cubicBezTo>
                  <a:cubicBezTo>
                    <a:pt x="3898" y="8869"/>
                    <a:pt x="3898" y="8869"/>
                    <a:pt x="3898" y="8869"/>
                  </a:cubicBezTo>
                  <a:cubicBezTo>
                    <a:pt x="3783" y="8913"/>
                    <a:pt x="3783" y="8913"/>
                    <a:pt x="3783" y="8913"/>
                  </a:cubicBezTo>
                  <a:cubicBezTo>
                    <a:pt x="3804" y="8960"/>
                    <a:pt x="3804" y="8960"/>
                    <a:pt x="3804" y="8960"/>
                  </a:cubicBezTo>
                  <a:cubicBezTo>
                    <a:pt x="3781" y="8966"/>
                    <a:pt x="3716" y="8984"/>
                    <a:pt x="3668" y="9006"/>
                  </a:cubicBezTo>
                  <a:cubicBezTo>
                    <a:pt x="3620" y="9028"/>
                    <a:pt x="3568" y="9061"/>
                    <a:pt x="3550" y="9072"/>
                  </a:cubicBezTo>
                  <a:cubicBezTo>
                    <a:pt x="3520" y="9026"/>
                    <a:pt x="3520" y="9026"/>
                    <a:pt x="3520" y="9026"/>
                  </a:cubicBezTo>
                  <a:cubicBezTo>
                    <a:pt x="3514" y="9031"/>
                    <a:pt x="3514" y="9031"/>
                    <a:pt x="3514" y="9031"/>
                  </a:cubicBezTo>
                  <a:cubicBezTo>
                    <a:pt x="3513" y="9031"/>
                    <a:pt x="3498" y="9043"/>
                    <a:pt x="3427" y="9093"/>
                  </a:cubicBezTo>
                  <a:cubicBezTo>
                    <a:pt x="3373" y="9132"/>
                    <a:pt x="3360" y="9217"/>
                    <a:pt x="3356" y="9264"/>
                  </a:cubicBezTo>
                  <a:cubicBezTo>
                    <a:pt x="3181" y="8883"/>
                    <a:pt x="3181" y="8883"/>
                    <a:pt x="3181" y="8883"/>
                  </a:cubicBezTo>
                  <a:cubicBezTo>
                    <a:pt x="3278" y="8834"/>
                    <a:pt x="3278" y="8834"/>
                    <a:pt x="3278" y="8834"/>
                  </a:cubicBezTo>
                  <a:cubicBezTo>
                    <a:pt x="3263" y="8802"/>
                    <a:pt x="3263" y="8802"/>
                    <a:pt x="3263" y="8802"/>
                  </a:cubicBezTo>
                  <a:lnTo>
                    <a:pt x="3517" y="8674"/>
                  </a:lnTo>
                  <a:close/>
                  <a:moveTo>
                    <a:pt x="3352" y="9001"/>
                  </a:moveTo>
                  <a:cubicBezTo>
                    <a:pt x="3352" y="9001"/>
                    <a:pt x="3382" y="8978"/>
                    <a:pt x="3435" y="8946"/>
                  </a:cubicBezTo>
                  <a:cubicBezTo>
                    <a:pt x="3437" y="8944"/>
                    <a:pt x="3440" y="8944"/>
                    <a:pt x="3443" y="8944"/>
                  </a:cubicBezTo>
                  <a:cubicBezTo>
                    <a:pt x="3454" y="8944"/>
                    <a:pt x="3471" y="8953"/>
                    <a:pt x="3485" y="8964"/>
                  </a:cubicBezTo>
                  <a:cubicBezTo>
                    <a:pt x="3498" y="8974"/>
                    <a:pt x="3508" y="8984"/>
                    <a:pt x="3508" y="8984"/>
                  </a:cubicBezTo>
                  <a:cubicBezTo>
                    <a:pt x="3511" y="8988"/>
                    <a:pt x="3511" y="8988"/>
                    <a:pt x="3511" y="8988"/>
                  </a:cubicBezTo>
                  <a:cubicBezTo>
                    <a:pt x="3637" y="8931"/>
                    <a:pt x="3637" y="8931"/>
                    <a:pt x="3637" y="8931"/>
                  </a:cubicBezTo>
                  <a:cubicBezTo>
                    <a:pt x="3632" y="8924"/>
                    <a:pt x="3632" y="8924"/>
                    <a:pt x="3632" y="8924"/>
                  </a:cubicBezTo>
                  <a:cubicBezTo>
                    <a:pt x="3632" y="8924"/>
                    <a:pt x="3624" y="8911"/>
                    <a:pt x="3616" y="8896"/>
                  </a:cubicBezTo>
                  <a:cubicBezTo>
                    <a:pt x="3608" y="8881"/>
                    <a:pt x="3600" y="8861"/>
                    <a:pt x="3600" y="8851"/>
                  </a:cubicBezTo>
                  <a:cubicBezTo>
                    <a:pt x="3600" y="8845"/>
                    <a:pt x="3601" y="8844"/>
                    <a:pt x="3603" y="8843"/>
                  </a:cubicBezTo>
                  <a:cubicBezTo>
                    <a:pt x="3658" y="8809"/>
                    <a:pt x="3699" y="8784"/>
                    <a:pt x="3699" y="8784"/>
                  </a:cubicBezTo>
                  <a:cubicBezTo>
                    <a:pt x="3704" y="8780"/>
                    <a:pt x="3704" y="8780"/>
                    <a:pt x="3704" y="8780"/>
                  </a:cubicBezTo>
                  <a:cubicBezTo>
                    <a:pt x="3684" y="8738"/>
                    <a:pt x="3684" y="8738"/>
                    <a:pt x="3684" y="8738"/>
                  </a:cubicBezTo>
                  <a:cubicBezTo>
                    <a:pt x="3302" y="8924"/>
                    <a:pt x="3302" y="8924"/>
                    <a:pt x="3302" y="8924"/>
                  </a:cubicBezTo>
                  <a:cubicBezTo>
                    <a:pt x="3345" y="9006"/>
                    <a:pt x="3345" y="9006"/>
                    <a:pt x="3345" y="9006"/>
                  </a:cubicBezTo>
                  <a:lnTo>
                    <a:pt x="3352" y="9001"/>
                  </a:lnTo>
                  <a:close/>
                  <a:moveTo>
                    <a:pt x="3677" y="8758"/>
                  </a:moveTo>
                  <a:cubicBezTo>
                    <a:pt x="3685" y="8775"/>
                    <a:pt x="3685" y="8775"/>
                    <a:pt x="3685" y="8775"/>
                  </a:cubicBezTo>
                  <a:cubicBezTo>
                    <a:pt x="3672" y="8783"/>
                    <a:pt x="3638" y="8804"/>
                    <a:pt x="3595" y="8830"/>
                  </a:cubicBezTo>
                  <a:cubicBezTo>
                    <a:pt x="3588" y="8835"/>
                    <a:pt x="3585" y="8843"/>
                    <a:pt x="3585" y="8851"/>
                  </a:cubicBezTo>
                  <a:cubicBezTo>
                    <a:pt x="3586" y="8875"/>
                    <a:pt x="3606" y="8910"/>
                    <a:pt x="3615" y="8925"/>
                  </a:cubicBezTo>
                  <a:cubicBezTo>
                    <a:pt x="3515" y="8970"/>
                    <a:pt x="3515" y="8970"/>
                    <a:pt x="3515" y="8970"/>
                  </a:cubicBezTo>
                  <a:cubicBezTo>
                    <a:pt x="3504" y="8960"/>
                    <a:pt x="3472" y="8930"/>
                    <a:pt x="3443" y="8929"/>
                  </a:cubicBezTo>
                  <a:cubicBezTo>
                    <a:pt x="3438" y="8929"/>
                    <a:pt x="3432" y="8930"/>
                    <a:pt x="3427" y="8933"/>
                  </a:cubicBezTo>
                  <a:cubicBezTo>
                    <a:pt x="3389" y="8957"/>
                    <a:pt x="3362" y="8976"/>
                    <a:pt x="3350" y="8984"/>
                  </a:cubicBezTo>
                  <a:cubicBezTo>
                    <a:pt x="3322" y="8931"/>
                    <a:pt x="3322" y="8931"/>
                    <a:pt x="3322" y="8931"/>
                  </a:cubicBezTo>
                  <a:lnTo>
                    <a:pt x="3677" y="8758"/>
                  </a:lnTo>
                  <a:close/>
                  <a:moveTo>
                    <a:pt x="3999" y="9637"/>
                  </a:moveTo>
                  <a:cubicBezTo>
                    <a:pt x="4161" y="9519"/>
                    <a:pt x="4161" y="9519"/>
                    <a:pt x="4161" y="9519"/>
                  </a:cubicBezTo>
                  <a:cubicBezTo>
                    <a:pt x="4139" y="9489"/>
                    <a:pt x="4139" y="9489"/>
                    <a:pt x="4139" y="9489"/>
                  </a:cubicBezTo>
                  <a:cubicBezTo>
                    <a:pt x="4153" y="9471"/>
                    <a:pt x="4153" y="9471"/>
                    <a:pt x="4153" y="9471"/>
                  </a:cubicBezTo>
                  <a:cubicBezTo>
                    <a:pt x="4156" y="9468"/>
                    <a:pt x="4156" y="9468"/>
                    <a:pt x="4156" y="9468"/>
                  </a:cubicBezTo>
                  <a:cubicBezTo>
                    <a:pt x="4070" y="9284"/>
                    <a:pt x="4070" y="9284"/>
                    <a:pt x="4070" y="9284"/>
                  </a:cubicBezTo>
                  <a:cubicBezTo>
                    <a:pt x="4109" y="9266"/>
                    <a:pt x="4109" y="9266"/>
                    <a:pt x="4109" y="9266"/>
                  </a:cubicBezTo>
                  <a:cubicBezTo>
                    <a:pt x="4012" y="9046"/>
                    <a:pt x="4012" y="9046"/>
                    <a:pt x="4012" y="9046"/>
                  </a:cubicBezTo>
                  <a:cubicBezTo>
                    <a:pt x="3736" y="9122"/>
                    <a:pt x="3736" y="9122"/>
                    <a:pt x="3736" y="9122"/>
                  </a:cubicBezTo>
                  <a:cubicBezTo>
                    <a:pt x="3758" y="9175"/>
                    <a:pt x="3758" y="9175"/>
                    <a:pt x="3758" y="9175"/>
                  </a:cubicBezTo>
                  <a:cubicBezTo>
                    <a:pt x="3620" y="9229"/>
                    <a:pt x="3620" y="9229"/>
                    <a:pt x="3620" y="9229"/>
                  </a:cubicBezTo>
                  <a:cubicBezTo>
                    <a:pt x="3686" y="9324"/>
                    <a:pt x="3686" y="9324"/>
                    <a:pt x="3686" y="9324"/>
                  </a:cubicBezTo>
                  <a:cubicBezTo>
                    <a:pt x="3732" y="9294"/>
                    <a:pt x="3732" y="9294"/>
                    <a:pt x="3732" y="9294"/>
                  </a:cubicBezTo>
                  <a:cubicBezTo>
                    <a:pt x="3767" y="9343"/>
                    <a:pt x="3767" y="9343"/>
                    <a:pt x="3767" y="9343"/>
                  </a:cubicBezTo>
                  <a:cubicBezTo>
                    <a:pt x="3723" y="9372"/>
                    <a:pt x="3723" y="9372"/>
                    <a:pt x="3723" y="9372"/>
                  </a:cubicBezTo>
                  <a:cubicBezTo>
                    <a:pt x="3813" y="9490"/>
                    <a:pt x="3813" y="9490"/>
                    <a:pt x="3813" y="9490"/>
                  </a:cubicBezTo>
                  <a:cubicBezTo>
                    <a:pt x="3860" y="9453"/>
                    <a:pt x="3860" y="9453"/>
                    <a:pt x="3860" y="9453"/>
                  </a:cubicBezTo>
                  <a:cubicBezTo>
                    <a:pt x="3896" y="9501"/>
                    <a:pt x="3896" y="9501"/>
                    <a:pt x="3896" y="9501"/>
                  </a:cubicBezTo>
                  <a:cubicBezTo>
                    <a:pt x="3849" y="9537"/>
                    <a:pt x="3849" y="9537"/>
                    <a:pt x="3849" y="9537"/>
                  </a:cubicBezTo>
                  <a:cubicBezTo>
                    <a:pt x="3936" y="9651"/>
                    <a:pt x="3936" y="9651"/>
                    <a:pt x="3936" y="9651"/>
                  </a:cubicBezTo>
                  <a:cubicBezTo>
                    <a:pt x="3979" y="9612"/>
                    <a:pt x="3979" y="9612"/>
                    <a:pt x="3979" y="9612"/>
                  </a:cubicBezTo>
                  <a:lnTo>
                    <a:pt x="3999" y="9637"/>
                  </a:lnTo>
                  <a:close/>
                  <a:moveTo>
                    <a:pt x="3870" y="9540"/>
                  </a:moveTo>
                  <a:cubicBezTo>
                    <a:pt x="3916" y="9503"/>
                    <a:pt x="3916" y="9503"/>
                    <a:pt x="3916" y="9503"/>
                  </a:cubicBezTo>
                  <a:cubicBezTo>
                    <a:pt x="3863" y="9432"/>
                    <a:pt x="3863" y="9432"/>
                    <a:pt x="3863" y="9432"/>
                  </a:cubicBezTo>
                  <a:cubicBezTo>
                    <a:pt x="3816" y="9470"/>
                    <a:pt x="3816" y="9470"/>
                    <a:pt x="3816" y="9470"/>
                  </a:cubicBezTo>
                  <a:cubicBezTo>
                    <a:pt x="3745" y="9375"/>
                    <a:pt x="3745" y="9375"/>
                    <a:pt x="3745" y="9375"/>
                  </a:cubicBezTo>
                  <a:cubicBezTo>
                    <a:pt x="3787" y="9347"/>
                    <a:pt x="3787" y="9347"/>
                    <a:pt x="3787" y="9347"/>
                  </a:cubicBezTo>
                  <a:cubicBezTo>
                    <a:pt x="3736" y="9274"/>
                    <a:pt x="3736" y="9274"/>
                    <a:pt x="3736" y="9274"/>
                  </a:cubicBezTo>
                  <a:cubicBezTo>
                    <a:pt x="3690" y="9304"/>
                    <a:pt x="3690" y="9304"/>
                    <a:pt x="3690" y="9304"/>
                  </a:cubicBezTo>
                  <a:cubicBezTo>
                    <a:pt x="3643" y="9236"/>
                    <a:pt x="3643" y="9236"/>
                    <a:pt x="3643" y="9236"/>
                  </a:cubicBezTo>
                  <a:cubicBezTo>
                    <a:pt x="3778" y="9183"/>
                    <a:pt x="3778" y="9183"/>
                    <a:pt x="3778" y="9183"/>
                  </a:cubicBezTo>
                  <a:cubicBezTo>
                    <a:pt x="3756" y="9131"/>
                    <a:pt x="3756" y="9131"/>
                    <a:pt x="3756" y="9131"/>
                  </a:cubicBezTo>
                  <a:cubicBezTo>
                    <a:pt x="4004" y="9064"/>
                    <a:pt x="4004" y="9064"/>
                    <a:pt x="4004" y="9064"/>
                  </a:cubicBezTo>
                  <a:cubicBezTo>
                    <a:pt x="4090" y="9258"/>
                    <a:pt x="4090" y="9258"/>
                    <a:pt x="4090" y="9258"/>
                  </a:cubicBezTo>
                  <a:cubicBezTo>
                    <a:pt x="4050" y="9276"/>
                    <a:pt x="4050" y="9276"/>
                    <a:pt x="4050" y="9276"/>
                  </a:cubicBezTo>
                  <a:cubicBezTo>
                    <a:pt x="4138" y="9466"/>
                    <a:pt x="4138" y="9466"/>
                    <a:pt x="4138" y="9466"/>
                  </a:cubicBezTo>
                  <a:cubicBezTo>
                    <a:pt x="4120" y="9489"/>
                    <a:pt x="4120" y="9489"/>
                    <a:pt x="4120" y="9489"/>
                  </a:cubicBezTo>
                  <a:cubicBezTo>
                    <a:pt x="4140" y="9516"/>
                    <a:pt x="4140" y="9516"/>
                    <a:pt x="4140" y="9516"/>
                  </a:cubicBezTo>
                  <a:cubicBezTo>
                    <a:pt x="4002" y="9617"/>
                    <a:pt x="4002" y="9617"/>
                    <a:pt x="4002" y="9617"/>
                  </a:cubicBezTo>
                  <a:cubicBezTo>
                    <a:pt x="3981" y="9590"/>
                    <a:pt x="3981" y="9590"/>
                    <a:pt x="3981" y="9590"/>
                  </a:cubicBezTo>
                  <a:cubicBezTo>
                    <a:pt x="3938" y="9629"/>
                    <a:pt x="3938" y="9629"/>
                    <a:pt x="3938" y="9629"/>
                  </a:cubicBezTo>
                  <a:lnTo>
                    <a:pt x="3870" y="9540"/>
                  </a:lnTo>
                  <a:close/>
                  <a:moveTo>
                    <a:pt x="4093" y="8911"/>
                  </a:moveTo>
                  <a:cubicBezTo>
                    <a:pt x="4417" y="8707"/>
                    <a:pt x="4417" y="8707"/>
                    <a:pt x="4417" y="8707"/>
                  </a:cubicBezTo>
                  <a:cubicBezTo>
                    <a:pt x="4400" y="8647"/>
                    <a:pt x="4400" y="8647"/>
                    <a:pt x="4400" y="8647"/>
                  </a:cubicBezTo>
                  <a:cubicBezTo>
                    <a:pt x="4357" y="8648"/>
                    <a:pt x="4357" y="8648"/>
                    <a:pt x="4357" y="8648"/>
                  </a:cubicBezTo>
                  <a:cubicBezTo>
                    <a:pt x="4336" y="8450"/>
                    <a:pt x="4336" y="8450"/>
                    <a:pt x="4336" y="8450"/>
                  </a:cubicBezTo>
                  <a:cubicBezTo>
                    <a:pt x="4314" y="8338"/>
                    <a:pt x="4314" y="8338"/>
                    <a:pt x="4314" y="8338"/>
                  </a:cubicBezTo>
                  <a:cubicBezTo>
                    <a:pt x="4313" y="8330"/>
                    <a:pt x="4313" y="8330"/>
                    <a:pt x="4313" y="8330"/>
                  </a:cubicBezTo>
                  <a:cubicBezTo>
                    <a:pt x="4137" y="8369"/>
                    <a:pt x="4137" y="8369"/>
                    <a:pt x="4137" y="8369"/>
                  </a:cubicBezTo>
                  <a:cubicBezTo>
                    <a:pt x="4154" y="8423"/>
                    <a:pt x="4154" y="8423"/>
                    <a:pt x="4154" y="8423"/>
                  </a:cubicBezTo>
                  <a:cubicBezTo>
                    <a:pt x="4123" y="8431"/>
                    <a:pt x="4123" y="8431"/>
                    <a:pt x="4123" y="8431"/>
                  </a:cubicBezTo>
                  <a:cubicBezTo>
                    <a:pt x="4018" y="8403"/>
                    <a:pt x="4018" y="8403"/>
                    <a:pt x="4018" y="8403"/>
                  </a:cubicBezTo>
                  <a:cubicBezTo>
                    <a:pt x="3889" y="8453"/>
                    <a:pt x="3889" y="8453"/>
                    <a:pt x="3889" y="8453"/>
                  </a:cubicBezTo>
                  <a:cubicBezTo>
                    <a:pt x="3981" y="8676"/>
                    <a:pt x="3981" y="8676"/>
                    <a:pt x="3981" y="8676"/>
                  </a:cubicBezTo>
                  <a:cubicBezTo>
                    <a:pt x="4063" y="8696"/>
                    <a:pt x="4063" y="8696"/>
                    <a:pt x="4063" y="8696"/>
                  </a:cubicBezTo>
                  <a:cubicBezTo>
                    <a:pt x="4072" y="8716"/>
                    <a:pt x="4072" y="8716"/>
                    <a:pt x="4072" y="8716"/>
                  </a:cubicBezTo>
                  <a:cubicBezTo>
                    <a:pt x="4015" y="8749"/>
                    <a:pt x="4015" y="8749"/>
                    <a:pt x="4015" y="8749"/>
                  </a:cubicBezTo>
                  <a:lnTo>
                    <a:pt x="4093" y="8911"/>
                  </a:lnTo>
                  <a:close/>
                  <a:moveTo>
                    <a:pt x="4074" y="8683"/>
                  </a:moveTo>
                  <a:cubicBezTo>
                    <a:pt x="3991" y="8664"/>
                    <a:pt x="3991" y="8664"/>
                    <a:pt x="3991" y="8664"/>
                  </a:cubicBezTo>
                  <a:cubicBezTo>
                    <a:pt x="3908" y="8461"/>
                    <a:pt x="3908" y="8461"/>
                    <a:pt x="3908" y="8461"/>
                  </a:cubicBezTo>
                  <a:cubicBezTo>
                    <a:pt x="4018" y="8419"/>
                    <a:pt x="4018" y="8419"/>
                    <a:pt x="4018" y="8419"/>
                  </a:cubicBezTo>
                  <a:cubicBezTo>
                    <a:pt x="4123" y="8447"/>
                    <a:pt x="4123" y="8447"/>
                    <a:pt x="4123" y="8447"/>
                  </a:cubicBezTo>
                  <a:cubicBezTo>
                    <a:pt x="4172" y="8434"/>
                    <a:pt x="4172" y="8434"/>
                    <a:pt x="4172" y="8434"/>
                  </a:cubicBezTo>
                  <a:cubicBezTo>
                    <a:pt x="4156" y="8380"/>
                    <a:pt x="4156" y="8380"/>
                    <a:pt x="4156" y="8380"/>
                  </a:cubicBezTo>
                  <a:cubicBezTo>
                    <a:pt x="4301" y="8348"/>
                    <a:pt x="4301" y="8348"/>
                    <a:pt x="4301" y="8348"/>
                  </a:cubicBezTo>
                  <a:cubicBezTo>
                    <a:pt x="4321" y="8452"/>
                    <a:pt x="4321" y="8452"/>
                    <a:pt x="4321" y="8452"/>
                  </a:cubicBezTo>
                  <a:cubicBezTo>
                    <a:pt x="4344" y="8663"/>
                    <a:pt x="4344" y="8663"/>
                    <a:pt x="4344" y="8663"/>
                  </a:cubicBezTo>
                  <a:cubicBezTo>
                    <a:pt x="4389" y="8662"/>
                    <a:pt x="4389" y="8662"/>
                    <a:pt x="4389" y="8662"/>
                  </a:cubicBezTo>
                  <a:cubicBezTo>
                    <a:pt x="4400" y="8700"/>
                    <a:pt x="4400" y="8700"/>
                    <a:pt x="4400" y="8700"/>
                  </a:cubicBezTo>
                  <a:cubicBezTo>
                    <a:pt x="4099" y="8890"/>
                    <a:pt x="4099" y="8890"/>
                    <a:pt x="4099" y="8890"/>
                  </a:cubicBezTo>
                  <a:cubicBezTo>
                    <a:pt x="4035" y="8755"/>
                    <a:pt x="4035" y="8755"/>
                    <a:pt x="4035" y="8755"/>
                  </a:cubicBezTo>
                  <a:cubicBezTo>
                    <a:pt x="4091" y="8723"/>
                    <a:pt x="4091" y="8723"/>
                    <a:pt x="4091" y="8723"/>
                  </a:cubicBezTo>
                  <a:lnTo>
                    <a:pt x="4074" y="8683"/>
                  </a:lnTo>
                  <a:close/>
                  <a:moveTo>
                    <a:pt x="4222" y="8689"/>
                  </a:moveTo>
                  <a:cubicBezTo>
                    <a:pt x="4181" y="8475"/>
                    <a:pt x="4181" y="8475"/>
                    <a:pt x="4181" y="8475"/>
                  </a:cubicBezTo>
                  <a:cubicBezTo>
                    <a:pt x="4179" y="8466"/>
                    <a:pt x="4179" y="8466"/>
                    <a:pt x="4179" y="8466"/>
                  </a:cubicBezTo>
                  <a:cubicBezTo>
                    <a:pt x="4107" y="8500"/>
                    <a:pt x="4107" y="8500"/>
                    <a:pt x="4107" y="8500"/>
                  </a:cubicBezTo>
                  <a:cubicBezTo>
                    <a:pt x="4190" y="8703"/>
                    <a:pt x="4190" y="8703"/>
                    <a:pt x="4190" y="8703"/>
                  </a:cubicBezTo>
                  <a:lnTo>
                    <a:pt x="4222" y="8689"/>
                  </a:lnTo>
                  <a:close/>
                  <a:moveTo>
                    <a:pt x="4168" y="8487"/>
                  </a:moveTo>
                  <a:cubicBezTo>
                    <a:pt x="4205" y="8681"/>
                    <a:pt x="4205" y="8681"/>
                    <a:pt x="4205" y="8681"/>
                  </a:cubicBezTo>
                  <a:cubicBezTo>
                    <a:pt x="4198" y="8684"/>
                    <a:pt x="4198" y="8684"/>
                    <a:pt x="4198" y="8684"/>
                  </a:cubicBezTo>
                  <a:cubicBezTo>
                    <a:pt x="4126" y="8507"/>
                    <a:pt x="4126" y="8507"/>
                    <a:pt x="4126" y="8507"/>
                  </a:cubicBezTo>
                  <a:lnTo>
                    <a:pt x="4168" y="8487"/>
                  </a:lnTo>
                  <a:close/>
                  <a:moveTo>
                    <a:pt x="3573" y="10791"/>
                  </a:moveTo>
                  <a:cubicBezTo>
                    <a:pt x="3719" y="10675"/>
                    <a:pt x="3719" y="10675"/>
                    <a:pt x="3719" y="10675"/>
                  </a:cubicBezTo>
                  <a:cubicBezTo>
                    <a:pt x="3772" y="10727"/>
                    <a:pt x="3772" y="10727"/>
                    <a:pt x="3772" y="10727"/>
                  </a:cubicBezTo>
                  <a:cubicBezTo>
                    <a:pt x="3986" y="10680"/>
                    <a:pt x="3986" y="10680"/>
                    <a:pt x="3986" y="10680"/>
                  </a:cubicBezTo>
                  <a:cubicBezTo>
                    <a:pt x="3967" y="10584"/>
                    <a:pt x="3967" y="10584"/>
                    <a:pt x="3967" y="10584"/>
                  </a:cubicBezTo>
                  <a:cubicBezTo>
                    <a:pt x="4097" y="10546"/>
                    <a:pt x="4097" y="10546"/>
                    <a:pt x="4097" y="10546"/>
                  </a:cubicBezTo>
                  <a:cubicBezTo>
                    <a:pt x="4098" y="10451"/>
                    <a:pt x="4098" y="10451"/>
                    <a:pt x="4098" y="10451"/>
                  </a:cubicBezTo>
                  <a:cubicBezTo>
                    <a:pt x="4098" y="10441"/>
                    <a:pt x="4098" y="10441"/>
                    <a:pt x="4098" y="10441"/>
                  </a:cubicBezTo>
                  <a:cubicBezTo>
                    <a:pt x="3302" y="10681"/>
                    <a:pt x="3302" y="10681"/>
                    <a:pt x="3302" y="10681"/>
                  </a:cubicBezTo>
                  <a:cubicBezTo>
                    <a:pt x="3455" y="10888"/>
                    <a:pt x="3455" y="10888"/>
                    <a:pt x="3455" y="10888"/>
                  </a:cubicBezTo>
                  <a:cubicBezTo>
                    <a:pt x="3596" y="10837"/>
                    <a:pt x="3596" y="10837"/>
                    <a:pt x="3596" y="10837"/>
                  </a:cubicBezTo>
                  <a:lnTo>
                    <a:pt x="3573" y="10791"/>
                  </a:lnTo>
                  <a:close/>
                  <a:moveTo>
                    <a:pt x="3327" y="10689"/>
                  </a:moveTo>
                  <a:cubicBezTo>
                    <a:pt x="4083" y="10461"/>
                    <a:pt x="4083" y="10461"/>
                    <a:pt x="4083" y="10461"/>
                  </a:cubicBezTo>
                  <a:cubicBezTo>
                    <a:pt x="4082" y="10535"/>
                    <a:pt x="4082" y="10535"/>
                    <a:pt x="4082" y="10535"/>
                  </a:cubicBezTo>
                  <a:cubicBezTo>
                    <a:pt x="3950" y="10573"/>
                    <a:pt x="3950" y="10573"/>
                    <a:pt x="3950" y="10573"/>
                  </a:cubicBezTo>
                  <a:cubicBezTo>
                    <a:pt x="3969" y="10669"/>
                    <a:pt x="3969" y="10669"/>
                    <a:pt x="3969" y="10669"/>
                  </a:cubicBezTo>
                  <a:cubicBezTo>
                    <a:pt x="3777" y="10711"/>
                    <a:pt x="3777" y="10711"/>
                    <a:pt x="3777" y="10711"/>
                  </a:cubicBezTo>
                  <a:cubicBezTo>
                    <a:pt x="3720" y="10655"/>
                    <a:pt x="3720" y="10655"/>
                    <a:pt x="3720" y="10655"/>
                  </a:cubicBezTo>
                  <a:cubicBezTo>
                    <a:pt x="3555" y="10787"/>
                    <a:pt x="3555" y="10787"/>
                    <a:pt x="3555" y="10787"/>
                  </a:cubicBezTo>
                  <a:cubicBezTo>
                    <a:pt x="3576" y="10829"/>
                    <a:pt x="3576" y="10829"/>
                    <a:pt x="3576" y="10829"/>
                  </a:cubicBezTo>
                  <a:cubicBezTo>
                    <a:pt x="3460" y="10871"/>
                    <a:pt x="3460" y="10871"/>
                    <a:pt x="3460" y="10871"/>
                  </a:cubicBezTo>
                  <a:lnTo>
                    <a:pt x="3327" y="10689"/>
                  </a:lnTo>
                  <a:close/>
                  <a:moveTo>
                    <a:pt x="4018" y="10705"/>
                  </a:moveTo>
                  <a:cubicBezTo>
                    <a:pt x="4026" y="10762"/>
                    <a:pt x="4026" y="10762"/>
                    <a:pt x="4026" y="10762"/>
                  </a:cubicBezTo>
                  <a:cubicBezTo>
                    <a:pt x="3802" y="10810"/>
                    <a:pt x="3802" y="10810"/>
                    <a:pt x="3802" y="10810"/>
                  </a:cubicBezTo>
                  <a:cubicBezTo>
                    <a:pt x="3742" y="10773"/>
                    <a:pt x="3742" y="10773"/>
                    <a:pt x="3742" y="10773"/>
                  </a:cubicBezTo>
                  <a:cubicBezTo>
                    <a:pt x="3647" y="10820"/>
                    <a:pt x="3647" y="10820"/>
                    <a:pt x="3647" y="10820"/>
                  </a:cubicBezTo>
                  <a:cubicBezTo>
                    <a:pt x="3676" y="10858"/>
                    <a:pt x="3676" y="10858"/>
                    <a:pt x="3676" y="10858"/>
                  </a:cubicBezTo>
                  <a:cubicBezTo>
                    <a:pt x="3513" y="10935"/>
                    <a:pt x="3513" y="10935"/>
                    <a:pt x="3513" y="10935"/>
                  </a:cubicBezTo>
                  <a:cubicBezTo>
                    <a:pt x="3646" y="11096"/>
                    <a:pt x="3646" y="11096"/>
                    <a:pt x="3646" y="11096"/>
                  </a:cubicBezTo>
                  <a:cubicBezTo>
                    <a:pt x="3821" y="11045"/>
                    <a:pt x="3821" y="11045"/>
                    <a:pt x="3821" y="11045"/>
                  </a:cubicBezTo>
                  <a:cubicBezTo>
                    <a:pt x="3814" y="10968"/>
                    <a:pt x="3814" y="10968"/>
                    <a:pt x="3814" y="10968"/>
                  </a:cubicBezTo>
                  <a:cubicBezTo>
                    <a:pt x="4012" y="10926"/>
                    <a:pt x="4012" y="10926"/>
                    <a:pt x="4012" y="10926"/>
                  </a:cubicBezTo>
                  <a:cubicBezTo>
                    <a:pt x="4022" y="10981"/>
                    <a:pt x="4022" y="10981"/>
                    <a:pt x="4022" y="10981"/>
                  </a:cubicBezTo>
                  <a:cubicBezTo>
                    <a:pt x="4090" y="10965"/>
                    <a:pt x="4090" y="10965"/>
                    <a:pt x="4090" y="10965"/>
                  </a:cubicBezTo>
                  <a:cubicBezTo>
                    <a:pt x="4185" y="10729"/>
                    <a:pt x="4185" y="10729"/>
                    <a:pt x="4185" y="10729"/>
                  </a:cubicBezTo>
                  <a:cubicBezTo>
                    <a:pt x="4186" y="10724"/>
                    <a:pt x="4186" y="10724"/>
                    <a:pt x="4186" y="10724"/>
                  </a:cubicBezTo>
                  <a:cubicBezTo>
                    <a:pt x="4126" y="10666"/>
                    <a:pt x="4126" y="10666"/>
                    <a:pt x="4126" y="10666"/>
                  </a:cubicBezTo>
                  <a:lnTo>
                    <a:pt x="4018" y="10705"/>
                  </a:lnTo>
                  <a:close/>
                  <a:moveTo>
                    <a:pt x="4079" y="10952"/>
                  </a:moveTo>
                  <a:cubicBezTo>
                    <a:pt x="4034" y="10963"/>
                    <a:pt x="4034" y="10963"/>
                    <a:pt x="4034" y="10963"/>
                  </a:cubicBezTo>
                  <a:cubicBezTo>
                    <a:pt x="4023" y="10909"/>
                    <a:pt x="4023" y="10909"/>
                    <a:pt x="4023" y="10909"/>
                  </a:cubicBezTo>
                  <a:cubicBezTo>
                    <a:pt x="3798" y="10957"/>
                    <a:pt x="3798" y="10957"/>
                    <a:pt x="3798" y="10957"/>
                  </a:cubicBezTo>
                  <a:cubicBezTo>
                    <a:pt x="3805" y="11034"/>
                    <a:pt x="3805" y="11034"/>
                    <a:pt x="3805" y="11034"/>
                  </a:cubicBezTo>
                  <a:cubicBezTo>
                    <a:pt x="3652" y="11079"/>
                    <a:pt x="3652" y="11079"/>
                    <a:pt x="3652" y="11079"/>
                  </a:cubicBezTo>
                  <a:cubicBezTo>
                    <a:pt x="3536" y="10940"/>
                    <a:pt x="3536" y="10940"/>
                    <a:pt x="3536" y="10940"/>
                  </a:cubicBezTo>
                  <a:cubicBezTo>
                    <a:pt x="3699" y="10863"/>
                    <a:pt x="3699" y="10863"/>
                    <a:pt x="3699" y="10863"/>
                  </a:cubicBezTo>
                  <a:cubicBezTo>
                    <a:pt x="3670" y="10825"/>
                    <a:pt x="3670" y="10825"/>
                    <a:pt x="3670" y="10825"/>
                  </a:cubicBezTo>
                  <a:cubicBezTo>
                    <a:pt x="3741" y="10790"/>
                    <a:pt x="3741" y="10790"/>
                    <a:pt x="3741" y="10790"/>
                  </a:cubicBezTo>
                  <a:cubicBezTo>
                    <a:pt x="3800" y="10826"/>
                    <a:pt x="3800" y="10826"/>
                    <a:pt x="3800" y="10826"/>
                  </a:cubicBezTo>
                  <a:cubicBezTo>
                    <a:pt x="4043" y="10773"/>
                    <a:pt x="4043" y="10773"/>
                    <a:pt x="4043" y="10773"/>
                  </a:cubicBezTo>
                  <a:cubicBezTo>
                    <a:pt x="4034" y="10715"/>
                    <a:pt x="4034" y="10715"/>
                    <a:pt x="4034" y="10715"/>
                  </a:cubicBezTo>
                  <a:cubicBezTo>
                    <a:pt x="4122" y="10683"/>
                    <a:pt x="4122" y="10683"/>
                    <a:pt x="4122" y="10683"/>
                  </a:cubicBezTo>
                  <a:cubicBezTo>
                    <a:pt x="4169" y="10728"/>
                    <a:pt x="4169" y="10728"/>
                    <a:pt x="4169" y="10728"/>
                  </a:cubicBezTo>
                  <a:lnTo>
                    <a:pt x="4079" y="10952"/>
                  </a:lnTo>
                  <a:close/>
                  <a:moveTo>
                    <a:pt x="4358" y="10716"/>
                  </a:moveTo>
                  <a:cubicBezTo>
                    <a:pt x="4273" y="10775"/>
                    <a:pt x="4273" y="10775"/>
                    <a:pt x="4273" y="10775"/>
                  </a:cubicBezTo>
                  <a:cubicBezTo>
                    <a:pt x="4198" y="10958"/>
                    <a:pt x="4198" y="10958"/>
                    <a:pt x="4198" y="10958"/>
                  </a:cubicBezTo>
                  <a:cubicBezTo>
                    <a:pt x="4484" y="11037"/>
                    <a:pt x="4484" y="11037"/>
                    <a:pt x="4484" y="11037"/>
                  </a:cubicBezTo>
                  <a:cubicBezTo>
                    <a:pt x="4613" y="10963"/>
                    <a:pt x="4613" y="10963"/>
                    <a:pt x="4613" y="10963"/>
                  </a:cubicBezTo>
                  <a:cubicBezTo>
                    <a:pt x="4618" y="10959"/>
                    <a:pt x="4618" y="10959"/>
                    <a:pt x="4618" y="10959"/>
                  </a:cubicBezTo>
                  <a:cubicBezTo>
                    <a:pt x="4527" y="10699"/>
                    <a:pt x="4527" y="10699"/>
                    <a:pt x="4527" y="10699"/>
                  </a:cubicBezTo>
                  <a:lnTo>
                    <a:pt x="4358" y="10716"/>
                  </a:lnTo>
                  <a:close/>
                  <a:moveTo>
                    <a:pt x="4482" y="11022"/>
                  </a:moveTo>
                  <a:cubicBezTo>
                    <a:pt x="4218" y="10948"/>
                    <a:pt x="4218" y="10948"/>
                    <a:pt x="4218" y="10948"/>
                  </a:cubicBezTo>
                  <a:cubicBezTo>
                    <a:pt x="4285" y="10785"/>
                    <a:pt x="4285" y="10785"/>
                    <a:pt x="4285" y="10785"/>
                  </a:cubicBezTo>
                  <a:cubicBezTo>
                    <a:pt x="4363" y="10730"/>
                    <a:pt x="4363" y="10730"/>
                    <a:pt x="4363" y="10730"/>
                  </a:cubicBezTo>
                  <a:cubicBezTo>
                    <a:pt x="4517" y="10715"/>
                    <a:pt x="4517" y="10715"/>
                    <a:pt x="4517" y="10715"/>
                  </a:cubicBezTo>
                  <a:cubicBezTo>
                    <a:pt x="4600" y="10953"/>
                    <a:pt x="4600" y="10953"/>
                    <a:pt x="4600" y="10953"/>
                  </a:cubicBezTo>
                  <a:lnTo>
                    <a:pt x="4482" y="11022"/>
                  </a:lnTo>
                  <a:close/>
                  <a:moveTo>
                    <a:pt x="4409" y="10751"/>
                  </a:moveTo>
                  <a:cubicBezTo>
                    <a:pt x="4284" y="10840"/>
                    <a:pt x="4284" y="10840"/>
                    <a:pt x="4284" y="10840"/>
                  </a:cubicBezTo>
                  <a:cubicBezTo>
                    <a:pt x="4472" y="10955"/>
                    <a:pt x="4472" y="10955"/>
                    <a:pt x="4472" y="10955"/>
                  </a:cubicBezTo>
                  <a:cubicBezTo>
                    <a:pt x="4475" y="10953"/>
                    <a:pt x="4475" y="10953"/>
                    <a:pt x="4475" y="10953"/>
                  </a:cubicBezTo>
                  <a:cubicBezTo>
                    <a:pt x="4476" y="10953"/>
                    <a:pt x="4497" y="10942"/>
                    <a:pt x="4504" y="10937"/>
                  </a:cubicBezTo>
                  <a:cubicBezTo>
                    <a:pt x="4505" y="10935"/>
                    <a:pt x="4506" y="10937"/>
                    <a:pt x="4508" y="10930"/>
                  </a:cubicBezTo>
                  <a:cubicBezTo>
                    <a:pt x="4508" y="10928"/>
                    <a:pt x="4506" y="10925"/>
                    <a:pt x="4505" y="10924"/>
                  </a:cubicBezTo>
                  <a:lnTo>
                    <a:pt x="4409" y="10751"/>
                  </a:lnTo>
                  <a:close/>
                  <a:moveTo>
                    <a:pt x="4483" y="10932"/>
                  </a:moveTo>
                  <a:cubicBezTo>
                    <a:pt x="4479" y="10934"/>
                    <a:pt x="4475" y="10936"/>
                    <a:pt x="4472" y="10938"/>
                  </a:cubicBezTo>
                  <a:cubicBezTo>
                    <a:pt x="4310" y="10839"/>
                    <a:pt x="4310" y="10839"/>
                    <a:pt x="4310" y="10839"/>
                  </a:cubicBezTo>
                  <a:cubicBezTo>
                    <a:pt x="4404" y="10773"/>
                    <a:pt x="4404" y="10773"/>
                    <a:pt x="4404" y="10773"/>
                  </a:cubicBezTo>
                  <a:cubicBezTo>
                    <a:pt x="4490" y="10928"/>
                    <a:pt x="4490" y="10928"/>
                    <a:pt x="4490" y="10928"/>
                  </a:cubicBezTo>
                  <a:cubicBezTo>
                    <a:pt x="4488" y="10929"/>
                    <a:pt x="4485" y="10931"/>
                    <a:pt x="4483" y="10932"/>
                  </a:cubicBezTo>
                  <a:close/>
                  <a:moveTo>
                    <a:pt x="4931" y="12025"/>
                  </a:moveTo>
                  <a:cubicBezTo>
                    <a:pt x="5000" y="11906"/>
                    <a:pt x="5000" y="11906"/>
                    <a:pt x="5000" y="11906"/>
                  </a:cubicBezTo>
                  <a:cubicBezTo>
                    <a:pt x="4489" y="11478"/>
                    <a:pt x="4489" y="11478"/>
                    <a:pt x="4489" y="11478"/>
                  </a:cubicBezTo>
                  <a:cubicBezTo>
                    <a:pt x="4393" y="11231"/>
                    <a:pt x="4393" y="11231"/>
                    <a:pt x="4393" y="11231"/>
                  </a:cubicBezTo>
                  <a:cubicBezTo>
                    <a:pt x="4524" y="11247"/>
                    <a:pt x="4524" y="11247"/>
                    <a:pt x="4524" y="11247"/>
                  </a:cubicBezTo>
                  <a:cubicBezTo>
                    <a:pt x="4484" y="11145"/>
                    <a:pt x="4484" y="11145"/>
                    <a:pt x="4484" y="11145"/>
                  </a:cubicBezTo>
                  <a:cubicBezTo>
                    <a:pt x="4483" y="11141"/>
                    <a:pt x="4483" y="11141"/>
                    <a:pt x="4483" y="11141"/>
                  </a:cubicBezTo>
                  <a:cubicBezTo>
                    <a:pt x="4188" y="11078"/>
                    <a:pt x="4188" y="11078"/>
                    <a:pt x="4188" y="11078"/>
                  </a:cubicBezTo>
                  <a:cubicBezTo>
                    <a:pt x="4438" y="11661"/>
                    <a:pt x="4438" y="11661"/>
                    <a:pt x="4438" y="11661"/>
                  </a:cubicBezTo>
                  <a:lnTo>
                    <a:pt x="4931" y="12025"/>
                  </a:lnTo>
                  <a:close/>
                  <a:moveTo>
                    <a:pt x="4472" y="11154"/>
                  </a:moveTo>
                  <a:cubicBezTo>
                    <a:pt x="4501" y="11229"/>
                    <a:pt x="4501" y="11229"/>
                    <a:pt x="4501" y="11229"/>
                  </a:cubicBezTo>
                  <a:cubicBezTo>
                    <a:pt x="4370" y="11214"/>
                    <a:pt x="4370" y="11214"/>
                    <a:pt x="4370" y="11214"/>
                  </a:cubicBezTo>
                  <a:cubicBezTo>
                    <a:pt x="4476" y="11487"/>
                    <a:pt x="4476" y="11487"/>
                    <a:pt x="4476" y="11487"/>
                  </a:cubicBezTo>
                  <a:cubicBezTo>
                    <a:pt x="4981" y="11909"/>
                    <a:pt x="4981" y="11909"/>
                    <a:pt x="4981" y="11909"/>
                  </a:cubicBezTo>
                  <a:cubicBezTo>
                    <a:pt x="4927" y="12003"/>
                    <a:pt x="4927" y="12003"/>
                    <a:pt x="4927" y="12003"/>
                  </a:cubicBezTo>
                  <a:cubicBezTo>
                    <a:pt x="4450" y="11652"/>
                    <a:pt x="4450" y="11652"/>
                    <a:pt x="4450" y="11652"/>
                  </a:cubicBezTo>
                  <a:cubicBezTo>
                    <a:pt x="4213" y="11099"/>
                    <a:pt x="4213" y="11099"/>
                    <a:pt x="4213" y="11099"/>
                  </a:cubicBezTo>
                  <a:lnTo>
                    <a:pt x="4472" y="11154"/>
                  </a:lnTo>
                  <a:close/>
                  <a:moveTo>
                    <a:pt x="4526" y="11479"/>
                  </a:moveTo>
                  <a:cubicBezTo>
                    <a:pt x="4861" y="11737"/>
                    <a:pt x="4861" y="11737"/>
                    <a:pt x="4861" y="11737"/>
                  </a:cubicBezTo>
                  <a:cubicBezTo>
                    <a:pt x="4890" y="11725"/>
                    <a:pt x="4890" y="11725"/>
                    <a:pt x="4890" y="11725"/>
                  </a:cubicBezTo>
                  <a:cubicBezTo>
                    <a:pt x="4556" y="11291"/>
                    <a:pt x="4556" y="11291"/>
                    <a:pt x="4556" y="11291"/>
                  </a:cubicBezTo>
                  <a:cubicBezTo>
                    <a:pt x="4554" y="11289"/>
                    <a:pt x="4554" y="11289"/>
                    <a:pt x="4554" y="11289"/>
                  </a:cubicBezTo>
                  <a:cubicBezTo>
                    <a:pt x="4437" y="11267"/>
                    <a:pt x="4437" y="11267"/>
                    <a:pt x="4437" y="11267"/>
                  </a:cubicBezTo>
                  <a:lnTo>
                    <a:pt x="4526" y="11479"/>
                  </a:lnTo>
                  <a:close/>
                  <a:moveTo>
                    <a:pt x="4867" y="11719"/>
                  </a:moveTo>
                  <a:cubicBezTo>
                    <a:pt x="4863" y="11720"/>
                    <a:pt x="4863" y="11720"/>
                    <a:pt x="4863" y="11720"/>
                  </a:cubicBezTo>
                  <a:cubicBezTo>
                    <a:pt x="4538" y="11470"/>
                    <a:pt x="4538" y="11470"/>
                    <a:pt x="4538" y="11470"/>
                  </a:cubicBezTo>
                  <a:cubicBezTo>
                    <a:pt x="4462" y="11287"/>
                    <a:pt x="4462" y="11287"/>
                    <a:pt x="4462" y="11287"/>
                  </a:cubicBezTo>
                  <a:cubicBezTo>
                    <a:pt x="4546" y="11302"/>
                    <a:pt x="4546" y="11302"/>
                    <a:pt x="4546" y="11302"/>
                  </a:cubicBezTo>
                  <a:lnTo>
                    <a:pt x="4867" y="11719"/>
                  </a:lnTo>
                  <a:close/>
                  <a:moveTo>
                    <a:pt x="4546" y="12073"/>
                  </a:moveTo>
                  <a:cubicBezTo>
                    <a:pt x="4580" y="12061"/>
                    <a:pt x="4580" y="12061"/>
                    <a:pt x="4580" y="12061"/>
                  </a:cubicBezTo>
                  <a:cubicBezTo>
                    <a:pt x="4767" y="12333"/>
                    <a:pt x="4767" y="12333"/>
                    <a:pt x="4767" y="12333"/>
                  </a:cubicBezTo>
                  <a:cubicBezTo>
                    <a:pt x="4781" y="12328"/>
                    <a:pt x="4781" y="12328"/>
                    <a:pt x="4781" y="12328"/>
                  </a:cubicBezTo>
                  <a:cubicBezTo>
                    <a:pt x="4781" y="12328"/>
                    <a:pt x="4779" y="12318"/>
                    <a:pt x="4779" y="12302"/>
                  </a:cubicBezTo>
                  <a:cubicBezTo>
                    <a:pt x="4779" y="12279"/>
                    <a:pt x="4782" y="12247"/>
                    <a:pt x="4795" y="12222"/>
                  </a:cubicBezTo>
                  <a:cubicBezTo>
                    <a:pt x="4818" y="12175"/>
                    <a:pt x="4858" y="12108"/>
                    <a:pt x="4858" y="12108"/>
                  </a:cubicBezTo>
                  <a:cubicBezTo>
                    <a:pt x="4861" y="12102"/>
                    <a:pt x="4861" y="12102"/>
                    <a:pt x="4861" y="12102"/>
                  </a:cubicBezTo>
                  <a:cubicBezTo>
                    <a:pt x="4442" y="11795"/>
                    <a:pt x="4442" y="11795"/>
                    <a:pt x="4442" y="11795"/>
                  </a:cubicBezTo>
                  <a:cubicBezTo>
                    <a:pt x="4409" y="11967"/>
                    <a:pt x="4409" y="11967"/>
                    <a:pt x="4409" y="11967"/>
                  </a:cubicBezTo>
                  <a:cubicBezTo>
                    <a:pt x="4319" y="12032"/>
                    <a:pt x="4319" y="12032"/>
                    <a:pt x="4319" y="12032"/>
                  </a:cubicBezTo>
                  <a:cubicBezTo>
                    <a:pt x="4522" y="12286"/>
                    <a:pt x="4522" y="12286"/>
                    <a:pt x="4522" y="12286"/>
                  </a:cubicBezTo>
                  <a:cubicBezTo>
                    <a:pt x="4639" y="12208"/>
                    <a:pt x="4639" y="12208"/>
                    <a:pt x="4639" y="12208"/>
                  </a:cubicBezTo>
                  <a:lnTo>
                    <a:pt x="4546" y="12073"/>
                  </a:lnTo>
                  <a:close/>
                  <a:moveTo>
                    <a:pt x="4340" y="12035"/>
                  </a:moveTo>
                  <a:cubicBezTo>
                    <a:pt x="4422" y="11976"/>
                    <a:pt x="4422" y="11976"/>
                    <a:pt x="4422" y="11976"/>
                  </a:cubicBezTo>
                  <a:cubicBezTo>
                    <a:pt x="4452" y="11821"/>
                    <a:pt x="4452" y="11821"/>
                    <a:pt x="4452" y="11821"/>
                  </a:cubicBezTo>
                  <a:cubicBezTo>
                    <a:pt x="4842" y="12106"/>
                    <a:pt x="4842" y="12106"/>
                    <a:pt x="4842" y="12106"/>
                  </a:cubicBezTo>
                  <a:cubicBezTo>
                    <a:pt x="4831" y="12123"/>
                    <a:pt x="4801" y="12176"/>
                    <a:pt x="4782" y="12215"/>
                  </a:cubicBezTo>
                  <a:cubicBezTo>
                    <a:pt x="4767" y="12244"/>
                    <a:pt x="4765" y="12278"/>
                    <a:pt x="4765" y="12302"/>
                  </a:cubicBezTo>
                  <a:cubicBezTo>
                    <a:pt x="4765" y="12303"/>
                    <a:pt x="4765" y="12303"/>
                    <a:pt x="4765" y="12303"/>
                  </a:cubicBezTo>
                  <a:cubicBezTo>
                    <a:pt x="4586" y="12044"/>
                    <a:pt x="4586" y="12044"/>
                    <a:pt x="4586" y="12044"/>
                  </a:cubicBezTo>
                  <a:cubicBezTo>
                    <a:pt x="4523" y="12065"/>
                    <a:pt x="4523" y="12065"/>
                    <a:pt x="4523" y="12065"/>
                  </a:cubicBezTo>
                  <a:cubicBezTo>
                    <a:pt x="4618" y="12204"/>
                    <a:pt x="4618" y="12204"/>
                    <a:pt x="4618" y="12204"/>
                  </a:cubicBezTo>
                  <a:cubicBezTo>
                    <a:pt x="4525" y="12266"/>
                    <a:pt x="4525" y="12266"/>
                    <a:pt x="4525" y="12266"/>
                  </a:cubicBezTo>
                  <a:lnTo>
                    <a:pt x="4340" y="12035"/>
                  </a:lnTo>
                  <a:close/>
                  <a:moveTo>
                    <a:pt x="4878" y="12634"/>
                  </a:moveTo>
                  <a:cubicBezTo>
                    <a:pt x="4650" y="12353"/>
                    <a:pt x="4650" y="12353"/>
                    <a:pt x="4650" y="12353"/>
                  </a:cubicBezTo>
                  <a:cubicBezTo>
                    <a:pt x="4583" y="12410"/>
                    <a:pt x="4583" y="12410"/>
                    <a:pt x="4583" y="12410"/>
                  </a:cubicBezTo>
                  <a:cubicBezTo>
                    <a:pt x="4821" y="12704"/>
                    <a:pt x="4821" y="12704"/>
                    <a:pt x="4821" y="12704"/>
                  </a:cubicBezTo>
                  <a:cubicBezTo>
                    <a:pt x="4875" y="12639"/>
                    <a:pt x="4875" y="12639"/>
                    <a:pt x="4875" y="12639"/>
                  </a:cubicBezTo>
                  <a:lnTo>
                    <a:pt x="4878" y="12634"/>
                  </a:lnTo>
                  <a:close/>
                  <a:moveTo>
                    <a:pt x="4821" y="12681"/>
                  </a:moveTo>
                  <a:cubicBezTo>
                    <a:pt x="4603" y="12412"/>
                    <a:pt x="4603" y="12412"/>
                    <a:pt x="4603" y="12412"/>
                  </a:cubicBezTo>
                  <a:cubicBezTo>
                    <a:pt x="4648" y="12374"/>
                    <a:pt x="4648" y="12374"/>
                    <a:pt x="4648" y="12374"/>
                  </a:cubicBezTo>
                  <a:cubicBezTo>
                    <a:pt x="4859" y="12634"/>
                    <a:pt x="4859" y="12634"/>
                    <a:pt x="4859" y="12634"/>
                  </a:cubicBezTo>
                  <a:lnTo>
                    <a:pt x="4821" y="12681"/>
                  </a:lnTo>
                  <a:close/>
                  <a:moveTo>
                    <a:pt x="4723" y="12817"/>
                  </a:moveTo>
                  <a:cubicBezTo>
                    <a:pt x="4357" y="12301"/>
                    <a:pt x="4357" y="12301"/>
                    <a:pt x="4357" y="12301"/>
                  </a:cubicBezTo>
                  <a:cubicBezTo>
                    <a:pt x="4304" y="12311"/>
                    <a:pt x="4304" y="12311"/>
                    <a:pt x="4304" y="12311"/>
                  </a:cubicBezTo>
                  <a:cubicBezTo>
                    <a:pt x="4311" y="12405"/>
                    <a:pt x="4311" y="12405"/>
                    <a:pt x="4311" y="12405"/>
                  </a:cubicBezTo>
                  <a:cubicBezTo>
                    <a:pt x="4273" y="12440"/>
                    <a:pt x="4273" y="12440"/>
                    <a:pt x="4273" y="12440"/>
                  </a:cubicBezTo>
                  <a:cubicBezTo>
                    <a:pt x="4452" y="12730"/>
                    <a:pt x="4452" y="12730"/>
                    <a:pt x="4452" y="12730"/>
                  </a:cubicBezTo>
                  <a:cubicBezTo>
                    <a:pt x="4442" y="12913"/>
                    <a:pt x="4442" y="12913"/>
                    <a:pt x="4442" y="12913"/>
                  </a:cubicBezTo>
                  <a:cubicBezTo>
                    <a:pt x="4635" y="12965"/>
                    <a:pt x="4635" y="12965"/>
                    <a:pt x="4635" y="12965"/>
                  </a:cubicBezTo>
                  <a:cubicBezTo>
                    <a:pt x="4721" y="12821"/>
                    <a:pt x="4721" y="12821"/>
                    <a:pt x="4721" y="12821"/>
                  </a:cubicBezTo>
                  <a:lnTo>
                    <a:pt x="4723" y="12817"/>
                  </a:lnTo>
                  <a:close/>
                  <a:moveTo>
                    <a:pt x="4628" y="12948"/>
                  </a:moveTo>
                  <a:cubicBezTo>
                    <a:pt x="4457" y="12902"/>
                    <a:pt x="4457" y="12902"/>
                    <a:pt x="4457" y="12902"/>
                  </a:cubicBezTo>
                  <a:cubicBezTo>
                    <a:pt x="4467" y="12727"/>
                    <a:pt x="4467" y="12727"/>
                    <a:pt x="4467" y="12727"/>
                  </a:cubicBezTo>
                  <a:cubicBezTo>
                    <a:pt x="4292" y="12443"/>
                    <a:pt x="4292" y="12443"/>
                    <a:pt x="4292" y="12443"/>
                  </a:cubicBezTo>
                  <a:cubicBezTo>
                    <a:pt x="4327" y="12411"/>
                    <a:pt x="4327" y="12411"/>
                    <a:pt x="4327" y="12411"/>
                  </a:cubicBezTo>
                  <a:cubicBezTo>
                    <a:pt x="4319" y="12323"/>
                    <a:pt x="4319" y="12323"/>
                    <a:pt x="4319" y="12323"/>
                  </a:cubicBezTo>
                  <a:cubicBezTo>
                    <a:pt x="4351" y="12317"/>
                    <a:pt x="4351" y="12317"/>
                    <a:pt x="4351" y="12317"/>
                  </a:cubicBezTo>
                  <a:cubicBezTo>
                    <a:pt x="4706" y="12818"/>
                    <a:pt x="4706" y="12818"/>
                    <a:pt x="4706" y="12818"/>
                  </a:cubicBezTo>
                  <a:lnTo>
                    <a:pt x="4628" y="12948"/>
                  </a:lnTo>
                  <a:close/>
                  <a:moveTo>
                    <a:pt x="4616" y="12750"/>
                  </a:moveTo>
                  <a:cubicBezTo>
                    <a:pt x="4615" y="12745"/>
                    <a:pt x="4615" y="12745"/>
                    <a:pt x="4615" y="12745"/>
                  </a:cubicBezTo>
                  <a:cubicBezTo>
                    <a:pt x="4537" y="12735"/>
                    <a:pt x="4537" y="12735"/>
                    <a:pt x="4537" y="12735"/>
                  </a:cubicBezTo>
                  <a:cubicBezTo>
                    <a:pt x="4487" y="12900"/>
                    <a:pt x="4487" y="12900"/>
                    <a:pt x="4487" y="12900"/>
                  </a:cubicBezTo>
                  <a:cubicBezTo>
                    <a:pt x="4636" y="12877"/>
                    <a:pt x="4636" y="12877"/>
                    <a:pt x="4636" y="12877"/>
                  </a:cubicBezTo>
                  <a:lnTo>
                    <a:pt x="4616" y="12750"/>
                  </a:lnTo>
                  <a:close/>
                  <a:moveTo>
                    <a:pt x="4548" y="12751"/>
                  </a:moveTo>
                  <a:cubicBezTo>
                    <a:pt x="4602" y="12758"/>
                    <a:pt x="4602" y="12758"/>
                    <a:pt x="4602" y="12758"/>
                  </a:cubicBezTo>
                  <a:cubicBezTo>
                    <a:pt x="4619" y="12865"/>
                    <a:pt x="4619" y="12865"/>
                    <a:pt x="4619" y="12865"/>
                  </a:cubicBezTo>
                  <a:cubicBezTo>
                    <a:pt x="4508" y="12881"/>
                    <a:pt x="4508" y="12881"/>
                    <a:pt x="4508" y="12881"/>
                  </a:cubicBezTo>
                  <a:lnTo>
                    <a:pt x="4548" y="12751"/>
                  </a:lnTo>
                  <a:close/>
                  <a:moveTo>
                    <a:pt x="4865" y="12968"/>
                  </a:moveTo>
                  <a:cubicBezTo>
                    <a:pt x="4860" y="12961"/>
                    <a:pt x="4860" y="12961"/>
                    <a:pt x="4860" y="12961"/>
                  </a:cubicBezTo>
                  <a:cubicBezTo>
                    <a:pt x="4738" y="13065"/>
                    <a:pt x="4738" y="13065"/>
                    <a:pt x="4738" y="13065"/>
                  </a:cubicBezTo>
                  <a:cubicBezTo>
                    <a:pt x="4741" y="13070"/>
                    <a:pt x="4741" y="13070"/>
                    <a:pt x="4741" y="13070"/>
                  </a:cubicBezTo>
                  <a:cubicBezTo>
                    <a:pt x="4741" y="13070"/>
                    <a:pt x="4782" y="13156"/>
                    <a:pt x="4786" y="13192"/>
                  </a:cubicBezTo>
                  <a:cubicBezTo>
                    <a:pt x="4786" y="13197"/>
                    <a:pt x="4787" y="13202"/>
                    <a:pt x="4787" y="13207"/>
                  </a:cubicBezTo>
                  <a:cubicBezTo>
                    <a:pt x="4787" y="13230"/>
                    <a:pt x="4782" y="13249"/>
                    <a:pt x="4779" y="13258"/>
                  </a:cubicBezTo>
                  <a:cubicBezTo>
                    <a:pt x="4675" y="13257"/>
                    <a:pt x="4675" y="13257"/>
                    <a:pt x="4675" y="13257"/>
                  </a:cubicBezTo>
                  <a:cubicBezTo>
                    <a:pt x="4634" y="13370"/>
                    <a:pt x="4634" y="13370"/>
                    <a:pt x="4634" y="13370"/>
                  </a:cubicBezTo>
                  <a:cubicBezTo>
                    <a:pt x="4777" y="13502"/>
                    <a:pt x="4777" y="13502"/>
                    <a:pt x="4777" y="13502"/>
                  </a:cubicBezTo>
                  <a:cubicBezTo>
                    <a:pt x="4936" y="13478"/>
                    <a:pt x="4936" y="13478"/>
                    <a:pt x="4936" y="13478"/>
                  </a:cubicBezTo>
                  <a:cubicBezTo>
                    <a:pt x="4937" y="13473"/>
                    <a:pt x="4937" y="13473"/>
                    <a:pt x="4937" y="13473"/>
                  </a:cubicBezTo>
                  <a:cubicBezTo>
                    <a:pt x="4937" y="13473"/>
                    <a:pt x="4959" y="13376"/>
                    <a:pt x="4959" y="13279"/>
                  </a:cubicBezTo>
                  <a:cubicBezTo>
                    <a:pt x="4959" y="13255"/>
                    <a:pt x="4958" y="13232"/>
                    <a:pt x="4955" y="13210"/>
                  </a:cubicBezTo>
                  <a:cubicBezTo>
                    <a:pt x="4939" y="13095"/>
                    <a:pt x="4865" y="12969"/>
                    <a:pt x="4865" y="12968"/>
                  </a:cubicBezTo>
                  <a:close/>
                  <a:moveTo>
                    <a:pt x="4924" y="13465"/>
                  </a:moveTo>
                  <a:cubicBezTo>
                    <a:pt x="4782" y="13486"/>
                    <a:pt x="4782" y="13486"/>
                    <a:pt x="4782" y="13486"/>
                  </a:cubicBezTo>
                  <a:cubicBezTo>
                    <a:pt x="4652" y="13366"/>
                    <a:pt x="4652" y="13366"/>
                    <a:pt x="4652" y="13366"/>
                  </a:cubicBezTo>
                  <a:cubicBezTo>
                    <a:pt x="4686" y="13272"/>
                    <a:pt x="4686" y="13272"/>
                    <a:pt x="4686" y="13272"/>
                  </a:cubicBezTo>
                  <a:cubicBezTo>
                    <a:pt x="4790" y="13273"/>
                    <a:pt x="4790" y="13273"/>
                    <a:pt x="4790" y="13273"/>
                  </a:cubicBezTo>
                  <a:cubicBezTo>
                    <a:pt x="4791" y="13268"/>
                    <a:pt x="4791" y="13268"/>
                    <a:pt x="4791" y="13268"/>
                  </a:cubicBezTo>
                  <a:cubicBezTo>
                    <a:pt x="4791" y="13268"/>
                    <a:pt x="4801" y="13240"/>
                    <a:pt x="4801" y="13207"/>
                  </a:cubicBezTo>
                  <a:cubicBezTo>
                    <a:pt x="4801" y="13202"/>
                    <a:pt x="4801" y="13196"/>
                    <a:pt x="4800" y="13190"/>
                  </a:cubicBezTo>
                  <a:cubicBezTo>
                    <a:pt x="4796" y="13155"/>
                    <a:pt x="4765" y="13088"/>
                    <a:pt x="4756" y="13069"/>
                  </a:cubicBezTo>
                  <a:cubicBezTo>
                    <a:pt x="4856" y="12984"/>
                    <a:pt x="4856" y="12984"/>
                    <a:pt x="4856" y="12984"/>
                  </a:cubicBezTo>
                  <a:cubicBezTo>
                    <a:pt x="4872" y="13013"/>
                    <a:pt x="4927" y="13118"/>
                    <a:pt x="4940" y="13212"/>
                  </a:cubicBezTo>
                  <a:cubicBezTo>
                    <a:pt x="4943" y="13233"/>
                    <a:pt x="4944" y="13256"/>
                    <a:pt x="4944" y="13279"/>
                  </a:cubicBezTo>
                  <a:cubicBezTo>
                    <a:pt x="4945" y="13361"/>
                    <a:pt x="4928" y="13444"/>
                    <a:pt x="4924" y="13465"/>
                  </a:cubicBezTo>
                  <a:close/>
                  <a:moveTo>
                    <a:pt x="5261" y="12857"/>
                  </a:moveTo>
                  <a:cubicBezTo>
                    <a:pt x="5269" y="12858"/>
                    <a:pt x="5269" y="12858"/>
                    <a:pt x="5269" y="12858"/>
                  </a:cubicBezTo>
                  <a:cubicBezTo>
                    <a:pt x="5260" y="12624"/>
                    <a:pt x="5260" y="12624"/>
                    <a:pt x="5260" y="12624"/>
                  </a:cubicBezTo>
                  <a:cubicBezTo>
                    <a:pt x="5196" y="12585"/>
                    <a:pt x="5196" y="12585"/>
                    <a:pt x="5196" y="12585"/>
                  </a:cubicBezTo>
                  <a:cubicBezTo>
                    <a:pt x="5296" y="12470"/>
                    <a:pt x="5296" y="12470"/>
                    <a:pt x="5296" y="12470"/>
                  </a:cubicBezTo>
                  <a:cubicBezTo>
                    <a:pt x="5155" y="12319"/>
                    <a:pt x="5155" y="12319"/>
                    <a:pt x="5155" y="12319"/>
                  </a:cubicBezTo>
                  <a:cubicBezTo>
                    <a:pt x="5323" y="12328"/>
                    <a:pt x="5323" y="12328"/>
                    <a:pt x="5323" y="12328"/>
                  </a:cubicBezTo>
                  <a:cubicBezTo>
                    <a:pt x="5351" y="12217"/>
                    <a:pt x="5351" y="12217"/>
                    <a:pt x="5351" y="12217"/>
                  </a:cubicBezTo>
                  <a:cubicBezTo>
                    <a:pt x="5048" y="12198"/>
                    <a:pt x="5048" y="12198"/>
                    <a:pt x="5048" y="12198"/>
                  </a:cubicBezTo>
                  <a:cubicBezTo>
                    <a:pt x="4976" y="12345"/>
                    <a:pt x="4976" y="12345"/>
                    <a:pt x="4976" y="12345"/>
                  </a:cubicBezTo>
                  <a:cubicBezTo>
                    <a:pt x="4980" y="12348"/>
                    <a:pt x="4980" y="12348"/>
                    <a:pt x="4980" y="12348"/>
                  </a:cubicBezTo>
                  <a:cubicBezTo>
                    <a:pt x="4980" y="12348"/>
                    <a:pt x="4994" y="12362"/>
                    <a:pt x="5010" y="12395"/>
                  </a:cubicBezTo>
                  <a:cubicBezTo>
                    <a:pt x="5027" y="12427"/>
                    <a:pt x="5046" y="12476"/>
                    <a:pt x="5055" y="12546"/>
                  </a:cubicBezTo>
                  <a:cubicBezTo>
                    <a:pt x="5056" y="12557"/>
                    <a:pt x="5057" y="12568"/>
                    <a:pt x="5057" y="12578"/>
                  </a:cubicBezTo>
                  <a:cubicBezTo>
                    <a:pt x="5057" y="12638"/>
                    <a:pt x="5035" y="12691"/>
                    <a:pt x="5012" y="12729"/>
                  </a:cubicBezTo>
                  <a:cubicBezTo>
                    <a:pt x="4990" y="12767"/>
                    <a:pt x="4968" y="12789"/>
                    <a:pt x="4968" y="12789"/>
                  </a:cubicBezTo>
                  <a:cubicBezTo>
                    <a:pt x="4962" y="12794"/>
                    <a:pt x="4962" y="12794"/>
                    <a:pt x="4962" y="12794"/>
                  </a:cubicBezTo>
                  <a:cubicBezTo>
                    <a:pt x="5005" y="12831"/>
                    <a:pt x="5005" y="12831"/>
                    <a:pt x="5005" y="12831"/>
                  </a:cubicBezTo>
                  <a:lnTo>
                    <a:pt x="5261" y="12857"/>
                  </a:lnTo>
                  <a:close/>
                  <a:moveTo>
                    <a:pt x="5072" y="12578"/>
                  </a:moveTo>
                  <a:cubicBezTo>
                    <a:pt x="5072" y="12567"/>
                    <a:pt x="5071" y="12556"/>
                    <a:pt x="5070" y="12544"/>
                  </a:cubicBezTo>
                  <a:cubicBezTo>
                    <a:pt x="5053" y="12421"/>
                    <a:pt x="5007" y="12358"/>
                    <a:pt x="4994" y="12342"/>
                  </a:cubicBezTo>
                  <a:cubicBezTo>
                    <a:pt x="5057" y="12213"/>
                    <a:pt x="5057" y="12213"/>
                    <a:pt x="5057" y="12213"/>
                  </a:cubicBezTo>
                  <a:cubicBezTo>
                    <a:pt x="5333" y="12231"/>
                    <a:pt x="5333" y="12231"/>
                    <a:pt x="5333" y="12231"/>
                  </a:cubicBezTo>
                  <a:cubicBezTo>
                    <a:pt x="5312" y="12312"/>
                    <a:pt x="5312" y="12312"/>
                    <a:pt x="5312" y="12312"/>
                  </a:cubicBezTo>
                  <a:cubicBezTo>
                    <a:pt x="5119" y="12302"/>
                    <a:pt x="5119" y="12302"/>
                    <a:pt x="5119" y="12302"/>
                  </a:cubicBezTo>
                  <a:cubicBezTo>
                    <a:pt x="5276" y="12470"/>
                    <a:pt x="5276" y="12470"/>
                    <a:pt x="5276" y="12470"/>
                  </a:cubicBezTo>
                  <a:cubicBezTo>
                    <a:pt x="5173" y="12589"/>
                    <a:pt x="5173" y="12589"/>
                    <a:pt x="5173" y="12589"/>
                  </a:cubicBezTo>
                  <a:cubicBezTo>
                    <a:pt x="5246" y="12633"/>
                    <a:pt x="5246" y="12633"/>
                    <a:pt x="5246" y="12633"/>
                  </a:cubicBezTo>
                  <a:cubicBezTo>
                    <a:pt x="5254" y="12841"/>
                    <a:pt x="5254" y="12841"/>
                    <a:pt x="5254" y="12841"/>
                  </a:cubicBezTo>
                  <a:cubicBezTo>
                    <a:pt x="5011" y="12817"/>
                    <a:pt x="5011" y="12817"/>
                    <a:pt x="5011" y="12817"/>
                  </a:cubicBezTo>
                  <a:cubicBezTo>
                    <a:pt x="4984" y="12793"/>
                    <a:pt x="4984" y="12793"/>
                    <a:pt x="4984" y="12793"/>
                  </a:cubicBezTo>
                  <a:cubicBezTo>
                    <a:pt x="5004" y="12771"/>
                    <a:pt x="5072" y="12688"/>
                    <a:pt x="5072" y="12578"/>
                  </a:cubicBezTo>
                  <a:close/>
                  <a:moveTo>
                    <a:pt x="1434" y="15547"/>
                  </a:moveTo>
                  <a:cubicBezTo>
                    <a:pt x="1540" y="15412"/>
                    <a:pt x="1540" y="15412"/>
                    <a:pt x="1540" y="15412"/>
                  </a:cubicBezTo>
                  <a:cubicBezTo>
                    <a:pt x="1640" y="15477"/>
                    <a:pt x="1640" y="15477"/>
                    <a:pt x="1640" y="15477"/>
                  </a:cubicBezTo>
                  <a:cubicBezTo>
                    <a:pt x="1604" y="15530"/>
                    <a:pt x="1604" y="15530"/>
                    <a:pt x="1604" y="15530"/>
                  </a:cubicBezTo>
                  <a:cubicBezTo>
                    <a:pt x="1838" y="15661"/>
                    <a:pt x="1838" y="15661"/>
                    <a:pt x="1838" y="15661"/>
                  </a:cubicBezTo>
                  <a:cubicBezTo>
                    <a:pt x="1893" y="15543"/>
                    <a:pt x="1893" y="15543"/>
                    <a:pt x="1893" y="15543"/>
                  </a:cubicBezTo>
                  <a:cubicBezTo>
                    <a:pt x="1895" y="15538"/>
                    <a:pt x="1895" y="15538"/>
                    <a:pt x="1895" y="15538"/>
                  </a:cubicBezTo>
                  <a:cubicBezTo>
                    <a:pt x="1505" y="15239"/>
                    <a:pt x="1505" y="15239"/>
                    <a:pt x="1505" y="15239"/>
                  </a:cubicBezTo>
                  <a:cubicBezTo>
                    <a:pt x="1249" y="15554"/>
                    <a:pt x="1249" y="15554"/>
                    <a:pt x="1249" y="15554"/>
                  </a:cubicBezTo>
                  <a:cubicBezTo>
                    <a:pt x="1443" y="15718"/>
                    <a:pt x="1443" y="15718"/>
                    <a:pt x="1443" y="15718"/>
                  </a:cubicBezTo>
                  <a:cubicBezTo>
                    <a:pt x="1390" y="15807"/>
                    <a:pt x="1390" y="15807"/>
                    <a:pt x="1390" y="15807"/>
                  </a:cubicBezTo>
                  <a:cubicBezTo>
                    <a:pt x="1499" y="15911"/>
                    <a:pt x="1499" y="15911"/>
                    <a:pt x="1499" y="15911"/>
                  </a:cubicBezTo>
                  <a:cubicBezTo>
                    <a:pt x="1602" y="15672"/>
                    <a:pt x="1602" y="15672"/>
                    <a:pt x="1602" y="15672"/>
                  </a:cubicBezTo>
                  <a:lnTo>
                    <a:pt x="1434" y="15547"/>
                  </a:lnTo>
                  <a:close/>
                  <a:moveTo>
                    <a:pt x="1494" y="15885"/>
                  </a:moveTo>
                  <a:cubicBezTo>
                    <a:pt x="1409" y="15804"/>
                    <a:pt x="1409" y="15804"/>
                    <a:pt x="1409" y="15804"/>
                  </a:cubicBezTo>
                  <a:cubicBezTo>
                    <a:pt x="1462" y="15715"/>
                    <a:pt x="1462" y="15715"/>
                    <a:pt x="1462" y="15715"/>
                  </a:cubicBezTo>
                  <a:cubicBezTo>
                    <a:pt x="1269" y="15552"/>
                    <a:pt x="1269" y="15552"/>
                    <a:pt x="1269" y="15552"/>
                  </a:cubicBezTo>
                  <a:cubicBezTo>
                    <a:pt x="1507" y="15260"/>
                    <a:pt x="1507" y="15260"/>
                    <a:pt x="1507" y="15260"/>
                  </a:cubicBezTo>
                  <a:cubicBezTo>
                    <a:pt x="1877" y="15542"/>
                    <a:pt x="1877" y="15542"/>
                    <a:pt x="1877" y="15542"/>
                  </a:cubicBezTo>
                  <a:cubicBezTo>
                    <a:pt x="1831" y="15640"/>
                    <a:pt x="1831" y="15640"/>
                    <a:pt x="1831" y="15640"/>
                  </a:cubicBezTo>
                  <a:cubicBezTo>
                    <a:pt x="1625" y="15524"/>
                    <a:pt x="1625" y="15524"/>
                    <a:pt x="1625" y="15524"/>
                  </a:cubicBezTo>
                  <a:cubicBezTo>
                    <a:pt x="1660" y="15472"/>
                    <a:pt x="1660" y="15472"/>
                    <a:pt x="1660" y="15472"/>
                  </a:cubicBezTo>
                  <a:cubicBezTo>
                    <a:pt x="1536" y="15392"/>
                    <a:pt x="1536" y="15392"/>
                    <a:pt x="1536" y="15392"/>
                  </a:cubicBezTo>
                  <a:cubicBezTo>
                    <a:pt x="1413" y="15549"/>
                    <a:pt x="1413" y="15549"/>
                    <a:pt x="1413" y="15549"/>
                  </a:cubicBezTo>
                  <a:cubicBezTo>
                    <a:pt x="1583" y="15677"/>
                    <a:pt x="1583" y="15677"/>
                    <a:pt x="1583" y="15677"/>
                  </a:cubicBezTo>
                  <a:lnTo>
                    <a:pt x="1494" y="15885"/>
                  </a:lnTo>
                  <a:close/>
                  <a:moveTo>
                    <a:pt x="1058" y="15090"/>
                  </a:moveTo>
                  <a:cubicBezTo>
                    <a:pt x="1029" y="15204"/>
                    <a:pt x="1029" y="15204"/>
                    <a:pt x="1029" y="15204"/>
                  </a:cubicBezTo>
                  <a:cubicBezTo>
                    <a:pt x="1133" y="15286"/>
                    <a:pt x="1133" y="15286"/>
                    <a:pt x="1133" y="15286"/>
                  </a:cubicBezTo>
                  <a:cubicBezTo>
                    <a:pt x="1078" y="15391"/>
                    <a:pt x="1078" y="15391"/>
                    <a:pt x="1078" y="15391"/>
                  </a:cubicBezTo>
                  <a:cubicBezTo>
                    <a:pt x="1194" y="15492"/>
                    <a:pt x="1194" y="15492"/>
                    <a:pt x="1194" y="15492"/>
                  </a:cubicBezTo>
                  <a:cubicBezTo>
                    <a:pt x="1435" y="15177"/>
                    <a:pt x="1435" y="15177"/>
                    <a:pt x="1435" y="15177"/>
                  </a:cubicBezTo>
                  <a:cubicBezTo>
                    <a:pt x="1440" y="15171"/>
                    <a:pt x="1440" y="15171"/>
                    <a:pt x="1440" y="15171"/>
                  </a:cubicBezTo>
                  <a:cubicBezTo>
                    <a:pt x="1059" y="14879"/>
                    <a:pt x="1059" y="14879"/>
                    <a:pt x="1059" y="14879"/>
                  </a:cubicBezTo>
                  <a:cubicBezTo>
                    <a:pt x="993" y="14953"/>
                    <a:pt x="993" y="14953"/>
                    <a:pt x="993" y="14953"/>
                  </a:cubicBezTo>
                  <a:lnTo>
                    <a:pt x="1058" y="15090"/>
                  </a:lnTo>
                  <a:close/>
                  <a:moveTo>
                    <a:pt x="1060" y="14899"/>
                  </a:moveTo>
                  <a:cubicBezTo>
                    <a:pt x="1419" y="15174"/>
                    <a:pt x="1419" y="15174"/>
                    <a:pt x="1419" y="15174"/>
                  </a:cubicBezTo>
                  <a:cubicBezTo>
                    <a:pt x="1192" y="15470"/>
                    <a:pt x="1192" y="15470"/>
                    <a:pt x="1192" y="15470"/>
                  </a:cubicBezTo>
                  <a:cubicBezTo>
                    <a:pt x="1097" y="15388"/>
                    <a:pt x="1097" y="15388"/>
                    <a:pt x="1097" y="15388"/>
                  </a:cubicBezTo>
                  <a:cubicBezTo>
                    <a:pt x="1152" y="15282"/>
                    <a:pt x="1152" y="15282"/>
                    <a:pt x="1152" y="15282"/>
                  </a:cubicBezTo>
                  <a:cubicBezTo>
                    <a:pt x="1046" y="15199"/>
                    <a:pt x="1046" y="15199"/>
                    <a:pt x="1046" y="15199"/>
                  </a:cubicBezTo>
                  <a:cubicBezTo>
                    <a:pt x="1073" y="15088"/>
                    <a:pt x="1073" y="15088"/>
                    <a:pt x="1073" y="15088"/>
                  </a:cubicBezTo>
                  <a:cubicBezTo>
                    <a:pt x="1011" y="14956"/>
                    <a:pt x="1011" y="14956"/>
                    <a:pt x="1011" y="14956"/>
                  </a:cubicBezTo>
                  <a:lnTo>
                    <a:pt x="1060" y="14899"/>
                  </a:lnTo>
                  <a:close/>
                  <a:moveTo>
                    <a:pt x="2907" y="12370"/>
                  </a:moveTo>
                  <a:cubicBezTo>
                    <a:pt x="3019" y="12398"/>
                    <a:pt x="3019" y="12398"/>
                    <a:pt x="3019" y="12398"/>
                  </a:cubicBezTo>
                  <a:cubicBezTo>
                    <a:pt x="3059" y="12309"/>
                    <a:pt x="3059" y="12309"/>
                    <a:pt x="3059" y="12309"/>
                  </a:cubicBezTo>
                  <a:cubicBezTo>
                    <a:pt x="2998" y="12306"/>
                    <a:pt x="2998" y="12306"/>
                    <a:pt x="2998" y="12306"/>
                  </a:cubicBezTo>
                  <a:cubicBezTo>
                    <a:pt x="3001" y="12242"/>
                    <a:pt x="3001" y="12242"/>
                    <a:pt x="3001" y="12242"/>
                  </a:cubicBezTo>
                  <a:cubicBezTo>
                    <a:pt x="3017" y="12200"/>
                    <a:pt x="3017" y="12200"/>
                    <a:pt x="3017" y="12200"/>
                  </a:cubicBezTo>
                  <a:cubicBezTo>
                    <a:pt x="3085" y="12224"/>
                    <a:pt x="3085" y="12224"/>
                    <a:pt x="3085" y="12224"/>
                  </a:cubicBezTo>
                  <a:cubicBezTo>
                    <a:pt x="3141" y="12090"/>
                    <a:pt x="3141" y="12090"/>
                    <a:pt x="3141" y="12090"/>
                  </a:cubicBezTo>
                  <a:cubicBezTo>
                    <a:pt x="2947" y="12030"/>
                    <a:pt x="2947" y="12030"/>
                    <a:pt x="2947" y="12030"/>
                  </a:cubicBezTo>
                  <a:cubicBezTo>
                    <a:pt x="2893" y="12179"/>
                    <a:pt x="2893" y="12179"/>
                    <a:pt x="2893" y="12179"/>
                  </a:cubicBezTo>
                  <a:lnTo>
                    <a:pt x="2907" y="12370"/>
                  </a:lnTo>
                  <a:close/>
                  <a:moveTo>
                    <a:pt x="2956" y="12048"/>
                  </a:moveTo>
                  <a:cubicBezTo>
                    <a:pt x="3121" y="12099"/>
                    <a:pt x="3121" y="12099"/>
                    <a:pt x="3121" y="12099"/>
                  </a:cubicBezTo>
                  <a:cubicBezTo>
                    <a:pt x="3077" y="12205"/>
                    <a:pt x="3077" y="12205"/>
                    <a:pt x="3077" y="12205"/>
                  </a:cubicBezTo>
                  <a:cubicBezTo>
                    <a:pt x="3015" y="12184"/>
                    <a:pt x="3015" y="12184"/>
                    <a:pt x="3015" y="12184"/>
                  </a:cubicBezTo>
                  <a:cubicBezTo>
                    <a:pt x="3009" y="12181"/>
                    <a:pt x="3009" y="12181"/>
                    <a:pt x="3009" y="12181"/>
                  </a:cubicBezTo>
                  <a:cubicBezTo>
                    <a:pt x="2986" y="12239"/>
                    <a:pt x="2986" y="12239"/>
                    <a:pt x="2986" y="12239"/>
                  </a:cubicBezTo>
                  <a:cubicBezTo>
                    <a:pt x="2983" y="12320"/>
                    <a:pt x="2983" y="12320"/>
                    <a:pt x="2983" y="12320"/>
                  </a:cubicBezTo>
                  <a:cubicBezTo>
                    <a:pt x="3037" y="12323"/>
                    <a:pt x="3037" y="12323"/>
                    <a:pt x="3037" y="12323"/>
                  </a:cubicBezTo>
                  <a:cubicBezTo>
                    <a:pt x="3011" y="12381"/>
                    <a:pt x="3011" y="12381"/>
                    <a:pt x="3011" y="12381"/>
                  </a:cubicBezTo>
                  <a:cubicBezTo>
                    <a:pt x="2921" y="12358"/>
                    <a:pt x="2921" y="12358"/>
                    <a:pt x="2921" y="12358"/>
                  </a:cubicBezTo>
                  <a:cubicBezTo>
                    <a:pt x="2908" y="12181"/>
                    <a:pt x="2908" y="12181"/>
                    <a:pt x="2908" y="12181"/>
                  </a:cubicBezTo>
                  <a:lnTo>
                    <a:pt x="2956" y="12048"/>
                  </a:lnTo>
                  <a:close/>
                  <a:moveTo>
                    <a:pt x="2465" y="12255"/>
                  </a:moveTo>
                  <a:cubicBezTo>
                    <a:pt x="2581" y="12289"/>
                    <a:pt x="2581" y="12289"/>
                    <a:pt x="2581" y="12289"/>
                  </a:cubicBezTo>
                  <a:cubicBezTo>
                    <a:pt x="2573" y="12323"/>
                    <a:pt x="2573" y="12323"/>
                    <a:pt x="2573" y="12323"/>
                  </a:cubicBezTo>
                  <a:cubicBezTo>
                    <a:pt x="2839" y="12358"/>
                    <a:pt x="2839" y="12358"/>
                    <a:pt x="2839" y="12358"/>
                  </a:cubicBezTo>
                  <a:cubicBezTo>
                    <a:pt x="2822" y="12204"/>
                    <a:pt x="2822" y="12204"/>
                    <a:pt x="2822" y="12204"/>
                  </a:cubicBezTo>
                  <a:cubicBezTo>
                    <a:pt x="2821" y="12199"/>
                    <a:pt x="2821" y="12199"/>
                    <a:pt x="2821" y="12199"/>
                  </a:cubicBezTo>
                  <a:cubicBezTo>
                    <a:pt x="2542" y="12129"/>
                    <a:pt x="2542" y="12129"/>
                    <a:pt x="2542" y="12129"/>
                  </a:cubicBezTo>
                  <a:cubicBezTo>
                    <a:pt x="2570" y="12024"/>
                    <a:pt x="2570" y="12024"/>
                    <a:pt x="2570" y="12024"/>
                  </a:cubicBezTo>
                  <a:cubicBezTo>
                    <a:pt x="2394" y="12017"/>
                    <a:pt x="2394" y="12017"/>
                    <a:pt x="2394" y="12017"/>
                  </a:cubicBezTo>
                  <a:cubicBezTo>
                    <a:pt x="2357" y="12248"/>
                    <a:pt x="2357" y="12248"/>
                    <a:pt x="2357" y="12248"/>
                  </a:cubicBezTo>
                  <a:lnTo>
                    <a:pt x="2465" y="12255"/>
                  </a:lnTo>
                  <a:close/>
                  <a:moveTo>
                    <a:pt x="2406" y="12032"/>
                  </a:moveTo>
                  <a:cubicBezTo>
                    <a:pt x="2551" y="12038"/>
                    <a:pt x="2551" y="12038"/>
                    <a:pt x="2551" y="12038"/>
                  </a:cubicBezTo>
                  <a:cubicBezTo>
                    <a:pt x="2524" y="12140"/>
                    <a:pt x="2524" y="12140"/>
                    <a:pt x="2524" y="12140"/>
                  </a:cubicBezTo>
                  <a:cubicBezTo>
                    <a:pt x="2808" y="12210"/>
                    <a:pt x="2808" y="12210"/>
                    <a:pt x="2808" y="12210"/>
                  </a:cubicBezTo>
                  <a:cubicBezTo>
                    <a:pt x="2822" y="12341"/>
                    <a:pt x="2822" y="12341"/>
                    <a:pt x="2822" y="12341"/>
                  </a:cubicBezTo>
                  <a:cubicBezTo>
                    <a:pt x="2591" y="12311"/>
                    <a:pt x="2591" y="12311"/>
                    <a:pt x="2591" y="12311"/>
                  </a:cubicBezTo>
                  <a:cubicBezTo>
                    <a:pt x="2599" y="12278"/>
                    <a:pt x="2599" y="12278"/>
                    <a:pt x="2599" y="12278"/>
                  </a:cubicBezTo>
                  <a:cubicBezTo>
                    <a:pt x="2467" y="12240"/>
                    <a:pt x="2467" y="12240"/>
                    <a:pt x="2467" y="12240"/>
                  </a:cubicBezTo>
                  <a:cubicBezTo>
                    <a:pt x="2374" y="12234"/>
                    <a:pt x="2374" y="12234"/>
                    <a:pt x="2374" y="12234"/>
                  </a:cubicBezTo>
                  <a:lnTo>
                    <a:pt x="2406" y="12032"/>
                  </a:lnTo>
                  <a:close/>
                  <a:moveTo>
                    <a:pt x="3289" y="12498"/>
                  </a:moveTo>
                  <a:cubicBezTo>
                    <a:pt x="3397" y="12540"/>
                    <a:pt x="3397" y="12540"/>
                    <a:pt x="3397" y="12540"/>
                  </a:cubicBezTo>
                  <a:cubicBezTo>
                    <a:pt x="3408" y="12514"/>
                    <a:pt x="3408" y="12514"/>
                    <a:pt x="3408" y="12514"/>
                  </a:cubicBezTo>
                  <a:cubicBezTo>
                    <a:pt x="3431" y="12567"/>
                    <a:pt x="3431" y="12567"/>
                    <a:pt x="3431" y="12567"/>
                  </a:cubicBezTo>
                  <a:cubicBezTo>
                    <a:pt x="3517" y="12646"/>
                    <a:pt x="3517" y="12646"/>
                    <a:pt x="3517" y="12646"/>
                  </a:cubicBezTo>
                  <a:cubicBezTo>
                    <a:pt x="3537" y="12665"/>
                    <a:pt x="3537" y="12665"/>
                    <a:pt x="3537" y="12665"/>
                  </a:cubicBezTo>
                  <a:cubicBezTo>
                    <a:pt x="3409" y="12258"/>
                    <a:pt x="3409" y="12258"/>
                    <a:pt x="3409" y="12258"/>
                  </a:cubicBezTo>
                  <a:lnTo>
                    <a:pt x="3289" y="12498"/>
                  </a:lnTo>
                  <a:close/>
                  <a:moveTo>
                    <a:pt x="3443" y="12559"/>
                  </a:moveTo>
                  <a:cubicBezTo>
                    <a:pt x="3409" y="12478"/>
                    <a:pt x="3409" y="12478"/>
                    <a:pt x="3409" y="12478"/>
                  </a:cubicBezTo>
                  <a:cubicBezTo>
                    <a:pt x="3389" y="12521"/>
                    <a:pt x="3389" y="12521"/>
                    <a:pt x="3389" y="12521"/>
                  </a:cubicBezTo>
                  <a:cubicBezTo>
                    <a:pt x="3309" y="12490"/>
                    <a:pt x="3309" y="12490"/>
                    <a:pt x="3309" y="12490"/>
                  </a:cubicBezTo>
                  <a:cubicBezTo>
                    <a:pt x="3406" y="12297"/>
                    <a:pt x="3406" y="12297"/>
                    <a:pt x="3406" y="12297"/>
                  </a:cubicBezTo>
                  <a:cubicBezTo>
                    <a:pt x="3507" y="12617"/>
                    <a:pt x="3507" y="12617"/>
                    <a:pt x="3507" y="12617"/>
                  </a:cubicBezTo>
                  <a:lnTo>
                    <a:pt x="3443" y="12559"/>
                  </a:lnTo>
                  <a:close/>
                  <a:moveTo>
                    <a:pt x="5088" y="13292"/>
                  </a:moveTo>
                  <a:cubicBezTo>
                    <a:pt x="5088" y="13303"/>
                    <a:pt x="5088" y="13309"/>
                    <a:pt x="5088" y="13309"/>
                  </a:cubicBezTo>
                  <a:cubicBezTo>
                    <a:pt x="5087" y="13317"/>
                    <a:pt x="5087" y="13317"/>
                    <a:pt x="5087" y="13317"/>
                  </a:cubicBezTo>
                  <a:cubicBezTo>
                    <a:pt x="5095" y="13317"/>
                    <a:pt x="5095" y="13317"/>
                    <a:pt x="5095" y="13317"/>
                  </a:cubicBezTo>
                  <a:cubicBezTo>
                    <a:pt x="5095" y="13317"/>
                    <a:pt x="5263" y="13323"/>
                    <a:pt x="5277" y="13324"/>
                  </a:cubicBezTo>
                  <a:cubicBezTo>
                    <a:pt x="5278" y="13325"/>
                    <a:pt x="5279" y="13325"/>
                    <a:pt x="5279" y="13325"/>
                  </a:cubicBezTo>
                  <a:cubicBezTo>
                    <a:pt x="5279" y="13325"/>
                    <a:pt x="5279" y="13325"/>
                    <a:pt x="5280" y="13325"/>
                  </a:cubicBezTo>
                  <a:cubicBezTo>
                    <a:pt x="5280" y="13318"/>
                    <a:pt x="5280" y="13318"/>
                    <a:pt x="5280" y="13318"/>
                  </a:cubicBezTo>
                  <a:cubicBezTo>
                    <a:pt x="5286" y="13321"/>
                    <a:pt x="5286" y="13321"/>
                    <a:pt x="5286" y="13321"/>
                  </a:cubicBezTo>
                  <a:cubicBezTo>
                    <a:pt x="5286" y="13320"/>
                    <a:pt x="5287" y="13320"/>
                    <a:pt x="5287" y="13318"/>
                  </a:cubicBezTo>
                  <a:cubicBezTo>
                    <a:pt x="5287" y="13317"/>
                    <a:pt x="5287" y="13317"/>
                    <a:pt x="5287" y="13317"/>
                  </a:cubicBezTo>
                  <a:cubicBezTo>
                    <a:pt x="5287" y="13316"/>
                    <a:pt x="5288" y="13314"/>
                    <a:pt x="5288" y="13312"/>
                  </a:cubicBezTo>
                  <a:cubicBezTo>
                    <a:pt x="5289" y="13308"/>
                    <a:pt x="5290" y="13302"/>
                    <a:pt x="5292" y="13294"/>
                  </a:cubicBezTo>
                  <a:cubicBezTo>
                    <a:pt x="5294" y="13280"/>
                    <a:pt x="5298" y="13261"/>
                    <a:pt x="5302" y="13242"/>
                  </a:cubicBezTo>
                  <a:cubicBezTo>
                    <a:pt x="5310" y="13204"/>
                    <a:pt x="5317" y="13166"/>
                    <a:pt x="5317" y="13166"/>
                  </a:cubicBezTo>
                  <a:cubicBezTo>
                    <a:pt x="5320" y="13155"/>
                    <a:pt x="5320" y="13155"/>
                    <a:pt x="5320" y="13155"/>
                  </a:cubicBezTo>
                  <a:cubicBezTo>
                    <a:pt x="5214" y="13178"/>
                    <a:pt x="5214" y="13178"/>
                    <a:pt x="5214" y="13178"/>
                  </a:cubicBezTo>
                  <a:cubicBezTo>
                    <a:pt x="5244" y="13105"/>
                    <a:pt x="5244" y="13105"/>
                    <a:pt x="5244" y="13105"/>
                  </a:cubicBezTo>
                  <a:cubicBezTo>
                    <a:pt x="5333" y="13117"/>
                    <a:pt x="5333" y="13117"/>
                    <a:pt x="5333" y="13117"/>
                  </a:cubicBezTo>
                  <a:cubicBezTo>
                    <a:pt x="5310" y="12960"/>
                    <a:pt x="5310" y="12960"/>
                    <a:pt x="5310" y="12960"/>
                  </a:cubicBezTo>
                  <a:cubicBezTo>
                    <a:pt x="5309" y="12954"/>
                    <a:pt x="5309" y="12954"/>
                    <a:pt x="5309" y="12954"/>
                  </a:cubicBezTo>
                  <a:cubicBezTo>
                    <a:pt x="4991" y="12915"/>
                    <a:pt x="4991" y="12915"/>
                    <a:pt x="4991" y="12915"/>
                  </a:cubicBezTo>
                  <a:cubicBezTo>
                    <a:pt x="4999" y="12928"/>
                    <a:pt x="4999" y="12928"/>
                    <a:pt x="4999" y="12928"/>
                  </a:cubicBezTo>
                  <a:cubicBezTo>
                    <a:pt x="4999" y="12928"/>
                    <a:pt x="5045" y="13005"/>
                    <a:pt x="5067" y="13092"/>
                  </a:cubicBezTo>
                  <a:cubicBezTo>
                    <a:pt x="5086" y="13165"/>
                    <a:pt x="5088" y="13255"/>
                    <a:pt x="5088" y="13292"/>
                  </a:cubicBezTo>
                  <a:close/>
                  <a:moveTo>
                    <a:pt x="5296" y="12967"/>
                  </a:moveTo>
                  <a:cubicBezTo>
                    <a:pt x="5315" y="13099"/>
                    <a:pt x="5315" y="13099"/>
                    <a:pt x="5315" y="13099"/>
                  </a:cubicBezTo>
                  <a:cubicBezTo>
                    <a:pt x="5234" y="13089"/>
                    <a:pt x="5234" y="13089"/>
                    <a:pt x="5234" y="13089"/>
                  </a:cubicBezTo>
                  <a:cubicBezTo>
                    <a:pt x="5189" y="13198"/>
                    <a:pt x="5189" y="13198"/>
                    <a:pt x="5189" y="13198"/>
                  </a:cubicBezTo>
                  <a:cubicBezTo>
                    <a:pt x="5301" y="13174"/>
                    <a:pt x="5301" y="13174"/>
                    <a:pt x="5301" y="13174"/>
                  </a:cubicBezTo>
                  <a:cubicBezTo>
                    <a:pt x="5298" y="13188"/>
                    <a:pt x="5293" y="13214"/>
                    <a:pt x="5288" y="13239"/>
                  </a:cubicBezTo>
                  <a:cubicBezTo>
                    <a:pt x="5282" y="13268"/>
                    <a:pt x="5276" y="13296"/>
                    <a:pt x="5274" y="13309"/>
                  </a:cubicBezTo>
                  <a:cubicBezTo>
                    <a:pt x="5273" y="13309"/>
                    <a:pt x="5273" y="13309"/>
                    <a:pt x="5272" y="13309"/>
                  </a:cubicBezTo>
                  <a:cubicBezTo>
                    <a:pt x="5267" y="13309"/>
                    <a:pt x="5260" y="13309"/>
                    <a:pt x="5251" y="13308"/>
                  </a:cubicBezTo>
                  <a:cubicBezTo>
                    <a:pt x="5234" y="13307"/>
                    <a:pt x="5211" y="13306"/>
                    <a:pt x="5188" y="13306"/>
                  </a:cubicBezTo>
                  <a:cubicBezTo>
                    <a:pt x="5152" y="13304"/>
                    <a:pt x="5117" y="13303"/>
                    <a:pt x="5103" y="13302"/>
                  </a:cubicBezTo>
                  <a:cubicBezTo>
                    <a:pt x="5103" y="13300"/>
                    <a:pt x="5103" y="13296"/>
                    <a:pt x="5103" y="13292"/>
                  </a:cubicBezTo>
                  <a:cubicBezTo>
                    <a:pt x="5103" y="13254"/>
                    <a:pt x="5100" y="13164"/>
                    <a:pt x="5081" y="13088"/>
                  </a:cubicBezTo>
                  <a:cubicBezTo>
                    <a:pt x="5064" y="13020"/>
                    <a:pt x="5033" y="12959"/>
                    <a:pt x="5019" y="12933"/>
                  </a:cubicBezTo>
                  <a:lnTo>
                    <a:pt x="5296" y="12967"/>
                  </a:lnTo>
                  <a:close/>
                  <a:moveTo>
                    <a:pt x="3161" y="10729"/>
                  </a:moveTo>
                  <a:cubicBezTo>
                    <a:pt x="3155" y="10731"/>
                    <a:pt x="3155" y="10731"/>
                    <a:pt x="3155" y="10731"/>
                  </a:cubicBezTo>
                  <a:cubicBezTo>
                    <a:pt x="3155" y="10731"/>
                    <a:pt x="3045" y="10780"/>
                    <a:pt x="3001" y="10811"/>
                  </a:cubicBezTo>
                  <a:cubicBezTo>
                    <a:pt x="2957" y="10841"/>
                    <a:pt x="2950" y="10858"/>
                    <a:pt x="2949" y="10860"/>
                  </a:cubicBezTo>
                  <a:cubicBezTo>
                    <a:pt x="2947" y="10867"/>
                    <a:pt x="2947" y="10867"/>
                    <a:pt x="2947" y="10867"/>
                  </a:cubicBezTo>
                  <a:cubicBezTo>
                    <a:pt x="3117" y="10936"/>
                    <a:pt x="3117" y="10936"/>
                    <a:pt x="3117" y="10936"/>
                  </a:cubicBezTo>
                  <a:cubicBezTo>
                    <a:pt x="3228" y="11088"/>
                    <a:pt x="3228" y="11088"/>
                    <a:pt x="3228" y="11088"/>
                  </a:cubicBezTo>
                  <a:cubicBezTo>
                    <a:pt x="3335" y="11028"/>
                    <a:pt x="3335" y="11028"/>
                    <a:pt x="3335" y="11028"/>
                  </a:cubicBezTo>
                  <a:cubicBezTo>
                    <a:pt x="3337" y="10951"/>
                    <a:pt x="3337" y="10951"/>
                    <a:pt x="3337" y="10951"/>
                  </a:cubicBezTo>
                  <a:cubicBezTo>
                    <a:pt x="3164" y="10733"/>
                    <a:pt x="3164" y="10733"/>
                    <a:pt x="3164" y="10733"/>
                  </a:cubicBezTo>
                  <a:lnTo>
                    <a:pt x="3161" y="10729"/>
                  </a:lnTo>
                  <a:close/>
                  <a:moveTo>
                    <a:pt x="3321" y="11019"/>
                  </a:moveTo>
                  <a:cubicBezTo>
                    <a:pt x="3232" y="11069"/>
                    <a:pt x="3232" y="11069"/>
                    <a:pt x="3232" y="11069"/>
                  </a:cubicBezTo>
                  <a:cubicBezTo>
                    <a:pt x="3127" y="10924"/>
                    <a:pt x="3127" y="10924"/>
                    <a:pt x="3127" y="10924"/>
                  </a:cubicBezTo>
                  <a:cubicBezTo>
                    <a:pt x="2967" y="10859"/>
                    <a:pt x="2967" y="10859"/>
                    <a:pt x="2967" y="10859"/>
                  </a:cubicBezTo>
                  <a:cubicBezTo>
                    <a:pt x="2968" y="10858"/>
                    <a:pt x="2969" y="10857"/>
                    <a:pt x="2970" y="10856"/>
                  </a:cubicBezTo>
                  <a:cubicBezTo>
                    <a:pt x="2976" y="10848"/>
                    <a:pt x="2988" y="10837"/>
                    <a:pt x="3009" y="10823"/>
                  </a:cubicBezTo>
                  <a:cubicBezTo>
                    <a:pt x="3045" y="10798"/>
                    <a:pt x="3134" y="10757"/>
                    <a:pt x="3156" y="10747"/>
                  </a:cubicBezTo>
                  <a:cubicBezTo>
                    <a:pt x="3322" y="10956"/>
                    <a:pt x="3322" y="10956"/>
                    <a:pt x="3322" y="10956"/>
                  </a:cubicBezTo>
                  <a:lnTo>
                    <a:pt x="3321" y="11019"/>
                  </a:lnTo>
                  <a:close/>
                  <a:moveTo>
                    <a:pt x="1252" y="15168"/>
                  </a:moveTo>
                  <a:cubicBezTo>
                    <a:pt x="1257" y="15163"/>
                    <a:pt x="1257" y="15163"/>
                    <a:pt x="1257" y="15163"/>
                  </a:cubicBezTo>
                  <a:cubicBezTo>
                    <a:pt x="1131" y="15034"/>
                    <a:pt x="1131" y="15034"/>
                    <a:pt x="1131" y="15034"/>
                  </a:cubicBezTo>
                  <a:cubicBezTo>
                    <a:pt x="1124" y="15134"/>
                    <a:pt x="1124" y="15134"/>
                    <a:pt x="1124" y="15134"/>
                  </a:cubicBezTo>
                  <a:cubicBezTo>
                    <a:pt x="1207" y="15215"/>
                    <a:pt x="1207" y="15215"/>
                    <a:pt x="1207" y="15215"/>
                  </a:cubicBezTo>
                  <a:lnTo>
                    <a:pt x="1252" y="15168"/>
                  </a:lnTo>
                  <a:close/>
                  <a:moveTo>
                    <a:pt x="1140" y="15129"/>
                  </a:moveTo>
                  <a:cubicBezTo>
                    <a:pt x="1143" y="15068"/>
                    <a:pt x="1143" y="15068"/>
                    <a:pt x="1143" y="15068"/>
                  </a:cubicBezTo>
                  <a:cubicBezTo>
                    <a:pt x="1236" y="15163"/>
                    <a:pt x="1236" y="15163"/>
                    <a:pt x="1236" y="15163"/>
                  </a:cubicBezTo>
                  <a:cubicBezTo>
                    <a:pt x="1207" y="15194"/>
                    <a:pt x="1207" y="15194"/>
                    <a:pt x="1207" y="15194"/>
                  </a:cubicBezTo>
                  <a:lnTo>
                    <a:pt x="1140" y="15129"/>
                  </a:lnTo>
                  <a:close/>
                  <a:moveTo>
                    <a:pt x="5190" y="15437"/>
                  </a:moveTo>
                  <a:cubicBezTo>
                    <a:pt x="5293" y="15414"/>
                    <a:pt x="5293" y="15414"/>
                    <a:pt x="5293" y="15414"/>
                  </a:cubicBezTo>
                  <a:cubicBezTo>
                    <a:pt x="5278" y="15286"/>
                    <a:pt x="5278" y="15286"/>
                    <a:pt x="5278" y="15286"/>
                  </a:cubicBezTo>
                  <a:cubicBezTo>
                    <a:pt x="5277" y="15279"/>
                    <a:pt x="5277" y="15279"/>
                    <a:pt x="5277" y="15279"/>
                  </a:cubicBezTo>
                  <a:cubicBezTo>
                    <a:pt x="5270" y="15279"/>
                    <a:pt x="5270" y="15279"/>
                    <a:pt x="5270" y="15279"/>
                  </a:cubicBezTo>
                  <a:cubicBezTo>
                    <a:pt x="5270" y="15279"/>
                    <a:pt x="5193" y="15279"/>
                    <a:pt x="5172" y="15280"/>
                  </a:cubicBezTo>
                  <a:cubicBezTo>
                    <a:pt x="5171" y="15280"/>
                    <a:pt x="5170" y="15280"/>
                    <a:pt x="5169" y="15280"/>
                  </a:cubicBezTo>
                  <a:cubicBezTo>
                    <a:pt x="5168" y="15280"/>
                    <a:pt x="5168" y="15280"/>
                    <a:pt x="5165" y="15280"/>
                  </a:cubicBezTo>
                  <a:cubicBezTo>
                    <a:pt x="5165" y="15281"/>
                    <a:pt x="5165" y="15281"/>
                    <a:pt x="5165" y="15281"/>
                  </a:cubicBezTo>
                  <a:cubicBezTo>
                    <a:pt x="5160" y="15282"/>
                    <a:pt x="5160" y="15286"/>
                    <a:pt x="5160" y="15286"/>
                  </a:cubicBezTo>
                  <a:cubicBezTo>
                    <a:pt x="5160" y="15287"/>
                    <a:pt x="5160" y="15287"/>
                    <a:pt x="5160" y="15288"/>
                  </a:cubicBezTo>
                  <a:cubicBezTo>
                    <a:pt x="5160" y="15298"/>
                    <a:pt x="5188" y="15429"/>
                    <a:pt x="5188" y="15430"/>
                  </a:cubicBezTo>
                  <a:lnTo>
                    <a:pt x="5190" y="15437"/>
                  </a:lnTo>
                  <a:close/>
                  <a:moveTo>
                    <a:pt x="5184" y="15294"/>
                  </a:moveTo>
                  <a:cubicBezTo>
                    <a:pt x="5194" y="15294"/>
                    <a:pt x="5207" y="15294"/>
                    <a:pt x="5220" y="15294"/>
                  </a:cubicBezTo>
                  <a:cubicBezTo>
                    <a:pt x="5237" y="15294"/>
                    <a:pt x="5255" y="15294"/>
                    <a:pt x="5264" y="15294"/>
                  </a:cubicBezTo>
                  <a:cubicBezTo>
                    <a:pt x="5277" y="15403"/>
                    <a:pt x="5277" y="15403"/>
                    <a:pt x="5277" y="15403"/>
                  </a:cubicBezTo>
                  <a:cubicBezTo>
                    <a:pt x="5201" y="15419"/>
                    <a:pt x="5201" y="15419"/>
                    <a:pt x="5201" y="15419"/>
                  </a:cubicBezTo>
                  <a:cubicBezTo>
                    <a:pt x="5199" y="15408"/>
                    <a:pt x="5194" y="15384"/>
                    <a:pt x="5189" y="15359"/>
                  </a:cubicBezTo>
                  <a:cubicBezTo>
                    <a:pt x="5183" y="15334"/>
                    <a:pt x="5178" y="15307"/>
                    <a:pt x="5176" y="15295"/>
                  </a:cubicBezTo>
                  <a:cubicBezTo>
                    <a:pt x="5178" y="15295"/>
                    <a:pt x="5181" y="15295"/>
                    <a:pt x="5184" y="15294"/>
                  </a:cubicBezTo>
                  <a:close/>
                  <a:moveTo>
                    <a:pt x="3876" y="9745"/>
                  </a:moveTo>
                  <a:cubicBezTo>
                    <a:pt x="3522" y="9290"/>
                    <a:pt x="3522" y="9290"/>
                    <a:pt x="3522" y="9290"/>
                  </a:cubicBezTo>
                  <a:cubicBezTo>
                    <a:pt x="3405" y="9784"/>
                    <a:pt x="3405" y="9784"/>
                    <a:pt x="3405" y="9784"/>
                  </a:cubicBezTo>
                  <a:cubicBezTo>
                    <a:pt x="3407" y="9786"/>
                    <a:pt x="3407" y="9786"/>
                    <a:pt x="3407" y="9786"/>
                  </a:cubicBezTo>
                  <a:cubicBezTo>
                    <a:pt x="3407" y="9787"/>
                    <a:pt x="3445" y="9851"/>
                    <a:pt x="3483" y="9918"/>
                  </a:cubicBezTo>
                  <a:cubicBezTo>
                    <a:pt x="3519" y="9981"/>
                    <a:pt x="3557" y="10048"/>
                    <a:pt x="3562" y="10059"/>
                  </a:cubicBezTo>
                  <a:cubicBezTo>
                    <a:pt x="3562" y="10060"/>
                    <a:pt x="3562" y="10061"/>
                    <a:pt x="3563" y="10063"/>
                  </a:cubicBezTo>
                  <a:cubicBezTo>
                    <a:pt x="3564" y="10065"/>
                    <a:pt x="3567" y="10066"/>
                    <a:pt x="3569" y="10066"/>
                  </a:cubicBezTo>
                  <a:cubicBezTo>
                    <a:pt x="3569" y="10066"/>
                    <a:pt x="3569" y="10066"/>
                    <a:pt x="3569" y="10066"/>
                  </a:cubicBezTo>
                  <a:cubicBezTo>
                    <a:pt x="3571" y="10067"/>
                    <a:pt x="3575" y="10065"/>
                    <a:pt x="3576" y="10063"/>
                  </a:cubicBezTo>
                  <a:cubicBezTo>
                    <a:pt x="3577" y="10061"/>
                    <a:pt x="3577" y="10060"/>
                    <a:pt x="3577" y="10059"/>
                  </a:cubicBezTo>
                  <a:cubicBezTo>
                    <a:pt x="3577" y="10058"/>
                    <a:pt x="3578" y="10057"/>
                    <a:pt x="3579" y="10054"/>
                  </a:cubicBezTo>
                  <a:cubicBezTo>
                    <a:pt x="3582" y="10050"/>
                    <a:pt x="3585" y="10045"/>
                    <a:pt x="3589" y="10038"/>
                  </a:cubicBezTo>
                  <a:cubicBezTo>
                    <a:pt x="3597" y="10024"/>
                    <a:pt x="3608" y="10005"/>
                    <a:pt x="3620" y="9986"/>
                  </a:cubicBezTo>
                  <a:cubicBezTo>
                    <a:pt x="3643" y="9947"/>
                    <a:pt x="3670" y="9905"/>
                    <a:pt x="3680" y="9886"/>
                  </a:cubicBezTo>
                  <a:cubicBezTo>
                    <a:pt x="3683" y="9881"/>
                    <a:pt x="3684" y="9879"/>
                    <a:pt x="3685" y="9876"/>
                  </a:cubicBezTo>
                  <a:cubicBezTo>
                    <a:pt x="3686" y="9875"/>
                    <a:pt x="3688" y="9874"/>
                    <a:pt x="3691" y="9872"/>
                  </a:cubicBezTo>
                  <a:cubicBezTo>
                    <a:pt x="3696" y="9869"/>
                    <a:pt x="3703" y="9864"/>
                    <a:pt x="3712" y="9858"/>
                  </a:cubicBezTo>
                  <a:cubicBezTo>
                    <a:pt x="3730" y="9847"/>
                    <a:pt x="3755" y="9832"/>
                    <a:pt x="3779" y="9817"/>
                  </a:cubicBezTo>
                  <a:cubicBezTo>
                    <a:pt x="3827" y="9787"/>
                    <a:pt x="3875" y="9758"/>
                    <a:pt x="3876" y="9758"/>
                  </a:cubicBezTo>
                  <a:cubicBezTo>
                    <a:pt x="3883" y="9754"/>
                    <a:pt x="3883" y="9754"/>
                    <a:pt x="3883" y="9754"/>
                  </a:cubicBezTo>
                  <a:cubicBezTo>
                    <a:pt x="3878" y="9747"/>
                    <a:pt x="3878" y="9747"/>
                    <a:pt x="3878" y="9747"/>
                  </a:cubicBezTo>
                  <a:lnTo>
                    <a:pt x="3876" y="9745"/>
                  </a:lnTo>
                  <a:close/>
                  <a:moveTo>
                    <a:pt x="3707" y="9844"/>
                  </a:moveTo>
                  <a:cubicBezTo>
                    <a:pt x="3688" y="9856"/>
                    <a:pt x="3677" y="9863"/>
                    <a:pt x="3673" y="9867"/>
                  </a:cubicBezTo>
                  <a:cubicBezTo>
                    <a:pt x="3673" y="9868"/>
                    <a:pt x="3672" y="9867"/>
                    <a:pt x="3671" y="9872"/>
                  </a:cubicBezTo>
                  <a:cubicBezTo>
                    <a:pt x="3671" y="9872"/>
                    <a:pt x="3671" y="9872"/>
                    <a:pt x="3671" y="9872"/>
                  </a:cubicBezTo>
                  <a:cubicBezTo>
                    <a:pt x="3670" y="9873"/>
                    <a:pt x="3669" y="9874"/>
                    <a:pt x="3668" y="9877"/>
                  </a:cubicBezTo>
                  <a:cubicBezTo>
                    <a:pt x="3666" y="9881"/>
                    <a:pt x="3663" y="9887"/>
                    <a:pt x="3659" y="9893"/>
                  </a:cubicBezTo>
                  <a:cubicBezTo>
                    <a:pt x="3651" y="9907"/>
                    <a:pt x="3639" y="9926"/>
                    <a:pt x="3628" y="9945"/>
                  </a:cubicBezTo>
                  <a:cubicBezTo>
                    <a:pt x="3606" y="9981"/>
                    <a:pt x="3581" y="10021"/>
                    <a:pt x="3570" y="10042"/>
                  </a:cubicBezTo>
                  <a:cubicBezTo>
                    <a:pt x="3569" y="10042"/>
                    <a:pt x="3569" y="10041"/>
                    <a:pt x="3569" y="10041"/>
                  </a:cubicBezTo>
                  <a:cubicBezTo>
                    <a:pt x="3565" y="10033"/>
                    <a:pt x="3559" y="10022"/>
                    <a:pt x="3552" y="10009"/>
                  </a:cubicBezTo>
                  <a:cubicBezTo>
                    <a:pt x="3537" y="9982"/>
                    <a:pt x="3517" y="9948"/>
                    <a:pt x="3498" y="9914"/>
                  </a:cubicBezTo>
                  <a:cubicBezTo>
                    <a:pt x="3463" y="9854"/>
                    <a:pt x="3429" y="9794"/>
                    <a:pt x="3421" y="9782"/>
                  </a:cubicBezTo>
                  <a:cubicBezTo>
                    <a:pt x="3529" y="9323"/>
                    <a:pt x="3529" y="9323"/>
                    <a:pt x="3529" y="9323"/>
                  </a:cubicBezTo>
                  <a:cubicBezTo>
                    <a:pt x="3861" y="9750"/>
                    <a:pt x="3861" y="9750"/>
                    <a:pt x="3861" y="9750"/>
                  </a:cubicBezTo>
                  <a:cubicBezTo>
                    <a:pt x="3836" y="9765"/>
                    <a:pt x="3754" y="9815"/>
                    <a:pt x="3707" y="9844"/>
                  </a:cubicBezTo>
                  <a:close/>
                  <a:moveTo>
                    <a:pt x="3666" y="9759"/>
                  </a:moveTo>
                  <a:cubicBezTo>
                    <a:pt x="3578" y="9498"/>
                    <a:pt x="3578" y="9498"/>
                    <a:pt x="3578" y="9498"/>
                  </a:cubicBezTo>
                  <a:cubicBezTo>
                    <a:pt x="3564" y="9499"/>
                    <a:pt x="3564" y="9499"/>
                    <a:pt x="3564" y="9499"/>
                  </a:cubicBezTo>
                  <a:cubicBezTo>
                    <a:pt x="3542" y="9814"/>
                    <a:pt x="3542" y="9814"/>
                    <a:pt x="3542" y="9814"/>
                  </a:cubicBezTo>
                  <a:cubicBezTo>
                    <a:pt x="3660" y="9762"/>
                    <a:pt x="3660" y="9762"/>
                    <a:pt x="3660" y="9762"/>
                  </a:cubicBezTo>
                  <a:lnTo>
                    <a:pt x="3666" y="9759"/>
                  </a:lnTo>
                  <a:close/>
                  <a:moveTo>
                    <a:pt x="3558" y="9791"/>
                  </a:moveTo>
                  <a:cubicBezTo>
                    <a:pt x="3576" y="9537"/>
                    <a:pt x="3576" y="9537"/>
                    <a:pt x="3576" y="9537"/>
                  </a:cubicBezTo>
                  <a:cubicBezTo>
                    <a:pt x="3648" y="9751"/>
                    <a:pt x="3648" y="9751"/>
                    <a:pt x="3648" y="9751"/>
                  </a:cubicBezTo>
                  <a:lnTo>
                    <a:pt x="3558" y="9791"/>
                  </a:lnTo>
                  <a:close/>
                  <a:moveTo>
                    <a:pt x="3091" y="10481"/>
                  </a:moveTo>
                  <a:cubicBezTo>
                    <a:pt x="2894" y="10506"/>
                    <a:pt x="2894" y="10506"/>
                    <a:pt x="2894" y="10506"/>
                  </a:cubicBezTo>
                  <a:cubicBezTo>
                    <a:pt x="2896" y="10514"/>
                    <a:pt x="2896" y="10514"/>
                    <a:pt x="2896" y="10514"/>
                  </a:cubicBezTo>
                  <a:cubicBezTo>
                    <a:pt x="2896" y="10514"/>
                    <a:pt x="2921" y="10660"/>
                    <a:pt x="2921" y="10680"/>
                  </a:cubicBezTo>
                  <a:cubicBezTo>
                    <a:pt x="2921" y="10681"/>
                    <a:pt x="2921" y="10681"/>
                    <a:pt x="2921" y="10681"/>
                  </a:cubicBezTo>
                  <a:cubicBezTo>
                    <a:pt x="2920" y="10681"/>
                    <a:pt x="2920" y="10682"/>
                    <a:pt x="2920" y="10683"/>
                  </a:cubicBezTo>
                  <a:cubicBezTo>
                    <a:pt x="2920" y="10685"/>
                    <a:pt x="2921" y="10688"/>
                    <a:pt x="2923" y="10689"/>
                  </a:cubicBezTo>
                  <a:cubicBezTo>
                    <a:pt x="2925" y="10691"/>
                    <a:pt x="2927" y="10691"/>
                    <a:pt x="2927" y="10691"/>
                  </a:cubicBezTo>
                  <a:cubicBezTo>
                    <a:pt x="2929" y="10690"/>
                    <a:pt x="2931" y="10690"/>
                    <a:pt x="2932" y="10689"/>
                  </a:cubicBezTo>
                  <a:cubicBezTo>
                    <a:pt x="2932" y="10689"/>
                    <a:pt x="2932" y="10689"/>
                    <a:pt x="2933" y="10689"/>
                  </a:cubicBezTo>
                  <a:cubicBezTo>
                    <a:pt x="2934" y="10688"/>
                    <a:pt x="2936" y="10687"/>
                    <a:pt x="2939" y="10686"/>
                  </a:cubicBezTo>
                  <a:cubicBezTo>
                    <a:pt x="2944" y="10683"/>
                    <a:pt x="2952" y="10680"/>
                    <a:pt x="2961" y="10676"/>
                  </a:cubicBezTo>
                  <a:cubicBezTo>
                    <a:pt x="2979" y="10668"/>
                    <a:pt x="3004" y="10658"/>
                    <a:pt x="3029" y="10647"/>
                  </a:cubicBezTo>
                  <a:cubicBezTo>
                    <a:pt x="3079" y="10626"/>
                    <a:pt x="3128" y="10605"/>
                    <a:pt x="3133" y="10602"/>
                  </a:cubicBezTo>
                  <a:cubicBezTo>
                    <a:pt x="3133" y="10600"/>
                    <a:pt x="3135" y="10603"/>
                    <a:pt x="3137" y="10595"/>
                  </a:cubicBezTo>
                  <a:cubicBezTo>
                    <a:pt x="3136" y="10594"/>
                    <a:pt x="3136" y="10592"/>
                    <a:pt x="3135" y="10591"/>
                  </a:cubicBezTo>
                  <a:cubicBezTo>
                    <a:pt x="3137" y="10587"/>
                    <a:pt x="3141" y="10577"/>
                    <a:pt x="3145" y="10569"/>
                  </a:cubicBezTo>
                  <a:cubicBezTo>
                    <a:pt x="3148" y="10562"/>
                    <a:pt x="3151" y="10556"/>
                    <a:pt x="3153" y="10552"/>
                  </a:cubicBezTo>
                  <a:cubicBezTo>
                    <a:pt x="3384" y="10533"/>
                    <a:pt x="3384" y="10533"/>
                    <a:pt x="3384" y="10533"/>
                  </a:cubicBezTo>
                  <a:cubicBezTo>
                    <a:pt x="3373" y="10522"/>
                    <a:pt x="3373" y="10522"/>
                    <a:pt x="3373" y="10522"/>
                  </a:cubicBezTo>
                  <a:cubicBezTo>
                    <a:pt x="3373" y="10522"/>
                    <a:pt x="3319" y="10467"/>
                    <a:pt x="3298" y="10453"/>
                  </a:cubicBezTo>
                  <a:cubicBezTo>
                    <a:pt x="3298" y="10452"/>
                    <a:pt x="3297" y="10452"/>
                    <a:pt x="3296" y="10451"/>
                  </a:cubicBezTo>
                  <a:cubicBezTo>
                    <a:pt x="3297" y="10449"/>
                    <a:pt x="3299" y="10446"/>
                    <a:pt x="3301" y="10443"/>
                  </a:cubicBezTo>
                  <a:cubicBezTo>
                    <a:pt x="3304" y="10435"/>
                    <a:pt x="3310" y="10425"/>
                    <a:pt x="3315" y="10416"/>
                  </a:cubicBezTo>
                  <a:cubicBezTo>
                    <a:pt x="3325" y="10397"/>
                    <a:pt x="3335" y="10380"/>
                    <a:pt x="3335" y="10380"/>
                  </a:cubicBezTo>
                  <a:cubicBezTo>
                    <a:pt x="3342" y="10369"/>
                    <a:pt x="3342" y="10369"/>
                    <a:pt x="3342" y="10369"/>
                  </a:cubicBezTo>
                  <a:cubicBezTo>
                    <a:pt x="3330" y="10369"/>
                    <a:pt x="3330" y="10369"/>
                    <a:pt x="3330" y="10369"/>
                  </a:cubicBezTo>
                  <a:cubicBezTo>
                    <a:pt x="3330" y="10368"/>
                    <a:pt x="3330" y="10368"/>
                    <a:pt x="3329" y="10368"/>
                  </a:cubicBezTo>
                  <a:cubicBezTo>
                    <a:pt x="3328" y="10366"/>
                    <a:pt x="3326" y="10364"/>
                    <a:pt x="3323" y="10362"/>
                  </a:cubicBezTo>
                  <a:cubicBezTo>
                    <a:pt x="3318" y="10356"/>
                    <a:pt x="3311" y="10349"/>
                    <a:pt x="3305" y="10342"/>
                  </a:cubicBezTo>
                  <a:cubicBezTo>
                    <a:pt x="3293" y="10327"/>
                    <a:pt x="3281" y="10313"/>
                    <a:pt x="3281" y="10313"/>
                  </a:cubicBezTo>
                  <a:cubicBezTo>
                    <a:pt x="3277" y="10308"/>
                    <a:pt x="3277" y="10308"/>
                    <a:pt x="3277" y="10308"/>
                  </a:cubicBezTo>
                  <a:cubicBezTo>
                    <a:pt x="3123" y="10380"/>
                    <a:pt x="3123" y="10380"/>
                    <a:pt x="3123" y="10380"/>
                  </a:cubicBezTo>
                  <a:lnTo>
                    <a:pt x="3091" y="10481"/>
                  </a:lnTo>
                  <a:close/>
                  <a:moveTo>
                    <a:pt x="3273" y="10327"/>
                  </a:moveTo>
                  <a:cubicBezTo>
                    <a:pt x="3282" y="10338"/>
                    <a:pt x="3307" y="10367"/>
                    <a:pt x="3319" y="10378"/>
                  </a:cubicBezTo>
                  <a:cubicBezTo>
                    <a:pt x="3312" y="10390"/>
                    <a:pt x="3296" y="10418"/>
                    <a:pt x="3287" y="10436"/>
                  </a:cubicBezTo>
                  <a:cubicBezTo>
                    <a:pt x="3283" y="10445"/>
                    <a:pt x="3281" y="10449"/>
                    <a:pt x="3280" y="10455"/>
                  </a:cubicBezTo>
                  <a:cubicBezTo>
                    <a:pt x="3280" y="10456"/>
                    <a:pt x="3280" y="10457"/>
                    <a:pt x="3281" y="10459"/>
                  </a:cubicBezTo>
                  <a:cubicBezTo>
                    <a:pt x="3282" y="10461"/>
                    <a:pt x="3285" y="10463"/>
                    <a:pt x="3287" y="10463"/>
                  </a:cubicBezTo>
                  <a:cubicBezTo>
                    <a:pt x="3288" y="10463"/>
                    <a:pt x="3289" y="10464"/>
                    <a:pt x="3290" y="10465"/>
                  </a:cubicBezTo>
                  <a:cubicBezTo>
                    <a:pt x="3292" y="10466"/>
                    <a:pt x="3296" y="10469"/>
                    <a:pt x="3299" y="10472"/>
                  </a:cubicBezTo>
                  <a:cubicBezTo>
                    <a:pt x="3307" y="10479"/>
                    <a:pt x="3317" y="10488"/>
                    <a:pt x="3326" y="10497"/>
                  </a:cubicBezTo>
                  <a:cubicBezTo>
                    <a:pt x="3335" y="10506"/>
                    <a:pt x="3344" y="10514"/>
                    <a:pt x="3351" y="10521"/>
                  </a:cubicBezTo>
                  <a:cubicBezTo>
                    <a:pt x="3144" y="10538"/>
                    <a:pt x="3144" y="10538"/>
                    <a:pt x="3144" y="10538"/>
                  </a:cubicBezTo>
                  <a:cubicBezTo>
                    <a:pt x="3142" y="10542"/>
                    <a:pt x="3142" y="10542"/>
                    <a:pt x="3142" y="10542"/>
                  </a:cubicBezTo>
                  <a:cubicBezTo>
                    <a:pt x="3142" y="10543"/>
                    <a:pt x="3123" y="10576"/>
                    <a:pt x="3120" y="10592"/>
                  </a:cubicBezTo>
                  <a:cubicBezTo>
                    <a:pt x="3117" y="10593"/>
                    <a:pt x="3113" y="10595"/>
                    <a:pt x="3108" y="10597"/>
                  </a:cubicBezTo>
                  <a:cubicBezTo>
                    <a:pt x="3097" y="10602"/>
                    <a:pt x="3081" y="10608"/>
                    <a:pt x="3064" y="10616"/>
                  </a:cubicBezTo>
                  <a:cubicBezTo>
                    <a:pt x="3029" y="10631"/>
                    <a:pt x="2987" y="10648"/>
                    <a:pt x="2959" y="10661"/>
                  </a:cubicBezTo>
                  <a:cubicBezTo>
                    <a:pt x="2949" y="10665"/>
                    <a:pt x="2941" y="10669"/>
                    <a:pt x="2935" y="10671"/>
                  </a:cubicBezTo>
                  <a:cubicBezTo>
                    <a:pt x="2932" y="10638"/>
                    <a:pt x="2916" y="10546"/>
                    <a:pt x="2911" y="10519"/>
                  </a:cubicBezTo>
                  <a:cubicBezTo>
                    <a:pt x="3102" y="10495"/>
                    <a:pt x="3102" y="10495"/>
                    <a:pt x="3102" y="10495"/>
                  </a:cubicBezTo>
                  <a:cubicBezTo>
                    <a:pt x="3135" y="10391"/>
                    <a:pt x="3135" y="10391"/>
                    <a:pt x="3135" y="10391"/>
                  </a:cubicBezTo>
                  <a:lnTo>
                    <a:pt x="3273" y="10327"/>
                  </a:lnTo>
                  <a:close/>
                  <a:moveTo>
                    <a:pt x="390" y="7360"/>
                  </a:moveTo>
                  <a:cubicBezTo>
                    <a:pt x="456" y="7316"/>
                    <a:pt x="456" y="7316"/>
                    <a:pt x="456" y="7316"/>
                  </a:cubicBezTo>
                  <a:cubicBezTo>
                    <a:pt x="462" y="7313"/>
                    <a:pt x="462" y="7313"/>
                    <a:pt x="462" y="7313"/>
                  </a:cubicBezTo>
                  <a:cubicBezTo>
                    <a:pt x="356" y="7154"/>
                    <a:pt x="356" y="7154"/>
                    <a:pt x="356" y="7154"/>
                  </a:cubicBezTo>
                  <a:cubicBezTo>
                    <a:pt x="284" y="7201"/>
                    <a:pt x="284" y="7201"/>
                    <a:pt x="284" y="7201"/>
                  </a:cubicBezTo>
                  <a:cubicBezTo>
                    <a:pt x="310" y="7241"/>
                    <a:pt x="310" y="7241"/>
                    <a:pt x="310" y="7241"/>
                  </a:cubicBezTo>
                  <a:cubicBezTo>
                    <a:pt x="262" y="7272"/>
                    <a:pt x="262" y="7272"/>
                    <a:pt x="262" y="7272"/>
                  </a:cubicBezTo>
                  <a:cubicBezTo>
                    <a:pt x="316" y="7353"/>
                    <a:pt x="316" y="7353"/>
                    <a:pt x="316" y="7353"/>
                  </a:cubicBezTo>
                  <a:cubicBezTo>
                    <a:pt x="364" y="7321"/>
                    <a:pt x="364" y="7321"/>
                    <a:pt x="364" y="7321"/>
                  </a:cubicBezTo>
                  <a:lnTo>
                    <a:pt x="390" y="7360"/>
                  </a:lnTo>
                  <a:close/>
                  <a:moveTo>
                    <a:pt x="281" y="7276"/>
                  </a:moveTo>
                  <a:cubicBezTo>
                    <a:pt x="328" y="7244"/>
                    <a:pt x="328" y="7244"/>
                    <a:pt x="328" y="7244"/>
                  </a:cubicBezTo>
                  <a:cubicBezTo>
                    <a:pt x="303" y="7205"/>
                    <a:pt x="303" y="7205"/>
                    <a:pt x="303" y="7205"/>
                  </a:cubicBezTo>
                  <a:cubicBezTo>
                    <a:pt x="353" y="7172"/>
                    <a:pt x="353" y="7172"/>
                    <a:pt x="353" y="7172"/>
                  </a:cubicBezTo>
                  <a:cubicBezTo>
                    <a:pt x="443" y="7309"/>
                    <a:pt x="443" y="7309"/>
                    <a:pt x="443" y="7309"/>
                  </a:cubicBezTo>
                  <a:cubicBezTo>
                    <a:pt x="393" y="7342"/>
                    <a:pt x="393" y="7342"/>
                    <a:pt x="393" y="7342"/>
                  </a:cubicBezTo>
                  <a:cubicBezTo>
                    <a:pt x="367" y="7303"/>
                    <a:pt x="367" y="7303"/>
                    <a:pt x="367" y="7303"/>
                  </a:cubicBezTo>
                  <a:cubicBezTo>
                    <a:pt x="319" y="7335"/>
                    <a:pt x="319" y="7335"/>
                    <a:pt x="319" y="7335"/>
                  </a:cubicBezTo>
                  <a:lnTo>
                    <a:pt x="281" y="7276"/>
                  </a:lnTo>
                  <a:close/>
                  <a:moveTo>
                    <a:pt x="207" y="7397"/>
                  </a:moveTo>
                  <a:cubicBezTo>
                    <a:pt x="158" y="7426"/>
                    <a:pt x="158" y="7426"/>
                    <a:pt x="158" y="7426"/>
                  </a:cubicBezTo>
                  <a:cubicBezTo>
                    <a:pt x="134" y="7386"/>
                    <a:pt x="134" y="7386"/>
                    <a:pt x="134" y="7386"/>
                  </a:cubicBezTo>
                  <a:cubicBezTo>
                    <a:pt x="65" y="7426"/>
                    <a:pt x="65" y="7426"/>
                    <a:pt x="65" y="7426"/>
                  </a:cubicBezTo>
                  <a:cubicBezTo>
                    <a:pt x="60" y="7429"/>
                    <a:pt x="60" y="7429"/>
                    <a:pt x="60" y="7429"/>
                  </a:cubicBezTo>
                  <a:cubicBezTo>
                    <a:pt x="156" y="7594"/>
                    <a:pt x="156" y="7594"/>
                    <a:pt x="156" y="7594"/>
                  </a:cubicBezTo>
                  <a:cubicBezTo>
                    <a:pt x="230" y="7551"/>
                    <a:pt x="230" y="7551"/>
                    <a:pt x="230" y="7551"/>
                  </a:cubicBezTo>
                  <a:cubicBezTo>
                    <a:pt x="207" y="7510"/>
                    <a:pt x="207" y="7510"/>
                    <a:pt x="207" y="7510"/>
                  </a:cubicBezTo>
                  <a:cubicBezTo>
                    <a:pt x="256" y="7481"/>
                    <a:pt x="256" y="7481"/>
                    <a:pt x="256" y="7481"/>
                  </a:cubicBezTo>
                  <a:lnTo>
                    <a:pt x="207" y="7397"/>
                  </a:lnTo>
                  <a:close/>
                  <a:moveTo>
                    <a:pt x="212" y="7546"/>
                  </a:moveTo>
                  <a:cubicBezTo>
                    <a:pt x="161" y="7576"/>
                    <a:pt x="161" y="7576"/>
                    <a:pt x="161" y="7576"/>
                  </a:cubicBezTo>
                  <a:cubicBezTo>
                    <a:pt x="78" y="7434"/>
                    <a:pt x="78" y="7434"/>
                    <a:pt x="78" y="7434"/>
                  </a:cubicBezTo>
                  <a:cubicBezTo>
                    <a:pt x="129" y="7404"/>
                    <a:pt x="129" y="7404"/>
                    <a:pt x="129" y="7404"/>
                  </a:cubicBezTo>
                  <a:cubicBezTo>
                    <a:pt x="153" y="7444"/>
                    <a:pt x="153" y="7444"/>
                    <a:pt x="153" y="7444"/>
                  </a:cubicBezTo>
                  <a:cubicBezTo>
                    <a:pt x="203" y="7415"/>
                    <a:pt x="203" y="7415"/>
                    <a:pt x="203" y="7415"/>
                  </a:cubicBezTo>
                  <a:cubicBezTo>
                    <a:pt x="238" y="7476"/>
                    <a:pt x="238" y="7476"/>
                    <a:pt x="238" y="7476"/>
                  </a:cubicBezTo>
                  <a:cubicBezTo>
                    <a:pt x="189" y="7505"/>
                    <a:pt x="189" y="7505"/>
                    <a:pt x="189" y="7505"/>
                  </a:cubicBezTo>
                  <a:lnTo>
                    <a:pt x="212" y="7546"/>
                  </a:lnTo>
                  <a:close/>
                  <a:moveTo>
                    <a:pt x="7105" y="11083"/>
                  </a:moveTo>
                  <a:cubicBezTo>
                    <a:pt x="6994" y="11048"/>
                    <a:pt x="6994" y="11048"/>
                    <a:pt x="6994" y="11048"/>
                  </a:cubicBezTo>
                  <a:cubicBezTo>
                    <a:pt x="6981" y="11089"/>
                    <a:pt x="6981" y="11089"/>
                    <a:pt x="6981" y="11089"/>
                  </a:cubicBezTo>
                  <a:cubicBezTo>
                    <a:pt x="6936" y="11074"/>
                    <a:pt x="6936" y="11074"/>
                    <a:pt x="6936" y="11074"/>
                  </a:cubicBezTo>
                  <a:cubicBezTo>
                    <a:pt x="6912" y="11150"/>
                    <a:pt x="6912" y="11150"/>
                    <a:pt x="6912" y="11150"/>
                  </a:cubicBezTo>
                  <a:cubicBezTo>
                    <a:pt x="6910" y="11157"/>
                    <a:pt x="6910" y="11157"/>
                    <a:pt x="6910" y="11157"/>
                  </a:cubicBezTo>
                  <a:cubicBezTo>
                    <a:pt x="7111" y="11220"/>
                    <a:pt x="7111" y="11220"/>
                    <a:pt x="7111" y="11220"/>
                  </a:cubicBezTo>
                  <a:cubicBezTo>
                    <a:pt x="7137" y="11138"/>
                    <a:pt x="7137" y="11138"/>
                    <a:pt x="7137" y="11138"/>
                  </a:cubicBezTo>
                  <a:cubicBezTo>
                    <a:pt x="7092" y="11124"/>
                    <a:pt x="7092" y="11124"/>
                    <a:pt x="7092" y="11124"/>
                  </a:cubicBezTo>
                  <a:lnTo>
                    <a:pt x="7105" y="11083"/>
                  </a:lnTo>
                  <a:close/>
                  <a:moveTo>
                    <a:pt x="7120" y="11146"/>
                  </a:moveTo>
                  <a:cubicBezTo>
                    <a:pt x="7102" y="11204"/>
                    <a:pt x="7102" y="11204"/>
                    <a:pt x="7102" y="11204"/>
                  </a:cubicBezTo>
                  <a:cubicBezTo>
                    <a:pt x="6926" y="11148"/>
                    <a:pt x="6926" y="11148"/>
                    <a:pt x="6926" y="11148"/>
                  </a:cubicBezTo>
                  <a:cubicBezTo>
                    <a:pt x="6945" y="11091"/>
                    <a:pt x="6945" y="11091"/>
                    <a:pt x="6945" y="11091"/>
                  </a:cubicBezTo>
                  <a:cubicBezTo>
                    <a:pt x="6989" y="11105"/>
                    <a:pt x="6989" y="11105"/>
                    <a:pt x="6989" y="11105"/>
                  </a:cubicBezTo>
                  <a:cubicBezTo>
                    <a:pt x="7002" y="11064"/>
                    <a:pt x="7002" y="11064"/>
                    <a:pt x="7002" y="11064"/>
                  </a:cubicBezTo>
                  <a:cubicBezTo>
                    <a:pt x="7088" y="11091"/>
                    <a:pt x="7088" y="11091"/>
                    <a:pt x="7088" y="11091"/>
                  </a:cubicBezTo>
                  <a:cubicBezTo>
                    <a:pt x="7076" y="11132"/>
                    <a:pt x="7076" y="11132"/>
                    <a:pt x="7076" y="11132"/>
                  </a:cubicBezTo>
                  <a:lnTo>
                    <a:pt x="7120" y="11146"/>
                  </a:lnTo>
                  <a:close/>
                  <a:moveTo>
                    <a:pt x="5217" y="9471"/>
                  </a:moveTo>
                  <a:cubicBezTo>
                    <a:pt x="5155" y="9470"/>
                    <a:pt x="5155" y="9470"/>
                    <a:pt x="5155" y="9470"/>
                  </a:cubicBezTo>
                  <a:cubicBezTo>
                    <a:pt x="5154" y="9562"/>
                    <a:pt x="5154" y="9562"/>
                    <a:pt x="5154" y="9562"/>
                  </a:cubicBezTo>
                  <a:cubicBezTo>
                    <a:pt x="5216" y="9562"/>
                    <a:pt x="5216" y="9562"/>
                    <a:pt x="5216" y="9562"/>
                  </a:cubicBezTo>
                  <a:cubicBezTo>
                    <a:pt x="5216" y="9607"/>
                    <a:pt x="5216" y="9607"/>
                    <a:pt x="5216" y="9607"/>
                  </a:cubicBezTo>
                  <a:cubicBezTo>
                    <a:pt x="5303" y="9608"/>
                    <a:pt x="5303" y="9608"/>
                    <a:pt x="5303" y="9608"/>
                  </a:cubicBezTo>
                  <a:cubicBezTo>
                    <a:pt x="5310" y="9608"/>
                    <a:pt x="5310" y="9608"/>
                    <a:pt x="5310" y="9608"/>
                  </a:cubicBezTo>
                  <a:cubicBezTo>
                    <a:pt x="5311" y="9427"/>
                    <a:pt x="5311" y="9427"/>
                    <a:pt x="5311" y="9427"/>
                  </a:cubicBezTo>
                  <a:cubicBezTo>
                    <a:pt x="5217" y="9426"/>
                    <a:pt x="5217" y="9426"/>
                    <a:pt x="5217" y="9426"/>
                  </a:cubicBezTo>
                  <a:lnTo>
                    <a:pt x="5217" y="9471"/>
                  </a:lnTo>
                  <a:close/>
                  <a:moveTo>
                    <a:pt x="5230" y="9439"/>
                  </a:moveTo>
                  <a:cubicBezTo>
                    <a:pt x="5298" y="9440"/>
                    <a:pt x="5298" y="9440"/>
                    <a:pt x="5298" y="9440"/>
                  </a:cubicBezTo>
                  <a:cubicBezTo>
                    <a:pt x="5297" y="9595"/>
                    <a:pt x="5297" y="9595"/>
                    <a:pt x="5297" y="9595"/>
                  </a:cubicBezTo>
                  <a:cubicBezTo>
                    <a:pt x="5229" y="9594"/>
                    <a:pt x="5229" y="9594"/>
                    <a:pt x="5229" y="9594"/>
                  </a:cubicBezTo>
                  <a:cubicBezTo>
                    <a:pt x="5230" y="9549"/>
                    <a:pt x="5230" y="9549"/>
                    <a:pt x="5230" y="9549"/>
                  </a:cubicBezTo>
                  <a:cubicBezTo>
                    <a:pt x="5168" y="9549"/>
                    <a:pt x="5168" y="9549"/>
                    <a:pt x="5168" y="9549"/>
                  </a:cubicBezTo>
                  <a:cubicBezTo>
                    <a:pt x="5168" y="9484"/>
                    <a:pt x="5168" y="9484"/>
                    <a:pt x="5168" y="9484"/>
                  </a:cubicBezTo>
                  <a:cubicBezTo>
                    <a:pt x="5230" y="9484"/>
                    <a:pt x="5230" y="9484"/>
                    <a:pt x="5230" y="9484"/>
                  </a:cubicBezTo>
                  <a:lnTo>
                    <a:pt x="5230" y="9439"/>
                  </a:lnTo>
                  <a:close/>
                  <a:moveTo>
                    <a:pt x="5348" y="10689"/>
                  </a:moveTo>
                  <a:cubicBezTo>
                    <a:pt x="5347" y="10682"/>
                    <a:pt x="5347" y="10682"/>
                    <a:pt x="5347" y="10682"/>
                  </a:cubicBezTo>
                  <a:cubicBezTo>
                    <a:pt x="5140" y="10724"/>
                    <a:pt x="5140" y="10724"/>
                    <a:pt x="5140" y="10724"/>
                  </a:cubicBezTo>
                  <a:cubicBezTo>
                    <a:pt x="5157" y="10808"/>
                    <a:pt x="5157" y="10808"/>
                    <a:pt x="5157" y="10808"/>
                  </a:cubicBezTo>
                  <a:cubicBezTo>
                    <a:pt x="5203" y="10799"/>
                    <a:pt x="5203" y="10799"/>
                    <a:pt x="5203" y="10799"/>
                  </a:cubicBezTo>
                  <a:cubicBezTo>
                    <a:pt x="5212" y="10841"/>
                    <a:pt x="5212" y="10841"/>
                    <a:pt x="5212" y="10841"/>
                  </a:cubicBezTo>
                  <a:cubicBezTo>
                    <a:pt x="5326" y="10818"/>
                    <a:pt x="5326" y="10818"/>
                    <a:pt x="5326" y="10818"/>
                  </a:cubicBezTo>
                  <a:cubicBezTo>
                    <a:pt x="5318" y="10776"/>
                    <a:pt x="5318" y="10776"/>
                    <a:pt x="5318" y="10776"/>
                  </a:cubicBezTo>
                  <a:cubicBezTo>
                    <a:pt x="5364" y="10767"/>
                    <a:pt x="5364" y="10767"/>
                    <a:pt x="5364" y="10767"/>
                  </a:cubicBezTo>
                  <a:lnTo>
                    <a:pt x="5348" y="10689"/>
                  </a:lnTo>
                  <a:close/>
                  <a:moveTo>
                    <a:pt x="5311" y="10808"/>
                  </a:moveTo>
                  <a:cubicBezTo>
                    <a:pt x="5222" y="10826"/>
                    <a:pt x="5222" y="10826"/>
                    <a:pt x="5222" y="10826"/>
                  </a:cubicBezTo>
                  <a:cubicBezTo>
                    <a:pt x="5213" y="10784"/>
                    <a:pt x="5213" y="10784"/>
                    <a:pt x="5213" y="10784"/>
                  </a:cubicBezTo>
                  <a:cubicBezTo>
                    <a:pt x="5167" y="10793"/>
                    <a:pt x="5167" y="10793"/>
                    <a:pt x="5167" y="10793"/>
                  </a:cubicBezTo>
                  <a:cubicBezTo>
                    <a:pt x="5156" y="10734"/>
                    <a:pt x="5156" y="10734"/>
                    <a:pt x="5156" y="10734"/>
                  </a:cubicBezTo>
                  <a:cubicBezTo>
                    <a:pt x="5336" y="10698"/>
                    <a:pt x="5336" y="10698"/>
                    <a:pt x="5336" y="10698"/>
                  </a:cubicBezTo>
                  <a:cubicBezTo>
                    <a:pt x="5348" y="10757"/>
                    <a:pt x="5348" y="10757"/>
                    <a:pt x="5348" y="10757"/>
                  </a:cubicBezTo>
                  <a:cubicBezTo>
                    <a:pt x="5302" y="10766"/>
                    <a:pt x="5302" y="10766"/>
                    <a:pt x="5302" y="10766"/>
                  </a:cubicBezTo>
                  <a:lnTo>
                    <a:pt x="5311" y="10808"/>
                  </a:lnTo>
                  <a:close/>
                  <a:moveTo>
                    <a:pt x="5321" y="11008"/>
                  </a:moveTo>
                  <a:cubicBezTo>
                    <a:pt x="5313" y="10966"/>
                    <a:pt x="5313" y="10966"/>
                    <a:pt x="5313" y="10966"/>
                  </a:cubicBezTo>
                  <a:cubicBezTo>
                    <a:pt x="5198" y="10989"/>
                    <a:pt x="5198" y="10989"/>
                    <a:pt x="5198" y="10989"/>
                  </a:cubicBezTo>
                  <a:cubicBezTo>
                    <a:pt x="5207" y="11031"/>
                    <a:pt x="5207" y="11031"/>
                    <a:pt x="5207" y="11031"/>
                  </a:cubicBezTo>
                  <a:cubicBezTo>
                    <a:pt x="5161" y="11040"/>
                    <a:pt x="5161" y="11040"/>
                    <a:pt x="5161" y="11040"/>
                  </a:cubicBezTo>
                  <a:cubicBezTo>
                    <a:pt x="5176" y="11118"/>
                    <a:pt x="5176" y="11118"/>
                    <a:pt x="5176" y="11118"/>
                  </a:cubicBezTo>
                  <a:cubicBezTo>
                    <a:pt x="5177" y="11125"/>
                    <a:pt x="5177" y="11125"/>
                    <a:pt x="5177" y="11125"/>
                  </a:cubicBezTo>
                  <a:cubicBezTo>
                    <a:pt x="5384" y="11083"/>
                    <a:pt x="5384" y="11083"/>
                    <a:pt x="5384" y="11083"/>
                  </a:cubicBezTo>
                  <a:cubicBezTo>
                    <a:pt x="5367" y="10999"/>
                    <a:pt x="5367" y="10999"/>
                    <a:pt x="5367" y="10999"/>
                  </a:cubicBezTo>
                  <a:lnTo>
                    <a:pt x="5321" y="11008"/>
                  </a:lnTo>
                  <a:close/>
                  <a:moveTo>
                    <a:pt x="5188" y="11109"/>
                  </a:moveTo>
                  <a:cubicBezTo>
                    <a:pt x="5176" y="11050"/>
                    <a:pt x="5176" y="11050"/>
                    <a:pt x="5176" y="11050"/>
                  </a:cubicBezTo>
                  <a:cubicBezTo>
                    <a:pt x="5222" y="11041"/>
                    <a:pt x="5222" y="11041"/>
                    <a:pt x="5222" y="11041"/>
                  </a:cubicBezTo>
                  <a:cubicBezTo>
                    <a:pt x="5214" y="10999"/>
                    <a:pt x="5214" y="10999"/>
                    <a:pt x="5214" y="10999"/>
                  </a:cubicBezTo>
                  <a:cubicBezTo>
                    <a:pt x="5302" y="10981"/>
                    <a:pt x="5302" y="10981"/>
                    <a:pt x="5302" y="10981"/>
                  </a:cubicBezTo>
                  <a:cubicBezTo>
                    <a:pt x="5311" y="11024"/>
                    <a:pt x="5311" y="11024"/>
                    <a:pt x="5311" y="11024"/>
                  </a:cubicBezTo>
                  <a:cubicBezTo>
                    <a:pt x="5357" y="11014"/>
                    <a:pt x="5357" y="11014"/>
                    <a:pt x="5357" y="11014"/>
                  </a:cubicBezTo>
                  <a:cubicBezTo>
                    <a:pt x="5369" y="11073"/>
                    <a:pt x="5369" y="11073"/>
                    <a:pt x="5369" y="11073"/>
                  </a:cubicBezTo>
                  <a:lnTo>
                    <a:pt x="5188" y="11109"/>
                  </a:lnTo>
                  <a:close/>
                  <a:moveTo>
                    <a:pt x="250" y="14622"/>
                  </a:moveTo>
                  <a:cubicBezTo>
                    <a:pt x="275" y="14586"/>
                    <a:pt x="275" y="14586"/>
                    <a:pt x="275" y="14586"/>
                  </a:cubicBezTo>
                  <a:cubicBezTo>
                    <a:pt x="314" y="14613"/>
                    <a:pt x="314" y="14613"/>
                    <a:pt x="314" y="14613"/>
                  </a:cubicBezTo>
                  <a:cubicBezTo>
                    <a:pt x="359" y="14547"/>
                    <a:pt x="359" y="14547"/>
                    <a:pt x="359" y="14547"/>
                  </a:cubicBezTo>
                  <a:cubicBezTo>
                    <a:pt x="363" y="14542"/>
                    <a:pt x="363" y="14542"/>
                    <a:pt x="363" y="14542"/>
                  </a:cubicBezTo>
                  <a:cubicBezTo>
                    <a:pt x="189" y="14422"/>
                    <a:pt x="189" y="14422"/>
                    <a:pt x="189" y="14422"/>
                  </a:cubicBezTo>
                  <a:cubicBezTo>
                    <a:pt x="140" y="14493"/>
                    <a:pt x="140" y="14493"/>
                    <a:pt x="140" y="14493"/>
                  </a:cubicBezTo>
                  <a:cubicBezTo>
                    <a:pt x="179" y="14520"/>
                    <a:pt x="179" y="14520"/>
                    <a:pt x="179" y="14520"/>
                  </a:cubicBezTo>
                  <a:cubicBezTo>
                    <a:pt x="154" y="14555"/>
                    <a:pt x="154" y="14555"/>
                    <a:pt x="154" y="14555"/>
                  </a:cubicBezTo>
                  <a:lnTo>
                    <a:pt x="250" y="14622"/>
                  </a:lnTo>
                  <a:close/>
                  <a:moveTo>
                    <a:pt x="158" y="14490"/>
                  </a:moveTo>
                  <a:cubicBezTo>
                    <a:pt x="192" y="14440"/>
                    <a:pt x="192" y="14440"/>
                    <a:pt x="192" y="14440"/>
                  </a:cubicBezTo>
                  <a:cubicBezTo>
                    <a:pt x="344" y="14545"/>
                    <a:pt x="344" y="14545"/>
                    <a:pt x="344" y="14545"/>
                  </a:cubicBezTo>
                  <a:cubicBezTo>
                    <a:pt x="310" y="14594"/>
                    <a:pt x="310" y="14594"/>
                    <a:pt x="310" y="14594"/>
                  </a:cubicBezTo>
                  <a:cubicBezTo>
                    <a:pt x="272" y="14568"/>
                    <a:pt x="272" y="14568"/>
                    <a:pt x="272" y="14568"/>
                  </a:cubicBezTo>
                  <a:cubicBezTo>
                    <a:pt x="247" y="14603"/>
                    <a:pt x="247" y="14603"/>
                    <a:pt x="247" y="14603"/>
                  </a:cubicBezTo>
                  <a:cubicBezTo>
                    <a:pt x="173" y="14552"/>
                    <a:pt x="173" y="14552"/>
                    <a:pt x="173" y="14552"/>
                  </a:cubicBezTo>
                  <a:cubicBezTo>
                    <a:pt x="197" y="14516"/>
                    <a:pt x="197" y="14516"/>
                    <a:pt x="197" y="14516"/>
                  </a:cubicBezTo>
                  <a:lnTo>
                    <a:pt x="158" y="14490"/>
                  </a:lnTo>
                  <a:close/>
                  <a:moveTo>
                    <a:pt x="15" y="14363"/>
                  </a:moveTo>
                  <a:cubicBezTo>
                    <a:pt x="49" y="14314"/>
                    <a:pt x="49" y="14314"/>
                    <a:pt x="49" y="14314"/>
                  </a:cubicBezTo>
                  <a:cubicBezTo>
                    <a:pt x="4" y="14283"/>
                    <a:pt x="4" y="14283"/>
                    <a:pt x="4" y="14283"/>
                  </a:cubicBezTo>
                  <a:cubicBezTo>
                    <a:pt x="4" y="14267"/>
                    <a:pt x="4" y="14267"/>
                    <a:pt x="4" y="14267"/>
                  </a:cubicBezTo>
                  <a:cubicBezTo>
                    <a:pt x="67" y="14310"/>
                    <a:pt x="67" y="14310"/>
                    <a:pt x="67" y="14310"/>
                  </a:cubicBezTo>
                  <a:cubicBezTo>
                    <a:pt x="63" y="14316"/>
                    <a:pt x="63" y="14316"/>
                    <a:pt x="63" y="14316"/>
                  </a:cubicBezTo>
                  <a:cubicBezTo>
                    <a:pt x="18" y="14382"/>
                    <a:pt x="18" y="14382"/>
                    <a:pt x="18" y="14382"/>
                  </a:cubicBezTo>
                  <a:cubicBezTo>
                    <a:pt x="4" y="14372"/>
                    <a:pt x="4" y="14372"/>
                    <a:pt x="4" y="14372"/>
                  </a:cubicBezTo>
                  <a:cubicBezTo>
                    <a:pt x="4" y="14356"/>
                    <a:pt x="4" y="14356"/>
                    <a:pt x="4" y="14356"/>
                  </a:cubicBezTo>
                  <a:lnTo>
                    <a:pt x="15" y="14363"/>
                  </a:lnTo>
                  <a:close/>
                  <a:moveTo>
                    <a:pt x="5139" y="5530"/>
                  </a:moveTo>
                  <a:cubicBezTo>
                    <a:pt x="5092" y="5526"/>
                    <a:pt x="5092" y="5526"/>
                    <a:pt x="5092" y="5526"/>
                  </a:cubicBezTo>
                  <a:cubicBezTo>
                    <a:pt x="5096" y="5483"/>
                    <a:pt x="5096" y="5483"/>
                    <a:pt x="5096" y="5483"/>
                  </a:cubicBezTo>
                  <a:cubicBezTo>
                    <a:pt x="4979" y="5474"/>
                    <a:pt x="4979" y="5474"/>
                    <a:pt x="4979" y="5474"/>
                  </a:cubicBezTo>
                  <a:cubicBezTo>
                    <a:pt x="4976" y="5517"/>
                    <a:pt x="4976" y="5517"/>
                    <a:pt x="4976" y="5517"/>
                  </a:cubicBezTo>
                  <a:cubicBezTo>
                    <a:pt x="4929" y="5514"/>
                    <a:pt x="4929" y="5514"/>
                    <a:pt x="4929" y="5514"/>
                  </a:cubicBezTo>
                  <a:cubicBezTo>
                    <a:pt x="4923" y="5593"/>
                    <a:pt x="4923" y="5593"/>
                    <a:pt x="4923" y="5593"/>
                  </a:cubicBezTo>
                  <a:cubicBezTo>
                    <a:pt x="4923" y="5600"/>
                    <a:pt x="4923" y="5600"/>
                    <a:pt x="4923" y="5600"/>
                  </a:cubicBezTo>
                  <a:cubicBezTo>
                    <a:pt x="5133" y="5615"/>
                    <a:pt x="5133" y="5615"/>
                    <a:pt x="5133" y="5615"/>
                  </a:cubicBezTo>
                  <a:lnTo>
                    <a:pt x="5139" y="5530"/>
                  </a:lnTo>
                  <a:close/>
                  <a:moveTo>
                    <a:pt x="5121" y="5601"/>
                  </a:moveTo>
                  <a:cubicBezTo>
                    <a:pt x="4937" y="5588"/>
                    <a:pt x="4937" y="5588"/>
                    <a:pt x="4937" y="5588"/>
                  </a:cubicBezTo>
                  <a:cubicBezTo>
                    <a:pt x="4941" y="5528"/>
                    <a:pt x="4941" y="5528"/>
                    <a:pt x="4941" y="5528"/>
                  </a:cubicBezTo>
                  <a:cubicBezTo>
                    <a:pt x="4988" y="5531"/>
                    <a:pt x="4988" y="5531"/>
                    <a:pt x="4988" y="5531"/>
                  </a:cubicBezTo>
                  <a:cubicBezTo>
                    <a:pt x="4991" y="5488"/>
                    <a:pt x="4991" y="5488"/>
                    <a:pt x="4991" y="5488"/>
                  </a:cubicBezTo>
                  <a:cubicBezTo>
                    <a:pt x="5082" y="5495"/>
                    <a:pt x="5082" y="5495"/>
                    <a:pt x="5082" y="5495"/>
                  </a:cubicBezTo>
                  <a:cubicBezTo>
                    <a:pt x="5078" y="5538"/>
                    <a:pt x="5078" y="5538"/>
                    <a:pt x="5078" y="5538"/>
                  </a:cubicBezTo>
                  <a:cubicBezTo>
                    <a:pt x="5125" y="5542"/>
                    <a:pt x="5125" y="5542"/>
                    <a:pt x="5125" y="5542"/>
                  </a:cubicBezTo>
                  <a:lnTo>
                    <a:pt x="5121" y="5601"/>
                  </a:lnTo>
                  <a:close/>
                  <a:moveTo>
                    <a:pt x="4944" y="5039"/>
                  </a:moveTo>
                  <a:cubicBezTo>
                    <a:pt x="4903" y="5052"/>
                    <a:pt x="4903" y="5052"/>
                    <a:pt x="4903" y="5052"/>
                  </a:cubicBezTo>
                  <a:cubicBezTo>
                    <a:pt x="4889" y="5007"/>
                    <a:pt x="4889" y="5007"/>
                    <a:pt x="4889" y="5007"/>
                  </a:cubicBezTo>
                  <a:cubicBezTo>
                    <a:pt x="4813" y="5032"/>
                    <a:pt x="4813" y="5032"/>
                    <a:pt x="4813" y="5032"/>
                  </a:cubicBezTo>
                  <a:cubicBezTo>
                    <a:pt x="4807" y="5034"/>
                    <a:pt x="4807" y="5034"/>
                    <a:pt x="4807" y="5034"/>
                  </a:cubicBezTo>
                  <a:cubicBezTo>
                    <a:pt x="4872" y="5234"/>
                    <a:pt x="4872" y="5234"/>
                    <a:pt x="4872" y="5234"/>
                  </a:cubicBezTo>
                  <a:cubicBezTo>
                    <a:pt x="4954" y="5207"/>
                    <a:pt x="4954" y="5207"/>
                    <a:pt x="4954" y="5207"/>
                  </a:cubicBezTo>
                  <a:cubicBezTo>
                    <a:pt x="4939" y="5163"/>
                    <a:pt x="4939" y="5163"/>
                    <a:pt x="4939" y="5163"/>
                  </a:cubicBezTo>
                  <a:cubicBezTo>
                    <a:pt x="4980" y="5150"/>
                    <a:pt x="4980" y="5150"/>
                    <a:pt x="4980" y="5150"/>
                  </a:cubicBezTo>
                  <a:lnTo>
                    <a:pt x="4944" y="5039"/>
                  </a:lnTo>
                  <a:close/>
                  <a:moveTo>
                    <a:pt x="4937" y="5199"/>
                  </a:moveTo>
                  <a:cubicBezTo>
                    <a:pt x="4880" y="5218"/>
                    <a:pt x="4880" y="5218"/>
                    <a:pt x="4880" y="5218"/>
                  </a:cubicBezTo>
                  <a:cubicBezTo>
                    <a:pt x="4823" y="5042"/>
                    <a:pt x="4823" y="5042"/>
                    <a:pt x="4823" y="5042"/>
                  </a:cubicBezTo>
                  <a:cubicBezTo>
                    <a:pt x="4880" y="5024"/>
                    <a:pt x="4880" y="5024"/>
                    <a:pt x="4880" y="5024"/>
                  </a:cubicBezTo>
                  <a:cubicBezTo>
                    <a:pt x="4895" y="5068"/>
                    <a:pt x="4895" y="5068"/>
                    <a:pt x="4895" y="5068"/>
                  </a:cubicBezTo>
                  <a:cubicBezTo>
                    <a:pt x="4936" y="5055"/>
                    <a:pt x="4936" y="5055"/>
                    <a:pt x="4936" y="5055"/>
                  </a:cubicBezTo>
                  <a:cubicBezTo>
                    <a:pt x="4964" y="5141"/>
                    <a:pt x="4964" y="5141"/>
                    <a:pt x="4964" y="5141"/>
                  </a:cubicBezTo>
                  <a:cubicBezTo>
                    <a:pt x="4923" y="5154"/>
                    <a:pt x="4923" y="5154"/>
                    <a:pt x="4923" y="5154"/>
                  </a:cubicBezTo>
                  <a:lnTo>
                    <a:pt x="4937" y="5199"/>
                  </a:lnTo>
                  <a:close/>
                  <a:moveTo>
                    <a:pt x="4567" y="4708"/>
                  </a:moveTo>
                  <a:cubicBezTo>
                    <a:pt x="4497" y="4670"/>
                    <a:pt x="4497" y="4670"/>
                    <a:pt x="4497" y="4670"/>
                  </a:cubicBezTo>
                  <a:cubicBezTo>
                    <a:pt x="4491" y="4667"/>
                    <a:pt x="4491" y="4667"/>
                    <a:pt x="4491" y="4667"/>
                  </a:cubicBezTo>
                  <a:cubicBezTo>
                    <a:pt x="4390" y="4852"/>
                    <a:pt x="4390" y="4852"/>
                    <a:pt x="4390" y="4852"/>
                  </a:cubicBezTo>
                  <a:cubicBezTo>
                    <a:pt x="4466" y="4893"/>
                    <a:pt x="4466" y="4893"/>
                    <a:pt x="4466" y="4893"/>
                  </a:cubicBezTo>
                  <a:cubicBezTo>
                    <a:pt x="4489" y="4852"/>
                    <a:pt x="4489" y="4852"/>
                    <a:pt x="4489" y="4852"/>
                  </a:cubicBezTo>
                  <a:cubicBezTo>
                    <a:pt x="4526" y="4873"/>
                    <a:pt x="4526" y="4873"/>
                    <a:pt x="4526" y="4873"/>
                  </a:cubicBezTo>
                  <a:cubicBezTo>
                    <a:pt x="4582" y="4770"/>
                    <a:pt x="4582" y="4770"/>
                    <a:pt x="4582" y="4770"/>
                  </a:cubicBezTo>
                  <a:cubicBezTo>
                    <a:pt x="4544" y="4750"/>
                    <a:pt x="4544" y="4750"/>
                    <a:pt x="4544" y="4750"/>
                  </a:cubicBezTo>
                  <a:lnTo>
                    <a:pt x="4567" y="4708"/>
                  </a:lnTo>
                  <a:close/>
                  <a:moveTo>
                    <a:pt x="4564" y="4775"/>
                  </a:moveTo>
                  <a:cubicBezTo>
                    <a:pt x="4521" y="4855"/>
                    <a:pt x="4521" y="4855"/>
                    <a:pt x="4521" y="4855"/>
                  </a:cubicBezTo>
                  <a:cubicBezTo>
                    <a:pt x="4483" y="4834"/>
                    <a:pt x="4483" y="4834"/>
                    <a:pt x="4483" y="4834"/>
                  </a:cubicBezTo>
                  <a:cubicBezTo>
                    <a:pt x="4461" y="4876"/>
                    <a:pt x="4461" y="4876"/>
                    <a:pt x="4461" y="4876"/>
                  </a:cubicBezTo>
                  <a:cubicBezTo>
                    <a:pt x="4408" y="4847"/>
                    <a:pt x="4408" y="4847"/>
                    <a:pt x="4408" y="4847"/>
                  </a:cubicBezTo>
                  <a:cubicBezTo>
                    <a:pt x="4496" y="4685"/>
                    <a:pt x="4496" y="4685"/>
                    <a:pt x="4496" y="4685"/>
                  </a:cubicBezTo>
                  <a:cubicBezTo>
                    <a:pt x="4549" y="4714"/>
                    <a:pt x="4549" y="4714"/>
                    <a:pt x="4549" y="4714"/>
                  </a:cubicBezTo>
                  <a:cubicBezTo>
                    <a:pt x="4526" y="4755"/>
                    <a:pt x="4526" y="4755"/>
                    <a:pt x="4526" y="4755"/>
                  </a:cubicBezTo>
                  <a:lnTo>
                    <a:pt x="4564" y="4775"/>
                  </a:lnTo>
                  <a:close/>
                  <a:moveTo>
                    <a:pt x="3916" y="4715"/>
                  </a:moveTo>
                  <a:cubicBezTo>
                    <a:pt x="3954" y="4736"/>
                    <a:pt x="3954" y="4736"/>
                    <a:pt x="3954" y="4736"/>
                  </a:cubicBezTo>
                  <a:cubicBezTo>
                    <a:pt x="4009" y="4633"/>
                    <a:pt x="4009" y="4633"/>
                    <a:pt x="4009" y="4633"/>
                  </a:cubicBezTo>
                  <a:cubicBezTo>
                    <a:pt x="3972" y="4613"/>
                    <a:pt x="3972" y="4613"/>
                    <a:pt x="3972" y="4613"/>
                  </a:cubicBezTo>
                  <a:cubicBezTo>
                    <a:pt x="3994" y="4572"/>
                    <a:pt x="3994" y="4572"/>
                    <a:pt x="3994" y="4572"/>
                  </a:cubicBezTo>
                  <a:cubicBezTo>
                    <a:pt x="3924" y="4534"/>
                    <a:pt x="3924" y="4534"/>
                    <a:pt x="3924" y="4534"/>
                  </a:cubicBezTo>
                  <a:cubicBezTo>
                    <a:pt x="3918" y="4530"/>
                    <a:pt x="3918" y="4530"/>
                    <a:pt x="3918" y="4530"/>
                  </a:cubicBezTo>
                  <a:cubicBezTo>
                    <a:pt x="3818" y="4716"/>
                    <a:pt x="3818" y="4716"/>
                    <a:pt x="3818" y="4716"/>
                  </a:cubicBezTo>
                  <a:cubicBezTo>
                    <a:pt x="3894" y="4757"/>
                    <a:pt x="3894" y="4757"/>
                    <a:pt x="3894" y="4757"/>
                  </a:cubicBezTo>
                  <a:lnTo>
                    <a:pt x="3916" y="4715"/>
                  </a:lnTo>
                  <a:close/>
                  <a:moveTo>
                    <a:pt x="3836" y="4710"/>
                  </a:moveTo>
                  <a:cubicBezTo>
                    <a:pt x="3923" y="4548"/>
                    <a:pt x="3923" y="4548"/>
                    <a:pt x="3923" y="4548"/>
                  </a:cubicBezTo>
                  <a:cubicBezTo>
                    <a:pt x="3976" y="4577"/>
                    <a:pt x="3976" y="4577"/>
                    <a:pt x="3976" y="4577"/>
                  </a:cubicBezTo>
                  <a:cubicBezTo>
                    <a:pt x="3954" y="4618"/>
                    <a:pt x="3954" y="4618"/>
                    <a:pt x="3954" y="4618"/>
                  </a:cubicBezTo>
                  <a:cubicBezTo>
                    <a:pt x="3992" y="4639"/>
                    <a:pt x="3992" y="4639"/>
                    <a:pt x="3992" y="4639"/>
                  </a:cubicBezTo>
                  <a:cubicBezTo>
                    <a:pt x="3949" y="4718"/>
                    <a:pt x="3949" y="4718"/>
                    <a:pt x="3949" y="4718"/>
                  </a:cubicBezTo>
                  <a:cubicBezTo>
                    <a:pt x="3911" y="4698"/>
                    <a:pt x="3911" y="4698"/>
                    <a:pt x="3911" y="4698"/>
                  </a:cubicBezTo>
                  <a:cubicBezTo>
                    <a:pt x="3888" y="4739"/>
                    <a:pt x="3888" y="4739"/>
                    <a:pt x="3888" y="4739"/>
                  </a:cubicBezTo>
                  <a:lnTo>
                    <a:pt x="3836" y="4710"/>
                  </a:lnTo>
                  <a:close/>
                  <a:moveTo>
                    <a:pt x="4215" y="4805"/>
                  </a:moveTo>
                  <a:cubicBezTo>
                    <a:pt x="4285" y="4843"/>
                    <a:pt x="4285" y="4843"/>
                    <a:pt x="4285" y="4843"/>
                  </a:cubicBezTo>
                  <a:cubicBezTo>
                    <a:pt x="4290" y="4846"/>
                    <a:pt x="4290" y="4846"/>
                    <a:pt x="4290" y="4846"/>
                  </a:cubicBezTo>
                  <a:cubicBezTo>
                    <a:pt x="4391" y="4660"/>
                    <a:pt x="4391" y="4660"/>
                    <a:pt x="4391" y="4660"/>
                  </a:cubicBezTo>
                  <a:cubicBezTo>
                    <a:pt x="4315" y="4619"/>
                    <a:pt x="4315" y="4619"/>
                    <a:pt x="4315" y="4619"/>
                  </a:cubicBezTo>
                  <a:cubicBezTo>
                    <a:pt x="4293" y="4661"/>
                    <a:pt x="4293" y="4661"/>
                    <a:pt x="4293" y="4661"/>
                  </a:cubicBezTo>
                  <a:cubicBezTo>
                    <a:pt x="4255" y="4640"/>
                    <a:pt x="4255" y="4640"/>
                    <a:pt x="4255" y="4640"/>
                  </a:cubicBezTo>
                  <a:cubicBezTo>
                    <a:pt x="4199" y="4743"/>
                    <a:pt x="4199" y="4743"/>
                    <a:pt x="4199" y="4743"/>
                  </a:cubicBezTo>
                  <a:cubicBezTo>
                    <a:pt x="4237" y="4763"/>
                    <a:pt x="4237" y="4763"/>
                    <a:pt x="4237" y="4763"/>
                  </a:cubicBezTo>
                  <a:lnTo>
                    <a:pt x="4215" y="4805"/>
                  </a:lnTo>
                  <a:close/>
                  <a:moveTo>
                    <a:pt x="4217" y="4737"/>
                  </a:moveTo>
                  <a:cubicBezTo>
                    <a:pt x="4260" y="4658"/>
                    <a:pt x="4260" y="4658"/>
                    <a:pt x="4260" y="4658"/>
                  </a:cubicBezTo>
                  <a:cubicBezTo>
                    <a:pt x="4298" y="4678"/>
                    <a:pt x="4298" y="4678"/>
                    <a:pt x="4298" y="4678"/>
                  </a:cubicBezTo>
                  <a:cubicBezTo>
                    <a:pt x="4320" y="4637"/>
                    <a:pt x="4320" y="4637"/>
                    <a:pt x="4320" y="4637"/>
                  </a:cubicBezTo>
                  <a:cubicBezTo>
                    <a:pt x="4373" y="4666"/>
                    <a:pt x="4373" y="4666"/>
                    <a:pt x="4373" y="4666"/>
                  </a:cubicBezTo>
                  <a:cubicBezTo>
                    <a:pt x="4285" y="4828"/>
                    <a:pt x="4285" y="4828"/>
                    <a:pt x="4285" y="4828"/>
                  </a:cubicBezTo>
                  <a:cubicBezTo>
                    <a:pt x="4232" y="4799"/>
                    <a:pt x="4232" y="4799"/>
                    <a:pt x="4232" y="4799"/>
                  </a:cubicBezTo>
                  <a:cubicBezTo>
                    <a:pt x="4255" y="4758"/>
                    <a:pt x="4255" y="4758"/>
                    <a:pt x="4255" y="4758"/>
                  </a:cubicBezTo>
                  <a:lnTo>
                    <a:pt x="4217" y="4737"/>
                  </a:lnTo>
                  <a:close/>
                  <a:moveTo>
                    <a:pt x="4303" y="16468"/>
                  </a:moveTo>
                  <a:cubicBezTo>
                    <a:pt x="4228" y="16468"/>
                    <a:pt x="4228" y="16468"/>
                    <a:pt x="4228" y="16468"/>
                  </a:cubicBezTo>
                  <a:cubicBezTo>
                    <a:pt x="4228" y="16497"/>
                    <a:pt x="4228" y="16497"/>
                    <a:pt x="4228" y="16497"/>
                  </a:cubicBezTo>
                  <a:cubicBezTo>
                    <a:pt x="4165" y="16497"/>
                    <a:pt x="4165" y="16497"/>
                    <a:pt x="4165" y="16497"/>
                  </a:cubicBezTo>
                  <a:cubicBezTo>
                    <a:pt x="4165" y="16531"/>
                    <a:pt x="4165" y="16531"/>
                    <a:pt x="4165" y="16531"/>
                  </a:cubicBezTo>
                  <a:cubicBezTo>
                    <a:pt x="4139" y="16531"/>
                    <a:pt x="4139" y="16531"/>
                    <a:pt x="4139" y="16531"/>
                  </a:cubicBezTo>
                  <a:cubicBezTo>
                    <a:pt x="4139" y="16607"/>
                    <a:pt x="4139" y="16607"/>
                    <a:pt x="4139" y="16607"/>
                  </a:cubicBezTo>
                  <a:cubicBezTo>
                    <a:pt x="4145" y="16607"/>
                    <a:pt x="4145" y="16607"/>
                    <a:pt x="4145" y="16607"/>
                  </a:cubicBezTo>
                  <a:cubicBezTo>
                    <a:pt x="4160" y="16607"/>
                    <a:pt x="4160" y="16607"/>
                    <a:pt x="4160" y="16607"/>
                  </a:cubicBezTo>
                  <a:cubicBezTo>
                    <a:pt x="4160" y="16647"/>
                    <a:pt x="4160" y="16647"/>
                    <a:pt x="4160" y="16647"/>
                  </a:cubicBezTo>
                  <a:cubicBezTo>
                    <a:pt x="4165" y="16648"/>
                    <a:pt x="4165" y="16648"/>
                    <a:pt x="4165" y="16648"/>
                  </a:cubicBezTo>
                  <a:cubicBezTo>
                    <a:pt x="4175" y="16650"/>
                    <a:pt x="4175" y="16650"/>
                    <a:pt x="4175" y="16650"/>
                  </a:cubicBezTo>
                  <a:cubicBezTo>
                    <a:pt x="4175" y="16690"/>
                    <a:pt x="4175" y="16690"/>
                    <a:pt x="4175" y="16690"/>
                  </a:cubicBezTo>
                  <a:cubicBezTo>
                    <a:pt x="4272" y="16690"/>
                    <a:pt x="4272" y="16690"/>
                    <a:pt x="4272" y="16690"/>
                  </a:cubicBezTo>
                  <a:cubicBezTo>
                    <a:pt x="4272" y="16654"/>
                    <a:pt x="4272" y="16654"/>
                    <a:pt x="4272" y="16654"/>
                  </a:cubicBezTo>
                  <a:cubicBezTo>
                    <a:pt x="4350" y="16654"/>
                    <a:pt x="4350" y="16654"/>
                    <a:pt x="4350" y="16654"/>
                  </a:cubicBezTo>
                  <a:cubicBezTo>
                    <a:pt x="4350" y="16497"/>
                    <a:pt x="4350" y="16497"/>
                    <a:pt x="4350" y="16497"/>
                  </a:cubicBezTo>
                  <a:cubicBezTo>
                    <a:pt x="4303" y="16497"/>
                    <a:pt x="4303" y="16497"/>
                    <a:pt x="4303" y="16497"/>
                  </a:cubicBezTo>
                  <a:lnTo>
                    <a:pt x="4303" y="16468"/>
                  </a:lnTo>
                  <a:close/>
                  <a:moveTo>
                    <a:pt x="4337" y="16510"/>
                  </a:moveTo>
                  <a:cubicBezTo>
                    <a:pt x="4337" y="16641"/>
                    <a:pt x="4337" y="16641"/>
                    <a:pt x="4337" y="16641"/>
                  </a:cubicBezTo>
                  <a:cubicBezTo>
                    <a:pt x="4259" y="16641"/>
                    <a:pt x="4259" y="16641"/>
                    <a:pt x="4259" y="16641"/>
                  </a:cubicBezTo>
                  <a:cubicBezTo>
                    <a:pt x="4259" y="16677"/>
                    <a:pt x="4259" y="16677"/>
                    <a:pt x="4259" y="16677"/>
                  </a:cubicBezTo>
                  <a:cubicBezTo>
                    <a:pt x="4188" y="16677"/>
                    <a:pt x="4188" y="16677"/>
                    <a:pt x="4188" y="16677"/>
                  </a:cubicBezTo>
                  <a:cubicBezTo>
                    <a:pt x="4188" y="16645"/>
                    <a:pt x="4188" y="16645"/>
                    <a:pt x="4188" y="16645"/>
                  </a:cubicBezTo>
                  <a:cubicBezTo>
                    <a:pt x="4188" y="16639"/>
                    <a:pt x="4188" y="16639"/>
                    <a:pt x="4188" y="16639"/>
                  </a:cubicBezTo>
                  <a:cubicBezTo>
                    <a:pt x="4183" y="16638"/>
                    <a:pt x="4183" y="16638"/>
                    <a:pt x="4183" y="16638"/>
                  </a:cubicBezTo>
                  <a:cubicBezTo>
                    <a:pt x="4173" y="16636"/>
                    <a:pt x="4173" y="16636"/>
                    <a:pt x="4173" y="16636"/>
                  </a:cubicBezTo>
                  <a:cubicBezTo>
                    <a:pt x="4173" y="16594"/>
                    <a:pt x="4173" y="16594"/>
                    <a:pt x="4173" y="16594"/>
                  </a:cubicBezTo>
                  <a:cubicBezTo>
                    <a:pt x="4166" y="16594"/>
                    <a:pt x="4166" y="16594"/>
                    <a:pt x="4166" y="16594"/>
                  </a:cubicBezTo>
                  <a:cubicBezTo>
                    <a:pt x="4152" y="16594"/>
                    <a:pt x="4152" y="16594"/>
                    <a:pt x="4152" y="16594"/>
                  </a:cubicBezTo>
                  <a:cubicBezTo>
                    <a:pt x="4152" y="16544"/>
                    <a:pt x="4152" y="16544"/>
                    <a:pt x="4152" y="16544"/>
                  </a:cubicBezTo>
                  <a:cubicBezTo>
                    <a:pt x="4178" y="16544"/>
                    <a:pt x="4178" y="16544"/>
                    <a:pt x="4178" y="16544"/>
                  </a:cubicBezTo>
                  <a:cubicBezTo>
                    <a:pt x="4178" y="16510"/>
                    <a:pt x="4178" y="16510"/>
                    <a:pt x="4178" y="16510"/>
                  </a:cubicBezTo>
                  <a:cubicBezTo>
                    <a:pt x="4241" y="16510"/>
                    <a:pt x="4241" y="16510"/>
                    <a:pt x="4241" y="16510"/>
                  </a:cubicBezTo>
                  <a:cubicBezTo>
                    <a:pt x="4241" y="16481"/>
                    <a:pt x="4241" y="16481"/>
                    <a:pt x="4241" y="16481"/>
                  </a:cubicBezTo>
                  <a:cubicBezTo>
                    <a:pt x="4290" y="16481"/>
                    <a:pt x="4290" y="16481"/>
                    <a:pt x="4290" y="16481"/>
                  </a:cubicBezTo>
                  <a:cubicBezTo>
                    <a:pt x="4290" y="16510"/>
                    <a:pt x="4290" y="16510"/>
                    <a:pt x="4290" y="16510"/>
                  </a:cubicBezTo>
                  <a:lnTo>
                    <a:pt x="4337" y="16510"/>
                  </a:lnTo>
                  <a:close/>
                  <a:moveTo>
                    <a:pt x="4980" y="11136"/>
                  </a:moveTo>
                  <a:cubicBezTo>
                    <a:pt x="5005" y="11072"/>
                    <a:pt x="5005" y="11072"/>
                    <a:pt x="5005" y="11072"/>
                  </a:cubicBezTo>
                  <a:cubicBezTo>
                    <a:pt x="4924" y="11040"/>
                    <a:pt x="4924" y="11040"/>
                    <a:pt x="4924" y="11040"/>
                  </a:cubicBezTo>
                  <a:cubicBezTo>
                    <a:pt x="4899" y="11104"/>
                    <a:pt x="4899" y="11104"/>
                    <a:pt x="4899" y="11104"/>
                  </a:cubicBezTo>
                  <a:cubicBezTo>
                    <a:pt x="4974" y="11133"/>
                    <a:pt x="4974" y="11133"/>
                    <a:pt x="4974" y="11133"/>
                  </a:cubicBezTo>
                  <a:lnTo>
                    <a:pt x="4980" y="11136"/>
                  </a:lnTo>
                  <a:close/>
                  <a:moveTo>
                    <a:pt x="4916" y="11096"/>
                  </a:moveTo>
                  <a:cubicBezTo>
                    <a:pt x="4932" y="11057"/>
                    <a:pt x="4932" y="11057"/>
                    <a:pt x="4932" y="11057"/>
                  </a:cubicBezTo>
                  <a:cubicBezTo>
                    <a:pt x="4988" y="11080"/>
                    <a:pt x="4988" y="11080"/>
                    <a:pt x="4988" y="11080"/>
                  </a:cubicBezTo>
                  <a:cubicBezTo>
                    <a:pt x="4972" y="11119"/>
                    <a:pt x="4972" y="11119"/>
                    <a:pt x="4972" y="11119"/>
                  </a:cubicBezTo>
                  <a:lnTo>
                    <a:pt x="4916" y="11096"/>
                  </a:lnTo>
                  <a:close/>
                  <a:moveTo>
                    <a:pt x="4914" y="11251"/>
                  </a:moveTo>
                  <a:cubicBezTo>
                    <a:pt x="4988" y="11281"/>
                    <a:pt x="4988" y="11281"/>
                    <a:pt x="4988" y="11281"/>
                  </a:cubicBezTo>
                  <a:cubicBezTo>
                    <a:pt x="4994" y="11283"/>
                    <a:pt x="4994" y="11283"/>
                    <a:pt x="4994" y="11283"/>
                  </a:cubicBezTo>
                  <a:cubicBezTo>
                    <a:pt x="5020" y="11220"/>
                    <a:pt x="5020" y="11220"/>
                    <a:pt x="5020" y="11220"/>
                  </a:cubicBezTo>
                  <a:cubicBezTo>
                    <a:pt x="4939" y="11188"/>
                    <a:pt x="4939" y="11188"/>
                    <a:pt x="4939" y="11188"/>
                  </a:cubicBezTo>
                  <a:lnTo>
                    <a:pt x="4914" y="11251"/>
                  </a:lnTo>
                  <a:close/>
                  <a:moveTo>
                    <a:pt x="5003" y="11227"/>
                  </a:moveTo>
                  <a:cubicBezTo>
                    <a:pt x="4987" y="11266"/>
                    <a:pt x="4987" y="11266"/>
                    <a:pt x="4987" y="11266"/>
                  </a:cubicBezTo>
                  <a:cubicBezTo>
                    <a:pt x="4931" y="11244"/>
                    <a:pt x="4931" y="11244"/>
                    <a:pt x="4931" y="11244"/>
                  </a:cubicBezTo>
                  <a:cubicBezTo>
                    <a:pt x="4947" y="11205"/>
                    <a:pt x="4947" y="11205"/>
                    <a:pt x="4947" y="11205"/>
                  </a:cubicBezTo>
                  <a:lnTo>
                    <a:pt x="5003" y="11227"/>
                  </a:lnTo>
                  <a:close/>
                  <a:moveTo>
                    <a:pt x="4939" y="11397"/>
                  </a:moveTo>
                  <a:cubicBezTo>
                    <a:pt x="5013" y="11426"/>
                    <a:pt x="5013" y="11426"/>
                    <a:pt x="5013" y="11426"/>
                  </a:cubicBezTo>
                  <a:cubicBezTo>
                    <a:pt x="5019" y="11429"/>
                    <a:pt x="5019" y="11429"/>
                    <a:pt x="5019" y="11429"/>
                  </a:cubicBezTo>
                  <a:cubicBezTo>
                    <a:pt x="5044" y="11365"/>
                    <a:pt x="5044" y="11365"/>
                    <a:pt x="5044" y="11365"/>
                  </a:cubicBezTo>
                  <a:cubicBezTo>
                    <a:pt x="4964" y="11333"/>
                    <a:pt x="4964" y="11333"/>
                    <a:pt x="4964" y="11333"/>
                  </a:cubicBezTo>
                  <a:lnTo>
                    <a:pt x="4939" y="11397"/>
                  </a:lnTo>
                  <a:close/>
                  <a:moveTo>
                    <a:pt x="5027" y="11373"/>
                  </a:moveTo>
                  <a:cubicBezTo>
                    <a:pt x="5012" y="11412"/>
                    <a:pt x="5012" y="11412"/>
                    <a:pt x="5012" y="11412"/>
                  </a:cubicBezTo>
                  <a:cubicBezTo>
                    <a:pt x="4956" y="11390"/>
                    <a:pt x="4956" y="11390"/>
                    <a:pt x="4956" y="11390"/>
                  </a:cubicBezTo>
                  <a:cubicBezTo>
                    <a:pt x="4971" y="11351"/>
                    <a:pt x="4971" y="11351"/>
                    <a:pt x="4971" y="11351"/>
                  </a:cubicBezTo>
                  <a:lnTo>
                    <a:pt x="5027" y="11373"/>
                  </a:lnTo>
                  <a:close/>
                  <a:moveTo>
                    <a:pt x="7336" y="7307"/>
                  </a:moveTo>
                  <a:cubicBezTo>
                    <a:pt x="7367" y="7238"/>
                    <a:pt x="7367" y="7238"/>
                    <a:pt x="7367" y="7238"/>
                  </a:cubicBezTo>
                  <a:cubicBezTo>
                    <a:pt x="7283" y="7201"/>
                    <a:pt x="7283" y="7201"/>
                    <a:pt x="7283" y="7201"/>
                  </a:cubicBezTo>
                  <a:cubicBezTo>
                    <a:pt x="7253" y="7271"/>
                    <a:pt x="7253" y="7271"/>
                    <a:pt x="7253" y="7271"/>
                  </a:cubicBezTo>
                  <a:cubicBezTo>
                    <a:pt x="7330" y="7305"/>
                    <a:pt x="7330" y="7305"/>
                    <a:pt x="7330" y="7305"/>
                  </a:cubicBezTo>
                  <a:lnTo>
                    <a:pt x="7336" y="7307"/>
                  </a:lnTo>
                  <a:close/>
                  <a:moveTo>
                    <a:pt x="7270" y="7264"/>
                  </a:moveTo>
                  <a:cubicBezTo>
                    <a:pt x="7290" y="7219"/>
                    <a:pt x="7290" y="7219"/>
                    <a:pt x="7290" y="7219"/>
                  </a:cubicBezTo>
                  <a:cubicBezTo>
                    <a:pt x="7349" y="7245"/>
                    <a:pt x="7349" y="7245"/>
                    <a:pt x="7349" y="7245"/>
                  </a:cubicBezTo>
                  <a:cubicBezTo>
                    <a:pt x="7330" y="7290"/>
                    <a:pt x="7330" y="7290"/>
                    <a:pt x="7330" y="7290"/>
                  </a:cubicBezTo>
                  <a:lnTo>
                    <a:pt x="7270" y="7264"/>
                  </a:lnTo>
                  <a:close/>
                  <a:moveTo>
                    <a:pt x="7083" y="7254"/>
                  </a:moveTo>
                  <a:cubicBezTo>
                    <a:pt x="7161" y="7288"/>
                    <a:pt x="7161" y="7288"/>
                    <a:pt x="7161" y="7288"/>
                  </a:cubicBezTo>
                  <a:cubicBezTo>
                    <a:pt x="7167" y="7291"/>
                    <a:pt x="7167" y="7291"/>
                    <a:pt x="7167" y="7291"/>
                  </a:cubicBezTo>
                  <a:cubicBezTo>
                    <a:pt x="7197" y="7222"/>
                    <a:pt x="7197" y="7222"/>
                    <a:pt x="7197" y="7222"/>
                  </a:cubicBezTo>
                  <a:cubicBezTo>
                    <a:pt x="7114" y="7185"/>
                    <a:pt x="7114" y="7185"/>
                    <a:pt x="7114" y="7185"/>
                  </a:cubicBezTo>
                  <a:lnTo>
                    <a:pt x="7083" y="7254"/>
                  </a:lnTo>
                  <a:close/>
                  <a:moveTo>
                    <a:pt x="7180" y="7228"/>
                  </a:moveTo>
                  <a:cubicBezTo>
                    <a:pt x="7160" y="7274"/>
                    <a:pt x="7160" y="7274"/>
                    <a:pt x="7160" y="7274"/>
                  </a:cubicBezTo>
                  <a:cubicBezTo>
                    <a:pt x="7101" y="7248"/>
                    <a:pt x="7101" y="7248"/>
                    <a:pt x="7101" y="7248"/>
                  </a:cubicBezTo>
                  <a:cubicBezTo>
                    <a:pt x="7120" y="7202"/>
                    <a:pt x="7120" y="7202"/>
                    <a:pt x="7120" y="7202"/>
                  </a:cubicBezTo>
                  <a:lnTo>
                    <a:pt x="7180" y="7228"/>
                  </a:lnTo>
                  <a:close/>
                  <a:moveTo>
                    <a:pt x="12363" y="11589"/>
                  </a:moveTo>
                  <a:cubicBezTo>
                    <a:pt x="12363" y="11595"/>
                    <a:pt x="12363" y="11595"/>
                    <a:pt x="12363" y="11595"/>
                  </a:cubicBezTo>
                  <a:cubicBezTo>
                    <a:pt x="12439" y="11595"/>
                    <a:pt x="12439" y="11595"/>
                    <a:pt x="12439" y="11595"/>
                  </a:cubicBezTo>
                  <a:cubicBezTo>
                    <a:pt x="12439" y="11504"/>
                    <a:pt x="12439" y="11504"/>
                    <a:pt x="12439" y="11504"/>
                  </a:cubicBezTo>
                  <a:cubicBezTo>
                    <a:pt x="12363" y="11504"/>
                    <a:pt x="12363" y="11504"/>
                    <a:pt x="12363" y="11504"/>
                  </a:cubicBezTo>
                  <a:lnTo>
                    <a:pt x="12363" y="11589"/>
                  </a:lnTo>
                  <a:close/>
                  <a:moveTo>
                    <a:pt x="12376" y="11517"/>
                  </a:moveTo>
                  <a:cubicBezTo>
                    <a:pt x="12426" y="11517"/>
                    <a:pt x="12426" y="11517"/>
                    <a:pt x="12426" y="11517"/>
                  </a:cubicBezTo>
                  <a:cubicBezTo>
                    <a:pt x="12426" y="11582"/>
                    <a:pt x="12426" y="11582"/>
                    <a:pt x="12426" y="11582"/>
                  </a:cubicBezTo>
                  <a:cubicBezTo>
                    <a:pt x="12376" y="11582"/>
                    <a:pt x="12376" y="11582"/>
                    <a:pt x="12376" y="11582"/>
                  </a:cubicBezTo>
                  <a:lnTo>
                    <a:pt x="12376" y="11517"/>
                  </a:lnTo>
                  <a:close/>
                  <a:moveTo>
                    <a:pt x="7933" y="6809"/>
                  </a:moveTo>
                  <a:cubicBezTo>
                    <a:pt x="7889" y="6870"/>
                    <a:pt x="7889" y="6870"/>
                    <a:pt x="7889" y="6870"/>
                  </a:cubicBezTo>
                  <a:cubicBezTo>
                    <a:pt x="8007" y="6955"/>
                    <a:pt x="8007" y="6955"/>
                    <a:pt x="8007" y="6955"/>
                  </a:cubicBezTo>
                  <a:cubicBezTo>
                    <a:pt x="8012" y="6958"/>
                    <a:pt x="8012" y="6958"/>
                    <a:pt x="8012" y="6958"/>
                  </a:cubicBezTo>
                  <a:cubicBezTo>
                    <a:pt x="8057" y="6897"/>
                    <a:pt x="8057" y="6897"/>
                    <a:pt x="8057" y="6897"/>
                  </a:cubicBezTo>
                  <a:lnTo>
                    <a:pt x="7933" y="6809"/>
                  </a:lnTo>
                  <a:close/>
                  <a:moveTo>
                    <a:pt x="8009" y="6940"/>
                  </a:moveTo>
                  <a:cubicBezTo>
                    <a:pt x="7908" y="6867"/>
                    <a:pt x="7908" y="6867"/>
                    <a:pt x="7908" y="6867"/>
                  </a:cubicBezTo>
                  <a:cubicBezTo>
                    <a:pt x="7936" y="6827"/>
                    <a:pt x="7936" y="6827"/>
                    <a:pt x="7936" y="6827"/>
                  </a:cubicBezTo>
                  <a:cubicBezTo>
                    <a:pt x="8038" y="6900"/>
                    <a:pt x="8038" y="6900"/>
                    <a:pt x="8038" y="6900"/>
                  </a:cubicBezTo>
                  <a:lnTo>
                    <a:pt x="8009" y="6940"/>
                  </a:lnTo>
                  <a:close/>
                  <a:moveTo>
                    <a:pt x="7983" y="6757"/>
                  </a:moveTo>
                  <a:cubicBezTo>
                    <a:pt x="8125" y="6787"/>
                    <a:pt x="8125" y="6787"/>
                    <a:pt x="8125" y="6787"/>
                  </a:cubicBezTo>
                  <a:cubicBezTo>
                    <a:pt x="8131" y="6789"/>
                    <a:pt x="8131" y="6789"/>
                    <a:pt x="8131" y="6789"/>
                  </a:cubicBezTo>
                  <a:cubicBezTo>
                    <a:pt x="8147" y="6715"/>
                    <a:pt x="8147" y="6715"/>
                    <a:pt x="8147" y="6715"/>
                  </a:cubicBezTo>
                  <a:cubicBezTo>
                    <a:pt x="7999" y="6683"/>
                    <a:pt x="7999" y="6683"/>
                    <a:pt x="7999" y="6683"/>
                  </a:cubicBezTo>
                  <a:lnTo>
                    <a:pt x="7983" y="6757"/>
                  </a:lnTo>
                  <a:close/>
                  <a:moveTo>
                    <a:pt x="8131" y="6725"/>
                  </a:moveTo>
                  <a:cubicBezTo>
                    <a:pt x="8121" y="6773"/>
                    <a:pt x="8121" y="6773"/>
                    <a:pt x="8121" y="6773"/>
                  </a:cubicBezTo>
                  <a:cubicBezTo>
                    <a:pt x="7999" y="6747"/>
                    <a:pt x="7999" y="6747"/>
                    <a:pt x="7999" y="6747"/>
                  </a:cubicBezTo>
                  <a:cubicBezTo>
                    <a:pt x="8009" y="6699"/>
                    <a:pt x="8009" y="6699"/>
                    <a:pt x="8009" y="6699"/>
                  </a:cubicBezTo>
                  <a:lnTo>
                    <a:pt x="8131" y="6725"/>
                  </a:lnTo>
                  <a:close/>
                  <a:moveTo>
                    <a:pt x="8507" y="6988"/>
                  </a:moveTo>
                  <a:cubicBezTo>
                    <a:pt x="8509" y="6982"/>
                    <a:pt x="8509" y="6982"/>
                    <a:pt x="8509" y="6982"/>
                  </a:cubicBezTo>
                  <a:cubicBezTo>
                    <a:pt x="8440" y="6952"/>
                    <a:pt x="8440" y="6952"/>
                    <a:pt x="8440" y="6952"/>
                  </a:cubicBezTo>
                  <a:cubicBezTo>
                    <a:pt x="8379" y="7090"/>
                    <a:pt x="8379" y="7090"/>
                    <a:pt x="8379" y="7090"/>
                  </a:cubicBezTo>
                  <a:cubicBezTo>
                    <a:pt x="8448" y="7121"/>
                    <a:pt x="8448" y="7121"/>
                    <a:pt x="8448" y="7121"/>
                  </a:cubicBezTo>
                  <a:lnTo>
                    <a:pt x="8507" y="6988"/>
                  </a:lnTo>
                  <a:close/>
                  <a:moveTo>
                    <a:pt x="8396" y="7083"/>
                  </a:moveTo>
                  <a:cubicBezTo>
                    <a:pt x="8447" y="6969"/>
                    <a:pt x="8447" y="6969"/>
                    <a:pt x="8447" y="6969"/>
                  </a:cubicBezTo>
                  <a:cubicBezTo>
                    <a:pt x="8492" y="6989"/>
                    <a:pt x="8492" y="6989"/>
                    <a:pt x="8492" y="6989"/>
                  </a:cubicBezTo>
                  <a:cubicBezTo>
                    <a:pt x="8441" y="7104"/>
                    <a:pt x="8441" y="7104"/>
                    <a:pt x="8441" y="7104"/>
                  </a:cubicBezTo>
                  <a:lnTo>
                    <a:pt x="8396" y="7083"/>
                  </a:lnTo>
                  <a:close/>
                  <a:moveTo>
                    <a:pt x="8398" y="7323"/>
                  </a:moveTo>
                  <a:cubicBezTo>
                    <a:pt x="8440" y="7259"/>
                    <a:pt x="8440" y="7259"/>
                    <a:pt x="8440" y="7259"/>
                  </a:cubicBezTo>
                  <a:cubicBezTo>
                    <a:pt x="8319" y="7180"/>
                    <a:pt x="8319" y="7180"/>
                    <a:pt x="8319" y="7180"/>
                  </a:cubicBezTo>
                  <a:cubicBezTo>
                    <a:pt x="8313" y="7176"/>
                    <a:pt x="8313" y="7176"/>
                    <a:pt x="8313" y="7176"/>
                  </a:cubicBezTo>
                  <a:cubicBezTo>
                    <a:pt x="8272" y="7240"/>
                    <a:pt x="8272" y="7240"/>
                    <a:pt x="8272" y="7240"/>
                  </a:cubicBezTo>
                  <a:lnTo>
                    <a:pt x="8398" y="7323"/>
                  </a:lnTo>
                  <a:close/>
                  <a:moveTo>
                    <a:pt x="8317" y="7194"/>
                  </a:moveTo>
                  <a:cubicBezTo>
                    <a:pt x="8422" y="7263"/>
                    <a:pt x="8422" y="7263"/>
                    <a:pt x="8422" y="7263"/>
                  </a:cubicBezTo>
                  <a:cubicBezTo>
                    <a:pt x="8395" y="7304"/>
                    <a:pt x="8395" y="7304"/>
                    <a:pt x="8395" y="7304"/>
                  </a:cubicBezTo>
                  <a:cubicBezTo>
                    <a:pt x="8290" y="7236"/>
                    <a:pt x="8290" y="7236"/>
                    <a:pt x="8290" y="7236"/>
                  </a:cubicBezTo>
                  <a:lnTo>
                    <a:pt x="8317" y="7194"/>
                  </a:lnTo>
                  <a:close/>
                  <a:moveTo>
                    <a:pt x="8127" y="7307"/>
                  </a:moveTo>
                  <a:cubicBezTo>
                    <a:pt x="8086" y="7370"/>
                    <a:pt x="8086" y="7370"/>
                    <a:pt x="8086" y="7370"/>
                  </a:cubicBezTo>
                  <a:cubicBezTo>
                    <a:pt x="8213" y="7453"/>
                    <a:pt x="8213" y="7453"/>
                    <a:pt x="8213" y="7453"/>
                  </a:cubicBezTo>
                  <a:cubicBezTo>
                    <a:pt x="8254" y="7390"/>
                    <a:pt x="8254" y="7390"/>
                    <a:pt x="8254" y="7390"/>
                  </a:cubicBezTo>
                  <a:cubicBezTo>
                    <a:pt x="8133" y="7310"/>
                    <a:pt x="8133" y="7310"/>
                    <a:pt x="8133" y="7310"/>
                  </a:cubicBezTo>
                  <a:lnTo>
                    <a:pt x="8127" y="7307"/>
                  </a:lnTo>
                  <a:close/>
                  <a:moveTo>
                    <a:pt x="8209" y="7435"/>
                  </a:moveTo>
                  <a:cubicBezTo>
                    <a:pt x="8104" y="7366"/>
                    <a:pt x="8104" y="7366"/>
                    <a:pt x="8104" y="7366"/>
                  </a:cubicBezTo>
                  <a:cubicBezTo>
                    <a:pt x="8131" y="7325"/>
                    <a:pt x="8131" y="7325"/>
                    <a:pt x="8131" y="7325"/>
                  </a:cubicBezTo>
                  <a:cubicBezTo>
                    <a:pt x="8236" y="7393"/>
                    <a:pt x="8236" y="7393"/>
                    <a:pt x="8236" y="7393"/>
                  </a:cubicBezTo>
                  <a:lnTo>
                    <a:pt x="8209" y="7435"/>
                  </a:lnTo>
                  <a:close/>
                  <a:moveTo>
                    <a:pt x="8089" y="7499"/>
                  </a:moveTo>
                  <a:cubicBezTo>
                    <a:pt x="7990" y="7393"/>
                    <a:pt x="7990" y="7393"/>
                    <a:pt x="7990" y="7393"/>
                  </a:cubicBezTo>
                  <a:cubicBezTo>
                    <a:pt x="7986" y="7388"/>
                    <a:pt x="7986" y="7388"/>
                    <a:pt x="7986" y="7388"/>
                  </a:cubicBezTo>
                  <a:cubicBezTo>
                    <a:pt x="7930" y="7439"/>
                    <a:pt x="7930" y="7439"/>
                    <a:pt x="7930" y="7439"/>
                  </a:cubicBezTo>
                  <a:cubicBezTo>
                    <a:pt x="8033" y="7551"/>
                    <a:pt x="8033" y="7551"/>
                    <a:pt x="8033" y="7551"/>
                  </a:cubicBezTo>
                  <a:lnTo>
                    <a:pt x="8089" y="7499"/>
                  </a:lnTo>
                  <a:close/>
                  <a:moveTo>
                    <a:pt x="7985" y="7406"/>
                  </a:moveTo>
                  <a:cubicBezTo>
                    <a:pt x="8071" y="7498"/>
                    <a:pt x="8071" y="7498"/>
                    <a:pt x="8071" y="7498"/>
                  </a:cubicBezTo>
                  <a:cubicBezTo>
                    <a:pt x="8034" y="7532"/>
                    <a:pt x="8034" y="7532"/>
                    <a:pt x="8034" y="7532"/>
                  </a:cubicBezTo>
                  <a:cubicBezTo>
                    <a:pt x="7949" y="7440"/>
                    <a:pt x="7949" y="7440"/>
                    <a:pt x="7949" y="7440"/>
                  </a:cubicBezTo>
                  <a:lnTo>
                    <a:pt x="7985" y="7406"/>
                  </a:lnTo>
                  <a:close/>
                  <a:moveTo>
                    <a:pt x="7812" y="7470"/>
                  </a:moveTo>
                  <a:cubicBezTo>
                    <a:pt x="7756" y="7522"/>
                    <a:pt x="7756" y="7522"/>
                    <a:pt x="7756" y="7522"/>
                  </a:cubicBezTo>
                  <a:cubicBezTo>
                    <a:pt x="7859" y="7633"/>
                    <a:pt x="7859" y="7633"/>
                    <a:pt x="7859" y="7633"/>
                  </a:cubicBezTo>
                  <a:cubicBezTo>
                    <a:pt x="7915" y="7581"/>
                    <a:pt x="7915" y="7581"/>
                    <a:pt x="7915" y="7581"/>
                  </a:cubicBezTo>
                  <a:cubicBezTo>
                    <a:pt x="7816" y="7475"/>
                    <a:pt x="7816" y="7475"/>
                    <a:pt x="7816" y="7475"/>
                  </a:cubicBezTo>
                  <a:lnTo>
                    <a:pt x="7812" y="7470"/>
                  </a:lnTo>
                  <a:close/>
                  <a:moveTo>
                    <a:pt x="7860" y="7614"/>
                  </a:moveTo>
                  <a:cubicBezTo>
                    <a:pt x="7775" y="7522"/>
                    <a:pt x="7775" y="7522"/>
                    <a:pt x="7775" y="7522"/>
                  </a:cubicBezTo>
                  <a:cubicBezTo>
                    <a:pt x="7811" y="7489"/>
                    <a:pt x="7811" y="7489"/>
                    <a:pt x="7811" y="7489"/>
                  </a:cubicBezTo>
                  <a:cubicBezTo>
                    <a:pt x="7896" y="7581"/>
                    <a:pt x="7896" y="7581"/>
                    <a:pt x="7896" y="7581"/>
                  </a:cubicBezTo>
                  <a:lnTo>
                    <a:pt x="7860" y="7614"/>
                  </a:lnTo>
                  <a:close/>
                  <a:moveTo>
                    <a:pt x="8483" y="7859"/>
                  </a:moveTo>
                  <a:cubicBezTo>
                    <a:pt x="8385" y="7753"/>
                    <a:pt x="8385" y="7753"/>
                    <a:pt x="8385" y="7753"/>
                  </a:cubicBezTo>
                  <a:cubicBezTo>
                    <a:pt x="8380" y="7748"/>
                    <a:pt x="8380" y="7748"/>
                    <a:pt x="8380" y="7748"/>
                  </a:cubicBezTo>
                  <a:cubicBezTo>
                    <a:pt x="8325" y="7800"/>
                    <a:pt x="8325" y="7800"/>
                    <a:pt x="8325" y="7800"/>
                  </a:cubicBezTo>
                  <a:cubicBezTo>
                    <a:pt x="8428" y="7911"/>
                    <a:pt x="8428" y="7911"/>
                    <a:pt x="8428" y="7911"/>
                  </a:cubicBezTo>
                  <a:lnTo>
                    <a:pt x="8483" y="7859"/>
                  </a:lnTo>
                  <a:close/>
                  <a:moveTo>
                    <a:pt x="8380" y="7767"/>
                  </a:moveTo>
                  <a:cubicBezTo>
                    <a:pt x="8465" y="7859"/>
                    <a:pt x="8465" y="7859"/>
                    <a:pt x="8465" y="7859"/>
                  </a:cubicBezTo>
                  <a:cubicBezTo>
                    <a:pt x="8428" y="7892"/>
                    <a:pt x="8428" y="7892"/>
                    <a:pt x="8428" y="7892"/>
                  </a:cubicBezTo>
                  <a:cubicBezTo>
                    <a:pt x="8343" y="7800"/>
                    <a:pt x="8343" y="7800"/>
                    <a:pt x="8343" y="7800"/>
                  </a:cubicBezTo>
                  <a:lnTo>
                    <a:pt x="8380" y="7767"/>
                  </a:lnTo>
                  <a:close/>
                  <a:moveTo>
                    <a:pt x="8424" y="7510"/>
                  </a:moveTo>
                  <a:cubicBezTo>
                    <a:pt x="8369" y="7561"/>
                    <a:pt x="8369" y="7561"/>
                    <a:pt x="8369" y="7561"/>
                  </a:cubicBezTo>
                  <a:cubicBezTo>
                    <a:pt x="8472" y="7673"/>
                    <a:pt x="8472" y="7673"/>
                    <a:pt x="8472" y="7673"/>
                  </a:cubicBezTo>
                  <a:cubicBezTo>
                    <a:pt x="8527" y="7621"/>
                    <a:pt x="8527" y="7621"/>
                    <a:pt x="8527" y="7621"/>
                  </a:cubicBezTo>
                  <a:cubicBezTo>
                    <a:pt x="8429" y="7515"/>
                    <a:pt x="8429" y="7515"/>
                    <a:pt x="8429" y="7515"/>
                  </a:cubicBezTo>
                  <a:lnTo>
                    <a:pt x="8424" y="7510"/>
                  </a:lnTo>
                  <a:close/>
                  <a:moveTo>
                    <a:pt x="8472" y="7654"/>
                  </a:moveTo>
                  <a:cubicBezTo>
                    <a:pt x="8387" y="7562"/>
                    <a:pt x="8387" y="7562"/>
                    <a:pt x="8387" y="7562"/>
                  </a:cubicBezTo>
                  <a:cubicBezTo>
                    <a:pt x="8424" y="7528"/>
                    <a:pt x="8424" y="7528"/>
                    <a:pt x="8424" y="7528"/>
                  </a:cubicBezTo>
                  <a:cubicBezTo>
                    <a:pt x="8509" y="7620"/>
                    <a:pt x="8509" y="7620"/>
                    <a:pt x="8509" y="7620"/>
                  </a:cubicBezTo>
                  <a:lnTo>
                    <a:pt x="8472" y="7654"/>
                  </a:lnTo>
                  <a:close/>
                  <a:moveTo>
                    <a:pt x="7626" y="7530"/>
                  </a:moveTo>
                  <a:cubicBezTo>
                    <a:pt x="7564" y="7574"/>
                    <a:pt x="7564" y="7574"/>
                    <a:pt x="7564" y="7574"/>
                  </a:cubicBezTo>
                  <a:cubicBezTo>
                    <a:pt x="7651" y="7698"/>
                    <a:pt x="7651" y="7698"/>
                    <a:pt x="7651" y="7698"/>
                  </a:cubicBezTo>
                  <a:cubicBezTo>
                    <a:pt x="7713" y="7654"/>
                    <a:pt x="7713" y="7654"/>
                    <a:pt x="7713" y="7654"/>
                  </a:cubicBezTo>
                  <a:cubicBezTo>
                    <a:pt x="7629" y="7535"/>
                    <a:pt x="7629" y="7535"/>
                    <a:pt x="7629" y="7535"/>
                  </a:cubicBezTo>
                  <a:lnTo>
                    <a:pt x="7626" y="7530"/>
                  </a:lnTo>
                  <a:close/>
                  <a:moveTo>
                    <a:pt x="7654" y="7679"/>
                  </a:moveTo>
                  <a:cubicBezTo>
                    <a:pt x="7582" y="7577"/>
                    <a:pt x="7582" y="7577"/>
                    <a:pt x="7582" y="7577"/>
                  </a:cubicBezTo>
                  <a:cubicBezTo>
                    <a:pt x="7622" y="7548"/>
                    <a:pt x="7622" y="7548"/>
                    <a:pt x="7622" y="7548"/>
                  </a:cubicBezTo>
                  <a:cubicBezTo>
                    <a:pt x="7694" y="7651"/>
                    <a:pt x="7694" y="7651"/>
                    <a:pt x="7694" y="7651"/>
                  </a:cubicBezTo>
                  <a:lnTo>
                    <a:pt x="7654" y="7679"/>
                  </a:lnTo>
                  <a:close/>
                  <a:moveTo>
                    <a:pt x="7109" y="7051"/>
                  </a:moveTo>
                  <a:cubicBezTo>
                    <a:pt x="7253" y="7068"/>
                    <a:pt x="7253" y="7068"/>
                    <a:pt x="7253" y="7068"/>
                  </a:cubicBezTo>
                  <a:cubicBezTo>
                    <a:pt x="7259" y="7069"/>
                    <a:pt x="7259" y="7069"/>
                    <a:pt x="7259" y="7069"/>
                  </a:cubicBezTo>
                  <a:cubicBezTo>
                    <a:pt x="7268" y="6994"/>
                    <a:pt x="7268" y="6994"/>
                    <a:pt x="7268" y="6994"/>
                  </a:cubicBezTo>
                  <a:cubicBezTo>
                    <a:pt x="7118" y="6976"/>
                    <a:pt x="7118" y="6976"/>
                    <a:pt x="7118" y="6976"/>
                  </a:cubicBezTo>
                  <a:lnTo>
                    <a:pt x="7109" y="7051"/>
                  </a:lnTo>
                  <a:close/>
                  <a:moveTo>
                    <a:pt x="7129" y="6990"/>
                  </a:moveTo>
                  <a:cubicBezTo>
                    <a:pt x="7254" y="7005"/>
                    <a:pt x="7254" y="7005"/>
                    <a:pt x="7254" y="7005"/>
                  </a:cubicBezTo>
                  <a:cubicBezTo>
                    <a:pt x="7248" y="7054"/>
                    <a:pt x="7248" y="7054"/>
                    <a:pt x="7248" y="7054"/>
                  </a:cubicBezTo>
                  <a:cubicBezTo>
                    <a:pt x="7123" y="7040"/>
                    <a:pt x="7123" y="7040"/>
                    <a:pt x="7123" y="7040"/>
                  </a:cubicBezTo>
                  <a:lnTo>
                    <a:pt x="7129" y="6990"/>
                  </a:lnTo>
                  <a:close/>
                  <a:moveTo>
                    <a:pt x="7510" y="7713"/>
                  </a:moveTo>
                  <a:cubicBezTo>
                    <a:pt x="7519" y="7638"/>
                    <a:pt x="7519" y="7638"/>
                    <a:pt x="7519" y="7638"/>
                  </a:cubicBezTo>
                  <a:cubicBezTo>
                    <a:pt x="7369" y="7620"/>
                    <a:pt x="7369" y="7620"/>
                    <a:pt x="7369" y="7620"/>
                  </a:cubicBezTo>
                  <a:cubicBezTo>
                    <a:pt x="7360" y="7695"/>
                    <a:pt x="7360" y="7695"/>
                    <a:pt x="7360" y="7695"/>
                  </a:cubicBezTo>
                  <a:cubicBezTo>
                    <a:pt x="7504" y="7712"/>
                    <a:pt x="7504" y="7712"/>
                    <a:pt x="7504" y="7712"/>
                  </a:cubicBezTo>
                  <a:lnTo>
                    <a:pt x="7510" y="7713"/>
                  </a:lnTo>
                  <a:close/>
                  <a:moveTo>
                    <a:pt x="7374" y="7683"/>
                  </a:moveTo>
                  <a:cubicBezTo>
                    <a:pt x="7380" y="7634"/>
                    <a:pt x="7380" y="7634"/>
                    <a:pt x="7380" y="7634"/>
                  </a:cubicBezTo>
                  <a:cubicBezTo>
                    <a:pt x="7505" y="7649"/>
                    <a:pt x="7505" y="7649"/>
                    <a:pt x="7505" y="7649"/>
                  </a:cubicBezTo>
                  <a:cubicBezTo>
                    <a:pt x="7499" y="7698"/>
                    <a:pt x="7499" y="7698"/>
                    <a:pt x="7499" y="7698"/>
                  </a:cubicBezTo>
                  <a:lnTo>
                    <a:pt x="7374" y="7683"/>
                  </a:lnTo>
                  <a:close/>
                  <a:moveTo>
                    <a:pt x="6568" y="7644"/>
                  </a:moveTo>
                  <a:cubicBezTo>
                    <a:pt x="6582" y="7570"/>
                    <a:pt x="6582" y="7570"/>
                    <a:pt x="6582" y="7570"/>
                  </a:cubicBezTo>
                  <a:cubicBezTo>
                    <a:pt x="6433" y="7541"/>
                    <a:pt x="6433" y="7541"/>
                    <a:pt x="6433" y="7541"/>
                  </a:cubicBezTo>
                  <a:cubicBezTo>
                    <a:pt x="6419" y="7616"/>
                    <a:pt x="6419" y="7616"/>
                    <a:pt x="6419" y="7616"/>
                  </a:cubicBezTo>
                  <a:cubicBezTo>
                    <a:pt x="6561" y="7643"/>
                    <a:pt x="6561" y="7643"/>
                    <a:pt x="6561" y="7643"/>
                  </a:cubicBezTo>
                  <a:lnTo>
                    <a:pt x="6568" y="7644"/>
                  </a:lnTo>
                  <a:close/>
                  <a:moveTo>
                    <a:pt x="6434" y="7605"/>
                  </a:moveTo>
                  <a:cubicBezTo>
                    <a:pt x="6444" y="7556"/>
                    <a:pt x="6444" y="7556"/>
                    <a:pt x="6444" y="7556"/>
                  </a:cubicBezTo>
                  <a:cubicBezTo>
                    <a:pt x="6567" y="7580"/>
                    <a:pt x="6567" y="7580"/>
                    <a:pt x="6567" y="7580"/>
                  </a:cubicBezTo>
                  <a:cubicBezTo>
                    <a:pt x="6557" y="7629"/>
                    <a:pt x="6557" y="7629"/>
                    <a:pt x="6557" y="7629"/>
                  </a:cubicBezTo>
                  <a:lnTo>
                    <a:pt x="6434" y="7605"/>
                  </a:lnTo>
                  <a:close/>
                  <a:moveTo>
                    <a:pt x="5778" y="7289"/>
                  </a:moveTo>
                  <a:cubicBezTo>
                    <a:pt x="5922" y="7307"/>
                    <a:pt x="5922" y="7307"/>
                    <a:pt x="5922" y="7307"/>
                  </a:cubicBezTo>
                  <a:cubicBezTo>
                    <a:pt x="5929" y="7308"/>
                    <a:pt x="5929" y="7308"/>
                    <a:pt x="5929" y="7308"/>
                  </a:cubicBezTo>
                  <a:cubicBezTo>
                    <a:pt x="5938" y="7232"/>
                    <a:pt x="5938" y="7232"/>
                    <a:pt x="5938" y="7232"/>
                  </a:cubicBezTo>
                  <a:cubicBezTo>
                    <a:pt x="5788" y="7214"/>
                    <a:pt x="5788" y="7214"/>
                    <a:pt x="5788" y="7214"/>
                  </a:cubicBezTo>
                  <a:lnTo>
                    <a:pt x="5778" y="7289"/>
                  </a:lnTo>
                  <a:close/>
                  <a:moveTo>
                    <a:pt x="5799" y="7228"/>
                  </a:moveTo>
                  <a:cubicBezTo>
                    <a:pt x="5923" y="7244"/>
                    <a:pt x="5923" y="7244"/>
                    <a:pt x="5923" y="7244"/>
                  </a:cubicBezTo>
                  <a:cubicBezTo>
                    <a:pt x="5917" y="7293"/>
                    <a:pt x="5917" y="7293"/>
                    <a:pt x="5917" y="7293"/>
                  </a:cubicBezTo>
                  <a:cubicBezTo>
                    <a:pt x="5793" y="7278"/>
                    <a:pt x="5793" y="7278"/>
                    <a:pt x="5793" y="7278"/>
                  </a:cubicBezTo>
                  <a:lnTo>
                    <a:pt x="5799" y="7228"/>
                  </a:lnTo>
                  <a:close/>
                  <a:moveTo>
                    <a:pt x="5818" y="7106"/>
                  </a:moveTo>
                  <a:cubicBezTo>
                    <a:pt x="5962" y="7124"/>
                    <a:pt x="5962" y="7124"/>
                    <a:pt x="5962" y="7124"/>
                  </a:cubicBezTo>
                  <a:cubicBezTo>
                    <a:pt x="5968" y="7125"/>
                    <a:pt x="5968" y="7125"/>
                    <a:pt x="5968" y="7125"/>
                  </a:cubicBezTo>
                  <a:cubicBezTo>
                    <a:pt x="5978" y="7049"/>
                    <a:pt x="5978" y="7049"/>
                    <a:pt x="5978" y="7049"/>
                  </a:cubicBezTo>
                  <a:cubicBezTo>
                    <a:pt x="5827" y="7031"/>
                    <a:pt x="5827" y="7031"/>
                    <a:pt x="5827" y="7031"/>
                  </a:cubicBezTo>
                  <a:lnTo>
                    <a:pt x="5818" y="7106"/>
                  </a:lnTo>
                  <a:close/>
                  <a:moveTo>
                    <a:pt x="5839" y="7046"/>
                  </a:moveTo>
                  <a:cubicBezTo>
                    <a:pt x="5963" y="7061"/>
                    <a:pt x="5963" y="7061"/>
                    <a:pt x="5963" y="7061"/>
                  </a:cubicBezTo>
                  <a:cubicBezTo>
                    <a:pt x="5957" y="7110"/>
                    <a:pt x="5957" y="7110"/>
                    <a:pt x="5957" y="7110"/>
                  </a:cubicBezTo>
                  <a:cubicBezTo>
                    <a:pt x="5833" y="7095"/>
                    <a:pt x="5833" y="7095"/>
                    <a:pt x="5833" y="7095"/>
                  </a:cubicBezTo>
                  <a:lnTo>
                    <a:pt x="5839" y="7046"/>
                  </a:lnTo>
                  <a:close/>
                  <a:moveTo>
                    <a:pt x="5848" y="6934"/>
                  </a:moveTo>
                  <a:cubicBezTo>
                    <a:pt x="5992" y="6952"/>
                    <a:pt x="5992" y="6952"/>
                    <a:pt x="5992" y="6952"/>
                  </a:cubicBezTo>
                  <a:cubicBezTo>
                    <a:pt x="5998" y="6953"/>
                    <a:pt x="5998" y="6953"/>
                    <a:pt x="5998" y="6953"/>
                  </a:cubicBezTo>
                  <a:cubicBezTo>
                    <a:pt x="6007" y="6878"/>
                    <a:pt x="6007" y="6878"/>
                    <a:pt x="6007" y="6878"/>
                  </a:cubicBezTo>
                  <a:cubicBezTo>
                    <a:pt x="5857" y="6859"/>
                    <a:pt x="5857" y="6859"/>
                    <a:pt x="5857" y="6859"/>
                  </a:cubicBezTo>
                  <a:lnTo>
                    <a:pt x="5848" y="6934"/>
                  </a:lnTo>
                  <a:close/>
                  <a:moveTo>
                    <a:pt x="5868" y="6874"/>
                  </a:moveTo>
                  <a:cubicBezTo>
                    <a:pt x="5993" y="6889"/>
                    <a:pt x="5993" y="6889"/>
                    <a:pt x="5993" y="6889"/>
                  </a:cubicBezTo>
                  <a:cubicBezTo>
                    <a:pt x="5987" y="6938"/>
                    <a:pt x="5987" y="6938"/>
                    <a:pt x="5987" y="6938"/>
                  </a:cubicBezTo>
                  <a:cubicBezTo>
                    <a:pt x="5862" y="6923"/>
                    <a:pt x="5862" y="6923"/>
                    <a:pt x="5862" y="6923"/>
                  </a:cubicBezTo>
                  <a:lnTo>
                    <a:pt x="5868" y="6874"/>
                  </a:lnTo>
                  <a:close/>
                  <a:moveTo>
                    <a:pt x="5882" y="6752"/>
                  </a:moveTo>
                  <a:cubicBezTo>
                    <a:pt x="6026" y="6769"/>
                    <a:pt x="6026" y="6769"/>
                    <a:pt x="6026" y="6769"/>
                  </a:cubicBezTo>
                  <a:cubicBezTo>
                    <a:pt x="6032" y="6770"/>
                    <a:pt x="6032" y="6770"/>
                    <a:pt x="6032" y="6770"/>
                  </a:cubicBezTo>
                  <a:cubicBezTo>
                    <a:pt x="6041" y="6695"/>
                    <a:pt x="6041" y="6695"/>
                    <a:pt x="6041" y="6695"/>
                  </a:cubicBezTo>
                  <a:cubicBezTo>
                    <a:pt x="5891" y="6676"/>
                    <a:pt x="5891" y="6676"/>
                    <a:pt x="5891" y="6676"/>
                  </a:cubicBezTo>
                  <a:lnTo>
                    <a:pt x="5882" y="6752"/>
                  </a:lnTo>
                  <a:close/>
                  <a:moveTo>
                    <a:pt x="5902" y="6691"/>
                  </a:moveTo>
                  <a:cubicBezTo>
                    <a:pt x="6027" y="6706"/>
                    <a:pt x="6027" y="6706"/>
                    <a:pt x="6027" y="6706"/>
                  </a:cubicBezTo>
                  <a:cubicBezTo>
                    <a:pt x="6021" y="6755"/>
                    <a:pt x="6021" y="6755"/>
                    <a:pt x="6021" y="6755"/>
                  </a:cubicBezTo>
                  <a:cubicBezTo>
                    <a:pt x="5896" y="6740"/>
                    <a:pt x="5896" y="6740"/>
                    <a:pt x="5896" y="6740"/>
                  </a:cubicBezTo>
                  <a:lnTo>
                    <a:pt x="5902" y="6691"/>
                  </a:lnTo>
                  <a:close/>
                  <a:moveTo>
                    <a:pt x="6069" y="6596"/>
                  </a:moveTo>
                  <a:cubicBezTo>
                    <a:pt x="6078" y="6520"/>
                    <a:pt x="6078" y="6520"/>
                    <a:pt x="6078" y="6520"/>
                  </a:cubicBezTo>
                  <a:cubicBezTo>
                    <a:pt x="5928" y="6502"/>
                    <a:pt x="5928" y="6502"/>
                    <a:pt x="5928" y="6502"/>
                  </a:cubicBezTo>
                  <a:cubicBezTo>
                    <a:pt x="5919" y="6577"/>
                    <a:pt x="5919" y="6577"/>
                    <a:pt x="5919" y="6577"/>
                  </a:cubicBezTo>
                  <a:cubicBezTo>
                    <a:pt x="6063" y="6595"/>
                    <a:pt x="6063" y="6595"/>
                    <a:pt x="6063" y="6595"/>
                  </a:cubicBezTo>
                  <a:lnTo>
                    <a:pt x="6069" y="6596"/>
                  </a:lnTo>
                  <a:close/>
                  <a:moveTo>
                    <a:pt x="5933" y="6566"/>
                  </a:moveTo>
                  <a:cubicBezTo>
                    <a:pt x="5939" y="6516"/>
                    <a:pt x="5939" y="6516"/>
                    <a:pt x="5939" y="6516"/>
                  </a:cubicBezTo>
                  <a:cubicBezTo>
                    <a:pt x="6064" y="6532"/>
                    <a:pt x="6064" y="6532"/>
                    <a:pt x="6064" y="6532"/>
                  </a:cubicBezTo>
                  <a:cubicBezTo>
                    <a:pt x="6058" y="6581"/>
                    <a:pt x="6058" y="6581"/>
                    <a:pt x="6058" y="6581"/>
                  </a:cubicBezTo>
                  <a:lnTo>
                    <a:pt x="5933" y="6566"/>
                  </a:lnTo>
                  <a:close/>
                  <a:moveTo>
                    <a:pt x="5502" y="7252"/>
                  </a:moveTo>
                  <a:cubicBezTo>
                    <a:pt x="5646" y="7270"/>
                    <a:pt x="5646" y="7270"/>
                    <a:pt x="5646" y="7270"/>
                  </a:cubicBezTo>
                  <a:cubicBezTo>
                    <a:pt x="5652" y="7271"/>
                    <a:pt x="5652" y="7271"/>
                    <a:pt x="5652" y="7271"/>
                  </a:cubicBezTo>
                  <a:cubicBezTo>
                    <a:pt x="5661" y="7195"/>
                    <a:pt x="5661" y="7195"/>
                    <a:pt x="5661" y="7195"/>
                  </a:cubicBezTo>
                  <a:cubicBezTo>
                    <a:pt x="5511" y="7177"/>
                    <a:pt x="5511" y="7177"/>
                    <a:pt x="5511" y="7177"/>
                  </a:cubicBezTo>
                  <a:lnTo>
                    <a:pt x="5502" y="7252"/>
                  </a:lnTo>
                  <a:close/>
                  <a:moveTo>
                    <a:pt x="5522" y="7192"/>
                  </a:moveTo>
                  <a:cubicBezTo>
                    <a:pt x="5647" y="7207"/>
                    <a:pt x="5647" y="7207"/>
                    <a:pt x="5647" y="7207"/>
                  </a:cubicBezTo>
                  <a:cubicBezTo>
                    <a:pt x="5641" y="7256"/>
                    <a:pt x="5641" y="7256"/>
                    <a:pt x="5641" y="7256"/>
                  </a:cubicBezTo>
                  <a:cubicBezTo>
                    <a:pt x="5516" y="7241"/>
                    <a:pt x="5516" y="7241"/>
                    <a:pt x="5516" y="7241"/>
                  </a:cubicBezTo>
                  <a:lnTo>
                    <a:pt x="5522" y="7192"/>
                  </a:lnTo>
                  <a:close/>
                  <a:moveTo>
                    <a:pt x="5692" y="7088"/>
                  </a:moveTo>
                  <a:cubicBezTo>
                    <a:pt x="5701" y="7013"/>
                    <a:pt x="5701" y="7013"/>
                    <a:pt x="5701" y="7013"/>
                  </a:cubicBezTo>
                  <a:cubicBezTo>
                    <a:pt x="5551" y="6994"/>
                    <a:pt x="5551" y="6994"/>
                    <a:pt x="5551" y="6994"/>
                  </a:cubicBezTo>
                  <a:cubicBezTo>
                    <a:pt x="5541" y="7069"/>
                    <a:pt x="5541" y="7069"/>
                    <a:pt x="5541" y="7069"/>
                  </a:cubicBezTo>
                  <a:cubicBezTo>
                    <a:pt x="5685" y="7087"/>
                    <a:pt x="5685" y="7087"/>
                    <a:pt x="5685" y="7087"/>
                  </a:cubicBezTo>
                  <a:lnTo>
                    <a:pt x="5692" y="7088"/>
                  </a:lnTo>
                  <a:close/>
                  <a:moveTo>
                    <a:pt x="5556" y="7058"/>
                  </a:moveTo>
                  <a:cubicBezTo>
                    <a:pt x="5562" y="7009"/>
                    <a:pt x="5562" y="7009"/>
                    <a:pt x="5562" y="7009"/>
                  </a:cubicBezTo>
                  <a:cubicBezTo>
                    <a:pt x="5686" y="7024"/>
                    <a:pt x="5686" y="7024"/>
                    <a:pt x="5686" y="7024"/>
                  </a:cubicBezTo>
                  <a:cubicBezTo>
                    <a:pt x="5680" y="7073"/>
                    <a:pt x="5680" y="7073"/>
                    <a:pt x="5680" y="7073"/>
                  </a:cubicBezTo>
                  <a:lnTo>
                    <a:pt x="5556" y="7058"/>
                  </a:lnTo>
                  <a:close/>
                  <a:moveTo>
                    <a:pt x="5722" y="6916"/>
                  </a:moveTo>
                  <a:cubicBezTo>
                    <a:pt x="5731" y="6841"/>
                    <a:pt x="5731" y="6841"/>
                    <a:pt x="5731" y="6841"/>
                  </a:cubicBezTo>
                  <a:cubicBezTo>
                    <a:pt x="5580" y="6822"/>
                    <a:pt x="5580" y="6822"/>
                    <a:pt x="5580" y="6822"/>
                  </a:cubicBezTo>
                  <a:cubicBezTo>
                    <a:pt x="5571" y="6898"/>
                    <a:pt x="5571" y="6898"/>
                    <a:pt x="5571" y="6898"/>
                  </a:cubicBezTo>
                  <a:cubicBezTo>
                    <a:pt x="5715" y="6915"/>
                    <a:pt x="5715" y="6915"/>
                    <a:pt x="5715" y="6915"/>
                  </a:cubicBezTo>
                  <a:lnTo>
                    <a:pt x="5722" y="6916"/>
                  </a:lnTo>
                  <a:close/>
                  <a:moveTo>
                    <a:pt x="5586" y="6886"/>
                  </a:moveTo>
                  <a:cubicBezTo>
                    <a:pt x="5592" y="6837"/>
                    <a:pt x="5592" y="6837"/>
                    <a:pt x="5592" y="6837"/>
                  </a:cubicBezTo>
                  <a:cubicBezTo>
                    <a:pt x="5716" y="6852"/>
                    <a:pt x="5716" y="6852"/>
                    <a:pt x="5716" y="6852"/>
                  </a:cubicBezTo>
                  <a:cubicBezTo>
                    <a:pt x="5710" y="6902"/>
                    <a:pt x="5710" y="6902"/>
                    <a:pt x="5710" y="6902"/>
                  </a:cubicBezTo>
                  <a:lnTo>
                    <a:pt x="5586" y="6886"/>
                  </a:lnTo>
                  <a:close/>
                  <a:moveTo>
                    <a:pt x="5756" y="6733"/>
                  </a:moveTo>
                  <a:cubicBezTo>
                    <a:pt x="5765" y="6658"/>
                    <a:pt x="5765" y="6658"/>
                    <a:pt x="5765" y="6658"/>
                  </a:cubicBezTo>
                  <a:cubicBezTo>
                    <a:pt x="5615" y="6639"/>
                    <a:pt x="5615" y="6639"/>
                    <a:pt x="5615" y="6639"/>
                  </a:cubicBezTo>
                  <a:cubicBezTo>
                    <a:pt x="5605" y="6715"/>
                    <a:pt x="5605" y="6715"/>
                    <a:pt x="5605" y="6715"/>
                  </a:cubicBezTo>
                  <a:cubicBezTo>
                    <a:pt x="5749" y="6732"/>
                    <a:pt x="5749" y="6732"/>
                    <a:pt x="5749" y="6732"/>
                  </a:cubicBezTo>
                  <a:lnTo>
                    <a:pt x="5756" y="6733"/>
                  </a:lnTo>
                  <a:close/>
                  <a:moveTo>
                    <a:pt x="5620" y="6703"/>
                  </a:moveTo>
                  <a:cubicBezTo>
                    <a:pt x="5626" y="6654"/>
                    <a:pt x="5626" y="6654"/>
                    <a:pt x="5626" y="6654"/>
                  </a:cubicBezTo>
                  <a:cubicBezTo>
                    <a:pt x="5750" y="6669"/>
                    <a:pt x="5750" y="6669"/>
                    <a:pt x="5750" y="6669"/>
                  </a:cubicBezTo>
                  <a:cubicBezTo>
                    <a:pt x="5744" y="6719"/>
                    <a:pt x="5744" y="6719"/>
                    <a:pt x="5744" y="6719"/>
                  </a:cubicBezTo>
                  <a:lnTo>
                    <a:pt x="5620" y="6703"/>
                  </a:lnTo>
                  <a:close/>
                  <a:moveTo>
                    <a:pt x="5793" y="6559"/>
                  </a:moveTo>
                  <a:cubicBezTo>
                    <a:pt x="5802" y="6483"/>
                    <a:pt x="5802" y="6483"/>
                    <a:pt x="5802" y="6483"/>
                  </a:cubicBezTo>
                  <a:cubicBezTo>
                    <a:pt x="5651" y="6465"/>
                    <a:pt x="5651" y="6465"/>
                    <a:pt x="5651" y="6465"/>
                  </a:cubicBezTo>
                  <a:cubicBezTo>
                    <a:pt x="5642" y="6540"/>
                    <a:pt x="5642" y="6540"/>
                    <a:pt x="5642" y="6540"/>
                  </a:cubicBezTo>
                  <a:cubicBezTo>
                    <a:pt x="5786" y="6558"/>
                    <a:pt x="5786" y="6558"/>
                    <a:pt x="5786" y="6558"/>
                  </a:cubicBezTo>
                  <a:lnTo>
                    <a:pt x="5793" y="6559"/>
                  </a:lnTo>
                  <a:close/>
                  <a:moveTo>
                    <a:pt x="5657" y="6529"/>
                  </a:moveTo>
                  <a:cubicBezTo>
                    <a:pt x="5663" y="6480"/>
                    <a:pt x="5663" y="6480"/>
                    <a:pt x="5663" y="6480"/>
                  </a:cubicBezTo>
                  <a:cubicBezTo>
                    <a:pt x="5787" y="6495"/>
                    <a:pt x="5787" y="6495"/>
                    <a:pt x="5787" y="6495"/>
                  </a:cubicBezTo>
                  <a:cubicBezTo>
                    <a:pt x="5781" y="6544"/>
                    <a:pt x="5781" y="6544"/>
                    <a:pt x="5781" y="6544"/>
                  </a:cubicBezTo>
                  <a:lnTo>
                    <a:pt x="5657" y="6529"/>
                  </a:lnTo>
                  <a:close/>
                  <a:moveTo>
                    <a:pt x="3544" y="4910"/>
                  </a:moveTo>
                  <a:cubicBezTo>
                    <a:pt x="3542" y="4917"/>
                    <a:pt x="3542" y="4917"/>
                    <a:pt x="3542" y="4917"/>
                  </a:cubicBezTo>
                  <a:cubicBezTo>
                    <a:pt x="3615" y="4936"/>
                    <a:pt x="3615" y="4936"/>
                    <a:pt x="3615" y="4936"/>
                  </a:cubicBezTo>
                  <a:cubicBezTo>
                    <a:pt x="3655" y="4790"/>
                    <a:pt x="3655" y="4790"/>
                    <a:pt x="3655" y="4790"/>
                  </a:cubicBezTo>
                  <a:cubicBezTo>
                    <a:pt x="3581" y="4770"/>
                    <a:pt x="3581" y="4770"/>
                    <a:pt x="3581" y="4770"/>
                  </a:cubicBezTo>
                  <a:lnTo>
                    <a:pt x="3544" y="4910"/>
                  </a:lnTo>
                  <a:close/>
                  <a:moveTo>
                    <a:pt x="3639" y="4799"/>
                  </a:moveTo>
                  <a:cubicBezTo>
                    <a:pt x="3606" y="4920"/>
                    <a:pt x="3606" y="4920"/>
                    <a:pt x="3606" y="4920"/>
                  </a:cubicBezTo>
                  <a:cubicBezTo>
                    <a:pt x="3558" y="4907"/>
                    <a:pt x="3558" y="4907"/>
                    <a:pt x="3558" y="4907"/>
                  </a:cubicBezTo>
                  <a:cubicBezTo>
                    <a:pt x="3591" y="4786"/>
                    <a:pt x="3591" y="4786"/>
                    <a:pt x="3591" y="4786"/>
                  </a:cubicBezTo>
                  <a:lnTo>
                    <a:pt x="3639" y="4799"/>
                  </a:lnTo>
                  <a:close/>
                  <a:moveTo>
                    <a:pt x="3191" y="4923"/>
                  </a:moveTo>
                  <a:cubicBezTo>
                    <a:pt x="3189" y="4929"/>
                    <a:pt x="3189" y="4929"/>
                    <a:pt x="3189" y="4929"/>
                  </a:cubicBezTo>
                  <a:cubicBezTo>
                    <a:pt x="3263" y="4949"/>
                    <a:pt x="3263" y="4949"/>
                    <a:pt x="3263" y="4949"/>
                  </a:cubicBezTo>
                  <a:cubicBezTo>
                    <a:pt x="3302" y="4802"/>
                    <a:pt x="3302" y="4802"/>
                    <a:pt x="3302" y="4802"/>
                  </a:cubicBezTo>
                  <a:cubicBezTo>
                    <a:pt x="3229" y="4783"/>
                    <a:pt x="3229" y="4783"/>
                    <a:pt x="3229" y="4783"/>
                  </a:cubicBezTo>
                  <a:lnTo>
                    <a:pt x="3191" y="4923"/>
                  </a:lnTo>
                  <a:close/>
                  <a:moveTo>
                    <a:pt x="3286" y="4812"/>
                  </a:moveTo>
                  <a:cubicBezTo>
                    <a:pt x="3253" y="4933"/>
                    <a:pt x="3253" y="4933"/>
                    <a:pt x="3253" y="4933"/>
                  </a:cubicBezTo>
                  <a:cubicBezTo>
                    <a:pt x="3205" y="4920"/>
                    <a:pt x="3205" y="4920"/>
                    <a:pt x="3205" y="4920"/>
                  </a:cubicBezTo>
                  <a:cubicBezTo>
                    <a:pt x="3238" y="4799"/>
                    <a:pt x="3238" y="4799"/>
                    <a:pt x="3238" y="4799"/>
                  </a:cubicBezTo>
                  <a:lnTo>
                    <a:pt x="3286" y="4812"/>
                  </a:lnTo>
                  <a:close/>
                  <a:moveTo>
                    <a:pt x="3587" y="5506"/>
                  </a:moveTo>
                  <a:cubicBezTo>
                    <a:pt x="3581" y="5506"/>
                    <a:pt x="3581" y="5506"/>
                    <a:pt x="3581" y="5506"/>
                  </a:cubicBezTo>
                  <a:cubicBezTo>
                    <a:pt x="3585" y="5582"/>
                    <a:pt x="3585" y="5582"/>
                    <a:pt x="3585" y="5582"/>
                  </a:cubicBezTo>
                  <a:cubicBezTo>
                    <a:pt x="3736" y="5573"/>
                    <a:pt x="3736" y="5573"/>
                    <a:pt x="3736" y="5573"/>
                  </a:cubicBezTo>
                  <a:cubicBezTo>
                    <a:pt x="3732" y="5497"/>
                    <a:pt x="3732" y="5497"/>
                    <a:pt x="3732" y="5497"/>
                  </a:cubicBezTo>
                  <a:lnTo>
                    <a:pt x="3587" y="5506"/>
                  </a:lnTo>
                  <a:close/>
                  <a:moveTo>
                    <a:pt x="3597" y="5568"/>
                  </a:moveTo>
                  <a:cubicBezTo>
                    <a:pt x="3594" y="5518"/>
                    <a:pt x="3594" y="5518"/>
                    <a:pt x="3594" y="5518"/>
                  </a:cubicBezTo>
                  <a:cubicBezTo>
                    <a:pt x="3719" y="5511"/>
                    <a:pt x="3719" y="5511"/>
                    <a:pt x="3719" y="5511"/>
                  </a:cubicBezTo>
                  <a:cubicBezTo>
                    <a:pt x="3722" y="5560"/>
                    <a:pt x="3722" y="5560"/>
                    <a:pt x="3722" y="5560"/>
                  </a:cubicBezTo>
                  <a:lnTo>
                    <a:pt x="3597" y="5568"/>
                  </a:lnTo>
                  <a:close/>
                  <a:moveTo>
                    <a:pt x="10799" y="12031"/>
                  </a:moveTo>
                  <a:cubicBezTo>
                    <a:pt x="10727" y="12053"/>
                    <a:pt x="10727" y="12053"/>
                    <a:pt x="10727" y="12053"/>
                  </a:cubicBezTo>
                  <a:cubicBezTo>
                    <a:pt x="10770" y="12192"/>
                    <a:pt x="10770" y="12192"/>
                    <a:pt x="10770" y="12192"/>
                  </a:cubicBezTo>
                  <a:cubicBezTo>
                    <a:pt x="10772" y="12198"/>
                    <a:pt x="10772" y="12198"/>
                    <a:pt x="10772" y="12198"/>
                  </a:cubicBezTo>
                  <a:cubicBezTo>
                    <a:pt x="10844" y="12176"/>
                    <a:pt x="10844" y="12176"/>
                    <a:pt x="10844" y="12176"/>
                  </a:cubicBezTo>
                  <a:lnTo>
                    <a:pt x="10799" y="12031"/>
                  </a:lnTo>
                  <a:close/>
                  <a:moveTo>
                    <a:pt x="10743" y="12062"/>
                  </a:moveTo>
                  <a:cubicBezTo>
                    <a:pt x="10791" y="12047"/>
                    <a:pt x="10791" y="12047"/>
                    <a:pt x="10791" y="12047"/>
                  </a:cubicBezTo>
                  <a:cubicBezTo>
                    <a:pt x="10828" y="12167"/>
                    <a:pt x="10828" y="12167"/>
                    <a:pt x="10828" y="12167"/>
                  </a:cubicBezTo>
                  <a:cubicBezTo>
                    <a:pt x="10780" y="12182"/>
                    <a:pt x="10780" y="12182"/>
                    <a:pt x="10780" y="12182"/>
                  </a:cubicBezTo>
                  <a:lnTo>
                    <a:pt x="10743" y="12062"/>
                  </a:lnTo>
                  <a:close/>
                  <a:moveTo>
                    <a:pt x="10695" y="12063"/>
                  </a:moveTo>
                  <a:cubicBezTo>
                    <a:pt x="10623" y="12086"/>
                    <a:pt x="10623" y="12086"/>
                    <a:pt x="10623" y="12086"/>
                  </a:cubicBezTo>
                  <a:cubicBezTo>
                    <a:pt x="10666" y="12224"/>
                    <a:pt x="10666" y="12224"/>
                    <a:pt x="10666" y="12224"/>
                  </a:cubicBezTo>
                  <a:cubicBezTo>
                    <a:pt x="10668" y="12231"/>
                    <a:pt x="10668" y="12231"/>
                    <a:pt x="10668" y="12231"/>
                  </a:cubicBezTo>
                  <a:cubicBezTo>
                    <a:pt x="10740" y="12208"/>
                    <a:pt x="10740" y="12208"/>
                    <a:pt x="10740" y="12208"/>
                  </a:cubicBezTo>
                  <a:lnTo>
                    <a:pt x="10695" y="12063"/>
                  </a:lnTo>
                  <a:close/>
                  <a:moveTo>
                    <a:pt x="10639" y="12095"/>
                  </a:moveTo>
                  <a:cubicBezTo>
                    <a:pt x="10687" y="12080"/>
                    <a:pt x="10687" y="12080"/>
                    <a:pt x="10687" y="12080"/>
                  </a:cubicBezTo>
                  <a:cubicBezTo>
                    <a:pt x="10724" y="12200"/>
                    <a:pt x="10724" y="12200"/>
                    <a:pt x="10724" y="12200"/>
                  </a:cubicBezTo>
                  <a:cubicBezTo>
                    <a:pt x="10676" y="12214"/>
                    <a:pt x="10676" y="12214"/>
                    <a:pt x="10676" y="12214"/>
                  </a:cubicBezTo>
                  <a:lnTo>
                    <a:pt x="10639" y="12095"/>
                  </a:lnTo>
                  <a:close/>
                  <a:moveTo>
                    <a:pt x="10507" y="12129"/>
                  </a:moveTo>
                  <a:cubicBezTo>
                    <a:pt x="10434" y="12151"/>
                    <a:pt x="10434" y="12151"/>
                    <a:pt x="10434" y="12151"/>
                  </a:cubicBezTo>
                  <a:cubicBezTo>
                    <a:pt x="10477" y="12289"/>
                    <a:pt x="10477" y="12289"/>
                    <a:pt x="10477" y="12289"/>
                  </a:cubicBezTo>
                  <a:cubicBezTo>
                    <a:pt x="10479" y="12296"/>
                    <a:pt x="10479" y="12296"/>
                    <a:pt x="10479" y="12296"/>
                  </a:cubicBezTo>
                  <a:cubicBezTo>
                    <a:pt x="10551" y="12273"/>
                    <a:pt x="10551" y="12273"/>
                    <a:pt x="10551" y="12273"/>
                  </a:cubicBezTo>
                  <a:lnTo>
                    <a:pt x="10507" y="12129"/>
                  </a:lnTo>
                  <a:close/>
                  <a:moveTo>
                    <a:pt x="10451" y="12160"/>
                  </a:moveTo>
                  <a:cubicBezTo>
                    <a:pt x="10498" y="12145"/>
                    <a:pt x="10498" y="12145"/>
                    <a:pt x="10498" y="12145"/>
                  </a:cubicBezTo>
                  <a:cubicBezTo>
                    <a:pt x="10535" y="12265"/>
                    <a:pt x="10535" y="12265"/>
                    <a:pt x="10535" y="12265"/>
                  </a:cubicBezTo>
                  <a:cubicBezTo>
                    <a:pt x="10488" y="12279"/>
                    <a:pt x="10488" y="12279"/>
                    <a:pt x="10488" y="12279"/>
                  </a:cubicBezTo>
                  <a:lnTo>
                    <a:pt x="10451" y="12160"/>
                  </a:lnTo>
                  <a:close/>
                  <a:moveTo>
                    <a:pt x="10403" y="12161"/>
                  </a:moveTo>
                  <a:cubicBezTo>
                    <a:pt x="10330" y="12183"/>
                    <a:pt x="10330" y="12183"/>
                    <a:pt x="10330" y="12183"/>
                  </a:cubicBezTo>
                  <a:cubicBezTo>
                    <a:pt x="10373" y="12322"/>
                    <a:pt x="10373" y="12322"/>
                    <a:pt x="10373" y="12322"/>
                  </a:cubicBezTo>
                  <a:cubicBezTo>
                    <a:pt x="10375" y="12328"/>
                    <a:pt x="10375" y="12328"/>
                    <a:pt x="10375" y="12328"/>
                  </a:cubicBezTo>
                  <a:cubicBezTo>
                    <a:pt x="10447" y="12306"/>
                    <a:pt x="10447" y="12306"/>
                    <a:pt x="10447" y="12306"/>
                  </a:cubicBezTo>
                  <a:lnTo>
                    <a:pt x="10403" y="12161"/>
                  </a:lnTo>
                  <a:close/>
                  <a:moveTo>
                    <a:pt x="10346" y="12192"/>
                  </a:moveTo>
                  <a:cubicBezTo>
                    <a:pt x="10394" y="12178"/>
                    <a:pt x="10394" y="12178"/>
                    <a:pt x="10394" y="12178"/>
                  </a:cubicBezTo>
                  <a:cubicBezTo>
                    <a:pt x="10431" y="12297"/>
                    <a:pt x="10431" y="12297"/>
                    <a:pt x="10431" y="12297"/>
                  </a:cubicBezTo>
                  <a:cubicBezTo>
                    <a:pt x="10383" y="12312"/>
                    <a:pt x="10383" y="12312"/>
                    <a:pt x="10383" y="12312"/>
                  </a:cubicBezTo>
                  <a:lnTo>
                    <a:pt x="10346" y="12192"/>
                  </a:lnTo>
                  <a:close/>
                  <a:moveTo>
                    <a:pt x="10145" y="12245"/>
                  </a:moveTo>
                  <a:cubicBezTo>
                    <a:pt x="10188" y="12383"/>
                    <a:pt x="10188" y="12383"/>
                    <a:pt x="10188" y="12383"/>
                  </a:cubicBezTo>
                  <a:cubicBezTo>
                    <a:pt x="10190" y="12389"/>
                    <a:pt x="10190" y="12389"/>
                    <a:pt x="10190" y="12389"/>
                  </a:cubicBezTo>
                  <a:cubicBezTo>
                    <a:pt x="10262" y="12367"/>
                    <a:pt x="10262" y="12367"/>
                    <a:pt x="10262" y="12367"/>
                  </a:cubicBezTo>
                  <a:cubicBezTo>
                    <a:pt x="10218" y="12222"/>
                    <a:pt x="10218" y="12222"/>
                    <a:pt x="10218" y="12222"/>
                  </a:cubicBezTo>
                  <a:lnTo>
                    <a:pt x="10145" y="12245"/>
                  </a:lnTo>
                  <a:close/>
                  <a:moveTo>
                    <a:pt x="10199" y="12373"/>
                  </a:moveTo>
                  <a:cubicBezTo>
                    <a:pt x="10162" y="12253"/>
                    <a:pt x="10162" y="12253"/>
                    <a:pt x="10162" y="12253"/>
                  </a:cubicBezTo>
                  <a:cubicBezTo>
                    <a:pt x="10209" y="12239"/>
                    <a:pt x="10209" y="12239"/>
                    <a:pt x="10209" y="12239"/>
                  </a:cubicBezTo>
                  <a:cubicBezTo>
                    <a:pt x="10246" y="12358"/>
                    <a:pt x="10246" y="12358"/>
                    <a:pt x="10246" y="12358"/>
                  </a:cubicBezTo>
                  <a:lnTo>
                    <a:pt x="10199" y="12373"/>
                  </a:lnTo>
                  <a:close/>
                  <a:moveTo>
                    <a:pt x="10041" y="12277"/>
                  </a:moveTo>
                  <a:cubicBezTo>
                    <a:pt x="10084" y="12416"/>
                    <a:pt x="10084" y="12416"/>
                    <a:pt x="10084" y="12416"/>
                  </a:cubicBezTo>
                  <a:cubicBezTo>
                    <a:pt x="10086" y="12422"/>
                    <a:pt x="10086" y="12422"/>
                    <a:pt x="10086" y="12422"/>
                  </a:cubicBezTo>
                  <a:cubicBezTo>
                    <a:pt x="10158" y="12400"/>
                    <a:pt x="10158" y="12400"/>
                    <a:pt x="10158" y="12400"/>
                  </a:cubicBezTo>
                  <a:cubicBezTo>
                    <a:pt x="10114" y="12255"/>
                    <a:pt x="10114" y="12255"/>
                    <a:pt x="10114" y="12255"/>
                  </a:cubicBezTo>
                  <a:lnTo>
                    <a:pt x="10041" y="12277"/>
                  </a:lnTo>
                  <a:close/>
                  <a:moveTo>
                    <a:pt x="10095" y="12406"/>
                  </a:moveTo>
                  <a:cubicBezTo>
                    <a:pt x="10058" y="12286"/>
                    <a:pt x="10058" y="12286"/>
                    <a:pt x="10058" y="12286"/>
                  </a:cubicBezTo>
                  <a:cubicBezTo>
                    <a:pt x="10105" y="12271"/>
                    <a:pt x="10105" y="12271"/>
                    <a:pt x="10105" y="12271"/>
                  </a:cubicBezTo>
                  <a:cubicBezTo>
                    <a:pt x="10142" y="12391"/>
                    <a:pt x="10142" y="12391"/>
                    <a:pt x="10142" y="12391"/>
                  </a:cubicBezTo>
                  <a:lnTo>
                    <a:pt x="10095" y="12406"/>
                  </a:lnTo>
                  <a:close/>
                  <a:moveTo>
                    <a:pt x="9855" y="12328"/>
                  </a:moveTo>
                  <a:cubicBezTo>
                    <a:pt x="9898" y="12466"/>
                    <a:pt x="9898" y="12466"/>
                    <a:pt x="9898" y="12466"/>
                  </a:cubicBezTo>
                  <a:cubicBezTo>
                    <a:pt x="9900" y="12473"/>
                    <a:pt x="9900" y="12473"/>
                    <a:pt x="9900" y="12473"/>
                  </a:cubicBezTo>
                  <a:cubicBezTo>
                    <a:pt x="9972" y="12450"/>
                    <a:pt x="9972" y="12450"/>
                    <a:pt x="9972" y="12450"/>
                  </a:cubicBezTo>
                  <a:cubicBezTo>
                    <a:pt x="9927" y="12306"/>
                    <a:pt x="9927" y="12306"/>
                    <a:pt x="9927" y="12306"/>
                  </a:cubicBezTo>
                  <a:lnTo>
                    <a:pt x="9855" y="12328"/>
                  </a:lnTo>
                  <a:close/>
                  <a:moveTo>
                    <a:pt x="9908" y="12456"/>
                  </a:moveTo>
                  <a:cubicBezTo>
                    <a:pt x="9871" y="12337"/>
                    <a:pt x="9871" y="12337"/>
                    <a:pt x="9871" y="12337"/>
                  </a:cubicBezTo>
                  <a:cubicBezTo>
                    <a:pt x="9919" y="12322"/>
                    <a:pt x="9919" y="12322"/>
                    <a:pt x="9919" y="12322"/>
                  </a:cubicBezTo>
                  <a:cubicBezTo>
                    <a:pt x="9956" y="12442"/>
                    <a:pt x="9956" y="12442"/>
                    <a:pt x="9956" y="12442"/>
                  </a:cubicBezTo>
                  <a:lnTo>
                    <a:pt x="9908" y="12456"/>
                  </a:lnTo>
                  <a:close/>
                  <a:moveTo>
                    <a:pt x="9794" y="12499"/>
                  </a:moveTo>
                  <a:cubicBezTo>
                    <a:pt x="9796" y="12505"/>
                    <a:pt x="9796" y="12505"/>
                    <a:pt x="9796" y="12505"/>
                  </a:cubicBezTo>
                  <a:cubicBezTo>
                    <a:pt x="9868" y="12483"/>
                    <a:pt x="9868" y="12483"/>
                    <a:pt x="9868" y="12483"/>
                  </a:cubicBezTo>
                  <a:cubicBezTo>
                    <a:pt x="9823" y="12338"/>
                    <a:pt x="9823" y="12338"/>
                    <a:pt x="9823" y="12338"/>
                  </a:cubicBezTo>
                  <a:cubicBezTo>
                    <a:pt x="9751" y="12360"/>
                    <a:pt x="9751" y="12360"/>
                    <a:pt x="9751" y="12360"/>
                  </a:cubicBezTo>
                  <a:lnTo>
                    <a:pt x="9794" y="12499"/>
                  </a:lnTo>
                  <a:close/>
                  <a:moveTo>
                    <a:pt x="9852" y="12474"/>
                  </a:moveTo>
                  <a:cubicBezTo>
                    <a:pt x="9804" y="12489"/>
                    <a:pt x="9804" y="12489"/>
                    <a:pt x="9804" y="12489"/>
                  </a:cubicBezTo>
                  <a:cubicBezTo>
                    <a:pt x="9767" y="12369"/>
                    <a:pt x="9767" y="12369"/>
                    <a:pt x="9767" y="12369"/>
                  </a:cubicBezTo>
                  <a:cubicBezTo>
                    <a:pt x="9815" y="12354"/>
                    <a:pt x="9815" y="12354"/>
                    <a:pt x="9815" y="12354"/>
                  </a:cubicBezTo>
                  <a:lnTo>
                    <a:pt x="9852" y="12474"/>
                  </a:lnTo>
                  <a:close/>
                  <a:moveTo>
                    <a:pt x="9547" y="12368"/>
                  </a:moveTo>
                  <a:cubicBezTo>
                    <a:pt x="9589" y="12507"/>
                    <a:pt x="9589" y="12507"/>
                    <a:pt x="9589" y="12507"/>
                  </a:cubicBezTo>
                  <a:cubicBezTo>
                    <a:pt x="9591" y="12513"/>
                    <a:pt x="9591" y="12513"/>
                    <a:pt x="9591" y="12513"/>
                  </a:cubicBezTo>
                  <a:cubicBezTo>
                    <a:pt x="9664" y="12491"/>
                    <a:pt x="9664" y="12491"/>
                    <a:pt x="9664" y="12491"/>
                  </a:cubicBezTo>
                  <a:cubicBezTo>
                    <a:pt x="9619" y="12346"/>
                    <a:pt x="9619" y="12346"/>
                    <a:pt x="9619" y="12346"/>
                  </a:cubicBezTo>
                  <a:lnTo>
                    <a:pt x="9547" y="12368"/>
                  </a:lnTo>
                  <a:close/>
                  <a:moveTo>
                    <a:pt x="9600" y="12497"/>
                  </a:moveTo>
                  <a:cubicBezTo>
                    <a:pt x="9563" y="12377"/>
                    <a:pt x="9563" y="12377"/>
                    <a:pt x="9563" y="12377"/>
                  </a:cubicBezTo>
                  <a:cubicBezTo>
                    <a:pt x="9610" y="12362"/>
                    <a:pt x="9610" y="12362"/>
                    <a:pt x="9610" y="12362"/>
                  </a:cubicBezTo>
                  <a:cubicBezTo>
                    <a:pt x="9647" y="12482"/>
                    <a:pt x="9647" y="12482"/>
                    <a:pt x="9647" y="12482"/>
                  </a:cubicBezTo>
                  <a:lnTo>
                    <a:pt x="9600" y="12497"/>
                  </a:lnTo>
                  <a:close/>
                  <a:moveTo>
                    <a:pt x="9442" y="12401"/>
                  </a:moveTo>
                  <a:cubicBezTo>
                    <a:pt x="9485" y="12539"/>
                    <a:pt x="9485" y="12539"/>
                    <a:pt x="9485" y="12539"/>
                  </a:cubicBezTo>
                  <a:cubicBezTo>
                    <a:pt x="9487" y="12546"/>
                    <a:pt x="9487" y="12546"/>
                    <a:pt x="9487" y="12546"/>
                  </a:cubicBezTo>
                  <a:cubicBezTo>
                    <a:pt x="9560" y="12523"/>
                    <a:pt x="9560" y="12523"/>
                    <a:pt x="9560" y="12523"/>
                  </a:cubicBezTo>
                  <a:cubicBezTo>
                    <a:pt x="9515" y="12378"/>
                    <a:pt x="9515" y="12378"/>
                    <a:pt x="9515" y="12378"/>
                  </a:cubicBezTo>
                  <a:lnTo>
                    <a:pt x="9442" y="12401"/>
                  </a:lnTo>
                  <a:close/>
                  <a:moveTo>
                    <a:pt x="9496" y="12529"/>
                  </a:moveTo>
                  <a:cubicBezTo>
                    <a:pt x="9459" y="12410"/>
                    <a:pt x="9459" y="12410"/>
                    <a:pt x="9459" y="12410"/>
                  </a:cubicBezTo>
                  <a:cubicBezTo>
                    <a:pt x="9506" y="12395"/>
                    <a:pt x="9506" y="12395"/>
                    <a:pt x="9506" y="12395"/>
                  </a:cubicBezTo>
                  <a:cubicBezTo>
                    <a:pt x="9543" y="12515"/>
                    <a:pt x="9543" y="12515"/>
                    <a:pt x="9543" y="12515"/>
                  </a:cubicBezTo>
                  <a:lnTo>
                    <a:pt x="9496" y="12529"/>
                  </a:lnTo>
                  <a:close/>
                  <a:moveTo>
                    <a:pt x="9385" y="12771"/>
                  </a:moveTo>
                  <a:cubicBezTo>
                    <a:pt x="9387" y="12777"/>
                    <a:pt x="9387" y="12777"/>
                    <a:pt x="9387" y="12777"/>
                  </a:cubicBezTo>
                  <a:cubicBezTo>
                    <a:pt x="9459" y="12755"/>
                    <a:pt x="9459" y="12755"/>
                    <a:pt x="9459" y="12755"/>
                  </a:cubicBezTo>
                  <a:cubicBezTo>
                    <a:pt x="9415" y="12610"/>
                    <a:pt x="9415" y="12610"/>
                    <a:pt x="9415" y="12610"/>
                  </a:cubicBezTo>
                  <a:cubicBezTo>
                    <a:pt x="9342" y="12632"/>
                    <a:pt x="9342" y="12632"/>
                    <a:pt x="9342" y="12632"/>
                  </a:cubicBezTo>
                  <a:lnTo>
                    <a:pt x="9385" y="12771"/>
                  </a:lnTo>
                  <a:close/>
                  <a:moveTo>
                    <a:pt x="9443" y="12746"/>
                  </a:moveTo>
                  <a:cubicBezTo>
                    <a:pt x="9396" y="12761"/>
                    <a:pt x="9396" y="12761"/>
                    <a:pt x="9396" y="12761"/>
                  </a:cubicBezTo>
                  <a:cubicBezTo>
                    <a:pt x="9359" y="12641"/>
                    <a:pt x="9359" y="12641"/>
                    <a:pt x="9359" y="12641"/>
                  </a:cubicBezTo>
                  <a:cubicBezTo>
                    <a:pt x="9406" y="12627"/>
                    <a:pt x="9406" y="12627"/>
                    <a:pt x="9406" y="12627"/>
                  </a:cubicBezTo>
                  <a:lnTo>
                    <a:pt x="9443" y="12746"/>
                  </a:lnTo>
                  <a:close/>
                  <a:moveTo>
                    <a:pt x="7589" y="7234"/>
                  </a:moveTo>
                  <a:cubicBezTo>
                    <a:pt x="7642" y="7179"/>
                    <a:pt x="7642" y="7179"/>
                    <a:pt x="7642" y="7179"/>
                  </a:cubicBezTo>
                  <a:cubicBezTo>
                    <a:pt x="7587" y="7127"/>
                    <a:pt x="7587" y="7127"/>
                    <a:pt x="7587" y="7127"/>
                  </a:cubicBezTo>
                  <a:cubicBezTo>
                    <a:pt x="7638" y="7074"/>
                    <a:pt x="7638" y="7074"/>
                    <a:pt x="7638" y="7074"/>
                  </a:cubicBezTo>
                  <a:cubicBezTo>
                    <a:pt x="7537" y="6976"/>
                    <a:pt x="7537" y="6976"/>
                    <a:pt x="7537" y="6976"/>
                  </a:cubicBezTo>
                  <a:cubicBezTo>
                    <a:pt x="7470" y="7045"/>
                    <a:pt x="7470" y="7045"/>
                    <a:pt x="7470" y="7045"/>
                  </a:cubicBezTo>
                  <a:cubicBezTo>
                    <a:pt x="7474" y="7050"/>
                    <a:pt x="7474" y="7050"/>
                    <a:pt x="7474" y="7050"/>
                  </a:cubicBezTo>
                  <a:cubicBezTo>
                    <a:pt x="7483" y="7058"/>
                    <a:pt x="7483" y="7058"/>
                    <a:pt x="7483" y="7058"/>
                  </a:cubicBezTo>
                  <a:cubicBezTo>
                    <a:pt x="7448" y="7094"/>
                    <a:pt x="7448" y="7094"/>
                    <a:pt x="7448" y="7094"/>
                  </a:cubicBezTo>
                  <a:cubicBezTo>
                    <a:pt x="7584" y="7229"/>
                    <a:pt x="7584" y="7229"/>
                    <a:pt x="7584" y="7229"/>
                  </a:cubicBezTo>
                  <a:lnTo>
                    <a:pt x="7589" y="7234"/>
                  </a:lnTo>
                  <a:close/>
                  <a:moveTo>
                    <a:pt x="7501" y="7058"/>
                  </a:moveTo>
                  <a:cubicBezTo>
                    <a:pt x="7497" y="7053"/>
                    <a:pt x="7497" y="7053"/>
                    <a:pt x="7497" y="7053"/>
                  </a:cubicBezTo>
                  <a:cubicBezTo>
                    <a:pt x="7488" y="7045"/>
                    <a:pt x="7488" y="7045"/>
                    <a:pt x="7488" y="7045"/>
                  </a:cubicBezTo>
                  <a:cubicBezTo>
                    <a:pt x="7537" y="6994"/>
                    <a:pt x="7537" y="6994"/>
                    <a:pt x="7537" y="6994"/>
                  </a:cubicBezTo>
                  <a:cubicBezTo>
                    <a:pt x="7620" y="7074"/>
                    <a:pt x="7620" y="7074"/>
                    <a:pt x="7620" y="7074"/>
                  </a:cubicBezTo>
                  <a:cubicBezTo>
                    <a:pt x="7569" y="7127"/>
                    <a:pt x="7569" y="7127"/>
                    <a:pt x="7569" y="7127"/>
                  </a:cubicBezTo>
                  <a:cubicBezTo>
                    <a:pt x="7623" y="7180"/>
                    <a:pt x="7623" y="7180"/>
                    <a:pt x="7623" y="7180"/>
                  </a:cubicBezTo>
                  <a:cubicBezTo>
                    <a:pt x="7589" y="7215"/>
                    <a:pt x="7589" y="7215"/>
                    <a:pt x="7589" y="7215"/>
                  </a:cubicBezTo>
                  <a:cubicBezTo>
                    <a:pt x="7467" y="7094"/>
                    <a:pt x="7467" y="7094"/>
                    <a:pt x="7467" y="7094"/>
                  </a:cubicBezTo>
                  <a:lnTo>
                    <a:pt x="7501" y="7058"/>
                  </a:lnTo>
                  <a:close/>
                  <a:moveTo>
                    <a:pt x="9491" y="16163"/>
                  </a:moveTo>
                  <a:cubicBezTo>
                    <a:pt x="9399" y="16193"/>
                    <a:pt x="9399" y="16193"/>
                    <a:pt x="9399" y="16193"/>
                  </a:cubicBezTo>
                  <a:cubicBezTo>
                    <a:pt x="9401" y="16199"/>
                    <a:pt x="9401" y="16199"/>
                    <a:pt x="9401" y="16199"/>
                  </a:cubicBezTo>
                  <a:cubicBezTo>
                    <a:pt x="9405" y="16210"/>
                    <a:pt x="9405" y="16210"/>
                    <a:pt x="9405" y="16210"/>
                  </a:cubicBezTo>
                  <a:cubicBezTo>
                    <a:pt x="9358" y="16226"/>
                    <a:pt x="9358" y="16226"/>
                    <a:pt x="9358" y="16226"/>
                  </a:cubicBezTo>
                  <a:cubicBezTo>
                    <a:pt x="9414" y="16409"/>
                    <a:pt x="9414" y="16409"/>
                    <a:pt x="9414" y="16409"/>
                  </a:cubicBezTo>
                  <a:cubicBezTo>
                    <a:pt x="9416" y="16415"/>
                    <a:pt x="9416" y="16415"/>
                    <a:pt x="9416" y="16415"/>
                  </a:cubicBezTo>
                  <a:cubicBezTo>
                    <a:pt x="9488" y="16392"/>
                    <a:pt x="9488" y="16392"/>
                    <a:pt x="9488" y="16392"/>
                  </a:cubicBezTo>
                  <a:cubicBezTo>
                    <a:pt x="9465" y="16320"/>
                    <a:pt x="9465" y="16320"/>
                    <a:pt x="9465" y="16320"/>
                  </a:cubicBezTo>
                  <a:cubicBezTo>
                    <a:pt x="9534" y="16298"/>
                    <a:pt x="9534" y="16298"/>
                    <a:pt x="9534" y="16298"/>
                  </a:cubicBezTo>
                  <a:lnTo>
                    <a:pt x="9491" y="16163"/>
                  </a:lnTo>
                  <a:close/>
                  <a:moveTo>
                    <a:pt x="9471" y="16384"/>
                  </a:moveTo>
                  <a:cubicBezTo>
                    <a:pt x="9424" y="16399"/>
                    <a:pt x="9424" y="16399"/>
                    <a:pt x="9424" y="16399"/>
                  </a:cubicBezTo>
                  <a:cubicBezTo>
                    <a:pt x="9374" y="16234"/>
                    <a:pt x="9374" y="16234"/>
                    <a:pt x="9374" y="16234"/>
                  </a:cubicBezTo>
                  <a:cubicBezTo>
                    <a:pt x="9421" y="16219"/>
                    <a:pt x="9421" y="16219"/>
                    <a:pt x="9421" y="16219"/>
                  </a:cubicBezTo>
                  <a:cubicBezTo>
                    <a:pt x="9419" y="16213"/>
                    <a:pt x="9419" y="16213"/>
                    <a:pt x="9419" y="16213"/>
                  </a:cubicBezTo>
                  <a:cubicBezTo>
                    <a:pt x="9416" y="16202"/>
                    <a:pt x="9416" y="16202"/>
                    <a:pt x="9416" y="16202"/>
                  </a:cubicBezTo>
                  <a:cubicBezTo>
                    <a:pt x="9483" y="16180"/>
                    <a:pt x="9483" y="16180"/>
                    <a:pt x="9483" y="16180"/>
                  </a:cubicBezTo>
                  <a:cubicBezTo>
                    <a:pt x="9518" y="16289"/>
                    <a:pt x="9518" y="16289"/>
                    <a:pt x="9518" y="16289"/>
                  </a:cubicBezTo>
                  <a:cubicBezTo>
                    <a:pt x="9448" y="16312"/>
                    <a:pt x="9448" y="16312"/>
                    <a:pt x="9448" y="16312"/>
                  </a:cubicBezTo>
                  <a:lnTo>
                    <a:pt x="9471" y="16384"/>
                  </a:lnTo>
                  <a:close/>
                  <a:moveTo>
                    <a:pt x="3703" y="15997"/>
                  </a:moveTo>
                  <a:cubicBezTo>
                    <a:pt x="3763" y="16031"/>
                    <a:pt x="3763" y="16031"/>
                    <a:pt x="3763" y="16031"/>
                  </a:cubicBezTo>
                  <a:cubicBezTo>
                    <a:pt x="3769" y="16035"/>
                    <a:pt x="3769" y="16035"/>
                    <a:pt x="3769" y="16035"/>
                  </a:cubicBezTo>
                  <a:cubicBezTo>
                    <a:pt x="3866" y="15861"/>
                    <a:pt x="3866" y="15861"/>
                    <a:pt x="3866" y="15861"/>
                  </a:cubicBezTo>
                  <a:cubicBezTo>
                    <a:pt x="3823" y="15836"/>
                    <a:pt x="3823" y="15836"/>
                    <a:pt x="3823" y="15836"/>
                  </a:cubicBezTo>
                  <a:cubicBezTo>
                    <a:pt x="3832" y="15821"/>
                    <a:pt x="3832" y="15821"/>
                    <a:pt x="3832" y="15821"/>
                  </a:cubicBezTo>
                  <a:cubicBezTo>
                    <a:pt x="3748" y="15772"/>
                    <a:pt x="3748" y="15772"/>
                    <a:pt x="3748" y="15772"/>
                  </a:cubicBezTo>
                  <a:cubicBezTo>
                    <a:pt x="3678" y="15895"/>
                    <a:pt x="3678" y="15895"/>
                    <a:pt x="3678" y="15895"/>
                  </a:cubicBezTo>
                  <a:cubicBezTo>
                    <a:pt x="3741" y="15931"/>
                    <a:pt x="3741" y="15931"/>
                    <a:pt x="3741" y="15931"/>
                  </a:cubicBezTo>
                  <a:lnTo>
                    <a:pt x="3703" y="15997"/>
                  </a:lnTo>
                  <a:close/>
                  <a:moveTo>
                    <a:pt x="3696" y="15890"/>
                  </a:moveTo>
                  <a:cubicBezTo>
                    <a:pt x="3753" y="15790"/>
                    <a:pt x="3753" y="15790"/>
                    <a:pt x="3753" y="15790"/>
                  </a:cubicBezTo>
                  <a:cubicBezTo>
                    <a:pt x="3814" y="15825"/>
                    <a:pt x="3814" y="15825"/>
                    <a:pt x="3814" y="15825"/>
                  </a:cubicBezTo>
                  <a:cubicBezTo>
                    <a:pt x="3805" y="15841"/>
                    <a:pt x="3805" y="15841"/>
                    <a:pt x="3805" y="15841"/>
                  </a:cubicBezTo>
                  <a:cubicBezTo>
                    <a:pt x="3848" y="15866"/>
                    <a:pt x="3848" y="15866"/>
                    <a:pt x="3848" y="15866"/>
                  </a:cubicBezTo>
                  <a:cubicBezTo>
                    <a:pt x="3764" y="16017"/>
                    <a:pt x="3764" y="16017"/>
                    <a:pt x="3764" y="16017"/>
                  </a:cubicBezTo>
                  <a:cubicBezTo>
                    <a:pt x="3721" y="15992"/>
                    <a:pt x="3721" y="15992"/>
                    <a:pt x="3721" y="15992"/>
                  </a:cubicBezTo>
                  <a:cubicBezTo>
                    <a:pt x="3759" y="15926"/>
                    <a:pt x="3759" y="15926"/>
                    <a:pt x="3759" y="15926"/>
                  </a:cubicBezTo>
                  <a:lnTo>
                    <a:pt x="3696" y="15890"/>
                  </a:lnTo>
                  <a:close/>
                  <a:moveTo>
                    <a:pt x="6057" y="13841"/>
                  </a:moveTo>
                  <a:cubicBezTo>
                    <a:pt x="6063" y="13842"/>
                    <a:pt x="6063" y="13842"/>
                    <a:pt x="6063" y="13842"/>
                  </a:cubicBezTo>
                  <a:cubicBezTo>
                    <a:pt x="6065" y="13766"/>
                    <a:pt x="6065" y="13766"/>
                    <a:pt x="6065" y="13766"/>
                  </a:cubicBezTo>
                  <a:cubicBezTo>
                    <a:pt x="5989" y="13764"/>
                    <a:pt x="5989" y="13764"/>
                    <a:pt x="5989" y="13764"/>
                  </a:cubicBezTo>
                  <a:cubicBezTo>
                    <a:pt x="5991" y="13691"/>
                    <a:pt x="5991" y="13691"/>
                    <a:pt x="5991" y="13691"/>
                  </a:cubicBezTo>
                  <a:cubicBezTo>
                    <a:pt x="5850" y="13688"/>
                    <a:pt x="5850" y="13688"/>
                    <a:pt x="5850" y="13688"/>
                  </a:cubicBezTo>
                  <a:cubicBezTo>
                    <a:pt x="5848" y="13784"/>
                    <a:pt x="5848" y="13784"/>
                    <a:pt x="5848" y="13784"/>
                  </a:cubicBezTo>
                  <a:cubicBezTo>
                    <a:pt x="5854" y="13784"/>
                    <a:pt x="5854" y="13784"/>
                    <a:pt x="5854" y="13784"/>
                  </a:cubicBezTo>
                  <a:cubicBezTo>
                    <a:pt x="5866" y="13785"/>
                    <a:pt x="5866" y="13785"/>
                    <a:pt x="5866" y="13785"/>
                  </a:cubicBezTo>
                  <a:cubicBezTo>
                    <a:pt x="5865" y="13834"/>
                    <a:pt x="5865" y="13834"/>
                    <a:pt x="5865" y="13834"/>
                  </a:cubicBezTo>
                  <a:lnTo>
                    <a:pt x="6057" y="13841"/>
                  </a:lnTo>
                  <a:close/>
                  <a:moveTo>
                    <a:pt x="5861" y="13771"/>
                  </a:moveTo>
                  <a:cubicBezTo>
                    <a:pt x="5863" y="13701"/>
                    <a:pt x="5863" y="13701"/>
                    <a:pt x="5863" y="13701"/>
                  </a:cubicBezTo>
                  <a:cubicBezTo>
                    <a:pt x="5978" y="13704"/>
                    <a:pt x="5978" y="13704"/>
                    <a:pt x="5978" y="13704"/>
                  </a:cubicBezTo>
                  <a:cubicBezTo>
                    <a:pt x="5976" y="13777"/>
                    <a:pt x="5976" y="13777"/>
                    <a:pt x="5976" y="13777"/>
                  </a:cubicBezTo>
                  <a:cubicBezTo>
                    <a:pt x="6052" y="13778"/>
                    <a:pt x="6052" y="13778"/>
                    <a:pt x="6052" y="13778"/>
                  </a:cubicBezTo>
                  <a:cubicBezTo>
                    <a:pt x="6050" y="13828"/>
                    <a:pt x="6050" y="13828"/>
                    <a:pt x="6050" y="13828"/>
                  </a:cubicBezTo>
                  <a:cubicBezTo>
                    <a:pt x="5878" y="13822"/>
                    <a:pt x="5878" y="13822"/>
                    <a:pt x="5878" y="13822"/>
                  </a:cubicBezTo>
                  <a:cubicBezTo>
                    <a:pt x="5879" y="13772"/>
                    <a:pt x="5879" y="13772"/>
                    <a:pt x="5879" y="13772"/>
                  </a:cubicBezTo>
                  <a:cubicBezTo>
                    <a:pt x="5873" y="13772"/>
                    <a:pt x="5873" y="13772"/>
                    <a:pt x="5873" y="13772"/>
                  </a:cubicBezTo>
                  <a:lnTo>
                    <a:pt x="5861" y="13771"/>
                  </a:lnTo>
                  <a:close/>
                  <a:moveTo>
                    <a:pt x="6702" y="13067"/>
                  </a:moveTo>
                  <a:cubicBezTo>
                    <a:pt x="6562" y="13058"/>
                    <a:pt x="6562" y="13058"/>
                    <a:pt x="6562" y="13058"/>
                  </a:cubicBezTo>
                  <a:cubicBezTo>
                    <a:pt x="6556" y="13155"/>
                    <a:pt x="6556" y="13155"/>
                    <a:pt x="6556" y="13155"/>
                  </a:cubicBezTo>
                  <a:cubicBezTo>
                    <a:pt x="6562" y="13155"/>
                    <a:pt x="6562" y="13155"/>
                    <a:pt x="6562" y="13155"/>
                  </a:cubicBezTo>
                  <a:cubicBezTo>
                    <a:pt x="6574" y="13156"/>
                    <a:pt x="6574" y="13156"/>
                    <a:pt x="6574" y="13156"/>
                  </a:cubicBezTo>
                  <a:cubicBezTo>
                    <a:pt x="6571" y="13205"/>
                    <a:pt x="6571" y="13205"/>
                    <a:pt x="6571" y="13205"/>
                  </a:cubicBezTo>
                  <a:cubicBezTo>
                    <a:pt x="6762" y="13220"/>
                    <a:pt x="6762" y="13220"/>
                    <a:pt x="6762" y="13220"/>
                  </a:cubicBezTo>
                  <a:cubicBezTo>
                    <a:pt x="6769" y="13220"/>
                    <a:pt x="6769" y="13220"/>
                    <a:pt x="6769" y="13220"/>
                  </a:cubicBezTo>
                  <a:cubicBezTo>
                    <a:pt x="6773" y="13144"/>
                    <a:pt x="6773" y="13144"/>
                    <a:pt x="6773" y="13144"/>
                  </a:cubicBezTo>
                  <a:cubicBezTo>
                    <a:pt x="6698" y="13140"/>
                    <a:pt x="6698" y="13140"/>
                    <a:pt x="6698" y="13140"/>
                  </a:cubicBezTo>
                  <a:lnTo>
                    <a:pt x="6702" y="13067"/>
                  </a:lnTo>
                  <a:close/>
                  <a:moveTo>
                    <a:pt x="6760" y="13157"/>
                  </a:moveTo>
                  <a:cubicBezTo>
                    <a:pt x="6757" y="13206"/>
                    <a:pt x="6757" y="13206"/>
                    <a:pt x="6757" y="13206"/>
                  </a:cubicBezTo>
                  <a:cubicBezTo>
                    <a:pt x="6585" y="13193"/>
                    <a:pt x="6585" y="13193"/>
                    <a:pt x="6585" y="13193"/>
                  </a:cubicBezTo>
                  <a:cubicBezTo>
                    <a:pt x="6588" y="13143"/>
                    <a:pt x="6588" y="13143"/>
                    <a:pt x="6588" y="13143"/>
                  </a:cubicBezTo>
                  <a:cubicBezTo>
                    <a:pt x="6581" y="13143"/>
                    <a:pt x="6581" y="13143"/>
                    <a:pt x="6581" y="13143"/>
                  </a:cubicBezTo>
                  <a:cubicBezTo>
                    <a:pt x="6570" y="13142"/>
                    <a:pt x="6570" y="13142"/>
                    <a:pt x="6570" y="13142"/>
                  </a:cubicBezTo>
                  <a:cubicBezTo>
                    <a:pt x="6574" y="13072"/>
                    <a:pt x="6574" y="13072"/>
                    <a:pt x="6574" y="13072"/>
                  </a:cubicBezTo>
                  <a:cubicBezTo>
                    <a:pt x="6689" y="13079"/>
                    <a:pt x="6689" y="13079"/>
                    <a:pt x="6689" y="13079"/>
                  </a:cubicBezTo>
                  <a:cubicBezTo>
                    <a:pt x="6684" y="13152"/>
                    <a:pt x="6684" y="13152"/>
                    <a:pt x="6684" y="13152"/>
                  </a:cubicBezTo>
                  <a:lnTo>
                    <a:pt x="6760" y="13157"/>
                  </a:lnTo>
                  <a:close/>
                  <a:moveTo>
                    <a:pt x="3662" y="10407"/>
                  </a:moveTo>
                  <a:cubicBezTo>
                    <a:pt x="3664" y="10414"/>
                    <a:pt x="3664" y="10414"/>
                    <a:pt x="3664" y="10414"/>
                  </a:cubicBezTo>
                  <a:cubicBezTo>
                    <a:pt x="3736" y="10390"/>
                    <a:pt x="3736" y="10390"/>
                    <a:pt x="3736" y="10390"/>
                  </a:cubicBezTo>
                  <a:cubicBezTo>
                    <a:pt x="3712" y="10318"/>
                    <a:pt x="3712" y="10318"/>
                    <a:pt x="3712" y="10318"/>
                  </a:cubicBezTo>
                  <a:cubicBezTo>
                    <a:pt x="3782" y="10295"/>
                    <a:pt x="3782" y="10295"/>
                    <a:pt x="3782" y="10295"/>
                  </a:cubicBezTo>
                  <a:cubicBezTo>
                    <a:pt x="3737" y="10161"/>
                    <a:pt x="3737" y="10161"/>
                    <a:pt x="3737" y="10161"/>
                  </a:cubicBezTo>
                  <a:cubicBezTo>
                    <a:pt x="3645" y="10192"/>
                    <a:pt x="3645" y="10192"/>
                    <a:pt x="3645" y="10192"/>
                  </a:cubicBezTo>
                  <a:cubicBezTo>
                    <a:pt x="3648" y="10198"/>
                    <a:pt x="3648" y="10198"/>
                    <a:pt x="3648" y="10198"/>
                  </a:cubicBezTo>
                  <a:cubicBezTo>
                    <a:pt x="3651" y="10209"/>
                    <a:pt x="3651" y="10209"/>
                    <a:pt x="3651" y="10209"/>
                  </a:cubicBezTo>
                  <a:cubicBezTo>
                    <a:pt x="3604" y="10224"/>
                    <a:pt x="3604" y="10224"/>
                    <a:pt x="3604" y="10224"/>
                  </a:cubicBezTo>
                  <a:lnTo>
                    <a:pt x="3662" y="10407"/>
                  </a:lnTo>
                  <a:close/>
                  <a:moveTo>
                    <a:pt x="3666" y="10211"/>
                  </a:moveTo>
                  <a:cubicBezTo>
                    <a:pt x="3662" y="10200"/>
                    <a:pt x="3662" y="10200"/>
                    <a:pt x="3662" y="10200"/>
                  </a:cubicBezTo>
                  <a:cubicBezTo>
                    <a:pt x="3729" y="10178"/>
                    <a:pt x="3729" y="10178"/>
                    <a:pt x="3729" y="10178"/>
                  </a:cubicBezTo>
                  <a:cubicBezTo>
                    <a:pt x="3765" y="10287"/>
                    <a:pt x="3765" y="10287"/>
                    <a:pt x="3765" y="10287"/>
                  </a:cubicBezTo>
                  <a:cubicBezTo>
                    <a:pt x="3696" y="10310"/>
                    <a:pt x="3696" y="10310"/>
                    <a:pt x="3696" y="10310"/>
                  </a:cubicBezTo>
                  <a:cubicBezTo>
                    <a:pt x="3719" y="10382"/>
                    <a:pt x="3719" y="10382"/>
                    <a:pt x="3719" y="10382"/>
                  </a:cubicBezTo>
                  <a:cubicBezTo>
                    <a:pt x="3672" y="10397"/>
                    <a:pt x="3672" y="10397"/>
                    <a:pt x="3672" y="10397"/>
                  </a:cubicBezTo>
                  <a:cubicBezTo>
                    <a:pt x="3621" y="10233"/>
                    <a:pt x="3621" y="10233"/>
                    <a:pt x="3621" y="10233"/>
                  </a:cubicBezTo>
                  <a:cubicBezTo>
                    <a:pt x="3668" y="10217"/>
                    <a:pt x="3668" y="10217"/>
                    <a:pt x="3668" y="10217"/>
                  </a:cubicBezTo>
                  <a:lnTo>
                    <a:pt x="3666" y="10211"/>
                  </a:lnTo>
                  <a:close/>
                  <a:moveTo>
                    <a:pt x="4390" y="9447"/>
                  </a:moveTo>
                  <a:cubicBezTo>
                    <a:pt x="4460" y="9424"/>
                    <a:pt x="4460" y="9424"/>
                    <a:pt x="4460" y="9424"/>
                  </a:cubicBezTo>
                  <a:cubicBezTo>
                    <a:pt x="4415" y="9290"/>
                    <a:pt x="4415" y="9290"/>
                    <a:pt x="4415" y="9290"/>
                  </a:cubicBezTo>
                  <a:cubicBezTo>
                    <a:pt x="4323" y="9321"/>
                    <a:pt x="4323" y="9321"/>
                    <a:pt x="4323" y="9321"/>
                  </a:cubicBezTo>
                  <a:cubicBezTo>
                    <a:pt x="4326" y="9327"/>
                    <a:pt x="4326" y="9327"/>
                    <a:pt x="4326" y="9327"/>
                  </a:cubicBezTo>
                  <a:cubicBezTo>
                    <a:pt x="4329" y="9338"/>
                    <a:pt x="4329" y="9338"/>
                    <a:pt x="4329" y="9338"/>
                  </a:cubicBezTo>
                  <a:cubicBezTo>
                    <a:pt x="4282" y="9354"/>
                    <a:pt x="4282" y="9354"/>
                    <a:pt x="4282" y="9354"/>
                  </a:cubicBezTo>
                  <a:cubicBezTo>
                    <a:pt x="4340" y="9537"/>
                    <a:pt x="4340" y="9537"/>
                    <a:pt x="4340" y="9537"/>
                  </a:cubicBezTo>
                  <a:cubicBezTo>
                    <a:pt x="4342" y="9543"/>
                    <a:pt x="4342" y="9543"/>
                    <a:pt x="4342" y="9543"/>
                  </a:cubicBezTo>
                  <a:cubicBezTo>
                    <a:pt x="4414" y="9519"/>
                    <a:pt x="4414" y="9519"/>
                    <a:pt x="4414" y="9519"/>
                  </a:cubicBezTo>
                  <a:lnTo>
                    <a:pt x="4390" y="9447"/>
                  </a:lnTo>
                  <a:close/>
                  <a:moveTo>
                    <a:pt x="4299" y="9362"/>
                  </a:moveTo>
                  <a:cubicBezTo>
                    <a:pt x="4346" y="9346"/>
                    <a:pt x="4346" y="9346"/>
                    <a:pt x="4346" y="9346"/>
                  </a:cubicBezTo>
                  <a:cubicBezTo>
                    <a:pt x="4344" y="9340"/>
                    <a:pt x="4344" y="9340"/>
                    <a:pt x="4344" y="9340"/>
                  </a:cubicBezTo>
                  <a:cubicBezTo>
                    <a:pt x="4340" y="9329"/>
                    <a:pt x="4340" y="9329"/>
                    <a:pt x="4340" y="9329"/>
                  </a:cubicBezTo>
                  <a:cubicBezTo>
                    <a:pt x="4407" y="9307"/>
                    <a:pt x="4407" y="9307"/>
                    <a:pt x="4407" y="9307"/>
                  </a:cubicBezTo>
                  <a:cubicBezTo>
                    <a:pt x="4443" y="9416"/>
                    <a:pt x="4443" y="9416"/>
                    <a:pt x="4443" y="9416"/>
                  </a:cubicBezTo>
                  <a:cubicBezTo>
                    <a:pt x="4374" y="9439"/>
                    <a:pt x="4374" y="9439"/>
                    <a:pt x="4374" y="9439"/>
                  </a:cubicBezTo>
                  <a:cubicBezTo>
                    <a:pt x="4397" y="9511"/>
                    <a:pt x="4397" y="9511"/>
                    <a:pt x="4397" y="9511"/>
                  </a:cubicBezTo>
                  <a:cubicBezTo>
                    <a:pt x="4350" y="9526"/>
                    <a:pt x="4350" y="9526"/>
                    <a:pt x="4350" y="9526"/>
                  </a:cubicBezTo>
                  <a:lnTo>
                    <a:pt x="4299" y="9362"/>
                  </a:lnTo>
                  <a:close/>
                  <a:moveTo>
                    <a:pt x="7246" y="13129"/>
                  </a:moveTo>
                  <a:cubicBezTo>
                    <a:pt x="7265" y="13131"/>
                    <a:pt x="7265" y="13131"/>
                    <a:pt x="7265" y="13131"/>
                  </a:cubicBezTo>
                  <a:cubicBezTo>
                    <a:pt x="7273" y="13035"/>
                    <a:pt x="7273" y="13035"/>
                    <a:pt x="7273" y="13035"/>
                  </a:cubicBezTo>
                  <a:cubicBezTo>
                    <a:pt x="7132" y="13022"/>
                    <a:pt x="7132" y="13022"/>
                    <a:pt x="7132" y="13022"/>
                  </a:cubicBezTo>
                  <a:cubicBezTo>
                    <a:pt x="7126" y="13095"/>
                    <a:pt x="7126" y="13095"/>
                    <a:pt x="7126" y="13095"/>
                  </a:cubicBezTo>
                  <a:cubicBezTo>
                    <a:pt x="7051" y="13089"/>
                    <a:pt x="7051" y="13089"/>
                    <a:pt x="7051" y="13089"/>
                  </a:cubicBezTo>
                  <a:cubicBezTo>
                    <a:pt x="7045" y="13158"/>
                    <a:pt x="7045" y="13158"/>
                    <a:pt x="7045" y="13158"/>
                  </a:cubicBezTo>
                  <a:cubicBezTo>
                    <a:pt x="7044" y="13164"/>
                    <a:pt x="7044" y="13164"/>
                    <a:pt x="7044" y="13164"/>
                  </a:cubicBezTo>
                  <a:cubicBezTo>
                    <a:pt x="7242" y="13179"/>
                    <a:pt x="7242" y="13179"/>
                    <a:pt x="7242" y="13179"/>
                  </a:cubicBezTo>
                  <a:lnTo>
                    <a:pt x="7246" y="13129"/>
                  </a:lnTo>
                  <a:close/>
                  <a:moveTo>
                    <a:pt x="7230" y="13165"/>
                  </a:moveTo>
                  <a:cubicBezTo>
                    <a:pt x="7058" y="13152"/>
                    <a:pt x="7058" y="13152"/>
                    <a:pt x="7058" y="13152"/>
                  </a:cubicBezTo>
                  <a:cubicBezTo>
                    <a:pt x="7063" y="13103"/>
                    <a:pt x="7063" y="13103"/>
                    <a:pt x="7063" y="13103"/>
                  </a:cubicBezTo>
                  <a:cubicBezTo>
                    <a:pt x="7138" y="13110"/>
                    <a:pt x="7138" y="13110"/>
                    <a:pt x="7138" y="13110"/>
                  </a:cubicBezTo>
                  <a:cubicBezTo>
                    <a:pt x="7144" y="13037"/>
                    <a:pt x="7144" y="13037"/>
                    <a:pt x="7144" y="13037"/>
                  </a:cubicBezTo>
                  <a:cubicBezTo>
                    <a:pt x="7259" y="13047"/>
                    <a:pt x="7259" y="13047"/>
                    <a:pt x="7259" y="13047"/>
                  </a:cubicBezTo>
                  <a:cubicBezTo>
                    <a:pt x="7253" y="13117"/>
                    <a:pt x="7253" y="13117"/>
                    <a:pt x="7253" y="13117"/>
                  </a:cubicBezTo>
                  <a:cubicBezTo>
                    <a:pt x="7234" y="13115"/>
                    <a:pt x="7234" y="13115"/>
                    <a:pt x="7234" y="13115"/>
                  </a:cubicBezTo>
                  <a:lnTo>
                    <a:pt x="7230" y="13165"/>
                  </a:lnTo>
                  <a:close/>
                  <a:moveTo>
                    <a:pt x="6762" y="12620"/>
                  </a:moveTo>
                  <a:cubicBezTo>
                    <a:pt x="6622" y="12607"/>
                    <a:pt x="6622" y="12607"/>
                    <a:pt x="6622" y="12607"/>
                  </a:cubicBezTo>
                  <a:cubicBezTo>
                    <a:pt x="6613" y="12703"/>
                    <a:pt x="6613" y="12703"/>
                    <a:pt x="6613" y="12703"/>
                  </a:cubicBezTo>
                  <a:cubicBezTo>
                    <a:pt x="6619" y="12704"/>
                    <a:pt x="6619" y="12704"/>
                    <a:pt x="6619" y="12704"/>
                  </a:cubicBezTo>
                  <a:cubicBezTo>
                    <a:pt x="6631" y="12705"/>
                    <a:pt x="6631" y="12705"/>
                    <a:pt x="6631" y="12705"/>
                  </a:cubicBezTo>
                  <a:cubicBezTo>
                    <a:pt x="6626" y="12754"/>
                    <a:pt x="6626" y="12754"/>
                    <a:pt x="6626" y="12754"/>
                  </a:cubicBezTo>
                  <a:cubicBezTo>
                    <a:pt x="6817" y="12775"/>
                    <a:pt x="6817" y="12775"/>
                    <a:pt x="6817" y="12775"/>
                  </a:cubicBezTo>
                  <a:cubicBezTo>
                    <a:pt x="6824" y="12775"/>
                    <a:pt x="6824" y="12775"/>
                    <a:pt x="6824" y="12775"/>
                  </a:cubicBezTo>
                  <a:cubicBezTo>
                    <a:pt x="6831" y="12700"/>
                    <a:pt x="6831" y="12700"/>
                    <a:pt x="6831" y="12700"/>
                  </a:cubicBezTo>
                  <a:cubicBezTo>
                    <a:pt x="6755" y="12693"/>
                    <a:pt x="6755" y="12693"/>
                    <a:pt x="6755" y="12693"/>
                  </a:cubicBezTo>
                  <a:lnTo>
                    <a:pt x="6762" y="12620"/>
                  </a:lnTo>
                  <a:close/>
                  <a:moveTo>
                    <a:pt x="6816" y="12712"/>
                  </a:moveTo>
                  <a:cubicBezTo>
                    <a:pt x="6812" y="12761"/>
                    <a:pt x="6812" y="12761"/>
                    <a:pt x="6812" y="12761"/>
                  </a:cubicBezTo>
                  <a:cubicBezTo>
                    <a:pt x="6641" y="12743"/>
                    <a:pt x="6641" y="12743"/>
                    <a:pt x="6641" y="12743"/>
                  </a:cubicBezTo>
                  <a:cubicBezTo>
                    <a:pt x="6645" y="12693"/>
                    <a:pt x="6645" y="12693"/>
                    <a:pt x="6645" y="12693"/>
                  </a:cubicBezTo>
                  <a:cubicBezTo>
                    <a:pt x="6639" y="12693"/>
                    <a:pt x="6639" y="12693"/>
                    <a:pt x="6639" y="12693"/>
                  </a:cubicBezTo>
                  <a:cubicBezTo>
                    <a:pt x="6627" y="12691"/>
                    <a:pt x="6627" y="12691"/>
                    <a:pt x="6627" y="12691"/>
                  </a:cubicBezTo>
                  <a:cubicBezTo>
                    <a:pt x="6633" y="12621"/>
                    <a:pt x="6633" y="12621"/>
                    <a:pt x="6633" y="12621"/>
                  </a:cubicBezTo>
                  <a:cubicBezTo>
                    <a:pt x="6748" y="12632"/>
                    <a:pt x="6748" y="12632"/>
                    <a:pt x="6748" y="12632"/>
                  </a:cubicBezTo>
                  <a:cubicBezTo>
                    <a:pt x="6741" y="12705"/>
                    <a:pt x="6741" y="12705"/>
                    <a:pt x="6741" y="12705"/>
                  </a:cubicBezTo>
                  <a:lnTo>
                    <a:pt x="6816" y="12712"/>
                  </a:lnTo>
                  <a:close/>
                  <a:moveTo>
                    <a:pt x="6864" y="11714"/>
                  </a:moveTo>
                  <a:cubicBezTo>
                    <a:pt x="6724" y="11701"/>
                    <a:pt x="6724" y="11701"/>
                    <a:pt x="6724" y="11701"/>
                  </a:cubicBezTo>
                  <a:cubicBezTo>
                    <a:pt x="6715" y="11797"/>
                    <a:pt x="6715" y="11797"/>
                    <a:pt x="6715" y="11797"/>
                  </a:cubicBezTo>
                  <a:cubicBezTo>
                    <a:pt x="6722" y="11798"/>
                    <a:pt x="6722" y="11798"/>
                    <a:pt x="6722" y="11798"/>
                  </a:cubicBezTo>
                  <a:cubicBezTo>
                    <a:pt x="6733" y="11799"/>
                    <a:pt x="6733" y="11799"/>
                    <a:pt x="6733" y="11799"/>
                  </a:cubicBezTo>
                  <a:cubicBezTo>
                    <a:pt x="6729" y="11848"/>
                    <a:pt x="6729" y="11848"/>
                    <a:pt x="6729" y="11848"/>
                  </a:cubicBezTo>
                  <a:cubicBezTo>
                    <a:pt x="6920" y="11869"/>
                    <a:pt x="6920" y="11869"/>
                    <a:pt x="6920" y="11869"/>
                  </a:cubicBezTo>
                  <a:cubicBezTo>
                    <a:pt x="6926" y="11869"/>
                    <a:pt x="6926" y="11869"/>
                    <a:pt x="6926" y="11869"/>
                  </a:cubicBezTo>
                  <a:cubicBezTo>
                    <a:pt x="6933" y="11794"/>
                    <a:pt x="6933" y="11794"/>
                    <a:pt x="6933" y="11794"/>
                  </a:cubicBezTo>
                  <a:cubicBezTo>
                    <a:pt x="6858" y="11787"/>
                    <a:pt x="6858" y="11787"/>
                    <a:pt x="6858" y="11787"/>
                  </a:cubicBezTo>
                  <a:lnTo>
                    <a:pt x="6864" y="11714"/>
                  </a:lnTo>
                  <a:close/>
                  <a:moveTo>
                    <a:pt x="6919" y="11806"/>
                  </a:moveTo>
                  <a:cubicBezTo>
                    <a:pt x="6914" y="11855"/>
                    <a:pt x="6914" y="11855"/>
                    <a:pt x="6914" y="11855"/>
                  </a:cubicBezTo>
                  <a:cubicBezTo>
                    <a:pt x="6743" y="11837"/>
                    <a:pt x="6743" y="11837"/>
                    <a:pt x="6743" y="11837"/>
                  </a:cubicBezTo>
                  <a:cubicBezTo>
                    <a:pt x="6748" y="11787"/>
                    <a:pt x="6748" y="11787"/>
                    <a:pt x="6748" y="11787"/>
                  </a:cubicBezTo>
                  <a:cubicBezTo>
                    <a:pt x="6741" y="11787"/>
                    <a:pt x="6741" y="11787"/>
                    <a:pt x="6741" y="11787"/>
                  </a:cubicBezTo>
                  <a:cubicBezTo>
                    <a:pt x="6729" y="11785"/>
                    <a:pt x="6729" y="11785"/>
                    <a:pt x="6729" y="11785"/>
                  </a:cubicBezTo>
                  <a:cubicBezTo>
                    <a:pt x="6736" y="11715"/>
                    <a:pt x="6736" y="11715"/>
                    <a:pt x="6736" y="11715"/>
                  </a:cubicBezTo>
                  <a:cubicBezTo>
                    <a:pt x="6850" y="11726"/>
                    <a:pt x="6850" y="11726"/>
                    <a:pt x="6850" y="11726"/>
                  </a:cubicBezTo>
                  <a:cubicBezTo>
                    <a:pt x="6844" y="11799"/>
                    <a:pt x="6844" y="11799"/>
                    <a:pt x="6844" y="11799"/>
                  </a:cubicBezTo>
                  <a:lnTo>
                    <a:pt x="6919" y="11806"/>
                  </a:lnTo>
                  <a:close/>
                  <a:moveTo>
                    <a:pt x="7121" y="10135"/>
                  </a:moveTo>
                  <a:cubicBezTo>
                    <a:pt x="7023" y="10034"/>
                    <a:pt x="7023" y="10034"/>
                    <a:pt x="7023" y="10034"/>
                  </a:cubicBezTo>
                  <a:cubicBezTo>
                    <a:pt x="6953" y="10101"/>
                    <a:pt x="6953" y="10101"/>
                    <a:pt x="6953" y="10101"/>
                  </a:cubicBezTo>
                  <a:cubicBezTo>
                    <a:pt x="6958" y="10106"/>
                    <a:pt x="6958" y="10106"/>
                    <a:pt x="6958" y="10106"/>
                  </a:cubicBezTo>
                  <a:cubicBezTo>
                    <a:pt x="6966" y="10115"/>
                    <a:pt x="6966" y="10115"/>
                    <a:pt x="6966" y="10115"/>
                  </a:cubicBezTo>
                  <a:cubicBezTo>
                    <a:pt x="6931" y="10149"/>
                    <a:pt x="6931" y="10149"/>
                    <a:pt x="6931" y="10149"/>
                  </a:cubicBezTo>
                  <a:cubicBezTo>
                    <a:pt x="7062" y="10289"/>
                    <a:pt x="7062" y="10289"/>
                    <a:pt x="7062" y="10289"/>
                  </a:cubicBezTo>
                  <a:cubicBezTo>
                    <a:pt x="7067" y="10293"/>
                    <a:pt x="7067" y="10293"/>
                    <a:pt x="7067" y="10293"/>
                  </a:cubicBezTo>
                  <a:cubicBezTo>
                    <a:pt x="7121" y="10240"/>
                    <a:pt x="7121" y="10240"/>
                    <a:pt x="7121" y="10240"/>
                  </a:cubicBezTo>
                  <a:cubicBezTo>
                    <a:pt x="7069" y="10186"/>
                    <a:pt x="7069" y="10186"/>
                    <a:pt x="7069" y="10186"/>
                  </a:cubicBezTo>
                  <a:lnTo>
                    <a:pt x="7121" y="10135"/>
                  </a:lnTo>
                  <a:close/>
                  <a:moveTo>
                    <a:pt x="7103" y="10240"/>
                  </a:moveTo>
                  <a:cubicBezTo>
                    <a:pt x="7067" y="10275"/>
                    <a:pt x="7067" y="10275"/>
                    <a:pt x="7067" y="10275"/>
                  </a:cubicBezTo>
                  <a:cubicBezTo>
                    <a:pt x="6949" y="10149"/>
                    <a:pt x="6949" y="10149"/>
                    <a:pt x="6949" y="10149"/>
                  </a:cubicBezTo>
                  <a:cubicBezTo>
                    <a:pt x="6985" y="10115"/>
                    <a:pt x="6985" y="10115"/>
                    <a:pt x="6985" y="10115"/>
                  </a:cubicBezTo>
                  <a:cubicBezTo>
                    <a:pt x="6980" y="10110"/>
                    <a:pt x="6980" y="10110"/>
                    <a:pt x="6980" y="10110"/>
                  </a:cubicBezTo>
                  <a:cubicBezTo>
                    <a:pt x="6972" y="10102"/>
                    <a:pt x="6972" y="10102"/>
                    <a:pt x="6972" y="10102"/>
                  </a:cubicBezTo>
                  <a:cubicBezTo>
                    <a:pt x="7022" y="10053"/>
                    <a:pt x="7022" y="10053"/>
                    <a:pt x="7022" y="10053"/>
                  </a:cubicBezTo>
                  <a:cubicBezTo>
                    <a:pt x="7102" y="10135"/>
                    <a:pt x="7102" y="10135"/>
                    <a:pt x="7102" y="10135"/>
                  </a:cubicBezTo>
                  <a:cubicBezTo>
                    <a:pt x="7050" y="10186"/>
                    <a:pt x="7050" y="10186"/>
                    <a:pt x="7050" y="10186"/>
                  </a:cubicBezTo>
                  <a:lnTo>
                    <a:pt x="7103" y="10240"/>
                  </a:lnTo>
                  <a:close/>
                  <a:moveTo>
                    <a:pt x="7328" y="9916"/>
                  </a:moveTo>
                  <a:cubicBezTo>
                    <a:pt x="7230" y="9815"/>
                    <a:pt x="7230" y="9815"/>
                    <a:pt x="7230" y="9815"/>
                  </a:cubicBezTo>
                  <a:cubicBezTo>
                    <a:pt x="7161" y="9883"/>
                    <a:pt x="7161" y="9883"/>
                    <a:pt x="7161" y="9883"/>
                  </a:cubicBezTo>
                  <a:cubicBezTo>
                    <a:pt x="7165" y="9887"/>
                    <a:pt x="7165" y="9887"/>
                    <a:pt x="7165" y="9887"/>
                  </a:cubicBezTo>
                  <a:cubicBezTo>
                    <a:pt x="7173" y="9896"/>
                    <a:pt x="7173" y="9896"/>
                    <a:pt x="7173" y="9896"/>
                  </a:cubicBezTo>
                  <a:cubicBezTo>
                    <a:pt x="7138" y="9930"/>
                    <a:pt x="7138" y="9930"/>
                    <a:pt x="7138" y="9930"/>
                  </a:cubicBezTo>
                  <a:cubicBezTo>
                    <a:pt x="7270" y="10070"/>
                    <a:pt x="7270" y="10070"/>
                    <a:pt x="7270" y="10070"/>
                  </a:cubicBezTo>
                  <a:cubicBezTo>
                    <a:pt x="7274" y="10074"/>
                    <a:pt x="7274" y="10074"/>
                    <a:pt x="7274" y="10074"/>
                  </a:cubicBezTo>
                  <a:cubicBezTo>
                    <a:pt x="7329" y="10022"/>
                    <a:pt x="7329" y="10022"/>
                    <a:pt x="7329" y="10022"/>
                  </a:cubicBezTo>
                  <a:cubicBezTo>
                    <a:pt x="7276" y="9967"/>
                    <a:pt x="7276" y="9967"/>
                    <a:pt x="7276" y="9967"/>
                  </a:cubicBezTo>
                  <a:lnTo>
                    <a:pt x="7328" y="9916"/>
                  </a:lnTo>
                  <a:close/>
                  <a:moveTo>
                    <a:pt x="7310" y="10021"/>
                  </a:moveTo>
                  <a:cubicBezTo>
                    <a:pt x="7275" y="10056"/>
                    <a:pt x="7275" y="10056"/>
                    <a:pt x="7275" y="10056"/>
                  </a:cubicBezTo>
                  <a:cubicBezTo>
                    <a:pt x="7156" y="9931"/>
                    <a:pt x="7156" y="9931"/>
                    <a:pt x="7156" y="9931"/>
                  </a:cubicBezTo>
                  <a:cubicBezTo>
                    <a:pt x="7192" y="9896"/>
                    <a:pt x="7192" y="9896"/>
                    <a:pt x="7192" y="9896"/>
                  </a:cubicBezTo>
                  <a:cubicBezTo>
                    <a:pt x="7187" y="9891"/>
                    <a:pt x="7187" y="9891"/>
                    <a:pt x="7187" y="9891"/>
                  </a:cubicBezTo>
                  <a:cubicBezTo>
                    <a:pt x="7179" y="9883"/>
                    <a:pt x="7179" y="9883"/>
                    <a:pt x="7179" y="9883"/>
                  </a:cubicBezTo>
                  <a:cubicBezTo>
                    <a:pt x="7230" y="9834"/>
                    <a:pt x="7230" y="9834"/>
                    <a:pt x="7230" y="9834"/>
                  </a:cubicBezTo>
                  <a:cubicBezTo>
                    <a:pt x="7310" y="9916"/>
                    <a:pt x="7310" y="9916"/>
                    <a:pt x="7310" y="9916"/>
                  </a:cubicBezTo>
                  <a:cubicBezTo>
                    <a:pt x="7257" y="9967"/>
                    <a:pt x="7257" y="9967"/>
                    <a:pt x="7257" y="9967"/>
                  </a:cubicBezTo>
                  <a:lnTo>
                    <a:pt x="7310" y="10021"/>
                  </a:lnTo>
                  <a:close/>
                  <a:moveTo>
                    <a:pt x="7506" y="9695"/>
                  </a:moveTo>
                  <a:cubicBezTo>
                    <a:pt x="7407" y="9594"/>
                    <a:pt x="7407" y="9594"/>
                    <a:pt x="7407" y="9594"/>
                  </a:cubicBezTo>
                  <a:cubicBezTo>
                    <a:pt x="7338" y="9661"/>
                    <a:pt x="7338" y="9661"/>
                    <a:pt x="7338" y="9661"/>
                  </a:cubicBezTo>
                  <a:cubicBezTo>
                    <a:pt x="7343" y="9666"/>
                    <a:pt x="7343" y="9666"/>
                    <a:pt x="7343" y="9666"/>
                  </a:cubicBezTo>
                  <a:cubicBezTo>
                    <a:pt x="7351" y="9674"/>
                    <a:pt x="7351" y="9674"/>
                    <a:pt x="7351" y="9674"/>
                  </a:cubicBezTo>
                  <a:cubicBezTo>
                    <a:pt x="7315" y="9709"/>
                    <a:pt x="7315" y="9709"/>
                    <a:pt x="7315" y="9709"/>
                  </a:cubicBezTo>
                  <a:cubicBezTo>
                    <a:pt x="7447" y="9848"/>
                    <a:pt x="7447" y="9848"/>
                    <a:pt x="7447" y="9848"/>
                  </a:cubicBezTo>
                  <a:cubicBezTo>
                    <a:pt x="7452" y="9853"/>
                    <a:pt x="7452" y="9853"/>
                    <a:pt x="7452" y="9853"/>
                  </a:cubicBezTo>
                  <a:cubicBezTo>
                    <a:pt x="7506" y="9800"/>
                    <a:pt x="7506" y="9800"/>
                    <a:pt x="7506" y="9800"/>
                  </a:cubicBezTo>
                  <a:cubicBezTo>
                    <a:pt x="7453" y="9746"/>
                    <a:pt x="7453" y="9746"/>
                    <a:pt x="7453" y="9746"/>
                  </a:cubicBezTo>
                  <a:lnTo>
                    <a:pt x="7506" y="9695"/>
                  </a:lnTo>
                  <a:close/>
                  <a:moveTo>
                    <a:pt x="7488" y="9800"/>
                  </a:moveTo>
                  <a:cubicBezTo>
                    <a:pt x="7452" y="9834"/>
                    <a:pt x="7452" y="9834"/>
                    <a:pt x="7452" y="9834"/>
                  </a:cubicBezTo>
                  <a:cubicBezTo>
                    <a:pt x="7334" y="9709"/>
                    <a:pt x="7334" y="9709"/>
                    <a:pt x="7334" y="9709"/>
                  </a:cubicBezTo>
                  <a:cubicBezTo>
                    <a:pt x="7369" y="9675"/>
                    <a:pt x="7369" y="9675"/>
                    <a:pt x="7369" y="9675"/>
                  </a:cubicBezTo>
                  <a:cubicBezTo>
                    <a:pt x="7365" y="9670"/>
                    <a:pt x="7365" y="9670"/>
                    <a:pt x="7365" y="9670"/>
                  </a:cubicBezTo>
                  <a:cubicBezTo>
                    <a:pt x="7357" y="9661"/>
                    <a:pt x="7357" y="9661"/>
                    <a:pt x="7357" y="9661"/>
                  </a:cubicBezTo>
                  <a:cubicBezTo>
                    <a:pt x="7407" y="9612"/>
                    <a:pt x="7407" y="9612"/>
                    <a:pt x="7407" y="9612"/>
                  </a:cubicBezTo>
                  <a:cubicBezTo>
                    <a:pt x="7487" y="9695"/>
                    <a:pt x="7487" y="9695"/>
                    <a:pt x="7487" y="9695"/>
                  </a:cubicBezTo>
                  <a:cubicBezTo>
                    <a:pt x="7435" y="9746"/>
                    <a:pt x="7435" y="9746"/>
                    <a:pt x="7435" y="9746"/>
                  </a:cubicBezTo>
                  <a:lnTo>
                    <a:pt x="7488" y="9800"/>
                  </a:lnTo>
                  <a:close/>
                  <a:moveTo>
                    <a:pt x="7659" y="9443"/>
                  </a:moveTo>
                  <a:cubicBezTo>
                    <a:pt x="7561" y="9342"/>
                    <a:pt x="7561" y="9342"/>
                    <a:pt x="7561" y="9342"/>
                  </a:cubicBezTo>
                  <a:cubicBezTo>
                    <a:pt x="7491" y="9410"/>
                    <a:pt x="7491" y="9410"/>
                    <a:pt x="7491" y="9410"/>
                  </a:cubicBezTo>
                  <a:cubicBezTo>
                    <a:pt x="7496" y="9414"/>
                    <a:pt x="7496" y="9414"/>
                    <a:pt x="7496" y="9414"/>
                  </a:cubicBezTo>
                  <a:cubicBezTo>
                    <a:pt x="7504" y="9423"/>
                    <a:pt x="7504" y="9423"/>
                    <a:pt x="7504" y="9423"/>
                  </a:cubicBezTo>
                  <a:cubicBezTo>
                    <a:pt x="7468" y="9457"/>
                    <a:pt x="7468" y="9457"/>
                    <a:pt x="7468" y="9457"/>
                  </a:cubicBezTo>
                  <a:cubicBezTo>
                    <a:pt x="7600" y="9597"/>
                    <a:pt x="7600" y="9597"/>
                    <a:pt x="7600" y="9597"/>
                  </a:cubicBezTo>
                  <a:cubicBezTo>
                    <a:pt x="7605" y="9602"/>
                    <a:pt x="7605" y="9602"/>
                    <a:pt x="7605" y="9602"/>
                  </a:cubicBezTo>
                  <a:cubicBezTo>
                    <a:pt x="7659" y="9549"/>
                    <a:pt x="7659" y="9549"/>
                    <a:pt x="7659" y="9549"/>
                  </a:cubicBezTo>
                  <a:cubicBezTo>
                    <a:pt x="7606" y="9494"/>
                    <a:pt x="7606" y="9494"/>
                    <a:pt x="7606" y="9494"/>
                  </a:cubicBezTo>
                  <a:lnTo>
                    <a:pt x="7659" y="9443"/>
                  </a:lnTo>
                  <a:close/>
                  <a:moveTo>
                    <a:pt x="7641" y="9548"/>
                  </a:moveTo>
                  <a:cubicBezTo>
                    <a:pt x="7605" y="9583"/>
                    <a:pt x="7605" y="9583"/>
                    <a:pt x="7605" y="9583"/>
                  </a:cubicBezTo>
                  <a:cubicBezTo>
                    <a:pt x="7487" y="9458"/>
                    <a:pt x="7487" y="9458"/>
                    <a:pt x="7487" y="9458"/>
                  </a:cubicBezTo>
                  <a:cubicBezTo>
                    <a:pt x="7523" y="9423"/>
                    <a:pt x="7523" y="9423"/>
                    <a:pt x="7523" y="9423"/>
                  </a:cubicBezTo>
                  <a:cubicBezTo>
                    <a:pt x="7518" y="9418"/>
                    <a:pt x="7518" y="9418"/>
                    <a:pt x="7518" y="9418"/>
                  </a:cubicBezTo>
                  <a:cubicBezTo>
                    <a:pt x="7510" y="9410"/>
                    <a:pt x="7510" y="9410"/>
                    <a:pt x="7510" y="9410"/>
                  </a:cubicBezTo>
                  <a:cubicBezTo>
                    <a:pt x="7560" y="9361"/>
                    <a:pt x="7560" y="9361"/>
                    <a:pt x="7560" y="9361"/>
                  </a:cubicBezTo>
                  <a:cubicBezTo>
                    <a:pt x="7640" y="9443"/>
                    <a:pt x="7640" y="9443"/>
                    <a:pt x="7640" y="9443"/>
                  </a:cubicBezTo>
                  <a:cubicBezTo>
                    <a:pt x="7588" y="9494"/>
                    <a:pt x="7588" y="9494"/>
                    <a:pt x="7588" y="9494"/>
                  </a:cubicBezTo>
                  <a:lnTo>
                    <a:pt x="7641" y="9548"/>
                  </a:lnTo>
                  <a:close/>
                  <a:moveTo>
                    <a:pt x="7801" y="9189"/>
                  </a:moveTo>
                  <a:cubicBezTo>
                    <a:pt x="7703" y="9088"/>
                    <a:pt x="7703" y="9088"/>
                    <a:pt x="7703" y="9088"/>
                  </a:cubicBezTo>
                  <a:cubicBezTo>
                    <a:pt x="7633" y="9156"/>
                    <a:pt x="7633" y="9156"/>
                    <a:pt x="7633" y="9156"/>
                  </a:cubicBezTo>
                  <a:cubicBezTo>
                    <a:pt x="7638" y="9160"/>
                    <a:pt x="7638" y="9160"/>
                    <a:pt x="7638" y="9160"/>
                  </a:cubicBezTo>
                  <a:cubicBezTo>
                    <a:pt x="7646" y="9169"/>
                    <a:pt x="7646" y="9169"/>
                    <a:pt x="7646" y="9169"/>
                  </a:cubicBezTo>
                  <a:cubicBezTo>
                    <a:pt x="7611" y="9203"/>
                    <a:pt x="7611" y="9203"/>
                    <a:pt x="7611" y="9203"/>
                  </a:cubicBezTo>
                  <a:cubicBezTo>
                    <a:pt x="7742" y="9343"/>
                    <a:pt x="7742" y="9343"/>
                    <a:pt x="7742" y="9343"/>
                  </a:cubicBezTo>
                  <a:cubicBezTo>
                    <a:pt x="7747" y="9347"/>
                    <a:pt x="7747" y="9347"/>
                    <a:pt x="7747" y="9347"/>
                  </a:cubicBezTo>
                  <a:cubicBezTo>
                    <a:pt x="7801" y="9295"/>
                    <a:pt x="7801" y="9295"/>
                    <a:pt x="7801" y="9295"/>
                  </a:cubicBezTo>
                  <a:cubicBezTo>
                    <a:pt x="7749" y="9240"/>
                    <a:pt x="7749" y="9240"/>
                    <a:pt x="7749" y="9240"/>
                  </a:cubicBezTo>
                  <a:lnTo>
                    <a:pt x="7801" y="9189"/>
                  </a:lnTo>
                  <a:close/>
                  <a:moveTo>
                    <a:pt x="7783" y="9294"/>
                  </a:moveTo>
                  <a:cubicBezTo>
                    <a:pt x="7747" y="9329"/>
                    <a:pt x="7747" y="9329"/>
                    <a:pt x="7747" y="9329"/>
                  </a:cubicBezTo>
                  <a:cubicBezTo>
                    <a:pt x="7629" y="9204"/>
                    <a:pt x="7629" y="9204"/>
                    <a:pt x="7629" y="9204"/>
                  </a:cubicBezTo>
                  <a:cubicBezTo>
                    <a:pt x="7665" y="9169"/>
                    <a:pt x="7665" y="9169"/>
                    <a:pt x="7665" y="9169"/>
                  </a:cubicBezTo>
                  <a:cubicBezTo>
                    <a:pt x="7660" y="9164"/>
                    <a:pt x="7660" y="9164"/>
                    <a:pt x="7660" y="9164"/>
                  </a:cubicBezTo>
                  <a:cubicBezTo>
                    <a:pt x="7652" y="9156"/>
                    <a:pt x="7652" y="9156"/>
                    <a:pt x="7652" y="9156"/>
                  </a:cubicBezTo>
                  <a:cubicBezTo>
                    <a:pt x="7702" y="9107"/>
                    <a:pt x="7702" y="9107"/>
                    <a:pt x="7702" y="9107"/>
                  </a:cubicBezTo>
                  <a:cubicBezTo>
                    <a:pt x="7782" y="9189"/>
                    <a:pt x="7782" y="9189"/>
                    <a:pt x="7782" y="9189"/>
                  </a:cubicBezTo>
                  <a:cubicBezTo>
                    <a:pt x="7730" y="9240"/>
                    <a:pt x="7730" y="9240"/>
                    <a:pt x="7730" y="9240"/>
                  </a:cubicBezTo>
                  <a:lnTo>
                    <a:pt x="7783" y="9294"/>
                  </a:lnTo>
                  <a:close/>
                  <a:moveTo>
                    <a:pt x="6891" y="11376"/>
                  </a:moveTo>
                  <a:cubicBezTo>
                    <a:pt x="6751" y="11363"/>
                    <a:pt x="6751" y="11363"/>
                    <a:pt x="6751" y="11363"/>
                  </a:cubicBezTo>
                  <a:cubicBezTo>
                    <a:pt x="6742" y="11459"/>
                    <a:pt x="6742" y="11459"/>
                    <a:pt x="6742" y="11459"/>
                  </a:cubicBezTo>
                  <a:cubicBezTo>
                    <a:pt x="6748" y="11460"/>
                    <a:pt x="6748" y="11460"/>
                    <a:pt x="6748" y="11460"/>
                  </a:cubicBezTo>
                  <a:cubicBezTo>
                    <a:pt x="6760" y="11461"/>
                    <a:pt x="6760" y="11461"/>
                    <a:pt x="6760" y="11461"/>
                  </a:cubicBezTo>
                  <a:cubicBezTo>
                    <a:pt x="6756" y="11510"/>
                    <a:pt x="6756" y="11510"/>
                    <a:pt x="6756" y="11510"/>
                  </a:cubicBezTo>
                  <a:cubicBezTo>
                    <a:pt x="6946" y="11530"/>
                    <a:pt x="6946" y="11530"/>
                    <a:pt x="6946" y="11530"/>
                  </a:cubicBezTo>
                  <a:cubicBezTo>
                    <a:pt x="6953" y="11531"/>
                    <a:pt x="6953" y="11531"/>
                    <a:pt x="6953" y="11531"/>
                  </a:cubicBezTo>
                  <a:cubicBezTo>
                    <a:pt x="6960" y="11456"/>
                    <a:pt x="6960" y="11456"/>
                    <a:pt x="6960" y="11456"/>
                  </a:cubicBezTo>
                  <a:cubicBezTo>
                    <a:pt x="6884" y="11449"/>
                    <a:pt x="6884" y="11449"/>
                    <a:pt x="6884" y="11449"/>
                  </a:cubicBezTo>
                  <a:lnTo>
                    <a:pt x="6891" y="11376"/>
                  </a:lnTo>
                  <a:close/>
                  <a:moveTo>
                    <a:pt x="6946" y="11467"/>
                  </a:moveTo>
                  <a:cubicBezTo>
                    <a:pt x="6941" y="11517"/>
                    <a:pt x="6941" y="11517"/>
                    <a:pt x="6941" y="11517"/>
                  </a:cubicBezTo>
                  <a:cubicBezTo>
                    <a:pt x="6770" y="11498"/>
                    <a:pt x="6770" y="11498"/>
                    <a:pt x="6770" y="11498"/>
                  </a:cubicBezTo>
                  <a:cubicBezTo>
                    <a:pt x="6774" y="11449"/>
                    <a:pt x="6774" y="11449"/>
                    <a:pt x="6774" y="11449"/>
                  </a:cubicBezTo>
                  <a:cubicBezTo>
                    <a:pt x="6768" y="11448"/>
                    <a:pt x="6768" y="11448"/>
                    <a:pt x="6768" y="11448"/>
                  </a:cubicBezTo>
                  <a:cubicBezTo>
                    <a:pt x="6756" y="11447"/>
                    <a:pt x="6756" y="11447"/>
                    <a:pt x="6756" y="11447"/>
                  </a:cubicBezTo>
                  <a:cubicBezTo>
                    <a:pt x="6763" y="11377"/>
                    <a:pt x="6763" y="11377"/>
                    <a:pt x="6763" y="11377"/>
                  </a:cubicBezTo>
                  <a:cubicBezTo>
                    <a:pt x="6877" y="11388"/>
                    <a:pt x="6877" y="11388"/>
                    <a:pt x="6877" y="11388"/>
                  </a:cubicBezTo>
                  <a:cubicBezTo>
                    <a:pt x="6870" y="11460"/>
                    <a:pt x="6870" y="11460"/>
                    <a:pt x="6870" y="11460"/>
                  </a:cubicBezTo>
                  <a:lnTo>
                    <a:pt x="6946" y="11467"/>
                  </a:lnTo>
                  <a:close/>
                  <a:moveTo>
                    <a:pt x="7196" y="12624"/>
                  </a:moveTo>
                  <a:cubicBezTo>
                    <a:pt x="7190" y="12697"/>
                    <a:pt x="7190" y="12697"/>
                    <a:pt x="7190" y="12697"/>
                  </a:cubicBezTo>
                  <a:cubicBezTo>
                    <a:pt x="7114" y="12690"/>
                    <a:pt x="7114" y="12690"/>
                    <a:pt x="7114" y="12690"/>
                  </a:cubicBezTo>
                  <a:cubicBezTo>
                    <a:pt x="7108" y="12759"/>
                    <a:pt x="7108" y="12759"/>
                    <a:pt x="7108" y="12759"/>
                  </a:cubicBezTo>
                  <a:cubicBezTo>
                    <a:pt x="7108" y="12766"/>
                    <a:pt x="7108" y="12766"/>
                    <a:pt x="7108" y="12766"/>
                  </a:cubicBezTo>
                  <a:cubicBezTo>
                    <a:pt x="7306" y="12780"/>
                    <a:pt x="7306" y="12780"/>
                    <a:pt x="7306" y="12780"/>
                  </a:cubicBezTo>
                  <a:cubicBezTo>
                    <a:pt x="7310" y="12731"/>
                    <a:pt x="7310" y="12731"/>
                    <a:pt x="7310" y="12731"/>
                  </a:cubicBezTo>
                  <a:cubicBezTo>
                    <a:pt x="7328" y="12732"/>
                    <a:pt x="7328" y="12732"/>
                    <a:pt x="7328" y="12732"/>
                  </a:cubicBezTo>
                  <a:cubicBezTo>
                    <a:pt x="7337" y="12636"/>
                    <a:pt x="7337" y="12636"/>
                    <a:pt x="7337" y="12636"/>
                  </a:cubicBezTo>
                  <a:lnTo>
                    <a:pt x="7196" y="12624"/>
                  </a:lnTo>
                  <a:close/>
                  <a:moveTo>
                    <a:pt x="7316" y="12718"/>
                  </a:moveTo>
                  <a:cubicBezTo>
                    <a:pt x="7298" y="12716"/>
                    <a:pt x="7298" y="12716"/>
                    <a:pt x="7298" y="12716"/>
                  </a:cubicBezTo>
                  <a:cubicBezTo>
                    <a:pt x="7294" y="12766"/>
                    <a:pt x="7294" y="12766"/>
                    <a:pt x="7294" y="12766"/>
                  </a:cubicBezTo>
                  <a:cubicBezTo>
                    <a:pt x="7122" y="12754"/>
                    <a:pt x="7122" y="12754"/>
                    <a:pt x="7122" y="12754"/>
                  </a:cubicBezTo>
                  <a:cubicBezTo>
                    <a:pt x="7126" y="12704"/>
                    <a:pt x="7126" y="12704"/>
                    <a:pt x="7126" y="12704"/>
                  </a:cubicBezTo>
                  <a:cubicBezTo>
                    <a:pt x="7202" y="12711"/>
                    <a:pt x="7202" y="12711"/>
                    <a:pt x="7202" y="12711"/>
                  </a:cubicBezTo>
                  <a:cubicBezTo>
                    <a:pt x="7208" y="12638"/>
                    <a:pt x="7208" y="12638"/>
                    <a:pt x="7208" y="12638"/>
                  </a:cubicBezTo>
                  <a:cubicBezTo>
                    <a:pt x="7322" y="12648"/>
                    <a:pt x="7322" y="12648"/>
                    <a:pt x="7322" y="12648"/>
                  </a:cubicBezTo>
                  <a:lnTo>
                    <a:pt x="7316" y="12718"/>
                  </a:lnTo>
                  <a:close/>
                  <a:moveTo>
                    <a:pt x="7463" y="12397"/>
                  </a:moveTo>
                  <a:cubicBezTo>
                    <a:pt x="7481" y="12398"/>
                    <a:pt x="7481" y="12398"/>
                    <a:pt x="7481" y="12398"/>
                  </a:cubicBezTo>
                  <a:cubicBezTo>
                    <a:pt x="7489" y="12302"/>
                    <a:pt x="7489" y="12302"/>
                    <a:pt x="7489" y="12302"/>
                  </a:cubicBezTo>
                  <a:cubicBezTo>
                    <a:pt x="7349" y="12290"/>
                    <a:pt x="7349" y="12290"/>
                    <a:pt x="7349" y="12290"/>
                  </a:cubicBezTo>
                  <a:cubicBezTo>
                    <a:pt x="7342" y="12363"/>
                    <a:pt x="7342" y="12363"/>
                    <a:pt x="7342" y="12363"/>
                  </a:cubicBezTo>
                  <a:cubicBezTo>
                    <a:pt x="7267" y="12356"/>
                    <a:pt x="7267" y="12356"/>
                    <a:pt x="7267" y="12356"/>
                  </a:cubicBezTo>
                  <a:cubicBezTo>
                    <a:pt x="7261" y="12425"/>
                    <a:pt x="7261" y="12425"/>
                    <a:pt x="7261" y="12425"/>
                  </a:cubicBezTo>
                  <a:cubicBezTo>
                    <a:pt x="7260" y="12432"/>
                    <a:pt x="7260" y="12432"/>
                    <a:pt x="7260" y="12432"/>
                  </a:cubicBezTo>
                  <a:cubicBezTo>
                    <a:pt x="7458" y="12446"/>
                    <a:pt x="7458" y="12446"/>
                    <a:pt x="7458" y="12446"/>
                  </a:cubicBezTo>
                  <a:lnTo>
                    <a:pt x="7463" y="12397"/>
                  </a:lnTo>
                  <a:close/>
                  <a:moveTo>
                    <a:pt x="7446" y="12432"/>
                  </a:moveTo>
                  <a:cubicBezTo>
                    <a:pt x="7275" y="12419"/>
                    <a:pt x="7275" y="12419"/>
                    <a:pt x="7275" y="12419"/>
                  </a:cubicBezTo>
                  <a:cubicBezTo>
                    <a:pt x="7279" y="12370"/>
                    <a:pt x="7279" y="12370"/>
                    <a:pt x="7279" y="12370"/>
                  </a:cubicBezTo>
                  <a:cubicBezTo>
                    <a:pt x="7354" y="12377"/>
                    <a:pt x="7354" y="12377"/>
                    <a:pt x="7354" y="12377"/>
                  </a:cubicBezTo>
                  <a:cubicBezTo>
                    <a:pt x="7361" y="12304"/>
                    <a:pt x="7361" y="12304"/>
                    <a:pt x="7361" y="12304"/>
                  </a:cubicBezTo>
                  <a:cubicBezTo>
                    <a:pt x="7475" y="12314"/>
                    <a:pt x="7475" y="12314"/>
                    <a:pt x="7475" y="12314"/>
                  </a:cubicBezTo>
                  <a:cubicBezTo>
                    <a:pt x="7469" y="12384"/>
                    <a:pt x="7469" y="12384"/>
                    <a:pt x="7469" y="12384"/>
                  </a:cubicBezTo>
                  <a:cubicBezTo>
                    <a:pt x="7451" y="12382"/>
                    <a:pt x="7451" y="12382"/>
                    <a:pt x="7451" y="12382"/>
                  </a:cubicBezTo>
                  <a:lnTo>
                    <a:pt x="7446" y="12432"/>
                  </a:lnTo>
                  <a:close/>
                  <a:moveTo>
                    <a:pt x="7649" y="12065"/>
                  </a:moveTo>
                  <a:cubicBezTo>
                    <a:pt x="7667" y="12066"/>
                    <a:pt x="7667" y="12066"/>
                    <a:pt x="7667" y="12066"/>
                  </a:cubicBezTo>
                  <a:cubicBezTo>
                    <a:pt x="7676" y="11970"/>
                    <a:pt x="7676" y="11970"/>
                    <a:pt x="7676" y="11970"/>
                  </a:cubicBezTo>
                  <a:cubicBezTo>
                    <a:pt x="7535" y="11958"/>
                    <a:pt x="7535" y="11958"/>
                    <a:pt x="7535" y="11958"/>
                  </a:cubicBezTo>
                  <a:cubicBezTo>
                    <a:pt x="7529" y="12030"/>
                    <a:pt x="7529" y="12030"/>
                    <a:pt x="7529" y="12030"/>
                  </a:cubicBezTo>
                  <a:cubicBezTo>
                    <a:pt x="7453" y="12024"/>
                    <a:pt x="7453" y="12024"/>
                    <a:pt x="7453" y="12024"/>
                  </a:cubicBezTo>
                  <a:cubicBezTo>
                    <a:pt x="7448" y="12093"/>
                    <a:pt x="7448" y="12093"/>
                    <a:pt x="7448" y="12093"/>
                  </a:cubicBezTo>
                  <a:cubicBezTo>
                    <a:pt x="7447" y="12100"/>
                    <a:pt x="7447" y="12100"/>
                    <a:pt x="7447" y="12100"/>
                  </a:cubicBezTo>
                  <a:cubicBezTo>
                    <a:pt x="7645" y="12114"/>
                    <a:pt x="7645" y="12114"/>
                    <a:pt x="7645" y="12114"/>
                  </a:cubicBezTo>
                  <a:lnTo>
                    <a:pt x="7649" y="12065"/>
                  </a:lnTo>
                  <a:close/>
                  <a:moveTo>
                    <a:pt x="7633" y="12100"/>
                  </a:moveTo>
                  <a:cubicBezTo>
                    <a:pt x="7461" y="12087"/>
                    <a:pt x="7461" y="12087"/>
                    <a:pt x="7461" y="12087"/>
                  </a:cubicBezTo>
                  <a:cubicBezTo>
                    <a:pt x="7465" y="12038"/>
                    <a:pt x="7465" y="12038"/>
                    <a:pt x="7465" y="12038"/>
                  </a:cubicBezTo>
                  <a:cubicBezTo>
                    <a:pt x="7541" y="12045"/>
                    <a:pt x="7541" y="12045"/>
                    <a:pt x="7541" y="12045"/>
                  </a:cubicBezTo>
                  <a:cubicBezTo>
                    <a:pt x="7547" y="11972"/>
                    <a:pt x="7547" y="11972"/>
                    <a:pt x="7547" y="11972"/>
                  </a:cubicBezTo>
                  <a:cubicBezTo>
                    <a:pt x="7662" y="11982"/>
                    <a:pt x="7662" y="11982"/>
                    <a:pt x="7662" y="11982"/>
                  </a:cubicBezTo>
                  <a:cubicBezTo>
                    <a:pt x="7655" y="12052"/>
                    <a:pt x="7655" y="12052"/>
                    <a:pt x="7655" y="12052"/>
                  </a:cubicBezTo>
                  <a:cubicBezTo>
                    <a:pt x="7637" y="12050"/>
                    <a:pt x="7637" y="12050"/>
                    <a:pt x="7637" y="12050"/>
                  </a:cubicBezTo>
                  <a:lnTo>
                    <a:pt x="7633" y="12100"/>
                  </a:lnTo>
                  <a:close/>
                  <a:moveTo>
                    <a:pt x="7758" y="11769"/>
                  </a:moveTo>
                  <a:cubicBezTo>
                    <a:pt x="7776" y="11771"/>
                    <a:pt x="7776" y="11771"/>
                    <a:pt x="7776" y="11771"/>
                  </a:cubicBezTo>
                  <a:cubicBezTo>
                    <a:pt x="7784" y="11675"/>
                    <a:pt x="7784" y="11675"/>
                    <a:pt x="7784" y="11675"/>
                  </a:cubicBezTo>
                  <a:cubicBezTo>
                    <a:pt x="7644" y="11662"/>
                    <a:pt x="7644" y="11662"/>
                    <a:pt x="7644" y="11662"/>
                  </a:cubicBezTo>
                  <a:cubicBezTo>
                    <a:pt x="7638" y="11735"/>
                    <a:pt x="7638" y="11735"/>
                    <a:pt x="7638" y="11735"/>
                  </a:cubicBezTo>
                  <a:cubicBezTo>
                    <a:pt x="7562" y="11729"/>
                    <a:pt x="7562" y="11729"/>
                    <a:pt x="7562" y="11729"/>
                  </a:cubicBezTo>
                  <a:cubicBezTo>
                    <a:pt x="7556" y="11798"/>
                    <a:pt x="7556" y="11798"/>
                    <a:pt x="7556" y="11798"/>
                  </a:cubicBezTo>
                  <a:cubicBezTo>
                    <a:pt x="7556" y="11804"/>
                    <a:pt x="7556" y="11804"/>
                    <a:pt x="7556" y="11804"/>
                  </a:cubicBezTo>
                  <a:cubicBezTo>
                    <a:pt x="7754" y="11819"/>
                    <a:pt x="7754" y="11819"/>
                    <a:pt x="7754" y="11819"/>
                  </a:cubicBezTo>
                  <a:lnTo>
                    <a:pt x="7758" y="11769"/>
                  </a:lnTo>
                  <a:close/>
                  <a:moveTo>
                    <a:pt x="7742" y="11805"/>
                  </a:moveTo>
                  <a:cubicBezTo>
                    <a:pt x="7570" y="11792"/>
                    <a:pt x="7570" y="11792"/>
                    <a:pt x="7570" y="11792"/>
                  </a:cubicBezTo>
                  <a:cubicBezTo>
                    <a:pt x="7574" y="11743"/>
                    <a:pt x="7574" y="11743"/>
                    <a:pt x="7574" y="11743"/>
                  </a:cubicBezTo>
                  <a:cubicBezTo>
                    <a:pt x="7649" y="11750"/>
                    <a:pt x="7649" y="11750"/>
                    <a:pt x="7649" y="11750"/>
                  </a:cubicBezTo>
                  <a:cubicBezTo>
                    <a:pt x="7656" y="11677"/>
                    <a:pt x="7656" y="11677"/>
                    <a:pt x="7656" y="11677"/>
                  </a:cubicBezTo>
                  <a:cubicBezTo>
                    <a:pt x="7770" y="11687"/>
                    <a:pt x="7770" y="11687"/>
                    <a:pt x="7770" y="11687"/>
                  </a:cubicBezTo>
                  <a:cubicBezTo>
                    <a:pt x="7764" y="11757"/>
                    <a:pt x="7764" y="11757"/>
                    <a:pt x="7764" y="11757"/>
                  </a:cubicBezTo>
                  <a:cubicBezTo>
                    <a:pt x="7746" y="11755"/>
                    <a:pt x="7746" y="11755"/>
                    <a:pt x="7746" y="11755"/>
                  </a:cubicBezTo>
                  <a:lnTo>
                    <a:pt x="7742" y="11805"/>
                  </a:lnTo>
                  <a:close/>
                  <a:moveTo>
                    <a:pt x="3296" y="17064"/>
                  </a:moveTo>
                  <a:cubicBezTo>
                    <a:pt x="3288" y="17073"/>
                    <a:pt x="3288" y="17073"/>
                    <a:pt x="3288" y="17073"/>
                  </a:cubicBezTo>
                  <a:cubicBezTo>
                    <a:pt x="3252" y="17038"/>
                    <a:pt x="3252" y="17038"/>
                    <a:pt x="3252" y="17038"/>
                  </a:cubicBezTo>
                  <a:cubicBezTo>
                    <a:pt x="3116" y="17173"/>
                    <a:pt x="3116" y="17173"/>
                    <a:pt x="3116" y="17173"/>
                  </a:cubicBezTo>
                  <a:cubicBezTo>
                    <a:pt x="3111" y="17178"/>
                    <a:pt x="3111" y="17178"/>
                    <a:pt x="3111" y="17178"/>
                  </a:cubicBezTo>
                  <a:cubicBezTo>
                    <a:pt x="3166" y="17231"/>
                    <a:pt x="3166" y="17231"/>
                    <a:pt x="3166" y="17231"/>
                  </a:cubicBezTo>
                  <a:cubicBezTo>
                    <a:pt x="3219" y="17177"/>
                    <a:pt x="3219" y="17177"/>
                    <a:pt x="3219" y="17177"/>
                  </a:cubicBezTo>
                  <a:cubicBezTo>
                    <a:pt x="3271" y="17228"/>
                    <a:pt x="3271" y="17228"/>
                    <a:pt x="3271" y="17228"/>
                  </a:cubicBezTo>
                  <a:cubicBezTo>
                    <a:pt x="3370" y="17127"/>
                    <a:pt x="3370" y="17127"/>
                    <a:pt x="3370" y="17127"/>
                  </a:cubicBezTo>
                  <a:cubicBezTo>
                    <a:pt x="3301" y="17060"/>
                    <a:pt x="3301" y="17060"/>
                    <a:pt x="3301" y="17060"/>
                  </a:cubicBezTo>
                  <a:lnTo>
                    <a:pt x="3296" y="17064"/>
                  </a:lnTo>
                  <a:close/>
                  <a:moveTo>
                    <a:pt x="3351" y="17128"/>
                  </a:moveTo>
                  <a:cubicBezTo>
                    <a:pt x="3271" y="17210"/>
                    <a:pt x="3271" y="17210"/>
                    <a:pt x="3271" y="17210"/>
                  </a:cubicBezTo>
                  <a:cubicBezTo>
                    <a:pt x="3218" y="17158"/>
                    <a:pt x="3218" y="17158"/>
                    <a:pt x="3218" y="17158"/>
                  </a:cubicBezTo>
                  <a:cubicBezTo>
                    <a:pt x="3165" y="17212"/>
                    <a:pt x="3165" y="17212"/>
                    <a:pt x="3165" y="17212"/>
                  </a:cubicBezTo>
                  <a:cubicBezTo>
                    <a:pt x="3130" y="17178"/>
                    <a:pt x="3130" y="17178"/>
                    <a:pt x="3130" y="17178"/>
                  </a:cubicBezTo>
                  <a:cubicBezTo>
                    <a:pt x="3253" y="17057"/>
                    <a:pt x="3253" y="17057"/>
                    <a:pt x="3253" y="17057"/>
                  </a:cubicBezTo>
                  <a:cubicBezTo>
                    <a:pt x="3288" y="17091"/>
                    <a:pt x="3288" y="17091"/>
                    <a:pt x="3288" y="17091"/>
                  </a:cubicBezTo>
                  <a:cubicBezTo>
                    <a:pt x="3293" y="17087"/>
                    <a:pt x="3293" y="17087"/>
                    <a:pt x="3293" y="17087"/>
                  </a:cubicBezTo>
                  <a:cubicBezTo>
                    <a:pt x="3301" y="17078"/>
                    <a:pt x="3301" y="17078"/>
                    <a:pt x="3301" y="17078"/>
                  </a:cubicBezTo>
                  <a:lnTo>
                    <a:pt x="3351" y="17128"/>
                  </a:lnTo>
                  <a:close/>
                  <a:moveTo>
                    <a:pt x="4922" y="17299"/>
                  </a:moveTo>
                  <a:cubicBezTo>
                    <a:pt x="4838" y="17251"/>
                    <a:pt x="4838" y="17251"/>
                    <a:pt x="4838" y="17251"/>
                  </a:cubicBezTo>
                  <a:cubicBezTo>
                    <a:pt x="4768" y="17374"/>
                    <a:pt x="4768" y="17374"/>
                    <a:pt x="4768" y="17374"/>
                  </a:cubicBezTo>
                  <a:cubicBezTo>
                    <a:pt x="4831" y="17410"/>
                    <a:pt x="4831" y="17410"/>
                    <a:pt x="4831" y="17410"/>
                  </a:cubicBezTo>
                  <a:cubicBezTo>
                    <a:pt x="4794" y="17476"/>
                    <a:pt x="4794" y="17476"/>
                    <a:pt x="4794" y="17476"/>
                  </a:cubicBezTo>
                  <a:cubicBezTo>
                    <a:pt x="4854" y="17510"/>
                    <a:pt x="4854" y="17510"/>
                    <a:pt x="4854" y="17510"/>
                  </a:cubicBezTo>
                  <a:cubicBezTo>
                    <a:pt x="4860" y="17513"/>
                    <a:pt x="4860" y="17513"/>
                    <a:pt x="4860" y="17513"/>
                  </a:cubicBezTo>
                  <a:cubicBezTo>
                    <a:pt x="4956" y="17340"/>
                    <a:pt x="4956" y="17340"/>
                    <a:pt x="4956" y="17340"/>
                  </a:cubicBezTo>
                  <a:cubicBezTo>
                    <a:pt x="4913" y="17315"/>
                    <a:pt x="4913" y="17315"/>
                    <a:pt x="4913" y="17315"/>
                  </a:cubicBezTo>
                  <a:lnTo>
                    <a:pt x="4922" y="17299"/>
                  </a:lnTo>
                  <a:close/>
                  <a:moveTo>
                    <a:pt x="4938" y="17345"/>
                  </a:moveTo>
                  <a:cubicBezTo>
                    <a:pt x="4854" y="17495"/>
                    <a:pt x="4854" y="17495"/>
                    <a:pt x="4854" y="17495"/>
                  </a:cubicBezTo>
                  <a:cubicBezTo>
                    <a:pt x="4812" y="17471"/>
                    <a:pt x="4812" y="17471"/>
                    <a:pt x="4812" y="17471"/>
                  </a:cubicBezTo>
                  <a:cubicBezTo>
                    <a:pt x="4849" y="17405"/>
                    <a:pt x="4849" y="17405"/>
                    <a:pt x="4849" y="17405"/>
                  </a:cubicBezTo>
                  <a:cubicBezTo>
                    <a:pt x="4786" y="17369"/>
                    <a:pt x="4786" y="17369"/>
                    <a:pt x="4786" y="17369"/>
                  </a:cubicBezTo>
                  <a:cubicBezTo>
                    <a:pt x="4843" y="17269"/>
                    <a:pt x="4843" y="17269"/>
                    <a:pt x="4843" y="17269"/>
                  </a:cubicBezTo>
                  <a:cubicBezTo>
                    <a:pt x="4904" y="17304"/>
                    <a:pt x="4904" y="17304"/>
                    <a:pt x="4904" y="17304"/>
                  </a:cubicBezTo>
                  <a:cubicBezTo>
                    <a:pt x="4895" y="17320"/>
                    <a:pt x="4895" y="17320"/>
                    <a:pt x="4895" y="17320"/>
                  </a:cubicBezTo>
                  <a:lnTo>
                    <a:pt x="4938" y="17345"/>
                  </a:lnTo>
                  <a:close/>
                  <a:moveTo>
                    <a:pt x="53" y="12834"/>
                  </a:moveTo>
                  <a:cubicBezTo>
                    <a:pt x="73" y="12740"/>
                    <a:pt x="73" y="12740"/>
                    <a:pt x="73" y="12740"/>
                  </a:cubicBezTo>
                  <a:cubicBezTo>
                    <a:pt x="4" y="12727"/>
                    <a:pt x="4" y="12727"/>
                    <a:pt x="4" y="12727"/>
                  </a:cubicBezTo>
                  <a:cubicBezTo>
                    <a:pt x="4" y="12714"/>
                    <a:pt x="4" y="12714"/>
                    <a:pt x="4" y="12714"/>
                  </a:cubicBezTo>
                  <a:cubicBezTo>
                    <a:pt x="89" y="12729"/>
                    <a:pt x="89" y="12729"/>
                    <a:pt x="89" y="12729"/>
                  </a:cubicBezTo>
                  <a:cubicBezTo>
                    <a:pt x="63" y="12850"/>
                    <a:pt x="63" y="12850"/>
                    <a:pt x="63" y="12850"/>
                  </a:cubicBezTo>
                  <a:cubicBezTo>
                    <a:pt x="57" y="12848"/>
                    <a:pt x="57" y="12848"/>
                    <a:pt x="57" y="12848"/>
                  </a:cubicBezTo>
                  <a:cubicBezTo>
                    <a:pt x="7" y="12839"/>
                    <a:pt x="7" y="12839"/>
                    <a:pt x="7" y="12839"/>
                  </a:cubicBezTo>
                  <a:cubicBezTo>
                    <a:pt x="4" y="12854"/>
                    <a:pt x="4" y="12854"/>
                    <a:pt x="4" y="12854"/>
                  </a:cubicBezTo>
                  <a:cubicBezTo>
                    <a:pt x="4" y="12825"/>
                    <a:pt x="4" y="12825"/>
                    <a:pt x="4" y="12825"/>
                  </a:cubicBezTo>
                  <a:lnTo>
                    <a:pt x="53" y="12834"/>
                  </a:lnTo>
                  <a:close/>
                  <a:moveTo>
                    <a:pt x="2340" y="15266"/>
                  </a:moveTo>
                  <a:cubicBezTo>
                    <a:pt x="2398" y="15265"/>
                    <a:pt x="2398" y="15265"/>
                    <a:pt x="2398" y="15265"/>
                  </a:cubicBezTo>
                  <a:cubicBezTo>
                    <a:pt x="2398" y="15338"/>
                    <a:pt x="2398" y="15338"/>
                    <a:pt x="2398" y="15338"/>
                  </a:cubicBezTo>
                  <a:cubicBezTo>
                    <a:pt x="2508" y="15338"/>
                    <a:pt x="2508" y="15338"/>
                    <a:pt x="2508" y="15338"/>
                  </a:cubicBezTo>
                  <a:cubicBezTo>
                    <a:pt x="2506" y="15152"/>
                    <a:pt x="2506" y="15152"/>
                    <a:pt x="2506" y="15152"/>
                  </a:cubicBezTo>
                  <a:cubicBezTo>
                    <a:pt x="2454" y="15152"/>
                    <a:pt x="2454" y="15152"/>
                    <a:pt x="2454" y="15152"/>
                  </a:cubicBezTo>
                  <a:cubicBezTo>
                    <a:pt x="2454" y="15142"/>
                    <a:pt x="2454" y="15142"/>
                    <a:pt x="2454" y="15142"/>
                  </a:cubicBezTo>
                  <a:cubicBezTo>
                    <a:pt x="2337" y="15143"/>
                    <a:pt x="2337" y="15143"/>
                    <a:pt x="2337" y="15143"/>
                  </a:cubicBezTo>
                  <a:cubicBezTo>
                    <a:pt x="2340" y="15259"/>
                    <a:pt x="2340" y="15259"/>
                    <a:pt x="2340" y="15259"/>
                  </a:cubicBezTo>
                  <a:lnTo>
                    <a:pt x="2340" y="15266"/>
                  </a:lnTo>
                  <a:close/>
                  <a:moveTo>
                    <a:pt x="2441" y="15155"/>
                  </a:moveTo>
                  <a:cubicBezTo>
                    <a:pt x="2441" y="15166"/>
                    <a:pt x="2441" y="15166"/>
                    <a:pt x="2441" y="15166"/>
                  </a:cubicBezTo>
                  <a:cubicBezTo>
                    <a:pt x="2493" y="15165"/>
                    <a:pt x="2493" y="15165"/>
                    <a:pt x="2493" y="15165"/>
                  </a:cubicBezTo>
                  <a:cubicBezTo>
                    <a:pt x="2495" y="15325"/>
                    <a:pt x="2495" y="15325"/>
                    <a:pt x="2495" y="15325"/>
                  </a:cubicBezTo>
                  <a:cubicBezTo>
                    <a:pt x="2411" y="15325"/>
                    <a:pt x="2411" y="15325"/>
                    <a:pt x="2411" y="15325"/>
                  </a:cubicBezTo>
                  <a:cubicBezTo>
                    <a:pt x="2411" y="15252"/>
                    <a:pt x="2411" y="15252"/>
                    <a:pt x="2411" y="15252"/>
                  </a:cubicBezTo>
                  <a:cubicBezTo>
                    <a:pt x="2353" y="15252"/>
                    <a:pt x="2353" y="15252"/>
                    <a:pt x="2353" y="15252"/>
                  </a:cubicBezTo>
                  <a:cubicBezTo>
                    <a:pt x="2350" y="15156"/>
                    <a:pt x="2350" y="15156"/>
                    <a:pt x="2350" y="15156"/>
                  </a:cubicBezTo>
                  <a:lnTo>
                    <a:pt x="2441" y="15155"/>
                  </a:lnTo>
                  <a:close/>
                  <a:moveTo>
                    <a:pt x="4350" y="15869"/>
                  </a:moveTo>
                  <a:cubicBezTo>
                    <a:pt x="4165" y="15860"/>
                    <a:pt x="4165" y="15860"/>
                    <a:pt x="4165" y="15860"/>
                  </a:cubicBezTo>
                  <a:cubicBezTo>
                    <a:pt x="4163" y="15912"/>
                    <a:pt x="4163" y="15912"/>
                    <a:pt x="4163" y="15912"/>
                  </a:cubicBezTo>
                  <a:cubicBezTo>
                    <a:pt x="4152" y="15911"/>
                    <a:pt x="4152" y="15911"/>
                    <a:pt x="4152" y="15911"/>
                  </a:cubicBezTo>
                  <a:cubicBezTo>
                    <a:pt x="4146" y="16029"/>
                    <a:pt x="4146" y="16029"/>
                    <a:pt x="4146" y="16029"/>
                  </a:cubicBezTo>
                  <a:cubicBezTo>
                    <a:pt x="4263" y="16032"/>
                    <a:pt x="4263" y="16032"/>
                    <a:pt x="4263" y="16032"/>
                  </a:cubicBezTo>
                  <a:cubicBezTo>
                    <a:pt x="4269" y="16032"/>
                    <a:pt x="4269" y="16032"/>
                    <a:pt x="4269" y="16032"/>
                  </a:cubicBezTo>
                  <a:cubicBezTo>
                    <a:pt x="4272" y="15975"/>
                    <a:pt x="4272" y="15975"/>
                    <a:pt x="4272" y="15975"/>
                  </a:cubicBezTo>
                  <a:cubicBezTo>
                    <a:pt x="4345" y="15979"/>
                    <a:pt x="4345" y="15979"/>
                    <a:pt x="4345" y="15979"/>
                  </a:cubicBezTo>
                  <a:lnTo>
                    <a:pt x="4350" y="15869"/>
                  </a:lnTo>
                  <a:close/>
                  <a:moveTo>
                    <a:pt x="4333" y="15965"/>
                  </a:moveTo>
                  <a:cubicBezTo>
                    <a:pt x="4259" y="15961"/>
                    <a:pt x="4259" y="15961"/>
                    <a:pt x="4259" y="15961"/>
                  </a:cubicBezTo>
                  <a:cubicBezTo>
                    <a:pt x="4257" y="16019"/>
                    <a:pt x="4257" y="16019"/>
                    <a:pt x="4257" y="16019"/>
                  </a:cubicBezTo>
                  <a:cubicBezTo>
                    <a:pt x="4160" y="16016"/>
                    <a:pt x="4160" y="16016"/>
                    <a:pt x="4160" y="16016"/>
                  </a:cubicBezTo>
                  <a:cubicBezTo>
                    <a:pt x="4165" y="15925"/>
                    <a:pt x="4165" y="15925"/>
                    <a:pt x="4165" y="15925"/>
                  </a:cubicBezTo>
                  <a:cubicBezTo>
                    <a:pt x="4175" y="15926"/>
                    <a:pt x="4175" y="15926"/>
                    <a:pt x="4175" y="15926"/>
                  </a:cubicBezTo>
                  <a:cubicBezTo>
                    <a:pt x="4178" y="15873"/>
                    <a:pt x="4178" y="15873"/>
                    <a:pt x="4178" y="15873"/>
                  </a:cubicBezTo>
                  <a:cubicBezTo>
                    <a:pt x="4337" y="15881"/>
                    <a:pt x="4337" y="15881"/>
                    <a:pt x="4337" y="15881"/>
                  </a:cubicBezTo>
                  <a:lnTo>
                    <a:pt x="4333" y="15965"/>
                  </a:lnTo>
                  <a:close/>
                  <a:moveTo>
                    <a:pt x="3286" y="16324"/>
                  </a:moveTo>
                  <a:cubicBezTo>
                    <a:pt x="3343" y="16324"/>
                    <a:pt x="3343" y="16324"/>
                    <a:pt x="3343" y="16324"/>
                  </a:cubicBezTo>
                  <a:cubicBezTo>
                    <a:pt x="3343" y="16397"/>
                    <a:pt x="3343" y="16397"/>
                    <a:pt x="3343" y="16397"/>
                  </a:cubicBezTo>
                  <a:cubicBezTo>
                    <a:pt x="3453" y="16396"/>
                    <a:pt x="3453" y="16396"/>
                    <a:pt x="3453" y="16396"/>
                  </a:cubicBezTo>
                  <a:cubicBezTo>
                    <a:pt x="3452" y="16211"/>
                    <a:pt x="3452" y="16211"/>
                    <a:pt x="3452" y="16211"/>
                  </a:cubicBezTo>
                  <a:cubicBezTo>
                    <a:pt x="3400" y="16211"/>
                    <a:pt x="3400" y="16211"/>
                    <a:pt x="3400" y="16211"/>
                  </a:cubicBezTo>
                  <a:cubicBezTo>
                    <a:pt x="3399" y="16201"/>
                    <a:pt x="3399" y="16201"/>
                    <a:pt x="3399" y="16201"/>
                  </a:cubicBezTo>
                  <a:cubicBezTo>
                    <a:pt x="3282" y="16201"/>
                    <a:pt x="3282" y="16201"/>
                    <a:pt x="3282" y="16201"/>
                  </a:cubicBezTo>
                  <a:cubicBezTo>
                    <a:pt x="3285" y="16318"/>
                    <a:pt x="3285" y="16318"/>
                    <a:pt x="3285" y="16318"/>
                  </a:cubicBezTo>
                  <a:lnTo>
                    <a:pt x="3286" y="16324"/>
                  </a:lnTo>
                  <a:close/>
                  <a:moveTo>
                    <a:pt x="3386" y="16214"/>
                  </a:moveTo>
                  <a:cubicBezTo>
                    <a:pt x="3387" y="16224"/>
                    <a:pt x="3387" y="16224"/>
                    <a:pt x="3387" y="16224"/>
                  </a:cubicBezTo>
                  <a:cubicBezTo>
                    <a:pt x="3439" y="16224"/>
                    <a:pt x="3439" y="16224"/>
                    <a:pt x="3439" y="16224"/>
                  </a:cubicBezTo>
                  <a:cubicBezTo>
                    <a:pt x="3440" y="16383"/>
                    <a:pt x="3440" y="16383"/>
                    <a:pt x="3440" y="16383"/>
                  </a:cubicBezTo>
                  <a:cubicBezTo>
                    <a:pt x="3356" y="16384"/>
                    <a:pt x="3356" y="16384"/>
                    <a:pt x="3356" y="16384"/>
                  </a:cubicBezTo>
                  <a:cubicBezTo>
                    <a:pt x="3356" y="16311"/>
                    <a:pt x="3356" y="16311"/>
                    <a:pt x="3356" y="16311"/>
                  </a:cubicBezTo>
                  <a:cubicBezTo>
                    <a:pt x="3298" y="16311"/>
                    <a:pt x="3298" y="16311"/>
                    <a:pt x="3298" y="16311"/>
                  </a:cubicBezTo>
                  <a:cubicBezTo>
                    <a:pt x="3295" y="16214"/>
                    <a:pt x="3295" y="16214"/>
                    <a:pt x="3295" y="16214"/>
                  </a:cubicBezTo>
                  <a:lnTo>
                    <a:pt x="3386" y="16214"/>
                  </a:lnTo>
                  <a:close/>
                  <a:moveTo>
                    <a:pt x="6886" y="16914"/>
                  </a:moveTo>
                  <a:cubicBezTo>
                    <a:pt x="6834" y="16914"/>
                    <a:pt x="6834" y="16914"/>
                    <a:pt x="6834" y="16914"/>
                  </a:cubicBezTo>
                  <a:cubicBezTo>
                    <a:pt x="6834" y="16904"/>
                    <a:pt x="6834" y="16904"/>
                    <a:pt x="6834" y="16904"/>
                  </a:cubicBezTo>
                  <a:cubicBezTo>
                    <a:pt x="6716" y="16904"/>
                    <a:pt x="6716" y="16904"/>
                    <a:pt x="6716" y="16904"/>
                  </a:cubicBezTo>
                  <a:cubicBezTo>
                    <a:pt x="6720" y="17021"/>
                    <a:pt x="6720" y="17021"/>
                    <a:pt x="6720" y="17021"/>
                  </a:cubicBezTo>
                  <a:cubicBezTo>
                    <a:pt x="6720" y="17027"/>
                    <a:pt x="6720" y="17027"/>
                    <a:pt x="6720" y="17027"/>
                  </a:cubicBezTo>
                  <a:cubicBezTo>
                    <a:pt x="6777" y="17027"/>
                    <a:pt x="6777" y="17027"/>
                    <a:pt x="6777" y="17027"/>
                  </a:cubicBezTo>
                  <a:cubicBezTo>
                    <a:pt x="6777" y="17100"/>
                    <a:pt x="6777" y="17100"/>
                    <a:pt x="6777" y="17100"/>
                  </a:cubicBezTo>
                  <a:cubicBezTo>
                    <a:pt x="6887" y="17099"/>
                    <a:pt x="6887" y="17099"/>
                    <a:pt x="6887" y="17099"/>
                  </a:cubicBezTo>
                  <a:lnTo>
                    <a:pt x="6886" y="16914"/>
                  </a:lnTo>
                  <a:close/>
                  <a:moveTo>
                    <a:pt x="6791" y="17087"/>
                  </a:moveTo>
                  <a:cubicBezTo>
                    <a:pt x="6790" y="17014"/>
                    <a:pt x="6790" y="17014"/>
                    <a:pt x="6790" y="17014"/>
                  </a:cubicBezTo>
                  <a:cubicBezTo>
                    <a:pt x="6732" y="17014"/>
                    <a:pt x="6732" y="17014"/>
                    <a:pt x="6732" y="17014"/>
                  </a:cubicBezTo>
                  <a:cubicBezTo>
                    <a:pt x="6729" y="16917"/>
                    <a:pt x="6729" y="16917"/>
                    <a:pt x="6729" y="16917"/>
                  </a:cubicBezTo>
                  <a:cubicBezTo>
                    <a:pt x="6821" y="16917"/>
                    <a:pt x="6821" y="16917"/>
                    <a:pt x="6821" y="16917"/>
                  </a:cubicBezTo>
                  <a:cubicBezTo>
                    <a:pt x="6821" y="16927"/>
                    <a:pt x="6821" y="16927"/>
                    <a:pt x="6821" y="16927"/>
                  </a:cubicBezTo>
                  <a:cubicBezTo>
                    <a:pt x="6873" y="16927"/>
                    <a:pt x="6873" y="16927"/>
                    <a:pt x="6873" y="16927"/>
                  </a:cubicBezTo>
                  <a:cubicBezTo>
                    <a:pt x="6874" y="17086"/>
                    <a:pt x="6874" y="17086"/>
                    <a:pt x="6874" y="17086"/>
                  </a:cubicBezTo>
                  <a:lnTo>
                    <a:pt x="6791" y="17087"/>
                  </a:lnTo>
                  <a:close/>
                  <a:moveTo>
                    <a:pt x="7365" y="16078"/>
                  </a:moveTo>
                  <a:cubicBezTo>
                    <a:pt x="7313" y="16078"/>
                    <a:pt x="7313" y="16078"/>
                    <a:pt x="7313" y="16078"/>
                  </a:cubicBezTo>
                  <a:cubicBezTo>
                    <a:pt x="7313" y="16068"/>
                    <a:pt x="7313" y="16068"/>
                    <a:pt x="7313" y="16068"/>
                  </a:cubicBezTo>
                  <a:cubicBezTo>
                    <a:pt x="7195" y="16069"/>
                    <a:pt x="7195" y="16069"/>
                    <a:pt x="7195" y="16069"/>
                  </a:cubicBezTo>
                  <a:cubicBezTo>
                    <a:pt x="7199" y="16185"/>
                    <a:pt x="7199" y="16185"/>
                    <a:pt x="7199" y="16185"/>
                  </a:cubicBezTo>
                  <a:cubicBezTo>
                    <a:pt x="7199" y="16192"/>
                    <a:pt x="7199" y="16192"/>
                    <a:pt x="7199" y="16192"/>
                  </a:cubicBezTo>
                  <a:cubicBezTo>
                    <a:pt x="7256" y="16191"/>
                    <a:pt x="7256" y="16191"/>
                    <a:pt x="7256" y="16191"/>
                  </a:cubicBezTo>
                  <a:cubicBezTo>
                    <a:pt x="7257" y="16264"/>
                    <a:pt x="7257" y="16264"/>
                    <a:pt x="7257" y="16264"/>
                  </a:cubicBezTo>
                  <a:cubicBezTo>
                    <a:pt x="7366" y="16263"/>
                    <a:pt x="7366" y="16263"/>
                    <a:pt x="7366" y="16263"/>
                  </a:cubicBezTo>
                  <a:lnTo>
                    <a:pt x="7365" y="16078"/>
                  </a:lnTo>
                  <a:close/>
                  <a:moveTo>
                    <a:pt x="7270" y="16251"/>
                  </a:moveTo>
                  <a:cubicBezTo>
                    <a:pt x="7269" y="16178"/>
                    <a:pt x="7269" y="16178"/>
                    <a:pt x="7269" y="16178"/>
                  </a:cubicBezTo>
                  <a:cubicBezTo>
                    <a:pt x="7212" y="16178"/>
                    <a:pt x="7212" y="16178"/>
                    <a:pt x="7212" y="16178"/>
                  </a:cubicBezTo>
                  <a:cubicBezTo>
                    <a:pt x="7209" y="16082"/>
                    <a:pt x="7209" y="16082"/>
                    <a:pt x="7209" y="16082"/>
                  </a:cubicBezTo>
                  <a:cubicBezTo>
                    <a:pt x="7300" y="16081"/>
                    <a:pt x="7300" y="16081"/>
                    <a:pt x="7300" y="16081"/>
                  </a:cubicBezTo>
                  <a:cubicBezTo>
                    <a:pt x="7300" y="16092"/>
                    <a:pt x="7300" y="16092"/>
                    <a:pt x="7300" y="16092"/>
                  </a:cubicBezTo>
                  <a:cubicBezTo>
                    <a:pt x="7352" y="16091"/>
                    <a:pt x="7352" y="16091"/>
                    <a:pt x="7352" y="16091"/>
                  </a:cubicBezTo>
                  <a:cubicBezTo>
                    <a:pt x="7353" y="16250"/>
                    <a:pt x="7353" y="16250"/>
                    <a:pt x="7353" y="16250"/>
                  </a:cubicBezTo>
                  <a:lnTo>
                    <a:pt x="7270" y="16251"/>
                  </a:lnTo>
                  <a:close/>
                  <a:moveTo>
                    <a:pt x="6278" y="17154"/>
                  </a:moveTo>
                  <a:cubicBezTo>
                    <a:pt x="6278" y="17144"/>
                    <a:pt x="6278" y="17144"/>
                    <a:pt x="6278" y="17144"/>
                  </a:cubicBezTo>
                  <a:cubicBezTo>
                    <a:pt x="6161" y="17145"/>
                    <a:pt x="6161" y="17145"/>
                    <a:pt x="6161" y="17145"/>
                  </a:cubicBezTo>
                  <a:cubicBezTo>
                    <a:pt x="6164" y="17261"/>
                    <a:pt x="6164" y="17261"/>
                    <a:pt x="6164" y="17261"/>
                  </a:cubicBezTo>
                  <a:cubicBezTo>
                    <a:pt x="6164" y="17267"/>
                    <a:pt x="6164" y="17267"/>
                    <a:pt x="6164" y="17267"/>
                  </a:cubicBezTo>
                  <a:cubicBezTo>
                    <a:pt x="6222" y="17267"/>
                    <a:pt x="6222" y="17267"/>
                    <a:pt x="6222" y="17267"/>
                  </a:cubicBezTo>
                  <a:cubicBezTo>
                    <a:pt x="6222" y="17340"/>
                    <a:pt x="6222" y="17340"/>
                    <a:pt x="6222" y="17340"/>
                  </a:cubicBezTo>
                  <a:cubicBezTo>
                    <a:pt x="6332" y="17339"/>
                    <a:pt x="6332" y="17339"/>
                    <a:pt x="6332" y="17339"/>
                  </a:cubicBezTo>
                  <a:cubicBezTo>
                    <a:pt x="6331" y="17154"/>
                    <a:pt x="6331" y="17154"/>
                    <a:pt x="6331" y="17154"/>
                  </a:cubicBezTo>
                  <a:lnTo>
                    <a:pt x="6278" y="17154"/>
                  </a:lnTo>
                  <a:close/>
                  <a:moveTo>
                    <a:pt x="6235" y="17327"/>
                  </a:moveTo>
                  <a:cubicBezTo>
                    <a:pt x="6235" y="17254"/>
                    <a:pt x="6235" y="17254"/>
                    <a:pt x="6235" y="17254"/>
                  </a:cubicBezTo>
                  <a:cubicBezTo>
                    <a:pt x="6177" y="17254"/>
                    <a:pt x="6177" y="17254"/>
                    <a:pt x="6177" y="17254"/>
                  </a:cubicBezTo>
                  <a:cubicBezTo>
                    <a:pt x="6174" y="17158"/>
                    <a:pt x="6174" y="17158"/>
                    <a:pt x="6174" y="17158"/>
                  </a:cubicBezTo>
                  <a:cubicBezTo>
                    <a:pt x="6265" y="17157"/>
                    <a:pt x="6265" y="17157"/>
                    <a:pt x="6265" y="17157"/>
                  </a:cubicBezTo>
                  <a:cubicBezTo>
                    <a:pt x="6265" y="17167"/>
                    <a:pt x="6265" y="17167"/>
                    <a:pt x="6265" y="17167"/>
                  </a:cubicBezTo>
                  <a:cubicBezTo>
                    <a:pt x="6318" y="17167"/>
                    <a:pt x="6318" y="17167"/>
                    <a:pt x="6318" y="17167"/>
                  </a:cubicBezTo>
                  <a:cubicBezTo>
                    <a:pt x="6319" y="17326"/>
                    <a:pt x="6319" y="17326"/>
                    <a:pt x="6319" y="17326"/>
                  </a:cubicBezTo>
                  <a:lnTo>
                    <a:pt x="6235" y="17327"/>
                  </a:lnTo>
                  <a:close/>
                  <a:moveTo>
                    <a:pt x="6586" y="17257"/>
                  </a:moveTo>
                  <a:cubicBezTo>
                    <a:pt x="6586" y="17261"/>
                    <a:pt x="6586" y="17261"/>
                    <a:pt x="6586" y="17261"/>
                  </a:cubicBezTo>
                  <a:cubicBezTo>
                    <a:pt x="6534" y="17261"/>
                    <a:pt x="6534" y="17261"/>
                    <a:pt x="6534" y="17261"/>
                  </a:cubicBezTo>
                  <a:cubicBezTo>
                    <a:pt x="6533" y="17446"/>
                    <a:pt x="6533" y="17446"/>
                    <a:pt x="6533" y="17446"/>
                  </a:cubicBezTo>
                  <a:cubicBezTo>
                    <a:pt x="6643" y="17447"/>
                    <a:pt x="6643" y="17447"/>
                    <a:pt x="6643" y="17447"/>
                  </a:cubicBezTo>
                  <a:cubicBezTo>
                    <a:pt x="6643" y="17374"/>
                    <a:pt x="6643" y="17374"/>
                    <a:pt x="6643" y="17374"/>
                  </a:cubicBezTo>
                  <a:cubicBezTo>
                    <a:pt x="6694" y="17374"/>
                    <a:pt x="6694" y="17374"/>
                    <a:pt x="6694" y="17374"/>
                  </a:cubicBezTo>
                  <a:cubicBezTo>
                    <a:pt x="6700" y="17374"/>
                    <a:pt x="6700" y="17374"/>
                    <a:pt x="6700" y="17374"/>
                  </a:cubicBezTo>
                  <a:cubicBezTo>
                    <a:pt x="6704" y="17252"/>
                    <a:pt x="6704" y="17252"/>
                    <a:pt x="6704" y="17252"/>
                  </a:cubicBezTo>
                  <a:cubicBezTo>
                    <a:pt x="6586" y="17251"/>
                    <a:pt x="6586" y="17251"/>
                    <a:pt x="6586" y="17251"/>
                  </a:cubicBezTo>
                  <a:lnTo>
                    <a:pt x="6586" y="17257"/>
                  </a:lnTo>
                  <a:close/>
                  <a:moveTo>
                    <a:pt x="6599" y="17268"/>
                  </a:moveTo>
                  <a:cubicBezTo>
                    <a:pt x="6599" y="17264"/>
                    <a:pt x="6599" y="17264"/>
                    <a:pt x="6599" y="17264"/>
                  </a:cubicBezTo>
                  <a:cubicBezTo>
                    <a:pt x="6690" y="17265"/>
                    <a:pt x="6690" y="17265"/>
                    <a:pt x="6690" y="17265"/>
                  </a:cubicBezTo>
                  <a:cubicBezTo>
                    <a:pt x="6688" y="17361"/>
                    <a:pt x="6688" y="17361"/>
                    <a:pt x="6688" y="17361"/>
                  </a:cubicBezTo>
                  <a:cubicBezTo>
                    <a:pt x="6630" y="17361"/>
                    <a:pt x="6630" y="17361"/>
                    <a:pt x="6630" y="17361"/>
                  </a:cubicBezTo>
                  <a:cubicBezTo>
                    <a:pt x="6629" y="17434"/>
                    <a:pt x="6629" y="17434"/>
                    <a:pt x="6629" y="17434"/>
                  </a:cubicBezTo>
                  <a:cubicBezTo>
                    <a:pt x="6546" y="17433"/>
                    <a:pt x="6546" y="17433"/>
                    <a:pt x="6546" y="17433"/>
                  </a:cubicBezTo>
                  <a:cubicBezTo>
                    <a:pt x="6547" y="17274"/>
                    <a:pt x="6547" y="17274"/>
                    <a:pt x="6547" y="17274"/>
                  </a:cubicBezTo>
                  <a:cubicBezTo>
                    <a:pt x="6599" y="17275"/>
                    <a:pt x="6599" y="17275"/>
                    <a:pt x="6599" y="17275"/>
                  </a:cubicBezTo>
                  <a:lnTo>
                    <a:pt x="6599" y="17268"/>
                  </a:lnTo>
                  <a:close/>
                  <a:moveTo>
                    <a:pt x="6905" y="16532"/>
                  </a:moveTo>
                  <a:cubicBezTo>
                    <a:pt x="6905" y="16536"/>
                    <a:pt x="6905" y="16536"/>
                    <a:pt x="6905" y="16536"/>
                  </a:cubicBezTo>
                  <a:cubicBezTo>
                    <a:pt x="6853" y="16535"/>
                    <a:pt x="6853" y="16535"/>
                    <a:pt x="6853" y="16535"/>
                  </a:cubicBezTo>
                  <a:cubicBezTo>
                    <a:pt x="6852" y="16721"/>
                    <a:pt x="6852" y="16721"/>
                    <a:pt x="6852" y="16721"/>
                  </a:cubicBezTo>
                  <a:cubicBezTo>
                    <a:pt x="6962" y="16721"/>
                    <a:pt x="6962" y="16721"/>
                    <a:pt x="6962" y="16721"/>
                  </a:cubicBezTo>
                  <a:cubicBezTo>
                    <a:pt x="6962" y="16648"/>
                    <a:pt x="6962" y="16648"/>
                    <a:pt x="6962" y="16648"/>
                  </a:cubicBezTo>
                  <a:cubicBezTo>
                    <a:pt x="7013" y="16649"/>
                    <a:pt x="7013" y="16649"/>
                    <a:pt x="7013" y="16649"/>
                  </a:cubicBezTo>
                  <a:cubicBezTo>
                    <a:pt x="7019" y="16649"/>
                    <a:pt x="7019" y="16649"/>
                    <a:pt x="7019" y="16649"/>
                  </a:cubicBezTo>
                  <a:cubicBezTo>
                    <a:pt x="7023" y="16526"/>
                    <a:pt x="7023" y="16526"/>
                    <a:pt x="7023" y="16526"/>
                  </a:cubicBezTo>
                  <a:cubicBezTo>
                    <a:pt x="6905" y="16525"/>
                    <a:pt x="6905" y="16525"/>
                    <a:pt x="6905" y="16525"/>
                  </a:cubicBezTo>
                  <a:lnTo>
                    <a:pt x="6905" y="16532"/>
                  </a:lnTo>
                  <a:close/>
                  <a:moveTo>
                    <a:pt x="6918" y="16542"/>
                  </a:moveTo>
                  <a:cubicBezTo>
                    <a:pt x="6918" y="16538"/>
                    <a:pt x="6918" y="16538"/>
                    <a:pt x="6918" y="16538"/>
                  </a:cubicBezTo>
                  <a:cubicBezTo>
                    <a:pt x="7009" y="16539"/>
                    <a:pt x="7009" y="16539"/>
                    <a:pt x="7009" y="16539"/>
                  </a:cubicBezTo>
                  <a:cubicBezTo>
                    <a:pt x="7007" y="16636"/>
                    <a:pt x="7007" y="16636"/>
                    <a:pt x="7007" y="16636"/>
                  </a:cubicBezTo>
                  <a:cubicBezTo>
                    <a:pt x="6949" y="16635"/>
                    <a:pt x="6949" y="16635"/>
                    <a:pt x="6949" y="16635"/>
                  </a:cubicBezTo>
                  <a:cubicBezTo>
                    <a:pt x="6948" y="16708"/>
                    <a:pt x="6948" y="16708"/>
                    <a:pt x="6948" y="16708"/>
                  </a:cubicBezTo>
                  <a:cubicBezTo>
                    <a:pt x="6865" y="16708"/>
                    <a:pt x="6865" y="16708"/>
                    <a:pt x="6865" y="16708"/>
                  </a:cubicBezTo>
                  <a:cubicBezTo>
                    <a:pt x="6866" y="16548"/>
                    <a:pt x="6866" y="16548"/>
                    <a:pt x="6866" y="16548"/>
                  </a:cubicBezTo>
                  <a:cubicBezTo>
                    <a:pt x="6918" y="16549"/>
                    <a:pt x="6918" y="16549"/>
                    <a:pt x="6918" y="16549"/>
                  </a:cubicBezTo>
                  <a:lnTo>
                    <a:pt x="6918" y="16542"/>
                  </a:lnTo>
                  <a:close/>
                  <a:moveTo>
                    <a:pt x="6996" y="15803"/>
                  </a:moveTo>
                  <a:cubicBezTo>
                    <a:pt x="7053" y="15803"/>
                    <a:pt x="7053" y="15803"/>
                    <a:pt x="7053" y="15803"/>
                  </a:cubicBezTo>
                  <a:cubicBezTo>
                    <a:pt x="7054" y="15876"/>
                    <a:pt x="7054" y="15876"/>
                    <a:pt x="7054" y="15876"/>
                  </a:cubicBezTo>
                  <a:cubicBezTo>
                    <a:pt x="7164" y="15875"/>
                    <a:pt x="7164" y="15875"/>
                    <a:pt x="7164" y="15875"/>
                  </a:cubicBezTo>
                  <a:cubicBezTo>
                    <a:pt x="7162" y="15690"/>
                    <a:pt x="7162" y="15690"/>
                    <a:pt x="7162" y="15690"/>
                  </a:cubicBezTo>
                  <a:cubicBezTo>
                    <a:pt x="7110" y="15690"/>
                    <a:pt x="7110" y="15690"/>
                    <a:pt x="7110" y="15690"/>
                  </a:cubicBezTo>
                  <a:cubicBezTo>
                    <a:pt x="7110" y="15680"/>
                    <a:pt x="7110" y="15680"/>
                    <a:pt x="7110" y="15680"/>
                  </a:cubicBezTo>
                  <a:cubicBezTo>
                    <a:pt x="6992" y="15681"/>
                    <a:pt x="6992" y="15681"/>
                    <a:pt x="6992" y="15681"/>
                  </a:cubicBezTo>
                  <a:cubicBezTo>
                    <a:pt x="6996" y="15797"/>
                    <a:pt x="6996" y="15797"/>
                    <a:pt x="6996" y="15797"/>
                  </a:cubicBezTo>
                  <a:lnTo>
                    <a:pt x="6996" y="15803"/>
                  </a:lnTo>
                  <a:close/>
                  <a:moveTo>
                    <a:pt x="7097" y="15693"/>
                  </a:moveTo>
                  <a:cubicBezTo>
                    <a:pt x="7097" y="15703"/>
                    <a:pt x="7097" y="15703"/>
                    <a:pt x="7097" y="15703"/>
                  </a:cubicBezTo>
                  <a:cubicBezTo>
                    <a:pt x="7149" y="15703"/>
                    <a:pt x="7149" y="15703"/>
                    <a:pt x="7149" y="15703"/>
                  </a:cubicBezTo>
                  <a:cubicBezTo>
                    <a:pt x="7150" y="15862"/>
                    <a:pt x="7150" y="15862"/>
                    <a:pt x="7150" y="15862"/>
                  </a:cubicBezTo>
                  <a:cubicBezTo>
                    <a:pt x="7067" y="15863"/>
                    <a:pt x="7067" y="15863"/>
                    <a:pt x="7067" y="15863"/>
                  </a:cubicBezTo>
                  <a:cubicBezTo>
                    <a:pt x="7066" y="15790"/>
                    <a:pt x="7066" y="15790"/>
                    <a:pt x="7066" y="15790"/>
                  </a:cubicBezTo>
                  <a:cubicBezTo>
                    <a:pt x="7009" y="15790"/>
                    <a:pt x="7009" y="15790"/>
                    <a:pt x="7009" y="15790"/>
                  </a:cubicBezTo>
                  <a:cubicBezTo>
                    <a:pt x="7006" y="15694"/>
                    <a:pt x="7006" y="15694"/>
                    <a:pt x="7006" y="15694"/>
                  </a:cubicBezTo>
                  <a:lnTo>
                    <a:pt x="7097" y="15693"/>
                  </a:lnTo>
                  <a:close/>
                  <a:moveTo>
                    <a:pt x="6769" y="14289"/>
                  </a:moveTo>
                  <a:cubicBezTo>
                    <a:pt x="6769" y="14293"/>
                    <a:pt x="6769" y="14293"/>
                    <a:pt x="6769" y="14293"/>
                  </a:cubicBezTo>
                  <a:cubicBezTo>
                    <a:pt x="6717" y="14288"/>
                    <a:pt x="6717" y="14288"/>
                    <a:pt x="6717" y="14288"/>
                  </a:cubicBezTo>
                  <a:cubicBezTo>
                    <a:pt x="6700" y="14472"/>
                    <a:pt x="6700" y="14472"/>
                    <a:pt x="6700" y="14472"/>
                  </a:cubicBezTo>
                  <a:cubicBezTo>
                    <a:pt x="6809" y="14483"/>
                    <a:pt x="6809" y="14483"/>
                    <a:pt x="6809" y="14483"/>
                  </a:cubicBezTo>
                  <a:cubicBezTo>
                    <a:pt x="6816" y="14410"/>
                    <a:pt x="6816" y="14410"/>
                    <a:pt x="6816" y="14410"/>
                  </a:cubicBezTo>
                  <a:cubicBezTo>
                    <a:pt x="6866" y="14415"/>
                    <a:pt x="6866" y="14415"/>
                    <a:pt x="6866" y="14415"/>
                  </a:cubicBezTo>
                  <a:cubicBezTo>
                    <a:pt x="6873" y="14415"/>
                    <a:pt x="6873" y="14415"/>
                    <a:pt x="6873" y="14415"/>
                  </a:cubicBezTo>
                  <a:cubicBezTo>
                    <a:pt x="6887" y="14293"/>
                    <a:pt x="6887" y="14293"/>
                    <a:pt x="6887" y="14293"/>
                  </a:cubicBezTo>
                  <a:cubicBezTo>
                    <a:pt x="6770" y="14282"/>
                    <a:pt x="6770" y="14282"/>
                    <a:pt x="6770" y="14282"/>
                  </a:cubicBezTo>
                  <a:lnTo>
                    <a:pt x="6769" y="14289"/>
                  </a:lnTo>
                  <a:close/>
                  <a:moveTo>
                    <a:pt x="6781" y="14300"/>
                  </a:moveTo>
                  <a:cubicBezTo>
                    <a:pt x="6782" y="14296"/>
                    <a:pt x="6782" y="14296"/>
                    <a:pt x="6782" y="14296"/>
                  </a:cubicBezTo>
                  <a:cubicBezTo>
                    <a:pt x="6873" y="14305"/>
                    <a:pt x="6873" y="14305"/>
                    <a:pt x="6873" y="14305"/>
                  </a:cubicBezTo>
                  <a:cubicBezTo>
                    <a:pt x="6861" y="14401"/>
                    <a:pt x="6861" y="14401"/>
                    <a:pt x="6861" y="14401"/>
                  </a:cubicBezTo>
                  <a:cubicBezTo>
                    <a:pt x="6804" y="14396"/>
                    <a:pt x="6804" y="14396"/>
                    <a:pt x="6804" y="14396"/>
                  </a:cubicBezTo>
                  <a:cubicBezTo>
                    <a:pt x="6797" y="14468"/>
                    <a:pt x="6797" y="14468"/>
                    <a:pt x="6797" y="14468"/>
                  </a:cubicBezTo>
                  <a:cubicBezTo>
                    <a:pt x="6714" y="14460"/>
                    <a:pt x="6714" y="14460"/>
                    <a:pt x="6714" y="14460"/>
                  </a:cubicBezTo>
                  <a:cubicBezTo>
                    <a:pt x="6729" y="14302"/>
                    <a:pt x="6729" y="14302"/>
                    <a:pt x="6729" y="14302"/>
                  </a:cubicBezTo>
                  <a:cubicBezTo>
                    <a:pt x="6781" y="14307"/>
                    <a:pt x="6781" y="14307"/>
                    <a:pt x="6781" y="14307"/>
                  </a:cubicBezTo>
                  <a:lnTo>
                    <a:pt x="6781" y="14300"/>
                  </a:lnTo>
                  <a:close/>
                  <a:moveTo>
                    <a:pt x="6484" y="14296"/>
                  </a:moveTo>
                  <a:cubicBezTo>
                    <a:pt x="6484" y="14300"/>
                    <a:pt x="6484" y="14300"/>
                    <a:pt x="6484" y="14300"/>
                  </a:cubicBezTo>
                  <a:cubicBezTo>
                    <a:pt x="6432" y="14295"/>
                    <a:pt x="6432" y="14295"/>
                    <a:pt x="6432" y="14295"/>
                  </a:cubicBezTo>
                  <a:cubicBezTo>
                    <a:pt x="6414" y="14480"/>
                    <a:pt x="6414" y="14480"/>
                    <a:pt x="6414" y="14480"/>
                  </a:cubicBezTo>
                  <a:cubicBezTo>
                    <a:pt x="6524" y="14490"/>
                    <a:pt x="6524" y="14490"/>
                    <a:pt x="6524" y="14490"/>
                  </a:cubicBezTo>
                  <a:cubicBezTo>
                    <a:pt x="6530" y="14418"/>
                    <a:pt x="6530" y="14418"/>
                    <a:pt x="6530" y="14418"/>
                  </a:cubicBezTo>
                  <a:cubicBezTo>
                    <a:pt x="6581" y="14422"/>
                    <a:pt x="6581" y="14422"/>
                    <a:pt x="6581" y="14422"/>
                  </a:cubicBezTo>
                  <a:cubicBezTo>
                    <a:pt x="6587" y="14423"/>
                    <a:pt x="6587" y="14423"/>
                    <a:pt x="6587" y="14423"/>
                  </a:cubicBezTo>
                  <a:cubicBezTo>
                    <a:pt x="6602" y="14301"/>
                    <a:pt x="6602" y="14301"/>
                    <a:pt x="6602" y="14301"/>
                  </a:cubicBezTo>
                  <a:cubicBezTo>
                    <a:pt x="6485" y="14290"/>
                    <a:pt x="6485" y="14290"/>
                    <a:pt x="6485" y="14290"/>
                  </a:cubicBezTo>
                  <a:lnTo>
                    <a:pt x="6484" y="14296"/>
                  </a:lnTo>
                  <a:close/>
                  <a:moveTo>
                    <a:pt x="6496" y="14308"/>
                  </a:moveTo>
                  <a:cubicBezTo>
                    <a:pt x="6496" y="14304"/>
                    <a:pt x="6496" y="14304"/>
                    <a:pt x="6496" y="14304"/>
                  </a:cubicBezTo>
                  <a:cubicBezTo>
                    <a:pt x="6587" y="14313"/>
                    <a:pt x="6587" y="14313"/>
                    <a:pt x="6587" y="14313"/>
                  </a:cubicBezTo>
                  <a:cubicBezTo>
                    <a:pt x="6576" y="14409"/>
                    <a:pt x="6576" y="14409"/>
                    <a:pt x="6576" y="14409"/>
                  </a:cubicBezTo>
                  <a:cubicBezTo>
                    <a:pt x="6518" y="14403"/>
                    <a:pt x="6518" y="14403"/>
                    <a:pt x="6518" y="14403"/>
                  </a:cubicBezTo>
                  <a:cubicBezTo>
                    <a:pt x="6512" y="14476"/>
                    <a:pt x="6512" y="14476"/>
                    <a:pt x="6512" y="14476"/>
                  </a:cubicBezTo>
                  <a:cubicBezTo>
                    <a:pt x="6429" y="14468"/>
                    <a:pt x="6429" y="14468"/>
                    <a:pt x="6429" y="14468"/>
                  </a:cubicBezTo>
                  <a:cubicBezTo>
                    <a:pt x="6443" y="14310"/>
                    <a:pt x="6443" y="14310"/>
                    <a:pt x="6443" y="14310"/>
                  </a:cubicBezTo>
                  <a:cubicBezTo>
                    <a:pt x="6495" y="14315"/>
                    <a:pt x="6495" y="14315"/>
                    <a:pt x="6495" y="14315"/>
                  </a:cubicBezTo>
                  <a:lnTo>
                    <a:pt x="6496" y="14308"/>
                  </a:lnTo>
                  <a:close/>
                  <a:moveTo>
                    <a:pt x="6266" y="14425"/>
                  </a:moveTo>
                  <a:cubicBezTo>
                    <a:pt x="6316" y="14430"/>
                    <a:pt x="6316" y="14430"/>
                    <a:pt x="6316" y="14430"/>
                  </a:cubicBezTo>
                  <a:cubicBezTo>
                    <a:pt x="6323" y="14431"/>
                    <a:pt x="6323" y="14431"/>
                    <a:pt x="6323" y="14431"/>
                  </a:cubicBezTo>
                  <a:cubicBezTo>
                    <a:pt x="6337" y="14309"/>
                    <a:pt x="6337" y="14309"/>
                    <a:pt x="6337" y="14309"/>
                  </a:cubicBezTo>
                  <a:cubicBezTo>
                    <a:pt x="6220" y="14298"/>
                    <a:pt x="6220" y="14298"/>
                    <a:pt x="6220" y="14298"/>
                  </a:cubicBezTo>
                  <a:cubicBezTo>
                    <a:pt x="6219" y="14304"/>
                    <a:pt x="6219" y="14304"/>
                    <a:pt x="6219" y="14304"/>
                  </a:cubicBezTo>
                  <a:cubicBezTo>
                    <a:pt x="6219" y="14308"/>
                    <a:pt x="6219" y="14308"/>
                    <a:pt x="6219" y="14308"/>
                  </a:cubicBezTo>
                  <a:cubicBezTo>
                    <a:pt x="6167" y="14303"/>
                    <a:pt x="6167" y="14303"/>
                    <a:pt x="6167" y="14303"/>
                  </a:cubicBezTo>
                  <a:cubicBezTo>
                    <a:pt x="6149" y="14488"/>
                    <a:pt x="6149" y="14488"/>
                    <a:pt x="6149" y="14488"/>
                  </a:cubicBezTo>
                  <a:cubicBezTo>
                    <a:pt x="6259" y="14498"/>
                    <a:pt x="6259" y="14498"/>
                    <a:pt x="6259" y="14498"/>
                  </a:cubicBezTo>
                  <a:lnTo>
                    <a:pt x="6266" y="14425"/>
                  </a:lnTo>
                  <a:close/>
                  <a:moveTo>
                    <a:pt x="6247" y="14484"/>
                  </a:moveTo>
                  <a:cubicBezTo>
                    <a:pt x="6164" y="14476"/>
                    <a:pt x="6164" y="14476"/>
                    <a:pt x="6164" y="14476"/>
                  </a:cubicBezTo>
                  <a:cubicBezTo>
                    <a:pt x="6179" y="14317"/>
                    <a:pt x="6179" y="14317"/>
                    <a:pt x="6179" y="14317"/>
                  </a:cubicBezTo>
                  <a:cubicBezTo>
                    <a:pt x="6231" y="14322"/>
                    <a:pt x="6231" y="14322"/>
                    <a:pt x="6231" y="14322"/>
                  </a:cubicBezTo>
                  <a:cubicBezTo>
                    <a:pt x="6231" y="14316"/>
                    <a:pt x="6231" y="14316"/>
                    <a:pt x="6231" y="14316"/>
                  </a:cubicBezTo>
                  <a:cubicBezTo>
                    <a:pt x="6232" y="14312"/>
                    <a:pt x="6232" y="14312"/>
                    <a:pt x="6232" y="14312"/>
                  </a:cubicBezTo>
                  <a:cubicBezTo>
                    <a:pt x="6322" y="14320"/>
                    <a:pt x="6322" y="14320"/>
                    <a:pt x="6322" y="14320"/>
                  </a:cubicBezTo>
                  <a:cubicBezTo>
                    <a:pt x="6311" y="14416"/>
                    <a:pt x="6311" y="14416"/>
                    <a:pt x="6311" y="14416"/>
                  </a:cubicBezTo>
                  <a:cubicBezTo>
                    <a:pt x="6254" y="14411"/>
                    <a:pt x="6254" y="14411"/>
                    <a:pt x="6254" y="14411"/>
                  </a:cubicBezTo>
                  <a:lnTo>
                    <a:pt x="6247" y="14484"/>
                  </a:lnTo>
                  <a:close/>
                  <a:moveTo>
                    <a:pt x="5382" y="11335"/>
                  </a:moveTo>
                  <a:cubicBezTo>
                    <a:pt x="5378" y="11335"/>
                    <a:pt x="5378" y="11335"/>
                    <a:pt x="5378" y="11335"/>
                  </a:cubicBezTo>
                  <a:cubicBezTo>
                    <a:pt x="5370" y="11284"/>
                    <a:pt x="5370" y="11284"/>
                    <a:pt x="5370" y="11284"/>
                  </a:cubicBezTo>
                  <a:cubicBezTo>
                    <a:pt x="5187" y="11314"/>
                    <a:pt x="5187" y="11314"/>
                    <a:pt x="5187" y="11314"/>
                  </a:cubicBezTo>
                  <a:cubicBezTo>
                    <a:pt x="5205" y="11422"/>
                    <a:pt x="5205" y="11422"/>
                    <a:pt x="5205" y="11422"/>
                  </a:cubicBezTo>
                  <a:cubicBezTo>
                    <a:pt x="5277" y="11410"/>
                    <a:pt x="5277" y="11410"/>
                    <a:pt x="5277" y="11410"/>
                  </a:cubicBezTo>
                  <a:cubicBezTo>
                    <a:pt x="5285" y="11460"/>
                    <a:pt x="5285" y="11460"/>
                    <a:pt x="5285" y="11460"/>
                  </a:cubicBezTo>
                  <a:cubicBezTo>
                    <a:pt x="5286" y="11467"/>
                    <a:pt x="5286" y="11467"/>
                    <a:pt x="5286" y="11467"/>
                  </a:cubicBezTo>
                  <a:cubicBezTo>
                    <a:pt x="5408" y="11450"/>
                    <a:pt x="5408" y="11450"/>
                    <a:pt x="5408" y="11450"/>
                  </a:cubicBezTo>
                  <a:cubicBezTo>
                    <a:pt x="5389" y="11333"/>
                    <a:pt x="5389" y="11333"/>
                    <a:pt x="5389" y="11333"/>
                  </a:cubicBezTo>
                  <a:lnTo>
                    <a:pt x="5382" y="11335"/>
                  </a:lnTo>
                  <a:close/>
                  <a:moveTo>
                    <a:pt x="5297" y="11452"/>
                  </a:moveTo>
                  <a:cubicBezTo>
                    <a:pt x="5288" y="11395"/>
                    <a:pt x="5288" y="11395"/>
                    <a:pt x="5288" y="11395"/>
                  </a:cubicBezTo>
                  <a:cubicBezTo>
                    <a:pt x="5216" y="11407"/>
                    <a:pt x="5216" y="11407"/>
                    <a:pt x="5216" y="11407"/>
                  </a:cubicBezTo>
                  <a:cubicBezTo>
                    <a:pt x="5202" y="11325"/>
                    <a:pt x="5202" y="11325"/>
                    <a:pt x="5202" y="11325"/>
                  </a:cubicBezTo>
                  <a:cubicBezTo>
                    <a:pt x="5359" y="11299"/>
                    <a:pt x="5359" y="11299"/>
                    <a:pt x="5359" y="11299"/>
                  </a:cubicBezTo>
                  <a:cubicBezTo>
                    <a:pt x="5368" y="11350"/>
                    <a:pt x="5368" y="11350"/>
                    <a:pt x="5368" y="11350"/>
                  </a:cubicBezTo>
                  <a:cubicBezTo>
                    <a:pt x="5374" y="11349"/>
                    <a:pt x="5374" y="11349"/>
                    <a:pt x="5374" y="11349"/>
                  </a:cubicBezTo>
                  <a:cubicBezTo>
                    <a:pt x="5378" y="11349"/>
                    <a:pt x="5378" y="11349"/>
                    <a:pt x="5378" y="11349"/>
                  </a:cubicBezTo>
                  <a:cubicBezTo>
                    <a:pt x="5393" y="11438"/>
                    <a:pt x="5393" y="11438"/>
                    <a:pt x="5393" y="11438"/>
                  </a:cubicBezTo>
                  <a:lnTo>
                    <a:pt x="5297" y="11452"/>
                  </a:lnTo>
                  <a:close/>
                  <a:moveTo>
                    <a:pt x="7106" y="10878"/>
                  </a:moveTo>
                  <a:cubicBezTo>
                    <a:pt x="7102" y="10892"/>
                    <a:pt x="7102" y="10892"/>
                    <a:pt x="7102" y="10892"/>
                  </a:cubicBezTo>
                  <a:cubicBezTo>
                    <a:pt x="7212" y="10925"/>
                    <a:pt x="7212" y="10925"/>
                    <a:pt x="7212" y="10925"/>
                  </a:cubicBezTo>
                  <a:cubicBezTo>
                    <a:pt x="7243" y="10813"/>
                    <a:pt x="7243" y="10813"/>
                    <a:pt x="7243" y="10813"/>
                  </a:cubicBezTo>
                  <a:cubicBezTo>
                    <a:pt x="7245" y="10807"/>
                    <a:pt x="7245" y="10807"/>
                    <a:pt x="7245" y="10807"/>
                  </a:cubicBezTo>
                  <a:cubicBezTo>
                    <a:pt x="7190" y="10789"/>
                    <a:pt x="7190" y="10789"/>
                    <a:pt x="7190" y="10789"/>
                  </a:cubicBezTo>
                  <a:cubicBezTo>
                    <a:pt x="7211" y="10715"/>
                    <a:pt x="7211" y="10715"/>
                    <a:pt x="7211" y="10715"/>
                  </a:cubicBezTo>
                  <a:cubicBezTo>
                    <a:pt x="7106" y="10685"/>
                    <a:pt x="7106" y="10685"/>
                    <a:pt x="7106" y="10685"/>
                  </a:cubicBezTo>
                  <a:cubicBezTo>
                    <a:pt x="7056" y="10864"/>
                    <a:pt x="7056" y="10864"/>
                    <a:pt x="7056" y="10864"/>
                  </a:cubicBezTo>
                  <a:lnTo>
                    <a:pt x="7106" y="10878"/>
                  </a:lnTo>
                  <a:close/>
                  <a:moveTo>
                    <a:pt x="7115" y="10702"/>
                  </a:moveTo>
                  <a:cubicBezTo>
                    <a:pt x="7195" y="10724"/>
                    <a:pt x="7195" y="10724"/>
                    <a:pt x="7195" y="10724"/>
                  </a:cubicBezTo>
                  <a:cubicBezTo>
                    <a:pt x="7173" y="10798"/>
                    <a:pt x="7173" y="10798"/>
                    <a:pt x="7173" y="10798"/>
                  </a:cubicBezTo>
                  <a:cubicBezTo>
                    <a:pt x="7229" y="10815"/>
                    <a:pt x="7229" y="10815"/>
                    <a:pt x="7229" y="10815"/>
                  </a:cubicBezTo>
                  <a:cubicBezTo>
                    <a:pt x="7203" y="10908"/>
                    <a:pt x="7203" y="10908"/>
                    <a:pt x="7203" y="10908"/>
                  </a:cubicBezTo>
                  <a:cubicBezTo>
                    <a:pt x="7118" y="10883"/>
                    <a:pt x="7118" y="10883"/>
                    <a:pt x="7118" y="10883"/>
                  </a:cubicBezTo>
                  <a:cubicBezTo>
                    <a:pt x="7123" y="10869"/>
                    <a:pt x="7123" y="10869"/>
                    <a:pt x="7123" y="10869"/>
                  </a:cubicBezTo>
                  <a:cubicBezTo>
                    <a:pt x="7072" y="10855"/>
                    <a:pt x="7072" y="10855"/>
                    <a:pt x="7072" y="10855"/>
                  </a:cubicBezTo>
                  <a:lnTo>
                    <a:pt x="7115" y="10702"/>
                  </a:lnTo>
                  <a:close/>
                  <a:moveTo>
                    <a:pt x="7510" y="10855"/>
                  </a:moveTo>
                  <a:cubicBezTo>
                    <a:pt x="7540" y="10743"/>
                    <a:pt x="7540" y="10743"/>
                    <a:pt x="7540" y="10743"/>
                  </a:cubicBezTo>
                  <a:cubicBezTo>
                    <a:pt x="7542" y="10737"/>
                    <a:pt x="7542" y="10737"/>
                    <a:pt x="7542" y="10737"/>
                  </a:cubicBezTo>
                  <a:cubicBezTo>
                    <a:pt x="7487" y="10720"/>
                    <a:pt x="7487" y="10720"/>
                    <a:pt x="7487" y="10720"/>
                  </a:cubicBezTo>
                  <a:cubicBezTo>
                    <a:pt x="7509" y="10646"/>
                    <a:pt x="7509" y="10646"/>
                    <a:pt x="7509" y="10646"/>
                  </a:cubicBezTo>
                  <a:cubicBezTo>
                    <a:pt x="7403" y="10616"/>
                    <a:pt x="7403" y="10616"/>
                    <a:pt x="7403" y="10616"/>
                  </a:cubicBezTo>
                  <a:cubicBezTo>
                    <a:pt x="7354" y="10795"/>
                    <a:pt x="7354" y="10795"/>
                    <a:pt x="7354" y="10795"/>
                  </a:cubicBezTo>
                  <a:cubicBezTo>
                    <a:pt x="7404" y="10809"/>
                    <a:pt x="7404" y="10809"/>
                    <a:pt x="7404" y="10809"/>
                  </a:cubicBezTo>
                  <a:cubicBezTo>
                    <a:pt x="7399" y="10823"/>
                    <a:pt x="7399" y="10823"/>
                    <a:pt x="7399" y="10823"/>
                  </a:cubicBezTo>
                  <a:lnTo>
                    <a:pt x="7510" y="10855"/>
                  </a:lnTo>
                  <a:close/>
                  <a:moveTo>
                    <a:pt x="7370" y="10786"/>
                  </a:moveTo>
                  <a:cubicBezTo>
                    <a:pt x="7412" y="10632"/>
                    <a:pt x="7412" y="10632"/>
                    <a:pt x="7412" y="10632"/>
                  </a:cubicBezTo>
                  <a:cubicBezTo>
                    <a:pt x="7493" y="10655"/>
                    <a:pt x="7493" y="10655"/>
                    <a:pt x="7493" y="10655"/>
                  </a:cubicBezTo>
                  <a:cubicBezTo>
                    <a:pt x="7471" y="10728"/>
                    <a:pt x="7471" y="10728"/>
                    <a:pt x="7471" y="10728"/>
                  </a:cubicBezTo>
                  <a:cubicBezTo>
                    <a:pt x="7526" y="10746"/>
                    <a:pt x="7526" y="10746"/>
                    <a:pt x="7526" y="10746"/>
                  </a:cubicBezTo>
                  <a:cubicBezTo>
                    <a:pt x="7501" y="10839"/>
                    <a:pt x="7501" y="10839"/>
                    <a:pt x="7501" y="10839"/>
                  </a:cubicBezTo>
                  <a:cubicBezTo>
                    <a:pt x="7416" y="10814"/>
                    <a:pt x="7416" y="10814"/>
                    <a:pt x="7416" y="10814"/>
                  </a:cubicBezTo>
                  <a:cubicBezTo>
                    <a:pt x="7420" y="10800"/>
                    <a:pt x="7420" y="10800"/>
                    <a:pt x="7420" y="10800"/>
                  </a:cubicBezTo>
                  <a:lnTo>
                    <a:pt x="7370" y="10786"/>
                  </a:lnTo>
                  <a:close/>
                  <a:moveTo>
                    <a:pt x="6885" y="10591"/>
                  </a:moveTo>
                  <a:cubicBezTo>
                    <a:pt x="6994" y="10605"/>
                    <a:pt x="6994" y="10605"/>
                    <a:pt x="6994" y="10605"/>
                  </a:cubicBezTo>
                  <a:cubicBezTo>
                    <a:pt x="7019" y="10422"/>
                    <a:pt x="7019" y="10422"/>
                    <a:pt x="7019" y="10422"/>
                  </a:cubicBezTo>
                  <a:cubicBezTo>
                    <a:pt x="6968" y="10415"/>
                    <a:pt x="6968" y="10415"/>
                    <a:pt x="6968" y="10415"/>
                  </a:cubicBezTo>
                  <a:cubicBezTo>
                    <a:pt x="6970" y="10400"/>
                    <a:pt x="6970" y="10400"/>
                    <a:pt x="6970" y="10400"/>
                  </a:cubicBezTo>
                  <a:cubicBezTo>
                    <a:pt x="6856" y="10383"/>
                    <a:pt x="6856" y="10383"/>
                    <a:pt x="6856" y="10383"/>
                  </a:cubicBezTo>
                  <a:cubicBezTo>
                    <a:pt x="6841" y="10498"/>
                    <a:pt x="6841" y="10498"/>
                    <a:pt x="6841" y="10498"/>
                  </a:cubicBezTo>
                  <a:cubicBezTo>
                    <a:pt x="6840" y="10504"/>
                    <a:pt x="6840" y="10504"/>
                    <a:pt x="6840" y="10504"/>
                  </a:cubicBezTo>
                  <a:cubicBezTo>
                    <a:pt x="6897" y="10514"/>
                    <a:pt x="6897" y="10514"/>
                    <a:pt x="6897" y="10514"/>
                  </a:cubicBezTo>
                  <a:lnTo>
                    <a:pt x="6885" y="10591"/>
                  </a:lnTo>
                  <a:close/>
                  <a:moveTo>
                    <a:pt x="6855" y="10493"/>
                  </a:moveTo>
                  <a:cubicBezTo>
                    <a:pt x="6867" y="10398"/>
                    <a:pt x="6867" y="10398"/>
                    <a:pt x="6867" y="10398"/>
                  </a:cubicBezTo>
                  <a:cubicBezTo>
                    <a:pt x="6955" y="10411"/>
                    <a:pt x="6955" y="10411"/>
                    <a:pt x="6955" y="10411"/>
                  </a:cubicBezTo>
                  <a:cubicBezTo>
                    <a:pt x="6952" y="10426"/>
                    <a:pt x="6952" y="10426"/>
                    <a:pt x="6952" y="10426"/>
                  </a:cubicBezTo>
                  <a:cubicBezTo>
                    <a:pt x="7004" y="10433"/>
                    <a:pt x="7004" y="10433"/>
                    <a:pt x="7004" y="10433"/>
                  </a:cubicBezTo>
                  <a:cubicBezTo>
                    <a:pt x="6983" y="10591"/>
                    <a:pt x="6983" y="10591"/>
                    <a:pt x="6983" y="10591"/>
                  </a:cubicBezTo>
                  <a:cubicBezTo>
                    <a:pt x="6900" y="10579"/>
                    <a:pt x="6900" y="10579"/>
                    <a:pt x="6900" y="10579"/>
                  </a:cubicBezTo>
                  <a:cubicBezTo>
                    <a:pt x="6912" y="10503"/>
                    <a:pt x="6912" y="10503"/>
                    <a:pt x="6912" y="10503"/>
                  </a:cubicBezTo>
                  <a:lnTo>
                    <a:pt x="6855" y="10493"/>
                  </a:lnTo>
                  <a:close/>
                  <a:moveTo>
                    <a:pt x="7008" y="14387"/>
                  </a:moveTo>
                  <a:cubicBezTo>
                    <a:pt x="7008" y="14391"/>
                    <a:pt x="7008" y="14391"/>
                    <a:pt x="7008" y="14391"/>
                  </a:cubicBezTo>
                  <a:cubicBezTo>
                    <a:pt x="6956" y="14386"/>
                    <a:pt x="6956" y="14386"/>
                    <a:pt x="6956" y="14386"/>
                  </a:cubicBezTo>
                  <a:cubicBezTo>
                    <a:pt x="6939" y="14571"/>
                    <a:pt x="6939" y="14571"/>
                    <a:pt x="6939" y="14571"/>
                  </a:cubicBezTo>
                  <a:cubicBezTo>
                    <a:pt x="7048" y="14581"/>
                    <a:pt x="7048" y="14581"/>
                    <a:pt x="7048" y="14581"/>
                  </a:cubicBezTo>
                  <a:cubicBezTo>
                    <a:pt x="7055" y="14508"/>
                    <a:pt x="7055" y="14508"/>
                    <a:pt x="7055" y="14508"/>
                  </a:cubicBezTo>
                  <a:cubicBezTo>
                    <a:pt x="7105" y="14513"/>
                    <a:pt x="7105" y="14513"/>
                    <a:pt x="7105" y="14513"/>
                  </a:cubicBezTo>
                  <a:cubicBezTo>
                    <a:pt x="7112" y="14513"/>
                    <a:pt x="7112" y="14513"/>
                    <a:pt x="7112" y="14513"/>
                  </a:cubicBezTo>
                  <a:cubicBezTo>
                    <a:pt x="7126" y="14391"/>
                    <a:pt x="7126" y="14391"/>
                    <a:pt x="7126" y="14391"/>
                  </a:cubicBezTo>
                  <a:cubicBezTo>
                    <a:pt x="7009" y="14380"/>
                    <a:pt x="7009" y="14380"/>
                    <a:pt x="7009" y="14380"/>
                  </a:cubicBezTo>
                  <a:lnTo>
                    <a:pt x="7008" y="14387"/>
                  </a:lnTo>
                  <a:close/>
                  <a:moveTo>
                    <a:pt x="7020" y="14398"/>
                  </a:moveTo>
                  <a:cubicBezTo>
                    <a:pt x="7021" y="14395"/>
                    <a:pt x="7021" y="14395"/>
                    <a:pt x="7021" y="14395"/>
                  </a:cubicBezTo>
                  <a:cubicBezTo>
                    <a:pt x="7111" y="14403"/>
                    <a:pt x="7111" y="14403"/>
                    <a:pt x="7111" y="14403"/>
                  </a:cubicBezTo>
                  <a:cubicBezTo>
                    <a:pt x="7100" y="14499"/>
                    <a:pt x="7100" y="14499"/>
                    <a:pt x="7100" y="14499"/>
                  </a:cubicBezTo>
                  <a:cubicBezTo>
                    <a:pt x="7043" y="14494"/>
                    <a:pt x="7043" y="14494"/>
                    <a:pt x="7043" y="14494"/>
                  </a:cubicBezTo>
                  <a:cubicBezTo>
                    <a:pt x="7036" y="14566"/>
                    <a:pt x="7036" y="14566"/>
                    <a:pt x="7036" y="14566"/>
                  </a:cubicBezTo>
                  <a:cubicBezTo>
                    <a:pt x="6953" y="14559"/>
                    <a:pt x="6953" y="14559"/>
                    <a:pt x="6953" y="14559"/>
                  </a:cubicBezTo>
                  <a:cubicBezTo>
                    <a:pt x="6968" y="14400"/>
                    <a:pt x="6968" y="14400"/>
                    <a:pt x="6968" y="14400"/>
                  </a:cubicBezTo>
                  <a:cubicBezTo>
                    <a:pt x="7020" y="14405"/>
                    <a:pt x="7020" y="14405"/>
                    <a:pt x="7020" y="14405"/>
                  </a:cubicBezTo>
                  <a:lnTo>
                    <a:pt x="7020" y="14398"/>
                  </a:lnTo>
                  <a:close/>
                  <a:moveTo>
                    <a:pt x="7344" y="14384"/>
                  </a:moveTo>
                  <a:cubicBezTo>
                    <a:pt x="7358" y="14262"/>
                    <a:pt x="7358" y="14262"/>
                    <a:pt x="7358" y="14262"/>
                  </a:cubicBezTo>
                  <a:cubicBezTo>
                    <a:pt x="7241" y="14251"/>
                    <a:pt x="7241" y="14251"/>
                    <a:pt x="7241" y="14251"/>
                  </a:cubicBezTo>
                  <a:cubicBezTo>
                    <a:pt x="7241" y="14258"/>
                    <a:pt x="7241" y="14258"/>
                    <a:pt x="7241" y="14258"/>
                  </a:cubicBezTo>
                  <a:cubicBezTo>
                    <a:pt x="7240" y="14262"/>
                    <a:pt x="7240" y="14262"/>
                    <a:pt x="7240" y="14262"/>
                  </a:cubicBezTo>
                  <a:cubicBezTo>
                    <a:pt x="7188" y="14257"/>
                    <a:pt x="7188" y="14257"/>
                    <a:pt x="7188" y="14257"/>
                  </a:cubicBezTo>
                  <a:cubicBezTo>
                    <a:pt x="7171" y="14441"/>
                    <a:pt x="7171" y="14441"/>
                    <a:pt x="7171" y="14441"/>
                  </a:cubicBezTo>
                  <a:cubicBezTo>
                    <a:pt x="7280" y="14452"/>
                    <a:pt x="7280" y="14452"/>
                    <a:pt x="7280" y="14452"/>
                  </a:cubicBezTo>
                  <a:cubicBezTo>
                    <a:pt x="7287" y="14379"/>
                    <a:pt x="7287" y="14379"/>
                    <a:pt x="7287" y="14379"/>
                  </a:cubicBezTo>
                  <a:cubicBezTo>
                    <a:pt x="7338" y="14384"/>
                    <a:pt x="7338" y="14384"/>
                    <a:pt x="7338" y="14384"/>
                  </a:cubicBezTo>
                  <a:lnTo>
                    <a:pt x="7344" y="14384"/>
                  </a:lnTo>
                  <a:close/>
                  <a:moveTo>
                    <a:pt x="7275" y="14365"/>
                  </a:moveTo>
                  <a:cubicBezTo>
                    <a:pt x="7268" y="14437"/>
                    <a:pt x="7268" y="14437"/>
                    <a:pt x="7268" y="14437"/>
                  </a:cubicBezTo>
                  <a:cubicBezTo>
                    <a:pt x="7185" y="14430"/>
                    <a:pt x="7185" y="14430"/>
                    <a:pt x="7185" y="14430"/>
                  </a:cubicBezTo>
                  <a:cubicBezTo>
                    <a:pt x="7200" y="14271"/>
                    <a:pt x="7200" y="14271"/>
                    <a:pt x="7200" y="14271"/>
                  </a:cubicBezTo>
                  <a:cubicBezTo>
                    <a:pt x="7252" y="14276"/>
                    <a:pt x="7252" y="14276"/>
                    <a:pt x="7252" y="14276"/>
                  </a:cubicBezTo>
                  <a:cubicBezTo>
                    <a:pt x="7253" y="14269"/>
                    <a:pt x="7253" y="14269"/>
                    <a:pt x="7253" y="14269"/>
                  </a:cubicBezTo>
                  <a:cubicBezTo>
                    <a:pt x="7253" y="14265"/>
                    <a:pt x="7253" y="14265"/>
                    <a:pt x="7253" y="14265"/>
                  </a:cubicBezTo>
                  <a:cubicBezTo>
                    <a:pt x="7344" y="14274"/>
                    <a:pt x="7344" y="14274"/>
                    <a:pt x="7344" y="14274"/>
                  </a:cubicBezTo>
                  <a:cubicBezTo>
                    <a:pt x="7333" y="14370"/>
                    <a:pt x="7333" y="14370"/>
                    <a:pt x="7333" y="14370"/>
                  </a:cubicBezTo>
                  <a:lnTo>
                    <a:pt x="7275" y="14365"/>
                  </a:lnTo>
                  <a:close/>
                  <a:moveTo>
                    <a:pt x="7597" y="14321"/>
                  </a:moveTo>
                  <a:cubicBezTo>
                    <a:pt x="7648" y="14325"/>
                    <a:pt x="7648" y="14325"/>
                    <a:pt x="7648" y="14325"/>
                  </a:cubicBezTo>
                  <a:cubicBezTo>
                    <a:pt x="7654" y="14326"/>
                    <a:pt x="7654" y="14326"/>
                    <a:pt x="7654" y="14326"/>
                  </a:cubicBezTo>
                  <a:cubicBezTo>
                    <a:pt x="7668" y="14204"/>
                    <a:pt x="7668" y="14204"/>
                    <a:pt x="7668" y="14204"/>
                  </a:cubicBezTo>
                  <a:cubicBezTo>
                    <a:pt x="7551" y="14193"/>
                    <a:pt x="7551" y="14193"/>
                    <a:pt x="7551" y="14193"/>
                  </a:cubicBezTo>
                  <a:cubicBezTo>
                    <a:pt x="7551" y="14200"/>
                    <a:pt x="7551" y="14200"/>
                    <a:pt x="7551" y="14200"/>
                  </a:cubicBezTo>
                  <a:cubicBezTo>
                    <a:pt x="7550" y="14203"/>
                    <a:pt x="7550" y="14203"/>
                    <a:pt x="7550" y="14203"/>
                  </a:cubicBezTo>
                  <a:cubicBezTo>
                    <a:pt x="7498" y="14199"/>
                    <a:pt x="7498" y="14199"/>
                    <a:pt x="7498" y="14199"/>
                  </a:cubicBezTo>
                  <a:cubicBezTo>
                    <a:pt x="7481" y="14383"/>
                    <a:pt x="7481" y="14383"/>
                    <a:pt x="7481" y="14383"/>
                  </a:cubicBezTo>
                  <a:cubicBezTo>
                    <a:pt x="7590" y="14393"/>
                    <a:pt x="7590" y="14393"/>
                    <a:pt x="7590" y="14393"/>
                  </a:cubicBezTo>
                  <a:lnTo>
                    <a:pt x="7597" y="14321"/>
                  </a:lnTo>
                  <a:close/>
                  <a:moveTo>
                    <a:pt x="7578" y="14379"/>
                  </a:moveTo>
                  <a:cubicBezTo>
                    <a:pt x="7495" y="14371"/>
                    <a:pt x="7495" y="14371"/>
                    <a:pt x="7495" y="14371"/>
                  </a:cubicBezTo>
                  <a:cubicBezTo>
                    <a:pt x="7510" y="14213"/>
                    <a:pt x="7510" y="14213"/>
                    <a:pt x="7510" y="14213"/>
                  </a:cubicBezTo>
                  <a:cubicBezTo>
                    <a:pt x="7562" y="14218"/>
                    <a:pt x="7562" y="14218"/>
                    <a:pt x="7562" y="14218"/>
                  </a:cubicBezTo>
                  <a:cubicBezTo>
                    <a:pt x="7563" y="14211"/>
                    <a:pt x="7563" y="14211"/>
                    <a:pt x="7563" y="14211"/>
                  </a:cubicBezTo>
                  <a:cubicBezTo>
                    <a:pt x="7563" y="14207"/>
                    <a:pt x="7563" y="14207"/>
                    <a:pt x="7563" y="14207"/>
                  </a:cubicBezTo>
                  <a:cubicBezTo>
                    <a:pt x="7654" y="14216"/>
                    <a:pt x="7654" y="14216"/>
                    <a:pt x="7654" y="14216"/>
                  </a:cubicBezTo>
                  <a:cubicBezTo>
                    <a:pt x="7643" y="14312"/>
                    <a:pt x="7643" y="14312"/>
                    <a:pt x="7643" y="14312"/>
                  </a:cubicBezTo>
                  <a:cubicBezTo>
                    <a:pt x="7585" y="14306"/>
                    <a:pt x="7585" y="14306"/>
                    <a:pt x="7585" y="14306"/>
                  </a:cubicBezTo>
                  <a:lnTo>
                    <a:pt x="7578" y="14379"/>
                  </a:lnTo>
                  <a:close/>
                  <a:moveTo>
                    <a:pt x="6616" y="13911"/>
                  </a:moveTo>
                  <a:cubicBezTo>
                    <a:pt x="6608" y="13963"/>
                    <a:pt x="6608" y="13963"/>
                    <a:pt x="6608" y="13963"/>
                  </a:cubicBezTo>
                  <a:cubicBezTo>
                    <a:pt x="6598" y="13961"/>
                    <a:pt x="6598" y="13961"/>
                    <a:pt x="6598" y="13961"/>
                  </a:cubicBezTo>
                  <a:cubicBezTo>
                    <a:pt x="6580" y="14078"/>
                    <a:pt x="6580" y="14078"/>
                    <a:pt x="6580" y="14078"/>
                  </a:cubicBezTo>
                  <a:cubicBezTo>
                    <a:pt x="6696" y="14092"/>
                    <a:pt x="6696" y="14092"/>
                    <a:pt x="6696" y="14092"/>
                  </a:cubicBezTo>
                  <a:cubicBezTo>
                    <a:pt x="6702" y="14093"/>
                    <a:pt x="6702" y="14093"/>
                    <a:pt x="6702" y="14093"/>
                  </a:cubicBezTo>
                  <a:cubicBezTo>
                    <a:pt x="6711" y="14036"/>
                    <a:pt x="6711" y="14036"/>
                    <a:pt x="6711" y="14036"/>
                  </a:cubicBezTo>
                  <a:cubicBezTo>
                    <a:pt x="6783" y="14047"/>
                    <a:pt x="6783" y="14047"/>
                    <a:pt x="6783" y="14047"/>
                  </a:cubicBezTo>
                  <a:cubicBezTo>
                    <a:pt x="6799" y="13939"/>
                    <a:pt x="6799" y="13939"/>
                    <a:pt x="6799" y="13939"/>
                  </a:cubicBezTo>
                  <a:lnTo>
                    <a:pt x="6616" y="13911"/>
                  </a:lnTo>
                  <a:close/>
                  <a:moveTo>
                    <a:pt x="6772" y="14032"/>
                  </a:moveTo>
                  <a:cubicBezTo>
                    <a:pt x="6700" y="14022"/>
                    <a:pt x="6700" y="14022"/>
                    <a:pt x="6700" y="14022"/>
                  </a:cubicBezTo>
                  <a:cubicBezTo>
                    <a:pt x="6691" y="14078"/>
                    <a:pt x="6691" y="14078"/>
                    <a:pt x="6691" y="14078"/>
                  </a:cubicBezTo>
                  <a:cubicBezTo>
                    <a:pt x="6595" y="14066"/>
                    <a:pt x="6595" y="14066"/>
                    <a:pt x="6595" y="14066"/>
                  </a:cubicBezTo>
                  <a:cubicBezTo>
                    <a:pt x="6609" y="13976"/>
                    <a:pt x="6609" y="13976"/>
                    <a:pt x="6609" y="13976"/>
                  </a:cubicBezTo>
                  <a:cubicBezTo>
                    <a:pt x="6619" y="13978"/>
                    <a:pt x="6619" y="13978"/>
                    <a:pt x="6619" y="13978"/>
                  </a:cubicBezTo>
                  <a:cubicBezTo>
                    <a:pt x="6627" y="13926"/>
                    <a:pt x="6627" y="13926"/>
                    <a:pt x="6627" y="13926"/>
                  </a:cubicBezTo>
                  <a:cubicBezTo>
                    <a:pt x="6785" y="13950"/>
                    <a:pt x="6785" y="13950"/>
                    <a:pt x="6785" y="13950"/>
                  </a:cubicBezTo>
                  <a:lnTo>
                    <a:pt x="6772" y="14032"/>
                  </a:lnTo>
                  <a:close/>
                  <a:moveTo>
                    <a:pt x="6379" y="14185"/>
                  </a:moveTo>
                  <a:cubicBezTo>
                    <a:pt x="6388" y="14128"/>
                    <a:pt x="6388" y="14128"/>
                    <a:pt x="6388" y="14128"/>
                  </a:cubicBezTo>
                  <a:cubicBezTo>
                    <a:pt x="6460" y="14139"/>
                    <a:pt x="6460" y="14139"/>
                    <a:pt x="6460" y="14139"/>
                  </a:cubicBezTo>
                  <a:cubicBezTo>
                    <a:pt x="6477" y="14031"/>
                    <a:pt x="6477" y="14031"/>
                    <a:pt x="6477" y="14031"/>
                  </a:cubicBezTo>
                  <a:cubicBezTo>
                    <a:pt x="6293" y="14003"/>
                    <a:pt x="6293" y="14003"/>
                    <a:pt x="6293" y="14003"/>
                  </a:cubicBezTo>
                  <a:cubicBezTo>
                    <a:pt x="6285" y="14055"/>
                    <a:pt x="6285" y="14055"/>
                    <a:pt x="6285" y="14055"/>
                  </a:cubicBezTo>
                  <a:cubicBezTo>
                    <a:pt x="6275" y="14053"/>
                    <a:pt x="6275" y="14053"/>
                    <a:pt x="6275" y="14053"/>
                  </a:cubicBezTo>
                  <a:cubicBezTo>
                    <a:pt x="6258" y="14169"/>
                    <a:pt x="6258" y="14169"/>
                    <a:pt x="6258" y="14169"/>
                  </a:cubicBezTo>
                  <a:cubicBezTo>
                    <a:pt x="6373" y="14184"/>
                    <a:pt x="6373" y="14184"/>
                    <a:pt x="6373" y="14184"/>
                  </a:cubicBezTo>
                  <a:lnTo>
                    <a:pt x="6379" y="14185"/>
                  </a:lnTo>
                  <a:close/>
                  <a:moveTo>
                    <a:pt x="6273" y="14158"/>
                  </a:moveTo>
                  <a:cubicBezTo>
                    <a:pt x="6286" y="14068"/>
                    <a:pt x="6286" y="14068"/>
                    <a:pt x="6286" y="14068"/>
                  </a:cubicBezTo>
                  <a:cubicBezTo>
                    <a:pt x="6296" y="14069"/>
                    <a:pt x="6296" y="14069"/>
                    <a:pt x="6296" y="14069"/>
                  </a:cubicBezTo>
                  <a:cubicBezTo>
                    <a:pt x="6304" y="14018"/>
                    <a:pt x="6304" y="14018"/>
                    <a:pt x="6304" y="14018"/>
                  </a:cubicBezTo>
                  <a:cubicBezTo>
                    <a:pt x="6462" y="14042"/>
                    <a:pt x="6462" y="14042"/>
                    <a:pt x="6462" y="14042"/>
                  </a:cubicBezTo>
                  <a:cubicBezTo>
                    <a:pt x="6449" y="14124"/>
                    <a:pt x="6449" y="14124"/>
                    <a:pt x="6449" y="14124"/>
                  </a:cubicBezTo>
                  <a:cubicBezTo>
                    <a:pt x="6377" y="14113"/>
                    <a:pt x="6377" y="14113"/>
                    <a:pt x="6377" y="14113"/>
                  </a:cubicBezTo>
                  <a:cubicBezTo>
                    <a:pt x="6368" y="14170"/>
                    <a:pt x="6368" y="14170"/>
                    <a:pt x="6368" y="14170"/>
                  </a:cubicBezTo>
                  <a:lnTo>
                    <a:pt x="6273" y="14158"/>
                  </a:lnTo>
                  <a:close/>
                  <a:moveTo>
                    <a:pt x="6288" y="13632"/>
                  </a:moveTo>
                  <a:cubicBezTo>
                    <a:pt x="6292" y="13574"/>
                    <a:pt x="6292" y="13574"/>
                    <a:pt x="6292" y="13574"/>
                  </a:cubicBezTo>
                  <a:cubicBezTo>
                    <a:pt x="6364" y="13579"/>
                    <a:pt x="6364" y="13579"/>
                    <a:pt x="6364" y="13579"/>
                  </a:cubicBezTo>
                  <a:cubicBezTo>
                    <a:pt x="6372" y="13470"/>
                    <a:pt x="6372" y="13470"/>
                    <a:pt x="6372" y="13470"/>
                  </a:cubicBezTo>
                  <a:cubicBezTo>
                    <a:pt x="6187" y="13457"/>
                    <a:pt x="6187" y="13457"/>
                    <a:pt x="6187" y="13457"/>
                  </a:cubicBezTo>
                  <a:cubicBezTo>
                    <a:pt x="6183" y="13510"/>
                    <a:pt x="6183" y="13510"/>
                    <a:pt x="6183" y="13510"/>
                  </a:cubicBezTo>
                  <a:cubicBezTo>
                    <a:pt x="6173" y="13509"/>
                    <a:pt x="6173" y="13509"/>
                    <a:pt x="6173" y="13509"/>
                  </a:cubicBezTo>
                  <a:cubicBezTo>
                    <a:pt x="6165" y="13626"/>
                    <a:pt x="6165" y="13626"/>
                    <a:pt x="6165" y="13626"/>
                  </a:cubicBezTo>
                  <a:cubicBezTo>
                    <a:pt x="6281" y="13631"/>
                    <a:pt x="6281" y="13631"/>
                    <a:pt x="6281" y="13631"/>
                  </a:cubicBezTo>
                  <a:lnTo>
                    <a:pt x="6288" y="13632"/>
                  </a:lnTo>
                  <a:close/>
                  <a:moveTo>
                    <a:pt x="6275" y="13618"/>
                  </a:moveTo>
                  <a:cubicBezTo>
                    <a:pt x="6179" y="13614"/>
                    <a:pt x="6179" y="13614"/>
                    <a:pt x="6179" y="13614"/>
                  </a:cubicBezTo>
                  <a:cubicBezTo>
                    <a:pt x="6185" y="13523"/>
                    <a:pt x="6185" y="13523"/>
                    <a:pt x="6185" y="13523"/>
                  </a:cubicBezTo>
                  <a:cubicBezTo>
                    <a:pt x="6196" y="13524"/>
                    <a:pt x="6196" y="13524"/>
                    <a:pt x="6196" y="13524"/>
                  </a:cubicBezTo>
                  <a:cubicBezTo>
                    <a:pt x="6199" y="13471"/>
                    <a:pt x="6199" y="13471"/>
                    <a:pt x="6199" y="13471"/>
                  </a:cubicBezTo>
                  <a:cubicBezTo>
                    <a:pt x="6358" y="13482"/>
                    <a:pt x="6358" y="13482"/>
                    <a:pt x="6358" y="13482"/>
                  </a:cubicBezTo>
                  <a:cubicBezTo>
                    <a:pt x="6352" y="13565"/>
                    <a:pt x="6352" y="13565"/>
                    <a:pt x="6352" y="13565"/>
                  </a:cubicBezTo>
                  <a:cubicBezTo>
                    <a:pt x="6279" y="13560"/>
                    <a:pt x="6279" y="13560"/>
                    <a:pt x="6279" y="13560"/>
                  </a:cubicBezTo>
                  <a:lnTo>
                    <a:pt x="6275" y="13618"/>
                  </a:lnTo>
                  <a:close/>
                  <a:moveTo>
                    <a:pt x="5301" y="10389"/>
                  </a:moveTo>
                  <a:cubicBezTo>
                    <a:pt x="5121" y="10433"/>
                    <a:pt x="5121" y="10433"/>
                    <a:pt x="5121" y="10433"/>
                  </a:cubicBezTo>
                  <a:cubicBezTo>
                    <a:pt x="5133" y="10483"/>
                    <a:pt x="5133" y="10483"/>
                    <a:pt x="5133" y="10483"/>
                  </a:cubicBezTo>
                  <a:cubicBezTo>
                    <a:pt x="5123" y="10486"/>
                    <a:pt x="5123" y="10486"/>
                    <a:pt x="5123" y="10486"/>
                  </a:cubicBezTo>
                  <a:cubicBezTo>
                    <a:pt x="5150" y="10600"/>
                    <a:pt x="5150" y="10600"/>
                    <a:pt x="5150" y="10600"/>
                  </a:cubicBezTo>
                  <a:cubicBezTo>
                    <a:pt x="5263" y="10570"/>
                    <a:pt x="5263" y="10570"/>
                    <a:pt x="5263" y="10570"/>
                  </a:cubicBezTo>
                  <a:cubicBezTo>
                    <a:pt x="5269" y="10569"/>
                    <a:pt x="5269" y="10569"/>
                    <a:pt x="5269" y="10569"/>
                  </a:cubicBezTo>
                  <a:cubicBezTo>
                    <a:pt x="5256" y="10513"/>
                    <a:pt x="5256" y="10513"/>
                    <a:pt x="5256" y="10513"/>
                  </a:cubicBezTo>
                  <a:cubicBezTo>
                    <a:pt x="5327" y="10496"/>
                    <a:pt x="5327" y="10496"/>
                    <a:pt x="5327" y="10496"/>
                  </a:cubicBezTo>
                  <a:lnTo>
                    <a:pt x="5301" y="10389"/>
                  </a:lnTo>
                  <a:close/>
                  <a:moveTo>
                    <a:pt x="5253" y="10559"/>
                  </a:moveTo>
                  <a:cubicBezTo>
                    <a:pt x="5160" y="10584"/>
                    <a:pt x="5160" y="10584"/>
                    <a:pt x="5160" y="10584"/>
                  </a:cubicBezTo>
                  <a:cubicBezTo>
                    <a:pt x="5139" y="10495"/>
                    <a:pt x="5139" y="10495"/>
                    <a:pt x="5139" y="10495"/>
                  </a:cubicBezTo>
                  <a:cubicBezTo>
                    <a:pt x="5149" y="10493"/>
                    <a:pt x="5149" y="10493"/>
                    <a:pt x="5149" y="10493"/>
                  </a:cubicBezTo>
                  <a:cubicBezTo>
                    <a:pt x="5136" y="10442"/>
                    <a:pt x="5136" y="10442"/>
                    <a:pt x="5136" y="10442"/>
                  </a:cubicBezTo>
                  <a:cubicBezTo>
                    <a:pt x="5291" y="10405"/>
                    <a:pt x="5291" y="10405"/>
                    <a:pt x="5291" y="10405"/>
                  </a:cubicBezTo>
                  <a:cubicBezTo>
                    <a:pt x="5311" y="10486"/>
                    <a:pt x="5311" y="10486"/>
                    <a:pt x="5311" y="10486"/>
                  </a:cubicBezTo>
                  <a:cubicBezTo>
                    <a:pt x="5240" y="10503"/>
                    <a:pt x="5240" y="10503"/>
                    <a:pt x="5240" y="10503"/>
                  </a:cubicBezTo>
                  <a:lnTo>
                    <a:pt x="5253" y="10559"/>
                  </a:lnTo>
                  <a:close/>
                  <a:moveTo>
                    <a:pt x="5607" y="11992"/>
                  </a:moveTo>
                  <a:cubicBezTo>
                    <a:pt x="5596" y="11990"/>
                    <a:pt x="5596" y="11990"/>
                    <a:pt x="5596" y="11990"/>
                  </a:cubicBezTo>
                  <a:cubicBezTo>
                    <a:pt x="5577" y="12106"/>
                    <a:pt x="5577" y="12106"/>
                    <a:pt x="5577" y="12106"/>
                  </a:cubicBezTo>
                  <a:cubicBezTo>
                    <a:pt x="5693" y="12122"/>
                    <a:pt x="5693" y="12122"/>
                    <a:pt x="5693" y="12122"/>
                  </a:cubicBezTo>
                  <a:cubicBezTo>
                    <a:pt x="5699" y="12123"/>
                    <a:pt x="5699" y="12123"/>
                    <a:pt x="5699" y="12123"/>
                  </a:cubicBezTo>
                  <a:cubicBezTo>
                    <a:pt x="5708" y="12066"/>
                    <a:pt x="5708" y="12066"/>
                    <a:pt x="5708" y="12066"/>
                  </a:cubicBezTo>
                  <a:cubicBezTo>
                    <a:pt x="5780" y="12078"/>
                    <a:pt x="5780" y="12078"/>
                    <a:pt x="5780" y="12078"/>
                  </a:cubicBezTo>
                  <a:cubicBezTo>
                    <a:pt x="5798" y="11970"/>
                    <a:pt x="5798" y="11970"/>
                    <a:pt x="5798" y="11970"/>
                  </a:cubicBezTo>
                  <a:cubicBezTo>
                    <a:pt x="5615" y="11940"/>
                    <a:pt x="5615" y="11940"/>
                    <a:pt x="5615" y="11940"/>
                  </a:cubicBezTo>
                  <a:lnTo>
                    <a:pt x="5607" y="11992"/>
                  </a:lnTo>
                  <a:close/>
                  <a:moveTo>
                    <a:pt x="5626" y="11955"/>
                  </a:moveTo>
                  <a:cubicBezTo>
                    <a:pt x="5783" y="11980"/>
                    <a:pt x="5783" y="11980"/>
                    <a:pt x="5783" y="11980"/>
                  </a:cubicBezTo>
                  <a:cubicBezTo>
                    <a:pt x="5770" y="12063"/>
                    <a:pt x="5770" y="12063"/>
                    <a:pt x="5770" y="12063"/>
                  </a:cubicBezTo>
                  <a:cubicBezTo>
                    <a:pt x="5697" y="12051"/>
                    <a:pt x="5697" y="12051"/>
                    <a:pt x="5697" y="12051"/>
                  </a:cubicBezTo>
                  <a:cubicBezTo>
                    <a:pt x="5688" y="12108"/>
                    <a:pt x="5688" y="12108"/>
                    <a:pt x="5688" y="12108"/>
                  </a:cubicBezTo>
                  <a:cubicBezTo>
                    <a:pt x="5593" y="12095"/>
                    <a:pt x="5593" y="12095"/>
                    <a:pt x="5593" y="12095"/>
                  </a:cubicBezTo>
                  <a:cubicBezTo>
                    <a:pt x="5607" y="12005"/>
                    <a:pt x="5607" y="12005"/>
                    <a:pt x="5607" y="12005"/>
                  </a:cubicBezTo>
                  <a:cubicBezTo>
                    <a:pt x="5617" y="12007"/>
                    <a:pt x="5617" y="12007"/>
                    <a:pt x="5617" y="12007"/>
                  </a:cubicBezTo>
                  <a:lnTo>
                    <a:pt x="5626" y="11955"/>
                  </a:lnTo>
                  <a:close/>
                  <a:moveTo>
                    <a:pt x="5576" y="12213"/>
                  </a:moveTo>
                  <a:cubicBezTo>
                    <a:pt x="5566" y="12211"/>
                    <a:pt x="5566" y="12211"/>
                    <a:pt x="5566" y="12211"/>
                  </a:cubicBezTo>
                  <a:cubicBezTo>
                    <a:pt x="5547" y="12327"/>
                    <a:pt x="5547" y="12327"/>
                    <a:pt x="5547" y="12327"/>
                  </a:cubicBezTo>
                  <a:cubicBezTo>
                    <a:pt x="5662" y="12343"/>
                    <a:pt x="5662" y="12343"/>
                    <a:pt x="5662" y="12343"/>
                  </a:cubicBezTo>
                  <a:cubicBezTo>
                    <a:pt x="5668" y="12344"/>
                    <a:pt x="5668" y="12344"/>
                    <a:pt x="5668" y="12344"/>
                  </a:cubicBezTo>
                  <a:cubicBezTo>
                    <a:pt x="5678" y="12288"/>
                    <a:pt x="5678" y="12288"/>
                    <a:pt x="5678" y="12288"/>
                  </a:cubicBezTo>
                  <a:cubicBezTo>
                    <a:pt x="5750" y="12299"/>
                    <a:pt x="5750" y="12299"/>
                    <a:pt x="5750" y="12299"/>
                  </a:cubicBezTo>
                  <a:cubicBezTo>
                    <a:pt x="5767" y="12191"/>
                    <a:pt x="5767" y="12191"/>
                    <a:pt x="5767" y="12191"/>
                  </a:cubicBezTo>
                  <a:cubicBezTo>
                    <a:pt x="5584" y="12161"/>
                    <a:pt x="5584" y="12161"/>
                    <a:pt x="5584" y="12161"/>
                  </a:cubicBezTo>
                  <a:lnTo>
                    <a:pt x="5576" y="12213"/>
                  </a:lnTo>
                  <a:close/>
                  <a:moveTo>
                    <a:pt x="5595" y="12176"/>
                  </a:moveTo>
                  <a:cubicBezTo>
                    <a:pt x="5752" y="12202"/>
                    <a:pt x="5752" y="12202"/>
                    <a:pt x="5752" y="12202"/>
                  </a:cubicBezTo>
                  <a:cubicBezTo>
                    <a:pt x="5739" y="12284"/>
                    <a:pt x="5739" y="12284"/>
                    <a:pt x="5739" y="12284"/>
                  </a:cubicBezTo>
                  <a:cubicBezTo>
                    <a:pt x="5667" y="12273"/>
                    <a:pt x="5667" y="12273"/>
                    <a:pt x="5667" y="12273"/>
                  </a:cubicBezTo>
                  <a:cubicBezTo>
                    <a:pt x="5657" y="12329"/>
                    <a:pt x="5657" y="12329"/>
                    <a:pt x="5657" y="12329"/>
                  </a:cubicBezTo>
                  <a:cubicBezTo>
                    <a:pt x="5562" y="12316"/>
                    <a:pt x="5562" y="12316"/>
                    <a:pt x="5562" y="12316"/>
                  </a:cubicBezTo>
                  <a:cubicBezTo>
                    <a:pt x="5576" y="12226"/>
                    <a:pt x="5576" y="12226"/>
                    <a:pt x="5576" y="12226"/>
                  </a:cubicBezTo>
                  <a:cubicBezTo>
                    <a:pt x="5587" y="12228"/>
                    <a:pt x="5587" y="12228"/>
                    <a:pt x="5587" y="12228"/>
                  </a:cubicBezTo>
                  <a:lnTo>
                    <a:pt x="5595" y="12176"/>
                  </a:lnTo>
                  <a:close/>
                  <a:moveTo>
                    <a:pt x="6909" y="13971"/>
                  </a:moveTo>
                  <a:cubicBezTo>
                    <a:pt x="6901" y="14022"/>
                    <a:pt x="6901" y="14022"/>
                    <a:pt x="6901" y="14022"/>
                  </a:cubicBezTo>
                  <a:cubicBezTo>
                    <a:pt x="6891" y="14021"/>
                    <a:pt x="6891" y="14021"/>
                    <a:pt x="6891" y="14021"/>
                  </a:cubicBezTo>
                  <a:cubicBezTo>
                    <a:pt x="6874" y="14137"/>
                    <a:pt x="6874" y="14137"/>
                    <a:pt x="6874" y="14137"/>
                  </a:cubicBezTo>
                  <a:cubicBezTo>
                    <a:pt x="6989" y="14152"/>
                    <a:pt x="6989" y="14152"/>
                    <a:pt x="6989" y="14152"/>
                  </a:cubicBezTo>
                  <a:cubicBezTo>
                    <a:pt x="6995" y="14153"/>
                    <a:pt x="6995" y="14153"/>
                    <a:pt x="6995" y="14153"/>
                  </a:cubicBezTo>
                  <a:cubicBezTo>
                    <a:pt x="7004" y="14096"/>
                    <a:pt x="7004" y="14096"/>
                    <a:pt x="7004" y="14096"/>
                  </a:cubicBezTo>
                  <a:cubicBezTo>
                    <a:pt x="7076" y="14107"/>
                    <a:pt x="7076" y="14107"/>
                    <a:pt x="7076" y="14107"/>
                  </a:cubicBezTo>
                  <a:cubicBezTo>
                    <a:pt x="7093" y="13998"/>
                    <a:pt x="7093" y="13998"/>
                    <a:pt x="7093" y="13998"/>
                  </a:cubicBezTo>
                  <a:lnTo>
                    <a:pt x="6909" y="13971"/>
                  </a:lnTo>
                  <a:close/>
                  <a:moveTo>
                    <a:pt x="7065" y="14092"/>
                  </a:moveTo>
                  <a:cubicBezTo>
                    <a:pt x="6993" y="14081"/>
                    <a:pt x="6993" y="14081"/>
                    <a:pt x="6993" y="14081"/>
                  </a:cubicBezTo>
                  <a:cubicBezTo>
                    <a:pt x="6984" y="14138"/>
                    <a:pt x="6984" y="14138"/>
                    <a:pt x="6984" y="14138"/>
                  </a:cubicBezTo>
                  <a:cubicBezTo>
                    <a:pt x="6889" y="14126"/>
                    <a:pt x="6889" y="14126"/>
                    <a:pt x="6889" y="14126"/>
                  </a:cubicBezTo>
                  <a:cubicBezTo>
                    <a:pt x="6902" y="14036"/>
                    <a:pt x="6902" y="14036"/>
                    <a:pt x="6902" y="14036"/>
                  </a:cubicBezTo>
                  <a:cubicBezTo>
                    <a:pt x="6913" y="14037"/>
                    <a:pt x="6913" y="14037"/>
                    <a:pt x="6913" y="14037"/>
                  </a:cubicBezTo>
                  <a:cubicBezTo>
                    <a:pt x="6920" y="13986"/>
                    <a:pt x="6920" y="13986"/>
                    <a:pt x="6920" y="13986"/>
                  </a:cubicBezTo>
                  <a:cubicBezTo>
                    <a:pt x="7078" y="14009"/>
                    <a:pt x="7078" y="14009"/>
                    <a:pt x="7078" y="14009"/>
                  </a:cubicBezTo>
                  <a:lnTo>
                    <a:pt x="7065" y="14092"/>
                  </a:lnTo>
                  <a:close/>
                  <a:moveTo>
                    <a:pt x="7208" y="13898"/>
                  </a:moveTo>
                  <a:cubicBezTo>
                    <a:pt x="7197" y="13897"/>
                    <a:pt x="7197" y="13897"/>
                    <a:pt x="7197" y="13897"/>
                  </a:cubicBezTo>
                  <a:cubicBezTo>
                    <a:pt x="7180" y="14013"/>
                    <a:pt x="7180" y="14013"/>
                    <a:pt x="7180" y="14013"/>
                  </a:cubicBezTo>
                  <a:cubicBezTo>
                    <a:pt x="7295" y="14028"/>
                    <a:pt x="7295" y="14028"/>
                    <a:pt x="7295" y="14028"/>
                  </a:cubicBezTo>
                  <a:cubicBezTo>
                    <a:pt x="7302" y="14029"/>
                    <a:pt x="7302" y="14029"/>
                    <a:pt x="7302" y="14029"/>
                  </a:cubicBezTo>
                  <a:cubicBezTo>
                    <a:pt x="7310" y="13972"/>
                    <a:pt x="7310" y="13972"/>
                    <a:pt x="7310" y="13972"/>
                  </a:cubicBezTo>
                  <a:cubicBezTo>
                    <a:pt x="7382" y="13983"/>
                    <a:pt x="7382" y="13983"/>
                    <a:pt x="7382" y="13983"/>
                  </a:cubicBezTo>
                  <a:cubicBezTo>
                    <a:pt x="7399" y="13874"/>
                    <a:pt x="7399" y="13874"/>
                    <a:pt x="7399" y="13874"/>
                  </a:cubicBezTo>
                  <a:cubicBezTo>
                    <a:pt x="7215" y="13847"/>
                    <a:pt x="7215" y="13847"/>
                    <a:pt x="7215" y="13847"/>
                  </a:cubicBezTo>
                  <a:lnTo>
                    <a:pt x="7208" y="13898"/>
                  </a:lnTo>
                  <a:close/>
                  <a:moveTo>
                    <a:pt x="7226" y="13862"/>
                  </a:moveTo>
                  <a:cubicBezTo>
                    <a:pt x="7384" y="13885"/>
                    <a:pt x="7384" y="13885"/>
                    <a:pt x="7384" y="13885"/>
                  </a:cubicBezTo>
                  <a:cubicBezTo>
                    <a:pt x="7371" y="13968"/>
                    <a:pt x="7371" y="13968"/>
                    <a:pt x="7371" y="13968"/>
                  </a:cubicBezTo>
                  <a:cubicBezTo>
                    <a:pt x="7299" y="13957"/>
                    <a:pt x="7299" y="13957"/>
                    <a:pt x="7299" y="13957"/>
                  </a:cubicBezTo>
                  <a:cubicBezTo>
                    <a:pt x="7290" y="14014"/>
                    <a:pt x="7290" y="14014"/>
                    <a:pt x="7290" y="14014"/>
                  </a:cubicBezTo>
                  <a:cubicBezTo>
                    <a:pt x="7195" y="14002"/>
                    <a:pt x="7195" y="14002"/>
                    <a:pt x="7195" y="14002"/>
                  </a:cubicBezTo>
                  <a:cubicBezTo>
                    <a:pt x="7208" y="13912"/>
                    <a:pt x="7208" y="13912"/>
                    <a:pt x="7208" y="13912"/>
                  </a:cubicBezTo>
                  <a:cubicBezTo>
                    <a:pt x="7219" y="13913"/>
                    <a:pt x="7219" y="13913"/>
                    <a:pt x="7219" y="13913"/>
                  </a:cubicBezTo>
                  <a:lnTo>
                    <a:pt x="7226" y="13862"/>
                  </a:lnTo>
                  <a:close/>
                  <a:moveTo>
                    <a:pt x="7527" y="13884"/>
                  </a:moveTo>
                  <a:cubicBezTo>
                    <a:pt x="7516" y="13883"/>
                    <a:pt x="7516" y="13883"/>
                    <a:pt x="7516" y="13883"/>
                  </a:cubicBezTo>
                  <a:cubicBezTo>
                    <a:pt x="7499" y="13999"/>
                    <a:pt x="7499" y="13999"/>
                    <a:pt x="7499" y="13999"/>
                  </a:cubicBezTo>
                  <a:cubicBezTo>
                    <a:pt x="7614" y="14014"/>
                    <a:pt x="7614" y="14014"/>
                    <a:pt x="7614" y="14014"/>
                  </a:cubicBezTo>
                  <a:cubicBezTo>
                    <a:pt x="7621" y="14014"/>
                    <a:pt x="7621" y="14014"/>
                    <a:pt x="7621" y="14014"/>
                  </a:cubicBezTo>
                  <a:cubicBezTo>
                    <a:pt x="7629" y="13958"/>
                    <a:pt x="7629" y="13958"/>
                    <a:pt x="7629" y="13958"/>
                  </a:cubicBezTo>
                  <a:cubicBezTo>
                    <a:pt x="7701" y="13969"/>
                    <a:pt x="7701" y="13969"/>
                    <a:pt x="7701" y="13969"/>
                  </a:cubicBezTo>
                  <a:cubicBezTo>
                    <a:pt x="7718" y="13860"/>
                    <a:pt x="7718" y="13860"/>
                    <a:pt x="7718" y="13860"/>
                  </a:cubicBezTo>
                  <a:cubicBezTo>
                    <a:pt x="7534" y="13832"/>
                    <a:pt x="7534" y="13832"/>
                    <a:pt x="7534" y="13832"/>
                  </a:cubicBezTo>
                  <a:lnTo>
                    <a:pt x="7527" y="13884"/>
                  </a:lnTo>
                  <a:close/>
                  <a:moveTo>
                    <a:pt x="7545" y="13847"/>
                  </a:moveTo>
                  <a:cubicBezTo>
                    <a:pt x="7703" y="13871"/>
                    <a:pt x="7703" y="13871"/>
                    <a:pt x="7703" y="13871"/>
                  </a:cubicBezTo>
                  <a:cubicBezTo>
                    <a:pt x="7690" y="13954"/>
                    <a:pt x="7690" y="13954"/>
                    <a:pt x="7690" y="13954"/>
                  </a:cubicBezTo>
                  <a:cubicBezTo>
                    <a:pt x="7618" y="13943"/>
                    <a:pt x="7618" y="13943"/>
                    <a:pt x="7618" y="13943"/>
                  </a:cubicBezTo>
                  <a:cubicBezTo>
                    <a:pt x="7609" y="14000"/>
                    <a:pt x="7609" y="14000"/>
                    <a:pt x="7609" y="14000"/>
                  </a:cubicBezTo>
                  <a:cubicBezTo>
                    <a:pt x="7514" y="13988"/>
                    <a:pt x="7514" y="13988"/>
                    <a:pt x="7514" y="13988"/>
                  </a:cubicBezTo>
                  <a:cubicBezTo>
                    <a:pt x="7527" y="13897"/>
                    <a:pt x="7527" y="13897"/>
                    <a:pt x="7527" y="13897"/>
                  </a:cubicBezTo>
                  <a:cubicBezTo>
                    <a:pt x="7538" y="13899"/>
                    <a:pt x="7538" y="13899"/>
                    <a:pt x="7538" y="13899"/>
                  </a:cubicBezTo>
                  <a:lnTo>
                    <a:pt x="7545" y="13847"/>
                  </a:lnTo>
                  <a:close/>
                  <a:moveTo>
                    <a:pt x="5857" y="15387"/>
                  </a:moveTo>
                  <a:cubicBezTo>
                    <a:pt x="5914" y="15387"/>
                    <a:pt x="5914" y="15387"/>
                    <a:pt x="5914" y="15387"/>
                  </a:cubicBezTo>
                  <a:cubicBezTo>
                    <a:pt x="5915" y="15460"/>
                    <a:pt x="5915" y="15460"/>
                    <a:pt x="5915" y="15460"/>
                  </a:cubicBezTo>
                  <a:cubicBezTo>
                    <a:pt x="6025" y="15459"/>
                    <a:pt x="6025" y="15459"/>
                    <a:pt x="6025" y="15459"/>
                  </a:cubicBezTo>
                  <a:cubicBezTo>
                    <a:pt x="6023" y="15274"/>
                    <a:pt x="6023" y="15274"/>
                    <a:pt x="6023" y="15274"/>
                  </a:cubicBezTo>
                  <a:cubicBezTo>
                    <a:pt x="5971" y="15274"/>
                    <a:pt x="5971" y="15274"/>
                    <a:pt x="5971" y="15274"/>
                  </a:cubicBezTo>
                  <a:cubicBezTo>
                    <a:pt x="5971" y="15264"/>
                    <a:pt x="5971" y="15264"/>
                    <a:pt x="5971" y="15264"/>
                  </a:cubicBezTo>
                  <a:cubicBezTo>
                    <a:pt x="5853" y="15265"/>
                    <a:pt x="5853" y="15265"/>
                    <a:pt x="5853" y="15265"/>
                  </a:cubicBezTo>
                  <a:cubicBezTo>
                    <a:pt x="5857" y="15381"/>
                    <a:pt x="5857" y="15381"/>
                    <a:pt x="5857" y="15381"/>
                  </a:cubicBezTo>
                  <a:lnTo>
                    <a:pt x="5857" y="15387"/>
                  </a:lnTo>
                  <a:close/>
                  <a:moveTo>
                    <a:pt x="5958" y="15277"/>
                  </a:moveTo>
                  <a:cubicBezTo>
                    <a:pt x="5958" y="15288"/>
                    <a:pt x="5958" y="15288"/>
                    <a:pt x="5958" y="15288"/>
                  </a:cubicBezTo>
                  <a:cubicBezTo>
                    <a:pt x="6010" y="15287"/>
                    <a:pt x="6010" y="15287"/>
                    <a:pt x="6010" y="15287"/>
                  </a:cubicBezTo>
                  <a:cubicBezTo>
                    <a:pt x="6011" y="15446"/>
                    <a:pt x="6011" y="15446"/>
                    <a:pt x="6011" y="15446"/>
                  </a:cubicBezTo>
                  <a:cubicBezTo>
                    <a:pt x="5928" y="15447"/>
                    <a:pt x="5928" y="15447"/>
                    <a:pt x="5928" y="15447"/>
                  </a:cubicBezTo>
                  <a:cubicBezTo>
                    <a:pt x="5927" y="15374"/>
                    <a:pt x="5927" y="15374"/>
                    <a:pt x="5927" y="15374"/>
                  </a:cubicBezTo>
                  <a:cubicBezTo>
                    <a:pt x="5870" y="15374"/>
                    <a:pt x="5870" y="15374"/>
                    <a:pt x="5870" y="15374"/>
                  </a:cubicBezTo>
                  <a:cubicBezTo>
                    <a:pt x="5867" y="15278"/>
                    <a:pt x="5867" y="15278"/>
                    <a:pt x="5867" y="15278"/>
                  </a:cubicBezTo>
                  <a:lnTo>
                    <a:pt x="5958" y="15277"/>
                  </a:lnTo>
                  <a:close/>
                  <a:moveTo>
                    <a:pt x="4170" y="17291"/>
                  </a:moveTo>
                  <a:cubicBezTo>
                    <a:pt x="4160" y="17291"/>
                    <a:pt x="4160" y="17291"/>
                    <a:pt x="4160" y="17291"/>
                  </a:cubicBezTo>
                  <a:cubicBezTo>
                    <a:pt x="4156" y="17409"/>
                    <a:pt x="4156" y="17409"/>
                    <a:pt x="4156" y="17409"/>
                  </a:cubicBezTo>
                  <a:cubicBezTo>
                    <a:pt x="4273" y="17409"/>
                    <a:pt x="4273" y="17409"/>
                    <a:pt x="4273" y="17409"/>
                  </a:cubicBezTo>
                  <a:cubicBezTo>
                    <a:pt x="4279" y="17410"/>
                    <a:pt x="4279" y="17410"/>
                    <a:pt x="4279" y="17410"/>
                  </a:cubicBezTo>
                  <a:cubicBezTo>
                    <a:pt x="4281" y="17352"/>
                    <a:pt x="4281" y="17352"/>
                    <a:pt x="4281" y="17352"/>
                  </a:cubicBezTo>
                  <a:cubicBezTo>
                    <a:pt x="4354" y="17355"/>
                    <a:pt x="4354" y="17355"/>
                    <a:pt x="4354" y="17355"/>
                  </a:cubicBezTo>
                  <a:cubicBezTo>
                    <a:pt x="4357" y="17245"/>
                    <a:pt x="4357" y="17245"/>
                    <a:pt x="4357" y="17245"/>
                  </a:cubicBezTo>
                  <a:cubicBezTo>
                    <a:pt x="4172" y="17239"/>
                    <a:pt x="4172" y="17239"/>
                    <a:pt x="4172" y="17239"/>
                  </a:cubicBezTo>
                  <a:lnTo>
                    <a:pt x="4170" y="17291"/>
                  </a:lnTo>
                  <a:close/>
                  <a:moveTo>
                    <a:pt x="4183" y="17305"/>
                  </a:moveTo>
                  <a:cubicBezTo>
                    <a:pt x="4185" y="17253"/>
                    <a:pt x="4185" y="17253"/>
                    <a:pt x="4185" y="17253"/>
                  </a:cubicBezTo>
                  <a:cubicBezTo>
                    <a:pt x="4344" y="17258"/>
                    <a:pt x="4344" y="17258"/>
                    <a:pt x="4344" y="17258"/>
                  </a:cubicBezTo>
                  <a:cubicBezTo>
                    <a:pt x="4341" y="17341"/>
                    <a:pt x="4341" y="17341"/>
                    <a:pt x="4341" y="17341"/>
                  </a:cubicBezTo>
                  <a:cubicBezTo>
                    <a:pt x="4268" y="17339"/>
                    <a:pt x="4268" y="17339"/>
                    <a:pt x="4268" y="17339"/>
                  </a:cubicBezTo>
                  <a:cubicBezTo>
                    <a:pt x="4266" y="17396"/>
                    <a:pt x="4266" y="17396"/>
                    <a:pt x="4266" y="17396"/>
                  </a:cubicBezTo>
                  <a:cubicBezTo>
                    <a:pt x="4170" y="17396"/>
                    <a:pt x="4170" y="17396"/>
                    <a:pt x="4170" y="17396"/>
                  </a:cubicBezTo>
                  <a:cubicBezTo>
                    <a:pt x="4173" y="17304"/>
                    <a:pt x="4173" y="17304"/>
                    <a:pt x="4173" y="17304"/>
                  </a:cubicBezTo>
                  <a:lnTo>
                    <a:pt x="4183" y="17305"/>
                  </a:lnTo>
                  <a:close/>
                  <a:moveTo>
                    <a:pt x="5002" y="17916"/>
                  </a:moveTo>
                  <a:cubicBezTo>
                    <a:pt x="5003" y="18000"/>
                    <a:pt x="5003" y="18000"/>
                    <a:pt x="5003" y="18000"/>
                  </a:cubicBezTo>
                  <a:cubicBezTo>
                    <a:pt x="4989" y="18000"/>
                    <a:pt x="4989" y="18000"/>
                    <a:pt x="4989" y="18000"/>
                  </a:cubicBezTo>
                  <a:cubicBezTo>
                    <a:pt x="4989" y="17929"/>
                    <a:pt x="4989" y="17929"/>
                    <a:pt x="4989" y="17929"/>
                  </a:cubicBezTo>
                  <a:cubicBezTo>
                    <a:pt x="4937" y="17929"/>
                    <a:pt x="4937" y="17929"/>
                    <a:pt x="4937" y="17929"/>
                  </a:cubicBezTo>
                  <a:cubicBezTo>
                    <a:pt x="4937" y="17919"/>
                    <a:pt x="4937" y="17919"/>
                    <a:pt x="4937" y="17919"/>
                  </a:cubicBezTo>
                  <a:cubicBezTo>
                    <a:pt x="4846" y="17919"/>
                    <a:pt x="4846" y="17919"/>
                    <a:pt x="4846" y="17919"/>
                  </a:cubicBezTo>
                  <a:cubicBezTo>
                    <a:pt x="4848" y="18000"/>
                    <a:pt x="4848" y="18000"/>
                    <a:pt x="4848" y="18000"/>
                  </a:cubicBezTo>
                  <a:cubicBezTo>
                    <a:pt x="4835" y="18000"/>
                    <a:pt x="4835" y="18000"/>
                    <a:pt x="4835" y="18000"/>
                  </a:cubicBezTo>
                  <a:cubicBezTo>
                    <a:pt x="4832" y="17906"/>
                    <a:pt x="4832" y="17906"/>
                    <a:pt x="4832" y="17906"/>
                  </a:cubicBezTo>
                  <a:cubicBezTo>
                    <a:pt x="4950" y="17906"/>
                    <a:pt x="4950" y="17906"/>
                    <a:pt x="4950" y="17906"/>
                  </a:cubicBezTo>
                  <a:cubicBezTo>
                    <a:pt x="4950" y="17916"/>
                    <a:pt x="4950" y="17916"/>
                    <a:pt x="4950" y="17916"/>
                  </a:cubicBezTo>
                  <a:lnTo>
                    <a:pt x="5002" y="17916"/>
                  </a:lnTo>
                  <a:close/>
                  <a:moveTo>
                    <a:pt x="5145" y="5937"/>
                  </a:moveTo>
                  <a:cubicBezTo>
                    <a:pt x="5253" y="5958"/>
                    <a:pt x="5253" y="5958"/>
                    <a:pt x="5253" y="5958"/>
                  </a:cubicBezTo>
                  <a:cubicBezTo>
                    <a:pt x="5289" y="5776"/>
                    <a:pt x="5289" y="5776"/>
                    <a:pt x="5289" y="5776"/>
                  </a:cubicBezTo>
                  <a:cubicBezTo>
                    <a:pt x="5238" y="5766"/>
                    <a:pt x="5238" y="5766"/>
                    <a:pt x="5238" y="5766"/>
                  </a:cubicBezTo>
                  <a:cubicBezTo>
                    <a:pt x="5240" y="5756"/>
                    <a:pt x="5240" y="5756"/>
                    <a:pt x="5240" y="5756"/>
                  </a:cubicBezTo>
                  <a:cubicBezTo>
                    <a:pt x="5124" y="5733"/>
                    <a:pt x="5124" y="5733"/>
                    <a:pt x="5124" y="5733"/>
                  </a:cubicBezTo>
                  <a:cubicBezTo>
                    <a:pt x="5105" y="5847"/>
                    <a:pt x="5105" y="5847"/>
                    <a:pt x="5105" y="5847"/>
                  </a:cubicBezTo>
                  <a:cubicBezTo>
                    <a:pt x="5103" y="5854"/>
                    <a:pt x="5103" y="5854"/>
                    <a:pt x="5103" y="5854"/>
                  </a:cubicBezTo>
                  <a:cubicBezTo>
                    <a:pt x="5160" y="5865"/>
                    <a:pt x="5160" y="5865"/>
                    <a:pt x="5160" y="5865"/>
                  </a:cubicBezTo>
                  <a:lnTo>
                    <a:pt x="5145" y="5937"/>
                  </a:lnTo>
                  <a:close/>
                  <a:moveTo>
                    <a:pt x="5119" y="5843"/>
                  </a:moveTo>
                  <a:cubicBezTo>
                    <a:pt x="5135" y="5748"/>
                    <a:pt x="5135" y="5748"/>
                    <a:pt x="5135" y="5748"/>
                  </a:cubicBezTo>
                  <a:cubicBezTo>
                    <a:pt x="5224" y="5766"/>
                    <a:pt x="5224" y="5766"/>
                    <a:pt x="5224" y="5766"/>
                  </a:cubicBezTo>
                  <a:cubicBezTo>
                    <a:pt x="5222" y="5776"/>
                    <a:pt x="5222" y="5776"/>
                    <a:pt x="5222" y="5776"/>
                  </a:cubicBezTo>
                  <a:cubicBezTo>
                    <a:pt x="5274" y="5786"/>
                    <a:pt x="5274" y="5786"/>
                    <a:pt x="5274" y="5786"/>
                  </a:cubicBezTo>
                  <a:cubicBezTo>
                    <a:pt x="5243" y="5942"/>
                    <a:pt x="5243" y="5942"/>
                    <a:pt x="5243" y="5942"/>
                  </a:cubicBezTo>
                  <a:cubicBezTo>
                    <a:pt x="5161" y="5926"/>
                    <a:pt x="5161" y="5926"/>
                    <a:pt x="5161" y="5926"/>
                  </a:cubicBezTo>
                  <a:cubicBezTo>
                    <a:pt x="5175" y="5855"/>
                    <a:pt x="5175" y="5855"/>
                    <a:pt x="5175" y="5855"/>
                  </a:cubicBezTo>
                  <a:lnTo>
                    <a:pt x="5119" y="5843"/>
                  </a:lnTo>
                  <a:close/>
                  <a:moveTo>
                    <a:pt x="2592" y="4265"/>
                  </a:moveTo>
                  <a:cubicBezTo>
                    <a:pt x="2524" y="4360"/>
                    <a:pt x="2524" y="4360"/>
                    <a:pt x="2524" y="4360"/>
                  </a:cubicBezTo>
                  <a:cubicBezTo>
                    <a:pt x="2520" y="4365"/>
                    <a:pt x="2520" y="4365"/>
                    <a:pt x="2520" y="4365"/>
                  </a:cubicBezTo>
                  <a:cubicBezTo>
                    <a:pt x="2566" y="4400"/>
                    <a:pt x="2566" y="4400"/>
                    <a:pt x="2566" y="4400"/>
                  </a:cubicBezTo>
                  <a:cubicBezTo>
                    <a:pt x="2521" y="4458"/>
                    <a:pt x="2521" y="4458"/>
                    <a:pt x="2521" y="4458"/>
                  </a:cubicBezTo>
                  <a:cubicBezTo>
                    <a:pt x="2608" y="4524"/>
                    <a:pt x="2608" y="4524"/>
                    <a:pt x="2608" y="4524"/>
                  </a:cubicBezTo>
                  <a:cubicBezTo>
                    <a:pt x="2721" y="4377"/>
                    <a:pt x="2721" y="4377"/>
                    <a:pt x="2721" y="4377"/>
                  </a:cubicBezTo>
                  <a:cubicBezTo>
                    <a:pt x="2680" y="4345"/>
                    <a:pt x="2680" y="4345"/>
                    <a:pt x="2680" y="4345"/>
                  </a:cubicBezTo>
                  <a:cubicBezTo>
                    <a:pt x="2686" y="4337"/>
                    <a:pt x="2686" y="4337"/>
                    <a:pt x="2686" y="4337"/>
                  </a:cubicBezTo>
                  <a:lnTo>
                    <a:pt x="2592" y="4265"/>
                  </a:lnTo>
                  <a:close/>
                  <a:moveTo>
                    <a:pt x="2703" y="4379"/>
                  </a:moveTo>
                  <a:cubicBezTo>
                    <a:pt x="2606" y="4506"/>
                    <a:pt x="2606" y="4506"/>
                    <a:pt x="2606" y="4506"/>
                  </a:cubicBezTo>
                  <a:cubicBezTo>
                    <a:pt x="2539" y="4455"/>
                    <a:pt x="2539" y="4455"/>
                    <a:pt x="2539" y="4455"/>
                  </a:cubicBezTo>
                  <a:cubicBezTo>
                    <a:pt x="2584" y="4397"/>
                    <a:pt x="2584" y="4397"/>
                    <a:pt x="2584" y="4397"/>
                  </a:cubicBezTo>
                  <a:cubicBezTo>
                    <a:pt x="2538" y="4362"/>
                    <a:pt x="2538" y="4362"/>
                    <a:pt x="2538" y="4362"/>
                  </a:cubicBezTo>
                  <a:cubicBezTo>
                    <a:pt x="2595" y="4284"/>
                    <a:pt x="2595" y="4284"/>
                    <a:pt x="2595" y="4284"/>
                  </a:cubicBezTo>
                  <a:cubicBezTo>
                    <a:pt x="2667" y="4339"/>
                    <a:pt x="2667" y="4339"/>
                    <a:pt x="2667" y="4339"/>
                  </a:cubicBezTo>
                  <a:cubicBezTo>
                    <a:pt x="2661" y="4348"/>
                    <a:pt x="2661" y="4348"/>
                    <a:pt x="2661" y="4348"/>
                  </a:cubicBezTo>
                  <a:lnTo>
                    <a:pt x="2703" y="4379"/>
                  </a:lnTo>
                  <a:close/>
                  <a:moveTo>
                    <a:pt x="3546" y="5168"/>
                  </a:moveTo>
                  <a:cubicBezTo>
                    <a:pt x="3453" y="5096"/>
                    <a:pt x="3453" y="5096"/>
                    <a:pt x="3453" y="5096"/>
                  </a:cubicBezTo>
                  <a:cubicBezTo>
                    <a:pt x="3384" y="5189"/>
                    <a:pt x="3384" y="5189"/>
                    <a:pt x="3384" y="5189"/>
                  </a:cubicBezTo>
                  <a:cubicBezTo>
                    <a:pt x="3380" y="5194"/>
                    <a:pt x="3380" y="5194"/>
                    <a:pt x="3380" y="5194"/>
                  </a:cubicBezTo>
                  <a:cubicBezTo>
                    <a:pt x="3425" y="5230"/>
                    <a:pt x="3425" y="5230"/>
                    <a:pt x="3425" y="5230"/>
                  </a:cubicBezTo>
                  <a:cubicBezTo>
                    <a:pt x="3380" y="5287"/>
                    <a:pt x="3380" y="5287"/>
                    <a:pt x="3380" y="5287"/>
                  </a:cubicBezTo>
                  <a:cubicBezTo>
                    <a:pt x="3467" y="5355"/>
                    <a:pt x="3467" y="5355"/>
                    <a:pt x="3467" y="5355"/>
                  </a:cubicBezTo>
                  <a:cubicBezTo>
                    <a:pt x="3581" y="5208"/>
                    <a:pt x="3581" y="5208"/>
                    <a:pt x="3581" y="5208"/>
                  </a:cubicBezTo>
                  <a:cubicBezTo>
                    <a:pt x="3539" y="5176"/>
                    <a:pt x="3539" y="5176"/>
                    <a:pt x="3539" y="5176"/>
                  </a:cubicBezTo>
                  <a:lnTo>
                    <a:pt x="3546" y="5168"/>
                  </a:lnTo>
                  <a:close/>
                  <a:moveTo>
                    <a:pt x="3562" y="5210"/>
                  </a:moveTo>
                  <a:cubicBezTo>
                    <a:pt x="3465" y="5336"/>
                    <a:pt x="3465" y="5336"/>
                    <a:pt x="3465" y="5336"/>
                  </a:cubicBezTo>
                  <a:cubicBezTo>
                    <a:pt x="3399" y="5285"/>
                    <a:pt x="3399" y="5285"/>
                    <a:pt x="3399" y="5285"/>
                  </a:cubicBezTo>
                  <a:cubicBezTo>
                    <a:pt x="3443" y="5227"/>
                    <a:pt x="3443" y="5227"/>
                    <a:pt x="3443" y="5227"/>
                  </a:cubicBezTo>
                  <a:cubicBezTo>
                    <a:pt x="3398" y="5192"/>
                    <a:pt x="3398" y="5192"/>
                    <a:pt x="3398" y="5192"/>
                  </a:cubicBezTo>
                  <a:cubicBezTo>
                    <a:pt x="3455" y="5114"/>
                    <a:pt x="3455" y="5114"/>
                    <a:pt x="3455" y="5114"/>
                  </a:cubicBezTo>
                  <a:cubicBezTo>
                    <a:pt x="3527" y="5170"/>
                    <a:pt x="3527" y="5170"/>
                    <a:pt x="3527" y="5170"/>
                  </a:cubicBezTo>
                  <a:cubicBezTo>
                    <a:pt x="3521" y="5178"/>
                    <a:pt x="3521" y="5178"/>
                    <a:pt x="3521" y="5178"/>
                  </a:cubicBezTo>
                  <a:lnTo>
                    <a:pt x="3562" y="5210"/>
                  </a:lnTo>
                  <a:close/>
                  <a:moveTo>
                    <a:pt x="12110" y="11947"/>
                  </a:moveTo>
                  <a:cubicBezTo>
                    <a:pt x="12213" y="11892"/>
                    <a:pt x="12213" y="11892"/>
                    <a:pt x="12213" y="11892"/>
                  </a:cubicBezTo>
                  <a:cubicBezTo>
                    <a:pt x="12219" y="11889"/>
                    <a:pt x="12219" y="11889"/>
                    <a:pt x="12219" y="11889"/>
                  </a:cubicBezTo>
                  <a:cubicBezTo>
                    <a:pt x="12193" y="11838"/>
                    <a:pt x="12193" y="11838"/>
                    <a:pt x="12193" y="11838"/>
                  </a:cubicBezTo>
                  <a:cubicBezTo>
                    <a:pt x="12258" y="11805"/>
                    <a:pt x="12258" y="11805"/>
                    <a:pt x="12258" y="11805"/>
                  </a:cubicBezTo>
                  <a:cubicBezTo>
                    <a:pt x="12208" y="11707"/>
                    <a:pt x="12208" y="11707"/>
                    <a:pt x="12208" y="11707"/>
                  </a:cubicBezTo>
                  <a:cubicBezTo>
                    <a:pt x="12043" y="11791"/>
                    <a:pt x="12043" y="11791"/>
                    <a:pt x="12043" y="11791"/>
                  </a:cubicBezTo>
                  <a:cubicBezTo>
                    <a:pt x="12066" y="11837"/>
                    <a:pt x="12066" y="11837"/>
                    <a:pt x="12066" y="11837"/>
                  </a:cubicBezTo>
                  <a:cubicBezTo>
                    <a:pt x="12057" y="11842"/>
                    <a:pt x="12057" y="11842"/>
                    <a:pt x="12057" y="11842"/>
                  </a:cubicBezTo>
                  <a:lnTo>
                    <a:pt x="12110" y="11947"/>
                  </a:lnTo>
                  <a:close/>
                  <a:moveTo>
                    <a:pt x="12060" y="11797"/>
                  </a:moveTo>
                  <a:cubicBezTo>
                    <a:pt x="12202" y="11724"/>
                    <a:pt x="12202" y="11724"/>
                    <a:pt x="12202" y="11724"/>
                  </a:cubicBezTo>
                  <a:cubicBezTo>
                    <a:pt x="12240" y="11799"/>
                    <a:pt x="12240" y="11799"/>
                    <a:pt x="12240" y="11799"/>
                  </a:cubicBezTo>
                  <a:cubicBezTo>
                    <a:pt x="12175" y="11832"/>
                    <a:pt x="12175" y="11832"/>
                    <a:pt x="12175" y="11832"/>
                  </a:cubicBezTo>
                  <a:cubicBezTo>
                    <a:pt x="12201" y="11883"/>
                    <a:pt x="12201" y="11883"/>
                    <a:pt x="12201" y="11883"/>
                  </a:cubicBezTo>
                  <a:cubicBezTo>
                    <a:pt x="12116" y="11929"/>
                    <a:pt x="12116" y="11929"/>
                    <a:pt x="12116" y="11929"/>
                  </a:cubicBezTo>
                  <a:cubicBezTo>
                    <a:pt x="12075" y="11848"/>
                    <a:pt x="12075" y="11848"/>
                    <a:pt x="12075" y="11848"/>
                  </a:cubicBezTo>
                  <a:cubicBezTo>
                    <a:pt x="12084" y="11843"/>
                    <a:pt x="12084" y="11843"/>
                    <a:pt x="12084" y="11843"/>
                  </a:cubicBezTo>
                  <a:lnTo>
                    <a:pt x="12060" y="11797"/>
                  </a:lnTo>
                  <a:close/>
                  <a:moveTo>
                    <a:pt x="11714" y="11956"/>
                  </a:moveTo>
                  <a:cubicBezTo>
                    <a:pt x="11826" y="11992"/>
                    <a:pt x="11826" y="11992"/>
                    <a:pt x="11826" y="11992"/>
                  </a:cubicBezTo>
                  <a:cubicBezTo>
                    <a:pt x="11859" y="11880"/>
                    <a:pt x="11859" y="11880"/>
                    <a:pt x="11859" y="11880"/>
                  </a:cubicBezTo>
                  <a:cubicBezTo>
                    <a:pt x="11861" y="11874"/>
                    <a:pt x="11861" y="11874"/>
                    <a:pt x="11861" y="11874"/>
                  </a:cubicBezTo>
                  <a:cubicBezTo>
                    <a:pt x="11806" y="11857"/>
                    <a:pt x="11806" y="11857"/>
                    <a:pt x="11806" y="11857"/>
                  </a:cubicBezTo>
                  <a:cubicBezTo>
                    <a:pt x="11829" y="11787"/>
                    <a:pt x="11829" y="11787"/>
                    <a:pt x="11829" y="11787"/>
                  </a:cubicBezTo>
                  <a:cubicBezTo>
                    <a:pt x="11725" y="11753"/>
                    <a:pt x="11725" y="11753"/>
                    <a:pt x="11725" y="11753"/>
                  </a:cubicBezTo>
                  <a:cubicBezTo>
                    <a:pt x="11667" y="11930"/>
                    <a:pt x="11667" y="11930"/>
                    <a:pt x="11667" y="11930"/>
                  </a:cubicBezTo>
                  <a:cubicBezTo>
                    <a:pt x="11717" y="11946"/>
                    <a:pt x="11717" y="11946"/>
                    <a:pt x="11717" y="11946"/>
                  </a:cubicBezTo>
                  <a:lnTo>
                    <a:pt x="11714" y="11956"/>
                  </a:lnTo>
                  <a:close/>
                  <a:moveTo>
                    <a:pt x="11684" y="11921"/>
                  </a:moveTo>
                  <a:cubicBezTo>
                    <a:pt x="11733" y="11770"/>
                    <a:pt x="11733" y="11770"/>
                    <a:pt x="11733" y="11770"/>
                  </a:cubicBezTo>
                  <a:cubicBezTo>
                    <a:pt x="11812" y="11795"/>
                    <a:pt x="11812" y="11795"/>
                    <a:pt x="11812" y="11795"/>
                  </a:cubicBezTo>
                  <a:cubicBezTo>
                    <a:pt x="11790" y="11865"/>
                    <a:pt x="11790" y="11865"/>
                    <a:pt x="11790" y="11865"/>
                  </a:cubicBezTo>
                  <a:cubicBezTo>
                    <a:pt x="11845" y="11883"/>
                    <a:pt x="11845" y="11883"/>
                    <a:pt x="11845" y="11883"/>
                  </a:cubicBezTo>
                  <a:cubicBezTo>
                    <a:pt x="11817" y="11975"/>
                    <a:pt x="11817" y="11975"/>
                    <a:pt x="11817" y="11975"/>
                  </a:cubicBezTo>
                  <a:cubicBezTo>
                    <a:pt x="11730" y="11947"/>
                    <a:pt x="11730" y="11947"/>
                    <a:pt x="11730" y="11947"/>
                  </a:cubicBezTo>
                  <a:cubicBezTo>
                    <a:pt x="11734" y="11937"/>
                    <a:pt x="11734" y="11937"/>
                    <a:pt x="11734" y="11937"/>
                  </a:cubicBezTo>
                  <a:lnTo>
                    <a:pt x="11684" y="11921"/>
                  </a:lnTo>
                  <a:close/>
                  <a:moveTo>
                    <a:pt x="11404" y="12068"/>
                  </a:moveTo>
                  <a:cubicBezTo>
                    <a:pt x="11516" y="12104"/>
                    <a:pt x="11516" y="12104"/>
                    <a:pt x="11516" y="12104"/>
                  </a:cubicBezTo>
                  <a:cubicBezTo>
                    <a:pt x="11549" y="11992"/>
                    <a:pt x="11549" y="11992"/>
                    <a:pt x="11549" y="11992"/>
                  </a:cubicBezTo>
                  <a:cubicBezTo>
                    <a:pt x="11551" y="11986"/>
                    <a:pt x="11551" y="11986"/>
                    <a:pt x="11551" y="11986"/>
                  </a:cubicBezTo>
                  <a:cubicBezTo>
                    <a:pt x="11497" y="11968"/>
                    <a:pt x="11497" y="11968"/>
                    <a:pt x="11497" y="11968"/>
                  </a:cubicBezTo>
                  <a:cubicBezTo>
                    <a:pt x="11519" y="11899"/>
                    <a:pt x="11519" y="11899"/>
                    <a:pt x="11519" y="11899"/>
                  </a:cubicBezTo>
                  <a:cubicBezTo>
                    <a:pt x="11415" y="11865"/>
                    <a:pt x="11415" y="11865"/>
                    <a:pt x="11415" y="11865"/>
                  </a:cubicBezTo>
                  <a:cubicBezTo>
                    <a:pt x="11358" y="12042"/>
                    <a:pt x="11358" y="12042"/>
                    <a:pt x="11358" y="12042"/>
                  </a:cubicBezTo>
                  <a:cubicBezTo>
                    <a:pt x="11407" y="12058"/>
                    <a:pt x="11407" y="12058"/>
                    <a:pt x="11407" y="12058"/>
                  </a:cubicBezTo>
                  <a:lnTo>
                    <a:pt x="11404" y="12068"/>
                  </a:lnTo>
                  <a:close/>
                  <a:moveTo>
                    <a:pt x="11374" y="12033"/>
                  </a:moveTo>
                  <a:cubicBezTo>
                    <a:pt x="11423" y="11882"/>
                    <a:pt x="11423" y="11882"/>
                    <a:pt x="11423" y="11882"/>
                  </a:cubicBezTo>
                  <a:cubicBezTo>
                    <a:pt x="11503" y="11907"/>
                    <a:pt x="11503" y="11907"/>
                    <a:pt x="11503" y="11907"/>
                  </a:cubicBezTo>
                  <a:cubicBezTo>
                    <a:pt x="11480" y="11977"/>
                    <a:pt x="11480" y="11977"/>
                    <a:pt x="11480" y="11977"/>
                  </a:cubicBezTo>
                  <a:cubicBezTo>
                    <a:pt x="11535" y="11995"/>
                    <a:pt x="11535" y="11995"/>
                    <a:pt x="11535" y="11995"/>
                  </a:cubicBezTo>
                  <a:cubicBezTo>
                    <a:pt x="11507" y="12087"/>
                    <a:pt x="11507" y="12087"/>
                    <a:pt x="11507" y="12087"/>
                  </a:cubicBezTo>
                  <a:cubicBezTo>
                    <a:pt x="11421" y="12059"/>
                    <a:pt x="11421" y="12059"/>
                    <a:pt x="11421" y="12059"/>
                  </a:cubicBezTo>
                  <a:cubicBezTo>
                    <a:pt x="11424" y="12049"/>
                    <a:pt x="11424" y="12049"/>
                    <a:pt x="11424" y="12049"/>
                  </a:cubicBezTo>
                  <a:lnTo>
                    <a:pt x="11374" y="12033"/>
                  </a:lnTo>
                  <a:close/>
                  <a:moveTo>
                    <a:pt x="11169" y="12071"/>
                  </a:moveTo>
                  <a:cubicBezTo>
                    <a:pt x="11191" y="12002"/>
                    <a:pt x="11191" y="12002"/>
                    <a:pt x="11191" y="12002"/>
                  </a:cubicBezTo>
                  <a:cubicBezTo>
                    <a:pt x="11087" y="11968"/>
                    <a:pt x="11087" y="11968"/>
                    <a:pt x="11087" y="11968"/>
                  </a:cubicBezTo>
                  <a:cubicBezTo>
                    <a:pt x="11030" y="12144"/>
                    <a:pt x="11030" y="12144"/>
                    <a:pt x="11030" y="12144"/>
                  </a:cubicBezTo>
                  <a:cubicBezTo>
                    <a:pt x="11079" y="12160"/>
                    <a:pt x="11079" y="12160"/>
                    <a:pt x="11079" y="12160"/>
                  </a:cubicBezTo>
                  <a:cubicBezTo>
                    <a:pt x="11076" y="12170"/>
                    <a:pt x="11076" y="12170"/>
                    <a:pt x="11076" y="12170"/>
                  </a:cubicBezTo>
                  <a:cubicBezTo>
                    <a:pt x="11188" y="12207"/>
                    <a:pt x="11188" y="12207"/>
                    <a:pt x="11188" y="12207"/>
                  </a:cubicBezTo>
                  <a:cubicBezTo>
                    <a:pt x="11221" y="12095"/>
                    <a:pt x="11221" y="12095"/>
                    <a:pt x="11221" y="12095"/>
                  </a:cubicBezTo>
                  <a:cubicBezTo>
                    <a:pt x="11223" y="12089"/>
                    <a:pt x="11223" y="12089"/>
                    <a:pt x="11223" y="12089"/>
                  </a:cubicBezTo>
                  <a:lnTo>
                    <a:pt x="11169" y="12071"/>
                  </a:lnTo>
                  <a:close/>
                  <a:moveTo>
                    <a:pt x="11179" y="12190"/>
                  </a:moveTo>
                  <a:cubicBezTo>
                    <a:pt x="11093" y="12162"/>
                    <a:pt x="11093" y="12162"/>
                    <a:pt x="11093" y="12162"/>
                  </a:cubicBezTo>
                  <a:cubicBezTo>
                    <a:pt x="11096" y="12152"/>
                    <a:pt x="11096" y="12152"/>
                    <a:pt x="11096" y="12152"/>
                  </a:cubicBezTo>
                  <a:cubicBezTo>
                    <a:pt x="11046" y="12136"/>
                    <a:pt x="11046" y="12136"/>
                    <a:pt x="11046" y="12136"/>
                  </a:cubicBezTo>
                  <a:cubicBezTo>
                    <a:pt x="11095" y="11984"/>
                    <a:pt x="11095" y="11984"/>
                    <a:pt x="11095" y="11984"/>
                  </a:cubicBezTo>
                  <a:cubicBezTo>
                    <a:pt x="11175" y="12010"/>
                    <a:pt x="11175" y="12010"/>
                    <a:pt x="11175" y="12010"/>
                  </a:cubicBezTo>
                  <a:cubicBezTo>
                    <a:pt x="11152" y="12080"/>
                    <a:pt x="11152" y="12080"/>
                    <a:pt x="11152" y="12080"/>
                  </a:cubicBezTo>
                  <a:cubicBezTo>
                    <a:pt x="11207" y="12097"/>
                    <a:pt x="11207" y="12097"/>
                    <a:pt x="11207" y="12097"/>
                  </a:cubicBezTo>
                  <a:lnTo>
                    <a:pt x="11179" y="12190"/>
                  </a:lnTo>
                  <a:close/>
                  <a:moveTo>
                    <a:pt x="10803" y="16178"/>
                  </a:moveTo>
                  <a:cubicBezTo>
                    <a:pt x="10858" y="16282"/>
                    <a:pt x="10858" y="16282"/>
                    <a:pt x="10858" y="16282"/>
                  </a:cubicBezTo>
                  <a:cubicBezTo>
                    <a:pt x="10960" y="16225"/>
                    <a:pt x="10960" y="16225"/>
                    <a:pt x="10960" y="16225"/>
                  </a:cubicBezTo>
                  <a:cubicBezTo>
                    <a:pt x="10965" y="16222"/>
                    <a:pt x="10965" y="16222"/>
                    <a:pt x="10965" y="16222"/>
                  </a:cubicBezTo>
                  <a:cubicBezTo>
                    <a:pt x="10938" y="16172"/>
                    <a:pt x="10938" y="16172"/>
                    <a:pt x="10938" y="16172"/>
                  </a:cubicBezTo>
                  <a:cubicBezTo>
                    <a:pt x="11003" y="16137"/>
                    <a:pt x="11003" y="16137"/>
                    <a:pt x="11003" y="16137"/>
                  </a:cubicBezTo>
                  <a:cubicBezTo>
                    <a:pt x="10952" y="16040"/>
                    <a:pt x="10952" y="16040"/>
                    <a:pt x="10952" y="16040"/>
                  </a:cubicBezTo>
                  <a:cubicBezTo>
                    <a:pt x="10788" y="16127"/>
                    <a:pt x="10788" y="16127"/>
                    <a:pt x="10788" y="16127"/>
                  </a:cubicBezTo>
                  <a:cubicBezTo>
                    <a:pt x="10812" y="16173"/>
                    <a:pt x="10812" y="16173"/>
                    <a:pt x="10812" y="16173"/>
                  </a:cubicBezTo>
                  <a:lnTo>
                    <a:pt x="10803" y="16178"/>
                  </a:lnTo>
                  <a:close/>
                  <a:moveTo>
                    <a:pt x="10806" y="16133"/>
                  </a:moveTo>
                  <a:cubicBezTo>
                    <a:pt x="10946" y="16058"/>
                    <a:pt x="10946" y="16058"/>
                    <a:pt x="10946" y="16058"/>
                  </a:cubicBezTo>
                  <a:cubicBezTo>
                    <a:pt x="10985" y="16132"/>
                    <a:pt x="10985" y="16132"/>
                    <a:pt x="10985" y="16132"/>
                  </a:cubicBezTo>
                  <a:cubicBezTo>
                    <a:pt x="10921" y="16166"/>
                    <a:pt x="10921" y="16166"/>
                    <a:pt x="10921" y="16166"/>
                  </a:cubicBezTo>
                  <a:cubicBezTo>
                    <a:pt x="10948" y="16217"/>
                    <a:pt x="10948" y="16217"/>
                    <a:pt x="10948" y="16217"/>
                  </a:cubicBezTo>
                  <a:cubicBezTo>
                    <a:pt x="10863" y="16264"/>
                    <a:pt x="10863" y="16264"/>
                    <a:pt x="10863" y="16264"/>
                  </a:cubicBezTo>
                  <a:cubicBezTo>
                    <a:pt x="10821" y="16184"/>
                    <a:pt x="10821" y="16184"/>
                    <a:pt x="10821" y="16184"/>
                  </a:cubicBezTo>
                  <a:cubicBezTo>
                    <a:pt x="10830" y="16179"/>
                    <a:pt x="10830" y="16179"/>
                    <a:pt x="10830" y="16179"/>
                  </a:cubicBezTo>
                  <a:lnTo>
                    <a:pt x="10806" y="16133"/>
                  </a:lnTo>
                  <a:close/>
                  <a:moveTo>
                    <a:pt x="10546" y="16058"/>
                  </a:moveTo>
                  <a:cubicBezTo>
                    <a:pt x="10519" y="16007"/>
                    <a:pt x="10519" y="16007"/>
                    <a:pt x="10519" y="16007"/>
                  </a:cubicBezTo>
                  <a:cubicBezTo>
                    <a:pt x="10583" y="15973"/>
                    <a:pt x="10583" y="15973"/>
                    <a:pt x="10583" y="15973"/>
                  </a:cubicBezTo>
                  <a:cubicBezTo>
                    <a:pt x="10532" y="15876"/>
                    <a:pt x="10532" y="15876"/>
                    <a:pt x="10532" y="15876"/>
                  </a:cubicBezTo>
                  <a:cubicBezTo>
                    <a:pt x="10368" y="15963"/>
                    <a:pt x="10368" y="15963"/>
                    <a:pt x="10368" y="15963"/>
                  </a:cubicBezTo>
                  <a:cubicBezTo>
                    <a:pt x="10393" y="16009"/>
                    <a:pt x="10393" y="16009"/>
                    <a:pt x="10393" y="16009"/>
                  </a:cubicBezTo>
                  <a:cubicBezTo>
                    <a:pt x="10383" y="16014"/>
                    <a:pt x="10383" y="16014"/>
                    <a:pt x="10383" y="16014"/>
                  </a:cubicBezTo>
                  <a:cubicBezTo>
                    <a:pt x="10438" y="16118"/>
                    <a:pt x="10438" y="16118"/>
                    <a:pt x="10438" y="16118"/>
                  </a:cubicBezTo>
                  <a:cubicBezTo>
                    <a:pt x="10540" y="16061"/>
                    <a:pt x="10540" y="16061"/>
                    <a:pt x="10540" y="16061"/>
                  </a:cubicBezTo>
                  <a:lnTo>
                    <a:pt x="10546" y="16058"/>
                  </a:lnTo>
                  <a:close/>
                  <a:moveTo>
                    <a:pt x="10444" y="16100"/>
                  </a:moveTo>
                  <a:cubicBezTo>
                    <a:pt x="10401" y="16019"/>
                    <a:pt x="10401" y="16019"/>
                    <a:pt x="10401" y="16019"/>
                  </a:cubicBezTo>
                  <a:cubicBezTo>
                    <a:pt x="10410" y="16015"/>
                    <a:pt x="10410" y="16015"/>
                    <a:pt x="10410" y="16015"/>
                  </a:cubicBezTo>
                  <a:cubicBezTo>
                    <a:pt x="10386" y="15968"/>
                    <a:pt x="10386" y="15968"/>
                    <a:pt x="10386" y="15968"/>
                  </a:cubicBezTo>
                  <a:cubicBezTo>
                    <a:pt x="10526" y="15894"/>
                    <a:pt x="10526" y="15894"/>
                    <a:pt x="10526" y="15894"/>
                  </a:cubicBezTo>
                  <a:cubicBezTo>
                    <a:pt x="10566" y="15968"/>
                    <a:pt x="10566" y="15968"/>
                    <a:pt x="10566" y="15968"/>
                  </a:cubicBezTo>
                  <a:cubicBezTo>
                    <a:pt x="10501" y="16002"/>
                    <a:pt x="10501" y="16002"/>
                    <a:pt x="10501" y="16002"/>
                  </a:cubicBezTo>
                  <a:cubicBezTo>
                    <a:pt x="10528" y="16053"/>
                    <a:pt x="10528" y="16053"/>
                    <a:pt x="10528" y="16053"/>
                  </a:cubicBezTo>
                  <a:lnTo>
                    <a:pt x="10444" y="16100"/>
                  </a:lnTo>
                  <a:close/>
                  <a:moveTo>
                    <a:pt x="2437" y="12615"/>
                  </a:moveTo>
                  <a:cubicBezTo>
                    <a:pt x="2487" y="12624"/>
                    <a:pt x="2487" y="12624"/>
                    <a:pt x="2487" y="12624"/>
                  </a:cubicBezTo>
                  <a:cubicBezTo>
                    <a:pt x="2493" y="12625"/>
                    <a:pt x="2493" y="12625"/>
                    <a:pt x="2493" y="12625"/>
                  </a:cubicBezTo>
                  <a:cubicBezTo>
                    <a:pt x="2518" y="12505"/>
                    <a:pt x="2518" y="12505"/>
                    <a:pt x="2518" y="12505"/>
                  </a:cubicBezTo>
                  <a:cubicBezTo>
                    <a:pt x="2402" y="12484"/>
                    <a:pt x="2402" y="12484"/>
                    <a:pt x="2402" y="12484"/>
                  </a:cubicBezTo>
                  <a:cubicBezTo>
                    <a:pt x="2401" y="12490"/>
                    <a:pt x="2401" y="12490"/>
                    <a:pt x="2401" y="12490"/>
                  </a:cubicBezTo>
                  <a:cubicBezTo>
                    <a:pt x="2400" y="12494"/>
                    <a:pt x="2400" y="12494"/>
                    <a:pt x="2400" y="12494"/>
                  </a:cubicBezTo>
                  <a:cubicBezTo>
                    <a:pt x="2349" y="12485"/>
                    <a:pt x="2349" y="12485"/>
                    <a:pt x="2349" y="12485"/>
                  </a:cubicBezTo>
                  <a:cubicBezTo>
                    <a:pt x="2316" y="12667"/>
                    <a:pt x="2316" y="12667"/>
                    <a:pt x="2316" y="12667"/>
                  </a:cubicBezTo>
                  <a:cubicBezTo>
                    <a:pt x="2423" y="12687"/>
                    <a:pt x="2423" y="12687"/>
                    <a:pt x="2423" y="12687"/>
                  </a:cubicBezTo>
                  <a:lnTo>
                    <a:pt x="2437" y="12615"/>
                  </a:lnTo>
                  <a:close/>
                  <a:moveTo>
                    <a:pt x="2331" y="12657"/>
                  </a:moveTo>
                  <a:cubicBezTo>
                    <a:pt x="2359" y="12500"/>
                    <a:pt x="2359" y="12500"/>
                    <a:pt x="2359" y="12500"/>
                  </a:cubicBezTo>
                  <a:cubicBezTo>
                    <a:pt x="2411" y="12509"/>
                    <a:pt x="2411" y="12509"/>
                    <a:pt x="2411" y="12509"/>
                  </a:cubicBezTo>
                  <a:cubicBezTo>
                    <a:pt x="2412" y="12503"/>
                    <a:pt x="2412" y="12503"/>
                    <a:pt x="2412" y="12503"/>
                  </a:cubicBezTo>
                  <a:cubicBezTo>
                    <a:pt x="2412" y="12499"/>
                    <a:pt x="2412" y="12499"/>
                    <a:pt x="2412" y="12499"/>
                  </a:cubicBezTo>
                  <a:cubicBezTo>
                    <a:pt x="2502" y="12515"/>
                    <a:pt x="2502" y="12515"/>
                    <a:pt x="2502" y="12515"/>
                  </a:cubicBezTo>
                  <a:cubicBezTo>
                    <a:pt x="2483" y="12610"/>
                    <a:pt x="2483" y="12610"/>
                    <a:pt x="2483" y="12610"/>
                  </a:cubicBezTo>
                  <a:cubicBezTo>
                    <a:pt x="2426" y="12600"/>
                    <a:pt x="2426" y="12600"/>
                    <a:pt x="2426" y="12600"/>
                  </a:cubicBezTo>
                  <a:cubicBezTo>
                    <a:pt x="2413" y="12672"/>
                    <a:pt x="2413" y="12672"/>
                    <a:pt x="2413" y="12672"/>
                  </a:cubicBezTo>
                  <a:lnTo>
                    <a:pt x="2331" y="12657"/>
                  </a:lnTo>
                  <a:close/>
                  <a:moveTo>
                    <a:pt x="4126" y="10175"/>
                  </a:moveTo>
                  <a:cubicBezTo>
                    <a:pt x="4280" y="10109"/>
                    <a:pt x="4280" y="10109"/>
                    <a:pt x="4280" y="10109"/>
                  </a:cubicBezTo>
                  <a:cubicBezTo>
                    <a:pt x="4241" y="10018"/>
                    <a:pt x="4241" y="10018"/>
                    <a:pt x="4241" y="10018"/>
                  </a:cubicBezTo>
                  <a:cubicBezTo>
                    <a:pt x="4337" y="9978"/>
                    <a:pt x="4337" y="9978"/>
                    <a:pt x="4337" y="9978"/>
                  </a:cubicBezTo>
                  <a:cubicBezTo>
                    <a:pt x="4276" y="9821"/>
                    <a:pt x="4276" y="9821"/>
                    <a:pt x="4276" y="9821"/>
                  </a:cubicBezTo>
                  <a:cubicBezTo>
                    <a:pt x="4113" y="9889"/>
                    <a:pt x="4113" y="9889"/>
                    <a:pt x="4113" y="9889"/>
                  </a:cubicBezTo>
                  <a:cubicBezTo>
                    <a:pt x="4147" y="9984"/>
                    <a:pt x="4147" y="9984"/>
                    <a:pt x="4147" y="9984"/>
                  </a:cubicBezTo>
                  <a:cubicBezTo>
                    <a:pt x="4061" y="10021"/>
                    <a:pt x="4061" y="10021"/>
                    <a:pt x="4061" y="10021"/>
                  </a:cubicBezTo>
                  <a:lnTo>
                    <a:pt x="4126" y="10175"/>
                  </a:lnTo>
                  <a:close/>
                  <a:moveTo>
                    <a:pt x="4129" y="9897"/>
                  </a:moveTo>
                  <a:cubicBezTo>
                    <a:pt x="4269" y="9838"/>
                    <a:pt x="4269" y="9838"/>
                    <a:pt x="4269" y="9838"/>
                  </a:cubicBezTo>
                  <a:cubicBezTo>
                    <a:pt x="4320" y="9971"/>
                    <a:pt x="4320" y="9971"/>
                    <a:pt x="4320" y="9971"/>
                  </a:cubicBezTo>
                  <a:cubicBezTo>
                    <a:pt x="4230" y="10009"/>
                    <a:pt x="4230" y="10009"/>
                    <a:pt x="4230" y="10009"/>
                  </a:cubicBezTo>
                  <a:cubicBezTo>
                    <a:pt x="4224" y="10011"/>
                    <a:pt x="4224" y="10011"/>
                    <a:pt x="4224" y="10011"/>
                  </a:cubicBezTo>
                  <a:cubicBezTo>
                    <a:pt x="4263" y="10102"/>
                    <a:pt x="4263" y="10102"/>
                    <a:pt x="4263" y="10102"/>
                  </a:cubicBezTo>
                  <a:cubicBezTo>
                    <a:pt x="4133" y="10158"/>
                    <a:pt x="4133" y="10158"/>
                    <a:pt x="4133" y="10158"/>
                  </a:cubicBezTo>
                  <a:cubicBezTo>
                    <a:pt x="4078" y="10028"/>
                    <a:pt x="4078" y="10028"/>
                    <a:pt x="4078" y="10028"/>
                  </a:cubicBezTo>
                  <a:cubicBezTo>
                    <a:pt x="4164" y="9991"/>
                    <a:pt x="4164" y="9991"/>
                    <a:pt x="4164" y="9991"/>
                  </a:cubicBezTo>
                  <a:lnTo>
                    <a:pt x="4129" y="9897"/>
                  </a:lnTo>
                  <a:close/>
                  <a:moveTo>
                    <a:pt x="10002" y="16242"/>
                  </a:moveTo>
                  <a:cubicBezTo>
                    <a:pt x="9922" y="16242"/>
                    <a:pt x="9922" y="16242"/>
                    <a:pt x="9922" y="16242"/>
                  </a:cubicBezTo>
                  <a:cubicBezTo>
                    <a:pt x="9922" y="16425"/>
                    <a:pt x="9922" y="16425"/>
                    <a:pt x="9922" y="16425"/>
                  </a:cubicBezTo>
                  <a:cubicBezTo>
                    <a:pt x="10050" y="16425"/>
                    <a:pt x="10050" y="16425"/>
                    <a:pt x="10050" y="16425"/>
                  </a:cubicBezTo>
                  <a:cubicBezTo>
                    <a:pt x="10050" y="16323"/>
                    <a:pt x="10050" y="16323"/>
                    <a:pt x="10050" y="16323"/>
                  </a:cubicBezTo>
                  <a:cubicBezTo>
                    <a:pt x="10136" y="16323"/>
                    <a:pt x="10136" y="16323"/>
                    <a:pt x="10136" y="16323"/>
                  </a:cubicBezTo>
                  <a:cubicBezTo>
                    <a:pt x="10136" y="16154"/>
                    <a:pt x="10136" y="16154"/>
                    <a:pt x="10136" y="16154"/>
                  </a:cubicBezTo>
                  <a:cubicBezTo>
                    <a:pt x="10002" y="16154"/>
                    <a:pt x="10002" y="16154"/>
                    <a:pt x="10002" y="16154"/>
                  </a:cubicBezTo>
                  <a:lnTo>
                    <a:pt x="10002" y="16242"/>
                  </a:lnTo>
                  <a:close/>
                  <a:moveTo>
                    <a:pt x="10014" y="16166"/>
                  </a:moveTo>
                  <a:cubicBezTo>
                    <a:pt x="10124" y="16166"/>
                    <a:pt x="10124" y="16166"/>
                    <a:pt x="10124" y="16166"/>
                  </a:cubicBezTo>
                  <a:cubicBezTo>
                    <a:pt x="10124" y="16311"/>
                    <a:pt x="10124" y="16311"/>
                    <a:pt x="10124" y="16311"/>
                  </a:cubicBezTo>
                  <a:cubicBezTo>
                    <a:pt x="10044" y="16311"/>
                    <a:pt x="10044" y="16311"/>
                    <a:pt x="10044" y="16311"/>
                  </a:cubicBezTo>
                  <a:cubicBezTo>
                    <a:pt x="10038" y="16311"/>
                    <a:pt x="10038" y="16311"/>
                    <a:pt x="10038" y="16311"/>
                  </a:cubicBezTo>
                  <a:cubicBezTo>
                    <a:pt x="10038" y="16413"/>
                    <a:pt x="10038" y="16413"/>
                    <a:pt x="10038" y="16413"/>
                  </a:cubicBezTo>
                  <a:cubicBezTo>
                    <a:pt x="9934" y="16413"/>
                    <a:pt x="9934" y="16413"/>
                    <a:pt x="9934" y="16413"/>
                  </a:cubicBezTo>
                  <a:cubicBezTo>
                    <a:pt x="9934" y="16254"/>
                    <a:pt x="9934" y="16254"/>
                    <a:pt x="9934" y="16254"/>
                  </a:cubicBezTo>
                  <a:cubicBezTo>
                    <a:pt x="10014" y="16254"/>
                    <a:pt x="10014" y="16254"/>
                    <a:pt x="10014" y="16254"/>
                  </a:cubicBezTo>
                  <a:lnTo>
                    <a:pt x="10014" y="16166"/>
                  </a:lnTo>
                  <a:close/>
                  <a:moveTo>
                    <a:pt x="9861" y="15615"/>
                  </a:moveTo>
                  <a:cubicBezTo>
                    <a:pt x="9989" y="15615"/>
                    <a:pt x="9989" y="15615"/>
                    <a:pt x="9989" y="15615"/>
                  </a:cubicBezTo>
                  <a:cubicBezTo>
                    <a:pt x="9989" y="15433"/>
                    <a:pt x="9989" y="15433"/>
                    <a:pt x="9989" y="15433"/>
                  </a:cubicBezTo>
                  <a:cubicBezTo>
                    <a:pt x="9909" y="15433"/>
                    <a:pt x="9909" y="15433"/>
                    <a:pt x="9909" y="15433"/>
                  </a:cubicBezTo>
                  <a:cubicBezTo>
                    <a:pt x="9909" y="15345"/>
                    <a:pt x="9909" y="15345"/>
                    <a:pt x="9909" y="15345"/>
                  </a:cubicBezTo>
                  <a:cubicBezTo>
                    <a:pt x="9775" y="15345"/>
                    <a:pt x="9775" y="15345"/>
                    <a:pt x="9775" y="15345"/>
                  </a:cubicBezTo>
                  <a:cubicBezTo>
                    <a:pt x="9775" y="15514"/>
                    <a:pt x="9775" y="15514"/>
                    <a:pt x="9775" y="15514"/>
                  </a:cubicBezTo>
                  <a:cubicBezTo>
                    <a:pt x="9861" y="15514"/>
                    <a:pt x="9861" y="15514"/>
                    <a:pt x="9861" y="15514"/>
                  </a:cubicBezTo>
                  <a:lnTo>
                    <a:pt x="9861" y="15615"/>
                  </a:lnTo>
                  <a:close/>
                  <a:moveTo>
                    <a:pt x="9787" y="15502"/>
                  </a:moveTo>
                  <a:cubicBezTo>
                    <a:pt x="9787" y="15357"/>
                    <a:pt x="9787" y="15357"/>
                    <a:pt x="9787" y="15357"/>
                  </a:cubicBezTo>
                  <a:cubicBezTo>
                    <a:pt x="9897" y="15357"/>
                    <a:pt x="9897" y="15357"/>
                    <a:pt x="9897" y="15357"/>
                  </a:cubicBezTo>
                  <a:cubicBezTo>
                    <a:pt x="9897" y="15445"/>
                    <a:pt x="9897" y="15445"/>
                    <a:pt x="9897" y="15445"/>
                  </a:cubicBezTo>
                  <a:cubicBezTo>
                    <a:pt x="9977" y="15445"/>
                    <a:pt x="9977" y="15445"/>
                    <a:pt x="9977" y="15445"/>
                  </a:cubicBezTo>
                  <a:cubicBezTo>
                    <a:pt x="9977" y="15603"/>
                    <a:pt x="9977" y="15603"/>
                    <a:pt x="9977" y="15603"/>
                  </a:cubicBezTo>
                  <a:cubicBezTo>
                    <a:pt x="9873" y="15603"/>
                    <a:pt x="9873" y="15603"/>
                    <a:pt x="9873" y="15603"/>
                  </a:cubicBezTo>
                  <a:cubicBezTo>
                    <a:pt x="9873" y="15508"/>
                    <a:pt x="9873" y="15508"/>
                    <a:pt x="9873" y="15508"/>
                  </a:cubicBezTo>
                  <a:cubicBezTo>
                    <a:pt x="9873" y="15502"/>
                    <a:pt x="9873" y="15502"/>
                    <a:pt x="9873" y="15502"/>
                  </a:cubicBezTo>
                  <a:lnTo>
                    <a:pt x="9787" y="15502"/>
                  </a:lnTo>
                  <a:close/>
                  <a:moveTo>
                    <a:pt x="5688" y="15835"/>
                  </a:moveTo>
                  <a:cubicBezTo>
                    <a:pt x="5689" y="15932"/>
                    <a:pt x="5689" y="15932"/>
                    <a:pt x="5689" y="15932"/>
                  </a:cubicBezTo>
                  <a:cubicBezTo>
                    <a:pt x="5812" y="15932"/>
                    <a:pt x="5812" y="15932"/>
                    <a:pt x="5812" y="15932"/>
                  </a:cubicBezTo>
                  <a:cubicBezTo>
                    <a:pt x="5814" y="15750"/>
                    <a:pt x="5814" y="15750"/>
                    <a:pt x="5814" y="15750"/>
                  </a:cubicBezTo>
                  <a:cubicBezTo>
                    <a:pt x="5730" y="15749"/>
                    <a:pt x="5730" y="15749"/>
                    <a:pt x="5730" y="15749"/>
                  </a:cubicBezTo>
                  <a:cubicBezTo>
                    <a:pt x="5733" y="15665"/>
                    <a:pt x="5733" y="15665"/>
                    <a:pt x="5733" y="15665"/>
                  </a:cubicBezTo>
                  <a:cubicBezTo>
                    <a:pt x="5603" y="15664"/>
                    <a:pt x="5603" y="15664"/>
                    <a:pt x="5603" y="15664"/>
                  </a:cubicBezTo>
                  <a:cubicBezTo>
                    <a:pt x="5604" y="15834"/>
                    <a:pt x="5604" y="15834"/>
                    <a:pt x="5604" y="15834"/>
                  </a:cubicBezTo>
                  <a:lnTo>
                    <a:pt x="5688" y="15835"/>
                  </a:lnTo>
                  <a:close/>
                  <a:moveTo>
                    <a:pt x="5720" y="15678"/>
                  </a:moveTo>
                  <a:cubicBezTo>
                    <a:pt x="5717" y="15762"/>
                    <a:pt x="5717" y="15762"/>
                    <a:pt x="5717" y="15762"/>
                  </a:cubicBezTo>
                  <a:cubicBezTo>
                    <a:pt x="5801" y="15763"/>
                    <a:pt x="5801" y="15763"/>
                    <a:pt x="5801" y="15763"/>
                  </a:cubicBezTo>
                  <a:cubicBezTo>
                    <a:pt x="5799" y="15919"/>
                    <a:pt x="5799" y="15919"/>
                    <a:pt x="5799" y="15919"/>
                  </a:cubicBezTo>
                  <a:cubicBezTo>
                    <a:pt x="5702" y="15919"/>
                    <a:pt x="5702" y="15919"/>
                    <a:pt x="5702" y="15919"/>
                  </a:cubicBezTo>
                  <a:cubicBezTo>
                    <a:pt x="5701" y="15829"/>
                    <a:pt x="5701" y="15829"/>
                    <a:pt x="5701" y="15829"/>
                  </a:cubicBezTo>
                  <a:cubicBezTo>
                    <a:pt x="5701" y="15822"/>
                    <a:pt x="5701" y="15822"/>
                    <a:pt x="5701" y="15822"/>
                  </a:cubicBezTo>
                  <a:cubicBezTo>
                    <a:pt x="5617" y="15821"/>
                    <a:pt x="5617" y="15821"/>
                    <a:pt x="5617" y="15821"/>
                  </a:cubicBezTo>
                  <a:cubicBezTo>
                    <a:pt x="5616" y="15677"/>
                    <a:pt x="5616" y="15677"/>
                    <a:pt x="5616" y="15677"/>
                  </a:cubicBezTo>
                  <a:lnTo>
                    <a:pt x="5720" y="15678"/>
                  </a:lnTo>
                  <a:close/>
                  <a:moveTo>
                    <a:pt x="4557" y="5236"/>
                  </a:moveTo>
                  <a:cubicBezTo>
                    <a:pt x="4552" y="5240"/>
                    <a:pt x="4552" y="5240"/>
                    <a:pt x="4552" y="5240"/>
                  </a:cubicBezTo>
                  <a:cubicBezTo>
                    <a:pt x="4629" y="5310"/>
                    <a:pt x="4629" y="5310"/>
                    <a:pt x="4629" y="5310"/>
                  </a:cubicBezTo>
                  <a:cubicBezTo>
                    <a:pt x="4728" y="5199"/>
                    <a:pt x="4728" y="5199"/>
                    <a:pt x="4728" y="5199"/>
                  </a:cubicBezTo>
                  <a:cubicBezTo>
                    <a:pt x="4652" y="5130"/>
                    <a:pt x="4652" y="5130"/>
                    <a:pt x="4652" y="5130"/>
                  </a:cubicBezTo>
                  <a:lnTo>
                    <a:pt x="4557" y="5236"/>
                  </a:lnTo>
                  <a:close/>
                  <a:moveTo>
                    <a:pt x="4710" y="5200"/>
                  </a:moveTo>
                  <a:cubicBezTo>
                    <a:pt x="4628" y="5291"/>
                    <a:pt x="4628" y="5291"/>
                    <a:pt x="4628" y="5291"/>
                  </a:cubicBezTo>
                  <a:cubicBezTo>
                    <a:pt x="4571" y="5239"/>
                    <a:pt x="4571" y="5239"/>
                    <a:pt x="4571" y="5239"/>
                  </a:cubicBezTo>
                  <a:cubicBezTo>
                    <a:pt x="4653" y="5149"/>
                    <a:pt x="4653" y="5149"/>
                    <a:pt x="4653" y="5149"/>
                  </a:cubicBezTo>
                  <a:lnTo>
                    <a:pt x="4710" y="5200"/>
                  </a:lnTo>
                  <a:close/>
                  <a:moveTo>
                    <a:pt x="4377" y="5114"/>
                  </a:moveTo>
                  <a:cubicBezTo>
                    <a:pt x="4373" y="5119"/>
                    <a:pt x="4373" y="5119"/>
                    <a:pt x="4373" y="5119"/>
                  </a:cubicBezTo>
                  <a:cubicBezTo>
                    <a:pt x="4449" y="5188"/>
                    <a:pt x="4449" y="5188"/>
                    <a:pt x="4449" y="5188"/>
                  </a:cubicBezTo>
                  <a:cubicBezTo>
                    <a:pt x="4548" y="5077"/>
                    <a:pt x="4548" y="5077"/>
                    <a:pt x="4548" y="5077"/>
                  </a:cubicBezTo>
                  <a:cubicBezTo>
                    <a:pt x="4472" y="5008"/>
                    <a:pt x="4472" y="5008"/>
                    <a:pt x="4472" y="5008"/>
                  </a:cubicBezTo>
                  <a:lnTo>
                    <a:pt x="4377" y="5114"/>
                  </a:lnTo>
                  <a:close/>
                  <a:moveTo>
                    <a:pt x="4530" y="5078"/>
                  </a:moveTo>
                  <a:cubicBezTo>
                    <a:pt x="4448" y="5169"/>
                    <a:pt x="4448" y="5169"/>
                    <a:pt x="4448" y="5169"/>
                  </a:cubicBezTo>
                  <a:cubicBezTo>
                    <a:pt x="4391" y="5118"/>
                    <a:pt x="4391" y="5118"/>
                    <a:pt x="4391" y="5118"/>
                  </a:cubicBezTo>
                  <a:cubicBezTo>
                    <a:pt x="4473" y="5027"/>
                    <a:pt x="4473" y="5027"/>
                    <a:pt x="4473" y="5027"/>
                  </a:cubicBezTo>
                  <a:lnTo>
                    <a:pt x="4530" y="5078"/>
                  </a:lnTo>
                  <a:close/>
                  <a:moveTo>
                    <a:pt x="141" y="7050"/>
                  </a:moveTo>
                  <a:cubicBezTo>
                    <a:pt x="46" y="7009"/>
                    <a:pt x="46" y="7009"/>
                    <a:pt x="46" y="7009"/>
                  </a:cubicBezTo>
                  <a:cubicBezTo>
                    <a:pt x="4" y="7106"/>
                    <a:pt x="4" y="7106"/>
                    <a:pt x="4" y="7106"/>
                  </a:cubicBezTo>
                  <a:cubicBezTo>
                    <a:pt x="4" y="7152"/>
                    <a:pt x="4" y="7152"/>
                    <a:pt x="4" y="7152"/>
                  </a:cubicBezTo>
                  <a:cubicBezTo>
                    <a:pt x="82" y="7186"/>
                    <a:pt x="82" y="7186"/>
                    <a:pt x="82" y="7186"/>
                  </a:cubicBezTo>
                  <a:lnTo>
                    <a:pt x="141" y="7050"/>
                  </a:lnTo>
                  <a:close/>
                  <a:moveTo>
                    <a:pt x="4" y="7138"/>
                  </a:moveTo>
                  <a:cubicBezTo>
                    <a:pt x="53" y="7026"/>
                    <a:pt x="53" y="7026"/>
                    <a:pt x="53" y="7026"/>
                  </a:cubicBezTo>
                  <a:cubicBezTo>
                    <a:pt x="124" y="7057"/>
                    <a:pt x="124" y="7057"/>
                    <a:pt x="124" y="7057"/>
                  </a:cubicBezTo>
                  <a:cubicBezTo>
                    <a:pt x="75" y="7169"/>
                    <a:pt x="75" y="7169"/>
                    <a:pt x="75" y="7169"/>
                  </a:cubicBezTo>
                  <a:lnTo>
                    <a:pt x="4" y="7138"/>
                  </a:lnTo>
                  <a:close/>
                  <a:moveTo>
                    <a:pt x="3791" y="4981"/>
                  </a:moveTo>
                  <a:cubicBezTo>
                    <a:pt x="3790" y="4988"/>
                    <a:pt x="3790" y="4988"/>
                    <a:pt x="3790" y="4988"/>
                  </a:cubicBezTo>
                  <a:cubicBezTo>
                    <a:pt x="3921" y="5015"/>
                    <a:pt x="3921" y="5015"/>
                    <a:pt x="3921" y="5015"/>
                  </a:cubicBezTo>
                  <a:cubicBezTo>
                    <a:pt x="3950" y="4879"/>
                    <a:pt x="3950" y="4879"/>
                    <a:pt x="3950" y="4879"/>
                  </a:cubicBezTo>
                  <a:cubicBezTo>
                    <a:pt x="3819" y="4851"/>
                    <a:pt x="3819" y="4851"/>
                    <a:pt x="3819" y="4851"/>
                  </a:cubicBezTo>
                  <a:lnTo>
                    <a:pt x="3791" y="4981"/>
                  </a:lnTo>
                  <a:close/>
                  <a:moveTo>
                    <a:pt x="3934" y="4889"/>
                  </a:moveTo>
                  <a:cubicBezTo>
                    <a:pt x="3911" y="5000"/>
                    <a:pt x="3911" y="5000"/>
                    <a:pt x="3911" y="5000"/>
                  </a:cubicBezTo>
                  <a:cubicBezTo>
                    <a:pt x="3806" y="4978"/>
                    <a:pt x="3806" y="4978"/>
                    <a:pt x="3806" y="4978"/>
                  </a:cubicBezTo>
                  <a:cubicBezTo>
                    <a:pt x="3829" y="4867"/>
                    <a:pt x="3829" y="4867"/>
                    <a:pt x="3829" y="4867"/>
                  </a:cubicBezTo>
                  <a:lnTo>
                    <a:pt x="3934" y="4889"/>
                  </a:lnTo>
                  <a:close/>
                  <a:moveTo>
                    <a:pt x="4259" y="4200"/>
                  </a:moveTo>
                  <a:cubicBezTo>
                    <a:pt x="4159" y="4197"/>
                    <a:pt x="4159" y="4197"/>
                    <a:pt x="4159" y="4197"/>
                  </a:cubicBezTo>
                  <a:cubicBezTo>
                    <a:pt x="4155" y="4330"/>
                    <a:pt x="4155" y="4330"/>
                    <a:pt x="4155" y="4330"/>
                  </a:cubicBezTo>
                  <a:cubicBezTo>
                    <a:pt x="4155" y="4337"/>
                    <a:pt x="4155" y="4337"/>
                    <a:pt x="4155" y="4337"/>
                  </a:cubicBezTo>
                  <a:cubicBezTo>
                    <a:pt x="4256" y="4339"/>
                    <a:pt x="4256" y="4339"/>
                    <a:pt x="4256" y="4339"/>
                  </a:cubicBezTo>
                  <a:lnTo>
                    <a:pt x="4259" y="4200"/>
                  </a:lnTo>
                  <a:close/>
                  <a:moveTo>
                    <a:pt x="4243" y="4326"/>
                  </a:moveTo>
                  <a:cubicBezTo>
                    <a:pt x="4169" y="4324"/>
                    <a:pt x="4169" y="4324"/>
                    <a:pt x="4169" y="4324"/>
                  </a:cubicBezTo>
                  <a:cubicBezTo>
                    <a:pt x="4171" y="4211"/>
                    <a:pt x="4171" y="4211"/>
                    <a:pt x="4171" y="4211"/>
                  </a:cubicBezTo>
                  <a:cubicBezTo>
                    <a:pt x="4246" y="4213"/>
                    <a:pt x="4246" y="4213"/>
                    <a:pt x="4246" y="4213"/>
                  </a:cubicBezTo>
                  <a:lnTo>
                    <a:pt x="4243" y="4326"/>
                  </a:lnTo>
                  <a:close/>
                  <a:moveTo>
                    <a:pt x="3977" y="4326"/>
                  </a:moveTo>
                  <a:cubicBezTo>
                    <a:pt x="3977" y="4333"/>
                    <a:pt x="3977" y="4333"/>
                    <a:pt x="3977" y="4333"/>
                  </a:cubicBezTo>
                  <a:cubicBezTo>
                    <a:pt x="4078" y="4335"/>
                    <a:pt x="4078" y="4335"/>
                    <a:pt x="4078" y="4335"/>
                  </a:cubicBezTo>
                  <a:cubicBezTo>
                    <a:pt x="4081" y="4196"/>
                    <a:pt x="4081" y="4196"/>
                    <a:pt x="4081" y="4196"/>
                  </a:cubicBezTo>
                  <a:cubicBezTo>
                    <a:pt x="3980" y="4194"/>
                    <a:pt x="3980" y="4194"/>
                    <a:pt x="3980" y="4194"/>
                  </a:cubicBezTo>
                  <a:lnTo>
                    <a:pt x="3977" y="4326"/>
                  </a:lnTo>
                  <a:close/>
                  <a:moveTo>
                    <a:pt x="3993" y="4207"/>
                  </a:moveTo>
                  <a:cubicBezTo>
                    <a:pt x="4067" y="4209"/>
                    <a:pt x="4067" y="4209"/>
                    <a:pt x="4067" y="4209"/>
                  </a:cubicBezTo>
                  <a:cubicBezTo>
                    <a:pt x="4065" y="4322"/>
                    <a:pt x="4065" y="4322"/>
                    <a:pt x="4065" y="4322"/>
                  </a:cubicBezTo>
                  <a:cubicBezTo>
                    <a:pt x="3990" y="4320"/>
                    <a:pt x="3990" y="4320"/>
                    <a:pt x="3990" y="4320"/>
                  </a:cubicBezTo>
                  <a:lnTo>
                    <a:pt x="3993" y="4207"/>
                  </a:lnTo>
                  <a:close/>
                  <a:moveTo>
                    <a:pt x="11662" y="17103"/>
                  </a:moveTo>
                  <a:cubicBezTo>
                    <a:pt x="11656" y="17107"/>
                    <a:pt x="11656" y="17107"/>
                    <a:pt x="11656" y="17107"/>
                  </a:cubicBezTo>
                  <a:cubicBezTo>
                    <a:pt x="11722" y="17197"/>
                    <a:pt x="11722" y="17197"/>
                    <a:pt x="11722" y="17197"/>
                  </a:cubicBezTo>
                  <a:cubicBezTo>
                    <a:pt x="11847" y="17106"/>
                    <a:pt x="11847" y="17106"/>
                    <a:pt x="11847" y="17106"/>
                  </a:cubicBezTo>
                  <a:cubicBezTo>
                    <a:pt x="11782" y="17016"/>
                    <a:pt x="11782" y="17016"/>
                    <a:pt x="11782" y="17016"/>
                  </a:cubicBezTo>
                  <a:lnTo>
                    <a:pt x="11662" y="17103"/>
                  </a:lnTo>
                  <a:close/>
                  <a:moveTo>
                    <a:pt x="11725" y="17179"/>
                  </a:moveTo>
                  <a:cubicBezTo>
                    <a:pt x="11675" y="17110"/>
                    <a:pt x="11675" y="17110"/>
                    <a:pt x="11675" y="17110"/>
                  </a:cubicBezTo>
                  <a:cubicBezTo>
                    <a:pt x="11779" y="17034"/>
                    <a:pt x="11779" y="17034"/>
                    <a:pt x="11779" y="17034"/>
                  </a:cubicBezTo>
                  <a:cubicBezTo>
                    <a:pt x="11829" y="17103"/>
                    <a:pt x="11829" y="17103"/>
                    <a:pt x="11829" y="17103"/>
                  </a:cubicBezTo>
                  <a:lnTo>
                    <a:pt x="11725" y="17179"/>
                  </a:lnTo>
                  <a:close/>
                  <a:moveTo>
                    <a:pt x="11426" y="16804"/>
                  </a:moveTo>
                  <a:cubicBezTo>
                    <a:pt x="11422" y="16809"/>
                    <a:pt x="11422" y="16809"/>
                    <a:pt x="11422" y="16809"/>
                  </a:cubicBezTo>
                  <a:cubicBezTo>
                    <a:pt x="11505" y="16882"/>
                    <a:pt x="11505" y="16882"/>
                    <a:pt x="11505" y="16882"/>
                  </a:cubicBezTo>
                  <a:cubicBezTo>
                    <a:pt x="11608" y="16766"/>
                    <a:pt x="11608" y="16766"/>
                    <a:pt x="11608" y="16766"/>
                  </a:cubicBezTo>
                  <a:cubicBezTo>
                    <a:pt x="11524" y="16693"/>
                    <a:pt x="11524" y="16693"/>
                    <a:pt x="11524" y="16693"/>
                  </a:cubicBezTo>
                  <a:lnTo>
                    <a:pt x="11426" y="16804"/>
                  </a:lnTo>
                  <a:close/>
                  <a:moveTo>
                    <a:pt x="11589" y="16767"/>
                  </a:moveTo>
                  <a:cubicBezTo>
                    <a:pt x="11504" y="16864"/>
                    <a:pt x="11504" y="16864"/>
                    <a:pt x="11504" y="16864"/>
                  </a:cubicBezTo>
                  <a:cubicBezTo>
                    <a:pt x="11440" y="16808"/>
                    <a:pt x="11440" y="16808"/>
                    <a:pt x="11440" y="16808"/>
                  </a:cubicBezTo>
                  <a:cubicBezTo>
                    <a:pt x="11525" y="16711"/>
                    <a:pt x="11525" y="16711"/>
                    <a:pt x="11525" y="16711"/>
                  </a:cubicBezTo>
                  <a:lnTo>
                    <a:pt x="11589" y="16767"/>
                  </a:lnTo>
                  <a:close/>
                  <a:moveTo>
                    <a:pt x="10799" y="16716"/>
                  </a:moveTo>
                  <a:cubicBezTo>
                    <a:pt x="10794" y="16720"/>
                    <a:pt x="10794" y="16720"/>
                    <a:pt x="10794" y="16720"/>
                  </a:cubicBezTo>
                  <a:cubicBezTo>
                    <a:pt x="10860" y="16809"/>
                    <a:pt x="10860" y="16809"/>
                    <a:pt x="10860" y="16809"/>
                  </a:cubicBezTo>
                  <a:cubicBezTo>
                    <a:pt x="10984" y="16716"/>
                    <a:pt x="10984" y="16716"/>
                    <a:pt x="10984" y="16716"/>
                  </a:cubicBezTo>
                  <a:cubicBezTo>
                    <a:pt x="10918" y="16627"/>
                    <a:pt x="10918" y="16627"/>
                    <a:pt x="10918" y="16627"/>
                  </a:cubicBezTo>
                  <a:lnTo>
                    <a:pt x="10799" y="16716"/>
                  </a:lnTo>
                  <a:close/>
                  <a:moveTo>
                    <a:pt x="10863" y="16791"/>
                  </a:moveTo>
                  <a:cubicBezTo>
                    <a:pt x="10812" y="16723"/>
                    <a:pt x="10812" y="16723"/>
                    <a:pt x="10812" y="16723"/>
                  </a:cubicBezTo>
                  <a:cubicBezTo>
                    <a:pt x="10915" y="16645"/>
                    <a:pt x="10915" y="16645"/>
                    <a:pt x="10915" y="16645"/>
                  </a:cubicBezTo>
                  <a:cubicBezTo>
                    <a:pt x="10966" y="16713"/>
                    <a:pt x="10966" y="16713"/>
                    <a:pt x="10966" y="16713"/>
                  </a:cubicBezTo>
                  <a:lnTo>
                    <a:pt x="10863" y="16791"/>
                  </a:lnTo>
                  <a:close/>
                  <a:moveTo>
                    <a:pt x="10403" y="16593"/>
                  </a:moveTo>
                  <a:cubicBezTo>
                    <a:pt x="10396" y="16593"/>
                    <a:pt x="10396" y="16593"/>
                    <a:pt x="10396" y="16593"/>
                  </a:cubicBezTo>
                  <a:cubicBezTo>
                    <a:pt x="10397" y="16704"/>
                    <a:pt x="10397" y="16704"/>
                    <a:pt x="10397" y="16704"/>
                  </a:cubicBezTo>
                  <a:cubicBezTo>
                    <a:pt x="10552" y="16704"/>
                    <a:pt x="10552" y="16704"/>
                    <a:pt x="10552" y="16704"/>
                  </a:cubicBezTo>
                  <a:cubicBezTo>
                    <a:pt x="10551" y="16592"/>
                    <a:pt x="10551" y="16592"/>
                    <a:pt x="10551" y="16592"/>
                  </a:cubicBezTo>
                  <a:lnTo>
                    <a:pt x="10403" y="16593"/>
                  </a:lnTo>
                  <a:close/>
                  <a:moveTo>
                    <a:pt x="10410" y="16691"/>
                  </a:moveTo>
                  <a:cubicBezTo>
                    <a:pt x="10409" y="16606"/>
                    <a:pt x="10409" y="16606"/>
                    <a:pt x="10409" y="16606"/>
                  </a:cubicBezTo>
                  <a:cubicBezTo>
                    <a:pt x="10538" y="16606"/>
                    <a:pt x="10538" y="16606"/>
                    <a:pt x="10538" y="16606"/>
                  </a:cubicBezTo>
                  <a:cubicBezTo>
                    <a:pt x="10539" y="16690"/>
                    <a:pt x="10539" y="16690"/>
                    <a:pt x="10539" y="16690"/>
                  </a:cubicBezTo>
                  <a:lnTo>
                    <a:pt x="10410" y="16691"/>
                  </a:lnTo>
                  <a:close/>
                  <a:moveTo>
                    <a:pt x="4" y="12476"/>
                  </a:moveTo>
                  <a:cubicBezTo>
                    <a:pt x="83" y="12461"/>
                    <a:pt x="83" y="12461"/>
                    <a:pt x="83" y="12461"/>
                  </a:cubicBezTo>
                  <a:cubicBezTo>
                    <a:pt x="73" y="12407"/>
                    <a:pt x="73" y="12407"/>
                    <a:pt x="73" y="12407"/>
                  </a:cubicBezTo>
                  <a:cubicBezTo>
                    <a:pt x="86" y="12405"/>
                    <a:pt x="86" y="12405"/>
                    <a:pt x="86" y="12405"/>
                  </a:cubicBezTo>
                  <a:cubicBezTo>
                    <a:pt x="72" y="12333"/>
                    <a:pt x="72" y="12333"/>
                    <a:pt x="72" y="12333"/>
                  </a:cubicBezTo>
                  <a:cubicBezTo>
                    <a:pt x="4" y="12346"/>
                    <a:pt x="4" y="12346"/>
                    <a:pt x="4" y="12346"/>
                  </a:cubicBezTo>
                  <a:cubicBezTo>
                    <a:pt x="4" y="12332"/>
                    <a:pt x="4" y="12332"/>
                    <a:pt x="4" y="12332"/>
                  </a:cubicBezTo>
                  <a:cubicBezTo>
                    <a:pt x="83" y="12318"/>
                    <a:pt x="83" y="12318"/>
                    <a:pt x="83" y="12318"/>
                  </a:cubicBezTo>
                  <a:cubicBezTo>
                    <a:pt x="84" y="12324"/>
                    <a:pt x="84" y="12324"/>
                    <a:pt x="84" y="12324"/>
                  </a:cubicBezTo>
                  <a:cubicBezTo>
                    <a:pt x="101" y="12415"/>
                    <a:pt x="101" y="12415"/>
                    <a:pt x="101" y="12415"/>
                  </a:cubicBezTo>
                  <a:cubicBezTo>
                    <a:pt x="88" y="12417"/>
                    <a:pt x="88" y="12417"/>
                    <a:pt x="88" y="12417"/>
                  </a:cubicBezTo>
                  <a:cubicBezTo>
                    <a:pt x="98" y="12471"/>
                    <a:pt x="98" y="12471"/>
                    <a:pt x="98" y="12471"/>
                  </a:cubicBezTo>
                  <a:cubicBezTo>
                    <a:pt x="4" y="12489"/>
                    <a:pt x="4" y="12489"/>
                    <a:pt x="4" y="12489"/>
                  </a:cubicBezTo>
                  <a:lnTo>
                    <a:pt x="4" y="12476"/>
                  </a:lnTo>
                  <a:close/>
                  <a:moveTo>
                    <a:pt x="9278" y="15560"/>
                  </a:moveTo>
                  <a:cubicBezTo>
                    <a:pt x="9199" y="15586"/>
                    <a:pt x="9199" y="15586"/>
                    <a:pt x="9199" y="15586"/>
                  </a:cubicBezTo>
                  <a:cubicBezTo>
                    <a:pt x="9194" y="15571"/>
                    <a:pt x="9194" y="15571"/>
                    <a:pt x="9194" y="15571"/>
                  </a:cubicBezTo>
                  <a:cubicBezTo>
                    <a:pt x="9368" y="15515"/>
                    <a:pt x="9368" y="15515"/>
                    <a:pt x="9368" y="15515"/>
                  </a:cubicBezTo>
                  <a:cubicBezTo>
                    <a:pt x="9345" y="15443"/>
                    <a:pt x="9345" y="15443"/>
                    <a:pt x="9345" y="15443"/>
                  </a:cubicBezTo>
                  <a:cubicBezTo>
                    <a:pt x="9280" y="15464"/>
                    <a:pt x="9280" y="15464"/>
                    <a:pt x="9280" y="15464"/>
                  </a:cubicBezTo>
                  <a:cubicBezTo>
                    <a:pt x="9257" y="15392"/>
                    <a:pt x="9257" y="15392"/>
                    <a:pt x="9257" y="15392"/>
                  </a:cubicBezTo>
                  <a:cubicBezTo>
                    <a:pt x="9120" y="15436"/>
                    <a:pt x="9120" y="15436"/>
                    <a:pt x="9120" y="15436"/>
                  </a:cubicBezTo>
                  <a:cubicBezTo>
                    <a:pt x="9148" y="15523"/>
                    <a:pt x="9148" y="15523"/>
                    <a:pt x="9148" y="15523"/>
                  </a:cubicBezTo>
                  <a:cubicBezTo>
                    <a:pt x="9055" y="15553"/>
                    <a:pt x="9055" y="15553"/>
                    <a:pt x="9055" y="15553"/>
                  </a:cubicBezTo>
                  <a:cubicBezTo>
                    <a:pt x="9049" y="15555"/>
                    <a:pt x="9049" y="15555"/>
                    <a:pt x="9049" y="15555"/>
                  </a:cubicBezTo>
                  <a:cubicBezTo>
                    <a:pt x="9079" y="15649"/>
                    <a:pt x="9079" y="15649"/>
                    <a:pt x="9079" y="15649"/>
                  </a:cubicBezTo>
                  <a:cubicBezTo>
                    <a:pt x="9085" y="15647"/>
                    <a:pt x="9085" y="15647"/>
                    <a:pt x="9085" y="15647"/>
                  </a:cubicBezTo>
                  <a:cubicBezTo>
                    <a:pt x="9092" y="15646"/>
                    <a:pt x="9092" y="15646"/>
                    <a:pt x="9092" y="15646"/>
                  </a:cubicBezTo>
                  <a:cubicBezTo>
                    <a:pt x="9108" y="15698"/>
                    <a:pt x="9108" y="15698"/>
                    <a:pt x="9108" y="15698"/>
                  </a:cubicBezTo>
                  <a:cubicBezTo>
                    <a:pt x="9302" y="15635"/>
                    <a:pt x="9302" y="15635"/>
                    <a:pt x="9302" y="15635"/>
                  </a:cubicBezTo>
                  <a:lnTo>
                    <a:pt x="9278" y="15560"/>
                  </a:lnTo>
                  <a:close/>
                  <a:moveTo>
                    <a:pt x="9100" y="15629"/>
                  </a:moveTo>
                  <a:cubicBezTo>
                    <a:pt x="9094" y="15631"/>
                    <a:pt x="9094" y="15631"/>
                    <a:pt x="9094" y="15631"/>
                  </a:cubicBezTo>
                  <a:cubicBezTo>
                    <a:pt x="9088" y="15633"/>
                    <a:pt x="9088" y="15633"/>
                    <a:pt x="9088" y="15633"/>
                  </a:cubicBezTo>
                  <a:cubicBezTo>
                    <a:pt x="9065" y="15563"/>
                    <a:pt x="9065" y="15563"/>
                    <a:pt x="9065" y="15563"/>
                  </a:cubicBezTo>
                  <a:cubicBezTo>
                    <a:pt x="9165" y="15531"/>
                    <a:pt x="9165" y="15531"/>
                    <a:pt x="9165" y="15531"/>
                  </a:cubicBezTo>
                  <a:cubicBezTo>
                    <a:pt x="9136" y="15444"/>
                    <a:pt x="9136" y="15444"/>
                    <a:pt x="9136" y="15444"/>
                  </a:cubicBezTo>
                  <a:cubicBezTo>
                    <a:pt x="9248" y="15408"/>
                    <a:pt x="9248" y="15408"/>
                    <a:pt x="9248" y="15408"/>
                  </a:cubicBezTo>
                  <a:cubicBezTo>
                    <a:pt x="9271" y="15480"/>
                    <a:pt x="9271" y="15480"/>
                    <a:pt x="9271" y="15480"/>
                  </a:cubicBezTo>
                  <a:cubicBezTo>
                    <a:pt x="9336" y="15460"/>
                    <a:pt x="9336" y="15460"/>
                    <a:pt x="9336" y="15460"/>
                  </a:cubicBezTo>
                  <a:cubicBezTo>
                    <a:pt x="9351" y="15507"/>
                    <a:pt x="9351" y="15507"/>
                    <a:pt x="9351" y="15507"/>
                  </a:cubicBezTo>
                  <a:cubicBezTo>
                    <a:pt x="9177" y="15563"/>
                    <a:pt x="9177" y="15563"/>
                    <a:pt x="9177" y="15563"/>
                  </a:cubicBezTo>
                  <a:cubicBezTo>
                    <a:pt x="9190" y="15603"/>
                    <a:pt x="9190" y="15603"/>
                    <a:pt x="9190" y="15603"/>
                  </a:cubicBezTo>
                  <a:cubicBezTo>
                    <a:pt x="9270" y="15577"/>
                    <a:pt x="9270" y="15577"/>
                    <a:pt x="9270" y="15577"/>
                  </a:cubicBezTo>
                  <a:cubicBezTo>
                    <a:pt x="9286" y="15627"/>
                    <a:pt x="9286" y="15627"/>
                    <a:pt x="9286" y="15627"/>
                  </a:cubicBezTo>
                  <a:cubicBezTo>
                    <a:pt x="9117" y="15681"/>
                    <a:pt x="9117" y="15681"/>
                    <a:pt x="9117" y="15681"/>
                  </a:cubicBezTo>
                  <a:lnTo>
                    <a:pt x="9100" y="15629"/>
                  </a:lnTo>
                  <a:close/>
                  <a:moveTo>
                    <a:pt x="3685" y="17502"/>
                  </a:moveTo>
                  <a:cubicBezTo>
                    <a:pt x="3684" y="17495"/>
                    <a:pt x="3684" y="17495"/>
                    <a:pt x="3684" y="17495"/>
                  </a:cubicBezTo>
                  <a:cubicBezTo>
                    <a:pt x="3577" y="17513"/>
                    <a:pt x="3577" y="17513"/>
                    <a:pt x="3577" y="17513"/>
                  </a:cubicBezTo>
                  <a:cubicBezTo>
                    <a:pt x="3562" y="17423"/>
                    <a:pt x="3562" y="17423"/>
                    <a:pt x="3562" y="17423"/>
                  </a:cubicBezTo>
                  <a:cubicBezTo>
                    <a:pt x="3415" y="17448"/>
                    <a:pt x="3415" y="17448"/>
                    <a:pt x="3415" y="17448"/>
                  </a:cubicBezTo>
                  <a:cubicBezTo>
                    <a:pt x="3428" y="17523"/>
                    <a:pt x="3428" y="17523"/>
                    <a:pt x="3428" y="17523"/>
                  </a:cubicBezTo>
                  <a:cubicBezTo>
                    <a:pt x="3359" y="17535"/>
                    <a:pt x="3359" y="17535"/>
                    <a:pt x="3359" y="17535"/>
                  </a:cubicBezTo>
                  <a:cubicBezTo>
                    <a:pt x="3371" y="17610"/>
                    <a:pt x="3371" y="17610"/>
                    <a:pt x="3371" y="17610"/>
                  </a:cubicBezTo>
                  <a:cubicBezTo>
                    <a:pt x="3558" y="17578"/>
                    <a:pt x="3558" y="17578"/>
                    <a:pt x="3558" y="17578"/>
                  </a:cubicBezTo>
                  <a:cubicBezTo>
                    <a:pt x="3561" y="17593"/>
                    <a:pt x="3561" y="17593"/>
                    <a:pt x="3561" y="17593"/>
                  </a:cubicBezTo>
                  <a:cubicBezTo>
                    <a:pt x="3475" y="17608"/>
                    <a:pt x="3475" y="17608"/>
                    <a:pt x="3475" y="17608"/>
                  </a:cubicBezTo>
                  <a:cubicBezTo>
                    <a:pt x="3489" y="17685"/>
                    <a:pt x="3489" y="17685"/>
                    <a:pt x="3489" y="17685"/>
                  </a:cubicBezTo>
                  <a:cubicBezTo>
                    <a:pt x="3697" y="17649"/>
                    <a:pt x="3697" y="17649"/>
                    <a:pt x="3697" y="17649"/>
                  </a:cubicBezTo>
                  <a:cubicBezTo>
                    <a:pt x="3688" y="17595"/>
                    <a:pt x="3688" y="17595"/>
                    <a:pt x="3688" y="17595"/>
                  </a:cubicBezTo>
                  <a:cubicBezTo>
                    <a:pt x="3701" y="17593"/>
                    <a:pt x="3701" y="17593"/>
                    <a:pt x="3701" y="17593"/>
                  </a:cubicBezTo>
                  <a:lnTo>
                    <a:pt x="3685" y="17502"/>
                  </a:lnTo>
                  <a:close/>
                  <a:moveTo>
                    <a:pt x="3681" y="17638"/>
                  </a:moveTo>
                  <a:cubicBezTo>
                    <a:pt x="3500" y="17670"/>
                    <a:pt x="3500" y="17670"/>
                    <a:pt x="3500" y="17670"/>
                  </a:cubicBezTo>
                  <a:cubicBezTo>
                    <a:pt x="3491" y="17619"/>
                    <a:pt x="3491" y="17619"/>
                    <a:pt x="3491" y="17619"/>
                  </a:cubicBezTo>
                  <a:cubicBezTo>
                    <a:pt x="3576" y="17604"/>
                    <a:pt x="3576" y="17604"/>
                    <a:pt x="3576" y="17604"/>
                  </a:cubicBezTo>
                  <a:cubicBezTo>
                    <a:pt x="3569" y="17562"/>
                    <a:pt x="3569" y="17562"/>
                    <a:pt x="3569" y="17562"/>
                  </a:cubicBezTo>
                  <a:cubicBezTo>
                    <a:pt x="3382" y="17595"/>
                    <a:pt x="3382" y="17595"/>
                    <a:pt x="3382" y="17595"/>
                  </a:cubicBezTo>
                  <a:cubicBezTo>
                    <a:pt x="3374" y="17546"/>
                    <a:pt x="3374" y="17546"/>
                    <a:pt x="3374" y="17546"/>
                  </a:cubicBezTo>
                  <a:cubicBezTo>
                    <a:pt x="3443" y="17534"/>
                    <a:pt x="3443" y="17534"/>
                    <a:pt x="3443" y="17534"/>
                  </a:cubicBezTo>
                  <a:cubicBezTo>
                    <a:pt x="3430" y="17459"/>
                    <a:pt x="3430" y="17459"/>
                    <a:pt x="3430" y="17459"/>
                  </a:cubicBezTo>
                  <a:cubicBezTo>
                    <a:pt x="3551" y="17439"/>
                    <a:pt x="3551" y="17439"/>
                    <a:pt x="3551" y="17439"/>
                  </a:cubicBezTo>
                  <a:cubicBezTo>
                    <a:pt x="3566" y="17529"/>
                    <a:pt x="3566" y="17529"/>
                    <a:pt x="3566" y="17529"/>
                  </a:cubicBezTo>
                  <a:cubicBezTo>
                    <a:pt x="3673" y="17510"/>
                    <a:pt x="3673" y="17510"/>
                    <a:pt x="3673" y="17510"/>
                  </a:cubicBezTo>
                  <a:cubicBezTo>
                    <a:pt x="3685" y="17582"/>
                    <a:pt x="3685" y="17582"/>
                    <a:pt x="3685" y="17582"/>
                  </a:cubicBezTo>
                  <a:cubicBezTo>
                    <a:pt x="3672" y="17584"/>
                    <a:pt x="3672" y="17584"/>
                    <a:pt x="3672" y="17584"/>
                  </a:cubicBezTo>
                  <a:lnTo>
                    <a:pt x="3681" y="17638"/>
                  </a:lnTo>
                  <a:close/>
                  <a:moveTo>
                    <a:pt x="2760" y="12652"/>
                  </a:moveTo>
                  <a:cubicBezTo>
                    <a:pt x="2774" y="12657"/>
                    <a:pt x="2774" y="12657"/>
                    <a:pt x="2774" y="12657"/>
                  </a:cubicBezTo>
                  <a:cubicBezTo>
                    <a:pt x="2707" y="12835"/>
                    <a:pt x="2707" y="12835"/>
                    <a:pt x="2707" y="12835"/>
                  </a:cubicBezTo>
                  <a:cubicBezTo>
                    <a:pt x="2778" y="12862"/>
                    <a:pt x="2778" y="12862"/>
                    <a:pt x="2778" y="12862"/>
                  </a:cubicBezTo>
                  <a:cubicBezTo>
                    <a:pt x="2803" y="12796"/>
                    <a:pt x="2803" y="12796"/>
                    <a:pt x="2803" y="12796"/>
                  </a:cubicBezTo>
                  <a:cubicBezTo>
                    <a:pt x="2874" y="12823"/>
                    <a:pt x="2874" y="12823"/>
                    <a:pt x="2874" y="12823"/>
                  </a:cubicBezTo>
                  <a:cubicBezTo>
                    <a:pt x="2927" y="12683"/>
                    <a:pt x="2927" y="12683"/>
                    <a:pt x="2927" y="12683"/>
                  </a:cubicBezTo>
                  <a:cubicBezTo>
                    <a:pt x="2841" y="12651"/>
                    <a:pt x="2841" y="12651"/>
                    <a:pt x="2841" y="12651"/>
                  </a:cubicBezTo>
                  <a:cubicBezTo>
                    <a:pt x="2877" y="12556"/>
                    <a:pt x="2877" y="12556"/>
                    <a:pt x="2877" y="12556"/>
                  </a:cubicBezTo>
                  <a:cubicBezTo>
                    <a:pt x="2880" y="12550"/>
                    <a:pt x="2880" y="12550"/>
                    <a:pt x="2880" y="12550"/>
                  </a:cubicBezTo>
                  <a:cubicBezTo>
                    <a:pt x="2787" y="12515"/>
                    <a:pt x="2787" y="12515"/>
                    <a:pt x="2787" y="12515"/>
                  </a:cubicBezTo>
                  <a:cubicBezTo>
                    <a:pt x="2784" y="12521"/>
                    <a:pt x="2784" y="12521"/>
                    <a:pt x="2784" y="12521"/>
                  </a:cubicBezTo>
                  <a:cubicBezTo>
                    <a:pt x="2782" y="12527"/>
                    <a:pt x="2782" y="12527"/>
                    <a:pt x="2782" y="12527"/>
                  </a:cubicBezTo>
                  <a:cubicBezTo>
                    <a:pt x="2731" y="12508"/>
                    <a:pt x="2731" y="12508"/>
                    <a:pt x="2731" y="12508"/>
                  </a:cubicBezTo>
                  <a:cubicBezTo>
                    <a:pt x="2656" y="12705"/>
                    <a:pt x="2656" y="12705"/>
                    <a:pt x="2656" y="12705"/>
                  </a:cubicBezTo>
                  <a:cubicBezTo>
                    <a:pt x="2729" y="12733"/>
                    <a:pt x="2729" y="12733"/>
                    <a:pt x="2729" y="12733"/>
                  </a:cubicBezTo>
                  <a:lnTo>
                    <a:pt x="2760" y="12652"/>
                  </a:lnTo>
                  <a:close/>
                  <a:moveTo>
                    <a:pt x="2673" y="12697"/>
                  </a:moveTo>
                  <a:cubicBezTo>
                    <a:pt x="2738" y="12525"/>
                    <a:pt x="2738" y="12525"/>
                    <a:pt x="2738" y="12525"/>
                  </a:cubicBezTo>
                  <a:cubicBezTo>
                    <a:pt x="2790" y="12544"/>
                    <a:pt x="2790" y="12544"/>
                    <a:pt x="2790" y="12544"/>
                  </a:cubicBezTo>
                  <a:cubicBezTo>
                    <a:pt x="2792" y="12538"/>
                    <a:pt x="2792" y="12538"/>
                    <a:pt x="2792" y="12538"/>
                  </a:cubicBezTo>
                  <a:cubicBezTo>
                    <a:pt x="2794" y="12532"/>
                    <a:pt x="2794" y="12532"/>
                    <a:pt x="2794" y="12532"/>
                  </a:cubicBezTo>
                  <a:cubicBezTo>
                    <a:pt x="2863" y="12558"/>
                    <a:pt x="2863" y="12558"/>
                    <a:pt x="2863" y="12558"/>
                  </a:cubicBezTo>
                  <a:cubicBezTo>
                    <a:pt x="2824" y="12659"/>
                    <a:pt x="2824" y="12659"/>
                    <a:pt x="2824" y="12659"/>
                  </a:cubicBezTo>
                  <a:cubicBezTo>
                    <a:pt x="2910" y="12691"/>
                    <a:pt x="2910" y="12691"/>
                    <a:pt x="2910" y="12691"/>
                  </a:cubicBezTo>
                  <a:cubicBezTo>
                    <a:pt x="2866" y="12805"/>
                    <a:pt x="2866" y="12805"/>
                    <a:pt x="2866" y="12805"/>
                  </a:cubicBezTo>
                  <a:cubicBezTo>
                    <a:pt x="2796" y="12779"/>
                    <a:pt x="2796" y="12779"/>
                    <a:pt x="2796" y="12779"/>
                  </a:cubicBezTo>
                  <a:cubicBezTo>
                    <a:pt x="2771" y="12844"/>
                    <a:pt x="2771" y="12844"/>
                    <a:pt x="2771" y="12844"/>
                  </a:cubicBezTo>
                  <a:cubicBezTo>
                    <a:pt x="2725" y="12827"/>
                    <a:pt x="2725" y="12827"/>
                    <a:pt x="2725" y="12827"/>
                  </a:cubicBezTo>
                  <a:cubicBezTo>
                    <a:pt x="2792" y="12650"/>
                    <a:pt x="2792" y="12650"/>
                    <a:pt x="2792" y="12650"/>
                  </a:cubicBezTo>
                  <a:cubicBezTo>
                    <a:pt x="2752" y="12635"/>
                    <a:pt x="2752" y="12635"/>
                    <a:pt x="2752" y="12635"/>
                  </a:cubicBezTo>
                  <a:cubicBezTo>
                    <a:pt x="2722" y="12716"/>
                    <a:pt x="2722" y="12716"/>
                    <a:pt x="2722" y="12716"/>
                  </a:cubicBezTo>
                  <a:lnTo>
                    <a:pt x="2673" y="12697"/>
                  </a:lnTo>
                  <a:close/>
                  <a:moveTo>
                    <a:pt x="8133" y="17724"/>
                  </a:moveTo>
                  <a:cubicBezTo>
                    <a:pt x="8131" y="17695"/>
                    <a:pt x="8131" y="17695"/>
                    <a:pt x="8131" y="17695"/>
                  </a:cubicBezTo>
                  <a:cubicBezTo>
                    <a:pt x="8030" y="17699"/>
                    <a:pt x="8030" y="17699"/>
                    <a:pt x="8030" y="17699"/>
                  </a:cubicBezTo>
                  <a:cubicBezTo>
                    <a:pt x="8030" y="17705"/>
                    <a:pt x="8030" y="17705"/>
                    <a:pt x="8030" y="17705"/>
                  </a:cubicBezTo>
                  <a:cubicBezTo>
                    <a:pt x="8031" y="17724"/>
                    <a:pt x="8031" y="17724"/>
                    <a:pt x="8031" y="17724"/>
                  </a:cubicBezTo>
                  <a:cubicBezTo>
                    <a:pt x="7956" y="17725"/>
                    <a:pt x="7956" y="17725"/>
                    <a:pt x="7956" y="17725"/>
                  </a:cubicBezTo>
                  <a:cubicBezTo>
                    <a:pt x="7959" y="17790"/>
                    <a:pt x="7959" y="17790"/>
                    <a:pt x="7959" y="17790"/>
                  </a:cubicBezTo>
                  <a:cubicBezTo>
                    <a:pt x="7926" y="17793"/>
                    <a:pt x="7926" y="17793"/>
                    <a:pt x="7926" y="17793"/>
                  </a:cubicBezTo>
                  <a:cubicBezTo>
                    <a:pt x="7928" y="17860"/>
                    <a:pt x="7928" y="17860"/>
                    <a:pt x="7928" y="17860"/>
                  </a:cubicBezTo>
                  <a:cubicBezTo>
                    <a:pt x="7934" y="17861"/>
                    <a:pt x="7934" y="17861"/>
                    <a:pt x="7934" y="17861"/>
                  </a:cubicBezTo>
                  <a:cubicBezTo>
                    <a:pt x="7954" y="17862"/>
                    <a:pt x="7954" y="17862"/>
                    <a:pt x="7954" y="17862"/>
                  </a:cubicBezTo>
                  <a:cubicBezTo>
                    <a:pt x="7956" y="17918"/>
                    <a:pt x="7956" y="17918"/>
                    <a:pt x="7956" y="17918"/>
                  </a:cubicBezTo>
                  <a:cubicBezTo>
                    <a:pt x="8091" y="17917"/>
                    <a:pt x="8091" y="17917"/>
                    <a:pt x="8091" y="17917"/>
                  </a:cubicBezTo>
                  <a:cubicBezTo>
                    <a:pt x="8096" y="17959"/>
                    <a:pt x="8096" y="17959"/>
                    <a:pt x="8096" y="17959"/>
                  </a:cubicBezTo>
                  <a:cubicBezTo>
                    <a:pt x="8179" y="17961"/>
                    <a:pt x="8179" y="17961"/>
                    <a:pt x="8179" y="17961"/>
                  </a:cubicBezTo>
                  <a:cubicBezTo>
                    <a:pt x="8179" y="17918"/>
                    <a:pt x="8179" y="17918"/>
                    <a:pt x="8179" y="17918"/>
                  </a:cubicBezTo>
                  <a:cubicBezTo>
                    <a:pt x="8262" y="17916"/>
                    <a:pt x="8262" y="17916"/>
                    <a:pt x="8262" y="17916"/>
                  </a:cubicBezTo>
                  <a:cubicBezTo>
                    <a:pt x="8269" y="17915"/>
                    <a:pt x="8269" y="17915"/>
                    <a:pt x="8269" y="17915"/>
                  </a:cubicBezTo>
                  <a:cubicBezTo>
                    <a:pt x="8268" y="17724"/>
                    <a:pt x="8268" y="17724"/>
                    <a:pt x="8268" y="17724"/>
                  </a:cubicBezTo>
                  <a:lnTo>
                    <a:pt x="8133" y="17724"/>
                  </a:lnTo>
                  <a:close/>
                  <a:moveTo>
                    <a:pt x="8166" y="17905"/>
                  </a:moveTo>
                  <a:cubicBezTo>
                    <a:pt x="8166" y="17947"/>
                    <a:pt x="8166" y="17947"/>
                    <a:pt x="8166" y="17947"/>
                  </a:cubicBezTo>
                  <a:cubicBezTo>
                    <a:pt x="8108" y="17946"/>
                    <a:pt x="8108" y="17946"/>
                    <a:pt x="8108" y="17946"/>
                  </a:cubicBezTo>
                  <a:cubicBezTo>
                    <a:pt x="8103" y="17903"/>
                    <a:pt x="8103" y="17903"/>
                    <a:pt x="8103" y="17903"/>
                  </a:cubicBezTo>
                  <a:cubicBezTo>
                    <a:pt x="7969" y="17904"/>
                    <a:pt x="7969" y="17904"/>
                    <a:pt x="7969" y="17904"/>
                  </a:cubicBezTo>
                  <a:cubicBezTo>
                    <a:pt x="7966" y="17849"/>
                    <a:pt x="7966" y="17849"/>
                    <a:pt x="7966" y="17849"/>
                  </a:cubicBezTo>
                  <a:cubicBezTo>
                    <a:pt x="7960" y="17849"/>
                    <a:pt x="7960" y="17849"/>
                    <a:pt x="7960" y="17849"/>
                  </a:cubicBezTo>
                  <a:cubicBezTo>
                    <a:pt x="7941" y="17848"/>
                    <a:pt x="7941" y="17848"/>
                    <a:pt x="7941" y="17848"/>
                  </a:cubicBezTo>
                  <a:cubicBezTo>
                    <a:pt x="7940" y="17805"/>
                    <a:pt x="7940" y="17805"/>
                    <a:pt x="7940" y="17805"/>
                  </a:cubicBezTo>
                  <a:cubicBezTo>
                    <a:pt x="7973" y="17802"/>
                    <a:pt x="7973" y="17802"/>
                    <a:pt x="7973" y="17802"/>
                  </a:cubicBezTo>
                  <a:cubicBezTo>
                    <a:pt x="7970" y="17738"/>
                    <a:pt x="7970" y="17738"/>
                    <a:pt x="7970" y="17738"/>
                  </a:cubicBezTo>
                  <a:cubicBezTo>
                    <a:pt x="8045" y="17737"/>
                    <a:pt x="8045" y="17737"/>
                    <a:pt x="8045" y="17737"/>
                  </a:cubicBezTo>
                  <a:cubicBezTo>
                    <a:pt x="8045" y="17730"/>
                    <a:pt x="8045" y="17730"/>
                    <a:pt x="8045" y="17730"/>
                  </a:cubicBezTo>
                  <a:cubicBezTo>
                    <a:pt x="8044" y="17711"/>
                    <a:pt x="8044" y="17711"/>
                    <a:pt x="8044" y="17711"/>
                  </a:cubicBezTo>
                  <a:cubicBezTo>
                    <a:pt x="8119" y="17708"/>
                    <a:pt x="8119" y="17708"/>
                    <a:pt x="8119" y="17708"/>
                  </a:cubicBezTo>
                  <a:cubicBezTo>
                    <a:pt x="8121" y="17737"/>
                    <a:pt x="8121" y="17737"/>
                    <a:pt x="8121" y="17737"/>
                  </a:cubicBezTo>
                  <a:cubicBezTo>
                    <a:pt x="8255" y="17737"/>
                    <a:pt x="8255" y="17737"/>
                    <a:pt x="8255" y="17737"/>
                  </a:cubicBezTo>
                  <a:cubicBezTo>
                    <a:pt x="8256" y="17903"/>
                    <a:pt x="8256" y="17903"/>
                    <a:pt x="8256" y="17903"/>
                  </a:cubicBezTo>
                  <a:lnTo>
                    <a:pt x="8166" y="17905"/>
                  </a:lnTo>
                  <a:close/>
                  <a:moveTo>
                    <a:pt x="8366" y="17800"/>
                  </a:moveTo>
                  <a:cubicBezTo>
                    <a:pt x="8454" y="17801"/>
                    <a:pt x="8454" y="17801"/>
                    <a:pt x="8454" y="17801"/>
                  </a:cubicBezTo>
                  <a:cubicBezTo>
                    <a:pt x="8461" y="17801"/>
                    <a:pt x="8461" y="17801"/>
                    <a:pt x="8461" y="17801"/>
                  </a:cubicBezTo>
                  <a:cubicBezTo>
                    <a:pt x="8461" y="17706"/>
                    <a:pt x="8461" y="17706"/>
                    <a:pt x="8461" y="17706"/>
                  </a:cubicBezTo>
                  <a:cubicBezTo>
                    <a:pt x="8366" y="17705"/>
                    <a:pt x="8366" y="17705"/>
                    <a:pt x="8366" y="17705"/>
                  </a:cubicBezTo>
                  <a:lnTo>
                    <a:pt x="8366" y="17800"/>
                  </a:lnTo>
                  <a:close/>
                  <a:moveTo>
                    <a:pt x="8379" y="17719"/>
                  </a:moveTo>
                  <a:cubicBezTo>
                    <a:pt x="8448" y="17719"/>
                    <a:pt x="8448" y="17719"/>
                    <a:pt x="8448" y="17719"/>
                  </a:cubicBezTo>
                  <a:cubicBezTo>
                    <a:pt x="8448" y="17788"/>
                    <a:pt x="8448" y="17788"/>
                    <a:pt x="8448" y="17788"/>
                  </a:cubicBezTo>
                  <a:cubicBezTo>
                    <a:pt x="8379" y="17787"/>
                    <a:pt x="8379" y="17787"/>
                    <a:pt x="8379" y="17787"/>
                  </a:cubicBezTo>
                  <a:lnTo>
                    <a:pt x="8379" y="17719"/>
                  </a:lnTo>
                  <a:close/>
                  <a:moveTo>
                    <a:pt x="12657" y="9117"/>
                  </a:moveTo>
                  <a:cubicBezTo>
                    <a:pt x="12555" y="9120"/>
                    <a:pt x="12555" y="9120"/>
                    <a:pt x="12555" y="9120"/>
                  </a:cubicBezTo>
                  <a:cubicBezTo>
                    <a:pt x="12556" y="9127"/>
                    <a:pt x="12556" y="9127"/>
                    <a:pt x="12556" y="9127"/>
                  </a:cubicBezTo>
                  <a:cubicBezTo>
                    <a:pt x="12557" y="9145"/>
                    <a:pt x="12557" y="9145"/>
                    <a:pt x="12557" y="9145"/>
                  </a:cubicBezTo>
                  <a:cubicBezTo>
                    <a:pt x="12481" y="9145"/>
                    <a:pt x="12481" y="9145"/>
                    <a:pt x="12481" y="9145"/>
                  </a:cubicBezTo>
                  <a:cubicBezTo>
                    <a:pt x="12483" y="9211"/>
                    <a:pt x="12483" y="9211"/>
                    <a:pt x="12483" y="9211"/>
                  </a:cubicBezTo>
                  <a:cubicBezTo>
                    <a:pt x="12451" y="9213"/>
                    <a:pt x="12451" y="9213"/>
                    <a:pt x="12451" y="9213"/>
                  </a:cubicBezTo>
                  <a:cubicBezTo>
                    <a:pt x="12452" y="9280"/>
                    <a:pt x="12452" y="9280"/>
                    <a:pt x="12452" y="9280"/>
                  </a:cubicBezTo>
                  <a:cubicBezTo>
                    <a:pt x="12458" y="9281"/>
                    <a:pt x="12458" y="9281"/>
                    <a:pt x="12458" y="9281"/>
                  </a:cubicBezTo>
                  <a:cubicBezTo>
                    <a:pt x="12477" y="9282"/>
                    <a:pt x="12477" y="9282"/>
                    <a:pt x="12477" y="9282"/>
                  </a:cubicBezTo>
                  <a:cubicBezTo>
                    <a:pt x="12479" y="9338"/>
                    <a:pt x="12479" y="9338"/>
                    <a:pt x="12479" y="9338"/>
                  </a:cubicBezTo>
                  <a:cubicBezTo>
                    <a:pt x="12614" y="9339"/>
                    <a:pt x="12614" y="9339"/>
                    <a:pt x="12614" y="9339"/>
                  </a:cubicBezTo>
                  <a:cubicBezTo>
                    <a:pt x="12618" y="9382"/>
                    <a:pt x="12618" y="9382"/>
                    <a:pt x="12618" y="9382"/>
                  </a:cubicBezTo>
                  <a:cubicBezTo>
                    <a:pt x="12701" y="9384"/>
                    <a:pt x="12701" y="9384"/>
                    <a:pt x="12701" y="9384"/>
                  </a:cubicBezTo>
                  <a:cubicBezTo>
                    <a:pt x="12702" y="9341"/>
                    <a:pt x="12702" y="9341"/>
                    <a:pt x="12702" y="9341"/>
                  </a:cubicBezTo>
                  <a:cubicBezTo>
                    <a:pt x="12785" y="9340"/>
                    <a:pt x="12785" y="9340"/>
                    <a:pt x="12785" y="9340"/>
                  </a:cubicBezTo>
                  <a:cubicBezTo>
                    <a:pt x="12792" y="9340"/>
                    <a:pt x="12792" y="9340"/>
                    <a:pt x="12792" y="9340"/>
                  </a:cubicBezTo>
                  <a:cubicBezTo>
                    <a:pt x="12793" y="9148"/>
                    <a:pt x="12793" y="9148"/>
                    <a:pt x="12793" y="9148"/>
                  </a:cubicBezTo>
                  <a:cubicBezTo>
                    <a:pt x="12658" y="9146"/>
                    <a:pt x="12658" y="9146"/>
                    <a:pt x="12658" y="9146"/>
                  </a:cubicBezTo>
                  <a:lnTo>
                    <a:pt x="12657" y="9117"/>
                  </a:lnTo>
                  <a:close/>
                  <a:moveTo>
                    <a:pt x="12779" y="9327"/>
                  </a:moveTo>
                  <a:cubicBezTo>
                    <a:pt x="12689" y="9328"/>
                    <a:pt x="12689" y="9328"/>
                    <a:pt x="12689" y="9328"/>
                  </a:cubicBezTo>
                  <a:cubicBezTo>
                    <a:pt x="12688" y="9370"/>
                    <a:pt x="12688" y="9370"/>
                    <a:pt x="12688" y="9370"/>
                  </a:cubicBezTo>
                  <a:cubicBezTo>
                    <a:pt x="12630" y="9369"/>
                    <a:pt x="12630" y="9369"/>
                    <a:pt x="12630" y="9369"/>
                  </a:cubicBezTo>
                  <a:cubicBezTo>
                    <a:pt x="12625" y="9326"/>
                    <a:pt x="12625" y="9326"/>
                    <a:pt x="12625" y="9326"/>
                  </a:cubicBezTo>
                  <a:cubicBezTo>
                    <a:pt x="12492" y="9325"/>
                    <a:pt x="12492" y="9325"/>
                    <a:pt x="12492" y="9325"/>
                  </a:cubicBezTo>
                  <a:cubicBezTo>
                    <a:pt x="12490" y="9269"/>
                    <a:pt x="12490" y="9269"/>
                    <a:pt x="12490" y="9269"/>
                  </a:cubicBezTo>
                  <a:cubicBezTo>
                    <a:pt x="12484" y="9269"/>
                    <a:pt x="12484" y="9269"/>
                    <a:pt x="12484" y="9269"/>
                  </a:cubicBezTo>
                  <a:cubicBezTo>
                    <a:pt x="12464" y="9268"/>
                    <a:pt x="12464" y="9268"/>
                    <a:pt x="12464" y="9268"/>
                  </a:cubicBezTo>
                  <a:cubicBezTo>
                    <a:pt x="12464" y="9225"/>
                    <a:pt x="12464" y="9225"/>
                    <a:pt x="12464" y="9225"/>
                  </a:cubicBezTo>
                  <a:cubicBezTo>
                    <a:pt x="12497" y="9223"/>
                    <a:pt x="12497" y="9223"/>
                    <a:pt x="12497" y="9223"/>
                  </a:cubicBezTo>
                  <a:cubicBezTo>
                    <a:pt x="12495" y="9158"/>
                    <a:pt x="12495" y="9158"/>
                    <a:pt x="12495" y="9158"/>
                  </a:cubicBezTo>
                  <a:cubicBezTo>
                    <a:pt x="12570" y="9158"/>
                    <a:pt x="12570" y="9158"/>
                    <a:pt x="12570" y="9158"/>
                  </a:cubicBezTo>
                  <a:cubicBezTo>
                    <a:pt x="12570" y="9151"/>
                    <a:pt x="12570" y="9151"/>
                    <a:pt x="12570" y="9151"/>
                  </a:cubicBezTo>
                  <a:cubicBezTo>
                    <a:pt x="12569" y="9133"/>
                    <a:pt x="12569" y="9133"/>
                    <a:pt x="12569" y="9133"/>
                  </a:cubicBezTo>
                  <a:cubicBezTo>
                    <a:pt x="12644" y="9131"/>
                    <a:pt x="12644" y="9131"/>
                    <a:pt x="12644" y="9131"/>
                  </a:cubicBezTo>
                  <a:cubicBezTo>
                    <a:pt x="12646" y="9159"/>
                    <a:pt x="12646" y="9159"/>
                    <a:pt x="12646" y="9159"/>
                  </a:cubicBezTo>
                  <a:cubicBezTo>
                    <a:pt x="12780" y="9161"/>
                    <a:pt x="12780" y="9161"/>
                    <a:pt x="12780" y="9161"/>
                  </a:cubicBezTo>
                  <a:lnTo>
                    <a:pt x="12779" y="9327"/>
                  </a:lnTo>
                  <a:close/>
                  <a:moveTo>
                    <a:pt x="3295" y="16916"/>
                  </a:moveTo>
                  <a:cubicBezTo>
                    <a:pt x="3295" y="16916"/>
                    <a:pt x="3295" y="16916"/>
                    <a:pt x="3295" y="16916"/>
                  </a:cubicBezTo>
                  <a:cubicBezTo>
                    <a:pt x="3295" y="16916"/>
                    <a:pt x="3295" y="16916"/>
                    <a:pt x="3295" y="16916"/>
                  </a:cubicBezTo>
                  <a:close/>
                  <a:moveTo>
                    <a:pt x="4727" y="9557"/>
                  </a:moveTo>
                  <a:cubicBezTo>
                    <a:pt x="4811" y="9553"/>
                    <a:pt x="4811" y="9553"/>
                    <a:pt x="4811" y="9553"/>
                  </a:cubicBezTo>
                  <a:cubicBezTo>
                    <a:pt x="4800" y="9293"/>
                    <a:pt x="4800" y="9293"/>
                    <a:pt x="4800" y="9293"/>
                  </a:cubicBezTo>
                  <a:cubicBezTo>
                    <a:pt x="4716" y="9297"/>
                    <a:pt x="4716" y="9297"/>
                    <a:pt x="4716" y="9297"/>
                  </a:cubicBezTo>
                  <a:cubicBezTo>
                    <a:pt x="4727" y="9550"/>
                    <a:pt x="4727" y="9550"/>
                    <a:pt x="4727" y="9550"/>
                  </a:cubicBezTo>
                  <a:lnTo>
                    <a:pt x="4727" y="9557"/>
                  </a:lnTo>
                  <a:close/>
                  <a:moveTo>
                    <a:pt x="4787" y="9307"/>
                  </a:moveTo>
                  <a:cubicBezTo>
                    <a:pt x="4798" y="9540"/>
                    <a:pt x="4798" y="9540"/>
                    <a:pt x="4798" y="9540"/>
                  </a:cubicBezTo>
                  <a:cubicBezTo>
                    <a:pt x="4740" y="9543"/>
                    <a:pt x="4740" y="9543"/>
                    <a:pt x="4740" y="9543"/>
                  </a:cubicBezTo>
                  <a:cubicBezTo>
                    <a:pt x="4729" y="9309"/>
                    <a:pt x="4729" y="9309"/>
                    <a:pt x="4729" y="9309"/>
                  </a:cubicBezTo>
                  <a:lnTo>
                    <a:pt x="4787" y="9307"/>
                  </a:lnTo>
                  <a:close/>
                  <a:moveTo>
                    <a:pt x="4748" y="9853"/>
                  </a:moveTo>
                  <a:cubicBezTo>
                    <a:pt x="4760" y="10106"/>
                    <a:pt x="4760" y="10106"/>
                    <a:pt x="4760" y="10106"/>
                  </a:cubicBezTo>
                  <a:cubicBezTo>
                    <a:pt x="4760" y="10113"/>
                    <a:pt x="4760" y="10113"/>
                    <a:pt x="4760" y="10113"/>
                  </a:cubicBezTo>
                  <a:cubicBezTo>
                    <a:pt x="4844" y="10109"/>
                    <a:pt x="4844" y="10109"/>
                    <a:pt x="4844" y="10109"/>
                  </a:cubicBezTo>
                  <a:cubicBezTo>
                    <a:pt x="4832" y="9849"/>
                    <a:pt x="4832" y="9849"/>
                    <a:pt x="4832" y="9849"/>
                  </a:cubicBezTo>
                  <a:lnTo>
                    <a:pt x="4748" y="9853"/>
                  </a:lnTo>
                  <a:close/>
                  <a:moveTo>
                    <a:pt x="4773" y="10099"/>
                  </a:moveTo>
                  <a:cubicBezTo>
                    <a:pt x="4762" y="9865"/>
                    <a:pt x="4762" y="9865"/>
                    <a:pt x="4762" y="9865"/>
                  </a:cubicBezTo>
                  <a:cubicBezTo>
                    <a:pt x="4820" y="9863"/>
                    <a:pt x="4820" y="9863"/>
                    <a:pt x="4820" y="9863"/>
                  </a:cubicBezTo>
                  <a:cubicBezTo>
                    <a:pt x="4830" y="10096"/>
                    <a:pt x="4830" y="10096"/>
                    <a:pt x="4830" y="10096"/>
                  </a:cubicBezTo>
                  <a:lnTo>
                    <a:pt x="4773" y="10099"/>
                  </a:lnTo>
                  <a:close/>
                  <a:moveTo>
                    <a:pt x="4968" y="10086"/>
                  </a:moveTo>
                  <a:cubicBezTo>
                    <a:pt x="5052" y="10082"/>
                    <a:pt x="5052" y="10082"/>
                    <a:pt x="5052" y="10082"/>
                  </a:cubicBezTo>
                  <a:cubicBezTo>
                    <a:pt x="5041" y="9823"/>
                    <a:pt x="5041" y="9823"/>
                    <a:pt x="5041" y="9823"/>
                  </a:cubicBezTo>
                  <a:cubicBezTo>
                    <a:pt x="4957" y="9827"/>
                    <a:pt x="4957" y="9827"/>
                    <a:pt x="4957" y="9827"/>
                  </a:cubicBezTo>
                  <a:cubicBezTo>
                    <a:pt x="4968" y="10080"/>
                    <a:pt x="4968" y="10080"/>
                    <a:pt x="4968" y="10080"/>
                  </a:cubicBezTo>
                  <a:lnTo>
                    <a:pt x="4968" y="10086"/>
                  </a:lnTo>
                  <a:close/>
                  <a:moveTo>
                    <a:pt x="5028" y="9836"/>
                  </a:moveTo>
                  <a:cubicBezTo>
                    <a:pt x="5039" y="10070"/>
                    <a:pt x="5039" y="10070"/>
                    <a:pt x="5039" y="10070"/>
                  </a:cubicBezTo>
                  <a:cubicBezTo>
                    <a:pt x="4981" y="10073"/>
                    <a:pt x="4981" y="10073"/>
                    <a:pt x="4981" y="10073"/>
                  </a:cubicBezTo>
                  <a:cubicBezTo>
                    <a:pt x="4970" y="9839"/>
                    <a:pt x="4970" y="9839"/>
                    <a:pt x="4970" y="9839"/>
                  </a:cubicBezTo>
                  <a:lnTo>
                    <a:pt x="5028" y="9836"/>
                  </a:lnTo>
                  <a:close/>
                  <a:moveTo>
                    <a:pt x="5226" y="9774"/>
                  </a:moveTo>
                  <a:cubicBezTo>
                    <a:pt x="5237" y="10027"/>
                    <a:pt x="5237" y="10027"/>
                    <a:pt x="5237" y="10027"/>
                  </a:cubicBezTo>
                  <a:cubicBezTo>
                    <a:pt x="5237" y="10034"/>
                    <a:pt x="5237" y="10034"/>
                    <a:pt x="5237" y="10034"/>
                  </a:cubicBezTo>
                  <a:cubicBezTo>
                    <a:pt x="5321" y="10030"/>
                    <a:pt x="5321" y="10030"/>
                    <a:pt x="5321" y="10030"/>
                  </a:cubicBezTo>
                  <a:cubicBezTo>
                    <a:pt x="5310" y="9770"/>
                    <a:pt x="5310" y="9770"/>
                    <a:pt x="5310" y="9770"/>
                  </a:cubicBezTo>
                  <a:lnTo>
                    <a:pt x="5226" y="9774"/>
                  </a:lnTo>
                  <a:close/>
                  <a:moveTo>
                    <a:pt x="5250" y="10020"/>
                  </a:moveTo>
                  <a:cubicBezTo>
                    <a:pt x="5239" y="9787"/>
                    <a:pt x="5239" y="9787"/>
                    <a:pt x="5239" y="9787"/>
                  </a:cubicBezTo>
                  <a:cubicBezTo>
                    <a:pt x="5297" y="9784"/>
                    <a:pt x="5297" y="9784"/>
                    <a:pt x="5297" y="9784"/>
                  </a:cubicBezTo>
                  <a:cubicBezTo>
                    <a:pt x="5308" y="10018"/>
                    <a:pt x="5308" y="10018"/>
                    <a:pt x="5308" y="10018"/>
                  </a:cubicBezTo>
                  <a:lnTo>
                    <a:pt x="5250" y="10020"/>
                  </a:lnTo>
                  <a:close/>
                  <a:moveTo>
                    <a:pt x="47" y="13597"/>
                  </a:moveTo>
                  <a:cubicBezTo>
                    <a:pt x="69" y="13553"/>
                    <a:pt x="69" y="13553"/>
                    <a:pt x="69" y="13553"/>
                  </a:cubicBezTo>
                  <a:cubicBezTo>
                    <a:pt x="4" y="13521"/>
                    <a:pt x="4" y="13521"/>
                    <a:pt x="4" y="13521"/>
                  </a:cubicBezTo>
                  <a:cubicBezTo>
                    <a:pt x="4" y="13506"/>
                    <a:pt x="4" y="13506"/>
                    <a:pt x="4" y="13506"/>
                  </a:cubicBezTo>
                  <a:cubicBezTo>
                    <a:pt x="86" y="13547"/>
                    <a:pt x="86" y="13547"/>
                    <a:pt x="86" y="13547"/>
                  </a:cubicBezTo>
                  <a:cubicBezTo>
                    <a:pt x="52" y="13615"/>
                    <a:pt x="52" y="13615"/>
                    <a:pt x="52" y="13615"/>
                  </a:cubicBezTo>
                  <a:cubicBezTo>
                    <a:pt x="47" y="13612"/>
                    <a:pt x="47" y="13612"/>
                    <a:pt x="47" y="13612"/>
                  </a:cubicBezTo>
                  <a:cubicBezTo>
                    <a:pt x="4" y="13591"/>
                    <a:pt x="4" y="13591"/>
                    <a:pt x="4" y="13591"/>
                  </a:cubicBezTo>
                  <a:cubicBezTo>
                    <a:pt x="4" y="13576"/>
                    <a:pt x="4" y="13576"/>
                    <a:pt x="4" y="13576"/>
                  </a:cubicBezTo>
                  <a:lnTo>
                    <a:pt x="47" y="13597"/>
                  </a:lnTo>
                  <a:close/>
                  <a:moveTo>
                    <a:pt x="2459" y="16158"/>
                  </a:moveTo>
                  <a:cubicBezTo>
                    <a:pt x="2315" y="16144"/>
                    <a:pt x="2315" y="16144"/>
                    <a:pt x="2315" y="16144"/>
                  </a:cubicBezTo>
                  <a:cubicBezTo>
                    <a:pt x="2308" y="16143"/>
                    <a:pt x="2308" y="16143"/>
                    <a:pt x="2308" y="16143"/>
                  </a:cubicBezTo>
                  <a:cubicBezTo>
                    <a:pt x="2301" y="16219"/>
                    <a:pt x="2301" y="16219"/>
                    <a:pt x="2301" y="16219"/>
                  </a:cubicBezTo>
                  <a:cubicBezTo>
                    <a:pt x="2452" y="16233"/>
                    <a:pt x="2452" y="16233"/>
                    <a:pt x="2452" y="16233"/>
                  </a:cubicBezTo>
                  <a:lnTo>
                    <a:pt x="2459" y="16158"/>
                  </a:lnTo>
                  <a:close/>
                  <a:moveTo>
                    <a:pt x="2440" y="16219"/>
                  </a:moveTo>
                  <a:cubicBezTo>
                    <a:pt x="2315" y="16207"/>
                    <a:pt x="2315" y="16207"/>
                    <a:pt x="2315" y="16207"/>
                  </a:cubicBezTo>
                  <a:cubicBezTo>
                    <a:pt x="2320" y="16158"/>
                    <a:pt x="2320" y="16158"/>
                    <a:pt x="2320" y="16158"/>
                  </a:cubicBezTo>
                  <a:cubicBezTo>
                    <a:pt x="2445" y="16170"/>
                    <a:pt x="2445" y="16170"/>
                    <a:pt x="2445" y="16170"/>
                  </a:cubicBezTo>
                  <a:lnTo>
                    <a:pt x="2440" y="16219"/>
                  </a:lnTo>
                  <a:close/>
                  <a:moveTo>
                    <a:pt x="2140" y="15945"/>
                  </a:moveTo>
                  <a:cubicBezTo>
                    <a:pt x="2132" y="16020"/>
                    <a:pt x="2132" y="16020"/>
                    <a:pt x="2132" y="16020"/>
                  </a:cubicBezTo>
                  <a:cubicBezTo>
                    <a:pt x="2283" y="16035"/>
                    <a:pt x="2283" y="16035"/>
                    <a:pt x="2283" y="16035"/>
                  </a:cubicBezTo>
                  <a:cubicBezTo>
                    <a:pt x="2291" y="15959"/>
                    <a:pt x="2291" y="15959"/>
                    <a:pt x="2291" y="15959"/>
                  </a:cubicBezTo>
                  <a:cubicBezTo>
                    <a:pt x="2146" y="15945"/>
                    <a:pt x="2146" y="15945"/>
                    <a:pt x="2146" y="15945"/>
                  </a:cubicBezTo>
                  <a:lnTo>
                    <a:pt x="2140" y="15945"/>
                  </a:lnTo>
                  <a:close/>
                  <a:moveTo>
                    <a:pt x="2152" y="15959"/>
                  </a:moveTo>
                  <a:cubicBezTo>
                    <a:pt x="2276" y="15971"/>
                    <a:pt x="2276" y="15971"/>
                    <a:pt x="2276" y="15971"/>
                  </a:cubicBezTo>
                  <a:cubicBezTo>
                    <a:pt x="2272" y="16020"/>
                    <a:pt x="2272" y="16020"/>
                    <a:pt x="2272" y="16020"/>
                  </a:cubicBezTo>
                  <a:cubicBezTo>
                    <a:pt x="2147" y="16008"/>
                    <a:pt x="2147" y="16008"/>
                    <a:pt x="2147" y="16008"/>
                  </a:cubicBezTo>
                  <a:lnTo>
                    <a:pt x="2152" y="15959"/>
                  </a:lnTo>
                  <a:close/>
                  <a:moveTo>
                    <a:pt x="3112" y="15856"/>
                  </a:moveTo>
                  <a:cubicBezTo>
                    <a:pt x="2968" y="15842"/>
                    <a:pt x="2968" y="15842"/>
                    <a:pt x="2968" y="15842"/>
                  </a:cubicBezTo>
                  <a:cubicBezTo>
                    <a:pt x="2962" y="15842"/>
                    <a:pt x="2962" y="15842"/>
                    <a:pt x="2962" y="15842"/>
                  </a:cubicBezTo>
                  <a:cubicBezTo>
                    <a:pt x="2954" y="15917"/>
                    <a:pt x="2954" y="15917"/>
                    <a:pt x="2954" y="15917"/>
                  </a:cubicBezTo>
                  <a:cubicBezTo>
                    <a:pt x="3105" y="15931"/>
                    <a:pt x="3105" y="15931"/>
                    <a:pt x="3105" y="15931"/>
                  </a:cubicBezTo>
                  <a:lnTo>
                    <a:pt x="3112" y="15856"/>
                  </a:lnTo>
                  <a:close/>
                  <a:moveTo>
                    <a:pt x="3093" y="15917"/>
                  </a:moveTo>
                  <a:cubicBezTo>
                    <a:pt x="2969" y="15905"/>
                    <a:pt x="2969" y="15905"/>
                    <a:pt x="2969" y="15905"/>
                  </a:cubicBezTo>
                  <a:cubicBezTo>
                    <a:pt x="2973" y="15856"/>
                    <a:pt x="2973" y="15856"/>
                    <a:pt x="2973" y="15856"/>
                  </a:cubicBezTo>
                  <a:cubicBezTo>
                    <a:pt x="3098" y="15868"/>
                    <a:pt x="3098" y="15868"/>
                    <a:pt x="3098" y="15868"/>
                  </a:cubicBezTo>
                  <a:lnTo>
                    <a:pt x="3093" y="15917"/>
                  </a:lnTo>
                  <a:close/>
                  <a:moveTo>
                    <a:pt x="4058" y="16034"/>
                  </a:moveTo>
                  <a:cubicBezTo>
                    <a:pt x="3914" y="16020"/>
                    <a:pt x="3914" y="16020"/>
                    <a:pt x="3914" y="16020"/>
                  </a:cubicBezTo>
                  <a:cubicBezTo>
                    <a:pt x="3907" y="16019"/>
                    <a:pt x="3907" y="16019"/>
                    <a:pt x="3907" y="16019"/>
                  </a:cubicBezTo>
                  <a:cubicBezTo>
                    <a:pt x="3900" y="16094"/>
                    <a:pt x="3900" y="16094"/>
                    <a:pt x="3900" y="16094"/>
                  </a:cubicBezTo>
                  <a:cubicBezTo>
                    <a:pt x="4051" y="16109"/>
                    <a:pt x="4051" y="16109"/>
                    <a:pt x="4051" y="16109"/>
                  </a:cubicBezTo>
                  <a:lnTo>
                    <a:pt x="4058" y="16034"/>
                  </a:lnTo>
                  <a:close/>
                  <a:moveTo>
                    <a:pt x="4039" y="16095"/>
                  </a:moveTo>
                  <a:cubicBezTo>
                    <a:pt x="3914" y="16083"/>
                    <a:pt x="3914" y="16083"/>
                    <a:pt x="3914" y="16083"/>
                  </a:cubicBezTo>
                  <a:cubicBezTo>
                    <a:pt x="3919" y="16033"/>
                    <a:pt x="3919" y="16033"/>
                    <a:pt x="3919" y="16033"/>
                  </a:cubicBezTo>
                  <a:cubicBezTo>
                    <a:pt x="4044" y="16045"/>
                    <a:pt x="4044" y="16045"/>
                    <a:pt x="4044" y="16045"/>
                  </a:cubicBezTo>
                  <a:lnTo>
                    <a:pt x="4039" y="16095"/>
                  </a:lnTo>
                  <a:close/>
                  <a:moveTo>
                    <a:pt x="3735" y="16171"/>
                  </a:moveTo>
                  <a:cubicBezTo>
                    <a:pt x="3727" y="16246"/>
                    <a:pt x="3727" y="16246"/>
                    <a:pt x="3727" y="16246"/>
                  </a:cubicBezTo>
                  <a:cubicBezTo>
                    <a:pt x="3878" y="16261"/>
                    <a:pt x="3878" y="16261"/>
                    <a:pt x="3878" y="16261"/>
                  </a:cubicBezTo>
                  <a:cubicBezTo>
                    <a:pt x="3885" y="16185"/>
                    <a:pt x="3885" y="16185"/>
                    <a:pt x="3885" y="16185"/>
                  </a:cubicBezTo>
                  <a:cubicBezTo>
                    <a:pt x="3741" y="16171"/>
                    <a:pt x="3741" y="16171"/>
                    <a:pt x="3741" y="16171"/>
                  </a:cubicBezTo>
                  <a:lnTo>
                    <a:pt x="3735" y="16171"/>
                  </a:lnTo>
                  <a:close/>
                  <a:moveTo>
                    <a:pt x="3746" y="16185"/>
                  </a:moveTo>
                  <a:cubicBezTo>
                    <a:pt x="3871" y="16197"/>
                    <a:pt x="3871" y="16197"/>
                    <a:pt x="3871" y="16197"/>
                  </a:cubicBezTo>
                  <a:cubicBezTo>
                    <a:pt x="3866" y="16246"/>
                    <a:pt x="3866" y="16246"/>
                    <a:pt x="3866" y="16246"/>
                  </a:cubicBezTo>
                  <a:cubicBezTo>
                    <a:pt x="3742" y="16234"/>
                    <a:pt x="3742" y="16234"/>
                    <a:pt x="3742" y="16234"/>
                  </a:cubicBezTo>
                  <a:lnTo>
                    <a:pt x="3746" y="16185"/>
                  </a:lnTo>
                  <a:close/>
                  <a:moveTo>
                    <a:pt x="2732" y="15983"/>
                  </a:moveTo>
                  <a:cubicBezTo>
                    <a:pt x="2725" y="16058"/>
                    <a:pt x="2725" y="16058"/>
                    <a:pt x="2725" y="16058"/>
                  </a:cubicBezTo>
                  <a:cubicBezTo>
                    <a:pt x="2876" y="16073"/>
                    <a:pt x="2876" y="16073"/>
                    <a:pt x="2876" y="16073"/>
                  </a:cubicBezTo>
                  <a:cubicBezTo>
                    <a:pt x="2883" y="15997"/>
                    <a:pt x="2883" y="15997"/>
                    <a:pt x="2883" y="15997"/>
                  </a:cubicBezTo>
                  <a:cubicBezTo>
                    <a:pt x="2739" y="15983"/>
                    <a:pt x="2739" y="15983"/>
                    <a:pt x="2739" y="15983"/>
                  </a:cubicBezTo>
                  <a:lnTo>
                    <a:pt x="2732" y="15983"/>
                  </a:lnTo>
                  <a:close/>
                  <a:moveTo>
                    <a:pt x="2744" y="15997"/>
                  </a:moveTo>
                  <a:cubicBezTo>
                    <a:pt x="2869" y="16009"/>
                    <a:pt x="2869" y="16009"/>
                    <a:pt x="2869" y="16009"/>
                  </a:cubicBezTo>
                  <a:cubicBezTo>
                    <a:pt x="2864" y="16058"/>
                    <a:pt x="2864" y="16058"/>
                    <a:pt x="2864" y="16058"/>
                  </a:cubicBezTo>
                  <a:cubicBezTo>
                    <a:pt x="2739" y="16046"/>
                    <a:pt x="2739" y="16046"/>
                    <a:pt x="2739" y="16046"/>
                  </a:cubicBezTo>
                  <a:lnTo>
                    <a:pt x="2744" y="15997"/>
                  </a:lnTo>
                  <a:close/>
                  <a:moveTo>
                    <a:pt x="6341" y="16008"/>
                  </a:moveTo>
                  <a:cubicBezTo>
                    <a:pt x="6334" y="16008"/>
                    <a:pt x="6334" y="16008"/>
                    <a:pt x="6334" y="16008"/>
                  </a:cubicBezTo>
                  <a:cubicBezTo>
                    <a:pt x="6335" y="16084"/>
                    <a:pt x="6335" y="16084"/>
                    <a:pt x="6335" y="16084"/>
                  </a:cubicBezTo>
                  <a:cubicBezTo>
                    <a:pt x="6486" y="16083"/>
                    <a:pt x="6486" y="16083"/>
                    <a:pt x="6486" y="16083"/>
                  </a:cubicBezTo>
                  <a:cubicBezTo>
                    <a:pt x="6486" y="16007"/>
                    <a:pt x="6486" y="16007"/>
                    <a:pt x="6486" y="16007"/>
                  </a:cubicBezTo>
                  <a:lnTo>
                    <a:pt x="6341" y="16008"/>
                  </a:lnTo>
                  <a:close/>
                  <a:moveTo>
                    <a:pt x="6348" y="16071"/>
                  </a:moveTo>
                  <a:cubicBezTo>
                    <a:pt x="6347" y="16021"/>
                    <a:pt x="6347" y="16021"/>
                    <a:pt x="6347" y="16021"/>
                  </a:cubicBezTo>
                  <a:cubicBezTo>
                    <a:pt x="6472" y="16020"/>
                    <a:pt x="6472" y="16020"/>
                    <a:pt x="6472" y="16020"/>
                  </a:cubicBezTo>
                  <a:cubicBezTo>
                    <a:pt x="6473" y="16070"/>
                    <a:pt x="6473" y="16070"/>
                    <a:pt x="6473" y="16070"/>
                  </a:cubicBezTo>
                  <a:lnTo>
                    <a:pt x="6348" y="16071"/>
                  </a:lnTo>
                  <a:close/>
                  <a:moveTo>
                    <a:pt x="6588" y="15726"/>
                  </a:moveTo>
                  <a:cubicBezTo>
                    <a:pt x="6518" y="15727"/>
                    <a:pt x="6518" y="15727"/>
                    <a:pt x="6518" y="15727"/>
                  </a:cubicBezTo>
                  <a:cubicBezTo>
                    <a:pt x="6519" y="15878"/>
                    <a:pt x="6519" y="15878"/>
                    <a:pt x="6519" y="15878"/>
                  </a:cubicBezTo>
                  <a:cubicBezTo>
                    <a:pt x="6590" y="15878"/>
                    <a:pt x="6590" y="15878"/>
                    <a:pt x="6590" y="15878"/>
                  </a:cubicBezTo>
                  <a:cubicBezTo>
                    <a:pt x="6588" y="15733"/>
                    <a:pt x="6588" y="15733"/>
                    <a:pt x="6588" y="15733"/>
                  </a:cubicBezTo>
                  <a:lnTo>
                    <a:pt x="6588" y="15726"/>
                  </a:lnTo>
                  <a:close/>
                  <a:moveTo>
                    <a:pt x="6532" y="15865"/>
                  </a:moveTo>
                  <a:cubicBezTo>
                    <a:pt x="6531" y="15740"/>
                    <a:pt x="6531" y="15740"/>
                    <a:pt x="6531" y="15740"/>
                  </a:cubicBezTo>
                  <a:cubicBezTo>
                    <a:pt x="6575" y="15740"/>
                    <a:pt x="6575" y="15740"/>
                    <a:pt x="6575" y="15740"/>
                  </a:cubicBezTo>
                  <a:cubicBezTo>
                    <a:pt x="6576" y="15865"/>
                    <a:pt x="6576" y="15865"/>
                    <a:pt x="6576" y="15865"/>
                  </a:cubicBezTo>
                  <a:lnTo>
                    <a:pt x="6532" y="15865"/>
                  </a:lnTo>
                  <a:close/>
                  <a:moveTo>
                    <a:pt x="6295" y="15833"/>
                  </a:moveTo>
                  <a:cubicBezTo>
                    <a:pt x="6294" y="15688"/>
                    <a:pt x="6294" y="15688"/>
                    <a:pt x="6294" y="15688"/>
                  </a:cubicBezTo>
                  <a:cubicBezTo>
                    <a:pt x="6294" y="15681"/>
                    <a:pt x="6294" y="15681"/>
                    <a:pt x="6294" y="15681"/>
                  </a:cubicBezTo>
                  <a:cubicBezTo>
                    <a:pt x="6223" y="15682"/>
                    <a:pt x="6223" y="15682"/>
                    <a:pt x="6223" y="15682"/>
                  </a:cubicBezTo>
                  <a:cubicBezTo>
                    <a:pt x="6224" y="15833"/>
                    <a:pt x="6224" y="15833"/>
                    <a:pt x="6224" y="15833"/>
                  </a:cubicBezTo>
                  <a:lnTo>
                    <a:pt x="6295" y="15833"/>
                  </a:lnTo>
                  <a:close/>
                  <a:moveTo>
                    <a:pt x="6281" y="15694"/>
                  </a:moveTo>
                  <a:cubicBezTo>
                    <a:pt x="6282" y="15820"/>
                    <a:pt x="6282" y="15820"/>
                    <a:pt x="6282" y="15820"/>
                  </a:cubicBezTo>
                  <a:cubicBezTo>
                    <a:pt x="6237" y="15820"/>
                    <a:pt x="6237" y="15820"/>
                    <a:pt x="6237" y="15820"/>
                  </a:cubicBezTo>
                  <a:cubicBezTo>
                    <a:pt x="6237" y="15695"/>
                    <a:pt x="6237" y="15695"/>
                    <a:pt x="6237" y="15695"/>
                  </a:cubicBezTo>
                  <a:lnTo>
                    <a:pt x="6281" y="15694"/>
                  </a:lnTo>
                  <a:close/>
                  <a:moveTo>
                    <a:pt x="5873" y="15076"/>
                  </a:moveTo>
                  <a:cubicBezTo>
                    <a:pt x="5944" y="15076"/>
                    <a:pt x="5944" y="15076"/>
                    <a:pt x="5944" y="15076"/>
                  </a:cubicBezTo>
                  <a:cubicBezTo>
                    <a:pt x="5943" y="14946"/>
                    <a:pt x="5943" y="14946"/>
                    <a:pt x="5943" y="14946"/>
                  </a:cubicBezTo>
                  <a:cubicBezTo>
                    <a:pt x="6002" y="14945"/>
                    <a:pt x="6002" y="14945"/>
                    <a:pt x="6002" y="14945"/>
                  </a:cubicBezTo>
                  <a:cubicBezTo>
                    <a:pt x="6001" y="14800"/>
                    <a:pt x="6001" y="14800"/>
                    <a:pt x="6001" y="14800"/>
                  </a:cubicBezTo>
                  <a:cubicBezTo>
                    <a:pt x="6001" y="14794"/>
                    <a:pt x="6001" y="14794"/>
                    <a:pt x="6001" y="14794"/>
                  </a:cubicBezTo>
                  <a:cubicBezTo>
                    <a:pt x="5930" y="14794"/>
                    <a:pt x="5930" y="14794"/>
                    <a:pt x="5930" y="14794"/>
                  </a:cubicBezTo>
                  <a:cubicBezTo>
                    <a:pt x="5931" y="14924"/>
                    <a:pt x="5931" y="14924"/>
                    <a:pt x="5931" y="14924"/>
                  </a:cubicBezTo>
                  <a:cubicBezTo>
                    <a:pt x="5872" y="14925"/>
                    <a:pt x="5872" y="14925"/>
                    <a:pt x="5872" y="14925"/>
                  </a:cubicBezTo>
                  <a:lnTo>
                    <a:pt x="5873" y="15076"/>
                  </a:lnTo>
                  <a:close/>
                  <a:moveTo>
                    <a:pt x="5988" y="14807"/>
                  </a:moveTo>
                  <a:cubicBezTo>
                    <a:pt x="5989" y="14932"/>
                    <a:pt x="5989" y="14932"/>
                    <a:pt x="5989" y="14932"/>
                  </a:cubicBezTo>
                  <a:cubicBezTo>
                    <a:pt x="5944" y="14933"/>
                    <a:pt x="5944" y="14933"/>
                    <a:pt x="5944" y="14933"/>
                  </a:cubicBezTo>
                  <a:cubicBezTo>
                    <a:pt x="5943" y="14807"/>
                    <a:pt x="5943" y="14807"/>
                    <a:pt x="5943" y="14807"/>
                  </a:cubicBezTo>
                  <a:lnTo>
                    <a:pt x="5988" y="14807"/>
                  </a:lnTo>
                  <a:close/>
                  <a:moveTo>
                    <a:pt x="5930" y="14938"/>
                  </a:moveTo>
                  <a:cubicBezTo>
                    <a:pt x="5931" y="15063"/>
                    <a:pt x="5931" y="15063"/>
                    <a:pt x="5931" y="15063"/>
                  </a:cubicBezTo>
                  <a:cubicBezTo>
                    <a:pt x="5886" y="15063"/>
                    <a:pt x="5886" y="15063"/>
                    <a:pt x="5886" y="15063"/>
                  </a:cubicBezTo>
                  <a:cubicBezTo>
                    <a:pt x="5885" y="14938"/>
                    <a:pt x="5885" y="14938"/>
                    <a:pt x="5885" y="14938"/>
                  </a:cubicBezTo>
                  <a:lnTo>
                    <a:pt x="5930" y="14938"/>
                  </a:lnTo>
                  <a:close/>
                  <a:moveTo>
                    <a:pt x="6723" y="14855"/>
                  </a:moveTo>
                  <a:cubicBezTo>
                    <a:pt x="6721" y="14710"/>
                    <a:pt x="6721" y="14710"/>
                    <a:pt x="6721" y="14710"/>
                  </a:cubicBezTo>
                  <a:cubicBezTo>
                    <a:pt x="6721" y="14704"/>
                    <a:pt x="6721" y="14704"/>
                    <a:pt x="6721" y="14704"/>
                  </a:cubicBezTo>
                  <a:cubicBezTo>
                    <a:pt x="6651" y="14704"/>
                    <a:pt x="6651" y="14704"/>
                    <a:pt x="6651" y="14704"/>
                  </a:cubicBezTo>
                  <a:cubicBezTo>
                    <a:pt x="6652" y="14856"/>
                    <a:pt x="6652" y="14856"/>
                    <a:pt x="6652" y="14856"/>
                  </a:cubicBezTo>
                  <a:lnTo>
                    <a:pt x="6723" y="14855"/>
                  </a:lnTo>
                  <a:close/>
                  <a:moveTo>
                    <a:pt x="6708" y="14717"/>
                  </a:moveTo>
                  <a:cubicBezTo>
                    <a:pt x="6709" y="14842"/>
                    <a:pt x="6709" y="14842"/>
                    <a:pt x="6709" y="14842"/>
                  </a:cubicBezTo>
                  <a:cubicBezTo>
                    <a:pt x="6665" y="14842"/>
                    <a:pt x="6665" y="14842"/>
                    <a:pt x="6665" y="14842"/>
                  </a:cubicBezTo>
                  <a:cubicBezTo>
                    <a:pt x="6664" y="14717"/>
                    <a:pt x="6664" y="14717"/>
                    <a:pt x="6664" y="14717"/>
                  </a:cubicBezTo>
                  <a:lnTo>
                    <a:pt x="6708" y="14717"/>
                  </a:lnTo>
                  <a:close/>
                  <a:moveTo>
                    <a:pt x="7406" y="13649"/>
                  </a:moveTo>
                  <a:cubicBezTo>
                    <a:pt x="7399" y="13649"/>
                    <a:pt x="7399" y="13649"/>
                    <a:pt x="7399" y="13649"/>
                  </a:cubicBezTo>
                  <a:cubicBezTo>
                    <a:pt x="7401" y="13720"/>
                    <a:pt x="7401" y="13720"/>
                    <a:pt x="7401" y="13720"/>
                  </a:cubicBezTo>
                  <a:cubicBezTo>
                    <a:pt x="7552" y="13717"/>
                    <a:pt x="7552" y="13717"/>
                    <a:pt x="7552" y="13717"/>
                  </a:cubicBezTo>
                  <a:cubicBezTo>
                    <a:pt x="7551" y="13646"/>
                    <a:pt x="7551" y="13646"/>
                    <a:pt x="7551" y="13646"/>
                  </a:cubicBezTo>
                  <a:lnTo>
                    <a:pt x="7406" y="13649"/>
                  </a:lnTo>
                  <a:close/>
                  <a:moveTo>
                    <a:pt x="7414" y="13706"/>
                  </a:moveTo>
                  <a:cubicBezTo>
                    <a:pt x="7413" y="13662"/>
                    <a:pt x="7413" y="13662"/>
                    <a:pt x="7413" y="13662"/>
                  </a:cubicBezTo>
                  <a:cubicBezTo>
                    <a:pt x="7538" y="13659"/>
                    <a:pt x="7538" y="13659"/>
                    <a:pt x="7538" y="13659"/>
                  </a:cubicBezTo>
                  <a:cubicBezTo>
                    <a:pt x="7539" y="13704"/>
                    <a:pt x="7539" y="13704"/>
                    <a:pt x="7539" y="13704"/>
                  </a:cubicBezTo>
                  <a:lnTo>
                    <a:pt x="7414" y="13706"/>
                  </a:lnTo>
                  <a:close/>
                  <a:moveTo>
                    <a:pt x="5416" y="11921"/>
                  </a:moveTo>
                  <a:cubicBezTo>
                    <a:pt x="5271" y="11911"/>
                    <a:pt x="5271" y="11911"/>
                    <a:pt x="5271" y="11911"/>
                  </a:cubicBezTo>
                  <a:cubicBezTo>
                    <a:pt x="5265" y="11911"/>
                    <a:pt x="5265" y="11911"/>
                    <a:pt x="5265" y="11911"/>
                  </a:cubicBezTo>
                  <a:cubicBezTo>
                    <a:pt x="5260" y="11981"/>
                    <a:pt x="5260" y="11981"/>
                    <a:pt x="5260" y="11981"/>
                  </a:cubicBezTo>
                  <a:cubicBezTo>
                    <a:pt x="5411" y="11991"/>
                    <a:pt x="5411" y="11991"/>
                    <a:pt x="5411" y="11991"/>
                  </a:cubicBezTo>
                  <a:lnTo>
                    <a:pt x="5416" y="11921"/>
                  </a:lnTo>
                  <a:close/>
                  <a:moveTo>
                    <a:pt x="5399" y="11977"/>
                  </a:moveTo>
                  <a:cubicBezTo>
                    <a:pt x="5274" y="11969"/>
                    <a:pt x="5274" y="11969"/>
                    <a:pt x="5274" y="11969"/>
                  </a:cubicBezTo>
                  <a:cubicBezTo>
                    <a:pt x="5277" y="11925"/>
                    <a:pt x="5277" y="11925"/>
                    <a:pt x="5277" y="11925"/>
                  </a:cubicBezTo>
                  <a:cubicBezTo>
                    <a:pt x="5402" y="11933"/>
                    <a:pt x="5402" y="11933"/>
                    <a:pt x="5402" y="11933"/>
                  </a:cubicBezTo>
                  <a:lnTo>
                    <a:pt x="5399" y="11977"/>
                  </a:lnTo>
                  <a:close/>
                  <a:moveTo>
                    <a:pt x="5184" y="11817"/>
                  </a:moveTo>
                  <a:cubicBezTo>
                    <a:pt x="5183" y="11823"/>
                    <a:pt x="5183" y="11823"/>
                    <a:pt x="5183" y="11823"/>
                  </a:cubicBezTo>
                  <a:cubicBezTo>
                    <a:pt x="5254" y="11828"/>
                    <a:pt x="5254" y="11828"/>
                    <a:pt x="5254" y="11828"/>
                  </a:cubicBezTo>
                  <a:cubicBezTo>
                    <a:pt x="5264" y="11677"/>
                    <a:pt x="5264" y="11677"/>
                    <a:pt x="5264" y="11677"/>
                  </a:cubicBezTo>
                  <a:cubicBezTo>
                    <a:pt x="5194" y="11672"/>
                    <a:pt x="5194" y="11672"/>
                    <a:pt x="5194" y="11672"/>
                  </a:cubicBezTo>
                  <a:lnTo>
                    <a:pt x="5184" y="11817"/>
                  </a:lnTo>
                  <a:close/>
                  <a:moveTo>
                    <a:pt x="5206" y="11686"/>
                  </a:moveTo>
                  <a:cubicBezTo>
                    <a:pt x="5250" y="11689"/>
                    <a:pt x="5250" y="11689"/>
                    <a:pt x="5250" y="11689"/>
                  </a:cubicBezTo>
                  <a:cubicBezTo>
                    <a:pt x="5242" y="11814"/>
                    <a:pt x="5242" y="11814"/>
                    <a:pt x="5242" y="11814"/>
                  </a:cubicBezTo>
                  <a:cubicBezTo>
                    <a:pt x="5197" y="11811"/>
                    <a:pt x="5197" y="11811"/>
                    <a:pt x="5197" y="11811"/>
                  </a:cubicBezTo>
                  <a:lnTo>
                    <a:pt x="5206" y="11686"/>
                  </a:lnTo>
                  <a:close/>
                  <a:moveTo>
                    <a:pt x="5440" y="11687"/>
                  </a:moveTo>
                  <a:cubicBezTo>
                    <a:pt x="5370" y="11682"/>
                    <a:pt x="5370" y="11682"/>
                    <a:pt x="5370" y="11682"/>
                  </a:cubicBezTo>
                  <a:cubicBezTo>
                    <a:pt x="5360" y="11827"/>
                    <a:pt x="5360" y="11827"/>
                    <a:pt x="5360" y="11827"/>
                  </a:cubicBezTo>
                  <a:cubicBezTo>
                    <a:pt x="5359" y="11833"/>
                    <a:pt x="5359" y="11833"/>
                    <a:pt x="5359" y="11833"/>
                  </a:cubicBezTo>
                  <a:cubicBezTo>
                    <a:pt x="5430" y="11838"/>
                    <a:pt x="5430" y="11838"/>
                    <a:pt x="5430" y="11838"/>
                  </a:cubicBezTo>
                  <a:lnTo>
                    <a:pt x="5440" y="11687"/>
                  </a:lnTo>
                  <a:close/>
                  <a:moveTo>
                    <a:pt x="5418" y="11824"/>
                  </a:moveTo>
                  <a:cubicBezTo>
                    <a:pt x="5373" y="11821"/>
                    <a:pt x="5373" y="11821"/>
                    <a:pt x="5373" y="11821"/>
                  </a:cubicBezTo>
                  <a:cubicBezTo>
                    <a:pt x="5382" y="11696"/>
                    <a:pt x="5382" y="11696"/>
                    <a:pt x="5382" y="11696"/>
                  </a:cubicBezTo>
                  <a:cubicBezTo>
                    <a:pt x="5427" y="11699"/>
                    <a:pt x="5427" y="11699"/>
                    <a:pt x="5427" y="11699"/>
                  </a:cubicBezTo>
                  <a:lnTo>
                    <a:pt x="5418" y="11824"/>
                  </a:lnTo>
                  <a:close/>
                  <a:moveTo>
                    <a:pt x="5756" y="11847"/>
                  </a:moveTo>
                  <a:cubicBezTo>
                    <a:pt x="5755" y="11854"/>
                    <a:pt x="5755" y="11854"/>
                    <a:pt x="5755" y="11854"/>
                  </a:cubicBezTo>
                  <a:cubicBezTo>
                    <a:pt x="5826" y="11859"/>
                    <a:pt x="5826" y="11859"/>
                    <a:pt x="5826" y="11859"/>
                  </a:cubicBezTo>
                  <a:cubicBezTo>
                    <a:pt x="5836" y="11708"/>
                    <a:pt x="5836" y="11708"/>
                    <a:pt x="5836" y="11708"/>
                  </a:cubicBezTo>
                  <a:cubicBezTo>
                    <a:pt x="5766" y="11703"/>
                    <a:pt x="5766" y="11703"/>
                    <a:pt x="5766" y="11703"/>
                  </a:cubicBezTo>
                  <a:lnTo>
                    <a:pt x="5756" y="11847"/>
                  </a:lnTo>
                  <a:close/>
                  <a:moveTo>
                    <a:pt x="5778" y="11717"/>
                  </a:moveTo>
                  <a:cubicBezTo>
                    <a:pt x="5822" y="11720"/>
                    <a:pt x="5822" y="11720"/>
                    <a:pt x="5822" y="11720"/>
                  </a:cubicBezTo>
                  <a:cubicBezTo>
                    <a:pt x="5813" y="11845"/>
                    <a:pt x="5813" y="11845"/>
                    <a:pt x="5813" y="11845"/>
                  </a:cubicBezTo>
                  <a:cubicBezTo>
                    <a:pt x="5769" y="11842"/>
                    <a:pt x="5769" y="11842"/>
                    <a:pt x="5769" y="11842"/>
                  </a:cubicBezTo>
                  <a:lnTo>
                    <a:pt x="5778" y="11717"/>
                  </a:lnTo>
                  <a:close/>
                  <a:moveTo>
                    <a:pt x="7585" y="13647"/>
                  </a:moveTo>
                  <a:cubicBezTo>
                    <a:pt x="7579" y="13647"/>
                    <a:pt x="7579" y="13647"/>
                    <a:pt x="7579" y="13647"/>
                  </a:cubicBezTo>
                  <a:cubicBezTo>
                    <a:pt x="7580" y="13718"/>
                    <a:pt x="7580" y="13718"/>
                    <a:pt x="7580" y="13718"/>
                  </a:cubicBezTo>
                  <a:cubicBezTo>
                    <a:pt x="7732" y="13715"/>
                    <a:pt x="7732" y="13715"/>
                    <a:pt x="7732" y="13715"/>
                  </a:cubicBezTo>
                  <a:cubicBezTo>
                    <a:pt x="7730" y="13644"/>
                    <a:pt x="7730" y="13644"/>
                    <a:pt x="7730" y="13644"/>
                  </a:cubicBezTo>
                  <a:lnTo>
                    <a:pt x="7585" y="13647"/>
                  </a:lnTo>
                  <a:close/>
                  <a:moveTo>
                    <a:pt x="7593" y="13704"/>
                  </a:moveTo>
                  <a:cubicBezTo>
                    <a:pt x="7592" y="13660"/>
                    <a:pt x="7592" y="13660"/>
                    <a:pt x="7592" y="13660"/>
                  </a:cubicBezTo>
                  <a:cubicBezTo>
                    <a:pt x="7717" y="13657"/>
                    <a:pt x="7717" y="13657"/>
                    <a:pt x="7717" y="13657"/>
                  </a:cubicBezTo>
                  <a:cubicBezTo>
                    <a:pt x="7718" y="13702"/>
                    <a:pt x="7718" y="13702"/>
                    <a:pt x="7718" y="13702"/>
                  </a:cubicBezTo>
                  <a:lnTo>
                    <a:pt x="7593" y="13704"/>
                  </a:lnTo>
                  <a:close/>
                  <a:moveTo>
                    <a:pt x="7772" y="13640"/>
                  </a:moveTo>
                  <a:cubicBezTo>
                    <a:pt x="7765" y="13640"/>
                    <a:pt x="7765" y="13640"/>
                    <a:pt x="7765" y="13640"/>
                  </a:cubicBezTo>
                  <a:cubicBezTo>
                    <a:pt x="7767" y="13711"/>
                    <a:pt x="7767" y="13711"/>
                    <a:pt x="7767" y="13711"/>
                  </a:cubicBezTo>
                  <a:cubicBezTo>
                    <a:pt x="7918" y="13707"/>
                    <a:pt x="7918" y="13707"/>
                    <a:pt x="7918" y="13707"/>
                  </a:cubicBezTo>
                  <a:cubicBezTo>
                    <a:pt x="7917" y="13637"/>
                    <a:pt x="7917" y="13637"/>
                    <a:pt x="7917" y="13637"/>
                  </a:cubicBezTo>
                  <a:lnTo>
                    <a:pt x="7772" y="13640"/>
                  </a:lnTo>
                  <a:close/>
                  <a:moveTo>
                    <a:pt x="7780" y="13697"/>
                  </a:moveTo>
                  <a:cubicBezTo>
                    <a:pt x="7779" y="13653"/>
                    <a:pt x="7779" y="13653"/>
                    <a:pt x="7779" y="13653"/>
                  </a:cubicBezTo>
                  <a:cubicBezTo>
                    <a:pt x="7904" y="13650"/>
                    <a:pt x="7904" y="13650"/>
                    <a:pt x="7904" y="13650"/>
                  </a:cubicBezTo>
                  <a:cubicBezTo>
                    <a:pt x="7905" y="13695"/>
                    <a:pt x="7905" y="13695"/>
                    <a:pt x="7905" y="13695"/>
                  </a:cubicBezTo>
                  <a:lnTo>
                    <a:pt x="7780" y="13697"/>
                  </a:lnTo>
                  <a:close/>
                  <a:moveTo>
                    <a:pt x="8094" y="13698"/>
                  </a:moveTo>
                  <a:cubicBezTo>
                    <a:pt x="8093" y="13628"/>
                    <a:pt x="8093" y="13628"/>
                    <a:pt x="8093" y="13628"/>
                  </a:cubicBezTo>
                  <a:cubicBezTo>
                    <a:pt x="7948" y="13631"/>
                    <a:pt x="7948" y="13631"/>
                    <a:pt x="7948" y="13631"/>
                  </a:cubicBezTo>
                  <a:cubicBezTo>
                    <a:pt x="7941" y="13631"/>
                    <a:pt x="7941" y="13631"/>
                    <a:pt x="7941" y="13631"/>
                  </a:cubicBezTo>
                  <a:cubicBezTo>
                    <a:pt x="7943" y="13701"/>
                    <a:pt x="7943" y="13701"/>
                    <a:pt x="7943" y="13701"/>
                  </a:cubicBezTo>
                  <a:lnTo>
                    <a:pt x="8094" y="13698"/>
                  </a:lnTo>
                  <a:close/>
                  <a:moveTo>
                    <a:pt x="8080" y="13641"/>
                  </a:moveTo>
                  <a:cubicBezTo>
                    <a:pt x="8081" y="13685"/>
                    <a:pt x="8081" y="13685"/>
                    <a:pt x="8081" y="13685"/>
                  </a:cubicBezTo>
                  <a:cubicBezTo>
                    <a:pt x="7956" y="13688"/>
                    <a:pt x="7956" y="13688"/>
                    <a:pt x="7956" y="13688"/>
                  </a:cubicBezTo>
                  <a:cubicBezTo>
                    <a:pt x="7955" y="13644"/>
                    <a:pt x="7955" y="13644"/>
                    <a:pt x="7955" y="13644"/>
                  </a:cubicBezTo>
                  <a:lnTo>
                    <a:pt x="8080" y="13641"/>
                  </a:lnTo>
                  <a:close/>
                  <a:moveTo>
                    <a:pt x="8291" y="13612"/>
                  </a:moveTo>
                  <a:cubicBezTo>
                    <a:pt x="8285" y="13612"/>
                    <a:pt x="8285" y="13612"/>
                    <a:pt x="8285" y="13612"/>
                  </a:cubicBezTo>
                  <a:cubicBezTo>
                    <a:pt x="8286" y="13683"/>
                    <a:pt x="8286" y="13683"/>
                    <a:pt x="8286" y="13683"/>
                  </a:cubicBezTo>
                  <a:cubicBezTo>
                    <a:pt x="8438" y="13680"/>
                    <a:pt x="8438" y="13680"/>
                    <a:pt x="8438" y="13680"/>
                  </a:cubicBezTo>
                  <a:cubicBezTo>
                    <a:pt x="8436" y="13609"/>
                    <a:pt x="8436" y="13609"/>
                    <a:pt x="8436" y="13609"/>
                  </a:cubicBezTo>
                  <a:lnTo>
                    <a:pt x="8291" y="13612"/>
                  </a:lnTo>
                  <a:close/>
                  <a:moveTo>
                    <a:pt x="8299" y="13670"/>
                  </a:moveTo>
                  <a:cubicBezTo>
                    <a:pt x="8298" y="13625"/>
                    <a:pt x="8298" y="13625"/>
                    <a:pt x="8298" y="13625"/>
                  </a:cubicBezTo>
                  <a:cubicBezTo>
                    <a:pt x="8423" y="13623"/>
                    <a:pt x="8423" y="13623"/>
                    <a:pt x="8423" y="13623"/>
                  </a:cubicBezTo>
                  <a:cubicBezTo>
                    <a:pt x="8424" y="13667"/>
                    <a:pt x="8424" y="13667"/>
                    <a:pt x="8424" y="13667"/>
                  </a:cubicBezTo>
                  <a:lnTo>
                    <a:pt x="8299" y="13670"/>
                  </a:lnTo>
                  <a:close/>
                  <a:moveTo>
                    <a:pt x="6560" y="15577"/>
                  </a:moveTo>
                  <a:cubicBezTo>
                    <a:pt x="6560" y="15506"/>
                    <a:pt x="6560" y="15506"/>
                    <a:pt x="6560" y="15506"/>
                  </a:cubicBezTo>
                  <a:cubicBezTo>
                    <a:pt x="6415" y="15506"/>
                    <a:pt x="6415" y="15506"/>
                    <a:pt x="6415" y="15506"/>
                  </a:cubicBezTo>
                  <a:cubicBezTo>
                    <a:pt x="6408" y="15506"/>
                    <a:pt x="6408" y="15506"/>
                    <a:pt x="6408" y="15506"/>
                  </a:cubicBezTo>
                  <a:cubicBezTo>
                    <a:pt x="6408" y="15577"/>
                    <a:pt x="6408" y="15577"/>
                    <a:pt x="6408" y="15577"/>
                  </a:cubicBezTo>
                  <a:lnTo>
                    <a:pt x="6560" y="15577"/>
                  </a:lnTo>
                  <a:close/>
                  <a:moveTo>
                    <a:pt x="6546" y="15519"/>
                  </a:moveTo>
                  <a:cubicBezTo>
                    <a:pt x="6547" y="15564"/>
                    <a:pt x="6547" y="15564"/>
                    <a:pt x="6547" y="15564"/>
                  </a:cubicBezTo>
                  <a:cubicBezTo>
                    <a:pt x="6421" y="15564"/>
                    <a:pt x="6421" y="15564"/>
                    <a:pt x="6421" y="15564"/>
                  </a:cubicBezTo>
                  <a:cubicBezTo>
                    <a:pt x="6421" y="15519"/>
                    <a:pt x="6421" y="15519"/>
                    <a:pt x="6421" y="15519"/>
                  </a:cubicBezTo>
                  <a:lnTo>
                    <a:pt x="6546" y="15519"/>
                  </a:lnTo>
                  <a:close/>
                  <a:moveTo>
                    <a:pt x="6328" y="16221"/>
                  </a:moveTo>
                  <a:cubicBezTo>
                    <a:pt x="6321" y="16221"/>
                    <a:pt x="6321" y="16221"/>
                    <a:pt x="6321" y="16221"/>
                  </a:cubicBezTo>
                  <a:cubicBezTo>
                    <a:pt x="6322" y="16297"/>
                    <a:pt x="6322" y="16297"/>
                    <a:pt x="6322" y="16297"/>
                  </a:cubicBezTo>
                  <a:cubicBezTo>
                    <a:pt x="6473" y="16295"/>
                    <a:pt x="6473" y="16295"/>
                    <a:pt x="6473" y="16295"/>
                  </a:cubicBezTo>
                  <a:cubicBezTo>
                    <a:pt x="6473" y="16220"/>
                    <a:pt x="6473" y="16220"/>
                    <a:pt x="6473" y="16220"/>
                  </a:cubicBezTo>
                  <a:lnTo>
                    <a:pt x="6328" y="16221"/>
                  </a:lnTo>
                  <a:close/>
                  <a:moveTo>
                    <a:pt x="6335" y="16283"/>
                  </a:moveTo>
                  <a:cubicBezTo>
                    <a:pt x="6335" y="16234"/>
                    <a:pt x="6335" y="16234"/>
                    <a:pt x="6335" y="16234"/>
                  </a:cubicBezTo>
                  <a:cubicBezTo>
                    <a:pt x="6460" y="16233"/>
                    <a:pt x="6460" y="16233"/>
                    <a:pt x="6460" y="16233"/>
                  </a:cubicBezTo>
                  <a:cubicBezTo>
                    <a:pt x="6460" y="16283"/>
                    <a:pt x="6460" y="16283"/>
                    <a:pt x="6460" y="16283"/>
                  </a:cubicBezTo>
                  <a:lnTo>
                    <a:pt x="6335" y="16283"/>
                  </a:lnTo>
                  <a:close/>
                  <a:moveTo>
                    <a:pt x="6323" y="16439"/>
                  </a:moveTo>
                  <a:cubicBezTo>
                    <a:pt x="6316" y="16439"/>
                    <a:pt x="6316" y="16439"/>
                    <a:pt x="6316" y="16439"/>
                  </a:cubicBezTo>
                  <a:cubicBezTo>
                    <a:pt x="6317" y="16515"/>
                    <a:pt x="6317" y="16515"/>
                    <a:pt x="6317" y="16515"/>
                  </a:cubicBezTo>
                  <a:cubicBezTo>
                    <a:pt x="6468" y="16514"/>
                    <a:pt x="6468" y="16514"/>
                    <a:pt x="6468" y="16514"/>
                  </a:cubicBezTo>
                  <a:cubicBezTo>
                    <a:pt x="6468" y="16438"/>
                    <a:pt x="6468" y="16438"/>
                    <a:pt x="6468" y="16438"/>
                  </a:cubicBezTo>
                  <a:lnTo>
                    <a:pt x="6323" y="16439"/>
                  </a:lnTo>
                  <a:close/>
                  <a:moveTo>
                    <a:pt x="6330" y="16502"/>
                  </a:moveTo>
                  <a:cubicBezTo>
                    <a:pt x="6329" y="16452"/>
                    <a:pt x="6329" y="16452"/>
                    <a:pt x="6329" y="16452"/>
                  </a:cubicBezTo>
                  <a:cubicBezTo>
                    <a:pt x="6455" y="16451"/>
                    <a:pt x="6455" y="16451"/>
                    <a:pt x="6455" y="16451"/>
                  </a:cubicBezTo>
                  <a:cubicBezTo>
                    <a:pt x="6455" y="16501"/>
                    <a:pt x="6455" y="16501"/>
                    <a:pt x="6455" y="16501"/>
                  </a:cubicBezTo>
                  <a:lnTo>
                    <a:pt x="6330" y="16502"/>
                  </a:lnTo>
                  <a:close/>
                  <a:moveTo>
                    <a:pt x="6185" y="16720"/>
                  </a:moveTo>
                  <a:cubicBezTo>
                    <a:pt x="6140" y="16780"/>
                    <a:pt x="6140" y="16780"/>
                    <a:pt x="6140" y="16780"/>
                  </a:cubicBezTo>
                  <a:cubicBezTo>
                    <a:pt x="6261" y="16871"/>
                    <a:pt x="6261" y="16871"/>
                    <a:pt x="6261" y="16871"/>
                  </a:cubicBezTo>
                  <a:cubicBezTo>
                    <a:pt x="6306" y="16811"/>
                    <a:pt x="6306" y="16811"/>
                    <a:pt x="6306" y="16811"/>
                  </a:cubicBezTo>
                  <a:cubicBezTo>
                    <a:pt x="6190" y="16724"/>
                    <a:pt x="6190" y="16724"/>
                    <a:pt x="6190" y="16724"/>
                  </a:cubicBezTo>
                  <a:lnTo>
                    <a:pt x="6185" y="16720"/>
                  </a:lnTo>
                  <a:close/>
                  <a:moveTo>
                    <a:pt x="6258" y="16853"/>
                  </a:moveTo>
                  <a:cubicBezTo>
                    <a:pt x="6158" y="16778"/>
                    <a:pt x="6158" y="16778"/>
                    <a:pt x="6158" y="16778"/>
                  </a:cubicBezTo>
                  <a:cubicBezTo>
                    <a:pt x="6188" y="16738"/>
                    <a:pt x="6188" y="16738"/>
                    <a:pt x="6188" y="16738"/>
                  </a:cubicBezTo>
                  <a:cubicBezTo>
                    <a:pt x="6288" y="16813"/>
                    <a:pt x="6288" y="16813"/>
                    <a:pt x="6288" y="16813"/>
                  </a:cubicBezTo>
                  <a:lnTo>
                    <a:pt x="6258" y="16853"/>
                  </a:lnTo>
                  <a:close/>
                  <a:moveTo>
                    <a:pt x="15" y="8378"/>
                  </a:moveTo>
                  <a:cubicBezTo>
                    <a:pt x="4" y="8363"/>
                    <a:pt x="4" y="8363"/>
                    <a:pt x="4" y="8363"/>
                  </a:cubicBezTo>
                  <a:cubicBezTo>
                    <a:pt x="4" y="8340"/>
                    <a:pt x="4" y="8340"/>
                    <a:pt x="4" y="8340"/>
                  </a:cubicBezTo>
                  <a:cubicBezTo>
                    <a:pt x="18" y="8360"/>
                    <a:pt x="18" y="8360"/>
                    <a:pt x="18" y="8360"/>
                  </a:cubicBezTo>
                  <a:cubicBezTo>
                    <a:pt x="59" y="8332"/>
                    <a:pt x="59" y="8332"/>
                    <a:pt x="59" y="8332"/>
                  </a:cubicBezTo>
                  <a:cubicBezTo>
                    <a:pt x="4" y="8253"/>
                    <a:pt x="4" y="8253"/>
                    <a:pt x="4" y="8253"/>
                  </a:cubicBezTo>
                  <a:cubicBezTo>
                    <a:pt x="4" y="8230"/>
                    <a:pt x="4" y="8230"/>
                    <a:pt x="4" y="8230"/>
                  </a:cubicBezTo>
                  <a:cubicBezTo>
                    <a:pt x="77" y="8335"/>
                    <a:pt x="77" y="8335"/>
                    <a:pt x="77" y="8335"/>
                  </a:cubicBezTo>
                  <a:lnTo>
                    <a:pt x="15" y="8378"/>
                  </a:lnTo>
                  <a:close/>
                  <a:moveTo>
                    <a:pt x="1161" y="16892"/>
                  </a:moveTo>
                  <a:cubicBezTo>
                    <a:pt x="1144" y="16756"/>
                    <a:pt x="1144" y="16756"/>
                    <a:pt x="1144" y="16756"/>
                  </a:cubicBezTo>
                  <a:cubicBezTo>
                    <a:pt x="1013" y="16772"/>
                    <a:pt x="1013" y="16772"/>
                    <a:pt x="1013" y="16772"/>
                  </a:cubicBezTo>
                  <a:cubicBezTo>
                    <a:pt x="1007" y="16773"/>
                    <a:pt x="1007" y="16773"/>
                    <a:pt x="1007" y="16773"/>
                  </a:cubicBezTo>
                  <a:cubicBezTo>
                    <a:pt x="1024" y="16910"/>
                    <a:pt x="1024" y="16910"/>
                    <a:pt x="1024" y="16910"/>
                  </a:cubicBezTo>
                  <a:lnTo>
                    <a:pt x="1161" y="16892"/>
                  </a:lnTo>
                  <a:close/>
                  <a:moveTo>
                    <a:pt x="1132" y="16770"/>
                  </a:moveTo>
                  <a:cubicBezTo>
                    <a:pt x="1147" y="16881"/>
                    <a:pt x="1147" y="16881"/>
                    <a:pt x="1147" y="16881"/>
                  </a:cubicBezTo>
                  <a:cubicBezTo>
                    <a:pt x="1036" y="16895"/>
                    <a:pt x="1036" y="16895"/>
                    <a:pt x="1036" y="16895"/>
                  </a:cubicBezTo>
                  <a:cubicBezTo>
                    <a:pt x="1022" y="16784"/>
                    <a:pt x="1022" y="16784"/>
                    <a:pt x="1022" y="16784"/>
                  </a:cubicBezTo>
                  <a:lnTo>
                    <a:pt x="1132" y="16770"/>
                  </a:lnTo>
                  <a:close/>
                  <a:moveTo>
                    <a:pt x="1040" y="16508"/>
                  </a:moveTo>
                  <a:cubicBezTo>
                    <a:pt x="1023" y="16645"/>
                    <a:pt x="1023" y="16645"/>
                    <a:pt x="1023" y="16645"/>
                  </a:cubicBezTo>
                  <a:cubicBezTo>
                    <a:pt x="1160" y="16662"/>
                    <a:pt x="1160" y="16662"/>
                    <a:pt x="1160" y="16662"/>
                  </a:cubicBezTo>
                  <a:cubicBezTo>
                    <a:pt x="1177" y="16525"/>
                    <a:pt x="1177" y="16525"/>
                    <a:pt x="1177" y="16525"/>
                  </a:cubicBezTo>
                  <a:cubicBezTo>
                    <a:pt x="1047" y="16509"/>
                    <a:pt x="1047" y="16509"/>
                    <a:pt x="1047" y="16509"/>
                  </a:cubicBezTo>
                  <a:lnTo>
                    <a:pt x="1040" y="16508"/>
                  </a:lnTo>
                  <a:close/>
                  <a:moveTo>
                    <a:pt x="1162" y="16537"/>
                  </a:moveTo>
                  <a:cubicBezTo>
                    <a:pt x="1149" y="16647"/>
                    <a:pt x="1149" y="16647"/>
                    <a:pt x="1149" y="16647"/>
                  </a:cubicBezTo>
                  <a:cubicBezTo>
                    <a:pt x="1038" y="16634"/>
                    <a:pt x="1038" y="16634"/>
                    <a:pt x="1038" y="16634"/>
                  </a:cubicBezTo>
                  <a:cubicBezTo>
                    <a:pt x="1052" y="16523"/>
                    <a:pt x="1052" y="16523"/>
                    <a:pt x="1052" y="16523"/>
                  </a:cubicBezTo>
                  <a:lnTo>
                    <a:pt x="1162" y="16537"/>
                  </a:lnTo>
                  <a:close/>
                  <a:moveTo>
                    <a:pt x="1454" y="16479"/>
                  </a:moveTo>
                  <a:cubicBezTo>
                    <a:pt x="1356" y="16392"/>
                    <a:pt x="1356" y="16392"/>
                    <a:pt x="1356" y="16392"/>
                  </a:cubicBezTo>
                  <a:cubicBezTo>
                    <a:pt x="1351" y="16387"/>
                    <a:pt x="1351" y="16387"/>
                    <a:pt x="1351" y="16387"/>
                  </a:cubicBezTo>
                  <a:cubicBezTo>
                    <a:pt x="1260" y="16490"/>
                    <a:pt x="1260" y="16490"/>
                    <a:pt x="1260" y="16490"/>
                  </a:cubicBezTo>
                  <a:cubicBezTo>
                    <a:pt x="1363" y="16582"/>
                    <a:pt x="1363" y="16582"/>
                    <a:pt x="1363" y="16582"/>
                  </a:cubicBezTo>
                  <a:lnTo>
                    <a:pt x="1454" y="16479"/>
                  </a:lnTo>
                  <a:close/>
                  <a:moveTo>
                    <a:pt x="1278" y="16489"/>
                  </a:moveTo>
                  <a:cubicBezTo>
                    <a:pt x="1352" y="16406"/>
                    <a:pt x="1352" y="16406"/>
                    <a:pt x="1352" y="16406"/>
                  </a:cubicBezTo>
                  <a:cubicBezTo>
                    <a:pt x="1436" y="16480"/>
                    <a:pt x="1436" y="16480"/>
                    <a:pt x="1436" y="16480"/>
                  </a:cubicBezTo>
                  <a:cubicBezTo>
                    <a:pt x="1362" y="16563"/>
                    <a:pt x="1362" y="16563"/>
                    <a:pt x="1362" y="16563"/>
                  </a:cubicBezTo>
                  <a:lnTo>
                    <a:pt x="1278" y="16489"/>
                  </a:lnTo>
                  <a:close/>
                  <a:moveTo>
                    <a:pt x="1586" y="17052"/>
                  </a:moveTo>
                  <a:cubicBezTo>
                    <a:pt x="1472" y="16986"/>
                    <a:pt x="1472" y="16986"/>
                    <a:pt x="1472" y="16986"/>
                  </a:cubicBezTo>
                  <a:cubicBezTo>
                    <a:pt x="1467" y="16983"/>
                    <a:pt x="1467" y="16983"/>
                    <a:pt x="1467" y="16983"/>
                  </a:cubicBezTo>
                  <a:cubicBezTo>
                    <a:pt x="1397" y="17102"/>
                    <a:pt x="1397" y="17102"/>
                    <a:pt x="1397" y="17102"/>
                  </a:cubicBezTo>
                  <a:cubicBezTo>
                    <a:pt x="1516" y="17171"/>
                    <a:pt x="1516" y="17171"/>
                    <a:pt x="1516" y="17171"/>
                  </a:cubicBezTo>
                  <a:lnTo>
                    <a:pt x="1586" y="17052"/>
                  </a:lnTo>
                  <a:close/>
                  <a:moveTo>
                    <a:pt x="1415" y="17097"/>
                  </a:moveTo>
                  <a:cubicBezTo>
                    <a:pt x="1471" y="17001"/>
                    <a:pt x="1471" y="17001"/>
                    <a:pt x="1471" y="17001"/>
                  </a:cubicBezTo>
                  <a:cubicBezTo>
                    <a:pt x="1568" y="17057"/>
                    <a:pt x="1568" y="17057"/>
                    <a:pt x="1568" y="17057"/>
                  </a:cubicBezTo>
                  <a:cubicBezTo>
                    <a:pt x="1512" y="17153"/>
                    <a:pt x="1512" y="17153"/>
                    <a:pt x="1512" y="17153"/>
                  </a:cubicBezTo>
                  <a:lnTo>
                    <a:pt x="1415" y="17097"/>
                  </a:lnTo>
                  <a:close/>
                  <a:moveTo>
                    <a:pt x="1668" y="17123"/>
                  </a:moveTo>
                  <a:cubicBezTo>
                    <a:pt x="1598" y="17242"/>
                    <a:pt x="1598" y="17242"/>
                    <a:pt x="1598" y="17242"/>
                  </a:cubicBezTo>
                  <a:cubicBezTo>
                    <a:pt x="1717" y="17311"/>
                    <a:pt x="1717" y="17311"/>
                    <a:pt x="1717" y="17311"/>
                  </a:cubicBezTo>
                  <a:cubicBezTo>
                    <a:pt x="1787" y="17192"/>
                    <a:pt x="1787" y="17192"/>
                    <a:pt x="1787" y="17192"/>
                  </a:cubicBezTo>
                  <a:cubicBezTo>
                    <a:pt x="1674" y="17126"/>
                    <a:pt x="1674" y="17126"/>
                    <a:pt x="1674" y="17126"/>
                  </a:cubicBezTo>
                  <a:lnTo>
                    <a:pt x="1668" y="17123"/>
                  </a:lnTo>
                  <a:close/>
                  <a:moveTo>
                    <a:pt x="1713" y="17293"/>
                  </a:moveTo>
                  <a:cubicBezTo>
                    <a:pt x="1616" y="17237"/>
                    <a:pt x="1616" y="17237"/>
                    <a:pt x="1616" y="17237"/>
                  </a:cubicBezTo>
                  <a:cubicBezTo>
                    <a:pt x="1673" y="17141"/>
                    <a:pt x="1673" y="17141"/>
                    <a:pt x="1673" y="17141"/>
                  </a:cubicBezTo>
                  <a:cubicBezTo>
                    <a:pt x="1769" y="17197"/>
                    <a:pt x="1769" y="17197"/>
                    <a:pt x="1769" y="17197"/>
                  </a:cubicBezTo>
                  <a:lnTo>
                    <a:pt x="1713" y="17293"/>
                  </a:lnTo>
                  <a:close/>
                  <a:moveTo>
                    <a:pt x="525" y="13453"/>
                  </a:moveTo>
                  <a:cubicBezTo>
                    <a:pt x="393" y="13451"/>
                    <a:pt x="393" y="13451"/>
                    <a:pt x="393" y="13451"/>
                  </a:cubicBezTo>
                  <a:cubicBezTo>
                    <a:pt x="387" y="13451"/>
                    <a:pt x="387" y="13451"/>
                    <a:pt x="387" y="13451"/>
                  </a:cubicBezTo>
                  <a:cubicBezTo>
                    <a:pt x="384" y="13589"/>
                    <a:pt x="384" y="13589"/>
                    <a:pt x="384" y="13589"/>
                  </a:cubicBezTo>
                  <a:cubicBezTo>
                    <a:pt x="522" y="13591"/>
                    <a:pt x="522" y="13591"/>
                    <a:pt x="522" y="13591"/>
                  </a:cubicBezTo>
                  <a:lnTo>
                    <a:pt x="525" y="13453"/>
                  </a:lnTo>
                  <a:close/>
                  <a:moveTo>
                    <a:pt x="509" y="13578"/>
                  </a:moveTo>
                  <a:cubicBezTo>
                    <a:pt x="398" y="13576"/>
                    <a:pt x="398" y="13576"/>
                    <a:pt x="398" y="13576"/>
                  </a:cubicBezTo>
                  <a:cubicBezTo>
                    <a:pt x="400" y="13464"/>
                    <a:pt x="400" y="13464"/>
                    <a:pt x="400" y="13464"/>
                  </a:cubicBezTo>
                  <a:cubicBezTo>
                    <a:pt x="511" y="13466"/>
                    <a:pt x="511" y="13466"/>
                    <a:pt x="511" y="13466"/>
                  </a:cubicBezTo>
                  <a:lnTo>
                    <a:pt x="509" y="13578"/>
                  </a:lnTo>
                  <a:close/>
                  <a:moveTo>
                    <a:pt x="443" y="12885"/>
                  </a:moveTo>
                  <a:cubicBezTo>
                    <a:pt x="441" y="13023"/>
                    <a:pt x="441" y="13023"/>
                    <a:pt x="441" y="13023"/>
                  </a:cubicBezTo>
                  <a:cubicBezTo>
                    <a:pt x="579" y="13025"/>
                    <a:pt x="579" y="13025"/>
                    <a:pt x="579" y="13025"/>
                  </a:cubicBezTo>
                  <a:cubicBezTo>
                    <a:pt x="581" y="12888"/>
                    <a:pt x="581" y="12888"/>
                    <a:pt x="581" y="12888"/>
                  </a:cubicBezTo>
                  <a:cubicBezTo>
                    <a:pt x="450" y="12885"/>
                    <a:pt x="450" y="12885"/>
                    <a:pt x="450" y="12885"/>
                  </a:cubicBezTo>
                  <a:lnTo>
                    <a:pt x="443" y="12885"/>
                  </a:lnTo>
                  <a:close/>
                  <a:moveTo>
                    <a:pt x="456" y="12898"/>
                  </a:moveTo>
                  <a:cubicBezTo>
                    <a:pt x="568" y="12900"/>
                    <a:pt x="568" y="12900"/>
                    <a:pt x="568" y="12900"/>
                  </a:cubicBezTo>
                  <a:cubicBezTo>
                    <a:pt x="566" y="13012"/>
                    <a:pt x="566" y="13012"/>
                    <a:pt x="566" y="13012"/>
                  </a:cubicBezTo>
                  <a:cubicBezTo>
                    <a:pt x="454" y="13010"/>
                    <a:pt x="454" y="13010"/>
                    <a:pt x="454" y="13010"/>
                  </a:cubicBezTo>
                  <a:lnTo>
                    <a:pt x="456" y="12898"/>
                  </a:lnTo>
                  <a:close/>
                  <a:moveTo>
                    <a:pt x="494" y="13165"/>
                  </a:moveTo>
                  <a:cubicBezTo>
                    <a:pt x="366" y="13137"/>
                    <a:pt x="366" y="13137"/>
                    <a:pt x="366" y="13137"/>
                  </a:cubicBezTo>
                  <a:cubicBezTo>
                    <a:pt x="360" y="13136"/>
                    <a:pt x="360" y="13136"/>
                    <a:pt x="360" y="13136"/>
                  </a:cubicBezTo>
                  <a:cubicBezTo>
                    <a:pt x="330" y="13270"/>
                    <a:pt x="330" y="13270"/>
                    <a:pt x="330" y="13270"/>
                  </a:cubicBezTo>
                  <a:cubicBezTo>
                    <a:pt x="465" y="13300"/>
                    <a:pt x="465" y="13300"/>
                    <a:pt x="465" y="13300"/>
                  </a:cubicBezTo>
                  <a:lnTo>
                    <a:pt x="494" y="13165"/>
                  </a:lnTo>
                  <a:close/>
                  <a:moveTo>
                    <a:pt x="346" y="13260"/>
                  </a:moveTo>
                  <a:cubicBezTo>
                    <a:pt x="370" y="13151"/>
                    <a:pt x="370" y="13151"/>
                    <a:pt x="370" y="13151"/>
                  </a:cubicBezTo>
                  <a:cubicBezTo>
                    <a:pt x="479" y="13175"/>
                    <a:pt x="479" y="13175"/>
                    <a:pt x="479" y="13175"/>
                  </a:cubicBezTo>
                  <a:cubicBezTo>
                    <a:pt x="455" y="13284"/>
                    <a:pt x="455" y="13284"/>
                    <a:pt x="455" y="13284"/>
                  </a:cubicBezTo>
                  <a:lnTo>
                    <a:pt x="346" y="13260"/>
                  </a:lnTo>
                  <a:close/>
                  <a:moveTo>
                    <a:pt x="414" y="12666"/>
                  </a:moveTo>
                  <a:cubicBezTo>
                    <a:pt x="347" y="12553"/>
                    <a:pt x="347" y="12553"/>
                    <a:pt x="347" y="12553"/>
                  </a:cubicBezTo>
                  <a:cubicBezTo>
                    <a:pt x="344" y="12547"/>
                    <a:pt x="344" y="12547"/>
                    <a:pt x="344" y="12547"/>
                  </a:cubicBezTo>
                  <a:cubicBezTo>
                    <a:pt x="225" y="12617"/>
                    <a:pt x="225" y="12617"/>
                    <a:pt x="225" y="12617"/>
                  </a:cubicBezTo>
                  <a:cubicBezTo>
                    <a:pt x="295" y="12736"/>
                    <a:pt x="295" y="12736"/>
                    <a:pt x="295" y="12736"/>
                  </a:cubicBezTo>
                  <a:lnTo>
                    <a:pt x="414" y="12666"/>
                  </a:lnTo>
                  <a:close/>
                  <a:moveTo>
                    <a:pt x="339" y="12565"/>
                  </a:moveTo>
                  <a:cubicBezTo>
                    <a:pt x="396" y="12661"/>
                    <a:pt x="396" y="12661"/>
                    <a:pt x="396" y="12661"/>
                  </a:cubicBezTo>
                  <a:cubicBezTo>
                    <a:pt x="300" y="12718"/>
                    <a:pt x="300" y="12718"/>
                    <a:pt x="300" y="12718"/>
                  </a:cubicBezTo>
                  <a:cubicBezTo>
                    <a:pt x="243" y="12622"/>
                    <a:pt x="243" y="12622"/>
                    <a:pt x="243" y="12622"/>
                  </a:cubicBezTo>
                  <a:lnTo>
                    <a:pt x="339" y="12565"/>
                  </a:lnTo>
                  <a:close/>
                  <a:moveTo>
                    <a:pt x="2131" y="16292"/>
                  </a:moveTo>
                  <a:cubicBezTo>
                    <a:pt x="2045" y="16412"/>
                    <a:pt x="2045" y="16412"/>
                    <a:pt x="2045" y="16412"/>
                  </a:cubicBezTo>
                  <a:cubicBezTo>
                    <a:pt x="2125" y="16469"/>
                    <a:pt x="2125" y="16469"/>
                    <a:pt x="2125" y="16469"/>
                  </a:cubicBezTo>
                  <a:cubicBezTo>
                    <a:pt x="2130" y="16473"/>
                    <a:pt x="2130" y="16473"/>
                    <a:pt x="2130" y="16473"/>
                  </a:cubicBezTo>
                  <a:cubicBezTo>
                    <a:pt x="2216" y="16353"/>
                    <a:pt x="2216" y="16353"/>
                    <a:pt x="2216" y="16353"/>
                  </a:cubicBezTo>
                  <a:lnTo>
                    <a:pt x="2131" y="16292"/>
                  </a:lnTo>
                  <a:close/>
                  <a:moveTo>
                    <a:pt x="2127" y="16455"/>
                  </a:moveTo>
                  <a:cubicBezTo>
                    <a:pt x="2063" y="16409"/>
                    <a:pt x="2063" y="16409"/>
                    <a:pt x="2063" y="16409"/>
                  </a:cubicBezTo>
                  <a:cubicBezTo>
                    <a:pt x="2134" y="16310"/>
                    <a:pt x="2134" y="16310"/>
                    <a:pt x="2134" y="16310"/>
                  </a:cubicBezTo>
                  <a:cubicBezTo>
                    <a:pt x="2198" y="16356"/>
                    <a:pt x="2198" y="16356"/>
                    <a:pt x="2198" y="16356"/>
                  </a:cubicBezTo>
                  <a:lnTo>
                    <a:pt x="2127" y="16455"/>
                  </a:lnTo>
                  <a:close/>
                  <a:moveTo>
                    <a:pt x="1947" y="16351"/>
                  </a:moveTo>
                  <a:cubicBezTo>
                    <a:pt x="1952" y="16355"/>
                    <a:pt x="1952" y="16355"/>
                    <a:pt x="1952" y="16355"/>
                  </a:cubicBezTo>
                  <a:cubicBezTo>
                    <a:pt x="2038" y="16234"/>
                    <a:pt x="2038" y="16234"/>
                    <a:pt x="2038" y="16234"/>
                  </a:cubicBezTo>
                  <a:cubicBezTo>
                    <a:pt x="1953" y="16174"/>
                    <a:pt x="1953" y="16174"/>
                    <a:pt x="1953" y="16174"/>
                  </a:cubicBezTo>
                  <a:cubicBezTo>
                    <a:pt x="1867" y="16294"/>
                    <a:pt x="1867" y="16294"/>
                    <a:pt x="1867" y="16294"/>
                  </a:cubicBezTo>
                  <a:lnTo>
                    <a:pt x="1947" y="16351"/>
                  </a:lnTo>
                  <a:close/>
                  <a:moveTo>
                    <a:pt x="1956" y="16192"/>
                  </a:moveTo>
                  <a:cubicBezTo>
                    <a:pt x="2020" y="16237"/>
                    <a:pt x="2020" y="16237"/>
                    <a:pt x="2020" y="16237"/>
                  </a:cubicBezTo>
                  <a:cubicBezTo>
                    <a:pt x="1949" y="16337"/>
                    <a:pt x="1949" y="16337"/>
                    <a:pt x="1949" y="16337"/>
                  </a:cubicBezTo>
                  <a:cubicBezTo>
                    <a:pt x="1885" y="16291"/>
                    <a:pt x="1885" y="16291"/>
                    <a:pt x="1885" y="16291"/>
                  </a:cubicBezTo>
                  <a:lnTo>
                    <a:pt x="1956" y="16192"/>
                  </a:lnTo>
                  <a:close/>
                  <a:moveTo>
                    <a:pt x="2357" y="16391"/>
                  </a:moveTo>
                  <a:cubicBezTo>
                    <a:pt x="2369" y="16488"/>
                    <a:pt x="2369" y="16488"/>
                    <a:pt x="2369" y="16488"/>
                  </a:cubicBezTo>
                  <a:cubicBezTo>
                    <a:pt x="2370" y="16495"/>
                    <a:pt x="2370" y="16495"/>
                    <a:pt x="2370" y="16495"/>
                  </a:cubicBezTo>
                  <a:cubicBezTo>
                    <a:pt x="2516" y="16477"/>
                    <a:pt x="2516" y="16477"/>
                    <a:pt x="2516" y="16477"/>
                  </a:cubicBezTo>
                  <a:cubicBezTo>
                    <a:pt x="2504" y="16373"/>
                    <a:pt x="2504" y="16373"/>
                    <a:pt x="2504" y="16373"/>
                  </a:cubicBezTo>
                  <a:lnTo>
                    <a:pt x="2357" y="16391"/>
                  </a:lnTo>
                  <a:close/>
                  <a:moveTo>
                    <a:pt x="2381" y="16480"/>
                  </a:moveTo>
                  <a:cubicBezTo>
                    <a:pt x="2371" y="16402"/>
                    <a:pt x="2371" y="16402"/>
                    <a:pt x="2371" y="16402"/>
                  </a:cubicBezTo>
                  <a:cubicBezTo>
                    <a:pt x="2492" y="16387"/>
                    <a:pt x="2492" y="16387"/>
                    <a:pt x="2492" y="16387"/>
                  </a:cubicBezTo>
                  <a:cubicBezTo>
                    <a:pt x="2502" y="16465"/>
                    <a:pt x="2502" y="16465"/>
                    <a:pt x="2502" y="16465"/>
                  </a:cubicBezTo>
                  <a:lnTo>
                    <a:pt x="2381" y="16480"/>
                  </a:lnTo>
                  <a:close/>
                  <a:moveTo>
                    <a:pt x="2051" y="15208"/>
                  </a:moveTo>
                  <a:cubicBezTo>
                    <a:pt x="1954" y="15320"/>
                    <a:pt x="1954" y="15320"/>
                    <a:pt x="1954" y="15320"/>
                  </a:cubicBezTo>
                  <a:cubicBezTo>
                    <a:pt x="2028" y="15384"/>
                    <a:pt x="2028" y="15384"/>
                    <a:pt x="2028" y="15384"/>
                  </a:cubicBezTo>
                  <a:cubicBezTo>
                    <a:pt x="2033" y="15388"/>
                    <a:pt x="2033" y="15388"/>
                    <a:pt x="2033" y="15388"/>
                  </a:cubicBezTo>
                  <a:cubicBezTo>
                    <a:pt x="2130" y="15277"/>
                    <a:pt x="2130" y="15277"/>
                    <a:pt x="2130" y="15277"/>
                  </a:cubicBezTo>
                  <a:lnTo>
                    <a:pt x="2051" y="15208"/>
                  </a:lnTo>
                  <a:close/>
                  <a:moveTo>
                    <a:pt x="2032" y="15370"/>
                  </a:moveTo>
                  <a:cubicBezTo>
                    <a:pt x="1973" y="15319"/>
                    <a:pt x="1973" y="15319"/>
                    <a:pt x="1973" y="15319"/>
                  </a:cubicBezTo>
                  <a:cubicBezTo>
                    <a:pt x="2053" y="15227"/>
                    <a:pt x="2053" y="15227"/>
                    <a:pt x="2053" y="15227"/>
                  </a:cubicBezTo>
                  <a:cubicBezTo>
                    <a:pt x="2112" y="15278"/>
                    <a:pt x="2112" y="15278"/>
                    <a:pt x="2112" y="15278"/>
                  </a:cubicBezTo>
                  <a:lnTo>
                    <a:pt x="2032" y="15370"/>
                  </a:lnTo>
                  <a:close/>
                  <a:moveTo>
                    <a:pt x="5645" y="13445"/>
                  </a:moveTo>
                  <a:cubicBezTo>
                    <a:pt x="5500" y="13419"/>
                    <a:pt x="5500" y="13419"/>
                    <a:pt x="5500" y="13419"/>
                  </a:cubicBezTo>
                  <a:cubicBezTo>
                    <a:pt x="5482" y="13515"/>
                    <a:pt x="5482" y="13515"/>
                    <a:pt x="5482" y="13515"/>
                  </a:cubicBezTo>
                  <a:cubicBezTo>
                    <a:pt x="5481" y="13521"/>
                    <a:pt x="5481" y="13521"/>
                    <a:pt x="5481" y="13521"/>
                  </a:cubicBezTo>
                  <a:cubicBezTo>
                    <a:pt x="5627" y="13548"/>
                    <a:pt x="5627" y="13548"/>
                    <a:pt x="5627" y="13548"/>
                  </a:cubicBezTo>
                  <a:lnTo>
                    <a:pt x="5645" y="13445"/>
                  </a:lnTo>
                  <a:close/>
                  <a:moveTo>
                    <a:pt x="5496" y="13511"/>
                  </a:moveTo>
                  <a:cubicBezTo>
                    <a:pt x="5510" y="13434"/>
                    <a:pt x="5510" y="13434"/>
                    <a:pt x="5510" y="13434"/>
                  </a:cubicBezTo>
                  <a:cubicBezTo>
                    <a:pt x="5630" y="13455"/>
                    <a:pt x="5630" y="13455"/>
                    <a:pt x="5630" y="13455"/>
                  </a:cubicBezTo>
                  <a:cubicBezTo>
                    <a:pt x="5616" y="13533"/>
                    <a:pt x="5616" y="13533"/>
                    <a:pt x="5616" y="13533"/>
                  </a:cubicBezTo>
                  <a:lnTo>
                    <a:pt x="5496" y="13511"/>
                  </a:lnTo>
                  <a:close/>
                  <a:moveTo>
                    <a:pt x="5508" y="13226"/>
                  </a:moveTo>
                  <a:cubicBezTo>
                    <a:pt x="5507" y="13233"/>
                    <a:pt x="5507" y="13233"/>
                    <a:pt x="5507" y="13233"/>
                  </a:cubicBezTo>
                  <a:cubicBezTo>
                    <a:pt x="5653" y="13259"/>
                    <a:pt x="5653" y="13259"/>
                    <a:pt x="5653" y="13259"/>
                  </a:cubicBezTo>
                  <a:cubicBezTo>
                    <a:pt x="5671" y="13157"/>
                    <a:pt x="5671" y="13157"/>
                    <a:pt x="5671" y="13157"/>
                  </a:cubicBezTo>
                  <a:cubicBezTo>
                    <a:pt x="5526" y="13130"/>
                    <a:pt x="5526" y="13130"/>
                    <a:pt x="5526" y="13130"/>
                  </a:cubicBezTo>
                  <a:lnTo>
                    <a:pt x="5508" y="13226"/>
                  </a:lnTo>
                  <a:close/>
                  <a:moveTo>
                    <a:pt x="5656" y="13167"/>
                  </a:moveTo>
                  <a:cubicBezTo>
                    <a:pt x="5642" y="13244"/>
                    <a:pt x="5642" y="13244"/>
                    <a:pt x="5642" y="13244"/>
                  </a:cubicBezTo>
                  <a:cubicBezTo>
                    <a:pt x="5522" y="13222"/>
                    <a:pt x="5522" y="13222"/>
                    <a:pt x="5522" y="13222"/>
                  </a:cubicBezTo>
                  <a:cubicBezTo>
                    <a:pt x="5536" y="13145"/>
                    <a:pt x="5536" y="13145"/>
                    <a:pt x="5536" y="13145"/>
                  </a:cubicBezTo>
                  <a:lnTo>
                    <a:pt x="5656" y="13167"/>
                  </a:lnTo>
                  <a:close/>
                  <a:moveTo>
                    <a:pt x="5657" y="13006"/>
                  </a:moveTo>
                  <a:cubicBezTo>
                    <a:pt x="5511" y="12980"/>
                    <a:pt x="5511" y="12980"/>
                    <a:pt x="5511" y="12980"/>
                  </a:cubicBezTo>
                  <a:cubicBezTo>
                    <a:pt x="5494" y="13076"/>
                    <a:pt x="5494" y="13076"/>
                    <a:pt x="5494" y="13076"/>
                  </a:cubicBezTo>
                  <a:cubicBezTo>
                    <a:pt x="5492" y="13082"/>
                    <a:pt x="5492" y="13082"/>
                    <a:pt x="5492" y="13082"/>
                  </a:cubicBezTo>
                  <a:cubicBezTo>
                    <a:pt x="5638" y="13109"/>
                    <a:pt x="5638" y="13109"/>
                    <a:pt x="5638" y="13109"/>
                  </a:cubicBezTo>
                  <a:lnTo>
                    <a:pt x="5657" y="13006"/>
                  </a:lnTo>
                  <a:close/>
                  <a:moveTo>
                    <a:pt x="5508" y="13072"/>
                  </a:moveTo>
                  <a:cubicBezTo>
                    <a:pt x="5522" y="12995"/>
                    <a:pt x="5522" y="12995"/>
                    <a:pt x="5522" y="12995"/>
                  </a:cubicBezTo>
                  <a:cubicBezTo>
                    <a:pt x="5642" y="13016"/>
                    <a:pt x="5642" y="13016"/>
                    <a:pt x="5642" y="13016"/>
                  </a:cubicBezTo>
                  <a:cubicBezTo>
                    <a:pt x="5628" y="13094"/>
                    <a:pt x="5628" y="13094"/>
                    <a:pt x="5628" y="13094"/>
                  </a:cubicBezTo>
                  <a:lnTo>
                    <a:pt x="5508" y="13072"/>
                  </a:lnTo>
                  <a:close/>
                  <a:moveTo>
                    <a:pt x="5417" y="12900"/>
                  </a:moveTo>
                  <a:cubicBezTo>
                    <a:pt x="5415" y="12907"/>
                    <a:pt x="5415" y="12907"/>
                    <a:pt x="5415" y="12907"/>
                  </a:cubicBezTo>
                  <a:cubicBezTo>
                    <a:pt x="5561" y="12933"/>
                    <a:pt x="5561" y="12933"/>
                    <a:pt x="5561" y="12933"/>
                  </a:cubicBezTo>
                  <a:cubicBezTo>
                    <a:pt x="5580" y="12831"/>
                    <a:pt x="5580" y="12831"/>
                    <a:pt x="5580" y="12831"/>
                  </a:cubicBezTo>
                  <a:cubicBezTo>
                    <a:pt x="5434" y="12804"/>
                    <a:pt x="5434" y="12804"/>
                    <a:pt x="5434" y="12804"/>
                  </a:cubicBezTo>
                  <a:lnTo>
                    <a:pt x="5417" y="12900"/>
                  </a:lnTo>
                  <a:close/>
                  <a:moveTo>
                    <a:pt x="5565" y="12841"/>
                  </a:moveTo>
                  <a:cubicBezTo>
                    <a:pt x="5551" y="12918"/>
                    <a:pt x="5551" y="12918"/>
                    <a:pt x="5551" y="12918"/>
                  </a:cubicBezTo>
                  <a:cubicBezTo>
                    <a:pt x="5431" y="12896"/>
                    <a:pt x="5431" y="12896"/>
                    <a:pt x="5431" y="12896"/>
                  </a:cubicBezTo>
                  <a:cubicBezTo>
                    <a:pt x="5445" y="12819"/>
                    <a:pt x="5445" y="12819"/>
                    <a:pt x="5445" y="12819"/>
                  </a:cubicBezTo>
                  <a:lnTo>
                    <a:pt x="5565" y="12841"/>
                  </a:lnTo>
                  <a:close/>
                  <a:moveTo>
                    <a:pt x="5549" y="12776"/>
                  </a:moveTo>
                  <a:cubicBezTo>
                    <a:pt x="5548" y="12782"/>
                    <a:pt x="5548" y="12782"/>
                    <a:pt x="5548" y="12782"/>
                  </a:cubicBezTo>
                  <a:cubicBezTo>
                    <a:pt x="5694" y="12809"/>
                    <a:pt x="5694" y="12809"/>
                    <a:pt x="5694" y="12809"/>
                  </a:cubicBezTo>
                  <a:cubicBezTo>
                    <a:pt x="5712" y="12706"/>
                    <a:pt x="5712" y="12706"/>
                    <a:pt x="5712" y="12706"/>
                  </a:cubicBezTo>
                  <a:cubicBezTo>
                    <a:pt x="5567" y="12680"/>
                    <a:pt x="5567" y="12680"/>
                    <a:pt x="5567" y="12680"/>
                  </a:cubicBezTo>
                  <a:lnTo>
                    <a:pt x="5549" y="12776"/>
                  </a:lnTo>
                  <a:close/>
                  <a:moveTo>
                    <a:pt x="5697" y="12717"/>
                  </a:moveTo>
                  <a:cubicBezTo>
                    <a:pt x="5683" y="12794"/>
                    <a:pt x="5683" y="12794"/>
                    <a:pt x="5683" y="12794"/>
                  </a:cubicBezTo>
                  <a:cubicBezTo>
                    <a:pt x="5563" y="12772"/>
                    <a:pt x="5563" y="12772"/>
                    <a:pt x="5563" y="12772"/>
                  </a:cubicBezTo>
                  <a:cubicBezTo>
                    <a:pt x="5577" y="12695"/>
                    <a:pt x="5577" y="12695"/>
                    <a:pt x="5577" y="12695"/>
                  </a:cubicBezTo>
                  <a:lnTo>
                    <a:pt x="5697" y="12717"/>
                  </a:lnTo>
                  <a:close/>
                  <a:moveTo>
                    <a:pt x="5621" y="12544"/>
                  </a:moveTo>
                  <a:cubicBezTo>
                    <a:pt x="5475" y="12517"/>
                    <a:pt x="5475" y="12517"/>
                    <a:pt x="5475" y="12517"/>
                  </a:cubicBezTo>
                  <a:cubicBezTo>
                    <a:pt x="5458" y="12614"/>
                    <a:pt x="5458" y="12614"/>
                    <a:pt x="5458" y="12614"/>
                  </a:cubicBezTo>
                  <a:cubicBezTo>
                    <a:pt x="5456" y="12620"/>
                    <a:pt x="5456" y="12620"/>
                    <a:pt x="5456" y="12620"/>
                  </a:cubicBezTo>
                  <a:cubicBezTo>
                    <a:pt x="5602" y="12647"/>
                    <a:pt x="5602" y="12647"/>
                    <a:pt x="5602" y="12647"/>
                  </a:cubicBezTo>
                  <a:lnTo>
                    <a:pt x="5621" y="12544"/>
                  </a:lnTo>
                  <a:close/>
                  <a:moveTo>
                    <a:pt x="5471" y="12610"/>
                  </a:moveTo>
                  <a:cubicBezTo>
                    <a:pt x="5485" y="12532"/>
                    <a:pt x="5485" y="12532"/>
                    <a:pt x="5485" y="12532"/>
                  </a:cubicBezTo>
                  <a:cubicBezTo>
                    <a:pt x="5606" y="12554"/>
                    <a:pt x="5606" y="12554"/>
                    <a:pt x="5606" y="12554"/>
                  </a:cubicBezTo>
                  <a:cubicBezTo>
                    <a:pt x="5592" y="12632"/>
                    <a:pt x="5592" y="12632"/>
                    <a:pt x="5592" y="12632"/>
                  </a:cubicBezTo>
                  <a:lnTo>
                    <a:pt x="5471" y="12610"/>
                  </a:lnTo>
                  <a:close/>
                  <a:moveTo>
                    <a:pt x="2781" y="15634"/>
                  </a:moveTo>
                  <a:cubicBezTo>
                    <a:pt x="2909" y="15560"/>
                    <a:pt x="2909" y="15560"/>
                    <a:pt x="2909" y="15560"/>
                  </a:cubicBezTo>
                  <a:cubicBezTo>
                    <a:pt x="2857" y="15470"/>
                    <a:pt x="2857" y="15470"/>
                    <a:pt x="2857" y="15470"/>
                  </a:cubicBezTo>
                  <a:cubicBezTo>
                    <a:pt x="2729" y="15544"/>
                    <a:pt x="2729" y="15544"/>
                    <a:pt x="2729" y="15544"/>
                  </a:cubicBezTo>
                  <a:cubicBezTo>
                    <a:pt x="2778" y="15629"/>
                    <a:pt x="2778" y="15629"/>
                    <a:pt x="2778" y="15629"/>
                  </a:cubicBezTo>
                  <a:lnTo>
                    <a:pt x="2781" y="15634"/>
                  </a:lnTo>
                  <a:close/>
                  <a:moveTo>
                    <a:pt x="2852" y="15487"/>
                  </a:moveTo>
                  <a:cubicBezTo>
                    <a:pt x="2892" y="15555"/>
                    <a:pt x="2892" y="15555"/>
                    <a:pt x="2892" y="15555"/>
                  </a:cubicBezTo>
                  <a:cubicBezTo>
                    <a:pt x="2786" y="15616"/>
                    <a:pt x="2786" y="15616"/>
                    <a:pt x="2786" y="15616"/>
                  </a:cubicBezTo>
                  <a:cubicBezTo>
                    <a:pt x="2747" y="15549"/>
                    <a:pt x="2747" y="15549"/>
                    <a:pt x="2747" y="15549"/>
                  </a:cubicBezTo>
                  <a:lnTo>
                    <a:pt x="2852" y="15487"/>
                  </a:lnTo>
                  <a:close/>
                  <a:moveTo>
                    <a:pt x="3148" y="15408"/>
                  </a:moveTo>
                  <a:cubicBezTo>
                    <a:pt x="3276" y="15334"/>
                    <a:pt x="3276" y="15334"/>
                    <a:pt x="3276" y="15334"/>
                  </a:cubicBezTo>
                  <a:cubicBezTo>
                    <a:pt x="3224" y="15244"/>
                    <a:pt x="3224" y="15244"/>
                    <a:pt x="3224" y="15244"/>
                  </a:cubicBezTo>
                  <a:cubicBezTo>
                    <a:pt x="3096" y="15318"/>
                    <a:pt x="3096" y="15318"/>
                    <a:pt x="3096" y="15318"/>
                  </a:cubicBezTo>
                  <a:cubicBezTo>
                    <a:pt x="3145" y="15403"/>
                    <a:pt x="3145" y="15403"/>
                    <a:pt x="3145" y="15403"/>
                  </a:cubicBezTo>
                  <a:lnTo>
                    <a:pt x="3148" y="15408"/>
                  </a:lnTo>
                  <a:close/>
                  <a:moveTo>
                    <a:pt x="3219" y="15262"/>
                  </a:moveTo>
                  <a:cubicBezTo>
                    <a:pt x="3258" y="15330"/>
                    <a:pt x="3258" y="15330"/>
                    <a:pt x="3258" y="15330"/>
                  </a:cubicBezTo>
                  <a:cubicBezTo>
                    <a:pt x="3153" y="15391"/>
                    <a:pt x="3153" y="15391"/>
                    <a:pt x="3153" y="15391"/>
                  </a:cubicBezTo>
                  <a:cubicBezTo>
                    <a:pt x="3113" y="15323"/>
                    <a:pt x="3113" y="15323"/>
                    <a:pt x="3113" y="15323"/>
                  </a:cubicBezTo>
                  <a:lnTo>
                    <a:pt x="3219" y="15262"/>
                  </a:lnTo>
                  <a:close/>
                  <a:moveTo>
                    <a:pt x="3044" y="15641"/>
                  </a:moveTo>
                  <a:cubicBezTo>
                    <a:pt x="3093" y="15726"/>
                    <a:pt x="3093" y="15726"/>
                    <a:pt x="3093" y="15726"/>
                  </a:cubicBezTo>
                  <a:cubicBezTo>
                    <a:pt x="3096" y="15731"/>
                    <a:pt x="3096" y="15731"/>
                    <a:pt x="3096" y="15731"/>
                  </a:cubicBezTo>
                  <a:cubicBezTo>
                    <a:pt x="3224" y="15657"/>
                    <a:pt x="3224" y="15657"/>
                    <a:pt x="3224" y="15657"/>
                  </a:cubicBezTo>
                  <a:cubicBezTo>
                    <a:pt x="3172" y="15567"/>
                    <a:pt x="3172" y="15567"/>
                    <a:pt x="3172" y="15567"/>
                  </a:cubicBezTo>
                  <a:lnTo>
                    <a:pt x="3044" y="15641"/>
                  </a:lnTo>
                  <a:close/>
                  <a:moveTo>
                    <a:pt x="3101" y="15713"/>
                  </a:moveTo>
                  <a:cubicBezTo>
                    <a:pt x="3061" y="15646"/>
                    <a:pt x="3061" y="15646"/>
                    <a:pt x="3061" y="15646"/>
                  </a:cubicBezTo>
                  <a:cubicBezTo>
                    <a:pt x="3167" y="15584"/>
                    <a:pt x="3167" y="15584"/>
                    <a:pt x="3167" y="15584"/>
                  </a:cubicBezTo>
                  <a:cubicBezTo>
                    <a:pt x="3206" y="15652"/>
                    <a:pt x="3206" y="15652"/>
                    <a:pt x="3206" y="15652"/>
                  </a:cubicBezTo>
                  <a:lnTo>
                    <a:pt x="3101" y="15713"/>
                  </a:lnTo>
                  <a:close/>
                  <a:moveTo>
                    <a:pt x="3037" y="16276"/>
                  </a:moveTo>
                  <a:cubicBezTo>
                    <a:pt x="2917" y="16362"/>
                    <a:pt x="2917" y="16362"/>
                    <a:pt x="2917" y="16362"/>
                  </a:cubicBezTo>
                  <a:cubicBezTo>
                    <a:pt x="2974" y="16442"/>
                    <a:pt x="2974" y="16442"/>
                    <a:pt x="2974" y="16442"/>
                  </a:cubicBezTo>
                  <a:cubicBezTo>
                    <a:pt x="2977" y="16447"/>
                    <a:pt x="2977" y="16447"/>
                    <a:pt x="2977" y="16447"/>
                  </a:cubicBezTo>
                  <a:cubicBezTo>
                    <a:pt x="3098" y="16361"/>
                    <a:pt x="3098" y="16361"/>
                    <a:pt x="3098" y="16361"/>
                  </a:cubicBezTo>
                  <a:lnTo>
                    <a:pt x="3037" y="16276"/>
                  </a:lnTo>
                  <a:close/>
                  <a:moveTo>
                    <a:pt x="2935" y="16365"/>
                  </a:moveTo>
                  <a:cubicBezTo>
                    <a:pt x="3034" y="16294"/>
                    <a:pt x="3034" y="16294"/>
                    <a:pt x="3034" y="16294"/>
                  </a:cubicBezTo>
                  <a:cubicBezTo>
                    <a:pt x="3080" y="16358"/>
                    <a:pt x="3080" y="16358"/>
                    <a:pt x="3080" y="16358"/>
                  </a:cubicBezTo>
                  <a:cubicBezTo>
                    <a:pt x="2980" y="16429"/>
                    <a:pt x="2980" y="16429"/>
                    <a:pt x="2980" y="16429"/>
                  </a:cubicBezTo>
                  <a:lnTo>
                    <a:pt x="2935" y="16365"/>
                  </a:lnTo>
                  <a:close/>
                  <a:moveTo>
                    <a:pt x="3919" y="16415"/>
                  </a:moveTo>
                  <a:cubicBezTo>
                    <a:pt x="3798" y="16501"/>
                    <a:pt x="3798" y="16501"/>
                    <a:pt x="3798" y="16501"/>
                  </a:cubicBezTo>
                  <a:cubicBezTo>
                    <a:pt x="3855" y="16580"/>
                    <a:pt x="3855" y="16580"/>
                    <a:pt x="3855" y="16580"/>
                  </a:cubicBezTo>
                  <a:cubicBezTo>
                    <a:pt x="3858" y="16586"/>
                    <a:pt x="3858" y="16586"/>
                    <a:pt x="3858" y="16586"/>
                  </a:cubicBezTo>
                  <a:cubicBezTo>
                    <a:pt x="3979" y="16500"/>
                    <a:pt x="3979" y="16500"/>
                    <a:pt x="3979" y="16500"/>
                  </a:cubicBezTo>
                  <a:lnTo>
                    <a:pt x="3919" y="16415"/>
                  </a:lnTo>
                  <a:close/>
                  <a:moveTo>
                    <a:pt x="3816" y="16504"/>
                  </a:moveTo>
                  <a:cubicBezTo>
                    <a:pt x="3916" y="16433"/>
                    <a:pt x="3916" y="16433"/>
                    <a:pt x="3916" y="16433"/>
                  </a:cubicBezTo>
                  <a:cubicBezTo>
                    <a:pt x="3961" y="16497"/>
                    <a:pt x="3961" y="16497"/>
                    <a:pt x="3961" y="16497"/>
                  </a:cubicBezTo>
                  <a:cubicBezTo>
                    <a:pt x="3861" y="16568"/>
                    <a:pt x="3861" y="16568"/>
                    <a:pt x="3861" y="16568"/>
                  </a:cubicBezTo>
                  <a:lnTo>
                    <a:pt x="3816" y="16504"/>
                  </a:lnTo>
                  <a:close/>
                  <a:moveTo>
                    <a:pt x="6737" y="15651"/>
                  </a:moveTo>
                  <a:cubicBezTo>
                    <a:pt x="6794" y="15731"/>
                    <a:pt x="6794" y="15731"/>
                    <a:pt x="6794" y="15731"/>
                  </a:cubicBezTo>
                  <a:cubicBezTo>
                    <a:pt x="6798" y="15736"/>
                    <a:pt x="6798" y="15736"/>
                    <a:pt x="6798" y="15736"/>
                  </a:cubicBezTo>
                  <a:cubicBezTo>
                    <a:pt x="6918" y="15650"/>
                    <a:pt x="6918" y="15650"/>
                    <a:pt x="6918" y="15650"/>
                  </a:cubicBezTo>
                  <a:cubicBezTo>
                    <a:pt x="6858" y="15565"/>
                    <a:pt x="6858" y="15565"/>
                    <a:pt x="6858" y="15565"/>
                  </a:cubicBezTo>
                  <a:lnTo>
                    <a:pt x="6737" y="15651"/>
                  </a:lnTo>
                  <a:close/>
                  <a:moveTo>
                    <a:pt x="6801" y="15718"/>
                  </a:moveTo>
                  <a:cubicBezTo>
                    <a:pt x="6755" y="15654"/>
                    <a:pt x="6755" y="15654"/>
                    <a:pt x="6755" y="15654"/>
                  </a:cubicBezTo>
                  <a:cubicBezTo>
                    <a:pt x="6855" y="15583"/>
                    <a:pt x="6855" y="15583"/>
                    <a:pt x="6855" y="15583"/>
                  </a:cubicBezTo>
                  <a:cubicBezTo>
                    <a:pt x="6900" y="15647"/>
                    <a:pt x="6900" y="15647"/>
                    <a:pt x="6900" y="15647"/>
                  </a:cubicBezTo>
                  <a:lnTo>
                    <a:pt x="6801" y="15718"/>
                  </a:lnTo>
                  <a:close/>
                  <a:moveTo>
                    <a:pt x="4809" y="10937"/>
                  </a:moveTo>
                  <a:cubicBezTo>
                    <a:pt x="4815" y="10937"/>
                    <a:pt x="4815" y="10937"/>
                    <a:pt x="4815" y="10937"/>
                  </a:cubicBezTo>
                  <a:cubicBezTo>
                    <a:pt x="4794" y="10790"/>
                    <a:pt x="4794" y="10790"/>
                    <a:pt x="4794" y="10790"/>
                  </a:cubicBezTo>
                  <a:cubicBezTo>
                    <a:pt x="4691" y="10805"/>
                    <a:pt x="4691" y="10805"/>
                    <a:pt x="4691" y="10805"/>
                  </a:cubicBezTo>
                  <a:cubicBezTo>
                    <a:pt x="4712" y="10951"/>
                    <a:pt x="4712" y="10951"/>
                    <a:pt x="4712" y="10951"/>
                  </a:cubicBezTo>
                  <a:lnTo>
                    <a:pt x="4809" y="10937"/>
                  </a:lnTo>
                  <a:close/>
                  <a:moveTo>
                    <a:pt x="4783" y="10805"/>
                  </a:moveTo>
                  <a:cubicBezTo>
                    <a:pt x="4800" y="10926"/>
                    <a:pt x="4800" y="10926"/>
                    <a:pt x="4800" y="10926"/>
                  </a:cubicBezTo>
                  <a:cubicBezTo>
                    <a:pt x="4723" y="10937"/>
                    <a:pt x="4723" y="10937"/>
                    <a:pt x="4723" y="10937"/>
                  </a:cubicBezTo>
                  <a:cubicBezTo>
                    <a:pt x="4706" y="10816"/>
                    <a:pt x="4706" y="10816"/>
                    <a:pt x="4706" y="10816"/>
                  </a:cubicBezTo>
                  <a:lnTo>
                    <a:pt x="4783" y="10805"/>
                  </a:lnTo>
                  <a:close/>
                  <a:moveTo>
                    <a:pt x="4263" y="9086"/>
                  </a:moveTo>
                  <a:cubicBezTo>
                    <a:pt x="4361" y="9086"/>
                    <a:pt x="4361" y="9086"/>
                    <a:pt x="4361" y="9086"/>
                  </a:cubicBezTo>
                  <a:cubicBezTo>
                    <a:pt x="4367" y="9087"/>
                    <a:pt x="4367" y="9087"/>
                    <a:pt x="4367" y="9087"/>
                  </a:cubicBezTo>
                  <a:cubicBezTo>
                    <a:pt x="4368" y="8939"/>
                    <a:pt x="4368" y="8939"/>
                    <a:pt x="4368" y="8939"/>
                  </a:cubicBezTo>
                  <a:cubicBezTo>
                    <a:pt x="4264" y="8938"/>
                    <a:pt x="4264" y="8938"/>
                    <a:pt x="4264" y="8938"/>
                  </a:cubicBezTo>
                  <a:lnTo>
                    <a:pt x="4263" y="9086"/>
                  </a:lnTo>
                  <a:close/>
                  <a:moveTo>
                    <a:pt x="4277" y="8951"/>
                  </a:moveTo>
                  <a:cubicBezTo>
                    <a:pt x="4355" y="8951"/>
                    <a:pt x="4355" y="8951"/>
                    <a:pt x="4355" y="8951"/>
                  </a:cubicBezTo>
                  <a:cubicBezTo>
                    <a:pt x="4354" y="9074"/>
                    <a:pt x="4354" y="9074"/>
                    <a:pt x="4354" y="9074"/>
                  </a:cubicBezTo>
                  <a:cubicBezTo>
                    <a:pt x="4276" y="9073"/>
                    <a:pt x="4276" y="9073"/>
                    <a:pt x="4276" y="9073"/>
                  </a:cubicBezTo>
                  <a:lnTo>
                    <a:pt x="4277" y="8951"/>
                  </a:lnTo>
                  <a:close/>
                  <a:moveTo>
                    <a:pt x="4788" y="8905"/>
                  </a:moveTo>
                  <a:cubicBezTo>
                    <a:pt x="4886" y="8905"/>
                    <a:pt x="4886" y="8905"/>
                    <a:pt x="4886" y="8905"/>
                  </a:cubicBezTo>
                  <a:cubicBezTo>
                    <a:pt x="4892" y="8905"/>
                    <a:pt x="4892" y="8905"/>
                    <a:pt x="4892" y="8905"/>
                  </a:cubicBezTo>
                  <a:cubicBezTo>
                    <a:pt x="4893" y="8758"/>
                    <a:pt x="4893" y="8758"/>
                    <a:pt x="4893" y="8758"/>
                  </a:cubicBezTo>
                  <a:cubicBezTo>
                    <a:pt x="4789" y="8757"/>
                    <a:pt x="4789" y="8757"/>
                    <a:pt x="4789" y="8757"/>
                  </a:cubicBezTo>
                  <a:lnTo>
                    <a:pt x="4788" y="8905"/>
                  </a:lnTo>
                  <a:close/>
                  <a:moveTo>
                    <a:pt x="4802" y="8770"/>
                  </a:moveTo>
                  <a:cubicBezTo>
                    <a:pt x="4880" y="8770"/>
                    <a:pt x="4880" y="8770"/>
                    <a:pt x="4880" y="8770"/>
                  </a:cubicBezTo>
                  <a:cubicBezTo>
                    <a:pt x="4879" y="8892"/>
                    <a:pt x="4879" y="8892"/>
                    <a:pt x="4879" y="8892"/>
                  </a:cubicBezTo>
                  <a:cubicBezTo>
                    <a:pt x="4801" y="8892"/>
                    <a:pt x="4801" y="8892"/>
                    <a:pt x="4801" y="8892"/>
                  </a:cubicBezTo>
                  <a:lnTo>
                    <a:pt x="4802" y="8770"/>
                  </a:lnTo>
                  <a:close/>
                  <a:moveTo>
                    <a:pt x="5227" y="8461"/>
                  </a:moveTo>
                  <a:cubicBezTo>
                    <a:pt x="5325" y="8462"/>
                    <a:pt x="5325" y="8462"/>
                    <a:pt x="5325" y="8462"/>
                  </a:cubicBezTo>
                  <a:cubicBezTo>
                    <a:pt x="5332" y="8462"/>
                    <a:pt x="5332" y="8462"/>
                    <a:pt x="5332" y="8462"/>
                  </a:cubicBezTo>
                  <a:cubicBezTo>
                    <a:pt x="5333" y="8314"/>
                    <a:pt x="5333" y="8314"/>
                    <a:pt x="5333" y="8314"/>
                  </a:cubicBezTo>
                  <a:cubicBezTo>
                    <a:pt x="5229" y="8313"/>
                    <a:pt x="5229" y="8313"/>
                    <a:pt x="5229" y="8313"/>
                  </a:cubicBezTo>
                  <a:lnTo>
                    <a:pt x="5227" y="8461"/>
                  </a:lnTo>
                  <a:close/>
                  <a:moveTo>
                    <a:pt x="5241" y="8326"/>
                  </a:moveTo>
                  <a:cubicBezTo>
                    <a:pt x="5320" y="8327"/>
                    <a:pt x="5320" y="8327"/>
                    <a:pt x="5320" y="8327"/>
                  </a:cubicBezTo>
                  <a:cubicBezTo>
                    <a:pt x="5319" y="8449"/>
                    <a:pt x="5319" y="8449"/>
                    <a:pt x="5319" y="8449"/>
                  </a:cubicBezTo>
                  <a:cubicBezTo>
                    <a:pt x="5240" y="8448"/>
                    <a:pt x="5240" y="8448"/>
                    <a:pt x="5240" y="8448"/>
                  </a:cubicBezTo>
                  <a:lnTo>
                    <a:pt x="5241" y="8326"/>
                  </a:lnTo>
                  <a:close/>
                  <a:moveTo>
                    <a:pt x="5046" y="8452"/>
                  </a:moveTo>
                  <a:cubicBezTo>
                    <a:pt x="5047" y="8304"/>
                    <a:pt x="5047" y="8304"/>
                    <a:pt x="5047" y="8304"/>
                  </a:cubicBezTo>
                  <a:cubicBezTo>
                    <a:pt x="4942" y="8303"/>
                    <a:pt x="4942" y="8303"/>
                    <a:pt x="4942" y="8303"/>
                  </a:cubicBezTo>
                  <a:cubicBezTo>
                    <a:pt x="4941" y="8451"/>
                    <a:pt x="4941" y="8451"/>
                    <a:pt x="4941" y="8451"/>
                  </a:cubicBezTo>
                  <a:cubicBezTo>
                    <a:pt x="5039" y="8452"/>
                    <a:pt x="5039" y="8452"/>
                    <a:pt x="5039" y="8452"/>
                  </a:cubicBezTo>
                  <a:lnTo>
                    <a:pt x="5046" y="8452"/>
                  </a:lnTo>
                  <a:close/>
                  <a:moveTo>
                    <a:pt x="5033" y="8439"/>
                  </a:moveTo>
                  <a:cubicBezTo>
                    <a:pt x="4954" y="8438"/>
                    <a:pt x="4954" y="8438"/>
                    <a:pt x="4954" y="8438"/>
                  </a:cubicBezTo>
                  <a:cubicBezTo>
                    <a:pt x="4955" y="8316"/>
                    <a:pt x="4955" y="8316"/>
                    <a:pt x="4955" y="8316"/>
                  </a:cubicBezTo>
                  <a:cubicBezTo>
                    <a:pt x="5034" y="8316"/>
                    <a:pt x="5034" y="8316"/>
                    <a:pt x="5034" y="8316"/>
                  </a:cubicBezTo>
                  <a:lnTo>
                    <a:pt x="5033" y="8439"/>
                  </a:lnTo>
                  <a:close/>
                  <a:moveTo>
                    <a:pt x="4516" y="8451"/>
                  </a:moveTo>
                  <a:cubicBezTo>
                    <a:pt x="4502" y="8304"/>
                    <a:pt x="4502" y="8304"/>
                    <a:pt x="4502" y="8304"/>
                  </a:cubicBezTo>
                  <a:cubicBezTo>
                    <a:pt x="4398" y="8314"/>
                    <a:pt x="4398" y="8314"/>
                    <a:pt x="4398" y="8314"/>
                  </a:cubicBezTo>
                  <a:cubicBezTo>
                    <a:pt x="4412" y="8461"/>
                    <a:pt x="4412" y="8461"/>
                    <a:pt x="4412" y="8461"/>
                  </a:cubicBezTo>
                  <a:cubicBezTo>
                    <a:pt x="4509" y="8452"/>
                    <a:pt x="4509" y="8452"/>
                    <a:pt x="4509" y="8452"/>
                  </a:cubicBezTo>
                  <a:lnTo>
                    <a:pt x="4516" y="8451"/>
                  </a:lnTo>
                  <a:close/>
                  <a:moveTo>
                    <a:pt x="4423" y="8447"/>
                  </a:moveTo>
                  <a:cubicBezTo>
                    <a:pt x="4412" y="8325"/>
                    <a:pt x="4412" y="8325"/>
                    <a:pt x="4412" y="8325"/>
                  </a:cubicBezTo>
                  <a:cubicBezTo>
                    <a:pt x="4490" y="8318"/>
                    <a:pt x="4490" y="8318"/>
                    <a:pt x="4490" y="8318"/>
                  </a:cubicBezTo>
                  <a:cubicBezTo>
                    <a:pt x="4502" y="8439"/>
                    <a:pt x="4502" y="8439"/>
                    <a:pt x="4502" y="8439"/>
                  </a:cubicBezTo>
                  <a:lnTo>
                    <a:pt x="4423" y="8447"/>
                  </a:lnTo>
                  <a:close/>
                  <a:moveTo>
                    <a:pt x="4548" y="9137"/>
                  </a:moveTo>
                  <a:cubicBezTo>
                    <a:pt x="4549" y="9143"/>
                    <a:pt x="4549" y="9143"/>
                    <a:pt x="4549" y="9143"/>
                  </a:cubicBezTo>
                  <a:cubicBezTo>
                    <a:pt x="4693" y="9109"/>
                    <a:pt x="4693" y="9109"/>
                    <a:pt x="4693" y="9109"/>
                  </a:cubicBezTo>
                  <a:cubicBezTo>
                    <a:pt x="4669" y="9008"/>
                    <a:pt x="4669" y="9008"/>
                    <a:pt x="4669" y="9008"/>
                  </a:cubicBezTo>
                  <a:cubicBezTo>
                    <a:pt x="4525" y="9042"/>
                    <a:pt x="4525" y="9042"/>
                    <a:pt x="4525" y="9042"/>
                  </a:cubicBezTo>
                  <a:lnTo>
                    <a:pt x="4548" y="9137"/>
                  </a:lnTo>
                  <a:close/>
                  <a:moveTo>
                    <a:pt x="4678" y="9100"/>
                  </a:moveTo>
                  <a:cubicBezTo>
                    <a:pt x="4559" y="9128"/>
                    <a:pt x="4559" y="9128"/>
                    <a:pt x="4559" y="9128"/>
                  </a:cubicBezTo>
                  <a:cubicBezTo>
                    <a:pt x="4541" y="9051"/>
                    <a:pt x="4541" y="9051"/>
                    <a:pt x="4541" y="9051"/>
                  </a:cubicBezTo>
                  <a:cubicBezTo>
                    <a:pt x="4659" y="9023"/>
                    <a:pt x="4659" y="9023"/>
                    <a:pt x="4659" y="9023"/>
                  </a:cubicBezTo>
                  <a:lnTo>
                    <a:pt x="4678" y="9100"/>
                  </a:lnTo>
                  <a:close/>
                  <a:moveTo>
                    <a:pt x="5063" y="8894"/>
                  </a:moveTo>
                  <a:cubicBezTo>
                    <a:pt x="5086" y="8989"/>
                    <a:pt x="5086" y="8989"/>
                    <a:pt x="5086" y="8989"/>
                  </a:cubicBezTo>
                  <a:cubicBezTo>
                    <a:pt x="5087" y="8996"/>
                    <a:pt x="5087" y="8996"/>
                    <a:pt x="5087" y="8996"/>
                  </a:cubicBezTo>
                  <a:cubicBezTo>
                    <a:pt x="5231" y="8962"/>
                    <a:pt x="5231" y="8962"/>
                    <a:pt x="5231" y="8962"/>
                  </a:cubicBezTo>
                  <a:cubicBezTo>
                    <a:pt x="5207" y="8860"/>
                    <a:pt x="5207" y="8860"/>
                    <a:pt x="5207" y="8860"/>
                  </a:cubicBezTo>
                  <a:lnTo>
                    <a:pt x="5063" y="8894"/>
                  </a:lnTo>
                  <a:close/>
                  <a:moveTo>
                    <a:pt x="5097" y="8980"/>
                  </a:moveTo>
                  <a:cubicBezTo>
                    <a:pt x="5079" y="8904"/>
                    <a:pt x="5079" y="8904"/>
                    <a:pt x="5079" y="8904"/>
                  </a:cubicBezTo>
                  <a:cubicBezTo>
                    <a:pt x="5197" y="8876"/>
                    <a:pt x="5197" y="8876"/>
                    <a:pt x="5197" y="8876"/>
                  </a:cubicBezTo>
                  <a:cubicBezTo>
                    <a:pt x="5216" y="8952"/>
                    <a:pt x="5216" y="8952"/>
                    <a:pt x="5216" y="8952"/>
                  </a:cubicBezTo>
                  <a:lnTo>
                    <a:pt x="5097" y="8980"/>
                  </a:lnTo>
                  <a:close/>
                  <a:moveTo>
                    <a:pt x="4861" y="10783"/>
                  </a:moveTo>
                  <a:cubicBezTo>
                    <a:pt x="4881" y="10929"/>
                    <a:pt x="4881" y="10929"/>
                    <a:pt x="4881" y="10929"/>
                  </a:cubicBezTo>
                  <a:cubicBezTo>
                    <a:pt x="4978" y="10916"/>
                    <a:pt x="4978" y="10916"/>
                    <a:pt x="4978" y="10916"/>
                  </a:cubicBezTo>
                  <a:cubicBezTo>
                    <a:pt x="4984" y="10915"/>
                    <a:pt x="4984" y="10915"/>
                    <a:pt x="4984" y="10915"/>
                  </a:cubicBezTo>
                  <a:cubicBezTo>
                    <a:pt x="4964" y="10768"/>
                    <a:pt x="4964" y="10768"/>
                    <a:pt x="4964" y="10768"/>
                  </a:cubicBezTo>
                  <a:lnTo>
                    <a:pt x="4861" y="10783"/>
                  </a:lnTo>
                  <a:close/>
                  <a:moveTo>
                    <a:pt x="4892" y="10915"/>
                  </a:moveTo>
                  <a:cubicBezTo>
                    <a:pt x="4875" y="10794"/>
                    <a:pt x="4875" y="10794"/>
                    <a:pt x="4875" y="10794"/>
                  </a:cubicBezTo>
                  <a:cubicBezTo>
                    <a:pt x="4953" y="10783"/>
                    <a:pt x="4953" y="10783"/>
                    <a:pt x="4953" y="10783"/>
                  </a:cubicBezTo>
                  <a:cubicBezTo>
                    <a:pt x="4970" y="10904"/>
                    <a:pt x="4970" y="10904"/>
                    <a:pt x="4970" y="10904"/>
                  </a:cubicBezTo>
                  <a:lnTo>
                    <a:pt x="4892" y="10915"/>
                  </a:lnTo>
                  <a:close/>
                  <a:moveTo>
                    <a:pt x="5815" y="14728"/>
                  </a:moveTo>
                  <a:cubicBezTo>
                    <a:pt x="5935" y="14643"/>
                    <a:pt x="5935" y="14643"/>
                    <a:pt x="5935" y="14643"/>
                  </a:cubicBezTo>
                  <a:cubicBezTo>
                    <a:pt x="5875" y="14558"/>
                    <a:pt x="5875" y="14558"/>
                    <a:pt x="5875" y="14558"/>
                  </a:cubicBezTo>
                  <a:cubicBezTo>
                    <a:pt x="5754" y="14643"/>
                    <a:pt x="5754" y="14643"/>
                    <a:pt x="5754" y="14643"/>
                  </a:cubicBezTo>
                  <a:cubicBezTo>
                    <a:pt x="5811" y="14723"/>
                    <a:pt x="5811" y="14723"/>
                    <a:pt x="5811" y="14723"/>
                  </a:cubicBezTo>
                  <a:lnTo>
                    <a:pt x="5815" y="14728"/>
                  </a:lnTo>
                  <a:close/>
                  <a:moveTo>
                    <a:pt x="5872" y="14576"/>
                  </a:moveTo>
                  <a:cubicBezTo>
                    <a:pt x="5917" y="14640"/>
                    <a:pt x="5917" y="14640"/>
                    <a:pt x="5917" y="14640"/>
                  </a:cubicBezTo>
                  <a:cubicBezTo>
                    <a:pt x="5818" y="14710"/>
                    <a:pt x="5818" y="14710"/>
                    <a:pt x="5818" y="14710"/>
                  </a:cubicBezTo>
                  <a:cubicBezTo>
                    <a:pt x="5772" y="14646"/>
                    <a:pt x="5772" y="14646"/>
                    <a:pt x="5772" y="14646"/>
                  </a:cubicBezTo>
                  <a:lnTo>
                    <a:pt x="5872" y="14576"/>
                  </a:lnTo>
                  <a:close/>
                  <a:moveTo>
                    <a:pt x="4188" y="10406"/>
                  </a:moveTo>
                  <a:cubicBezTo>
                    <a:pt x="4211" y="10501"/>
                    <a:pt x="4211" y="10501"/>
                    <a:pt x="4211" y="10501"/>
                  </a:cubicBezTo>
                  <a:cubicBezTo>
                    <a:pt x="4213" y="10508"/>
                    <a:pt x="4213" y="10508"/>
                    <a:pt x="4213" y="10508"/>
                  </a:cubicBezTo>
                  <a:cubicBezTo>
                    <a:pt x="4356" y="10473"/>
                    <a:pt x="4356" y="10473"/>
                    <a:pt x="4356" y="10473"/>
                  </a:cubicBezTo>
                  <a:cubicBezTo>
                    <a:pt x="4332" y="10372"/>
                    <a:pt x="4332" y="10372"/>
                    <a:pt x="4332" y="10372"/>
                  </a:cubicBezTo>
                  <a:lnTo>
                    <a:pt x="4188" y="10406"/>
                  </a:lnTo>
                  <a:close/>
                  <a:moveTo>
                    <a:pt x="4222" y="10492"/>
                  </a:moveTo>
                  <a:cubicBezTo>
                    <a:pt x="4204" y="10416"/>
                    <a:pt x="4204" y="10416"/>
                    <a:pt x="4204" y="10416"/>
                  </a:cubicBezTo>
                  <a:cubicBezTo>
                    <a:pt x="4322" y="10387"/>
                    <a:pt x="4322" y="10387"/>
                    <a:pt x="4322" y="10387"/>
                  </a:cubicBezTo>
                  <a:cubicBezTo>
                    <a:pt x="4341" y="10463"/>
                    <a:pt x="4341" y="10463"/>
                    <a:pt x="4341" y="10463"/>
                  </a:cubicBezTo>
                  <a:lnTo>
                    <a:pt x="4222" y="10492"/>
                  </a:lnTo>
                  <a:close/>
                  <a:moveTo>
                    <a:pt x="4375" y="10352"/>
                  </a:moveTo>
                  <a:cubicBezTo>
                    <a:pt x="4398" y="10447"/>
                    <a:pt x="4398" y="10447"/>
                    <a:pt x="4398" y="10447"/>
                  </a:cubicBezTo>
                  <a:cubicBezTo>
                    <a:pt x="4399" y="10453"/>
                    <a:pt x="4399" y="10453"/>
                    <a:pt x="4399" y="10453"/>
                  </a:cubicBezTo>
                  <a:cubicBezTo>
                    <a:pt x="4543" y="10419"/>
                    <a:pt x="4543" y="10419"/>
                    <a:pt x="4543" y="10419"/>
                  </a:cubicBezTo>
                  <a:cubicBezTo>
                    <a:pt x="4519" y="10317"/>
                    <a:pt x="4519" y="10317"/>
                    <a:pt x="4519" y="10317"/>
                  </a:cubicBezTo>
                  <a:lnTo>
                    <a:pt x="4375" y="10352"/>
                  </a:lnTo>
                  <a:close/>
                  <a:moveTo>
                    <a:pt x="4409" y="10438"/>
                  </a:moveTo>
                  <a:cubicBezTo>
                    <a:pt x="4390" y="10361"/>
                    <a:pt x="4390" y="10361"/>
                    <a:pt x="4390" y="10361"/>
                  </a:cubicBezTo>
                  <a:cubicBezTo>
                    <a:pt x="4509" y="10333"/>
                    <a:pt x="4509" y="10333"/>
                    <a:pt x="4509" y="10333"/>
                  </a:cubicBezTo>
                  <a:cubicBezTo>
                    <a:pt x="4527" y="10409"/>
                    <a:pt x="4527" y="10409"/>
                    <a:pt x="4527" y="10409"/>
                  </a:cubicBezTo>
                  <a:lnTo>
                    <a:pt x="4409" y="10438"/>
                  </a:lnTo>
                  <a:close/>
                  <a:moveTo>
                    <a:pt x="4583" y="10399"/>
                  </a:moveTo>
                  <a:cubicBezTo>
                    <a:pt x="4584" y="10406"/>
                    <a:pt x="4584" y="10406"/>
                    <a:pt x="4584" y="10406"/>
                  </a:cubicBezTo>
                  <a:cubicBezTo>
                    <a:pt x="4728" y="10371"/>
                    <a:pt x="4728" y="10371"/>
                    <a:pt x="4728" y="10371"/>
                  </a:cubicBezTo>
                  <a:cubicBezTo>
                    <a:pt x="4704" y="10270"/>
                    <a:pt x="4704" y="10270"/>
                    <a:pt x="4704" y="10270"/>
                  </a:cubicBezTo>
                  <a:cubicBezTo>
                    <a:pt x="4560" y="10304"/>
                    <a:pt x="4560" y="10304"/>
                    <a:pt x="4560" y="10304"/>
                  </a:cubicBezTo>
                  <a:lnTo>
                    <a:pt x="4583" y="10399"/>
                  </a:lnTo>
                  <a:close/>
                  <a:moveTo>
                    <a:pt x="4713" y="10361"/>
                  </a:moveTo>
                  <a:cubicBezTo>
                    <a:pt x="4594" y="10390"/>
                    <a:pt x="4594" y="10390"/>
                    <a:pt x="4594" y="10390"/>
                  </a:cubicBezTo>
                  <a:cubicBezTo>
                    <a:pt x="4575" y="10314"/>
                    <a:pt x="4575" y="10314"/>
                    <a:pt x="4575" y="10314"/>
                  </a:cubicBezTo>
                  <a:cubicBezTo>
                    <a:pt x="4694" y="10285"/>
                    <a:pt x="4694" y="10285"/>
                    <a:pt x="4694" y="10285"/>
                  </a:cubicBezTo>
                  <a:lnTo>
                    <a:pt x="4713" y="10361"/>
                  </a:lnTo>
                  <a:close/>
                  <a:moveTo>
                    <a:pt x="4784" y="10357"/>
                  </a:moveTo>
                  <a:cubicBezTo>
                    <a:pt x="4786" y="10363"/>
                    <a:pt x="4786" y="10363"/>
                    <a:pt x="4786" y="10363"/>
                  </a:cubicBezTo>
                  <a:cubicBezTo>
                    <a:pt x="4930" y="10328"/>
                    <a:pt x="4930" y="10328"/>
                    <a:pt x="4930" y="10328"/>
                  </a:cubicBezTo>
                  <a:cubicBezTo>
                    <a:pt x="4905" y="10227"/>
                    <a:pt x="4905" y="10227"/>
                    <a:pt x="4905" y="10227"/>
                  </a:cubicBezTo>
                  <a:cubicBezTo>
                    <a:pt x="4761" y="10262"/>
                    <a:pt x="4761" y="10262"/>
                    <a:pt x="4761" y="10262"/>
                  </a:cubicBezTo>
                  <a:lnTo>
                    <a:pt x="4784" y="10357"/>
                  </a:lnTo>
                  <a:close/>
                  <a:moveTo>
                    <a:pt x="4914" y="10319"/>
                  </a:moveTo>
                  <a:cubicBezTo>
                    <a:pt x="4795" y="10347"/>
                    <a:pt x="4795" y="10347"/>
                    <a:pt x="4795" y="10347"/>
                  </a:cubicBezTo>
                  <a:cubicBezTo>
                    <a:pt x="4777" y="10271"/>
                    <a:pt x="4777" y="10271"/>
                    <a:pt x="4777" y="10271"/>
                  </a:cubicBezTo>
                  <a:cubicBezTo>
                    <a:pt x="4896" y="10243"/>
                    <a:pt x="4896" y="10243"/>
                    <a:pt x="4896" y="10243"/>
                  </a:cubicBezTo>
                  <a:lnTo>
                    <a:pt x="4914" y="10319"/>
                  </a:lnTo>
                  <a:close/>
                  <a:moveTo>
                    <a:pt x="5046" y="10206"/>
                  </a:moveTo>
                  <a:cubicBezTo>
                    <a:pt x="5061" y="10303"/>
                    <a:pt x="5061" y="10303"/>
                    <a:pt x="5061" y="10303"/>
                  </a:cubicBezTo>
                  <a:cubicBezTo>
                    <a:pt x="5063" y="10309"/>
                    <a:pt x="5063" y="10309"/>
                    <a:pt x="5063" y="10309"/>
                  </a:cubicBezTo>
                  <a:cubicBezTo>
                    <a:pt x="5209" y="10286"/>
                    <a:pt x="5209" y="10286"/>
                    <a:pt x="5209" y="10286"/>
                  </a:cubicBezTo>
                  <a:cubicBezTo>
                    <a:pt x="5192" y="10183"/>
                    <a:pt x="5192" y="10183"/>
                    <a:pt x="5192" y="10183"/>
                  </a:cubicBezTo>
                  <a:lnTo>
                    <a:pt x="5046" y="10206"/>
                  </a:lnTo>
                  <a:close/>
                  <a:moveTo>
                    <a:pt x="5073" y="10294"/>
                  </a:moveTo>
                  <a:cubicBezTo>
                    <a:pt x="5061" y="10217"/>
                    <a:pt x="5061" y="10217"/>
                    <a:pt x="5061" y="10217"/>
                  </a:cubicBezTo>
                  <a:cubicBezTo>
                    <a:pt x="5181" y="10197"/>
                    <a:pt x="5181" y="10197"/>
                    <a:pt x="5181" y="10197"/>
                  </a:cubicBezTo>
                  <a:cubicBezTo>
                    <a:pt x="5194" y="10275"/>
                    <a:pt x="5194" y="10275"/>
                    <a:pt x="5194" y="10275"/>
                  </a:cubicBezTo>
                  <a:lnTo>
                    <a:pt x="5073" y="10294"/>
                  </a:lnTo>
                  <a:close/>
                  <a:moveTo>
                    <a:pt x="5752" y="10212"/>
                  </a:moveTo>
                  <a:cubicBezTo>
                    <a:pt x="5752" y="10218"/>
                    <a:pt x="5752" y="10218"/>
                    <a:pt x="5752" y="10218"/>
                  </a:cubicBezTo>
                  <a:cubicBezTo>
                    <a:pt x="5899" y="10227"/>
                    <a:pt x="5899" y="10227"/>
                    <a:pt x="5899" y="10227"/>
                  </a:cubicBezTo>
                  <a:cubicBezTo>
                    <a:pt x="5906" y="10123"/>
                    <a:pt x="5906" y="10123"/>
                    <a:pt x="5906" y="10123"/>
                  </a:cubicBezTo>
                  <a:cubicBezTo>
                    <a:pt x="5758" y="10114"/>
                    <a:pt x="5758" y="10114"/>
                    <a:pt x="5758" y="10114"/>
                  </a:cubicBezTo>
                  <a:lnTo>
                    <a:pt x="5752" y="10212"/>
                  </a:lnTo>
                  <a:close/>
                  <a:moveTo>
                    <a:pt x="5770" y="10128"/>
                  </a:moveTo>
                  <a:cubicBezTo>
                    <a:pt x="5892" y="10135"/>
                    <a:pt x="5892" y="10135"/>
                    <a:pt x="5892" y="10135"/>
                  </a:cubicBezTo>
                  <a:cubicBezTo>
                    <a:pt x="5887" y="10213"/>
                    <a:pt x="5887" y="10213"/>
                    <a:pt x="5887" y="10213"/>
                  </a:cubicBezTo>
                  <a:cubicBezTo>
                    <a:pt x="5765" y="10206"/>
                    <a:pt x="5765" y="10206"/>
                    <a:pt x="5765" y="10206"/>
                  </a:cubicBezTo>
                  <a:lnTo>
                    <a:pt x="5770" y="10128"/>
                  </a:lnTo>
                  <a:close/>
                  <a:moveTo>
                    <a:pt x="5436" y="9892"/>
                  </a:moveTo>
                  <a:cubicBezTo>
                    <a:pt x="5448" y="9989"/>
                    <a:pt x="5448" y="9989"/>
                    <a:pt x="5448" y="9989"/>
                  </a:cubicBezTo>
                  <a:cubicBezTo>
                    <a:pt x="5449" y="9996"/>
                    <a:pt x="5449" y="9996"/>
                    <a:pt x="5449" y="9996"/>
                  </a:cubicBezTo>
                  <a:cubicBezTo>
                    <a:pt x="5596" y="9977"/>
                    <a:pt x="5596" y="9977"/>
                    <a:pt x="5596" y="9977"/>
                  </a:cubicBezTo>
                  <a:cubicBezTo>
                    <a:pt x="5582" y="9873"/>
                    <a:pt x="5582" y="9873"/>
                    <a:pt x="5582" y="9873"/>
                  </a:cubicBezTo>
                  <a:lnTo>
                    <a:pt x="5436" y="9892"/>
                  </a:lnTo>
                  <a:close/>
                  <a:moveTo>
                    <a:pt x="5460" y="9981"/>
                  </a:moveTo>
                  <a:cubicBezTo>
                    <a:pt x="5450" y="9903"/>
                    <a:pt x="5450" y="9903"/>
                    <a:pt x="5450" y="9903"/>
                  </a:cubicBezTo>
                  <a:cubicBezTo>
                    <a:pt x="5571" y="9888"/>
                    <a:pt x="5571" y="9888"/>
                    <a:pt x="5571" y="9888"/>
                  </a:cubicBezTo>
                  <a:cubicBezTo>
                    <a:pt x="5581" y="9966"/>
                    <a:pt x="5581" y="9966"/>
                    <a:pt x="5581" y="9966"/>
                  </a:cubicBezTo>
                  <a:lnTo>
                    <a:pt x="5460" y="9981"/>
                  </a:lnTo>
                  <a:close/>
                  <a:moveTo>
                    <a:pt x="3795" y="17019"/>
                  </a:moveTo>
                  <a:cubicBezTo>
                    <a:pt x="3851" y="17098"/>
                    <a:pt x="3851" y="17098"/>
                    <a:pt x="3851" y="17098"/>
                  </a:cubicBezTo>
                  <a:cubicBezTo>
                    <a:pt x="3855" y="17104"/>
                    <a:pt x="3855" y="17104"/>
                    <a:pt x="3855" y="17104"/>
                  </a:cubicBezTo>
                  <a:cubicBezTo>
                    <a:pt x="3976" y="17018"/>
                    <a:pt x="3976" y="17018"/>
                    <a:pt x="3976" y="17018"/>
                  </a:cubicBezTo>
                  <a:cubicBezTo>
                    <a:pt x="3915" y="16933"/>
                    <a:pt x="3915" y="16933"/>
                    <a:pt x="3915" y="16933"/>
                  </a:cubicBezTo>
                  <a:lnTo>
                    <a:pt x="3795" y="17019"/>
                  </a:lnTo>
                  <a:close/>
                  <a:moveTo>
                    <a:pt x="3858" y="17086"/>
                  </a:moveTo>
                  <a:cubicBezTo>
                    <a:pt x="3813" y="17022"/>
                    <a:pt x="3813" y="17022"/>
                    <a:pt x="3813" y="17022"/>
                  </a:cubicBezTo>
                  <a:cubicBezTo>
                    <a:pt x="3912" y="16951"/>
                    <a:pt x="3912" y="16951"/>
                    <a:pt x="3912" y="16951"/>
                  </a:cubicBezTo>
                  <a:cubicBezTo>
                    <a:pt x="3958" y="17015"/>
                    <a:pt x="3958" y="17015"/>
                    <a:pt x="3958" y="17015"/>
                  </a:cubicBezTo>
                  <a:lnTo>
                    <a:pt x="3858" y="17086"/>
                  </a:lnTo>
                  <a:close/>
                  <a:moveTo>
                    <a:pt x="3858" y="17629"/>
                  </a:moveTo>
                  <a:cubicBezTo>
                    <a:pt x="3914" y="17708"/>
                    <a:pt x="3914" y="17708"/>
                    <a:pt x="3914" y="17708"/>
                  </a:cubicBezTo>
                  <a:cubicBezTo>
                    <a:pt x="3918" y="17714"/>
                    <a:pt x="3918" y="17714"/>
                    <a:pt x="3918" y="17714"/>
                  </a:cubicBezTo>
                  <a:cubicBezTo>
                    <a:pt x="4039" y="17628"/>
                    <a:pt x="4039" y="17628"/>
                    <a:pt x="4039" y="17628"/>
                  </a:cubicBezTo>
                  <a:cubicBezTo>
                    <a:pt x="3978" y="17543"/>
                    <a:pt x="3978" y="17543"/>
                    <a:pt x="3978" y="17543"/>
                  </a:cubicBezTo>
                  <a:lnTo>
                    <a:pt x="3858" y="17629"/>
                  </a:lnTo>
                  <a:close/>
                  <a:moveTo>
                    <a:pt x="3921" y="17696"/>
                  </a:moveTo>
                  <a:cubicBezTo>
                    <a:pt x="3876" y="17632"/>
                    <a:pt x="3876" y="17632"/>
                    <a:pt x="3876" y="17632"/>
                  </a:cubicBezTo>
                  <a:cubicBezTo>
                    <a:pt x="3975" y="17561"/>
                    <a:pt x="3975" y="17561"/>
                    <a:pt x="3975" y="17561"/>
                  </a:cubicBezTo>
                  <a:cubicBezTo>
                    <a:pt x="4021" y="17625"/>
                    <a:pt x="4021" y="17625"/>
                    <a:pt x="4021" y="17625"/>
                  </a:cubicBezTo>
                  <a:lnTo>
                    <a:pt x="3921" y="17696"/>
                  </a:lnTo>
                  <a:close/>
                  <a:moveTo>
                    <a:pt x="4352" y="18000"/>
                  </a:moveTo>
                  <a:cubicBezTo>
                    <a:pt x="4352" y="18002"/>
                    <a:pt x="4352" y="18002"/>
                    <a:pt x="4352" y="18002"/>
                  </a:cubicBezTo>
                  <a:cubicBezTo>
                    <a:pt x="4351" y="18009"/>
                    <a:pt x="4351" y="18009"/>
                    <a:pt x="4351" y="18009"/>
                  </a:cubicBezTo>
                  <a:cubicBezTo>
                    <a:pt x="4499" y="18020"/>
                    <a:pt x="4499" y="18020"/>
                    <a:pt x="4499" y="18020"/>
                  </a:cubicBezTo>
                  <a:cubicBezTo>
                    <a:pt x="4500" y="18000"/>
                    <a:pt x="4500" y="18000"/>
                    <a:pt x="4500" y="18000"/>
                  </a:cubicBezTo>
                  <a:cubicBezTo>
                    <a:pt x="4507" y="17916"/>
                    <a:pt x="4507" y="17916"/>
                    <a:pt x="4507" y="17916"/>
                  </a:cubicBezTo>
                  <a:cubicBezTo>
                    <a:pt x="4359" y="17905"/>
                    <a:pt x="4359" y="17905"/>
                    <a:pt x="4359" y="17905"/>
                  </a:cubicBezTo>
                  <a:lnTo>
                    <a:pt x="4352" y="18000"/>
                  </a:lnTo>
                  <a:close/>
                  <a:moveTo>
                    <a:pt x="4371" y="17919"/>
                  </a:moveTo>
                  <a:cubicBezTo>
                    <a:pt x="4493" y="17928"/>
                    <a:pt x="4493" y="17928"/>
                    <a:pt x="4493" y="17928"/>
                  </a:cubicBezTo>
                  <a:cubicBezTo>
                    <a:pt x="4487" y="18000"/>
                    <a:pt x="4487" y="18000"/>
                    <a:pt x="4487" y="18000"/>
                  </a:cubicBezTo>
                  <a:cubicBezTo>
                    <a:pt x="4487" y="18006"/>
                    <a:pt x="4487" y="18006"/>
                    <a:pt x="4487" y="18006"/>
                  </a:cubicBezTo>
                  <a:cubicBezTo>
                    <a:pt x="4409" y="18000"/>
                    <a:pt x="4409" y="18000"/>
                    <a:pt x="4409" y="18000"/>
                  </a:cubicBezTo>
                  <a:cubicBezTo>
                    <a:pt x="4365" y="17997"/>
                    <a:pt x="4365" y="17997"/>
                    <a:pt x="4365" y="17997"/>
                  </a:cubicBezTo>
                  <a:lnTo>
                    <a:pt x="4371" y="17919"/>
                  </a:lnTo>
                  <a:close/>
                  <a:moveTo>
                    <a:pt x="3865" y="15186"/>
                  </a:moveTo>
                  <a:cubicBezTo>
                    <a:pt x="3915" y="15270"/>
                    <a:pt x="3915" y="15270"/>
                    <a:pt x="3915" y="15270"/>
                  </a:cubicBezTo>
                  <a:cubicBezTo>
                    <a:pt x="3918" y="15276"/>
                    <a:pt x="3918" y="15276"/>
                    <a:pt x="3918" y="15276"/>
                  </a:cubicBezTo>
                  <a:cubicBezTo>
                    <a:pt x="4046" y="15202"/>
                    <a:pt x="4046" y="15202"/>
                    <a:pt x="4046" y="15202"/>
                  </a:cubicBezTo>
                  <a:cubicBezTo>
                    <a:pt x="3993" y="15112"/>
                    <a:pt x="3993" y="15112"/>
                    <a:pt x="3993" y="15112"/>
                  </a:cubicBezTo>
                  <a:lnTo>
                    <a:pt x="3865" y="15186"/>
                  </a:lnTo>
                  <a:close/>
                  <a:moveTo>
                    <a:pt x="3922" y="15258"/>
                  </a:moveTo>
                  <a:cubicBezTo>
                    <a:pt x="3883" y="15190"/>
                    <a:pt x="3883" y="15190"/>
                    <a:pt x="3883" y="15190"/>
                  </a:cubicBezTo>
                  <a:cubicBezTo>
                    <a:pt x="3989" y="15129"/>
                    <a:pt x="3989" y="15129"/>
                    <a:pt x="3989" y="15129"/>
                  </a:cubicBezTo>
                  <a:cubicBezTo>
                    <a:pt x="4028" y="15197"/>
                    <a:pt x="4028" y="15197"/>
                    <a:pt x="4028" y="15197"/>
                  </a:cubicBezTo>
                  <a:lnTo>
                    <a:pt x="3922" y="15258"/>
                  </a:lnTo>
                  <a:close/>
                  <a:moveTo>
                    <a:pt x="4409" y="15530"/>
                  </a:moveTo>
                  <a:cubicBezTo>
                    <a:pt x="4465" y="15610"/>
                    <a:pt x="4465" y="15610"/>
                    <a:pt x="4465" y="15610"/>
                  </a:cubicBezTo>
                  <a:cubicBezTo>
                    <a:pt x="4469" y="15615"/>
                    <a:pt x="4469" y="15615"/>
                    <a:pt x="4469" y="15615"/>
                  </a:cubicBezTo>
                  <a:cubicBezTo>
                    <a:pt x="4590" y="15530"/>
                    <a:pt x="4590" y="15530"/>
                    <a:pt x="4590" y="15530"/>
                  </a:cubicBezTo>
                  <a:cubicBezTo>
                    <a:pt x="4530" y="15445"/>
                    <a:pt x="4530" y="15445"/>
                    <a:pt x="4530" y="15445"/>
                  </a:cubicBezTo>
                  <a:lnTo>
                    <a:pt x="4409" y="15530"/>
                  </a:lnTo>
                  <a:close/>
                  <a:moveTo>
                    <a:pt x="4472" y="15597"/>
                  </a:moveTo>
                  <a:cubicBezTo>
                    <a:pt x="4427" y="15533"/>
                    <a:pt x="4427" y="15533"/>
                    <a:pt x="4427" y="15533"/>
                  </a:cubicBezTo>
                  <a:cubicBezTo>
                    <a:pt x="4527" y="15463"/>
                    <a:pt x="4527" y="15463"/>
                    <a:pt x="4527" y="15463"/>
                  </a:cubicBezTo>
                  <a:cubicBezTo>
                    <a:pt x="4572" y="15527"/>
                    <a:pt x="4572" y="15527"/>
                    <a:pt x="4572" y="15527"/>
                  </a:cubicBezTo>
                  <a:lnTo>
                    <a:pt x="4472" y="15597"/>
                  </a:lnTo>
                  <a:close/>
                  <a:moveTo>
                    <a:pt x="2212" y="14962"/>
                  </a:moveTo>
                  <a:cubicBezTo>
                    <a:pt x="2309" y="14850"/>
                    <a:pt x="2309" y="14850"/>
                    <a:pt x="2309" y="14850"/>
                  </a:cubicBezTo>
                  <a:cubicBezTo>
                    <a:pt x="2231" y="14782"/>
                    <a:pt x="2231" y="14782"/>
                    <a:pt x="2231" y="14782"/>
                  </a:cubicBezTo>
                  <a:cubicBezTo>
                    <a:pt x="2134" y="14894"/>
                    <a:pt x="2134" y="14894"/>
                    <a:pt x="2134" y="14894"/>
                  </a:cubicBezTo>
                  <a:cubicBezTo>
                    <a:pt x="2208" y="14958"/>
                    <a:pt x="2208" y="14958"/>
                    <a:pt x="2208" y="14958"/>
                  </a:cubicBezTo>
                  <a:lnTo>
                    <a:pt x="2212" y="14962"/>
                  </a:lnTo>
                  <a:close/>
                  <a:moveTo>
                    <a:pt x="2232" y="14800"/>
                  </a:moveTo>
                  <a:cubicBezTo>
                    <a:pt x="2291" y="14852"/>
                    <a:pt x="2291" y="14852"/>
                    <a:pt x="2291" y="14852"/>
                  </a:cubicBezTo>
                  <a:cubicBezTo>
                    <a:pt x="2211" y="14944"/>
                    <a:pt x="2211" y="14944"/>
                    <a:pt x="2211" y="14944"/>
                  </a:cubicBezTo>
                  <a:cubicBezTo>
                    <a:pt x="2152" y="14892"/>
                    <a:pt x="2152" y="14892"/>
                    <a:pt x="2152" y="14892"/>
                  </a:cubicBezTo>
                  <a:lnTo>
                    <a:pt x="2232" y="14800"/>
                  </a:lnTo>
                  <a:close/>
                  <a:moveTo>
                    <a:pt x="4369" y="15395"/>
                  </a:moveTo>
                  <a:cubicBezTo>
                    <a:pt x="4369" y="15401"/>
                    <a:pt x="4369" y="15401"/>
                    <a:pt x="4369" y="15401"/>
                  </a:cubicBezTo>
                  <a:cubicBezTo>
                    <a:pt x="4445" y="15401"/>
                    <a:pt x="4445" y="15401"/>
                    <a:pt x="4445" y="15401"/>
                  </a:cubicBezTo>
                  <a:cubicBezTo>
                    <a:pt x="4445" y="15310"/>
                    <a:pt x="4445" y="15310"/>
                    <a:pt x="4445" y="15310"/>
                  </a:cubicBezTo>
                  <a:cubicBezTo>
                    <a:pt x="4384" y="15310"/>
                    <a:pt x="4384" y="15310"/>
                    <a:pt x="4384" y="15310"/>
                  </a:cubicBezTo>
                  <a:cubicBezTo>
                    <a:pt x="4384" y="15294"/>
                    <a:pt x="4384" y="15294"/>
                    <a:pt x="4384" y="15294"/>
                  </a:cubicBezTo>
                  <a:cubicBezTo>
                    <a:pt x="4429" y="15294"/>
                    <a:pt x="4429" y="15294"/>
                    <a:pt x="4429" y="15294"/>
                  </a:cubicBezTo>
                  <a:cubicBezTo>
                    <a:pt x="4429" y="15203"/>
                    <a:pt x="4429" y="15203"/>
                    <a:pt x="4429" y="15203"/>
                  </a:cubicBezTo>
                  <a:cubicBezTo>
                    <a:pt x="4353" y="15203"/>
                    <a:pt x="4353" y="15203"/>
                    <a:pt x="4353" y="15203"/>
                  </a:cubicBezTo>
                  <a:cubicBezTo>
                    <a:pt x="4353" y="15270"/>
                    <a:pt x="4353" y="15270"/>
                    <a:pt x="4353" y="15270"/>
                  </a:cubicBezTo>
                  <a:cubicBezTo>
                    <a:pt x="4308" y="15270"/>
                    <a:pt x="4308" y="15270"/>
                    <a:pt x="4308" y="15270"/>
                  </a:cubicBezTo>
                  <a:cubicBezTo>
                    <a:pt x="4308" y="15355"/>
                    <a:pt x="4308" y="15355"/>
                    <a:pt x="4308" y="15355"/>
                  </a:cubicBezTo>
                  <a:cubicBezTo>
                    <a:pt x="4308" y="15362"/>
                    <a:pt x="4308" y="15362"/>
                    <a:pt x="4308" y="15362"/>
                  </a:cubicBezTo>
                  <a:cubicBezTo>
                    <a:pt x="4369" y="15362"/>
                    <a:pt x="4369" y="15362"/>
                    <a:pt x="4369" y="15362"/>
                  </a:cubicBezTo>
                  <a:lnTo>
                    <a:pt x="4369" y="15395"/>
                  </a:lnTo>
                  <a:close/>
                  <a:moveTo>
                    <a:pt x="4432" y="15323"/>
                  </a:moveTo>
                  <a:cubicBezTo>
                    <a:pt x="4432" y="15388"/>
                    <a:pt x="4432" y="15388"/>
                    <a:pt x="4432" y="15388"/>
                  </a:cubicBezTo>
                  <a:cubicBezTo>
                    <a:pt x="4382" y="15388"/>
                    <a:pt x="4382" y="15388"/>
                    <a:pt x="4382" y="15388"/>
                  </a:cubicBezTo>
                  <a:cubicBezTo>
                    <a:pt x="4382" y="15362"/>
                    <a:pt x="4382" y="15362"/>
                    <a:pt x="4382" y="15362"/>
                  </a:cubicBezTo>
                  <a:cubicBezTo>
                    <a:pt x="4384" y="15362"/>
                    <a:pt x="4384" y="15362"/>
                    <a:pt x="4384" y="15362"/>
                  </a:cubicBezTo>
                  <a:cubicBezTo>
                    <a:pt x="4384" y="15323"/>
                    <a:pt x="4384" y="15323"/>
                    <a:pt x="4384" y="15323"/>
                  </a:cubicBezTo>
                  <a:lnTo>
                    <a:pt x="4432" y="15323"/>
                  </a:lnTo>
                  <a:close/>
                  <a:moveTo>
                    <a:pt x="4366" y="15216"/>
                  </a:moveTo>
                  <a:cubicBezTo>
                    <a:pt x="4416" y="15216"/>
                    <a:pt x="4416" y="15216"/>
                    <a:pt x="4416" y="15216"/>
                  </a:cubicBezTo>
                  <a:cubicBezTo>
                    <a:pt x="4416" y="15281"/>
                    <a:pt x="4416" y="15281"/>
                    <a:pt x="4416" y="15281"/>
                  </a:cubicBezTo>
                  <a:cubicBezTo>
                    <a:pt x="4384" y="15281"/>
                    <a:pt x="4384" y="15281"/>
                    <a:pt x="4384" y="15281"/>
                  </a:cubicBezTo>
                  <a:cubicBezTo>
                    <a:pt x="4384" y="15270"/>
                    <a:pt x="4384" y="15270"/>
                    <a:pt x="4384" y="15270"/>
                  </a:cubicBezTo>
                  <a:cubicBezTo>
                    <a:pt x="4366" y="15270"/>
                    <a:pt x="4366" y="15270"/>
                    <a:pt x="4366" y="15270"/>
                  </a:cubicBezTo>
                  <a:lnTo>
                    <a:pt x="4366" y="15216"/>
                  </a:lnTo>
                  <a:close/>
                  <a:moveTo>
                    <a:pt x="4322" y="15348"/>
                  </a:moveTo>
                  <a:cubicBezTo>
                    <a:pt x="4322" y="15283"/>
                    <a:pt x="4322" y="15283"/>
                    <a:pt x="4322" y="15283"/>
                  </a:cubicBezTo>
                  <a:cubicBezTo>
                    <a:pt x="4353" y="15283"/>
                    <a:pt x="4353" y="15283"/>
                    <a:pt x="4353" y="15283"/>
                  </a:cubicBezTo>
                  <a:cubicBezTo>
                    <a:pt x="4353" y="15287"/>
                    <a:pt x="4353" y="15287"/>
                    <a:pt x="4353" y="15287"/>
                  </a:cubicBezTo>
                  <a:cubicBezTo>
                    <a:pt x="4353" y="15294"/>
                    <a:pt x="4353" y="15294"/>
                    <a:pt x="4353" y="15294"/>
                  </a:cubicBezTo>
                  <a:cubicBezTo>
                    <a:pt x="4371" y="15294"/>
                    <a:pt x="4371" y="15294"/>
                    <a:pt x="4371" y="15294"/>
                  </a:cubicBezTo>
                  <a:cubicBezTo>
                    <a:pt x="4371" y="15310"/>
                    <a:pt x="4371" y="15310"/>
                    <a:pt x="4371" y="15310"/>
                  </a:cubicBezTo>
                  <a:cubicBezTo>
                    <a:pt x="4369" y="15310"/>
                    <a:pt x="4369" y="15310"/>
                    <a:pt x="4369" y="15310"/>
                  </a:cubicBezTo>
                  <a:cubicBezTo>
                    <a:pt x="4369" y="15348"/>
                    <a:pt x="4369" y="15348"/>
                    <a:pt x="4369" y="15348"/>
                  </a:cubicBezTo>
                  <a:lnTo>
                    <a:pt x="4322" y="15348"/>
                  </a:lnTo>
                  <a:close/>
                  <a:moveTo>
                    <a:pt x="6238" y="14689"/>
                  </a:moveTo>
                  <a:cubicBezTo>
                    <a:pt x="6162" y="14689"/>
                    <a:pt x="6162" y="14689"/>
                    <a:pt x="6162" y="14689"/>
                  </a:cubicBezTo>
                  <a:cubicBezTo>
                    <a:pt x="6162" y="14773"/>
                    <a:pt x="6162" y="14773"/>
                    <a:pt x="6162" y="14773"/>
                  </a:cubicBezTo>
                  <a:cubicBezTo>
                    <a:pt x="6162" y="14780"/>
                    <a:pt x="6162" y="14780"/>
                    <a:pt x="6162" y="14780"/>
                  </a:cubicBezTo>
                  <a:cubicBezTo>
                    <a:pt x="6238" y="14780"/>
                    <a:pt x="6238" y="14780"/>
                    <a:pt x="6238" y="14780"/>
                  </a:cubicBezTo>
                  <a:lnTo>
                    <a:pt x="6238" y="14689"/>
                  </a:lnTo>
                  <a:close/>
                  <a:moveTo>
                    <a:pt x="6225" y="14767"/>
                  </a:moveTo>
                  <a:cubicBezTo>
                    <a:pt x="6175" y="14767"/>
                    <a:pt x="6175" y="14767"/>
                    <a:pt x="6175" y="14767"/>
                  </a:cubicBezTo>
                  <a:cubicBezTo>
                    <a:pt x="6175" y="14702"/>
                    <a:pt x="6175" y="14702"/>
                    <a:pt x="6175" y="14702"/>
                  </a:cubicBezTo>
                  <a:cubicBezTo>
                    <a:pt x="6225" y="14702"/>
                    <a:pt x="6225" y="14702"/>
                    <a:pt x="6225" y="14702"/>
                  </a:cubicBezTo>
                  <a:lnTo>
                    <a:pt x="6225" y="14767"/>
                  </a:lnTo>
                  <a:close/>
                  <a:moveTo>
                    <a:pt x="6475" y="14694"/>
                  </a:moveTo>
                  <a:cubicBezTo>
                    <a:pt x="6400" y="14694"/>
                    <a:pt x="6400" y="14694"/>
                    <a:pt x="6400" y="14694"/>
                  </a:cubicBezTo>
                  <a:cubicBezTo>
                    <a:pt x="6400" y="14779"/>
                    <a:pt x="6400" y="14779"/>
                    <a:pt x="6400" y="14779"/>
                  </a:cubicBezTo>
                  <a:cubicBezTo>
                    <a:pt x="6400" y="14785"/>
                    <a:pt x="6400" y="14785"/>
                    <a:pt x="6400" y="14785"/>
                  </a:cubicBezTo>
                  <a:cubicBezTo>
                    <a:pt x="6475" y="14785"/>
                    <a:pt x="6475" y="14785"/>
                    <a:pt x="6475" y="14785"/>
                  </a:cubicBezTo>
                  <a:lnTo>
                    <a:pt x="6475" y="14694"/>
                  </a:lnTo>
                  <a:close/>
                  <a:moveTo>
                    <a:pt x="6462" y="14772"/>
                  </a:moveTo>
                  <a:cubicBezTo>
                    <a:pt x="6413" y="14772"/>
                    <a:pt x="6413" y="14772"/>
                    <a:pt x="6413" y="14772"/>
                  </a:cubicBezTo>
                  <a:cubicBezTo>
                    <a:pt x="6413" y="14707"/>
                    <a:pt x="6413" y="14707"/>
                    <a:pt x="6413" y="14707"/>
                  </a:cubicBezTo>
                  <a:cubicBezTo>
                    <a:pt x="6462" y="14707"/>
                    <a:pt x="6462" y="14707"/>
                    <a:pt x="6462" y="14707"/>
                  </a:cubicBezTo>
                  <a:lnTo>
                    <a:pt x="6462" y="14772"/>
                  </a:lnTo>
                  <a:close/>
                  <a:moveTo>
                    <a:pt x="6601" y="13574"/>
                  </a:moveTo>
                  <a:cubicBezTo>
                    <a:pt x="6518" y="13576"/>
                    <a:pt x="6518" y="13576"/>
                    <a:pt x="6518" y="13576"/>
                  </a:cubicBezTo>
                  <a:cubicBezTo>
                    <a:pt x="6520" y="13757"/>
                    <a:pt x="6520" y="13757"/>
                    <a:pt x="6520" y="13757"/>
                  </a:cubicBezTo>
                  <a:cubicBezTo>
                    <a:pt x="6643" y="13758"/>
                    <a:pt x="6643" y="13758"/>
                    <a:pt x="6643" y="13758"/>
                  </a:cubicBezTo>
                  <a:cubicBezTo>
                    <a:pt x="6643" y="13660"/>
                    <a:pt x="6643" y="13660"/>
                    <a:pt x="6643" y="13660"/>
                  </a:cubicBezTo>
                  <a:cubicBezTo>
                    <a:pt x="6730" y="13659"/>
                    <a:pt x="6730" y="13659"/>
                    <a:pt x="6730" y="13659"/>
                  </a:cubicBezTo>
                  <a:cubicBezTo>
                    <a:pt x="6731" y="13489"/>
                    <a:pt x="6731" y="13489"/>
                    <a:pt x="6731" y="13489"/>
                  </a:cubicBezTo>
                  <a:cubicBezTo>
                    <a:pt x="6601" y="13490"/>
                    <a:pt x="6601" y="13490"/>
                    <a:pt x="6601" y="13490"/>
                  </a:cubicBezTo>
                  <a:lnTo>
                    <a:pt x="6601" y="13574"/>
                  </a:lnTo>
                  <a:close/>
                  <a:moveTo>
                    <a:pt x="6718" y="13502"/>
                  </a:moveTo>
                  <a:cubicBezTo>
                    <a:pt x="6717" y="13646"/>
                    <a:pt x="6717" y="13646"/>
                    <a:pt x="6717" y="13646"/>
                  </a:cubicBezTo>
                  <a:cubicBezTo>
                    <a:pt x="6637" y="13647"/>
                    <a:pt x="6637" y="13647"/>
                    <a:pt x="6637" y="13647"/>
                  </a:cubicBezTo>
                  <a:cubicBezTo>
                    <a:pt x="6630" y="13647"/>
                    <a:pt x="6630" y="13647"/>
                    <a:pt x="6630" y="13647"/>
                  </a:cubicBezTo>
                  <a:cubicBezTo>
                    <a:pt x="6630" y="13744"/>
                    <a:pt x="6630" y="13744"/>
                    <a:pt x="6630" y="13744"/>
                  </a:cubicBezTo>
                  <a:cubicBezTo>
                    <a:pt x="6533" y="13744"/>
                    <a:pt x="6533" y="13744"/>
                    <a:pt x="6533" y="13744"/>
                  </a:cubicBezTo>
                  <a:cubicBezTo>
                    <a:pt x="6531" y="13588"/>
                    <a:pt x="6531" y="13588"/>
                    <a:pt x="6531" y="13588"/>
                  </a:cubicBezTo>
                  <a:cubicBezTo>
                    <a:pt x="6615" y="13587"/>
                    <a:pt x="6615" y="13587"/>
                    <a:pt x="6615" y="13587"/>
                  </a:cubicBezTo>
                  <a:cubicBezTo>
                    <a:pt x="6614" y="13503"/>
                    <a:pt x="6614" y="13503"/>
                    <a:pt x="6614" y="13503"/>
                  </a:cubicBezTo>
                  <a:lnTo>
                    <a:pt x="6718" y="13502"/>
                  </a:lnTo>
                  <a:close/>
                  <a:moveTo>
                    <a:pt x="7083" y="13508"/>
                  </a:moveTo>
                  <a:cubicBezTo>
                    <a:pt x="7000" y="13509"/>
                    <a:pt x="7000" y="13509"/>
                    <a:pt x="7000" y="13509"/>
                  </a:cubicBezTo>
                  <a:cubicBezTo>
                    <a:pt x="7002" y="13691"/>
                    <a:pt x="7002" y="13691"/>
                    <a:pt x="7002" y="13691"/>
                  </a:cubicBezTo>
                  <a:cubicBezTo>
                    <a:pt x="7125" y="13691"/>
                    <a:pt x="7125" y="13691"/>
                    <a:pt x="7125" y="13691"/>
                  </a:cubicBezTo>
                  <a:cubicBezTo>
                    <a:pt x="7125" y="13594"/>
                    <a:pt x="7125" y="13594"/>
                    <a:pt x="7125" y="13594"/>
                  </a:cubicBezTo>
                  <a:cubicBezTo>
                    <a:pt x="7212" y="13593"/>
                    <a:pt x="7212" y="13593"/>
                    <a:pt x="7212" y="13593"/>
                  </a:cubicBezTo>
                  <a:cubicBezTo>
                    <a:pt x="7213" y="13422"/>
                    <a:pt x="7213" y="13422"/>
                    <a:pt x="7213" y="13422"/>
                  </a:cubicBezTo>
                  <a:cubicBezTo>
                    <a:pt x="7083" y="13423"/>
                    <a:pt x="7083" y="13423"/>
                    <a:pt x="7083" y="13423"/>
                  </a:cubicBezTo>
                  <a:lnTo>
                    <a:pt x="7083" y="13508"/>
                  </a:lnTo>
                  <a:close/>
                  <a:moveTo>
                    <a:pt x="7200" y="13435"/>
                  </a:moveTo>
                  <a:cubicBezTo>
                    <a:pt x="7199" y="13580"/>
                    <a:pt x="7199" y="13580"/>
                    <a:pt x="7199" y="13580"/>
                  </a:cubicBezTo>
                  <a:cubicBezTo>
                    <a:pt x="7119" y="13580"/>
                    <a:pt x="7119" y="13580"/>
                    <a:pt x="7119" y="13580"/>
                  </a:cubicBezTo>
                  <a:cubicBezTo>
                    <a:pt x="7112" y="13581"/>
                    <a:pt x="7112" y="13581"/>
                    <a:pt x="7112" y="13581"/>
                  </a:cubicBezTo>
                  <a:cubicBezTo>
                    <a:pt x="7112" y="13678"/>
                    <a:pt x="7112" y="13678"/>
                    <a:pt x="7112" y="13678"/>
                  </a:cubicBezTo>
                  <a:cubicBezTo>
                    <a:pt x="7015" y="13678"/>
                    <a:pt x="7015" y="13678"/>
                    <a:pt x="7015" y="13678"/>
                  </a:cubicBezTo>
                  <a:cubicBezTo>
                    <a:pt x="7013" y="13522"/>
                    <a:pt x="7013" y="13522"/>
                    <a:pt x="7013" y="13522"/>
                  </a:cubicBezTo>
                  <a:cubicBezTo>
                    <a:pt x="7097" y="13521"/>
                    <a:pt x="7097" y="13521"/>
                    <a:pt x="7097" y="13521"/>
                  </a:cubicBezTo>
                  <a:cubicBezTo>
                    <a:pt x="7096" y="13436"/>
                    <a:pt x="7096" y="13436"/>
                    <a:pt x="7096" y="13436"/>
                  </a:cubicBezTo>
                  <a:lnTo>
                    <a:pt x="7200" y="13435"/>
                  </a:lnTo>
                  <a:close/>
                  <a:moveTo>
                    <a:pt x="6930" y="12189"/>
                  </a:moveTo>
                  <a:cubicBezTo>
                    <a:pt x="6990" y="12107"/>
                    <a:pt x="6990" y="12107"/>
                    <a:pt x="6990" y="12107"/>
                  </a:cubicBezTo>
                  <a:cubicBezTo>
                    <a:pt x="6994" y="12102"/>
                    <a:pt x="6994" y="12102"/>
                    <a:pt x="6994" y="12102"/>
                  </a:cubicBezTo>
                  <a:cubicBezTo>
                    <a:pt x="6914" y="12043"/>
                    <a:pt x="6914" y="12043"/>
                    <a:pt x="6914" y="12043"/>
                  </a:cubicBezTo>
                  <a:cubicBezTo>
                    <a:pt x="6910" y="12048"/>
                    <a:pt x="6910" y="12048"/>
                    <a:pt x="6910" y="12048"/>
                  </a:cubicBezTo>
                  <a:cubicBezTo>
                    <a:pt x="6906" y="12054"/>
                    <a:pt x="6906" y="12054"/>
                    <a:pt x="6906" y="12054"/>
                  </a:cubicBezTo>
                  <a:cubicBezTo>
                    <a:pt x="6862" y="12022"/>
                    <a:pt x="6862" y="12022"/>
                    <a:pt x="6862" y="12022"/>
                  </a:cubicBezTo>
                  <a:cubicBezTo>
                    <a:pt x="6737" y="12192"/>
                    <a:pt x="6737" y="12192"/>
                    <a:pt x="6737" y="12192"/>
                  </a:cubicBezTo>
                  <a:cubicBezTo>
                    <a:pt x="6801" y="12238"/>
                    <a:pt x="6801" y="12238"/>
                    <a:pt x="6801" y="12238"/>
                  </a:cubicBezTo>
                  <a:cubicBezTo>
                    <a:pt x="6852" y="12168"/>
                    <a:pt x="6852" y="12168"/>
                    <a:pt x="6852" y="12168"/>
                  </a:cubicBezTo>
                  <a:cubicBezTo>
                    <a:pt x="6864" y="12178"/>
                    <a:pt x="6864" y="12178"/>
                    <a:pt x="6864" y="12178"/>
                  </a:cubicBezTo>
                  <a:cubicBezTo>
                    <a:pt x="6752" y="12331"/>
                    <a:pt x="6752" y="12331"/>
                    <a:pt x="6752" y="12331"/>
                  </a:cubicBezTo>
                  <a:cubicBezTo>
                    <a:pt x="6814" y="12376"/>
                    <a:pt x="6814" y="12376"/>
                    <a:pt x="6814" y="12376"/>
                  </a:cubicBezTo>
                  <a:cubicBezTo>
                    <a:pt x="6855" y="12319"/>
                    <a:pt x="6855" y="12319"/>
                    <a:pt x="6855" y="12319"/>
                  </a:cubicBezTo>
                  <a:cubicBezTo>
                    <a:pt x="6916" y="12363"/>
                    <a:pt x="6916" y="12363"/>
                    <a:pt x="6916" y="12363"/>
                  </a:cubicBezTo>
                  <a:cubicBezTo>
                    <a:pt x="7004" y="12243"/>
                    <a:pt x="7004" y="12243"/>
                    <a:pt x="7004" y="12243"/>
                  </a:cubicBezTo>
                  <a:lnTo>
                    <a:pt x="6930" y="12189"/>
                  </a:lnTo>
                  <a:close/>
                  <a:moveTo>
                    <a:pt x="6914" y="12345"/>
                  </a:moveTo>
                  <a:cubicBezTo>
                    <a:pt x="6852" y="12300"/>
                    <a:pt x="6852" y="12300"/>
                    <a:pt x="6852" y="12300"/>
                  </a:cubicBezTo>
                  <a:cubicBezTo>
                    <a:pt x="6811" y="12357"/>
                    <a:pt x="6811" y="12357"/>
                    <a:pt x="6811" y="12357"/>
                  </a:cubicBezTo>
                  <a:cubicBezTo>
                    <a:pt x="6771" y="12328"/>
                    <a:pt x="6771" y="12328"/>
                    <a:pt x="6771" y="12328"/>
                  </a:cubicBezTo>
                  <a:cubicBezTo>
                    <a:pt x="6883" y="12175"/>
                    <a:pt x="6883" y="12175"/>
                    <a:pt x="6883" y="12175"/>
                  </a:cubicBezTo>
                  <a:cubicBezTo>
                    <a:pt x="6849" y="12150"/>
                    <a:pt x="6849" y="12150"/>
                    <a:pt x="6849" y="12150"/>
                  </a:cubicBezTo>
                  <a:cubicBezTo>
                    <a:pt x="6798" y="12220"/>
                    <a:pt x="6798" y="12220"/>
                    <a:pt x="6798" y="12220"/>
                  </a:cubicBezTo>
                  <a:cubicBezTo>
                    <a:pt x="6756" y="12189"/>
                    <a:pt x="6756" y="12189"/>
                    <a:pt x="6756" y="12189"/>
                  </a:cubicBezTo>
                  <a:cubicBezTo>
                    <a:pt x="6865" y="12040"/>
                    <a:pt x="6865" y="12040"/>
                    <a:pt x="6865" y="12040"/>
                  </a:cubicBezTo>
                  <a:cubicBezTo>
                    <a:pt x="6909" y="12073"/>
                    <a:pt x="6909" y="12073"/>
                    <a:pt x="6909" y="12073"/>
                  </a:cubicBezTo>
                  <a:cubicBezTo>
                    <a:pt x="6913" y="12067"/>
                    <a:pt x="6913" y="12067"/>
                    <a:pt x="6913" y="12067"/>
                  </a:cubicBezTo>
                  <a:cubicBezTo>
                    <a:pt x="6917" y="12062"/>
                    <a:pt x="6917" y="12062"/>
                    <a:pt x="6917" y="12062"/>
                  </a:cubicBezTo>
                  <a:cubicBezTo>
                    <a:pt x="6976" y="12105"/>
                    <a:pt x="6976" y="12105"/>
                    <a:pt x="6976" y="12105"/>
                  </a:cubicBezTo>
                  <a:cubicBezTo>
                    <a:pt x="6912" y="12192"/>
                    <a:pt x="6912" y="12192"/>
                    <a:pt x="6912" y="12192"/>
                  </a:cubicBezTo>
                  <a:cubicBezTo>
                    <a:pt x="6985" y="12246"/>
                    <a:pt x="6985" y="12246"/>
                    <a:pt x="6985" y="12246"/>
                  </a:cubicBezTo>
                  <a:lnTo>
                    <a:pt x="6914" y="12345"/>
                  </a:lnTo>
                  <a:close/>
                  <a:moveTo>
                    <a:pt x="7523" y="11287"/>
                  </a:moveTo>
                  <a:cubicBezTo>
                    <a:pt x="7503" y="11363"/>
                    <a:pt x="7503" y="11363"/>
                    <a:pt x="7503" y="11363"/>
                  </a:cubicBezTo>
                  <a:cubicBezTo>
                    <a:pt x="7587" y="11385"/>
                    <a:pt x="7587" y="11385"/>
                    <a:pt x="7587" y="11385"/>
                  </a:cubicBezTo>
                  <a:cubicBezTo>
                    <a:pt x="7583" y="11400"/>
                    <a:pt x="7583" y="11400"/>
                    <a:pt x="7583" y="11400"/>
                  </a:cubicBezTo>
                  <a:cubicBezTo>
                    <a:pt x="7399" y="11352"/>
                    <a:pt x="7399" y="11352"/>
                    <a:pt x="7399" y="11352"/>
                  </a:cubicBezTo>
                  <a:cubicBezTo>
                    <a:pt x="7380" y="11426"/>
                    <a:pt x="7380" y="11426"/>
                    <a:pt x="7380" y="11426"/>
                  </a:cubicBezTo>
                  <a:cubicBezTo>
                    <a:pt x="7448" y="11444"/>
                    <a:pt x="7448" y="11444"/>
                    <a:pt x="7448" y="11444"/>
                  </a:cubicBezTo>
                  <a:cubicBezTo>
                    <a:pt x="7429" y="11517"/>
                    <a:pt x="7429" y="11517"/>
                    <a:pt x="7429" y="11517"/>
                  </a:cubicBezTo>
                  <a:cubicBezTo>
                    <a:pt x="7573" y="11555"/>
                    <a:pt x="7573" y="11555"/>
                    <a:pt x="7573" y="11555"/>
                  </a:cubicBezTo>
                  <a:cubicBezTo>
                    <a:pt x="7596" y="11466"/>
                    <a:pt x="7596" y="11466"/>
                    <a:pt x="7596" y="11466"/>
                  </a:cubicBezTo>
                  <a:cubicBezTo>
                    <a:pt x="7695" y="11492"/>
                    <a:pt x="7695" y="11492"/>
                    <a:pt x="7695" y="11492"/>
                  </a:cubicBezTo>
                  <a:cubicBezTo>
                    <a:pt x="7701" y="11493"/>
                    <a:pt x="7701" y="11493"/>
                    <a:pt x="7701" y="11493"/>
                  </a:cubicBezTo>
                  <a:cubicBezTo>
                    <a:pt x="7726" y="11397"/>
                    <a:pt x="7726" y="11397"/>
                    <a:pt x="7726" y="11397"/>
                  </a:cubicBezTo>
                  <a:cubicBezTo>
                    <a:pt x="7720" y="11395"/>
                    <a:pt x="7720" y="11395"/>
                    <a:pt x="7720" y="11395"/>
                  </a:cubicBezTo>
                  <a:cubicBezTo>
                    <a:pt x="7713" y="11394"/>
                    <a:pt x="7713" y="11394"/>
                    <a:pt x="7713" y="11394"/>
                  </a:cubicBezTo>
                  <a:cubicBezTo>
                    <a:pt x="7727" y="11341"/>
                    <a:pt x="7727" y="11341"/>
                    <a:pt x="7727" y="11341"/>
                  </a:cubicBezTo>
                  <a:lnTo>
                    <a:pt x="7523" y="11287"/>
                  </a:lnTo>
                  <a:close/>
                  <a:moveTo>
                    <a:pt x="7703" y="11405"/>
                  </a:moveTo>
                  <a:cubicBezTo>
                    <a:pt x="7710" y="11407"/>
                    <a:pt x="7710" y="11407"/>
                    <a:pt x="7710" y="11407"/>
                  </a:cubicBezTo>
                  <a:cubicBezTo>
                    <a:pt x="7692" y="11477"/>
                    <a:pt x="7692" y="11477"/>
                    <a:pt x="7692" y="11477"/>
                  </a:cubicBezTo>
                  <a:cubicBezTo>
                    <a:pt x="7587" y="11450"/>
                    <a:pt x="7587" y="11450"/>
                    <a:pt x="7587" y="11450"/>
                  </a:cubicBezTo>
                  <a:cubicBezTo>
                    <a:pt x="7564" y="11538"/>
                    <a:pt x="7564" y="11538"/>
                    <a:pt x="7564" y="11538"/>
                  </a:cubicBezTo>
                  <a:cubicBezTo>
                    <a:pt x="7446" y="11507"/>
                    <a:pt x="7446" y="11507"/>
                    <a:pt x="7446" y="11507"/>
                  </a:cubicBezTo>
                  <a:cubicBezTo>
                    <a:pt x="7465" y="11434"/>
                    <a:pt x="7465" y="11434"/>
                    <a:pt x="7465" y="11434"/>
                  </a:cubicBezTo>
                  <a:cubicBezTo>
                    <a:pt x="7396" y="11416"/>
                    <a:pt x="7396" y="11416"/>
                    <a:pt x="7396" y="11416"/>
                  </a:cubicBezTo>
                  <a:cubicBezTo>
                    <a:pt x="7409" y="11369"/>
                    <a:pt x="7409" y="11369"/>
                    <a:pt x="7409" y="11369"/>
                  </a:cubicBezTo>
                  <a:cubicBezTo>
                    <a:pt x="7592" y="11416"/>
                    <a:pt x="7592" y="11416"/>
                    <a:pt x="7592" y="11416"/>
                  </a:cubicBezTo>
                  <a:cubicBezTo>
                    <a:pt x="7603" y="11376"/>
                    <a:pt x="7603" y="11376"/>
                    <a:pt x="7603" y="11376"/>
                  </a:cubicBezTo>
                  <a:cubicBezTo>
                    <a:pt x="7519" y="11354"/>
                    <a:pt x="7519" y="11354"/>
                    <a:pt x="7519" y="11354"/>
                  </a:cubicBezTo>
                  <a:cubicBezTo>
                    <a:pt x="7532" y="11304"/>
                    <a:pt x="7532" y="11304"/>
                    <a:pt x="7532" y="11304"/>
                  </a:cubicBezTo>
                  <a:cubicBezTo>
                    <a:pt x="7711" y="11350"/>
                    <a:pt x="7711" y="11350"/>
                    <a:pt x="7711" y="11350"/>
                  </a:cubicBezTo>
                  <a:cubicBezTo>
                    <a:pt x="7697" y="11403"/>
                    <a:pt x="7697" y="11403"/>
                    <a:pt x="7697" y="11403"/>
                  </a:cubicBezTo>
                  <a:lnTo>
                    <a:pt x="7703" y="11405"/>
                  </a:lnTo>
                  <a:close/>
                  <a:moveTo>
                    <a:pt x="5432" y="9752"/>
                  </a:moveTo>
                  <a:cubicBezTo>
                    <a:pt x="5577" y="9754"/>
                    <a:pt x="5577" y="9754"/>
                    <a:pt x="5577" y="9754"/>
                  </a:cubicBezTo>
                  <a:cubicBezTo>
                    <a:pt x="5583" y="9755"/>
                    <a:pt x="5583" y="9755"/>
                    <a:pt x="5583" y="9755"/>
                  </a:cubicBezTo>
                  <a:cubicBezTo>
                    <a:pt x="5584" y="9683"/>
                    <a:pt x="5584" y="9683"/>
                    <a:pt x="5584" y="9683"/>
                  </a:cubicBezTo>
                  <a:cubicBezTo>
                    <a:pt x="5433" y="9681"/>
                    <a:pt x="5433" y="9681"/>
                    <a:pt x="5433" y="9681"/>
                  </a:cubicBezTo>
                  <a:lnTo>
                    <a:pt x="5432" y="9752"/>
                  </a:lnTo>
                  <a:close/>
                  <a:moveTo>
                    <a:pt x="5446" y="9693"/>
                  </a:moveTo>
                  <a:cubicBezTo>
                    <a:pt x="5571" y="9696"/>
                    <a:pt x="5571" y="9696"/>
                    <a:pt x="5571" y="9696"/>
                  </a:cubicBezTo>
                  <a:cubicBezTo>
                    <a:pt x="5570" y="9742"/>
                    <a:pt x="5570" y="9742"/>
                    <a:pt x="5570" y="9742"/>
                  </a:cubicBezTo>
                  <a:cubicBezTo>
                    <a:pt x="5445" y="9739"/>
                    <a:pt x="5445" y="9739"/>
                    <a:pt x="5445" y="9739"/>
                  </a:cubicBezTo>
                  <a:lnTo>
                    <a:pt x="5446" y="9693"/>
                  </a:lnTo>
                  <a:close/>
                  <a:moveTo>
                    <a:pt x="5435" y="9587"/>
                  </a:moveTo>
                  <a:cubicBezTo>
                    <a:pt x="5578" y="9612"/>
                    <a:pt x="5578" y="9612"/>
                    <a:pt x="5578" y="9612"/>
                  </a:cubicBezTo>
                  <a:cubicBezTo>
                    <a:pt x="5584" y="9613"/>
                    <a:pt x="5584" y="9613"/>
                    <a:pt x="5584" y="9613"/>
                  </a:cubicBezTo>
                  <a:cubicBezTo>
                    <a:pt x="5596" y="9543"/>
                    <a:pt x="5596" y="9543"/>
                    <a:pt x="5596" y="9543"/>
                  </a:cubicBezTo>
                  <a:cubicBezTo>
                    <a:pt x="5447" y="9517"/>
                    <a:pt x="5447" y="9517"/>
                    <a:pt x="5447" y="9517"/>
                  </a:cubicBezTo>
                  <a:lnTo>
                    <a:pt x="5435" y="9587"/>
                  </a:lnTo>
                  <a:close/>
                  <a:moveTo>
                    <a:pt x="5458" y="9531"/>
                  </a:moveTo>
                  <a:cubicBezTo>
                    <a:pt x="5581" y="9553"/>
                    <a:pt x="5581" y="9553"/>
                    <a:pt x="5581" y="9553"/>
                  </a:cubicBezTo>
                  <a:cubicBezTo>
                    <a:pt x="5574" y="9598"/>
                    <a:pt x="5574" y="9598"/>
                    <a:pt x="5574" y="9598"/>
                  </a:cubicBezTo>
                  <a:cubicBezTo>
                    <a:pt x="5450" y="9577"/>
                    <a:pt x="5450" y="9577"/>
                    <a:pt x="5450" y="9577"/>
                  </a:cubicBezTo>
                  <a:lnTo>
                    <a:pt x="5458" y="9531"/>
                  </a:lnTo>
                  <a:close/>
                  <a:moveTo>
                    <a:pt x="5580" y="9449"/>
                  </a:moveTo>
                  <a:cubicBezTo>
                    <a:pt x="5592" y="9379"/>
                    <a:pt x="5592" y="9379"/>
                    <a:pt x="5592" y="9379"/>
                  </a:cubicBezTo>
                  <a:cubicBezTo>
                    <a:pt x="5443" y="9353"/>
                    <a:pt x="5443" y="9353"/>
                    <a:pt x="5443" y="9353"/>
                  </a:cubicBezTo>
                  <a:cubicBezTo>
                    <a:pt x="5431" y="9423"/>
                    <a:pt x="5431" y="9423"/>
                    <a:pt x="5431" y="9423"/>
                  </a:cubicBezTo>
                  <a:cubicBezTo>
                    <a:pt x="5574" y="9448"/>
                    <a:pt x="5574" y="9448"/>
                    <a:pt x="5574" y="9448"/>
                  </a:cubicBezTo>
                  <a:lnTo>
                    <a:pt x="5580" y="9449"/>
                  </a:lnTo>
                  <a:close/>
                  <a:moveTo>
                    <a:pt x="5446" y="9413"/>
                  </a:moveTo>
                  <a:cubicBezTo>
                    <a:pt x="5454" y="9367"/>
                    <a:pt x="5454" y="9367"/>
                    <a:pt x="5454" y="9367"/>
                  </a:cubicBezTo>
                  <a:cubicBezTo>
                    <a:pt x="5578" y="9389"/>
                    <a:pt x="5578" y="9389"/>
                    <a:pt x="5578" y="9389"/>
                  </a:cubicBezTo>
                  <a:cubicBezTo>
                    <a:pt x="5570" y="9434"/>
                    <a:pt x="5570" y="9434"/>
                    <a:pt x="5570" y="9434"/>
                  </a:cubicBezTo>
                  <a:lnTo>
                    <a:pt x="5446" y="9413"/>
                  </a:lnTo>
                  <a:close/>
                  <a:moveTo>
                    <a:pt x="5545" y="9303"/>
                  </a:moveTo>
                  <a:cubicBezTo>
                    <a:pt x="5557" y="9233"/>
                    <a:pt x="5557" y="9233"/>
                    <a:pt x="5557" y="9233"/>
                  </a:cubicBezTo>
                  <a:cubicBezTo>
                    <a:pt x="5408" y="9207"/>
                    <a:pt x="5408" y="9207"/>
                    <a:pt x="5408" y="9207"/>
                  </a:cubicBezTo>
                  <a:cubicBezTo>
                    <a:pt x="5396" y="9277"/>
                    <a:pt x="5396" y="9277"/>
                    <a:pt x="5396" y="9277"/>
                  </a:cubicBezTo>
                  <a:cubicBezTo>
                    <a:pt x="5539" y="9302"/>
                    <a:pt x="5539" y="9302"/>
                    <a:pt x="5539" y="9302"/>
                  </a:cubicBezTo>
                  <a:lnTo>
                    <a:pt x="5545" y="9303"/>
                  </a:lnTo>
                  <a:close/>
                  <a:moveTo>
                    <a:pt x="5411" y="9267"/>
                  </a:moveTo>
                  <a:cubicBezTo>
                    <a:pt x="5419" y="9222"/>
                    <a:pt x="5419" y="9222"/>
                    <a:pt x="5419" y="9222"/>
                  </a:cubicBezTo>
                  <a:cubicBezTo>
                    <a:pt x="5542" y="9243"/>
                    <a:pt x="5542" y="9243"/>
                    <a:pt x="5542" y="9243"/>
                  </a:cubicBezTo>
                  <a:cubicBezTo>
                    <a:pt x="5535" y="9289"/>
                    <a:pt x="5535" y="9289"/>
                    <a:pt x="5535" y="9289"/>
                  </a:cubicBezTo>
                  <a:lnTo>
                    <a:pt x="5411" y="9267"/>
                  </a:lnTo>
                  <a:close/>
                  <a:moveTo>
                    <a:pt x="5472" y="9138"/>
                  </a:moveTo>
                  <a:cubicBezTo>
                    <a:pt x="5484" y="9068"/>
                    <a:pt x="5484" y="9068"/>
                    <a:pt x="5484" y="9068"/>
                  </a:cubicBezTo>
                  <a:cubicBezTo>
                    <a:pt x="5335" y="9042"/>
                    <a:pt x="5335" y="9042"/>
                    <a:pt x="5335" y="9042"/>
                  </a:cubicBezTo>
                  <a:cubicBezTo>
                    <a:pt x="5323" y="9112"/>
                    <a:pt x="5323" y="9112"/>
                    <a:pt x="5323" y="9112"/>
                  </a:cubicBezTo>
                  <a:cubicBezTo>
                    <a:pt x="5466" y="9137"/>
                    <a:pt x="5466" y="9137"/>
                    <a:pt x="5466" y="9137"/>
                  </a:cubicBezTo>
                  <a:lnTo>
                    <a:pt x="5472" y="9138"/>
                  </a:lnTo>
                  <a:close/>
                  <a:moveTo>
                    <a:pt x="5338" y="9102"/>
                  </a:moveTo>
                  <a:cubicBezTo>
                    <a:pt x="5346" y="9057"/>
                    <a:pt x="5346" y="9057"/>
                    <a:pt x="5346" y="9057"/>
                  </a:cubicBezTo>
                  <a:cubicBezTo>
                    <a:pt x="5470" y="9078"/>
                    <a:pt x="5470" y="9078"/>
                    <a:pt x="5470" y="9078"/>
                  </a:cubicBezTo>
                  <a:cubicBezTo>
                    <a:pt x="5462" y="9123"/>
                    <a:pt x="5462" y="9123"/>
                    <a:pt x="5462" y="9123"/>
                  </a:cubicBezTo>
                  <a:lnTo>
                    <a:pt x="5338" y="9102"/>
                  </a:lnTo>
                  <a:close/>
                  <a:moveTo>
                    <a:pt x="5575" y="9018"/>
                  </a:moveTo>
                  <a:cubicBezTo>
                    <a:pt x="5587" y="8948"/>
                    <a:pt x="5587" y="8948"/>
                    <a:pt x="5587" y="8948"/>
                  </a:cubicBezTo>
                  <a:cubicBezTo>
                    <a:pt x="5438" y="8922"/>
                    <a:pt x="5438" y="8922"/>
                    <a:pt x="5438" y="8922"/>
                  </a:cubicBezTo>
                  <a:cubicBezTo>
                    <a:pt x="5426" y="8992"/>
                    <a:pt x="5426" y="8992"/>
                    <a:pt x="5426" y="8992"/>
                  </a:cubicBezTo>
                  <a:cubicBezTo>
                    <a:pt x="5568" y="9017"/>
                    <a:pt x="5568" y="9017"/>
                    <a:pt x="5568" y="9017"/>
                  </a:cubicBezTo>
                  <a:lnTo>
                    <a:pt x="5575" y="9018"/>
                  </a:lnTo>
                  <a:close/>
                  <a:moveTo>
                    <a:pt x="5441" y="8982"/>
                  </a:moveTo>
                  <a:cubicBezTo>
                    <a:pt x="5449" y="8937"/>
                    <a:pt x="5449" y="8937"/>
                    <a:pt x="5449" y="8937"/>
                  </a:cubicBezTo>
                  <a:cubicBezTo>
                    <a:pt x="5572" y="8959"/>
                    <a:pt x="5572" y="8959"/>
                    <a:pt x="5572" y="8959"/>
                  </a:cubicBezTo>
                  <a:cubicBezTo>
                    <a:pt x="5564" y="9004"/>
                    <a:pt x="5564" y="9004"/>
                    <a:pt x="5564" y="9004"/>
                  </a:cubicBezTo>
                  <a:lnTo>
                    <a:pt x="5441" y="8982"/>
                  </a:lnTo>
                  <a:close/>
                  <a:moveTo>
                    <a:pt x="5483" y="8879"/>
                  </a:moveTo>
                  <a:cubicBezTo>
                    <a:pt x="5626" y="8904"/>
                    <a:pt x="5626" y="8904"/>
                    <a:pt x="5626" y="8904"/>
                  </a:cubicBezTo>
                  <a:cubicBezTo>
                    <a:pt x="5632" y="8905"/>
                    <a:pt x="5632" y="8905"/>
                    <a:pt x="5632" y="8905"/>
                  </a:cubicBezTo>
                  <a:cubicBezTo>
                    <a:pt x="5644" y="8835"/>
                    <a:pt x="5644" y="8835"/>
                    <a:pt x="5644" y="8835"/>
                  </a:cubicBezTo>
                  <a:cubicBezTo>
                    <a:pt x="5495" y="8809"/>
                    <a:pt x="5495" y="8809"/>
                    <a:pt x="5495" y="8809"/>
                  </a:cubicBezTo>
                  <a:lnTo>
                    <a:pt x="5483" y="8879"/>
                  </a:lnTo>
                  <a:close/>
                  <a:moveTo>
                    <a:pt x="5506" y="8824"/>
                  </a:moveTo>
                  <a:cubicBezTo>
                    <a:pt x="5630" y="8845"/>
                    <a:pt x="5630" y="8845"/>
                    <a:pt x="5630" y="8845"/>
                  </a:cubicBezTo>
                  <a:cubicBezTo>
                    <a:pt x="5622" y="8891"/>
                    <a:pt x="5622" y="8891"/>
                    <a:pt x="5622" y="8891"/>
                  </a:cubicBezTo>
                  <a:cubicBezTo>
                    <a:pt x="5498" y="8869"/>
                    <a:pt x="5498" y="8869"/>
                    <a:pt x="5498" y="8869"/>
                  </a:cubicBezTo>
                  <a:lnTo>
                    <a:pt x="5506" y="8824"/>
                  </a:lnTo>
                  <a:close/>
                  <a:moveTo>
                    <a:pt x="5635" y="8786"/>
                  </a:moveTo>
                  <a:cubicBezTo>
                    <a:pt x="5647" y="8715"/>
                    <a:pt x="5647" y="8715"/>
                    <a:pt x="5647" y="8715"/>
                  </a:cubicBezTo>
                  <a:cubicBezTo>
                    <a:pt x="5498" y="8689"/>
                    <a:pt x="5498" y="8689"/>
                    <a:pt x="5498" y="8689"/>
                  </a:cubicBezTo>
                  <a:cubicBezTo>
                    <a:pt x="5486" y="8760"/>
                    <a:pt x="5486" y="8760"/>
                    <a:pt x="5486" y="8760"/>
                  </a:cubicBezTo>
                  <a:cubicBezTo>
                    <a:pt x="5628" y="8785"/>
                    <a:pt x="5628" y="8785"/>
                    <a:pt x="5628" y="8785"/>
                  </a:cubicBezTo>
                  <a:lnTo>
                    <a:pt x="5635" y="8786"/>
                  </a:lnTo>
                  <a:close/>
                  <a:moveTo>
                    <a:pt x="5500" y="8749"/>
                  </a:moveTo>
                  <a:cubicBezTo>
                    <a:pt x="5508" y="8704"/>
                    <a:pt x="5508" y="8704"/>
                    <a:pt x="5508" y="8704"/>
                  </a:cubicBezTo>
                  <a:cubicBezTo>
                    <a:pt x="5632" y="8726"/>
                    <a:pt x="5632" y="8726"/>
                    <a:pt x="5632" y="8726"/>
                  </a:cubicBezTo>
                  <a:cubicBezTo>
                    <a:pt x="5624" y="8771"/>
                    <a:pt x="5624" y="8771"/>
                    <a:pt x="5624" y="8771"/>
                  </a:cubicBezTo>
                  <a:lnTo>
                    <a:pt x="5500" y="8749"/>
                  </a:lnTo>
                  <a:close/>
                  <a:moveTo>
                    <a:pt x="5474" y="8643"/>
                  </a:moveTo>
                  <a:cubicBezTo>
                    <a:pt x="5617" y="8667"/>
                    <a:pt x="5617" y="8667"/>
                    <a:pt x="5617" y="8667"/>
                  </a:cubicBezTo>
                  <a:cubicBezTo>
                    <a:pt x="5623" y="8669"/>
                    <a:pt x="5623" y="8669"/>
                    <a:pt x="5623" y="8669"/>
                  </a:cubicBezTo>
                  <a:cubicBezTo>
                    <a:pt x="5635" y="8598"/>
                    <a:pt x="5635" y="8598"/>
                    <a:pt x="5635" y="8598"/>
                  </a:cubicBezTo>
                  <a:cubicBezTo>
                    <a:pt x="5486" y="8572"/>
                    <a:pt x="5486" y="8572"/>
                    <a:pt x="5486" y="8572"/>
                  </a:cubicBezTo>
                  <a:lnTo>
                    <a:pt x="5474" y="8643"/>
                  </a:lnTo>
                  <a:close/>
                  <a:moveTo>
                    <a:pt x="5497" y="8587"/>
                  </a:moveTo>
                  <a:cubicBezTo>
                    <a:pt x="5620" y="8609"/>
                    <a:pt x="5620" y="8609"/>
                    <a:pt x="5620" y="8609"/>
                  </a:cubicBezTo>
                  <a:cubicBezTo>
                    <a:pt x="5613" y="8654"/>
                    <a:pt x="5613" y="8654"/>
                    <a:pt x="5613" y="8654"/>
                  </a:cubicBezTo>
                  <a:cubicBezTo>
                    <a:pt x="5489" y="8632"/>
                    <a:pt x="5489" y="8632"/>
                    <a:pt x="5489" y="8632"/>
                  </a:cubicBezTo>
                  <a:lnTo>
                    <a:pt x="5497" y="8587"/>
                  </a:lnTo>
                  <a:close/>
                  <a:moveTo>
                    <a:pt x="5602" y="8532"/>
                  </a:moveTo>
                  <a:cubicBezTo>
                    <a:pt x="5614" y="8462"/>
                    <a:pt x="5614" y="8462"/>
                    <a:pt x="5614" y="8462"/>
                  </a:cubicBezTo>
                  <a:cubicBezTo>
                    <a:pt x="5465" y="8436"/>
                    <a:pt x="5465" y="8436"/>
                    <a:pt x="5465" y="8436"/>
                  </a:cubicBezTo>
                  <a:cubicBezTo>
                    <a:pt x="5453" y="8506"/>
                    <a:pt x="5453" y="8506"/>
                    <a:pt x="5453" y="8506"/>
                  </a:cubicBezTo>
                  <a:cubicBezTo>
                    <a:pt x="5596" y="8531"/>
                    <a:pt x="5596" y="8531"/>
                    <a:pt x="5596" y="8531"/>
                  </a:cubicBezTo>
                  <a:lnTo>
                    <a:pt x="5602" y="8532"/>
                  </a:lnTo>
                  <a:close/>
                  <a:moveTo>
                    <a:pt x="5468" y="8496"/>
                  </a:moveTo>
                  <a:cubicBezTo>
                    <a:pt x="5476" y="8450"/>
                    <a:pt x="5476" y="8450"/>
                    <a:pt x="5476" y="8450"/>
                  </a:cubicBezTo>
                  <a:cubicBezTo>
                    <a:pt x="5600" y="8472"/>
                    <a:pt x="5600" y="8472"/>
                    <a:pt x="5600" y="8472"/>
                  </a:cubicBezTo>
                  <a:cubicBezTo>
                    <a:pt x="5592" y="8517"/>
                    <a:pt x="5592" y="8517"/>
                    <a:pt x="5592" y="8517"/>
                  </a:cubicBezTo>
                  <a:lnTo>
                    <a:pt x="5468" y="8496"/>
                  </a:lnTo>
                  <a:close/>
                  <a:moveTo>
                    <a:pt x="5579" y="8416"/>
                  </a:moveTo>
                  <a:cubicBezTo>
                    <a:pt x="5591" y="8346"/>
                    <a:pt x="5591" y="8346"/>
                    <a:pt x="5591" y="8346"/>
                  </a:cubicBezTo>
                  <a:cubicBezTo>
                    <a:pt x="5442" y="8320"/>
                    <a:pt x="5442" y="8320"/>
                    <a:pt x="5442" y="8320"/>
                  </a:cubicBezTo>
                  <a:cubicBezTo>
                    <a:pt x="5430" y="8390"/>
                    <a:pt x="5430" y="8390"/>
                    <a:pt x="5430" y="8390"/>
                  </a:cubicBezTo>
                  <a:cubicBezTo>
                    <a:pt x="5572" y="8415"/>
                    <a:pt x="5572" y="8415"/>
                    <a:pt x="5572" y="8415"/>
                  </a:cubicBezTo>
                  <a:lnTo>
                    <a:pt x="5579" y="8416"/>
                  </a:lnTo>
                  <a:close/>
                  <a:moveTo>
                    <a:pt x="5445" y="8380"/>
                  </a:moveTo>
                  <a:cubicBezTo>
                    <a:pt x="5452" y="8335"/>
                    <a:pt x="5452" y="8335"/>
                    <a:pt x="5452" y="8335"/>
                  </a:cubicBezTo>
                  <a:cubicBezTo>
                    <a:pt x="5576" y="8356"/>
                    <a:pt x="5576" y="8356"/>
                    <a:pt x="5576" y="8356"/>
                  </a:cubicBezTo>
                  <a:cubicBezTo>
                    <a:pt x="5568" y="8402"/>
                    <a:pt x="5568" y="8402"/>
                    <a:pt x="5568" y="8402"/>
                  </a:cubicBezTo>
                  <a:lnTo>
                    <a:pt x="5445" y="8380"/>
                  </a:lnTo>
                  <a:close/>
                  <a:moveTo>
                    <a:pt x="5280" y="8644"/>
                  </a:moveTo>
                  <a:cubicBezTo>
                    <a:pt x="5322" y="8783"/>
                    <a:pt x="5322" y="8783"/>
                    <a:pt x="5322" y="8783"/>
                  </a:cubicBezTo>
                  <a:cubicBezTo>
                    <a:pt x="5324" y="8789"/>
                    <a:pt x="5324" y="8789"/>
                    <a:pt x="5324" y="8789"/>
                  </a:cubicBezTo>
                  <a:cubicBezTo>
                    <a:pt x="5392" y="8768"/>
                    <a:pt x="5392" y="8768"/>
                    <a:pt x="5392" y="8768"/>
                  </a:cubicBezTo>
                  <a:cubicBezTo>
                    <a:pt x="5348" y="8624"/>
                    <a:pt x="5348" y="8624"/>
                    <a:pt x="5348" y="8624"/>
                  </a:cubicBezTo>
                  <a:lnTo>
                    <a:pt x="5280" y="8644"/>
                  </a:lnTo>
                  <a:close/>
                  <a:moveTo>
                    <a:pt x="5332" y="8773"/>
                  </a:moveTo>
                  <a:cubicBezTo>
                    <a:pt x="5296" y="8653"/>
                    <a:pt x="5296" y="8653"/>
                    <a:pt x="5296" y="8653"/>
                  </a:cubicBezTo>
                  <a:cubicBezTo>
                    <a:pt x="5340" y="8639"/>
                    <a:pt x="5340" y="8639"/>
                    <a:pt x="5340" y="8639"/>
                  </a:cubicBezTo>
                  <a:cubicBezTo>
                    <a:pt x="5376" y="8760"/>
                    <a:pt x="5376" y="8760"/>
                    <a:pt x="5376" y="8760"/>
                  </a:cubicBezTo>
                  <a:lnTo>
                    <a:pt x="5332" y="8773"/>
                  </a:lnTo>
                  <a:close/>
                  <a:moveTo>
                    <a:pt x="12199" y="1995"/>
                  </a:moveTo>
                  <a:cubicBezTo>
                    <a:pt x="12364" y="1823"/>
                    <a:pt x="12364" y="1823"/>
                    <a:pt x="12364" y="1823"/>
                  </a:cubicBezTo>
                  <a:cubicBezTo>
                    <a:pt x="12146" y="1605"/>
                    <a:pt x="12146" y="1605"/>
                    <a:pt x="12146" y="1605"/>
                  </a:cubicBezTo>
                  <a:cubicBezTo>
                    <a:pt x="11507" y="2266"/>
                    <a:pt x="11507" y="2266"/>
                    <a:pt x="11507" y="2266"/>
                  </a:cubicBezTo>
                  <a:cubicBezTo>
                    <a:pt x="11512" y="2271"/>
                    <a:pt x="11512" y="2271"/>
                    <a:pt x="11512" y="2271"/>
                  </a:cubicBezTo>
                  <a:cubicBezTo>
                    <a:pt x="11726" y="2482"/>
                    <a:pt x="11726" y="2482"/>
                    <a:pt x="11726" y="2482"/>
                  </a:cubicBezTo>
                  <a:cubicBezTo>
                    <a:pt x="11857" y="2346"/>
                    <a:pt x="11857" y="2346"/>
                    <a:pt x="11857" y="2346"/>
                  </a:cubicBezTo>
                  <a:cubicBezTo>
                    <a:pt x="11940" y="2426"/>
                    <a:pt x="11940" y="2426"/>
                    <a:pt x="11940" y="2426"/>
                  </a:cubicBezTo>
                  <a:cubicBezTo>
                    <a:pt x="12099" y="2264"/>
                    <a:pt x="12099" y="2264"/>
                    <a:pt x="12099" y="2264"/>
                  </a:cubicBezTo>
                  <a:cubicBezTo>
                    <a:pt x="12287" y="2447"/>
                    <a:pt x="12287" y="2447"/>
                    <a:pt x="12287" y="2447"/>
                  </a:cubicBezTo>
                  <a:cubicBezTo>
                    <a:pt x="12929" y="1785"/>
                    <a:pt x="12929" y="1785"/>
                    <a:pt x="12929" y="1785"/>
                  </a:cubicBezTo>
                  <a:cubicBezTo>
                    <a:pt x="12703" y="1569"/>
                    <a:pt x="12703" y="1569"/>
                    <a:pt x="12703" y="1569"/>
                  </a:cubicBezTo>
                  <a:cubicBezTo>
                    <a:pt x="12249" y="2041"/>
                    <a:pt x="12249" y="2041"/>
                    <a:pt x="12249" y="2041"/>
                  </a:cubicBezTo>
                  <a:lnTo>
                    <a:pt x="12199" y="1995"/>
                  </a:lnTo>
                  <a:close/>
                  <a:moveTo>
                    <a:pt x="12703" y="1590"/>
                  </a:moveTo>
                  <a:cubicBezTo>
                    <a:pt x="12908" y="1785"/>
                    <a:pt x="12908" y="1785"/>
                    <a:pt x="12908" y="1785"/>
                  </a:cubicBezTo>
                  <a:cubicBezTo>
                    <a:pt x="12286" y="2426"/>
                    <a:pt x="12286" y="2426"/>
                    <a:pt x="12286" y="2426"/>
                  </a:cubicBezTo>
                  <a:cubicBezTo>
                    <a:pt x="12099" y="2243"/>
                    <a:pt x="12099" y="2243"/>
                    <a:pt x="12099" y="2243"/>
                  </a:cubicBezTo>
                  <a:cubicBezTo>
                    <a:pt x="11939" y="2405"/>
                    <a:pt x="11939" y="2405"/>
                    <a:pt x="11939" y="2405"/>
                  </a:cubicBezTo>
                  <a:cubicBezTo>
                    <a:pt x="11857" y="2325"/>
                    <a:pt x="11857" y="2325"/>
                    <a:pt x="11857" y="2325"/>
                  </a:cubicBezTo>
                  <a:cubicBezTo>
                    <a:pt x="11726" y="2461"/>
                    <a:pt x="11726" y="2461"/>
                    <a:pt x="11726" y="2461"/>
                  </a:cubicBezTo>
                  <a:cubicBezTo>
                    <a:pt x="11527" y="2266"/>
                    <a:pt x="11527" y="2266"/>
                    <a:pt x="11527" y="2266"/>
                  </a:cubicBezTo>
                  <a:cubicBezTo>
                    <a:pt x="12146" y="1626"/>
                    <a:pt x="12146" y="1626"/>
                    <a:pt x="12146" y="1626"/>
                  </a:cubicBezTo>
                  <a:cubicBezTo>
                    <a:pt x="12343" y="1823"/>
                    <a:pt x="12343" y="1823"/>
                    <a:pt x="12343" y="1823"/>
                  </a:cubicBezTo>
                  <a:cubicBezTo>
                    <a:pt x="12178" y="1996"/>
                    <a:pt x="12178" y="1996"/>
                    <a:pt x="12178" y="1996"/>
                  </a:cubicBezTo>
                  <a:cubicBezTo>
                    <a:pt x="12249" y="2061"/>
                    <a:pt x="12249" y="2061"/>
                    <a:pt x="12249" y="2061"/>
                  </a:cubicBezTo>
                  <a:lnTo>
                    <a:pt x="12703" y="1590"/>
                  </a:lnTo>
                  <a:close/>
                  <a:moveTo>
                    <a:pt x="13642" y="11548"/>
                  </a:moveTo>
                  <a:cubicBezTo>
                    <a:pt x="13721" y="11639"/>
                    <a:pt x="13721" y="11639"/>
                    <a:pt x="13721" y="11639"/>
                  </a:cubicBezTo>
                  <a:cubicBezTo>
                    <a:pt x="13880" y="11494"/>
                    <a:pt x="13880" y="11494"/>
                    <a:pt x="13880" y="11494"/>
                  </a:cubicBezTo>
                  <a:cubicBezTo>
                    <a:pt x="13804" y="11406"/>
                    <a:pt x="13804" y="11406"/>
                    <a:pt x="13804" y="11406"/>
                  </a:cubicBezTo>
                  <a:cubicBezTo>
                    <a:pt x="14042" y="11191"/>
                    <a:pt x="14042" y="11191"/>
                    <a:pt x="14042" y="11191"/>
                  </a:cubicBezTo>
                  <a:cubicBezTo>
                    <a:pt x="14126" y="11289"/>
                    <a:pt x="14126" y="11289"/>
                    <a:pt x="14126" y="11289"/>
                  </a:cubicBezTo>
                  <a:cubicBezTo>
                    <a:pt x="14073" y="11341"/>
                    <a:pt x="14073" y="11341"/>
                    <a:pt x="14073" y="11341"/>
                  </a:cubicBezTo>
                  <a:cubicBezTo>
                    <a:pt x="14178" y="11459"/>
                    <a:pt x="14178" y="11459"/>
                    <a:pt x="14178" y="11459"/>
                  </a:cubicBezTo>
                  <a:cubicBezTo>
                    <a:pt x="13929" y="11685"/>
                    <a:pt x="13929" y="11685"/>
                    <a:pt x="13929" y="11685"/>
                  </a:cubicBezTo>
                  <a:cubicBezTo>
                    <a:pt x="13990" y="11755"/>
                    <a:pt x="13990" y="11755"/>
                    <a:pt x="13990" y="11755"/>
                  </a:cubicBezTo>
                  <a:cubicBezTo>
                    <a:pt x="14243" y="11533"/>
                    <a:pt x="14243" y="11533"/>
                    <a:pt x="14243" y="11533"/>
                  </a:cubicBezTo>
                  <a:cubicBezTo>
                    <a:pt x="14339" y="11644"/>
                    <a:pt x="14339" y="11644"/>
                    <a:pt x="14339" y="11644"/>
                  </a:cubicBezTo>
                  <a:cubicBezTo>
                    <a:pt x="14516" y="11487"/>
                    <a:pt x="14516" y="11487"/>
                    <a:pt x="14516" y="11487"/>
                  </a:cubicBezTo>
                  <a:cubicBezTo>
                    <a:pt x="14306" y="11249"/>
                    <a:pt x="14306" y="11249"/>
                    <a:pt x="14306" y="11249"/>
                  </a:cubicBezTo>
                  <a:cubicBezTo>
                    <a:pt x="14646" y="10947"/>
                    <a:pt x="14646" y="10947"/>
                    <a:pt x="14646" y="10947"/>
                  </a:cubicBezTo>
                  <a:cubicBezTo>
                    <a:pt x="14463" y="10744"/>
                    <a:pt x="14463" y="10744"/>
                    <a:pt x="14463" y="10744"/>
                  </a:cubicBezTo>
                  <a:cubicBezTo>
                    <a:pt x="14243" y="10938"/>
                    <a:pt x="14243" y="10938"/>
                    <a:pt x="14243" y="10938"/>
                  </a:cubicBezTo>
                  <a:cubicBezTo>
                    <a:pt x="14088" y="10760"/>
                    <a:pt x="14088" y="10760"/>
                    <a:pt x="14088" y="10760"/>
                  </a:cubicBezTo>
                  <a:cubicBezTo>
                    <a:pt x="14082" y="10765"/>
                    <a:pt x="14082" y="10765"/>
                    <a:pt x="14082" y="10765"/>
                  </a:cubicBezTo>
                  <a:cubicBezTo>
                    <a:pt x="13389" y="11381"/>
                    <a:pt x="13389" y="11381"/>
                    <a:pt x="13389" y="11381"/>
                  </a:cubicBezTo>
                  <a:cubicBezTo>
                    <a:pt x="13585" y="11599"/>
                    <a:pt x="13585" y="11599"/>
                    <a:pt x="13585" y="11599"/>
                  </a:cubicBezTo>
                  <a:lnTo>
                    <a:pt x="13642" y="11548"/>
                  </a:lnTo>
                  <a:close/>
                  <a:moveTo>
                    <a:pt x="14086" y="10781"/>
                  </a:moveTo>
                  <a:cubicBezTo>
                    <a:pt x="14242" y="10958"/>
                    <a:pt x="14242" y="10958"/>
                    <a:pt x="14242" y="10958"/>
                  </a:cubicBezTo>
                  <a:cubicBezTo>
                    <a:pt x="14462" y="10765"/>
                    <a:pt x="14462" y="10765"/>
                    <a:pt x="14462" y="10765"/>
                  </a:cubicBezTo>
                  <a:cubicBezTo>
                    <a:pt x="14625" y="10946"/>
                    <a:pt x="14625" y="10946"/>
                    <a:pt x="14625" y="10946"/>
                  </a:cubicBezTo>
                  <a:cubicBezTo>
                    <a:pt x="14285" y="11248"/>
                    <a:pt x="14285" y="11248"/>
                    <a:pt x="14285" y="11248"/>
                  </a:cubicBezTo>
                  <a:cubicBezTo>
                    <a:pt x="14495" y="11485"/>
                    <a:pt x="14495" y="11485"/>
                    <a:pt x="14495" y="11485"/>
                  </a:cubicBezTo>
                  <a:cubicBezTo>
                    <a:pt x="14340" y="11623"/>
                    <a:pt x="14340" y="11623"/>
                    <a:pt x="14340" y="11623"/>
                  </a:cubicBezTo>
                  <a:cubicBezTo>
                    <a:pt x="14244" y="11512"/>
                    <a:pt x="14244" y="11512"/>
                    <a:pt x="14244" y="11512"/>
                  </a:cubicBezTo>
                  <a:cubicBezTo>
                    <a:pt x="13992" y="11734"/>
                    <a:pt x="13992" y="11734"/>
                    <a:pt x="13992" y="11734"/>
                  </a:cubicBezTo>
                  <a:cubicBezTo>
                    <a:pt x="13949" y="11686"/>
                    <a:pt x="13949" y="11686"/>
                    <a:pt x="13949" y="11686"/>
                  </a:cubicBezTo>
                  <a:cubicBezTo>
                    <a:pt x="14198" y="11460"/>
                    <a:pt x="14198" y="11460"/>
                    <a:pt x="14198" y="11460"/>
                  </a:cubicBezTo>
                  <a:cubicBezTo>
                    <a:pt x="14094" y="11342"/>
                    <a:pt x="14094" y="11342"/>
                    <a:pt x="14094" y="11342"/>
                  </a:cubicBezTo>
                  <a:cubicBezTo>
                    <a:pt x="14146" y="11290"/>
                    <a:pt x="14146" y="11290"/>
                    <a:pt x="14146" y="11290"/>
                  </a:cubicBezTo>
                  <a:cubicBezTo>
                    <a:pt x="14044" y="11170"/>
                    <a:pt x="14044" y="11170"/>
                    <a:pt x="14044" y="11170"/>
                  </a:cubicBezTo>
                  <a:cubicBezTo>
                    <a:pt x="13783" y="11405"/>
                    <a:pt x="13783" y="11405"/>
                    <a:pt x="13783" y="11405"/>
                  </a:cubicBezTo>
                  <a:cubicBezTo>
                    <a:pt x="13859" y="11493"/>
                    <a:pt x="13859" y="11493"/>
                    <a:pt x="13859" y="11493"/>
                  </a:cubicBezTo>
                  <a:cubicBezTo>
                    <a:pt x="13722" y="11618"/>
                    <a:pt x="13722" y="11618"/>
                    <a:pt x="13722" y="11618"/>
                  </a:cubicBezTo>
                  <a:cubicBezTo>
                    <a:pt x="13643" y="11526"/>
                    <a:pt x="13643" y="11526"/>
                    <a:pt x="13643" y="11526"/>
                  </a:cubicBezTo>
                  <a:cubicBezTo>
                    <a:pt x="13586" y="11578"/>
                    <a:pt x="13586" y="11578"/>
                    <a:pt x="13586" y="11578"/>
                  </a:cubicBezTo>
                  <a:cubicBezTo>
                    <a:pt x="13410" y="11382"/>
                    <a:pt x="13410" y="11382"/>
                    <a:pt x="13410" y="11382"/>
                  </a:cubicBezTo>
                  <a:lnTo>
                    <a:pt x="14086" y="10781"/>
                  </a:lnTo>
                  <a:close/>
                  <a:moveTo>
                    <a:pt x="6102" y="3566"/>
                  </a:moveTo>
                  <a:cubicBezTo>
                    <a:pt x="6236" y="3597"/>
                    <a:pt x="6236" y="3597"/>
                    <a:pt x="6236" y="3597"/>
                  </a:cubicBezTo>
                  <a:cubicBezTo>
                    <a:pt x="6321" y="3240"/>
                    <a:pt x="6321" y="3240"/>
                    <a:pt x="6321" y="3240"/>
                  </a:cubicBezTo>
                  <a:cubicBezTo>
                    <a:pt x="6630" y="3311"/>
                    <a:pt x="6630" y="3311"/>
                    <a:pt x="6630" y="3311"/>
                  </a:cubicBezTo>
                  <a:cubicBezTo>
                    <a:pt x="6530" y="3742"/>
                    <a:pt x="6530" y="3742"/>
                    <a:pt x="6530" y="3742"/>
                  </a:cubicBezTo>
                  <a:cubicBezTo>
                    <a:pt x="6258" y="3680"/>
                    <a:pt x="6258" y="3680"/>
                    <a:pt x="6258" y="3680"/>
                  </a:cubicBezTo>
                  <a:cubicBezTo>
                    <a:pt x="6224" y="3830"/>
                    <a:pt x="6224" y="3830"/>
                    <a:pt x="6224" y="3830"/>
                  </a:cubicBezTo>
                  <a:cubicBezTo>
                    <a:pt x="6491" y="3894"/>
                    <a:pt x="6491" y="3894"/>
                    <a:pt x="6491" y="3894"/>
                  </a:cubicBezTo>
                  <a:cubicBezTo>
                    <a:pt x="6475" y="3976"/>
                    <a:pt x="6475" y="3976"/>
                    <a:pt x="6475" y="3976"/>
                  </a:cubicBezTo>
                  <a:cubicBezTo>
                    <a:pt x="6790" y="4051"/>
                    <a:pt x="6790" y="4051"/>
                    <a:pt x="6790" y="4051"/>
                  </a:cubicBezTo>
                  <a:cubicBezTo>
                    <a:pt x="6808" y="3957"/>
                    <a:pt x="6808" y="3957"/>
                    <a:pt x="6808" y="3957"/>
                  </a:cubicBezTo>
                  <a:cubicBezTo>
                    <a:pt x="6733" y="3938"/>
                    <a:pt x="6733" y="3938"/>
                    <a:pt x="6733" y="3938"/>
                  </a:cubicBezTo>
                  <a:cubicBezTo>
                    <a:pt x="6795" y="3659"/>
                    <a:pt x="6795" y="3659"/>
                    <a:pt x="6795" y="3659"/>
                  </a:cubicBezTo>
                  <a:cubicBezTo>
                    <a:pt x="6875" y="3679"/>
                    <a:pt x="6875" y="3679"/>
                    <a:pt x="6875" y="3679"/>
                  </a:cubicBezTo>
                  <a:cubicBezTo>
                    <a:pt x="6974" y="3262"/>
                    <a:pt x="6974" y="3262"/>
                    <a:pt x="6974" y="3262"/>
                  </a:cubicBezTo>
                  <a:cubicBezTo>
                    <a:pt x="6661" y="3188"/>
                    <a:pt x="6661" y="3188"/>
                    <a:pt x="6661" y="3188"/>
                  </a:cubicBezTo>
                  <a:cubicBezTo>
                    <a:pt x="6650" y="3241"/>
                    <a:pt x="6650" y="3241"/>
                    <a:pt x="6650" y="3241"/>
                  </a:cubicBezTo>
                  <a:cubicBezTo>
                    <a:pt x="6174" y="3128"/>
                    <a:pt x="6174" y="3128"/>
                    <a:pt x="6174" y="3128"/>
                  </a:cubicBezTo>
                  <a:cubicBezTo>
                    <a:pt x="6167" y="3126"/>
                    <a:pt x="6167" y="3126"/>
                    <a:pt x="6167" y="3126"/>
                  </a:cubicBezTo>
                  <a:cubicBezTo>
                    <a:pt x="6149" y="3198"/>
                    <a:pt x="6149" y="3198"/>
                    <a:pt x="6149" y="3198"/>
                  </a:cubicBezTo>
                  <a:cubicBezTo>
                    <a:pt x="6189" y="3208"/>
                    <a:pt x="6189" y="3208"/>
                    <a:pt x="6189" y="3208"/>
                  </a:cubicBezTo>
                  <a:cubicBezTo>
                    <a:pt x="6140" y="3406"/>
                    <a:pt x="6140" y="3406"/>
                    <a:pt x="6140" y="3406"/>
                  </a:cubicBezTo>
                  <a:cubicBezTo>
                    <a:pt x="5903" y="3351"/>
                    <a:pt x="5903" y="3351"/>
                    <a:pt x="5903" y="3351"/>
                  </a:cubicBezTo>
                  <a:cubicBezTo>
                    <a:pt x="5872" y="3474"/>
                    <a:pt x="5872" y="3474"/>
                    <a:pt x="5872" y="3474"/>
                  </a:cubicBezTo>
                  <a:cubicBezTo>
                    <a:pt x="6110" y="3530"/>
                    <a:pt x="6110" y="3530"/>
                    <a:pt x="6110" y="3530"/>
                  </a:cubicBezTo>
                  <a:lnTo>
                    <a:pt x="6102" y="3566"/>
                  </a:lnTo>
                  <a:close/>
                  <a:moveTo>
                    <a:pt x="5890" y="3463"/>
                  </a:moveTo>
                  <a:cubicBezTo>
                    <a:pt x="5914" y="3369"/>
                    <a:pt x="5914" y="3369"/>
                    <a:pt x="5914" y="3369"/>
                  </a:cubicBezTo>
                  <a:cubicBezTo>
                    <a:pt x="6151" y="3424"/>
                    <a:pt x="6151" y="3424"/>
                    <a:pt x="6151" y="3424"/>
                  </a:cubicBezTo>
                  <a:cubicBezTo>
                    <a:pt x="6206" y="3198"/>
                    <a:pt x="6206" y="3198"/>
                    <a:pt x="6206" y="3198"/>
                  </a:cubicBezTo>
                  <a:cubicBezTo>
                    <a:pt x="6167" y="3188"/>
                    <a:pt x="6167" y="3188"/>
                    <a:pt x="6167" y="3188"/>
                  </a:cubicBezTo>
                  <a:cubicBezTo>
                    <a:pt x="6178" y="3144"/>
                    <a:pt x="6178" y="3144"/>
                    <a:pt x="6178" y="3144"/>
                  </a:cubicBezTo>
                  <a:cubicBezTo>
                    <a:pt x="6661" y="3259"/>
                    <a:pt x="6661" y="3259"/>
                    <a:pt x="6661" y="3259"/>
                  </a:cubicBezTo>
                  <a:cubicBezTo>
                    <a:pt x="6672" y="3206"/>
                    <a:pt x="6672" y="3206"/>
                    <a:pt x="6672" y="3206"/>
                  </a:cubicBezTo>
                  <a:cubicBezTo>
                    <a:pt x="6956" y="3273"/>
                    <a:pt x="6956" y="3273"/>
                    <a:pt x="6956" y="3273"/>
                  </a:cubicBezTo>
                  <a:cubicBezTo>
                    <a:pt x="6864" y="3661"/>
                    <a:pt x="6864" y="3661"/>
                    <a:pt x="6864" y="3661"/>
                  </a:cubicBezTo>
                  <a:cubicBezTo>
                    <a:pt x="6784" y="3641"/>
                    <a:pt x="6784" y="3641"/>
                    <a:pt x="6784" y="3641"/>
                  </a:cubicBezTo>
                  <a:cubicBezTo>
                    <a:pt x="6715" y="3949"/>
                    <a:pt x="6715" y="3949"/>
                    <a:pt x="6715" y="3949"/>
                  </a:cubicBezTo>
                  <a:cubicBezTo>
                    <a:pt x="6791" y="3968"/>
                    <a:pt x="6791" y="3968"/>
                    <a:pt x="6791" y="3968"/>
                  </a:cubicBezTo>
                  <a:cubicBezTo>
                    <a:pt x="6779" y="4033"/>
                    <a:pt x="6779" y="4033"/>
                    <a:pt x="6779" y="4033"/>
                  </a:cubicBezTo>
                  <a:cubicBezTo>
                    <a:pt x="6492" y="3965"/>
                    <a:pt x="6492" y="3965"/>
                    <a:pt x="6492" y="3965"/>
                  </a:cubicBezTo>
                  <a:cubicBezTo>
                    <a:pt x="6508" y="3883"/>
                    <a:pt x="6508" y="3883"/>
                    <a:pt x="6508" y="3883"/>
                  </a:cubicBezTo>
                  <a:cubicBezTo>
                    <a:pt x="6242" y="3819"/>
                    <a:pt x="6242" y="3819"/>
                    <a:pt x="6242" y="3819"/>
                  </a:cubicBezTo>
                  <a:cubicBezTo>
                    <a:pt x="6269" y="3697"/>
                    <a:pt x="6269" y="3697"/>
                    <a:pt x="6269" y="3697"/>
                  </a:cubicBezTo>
                  <a:cubicBezTo>
                    <a:pt x="6541" y="3759"/>
                    <a:pt x="6541" y="3759"/>
                    <a:pt x="6541" y="3759"/>
                  </a:cubicBezTo>
                  <a:cubicBezTo>
                    <a:pt x="6648" y="3300"/>
                    <a:pt x="6648" y="3300"/>
                    <a:pt x="6648" y="3300"/>
                  </a:cubicBezTo>
                  <a:cubicBezTo>
                    <a:pt x="6310" y="3223"/>
                    <a:pt x="6310" y="3223"/>
                    <a:pt x="6310" y="3223"/>
                  </a:cubicBezTo>
                  <a:cubicBezTo>
                    <a:pt x="6225" y="3579"/>
                    <a:pt x="6225" y="3579"/>
                    <a:pt x="6225" y="3579"/>
                  </a:cubicBezTo>
                  <a:cubicBezTo>
                    <a:pt x="6120" y="3555"/>
                    <a:pt x="6120" y="3555"/>
                    <a:pt x="6120" y="3555"/>
                  </a:cubicBezTo>
                  <a:cubicBezTo>
                    <a:pt x="6128" y="3519"/>
                    <a:pt x="6128" y="3519"/>
                    <a:pt x="6128" y="3519"/>
                  </a:cubicBezTo>
                  <a:lnTo>
                    <a:pt x="5890" y="3463"/>
                  </a:lnTo>
                  <a:close/>
                  <a:moveTo>
                    <a:pt x="6539" y="3144"/>
                  </a:moveTo>
                  <a:cubicBezTo>
                    <a:pt x="6580" y="2969"/>
                    <a:pt x="6580" y="2969"/>
                    <a:pt x="6580" y="2969"/>
                  </a:cubicBezTo>
                  <a:cubicBezTo>
                    <a:pt x="6103" y="2856"/>
                    <a:pt x="6103" y="2856"/>
                    <a:pt x="6103" y="2856"/>
                  </a:cubicBezTo>
                  <a:cubicBezTo>
                    <a:pt x="6061" y="3031"/>
                    <a:pt x="6061" y="3031"/>
                    <a:pt x="6061" y="3031"/>
                  </a:cubicBezTo>
                  <a:cubicBezTo>
                    <a:pt x="6532" y="3143"/>
                    <a:pt x="6532" y="3143"/>
                    <a:pt x="6532" y="3143"/>
                  </a:cubicBezTo>
                  <a:lnTo>
                    <a:pt x="6539" y="3144"/>
                  </a:lnTo>
                  <a:close/>
                  <a:moveTo>
                    <a:pt x="6079" y="3020"/>
                  </a:moveTo>
                  <a:cubicBezTo>
                    <a:pt x="6114" y="2874"/>
                    <a:pt x="6114" y="2874"/>
                    <a:pt x="6114" y="2874"/>
                  </a:cubicBezTo>
                  <a:cubicBezTo>
                    <a:pt x="6563" y="2980"/>
                    <a:pt x="6563" y="2980"/>
                    <a:pt x="6563" y="2980"/>
                  </a:cubicBezTo>
                  <a:cubicBezTo>
                    <a:pt x="6528" y="3127"/>
                    <a:pt x="6528" y="3127"/>
                    <a:pt x="6528" y="3127"/>
                  </a:cubicBezTo>
                  <a:lnTo>
                    <a:pt x="6079" y="3020"/>
                  </a:lnTo>
                  <a:close/>
                  <a:moveTo>
                    <a:pt x="6374" y="3358"/>
                  </a:moveTo>
                  <a:cubicBezTo>
                    <a:pt x="6319" y="3589"/>
                    <a:pt x="6319" y="3589"/>
                    <a:pt x="6319" y="3589"/>
                  </a:cubicBezTo>
                  <a:cubicBezTo>
                    <a:pt x="6317" y="3596"/>
                    <a:pt x="6317" y="3596"/>
                    <a:pt x="6317" y="3596"/>
                  </a:cubicBezTo>
                  <a:cubicBezTo>
                    <a:pt x="6464" y="3631"/>
                    <a:pt x="6464" y="3631"/>
                    <a:pt x="6464" y="3631"/>
                  </a:cubicBezTo>
                  <a:cubicBezTo>
                    <a:pt x="6521" y="3392"/>
                    <a:pt x="6521" y="3392"/>
                    <a:pt x="6521" y="3392"/>
                  </a:cubicBezTo>
                  <a:lnTo>
                    <a:pt x="6374" y="3358"/>
                  </a:lnTo>
                  <a:close/>
                  <a:moveTo>
                    <a:pt x="6453" y="3613"/>
                  </a:moveTo>
                  <a:cubicBezTo>
                    <a:pt x="6335" y="3585"/>
                    <a:pt x="6335" y="3585"/>
                    <a:pt x="6335" y="3585"/>
                  </a:cubicBezTo>
                  <a:cubicBezTo>
                    <a:pt x="6385" y="3375"/>
                    <a:pt x="6385" y="3375"/>
                    <a:pt x="6385" y="3375"/>
                  </a:cubicBezTo>
                  <a:cubicBezTo>
                    <a:pt x="6503" y="3403"/>
                    <a:pt x="6503" y="3403"/>
                    <a:pt x="6503" y="3403"/>
                  </a:cubicBezTo>
                  <a:lnTo>
                    <a:pt x="6453" y="3613"/>
                  </a:lnTo>
                  <a:close/>
                  <a:moveTo>
                    <a:pt x="10353" y="11604"/>
                  </a:moveTo>
                  <a:cubicBezTo>
                    <a:pt x="10396" y="11748"/>
                    <a:pt x="10396" y="11748"/>
                    <a:pt x="10396" y="11748"/>
                  </a:cubicBezTo>
                  <a:cubicBezTo>
                    <a:pt x="10043" y="11859"/>
                    <a:pt x="10043" y="11859"/>
                    <a:pt x="10043" y="11859"/>
                  </a:cubicBezTo>
                  <a:cubicBezTo>
                    <a:pt x="10074" y="11957"/>
                    <a:pt x="10074" y="11957"/>
                    <a:pt x="10074" y="11957"/>
                  </a:cubicBezTo>
                  <a:cubicBezTo>
                    <a:pt x="10146" y="11937"/>
                    <a:pt x="10146" y="11937"/>
                    <a:pt x="10146" y="11937"/>
                  </a:cubicBezTo>
                  <a:cubicBezTo>
                    <a:pt x="10179" y="12041"/>
                    <a:pt x="10179" y="12041"/>
                    <a:pt x="10179" y="12041"/>
                  </a:cubicBezTo>
                  <a:cubicBezTo>
                    <a:pt x="10103" y="12066"/>
                    <a:pt x="10103" y="12066"/>
                    <a:pt x="10103" y="12066"/>
                  </a:cubicBezTo>
                  <a:cubicBezTo>
                    <a:pt x="10120" y="12118"/>
                    <a:pt x="10120" y="12118"/>
                    <a:pt x="10120" y="12118"/>
                  </a:cubicBezTo>
                  <a:cubicBezTo>
                    <a:pt x="10322" y="12051"/>
                    <a:pt x="10322" y="12051"/>
                    <a:pt x="10322" y="12051"/>
                  </a:cubicBezTo>
                  <a:cubicBezTo>
                    <a:pt x="10295" y="11961"/>
                    <a:pt x="10295" y="11961"/>
                    <a:pt x="10295" y="11961"/>
                  </a:cubicBezTo>
                  <a:cubicBezTo>
                    <a:pt x="10438" y="11918"/>
                    <a:pt x="10438" y="11918"/>
                    <a:pt x="10438" y="11918"/>
                  </a:cubicBezTo>
                  <a:cubicBezTo>
                    <a:pt x="10466" y="12008"/>
                    <a:pt x="10466" y="12008"/>
                    <a:pt x="10466" y="12008"/>
                  </a:cubicBezTo>
                  <a:cubicBezTo>
                    <a:pt x="10680" y="11941"/>
                    <a:pt x="10680" y="11941"/>
                    <a:pt x="10680" y="11941"/>
                  </a:cubicBezTo>
                  <a:cubicBezTo>
                    <a:pt x="10678" y="11934"/>
                    <a:pt x="10678" y="11934"/>
                    <a:pt x="10678" y="11934"/>
                  </a:cubicBezTo>
                  <a:cubicBezTo>
                    <a:pt x="10601" y="11689"/>
                    <a:pt x="10601" y="11689"/>
                    <a:pt x="10601" y="11689"/>
                  </a:cubicBezTo>
                  <a:cubicBezTo>
                    <a:pt x="10553" y="11701"/>
                    <a:pt x="10553" y="11701"/>
                    <a:pt x="10553" y="11701"/>
                  </a:cubicBezTo>
                  <a:cubicBezTo>
                    <a:pt x="10505" y="11555"/>
                    <a:pt x="10505" y="11555"/>
                    <a:pt x="10505" y="11555"/>
                  </a:cubicBezTo>
                  <a:lnTo>
                    <a:pt x="10353" y="11604"/>
                  </a:lnTo>
                  <a:close/>
                  <a:moveTo>
                    <a:pt x="10591" y="11706"/>
                  </a:moveTo>
                  <a:cubicBezTo>
                    <a:pt x="10661" y="11931"/>
                    <a:pt x="10661" y="11931"/>
                    <a:pt x="10661" y="11931"/>
                  </a:cubicBezTo>
                  <a:cubicBezTo>
                    <a:pt x="10476" y="11989"/>
                    <a:pt x="10476" y="11989"/>
                    <a:pt x="10476" y="11989"/>
                  </a:cubicBezTo>
                  <a:cubicBezTo>
                    <a:pt x="10447" y="11899"/>
                    <a:pt x="10447" y="11899"/>
                    <a:pt x="10447" y="11899"/>
                  </a:cubicBezTo>
                  <a:cubicBezTo>
                    <a:pt x="10276" y="11952"/>
                    <a:pt x="10276" y="11952"/>
                    <a:pt x="10276" y="11952"/>
                  </a:cubicBezTo>
                  <a:cubicBezTo>
                    <a:pt x="10303" y="12041"/>
                    <a:pt x="10303" y="12041"/>
                    <a:pt x="10303" y="12041"/>
                  </a:cubicBezTo>
                  <a:cubicBezTo>
                    <a:pt x="10129" y="12099"/>
                    <a:pt x="10129" y="12099"/>
                    <a:pt x="10129" y="12099"/>
                  </a:cubicBezTo>
                  <a:cubicBezTo>
                    <a:pt x="10122" y="12076"/>
                    <a:pt x="10122" y="12076"/>
                    <a:pt x="10122" y="12076"/>
                  </a:cubicBezTo>
                  <a:cubicBezTo>
                    <a:pt x="10197" y="12051"/>
                    <a:pt x="10197" y="12051"/>
                    <a:pt x="10197" y="12051"/>
                  </a:cubicBezTo>
                  <a:cubicBezTo>
                    <a:pt x="10156" y="11918"/>
                    <a:pt x="10156" y="11918"/>
                    <a:pt x="10156" y="11918"/>
                  </a:cubicBezTo>
                  <a:cubicBezTo>
                    <a:pt x="10084" y="11939"/>
                    <a:pt x="10084" y="11939"/>
                    <a:pt x="10084" y="11939"/>
                  </a:cubicBezTo>
                  <a:cubicBezTo>
                    <a:pt x="10061" y="11868"/>
                    <a:pt x="10061" y="11868"/>
                    <a:pt x="10061" y="11868"/>
                  </a:cubicBezTo>
                  <a:cubicBezTo>
                    <a:pt x="10415" y="11758"/>
                    <a:pt x="10415" y="11758"/>
                    <a:pt x="10415" y="11758"/>
                  </a:cubicBezTo>
                  <a:cubicBezTo>
                    <a:pt x="10372" y="11614"/>
                    <a:pt x="10372" y="11614"/>
                    <a:pt x="10372" y="11614"/>
                  </a:cubicBezTo>
                  <a:cubicBezTo>
                    <a:pt x="10496" y="11574"/>
                    <a:pt x="10496" y="11574"/>
                    <a:pt x="10496" y="11574"/>
                  </a:cubicBezTo>
                  <a:cubicBezTo>
                    <a:pt x="10543" y="11719"/>
                    <a:pt x="10543" y="11719"/>
                    <a:pt x="10543" y="11719"/>
                  </a:cubicBezTo>
                  <a:lnTo>
                    <a:pt x="10591" y="11706"/>
                  </a:lnTo>
                  <a:close/>
                  <a:moveTo>
                    <a:pt x="45" y="4529"/>
                  </a:moveTo>
                  <a:cubicBezTo>
                    <a:pt x="4" y="4481"/>
                    <a:pt x="4" y="4481"/>
                    <a:pt x="4" y="4481"/>
                  </a:cubicBezTo>
                  <a:cubicBezTo>
                    <a:pt x="4" y="4458"/>
                    <a:pt x="4" y="4458"/>
                    <a:pt x="4" y="4458"/>
                  </a:cubicBezTo>
                  <a:cubicBezTo>
                    <a:pt x="46" y="4508"/>
                    <a:pt x="46" y="4508"/>
                    <a:pt x="46" y="4508"/>
                  </a:cubicBezTo>
                  <a:cubicBezTo>
                    <a:pt x="160" y="4411"/>
                    <a:pt x="160" y="4411"/>
                    <a:pt x="160" y="4411"/>
                  </a:cubicBezTo>
                  <a:cubicBezTo>
                    <a:pt x="366" y="4650"/>
                    <a:pt x="366" y="4650"/>
                    <a:pt x="366" y="4650"/>
                  </a:cubicBezTo>
                  <a:cubicBezTo>
                    <a:pt x="885" y="4189"/>
                    <a:pt x="885" y="4189"/>
                    <a:pt x="885" y="4189"/>
                  </a:cubicBezTo>
                  <a:cubicBezTo>
                    <a:pt x="781" y="4068"/>
                    <a:pt x="781" y="4068"/>
                    <a:pt x="781" y="4068"/>
                  </a:cubicBezTo>
                  <a:cubicBezTo>
                    <a:pt x="723" y="4113"/>
                    <a:pt x="723" y="4113"/>
                    <a:pt x="723" y="4113"/>
                  </a:cubicBezTo>
                  <a:cubicBezTo>
                    <a:pt x="570" y="3927"/>
                    <a:pt x="570" y="3927"/>
                    <a:pt x="570" y="3927"/>
                  </a:cubicBezTo>
                  <a:cubicBezTo>
                    <a:pt x="626" y="3874"/>
                    <a:pt x="626" y="3874"/>
                    <a:pt x="626" y="3874"/>
                  </a:cubicBezTo>
                  <a:cubicBezTo>
                    <a:pt x="484" y="3708"/>
                    <a:pt x="484" y="3708"/>
                    <a:pt x="484" y="3708"/>
                  </a:cubicBezTo>
                  <a:cubicBezTo>
                    <a:pt x="248" y="3912"/>
                    <a:pt x="248" y="3912"/>
                    <a:pt x="248" y="3912"/>
                  </a:cubicBezTo>
                  <a:cubicBezTo>
                    <a:pt x="220" y="3879"/>
                    <a:pt x="220" y="3879"/>
                    <a:pt x="220" y="3879"/>
                  </a:cubicBezTo>
                  <a:cubicBezTo>
                    <a:pt x="4" y="4064"/>
                    <a:pt x="4" y="4064"/>
                    <a:pt x="4" y="4064"/>
                  </a:cubicBezTo>
                  <a:cubicBezTo>
                    <a:pt x="4" y="4045"/>
                    <a:pt x="4" y="4045"/>
                    <a:pt x="4" y="4045"/>
                  </a:cubicBezTo>
                  <a:cubicBezTo>
                    <a:pt x="222" y="3858"/>
                    <a:pt x="222" y="3858"/>
                    <a:pt x="222" y="3858"/>
                  </a:cubicBezTo>
                  <a:cubicBezTo>
                    <a:pt x="250" y="3891"/>
                    <a:pt x="250" y="3891"/>
                    <a:pt x="250" y="3891"/>
                  </a:cubicBezTo>
                  <a:cubicBezTo>
                    <a:pt x="479" y="3692"/>
                    <a:pt x="479" y="3692"/>
                    <a:pt x="479" y="3692"/>
                  </a:cubicBezTo>
                  <a:cubicBezTo>
                    <a:pt x="485" y="3687"/>
                    <a:pt x="485" y="3687"/>
                    <a:pt x="485" y="3687"/>
                  </a:cubicBezTo>
                  <a:cubicBezTo>
                    <a:pt x="646" y="3875"/>
                    <a:pt x="646" y="3875"/>
                    <a:pt x="646" y="3875"/>
                  </a:cubicBezTo>
                  <a:cubicBezTo>
                    <a:pt x="590" y="3928"/>
                    <a:pt x="590" y="3928"/>
                    <a:pt x="590" y="3928"/>
                  </a:cubicBezTo>
                  <a:cubicBezTo>
                    <a:pt x="726" y="4093"/>
                    <a:pt x="726" y="4093"/>
                    <a:pt x="726" y="4093"/>
                  </a:cubicBezTo>
                  <a:cubicBezTo>
                    <a:pt x="783" y="4047"/>
                    <a:pt x="783" y="4047"/>
                    <a:pt x="783" y="4047"/>
                  </a:cubicBezTo>
                  <a:cubicBezTo>
                    <a:pt x="906" y="4191"/>
                    <a:pt x="906" y="4191"/>
                    <a:pt x="906" y="4191"/>
                  </a:cubicBezTo>
                  <a:cubicBezTo>
                    <a:pt x="364" y="4671"/>
                    <a:pt x="364" y="4671"/>
                    <a:pt x="364" y="4671"/>
                  </a:cubicBezTo>
                  <a:cubicBezTo>
                    <a:pt x="159" y="4432"/>
                    <a:pt x="159" y="4432"/>
                    <a:pt x="159" y="4432"/>
                  </a:cubicBezTo>
                  <a:lnTo>
                    <a:pt x="45" y="4529"/>
                  </a:lnTo>
                  <a:close/>
                  <a:moveTo>
                    <a:pt x="82" y="5796"/>
                  </a:moveTo>
                  <a:cubicBezTo>
                    <a:pt x="4" y="5706"/>
                    <a:pt x="4" y="5706"/>
                    <a:pt x="4" y="5706"/>
                  </a:cubicBezTo>
                  <a:cubicBezTo>
                    <a:pt x="4" y="5683"/>
                    <a:pt x="4" y="5683"/>
                    <a:pt x="4" y="5683"/>
                  </a:cubicBezTo>
                  <a:cubicBezTo>
                    <a:pt x="83" y="5775"/>
                    <a:pt x="83" y="5775"/>
                    <a:pt x="83" y="5775"/>
                  </a:cubicBezTo>
                  <a:cubicBezTo>
                    <a:pt x="603" y="5314"/>
                    <a:pt x="603" y="5314"/>
                    <a:pt x="603" y="5314"/>
                  </a:cubicBezTo>
                  <a:cubicBezTo>
                    <a:pt x="499" y="5193"/>
                    <a:pt x="499" y="5193"/>
                    <a:pt x="499" y="5193"/>
                  </a:cubicBezTo>
                  <a:cubicBezTo>
                    <a:pt x="441" y="5238"/>
                    <a:pt x="441" y="5238"/>
                    <a:pt x="441" y="5238"/>
                  </a:cubicBezTo>
                  <a:cubicBezTo>
                    <a:pt x="288" y="5052"/>
                    <a:pt x="288" y="5052"/>
                    <a:pt x="288" y="5052"/>
                  </a:cubicBezTo>
                  <a:cubicBezTo>
                    <a:pt x="344" y="4999"/>
                    <a:pt x="344" y="4999"/>
                    <a:pt x="344" y="4999"/>
                  </a:cubicBezTo>
                  <a:cubicBezTo>
                    <a:pt x="201" y="4833"/>
                    <a:pt x="201" y="4833"/>
                    <a:pt x="201" y="4833"/>
                  </a:cubicBezTo>
                  <a:cubicBezTo>
                    <a:pt x="4" y="5004"/>
                    <a:pt x="4" y="5004"/>
                    <a:pt x="4" y="5004"/>
                  </a:cubicBezTo>
                  <a:cubicBezTo>
                    <a:pt x="4" y="4984"/>
                    <a:pt x="4" y="4984"/>
                    <a:pt x="4" y="4984"/>
                  </a:cubicBezTo>
                  <a:cubicBezTo>
                    <a:pt x="197" y="4817"/>
                    <a:pt x="197" y="4817"/>
                    <a:pt x="197" y="4817"/>
                  </a:cubicBezTo>
                  <a:cubicBezTo>
                    <a:pt x="203" y="4813"/>
                    <a:pt x="203" y="4813"/>
                    <a:pt x="203" y="4813"/>
                  </a:cubicBezTo>
                  <a:cubicBezTo>
                    <a:pt x="364" y="5000"/>
                    <a:pt x="364" y="5000"/>
                    <a:pt x="364" y="5000"/>
                  </a:cubicBezTo>
                  <a:cubicBezTo>
                    <a:pt x="308" y="5053"/>
                    <a:pt x="308" y="5053"/>
                    <a:pt x="308" y="5053"/>
                  </a:cubicBezTo>
                  <a:cubicBezTo>
                    <a:pt x="444" y="5218"/>
                    <a:pt x="444" y="5218"/>
                    <a:pt x="444" y="5218"/>
                  </a:cubicBezTo>
                  <a:cubicBezTo>
                    <a:pt x="501" y="5173"/>
                    <a:pt x="501" y="5173"/>
                    <a:pt x="501" y="5173"/>
                  </a:cubicBezTo>
                  <a:cubicBezTo>
                    <a:pt x="624" y="5316"/>
                    <a:pt x="624" y="5316"/>
                    <a:pt x="624" y="5316"/>
                  </a:cubicBezTo>
                  <a:lnTo>
                    <a:pt x="82" y="5796"/>
                  </a:lnTo>
                  <a:close/>
                  <a:moveTo>
                    <a:pt x="9661" y="7294"/>
                  </a:moveTo>
                  <a:cubicBezTo>
                    <a:pt x="9368" y="7374"/>
                    <a:pt x="9368" y="7374"/>
                    <a:pt x="9368" y="7374"/>
                  </a:cubicBezTo>
                  <a:cubicBezTo>
                    <a:pt x="9361" y="7376"/>
                    <a:pt x="9361" y="7376"/>
                    <a:pt x="9361" y="7376"/>
                  </a:cubicBezTo>
                  <a:cubicBezTo>
                    <a:pt x="9426" y="7614"/>
                    <a:pt x="9426" y="7614"/>
                    <a:pt x="9426" y="7614"/>
                  </a:cubicBezTo>
                  <a:cubicBezTo>
                    <a:pt x="9502" y="7597"/>
                    <a:pt x="9502" y="7597"/>
                    <a:pt x="9502" y="7597"/>
                  </a:cubicBezTo>
                  <a:cubicBezTo>
                    <a:pt x="9563" y="7802"/>
                    <a:pt x="9563" y="7802"/>
                    <a:pt x="9563" y="7802"/>
                  </a:cubicBezTo>
                  <a:cubicBezTo>
                    <a:pt x="9493" y="7824"/>
                    <a:pt x="9493" y="7824"/>
                    <a:pt x="9493" y="7824"/>
                  </a:cubicBezTo>
                  <a:cubicBezTo>
                    <a:pt x="9544" y="8006"/>
                    <a:pt x="9544" y="8006"/>
                    <a:pt x="9544" y="8006"/>
                  </a:cubicBezTo>
                  <a:cubicBezTo>
                    <a:pt x="10245" y="7824"/>
                    <a:pt x="10245" y="7824"/>
                    <a:pt x="10245" y="7824"/>
                  </a:cubicBezTo>
                  <a:cubicBezTo>
                    <a:pt x="10161" y="7520"/>
                    <a:pt x="10161" y="7520"/>
                    <a:pt x="10161" y="7520"/>
                  </a:cubicBezTo>
                  <a:cubicBezTo>
                    <a:pt x="10305" y="7479"/>
                    <a:pt x="10305" y="7479"/>
                    <a:pt x="10305" y="7479"/>
                  </a:cubicBezTo>
                  <a:cubicBezTo>
                    <a:pt x="10212" y="7157"/>
                    <a:pt x="10212" y="7157"/>
                    <a:pt x="10212" y="7157"/>
                  </a:cubicBezTo>
                  <a:cubicBezTo>
                    <a:pt x="10017" y="7210"/>
                    <a:pt x="10017" y="7210"/>
                    <a:pt x="10017" y="7210"/>
                  </a:cubicBezTo>
                  <a:cubicBezTo>
                    <a:pt x="10001" y="7156"/>
                    <a:pt x="10001" y="7156"/>
                    <a:pt x="10001" y="7156"/>
                  </a:cubicBezTo>
                  <a:cubicBezTo>
                    <a:pt x="9649" y="7252"/>
                    <a:pt x="9649" y="7252"/>
                    <a:pt x="9649" y="7252"/>
                  </a:cubicBezTo>
                  <a:lnTo>
                    <a:pt x="9661" y="7294"/>
                  </a:lnTo>
                  <a:close/>
                  <a:moveTo>
                    <a:pt x="9991" y="7174"/>
                  </a:moveTo>
                  <a:cubicBezTo>
                    <a:pt x="10007" y="7228"/>
                    <a:pt x="10007" y="7228"/>
                    <a:pt x="10007" y="7228"/>
                  </a:cubicBezTo>
                  <a:cubicBezTo>
                    <a:pt x="10202" y="7175"/>
                    <a:pt x="10202" y="7175"/>
                    <a:pt x="10202" y="7175"/>
                  </a:cubicBezTo>
                  <a:cubicBezTo>
                    <a:pt x="10286" y="7469"/>
                    <a:pt x="10286" y="7469"/>
                    <a:pt x="10286" y="7469"/>
                  </a:cubicBezTo>
                  <a:cubicBezTo>
                    <a:pt x="10142" y="7510"/>
                    <a:pt x="10142" y="7510"/>
                    <a:pt x="10142" y="7510"/>
                  </a:cubicBezTo>
                  <a:cubicBezTo>
                    <a:pt x="10227" y="7814"/>
                    <a:pt x="10227" y="7814"/>
                    <a:pt x="10227" y="7814"/>
                  </a:cubicBezTo>
                  <a:cubicBezTo>
                    <a:pt x="9554" y="7988"/>
                    <a:pt x="9554" y="7988"/>
                    <a:pt x="9554" y="7988"/>
                  </a:cubicBezTo>
                  <a:cubicBezTo>
                    <a:pt x="9511" y="7834"/>
                    <a:pt x="9511" y="7834"/>
                    <a:pt x="9511" y="7834"/>
                  </a:cubicBezTo>
                  <a:cubicBezTo>
                    <a:pt x="9581" y="7811"/>
                    <a:pt x="9581" y="7811"/>
                    <a:pt x="9581" y="7811"/>
                  </a:cubicBezTo>
                  <a:cubicBezTo>
                    <a:pt x="9512" y="7580"/>
                    <a:pt x="9512" y="7580"/>
                    <a:pt x="9512" y="7580"/>
                  </a:cubicBezTo>
                  <a:cubicBezTo>
                    <a:pt x="9437" y="7596"/>
                    <a:pt x="9437" y="7596"/>
                    <a:pt x="9437" y="7596"/>
                  </a:cubicBezTo>
                  <a:cubicBezTo>
                    <a:pt x="9379" y="7386"/>
                    <a:pt x="9379" y="7386"/>
                    <a:pt x="9379" y="7386"/>
                  </a:cubicBezTo>
                  <a:cubicBezTo>
                    <a:pt x="9679" y="7304"/>
                    <a:pt x="9679" y="7304"/>
                    <a:pt x="9679" y="7304"/>
                  </a:cubicBezTo>
                  <a:cubicBezTo>
                    <a:pt x="9667" y="7263"/>
                    <a:pt x="9667" y="7263"/>
                    <a:pt x="9667" y="7263"/>
                  </a:cubicBezTo>
                  <a:lnTo>
                    <a:pt x="9991" y="7174"/>
                  </a:lnTo>
                  <a:close/>
                  <a:moveTo>
                    <a:pt x="8579" y="9870"/>
                  </a:moveTo>
                  <a:cubicBezTo>
                    <a:pt x="8680" y="9679"/>
                    <a:pt x="8680" y="9679"/>
                    <a:pt x="8680" y="9679"/>
                  </a:cubicBezTo>
                  <a:cubicBezTo>
                    <a:pt x="8741" y="9715"/>
                    <a:pt x="8741" y="9715"/>
                    <a:pt x="8741" y="9715"/>
                  </a:cubicBezTo>
                  <a:cubicBezTo>
                    <a:pt x="8797" y="9620"/>
                    <a:pt x="8797" y="9620"/>
                    <a:pt x="8797" y="9620"/>
                  </a:cubicBezTo>
                  <a:cubicBezTo>
                    <a:pt x="8481" y="9437"/>
                    <a:pt x="8481" y="9437"/>
                    <a:pt x="8481" y="9437"/>
                  </a:cubicBezTo>
                  <a:cubicBezTo>
                    <a:pt x="8423" y="9525"/>
                    <a:pt x="8423" y="9525"/>
                    <a:pt x="8423" y="9525"/>
                  </a:cubicBezTo>
                  <a:cubicBezTo>
                    <a:pt x="8247" y="9429"/>
                    <a:pt x="8247" y="9429"/>
                    <a:pt x="8247" y="9429"/>
                  </a:cubicBezTo>
                  <a:cubicBezTo>
                    <a:pt x="8241" y="9425"/>
                    <a:pt x="8241" y="9425"/>
                    <a:pt x="8241" y="9425"/>
                  </a:cubicBezTo>
                  <a:cubicBezTo>
                    <a:pt x="8183" y="9515"/>
                    <a:pt x="8183" y="9515"/>
                    <a:pt x="8183" y="9515"/>
                  </a:cubicBezTo>
                  <a:cubicBezTo>
                    <a:pt x="8241" y="9547"/>
                    <a:pt x="8241" y="9547"/>
                    <a:pt x="8241" y="9547"/>
                  </a:cubicBezTo>
                  <a:cubicBezTo>
                    <a:pt x="8162" y="9690"/>
                    <a:pt x="8162" y="9690"/>
                    <a:pt x="8162" y="9690"/>
                  </a:cubicBezTo>
                  <a:cubicBezTo>
                    <a:pt x="8229" y="9728"/>
                    <a:pt x="8229" y="9728"/>
                    <a:pt x="8229" y="9728"/>
                  </a:cubicBezTo>
                  <a:cubicBezTo>
                    <a:pt x="8309" y="9591"/>
                    <a:pt x="8309" y="9591"/>
                    <a:pt x="8309" y="9591"/>
                  </a:cubicBezTo>
                  <a:cubicBezTo>
                    <a:pt x="8371" y="9626"/>
                    <a:pt x="8371" y="9626"/>
                    <a:pt x="8371" y="9626"/>
                  </a:cubicBezTo>
                  <a:cubicBezTo>
                    <a:pt x="8210" y="9900"/>
                    <a:pt x="8210" y="9900"/>
                    <a:pt x="8210" y="9900"/>
                  </a:cubicBezTo>
                  <a:cubicBezTo>
                    <a:pt x="8288" y="9947"/>
                    <a:pt x="8288" y="9947"/>
                    <a:pt x="8288" y="9947"/>
                  </a:cubicBezTo>
                  <a:cubicBezTo>
                    <a:pt x="8422" y="9714"/>
                    <a:pt x="8422" y="9714"/>
                    <a:pt x="8422" y="9714"/>
                  </a:cubicBezTo>
                  <a:cubicBezTo>
                    <a:pt x="8545" y="9786"/>
                    <a:pt x="8545" y="9786"/>
                    <a:pt x="8545" y="9786"/>
                  </a:cubicBezTo>
                  <a:cubicBezTo>
                    <a:pt x="8411" y="10019"/>
                    <a:pt x="8411" y="10019"/>
                    <a:pt x="8411" y="10019"/>
                  </a:cubicBezTo>
                  <a:cubicBezTo>
                    <a:pt x="8531" y="10086"/>
                    <a:pt x="8531" y="10086"/>
                    <a:pt x="8531" y="10086"/>
                  </a:cubicBezTo>
                  <a:cubicBezTo>
                    <a:pt x="8633" y="9905"/>
                    <a:pt x="8633" y="9905"/>
                    <a:pt x="8633" y="9905"/>
                  </a:cubicBezTo>
                  <a:lnTo>
                    <a:pt x="8579" y="9870"/>
                  </a:lnTo>
                  <a:close/>
                  <a:moveTo>
                    <a:pt x="8525" y="10066"/>
                  </a:moveTo>
                  <a:cubicBezTo>
                    <a:pt x="8431" y="10014"/>
                    <a:pt x="8431" y="10014"/>
                    <a:pt x="8431" y="10014"/>
                  </a:cubicBezTo>
                  <a:cubicBezTo>
                    <a:pt x="8565" y="9780"/>
                    <a:pt x="8565" y="9780"/>
                    <a:pt x="8565" y="9780"/>
                  </a:cubicBezTo>
                  <a:cubicBezTo>
                    <a:pt x="8417" y="9694"/>
                    <a:pt x="8417" y="9694"/>
                    <a:pt x="8417" y="9694"/>
                  </a:cubicBezTo>
                  <a:cubicBezTo>
                    <a:pt x="8282" y="9927"/>
                    <a:pt x="8282" y="9927"/>
                    <a:pt x="8282" y="9927"/>
                  </a:cubicBezTo>
                  <a:cubicBezTo>
                    <a:pt x="8230" y="9895"/>
                    <a:pt x="8230" y="9895"/>
                    <a:pt x="8230" y="9895"/>
                  </a:cubicBezTo>
                  <a:cubicBezTo>
                    <a:pt x="8391" y="9620"/>
                    <a:pt x="8391" y="9620"/>
                    <a:pt x="8391" y="9620"/>
                  </a:cubicBezTo>
                  <a:cubicBezTo>
                    <a:pt x="8304" y="9571"/>
                    <a:pt x="8304" y="9571"/>
                    <a:pt x="8304" y="9571"/>
                  </a:cubicBezTo>
                  <a:cubicBezTo>
                    <a:pt x="8223" y="9708"/>
                    <a:pt x="8223" y="9708"/>
                    <a:pt x="8223" y="9708"/>
                  </a:cubicBezTo>
                  <a:cubicBezTo>
                    <a:pt x="8182" y="9685"/>
                    <a:pt x="8182" y="9685"/>
                    <a:pt x="8182" y="9685"/>
                  </a:cubicBezTo>
                  <a:cubicBezTo>
                    <a:pt x="8261" y="9541"/>
                    <a:pt x="8261" y="9541"/>
                    <a:pt x="8261" y="9541"/>
                  </a:cubicBezTo>
                  <a:cubicBezTo>
                    <a:pt x="8204" y="9510"/>
                    <a:pt x="8204" y="9510"/>
                    <a:pt x="8204" y="9510"/>
                  </a:cubicBezTo>
                  <a:cubicBezTo>
                    <a:pt x="8246" y="9445"/>
                    <a:pt x="8246" y="9445"/>
                    <a:pt x="8246" y="9445"/>
                  </a:cubicBezTo>
                  <a:cubicBezTo>
                    <a:pt x="8428" y="9544"/>
                    <a:pt x="8428" y="9544"/>
                    <a:pt x="8428" y="9544"/>
                  </a:cubicBezTo>
                  <a:cubicBezTo>
                    <a:pt x="8486" y="9456"/>
                    <a:pt x="8486" y="9456"/>
                    <a:pt x="8486" y="9456"/>
                  </a:cubicBezTo>
                  <a:cubicBezTo>
                    <a:pt x="8777" y="9626"/>
                    <a:pt x="8777" y="9626"/>
                    <a:pt x="8777" y="9626"/>
                  </a:cubicBezTo>
                  <a:cubicBezTo>
                    <a:pt x="8736" y="9695"/>
                    <a:pt x="8736" y="9695"/>
                    <a:pt x="8736" y="9695"/>
                  </a:cubicBezTo>
                  <a:cubicBezTo>
                    <a:pt x="8674" y="9659"/>
                    <a:pt x="8674" y="9659"/>
                    <a:pt x="8674" y="9659"/>
                  </a:cubicBezTo>
                  <a:cubicBezTo>
                    <a:pt x="8559" y="9875"/>
                    <a:pt x="8559" y="9875"/>
                    <a:pt x="8559" y="9875"/>
                  </a:cubicBezTo>
                  <a:cubicBezTo>
                    <a:pt x="8613" y="9910"/>
                    <a:pt x="8613" y="9910"/>
                    <a:pt x="8613" y="9910"/>
                  </a:cubicBezTo>
                  <a:lnTo>
                    <a:pt x="8525" y="10066"/>
                  </a:lnTo>
                  <a:close/>
                  <a:moveTo>
                    <a:pt x="8215" y="8478"/>
                  </a:moveTo>
                  <a:cubicBezTo>
                    <a:pt x="8039" y="8382"/>
                    <a:pt x="8039" y="8382"/>
                    <a:pt x="8039" y="8382"/>
                  </a:cubicBezTo>
                  <a:cubicBezTo>
                    <a:pt x="8033" y="8379"/>
                    <a:pt x="8033" y="8379"/>
                    <a:pt x="8033" y="8379"/>
                  </a:cubicBezTo>
                  <a:cubicBezTo>
                    <a:pt x="7975" y="8469"/>
                    <a:pt x="7975" y="8469"/>
                    <a:pt x="7975" y="8469"/>
                  </a:cubicBezTo>
                  <a:cubicBezTo>
                    <a:pt x="8033" y="8500"/>
                    <a:pt x="8033" y="8500"/>
                    <a:pt x="8033" y="8500"/>
                  </a:cubicBezTo>
                  <a:cubicBezTo>
                    <a:pt x="7955" y="8644"/>
                    <a:pt x="7955" y="8644"/>
                    <a:pt x="7955" y="8644"/>
                  </a:cubicBezTo>
                  <a:cubicBezTo>
                    <a:pt x="8021" y="8682"/>
                    <a:pt x="8021" y="8682"/>
                    <a:pt x="8021" y="8682"/>
                  </a:cubicBezTo>
                  <a:cubicBezTo>
                    <a:pt x="8102" y="8545"/>
                    <a:pt x="8102" y="8545"/>
                    <a:pt x="8102" y="8545"/>
                  </a:cubicBezTo>
                  <a:cubicBezTo>
                    <a:pt x="8163" y="8580"/>
                    <a:pt x="8163" y="8580"/>
                    <a:pt x="8163" y="8580"/>
                  </a:cubicBezTo>
                  <a:cubicBezTo>
                    <a:pt x="8002" y="8854"/>
                    <a:pt x="8002" y="8854"/>
                    <a:pt x="8002" y="8854"/>
                  </a:cubicBezTo>
                  <a:cubicBezTo>
                    <a:pt x="8080" y="8901"/>
                    <a:pt x="8080" y="8901"/>
                    <a:pt x="8080" y="8901"/>
                  </a:cubicBezTo>
                  <a:cubicBezTo>
                    <a:pt x="8215" y="8668"/>
                    <a:pt x="8215" y="8668"/>
                    <a:pt x="8215" y="8668"/>
                  </a:cubicBezTo>
                  <a:cubicBezTo>
                    <a:pt x="8337" y="8739"/>
                    <a:pt x="8337" y="8739"/>
                    <a:pt x="8337" y="8739"/>
                  </a:cubicBezTo>
                  <a:cubicBezTo>
                    <a:pt x="8203" y="8973"/>
                    <a:pt x="8203" y="8973"/>
                    <a:pt x="8203" y="8973"/>
                  </a:cubicBezTo>
                  <a:cubicBezTo>
                    <a:pt x="8323" y="9039"/>
                    <a:pt x="8323" y="9039"/>
                    <a:pt x="8323" y="9039"/>
                  </a:cubicBezTo>
                  <a:cubicBezTo>
                    <a:pt x="8425" y="8858"/>
                    <a:pt x="8425" y="8858"/>
                    <a:pt x="8425" y="8858"/>
                  </a:cubicBezTo>
                  <a:cubicBezTo>
                    <a:pt x="8371" y="8823"/>
                    <a:pt x="8371" y="8823"/>
                    <a:pt x="8371" y="8823"/>
                  </a:cubicBezTo>
                  <a:cubicBezTo>
                    <a:pt x="8472" y="8633"/>
                    <a:pt x="8472" y="8633"/>
                    <a:pt x="8472" y="8633"/>
                  </a:cubicBezTo>
                  <a:cubicBezTo>
                    <a:pt x="8533" y="8669"/>
                    <a:pt x="8533" y="8669"/>
                    <a:pt x="8533" y="8669"/>
                  </a:cubicBezTo>
                  <a:cubicBezTo>
                    <a:pt x="8589" y="8574"/>
                    <a:pt x="8589" y="8574"/>
                    <a:pt x="8589" y="8574"/>
                  </a:cubicBezTo>
                  <a:cubicBezTo>
                    <a:pt x="8274" y="8390"/>
                    <a:pt x="8274" y="8390"/>
                    <a:pt x="8274" y="8390"/>
                  </a:cubicBezTo>
                  <a:lnTo>
                    <a:pt x="8215" y="8478"/>
                  </a:lnTo>
                  <a:close/>
                  <a:moveTo>
                    <a:pt x="8569" y="8579"/>
                  </a:moveTo>
                  <a:cubicBezTo>
                    <a:pt x="8528" y="8649"/>
                    <a:pt x="8528" y="8649"/>
                    <a:pt x="8528" y="8649"/>
                  </a:cubicBezTo>
                  <a:cubicBezTo>
                    <a:pt x="8467" y="8612"/>
                    <a:pt x="8467" y="8612"/>
                    <a:pt x="8467" y="8612"/>
                  </a:cubicBezTo>
                  <a:cubicBezTo>
                    <a:pt x="8351" y="8828"/>
                    <a:pt x="8351" y="8828"/>
                    <a:pt x="8351" y="8828"/>
                  </a:cubicBezTo>
                  <a:cubicBezTo>
                    <a:pt x="8405" y="8863"/>
                    <a:pt x="8405" y="8863"/>
                    <a:pt x="8405" y="8863"/>
                  </a:cubicBezTo>
                  <a:cubicBezTo>
                    <a:pt x="8317" y="9019"/>
                    <a:pt x="8317" y="9019"/>
                    <a:pt x="8317" y="9019"/>
                  </a:cubicBezTo>
                  <a:cubicBezTo>
                    <a:pt x="8223" y="8967"/>
                    <a:pt x="8223" y="8967"/>
                    <a:pt x="8223" y="8967"/>
                  </a:cubicBezTo>
                  <a:cubicBezTo>
                    <a:pt x="8357" y="8734"/>
                    <a:pt x="8357" y="8734"/>
                    <a:pt x="8357" y="8734"/>
                  </a:cubicBezTo>
                  <a:cubicBezTo>
                    <a:pt x="8209" y="8647"/>
                    <a:pt x="8209" y="8647"/>
                    <a:pt x="8209" y="8647"/>
                  </a:cubicBezTo>
                  <a:cubicBezTo>
                    <a:pt x="8075" y="8881"/>
                    <a:pt x="8075" y="8881"/>
                    <a:pt x="8075" y="8881"/>
                  </a:cubicBezTo>
                  <a:cubicBezTo>
                    <a:pt x="8022" y="8849"/>
                    <a:pt x="8022" y="8849"/>
                    <a:pt x="8022" y="8849"/>
                  </a:cubicBezTo>
                  <a:cubicBezTo>
                    <a:pt x="8184" y="8574"/>
                    <a:pt x="8184" y="8574"/>
                    <a:pt x="8184" y="8574"/>
                  </a:cubicBezTo>
                  <a:cubicBezTo>
                    <a:pt x="8096" y="8525"/>
                    <a:pt x="8096" y="8525"/>
                    <a:pt x="8096" y="8525"/>
                  </a:cubicBezTo>
                  <a:cubicBezTo>
                    <a:pt x="8016" y="8662"/>
                    <a:pt x="8016" y="8662"/>
                    <a:pt x="8016" y="8662"/>
                  </a:cubicBezTo>
                  <a:cubicBezTo>
                    <a:pt x="7975" y="8638"/>
                    <a:pt x="7975" y="8638"/>
                    <a:pt x="7975" y="8638"/>
                  </a:cubicBezTo>
                  <a:cubicBezTo>
                    <a:pt x="8054" y="8494"/>
                    <a:pt x="8054" y="8494"/>
                    <a:pt x="8054" y="8494"/>
                  </a:cubicBezTo>
                  <a:cubicBezTo>
                    <a:pt x="7996" y="8463"/>
                    <a:pt x="7996" y="8463"/>
                    <a:pt x="7996" y="8463"/>
                  </a:cubicBezTo>
                  <a:cubicBezTo>
                    <a:pt x="8038" y="8399"/>
                    <a:pt x="8038" y="8399"/>
                    <a:pt x="8038" y="8399"/>
                  </a:cubicBezTo>
                  <a:cubicBezTo>
                    <a:pt x="8220" y="8498"/>
                    <a:pt x="8220" y="8498"/>
                    <a:pt x="8220" y="8498"/>
                  </a:cubicBezTo>
                  <a:cubicBezTo>
                    <a:pt x="8278" y="8410"/>
                    <a:pt x="8278" y="8410"/>
                    <a:pt x="8278" y="8410"/>
                  </a:cubicBezTo>
                  <a:lnTo>
                    <a:pt x="8569" y="8579"/>
                  </a:lnTo>
                  <a:close/>
                  <a:moveTo>
                    <a:pt x="5450" y="16293"/>
                  </a:moveTo>
                  <a:cubicBezTo>
                    <a:pt x="5079" y="16293"/>
                    <a:pt x="5079" y="16293"/>
                    <a:pt x="5079" y="16293"/>
                  </a:cubicBezTo>
                  <a:cubicBezTo>
                    <a:pt x="5079" y="16364"/>
                    <a:pt x="5079" y="16364"/>
                    <a:pt x="5079" y="16364"/>
                  </a:cubicBezTo>
                  <a:cubicBezTo>
                    <a:pt x="4944" y="16364"/>
                    <a:pt x="4944" y="16364"/>
                    <a:pt x="4944" y="16364"/>
                  </a:cubicBezTo>
                  <a:cubicBezTo>
                    <a:pt x="4944" y="16585"/>
                    <a:pt x="4944" y="16585"/>
                    <a:pt x="4944" y="16585"/>
                  </a:cubicBezTo>
                  <a:cubicBezTo>
                    <a:pt x="5005" y="16585"/>
                    <a:pt x="5005" y="16585"/>
                    <a:pt x="5005" y="16585"/>
                  </a:cubicBezTo>
                  <a:cubicBezTo>
                    <a:pt x="5005" y="16847"/>
                    <a:pt x="5005" y="16847"/>
                    <a:pt x="5005" y="16847"/>
                  </a:cubicBezTo>
                  <a:cubicBezTo>
                    <a:pt x="5118" y="16847"/>
                    <a:pt x="5118" y="16847"/>
                    <a:pt x="5118" y="16847"/>
                  </a:cubicBezTo>
                  <a:cubicBezTo>
                    <a:pt x="5118" y="16587"/>
                    <a:pt x="5118" y="16587"/>
                    <a:pt x="5118" y="16587"/>
                  </a:cubicBezTo>
                  <a:cubicBezTo>
                    <a:pt x="5393" y="16587"/>
                    <a:pt x="5393" y="16587"/>
                    <a:pt x="5393" y="16587"/>
                  </a:cubicBezTo>
                  <a:cubicBezTo>
                    <a:pt x="5393" y="16689"/>
                    <a:pt x="5393" y="16689"/>
                    <a:pt x="5393" y="16689"/>
                  </a:cubicBezTo>
                  <a:cubicBezTo>
                    <a:pt x="5545" y="16689"/>
                    <a:pt x="5545" y="16689"/>
                    <a:pt x="5545" y="16689"/>
                  </a:cubicBezTo>
                  <a:cubicBezTo>
                    <a:pt x="5545" y="16585"/>
                    <a:pt x="5545" y="16585"/>
                    <a:pt x="5545" y="16585"/>
                  </a:cubicBezTo>
                  <a:cubicBezTo>
                    <a:pt x="5631" y="16585"/>
                    <a:pt x="5631" y="16585"/>
                    <a:pt x="5631" y="16585"/>
                  </a:cubicBezTo>
                  <a:cubicBezTo>
                    <a:pt x="5632" y="16372"/>
                    <a:pt x="5632" y="16372"/>
                    <a:pt x="5632" y="16372"/>
                  </a:cubicBezTo>
                  <a:cubicBezTo>
                    <a:pt x="5632" y="16365"/>
                    <a:pt x="5632" y="16365"/>
                    <a:pt x="5632" y="16365"/>
                  </a:cubicBezTo>
                  <a:cubicBezTo>
                    <a:pt x="5450" y="16365"/>
                    <a:pt x="5450" y="16365"/>
                    <a:pt x="5450" y="16365"/>
                  </a:cubicBezTo>
                  <a:lnTo>
                    <a:pt x="5450" y="16293"/>
                  </a:lnTo>
                  <a:close/>
                  <a:moveTo>
                    <a:pt x="5617" y="16379"/>
                  </a:moveTo>
                  <a:cubicBezTo>
                    <a:pt x="5616" y="16570"/>
                    <a:pt x="5616" y="16570"/>
                    <a:pt x="5616" y="16570"/>
                  </a:cubicBezTo>
                  <a:cubicBezTo>
                    <a:pt x="5531" y="16570"/>
                    <a:pt x="5531" y="16570"/>
                    <a:pt x="5531" y="16570"/>
                  </a:cubicBezTo>
                  <a:cubicBezTo>
                    <a:pt x="5531" y="16674"/>
                    <a:pt x="5531" y="16674"/>
                    <a:pt x="5531" y="16674"/>
                  </a:cubicBezTo>
                  <a:cubicBezTo>
                    <a:pt x="5408" y="16674"/>
                    <a:pt x="5408" y="16674"/>
                    <a:pt x="5408" y="16674"/>
                  </a:cubicBezTo>
                  <a:cubicBezTo>
                    <a:pt x="5408" y="16572"/>
                    <a:pt x="5408" y="16572"/>
                    <a:pt x="5408" y="16572"/>
                  </a:cubicBezTo>
                  <a:cubicBezTo>
                    <a:pt x="5103" y="16572"/>
                    <a:pt x="5103" y="16572"/>
                    <a:pt x="5103" y="16572"/>
                  </a:cubicBezTo>
                  <a:cubicBezTo>
                    <a:pt x="5103" y="16832"/>
                    <a:pt x="5103" y="16832"/>
                    <a:pt x="5103" y="16832"/>
                  </a:cubicBezTo>
                  <a:cubicBezTo>
                    <a:pt x="5020" y="16832"/>
                    <a:pt x="5020" y="16832"/>
                    <a:pt x="5020" y="16832"/>
                  </a:cubicBezTo>
                  <a:cubicBezTo>
                    <a:pt x="5020" y="16570"/>
                    <a:pt x="5020" y="16570"/>
                    <a:pt x="5020" y="16570"/>
                  </a:cubicBezTo>
                  <a:cubicBezTo>
                    <a:pt x="4958" y="16570"/>
                    <a:pt x="4958" y="16570"/>
                    <a:pt x="4958" y="16570"/>
                  </a:cubicBezTo>
                  <a:cubicBezTo>
                    <a:pt x="4958" y="16378"/>
                    <a:pt x="4958" y="16378"/>
                    <a:pt x="4958" y="16378"/>
                  </a:cubicBezTo>
                  <a:cubicBezTo>
                    <a:pt x="5093" y="16378"/>
                    <a:pt x="5093" y="16378"/>
                    <a:pt x="5093" y="16378"/>
                  </a:cubicBezTo>
                  <a:cubicBezTo>
                    <a:pt x="5093" y="16308"/>
                    <a:pt x="5093" y="16308"/>
                    <a:pt x="5093" y="16308"/>
                  </a:cubicBezTo>
                  <a:cubicBezTo>
                    <a:pt x="5435" y="16308"/>
                    <a:pt x="5435" y="16308"/>
                    <a:pt x="5435" y="16308"/>
                  </a:cubicBezTo>
                  <a:cubicBezTo>
                    <a:pt x="5435" y="16379"/>
                    <a:pt x="5435" y="16379"/>
                    <a:pt x="5435" y="16379"/>
                  </a:cubicBezTo>
                  <a:lnTo>
                    <a:pt x="5617" y="16379"/>
                  </a:lnTo>
                  <a:close/>
                  <a:moveTo>
                    <a:pt x="7506" y="6136"/>
                  </a:moveTo>
                  <a:cubicBezTo>
                    <a:pt x="7657" y="6153"/>
                    <a:pt x="7657" y="6153"/>
                    <a:pt x="7657" y="6153"/>
                  </a:cubicBezTo>
                  <a:cubicBezTo>
                    <a:pt x="7669" y="6052"/>
                    <a:pt x="7669" y="6052"/>
                    <a:pt x="7669" y="6052"/>
                  </a:cubicBezTo>
                  <a:cubicBezTo>
                    <a:pt x="7942" y="6083"/>
                    <a:pt x="7942" y="6083"/>
                    <a:pt x="7942" y="6083"/>
                  </a:cubicBezTo>
                  <a:cubicBezTo>
                    <a:pt x="7913" y="6341"/>
                    <a:pt x="7913" y="6341"/>
                    <a:pt x="7913" y="6341"/>
                  </a:cubicBezTo>
                  <a:cubicBezTo>
                    <a:pt x="8025" y="6354"/>
                    <a:pt x="8025" y="6354"/>
                    <a:pt x="8025" y="6354"/>
                  </a:cubicBezTo>
                  <a:cubicBezTo>
                    <a:pt x="8054" y="6094"/>
                    <a:pt x="8054" y="6094"/>
                    <a:pt x="8054" y="6094"/>
                  </a:cubicBezTo>
                  <a:cubicBezTo>
                    <a:pt x="8116" y="6101"/>
                    <a:pt x="8116" y="6101"/>
                    <a:pt x="8116" y="6101"/>
                  </a:cubicBezTo>
                  <a:cubicBezTo>
                    <a:pt x="8141" y="5881"/>
                    <a:pt x="8141" y="5881"/>
                    <a:pt x="8141" y="5881"/>
                  </a:cubicBezTo>
                  <a:cubicBezTo>
                    <a:pt x="8007" y="5866"/>
                    <a:pt x="8007" y="5866"/>
                    <a:pt x="8007" y="5866"/>
                  </a:cubicBezTo>
                  <a:cubicBezTo>
                    <a:pt x="8015" y="5795"/>
                    <a:pt x="8015" y="5795"/>
                    <a:pt x="8015" y="5795"/>
                  </a:cubicBezTo>
                  <a:cubicBezTo>
                    <a:pt x="7646" y="5754"/>
                    <a:pt x="7646" y="5754"/>
                    <a:pt x="7646" y="5754"/>
                  </a:cubicBezTo>
                  <a:cubicBezTo>
                    <a:pt x="7638" y="5825"/>
                    <a:pt x="7638" y="5825"/>
                    <a:pt x="7638" y="5825"/>
                  </a:cubicBezTo>
                  <a:cubicBezTo>
                    <a:pt x="7464" y="5805"/>
                    <a:pt x="7464" y="5805"/>
                    <a:pt x="7464" y="5805"/>
                  </a:cubicBezTo>
                  <a:cubicBezTo>
                    <a:pt x="7457" y="5804"/>
                    <a:pt x="7457" y="5804"/>
                    <a:pt x="7457" y="5804"/>
                  </a:cubicBezTo>
                  <a:cubicBezTo>
                    <a:pt x="7433" y="6024"/>
                    <a:pt x="7433" y="6024"/>
                    <a:pt x="7433" y="6024"/>
                  </a:cubicBezTo>
                  <a:cubicBezTo>
                    <a:pt x="7518" y="6033"/>
                    <a:pt x="7518" y="6033"/>
                    <a:pt x="7518" y="6033"/>
                  </a:cubicBezTo>
                  <a:lnTo>
                    <a:pt x="7506" y="6136"/>
                  </a:lnTo>
                  <a:close/>
                  <a:moveTo>
                    <a:pt x="7449" y="6011"/>
                  </a:moveTo>
                  <a:cubicBezTo>
                    <a:pt x="7470" y="5821"/>
                    <a:pt x="7470" y="5821"/>
                    <a:pt x="7470" y="5821"/>
                  </a:cubicBezTo>
                  <a:cubicBezTo>
                    <a:pt x="7651" y="5841"/>
                    <a:pt x="7651" y="5841"/>
                    <a:pt x="7651" y="5841"/>
                  </a:cubicBezTo>
                  <a:cubicBezTo>
                    <a:pt x="7659" y="5770"/>
                    <a:pt x="7659" y="5770"/>
                    <a:pt x="7659" y="5770"/>
                  </a:cubicBezTo>
                  <a:cubicBezTo>
                    <a:pt x="7998" y="5808"/>
                    <a:pt x="7998" y="5808"/>
                    <a:pt x="7998" y="5808"/>
                  </a:cubicBezTo>
                  <a:cubicBezTo>
                    <a:pt x="7990" y="5879"/>
                    <a:pt x="7990" y="5879"/>
                    <a:pt x="7990" y="5879"/>
                  </a:cubicBezTo>
                  <a:cubicBezTo>
                    <a:pt x="8124" y="5894"/>
                    <a:pt x="8124" y="5894"/>
                    <a:pt x="8124" y="5894"/>
                  </a:cubicBezTo>
                  <a:cubicBezTo>
                    <a:pt x="8103" y="6085"/>
                    <a:pt x="8103" y="6085"/>
                    <a:pt x="8103" y="6085"/>
                  </a:cubicBezTo>
                  <a:cubicBezTo>
                    <a:pt x="8041" y="6078"/>
                    <a:pt x="8041" y="6078"/>
                    <a:pt x="8041" y="6078"/>
                  </a:cubicBezTo>
                  <a:cubicBezTo>
                    <a:pt x="8012" y="6338"/>
                    <a:pt x="8012" y="6338"/>
                    <a:pt x="8012" y="6338"/>
                  </a:cubicBezTo>
                  <a:cubicBezTo>
                    <a:pt x="7929" y="6328"/>
                    <a:pt x="7929" y="6328"/>
                    <a:pt x="7929" y="6328"/>
                  </a:cubicBezTo>
                  <a:cubicBezTo>
                    <a:pt x="7959" y="6070"/>
                    <a:pt x="7959" y="6070"/>
                    <a:pt x="7959" y="6070"/>
                  </a:cubicBezTo>
                  <a:cubicBezTo>
                    <a:pt x="7656" y="6036"/>
                    <a:pt x="7656" y="6036"/>
                    <a:pt x="7656" y="6036"/>
                  </a:cubicBezTo>
                  <a:cubicBezTo>
                    <a:pt x="7644" y="6137"/>
                    <a:pt x="7644" y="6137"/>
                    <a:pt x="7644" y="6137"/>
                  </a:cubicBezTo>
                  <a:cubicBezTo>
                    <a:pt x="7523" y="6123"/>
                    <a:pt x="7523" y="6123"/>
                    <a:pt x="7523" y="6123"/>
                  </a:cubicBezTo>
                  <a:cubicBezTo>
                    <a:pt x="7534" y="6020"/>
                    <a:pt x="7534" y="6020"/>
                    <a:pt x="7534" y="6020"/>
                  </a:cubicBezTo>
                  <a:lnTo>
                    <a:pt x="7449" y="6011"/>
                  </a:lnTo>
                  <a:close/>
                  <a:moveTo>
                    <a:pt x="8337" y="13923"/>
                  </a:moveTo>
                  <a:cubicBezTo>
                    <a:pt x="8327" y="13926"/>
                    <a:pt x="8327" y="13926"/>
                    <a:pt x="8327" y="13926"/>
                  </a:cubicBezTo>
                  <a:cubicBezTo>
                    <a:pt x="8327" y="13927"/>
                    <a:pt x="8213" y="13965"/>
                    <a:pt x="8211" y="14041"/>
                  </a:cubicBezTo>
                  <a:cubicBezTo>
                    <a:pt x="8213" y="14117"/>
                    <a:pt x="8324" y="14144"/>
                    <a:pt x="8324" y="14145"/>
                  </a:cubicBezTo>
                  <a:cubicBezTo>
                    <a:pt x="8333" y="14148"/>
                    <a:pt x="8333" y="14148"/>
                    <a:pt x="8333" y="14148"/>
                  </a:cubicBezTo>
                  <a:cubicBezTo>
                    <a:pt x="8333" y="14108"/>
                    <a:pt x="8333" y="14108"/>
                    <a:pt x="8333" y="14108"/>
                  </a:cubicBezTo>
                  <a:cubicBezTo>
                    <a:pt x="8775" y="14108"/>
                    <a:pt x="8775" y="14108"/>
                    <a:pt x="8775" y="14108"/>
                  </a:cubicBezTo>
                  <a:cubicBezTo>
                    <a:pt x="8775" y="14141"/>
                    <a:pt x="8775" y="14141"/>
                    <a:pt x="8775" y="14141"/>
                  </a:cubicBezTo>
                  <a:cubicBezTo>
                    <a:pt x="8785" y="14136"/>
                    <a:pt x="8785" y="14136"/>
                    <a:pt x="8785" y="14136"/>
                  </a:cubicBezTo>
                  <a:cubicBezTo>
                    <a:pt x="8785" y="14136"/>
                    <a:pt x="8809" y="14125"/>
                    <a:pt x="8832" y="14107"/>
                  </a:cubicBezTo>
                  <a:cubicBezTo>
                    <a:pt x="8856" y="14089"/>
                    <a:pt x="8881" y="14066"/>
                    <a:pt x="8882" y="14037"/>
                  </a:cubicBezTo>
                  <a:cubicBezTo>
                    <a:pt x="8879" y="13980"/>
                    <a:pt x="8787" y="13940"/>
                    <a:pt x="8787" y="13938"/>
                  </a:cubicBezTo>
                  <a:cubicBezTo>
                    <a:pt x="8777" y="13934"/>
                    <a:pt x="8777" y="13934"/>
                    <a:pt x="8777" y="13934"/>
                  </a:cubicBezTo>
                  <a:cubicBezTo>
                    <a:pt x="8775" y="13968"/>
                    <a:pt x="8775" y="13968"/>
                    <a:pt x="8775" y="13968"/>
                  </a:cubicBezTo>
                  <a:cubicBezTo>
                    <a:pt x="8337" y="13968"/>
                    <a:pt x="8337" y="13968"/>
                    <a:pt x="8337" y="13968"/>
                  </a:cubicBezTo>
                  <a:lnTo>
                    <a:pt x="8337" y="13923"/>
                  </a:lnTo>
                  <a:close/>
                  <a:moveTo>
                    <a:pt x="8783" y="13983"/>
                  </a:moveTo>
                  <a:cubicBezTo>
                    <a:pt x="8790" y="13983"/>
                    <a:pt x="8790" y="13983"/>
                    <a:pt x="8790" y="13983"/>
                  </a:cubicBezTo>
                  <a:cubicBezTo>
                    <a:pt x="8791" y="13957"/>
                    <a:pt x="8791" y="13957"/>
                    <a:pt x="8791" y="13957"/>
                  </a:cubicBezTo>
                  <a:cubicBezTo>
                    <a:pt x="8799" y="13962"/>
                    <a:pt x="8812" y="13969"/>
                    <a:pt x="8825" y="13979"/>
                  </a:cubicBezTo>
                  <a:cubicBezTo>
                    <a:pt x="8847" y="13995"/>
                    <a:pt x="8867" y="14017"/>
                    <a:pt x="8867" y="14037"/>
                  </a:cubicBezTo>
                  <a:cubicBezTo>
                    <a:pt x="8867" y="14056"/>
                    <a:pt x="8846" y="14079"/>
                    <a:pt x="8824" y="14095"/>
                  </a:cubicBezTo>
                  <a:cubicBezTo>
                    <a:pt x="8811" y="14105"/>
                    <a:pt x="8798" y="14112"/>
                    <a:pt x="8789" y="14117"/>
                  </a:cubicBezTo>
                  <a:cubicBezTo>
                    <a:pt x="8789" y="14094"/>
                    <a:pt x="8789" y="14094"/>
                    <a:pt x="8789" y="14094"/>
                  </a:cubicBezTo>
                  <a:cubicBezTo>
                    <a:pt x="8319" y="14094"/>
                    <a:pt x="8319" y="14094"/>
                    <a:pt x="8319" y="14094"/>
                  </a:cubicBezTo>
                  <a:cubicBezTo>
                    <a:pt x="8319" y="14128"/>
                    <a:pt x="8319" y="14128"/>
                    <a:pt x="8319" y="14128"/>
                  </a:cubicBezTo>
                  <a:cubicBezTo>
                    <a:pt x="8309" y="14125"/>
                    <a:pt x="8292" y="14118"/>
                    <a:pt x="8276" y="14109"/>
                  </a:cubicBezTo>
                  <a:cubicBezTo>
                    <a:pt x="8250" y="14093"/>
                    <a:pt x="8226" y="14071"/>
                    <a:pt x="8226" y="14041"/>
                  </a:cubicBezTo>
                  <a:cubicBezTo>
                    <a:pt x="8225" y="14012"/>
                    <a:pt x="8251" y="13986"/>
                    <a:pt x="8278" y="13968"/>
                  </a:cubicBezTo>
                  <a:cubicBezTo>
                    <a:pt x="8295" y="13957"/>
                    <a:pt x="8312" y="13949"/>
                    <a:pt x="8322" y="13944"/>
                  </a:cubicBezTo>
                  <a:cubicBezTo>
                    <a:pt x="8322" y="13983"/>
                    <a:pt x="8322" y="13983"/>
                    <a:pt x="8322" y="13983"/>
                  </a:cubicBezTo>
                  <a:lnTo>
                    <a:pt x="8783" y="13983"/>
                  </a:lnTo>
                  <a:close/>
                  <a:moveTo>
                    <a:pt x="8312" y="11791"/>
                  </a:moveTo>
                  <a:cubicBezTo>
                    <a:pt x="8303" y="11789"/>
                    <a:pt x="8295" y="11789"/>
                    <a:pt x="8287" y="11789"/>
                  </a:cubicBezTo>
                  <a:cubicBezTo>
                    <a:pt x="8158" y="11790"/>
                    <a:pt x="8064" y="11919"/>
                    <a:pt x="8039" y="11956"/>
                  </a:cubicBezTo>
                  <a:cubicBezTo>
                    <a:pt x="7966" y="11842"/>
                    <a:pt x="7966" y="11842"/>
                    <a:pt x="7966" y="11842"/>
                  </a:cubicBezTo>
                  <a:cubicBezTo>
                    <a:pt x="7669" y="12452"/>
                    <a:pt x="7669" y="12452"/>
                    <a:pt x="7669" y="12452"/>
                  </a:cubicBezTo>
                  <a:cubicBezTo>
                    <a:pt x="7913" y="12404"/>
                    <a:pt x="7913" y="12404"/>
                    <a:pt x="7913" y="12404"/>
                  </a:cubicBezTo>
                  <a:cubicBezTo>
                    <a:pt x="7914" y="12425"/>
                    <a:pt x="7920" y="12485"/>
                    <a:pt x="7942" y="12546"/>
                  </a:cubicBezTo>
                  <a:cubicBezTo>
                    <a:pt x="7968" y="12621"/>
                    <a:pt x="8020" y="12699"/>
                    <a:pt x="8118" y="12699"/>
                  </a:cubicBezTo>
                  <a:cubicBezTo>
                    <a:pt x="8120" y="12699"/>
                    <a:pt x="8121" y="12699"/>
                    <a:pt x="8123" y="12699"/>
                  </a:cubicBezTo>
                  <a:cubicBezTo>
                    <a:pt x="8295" y="12694"/>
                    <a:pt x="8390" y="12506"/>
                    <a:pt x="8412" y="12455"/>
                  </a:cubicBezTo>
                  <a:cubicBezTo>
                    <a:pt x="8455" y="12516"/>
                    <a:pt x="8455" y="12516"/>
                    <a:pt x="8455" y="12516"/>
                  </a:cubicBezTo>
                  <a:cubicBezTo>
                    <a:pt x="8756" y="11921"/>
                    <a:pt x="8756" y="11921"/>
                    <a:pt x="8756" y="11921"/>
                  </a:cubicBezTo>
                  <a:cubicBezTo>
                    <a:pt x="8763" y="11908"/>
                    <a:pt x="8763" y="11908"/>
                    <a:pt x="8763" y="11908"/>
                  </a:cubicBezTo>
                  <a:cubicBezTo>
                    <a:pt x="8471" y="11964"/>
                    <a:pt x="8471" y="11964"/>
                    <a:pt x="8471" y="11964"/>
                  </a:cubicBezTo>
                  <a:cubicBezTo>
                    <a:pt x="8461" y="11934"/>
                    <a:pt x="8414" y="11805"/>
                    <a:pt x="8312" y="11791"/>
                  </a:cubicBezTo>
                  <a:close/>
                  <a:moveTo>
                    <a:pt x="8453" y="12487"/>
                  </a:moveTo>
                  <a:cubicBezTo>
                    <a:pt x="8409" y="12425"/>
                    <a:pt x="8409" y="12425"/>
                    <a:pt x="8409" y="12425"/>
                  </a:cubicBezTo>
                  <a:cubicBezTo>
                    <a:pt x="8404" y="12438"/>
                    <a:pt x="8404" y="12438"/>
                    <a:pt x="8404" y="12438"/>
                  </a:cubicBezTo>
                  <a:cubicBezTo>
                    <a:pt x="8404" y="12438"/>
                    <a:pt x="8380" y="12498"/>
                    <a:pt x="8333" y="12560"/>
                  </a:cubicBezTo>
                  <a:cubicBezTo>
                    <a:pt x="8285" y="12621"/>
                    <a:pt x="8215" y="12682"/>
                    <a:pt x="8123" y="12685"/>
                  </a:cubicBezTo>
                  <a:cubicBezTo>
                    <a:pt x="8121" y="12685"/>
                    <a:pt x="8120" y="12685"/>
                    <a:pt x="8118" y="12685"/>
                  </a:cubicBezTo>
                  <a:cubicBezTo>
                    <a:pt x="8029" y="12685"/>
                    <a:pt x="7982" y="12614"/>
                    <a:pt x="7956" y="12541"/>
                  </a:cubicBezTo>
                  <a:cubicBezTo>
                    <a:pt x="7930" y="12468"/>
                    <a:pt x="7927" y="12395"/>
                    <a:pt x="7927" y="12395"/>
                  </a:cubicBezTo>
                  <a:cubicBezTo>
                    <a:pt x="7927" y="12386"/>
                    <a:pt x="7927" y="12386"/>
                    <a:pt x="7927" y="12386"/>
                  </a:cubicBezTo>
                  <a:cubicBezTo>
                    <a:pt x="7695" y="12432"/>
                    <a:pt x="7695" y="12432"/>
                    <a:pt x="7695" y="12432"/>
                  </a:cubicBezTo>
                  <a:cubicBezTo>
                    <a:pt x="7967" y="11872"/>
                    <a:pt x="7967" y="11872"/>
                    <a:pt x="7967" y="11872"/>
                  </a:cubicBezTo>
                  <a:cubicBezTo>
                    <a:pt x="8040" y="11984"/>
                    <a:pt x="8040" y="11984"/>
                    <a:pt x="8040" y="11984"/>
                  </a:cubicBezTo>
                  <a:cubicBezTo>
                    <a:pt x="8046" y="11974"/>
                    <a:pt x="8046" y="11974"/>
                    <a:pt x="8046" y="11974"/>
                  </a:cubicBezTo>
                  <a:cubicBezTo>
                    <a:pt x="8046" y="11974"/>
                    <a:pt x="8071" y="11931"/>
                    <a:pt x="8114" y="11888"/>
                  </a:cubicBezTo>
                  <a:cubicBezTo>
                    <a:pt x="8157" y="11846"/>
                    <a:pt x="8218" y="11804"/>
                    <a:pt x="8287" y="11804"/>
                  </a:cubicBezTo>
                  <a:cubicBezTo>
                    <a:pt x="8294" y="11804"/>
                    <a:pt x="8302" y="11804"/>
                    <a:pt x="8310" y="11805"/>
                  </a:cubicBezTo>
                  <a:cubicBezTo>
                    <a:pt x="8361" y="11812"/>
                    <a:pt x="8398" y="11853"/>
                    <a:pt x="8423" y="11894"/>
                  </a:cubicBezTo>
                  <a:cubicBezTo>
                    <a:pt x="8447" y="11935"/>
                    <a:pt x="8459" y="11974"/>
                    <a:pt x="8459" y="11975"/>
                  </a:cubicBezTo>
                  <a:cubicBezTo>
                    <a:pt x="8460" y="11981"/>
                    <a:pt x="8460" y="11981"/>
                    <a:pt x="8460" y="11981"/>
                  </a:cubicBezTo>
                  <a:cubicBezTo>
                    <a:pt x="8736" y="11928"/>
                    <a:pt x="8736" y="11928"/>
                    <a:pt x="8736" y="11928"/>
                  </a:cubicBezTo>
                  <a:lnTo>
                    <a:pt x="8453" y="12487"/>
                  </a:lnTo>
                  <a:close/>
                  <a:moveTo>
                    <a:pt x="8275" y="11933"/>
                  </a:moveTo>
                  <a:cubicBezTo>
                    <a:pt x="8265" y="11930"/>
                    <a:pt x="8254" y="11928"/>
                    <a:pt x="8244" y="11928"/>
                  </a:cubicBezTo>
                  <a:cubicBezTo>
                    <a:pt x="8134" y="11930"/>
                    <a:pt x="8044" y="12089"/>
                    <a:pt x="8018" y="12188"/>
                  </a:cubicBezTo>
                  <a:cubicBezTo>
                    <a:pt x="8009" y="12225"/>
                    <a:pt x="8001" y="12273"/>
                    <a:pt x="8001" y="12322"/>
                  </a:cubicBezTo>
                  <a:cubicBezTo>
                    <a:pt x="8001" y="12420"/>
                    <a:pt x="8030" y="12526"/>
                    <a:pt x="8134" y="12556"/>
                  </a:cubicBezTo>
                  <a:cubicBezTo>
                    <a:pt x="8145" y="12559"/>
                    <a:pt x="8156" y="12560"/>
                    <a:pt x="8167" y="12560"/>
                  </a:cubicBezTo>
                  <a:cubicBezTo>
                    <a:pt x="8237" y="12560"/>
                    <a:pt x="8289" y="12498"/>
                    <a:pt x="8326" y="12435"/>
                  </a:cubicBezTo>
                  <a:cubicBezTo>
                    <a:pt x="8363" y="12371"/>
                    <a:pt x="8384" y="12304"/>
                    <a:pt x="8388" y="12290"/>
                  </a:cubicBezTo>
                  <a:cubicBezTo>
                    <a:pt x="8392" y="12277"/>
                    <a:pt x="8404" y="12221"/>
                    <a:pt x="8404" y="12157"/>
                  </a:cubicBezTo>
                  <a:cubicBezTo>
                    <a:pt x="8404" y="12070"/>
                    <a:pt x="8381" y="11964"/>
                    <a:pt x="8275" y="11933"/>
                  </a:cubicBezTo>
                  <a:close/>
                  <a:moveTo>
                    <a:pt x="8374" y="12286"/>
                  </a:moveTo>
                  <a:cubicBezTo>
                    <a:pt x="8370" y="12299"/>
                    <a:pt x="8349" y="12365"/>
                    <a:pt x="8313" y="12427"/>
                  </a:cubicBezTo>
                  <a:cubicBezTo>
                    <a:pt x="8278" y="12489"/>
                    <a:pt x="8227" y="12546"/>
                    <a:pt x="8167" y="12546"/>
                  </a:cubicBezTo>
                  <a:cubicBezTo>
                    <a:pt x="8157" y="12546"/>
                    <a:pt x="8148" y="12544"/>
                    <a:pt x="8138" y="12542"/>
                  </a:cubicBezTo>
                  <a:cubicBezTo>
                    <a:pt x="8044" y="12515"/>
                    <a:pt x="8016" y="12418"/>
                    <a:pt x="8016" y="12322"/>
                  </a:cubicBezTo>
                  <a:cubicBezTo>
                    <a:pt x="8016" y="12274"/>
                    <a:pt x="8023" y="12227"/>
                    <a:pt x="8032" y="12192"/>
                  </a:cubicBezTo>
                  <a:cubicBezTo>
                    <a:pt x="8056" y="12096"/>
                    <a:pt x="8149" y="11941"/>
                    <a:pt x="8244" y="11943"/>
                  </a:cubicBezTo>
                  <a:cubicBezTo>
                    <a:pt x="8253" y="11943"/>
                    <a:pt x="8262" y="11944"/>
                    <a:pt x="8271" y="11947"/>
                  </a:cubicBezTo>
                  <a:cubicBezTo>
                    <a:pt x="8273" y="11940"/>
                    <a:pt x="8273" y="11940"/>
                    <a:pt x="8273" y="11940"/>
                  </a:cubicBezTo>
                  <a:cubicBezTo>
                    <a:pt x="8271" y="11947"/>
                    <a:pt x="8271" y="11947"/>
                    <a:pt x="8271" y="11947"/>
                  </a:cubicBezTo>
                  <a:cubicBezTo>
                    <a:pt x="8367" y="11975"/>
                    <a:pt x="8389" y="12071"/>
                    <a:pt x="8389" y="12157"/>
                  </a:cubicBezTo>
                  <a:cubicBezTo>
                    <a:pt x="8389" y="12219"/>
                    <a:pt x="8377" y="12274"/>
                    <a:pt x="8374" y="12286"/>
                  </a:cubicBezTo>
                  <a:close/>
                  <a:moveTo>
                    <a:pt x="8862" y="11249"/>
                  </a:moveTo>
                  <a:cubicBezTo>
                    <a:pt x="8860" y="11128"/>
                    <a:pt x="8860" y="11128"/>
                    <a:pt x="8860" y="11128"/>
                  </a:cubicBezTo>
                  <a:cubicBezTo>
                    <a:pt x="8860" y="11121"/>
                    <a:pt x="8860" y="11121"/>
                    <a:pt x="8860" y="11121"/>
                  </a:cubicBezTo>
                  <a:cubicBezTo>
                    <a:pt x="8316" y="11121"/>
                    <a:pt x="8316" y="11121"/>
                    <a:pt x="8316" y="11121"/>
                  </a:cubicBezTo>
                  <a:cubicBezTo>
                    <a:pt x="8316" y="11251"/>
                    <a:pt x="8316" y="11251"/>
                    <a:pt x="8316" y="11251"/>
                  </a:cubicBezTo>
                  <a:cubicBezTo>
                    <a:pt x="8381" y="11251"/>
                    <a:pt x="8381" y="11251"/>
                    <a:pt x="8381" y="11251"/>
                  </a:cubicBezTo>
                  <a:cubicBezTo>
                    <a:pt x="8381" y="11342"/>
                    <a:pt x="8381" y="11342"/>
                    <a:pt x="8381" y="11342"/>
                  </a:cubicBezTo>
                  <a:cubicBezTo>
                    <a:pt x="8318" y="11342"/>
                    <a:pt x="8318" y="11342"/>
                    <a:pt x="8318" y="11342"/>
                  </a:cubicBezTo>
                  <a:cubicBezTo>
                    <a:pt x="8318" y="11473"/>
                    <a:pt x="8318" y="11473"/>
                    <a:pt x="8318" y="11473"/>
                  </a:cubicBezTo>
                  <a:cubicBezTo>
                    <a:pt x="8861" y="11473"/>
                    <a:pt x="8861" y="11473"/>
                    <a:pt x="8861" y="11473"/>
                  </a:cubicBezTo>
                  <a:cubicBezTo>
                    <a:pt x="8861" y="11341"/>
                    <a:pt x="8861" y="11341"/>
                    <a:pt x="8861" y="11341"/>
                  </a:cubicBezTo>
                  <a:cubicBezTo>
                    <a:pt x="8796" y="11341"/>
                    <a:pt x="8796" y="11341"/>
                    <a:pt x="8796" y="11341"/>
                  </a:cubicBezTo>
                  <a:cubicBezTo>
                    <a:pt x="8796" y="11249"/>
                    <a:pt x="8796" y="11249"/>
                    <a:pt x="8796" y="11249"/>
                  </a:cubicBezTo>
                  <a:lnTo>
                    <a:pt x="8862" y="11249"/>
                  </a:lnTo>
                  <a:close/>
                  <a:moveTo>
                    <a:pt x="8847" y="11356"/>
                  </a:moveTo>
                  <a:cubicBezTo>
                    <a:pt x="8847" y="11458"/>
                    <a:pt x="8847" y="11458"/>
                    <a:pt x="8847" y="11458"/>
                  </a:cubicBezTo>
                  <a:cubicBezTo>
                    <a:pt x="8332" y="11458"/>
                    <a:pt x="8332" y="11458"/>
                    <a:pt x="8332" y="11458"/>
                  </a:cubicBezTo>
                  <a:cubicBezTo>
                    <a:pt x="8332" y="11357"/>
                    <a:pt x="8332" y="11357"/>
                    <a:pt x="8332" y="11357"/>
                  </a:cubicBezTo>
                  <a:cubicBezTo>
                    <a:pt x="8396" y="11357"/>
                    <a:pt x="8396" y="11357"/>
                    <a:pt x="8396" y="11357"/>
                  </a:cubicBezTo>
                  <a:cubicBezTo>
                    <a:pt x="8396" y="11237"/>
                    <a:pt x="8396" y="11237"/>
                    <a:pt x="8396" y="11237"/>
                  </a:cubicBezTo>
                  <a:cubicBezTo>
                    <a:pt x="8331" y="11237"/>
                    <a:pt x="8331" y="11237"/>
                    <a:pt x="8331" y="11237"/>
                  </a:cubicBezTo>
                  <a:cubicBezTo>
                    <a:pt x="8331" y="11135"/>
                    <a:pt x="8331" y="11135"/>
                    <a:pt x="8331" y="11135"/>
                  </a:cubicBezTo>
                  <a:cubicBezTo>
                    <a:pt x="8846" y="11135"/>
                    <a:pt x="8846" y="11135"/>
                    <a:pt x="8846" y="11135"/>
                  </a:cubicBezTo>
                  <a:cubicBezTo>
                    <a:pt x="8847" y="11234"/>
                    <a:pt x="8847" y="11234"/>
                    <a:pt x="8847" y="11234"/>
                  </a:cubicBezTo>
                  <a:cubicBezTo>
                    <a:pt x="8782" y="11234"/>
                    <a:pt x="8782" y="11234"/>
                    <a:pt x="8782" y="11234"/>
                  </a:cubicBezTo>
                  <a:cubicBezTo>
                    <a:pt x="8782" y="11356"/>
                    <a:pt x="8782" y="11356"/>
                    <a:pt x="8782" y="11356"/>
                  </a:cubicBezTo>
                  <a:lnTo>
                    <a:pt x="8847" y="11356"/>
                  </a:lnTo>
                  <a:close/>
                  <a:moveTo>
                    <a:pt x="8719" y="11237"/>
                  </a:moveTo>
                  <a:cubicBezTo>
                    <a:pt x="8460" y="11237"/>
                    <a:pt x="8460" y="11237"/>
                    <a:pt x="8460" y="11237"/>
                  </a:cubicBezTo>
                  <a:cubicBezTo>
                    <a:pt x="8460" y="11354"/>
                    <a:pt x="8460" y="11354"/>
                    <a:pt x="8460" y="11354"/>
                  </a:cubicBezTo>
                  <a:cubicBezTo>
                    <a:pt x="8724" y="11354"/>
                    <a:pt x="8724" y="11354"/>
                    <a:pt x="8724" y="11354"/>
                  </a:cubicBezTo>
                  <a:cubicBezTo>
                    <a:pt x="8719" y="11244"/>
                    <a:pt x="8719" y="11244"/>
                    <a:pt x="8719" y="11244"/>
                  </a:cubicBezTo>
                  <a:lnTo>
                    <a:pt x="8719" y="11237"/>
                  </a:lnTo>
                  <a:close/>
                  <a:moveTo>
                    <a:pt x="8474" y="11339"/>
                  </a:moveTo>
                  <a:cubicBezTo>
                    <a:pt x="8474" y="11251"/>
                    <a:pt x="8474" y="11251"/>
                    <a:pt x="8474" y="11251"/>
                  </a:cubicBezTo>
                  <a:cubicBezTo>
                    <a:pt x="8705" y="11251"/>
                    <a:pt x="8705" y="11251"/>
                    <a:pt x="8705" y="11251"/>
                  </a:cubicBezTo>
                  <a:cubicBezTo>
                    <a:pt x="8708" y="11339"/>
                    <a:pt x="8708" y="11339"/>
                    <a:pt x="8708" y="11339"/>
                  </a:cubicBezTo>
                  <a:lnTo>
                    <a:pt x="8474" y="11339"/>
                  </a:lnTo>
                  <a:close/>
                  <a:moveTo>
                    <a:pt x="8162" y="10706"/>
                  </a:moveTo>
                  <a:cubicBezTo>
                    <a:pt x="8133" y="10764"/>
                    <a:pt x="8133" y="10764"/>
                    <a:pt x="8133" y="10764"/>
                  </a:cubicBezTo>
                  <a:cubicBezTo>
                    <a:pt x="8051" y="10721"/>
                    <a:pt x="8051" y="10721"/>
                    <a:pt x="8051" y="10721"/>
                  </a:cubicBezTo>
                  <a:cubicBezTo>
                    <a:pt x="8080" y="10663"/>
                    <a:pt x="8080" y="10663"/>
                    <a:pt x="8080" y="10663"/>
                  </a:cubicBezTo>
                  <a:cubicBezTo>
                    <a:pt x="7972" y="10609"/>
                    <a:pt x="7972" y="10609"/>
                    <a:pt x="7972" y="10609"/>
                  </a:cubicBezTo>
                  <a:cubicBezTo>
                    <a:pt x="7966" y="10606"/>
                    <a:pt x="7966" y="10606"/>
                    <a:pt x="7966" y="10606"/>
                  </a:cubicBezTo>
                  <a:cubicBezTo>
                    <a:pt x="7717" y="11090"/>
                    <a:pt x="7717" y="11090"/>
                    <a:pt x="7717" y="11090"/>
                  </a:cubicBezTo>
                  <a:cubicBezTo>
                    <a:pt x="7833" y="11149"/>
                    <a:pt x="7833" y="11149"/>
                    <a:pt x="7833" y="11149"/>
                  </a:cubicBezTo>
                  <a:cubicBezTo>
                    <a:pt x="7863" y="11092"/>
                    <a:pt x="7863" y="11092"/>
                    <a:pt x="7863" y="11092"/>
                  </a:cubicBezTo>
                  <a:cubicBezTo>
                    <a:pt x="7944" y="11133"/>
                    <a:pt x="7944" y="11133"/>
                    <a:pt x="7944" y="11133"/>
                  </a:cubicBezTo>
                  <a:cubicBezTo>
                    <a:pt x="7915" y="11190"/>
                    <a:pt x="7915" y="11190"/>
                    <a:pt x="7915" y="11190"/>
                  </a:cubicBezTo>
                  <a:cubicBezTo>
                    <a:pt x="8031" y="11250"/>
                    <a:pt x="8031" y="11250"/>
                    <a:pt x="8031" y="11250"/>
                  </a:cubicBezTo>
                  <a:cubicBezTo>
                    <a:pt x="8280" y="10766"/>
                    <a:pt x="8280" y="10766"/>
                    <a:pt x="8280" y="10766"/>
                  </a:cubicBezTo>
                  <a:lnTo>
                    <a:pt x="8162" y="10706"/>
                  </a:lnTo>
                  <a:close/>
                  <a:moveTo>
                    <a:pt x="8024" y="11230"/>
                  </a:moveTo>
                  <a:cubicBezTo>
                    <a:pt x="7934" y="11184"/>
                    <a:pt x="7934" y="11184"/>
                    <a:pt x="7934" y="11184"/>
                  </a:cubicBezTo>
                  <a:cubicBezTo>
                    <a:pt x="7964" y="11127"/>
                    <a:pt x="7964" y="11127"/>
                    <a:pt x="7964" y="11127"/>
                  </a:cubicBezTo>
                  <a:cubicBezTo>
                    <a:pt x="7857" y="11072"/>
                    <a:pt x="7857" y="11072"/>
                    <a:pt x="7857" y="11072"/>
                  </a:cubicBezTo>
                  <a:cubicBezTo>
                    <a:pt x="7827" y="11130"/>
                    <a:pt x="7827" y="11130"/>
                    <a:pt x="7827" y="11130"/>
                  </a:cubicBezTo>
                  <a:cubicBezTo>
                    <a:pt x="7737" y="11083"/>
                    <a:pt x="7737" y="11083"/>
                    <a:pt x="7737" y="11083"/>
                  </a:cubicBezTo>
                  <a:cubicBezTo>
                    <a:pt x="7972" y="10626"/>
                    <a:pt x="7972" y="10626"/>
                    <a:pt x="7972" y="10626"/>
                  </a:cubicBezTo>
                  <a:cubicBezTo>
                    <a:pt x="8061" y="10670"/>
                    <a:pt x="8061" y="10670"/>
                    <a:pt x="8061" y="10670"/>
                  </a:cubicBezTo>
                  <a:cubicBezTo>
                    <a:pt x="8031" y="10728"/>
                    <a:pt x="8031" y="10728"/>
                    <a:pt x="8031" y="10728"/>
                  </a:cubicBezTo>
                  <a:cubicBezTo>
                    <a:pt x="8139" y="10783"/>
                    <a:pt x="8139" y="10783"/>
                    <a:pt x="8139" y="10783"/>
                  </a:cubicBezTo>
                  <a:cubicBezTo>
                    <a:pt x="8169" y="10726"/>
                    <a:pt x="8169" y="10726"/>
                    <a:pt x="8169" y="10726"/>
                  </a:cubicBezTo>
                  <a:cubicBezTo>
                    <a:pt x="8260" y="10772"/>
                    <a:pt x="8260" y="10772"/>
                    <a:pt x="8260" y="10772"/>
                  </a:cubicBezTo>
                  <a:lnTo>
                    <a:pt x="8024" y="11230"/>
                  </a:lnTo>
                  <a:close/>
                  <a:moveTo>
                    <a:pt x="8005" y="10785"/>
                  </a:moveTo>
                  <a:cubicBezTo>
                    <a:pt x="7886" y="11015"/>
                    <a:pt x="7886" y="11015"/>
                    <a:pt x="7886" y="11015"/>
                  </a:cubicBezTo>
                  <a:cubicBezTo>
                    <a:pt x="7990" y="11069"/>
                    <a:pt x="7990" y="11069"/>
                    <a:pt x="7990" y="11069"/>
                  </a:cubicBezTo>
                  <a:cubicBezTo>
                    <a:pt x="8111" y="10834"/>
                    <a:pt x="8111" y="10834"/>
                    <a:pt x="8111" y="10834"/>
                  </a:cubicBezTo>
                  <a:cubicBezTo>
                    <a:pt x="8011" y="10787"/>
                    <a:pt x="8011" y="10787"/>
                    <a:pt x="8011" y="10787"/>
                  </a:cubicBezTo>
                  <a:lnTo>
                    <a:pt x="8005" y="10785"/>
                  </a:lnTo>
                  <a:close/>
                  <a:moveTo>
                    <a:pt x="8091" y="10841"/>
                  </a:moveTo>
                  <a:cubicBezTo>
                    <a:pt x="7984" y="11049"/>
                    <a:pt x="7984" y="11049"/>
                    <a:pt x="7984" y="11049"/>
                  </a:cubicBezTo>
                  <a:cubicBezTo>
                    <a:pt x="7906" y="11009"/>
                    <a:pt x="7906" y="11009"/>
                    <a:pt x="7906" y="11009"/>
                  </a:cubicBezTo>
                  <a:cubicBezTo>
                    <a:pt x="8011" y="10804"/>
                    <a:pt x="8011" y="10804"/>
                    <a:pt x="8011" y="10804"/>
                  </a:cubicBezTo>
                  <a:lnTo>
                    <a:pt x="8091" y="10841"/>
                  </a:lnTo>
                  <a:close/>
                  <a:moveTo>
                    <a:pt x="2594" y="11320"/>
                  </a:moveTo>
                  <a:cubicBezTo>
                    <a:pt x="2594" y="11320"/>
                    <a:pt x="2594" y="11320"/>
                    <a:pt x="2594" y="11320"/>
                  </a:cubicBezTo>
                  <a:cubicBezTo>
                    <a:pt x="2594" y="11320"/>
                    <a:pt x="2594" y="11320"/>
                    <a:pt x="2594" y="11320"/>
                  </a:cubicBezTo>
                  <a:close/>
                  <a:moveTo>
                    <a:pt x="4144" y="6826"/>
                  </a:moveTo>
                  <a:cubicBezTo>
                    <a:pt x="4192" y="6821"/>
                    <a:pt x="4192" y="6821"/>
                    <a:pt x="4192" y="6821"/>
                  </a:cubicBezTo>
                  <a:cubicBezTo>
                    <a:pt x="4218" y="6755"/>
                    <a:pt x="4218" y="6755"/>
                    <a:pt x="4218" y="6755"/>
                  </a:cubicBezTo>
                  <a:cubicBezTo>
                    <a:pt x="4132" y="6715"/>
                    <a:pt x="4132" y="6715"/>
                    <a:pt x="4132" y="6715"/>
                  </a:cubicBezTo>
                  <a:cubicBezTo>
                    <a:pt x="4108" y="6759"/>
                    <a:pt x="4108" y="6759"/>
                    <a:pt x="4108" y="6759"/>
                  </a:cubicBezTo>
                  <a:cubicBezTo>
                    <a:pt x="4064" y="6773"/>
                    <a:pt x="4064" y="6773"/>
                    <a:pt x="4064" y="6773"/>
                  </a:cubicBezTo>
                  <a:cubicBezTo>
                    <a:pt x="4034" y="6838"/>
                    <a:pt x="4034" y="6838"/>
                    <a:pt x="4034" y="6838"/>
                  </a:cubicBezTo>
                  <a:cubicBezTo>
                    <a:pt x="4121" y="6878"/>
                    <a:pt x="4121" y="6878"/>
                    <a:pt x="4121" y="6878"/>
                  </a:cubicBezTo>
                  <a:lnTo>
                    <a:pt x="4144" y="6826"/>
                  </a:lnTo>
                  <a:close/>
                  <a:moveTo>
                    <a:pt x="4052" y="6831"/>
                  </a:moveTo>
                  <a:cubicBezTo>
                    <a:pt x="4074" y="6784"/>
                    <a:pt x="4074" y="6784"/>
                    <a:pt x="4074" y="6784"/>
                  </a:cubicBezTo>
                  <a:cubicBezTo>
                    <a:pt x="4112" y="6773"/>
                    <a:pt x="4112" y="6773"/>
                    <a:pt x="4112" y="6773"/>
                  </a:cubicBezTo>
                  <a:cubicBezTo>
                    <a:pt x="4118" y="6771"/>
                    <a:pt x="4118" y="6771"/>
                    <a:pt x="4118" y="6771"/>
                  </a:cubicBezTo>
                  <a:cubicBezTo>
                    <a:pt x="4121" y="6766"/>
                    <a:pt x="4121" y="6766"/>
                    <a:pt x="4121" y="6766"/>
                  </a:cubicBezTo>
                  <a:cubicBezTo>
                    <a:pt x="4138" y="6733"/>
                    <a:pt x="4138" y="6733"/>
                    <a:pt x="4138" y="6733"/>
                  </a:cubicBezTo>
                  <a:cubicBezTo>
                    <a:pt x="4200" y="6762"/>
                    <a:pt x="4200" y="6762"/>
                    <a:pt x="4200" y="6762"/>
                  </a:cubicBezTo>
                  <a:cubicBezTo>
                    <a:pt x="4182" y="6808"/>
                    <a:pt x="4182" y="6808"/>
                    <a:pt x="4182" y="6808"/>
                  </a:cubicBezTo>
                  <a:cubicBezTo>
                    <a:pt x="4142" y="6812"/>
                    <a:pt x="4142" y="6812"/>
                    <a:pt x="4142" y="6812"/>
                  </a:cubicBezTo>
                  <a:cubicBezTo>
                    <a:pt x="4134" y="6813"/>
                    <a:pt x="4134" y="6813"/>
                    <a:pt x="4134" y="6813"/>
                  </a:cubicBezTo>
                  <a:cubicBezTo>
                    <a:pt x="4131" y="6820"/>
                    <a:pt x="4131" y="6820"/>
                    <a:pt x="4131" y="6820"/>
                  </a:cubicBezTo>
                  <a:cubicBezTo>
                    <a:pt x="4114" y="6860"/>
                    <a:pt x="4114" y="6860"/>
                    <a:pt x="4114" y="6860"/>
                  </a:cubicBezTo>
                  <a:lnTo>
                    <a:pt x="4052" y="6831"/>
                  </a:lnTo>
                  <a:close/>
                  <a:moveTo>
                    <a:pt x="4048" y="7137"/>
                  </a:moveTo>
                  <a:cubicBezTo>
                    <a:pt x="4034" y="7066"/>
                    <a:pt x="4034" y="7066"/>
                    <a:pt x="4034" y="7066"/>
                  </a:cubicBezTo>
                  <a:cubicBezTo>
                    <a:pt x="3941" y="7076"/>
                    <a:pt x="3941" y="7076"/>
                    <a:pt x="3941" y="7076"/>
                  </a:cubicBezTo>
                  <a:cubicBezTo>
                    <a:pt x="3946" y="7130"/>
                    <a:pt x="3946" y="7130"/>
                    <a:pt x="3946" y="7130"/>
                  </a:cubicBezTo>
                  <a:cubicBezTo>
                    <a:pt x="3911" y="7167"/>
                    <a:pt x="3911" y="7167"/>
                    <a:pt x="3911" y="7167"/>
                  </a:cubicBezTo>
                  <a:cubicBezTo>
                    <a:pt x="3926" y="7240"/>
                    <a:pt x="3926" y="7240"/>
                    <a:pt x="3926" y="7240"/>
                  </a:cubicBezTo>
                  <a:cubicBezTo>
                    <a:pt x="4024" y="7225"/>
                    <a:pt x="4024" y="7225"/>
                    <a:pt x="4024" y="7225"/>
                  </a:cubicBezTo>
                  <a:cubicBezTo>
                    <a:pt x="4015" y="7163"/>
                    <a:pt x="4015" y="7163"/>
                    <a:pt x="4015" y="7163"/>
                  </a:cubicBezTo>
                  <a:lnTo>
                    <a:pt x="4048" y="7137"/>
                  </a:lnTo>
                  <a:close/>
                  <a:moveTo>
                    <a:pt x="3937" y="7224"/>
                  </a:moveTo>
                  <a:cubicBezTo>
                    <a:pt x="3926" y="7171"/>
                    <a:pt x="3926" y="7171"/>
                    <a:pt x="3926" y="7171"/>
                  </a:cubicBezTo>
                  <a:cubicBezTo>
                    <a:pt x="3956" y="7140"/>
                    <a:pt x="3956" y="7140"/>
                    <a:pt x="3956" y="7140"/>
                  </a:cubicBezTo>
                  <a:cubicBezTo>
                    <a:pt x="3960" y="7135"/>
                    <a:pt x="3960" y="7135"/>
                    <a:pt x="3960" y="7135"/>
                  </a:cubicBezTo>
                  <a:cubicBezTo>
                    <a:pt x="3960" y="7129"/>
                    <a:pt x="3960" y="7129"/>
                    <a:pt x="3960" y="7129"/>
                  </a:cubicBezTo>
                  <a:cubicBezTo>
                    <a:pt x="3956" y="7089"/>
                    <a:pt x="3956" y="7089"/>
                    <a:pt x="3956" y="7089"/>
                  </a:cubicBezTo>
                  <a:cubicBezTo>
                    <a:pt x="4023" y="7081"/>
                    <a:pt x="4023" y="7081"/>
                    <a:pt x="4023" y="7081"/>
                  </a:cubicBezTo>
                  <a:cubicBezTo>
                    <a:pt x="4032" y="7131"/>
                    <a:pt x="4032" y="7131"/>
                    <a:pt x="4032" y="7131"/>
                  </a:cubicBezTo>
                  <a:cubicBezTo>
                    <a:pt x="4006" y="7152"/>
                    <a:pt x="4006" y="7152"/>
                    <a:pt x="4006" y="7152"/>
                  </a:cubicBezTo>
                  <a:cubicBezTo>
                    <a:pt x="4000" y="7157"/>
                    <a:pt x="4000" y="7157"/>
                    <a:pt x="4000" y="7157"/>
                  </a:cubicBezTo>
                  <a:cubicBezTo>
                    <a:pt x="4001" y="7165"/>
                    <a:pt x="4001" y="7165"/>
                    <a:pt x="4001" y="7165"/>
                  </a:cubicBezTo>
                  <a:cubicBezTo>
                    <a:pt x="4008" y="7213"/>
                    <a:pt x="4008" y="7213"/>
                    <a:pt x="4008" y="7213"/>
                  </a:cubicBezTo>
                  <a:lnTo>
                    <a:pt x="3937" y="7224"/>
                  </a:lnTo>
                  <a:close/>
                  <a:moveTo>
                    <a:pt x="3958" y="7004"/>
                  </a:moveTo>
                  <a:cubicBezTo>
                    <a:pt x="4047" y="7040"/>
                    <a:pt x="4047" y="7040"/>
                    <a:pt x="4047" y="7040"/>
                  </a:cubicBezTo>
                  <a:cubicBezTo>
                    <a:pt x="4069" y="6978"/>
                    <a:pt x="4069" y="6978"/>
                    <a:pt x="4069" y="6978"/>
                  </a:cubicBezTo>
                  <a:cubicBezTo>
                    <a:pt x="4051" y="6938"/>
                    <a:pt x="4051" y="6938"/>
                    <a:pt x="4051" y="6938"/>
                  </a:cubicBezTo>
                  <a:cubicBezTo>
                    <a:pt x="4068" y="6889"/>
                    <a:pt x="4068" y="6889"/>
                    <a:pt x="4068" y="6889"/>
                  </a:cubicBezTo>
                  <a:cubicBezTo>
                    <a:pt x="3980" y="6849"/>
                    <a:pt x="3980" y="6849"/>
                    <a:pt x="3980" y="6849"/>
                  </a:cubicBezTo>
                  <a:cubicBezTo>
                    <a:pt x="3951" y="6914"/>
                    <a:pt x="3951" y="6914"/>
                    <a:pt x="3951" y="6914"/>
                  </a:cubicBezTo>
                  <a:cubicBezTo>
                    <a:pt x="3981" y="6951"/>
                    <a:pt x="3981" y="6951"/>
                    <a:pt x="3981" y="6951"/>
                  </a:cubicBezTo>
                  <a:lnTo>
                    <a:pt x="3958" y="7004"/>
                  </a:lnTo>
                  <a:close/>
                  <a:moveTo>
                    <a:pt x="3967" y="6912"/>
                  </a:moveTo>
                  <a:cubicBezTo>
                    <a:pt x="3987" y="6867"/>
                    <a:pt x="3987" y="6867"/>
                    <a:pt x="3987" y="6867"/>
                  </a:cubicBezTo>
                  <a:cubicBezTo>
                    <a:pt x="4051" y="6896"/>
                    <a:pt x="4051" y="6896"/>
                    <a:pt x="4051" y="6896"/>
                  </a:cubicBezTo>
                  <a:cubicBezTo>
                    <a:pt x="4038" y="6933"/>
                    <a:pt x="4038" y="6933"/>
                    <a:pt x="4038" y="6933"/>
                  </a:cubicBezTo>
                  <a:cubicBezTo>
                    <a:pt x="4036" y="6938"/>
                    <a:pt x="4036" y="6938"/>
                    <a:pt x="4036" y="6938"/>
                  </a:cubicBezTo>
                  <a:cubicBezTo>
                    <a:pt x="4038" y="6944"/>
                    <a:pt x="4038" y="6944"/>
                    <a:pt x="4038" y="6944"/>
                  </a:cubicBezTo>
                  <a:cubicBezTo>
                    <a:pt x="4054" y="6979"/>
                    <a:pt x="4054" y="6979"/>
                    <a:pt x="4054" y="6979"/>
                  </a:cubicBezTo>
                  <a:cubicBezTo>
                    <a:pt x="4039" y="7021"/>
                    <a:pt x="4039" y="7021"/>
                    <a:pt x="4039" y="7021"/>
                  </a:cubicBezTo>
                  <a:cubicBezTo>
                    <a:pt x="3977" y="6997"/>
                    <a:pt x="3977" y="6997"/>
                    <a:pt x="3977" y="6997"/>
                  </a:cubicBezTo>
                  <a:cubicBezTo>
                    <a:pt x="3993" y="6957"/>
                    <a:pt x="3993" y="6957"/>
                    <a:pt x="3993" y="6957"/>
                  </a:cubicBezTo>
                  <a:cubicBezTo>
                    <a:pt x="3997" y="6949"/>
                    <a:pt x="3997" y="6949"/>
                    <a:pt x="3997" y="6949"/>
                  </a:cubicBezTo>
                  <a:cubicBezTo>
                    <a:pt x="3992" y="6943"/>
                    <a:pt x="3992" y="6943"/>
                    <a:pt x="3992" y="6943"/>
                  </a:cubicBezTo>
                  <a:lnTo>
                    <a:pt x="3967" y="6912"/>
                  </a:lnTo>
                  <a:close/>
                  <a:moveTo>
                    <a:pt x="4144" y="7335"/>
                  </a:moveTo>
                  <a:cubicBezTo>
                    <a:pt x="4190" y="7163"/>
                    <a:pt x="4190" y="7163"/>
                    <a:pt x="4190" y="7163"/>
                  </a:cubicBezTo>
                  <a:cubicBezTo>
                    <a:pt x="4234" y="7089"/>
                    <a:pt x="4234" y="7089"/>
                    <a:pt x="4234" y="7089"/>
                  </a:cubicBezTo>
                  <a:cubicBezTo>
                    <a:pt x="4190" y="7063"/>
                    <a:pt x="4190" y="7063"/>
                    <a:pt x="4190" y="7063"/>
                  </a:cubicBezTo>
                  <a:cubicBezTo>
                    <a:pt x="4033" y="7320"/>
                    <a:pt x="4033" y="7320"/>
                    <a:pt x="4033" y="7320"/>
                  </a:cubicBezTo>
                  <a:cubicBezTo>
                    <a:pt x="4076" y="7350"/>
                    <a:pt x="4076" y="7350"/>
                    <a:pt x="4076" y="7350"/>
                  </a:cubicBezTo>
                  <a:cubicBezTo>
                    <a:pt x="4089" y="7329"/>
                    <a:pt x="4089" y="7329"/>
                    <a:pt x="4089" y="7329"/>
                  </a:cubicBezTo>
                  <a:lnTo>
                    <a:pt x="4144" y="7335"/>
                  </a:lnTo>
                  <a:close/>
                  <a:moveTo>
                    <a:pt x="4077" y="7322"/>
                  </a:moveTo>
                  <a:cubicBezTo>
                    <a:pt x="4072" y="7330"/>
                    <a:pt x="4072" y="7330"/>
                    <a:pt x="4072" y="7330"/>
                  </a:cubicBezTo>
                  <a:cubicBezTo>
                    <a:pt x="4052" y="7316"/>
                    <a:pt x="4052" y="7316"/>
                    <a:pt x="4052" y="7316"/>
                  </a:cubicBezTo>
                  <a:cubicBezTo>
                    <a:pt x="4194" y="7082"/>
                    <a:pt x="4194" y="7082"/>
                    <a:pt x="4194" y="7082"/>
                  </a:cubicBezTo>
                  <a:cubicBezTo>
                    <a:pt x="4215" y="7094"/>
                    <a:pt x="4215" y="7094"/>
                    <a:pt x="4215" y="7094"/>
                  </a:cubicBezTo>
                  <a:cubicBezTo>
                    <a:pt x="4178" y="7156"/>
                    <a:pt x="4178" y="7156"/>
                    <a:pt x="4178" y="7156"/>
                  </a:cubicBezTo>
                  <a:cubicBezTo>
                    <a:pt x="4177" y="7158"/>
                    <a:pt x="4177" y="7158"/>
                    <a:pt x="4177" y="7158"/>
                  </a:cubicBezTo>
                  <a:cubicBezTo>
                    <a:pt x="4176" y="7160"/>
                    <a:pt x="4176" y="7160"/>
                    <a:pt x="4176" y="7160"/>
                  </a:cubicBezTo>
                  <a:cubicBezTo>
                    <a:pt x="4133" y="7320"/>
                    <a:pt x="4133" y="7320"/>
                    <a:pt x="4133" y="7320"/>
                  </a:cubicBezTo>
                  <a:cubicBezTo>
                    <a:pt x="4090" y="7315"/>
                    <a:pt x="4090" y="7315"/>
                    <a:pt x="4090" y="7315"/>
                  </a:cubicBezTo>
                  <a:cubicBezTo>
                    <a:pt x="4082" y="7314"/>
                    <a:pt x="4082" y="7314"/>
                    <a:pt x="4082" y="7314"/>
                  </a:cubicBezTo>
                  <a:lnTo>
                    <a:pt x="4077" y="7322"/>
                  </a:lnTo>
                  <a:close/>
                  <a:moveTo>
                    <a:pt x="3953" y="7599"/>
                  </a:moveTo>
                  <a:cubicBezTo>
                    <a:pt x="4001" y="7551"/>
                    <a:pt x="4001" y="7551"/>
                    <a:pt x="4001" y="7551"/>
                  </a:cubicBezTo>
                  <a:cubicBezTo>
                    <a:pt x="3983" y="7529"/>
                    <a:pt x="3983" y="7529"/>
                    <a:pt x="3983" y="7529"/>
                  </a:cubicBezTo>
                  <a:cubicBezTo>
                    <a:pt x="4021" y="7487"/>
                    <a:pt x="4021" y="7487"/>
                    <a:pt x="4021" y="7487"/>
                  </a:cubicBezTo>
                  <a:cubicBezTo>
                    <a:pt x="4046" y="7507"/>
                    <a:pt x="4046" y="7507"/>
                    <a:pt x="4046" y="7507"/>
                  </a:cubicBezTo>
                  <a:cubicBezTo>
                    <a:pt x="4093" y="7461"/>
                    <a:pt x="4093" y="7461"/>
                    <a:pt x="4093" y="7461"/>
                  </a:cubicBezTo>
                  <a:cubicBezTo>
                    <a:pt x="4030" y="7396"/>
                    <a:pt x="4030" y="7396"/>
                    <a:pt x="4030" y="7396"/>
                  </a:cubicBezTo>
                  <a:cubicBezTo>
                    <a:pt x="3984" y="7436"/>
                    <a:pt x="3984" y="7436"/>
                    <a:pt x="3984" y="7436"/>
                  </a:cubicBezTo>
                  <a:cubicBezTo>
                    <a:pt x="3966" y="7420"/>
                    <a:pt x="3966" y="7420"/>
                    <a:pt x="3966" y="7420"/>
                  </a:cubicBezTo>
                  <a:cubicBezTo>
                    <a:pt x="3917" y="7465"/>
                    <a:pt x="3917" y="7465"/>
                    <a:pt x="3917" y="7465"/>
                  </a:cubicBezTo>
                  <a:cubicBezTo>
                    <a:pt x="3936" y="7490"/>
                    <a:pt x="3936" y="7490"/>
                    <a:pt x="3936" y="7490"/>
                  </a:cubicBezTo>
                  <a:cubicBezTo>
                    <a:pt x="3893" y="7535"/>
                    <a:pt x="3893" y="7535"/>
                    <a:pt x="3893" y="7535"/>
                  </a:cubicBezTo>
                  <a:lnTo>
                    <a:pt x="3953" y="7599"/>
                  </a:lnTo>
                  <a:close/>
                  <a:moveTo>
                    <a:pt x="3947" y="7482"/>
                  </a:moveTo>
                  <a:cubicBezTo>
                    <a:pt x="3936" y="7467"/>
                    <a:pt x="3936" y="7467"/>
                    <a:pt x="3936" y="7467"/>
                  </a:cubicBezTo>
                  <a:cubicBezTo>
                    <a:pt x="3966" y="7439"/>
                    <a:pt x="3966" y="7439"/>
                    <a:pt x="3966" y="7439"/>
                  </a:cubicBezTo>
                  <a:cubicBezTo>
                    <a:pt x="3975" y="7447"/>
                    <a:pt x="3975" y="7447"/>
                    <a:pt x="3975" y="7447"/>
                  </a:cubicBezTo>
                  <a:cubicBezTo>
                    <a:pt x="3984" y="7455"/>
                    <a:pt x="3984" y="7455"/>
                    <a:pt x="3984" y="7455"/>
                  </a:cubicBezTo>
                  <a:cubicBezTo>
                    <a:pt x="3993" y="7447"/>
                    <a:pt x="3993" y="7447"/>
                    <a:pt x="3993" y="7447"/>
                  </a:cubicBezTo>
                  <a:cubicBezTo>
                    <a:pt x="4029" y="7416"/>
                    <a:pt x="4029" y="7416"/>
                    <a:pt x="4029" y="7416"/>
                  </a:cubicBezTo>
                  <a:cubicBezTo>
                    <a:pt x="4073" y="7460"/>
                    <a:pt x="4073" y="7460"/>
                    <a:pt x="4073" y="7460"/>
                  </a:cubicBezTo>
                  <a:cubicBezTo>
                    <a:pt x="4045" y="7489"/>
                    <a:pt x="4045" y="7489"/>
                    <a:pt x="4045" y="7489"/>
                  </a:cubicBezTo>
                  <a:cubicBezTo>
                    <a:pt x="4030" y="7476"/>
                    <a:pt x="4030" y="7476"/>
                    <a:pt x="4030" y="7476"/>
                  </a:cubicBezTo>
                  <a:cubicBezTo>
                    <a:pt x="4019" y="7468"/>
                    <a:pt x="4019" y="7468"/>
                    <a:pt x="4019" y="7468"/>
                  </a:cubicBezTo>
                  <a:cubicBezTo>
                    <a:pt x="4010" y="7478"/>
                    <a:pt x="4010" y="7478"/>
                    <a:pt x="4010" y="7478"/>
                  </a:cubicBezTo>
                  <a:cubicBezTo>
                    <a:pt x="3973" y="7520"/>
                    <a:pt x="3973" y="7520"/>
                    <a:pt x="3973" y="7520"/>
                  </a:cubicBezTo>
                  <a:cubicBezTo>
                    <a:pt x="3965" y="7529"/>
                    <a:pt x="3965" y="7529"/>
                    <a:pt x="3965" y="7529"/>
                  </a:cubicBezTo>
                  <a:cubicBezTo>
                    <a:pt x="3972" y="7538"/>
                    <a:pt x="3972" y="7538"/>
                    <a:pt x="3972" y="7538"/>
                  </a:cubicBezTo>
                  <a:cubicBezTo>
                    <a:pt x="3982" y="7550"/>
                    <a:pt x="3982" y="7550"/>
                    <a:pt x="3982" y="7550"/>
                  </a:cubicBezTo>
                  <a:cubicBezTo>
                    <a:pt x="3954" y="7579"/>
                    <a:pt x="3954" y="7579"/>
                    <a:pt x="3954" y="7579"/>
                  </a:cubicBezTo>
                  <a:cubicBezTo>
                    <a:pt x="3912" y="7535"/>
                    <a:pt x="3912" y="7535"/>
                    <a:pt x="3912" y="7535"/>
                  </a:cubicBezTo>
                  <a:cubicBezTo>
                    <a:pt x="3946" y="7500"/>
                    <a:pt x="3946" y="7500"/>
                    <a:pt x="3946" y="7500"/>
                  </a:cubicBezTo>
                  <a:cubicBezTo>
                    <a:pt x="3955" y="7491"/>
                    <a:pt x="3955" y="7491"/>
                    <a:pt x="3955" y="7491"/>
                  </a:cubicBezTo>
                  <a:lnTo>
                    <a:pt x="3947" y="7482"/>
                  </a:lnTo>
                  <a:close/>
                  <a:moveTo>
                    <a:pt x="3914" y="7361"/>
                  </a:moveTo>
                  <a:cubicBezTo>
                    <a:pt x="3958" y="7317"/>
                    <a:pt x="3958" y="7317"/>
                    <a:pt x="3958" y="7317"/>
                  </a:cubicBezTo>
                  <a:cubicBezTo>
                    <a:pt x="3895" y="7251"/>
                    <a:pt x="3895" y="7251"/>
                    <a:pt x="3895" y="7251"/>
                  </a:cubicBezTo>
                  <a:cubicBezTo>
                    <a:pt x="3843" y="7297"/>
                    <a:pt x="3843" y="7297"/>
                    <a:pt x="3843" y="7297"/>
                  </a:cubicBezTo>
                  <a:cubicBezTo>
                    <a:pt x="3867" y="7322"/>
                    <a:pt x="3867" y="7322"/>
                    <a:pt x="3867" y="7322"/>
                  </a:cubicBezTo>
                  <a:cubicBezTo>
                    <a:pt x="3829" y="7363"/>
                    <a:pt x="3829" y="7363"/>
                    <a:pt x="3829" y="7363"/>
                  </a:cubicBezTo>
                  <a:cubicBezTo>
                    <a:pt x="3804" y="7342"/>
                    <a:pt x="3804" y="7342"/>
                    <a:pt x="3804" y="7342"/>
                  </a:cubicBezTo>
                  <a:cubicBezTo>
                    <a:pt x="3756" y="7388"/>
                    <a:pt x="3756" y="7388"/>
                    <a:pt x="3756" y="7388"/>
                  </a:cubicBezTo>
                  <a:cubicBezTo>
                    <a:pt x="3818" y="7454"/>
                    <a:pt x="3818" y="7454"/>
                    <a:pt x="3818" y="7454"/>
                  </a:cubicBezTo>
                  <a:cubicBezTo>
                    <a:pt x="3865" y="7414"/>
                    <a:pt x="3865" y="7414"/>
                    <a:pt x="3865" y="7414"/>
                  </a:cubicBezTo>
                  <a:cubicBezTo>
                    <a:pt x="3883" y="7431"/>
                    <a:pt x="3883" y="7431"/>
                    <a:pt x="3883" y="7431"/>
                  </a:cubicBezTo>
                  <a:cubicBezTo>
                    <a:pt x="3933" y="7387"/>
                    <a:pt x="3933" y="7387"/>
                    <a:pt x="3933" y="7387"/>
                  </a:cubicBezTo>
                  <a:lnTo>
                    <a:pt x="3914" y="7361"/>
                  </a:lnTo>
                  <a:close/>
                  <a:moveTo>
                    <a:pt x="3874" y="7404"/>
                  </a:moveTo>
                  <a:cubicBezTo>
                    <a:pt x="3865" y="7396"/>
                    <a:pt x="3865" y="7396"/>
                    <a:pt x="3865" y="7396"/>
                  </a:cubicBezTo>
                  <a:cubicBezTo>
                    <a:pt x="3856" y="7404"/>
                    <a:pt x="3856" y="7404"/>
                    <a:pt x="3856" y="7404"/>
                  </a:cubicBezTo>
                  <a:cubicBezTo>
                    <a:pt x="3819" y="7434"/>
                    <a:pt x="3819" y="7434"/>
                    <a:pt x="3819" y="7434"/>
                  </a:cubicBezTo>
                  <a:cubicBezTo>
                    <a:pt x="3776" y="7389"/>
                    <a:pt x="3776" y="7389"/>
                    <a:pt x="3776" y="7389"/>
                  </a:cubicBezTo>
                  <a:cubicBezTo>
                    <a:pt x="3805" y="7361"/>
                    <a:pt x="3805" y="7361"/>
                    <a:pt x="3805" y="7361"/>
                  </a:cubicBezTo>
                  <a:cubicBezTo>
                    <a:pt x="3820" y="7374"/>
                    <a:pt x="3820" y="7374"/>
                    <a:pt x="3820" y="7374"/>
                  </a:cubicBezTo>
                  <a:cubicBezTo>
                    <a:pt x="3830" y="7383"/>
                    <a:pt x="3830" y="7383"/>
                    <a:pt x="3830" y="7383"/>
                  </a:cubicBezTo>
                  <a:cubicBezTo>
                    <a:pt x="3839" y="7373"/>
                    <a:pt x="3839" y="7373"/>
                    <a:pt x="3839" y="7373"/>
                  </a:cubicBezTo>
                  <a:cubicBezTo>
                    <a:pt x="3878" y="7331"/>
                    <a:pt x="3878" y="7331"/>
                    <a:pt x="3878" y="7331"/>
                  </a:cubicBezTo>
                  <a:cubicBezTo>
                    <a:pt x="3887" y="7321"/>
                    <a:pt x="3887" y="7321"/>
                    <a:pt x="3887" y="7321"/>
                  </a:cubicBezTo>
                  <a:cubicBezTo>
                    <a:pt x="3877" y="7312"/>
                    <a:pt x="3877" y="7312"/>
                    <a:pt x="3877" y="7312"/>
                  </a:cubicBezTo>
                  <a:cubicBezTo>
                    <a:pt x="3863" y="7298"/>
                    <a:pt x="3863" y="7298"/>
                    <a:pt x="3863" y="7298"/>
                  </a:cubicBezTo>
                  <a:cubicBezTo>
                    <a:pt x="3894" y="7270"/>
                    <a:pt x="3894" y="7270"/>
                    <a:pt x="3894" y="7270"/>
                  </a:cubicBezTo>
                  <a:cubicBezTo>
                    <a:pt x="3938" y="7317"/>
                    <a:pt x="3938" y="7317"/>
                    <a:pt x="3938" y="7317"/>
                  </a:cubicBezTo>
                  <a:cubicBezTo>
                    <a:pt x="3904" y="7351"/>
                    <a:pt x="3904" y="7351"/>
                    <a:pt x="3904" y="7351"/>
                  </a:cubicBezTo>
                  <a:cubicBezTo>
                    <a:pt x="3895" y="7360"/>
                    <a:pt x="3895" y="7360"/>
                    <a:pt x="3895" y="7360"/>
                  </a:cubicBezTo>
                  <a:cubicBezTo>
                    <a:pt x="3903" y="7370"/>
                    <a:pt x="3903" y="7370"/>
                    <a:pt x="3903" y="7370"/>
                  </a:cubicBezTo>
                  <a:cubicBezTo>
                    <a:pt x="3914" y="7385"/>
                    <a:pt x="3914" y="7385"/>
                    <a:pt x="3914" y="7385"/>
                  </a:cubicBezTo>
                  <a:cubicBezTo>
                    <a:pt x="3883" y="7412"/>
                    <a:pt x="3883" y="7412"/>
                    <a:pt x="3883" y="7412"/>
                  </a:cubicBezTo>
                  <a:lnTo>
                    <a:pt x="3874" y="7404"/>
                  </a:lnTo>
                  <a:close/>
                  <a:moveTo>
                    <a:pt x="3589" y="7674"/>
                  </a:moveTo>
                  <a:cubicBezTo>
                    <a:pt x="3765" y="7647"/>
                    <a:pt x="3765" y="7647"/>
                    <a:pt x="3765" y="7647"/>
                  </a:cubicBezTo>
                  <a:cubicBezTo>
                    <a:pt x="3751" y="7563"/>
                    <a:pt x="3751" y="7563"/>
                    <a:pt x="3751" y="7563"/>
                  </a:cubicBezTo>
                  <a:cubicBezTo>
                    <a:pt x="3677" y="7575"/>
                    <a:pt x="3677" y="7575"/>
                    <a:pt x="3677" y="7575"/>
                  </a:cubicBezTo>
                  <a:cubicBezTo>
                    <a:pt x="3660" y="7496"/>
                    <a:pt x="3660" y="7496"/>
                    <a:pt x="3660" y="7496"/>
                  </a:cubicBezTo>
                  <a:cubicBezTo>
                    <a:pt x="3578" y="7512"/>
                    <a:pt x="3578" y="7512"/>
                    <a:pt x="3578" y="7512"/>
                  </a:cubicBezTo>
                  <a:cubicBezTo>
                    <a:pt x="3592" y="7589"/>
                    <a:pt x="3592" y="7589"/>
                    <a:pt x="3592" y="7589"/>
                  </a:cubicBezTo>
                  <a:cubicBezTo>
                    <a:pt x="3592" y="7589"/>
                    <a:pt x="3570" y="7592"/>
                    <a:pt x="3573" y="7594"/>
                  </a:cubicBezTo>
                  <a:cubicBezTo>
                    <a:pt x="3575" y="7595"/>
                    <a:pt x="3589" y="7674"/>
                    <a:pt x="3589" y="7674"/>
                  </a:cubicBezTo>
                  <a:close/>
                  <a:moveTo>
                    <a:pt x="3594" y="7603"/>
                  </a:moveTo>
                  <a:cubicBezTo>
                    <a:pt x="3608" y="7601"/>
                    <a:pt x="3608" y="7601"/>
                    <a:pt x="3608" y="7601"/>
                  </a:cubicBezTo>
                  <a:cubicBezTo>
                    <a:pt x="3606" y="7587"/>
                    <a:pt x="3606" y="7587"/>
                    <a:pt x="3606" y="7587"/>
                  </a:cubicBezTo>
                  <a:cubicBezTo>
                    <a:pt x="3595" y="7523"/>
                    <a:pt x="3595" y="7523"/>
                    <a:pt x="3595" y="7523"/>
                  </a:cubicBezTo>
                  <a:cubicBezTo>
                    <a:pt x="3649" y="7513"/>
                    <a:pt x="3649" y="7513"/>
                    <a:pt x="3649" y="7513"/>
                  </a:cubicBezTo>
                  <a:cubicBezTo>
                    <a:pt x="3663" y="7578"/>
                    <a:pt x="3663" y="7578"/>
                    <a:pt x="3663" y="7578"/>
                  </a:cubicBezTo>
                  <a:cubicBezTo>
                    <a:pt x="3666" y="7591"/>
                    <a:pt x="3666" y="7591"/>
                    <a:pt x="3666" y="7591"/>
                  </a:cubicBezTo>
                  <a:cubicBezTo>
                    <a:pt x="3679" y="7589"/>
                    <a:pt x="3679" y="7589"/>
                    <a:pt x="3679" y="7589"/>
                  </a:cubicBezTo>
                  <a:cubicBezTo>
                    <a:pt x="3740" y="7579"/>
                    <a:pt x="3740" y="7579"/>
                    <a:pt x="3740" y="7579"/>
                  </a:cubicBezTo>
                  <a:cubicBezTo>
                    <a:pt x="3749" y="7636"/>
                    <a:pt x="3749" y="7636"/>
                    <a:pt x="3749" y="7636"/>
                  </a:cubicBezTo>
                  <a:cubicBezTo>
                    <a:pt x="3600" y="7658"/>
                    <a:pt x="3600" y="7658"/>
                    <a:pt x="3600" y="7658"/>
                  </a:cubicBezTo>
                  <a:cubicBezTo>
                    <a:pt x="3595" y="7631"/>
                    <a:pt x="3592" y="7614"/>
                    <a:pt x="3590" y="7604"/>
                  </a:cubicBezTo>
                  <a:cubicBezTo>
                    <a:pt x="3591" y="7603"/>
                    <a:pt x="3593" y="7603"/>
                    <a:pt x="3594" y="7603"/>
                  </a:cubicBezTo>
                  <a:close/>
                  <a:moveTo>
                    <a:pt x="3708" y="7876"/>
                  </a:moveTo>
                  <a:cubicBezTo>
                    <a:pt x="3790" y="7866"/>
                    <a:pt x="3790" y="7866"/>
                    <a:pt x="3790" y="7866"/>
                  </a:cubicBezTo>
                  <a:cubicBezTo>
                    <a:pt x="3775" y="7784"/>
                    <a:pt x="3775" y="7784"/>
                    <a:pt x="3775" y="7784"/>
                  </a:cubicBezTo>
                  <a:cubicBezTo>
                    <a:pt x="3850" y="7773"/>
                    <a:pt x="3850" y="7773"/>
                    <a:pt x="3850" y="7773"/>
                  </a:cubicBezTo>
                  <a:cubicBezTo>
                    <a:pt x="3836" y="7688"/>
                    <a:pt x="3836" y="7688"/>
                    <a:pt x="3836" y="7688"/>
                  </a:cubicBezTo>
                  <a:cubicBezTo>
                    <a:pt x="3656" y="7724"/>
                    <a:pt x="3656" y="7724"/>
                    <a:pt x="3656" y="7724"/>
                  </a:cubicBezTo>
                  <a:cubicBezTo>
                    <a:pt x="3656" y="7724"/>
                    <a:pt x="3672" y="7798"/>
                    <a:pt x="3671" y="7800"/>
                  </a:cubicBezTo>
                  <a:cubicBezTo>
                    <a:pt x="3669" y="7802"/>
                    <a:pt x="3690" y="7798"/>
                    <a:pt x="3690" y="7798"/>
                  </a:cubicBezTo>
                  <a:lnTo>
                    <a:pt x="3708" y="7876"/>
                  </a:lnTo>
                  <a:close/>
                  <a:moveTo>
                    <a:pt x="3683" y="7785"/>
                  </a:moveTo>
                  <a:cubicBezTo>
                    <a:pt x="3681" y="7775"/>
                    <a:pt x="3678" y="7759"/>
                    <a:pt x="3673" y="7735"/>
                  </a:cubicBezTo>
                  <a:cubicBezTo>
                    <a:pt x="3824" y="7704"/>
                    <a:pt x="3824" y="7704"/>
                    <a:pt x="3824" y="7704"/>
                  </a:cubicBezTo>
                  <a:cubicBezTo>
                    <a:pt x="3834" y="7761"/>
                    <a:pt x="3834" y="7761"/>
                    <a:pt x="3834" y="7761"/>
                  </a:cubicBezTo>
                  <a:cubicBezTo>
                    <a:pt x="3773" y="7770"/>
                    <a:pt x="3773" y="7770"/>
                    <a:pt x="3773" y="7770"/>
                  </a:cubicBezTo>
                  <a:cubicBezTo>
                    <a:pt x="3759" y="7773"/>
                    <a:pt x="3759" y="7773"/>
                    <a:pt x="3759" y="7773"/>
                  </a:cubicBezTo>
                  <a:cubicBezTo>
                    <a:pt x="3761" y="7787"/>
                    <a:pt x="3761" y="7787"/>
                    <a:pt x="3761" y="7787"/>
                  </a:cubicBezTo>
                  <a:cubicBezTo>
                    <a:pt x="3773" y="7854"/>
                    <a:pt x="3773" y="7854"/>
                    <a:pt x="3773" y="7854"/>
                  </a:cubicBezTo>
                  <a:cubicBezTo>
                    <a:pt x="3718" y="7861"/>
                    <a:pt x="3718" y="7861"/>
                    <a:pt x="3718" y="7861"/>
                  </a:cubicBezTo>
                  <a:cubicBezTo>
                    <a:pt x="3704" y="7795"/>
                    <a:pt x="3704" y="7795"/>
                    <a:pt x="3704" y="7795"/>
                  </a:cubicBezTo>
                  <a:cubicBezTo>
                    <a:pt x="3701" y="7782"/>
                    <a:pt x="3701" y="7782"/>
                    <a:pt x="3701" y="7782"/>
                  </a:cubicBezTo>
                  <a:cubicBezTo>
                    <a:pt x="3688" y="7784"/>
                    <a:pt x="3688" y="7784"/>
                    <a:pt x="3688" y="7784"/>
                  </a:cubicBezTo>
                  <a:cubicBezTo>
                    <a:pt x="3686" y="7785"/>
                    <a:pt x="3685" y="7785"/>
                    <a:pt x="3683" y="7785"/>
                  </a:cubicBezTo>
                  <a:close/>
                  <a:moveTo>
                    <a:pt x="1052" y="9215"/>
                  </a:moveTo>
                  <a:cubicBezTo>
                    <a:pt x="1542" y="8889"/>
                    <a:pt x="1542" y="8889"/>
                    <a:pt x="1542" y="8889"/>
                  </a:cubicBezTo>
                  <a:cubicBezTo>
                    <a:pt x="1479" y="8756"/>
                    <a:pt x="1479" y="8756"/>
                    <a:pt x="1479" y="8756"/>
                  </a:cubicBezTo>
                  <a:cubicBezTo>
                    <a:pt x="1063" y="9152"/>
                    <a:pt x="1063" y="9152"/>
                    <a:pt x="1063" y="9152"/>
                  </a:cubicBezTo>
                  <a:lnTo>
                    <a:pt x="1052" y="9215"/>
                  </a:lnTo>
                  <a:close/>
                  <a:moveTo>
                    <a:pt x="1076" y="9159"/>
                  </a:moveTo>
                  <a:cubicBezTo>
                    <a:pt x="1475" y="8779"/>
                    <a:pt x="1475" y="8779"/>
                    <a:pt x="1475" y="8779"/>
                  </a:cubicBezTo>
                  <a:cubicBezTo>
                    <a:pt x="1524" y="8884"/>
                    <a:pt x="1524" y="8884"/>
                    <a:pt x="1524" y="8884"/>
                  </a:cubicBezTo>
                  <a:cubicBezTo>
                    <a:pt x="1071" y="9186"/>
                    <a:pt x="1071" y="9186"/>
                    <a:pt x="1071" y="9186"/>
                  </a:cubicBezTo>
                  <a:lnTo>
                    <a:pt x="1076" y="9159"/>
                  </a:lnTo>
                  <a:close/>
                  <a:moveTo>
                    <a:pt x="1701" y="7730"/>
                  </a:moveTo>
                  <a:cubicBezTo>
                    <a:pt x="1710" y="7667"/>
                    <a:pt x="1710" y="7667"/>
                    <a:pt x="1710" y="7667"/>
                  </a:cubicBezTo>
                  <a:cubicBezTo>
                    <a:pt x="1675" y="7632"/>
                    <a:pt x="1675" y="7632"/>
                    <a:pt x="1675" y="7632"/>
                  </a:cubicBezTo>
                  <a:cubicBezTo>
                    <a:pt x="1730" y="7473"/>
                    <a:pt x="1730" y="7473"/>
                    <a:pt x="1730" y="7473"/>
                  </a:cubicBezTo>
                  <a:cubicBezTo>
                    <a:pt x="1691" y="7431"/>
                    <a:pt x="1691" y="7431"/>
                    <a:pt x="1691" y="7431"/>
                  </a:cubicBezTo>
                  <a:cubicBezTo>
                    <a:pt x="1546" y="7647"/>
                    <a:pt x="1546" y="7647"/>
                    <a:pt x="1546" y="7647"/>
                  </a:cubicBezTo>
                  <a:cubicBezTo>
                    <a:pt x="1606" y="7724"/>
                    <a:pt x="1606" y="7724"/>
                    <a:pt x="1606" y="7724"/>
                  </a:cubicBezTo>
                  <a:lnTo>
                    <a:pt x="1701" y="7730"/>
                  </a:lnTo>
                  <a:close/>
                  <a:moveTo>
                    <a:pt x="1693" y="7454"/>
                  </a:moveTo>
                  <a:cubicBezTo>
                    <a:pt x="1714" y="7477"/>
                    <a:pt x="1714" y="7477"/>
                    <a:pt x="1714" y="7477"/>
                  </a:cubicBezTo>
                  <a:cubicBezTo>
                    <a:pt x="1661" y="7628"/>
                    <a:pt x="1661" y="7628"/>
                    <a:pt x="1661" y="7628"/>
                  </a:cubicBezTo>
                  <a:cubicBezTo>
                    <a:pt x="1658" y="7636"/>
                    <a:pt x="1658" y="7636"/>
                    <a:pt x="1658" y="7636"/>
                  </a:cubicBezTo>
                  <a:cubicBezTo>
                    <a:pt x="1665" y="7642"/>
                    <a:pt x="1665" y="7642"/>
                    <a:pt x="1665" y="7642"/>
                  </a:cubicBezTo>
                  <a:cubicBezTo>
                    <a:pt x="1696" y="7672"/>
                    <a:pt x="1696" y="7672"/>
                    <a:pt x="1696" y="7672"/>
                  </a:cubicBezTo>
                  <a:cubicBezTo>
                    <a:pt x="1689" y="7715"/>
                    <a:pt x="1689" y="7715"/>
                    <a:pt x="1689" y="7715"/>
                  </a:cubicBezTo>
                  <a:cubicBezTo>
                    <a:pt x="1613" y="7711"/>
                    <a:pt x="1613" y="7711"/>
                    <a:pt x="1613" y="7711"/>
                  </a:cubicBezTo>
                  <a:cubicBezTo>
                    <a:pt x="1564" y="7646"/>
                    <a:pt x="1564" y="7646"/>
                    <a:pt x="1564" y="7646"/>
                  </a:cubicBezTo>
                  <a:lnTo>
                    <a:pt x="1693" y="7454"/>
                  </a:lnTo>
                  <a:close/>
                  <a:moveTo>
                    <a:pt x="1600" y="8107"/>
                  </a:moveTo>
                  <a:cubicBezTo>
                    <a:pt x="1600" y="8107"/>
                    <a:pt x="1693" y="8230"/>
                    <a:pt x="1695" y="8230"/>
                  </a:cubicBezTo>
                  <a:cubicBezTo>
                    <a:pt x="1697" y="8230"/>
                    <a:pt x="1942" y="8221"/>
                    <a:pt x="1945" y="8221"/>
                  </a:cubicBezTo>
                  <a:cubicBezTo>
                    <a:pt x="1948" y="8221"/>
                    <a:pt x="2014" y="8174"/>
                    <a:pt x="2014" y="8174"/>
                  </a:cubicBezTo>
                  <a:cubicBezTo>
                    <a:pt x="2014" y="8174"/>
                    <a:pt x="1826" y="8083"/>
                    <a:pt x="1829" y="8083"/>
                  </a:cubicBezTo>
                  <a:cubicBezTo>
                    <a:pt x="1832" y="8083"/>
                    <a:pt x="1846" y="8033"/>
                    <a:pt x="1846" y="8033"/>
                  </a:cubicBezTo>
                  <a:cubicBezTo>
                    <a:pt x="1744" y="7983"/>
                    <a:pt x="1744" y="7983"/>
                    <a:pt x="1744" y="7983"/>
                  </a:cubicBezTo>
                  <a:lnTo>
                    <a:pt x="1600" y="8107"/>
                  </a:lnTo>
                  <a:close/>
                  <a:moveTo>
                    <a:pt x="1829" y="8040"/>
                  </a:moveTo>
                  <a:cubicBezTo>
                    <a:pt x="1826" y="8051"/>
                    <a:pt x="1823" y="8062"/>
                    <a:pt x="1821" y="8069"/>
                  </a:cubicBezTo>
                  <a:cubicBezTo>
                    <a:pt x="1818" y="8069"/>
                    <a:pt x="1818" y="8069"/>
                    <a:pt x="1818" y="8069"/>
                  </a:cubicBezTo>
                  <a:cubicBezTo>
                    <a:pt x="1816" y="8080"/>
                    <a:pt x="1816" y="8080"/>
                    <a:pt x="1816" y="8080"/>
                  </a:cubicBezTo>
                  <a:cubicBezTo>
                    <a:pt x="1813" y="8092"/>
                    <a:pt x="1813" y="8092"/>
                    <a:pt x="1915" y="8142"/>
                  </a:cubicBezTo>
                  <a:cubicBezTo>
                    <a:pt x="1942" y="8155"/>
                    <a:pt x="1969" y="8168"/>
                    <a:pt x="1987" y="8177"/>
                  </a:cubicBezTo>
                  <a:cubicBezTo>
                    <a:pt x="1967" y="8191"/>
                    <a:pt x="1948" y="8204"/>
                    <a:pt x="1942" y="8208"/>
                  </a:cubicBezTo>
                  <a:cubicBezTo>
                    <a:pt x="1930" y="8208"/>
                    <a:pt x="1889" y="8209"/>
                    <a:pt x="1801" y="8212"/>
                  </a:cubicBezTo>
                  <a:cubicBezTo>
                    <a:pt x="1757" y="8214"/>
                    <a:pt x="1716" y="8215"/>
                    <a:pt x="1701" y="8216"/>
                  </a:cubicBezTo>
                  <a:cubicBezTo>
                    <a:pt x="1689" y="8200"/>
                    <a:pt x="1648" y="8148"/>
                    <a:pt x="1619" y="8109"/>
                  </a:cubicBezTo>
                  <a:cubicBezTo>
                    <a:pt x="1746" y="7999"/>
                    <a:pt x="1746" y="7999"/>
                    <a:pt x="1746" y="7999"/>
                  </a:cubicBezTo>
                  <a:lnTo>
                    <a:pt x="1829" y="8040"/>
                  </a:lnTo>
                  <a:close/>
                  <a:moveTo>
                    <a:pt x="968" y="7880"/>
                  </a:moveTo>
                  <a:cubicBezTo>
                    <a:pt x="1000" y="7871"/>
                    <a:pt x="1000" y="7871"/>
                    <a:pt x="1000" y="7871"/>
                  </a:cubicBezTo>
                  <a:cubicBezTo>
                    <a:pt x="1006" y="7889"/>
                    <a:pt x="1006" y="7889"/>
                    <a:pt x="1006" y="7889"/>
                  </a:cubicBezTo>
                  <a:cubicBezTo>
                    <a:pt x="950" y="7915"/>
                    <a:pt x="950" y="7915"/>
                    <a:pt x="950" y="7915"/>
                  </a:cubicBezTo>
                  <a:cubicBezTo>
                    <a:pt x="985" y="8009"/>
                    <a:pt x="985" y="8009"/>
                    <a:pt x="985" y="8009"/>
                  </a:cubicBezTo>
                  <a:cubicBezTo>
                    <a:pt x="1073" y="7974"/>
                    <a:pt x="1073" y="7974"/>
                    <a:pt x="1073" y="7974"/>
                  </a:cubicBezTo>
                  <a:cubicBezTo>
                    <a:pt x="1060" y="7932"/>
                    <a:pt x="1060" y="7932"/>
                    <a:pt x="1060" y="7932"/>
                  </a:cubicBezTo>
                  <a:cubicBezTo>
                    <a:pt x="1117" y="7908"/>
                    <a:pt x="1117" y="7908"/>
                    <a:pt x="1117" y="7908"/>
                  </a:cubicBezTo>
                  <a:cubicBezTo>
                    <a:pt x="1084" y="7809"/>
                    <a:pt x="1084" y="7809"/>
                    <a:pt x="1084" y="7809"/>
                  </a:cubicBezTo>
                  <a:cubicBezTo>
                    <a:pt x="1053" y="7820"/>
                    <a:pt x="1053" y="7820"/>
                    <a:pt x="1053" y="7820"/>
                  </a:cubicBezTo>
                  <a:cubicBezTo>
                    <a:pt x="1046" y="7800"/>
                    <a:pt x="1046" y="7800"/>
                    <a:pt x="1046" y="7800"/>
                  </a:cubicBezTo>
                  <a:cubicBezTo>
                    <a:pt x="1102" y="7778"/>
                    <a:pt x="1102" y="7778"/>
                    <a:pt x="1102" y="7778"/>
                  </a:cubicBezTo>
                  <a:cubicBezTo>
                    <a:pt x="1068" y="7679"/>
                    <a:pt x="1068" y="7679"/>
                    <a:pt x="1068" y="7679"/>
                  </a:cubicBezTo>
                  <a:cubicBezTo>
                    <a:pt x="977" y="7716"/>
                    <a:pt x="977" y="7716"/>
                    <a:pt x="977" y="7716"/>
                  </a:cubicBezTo>
                  <a:cubicBezTo>
                    <a:pt x="992" y="7759"/>
                    <a:pt x="992" y="7759"/>
                    <a:pt x="992" y="7759"/>
                  </a:cubicBezTo>
                  <a:cubicBezTo>
                    <a:pt x="937" y="7785"/>
                    <a:pt x="937" y="7785"/>
                    <a:pt x="937" y="7785"/>
                  </a:cubicBezTo>
                  <a:lnTo>
                    <a:pt x="968" y="7880"/>
                  </a:lnTo>
                  <a:close/>
                  <a:moveTo>
                    <a:pt x="1005" y="7755"/>
                  </a:moveTo>
                  <a:cubicBezTo>
                    <a:pt x="994" y="7724"/>
                    <a:pt x="994" y="7724"/>
                    <a:pt x="994" y="7724"/>
                  </a:cubicBezTo>
                  <a:cubicBezTo>
                    <a:pt x="1059" y="7698"/>
                    <a:pt x="1059" y="7698"/>
                    <a:pt x="1059" y="7698"/>
                  </a:cubicBezTo>
                  <a:cubicBezTo>
                    <a:pt x="1084" y="7770"/>
                    <a:pt x="1084" y="7770"/>
                    <a:pt x="1084" y="7770"/>
                  </a:cubicBezTo>
                  <a:cubicBezTo>
                    <a:pt x="1041" y="7787"/>
                    <a:pt x="1041" y="7787"/>
                    <a:pt x="1041" y="7787"/>
                  </a:cubicBezTo>
                  <a:cubicBezTo>
                    <a:pt x="1029" y="7792"/>
                    <a:pt x="1029" y="7792"/>
                    <a:pt x="1029" y="7792"/>
                  </a:cubicBezTo>
                  <a:cubicBezTo>
                    <a:pt x="1033" y="7805"/>
                    <a:pt x="1033" y="7805"/>
                    <a:pt x="1033" y="7805"/>
                  </a:cubicBezTo>
                  <a:cubicBezTo>
                    <a:pt x="1040" y="7825"/>
                    <a:pt x="1040" y="7825"/>
                    <a:pt x="1040" y="7825"/>
                  </a:cubicBezTo>
                  <a:cubicBezTo>
                    <a:pt x="1045" y="7837"/>
                    <a:pt x="1045" y="7837"/>
                    <a:pt x="1045" y="7837"/>
                  </a:cubicBezTo>
                  <a:cubicBezTo>
                    <a:pt x="1058" y="7833"/>
                    <a:pt x="1058" y="7833"/>
                    <a:pt x="1058" y="7833"/>
                  </a:cubicBezTo>
                  <a:cubicBezTo>
                    <a:pt x="1075" y="7827"/>
                    <a:pt x="1075" y="7827"/>
                    <a:pt x="1075" y="7827"/>
                  </a:cubicBezTo>
                  <a:cubicBezTo>
                    <a:pt x="1100" y="7900"/>
                    <a:pt x="1100" y="7900"/>
                    <a:pt x="1100" y="7900"/>
                  </a:cubicBezTo>
                  <a:cubicBezTo>
                    <a:pt x="1054" y="7920"/>
                    <a:pt x="1054" y="7920"/>
                    <a:pt x="1054" y="7920"/>
                  </a:cubicBezTo>
                  <a:cubicBezTo>
                    <a:pt x="1043" y="7925"/>
                    <a:pt x="1043" y="7925"/>
                    <a:pt x="1043" y="7925"/>
                  </a:cubicBezTo>
                  <a:cubicBezTo>
                    <a:pt x="1046" y="7937"/>
                    <a:pt x="1046" y="7937"/>
                    <a:pt x="1046" y="7937"/>
                  </a:cubicBezTo>
                  <a:cubicBezTo>
                    <a:pt x="1056" y="7966"/>
                    <a:pt x="1056" y="7966"/>
                    <a:pt x="1056" y="7966"/>
                  </a:cubicBezTo>
                  <a:cubicBezTo>
                    <a:pt x="993" y="7991"/>
                    <a:pt x="993" y="7991"/>
                    <a:pt x="993" y="7991"/>
                  </a:cubicBezTo>
                  <a:cubicBezTo>
                    <a:pt x="968" y="7922"/>
                    <a:pt x="968" y="7922"/>
                    <a:pt x="968" y="7922"/>
                  </a:cubicBezTo>
                  <a:cubicBezTo>
                    <a:pt x="1012" y="7902"/>
                    <a:pt x="1012" y="7902"/>
                    <a:pt x="1012" y="7902"/>
                  </a:cubicBezTo>
                  <a:cubicBezTo>
                    <a:pt x="1024" y="7897"/>
                    <a:pt x="1024" y="7897"/>
                    <a:pt x="1024" y="7897"/>
                  </a:cubicBezTo>
                  <a:cubicBezTo>
                    <a:pt x="1020" y="7885"/>
                    <a:pt x="1020" y="7885"/>
                    <a:pt x="1020" y="7885"/>
                  </a:cubicBezTo>
                  <a:cubicBezTo>
                    <a:pt x="1013" y="7867"/>
                    <a:pt x="1013" y="7867"/>
                    <a:pt x="1013" y="7867"/>
                  </a:cubicBezTo>
                  <a:cubicBezTo>
                    <a:pt x="1009" y="7854"/>
                    <a:pt x="1009" y="7854"/>
                    <a:pt x="1009" y="7854"/>
                  </a:cubicBezTo>
                  <a:cubicBezTo>
                    <a:pt x="996" y="7858"/>
                    <a:pt x="996" y="7858"/>
                    <a:pt x="996" y="7858"/>
                  </a:cubicBezTo>
                  <a:cubicBezTo>
                    <a:pt x="977" y="7863"/>
                    <a:pt x="977" y="7863"/>
                    <a:pt x="977" y="7863"/>
                  </a:cubicBezTo>
                  <a:cubicBezTo>
                    <a:pt x="954" y="7792"/>
                    <a:pt x="954" y="7792"/>
                    <a:pt x="954" y="7792"/>
                  </a:cubicBezTo>
                  <a:cubicBezTo>
                    <a:pt x="998" y="7772"/>
                    <a:pt x="998" y="7772"/>
                    <a:pt x="998" y="7772"/>
                  </a:cubicBezTo>
                  <a:cubicBezTo>
                    <a:pt x="1009" y="7767"/>
                    <a:pt x="1009" y="7767"/>
                    <a:pt x="1009" y="7767"/>
                  </a:cubicBezTo>
                  <a:lnTo>
                    <a:pt x="1005" y="7755"/>
                  </a:lnTo>
                  <a:close/>
                  <a:moveTo>
                    <a:pt x="1124" y="7661"/>
                  </a:moveTo>
                  <a:cubicBezTo>
                    <a:pt x="1198" y="7865"/>
                    <a:pt x="1198" y="7865"/>
                    <a:pt x="1198" y="7865"/>
                  </a:cubicBezTo>
                  <a:cubicBezTo>
                    <a:pt x="1263" y="7819"/>
                    <a:pt x="1263" y="7819"/>
                    <a:pt x="1263" y="7819"/>
                  </a:cubicBezTo>
                  <a:cubicBezTo>
                    <a:pt x="1326" y="7724"/>
                    <a:pt x="1326" y="7724"/>
                    <a:pt x="1326" y="7724"/>
                  </a:cubicBezTo>
                  <a:cubicBezTo>
                    <a:pt x="1313" y="7649"/>
                    <a:pt x="1313" y="7649"/>
                    <a:pt x="1313" y="7649"/>
                  </a:cubicBezTo>
                  <a:cubicBezTo>
                    <a:pt x="1345" y="7604"/>
                    <a:pt x="1345" y="7604"/>
                    <a:pt x="1345" y="7604"/>
                  </a:cubicBezTo>
                  <a:cubicBezTo>
                    <a:pt x="1419" y="7604"/>
                    <a:pt x="1419" y="7604"/>
                    <a:pt x="1419" y="7604"/>
                  </a:cubicBezTo>
                  <a:cubicBezTo>
                    <a:pt x="1506" y="7478"/>
                    <a:pt x="1506" y="7478"/>
                    <a:pt x="1506" y="7478"/>
                  </a:cubicBezTo>
                  <a:cubicBezTo>
                    <a:pt x="1363" y="7385"/>
                    <a:pt x="1363" y="7385"/>
                    <a:pt x="1363" y="7385"/>
                  </a:cubicBezTo>
                  <a:cubicBezTo>
                    <a:pt x="1245" y="7524"/>
                    <a:pt x="1245" y="7524"/>
                    <a:pt x="1245" y="7524"/>
                  </a:cubicBezTo>
                  <a:cubicBezTo>
                    <a:pt x="1042" y="7350"/>
                    <a:pt x="1042" y="7350"/>
                    <a:pt x="1042" y="7350"/>
                  </a:cubicBezTo>
                  <a:cubicBezTo>
                    <a:pt x="976" y="7531"/>
                    <a:pt x="976" y="7531"/>
                    <a:pt x="976" y="7531"/>
                  </a:cubicBezTo>
                  <a:lnTo>
                    <a:pt x="1124" y="7661"/>
                  </a:lnTo>
                  <a:close/>
                  <a:moveTo>
                    <a:pt x="1048" y="7374"/>
                  </a:moveTo>
                  <a:cubicBezTo>
                    <a:pt x="1236" y="7534"/>
                    <a:pt x="1236" y="7534"/>
                    <a:pt x="1236" y="7534"/>
                  </a:cubicBezTo>
                  <a:cubicBezTo>
                    <a:pt x="1247" y="7543"/>
                    <a:pt x="1247" y="7543"/>
                    <a:pt x="1247" y="7543"/>
                  </a:cubicBezTo>
                  <a:cubicBezTo>
                    <a:pt x="1256" y="7533"/>
                    <a:pt x="1256" y="7533"/>
                    <a:pt x="1256" y="7533"/>
                  </a:cubicBezTo>
                  <a:cubicBezTo>
                    <a:pt x="1366" y="7403"/>
                    <a:pt x="1366" y="7403"/>
                    <a:pt x="1366" y="7403"/>
                  </a:cubicBezTo>
                  <a:cubicBezTo>
                    <a:pt x="1487" y="7482"/>
                    <a:pt x="1487" y="7482"/>
                    <a:pt x="1487" y="7482"/>
                  </a:cubicBezTo>
                  <a:cubicBezTo>
                    <a:pt x="1412" y="7590"/>
                    <a:pt x="1412" y="7590"/>
                    <a:pt x="1412" y="7590"/>
                  </a:cubicBezTo>
                  <a:cubicBezTo>
                    <a:pt x="1345" y="7590"/>
                    <a:pt x="1345" y="7590"/>
                    <a:pt x="1345" y="7590"/>
                  </a:cubicBezTo>
                  <a:cubicBezTo>
                    <a:pt x="1337" y="7590"/>
                    <a:pt x="1337" y="7590"/>
                    <a:pt x="1337" y="7590"/>
                  </a:cubicBezTo>
                  <a:cubicBezTo>
                    <a:pt x="1333" y="7596"/>
                    <a:pt x="1333" y="7596"/>
                    <a:pt x="1333" y="7596"/>
                  </a:cubicBezTo>
                  <a:cubicBezTo>
                    <a:pt x="1301" y="7641"/>
                    <a:pt x="1301" y="7641"/>
                    <a:pt x="1301" y="7641"/>
                  </a:cubicBezTo>
                  <a:cubicBezTo>
                    <a:pt x="1298" y="7645"/>
                    <a:pt x="1298" y="7645"/>
                    <a:pt x="1298" y="7645"/>
                  </a:cubicBezTo>
                  <a:cubicBezTo>
                    <a:pt x="1299" y="7651"/>
                    <a:pt x="1299" y="7651"/>
                    <a:pt x="1299" y="7651"/>
                  </a:cubicBezTo>
                  <a:cubicBezTo>
                    <a:pt x="1311" y="7721"/>
                    <a:pt x="1311" y="7721"/>
                    <a:pt x="1311" y="7721"/>
                  </a:cubicBezTo>
                  <a:cubicBezTo>
                    <a:pt x="1253" y="7809"/>
                    <a:pt x="1253" y="7809"/>
                    <a:pt x="1253" y="7809"/>
                  </a:cubicBezTo>
                  <a:cubicBezTo>
                    <a:pt x="1205" y="7843"/>
                    <a:pt x="1205" y="7843"/>
                    <a:pt x="1205" y="7843"/>
                  </a:cubicBezTo>
                  <a:cubicBezTo>
                    <a:pt x="1137" y="7657"/>
                    <a:pt x="1137" y="7657"/>
                    <a:pt x="1137" y="7657"/>
                  </a:cubicBezTo>
                  <a:cubicBezTo>
                    <a:pt x="1136" y="7653"/>
                    <a:pt x="1136" y="7653"/>
                    <a:pt x="1136" y="7653"/>
                  </a:cubicBezTo>
                  <a:cubicBezTo>
                    <a:pt x="1133" y="7651"/>
                    <a:pt x="1133" y="7651"/>
                    <a:pt x="1133" y="7651"/>
                  </a:cubicBezTo>
                  <a:cubicBezTo>
                    <a:pt x="992" y="7527"/>
                    <a:pt x="992" y="7527"/>
                    <a:pt x="992" y="7527"/>
                  </a:cubicBezTo>
                  <a:lnTo>
                    <a:pt x="1048" y="7374"/>
                  </a:lnTo>
                  <a:close/>
                  <a:moveTo>
                    <a:pt x="1298" y="7387"/>
                  </a:moveTo>
                  <a:cubicBezTo>
                    <a:pt x="1165" y="7268"/>
                    <a:pt x="1165" y="7268"/>
                    <a:pt x="1165" y="7268"/>
                  </a:cubicBezTo>
                  <a:cubicBezTo>
                    <a:pt x="1110" y="7335"/>
                    <a:pt x="1110" y="7335"/>
                    <a:pt x="1110" y="7335"/>
                  </a:cubicBezTo>
                  <a:cubicBezTo>
                    <a:pt x="1110" y="7335"/>
                    <a:pt x="1239" y="7451"/>
                    <a:pt x="1241" y="7451"/>
                  </a:cubicBezTo>
                  <a:lnTo>
                    <a:pt x="1298" y="7387"/>
                  </a:lnTo>
                  <a:close/>
                  <a:moveTo>
                    <a:pt x="1129" y="7334"/>
                  </a:moveTo>
                  <a:cubicBezTo>
                    <a:pt x="1167" y="7288"/>
                    <a:pt x="1167" y="7288"/>
                    <a:pt x="1167" y="7288"/>
                  </a:cubicBezTo>
                  <a:cubicBezTo>
                    <a:pt x="1279" y="7388"/>
                    <a:pt x="1279" y="7388"/>
                    <a:pt x="1279" y="7388"/>
                  </a:cubicBezTo>
                  <a:cubicBezTo>
                    <a:pt x="1240" y="7432"/>
                    <a:pt x="1240" y="7432"/>
                    <a:pt x="1240" y="7432"/>
                  </a:cubicBezTo>
                  <a:cubicBezTo>
                    <a:pt x="1219" y="7413"/>
                    <a:pt x="1167" y="7368"/>
                    <a:pt x="1129" y="7334"/>
                  </a:cubicBezTo>
                  <a:close/>
                  <a:moveTo>
                    <a:pt x="1762" y="7627"/>
                  </a:moveTo>
                  <a:cubicBezTo>
                    <a:pt x="1765" y="7627"/>
                    <a:pt x="1741" y="7667"/>
                    <a:pt x="1741" y="7667"/>
                  </a:cubicBezTo>
                  <a:cubicBezTo>
                    <a:pt x="1733" y="7730"/>
                    <a:pt x="1733" y="7730"/>
                    <a:pt x="1733" y="7730"/>
                  </a:cubicBezTo>
                  <a:cubicBezTo>
                    <a:pt x="1813" y="7736"/>
                    <a:pt x="1813" y="7736"/>
                    <a:pt x="1813" y="7736"/>
                  </a:cubicBezTo>
                  <a:cubicBezTo>
                    <a:pt x="1825" y="7570"/>
                    <a:pt x="1825" y="7570"/>
                    <a:pt x="1825" y="7570"/>
                  </a:cubicBezTo>
                  <a:cubicBezTo>
                    <a:pt x="1764" y="7498"/>
                    <a:pt x="1764" y="7498"/>
                    <a:pt x="1764" y="7498"/>
                  </a:cubicBezTo>
                  <a:cubicBezTo>
                    <a:pt x="1764" y="7498"/>
                    <a:pt x="1730" y="7596"/>
                    <a:pt x="1733" y="7596"/>
                  </a:cubicBezTo>
                  <a:cubicBezTo>
                    <a:pt x="1736" y="7596"/>
                    <a:pt x="1759" y="7627"/>
                    <a:pt x="1762" y="7627"/>
                  </a:cubicBezTo>
                  <a:close/>
                  <a:moveTo>
                    <a:pt x="1769" y="7526"/>
                  </a:moveTo>
                  <a:cubicBezTo>
                    <a:pt x="1811" y="7574"/>
                    <a:pt x="1811" y="7574"/>
                    <a:pt x="1811" y="7574"/>
                  </a:cubicBezTo>
                  <a:cubicBezTo>
                    <a:pt x="1800" y="7721"/>
                    <a:pt x="1800" y="7721"/>
                    <a:pt x="1800" y="7721"/>
                  </a:cubicBezTo>
                  <a:cubicBezTo>
                    <a:pt x="1749" y="7717"/>
                    <a:pt x="1749" y="7717"/>
                    <a:pt x="1749" y="7717"/>
                  </a:cubicBezTo>
                  <a:cubicBezTo>
                    <a:pt x="1755" y="7672"/>
                    <a:pt x="1755" y="7672"/>
                    <a:pt x="1755" y="7672"/>
                  </a:cubicBezTo>
                  <a:cubicBezTo>
                    <a:pt x="1779" y="7630"/>
                    <a:pt x="1778" y="7627"/>
                    <a:pt x="1774" y="7620"/>
                  </a:cubicBezTo>
                  <a:cubicBezTo>
                    <a:pt x="1770" y="7613"/>
                    <a:pt x="1770" y="7613"/>
                    <a:pt x="1770" y="7613"/>
                  </a:cubicBezTo>
                  <a:cubicBezTo>
                    <a:pt x="1767" y="7613"/>
                    <a:pt x="1767" y="7613"/>
                    <a:pt x="1767" y="7613"/>
                  </a:cubicBezTo>
                  <a:cubicBezTo>
                    <a:pt x="1764" y="7610"/>
                    <a:pt x="1761" y="7606"/>
                    <a:pt x="1758" y="7603"/>
                  </a:cubicBezTo>
                  <a:cubicBezTo>
                    <a:pt x="1754" y="7598"/>
                    <a:pt x="1751" y="7594"/>
                    <a:pt x="1748" y="7591"/>
                  </a:cubicBezTo>
                  <a:cubicBezTo>
                    <a:pt x="1751" y="7579"/>
                    <a:pt x="1760" y="7553"/>
                    <a:pt x="1769" y="7526"/>
                  </a:cubicBezTo>
                  <a:close/>
                  <a:moveTo>
                    <a:pt x="2964" y="7817"/>
                  </a:moveTo>
                  <a:cubicBezTo>
                    <a:pt x="2705" y="8001"/>
                    <a:pt x="2705" y="8001"/>
                    <a:pt x="2705" y="8001"/>
                  </a:cubicBezTo>
                  <a:cubicBezTo>
                    <a:pt x="2705" y="8001"/>
                    <a:pt x="3038" y="8436"/>
                    <a:pt x="3037" y="8436"/>
                  </a:cubicBezTo>
                  <a:cubicBezTo>
                    <a:pt x="3036" y="8436"/>
                    <a:pt x="3160" y="8352"/>
                    <a:pt x="3160" y="8352"/>
                  </a:cubicBezTo>
                  <a:cubicBezTo>
                    <a:pt x="3089" y="8219"/>
                    <a:pt x="3089" y="8219"/>
                    <a:pt x="3089" y="8219"/>
                  </a:cubicBezTo>
                  <a:cubicBezTo>
                    <a:pt x="3050" y="8286"/>
                    <a:pt x="3050" y="8286"/>
                    <a:pt x="3050" y="8286"/>
                  </a:cubicBezTo>
                  <a:cubicBezTo>
                    <a:pt x="2842" y="8028"/>
                    <a:pt x="2842" y="8028"/>
                    <a:pt x="2842" y="8028"/>
                  </a:cubicBezTo>
                  <a:cubicBezTo>
                    <a:pt x="2972" y="7931"/>
                    <a:pt x="2972" y="7931"/>
                    <a:pt x="2972" y="7931"/>
                  </a:cubicBezTo>
                  <a:cubicBezTo>
                    <a:pt x="3203" y="8161"/>
                    <a:pt x="3203" y="8161"/>
                    <a:pt x="3203" y="8161"/>
                  </a:cubicBezTo>
                  <a:cubicBezTo>
                    <a:pt x="3149" y="8187"/>
                    <a:pt x="3149" y="8187"/>
                    <a:pt x="3149" y="8187"/>
                  </a:cubicBezTo>
                  <a:cubicBezTo>
                    <a:pt x="3214" y="8306"/>
                    <a:pt x="3214" y="8306"/>
                    <a:pt x="3214" y="8306"/>
                  </a:cubicBezTo>
                  <a:cubicBezTo>
                    <a:pt x="3319" y="8152"/>
                    <a:pt x="3319" y="8152"/>
                    <a:pt x="3319" y="8152"/>
                  </a:cubicBezTo>
                  <a:cubicBezTo>
                    <a:pt x="3317" y="8151"/>
                    <a:pt x="2964" y="7817"/>
                    <a:pt x="2964" y="7817"/>
                  </a:cubicBezTo>
                  <a:close/>
                  <a:moveTo>
                    <a:pt x="3169" y="8193"/>
                  </a:moveTo>
                  <a:cubicBezTo>
                    <a:pt x="3209" y="8174"/>
                    <a:pt x="3209" y="8174"/>
                    <a:pt x="3209" y="8174"/>
                  </a:cubicBezTo>
                  <a:cubicBezTo>
                    <a:pt x="3226" y="8165"/>
                    <a:pt x="3226" y="8165"/>
                    <a:pt x="3226" y="8165"/>
                  </a:cubicBezTo>
                  <a:cubicBezTo>
                    <a:pt x="3212" y="8151"/>
                    <a:pt x="3212" y="8151"/>
                    <a:pt x="3212" y="8151"/>
                  </a:cubicBezTo>
                  <a:cubicBezTo>
                    <a:pt x="2982" y="7922"/>
                    <a:pt x="2982" y="7922"/>
                    <a:pt x="2982" y="7922"/>
                  </a:cubicBezTo>
                  <a:cubicBezTo>
                    <a:pt x="2973" y="7913"/>
                    <a:pt x="2973" y="7913"/>
                    <a:pt x="2973" y="7913"/>
                  </a:cubicBezTo>
                  <a:cubicBezTo>
                    <a:pt x="2964" y="7920"/>
                    <a:pt x="2964" y="7920"/>
                    <a:pt x="2964" y="7920"/>
                  </a:cubicBezTo>
                  <a:cubicBezTo>
                    <a:pt x="2834" y="8017"/>
                    <a:pt x="2834" y="8017"/>
                    <a:pt x="2834" y="8017"/>
                  </a:cubicBezTo>
                  <a:cubicBezTo>
                    <a:pt x="2822" y="8025"/>
                    <a:pt x="2822" y="8025"/>
                    <a:pt x="2822" y="8025"/>
                  </a:cubicBezTo>
                  <a:cubicBezTo>
                    <a:pt x="2831" y="8036"/>
                    <a:pt x="2831" y="8036"/>
                    <a:pt x="2831" y="8036"/>
                  </a:cubicBezTo>
                  <a:cubicBezTo>
                    <a:pt x="3039" y="8295"/>
                    <a:pt x="3039" y="8295"/>
                    <a:pt x="3039" y="8295"/>
                  </a:cubicBezTo>
                  <a:cubicBezTo>
                    <a:pt x="3052" y="8311"/>
                    <a:pt x="3052" y="8311"/>
                    <a:pt x="3052" y="8311"/>
                  </a:cubicBezTo>
                  <a:cubicBezTo>
                    <a:pt x="3062" y="8293"/>
                    <a:pt x="3062" y="8293"/>
                    <a:pt x="3062" y="8293"/>
                  </a:cubicBezTo>
                  <a:cubicBezTo>
                    <a:pt x="3088" y="8248"/>
                    <a:pt x="3088" y="8248"/>
                    <a:pt x="3088" y="8248"/>
                  </a:cubicBezTo>
                  <a:cubicBezTo>
                    <a:pt x="3141" y="8347"/>
                    <a:pt x="3141" y="8347"/>
                    <a:pt x="3141" y="8347"/>
                  </a:cubicBezTo>
                  <a:cubicBezTo>
                    <a:pt x="3082" y="8387"/>
                    <a:pt x="3054" y="8407"/>
                    <a:pt x="3040" y="8416"/>
                  </a:cubicBezTo>
                  <a:cubicBezTo>
                    <a:pt x="3018" y="8388"/>
                    <a:pt x="2949" y="8297"/>
                    <a:pt x="2724" y="8004"/>
                  </a:cubicBezTo>
                  <a:cubicBezTo>
                    <a:pt x="2963" y="7835"/>
                    <a:pt x="2963" y="7835"/>
                    <a:pt x="2963" y="7835"/>
                  </a:cubicBezTo>
                  <a:cubicBezTo>
                    <a:pt x="3203" y="8062"/>
                    <a:pt x="3277" y="8132"/>
                    <a:pt x="3301" y="8154"/>
                  </a:cubicBezTo>
                  <a:cubicBezTo>
                    <a:pt x="3215" y="8279"/>
                    <a:pt x="3215" y="8279"/>
                    <a:pt x="3215" y="8279"/>
                  </a:cubicBezTo>
                  <a:lnTo>
                    <a:pt x="3169" y="8193"/>
                  </a:lnTo>
                  <a:close/>
                  <a:moveTo>
                    <a:pt x="2511" y="8239"/>
                  </a:moveTo>
                  <a:cubicBezTo>
                    <a:pt x="2369" y="8061"/>
                    <a:pt x="2369" y="8061"/>
                    <a:pt x="2369" y="8061"/>
                  </a:cubicBezTo>
                  <a:cubicBezTo>
                    <a:pt x="2310" y="8104"/>
                    <a:pt x="2310" y="8104"/>
                    <a:pt x="2310" y="8104"/>
                  </a:cubicBezTo>
                  <a:cubicBezTo>
                    <a:pt x="2443" y="8365"/>
                    <a:pt x="2443" y="8365"/>
                    <a:pt x="2443" y="8365"/>
                  </a:cubicBezTo>
                  <a:cubicBezTo>
                    <a:pt x="2621" y="8295"/>
                    <a:pt x="2621" y="8295"/>
                    <a:pt x="2621" y="8295"/>
                  </a:cubicBezTo>
                  <a:cubicBezTo>
                    <a:pt x="2595" y="8214"/>
                    <a:pt x="2595" y="8214"/>
                    <a:pt x="2595" y="8214"/>
                  </a:cubicBezTo>
                  <a:lnTo>
                    <a:pt x="2511" y="8239"/>
                  </a:lnTo>
                  <a:close/>
                  <a:moveTo>
                    <a:pt x="2450" y="8347"/>
                  </a:moveTo>
                  <a:cubicBezTo>
                    <a:pt x="2328" y="8108"/>
                    <a:pt x="2328" y="8108"/>
                    <a:pt x="2328" y="8108"/>
                  </a:cubicBezTo>
                  <a:cubicBezTo>
                    <a:pt x="2367" y="8080"/>
                    <a:pt x="2367" y="8080"/>
                    <a:pt x="2367" y="8080"/>
                  </a:cubicBezTo>
                  <a:cubicBezTo>
                    <a:pt x="2500" y="8248"/>
                    <a:pt x="2500" y="8248"/>
                    <a:pt x="2500" y="8248"/>
                  </a:cubicBezTo>
                  <a:cubicBezTo>
                    <a:pt x="2506" y="8255"/>
                    <a:pt x="2506" y="8255"/>
                    <a:pt x="2506" y="8255"/>
                  </a:cubicBezTo>
                  <a:cubicBezTo>
                    <a:pt x="2515" y="8252"/>
                    <a:pt x="2515" y="8252"/>
                    <a:pt x="2515" y="8252"/>
                  </a:cubicBezTo>
                  <a:cubicBezTo>
                    <a:pt x="2586" y="8232"/>
                    <a:pt x="2586" y="8232"/>
                    <a:pt x="2586" y="8232"/>
                  </a:cubicBezTo>
                  <a:cubicBezTo>
                    <a:pt x="2603" y="8287"/>
                    <a:pt x="2603" y="8287"/>
                    <a:pt x="2603" y="8287"/>
                  </a:cubicBezTo>
                  <a:lnTo>
                    <a:pt x="2450" y="8347"/>
                  </a:lnTo>
                  <a:close/>
                  <a:moveTo>
                    <a:pt x="1046" y="7515"/>
                  </a:moveTo>
                  <a:cubicBezTo>
                    <a:pt x="1167" y="7623"/>
                    <a:pt x="1167" y="7623"/>
                    <a:pt x="1167" y="7623"/>
                  </a:cubicBezTo>
                  <a:cubicBezTo>
                    <a:pt x="1182" y="7636"/>
                    <a:pt x="1182" y="7636"/>
                    <a:pt x="1182" y="7636"/>
                  </a:cubicBezTo>
                  <a:cubicBezTo>
                    <a:pt x="1189" y="7618"/>
                    <a:pt x="1189" y="7618"/>
                    <a:pt x="1189" y="7618"/>
                  </a:cubicBezTo>
                  <a:cubicBezTo>
                    <a:pt x="1208" y="7569"/>
                    <a:pt x="1208" y="7569"/>
                    <a:pt x="1208" y="7569"/>
                  </a:cubicBezTo>
                  <a:cubicBezTo>
                    <a:pt x="1212" y="7559"/>
                    <a:pt x="1212" y="7559"/>
                    <a:pt x="1212" y="7559"/>
                  </a:cubicBezTo>
                  <a:cubicBezTo>
                    <a:pt x="1204" y="7553"/>
                    <a:pt x="1204" y="7553"/>
                    <a:pt x="1204" y="7553"/>
                  </a:cubicBezTo>
                  <a:cubicBezTo>
                    <a:pt x="1080" y="7444"/>
                    <a:pt x="1080" y="7444"/>
                    <a:pt x="1080" y="7444"/>
                  </a:cubicBezTo>
                  <a:cubicBezTo>
                    <a:pt x="1064" y="7430"/>
                    <a:pt x="1064" y="7430"/>
                    <a:pt x="1064" y="7430"/>
                  </a:cubicBezTo>
                  <a:cubicBezTo>
                    <a:pt x="1058" y="7451"/>
                    <a:pt x="1058" y="7451"/>
                    <a:pt x="1058" y="7451"/>
                  </a:cubicBezTo>
                  <a:cubicBezTo>
                    <a:pt x="1042" y="7500"/>
                    <a:pt x="1042" y="7500"/>
                    <a:pt x="1042" y="7500"/>
                  </a:cubicBezTo>
                  <a:cubicBezTo>
                    <a:pt x="1039" y="7509"/>
                    <a:pt x="1039" y="7509"/>
                    <a:pt x="1039" y="7509"/>
                  </a:cubicBezTo>
                  <a:lnTo>
                    <a:pt x="1046" y="7515"/>
                  </a:lnTo>
                  <a:close/>
                  <a:moveTo>
                    <a:pt x="1071" y="7455"/>
                  </a:moveTo>
                  <a:cubicBezTo>
                    <a:pt x="1195" y="7563"/>
                    <a:pt x="1195" y="7563"/>
                    <a:pt x="1195" y="7563"/>
                  </a:cubicBezTo>
                  <a:cubicBezTo>
                    <a:pt x="1176" y="7613"/>
                    <a:pt x="1176" y="7613"/>
                    <a:pt x="1176" y="7613"/>
                  </a:cubicBezTo>
                  <a:cubicBezTo>
                    <a:pt x="1055" y="7505"/>
                    <a:pt x="1055" y="7505"/>
                    <a:pt x="1055" y="7505"/>
                  </a:cubicBezTo>
                  <a:lnTo>
                    <a:pt x="1071" y="7455"/>
                  </a:lnTo>
                  <a:close/>
                  <a:moveTo>
                    <a:pt x="2662" y="8055"/>
                  </a:moveTo>
                  <a:cubicBezTo>
                    <a:pt x="2476" y="8107"/>
                    <a:pt x="2476" y="8107"/>
                    <a:pt x="2476" y="8107"/>
                  </a:cubicBezTo>
                  <a:cubicBezTo>
                    <a:pt x="2542" y="8188"/>
                    <a:pt x="2542" y="8188"/>
                    <a:pt x="2542" y="8188"/>
                  </a:cubicBezTo>
                  <a:cubicBezTo>
                    <a:pt x="2630" y="8166"/>
                    <a:pt x="2630" y="8166"/>
                    <a:pt x="2630" y="8166"/>
                  </a:cubicBezTo>
                  <a:cubicBezTo>
                    <a:pt x="2711" y="8389"/>
                    <a:pt x="2711" y="8389"/>
                    <a:pt x="2711" y="8389"/>
                  </a:cubicBezTo>
                  <a:cubicBezTo>
                    <a:pt x="2711" y="8389"/>
                    <a:pt x="2928" y="8431"/>
                    <a:pt x="2927" y="8431"/>
                  </a:cubicBezTo>
                  <a:lnTo>
                    <a:pt x="2662" y="8055"/>
                  </a:lnTo>
                  <a:close/>
                  <a:moveTo>
                    <a:pt x="2643" y="8161"/>
                  </a:moveTo>
                  <a:cubicBezTo>
                    <a:pt x="2639" y="8150"/>
                    <a:pt x="2639" y="8150"/>
                    <a:pt x="2639" y="8150"/>
                  </a:cubicBezTo>
                  <a:cubicBezTo>
                    <a:pt x="2626" y="8153"/>
                    <a:pt x="2626" y="8153"/>
                    <a:pt x="2626" y="8153"/>
                  </a:cubicBezTo>
                  <a:cubicBezTo>
                    <a:pt x="2547" y="8172"/>
                    <a:pt x="2547" y="8172"/>
                    <a:pt x="2547" y="8172"/>
                  </a:cubicBezTo>
                  <a:cubicBezTo>
                    <a:pt x="2500" y="8114"/>
                    <a:pt x="2500" y="8114"/>
                    <a:pt x="2500" y="8114"/>
                  </a:cubicBezTo>
                  <a:cubicBezTo>
                    <a:pt x="2656" y="8072"/>
                    <a:pt x="2656" y="8072"/>
                    <a:pt x="2656" y="8072"/>
                  </a:cubicBezTo>
                  <a:cubicBezTo>
                    <a:pt x="2895" y="8410"/>
                    <a:pt x="2895" y="8410"/>
                    <a:pt x="2895" y="8410"/>
                  </a:cubicBezTo>
                  <a:cubicBezTo>
                    <a:pt x="2867" y="8405"/>
                    <a:pt x="2815" y="8394"/>
                    <a:pt x="2721" y="8376"/>
                  </a:cubicBezTo>
                  <a:lnTo>
                    <a:pt x="2643" y="8161"/>
                  </a:lnTo>
                  <a:close/>
                  <a:moveTo>
                    <a:pt x="2163" y="8301"/>
                  </a:moveTo>
                  <a:cubicBezTo>
                    <a:pt x="2147" y="8267"/>
                    <a:pt x="2147" y="8267"/>
                    <a:pt x="2147" y="8267"/>
                  </a:cubicBezTo>
                  <a:cubicBezTo>
                    <a:pt x="2117" y="8285"/>
                    <a:pt x="2117" y="8285"/>
                    <a:pt x="2117" y="8285"/>
                  </a:cubicBezTo>
                  <a:cubicBezTo>
                    <a:pt x="2143" y="8333"/>
                    <a:pt x="2143" y="8333"/>
                    <a:pt x="2143" y="8333"/>
                  </a:cubicBezTo>
                  <a:cubicBezTo>
                    <a:pt x="2129" y="8343"/>
                    <a:pt x="2129" y="8343"/>
                    <a:pt x="2129" y="8343"/>
                  </a:cubicBezTo>
                  <a:cubicBezTo>
                    <a:pt x="2136" y="8372"/>
                    <a:pt x="2136" y="8372"/>
                    <a:pt x="2136" y="8372"/>
                  </a:cubicBezTo>
                  <a:cubicBezTo>
                    <a:pt x="2019" y="8426"/>
                    <a:pt x="2019" y="8426"/>
                    <a:pt x="2019" y="8426"/>
                  </a:cubicBezTo>
                  <a:cubicBezTo>
                    <a:pt x="2072" y="8538"/>
                    <a:pt x="2072" y="8538"/>
                    <a:pt x="2072" y="8538"/>
                  </a:cubicBezTo>
                  <a:cubicBezTo>
                    <a:pt x="2347" y="8404"/>
                    <a:pt x="2347" y="8404"/>
                    <a:pt x="2347" y="8404"/>
                  </a:cubicBezTo>
                  <a:cubicBezTo>
                    <a:pt x="2294" y="8297"/>
                    <a:pt x="2294" y="8297"/>
                    <a:pt x="2294" y="8297"/>
                  </a:cubicBezTo>
                  <a:cubicBezTo>
                    <a:pt x="2270" y="8307"/>
                    <a:pt x="2270" y="8307"/>
                    <a:pt x="2270" y="8307"/>
                  </a:cubicBezTo>
                  <a:cubicBezTo>
                    <a:pt x="2247" y="8262"/>
                    <a:pt x="2247" y="8262"/>
                    <a:pt x="2247" y="8262"/>
                  </a:cubicBezTo>
                  <a:lnTo>
                    <a:pt x="2163" y="8301"/>
                  </a:lnTo>
                  <a:close/>
                  <a:moveTo>
                    <a:pt x="2263" y="8324"/>
                  </a:moveTo>
                  <a:cubicBezTo>
                    <a:pt x="2275" y="8320"/>
                    <a:pt x="2275" y="8320"/>
                    <a:pt x="2275" y="8320"/>
                  </a:cubicBezTo>
                  <a:cubicBezTo>
                    <a:pt x="2287" y="8315"/>
                    <a:pt x="2287" y="8315"/>
                    <a:pt x="2287" y="8315"/>
                  </a:cubicBezTo>
                  <a:cubicBezTo>
                    <a:pt x="2328" y="8397"/>
                    <a:pt x="2328" y="8397"/>
                    <a:pt x="2328" y="8397"/>
                  </a:cubicBezTo>
                  <a:cubicBezTo>
                    <a:pt x="2079" y="8519"/>
                    <a:pt x="2079" y="8519"/>
                    <a:pt x="2079" y="8519"/>
                  </a:cubicBezTo>
                  <a:cubicBezTo>
                    <a:pt x="2038" y="8433"/>
                    <a:pt x="2038" y="8433"/>
                    <a:pt x="2038" y="8433"/>
                  </a:cubicBezTo>
                  <a:cubicBezTo>
                    <a:pt x="2142" y="8385"/>
                    <a:pt x="2142" y="8385"/>
                    <a:pt x="2142" y="8385"/>
                  </a:cubicBezTo>
                  <a:cubicBezTo>
                    <a:pt x="2152" y="8380"/>
                    <a:pt x="2152" y="8380"/>
                    <a:pt x="2152" y="8380"/>
                  </a:cubicBezTo>
                  <a:cubicBezTo>
                    <a:pt x="2149" y="8369"/>
                    <a:pt x="2149" y="8369"/>
                    <a:pt x="2149" y="8369"/>
                  </a:cubicBezTo>
                  <a:cubicBezTo>
                    <a:pt x="2144" y="8349"/>
                    <a:pt x="2144" y="8349"/>
                    <a:pt x="2144" y="8349"/>
                  </a:cubicBezTo>
                  <a:cubicBezTo>
                    <a:pt x="2151" y="8345"/>
                    <a:pt x="2151" y="8345"/>
                    <a:pt x="2151" y="8345"/>
                  </a:cubicBezTo>
                  <a:cubicBezTo>
                    <a:pt x="2161" y="8337"/>
                    <a:pt x="2161" y="8337"/>
                    <a:pt x="2161" y="8337"/>
                  </a:cubicBezTo>
                  <a:cubicBezTo>
                    <a:pt x="2155" y="8327"/>
                    <a:pt x="2155" y="8327"/>
                    <a:pt x="2155" y="8327"/>
                  </a:cubicBezTo>
                  <a:cubicBezTo>
                    <a:pt x="2136" y="8290"/>
                    <a:pt x="2136" y="8290"/>
                    <a:pt x="2136" y="8290"/>
                  </a:cubicBezTo>
                  <a:cubicBezTo>
                    <a:pt x="2141" y="8287"/>
                    <a:pt x="2141" y="8287"/>
                    <a:pt x="2141" y="8287"/>
                  </a:cubicBezTo>
                  <a:cubicBezTo>
                    <a:pt x="2151" y="8307"/>
                    <a:pt x="2151" y="8307"/>
                    <a:pt x="2151" y="8307"/>
                  </a:cubicBezTo>
                  <a:cubicBezTo>
                    <a:pt x="2157" y="8320"/>
                    <a:pt x="2157" y="8320"/>
                    <a:pt x="2157" y="8320"/>
                  </a:cubicBezTo>
                  <a:cubicBezTo>
                    <a:pt x="2169" y="8314"/>
                    <a:pt x="2169" y="8314"/>
                    <a:pt x="2169" y="8314"/>
                  </a:cubicBezTo>
                  <a:cubicBezTo>
                    <a:pt x="2241" y="8281"/>
                    <a:pt x="2241" y="8281"/>
                    <a:pt x="2241" y="8281"/>
                  </a:cubicBezTo>
                  <a:cubicBezTo>
                    <a:pt x="2258" y="8313"/>
                    <a:pt x="2258" y="8313"/>
                    <a:pt x="2258" y="8313"/>
                  </a:cubicBezTo>
                  <a:lnTo>
                    <a:pt x="2263" y="8324"/>
                  </a:lnTo>
                  <a:close/>
                  <a:moveTo>
                    <a:pt x="1241" y="8861"/>
                  </a:moveTo>
                  <a:cubicBezTo>
                    <a:pt x="1295" y="8793"/>
                    <a:pt x="1295" y="8793"/>
                    <a:pt x="1295" y="8793"/>
                  </a:cubicBezTo>
                  <a:cubicBezTo>
                    <a:pt x="1155" y="8683"/>
                    <a:pt x="1155" y="8683"/>
                    <a:pt x="1155" y="8683"/>
                  </a:cubicBezTo>
                  <a:cubicBezTo>
                    <a:pt x="1103" y="8750"/>
                    <a:pt x="1103" y="8750"/>
                    <a:pt x="1103" y="8750"/>
                  </a:cubicBezTo>
                  <a:lnTo>
                    <a:pt x="1241" y="8861"/>
                  </a:lnTo>
                  <a:close/>
                  <a:moveTo>
                    <a:pt x="1157" y="8702"/>
                  </a:moveTo>
                  <a:cubicBezTo>
                    <a:pt x="1275" y="8795"/>
                    <a:pt x="1275" y="8795"/>
                    <a:pt x="1275" y="8795"/>
                  </a:cubicBezTo>
                  <a:cubicBezTo>
                    <a:pt x="1238" y="8841"/>
                    <a:pt x="1238" y="8841"/>
                    <a:pt x="1238" y="8841"/>
                  </a:cubicBezTo>
                  <a:cubicBezTo>
                    <a:pt x="1123" y="8748"/>
                    <a:pt x="1123" y="8748"/>
                    <a:pt x="1123" y="8748"/>
                  </a:cubicBezTo>
                  <a:lnTo>
                    <a:pt x="1157" y="8702"/>
                  </a:lnTo>
                  <a:close/>
                  <a:moveTo>
                    <a:pt x="1092" y="8693"/>
                  </a:moveTo>
                  <a:cubicBezTo>
                    <a:pt x="1147" y="8625"/>
                    <a:pt x="1147" y="8625"/>
                    <a:pt x="1147" y="8625"/>
                  </a:cubicBezTo>
                  <a:cubicBezTo>
                    <a:pt x="1007" y="8515"/>
                    <a:pt x="1007" y="8515"/>
                    <a:pt x="1007" y="8515"/>
                  </a:cubicBezTo>
                  <a:cubicBezTo>
                    <a:pt x="955" y="8582"/>
                    <a:pt x="955" y="8582"/>
                    <a:pt x="955" y="8582"/>
                  </a:cubicBezTo>
                  <a:lnTo>
                    <a:pt x="1092" y="8693"/>
                  </a:lnTo>
                  <a:close/>
                  <a:moveTo>
                    <a:pt x="1009" y="8534"/>
                  </a:moveTo>
                  <a:cubicBezTo>
                    <a:pt x="1127" y="8627"/>
                    <a:pt x="1127" y="8627"/>
                    <a:pt x="1127" y="8627"/>
                  </a:cubicBezTo>
                  <a:cubicBezTo>
                    <a:pt x="1090" y="8674"/>
                    <a:pt x="1090" y="8674"/>
                    <a:pt x="1090" y="8674"/>
                  </a:cubicBezTo>
                  <a:cubicBezTo>
                    <a:pt x="975" y="8580"/>
                    <a:pt x="975" y="8580"/>
                    <a:pt x="975" y="8580"/>
                  </a:cubicBezTo>
                  <a:lnTo>
                    <a:pt x="1009" y="8534"/>
                  </a:lnTo>
                  <a:close/>
                  <a:moveTo>
                    <a:pt x="1534" y="8065"/>
                  </a:moveTo>
                  <a:cubicBezTo>
                    <a:pt x="1632" y="7980"/>
                    <a:pt x="1632" y="7980"/>
                    <a:pt x="1632" y="7980"/>
                  </a:cubicBezTo>
                  <a:cubicBezTo>
                    <a:pt x="1584" y="7923"/>
                    <a:pt x="1584" y="7923"/>
                    <a:pt x="1584" y="7923"/>
                  </a:cubicBezTo>
                  <a:cubicBezTo>
                    <a:pt x="1616" y="7901"/>
                    <a:pt x="1616" y="7901"/>
                    <a:pt x="1616" y="7901"/>
                  </a:cubicBezTo>
                  <a:cubicBezTo>
                    <a:pt x="1616" y="7901"/>
                    <a:pt x="1726" y="7904"/>
                    <a:pt x="1723" y="7904"/>
                  </a:cubicBezTo>
                  <a:cubicBezTo>
                    <a:pt x="1720" y="7904"/>
                    <a:pt x="1767" y="7865"/>
                    <a:pt x="1767" y="7865"/>
                  </a:cubicBezTo>
                  <a:cubicBezTo>
                    <a:pt x="1773" y="7813"/>
                    <a:pt x="1773" y="7813"/>
                    <a:pt x="1773" y="7813"/>
                  </a:cubicBezTo>
                  <a:cubicBezTo>
                    <a:pt x="1769" y="7813"/>
                    <a:pt x="1567" y="7799"/>
                    <a:pt x="1567" y="7799"/>
                  </a:cubicBezTo>
                  <a:cubicBezTo>
                    <a:pt x="1491" y="7711"/>
                    <a:pt x="1491" y="7711"/>
                    <a:pt x="1491" y="7711"/>
                  </a:cubicBezTo>
                  <a:cubicBezTo>
                    <a:pt x="1376" y="7878"/>
                    <a:pt x="1376" y="7878"/>
                    <a:pt x="1376" y="7878"/>
                  </a:cubicBezTo>
                  <a:lnTo>
                    <a:pt x="1534" y="8065"/>
                  </a:lnTo>
                  <a:close/>
                  <a:moveTo>
                    <a:pt x="1492" y="7734"/>
                  </a:moveTo>
                  <a:cubicBezTo>
                    <a:pt x="1556" y="7808"/>
                    <a:pt x="1556" y="7808"/>
                    <a:pt x="1556" y="7808"/>
                  </a:cubicBezTo>
                  <a:cubicBezTo>
                    <a:pt x="1560" y="7813"/>
                    <a:pt x="1560" y="7813"/>
                    <a:pt x="1560" y="7813"/>
                  </a:cubicBezTo>
                  <a:cubicBezTo>
                    <a:pt x="1566" y="7813"/>
                    <a:pt x="1566" y="7813"/>
                    <a:pt x="1566" y="7813"/>
                  </a:cubicBezTo>
                  <a:cubicBezTo>
                    <a:pt x="1615" y="7816"/>
                    <a:pt x="1718" y="7823"/>
                    <a:pt x="1757" y="7826"/>
                  </a:cubicBezTo>
                  <a:cubicBezTo>
                    <a:pt x="1754" y="7858"/>
                    <a:pt x="1754" y="7858"/>
                    <a:pt x="1754" y="7858"/>
                  </a:cubicBezTo>
                  <a:cubicBezTo>
                    <a:pt x="1734" y="7874"/>
                    <a:pt x="1723" y="7883"/>
                    <a:pt x="1716" y="7890"/>
                  </a:cubicBezTo>
                  <a:cubicBezTo>
                    <a:pt x="1693" y="7889"/>
                    <a:pt x="1617" y="7887"/>
                    <a:pt x="1617" y="7887"/>
                  </a:cubicBezTo>
                  <a:cubicBezTo>
                    <a:pt x="1612" y="7887"/>
                    <a:pt x="1612" y="7887"/>
                    <a:pt x="1612" y="7887"/>
                  </a:cubicBezTo>
                  <a:cubicBezTo>
                    <a:pt x="1608" y="7889"/>
                    <a:pt x="1608" y="7889"/>
                    <a:pt x="1608" y="7889"/>
                  </a:cubicBezTo>
                  <a:cubicBezTo>
                    <a:pt x="1576" y="7912"/>
                    <a:pt x="1576" y="7912"/>
                    <a:pt x="1576" y="7912"/>
                  </a:cubicBezTo>
                  <a:cubicBezTo>
                    <a:pt x="1564" y="7921"/>
                    <a:pt x="1564" y="7921"/>
                    <a:pt x="1564" y="7921"/>
                  </a:cubicBezTo>
                  <a:cubicBezTo>
                    <a:pt x="1574" y="7932"/>
                    <a:pt x="1574" y="7932"/>
                    <a:pt x="1574" y="7932"/>
                  </a:cubicBezTo>
                  <a:cubicBezTo>
                    <a:pt x="1612" y="7978"/>
                    <a:pt x="1612" y="7978"/>
                    <a:pt x="1612" y="7978"/>
                  </a:cubicBezTo>
                  <a:cubicBezTo>
                    <a:pt x="1536" y="8045"/>
                    <a:pt x="1536" y="8045"/>
                    <a:pt x="1536" y="8045"/>
                  </a:cubicBezTo>
                  <a:cubicBezTo>
                    <a:pt x="1394" y="7877"/>
                    <a:pt x="1394" y="7877"/>
                    <a:pt x="1394" y="7877"/>
                  </a:cubicBezTo>
                  <a:lnTo>
                    <a:pt x="1492" y="7734"/>
                  </a:lnTo>
                  <a:close/>
                  <a:moveTo>
                    <a:pt x="1128" y="8083"/>
                  </a:moveTo>
                  <a:cubicBezTo>
                    <a:pt x="1120" y="8277"/>
                    <a:pt x="1120" y="8277"/>
                    <a:pt x="1120" y="8277"/>
                  </a:cubicBezTo>
                  <a:cubicBezTo>
                    <a:pt x="1275" y="8276"/>
                    <a:pt x="1275" y="8276"/>
                    <a:pt x="1275" y="8276"/>
                  </a:cubicBezTo>
                  <a:cubicBezTo>
                    <a:pt x="1292" y="8164"/>
                    <a:pt x="1292" y="8164"/>
                    <a:pt x="1292" y="8164"/>
                  </a:cubicBezTo>
                  <a:cubicBezTo>
                    <a:pt x="1197" y="8025"/>
                    <a:pt x="1197" y="8025"/>
                    <a:pt x="1197" y="8025"/>
                  </a:cubicBezTo>
                  <a:lnTo>
                    <a:pt x="1128" y="8083"/>
                  </a:lnTo>
                  <a:close/>
                  <a:moveTo>
                    <a:pt x="1263" y="8262"/>
                  </a:moveTo>
                  <a:cubicBezTo>
                    <a:pt x="1134" y="8263"/>
                    <a:pt x="1134" y="8263"/>
                    <a:pt x="1134" y="8263"/>
                  </a:cubicBezTo>
                  <a:cubicBezTo>
                    <a:pt x="1142" y="8090"/>
                    <a:pt x="1142" y="8090"/>
                    <a:pt x="1142" y="8090"/>
                  </a:cubicBezTo>
                  <a:cubicBezTo>
                    <a:pt x="1195" y="8046"/>
                    <a:pt x="1195" y="8046"/>
                    <a:pt x="1195" y="8046"/>
                  </a:cubicBezTo>
                  <a:cubicBezTo>
                    <a:pt x="1278" y="8167"/>
                    <a:pt x="1278" y="8167"/>
                    <a:pt x="1278" y="8167"/>
                  </a:cubicBezTo>
                  <a:lnTo>
                    <a:pt x="1263" y="8262"/>
                  </a:lnTo>
                  <a:close/>
                  <a:moveTo>
                    <a:pt x="1346" y="8478"/>
                  </a:moveTo>
                  <a:cubicBezTo>
                    <a:pt x="1448" y="8551"/>
                    <a:pt x="1448" y="8551"/>
                    <a:pt x="1448" y="8551"/>
                  </a:cubicBezTo>
                  <a:cubicBezTo>
                    <a:pt x="1488" y="8483"/>
                    <a:pt x="1488" y="8483"/>
                    <a:pt x="1488" y="8483"/>
                  </a:cubicBezTo>
                  <a:cubicBezTo>
                    <a:pt x="1336" y="8370"/>
                    <a:pt x="1336" y="8370"/>
                    <a:pt x="1336" y="8370"/>
                  </a:cubicBezTo>
                  <a:cubicBezTo>
                    <a:pt x="1206" y="8451"/>
                    <a:pt x="1206" y="8451"/>
                    <a:pt x="1206" y="8451"/>
                  </a:cubicBezTo>
                  <a:cubicBezTo>
                    <a:pt x="1292" y="8512"/>
                    <a:pt x="1292" y="8512"/>
                    <a:pt x="1292" y="8512"/>
                  </a:cubicBezTo>
                  <a:lnTo>
                    <a:pt x="1346" y="8478"/>
                  </a:lnTo>
                  <a:close/>
                  <a:moveTo>
                    <a:pt x="1335" y="8386"/>
                  </a:moveTo>
                  <a:cubicBezTo>
                    <a:pt x="1470" y="8487"/>
                    <a:pt x="1470" y="8487"/>
                    <a:pt x="1470" y="8487"/>
                  </a:cubicBezTo>
                  <a:cubicBezTo>
                    <a:pt x="1443" y="8531"/>
                    <a:pt x="1443" y="8531"/>
                    <a:pt x="1443" y="8531"/>
                  </a:cubicBezTo>
                  <a:cubicBezTo>
                    <a:pt x="1354" y="8467"/>
                    <a:pt x="1354" y="8467"/>
                    <a:pt x="1354" y="8467"/>
                  </a:cubicBezTo>
                  <a:cubicBezTo>
                    <a:pt x="1346" y="8461"/>
                    <a:pt x="1346" y="8461"/>
                    <a:pt x="1346" y="8461"/>
                  </a:cubicBezTo>
                  <a:cubicBezTo>
                    <a:pt x="1338" y="8466"/>
                    <a:pt x="1338" y="8466"/>
                    <a:pt x="1338" y="8466"/>
                  </a:cubicBezTo>
                  <a:cubicBezTo>
                    <a:pt x="1292" y="8495"/>
                    <a:pt x="1292" y="8495"/>
                    <a:pt x="1292" y="8495"/>
                  </a:cubicBezTo>
                  <a:cubicBezTo>
                    <a:pt x="1231" y="8451"/>
                    <a:pt x="1231" y="8451"/>
                    <a:pt x="1231" y="8451"/>
                  </a:cubicBezTo>
                  <a:lnTo>
                    <a:pt x="1335" y="8386"/>
                  </a:lnTo>
                  <a:close/>
                  <a:moveTo>
                    <a:pt x="1041" y="8457"/>
                  </a:moveTo>
                  <a:cubicBezTo>
                    <a:pt x="1363" y="8699"/>
                    <a:pt x="1363" y="8699"/>
                    <a:pt x="1363" y="8699"/>
                  </a:cubicBezTo>
                  <a:cubicBezTo>
                    <a:pt x="1428" y="8593"/>
                    <a:pt x="1428" y="8593"/>
                    <a:pt x="1428" y="8593"/>
                  </a:cubicBezTo>
                  <a:cubicBezTo>
                    <a:pt x="1341" y="8533"/>
                    <a:pt x="1341" y="8533"/>
                    <a:pt x="1341" y="8533"/>
                  </a:cubicBezTo>
                  <a:cubicBezTo>
                    <a:pt x="1316" y="8573"/>
                    <a:pt x="1316" y="8573"/>
                    <a:pt x="1316" y="8573"/>
                  </a:cubicBezTo>
                  <a:cubicBezTo>
                    <a:pt x="1079" y="8395"/>
                    <a:pt x="1079" y="8395"/>
                    <a:pt x="1079" y="8395"/>
                  </a:cubicBezTo>
                  <a:lnTo>
                    <a:pt x="1041" y="8457"/>
                  </a:lnTo>
                  <a:close/>
                  <a:moveTo>
                    <a:pt x="1308" y="8584"/>
                  </a:moveTo>
                  <a:cubicBezTo>
                    <a:pt x="1320" y="8593"/>
                    <a:pt x="1320" y="8593"/>
                    <a:pt x="1320" y="8593"/>
                  </a:cubicBezTo>
                  <a:cubicBezTo>
                    <a:pt x="1328" y="8580"/>
                    <a:pt x="1328" y="8580"/>
                    <a:pt x="1328" y="8580"/>
                  </a:cubicBezTo>
                  <a:cubicBezTo>
                    <a:pt x="1345" y="8553"/>
                    <a:pt x="1345" y="8553"/>
                    <a:pt x="1345" y="8553"/>
                  </a:cubicBezTo>
                  <a:cubicBezTo>
                    <a:pt x="1409" y="8597"/>
                    <a:pt x="1409" y="8597"/>
                    <a:pt x="1409" y="8597"/>
                  </a:cubicBezTo>
                  <a:cubicBezTo>
                    <a:pt x="1359" y="8678"/>
                    <a:pt x="1359" y="8678"/>
                    <a:pt x="1359" y="8678"/>
                  </a:cubicBezTo>
                  <a:cubicBezTo>
                    <a:pt x="1060" y="8454"/>
                    <a:pt x="1060" y="8454"/>
                    <a:pt x="1060" y="8454"/>
                  </a:cubicBezTo>
                  <a:cubicBezTo>
                    <a:pt x="1083" y="8416"/>
                    <a:pt x="1083" y="8416"/>
                    <a:pt x="1083" y="8416"/>
                  </a:cubicBezTo>
                  <a:lnTo>
                    <a:pt x="1308" y="8584"/>
                  </a:lnTo>
                  <a:close/>
                  <a:moveTo>
                    <a:pt x="486" y="9095"/>
                  </a:moveTo>
                  <a:cubicBezTo>
                    <a:pt x="541" y="9107"/>
                    <a:pt x="541" y="9107"/>
                    <a:pt x="541" y="9107"/>
                  </a:cubicBezTo>
                  <a:cubicBezTo>
                    <a:pt x="566" y="9019"/>
                    <a:pt x="566" y="9019"/>
                    <a:pt x="566" y="9019"/>
                  </a:cubicBezTo>
                  <a:cubicBezTo>
                    <a:pt x="522" y="8979"/>
                    <a:pt x="522" y="8979"/>
                    <a:pt x="522" y="8979"/>
                  </a:cubicBezTo>
                  <a:cubicBezTo>
                    <a:pt x="369" y="9048"/>
                    <a:pt x="369" y="9048"/>
                    <a:pt x="369" y="9048"/>
                  </a:cubicBezTo>
                  <a:cubicBezTo>
                    <a:pt x="319" y="9183"/>
                    <a:pt x="319" y="9183"/>
                    <a:pt x="319" y="9183"/>
                  </a:cubicBezTo>
                  <a:cubicBezTo>
                    <a:pt x="449" y="9213"/>
                    <a:pt x="449" y="9213"/>
                    <a:pt x="449" y="9213"/>
                  </a:cubicBezTo>
                  <a:lnTo>
                    <a:pt x="486" y="9095"/>
                  </a:lnTo>
                  <a:close/>
                  <a:moveTo>
                    <a:pt x="337" y="9173"/>
                  </a:moveTo>
                  <a:cubicBezTo>
                    <a:pt x="380" y="9059"/>
                    <a:pt x="380" y="9059"/>
                    <a:pt x="380" y="9059"/>
                  </a:cubicBezTo>
                  <a:cubicBezTo>
                    <a:pt x="520" y="8995"/>
                    <a:pt x="520" y="8995"/>
                    <a:pt x="520" y="8995"/>
                  </a:cubicBezTo>
                  <a:cubicBezTo>
                    <a:pt x="551" y="9023"/>
                    <a:pt x="551" y="9023"/>
                    <a:pt x="551" y="9023"/>
                  </a:cubicBezTo>
                  <a:cubicBezTo>
                    <a:pt x="532" y="9091"/>
                    <a:pt x="532" y="9091"/>
                    <a:pt x="532" y="9091"/>
                  </a:cubicBezTo>
                  <a:cubicBezTo>
                    <a:pt x="489" y="9081"/>
                    <a:pt x="489" y="9081"/>
                    <a:pt x="489" y="9081"/>
                  </a:cubicBezTo>
                  <a:cubicBezTo>
                    <a:pt x="476" y="9079"/>
                    <a:pt x="476" y="9079"/>
                    <a:pt x="476" y="9079"/>
                  </a:cubicBezTo>
                  <a:cubicBezTo>
                    <a:pt x="473" y="9091"/>
                    <a:pt x="473" y="9091"/>
                    <a:pt x="473" y="9091"/>
                  </a:cubicBezTo>
                  <a:cubicBezTo>
                    <a:pt x="439" y="9197"/>
                    <a:pt x="439" y="9197"/>
                    <a:pt x="439" y="9197"/>
                  </a:cubicBezTo>
                  <a:lnTo>
                    <a:pt x="337" y="9173"/>
                  </a:lnTo>
                  <a:close/>
                  <a:moveTo>
                    <a:pt x="445" y="9869"/>
                  </a:moveTo>
                  <a:cubicBezTo>
                    <a:pt x="513" y="9839"/>
                    <a:pt x="513" y="9839"/>
                    <a:pt x="513" y="9839"/>
                  </a:cubicBezTo>
                  <a:cubicBezTo>
                    <a:pt x="383" y="9566"/>
                    <a:pt x="383" y="9566"/>
                    <a:pt x="383" y="9566"/>
                  </a:cubicBezTo>
                  <a:cubicBezTo>
                    <a:pt x="396" y="9457"/>
                    <a:pt x="396" y="9457"/>
                    <a:pt x="396" y="9457"/>
                  </a:cubicBezTo>
                  <a:cubicBezTo>
                    <a:pt x="292" y="9456"/>
                    <a:pt x="292" y="9456"/>
                    <a:pt x="292" y="9456"/>
                  </a:cubicBezTo>
                  <a:cubicBezTo>
                    <a:pt x="299" y="9388"/>
                    <a:pt x="299" y="9388"/>
                    <a:pt x="299" y="9388"/>
                  </a:cubicBezTo>
                  <a:cubicBezTo>
                    <a:pt x="398" y="9387"/>
                    <a:pt x="398" y="9387"/>
                    <a:pt x="398" y="9387"/>
                  </a:cubicBezTo>
                  <a:cubicBezTo>
                    <a:pt x="358" y="9316"/>
                    <a:pt x="358" y="9316"/>
                    <a:pt x="358" y="9316"/>
                  </a:cubicBezTo>
                  <a:cubicBezTo>
                    <a:pt x="225" y="9364"/>
                    <a:pt x="225" y="9364"/>
                    <a:pt x="225" y="9364"/>
                  </a:cubicBezTo>
                  <a:cubicBezTo>
                    <a:pt x="213" y="9450"/>
                    <a:pt x="213" y="9450"/>
                    <a:pt x="213" y="9450"/>
                  </a:cubicBezTo>
                  <a:cubicBezTo>
                    <a:pt x="260" y="9537"/>
                    <a:pt x="260" y="9537"/>
                    <a:pt x="260" y="9537"/>
                  </a:cubicBezTo>
                  <a:cubicBezTo>
                    <a:pt x="302" y="9538"/>
                    <a:pt x="302" y="9538"/>
                    <a:pt x="302" y="9538"/>
                  </a:cubicBezTo>
                  <a:cubicBezTo>
                    <a:pt x="299" y="9592"/>
                    <a:pt x="299" y="9592"/>
                    <a:pt x="299" y="9592"/>
                  </a:cubicBezTo>
                  <a:lnTo>
                    <a:pt x="445" y="9869"/>
                  </a:lnTo>
                  <a:close/>
                  <a:moveTo>
                    <a:pt x="269" y="9523"/>
                  </a:moveTo>
                  <a:cubicBezTo>
                    <a:pt x="227" y="9448"/>
                    <a:pt x="227" y="9448"/>
                    <a:pt x="227" y="9448"/>
                  </a:cubicBezTo>
                  <a:cubicBezTo>
                    <a:pt x="238" y="9375"/>
                    <a:pt x="238" y="9375"/>
                    <a:pt x="238" y="9375"/>
                  </a:cubicBezTo>
                  <a:cubicBezTo>
                    <a:pt x="352" y="9333"/>
                    <a:pt x="352" y="9333"/>
                    <a:pt x="352" y="9333"/>
                  </a:cubicBezTo>
                  <a:cubicBezTo>
                    <a:pt x="375" y="9374"/>
                    <a:pt x="375" y="9374"/>
                    <a:pt x="375" y="9374"/>
                  </a:cubicBezTo>
                  <a:cubicBezTo>
                    <a:pt x="299" y="9374"/>
                    <a:pt x="299" y="9374"/>
                    <a:pt x="299" y="9374"/>
                  </a:cubicBezTo>
                  <a:cubicBezTo>
                    <a:pt x="286" y="9375"/>
                    <a:pt x="286" y="9375"/>
                    <a:pt x="286" y="9375"/>
                  </a:cubicBezTo>
                  <a:cubicBezTo>
                    <a:pt x="285" y="9387"/>
                    <a:pt x="285" y="9387"/>
                    <a:pt x="285" y="9387"/>
                  </a:cubicBezTo>
                  <a:cubicBezTo>
                    <a:pt x="278" y="9455"/>
                    <a:pt x="278" y="9455"/>
                    <a:pt x="278" y="9455"/>
                  </a:cubicBezTo>
                  <a:cubicBezTo>
                    <a:pt x="276" y="9470"/>
                    <a:pt x="276" y="9470"/>
                    <a:pt x="276" y="9470"/>
                  </a:cubicBezTo>
                  <a:cubicBezTo>
                    <a:pt x="292" y="9470"/>
                    <a:pt x="292" y="9470"/>
                    <a:pt x="292" y="9470"/>
                  </a:cubicBezTo>
                  <a:cubicBezTo>
                    <a:pt x="380" y="9470"/>
                    <a:pt x="380" y="9470"/>
                    <a:pt x="380" y="9470"/>
                  </a:cubicBezTo>
                  <a:cubicBezTo>
                    <a:pt x="369" y="9565"/>
                    <a:pt x="369" y="9565"/>
                    <a:pt x="369" y="9565"/>
                  </a:cubicBezTo>
                  <a:cubicBezTo>
                    <a:pt x="368" y="9569"/>
                    <a:pt x="368" y="9569"/>
                    <a:pt x="368" y="9569"/>
                  </a:cubicBezTo>
                  <a:cubicBezTo>
                    <a:pt x="370" y="9572"/>
                    <a:pt x="370" y="9572"/>
                    <a:pt x="370" y="9572"/>
                  </a:cubicBezTo>
                  <a:cubicBezTo>
                    <a:pt x="494" y="9832"/>
                    <a:pt x="494" y="9832"/>
                    <a:pt x="494" y="9832"/>
                  </a:cubicBezTo>
                  <a:cubicBezTo>
                    <a:pt x="451" y="9851"/>
                    <a:pt x="451" y="9851"/>
                    <a:pt x="451" y="9851"/>
                  </a:cubicBezTo>
                  <a:cubicBezTo>
                    <a:pt x="313" y="9589"/>
                    <a:pt x="313" y="9589"/>
                    <a:pt x="313" y="9589"/>
                  </a:cubicBezTo>
                  <a:cubicBezTo>
                    <a:pt x="316" y="9539"/>
                    <a:pt x="316" y="9539"/>
                    <a:pt x="316" y="9539"/>
                  </a:cubicBezTo>
                  <a:cubicBezTo>
                    <a:pt x="317" y="9525"/>
                    <a:pt x="317" y="9525"/>
                    <a:pt x="317" y="9525"/>
                  </a:cubicBezTo>
                  <a:cubicBezTo>
                    <a:pt x="303" y="9524"/>
                    <a:pt x="303" y="9524"/>
                    <a:pt x="303" y="9524"/>
                  </a:cubicBezTo>
                  <a:lnTo>
                    <a:pt x="269" y="9523"/>
                  </a:lnTo>
                  <a:close/>
                  <a:moveTo>
                    <a:pt x="57" y="9583"/>
                  </a:moveTo>
                  <a:cubicBezTo>
                    <a:pt x="140" y="9741"/>
                    <a:pt x="140" y="9741"/>
                    <a:pt x="140" y="9741"/>
                  </a:cubicBezTo>
                  <a:cubicBezTo>
                    <a:pt x="215" y="9702"/>
                    <a:pt x="215" y="9702"/>
                    <a:pt x="215" y="9702"/>
                  </a:cubicBezTo>
                  <a:cubicBezTo>
                    <a:pt x="131" y="9543"/>
                    <a:pt x="131" y="9543"/>
                    <a:pt x="131" y="9543"/>
                  </a:cubicBezTo>
                  <a:lnTo>
                    <a:pt x="57" y="9583"/>
                  </a:lnTo>
                  <a:close/>
                  <a:moveTo>
                    <a:pt x="146" y="9722"/>
                  </a:moveTo>
                  <a:cubicBezTo>
                    <a:pt x="76" y="9588"/>
                    <a:pt x="76" y="9588"/>
                    <a:pt x="76" y="9588"/>
                  </a:cubicBezTo>
                  <a:cubicBezTo>
                    <a:pt x="126" y="9562"/>
                    <a:pt x="126" y="9562"/>
                    <a:pt x="126" y="9562"/>
                  </a:cubicBezTo>
                  <a:cubicBezTo>
                    <a:pt x="196" y="9696"/>
                    <a:pt x="196" y="9696"/>
                    <a:pt x="196" y="9696"/>
                  </a:cubicBezTo>
                  <a:lnTo>
                    <a:pt x="146" y="9722"/>
                  </a:lnTo>
                  <a:close/>
                  <a:moveTo>
                    <a:pt x="766" y="8917"/>
                  </a:moveTo>
                  <a:cubicBezTo>
                    <a:pt x="696" y="8852"/>
                    <a:pt x="696" y="8852"/>
                    <a:pt x="696" y="8852"/>
                  </a:cubicBezTo>
                  <a:cubicBezTo>
                    <a:pt x="591" y="8917"/>
                    <a:pt x="591" y="8917"/>
                    <a:pt x="591" y="8917"/>
                  </a:cubicBezTo>
                  <a:cubicBezTo>
                    <a:pt x="659" y="8980"/>
                    <a:pt x="659" y="8980"/>
                    <a:pt x="659" y="8980"/>
                  </a:cubicBezTo>
                  <a:lnTo>
                    <a:pt x="766" y="8917"/>
                  </a:lnTo>
                  <a:close/>
                  <a:moveTo>
                    <a:pt x="694" y="8869"/>
                  </a:moveTo>
                  <a:cubicBezTo>
                    <a:pt x="743" y="8914"/>
                    <a:pt x="743" y="8914"/>
                    <a:pt x="743" y="8914"/>
                  </a:cubicBezTo>
                  <a:cubicBezTo>
                    <a:pt x="660" y="8962"/>
                    <a:pt x="660" y="8962"/>
                    <a:pt x="660" y="8962"/>
                  </a:cubicBezTo>
                  <a:cubicBezTo>
                    <a:pt x="614" y="8919"/>
                    <a:pt x="614" y="8919"/>
                    <a:pt x="614" y="8919"/>
                  </a:cubicBezTo>
                  <a:lnTo>
                    <a:pt x="694" y="8869"/>
                  </a:lnTo>
                  <a:close/>
                  <a:moveTo>
                    <a:pt x="804" y="9234"/>
                  </a:moveTo>
                  <a:cubicBezTo>
                    <a:pt x="643" y="9072"/>
                    <a:pt x="643" y="9072"/>
                    <a:pt x="643" y="9072"/>
                  </a:cubicBezTo>
                  <a:cubicBezTo>
                    <a:pt x="597" y="9247"/>
                    <a:pt x="597" y="9247"/>
                    <a:pt x="597" y="9247"/>
                  </a:cubicBezTo>
                  <a:lnTo>
                    <a:pt x="804" y="9234"/>
                  </a:lnTo>
                  <a:close/>
                  <a:moveTo>
                    <a:pt x="651" y="9099"/>
                  </a:moveTo>
                  <a:cubicBezTo>
                    <a:pt x="772" y="9222"/>
                    <a:pt x="772" y="9222"/>
                    <a:pt x="772" y="9222"/>
                  </a:cubicBezTo>
                  <a:cubicBezTo>
                    <a:pt x="616" y="9232"/>
                    <a:pt x="616" y="9232"/>
                    <a:pt x="616" y="9232"/>
                  </a:cubicBezTo>
                  <a:lnTo>
                    <a:pt x="651" y="9099"/>
                  </a:lnTo>
                  <a:close/>
                  <a:moveTo>
                    <a:pt x="878" y="9194"/>
                  </a:moveTo>
                  <a:cubicBezTo>
                    <a:pt x="1029" y="9051"/>
                    <a:pt x="1029" y="9051"/>
                    <a:pt x="1029" y="9051"/>
                  </a:cubicBezTo>
                  <a:cubicBezTo>
                    <a:pt x="966" y="8970"/>
                    <a:pt x="966" y="8970"/>
                    <a:pt x="966" y="8970"/>
                  </a:cubicBezTo>
                  <a:cubicBezTo>
                    <a:pt x="890" y="9035"/>
                    <a:pt x="890" y="9035"/>
                    <a:pt x="890" y="9035"/>
                  </a:cubicBezTo>
                  <a:cubicBezTo>
                    <a:pt x="817" y="8967"/>
                    <a:pt x="817" y="8967"/>
                    <a:pt x="817" y="8967"/>
                  </a:cubicBezTo>
                  <a:cubicBezTo>
                    <a:pt x="716" y="9037"/>
                    <a:pt x="716" y="9037"/>
                    <a:pt x="716" y="9037"/>
                  </a:cubicBezTo>
                  <a:lnTo>
                    <a:pt x="878" y="9194"/>
                  </a:lnTo>
                  <a:close/>
                  <a:moveTo>
                    <a:pt x="881" y="9045"/>
                  </a:moveTo>
                  <a:cubicBezTo>
                    <a:pt x="890" y="9054"/>
                    <a:pt x="890" y="9054"/>
                    <a:pt x="890" y="9054"/>
                  </a:cubicBezTo>
                  <a:cubicBezTo>
                    <a:pt x="899" y="9046"/>
                    <a:pt x="899" y="9046"/>
                    <a:pt x="899" y="9046"/>
                  </a:cubicBezTo>
                  <a:cubicBezTo>
                    <a:pt x="964" y="8990"/>
                    <a:pt x="964" y="8990"/>
                    <a:pt x="964" y="8990"/>
                  </a:cubicBezTo>
                  <a:cubicBezTo>
                    <a:pt x="1010" y="9050"/>
                    <a:pt x="1010" y="9050"/>
                    <a:pt x="1010" y="9050"/>
                  </a:cubicBezTo>
                  <a:cubicBezTo>
                    <a:pt x="878" y="9175"/>
                    <a:pt x="878" y="9175"/>
                    <a:pt x="878" y="9175"/>
                  </a:cubicBezTo>
                  <a:cubicBezTo>
                    <a:pt x="738" y="9039"/>
                    <a:pt x="738" y="9039"/>
                    <a:pt x="738" y="9039"/>
                  </a:cubicBezTo>
                  <a:cubicBezTo>
                    <a:pt x="815" y="8985"/>
                    <a:pt x="815" y="8985"/>
                    <a:pt x="815" y="8985"/>
                  </a:cubicBezTo>
                  <a:lnTo>
                    <a:pt x="881" y="9045"/>
                  </a:lnTo>
                  <a:close/>
                  <a:moveTo>
                    <a:pt x="936" y="10035"/>
                  </a:moveTo>
                  <a:cubicBezTo>
                    <a:pt x="1002" y="10140"/>
                    <a:pt x="1002" y="10140"/>
                    <a:pt x="1002" y="10140"/>
                  </a:cubicBezTo>
                  <a:cubicBezTo>
                    <a:pt x="1128" y="10080"/>
                    <a:pt x="1128" y="10080"/>
                    <a:pt x="1128" y="10080"/>
                  </a:cubicBezTo>
                  <a:cubicBezTo>
                    <a:pt x="1108" y="10044"/>
                    <a:pt x="1108" y="10044"/>
                    <a:pt x="1108" y="10044"/>
                  </a:cubicBezTo>
                  <a:cubicBezTo>
                    <a:pt x="1157" y="10017"/>
                    <a:pt x="1157" y="10017"/>
                    <a:pt x="1157" y="10017"/>
                  </a:cubicBezTo>
                  <a:cubicBezTo>
                    <a:pt x="1328" y="10182"/>
                    <a:pt x="1328" y="10182"/>
                    <a:pt x="1328" y="10182"/>
                  </a:cubicBezTo>
                  <a:cubicBezTo>
                    <a:pt x="1308" y="10198"/>
                    <a:pt x="1308" y="10198"/>
                    <a:pt x="1308" y="10198"/>
                  </a:cubicBezTo>
                  <a:cubicBezTo>
                    <a:pt x="1415" y="10303"/>
                    <a:pt x="1415" y="10303"/>
                    <a:pt x="1415" y="10303"/>
                  </a:cubicBezTo>
                  <a:cubicBezTo>
                    <a:pt x="1562" y="10316"/>
                    <a:pt x="1562" y="10316"/>
                    <a:pt x="1562" y="10316"/>
                  </a:cubicBezTo>
                  <a:cubicBezTo>
                    <a:pt x="1572" y="10193"/>
                    <a:pt x="1572" y="10193"/>
                    <a:pt x="1572" y="10193"/>
                  </a:cubicBezTo>
                  <a:cubicBezTo>
                    <a:pt x="1216" y="9886"/>
                    <a:pt x="1216" y="9886"/>
                    <a:pt x="1216" y="9886"/>
                  </a:cubicBezTo>
                  <a:lnTo>
                    <a:pt x="936" y="10035"/>
                  </a:lnTo>
                  <a:close/>
                  <a:moveTo>
                    <a:pt x="1549" y="10301"/>
                  </a:moveTo>
                  <a:cubicBezTo>
                    <a:pt x="1421" y="10290"/>
                    <a:pt x="1421" y="10290"/>
                    <a:pt x="1421" y="10290"/>
                  </a:cubicBezTo>
                  <a:cubicBezTo>
                    <a:pt x="1329" y="10200"/>
                    <a:pt x="1329" y="10200"/>
                    <a:pt x="1329" y="10200"/>
                  </a:cubicBezTo>
                  <a:cubicBezTo>
                    <a:pt x="1337" y="10193"/>
                    <a:pt x="1337" y="10193"/>
                    <a:pt x="1337" y="10193"/>
                  </a:cubicBezTo>
                  <a:cubicBezTo>
                    <a:pt x="1350" y="10183"/>
                    <a:pt x="1350" y="10183"/>
                    <a:pt x="1350" y="10183"/>
                  </a:cubicBezTo>
                  <a:cubicBezTo>
                    <a:pt x="1338" y="10172"/>
                    <a:pt x="1338" y="10172"/>
                    <a:pt x="1338" y="10172"/>
                  </a:cubicBezTo>
                  <a:cubicBezTo>
                    <a:pt x="1167" y="10007"/>
                    <a:pt x="1167" y="10007"/>
                    <a:pt x="1167" y="10007"/>
                  </a:cubicBezTo>
                  <a:cubicBezTo>
                    <a:pt x="1159" y="10000"/>
                    <a:pt x="1159" y="10000"/>
                    <a:pt x="1159" y="10000"/>
                  </a:cubicBezTo>
                  <a:cubicBezTo>
                    <a:pt x="1150" y="10005"/>
                    <a:pt x="1150" y="10005"/>
                    <a:pt x="1150" y="10005"/>
                  </a:cubicBezTo>
                  <a:cubicBezTo>
                    <a:pt x="1102" y="10032"/>
                    <a:pt x="1102" y="10032"/>
                    <a:pt x="1102" y="10032"/>
                  </a:cubicBezTo>
                  <a:cubicBezTo>
                    <a:pt x="1089" y="10039"/>
                    <a:pt x="1089" y="10039"/>
                    <a:pt x="1089" y="10039"/>
                  </a:cubicBezTo>
                  <a:cubicBezTo>
                    <a:pt x="1096" y="10051"/>
                    <a:pt x="1096" y="10051"/>
                    <a:pt x="1096" y="10051"/>
                  </a:cubicBezTo>
                  <a:cubicBezTo>
                    <a:pt x="1109" y="10073"/>
                    <a:pt x="1109" y="10073"/>
                    <a:pt x="1109" y="10073"/>
                  </a:cubicBezTo>
                  <a:cubicBezTo>
                    <a:pt x="1007" y="10122"/>
                    <a:pt x="1007" y="10122"/>
                    <a:pt x="1007" y="10122"/>
                  </a:cubicBezTo>
                  <a:cubicBezTo>
                    <a:pt x="956" y="10040"/>
                    <a:pt x="956" y="10040"/>
                    <a:pt x="956" y="10040"/>
                  </a:cubicBezTo>
                  <a:cubicBezTo>
                    <a:pt x="1215" y="9902"/>
                    <a:pt x="1215" y="9902"/>
                    <a:pt x="1215" y="9902"/>
                  </a:cubicBezTo>
                  <a:cubicBezTo>
                    <a:pt x="1557" y="10199"/>
                    <a:pt x="1557" y="10199"/>
                    <a:pt x="1557" y="10199"/>
                  </a:cubicBezTo>
                  <a:lnTo>
                    <a:pt x="1549" y="10301"/>
                  </a:lnTo>
                  <a:close/>
                  <a:moveTo>
                    <a:pt x="817" y="10720"/>
                  </a:moveTo>
                  <a:cubicBezTo>
                    <a:pt x="694" y="10497"/>
                    <a:pt x="694" y="10497"/>
                    <a:pt x="694" y="10497"/>
                  </a:cubicBezTo>
                  <a:cubicBezTo>
                    <a:pt x="636" y="10529"/>
                    <a:pt x="636" y="10529"/>
                    <a:pt x="636" y="10529"/>
                  </a:cubicBezTo>
                  <a:cubicBezTo>
                    <a:pt x="758" y="10751"/>
                    <a:pt x="758" y="10751"/>
                    <a:pt x="758" y="10751"/>
                  </a:cubicBezTo>
                  <a:lnTo>
                    <a:pt x="817" y="10720"/>
                  </a:lnTo>
                  <a:close/>
                  <a:moveTo>
                    <a:pt x="688" y="10516"/>
                  </a:moveTo>
                  <a:cubicBezTo>
                    <a:pt x="798" y="10714"/>
                    <a:pt x="798" y="10714"/>
                    <a:pt x="798" y="10714"/>
                  </a:cubicBezTo>
                  <a:cubicBezTo>
                    <a:pt x="763" y="10733"/>
                    <a:pt x="763" y="10733"/>
                    <a:pt x="763" y="10733"/>
                  </a:cubicBezTo>
                  <a:cubicBezTo>
                    <a:pt x="654" y="10535"/>
                    <a:pt x="654" y="10535"/>
                    <a:pt x="654" y="10535"/>
                  </a:cubicBezTo>
                  <a:lnTo>
                    <a:pt x="688" y="10516"/>
                  </a:lnTo>
                  <a:close/>
                  <a:moveTo>
                    <a:pt x="1872" y="9598"/>
                  </a:moveTo>
                  <a:cubicBezTo>
                    <a:pt x="1935" y="9568"/>
                    <a:pt x="1935" y="9568"/>
                    <a:pt x="1935" y="9568"/>
                  </a:cubicBezTo>
                  <a:cubicBezTo>
                    <a:pt x="1903" y="9842"/>
                    <a:pt x="1903" y="9842"/>
                    <a:pt x="1903" y="9842"/>
                  </a:cubicBezTo>
                  <a:cubicBezTo>
                    <a:pt x="1827" y="9875"/>
                    <a:pt x="1827" y="9875"/>
                    <a:pt x="1827" y="9875"/>
                  </a:cubicBezTo>
                  <a:cubicBezTo>
                    <a:pt x="2008" y="9948"/>
                    <a:pt x="2008" y="9948"/>
                    <a:pt x="2008" y="9948"/>
                  </a:cubicBezTo>
                  <a:cubicBezTo>
                    <a:pt x="2066" y="9923"/>
                    <a:pt x="2066" y="9923"/>
                    <a:pt x="2066" y="9923"/>
                  </a:cubicBezTo>
                  <a:cubicBezTo>
                    <a:pt x="2127" y="9406"/>
                    <a:pt x="2127" y="9406"/>
                    <a:pt x="2127" y="9406"/>
                  </a:cubicBezTo>
                  <a:cubicBezTo>
                    <a:pt x="1848" y="9554"/>
                    <a:pt x="1848" y="9554"/>
                    <a:pt x="1848" y="9554"/>
                  </a:cubicBezTo>
                  <a:lnTo>
                    <a:pt x="1872" y="9598"/>
                  </a:lnTo>
                  <a:close/>
                  <a:moveTo>
                    <a:pt x="2053" y="9913"/>
                  </a:moveTo>
                  <a:cubicBezTo>
                    <a:pt x="2007" y="9933"/>
                    <a:pt x="2007" y="9933"/>
                    <a:pt x="2007" y="9933"/>
                  </a:cubicBezTo>
                  <a:cubicBezTo>
                    <a:pt x="1863" y="9875"/>
                    <a:pt x="1863" y="9875"/>
                    <a:pt x="1863" y="9875"/>
                  </a:cubicBezTo>
                  <a:cubicBezTo>
                    <a:pt x="1908" y="9855"/>
                    <a:pt x="1908" y="9855"/>
                    <a:pt x="1908" y="9855"/>
                  </a:cubicBezTo>
                  <a:cubicBezTo>
                    <a:pt x="1916" y="9852"/>
                    <a:pt x="1916" y="9852"/>
                    <a:pt x="1916" y="9852"/>
                  </a:cubicBezTo>
                  <a:cubicBezTo>
                    <a:pt x="1917" y="9844"/>
                    <a:pt x="1917" y="9844"/>
                    <a:pt x="1917" y="9844"/>
                  </a:cubicBezTo>
                  <a:cubicBezTo>
                    <a:pt x="1949" y="9569"/>
                    <a:pt x="1949" y="9569"/>
                    <a:pt x="1949" y="9569"/>
                  </a:cubicBezTo>
                  <a:cubicBezTo>
                    <a:pt x="1952" y="9544"/>
                    <a:pt x="1952" y="9544"/>
                    <a:pt x="1952" y="9544"/>
                  </a:cubicBezTo>
                  <a:cubicBezTo>
                    <a:pt x="1929" y="9555"/>
                    <a:pt x="1929" y="9555"/>
                    <a:pt x="1929" y="9555"/>
                  </a:cubicBezTo>
                  <a:cubicBezTo>
                    <a:pt x="1878" y="9580"/>
                    <a:pt x="1878" y="9580"/>
                    <a:pt x="1878" y="9580"/>
                  </a:cubicBezTo>
                  <a:cubicBezTo>
                    <a:pt x="1867" y="9560"/>
                    <a:pt x="1867" y="9560"/>
                    <a:pt x="1867" y="9560"/>
                  </a:cubicBezTo>
                  <a:cubicBezTo>
                    <a:pt x="2110" y="9431"/>
                    <a:pt x="2110" y="9431"/>
                    <a:pt x="2110" y="9431"/>
                  </a:cubicBezTo>
                  <a:lnTo>
                    <a:pt x="2053" y="9913"/>
                  </a:lnTo>
                  <a:close/>
                  <a:moveTo>
                    <a:pt x="851" y="10771"/>
                  </a:moveTo>
                  <a:cubicBezTo>
                    <a:pt x="791" y="10806"/>
                    <a:pt x="791" y="10806"/>
                    <a:pt x="791" y="10806"/>
                  </a:cubicBezTo>
                  <a:cubicBezTo>
                    <a:pt x="820" y="10864"/>
                    <a:pt x="820" y="10864"/>
                    <a:pt x="820" y="10864"/>
                  </a:cubicBezTo>
                  <a:cubicBezTo>
                    <a:pt x="754" y="10902"/>
                    <a:pt x="754" y="10902"/>
                    <a:pt x="754" y="10902"/>
                  </a:cubicBezTo>
                  <a:cubicBezTo>
                    <a:pt x="789" y="10960"/>
                    <a:pt x="789" y="10960"/>
                    <a:pt x="789" y="10960"/>
                  </a:cubicBezTo>
                  <a:cubicBezTo>
                    <a:pt x="682" y="11095"/>
                    <a:pt x="682" y="11095"/>
                    <a:pt x="682" y="11095"/>
                  </a:cubicBezTo>
                  <a:cubicBezTo>
                    <a:pt x="743" y="11163"/>
                    <a:pt x="743" y="11163"/>
                    <a:pt x="743" y="11163"/>
                  </a:cubicBezTo>
                  <a:cubicBezTo>
                    <a:pt x="884" y="10964"/>
                    <a:pt x="884" y="10964"/>
                    <a:pt x="884" y="10964"/>
                  </a:cubicBezTo>
                  <a:cubicBezTo>
                    <a:pt x="947" y="10924"/>
                    <a:pt x="947" y="10924"/>
                    <a:pt x="947" y="10924"/>
                  </a:cubicBezTo>
                  <a:lnTo>
                    <a:pt x="851" y="10771"/>
                  </a:lnTo>
                  <a:close/>
                  <a:moveTo>
                    <a:pt x="876" y="10952"/>
                  </a:moveTo>
                  <a:cubicBezTo>
                    <a:pt x="874" y="10954"/>
                    <a:pt x="874" y="10954"/>
                    <a:pt x="874" y="10954"/>
                  </a:cubicBezTo>
                  <a:cubicBezTo>
                    <a:pt x="873" y="10956"/>
                    <a:pt x="873" y="10956"/>
                    <a:pt x="873" y="10956"/>
                  </a:cubicBezTo>
                  <a:cubicBezTo>
                    <a:pt x="741" y="11140"/>
                    <a:pt x="741" y="11140"/>
                    <a:pt x="741" y="11140"/>
                  </a:cubicBezTo>
                  <a:cubicBezTo>
                    <a:pt x="700" y="11094"/>
                    <a:pt x="700" y="11094"/>
                    <a:pt x="700" y="11094"/>
                  </a:cubicBezTo>
                  <a:cubicBezTo>
                    <a:pt x="800" y="10968"/>
                    <a:pt x="800" y="10968"/>
                    <a:pt x="800" y="10968"/>
                  </a:cubicBezTo>
                  <a:cubicBezTo>
                    <a:pt x="806" y="10961"/>
                    <a:pt x="806" y="10961"/>
                    <a:pt x="806" y="10961"/>
                  </a:cubicBezTo>
                  <a:cubicBezTo>
                    <a:pt x="801" y="10952"/>
                    <a:pt x="801" y="10952"/>
                    <a:pt x="801" y="10952"/>
                  </a:cubicBezTo>
                  <a:cubicBezTo>
                    <a:pt x="773" y="10907"/>
                    <a:pt x="773" y="10907"/>
                    <a:pt x="773" y="10907"/>
                  </a:cubicBezTo>
                  <a:cubicBezTo>
                    <a:pt x="827" y="10876"/>
                    <a:pt x="827" y="10876"/>
                    <a:pt x="827" y="10876"/>
                  </a:cubicBezTo>
                  <a:cubicBezTo>
                    <a:pt x="839" y="10869"/>
                    <a:pt x="839" y="10869"/>
                    <a:pt x="839" y="10869"/>
                  </a:cubicBezTo>
                  <a:cubicBezTo>
                    <a:pt x="833" y="10857"/>
                    <a:pt x="833" y="10857"/>
                    <a:pt x="833" y="10857"/>
                  </a:cubicBezTo>
                  <a:cubicBezTo>
                    <a:pt x="809" y="10811"/>
                    <a:pt x="809" y="10811"/>
                    <a:pt x="809" y="10811"/>
                  </a:cubicBezTo>
                  <a:cubicBezTo>
                    <a:pt x="846" y="10790"/>
                    <a:pt x="846" y="10790"/>
                    <a:pt x="846" y="10790"/>
                  </a:cubicBezTo>
                  <a:cubicBezTo>
                    <a:pt x="928" y="10920"/>
                    <a:pt x="928" y="10920"/>
                    <a:pt x="928" y="10920"/>
                  </a:cubicBezTo>
                  <a:lnTo>
                    <a:pt x="876" y="10952"/>
                  </a:lnTo>
                  <a:close/>
                  <a:moveTo>
                    <a:pt x="1824" y="9684"/>
                  </a:moveTo>
                  <a:cubicBezTo>
                    <a:pt x="1831" y="9619"/>
                    <a:pt x="1831" y="9619"/>
                    <a:pt x="1831" y="9619"/>
                  </a:cubicBezTo>
                  <a:cubicBezTo>
                    <a:pt x="1807" y="9576"/>
                    <a:pt x="1807" y="9576"/>
                    <a:pt x="1807" y="9576"/>
                  </a:cubicBezTo>
                  <a:cubicBezTo>
                    <a:pt x="1585" y="9696"/>
                    <a:pt x="1585" y="9696"/>
                    <a:pt x="1585" y="9696"/>
                  </a:cubicBezTo>
                  <a:cubicBezTo>
                    <a:pt x="1582" y="9755"/>
                    <a:pt x="1582" y="9755"/>
                    <a:pt x="1582" y="9755"/>
                  </a:cubicBezTo>
                  <a:cubicBezTo>
                    <a:pt x="1613" y="9796"/>
                    <a:pt x="1613" y="9796"/>
                    <a:pt x="1613" y="9796"/>
                  </a:cubicBezTo>
                  <a:lnTo>
                    <a:pt x="1824" y="9684"/>
                  </a:lnTo>
                  <a:close/>
                  <a:moveTo>
                    <a:pt x="1598" y="9705"/>
                  </a:moveTo>
                  <a:cubicBezTo>
                    <a:pt x="1802" y="9595"/>
                    <a:pt x="1802" y="9595"/>
                    <a:pt x="1802" y="9595"/>
                  </a:cubicBezTo>
                  <a:cubicBezTo>
                    <a:pt x="1817" y="9622"/>
                    <a:pt x="1817" y="9622"/>
                    <a:pt x="1817" y="9622"/>
                  </a:cubicBezTo>
                  <a:cubicBezTo>
                    <a:pt x="1811" y="9675"/>
                    <a:pt x="1811" y="9675"/>
                    <a:pt x="1811" y="9675"/>
                  </a:cubicBezTo>
                  <a:cubicBezTo>
                    <a:pt x="1617" y="9778"/>
                    <a:pt x="1617" y="9778"/>
                    <a:pt x="1617" y="9778"/>
                  </a:cubicBezTo>
                  <a:cubicBezTo>
                    <a:pt x="1596" y="9751"/>
                    <a:pt x="1596" y="9751"/>
                    <a:pt x="1596" y="9751"/>
                  </a:cubicBezTo>
                  <a:lnTo>
                    <a:pt x="1598" y="9705"/>
                  </a:lnTo>
                  <a:close/>
                  <a:moveTo>
                    <a:pt x="1799" y="10288"/>
                  </a:moveTo>
                  <a:cubicBezTo>
                    <a:pt x="1811" y="10146"/>
                    <a:pt x="1811" y="10146"/>
                    <a:pt x="1811" y="10146"/>
                  </a:cubicBezTo>
                  <a:cubicBezTo>
                    <a:pt x="1669" y="10203"/>
                    <a:pt x="1669" y="10203"/>
                    <a:pt x="1669" y="10203"/>
                  </a:cubicBezTo>
                  <a:cubicBezTo>
                    <a:pt x="1654" y="10433"/>
                    <a:pt x="1654" y="10433"/>
                    <a:pt x="1654" y="10433"/>
                  </a:cubicBezTo>
                  <a:cubicBezTo>
                    <a:pt x="1779" y="10506"/>
                    <a:pt x="1779" y="10506"/>
                    <a:pt x="1779" y="10506"/>
                  </a:cubicBezTo>
                  <a:cubicBezTo>
                    <a:pt x="1915" y="10369"/>
                    <a:pt x="1915" y="10369"/>
                    <a:pt x="1915" y="10369"/>
                  </a:cubicBezTo>
                  <a:cubicBezTo>
                    <a:pt x="2042" y="10323"/>
                    <a:pt x="2042" y="10323"/>
                    <a:pt x="2042" y="10323"/>
                  </a:cubicBezTo>
                  <a:cubicBezTo>
                    <a:pt x="2074" y="10156"/>
                    <a:pt x="2074" y="10156"/>
                    <a:pt x="2074" y="10156"/>
                  </a:cubicBezTo>
                  <a:cubicBezTo>
                    <a:pt x="1913" y="10206"/>
                    <a:pt x="1913" y="10206"/>
                    <a:pt x="1913" y="10206"/>
                  </a:cubicBezTo>
                  <a:lnTo>
                    <a:pt x="1799" y="10288"/>
                  </a:lnTo>
                  <a:close/>
                  <a:moveTo>
                    <a:pt x="2056" y="10176"/>
                  </a:moveTo>
                  <a:cubicBezTo>
                    <a:pt x="2029" y="10313"/>
                    <a:pt x="2029" y="10313"/>
                    <a:pt x="2029" y="10313"/>
                  </a:cubicBezTo>
                  <a:cubicBezTo>
                    <a:pt x="1910" y="10356"/>
                    <a:pt x="1910" y="10356"/>
                    <a:pt x="1910" y="10356"/>
                  </a:cubicBezTo>
                  <a:cubicBezTo>
                    <a:pt x="1907" y="10357"/>
                    <a:pt x="1907" y="10357"/>
                    <a:pt x="1907" y="10357"/>
                  </a:cubicBezTo>
                  <a:cubicBezTo>
                    <a:pt x="1905" y="10359"/>
                    <a:pt x="1905" y="10359"/>
                    <a:pt x="1905" y="10359"/>
                  </a:cubicBezTo>
                  <a:cubicBezTo>
                    <a:pt x="1777" y="10489"/>
                    <a:pt x="1777" y="10489"/>
                    <a:pt x="1777" y="10489"/>
                  </a:cubicBezTo>
                  <a:cubicBezTo>
                    <a:pt x="1669" y="10425"/>
                    <a:pt x="1669" y="10425"/>
                    <a:pt x="1669" y="10425"/>
                  </a:cubicBezTo>
                  <a:cubicBezTo>
                    <a:pt x="1682" y="10212"/>
                    <a:pt x="1682" y="10212"/>
                    <a:pt x="1682" y="10212"/>
                  </a:cubicBezTo>
                  <a:cubicBezTo>
                    <a:pt x="1795" y="10167"/>
                    <a:pt x="1795" y="10167"/>
                    <a:pt x="1795" y="10167"/>
                  </a:cubicBezTo>
                  <a:cubicBezTo>
                    <a:pt x="1785" y="10287"/>
                    <a:pt x="1785" y="10287"/>
                    <a:pt x="1785" y="10287"/>
                  </a:cubicBezTo>
                  <a:cubicBezTo>
                    <a:pt x="1782" y="10317"/>
                    <a:pt x="1782" y="10317"/>
                    <a:pt x="1782" y="10317"/>
                  </a:cubicBezTo>
                  <a:cubicBezTo>
                    <a:pt x="1807" y="10299"/>
                    <a:pt x="1807" y="10299"/>
                    <a:pt x="1807" y="10299"/>
                  </a:cubicBezTo>
                  <a:cubicBezTo>
                    <a:pt x="1919" y="10219"/>
                    <a:pt x="1919" y="10219"/>
                    <a:pt x="1919" y="10219"/>
                  </a:cubicBezTo>
                  <a:lnTo>
                    <a:pt x="2056" y="10176"/>
                  </a:lnTo>
                  <a:close/>
                  <a:moveTo>
                    <a:pt x="1279" y="10216"/>
                  </a:moveTo>
                  <a:cubicBezTo>
                    <a:pt x="1240" y="10233"/>
                    <a:pt x="1240" y="10233"/>
                    <a:pt x="1240" y="10233"/>
                  </a:cubicBezTo>
                  <a:cubicBezTo>
                    <a:pt x="1133" y="10122"/>
                    <a:pt x="1133" y="10122"/>
                    <a:pt x="1133" y="10122"/>
                  </a:cubicBezTo>
                  <a:cubicBezTo>
                    <a:pt x="1020" y="10180"/>
                    <a:pt x="1020" y="10180"/>
                    <a:pt x="1020" y="10180"/>
                  </a:cubicBezTo>
                  <a:cubicBezTo>
                    <a:pt x="1223" y="10537"/>
                    <a:pt x="1223" y="10537"/>
                    <a:pt x="1223" y="10537"/>
                  </a:cubicBezTo>
                  <a:cubicBezTo>
                    <a:pt x="1275" y="10509"/>
                    <a:pt x="1275" y="10509"/>
                    <a:pt x="1275" y="10509"/>
                  </a:cubicBezTo>
                  <a:cubicBezTo>
                    <a:pt x="1306" y="10559"/>
                    <a:pt x="1306" y="10559"/>
                    <a:pt x="1306" y="10559"/>
                  </a:cubicBezTo>
                  <a:cubicBezTo>
                    <a:pt x="1546" y="10438"/>
                    <a:pt x="1546" y="10438"/>
                    <a:pt x="1546" y="10438"/>
                  </a:cubicBezTo>
                  <a:cubicBezTo>
                    <a:pt x="1551" y="10358"/>
                    <a:pt x="1551" y="10358"/>
                    <a:pt x="1551" y="10358"/>
                  </a:cubicBezTo>
                  <a:cubicBezTo>
                    <a:pt x="1413" y="10347"/>
                    <a:pt x="1413" y="10347"/>
                    <a:pt x="1413" y="10347"/>
                  </a:cubicBezTo>
                  <a:lnTo>
                    <a:pt x="1279" y="10216"/>
                  </a:lnTo>
                  <a:close/>
                  <a:moveTo>
                    <a:pt x="1533" y="10429"/>
                  </a:moveTo>
                  <a:cubicBezTo>
                    <a:pt x="1311" y="10540"/>
                    <a:pt x="1311" y="10540"/>
                    <a:pt x="1311" y="10540"/>
                  </a:cubicBezTo>
                  <a:cubicBezTo>
                    <a:pt x="1286" y="10502"/>
                    <a:pt x="1286" y="10502"/>
                    <a:pt x="1286" y="10502"/>
                  </a:cubicBezTo>
                  <a:cubicBezTo>
                    <a:pt x="1279" y="10491"/>
                    <a:pt x="1279" y="10491"/>
                    <a:pt x="1279" y="10491"/>
                  </a:cubicBezTo>
                  <a:cubicBezTo>
                    <a:pt x="1268" y="10497"/>
                    <a:pt x="1268" y="10497"/>
                    <a:pt x="1268" y="10497"/>
                  </a:cubicBezTo>
                  <a:cubicBezTo>
                    <a:pt x="1229" y="10519"/>
                    <a:pt x="1229" y="10519"/>
                    <a:pt x="1229" y="10519"/>
                  </a:cubicBezTo>
                  <a:cubicBezTo>
                    <a:pt x="1039" y="10186"/>
                    <a:pt x="1039" y="10186"/>
                    <a:pt x="1039" y="10186"/>
                  </a:cubicBezTo>
                  <a:cubicBezTo>
                    <a:pt x="1130" y="10139"/>
                    <a:pt x="1130" y="10139"/>
                    <a:pt x="1130" y="10139"/>
                  </a:cubicBezTo>
                  <a:cubicBezTo>
                    <a:pt x="1230" y="10242"/>
                    <a:pt x="1230" y="10242"/>
                    <a:pt x="1230" y="10242"/>
                  </a:cubicBezTo>
                  <a:cubicBezTo>
                    <a:pt x="1236" y="10249"/>
                    <a:pt x="1236" y="10249"/>
                    <a:pt x="1236" y="10249"/>
                  </a:cubicBezTo>
                  <a:cubicBezTo>
                    <a:pt x="1245" y="10245"/>
                    <a:pt x="1245" y="10245"/>
                    <a:pt x="1245" y="10245"/>
                  </a:cubicBezTo>
                  <a:cubicBezTo>
                    <a:pt x="1276" y="10232"/>
                    <a:pt x="1276" y="10232"/>
                    <a:pt x="1276" y="10232"/>
                  </a:cubicBezTo>
                  <a:cubicBezTo>
                    <a:pt x="1403" y="10357"/>
                    <a:pt x="1403" y="10357"/>
                    <a:pt x="1403" y="10357"/>
                  </a:cubicBezTo>
                  <a:cubicBezTo>
                    <a:pt x="1407" y="10360"/>
                    <a:pt x="1407" y="10360"/>
                    <a:pt x="1407" y="10360"/>
                  </a:cubicBezTo>
                  <a:cubicBezTo>
                    <a:pt x="1412" y="10361"/>
                    <a:pt x="1412" y="10361"/>
                    <a:pt x="1412" y="10361"/>
                  </a:cubicBezTo>
                  <a:cubicBezTo>
                    <a:pt x="1536" y="10371"/>
                    <a:pt x="1536" y="10371"/>
                    <a:pt x="1536" y="10371"/>
                  </a:cubicBezTo>
                  <a:lnTo>
                    <a:pt x="1533" y="10429"/>
                  </a:lnTo>
                  <a:close/>
                  <a:moveTo>
                    <a:pt x="1672" y="9937"/>
                  </a:moveTo>
                  <a:cubicBezTo>
                    <a:pt x="1497" y="9799"/>
                    <a:pt x="1497" y="9799"/>
                    <a:pt x="1497" y="9799"/>
                  </a:cubicBezTo>
                  <a:cubicBezTo>
                    <a:pt x="1541" y="9773"/>
                    <a:pt x="1541" y="9773"/>
                    <a:pt x="1541" y="9773"/>
                  </a:cubicBezTo>
                  <a:cubicBezTo>
                    <a:pt x="1519" y="9728"/>
                    <a:pt x="1519" y="9728"/>
                    <a:pt x="1519" y="9728"/>
                  </a:cubicBezTo>
                  <a:cubicBezTo>
                    <a:pt x="1302" y="9845"/>
                    <a:pt x="1302" y="9845"/>
                    <a:pt x="1302" y="9845"/>
                  </a:cubicBezTo>
                  <a:cubicBezTo>
                    <a:pt x="1641" y="10101"/>
                    <a:pt x="1641" y="10101"/>
                    <a:pt x="1641" y="10101"/>
                  </a:cubicBezTo>
                  <a:cubicBezTo>
                    <a:pt x="1952" y="9971"/>
                    <a:pt x="1952" y="9971"/>
                    <a:pt x="1952" y="9971"/>
                  </a:cubicBezTo>
                  <a:cubicBezTo>
                    <a:pt x="1717" y="9920"/>
                    <a:pt x="1717" y="9920"/>
                    <a:pt x="1717" y="9920"/>
                  </a:cubicBezTo>
                  <a:lnTo>
                    <a:pt x="1672" y="9937"/>
                  </a:lnTo>
                  <a:close/>
                  <a:moveTo>
                    <a:pt x="1906" y="9975"/>
                  </a:moveTo>
                  <a:cubicBezTo>
                    <a:pt x="1643" y="10085"/>
                    <a:pt x="1643" y="10085"/>
                    <a:pt x="1643" y="10085"/>
                  </a:cubicBezTo>
                  <a:cubicBezTo>
                    <a:pt x="1328" y="9847"/>
                    <a:pt x="1328" y="9847"/>
                    <a:pt x="1328" y="9847"/>
                  </a:cubicBezTo>
                  <a:cubicBezTo>
                    <a:pt x="1513" y="9747"/>
                    <a:pt x="1513" y="9747"/>
                    <a:pt x="1513" y="9747"/>
                  </a:cubicBezTo>
                  <a:cubicBezTo>
                    <a:pt x="1522" y="9768"/>
                    <a:pt x="1522" y="9768"/>
                    <a:pt x="1522" y="9768"/>
                  </a:cubicBezTo>
                  <a:cubicBezTo>
                    <a:pt x="1490" y="9787"/>
                    <a:pt x="1490" y="9787"/>
                    <a:pt x="1490" y="9787"/>
                  </a:cubicBezTo>
                  <a:cubicBezTo>
                    <a:pt x="1473" y="9797"/>
                    <a:pt x="1473" y="9797"/>
                    <a:pt x="1473" y="9797"/>
                  </a:cubicBezTo>
                  <a:cubicBezTo>
                    <a:pt x="1489" y="9810"/>
                    <a:pt x="1489" y="9810"/>
                    <a:pt x="1489" y="9810"/>
                  </a:cubicBezTo>
                  <a:cubicBezTo>
                    <a:pt x="1664" y="9948"/>
                    <a:pt x="1664" y="9948"/>
                    <a:pt x="1664" y="9948"/>
                  </a:cubicBezTo>
                  <a:cubicBezTo>
                    <a:pt x="1670" y="9953"/>
                    <a:pt x="1670" y="9953"/>
                    <a:pt x="1670" y="9953"/>
                  </a:cubicBezTo>
                  <a:cubicBezTo>
                    <a:pt x="1677" y="9950"/>
                    <a:pt x="1677" y="9950"/>
                    <a:pt x="1677" y="9950"/>
                  </a:cubicBezTo>
                  <a:cubicBezTo>
                    <a:pt x="1719" y="9935"/>
                    <a:pt x="1719" y="9935"/>
                    <a:pt x="1719" y="9935"/>
                  </a:cubicBezTo>
                  <a:lnTo>
                    <a:pt x="1906" y="9975"/>
                  </a:lnTo>
                  <a:close/>
                  <a:moveTo>
                    <a:pt x="1749" y="11007"/>
                  </a:moveTo>
                  <a:cubicBezTo>
                    <a:pt x="1848" y="10973"/>
                    <a:pt x="1848" y="10973"/>
                    <a:pt x="1848" y="10973"/>
                  </a:cubicBezTo>
                  <a:cubicBezTo>
                    <a:pt x="1869" y="10992"/>
                    <a:pt x="1869" y="10992"/>
                    <a:pt x="1869" y="10992"/>
                  </a:cubicBezTo>
                  <a:cubicBezTo>
                    <a:pt x="1977" y="10957"/>
                    <a:pt x="1977" y="10957"/>
                    <a:pt x="1977" y="10957"/>
                  </a:cubicBezTo>
                  <a:cubicBezTo>
                    <a:pt x="1933" y="10838"/>
                    <a:pt x="1933" y="10838"/>
                    <a:pt x="1933" y="10838"/>
                  </a:cubicBezTo>
                  <a:cubicBezTo>
                    <a:pt x="1751" y="10898"/>
                    <a:pt x="1751" y="10898"/>
                    <a:pt x="1751" y="10898"/>
                  </a:cubicBezTo>
                  <a:cubicBezTo>
                    <a:pt x="1577" y="10971"/>
                    <a:pt x="1577" y="10971"/>
                    <a:pt x="1577" y="10971"/>
                  </a:cubicBezTo>
                  <a:cubicBezTo>
                    <a:pt x="1672" y="11066"/>
                    <a:pt x="1672" y="11066"/>
                    <a:pt x="1672" y="11066"/>
                  </a:cubicBezTo>
                  <a:cubicBezTo>
                    <a:pt x="1770" y="11033"/>
                    <a:pt x="1770" y="11033"/>
                    <a:pt x="1770" y="11033"/>
                  </a:cubicBezTo>
                  <a:lnTo>
                    <a:pt x="1749" y="11007"/>
                  </a:lnTo>
                  <a:close/>
                  <a:moveTo>
                    <a:pt x="1675" y="11050"/>
                  </a:moveTo>
                  <a:cubicBezTo>
                    <a:pt x="1601" y="10976"/>
                    <a:pt x="1601" y="10976"/>
                    <a:pt x="1601" y="10976"/>
                  </a:cubicBezTo>
                  <a:cubicBezTo>
                    <a:pt x="1755" y="10911"/>
                    <a:pt x="1755" y="10911"/>
                    <a:pt x="1755" y="10911"/>
                  </a:cubicBezTo>
                  <a:cubicBezTo>
                    <a:pt x="1924" y="10855"/>
                    <a:pt x="1924" y="10855"/>
                    <a:pt x="1924" y="10855"/>
                  </a:cubicBezTo>
                  <a:cubicBezTo>
                    <a:pt x="1959" y="10948"/>
                    <a:pt x="1959" y="10948"/>
                    <a:pt x="1959" y="10948"/>
                  </a:cubicBezTo>
                  <a:cubicBezTo>
                    <a:pt x="1873" y="10976"/>
                    <a:pt x="1873" y="10976"/>
                    <a:pt x="1873" y="10976"/>
                  </a:cubicBezTo>
                  <a:cubicBezTo>
                    <a:pt x="1858" y="10962"/>
                    <a:pt x="1858" y="10962"/>
                    <a:pt x="1858" y="10962"/>
                  </a:cubicBezTo>
                  <a:cubicBezTo>
                    <a:pt x="1852" y="10957"/>
                    <a:pt x="1852" y="10957"/>
                    <a:pt x="1852" y="10957"/>
                  </a:cubicBezTo>
                  <a:cubicBezTo>
                    <a:pt x="1844" y="10959"/>
                    <a:pt x="1844" y="10959"/>
                    <a:pt x="1844" y="10959"/>
                  </a:cubicBezTo>
                  <a:cubicBezTo>
                    <a:pt x="1744" y="10994"/>
                    <a:pt x="1744" y="10994"/>
                    <a:pt x="1744" y="10994"/>
                  </a:cubicBezTo>
                  <a:cubicBezTo>
                    <a:pt x="1725" y="11000"/>
                    <a:pt x="1725" y="11000"/>
                    <a:pt x="1725" y="11000"/>
                  </a:cubicBezTo>
                  <a:cubicBezTo>
                    <a:pt x="1738" y="11016"/>
                    <a:pt x="1738" y="11016"/>
                    <a:pt x="1738" y="11016"/>
                  </a:cubicBezTo>
                  <a:cubicBezTo>
                    <a:pt x="1746" y="11026"/>
                    <a:pt x="1746" y="11026"/>
                    <a:pt x="1746" y="11026"/>
                  </a:cubicBezTo>
                  <a:lnTo>
                    <a:pt x="1675" y="11050"/>
                  </a:lnTo>
                  <a:close/>
                  <a:moveTo>
                    <a:pt x="1862" y="12340"/>
                  </a:moveTo>
                  <a:cubicBezTo>
                    <a:pt x="1603" y="12266"/>
                    <a:pt x="1603" y="12266"/>
                    <a:pt x="1603" y="12266"/>
                  </a:cubicBezTo>
                  <a:cubicBezTo>
                    <a:pt x="1586" y="12495"/>
                    <a:pt x="1586" y="12495"/>
                    <a:pt x="1586" y="12495"/>
                  </a:cubicBezTo>
                  <a:cubicBezTo>
                    <a:pt x="1707" y="12533"/>
                    <a:pt x="1707" y="12533"/>
                    <a:pt x="1707" y="12533"/>
                  </a:cubicBezTo>
                  <a:lnTo>
                    <a:pt x="1862" y="12340"/>
                  </a:lnTo>
                  <a:close/>
                  <a:moveTo>
                    <a:pt x="1601" y="12485"/>
                  </a:moveTo>
                  <a:cubicBezTo>
                    <a:pt x="1616" y="12284"/>
                    <a:pt x="1616" y="12284"/>
                    <a:pt x="1616" y="12284"/>
                  </a:cubicBezTo>
                  <a:cubicBezTo>
                    <a:pt x="1838" y="12348"/>
                    <a:pt x="1838" y="12348"/>
                    <a:pt x="1838" y="12348"/>
                  </a:cubicBezTo>
                  <a:cubicBezTo>
                    <a:pt x="1702" y="12517"/>
                    <a:pt x="1702" y="12517"/>
                    <a:pt x="1702" y="12517"/>
                  </a:cubicBezTo>
                  <a:lnTo>
                    <a:pt x="1601" y="12485"/>
                  </a:lnTo>
                  <a:close/>
                  <a:moveTo>
                    <a:pt x="1705" y="11134"/>
                  </a:moveTo>
                  <a:cubicBezTo>
                    <a:pt x="1863" y="11301"/>
                    <a:pt x="1863" y="11301"/>
                    <a:pt x="1863" y="11301"/>
                  </a:cubicBezTo>
                  <a:cubicBezTo>
                    <a:pt x="1947" y="11224"/>
                    <a:pt x="1947" y="11224"/>
                    <a:pt x="1947" y="11224"/>
                  </a:cubicBezTo>
                  <a:cubicBezTo>
                    <a:pt x="1821" y="11093"/>
                    <a:pt x="1821" y="11093"/>
                    <a:pt x="1821" y="11093"/>
                  </a:cubicBezTo>
                  <a:lnTo>
                    <a:pt x="1705" y="11134"/>
                  </a:lnTo>
                  <a:close/>
                  <a:moveTo>
                    <a:pt x="1863" y="11282"/>
                  </a:moveTo>
                  <a:cubicBezTo>
                    <a:pt x="1730" y="11140"/>
                    <a:pt x="1730" y="11140"/>
                    <a:pt x="1730" y="11140"/>
                  </a:cubicBezTo>
                  <a:cubicBezTo>
                    <a:pt x="1817" y="11109"/>
                    <a:pt x="1817" y="11109"/>
                    <a:pt x="1817" y="11109"/>
                  </a:cubicBezTo>
                  <a:cubicBezTo>
                    <a:pt x="1927" y="11223"/>
                    <a:pt x="1927" y="11223"/>
                    <a:pt x="1927" y="11223"/>
                  </a:cubicBezTo>
                  <a:lnTo>
                    <a:pt x="1863" y="11282"/>
                  </a:lnTo>
                  <a:close/>
                  <a:moveTo>
                    <a:pt x="3065" y="11929"/>
                  </a:moveTo>
                  <a:cubicBezTo>
                    <a:pt x="3227" y="11987"/>
                    <a:pt x="3227" y="11987"/>
                    <a:pt x="3227" y="11987"/>
                  </a:cubicBezTo>
                  <a:cubicBezTo>
                    <a:pt x="3210" y="12036"/>
                    <a:pt x="3210" y="12036"/>
                    <a:pt x="3210" y="12036"/>
                  </a:cubicBezTo>
                  <a:cubicBezTo>
                    <a:pt x="3244" y="12081"/>
                    <a:pt x="3244" y="12081"/>
                    <a:pt x="3244" y="12081"/>
                  </a:cubicBezTo>
                  <a:cubicBezTo>
                    <a:pt x="3382" y="12085"/>
                    <a:pt x="3382" y="12085"/>
                    <a:pt x="3382" y="12085"/>
                  </a:cubicBezTo>
                  <a:cubicBezTo>
                    <a:pt x="3393" y="12060"/>
                    <a:pt x="3393" y="12060"/>
                    <a:pt x="3393" y="12060"/>
                  </a:cubicBezTo>
                  <a:cubicBezTo>
                    <a:pt x="3355" y="11946"/>
                    <a:pt x="3355" y="11946"/>
                    <a:pt x="3355" y="11946"/>
                  </a:cubicBezTo>
                  <a:cubicBezTo>
                    <a:pt x="3095" y="11850"/>
                    <a:pt x="3095" y="11850"/>
                    <a:pt x="3095" y="11850"/>
                  </a:cubicBezTo>
                  <a:lnTo>
                    <a:pt x="3065" y="11929"/>
                  </a:lnTo>
                  <a:close/>
                  <a:moveTo>
                    <a:pt x="3344" y="11956"/>
                  </a:moveTo>
                  <a:cubicBezTo>
                    <a:pt x="3378" y="12060"/>
                    <a:pt x="3378" y="12060"/>
                    <a:pt x="3378" y="12060"/>
                  </a:cubicBezTo>
                  <a:cubicBezTo>
                    <a:pt x="3373" y="12071"/>
                    <a:pt x="3373" y="12071"/>
                    <a:pt x="3373" y="12071"/>
                  </a:cubicBezTo>
                  <a:cubicBezTo>
                    <a:pt x="3251" y="12067"/>
                    <a:pt x="3251" y="12067"/>
                    <a:pt x="3251" y="12067"/>
                  </a:cubicBezTo>
                  <a:cubicBezTo>
                    <a:pt x="3226" y="12033"/>
                    <a:pt x="3226" y="12033"/>
                    <a:pt x="3226" y="12033"/>
                  </a:cubicBezTo>
                  <a:cubicBezTo>
                    <a:pt x="3240" y="11991"/>
                    <a:pt x="3240" y="11991"/>
                    <a:pt x="3240" y="11991"/>
                  </a:cubicBezTo>
                  <a:cubicBezTo>
                    <a:pt x="3244" y="11978"/>
                    <a:pt x="3244" y="11978"/>
                    <a:pt x="3244" y="11978"/>
                  </a:cubicBezTo>
                  <a:cubicBezTo>
                    <a:pt x="3231" y="11973"/>
                    <a:pt x="3231" y="11973"/>
                    <a:pt x="3231" y="11973"/>
                  </a:cubicBezTo>
                  <a:cubicBezTo>
                    <a:pt x="3083" y="11921"/>
                    <a:pt x="3083" y="11921"/>
                    <a:pt x="3083" y="11921"/>
                  </a:cubicBezTo>
                  <a:cubicBezTo>
                    <a:pt x="3104" y="11868"/>
                    <a:pt x="3104" y="11868"/>
                    <a:pt x="3104" y="11868"/>
                  </a:cubicBezTo>
                  <a:lnTo>
                    <a:pt x="3344" y="11956"/>
                  </a:lnTo>
                  <a:close/>
                  <a:moveTo>
                    <a:pt x="1722" y="11758"/>
                  </a:moveTo>
                  <a:cubicBezTo>
                    <a:pt x="1722" y="11758"/>
                    <a:pt x="1766" y="11823"/>
                    <a:pt x="1808" y="11850"/>
                  </a:cubicBezTo>
                  <a:cubicBezTo>
                    <a:pt x="1851" y="11877"/>
                    <a:pt x="1948" y="11903"/>
                    <a:pt x="1948" y="11903"/>
                  </a:cubicBezTo>
                  <a:cubicBezTo>
                    <a:pt x="1876" y="12171"/>
                    <a:pt x="1876" y="12171"/>
                    <a:pt x="1876" y="12171"/>
                  </a:cubicBezTo>
                  <a:cubicBezTo>
                    <a:pt x="1952" y="12193"/>
                    <a:pt x="1952" y="12193"/>
                    <a:pt x="1952" y="12193"/>
                  </a:cubicBezTo>
                  <a:cubicBezTo>
                    <a:pt x="2060" y="12063"/>
                    <a:pt x="2060" y="12063"/>
                    <a:pt x="2060" y="12063"/>
                  </a:cubicBezTo>
                  <a:cubicBezTo>
                    <a:pt x="2120" y="11803"/>
                    <a:pt x="2120" y="11803"/>
                    <a:pt x="2120" y="11803"/>
                  </a:cubicBezTo>
                  <a:cubicBezTo>
                    <a:pt x="2120" y="11803"/>
                    <a:pt x="1991" y="11769"/>
                    <a:pt x="1916" y="11727"/>
                  </a:cubicBezTo>
                  <a:cubicBezTo>
                    <a:pt x="1841" y="11685"/>
                    <a:pt x="1781" y="11619"/>
                    <a:pt x="1781" y="11619"/>
                  </a:cubicBezTo>
                  <a:cubicBezTo>
                    <a:pt x="1394" y="11669"/>
                    <a:pt x="1394" y="11669"/>
                    <a:pt x="1394" y="11669"/>
                  </a:cubicBezTo>
                  <a:cubicBezTo>
                    <a:pt x="1431" y="11790"/>
                    <a:pt x="1431" y="11790"/>
                    <a:pt x="1431" y="11790"/>
                  </a:cubicBezTo>
                  <a:lnTo>
                    <a:pt x="1722" y="11758"/>
                  </a:lnTo>
                  <a:close/>
                  <a:moveTo>
                    <a:pt x="1776" y="11634"/>
                  </a:moveTo>
                  <a:cubicBezTo>
                    <a:pt x="1792" y="11650"/>
                    <a:pt x="1845" y="11703"/>
                    <a:pt x="1909" y="11739"/>
                  </a:cubicBezTo>
                  <a:cubicBezTo>
                    <a:pt x="1972" y="11774"/>
                    <a:pt x="2068" y="11803"/>
                    <a:pt x="2103" y="11813"/>
                  </a:cubicBezTo>
                  <a:cubicBezTo>
                    <a:pt x="2047" y="12057"/>
                    <a:pt x="2047" y="12057"/>
                    <a:pt x="2047" y="12057"/>
                  </a:cubicBezTo>
                  <a:cubicBezTo>
                    <a:pt x="1947" y="12177"/>
                    <a:pt x="1947" y="12177"/>
                    <a:pt x="1947" y="12177"/>
                  </a:cubicBezTo>
                  <a:cubicBezTo>
                    <a:pt x="1893" y="12161"/>
                    <a:pt x="1893" y="12161"/>
                    <a:pt x="1893" y="12161"/>
                  </a:cubicBezTo>
                  <a:cubicBezTo>
                    <a:pt x="1961" y="11907"/>
                    <a:pt x="1961" y="11907"/>
                    <a:pt x="1961" y="11907"/>
                  </a:cubicBezTo>
                  <a:cubicBezTo>
                    <a:pt x="1965" y="11893"/>
                    <a:pt x="1965" y="11893"/>
                    <a:pt x="1965" y="11893"/>
                  </a:cubicBezTo>
                  <a:cubicBezTo>
                    <a:pt x="1951" y="11890"/>
                    <a:pt x="1951" y="11890"/>
                    <a:pt x="1951" y="11890"/>
                  </a:cubicBezTo>
                  <a:cubicBezTo>
                    <a:pt x="1950" y="11889"/>
                    <a:pt x="1856" y="11864"/>
                    <a:pt x="1816" y="11838"/>
                  </a:cubicBezTo>
                  <a:cubicBezTo>
                    <a:pt x="1776" y="11813"/>
                    <a:pt x="1734" y="11751"/>
                    <a:pt x="1734" y="11750"/>
                  </a:cubicBezTo>
                  <a:cubicBezTo>
                    <a:pt x="1729" y="11744"/>
                    <a:pt x="1729" y="11744"/>
                    <a:pt x="1729" y="11744"/>
                  </a:cubicBezTo>
                  <a:cubicBezTo>
                    <a:pt x="1721" y="11744"/>
                    <a:pt x="1721" y="11744"/>
                    <a:pt x="1721" y="11744"/>
                  </a:cubicBezTo>
                  <a:cubicBezTo>
                    <a:pt x="1441" y="11775"/>
                    <a:pt x="1441" y="11775"/>
                    <a:pt x="1441" y="11775"/>
                  </a:cubicBezTo>
                  <a:cubicBezTo>
                    <a:pt x="1412" y="11681"/>
                    <a:pt x="1412" y="11681"/>
                    <a:pt x="1412" y="11681"/>
                  </a:cubicBezTo>
                  <a:lnTo>
                    <a:pt x="1776" y="11634"/>
                  </a:lnTo>
                  <a:close/>
                  <a:moveTo>
                    <a:pt x="1160" y="12208"/>
                  </a:moveTo>
                  <a:cubicBezTo>
                    <a:pt x="1170" y="12221"/>
                    <a:pt x="1170" y="12221"/>
                    <a:pt x="1170" y="12221"/>
                  </a:cubicBezTo>
                  <a:cubicBezTo>
                    <a:pt x="1181" y="12210"/>
                    <a:pt x="1181" y="12210"/>
                    <a:pt x="1181" y="12210"/>
                  </a:cubicBezTo>
                  <a:cubicBezTo>
                    <a:pt x="1281" y="12111"/>
                    <a:pt x="1281" y="12111"/>
                    <a:pt x="1281" y="12111"/>
                  </a:cubicBezTo>
                  <a:cubicBezTo>
                    <a:pt x="1314" y="12079"/>
                    <a:pt x="1314" y="12079"/>
                    <a:pt x="1314" y="12079"/>
                  </a:cubicBezTo>
                  <a:cubicBezTo>
                    <a:pt x="1268" y="12088"/>
                    <a:pt x="1268" y="12088"/>
                    <a:pt x="1268" y="12088"/>
                  </a:cubicBezTo>
                  <a:cubicBezTo>
                    <a:pt x="1115" y="12118"/>
                    <a:pt x="1115" y="12118"/>
                    <a:pt x="1115" y="12118"/>
                  </a:cubicBezTo>
                  <a:cubicBezTo>
                    <a:pt x="1093" y="12122"/>
                    <a:pt x="1093" y="12122"/>
                    <a:pt x="1093" y="12122"/>
                  </a:cubicBezTo>
                  <a:cubicBezTo>
                    <a:pt x="1107" y="12140"/>
                    <a:pt x="1107" y="12140"/>
                    <a:pt x="1107" y="12140"/>
                  </a:cubicBezTo>
                  <a:lnTo>
                    <a:pt x="1160" y="12208"/>
                  </a:lnTo>
                  <a:close/>
                  <a:moveTo>
                    <a:pt x="1271" y="12101"/>
                  </a:moveTo>
                  <a:cubicBezTo>
                    <a:pt x="1171" y="12200"/>
                    <a:pt x="1171" y="12200"/>
                    <a:pt x="1171" y="12200"/>
                  </a:cubicBezTo>
                  <a:cubicBezTo>
                    <a:pt x="1118" y="12131"/>
                    <a:pt x="1118" y="12131"/>
                    <a:pt x="1118" y="12131"/>
                  </a:cubicBezTo>
                  <a:lnTo>
                    <a:pt x="1271" y="12101"/>
                  </a:lnTo>
                  <a:close/>
                  <a:moveTo>
                    <a:pt x="1901" y="11066"/>
                  </a:moveTo>
                  <a:cubicBezTo>
                    <a:pt x="1980" y="11150"/>
                    <a:pt x="1980" y="11150"/>
                    <a:pt x="1980" y="11150"/>
                  </a:cubicBezTo>
                  <a:cubicBezTo>
                    <a:pt x="2015" y="11067"/>
                    <a:pt x="2015" y="11067"/>
                    <a:pt x="2015" y="11067"/>
                  </a:cubicBezTo>
                  <a:cubicBezTo>
                    <a:pt x="2001" y="11029"/>
                    <a:pt x="2001" y="11029"/>
                    <a:pt x="2001" y="11029"/>
                  </a:cubicBezTo>
                  <a:lnTo>
                    <a:pt x="1901" y="11066"/>
                  </a:lnTo>
                  <a:close/>
                  <a:moveTo>
                    <a:pt x="1976" y="11125"/>
                  </a:moveTo>
                  <a:cubicBezTo>
                    <a:pt x="1926" y="11072"/>
                    <a:pt x="1926" y="11072"/>
                    <a:pt x="1926" y="11072"/>
                  </a:cubicBezTo>
                  <a:cubicBezTo>
                    <a:pt x="1993" y="11047"/>
                    <a:pt x="1993" y="11047"/>
                    <a:pt x="1993" y="11047"/>
                  </a:cubicBezTo>
                  <a:cubicBezTo>
                    <a:pt x="2000" y="11067"/>
                    <a:pt x="2000" y="11067"/>
                    <a:pt x="2000" y="11067"/>
                  </a:cubicBezTo>
                  <a:lnTo>
                    <a:pt x="1976" y="11125"/>
                  </a:lnTo>
                  <a:close/>
                  <a:moveTo>
                    <a:pt x="1639" y="11847"/>
                  </a:moveTo>
                  <a:cubicBezTo>
                    <a:pt x="1451" y="11873"/>
                    <a:pt x="1451" y="11873"/>
                    <a:pt x="1451" y="11873"/>
                  </a:cubicBezTo>
                  <a:cubicBezTo>
                    <a:pt x="1451" y="11873"/>
                    <a:pt x="1491" y="12011"/>
                    <a:pt x="1550" y="12049"/>
                  </a:cubicBezTo>
                  <a:cubicBezTo>
                    <a:pt x="1609" y="12088"/>
                    <a:pt x="1764" y="12137"/>
                    <a:pt x="1764" y="12137"/>
                  </a:cubicBezTo>
                  <a:cubicBezTo>
                    <a:pt x="1803" y="11988"/>
                    <a:pt x="1803" y="11988"/>
                    <a:pt x="1803" y="11988"/>
                  </a:cubicBezTo>
                  <a:cubicBezTo>
                    <a:pt x="1803" y="11988"/>
                    <a:pt x="1734" y="11973"/>
                    <a:pt x="1695" y="11932"/>
                  </a:cubicBezTo>
                  <a:cubicBezTo>
                    <a:pt x="1655" y="11891"/>
                    <a:pt x="1639" y="11847"/>
                    <a:pt x="1639" y="11847"/>
                  </a:cubicBezTo>
                  <a:close/>
                  <a:moveTo>
                    <a:pt x="1755" y="12119"/>
                  </a:moveTo>
                  <a:cubicBezTo>
                    <a:pt x="1715" y="12106"/>
                    <a:pt x="1604" y="12068"/>
                    <a:pt x="1557" y="12038"/>
                  </a:cubicBezTo>
                  <a:cubicBezTo>
                    <a:pt x="1515" y="12010"/>
                    <a:pt x="1482" y="11921"/>
                    <a:pt x="1470" y="11885"/>
                  </a:cubicBezTo>
                  <a:cubicBezTo>
                    <a:pt x="1630" y="11862"/>
                    <a:pt x="1630" y="11862"/>
                    <a:pt x="1630" y="11862"/>
                  </a:cubicBezTo>
                  <a:cubicBezTo>
                    <a:pt x="1638" y="11878"/>
                    <a:pt x="1655" y="11911"/>
                    <a:pt x="1685" y="11942"/>
                  </a:cubicBezTo>
                  <a:cubicBezTo>
                    <a:pt x="1716" y="11974"/>
                    <a:pt x="1763" y="11991"/>
                    <a:pt x="1786" y="11998"/>
                  </a:cubicBezTo>
                  <a:lnTo>
                    <a:pt x="1755" y="12119"/>
                  </a:lnTo>
                  <a:close/>
                  <a:moveTo>
                    <a:pt x="2218" y="11229"/>
                  </a:moveTo>
                  <a:cubicBezTo>
                    <a:pt x="2240" y="11144"/>
                    <a:pt x="2240" y="11144"/>
                    <a:pt x="2240" y="11144"/>
                  </a:cubicBezTo>
                  <a:cubicBezTo>
                    <a:pt x="2362" y="11147"/>
                    <a:pt x="2362" y="11147"/>
                    <a:pt x="2362" y="11147"/>
                  </a:cubicBezTo>
                  <a:cubicBezTo>
                    <a:pt x="2397" y="11066"/>
                    <a:pt x="2397" y="11066"/>
                    <a:pt x="2397" y="11066"/>
                  </a:cubicBezTo>
                  <a:cubicBezTo>
                    <a:pt x="2118" y="11063"/>
                    <a:pt x="2118" y="11063"/>
                    <a:pt x="2118" y="11063"/>
                  </a:cubicBezTo>
                  <a:cubicBezTo>
                    <a:pt x="2075" y="11191"/>
                    <a:pt x="2075" y="11191"/>
                    <a:pt x="2075" y="11191"/>
                  </a:cubicBezTo>
                  <a:lnTo>
                    <a:pt x="2218" y="11229"/>
                  </a:lnTo>
                  <a:close/>
                  <a:moveTo>
                    <a:pt x="2128" y="11077"/>
                  </a:moveTo>
                  <a:cubicBezTo>
                    <a:pt x="2376" y="11080"/>
                    <a:pt x="2376" y="11080"/>
                    <a:pt x="2376" y="11080"/>
                  </a:cubicBezTo>
                  <a:cubicBezTo>
                    <a:pt x="2353" y="11132"/>
                    <a:pt x="2353" y="11132"/>
                    <a:pt x="2353" y="11132"/>
                  </a:cubicBezTo>
                  <a:cubicBezTo>
                    <a:pt x="2241" y="11130"/>
                    <a:pt x="2241" y="11130"/>
                    <a:pt x="2241" y="11130"/>
                  </a:cubicBezTo>
                  <a:cubicBezTo>
                    <a:pt x="2230" y="11129"/>
                    <a:pt x="2230" y="11129"/>
                    <a:pt x="2230" y="11129"/>
                  </a:cubicBezTo>
                  <a:cubicBezTo>
                    <a:pt x="2227" y="11140"/>
                    <a:pt x="2227" y="11140"/>
                    <a:pt x="2227" y="11140"/>
                  </a:cubicBezTo>
                  <a:cubicBezTo>
                    <a:pt x="2208" y="11212"/>
                    <a:pt x="2208" y="11212"/>
                    <a:pt x="2208" y="11212"/>
                  </a:cubicBezTo>
                  <a:cubicBezTo>
                    <a:pt x="2093" y="11181"/>
                    <a:pt x="2093" y="11181"/>
                    <a:pt x="2093" y="11181"/>
                  </a:cubicBezTo>
                  <a:lnTo>
                    <a:pt x="2128" y="11077"/>
                  </a:lnTo>
                  <a:close/>
                  <a:moveTo>
                    <a:pt x="1518" y="12752"/>
                  </a:moveTo>
                  <a:cubicBezTo>
                    <a:pt x="1659" y="12581"/>
                    <a:pt x="1659" y="12581"/>
                    <a:pt x="1659" y="12581"/>
                  </a:cubicBezTo>
                  <a:cubicBezTo>
                    <a:pt x="1549" y="12540"/>
                    <a:pt x="1549" y="12540"/>
                    <a:pt x="1549" y="12540"/>
                  </a:cubicBezTo>
                  <a:cubicBezTo>
                    <a:pt x="1337" y="12600"/>
                    <a:pt x="1337" y="12600"/>
                    <a:pt x="1337" y="12600"/>
                  </a:cubicBezTo>
                  <a:cubicBezTo>
                    <a:pt x="1379" y="12691"/>
                    <a:pt x="1379" y="12691"/>
                    <a:pt x="1379" y="12691"/>
                  </a:cubicBezTo>
                  <a:lnTo>
                    <a:pt x="1518" y="12752"/>
                  </a:lnTo>
                  <a:close/>
                  <a:moveTo>
                    <a:pt x="1548" y="12555"/>
                  </a:moveTo>
                  <a:cubicBezTo>
                    <a:pt x="1636" y="12588"/>
                    <a:pt x="1636" y="12588"/>
                    <a:pt x="1636" y="12588"/>
                  </a:cubicBezTo>
                  <a:cubicBezTo>
                    <a:pt x="1514" y="12735"/>
                    <a:pt x="1514" y="12735"/>
                    <a:pt x="1514" y="12735"/>
                  </a:cubicBezTo>
                  <a:cubicBezTo>
                    <a:pt x="1390" y="12680"/>
                    <a:pt x="1390" y="12680"/>
                    <a:pt x="1390" y="12680"/>
                  </a:cubicBezTo>
                  <a:cubicBezTo>
                    <a:pt x="1357" y="12609"/>
                    <a:pt x="1357" y="12609"/>
                    <a:pt x="1357" y="12609"/>
                  </a:cubicBezTo>
                  <a:lnTo>
                    <a:pt x="1548" y="12555"/>
                  </a:lnTo>
                  <a:close/>
                  <a:moveTo>
                    <a:pt x="2185" y="11318"/>
                  </a:moveTo>
                  <a:cubicBezTo>
                    <a:pt x="2048" y="11275"/>
                    <a:pt x="2048" y="11275"/>
                    <a:pt x="2048" y="11275"/>
                  </a:cubicBezTo>
                  <a:cubicBezTo>
                    <a:pt x="2001" y="11443"/>
                    <a:pt x="2001" y="11443"/>
                    <a:pt x="2001" y="11443"/>
                  </a:cubicBezTo>
                  <a:cubicBezTo>
                    <a:pt x="2239" y="11500"/>
                    <a:pt x="2239" y="11500"/>
                    <a:pt x="2239" y="11500"/>
                  </a:cubicBezTo>
                  <a:cubicBezTo>
                    <a:pt x="2247" y="11415"/>
                    <a:pt x="2247" y="11415"/>
                    <a:pt x="2247" y="11415"/>
                  </a:cubicBezTo>
                  <a:cubicBezTo>
                    <a:pt x="2177" y="11392"/>
                    <a:pt x="2177" y="11392"/>
                    <a:pt x="2177" y="11392"/>
                  </a:cubicBezTo>
                  <a:lnTo>
                    <a:pt x="2185" y="11318"/>
                  </a:lnTo>
                  <a:close/>
                  <a:moveTo>
                    <a:pt x="2232" y="11425"/>
                  </a:moveTo>
                  <a:cubicBezTo>
                    <a:pt x="2227" y="11482"/>
                    <a:pt x="2227" y="11482"/>
                    <a:pt x="2227" y="11482"/>
                  </a:cubicBezTo>
                  <a:cubicBezTo>
                    <a:pt x="2018" y="11433"/>
                    <a:pt x="2018" y="11433"/>
                    <a:pt x="2018" y="11433"/>
                  </a:cubicBezTo>
                  <a:cubicBezTo>
                    <a:pt x="2057" y="11293"/>
                    <a:pt x="2057" y="11293"/>
                    <a:pt x="2057" y="11293"/>
                  </a:cubicBezTo>
                  <a:cubicBezTo>
                    <a:pt x="2170" y="11328"/>
                    <a:pt x="2170" y="11328"/>
                    <a:pt x="2170" y="11328"/>
                  </a:cubicBezTo>
                  <a:cubicBezTo>
                    <a:pt x="2163" y="11391"/>
                    <a:pt x="2163" y="11391"/>
                    <a:pt x="2163" y="11391"/>
                  </a:cubicBezTo>
                  <a:cubicBezTo>
                    <a:pt x="2162" y="11402"/>
                    <a:pt x="2162" y="11402"/>
                    <a:pt x="2162" y="11402"/>
                  </a:cubicBezTo>
                  <a:cubicBezTo>
                    <a:pt x="2173" y="11406"/>
                    <a:pt x="2173" y="11406"/>
                    <a:pt x="2173" y="11406"/>
                  </a:cubicBezTo>
                  <a:lnTo>
                    <a:pt x="2232" y="11425"/>
                  </a:lnTo>
                  <a:close/>
                  <a:moveTo>
                    <a:pt x="1272" y="13037"/>
                  </a:moveTo>
                  <a:cubicBezTo>
                    <a:pt x="1279" y="13230"/>
                    <a:pt x="1279" y="13230"/>
                    <a:pt x="1279" y="13230"/>
                  </a:cubicBezTo>
                  <a:cubicBezTo>
                    <a:pt x="1279" y="13237"/>
                    <a:pt x="1279" y="13237"/>
                    <a:pt x="1279" y="13237"/>
                  </a:cubicBezTo>
                  <a:cubicBezTo>
                    <a:pt x="1285" y="13241"/>
                    <a:pt x="1285" y="13241"/>
                    <a:pt x="1285" y="13241"/>
                  </a:cubicBezTo>
                  <a:cubicBezTo>
                    <a:pt x="1400" y="13329"/>
                    <a:pt x="1400" y="13329"/>
                    <a:pt x="1400" y="13329"/>
                  </a:cubicBezTo>
                  <a:cubicBezTo>
                    <a:pt x="1412" y="13338"/>
                    <a:pt x="1412" y="13338"/>
                    <a:pt x="1412" y="13338"/>
                  </a:cubicBezTo>
                  <a:cubicBezTo>
                    <a:pt x="1420" y="13326"/>
                    <a:pt x="1420" y="13326"/>
                    <a:pt x="1420" y="13326"/>
                  </a:cubicBezTo>
                  <a:cubicBezTo>
                    <a:pt x="1462" y="13265"/>
                    <a:pt x="1462" y="13265"/>
                    <a:pt x="1462" y="13265"/>
                  </a:cubicBezTo>
                  <a:cubicBezTo>
                    <a:pt x="1465" y="13260"/>
                    <a:pt x="1465" y="13260"/>
                    <a:pt x="1465" y="13260"/>
                  </a:cubicBezTo>
                  <a:cubicBezTo>
                    <a:pt x="1465" y="13255"/>
                    <a:pt x="1465" y="13255"/>
                    <a:pt x="1465" y="13255"/>
                  </a:cubicBezTo>
                  <a:cubicBezTo>
                    <a:pt x="1428" y="12958"/>
                    <a:pt x="1428" y="12958"/>
                    <a:pt x="1428" y="12958"/>
                  </a:cubicBezTo>
                  <a:cubicBezTo>
                    <a:pt x="1428" y="12951"/>
                    <a:pt x="1428" y="12951"/>
                    <a:pt x="1428" y="12951"/>
                  </a:cubicBezTo>
                  <a:cubicBezTo>
                    <a:pt x="1421" y="12948"/>
                    <a:pt x="1421" y="12948"/>
                    <a:pt x="1421" y="12948"/>
                  </a:cubicBezTo>
                  <a:cubicBezTo>
                    <a:pt x="1310" y="12885"/>
                    <a:pt x="1310" y="12885"/>
                    <a:pt x="1310" y="12885"/>
                  </a:cubicBezTo>
                  <a:cubicBezTo>
                    <a:pt x="1306" y="12882"/>
                    <a:pt x="1306" y="12882"/>
                    <a:pt x="1306" y="12882"/>
                  </a:cubicBezTo>
                  <a:cubicBezTo>
                    <a:pt x="1301" y="12883"/>
                    <a:pt x="1301" y="12883"/>
                    <a:pt x="1301" y="12883"/>
                  </a:cubicBezTo>
                  <a:cubicBezTo>
                    <a:pt x="1207" y="12903"/>
                    <a:pt x="1207" y="12903"/>
                    <a:pt x="1207" y="12903"/>
                  </a:cubicBezTo>
                  <a:cubicBezTo>
                    <a:pt x="1187" y="12907"/>
                    <a:pt x="1187" y="12907"/>
                    <a:pt x="1187" y="12907"/>
                  </a:cubicBezTo>
                  <a:cubicBezTo>
                    <a:pt x="1198" y="12924"/>
                    <a:pt x="1198" y="12924"/>
                    <a:pt x="1198" y="12924"/>
                  </a:cubicBezTo>
                  <a:lnTo>
                    <a:pt x="1272" y="13037"/>
                  </a:lnTo>
                  <a:close/>
                  <a:moveTo>
                    <a:pt x="1304" y="12897"/>
                  </a:moveTo>
                  <a:cubicBezTo>
                    <a:pt x="1415" y="12960"/>
                    <a:pt x="1415" y="12960"/>
                    <a:pt x="1415" y="12960"/>
                  </a:cubicBezTo>
                  <a:cubicBezTo>
                    <a:pt x="1451" y="13257"/>
                    <a:pt x="1451" y="13257"/>
                    <a:pt x="1451" y="13257"/>
                  </a:cubicBezTo>
                  <a:cubicBezTo>
                    <a:pt x="1409" y="13318"/>
                    <a:pt x="1409" y="13318"/>
                    <a:pt x="1409" y="13318"/>
                  </a:cubicBezTo>
                  <a:cubicBezTo>
                    <a:pt x="1293" y="13230"/>
                    <a:pt x="1293" y="13230"/>
                    <a:pt x="1293" y="13230"/>
                  </a:cubicBezTo>
                  <a:cubicBezTo>
                    <a:pt x="1285" y="13033"/>
                    <a:pt x="1285" y="13033"/>
                    <a:pt x="1285" y="13033"/>
                  </a:cubicBezTo>
                  <a:cubicBezTo>
                    <a:pt x="1210" y="12917"/>
                    <a:pt x="1210" y="12917"/>
                    <a:pt x="1210" y="12917"/>
                  </a:cubicBezTo>
                  <a:lnTo>
                    <a:pt x="1304" y="12897"/>
                  </a:lnTo>
                  <a:close/>
                  <a:moveTo>
                    <a:pt x="3722" y="12674"/>
                  </a:moveTo>
                  <a:cubicBezTo>
                    <a:pt x="3804" y="12647"/>
                    <a:pt x="3804" y="12647"/>
                    <a:pt x="3804" y="12647"/>
                  </a:cubicBezTo>
                  <a:cubicBezTo>
                    <a:pt x="3797" y="12613"/>
                    <a:pt x="3797" y="12613"/>
                    <a:pt x="3797" y="12613"/>
                  </a:cubicBezTo>
                  <a:cubicBezTo>
                    <a:pt x="3821" y="12610"/>
                    <a:pt x="3821" y="12610"/>
                    <a:pt x="3821" y="12610"/>
                  </a:cubicBezTo>
                  <a:cubicBezTo>
                    <a:pt x="3790" y="12512"/>
                    <a:pt x="3790" y="12512"/>
                    <a:pt x="3790" y="12512"/>
                  </a:cubicBezTo>
                  <a:cubicBezTo>
                    <a:pt x="3762" y="12526"/>
                    <a:pt x="3762" y="12526"/>
                    <a:pt x="3762" y="12526"/>
                  </a:cubicBezTo>
                  <a:cubicBezTo>
                    <a:pt x="3726" y="12421"/>
                    <a:pt x="3726" y="12421"/>
                    <a:pt x="3726" y="12421"/>
                  </a:cubicBezTo>
                  <a:cubicBezTo>
                    <a:pt x="3665" y="12426"/>
                    <a:pt x="3665" y="12426"/>
                    <a:pt x="3665" y="12426"/>
                  </a:cubicBezTo>
                  <a:cubicBezTo>
                    <a:pt x="3630" y="12346"/>
                    <a:pt x="3630" y="12346"/>
                    <a:pt x="3630" y="12346"/>
                  </a:cubicBezTo>
                  <a:cubicBezTo>
                    <a:pt x="3639" y="12313"/>
                    <a:pt x="3639" y="12313"/>
                    <a:pt x="3639" y="12313"/>
                  </a:cubicBezTo>
                  <a:cubicBezTo>
                    <a:pt x="3603" y="12258"/>
                    <a:pt x="3603" y="12258"/>
                    <a:pt x="3603" y="12258"/>
                  </a:cubicBezTo>
                  <a:cubicBezTo>
                    <a:pt x="3518" y="12325"/>
                    <a:pt x="3518" y="12325"/>
                    <a:pt x="3518" y="12325"/>
                  </a:cubicBezTo>
                  <a:cubicBezTo>
                    <a:pt x="3637" y="12623"/>
                    <a:pt x="3637" y="12623"/>
                    <a:pt x="3637" y="12623"/>
                  </a:cubicBezTo>
                  <a:lnTo>
                    <a:pt x="3722" y="12674"/>
                  </a:lnTo>
                  <a:close/>
                  <a:moveTo>
                    <a:pt x="3599" y="12279"/>
                  </a:moveTo>
                  <a:cubicBezTo>
                    <a:pt x="3624" y="12315"/>
                    <a:pt x="3624" y="12315"/>
                    <a:pt x="3624" y="12315"/>
                  </a:cubicBezTo>
                  <a:cubicBezTo>
                    <a:pt x="3616" y="12342"/>
                    <a:pt x="3616" y="12342"/>
                    <a:pt x="3616" y="12342"/>
                  </a:cubicBezTo>
                  <a:cubicBezTo>
                    <a:pt x="3615" y="12347"/>
                    <a:pt x="3615" y="12347"/>
                    <a:pt x="3615" y="12347"/>
                  </a:cubicBezTo>
                  <a:cubicBezTo>
                    <a:pt x="3617" y="12352"/>
                    <a:pt x="3617" y="12352"/>
                    <a:pt x="3617" y="12352"/>
                  </a:cubicBezTo>
                  <a:cubicBezTo>
                    <a:pt x="3652" y="12431"/>
                    <a:pt x="3652" y="12431"/>
                    <a:pt x="3652" y="12431"/>
                  </a:cubicBezTo>
                  <a:cubicBezTo>
                    <a:pt x="3656" y="12440"/>
                    <a:pt x="3656" y="12440"/>
                    <a:pt x="3656" y="12440"/>
                  </a:cubicBezTo>
                  <a:cubicBezTo>
                    <a:pt x="3666" y="12440"/>
                    <a:pt x="3666" y="12440"/>
                    <a:pt x="3666" y="12440"/>
                  </a:cubicBezTo>
                  <a:cubicBezTo>
                    <a:pt x="3716" y="12436"/>
                    <a:pt x="3716" y="12436"/>
                    <a:pt x="3716" y="12436"/>
                  </a:cubicBezTo>
                  <a:cubicBezTo>
                    <a:pt x="3749" y="12531"/>
                    <a:pt x="3749" y="12531"/>
                    <a:pt x="3749" y="12531"/>
                  </a:cubicBezTo>
                  <a:cubicBezTo>
                    <a:pt x="3755" y="12546"/>
                    <a:pt x="3755" y="12546"/>
                    <a:pt x="3755" y="12546"/>
                  </a:cubicBezTo>
                  <a:cubicBezTo>
                    <a:pt x="3769" y="12539"/>
                    <a:pt x="3769" y="12539"/>
                    <a:pt x="3769" y="12539"/>
                  </a:cubicBezTo>
                  <a:cubicBezTo>
                    <a:pt x="3781" y="12532"/>
                    <a:pt x="3781" y="12532"/>
                    <a:pt x="3781" y="12532"/>
                  </a:cubicBezTo>
                  <a:cubicBezTo>
                    <a:pt x="3803" y="12598"/>
                    <a:pt x="3803" y="12598"/>
                    <a:pt x="3803" y="12598"/>
                  </a:cubicBezTo>
                  <a:cubicBezTo>
                    <a:pt x="3795" y="12600"/>
                    <a:pt x="3795" y="12600"/>
                    <a:pt x="3795" y="12600"/>
                  </a:cubicBezTo>
                  <a:cubicBezTo>
                    <a:pt x="3780" y="12602"/>
                    <a:pt x="3780" y="12602"/>
                    <a:pt x="3780" y="12602"/>
                  </a:cubicBezTo>
                  <a:cubicBezTo>
                    <a:pt x="3783" y="12616"/>
                    <a:pt x="3783" y="12616"/>
                    <a:pt x="3783" y="12616"/>
                  </a:cubicBezTo>
                  <a:cubicBezTo>
                    <a:pt x="3787" y="12637"/>
                    <a:pt x="3787" y="12637"/>
                    <a:pt x="3787" y="12637"/>
                  </a:cubicBezTo>
                  <a:cubicBezTo>
                    <a:pt x="3723" y="12659"/>
                    <a:pt x="3723" y="12659"/>
                    <a:pt x="3723" y="12659"/>
                  </a:cubicBezTo>
                  <a:cubicBezTo>
                    <a:pt x="3648" y="12613"/>
                    <a:pt x="3648" y="12613"/>
                    <a:pt x="3648" y="12613"/>
                  </a:cubicBezTo>
                  <a:cubicBezTo>
                    <a:pt x="3534" y="12329"/>
                    <a:pt x="3534" y="12329"/>
                    <a:pt x="3534" y="12329"/>
                  </a:cubicBezTo>
                  <a:lnTo>
                    <a:pt x="3599" y="12279"/>
                  </a:lnTo>
                  <a:close/>
                  <a:moveTo>
                    <a:pt x="2676" y="10949"/>
                  </a:moveTo>
                  <a:cubicBezTo>
                    <a:pt x="2760" y="10855"/>
                    <a:pt x="2760" y="10855"/>
                    <a:pt x="2760" y="10855"/>
                  </a:cubicBezTo>
                  <a:cubicBezTo>
                    <a:pt x="2578" y="10827"/>
                    <a:pt x="2578" y="10827"/>
                    <a:pt x="2578" y="10827"/>
                  </a:cubicBezTo>
                  <a:cubicBezTo>
                    <a:pt x="2579" y="10935"/>
                    <a:pt x="2579" y="10935"/>
                    <a:pt x="2579" y="10935"/>
                  </a:cubicBezTo>
                  <a:lnTo>
                    <a:pt x="2676" y="10949"/>
                  </a:lnTo>
                  <a:close/>
                  <a:moveTo>
                    <a:pt x="2733" y="10865"/>
                  </a:moveTo>
                  <a:cubicBezTo>
                    <a:pt x="2670" y="10934"/>
                    <a:pt x="2670" y="10934"/>
                    <a:pt x="2670" y="10934"/>
                  </a:cubicBezTo>
                  <a:cubicBezTo>
                    <a:pt x="2593" y="10923"/>
                    <a:pt x="2593" y="10923"/>
                    <a:pt x="2593" y="10923"/>
                  </a:cubicBezTo>
                  <a:cubicBezTo>
                    <a:pt x="2592" y="10844"/>
                    <a:pt x="2592" y="10844"/>
                    <a:pt x="2592" y="10844"/>
                  </a:cubicBezTo>
                  <a:lnTo>
                    <a:pt x="2733" y="10865"/>
                  </a:lnTo>
                  <a:close/>
                  <a:moveTo>
                    <a:pt x="3267" y="11138"/>
                  </a:moveTo>
                  <a:cubicBezTo>
                    <a:pt x="3197" y="11274"/>
                    <a:pt x="3197" y="11274"/>
                    <a:pt x="3197" y="11274"/>
                  </a:cubicBezTo>
                  <a:cubicBezTo>
                    <a:pt x="3443" y="11402"/>
                    <a:pt x="3443" y="11402"/>
                    <a:pt x="3443" y="11402"/>
                  </a:cubicBezTo>
                  <a:cubicBezTo>
                    <a:pt x="3481" y="11330"/>
                    <a:pt x="3481" y="11330"/>
                    <a:pt x="3481" y="11330"/>
                  </a:cubicBezTo>
                  <a:cubicBezTo>
                    <a:pt x="3507" y="11344"/>
                    <a:pt x="3507" y="11344"/>
                    <a:pt x="3507" y="11344"/>
                  </a:cubicBezTo>
                  <a:cubicBezTo>
                    <a:pt x="3507" y="11344"/>
                    <a:pt x="3567" y="11227"/>
                    <a:pt x="3565" y="11227"/>
                  </a:cubicBezTo>
                  <a:cubicBezTo>
                    <a:pt x="3563" y="11228"/>
                    <a:pt x="3429" y="11159"/>
                    <a:pt x="3429" y="11159"/>
                  </a:cubicBezTo>
                  <a:cubicBezTo>
                    <a:pt x="3402" y="11207"/>
                    <a:pt x="3402" y="11207"/>
                    <a:pt x="3402" y="11207"/>
                  </a:cubicBezTo>
                  <a:lnTo>
                    <a:pt x="3267" y="11138"/>
                  </a:lnTo>
                  <a:close/>
                  <a:moveTo>
                    <a:pt x="3414" y="11214"/>
                  </a:moveTo>
                  <a:cubicBezTo>
                    <a:pt x="3435" y="11178"/>
                    <a:pt x="3435" y="11178"/>
                    <a:pt x="3435" y="11178"/>
                  </a:cubicBezTo>
                  <a:cubicBezTo>
                    <a:pt x="3500" y="11211"/>
                    <a:pt x="3531" y="11227"/>
                    <a:pt x="3547" y="11234"/>
                  </a:cubicBezTo>
                  <a:cubicBezTo>
                    <a:pt x="3538" y="11252"/>
                    <a:pt x="3520" y="11289"/>
                    <a:pt x="3501" y="11325"/>
                  </a:cubicBezTo>
                  <a:cubicBezTo>
                    <a:pt x="3487" y="11318"/>
                    <a:pt x="3487" y="11318"/>
                    <a:pt x="3487" y="11318"/>
                  </a:cubicBezTo>
                  <a:cubicBezTo>
                    <a:pt x="3475" y="11311"/>
                    <a:pt x="3475" y="11311"/>
                    <a:pt x="3475" y="11311"/>
                  </a:cubicBezTo>
                  <a:cubicBezTo>
                    <a:pt x="3468" y="11323"/>
                    <a:pt x="3468" y="11323"/>
                    <a:pt x="3468" y="11323"/>
                  </a:cubicBezTo>
                  <a:cubicBezTo>
                    <a:pt x="3437" y="11383"/>
                    <a:pt x="3437" y="11383"/>
                    <a:pt x="3437" y="11383"/>
                  </a:cubicBezTo>
                  <a:cubicBezTo>
                    <a:pt x="3216" y="11268"/>
                    <a:pt x="3216" y="11268"/>
                    <a:pt x="3216" y="11268"/>
                  </a:cubicBezTo>
                  <a:cubicBezTo>
                    <a:pt x="3273" y="11157"/>
                    <a:pt x="3273" y="11157"/>
                    <a:pt x="3273" y="11157"/>
                  </a:cubicBezTo>
                  <a:cubicBezTo>
                    <a:pt x="3396" y="11220"/>
                    <a:pt x="3396" y="11220"/>
                    <a:pt x="3396" y="11220"/>
                  </a:cubicBezTo>
                  <a:cubicBezTo>
                    <a:pt x="3408" y="11226"/>
                    <a:pt x="3408" y="11226"/>
                    <a:pt x="3408" y="11226"/>
                  </a:cubicBezTo>
                  <a:lnTo>
                    <a:pt x="3414" y="11214"/>
                  </a:lnTo>
                  <a:close/>
                  <a:moveTo>
                    <a:pt x="2617" y="11833"/>
                  </a:moveTo>
                  <a:cubicBezTo>
                    <a:pt x="2677" y="11833"/>
                    <a:pt x="2677" y="11833"/>
                    <a:pt x="2677" y="11833"/>
                  </a:cubicBezTo>
                  <a:cubicBezTo>
                    <a:pt x="2711" y="11756"/>
                    <a:pt x="2711" y="11756"/>
                    <a:pt x="2711" y="11756"/>
                  </a:cubicBezTo>
                  <a:cubicBezTo>
                    <a:pt x="2541" y="11779"/>
                    <a:pt x="2541" y="11779"/>
                    <a:pt x="2541" y="11779"/>
                  </a:cubicBezTo>
                  <a:cubicBezTo>
                    <a:pt x="2453" y="11911"/>
                    <a:pt x="2453" y="11911"/>
                    <a:pt x="2453" y="11911"/>
                  </a:cubicBezTo>
                  <a:cubicBezTo>
                    <a:pt x="2586" y="11915"/>
                    <a:pt x="2586" y="11915"/>
                    <a:pt x="2586" y="11915"/>
                  </a:cubicBezTo>
                  <a:lnTo>
                    <a:pt x="2617" y="11833"/>
                  </a:lnTo>
                  <a:close/>
                  <a:moveTo>
                    <a:pt x="2479" y="11898"/>
                  </a:moveTo>
                  <a:cubicBezTo>
                    <a:pt x="2549" y="11792"/>
                    <a:pt x="2549" y="11792"/>
                    <a:pt x="2549" y="11792"/>
                  </a:cubicBezTo>
                  <a:cubicBezTo>
                    <a:pt x="2689" y="11773"/>
                    <a:pt x="2689" y="11773"/>
                    <a:pt x="2689" y="11773"/>
                  </a:cubicBezTo>
                  <a:cubicBezTo>
                    <a:pt x="2668" y="11819"/>
                    <a:pt x="2668" y="11819"/>
                    <a:pt x="2668" y="11819"/>
                  </a:cubicBezTo>
                  <a:cubicBezTo>
                    <a:pt x="2617" y="11819"/>
                    <a:pt x="2617" y="11819"/>
                    <a:pt x="2617" y="11819"/>
                  </a:cubicBezTo>
                  <a:cubicBezTo>
                    <a:pt x="2608" y="11819"/>
                    <a:pt x="2608" y="11819"/>
                    <a:pt x="2608" y="11819"/>
                  </a:cubicBezTo>
                  <a:cubicBezTo>
                    <a:pt x="2604" y="11828"/>
                    <a:pt x="2604" y="11828"/>
                    <a:pt x="2604" y="11828"/>
                  </a:cubicBezTo>
                  <a:cubicBezTo>
                    <a:pt x="2576" y="11901"/>
                    <a:pt x="2576" y="11901"/>
                    <a:pt x="2576" y="11901"/>
                  </a:cubicBezTo>
                  <a:lnTo>
                    <a:pt x="2479" y="11898"/>
                  </a:lnTo>
                  <a:close/>
                  <a:moveTo>
                    <a:pt x="4258" y="12577"/>
                  </a:moveTo>
                  <a:cubicBezTo>
                    <a:pt x="4224" y="12510"/>
                    <a:pt x="4224" y="12510"/>
                    <a:pt x="4224" y="12510"/>
                  </a:cubicBezTo>
                  <a:cubicBezTo>
                    <a:pt x="4145" y="12679"/>
                    <a:pt x="4145" y="12679"/>
                    <a:pt x="4145" y="12679"/>
                  </a:cubicBezTo>
                  <a:cubicBezTo>
                    <a:pt x="4251" y="12768"/>
                    <a:pt x="4251" y="12768"/>
                    <a:pt x="4251" y="12768"/>
                  </a:cubicBezTo>
                  <a:cubicBezTo>
                    <a:pt x="4292" y="12678"/>
                    <a:pt x="4292" y="12678"/>
                    <a:pt x="4292" y="12678"/>
                  </a:cubicBezTo>
                  <a:cubicBezTo>
                    <a:pt x="4245" y="12630"/>
                    <a:pt x="4245" y="12630"/>
                    <a:pt x="4245" y="12630"/>
                  </a:cubicBezTo>
                  <a:lnTo>
                    <a:pt x="4258" y="12577"/>
                  </a:lnTo>
                  <a:close/>
                  <a:moveTo>
                    <a:pt x="4276" y="12681"/>
                  </a:moveTo>
                  <a:cubicBezTo>
                    <a:pt x="4246" y="12746"/>
                    <a:pt x="4246" y="12746"/>
                    <a:pt x="4246" y="12746"/>
                  </a:cubicBezTo>
                  <a:cubicBezTo>
                    <a:pt x="4162" y="12675"/>
                    <a:pt x="4162" y="12675"/>
                    <a:pt x="4162" y="12675"/>
                  </a:cubicBezTo>
                  <a:cubicBezTo>
                    <a:pt x="4225" y="12542"/>
                    <a:pt x="4225" y="12542"/>
                    <a:pt x="4225" y="12542"/>
                  </a:cubicBezTo>
                  <a:cubicBezTo>
                    <a:pt x="4243" y="12578"/>
                    <a:pt x="4243" y="12578"/>
                    <a:pt x="4243" y="12578"/>
                  </a:cubicBezTo>
                  <a:cubicBezTo>
                    <a:pt x="4231" y="12627"/>
                    <a:pt x="4231" y="12627"/>
                    <a:pt x="4231" y="12627"/>
                  </a:cubicBezTo>
                  <a:cubicBezTo>
                    <a:pt x="4229" y="12634"/>
                    <a:pt x="4229" y="12634"/>
                    <a:pt x="4229" y="12634"/>
                  </a:cubicBezTo>
                  <a:cubicBezTo>
                    <a:pt x="4235" y="12640"/>
                    <a:pt x="4235" y="12640"/>
                    <a:pt x="4235" y="12640"/>
                  </a:cubicBezTo>
                  <a:lnTo>
                    <a:pt x="4276" y="12681"/>
                  </a:lnTo>
                  <a:close/>
                  <a:moveTo>
                    <a:pt x="4154" y="12418"/>
                  </a:moveTo>
                  <a:cubicBezTo>
                    <a:pt x="4215" y="12366"/>
                    <a:pt x="4215" y="12366"/>
                    <a:pt x="4215" y="12366"/>
                  </a:cubicBezTo>
                  <a:cubicBezTo>
                    <a:pt x="4164" y="12222"/>
                    <a:pt x="4164" y="12222"/>
                    <a:pt x="4164" y="12222"/>
                  </a:cubicBezTo>
                  <a:cubicBezTo>
                    <a:pt x="4164" y="12222"/>
                    <a:pt x="4101" y="12290"/>
                    <a:pt x="4086" y="12347"/>
                  </a:cubicBezTo>
                  <a:cubicBezTo>
                    <a:pt x="4079" y="12375"/>
                    <a:pt x="4072" y="12419"/>
                    <a:pt x="4059" y="12465"/>
                  </a:cubicBezTo>
                  <a:cubicBezTo>
                    <a:pt x="4044" y="12515"/>
                    <a:pt x="4023" y="12566"/>
                    <a:pt x="4023" y="12566"/>
                  </a:cubicBezTo>
                  <a:cubicBezTo>
                    <a:pt x="4115" y="12644"/>
                    <a:pt x="4115" y="12644"/>
                    <a:pt x="4115" y="12644"/>
                  </a:cubicBezTo>
                  <a:cubicBezTo>
                    <a:pt x="4186" y="12474"/>
                    <a:pt x="4186" y="12474"/>
                    <a:pt x="4186" y="12474"/>
                  </a:cubicBezTo>
                  <a:lnTo>
                    <a:pt x="4154" y="12418"/>
                  </a:lnTo>
                  <a:close/>
                  <a:moveTo>
                    <a:pt x="4109" y="12621"/>
                  </a:moveTo>
                  <a:cubicBezTo>
                    <a:pt x="4040" y="12562"/>
                    <a:pt x="4040" y="12562"/>
                    <a:pt x="4040" y="12562"/>
                  </a:cubicBezTo>
                  <a:cubicBezTo>
                    <a:pt x="4047" y="12545"/>
                    <a:pt x="4061" y="12507"/>
                    <a:pt x="4072" y="12469"/>
                  </a:cubicBezTo>
                  <a:cubicBezTo>
                    <a:pt x="4081" y="12440"/>
                    <a:pt x="4086" y="12412"/>
                    <a:pt x="4091" y="12388"/>
                  </a:cubicBezTo>
                  <a:cubicBezTo>
                    <a:pt x="4094" y="12374"/>
                    <a:pt x="4097" y="12361"/>
                    <a:pt x="4100" y="12351"/>
                  </a:cubicBezTo>
                  <a:cubicBezTo>
                    <a:pt x="4109" y="12315"/>
                    <a:pt x="4140" y="12272"/>
                    <a:pt x="4159" y="12249"/>
                  </a:cubicBezTo>
                  <a:cubicBezTo>
                    <a:pt x="4198" y="12362"/>
                    <a:pt x="4198" y="12362"/>
                    <a:pt x="4198" y="12362"/>
                  </a:cubicBezTo>
                  <a:cubicBezTo>
                    <a:pt x="4145" y="12408"/>
                    <a:pt x="4145" y="12408"/>
                    <a:pt x="4145" y="12408"/>
                  </a:cubicBezTo>
                  <a:cubicBezTo>
                    <a:pt x="4137" y="12415"/>
                    <a:pt x="4137" y="12415"/>
                    <a:pt x="4137" y="12415"/>
                  </a:cubicBezTo>
                  <a:cubicBezTo>
                    <a:pt x="4142" y="12425"/>
                    <a:pt x="4142" y="12425"/>
                    <a:pt x="4142" y="12425"/>
                  </a:cubicBezTo>
                  <a:cubicBezTo>
                    <a:pt x="4170" y="12475"/>
                    <a:pt x="4170" y="12475"/>
                    <a:pt x="4170" y="12475"/>
                  </a:cubicBezTo>
                  <a:lnTo>
                    <a:pt x="4109" y="12621"/>
                  </a:lnTo>
                  <a:close/>
                  <a:moveTo>
                    <a:pt x="1933" y="13165"/>
                  </a:moveTo>
                  <a:cubicBezTo>
                    <a:pt x="1916" y="13152"/>
                    <a:pt x="1916" y="13152"/>
                    <a:pt x="1916" y="13152"/>
                  </a:cubicBezTo>
                  <a:cubicBezTo>
                    <a:pt x="1940" y="13107"/>
                    <a:pt x="1940" y="13107"/>
                    <a:pt x="1940" y="13107"/>
                  </a:cubicBezTo>
                  <a:cubicBezTo>
                    <a:pt x="1896" y="13083"/>
                    <a:pt x="1896" y="13083"/>
                    <a:pt x="1896" y="13083"/>
                  </a:cubicBezTo>
                  <a:cubicBezTo>
                    <a:pt x="1934" y="13017"/>
                    <a:pt x="1934" y="13017"/>
                    <a:pt x="1934" y="13017"/>
                  </a:cubicBezTo>
                  <a:cubicBezTo>
                    <a:pt x="1864" y="12979"/>
                    <a:pt x="1864" y="12979"/>
                    <a:pt x="1864" y="12979"/>
                  </a:cubicBezTo>
                  <a:cubicBezTo>
                    <a:pt x="1896" y="12926"/>
                    <a:pt x="1896" y="12926"/>
                    <a:pt x="1896" y="12926"/>
                  </a:cubicBezTo>
                  <a:cubicBezTo>
                    <a:pt x="1918" y="12935"/>
                    <a:pt x="1918" y="12935"/>
                    <a:pt x="1918" y="12935"/>
                  </a:cubicBezTo>
                  <a:cubicBezTo>
                    <a:pt x="1950" y="12873"/>
                    <a:pt x="1950" y="12873"/>
                    <a:pt x="1950" y="12873"/>
                  </a:cubicBezTo>
                  <a:cubicBezTo>
                    <a:pt x="1917" y="12858"/>
                    <a:pt x="1917" y="12858"/>
                    <a:pt x="1917" y="12858"/>
                  </a:cubicBezTo>
                  <a:cubicBezTo>
                    <a:pt x="1956" y="12787"/>
                    <a:pt x="1956" y="12787"/>
                    <a:pt x="1956" y="12787"/>
                  </a:cubicBezTo>
                  <a:cubicBezTo>
                    <a:pt x="1892" y="12752"/>
                    <a:pt x="1892" y="12752"/>
                    <a:pt x="1892" y="12752"/>
                  </a:cubicBezTo>
                  <a:cubicBezTo>
                    <a:pt x="1921" y="12697"/>
                    <a:pt x="1921" y="12697"/>
                    <a:pt x="1921" y="12697"/>
                  </a:cubicBezTo>
                  <a:cubicBezTo>
                    <a:pt x="1941" y="12704"/>
                    <a:pt x="1941" y="12704"/>
                    <a:pt x="1941" y="12704"/>
                  </a:cubicBezTo>
                  <a:cubicBezTo>
                    <a:pt x="1971" y="12651"/>
                    <a:pt x="1971" y="12651"/>
                    <a:pt x="1971" y="12651"/>
                  </a:cubicBezTo>
                  <a:cubicBezTo>
                    <a:pt x="2016" y="12675"/>
                    <a:pt x="2016" y="12675"/>
                    <a:pt x="2016" y="12675"/>
                  </a:cubicBezTo>
                  <a:cubicBezTo>
                    <a:pt x="2053" y="12604"/>
                    <a:pt x="2053" y="12604"/>
                    <a:pt x="2053" y="12604"/>
                  </a:cubicBezTo>
                  <a:cubicBezTo>
                    <a:pt x="1989" y="12567"/>
                    <a:pt x="1989" y="12567"/>
                    <a:pt x="1989" y="12567"/>
                  </a:cubicBezTo>
                  <a:cubicBezTo>
                    <a:pt x="2019" y="12513"/>
                    <a:pt x="2019" y="12513"/>
                    <a:pt x="2019" y="12513"/>
                  </a:cubicBezTo>
                  <a:cubicBezTo>
                    <a:pt x="2038" y="12519"/>
                    <a:pt x="2038" y="12519"/>
                    <a:pt x="2038" y="12519"/>
                  </a:cubicBezTo>
                  <a:cubicBezTo>
                    <a:pt x="2070" y="12460"/>
                    <a:pt x="2070" y="12460"/>
                    <a:pt x="2070" y="12460"/>
                  </a:cubicBezTo>
                  <a:cubicBezTo>
                    <a:pt x="1965" y="12400"/>
                    <a:pt x="1965" y="12400"/>
                    <a:pt x="1965" y="12400"/>
                  </a:cubicBezTo>
                  <a:cubicBezTo>
                    <a:pt x="1939" y="12444"/>
                    <a:pt x="1939" y="12444"/>
                    <a:pt x="1939" y="12444"/>
                  </a:cubicBezTo>
                  <a:cubicBezTo>
                    <a:pt x="1922" y="12438"/>
                    <a:pt x="1922" y="12438"/>
                    <a:pt x="1922" y="12438"/>
                  </a:cubicBezTo>
                  <a:cubicBezTo>
                    <a:pt x="1840" y="12578"/>
                    <a:pt x="1840" y="12578"/>
                    <a:pt x="1840" y="12578"/>
                  </a:cubicBezTo>
                  <a:cubicBezTo>
                    <a:pt x="1862" y="12593"/>
                    <a:pt x="1862" y="12593"/>
                    <a:pt x="1862" y="12593"/>
                  </a:cubicBezTo>
                  <a:cubicBezTo>
                    <a:pt x="1840" y="12629"/>
                    <a:pt x="1840" y="12629"/>
                    <a:pt x="1840" y="12629"/>
                  </a:cubicBezTo>
                  <a:cubicBezTo>
                    <a:pt x="1824" y="12621"/>
                    <a:pt x="1824" y="12621"/>
                    <a:pt x="1824" y="12621"/>
                  </a:cubicBezTo>
                  <a:cubicBezTo>
                    <a:pt x="1742" y="12763"/>
                    <a:pt x="1742" y="12763"/>
                    <a:pt x="1742" y="12763"/>
                  </a:cubicBezTo>
                  <a:cubicBezTo>
                    <a:pt x="1838" y="12818"/>
                    <a:pt x="1838" y="12818"/>
                    <a:pt x="1838" y="12818"/>
                  </a:cubicBezTo>
                  <a:cubicBezTo>
                    <a:pt x="1814" y="12858"/>
                    <a:pt x="1814" y="12858"/>
                    <a:pt x="1814" y="12858"/>
                  </a:cubicBezTo>
                  <a:cubicBezTo>
                    <a:pt x="1795" y="12852"/>
                    <a:pt x="1795" y="12852"/>
                    <a:pt x="1795" y="12852"/>
                  </a:cubicBezTo>
                  <a:cubicBezTo>
                    <a:pt x="1720" y="12992"/>
                    <a:pt x="1720" y="12992"/>
                    <a:pt x="1720" y="12992"/>
                  </a:cubicBezTo>
                  <a:cubicBezTo>
                    <a:pt x="1827" y="13055"/>
                    <a:pt x="1827" y="13055"/>
                    <a:pt x="1827" y="13055"/>
                  </a:cubicBezTo>
                  <a:cubicBezTo>
                    <a:pt x="1801" y="13113"/>
                    <a:pt x="1801" y="13113"/>
                    <a:pt x="1801" y="13113"/>
                  </a:cubicBezTo>
                  <a:cubicBezTo>
                    <a:pt x="1815" y="13121"/>
                    <a:pt x="1815" y="13121"/>
                    <a:pt x="1815" y="13121"/>
                  </a:cubicBezTo>
                  <a:cubicBezTo>
                    <a:pt x="1786" y="13176"/>
                    <a:pt x="1786" y="13176"/>
                    <a:pt x="1786" y="13176"/>
                  </a:cubicBezTo>
                  <a:cubicBezTo>
                    <a:pt x="1719" y="13142"/>
                    <a:pt x="1719" y="13142"/>
                    <a:pt x="1719" y="13142"/>
                  </a:cubicBezTo>
                  <a:cubicBezTo>
                    <a:pt x="1682" y="13212"/>
                    <a:pt x="1682" y="13212"/>
                    <a:pt x="1682" y="13212"/>
                  </a:cubicBezTo>
                  <a:cubicBezTo>
                    <a:pt x="1856" y="13305"/>
                    <a:pt x="1856" y="13305"/>
                    <a:pt x="1856" y="13305"/>
                  </a:cubicBezTo>
                  <a:lnTo>
                    <a:pt x="1933" y="13165"/>
                  </a:lnTo>
                  <a:close/>
                  <a:moveTo>
                    <a:pt x="1701" y="13206"/>
                  </a:moveTo>
                  <a:cubicBezTo>
                    <a:pt x="1725" y="13160"/>
                    <a:pt x="1725" y="13160"/>
                    <a:pt x="1725" y="13160"/>
                  </a:cubicBezTo>
                  <a:cubicBezTo>
                    <a:pt x="1780" y="13188"/>
                    <a:pt x="1780" y="13188"/>
                    <a:pt x="1780" y="13188"/>
                  </a:cubicBezTo>
                  <a:cubicBezTo>
                    <a:pt x="1792" y="13194"/>
                    <a:pt x="1792" y="13194"/>
                    <a:pt x="1792" y="13194"/>
                  </a:cubicBezTo>
                  <a:cubicBezTo>
                    <a:pt x="1799" y="13182"/>
                    <a:pt x="1799" y="13182"/>
                    <a:pt x="1799" y="13182"/>
                  </a:cubicBezTo>
                  <a:cubicBezTo>
                    <a:pt x="1827" y="13128"/>
                    <a:pt x="1827" y="13128"/>
                    <a:pt x="1827" y="13128"/>
                  </a:cubicBezTo>
                  <a:cubicBezTo>
                    <a:pt x="1834" y="13116"/>
                    <a:pt x="1834" y="13116"/>
                    <a:pt x="1834" y="13116"/>
                  </a:cubicBezTo>
                  <a:cubicBezTo>
                    <a:pt x="1822" y="13109"/>
                    <a:pt x="1822" y="13109"/>
                    <a:pt x="1822" y="13109"/>
                  </a:cubicBezTo>
                  <a:cubicBezTo>
                    <a:pt x="1819" y="13107"/>
                    <a:pt x="1819" y="13107"/>
                    <a:pt x="1819" y="13107"/>
                  </a:cubicBezTo>
                  <a:cubicBezTo>
                    <a:pt x="1840" y="13061"/>
                    <a:pt x="1840" y="13061"/>
                    <a:pt x="1840" y="13061"/>
                  </a:cubicBezTo>
                  <a:cubicBezTo>
                    <a:pt x="1845" y="13049"/>
                    <a:pt x="1845" y="13049"/>
                    <a:pt x="1845" y="13049"/>
                  </a:cubicBezTo>
                  <a:cubicBezTo>
                    <a:pt x="1834" y="13043"/>
                    <a:pt x="1834" y="13043"/>
                    <a:pt x="1834" y="13043"/>
                  </a:cubicBezTo>
                  <a:cubicBezTo>
                    <a:pt x="1738" y="12987"/>
                    <a:pt x="1738" y="12987"/>
                    <a:pt x="1738" y="12987"/>
                  </a:cubicBezTo>
                  <a:cubicBezTo>
                    <a:pt x="1802" y="12869"/>
                    <a:pt x="1802" y="12869"/>
                    <a:pt x="1802" y="12869"/>
                  </a:cubicBezTo>
                  <a:cubicBezTo>
                    <a:pt x="1810" y="12871"/>
                    <a:pt x="1810" y="12871"/>
                    <a:pt x="1810" y="12871"/>
                  </a:cubicBezTo>
                  <a:cubicBezTo>
                    <a:pt x="1820" y="12875"/>
                    <a:pt x="1820" y="12875"/>
                    <a:pt x="1820" y="12875"/>
                  </a:cubicBezTo>
                  <a:cubicBezTo>
                    <a:pt x="1826" y="12865"/>
                    <a:pt x="1826" y="12865"/>
                    <a:pt x="1826" y="12865"/>
                  </a:cubicBezTo>
                  <a:cubicBezTo>
                    <a:pt x="1850" y="12825"/>
                    <a:pt x="1850" y="12825"/>
                    <a:pt x="1850" y="12825"/>
                  </a:cubicBezTo>
                  <a:cubicBezTo>
                    <a:pt x="1857" y="12813"/>
                    <a:pt x="1857" y="12813"/>
                    <a:pt x="1857" y="12813"/>
                  </a:cubicBezTo>
                  <a:cubicBezTo>
                    <a:pt x="1845" y="12806"/>
                    <a:pt x="1845" y="12806"/>
                    <a:pt x="1845" y="12806"/>
                  </a:cubicBezTo>
                  <a:cubicBezTo>
                    <a:pt x="1761" y="12758"/>
                    <a:pt x="1761" y="12758"/>
                    <a:pt x="1761" y="12758"/>
                  </a:cubicBezTo>
                  <a:cubicBezTo>
                    <a:pt x="1830" y="12640"/>
                    <a:pt x="1830" y="12640"/>
                    <a:pt x="1830" y="12640"/>
                  </a:cubicBezTo>
                  <a:cubicBezTo>
                    <a:pt x="1833" y="12642"/>
                    <a:pt x="1833" y="12642"/>
                    <a:pt x="1833" y="12642"/>
                  </a:cubicBezTo>
                  <a:cubicBezTo>
                    <a:pt x="1845" y="12648"/>
                    <a:pt x="1845" y="12648"/>
                    <a:pt x="1845" y="12648"/>
                  </a:cubicBezTo>
                  <a:cubicBezTo>
                    <a:pt x="1851" y="12637"/>
                    <a:pt x="1851" y="12637"/>
                    <a:pt x="1851" y="12637"/>
                  </a:cubicBezTo>
                  <a:cubicBezTo>
                    <a:pt x="1874" y="12600"/>
                    <a:pt x="1874" y="12600"/>
                    <a:pt x="1874" y="12600"/>
                  </a:cubicBezTo>
                  <a:cubicBezTo>
                    <a:pt x="1881" y="12588"/>
                    <a:pt x="1881" y="12588"/>
                    <a:pt x="1881" y="12588"/>
                  </a:cubicBezTo>
                  <a:cubicBezTo>
                    <a:pt x="1870" y="12581"/>
                    <a:pt x="1870" y="12581"/>
                    <a:pt x="1870" y="12581"/>
                  </a:cubicBezTo>
                  <a:cubicBezTo>
                    <a:pt x="1858" y="12574"/>
                    <a:pt x="1858" y="12574"/>
                    <a:pt x="1858" y="12574"/>
                  </a:cubicBezTo>
                  <a:cubicBezTo>
                    <a:pt x="1928" y="12455"/>
                    <a:pt x="1928" y="12455"/>
                    <a:pt x="1928" y="12455"/>
                  </a:cubicBezTo>
                  <a:cubicBezTo>
                    <a:pt x="1934" y="12457"/>
                    <a:pt x="1934" y="12457"/>
                    <a:pt x="1934" y="12457"/>
                  </a:cubicBezTo>
                  <a:cubicBezTo>
                    <a:pt x="1945" y="12461"/>
                    <a:pt x="1945" y="12461"/>
                    <a:pt x="1945" y="12461"/>
                  </a:cubicBezTo>
                  <a:cubicBezTo>
                    <a:pt x="1951" y="12451"/>
                    <a:pt x="1951" y="12451"/>
                    <a:pt x="1951" y="12451"/>
                  </a:cubicBezTo>
                  <a:cubicBezTo>
                    <a:pt x="1970" y="12419"/>
                    <a:pt x="1970" y="12419"/>
                    <a:pt x="1970" y="12419"/>
                  </a:cubicBezTo>
                  <a:cubicBezTo>
                    <a:pt x="2051" y="12466"/>
                    <a:pt x="2051" y="12466"/>
                    <a:pt x="2051" y="12466"/>
                  </a:cubicBezTo>
                  <a:cubicBezTo>
                    <a:pt x="2032" y="12502"/>
                    <a:pt x="2032" y="12502"/>
                    <a:pt x="2032" y="12502"/>
                  </a:cubicBezTo>
                  <a:cubicBezTo>
                    <a:pt x="2023" y="12499"/>
                    <a:pt x="2023" y="12499"/>
                    <a:pt x="2023" y="12499"/>
                  </a:cubicBezTo>
                  <a:cubicBezTo>
                    <a:pt x="2012" y="12496"/>
                    <a:pt x="2012" y="12496"/>
                    <a:pt x="2012" y="12496"/>
                  </a:cubicBezTo>
                  <a:cubicBezTo>
                    <a:pt x="2007" y="12506"/>
                    <a:pt x="2007" y="12506"/>
                    <a:pt x="2007" y="12506"/>
                  </a:cubicBezTo>
                  <a:cubicBezTo>
                    <a:pt x="1977" y="12560"/>
                    <a:pt x="1977" y="12560"/>
                    <a:pt x="1977" y="12560"/>
                  </a:cubicBezTo>
                  <a:cubicBezTo>
                    <a:pt x="1970" y="12572"/>
                    <a:pt x="1970" y="12572"/>
                    <a:pt x="1970" y="12572"/>
                  </a:cubicBezTo>
                  <a:cubicBezTo>
                    <a:pt x="1982" y="12579"/>
                    <a:pt x="1982" y="12579"/>
                    <a:pt x="1982" y="12579"/>
                  </a:cubicBezTo>
                  <a:cubicBezTo>
                    <a:pt x="2034" y="12609"/>
                    <a:pt x="2034" y="12609"/>
                    <a:pt x="2034" y="12609"/>
                  </a:cubicBezTo>
                  <a:cubicBezTo>
                    <a:pt x="2010" y="12656"/>
                    <a:pt x="2010" y="12656"/>
                    <a:pt x="2010" y="12656"/>
                  </a:cubicBezTo>
                  <a:cubicBezTo>
                    <a:pt x="1977" y="12639"/>
                    <a:pt x="1977" y="12639"/>
                    <a:pt x="1977" y="12639"/>
                  </a:cubicBezTo>
                  <a:cubicBezTo>
                    <a:pt x="1965" y="12632"/>
                    <a:pt x="1965" y="12632"/>
                    <a:pt x="1965" y="12632"/>
                  </a:cubicBezTo>
                  <a:cubicBezTo>
                    <a:pt x="1959" y="12644"/>
                    <a:pt x="1959" y="12644"/>
                    <a:pt x="1959" y="12644"/>
                  </a:cubicBezTo>
                  <a:cubicBezTo>
                    <a:pt x="1935" y="12687"/>
                    <a:pt x="1935" y="12687"/>
                    <a:pt x="1935" y="12687"/>
                  </a:cubicBezTo>
                  <a:cubicBezTo>
                    <a:pt x="1925" y="12684"/>
                    <a:pt x="1925" y="12684"/>
                    <a:pt x="1925" y="12684"/>
                  </a:cubicBezTo>
                  <a:cubicBezTo>
                    <a:pt x="1914" y="12680"/>
                    <a:pt x="1914" y="12680"/>
                    <a:pt x="1914" y="12680"/>
                  </a:cubicBezTo>
                  <a:cubicBezTo>
                    <a:pt x="1908" y="12691"/>
                    <a:pt x="1908" y="12691"/>
                    <a:pt x="1908" y="12691"/>
                  </a:cubicBezTo>
                  <a:cubicBezTo>
                    <a:pt x="1879" y="12746"/>
                    <a:pt x="1879" y="12746"/>
                    <a:pt x="1879" y="12746"/>
                  </a:cubicBezTo>
                  <a:cubicBezTo>
                    <a:pt x="1873" y="12758"/>
                    <a:pt x="1873" y="12758"/>
                    <a:pt x="1873" y="12758"/>
                  </a:cubicBezTo>
                  <a:cubicBezTo>
                    <a:pt x="1885" y="12765"/>
                    <a:pt x="1885" y="12765"/>
                    <a:pt x="1885" y="12765"/>
                  </a:cubicBezTo>
                  <a:cubicBezTo>
                    <a:pt x="1937" y="12793"/>
                    <a:pt x="1937" y="12793"/>
                    <a:pt x="1937" y="12793"/>
                  </a:cubicBezTo>
                  <a:cubicBezTo>
                    <a:pt x="1905" y="12851"/>
                    <a:pt x="1905" y="12851"/>
                    <a:pt x="1905" y="12851"/>
                  </a:cubicBezTo>
                  <a:cubicBezTo>
                    <a:pt x="1898" y="12864"/>
                    <a:pt x="1898" y="12864"/>
                    <a:pt x="1898" y="12864"/>
                  </a:cubicBezTo>
                  <a:cubicBezTo>
                    <a:pt x="1912" y="12871"/>
                    <a:pt x="1912" y="12871"/>
                    <a:pt x="1912" y="12871"/>
                  </a:cubicBezTo>
                  <a:cubicBezTo>
                    <a:pt x="1931" y="12880"/>
                    <a:pt x="1931" y="12880"/>
                    <a:pt x="1931" y="12880"/>
                  </a:cubicBezTo>
                  <a:cubicBezTo>
                    <a:pt x="1912" y="12917"/>
                    <a:pt x="1912" y="12917"/>
                    <a:pt x="1912" y="12917"/>
                  </a:cubicBezTo>
                  <a:cubicBezTo>
                    <a:pt x="1901" y="12913"/>
                    <a:pt x="1901" y="12913"/>
                    <a:pt x="1901" y="12913"/>
                  </a:cubicBezTo>
                  <a:cubicBezTo>
                    <a:pt x="1890" y="12908"/>
                    <a:pt x="1890" y="12908"/>
                    <a:pt x="1890" y="12908"/>
                  </a:cubicBezTo>
                  <a:cubicBezTo>
                    <a:pt x="1884" y="12918"/>
                    <a:pt x="1884" y="12918"/>
                    <a:pt x="1884" y="12918"/>
                  </a:cubicBezTo>
                  <a:cubicBezTo>
                    <a:pt x="1852" y="12972"/>
                    <a:pt x="1852" y="12972"/>
                    <a:pt x="1852" y="12972"/>
                  </a:cubicBezTo>
                  <a:cubicBezTo>
                    <a:pt x="1845" y="12984"/>
                    <a:pt x="1845" y="12984"/>
                    <a:pt x="1845" y="12984"/>
                  </a:cubicBezTo>
                  <a:cubicBezTo>
                    <a:pt x="1858" y="12991"/>
                    <a:pt x="1858" y="12991"/>
                    <a:pt x="1858" y="12991"/>
                  </a:cubicBezTo>
                  <a:cubicBezTo>
                    <a:pt x="1915" y="13022"/>
                    <a:pt x="1915" y="13022"/>
                    <a:pt x="1915" y="13022"/>
                  </a:cubicBezTo>
                  <a:cubicBezTo>
                    <a:pt x="1884" y="13077"/>
                    <a:pt x="1884" y="13077"/>
                    <a:pt x="1884" y="13077"/>
                  </a:cubicBezTo>
                  <a:cubicBezTo>
                    <a:pt x="1877" y="13089"/>
                    <a:pt x="1877" y="13089"/>
                    <a:pt x="1877" y="13089"/>
                  </a:cubicBezTo>
                  <a:cubicBezTo>
                    <a:pt x="1889" y="13096"/>
                    <a:pt x="1889" y="13096"/>
                    <a:pt x="1889" y="13096"/>
                  </a:cubicBezTo>
                  <a:cubicBezTo>
                    <a:pt x="1921" y="13113"/>
                    <a:pt x="1921" y="13113"/>
                    <a:pt x="1921" y="13113"/>
                  </a:cubicBezTo>
                  <a:cubicBezTo>
                    <a:pt x="1904" y="13146"/>
                    <a:pt x="1904" y="13146"/>
                    <a:pt x="1904" y="13146"/>
                  </a:cubicBezTo>
                  <a:cubicBezTo>
                    <a:pt x="1899" y="13156"/>
                    <a:pt x="1899" y="13156"/>
                    <a:pt x="1899" y="13156"/>
                  </a:cubicBezTo>
                  <a:cubicBezTo>
                    <a:pt x="1908" y="13163"/>
                    <a:pt x="1908" y="13163"/>
                    <a:pt x="1908" y="13163"/>
                  </a:cubicBezTo>
                  <a:cubicBezTo>
                    <a:pt x="1915" y="13169"/>
                    <a:pt x="1915" y="13169"/>
                    <a:pt x="1915" y="13169"/>
                  </a:cubicBezTo>
                  <a:cubicBezTo>
                    <a:pt x="1850" y="13286"/>
                    <a:pt x="1850" y="13286"/>
                    <a:pt x="1850" y="13286"/>
                  </a:cubicBezTo>
                  <a:lnTo>
                    <a:pt x="1701" y="13206"/>
                  </a:lnTo>
                  <a:close/>
                  <a:moveTo>
                    <a:pt x="2972" y="11092"/>
                  </a:moveTo>
                  <a:cubicBezTo>
                    <a:pt x="2977" y="11153"/>
                    <a:pt x="2977" y="11153"/>
                    <a:pt x="2977" y="11153"/>
                  </a:cubicBezTo>
                  <a:cubicBezTo>
                    <a:pt x="3010" y="11167"/>
                    <a:pt x="3010" y="11167"/>
                    <a:pt x="3010" y="11167"/>
                  </a:cubicBezTo>
                  <a:cubicBezTo>
                    <a:pt x="2979" y="11276"/>
                    <a:pt x="2979" y="11276"/>
                    <a:pt x="2979" y="11276"/>
                  </a:cubicBezTo>
                  <a:cubicBezTo>
                    <a:pt x="3034" y="11337"/>
                    <a:pt x="3034" y="11337"/>
                    <a:pt x="3034" y="11337"/>
                  </a:cubicBezTo>
                  <a:cubicBezTo>
                    <a:pt x="3139" y="11197"/>
                    <a:pt x="3139" y="11197"/>
                    <a:pt x="3139" y="11197"/>
                  </a:cubicBezTo>
                  <a:cubicBezTo>
                    <a:pt x="3161" y="11140"/>
                    <a:pt x="3161" y="11140"/>
                    <a:pt x="3161" y="11140"/>
                  </a:cubicBezTo>
                  <a:cubicBezTo>
                    <a:pt x="3094" y="10998"/>
                    <a:pt x="3094" y="10998"/>
                    <a:pt x="3094" y="10998"/>
                  </a:cubicBezTo>
                  <a:cubicBezTo>
                    <a:pt x="2883" y="10916"/>
                    <a:pt x="2883" y="10916"/>
                    <a:pt x="2883" y="10916"/>
                  </a:cubicBezTo>
                  <a:cubicBezTo>
                    <a:pt x="2798" y="11028"/>
                    <a:pt x="2798" y="11028"/>
                    <a:pt x="2798" y="11028"/>
                  </a:cubicBezTo>
                  <a:lnTo>
                    <a:pt x="2972" y="11092"/>
                  </a:lnTo>
                  <a:close/>
                  <a:moveTo>
                    <a:pt x="2888" y="10932"/>
                  </a:moveTo>
                  <a:cubicBezTo>
                    <a:pt x="3083" y="11009"/>
                    <a:pt x="3083" y="11009"/>
                    <a:pt x="3083" y="11009"/>
                  </a:cubicBezTo>
                  <a:cubicBezTo>
                    <a:pt x="3145" y="11141"/>
                    <a:pt x="3145" y="11141"/>
                    <a:pt x="3145" y="11141"/>
                  </a:cubicBezTo>
                  <a:cubicBezTo>
                    <a:pt x="3127" y="11190"/>
                    <a:pt x="3127" y="11190"/>
                    <a:pt x="3127" y="11190"/>
                  </a:cubicBezTo>
                  <a:cubicBezTo>
                    <a:pt x="3033" y="11315"/>
                    <a:pt x="3033" y="11315"/>
                    <a:pt x="3033" y="11315"/>
                  </a:cubicBezTo>
                  <a:cubicBezTo>
                    <a:pt x="2995" y="11272"/>
                    <a:pt x="2995" y="11272"/>
                    <a:pt x="2995" y="11272"/>
                  </a:cubicBezTo>
                  <a:cubicBezTo>
                    <a:pt x="3024" y="11171"/>
                    <a:pt x="3024" y="11171"/>
                    <a:pt x="3024" y="11171"/>
                  </a:cubicBezTo>
                  <a:cubicBezTo>
                    <a:pt x="3027" y="11159"/>
                    <a:pt x="3027" y="11159"/>
                    <a:pt x="3027" y="11159"/>
                  </a:cubicBezTo>
                  <a:cubicBezTo>
                    <a:pt x="3016" y="11154"/>
                    <a:pt x="3016" y="11154"/>
                    <a:pt x="3016" y="11154"/>
                  </a:cubicBezTo>
                  <a:cubicBezTo>
                    <a:pt x="2990" y="11143"/>
                    <a:pt x="2990" y="11143"/>
                    <a:pt x="2990" y="11143"/>
                  </a:cubicBezTo>
                  <a:cubicBezTo>
                    <a:pt x="2986" y="11091"/>
                    <a:pt x="2986" y="11091"/>
                    <a:pt x="2986" y="11091"/>
                  </a:cubicBezTo>
                  <a:cubicBezTo>
                    <a:pt x="2986" y="11082"/>
                    <a:pt x="2986" y="11082"/>
                    <a:pt x="2986" y="11082"/>
                  </a:cubicBezTo>
                  <a:cubicBezTo>
                    <a:pt x="2977" y="11079"/>
                    <a:pt x="2977" y="11079"/>
                    <a:pt x="2977" y="11079"/>
                  </a:cubicBezTo>
                  <a:cubicBezTo>
                    <a:pt x="2820" y="11021"/>
                    <a:pt x="2820" y="11021"/>
                    <a:pt x="2820" y="11021"/>
                  </a:cubicBezTo>
                  <a:lnTo>
                    <a:pt x="2888" y="10932"/>
                  </a:lnTo>
                  <a:close/>
                  <a:moveTo>
                    <a:pt x="2647" y="12029"/>
                  </a:moveTo>
                  <a:cubicBezTo>
                    <a:pt x="2874" y="12041"/>
                    <a:pt x="2874" y="12041"/>
                    <a:pt x="2874" y="12041"/>
                  </a:cubicBezTo>
                  <a:cubicBezTo>
                    <a:pt x="2955" y="11795"/>
                    <a:pt x="2955" y="11795"/>
                    <a:pt x="2955" y="11795"/>
                  </a:cubicBezTo>
                  <a:cubicBezTo>
                    <a:pt x="2830" y="11803"/>
                    <a:pt x="2830" y="11803"/>
                    <a:pt x="2830" y="11803"/>
                  </a:cubicBezTo>
                  <a:cubicBezTo>
                    <a:pt x="2795" y="11909"/>
                    <a:pt x="2795" y="11909"/>
                    <a:pt x="2795" y="11909"/>
                  </a:cubicBezTo>
                  <a:cubicBezTo>
                    <a:pt x="2690" y="11909"/>
                    <a:pt x="2690" y="11909"/>
                    <a:pt x="2690" y="11909"/>
                  </a:cubicBezTo>
                  <a:lnTo>
                    <a:pt x="2647" y="12029"/>
                  </a:lnTo>
                  <a:close/>
                  <a:moveTo>
                    <a:pt x="2795" y="11923"/>
                  </a:moveTo>
                  <a:cubicBezTo>
                    <a:pt x="2805" y="11923"/>
                    <a:pt x="2805" y="11923"/>
                    <a:pt x="2805" y="11923"/>
                  </a:cubicBezTo>
                  <a:cubicBezTo>
                    <a:pt x="2808" y="11913"/>
                    <a:pt x="2808" y="11913"/>
                    <a:pt x="2808" y="11913"/>
                  </a:cubicBezTo>
                  <a:cubicBezTo>
                    <a:pt x="2840" y="11817"/>
                    <a:pt x="2840" y="11817"/>
                    <a:pt x="2840" y="11817"/>
                  </a:cubicBezTo>
                  <a:cubicBezTo>
                    <a:pt x="2935" y="11810"/>
                    <a:pt x="2935" y="11810"/>
                    <a:pt x="2935" y="11810"/>
                  </a:cubicBezTo>
                  <a:cubicBezTo>
                    <a:pt x="2864" y="12027"/>
                    <a:pt x="2864" y="12027"/>
                    <a:pt x="2864" y="12027"/>
                  </a:cubicBezTo>
                  <a:cubicBezTo>
                    <a:pt x="2666" y="12016"/>
                    <a:pt x="2666" y="12016"/>
                    <a:pt x="2666" y="12016"/>
                  </a:cubicBezTo>
                  <a:cubicBezTo>
                    <a:pt x="2699" y="11923"/>
                    <a:pt x="2699" y="11923"/>
                    <a:pt x="2699" y="11923"/>
                  </a:cubicBezTo>
                  <a:lnTo>
                    <a:pt x="2795" y="11923"/>
                  </a:lnTo>
                  <a:close/>
                  <a:moveTo>
                    <a:pt x="4125" y="12015"/>
                  </a:moveTo>
                  <a:cubicBezTo>
                    <a:pt x="4082" y="11943"/>
                    <a:pt x="4082" y="11943"/>
                    <a:pt x="4082" y="11943"/>
                  </a:cubicBezTo>
                  <a:cubicBezTo>
                    <a:pt x="3996" y="11994"/>
                    <a:pt x="3996" y="11994"/>
                    <a:pt x="3996" y="11994"/>
                  </a:cubicBezTo>
                  <a:cubicBezTo>
                    <a:pt x="4012" y="12021"/>
                    <a:pt x="4012" y="12021"/>
                    <a:pt x="4012" y="12021"/>
                  </a:cubicBezTo>
                  <a:cubicBezTo>
                    <a:pt x="3928" y="12074"/>
                    <a:pt x="3928" y="12074"/>
                    <a:pt x="3928" y="12074"/>
                  </a:cubicBezTo>
                  <a:cubicBezTo>
                    <a:pt x="3981" y="12163"/>
                    <a:pt x="3981" y="12163"/>
                    <a:pt x="3981" y="12163"/>
                  </a:cubicBezTo>
                  <a:cubicBezTo>
                    <a:pt x="4136" y="12068"/>
                    <a:pt x="4136" y="12068"/>
                    <a:pt x="4136" y="12068"/>
                  </a:cubicBezTo>
                  <a:cubicBezTo>
                    <a:pt x="4107" y="12026"/>
                    <a:pt x="4107" y="12026"/>
                    <a:pt x="4107" y="12026"/>
                  </a:cubicBezTo>
                  <a:lnTo>
                    <a:pt x="4125" y="12015"/>
                  </a:lnTo>
                  <a:close/>
                  <a:moveTo>
                    <a:pt x="4116" y="12064"/>
                  </a:moveTo>
                  <a:cubicBezTo>
                    <a:pt x="3986" y="12143"/>
                    <a:pt x="3986" y="12143"/>
                    <a:pt x="3986" y="12143"/>
                  </a:cubicBezTo>
                  <a:cubicBezTo>
                    <a:pt x="3947" y="12079"/>
                    <a:pt x="3947" y="12079"/>
                    <a:pt x="3947" y="12079"/>
                  </a:cubicBezTo>
                  <a:cubicBezTo>
                    <a:pt x="4020" y="12033"/>
                    <a:pt x="4020" y="12033"/>
                    <a:pt x="4020" y="12033"/>
                  </a:cubicBezTo>
                  <a:cubicBezTo>
                    <a:pt x="4032" y="12026"/>
                    <a:pt x="4032" y="12026"/>
                    <a:pt x="4032" y="12026"/>
                  </a:cubicBezTo>
                  <a:cubicBezTo>
                    <a:pt x="4024" y="12014"/>
                    <a:pt x="4024" y="12014"/>
                    <a:pt x="4024" y="12014"/>
                  </a:cubicBezTo>
                  <a:cubicBezTo>
                    <a:pt x="4015" y="11999"/>
                    <a:pt x="4015" y="11999"/>
                    <a:pt x="4015" y="11999"/>
                  </a:cubicBezTo>
                  <a:cubicBezTo>
                    <a:pt x="4077" y="11962"/>
                    <a:pt x="4077" y="11962"/>
                    <a:pt x="4077" y="11962"/>
                  </a:cubicBezTo>
                  <a:cubicBezTo>
                    <a:pt x="4106" y="12010"/>
                    <a:pt x="4106" y="12010"/>
                    <a:pt x="4106" y="12010"/>
                  </a:cubicBezTo>
                  <a:cubicBezTo>
                    <a:pt x="4100" y="12014"/>
                    <a:pt x="4100" y="12014"/>
                    <a:pt x="4100" y="12014"/>
                  </a:cubicBezTo>
                  <a:cubicBezTo>
                    <a:pt x="4087" y="12021"/>
                    <a:pt x="4087" y="12021"/>
                    <a:pt x="4087" y="12021"/>
                  </a:cubicBezTo>
                  <a:cubicBezTo>
                    <a:pt x="4095" y="12034"/>
                    <a:pt x="4095" y="12034"/>
                    <a:pt x="4095" y="12034"/>
                  </a:cubicBezTo>
                  <a:lnTo>
                    <a:pt x="4116" y="12064"/>
                  </a:lnTo>
                  <a:close/>
                  <a:moveTo>
                    <a:pt x="1160" y="12347"/>
                  </a:moveTo>
                  <a:cubicBezTo>
                    <a:pt x="1383" y="12127"/>
                    <a:pt x="1383" y="12127"/>
                    <a:pt x="1383" y="12127"/>
                  </a:cubicBezTo>
                  <a:cubicBezTo>
                    <a:pt x="1323" y="12002"/>
                    <a:pt x="1323" y="12002"/>
                    <a:pt x="1323" y="12002"/>
                  </a:cubicBezTo>
                  <a:cubicBezTo>
                    <a:pt x="1152" y="12022"/>
                    <a:pt x="1152" y="12022"/>
                    <a:pt x="1152" y="12022"/>
                  </a:cubicBezTo>
                  <a:cubicBezTo>
                    <a:pt x="1119" y="11987"/>
                    <a:pt x="1119" y="11987"/>
                    <a:pt x="1119" y="11987"/>
                  </a:cubicBezTo>
                  <a:cubicBezTo>
                    <a:pt x="1018" y="12002"/>
                    <a:pt x="1018" y="12002"/>
                    <a:pt x="1018" y="12002"/>
                  </a:cubicBezTo>
                  <a:cubicBezTo>
                    <a:pt x="1048" y="12049"/>
                    <a:pt x="1048" y="12049"/>
                    <a:pt x="1048" y="12049"/>
                  </a:cubicBezTo>
                  <a:cubicBezTo>
                    <a:pt x="983" y="12112"/>
                    <a:pt x="983" y="12112"/>
                    <a:pt x="983" y="12112"/>
                  </a:cubicBezTo>
                  <a:lnTo>
                    <a:pt x="1160" y="12347"/>
                  </a:lnTo>
                  <a:close/>
                  <a:moveTo>
                    <a:pt x="1060" y="12042"/>
                  </a:moveTo>
                  <a:cubicBezTo>
                    <a:pt x="1041" y="12012"/>
                    <a:pt x="1041" y="12012"/>
                    <a:pt x="1041" y="12012"/>
                  </a:cubicBezTo>
                  <a:cubicBezTo>
                    <a:pt x="1114" y="12001"/>
                    <a:pt x="1114" y="12001"/>
                    <a:pt x="1114" y="12001"/>
                  </a:cubicBezTo>
                  <a:cubicBezTo>
                    <a:pt x="1142" y="12031"/>
                    <a:pt x="1142" y="12031"/>
                    <a:pt x="1142" y="12031"/>
                  </a:cubicBezTo>
                  <a:cubicBezTo>
                    <a:pt x="1147" y="12037"/>
                    <a:pt x="1147" y="12037"/>
                    <a:pt x="1147" y="12037"/>
                  </a:cubicBezTo>
                  <a:cubicBezTo>
                    <a:pt x="1154" y="12036"/>
                    <a:pt x="1154" y="12036"/>
                    <a:pt x="1154" y="12036"/>
                  </a:cubicBezTo>
                  <a:cubicBezTo>
                    <a:pt x="1315" y="12017"/>
                    <a:pt x="1315" y="12017"/>
                    <a:pt x="1315" y="12017"/>
                  </a:cubicBezTo>
                  <a:cubicBezTo>
                    <a:pt x="1366" y="12124"/>
                    <a:pt x="1366" y="12124"/>
                    <a:pt x="1366" y="12124"/>
                  </a:cubicBezTo>
                  <a:cubicBezTo>
                    <a:pt x="1162" y="12326"/>
                    <a:pt x="1162" y="12326"/>
                    <a:pt x="1162" y="12326"/>
                  </a:cubicBezTo>
                  <a:cubicBezTo>
                    <a:pt x="1001" y="12114"/>
                    <a:pt x="1001" y="12114"/>
                    <a:pt x="1001" y="12114"/>
                  </a:cubicBezTo>
                  <a:cubicBezTo>
                    <a:pt x="1058" y="12059"/>
                    <a:pt x="1058" y="12059"/>
                    <a:pt x="1058" y="12059"/>
                  </a:cubicBezTo>
                  <a:cubicBezTo>
                    <a:pt x="1066" y="12052"/>
                    <a:pt x="1066" y="12052"/>
                    <a:pt x="1066" y="12052"/>
                  </a:cubicBezTo>
                  <a:lnTo>
                    <a:pt x="1060" y="12042"/>
                  </a:lnTo>
                  <a:close/>
                  <a:moveTo>
                    <a:pt x="2199" y="10813"/>
                  </a:moveTo>
                  <a:cubicBezTo>
                    <a:pt x="2196" y="10814"/>
                    <a:pt x="2196" y="10814"/>
                    <a:pt x="2196" y="10814"/>
                  </a:cubicBezTo>
                  <a:cubicBezTo>
                    <a:pt x="2193" y="10814"/>
                    <a:pt x="2193" y="10814"/>
                    <a:pt x="2193" y="10814"/>
                  </a:cubicBezTo>
                  <a:cubicBezTo>
                    <a:pt x="2044" y="10826"/>
                    <a:pt x="2044" y="10826"/>
                    <a:pt x="2044" y="10826"/>
                  </a:cubicBezTo>
                  <a:cubicBezTo>
                    <a:pt x="2095" y="10989"/>
                    <a:pt x="2095" y="10989"/>
                    <a:pt x="2095" y="10989"/>
                  </a:cubicBezTo>
                  <a:cubicBezTo>
                    <a:pt x="2202" y="10989"/>
                    <a:pt x="2202" y="10989"/>
                    <a:pt x="2202" y="10989"/>
                  </a:cubicBezTo>
                  <a:cubicBezTo>
                    <a:pt x="2202" y="10989"/>
                    <a:pt x="2202" y="10989"/>
                    <a:pt x="2202" y="10989"/>
                  </a:cubicBezTo>
                  <a:cubicBezTo>
                    <a:pt x="2210" y="10989"/>
                    <a:pt x="2210" y="10989"/>
                    <a:pt x="2210" y="10989"/>
                  </a:cubicBezTo>
                  <a:cubicBezTo>
                    <a:pt x="2210" y="10989"/>
                    <a:pt x="2210" y="10989"/>
                    <a:pt x="2210" y="10989"/>
                  </a:cubicBezTo>
                  <a:cubicBezTo>
                    <a:pt x="2391" y="10988"/>
                    <a:pt x="2391" y="10988"/>
                    <a:pt x="2391" y="10988"/>
                  </a:cubicBezTo>
                  <a:cubicBezTo>
                    <a:pt x="2478" y="10817"/>
                    <a:pt x="2478" y="10817"/>
                    <a:pt x="2478" y="10817"/>
                  </a:cubicBezTo>
                  <a:cubicBezTo>
                    <a:pt x="2311" y="10810"/>
                    <a:pt x="2311" y="10810"/>
                    <a:pt x="2311" y="10810"/>
                  </a:cubicBezTo>
                  <a:cubicBezTo>
                    <a:pt x="2309" y="10810"/>
                    <a:pt x="2309" y="10810"/>
                    <a:pt x="2309" y="10810"/>
                  </a:cubicBezTo>
                  <a:cubicBezTo>
                    <a:pt x="2309" y="10810"/>
                    <a:pt x="2309" y="10810"/>
                    <a:pt x="2309" y="10810"/>
                  </a:cubicBezTo>
                  <a:cubicBezTo>
                    <a:pt x="2309" y="10810"/>
                    <a:pt x="2309" y="10810"/>
                    <a:pt x="2309" y="10810"/>
                  </a:cubicBezTo>
                  <a:cubicBezTo>
                    <a:pt x="2199" y="10814"/>
                    <a:pt x="2199" y="10814"/>
                    <a:pt x="2199" y="10814"/>
                  </a:cubicBezTo>
                  <a:cubicBezTo>
                    <a:pt x="2199" y="10814"/>
                    <a:pt x="2199" y="10813"/>
                    <a:pt x="2199" y="10813"/>
                  </a:cubicBezTo>
                  <a:close/>
                  <a:moveTo>
                    <a:pt x="2105" y="10975"/>
                  </a:moveTo>
                  <a:cubicBezTo>
                    <a:pt x="2062" y="10839"/>
                    <a:pt x="2062" y="10839"/>
                    <a:pt x="2062" y="10839"/>
                  </a:cubicBezTo>
                  <a:cubicBezTo>
                    <a:pt x="2192" y="10828"/>
                    <a:pt x="2192" y="10828"/>
                    <a:pt x="2192" y="10828"/>
                  </a:cubicBezTo>
                  <a:cubicBezTo>
                    <a:pt x="2192" y="10835"/>
                    <a:pt x="2192" y="10839"/>
                    <a:pt x="2193" y="10843"/>
                  </a:cubicBezTo>
                  <a:cubicBezTo>
                    <a:pt x="2194" y="10860"/>
                    <a:pt x="2196" y="10881"/>
                    <a:pt x="2197" y="10903"/>
                  </a:cubicBezTo>
                  <a:cubicBezTo>
                    <a:pt x="2199" y="10931"/>
                    <a:pt x="2200" y="10959"/>
                    <a:pt x="2201" y="10975"/>
                  </a:cubicBezTo>
                  <a:lnTo>
                    <a:pt x="2105" y="10975"/>
                  </a:lnTo>
                  <a:close/>
                  <a:moveTo>
                    <a:pt x="2317" y="10824"/>
                  </a:moveTo>
                  <a:cubicBezTo>
                    <a:pt x="2456" y="10830"/>
                    <a:pt x="2456" y="10830"/>
                    <a:pt x="2456" y="10830"/>
                  </a:cubicBezTo>
                  <a:cubicBezTo>
                    <a:pt x="2383" y="10975"/>
                    <a:pt x="2383" y="10975"/>
                    <a:pt x="2383" y="10975"/>
                  </a:cubicBezTo>
                  <a:cubicBezTo>
                    <a:pt x="2308" y="10975"/>
                    <a:pt x="2308" y="10975"/>
                    <a:pt x="2308" y="10975"/>
                  </a:cubicBezTo>
                  <a:lnTo>
                    <a:pt x="2317" y="10824"/>
                  </a:lnTo>
                  <a:close/>
                  <a:moveTo>
                    <a:pt x="2308" y="10824"/>
                  </a:moveTo>
                  <a:cubicBezTo>
                    <a:pt x="2309" y="10824"/>
                    <a:pt x="2309" y="10824"/>
                    <a:pt x="2309" y="10824"/>
                  </a:cubicBezTo>
                  <a:cubicBezTo>
                    <a:pt x="2300" y="10975"/>
                    <a:pt x="2300" y="10975"/>
                    <a:pt x="2300" y="10975"/>
                  </a:cubicBezTo>
                  <a:cubicBezTo>
                    <a:pt x="2209" y="10975"/>
                    <a:pt x="2209" y="10975"/>
                    <a:pt x="2209" y="10975"/>
                  </a:cubicBezTo>
                  <a:cubicBezTo>
                    <a:pt x="2208" y="10945"/>
                    <a:pt x="2204" y="10872"/>
                    <a:pt x="2200" y="10828"/>
                  </a:cubicBezTo>
                  <a:lnTo>
                    <a:pt x="2308" y="10824"/>
                  </a:lnTo>
                  <a:close/>
                  <a:moveTo>
                    <a:pt x="1801" y="13466"/>
                  </a:moveTo>
                  <a:cubicBezTo>
                    <a:pt x="1694" y="13425"/>
                    <a:pt x="1694" y="13425"/>
                    <a:pt x="1694" y="13425"/>
                  </a:cubicBezTo>
                  <a:cubicBezTo>
                    <a:pt x="1581" y="13598"/>
                    <a:pt x="1581" y="13598"/>
                    <a:pt x="1581" y="13598"/>
                  </a:cubicBezTo>
                  <a:cubicBezTo>
                    <a:pt x="1696" y="13637"/>
                    <a:pt x="1696" y="13637"/>
                    <a:pt x="1696" y="13637"/>
                  </a:cubicBezTo>
                  <a:lnTo>
                    <a:pt x="1801" y="13466"/>
                  </a:lnTo>
                  <a:close/>
                  <a:moveTo>
                    <a:pt x="1603" y="13590"/>
                  </a:moveTo>
                  <a:cubicBezTo>
                    <a:pt x="1700" y="13442"/>
                    <a:pt x="1700" y="13442"/>
                    <a:pt x="1700" y="13442"/>
                  </a:cubicBezTo>
                  <a:cubicBezTo>
                    <a:pt x="1780" y="13473"/>
                    <a:pt x="1780" y="13473"/>
                    <a:pt x="1780" y="13473"/>
                  </a:cubicBezTo>
                  <a:cubicBezTo>
                    <a:pt x="1690" y="13620"/>
                    <a:pt x="1690" y="13620"/>
                    <a:pt x="1690" y="13620"/>
                  </a:cubicBezTo>
                  <a:lnTo>
                    <a:pt x="1603" y="13590"/>
                  </a:lnTo>
                  <a:close/>
                  <a:moveTo>
                    <a:pt x="5129" y="13802"/>
                  </a:moveTo>
                  <a:cubicBezTo>
                    <a:pt x="5150" y="13704"/>
                    <a:pt x="5150" y="13704"/>
                    <a:pt x="5150" y="13704"/>
                  </a:cubicBezTo>
                  <a:cubicBezTo>
                    <a:pt x="5201" y="13708"/>
                    <a:pt x="5201" y="13708"/>
                    <a:pt x="5201" y="13708"/>
                  </a:cubicBezTo>
                  <a:cubicBezTo>
                    <a:pt x="5243" y="13629"/>
                    <a:pt x="5243" y="13629"/>
                    <a:pt x="5243" y="13629"/>
                  </a:cubicBezTo>
                  <a:cubicBezTo>
                    <a:pt x="5174" y="13599"/>
                    <a:pt x="5174" y="13599"/>
                    <a:pt x="5174" y="13599"/>
                  </a:cubicBezTo>
                  <a:cubicBezTo>
                    <a:pt x="5180" y="13532"/>
                    <a:pt x="5180" y="13532"/>
                    <a:pt x="5180" y="13532"/>
                  </a:cubicBezTo>
                  <a:cubicBezTo>
                    <a:pt x="5252" y="13474"/>
                    <a:pt x="5252" y="13474"/>
                    <a:pt x="5252" y="13474"/>
                  </a:cubicBezTo>
                  <a:cubicBezTo>
                    <a:pt x="5288" y="13577"/>
                    <a:pt x="5288" y="13577"/>
                    <a:pt x="5288" y="13577"/>
                  </a:cubicBezTo>
                  <a:cubicBezTo>
                    <a:pt x="5328" y="13405"/>
                    <a:pt x="5328" y="13405"/>
                    <a:pt x="5328" y="13405"/>
                  </a:cubicBezTo>
                  <a:cubicBezTo>
                    <a:pt x="5263" y="13386"/>
                    <a:pt x="5263" y="13386"/>
                    <a:pt x="5263" y="13386"/>
                  </a:cubicBezTo>
                  <a:cubicBezTo>
                    <a:pt x="5071" y="13476"/>
                    <a:pt x="5071" y="13476"/>
                    <a:pt x="5071" y="13476"/>
                  </a:cubicBezTo>
                  <a:cubicBezTo>
                    <a:pt x="5009" y="13834"/>
                    <a:pt x="5009" y="13834"/>
                    <a:pt x="5009" y="13834"/>
                  </a:cubicBezTo>
                  <a:cubicBezTo>
                    <a:pt x="5012" y="13894"/>
                    <a:pt x="5012" y="13894"/>
                    <a:pt x="5012" y="13894"/>
                  </a:cubicBezTo>
                  <a:lnTo>
                    <a:pt x="5129" y="13802"/>
                  </a:lnTo>
                  <a:close/>
                  <a:moveTo>
                    <a:pt x="5083" y="13485"/>
                  </a:moveTo>
                  <a:cubicBezTo>
                    <a:pt x="5264" y="13401"/>
                    <a:pt x="5264" y="13401"/>
                    <a:pt x="5264" y="13401"/>
                  </a:cubicBezTo>
                  <a:cubicBezTo>
                    <a:pt x="5311" y="13415"/>
                    <a:pt x="5311" y="13415"/>
                    <a:pt x="5311" y="13415"/>
                  </a:cubicBezTo>
                  <a:cubicBezTo>
                    <a:pt x="5285" y="13527"/>
                    <a:pt x="5285" y="13527"/>
                    <a:pt x="5285" y="13527"/>
                  </a:cubicBezTo>
                  <a:cubicBezTo>
                    <a:pt x="5265" y="13469"/>
                    <a:pt x="5265" y="13469"/>
                    <a:pt x="5265" y="13469"/>
                  </a:cubicBezTo>
                  <a:cubicBezTo>
                    <a:pt x="5258" y="13450"/>
                    <a:pt x="5258" y="13450"/>
                    <a:pt x="5258" y="13450"/>
                  </a:cubicBezTo>
                  <a:cubicBezTo>
                    <a:pt x="5243" y="13463"/>
                    <a:pt x="5243" y="13463"/>
                    <a:pt x="5243" y="13463"/>
                  </a:cubicBezTo>
                  <a:cubicBezTo>
                    <a:pt x="5172" y="13521"/>
                    <a:pt x="5172" y="13521"/>
                    <a:pt x="5172" y="13521"/>
                  </a:cubicBezTo>
                  <a:cubicBezTo>
                    <a:pt x="5167" y="13524"/>
                    <a:pt x="5167" y="13524"/>
                    <a:pt x="5167" y="13524"/>
                  </a:cubicBezTo>
                  <a:cubicBezTo>
                    <a:pt x="5166" y="13530"/>
                    <a:pt x="5166" y="13530"/>
                    <a:pt x="5166" y="13530"/>
                  </a:cubicBezTo>
                  <a:cubicBezTo>
                    <a:pt x="5160" y="13598"/>
                    <a:pt x="5160" y="13598"/>
                    <a:pt x="5160" y="13598"/>
                  </a:cubicBezTo>
                  <a:cubicBezTo>
                    <a:pt x="5160" y="13608"/>
                    <a:pt x="5160" y="13608"/>
                    <a:pt x="5160" y="13608"/>
                  </a:cubicBezTo>
                  <a:cubicBezTo>
                    <a:pt x="5169" y="13612"/>
                    <a:pt x="5169" y="13612"/>
                    <a:pt x="5169" y="13612"/>
                  </a:cubicBezTo>
                  <a:cubicBezTo>
                    <a:pt x="5223" y="13636"/>
                    <a:pt x="5223" y="13636"/>
                    <a:pt x="5223" y="13636"/>
                  </a:cubicBezTo>
                  <a:cubicBezTo>
                    <a:pt x="5193" y="13693"/>
                    <a:pt x="5193" y="13693"/>
                    <a:pt x="5193" y="13693"/>
                  </a:cubicBezTo>
                  <a:cubicBezTo>
                    <a:pt x="5151" y="13690"/>
                    <a:pt x="5151" y="13690"/>
                    <a:pt x="5151" y="13690"/>
                  </a:cubicBezTo>
                  <a:cubicBezTo>
                    <a:pt x="5138" y="13689"/>
                    <a:pt x="5138" y="13689"/>
                    <a:pt x="5138" y="13689"/>
                  </a:cubicBezTo>
                  <a:cubicBezTo>
                    <a:pt x="5136" y="13701"/>
                    <a:pt x="5136" y="13701"/>
                    <a:pt x="5136" y="13701"/>
                  </a:cubicBezTo>
                  <a:cubicBezTo>
                    <a:pt x="5117" y="13794"/>
                    <a:pt x="5117" y="13794"/>
                    <a:pt x="5117" y="13794"/>
                  </a:cubicBezTo>
                  <a:cubicBezTo>
                    <a:pt x="5025" y="13866"/>
                    <a:pt x="5025" y="13866"/>
                    <a:pt x="5025" y="13866"/>
                  </a:cubicBezTo>
                  <a:cubicBezTo>
                    <a:pt x="5023" y="13834"/>
                    <a:pt x="5023" y="13834"/>
                    <a:pt x="5023" y="13834"/>
                  </a:cubicBezTo>
                  <a:lnTo>
                    <a:pt x="5083" y="13485"/>
                  </a:lnTo>
                  <a:close/>
                  <a:moveTo>
                    <a:pt x="4169" y="13918"/>
                  </a:moveTo>
                  <a:cubicBezTo>
                    <a:pt x="4363" y="13919"/>
                    <a:pt x="4363" y="13919"/>
                    <a:pt x="4363" y="13919"/>
                  </a:cubicBezTo>
                  <a:cubicBezTo>
                    <a:pt x="4365" y="13839"/>
                    <a:pt x="4365" y="13839"/>
                    <a:pt x="4365" y="13839"/>
                  </a:cubicBezTo>
                  <a:cubicBezTo>
                    <a:pt x="4365" y="13839"/>
                    <a:pt x="4410" y="13794"/>
                    <a:pt x="4419" y="13740"/>
                  </a:cubicBezTo>
                  <a:cubicBezTo>
                    <a:pt x="4427" y="13686"/>
                    <a:pt x="4474" y="13344"/>
                    <a:pt x="4474" y="13344"/>
                  </a:cubicBezTo>
                  <a:cubicBezTo>
                    <a:pt x="4474" y="13344"/>
                    <a:pt x="4483" y="13287"/>
                    <a:pt x="4452" y="13245"/>
                  </a:cubicBezTo>
                  <a:cubicBezTo>
                    <a:pt x="4452" y="13243"/>
                    <a:pt x="4472" y="13221"/>
                    <a:pt x="4472" y="13221"/>
                  </a:cubicBezTo>
                  <a:cubicBezTo>
                    <a:pt x="4361" y="13095"/>
                    <a:pt x="4361" y="13095"/>
                    <a:pt x="4361" y="13095"/>
                  </a:cubicBezTo>
                  <a:cubicBezTo>
                    <a:pt x="4302" y="13145"/>
                    <a:pt x="4302" y="13145"/>
                    <a:pt x="4302" y="13145"/>
                  </a:cubicBezTo>
                  <a:cubicBezTo>
                    <a:pt x="4302" y="13145"/>
                    <a:pt x="4227" y="13144"/>
                    <a:pt x="4188" y="13170"/>
                  </a:cubicBezTo>
                  <a:cubicBezTo>
                    <a:pt x="4171" y="13181"/>
                    <a:pt x="4150" y="13198"/>
                    <a:pt x="4136" y="13215"/>
                  </a:cubicBezTo>
                  <a:cubicBezTo>
                    <a:pt x="4118" y="13237"/>
                    <a:pt x="4109" y="13258"/>
                    <a:pt x="4109" y="13258"/>
                  </a:cubicBezTo>
                  <a:cubicBezTo>
                    <a:pt x="4022" y="13259"/>
                    <a:pt x="4022" y="13259"/>
                    <a:pt x="4022" y="13259"/>
                  </a:cubicBezTo>
                  <a:cubicBezTo>
                    <a:pt x="4023" y="13713"/>
                    <a:pt x="4023" y="13713"/>
                    <a:pt x="4023" y="13713"/>
                  </a:cubicBezTo>
                  <a:cubicBezTo>
                    <a:pt x="4042" y="13715"/>
                    <a:pt x="4042" y="13715"/>
                    <a:pt x="4042" y="13715"/>
                  </a:cubicBezTo>
                  <a:cubicBezTo>
                    <a:pt x="4042" y="13715"/>
                    <a:pt x="4045" y="13777"/>
                    <a:pt x="4082" y="13819"/>
                  </a:cubicBezTo>
                  <a:cubicBezTo>
                    <a:pt x="4120" y="13860"/>
                    <a:pt x="4169" y="13878"/>
                    <a:pt x="4169" y="13878"/>
                  </a:cubicBezTo>
                  <a:lnTo>
                    <a:pt x="4169" y="13918"/>
                  </a:lnTo>
                  <a:close/>
                  <a:moveTo>
                    <a:pt x="4092" y="13809"/>
                  </a:moveTo>
                  <a:cubicBezTo>
                    <a:pt x="4059" y="13772"/>
                    <a:pt x="4056" y="13715"/>
                    <a:pt x="4056" y="13714"/>
                  </a:cubicBezTo>
                  <a:cubicBezTo>
                    <a:pt x="4056" y="13702"/>
                    <a:pt x="4056" y="13702"/>
                    <a:pt x="4056" y="13702"/>
                  </a:cubicBezTo>
                  <a:cubicBezTo>
                    <a:pt x="4043" y="13701"/>
                    <a:pt x="4043" y="13701"/>
                    <a:pt x="4043" y="13701"/>
                  </a:cubicBezTo>
                  <a:cubicBezTo>
                    <a:pt x="4037" y="13700"/>
                    <a:pt x="4037" y="13700"/>
                    <a:pt x="4037" y="13700"/>
                  </a:cubicBezTo>
                  <a:cubicBezTo>
                    <a:pt x="4036" y="13273"/>
                    <a:pt x="4036" y="13273"/>
                    <a:pt x="4036" y="13273"/>
                  </a:cubicBezTo>
                  <a:cubicBezTo>
                    <a:pt x="4109" y="13272"/>
                    <a:pt x="4109" y="13272"/>
                    <a:pt x="4109" y="13272"/>
                  </a:cubicBezTo>
                  <a:cubicBezTo>
                    <a:pt x="4119" y="13272"/>
                    <a:pt x="4119" y="13272"/>
                    <a:pt x="4119" y="13272"/>
                  </a:cubicBezTo>
                  <a:cubicBezTo>
                    <a:pt x="4122" y="13263"/>
                    <a:pt x="4122" y="13263"/>
                    <a:pt x="4122" y="13263"/>
                  </a:cubicBezTo>
                  <a:cubicBezTo>
                    <a:pt x="4122" y="13263"/>
                    <a:pt x="4130" y="13244"/>
                    <a:pt x="4147" y="13223"/>
                  </a:cubicBezTo>
                  <a:cubicBezTo>
                    <a:pt x="4162" y="13205"/>
                    <a:pt x="4186" y="13188"/>
                    <a:pt x="4196" y="13182"/>
                  </a:cubicBezTo>
                  <a:cubicBezTo>
                    <a:pt x="4223" y="13163"/>
                    <a:pt x="4275" y="13159"/>
                    <a:pt x="4302" y="13159"/>
                  </a:cubicBezTo>
                  <a:cubicBezTo>
                    <a:pt x="4307" y="13159"/>
                    <a:pt x="4307" y="13159"/>
                    <a:pt x="4307" y="13159"/>
                  </a:cubicBezTo>
                  <a:cubicBezTo>
                    <a:pt x="4311" y="13155"/>
                    <a:pt x="4311" y="13155"/>
                    <a:pt x="4311" y="13155"/>
                  </a:cubicBezTo>
                  <a:cubicBezTo>
                    <a:pt x="4359" y="13115"/>
                    <a:pt x="4359" y="13115"/>
                    <a:pt x="4359" y="13115"/>
                  </a:cubicBezTo>
                  <a:cubicBezTo>
                    <a:pt x="4454" y="13221"/>
                    <a:pt x="4454" y="13221"/>
                    <a:pt x="4454" y="13221"/>
                  </a:cubicBezTo>
                  <a:cubicBezTo>
                    <a:pt x="4439" y="13238"/>
                    <a:pt x="4439" y="13240"/>
                    <a:pt x="4439" y="13245"/>
                  </a:cubicBezTo>
                  <a:cubicBezTo>
                    <a:pt x="4439" y="13249"/>
                    <a:pt x="4439" y="13249"/>
                    <a:pt x="4439" y="13249"/>
                  </a:cubicBezTo>
                  <a:cubicBezTo>
                    <a:pt x="4441" y="13253"/>
                    <a:pt x="4441" y="13253"/>
                    <a:pt x="4441" y="13253"/>
                  </a:cubicBezTo>
                  <a:cubicBezTo>
                    <a:pt x="4467" y="13290"/>
                    <a:pt x="4461" y="13341"/>
                    <a:pt x="4460" y="13342"/>
                  </a:cubicBezTo>
                  <a:cubicBezTo>
                    <a:pt x="4460" y="13345"/>
                    <a:pt x="4413" y="13685"/>
                    <a:pt x="4405" y="13738"/>
                  </a:cubicBezTo>
                  <a:cubicBezTo>
                    <a:pt x="4397" y="13787"/>
                    <a:pt x="4355" y="13828"/>
                    <a:pt x="4355" y="13829"/>
                  </a:cubicBezTo>
                  <a:cubicBezTo>
                    <a:pt x="4351" y="13833"/>
                    <a:pt x="4351" y="13833"/>
                    <a:pt x="4351" y="13833"/>
                  </a:cubicBezTo>
                  <a:cubicBezTo>
                    <a:pt x="4351" y="13839"/>
                    <a:pt x="4351" y="13839"/>
                    <a:pt x="4351" y="13839"/>
                  </a:cubicBezTo>
                  <a:cubicBezTo>
                    <a:pt x="4349" y="13905"/>
                    <a:pt x="4349" y="13905"/>
                    <a:pt x="4349" y="13905"/>
                  </a:cubicBezTo>
                  <a:cubicBezTo>
                    <a:pt x="4183" y="13905"/>
                    <a:pt x="4183" y="13905"/>
                    <a:pt x="4183" y="13905"/>
                  </a:cubicBezTo>
                  <a:cubicBezTo>
                    <a:pt x="4183" y="13878"/>
                    <a:pt x="4183" y="13878"/>
                    <a:pt x="4183" y="13878"/>
                  </a:cubicBezTo>
                  <a:cubicBezTo>
                    <a:pt x="4183" y="13868"/>
                    <a:pt x="4183" y="13868"/>
                    <a:pt x="4183" y="13868"/>
                  </a:cubicBezTo>
                  <a:cubicBezTo>
                    <a:pt x="4174" y="13865"/>
                    <a:pt x="4174" y="13865"/>
                    <a:pt x="4174" y="13865"/>
                  </a:cubicBezTo>
                  <a:cubicBezTo>
                    <a:pt x="4174" y="13865"/>
                    <a:pt x="4127" y="13847"/>
                    <a:pt x="4092" y="13809"/>
                  </a:cubicBezTo>
                  <a:close/>
                  <a:moveTo>
                    <a:pt x="654" y="14906"/>
                  </a:moveTo>
                  <a:cubicBezTo>
                    <a:pt x="884" y="15062"/>
                    <a:pt x="884" y="15062"/>
                    <a:pt x="884" y="15062"/>
                  </a:cubicBezTo>
                  <a:cubicBezTo>
                    <a:pt x="895" y="14909"/>
                    <a:pt x="895" y="14909"/>
                    <a:pt x="895" y="14909"/>
                  </a:cubicBezTo>
                  <a:cubicBezTo>
                    <a:pt x="993" y="14816"/>
                    <a:pt x="993" y="14816"/>
                    <a:pt x="993" y="14816"/>
                  </a:cubicBezTo>
                  <a:cubicBezTo>
                    <a:pt x="746" y="14636"/>
                    <a:pt x="746" y="14636"/>
                    <a:pt x="746" y="14636"/>
                  </a:cubicBezTo>
                  <a:cubicBezTo>
                    <a:pt x="746" y="14636"/>
                    <a:pt x="737" y="14725"/>
                    <a:pt x="713" y="14785"/>
                  </a:cubicBezTo>
                  <a:cubicBezTo>
                    <a:pt x="690" y="14844"/>
                    <a:pt x="654" y="14906"/>
                    <a:pt x="654" y="14906"/>
                  </a:cubicBezTo>
                  <a:close/>
                  <a:moveTo>
                    <a:pt x="757" y="14661"/>
                  </a:moveTo>
                  <a:cubicBezTo>
                    <a:pt x="971" y="14818"/>
                    <a:pt x="971" y="14818"/>
                    <a:pt x="971" y="14818"/>
                  </a:cubicBezTo>
                  <a:cubicBezTo>
                    <a:pt x="885" y="14899"/>
                    <a:pt x="885" y="14899"/>
                    <a:pt x="885" y="14899"/>
                  </a:cubicBezTo>
                  <a:cubicBezTo>
                    <a:pt x="881" y="14902"/>
                    <a:pt x="881" y="14902"/>
                    <a:pt x="881" y="14902"/>
                  </a:cubicBezTo>
                  <a:cubicBezTo>
                    <a:pt x="881" y="14908"/>
                    <a:pt x="881" y="14908"/>
                    <a:pt x="881" y="14908"/>
                  </a:cubicBezTo>
                  <a:cubicBezTo>
                    <a:pt x="872" y="15037"/>
                    <a:pt x="872" y="15037"/>
                    <a:pt x="872" y="15037"/>
                  </a:cubicBezTo>
                  <a:cubicBezTo>
                    <a:pt x="672" y="14901"/>
                    <a:pt x="672" y="14901"/>
                    <a:pt x="672" y="14901"/>
                  </a:cubicBezTo>
                  <a:cubicBezTo>
                    <a:pt x="684" y="14881"/>
                    <a:pt x="708" y="14835"/>
                    <a:pt x="726" y="14790"/>
                  </a:cubicBezTo>
                  <a:cubicBezTo>
                    <a:pt x="743" y="14748"/>
                    <a:pt x="752" y="14692"/>
                    <a:pt x="757" y="14661"/>
                  </a:cubicBezTo>
                  <a:close/>
                  <a:moveTo>
                    <a:pt x="1187" y="13668"/>
                  </a:moveTo>
                  <a:cubicBezTo>
                    <a:pt x="1069" y="13845"/>
                    <a:pt x="1069" y="13845"/>
                    <a:pt x="1069" y="13845"/>
                  </a:cubicBezTo>
                  <a:cubicBezTo>
                    <a:pt x="1021" y="13812"/>
                    <a:pt x="1021" y="13812"/>
                    <a:pt x="1021" y="13812"/>
                  </a:cubicBezTo>
                  <a:cubicBezTo>
                    <a:pt x="1135" y="13639"/>
                    <a:pt x="1135" y="13639"/>
                    <a:pt x="1135" y="13639"/>
                  </a:cubicBezTo>
                  <a:cubicBezTo>
                    <a:pt x="1252" y="13620"/>
                    <a:pt x="1252" y="13620"/>
                    <a:pt x="1252" y="13620"/>
                  </a:cubicBezTo>
                  <a:cubicBezTo>
                    <a:pt x="1332" y="13665"/>
                    <a:pt x="1332" y="13665"/>
                    <a:pt x="1332" y="13665"/>
                  </a:cubicBezTo>
                  <a:cubicBezTo>
                    <a:pt x="1399" y="13597"/>
                    <a:pt x="1399" y="13597"/>
                    <a:pt x="1399" y="13597"/>
                  </a:cubicBezTo>
                  <a:cubicBezTo>
                    <a:pt x="1178" y="13414"/>
                    <a:pt x="1178" y="13414"/>
                    <a:pt x="1178" y="13414"/>
                  </a:cubicBezTo>
                  <a:cubicBezTo>
                    <a:pt x="1122" y="13536"/>
                    <a:pt x="1122" y="13536"/>
                    <a:pt x="1122" y="13536"/>
                  </a:cubicBezTo>
                  <a:cubicBezTo>
                    <a:pt x="1060" y="13575"/>
                    <a:pt x="1060" y="13575"/>
                    <a:pt x="1060" y="13575"/>
                  </a:cubicBezTo>
                  <a:cubicBezTo>
                    <a:pt x="885" y="13842"/>
                    <a:pt x="885" y="13842"/>
                    <a:pt x="885" y="13842"/>
                  </a:cubicBezTo>
                  <a:cubicBezTo>
                    <a:pt x="1112" y="13983"/>
                    <a:pt x="1112" y="13983"/>
                    <a:pt x="1112" y="13983"/>
                  </a:cubicBezTo>
                  <a:cubicBezTo>
                    <a:pt x="1283" y="13729"/>
                    <a:pt x="1283" y="13729"/>
                    <a:pt x="1283" y="13729"/>
                  </a:cubicBezTo>
                  <a:lnTo>
                    <a:pt x="1187" y="13668"/>
                  </a:lnTo>
                  <a:close/>
                  <a:moveTo>
                    <a:pt x="1108" y="13964"/>
                  </a:moveTo>
                  <a:cubicBezTo>
                    <a:pt x="905" y="13838"/>
                    <a:pt x="905" y="13838"/>
                    <a:pt x="905" y="13838"/>
                  </a:cubicBezTo>
                  <a:cubicBezTo>
                    <a:pt x="1070" y="13586"/>
                    <a:pt x="1070" y="13586"/>
                    <a:pt x="1070" y="13586"/>
                  </a:cubicBezTo>
                  <a:cubicBezTo>
                    <a:pt x="1130" y="13548"/>
                    <a:pt x="1130" y="13548"/>
                    <a:pt x="1130" y="13548"/>
                  </a:cubicBezTo>
                  <a:cubicBezTo>
                    <a:pt x="1133" y="13546"/>
                    <a:pt x="1133" y="13546"/>
                    <a:pt x="1133" y="13546"/>
                  </a:cubicBezTo>
                  <a:cubicBezTo>
                    <a:pt x="1135" y="13542"/>
                    <a:pt x="1135" y="13542"/>
                    <a:pt x="1135" y="13542"/>
                  </a:cubicBezTo>
                  <a:cubicBezTo>
                    <a:pt x="1183" y="13437"/>
                    <a:pt x="1183" y="13437"/>
                    <a:pt x="1183" y="13437"/>
                  </a:cubicBezTo>
                  <a:cubicBezTo>
                    <a:pt x="1378" y="13598"/>
                    <a:pt x="1378" y="13598"/>
                    <a:pt x="1378" y="13598"/>
                  </a:cubicBezTo>
                  <a:cubicBezTo>
                    <a:pt x="1330" y="13647"/>
                    <a:pt x="1330" y="13647"/>
                    <a:pt x="1330" y="13647"/>
                  </a:cubicBezTo>
                  <a:cubicBezTo>
                    <a:pt x="1259" y="13608"/>
                    <a:pt x="1259" y="13608"/>
                    <a:pt x="1259" y="13608"/>
                  </a:cubicBezTo>
                  <a:cubicBezTo>
                    <a:pt x="1255" y="13606"/>
                    <a:pt x="1255" y="13606"/>
                    <a:pt x="1255" y="13606"/>
                  </a:cubicBezTo>
                  <a:cubicBezTo>
                    <a:pt x="1250" y="13607"/>
                    <a:pt x="1250" y="13607"/>
                    <a:pt x="1250" y="13607"/>
                  </a:cubicBezTo>
                  <a:cubicBezTo>
                    <a:pt x="1133" y="13625"/>
                    <a:pt x="1133" y="13625"/>
                    <a:pt x="1133" y="13625"/>
                  </a:cubicBezTo>
                  <a:cubicBezTo>
                    <a:pt x="1127" y="13626"/>
                    <a:pt x="1127" y="13626"/>
                    <a:pt x="1127" y="13626"/>
                  </a:cubicBezTo>
                  <a:cubicBezTo>
                    <a:pt x="1124" y="13631"/>
                    <a:pt x="1124" y="13631"/>
                    <a:pt x="1124" y="13631"/>
                  </a:cubicBezTo>
                  <a:cubicBezTo>
                    <a:pt x="1009" y="13804"/>
                    <a:pt x="1009" y="13804"/>
                    <a:pt x="1009" y="13804"/>
                  </a:cubicBezTo>
                  <a:cubicBezTo>
                    <a:pt x="1001" y="13816"/>
                    <a:pt x="1001" y="13816"/>
                    <a:pt x="1001" y="13816"/>
                  </a:cubicBezTo>
                  <a:cubicBezTo>
                    <a:pt x="1013" y="13824"/>
                    <a:pt x="1013" y="13824"/>
                    <a:pt x="1013" y="13824"/>
                  </a:cubicBezTo>
                  <a:cubicBezTo>
                    <a:pt x="1061" y="13856"/>
                    <a:pt x="1061" y="13856"/>
                    <a:pt x="1061" y="13856"/>
                  </a:cubicBezTo>
                  <a:cubicBezTo>
                    <a:pt x="1073" y="13864"/>
                    <a:pt x="1073" y="13864"/>
                    <a:pt x="1073" y="13864"/>
                  </a:cubicBezTo>
                  <a:cubicBezTo>
                    <a:pt x="1080" y="13853"/>
                    <a:pt x="1080" y="13853"/>
                    <a:pt x="1080" y="13853"/>
                  </a:cubicBezTo>
                  <a:cubicBezTo>
                    <a:pt x="1191" y="13687"/>
                    <a:pt x="1191" y="13687"/>
                    <a:pt x="1191" y="13687"/>
                  </a:cubicBezTo>
                  <a:cubicBezTo>
                    <a:pt x="1264" y="13733"/>
                    <a:pt x="1264" y="13733"/>
                    <a:pt x="1264" y="13733"/>
                  </a:cubicBezTo>
                  <a:lnTo>
                    <a:pt x="1108" y="13964"/>
                  </a:lnTo>
                  <a:close/>
                  <a:moveTo>
                    <a:pt x="910" y="14046"/>
                  </a:moveTo>
                  <a:cubicBezTo>
                    <a:pt x="832" y="13999"/>
                    <a:pt x="832" y="13999"/>
                    <a:pt x="832" y="13999"/>
                  </a:cubicBezTo>
                  <a:cubicBezTo>
                    <a:pt x="820" y="13992"/>
                    <a:pt x="820" y="13992"/>
                    <a:pt x="820" y="13992"/>
                  </a:cubicBezTo>
                  <a:cubicBezTo>
                    <a:pt x="813" y="14004"/>
                    <a:pt x="813" y="14004"/>
                    <a:pt x="813" y="14004"/>
                  </a:cubicBezTo>
                  <a:cubicBezTo>
                    <a:pt x="738" y="14130"/>
                    <a:pt x="738" y="14130"/>
                    <a:pt x="738" y="14130"/>
                  </a:cubicBezTo>
                  <a:cubicBezTo>
                    <a:pt x="728" y="14147"/>
                    <a:pt x="728" y="14147"/>
                    <a:pt x="728" y="14147"/>
                  </a:cubicBezTo>
                  <a:cubicBezTo>
                    <a:pt x="747" y="14151"/>
                    <a:pt x="747" y="14151"/>
                    <a:pt x="747" y="14151"/>
                  </a:cubicBezTo>
                  <a:cubicBezTo>
                    <a:pt x="774" y="14156"/>
                    <a:pt x="774" y="14156"/>
                    <a:pt x="774" y="14156"/>
                  </a:cubicBezTo>
                  <a:cubicBezTo>
                    <a:pt x="780" y="14157"/>
                    <a:pt x="780" y="14157"/>
                    <a:pt x="780" y="14157"/>
                  </a:cubicBezTo>
                  <a:cubicBezTo>
                    <a:pt x="785" y="14154"/>
                    <a:pt x="785" y="14154"/>
                    <a:pt x="785" y="14154"/>
                  </a:cubicBezTo>
                  <a:cubicBezTo>
                    <a:pt x="911" y="14070"/>
                    <a:pt x="911" y="14070"/>
                    <a:pt x="911" y="14070"/>
                  </a:cubicBezTo>
                  <a:cubicBezTo>
                    <a:pt x="929" y="14058"/>
                    <a:pt x="929" y="14058"/>
                    <a:pt x="929" y="14058"/>
                  </a:cubicBezTo>
                  <a:lnTo>
                    <a:pt x="910" y="14046"/>
                  </a:lnTo>
                  <a:close/>
                  <a:moveTo>
                    <a:pt x="777" y="14142"/>
                  </a:moveTo>
                  <a:cubicBezTo>
                    <a:pt x="750" y="14137"/>
                    <a:pt x="750" y="14137"/>
                    <a:pt x="750" y="14137"/>
                  </a:cubicBezTo>
                  <a:cubicBezTo>
                    <a:pt x="825" y="14011"/>
                    <a:pt x="825" y="14011"/>
                    <a:pt x="825" y="14011"/>
                  </a:cubicBezTo>
                  <a:cubicBezTo>
                    <a:pt x="903" y="14058"/>
                    <a:pt x="903" y="14058"/>
                    <a:pt x="903" y="14058"/>
                  </a:cubicBezTo>
                  <a:lnTo>
                    <a:pt x="777" y="14142"/>
                  </a:lnTo>
                  <a:close/>
                  <a:moveTo>
                    <a:pt x="1036" y="14045"/>
                  </a:moveTo>
                  <a:cubicBezTo>
                    <a:pt x="799" y="13897"/>
                    <a:pt x="799" y="13897"/>
                    <a:pt x="799" y="13897"/>
                  </a:cubicBezTo>
                  <a:cubicBezTo>
                    <a:pt x="663" y="14145"/>
                    <a:pt x="663" y="14145"/>
                    <a:pt x="663" y="14145"/>
                  </a:cubicBezTo>
                  <a:cubicBezTo>
                    <a:pt x="831" y="14252"/>
                    <a:pt x="831" y="14252"/>
                    <a:pt x="831" y="14252"/>
                  </a:cubicBezTo>
                  <a:lnTo>
                    <a:pt x="1036" y="14045"/>
                  </a:lnTo>
                  <a:close/>
                  <a:moveTo>
                    <a:pt x="682" y="14140"/>
                  </a:moveTo>
                  <a:cubicBezTo>
                    <a:pt x="804" y="13917"/>
                    <a:pt x="804" y="13917"/>
                    <a:pt x="804" y="13917"/>
                  </a:cubicBezTo>
                  <a:cubicBezTo>
                    <a:pt x="1014" y="14047"/>
                    <a:pt x="1014" y="14047"/>
                    <a:pt x="1014" y="14047"/>
                  </a:cubicBezTo>
                  <a:cubicBezTo>
                    <a:pt x="829" y="14234"/>
                    <a:pt x="829" y="14234"/>
                    <a:pt x="829" y="14234"/>
                  </a:cubicBezTo>
                  <a:lnTo>
                    <a:pt x="682" y="14140"/>
                  </a:lnTo>
                  <a:close/>
                  <a:moveTo>
                    <a:pt x="4238" y="13828"/>
                  </a:moveTo>
                  <a:cubicBezTo>
                    <a:pt x="4318" y="13828"/>
                    <a:pt x="4356" y="13751"/>
                    <a:pt x="4365" y="13710"/>
                  </a:cubicBezTo>
                  <a:cubicBezTo>
                    <a:pt x="4414" y="13361"/>
                    <a:pt x="4414" y="13361"/>
                    <a:pt x="4414" y="13361"/>
                  </a:cubicBezTo>
                  <a:cubicBezTo>
                    <a:pt x="4414" y="13360"/>
                    <a:pt x="4414" y="13360"/>
                    <a:pt x="4414" y="13360"/>
                  </a:cubicBezTo>
                  <a:cubicBezTo>
                    <a:pt x="4414" y="13360"/>
                    <a:pt x="4414" y="13360"/>
                    <a:pt x="4414" y="13360"/>
                  </a:cubicBezTo>
                  <a:cubicBezTo>
                    <a:pt x="4414" y="13313"/>
                    <a:pt x="4391" y="13223"/>
                    <a:pt x="4299" y="13212"/>
                  </a:cubicBezTo>
                  <a:cubicBezTo>
                    <a:pt x="4294" y="13211"/>
                    <a:pt x="4288" y="13211"/>
                    <a:pt x="4283" y="13211"/>
                  </a:cubicBezTo>
                  <a:cubicBezTo>
                    <a:pt x="4211" y="13211"/>
                    <a:pt x="4166" y="13268"/>
                    <a:pt x="4155" y="13321"/>
                  </a:cubicBezTo>
                  <a:cubicBezTo>
                    <a:pt x="4144" y="13375"/>
                    <a:pt x="4107" y="13660"/>
                    <a:pt x="4105" y="13673"/>
                  </a:cubicBezTo>
                  <a:cubicBezTo>
                    <a:pt x="4102" y="13720"/>
                    <a:pt x="4122" y="13812"/>
                    <a:pt x="4217" y="13826"/>
                  </a:cubicBezTo>
                  <a:cubicBezTo>
                    <a:pt x="4224" y="13827"/>
                    <a:pt x="4231" y="13828"/>
                    <a:pt x="4238" y="13828"/>
                  </a:cubicBezTo>
                  <a:close/>
                  <a:moveTo>
                    <a:pt x="4119" y="13673"/>
                  </a:moveTo>
                  <a:cubicBezTo>
                    <a:pt x="4119" y="13673"/>
                    <a:pt x="4157" y="13378"/>
                    <a:pt x="4169" y="13324"/>
                  </a:cubicBezTo>
                  <a:cubicBezTo>
                    <a:pt x="4180" y="13270"/>
                    <a:pt x="4227" y="13217"/>
                    <a:pt x="4298" y="13226"/>
                  </a:cubicBezTo>
                  <a:cubicBezTo>
                    <a:pt x="4401" y="13238"/>
                    <a:pt x="4400" y="13359"/>
                    <a:pt x="4400" y="13359"/>
                  </a:cubicBezTo>
                  <a:cubicBezTo>
                    <a:pt x="4351" y="13708"/>
                    <a:pt x="4351" y="13708"/>
                    <a:pt x="4351" y="13708"/>
                  </a:cubicBezTo>
                  <a:cubicBezTo>
                    <a:pt x="4351" y="13708"/>
                    <a:pt x="4326" y="13828"/>
                    <a:pt x="4219" y="13812"/>
                  </a:cubicBezTo>
                  <a:cubicBezTo>
                    <a:pt x="4112" y="13797"/>
                    <a:pt x="4119" y="13673"/>
                    <a:pt x="4119" y="13673"/>
                  </a:cubicBezTo>
                  <a:close/>
                  <a:moveTo>
                    <a:pt x="1390" y="14153"/>
                  </a:moveTo>
                  <a:cubicBezTo>
                    <a:pt x="1384" y="14159"/>
                    <a:pt x="1384" y="14159"/>
                    <a:pt x="1384" y="14159"/>
                  </a:cubicBezTo>
                  <a:cubicBezTo>
                    <a:pt x="1387" y="14161"/>
                    <a:pt x="1387" y="14161"/>
                    <a:pt x="1387" y="14161"/>
                  </a:cubicBezTo>
                  <a:cubicBezTo>
                    <a:pt x="1337" y="14266"/>
                    <a:pt x="1337" y="14266"/>
                    <a:pt x="1337" y="14266"/>
                  </a:cubicBezTo>
                  <a:cubicBezTo>
                    <a:pt x="1336" y="14265"/>
                    <a:pt x="1336" y="14265"/>
                    <a:pt x="1336" y="14265"/>
                  </a:cubicBezTo>
                  <a:cubicBezTo>
                    <a:pt x="1330" y="14271"/>
                    <a:pt x="1330" y="14271"/>
                    <a:pt x="1330" y="14271"/>
                  </a:cubicBezTo>
                  <a:cubicBezTo>
                    <a:pt x="1333" y="14274"/>
                    <a:pt x="1333" y="14274"/>
                    <a:pt x="1333" y="14274"/>
                  </a:cubicBezTo>
                  <a:cubicBezTo>
                    <a:pt x="1283" y="14380"/>
                    <a:pt x="1283" y="14380"/>
                    <a:pt x="1283" y="14380"/>
                  </a:cubicBezTo>
                  <a:cubicBezTo>
                    <a:pt x="1281" y="14378"/>
                    <a:pt x="1281" y="14378"/>
                    <a:pt x="1281" y="14378"/>
                  </a:cubicBezTo>
                  <a:cubicBezTo>
                    <a:pt x="1276" y="14385"/>
                    <a:pt x="1276" y="14385"/>
                    <a:pt x="1276" y="14385"/>
                  </a:cubicBezTo>
                  <a:cubicBezTo>
                    <a:pt x="1279" y="14387"/>
                    <a:pt x="1279" y="14387"/>
                    <a:pt x="1279" y="14387"/>
                  </a:cubicBezTo>
                  <a:cubicBezTo>
                    <a:pt x="1224" y="14504"/>
                    <a:pt x="1224" y="14504"/>
                    <a:pt x="1224" y="14504"/>
                  </a:cubicBezTo>
                  <a:cubicBezTo>
                    <a:pt x="1222" y="14502"/>
                    <a:pt x="1222" y="14502"/>
                    <a:pt x="1222" y="14502"/>
                  </a:cubicBezTo>
                  <a:cubicBezTo>
                    <a:pt x="1216" y="14508"/>
                    <a:pt x="1216" y="14508"/>
                    <a:pt x="1216" y="14508"/>
                  </a:cubicBezTo>
                  <a:cubicBezTo>
                    <a:pt x="1220" y="14512"/>
                    <a:pt x="1220" y="14512"/>
                    <a:pt x="1220" y="14512"/>
                  </a:cubicBezTo>
                  <a:cubicBezTo>
                    <a:pt x="1166" y="14626"/>
                    <a:pt x="1166" y="14626"/>
                    <a:pt x="1166" y="14626"/>
                  </a:cubicBezTo>
                  <a:cubicBezTo>
                    <a:pt x="1164" y="14625"/>
                    <a:pt x="1164" y="14625"/>
                    <a:pt x="1164" y="14625"/>
                  </a:cubicBezTo>
                  <a:cubicBezTo>
                    <a:pt x="1159" y="14631"/>
                    <a:pt x="1159" y="14631"/>
                    <a:pt x="1159" y="14631"/>
                  </a:cubicBezTo>
                  <a:cubicBezTo>
                    <a:pt x="1162" y="14634"/>
                    <a:pt x="1162" y="14634"/>
                    <a:pt x="1162" y="14634"/>
                  </a:cubicBezTo>
                  <a:cubicBezTo>
                    <a:pt x="1104" y="14756"/>
                    <a:pt x="1104" y="14756"/>
                    <a:pt x="1104" y="14756"/>
                  </a:cubicBezTo>
                  <a:cubicBezTo>
                    <a:pt x="1168" y="14801"/>
                    <a:pt x="1168" y="14801"/>
                    <a:pt x="1168" y="14801"/>
                  </a:cubicBezTo>
                  <a:cubicBezTo>
                    <a:pt x="1223" y="14685"/>
                    <a:pt x="1223" y="14685"/>
                    <a:pt x="1223" y="14685"/>
                  </a:cubicBezTo>
                  <a:cubicBezTo>
                    <a:pt x="1225" y="14687"/>
                    <a:pt x="1225" y="14687"/>
                    <a:pt x="1225" y="14687"/>
                  </a:cubicBezTo>
                  <a:cubicBezTo>
                    <a:pt x="1230" y="14681"/>
                    <a:pt x="1230" y="14681"/>
                    <a:pt x="1230" y="14681"/>
                  </a:cubicBezTo>
                  <a:cubicBezTo>
                    <a:pt x="1227" y="14678"/>
                    <a:pt x="1227" y="14678"/>
                    <a:pt x="1227" y="14678"/>
                  </a:cubicBezTo>
                  <a:cubicBezTo>
                    <a:pt x="1281" y="14564"/>
                    <a:pt x="1281" y="14564"/>
                    <a:pt x="1281" y="14564"/>
                  </a:cubicBezTo>
                  <a:cubicBezTo>
                    <a:pt x="1282" y="14564"/>
                    <a:pt x="1282" y="14564"/>
                    <a:pt x="1282" y="14564"/>
                  </a:cubicBezTo>
                  <a:cubicBezTo>
                    <a:pt x="1287" y="14558"/>
                    <a:pt x="1287" y="14558"/>
                    <a:pt x="1287" y="14558"/>
                  </a:cubicBezTo>
                  <a:cubicBezTo>
                    <a:pt x="1285" y="14556"/>
                    <a:pt x="1285" y="14556"/>
                    <a:pt x="1285" y="14556"/>
                  </a:cubicBezTo>
                  <a:cubicBezTo>
                    <a:pt x="1341" y="14440"/>
                    <a:pt x="1341" y="14440"/>
                    <a:pt x="1341" y="14440"/>
                  </a:cubicBezTo>
                  <a:cubicBezTo>
                    <a:pt x="1342" y="14441"/>
                    <a:pt x="1342" y="14441"/>
                    <a:pt x="1342" y="14441"/>
                  </a:cubicBezTo>
                  <a:cubicBezTo>
                    <a:pt x="1347" y="14434"/>
                    <a:pt x="1347" y="14434"/>
                    <a:pt x="1347" y="14434"/>
                  </a:cubicBezTo>
                  <a:cubicBezTo>
                    <a:pt x="1344" y="14432"/>
                    <a:pt x="1344" y="14432"/>
                    <a:pt x="1344" y="14432"/>
                  </a:cubicBezTo>
                  <a:cubicBezTo>
                    <a:pt x="1395" y="14327"/>
                    <a:pt x="1395" y="14327"/>
                    <a:pt x="1395" y="14327"/>
                  </a:cubicBezTo>
                  <a:cubicBezTo>
                    <a:pt x="1396" y="14327"/>
                    <a:pt x="1396" y="14327"/>
                    <a:pt x="1396" y="14327"/>
                  </a:cubicBezTo>
                  <a:cubicBezTo>
                    <a:pt x="1401" y="14321"/>
                    <a:pt x="1401" y="14321"/>
                    <a:pt x="1401" y="14321"/>
                  </a:cubicBezTo>
                  <a:cubicBezTo>
                    <a:pt x="1399" y="14319"/>
                    <a:pt x="1399" y="14319"/>
                    <a:pt x="1399" y="14319"/>
                  </a:cubicBezTo>
                  <a:cubicBezTo>
                    <a:pt x="1449" y="14214"/>
                    <a:pt x="1449" y="14214"/>
                    <a:pt x="1449" y="14214"/>
                  </a:cubicBezTo>
                  <a:cubicBezTo>
                    <a:pt x="1450" y="14215"/>
                    <a:pt x="1450" y="14215"/>
                    <a:pt x="1450" y="14215"/>
                  </a:cubicBezTo>
                  <a:cubicBezTo>
                    <a:pt x="1456" y="14209"/>
                    <a:pt x="1456" y="14209"/>
                    <a:pt x="1456" y="14209"/>
                  </a:cubicBezTo>
                  <a:cubicBezTo>
                    <a:pt x="1453" y="14207"/>
                    <a:pt x="1453" y="14207"/>
                    <a:pt x="1453" y="14207"/>
                  </a:cubicBezTo>
                  <a:cubicBezTo>
                    <a:pt x="1504" y="14100"/>
                    <a:pt x="1504" y="14100"/>
                    <a:pt x="1504" y="14100"/>
                  </a:cubicBezTo>
                  <a:cubicBezTo>
                    <a:pt x="1443" y="14044"/>
                    <a:pt x="1443" y="14044"/>
                    <a:pt x="1443" y="14044"/>
                  </a:cubicBezTo>
                  <a:cubicBezTo>
                    <a:pt x="1391" y="14154"/>
                    <a:pt x="1391" y="14154"/>
                    <a:pt x="1391" y="14154"/>
                  </a:cubicBezTo>
                  <a:lnTo>
                    <a:pt x="1390" y="14153"/>
                  </a:lnTo>
                  <a:close/>
                  <a:moveTo>
                    <a:pt x="1162" y="14780"/>
                  </a:moveTo>
                  <a:cubicBezTo>
                    <a:pt x="1121" y="14751"/>
                    <a:pt x="1121" y="14751"/>
                    <a:pt x="1121" y="14751"/>
                  </a:cubicBezTo>
                  <a:cubicBezTo>
                    <a:pt x="1173" y="14643"/>
                    <a:pt x="1173" y="14643"/>
                    <a:pt x="1173" y="14643"/>
                  </a:cubicBezTo>
                  <a:cubicBezTo>
                    <a:pt x="1212" y="14676"/>
                    <a:pt x="1212" y="14676"/>
                    <a:pt x="1212" y="14676"/>
                  </a:cubicBezTo>
                  <a:lnTo>
                    <a:pt x="1162" y="14780"/>
                  </a:lnTo>
                  <a:close/>
                  <a:moveTo>
                    <a:pt x="1216" y="14668"/>
                  </a:moveTo>
                  <a:cubicBezTo>
                    <a:pt x="1177" y="14635"/>
                    <a:pt x="1177" y="14635"/>
                    <a:pt x="1177" y="14635"/>
                  </a:cubicBezTo>
                  <a:cubicBezTo>
                    <a:pt x="1231" y="14521"/>
                    <a:pt x="1231" y="14521"/>
                    <a:pt x="1231" y="14521"/>
                  </a:cubicBezTo>
                  <a:cubicBezTo>
                    <a:pt x="1270" y="14554"/>
                    <a:pt x="1270" y="14554"/>
                    <a:pt x="1270" y="14554"/>
                  </a:cubicBezTo>
                  <a:lnTo>
                    <a:pt x="1216" y="14668"/>
                  </a:lnTo>
                  <a:close/>
                  <a:moveTo>
                    <a:pt x="1274" y="14547"/>
                  </a:moveTo>
                  <a:cubicBezTo>
                    <a:pt x="1235" y="14513"/>
                    <a:pt x="1235" y="14513"/>
                    <a:pt x="1235" y="14513"/>
                  </a:cubicBezTo>
                  <a:cubicBezTo>
                    <a:pt x="1290" y="14397"/>
                    <a:pt x="1290" y="14397"/>
                    <a:pt x="1290" y="14397"/>
                  </a:cubicBezTo>
                  <a:cubicBezTo>
                    <a:pt x="1330" y="14430"/>
                    <a:pt x="1330" y="14430"/>
                    <a:pt x="1330" y="14430"/>
                  </a:cubicBezTo>
                  <a:lnTo>
                    <a:pt x="1274" y="14547"/>
                  </a:lnTo>
                  <a:close/>
                  <a:moveTo>
                    <a:pt x="1334" y="14423"/>
                  </a:moveTo>
                  <a:cubicBezTo>
                    <a:pt x="1294" y="14389"/>
                    <a:pt x="1294" y="14389"/>
                    <a:pt x="1294" y="14389"/>
                  </a:cubicBezTo>
                  <a:cubicBezTo>
                    <a:pt x="1344" y="14283"/>
                    <a:pt x="1344" y="14283"/>
                    <a:pt x="1344" y="14283"/>
                  </a:cubicBezTo>
                  <a:cubicBezTo>
                    <a:pt x="1384" y="14317"/>
                    <a:pt x="1384" y="14317"/>
                    <a:pt x="1384" y="14317"/>
                  </a:cubicBezTo>
                  <a:lnTo>
                    <a:pt x="1334" y="14423"/>
                  </a:lnTo>
                  <a:close/>
                  <a:moveTo>
                    <a:pt x="1448" y="14067"/>
                  </a:moveTo>
                  <a:cubicBezTo>
                    <a:pt x="1487" y="14103"/>
                    <a:pt x="1487" y="14103"/>
                    <a:pt x="1487" y="14103"/>
                  </a:cubicBezTo>
                  <a:cubicBezTo>
                    <a:pt x="1442" y="14197"/>
                    <a:pt x="1442" y="14197"/>
                    <a:pt x="1442" y="14197"/>
                  </a:cubicBezTo>
                  <a:cubicBezTo>
                    <a:pt x="1402" y="14163"/>
                    <a:pt x="1402" y="14163"/>
                    <a:pt x="1402" y="14163"/>
                  </a:cubicBezTo>
                  <a:lnTo>
                    <a:pt x="1448" y="14067"/>
                  </a:lnTo>
                  <a:close/>
                  <a:moveTo>
                    <a:pt x="1438" y="14205"/>
                  </a:moveTo>
                  <a:cubicBezTo>
                    <a:pt x="1388" y="14310"/>
                    <a:pt x="1388" y="14310"/>
                    <a:pt x="1388" y="14310"/>
                  </a:cubicBezTo>
                  <a:cubicBezTo>
                    <a:pt x="1348" y="14276"/>
                    <a:pt x="1348" y="14276"/>
                    <a:pt x="1348" y="14276"/>
                  </a:cubicBezTo>
                  <a:cubicBezTo>
                    <a:pt x="1398" y="14171"/>
                    <a:pt x="1398" y="14171"/>
                    <a:pt x="1398" y="14171"/>
                  </a:cubicBezTo>
                  <a:lnTo>
                    <a:pt x="1438" y="14205"/>
                  </a:lnTo>
                  <a:close/>
                  <a:moveTo>
                    <a:pt x="1256" y="14152"/>
                  </a:moveTo>
                  <a:cubicBezTo>
                    <a:pt x="1193" y="14102"/>
                    <a:pt x="1193" y="14102"/>
                    <a:pt x="1193" y="14102"/>
                  </a:cubicBezTo>
                  <a:cubicBezTo>
                    <a:pt x="1125" y="14124"/>
                    <a:pt x="1125" y="14124"/>
                    <a:pt x="1125" y="14124"/>
                  </a:cubicBezTo>
                  <a:cubicBezTo>
                    <a:pt x="1044" y="14221"/>
                    <a:pt x="1044" y="14221"/>
                    <a:pt x="1044" y="14221"/>
                  </a:cubicBezTo>
                  <a:cubicBezTo>
                    <a:pt x="1183" y="14297"/>
                    <a:pt x="1183" y="14297"/>
                    <a:pt x="1183" y="14297"/>
                  </a:cubicBezTo>
                  <a:lnTo>
                    <a:pt x="1256" y="14152"/>
                  </a:lnTo>
                  <a:close/>
                  <a:moveTo>
                    <a:pt x="1066" y="14217"/>
                  </a:moveTo>
                  <a:cubicBezTo>
                    <a:pt x="1133" y="14136"/>
                    <a:pt x="1133" y="14136"/>
                    <a:pt x="1133" y="14136"/>
                  </a:cubicBezTo>
                  <a:cubicBezTo>
                    <a:pt x="1190" y="14118"/>
                    <a:pt x="1190" y="14118"/>
                    <a:pt x="1190" y="14118"/>
                  </a:cubicBezTo>
                  <a:cubicBezTo>
                    <a:pt x="1239" y="14156"/>
                    <a:pt x="1239" y="14156"/>
                    <a:pt x="1239" y="14156"/>
                  </a:cubicBezTo>
                  <a:cubicBezTo>
                    <a:pt x="1177" y="14278"/>
                    <a:pt x="1177" y="14278"/>
                    <a:pt x="1177" y="14278"/>
                  </a:cubicBezTo>
                  <a:lnTo>
                    <a:pt x="1066" y="14217"/>
                  </a:lnTo>
                  <a:close/>
                  <a:moveTo>
                    <a:pt x="4211" y="14183"/>
                  </a:moveTo>
                  <a:cubicBezTo>
                    <a:pt x="4303" y="14171"/>
                    <a:pt x="4303" y="14171"/>
                    <a:pt x="4303" y="14171"/>
                  </a:cubicBezTo>
                  <a:cubicBezTo>
                    <a:pt x="4314" y="14100"/>
                    <a:pt x="4314" y="14100"/>
                    <a:pt x="4314" y="14100"/>
                  </a:cubicBezTo>
                  <a:cubicBezTo>
                    <a:pt x="4378" y="14111"/>
                    <a:pt x="4378" y="14111"/>
                    <a:pt x="4378" y="14111"/>
                  </a:cubicBezTo>
                  <a:cubicBezTo>
                    <a:pt x="4395" y="14054"/>
                    <a:pt x="4395" y="14054"/>
                    <a:pt x="4395" y="14054"/>
                  </a:cubicBezTo>
                  <a:cubicBezTo>
                    <a:pt x="4151" y="14016"/>
                    <a:pt x="4151" y="14016"/>
                    <a:pt x="4151" y="14016"/>
                  </a:cubicBezTo>
                  <a:cubicBezTo>
                    <a:pt x="4141" y="14078"/>
                    <a:pt x="4141" y="14078"/>
                    <a:pt x="4141" y="14078"/>
                  </a:cubicBezTo>
                  <a:cubicBezTo>
                    <a:pt x="4213" y="14110"/>
                    <a:pt x="4213" y="14110"/>
                    <a:pt x="4213" y="14110"/>
                  </a:cubicBezTo>
                  <a:lnTo>
                    <a:pt x="4211" y="14183"/>
                  </a:lnTo>
                  <a:close/>
                  <a:moveTo>
                    <a:pt x="4156" y="14070"/>
                  </a:moveTo>
                  <a:cubicBezTo>
                    <a:pt x="4163" y="14032"/>
                    <a:pt x="4163" y="14032"/>
                    <a:pt x="4163" y="14032"/>
                  </a:cubicBezTo>
                  <a:cubicBezTo>
                    <a:pt x="4377" y="14065"/>
                    <a:pt x="4377" y="14065"/>
                    <a:pt x="4377" y="14065"/>
                  </a:cubicBezTo>
                  <a:cubicBezTo>
                    <a:pt x="4368" y="14096"/>
                    <a:pt x="4368" y="14096"/>
                    <a:pt x="4368" y="14096"/>
                  </a:cubicBezTo>
                  <a:cubicBezTo>
                    <a:pt x="4317" y="14086"/>
                    <a:pt x="4317" y="14086"/>
                    <a:pt x="4317" y="14086"/>
                  </a:cubicBezTo>
                  <a:cubicBezTo>
                    <a:pt x="4303" y="14084"/>
                    <a:pt x="4303" y="14084"/>
                    <a:pt x="4303" y="14084"/>
                  </a:cubicBezTo>
                  <a:cubicBezTo>
                    <a:pt x="4300" y="14098"/>
                    <a:pt x="4300" y="14098"/>
                    <a:pt x="4300" y="14098"/>
                  </a:cubicBezTo>
                  <a:cubicBezTo>
                    <a:pt x="4291" y="14158"/>
                    <a:pt x="4291" y="14158"/>
                    <a:pt x="4291" y="14158"/>
                  </a:cubicBezTo>
                  <a:cubicBezTo>
                    <a:pt x="4225" y="14167"/>
                    <a:pt x="4225" y="14167"/>
                    <a:pt x="4225" y="14167"/>
                  </a:cubicBezTo>
                  <a:cubicBezTo>
                    <a:pt x="4227" y="14110"/>
                    <a:pt x="4227" y="14110"/>
                    <a:pt x="4227" y="14110"/>
                  </a:cubicBezTo>
                  <a:cubicBezTo>
                    <a:pt x="4227" y="14101"/>
                    <a:pt x="4227" y="14101"/>
                    <a:pt x="4227" y="14101"/>
                  </a:cubicBezTo>
                  <a:cubicBezTo>
                    <a:pt x="4218" y="14097"/>
                    <a:pt x="4218" y="14097"/>
                    <a:pt x="4218" y="14097"/>
                  </a:cubicBezTo>
                  <a:lnTo>
                    <a:pt x="4156" y="14070"/>
                  </a:lnTo>
                  <a:close/>
                  <a:moveTo>
                    <a:pt x="866" y="14821"/>
                  </a:moveTo>
                  <a:cubicBezTo>
                    <a:pt x="875" y="14811"/>
                    <a:pt x="875" y="14811"/>
                    <a:pt x="875" y="14811"/>
                  </a:cubicBezTo>
                  <a:cubicBezTo>
                    <a:pt x="865" y="14802"/>
                    <a:pt x="865" y="14802"/>
                    <a:pt x="865" y="14802"/>
                  </a:cubicBezTo>
                  <a:cubicBezTo>
                    <a:pt x="821" y="14765"/>
                    <a:pt x="821" y="14765"/>
                    <a:pt x="821" y="14765"/>
                  </a:cubicBezTo>
                  <a:cubicBezTo>
                    <a:pt x="803" y="14750"/>
                    <a:pt x="803" y="14750"/>
                    <a:pt x="803" y="14750"/>
                  </a:cubicBezTo>
                  <a:cubicBezTo>
                    <a:pt x="798" y="14772"/>
                    <a:pt x="798" y="14772"/>
                    <a:pt x="798" y="14772"/>
                  </a:cubicBezTo>
                  <a:cubicBezTo>
                    <a:pt x="767" y="14897"/>
                    <a:pt x="767" y="14897"/>
                    <a:pt x="767" y="14897"/>
                  </a:cubicBezTo>
                  <a:cubicBezTo>
                    <a:pt x="792" y="14910"/>
                    <a:pt x="792" y="14910"/>
                    <a:pt x="792" y="14910"/>
                  </a:cubicBezTo>
                  <a:lnTo>
                    <a:pt x="866" y="14821"/>
                  </a:lnTo>
                  <a:close/>
                  <a:moveTo>
                    <a:pt x="812" y="14776"/>
                  </a:moveTo>
                  <a:cubicBezTo>
                    <a:pt x="856" y="14812"/>
                    <a:pt x="856" y="14812"/>
                    <a:pt x="856" y="14812"/>
                  </a:cubicBezTo>
                  <a:cubicBezTo>
                    <a:pt x="781" y="14901"/>
                    <a:pt x="781" y="14901"/>
                    <a:pt x="781" y="14901"/>
                  </a:cubicBezTo>
                  <a:lnTo>
                    <a:pt x="812" y="14776"/>
                  </a:lnTo>
                  <a:close/>
                  <a:moveTo>
                    <a:pt x="537" y="15475"/>
                  </a:moveTo>
                  <a:cubicBezTo>
                    <a:pt x="416" y="15452"/>
                    <a:pt x="299" y="15473"/>
                    <a:pt x="299" y="15473"/>
                  </a:cubicBezTo>
                  <a:cubicBezTo>
                    <a:pt x="307" y="15559"/>
                    <a:pt x="307" y="15559"/>
                    <a:pt x="307" y="15559"/>
                  </a:cubicBezTo>
                  <a:cubicBezTo>
                    <a:pt x="307" y="15559"/>
                    <a:pt x="421" y="15542"/>
                    <a:pt x="422" y="15589"/>
                  </a:cubicBezTo>
                  <a:cubicBezTo>
                    <a:pt x="422" y="15590"/>
                    <a:pt x="505" y="15597"/>
                    <a:pt x="505" y="15597"/>
                  </a:cubicBezTo>
                  <a:cubicBezTo>
                    <a:pt x="574" y="15630"/>
                    <a:pt x="574" y="15630"/>
                    <a:pt x="574" y="15630"/>
                  </a:cubicBezTo>
                  <a:cubicBezTo>
                    <a:pt x="574" y="15630"/>
                    <a:pt x="584" y="15602"/>
                    <a:pt x="613" y="15615"/>
                  </a:cubicBezTo>
                  <a:cubicBezTo>
                    <a:pt x="642" y="15629"/>
                    <a:pt x="675" y="15645"/>
                    <a:pt x="675" y="15645"/>
                  </a:cubicBezTo>
                  <a:cubicBezTo>
                    <a:pt x="730" y="15574"/>
                    <a:pt x="730" y="15574"/>
                    <a:pt x="730" y="15574"/>
                  </a:cubicBezTo>
                  <a:cubicBezTo>
                    <a:pt x="730" y="15574"/>
                    <a:pt x="656" y="15497"/>
                    <a:pt x="537" y="15475"/>
                  </a:cubicBezTo>
                  <a:close/>
                  <a:moveTo>
                    <a:pt x="671" y="15628"/>
                  </a:moveTo>
                  <a:cubicBezTo>
                    <a:pt x="659" y="15622"/>
                    <a:pt x="638" y="15612"/>
                    <a:pt x="619" y="15603"/>
                  </a:cubicBezTo>
                  <a:cubicBezTo>
                    <a:pt x="612" y="15599"/>
                    <a:pt x="605" y="15598"/>
                    <a:pt x="598" y="15598"/>
                  </a:cubicBezTo>
                  <a:cubicBezTo>
                    <a:pt x="585" y="15598"/>
                    <a:pt x="575" y="15604"/>
                    <a:pt x="569" y="15612"/>
                  </a:cubicBezTo>
                  <a:cubicBezTo>
                    <a:pt x="511" y="15584"/>
                    <a:pt x="511" y="15584"/>
                    <a:pt x="511" y="15584"/>
                  </a:cubicBezTo>
                  <a:cubicBezTo>
                    <a:pt x="509" y="15583"/>
                    <a:pt x="509" y="15583"/>
                    <a:pt x="509" y="15583"/>
                  </a:cubicBezTo>
                  <a:cubicBezTo>
                    <a:pt x="506" y="15583"/>
                    <a:pt x="506" y="15583"/>
                    <a:pt x="506" y="15583"/>
                  </a:cubicBezTo>
                  <a:cubicBezTo>
                    <a:pt x="478" y="15581"/>
                    <a:pt x="448" y="15578"/>
                    <a:pt x="434" y="15576"/>
                  </a:cubicBezTo>
                  <a:cubicBezTo>
                    <a:pt x="428" y="15559"/>
                    <a:pt x="408" y="15542"/>
                    <a:pt x="352" y="15542"/>
                  </a:cubicBezTo>
                  <a:cubicBezTo>
                    <a:pt x="339" y="15542"/>
                    <a:pt x="328" y="15543"/>
                    <a:pt x="320" y="15544"/>
                  </a:cubicBezTo>
                  <a:cubicBezTo>
                    <a:pt x="314" y="15485"/>
                    <a:pt x="314" y="15485"/>
                    <a:pt x="314" y="15485"/>
                  </a:cubicBezTo>
                  <a:cubicBezTo>
                    <a:pt x="333" y="15482"/>
                    <a:pt x="370" y="15478"/>
                    <a:pt x="416" y="15478"/>
                  </a:cubicBezTo>
                  <a:cubicBezTo>
                    <a:pt x="458" y="15478"/>
                    <a:pt x="498" y="15482"/>
                    <a:pt x="535" y="15488"/>
                  </a:cubicBezTo>
                  <a:cubicBezTo>
                    <a:pt x="625" y="15506"/>
                    <a:pt x="689" y="15556"/>
                    <a:pt x="711" y="15576"/>
                  </a:cubicBezTo>
                  <a:lnTo>
                    <a:pt x="671" y="15628"/>
                  </a:lnTo>
                  <a:close/>
                  <a:moveTo>
                    <a:pt x="1018" y="14419"/>
                  </a:moveTo>
                  <a:cubicBezTo>
                    <a:pt x="956" y="14545"/>
                    <a:pt x="956" y="14545"/>
                    <a:pt x="956" y="14545"/>
                  </a:cubicBezTo>
                  <a:cubicBezTo>
                    <a:pt x="886" y="14411"/>
                    <a:pt x="886" y="14411"/>
                    <a:pt x="886" y="14411"/>
                  </a:cubicBezTo>
                  <a:cubicBezTo>
                    <a:pt x="787" y="14515"/>
                    <a:pt x="787" y="14515"/>
                    <a:pt x="787" y="14515"/>
                  </a:cubicBezTo>
                  <a:cubicBezTo>
                    <a:pt x="1000" y="14668"/>
                    <a:pt x="1000" y="14668"/>
                    <a:pt x="1000" y="14668"/>
                  </a:cubicBezTo>
                  <a:cubicBezTo>
                    <a:pt x="1151" y="14362"/>
                    <a:pt x="1151" y="14362"/>
                    <a:pt x="1151" y="14362"/>
                  </a:cubicBezTo>
                  <a:cubicBezTo>
                    <a:pt x="998" y="14278"/>
                    <a:pt x="998" y="14278"/>
                    <a:pt x="998" y="14278"/>
                  </a:cubicBezTo>
                  <a:cubicBezTo>
                    <a:pt x="924" y="14357"/>
                    <a:pt x="924" y="14357"/>
                    <a:pt x="924" y="14357"/>
                  </a:cubicBezTo>
                  <a:lnTo>
                    <a:pt x="1018" y="14419"/>
                  </a:lnTo>
                  <a:close/>
                  <a:moveTo>
                    <a:pt x="1001" y="14296"/>
                  </a:moveTo>
                  <a:cubicBezTo>
                    <a:pt x="1132" y="14368"/>
                    <a:pt x="1132" y="14368"/>
                    <a:pt x="1132" y="14368"/>
                  </a:cubicBezTo>
                  <a:cubicBezTo>
                    <a:pt x="995" y="14647"/>
                    <a:pt x="995" y="14647"/>
                    <a:pt x="995" y="14647"/>
                  </a:cubicBezTo>
                  <a:cubicBezTo>
                    <a:pt x="808" y="14513"/>
                    <a:pt x="808" y="14513"/>
                    <a:pt x="808" y="14513"/>
                  </a:cubicBezTo>
                  <a:cubicBezTo>
                    <a:pt x="883" y="14434"/>
                    <a:pt x="883" y="14434"/>
                    <a:pt x="883" y="14434"/>
                  </a:cubicBezTo>
                  <a:cubicBezTo>
                    <a:pt x="944" y="14551"/>
                    <a:pt x="944" y="14551"/>
                    <a:pt x="944" y="14551"/>
                  </a:cubicBezTo>
                  <a:cubicBezTo>
                    <a:pt x="957" y="14576"/>
                    <a:pt x="957" y="14576"/>
                    <a:pt x="957" y="14576"/>
                  </a:cubicBezTo>
                  <a:cubicBezTo>
                    <a:pt x="969" y="14551"/>
                    <a:pt x="969" y="14551"/>
                    <a:pt x="969" y="14551"/>
                  </a:cubicBezTo>
                  <a:cubicBezTo>
                    <a:pt x="1030" y="14425"/>
                    <a:pt x="1030" y="14425"/>
                    <a:pt x="1030" y="14425"/>
                  </a:cubicBezTo>
                  <a:cubicBezTo>
                    <a:pt x="1036" y="14414"/>
                    <a:pt x="1036" y="14414"/>
                    <a:pt x="1036" y="14414"/>
                  </a:cubicBezTo>
                  <a:cubicBezTo>
                    <a:pt x="1025" y="14407"/>
                    <a:pt x="1025" y="14407"/>
                    <a:pt x="1025" y="14407"/>
                  </a:cubicBezTo>
                  <a:cubicBezTo>
                    <a:pt x="946" y="14355"/>
                    <a:pt x="946" y="14355"/>
                    <a:pt x="946" y="14355"/>
                  </a:cubicBezTo>
                  <a:lnTo>
                    <a:pt x="1001" y="14296"/>
                  </a:lnTo>
                  <a:close/>
                  <a:moveTo>
                    <a:pt x="1532" y="13833"/>
                  </a:moveTo>
                  <a:cubicBezTo>
                    <a:pt x="1637" y="13661"/>
                    <a:pt x="1637" y="13661"/>
                    <a:pt x="1637" y="13661"/>
                  </a:cubicBezTo>
                  <a:cubicBezTo>
                    <a:pt x="1522" y="13616"/>
                    <a:pt x="1522" y="13616"/>
                    <a:pt x="1522" y="13616"/>
                  </a:cubicBezTo>
                  <a:cubicBezTo>
                    <a:pt x="1409" y="13790"/>
                    <a:pt x="1409" y="13790"/>
                    <a:pt x="1409" y="13790"/>
                  </a:cubicBezTo>
                  <a:lnTo>
                    <a:pt x="1532" y="13833"/>
                  </a:lnTo>
                  <a:close/>
                  <a:moveTo>
                    <a:pt x="1527" y="13634"/>
                  </a:moveTo>
                  <a:cubicBezTo>
                    <a:pt x="1616" y="13668"/>
                    <a:pt x="1616" y="13668"/>
                    <a:pt x="1616" y="13668"/>
                  </a:cubicBezTo>
                  <a:cubicBezTo>
                    <a:pt x="1526" y="13816"/>
                    <a:pt x="1526" y="13816"/>
                    <a:pt x="1526" y="13816"/>
                  </a:cubicBezTo>
                  <a:cubicBezTo>
                    <a:pt x="1431" y="13782"/>
                    <a:pt x="1431" y="13782"/>
                    <a:pt x="1431" y="13782"/>
                  </a:cubicBezTo>
                  <a:lnTo>
                    <a:pt x="1527" y="13634"/>
                  </a:lnTo>
                  <a:close/>
                  <a:moveTo>
                    <a:pt x="3579" y="11655"/>
                  </a:moveTo>
                  <a:cubicBezTo>
                    <a:pt x="3580" y="11660"/>
                    <a:pt x="3580" y="11660"/>
                    <a:pt x="3580" y="11660"/>
                  </a:cubicBezTo>
                  <a:cubicBezTo>
                    <a:pt x="3580" y="11660"/>
                    <a:pt x="3581" y="11660"/>
                    <a:pt x="3582" y="11660"/>
                  </a:cubicBezTo>
                  <a:cubicBezTo>
                    <a:pt x="3769" y="11757"/>
                    <a:pt x="3769" y="11757"/>
                    <a:pt x="3769" y="11757"/>
                  </a:cubicBezTo>
                  <a:cubicBezTo>
                    <a:pt x="3834" y="11922"/>
                    <a:pt x="3834" y="11922"/>
                    <a:pt x="3834" y="11922"/>
                  </a:cubicBezTo>
                  <a:cubicBezTo>
                    <a:pt x="4038" y="11857"/>
                    <a:pt x="4038" y="11857"/>
                    <a:pt x="4038" y="11857"/>
                  </a:cubicBezTo>
                  <a:cubicBezTo>
                    <a:pt x="3923" y="11696"/>
                    <a:pt x="3923" y="11696"/>
                    <a:pt x="3923" y="11696"/>
                  </a:cubicBezTo>
                  <a:cubicBezTo>
                    <a:pt x="3792" y="11607"/>
                    <a:pt x="3792" y="11607"/>
                    <a:pt x="3792" y="11607"/>
                  </a:cubicBezTo>
                  <a:cubicBezTo>
                    <a:pt x="3791" y="11603"/>
                    <a:pt x="3791" y="11603"/>
                    <a:pt x="3791" y="11603"/>
                  </a:cubicBezTo>
                  <a:cubicBezTo>
                    <a:pt x="3791" y="11603"/>
                    <a:pt x="3791" y="11603"/>
                    <a:pt x="3791" y="11603"/>
                  </a:cubicBezTo>
                  <a:cubicBezTo>
                    <a:pt x="3764" y="11497"/>
                    <a:pt x="3764" y="11497"/>
                    <a:pt x="3764" y="11497"/>
                  </a:cubicBezTo>
                  <a:cubicBezTo>
                    <a:pt x="3498" y="11448"/>
                    <a:pt x="3498" y="11448"/>
                    <a:pt x="3498" y="11448"/>
                  </a:cubicBezTo>
                  <a:lnTo>
                    <a:pt x="3579" y="11655"/>
                  </a:lnTo>
                  <a:close/>
                  <a:moveTo>
                    <a:pt x="3913" y="11706"/>
                  </a:moveTo>
                  <a:cubicBezTo>
                    <a:pt x="4015" y="11850"/>
                    <a:pt x="4015" y="11850"/>
                    <a:pt x="4015" y="11850"/>
                  </a:cubicBezTo>
                  <a:cubicBezTo>
                    <a:pt x="3842" y="11905"/>
                    <a:pt x="3842" y="11905"/>
                    <a:pt x="3842" y="11905"/>
                  </a:cubicBezTo>
                  <a:cubicBezTo>
                    <a:pt x="3783" y="11754"/>
                    <a:pt x="3783" y="11754"/>
                    <a:pt x="3783" y="11754"/>
                  </a:cubicBezTo>
                  <a:cubicBezTo>
                    <a:pt x="3909" y="11703"/>
                    <a:pt x="3909" y="11703"/>
                    <a:pt x="3909" y="11703"/>
                  </a:cubicBezTo>
                  <a:lnTo>
                    <a:pt x="3913" y="11706"/>
                  </a:lnTo>
                  <a:close/>
                  <a:moveTo>
                    <a:pt x="3779" y="11615"/>
                  </a:moveTo>
                  <a:cubicBezTo>
                    <a:pt x="3784" y="11618"/>
                    <a:pt x="3784" y="11618"/>
                    <a:pt x="3784" y="11618"/>
                  </a:cubicBezTo>
                  <a:cubicBezTo>
                    <a:pt x="3901" y="11698"/>
                    <a:pt x="3901" y="11698"/>
                    <a:pt x="3901" y="11698"/>
                  </a:cubicBezTo>
                  <a:cubicBezTo>
                    <a:pt x="3779" y="11747"/>
                    <a:pt x="3779" y="11747"/>
                    <a:pt x="3779" y="11747"/>
                  </a:cubicBezTo>
                  <a:cubicBezTo>
                    <a:pt x="3775" y="11744"/>
                    <a:pt x="3775" y="11744"/>
                    <a:pt x="3775" y="11744"/>
                  </a:cubicBezTo>
                  <a:cubicBezTo>
                    <a:pt x="3603" y="11655"/>
                    <a:pt x="3603" y="11655"/>
                    <a:pt x="3603" y="11655"/>
                  </a:cubicBezTo>
                  <a:cubicBezTo>
                    <a:pt x="3647" y="11645"/>
                    <a:pt x="3743" y="11623"/>
                    <a:pt x="3779" y="11614"/>
                  </a:cubicBezTo>
                  <a:lnTo>
                    <a:pt x="3779" y="11615"/>
                  </a:lnTo>
                  <a:close/>
                  <a:moveTo>
                    <a:pt x="3777" y="11606"/>
                  </a:moveTo>
                  <a:cubicBezTo>
                    <a:pt x="3739" y="11615"/>
                    <a:pt x="3630" y="11641"/>
                    <a:pt x="3592" y="11649"/>
                  </a:cubicBezTo>
                  <a:cubicBezTo>
                    <a:pt x="3520" y="11467"/>
                    <a:pt x="3520" y="11467"/>
                    <a:pt x="3520" y="11467"/>
                  </a:cubicBezTo>
                  <a:cubicBezTo>
                    <a:pt x="3753" y="11509"/>
                    <a:pt x="3753" y="11509"/>
                    <a:pt x="3753" y="11509"/>
                  </a:cubicBezTo>
                  <a:lnTo>
                    <a:pt x="3777" y="11606"/>
                  </a:lnTo>
                  <a:close/>
                  <a:moveTo>
                    <a:pt x="4282" y="6665"/>
                  </a:moveTo>
                  <a:cubicBezTo>
                    <a:pt x="4289" y="6663"/>
                    <a:pt x="4289" y="6663"/>
                    <a:pt x="4289" y="6663"/>
                  </a:cubicBezTo>
                  <a:cubicBezTo>
                    <a:pt x="4262" y="6604"/>
                    <a:pt x="4262" y="6604"/>
                    <a:pt x="4262" y="6604"/>
                  </a:cubicBezTo>
                  <a:cubicBezTo>
                    <a:pt x="4176" y="6640"/>
                    <a:pt x="4176" y="6640"/>
                    <a:pt x="4176" y="6640"/>
                  </a:cubicBezTo>
                  <a:cubicBezTo>
                    <a:pt x="4207" y="6696"/>
                    <a:pt x="4207" y="6696"/>
                    <a:pt x="4207" y="6696"/>
                  </a:cubicBezTo>
                  <a:lnTo>
                    <a:pt x="4282" y="6665"/>
                  </a:lnTo>
                  <a:close/>
                  <a:moveTo>
                    <a:pt x="4255" y="6621"/>
                  </a:moveTo>
                  <a:cubicBezTo>
                    <a:pt x="4271" y="6656"/>
                    <a:pt x="4271" y="6656"/>
                    <a:pt x="4271" y="6656"/>
                  </a:cubicBezTo>
                  <a:cubicBezTo>
                    <a:pt x="4213" y="6679"/>
                    <a:pt x="4213" y="6679"/>
                    <a:pt x="4213" y="6679"/>
                  </a:cubicBezTo>
                  <a:cubicBezTo>
                    <a:pt x="4195" y="6646"/>
                    <a:pt x="4195" y="6646"/>
                    <a:pt x="4195" y="6646"/>
                  </a:cubicBezTo>
                  <a:lnTo>
                    <a:pt x="4255" y="6621"/>
                  </a:lnTo>
                  <a:close/>
                  <a:moveTo>
                    <a:pt x="10359" y="217"/>
                  </a:moveTo>
                  <a:cubicBezTo>
                    <a:pt x="10350" y="0"/>
                    <a:pt x="10350" y="0"/>
                    <a:pt x="10350" y="0"/>
                  </a:cubicBezTo>
                  <a:cubicBezTo>
                    <a:pt x="10364" y="0"/>
                    <a:pt x="10364" y="0"/>
                    <a:pt x="10364" y="0"/>
                  </a:cubicBezTo>
                  <a:cubicBezTo>
                    <a:pt x="10372" y="216"/>
                    <a:pt x="10372" y="216"/>
                    <a:pt x="10372" y="216"/>
                  </a:cubicBezTo>
                  <a:lnTo>
                    <a:pt x="10359" y="217"/>
                  </a:lnTo>
                  <a:close/>
                  <a:moveTo>
                    <a:pt x="180" y="16051"/>
                  </a:moveTo>
                  <a:cubicBezTo>
                    <a:pt x="4" y="16296"/>
                    <a:pt x="4" y="16296"/>
                    <a:pt x="4" y="16296"/>
                  </a:cubicBezTo>
                  <a:cubicBezTo>
                    <a:pt x="4" y="16272"/>
                    <a:pt x="4" y="16272"/>
                    <a:pt x="4" y="16272"/>
                  </a:cubicBezTo>
                  <a:cubicBezTo>
                    <a:pt x="75" y="16174"/>
                    <a:pt x="75" y="16174"/>
                    <a:pt x="75" y="16174"/>
                  </a:cubicBezTo>
                  <a:cubicBezTo>
                    <a:pt x="4" y="16124"/>
                    <a:pt x="4" y="16124"/>
                    <a:pt x="4" y="16124"/>
                  </a:cubicBezTo>
                  <a:cubicBezTo>
                    <a:pt x="4" y="16106"/>
                    <a:pt x="4" y="16106"/>
                    <a:pt x="4" y="16106"/>
                  </a:cubicBezTo>
                  <a:cubicBezTo>
                    <a:pt x="83" y="16163"/>
                    <a:pt x="83" y="16163"/>
                    <a:pt x="83" y="16163"/>
                  </a:cubicBezTo>
                  <a:cubicBezTo>
                    <a:pt x="169" y="16043"/>
                    <a:pt x="169" y="16043"/>
                    <a:pt x="169" y="16043"/>
                  </a:cubicBezTo>
                  <a:lnTo>
                    <a:pt x="180" y="16051"/>
                  </a:lnTo>
                  <a:close/>
                  <a:moveTo>
                    <a:pt x="4" y="13086"/>
                  </a:moveTo>
                  <a:cubicBezTo>
                    <a:pt x="6" y="13097"/>
                    <a:pt x="7" y="13109"/>
                    <a:pt x="7" y="13120"/>
                  </a:cubicBezTo>
                  <a:cubicBezTo>
                    <a:pt x="7" y="13132"/>
                    <a:pt x="6" y="13145"/>
                    <a:pt x="4" y="13157"/>
                  </a:cubicBezTo>
                  <a:lnTo>
                    <a:pt x="4" y="13086"/>
                  </a:lnTo>
                  <a:close/>
                  <a:moveTo>
                    <a:pt x="18008" y="610"/>
                  </a:moveTo>
                  <a:cubicBezTo>
                    <a:pt x="17968" y="639"/>
                    <a:pt x="17928" y="667"/>
                    <a:pt x="17890" y="692"/>
                  </a:cubicBezTo>
                  <a:cubicBezTo>
                    <a:pt x="17885" y="685"/>
                    <a:pt x="17880" y="678"/>
                    <a:pt x="17874" y="671"/>
                  </a:cubicBezTo>
                  <a:cubicBezTo>
                    <a:pt x="17749" y="516"/>
                    <a:pt x="17540" y="284"/>
                    <a:pt x="17114" y="0"/>
                  </a:cubicBezTo>
                  <a:cubicBezTo>
                    <a:pt x="16994" y="0"/>
                    <a:pt x="16994" y="0"/>
                    <a:pt x="16994" y="0"/>
                  </a:cubicBezTo>
                  <a:cubicBezTo>
                    <a:pt x="17472" y="306"/>
                    <a:pt x="17692" y="551"/>
                    <a:pt x="17823" y="712"/>
                  </a:cubicBezTo>
                  <a:cubicBezTo>
                    <a:pt x="17828" y="717"/>
                    <a:pt x="17832" y="723"/>
                    <a:pt x="17836" y="728"/>
                  </a:cubicBezTo>
                  <a:cubicBezTo>
                    <a:pt x="17388" y="1024"/>
                    <a:pt x="16683" y="1548"/>
                    <a:pt x="16196" y="1676"/>
                  </a:cubicBezTo>
                  <a:cubicBezTo>
                    <a:pt x="15695" y="1809"/>
                    <a:pt x="15118" y="1853"/>
                    <a:pt x="14939" y="1885"/>
                  </a:cubicBezTo>
                  <a:cubicBezTo>
                    <a:pt x="14888" y="1894"/>
                    <a:pt x="14691" y="1898"/>
                    <a:pt x="14459" y="1898"/>
                  </a:cubicBezTo>
                  <a:cubicBezTo>
                    <a:pt x="14225" y="1898"/>
                    <a:pt x="13953" y="1895"/>
                    <a:pt x="13739" y="1891"/>
                  </a:cubicBezTo>
                  <a:cubicBezTo>
                    <a:pt x="13525" y="1888"/>
                    <a:pt x="13370" y="1884"/>
                    <a:pt x="13370" y="1884"/>
                  </a:cubicBezTo>
                  <a:cubicBezTo>
                    <a:pt x="13369" y="1884"/>
                    <a:pt x="13369" y="1884"/>
                    <a:pt x="13369" y="1884"/>
                  </a:cubicBezTo>
                  <a:cubicBezTo>
                    <a:pt x="13368" y="1884"/>
                    <a:pt x="13368" y="1884"/>
                    <a:pt x="13368" y="1884"/>
                  </a:cubicBezTo>
                  <a:cubicBezTo>
                    <a:pt x="13324" y="1886"/>
                    <a:pt x="13264" y="1887"/>
                    <a:pt x="13202" y="1909"/>
                  </a:cubicBezTo>
                  <a:cubicBezTo>
                    <a:pt x="13193" y="1855"/>
                    <a:pt x="13173" y="1739"/>
                    <a:pt x="13151" y="1652"/>
                  </a:cubicBezTo>
                  <a:cubicBezTo>
                    <a:pt x="13123" y="1545"/>
                    <a:pt x="13019" y="1248"/>
                    <a:pt x="12955" y="1080"/>
                  </a:cubicBezTo>
                  <a:cubicBezTo>
                    <a:pt x="13096" y="1051"/>
                    <a:pt x="13214" y="1024"/>
                    <a:pt x="13268" y="1024"/>
                  </a:cubicBezTo>
                  <a:cubicBezTo>
                    <a:pt x="13268" y="1024"/>
                    <a:pt x="13268" y="1024"/>
                    <a:pt x="13268" y="1024"/>
                  </a:cubicBezTo>
                  <a:cubicBezTo>
                    <a:pt x="13268" y="1022"/>
                    <a:pt x="13268" y="1022"/>
                    <a:pt x="13268" y="1022"/>
                  </a:cubicBezTo>
                  <a:cubicBezTo>
                    <a:pt x="13476" y="1023"/>
                    <a:pt x="13702" y="1027"/>
                    <a:pt x="13931" y="1027"/>
                  </a:cubicBezTo>
                  <a:cubicBezTo>
                    <a:pt x="13954" y="1027"/>
                    <a:pt x="13976" y="1027"/>
                    <a:pt x="13999" y="1027"/>
                  </a:cubicBezTo>
                  <a:cubicBezTo>
                    <a:pt x="14335" y="1025"/>
                    <a:pt x="14552" y="1004"/>
                    <a:pt x="14712" y="967"/>
                  </a:cubicBezTo>
                  <a:cubicBezTo>
                    <a:pt x="14871" y="930"/>
                    <a:pt x="14973" y="875"/>
                    <a:pt x="15061" y="817"/>
                  </a:cubicBezTo>
                  <a:cubicBezTo>
                    <a:pt x="15083" y="802"/>
                    <a:pt x="15099" y="784"/>
                    <a:pt x="15117" y="763"/>
                  </a:cubicBezTo>
                  <a:cubicBezTo>
                    <a:pt x="15134" y="742"/>
                    <a:pt x="15152" y="717"/>
                    <a:pt x="15172" y="688"/>
                  </a:cubicBezTo>
                  <a:cubicBezTo>
                    <a:pt x="15210" y="630"/>
                    <a:pt x="15254" y="556"/>
                    <a:pt x="15302" y="471"/>
                  </a:cubicBezTo>
                  <a:cubicBezTo>
                    <a:pt x="15378" y="334"/>
                    <a:pt x="15464" y="169"/>
                    <a:pt x="15549" y="0"/>
                  </a:cubicBezTo>
                  <a:cubicBezTo>
                    <a:pt x="15531" y="0"/>
                    <a:pt x="15531" y="0"/>
                    <a:pt x="15531" y="0"/>
                  </a:cubicBezTo>
                  <a:cubicBezTo>
                    <a:pt x="15447" y="166"/>
                    <a:pt x="15363" y="328"/>
                    <a:pt x="15288" y="463"/>
                  </a:cubicBezTo>
                  <a:cubicBezTo>
                    <a:pt x="15240" y="548"/>
                    <a:pt x="15196" y="622"/>
                    <a:pt x="15158" y="679"/>
                  </a:cubicBezTo>
                  <a:cubicBezTo>
                    <a:pt x="15139" y="708"/>
                    <a:pt x="15121" y="732"/>
                    <a:pt x="15104" y="753"/>
                  </a:cubicBezTo>
                  <a:cubicBezTo>
                    <a:pt x="15087" y="774"/>
                    <a:pt x="15072" y="789"/>
                    <a:pt x="15052" y="803"/>
                  </a:cubicBezTo>
                  <a:cubicBezTo>
                    <a:pt x="14965" y="860"/>
                    <a:pt x="14866" y="914"/>
                    <a:pt x="14708" y="951"/>
                  </a:cubicBezTo>
                  <a:cubicBezTo>
                    <a:pt x="14551" y="987"/>
                    <a:pt x="14334" y="1009"/>
                    <a:pt x="13999" y="1010"/>
                  </a:cubicBezTo>
                  <a:cubicBezTo>
                    <a:pt x="13976" y="1010"/>
                    <a:pt x="13954" y="1010"/>
                    <a:pt x="13931" y="1010"/>
                  </a:cubicBezTo>
                  <a:cubicBezTo>
                    <a:pt x="13684" y="1010"/>
                    <a:pt x="13440" y="1006"/>
                    <a:pt x="13218" y="1006"/>
                  </a:cubicBezTo>
                  <a:cubicBezTo>
                    <a:pt x="13218" y="1006"/>
                    <a:pt x="13218" y="1006"/>
                    <a:pt x="13218" y="1006"/>
                  </a:cubicBezTo>
                  <a:cubicBezTo>
                    <a:pt x="13218" y="1012"/>
                    <a:pt x="13218" y="1012"/>
                    <a:pt x="13218" y="1012"/>
                  </a:cubicBezTo>
                  <a:cubicBezTo>
                    <a:pt x="13153" y="1021"/>
                    <a:pt x="13058" y="1042"/>
                    <a:pt x="12949" y="1065"/>
                  </a:cubicBezTo>
                  <a:cubicBezTo>
                    <a:pt x="12945" y="1054"/>
                    <a:pt x="12941" y="1044"/>
                    <a:pt x="12937" y="1034"/>
                  </a:cubicBezTo>
                  <a:cubicBezTo>
                    <a:pt x="12917" y="982"/>
                    <a:pt x="12902" y="932"/>
                    <a:pt x="12891" y="888"/>
                  </a:cubicBezTo>
                  <a:cubicBezTo>
                    <a:pt x="12993" y="884"/>
                    <a:pt x="13102" y="883"/>
                    <a:pt x="13218" y="883"/>
                  </a:cubicBezTo>
                  <a:cubicBezTo>
                    <a:pt x="13441" y="883"/>
                    <a:pt x="13685" y="887"/>
                    <a:pt x="13931" y="887"/>
                  </a:cubicBezTo>
                  <a:cubicBezTo>
                    <a:pt x="13953" y="887"/>
                    <a:pt x="13976" y="887"/>
                    <a:pt x="13999" y="887"/>
                  </a:cubicBezTo>
                  <a:cubicBezTo>
                    <a:pt x="14329" y="886"/>
                    <a:pt x="14537" y="865"/>
                    <a:pt x="14680" y="831"/>
                  </a:cubicBezTo>
                  <a:cubicBezTo>
                    <a:pt x="14823" y="797"/>
                    <a:pt x="14902" y="754"/>
                    <a:pt x="14984" y="701"/>
                  </a:cubicBezTo>
                  <a:cubicBezTo>
                    <a:pt x="14984" y="701"/>
                    <a:pt x="14984" y="701"/>
                    <a:pt x="14984" y="701"/>
                  </a:cubicBezTo>
                  <a:cubicBezTo>
                    <a:pt x="14984" y="701"/>
                    <a:pt x="14984" y="701"/>
                    <a:pt x="14984" y="701"/>
                  </a:cubicBezTo>
                  <a:cubicBezTo>
                    <a:pt x="14984" y="701"/>
                    <a:pt x="14984" y="701"/>
                    <a:pt x="14984" y="701"/>
                  </a:cubicBezTo>
                  <a:cubicBezTo>
                    <a:pt x="14984" y="700"/>
                    <a:pt x="14984" y="700"/>
                    <a:pt x="14985" y="700"/>
                  </a:cubicBezTo>
                  <a:cubicBezTo>
                    <a:pt x="14985" y="700"/>
                    <a:pt x="14985" y="700"/>
                    <a:pt x="14985" y="700"/>
                  </a:cubicBezTo>
                  <a:cubicBezTo>
                    <a:pt x="14985" y="700"/>
                    <a:pt x="14985" y="700"/>
                    <a:pt x="14985" y="700"/>
                  </a:cubicBezTo>
                  <a:cubicBezTo>
                    <a:pt x="14985" y="700"/>
                    <a:pt x="14986" y="700"/>
                    <a:pt x="14986" y="700"/>
                  </a:cubicBezTo>
                  <a:cubicBezTo>
                    <a:pt x="14986" y="700"/>
                    <a:pt x="14986" y="700"/>
                    <a:pt x="14985" y="700"/>
                  </a:cubicBezTo>
                  <a:cubicBezTo>
                    <a:pt x="14987" y="699"/>
                    <a:pt x="14987" y="699"/>
                    <a:pt x="14987" y="699"/>
                  </a:cubicBezTo>
                  <a:cubicBezTo>
                    <a:pt x="14987" y="699"/>
                    <a:pt x="14987" y="699"/>
                    <a:pt x="14987" y="699"/>
                  </a:cubicBezTo>
                  <a:cubicBezTo>
                    <a:pt x="14987" y="698"/>
                    <a:pt x="14987" y="698"/>
                    <a:pt x="14987" y="698"/>
                  </a:cubicBezTo>
                  <a:cubicBezTo>
                    <a:pt x="14989" y="697"/>
                    <a:pt x="14991" y="695"/>
                    <a:pt x="14993" y="693"/>
                  </a:cubicBezTo>
                  <a:cubicBezTo>
                    <a:pt x="15011" y="676"/>
                    <a:pt x="15043" y="632"/>
                    <a:pt x="15080" y="573"/>
                  </a:cubicBezTo>
                  <a:cubicBezTo>
                    <a:pt x="15164" y="440"/>
                    <a:pt x="15278" y="227"/>
                    <a:pt x="15393" y="0"/>
                  </a:cubicBezTo>
                  <a:cubicBezTo>
                    <a:pt x="15375" y="0"/>
                    <a:pt x="15375" y="0"/>
                    <a:pt x="15375" y="0"/>
                  </a:cubicBezTo>
                  <a:cubicBezTo>
                    <a:pt x="15261" y="224"/>
                    <a:pt x="15149" y="434"/>
                    <a:pt x="15066" y="565"/>
                  </a:cubicBezTo>
                  <a:cubicBezTo>
                    <a:pt x="15030" y="623"/>
                    <a:pt x="14997" y="666"/>
                    <a:pt x="14981" y="682"/>
                  </a:cubicBezTo>
                  <a:cubicBezTo>
                    <a:pt x="14979" y="684"/>
                    <a:pt x="14977" y="686"/>
                    <a:pt x="14976" y="686"/>
                  </a:cubicBezTo>
                  <a:cubicBezTo>
                    <a:pt x="14976" y="686"/>
                    <a:pt x="14976" y="687"/>
                    <a:pt x="14976" y="687"/>
                  </a:cubicBezTo>
                  <a:cubicBezTo>
                    <a:pt x="14894" y="740"/>
                    <a:pt x="14818" y="782"/>
                    <a:pt x="14677" y="815"/>
                  </a:cubicBezTo>
                  <a:cubicBezTo>
                    <a:pt x="14535" y="848"/>
                    <a:pt x="14328" y="870"/>
                    <a:pt x="13999" y="871"/>
                  </a:cubicBezTo>
                  <a:cubicBezTo>
                    <a:pt x="13976" y="871"/>
                    <a:pt x="13953" y="871"/>
                    <a:pt x="13931" y="871"/>
                  </a:cubicBezTo>
                  <a:cubicBezTo>
                    <a:pt x="13685" y="871"/>
                    <a:pt x="13441" y="867"/>
                    <a:pt x="13218" y="867"/>
                  </a:cubicBezTo>
                  <a:cubicBezTo>
                    <a:pt x="13101" y="867"/>
                    <a:pt x="12990" y="868"/>
                    <a:pt x="12887" y="872"/>
                  </a:cubicBezTo>
                  <a:cubicBezTo>
                    <a:pt x="12879" y="838"/>
                    <a:pt x="12873" y="809"/>
                    <a:pt x="12869" y="789"/>
                  </a:cubicBezTo>
                  <a:cubicBezTo>
                    <a:pt x="12924" y="788"/>
                    <a:pt x="12982" y="788"/>
                    <a:pt x="13041" y="788"/>
                  </a:cubicBezTo>
                  <a:cubicBezTo>
                    <a:pt x="13355" y="786"/>
                    <a:pt x="13723" y="784"/>
                    <a:pt x="13984" y="782"/>
                  </a:cubicBezTo>
                  <a:cubicBezTo>
                    <a:pt x="14160" y="780"/>
                    <a:pt x="14283" y="778"/>
                    <a:pt x="14322" y="775"/>
                  </a:cubicBezTo>
                  <a:cubicBezTo>
                    <a:pt x="14386" y="770"/>
                    <a:pt x="14472" y="764"/>
                    <a:pt x="14556" y="748"/>
                  </a:cubicBezTo>
                  <a:cubicBezTo>
                    <a:pt x="14640" y="731"/>
                    <a:pt x="14722" y="708"/>
                    <a:pt x="14786" y="653"/>
                  </a:cubicBezTo>
                  <a:cubicBezTo>
                    <a:pt x="14888" y="563"/>
                    <a:pt x="14947" y="439"/>
                    <a:pt x="14965" y="402"/>
                  </a:cubicBezTo>
                  <a:cubicBezTo>
                    <a:pt x="14970" y="391"/>
                    <a:pt x="15051" y="216"/>
                    <a:pt x="15150" y="0"/>
                  </a:cubicBezTo>
                  <a:cubicBezTo>
                    <a:pt x="14983" y="0"/>
                    <a:pt x="14983" y="0"/>
                    <a:pt x="14983" y="0"/>
                  </a:cubicBezTo>
                  <a:cubicBezTo>
                    <a:pt x="14897" y="185"/>
                    <a:pt x="14831" y="328"/>
                    <a:pt x="14826" y="338"/>
                  </a:cubicBezTo>
                  <a:cubicBezTo>
                    <a:pt x="14815" y="365"/>
                    <a:pt x="14756" y="478"/>
                    <a:pt x="14685" y="539"/>
                  </a:cubicBezTo>
                  <a:cubicBezTo>
                    <a:pt x="14664" y="560"/>
                    <a:pt x="14600" y="585"/>
                    <a:pt x="14527" y="598"/>
                  </a:cubicBezTo>
                  <a:cubicBezTo>
                    <a:pt x="14455" y="612"/>
                    <a:pt x="14374" y="619"/>
                    <a:pt x="14310" y="623"/>
                  </a:cubicBezTo>
                  <a:cubicBezTo>
                    <a:pt x="14290" y="625"/>
                    <a:pt x="14198" y="627"/>
                    <a:pt x="14070" y="628"/>
                  </a:cubicBezTo>
                  <a:cubicBezTo>
                    <a:pt x="14075" y="617"/>
                    <a:pt x="14079" y="604"/>
                    <a:pt x="14085" y="589"/>
                  </a:cubicBezTo>
                  <a:cubicBezTo>
                    <a:pt x="14102" y="541"/>
                    <a:pt x="14123" y="477"/>
                    <a:pt x="14144" y="412"/>
                  </a:cubicBezTo>
                  <a:cubicBezTo>
                    <a:pt x="14150" y="395"/>
                    <a:pt x="14155" y="378"/>
                    <a:pt x="14161" y="361"/>
                  </a:cubicBezTo>
                  <a:cubicBezTo>
                    <a:pt x="14195" y="257"/>
                    <a:pt x="14224" y="166"/>
                    <a:pt x="14224" y="166"/>
                  </a:cubicBezTo>
                  <a:cubicBezTo>
                    <a:pt x="14230" y="148"/>
                    <a:pt x="14230" y="148"/>
                    <a:pt x="14230" y="148"/>
                  </a:cubicBezTo>
                  <a:cubicBezTo>
                    <a:pt x="14228" y="145"/>
                    <a:pt x="14228" y="145"/>
                    <a:pt x="14228" y="145"/>
                  </a:cubicBezTo>
                  <a:cubicBezTo>
                    <a:pt x="14229" y="143"/>
                    <a:pt x="14229" y="143"/>
                    <a:pt x="14229" y="143"/>
                  </a:cubicBezTo>
                  <a:cubicBezTo>
                    <a:pt x="14099" y="12"/>
                    <a:pt x="14099" y="12"/>
                    <a:pt x="14099" y="12"/>
                  </a:cubicBezTo>
                  <a:cubicBezTo>
                    <a:pt x="14088" y="0"/>
                    <a:pt x="14088" y="0"/>
                    <a:pt x="14088" y="0"/>
                  </a:cubicBezTo>
                  <a:cubicBezTo>
                    <a:pt x="13996" y="0"/>
                    <a:pt x="13996" y="0"/>
                    <a:pt x="13996" y="0"/>
                  </a:cubicBezTo>
                  <a:cubicBezTo>
                    <a:pt x="14156" y="165"/>
                    <a:pt x="14156" y="165"/>
                    <a:pt x="14156" y="165"/>
                  </a:cubicBezTo>
                  <a:cubicBezTo>
                    <a:pt x="14136" y="226"/>
                    <a:pt x="14071" y="424"/>
                    <a:pt x="14029" y="546"/>
                  </a:cubicBezTo>
                  <a:cubicBezTo>
                    <a:pt x="14016" y="583"/>
                    <a:pt x="14005" y="614"/>
                    <a:pt x="13999" y="629"/>
                  </a:cubicBezTo>
                  <a:cubicBezTo>
                    <a:pt x="13993" y="629"/>
                    <a:pt x="13988" y="629"/>
                    <a:pt x="13983" y="629"/>
                  </a:cubicBezTo>
                  <a:cubicBezTo>
                    <a:pt x="13809" y="631"/>
                    <a:pt x="13588" y="632"/>
                    <a:pt x="13366" y="634"/>
                  </a:cubicBezTo>
                  <a:cubicBezTo>
                    <a:pt x="12923" y="636"/>
                    <a:pt x="12484" y="638"/>
                    <a:pt x="12418" y="640"/>
                  </a:cubicBezTo>
                  <a:cubicBezTo>
                    <a:pt x="12297" y="646"/>
                    <a:pt x="12176" y="646"/>
                    <a:pt x="12058" y="699"/>
                  </a:cubicBezTo>
                  <a:cubicBezTo>
                    <a:pt x="11995" y="727"/>
                    <a:pt x="11939" y="774"/>
                    <a:pt x="11890" y="821"/>
                  </a:cubicBezTo>
                  <a:cubicBezTo>
                    <a:pt x="11847" y="863"/>
                    <a:pt x="11812" y="904"/>
                    <a:pt x="11788" y="936"/>
                  </a:cubicBezTo>
                  <a:cubicBezTo>
                    <a:pt x="11787" y="933"/>
                    <a:pt x="11785" y="931"/>
                    <a:pt x="11784" y="928"/>
                  </a:cubicBezTo>
                  <a:cubicBezTo>
                    <a:pt x="11767" y="898"/>
                    <a:pt x="11745" y="853"/>
                    <a:pt x="11723" y="793"/>
                  </a:cubicBezTo>
                  <a:cubicBezTo>
                    <a:pt x="11678" y="672"/>
                    <a:pt x="11632" y="492"/>
                    <a:pt x="11631" y="252"/>
                  </a:cubicBezTo>
                  <a:cubicBezTo>
                    <a:pt x="11630" y="163"/>
                    <a:pt x="11629" y="80"/>
                    <a:pt x="11627" y="4"/>
                  </a:cubicBezTo>
                  <a:cubicBezTo>
                    <a:pt x="11663" y="0"/>
                    <a:pt x="11663" y="0"/>
                    <a:pt x="11663" y="0"/>
                  </a:cubicBezTo>
                  <a:cubicBezTo>
                    <a:pt x="11562" y="0"/>
                    <a:pt x="11562" y="0"/>
                    <a:pt x="11562" y="0"/>
                  </a:cubicBezTo>
                  <a:cubicBezTo>
                    <a:pt x="11563" y="53"/>
                    <a:pt x="11564" y="108"/>
                    <a:pt x="11564" y="167"/>
                  </a:cubicBezTo>
                  <a:cubicBezTo>
                    <a:pt x="11408" y="165"/>
                    <a:pt x="11408" y="165"/>
                    <a:pt x="11408" y="165"/>
                  </a:cubicBezTo>
                  <a:cubicBezTo>
                    <a:pt x="11399" y="0"/>
                    <a:pt x="11399" y="0"/>
                    <a:pt x="11399" y="0"/>
                  </a:cubicBezTo>
                  <a:cubicBezTo>
                    <a:pt x="11385" y="0"/>
                    <a:pt x="11385" y="0"/>
                    <a:pt x="11385" y="0"/>
                  </a:cubicBezTo>
                  <a:cubicBezTo>
                    <a:pt x="11394" y="165"/>
                    <a:pt x="11394" y="165"/>
                    <a:pt x="11394" y="165"/>
                  </a:cubicBezTo>
                  <a:cubicBezTo>
                    <a:pt x="11232" y="163"/>
                    <a:pt x="11232" y="163"/>
                    <a:pt x="11232" y="163"/>
                  </a:cubicBezTo>
                  <a:cubicBezTo>
                    <a:pt x="11221" y="0"/>
                    <a:pt x="11221" y="0"/>
                    <a:pt x="11221" y="0"/>
                  </a:cubicBezTo>
                  <a:cubicBezTo>
                    <a:pt x="11207" y="0"/>
                    <a:pt x="11207" y="0"/>
                    <a:pt x="11207" y="0"/>
                  </a:cubicBezTo>
                  <a:cubicBezTo>
                    <a:pt x="11218" y="162"/>
                    <a:pt x="11218" y="162"/>
                    <a:pt x="11218" y="162"/>
                  </a:cubicBezTo>
                  <a:cubicBezTo>
                    <a:pt x="11090" y="161"/>
                    <a:pt x="11090" y="161"/>
                    <a:pt x="11090" y="161"/>
                  </a:cubicBezTo>
                  <a:cubicBezTo>
                    <a:pt x="11078" y="0"/>
                    <a:pt x="11078" y="0"/>
                    <a:pt x="11078" y="0"/>
                  </a:cubicBezTo>
                  <a:cubicBezTo>
                    <a:pt x="11064" y="0"/>
                    <a:pt x="11064" y="0"/>
                    <a:pt x="11064" y="0"/>
                  </a:cubicBezTo>
                  <a:cubicBezTo>
                    <a:pt x="11076" y="160"/>
                    <a:pt x="11076" y="160"/>
                    <a:pt x="11076" y="160"/>
                  </a:cubicBezTo>
                  <a:cubicBezTo>
                    <a:pt x="10901" y="158"/>
                    <a:pt x="10901" y="158"/>
                    <a:pt x="10901" y="158"/>
                  </a:cubicBezTo>
                  <a:cubicBezTo>
                    <a:pt x="10892" y="0"/>
                    <a:pt x="10892" y="0"/>
                    <a:pt x="10892" y="0"/>
                  </a:cubicBezTo>
                  <a:cubicBezTo>
                    <a:pt x="10878" y="0"/>
                    <a:pt x="10878" y="0"/>
                    <a:pt x="10878" y="0"/>
                  </a:cubicBezTo>
                  <a:cubicBezTo>
                    <a:pt x="10887" y="158"/>
                    <a:pt x="10887" y="158"/>
                    <a:pt x="10887" y="158"/>
                  </a:cubicBezTo>
                  <a:cubicBezTo>
                    <a:pt x="10754" y="156"/>
                    <a:pt x="10754" y="156"/>
                    <a:pt x="10754" y="156"/>
                  </a:cubicBezTo>
                  <a:cubicBezTo>
                    <a:pt x="10729" y="0"/>
                    <a:pt x="10729" y="0"/>
                    <a:pt x="10729" y="0"/>
                  </a:cubicBezTo>
                  <a:cubicBezTo>
                    <a:pt x="10715" y="0"/>
                    <a:pt x="10715" y="0"/>
                    <a:pt x="10715" y="0"/>
                  </a:cubicBezTo>
                  <a:cubicBezTo>
                    <a:pt x="10740" y="158"/>
                    <a:pt x="10740" y="158"/>
                    <a:pt x="10740" y="158"/>
                  </a:cubicBezTo>
                  <a:cubicBezTo>
                    <a:pt x="10716" y="167"/>
                    <a:pt x="10603" y="208"/>
                    <a:pt x="10592" y="212"/>
                  </a:cubicBezTo>
                  <a:cubicBezTo>
                    <a:pt x="10211" y="220"/>
                    <a:pt x="10211" y="220"/>
                    <a:pt x="10211" y="220"/>
                  </a:cubicBezTo>
                  <a:cubicBezTo>
                    <a:pt x="10196" y="0"/>
                    <a:pt x="10196" y="0"/>
                    <a:pt x="10196" y="0"/>
                  </a:cubicBezTo>
                  <a:cubicBezTo>
                    <a:pt x="10182" y="0"/>
                    <a:pt x="10182" y="0"/>
                    <a:pt x="10182" y="0"/>
                  </a:cubicBezTo>
                  <a:cubicBezTo>
                    <a:pt x="10197" y="220"/>
                    <a:pt x="10197" y="220"/>
                    <a:pt x="10197" y="220"/>
                  </a:cubicBezTo>
                  <a:cubicBezTo>
                    <a:pt x="10008" y="225"/>
                    <a:pt x="10008" y="225"/>
                    <a:pt x="10008" y="225"/>
                  </a:cubicBezTo>
                  <a:cubicBezTo>
                    <a:pt x="9995" y="0"/>
                    <a:pt x="9995" y="0"/>
                    <a:pt x="9995" y="0"/>
                  </a:cubicBezTo>
                  <a:cubicBezTo>
                    <a:pt x="9981" y="0"/>
                    <a:pt x="9981" y="0"/>
                    <a:pt x="9981" y="0"/>
                  </a:cubicBezTo>
                  <a:cubicBezTo>
                    <a:pt x="9994" y="225"/>
                    <a:pt x="9994" y="225"/>
                    <a:pt x="9994" y="225"/>
                  </a:cubicBezTo>
                  <a:cubicBezTo>
                    <a:pt x="9839" y="228"/>
                    <a:pt x="9839" y="228"/>
                    <a:pt x="9839" y="228"/>
                  </a:cubicBezTo>
                  <a:cubicBezTo>
                    <a:pt x="9835" y="149"/>
                    <a:pt x="9832" y="71"/>
                    <a:pt x="9829" y="0"/>
                  </a:cubicBezTo>
                  <a:cubicBezTo>
                    <a:pt x="9763" y="0"/>
                    <a:pt x="9763" y="0"/>
                    <a:pt x="9763" y="0"/>
                  </a:cubicBezTo>
                  <a:cubicBezTo>
                    <a:pt x="9767" y="75"/>
                    <a:pt x="9770" y="158"/>
                    <a:pt x="9774" y="242"/>
                  </a:cubicBezTo>
                  <a:cubicBezTo>
                    <a:pt x="9785" y="510"/>
                    <a:pt x="9796" y="793"/>
                    <a:pt x="9798" y="885"/>
                  </a:cubicBezTo>
                  <a:cubicBezTo>
                    <a:pt x="9710" y="885"/>
                    <a:pt x="9710" y="885"/>
                    <a:pt x="9710" y="885"/>
                  </a:cubicBezTo>
                  <a:cubicBezTo>
                    <a:pt x="9697" y="886"/>
                    <a:pt x="9697" y="889"/>
                    <a:pt x="9694" y="889"/>
                  </a:cubicBezTo>
                  <a:cubicBezTo>
                    <a:pt x="9692" y="890"/>
                    <a:pt x="9690" y="891"/>
                    <a:pt x="9689" y="892"/>
                  </a:cubicBezTo>
                  <a:cubicBezTo>
                    <a:pt x="9685" y="894"/>
                    <a:pt x="9681" y="897"/>
                    <a:pt x="9677" y="900"/>
                  </a:cubicBezTo>
                  <a:cubicBezTo>
                    <a:pt x="9668" y="906"/>
                    <a:pt x="9656" y="914"/>
                    <a:pt x="9641" y="924"/>
                  </a:cubicBezTo>
                  <a:cubicBezTo>
                    <a:pt x="9613" y="944"/>
                    <a:pt x="9575" y="970"/>
                    <a:pt x="9536" y="997"/>
                  </a:cubicBezTo>
                  <a:cubicBezTo>
                    <a:pt x="9464" y="1049"/>
                    <a:pt x="9384" y="1105"/>
                    <a:pt x="9361" y="1119"/>
                  </a:cubicBezTo>
                  <a:cubicBezTo>
                    <a:pt x="9359" y="1119"/>
                    <a:pt x="9357" y="1119"/>
                    <a:pt x="9356" y="1119"/>
                  </a:cubicBezTo>
                  <a:cubicBezTo>
                    <a:pt x="9275" y="1119"/>
                    <a:pt x="8801" y="1134"/>
                    <a:pt x="8556" y="1134"/>
                  </a:cubicBezTo>
                  <a:cubicBezTo>
                    <a:pt x="8518" y="1134"/>
                    <a:pt x="8486" y="1134"/>
                    <a:pt x="8462" y="1133"/>
                  </a:cubicBezTo>
                  <a:cubicBezTo>
                    <a:pt x="8281" y="1126"/>
                    <a:pt x="7924" y="1105"/>
                    <a:pt x="7807" y="1105"/>
                  </a:cubicBezTo>
                  <a:cubicBezTo>
                    <a:pt x="7817" y="578"/>
                    <a:pt x="7817" y="578"/>
                    <a:pt x="7817" y="578"/>
                  </a:cubicBezTo>
                  <a:cubicBezTo>
                    <a:pt x="7647" y="243"/>
                    <a:pt x="7647" y="243"/>
                    <a:pt x="7647" y="243"/>
                  </a:cubicBezTo>
                  <a:cubicBezTo>
                    <a:pt x="7646" y="242"/>
                    <a:pt x="7646" y="242"/>
                    <a:pt x="7646" y="242"/>
                  </a:cubicBezTo>
                  <a:cubicBezTo>
                    <a:pt x="7646" y="242"/>
                    <a:pt x="7575" y="122"/>
                    <a:pt x="7502" y="0"/>
                  </a:cubicBezTo>
                  <a:cubicBezTo>
                    <a:pt x="7426" y="0"/>
                    <a:pt x="7426" y="0"/>
                    <a:pt x="7426" y="0"/>
                  </a:cubicBezTo>
                  <a:cubicBezTo>
                    <a:pt x="7431" y="10"/>
                    <a:pt x="7437" y="19"/>
                    <a:pt x="7442" y="28"/>
                  </a:cubicBezTo>
                  <a:cubicBezTo>
                    <a:pt x="7512" y="146"/>
                    <a:pt x="7582" y="263"/>
                    <a:pt x="7589" y="275"/>
                  </a:cubicBezTo>
                  <a:cubicBezTo>
                    <a:pt x="7751" y="593"/>
                    <a:pt x="7751" y="593"/>
                    <a:pt x="7751" y="593"/>
                  </a:cubicBezTo>
                  <a:cubicBezTo>
                    <a:pt x="7741" y="1109"/>
                    <a:pt x="7741" y="1109"/>
                    <a:pt x="7741" y="1109"/>
                  </a:cubicBezTo>
                  <a:cubicBezTo>
                    <a:pt x="7642" y="1121"/>
                    <a:pt x="7480" y="1157"/>
                    <a:pt x="7422" y="1180"/>
                  </a:cubicBezTo>
                  <a:cubicBezTo>
                    <a:pt x="7398" y="1190"/>
                    <a:pt x="7335" y="1205"/>
                    <a:pt x="7275" y="1217"/>
                  </a:cubicBezTo>
                  <a:cubicBezTo>
                    <a:pt x="7215" y="1229"/>
                    <a:pt x="7157" y="1240"/>
                    <a:pt x="7137" y="1243"/>
                  </a:cubicBezTo>
                  <a:cubicBezTo>
                    <a:pt x="7107" y="1248"/>
                    <a:pt x="7089" y="1269"/>
                    <a:pt x="7079" y="1287"/>
                  </a:cubicBezTo>
                  <a:cubicBezTo>
                    <a:pt x="7070" y="1306"/>
                    <a:pt x="7066" y="1323"/>
                    <a:pt x="7066" y="1338"/>
                  </a:cubicBezTo>
                  <a:cubicBezTo>
                    <a:pt x="7066" y="1341"/>
                    <a:pt x="7066" y="1344"/>
                    <a:pt x="7067" y="1347"/>
                  </a:cubicBezTo>
                  <a:cubicBezTo>
                    <a:pt x="7067" y="1349"/>
                    <a:pt x="7068" y="1351"/>
                    <a:pt x="7069" y="1354"/>
                  </a:cubicBezTo>
                  <a:cubicBezTo>
                    <a:pt x="7068" y="1359"/>
                    <a:pt x="7067" y="1368"/>
                    <a:pt x="7065" y="1377"/>
                  </a:cubicBezTo>
                  <a:cubicBezTo>
                    <a:pt x="7062" y="1393"/>
                    <a:pt x="7059" y="1413"/>
                    <a:pt x="7055" y="1432"/>
                  </a:cubicBezTo>
                  <a:cubicBezTo>
                    <a:pt x="7054" y="1440"/>
                    <a:pt x="7052" y="1447"/>
                    <a:pt x="7051" y="1455"/>
                  </a:cubicBezTo>
                  <a:cubicBezTo>
                    <a:pt x="7026" y="1438"/>
                    <a:pt x="7003" y="1423"/>
                    <a:pt x="6987" y="1407"/>
                  </a:cubicBezTo>
                  <a:cubicBezTo>
                    <a:pt x="6950" y="1369"/>
                    <a:pt x="6923" y="1327"/>
                    <a:pt x="6912" y="1310"/>
                  </a:cubicBezTo>
                  <a:cubicBezTo>
                    <a:pt x="6908" y="1304"/>
                    <a:pt x="6907" y="1301"/>
                    <a:pt x="6907" y="1301"/>
                  </a:cubicBezTo>
                  <a:cubicBezTo>
                    <a:pt x="6628" y="798"/>
                    <a:pt x="6628" y="798"/>
                    <a:pt x="6628" y="798"/>
                  </a:cubicBezTo>
                  <a:cubicBezTo>
                    <a:pt x="6563" y="684"/>
                    <a:pt x="6466" y="651"/>
                    <a:pt x="6392" y="652"/>
                  </a:cubicBezTo>
                  <a:cubicBezTo>
                    <a:pt x="6321" y="652"/>
                    <a:pt x="6269" y="678"/>
                    <a:pt x="6266" y="680"/>
                  </a:cubicBezTo>
                  <a:cubicBezTo>
                    <a:pt x="6265" y="680"/>
                    <a:pt x="6265" y="680"/>
                    <a:pt x="6265" y="680"/>
                  </a:cubicBezTo>
                  <a:cubicBezTo>
                    <a:pt x="6264" y="681"/>
                    <a:pt x="6264" y="681"/>
                    <a:pt x="6264" y="681"/>
                  </a:cubicBezTo>
                  <a:cubicBezTo>
                    <a:pt x="6264" y="681"/>
                    <a:pt x="6034" y="814"/>
                    <a:pt x="5922" y="876"/>
                  </a:cubicBezTo>
                  <a:cubicBezTo>
                    <a:pt x="5820" y="931"/>
                    <a:pt x="5766" y="955"/>
                    <a:pt x="5671" y="955"/>
                  </a:cubicBezTo>
                  <a:cubicBezTo>
                    <a:pt x="5660" y="955"/>
                    <a:pt x="5649" y="955"/>
                    <a:pt x="5637" y="954"/>
                  </a:cubicBezTo>
                  <a:cubicBezTo>
                    <a:pt x="5596" y="952"/>
                    <a:pt x="5531" y="939"/>
                    <a:pt x="5452" y="920"/>
                  </a:cubicBezTo>
                  <a:cubicBezTo>
                    <a:pt x="5459" y="896"/>
                    <a:pt x="5469" y="861"/>
                    <a:pt x="5479" y="822"/>
                  </a:cubicBezTo>
                  <a:cubicBezTo>
                    <a:pt x="5496" y="754"/>
                    <a:pt x="5515" y="680"/>
                    <a:pt x="5517" y="638"/>
                  </a:cubicBezTo>
                  <a:cubicBezTo>
                    <a:pt x="5521" y="575"/>
                    <a:pt x="5531" y="563"/>
                    <a:pt x="5552" y="505"/>
                  </a:cubicBezTo>
                  <a:cubicBezTo>
                    <a:pt x="5553" y="505"/>
                    <a:pt x="5554" y="504"/>
                    <a:pt x="5555" y="502"/>
                  </a:cubicBezTo>
                  <a:cubicBezTo>
                    <a:pt x="5557" y="499"/>
                    <a:pt x="5562" y="495"/>
                    <a:pt x="5567" y="490"/>
                  </a:cubicBezTo>
                  <a:cubicBezTo>
                    <a:pt x="5578" y="480"/>
                    <a:pt x="5594" y="467"/>
                    <a:pt x="5613" y="453"/>
                  </a:cubicBezTo>
                  <a:cubicBezTo>
                    <a:pt x="5651" y="425"/>
                    <a:pt x="5701" y="391"/>
                    <a:pt x="5751" y="358"/>
                  </a:cubicBezTo>
                  <a:cubicBezTo>
                    <a:pt x="5836" y="304"/>
                    <a:pt x="5924" y="251"/>
                    <a:pt x="5990" y="212"/>
                  </a:cubicBezTo>
                  <a:cubicBezTo>
                    <a:pt x="5955" y="156"/>
                    <a:pt x="5955" y="156"/>
                    <a:pt x="5955" y="156"/>
                  </a:cubicBezTo>
                  <a:cubicBezTo>
                    <a:pt x="5917" y="179"/>
                    <a:pt x="5906" y="186"/>
                    <a:pt x="5893" y="193"/>
                  </a:cubicBezTo>
                  <a:cubicBezTo>
                    <a:pt x="5861" y="212"/>
                    <a:pt x="5818" y="239"/>
                    <a:pt x="5771" y="268"/>
                  </a:cubicBezTo>
                  <a:cubicBezTo>
                    <a:pt x="5678" y="326"/>
                    <a:pt x="5575" y="394"/>
                    <a:pt x="5525" y="440"/>
                  </a:cubicBezTo>
                  <a:cubicBezTo>
                    <a:pt x="5510" y="454"/>
                    <a:pt x="5499" y="463"/>
                    <a:pt x="5491" y="481"/>
                  </a:cubicBezTo>
                  <a:cubicBezTo>
                    <a:pt x="5472" y="532"/>
                    <a:pt x="5455" y="562"/>
                    <a:pt x="5452" y="635"/>
                  </a:cubicBezTo>
                  <a:cubicBezTo>
                    <a:pt x="5451" y="662"/>
                    <a:pt x="5433" y="740"/>
                    <a:pt x="5415" y="805"/>
                  </a:cubicBezTo>
                  <a:cubicBezTo>
                    <a:pt x="5405" y="844"/>
                    <a:pt x="5395" y="880"/>
                    <a:pt x="5388" y="903"/>
                  </a:cubicBezTo>
                  <a:cubicBezTo>
                    <a:pt x="5256" y="869"/>
                    <a:pt x="5095" y="821"/>
                    <a:pt x="4938" y="774"/>
                  </a:cubicBezTo>
                  <a:cubicBezTo>
                    <a:pt x="4724" y="710"/>
                    <a:pt x="4569" y="639"/>
                    <a:pt x="4505" y="607"/>
                  </a:cubicBezTo>
                  <a:cubicBezTo>
                    <a:pt x="4493" y="601"/>
                    <a:pt x="4484" y="596"/>
                    <a:pt x="4479" y="594"/>
                  </a:cubicBezTo>
                  <a:cubicBezTo>
                    <a:pt x="4458" y="78"/>
                    <a:pt x="4458" y="78"/>
                    <a:pt x="4458" y="78"/>
                  </a:cubicBezTo>
                  <a:cubicBezTo>
                    <a:pt x="4755" y="64"/>
                    <a:pt x="4941" y="23"/>
                    <a:pt x="5024" y="0"/>
                  </a:cubicBezTo>
                  <a:cubicBezTo>
                    <a:pt x="4624" y="0"/>
                    <a:pt x="4624" y="0"/>
                    <a:pt x="4624" y="0"/>
                  </a:cubicBezTo>
                  <a:cubicBezTo>
                    <a:pt x="4567" y="5"/>
                    <a:pt x="4506" y="10"/>
                    <a:pt x="4438" y="13"/>
                  </a:cubicBezTo>
                  <a:cubicBezTo>
                    <a:pt x="4427" y="0"/>
                    <a:pt x="4427" y="0"/>
                    <a:pt x="4427" y="0"/>
                  </a:cubicBezTo>
                  <a:cubicBezTo>
                    <a:pt x="4339" y="0"/>
                    <a:pt x="4339" y="0"/>
                    <a:pt x="4339" y="0"/>
                  </a:cubicBezTo>
                  <a:cubicBezTo>
                    <a:pt x="4391" y="59"/>
                    <a:pt x="4391" y="59"/>
                    <a:pt x="4391" y="59"/>
                  </a:cubicBezTo>
                  <a:cubicBezTo>
                    <a:pt x="4415" y="616"/>
                    <a:pt x="4415" y="616"/>
                    <a:pt x="4415" y="616"/>
                  </a:cubicBezTo>
                  <a:cubicBezTo>
                    <a:pt x="4176" y="1078"/>
                    <a:pt x="4176" y="1078"/>
                    <a:pt x="4176" y="1078"/>
                  </a:cubicBezTo>
                  <a:cubicBezTo>
                    <a:pt x="4176" y="1082"/>
                    <a:pt x="4176" y="1082"/>
                    <a:pt x="4176" y="1082"/>
                  </a:cubicBezTo>
                  <a:cubicBezTo>
                    <a:pt x="4176" y="1082"/>
                    <a:pt x="4167" y="1115"/>
                    <a:pt x="4154" y="1157"/>
                  </a:cubicBezTo>
                  <a:cubicBezTo>
                    <a:pt x="4141" y="1199"/>
                    <a:pt x="4122" y="1249"/>
                    <a:pt x="4104" y="1279"/>
                  </a:cubicBezTo>
                  <a:cubicBezTo>
                    <a:pt x="4062" y="1348"/>
                    <a:pt x="4034" y="1400"/>
                    <a:pt x="4034" y="1401"/>
                  </a:cubicBezTo>
                  <a:cubicBezTo>
                    <a:pt x="4032" y="1405"/>
                    <a:pt x="4032" y="1405"/>
                    <a:pt x="4032" y="1405"/>
                  </a:cubicBezTo>
                  <a:cubicBezTo>
                    <a:pt x="3965" y="1739"/>
                    <a:pt x="3965" y="1739"/>
                    <a:pt x="3965" y="1739"/>
                  </a:cubicBezTo>
                  <a:cubicBezTo>
                    <a:pt x="3944" y="1731"/>
                    <a:pt x="3924" y="1724"/>
                    <a:pt x="3903" y="1717"/>
                  </a:cubicBezTo>
                  <a:cubicBezTo>
                    <a:pt x="3626" y="1625"/>
                    <a:pt x="2857" y="1348"/>
                    <a:pt x="2800" y="1327"/>
                  </a:cubicBezTo>
                  <a:cubicBezTo>
                    <a:pt x="2771" y="1317"/>
                    <a:pt x="2738" y="1304"/>
                    <a:pt x="2709" y="1287"/>
                  </a:cubicBezTo>
                  <a:cubicBezTo>
                    <a:pt x="2681" y="1270"/>
                    <a:pt x="2661" y="1250"/>
                    <a:pt x="2652" y="1231"/>
                  </a:cubicBezTo>
                  <a:cubicBezTo>
                    <a:pt x="2642" y="1212"/>
                    <a:pt x="2629" y="1170"/>
                    <a:pt x="2619" y="1130"/>
                  </a:cubicBezTo>
                  <a:cubicBezTo>
                    <a:pt x="2609" y="1089"/>
                    <a:pt x="2601" y="1047"/>
                    <a:pt x="2596" y="1021"/>
                  </a:cubicBezTo>
                  <a:cubicBezTo>
                    <a:pt x="2592" y="1003"/>
                    <a:pt x="2591" y="993"/>
                    <a:pt x="2591" y="993"/>
                  </a:cubicBezTo>
                  <a:cubicBezTo>
                    <a:pt x="2590" y="991"/>
                    <a:pt x="2590" y="991"/>
                    <a:pt x="2590" y="991"/>
                  </a:cubicBezTo>
                  <a:cubicBezTo>
                    <a:pt x="2387" y="0"/>
                    <a:pt x="2387" y="0"/>
                    <a:pt x="2387" y="0"/>
                  </a:cubicBezTo>
                  <a:cubicBezTo>
                    <a:pt x="2231" y="0"/>
                    <a:pt x="2231" y="0"/>
                    <a:pt x="2231" y="0"/>
                  </a:cubicBezTo>
                  <a:cubicBezTo>
                    <a:pt x="2440" y="1020"/>
                    <a:pt x="2440" y="1020"/>
                    <a:pt x="2440" y="1020"/>
                  </a:cubicBezTo>
                  <a:cubicBezTo>
                    <a:pt x="2442" y="1029"/>
                    <a:pt x="2449" y="1071"/>
                    <a:pt x="2461" y="1123"/>
                  </a:cubicBezTo>
                  <a:cubicBezTo>
                    <a:pt x="2474" y="1180"/>
                    <a:pt x="2490" y="1246"/>
                    <a:pt x="2514" y="1297"/>
                  </a:cubicBezTo>
                  <a:cubicBezTo>
                    <a:pt x="2516" y="1301"/>
                    <a:pt x="2519" y="1304"/>
                    <a:pt x="2521" y="1308"/>
                  </a:cubicBezTo>
                  <a:cubicBezTo>
                    <a:pt x="2519" y="1309"/>
                    <a:pt x="2517" y="1310"/>
                    <a:pt x="2515" y="1312"/>
                  </a:cubicBezTo>
                  <a:cubicBezTo>
                    <a:pt x="2504" y="1321"/>
                    <a:pt x="2490" y="1333"/>
                    <a:pt x="2472" y="1348"/>
                  </a:cubicBezTo>
                  <a:cubicBezTo>
                    <a:pt x="2436" y="1378"/>
                    <a:pt x="2385" y="1422"/>
                    <a:pt x="2324" y="1474"/>
                  </a:cubicBezTo>
                  <a:cubicBezTo>
                    <a:pt x="2202" y="1578"/>
                    <a:pt x="2042" y="1716"/>
                    <a:pt x="1881" y="1855"/>
                  </a:cubicBezTo>
                  <a:cubicBezTo>
                    <a:pt x="1623" y="2079"/>
                    <a:pt x="1365" y="2302"/>
                    <a:pt x="1276" y="2380"/>
                  </a:cubicBezTo>
                  <a:cubicBezTo>
                    <a:pt x="845" y="2048"/>
                    <a:pt x="845" y="2048"/>
                    <a:pt x="845" y="2048"/>
                  </a:cubicBezTo>
                  <a:cubicBezTo>
                    <a:pt x="843" y="2045"/>
                    <a:pt x="841" y="2041"/>
                    <a:pt x="838" y="2037"/>
                  </a:cubicBezTo>
                  <a:cubicBezTo>
                    <a:pt x="831" y="2027"/>
                    <a:pt x="822" y="2013"/>
                    <a:pt x="813" y="1996"/>
                  </a:cubicBezTo>
                  <a:cubicBezTo>
                    <a:pt x="793" y="1962"/>
                    <a:pt x="770" y="1917"/>
                    <a:pt x="756" y="1872"/>
                  </a:cubicBezTo>
                  <a:cubicBezTo>
                    <a:pt x="755" y="1871"/>
                    <a:pt x="755" y="1871"/>
                    <a:pt x="755" y="1871"/>
                  </a:cubicBezTo>
                  <a:cubicBezTo>
                    <a:pt x="755" y="1870"/>
                    <a:pt x="755" y="1870"/>
                    <a:pt x="755" y="1870"/>
                  </a:cubicBezTo>
                  <a:cubicBezTo>
                    <a:pt x="750" y="1860"/>
                    <a:pt x="749" y="1861"/>
                    <a:pt x="747" y="1858"/>
                  </a:cubicBezTo>
                  <a:cubicBezTo>
                    <a:pt x="746" y="1856"/>
                    <a:pt x="744" y="1855"/>
                    <a:pt x="742" y="1853"/>
                  </a:cubicBezTo>
                  <a:cubicBezTo>
                    <a:pt x="739" y="1850"/>
                    <a:pt x="735" y="1846"/>
                    <a:pt x="729" y="1841"/>
                  </a:cubicBezTo>
                  <a:cubicBezTo>
                    <a:pt x="718" y="1831"/>
                    <a:pt x="703" y="1818"/>
                    <a:pt x="683" y="1802"/>
                  </a:cubicBezTo>
                  <a:cubicBezTo>
                    <a:pt x="645" y="1769"/>
                    <a:pt x="590" y="1723"/>
                    <a:pt x="525" y="1669"/>
                  </a:cubicBezTo>
                  <a:cubicBezTo>
                    <a:pt x="394" y="1561"/>
                    <a:pt x="220" y="1420"/>
                    <a:pt x="47" y="1279"/>
                  </a:cubicBezTo>
                  <a:cubicBezTo>
                    <a:pt x="33" y="1267"/>
                    <a:pt x="19" y="1255"/>
                    <a:pt x="4" y="1244"/>
                  </a:cubicBezTo>
                  <a:cubicBezTo>
                    <a:pt x="4" y="1328"/>
                    <a:pt x="4" y="1328"/>
                    <a:pt x="4" y="1328"/>
                  </a:cubicBezTo>
                  <a:cubicBezTo>
                    <a:pt x="255" y="1532"/>
                    <a:pt x="506" y="1738"/>
                    <a:pt x="628" y="1841"/>
                  </a:cubicBezTo>
                  <a:cubicBezTo>
                    <a:pt x="662" y="1869"/>
                    <a:pt x="687" y="1891"/>
                    <a:pt x="696" y="1899"/>
                  </a:cubicBezTo>
                  <a:cubicBezTo>
                    <a:pt x="729" y="1999"/>
                    <a:pt x="793" y="2088"/>
                    <a:pt x="794" y="2089"/>
                  </a:cubicBezTo>
                  <a:cubicBezTo>
                    <a:pt x="797" y="2093"/>
                    <a:pt x="797" y="2093"/>
                    <a:pt x="797" y="2093"/>
                  </a:cubicBezTo>
                  <a:cubicBezTo>
                    <a:pt x="1227" y="2425"/>
                    <a:pt x="1227" y="2425"/>
                    <a:pt x="1227" y="2425"/>
                  </a:cubicBezTo>
                  <a:cubicBezTo>
                    <a:pt x="4" y="3733"/>
                    <a:pt x="4" y="3733"/>
                    <a:pt x="4" y="3733"/>
                  </a:cubicBezTo>
                  <a:cubicBezTo>
                    <a:pt x="4" y="3829"/>
                    <a:pt x="4" y="3829"/>
                    <a:pt x="4" y="3829"/>
                  </a:cubicBezTo>
                  <a:cubicBezTo>
                    <a:pt x="536" y="3260"/>
                    <a:pt x="536" y="3260"/>
                    <a:pt x="536" y="3260"/>
                  </a:cubicBezTo>
                  <a:cubicBezTo>
                    <a:pt x="626" y="3378"/>
                    <a:pt x="925" y="3768"/>
                    <a:pt x="1110" y="4003"/>
                  </a:cubicBezTo>
                  <a:cubicBezTo>
                    <a:pt x="1183" y="4096"/>
                    <a:pt x="1237" y="4163"/>
                    <a:pt x="1257" y="4184"/>
                  </a:cubicBezTo>
                  <a:cubicBezTo>
                    <a:pt x="1258" y="4185"/>
                    <a:pt x="1258" y="4185"/>
                    <a:pt x="1259" y="4186"/>
                  </a:cubicBezTo>
                  <a:cubicBezTo>
                    <a:pt x="160" y="6197"/>
                    <a:pt x="160" y="6197"/>
                    <a:pt x="160" y="6197"/>
                  </a:cubicBezTo>
                  <a:cubicBezTo>
                    <a:pt x="145" y="6190"/>
                    <a:pt x="130" y="6185"/>
                    <a:pt x="116" y="6181"/>
                  </a:cubicBezTo>
                  <a:cubicBezTo>
                    <a:pt x="84" y="6171"/>
                    <a:pt x="46" y="6161"/>
                    <a:pt x="4" y="6151"/>
                  </a:cubicBezTo>
                  <a:cubicBezTo>
                    <a:pt x="4" y="6218"/>
                    <a:pt x="4" y="6218"/>
                    <a:pt x="4" y="6218"/>
                  </a:cubicBezTo>
                  <a:cubicBezTo>
                    <a:pt x="39" y="6227"/>
                    <a:pt x="70" y="6235"/>
                    <a:pt x="97" y="6243"/>
                  </a:cubicBezTo>
                  <a:cubicBezTo>
                    <a:pt x="106" y="6246"/>
                    <a:pt x="115" y="6249"/>
                    <a:pt x="124" y="6253"/>
                  </a:cubicBezTo>
                  <a:cubicBezTo>
                    <a:pt x="96" y="6290"/>
                    <a:pt x="66" y="6335"/>
                    <a:pt x="4" y="6378"/>
                  </a:cubicBezTo>
                  <a:cubicBezTo>
                    <a:pt x="4" y="6456"/>
                    <a:pt x="4" y="6456"/>
                    <a:pt x="4" y="6456"/>
                  </a:cubicBezTo>
                  <a:cubicBezTo>
                    <a:pt x="7" y="6454"/>
                    <a:pt x="11" y="6452"/>
                    <a:pt x="14" y="6450"/>
                  </a:cubicBezTo>
                  <a:cubicBezTo>
                    <a:pt x="117" y="6388"/>
                    <a:pt x="159" y="6312"/>
                    <a:pt x="187" y="6279"/>
                  </a:cubicBezTo>
                  <a:cubicBezTo>
                    <a:pt x="316" y="6338"/>
                    <a:pt x="500" y="6451"/>
                    <a:pt x="659" y="6582"/>
                  </a:cubicBezTo>
                  <a:cubicBezTo>
                    <a:pt x="578" y="6672"/>
                    <a:pt x="486" y="6775"/>
                    <a:pt x="419" y="6847"/>
                  </a:cubicBezTo>
                  <a:cubicBezTo>
                    <a:pt x="386" y="6884"/>
                    <a:pt x="358" y="6914"/>
                    <a:pt x="342" y="6929"/>
                  </a:cubicBezTo>
                  <a:cubicBezTo>
                    <a:pt x="342" y="6929"/>
                    <a:pt x="342" y="6929"/>
                    <a:pt x="341" y="6929"/>
                  </a:cubicBezTo>
                  <a:cubicBezTo>
                    <a:pt x="341" y="6929"/>
                    <a:pt x="341" y="6929"/>
                    <a:pt x="341" y="6929"/>
                  </a:cubicBezTo>
                  <a:cubicBezTo>
                    <a:pt x="341" y="6929"/>
                    <a:pt x="341" y="6929"/>
                    <a:pt x="341" y="6929"/>
                  </a:cubicBezTo>
                  <a:cubicBezTo>
                    <a:pt x="341" y="6929"/>
                    <a:pt x="341" y="6929"/>
                    <a:pt x="341" y="6929"/>
                  </a:cubicBezTo>
                  <a:cubicBezTo>
                    <a:pt x="340" y="6929"/>
                    <a:pt x="340" y="6928"/>
                    <a:pt x="338" y="6928"/>
                  </a:cubicBezTo>
                  <a:cubicBezTo>
                    <a:pt x="336" y="6927"/>
                    <a:pt x="333" y="6926"/>
                    <a:pt x="329" y="6924"/>
                  </a:cubicBezTo>
                  <a:cubicBezTo>
                    <a:pt x="322" y="6921"/>
                    <a:pt x="311" y="6916"/>
                    <a:pt x="298" y="6911"/>
                  </a:cubicBezTo>
                  <a:cubicBezTo>
                    <a:pt x="273" y="6899"/>
                    <a:pt x="239" y="6883"/>
                    <a:pt x="203" y="6867"/>
                  </a:cubicBezTo>
                  <a:cubicBezTo>
                    <a:pt x="131" y="6834"/>
                    <a:pt x="52" y="6797"/>
                    <a:pt x="17" y="6782"/>
                  </a:cubicBezTo>
                  <a:cubicBezTo>
                    <a:pt x="11" y="6780"/>
                    <a:pt x="7" y="6778"/>
                    <a:pt x="4" y="6777"/>
                  </a:cubicBezTo>
                  <a:cubicBezTo>
                    <a:pt x="4" y="6838"/>
                    <a:pt x="4" y="6838"/>
                    <a:pt x="4" y="6838"/>
                  </a:cubicBezTo>
                  <a:cubicBezTo>
                    <a:pt x="5" y="6820"/>
                    <a:pt x="6" y="6804"/>
                    <a:pt x="6" y="6794"/>
                  </a:cubicBezTo>
                  <a:cubicBezTo>
                    <a:pt x="6" y="6794"/>
                    <a:pt x="6" y="6793"/>
                    <a:pt x="6" y="6793"/>
                  </a:cubicBezTo>
                  <a:cubicBezTo>
                    <a:pt x="7" y="6793"/>
                    <a:pt x="8" y="6793"/>
                    <a:pt x="9" y="6794"/>
                  </a:cubicBezTo>
                  <a:cubicBezTo>
                    <a:pt x="16" y="6797"/>
                    <a:pt x="27" y="6802"/>
                    <a:pt x="39" y="6807"/>
                  </a:cubicBezTo>
                  <a:cubicBezTo>
                    <a:pt x="65" y="6819"/>
                    <a:pt x="99" y="6834"/>
                    <a:pt x="135" y="6851"/>
                  </a:cubicBezTo>
                  <a:cubicBezTo>
                    <a:pt x="207" y="6884"/>
                    <a:pt x="286" y="6921"/>
                    <a:pt x="321" y="6936"/>
                  </a:cubicBezTo>
                  <a:cubicBezTo>
                    <a:pt x="325" y="6937"/>
                    <a:pt x="328" y="6939"/>
                    <a:pt x="331" y="6940"/>
                  </a:cubicBezTo>
                  <a:cubicBezTo>
                    <a:pt x="330" y="6940"/>
                    <a:pt x="330" y="6941"/>
                    <a:pt x="329" y="6941"/>
                  </a:cubicBezTo>
                  <a:cubicBezTo>
                    <a:pt x="324" y="6942"/>
                    <a:pt x="324" y="6945"/>
                    <a:pt x="322" y="6947"/>
                  </a:cubicBezTo>
                  <a:cubicBezTo>
                    <a:pt x="320" y="6949"/>
                    <a:pt x="318" y="6953"/>
                    <a:pt x="316" y="6957"/>
                  </a:cubicBezTo>
                  <a:cubicBezTo>
                    <a:pt x="311" y="6965"/>
                    <a:pt x="306" y="6977"/>
                    <a:pt x="299" y="6991"/>
                  </a:cubicBezTo>
                  <a:cubicBezTo>
                    <a:pt x="286" y="7019"/>
                    <a:pt x="270" y="7057"/>
                    <a:pt x="254" y="7095"/>
                  </a:cubicBezTo>
                  <a:cubicBezTo>
                    <a:pt x="230" y="7152"/>
                    <a:pt x="205" y="7211"/>
                    <a:pt x="192" y="7240"/>
                  </a:cubicBezTo>
                  <a:cubicBezTo>
                    <a:pt x="4" y="7170"/>
                    <a:pt x="4" y="7170"/>
                    <a:pt x="4" y="7170"/>
                  </a:cubicBezTo>
                  <a:cubicBezTo>
                    <a:pt x="4" y="7218"/>
                    <a:pt x="4" y="7218"/>
                    <a:pt x="4" y="7218"/>
                  </a:cubicBezTo>
                  <a:cubicBezTo>
                    <a:pt x="154" y="7274"/>
                    <a:pt x="154" y="7274"/>
                    <a:pt x="154" y="7274"/>
                  </a:cubicBezTo>
                  <a:cubicBezTo>
                    <a:pt x="151" y="7276"/>
                    <a:pt x="147" y="7279"/>
                    <a:pt x="144" y="7281"/>
                  </a:cubicBezTo>
                  <a:cubicBezTo>
                    <a:pt x="122" y="7295"/>
                    <a:pt x="94" y="7314"/>
                    <a:pt x="66" y="7333"/>
                  </a:cubicBezTo>
                  <a:cubicBezTo>
                    <a:pt x="44" y="7348"/>
                    <a:pt x="23" y="7362"/>
                    <a:pt x="4" y="7375"/>
                  </a:cubicBezTo>
                  <a:cubicBezTo>
                    <a:pt x="4" y="7391"/>
                    <a:pt x="4" y="7391"/>
                    <a:pt x="4" y="7391"/>
                  </a:cubicBezTo>
                  <a:cubicBezTo>
                    <a:pt x="23" y="7379"/>
                    <a:pt x="45" y="7364"/>
                    <a:pt x="68" y="7348"/>
                  </a:cubicBezTo>
                  <a:cubicBezTo>
                    <a:pt x="107" y="7322"/>
                    <a:pt x="148" y="7295"/>
                    <a:pt x="170" y="7280"/>
                  </a:cubicBezTo>
                  <a:cubicBezTo>
                    <a:pt x="171" y="7281"/>
                    <a:pt x="171" y="7281"/>
                    <a:pt x="171" y="7281"/>
                  </a:cubicBezTo>
                  <a:cubicBezTo>
                    <a:pt x="332" y="7505"/>
                    <a:pt x="332" y="7505"/>
                    <a:pt x="332" y="7505"/>
                  </a:cubicBezTo>
                  <a:cubicBezTo>
                    <a:pt x="322" y="7532"/>
                    <a:pt x="302" y="7585"/>
                    <a:pt x="281" y="7640"/>
                  </a:cubicBezTo>
                  <a:cubicBezTo>
                    <a:pt x="253" y="7713"/>
                    <a:pt x="221" y="7791"/>
                    <a:pt x="213" y="7805"/>
                  </a:cubicBezTo>
                  <a:cubicBezTo>
                    <a:pt x="197" y="7804"/>
                    <a:pt x="137" y="7796"/>
                    <a:pt x="128" y="7796"/>
                  </a:cubicBezTo>
                  <a:cubicBezTo>
                    <a:pt x="120" y="7798"/>
                    <a:pt x="122" y="7800"/>
                    <a:pt x="119" y="7802"/>
                  </a:cubicBezTo>
                  <a:cubicBezTo>
                    <a:pt x="118" y="7804"/>
                    <a:pt x="116" y="7807"/>
                    <a:pt x="114" y="7811"/>
                  </a:cubicBezTo>
                  <a:cubicBezTo>
                    <a:pt x="110" y="7818"/>
                    <a:pt x="104" y="7827"/>
                    <a:pt x="98" y="7839"/>
                  </a:cubicBezTo>
                  <a:cubicBezTo>
                    <a:pt x="86" y="7862"/>
                    <a:pt x="71" y="7893"/>
                    <a:pt x="56" y="7924"/>
                  </a:cubicBezTo>
                  <a:cubicBezTo>
                    <a:pt x="36" y="7966"/>
                    <a:pt x="17" y="8007"/>
                    <a:pt x="6" y="8030"/>
                  </a:cubicBezTo>
                  <a:cubicBezTo>
                    <a:pt x="5" y="8030"/>
                    <a:pt x="5" y="8030"/>
                    <a:pt x="4" y="8029"/>
                  </a:cubicBezTo>
                  <a:cubicBezTo>
                    <a:pt x="4" y="8106"/>
                    <a:pt x="4" y="8106"/>
                    <a:pt x="4" y="8106"/>
                  </a:cubicBezTo>
                  <a:cubicBezTo>
                    <a:pt x="73" y="8148"/>
                    <a:pt x="131" y="8192"/>
                    <a:pt x="171" y="8224"/>
                  </a:cubicBezTo>
                  <a:cubicBezTo>
                    <a:pt x="185" y="8236"/>
                    <a:pt x="197" y="8245"/>
                    <a:pt x="206" y="8253"/>
                  </a:cubicBezTo>
                  <a:cubicBezTo>
                    <a:pt x="160" y="8300"/>
                    <a:pt x="100" y="8355"/>
                    <a:pt x="4" y="8399"/>
                  </a:cubicBezTo>
                  <a:cubicBezTo>
                    <a:pt x="4" y="8470"/>
                    <a:pt x="4" y="8470"/>
                    <a:pt x="4" y="8470"/>
                  </a:cubicBezTo>
                  <a:cubicBezTo>
                    <a:pt x="64" y="8445"/>
                    <a:pt x="114" y="8416"/>
                    <a:pt x="154" y="8386"/>
                  </a:cubicBezTo>
                  <a:cubicBezTo>
                    <a:pt x="225" y="8462"/>
                    <a:pt x="225" y="8462"/>
                    <a:pt x="225" y="8462"/>
                  </a:cubicBezTo>
                  <a:cubicBezTo>
                    <a:pt x="186" y="8502"/>
                    <a:pt x="186" y="8502"/>
                    <a:pt x="186" y="8502"/>
                  </a:cubicBezTo>
                  <a:cubicBezTo>
                    <a:pt x="186" y="8502"/>
                    <a:pt x="186" y="8502"/>
                    <a:pt x="186" y="8502"/>
                  </a:cubicBezTo>
                  <a:cubicBezTo>
                    <a:pt x="197" y="8511"/>
                    <a:pt x="197" y="8511"/>
                    <a:pt x="197" y="8511"/>
                  </a:cubicBezTo>
                  <a:cubicBezTo>
                    <a:pt x="197" y="8511"/>
                    <a:pt x="197" y="8511"/>
                    <a:pt x="197" y="8511"/>
                  </a:cubicBezTo>
                  <a:cubicBezTo>
                    <a:pt x="319" y="8636"/>
                    <a:pt x="319" y="8636"/>
                    <a:pt x="319" y="8636"/>
                  </a:cubicBezTo>
                  <a:cubicBezTo>
                    <a:pt x="4" y="8898"/>
                    <a:pt x="4" y="8898"/>
                    <a:pt x="4" y="8898"/>
                  </a:cubicBezTo>
                  <a:cubicBezTo>
                    <a:pt x="4" y="8983"/>
                    <a:pt x="4" y="8983"/>
                    <a:pt x="4" y="8983"/>
                  </a:cubicBezTo>
                  <a:cubicBezTo>
                    <a:pt x="145" y="8866"/>
                    <a:pt x="145" y="8866"/>
                    <a:pt x="145" y="8866"/>
                  </a:cubicBezTo>
                  <a:cubicBezTo>
                    <a:pt x="331" y="9021"/>
                    <a:pt x="331" y="9021"/>
                    <a:pt x="331" y="9021"/>
                  </a:cubicBezTo>
                  <a:cubicBezTo>
                    <a:pt x="236" y="9248"/>
                    <a:pt x="236" y="9248"/>
                    <a:pt x="236" y="9248"/>
                  </a:cubicBezTo>
                  <a:cubicBezTo>
                    <a:pt x="233" y="9250"/>
                    <a:pt x="230" y="9251"/>
                    <a:pt x="227" y="9252"/>
                  </a:cubicBezTo>
                  <a:cubicBezTo>
                    <a:pt x="211" y="9258"/>
                    <a:pt x="175" y="9274"/>
                    <a:pt x="140" y="9290"/>
                  </a:cubicBezTo>
                  <a:cubicBezTo>
                    <a:pt x="125" y="9297"/>
                    <a:pt x="110" y="9304"/>
                    <a:pt x="98" y="9310"/>
                  </a:cubicBezTo>
                  <a:cubicBezTo>
                    <a:pt x="4" y="9125"/>
                    <a:pt x="4" y="9125"/>
                    <a:pt x="4" y="9125"/>
                  </a:cubicBezTo>
                  <a:cubicBezTo>
                    <a:pt x="4" y="9268"/>
                    <a:pt x="4" y="9268"/>
                    <a:pt x="4" y="9268"/>
                  </a:cubicBezTo>
                  <a:cubicBezTo>
                    <a:pt x="39" y="9337"/>
                    <a:pt x="39" y="9337"/>
                    <a:pt x="39" y="9337"/>
                  </a:cubicBezTo>
                  <a:cubicBezTo>
                    <a:pt x="39" y="9337"/>
                    <a:pt x="39" y="9337"/>
                    <a:pt x="39" y="9337"/>
                  </a:cubicBezTo>
                  <a:cubicBezTo>
                    <a:pt x="131" y="9508"/>
                    <a:pt x="131" y="9508"/>
                    <a:pt x="131" y="9508"/>
                  </a:cubicBezTo>
                  <a:cubicBezTo>
                    <a:pt x="34" y="9534"/>
                    <a:pt x="34" y="9534"/>
                    <a:pt x="34" y="9534"/>
                  </a:cubicBezTo>
                  <a:cubicBezTo>
                    <a:pt x="34" y="9535"/>
                    <a:pt x="34" y="9535"/>
                    <a:pt x="34" y="9535"/>
                  </a:cubicBezTo>
                  <a:cubicBezTo>
                    <a:pt x="4" y="9543"/>
                    <a:pt x="4" y="9543"/>
                    <a:pt x="4" y="9543"/>
                  </a:cubicBezTo>
                  <a:cubicBezTo>
                    <a:pt x="4" y="9557"/>
                    <a:pt x="4" y="9557"/>
                    <a:pt x="4" y="9557"/>
                  </a:cubicBezTo>
                  <a:cubicBezTo>
                    <a:pt x="31" y="9550"/>
                    <a:pt x="31" y="9550"/>
                    <a:pt x="31" y="9550"/>
                  </a:cubicBezTo>
                  <a:cubicBezTo>
                    <a:pt x="26" y="9578"/>
                    <a:pt x="11" y="9655"/>
                    <a:pt x="4" y="9699"/>
                  </a:cubicBezTo>
                  <a:cubicBezTo>
                    <a:pt x="2" y="9714"/>
                    <a:pt x="1" y="9724"/>
                    <a:pt x="1" y="9729"/>
                  </a:cubicBezTo>
                  <a:cubicBezTo>
                    <a:pt x="1" y="9730"/>
                    <a:pt x="1" y="9730"/>
                    <a:pt x="1" y="9732"/>
                  </a:cubicBezTo>
                  <a:cubicBezTo>
                    <a:pt x="1" y="9732"/>
                    <a:pt x="1" y="9734"/>
                    <a:pt x="4" y="9737"/>
                  </a:cubicBezTo>
                  <a:cubicBezTo>
                    <a:pt x="5" y="9737"/>
                    <a:pt x="5" y="9737"/>
                    <a:pt x="5" y="9737"/>
                  </a:cubicBezTo>
                  <a:cubicBezTo>
                    <a:pt x="5" y="9738"/>
                    <a:pt x="5" y="9738"/>
                    <a:pt x="5" y="9738"/>
                  </a:cubicBezTo>
                  <a:cubicBezTo>
                    <a:pt x="5" y="9738"/>
                    <a:pt x="6" y="9738"/>
                    <a:pt x="6" y="9738"/>
                  </a:cubicBezTo>
                  <a:cubicBezTo>
                    <a:pt x="7" y="9739"/>
                    <a:pt x="8" y="9740"/>
                    <a:pt x="10" y="9741"/>
                  </a:cubicBezTo>
                  <a:cubicBezTo>
                    <a:pt x="13" y="9744"/>
                    <a:pt x="18" y="9748"/>
                    <a:pt x="23" y="9753"/>
                  </a:cubicBezTo>
                  <a:cubicBezTo>
                    <a:pt x="35" y="9764"/>
                    <a:pt x="50" y="9778"/>
                    <a:pt x="65" y="9792"/>
                  </a:cubicBezTo>
                  <a:cubicBezTo>
                    <a:pt x="73" y="9800"/>
                    <a:pt x="82" y="9808"/>
                    <a:pt x="90" y="9815"/>
                  </a:cubicBezTo>
                  <a:cubicBezTo>
                    <a:pt x="78" y="9835"/>
                    <a:pt x="43" y="9889"/>
                    <a:pt x="4" y="9950"/>
                  </a:cubicBezTo>
                  <a:cubicBezTo>
                    <a:pt x="4" y="9980"/>
                    <a:pt x="4" y="9980"/>
                    <a:pt x="4" y="9980"/>
                  </a:cubicBezTo>
                  <a:cubicBezTo>
                    <a:pt x="46" y="9914"/>
                    <a:pt x="87" y="9851"/>
                    <a:pt x="102" y="9827"/>
                  </a:cubicBezTo>
                  <a:cubicBezTo>
                    <a:pt x="118" y="9842"/>
                    <a:pt x="131" y="9854"/>
                    <a:pt x="136" y="9859"/>
                  </a:cubicBezTo>
                  <a:cubicBezTo>
                    <a:pt x="138" y="9860"/>
                    <a:pt x="138" y="9860"/>
                    <a:pt x="141" y="9862"/>
                  </a:cubicBezTo>
                  <a:cubicBezTo>
                    <a:pt x="142" y="9862"/>
                    <a:pt x="142" y="9862"/>
                    <a:pt x="142" y="9862"/>
                  </a:cubicBezTo>
                  <a:cubicBezTo>
                    <a:pt x="143" y="9862"/>
                    <a:pt x="143" y="9862"/>
                    <a:pt x="143" y="9862"/>
                  </a:cubicBezTo>
                  <a:cubicBezTo>
                    <a:pt x="143" y="9862"/>
                    <a:pt x="144" y="9862"/>
                    <a:pt x="144" y="9862"/>
                  </a:cubicBezTo>
                  <a:cubicBezTo>
                    <a:pt x="144" y="9862"/>
                    <a:pt x="144" y="9862"/>
                    <a:pt x="144" y="9862"/>
                  </a:cubicBezTo>
                  <a:cubicBezTo>
                    <a:pt x="150" y="9861"/>
                    <a:pt x="150" y="9860"/>
                    <a:pt x="156" y="9858"/>
                  </a:cubicBezTo>
                  <a:cubicBezTo>
                    <a:pt x="160" y="9856"/>
                    <a:pt x="166" y="9853"/>
                    <a:pt x="173" y="9849"/>
                  </a:cubicBezTo>
                  <a:cubicBezTo>
                    <a:pt x="186" y="9842"/>
                    <a:pt x="204" y="9832"/>
                    <a:pt x="221" y="9822"/>
                  </a:cubicBezTo>
                  <a:cubicBezTo>
                    <a:pt x="245" y="9809"/>
                    <a:pt x="269" y="9795"/>
                    <a:pt x="281" y="9788"/>
                  </a:cubicBezTo>
                  <a:cubicBezTo>
                    <a:pt x="371" y="9957"/>
                    <a:pt x="371" y="9957"/>
                    <a:pt x="371" y="9957"/>
                  </a:cubicBezTo>
                  <a:cubicBezTo>
                    <a:pt x="356" y="9968"/>
                    <a:pt x="337" y="9984"/>
                    <a:pt x="325" y="9996"/>
                  </a:cubicBezTo>
                  <a:cubicBezTo>
                    <a:pt x="320" y="10001"/>
                    <a:pt x="303" y="10019"/>
                    <a:pt x="278" y="10046"/>
                  </a:cubicBezTo>
                  <a:cubicBezTo>
                    <a:pt x="234" y="10039"/>
                    <a:pt x="189" y="10034"/>
                    <a:pt x="149" y="10034"/>
                  </a:cubicBezTo>
                  <a:cubicBezTo>
                    <a:pt x="137" y="10034"/>
                    <a:pt x="126" y="10035"/>
                    <a:pt x="115" y="10036"/>
                  </a:cubicBezTo>
                  <a:cubicBezTo>
                    <a:pt x="74" y="10039"/>
                    <a:pt x="36" y="10054"/>
                    <a:pt x="4" y="10071"/>
                  </a:cubicBezTo>
                  <a:cubicBezTo>
                    <a:pt x="4" y="10089"/>
                    <a:pt x="4" y="10089"/>
                    <a:pt x="4" y="10089"/>
                  </a:cubicBezTo>
                  <a:cubicBezTo>
                    <a:pt x="36" y="10072"/>
                    <a:pt x="75" y="10055"/>
                    <a:pt x="117" y="10052"/>
                  </a:cubicBezTo>
                  <a:cubicBezTo>
                    <a:pt x="127" y="10051"/>
                    <a:pt x="137" y="10051"/>
                    <a:pt x="149" y="10051"/>
                  </a:cubicBezTo>
                  <a:cubicBezTo>
                    <a:pt x="185" y="10051"/>
                    <a:pt x="225" y="10055"/>
                    <a:pt x="265" y="10061"/>
                  </a:cubicBezTo>
                  <a:cubicBezTo>
                    <a:pt x="205" y="10126"/>
                    <a:pt x="108" y="10230"/>
                    <a:pt x="10" y="10336"/>
                  </a:cubicBezTo>
                  <a:cubicBezTo>
                    <a:pt x="8" y="10336"/>
                    <a:pt x="6" y="10336"/>
                    <a:pt x="4" y="10336"/>
                  </a:cubicBezTo>
                  <a:cubicBezTo>
                    <a:pt x="4" y="10566"/>
                    <a:pt x="4" y="10566"/>
                    <a:pt x="4" y="10566"/>
                  </a:cubicBezTo>
                  <a:cubicBezTo>
                    <a:pt x="35" y="10533"/>
                    <a:pt x="67" y="10498"/>
                    <a:pt x="100" y="10463"/>
                  </a:cubicBezTo>
                  <a:cubicBezTo>
                    <a:pt x="141" y="10418"/>
                    <a:pt x="183" y="10374"/>
                    <a:pt x="222" y="10331"/>
                  </a:cubicBezTo>
                  <a:cubicBezTo>
                    <a:pt x="251" y="10328"/>
                    <a:pt x="279" y="10324"/>
                    <a:pt x="304" y="10321"/>
                  </a:cubicBezTo>
                  <a:cubicBezTo>
                    <a:pt x="389" y="10305"/>
                    <a:pt x="389" y="10305"/>
                    <a:pt x="389" y="10305"/>
                  </a:cubicBezTo>
                  <a:cubicBezTo>
                    <a:pt x="406" y="10304"/>
                    <a:pt x="475" y="10281"/>
                    <a:pt x="476" y="10281"/>
                  </a:cubicBezTo>
                  <a:cubicBezTo>
                    <a:pt x="477" y="10281"/>
                    <a:pt x="477" y="10281"/>
                    <a:pt x="477" y="10281"/>
                  </a:cubicBezTo>
                  <a:cubicBezTo>
                    <a:pt x="478" y="10280"/>
                    <a:pt x="478" y="10280"/>
                    <a:pt x="478" y="10280"/>
                  </a:cubicBezTo>
                  <a:cubicBezTo>
                    <a:pt x="515" y="10256"/>
                    <a:pt x="545" y="10237"/>
                    <a:pt x="582" y="10214"/>
                  </a:cubicBezTo>
                  <a:cubicBezTo>
                    <a:pt x="588" y="10222"/>
                    <a:pt x="595" y="10230"/>
                    <a:pt x="602" y="10238"/>
                  </a:cubicBezTo>
                  <a:cubicBezTo>
                    <a:pt x="608" y="10245"/>
                    <a:pt x="615" y="10253"/>
                    <a:pt x="621" y="10260"/>
                  </a:cubicBezTo>
                  <a:cubicBezTo>
                    <a:pt x="553" y="10290"/>
                    <a:pt x="482" y="10324"/>
                    <a:pt x="437" y="10349"/>
                  </a:cubicBezTo>
                  <a:cubicBezTo>
                    <a:pt x="342" y="10400"/>
                    <a:pt x="221" y="10449"/>
                    <a:pt x="140" y="10538"/>
                  </a:cubicBezTo>
                  <a:cubicBezTo>
                    <a:pt x="93" y="10589"/>
                    <a:pt x="40" y="10654"/>
                    <a:pt x="4" y="10698"/>
                  </a:cubicBezTo>
                  <a:cubicBezTo>
                    <a:pt x="4" y="10738"/>
                    <a:pt x="4" y="10738"/>
                    <a:pt x="4" y="10738"/>
                  </a:cubicBezTo>
                  <a:cubicBezTo>
                    <a:pt x="38" y="10696"/>
                    <a:pt x="103" y="10615"/>
                    <a:pt x="158" y="10554"/>
                  </a:cubicBezTo>
                  <a:cubicBezTo>
                    <a:pt x="198" y="10511"/>
                    <a:pt x="249" y="10477"/>
                    <a:pt x="303" y="10446"/>
                  </a:cubicBezTo>
                  <a:cubicBezTo>
                    <a:pt x="338" y="10521"/>
                    <a:pt x="338" y="10521"/>
                    <a:pt x="338" y="10521"/>
                  </a:cubicBezTo>
                  <a:cubicBezTo>
                    <a:pt x="346" y="10516"/>
                    <a:pt x="346" y="10516"/>
                    <a:pt x="346" y="10516"/>
                  </a:cubicBezTo>
                  <a:cubicBezTo>
                    <a:pt x="314" y="10537"/>
                    <a:pt x="314" y="10537"/>
                    <a:pt x="314" y="10537"/>
                  </a:cubicBezTo>
                  <a:cubicBezTo>
                    <a:pt x="314" y="10537"/>
                    <a:pt x="325" y="10563"/>
                    <a:pt x="341" y="10602"/>
                  </a:cubicBezTo>
                  <a:cubicBezTo>
                    <a:pt x="337" y="10606"/>
                    <a:pt x="167" y="10723"/>
                    <a:pt x="79" y="10786"/>
                  </a:cubicBezTo>
                  <a:cubicBezTo>
                    <a:pt x="66" y="10796"/>
                    <a:pt x="54" y="10804"/>
                    <a:pt x="25" y="10826"/>
                  </a:cubicBezTo>
                  <a:cubicBezTo>
                    <a:pt x="4" y="10794"/>
                    <a:pt x="4" y="10794"/>
                    <a:pt x="4" y="10794"/>
                  </a:cubicBezTo>
                  <a:cubicBezTo>
                    <a:pt x="4" y="10909"/>
                    <a:pt x="4" y="10909"/>
                    <a:pt x="4" y="10909"/>
                  </a:cubicBezTo>
                  <a:cubicBezTo>
                    <a:pt x="7" y="10913"/>
                    <a:pt x="10" y="10918"/>
                    <a:pt x="14" y="10925"/>
                  </a:cubicBezTo>
                  <a:cubicBezTo>
                    <a:pt x="18" y="10929"/>
                    <a:pt x="18" y="10929"/>
                    <a:pt x="18" y="10929"/>
                  </a:cubicBezTo>
                  <a:cubicBezTo>
                    <a:pt x="21" y="10934"/>
                    <a:pt x="25" y="10940"/>
                    <a:pt x="29" y="10945"/>
                  </a:cubicBezTo>
                  <a:cubicBezTo>
                    <a:pt x="9" y="10962"/>
                    <a:pt x="9" y="10962"/>
                    <a:pt x="9" y="10962"/>
                  </a:cubicBezTo>
                  <a:cubicBezTo>
                    <a:pt x="8" y="10963"/>
                    <a:pt x="6" y="10965"/>
                    <a:pt x="4" y="10966"/>
                  </a:cubicBezTo>
                  <a:cubicBezTo>
                    <a:pt x="4" y="10987"/>
                    <a:pt x="4" y="10987"/>
                    <a:pt x="4" y="10987"/>
                  </a:cubicBezTo>
                  <a:cubicBezTo>
                    <a:pt x="16" y="10976"/>
                    <a:pt x="27" y="10967"/>
                    <a:pt x="37" y="10958"/>
                  </a:cubicBezTo>
                  <a:cubicBezTo>
                    <a:pt x="37" y="10957"/>
                    <a:pt x="37" y="10957"/>
                    <a:pt x="37" y="10957"/>
                  </a:cubicBezTo>
                  <a:cubicBezTo>
                    <a:pt x="38" y="10958"/>
                    <a:pt x="38" y="10958"/>
                    <a:pt x="38" y="10958"/>
                  </a:cubicBezTo>
                  <a:cubicBezTo>
                    <a:pt x="38" y="10958"/>
                    <a:pt x="38" y="10958"/>
                    <a:pt x="38" y="10958"/>
                  </a:cubicBezTo>
                  <a:cubicBezTo>
                    <a:pt x="56" y="10984"/>
                    <a:pt x="80" y="11015"/>
                    <a:pt x="104" y="11051"/>
                  </a:cubicBezTo>
                  <a:cubicBezTo>
                    <a:pt x="142" y="11107"/>
                    <a:pt x="188" y="11174"/>
                    <a:pt x="237" y="11247"/>
                  </a:cubicBezTo>
                  <a:cubicBezTo>
                    <a:pt x="206" y="11262"/>
                    <a:pt x="111" y="11309"/>
                    <a:pt x="4" y="11363"/>
                  </a:cubicBezTo>
                  <a:cubicBezTo>
                    <a:pt x="4" y="11379"/>
                    <a:pt x="4" y="11379"/>
                    <a:pt x="4" y="11379"/>
                  </a:cubicBezTo>
                  <a:cubicBezTo>
                    <a:pt x="116" y="11323"/>
                    <a:pt x="215" y="11273"/>
                    <a:pt x="245" y="11258"/>
                  </a:cubicBezTo>
                  <a:cubicBezTo>
                    <a:pt x="276" y="11303"/>
                    <a:pt x="309" y="11351"/>
                    <a:pt x="342" y="11398"/>
                  </a:cubicBezTo>
                  <a:cubicBezTo>
                    <a:pt x="339" y="11401"/>
                    <a:pt x="335" y="11403"/>
                    <a:pt x="330" y="11406"/>
                  </a:cubicBezTo>
                  <a:cubicBezTo>
                    <a:pt x="313" y="11417"/>
                    <a:pt x="289" y="11432"/>
                    <a:pt x="262" y="11451"/>
                  </a:cubicBezTo>
                  <a:cubicBezTo>
                    <a:pt x="206" y="11487"/>
                    <a:pt x="132" y="11536"/>
                    <a:pt x="59" y="11584"/>
                  </a:cubicBezTo>
                  <a:cubicBezTo>
                    <a:pt x="41" y="11596"/>
                    <a:pt x="22" y="11608"/>
                    <a:pt x="4" y="11620"/>
                  </a:cubicBezTo>
                  <a:cubicBezTo>
                    <a:pt x="4" y="11637"/>
                    <a:pt x="4" y="11637"/>
                    <a:pt x="4" y="11637"/>
                  </a:cubicBezTo>
                  <a:cubicBezTo>
                    <a:pt x="24" y="11624"/>
                    <a:pt x="43" y="11611"/>
                    <a:pt x="63" y="11598"/>
                  </a:cubicBezTo>
                  <a:cubicBezTo>
                    <a:pt x="185" y="11517"/>
                    <a:pt x="310" y="11436"/>
                    <a:pt x="350" y="11410"/>
                  </a:cubicBezTo>
                  <a:cubicBezTo>
                    <a:pt x="354" y="11415"/>
                    <a:pt x="357" y="11419"/>
                    <a:pt x="360" y="11424"/>
                  </a:cubicBezTo>
                  <a:cubicBezTo>
                    <a:pt x="435" y="11531"/>
                    <a:pt x="512" y="11639"/>
                    <a:pt x="581" y="11737"/>
                  </a:cubicBezTo>
                  <a:cubicBezTo>
                    <a:pt x="131" y="11954"/>
                    <a:pt x="131" y="11954"/>
                    <a:pt x="131" y="11954"/>
                  </a:cubicBezTo>
                  <a:cubicBezTo>
                    <a:pt x="4" y="11880"/>
                    <a:pt x="4" y="11880"/>
                    <a:pt x="4" y="11880"/>
                  </a:cubicBezTo>
                  <a:cubicBezTo>
                    <a:pt x="4" y="11932"/>
                    <a:pt x="4" y="11932"/>
                    <a:pt x="4" y="11932"/>
                  </a:cubicBezTo>
                  <a:cubicBezTo>
                    <a:pt x="104" y="11991"/>
                    <a:pt x="104" y="11991"/>
                    <a:pt x="104" y="11991"/>
                  </a:cubicBezTo>
                  <a:cubicBezTo>
                    <a:pt x="71" y="12130"/>
                    <a:pt x="71" y="12130"/>
                    <a:pt x="71" y="12130"/>
                  </a:cubicBezTo>
                  <a:cubicBezTo>
                    <a:pt x="48" y="12126"/>
                    <a:pt x="26" y="12124"/>
                    <a:pt x="4" y="12122"/>
                  </a:cubicBezTo>
                  <a:cubicBezTo>
                    <a:pt x="4" y="12188"/>
                    <a:pt x="4" y="12188"/>
                    <a:pt x="4" y="12188"/>
                  </a:cubicBezTo>
                  <a:cubicBezTo>
                    <a:pt x="59" y="12193"/>
                    <a:pt x="125" y="12205"/>
                    <a:pt x="152" y="12222"/>
                  </a:cubicBezTo>
                  <a:cubicBezTo>
                    <a:pt x="171" y="12233"/>
                    <a:pt x="215" y="12279"/>
                    <a:pt x="254" y="12327"/>
                  </a:cubicBezTo>
                  <a:cubicBezTo>
                    <a:pt x="272" y="12349"/>
                    <a:pt x="289" y="12371"/>
                    <a:pt x="305" y="12392"/>
                  </a:cubicBezTo>
                  <a:cubicBezTo>
                    <a:pt x="115" y="12621"/>
                    <a:pt x="115" y="12621"/>
                    <a:pt x="115" y="12621"/>
                  </a:cubicBezTo>
                  <a:cubicBezTo>
                    <a:pt x="106" y="12617"/>
                    <a:pt x="100" y="12614"/>
                    <a:pt x="90" y="12613"/>
                  </a:cubicBezTo>
                  <a:cubicBezTo>
                    <a:pt x="90" y="12613"/>
                    <a:pt x="90" y="12613"/>
                    <a:pt x="90" y="12613"/>
                  </a:cubicBezTo>
                  <a:cubicBezTo>
                    <a:pt x="90" y="12613"/>
                    <a:pt x="90" y="12613"/>
                    <a:pt x="90" y="12613"/>
                  </a:cubicBezTo>
                  <a:cubicBezTo>
                    <a:pt x="89" y="12613"/>
                    <a:pt x="88" y="12613"/>
                    <a:pt x="87" y="12613"/>
                  </a:cubicBezTo>
                  <a:cubicBezTo>
                    <a:pt x="84" y="12612"/>
                    <a:pt x="81" y="12612"/>
                    <a:pt x="76" y="12611"/>
                  </a:cubicBezTo>
                  <a:cubicBezTo>
                    <a:pt x="68" y="12610"/>
                    <a:pt x="56" y="12608"/>
                    <a:pt x="42" y="12606"/>
                  </a:cubicBezTo>
                  <a:cubicBezTo>
                    <a:pt x="31" y="12604"/>
                    <a:pt x="18" y="12602"/>
                    <a:pt x="4" y="12599"/>
                  </a:cubicBezTo>
                  <a:cubicBezTo>
                    <a:pt x="4" y="12645"/>
                    <a:pt x="4" y="12645"/>
                    <a:pt x="4" y="12645"/>
                  </a:cubicBezTo>
                  <a:cubicBezTo>
                    <a:pt x="31" y="12650"/>
                    <a:pt x="55" y="12654"/>
                    <a:pt x="70" y="12656"/>
                  </a:cubicBezTo>
                  <a:cubicBezTo>
                    <a:pt x="78" y="12657"/>
                    <a:pt x="82" y="12658"/>
                    <a:pt x="88" y="12658"/>
                  </a:cubicBezTo>
                  <a:cubicBezTo>
                    <a:pt x="88" y="12658"/>
                    <a:pt x="88" y="12658"/>
                    <a:pt x="88" y="12658"/>
                  </a:cubicBezTo>
                  <a:cubicBezTo>
                    <a:pt x="90" y="12659"/>
                    <a:pt x="92" y="12660"/>
                    <a:pt x="95" y="12661"/>
                  </a:cubicBezTo>
                  <a:cubicBezTo>
                    <a:pt x="101" y="12664"/>
                    <a:pt x="110" y="12669"/>
                    <a:pt x="119" y="12675"/>
                  </a:cubicBezTo>
                  <a:cubicBezTo>
                    <a:pt x="137" y="12688"/>
                    <a:pt x="159" y="12707"/>
                    <a:pt x="178" y="12731"/>
                  </a:cubicBezTo>
                  <a:cubicBezTo>
                    <a:pt x="202" y="12762"/>
                    <a:pt x="234" y="12817"/>
                    <a:pt x="249" y="12884"/>
                  </a:cubicBezTo>
                  <a:cubicBezTo>
                    <a:pt x="241" y="12888"/>
                    <a:pt x="231" y="12892"/>
                    <a:pt x="219" y="12897"/>
                  </a:cubicBezTo>
                  <a:cubicBezTo>
                    <a:pt x="188" y="12910"/>
                    <a:pt x="147" y="12927"/>
                    <a:pt x="107" y="12945"/>
                  </a:cubicBezTo>
                  <a:cubicBezTo>
                    <a:pt x="69" y="12961"/>
                    <a:pt x="33" y="12976"/>
                    <a:pt x="4" y="12989"/>
                  </a:cubicBezTo>
                  <a:cubicBezTo>
                    <a:pt x="4" y="13004"/>
                    <a:pt x="4" y="13004"/>
                    <a:pt x="4" y="13004"/>
                  </a:cubicBezTo>
                  <a:cubicBezTo>
                    <a:pt x="33" y="12992"/>
                    <a:pt x="70" y="12976"/>
                    <a:pt x="108" y="12959"/>
                  </a:cubicBezTo>
                  <a:cubicBezTo>
                    <a:pt x="163" y="12935"/>
                    <a:pt x="220" y="12911"/>
                    <a:pt x="252" y="12898"/>
                  </a:cubicBezTo>
                  <a:cubicBezTo>
                    <a:pt x="255" y="12918"/>
                    <a:pt x="258" y="12938"/>
                    <a:pt x="258" y="12959"/>
                  </a:cubicBezTo>
                  <a:cubicBezTo>
                    <a:pt x="258" y="12978"/>
                    <a:pt x="256" y="12997"/>
                    <a:pt x="253" y="13017"/>
                  </a:cubicBezTo>
                  <a:cubicBezTo>
                    <a:pt x="231" y="13138"/>
                    <a:pt x="229" y="13266"/>
                    <a:pt x="229" y="13297"/>
                  </a:cubicBezTo>
                  <a:cubicBezTo>
                    <a:pt x="117" y="13470"/>
                    <a:pt x="117" y="13470"/>
                    <a:pt x="117" y="13470"/>
                  </a:cubicBezTo>
                  <a:cubicBezTo>
                    <a:pt x="4" y="13444"/>
                    <a:pt x="4" y="13444"/>
                    <a:pt x="4" y="13444"/>
                  </a:cubicBezTo>
                  <a:cubicBezTo>
                    <a:pt x="4" y="13459"/>
                    <a:pt x="4" y="13459"/>
                    <a:pt x="4" y="13459"/>
                  </a:cubicBezTo>
                  <a:cubicBezTo>
                    <a:pt x="108" y="13482"/>
                    <a:pt x="108" y="13482"/>
                    <a:pt x="108" y="13482"/>
                  </a:cubicBezTo>
                  <a:cubicBezTo>
                    <a:pt x="108" y="13483"/>
                    <a:pt x="108" y="13483"/>
                    <a:pt x="108" y="13483"/>
                  </a:cubicBezTo>
                  <a:cubicBezTo>
                    <a:pt x="197" y="13644"/>
                    <a:pt x="197" y="13644"/>
                    <a:pt x="197" y="13644"/>
                  </a:cubicBezTo>
                  <a:cubicBezTo>
                    <a:pt x="178" y="13693"/>
                    <a:pt x="178" y="13693"/>
                    <a:pt x="178" y="13693"/>
                  </a:cubicBezTo>
                  <a:cubicBezTo>
                    <a:pt x="4" y="13617"/>
                    <a:pt x="4" y="13617"/>
                    <a:pt x="4" y="13617"/>
                  </a:cubicBezTo>
                  <a:cubicBezTo>
                    <a:pt x="4" y="13632"/>
                    <a:pt x="4" y="13632"/>
                    <a:pt x="4" y="13632"/>
                  </a:cubicBezTo>
                  <a:cubicBezTo>
                    <a:pt x="173" y="13706"/>
                    <a:pt x="173" y="13706"/>
                    <a:pt x="173" y="13706"/>
                  </a:cubicBezTo>
                  <a:cubicBezTo>
                    <a:pt x="119" y="13844"/>
                    <a:pt x="119" y="13844"/>
                    <a:pt x="119" y="13844"/>
                  </a:cubicBezTo>
                  <a:cubicBezTo>
                    <a:pt x="116" y="13842"/>
                    <a:pt x="112" y="13841"/>
                    <a:pt x="107" y="13838"/>
                  </a:cubicBezTo>
                  <a:cubicBezTo>
                    <a:pt x="94" y="13832"/>
                    <a:pt x="76" y="13823"/>
                    <a:pt x="54" y="13812"/>
                  </a:cubicBezTo>
                  <a:cubicBezTo>
                    <a:pt x="39" y="13804"/>
                    <a:pt x="22" y="13795"/>
                    <a:pt x="4" y="13786"/>
                  </a:cubicBezTo>
                  <a:cubicBezTo>
                    <a:pt x="4" y="13801"/>
                    <a:pt x="4" y="13801"/>
                    <a:pt x="4" y="13801"/>
                  </a:cubicBezTo>
                  <a:cubicBezTo>
                    <a:pt x="55" y="13828"/>
                    <a:pt x="96" y="13849"/>
                    <a:pt x="114" y="13857"/>
                  </a:cubicBezTo>
                  <a:cubicBezTo>
                    <a:pt x="50" y="14021"/>
                    <a:pt x="50" y="14021"/>
                    <a:pt x="50" y="14021"/>
                  </a:cubicBezTo>
                  <a:cubicBezTo>
                    <a:pt x="4" y="13986"/>
                    <a:pt x="4" y="13986"/>
                    <a:pt x="4" y="13986"/>
                  </a:cubicBezTo>
                  <a:cubicBezTo>
                    <a:pt x="4" y="14003"/>
                    <a:pt x="4" y="14003"/>
                    <a:pt x="4" y="14003"/>
                  </a:cubicBezTo>
                  <a:cubicBezTo>
                    <a:pt x="44" y="14034"/>
                    <a:pt x="44" y="14034"/>
                    <a:pt x="44" y="14034"/>
                  </a:cubicBezTo>
                  <a:cubicBezTo>
                    <a:pt x="4" y="14136"/>
                    <a:pt x="4" y="14136"/>
                    <a:pt x="4" y="14136"/>
                  </a:cubicBezTo>
                  <a:cubicBezTo>
                    <a:pt x="4" y="14225"/>
                    <a:pt x="4" y="14225"/>
                    <a:pt x="4" y="14225"/>
                  </a:cubicBezTo>
                  <a:cubicBezTo>
                    <a:pt x="137" y="14330"/>
                    <a:pt x="137" y="14330"/>
                    <a:pt x="137" y="14330"/>
                  </a:cubicBezTo>
                  <a:cubicBezTo>
                    <a:pt x="109" y="14372"/>
                    <a:pt x="50" y="14460"/>
                    <a:pt x="32" y="14492"/>
                  </a:cubicBezTo>
                  <a:cubicBezTo>
                    <a:pt x="30" y="14497"/>
                    <a:pt x="28" y="14499"/>
                    <a:pt x="27" y="14502"/>
                  </a:cubicBezTo>
                  <a:cubicBezTo>
                    <a:pt x="22" y="14504"/>
                    <a:pt x="14" y="14506"/>
                    <a:pt x="4" y="14510"/>
                  </a:cubicBezTo>
                  <a:cubicBezTo>
                    <a:pt x="4" y="14524"/>
                    <a:pt x="4" y="14524"/>
                    <a:pt x="4" y="14524"/>
                  </a:cubicBezTo>
                  <a:cubicBezTo>
                    <a:pt x="23" y="14518"/>
                    <a:pt x="35" y="14514"/>
                    <a:pt x="35" y="14514"/>
                  </a:cubicBezTo>
                  <a:cubicBezTo>
                    <a:pt x="34" y="14507"/>
                    <a:pt x="34" y="14507"/>
                    <a:pt x="34" y="14507"/>
                  </a:cubicBezTo>
                  <a:cubicBezTo>
                    <a:pt x="37" y="14507"/>
                    <a:pt x="37" y="14507"/>
                    <a:pt x="37" y="14507"/>
                  </a:cubicBezTo>
                  <a:cubicBezTo>
                    <a:pt x="40" y="14508"/>
                    <a:pt x="40" y="14508"/>
                    <a:pt x="40" y="14508"/>
                  </a:cubicBezTo>
                  <a:cubicBezTo>
                    <a:pt x="40" y="14508"/>
                    <a:pt x="40" y="14508"/>
                    <a:pt x="40" y="14508"/>
                  </a:cubicBezTo>
                  <a:cubicBezTo>
                    <a:pt x="40" y="14507"/>
                    <a:pt x="40" y="14507"/>
                    <a:pt x="40" y="14506"/>
                  </a:cubicBezTo>
                  <a:cubicBezTo>
                    <a:pt x="41" y="14504"/>
                    <a:pt x="43" y="14502"/>
                    <a:pt x="44" y="14499"/>
                  </a:cubicBezTo>
                  <a:cubicBezTo>
                    <a:pt x="48" y="14493"/>
                    <a:pt x="52" y="14485"/>
                    <a:pt x="58" y="14476"/>
                  </a:cubicBezTo>
                  <a:cubicBezTo>
                    <a:pt x="70" y="14457"/>
                    <a:pt x="86" y="14433"/>
                    <a:pt x="102" y="14409"/>
                  </a:cubicBezTo>
                  <a:cubicBezTo>
                    <a:pt x="119" y="14382"/>
                    <a:pt x="136" y="14357"/>
                    <a:pt x="148" y="14339"/>
                  </a:cubicBezTo>
                  <a:cubicBezTo>
                    <a:pt x="470" y="14593"/>
                    <a:pt x="470" y="14593"/>
                    <a:pt x="470" y="14593"/>
                  </a:cubicBezTo>
                  <a:cubicBezTo>
                    <a:pt x="470" y="14593"/>
                    <a:pt x="470" y="14593"/>
                    <a:pt x="470" y="14593"/>
                  </a:cubicBezTo>
                  <a:cubicBezTo>
                    <a:pt x="470" y="14593"/>
                    <a:pt x="471" y="14594"/>
                    <a:pt x="472" y="14595"/>
                  </a:cubicBezTo>
                  <a:cubicBezTo>
                    <a:pt x="481" y="14602"/>
                    <a:pt x="481" y="14602"/>
                    <a:pt x="481" y="14602"/>
                  </a:cubicBezTo>
                  <a:cubicBezTo>
                    <a:pt x="481" y="14602"/>
                    <a:pt x="481" y="14602"/>
                    <a:pt x="481" y="14602"/>
                  </a:cubicBezTo>
                  <a:cubicBezTo>
                    <a:pt x="485" y="14605"/>
                    <a:pt x="490" y="14609"/>
                    <a:pt x="496" y="14613"/>
                  </a:cubicBezTo>
                  <a:cubicBezTo>
                    <a:pt x="385" y="14874"/>
                    <a:pt x="385" y="14874"/>
                    <a:pt x="385" y="14874"/>
                  </a:cubicBezTo>
                  <a:cubicBezTo>
                    <a:pt x="282" y="14832"/>
                    <a:pt x="282" y="14832"/>
                    <a:pt x="282" y="14832"/>
                  </a:cubicBezTo>
                  <a:cubicBezTo>
                    <a:pt x="281" y="14835"/>
                    <a:pt x="281" y="14835"/>
                    <a:pt x="281" y="14835"/>
                  </a:cubicBezTo>
                  <a:cubicBezTo>
                    <a:pt x="282" y="14833"/>
                    <a:pt x="282" y="14833"/>
                    <a:pt x="282" y="14833"/>
                  </a:cubicBezTo>
                  <a:cubicBezTo>
                    <a:pt x="31" y="14726"/>
                    <a:pt x="31" y="14726"/>
                    <a:pt x="31" y="14726"/>
                  </a:cubicBezTo>
                  <a:cubicBezTo>
                    <a:pt x="4" y="14701"/>
                    <a:pt x="4" y="14701"/>
                    <a:pt x="4" y="14701"/>
                  </a:cubicBezTo>
                  <a:cubicBezTo>
                    <a:pt x="4" y="14720"/>
                    <a:pt x="4" y="14720"/>
                    <a:pt x="4" y="14720"/>
                  </a:cubicBezTo>
                  <a:cubicBezTo>
                    <a:pt x="24" y="14738"/>
                    <a:pt x="24" y="14738"/>
                    <a:pt x="24" y="14738"/>
                  </a:cubicBezTo>
                  <a:cubicBezTo>
                    <a:pt x="28" y="14740"/>
                    <a:pt x="28" y="14740"/>
                    <a:pt x="28" y="14740"/>
                  </a:cubicBezTo>
                  <a:cubicBezTo>
                    <a:pt x="4" y="14770"/>
                    <a:pt x="4" y="14770"/>
                    <a:pt x="4" y="14770"/>
                  </a:cubicBezTo>
                  <a:cubicBezTo>
                    <a:pt x="4" y="14793"/>
                    <a:pt x="4" y="14793"/>
                    <a:pt x="4" y="14793"/>
                  </a:cubicBezTo>
                  <a:cubicBezTo>
                    <a:pt x="42" y="14745"/>
                    <a:pt x="42" y="14745"/>
                    <a:pt x="42" y="14745"/>
                  </a:cubicBezTo>
                  <a:cubicBezTo>
                    <a:pt x="275" y="14845"/>
                    <a:pt x="275" y="14845"/>
                    <a:pt x="275" y="14845"/>
                  </a:cubicBezTo>
                  <a:cubicBezTo>
                    <a:pt x="70" y="15199"/>
                    <a:pt x="70" y="15199"/>
                    <a:pt x="70" y="15199"/>
                  </a:cubicBezTo>
                  <a:cubicBezTo>
                    <a:pt x="73" y="15201"/>
                    <a:pt x="73" y="15201"/>
                    <a:pt x="73" y="15201"/>
                  </a:cubicBezTo>
                  <a:cubicBezTo>
                    <a:pt x="52" y="15183"/>
                    <a:pt x="28" y="15163"/>
                    <a:pt x="4" y="15142"/>
                  </a:cubicBezTo>
                  <a:cubicBezTo>
                    <a:pt x="4" y="15229"/>
                    <a:pt x="4" y="15229"/>
                    <a:pt x="4" y="15229"/>
                  </a:cubicBezTo>
                  <a:cubicBezTo>
                    <a:pt x="87" y="15300"/>
                    <a:pt x="151" y="15355"/>
                    <a:pt x="181" y="15381"/>
                  </a:cubicBezTo>
                  <a:cubicBezTo>
                    <a:pt x="124" y="15455"/>
                    <a:pt x="76" y="15519"/>
                    <a:pt x="54" y="15547"/>
                  </a:cubicBezTo>
                  <a:cubicBezTo>
                    <a:pt x="4" y="15611"/>
                    <a:pt x="4" y="15611"/>
                    <a:pt x="4" y="15611"/>
                  </a:cubicBezTo>
                  <a:cubicBezTo>
                    <a:pt x="4" y="15718"/>
                    <a:pt x="4" y="15718"/>
                    <a:pt x="4" y="15718"/>
                  </a:cubicBezTo>
                  <a:cubicBezTo>
                    <a:pt x="110" y="15581"/>
                    <a:pt x="110" y="15581"/>
                    <a:pt x="110" y="15581"/>
                  </a:cubicBezTo>
                  <a:cubicBezTo>
                    <a:pt x="707" y="15746"/>
                    <a:pt x="707" y="15746"/>
                    <a:pt x="707" y="15746"/>
                  </a:cubicBezTo>
                  <a:cubicBezTo>
                    <a:pt x="672" y="15827"/>
                    <a:pt x="672" y="15827"/>
                    <a:pt x="672" y="15827"/>
                  </a:cubicBezTo>
                  <a:cubicBezTo>
                    <a:pt x="900" y="15862"/>
                    <a:pt x="900" y="15862"/>
                    <a:pt x="900" y="15862"/>
                  </a:cubicBezTo>
                  <a:cubicBezTo>
                    <a:pt x="832" y="16181"/>
                    <a:pt x="832" y="16181"/>
                    <a:pt x="832" y="16181"/>
                  </a:cubicBezTo>
                  <a:cubicBezTo>
                    <a:pt x="129" y="15814"/>
                    <a:pt x="129" y="15814"/>
                    <a:pt x="129" y="15814"/>
                  </a:cubicBezTo>
                  <a:cubicBezTo>
                    <a:pt x="197" y="15723"/>
                    <a:pt x="197" y="15723"/>
                    <a:pt x="197" y="15723"/>
                  </a:cubicBezTo>
                  <a:cubicBezTo>
                    <a:pt x="201" y="15718"/>
                    <a:pt x="201" y="15718"/>
                    <a:pt x="201" y="15718"/>
                  </a:cubicBezTo>
                  <a:cubicBezTo>
                    <a:pt x="92" y="15638"/>
                    <a:pt x="92" y="15638"/>
                    <a:pt x="92" y="15638"/>
                  </a:cubicBezTo>
                  <a:cubicBezTo>
                    <a:pt x="8" y="15751"/>
                    <a:pt x="8" y="15751"/>
                    <a:pt x="8" y="15751"/>
                  </a:cubicBezTo>
                  <a:cubicBezTo>
                    <a:pt x="4" y="15749"/>
                    <a:pt x="4" y="15749"/>
                    <a:pt x="4" y="15749"/>
                  </a:cubicBezTo>
                  <a:cubicBezTo>
                    <a:pt x="4" y="15777"/>
                    <a:pt x="4" y="15777"/>
                    <a:pt x="4" y="15777"/>
                  </a:cubicBezTo>
                  <a:cubicBezTo>
                    <a:pt x="11" y="15768"/>
                    <a:pt x="11" y="15768"/>
                    <a:pt x="11" y="15768"/>
                  </a:cubicBezTo>
                  <a:cubicBezTo>
                    <a:pt x="109" y="15819"/>
                    <a:pt x="109" y="15819"/>
                    <a:pt x="109" y="15819"/>
                  </a:cubicBezTo>
                  <a:cubicBezTo>
                    <a:pt x="16" y="15943"/>
                    <a:pt x="16" y="15943"/>
                    <a:pt x="16" y="15943"/>
                  </a:cubicBezTo>
                  <a:cubicBezTo>
                    <a:pt x="4" y="15936"/>
                    <a:pt x="4" y="15936"/>
                    <a:pt x="4" y="15936"/>
                  </a:cubicBezTo>
                  <a:cubicBezTo>
                    <a:pt x="4" y="15952"/>
                    <a:pt x="4" y="15952"/>
                    <a:pt x="4" y="15952"/>
                  </a:cubicBezTo>
                  <a:cubicBezTo>
                    <a:pt x="8" y="15954"/>
                    <a:pt x="8" y="15954"/>
                    <a:pt x="8" y="15954"/>
                  </a:cubicBezTo>
                  <a:cubicBezTo>
                    <a:pt x="4" y="15958"/>
                    <a:pt x="4" y="15958"/>
                    <a:pt x="4" y="15958"/>
                  </a:cubicBezTo>
                  <a:cubicBezTo>
                    <a:pt x="4" y="15980"/>
                    <a:pt x="4" y="15980"/>
                    <a:pt x="4" y="15980"/>
                  </a:cubicBezTo>
                  <a:cubicBezTo>
                    <a:pt x="19" y="15960"/>
                    <a:pt x="19" y="15960"/>
                    <a:pt x="19" y="15960"/>
                  </a:cubicBezTo>
                  <a:cubicBezTo>
                    <a:pt x="371" y="16145"/>
                    <a:pt x="371" y="16145"/>
                    <a:pt x="371" y="16145"/>
                  </a:cubicBezTo>
                  <a:cubicBezTo>
                    <a:pt x="295" y="16526"/>
                    <a:pt x="295" y="16526"/>
                    <a:pt x="295" y="16526"/>
                  </a:cubicBezTo>
                  <a:cubicBezTo>
                    <a:pt x="214" y="16632"/>
                    <a:pt x="214" y="16632"/>
                    <a:pt x="214" y="16632"/>
                  </a:cubicBezTo>
                  <a:cubicBezTo>
                    <a:pt x="176" y="16601"/>
                    <a:pt x="176" y="16601"/>
                    <a:pt x="176" y="16601"/>
                  </a:cubicBezTo>
                  <a:cubicBezTo>
                    <a:pt x="149" y="16635"/>
                    <a:pt x="149" y="16635"/>
                    <a:pt x="149" y="16635"/>
                  </a:cubicBezTo>
                  <a:cubicBezTo>
                    <a:pt x="112" y="16605"/>
                    <a:pt x="112" y="16605"/>
                    <a:pt x="112" y="16605"/>
                  </a:cubicBezTo>
                  <a:cubicBezTo>
                    <a:pt x="62" y="16668"/>
                    <a:pt x="62" y="16668"/>
                    <a:pt x="62" y="16668"/>
                  </a:cubicBezTo>
                  <a:cubicBezTo>
                    <a:pt x="58" y="16673"/>
                    <a:pt x="58" y="16673"/>
                    <a:pt x="58" y="16673"/>
                  </a:cubicBezTo>
                  <a:cubicBezTo>
                    <a:pt x="135" y="16734"/>
                    <a:pt x="135" y="16734"/>
                    <a:pt x="135" y="16734"/>
                  </a:cubicBezTo>
                  <a:cubicBezTo>
                    <a:pt x="117" y="16759"/>
                    <a:pt x="117" y="16759"/>
                    <a:pt x="117" y="16759"/>
                  </a:cubicBezTo>
                  <a:cubicBezTo>
                    <a:pt x="128" y="16767"/>
                    <a:pt x="128" y="16767"/>
                    <a:pt x="128" y="16767"/>
                  </a:cubicBezTo>
                  <a:cubicBezTo>
                    <a:pt x="146" y="16743"/>
                    <a:pt x="146" y="16743"/>
                    <a:pt x="146" y="16743"/>
                  </a:cubicBezTo>
                  <a:cubicBezTo>
                    <a:pt x="223" y="16804"/>
                    <a:pt x="223" y="16804"/>
                    <a:pt x="223" y="16804"/>
                  </a:cubicBezTo>
                  <a:cubicBezTo>
                    <a:pt x="277" y="16737"/>
                    <a:pt x="277" y="16737"/>
                    <a:pt x="277" y="16737"/>
                  </a:cubicBezTo>
                  <a:cubicBezTo>
                    <a:pt x="240" y="16707"/>
                    <a:pt x="240" y="16707"/>
                    <a:pt x="240" y="16707"/>
                  </a:cubicBezTo>
                  <a:cubicBezTo>
                    <a:pt x="267" y="16674"/>
                    <a:pt x="267" y="16674"/>
                    <a:pt x="267" y="16674"/>
                  </a:cubicBezTo>
                  <a:cubicBezTo>
                    <a:pt x="225" y="16640"/>
                    <a:pt x="225" y="16640"/>
                    <a:pt x="225" y="16640"/>
                  </a:cubicBezTo>
                  <a:cubicBezTo>
                    <a:pt x="308" y="16531"/>
                    <a:pt x="308" y="16531"/>
                    <a:pt x="308" y="16531"/>
                  </a:cubicBezTo>
                  <a:cubicBezTo>
                    <a:pt x="383" y="16157"/>
                    <a:pt x="383" y="16157"/>
                    <a:pt x="383" y="16157"/>
                  </a:cubicBezTo>
                  <a:cubicBezTo>
                    <a:pt x="430" y="16210"/>
                    <a:pt x="650" y="16457"/>
                    <a:pt x="688" y="16496"/>
                  </a:cubicBezTo>
                  <a:cubicBezTo>
                    <a:pt x="688" y="16496"/>
                    <a:pt x="688" y="16496"/>
                    <a:pt x="687" y="16497"/>
                  </a:cubicBezTo>
                  <a:cubicBezTo>
                    <a:pt x="684" y="16501"/>
                    <a:pt x="679" y="16506"/>
                    <a:pt x="674" y="16512"/>
                  </a:cubicBezTo>
                  <a:cubicBezTo>
                    <a:pt x="663" y="16526"/>
                    <a:pt x="648" y="16545"/>
                    <a:pt x="631" y="16568"/>
                  </a:cubicBezTo>
                  <a:cubicBezTo>
                    <a:pt x="596" y="16613"/>
                    <a:pt x="551" y="16673"/>
                    <a:pt x="506" y="16734"/>
                  </a:cubicBezTo>
                  <a:cubicBezTo>
                    <a:pt x="429" y="16839"/>
                    <a:pt x="353" y="16943"/>
                    <a:pt x="333" y="16969"/>
                  </a:cubicBezTo>
                  <a:cubicBezTo>
                    <a:pt x="4" y="16656"/>
                    <a:pt x="4" y="16656"/>
                    <a:pt x="4" y="16656"/>
                  </a:cubicBezTo>
                  <a:cubicBezTo>
                    <a:pt x="4" y="16675"/>
                    <a:pt x="4" y="16675"/>
                    <a:pt x="4" y="16675"/>
                  </a:cubicBezTo>
                  <a:cubicBezTo>
                    <a:pt x="484" y="17132"/>
                    <a:pt x="484" y="17132"/>
                    <a:pt x="484" y="17132"/>
                  </a:cubicBezTo>
                  <a:cubicBezTo>
                    <a:pt x="484" y="17132"/>
                    <a:pt x="483" y="17133"/>
                    <a:pt x="483" y="17133"/>
                  </a:cubicBezTo>
                  <a:cubicBezTo>
                    <a:pt x="491" y="17139"/>
                    <a:pt x="491" y="17139"/>
                    <a:pt x="491" y="17139"/>
                  </a:cubicBezTo>
                  <a:cubicBezTo>
                    <a:pt x="692" y="17330"/>
                    <a:pt x="692" y="17330"/>
                    <a:pt x="692" y="17330"/>
                  </a:cubicBezTo>
                  <a:cubicBezTo>
                    <a:pt x="925" y="17432"/>
                    <a:pt x="925" y="17432"/>
                    <a:pt x="925" y="17432"/>
                  </a:cubicBezTo>
                  <a:cubicBezTo>
                    <a:pt x="924" y="17436"/>
                    <a:pt x="924" y="17436"/>
                    <a:pt x="924" y="17436"/>
                  </a:cubicBezTo>
                  <a:cubicBezTo>
                    <a:pt x="924" y="17436"/>
                    <a:pt x="924" y="17436"/>
                    <a:pt x="924" y="17436"/>
                  </a:cubicBezTo>
                  <a:cubicBezTo>
                    <a:pt x="924" y="17436"/>
                    <a:pt x="924" y="17436"/>
                    <a:pt x="925" y="17436"/>
                  </a:cubicBezTo>
                  <a:cubicBezTo>
                    <a:pt x="925" y="17436"/>
                    <a:pt x="926" y="17436"/>
                    <a:pt x="926" y="17436"/>
                  </a:cubicBezTo>
                  <a:cubicBezTo>
                    <a:pt x="927" y="17436"/>
                    <a:pt x="928" y="17436"/>
                    <a:pt x="929" y="17435"/>
                  </a:cubicBezTo>
                  <a:cubicBezTo>
                    <a:pt x="930" y="17435"/>
                    <a:pt x="930" y="17435"/>
                    <a:pt x="931" y="17434"/>
                  </a:cubicBezTo>
                  <a:cubicBezTo>
                    <a:pt x="1250" y="17573"/>
                    <a:pt x="1250" y="17573"/>
                    <a:pt x="1250" y="17573"/>
                  </a:cubicBezTo>
                  <a:cubicBezTo>
                    <a:pt x="1251" y="17573"/>
                    <a:pt x="1251" y="17573"/>
                    <a:pt x="1251" y="17573"/>
                  </a:cubicBezTo>
                  <a:cubicBezTo>
                    <a:pt x="1252" y="17574"/>
                    <a:pt x="2310" y="17788"/>
                    <a:pt x="2325" y="17788"/>
                  </a:cubicBezTo>
                  <a:cubicBezTo>
                    <a:pt x="2326" y="17788"/>
                    <a:pt x="2326" y="17788"/>
                    <a:pt x="2326" y="17788"/>
                  </a:cubicBezTo>
                  <a:cubicBezTo>
                    <a:pt x="2329" y="17788"/>
                    <a:pt x="2329" y="17788"/>
                    <a:pt x="2329" y="17788"/>
                  </a:cubicBezTo>
                  <a:cubicBezTo>
                    <a:pt x="2331" y="17786"/>
                    <a:pt x="2331" y="17786"/>
                    <a:pt x="2331" y="17786"/>
                  </a:cubicBezTo>
                  <a:cubicBezTo>
                    <a:pt x="2370" y="17738"/>
                    <a:pt x="2419" y="17707"/>
                    <a:pt x="2458" y="17689"/>
                  </a:cubicBezTo>
                  <a:cubicBezTo>
                    <a:pt x="2498" y="17670"/>
                    <a:pt x="2527" y="17663"/>
                    <a:pt x="2527" y="17663"/>
                  </a:cubicBezTo>
                  <a:cubicBezTo>
                    <a:pt x="2532" y="17662"/>
                    <a:pt x="2532" y="17662"/>
                    <a:pt x="2532" y="17662"/>
                  </a:cubicBezTo>
                  <a:cubicBezTo>
                    <a:pt x="2535" y="17398"/>
                    <a:pt x="2535" y="17398"/>
                    <a:pt x="2535" y="17398"/>
                  </a:cubicBezTo>
                  <a:cubicBezTo>
                    <a:pt x="2582" y="17406"/>
                    <a:pt x="2582" y="17406"/>
                    <a:pt x="2582" y="17406"/>
                  </a:cubicBezTo>
                  <a:cubicBezTo>
                    <a:pt x="2585" y="17555"/>
                    <a:pt x="2589" y="17670"/>
                    <a:pt x="2591" y="17723"/>
                  </a:cubicBezTo>
                  <a:cubicBezTo>
                    <a:pt x="2503" y="17736"/>
                    <a:pt x="2426" y="17781"/>
                    <a:pt x="2371" y="17845"/>
                  </a:cubicBezTo>
                  <a:cubicBezTo>
                    <a:pt x="2325" y="17830"/>
                    <a:pt x="2247" y="17808"/>
                    <a:pt x="2142" y="17786"/>
                  </a:cubicBezTo>
                  <a:cubicBezTo>
                    <a:pt x="1965" y="17750"/>
                    <a:pt x="1792" y="17737"/>
                    <a:pt x="1630" y="17706"/>
                  </a:cubicBezTo>
                  <a:cubicBezTo>
                    <a:pt x="1463" y="17673"/>
                    <a:pt x="1230" y="17597"/>
                    <a:pt x="954" y="17491"/>
                  </a:cubicBezTo>
                  <a:cubicBezTo>
                    <a:pt x="878" y="17463"/>
                    <a:pt x="763" y="17391"/>
                    <a:pt x="639" y="17299"/>
                  </a:cubicBezTo>
                  <a:cubicBezTo>
                    <a:pt x="515" y="17208"/>
                    <a:pt x="380" y="17095"/>
                    <a:pt x="252" y="16984"/>
                  </a:cubicBezTo>
                  <a:cubicBezTo>
                    <a:pt x="164" y="16907"/>
                    <a:pt x="79" y="16830"/>
                    <a:pt x="4" y="16761"/>
                  </a:cubicBezTo>
                  <a:cubicBezTo>
                    <a:pt x="4" y="17052"/>
                    <a:pt x="4" y="17052"/>
                    <a:pt x="4" y="17052"/>
                  </a:cubicBezTo>
                  <a:cubicBezTo>
                    <a:pt x="13" y="17061"/>
                    <a:pt x="21" y="17069"/>
                    <a:pt x="28" y="17076"/>
                  </a:cubicBezTo>
                  <a:cubicBezTo>
                    <a:pt x="89" y="17137"/>
                    <a:pt x="189" y="17250"/>
                    <a:pt x="293" y="17342"/>
                  </a:cubicBezTo>
                  <a:cubicBezTo>
                    <a:pt x="299" y="17371"/>
                    <a:pt x="307" y="17408"/>
                    <a:pt x="314" y="17451"/>
                  </a:cubicBezTo>
                  <a:cubicBezTo>
                    <a:pt x="332" y="17548"/>
                    <a:pt x="352" y="17671"/>
                    <a:pt x="358" y="17769"/>
                  </a:cubicBezTo>
                  <a:cubicBezTo>
                    <a:pt x="363" y="17856"/>
                    <a:pt x="370" y="17932"/>
                    <a:pt x="376" y="18000"/>
                  </a:cubicBezTo>
                  <a:cubicBezTo>
                    <a:pt x="421" y="18000"/>
                    <a:pt x="421" y="18000"/>
                    <a:pt x="421" y="18000"/>
                  </a:cubicBezTo>
                  <a:cubicBezTo>
                    <a:pt x="416" y="17930"/>
                    <a:pt x="408" y="17853"/>
                    <a:pt x="403" y="17767"/>
                  </a:cubicBezTo>
                  <a:cubicBezTo>
                    <a:pt x="395" y="17645"/>
                    <a:pt x="369" y="17493"/>
                    <a:pt x="349" y="17389"/>
                  </a:cubicBezTo>
                  <a:cubicBezTo>
                    <a:pt x="392" y="17425"/>
                    <a:pt x="432" y="17455"/>
                    <a:pt x="467" y="17480"/>
                  </a:cubicBezTo>
                  <a:cubicBezTo>
                    <a:pt x="514" y="17514"/>
                    <a:pt x="551" y="17540"/>
                    <a:pt x="558" y="17546"/>
                  </a:cubicBezTo>
                  <a:cubicBezTo>
                    <a:pt x="598" y="17577"/>
                    <a:pt x="698" y="17646"/>
                    <a:pt x="813" y="17722"/>
                  </a:cubicBezTo>
                  <a:cubicBezTo>
                    <a:pt x="928" y="17798"/>
                    <a:pt x="1053" y="17879"/>
                    <a:pt x="1139" y="17928"/>
                  </a:cubicBezTo>
                  <a:cubicBezTo>
                    <a:pt x="1181" y="17952"/>
                    <a:pt x="1222" y="17977"/>
                    <a:pt x="1262" y="18000"/>
                  </a:cubicBezTo>
                  <a:cubicBezTo>
                    <a:pt x="1623" y="18000"/>
                    <a:pt x="1623" y="18000"/>
                    <a:pt x="1623" y="18000"/>
                  </a:cubicBezTo>
                  <a:cubicBezTo>
                    <a:pt x="1478" y="17959"/>
                    <a:pt x="1371" y="17886"/>
                    <a:pt x="1215" y="17796"/>
                  </a:cubicBezTo>
                  <a:cubicBezTo>
                    <a:pt x="1166" y="17768"/>
                    <a:pt x="1101" y="17727"/>
                    <a:pt x="1032" y="17683"/>
                  </a:cubicBezTo>
                  <a:cubicBezTo>
                    <a:pt x="1255" y="17765"/>
                    <a:pt x="1446" y="17825"/>
                    <a:pt x="1601" y="17855"/>
                  </a:cubicBezTo>
                  <a:cubicBezTo>
                    <a:pt x="1775" y="17889"/>
                    <a:pt x="1947" y="17901"/>
                    <a:pt x="2111" y="17935"/>
                  </a:cubicBezTo>
                  <a:cubicBezTo>
                    <a:pt x="2192" y="17952"/>
                    <a:pt x="2254" y="17969"/>
                    <a:pt x="2297" y="17982"/>
                  </a:cubicBezTo>
                  <a:cubicBezTo>
                    <a:pt x="2295" y="17988"/>
                    <a:pt x="2294" y="17994"/>
                    <a:pt x="2293" y="18000"/>
                  </a:cubicBezTo>
                  <a:cubicBezTo>
                    <a:pt x="2458" y="18000"/>
                    <a:pt x="2458" y="18000"/>
                    <a:pt x="2458" y="18000"/>
                  </a:cubicBezTo>
                  <a:cubicBezTo>
                    <a:pt x="2490" y="17927"/>
                    <a:pt x="2563" y="17876"/>
                    <a:pt x="2648" y="17876"/>
                  </a:cubicBezTo>
                  <a:cubicBezTo>
                    <a:pt x="2733" y="17876"/>
                    <a:pt x="2806" y="17927"/>
                    <a:pt x="2838" y="18000"/>
                  </a:cubicBezTo>
                  <a:cubicBezTo>
                    <a:pt x="3003" y="18000"/>
                    <a:pt x="3003" y="18000"/>
                    <a:pt x="3003" y="18000"/>
                  </a:cubicBezTo>
                  <a:cubicBezTo>
                    <a:pt x="2966" y="17841"/>
                    <a:pt x="2826" y="17722"/>
                    <a:pt x="2656" y="17718"/>
                  </a:cubicBezTo>
                  <a:cubicBezTo>
                    <a:pt x="2655" y="17677"/>
                    <a:pt x="2652" y="17598"/>
                    <a:pt x="2650" y="17495"/>
                  </a:cubicBezTo>
                  <a:cubicBezTo>
                    <a:pt x="2647" y="17388"/>
                    <a:pt x="2644" y="17256"/>
                    <a:pt x="2642" y="17115"/>
                  </a:cubicBezTo>
                  <a:cubicBezTo>
                    <a:pt x="3006" y="17053"/>
                    <a:pt x="3006" y="17053"/>
                    <a:pt x="3006" y="17053"/>
                  </a:cubicBezTo>
                  <a:cubicBezTo>
                    <a:pt x="3061" y="17268"/>
                    <a:pt x="3061" y="17268"/>
                    <a:pt x="3061" y="17268"/>
                  </a:cubicBezTo>
                  <a:cubicBezTo>
                    <a:pt x="3181" y="17520"/>
                    <a:pt x="3181" y="17520"/>
                    <a:pt x="3181" y="17520"/>
                  </a:cubicBezTo>
                  <a:cubicBezTo>
                    <a:pt x="3532" y="17869"/>
                    <a:pt x="3532" y="17869"/>
                    <a:pt x="3532" y="17869"/>
                  </a:cubicBezTo>
                  <a:cubicBezTo>
                    <a:pt x="3532" y="17880"/>
                    <a:pt x="3532" y="17914"/>
                    <a:pt x="3531" y="17951"/>
                  </a:cubicBezTo>
                  <a:cubicBezTo>
                    <a:pt x="3531" y="17968"/>
                    <a:pt x="3531" y="17985"/>
                    <a:pt x="3530" y="18000"/>
                  </a:cubicBezTo>
                  <a:cubicBezTo>
                    <a:pt x="3544" y="18000"/>
                    <a:pt x="3544" y="18000"/>
                    <a:pt x="3544" y="18000"/>
                  </a:cubicBezTo>
                  <a:cubicBezTo>
                    <a:pt x="3544" y="17987"/>
                    <a:pt x="3545" y="17974"/>
                    <a:pt x="3545" y="17960"/>
                  </a:cubicBezTo>
                  <a:cubicBezTo>
                    <a:pt x="3546" y="17913"/>
                    <a:pt x="3546" y="17867"/>
                    <a:pt x="3546" y="17866"/>
                  </a:cubicBezTo>
                  <a:cubicBezTo>
                    <a:pt x="3546" y="17864"/>
                    <a:pt x="3546" y="17864"/>
                    <a:pt x="3546" y="17864"/>
                  </a:cubicBezTo>
                  <a:cubicBezTo>
                    <a:pt x="3209" y="17529"/>
                    <a:pt x="3209" y="17529"/>
                    <a:pt x="3209" y="17529"/>
                  </a:cubicBezTo>
                  <a:cubicBezTo>
                    <a:pt x="3210" y="17529"/>
                    <a:pt x="3211" y="17528"/>
                    <a:pt x="3212" y="17527"/>
                  </a:cubicBezTo>
                  <a:cubicBezTo>
                    <a:pt x="3216" y="17525"/>
                    <a:pt x="3221" y="17521"/>
                    <a:pt x="3228" y="17517"/>
                  </a:cubicBezTo>
                  <a:cubicBezTo>
                    <a:pt x="3243" y="17509"/>
                    <a:pt x="3263" y="17497"/>
                    <a:pt x="3287" y="17484"/>
                  </a:cubicBezTo>
                  <a:cubicBezTo>
                    <a:pt x="3336" y="17456"/>
                    <a:pt x="3400" y="17420"/>
                    <a:pt x="3465" y="17385"/>
                  </a:cubicBezTo>
                  <a:cubicBezTo>
                    <a:pt x="3576" y="17324"/>
                    <a:pt x="3686" y="17264"/>
                    <a:pt x="3716" y="17248"/>
                  </a:cubicBezTo>
                  <a:cubicBezTo>
                    <a:pt x="3809" y="17772"/>
                    <a:pt x="3809" y="17772"/>
                    <a:pt x="3809" y="17772"/>
                  </a:cubicBezTo>
                  <a:cubicBezTo>
                    <a:pt x="4166" y="17812"/>
                    <a:pt x="4166" y="17812"/>
                    <a:pt x="4166" y="17812"/>
                  </a:cubicBezTo>
                  <a:cubicBezTo>
                    <a:pt x="3898" y="17964"/>
                    <a:pt x="3898" y="17964"/>
                    <a:pt x="3898" y="17964"/>
                  </a:cubicBezTo>
                  <a:cubicBezTo>
                    <a:pt x="3882" y="18000"/>
                    <a:pt x="3882" y="18000"/>
                    <a:pt x="3882" y="18000"/>
                  </a:cubicBezTo>
                  <a:cubicBezTo>
                    <a:pt x="3898" y="18000"/>
                    <a:pt x="3898" y="18000"/>
                    <a:pt x="3898" y="18000"/>
                  </a:cubicBezTo>
                  <a:cubicBezTo>
                    <a:pt x="3909" y="17974"/>
                    <a:pt x="3909" y="17974"/>
                    <a:pt x="3909" y="17974"/>
                  </a:cubicBezTo>
                  <a:cubicBezTo>
                    <a:pt x="4190" y="17815"/>
                    <a:pt x="4190" y="17815"/>
                    <a:pt x="4190" y="17815"/>
                  </a:cubicBezTo>
                  <a:cubicBezTo>
                    <a:pt x="4283" y="17825"/>
                    <a:pt x="4283" y="17825"/>
                    <a:pt x="4283" y="17825"/>
                  </a:cubicBezTo>
                  <a:cubicBezTo>
                    <a:pt x="4266" y="18000"/>
                    <a:pt x="4266" y="18000"/>
                    <a:pt x="4266" y="18000"/>
                  </a:cubicBezTo>
                  <a:cubicBezTo>
                    <a:pt x="4311" y="18000"/>
                    <a:pt x="4311" y="18000"/>
                    <a:pt x="4311" y="18000"/>
                  </a:cubicBezTo>
                  <a:cubicBezTo>
                    <a:pt x="4332" y="17785"/>
                    <a:pt x="4332" y="17785"/>
                    <a:pt x="4332" y="17785"/>
                  </a:cubicBezTo>
                  <a:cubicBezTo>
                    <a:pt x="4184" y="17769"/>
                    <a:pt x="4184" y="17769"/>
                    <a:pt x="4184" y="17769"/>
                  </a:cubicBezTo>
                  <a:cubicBezTo>
                    <a:pt x="4195" y="17743"/>
                    <a:pt x="4237" y="17651"/>
                    <a:pt x="4260" y="17596"/>
                  </a:cubicBezTo>
                  <a:cubicBezTo>
                    <a:pt x="4268" y="17577"/>
                    <a:pt x="4274" y="17565"/>
                    <a:pt x="4275" y="17557"/>
                  </a:cubicBezTo>
                  <a:cubicBezTo>
                    <a:pt x="4277" y="17556"/>
                    <a:pt x="4279" y="17556"/>
                    <a:pt x="4281" y="17555"/>
                  </a:cubicBezTo>
                  <a:cubicBezTo>
                    <a:pt x="4288" y="17552"/>
                    <a:pt x="4297" y="17549"/>
                    <a:pt x="4308" y="17545"/>
                  </a:cubicBezTo>
                  <a:cubicBezTo>
                    <a:pt x="4331" y="17537"/>
                    <a:pt x="4361" y="17527"/>
                    <a:pt x="4392" y="17517"/>
                  </a:cubicBezTo>
                  <a:cubicBezTo>
                    <a:pt x="4442" y="17500"/>
                    <a:pt x="4492" y="17484"/>
                    <a:pt x="4508" y="17479"/>
                  </a:cubicBezTo>
                  <a:cubicBezTo>
                    <a:pt x="4710" y="17767"/>
                    <a:pt x="4710" y="17767"/>
                    <a:pt x="4710" y="17767"/>
                  </a:cubicBezTo>
                  <a:cubicBezTo>
                    <a:pt x="4636" y="18000"/>
                    <a:pt x="4636" y="18000"/>
                    <a:pt x="4636" y="18000"/>
                  </a:cubicBezTo>
                  <a:cubicBezTo>
                    <a:pt x="4650" y="18000"/>
                    <a:pt x="4650" y="18000"/>
                    <a:pt x="4650" y="18000"/>
                  </a:cubicBezTo>
                  <a:cubicBezTo>
                    <a:pt x="4723" y="17772"/>
                    <a:pt x="4723" y="17772"/>
                    <a:pt x="4723" y="17772"/>
                  </a:cubicBezTo>
                  <a:cubicBezTo>
                    <a:pt x="5035" y="17736"/>
                    <a:pt x="5035" y="17736"/>
                    <a:pt x="5035" y="17736"/>
                  </a:cubicBezTo>
                  <a:cubicBezTo>
                    <a:pt x="5035" y="17823"/>
                    <a:pt x="5034" y="17913"/>
                    <a:pt x="5033" y="18000"/>
                  </a:cubicBezTo>
                  <a:cubicBezTo>
                    <a:pt x="5098" y="18000"/>
                    <a:pt x="5098" y="18000"/>
                    <a:pt x="5098" y="18000"/>
                  </a:cubicBezTo>
                  <a:cubicBezTo>
                    <a:pt x="5100" y="17912"/>
                    <a:pt x="5101" y="17820"/>
                    <a:pt x="5101" y="17732"/>
                  </a:cubicBezTo>
                  <a:cubicBezTo>
                    <a:pt x="5101" y="17632"/>
                    <a:pt x="5100" y="17536"/>
                    <a:pt x="5096" y="17458"/>
                  </a:cubicBezTo>
                  <a:cubicBezTo>
                    <a:pt x="5094" y="17423"/>
                    <a:pt x="5092" y="17392"/>
                    <a:pt x="5089" y="17365"/>
                  </a:cubicBezTo>
                  <a:cubicBezTo>
                    <a:pt x="5134" y="17372"/>
                    <a:pt x="5223" y="17387"/>
                    <a:pt x="5322" y="17403"/>
                  </a:cubicBezTo>
                  <a:cubicBezTo>
                    <a:pt x="5463" y="17426"/>
                    <a:pt x="5624" y="17454"/>
                    <a:pt x="5703" y="17470"/>
                  </a:cubicBezTo>
                  <a:cubicBezTo>
                    <a:pt x="5861" y="17503"/>
                    <a:pt x="6069" y="17555"/>
                    <a:pt x="6178" y="17584"/>
                  </a:cubicBezTo>
                  <a:cubicBezTo>
                    <a:pt x="6283" y="17611"/>
                    <a:pt x="6374" y="17667"/>
                    <a:pt x="6755" y="17703"/>
                  </a:cubicBezTo>
                  <a:cubicBezTo>
                    <a:pt x="6762" y="17704"/>
                    <a:pt x="6770" y="17705"/>
                    <a:pt x="6777" y="17706"/>
                  </a:cubicBezTo>
                  <a:cubicBezTo>
                    <a:pt x="6777" y="17708"/>
                    <a:pt x="6777" y="17709"/>
                    <a:pt x="6776" y="17711"/>
                  </a:cubicBezTo>
                  <a:cubicBezTo>
                    <a:pt x="6772" y="17732"/>
                    <a:pt x="6767" y="17762"/>
                    <a:pt x="6761" y="17798"/>
                  </a:cubicBezTo>
                  <a:cubicBezTo>
                    <a:pt x="6752" y="17854"/>
                    <a:pt x="6740" y="17926"/>
                    <a:pt x="6727" y="18000"/>
                  </a:cubicBezTo>
                  <a:cubicBezTo>
                    <a:pt x="6794" y="18000"/>
                    <a:pt x="6794" y="18000"/>
                    <a:pt x="6794" y="18000"/>
                  </a:cubicBezTo>
                  <a:cubicBezTo>
                    <a:pt x="6804" y="17936"/>
                    <a:pt x="6815" y="17875"/>
                    <a:pt x="6823" y="17824"/>
                  </a:cubicBezTo>
                  <a:cubicBezTo>
                    <a:pt x="6831" y="17777"/>
                    <a:pt x="6838" y="17739"/>
                    <a:pt x="6842" y="17715"/>
                  </a:cubicBezTo>
                  <a:cubicBezTo>
                    <a:pt x="7099" y="17759"/>
                    <a:pt x="7386" y="17883"/>
                    <a:pt x="7520" y="17946"/>
                  </a:cubicBezTo>
                  <a:cubicBezTo>
                    <a:pt x="7566" y="17968"/>
                    <a:pt x="7595" y="17983"/>
                    <a:pt x="7599" y="17985"/>
                  </a:cubicBezTo>
                  <a:cubicBezTo>
                    <a:pt x="7605" y="17989"/>
                    <a:pt x="7605" y="17989"/>
                    <a:pt x="7605" y="17989"/>
                  </a:cubicBezTo>
                  <a:cubicBezTo>
                    <a:pt x="7599" y="18000"/>
                    <a:pt x="7599" y="18000"/>
                    <a:pt x="7599" y="18000"/>
                  </a:cubicBezTo>
                  <a:cubicBezTo>
                    <a:pt x="7753" y="18000"/>
                    <a:pt x="7753" y="18000"/>
                    <a:pt x="7753" y="18000"/>
                  </a:cubicBezTo>
                  <a:cubicBezTo>
                    <a:pt x="7694" y="17965"/>
                    <a:pt x="7694" y="17965"/>
                    <a:pt x="7694" y="17965"/>
                  </a:cubicBezTo>
                  <a:cubicBezTo>
                    <a:pt x="8586" y="16345"/>
                    <a:pt x="8586" y="16345"/>
                    <a:pt x="8586" y="16345"/>
                  </a:cubicBezTo>
                  <a:cubicBezTo>
                    <a:pt x="8629" y="16371"/>
                    <a:pt x="8712" y="16421"/>
                    <a:pt x="8806" y="16474"/>
                  </a:cubicBezTo>
                  <a:cubicBezTo>
                    <a:pt x="8940" y="16551"/>
                    <a:pt x="9092" y="16633"/>
                    <a:pt x="9177" y="16657"/>
                  </a:cubicBezTo>
                  <a:cubicBezTo>
                    <a:pt x="9333" y="16703"/>
                    <a:pt x="9520" y="16744"/>
                    <a:pt x="9663" y="16803"/>
                  </a:cubicBezTo>
                  <a:cubicBezTo>
                    <a:pt x="9700" y="16819"/>
                    <a:pt x="9746" y="16843"/>
                    <a:pt x="9794" y="16872"/>
                  </a:cubicBezTo>
                  <a:cubicBezTo>
                    <a:pt x="9794" y="16872"/>
                    <a:pt x="9794" y="16872"/>
                    <a:pt x="9794" y="16873"/>
                  </a:cubicBezTo>
                  <a:cubicBezTo>
                    <a:pt x="9786" y="16885"/>
                    <a:pt x="9775" y="16903"/>
                    <a:pt x="9761" y="16926"/>
                  </a:cubicBezTo>
                  <a:cubicBezTo>
                    <a:pt x="9733" y="16971"/>
                    <a:pt x="9694" y="17034"/>
                    <a:pt x="9650" y="17105"/>
                  </a:cubicBezTo>
                  <a:cubicBezTo>
                    <a:pt x="9560" y="17246"/>
                    <a:pt x="9448" y="17419"/>
                    <a:pt x="9352" y="17545"/>
                  </a:cubicBezTo>
                  <a:cubicBezTo>
                    <a:pt x="9187" y="17761"/>
                    <a:pt x="9169" y="17883"/>
                    <a:pt x="9169" y="17925"/>
                  </a:cubicBezTo>
                  <a:cubicBezTo>
                    <a:pt x="9169" y="17932"/>
                    <a:pt x="9169" y="17936"/>
                    <a:pt x="9170" y="17939"/>
                  </a:cubicBezTo>
                  <a:cubicBezTo>
                    <a:pt x="9173" y="18000"/>
                    <a:pt x="9173" y="18000"/>
                    <a:pt x="9173" y="18000"/>
                  </a:cubicBezTo>
                  <a:cubicBezTo>
                    <a:pt x="9239" y="18000"/>
                    <a:pt x="9239" y="18000"/>
                    <a:pt x="9239" y="18000"/>
                  </a:cubicBezTo>
                  <a:cubicBezTo>
                    <a:pt x="9235" y="17932"/>
                    <a:pt x="9235" y="17932"/>
                    <a:pt x="9235" y="17932"/>
                  </a:cubicBezTo>
                  <a:cubicBezTo>
                    <a:pt x="9235" y="17930"/>
                    <a:pt x="9235" y="17930"/>
                    <a:pt x="9235" y="17930"/>
                  </a:cubicBezTo>
                  <a:cubicBezTo>
                    <a:pt x="9235" y="17930"/>
                    <a:pt x="9235" y="17930"/>
                    <a:pt x="9235" y="17930"/>
                  </a:cubicBezTo>
                  <a:cubicBezTo>
                    <a:pt x="9235" y="17930"/>
                    <a:pt x="9234" y="17928"/>
                    <a:pt x="9234" y="17925"/>
                  </a:cubicBezTo>
                  <a:cubicBezTo>
                    <a:pt x="9234" y="17902"/>
                    <a:pt x="9245" y="17793"/>
                    <a:pt x="9404" y="17584"/>
                  </a:cubicBezTo>
                  <a:cubicBezTo>
                    <a:pt x="9545" y="17399"/>
                    <a:pt x="9719" y="17119"/>
                    <a:pt x="9806" y="16977"/>
                  </a:cubicBezTo>
                  <a:cubicBezTo>
                    <a:pt x="9825" y="16947"/>
                    <a:pt x="9840" y="16922"/>
                    <a:pt x="9850" y="16907"/>
                  </a:cubicBezTo>
                  <a:cubicBezTo>
                    <a:pt x="9873" y="16922"/>
                    <a:pt x="9896" y="16938"/>
                    <a:pt x="9918" y="16953"/>
                  </a:cubicBezTo>
                  <a:cubicBezTo>
                    <a:pt x="10004" y="17013"/>
                    <a:pt x="10080" y="17077"/>
                    <a:pt x="10098" y="17103"/>
                  </a:cubicBezTo>
                  <a:cubicBezTo>
                    <a:pt x="10105" y="17110"/>
                    <a:pt x="10123" y="17152"/>
                    <a:pt x="10140" y="17207"/>
                  </a:cubicBezTo>
                  <a:cubicBezTo>
                    <a:pt x="10158" y="17262"/>
                    <a:pt x="10178" y="17334"/>
                    <a:pt x="10199" y="17413"/>
                  </a:cubicBezTo>
                  <a:cubicBezTo>
                    <a:pt x="10241" y="17571"/>
                    <a:pt x="10284" y="17758"/>
                    <a:pt x="10317" y="17902"/>
                  </a:cubicBezTo>
                  <a:cubicBezTo>
                    <a:pt x="10325" y="17938"/>
                    <a:pt x="10328" y="17970"/>
                    <a:pt x="10329" y="18000"/>
                  </a:cubicBezTo>
                  <a:cubicBezTo>
                    <a:pt x="10395" y="18000"/>
                    <a:pt x="10395" y="18000"/>
                    <a:pt x="10395" y="18000"/>
                  </a:cubicBezTo>
                  <a:cubicBezTo>
                    <a:pt x="10394" y="17965"/>
                    <a:pt x="10390" y="17928"/>
                    <a:pt x="10381" y="17888"/>
                  </a:cubicBezTo>
                  <a:cubicBezTo>
                    <a:pt x="10332" y="17670"/>
                    <a:pt x="10258" y="17359"/>
                    <a:pt x="10202" y="17187"/>
                  </a:cubicBezTo>
                  <a:cubicBezTo>
                    <a:pt x="10195" y="17163"/>
                    <a:pt x="10188" y="17143"/>
                    <a:pt x="10181" y="17126"/>
                  </a:cubicBezTo>
                  <a:cubicBezTo>
                    <a:pt x="10207" y="17105"/>
                    <a:pt x="10267" y="17058"/>
                    <a:pt x="10349" y="16994"/>
                  </a:cubicBezTo>
                  <a:cubicBezTo>
                    <a:pt x="10380" y="16970"/>
                    <a:pt x="10414" y="16943"/>
                    <a:pt x="10451" y="16914"/>
                  </a:cubicBezTo>
                  <a:cubicBezTo>
                    <a:pt x="10840" y="17257"/>
                    <a:pt x="10840" y="17257"/>
                    <a:pt x="10840" y="17257"/>
                  </a:cubicBezTo>
                  <a:cubicBezTo>
                    <a:pt x="11491" y="17109"/>
                    <a:pt x="11491" y="17109"/>
                    <a:pt x="11491" y="17109"/>
                  </a:cubicBezTo>
                  <a:cubicBezTo>
                    <a:pt x="11495" y="17197"/>
                    <a:pt x="11503" y="17306"/>
                    <a:pt x="11519" y="17422"/>
                  </a:cubicBezTo>
                  <a:cubicBezTo>
                    <a:pt x="11539" y="17575"/>
                    <a:pt x="11570" y="17737"/>
                    <a:pt x="11622" y="17837"/>
                  </a:cubicBezTo>
                  <a:cubicBezTo>
                    <a:pt x="11660" y="17911"/>
                    <a:pt x="11693" y="17963"/>
                    <a:pt x="11720" y="18000"/>
                  </a:cubicBezTo>
                  <a:cubicBezTo>
                    <a:pt x="11853" y="18000"/>
                    <a:pt x="11853" y="18000"/>
                    <a:pt x="11853" y="18000"/>
                  </a:cubicBezTo>
                  <a:cubicBezTo>
                    <a:pt x="12138" y="17591"/>
                    <a:pt x="12138" y="17591"/>
                    <a:pt x="12138" y="17591"/>
                  </a:cubicBezTo>
                  <a:cubicBezTo>
                    <a:pt x="12867" y="18000"/>
                    <a:pt x="12867" y="18000"/>
                    <a:pt x="12867" y="18000"/>
                  </a:cubicBezTo>
                  <a:cubicBezTo>
                    <a:pt x="13002" y="18000"/>
                    <a:pt x="13002" y="18000"/>
                    <a:pt x="13002" y="18000"/>
                  </a:cubicBezTo>
                  <a:cubicBezTo>
                    <a:pt x="12157" y="17527"/>
                    <a:pt x="12157" y="17527"/>
                    <a:pt x="12157" y="17527"/>
                  </a:cubicBezTo>
                  <a:cubicBezTo>
                    <a:pt x="12166" y="17523"/>
                    <a:pt x="12166" y="17523"/>
                    <a:pt x="12166" y="17523"/>
                  </a:cubicBezTo>
                  <a:cubicBezTo>
                    <a:pt x="11827" y="16731"/>
                    <a:pt x="11827" y="16731"/>
                    <a:pt x="11827" y="16731"/>
                  </a:cubicBezTo>
                  <a:cubicBezTo>
                    <a:pt x="11894" y="16705"/>
                    <a:pt x="12243" y="16572"/>
                    <a:pt x="12358" y="16514"/>
                  </a:cubicBezTo>
                  <a:cubicBezTo>
                    <a:pt x="12415" y="16486"/>
                    <a:pt x="12454" y="16467"/>
                    <a:pt x="12483" y="16434"/>
                  </a:cubicBezTo>
                  <a:cubicBezTo>
                    <a:pt x="12513" y="16400"/>
                    <a:pt x="12521" y="16356"/>
                    <a:pt x="12521" y="16297"/>
                  </a:cubicBezTo>
                  <a:cubicBezTo>
                    <a:pt x="12521" y="16288"/>
                    <a:pt x="12521" y="16279"/>
                    <a:pt x="12520" y="16270"/>
                  </a:cubicBezTo>
                  <a:cubicBezTo>
                    <a:pt x="12520" y="16267"/>
                    <a:pt x="12520" y="16266"/>
                    <a:pt x="12520" y="16264"/>
                  </a:cubicBezTo>
                  <a:cubicBezTo>
                    <a:pt x="12521" y="16216"/>
                    <a:pt x="12541" y="16187"/>
                    <a:pt x="12566" y="16166"/>
                  </a:cubicBezTo>
                  <a:cubicBezTo>
                    <a:pt x="12590" y="16146"/>
                    <a:pt x="12620" y="16136"/>
                    <a:pt x="12631" y="16133"/>
                  </a:cubicBezTo>
                  <a:cubicBezTo>
                    <a:pt x="12631" y="16132"/>
                    <a:pt x="12632" y="16132"/>
                    <a:pt x="12632" y="16132"/>
                  </a:cubicBezTo>
                  <a:cubicBezTo>
                    <a:pt x="13635" y="16099"/>
                    <a:pt x="13635" y="16099"/>
                    <a:pt x="13635" y="16099"/>
                  </a:cubicBezTo>
                  <a:cubicBezTo>
                    <a:pt x="13637" y="16116"/>
                    <a:pt x="13638" y="16135"/>
                    <a:pt x="13640" y="16157"/>
                  </a:cubicBezTo>
                  <a:cubicBezTo>
                    <a:pt x="13646" y="16225"/>
                    <a:pt x="13654" y="16318"/>
                    <a:pt x="13664" y="16426"/>
                  </a:cubicBezTo>
                  <a:cubicBezTo>
                    <a:pt x="13683" y="16642"/>
                    <a:pt x="13709" y="16923"/>
                    <a:pt x="13735" y="17201"/>
                  </a:cubicBezTo>
                  <a:cubicBezTo>
                    <a:pt x="13763" y="17497"/>
                    <a:pt x="13790" y="17791"/>
                    <a:pt x="13810" y="18000"/>
                  </a:cubicBezTo>
                  <a:cubicBezTo>
                    <a:pt x="13963" y="18000"/>
                    <a:pt x="13963" y="18000"/>
                    <a:pt x="13963" y="18000"/>
                  </a:cubicBezTo>
                  <a:cubicBezTo>
                    <a:pt x="13963" y="17994"/>
                    <a:pt x="13962" y="17989"/>
                    <a:pt x="13962" y="17983"/>
                  </a:cubicBezTo>
                  <a:cubicBezTo>
                    <a:pt x="13944" y="17798"/>
                    <a:pt x="13921" y="17549"/>
                    <a:pt x="13897" y="17290"/>
                  </a:cubicBezTo>
                  <a:cubicBezTo>
                    <a:pt x="13864" y="16943"/>
                    <a:pt x="13830" y="16577"/>
                    <a:pt x="13808" y="16329"/>
                  </a:cubicBezTo>
                  <a:cubicBezTo>
                    <a:pt x="13863" y="16328"/>
                    <a:pt x="14010" y="16325"/>
                    <a:pt x="14210" y="16322"/>
                  </a:cubicBezTo>
                  <a:cubicBezTo>
                    <a:pt x="14297" y="16321"/>
                    <a:pt x="14395" y="16319"/>
                    <a:pt x="14498" y="16318"/>
                  </a:cubicBezTo>
                  <a:cubicBezTo>
                    <a:pt x="14534" y="16468"/>
                    <a:pt x="14673" y="17049"/>
                    <a:pt x="14801" y="17530"/>
                  </a:cubicBezTo>
                  <a:cubicBezTo>
                    <a:pt x="14836" y="17663"/>
                    <a:pt x="14882" y="17832"/>
                    <a:pt x="14928" y="18000"/>
                  </a:cubicBezTo>
                  <a:cubicBezTo>
                    <a:pt x="14996" y="18000"/>
                    <a:pt x="14996" y="18000"/>
                    <a:pt x="14996" y="18000"/>
                  </a:cubicBezTo>
                  <a:cubicBezTo>
                    <a:pt x="14948" y="17826"/>
                    <a:pt x="14900" y="17650"/>
                    <a:pt x="14864" y="17514"/>
                  </a:cubicBezTo>
                  <a:cubicBezTo>
                    <a:pt x="14790" y="17236"/>
                    <a:pt x="14713" y="16923"/>
                    <a:pt x="14653" y="16681"/>
                  </a:cubicBezTo>
                  <a:cubicBezTo>
                    <a:pt x="14613" y="16517"/>
                    <a:pt x="14582" y="16385"/>
                    <a:pt x="14566" y="16317"/>
                  </a:cubicBezTo>
                  <a:cubicBezTo>
                    <a:pt x="14752" y="16314"/>
                    <a:pt x="14956" y="16311"/>
                    <a:pt x="15163" y="16308"/>
                  </a:cubicBezTo>
                  <a:cubicBezTo>
                    <a:pt x="15864" y="16297"/>
                    <a:pt x="16588" y="16286"/>
                    <a:pt x="16677" y="16286"/>
                  </a:cubicBezTo>
                  <a:cubicBezTo>
                    <a:pt x="16678" y="16286"/>
                    <a:pt x="16680" y="16286"/>
                    <a:pt x="16681" y="16286"/>
                  </a:cubicBezTo>
                  <a:cubicBezTo>
                    <a:pt x="16681" y="16286"/>
                    <a:pt x="16681" y="16286"/>
                    <a:pt x="16681" y="16286"/>
                  </a:cubicBezTo>
                  <a:cubicBezTo>
                    <a:pt x="16684" y="16287"/>
                    <a:pt x="16684" y="16287"/>
                    <a:pt x="16685" y="16287"/>
                  </a:cubicBezTo>
                  <a:cubicBezTo>
                    <a:pt x="16687" y="16287"/>
                    <a:pt x="16688" y="16287"/>
                    <a:pt x="16689" y="16287"/>
                  </a:cubicBezTo>
                  <a:cubicBezTo>
                    <a:pt x="16693" y="16287"/>
                    <a:pt x="16699" y="16287"/>
                    <a:pt x="16708" y="16287"/>
                  </a:cubicBezTo>
                  <a:cubicBezTo>
                    <a:pt x="16794" y="16286"/>
                    <a:pt x="17136" y="16296"/>
                    <a:pt x="17465" y="16519"/>
                  </a:cubicBezTo>
                  <a:cubicBezTo>
                    <a:pt x="17679" y="16665"/>
                    <a:pt x="17847" y="16797"/>
                    <a:pt x="18008" y="16921"/>
                  </a:cubicBezTo>
                  <a:cubicBezTo>
                    <a:pt x="18008" y="16838"/>
                    <a:pt x="18008" y="16838"/>
                    <a:pt x="18008" y="16838"/>
                  </a:cubicBezTo>
                  <a:cubicBezTo>
                    <a:pt x="17860" y="16724"/>
                    <a:pt x="17701" y="16600"/>
                    <a:pt x="17502" y="16465"/>
                  </a:cubicBezTo>
                  <a:cubicBezTo>
                    <a:pt x="17375" y="16379"/>
                    <a:pt x="17247" y="16324"/>
                    <a:pt x="17131" y="16288"/>
                  </a:cubicBezTo>
                  <a:cubicBezTo>
                    <a:pt x="17178" y="16204"/>
                    <a:pt x="17319" y="15925"/>
                    <a:pt x="17319" y="15543"/>
                  </a:cubicBezTo>
                  <a:cubicBezTo>
                    <a:pt x="17319" y="15401"/>
                    <a:pt x="17299" y="15244"/>
                    <a:pt x="17247" y="15079"/>
                  </a:cubicBezTo>
                  <a:cubicBezTo>
                    <a:pt x="17238" y="15032"/>
                    <a:pt x="17089" y="14301"/>
                    <a:pt x="16509" y="13729"/>
                  </a:cubicBezTo>
                  <a:cubicBezTo>
                    <a:pt x="16143" y="13368"/>
                    <a:pt x="15690" y="13226"/>
                    <a:pt x="15490" y="13176"/>
                  </a:cubicBezTo>
                  <a:cubicBezTo>
                    <a:pt x="15541" y="12904"/>
                    <a:pt x="15694" y="12588"/>
                    <a:pt x="16224" y="12441"/>
                  </a:cubicBezTo>
                  <a:cubicBezTo>
                    <a:pt x="16628" y="12329"/>
                    <a:pt x="17136" y="12299"/>
                    <a:pt x="17397" y="12283"/>
                  </a:cubicBezTo>
                  <a:cubicBezTo>
                    <a:pt x="17485" y="12277"/>
                    <a:pt x="17542" y="12274"/>
                    <a:pt x="17570" y="12268"/>
                  </a:cubicBezTo>
                  <a:cubicBezTo>
                    <a:pt x="17623" y="12254"/>
                    <a:pt x="17799" y="12201"/>
                    <a:pt x="18008" y="12086"/>
                  </a:cubicBezTo>
                  <a:cubicBezTo>
                    <a:pt x="18008" y="12011"/>
                    <a:pt x="18008" y="12011"/>
                    <a:pt x="18008" y="12011"/>
                  </a:cubicBezTo>
                  <a:cubicBezTo>
                    <a:pt x="17792" y="12134"/>
                    <a:pt x="17605" y="12192"/>
                    <a:pt x="17554" y="12204"/>
                  </a:cubicBezTo>
                  <a:cubicBezTo>
                    <a:pt x="17542" y="12208"/>
                    <a:pt x="17479" y="12212"/>
                    <a:pt x="17393" y="12217"/>
                  </a:cubicBezTo>
                  <a:cubicBezTo>
                    <a:pt x="17306" y="12223"/>
                    <a:pt x="17191" y="12230"/>
                    <a:pt x="17061" y="12241"/>
                  </a:cubicBezTo>
                  <a:cubicBezTo>
                    <a:pt x="16801" y="12263"/>
                    <a:pt x="16483" y="12301"/>
                    <a:pt x="16206" y="12378"/>
                  </a:cubicBezTo>
                  <a:cubicBezTo>
                    <a:pt x="15656" y="12528"/>
                    <a:pt x="15478" y="12874"/>
                    <a:pt x="15426" y="13161"/>
                  </a:cubicBezTo>
                  <a:cubicBezTo>
                    <a:pt x="15414" y="13158"/>
                    <a:pt x="15404" y="13156"/>
                    <a:pt x="15398" y="13155"/>
                  </a:cubicBezTo>
                  <a:cubicBezTo>
                    <a:pt x="14203" y="12920"/>
                    <a:pt x="14203" y="12920"/>
                    <a:pt x="14203" y="12920"/>
                  </a:cubicBezTo>
                  <a:cubicBezTo>
                    <a:pt x="14228" y="12765"/>
                    <a:pt x="14252" y="12623"/>
                    <a:pt x="14272" y="12501"/>
                  </a:cubicBezTo>
                  <a:cubicBezTo>
                    <a:pt x="14303" y="12315"/>
                    <a:pt x="14325" y="12179"/>
                    <a:pt x="14335" y="12120"/>
                  </a:cubicBezTo>
                  <a:cubicBezTo>
                    <a:pt x="14393" y="12078"/>
                    <a:pt x="14533" y="11969"/>
                    <a:pt x="14637" y="11826"/>
                  </a:cubicBezTo>
                  <a:cubicBezTo>
                    <a:pt x="14751" y="11669"/>
                    <a:pt x="14820" y="11492"/>
                    <a:pt x="14837" y="11446"/>
                  </a:cubicBezTo>
                  <a:cubicBezTo>
                    <a:pt x="15135" y="11037"/>
                    <a:pt x="15135" y="11037"/>
                    <a:pt x="15135" y="11037"/>
                  </a:cubicBezTo>
                  <a:cubicBezTo>
                    <a:pt x="15328" y="11082"/>
                    <a:pt x="15766" y="11182"/>
                    <a:pt x="16044" y="11239"/>
                  </a:cubicBezTo>
                  <a:cubicBezTo>
                    <a:pt x="16220" y="11275"/>
                    <a:pt x="16763" y="11412"/>
                    <a:pt x="17258" y="11540"/>
                  </a:cubicBezTo>
                  <a:cubicBezTo>
                    <a:pt x="17552" y="11616"/>
                    <a:pt x="17830" y="11689"/>
                    <a:pt x="18008" y="11736"/>
                  </a:cubicBezTo>
                  <a:cubicBezTo>
                    <a:pt x="18008" y="11578"/>
                    <a:pt x="18008" y="11578"/>
                    <a:pt x="18008" y="11578"/>
                  </a:cubicBezTo>
                  <a:cubicBezTo>
                    <a:pt x="17830" y="11531"/>
                    <a:pt x="17570" y="11464"/>
                    <a:pt x="17296" y="11393"/>
                  </a:cubicBezTo>
                  <a:cubicBezTo>
                    <a:pt x="16799" y="11264"/>
                    <a:pt x="16259" y="11127"/>
                    <a:pt x="16074" y="11090"/>
                  </a:cubicBezTo>
                  <a:cubicBezTo>
                    <a:pt x="15894" y="11053"/>
                    <a:pt x="15643" y="10997"/>
                    <a:pt x="15438" y="10950"/>
                  </a:cubicBezTo>
                  <a:cubicBezTo>
                    <a:pt x="15262" y="10910"/>
                    <a:pt x="15120" y="10877"/>
                    <a:pt x="15082" y="10868"/>
                  </a:cubicBezTo>
                  <a:cubicBezTo>
                    <a:pt x="15080" y="10867"/>
                    <a:pt x="15076" y="10864"/>
                    <a:pt x="15072" y="10862"/>
                  </a:cubicBezTo>
                  <a:cubicBezTo>
                    <a:pt x="15058" y="10852"/>
                    <a:pt x="15036" y="10835"/>
                    <a:pt x="15004" y="10807"/>
                  </a:cubicBezTo>
                  <a:cubicBezTo>
                    <a:pt x="15000" y="10803"/>
                    <a:pt x="14986" y="10789"/>
                    <a:pt x="14970" y="10770"/>
                  </a:cubicBezTo>
                  <a:cubicBezTo>
                    <a:pt x="14953" y="10752"/>
                    <a:pt x="14931" y="10728"/>
                    <a:pt x="14908" y="10700"/>
                  </a:cubicBezTo>
                  <a:cubicBezTo>
                    <a:pt x="14860" y="10646"/>
                    <a:pt x="14803" y="10579"/>
                    <a:pt x="14748" y="10513"/>
                  </a:cubicBezTo>
                  <a:cubicBezTo>
                    <a:pt x="14651" y="10398"/>
                    <a:pt x="14561" y="10290"/>
                    <a:pt x="14540" y="10264"/>
                  </a:cubicBezTo>
                  <a:cubicBezTo>
                    <a:pt x="14520" y="10226"/>
                    <a:pt x="14438" y="10082"/>
                    <a:pt x="14287" y="9985"/>
                  </a:cubicBezTo>
                  <a:cubicBezTo>
                    <a:pt x="14201" y="9930"/>
                    <a:pt x="14106" y="9901"/>
                    <a:pt x="14020" y="9880"/>
                  </a:cubicBezTo>
                  <a:cubicBezTo>
                    <a:pt x="13935" y="9858"/>
                    <a:pt x="13856" y="9844"/>
                    <a:pt x="13807" y="9827"/>
                  </a:cubicBezTo>
                  <a:cubicBezTo>
                    <a:pt x="13763" y="9813"/>
                    <a:pt x="13683" y="9766"/>
                    <a:pt x="13612" y="9710"/>
                  </a:cubicBezTo>
                  <a:cubicBezTo>
                    <a:pt x="13553" y="9665"/>
                    <a:pt x="13499" y="9611"/>
                    <a:pt x="13470" y="9569"/>
                  </a:cubicBezTo>
                  <a:cubicBezTo>
                    <a:pt x="13472" y="9557"/>
                    <a:pt x="13475" y="9543"/>
                    <a:pt x="13478" y="9527"/>
                  </a:cubicBezTo>
                  <a:cubicBezTo>
                    <a:pt x="13484" y="9484"/>
                    <a:pt x="13490" y="9427"/>
                    <a:pt x="13490" y="9366"/>
                  </a:cubicBezTo>
                  <a:cubicBezTo>
                    <a:pt x="13490" y="9335"/>
                    <a:pt x="13489" y="9302"/>
                    <a:pt x="13484" y="9270"/>
                  </a:cubicBezTo>
                  <a:cubicBezTo>
                    <a:pt x="13602" y="9241"/>
                    <a:pt x="13862" y="9178"/>
                    <a:pt x="14026" y="9139"/>
                  </a:cubicBezTo>
                  <a:cubicBezTo>
                    <a:pt x="14094" y="9123"/>
                    <a:pt x="14148" y="9111"/>
                    <a:pt x="14160" y="9108"/>
                  </a:cubicBezTo>
                  <a:cubicBezTo>
                    <a:pt x="14166" y="9108"/>
                    <a:pt x="14168" y="9107"/>
                    <a:pt x="14172" y="9106"/>
                  </a:cubicBezTo>
                  <a:cubicBezTo>
                    <a:pt x="14176" y="9105"/>
                    <a:pt x="14180" y="9104"/>
                    <a:pt x="14185" y="9103"/>
                  </a:cubicBezTo>
                  <a:cubicBezTo>
                    <a:pt x="14194" y="9101"/>
                    <a:pt x="14206" y="9098"/>
                    <a:pt x="14219" y="9094"/>
                  </a:cubicBezTo>
                  <a:cubicBezTo>
                    <a:pt x="14247" y="9086"/>
                    <a:pt x="14284" y="9074"/>
                    <a:pt x="14328" y="9060"/>
                  </a:cubicBezTo>
                  <a:cubicBezTo>
                    <a:pt x="14416" y="9032"/>
                    <a:pt x="14533" y="8992"/>
                    <a:pt x="14656" y="8947"/>
                  </a:cubicBezTo>
                  <a:cubicBezTo>
                    <a:pt x="14754" y="8912"/>
                    <a:pt x="14897" y="8841"/>
                    <a:pt x="15047" y="8762"/>
                  </a:cubicBezTo>
                  <a:cubicBezTo>
                    <a:pt x="15196" y="8684"/>
                    <a:pt x="15349" y="8599"/>
                    <a:pt x="15456" y="8539"/>
                  </a:cubicBezTo>
                  <a:cubicBezTo>
                    <a:pt x="15527" y="8500"/>
                    <a:pt x="15579" y="8470"/>
                    <a:pt x="15592" y="8463"/>
                  </a:cubicBezTo>
                  <a:cubicBezTo>
                    <a:pt x="15592" y="8463"/>
                    <a:pt x="15592" y="8463"/>
                    <a:pt x="15592" y="8463"/>
                  </a:cubicBezTo>
                  <a:cubicBezTo>
                    <a:pt x="15615" y="8453"/>
                    <a:pt x="15714" y="8411"/>
                    <a:pt x="15741" y="8399"/>
                  </a:cubicBezTo>
                  <a:cubicBezTo>
                    <a:pt x="17155" y="8109"/>
                    <a:pt x="17155" y="8109"/>
                    <a:pt x="17155" y="8109"/>
                  </a:cubicBezTo>
                  <a:cubicBezTo>
                    <a:pt x="17185" y="8106"/>
                    <a:pt x="17408" y="8080"/>
                    <a:pt x="17636" y="8053"/>
                  </a:cubicBezTo>
                  <a:cubicBezTo>
                    <a:pt x="17772" y="8037"/>
                    <a:pt x="17910" y="8021"/>
                    <a:pt x="18008" y="8009"/>
                  </a:cubicBezTo>
                  <a:cubicBezTo>
                    <a:pt x="18008" y="7856"/>
                    <a:pt x="18008" y="7856"/>
                    <a:pt x="18008" y="7856"/>
                  </a:cubicBezTo>
                  <a:cubicBezTo>
                    <a:pt x="17997" y="7857"/>
                    <a:pt x="17985" y="7858"/>
                    <a:pt x="17973" y="7860"/>
                  </a:cubicBezTo>
                  <a:cubicBezTo>
                    <a:pt x="17879" y="7871"/>
                    <a:pt x="17754" y="7885"/>
                    <a:pt x="17630" y="7900"/>
                  </a:cubicBezTo>
                  <a:cubicBezTo>
                    <a:pt x="17382" y="7929"/>
                    <a:pt x="17134" y="7958"/>
                    <a:pt x="17134" y="7958"/>
                  </a:cubicBezTo>
                  <a:cubicBezTo>
                    <a:pt x="17131" y="7959"/>
                    <a:pt x="17131" y="7959"/>
                    <a:pt x="17131" y="7959"/>
                  </a:cubicBezTo>
                  <a:cubicBezTo>
                    <a:pt x="15695" y="8253"/>
                    <a:pt x="15695" y="8253"/>
                    <a:pt x="15695" y="8253"/>
                  </a:cubicBezTo>
                  <a:cubicBezTo>
                    <a:pt x="15688" y="8256"/>
                    <a:pt x="15688" y="8256"/>
                    <a:pt x="15688" y="8256"/>
                  </a:cubicBezTo>
                  <a:cubicBezTo>
                    <a:pt x="15688" y="8256"/>
                    <a:pt x="15682" y="8258"/>
                    <a:pt x="15673" y="8262"/>
                  </a:cubicBezTo>
                  <a:cubicBezTo>
                    <a:pt x="15643" y="8024"/>
                    <a:pt x="15549" y="7264"/>
                    <a:pt x="15502" y="6900"/>
                  </a:cubicBezTo>
                  <a:cubicBezTo>
                    <a:pt x="15489" y="6799"/>
                    <a:pt x="15484" y="6714"/>
                    <a:pt x="15484" y="6641"/>
                  </a:cubicBezTo>
                  <a:cubicBezTo>
                    <a:pt x="15484" y="6405"/>
                    <a:pt x="15542" y="6290"/>
                    <a:pt x="15618" y="6106"/>
                  </a:cubicBezTo>
                  <a:cubicBezTo>
                    <a:pt x="15709" y="5879"/>
                    <a:pt x="15978" y="5659"/>
                    <a:pt x="16064" y="5300"/>
                  </a:cubicBezTo>
                  <a:cubicBezTo>
                    <a:pt x="16087" y="5204"/>
                    <a:pt x="16095" y="5115"/>
                    <a:pt x="16095" y="5035"/>
                  </a:cubicBezTo>
                  <a:cubicBezTo>
                    <a:pt x="16095" y="4893"/>
                    <a:pt x="16069" y="4782"/>
                    <a:pt x="16050" y="4722"/>
                  </a:cubicBezTo>
                  <a:cubicBezTo>
                    <a:pt x="16111" y="4709"/>
                    <a:pt x="16111" y="4709"/>
                    <a:pt x="16111" y="4709"/>
                  </a:cubicBezTo>
                  <a:cubicBezTo>
                    <a:pt x="16111" y="4709"/>
                    <a:pt x="16228" y="4687"/>
                    <a:pt x="16394" y="4665"/>
                  </a:cubicBezTo>
                  <a:cubicBezTo>
                    <a:pt x="16560" y="4643"/>
                    <a:pt x="16776" y="4621"/>
                    <a:pt x="16971" y="4621"/>
                  </a:cubicBezTo>
                  <a:cubicBezTo>
                    <a:pt x="17009" y="4621"/>
                    <a:pt x="17046" y="4622"/>
                    <a:pt x="17082" y="4624"/>
                  </a:cubicBezTo>
                  <a:cubicBezTo>
                    <a:pt x="17428" y="4641"/>
                    <a:pt x="17814" y="4690"/>
                    <a:pt x="18008" y="4718"/>
                  </a:cubicBezTo>
                  <a:cubicBezTo>
                    <a:pt x="18008" y="4651"/>
                    <a:pt x="18008" y="4651"/>
                    <a:pt x="18008" y="4651"/>
                  </a:cubicBezTo>
                  <a:cubicBezTo>
                    <a:pt x="17810" y="4624"/>
                    <a:pt x="17430" y="4576"/>
                    <a:pt x="17085" y="4558"/>
                  </a:cubicBezTo>
                  <a:cubicBezTo>
                    <a:pt x="17048" y="4557"/>
                    <a:pt x="17010" y="4556"/>
                    <a:pt x="16971" y="4556"/>
                  </a:cubicBezTo>
                  <a:cubicBezTo>
                    <a:pt x="16571" y="4556"/>
                    <a:pt x="16100" y="4645"/>
                    <a:pt x="16098" y="4645"/>
                  </a:cubicBezTo>
                  <a:cubicBezTo>
                    <a:pt x="16024" y="4660"/>
                    <a:pt x="16024" y="4660"/>
                    <a:pt x="16024" y="4660"/>
                  </a:cubicBezTo>
                  <a:cubicBezTo>
                    <a:pt x="16023" y="4655"/>
                    <a:pt x="16021" y="4648"/>
                    <a:pt x="16019" y="4640"/>
                  </a:cubicBezTo>
                  <a:cubicBezTo>
                    <a:pt x="16013" y="4619"/>
                    <a:pt x="16004" y="4590"/>
                    <a:pt x="15994" y="4554"/>
                  </a:cubicBezTo>
                  <a:cubicBezTo>
                    <a:pt x="15973" y="4483"/>
                    <a:pt x="15944" y="4385"/>
                    <a:pt x="15912" y="4273"/>
                  </a:cubicBezTo>
                  <a:cubicBezTo>
                    <a:pt x="15848" y="4048"/>
                    <a:pt x="15771" y="3765"/>
                    <a:pt x="15720" y="3523"/>
                  </a:cubicBezTo>
                  <a:cubicBezTo>
                    <a:pt x="15677" y="3320"/>
                    <a:pt x="15661" y="3115"/>
                    <a:pt x="15661" y="2932"/>
                  </a:cubicBezTo>
                  <a:cubicBezTo>
                    <a:pt x="15661" y="2677"/>
                    <a:pt x="15692" y="2462"/>
                    <a:pt x="15724" y="2346"/>
                  </a:cubicBezTo>
                  <a:cubicBezTo>
                    <a:pt x="15759" y="2211"/>
                    <a:pt x="15951" y="1964"/>
                    <a:pt x="16057" y="1842"/>
                  </a:cubicBezTo>
                  <a:cubicBezTo>
                    <a:pt x="16092" y="1801"/>
                    <a:pt x="16119" y="1772"/>
                    <a:pt x="16124" y="1768"/>
                  </a:cubicBezTo>
                  <a:cubicBezTo>
                    <a:pt x="16120" y="1764"/>
                    <a:pt x="16120" y="1764"/>
                    <a:pt x="16120" y="1764"/>
                  </a:cubicBezTo>
                  <a:cubicBezTo>
                    <a:pt x="16119" y="1763"/>
                    <a:pt x="16119" y="1763"/>
                    <a:pt x="16119" y="1763"/>
                  </a:cubicBezTo>
                  <a:cubicBezTo>
                    <a:pt x="16151" y="1756"/>
                    <a:pt x="16182" y="1748"/>
                    <a:pt x="16213" y="1739"/>
                  </a:cubicBezTo>
                  <a:cubicBezTo>
                    <a:pt x="16723" y="1603"/>
                    <a:pt x="17428" y="1074"/>
                    <a:pt x="17875" y="781"/>
                  </a:cubicBezTo>
                  <a:cubicBezTo>
                    <a:pt x="17921" y="846"/>
                    <a:pt x="17966" y="924"/>
                    <a:pt x="18008" y="1016"/>
                  </a:cubicBezTo>
                  <a:cubicBezTo>
                    <a:pt x="18008" y="871"/>
                    <a:pt x="18008" y="871"/>
                    <a:pt x="18008" y="871"/>
                  </a:cubicBezTo>
                  <a:cubicBezTo>
                    <a:pt x="17982" y="825"/>
                    <a:pt x="17956" y="783"/>
                    <a:pt x="17930" y="745"/>
                  </a:cubicBezTo>
                  <a:cubicBezTo>
                    <a:pt x="17955" y="728"/>
                    <a:pt x="17981" y="709"/>
                    <a:pt x="18008" y="691"/>
                  </a:cubicBezTo>
                  <a:lnTo>
                    <a:pt x="18008" y="610"/>
                  </a:lnTo>
                  <a:close/>
                  <a:moveTo>
                    <a:pt x="14972" y="695"/>
                  </a:moveTo>
                  <a:cubicBezTo>
                    <a:pt x="14972" y="695"/>
                    <a:pt x="14972" y="695"/>
                    <a:pt x="14972" y="695"/>
                  </a:cubicBezTo>
                  <a:cubicBezTo>
                    <a:pt x="14972" y="695"/>
                    <a:pt x="14972" y="695"/>
                    <a:pt x="14972" y="695"/>
                  </a:cubicBezTo>
                  <a:close/>
                  <a:moveTo>
                    <a:pt x="34" y="14507"/>
                  </a:moveTo>
                  <a:cubicBezTo>
                    <a:pt x="34" y="14507"/>
                    <a:pt x="34" y="14507"/>
                    <a:pt x="34" y="14507"/>
                  </a:cubicBezTo>
                  <a:cubicBezTo>
                    <a:pt x="39" y="14504"/>
                    <a:pt x="39" y="14504"/>
                    <a:pt x="39" y="14504"/>
                  </a:cubicBezTo>
                  <a:lnTo>
                    <a:pt x="34" y="14507"/>
                  </a:lnTo>
                  <a:close/>
                  <a:moveTo>
                    <a:pt x="143" y="16724"/>
                  </a:moveTo>
                  <a:cubicBezTo>
                    <a:pt x="77" y="16671"/>
                    <a:pt x="77" y="16671"/>
                    <a:pt x="77" y="16671"/>
                  </a:cubicBezTo>
                  <a:cubicBezTo>
                    <a:pt x="114" y="16624"/>
                    <a:pt x="114" y="16624"/>
                    <a:pt x="114" y="16624"/>
                  </a:cubicBezTo>
                  <a:cubicBezTo>
                    <a:pt x="151" y="16653"/>
                    <a:pt x="151" y="16653"/>
                    <a:pt x="151" y="16653"/>
                  </a:cubicBezTo>
                  <a:cubicBezTo>
                    <a:pt x="178" y="16619"/>
                    <a:pt x="178" y="16619"/>
                    <a:pt x="178" y="16619"/>
                  </a:cubicBezTo>
                  <a:cubicBezTo>
                    <a:pt x="206" y="16642"/>
                    <a:pt x="206" y="16642"/>
                    <a:pt x="206" y="16642"/>
                  </a:cubicBezTo>
                  <a:lnTo>
                    <a:pt x="143" y="16724"/>
                  </a:lnTo>
                  <a:close/>
                  <a:moveTo>
                    <a:pt x="248" y="16676"/>
                  </a:moveTo>
                  <a:cubicBezTo>
                    <a:pt x="222" y="16709"/>
                    <a:pt x="222" y="16709"/>
                    <a:pt x="222" y="16709"/>
                  </a:cubicBezTo>
                  <a:cubicBezTo>
                    <a:pt x="258" y="16739"/>
                    <a:pt x="258" y="16739"/>
                    <a:pt x="258" y="16739"/>
                  </a:cubicBezTo>
                  <a:cubicBezTo>
                    <a:pt x="221" y="16786"/>
                    <a:pt x="221" y="16786"/>
                    <a:pt x="221" y="16786"/>
                  </a:cubicBezTo>
                  <a:cubicBezTo>
                    <a:pt x="154" y="16733"/>
                    <a:pt x="154" y="16733"/>
                    <a:pt x="154" y="16733"/>
                  </a:cubicBezTo>
                  <a:cubicBezTo>
                    <a:pt x="217" y="16651"/>
                    <a:pt x="217" y="16651"/>
                    <a:pt x="217" y="16651"/>
                  </a:cubicBezTo>
                  <a:lnTo>
                    <a:pt x="248" y="16676"/>
                  </a:lnTo>
                  <a:close/>
                  <a:moveTo>
                    <a:pt x="12890" y="1094"/>
                  </a:moveTo>
                  <a:cubicBezTo>
                    <a:pt x="12952" y="1257"/>
                    <a:pt x="13061" y="1566"/>
                    <a:pt x="13087" y="1669"/>
                  </a:cubicBezTo>
                  <a:cubicBezTo>
                    <a:pt x="13102" y="1724"/>
                    <a:pt x="13116" y="1795"/>
                    <a:pt x="13126" y="1851"/>
                  </a:cubicBezTo>
                  <a:cubicBezTo>
                    <a:pt x="13133" y="1891"/>
                    <a:pt x="13138" y="1924"/>
                    <a:pt x="13141" y="1940"/>
                  </a:cubicBezTo>
                  <a:cubicBezTo>
                    <a:pt x="13120" y="1953"/>
                    <a:pt x="13099" y="1970"/>
                    <a:pt x="13080" y="1992"/>
                  </a:cubicBezTo>
                  <a:cubicBezTo>
                    <a:pt x="13000" y="2082"/>
                    <a:pt x="12897" y="2235"/>
                    <a:pt x="12886" y="2251"/>
                  </a:cubicBezTo>
                  <a:cubicBezTo>
                    <a:pt x="12868" y="2274"/>
                    <a:pt x="12590" y="2614"/>
                    <a:pt x="12504" y="2731"/>
                  </a:cubicBezTo>
                  <a:cubicBezTo>
                    <a:pt x="12491" y="2750"/>
                    <a:pt x="12483" y="2760"/>
                    <a:pt x="12478" y="2772"/>
                  </a:cubicBezTo>
                  <a:cubicBezTo>
                    <a:pt x="12462" y="2806"/>
                    <a:pt x="12427" y="2887"/>
                    <a:pt x="12411" y="2924"/>
                  </a:cubicBezTo>
                  <a:cubicBezTo>
                    <a:pt x="12359" y="2909"/>
                    <a:pt x="12314" y="2907"/>
                    <a:pt x="12295" y="2907"/>
                  </a:cubicBezTo>
                  <a:cubicBezTo>
                    <a:pt x="12291" y="2907"/>
                    <a:pt x="12289" y="2907"/>
                    <a:pt x="12287" y="2907"/>
                  </a:cubicBezTo>
                  <a:cubicBezTo>
                    <a:pt x="12287" y="2907"/>
                    <a:pt x="12287" y="2907"/>
                    <a:pt x="12287" y="2907"/>
                  </a:cubicBezTo>
                  <a:cubicBezTo>
                    <a:pt x="12287" y="2907"/>
                    <a:pt x="11890" y="2916"/>
                    <a:pt x="11493" y="2924"/>
                  </a:cubicBezTo>
                  <a:cubicBezTo>
                    <a:pt x="11123" y="2932"/>
                    <a:pt x="10755" y="2940"/>
                    <a:pt x="10704" y="2942"/>
                  </a:cubicBezTo>
                  <a:cubicBezTo>
                    <a:pt x="10667" y="2794"/>
                    <a:pt x="10628" y="2650"/>
                    <a:pt x="10597" y="2534"/>
                  </a:cubicBezTo>
                  <a:cubicBezTo>
                    <a:pt x="10671" y="2511"/>
                    <a:pt x="10732" y="2491"/>
                    <a:pt x="10776" y="2475"/>
                  </a:cubicBezTo>
                  <a:cubicBezTo>
                    <a:pt x="10808" y="2463"/>
                    <a:pt x="10830" y="2454"/>
                    <a:pt x="10851" y="2442"/>
                  </a:cubicBezTo>
                  <a:cubicBezTo>
                    <a:pt x="10878" y="2426"/>
                    <a:pt x="10909" y="2401"/>
                    <a:pt x="10949" y="2366"/>
                  </a:cubicBezTo>
                  <a:cubicBezTo>
                    <a:pt x="10990" y="2331"/>
                    <a:pt x="11039" y="2287"/>
                    <a:pt x="11094" y="2236"/>
                  </a:cubicBezTo>
                  <a:cubicBezTo>
                    <a:pt x="11205" y="2134"/>
                    <a:pt x="11343" y="2003"/>
                    <a:pt x="11488" y="1867"/>
                  </a:cubicBezTo>
                  <a:cubicBezTo>
                    <a:pt x="11534" y="1824"/>
                    <a:pt x="11581" y="1781"/>
                    <a:pt x="11627" y="1738"/>
                  </a:cubicBezTo>
                  <a:cubicBezTo>
                    <a:pt x="11807" y="1612"/>
                    <a:pt x="12174" y="1316"/>
                    <a:pt x="12242" y="1278"/>
                  </a:cubicBezTo>
                  <a:cubicBezTo>
                    <a:pt x="12269" y="1262"/>
                    <a:pt x="12381" y="1208"/>
                    <a:pt x="12554" y="1161"/>
                  </a:cubicBezTo>
                  <a:cubicBezTo>
                    <a:pt x="12654" y="1133"/>
                    <a:pt x="12779" y="1116"/>
                    <a:pt x="12890" y="1094"/>
                  </a:cubicBezTo>
                  <a:close/>
                  <a:moveTo>
                    <a:pt x="9441" y="13331"/>
                  </a:moveTo>
                  <a:cubicBezTo>
                    <a:pt x="9440" y="13330"/>
                    <a:pt x="9440" y="13329"/>
                    <a:pt x="9439" y="13327"/>
                  </a:cubicBezTo>
                  <a:cubicBezTo>
                    <a:pt x="9438" y="13323"/>
                    <a:pt x="9436" y="13318"/>
                    <a:pt x="9433" y="13310"/>
                  </a:cubicBezTo>
                  <a:cubicBezTo>
                    <a:pt x="9429" y="13296"/>
                    <a:pt x="9422" y="13275"/>
                    <a:pt x="9414" y="13250"/>
                  </a:cubicBezTo>
                  <a:cubicBezTo>
                    <a:pt x="9398" y="13199"/>
                    <a:pt x="9377" y="13133"/>
                    <a:pt x="9356" y="13066"/>
                  </a:cubicBezTo>
                  <a:cubicBezTo>
                    <a:pt x="9320" y="12952"/>
                    <a:pt x="9285" y="12838"/>
                    <a:pt x="9275" y="12806"/>
                  </a:cubicBezTo>
                  <a:cubicBezTo>
                    <a:pt x="9278" y="12806"/>
                    <a:pt x="9282" y="12806"/>
                    <a:pt x="9286" y="12806"/>
                  </a:cubicBezTo>
                  <a:cubicBezTo>
                    <a:pt x="9298" y="12805"/>
                    <a:pt x="9316" y="12805"/>
                    <a:pt x="9337" y="12804"/>
                  </a:cubicBezTo>
                  <a:cubicBezTo>
                    <a:pt x="9358" y="12803"/>
                    <a:pt x="9383" y="12803"/>
                    <a:pt x="9409" y="12802"/>
                  </a:cubicBezTo>
                  <a:cubicBezTo>
                    <a:pt x="9519" y="13124"/>
                    <a:pt x="9519" y="13124"/>
                    <a:pt x="9519" y="13124"/>
                  </a:cubicBezTo>
                  <a:cubicBezTo>
                    <a:pt x="9403" y="13161"/>
                    <a:pt x="9403" y="13161"/>
                    <a:pt x="9403" y="13161"/>
                  </a:cubicBezTo>
                  <a:cubicBezTo>
                    <a:pt x="9447" y="13307"/>
                    <a:pt x="9447" y="13307"/>
                    <a:pt x="9447" y="13307"/>
                  </a:cubicBezTo>
                  <a:cubicBezTo>
                    <a:pt x="9569" y="13269"/>
                    <a:pt x="9569" y="13269"/>
                    <a:pt x="9569" y="13269"/>
                  </a:cubicBezTo>
                  <a:cubicBezTo>
                    <a:pt x="9576" y="13291"/>
                    <a:pt x="9576" y="13291"/>
                    <a:pt x="9576" y="13291"/>
                  </a:cubicBezTo>
                  <a:cubicBezTo>
                    <a:pt x="9527" y="13307"/>
                    <a:pt x="9480" y="13322"/>
                    <a:pt x="9435" y="13337"/>
                  </a:cubicBezTo>
                  <a:cubicBezTo>
                    <a:pt x="9435" y="13335"/>
                    <a:pt x="9435" y="13335"/>
                    <a:pt x="9435" y="13335"/>
                  </a:cubicBezTo>
                  <a:cubicBezTo>
                    <a:pt x="9437" y="13334"/>
                    <a:pt x="9437" y="13334"/>
                    <a:pt x="9437" y="13334"/>
                  </a:cubicBezTo>
                  <a:cubicBezTo>
                    <a:pt x="9441" y="13332"/>
                    <a:pt x="9441" y="13332"/>
                    <a:pt x="9441" y="13332"/>
                  </a:cubicBezTo>
                  <a:cubicBezTo>
                    <a:pt x="9441" y="13332"/>
                    <a:pt x="9441" y="13332"/>
                    <a:pt x="9441" y="13331"/>
                  </a:cubicBezTo>
                  <a:close/>
                  <a:moveTo>
                    <a:pt x="9356" y="13126"/>
                  </a:moveTo>
                  <a:cubicBezTo>
                    <a:pt x="9207" y="13174"/>
                    <a:pt x="9207" y="13174"/>
                    <a:pt x="9207" y="13174"/>
                  </a:cubicBezTo>
                  <a:cubicBezTo>
                    <a:pt x="9084" y="13153"/>
                    <a:pt x="9084" y="13153"/>
                    <a:pt x="9084" y="13153"/>
                  </a:cubicBezTo>
                  <a:cubicBezTo>
                    <a:pt x="9143" y="13028"/>
                    <a:pt x="9205" y="12900"/>
                    <a:pt x="9236" y="12840"/>
                  </a:cubicBezTo>
                  <a:cubicBezTo>
                    <a:pt x="9245" y="12824"/>
                    <a:pt x="9252" y="12812"/>
                    <a:pt x="9254" y="12809"/>
                  </a:cubicBezTo>
                  <a:cubicBezTo>
                    <a:pt x="9257" y="12808"/>
                    <a:pt x="9257" y="12806"/>
                    <a:pt x="9258" y="12805"/>
                  </a:cubicBezTo>
                  <a:cubicBezTo>
                    <a:pt x="9259" y="12805"/>
                    <a:pt x="9259" y="12804"/>
                    <a:pt x="9260" y="12803"/>
                  </a:cubicBezTo>
                  <a:cubicBezTo>
                    <a:pt x="9260" y="12803"/>
                    <a:pt x="9260" y="12803"/>
                    <a:pt x="9260" y="12803"/>
                  </a:cubicBezTo>
                  <a:cubicBezTo>
                    <a:pt x="9268" y="12829"/>
                    <a:pt x="9403" y="13267"/>
                    <a:pt x="9426" y="13330"/>
                  </a:cubicBezTo>
                  <a:cubicBezTo>
                    <a:pt x="9427" y="13335"/>
                    <a:pt x="9428" y="13336"/>
                    <a:pt x="9429" y="13339"/>
                  </a:cubicBezTo>
                  <a:cubicBezTo>
                    <a:pt x="9345" y="13366"/>
                    <a:pt x="9269" y="13391"/>
                    <a:pt x="9205" y="13412"/>
                  </a:cubicBezTo>
                  <a:cubicBezTo>
                    <a:pt x="9206" y="13384"/>
                    <a:pt x="9213" y="13215"/>
                    <a:pt x="9214" y="13187"/>
                  </a:cubicBezTo>
                  <a:cubicBezTo>
                    <a:pt x="9360" y="13139"/>
                    <a:pt x="9360" y="13139"/>
                    <a:pt x="9360" y="13139"/>
                  </a:cubicBezTo>
                  <a:lnTo>
                    <a:pt x="9356" y="13126"/>
                  </a:lnTo>
                  <a:close/>
                  <a:moveTo>
                    <a:pt x="9194" y="13415"/>
                  </a:moveTo>
                  <a:cubicBezTo>
                    <a:pt x="9113" y="13442"/>
                    <a:pt x="9052" y="13462"/>
                    <a:pt x="9019" y="13473"/>
                  </a:cubicBezTo>
                  <a:cubicBezTo>
                    <a:pt x="9007" y="13477"/>
                    <a:pt x="9000" y="13480"/>
                    <a:pt x="8995" y="13482"/>
                  </a:cubicBezTo>
                  <a:cubicBezTo>
                    <a:pt x="8993" y="13481"/>
                    <a:pt x="8991" y="13480"/>
                    <a:pt x="8988" y="13479"/>
                  </a:cubicBezTo>
                  <a:cubicBezTo>
                    <a:pt x="8982" y="13476"/>
                    <a:pt x="8974" y="13472"/>
                    <a:pt x="8966" y="13469"/>
                  </a:cubicBezTo>
                  <a:cubicBezTo>
                    <a:pt x="8956" y="13465"/>
                    <a:pt x="8946" y="13461"/>
                    <a:pt x="8940" y="13458"/>
                  </a:cubicBezTo>
                  <a:cubicBezTo>
                    <a:pt x="8952" y="13431"/>
                    <a:pt x="9003" y="13324"/>
                    <a:pt x="9060" y="13203"/>
                  </a:cubicBezTo>
                  <a:cubicBezTo>
                    <a:pt x="9067" y="13188"/>
                    <a:pt x="9074" y="13173"/>
                    <a:pt x="9082" y="13157"/>
                  </a:cubicBezTo>
                  <a:cubicBezTo>
                    <a:pt x="9080" y="13167"/>
                    <a:pt x="9080" y="13167"/>
                    <a:pt x="9080" y="13167"/>
                  </a:cubicBezTo>
                  <a:cubicBezTo>
                    <a:pt x="9200" y="13187"/>
                    <a:pt x="9200" y="13187"/>
                    <a:pt x="9200" y="13187"/>
                  </a:cubicBezTo>
                  <a:cubicBezTo>
                    <a:pt x="9200" y="13189"/>
                    <a:pt x="9200" y="13190"/>
                    <a:pt x="9200" y="13191"/>
                  </a:cubicBezTo>
                  <a:cubicBezTo>
                    <a:pt x="9200" y="13198"/>
                    <a:pt x="9199" y="13207"/>
                    <a:pt x="9199" y="13218"/>
                  </a:cubicBezTo>
                  <a:cubicBezTo>
                    <a:pt x="9198" y="13240"/>
                    <a:pt x="9197" y="13269"/>
                    <a:pt x="9196" y="13298"/>
                  </a:cubicBezTo>
                  <a:cubicBezTo>
                    <a:pt x="9193" y="13357"/>
                    <a:pt x="9191" y="13415"/>
                    <a:pt x="9191" y="13415"/>
                  </a:cubicBezTo>
                  <a:cubicBezTo>
                    <a:pt x="9191" y="13415"/>
                    <a:pt x="9191" y="13415"/>
                    <a:pt x="9191" y="13415"/>
                  </a:cubicBezTo>
                  <a:lnTo>
                    <a:pt x="9194" y="13415"/>
                  </a:lnTo>
                  <a:close/>
                  <a:moveTo>
                    <a:pt x="9497" y="12274"/>
                  </a:moveTo>
                  <a:cubicBezTo>
                    <a:pt x="9507" y="12252"/>
                    <a:pt x="9515" y="12234"/>
                    <a:pt x="9520" y="12220"/>
                  </a:cubicBezTo>
                  <a:cubicBezTo>
                    <a:pt x="9557" y="12237"/>
                    <a:pt x="9603" y="12254"/>
                    <a:pt x="9655" y="12268"/>
                  </a:cubicBezTo>
                  <a:cubicBezTo>
                    <a:pt x="9818" y="12747"/>
                    <a:pt x="9818" y="12747"/>
                    <a:pt x="9818" y="12747"/>
                  </a:cubicBezTo>
                  <a:cubicBezTo>
                    <a:pt x="9720" y="12777"/>
                    <a:pt x="9720" y="12777"/>
                    <a:pt x="9720" y="12777"/>
                  </a:cubicBezTo>
                  <a:cubicBezTo>
                    <a:pt x="9710" y="12778"/>
                    <a:pt x="9614" y="12781"/>
                    <a:pt x="9512" y="12784"/>
                  </a:cubicBezTo>
                  <a:cubicBezTo>
                    <a:pt x="9407" y="12481"/>
                    <a:pt x="9407" y="12481"/>
                    <a:pt x="9407" y="12481"/>
                  </a:cubicBezTo>
                  <a:cubicBezTo>
                    <a:pt x="9437" y="12412"/>
                    <a:pt x="9466" y="12345"/>
                    <a:pt x="9489" y="12293"/>
                  </a:cubicBezTo>
                  <a:cubicBezTo>
                    <a:pt x="9653" y="12777"/>
                    <a:pt x="9653" y="12777"/>
                    <a:pt x="9653" y="12777"/>
                  </a:cubicBezTo>
                  <a:cubicBezTo>
                    <a:pt x="9667" y="12773"/>
                    <a:pt x="9667" y="12773"/>
                    <a:pt x="9667" y="12773"/>
                  </a:cubicBezTo>
                  <a:lnTo>
                    <a:pt x="9497" y="12274"/>
                  </a:lnTo>
                  <a:close/>
                  <a:moveTo>
                    <a:pt x="10535" y="11518"/>
                  </a:moveTo>
                  <a:cubicBezTo>
                    <a:pt x="10540" y="11528"/>
                    <a:pt x="10546" y="11540"/>
                    <a:pt x="10551" y="11552"/>
                  </a:cubicBezTo>
                  <a:cubicBezTo>
                    <a:pt x="10563" y="11577"/>
                    <a:pt x="10575" y="11602"/>
                    <a:pt x="10575" y="11602"/>
                  </a:cubicBezTo>
                  <a:cubicBezTo>
                    <a:pt x="10577" y="11607"/>
                    <a:pt x="10577" y="11607"/>
                    <a:pt x="10577" y="11607"/>
                  </a:cubicBezTo>
                  <a:cubicBezTo>
                    <a:pt x="10736" y="11576"/>
                    <a:pt x="10736" y="11576"/>
                    <a:pt x="10736" y="11576"/>
                  </a:cubicBezTo>
                  <a:cubicBezTo>
                    <a:pt x="10847" y="11933"/>
                    <a:pt x="10847" y="11933"/>
                    <a:pt x="10847" y="11933"/>
                  </a:cubicBezTo>
                  <a:cubicBezTo>
                    <a:pt x="10475" y="12055"/>
                    <a:pt x="10115" y="12171"/>
                    <a:pt x="9997" y="12208"/>
                  </a:cubicBezTo>
                  <a:cubicBezTo>
                    <a:pt x="9947" y="12223"/>
                    <a:pt x="9896" y="12230"/>
                    <a:pt x="9847" y="12230"/>
                  </a:cubicBezTo>
                  <a:cubicBezTo>
                    <a:pt x="9828" y="12230"/>
                    <a:pt x="9809" y="12229"/>
                    <a:pt x="9790" y="12227"/>
                  </a:cubicBezTo>
                  <a:cubicBezTo>
                    <a:pt x="9792" y="12211"/>
                    <a:pt x="9799" y="12186"/>
                    <a:pt x="9806" y="12163"/>
                  </a:cubicBezTo>
                  <a:cubicBezTo>
                    <a:pt x="9813" y="12141"/>
                    <a:pt x="9820" y="12122"/>
                    <a:pt x="9823" y="12115"/>
                  </a:cubicBezTo>
                  <a:cubicBezTo>
                    <a:pt x="9992" y="12040"/>
                    <a:pt x="9992" y="12040"/>
                    <a:pt x="9992" y="12040"/>
                  </a:cubicBezTo>
                  <a:cubicBezTo>
                    <a:pt x="9897" y="11720"/>
                    <a:pt x="9897" y="11720"/>
                    <a:pt x="9897" y="11720"/>
                  </a:cubicBezTo>
                  <a:cubicBezTo>
                    <a:pt x="9945" y="11705"/>
                    <a:pt x="10257" y="11604"/>
                    <a:pt x="10427" y="11546"/>
                  </a:cubicBezTo>
                  <a:cubicBezTo>
                    <a:pt x="10479" y="11529"/>
                    <a:pt x="10516" y="11516"/>
                    <a:pt x="10531" y="11510"/>
                  </a:cubicBezTo>
                  <a:cubicBezTo>
                    <a:pt x="10532" y="11512"/>
                    <a:pt x="10534" y="11515"/>
                    <a:pt x="10535" y="11518"/>
                  </a:cubicBezTo>
                  <a:close/>
                  <a:moveTo>
                    <a:pt x="10535" y="11507"/>
                  </a:moveTo>
                  <a:cubicBezTo>
                    <a:pt x="10535" y="11507"/>
                    <a:pt x="10535" y="11507"/>
                    <a:pt x="10536" y="11507"/>
                  </a:cubicBezTo>
                  <a:cubicBezTo>
                    <a:pt x="10535" y="11507"/>
                    <a:pt x="10535" y="11507"/>
                    <a:pt x="10535" y="11507"/>
                  </a:cubicBezTo>
                  <a:close/>
                  <a:moveTo>
                    <a:pt x="10691" y="12473"/>
                  </a:moveTo>
                  <a:cubicBezTo>
                    <a:pt x="10568" y="12093"/>
                    <a:pt x="10568" y="12093"/>
                    <a:pt x="10568" y="12093"/>
                  </a:cubicBezTo>
                  <a:cubicBezTo>
                    <a:pt x="10611" y="12079"/>
                    <a:pt x="10655" y="12065"/>
                    <a:pt x="10699" y="12050"/>
                  </a:cubicBezTo>
                  <a:cubicBezTo>
                    <a:pt x="10822" y="12432"/>
                    <a:pt x="10822" y="12432"/>
                    <a:pt x="10822" y="12432"/>
                  </a:cubicBezTo>
                  <a:lnTo>
                    <a:pt x="10691" y="12473"/>
                  </a:lnTo>
                  <a:close/>
                  <a:moveTo>
                    <a:pt x="10751" y="12473"/>
                  </a:moveTo>
                  <a:cubicBezTo>
                    <a:pt x="10749" y="12475"/>
                    <a:pt x="10743" y="12474"/>
                    <a:pt x="10742" y="12472"/>
                  </a:cubicBezTo>
                  <a:cubicBezTo>
                    <a:pt x="10743" y="12471"/>
                    <a:pt x="10743" y="12471"/>
                    <a:pt x="10743" y="12471"/>
                  </a:cubicBezTo>
                  <a:cubicBezTo>
                    <a:pt x="10749" y="12470"/>
                    <a:pt x="10749" y="12470"/>
                    <a:pt x="10749" y="12470"/>
                  </a:cubicBezTo>
                  <a:lnTo>
                    <a:pt x="10751" y="12473"/>
                  </a:lnTo>
                  <a:close/>
                  <a:moveTo>
                    <a:pt x="9424" y="12801"/>
                  </a:moveTo>
                  <a:cubicBezTo>
                    <a:pt x="9446" y="12800"/>
                    <a:pt x="9470" y="12800"/>
                    <a:pt x="9494" y="12799"/>
                  </a:cubicBezTo>
                  <a:cubicBezTo>
                    <a:pt x="9520" y="12798"/>
                    <a:pt x="9546" y="12797"/>
                    <a:pt x="9570" y="12796"/>
                  </a:cubicBezTo>
                  <a:cubicBezTo>
                    <a:pt x="9664" y="13078"/>
                    <a:pt x="9664" y="13078"/>
                    <a:pt x="9664" y="13078"/>
                  </a:cubicBezTo>
                  <a:cubicBezTo>
                    <a:pt x="9532" y="13120"/>
                    <a:pt x="9532" y="13120"/>
                    <a:pt x="9532" y="13120"/>
                  </a:cubicBezTo>
                  <a:lnTo>
                    <a:pt x="9424" y="12801"/>
                  </a:lnTo>
                  <a:close/>
                  <a:moveTo>
                    <a:pt x="9564" y="13256"/>
                  </a:moveTo>
                  <a:cubicBezTo>
                    <a:pt x="9456" y="13291"/>
                    <a:pt x="9456" y="13291"/>
                    <a:pt x="9456" y="13291"/>
                  </a:cubicBezTo>
                  <a:cubicBezTo>
                    <a:pt x="9419" y="13169"/>
                    <a:pt x="9419" y="13169"/>
                    <a:pt x="9419" y="13169"/>
                  </a:cubicBezTo>
                  <a:cubicBezTo>
                    <a:pt x="9523" y="13136"/>
                    <a:pt x="9523" y="13136"/>
                    <a:pt x="9523" y="13136"/>
                  </a:cubicBezTo>
                  <a:lnTo>
                    <a:pt x="9564" y="13256"/>
                  </a:lnTo>
                  <a:close/>
                  <a:moveTo>
                    <a:pt x="9585" y="12796"/>
                  </a:moveTo>
                  <a:cubicBezTo>
                    <a:pt x="9662" y="12793"/>
                    <a:pt x="9722" y="12791"/>
                    <a:pt x="9722" y="12791"/>
                  </a:cubicBezTo>
                  <a:cubicBezTo>
                    <a:pt x="9723" y="12791"/>
                    <a:pt x="9723" y="12791"/>
                    <a:pt x="9723" y="12791"/>
                  </a:cubicBezTo>
                  <a:cubicBezTo>
                    <a:pt x="9727" y="12790"/>
                    <a:pt x="9727" y="12790"/>
                    <a:pt x="9727" y="12790"/>
                  </a:cubicBezTo>
                  <a:cubicBezTo>
                    <a:pt x="9727" y="12790"/>
                    <a:pt x="9727" y="12790"/>
                    <a:pt x="9727" y="12791"/>
                  </a:cubicBezTo>
                  <a:cubicBezTo>
                    <a:pt x="9727" y="12798"/>
                    <a:pt x="9736" y="12822"/>
                    <a:pt x="9748" y="12861"/>
                  </a:cubicBezTo>
                  <a:cubicBezTo>
                    <a:pt x="9761" y="12900"/>
                    <a:pt x="9778" y="12950"/>
                    <a:pt x="9795" y="13000"/>
                  </a:cubicBezTo>
                  <a:cubicBezTo>
                    <a:pt x="9799" y="13011"/>
                    <a:pt x="9802" y="13022"/>
                    <a:pt x="9806" y="13033"/>
                  </a:cubicBezTo>
                  <a:cubicBezTo>
                    <a:pt x="9677" y="13074"/>
                    <a:pt x="9677" y="13074"/>
                    <a:pt x="9677" y="13074"/>
                  </a:cubicBezTo>
                  <a:lnTo>
                    <a:pt x="9585" y="12796"/>
                  </a:lnTo>
                  <a:close/>
                  <a:moveTo>
                    <a:pt x="9741" y="12790"/>
                  </a:moveTo>
                  <a:cubicBezTo>
                    <a:pt x="9739" y="12791"/>
                    <a:pt x="9739" y="12791"/>
                    <a:pt x="9739" y="12791"/>
                  </a:cubicBezTo>
                  <a:cubicBezTo>
                    <a:pt x="9735" y="12791"/>
                    <a:pt x="9735" y="12791"/>
                    <a:pt x="9735" y="12791"/>
                  </a:cubicBezTo>
                  <a:cubicBezTo>
                    <a:pt x="9734" y="12791"/>
                    <a:pt x="9734" y="12791"/>
                    <a:pt x="9734" y="12791"/>
                  </a:cubicBezTo>
                  <a:cubicBezTo>
                    <a:pt x="9738" y="12796"/>
                    <a:pt x="9738" y="12796"/>
                    <a:pt x="9738" y="12796"/>
                  </a:cubicBezTo>
                  <a:cubicBezTo>
                    <a:pt x="9734" y="12790"/>
                    <a:pt x="9734" y="12790"/>
                    <a:pt x="9734" y="12790"/>
                  </a:cubicBezTo>
                  <a:cubicBezTo>
                    <a:pt x="9732" y="12792"/>
                    <a:pt x="9732" y="12792"/>
                    <a:pt x="9732" y="12792"/>
                  </a:cubicBezTo>
                  <a:cubicBezTo>
                    <a:pt x="9738" y="12786"/>
                    <a:pt x="9738" y="12786"/>
                    <a:pt x="9738" y="12786"/>
                  </a:cubicBezTo>
                  <a:cubicBezTo>
                    <a:pt x="9882" y="12741"/>
                    <a:pt x="9882" y="12741"/>
                    <a:pt x="9882" y="12741"/>
                  </a:cubicBezTo>
                  <a:cubicBezTo>
                    <a:pt x="9883" y="12751"/>
                    <a:pt x="9891" y="12773"/>
                    <a:pt x="9902" y="12809"/>
                  </a:cubicBezTo>
                  <a:cubicBezTo>
                    <a:pt x="9915" y="12848"/>
                    <a:pt x="9932" y="12898"/>
                    <a:pt x="9949" y="12948"/>
                  </a:cubicBezTo>
                  <a:cubicBezTo>
                    <a:pt x="9953" y="12960"/>
                    <a:pt x="9957" y="12972"/>
                    <a:pt x="9961" y="12984"/>
                  </a:cubicBezTo>
                  <a:cubicBezTo>
                    <a:pt x="9819" y="13029"/>
                    <a:pt x="9819" y="13029"/>
                    <a:pt x="9819" y="13029"/>
                  </a:cubicBezTo>
                  <a:cubicBezTo>
                    <a:pt x="9816" y="13019"/>
                    <a:pt x="9813" y="13010"/>
                    <a:pt x="9810" y="13001"/>
                  </a:cubicBezTo>
                  <a:cubicBezTo>
                    <a:pt x="9777" y="12903"/>
                    <a:pt x="9742" y="12800"/>
                    <a:pt x="9741" y="12790"/>
                  </a:cubicBezTo>
                  <a:close/>
                  <a:moveTo>
                    <a:pt x="9892" y="12744"/>
                  </a:moveTo>
                  <a:cubicBezTo>
                    <a:pt x="9890" y="12746"/>
                    <a:pt x="9884" y="12745"/>
                    <a:pt x="9883" y="12743"/>
                  </a:cubicBezTo>
                  <a:cubicBezTo>
                    <a:pt x="9886" y="12740"/>
                    <a:pt x="9886" y="12740"/>
                    <a:pt x="9886" y="12740"/>
                  </a:cubicBezTo>
                  <a:cubicBezTo>
                    <a:pt x="9889" y="12739"/>
                    <a:pt x="9889" y="12739"/>
                    <a:pt x="9889" y="12739"/>
                  </a:cubicBezTo>
                  <a:lnTo>
                    <a:pt x="9892" y="12744"/>
                  </a:lnTo>
                  <a:close/>
                  <a:moveTo>
                    <a:pt x="9891" y="12739"/>
                  </a:moveTo>
                  <a:cubicBezTo>
                    <a:pt x="9891" y="12739"/>
                    <a:pt x="9891" y="12739"/>
                    <a:pt x="9891" y="12739"/>
                  </a:cubicBezTo>
                  <a:cubicBezTo>
                    <a:pt x="9895" y="12739"/>
                    <a:pt x="9895" y="12739"/>
                    <a:pt x="9895" y="12739"/>
                  </a:cubicBezTo>
                  <a:lnTo>
                    <a:pt x="9891" y="12739"/>
                  </a:lnTo>
                  <a:close/>
                  <a:moveTo>
                    <a:pt x="9895" y="12738"/>
                  </a:moveTo>
                  <a:cubicBezTo>
                    <a:pt x="9893" y="12738"/>
                    <a:pt x="9893" y="12738"/>
                    <a:pt x="9893" y="12738"/>
                  </a:cubicBezTo>
                  <a:cubicBezTo>
                    <a:pt x="9891" y="12738"/>
                    <a:pt x="9891" y="12738"/>
                    <a:pt x="9891" y="12738"/>
                  </a:cubicBezTo>
                  <a:cubicBezTo>
                    <a:pt x="10024" y="12697"/>
                    <a:pt x="10024" y="12697"/>
                    <a:pt x="10024" y="12697"/>
                  </a:cubicBezTo>
                  <a:cubicBezTo>
                    <a:pt x="10027" y="12708"/>
                    <a:pt x="10034" y="12729"/>
                    <a:pt x="10044" y="12760"/>
                  </a:cubicBezTo>
                  <a:cubicBezTo>
                    <a:pt x="10057" y="12798"/>
                    <a:pt x="10074" y="12849"/>
                    <a:pt x="10091" y="12899"/>
                  </a:cubicBezTo>
                  <a:cubicBezTo>
                    <a:pt x="10095" y="12912"/>
                    <a:pt x="10100" y="12925"/>
                    <a:pt x="10104" y="12938"/>
                  </a:cubicBezTo>
                  <a:cubicBezTo>
                    <a:pt x="9974" y="12979"/>
                    <a:pt x="9974" y="12979"/>
                    <a:pt x="9974" y="12979"/>
                  </a:cubicBezTo>
                  <a:cubicBezTo>
                    <a:pt x="9971" y="12969"/>
                    <a:pt x="9967" y="12959"/>
                    <a:pt x="9964" y="12948"/>
                  </a:cubicBezTo>
                  <a:cubicBezTo>
                    <a:pt x="9931" y="12850"/>
                    <a:pt x="9896" y="12748"/>
                    <a:pt x="9895" y="12738"/>
                  </a:cubicBezTo>
                  <a:close/>
                  <a:moveTo>
                    <a:pt x="10028" y="12695"/>
                  </a:moveTo>
                  <a:cubicBezTo>
                    <a:pt x="10033" y="12694"/>
                    <a:pt x="10033" y="12694"/>
                    <a:pt x="10033" y="12694"/>
                  </a:cubicBezTo>
                  <a:cubicBezTo>
                    <a:pt x="10033" y="12695"/>
                    <a:pt x="10033" y="12695"/>
                    <a:pt x="10033" y="12695"/>
                  </a:cubicBezTo>
                  <a:cubicBezTo>
                    <a:pt x="10032" y="12696"/>
                    <a:pt x="10030" y="12696"/>
                    <a:pt x="10028" y="12695"/>
                  </a:cubicBezTo>
                  <a:close/>
                  <a:moveTo>
                    <a:pt x="10180" y="12723"/>
                  </a:moveTo>
                  <a:cubicBezTo>
                    <a:pt x="10192" y="12761"/>
                    <a:pt x="10209" y="12812"/>
                    <a:pt x="10226" y="12862"/>
                  </a:cubicBezTo>
                  <a:cubicBezTo>
                    <a:pt x="10230" y="12873"/>
                    <a:pt x="10234" y="12885"/>
                    <a:pt x="10238" y="12896"/>
                  </a:cubicBezTo>
                  <a:cubicBezTo>
                    <a:pt x="10117" y="12934"/>
                    <a:pt x="10117" y="12934"/>
                    <a:pt x="10117" y="12934"/>
                  </a:cubicBezTo>
                  <a:cubicBezTo>
                    <a:pt x="10113" y="12923"/>
                    <a:pt x="10109" y="12911"/>
                    <a:pt x="10106" y="12899"/>
                  </a:cubicBezTo>
                  <a:cubicBezTo>
                    <a:pt x="10074" y="12807"/>
                    <a:pt x="10043" y="12712"/>
                    <a:pt x="10038" y="12693"/>
                  </a:cubicBezTo>
                  <a:cubicBezTo>
                    <a:pt x="10159" y="12655"/>
                    <a:pt x="10159" y="12655"/>
                    <a:pt x="10159" y="12655"/>
                  </a:cubicBezTo>
                  <a:cubicBezTo>
                    <a:pt x="10160" y="12663"/>
                    <a:pt x="10168" y="12686"/>
                    <a:pt x="10180" y="12723"/>
                  </a:cubicBezTo>
                  <a:close/>
                  <a:moveTo>
                    <a:pt x="10160" y="12657"/>
                  </a:moveTo>
                  <a:cubicBezTo>
                    <a:pt x="10164" y="12653"/>
                    <a:pt x="10164" y="12653"/>
                    <a:pt x="10164" y="12653"/>
                  </a:cubicBezTo>
                  <a:cubicBezTo>
                    <a:pt x="10164" y="12653"/>
                    <a:pt x="10164" y="12653"/>
                    <a:pt x="10164" y="12653"/>
                  </a:cubicBezTo>
                  <a:lnTo>
                    <a:pt x="10160" y="12657"/>
                  </a:lnTo>
                  <a:close/>
                  <a:moveTo>
                    <a:pt x="10169" y="12658"/>
                  </a:moveTo>
                  <a:cubicBezTo>
                    <a:pt x="10165" y="12652"/>
                    <a:pt x="10165" y="12652"/>
                    <a:pt x="10165" y="12652"/>
                  </a:cubicBezTo>
                  <a:cubicBezTo>
                    <a:pt x="10165" y="12652"/>
                    <a:pt x="10165" y="12652"/>
                    <a:pt x="10165" y="12652"/>
                  </a:cubicBezTo>
                  <a:lnTo>
                    <a:pt x="10169" y="12658"/>
                  </a:lnTo>
                  <a:close/>
                  <a:moveTo>
                    <a:pt x="10166" y="12652"/>
                  </a:moveTo>
                  <a:cubicBezTo>
                    <a:pt x="10166" y="12652"/>
                    <a:pt x="10166" y="12652"/>
                    <a:pt x="10166" y="12652"/>
                  </a:cubicBezTo>
                  <a:cubicBezTo>
                    <a:pt x="10172" y="12653"/>
                    <a:pt x="10172" y="12653"/>
                    <a:pt x="10172" y="12653"/>
                  </a:cubicBezTo>
                  <a:lnTo>
                    <a:pt x="10166" y="12652"/>
                  </a:lnTo>
                  <a:close/>
                  <a:moveTo>
                    <a:pt x="10108" y="12951"/>
                  </a:moveTo>
                  <a:cubicBezTo>
                    <a:pt x="10125" y="13001"/>
                    <a:pt x="10141" y="13046"/>
                    <a:pt x="10150" y="13072"/>
                  </a:cubicBezTo>
                  <a:cubicBezTo>
                    <a:pt x="10020" y="13113"/>
                    <a:pt x="10020" y="13113"/>
                    <a:pt x="10020" y="13113"/>
                  </a:cubicBezTo>
                  <a:cubicBezTo>
                    <a:pt x="10011" y="13085"/>
                    <a:pt x="9995" y="13041"/>
                    <a:pt x="9979" y="12992"/>
                  </a:cubicBezTo>
                  <a:lnTo>
                    <a:pt x="10108" y="12951"/>
                  </a:lnTo>
                  <a:close/>
                  <a:moveTo>
                    <a:pt x="10122" y="12947"/>
                  </a:moveTo>
                  <a:cubicBezTo>
                    <a:pt x="10242" y="12908"/>
                    <a:pt x="10242" y="12908"/>
                    <a:pt x="10242" y="12908"/>
                  </a:cubicBezTo>
                  <a:cubicBezTo>
                    <a:pt x="10259" y="12957"/>
                    <a:pt x="10274" y="13002"/>
                    <a:pt x="10284" y="13030"/>
                  </a:cubicBezTo>
                  <a:cubicBezTo>
                    <a:pt x="10163" y="13068"/>
                    <a:pt x="10163" y="13068"/>
                    <a:pt x="10163" y="13068"/>
                  </a:cubicBezTo>
                  <a:cubicBezTo>
                    <a:pt x="10154" y="13042"/>
                    <a:pt x="10139" y="12997"/>
                    <a:pt x="10122" y="12947"/>
                  </a:cubicBezTo>
                  <a:close/>
                  <a:moveTo>
                    <a:pt x="10241" y="12862"/>
                  </a:moveTo>
                  <a:cubicBezTo>
                    <a:pt x="10208" y="12764"/>
                    <a:pt x="10174" y="12661"/>
                    <a:pt x="10172" y="12652"/>
                  </a:cubicBezTo>
                  <a:cubicBezTo>
                    <a:pt x="10170" y="12652"/>
                    <a:pt x="10170" y="12652"/>
                    <a:pt x="10170" y="12652"/>
                  </a:cubicBezTo>
                  <a:cubicBezTo>
                    <a:pt x="10167" y="12652"/>
                    <a:pt x="10167" y="12652"/>
                    <a:pt x="10167" y="12652"/>
                  </a:cubicBezTo>
                  <a:cubicBezTo>
                    <a:pt x="10319" y="12604"/>
                    <a:pt x="10319" y="12604"/>
                    <a:pt x="10319" y="12604"/>
                  </a:cubicBezTo>
                  <a:cubicBezTo>
                    <a:pt x="10320" y="12613"/>
                    <a:pt x="10328" y="12636"/>
                    <a:pt x="10340" y="12673"/>
                  </a:cubicBezTo>
                  <a:cubicBezTo>
                    <a:pt x="10352" y="12712"/>
                    <a:pt x="10369" y="12763"/>
                    <a:pt x="10386" y="12813"/>
                  </a:cubicBezTo>
                  <a:cubicBezTo>
                    <a:pt x="10390" y="12824"/>
                    <a:pt x="10394" y="12835"/>
                    <a:pt x="10397" y="12845"/>
                  </a:cubicBezTo>
                  <a:cubicBezTo>
                    <a:pt x="10251" y="12892"/>
                    <a:pt x="10251" y="12892"/>
                    <a:pt x="10251" y="12892"/>
                  </a:cubicBezTo>
                  <a:cubicBezTo>
                    <a:pt x="10248" y="12882"/>
                    <a:pt x="10244" y="12872"/>
                    <a:pt x="10241" y="12862"/>
                  </a:cubicBezTo>
                  <a:close/>
                  <a:moveTo>
                    <a:pt x="9971" y="12699"/>
                  </a:moveTo>
                  <a:cubicBezTo>
                    <a:pt x="9840" y="12295"/>
                    <a:pt x="9840" y="12295"/>
                    <a:pt x="9840" y="12295"/>
                  </a:cubicBezTo>
                  <a:cubicBezTo>
                    <a:pt x="9842" y="12295"/>
                    <a:pt x="9845" y="12295"/>
                    <a:pt x="9847" y="12295"/>
                  </a:cubicBezTo>
                  <a:cubicBezTo>
                    <a:pt x="9888" y="12295"/>
                    <a:pt x="9930" y="12291"/>
                    <a:pt x="9972" y="12282"/>
                  </a:cubicBezTo>
                  <a:cubicBezTo>
                    <a:pt x="10094" y="12660"/>
                    <a:pt x="10094" y="12660"/>
                    <a:pt x="10094" y="12660"/>
                  </a:cubicBezTo>
                  <a:cubicBezTo>
                    <a:pt x="10107" y="12656"/>
                    <a:pt x="10107" y="12656"/>
                    <a:pt x="10107" y="12656"/>
                  </a:cubicBezTo>
                  <a:cubicBezTo>
                    <a:pt x="9985" y="12279"/>
                    <a:pt x="9985" y="12279"/>
                    <a:pt x="9985" y="12279"/>
                  </a:cubicBezTo>
                  <a:cubicBezTo>
                    <a:pt x="9995" y="12276"/>
                    <a:pt x="10006" y="12274"/>
                    <a:pt x="10016" y="12271"/>
                  </a:cubicBezTo>
                  <a:cubicBezTo>
                    <a:pt x="10040" y="12263"/>
                    <a:pt x="10075" y="12252"/>
                    <a:pt x="10117" y="12239"/>
                  </a:cubicBezTo>
                  <a:cubicBezTo>
                    <a:pt x="10239" y="12614"/>
                    <a:pt x="10239" y="12614"/>
                    <a:pt x="10239" y="12614"/>
                  </a:cubicBezTo>
                  <a:cubicBezTo>
                    <a:pt x="10252" y="12610"/>
                    <a:pt x="10252" y="12610"/>
                    <a:pt x="10252" y="12610"/>
                  </a:cubicBezTo>
                  <a:cubicBezTo>
                    <a:pt x="10130" y="12234"/>
                    <a:pt x="10130" y="12234"/>
                    <a:pt x="10130" y="12234"/>
                  </a:cubicBezTo>
                  <a:cubicBezTo>
                    <a:pt x="10171" y="12222"/>
                    <a:pt x="10217" y="12207"/>
                    <a:pt x="10269" y="12190"/>
                  </a:cubicBezTo>
                  <a:cubicBezTo>
                    <a:pt x="10391" y="12567"/>
                    <a:pt x="10391" y="12567"/>
                    <a:pt x="10391" y="12567"/>
                  </a:cubicBezTo>
                  <a:lnTo>
                    <a:pt x="9971" y="12699"/>
                  </a:lnTo>
                  <a:close/>
                  <a:moveTo>
                    <a:pt x="10283" y="12186"/>
                  </a:moveTo>
                  <a:cubicBezTo>
                    <a:pt x="10322" y="12173"/>
                    <a:pt x="10365" y="12159"/>
                    <a:pt x="10410" y="12144"/>
                  </a:cubicBezTo>
                  <a:cubicBezTo>
                    <a:pt x="10533" y="12523"/>
                    <a:pt x="10533" y="12523"/>
                    <a:pt x="10533" y="12523"/>
                  </a:cubicBezTo>
                  <a:cubicBezTo>
                    <a:pt x="10405" y="12563"/>
                    <a:pt x="10405" y="12563"/>
                    <a:pt x="10405" y="12563"/>
                  </a:cubicBezTo>
                  <a:lnTo>
                    <a:pt x="10283" y="12186"/>
                  </a:lnTo>
                  <a:close/>
                  <a:moveTo>
                    <a:pt x="10423" y="12140"/>
                  </a:moveTo>
                  <a:cubicBezTo>
                    <a:pt x="10466" y="12126"/>
                    <a:pt x="10509" y="12112"/>
                    <a:pt x="10555" y="12097"/>
                  </a:cubicBezTo>
                  <a:cubicBezTo>
                    <a:pt x="10677" y="12477"/>
                    <a:pt x="10677" y="12477"/>
                    <a:pt x="10677" y="12477"/>
                  </a:cubicBezTo>
                  <a:cubicBezTo>
                    <a:pt x="10546" y="12519"/>
                    <a:pt x="10546" y="12519"/>
                    <a:pt x="10546" y="12519"/>
                  </a:cubicBezTo>
                  <a:lnTo>
                    <a:pt x="10423" y="12140"/>
                  </a:lnTo>
                  <a:close/>
                  <a:moveTo>
                    <a:pt x="10712" y="12046"/>
                  </a:moveTo>
                  <a:cubicBezTo>
                    <a:pt x="10755" y="12032"/>
                    <a:pt x="10797" y="12018"/>
                    <a:pt x="10840" y="12004"/>
                  </a:cubicBezTo>
                  <a:cubicBezTo>
                    <a:pt x="10973" y="12385"/>
                    <a:pt x="10973" y="12385"/>
                    <a:pt x="10973" y="12385"/>
                  </a:cubicBezTo>
                  <a:cubicBezTo>
                    <a:pt x="10836" y="12428"/>
                    <a:pt x="10836" y="12428"/>
                    <a:pt x="10836" y="12428"/>
                  </a:cubicBezTo>
                  <a:lnTo>
                    <a:pt x="10712" y="12046"/>
                  </a:lnTo>
                  <a:close/>
                  <a:moveTo>
                    <a:pt x="9832" y="12295"/>
                  </a:moveTo>
                  <a:cubicBezTo>
                    <a:pt x="9826" y="12297"/>
                    <a:pt x="9826" y="12297"/>
                    <a:pt x="9826" y="12297"/>
                  </a:cubicBezTo>
                  <a:cubicBezTo>
                    <a:pt x="9957" y="12703"/>
                    <a:pt x="9957" y="12703"/>
                    <a:pt x="9957" y="12703"/>
                  </a:cubicBezTo>
                  <a:cubicBezTo>
                    <a:pt x="9831" y="12743"/>
                    <a:pt x="9831" y="12743"/>
                    <a:pt x="9831" y="12743"/>
                  </a:cubicBezTo>
                  <a:cubicBezTo>
                    <a:pt x="9672" y="12272"/>
                    <a:pt x="9672" y="12272"/>
                    <a:pt x="9672" y="12272"/>
                  </a:cubicBezTo>
                  <a:cubicBezTo>
                    <a:pt x="9721" y="12285"/>
                    <a:pt x="9775" y="12293"/>
                    <a:pt x="9832" y="12295"/>
                  </a:cubicBezTo>
                  <a:close/>
                  <a:moveTo>
                    <a:pt x="9498" y="12785"/>
                  </a:moveTo>
                  <a:cubicBezTo>
                    <a:pt x="9385" y="12789"/>
                    <a:pt x="9270" y="12792"/>
                    <a:pt x="9265" y="12793"/>
                  </a:cubicBezTo>
                  <a:cubicBezTo>
                    <a:pt x="9267" y="12789"/>
                    <a:pt x="9270" y="12785"/>
                    <a:pt x="9272" y="12780"/>
                  </a:cubicBezTo>
                  <a:cubicBezTo>
                    <a:pt x="9280" y="12763"/>
                    <a:pt x="9292" y="12739"/>
                    <a:pt x="9305" y="12710"/>
                  </a:cubicBezTo>
                  <a:cubicBezTo>
                    <a:pt x="9331" y="12653"/>
                    <a:pt x="9365" y="12577"/>
                    <a:pt x="9398" y="12501"/>
                  </a:cubicBezTo>
                  <a:cubicBezTo>
                    <a:pt x="9398" y="12501"/>
                    <a:pt x="9399" y="12500"/>
                    <a:pt x="9399" y="12500"/>
                  </a:cubicBezTo>
                  <a:lnTo>
                    <a:pt x="9498" y="12785"/>
                  </a:lnTo>
                  <a:close/>
                  <a:moveTo>
                    <a:pt x="9537" y="13132"/>
                  </a:moveTo>
                  <a:cubicBezTo>
                    <a:pt x="9668" y="13090"/>
                    <a:pt x="9668" y="13090"/>
                    <a:pt x="9668" y="13090"/>
                  </a:cubicBezTo>
                  <a:cubicBezTo>
                    <a:pt x="9708" y="13211"/>
                    <a:pt x="9708" y="13211"/>
                    <a:pt x="9708" y="13211"/>
                  </a:cubicBezTo>
                  <a:cubicBezTo>
                    <a:pt x="9578" y="13252"/>
                    <a:pt x="9578" y="13252"/>
                    <a:pt x="9578" y="13252"/>
                  </a:cubicBezTo>
                  <a:lnTo>
                    <a:pt x="9537" y="13132"/>
                  </a:lnTo>
                  <a:close/>
                  <a:moveTo>
                    <a:pt x="9712" y="13224"/>
                  </a:moveTo>
                  <a:cubicBezTo>
                    <a:pt x="9719" y="13245"/>
                    <a:pt x="9719" y="13245"/>
                    <a:pt x="9719" y="13245"/>
                  </a:cubicBezTo>
                  <a:cubicBezTo>
                    <a:pt x="9675" y="13259"/>
                    <a:pt x="9632" y="13273"/>
                    <a:pt x="9590" y="13287"/>
                  </a:cubicBezTo>
                  <a:cubicBezTo>
                    <a:pt x="9582" y="13265"/>
                    <a:pt x="9582" y="13265"/>
                    <a:pt x="9582" y="13265"/>
                  </a:cubicBezTo>
                  <a:lnTo>
                    <a:pt x="9712" y="13224"/>
                  </a:lnTo>
                  <a:close/>
                  <a:moveTo>
                    <a:pt x="9681" y="13086"/>
                  </a:moveTo>
                  <a:cubicBezTo>
                    <a:pt x="9810" y="13045"/>
                    <a:pt x="9810" y="13045"/>
                    <a:pt x="9810" y="13045"/>
                  </a:cubicBezTo>
                  <a:cubicBezTo>
                    <a:pt x="9827" y="13093"/>
                    <a:pt x="9842" y="13138"/>
                    <a:pt x="9852" y="13166"/>
                  </a:cubicBezTo>
                  <a:cubicBezTo>
                    <a:pt x="9721" y="13207"/>
                    <a:pt x="9721" y="13207"/>
                    <a:pt x="9721" y="13207"/>
                  </a:cubicBezTo>
                  <a:lnTo>
                    <a:pt x="9681" y="13086"/>
                  </a:lnTo>
                  <a:close/>
                  <a:moveTo>
                    <a:pt x="9856" y="13179"/>
                  </a:moveTo>
                  <a:cubicBezTo>
                    <a:pt x="9859" y="13189"/>
                    <a:pt x="9862" y="13196"/>
                    <a:pt x="9863" y="13198"/>
                  </a:cubicBezTo>
                  <a:cubicBezTo>
                    <a:pt x="9819" y="13213"/>
                    <a:pt x="9775" y="13227"/>
                    <a:pt x="9732" y="13240"/>
                  </a:cubicBezTo>
                  <a:cubicBezTo>
                    <a:pt x="9725" y="13220"/>
                    <a:pt x="9725" y="13220"/>
                    <a:pt x="9725" y="13220"/>
                  </a:cubicBezTo>
                  <a:lnTo>
                    <a:pt x="9856" y="13179"/>
                  </a:lnTo>
                  <a:close/>
                  <a:moveTo>
                    <a:pt x="9824" y="13041"/>
                  </a:moveTo>
                  <a:cubicBezTo>
                    <a:pt x="9965" y="12996"/>
                    <a:pt x="9965" y="12996"/>
                    <a:pt x="9965" y="12996"/>
                  </a:cubicBezTo>
                  <a:cubicBezTo>
                    <a:pt x="9982" y="13045"/>
                    <a:pt x="9997" y="13090"/>
                    <a:pt x="10007" y="13117"/>
                  </a:cubicBezTo>
                  <a:cubicBezTo>
                    <a:pt x="9865" y="13162"/>
                    <a:pt x="9865" y="13162"/>
                    <a:pt x="9865" y="13162"/>
                  </a:cubicBezTo>
                  <a:cubicBezTo>
                    <a:pt x="9855" y="13133"/>
                    <a:pt x="9840" y="13089"/>
                    <a:pt x="9824" y="13041"/>
                  </a:cubicBezTo>
                  <a:close/>
                  <a:moveTo>
                    <a:pt x="10011" y="13130"/>
                  </a:moveTo>
                  <a:cubicBezTo>
                    <a:pt x="10015" y="13141"/>
                    <a:pt x="10017" y="13147"/>
                    <a:pt x="10017" y="13147"/>
                  </a:cubicBezTo>
                  <a:cubicBezTo>
                    <a:pt x="10017" y="13147"/>
                    <a:pt x="10017" y="13147"/>
                    <a:pt x="10017" y="13147"/>
                  </a:cubicBezTo>
                  <a:cubicBezTo>
                    <a:pt x="10030" y="13142"/>
                    <a:pt x="10030" y="13142"/>
                    <a:pt x="10030" y="13142"/>
                  </a:cubicBezTo>
                  <a:cubicBezTo>
                    <a:pt x="10030" y="13142"/>
                    <a:pt x="10028" y="13136"/>
                    <a:pt x="10024" y="13126"/>
                  </a:cubicBezTo>
                  <a:cubicBezTo>
                    <a:pt x="10154" y="13085"/>
                    <a:pt x="10154" y="13085"/>
                    <a:pt x="10154" y="13085"/>
                  </a:cubicBezTo>
                  <a:cubicBezTo>
                    <a:pt x="10157" y="13093"/>
                    <a:pt x="10158" y="13098"/>
                    <a:pt x="10158" y="13098"/>
                  </a:cubicBezTo>
                  <a:cubicBezTo>
                    <a:pt x="10158" y="13098"/>
                    <a:pt x="10158" y="13098"/>
                    <a:pt x="10158" y="13098"/>
                  </a:cubicBezTo>
                  <a:cubicBezTo>
                    <a:pt x="10172" y="13093"/>
                    <a:pt x="10172" y="13093"/>
                    <a:pt x="10172" y="13093"/>
                  </a:cubicBezTo>
                  <a:cubicBezTo>
                    <a:pt x="10172" y="13093"/>
                    <a:pt x="10170" y="13088"/>
                    <a:pt x="10167" y="13080"/>
                  </a:cubicBezTo>
                  <a:cubicBezTo>
                    <a:pt x="10288" y="13043"/>
                    <a:pt x="10288" y="13043"/>
                    <a:pt x="10288" y="13043"/>
                  </a:cubicBezTo>
                  <a:cubicBezTo>
                    <a:pt x="10291" y="13051"/>
                    <a:pt x="10293" y="13057"/>
                    <a:pt x="10294" y="13059"/>
                  </a:cubicBezTo>
                  <a:cubicBezTo>
                    <a:pt x="10157" y="13103"/>
                    <a:pt x="10014" y="13149"/>
                    <a:pt x="9876" y="13194"/>
                  </a:cubicBezTo>
                  <a:cubicBezTo>
                    <a:pt x="9875" y="13193"/>
                    <a:pt x="9873" y="13186"/>
                    <a:pt x="9869" y="13174"/>
                  </a:cubicBezTo>
                  <a:lnTo>
                    <a:pt x="10011" y="13130"/>
                  </a:lnTo>
                  <a:close/>
                  <a:moveTo>
                    <a:pt x="10255" y="12904"/>
                  </a:moveTo>
                  <a:cubicBezTo>
                    <a:pt x="10402" y="12858"/>
                    <a:pt x="10402" y="12858"/>
                    <a:pt x="10402" y="12858"/>
                  </a:cubicBezTo>
                  <a:cubicBezTo>
                    <a:pt x="10418" y="12907"/>
                    <a:pt x="10434" y="12951"/>
                    <a:pt x="10443" y="12980"/>
                  </a:cubicBezTo>
                  <a:cubicBezTo>
                    <a:pt x="10297" y="13026"/>
                    <a:pt x="10297" y="13026"/>
                    <a:pt x="10297" y="13026"/>
                  </a:cubicBezTo>
                  <a:cubicBezTo>
                    <a:pt x="10287" y="12998"/>
                    <a:pt x="10272" y="12954"/>
                    <a:pt x="10255" y="12904"/>
                  </a:cubicBezTo>
                  <a:close/>
                  <a:moveTo>
                    <a:pt x="10448" y="12992"/>
                  </a:moveTo>
                  <a:cubicBezTo>
                    <a:pt x="10450" y="12999"/>
                    <a:pt x="10452" y="13005"/>
                    <a:pt x="10453" y="13008"/>
                  </a:cubicBezTo>
                  <a:cubicBezTo>
                    <a:pt x="10405" y="13023"/>
                    <a:pt x="10356" y="13039"/>
                    <a:pt x="10307" y="13055"/>
                  </a:cubicBezTo>
                  <a:cubicBezTo>
                    <a:pt x="10306" y="13054"/>
                    <a:pt x="10304" y="13048"/>
                    <a:pt x="10301" y="13038"/>
                  </a:cubicBezTo>
                  <a:lnTo>
                    <a:pt x="10448" y="12992"/>
                  </a:lnTo>
                  <a:close/>
                  <a:moveTo>
                    <a:pt x="10415" y="12854"/>
                  </a:moveTo>
                  <a:cubicBezTo>
                    <a:pt x="10542" y="12813"/>
                    <a:pt x="10542" y="12813"/>
                    <a:pt x="10542" y="12813"/>
                  </a:cubicBezTo>
                  <a:cubicBezTo>
                    <a:pt x="10558" y="12860"/>
                    <a:pt x="10573" y="12905"/>
                    <a:pt x="10583" y="12936"/>
                  </a:cubicBezTo>
                  <a:cubicBezTo>
                    <a:pt x="10457" y="12976"/>
                    <a:pt x="10457" y="12976"/>
                    <a:pt x="10457" y="12976"/>
                  </a:cubicBezTo>
                  <a:cubicBezTo>
                    <a:pt x="10447" y="12947"/>
                    <a:pt x="10432" y="12903"/>
                    <a:pt x="10415" y="12854"/>
                  </a:cubicBezTo>
                  <a:close/>
                  <a:moveTo>
                    <a:pt x="10588" y="12948"/>
                  </a:moveTo>
                  <a:cubicBezTo>
                    <a:pt x="10590" y="12954"/>
                    <a:pt x="10591" y="12959"/>
                    <a:pt x="10593" y="12963"/>
                  </a:cubicBezTo>
                  <a:cubicBezTo>
                    <a:pt x="10552" y="12976"/>
                    <a:pt x="10510" y="12990"/>
                    <a:pt x="10466" y="13004"/>
                  </a:cubicBezTo>
                  <a:cubicBezTo>
                    <a:pt x="10465" y="13001"/>
                    <a:pt x="10464" y="12996"/>
                    <a:pt x="10461" y="12988"/>
                  </a:cubicBezTo>
                  <a:lnTo>
                    <a:pt x="10588" y="12948"/>
                  </a:lnTo>
                  <a:close/>
                  <a:moveTo>
                    <a:pt x="10555" y="12809"/>
                  </a:moveTo>
                  <a:cubicBezTo>
                    <a:pt x="10679" y="12770"/>
                    <a:pt x="10679" y="12770"/>
                    <a:pt x="10679" y="12770"/>
                  </a:cubicBezTo>
                  <a:cubicBezTo>
                    <a:pt x="10696" y="12818"/>
                    <a:pt x="10711" y="12862"/>
                    <a:pt x="10721" y="12892"/>
                  </a:cubicBezTo>
                  <a:cubicBezTo>
                    <a:pt x="10597" y="12932"/>
                    <a:pt x="10597" y="12932"/>
                    <a:pt x="10597" y="12932"/>
                  </a:cubicBezTo>
                  <a:cubicBezTo>
                    <a:pt x="10586" y="12900"/>
                    <a:pt x="10571" y="12856"/>
                    <a:pt x="10555" y="12809"/>
                  </a:cubicBezTo>
                  <a:close/>
                  <a:moveTo>
                    <a:pt x="10725" y="12905"/>
                  </a:moveTo>
                  <a:cubicBezTo>
                    <a:pt x="10727" y="12910"/>
                    <a:pt x="10729" y="12915"/>
                    <a:pt x="10730" y="12919"/>
                  </a:cubicBezTo>
                  <a:cubicBezTo>
                    <a:pt x="10691" y="12931"/>
                    <a:pt x="10649" y="12945"/>
                    <a:pt x="10606" y="12959"/>
                  </a:cubicBezTo>
                  <a:cubicBezTo>
                    <a:pt x="10605" y="12954"/>
                    <a:pt x="10603" y="12949"/>
                    <a:pt x="10601" y="12944"/>
                  </a:cubicBezTo>
                  <a:lnTo>
                    <a:pt x="10725" y="12905"/>
                  </a:lnTo>
                  <a:close/>
                  <a:moveTo>
                    <a:pt x="10693" y="12766"/>
                  </a:moveTo>
                  <a:cubicBezTo>
                    <a:pt x="10807" y="12729"/>
                    <a:pt x="10807" y="12729"/>
                    <a:pt x="10807" y="12729"/>
                  </a:cubicBezTo>
                  <a:cubicBezTo>
                    <a:pt x="10845" y="12853"/>
                    <a:pt x="10845" y="12853"/>
                    <a:pt x="10845" y="12853"/>
                  </a:cubicBezTo>
                  <a:cubicBezTo>
                    <a:pt x="10734" y="12888"/>
                    <a:pt x="10734" y="12888"/>
                    <a:pt x="10734" y="12888"/>
                  </a:cubicBezTo>
                  <a:cubicBezTo>
                    <a:pt x="10724" y="12858"/>
                    <a:pt x="10709" y="12814"/>
                    <a:pt x="10693" y="12766"/>
                  </a:cubicBezTo>
                  <a:close/>
                  <a:moveTo>
                    <a:pt x="10861" y="12862"/>
                  </a:moveTo>
                  <a:cubicBezTo>
                    <a:pt x="10818" y="12719"/>
                    <a:pt x="10818" y="12719"/>
                    <a:pt x="10818" y="12719"/>
                  </a:cubicBezTo>
                  <a:cubicBezTo>
                    <a:pt x="10816" y="12713"/>
                    <a:pt x="10816" y="12713"/>
                    <a:pt x="10816" y="12713"/>
                  </a:cubicBezTo>
                  <a:cubicBezTo>
                    <a:pt x="10688" y="12753"/>
                    <a:pt x="10688" y="12753"/>
                    <a:pt x="10688" y="12753"/>
                  </a:cubicBezTo>
                  <a:cubicBezTo>
                    <a:pt x="10686" y="12746"/>
                    <a:pt x="10684" y="12740"/>
                    <a:pt x="10681" y="12733"/>
                  </a:cubicBezTo>
                  <a:cubicBezTo>
                    <a:pt x="10648" y="12635"/>
                    <a:pt x="10614" y="12532"/>
                    <a:pt x="10612" y="12522"/>
                  </a:cubicBezTo>
                  <a:cubicBezTo>
                    <a:pt x="10610" y="12523"/>
                    <a:pt x="10610" y="12523"/>
                    <a:pt x="10610" y="12523"/>
                  </a:cubicBezTo>
                  <a:cubicBezTo>
                    <a:pt x="10606" y="12523"/>
                    <a:pt x="10606" y="12523"/>
                    <a:pt x="10606" y="12523"/>
                  </a:cubicBezTo>
                  <a:cubicBezTo>
                    <a:pt x="10612" y="12524"/>
                    <a:pt x="10612" y="12524"/>
                    <a:pt x="10612" y="12524"/>
                  </a:cubicBezTo>
                  <a:cubicBezTo>
                    <a:pt x="10606" y="12523"/>
                    <a:pt x="10606" y="12523"/>
                    <a:pt x="10606" y="12523"/>
                  </a:cubicBezTo>
                  <a:cubicBezTo>
                    <a:pt x="10609" y="12528"/>
                    <a:pt x="10609" y="12528"/>
                    <a:pt x="10609" y="12528"/>
                  </a:cubicBezTo>
                  <a:cubicBezTo>
                    <a:pt x="10605" y="12523"/>
                    <a:pt x="10605" y="12523"/>
                    <a:pt x="10605" y="12523"/>
                  </a:cubicBezTo>
                  <a:cubicBezTo>
                    <a:pt x="10601" y="12527"/>
                    <a:pt x="10601" y="12527"/>
                    <a:pt x="10601" y="12527"/>
                  </a:cubicBezTo>
                  <a:cubicBezTo>
                    <a:pt x="10610" y="12518"/>
                    <a:pt x="10610" y="12518"/>
                    <a:pt x="10610" y="12518"/>
                  </a:cubicBezTo>
                  <a:cubicBezTo>
                    <a:pt x="10609" y="12516"/>
                    <a:pt x="10604" y="12515"/>
                    <a:pt x="10602" y="12517"/>
                  </a:cubicBezTo>
                  <a:cubicBezTo>
                    <a:pt x="10600" y="12518"/>
                    <a:pt x="10600" y="12519"/>
                    <a:pt x="10599" y="12519"/>
                  </a:cubicBezTo>
                  <a:cubicBezTo>
                    <a:pt x="10599" y="12521"/>
                    <a:pt x="10599" y="12521"/>
                    <a:pt x="10599" y="12521"/>
                  </a:cubicBezTo>
                  <a:cubicBezTo>
                    <a:pt x="10598" y="12522"/>
                    <a:pt x="10598" y="12522"/>
                    <a:pt x="10598" y="12523"/>
                  </a:cubicBezTo>
                  <a:cubicBezTo>
                    <a:pt x="10599" y="12530"/>
                    <a:pt x="10607" y="12554"/>
                    <a:pt x="10620" y="12593"/>
                  </a:cubicBezTo>
                  <a:cubicBezTo>
                    <a:pt x="10633" y="12632"/>
                    <a:pt x="10650" y="12682"/>
                    <a:pt x="10667" y="12732"/>
                  </a:cubicBezTo>
                  <a:cubicBezTo>
                    <a:pt x="10669" y="12741"/>
                    <a:pt x="10672" y="12749"/>
                    <a:pt x="10675" y="12757"/>
                  </a:cubicBezTo>
                  <a:cubicBezTo>
                    <a:pt x="10551" y="12797"/>
                    <a:pt x="10551" y="12797"/>
                    <a:pt x="10551" y="12797"/>
                  </a:cubicBezTo>
                  <a:cubicBezTo>
                    <a:pt x="10549" y="12792"/>
                    <a:pt x="10548" y="12787"/>
                    <a:pt x="10546" y="12782"/>
                  </a:cubicBezTo>
                  <a:cubicBezTo>
                    <a:pt x="10513" y="12684"/>
                    <a:pt x="10479" y="12581"/>
                    <a:pt x="10477" y="12572"/>
                  </a:cubicBezTo>
                  <a:cubicBezTo>
                    <a:pt x="10475" y="12572"/>
                    <a:pt x="10475" y="12572"/>
                    <a:pt x="10475" y="12572"/>
                  </a:cubicBezTo>
                  <a:cubicBezTo>
                    <a:pt x="10471" y="12572"/>
                    <a:pt x="10471" y="12572"/>
                    <a:pt x="10471" y="12572"/>
                  </a:cubicBezTo>
                  <a:cubicBezTo>
                    <a:pt x="10477" y="12573"/>
                    <a:pt x="10477" y="12573"/>
                    <a:pt x="10477" y="12573"/>
                  </a:cubicBezTo>
                  <a:cubicBezTo>
                    <a:pt x="10470" y="12572"/>
                    <a:pt x="10470" y="12572"/>
                    <a:pt x="10470" y="12572"/>
                  </a:cubicBezTo>
                  <a:cubicBezTo>
                    <a:pt x="10470" y="12572"/>
                    <a:pt x="10470" y="12572"/>
                    <a:pt x="10470" y="12572"/>
                  </a:cubicBezTo>
                  <a:cubicBezTo>
                    <a:pt x="10475" y="12567"/>
                    <a:pt x="10475" y="12567"/>
                    <a:pt x="10475" y="12567"/>
                  </a:cubicBezTo>
                  <a:cubicBezTo>
                    <a:pt x="10474" y="12565"/>
                    <a:pt x="10468" y="12564"/>
                    <a:pt x="10466" y="12566"/>
                  </a:cubicBezTo>
                  <a:cubicBezTo>
                    <a:pt x="10464" y="12567"/>
                    <a:pt x="10464" y="12568"/>
                    <a:pt x="10464" y="12569"/>
                  </a:cubicBezTo>
                  <a:cubicBezTo>
                    <a:pt x="10463" y="12570"/>
                    <a:pt x="10463" y="12570"/>
                    <a:pt x="10463" y="12570"/>
                  </a:cubicBezTo>
                  <a:cubicBezTo>
                    <a:pt x="10463" y="12571"/>
                    <a:pt x="10463" y="12572"/>
                    <a:pt x="10463" y="12572"/>
                  </a:cubicBezTo>
                  <a:cubicBezTo>
                    <a:pt x="10463" y="12579"/>
                    <a:pt x="10472" y="12603"/>
                    <a:pt x="10484" y="12643"/>
                  </a:cubicBezTo>
                  <a:cubicBezTo>
                    <a:pt x="10497" y="12681"/>
                    <a:pt x="10514" y="12732"/>
                    <a:pt x="10531" y="12782"/>
                  </a:cubicBezTo>
                  <a:cubicBezTo>
                    <a:pt x="10533" y="12788"/>
                    <a:pt x="10535" y="12795"/>
                    <a:pt x="10538" y="12801"/>
                  </a:cubicBezTo>
                  <a:cubicBezTo>
                    <a:pt x="10411" y="12841"/>
                    <a:pt x="10411" y="12841"/>
                    <a:pt x="10411" y="12841"/>
                  </a:cubicBezTo>
                  <a:cubicBezTo>
                    <a:pt x="10408" y="12832"/>
                    <a:pt x="10404" y="12822"/>
                    <a:pt x="10401" y="12813"/>
                  </a:cubicBezTo>
                  <a:cubicBezTo>
                    <a:pt x="10368" y="12715"/>
                    <a:pt x="10334" y="12612"/>
                    <a:pt x="10332" y="12602"/>
                  </a:cubicBezTo>
                  <a:cubicBezTo>
                    <a:pt x="10330" y="12603"/>
                    <a:pt x="10330" y="12603"/>
                    <a:pt x="10330" y="12603"/>
                  </a:cubicBezTo>
                  <a:cubicBezTo>
                    <a:pt x="10326" y="12603"/>
                    <a:pt x="10326" y="12603"/>
                    <a:pt x="10326" y="12603"/>
                  </a:cubicBezTo>
                  <a:cubicBezTo>
                    <a:pt x="10332" y="12604"/>
                    <a:pt x="10332" y="12604"/>
                    <a:pt x="10332" y="12604"/>
                  </a:cubicBezTo>
                  <a:cubicBezTo>
                    <a:pt x="10325" y="12603"/>
                    <a:pt x="10325" y="12603"/>
                    <a:pt x="10325" y="12603"/>
                  </a:cubicBezTo>
                  <a:cubicBezTo>
                    <a:pt x="10329" y="12609"/>
                    <a:pt x="10329" y="12609"/>
                    <a:pt x="10329" y="12609"/>
                  </a:cubicBezTo>
                  <a:cubicBezTo>
                    <a:pt x="10325" y="12603"/>
                    <a:pt x="10325" y="12603"/>
                    <a:pt x="10325" y="12603"/>
                  </a:cubicBezTo>
                  <a:cubicBezTo>
                    <a:pt x="10326" y="12602"/>
                    <a:pt x="10326" y="12602"/>
                    <a:pt x="10326" y="12602"/>
                  </a:cubicBezTo>
                  <a:cubicBezTo>
                    <a:pt x="10741" y="12472"/>
                    <a:pt x="10741" y="12472"/>
                    <a:pt x="10741" y="12472"/>
                  </a:cubicBezTo>
                  <a:cubicBezTo>
                    <a:pt x="10743" y="12482"/>
                    <a:pt x="10751" y="12504"/>
                    <a:pt x="10762" y="12538"/>
                  </a:cubicBezTo>
                  <a:cubicBezTo>
                    <a:pt x="10774" y="12577"/>
                    <a:pt x="10791" y="12627"/>
                    <a:pt x="10808" y="12677"/>
                  </a:cubicBezTo>
                  <a:cubicBezTo>
                    <a:pt x="10838" y="12766"/>
                    <a:pt x="10868" y="12854"/>
                    <a:pt x="10875" y="12872"/>
                  </a:cubicBezTo>
                  <a:cubicBezTo>
                    <a:pt x="10835" y="12885"/>
                    <a:pt x="10791" y="12899"/>
                    <a:pt x="10743" y="12914"/>
                  </a:cubicBezTo>
                  <a:cubicBezTo>
                    <a:pt x="10742" y="12911"/>
                    <a:pt x="10740" y="12906"/>
                    <a:pt x="10739" y="12901"/>
                  </a:cubicBezTo>
                  <a:lnTo>
                    <a:pt x="10861" y="12862"/>
                  </a:lnTo>
                  <a:close/>
                  <a:moveTo>
                    <a:pt x="10823" y="12677"/>
                  </a:moveTo>
                  <a:cubicBezTo>
                    <a:pt x="10790" y="12581"/>
                    <a:pt x="10757" y="12480"/>
                    <a:pt x="10754" y="12468"/>
                  </a:cubicBezTo>
                  <a:cubicBezTo>
                    <a:pt x="10977" y="12398"/>
                    <a:pt x="10977" y="12398"/>
                    <a:pt x="10977" y="12398"/>
                  </a:cubicBezTo>
                  <a:cubicBezTo>
                    <a:pt x="11115" y="12795"/>
                    <a:pt x="11115" y="12795"/>
                    <a:pt x="11115" y="12795"/>
                  </a:cubicBezTo>
                  <a:cubicBezTo>
                    <a:pt x="11094" y="12802"/>
                    <a:pt x="11010" y="12829"/>
                    <a:pt x="10888" y="12868"/>
                  </a:cubicBezTo>
                  <a:cubicBezTo>
                    <a:pt x="10882" y="12851"/>
                    <a:pt x="10853" y="12766"/>
                    <a:pt x="10823" y="12677"/>
                  </a:cubicBezTo>
                  <a:close/>
                  <a:moveTo>
                    <a:pt x="10903" y="11984"/>
                  </a:moveTo>
                  <a:cubicBezTo>
                    <a:pt x="11006" y="11950"/>
                    <a:pt x="11109" y="11917"/>
                    <a:pt x="11208" y="11884"/>
                  </a:cubicBezTo>
                  <a:cubicBezTo>
                    <a:pt x="11353" y="12264"/>
                    <a:pt x="11353" y="12264"/>
                    <a:pt x="11353" y="12264"/>
                  </a:cubicBezTo>
                  <a:cubicBezTo>
                    <a:pt x="11035" y="12365"/>
                    <a:pt x="11035" y="12365"/>
                    <a:pt x="11035" y="12365"/>
                  </a:cubicBezTo>
                  <a:lnTo>
                    <a:pt x="10903" y="11984"/>
                  </a:lnTo>
                  <a:close/>
                  <a:moveTo>
                    <a:pt x="11221" y="11880"/>
                  </a:moveTo>
                  <a:cubicBezTo>
                    <a:pt x="11342" y="11840"/>
                    <a:pt x="11456" y="11803"/>
                    <a:pt x="11554" y="11771"/>
                  </a:cubicBezTo>
                  <a:cubicBezTo>
                    <a:pt x="11700" y="12153"/>
                    <a:pt x="11700" y="12153"/>
                    <a:pt x="11700" y="12153"/>
                  </a:cubicBezTo>
                  <a:cubicBezTo>
                    <a:pt x="11366" y="12260"/>
                    <a:pt x="11366" y="12260"/>
                    <a:pt x="11366" y="12260"/>
                  </a:cubicBezTo>
                  <a:lnTo>
                    <a:pt x="11221" y="11880"/>
                  </a:lnTo>
                  <a:close/>
                  <a:moveTo>
                    <a:pt x="11567" y="11767"/>
                  </a:moveTo>
                  <a:cubicBezTo>
                    <a:pt x="11699" y="11724"/>
                    <a:pt x="11800" y="11691"/>
                    <a:pt x="11846" y="11676"/>
                  </a:cubicBezTo>
                  <a:cubicBezTo>
                    <a:pt x="11873" y="11733"/>
                    <a:pt x="11942" y="11880"/>
                    <a:pt x="12015" y="12032"/>
                  </a:cubicBezTo>
                  <a:cubicBezTo>
                    <a:pt x="12018" y="12038"/>
                    <a:pt x="12020" y="12044"/>
                    <a:pt x="12023" y="12050"/>
                  </a:cubicBezTo>
                  <a:cubicBezTo>
                    <a:pt x="11714" y="12149"/>
                    <a:pt x="11714" y="12149"/>
                    <a:pt x="11714" y="12149"/>
                  </a:cubicBezTo>
                  <a:lnTo>
                    <a:pt x="11567" y="11767"/>
                  </a:lnTo>
                  <a:close/>
                  <a:moveTo>
                    <a:pt x="11907" y="11652"/>
                  </a:moveTo>
                  <a:cubicBezTo>
                    <a:pt x="11936" y="11638"/>
                    <a:pt x="11981" y="11612"/>
                    <a:pt x="12038" y="11567"/>
                  </a:cubicBezTo>
                  <a:cubicBezTo>
                    <a:pt x="12053" y="11556"/>
                    <a:pt x="12078" y="11534"/>
                    <a:pt x="12109" y="11505"/>
                  </a:cubicBezTo>
                  <a:cubicBezTo>
                    <a:pt x="12120" y="11510"/>
                    <a:pt x="12134" y="11518"/>
                    <a:pt x="12151" y="11528"/>
                  </a:cubicBezTo>
                  <a:cubicBezTo>
                    <a:pt x="12187" y="11548"/>
                    <a:pt x="12235" y="11576"/>
                    <a:pt x="12282" y="11603"/>
                  </a:cubicBezTo>
                  <a:cubicBezTo>
                    <a:pt x="12358" y="11647"/>
                    <a:pt x="12432" y="11691"/>
                    <a:pt x="12458" y="11706"/>
                  </a:cubicBezTo>
                  <a:cubicBezTo>
                    <a:pt x="12407" y="11831"/>
                    <a:pt x="12407" y="11831"/>
                    <a:pt x="12407" y="11831"/>
                  </a:cubicBezTo>
                  <a:cubicBezTo>
                    <a:pt x="12084" y="12024"/>
                    <a:pt x="12084" y="12024"/>
                    <a:pt x="12084" y="12024"/>
                  </a:cubicBezTo>
                  <a:cubicBezTo>
                    <a:pt x="12010" y="11869"/>
                    <a:pt x="11937" y="11715"/>
                    <a:pt x="11907" y="11652"/>
                  </a:cubicBezTo>
                  <a:close/>
                  <a:moveTo>
                    <a:pt x="12120" y="11495"/>
                  </a:moveTo>
                  <a:cubicBezTo>
                    <a:pt x="12179" y="11440"/>
                    <a:pt x="12258" y="11363"/>
                    <a:pt x="12340" y="11284"/>
                  </a:cubicBezTo>
                  <a:cubicBezTo>
                    <a:pt x="12345" y="11291"/>
                    <a:pt x="12351" y="11299"/>
                    <a:pt x="12358" y="11308"/>
                  </a:cubicBezTo>
                  <a:cubicBezTo>
                    <a:pt x="12377" y="11336"/>
                    <a:pt x="12401" y="11373"/>
                    <a:pt x="12426" y="11410"/>
                  </a:cubicBezTo>
                  <a:cubicBezTo>
                    <a:pt x="12468" y="11474"/>
                    <a:pt x="12510" y="11539"/>
                    <a:pt x="12519" y="11553"/>
                  </a:cubicBezTo>
                  <a:cubicBezTo>
                    <a:pt x="12463" y="11693"/>
                    <a:pt x="12463" y="11693"/>
                    <a:pt x="12463" y="11693"/>
                  </a:cubicBezTo>
                  <a:cubicBezTo>
                    <a:pt x="12409" y="11662"/>
                    <a:pt x="12196" y="11536"/>
                    <a:pt x="12120" y="11495"/>
                  </a:cubicBezTo>
                  <a:close/>
                  <a:moveTo>
                    <a:pt x="12334" y="11199"/>
                  </a:moveTo>
                  <a:cubicBezTo>
                    <a:pt x="11729" y="10439"/>
                    <a:pt x="11729" y="10439"/>
                    <a:pt x="11729" y="10439"/>
                  </a:cubicBezTo>
                  <a:cubicBezTo>
                    <a:pt x="11748" y="10426"/>
                    <a:pt x="11775" y="10405"/>
                    <a:pt x="11819" y="10367"/>
                  </a:cubicBezTo>
                  <a:cubicBezTo>
                    <a:pt x="11854" y="10336"/>
                    <a:pt x="11885" y="10329"/>
                    <a:pt x="11912" y="10329"/>
                  </a:cubicBezTo>
                  <a:cubicBezTo>
                    <a:pt x="11943" y="10329"/>
                    <a:pt x="11968" y="10341"/>
                    <a:pt x="11975" y="10344"/>
                  </a:cubicBezTo>
                  <a:cubicBezTo>
                    <a:pt x="12636" y="10902"/>
                    <a:pt x="12636" y="10902"/>
                    <a:pt x="12636" y="10902"/>
                  </a:cubicBezTo>
                  <a:cubicBezTo>
                    <a:pt x="12595" y="10942"/>
                    <a:pt x="12481" y="11055"/>
                    <a:pt x="12359" y="11174"/>
                  </a:cubicBezTo>
                  <a:cubicBezTo>
                    <a:pt x="12350" y="11182"/>
                    <a:pt x="12342" y="11191"/>
                    <a:pt x="12334" y="11199"/>
                  </a:cubicBezTo>
                  <a:close/>
                  <a:moveTo>
                    <a:pt x="12286" y="11245"/>
                  </a:moveTo>
                  <a:cubicBezTo>
                    <a:pt x="12158" y="11370"/>
                    <a:pt x="12034" y="11487"/>
                    <a:pt x="11998" y="11516"/>
                  </a:cubicBezTo>
                  <a:cubicBezTo>
                    <a:pt x="11918" y="11578"/>
                    <a:pt x="11864" y="11600"/>
                    <a:pt x="11854" y="11604"/>
                  </a:cubicBezTo>
                  <a:cubicBezTo>
                    <a:pt x="11853" y="11604"/>
                    <a:pt x="11852" y="11604"/>
                    <a:pt x="11853" y="11604"/>
                  </a:cubicBezTo>
                  <a:cubicBezTo>
                    <a:pt x="11852" y="11604"/>
                    <a:pt x="11754" y="11637"/>
                    <a:pt x="11602" y="11687"/>
                  </a:cubicBezTo>
                  <a:cubicBezTo>
                    <a:pt x="11449" y="11736"/>
                    <a:pt x="11243" y="11804"/>
                    <a:pt x="11028" y="11874"/>
                  </a:cubicBezTo>
                  <a:cubicBezTo>
                    <a:pt x="10973" y="11892"/>
                    <a:pt x="10916" y="11911"/>
                    <a:pt x="10860" y="11929"/>
                  </a:cubicBezTo>
                  <a:cubicBezTo>
                    <a:pt x="10746" y="11560"/>
                    <a:pt x="10746" y="11560"/>
                    <a:pt x="10746" y="11560"/>
                  </a:cubicBezTo>
                  <a:cubicBezTo>
                    <a:pt x="10585" y="11591"/>
                    <a:pt x="10585" y="11591"/>
                    <a:pt x="10585" y="11591"/>
                  </a:cubicBezTo>
                  <a:cubicBezTo>
                    <a:pt x="10576" y="11572"/>
                    <a:pt x="10545" y="11506"/>
                    <a:pt x="10541" y="11498"/>
                  </a:cubicBezTo>
                  <a:cubicBezTo>
                    <a:pt x="10541" y="11498"/>
                    <a:pt x="10541" y="11498"/>
                    <a:pt x="10541" y="11498"/>
                  </a:cubicBezTo>
                  <a:cubicBezTo>
                    <a:pt x="10541" y="11497"/>
                    <a:pt x="10540" y="11496"/>
                    <a:pt x="10539" y="11495"/>
                  </a:cubicBezTo>
                  <a:cubicBezTo>
                    <a:pt x="10538" y="11494"/>
                    <a:pt x="10536" y="11493"/>
                    <a:pt x="10535" y="11493"/>
                  </a:cubicBezTo>
                  <a:cubicBezTo>
                    <a:pt x="10534" y="11493"/>
                    <a:pt x="10533" y="11493"/>
                    <a:pt x="10532" y="11493"/>
                  </a:cubicBezTo>
                  <a:cubicBezTo>
                    <a:pt x="10532" y="11493"/>
                    <a:pt x="10532" y="11493"/>
                    <a:pt x="10532" y="11493"/>
                  </a:cubicBezTo>
                  <a:cubicBezTo>
                    <a:pt x="10531" y="11494"/>
                    <a:pt x="10531" y="11494"/>
                    <a:pt x="10530" y="11494"/>
                  </a:cubicBezTo>
                  <a:cubicBezTo>
                    <a:pt x="10530" y="11495"/>
                    <a:pt x="10529" y="11495"/>
                    <a:pt x="10529" y="11496"/>
                  </a:cubicBezTo>
                  <a:cubicBezTo>
                    <a:pt x="10528" y="11496"/>
                    <a:pt x="10527" y="11497"/>
                    <a:pt x="10525" y="11497"/>
                  </a:cubicBezTo>
                  <a:cubicBezTo>
                    <a:pt x="10520" y="11499"/>
                    <a:pt x="10513" y="11502"/>
                    <a:pt x="10504" y="11505"/>
                  </a:cubicBezTo>
                  <a:cubicBezTo>
                    <a:pt x="10487" y="11511"/>
                    <a:pt x="10462" y="11520"/>
                    <a:pt x="10431" y="11530"/>
                  </a:cubicBezTo>
                  <a:cubicBezTo>
                    <a:pt x="10371" y="11551"/>
                    <a:pt x="10290" y="11578"/>
                    <a:pt x="10209" y="11604"/>
                  </a:cubicBezTo>
                  <a:cubicBezTo>
                    <a:pt x="10047" y="11657"/>
                    <a:pt x="9886" y="11709"/>
                    <a:pt x="9886" y="11709"/>
                  </a:cubicBezTo>
                  <a:cubicBezTo>
                    <a:pt x="9879" y="11711"/>
                    <a:pt x="9879" y="11711"/>
                    <a:pt x="9879" y="11711"/>
                  </a:cubicBezTo>
                  <a:cubicBezTo>
                    <a:pt x="9975" y="12032"/>
                    <a:pt x="9975" y="12032"/>
                    <a:pt x="9975" y="12032"/>
                  </a:cubicBezTo>
                  <a:cubicBezTo>
                    <a:pt x="9812" y="12105"/>
                    <a:pt x="9812" y="12105"/>
                    <a:pt x="9812" y="12105"/>
                  </a:cubicBezTo>
                  <a:cubicBezTo>
                    <a:pt x="9811" y="12107"/>
                    <a:pt x="9811" y="12107"/>
                    <a:pt x="9811" y="12107"/>
                  </a:cubicBezTo>
                  <a:cubicBezTo>
                    <a:pt x="9811" y="12108"/>
                    <a:pt x="9781" y="12186"/>
                    <a:pt x="9776" y="12225"/>
                  </a:cubicBezTo>
                  <a:cubicBezTo>
                    <a:pt x="9643" y="12210"/>
                    <a:pt x="9529" y="12154"/>
                    <a:pt x="9485" y="12130"/>
                  </a:cubicBezTo>
                  <a:cubicBezTo>
                    <a:pt x="10675" y="9608"/>
                    <a:pt x="10675" y="9608"/>
                    <a:pt x="10675" y="9608"/>
                  </a:cubicBezTo>
                  <a:cubicBezTo>
                    <a:pt x="10742" y="9653"/>
                    <a:pt x="10898" y="9756"/>
                    <a:pt x="11049" y="9855"/>
                  </a:cubicBezTo>
                  <a:cubicBezTo>
                    <a:pt x="11148" y="9920"/>
                    <a:pt x="11228" y="9979"/>
                    <a:pt x="11283" y="10021"/>
                  </a:cubicBezTo>
                  <a:cubicBezTo>
                    <a:pt x="11329" y="10057"/>
                    <a:pt x="11358" y="10080"/>
                    <a:pt x="11366" y="10087"/>
                  </a:cubicBezTo>
                  <a:lnTo>
                    <a:pt x="12286" y="11245"/>
                  </a:lnTo>
                  <a:close/>
                  <a:moveTo>
                    <a:pt x="12572" y="14349"/>
                  </a:moveTo>
                  <a:cubicBezTo>
                    <a:pt x="12426" y="14322"/>
                    <a:pt x="11990" y="14243"/>
                    <a:pt x="11822" y="14218"/>
                  </a:cubicBezTo>
                  <a:cubicBezTo>
                    <a:pt x="11810" y="14216"/>
                    <a:pt x="11798" y="14215"/>
                    <a:pt x="11787" y="14215"/>
                  </a:cubicBezTo>
                  <a:cubicBezTo>
                    <a:pt x="11736" y="14215"/>
                    <a:pt x="11693" y="14234"/>
                    <a:pt x="11663" y="14262"/>
                  </a:cubicBezTo>
                  <a:cubicBezTo>
                    <a:pt x="11632" y="14290"/>
                    <a:pt x="11613" y="14325"/>
                    <a:pt x="11599" y="14359"/>
                  </a:cubicBezTo>
                  <a:cubicBezTo>
                    <a:pt x="11572" y="14427"/>
                    <a:pt x="11570" y="14492"/>
                    <a:pt x="11570" y="14494"/>
                  </a:cubicBezTo>
                  <a:cubicBezTo>
                    <a:pt x="11569" y="14495"/>
                    <a:pt x="11569" y="14495"/>
                    <a:pt x="11569" y="14495"/>
                  </a:cubicBezTo>
                  <a:cubicBezTo>
                    <a:pt x="11593" y="14911"/>
                    <a:pt x="11593" y="14911"/>
                    <a:pt x="11593" y="14911"/>
                  </a:cubicBezTo>
                  <a:cubicBezTo>
                    <a:pt x="11611" y="14920"/>
                    <a:pt x="11611" y="14920"/>
                    <a:pt x="11611" y="14920"/>
                  </a:cubicBezTo>
                  <a:cubicBezTo>
                    <a:pt x="11787" y="15001"/>
                    <a:pt x="11822" y="15106"/>
                    <a:pt x="11824" y="15195"/>
                  </a:cubicBezTo>
                  <a:cubicBezTo>
                    <a:pt x="11824" y="15271"/>
                    <a:pt x="11793" y="15336"/>
                    <a:pt x="11786" y="15349"/>
                  </a:cubicBezTo>
                  <a:cubicBezTo>
                    <a:pt x="11785" y="15351"/>
                    <a:pt x="11784" y="15351"/>
                    <a:pt x="11784" y="15351"/>
                  </a:cubicBezTo>
                  <a:cubicBezTo>
                    <a:pt x="11784" y="15352"/>
                    <a:pt x="11784" y="15352"/>
                    <a:pt x="11784" y="15352"/>
                  </a:cubicBezTo>
                  <a:cubicBezTo>
                    <a:pt x="11378" y="16129"/>
                    <a:pt x="11378" y="16129"/>
                    <a:pt x="11378" y="16129"/>
                  </a:cubicBezTo>
                  <a:cubicBezTo>
                    <a:pt x="11368" y="16121"/>
                    <a:pt x="11358" y="16113"/>
                    <a:pt x="11348" y="16106"/>
                  </a:cubicBezTo>
                  <a:cubicBezTo>
                    <a:pt x="11053" y="15893"/>
                    <a:pt x="10710" y="15656"/>
                    <a:pt x="10553" y="15535"/>
                  </a:cubicBezTo>
                  <a:cubicBezTo>
                    <a:pt x="10422" y="15435"/>
                    <a:pt x="10216" y="15277"/>
                    <a:pt x="10145" y="15223"/>
                  </a:cubicBezTo>
                  <a:cubicBezTo>
                    <a:pt x="10145" y="15221"/>
                    <a:pt x="10146" y="15219"/>
                    <a:pt x="10146" y="15218"/>
                  </a:cubicBezTo>
                  <a:cubicBezTo>
                    <a:pt x="10146" y="15214"/>
                    <a:pt x="10146" y="15210"/>
                    <a:pt x="10146" y="15206"/>
                  </a:cubicBezTo>
                  <a:cubicBezTo>
                    <a:pt x="10147" y="15196"/>
                    <a:pt x="10147" y="15183"/>
                    <a:pt x="10147" y="15166"/>
                  </a:cubicBezTo>
                  <a:cubicBezTo>
                    <a:pt x="10148" y="15132"/>
                    <a:pt x="10148" y="15084"/>
                    <a:pt x="10148" y="15026"/>
                  </a:cubicBezTo>
                  <a:cubicBezTo>
                    <a:pt x="10148" y="14678"/>
                    <a:pt x="10141" y="13977"/>
                    <a:pt x="10141" y="13977"/>
                  </a:cubicBezTo>
                  <a:cubicBezTo>
                    <a:pt x="10141" y="13976"/>
                    <a:pt x="10141" y="13976"/>
                    <a:pt x="10141" y="13976"/>
                  </a:cubicBezTo>
                  <a:cubicBezTo>
                    <a:pt x="10141" y="13975"/>
                    <a:pt x="10141" y="13975"/>
                    <a:pt x="10141" y="13975"/>
                  </a:cubicBezTo>
                  <a:cubicBezTo>
                    <a:pt x="10141" y="13972"/>
                    <a:pt x="10135" y="13903"/>
                    <a:pt x="10085" y="13832"/>
                  </a:cubicBezTo>
                  <a:cubicBezTo>
                    <a:pt x="10035" y="13761"/>
                    <a:pt x="9937" y="13691"/>
                    <a:pt x="9768" y="13692"/>
                  </a:cubicBezTo>
                  <a:cubicBezTo>
                    <a:pt x="9763" y="13692"/>
                    <a:pt x="9758" y="13692"/>
                    <a:pt x="9752" y="13692"/>
                  </a:cubicBezTo>
                  <a:cubicBezTo>
                    <a:pt x="9705" y="13693"/>
                    <a:pt x="9651" y="13694"/>
                    <a:pt x="9593" y="13693"/>
                  </a:cubicBezTo>
                  <a:cubicBezTo>
                    <a:pt x="9419" y="13694"/>
                    <a:pt x="9210" y="13689"/>
                    <a:pt x="9045" y="13685"/>
                  </a:cubicBezTo>
                  <a:cubicBezTo>
                    <a:pt x="9017" y="13684"/>
                    <a:pt x="8990" y="13683"/>
                    <a:pt x="8965" y="13682"/>
                  </a:cubicBezTo>
                  <a:cubicBezTo>
                    <a:pt x="9698" y="13433"/>
                    <a:pt x="9698" y="13433"/>
                    <a:pt x="9698" y="13433"/>
                  </a:cubicBezTo>
                  <a:cubicBezTo>
                    <a:pt x="11003" y="13005"/>
                    <a:pt x="11003" y="13005"/>
                    <a:pt x="11003" y="13005"/>
                  </a:cubicBezTo>
                  <a:cubicBezTo>
                    <a:pt x="11660" y="12821"/>
                    <a:pt x="11660" y="12821"/>
                    <a:pt x="11660" y="12821"/>
                  </a:cubicBezTo>
                  <a:cubicBezTo>
                    <a:pt x="11768" y="12945"/>
                    <a:pt x="12004" y="13169"/>
                    <a:pt x="12005" y="13169"/>
                  </a:cubicBezTo>
                  <a:cubicBezTo>
                    <a:pt x="12007" y="13172"/>
                    <a:pt x="12007" y="13172"/>
                    <a:pt x="12007" y="13172"/>
                  </a:cubicBezTo>
                  <a:cubicBezTo>
                    <a:pt x="12010" y="13173"/>
                    <a:pt x="12010" y="13173"/>
                    <a:pt x="12010" y="13173"/>
                  </a:cubicBezTo>
                  <a:cubicBezTo>
                    <a:pt x="12010" y="13173"/>
                    <a:pt x="12162" y="13269"/>
                    <a:pt x="12329" y="13370"/>
                  </a:cubicBezTo>
                  <a:cubicBezTo>
                    <a:pt x="12496" y="13472"/>
                    <a:pt x="12673" y="13578"/>
                    <a:pt x="12733" y="13605"/>
                  </a:cubicBezTo>
                  <a:cubicBezTo>
                    <a:pt x="12797" y="13634"/>
                    <a:pt x="12795" y="13655"/>
                    <a:pt x="12796" y="13661"/>
                  </a:cubicBezTo>
                  <a:cubicBezTo>
                    <a:pt x="12796" y="13663"/>
                    <a:pt x="12796" y="13665"/>
                    <a:pt x="12796" y="13666"/>
                  </a:cubicBezTo>
                  <a:cubicBezTo>
                    <a:pt x="12795" y="13667"/>
                    <a:pt x="12795" y="13667"/>
                    <a:pt x="12795" y="13667"/>
                  </a:cubicBezTo>
                  <a:cubicBezTo>
                    <a:pt x="12725" y="13867"/>
                    <a:pt x="12725" y="13867"/>
                    <a:pt x="12725" y="13867"/>
                  </a:cubicBezTo>
                  <a:cubicBezTo>
                    <a:pt x="12531" y="14165"/>
                    <a:pt x="12531" y="14165"/>
                    <a:pt x="12531" y="14165"/>
                  </a:cubicBezTo>
                  <a:lnTo>
                    <a:pt x="12572" y="14349"/>
                  </a:lnTo>
                  <a:close/>
                  <a:moveTo>
                    <a:pt x="9141" y="15967"/>
                  </a:moveTo>
                  <a:cubicBezTo>
                    <a:pt x="9135" y="15970"/>
                    <a:pt x="9135" y="15970"/>
                    <a:pt x="9135" y="15970"/>
                  </a:cubicBezTo>
                  <a:cubicBezTo>
                    <a:pt x="9116" y="15965"/>
                    <a:pt x="8992" y="15934"/>
                    <a:pt x="8866" y="15903"/>
                  </a:cubicBezTo>
                  <a:cubicBezTo>
                    <a:pt x="8765" y="15878"/>
                    <a:pt x="8665" y="15854"/>
                    <a:pt x="8616" y="15842"/>
                  </a:cubicBezTo>
                  <a:cubicBezTo>
                    <a:pt x="8620" y="15633"/>
                    <a:pt x="8625" y="15426"/>
                    <a:pt x="8627" y="15405"/>
                  </a:cubicBezTo>
                  <a:cubicBezTo>
                    <a:pt x="8640" y="15292"/>
                    <a:pt x="8699" y="15241"/>
                    <a:pt x="8759" y="15211"/>
                  </a:cubicBezTo>
                  <a:cubicBezTo>
                    <a:pt x="8819" y="15183"/>
                    <a:pt x="8879" y="15182"/>
                    <a:pt x="8887" y="15182"/>
                  </a:cubicBezTo>
                  <a:cubicBezTo>
                    <a:pt x="9482" y="15222"/>
                    <a:pt x="9482" y="15222"/>
                    <a:pt x="9482" y="15222"/>
                  </a:cubicBezTo>
                  <a:cubicBezTo>
                    <a:pt x="9512" y="15788"/>
                    <a:pt x="9512" y="15788"/>
                    <a:pt x="9512" y="15788"/>
                  </a:cubicBezTo>
                  <a:cubicBezTo>
                    <a:pt x="9148" y="15963"/>
                    <a:pt x="9148" y="15963"/>
                    <a:pt x="9148" y="15963"/>
                  </a:cubicBezTo>
                  <a:cubicBezTo>
                    <a:pt x="9147" y="15963"/>
                    <a:pt x="9147" y="15963"/>
                    <a:pt x="9145" y="15962"/>
                  </a:cubicBezTo>
                  <a:cubicBezTo>
                    <a:pt x="9144" y="15962"/>
                    <a:pt x="9141" y="15964"/>
                    <a:pt x="9140" y="15965"/>
                  </a:cubicBezTo>
                  <a:cubicBezTo>
                    <a:pt x="9140" y="15966"/>
                    <a:pt x="9139" y="15966"/>
                    <a:pt x="9139" y="15966"/>
                  </a:cubicBezTo>
                  <a:lnTo>
                    <a:pt x="9141" y="15967"/>
                  </a:lnTo>
                  <a:close/>
                  <a:moveTo>
                    <a:pt x="9496" y="15223"/>
                  </a:moveTo>
                  <a:cubicBezTo>
                    <a:pt x="10088" y="15262"/>
                    <a:pt x="10088" y="15262"/>
                    <a:pt x="10088" y="15262"/>
                  </a:cubicBezTo>
                  <a:cubicBezTo>
                    <a:pt x="10124" y="15290"/>
                    <a:pt x="10278" y="15407"/>
                    <a:pt x="10412" y="15510"/>
                  </a:cubicBezTo>
                  <a:cubicBezTo>
                    <a:pt x="10404" y="15523"/>
                    <a:pt x="10394" y="15540"/>
                    <a:pt x="10381" y="15560"/>
                  </a:cubicBezTo>
                  <a:cubicBezTo>
                    <a:pt x="10352" y="15608"/>
                    <a:pt x="10315" y="15671"/>
                    <a:pt x="10277" y="15733"/>
                  </a:cubicBezTo>
                  <a:cubicBezTo>
                    <a:pt x="10210" y="15845"/>
                    <a:pt x="10144" y="15955"/>
                    <a:pt x="10130" y="15979"/>
                  </a:cubicBezTo>
                  <a:cubicBezTo>
                    <a:pt x="9526" y="15787"/>
                    <a:pt x="9526" y="15787"/>
                    <a:pt x="9526" y="15787"/>
                  </a:cubicBezTo>
                  <a:lnTo>
                    <a:pt x="9496" y="15223"/>
                  </a:lnTo>
                  <a:close/>
                  <a:moveTo>
                    <a:pt x="10285" y="15746"/>
                  </a:moveTo>
                  <a:cubicBezTo>
                    <a:pt x="10339" y="15656"/>
                    <a:pt x="10395" y="15565"/>
                    <a:pt x="10423" y="15518"/>
                  </a:cubicBezTo>
                  <a:cubicBezTo>
                    <a:pt x="10455" y="15543"/>
                    <a:pt x="10485" y="15566"/>
                    <a:pt x="10513" y="15587"/>
                  </a:cubicBezTo>
                  <a:cubicBezTo>
                    <a:pt x="10673" y="15710"/>
                    <a:pt x="11016" y="15947"/>
                    <a:pt x="11309" y="16159"/>
                  </a:cubicBezTo>
                  <a:cubicBezTo>
                    <a:pt x="11316" y="16164"/>
                    <a:pt x="11322" y="16168"/>
                    <a:pt x="11328" y="16173"/>
                  </a:cubicBezTo>
                  <a:cubicBezTo>
                    <a:pt x="11322" y="16178"/>
                    <a:pt x="11315" y="16184"/>
                    <a:pt x="11307" y="16190"/>
                  </a:cubicBezTo>
                  <a:cubicBezTo>
                    <a:pt x="11273" y="16216"/>
                    <a:pt x="11224" y="16254"/>
                    <a:pt x="11166" y="16298"/>
                  </a:cubicBezTo>
                  <a:cubicBezTo>
                    <a:pt x="11084" y="16362"/>
                    <a:pt x="10982" y="16442"/>
                    <a:pt x="10875" y="16525"/>
                  </a:cubicBezTo>
                  <a:cubicBezTo>
                    <a:pt x="10494" y="16363"/>
                    <a:pt x="10494" y="16363"/>
                    <a:pt x="10494" y="16363"/>
                  </a:cubicBezTo>
                  <a:cubicBezTo>
                    <a:pt x="10142" y="15986"/>
                    <a:pt x="10142" y="15986"/>
                    <a:pt x="10142" y="15986"/>
                  </a:cubicBezTo>
                  <a:cubicBezTo>
                    <a:pt x="10156" y="15964"/>
                    <a:pt x="10220" y="15856"/>
                    <a:pt x="10285" y="15746"/>
                  </a:cubicBezTo>
                  <a:close/>
                  <a:moveTo>
                    <a:pt x="9593" y="13759"/>
                  </a:moveTo>
                  <a:cubicBezTo>
                    <a:pt x="9651" y="13759"/>
                    <a:pt x="9706" y="13759"/>
                    <a:pt x="9754" y="13757"/>
                  </a:cubicBezTo>
                  <a:cubicBezTo>
                    <a:pt x="9759" y="13757"/>
                    <a:pt x="9764" y="13757"/>
                    <a:pt x="9768" y="13757"/>
                  </a:cubicBezTo>
                  <a:cubicBezTo>
                    <a:pt x="9901" y="13758"/>
                    <a:pt x="9972" y="13802"/>
                    <a:pt x="10015" y="13849"/>
                  </a:cubicBezTo>
                  <a:cubicBezTo>
                    <a:pt x="10058" y="13897"/>
                    <a:pt x="10071" y="13952"/>
                    <a:pt x="10074" y="13972"/>
                  </a:cubicBezTo>
                  <a:cubicBezTo>
                    <a:pt x="10075" y="13976"/>
                    <a:pt x="10075" y="13978"/>
                    <a:pt x="10075" y="13979"/>
                  </a:cubicBezTo>
                  <a:cubicBezTo>
                    <a:pt x="10076" y="13995"/>
                    <a:pt x="10077" y="14164"/>
                    <a:pt x="10079" y="14372"/>
                  </a:cubicBezTo>
                  <a:cubicBezTo>
                    <a:pt x="10081" y="14590"/>
                    <a:pt x="10082" y="14852"/>
                    <a:pt x="10082" y="15026"/>
                  </a:cubicBezTo>
                  <a:cubicBezTo>
                    <a:pt x="10082" y="15106"/>
                    <a:pt x="10082" y="15168"/>
                    <a:pt x="10081" y="15196"/>
                  </a:cubicBezTo>
                  <a:cubicBezTo>
                    <a:pt x="8890" y="15116"/>
                    <a:pt x="8890" y="15116"/>
                    <a:pt x="8890" y="15116"/>
                  </a:cubicBezTo>
                  <a:cubicBezTo>
                    <a:pt x="8890" y="15116"/>
                    <a:pt x="8889" y="15116"/>
                    <a:pt x="8887" y="15116"/>
                  </a:cubicBezTo>
                  <a:cubicBezTo>
                    <a:pt x="8880" y="15116"/>
                    <a:pt x="8842" y="15117"/>
                    <a:pt x="8794" y="15130"/>
                  </a:cubicBezTo>
                  <a:cubicBezTo>
                    <a:pt x="8797" y="15126"/>
                    <a:pt x="8797" y="15126"/>
                    <a:pt x="8797" y="15126"/>
                  </a:cubicBezTo>
                  <a:cubicBezTo>
                    <a:pt x="8796" y="15126"/>
                    <a:pt x="8606" y="14994"/>
                    <a:pt x="8388" y="14842"/>
                  </a:cubicBezTo>
                  <a:cubicBezTo>
                    <a:pt x="8170" y="14690"/>
                    <a:pt x="7925" y="14519"/>
                    <a:pt x="7817" y="14442"/>
                  </a:cubicBezTo>
                  <a:cubicBezTo>
                    <a:pt x="7802" y="14431"/>
                    <a:pt x="7788" y="14421"/>
                    <a:pt x="7779" y="14414"/>
                  </a:cubicBezTo>
                  <a:cubicBezTo>
                    <a:pt x="7779" y="14413"/>
                    <a:pt x="7780" y="14411"/>
                    <a:pt x="7780" y="14409"/>
                  </a:cubicBezTo>
                  <a:cubicBezTo>
                    <a:pt x="7782" y="14394"/>
                    <a:pt x="7783" y="14374"/>
                    <a:pt x="7785" y="14349"/>
                  </a:cubicBezTo>
                  <a:cubicBezTo>
                    <a:pt x="7788" y="14300"/>
                    <a:pt x="7791" y="14233"/>
                    <a:pt x="7795" y="14161"/>
                  </a:cubicBezTo>
                  <a:cubicBezTo>
                    <a:pt x="7802" y="14023"/>
                    <a:pt x="7813" y="13866"/>
                    <a:pt x="7829" y="13787"/>
                  </a:cubicBezTo>
                  <a:cubicBezTo>
                    <a:pt x="8671" y="13753"/>
                    <a:pt x="8671" y="13753"/>
                    <a:pt x="8671" y="13753"/>
                  </a:cubicBezTo>
                  <a:cubicBezTo>
                    <a:pt x="8759" y="13741"/>
                    <a:pt x="8759" y="13741"/>
                    <a:pt x="8759" y="13741"/>
                  </a:cubicBezTo>
                  <a:cubicBezTo>
                    <a:pt x="8801" y="13743"/>
                    <a:pt x="9258" y="13759"/>
                    <a:pt x="9593" y="13759"/>
                  </a:cubicBezTo>
                  <a:close/>
                  <a:moveTo>
                    <a:pt x="7226" y="15935"/>
                  </a:moveTo>
                  <a:cubicBezTo>
                    <a:pt x="7181" y="15575"/>
                    <a:pt x="7181" y="15575"/>
                    <a:pt x="7181" y="15575"/>
                  </a:cubicBezTo>
                  <a:cubicBezTo>
                    <a:pt x="7185" y="15574"/>
                    <a:pt x="7274" y="15554"/>
                    <a:pt x="7297" y="15548"/>
                  </a:cubicBezTo>
                  <a:cubicBezTo>
                    <a:pt x="7307" y="15564"/>
                    <a:pt x="7346" y="15624"/>
                    <a:pt x="7391" y="15693"/>
                  </a:cubicBezTo>
                  <a:cubicBezTo>
                    <a:pt x="7327" y="15694"/>
                    <a:pt x="7327" y="15694"/>
                    <a:pt x="7327" y="15694"/>
                  </a:cubicBezTo>
                  <a:cubicBezTo>
                    <a:pt x="7329" y="15876"/>
                    <a:pt x="7329" y="15876"/>
                    <a:pt x="7329" y="15876"/>
                  </a:cubicBezTo>
                  <a:cubicBezTo>
                    <a:pt x="7451" y="15876"/>
                    <a:pt x="7451" y="15876"/>
                    <a:pt x="7451" y="15876"/>
                  </a:cubicBezTo>
                  <a:cubicBezTo>
                    <a:pt x="7452" y="15786"/>
                    <a:pt x="7452" y="15786"/>
                    <a:pt x="7452" y="15786"/>
                  </a:cubicBezTo>
                  <a:cubicBezTo>
                    <a:pt x="7499" y="15857"/>
                    <a:pt x="7540" y="15919"/>
                    <a:pt x="7551" y="15931"/>
                  </a:cubicBezTo>
                  <a:cubicBezTo>
                    <a:pt x="7548" y="15937"/>
                    <a:pt x="7545" y="15943"/>
                    <a:pt x="7542" y="15950"/>
                  </a:cubicBezTo>
                  <a:cubicBezTo>
                    <a:pt x="7542" y="15944"/>
                    <a:pt x="7542" y="15944"/>
                    <a:pt x="7542" y="15944"/>
                  </a:cubicBezTo>
                  <a:lnTo>
                    <a:pt x="7226" y="15935"/>
                  </a:lnTo>
                  <a:close/>
                  <a:moveTo>
                    <a:pt x="6502" y="17054"/>
                  </a:moveTo>
                  <a:cubicBezTo>
                    <a:pt x="6497" y="17054"/>
                    <a:pt x="6448" y="17042"/>
                    <a:pt x="6402" y="17031"/>
                  </a:cubicBezTo>
                  <a:cubicBezTo>
                    <a:pt x="6355" y="17019"/>
                    <a:pt x="6311" y="17007"/>
                    <a:pt x="6302" y="17007"/>
                  </a:cubicBezTo>
                  <a:cubicBezTo>
                    <a:pt x="6302" y="17007"/>
                    <a:pt x="6302" y="17007"/>
                    <a:pt x="6302" y="17007"/>
                  </a:cubicBezTo>
                  <a:cubicBezTo>
                    <a:pt x="6302" y="17007"/>
                    <a:pt x="6300" y="17007"/>
                    <a:pt x="6299" y="17008"/>
                  </a:cubicBezTo>
                  <a:cubicBezTo>
                    <a:pt x="6294" y="17010"/>
                    <a:pt x="6250" y="17036"/>
                    <a:pt x="6241" y="17042"/>
                  </a:cubicBezTo>
                  <a:cubicBezTo>
                    <a:pt x="6053" y="17031"/>
                    <a:pt x="6053" y="17031"/>
                    <a:pt x="6053" y="17031"/>
                  </a:cubicBezTo>
                  <a:cubicBezTo>
                    <a:pt x="6054" y="16986"/>
                    <a:pt x="6054" y="16942"/>
                    <a:pt x="6054" y="16900"/>
                  </a:cubicBezTo>
                  <a:cubicBezTo>
                    <a:pt x="6054" y="16830"/>
                    <a:pt x="6053" y="16769"/>
                    <a:pt x="6052" y="16728"/>
                  </a:cubicBezTo>
                  <a:cubicBezTo>
                    <a:pt x="6054" y="16728"/>
                    <a:pt x="6056" y="16728"/>
                    <a:pt x="6058" y="16728"/>
                  </a:cubicBezTo>
                  <a:cubicBezTo>
                    <a:pt x="6100" y="16728"/>
                    <a:pt x="6164" y="16721"/>
                    <a:pt x="6220" y="16685"/>
                  </a:cubicBezTo>
                  <a:cubicBezTo>
                    <a:pt x="6523" y="16954"/>
                    <a:pt x="6523" y="16954"/>
                    <a:pt x="6523" y="16954"/>
                  </a:cubicBezTo>
                  <a:cubicBezTo>
                    <a:pt x="6523" y="16955"/>
                    <a:pt x="6523" y="16955"/>
                    <a:pt x="6523" y="16955"/>
                  </a:cubicBezTo>
                  <a:cubicBezTo>
                    <a:pt x="6523" y="16958"/>
                    <a:pt x="6522" y="16962"/>
                    <a:pt x="6521" y="16966"/>
                  </a:cubicBezTo>
                  <a:cubicBezTo>
                    <a:pt x="6519" y="16976"/>
                    <a:pt x="6516" y="16990"/>
                    <a:pt x="6513" y="17006"/>
                  </a:cubicBezTo>
                  <a:cubicBezTo>
                    <a:pt x="6510" y="17023"/>
                    <a:pt x="6506" y="17041"/>
                    <a:pt x="6503" y="17061"/>
                  </a:cubicBezTo>
                  <a:cubicBezTo>
                    <a:pt x="6501" y="17054"/>
                    <a:pt x="6501" y="17054"/>
                    <a:pt x="6501" y="17054"/>
                  </a:cubicBezTo>
                  <a:cubicBezTo>
                    <a:pt x="6502" y="17058"/>
                    <a:pt x="6502" y="17058"/>
                    <a:pt x="6502" y="17058"/>
                  </a:cubicBezTo>
                  <a:cubicBezTo>
                    <a:pt x="6502" y="17054"/>
                    <a:pt x="6502" y="17054"/>
                    <a:pt x="6502" y="17054"/>
                  </a:cubicBezTo>
                  <a:cubicBezTo>
                    <a:pt x="6502" y="17054"/>
                    <a:pt x="6502" y="17054"/>
                    <a:pt x="6502" y="17054"/>
                  </a:cubicBezTo>
                  <a:close/>
                  <a:moveTo>
                    <a:pt x="4730" y="15817"/>
                  </a:moveTo>
                  <a:cubicBezTo>
                    <a:pt x="4674" y="15519"/>
                    <a:pt x="4674" y="15519"/>
                    <a:pt x="4674" y="15519"/>
                  </a:cubicBezTo>
                  <a:cubicBezTo>
                    <a:pt x="4701" y="15503"/>
                    <a:pt x="4847" y="15413"/>
                    <a:pt x="4859" y="15402"/>
                  </a:cubicBezTo>
                  <a:cubicBezTo>
                    <a:pt x="4860" y="15401"/>
                    <a:pt x="4861" y="15403"/>
                    <a:pt x="4862" y="15397"/>
                  </a:cubicBezTo>
                  <a:cubicBezTo>
                    <a:pt x="4862" y="15395"/>
                    <a:pt x="4861" y="15392"/>
                    <a:pt x="4859" y="15391"/>
                  </a:cubicBezTo>
                  <a:cubicBezTo>
                    <a:pt x="4859" y="15390"/>
                    <a:pt x="4858" y="15389"/>
                    <a:pt x="4858" y="15387"/>
                  </a:cubicBezTo>
                  <a:cubicBezTo>
                    <a:pt x="4856" y="15384"/>
                    <a:pt x="4854" y="15378"/>
                    <a:pt x="4852" y="15371"/>
                  </a:cubicBezTo>
                  <a:cubicBezTo>
                    <a:pt x="4848" y="15356"/>
                    <a:pt x="4843" y="15337"/>
                    <a:pt x="4838" y="15318"/>
                  </a:cubicBezTo>
                  <a:cubicBezTo>
                    <a:pt x="4828" y="15281"/>
                    <a:pt x="4819" y="15244"/>
                    <a:pt x="4819" y="15242"/>
                  </a:cubicBezTo>
                  <a:cubicBezTo>
                    <a:pt x="4948" y="15169"/>
                    <a:pt x="5053" y="15112"/>
                    <a:pt x="5054" y="15111"/>
                  </a:cubicBezTo>
                  <a:cubicBezTo>
                    <a:pt x="5442" y="14833"/>
                    <a:pt x="5442" y="14833"/>
                    <a:pt x="5442" y="14833"/>
                  </a:cubicBezTo>
                  <a:cubicBezTo>
                    <a:pt x="5491" y="15177"/>
                    <a:pt x="5491" y="15177"/>
                    <a:pt x="5491" y="15177"/>
                  </a:cubicBezTo>
                  <a:cubicBezTo>
                    <a:pt x="5491" y="15549"/>
                    <a:pt x="5491" y="15549"/>
                    <a:pt x="5491" y="15549"/>
                  </a:cubicBezTo>
                  <a:cubicBezTo>
                    <a:pt x="5318" y="15601"/>
                    <a:pt x="5134" y="15656"/>
                    <a:pt x="5134" y="15656"/>
                  </a:cubicBezTo>
                  <a:cubicBezTo>
                    <a:pt x="5129" y="15658"/>
                    <a:pt x="5129" y="15658"/>
                    <a:pt x="5129" y="15658"/>
                  </a:cubicBezTo>
                  <a:cubicBezTo>
                    <a:pt x="5106" y="16094"/>
                    <a:pt x="5106" y="16094"/>
                    <a:pt x="5106" y="16094"/>
                  </a:cubicBezTo>
                  <a:cubicBezTo>
                    <a:pt x="4820" y="16096"/>
                    <a:pt x="4820" y="16096"/>
                    <a:pt x="4820" y="16096"/>
                  </a:cubicBezTo>
                  <a:cubicBezTo>
                    <a:pt x="4829" y="15838"/>
                    <a:pt x="4829" y="15838"/>
                    <a:pt x="4829" y="15838"/>
                  </a:cubicBezTo>
                  <a:lnTo>
                    <a:pt x="4730" y="15817"/>
                  </a:lnTo>
                  <a:close/>
                  <a:moveTo>
                    <a:pt x="4427" y="16959"/>
                  </a:moveTo>
                  <a:cubicBezTo>
                    <a:pt x="4430" y="16993"/>
                    <a:pt x="4430" y="17034"/>
                    <a:pt x="4432" y="17071"/>
                  </a:cubicBezTo>
                  <a:cubicBezTo>
                    <a:pt x="4432" y="17093"/>
                    <a:pt x="4433" y="17112"/>
                    <a:pt x="4435" y="17129"/>
                  </a:cubicBezTo>
                  <a:cubicBezTo>
                    <a:pt x="4378" y="17128"/>
                    <a:pt x="4324" y="17124"/>
                    <a:pt x="4279" y="17116"/>
                  </a:cubicBezTo>
                  <a:cubicBezTo>
                    <a:pt x="4211" y="17104"/>
                    <a:pt x="4149" y="17089"/>
                    <a:pt x="4105" y="17047"/>
                  </a:cubicBezTo>
                  <a:cubicBezTo>
                    <a:pt x="4062" y="17006"/>
                    <a:pt x="4028" y="16934"/>
                    <a:pt x="4028" y="16794"/>
                  </a:cubicBezTo>
                  <a:cubicBezTo>
                    <a:pt x="4028" y="16790"/>
                    <a:pt x="4028" y="16786"/>
                    <a:pt x="4028" y="16781"/>
                  </a:cubicBezTo>
                  <a:cubicBezTo>
                    <a:pt x="4030" y="16652"/>
                    <a:pt x="4044" y="16570"/>
                    <a:pt x="4059" y="16520"/>
                  </a:cubicBezTo>
                  <a:cubicBezTo>
                    <a:pt x="4074" y="16469"/>
                    <a:pt x="4088" y="16452"/>
                    <a:pt x="4094" y="16444"/>
                  </a:cubicBezTo>
                  <a:cubicBezTo>
                    <a:pt x="4095" y="16442"/>
                    <a:pt x="4096" y="16442"/>
                    <a:pt x="4098" y="16440"/>
                  </a:cubicBezTo>
                  <a:cubicBezTo>
                    <a:pt x="4098" y="16439"/>
                    <a:pt x="4098" y="16439"/>
                    <a:pt x="4098" y="16439"/>
                  </a:cubicBezTo>
                  <a:cubicBezTo>
                    <a:pt x="4101" y="16437"/>
                    <a:pt x="4105" y="16434"/>
                    <a:pt x="4111" y="16430"/>
                  </a:cubicBezTo>
                  <a:cubicBezTo>
                    <a:pt x="4122" y="16421"/>
                    <a:pt x="4138" y="16410"/>
                    <a:pt x="4156" y="16396"/>
                  </a:cubicBezTo>
                  <a:cubicBezTo>
                    <a:pt x="4194" y="16369"/>
                    <a:pt x="4244" y="16334"/>
                    <a:pt x="4293" y="16299"/>
                  </a:cubicBezTo>
                  <a:cubicBezTo>
                    <a:pt x="4355" y="16255"/>
                    <a:pt x="4416" y="16212"/>
                    <a:pt x="4454" y="16185"/>
                  </a:cubicBezTo>
                  <a:cubicBezTo>
                    <a:pt x="4460" y="16194"/>
                    <a:pt x="4467" y="16205"/>
                    <a:pt x="4474" y="16219"/>
                  </a:cubicBezTo>
                  <a:cubicBezTo>
                    <a:pt x="4493" y="16257"/>
                    <a:pt x="4513" y="16314"/>
                    <a:pt x="4513" y="16392"/>
                  </a:cubicBezTo>
                  <a:cubicBezTo>
                    <a:pt x="4513" y="16432"/>
                    <a:pt x="4508" y="16477"/>
                    <a:pt x="4494" y="16528"/>
                  </a:cubicBezTo>
                  <a:cubicBezTo>
                    <a:pt x="4439" y="16735"/>
                    <a:pt x="4424" y="16827"/>
                    <a:pt x="4424" y="16902"/>
                  </a:cubicBezTo>
                  <a:cubicBezTo>
                    <a:pt x="4424" y="16922"/>
                    <a:pt x="4425" y="16941"/>
                    <a:pt x="4427" y="16959"/>
                  </a:cubicBezTo>
                  <a:close/>
                  <a:moveTo>
                    <a:pt x="3964" y="16842"/>
                  </a:moveTo>
                  <a:cubicBezTo>
                    <a:pt x="3707" y="16886"/>
                    <a:pt x="3707" y="16886"/>
                    <a:pt x="3707" y="16886"/>
                  </a:cubicBezTo>
                  <a:cubicBezTo>
                    <a:pt x="3689" y="16555"/>
                    <a:pt x="3689" y="16555"/>
                    <a:pt x="3689" y="16555"/>
                  </a:cubicBezTo>
                  <a:cubicBezTo>
                    <a:pt x="3491" y="16428"/>
                    <a:pt x="3491" y="16428"/>
                    <a:pt x="3491" y="16428"/>
                  </a:cubicBezTo>
                  <a:cubicBezTo>
                    <a:pt x="3484" y="16440"/>
                    <a:pt x="3484" y="16440"/>
                    <a:pt x="3484" y="16440"/>
                  </a:cubicBezTo>
                  <a:cubicBezTo>
                    <a:pt x="3676" y="16563"/>
                    <a:pt x="3676" y="16563"/>
                    <a:pt x="3676" y="16563"/>
                  </a:cubicBezTo>
                  <a:cubicBezTo>
                    <a:pt x="3693" y="16889"/>
                    <a:pt x="3693" y="16889"/>
                    <a:pt x="3693" y="16889"/>
                  </a:cubicBezTo>
                  <a:cubicBezTo>
                    <a:pt x="3435" y="16933"/>
                    <a:pt x="3435" y="16933"/>
                    <a:pt x="3435" y="16933"/>
                  </a:cubicBezTo>
                  <a:cubicBezTo>
                    <a:pt x="3432" y="16913"/>
                    <a:pt x="3422" y="16851"/>
                    <a:pt x="3413" y="16785"/>
                  </a:cubicBezTo>
                  <a:cubicBezTo>
                    <a:pt x="3401" y="16708"/>
                    <a:pt x="3389" y="16625"/>
                    <a:pt x="3387" y="16609"/>
                  </a:cubicBezTo>
                  <a:cubicBezTo>
                    <a:pt x="3387" y="16609"/>
                    <a:pt x="3387" y="16608"/>
                    <a:pt x="3387" y="16608"/>
                  </a:cubicBezTo>
                  <a:cubicBezTo>
                    <a:pt x="3387" y="16607"/>
                    <a:pt x="3387" y="16606"/>
                    <a:pt x="3387" y="16605"/>
                  </a:cubicBezTo>
                  <a:cubicBezTo>
                    <a:pt x="3387" y="16605"/>
                    <a:pt x="3387" y="16605"/>
                    <a:pt x="3387" y="16605"/>
                  </a:cubicBezTo>
                  <a:cubicBezTo>
                    <a:pt x="3386" y="16603"/>
                    <a:pt x="3387" y="16602"/>
                    <a:pt x="3385" y="16599"/>
                  </a:cubicBezTo>
                  <a:cubicBezTo>
                    <a:pt x="3385" y="16598"/>
                    <a:pt x="3385" y="16597"/>
                    <a:pt x="3384" y="16597"/>
                  </a:cubicBezTo>
                  <a:cubicBezTo>
                    <a:pt x="3581" y="16270"/>
                    <a:pt x="3581" y="16270"/>
                    <a:pt x="3581" y="16270"/>
                  </a:cubicBezTo>
                  <a:cubicBezTo>
                    <a:pt x="3581" y="16270"/>
                    <a:pt x="3581" y="16270"/>
                    <a:pt x="3581" y="16270"/>
                  </a:cubicBezTo>
                  <a:cubicBezTo>
                    <a:pt x="3584" y="16272"/>
                    <a:pt x="3589" y="16274"/>
                    <a:pt x="3596" y="16276"/>
                  </a:cubicBezTo>
                  <a:cubicBezTo>
                    <a:pt x="3609" y="16280"/>
                    <a:pt x="3627" y="16286"/>
                    <a:pt x="3650" y="16293"/>
                  </a:cubicBezTo>
                  <a:cubicBezTo>
                    <a:pt x="3694" y="16307"/>
                    <a:pt x="3753" y="16326"/>
                    <a:pt x="3812" y="16344"/>
                  </a:cubicBezTo>
                  <a:cubicBezTo>
                    <a:pt x="3907" y="16374"/>
                    <a:pt x="4001" y="16403"/>
                    <a:pt x="4035" y="16413"/>
                  </a:cubicBezTo>
                  <a:cubicBezTo>
                    <a:pt x="4034" y="16415"/>
                    <a:pt x="4033" y="16416"/>
                    <a:pt x="4032" y="16418"/>
                  </a:cubicBezTo>
                  <a:cubicBezTo>
                    <a:pt x="4024" y="16431"/>
                    <a:pt x="4013" y="16450"/>
                    <a:pt x="4003" y="16478"/>
                  </a:cubicBezTo>
                  <a:cubicBezTo>
                    <a:pt x="3983" y="16535"/>
                    <a:pt x="3965" y="16627"/>
                    <a:pt x="3963" y="16781"/>
                  </a:cubicBezTo>
                  <a:cubicBezTo>
                    <a:pt x="3963" y="16785"/>
                    <a:pt x="3963" y="16789"/>
                    <a:pt x="3963" y="16794"/>
                  </a:cubicBezTo>
                  <a:cubicBezTo>
                    <a:pt x="3962" y="16811"/>
                    <a:pt x="3963" y="16827"/>
                    <a:pt x="3964" y="16842"/>
                  </a:cubicBezTo>
                  <a:close/>
                  <a:moveTo>
                    <a:pt x="3177" y="16812"/>
                  </a:moveTo>
                  <a:cubicBezTo>
                    <a:pt x="3274" y="16799"/>
                    <a:pt x="3274" y="16799"/>
                    <a:pt x="3274" y="16799"/>
                  </a:cubicBezTo>
                  <a:cubicBezTo>
                    <a:pt x="3276" y="16816"/>
                    <a:pt x="3280" y="16861"/>
                    <a:pt x="3283" y="16889"/>
                  </a:cubicBezTo>
                  <a:cubicBezTo>
                    <a:pt x="3284" y="16895"/>
                    <a:pt x="3284" y="16900"/>
                    <a:pt x="3285" y="16904"/>
                  </a:cubicBezTo>
                  <a:cubicBezTo>
                    <a:pt x="3282" y="16905"/>
                    <a:pt x="3278" y="16905"/>
                    <a:pt x="3273" y="16906"/>
                  </a:cubicBezTo>
                  <a:cubicBezTo>
                    <a:pt x="3262" y="16907"/>
                    <a:pt x="3245" y="16910"/>
                    <a:pt x="3224" y="16913"/>
                  </a:cubicBezTo>
                  <a:cubicBezTo>
                    <a:pt x="3210" y="16915"/>
                    <a:pt x="3194" y="16917"/>
                    <a:pt x="3177" y="16919"/>
                  </a:cubicBezTo>
                  <a:cubicBezTo>
                    <a:pt x="3177" y="16905"/>
                    <a:pt x="3177" y="16890"/>
                    <a:pt x="3177" y="16874"/>
                  </a:cubicBezTo>
                  <a:cubicBezTo>
                    <a:pt x="3177" y="16854"/>
                    <a:pt x="3177" y="16833"/>
                    <a:pt x="3177" y="16812"/>
                  </a:cubicBezTo>
                  <a:close/>
                  <a:moveTo>
                    <a:pt x="3177" y="16932"/>
                  </a:moveTo>
                  <a:cubicBezTo>
                    <a:pt x="3239" y="16924"/>
                    <a:pt x="3287" y="16917"/>
                    <a:pt x="3294" y="16916"/>
                  </a:cubicBezTo>
                  <a:cubicBezTo>
                    <a:pt x="3294" y="16916"/>
                    <a:pt x="3294" y="16916"/>
                    <a:pt x="3295" y="16916"/>
                  </a:cubicBezTo>
                  <a:cubicBezTo>
                    <a:pt x="3295" y="16916"/>
                    <a:pt x="3295" y="16916"/>
                    <a:pt x="3294" y="16916"/>
                  </a:cubicBezTo>
                  <a:cubicBezTo>
                    <a:pt x="3295" y="16916"/>
                    <a:pt x="3295" y="16916"/>
                    <a:pt x="3295" y="16916"/>
                  </a:cubicBezTo>
                  <a:cubicBezTo>
                    <a:pt x="3295" y="16916"/>
                    <a:pt x="3295" y="16916"/>
                    <a:pt x="3295" y="16916"/>
                  </a:cubicBezTo>
                  <a:cubicBezTo>
                    <a:pt x="3295" y="16916"/>
                    <a:pt x="3295" y="16916"/>
                    <a:pt x="3295" y="16916"/>
                  </a:cubicBezTo>
                  <a:cubicBezTo>
                    <a:pt x="3295" y="16916"/>
                    <a:pt x="3295" y="16916"/>
                    <a:pt x="3295" y="16916"/>
                  </a:cubicBezTo>
                  <a:cubicBezTo>
                    <a:pt x="3296" y="16915"/>
                    <a:pt x="3297" y="16915"/>
                    <a:pt x="3297" y="16915"/>
                  </a:cubicBezTo>
                  <a:cubicBezTo>
                    <a:pt x="3298" y="16914"/>
                    <a:pt x="3298" y="16914"/>
                    <a:pt x="3299" y="16913"/>
                  </a:cubicBezTo>
                  <a:cubicBezTo>
                    <a:pt x="3299" y="16912"/>
                    <a:pt x="3300" y="16911"/>
                    <a:pt x="3299" y="16911"/>
                  </a:cubicBezTo>
                  <a:cubicBezTo>
                    <a:pt x="3300" y="16910"/>
                    <a:pt x="3300" y="16908"/>
                    <a:pt x="3299" y="16906"/>
                  </a:cubicBezTo>
                  <a:cubicBezTo>
                    <a:pt x="3299" y="16906"/>
                    <a:pt x="3299" y="16906"/>
                    <a:pt x="3298" y="16906"/>
                  </a:cubicBezTo>
                  <a:cubicBezTo>
                    <a:pt x="3298" y="16905"/>
                    <a:pt x="3298" y="16904"/>
                    <a:pt x="3298" y="16903"/>
                  </a:cubicBezTo>
                  <a:cubicBezTo>
                    <a:pt x="3297" y="16900"/>
                    <a:pt x="3297" y="16896"/>
                    <a:pt x="3296" y="16890"/>
                  </a:cubicBezTo>
                  <a:cubicBezTo>
                    <a:pt x="3295" y="16879"/>
                    <a:pt x="3293" y="16865"/>
                    <a:pt x="3292" y="16850"/>
                  </a:cubicBezTo>
                  <a:cubicBezTo>
                    <a:pt x="3289" y="16821"/>
                    <a:pt x="3287" y="16791"/>
                    <a:pt x="3287" y="16791"/>
                  </a:cubicBezTo>
                  <a:cubicBezTo>
                    <a:pt x="3286" y="16784"/>
                    <a:pt x="3286" y="16784"/>
                    <a:pt x="3286" y="16784"/>
                  </a:cubicBezTo>
                  <a:cubicBezTo>
                    <a:pt x="3177" y="16799"/>
                    <a:pt x="3177" y="16799"/>
                    <a:pt x="3177" y="16799"/>
                  </a:cubicBezTo>
                  <a:cubicBezTo>
                    <a:pt x="3177" y="16741"/>
                    <a:pt x="3176" y="16686"/>
                    <a:pt x="3175" y="16660"/>
                  </a:cubicBezTo>
                  <a:cubicBezTo>
                    <a:pt x="3250" y="16651"/>
                    <a:pt x="3312" y="16642"/>
                    <a:pt x="3345" y="16636"/>
                  </a:cubicBezTo>
                  <a:cubicBezTo>
                    <a:pt x="3346" y="16645"/>
                    <a:pt x="3348" y="16657"/>
                    <a:pt x="3350" y="16669"/>
                  </a:cubicBezTo>
                  <a:cubicBezTo>
                    <a:pt x="3354" y="16701"/>
                    <a:pt x="3361" y="16743"/>
                    <a:pt x="3367" y="16784"/>
                  </a:cubicBezTo>
                  <a:cubicBezTo>
                    <a:pt x="3377" y="16853"/>
                    <a:pt x="3387" y="16921"/>
                    <a:pt x="3390" y="16941"/>
                  </a:cubicBezTo>
                  <a:cubicBezTo>
                    <a:pt x="3177" y="16978"/>
                    <a:pt x="3177" y="16978"/>
                    <a:pt x="3177" y="16978"/>
                  </a:cubicBezTo>
                  <a:cubicBezTo>
                    <a:pt x="3177" y="16966"/>
                    <a:pt x="3177" y="16951"/>
                    <a:pt x="3177" y="16932"/>
                  </a:cubicBezTo>
                  <a:close/>
                  <a:moveTo>
                    <a:pt x="2556" y="16817"/>
                  </a:moveTo>
                  <a:cubicBezTo>
                    <a:pt x="2557" y="16921"/>
                    <a:pt x="2557" y="16921"/>
                    <a:pt x="2557" y="16921"/>
                  </a:cubicBezTo>
                  <a:cubicBezTo>
                    <a:pt x="2452" y="16910"/>
                    <a:pt x="2452" y="16910"/>
                    <a:pt x="2452" y="16910"/>
                  </a:cubicBezTo>
                  <a:cubicBezTo>
                    <a:pt x="2451" y="16809"/>
                    <a:pt x="2451" y="16809"/>
                    <a:pt x="2451" y="16809"/>
                  </a:cubicBezTo>
                  <a:cubicBezTo>
                    <a:pt x="2492" y="16812"/>
                    <a:pt x="2530" y="16815"/>
                    <a:pt x="2556" y="16817"/>
                  </a:cubicBezTo>
                  <a:close/>
                  <a:moveTo>
                    <a:pt x="2451" y="16795"/>
                  </a:moveTo>
                  <a:cubicBezTo>
                    <a:pt x="2451" y="16768"/>
                    <a:pt x="2451" y="16768"/>
                    <a:pt x="2451" y="16768"/>
                  </a:cubicBezTo>
                  <a:cubicBezTo>
                    <a:pt x="2555" y="16766"/>
                    <a:pt x="2555" y="16766"/>
                    <a:pt x="2555" y="16766"/>
                  </a:cubicBezTo>
                  <a:cubicBezTo>
                    <a:pt x="2556" y="16803"/>
                    <a:pt x="2556" y="16803"/>
                    <a:pt x="2556" y="16803"/>
                  </a:cubicBezTo>
                  <a:cubicBezTo>
                    <a:pt x="2530" y="16801"/>
                    <a:pt x="2492" y="16799"/>
                    <a:pt x="2451" y="16795"/>
                  </a:cubicBezTo>
                  <a:close/>
                  <a:moveTo>
                    <a:pt x="2557" y="16935"/>
                  </a:moveTo>
                  <a:cubicBezTo>
                    <a:pt x="2559" y="17038"/>
                    <a:pt x="2559" y="17038"/>
                    <a:pt x="2559" y="17038"/>
                  </a:cubicBezTo>
                  <a:cubicBezTo>
                    <a:pt x="2452" y="17031"/>
                    <a:pt x="2452" y="17031"/>
                    <a:pt x="2452" y="17031"/>
                  </a:cubicBezTo>
                  <a:cubicBezTo>
                    <a:pt x="2452" y="16924"/>
                    <a:pt x="2452" y="16924"/>
                    <a:pt x="2452" y="16924"/>
                  </a:cubicBezTo>
                  <a:lnTo>
                    <a:pt x="2557" y="16935"/>
                  </a:lnTo>
                  <a:close/>
                  <a:moveTo>
                    <a:pt x="2559" y="17052"/>
                  </a:moveTo>
                  <a:cubicBezTo>
                    <a:pt x="2561" y="17222"/>
                    <a:pt x="2561" y="17222"/>
                    <a:pt x="2561" y="17222"/>
                  </a:cubicBezTo>
                  <a:cubicBezTo>
                    <a:pt x="2453" y="17205"/>
                    <a:pt x="2453" y="17205"/>
                    <a:pt x="2453" y="17205"/>
                  </a:cubicBezTo>
                  <a:cubicBezTo>
                    <a:pt x="2452" y="17045"/>
                    <a:pt x="2452" y="17045"/>
                    <a:pt x="2452" y="17045"/>
                  </a:cubicBezTo>
                  <a:lnTo>
                    <a:pt x="2559" y="17052"/>
                  </a:lnTo>
                  <a:close/>
                  <a:moveTo>
                    <a:pt x="2561" y="17237"/>
                  </a:moveTo>
                  <a:cubicBezTo>
                    <a:pt x="2562" y="17328"/>
                    <a:pt x="2562" y="17328"/>
                    <a:pt x="2562" y="17328"/>
                  </a:cubicBezTo>
                  <a:cubicBezTo>
                    <a:pt x="2454" y="17332"/>
                    <a:pt x="2454" y="17332"/>
                    <a:pt x="2454" y="17332"/>
                  </a:cubicBezTo>
                  <a:cubicBezTo>
                    <a:pt x="2453" y="17219"/>
                    <a:pt x="2453" y="17219"/>
                    <a:pt x="2453" y="17219"/>
                  </a:cubicBezTo>
                  <a:lnTo>
                    <a:pt x="2561" y="17237"/>
                  </a:lnTo>
                  <a:close/>
                  <a:moveTo>
                    <a:pt x="2438" y="16755"/>
                  </a:moveTo>
                  <a:cubicBezTo>
                    <a:pt x="2438" y="16794"/>
                    <a:pt x="2438" y="16794"/>
                    <a:pt x="2438" y="16794"/>
                  </a:cubicBezTo>
                  <a:cubicBezTo>
                    <a:pt x="2348" y="16787"/>
                    <a:pt x="2250" y="16780"/>
                    <a:pt x="2232" y="16779"/>
                  </a:cubicBezTo>
                  <a:cubicBezTo>
                    <a:pt x="2238" y="16702"/>
                    <a:pt x="2238" y="16702"/>
                    <a:pt x="2238" y="16702"/>
                  </a:cubicBezTo>
                  <a:cubicBezTo>
                    <a:pt x="2294" y="16723"/>
                    <a:pt x="2379" y="16731"/>
                    <a:pt x="2457" y="16737"/>
                  </a:cubicBezTo>
                  <a:cubicBezTo>
                    <a:pt x="2503" y="16740"/>
                    <a:pt x="2545" y="16741"/>
                    <a:pt x="2572" y="16741"/>
                  </a:cubicBezTo>
                  <a:cubicBezTo>
                    <a:pt x="2572" y="16763"/>
                    <a:pt x="2573" y="16783"/>
                    <a:pt x="2573" y="16805"/>
                  </a:cubicBezTo>
                  <a:cubicBezTo>
                    <a:pt x="2572" y="16805"/>
                    <a:pt x="2570" y="16804"/>
                    <a:pt x="2569" y="16804"/>
                  </a:cubicBezTo>
                  <a:cubicBezTo>
                    <a:pt x="2569" y="16759"/>
                    <a:pt x="2569" y="16759"/>
                    <a:pt x="2569" y="16759"/>
                  </a:cubicBezTo>
                  <a:cubicBezTo>
                    <a:pt x="2568" y="16753"/>
                    <a:pt x="2568" y="16753"/>
                    <a:pt x="2568" y="16753"/>
                  </a:cubicBezTo>
                  <a:lnTo>
                    <a:pt x="2438" y="16755"/>
                  </a:lnTo>
                  <a:close/>
                  <a:moveTo>
                    <a:pt x="2186" y="17174"/>
                  </a:moveTo>
                  <a:cubicBezTo>
                    <a:pt x="2174" y="17317"/>
                    <a:pt x="2174" y="17317"/>
                    <a:pt x="2174" y="17317"/>
                  </a:cubicBezTo>
                  <a:cubicBezTo>
                    <a:pt x="1913" y="17270"/>
                    <a:pt x="1913" y="17270"/>
                    <a:pt x="1913" y="17270"/>
                  </a:cubicBezTo>
                  <a:cubicBezTo>
                    <a:pt x="1913" y="17269"/>
                    <a:pt x="1912" y="17268"/>
                    <a:pt x="1911" y="17266"/>
                  </a:cubicBezTo>
                  <a:cubicBezTo>
                    <a:pt x="1909" y="17260"/>
                    <a:pt x="1906" y="17250"/>
                    <a:pt x="1903" y="17238"/>
                  </a:cubicBezTo>
                  <a:cubicBezTo>
                    <a:pt x="1895" y="17215"/>
                    <a:pt x="1885" y="17183"/>
                    <a:pt x="1870" y="17153"/>
                  </a:cubicBezTo>
                  <a:cubicBezTo>
                    <a:pt x="1861" y="17135"/>
                    <a:pt x="1850" y="17120"/>
                    <a:pt x="1838" y="17106"/>
                  </a:cubicBezTo>
                  <a:cubicBezTo>
                    <a:pt x="1849" y="17095"/>
                    <a:pt x="1867" y="17077"/>
                    <a:pt x="1886" y="17058"/>
                  </a:cubicBezTo>
                  <a:cubicBezTo>
                    <a:pt x="1913" y="17031"/>
                    <a:pt x="1943" y="17002"/>
                    <a:pt x="1952" y="16995"/>
                  </a:cubicBezTo>
                  <a:cubicBezTo>
                    <a:pt x="1954" y="16994"/>
                    <a:pt x="1954" y="16994"/>
                    <a:pt x="1954" y="16994"/>
                  </a:cubicBezTo>
                  <a:cubicBezTo>
                    <a:pt x="1957" y="16993"/>
                    <a:pt x="1957" y="16992"/>
                    <a:pt x="1957" y="16991"/>
                  </a:cubicBezTo>
                  <a:cubicBezTo>
                    <a:pt x="1958" y="16991"/>
                    <a:pt x="1958" y="16990"/>
                    <a:pt x="1958" y="16990"/>
                  </a:cubicBezTo>
                  <a:cubicBezTo>
                    <a:pt x="1959" y="16989"/>
                    <a:pt x="1959" y="16987"/>
                    <a:pt x="1960" y="16986"/>
                  </a:cubicBezTo>
                  <a:cubicBezTo>
                    <a:pt x="1961" y="16983"/>
                    <a:pt x="1963" y="16978"/>
                    <a:pt x="1965" y="16973"/>
                  </a:cubicBezTo>
                  <a:cubicBezTo>
                    <a:pt x="1969" y="16962"/>
                    <a:pt x="1974" y="16946"/>
                    <a:pt x="1980" y="16927"/>
                  </a:cubicBezTo>
                  <a:cubicBezTo>
                    <a:pt x="1992" y="16889"/>
                    <a:pt x="2007" y="16838"/>
                    <a:pt x="2023" y="16787"/>
                  </a:cubicBezTo>
                  <a:cubicBezTo>
                    <a:pt x="2046" y="16711"/>
                    <a:pt x="2070" y="16633"/>
                    <a:pt x="2082" y="16595"/>
                  </a:cubicBezTo>
                  <a:cubicBezTo>
                    <a:pt x="2130" y="16636"/>
                    <a:pt x="2180" y="16674"/>
                    <a:pt x="2224" y="16696"/>
                  </a:cubicBezTo>
                  <a:cubicBezTo>
                    <a:pt x="2187" y="17161"/>
                    <a:pt x="2187" y="17161"/>
                    <a:pt x="2187" y="17161"/>
                  </a:cubicBezTo>
                  <a:cubicBezTo>
                    <a:pt x="2187" y="17160"/>
                    <a:pt x="2187" y="17160"/>
                    <a:pt x="2187" y="17160"/>
                  </a:cubicBezTo>
                  <a:cubicBezTo>
                    <a:pt x="2185" y="17174"/>
                    <a:pt x="2185" y="17174"/>
                    <a:pt x="2185" y="17174"/>
                  </a:cubicBezTo>
                  <a:lnTo>
                    <a:pt x="2186" y="17174"/>
                  </a:lnTo>
                  <a:close/>
                  <a:moveTo>
                    <a:pt x="1354" y="16635"/>
                  </a:moveTo>
                  <a:cubicBezTo>
                    <a:pt x="1354" y="16635"/>
                    <a:pt x="1304" y="16596"/>
                    <a:pt x="1252" y="16554"/>
                  </a:cubicBezTo>
                  <a:cubicBezTo>
                    <a:pt x="1205" y="16516"/>
                    <a:pt x="1155" y="16475"/>
                    <a:pt x="1144" y="16463"/>
                  </a:cubicBezTo>
                  <a:cubicBezTo>
                    <a:pt x="1145" y="16461"/>
                    <a:pt x="1146" y="16460"/>
                    <a:pt x="1147" y="16458"/>
                  </a:cubicBezTo>
                  <a:cubicBezTo>
                    <a:pt x="1151" y="16454"/>
                    <a:pt x="1155" y="16448"/>
                    <a:pt x="1159" y="16441"/>
                  </a:cubicBezTo>
                  <a:cubicBezTo>
                    <a:pt x="1169" y="16426"/>
                    <a:pt x="1181" y="16408"/>
                    <a:pt x="1193" y="16389"/>
                  </a:cubicBezTo>
                  <a:cubicBezTo>
                    <a:pt x="1211" y="16360"/>
                    <a:pt x="1228" y="16332"/>
                    <a:pt x="1235" y="16320"/>
                  </a:cubicBezTo>
                  <a:cubicBezTo>
                    <a:pt x="1317" y="16357"/>
                    <a:pt x="1317" y="16357"/>
                    <a:pt x="1317" y="16357"/>
                  </a:cubicBezTo>
                  <a:cubicBezTo>
                    <a:pt x="1320" y="16353"/>
                    <a:pt x="1320" y="16353"/>
                    <a:pt x="1320" y="16353"/>
                  </a:cubicBezTo>
                  <a:cubicBezTo>
                    <a:pt x="1320" y="16353"/>
                    <a:pt x="1497" y="16144"/>
                    <a:pt x="1537" y="16089"/>
                  </a:cubicBezTo>
                  <a:cubicBezTo>
                    <a:pt x="1570" y="16120"/>
                    <a:pt x="1626" y="16173"/>
                    <a:pt x="1686" y="16230"/>
                  </a:cubicBezTo>
                  <a:cubicBezTo>
                    <a:pt x="1318" y="16682"/>
                    <a:pt x="1318" y="16682"/>
                    <a:pt x="1318" y="16682"/>
                  </a:cubicBezTo>
                  <a:cubicBezTo>
                    <a:pt x="1312" y="16688"/>
                    <a:pt x="1298" y="16702"/>
                    <a:pt x="1289" y="16724"/>
                  </a:cubicBezTo>
                  <a:cubicBezTo>
                    <a:pt x="978" y="16692"/>
                    <a:pt x="978" y="16692"/>
                    <a:pt x="978" y="16692"/>
                  </a:cubicBezTo>
                  <a:cubicBezTo>
                    <a:pt x="980" y="16692"/>
                    <a:pt x="980" y="16692"/>
                    <a:pt x="980" y="16692"/>
                  </a:cubicBezTo>
                  <a:cubicBezTo>
                    <a:pt x="944" y="16485"/>
                    <a:pt x="944" y="16485"/>
                    <a:pt x="944" y="16485"/>
                  </a:cubicBezTo>
                  <a:cubicBezTo>
                    <a:pt x="990" y="16481"/>
                    <a:pt x="1035" y="16478"/>
                    <a:pt x="1070" y="16475"/>
                  </a:cubicBezTo>
                  <a:cubicBezTo>
                    <a:pt x="1100" y="16472"/>
                    <a:pt x="1121" y="16470"/>
                    <a:pt x="1131" y="16469"/>
                  </a:cubicBezTo>
                  <a:cubicBezTo>
                    <a:pt x="1131" y="16469"/>
                    <a:pt x="1132" y="16470"/>
                    <a:pt x="1132" y="16470"/>
                  </a:cubicBezTo>
                  <a:cubicBezTo>
                    <a:pt x="1134" y="16472"/>
                    <a:pt x="1136" y="16475"/>
                    <a:pt x="1139" y="16478"/>
                  </a:cubicBezTo>
                  <a:cubicBezTo>
                    <a:pt x="1145" y="16484"/>
                    <a:pt x="1154" y="16491"/>
                    <a:pt x="1164" y="16500"/>
                  </a:cubicBezTo>
                  <a:cubicBezTo>
                    <a:pt x="1184" y="16517"/>
                    <a:pt x="1211" y="16539"/>
                    <a:pt x="1238" y="16561"/>
                  </a:cubicBezTo>
                  <a:cubicBezTo>
                    <a:pt x="1292" y="16604"/>
                    <a:pt x="1346" y="16646"/>
                    <a:pt x="1346" y="16646"/>
                  </a:cubicBezTo>
                  <a:cubicBezTo>
                    <a:pt x="1346" y="16646"/>
                    <a:pt x="1346" y="16646"/>
                    <a:pt x="1346" y="16646"/>
                  </a:cubicBezTo>
                  <a:lnTo>
                    <a:pt x="1354" y="16635"/>
                  </a:lnTo>
                  <a:close/>
                  <a:moveTo>
                    <a:pt x="1048" y="15537"/>
                  </a:moveTo>
                  <a:cubicBezTo>
                    <a:pt x="982" y="15487"/>
                    <a:pt x="906" y="15448"/>
                    <a:pt x="864" y="15429"/>
                  </a:cubicBezTo>
                  <a:cubicBezTo>
                    <a:pt x="759" y="15383"/>
                    <a:pt x="494" y="15351"/>
                    <a:pt x="403" y="15324"/>
                  </a:cubicBezTo>
                  <a:cubicBezTo>
                    <a:pt x="383" y="15318"/>
                    <a:pt x="372" y="15292"/>
                    <a:pt x="372" y="15248"/>
                  </a:cubicBezTo>
                  <a:cubicBezTo>
                    <a:pt x="372" y="15246"/>
                    <a:pt x="372" y="15244"/>
                    <a:pt x="372" y="15242"/>
                  </a:cubicBezTo>
                  <a:cubicBezTo>
                    <a:pt x="470" y="15114"/>
                    <a:pt x="562" y="14993"/>
                    <a:pt x="583" y="14963"/>
                  </a:cubicBezTo>
                  <a:cubicBezTo>
                    <a:pt x="590" y="14953"/>
                    <a:pt x="597" y="14941"/>
                    <a:pt x="604" y="14929"/>
                  </a:cubicBezTo>
                  <a:cubicBezTo>
                    <a:pt x="760" y="15034"/>
                    <a:pt x="760" y="15034"/>
                    <a:pt x="760" y="15034"/>
                  </a:cubicBezTo>
                  <a:cubicBezTo>
                    <a:pt x="692" y="15304"/>
                    <a:pt x="692" y="15304"/>
                    <a:pt x="692" y="15304"/>
                  </a:cubicBezTo>
                  <a:cubicBezTo>
                    <a:pt x="905" y="15389"/>
                    <a:pt x="905" y="15389"/>
                    <a:pt x="905" y="15389"/>
                  </a:cubicBezTo>
                  <a:cubicBezTo>
                    <a:pt x="923" y="15321"/>
                    <a:pt x="923" y="15321"/>
                    <a:pt x="923" y="15321"/>
                  </a:cubicBezTo>
                  <a:cubicBezTo>
                    <a:pt x="1374" y="15720"/>
                    <a:pt x="1374" y="15720"/>
                    <a:pt x="1374" y="15720"/>
                  </a:cubicBezTo>
                  <a:cubicBezTo>
                    <a:pt x="1310" y="15798"/>
                    <a:pt x="1310" y="15798"/>
                    <a:pt x="1310" y="15798"/>
                  </a:cubicBezTo>
                  <a:cubicBezTo>
                    <a:pt x="1308" y="15796"/>
                    <a:pt x="1306" y="15795"/>
                    <a:pt x="1305" y="15793"/>
                  </a:cubicBezTo>
                  <a:cubicBezTo>
                    <a:pt x="1276" y="15769"/>
                    <a:pt x="1269" y="15755"/>
                    <a:pt x="1269" y="15755"/>
                  </a:cubicBezTo>
                  <a:cubicBezTo>
                    <a:pt x="1261" y="15753"/>
                    <a:pt x="1261" y="15753"/>
                    <a:pt x="1261" y="15753"/>
                  </a:cubicBezTo>
                  <a:cubicBezTo>
                    <a:pt x="1248" y="15741"/>
                    <a:pt x="1218" y="15714"/>
                    <a:pt x="1182" y="15684"/>
                  </a:cubicBezTo>
                  <a:cubicBezTo>
                    <a:pt x="1177" y="15679"/>
                    <a:pt x="1171" y="15675"/>
                    <a:pt x="1165" y="15670"/>
                  </a:cubicBezTo>
                  <a:cubicBezTo>
                    <a:pt x="1148" y="15622"/>
                    <a:pt x="1101" y="15577"/>
                    <a:pt x="1048" y="15537"/>
                  </a:cubicBezTo>
                  <a:close/>
                  <a:moveTo>
                    <a:pt x="1110" y="15626"/>
                  </a:moveTo>
                  <a:cubicBezTo>
                    <a:pt x="1081" y="15604"/>
                    <a:pt x="1052" y="15584"/>
                    <a:pt x="1026" y="15571"/>
                  </a:cubicBezTo>
                  <a:cubicBezTo>
                    <a:pt x="944" y="15528"/>
                    <a:pt x="875" y="15490"/>
                    <a:pt x="763" y="15459"/>
                  </a:cubicBezTo>
                  <a:cubicBezTo>
                    <a:pt x="655" y="15429"/>
                    <a:pt x="513" y="15394"/>
                    <a:pt x="395" y="15378"/>
                  </a:cubicBezTo>
                  <a:cubicBezTo>
                    <a:pt x="346" y="15371"/>
                    <a:pt x="307" y="15366"/>
                    <a:pt x="279" y="15362"/>
                  </a:cubicBezTo>
                  <a:cubicBezTo>
                    <a:pt x="302" y="15333"/>
                    <a:pt x="325" y="15303"/>
                    <a:pt x="349" y="15272"/>
                  </a:cubicBezTo>
                  <a:cubicBezTo>
                    <a:pt x="352" y="15308"/>
                    <a:pt x="365" y="15337"/>
                    <a:pt x="396" y="15347"/>
                  </a:cubicBezTo>
                  <a:cubicBezTo>
                    <a:pt x="491" y="15375"/>
                    <a:pt x="756" y="15408"/>
                    <a:pt x="854" y="15451"/>
                  </a:cubicBezTo>
                  <a:cubicBezTo>
                    <a:pt x="894" y="15469"/>
                    <a:pt x="969" y="15509"/>
                    <a:pt x="1033" y="15556"/>
                  </a:cubicBezTo>
                  <a:cubicBezTo>
                    <a:pt x="1063" y="15578"/>
                    <a:pt x="1090" y="15602"/>
                    <a:pt x="1110" y="15626"/>
                  </a:cubicBezTo>
                  <a:close/>
                  <a:moveTo>
                    <a:pt x="292" y="13052"/>
                  </a:moveTo>
                  <a:cubicBezTo>
                    <a:pt x="294" y="13043"/>
                    <a:pt x="295" y="13034"/>
                    <a:pt x="297" y="13025"/>
                  </a:cubicBezTo>
                  <a:cubicBezTo>
                    <a:pt x="301" y="13002"/>
                    <a:pt x="303" y="12980"/>
                    <a:pt x="303" y="12959"/>
                  </a:cubicBezTo>
                  <a:cubicBezTo>
                    <a:pt x="303" y="12897"/>
                    <a:pt x="287" y="12841"/>
                    <a:pt x="267" y="12795"/>
                  </a:cubicBezTo>
                  <a:cubicBezTo>
                    <a:pt x="297" y="12789"/>
                    <a:pt x="341" y="12778"/>
                    <a:pt x="385" y="12768"/>
                  </a:cubicBezTo>
                  <a:cubicBezTo>
                    <a:pt x="448" y="12754"/>
                    <a:pt x="513" y="12739"/>
                    <a:pt x="535" y="12734"/>
                  </a:cubicBezTo>
                  <a:cubicBezTo>
                    <a:pt x="546" y="12753"/>
                    <a:pt x="555" y="12769"/>
                    <a:pt x="563" y="12783"/>
                  </a:cubicBezTo>
                  <a:cubicBezTo>
                    <a:pt x="606" y="12869"/>
                    <a:pt x="614" y="12915"/>
                    <a:pt x="617" y="12959"/>
                  </a:cubicBezTo>
                  <a:cubicBezTo>
                    <a:pt x="617" y="12964"/>
                    <a:pt x="617" y="12973"/>
                    <a:pt x="617" y="12986"/>
                  </a:cubicBezTo>
                  <a:cubicBezTo>
                    <a:pt x="617" y="13020"/>
                    <a:pt x="616" y="13078"/>
                    <a:pt x="614" y="13139"/>
                  </a:cubicBezTo>
                  <a:lnTo>
                    <a:pt x="292" y="13052"/>
                  </a:lnTo>
                  <a:close/>
                  <a:moveTo>
                    <a:pt x="613" y="13153"/>
                  </a:moveTo>
                  <a:cubicBezTo>
                    <a:pt x="613" y="13163"/>
                    <a:pt x="612" y="13174"/>
                    <a:pt x="612" y="13185"/>
                  </a:cubicBezTo>
                  <a:cubicBezTo>
                    <a:pt x="608" y="13260"/>
                    <a:pt x="602" y="13335"/>
                    <a:pt x="595" y="13363"/>
                  </a:cubicBezTo>
                  <a:cubicBezTo>
                    <a:pt x="592" y="13378"/>
                    <a:pt x="588" y="13395"/>
                    <a:pt x="584" y="13414"/>
                  </a:cubicBezTo>
                  <a:cubicBezTo>
                    <a:pt x="575" y="13411"/>
                    <a:pt x="565" y="13407"/>
                    <a:pt x="553" y="13403"/>
                  </a:cubicBezTo>
                  <a:cubicBezTo>
                    <a:pt x="520" y="13391"/>
                    <a:pt x="478" y="13376"/>
                    <a:pt x="436" y="13361"/>
                  </a:cubicBezTo>
                  <a:cubicBezTo>
                    <a:pt x="369" y="13337"/>
                    <a:pt x="303" y="13312"/>
                    <a:pt x="274" y="13302"/>
                  </a:cubicBezTo>
                  <a:cubicBezTo>
                    <a:pt x="274" y="13298"/>
                    <a:pt x="274" y="13298"/>
                    <a:pt x="274" y="13298"/>
                  </a:cubicBezTo>
                  <a:cubicBezTo>
                    <a:pt x="274" y="13273"/>
                    <a:pt x="275" y="13170"/>
                    <a:pt x="290" y="13066"/>
                  </a:cubicBezTo>
                  <a:lnTo>
                    <a:pt x="613" y="13153"/>
                  </a:lnTo>
                  <a:close/>
                  <a:moveTo>
                    <a:pt x="636" y="7199"/>
                  </a:moveTo>
                  <a:cubicBezTo>
                    <a:pt x="637" y="7199"/>
                    <a:pt x="638" y="7200"/>
                    <a:pt x="638" y="7201"/>
                  </a:cubicBezTo>
                  <a:cubicBezTo>
                    <a:pt x="760" y="7307"/>
                    <a:pt x="881" y="7413"/>
                    <a:pt x="921" y="7448"/>
                  </a:cubicBezTo>
                  <a:cubicBezTo>
                    <a:pt x="885" y="7535"/>
                    <a:pt x="885" y="7535"/>
                    <a:pt x="885" y="7535"/>
                  </a:cubicBezTo>
                  <a:cubicBezTo>
                    <a:pt x="857" y="7561"/>
                    <a:pt x="857" y="7561"/>
                    <a:pt x="857" y="7561"/>
                  </a:cubicBezTo>
                  <a:cubicBezTo>
                    <a:pt x="857" y="7560"/>
                    <a:pt x="857" y="7560"/>
                    <a:pt x="857" y="7560"/>
                  </a:cubicBezTo>
                  <a:cubicBezTo>
                    <a:pt x="855" y="7563"/>
                    <a:pt x="855" y="7563"/>
                    <a:pt x="855" y="7563"/>
                  </a:cubicBezTo>
                  <a:cubicBezTo>
                    <a:pt x="852" y="7565"/>
                    <a:pt x="852" y="7565"/>
                    <a:pt x="852" y="7565"/>
                  </a:cubicBezTo>
                  <a:cubicBezTo>
                    <a:pt x="852" y="7566"/>
                    <a:pt x="852" y="7566"/>
                    <a:pt x="852" y="7566"/>
                  </a:cubicBezTo>
                  <a:cubicBezTo>
                    <a:pt x="614" y="7819"/>
                    <a:pt x="614" y="7819"/>
                    <a:pt x="614" y="7819"/>
                  </a:cubicBezTo>
                  <a:cubicBezTo>
                    <a:pt x="367" y="7476"/>
                    <a:pt x="367" y="7476"/>
                    <a:pt x="367" y="7476"/>
                  </a:cubicBezTo>
                  <a:cubicBezTo>
                    <a:pt x="408" y="7433"/>
                    <a:pt x="520" y="7317"/>
                    <a:pt x="587" y="7250"/>
                  </a:cubicBezTo>
                  <a:cubicBezTo>
                    <a:pt x="615" y="7222"/>
                    <a:pt x="636" y="7202"/>
                    <a:pt x="638" y="7202"/>
                  </a:cubicBezTo>
                  <a:lnTo>
                    <a:pt x="636" y="7199"/>
                  </a:lnTo>
                  <a:close/>
                  <a:moveTo>
                    <a:pt x="424" y="5978"/>
                  </a:moveTo>
                  <a:cubicBezTo>
                    <a:pt x="476" y="5882"/>
                    <a:pt x="476" y="5882"/>
                    <a:pt x="476" y="5882"/>
                  </a:cubicBezTo>
                  <a:cubicBezTo>
                    <a:pt x="590" y="5947"/>
                    <a:pt x="590" y="5947"/>
                    <a:pt x="590" y="5947"/>
                  </a:cubicBezTo>
                  <a:cubicBezTo>
                    <a:pt x="538" y="6043"/>
                    <a:pt x="538" y="6043"/>
                    <a:pt x="538" y="6043"/>
                  </a:cubicBezTo>
                  <a:lnTo>
                    <a:pt x="424" y="5978"/>
                  </a:lnTo>
                  <a:close/>
                  <a:moveTo>
                    <a:pt x="531" y="6055"/>
                  </a:moveTo>
                  <a:cubicBezTo>
                    <a:pt x="496" y="6119"/>
                    <a:pt x="496" y="6119"/>
                    <a:pt x="496" y="6119"/>
                  </a:cubicBezTo>
                  <a:cubicBezTo>
                    <a:pt x="381" y="6056"/>
                    <a:pt x="381" y="6056"/>
                    <a:pt x="381" y="6056"/>
                  </a:cubicBezTo>
                  <a:cubicBezTo>
                    <a:pt x="417" y="5990"/>
                    <a:pt x="417" y="5990"/>
                    <a:pt x="417" y="5990"/>
                  </a:cubicBezTo>
                  <a:lnTo>
                    <a:pt x="531" y="6055"/>
                  </a:lnTo>
                  <a:close/>
                  <a:moveTo>
                    <a:pt x="5201" y="2991"/>
                  </a:moveTo>
                  <a:cubicBezTo>
                    <a:pt x="5215" y="2949"/>
                    <a:pt x="5304" y="2676"/>
                    <a:pt x="5339" y="2549"/>
                  </a:cubicBezTo>
                  <a:cubicBezTo>
                    <a:pt x="5392" y="2565"/>
                    <a:pt x="5483" y="2592"/>
                    <a:pt x="5583" y="2621"/>
                  </a:cubicBezTo>
                  <a:cubicBezTo>
                    <a:pt x="5739" y="2668"/>
                    <a:pt x="5917" y="2721"/>
                    <a:pt x="6005" y="2747"/>
                  </a:cubicBezTo>
                  <a:cubicBezTo>
                    <a:pt x="6184" y="2800"/>
                    <a:pt x="6746" y="2944"/>
                    <a:pt x="6857" y="2969"/>
                  </a:cubicBezTo>
                  <a:cubicBezTo>
                    <a:pt x="6969" y="2994"/>
                    <a:pt x="7090" y="3016"/>
                    <a:pt x="7181" y="3087"/>
                  </a:cubicBezTo>
                  <a:cubicBezTo>
                    <a:pt x="7213" y="3111"/>
                    <a:pt x="7260" y="3176"/>
                    <a:pt x="7294" y="3240"/>
                  </a:cubicBezTo>
                  <a:cubicBezTo>
                    <a:pt x="7308" y="3264"/>
                    <a:pt x="7320" y="3287"/>
                    <a:pt x="7330" y="3308"/>
                  </a:cubicBezTo>
                  <a:cubicBezTo>
                    <a:pt x="7257" y="3346"/>
                    <a:pt x="7183" y="3395"/>
                    <a:pt x="7121" y="3462"/>
                  </a:cubicBezTo>
                  <a:cubicBezTo>
                    <a:pt x="7056" y="3533"/>
                    <a:pt x="7005" y="3626"/>
                    <a:pt x="6989" y="3738"/>
                  </a:cubicBezTo>
                  <a:cubicBezTo>
                    <a:pt x="6986" y="3756"/>
                    <a:pt x="6985" y="3774"/>
                    <a:pt x="6985" y="3792"/>
                  </a:cubicBezTo>
                  <a:cubicBezTo>
                    <a:pt x="6985" y="3911"/>
                    <a:pt x="7039" y="4022"/>
                    <a:pt x="7114" y="4132"/>
                  </a:cubicBezTo>
                  <a:cubicBezTo>
                    <a:pt x="7189" y="4242"/>
                    <a:pt x="7288" y="4354"/>
                    <a:pt x="7394" y="4471"/>
                  </a:cubicBezTo>
                  <a:cubicBezTo>
                    <a:pt x="7515" y="4605"/>
                    <a:pt x="7645" y="4747"/>
                    <a:pt x="7757" y="4896"/>
                  </a:cubicBezTo>
                  <a:cubicBezTo>
                    <a:pt x="6174" y="4827"/>
                    <a:pt x="6174" y="4827"/>
                    <a:pt x="6174" y="4827"/>
                  </a:cubicBezTo>
                  <a:cubicBezTo>
                    <a:pt x="6177" y="4800"/>
                    <a:pt x="6179" y="4761"/>
                    <a:pt x="6179" y="4714"/>
                  </a:cubicBezTo>
                  <a:cubicBezTo>
                    <a:pt x="6179" y="4636"/>
                    <a:pt x="6172" y="4539"/>
                    <a:pt x="6141" y="4446"/>
                  </a:cubicBezTo>
                  <a:cubicBezTo>
                    <a:pt x="6110" y="4353"/>
                    <a:pt x="6055" y="4264"/>
                    <a:pt x="5960" y="4211"/>
                  </a:cubicBezTo>
                  <a:cubicBezTo>
                    <a:pt x="5697" y="4065"/>
                    <a:pt x="5589" y="3938"/>
                    <a:pt x="5396" y="3855"/>
                  </a:cubicBezTo>
                  <a:cubicBezTo>
                    <a:pt x="5293" y="3810"/>
                    <a:pt x="5173" y="3771"/>
                    <a:pt x="5052" y="3735"/>
                  </a:cubicBezTo>
                  <a:cubicBezTo>
                    <a:pt x="5210" y="3370"/>
                    <a:pt x="5210" y="3370"/>
                    <a:pt x="5210" y="3370"/>
                  </a:cubicBezTo>
                  <a:lnTo>
                    <a:pt x="5201" y="2991"/>
                  </a:lnTo>
                  <a:close/>
                  <a:moveTo>
                    <a:pt x="10819" y="3687"/>
                  </a:moveTo>
                  <a:cubicBezTo>
                    <a:pt x="10821" y="3694"/>
                    <a:pt x="10822" y="3699"/>
                    <a:pt x="10823" y="3705"/>
                  </a:cubicBezTo>
                  <a:cubicBezTo>
                    <a:pt x="8005" y="4518"/>
                    <a:pt x="8005" y="4518"/>
                    <a:pt x="8005" y="4518"/>
                  </a:cubicBezTo>
                  <a:cubicBezTo>
                    <a:pt x="7935" y="4397"/>
                    <a:pt x="7935" y="4397"/>
                    <a:pt x="7935" y="4397"/>
                  </a:cubicBezTo>
                  <a:cubicBezTo>
                    <a:pt x="7533" y="3391"/>
                    <a:pt x="7533" y="3391"/>
                    <a:pt x="7533" y="3391"/>
                  </a:cubicBezTo>
                  <a:cubicBezTo>
                    <a:pt x="7590" y="3371"/>
                    <a:pt x="7642" y="3357"/>
                    <a:pt x="7681" y="3346"/>
                  </a:cubicBezTo>
                  <a:cubicBezTo>
                    <a:pt x="7704" y="3340"/>
                    <a:pt x="7722" y="3335"/>
                    <a:pt x="7739" y="3327"/>
                  </a:cubicBezTo>
                  <a:cubicBezTo>
                    <a:pt x="7740" y="3327"/>
                    <a:pt x="7741" y="3327"/>
                    <a:pt x="7743" y="3326"/>
                  </a:cubicBezTo>
                  <a:cubicBezTo>
                    <a:pt x="7747" y="3325"/>
                    <a:pt x="7752" y="3323"/>
                    <a:pt x="7759" y="3321"/>
                  </a:cubicBezTo>
                  <a:cubicBezTo>
                    <a:pt x="7772" y="3317"/>
                    <a:pt x="7790" y="3312"/>
                    <a:pt x="7813" y="3306"/>
                  </a:cubicBezTo>
                  <a:cubicBezTo>
                    <a:pt x="7859" y="3293"/>
                    <a:pt x="7923" y="3275"/>
                    <a:pt x="8001" y="3254"/>
                  </a:cubicBezTo>
                  <a:cubicBezTo>
                    <a:pt x="8157" y="3211"/>
                    <a:pt x="8369" y="3154"/>
                    <a:pt x="8607" y="3090"/>
                  </a:cubicBezTo>
                  <a:cubicBezTo>
                    <a:pt x="9083" y="2961"/>
                    <a:pt x="9664" y="2803"/>
                    <a:pt x="10115" y="2675"/>
                  </a:cubicBezTo>
                  <a:cubicBezTo>
                    <a:pt x="10275" y="2630"/>
                    <a:pt x="10418" y="2588"/>
                    <a:pt x="10534" y="2553"/>
                  </a:cubicBezTo>
                  <a:cubicBezTo>
                    <a:pt x="10567" y="2673"/>
                    <a:pt x="10606" y="2824"/>
                    <a:pt x="10645" y="2976"/>
                  </a:cubicBezTo>
                  <a:cubicBezTo>
                    <a:pt x="10716" y="3256"/>
                    <a:pt x="10784" y="3544"/>
                    <a:pt x="10819" y="3687"/>
                  </a:cubicBezTo>
                  <a:close/>
                  <a:moveTo>
                    <a:pt x="10709" y="2959"/>
                  </a:moveTo>
                  <a:cubicBezTo>
                    <a:pt x="10717" y="2947"/>
                    <a:pt x="10717" y="2947"/>
                    <a:pt x="10717" y="2947"/>
                  </a:cubicBezTo>
                  <a:cubicBezTo>
                    <a:pt x="10709" y="2960"/>
                    <a:pt x="10709" y="2960"/>
                    <a:pt x="10709" y="2960"/>
                  </a:cubicBezTo>
                  <a:cubicBezTo>
                    <a:pt x="10709" y="2959"/>
                    <a:pt x="10709" y="2959"/>
                    <a:pt x="10709" y="2959"/>
                  </a:cubicBezTo>
                  <a:close/>
                  <a:moveTo>
                    <a:pt x="10001" y="6739"/>
                  </a:moveTo>
                  <a:cubicBezTo>
                    <a:pt x="10010" y="6749"/>
                    <a:pt x="10015" y="6757"/>
                    <a:pt x="10030" y="6763"/>
                  </a:cubicBezTo>
                  <a:cubicBezTo>
                    <a:pt x="10030" y="6764"/>
                    <a:pt x="10030" y="6764"/>
                    <a:pt x="10030" y="6764"/>
                  </a:cubicBezTo>
                  <a:cubicBezTo>
                    <a:pt x="10030" y="6764"/>
                    <a:pt x="10030" y="6764"/>
                    <a:pt x="10031" y="6764"/>
                  </a:cubicBezTo>
                  <a:cubicBezTo>
                    <a:pt x="10032" y="6764"/>
                    <a:pt x="10033" y="6765"/>
                    <a:pt x="10035" y="6766"/>
                  </a:cubicBezTo>
                  <a:cubicBezTo>
                    <a:pt x="10039" y="6768"/>
                    <a:pt x="10045" y="6772"/>
                    <a:pt x="10053" y="6776"/>
                  </a:cubicBezTo>
                  <a:cubicBezTo>
                    <a:pt x="10068" y="6785"/>
                    <a:pt x="10089" y="6797"/>
                    <a:pt x="10115" y="6812"/>
                  </a:cubicBezTo>
                  <a:cubicBezTo>
                    <a:pt x="10167" y="6842"/>
                    <a:pt x="10237" y="6883"/>
                    <a:pt x="10310" y="6926"/>
                  </a:cubicBezTo>
                  <a:cubicBezTo>
                    <a:pt x="10437" y="7001"/>
                    <a:pt x="10576" y="7084"/>
                    <a:pt x="10659" y="7135"/>
                  </a:cubicBezTo>
                  <a:cubicBezTo>
                    <a:pt x="10216" y="8388"/>
                    <a:pt x="10216" y="8388"/>
                    <a:pt x="10216" y="8388"/>
                  </a:cubicBezTo>
                  <a:cubicBezTo>
                    <a:pt x="9735" y="8222"/>
                    <a:pt x="9183" y="7973"/>
                    <a:pt x="9027" y="7906"/>
                  </a:cubicBezTo>
                  <a:cubicBezTo>
                    <a:pt x="8881" y="7844"/>
                    <a:pt x="8740" y="7714"/>
                    <a:pt x="8695" y="7607"/>
                  </a:cubicBezTo>
                  <a:cubicBezTo>
                    <a:pt x="8667" y="7544"/>
                    <a:pt x="8658" y="7465"/>
                    <a:pt x="8658" y="7384"/>
                  </a:cubicBezTo>
                  <a:cubicBezTo>
                    <a:pt x="8658" y="7328"/>
                    <a:pt x="8662" y="7273"/>
                    <a:pt x="8664" y="7221"/>
                  </a:cubicBezTo>
                  <a:cubicBezTo>
                    <a:pt x="8669" y="7133"/>
                    <a:pt x="8678" y="6823"/>
                    <a:pt x="8678" y="6528"/>
                  </a:cubicBezTo>
                  <a:cubicBezTo>
                    <a:pt x="8678" y="6386"/>
                    <a:pt x="8676" y="6248"/>
                    <a:pt x="8670" y="6141"/>
                  </a:cubicBezTo>
                  <a:cubicBezTo>
                    <a:pt x="8649" y="5796"/>
                    <a:pt x="8470" y="5339"/>
                    <a:pt x="8349" y="5108"/>
                  </a:cubicBezTo>
                  <a:cubicBezTo>
                    <a:pt x="8349" y="5106"/>
                    <a:pt x="8349" y="5106"/>
                    <a:pt x="8349" y="5106"/>
                  </a:cubicBezTo>
                  <a:cubicBezTo>
                    <a:pt x="8040" y="4576"/>
                    <a:pt x="8040" y="4576"/>
                    <a:pt x="8040" y="4576"/>
                  </a:cubicBezTo>
                  <a:cubicBezTo>
                    <a:pt x="9616" y="4121"/>
                    <a:pt x="9616" y="4121"/>
                    <a:pt x="9616" y="4121"/>
                  </a:cubicBezTo>
                  <a:cubicBezTo>
                    <a:pt x="9632" y="4180"/>
                    <a:pt x="9701" y="4436"/>
                    <a:pt x="9774" y="4715"/>
                  </a:cubicBezTo>
                  <a:cubicBezTo>
                    <a:pt x="9857" y="5033"/>
                    <a:pt x="9944" y="5383"/>
                    <a:pt x="9962" y="5499"/>
                  </a:cubicBezTo>
                  <a:cubicBezTo>
                    <a:pt x="9973" y="5566"/>
                    <a:pt x="9977" y="5661"/>
                    <a:pt x="9977" y="5766"/>
                  </a:cubicBezTo>
                  <a:cubicBezTo>
                    <a:pt x="9977" y="6022"/>
                    <a:pt x="9953" y="6336"/>
                    <a:pt x="9948" y="6471"/>
                  </a:cubicBezTo>
                  <a:cubicBezTo>
                    <a:pt x="9948" y="6483"/>
                    <a:pt x="9948" y="6494"/>
                    <a:pt x="9948" y="6504"/>
                  </a:cubicBezTo>
                  <a:cubicBezTo>
                    <a:pt x="9948" y="6633"/>
                    <a:pt x="9976" y="6704"/>
                    <a:pt x="10001" y="6739"/>
                  </a:cubicBezTo>
                  <a:close/>
                  <a:moveTo>
                    <a:pt x="8251" y="7923"/>
                  </a:moveTo>
                  <a:cubicBezTo>
                    <a:pt x="8152" y="7817"/>
                    <a:pt x="8152" y="7817"/>
                    <a:pt x="8152" y="7817"/>
                  </a:cubicBezTo>
                  <a:cubicBezTo>
                    <a:pt x="8148" y="7812"/>
                    <a:pt x="8148" y="7812"/>
                    <a:pt x="8148" y="7812"/>
                  </a:cubicBezTo>
                  <a:cubicBezTo>
                    <a:pt x="8092" y="7863"/>
                    <a:pt x="8092" y="7863"/>
                    <a:pt x="8092" y="7863"/>
                  </a:cubicBezTo>
                  <a:cubicBezTo>
                    <a:pt x="8189" y="7968"/>
                    <a:pt x="8189" y="7968"/>
                    <a:pt x="8189" y="7968"/>
                  </a:cubicBezTo>
                  <a:cubicBezTo>
                    <a:pt x="8185" y="7969"/>
                    <a:pt x="8180" y="7970"/>
                    <a:pt x="8175" y="7970"/>
                  </a:cubicBezTo>
                  <a:cubicBezTo>
                    <a:pt x="8161" y="7972"/>
                    <a:pt x="8147" y="7974"/>
                    <a:pt x="8134" y="7975"/>
                  </a:cubicBezTo>
                  <a:cubicBezTo>
                    <a:pt x="7910" y="7737"/>
                    <a:pt x="7910" y="7737"/>
                    <a:pt x="7910" y="7737"/>
                  </a:cubicBezTo>
                  <a:cubicBezTo>
                    <a:pt x="7934" y="7728"/>
                    <a:pt x="8007" y="7701"/>
                    <a:pt x="8084" y="7672"/>
                  </a:cubicBezTo>
                  <a:cubicBezTo>
                    <a:pt x="8198" y="7788"/>
                    <a:pt x="8319" y="7909"/>
                    <a:pt x="8357" y="7943"/>
                  </a:cubicBezTo>
                  <a:cubicBezTo>
                    <a:pt x="8307" y="7952"/>
                    <a:pt x="8253" y="7960"/>
                    <a:pt x="8204" y="7967"/>
                  </a:cubicBezTo>
                  <a:lnTo>
                    <a:pt x="8251" y="7923"/>
                  </a:lnTo>
                  <a:close/>
                  <a:moveTo>
                    <a:pt x="8196" y="7956"/>
                  </a:moveTo>
                  <a:cubicBezTo>
                    <a:pt x="8111" y="7864"/>
                    <a:pt x="8111" y="7864"/>
                    <a:pt x="8111" y="7864"/>
                  </a:cubicBezTo>
                  <a:cubicBezTo>
                    <a:pt x="8147" y="7831"/>
                    <a:pt x="8147" y="7831"/>
                    <a:pt x="8147" y="7831"/>
                  </a:cubicBezTo>
                  <a:cubicBezTo>
                    <a:pt x="8232" y="7922"/>
                    <a:pt x="8232" y="7922"/>
                    <a:pt x="8232" y="7922"/>
                  </a:cubicBezTo>
                  <a:lnTo>
                    <a:pt x="8196" y="7956"/>
                  </a:lnTo>
                  <a:close/>
                  <a:moveTo>
                    <a:pt x="7431" y="11784"/>
                  </a:moveTo>
                  <a:cubicBezTo>
                    <a:pt x="7763" y="11954"/>
                    <a:pt x="7763" y="11954"/>
                    <a:pt x="7763" y="11954"/>
                  </a:cubicBezTo>
                  <a:cubicBezTo>
                    <a:pt x="7593" y="12302"/>
                    <a:pt x="7593" y="12302"/>
                    <a:pt x="7593" y="12302"/>
                  </a:cubicBezTo>
                  <a:cubicBezTo>
                    <a:pt x="7586" y="12297"/>
                    <a:pt x="7578" y="12291"/>
                    <a:pt x="7568" y="12283"/>
                  </a:cubicBezTo>
                  <a:cubicBezTo>
                    <a:pt x="7546" y="12267"/>
                    <a:pt x="7518" y="12245"/>
                    <a:pt x="7490" y="12223"/>
                  </a:cubicBezTo>
                  <a:cubicBezTo>
                    <a:pt x="7434" y="12179"/>
                    <a:pt x="7380" y="12135"/>
                    <a:pt x="7379" y="12135"/>
                  </a:cubicBezTo>
                  <a:cubicBezTo>
                    <a:pt x="7378" y="12134"/>
                    <a:pt x="7378" y="12134"/>
                    <a:pt x="7378" y="12134"/>
                  </a:cubicBezTo>
                  <a:cubicBezTo>
                    <a:pt x="7377" y="12134"/>
                    <a:pt x="7377" y="12134"/>
                    <a:pt x="7377" y="12134"/>
                  </a:cubicBezTo>
                  <a:cubicBezTo>
                    <a:pt x="7377" y="12134"/>
                    <a:pt x="7240" y="12098"/>
                    <a:pt x="7169" y="12079"/>
                  </a:cubicBezTo>
                  <a:cubicBezTo>
                    <a:pt x="7145" y="12073"/>
                    <a:pt x="7130" y="12069"/>
                    <a:pt x="7126" y="12069"/>
                  </a:cubicBezTo>
                  <a:cubicBezTo>
                    <a:pt x="7126" y="12083"/>
                    <a:pt x="7126" y="12083"/>
                    <a:pt x="7126" y="12083"/>
                  </a:cubicBezTo>
                  <a:cubicBezTo>
                    <a:pt x="7126" y="12083"/>
                    <a:pt x="7126" y="12083"/>
                    <a:pt x="7126" y="12083"/>
                  </a:cubicBezTo>
                  <a:cubicBezTo>
                    <a:pt x="7126" y="12083"/>
                    <a:pt x="7127" y="12083"/>
                    <a:pt x="7128" y="12084"/>
                  </a:cubicBezTo>
                  <a:cubicBezTo>
                    <a:pt x="7130" y="12084"/>
                    <a:pt x="7133" y="12085"/>
                    <a:pt x="7137" y="12086"/>
                  </a:cubicBezTo>
                  <a:cubicBezTo>
                    <a:pt x="7144" y="12087"/>
                    <a:pt x="7154" y="12090"/>
                    <a:pt x="7166" y="12093"/>
                  </a:cubicBezTo>
                  <a:cubicBezTo>
                    <a:pt x="7189" y="12099"/>
                    <a:pt x="7220" y="12107"/>
                    <a:pt x="7251" y="12115"/>
                  </a:cubicBezTo>
                  <a:cubicBezTo>
                    <a:pt x="7307" y="12130"/>
                    <a:pt x="7363" y="12145"/>
                    <a:pt x="7372" y="12147"/>
                  </a:cubicBezTo>
                  <a:cubicBezTo>
                    <a:pt x="7387" y="12159"/>
                    <a:pt x="7540" y="12282"/>
                    <a:pt x="7587" y="12314"/>
                  </a:cubicBezTo>
                  <a:cubicBezTo>
                    <a:pt x="7587" y="12314"/>
                    <a:pt x="7587" y="12314"/>
                    <a:pt x="7587" y="12315"/>
                  </a:cubicBezTo>
                  <a:cubicBezTo>
                    <a:pt x="7463" y="12568"/>
                    <a:pt x="7463" y="12568"/>
                    <a:pt x="7463" y="12568"/>
                  </a:cubicBezTo>
                  <a:cubicBezTo>
                    <a:pt x="7040" y="12433"/>
                    <a:pt x="7040" y="12433"/>
                    <a:pt x="7040" y="12433"/>
                  </a:cubicBezTo>
                  <a:cubicBezTo>
                    <a:pt x="7123" y="12293"/>
                    <a:pt x="7123" y="12293"/>
                    <a:pt x="7123" y="12293"/>
                  </a:cubicBezTo>
                  <a:cubicBezTo>
                    <a:pt x="7120" y="11966"/>
                    <a:pt x="7120" y="11966"/>
                    <a:pt x="7120" y="11966"/>
                  </a:cubicBezTo>
                  <a:cubicBezTo>
                    <a:pt x="7128" y="11946"/>
                    <a:pt x="7227" y="11661"/>
                    <a:pt x="7308" y="11427"/>
                  </a:cubicBezTo>
                  <a:cubicBezTo>
                    <a:pt x="7471" y="11584"/>
                    <a:pt x="7471" y="11584"/>
                    <a:pt x="7471" y="11584"/>
                  </a:cubicBezTo>
                  <a:cubicBezTo>
                    <a:pt x="7776" y="11602"/>
                    <a:pt x="7776" y="11602"/>
                    <a:pt x="7776" y="11602"/>
                  </a:cubicBezTo>
                  <a:cubicBezTo>
                    <a:pt x="7886" y="11700"/>
                    <a:pt x="7886" y="11700"/>
                    <a:pt x="7886" y="11700"/>
                  </a:cubicBezTo>
                  <a:cubicBezTo>
                    <a:pt x="7769" y="11941"/>
                    <a:pt x="7769" y="11941"/>
                    <a:pt x="7769" y="11941"/>
                  </a:cubicBezTo>
                  <a:cubicBezTo>
                    <a:pt x="7436" y="11771"/>
                    <a:pt x="7436" y="11771"/>
                    <a:pt x="7436" y="11771"/>
                  </a:cubicBezTo>
                  <a:cubicBezTo>
                    <a:pt x="7211" y="11709"/>
                    <a:pt x="7211" y="11709"/>
                    <a:pt x="7211" y="11709"/>
                  </a:cubicBezTo>
                  <a:cubicBezTo>
                    <a:pt x="7207" y="11722"/>
                    <a:pt x="7207" y="11722"/>
                    <a:pt x="7207" y="11722"/>
                  </a:cubicBezTo>
                  <a:lnTo>
                    <a:pt x="7431" y="11784"/>
                  </a:lnTo>
                  <a:close/>
                  <a:moveTo>
                    <a:pt x="7925" y="13425"/>
                  </a:moveTo>
                  <a:cubicBezTo>
                    <a:pt x="7925" y="13717"/>
                    <a:pt x="7925" y="13717"/>
                    <a:pt x="7925" y="13717"/>
                  </a:cubicBezTo>
                  <a:cubicBezTo>
                    <a:pt x="7757" y="13724"/>
                    <a:pt x="7757" y="13724"/>
                    <a:pt x="7757" y="13724"/>
                  </a:cubicBezTo>
                  <a:cubicBezTo>
                    <a:pt x="7757" y="13434"/>
                    <a:pt x="7757" y="13434"/>
                    <a:pt x="7757" y="13434"/>
                  </a:cubicBezTo>
                  <a:cubicBezTo>
                    <a:pt x="7743" y="13434"/>
                    <a:pt x="7743" y="13434"/>
                    <a:pt x="7743" y="13434"/>
                  </a:cubicBezTo>
                  <a:cubicBezTo>
                    <a:pt x="7743" y="13725"/>
                    <a:pt x="7743" y="13725"/>
                    <a:pt x="7743" y="13725"/>
                  </a:cubicBezTo>
                  <a:cubicBezTo>
                    <a:pt x="7575" y="13731"/>
                    <a:pt x="7575" y="13731"/>
                    <a:pt x="7575" y="13731"/>
                  </a:cubicBezTo>
                  <a:cubicBezTo>
                    <a:pt x="7575" y="13434"/>
                    <a:pt x="7575" y="13434"/>
                    <a:pt x="7575" y="13434"/>
                  </a:cubicBezTo>
                  <a:cubicBezTo>
                    <a:pt x="7561" y="13434"/>
                    <a:pt x="7561" y="13434"/>
                    <a:pt x="7561" y="13434"/>
                  </a:cubicBezTo>
                  <a:cubicBezTo>
                    <a:pt x="7561" y="13732"/>
                    <a:pt x="7561" y="13732"/>
                    <a:pt x="7561" y="13732"/>
                  </a:cubicBezTo>
                  <a:cubicBezTo>
                    <a:pt x="7374" y="13739"/>
                    <a:pt x="7374" y="13739"/>
                    <a:pt x="7374" y="13739"/>
                  </a:cubicBezTo>
                  <a:cubicBezTo>
                    <a:pt x="7358" y="13654"/>
                    <a:pt x="7350" y="13578"/>
                    <a:pt x="7346" y="13522"/>
                  </a:cubicBezTo>
                  <a:cubicBezTo>
                    <a:pt x="7343" y="13483"/>
                    <a:pt x="7342" y="13455"/>
                    <a:pt x="7342" y="13441"/>
                  </a:cubicBezTo>
                  <a:cubicBezTo>
                    <a:pt x="7345" y="13441"/>
                    <a:pt x="7348" y="13441"/>
                    <a:pt x="7351" y="13441"/>
                  </a:cubicBezTo>
                  <a:cubicBezTo>
                    <a:pt x="7383" y="13439"/>
                    <a:pt x="7428" y="13437"/>
                    <a:pt x="7483" y="13435"/>
                  </a:cubicBezTo>
                  <a:cubicBezTo>
                    <a:pt x="7592" y="13431"/>
                    <a:pt x="7737" y="13426"/>
                    <a:pt x="7882" y="13422"/>
                  </a:cubicBezTo>
                  <a:cubicBezTo>
                    <a:pt x="7956" y="13419"/>
                    <a:pt x="8031" y="13417"/>
                    <a:pt x="8100" y="13415"/>
                  </a:cubicBezTo>
                  <a:cubicBezTo>
                    <a:pt x="8100" y="13710"/>
                    <a:pt x="8100" y="13710"/>
                    <a:pt x="8100" y="13710"/>
                  </a:cubicBezTo>
                  <a:cubicBezTo>
                    <a:pt x="7939" y="13717"/>
                    <a:pt x="7939" y="13717"/>
                    <a:pt x="7939" y="13717"/>
                  </a:cubicBezTo>
                  <a:cubicBezTo>
                    <a:pt x="7939" y="13425"/>
                    <a:pt x="7939" y="13425"/>
                    <a:pt x="7939" y="13425"/>
                  </a:cubicBezTo>
                  <a:lnTo>
                    <a:pt x="7925" y="13425"/>
                  </a:lnTo>
                  <a:close/>
                  <a:moveTo>
                    <a:pt x="7679" y="14966"/>
                  </a:moveTo>
                  <a:cubicBezTo>
                    <a:pt x="7674" y="14997"/>
                    <a:pt x="7674" y="14997"/>
                    <a:pt x="7674" y="14997"/>
                  </a:cubicBezTo>
                  <a:cubicBezTo>
                    <a:pt x="7573" y="14977"/>
                    <a:pt x="7573" y="14977"/>
                    <a:pt x="7573" y="14977"/>
                  </a:cubicBezTo>
                  <a:cubicBezTo>
                    <a:pt x="7584" y="14904"/>
                    <a:pt x="7584" y="14904"/>
                    <a:pt x="7584" y="14904"/>
                  </a:cubicBezTo>
                  <a:cubicBezTo>
                    <a:pt x="7643" y="14913"/>
                    <a:pt x="7643" y="14913"/>
                    <a:pt x="7643" y="14913"/>
                  </a:cubicBezTo>
                  <a:cubicBezTo>
                    <a:pt x="7636" y="14959"/>
                    <a:pt x="7636" y="14959"/>
                    <a:pt x="7636" y="14959"/>
                  </a:cubicBezTo>
                  <a:lnTo>
                    <a:pt x="7679" y="14966"/>
                  </a:lnTo>
                  <a:close/>
                  <a:moveTo>
                    <a:pt x="7672" y="15011"/>
                  </a:moveTo>
                  <a:cubicBezTo>
                    <a:pt x="7665" y="15055"/>
                    <a:pt x="7665" y="15055"/>
                    <a:pt x="7665" y="15055"/>
                  </a:cubicBezTo>
                  <a:cubicBezTo>
                    <a:pt x="7622" y="15049"/>
                    <a:pt x="7622" y="15049"/>
                    <a:pt x="7622" y="15049"/>
                  </a:cubicBezTo>
                  <a:cubicBezTo>
                    <a:pt x="7615" y="15095"/>
                    <a:pt x="7615" y="15095"/>
                    <a:pt x="7615" y="15095"/>
                  </a:cubicBezTo>
                  <a:cubicBezTo>
                    <a:pt x="7556" y="15086"/>
                    <a:pt x="7556" y="15086"/>
                    <a:pt x="7556" y="15086"/>
                  </a:cubicBezTo>
                  <a:cubicBezTo>
                    <a:pt x="7570" y="14991"/>
                    <a:pt x="7570" y="14991"/>
                    <a:pt x="7570" y="14991"/>
                  </a:cubicBezTo>
                  <a:lnTo>
                    <a:pt x="7672" y="15011"/>
                  </a:lnTo>
                  <a:close/>
                  <a:moveTo>
                    <a:pt x="7573" y="14889"/>
                  </a:moveTo>
                  <a:cubicBezTo>
                    <a:pt x="7560" y="14974"/>
                    <a:pt x="7560" y="14974"/>
                    <a:pt x="7560" y="14974"/>
                  </a:cubicBezTo>
                  <a:cubicBezTo>
                    <a:pt x="7192" y="14903"/>
                    <a:pt x="7192" y="14903"/>
                    <a:pt x="7192" y="14903"/>
                  </a:cubicBezTo>
                  <a:cubicBezTo>
                    <a:pt x="7192" y="14869"/>
                    <a:pt x="7192" y="14836"/>
                    <a:pt x="7193" y="14806"/>
                  </a:cubicBezTo>
                  <a:cubicBezTo>
                    <a:pt x="7217" y="14811"/>
                    <a:pt x="7340" y="14838"/>
                    <a:pt x="7464" y="14865"/>
                  </a:cubicBezTo>
                  <a:cubicBezTo>
                    <a:pt x="7502" y="14873"/>
                    <a:pt x="7539" y="14881"/>
                    <a:pt x="7575" y="14889"/>
                  </a:cubicBezTo>
                  <a:lnTo>
                    <a:pt x="7573" y="14889"/>
                  </a:lnTo>
                  <a:close/>
                  <a:moveTo>
                    <a:pt x="7192" y="14607"/>
                  </a:moveTo>
                  <a:cubicBezTo>
                    <a:pt x="7180" y="14552"/>
                    <a:pt x="7139" y="14370"/>
                    <a:pt x="7115" y="14267"/>
                  </a:cubicBezTo>
                  <a:cubicBezTo>
                    <a:pt x="7107" y="14236"/>
                    <a:pt x="7102" y="14213"/>
                    <a:pt x="7098" y="14201"/>
                  </a:cubicBezTo>
                  <a:cubicBezTo>
                    <a:pt x="7243" y="14196"/>
                    <a:pt x="7360" y="14191"/>
                    <a:pt x="7389" y="14190"/>
                  </a:cubicBezTo>
                  <a:cubicBezTo>
                    <a:pt x="7387" y="14218"/>
                    <a:pt x="7382" y="14315"/>
                    <a:pt x="7382" y="14359"/>
                  </a:cubicBezTo>
                  <a:cubicBezTo>
                    <a:pt x="7382" y="14368"/>
                    <a:pt x="7382" y="14375"/>
                    <a:pt x="7383" y="14380"/>
                  </a:cubicBezTo>
                  <a:cubicBezTo>
                    <a:pt x="7384" y="14381"/>
                    <a:pt x="7382" y="14383"/>
                    <a:pt x="7388" y="14386"/>
                  </a:cubicBezTo>
                  <a:cubicBezTo>
                    <a:pt x="7395" y="14389"/>
                    <a:pt x="7424" y="14393"/>
                    <a:pt x="7436" y="14394"/>
                  </a:cubicBezTo>
                  <a:cubicBezTo>
                    <a:pt x="7473" y="14575"/>
                    <a:pt x="7473" y="14575"/>
                    <a:pt x="7473" y="14575"/>
                  </a:cubicBezTo>
                  <a:cubicBezTo>
                    <a:pt x="7425" y="14593"/>
                    <a:pt x="7371" y="14605"/>
                    <a:pt x="7312" y="14606"/>
                  </a:cubicBezTo>
                  <a:cubicBezTo>
                    <a:pt x="7282" y="14606"/>
                    <a:pt x="7240" y="14607"/>
                    <a:pt x="7192" y="14607"/>
                  </a:cubicBezTo>
                  <a:close/>
                  <a:moveTo>
                    <a:pt x="6938" y="15926"/>
                  </a:moveTo>
                  <a:cubicBezTo>
                    <a:pt x="6699" y="15919"/>
                    <a:pt x="6699" y="15919"/>
                    <a:pt x="6699" y="15919"/>
                  </a:cubicBezTo>
                  <a:cubicBezTo>
                    <a:pt x="6708" y="15325"/>
                    <a:pt x="6708" y="15325"/>
                    <a:pt x="6708" y="15325"/>
                  </a:cubicBezTo>
                  <a:cubicBezTo>
                    <a:pt x="6733" y="15323"/>
                    <a:pt x="6733" y="15323"/>
                    <a:pt x="6733" y="15323"/>
                  </a:cubicBezTo>
                  <a:cubicBezTo>
                    <a:pt x="6729" y="15172"/>
                    <a:pt x="6729" y="15172"/>
                    <a:pt x="6729" y="15172"/>
                  </a:cubicBezTo>
                  <a:cubicBezTo>
                    <a:pt x="6869" y="15204"/>
                    <a:pt x="6869" y="15204"/>
                    <a:pt x="6869" y="15204"/>
                  </a:cubicBezTo>
                  <a:cubicBezTo>
                    <a:pt x="6856" y="15501"/>
                    <a:pt x="6856" y="15501"/>
                    <a:pt x="6856" y="15501"/>
                  </a:cubicBezTo>
                  <a:cubicBezTo>
                    <a:pt x="6963" y="15519"/>
                    <a:pt x="6963" y="15519"/>
                    <a:pt x="6963" y="15519"/>
                  </a:cubicBezTo>
                  <a:cubicBezTo>
                    <a:pt x="6959" y="15567"/>
                    <a:pt x="6938" y="15867"/>
                    <a:pt x="6938" y="15926"/>
                  </a:cubicBezTo>
                  <a:cubicBezTo>
                    <a:pt x="6938" y="15926"/>
                    <a:pt x="6938" y="15926"/>
                    <a:pt x="6938" y="15926"/>
                  </a:cubicBezTo>
                  <a:close/>
                  <a:moveTo>
                    <a:pt x="6395" y="16809"/>
                  </a:moveTo>
                  <a:cubicBezTo>
                    <a:pt x="6441" y="16749"/>
                    <a:pt x="6441" y="16749"/>
                    <a:pt x="6441" y="16749"/>
                  </a:cubicBezTo>
                  <a:cubicBezTo>
                    <a:pt x="6325" y="16662"/>
                    <a:pt x="6325" y="16662"/>
                    <a:pt x="6325" y="16662"/>
                  </a:cubicBezTo>
                  <a:cubicBezTo>
                    <a:pt x="6320" y="16658"/>
                    <a:pt x="6320" y="16658"/>
                    <a:pt x="6320" y="16658"/>
                  </a:cubicBezTo>
                  <a:cubicBezTo>
                    <a:pt x="6276" y="16716"/>
                    <a:pt x="6276" y="16716"/>
                    <a:pt x="6276" y="16716"/>
                  </a:cubicBezTo>
                  <a:cubicBezTo>
                    <a:pt x="6232" y="16676"/>
                    <a:pt x="6232" y="16676"/>
                    <a:pt x="6232" y="16676"/>
                  </a:cubicBezTo>
                  <a:cubicBezTo>
                    <a:pt x="6238" y="16671"/>
                    <a:pt x="6245" y="16666"/>
                    <a:pt x="6251" y="16660"/>
                  </a:cubicBezTo>
                  <a:cubicBezTo>
                    <a:pt x="6264" y="16648"/>
                    <a:pt x="6275" y="16633"/>
                    <a:pt x="6283" y="16617"/>
                  </a:cubicBezTo>
                  <a:cubicBezTo>
                    <a:pt x="6720" y="16717"/>
                    <a:pt x="6720" y="16717"/>
                    <a:pt x="6720" y="16717"/>
                  </a:cubicBezTo>
                  <a:cubicBezTo>
                    <a:pt x="6733" y="16812"/>
                    <a:pt x="6733" y="16812"/>
                    <a:pt x="6733" y="16812"/>
                  </a:cubicBezTo>
                  <a:cubicBezTo>
                    <a:pt x="6720" y="16820"/>
                    <a:pt x="6677" y="16848"/>
                    <a:pt x="6634" y="16877"/>
                  </a:cubicBezTo>
                  <a:cubicBezTo>
                    <a:pt x="6590" y="16906"/>
                    <a:pt x="6545" y="16935"/>
                    <a:pt x="6532" y="16944"/>
                  </a:cubicBezTo>
                  <a:cubicBezTo>
                    <a:pt x="6304" y="16741"/>
                    <a:pt x="6304" y="16741"/>
                    <a:pt x="6304" y="16741"/>
                  </a:cubicBezTo>
                  <a:lnTo>
                    <a:pt x="6395" y="16809"/>
                  </a:lnTo>
                  <a:close/>
                  <a:moveTo>
                    <a:pt x="6292" y="16716"/>
                  </a:moveTo>
                  <a:cubicBezTo>
                    <a:pt x="6322" y="16676"/>
                    <a:pt x="6322" y="16676"/>
                    <a:pt x="6322" y="16676"/>
                  </a:cubicBezTo>
                  <a:cubicBezTo>
                    <a:pt x="6422" y="16751"/>
                    <a:pt x="6422" y="16751"/>
                    <a:pt x="6422" y="16751"/>
                  </a:cubicBezTo>
                  <a:cubicBezTo>
                    <a:pt x="6393" y="16791"/>
                    <a:pt x="6393" y="16791"/>
                    <a:pt x="6393" y="16791"/>
                  </a:cubicBezTo>
                  <a:lnTo>
                    <a:pt x="6292" y="16716"/>
                  </a:lnTo>
                  <a:close/>
                  <a:moveTo>
                    <a:pt x="6689" y="15441"/>
                  </a:moveTo>
                  <a:cubicBezTo>
                    <a:pt x="6171" y="15476"/>
                    <a:pt x="6171" y="15476"/>
                    <a:pt x="6171" y="15476"/>
                  </a:cubicBezTo>
                  <a:cubicBezTo>
                    <a:pt x="6162" y="15361"/>
                    <a:pt x="6162" y="15361"/>
                    <a:pt x="6162" y="15361"/>
                  </a:cubicBezTo>
                  <a:cubicBezTo>
                    <a:pt x="6206" y="15358"/>
                    <a:pt x="6206" y="15358"/>
                    <a:pt x="6206" y="15358"/>
                  </a:cubicBezTo>
                  <a:cubicBezTo>
                    <a:pt x="6205" y="15404"/>
                    <a:pt x="6205" y="15404"/>
                    <a:pt x="6205" y="15404"/>
                  </a:cubicBezTo>
                  <a:cubicBezTo>
                    <a:pt x="6248" y="15404"/>
                    <a:pt x="6248" y="15404"/>
                    <a:pt x="6248" y="15404"/>
                  </a:cubicBezTo>
                  <a:cubicBezTo>
                    <a:pt x="6247" y="15451"/>
                    <a:pt x="6247" y="15451"/>
                    <a:pt x="6247" y="15451"/>
                  </a:cubicBezTo>
                  <a:cubicBezTo>
                    <a:pt x="6327" y="15453"/>
                    <a:pt x="6327" y="15453"/>
                    <a:pt x="6327" y="15453"/>
                  </a:cubicBezTo>
                  <a:cubicBezTo>
                    <a:pt x="6333" y="15453"/>
                    <a:pt x="6333" y="15453"/>
                    <a:pt x="6333" y="15453"/>
                  </a:cubicBezTo>
                  <a:cubicBezTo>
                    <a:pt x="6335" y="15350"/>
                    <a:pt x="6335" y="15350"/>
                    <a:pt x="6335" y="15350"/>
                  </a:cubicBezTo>
                  <a:cubicBezTo>
                    <a:pt x="6694" y="15326"/>
                    <a:pt x="6694" y="15326"/>
                    <a:pt x="6694" y="15326"/>
                  </a:cubicBezTo>
                  <a:cubicBezTo>
                    <a:pt x="6685" y="15919"/>
                    <a:pt x="6685" y="15919"/>
                    <a:pt x="6685" y="15919"/>
                  </a:cubicBezTo>
                  <a:cubicBezTo>
                    <a:pt x="6420" y="15911"/>
                    <a:pt x="6420" y="15911"/>
                    <a:pt x="6420" y="15911"/>
                  </a:cubicBezTo>
                  <a:cubicBezTo>
                    <a:pt x="6425" y="15644"/>
                    <a:pt x="6425" y="15644"/>
                    <a:pt x="6425" y="15644"/>
                  </a:cubicBezTo>
                  <a:cubicBezTo>
                    <a:pt x="6688" y="15629"/>
                    <a:pt x="6688" y="15629"/>
                    <a:pt x="6688" y="15629"/>
                  </a:cubicBezTo>
                  <a:cubicBezTo>
                    <a:pt x="6687" y="15615"/>
                    <a:pt x="6687" y="15615"/>
                    <a:pt x="6687" y="15615"/>
                  </a:cubicBezTo>
                  <a:cubicBezTo>
                    <a:pt x="6184" y="15644"/>
                    <a:pt x="6184" y="15644"/>
                    <a:pt x="6184" y="15644"/>
                  </a:cubicBezTo>
                  <a:cubicBezTo>
                    <a:pt x="6172" y="15490"/>
                    <a:pt x="6172" y="15490"/>
                    <a:pt x="6172" y="15490"/>
                  </a:cubicBezTo>
                  <a:cubicBezTo>
                    <a:pt x="6690" y="15455"/>
                    <a:pt x="6690" y="15455"/>
                    <a:pt x="6690" y="15455"/>
                  </a:cubicBezTo>
                  <a:lnTo>
                    <a:pt x="6689" y="15441"/>
                  </a:lnTo>
                  <a:close/>
                  <a:moveTo>
                    <a:pt x="5796" y="15459"/>
                  </a:moveTo>
                  <a:cubicBezTo>
                    <a:pt x="5796" y="15459"/>
                    <a:pt x="5796" y="15459"/>
                    <a:pt x="5796" y="15459"/>
                  </a:cubicBezTo>
                  <a:cubicBezTo>
                    <a:pt x="5796" y="15459"/>
                    <a:pt x="5795" y="15459"/>
                    <a:pt x="5795" y="15459"/>
                  </a:cubicBezTo>
                  <a:cubicBezTo>
                    <a:pt x="5795" y="15459"/>
                    <a:pt x="5794" y="15459"/>
                    <a:pt x="5794" y="15460"/>
                  </a:cubicBezTo>
                  <a:cubicBezTo>
                    <a:pt x="5784" y="15462"/>
                    <a:pt x="5650" y="15502"/>
                    <a:pt x="5505" y="15545"/>
                  </a:cubicBezTo>
                  <a:cubicBezTo>
                    <a:pt x="5505" y="15176"/>
                    <a:pt x="5505" y="15176"/>
                    <a:pt x="5505" y="15176"/>
                  </a:cubicBezTo>
                  <a:cubicBezTo>
                    <a:pt x="5504" y="15166"/>
                    <a:pt x="5504" y="15166"/>
                    <a:pt x="5504" y="15166"/>
                  </a:cubicBezTo>
                  <a:cubicBezTo>
                    <a:pt x="5826" y="15178"/>
                    <a:pt x="5826" y="15178"/>
                    <a:pt x="5826" y="15178"/>
                  </a:cubicBezTo>
                  <a:cubicBezTo>
                    <a:pt x="5827" y="15178"/>
                    <a:pt x="6021" y="15175"/>
                    <a:pt x="6082" y="15174"/>
                  </a:cubicBezTo>
                  <a:cubicBezTo>
                    <a:pt x="6127" y="15752"/>
                    <a:pt x="6127" y="15752"/>
                    <a:pt x="6127" y="15752"/>
                  </a:cubicBezTo>
                  <a:cubicBezTo>
                    <a:pt x="5839" y="15684"/>
                    <a:pt x="5839" y="15684"/>
                    <a:pt x="5839" y="15684"/>
                  </a:cubicBezTo>
                  <a:cubicBezTo>
                    <a:pt x="5835" y="15654"/>
                    <a:pt x="5816" y="15491"/>
                    <a:pt x="5804" y="15466"/>
                  </a:cubicBezTo>
                  <a:cubicBezTo>
                    <a:pt x="5803" y="15464"/>
                    <a:pt x="5803" y="15461"/>
                    <a:pt x="5796" y="15459"/>
                  </a:cubicBezTo>
                  <a:cubicBezTo>
                    <a:pt x="5796" y="15459"/>
                    <a:pt x="5796" y="15459"/>
                    <a:pt x="5796" y="15459"/>
                  </a:cubicBezTo>
                  <a:close/>
                  <a:moveTo>
                    <a:pt x="4715" y="15817"/>
                  </a:moveTo>
                  <a:cubicBezTo>
                    <a:pt x="4694" y="15822"/>
                    <a:pt x="4635" y="15837"/>
                    <a:pt x="4573" y="15852"/>
                  </a:cubicBezTo>
                  <a:cubicBezTo>
                    <a:pt x="4521" y="15865"/>
                    <a:pt x="4470" y="15878"/>
                    <a:pt x="4445" y="15884"/>
                  </a:cubicBezTo>
                  <a:cubicBezTo>
                    <a:pt x="4424" y="15775"/>
                    <a:pt x="4399" y="15661"/>
                    <a:pt x="4381" y="15607"/>
                  </a:cubicBezTo>
                  <a:cubicBezTo>
                    <a:pt x="4374" y="15585"/>
                    <a:pt x="4358" y="15552"/>
                    <a:pt x="4336" y="15511"/>
                  </a:cubicBezTo>
                  <a:cubicBezTo>
                    <a:pt x="4340" y="15509"/>
                    <a:pt x="4345" y="15506"/>
                    <a:pt x="4351" y="15503"/>
                  </a:cubicBezTo>
                  <a:cubicBezTo>
                    <a:pt x="4371" y="15492"/>
                    <a:pt x="4399" y="15475"/>
                    <a:pt x="4434" y="15456"/>
                  </a:cubicBezTo>
                  <a:cubicBezTo>
                    <a:pt x="4503" y="15418"/>
                    <a:pt x="4594" y="15366"/>
                    <a:pt x="4686" y="15315"/>
                  </a:cubicBezTo>
                  <a:cubicBezTo>
                    <a:pt x="4727" y="15293"/>
                    <a:pt x="4767" y="15270"/>
                    <a:pt x="4806" y="15249"/>
                  </a:cubicBezTo>
                  <a:cubicBezTo>
                    <a:pt x="4811" y="15270"/>
                    <a:pt x="4835" y="15370"/>
                    <a:pt x="4846" y="15395"/>
                  </a:cubicBezTo>
                  <a:cubicBezTo>
                    <a:pt x="4845" y="15396"/>
                    <a:pt x="4844" y="15396"/>
                    <a:pt x="4843" y="15397"/>
                  </a:cubicBezTo>
                  <a:cubicBezTo>
                    <a:pt x="4838" y="15400"/>
                    <a:pt x="4830" y="15405"/>
                    <a:pt x="4822" y="15411"/>
                  </a:cubicBezTo>
                  <a:cubicBezTo>
                    <a:pt x="4804" y="15422"/>
                    <a:pt x="4780" y="15437"/>
                    <a:pt x="4757" y="15451"/>
                  </a:cubicBezTo>
                  <a:cubicBezTo>
                    <a:pt x="4710" y="15481"/>
                    <a:pt x="4663" y="15509"/>
                    <a:pt x="4663" y="15509"/>
                  </a:cubicBezTo>
                  <a:cubicBezTo>
                    <a:pt x="4658" y="15512"/>
                    <a:pt x="4658" y="15512"/>
                    <a:pt x="4658" y="15512"/>
                  </a:cubicBezTo>
                  <a:lnTo>
                    <a:pt x="4715" y="15817"/>
                  </a:lnTo>
                  <a:close/>
                  <a:moveTo>
                    <a:pt x="4155" y="16317"/>
                  </a:moveTo>
                  <a:cubicBezTo>
                    <a:pt x="4111" y="16348"/>
                    <a:pt x="4076" y="16374"/>
                    <a:pt x="4060" y="16386"/>
                  </a:cubicBezTo>
                  <a:cubicBezTo>
                    <a:pt x="4056" y="16389"/>
                    <a:pt x="4054" y="16390"/>
                    <a:pt x="4050" y="16394"/>
                  </a:cubicBezTo>
                  <a:cubicBezTo>
                    <a:pt x="4049" y="16396"/>
                    <a:pt x="4048" y="16396"/>
                    <a:pt x="4046" y="16400"/>
                  </a:cubicBezTo>
                  <a:cubicBezTo>
                    <a:pt x="4045" y="16400"/>
                    <a:pt x="4045" y="16401"/>
                    <a:pt x="4044" y="16402"/>
                  </a:cubicBezTo>
                  <a:cubicBezTo>
                    <a:pt x="4016" y="16393"/>
                    <a:pt x="3925" y="16365"/>
                    <a:pt x="3830" y="16335"/>
                  </a:cubicBezTo>
                  <a:cubicBezTo>
                    <a:pt x="3729" y="16304"/>
                    <a:pt x="3623" y="16271"/>
                    <a:pt x="3591" y="16259"/>
                  </a:cubicBezTo>
                  <a:cubicBezTo>
                    <a:pt x="3615" y="16238"/>
                    <a:pt x="3693" y="16171"/>
                    <a:pt x="3772" y="16102"/>
                  </a:cubicBezTo>
                  <a:cubicBezTo>
                    <a:pt x="3858" y="16027"/>
                    <a:pt x="3944" y="15952"/>
                    <a:pt x="3965" y="15931"/>
                  </a:cubicBezTo>
                  <a:cubicBezTo>
                    <a:pt x="3999" y="15965"/>
                    <a:pt x="4211" y="16172"/>
                    <a:pt x="4276" y="16231"/>
                  </a:cubicBezTo>
                  <a:cubicBezTo>
                    <a:pt x="4239" y="16257"/>
                    <a:pt x="4201" y="16284"/>
                    <a:pt x="4167" y="16308"/>
                  </a:cubicBezTo>
                  <a:cubicBezTo>
                    <a:pt x="3815" y="16065"/>
                    <a:pt x="3815" y="16065"/>
                    <a:pt x="3815" y="16065"/>
                  </a:cubicBezTo>
                  <a:cubicBezTo>
                    <a:pt x="3807" y="16077"/>
                    <a:pt x="3807" y="16077"/>
                    <a:pt x="3807" y="16077"/>
                  </a:cubicBezTo>
                  <a:lnTo>
                    <a:pt x="4155" y="16317"/>
                  </a:lnTo>
                  <a:close/>
                  <a:moveTo>
                    <a:pt x="3313" y="15945"/>
                  </a:moveTo>
                  <a:cubicBezTo>
                    <a:pt x="3313" y="15946"/>
                    <a:pt x="3313" y="15946"/>
                    <a:pt x="3313" y="15946"/>
                  </a:cubicBezTo>
                  <a:cubicBezTo>
                    <a:pt x="3178" y="15889"/>
                    <a:pt x="3178" y="15889"/>
                    <a:pt x="3178" y="15889"/>
                  </a:cubicBezTo>
                  <a:cubicBezTo>
                    <a:pt x="3164" y="15875"/>
                    <a:pt x="2978" y="15692"/>
                    <a:pt x="2932" y="15645"/>
                  </a:cubicBezTo>
                  <a:cubicBezTo>
                    <a:pt x="3201" y="15495"/>
                    <a:pt x="3201" y="15495"/>
                    <a:pt x="3201" y="15495"/>
                  </a:cubicBezTo>
                  <a:cubicBezTo>
                    <a:pt x="3205" y="15503"/>
                    <a:pt x="3209" y="15511"/>
                    <a:pt x="3214" y="15521"/>
                  </a:cubicBezTo>
                  <a:cubicBezTo>
                    <a:pt x="3230" y="15552"/>
                    <a:pt x="3250" y="15592"/>
                    <a:pt x="3271" y="15632"/>
                  </a:cubicBezTo>
                  <a:cubicBezTo>
                    <a:pt x="3309" y="15704"/>
                    <a:pt x="3346" y="15775"/>
                    <a:pt x="3353" y="15789"/>
                  </a:cubicBezTo>
                  <a:cubicBezTo>
                    <a:pt x="3351" y="15798"/>
                    <a:pt x="3343" y="15827"/>
                    <a:pt x="3335" y="15858"/>
                  </a:cubicBezTo>
                  <a:cubicBezTo>
                    <a:pt x="3325" y="15894"/>
                    <a:pt x="3313" y="15934"/>
                    <a:pt x="3309" y="15941"/>
                  </a:cubicBezTo>
                  <a:cubicBezTo>
                    <a:pt x="3309" y="15941"/>
                    <a:pt x="3309" y="15941"/>
                    <a:pt x="3309" y="15941"/>
                  </a:cubicBezTo>
                  <a:lnTo>
                    <a:pt x="3313" y="15945"/>
                  </a:lnTo>
                  <a:close/>
                  <a:moveTo>
                    <a:pt x="1989" y="14709"/>
                  </a:moveTo>
                  <a:cubicBezTo>
                    <a:pt x="1888" y="14637"/>
                    <a:pt x="1888" y="14637"/>
                    <a:pt x="1888" y="14637"/>
                  </a:cubicBezTo>
                  <a:cubicBezTo>
                    <a:pt x="1906" y="14599"/>
                    <a:pt x="1922" y="14565"/>
                    <a:pt x="1935" y="14539"/>
                  </a:cubicBezTo>
                  <a:cubicBezTo>
                    <a:pt x="2036" y="14611"/>
                    <a:pt x="2036" y="14611"/>
                    <a:pt x="2036" y="14611"/>
                  </a:cubicBezTo>
                  <a:cubicBezTo>
                    <a:pt x="2024" y="14636"/>
                    <a:pt x="2008" y="14670"/>
                    <a:pt x="1989" y="14709"/>
                  </a:cubicBezTo>
                  <a:close/>
                  <a:moveTo>
                    <a:pt x="2047" y="14619"/>
                  </a:moveTo>
                  <a:cubicBezTo>
                    <a:pt x="2117" y="14670"/>
                    <a:pt x="2117" y="14670"/>
                    <a:pt x="2117" y="14670"/>
                  </a:cubicBezTo>
                  <a:cubicBezTo>
                    <a:pt x="2057" y="14757"/>
                    <a:pt x="2057" y="14757"/>
                    <a:pt x="2057" y="14757"/>
                  </a:cubicBezTo>
                  <a:cubicBezTo>
                    <a:pt x="2001" y="14717"/>
                    <a:pt x="2001" y="14717"/>
                    <a:pt x="2001" y="14717"/>
                  </a:cubicBezTo>
                  <a:cubicBezTo>
                    <a:pt x="2019" y="14678"/>
                    <a:pt x="2035" y="14645"/>
                    <a:pt x="2047" y="14619"/>
                  </a:cubicBezTo>
                  <a:close/>
                  <a:moveTo>
                    <a:pt x="1876" y="14629"/>
                  </a:moveTo>
                  <a:cubicBezTo>
                    <a:pt x="1781" y="14561"/>
                    <a:pt x="1781" y="14561"/>
                    <a:pt x="1781" y="14561"/>
                  </a:cubicBezTo>
                  <a:cubicBezTo>
                    <a:pt x="1799" y="14523"/>
                    <a:pt x="1815" y="14489"/>
                    <a:pt x="1828" y="14462"/>
                  </a:cubicBezTo>
                  <a:cubicBezTo>
                    <a:pt x="1924" y="14530"/>
                    <a:pt x="1924" y="14530"/>
                    <a:pt x="1924" y="14530"/>
                  </a:cubicBezTo>
                  <a:cubicBezTo>
                    <a:pt x="1911" y="14557"/>
                    <a:pt x="1895" y="14591"/>
                    <a:pt x="1876" y="14629"/>
                  </a:cubicBezTo>
                  <a:close/>
                  <a:moveTo>
                    <a:pt x="1769" y="14553"/>
                  </a:moveTo>
                  <a:cubicBezTo>
                    <a:pt x="1709" y="14510"/>
                    <a:pt x="1709" y="14510"/>
                    <a:pt x="1709" y="14510"/>
                  </a:cubicBezTo>
                  <a:cubicBezTo>
                    <a:pt x="1774" y="14422"/>
                    <a:pt x="1774" y="14422"/>
                    <a:pt x="1774" y="14422"/>
                  </a:cubicBezTo>
                  <a:cubicBezTo>
                    <a:pt x="1817" y="14453"/>
                    <a:pt x="1817" y="14453"/>
                    <a:pt x="1817" y="14453"/>
                  </a:cubicBezTo>
                  <a:cubicBezTo>
                    <a:pt x="1804" y="14481"/>
                    <a:pt x="1787" y="14515"/>
                    <a:pt x="1769" y="14553"/>
                  </a:cubicBezTo>
                  <a:close/>
                  <a:moveTo>
                    <a:pt x="1775" y="14573"/>
                  </a:moveTo>
                  <a:cubicBezTo>
                    <a:pt x="1871" y="14641"/>
                    <a:pt x="1871" y="14641"/>
                    <a:pt x="1871" y="14641"/>
                  </a:cubicBezTo>
                  <a:cubicBezTo>
                    <a:pt x="1856" y="14671"/>
                    <a:pt x="1841" y="14703"/>
                    <a:pt x="1825" y="14737"/>
                  </a:cubicBezTo>
                  <a:cubicBezTo>
                    <a:pt x="1744" y="14638"/>
                    <a:pt x="1744" y="14638"/>
                    <a:pt x="1744" y="14638"/>
                  </a:cubicBezTo>
                  <a:cubicBezTo>
                    <a:pt x="1754" y="14616"/>
                    <a:pt x="1765" y="14594"/>
                    <a:pt x="1775" y="14573"/>
                  </a:cubicBezTo>
                  <a:close/>
                  <a:moveTo>
                    <a:pt x="1818" y="14751"/>
                  </a:moveTo>
                  <a:cubicBezTo>
                    <a:pt x="1774" y="14843"/>
                    <a:pt x="1726" y="14943"/>
                    <a:pt x="1688" y="15025"/>
                  </a:cubicBezTo>
                  <a:cubicBezTo>
                    <a:pt x="1593" y="14956"/>
                    <a:pt x="1593" y="14956"/>
                    <a:pt x="1593" y="14956"/>
                  </a:cubicBezTo>
                  <a:cubicBezTo>
                    <a:pt x="1622" y="14894"/>
                    <a:pt x="1657" y="14820"/>
                    <a:pt x="1692" y="14746"/>
                  </a:cubicBezTo>
                  <a:cubicBezTo>
                    <a:pt x="1707" y="14715"/>
                    <a:pt x="1722" y="14683"/>
                    <a:pt x="1737" y="14652"/>
                  </a:cubicBezTo>
                  <a:lnTo>
                    <a:pt x="1818" y="14751"/>
                  </a:lnTo>
                  <a:close/>
                  <a:moveTo>
                    <a:pt x="1694" y="15045"/>
                  </a:moveTo>
                  <a:cubicBezTo>
                    <a:pt x="1794" y="15118"/>
                    <a:pt x="1794" y="15118"/>
                    <a:pt x="1794" y="15118"/>
                  </a:cubicBezTo>
                  <a:cubicBezTo>
                    <a:pt x="1777" y="15155"/>
                    <a:pt x="1761" y="15189"/>
                    <a:pt x="1748" y="15216"/>
                  </a:cubicBezTo>
                  <a:cubicBezTo>
                    <a:pt x="1648" y="15144"/>
                    <a:pt x="1648" y="15144"/>
                    <a:pt x="1648" y="15144"/>
                  </a:cubicBezTo>
                  <a:cubicBezTo>
                    <a:pt x="1656" y="15126"/>
                    <a:pt x="1666" y="15104"/>
                    <a:pt x="1678" y="15080"/>
                  </a:cubicBezTo>
                  <a:cubicBezTo>
                    <a:pt x="1683" y="15069"/>
                    <a:pt x="1688" y="15057"/>
                    <a:pt x="1694" y="15045"/>
                  </a:cubicBezTo>
                  <a:close/>
                  <a:moveTo>
                    <a:pt x="1784" y="15172"/>
                  </a:moveTo>
                  <a:cubicBezTo>
                    <a:pt x="1791" y="15158"/>
                    <a:pt x="1798" y="15142"/>
                    <a:pt x="1806" y="15126"/>
                  </a:cubicBezTo>
                  <a:cubicBezTo>
                    <a:pt x="1874" y="15175"/>
                    <a:pt x="1874" y="15175"/>
                    <a:pt x="1874" y="15175"/>
                  </a:cubicBezTo>
                  <a:cubicBezTo>
                    <a:pt x="1813" y="15262"/>
                    <a:pt x="1813" y="15262"/>
                    <a:pt x="1813" y="15262"/>
                  </a:cubicBezTo>
                  <a:cubicBezTo>
                    <a:pt x="1760" y="15224"/>
                    <a:pt x="1760" y="15224"/>
                    <a:pt x="1760" y="15224"/>
                  </a:cubicBezTo>
                  <a:cubicBezTo>
                    <a:pt x="1767" y="15209"/>
                    <a:pt x="1775" y="15191"/>
                    <a:pt x="1784" y="15172"/>
                  </a:cubicBezTo>
                  <a:close/>
                  <a:moveTo>
                    <a:pt x="1800" y="15105"/>
                  </a:moveTo>
                  <a:cubicBezTo>
                    <a:pt x="1699" y="15033"/>
                    <a:pt x="1699" y="15033"/>
                    <a:pt x="1699" y="15033"/>
                  </a:cubicBezTo>
                  <a:cubicBezTo>
                    <a:pt x="1728" y="14973"/>
                    <a:pt x="1761" y="14903"/>
                    <a:pt x="1795" y="14832"/>
                  </a:cubicBezTo>
                  <a:cubicBezTo>
                    <a:pt x="1795" y="14832"/>
                    <a:pt x="1795" y="14832"/>
                    <a:pt x="1795" y="14832"/>
                  </a:cubicBezTo>
                  <a:cubicBezTo>
                    <a:pt x="1915" y="14863"/>
                    <a:pt x="1915" y="14863"/>
                    <a:pt x="1915" y="14863"/>
                  </a:cubicBezTo>
                  <a:cubicBezTo>
                    <a:pt x="1876" y="14945"/>
                    <a:pt x="1835" y="15032"/>
                    <a:pt x="1800" y="15105"/>
                  </a:cubicBezTo>
                  <a:close/>
                  <a:moveTo>
                    <a:pt x="1801" y="14819"/>
                  </a:moveTo>
                  <a:cubicBezTo>
                    <a:pt x="1829" y="14759"/>
                    <a:pt x="1858" y="14701"/>
                    <a:pt x="1882" y="14649"/>
                  </a:cubicBezTo>
                  <a:cubicBezTo>
                    <a:pt x="1983" y="14721"/>
                    <a:pt x="1983" y="14721"/>
                    <a:pt x="1983" y="14721"/>
                  </a:cubicBezTo>
                  <a:cubicBezTo>
                    <a:pt x="1964" y="14760"/>
                    <a:pt x="1943" y="14804"/>
                    <a:pt x="1921" y="14850"/>
                  </a:cubicBezTo>
                  <a:lnTo>
                    <a:pt x="1801" y="14819"/>
                  </a:lnTo>
                  <a:close/>
                  <a:moveTo>
                    <a:pt x="1995" y="14729"/>
                  </a:moveTo>
                  <a:cubicBezTo>
                    <a:pt x="2060" y="14775"/>
                    <a:pt x="2060" y="14775"/>
                    <a:pt x="2060" y="14775"/>
                  </a:cubicBezTo>
                  <a:cubicBezTo>
                    <a:pt x="2132" y="14672"/>
                    <a:pt x="2132" y="14672"/>
                    <a:pt x="2132" y="14672"/>
                  </a:cubicBezTo>
                  <a:cubicBezTo>
                    <a:pt x="2135" y="14667"/>
                    <a:pt x="2135" y="14667"/>
                    <a:pt x="2135" y="14667"/>
                  </a:cubicBezTo>
                  <a:cubicBezTo>
                    <a:pt x="2053" y="14607"/>
                    <a:pt x="2053" y="14607"/>
                    <a:pt x="2053" y="14607"/>
                  </a:cubicBezTo>
                  <a:cubicBezTo>
                    <a:pt x="2060" y="14594"/>
                    <a:pt x="2065" y="14583"/>
                    <a:pt x="2068" y="14577"/>
                  </a:cubicBezTo>
                  <a:cubicBezTo>
                    <a:pt x="2157" y="14654"/>
                    <a:pt x="2157" y="14654"/>
                    <a:pt x="2157" y="14654"/>
                  </a:cubicBezTo>
                  <a:cubicBezTo>
                    <a:pt x="2151" y="14652"/>
                    <a:pt x="2151" y="14652"/>
                    <a:pt x="2151" y="14652"/>
                  </a:cubicBezTo>
                  <a:cubicBezTo>
                    <a:pt x="2151" y="14652"/>
                    <a:pt x="2102" y="14754"/>
                    <a:pt x="2041" y="14882"/>
                  </a:cubicBezTo>
                  <a:cubicBezTo>
                    <a:pt x="1935" y="14854"/>
                    <a:pt x="1935" y="14854"/>
                    <a:pt x="1935" y="14854"/>
                  </a:cubicBezTo>
                  <a:cubicBezTo>
                    <a:pt x="1956" y="14810"/>
                    <a:pt x="1976" y="14767"/>
                    <a:pt x="1995" y="14729"/>
                  </a:cubicBezTo>
                  <a:close/>
                  <a:moveTo>
                    <a:pt x="2042" y="14599"/>
                  </a:moveTo>
                  <a:cubicBezTo>
                    <a:pt x="1941" y="14527"/>
                    <a:pt x="1941" y="14527"/>
                    <a:pt x="1941" y="14527"/>
                  </a:cubicBezTo>
                  <a:cubicBezTo>
                    <a:pt x="1951" y="14507"/>
                    <a:pt x="1958" y="14492"/>
                    <a:pt x="1961" y="14484"/>
                  </a:cubicBezTo>
                  <a:cubicBezTo>
                    <a:pt x="2057" y="14567"/>
                    <a:pt x="2057" y="14567"/>
                    <a:pt x="2057" y="14567"/>
                  </a:cubicBezTo>
                  <a:cubicBezTo>
                    <a:pt x="2054" y="14573"/>
                    <a:pt x="2049" y="14584"/>
                    <a:pt x="2042" y="14599"/>
                  </a:cubicBezTo>
                  <a:close/>
                  <a:moveTo>
                    <a:pt x="1929" y="14518"/>
                  </a:moveTo>
                  <a:cubicBezTo>
                    <a:pt x="1834" y="14450"/>
                    <a:pt x="1834" y="14450"/>
                    <a:pt x="1834" y="14450"/>
                  </a:cubicBezTo>
                  <a:cubicBezTo>
                    <a:pt x="1847" y="14423"/>
                    <a:pt x="1856" y="14404"/>
                    <a:pt x="1860" y="14396"/>
                  </a:cubicBezTo>
                  <a:cubicBezTo>
                    <a:pt x="1950" y="14475"/>
                    <a:pt x="1950" y="14475"/>
                    <a:pt x="1950" y="14475"/>
                  </a:cubicBezTo>
                  <a:cubicBezTo>
                    <a:pt x="1947" y="14481"/>
                    <a:pt x="1940" y="14496"/>
                    <a:pt x="1929" y="14518"/>
                  </a:cubicBezTo>
                  <a:close/>
                  <a:moveTo>
                    <a:pt x="1823" y="14441"/>
                  </a:moveTo>
                  <a:cubicBezTo>
                    <a:pt x="1771" y="14404"/>
                    <a:pt x="1771" y="14404"/>
                    <a:pt x="1771" y="14404"/>
                  </a:cubicBezTo>
                  <a:cubicBezTo>
                    <a:pt x="1690" y="14513"/>
                    <a:pt x="1690" y="14513"/>
                    <a:pt x="1690" y="14513"/>
                  </a:cubicBezTo>
                  <a:cubicBezTo>
                    <a:pt x="1763" y="14565"/>
                    <a:pt x="1763" y="14565"/>
                    <a:pt x="1763" y="14565"/>
                  </a:cubicBezTo>
                  <a:cubicBezTo>
                    <a:pt x="1754" y="14585"/>
                    <a:pt x="1744" y="14605"/>
                    <a:pt x="1734" y="14627"/>
                  </a:cubicBezTo>
                  <a:cubicBezTo>
                    <a:pt x="1665" y="14543"/>
                    <a:pt x="1665" y="14543"/>
                    <a:pt x="1665" y="14543"/>
                  </a:cubicBezTo>
                  <a:cubicBezTo>
                    <a:pt x="1716" y="14438"/>
                    <a:pt x="1758" y="14350"/>
                    <a:pt x="1773" y="14320"/>
                  </a:cubicBezTo>
                  <a:cubicBezTo>
                    <a:pt x="1849" y="14386"/>
                    <a:pt x="1849" y="14386"/>
                    <a:pt x="1849" y="14386"/>
                  </a:cubicBezTo>
                  <a:cubicBezTo>
                    <a:pt x="1847" y="14391"/>
                    <a:pt x="1837" y="14411"/>
                    <a:pt x="1823" y="14441"/>
                  </a:cubicBezTo>
                  <a:close/>
                  <a:moveTo>
                    <a:pt x="1618" y="14607"/>
                  </a:moveTo>
                  <a:cubicBezTo>
                    <a:pt x="1606" y="14599"/>
                    <a:pt x="1565" y="14572"/>
                    <a:pt x="1521" y="14543"/>
                  </a:cubicBezTo>
                  <a:cubicBezTo>
                    <a:pt x="1546" y="14491"/>
                    <a:pt x="1571" y="14440"/>
                    <a:pt x="1593" y="14394"/>
                  </a:cubicBezTo>
                  <a:cubicBezTo>
                    <a:pt x="1667" y="14446"/>
                    <a:pt x="1667" y="14446"/>
                    <a:pt x="1667" y="14446"/>
                  </a:cubicBezTo>
                  <a:cubicBezTo>
                    <a:pt x="1739" y="14343"/>
                    <a:pt x="1739" y="14343"/>
                    <a:pt x="1739" y="14343"/>
                  </a:cubicBezTo>
                  <a:cubicBezTo>
                    <a:pt x="1742" y="14338"/>
                    <a:pt x="1742" y="14338"/>
                    <a:pt x="1742" y="14338"/>
                  </a:cubicBezTo>
                  <a:cubicBezTo>
                    <a:pt x="1652" y="14272"/>
                    <a:pt x="1652" y="14272"/>
                    <a:pt x="1652" y="14272"/>
                  </a:cubicBezTo>
                  <a:cubicBezTo>
                    <a:pt x="1661" y="14254"/>
                    <a:pt x="1667" y="14240"/>
                    <a:pt x="1671" y="14232"/>
                  </a:cubicBezTo>
                  <a:cubicBezTo>
                    <a:pt x="1762" y="14311"/>
                    <a:pt x="1762" y="14311"/>
                    <a:pt x="1762" y="14311"/>
                  </a:cubicBezTo>
                  <a:cubicBezTo>
                    <a:pt x="1747" y="14342"/>
                    <a:pt x="1685" y="14468"/>
                    <a:pt x="1618" y="14607"/>
                  </a:cubicBezTo>
                  <a:close/>
                  <a:moveTo>
                    <a:pt x="1382" y="14802"/>
                  </a:moveTo>
                  <a:cubicBezTo>
                    <a:pt x="1316" y="14755"/>
                    <a:pt x="1316" y="14755"/>
                    <a:pt x="1316" y="14755"/>
                  </a:cubicBezTo>
                  <a:cubicBezTo>
                    <a:pt x="1235" y="14863"/>
                    <a:pt x="1235" y="14863"/>
                    <a:pt x="1235" y="14863"/>
                  </a:cubicBezTo>
                  <a:cubicBezTo>
                    <a:pt x="1324" y="14926"/>
                    <a:pt x="1324" y="14926"/>
                    <a:pt x="1324" y="14926"/>
                  </a:cubicBezTo>
                  <a:cubicBezTo>
                    <a:pt x="1321" y="14933"/>
                    <a:pt x="1318" y="14940"/>
                    <a:pt x="1316" y="14945"/>
                  </a:cubicBezTo>
                  <a:cubicBezTo>
                    <a:pt x="1280" y="14919"/>
                    <a:pt x="1248" y="14894"/>
                    <a:pt x="1220" y="14873"/>
                  </a:cubicBezTo>
                  <a:cubicBezTo>
                    <a:pt x="1405" y="14486"/>
                    <a:pt x="1405" y="14486"/>
                    <a:pt x="1405" y="14486"/>
                  </a:cubicBezTo>
                  <a:cubicBezTo>
                    <a:pt x="1412" y="14490"/>
                    <a:pt x="1421" y="14495"/>
                    <a:pt x="1431" y="14502"/>
                  </a:cubicBezTo>
                  <a:cubicBezTo>
                    <a:pt x="1451" y="14515"/>
                    <a:pt x="1477" y="14531"/>
                    <a:pt x="1503" y="14548"/>
                  </a:cubicBezTo>
                  <a:cubicBezTo>
                    <a:pt x="1461" y="14637"/>
                    <a:pt x="1417" y="14728"/>
                    <a:pt x="1382" y="14802"/>
                  </a:cubicBezTo>
                  <a:close/>
                  <a:moveTo>
                    <a:pt x="1388" y="14823"/>
                  </a:moveTo>
                  <a:cubicBezTo>
                    <a:pt x="1462" y="14877"/>
                    <a:pt x="1462" y="14877"/>
                    <a:pt x="1462" y="14877"/>
                  </a:cubicBezTo>
                  <a:cubicBezTo>
                    <a:pt x="1401" y="14964"/>
                    <a:pt x="1401" y="14964"/>
                    <a:pt x="1401" y="14964"/>
                  </a:cubicBezTo>
                  <a:cubicBezTo>
                    <a:pt x="1341" y="14922"/>
                    <a:pt x="1341" y="14922"/>
                    <a:pt x="1341" y="14922"/>
                  </a:cubicBezTo>
                  <a:cubicBezTo>
                    <a:pt x="1351" y="14902"/>
                    <a:pt x="1362" y="14876"/>
                    <a:pt x="1377" y="14846"/>
                  </a:cubicBezTo>
                  <a:cubicBezTo>
                    <a:pt x="1380" y="14839"/>
                    <a:pt x="1384" y="14831"/>
                    <a:pt x="1388" y="14823"/>
                  </a:cubicBezTo>
                  <a:close/>
                  <a:moveTo>
                    <a:pt x="1254" y="14860"/>
                  </a:moveTo>
                  <a:cubicBezTo>
                    <a:pt x="1319" y="14773"/>
                    <a:pt x="1319" y="14773"/>
                    <a:pt x="1319" y="14773"/>
                  </a:cubicBezTo>
                  <a:cubicBezTo>
                    <a:pt x="1376" y="14815"/>
                    <a:pt x="1376" y="14815"/>
                    <a:pt x="1376" y="14815"/>
                  </a:cubicBezTo>
                  <a:cubicBezTo>
                    <a:pt x="1357" y="14854"/>
                    <a:pt x="1341" y="14888"/>
                    <a:pt x="1330" y="14914"/>
                  </a:cubicBezTo>
                  <a:lnTo>
                    <a:pt x="1254" y="14860"/>
                  </a:lnTo>
                  <a:close/>
                  <a:moveTo>
                    <a:pt x="1336" y="14934"/>
                  </a:moveTo>
                  <a:cubicBezTo>
                    <a:pt x="1404" y="14983"/>
                    <a:pt x="1404" y="14983"/>
                    <a:pt x="1404" y="14983"/>
                  </a:cubicBezTo>
                  <a:cubicBezTo>
                    <a:pt x="1476" y="14879"/>
                    <a:pt x="1476" y="14879"/>
                    <a:pt x="1476" y="14879"/>
                  </a:cubicBezTo>
                  <a:cubicBezTo>
                    <a:pt x="1480" y="14874"/>
                    <a:pt x="1480" y="14874"/>
                    <a:pt x="1480" y="14874"/>
                  </a:cubicBezTo>
                  <a:cubicBezTo>
                    <a:pt x="1393" y="14811"/>
                    <a:pt x="1393" y="14811"/>
                    <a:pt x="1393" y="14811"/>
                  </a:cubicBezTo>
                  <a:cubicBezTo>
                    <a:pt x="1424" y="14746"/>
                    <a:pt x="1461" y="14669"/>
                    <a:pt x="1498" y="14591"/>
                  </a:cubicBezTo>
                  <a:cubicBezTo>
                    <a:pt x="1504" y="14579"/>
                    <a:pt x="1509" y="14568"/>
                    <a:pt x="1515" y="14556"/>
                  </a:cubicBezTo>
                  <a:cubicBezTo>
                    <a:pt x="1560" y="14585"/>
                    <a:pt x="1602" y="14613"/>
                    <a:pt x="1612" y="14620"/>
                  </a:cubicBezTo>
                  <a:cubicBezTo>
                    <a:pt x="1530" y="14790"/>
                    <a:pt x="1442" y="14974"/>
                    <a:pt x="1420" y="15024"/>
                  </a:cubicBezTo>
                  <a:cubicBezTo>
                    <a:pt x="1387" y="14999"/>
                    <a:pt x="1356" y="14976"/>
                    <a:pt x="1327" y="14954"/>
                  </a:cubicBezTo>
                  <a:cubicBezTo>
                    <a:pt x="1329" y="14948"/>
                    <a:pt x="1332" y="14942"/>
                    <a:pt x="1336" y="14934"/>
                  </a:cubicBezTo>
                  <a:close/>
                  <a:moveTo>
                    <a:pt x="1587" y="14374"/>
                  </a:moveTo>
                  <a:cubicBezTo>
                    <a:pt x="1526" y="14331"/>
                    <a:pt x="1526" y="14331"/>
                    <a:pt x="1526" y="14331"/>
                  </a:cubicBezTo>
                  <a:cubicBezTo>
                    <a:pt x="1591" y="14244"/>
                    <a:pt x="1591" y="14244"/>
                    <a:pt x="1591" y="14244"/>
                  </a:cubicBezTo>
                  <a:cubicBezTo>
                    <a:pt x="1635" y="14276"/>
                    <a:pt x="1635" y="14276"/>
                    <a:pt x="1635" y="14276"/>
                  </a:cubicBezTo>
                  <a:cubicBezTo>
                    <a:pt x="1622" y="14302"/>
                    <a:pt x="1606" y="14336"/>
                    <a:pt x="1587" y="14374"/>
                  </a:cubicBezTo>
                  <a:close/>
                  <a:moveTo>
                    <a:pt x="1646" y="14284"/>
                  </a:moveTo>
                  <a:cubicBezTo>
                    <a:pt x="1724" y="14341"/>
                    <a:pt x="1724" y="14341"/>
                    <a:pt x="1724" y="14341"/>
                  </a:cubicBezTo>
                  <a:cubicBezTo>
                    <a:pt x="1664" y="14428"/>
                    <a:pt x="1664" y="14428"/>
                    <a:pt x="1664" y="14428"/>
                  </a:cubicBezTo>
                  <a:cubicBezTo>
                    <a:pt x="1599" y="14382"/>
                    <a:pt x="1599" y="14382"/>
                    <a:pt x="1599" y="14382"/>
                  </a:cubicBezTo>
                  <a:cubicBezTo>
                    <a:pt x="1617" y="14344"/>
                    <a:pt x="1633" y="14310"/>
                    <a:pt x="1646" y="14284"/>
                  </a:cubicBezTo>
                  <a:close/>
                  <a:moveTo>
                    <a:pt x="1641" y="14264"/>
                  </a:moveTo>
                  <a:cubicBezTo>
                    <a:pt x="1589" y="14226"/>
                    <a:pt x="1589" y="14226"/>
                    <a:pt x="1589" y="14226"/>
                  </a:cubicBezTo>
                  <a:cubicBezTo>
                    <a:pt x="1508" y="14334"/>
                    <a:pt x="1508" y="14334"/>
                    <a:pt x="1508" y="14334"/>
                  </a:cubicBezTo>
                  <a:cubicBezTo>
                    <a:pt x="1581" y="14386"/>
                    <a:pt x="1581" y="14386"/>
                    <a:pt x="1581" y="14386"/>
                  </a:cubicBezTo>
                  <a:cubicBezTo>
                    <a:pt x="1559" y="14432"/>
                    <a:pt x="1535" y="14483"/>
                    <a:pt x="1509" y="14536"/>
                  </a:cubicBezTo>
                  <a:cubicBezTo>
                    <a:pt x="1470" y="14510"/>
                    <a:pt x="1431" y="14485"/>
                    <a:pt x="1412" y="14474"/>
                  </a:cubicBezTo>
                  <a:cubicBezTo>
                    <a:pt x="1412" y="14474"/>
                    <a:pt x="1412" y="14474"/>
                    <a:pt x="1411" y="14474"/>
                  </a:cubicBezTo>
                  <a:cubicBezTo>
                    <a:pt x="1570" y="14143"/>
                    <a:pt x="1570" y="14143"/>
                    <a:pt x="1570" y="14143"/>
                  </a:cubicBezTo>
                  <a:cubicBezTo>
                    <a:pt x="1661" y="14222"/>
                    <a:pt x="1661" y="14222"/>
                    <a:pt x="1661" y="14222"/>
                  </a:cubicBezTo>
                  <a:cubicBezTo>
                    <a:pt x="1657" y="14230"/>
                    <a:pt x="1650" y="14244"/>
                    <a:pt x="1641" y="14264"/>
                  </a:cubicBezTo>
                  <a:close/>
                  <a:moveTo>
                    <a:pt x="1396" y="14467"/>
                  </a:moveTo>
                  <a:cubicBezTo>
                    <a:pt x="1396" y="14467"/>
                    <a:pt x="1395" y="14467"/>
                    <a:pt x="1395" y="14467"/>
                  </a:cubicBezTo>
                  <a:cubicBezTo>
                    <a:pt x="1393" y="14468"/>
                    <a:pt x="1392" y="14469"/>
                    <a:pt x="1391" y="14470"/>
                  </a:cubicBezTo>
                  <a:cubicBezTo>
                    <a:pt x="1394" y="14472"/>
                    <a:pt x="1394" y="14472"/>
                    <a:pt x="1394" y="14472"/>
                  </a:cubicBezTo>
                  <a:cubicBezTo>
                    <a:pt x="1206" y="14863"/>
                    <a:pt x="1206" y="14863"/>
                    <a:pt x="1206" y="14863"/>
                  </a:cubicBezTo>
                  <a:cubicBezTo>
                    <a:pt x="1138" y="14811"/>
                    <a:pt x="1095" y="14779"/>
                    <a:pt x="1095" y="14779"/>
                  </a:cubicBezTo>
                  <a:cubicBezTo>
                    <a:pt x="1093" y="14781"/>
                    <a:pt x="1093" y="14781"/>
                    <a:pt x="1093" y="14781"/>
                  </a:cubicBezTo>
                  <a:cubicBezTo>
                    <a:pt x="1057" y="14754"/>
                    <a:pt x="1057" y="14754"/>
                    <a:pt x="1057" y="14754"/>
                  </a:cubicBezTo>
                  <a:cubicBezTo>
                    <a:pt x="1416" y="14002"/>
                    <a:pt x="1416" y="14002"/>
                    <a:pt x="1416" y="14002"/>
                  </a:cubicBezTo>
                  <a:cubicBezTo>
                    <a:pt x="1556" y="14135"/>
                    <a:pt x="1556" y="14135"/>
                    <a:pt x="1556" y="14135"/>
                  </a:cubicBezTo>
                  <a:lnTo>
                    <a:pt x="1396" y="14467"/>
                  </a:lnTo>
                  <a:close/>
                  <a:moveTo>
                    <a:pt x="1503" y="15171"/>
                  </a:moveTo>
                  <a:cubicBezTo>
                    <a:pt x="1198" y="15542"/>
                    <a:pt x="1198" y="15542"/>
                    <a:pt x="1198" y="15542"/>
                  </a:cubicBezTo>
                  <a:cubicBezTo>
                    <a:pt x="930" y="15306"/>
                    <a:pt x="930" y="15306"/>
                    <a:pt x="930" y="15306"/>
                  </a:cubicBezTo>
                  <a:cubicBezTo>
                    <a:pt x="930" y="15306"/>
                    <a:pt x="930" y="15306"/>
                    <a:pt x="930" y="15306"/>
                  </a:cubicBezTo>
                  <a:cubicBezTo>
                    <a:pt x="926" y="15311"/>
                    <a:pt x="926" y="15311"/>
                    <a:pt x="926" y="15311"/>
                  </a:cubicBezTo>
                  <a:cubicBezTo>
                    <a:pt x="991" y="15066"/>
                    <a:pt x="991" y="15066"/>
                    <a:pt x="991" y="15066"/>
                  </a:cubicBezTo>
                  <a:cubicBezTo>
                    <a:pt x="946" y="14944"/>
                    <a:pt x="946" y="14944"/>
                    <a:pt x="946" y="14944"/>
                  </a:cubicBezTo>
                  <a:cubicBezTo>
                    <a:pt x="1042" y="14827"/>
                    <a:pt x="1042" y="14827"/>
                    <a:pt x="1042" y="14827"/>
                  </a:cubicBezTo>
                  <a:cubicBezTo>
                    <a:pt x="1045" y="14829"/>
                    <a:pt x="1262" y="14991"/>
                    <a:pt x="1503" y="15171"/>
                  </a:cubicBezTo>
                  <a:close/>
                  <a:moveTo>
                    <a:pt x="1431" y="15032"/>
                  </a:moveTo>
                  <a:cubicBezTo>
                    <a:pt x="1432" y="15032"/>
                    <a:pt x="1432" y="15032"/>
                    <a:pt x="1432" y="15032"/>
                  </a:cubicBezTo>
                  <a:cubicBezTo>
                    <a:pt x="1434" y="15026"/>
                    <a:pt x="1438" y="15017"/>
                    <a:pt x="1443" y="15007"/>
                  </a:cubicBezTo>
                  <a:cubicBezTo>
                    <a:pt x="1452" y="14986"/>
                    <a:pt x="1466" y="14957"/>
                    <a:pt x="1482" y="14922"/>
                  </a:cubicBezTo>
                  <a:cubicBezTo>
                    <a:pt x="1515" y="14853"/>
                    <a:pt x="1559" y="14761"/>
                    <a:pt x="1603" y="14671"/>
                  </a:cubicBezTo>
                  <a:cubicBezTo>
                    <a:pt x="1622" y="14632"/>
                    <a:pt x="1640" y="14593"/>
                    <a:pt x="1658" y="14556"/>
                  </a:cubicBezTo>
                  <a:cubicBezTo>
                    <a:pt x="1727" y="14640"/>
                    <a:pt x="1727" y="14640"/>
                    <a:pt x="1727" y="14640"/>
                  </a:cubicBezTo>
                  <a:cubicBezTo>
                    <a:pt x="1678" y="14743"/>
                    <a:pt x="1624" y="14858"/>
                    <a:pt x="1581" y="14948"/>
                  </a:cubicBezTo>
                  <a:cubicBezTo>
                    <a:pt x="1527" y="14909"/>
                    <a:pt x="1527" y="14909"/>
                    <a:pt x="1527" y="14909"/>
                  </a:cubicBezTo>
                  <a:cubicBezTo>
                    <a:pt x="1446" y="15018"/>
                    <a:pt x="1446" y="15018"/>
                    <a:pt x="1446" y="15018"/>
                  </a:cubicBezTo>
                  <a:cubicBezTo>
                    <a:pt x="1524" y="15072"/>
                    <a:pt x="1524" y="15072"/>
                    <a:pt x="1524" y="15072"/>
                  </a:cubicBezTo>
                  <a:cubicBezTo>
                    <a:pt x="1519" y="15081"/>
                    <a:pt x="1516" y="15089"/>
                    <a:pt x="1514" y="15094"/>
                  </a:cubicBezTo>
                  <a:cubicBezTo>
                    <a:pt x="1486" y="15073"/>
                    <a:pt x="1458" y="15053"/>
                    <a:pt x="1431" y="15032"/>
                  </a:cubicBezTo>
                  <a:close/>
                  <a:moveTo>
                    <a:pt x="1465" y="15015"/>
                  </a:moveTo>
                  <a:cubicBezTo>
                    <a:pt x="1530" y="14927"/>
                    <a:pt x="1530" y="14927"/>
                    <a:pt x="1530" y="14927"/>
                  </a:cubicBezTo>
                  <a:cubicBezTo>
                    <a:pt x="1575" y="14960"/>
                    <a:pt x="1575" y="14960"/>
                    <a:pt x="1575" y="14960"/>
                  </a:cubicBezTo>
                  <a:cubicBezTo>
                    <a:pt x="1557" y="15000"/>
                    <a:pt x="1541" y="15035"/>
                    <a:pt x="1529" y="15060"/>
                  </a:cubicBezTo>
                  <a:lnTo>
                    <a:pt x="1465" y="15015"/>
                  </a:lnTo>
                  <a:close/>
                  <a:moveTo>
                    <a:pt x="1526" y="15102"/>
                  </a:moveTo>
                  <a:cubicBezTo>
                    <a:pt x="1528" y="15096"/>
                    <a:pt x="1531" y="15089"/>
                    <a:pt x="1535" y="15081"/>
                  </a:cubicBezTo>
                  <a:cubicBezTo>
                    <a:pt x="1631" y="15148"/>
                    <a:pt x="1631" y="15148"/>
                    <a:pt x="1631" y="15148"/>
                  </a:cubicBezTo>
                  <a:cubicBezTo>
                    <a:pt x="1626" y="15158"/>
                    <a:pt x="1622" y="15167"/>
                    <a:pt x="1619" y="15174"/>
                  </a:cubicBezTo>
                  <a:cubicBezTo>
                    <a:pt x="1599" y="15159"/>
                    <a:pt x="1580" y="15144"/>
                    <a:pt x="1560" y="15129"/>
                  </a:cubicBezTo>
                  <a:cubicBezTo>
                    <a:pt x="1548" y="15120"/>
                    <a:pt x="1537" y="15112"/>
                    <a:pt x="1525" y="15103"/>
                  </a:cubicBezTo>
                  <a:cubicBezTo>
                    <a:pt x="1526" y="15102"/>
                    <a:pt x="1526" y="15102"/>
                    <a:pt x="1526" y="15102"/>
                  </a:cubicBezTo>
                  <a:close/>
                  <a:moveTo>
                    <a:pt x="1541" y="15068"/>
                  </a:moveTo>
                  <a:cubicBezTo>
                    <a:pt x="1550" y="15049"/>
                    <a:pt x="1561" y="15023"/>
                    <a:pt x="1575" y="14994"/>
                  </a:cubicBezTo>
                  <a:cubicBezTo>
                    <a:pt x="1579" y="14986"/>
                    <a:pt x="1583" y="14977"/>
                    <a:pt x="1587" y="14968"/>
                  </a:cubicBezTo>
                  <a:cubicBezTo>
                    <a:pt x="1682" y="15037"/>
                    <a:pt x="1682" y="15037"/>
                    <a:pt x="1682" y="15037"/>
                  </a:cubicBezTo>
                  <a:cubicBezTo>
                    <a:pt x="1664" y="15076"/>
                    <a:pt x="1648" y="15110"/>
                    <a:pt x="1636" y="15136"/>
                  </a:cubicBezTo>
                  <a:lnTo>
                    <a:pt x="1541" y="15068"/>
                  </a:lnTo>
                  <a:close/>
                  <a:moveTo>
                    <a:pt x="1639" y="15163"/>
                  </a:moveTo>
                  <a:cubicBezTo>
                    <a:pt x="1640" y="15161"/>
                    <a:pt x="1641" y="15159"/>
                    <a:pt x="1642" y="15157"/>
                  </a:cubicBezTo>
                  <a:cubicBezTo>
                    <a:pt x="1743" y="15228"/>
                    <a:pt x="1743" y="15228"/>
                    <a:pt x="1743" y="15228"/>
                  </a:cubicBezTo>
                  <a:cubicBezTo>
                    <a:pt x="1738" y="15239"/>
                    <a:pt x="1733" y="15249"/>
                    <a:pt x="1730" y="15257"/>
                  </a:cubicBezTo>
                  <a:cubicBezTo>
                    <a:pt x="1697" y="15232"/>
                    <a:pt x="1664" y="15207"/>
                    <a:pt x="1631" y="15182"/>
                  </a:cubicBezTo>
                  <a:cubicBezTo>
                    <a:pt x="1633" y="15177"/>
                    <a:pt x="1636" y="15171"/>
                    <a:pt x="1639" y="15163"/>
                  </a:cubicBezTo>
                  <a:close/>
                  <a:moveTo>
                    <a:pt x="1746" y="15255"/>
                  </a:moveTo>
                  <a:cubicBezTo>
                    <a:pt x="1748" y="15250"/>
                    <a:pt x="1751" y="15243"/>
                    <a:pt x="1754" y="15236"/>
                  </a:cubicBezTo>
                  <a:cubicBezTo>
                    <a:pt x="1816" y="15280"/>
                    <a:pt x="1816" y="15280"/>
                    <a:pt x="1816" y="15280"/>
                  </a:cubicBezTo>
                  <a:cubicBezTo>
                    <a:pt x="1888" y="15177"/>
                    <a:pt x="1888" y="15177"/>
                    <a:pt x="1888" y="15177"/>
                  </a:cubicBezTo>
                  <a:cubicBezTo>
                    <a:pt x="1892" y="15172"/>
                    <a:pt x="1892" y="15172"/>
                    <a:pt x="1892" y="15172"/>
                  </a:cubicBezTo>
                  <a:cubicBezTo>
                    <a:pt x="1811" y="15114"/>
                    <a:pt x="1811" y="15114"/>
                    <a:pt x="1811" y="15114"/>
                  </a:cubicBezTo>
                  <a:cubicBezTo>
                    <a:pt x="1839" y="15056"/>
                    <a:pt x="1870" y="14990"/>
                    <a:pt x="1901" y="14925"/>
                  </a:cubicBezTo>
                  <a:cubicBezTo>
                    <a:pt x="1910" y="14905"/>
                    <a:pt x="1920" y="14886"/>
                    <a:pt x="1929" y="14867"/>
                  </a:cubicBezTo>
                  <a:cubicBezTo>
                    <a:pt x="2035" y="14894"/>
                    <a:pt x="2035" y="14894"/>
                    <a:pt x="2035" y="14894"/>
                  </a:cubicBezTo>
                  <a:cubicBezTo>
                    <a:pt x="1958" y="15054"/>
                    <a:pt x="1866" y="15247"/>
                    <a:pt x="1828" y="15331"/>
                  </a:cubicBezTo>
                  <a:cubicBezTo>
                    <a:pt x="1800" y="15309"/>
                    <a:pt x="1771" y="15288"/>
                    <a:pt x="1741" y="15265"/>
                  </a:cubicBezTo>
                  <a:cubicBezTo>
                    <a:pt x="1743" y="15262"/>
                    <a:pt x="1744" y="15259"/>
                    <a:pt x="1746" y="15255"/>
                  </a:cubicBezTo>
                  <a:close/>
                  <a:moveTo>
                    <a:pt x="1876" y="15260"/>
                  </a:moveTo>
                  <a:cubicBezTo>
                    <a:pt x="1908" y="15192"/>
                    <a:pt x="1951" y="15102"/>
                    <a:pt x="1993" y="15013"/>
                  </a:cubicBezTo>
                  <a:cubicBezTo>
                    <a:pt x="2074" y="14845"/>
                    <a:pt x="2154" y="14678"/>
                    <a:pt x="2163" y="14659"/>
                  </a:cubicBezTo>
                  <a:cubicBezTo>
                    <a:pt x="2210" y="14700"/>
                    <a:pt x="2210" y="14700"/>
                    <a:pt x="2210" y="14700"/>
                  </a:cubicBezTo>
                  <a:cubicBezTo>
                    <a:pt x="2378" y="14873"/>
                    <a:pt x="2378" y="14873"/>
                    <a:pt x="2378" y="14873"/>
                  </a:cubicBezTo>
                  <a:cubicBezTo>
                    <a:pt x="2374" y="14882"/>
                    <a:pt x="2315" y="14993"/>
                    <a:pt x="2246" y="15124"/>
                  </a:cubicBezTo>
                  <a:cubicBezTo>
                    <a:pt x="2175" y="15257"/>
                    <a:pt x="2094" y="15411"/>
                    <a:pt x="2047" y="15495"/>
                  </a:cubicBezTo>
                  <a:cubicBezTo>
                    <a:pt x="1989" y="15452"/>
                    <a:pt x="1918" y="15398"/>
                    <a:pt x="1840" y="15339"/>
                  </a:cubicBezTo>
                  <a:cubicBezTo>
                    <a:pt x="1849" y="15319"/>
                    <a:pt x="1861" y="15292"/>
                    <a:pt x="1876" y="15260"/>
                  </a:cubicBezTo>
                  <a:close/>
                  <a:moveTo>
                    <a:pt x="2219" y="14690"/>
                  </a:moveTo>
                  <a:cubicBezTo>
                    <a:pt x="1572" y="14126"/>
                    <a:pt x="1572" y="14126"/>
                    <a:pt x="1572" y="14126"/>
                  </a:cubicBezTo>
                  <a:cubicBezTo>
                    <a:pt x="1571" y="14127"/>
                    <a:pt x="1571" y="14127"/>
                    <a:pt x="1571" y="14127"/>
                  </a:cubicBezTo>
                  <a:cubicBezTo>
                    <a:pt x="1307" y="13877"/>
                    <a:pt x="1307" y="13877"/>
                    <a:pt x="1307" y="13877"/>
                  </a:cubicBezTo>
                  <a:cubicBezTo>
                    <a:pt x="1348" y="13822"/>
                    <a:pt x="1348" y="13822"/>
                    <a:pt x="1348" y="13822"/>
                  </a:cubicBezTo>
                  <a:cubicBezTo>
                    <a:pt x="1525" y="13882"/>
                    <a:pt x="1525" y="13882"/>
                    <a:pt x="1525" y="13882"/>
                  </a:cubicBezTo>
                  <a:cubicBezTo>
                    <a:pt x="1600" y="13928"/>
                    <a:pt x="1600" y="13928"/>
                    <a:pt x="1600" y="13928"/>
                  </a:cubicBezTo>
                  <a:cubicBezTo>
                    <a:pt x="1601" y="13925"/>
                    <a:pt x="1601" y="13925"/>
                    <a:pt x="1601" y="13925"/>
                  </a:cubicBezTo>
                  <a:cubicBezTo>
                    <a:pt x="2408" y="14414"/>
                    <a:pt x="2408" y="14414"/>
                    <a:pt x="2408" y="14414"/>
                  </a:cubicBezTo>
                  <a:cubicBezTo>
                    <a:pt x="2697" y="14612"/>
                    <a:pt x="2697" y="14612"/>
                    <a:pt x="2697" y="14612"/>
                  </a:cubicBezTo>
                  <a:cubicBezTo>
                    <a:pt x="2851" y="14666"/>
                    <a:pt x="2851" y="14666"/>
                    <a:pt x="2851" y="14666"/>
                  </a:cubicBezTo>
                  <a:cubicBezTo>
                    <a:pt x="2852" y="14666"/>
                    <a:pt x="2852" y="14666"/>
                    <a:pt x="2852" y="14666"/>
                  </a:cubicBezTo>
                  <a:cubicBezTo>
                    <a:pt x="2852" y="14666"/>
                    <a:pt x="3296" y="14701"/>
                    <a:pt x="3364" y="14706"/>
                  </a:cubicBezTo>
                  <a:cubicBezTo>
                    <a:pt x="3350" y="14813"/>
                    <a:pt x="3350" y="14813"/>
                    <a:pt x="3350" y="14813"/>
                  </a:cubicBezTo>
                  <a:cubicBezTo>
                    <a:pt x="3295" y="14826"/>
                    <a:pt x="3197" y="14859"/>
                    <a:pt x="3098" y="14947"/>
                  </a:cubicBezTo>
                  <a:cubicBezTo>
                    <a:pt x="3047" y="14993"/>
                    <a:pt x="2950" y="15062"/>
                    <a:pt x="2857" y="15143"/>
                  </a:cubicBezTo>
                  <a:cubicBezTo>
                    <a:pt x="2782" y="15209"/>
                    <a:pt x="2708" y="15278"/>
                    <a:pt x="2651" y="15332"/>
                  </a:cubicBezTo>
                  <a:cubicBezTo>
                    <a:pt x="2600" y="15082"/>
                    <a:pt x="2600" y="15082"/>
                    <a:pt x="2600" y="15082"/>
                  </a:cubicBezTo>
                  <a:lnTo>
                    <a:pt x="2219" y="14690"/>
                  </a:lnTo>
                  <a:close/>
                  <a:moveTo>
                    <a:pt x="1127" y="13073"/>
                  </a:moveTo>
                  <a:cubicBezTo>
                    <a:pt x="989" y="12849"/>
                    <a:pt x="989" y="12849"/>
                    <a:pt x="989" y="12849"/>
                  </a:cubicBezTo>
                  <a:cubicBezTo>
                    <a:pt x="1002" y="12846"/>
                    <a:pt x="1018" y="12842"/>
                    <a:pt x="1027" y="12840"/>
                  </a:cubicBezTo>
                  <a:cubicBezTo>
                    <a:pt x="1062" y="12832"/>
                    <a:pt x="1108" y="12822"/>
                    <a:pt x="1153" y="12812"/>
                  </a:cubicBezTo>
                  <a:cubicBezTo>
                    <a:pt x="1192" y="12804"/>
                    <a:pt x="1230" y="12795"/>
                    <a:pt x="1262" y="12788"/>
                  </a:cubicBezTo>
                  <a:cubicBezTo>
                    <a:pt x="1018" y="12845"/>
                    <a:pt x="1018" y="12845"/>
                    <a:pt x="1018" y="12845"/>
                  </a:cubicBezTo>
                  <a:cubicBezTo>
                    <a:pt x="1150" y="13059"/>
                    <a:pt x="1150" y="13059"/>
                    <a:pt x="1150" y="13059"/>
                  </a:cubicBezTo>
                  <a:cubicBezTo>
                    <a:pt x="1154" y="13279"/>
                    <a:pt x="1154" y="13279"/>
                    <a:pt x="1154" y="13279"/>
                  </a:cubicBezTo>
                  <a:cubicBezTo>
                    <a:pt x="1436" y="13513"/>
                    <a:pt x="1436" y="13513"/>
                    <a:pt x="1436" y="13513"/>
                  </a:cubicBezTo>
                  <a:cubicBezTo>
                    <a:pt x="1581" y="13292"/>
                    <a:pt x="1581" y="13292"/>
                    <a:pt x="1581" y="13292"/>
                  </a:cubicBezTo>
                  <a:cubicBezTo>
                    <a:pt x="1529" y="12879"/>
                    <a:pt x="1529" y="12879"/>
                    <a:pt x="1529" y="12879"/>
                  </a:cubicBezTo>
                  <a:cubicBezTo>
                    <a:pt x="1322" y="12775"/>
                    <a:pt x="1322" y="12775"/>
                    <a:pt x="1322" y="12775"/>
                  </a:cubicBezTo>
                  <a:cubicBezTo>
                    <a:pt x="1323" y="12775"/>
                    <a:pt x="1323" y="12775"/>
                    <a:pt x="1324" y="12774"/>
                  </a:cubicBezTo>
                  <a:cubicBezTo>
                    <a:pt x="1543" y="12882"/>
                    <a:pt x="1543" y="12882"/>
                    <a:pt x="1543" y="12882"/>
                  </a:cubicBezTo>
                  <a:cubicBezTo>
                    <a:pt x="1609" y="13325"/>
                    <a:pt x="1609" y="13325"/>
                    <a:pt x="1609" y="13325"/>
                  </a:cubicBezTo>
                  <a:cubicBezTo>
                    <a:pt x="1608" y="13325"/>
                    <a:pt x="1608" y="13326"/>
                    <a:pt x="1607" y="13326"/>
                  </a:cubicBezTo>
                  <a:cubicBezTo>
                    <a:pt x="1604" y="13332"/>
                    <a:pt x="1599" y="13340"/>
                    <a:pt x="1593" y="13349"/>
                  </a:cubicBezTo>
                  <a:cubicBezTo>
                    <a:pt x="1580" y="13368"/>
                    <a:pt x="1565" y="13392"/>
                    <a:pt x="1549" y="13416"/>
                  </a:cubicBezTo>
                  <a:cubicBezTo>
                    <a:pt x="1520" y="13461"/>
                    <a:pt x="1492" y="13506"/>
                    <a:pt x="1487" y="13513"/>
                  </a:cubicBezTo>
                  <a:cubicBezTo>
                    <a:pt x="1447" y="13568"/>
                    <a:pt x="1447" y="13568"/>
                    <a:pt x="1447" y="13568"/>
                  </a:cubicBezTo>
                  <a:cubicBezTo>
                    <a:pt x="1128" y="13290"/>
                    <a:pt x="1128" y="13290"/>
                    <a:pt x="1128" y="13290"/>
                  </a:cubicBezTo>
                  <a:cubicBezTo>
                    <a:pt x="1129" y="13285"/>
                    <a:pt x="1129" y="13285"/>
                    <a:pt x="1129" y="13285"/>
                  </a:cubicBezTo>
                  <a:lnTo>
                    <a:pt x="1127" y="13073"/>
                  </a:lnTo>
                  <a:close/>
                  <a:moveTo>
                    <a:pt x="452" y="12223"/>
                  </a:moveTo>
                  <a:cubicBezTo>
                    <a:pt x="823" y="12077"/>
                    <a:pt x="823" y="12077"/>
                    <a:pt x="823" y="12077"/>
                  </a:cubicBezTo>
                  <a:cubicBezTo>
                    <a:pt x="896" y="12182"/>
                    <a:pt x="896" y="12182"/>
                    <a:pt x="896" y="12182"/>
                  </a:cubicBezTo>
                  <a:cubicBezTo>
                    <a:pt x="403" y="12352"/>
                    <a:pt x="403" y="12352"/>
                    <a:pt x="403" y="12352"/>
                  </a:cubicBezTo>
                  <a:cubicBezTo>
                    <a:pt x="462" y="12308"/>
                    <a:pt x="462" y="12308"/>
                    <a:pt x="462" y="12308"/>
                  </a:cubicBezTo>
                  <a:cubicBezTo>
                    <a:pt x="434" y="12270"/>
                    <a:pt x="434" y="12270"/>
                    <a:pt x="434" y="12270"/>
                  </a:cubicBezTo>
                  <a:cubicBezTo>
                    <a:pt x="469" y="12245"/>
                    <a:pt x="469" y="12245"/>
                    <a:pt x="469" y="12245"/>
                  </a:cubicBezTo>
                  <a:lnTo>
                    <a:pt x="452" y="12223"/>
                  </a:lnTo>
                  <a:close/>
                  <a:moveTo>
                    <a:pt x="825" y="12049"/>
                  </a:moveTo>
                  <a:cubicBezTo>
                    <a:pt x="833" y="12053"/>
                    <a:pt x="833" y="12053"/>
                    <a:pt x="833" y="12053"/>
                  </a:cubicBezTo>
                  <a:cubicBezTo>
                    <a:pt x="833" y="12053"/>
                    <a:pt x="833" y="12053"/>
                    <a:pt x="833" y="12053"/>
                  </a:cubicBezTo>
                  <a:lnTo>
                    <a:pt x="825" y="12049"/>
                  </a:lnTo>
                  <a:close/>
                  <a:moveTo>
                    <a:pt x="886" y="12053"/>
                  </a:moveTo>
                  <a:cubicBezTo>
                    <a:pt x="885" y="12052"/>
                    <a:pt x="885" y="12052"/>
                    <a:pt x="885" y="12051"/>
                  </a:cubicBezTo>
                  <a:cubicBezTo>
                    <a:pt x="884" y="12049"/>
                    <a:pt x="884" y="12049"/>
                    <a:pt x="883" y="12048"/>
                  </a:cubicBezTo>
                  <a:cubicBezTo>
                    <a:pt x="883" y="12047"/>
                    <a:pt x="883" y="12047"/>
                    <a:pt x="882" y="12046"/>
                  </a:cubicBezTo>
                  <a:cubicBezTo>
                    <a:pt x="882" y="12045"/>
                    <a:pt x="882" y="12045"/>
                    <a:pt x="881" y="12044"/>
                  </a:cubicBezTo>
                  <a:cubicBezTo>
                    <a:pt x="880" y="12043"/>
                    <a:pt x="880" y="12042"/>
                    <a:pt x="879" y="12041"/>
                  </a:cubicBezTo>
                  <a:cubicBezTo>
                    <a:pt x="877" y="12038"/>
                    <a:pt x="874" y="12034"/>
                    <a:pt x="870" y="12029"/>
                  </a:cubicBezTo>
                  <a:cubicBezTo>
                    <a:pt x="870" y="12029"/>
                    <a:pt x="869" y="12028"/>
                    <a:pt x="869" y="12027"/>
                  </a:cubicBezTo>
                  <a:cubicBezTo>
                    <a:pt x="1334" y="11914"/>
                    <a:pt x="1334" y="11914"/>
                    <a:pt x="1334" y="11914"/>
                  </a:cubicBezTo>
                  <a:cubicBezTo>
                    <a:pt x="1343" y="11948"/>
                    <a:pt x="1351" y="11979"/>
                    <a:pt x="1356" y="11995"/>
                  </a:cubicBezTo>
                  <a:cubicBezTo>
                    <a:pt x="1363" y="12022"/>
                    <a:pt x="1377" y="12079"/>
                    <a:pt x="1444" y="12140"/>
                  </a:cubicBezTo>
                  <a:cubicBezTo>
                    <a:pt x="1154" y="12433"/>
                    <a:pt x="1154" y="12433"/>
                    <a:pt x="1154" y="12433"/>
                  </a:cubicBezTo>
                  <a:lnTo>
                    <a:pt x="886" y="12053"/>
                  </a:lnTo>
                  <a:close/>
                  <a:moveTo>
                    <a:pt x="1033" y="11454"/>
                  </a:moveTo>
                  <a:cubicBezTo>
                    <a:pt x="1084" y="11494"/>
                    <a:pt x="1143" y="11546"/>
                    <a:pt x="1175" y="11580"/>
                  </a:cubicBezTo>
                  <a:cubicBezTo>
                    <a:pt x="1224" y="11633"/>
                    <a:pt x="1286" y="11733"/>
                    <a:pt x="1301" y="11791"/>
                  </a:cubicBezTo>
                  <a:cubicBezTo>
                    <a:pt x="1310" y="11821"/>
                    <a:pt x="1320" y="11861"/>
                    <a:pt x="1330" y="11899"/>
                  </a:cubicBezTo>
                  <a:cubicBezTo>
                    <a:pt x="1146" y="11943"/>
                    <a:pt x="1146" y="11943"/>
                    <a:pt x="1146" y="11943"/>
                  </a:cubicBezTo>
                  <a:cubicBezTo>
                    <a:pt x="1091" y="11706"/>
                    <a:pt x="1091" y="11706"/>
                    <a:pt x="1091" y="11706"/>
                  </a:cubicBezTo>
                  <a:cubicBezTo>
                    <a:pt x="968" y="11594"/>
                    <a:pt x="968" y="11594"/>
                    <a:pt x="968" y="11594"/>
                  </a:cubicBezTo>
                  <a:cubicBezTo>
                    <a:pt x="985" y="11581"/>
                    <a:pt x="1002" y="11563"/>
                    <a:pt x="1017" y="11538"/>
                  </a:cubicBezTo>
                  <a:cubicBezTo>
                    <a:pt x="1030" y="11517"/>
                    <a:pt x="1035" y="11493"/>
                    <a:pt x="1035" y="11468"/>
                  </a:cubicBezTo>
                  <a:cubicBezTo>
                    <a:pt x="1035" y="11463"/>
                    <a:pt x="1034" y="11458"/>
                    <a:pt x="1033" y="11454"/>
                  </a:cubicBezTo>
                  <a:close/>
                  <a:moveTo>
                    <a:pt x="1315" y="11276"/>
                  </a:moveTo>
                  <a:cubicBezTo>
                    <a:pt x="1337" y="11300"/>
                    <a:pt x="1344" y="11319"/>
                    <a:pt x="1344" y="11337"/>
                  </a:cubicBezTo>
                  <a:cubicBezTo>
                    <a:pt x="1344" y="11354"/>
                    <a:pt x="1338" y="11371"/>
                    <a:pt x="1329" y="11388"/>
                  </a:cubicBezTo>
                  <a:cubicBezTo>
                    <a:pt x="1318" y="11413"/>
                    <a:pt x="1281" y="11445"/>
                    <a:pt x="1280" y="11486"/>
                  </a:cubicBezTo>
                  <a:cubicBezTo>
                    <a:pt x="1279" y="11501"/>
                    <a:pt x="1286" y="11516"/>
                    <a:pt x="1299" y="11530"/>
                  </a:cubicBezTo>
                  <a:cubicBezTo>
                    <a:pt x="1336" y="11564"/>
                    <a:pt x="1410" y="11577"/>
                    <a:pt x="1464" y="11577"/>
                  </a:cubicBezTo>
                  <a:cubicBezTo>
                    <a:pt x="1489" y="11577"/>
                    <a:pt x="1509" y="11575"/>
                    <a:pt x="1522" y="11568"/>
                  </a:cubicBezTo>
                  <a:cubicBezTo>
                    <a:pt x="1539" y="11558"/>
                    <a:pt x="1610" y="11514"/>
                    <a:pt x="1673" y="11474"/>
                  </a:cubicBezTo>
                  <a:cubicBezTo>
                    <a:pt x="1773" y="11588"/>
                    <a:pt x="1773" y="11588"/>
                    <a:pt x="1773" y="11588"/>
                  </a:cubicBezTo>
                  <a:cubicBezTo>
                    <a:pt x="1285" y="11653"/>
                    <a:pt x="1285" y="11653"/>
                    <a:pt x="1285" y="11653"/>
                  </a:cubicBezTo>
                  <a:cubicBezTo>
                    <a:pt x="1261" y="11615"/>
                    <a:pt x="1234" y="11577"/>
                    <a:pt x="1208" y="11549"/>
                  </a:cubicBezTo>
                  <a:cubicBezTo>
                    <a:pt x="1172" y="11510"/>
                    <a:pt x="1109" y="11455"/>
                    <a:pt x="1055" y="11413"/>
                  </a:cubicBezTo>
                  <a:cubicBezTo>
                    <a:pt x="1057" y="11409"/>
                    <a:pt x="1058" y="11404"/>
                    <a:pt x="1061" y="11397"/>
                  </a:cubicBezTo>
                  <a:cubicBezTo>
                    <a:pt x="1068" y="11378"/>
                    <a:pt x="1078" y="11352"/>
                    <a:pt x="1092" y="11326"/>
                  </a:cubicBezTo>
                  <a:cubicBezTo>
                    <a:pt x="1113" y="11287"/>
                    <a:pt x="1142" y="11246"/>
                    <a:pt x="1167" y="11216"/>
                  </a:cubicBezTo>
                  <a:cubicBezTo>
                    <a:pt x="1186" y="11194"/>
                    <a:pt x="1208" y="11169"/>
                    <a:pt x="1231" y="11149"/>
                  </a:cubicBezTo>
                  <a:cubicBezTo>
                    <a:pt x="1240" y="11141"/>
                    <a:pt x="1249" y="11134"/>
                    <a:pt x="1258" y="11127"/>
                  </a:cubicBezTo>
                  <a:cubicBezTo>
                    <a:pt x="1267" y="11145"/>
                    <a:pt x="1272" y="11160"/>
                    <a:pt x="1274" y="11166"/>
                  </a:cubicBezTo>
                  <a:cubicBezTo>
                    <a:pt x="1274" y="11168"/>
                    <a:pt x="1274" y="11172"/>
                    <a:pt x="1274" y="11177"/>
                  </a:cubicBezTo>
                  <a:cubicBezTo>
                    <a:pt x="1273" y="11198"/>
                    <a:pt x="1279" y="11239"/>
                    <a:pt x="1315" y="11276"/>
                  </a:cubicBezTo>
                  <a:close/>
                  <a:moveTo>
                    <a:pt x="3530" y="9199"/>
                  </a:moveTo>
                  <a:cubicBezTo>
                    <a:pt x="3572" y="9160"/>
                    <a:pt x="3638" y="9121"/>
                    <a:pt x="3749" y="9086"/>
                  </a:cubicBezTo>
                  <a:cubicBezTo>
                    <a:pt x="3861" y="9051"/>
                    <a:pt x="3978" y="9020"/>
                    <a:pt x="4026" y="9007"/>
                  </a:cubicBezTo>
                  <a:cubicBezTo>
                    <a:pt x="4139" y="9280"/>
                    <a:pt x="4139" y="9280"/>
                    <a:pt x="4139" y="9280"/>
                  </a:cubicBezTo>
                  <a:cubicBezTo>
                    <a:pt x="4258" y="9540"/>
                    <a:pt x="4258" y="9540"/>
                    <a:pt x="4258" y="9540"/>
                  </a:cubicBezTo>
                  <a:cubicBezTo>
                    <a:pt x="4167" y="9598"/>
                    <a:pt x="3697" y="9903"/>
                    <a:pt x="3697" y="9904"/>
                  </a:cubicBezTo>
                  <a:cubicBezTo>
                    <a:pt x="3696" y="9904"/>
                    <a:pt x="3696" y="9904"/>
                    <a:pt x="3696" y="9904"/>
                  </a:cubicBezTo>
                  <a:cubicBezTo>
                    <a:pt x="3560" y="10125"/>
                    <a:pt x="3560" y="10125"/>
                    <a:pt x="3560" y="10125"/>
                  </a:cubicBezTo>
                  <a:cubicBezTo>
                    <a:pt x="3560" y="10125"/>
                    <a:pt x="3559" y="10124"/>
                    <a:pt x="3558" y="10123"/>
                  </a:cubicBezTo>
                  <a:cubicBezTo>
                    <a:pt x="3557" y="10121"/>
                    <a:pt x="3555" y="10118"/>
                    <a:pt x="3552" y="10113"/>
                  </a:cubicBezTo>
                  <a:cubicBezTo>
                    <a:pt x="3546" y="10104"/>
                    <a:pt x="3538" y="10092"/>
                    <a:pt x="3528" y="10077"/>
                  </a:cubicBezTo>
                  <a:cubicBezTo>
                    <a:pt x="3509" y="10046"/>
                    <a:pt x="3483" y="10005"/>
                    <a:pt x="3457" y="9964"/>
                  </a:cubicBezTo>
                  <a:cubicBezTo>
                    <a:pt x="3407" y="9886"/>
                    <a:pt x="3357" y="9807"/>
                    <a:pt x="3343" y="9788"/>
                  </a:cubicBezTo>
                  <a:cubicBezTo>
                    <a:pt x="3405" y="9657"/>
                    <a:pt x="3415" y="9476"/>
                    <a:pt x="3439" y="9387"/>
                  </a:cubicBezTo>
                  <a:cubicBezTo>
                    <a:pt x="3454" y="9333"/>
                    <a:pt x="3464" y="9280"/>
                    <a:pt x="3502" y="9230"/>
                  </a:cubicBezTo>
                  <a:cubicBezTo>
                    <a:pt x="3507" y="9223"/>
                    <a:pt x="3513" y="9216"/>
                    <a:pt x="3520" y="9209"/>
                  </a:cubicBezTo>
                  <a:cubicBezTo>
                    <a:pt x="3521" y="9210"/>
                    <a:pt x="3522" y="9211"/>
                    <a:pt x="3523" y="9212"/>
                  </a:cubicBezTo>
                  <a:cubicBezTo>
                    <a:pt x="3535" y="9227"/>
                    <a:pt x="3552" y="9249"/>
                    <a:pt x="3572" y="9275"/>
                  </a:cubicBezTo>
                  <a:cubicBezTo>
                    <a:pt x="3613" y="9327"/>
                    <a:pt x="3667" y="9397"/>
                    <a:pt x="3721" y="9467"/>
                  </a:cubicBezTo>
                  <a:cubicBezTo>
                    <a:pt x="3828" y="9605"/>
                    <a:pt x="3934" y="9744"/>
                    <a:pt x="3935" y="9746"/>
                  </a:cubicBezTo>
                  <a:cubicBezTo>
                    <a:pt x="3946" y="9737"/>
                    <a:pt x="3946" y="9737"/>
                    <a:pt x="3946" y="9737"/>
                  </a:cubicBezTo>
                  <a:cubicBezTo>
                    <a:pt x="3946" y="9737"/>
                    <a:pt x="3611" y="9300"/>
                    <a:pt x="3530" y="9199"/>
                  </a:cubicBezTo>
                  <a:close/>
                  <a:moveTo>
                    <a:pt x="3951" y="7899"/>
                  </a:moveTo>
                  <a:cubicBezTo>
                    <a:pt x="3950" y="7898"/>
                    <a:pt x="3950" y="7898"/>
                    <a:pt x="3950" y="7898"/>
                  </a:cubicBezTo>
                  <a:cubicBezTo>
                    <a:pt x="3948" y="7886"/>
                    <a:pt x="3944" y="7859"/>
                    <a:pt x="3939" y="7827"/>
                  </a:cubicBezTo>
                  <a:cubicBezTo>
                    <a:pt x="3933" y="7788"/>
                    <a:pt x="3928" y="7742"/>
                    <a:pt x="3927" y="7711"/>
                  </a:cubicBezTo>
                  <a:cubicBezTo>
                    <a:pt x="4003" y="7678"/>
                    <a:pt x="4003" y="7678"/>
                    <a:pt x="4003" y="7678"/>
                  </a:cubicBezTo>
                  <a:cubicBezTo>
                    <a:pt x="4087" y="8020"/>
                    <a:pt x="4087" y="8020"/>
                    <a:pt x="4087" y="8020"/>
                  </a:cubicBezTo>
                  <a:cubicBezTo>
                    <a:pt x="4080" y="8020"/>
                    <a:pt x="4073" y="8019"/>
                    <a:pt x="4066" y="8019"/>
                  </a:cubicBezTo>
                  <a:cubicBezTo>
                    <a:pt x="4041" y="8019"/>
                    <a:pt x="4016" y="8021"/>
                    <a:pt x="3991" y="8024"/>
                  </a:cubicBezTo>
                  <a:cubicBezTo>
                    <a:pt x="3991" y="8024"/>
                    <a:pt x="3991" y="8023"/>
                    <a:pt x="3990" y="8023"/>
                  </a:cubicBezTo>
                  <a:cubicBezTo>
                    <a:pt x="3990" y="8021"/>
                    <a:pt x="3989" y="8020"/>
                    <a:pt x="3989" y="8019"/>
                  </a:cubicBezTo>
                  <a:cubicBezTo>
                    <a:pt x="3987" y="8016"/>
                    <a:pt x="3986" y="8013"/>
                    <a:pt x="3984" y="8009"/>
                  </a:cubicBezTo>
                  <a:cubicBezTo>
                    <a:pt x="3980" y="8001"/>
                    <a:pt x="3976" y="7990"/>
                    <a:pt x="3971" y="7978"/>
                  </a:cubicBezTo>
                  <a:cubicBezTo>
                    <a:pt x="3961" y="7954"/>
                    <a:pt x="3954" y="7927"/>
                    <a:pt x="3951" y="7899"/>
                  </a:cubicBezTo>
                  <a:close/>
                  <a:moveTo>
                    <a:pt x="3951" y="8031"/>
                  </a:moveTo>
                  <a:cubicBezTo>
                    <a:pt x="3951" y="8031"/>
                    <a:pt x="3951" y="8031"/>
                    <a:pt x="3951" y="8031"/>
                  </a:cubicBezTo>
                  <a:cubicBezTo>
                    <a:pt x="3932" y="8020"/>
                    <a:pt x="3932" y="8020"/>
                    <a:pt x="3932" y="8020"/>
                  </a:cubicBezTo>
                  <a:lnTo>
                    <a:pt x="3951" y="8031"/>
                  </a:lnTo>
                  <a:close/>
                  <a:moveTo>
                    <a:pt x="3239" y="8424"/>
                  </a:moveTo>
                  <a:cubicBezTo>
                    <a:pt x="3208" y="8441"/>
                    <a:pt x="3175" y="8458"/>
                    <a:pt x="3142" y="8476"/>
                  </a:cubicBezTo>
                  <a:cubicBezTo>
                    <a:pt x="3111" y="8492"/>
                    <a:pt x="3079" y="8509"/>
                    <a:pt x="3047" y="8526"/>
                  </a:cubicBezTo>
                  <a:cubicBezTo>
                    <a:pt x="2677" y="8006"/>
                    <a:pt x="2677" y="8006"/>
                    <a:pt x="2677" y="8006"/>
                  </a:cubicBezTo>
                  <a:cubicBezTo>
                    <a:pt x="2973" y="7786"/>
                    <a:pt x="2973" y="7786"/>
                    <a:pt x="2973" y="7786"/>
                  </a:cubicBezTo>
                  <a:cubicBezTo>
                    <a:pt x="3015" y="7827"/>
                    <a:pt x="3308" y="8116"/>
                    <a:pt x="3343" y="8150"/>
                  </a:cubicBezTo>
                  <a:cubicBezTo>
                    <a:pt x="3231" y="8421"/>
                    <a:pt x="3231" y="8421"/>
                    <a:pt x="3231" y="8421"/>
                  </a:cubicBezTo>
                  <a:lnTo>
                    <a:pt x="3239" y="8424"/>
                  </a:lnTo>
                  <a:close/>
                  <a:moveTo>
                    <a:pt x="2605" y="8350"/>
                  </a:moveTo>
                  <a:cubicBezTo>
                    <a:pt x="2600" y="8351"/>
                    <a:pt x="2600" y="8351"/>
                    <a:pt x="2600" y="8351"/>
                  </a:cubicBezTo>
                  <a:cubicBezTo>
                    <a:pt x="2600" y="8351"/>
                    <a:pt x="2560" y="8366"/>
                    <a:pt x="2519" y="8381"/>
                  </a:cubicBezTo>
                  <a:cubicBezTo>
                    <a:pt x="2484" y="8394"/>
                    <a:pt x="2450" y="8407"/>
                    <a:pt x="2436" y="8413"/>
                  </a:cubicBezTo>
                  <a:cubicBezTo>
                    <a:pt x="2288" y="8106"/>
                    <a:pt x="2288" y="8106"/>
                    <a:pt x="2288" y="8106"/>
                  </a:cubicBezTo>
                  <a:cubicBezTo>
                    <a:pt x="2493" y="7967"/>
                    <a:pt x="2493" y="7967"/>
                    <a:pt x="2493" y="7967"/>
                  </a:cubicBezTo>
                  <a:cubicBezTo>
                    <a:pt x="2495" y="7968"/>
                    <a:pt x="2497" y="7968"/>
                    <a:pt x="2499" y="7969"/>
                  </a:cubicBezTo>
                  <a:cubicBezTo>
                    <a:pt x="2515" y="7973"/>
                    <a:pt x="2642" y="8006"/>
                    <a:pt x="2661" y="8011"/>
                  </a:cubicBezTo>
                  <a:cubicBezTo>
                    <a:pt x="3032" y="8534"/>
                    <a:pt x="3032" y="8534"/>
                    <a:pt x="3032" y="8534"/>
                  </a:cubicBezTo>
                  <a:cubicBezTo>
                    <a:pt x="2979" y="8562"/>
                    <a:pt x="2925" y="8591"/>
                    <a:pt x="2871" y="8620"/>
                  </a:cubicBezTo>
                  <a:cubicBezTo>
                    <a:pt x="2873" y="8618"/>
                    <a:pt x="2873" y="8618"/>
                    <a:pt x="2873" y="8618"/>
                  </a:cubicBezTo>
                  <a:lnTo>
                    <a:pt x="2605" y="8350"/>
                  </a:lnTo>
                  <a:close/>
                  <a:moveTo>
                    <a:pt x="2163" y="8991"/>
                  </a:moveTo>
                  <a:cubicBezTo>
                    <a:pt x="2102" y="9023"/>
                    <a:pt x="2102" y="9023"/>
                    <a:pt x="2102" y="9023"/>
                  </a:cubicBezTo>
                  <a:cubicBezTo>
                    <a:pt x="2075" y="8966"/>
                    <a:pt x="2075" y="8966"/>
                    <a:pt x="2075" y="8966"/>
                  </a:cubicBezTo>
                  <a:cubicBezTo>
                    <a:pt x="2155" y="8926"/>
                    <a:pt x="2155" y="8926"/>
                    <a:pt x="2155" y="8926"/>
                  </a:cubicBezTo>
                  <a:cubicBezTo>
                    <a:pt x="2180" y="8982"/>
                    <a:pt x="2180" y="8982"/>
                    <a:pt x="2180" y="8982"/>
                  </a:cubicBezTo>
                  <a:cubicBezTo>
                    <a:pt x="2169" y="8987"/>
                    <a:pt x="2162" y="8990"/>
                    <a:pt x="2162" y="8990"/>
                  </a:cubicBezTo>
                  <a:lnTo>
                    <a:pt x="2163" y="8991"/>
                  </a:lnTo>
                  <a:close/>
                  <a:moveTo>
                    <a:pt x="1091" y="8331"/>
                  </a:moveTo>
                  <a:cubicBezTo>
                    <a:pt x="1316" y="8318"/>
                    <a:pt x="1316" y="8318"/>
                    <a:pt x="1316" y="8318"/>
                  </a:cubicBezTo>
                  <a:cubicBezTo>
                    <a:pt x="1529" y="8476"/>
                    <a:pt x="1529" y="8476"/>
                    <a:pt x="1529" y="8476"/>
                  </a:cubicBezTo>
                  <a:cubicBezTo>
                    <a:pt x="1518" y="8495"/>
                    <a:pt x="1506" y="8514"/>
                    <a:pt x="1495" y="8534"/>
                  </a:cubicBezTo>
                  <a:cubicBezTo>
                    <a:pt x="1443" y="8623"/>
                    <a:pt x="1392" y="8711"/>
                    <a:pt x="1366" y="8755"/>
                  </a:cubicBezTo>
                  <a:cubicBezTo>
                    <a:pt x="1340" y="8735"/>
                    <a:pt x="1327" y="8725"/>
                    <a:pt x="1312" y="8714"/>
                  </a:cubicBezTo>
                  <a:cubicBezTo>
                    <a:pt x="1277" y="8687"/>
                    <a:pt x="1230" y="8651"/>
                    <a:pt x="1183" y="8615"/>
                  </a:cubicBezTo>
                  <a:cubicBezTo>
                    <a:pt x="1101" y="8552"/>
                    <a:pt x="1019" y="8490"/>
                    <a:pt x="1000" y="8475"/>
                  </a:cubicBezTo>
                  <a:cubicBezTo>
                    <a:pt x="1040" y="8414"/>
                    <a:pt x="1084" y="8346"/>
                    <a:pt x="1089" y="8336"/>
                  </a:cubicBezTo>
                  <a:cubicBezTo>
                    <a:pt x="1090" y="8335"/>
                    <a:pt x="1090" y="8336"/>
                    <a:pt x="1091" y="8331"/>
                  </a:cubicBezTo>
                  <a:cubicBezTo>
                    <a:pt x="1091" y="8331"/>
                    <a:pt x="1091" y="8331"/>
                    <a:pt x="1091" y="8331"/>
                  </a:cubicBezTo>
                  <a:close/>
                  <a:moveTo>
                    <a:pt x="1298" y="6988"/>
                  </a:moveTo>
                  <a:cubicBezTo>
                    <a:pt x="1311" y="6974"/>
                    <a:pt x="1323" y="6958"/>
                    <a:pt x="1335" y="6940"/>
                  </a:cubicBezTo>
                  <a:cubicBezTo>
                    <a:pt x="1357" y="6906"/>
                    <a:pt x="1380" y="6867"/>
                    <a:pt x="1399" y="6829"/>
                  </a:cubicBezTo>
                  <a:cubicBezTo>
                    <a:pt x="1422" y="6787"/>
                    <a:pt x="1441" y="6746"/>
                    <a:pt x="1454" y="6719"/>
                  </a:cubicBezTo>
                  <a:cubicBezTo>
                    <a:pt x="1533" y="6766"/>
                    <a:pt x="1745" y="6892"/>
                    <a:pt x="1887" y="6974"/>
                  </a:cubicBezTo>
                  <a:cubicBezTo>
                    <a:pt x="1885" y="6978"/>
                    <a:pt x="1882" y="6981"/>
                    <a:pt x="1879" y="6986"/>
                  </a:cubicBezTo>
                  <a:cubicBezTo>
                    <a:pt x="1863" y="7007"/>
                    <a:pt x="1844" y="7036"/>
                    <a:pt x="1822" y="7068"/>
                  </a:cubicBezTo>
                  <a:cubicBezTo>
                    <a:pt x="1790" y="7115"/>
                    <a:pt x="1754" y="7169"/>
                    <a:pt x="1722" y="7218"/>
                  </a:cubicBezTo>
                  <a:cubicBezTo>
                    <a:pt x="1722" y="7216"/>
                    <a:pt x="1722" y="7216"/>
                    <a:pt x="1722" y="7216"/>
                  </a:cubicBezTo>
                  <a:cubicBezTo>
                    <a:pt x="1693" y="7204"/>
                    <a:pt x="1690" y="7203"/>
                    <a:pt x="1687" y="7202"/>
                  </a:cubicBezTo>
                  <a:cubicBezTo>
                    <a:pt x="1671" y="7196"/>
                    <a:pt x="1649" y="7187"/>
                    <a:pt x="1627" y="7179"/>
                  </a:cubicBezTo>
                  <a:cubicBezTo>
                    <a:pt x="1583" y="7163"/>
                    <a:pt x="1539" y="7146"/>
                    <a:pt x="1539" y="7146"/>
                  </a:cubicBezTo>
                  <a:cubicBezTo>
                    <a:pt x="1538" y="7146"/>
                    <a:pt x="1538" y="7146"/>
                    <a:pt x="1538" y="7146"/>
                  </a:cubicBezTo>
                  <a:cubicBezTo>
                    <a:pt x="1403" y="7149"/>
                    <a:pt x="1403" y="7149"/>
                    <a:pt x="1403" y="7149"/>
                  </a:cubicBezTo>
                  <a:lnTo>
                    <a:pt x="1298" y="6988"/>
                  </a:lnTo>
                  <a:close/>
                  <a:moveTo>
                    <a:pt x="1352" y="7151"/>
                  </a:moveTo>
                  <a:cubicBezTo>
                    <a:pt x="1321" y="7158"/>
                    <a:pt x="1150" y="7197"/>
                    <a:pt x="1087" y="7212"/>
                  </a:cubicBezTo>
                  <a:cubicBezTo>
                    <a:pt x="1139" y="7071"/>
                    <a:pt x="1139" y="7071"/>
                    <a:pt x="1139" y="7071"/>
                  </a:cubicBezTo>
                  <a:cubicBezTo>
                    <a:pt x="1171" y="7064"/>
                    <a:pt x="1216" y="7050"/>
                    <a:pt x="1264" y="7020"/>
                  </a:cubicBezTo>
                  <a:cubicBezTo>
                    <a:pt x="1264" y="7019"/>
                    <a:pt x="1265" y="7019"/>
                    <a:pt x="1265" y="7019"/>
                  </a:cubicBezTo>
                  <a:lnTo>
                    <a:pt x="1352" y="7151"/>
                  </a:lnTo>
                  <a:close/>
                  <a:moveTo>
                    <a:pt x="2199" y="4743"/>
                  </a:moveTo>
                  <a:cubicBezTo>
                    <a:pt x="2400" y="4889"/>
                    <a:pt x="2400" y="4889"/>
                    <a:pt x="2400" y="4889"/>
                  </a:cubicBezTo>
                  <a:cubicBezTo>
                    <a:pt x="2345" y="4987"/>
                    <a:pt x="2345" y="4987"/>
                    <a:pt x="2345" y="4987"/>
                  </a:cubicBezTo>
                  <a:cubicBezTo>
                    <a:pt x="2088" y="4841"/>
                    <a:pt x="2088" y="4841"/>
                    <a:pt x="2088" y="4841"/>
                  </a:cubicBezTo>
                  <a:lnTo>
                    <a:pt x="2199" y="4743"/>
                  </a:lnTo>
                  <a:close/>
                  <a:moveTo>
                    <a:pt x="2076" y="4834"/>
                  </a:moveTo>
                  <a:cubicBezTo>
                    <a:pt x="1797" y="4674"/>
                    <a:pt x="1797" y="4674"/>
                    <a:pt x="1797" y="4674"/>
                  </a:cubicBezTo>
                  <a:cubicBezTo>
                    <a:pt x="1922" y="4542"/>
                    <a:pt x="1922" y="4542"/>
                    <a:pt x="1922" y="4542"/>
                  </a:cubicBezTo>
                  <a:cubicBezTo>
                    <a:pt x="2187" y="4735"/>
                    <a:pt x="2187" y="4735"/>
                    <a:pt x="2187" y="4735"/>
                  </a:cubicBezTo>
                  <a:lnTo>
                    <a:pt x="2076" y="4834"/>
                  </a:lnTo>
                  <a:close/>
                  <a:moveTo>
                    <a:pt x="4152" y="4111"/>
                  </a:moveTo>
                  <a:cubicBezTo>
                    <a:pt x="4648" y="4219"/>
                    <a:pt x="4648" y="4219"/>
                    <a:pt x="4648" y="4219"/>
                  </a:cubicBezTo>
                  <a:cubicBezTo>
                    <a:pt x="4487" y="4547"/>
                    <a:pt x="4487" y="4547"/>
                    <a:pt x="4487" y="4547"/>
                  </a:cubicBezTo>
                  <a:cubicBezTo>
                    <a:pt x="4485" y="4538"/>
                    <a:pt x="4485" y="4538"/>
                    <a:pt x="4485" y="4538"/>
                  </a:cubicBezTo>
                  <a:cubicBezTo>
                    <a:pt x="4486" y="4543"/>
                    <a:pt x="4486" y="4543"/>
                    <a:pt x="4486" y="4543"/>
                  </a:cubicBezTo>
                  <a:cubicBezTo>
                    <a:pt x="4486" y="4538"/>
                    <a:pt x="4486" y="4538"/>
                    <a:pt x="4486" y="4538"/>
                  </a:cubicBezTo>
                  <a:cubicBezTo>
                    <a:pt x="4486" y="4538"/>
                    <a:pt x="4486" y="4538"/>
                    <a:pt x="4486" y="4538"/>
                  </a:cubicBezTo>
                  <a:cubicBezTo>
                    <a:pt x="4486" y="4538"/>
                    <a:pt x="4486" y="4538"/>
                    <a:pt x="4486" y="4538"/>
                  </a:cubicBezTo>
                  <a:cubicBezTo>
                    <a:pt x="4473" y="4538"/>
                    <a:pt x="4304" y="4506"/>
                    <a:pt x="4137" y="4474"/>
                  </a:cubicBezTo>
                  <a:cubicBezTo>
                    <a:pt x="4138" y="4468"/>
                    <a:pt x="4139" y="4462"/>
                    <a:pt x="4140" y="4456"/>
                  </a:cubicBezTo>
                  <a:cubicBezTo>
                    <a:pt x="4151" y="4397"/>
                    <a:pt x="4154" y="4317"/>
                    <a:pt x="4154" y="4235"/>
                  </a:cubicBezTo>
                  <a:cubicBezTo>
                    <a:pt x="4154" y="4193"/>
                    <a:pt x="4153" y="4151"/>
                    <a:pt x="4152" y="4111"/>
                  </a:cubicBezTo>
                  <a:close/>
                  <a:moveTo>
                    <a:pt x="8512" y="7211"/>
                  </a:moveTo>
                  <a:cubicBezTo>
                    <a:pt x="8512" y="7212"/>
                    <a:pt x="8512" y="7213"/>
                    <a:pt x="8512" y="7213"/>
                  </a:cubicBezTo>
                  <a:cubicBezTo>
                    <a:pt x="8510" y="7263"/>
                    <a:pt x="8506" y="7322"/>
                    <a:pt x="8506" y="7384"/>
                  </a:cubicBezTo>
                  <a:cubicBezTo>
                    <a:pt x="8506" y="7416"/>
                    <a:pt x="8507" y="7450"/>
                    <a:pt x="8510" y="7483"/>
                  </a:cubicBezTo>
                  <a:cubicBezTo>
                    <a:pt x="8500" y="7477"/>
                    <a:pt x="8486" y="7468"/>
                    <a:pt x="8470" y="7457"/>
                  </a:cubicBezTo>
                  <a:cubicBezTo>
                    <a:pt x="8435" y="7432"/>
                    <a:pt x="8390" y="7399"/>
                    <a:pt x="8344" y="7367"/>
                  </a:cubicBezTo>
                  <a:cubicBezTo>
                    <a:pt x="8265" y="7309"/>
                    <a:pt x="8187" y="7252"/>
                    <a:pt x="8169" y="7239"/>
                  </a:cubicBezTo>
                  <a:cubicBezTo>
                    <a:pt x="8373" y="7057"/>
                    <a:pt x="8457" y="6835"/>
                    <a:pt x="8470" y="6799"/>
                  </a:cubicBezTo>
                  <a:cubicBezTo>
                    <a:pt x="8480" y="6800"/>
                    <a:pt x="8503" y="6801"/>
                    <a:pt x="8523" y="6802"/>
                  </a:cubicBezTo>
                  <a:cubicBezTo>
                    <a:pt x="8520" y="6977"/>
                    <a:pt x="8516" y="7129"/>
                    <a:pt x="8513" y="7197"/>
                  </a:cubicBezTo>
                  <a:cubicBezTo>
                    <a:pt x="8286" y="7118"/>
                    <a:pt x="8286" y="7118"/>
                    <a:pt x="8286" y="7118"/>
                  </a:cubicBezTo>
                  <a:cubicBezTo>
                    <a:pt x="8281" y="7131"/>
                    <a:pt x="8281" y="7131"/>
                    <a:pt x="8281" y="7131"/>
                  </a:cubicBezTo>
                  <a:lnTo>
                    <a:pt x="8512" y="7211"/>
                  </a:lnTo>
                  <a:close/>
                  <a:moveTo>
                    <a:pt x="8074" y="7661"/>
                  </a:moveTo>
                  <a:cubicBezTo>
                    <a:pt x="7992" y="7691"/>
                    <a:pt x="7916" y="7720"/>
                    <a:pt x="7900" y="7726"/>
                  </a:cubicBezTo>
                  <a:cubicBezTo>
                    <a:pt x="7685" y="7498"/>
                    <a:pt x="7685" y="7498"/>
                    <a:pt x="7685" y="7498"/>
                  </a:cubicBezTo>
                  <a:cubicBezTo>
                    <a:pt x="7675" y="7508"/>
                    <a:pt x="7675" y="7508"/>
                    <a:pt x="7675" y="7508"/>
                  </a:cubicBezTo>
                  <a:cubicBezTo>
                    <a:pt x="8117" y="7977"/>
                    <a:pt x="8117" y="7977"/>
                    <a:pt x="8117" y="7977"/>
                  </a:cubicBezTo>
                  <a:cubicBezTo>
                    <a:pt x="8101" y="7979"/>
                    <a:pt x="8087" y="7980"/>
                    <a:pt x="8077" y="7981"/>
                  </a:cubicBezTo>
                  <a:cubicBezTo>
                    <a:pt x="8047" y="7961"/>
                    <a:pt x="7990" y="7926"/>
                    <a:pt x="7921" y="7887"/>
                  </a:cubicBezTo>
                  <a:cubicBezTo>
                    <a:pt x="7832" y="7837"/>
                    <a:pt x="7723" y="7782"/>
                    <a:pt x="7616" y="7748"/>
                  </a:cubicBezTo>
                  <a:cubicBezTo>
                    <a:pt x="7519" y="7551"/>
                    <a:pt x="7519" y="7551"/>
                    <a:pt x="7519" y="7551"/>
                  </a:cubicBezTo>
                  <a:cubicBezTo>
                    <a:pt x="7646" y="7513"/>
                    <a:pt x="7792" y="7462"/>
                    <a:pt x="7939" y="7392"/>
                  </a:cubicBezTo>
                  <a:cubicBezTo>
                    <a:pt x="7964" y="7381"/>
                    <a:pt x="7987" y="7368"/>
                    <a:pt x="8010" y="7354"/>
                  </a:cubicBezTo>
                  <a:cubicBezTo>
                    <a:pt x="8005" y="7361"/>
                    <a:pt x="8005" y="7361"/>
                    <a:pt x="8005" y="7361"/>
                  </a:cubicBezTo>
                  <a:cubicBezTo>
                    <a:pt x="8272" y="7588"/>
                    <a:pt x="8272" y="7588"/>
                    <a:pt x="8272" y="7588"/>
                  </a:cubicBezTo>
                  <a:cubicBezTo>
                    <a:pt x="8272" y="7589"/>
                    <a:pt x="8271" y="7589"/>
                    <a:pt x="8271" y="7589"/>
                  </a:cubicBezTo>
                  <a:cubicBezTo>
                    <a:pt x="8259" y="7593"/>
                    <a:pt x="8244" y="7599"/>
                    <a:pt x="8225" y="7605"/>
                  </a:cubicBezTo>
                  <a:cubicBezTo>
                    <a:pt x="8188" y="7619"/>
                    <a:pt x="8139" y="7637"/>
                    <a:pt x="8090" y="7655"/>
                  </a:cubicBezTo>
                  <a:cubicBezTo>
                    <a:pt x="8089" y="7655"/>
                    <a:pt x="8089" y="7656"/>
                    <a:pt x="8088" y="7656"/>
                  </a:cubicBezTo>
                  <a:cubicBezTo>
                    <a:pt x="7971" y="7538"/>
                    <a:pt x="7864" y="7428"/>
                    <a:pt x="7864" y="7427"/>
                  </a:cubicBezTo>
                  <a:cubicBezTo>
                    <a:pt x="7854" y="7437"/>
                    <a:pt x="7854" y="7437"/>
                    <a:pt x="7854" y="7437"/>
                  </a:cubicBezTo>
                  <a:cubicBezTo>
                    <a:pt x="7854" y="7437"/>
                    <a:pt x="7959" y="7545"/>
                    <a:pt x="8074" y="7661"/>
                  </a:cubicBezTo>
                  <a:close/>
                  <a:moveTo>
                    <a:pt x="7455" y="14081"/>
                  </a:moveTo>
                  <a:cubicBezTo>
                    <a:pt x="7393" y="14176"/>
                    <a:pt x="7393" y="14176"/>
                    <a:pt x="7393" y="14176"/>
                  </a:cubicBezTo>
                  <a:cubicBezTo>
                    <a:pt x="7375" y="14177"/>
                    <a:pt x="7291" y="14180"/>
                    <a:pt x="7179" y="14184"/>
                  </a:cubicBezTo>
                  <a:cubicBezTo>
                    <a:pt x="7096" y="13821"/>
                    <a:pt x="7096" y="13821"/>
                    <a:pt x="7096" y="13821"/>
                  </a:cubicBezTo>
                  <a:cubicBezTo>
                    <a:pt x="7116" y="13819"/>
                    <a:pt x="7137" y="13818"/>
                    <a:pt x="7157" y="13817"/>
                  </a:cubicBezTo>
                  <a:cubicBezTo>
                    <a:pt x="7260" y="13809"/>
                    <a:pt x="7343" y="13806"/>
                    <a:pt x="7343" y="13806"/>
                  </a:cubicBezTo>
                  <a:cubicBezTo>
                    <a:pt x="7447" y="13802"/>
                    <a:pt x="7447" y="13802"/>
                    <a:pt x="7447" y="13802"/>
                  </a:cubicBezTo>
                  <a:cubicBezTo>
                    <a:pt x="7447" y="13806"/>
                    <a:pt x="7447" y="13809"/>
                    <a:pt x="7447" y="13814"/>
                  </a:cubicBezTo>
                  <a:cubicBezTo>
                    <a:pt x="7447" y="13885"/>
                    <a:pt x="7454" y="14059"/>
                    <a:pt x="7455" y="14081"/>
                  </a:cubicBezTo>
                  <a:close/>
                  <a:moveTo>
                    <a:pt x="7018" y="15224"/>
                  </a:moveTo>
                  <a:cubicBezTo>
                    <a:pt x="6790" y="15171"/>
                    <a:pt x="6790" y="15171"/>
                    <a:pt x="6790" y="15171"/>
                  </a:cubicBezTo>
                  <a:cubicBezTo>
                    <a:pt x="6790" y="15166"/>
                    <a:pt x="6790" y="15166"/>
                    <a:pt x="6790" y="15166"/>
                  </a:cubicBezTo>
                  <a:cubicBezTo>
                    <a:pt x="6795" y="15163"/>
                    <a:pt x="6795" y="15163"/>
                    <a:pt x="6795" y="15163"/>
                  </a:cubicBezTo>
                  <a:cubicBezTo>
                    <a:pt x="6794" y="15164"/>
                    <a:pt x="6794" y="15164"/>
                    <a:pt x="6794" y="15164"/>
                  </a:cubicBezTo>
                  <a:cubicBezTo>
                    <a:pt x="6796" y="15164"/>
                    <a:pt x="6796" y="15164"/>
                    <a:pt x="6796" y="15164"/>
                  </a:cubicBezTo>
                  <a:cubicBezTo>
                    <a:pt x="6796" y="15164"/>
                    <a:pt x="6796" y="15164"/>
                    <a:pt x="6796" y="15164"/>
                  </a:cubicBezTo>
                  <a:cubicBezTo>
                    <a:pt x="6796" y="15163"/>
                    <a:pt x="6795" y="15162"/>
                    <a:pt x="6795" y="15160"/>
                  </a:cubicBezTo>
                  <a:cubicBezTo>
                    <a:pt x="6795" y="15157"/>
                    <a:pt x="6794" y="15151"/>
                    <a:pt x="6794" y="15144"/>
                  </a:cubicBezTo>
                  <a:cubicBezTo>
                    <a:pt x="6793" y="15131"/>
                    <a:pt x="6792" y="15111"/>
                    <a:pt x="6792" y="15086"/>
                  </a:cubicBezTo>
                  <a:cubicBezTo>
                    <a:pt x="6791" y="15038"/>
                    <a:pt x="6790" y="14974"/>
                    <a:pt x="6789" y="14910"/>
                  </a:cubicBezTo>
                  <a:cubicBezTo>
                    <a:pt x="6789" y="14813"/>
                    <a:pt x="6789" y="14717"/>
                    <a:pt x="6788" y="14675"/>
                  </a:cubicBezTo>
                  <a:cubicBezTo>
                    <a:pt x="6859" y="14674"/>
                    <a:pt x="6928" y="14674"/>
                    <a:pt x="6993" y="14674"/>
                  </a:cubicBezTo>
                  <a:cubicBezTo>
                    <a:pt x="6995" y="14702"/>
                    <a:pt x="6995" y="14702"/>
                    <a:pt x="6995" y="14702"/>
                  </a:cubicBezTo>
                  <a:cubicBezTo>
                    <a:pt x="6948" y="14703"/>
                    <a:pt x="6948" y="14703"/>
                    <a:pt x="6948" y="14703"/>
                  </a:cubicBezTo>
                  <a:cubicBezTo>
                    <a:pt x="6949" y="14746"/>
                    <a:pt x="6949" y="14746"/>
                    <a:pt x="6949" y="14746"/>
                  </a:cubicBezTo>
                  <a:cubicBezTo>
                    <a:pt x="6903" y="14748"/>
                    <a:pt x="6903" y="14748"/>
                    <a:pt x="6903" y="14748"/>
                  </a:cubicBezTo>
                  <a:cubicBezTo>
                    <a:pt x="6905" y="14827"/>
                    <a:pt x="6905" y="14827"/>
                    <a:pt x="6905" y="14827"/>
                  </a:cubicBezTo>
                  <a:cubicBezTo>
                    <a:pt x="6905" y="14834"/>
                    <a:pt x="6905" y="14834"/>
                    <a:pt x="6905" y="14834"/>
                  </a:cubicBezTo>
                  <a:cubicBezTo>
                    <a:pt x="7000" y="14831"/>
                    <a:pt x="7000" y="14831"/>
                    <a:pt x="7000" y="14831"/>
                  </a:cubicBezTo>
                  <a:lnTo>
                    <a:pt x="7018" y="15224"/>
                  </a:lnTo>
                  <a:close/>
                  <a:moveTo>
                    <a:pt x="7009" y="14715"/>
                  </a:moveTo>
                  <a:cubicBezTo>
                    <a:pt x="7052" y="14714"/>
                    <a:pt x="7052" y="14714"/>
                    <a:pt x="7052" y="14714"/>
                  </a:cubicBezTo>
                  <a:cubicBezTo>
                    <a:pt x="7053" y="14757"/>
                    <a:pt x="7053" y="14757"/>
                    <a:pt x="7053" y="14757"/>
                  </a:cubicBezTo>
                  <a:cubicBezTo>
                    <a:pt x="7100" y="14756"/>
                    <a:pt x="7100" y="14756"/>
                    <a:pt x="7100" y="14756"/>
                  </a:cubicBezTo>
                  <a:cubicBezTo>
                    <a:pt x="7102" y="14816"/>
                    <a:pt x="7102" y="14816"/>
                    <a:pt x="7102" y="14816"/>
                  </a:cubicBezTo>
                  <a:cubicBezTo>
                    <a:pt x="7014" y="14818"/>
                    <a:pt x="7014" y="14818"/>
                    <a:pt x="7014" y="14818"/>
                  </a:cubicBezTo>
                  <a:lnTo>
                    <a:pt x="7009" y="14715"/>
                  </a:lnTo>
                  <a:close/>
                  <a:moveTo>
                    <a:pt x="6911" y="14596"/>
                  </a:moveTo>
                  <a:cubicBezTo>
                    <a:pt x="6912" y="14601"/>
                    <a:pt x="6912" y="14605"/>
                    <a:pt x="6912" y="14609"/>
                  </a:cubicBezTo>
                  <a:cubicBezTo>
                    <a:pt x="6827" y="14609"/>
                    <a:pt x="6738" y="14609"/>
                    <a:pt x="6651" y="14609"/>
                  </a:cubicBezTo>
                  <a:cubicBezTo>
                    <a:pt x="6653" y="14217"/>
                    <a:pt x="6653" y="14217"/>
                    <a:pt x="6653" y="14217"/>
                  </a:cubicBezTo>
                  <a:cubicBezTo>
                    <a:pt x="6729" y="14214"/>
                    <a:pt x="6815" y="14211"/>
                    <a:pt x="6902" y="14208"/>
                  </a:cubicBezTo>
                  <a:cubicBezTo>
                    <a:pt x="6906" y="14208"/>
                    <a:pt x="6911" y="14207"/>
                    <a:pt x="6916" y="14207"/>
                  </a:cubicBezTo>
                  <a:cubicBezTo>
                    <a:pt x="6915" y="14246"/>
                    <a:pt x="6911" y="14428"/>
                    <a:pt x="6911" y="14538"/>
                  </a:cubicBezTo>
                  <a:cubicBezTo>
                    <a:pt x="6911" y="14561"/>
                    <a:pt x="6911" y="14581"/>
                    <a:pt x="6911" y="14596"/>
                  </a:cubicBezTo>
                  <a:close/>
                  <a:moveTo>
                    <a:pt x="6962" y="14716"/>
                  </a:moveTo>
                  <a:cubicBezTo>
                    <a:pt x="6995" y="14715"/>
                    <a:pt x="6995" y="14715"/>
                    <a:pt x="6995" y="14715"/>
                  </a:cubicBezTo>
                  <a:cubicBezTo>
                    <a:pt x="7000" y="14818"/>
                    <a:pt x="7000" y="14818"/>
                    <a:pt x="7000" y="14818"/>
                  </a:cubicBezTo>
                  <a:cubicBezTo>
                    <a:pt x="6917" y="14820"/>
                    <a:pt x="6917" y="14820"/>
                    <a:pt x="6917" y="14820"/>
                  </a:cubicBezTo>
                  <a:cubicBezTo>
                    <a:pt x="6916" y="14760"/>
                    <a:pt x="6916" y="14760"/>
                    <a:pt x="6916" y="14760"/>
                  </a:cubicBezTo>
                  <a:cubicBezTo>
                    <a:pt x="6963" y="14759"/>
                    <a:pt x="6963" y="14759"/>
                    <a:pt x="6963" y="14759"/>
                  </a:cubicBezTo>
                  <a:lnTo>
                    <a:pt x="6962" y="14716"/>
                  </a:lnTo>
                  <a:close/>
                  <a:moveTo>
                    <a:pt x="6926" y="14609"/>
                  </a:moveTo>
                  <a:cubicBezTo>
                    <a:pt x="6926" y="14606"/>
                    <a:pt x="6926" y="14602"/>
                    <a:pt x="6925" y="14598"/>
                  </a:cubicBezTo>
                  <a:cubicBezTo>
                    <a:pt x="6925" y="14583"/>
                    <a:pt x="6925" y="14563"/>
                    <a:pt x="6925" y="14538"/>
                  </a:cubicBezTo>
                  <a:cubicBezTo>
                    <a:pt x="6925" y="14428"/>
                    <a:pt x="6929" y="14244"/>
                    <a:pt x="6930" y="14207"/>
                  </a:cubicBezTo>
                  <a:cubicBezTo>
                    <a:pt x="6982" y="14205"/>
                    <a:pt x="7034" y="14203"/>
                    <a:pt x="7084" y="14201"/>
                  </a:cubicBezTo>
                  <a:cubicBezTo>
                    <a:pt x="7084" y="14202"/>
                    <a:pt x="7084" y="14202"/>
                    <a:pt x="7084" y="14202"/>
                  </a:cubicBezTo>
                  <a:cubicBezTo>
                    <a:pt x="7085" y="14205"/>
                    <a:pt x="7086" y="14210"/>
                    <a:pt x="7088" y="14216"/>
                  </a:cubicBezTo>
                  <a:cubicBezTo>
                    <a:pt x="7091" y="14227"/>
                    <a:pt x="7095" y="14244"/>
                    <a:pt x="7100" y="14264"/>
                  </a:cubicBezTo>
                  <a:cubicBezTo>
                    <a:pt x="7109" y="14305"/>
                    <a:pt x="7122" y="14358"/>
                    <a:pt x="7134" y="14412"/>
                  </a:cubicBezTo>
                  <a:cubicBezTo>
                    <a:pt x="7152" y="14492"/>
                    <a:pt x="7170" y="14571"/>
                    <a:pt x="7178" y="14607"/>
                  </a:cubicBezTo>
                  <a:cubicBezTo>
                    <a:pt x="7106" y="14608"/>
                    <a:pt x="7019" y="14608"/>
                    <a:pt x="6926" y="14609"/>
                  </a:cubicBezTo>
                  <a:close/>
                  <a:moveTo>
                    <a:pt x="6559" y="14206"/>
                  </a:moveTo>
                  <a:cubicBezTo>
                    <a:pt x="6550" y="14207"/>
                    <a:pt x="6541" y="14207"/>
                    <a:pt x="6532" y="14207"/>
                  </a:cubicBezTo>
                  <a:cubicBezTo>
                    <a:pt x="6532" y="13902"/>
                    <a:pt x="6532" y="13902"/>
                    <a:pt x="6532" y="13902"/>
                  </a:cubicBezTo>
                  <a:cubicBezTo>
                    <a:pt x="6631" y="13890"/>
                    <a:pt x="6730" y="13875"/>
                    <a:pt x="6827" y="13856"/>
                  </a:cubicBezTo>
                  <a:cubicBezTo>
                    <a:pt x="6791" y="14193"/>
                    <a:pt x="6791" y="14193"/>
                    <a:pt x="6791" y="14193"/>
                  </a:cubicBezTo>
                  <a:cubicBezTo>
                    <a:pt x="6805" y="14194"/>
                    <a:pt x="6805" y="14194"/>
                    <a:pt x="6805" y="14194"/>
                  </a:cubicBezTo>
                  <a:cubicBezTo>
                    <a:pt x="6841" y="13853"/>
                    <a:pt x="6841" y="13853"/>
                    <a:pt x="6841" y="13853"/>
                  </a:cubicBezTo>
                  <a:cubicBezTo>
                    <a:pt x="6846" y="13852"/>
                    <a:pt x="6850" y="13852"/>
                    <a:pt x="6854" y="13851"/>
                  </a:cubicBezTo>
                  <a:cubicBezTo>
                    <a:pt x="6913" y="13839"/>
                    <a:pt x="6999" y="13829"/>
                    <a:pt x="7082" y="13822"/>
                  </a:cubicBezTo>
                  <a:cubicBezTo>
                    <a:pt x="7165" y="14184"/>
                    <a:pt x="7165" y="14184"/>
                    <a:pt x="7165" y="14184"/>
                  </a:cubicBezTo>
                  <a:cubicBezTo>
                    <a:pt x="6979" y="14191"/>
                    <a:pt x="6723" y="14200"/>
                    <a:pt x="6559" y="14206"/>
                  </a:cubicBezTo>
                  <a:close/>
                  <a:moveTo>
                    <a:pt x="6322" y="14610"/>
                  </a:moveTo>
                  <a:cubicBezTo>
                    <a:pt x="6406" y="14227"/>
                    <a:pt x="6406" y="14227"/>
                    <a:pt x="6406" y="14227"/>
                  </a:cubicBezTo>
                  <a:cubicBezTo>
                    <a:pt x="6408" y="14226"/>
                    <a:pt x="6410" y="14226"/>
                    <a:pt x="6413" y="14226"/>
                  </a:cubicBezTo>
                  <a:cubicBezTo>
                    <a:pt x="6421" y="14226"/>
                    <a:pt x="6432" y="14225"/>
                    <a:pt x="6446" y="14225"/>
                  </a:cubicBezTo>
                  <a:cubicBezTo>
                    <a:pt x="6473" y="14224"/>
                    <a:pt x="6513" y="14222"/>
                    <a:pt x="6560" y="14220"/>
                  </a:cubicBezTo>
                  <a:cubicBezTo>
                    <a:pt x="6584" y="14219"/>
                    <a:pt x="6611" y="14218"/>
                    <a:pt x="6639" y="14217"/>
                  </a:cubicBezTo>
                  <a:cubicBezTo>
                    <a:pt x="6637" y="14609"/>
                    <a:pt x="6637" y="14609"/>
                    <a:pt x="6637" y="14609"/>
                  </a:cubicBezTo>
                  <a:cubicBezTo>
                    <a:pt x="6626" y="14609"/>
                    <a:pt x="6616" y="14609"/>
                    <a:pt x="6605" y="14609"/>
                  </a:cubicBezTo>
                  <a:cubicBezTo>
                    <a:pt x="6502" y="14610"/>
                    <a:pt x="6404" y="14610"/>
                    <a:pt x="6322" y="14610"/>
                  </a:cubicBezTo>
                  <a:close/>
                  <a:moveTo>
                    <a:pt x="6591" y="14873"/>
                  </a:moveTo>
                  <a:cubicBezTo>
                    <a:pt x="6360" y="14860"/>
                    <a:pt x="6360" y="14860"/>
                    <a:pt x="6360" y="14860"/>
                  </a:cubicBezTo>
                  <a:cubicBezTo>
                    <a:pt x="6349" y="14675"/>
                    <a:pt x="6349" y="14675"/>
                    <a:pt x="6349" y="14675"/>
                  </a:cubicBezTo>
                  <a:cubicBezTo>
                    <a:pt x="6419" y="14675"/>
                    <a:pt x="6499" y="14675"/>
                    <a:pt x="6583" y="14675"/>
                  </a:cubicBezTo>
                  <a:lnTo>
                    <a:pt x="6591" y="14873"/>
                  </a:lnTo>
                  <a:close/>
                  <a:moveTo>
                    <a:pt x="3808" y="15156"/>
                  </a:moveTo>
                  <a:cubicBezTo>
                    <a:pt x="3995" y="15052"/>
                    <a:pt x="3995" y="15052"/>
                    <a:pt x="3995" y="15052"/>
                  </a:cubicBezTo>
                  <a:cubicBezTo>
                    <a:pt x="3995" y="15052"/>
                    <a:pt x="3995" y="15052"/>
                    <a:pt x="3995" y="15052"/>
                  </a:cubicBezTo>
                  <a:cubicBezTo>
                    <a:pt x="4005" y="15069"/>
                    <a:pt x="4042" y="15130"/>
                    <a:pt x="4088" y="15207"/>
                  </a:cubicBezTo>
                  <a:cubicBezTo>
                    <a:pt x="4142" y="15299"/>
                    <a:pt x="4208" y="15412"/>
                    <a:pt x="4256" y="15501"/>
                  </a:cubicBezTo>
                  <a:cubicBezTo>
                    <a:pt x="4259" y="15506"/>
                    <a:pt x="4262" y="15512"/>
                    <a:pt x="4265" y="15517"/>
                  </a:cubicBezTo>
                  <a:cubicBezTo>
                    <a:pt x="4264" y="15517"/>
                    <a:pt x="4264" y="15517"/>
                    <a:pt x="4264" y="15517"/>
                  </a:cubicBezTo>
                  <a:cubicBezTo>
                    <a:pt x="4098" y="15619"/>
                    <a:pt x="4098" y="15619"/>
                    <a:pt x="4098" y="15619"/>
                  </a:cubicBezTo>
                  <a:cubicBezTo>
                    <a:pt x="4102" y="15616"/>
                    <a:pt x="4102" y="15616"/>
                    <a:pt x="4102" y="15616"/>
                  </a:cubicBezTo>
                  <a:lnTo>
                    <a:pt x="3808" y="15156"/>
                  </a:lnTo>
                  <a:close/>
                  <a:moveTo>
                    <a:pt x="3559" y="15444"/>
                  </a:moveTo>
                  <a:cubicBezTo>
                    <a:pt x="3670" y="15380"/>
                    <a:pt x="3670" y="15380"/>
                    <a:pt x="3670" y="15380"/>
                  </a:cubicBezTo>
                  <a:cubicBezTo>
                    <a:pt x="3618" y="15290"/>
                    <a:pt x="3618" y="15290"/>
                    <a:pt x="3618" y="15290"/>
                  </a:cubicBezTo>
                  <a:cubicBezTo>
                    <a:pt x="3493" y="15362"/>
                    <a:pt x="3493" y="15362"/>
                    <a:pt x="3493" y="15362"/>
                  </a:cubicBezTo>
                  <a:cubicBezTo>
                    <a:pt x="3479" y="15339"/>
                    <a:pt x="3479" y="15339"/>
                    <a:pt x="3479" y="15339"/>
                  </a:cubicBezTo>
                  <a:cubicBezTo>
                    <a:pt x="3796" y="15163"/>
                    <a:pt x="3796" y="15163"/>
                    <a:pt x="3796" y="15163"/>
                  </a:cubicBezTo>
                  <a:cubicBezTo>
                    <a:pt x="4090" y="15624"/>
                    <a:pt x="4090" y="15624"/>
                    <a:pt x="4090" y="15624"/>
                  </a:cubicBezTo>
                  <a:cubicBezTo>
                    <a:pt x="3861" y="15764"/>
                    <a:pt x="3861" y="15764"/>
                    <a:pt x="3861" y="15764"/>
                  </a:cubicBezTo>
                  <a:cubicBezTo>
                    <a:pt x="3715" y="15733"/>
                    <a:pt x="3715" y="15733"/>
                    <a:pt x="3715" y="15733"/>
                  </a:cubicBezTo>
                  <a:cubicBezTo>
                    <a:pt x="3585" y="15515"/>
                    <a:pt x="3585" y="15515"/>
                    <a:pt x="3585" y="15515"/>
                  </a:cubicBezTo>
                  <a:cubicBezTo>
                    <a:pt x="3597" y="15509"/>
                    <a:pt x="3597" y="15509"/>
                    <a:pt x="3597" y="15509"/>
                  </a:cubicBezTo>
                  <a:lnTo>
                    <a:pt x="3559" y="15444"/>
                  </a:lnTo>
                  <a:close/>
                  <a:moveTo>
                    <a:pt x="3566" y="15511"/>
                  </a:moveTo>
                  <a:cubicBezTo>
                    <a:pt x="3473" y="15565"/>
                    <a:pt x="3473" y="15565"/>
                    <a:pt x="3473" y="15565"/>
                  </a:cubicBezTo>
                  <a:cubicBezTo>
                    <a:pt x="3434" y="15497"/>
                    <a:pt x="3434" y="15497"/>
                    <a:pt x="3434" y="15497"/>
                  </a:cubicBezTo>
                  <a:cubicBezTo>
                    <a:pt x="3526" y="15444"/>
                    <a:pt x="3526" y="15444"/>
                    <a:pt x="3526" y="15444"/>
                  </a:cubicBezTo>
                  <a:lnTo>
                    <a:pt x="3566" y="15511"/>
                  </a:lnTo>
                  <a:close/>
                  <a:moveTo>
                    <a:pt x="3507" y="15369"/>
                  </a:moveTo>
                  <a:cubicBezTo>
                    <a:pt x="3613" y="15308"/>
                    <a:pt x="3613" y="15308"/>
                    <a:pt x="3613" y="15308"/>
                  </a:cubicBezTo>
                  <a:cubicBezTo>
                    <a:pt x="3652" y="15376"/>
                    <a:pt x="3652" y="15376"/>
                    <a:pt x="3652" y="15376"/>
                  </a:cubicBezTo>
                  <a:cubicBezTo>
                    <a:pt x="3553" y="15433"/>
                    <a:pt x="3553" y="15433"/>
                    <a:pt x="3553" y="15433"/>
                  </a:cubicBezTo>
                  <a:cubicBezTo>
                    <a:pt x="3544" y="15418"/>
                    <a:pt x="3544" y="15418"/>
                    <a:pt x="3544" y="15418"/>
                  </a:cubicBezTo>
                  <a:cubicBezTo>
                    <a:pt x="3538" y="15422"/>
                    <a:pt x="3538" y="15422"/>
                    <a:pt x="3538" y="15422"/>
                  </a:cubicBezTo>
                  <a:lnTo>
                    <a:pt x="3507" y="15369"/>
                  </a:lnTo>
                  <a:close/>
                  <a:moveTo>
                    <a:pt x="3547" y="15452"/>
                  </a:moveTo>
                  <a:cubicBezTo>
                    <a:pt x="3548" y="15451"/>
                    <a:pt x="3548" y="15451"/>
                    <a:pt x="3548" y="15451"/>
                  </a:cubicBezTo>
                  <a:cubicBezTo>
                    <a:pt x="3579" y="15504"/>
                    <a:pt x="3579" y="15504"/>
                    <a:pt x="3579" y="15504"/>
                  </a:cubicBezTo>
                  <a:cubicBezTo>
                    <a:pt x="3578" y="15504"/>
                    <a:pt x="3578" y="15504"/>
                    <a:pt x="3578" y="15504"/>
                  </a:cubicBezTo>
                  <a:lnTo>
                    <a:pt x="3547" y="15452"/>
                  </a:lnTo>
                  <a:close/>
                  <a:moveTo>
                    <a:pt x="3226" y="14681"/>
                  </a:moveTo>
                  <a:cubicBezTo>
                    <a:pt x="3194" y="14679"/>
                    <a:pt x="3158" y="14676"/>
                    <a:pt x="3122" y="14673"/>
                  </a:cubicBezTo>
                  <a:cubicBezTo>
                    <a:pt x="3132" y="14606"/>
                    <a:pt x="3210" y="14036"/>
                    <a:pt x="3219" y="13942"/>
                  </a:cubicBezTo>
                  <a:cubicBezTo>
                    <a:pt x="3324" y="13980"/>
                    <a:pt x="3324" y="13980"/>
                    <a:pt x="3324" y="13980"/>
                  </a:cubicBezTo>
                  <a:cubicBezTo>
                    <a:pt x="3323" y="13988"/>
                    <a:pt x="3320" y="14005"/>
                    <a:pt x="3317" y="14029"/>
                  </a:cubicBezTo>
                  <a:cubicBezTo>
                    <a:pt x="3268" y="14023"/>
                    <a:pt x="3268" y="14023"/>
                    <a:pt x="3268" y="14023"/>
                  </a:cubicBezTo>
                  <a:cubicBezTo>
                    <a:pt x="3262" y="14065"/>
                    <a:pt x="3262" y="14065"/>
                    <a:pt x="3262" y="14065"/>
                  </a:cubicBezTo>
                  <a:cubicBezTo>
                    <a:pt x="3216" y="14059"/>
                    <a:pt x="3216" y="14059"/>
                    <a:pt x="3216" y="14059"/>
                  </a:cubicBezTo>
                  <a:cubicBezTo>
                    <a:pt x="3205" y="14138"/>
                    <a:pt x="3205" y="14138"/>
                    <a:pt x="3205" y="14138"/>
                  </a:cubicBezTo>
                  <a:cubicBezTo>
                    <a:pt x="3204" y="14144"/>
                    <a:pt x="3204" y="14144"/>
                    <a:pt x="3204" y="14144"/>
                  </a:cubicBezTo>
                  <a:cubicBezTo>
                    <a:pt x="3298" y="14157"/>
                    <a:pt x="3298" y="14157"/>
                    <a:pt x="3298" y="14157"/>
                  </a:cubicBezTo>
                  <a:cubicBezTo>
                    <a:pt x="3269" y="14355"/>
                    <a:pt x="3228" y="14646"/>
                    <a:pt x="3226" y="14681"/>
                  </a:cubicBezTo>
                  <a:close/>
                  <a:moveTo>
                    <a:pt x="3237" y="14679"/>
                  </a:moveTo>
                  <a:cubicBezTo>
                    <a:pt x="3235" y="14682"/>
                    <a:pt x="3235" y="14682"/>
                    <a:pt x="3235" y="14682"/>
                  </a:cubicBezTo>
                  <a:cubicBezTo>
                    <a:pt x="3235" y="14682"/>
                    <a:pt x="3235" y="14682"/>
                    <a:pt x="3235" y="14682"/>
                  </a:cubicBezTo>
                  <a:lnTo>
                    <a:pt x="3237" y="14679"/>
                  </a:lnTo>
                  <a:close/>
                  <a:moveTo>
                    <a:pt x="2927" y="14133"/>
                  </a:moveTo>
                  <a:cubicBezTo>
                    <a:pt x="2865" y="14653"/>
                    <a:pt x="2865" y="14653"/>
                    <a:pt x="2865" y="14653"/>
                  </a:cubicBezTo>
                  <a:cubicBezTo>
                    <a:pt x="2859" y="14652"/>
                    <a:pt x="2855" y="14652"/>
                    <a:pt x="2854" y="14652"/>
                  </a:cubicBezTo>
                  <a:cubicBezTo>
                    <a:pt x="2704" y="14599"/>
                    <a:pt x="2704" y="14599"/>
                    <a:pt x="2704" y="14599"/>
                  </a:cubicBezTo>
                  <a:cubicBezTo>
                    <a:pt x="2422" y="14408"/>
                    <a:pt x="2422" y="14408"/>
                    <a:pt x="2422" y="14408"/>
                  </a:cubicBezTo>
                  <a:cubicBezTo>
                    <a:pt x="2488" y="14343"/>
                    <a:pt x="2488" y="14343"/>
                    <a:pt x="2488" y="14343"/>
                  </a:cubicBezTo>
                  <a:cubicBezTo>
                    <a:pt x="2648" y="14441"/>
                    <a:pt x="2648" y="14441"/>
                    <a:pt x="2648" y="14441"/>
                  </a:cubicBezTo>
                  <a:cubicBezTo>
                    <a:pt x="2654" y="14445"/>
                    <a:pt x="2654" y="14445"/>
                    <a:pt x="2654" y="14445"/>
                  </a:cubicBezTo>
                  <a:cubicBezTo>
                    <a:pt x="2736" y="14309"/>
                    <a:pt x="2736" y="14309"/>
                    <a:pt x="2736" y="14309"/>
                  </a:cubicBezTo>
                  <a:cubicBezTo>
                    <a:pt x="2604" y="14228"/>
                    <a:pt x="2604" y="14228"/>
                    <a:pt x="2604" y="14228"/>
                  </a:cubicBezTo>
                  <a:cubicBezTo>
                    <a:pt x="2982" y="13856"/>
                    <a:pt x="2982" y="13856"/>
                    <a:pt x="2982" y="13856"/>
                  </a:cubicBezTo>
                  <a:cubicBezTo>
                    <a:pt x="3093" y="13896"/>
                    <a:pt x="3093" y="13896"/>
                    <a:pt x="3093" y="13896"/>
                  </a:cubicBezTo>
                  <a:cubicBezTo>
                    <a:pt x="3087" y="13941"/>
                    <a:pt x="3087" y="13941"/>
                    <a:pt x="3087" y="13941"/>
                  </a:cubicBezTo>
                  <a:cubicBezTo>
                    <a:pt x="3027" y="13933"/>
                    <a:pt x="3027" y="13933"/>
                    <a:pt x="3027" y="13933"/>
                  </a:cubicBezTo>
                  <a:cubicBezTo>
                    <a:pt x="3021" y="13976"/>
                    <a:pt x="3021" y="13976"/>
                    <a:pt x="3021" y="13976"/>
                  </a:cubicBezTo>
                  <a:cubicBezTo>
                    <a:pt x="2974" y="13969"/>
                    <a:pt x="2974" y="13969"/>
                    <a:pt x="2974" y="13969"/>
                  </a:cubicBezTo>
                  <a:cubicBezTo>
                    <a:pt x="2963" y="14048"/>
                    <a:pt x="2963" y="14048"/>
                    <a:pt x="2963" y="14048"/>
                  </a:cubicBezTo>
                  <a:cubicBezTo>
                    <a:pt x="2963" y="14055"/>
                    <a:pt x="2963" y="14055"/>
                    <a:pt x="2963" y="14055"/>
                  </a:cubicBezTo>
                  <a:cubicBezTo>
                    <a:pt x="3069" y="14070"/>
                    <a:pt x="3069" y="14070"/>
                    <a:pt x="3069" y="14070"/>
                  </a:cubicBezTo>
                  <a:cubicBezTo>
                    <a:pt x="2989" y="14663"/>
                    <a:pt x="2989" y="14663"/>
                    <a:pt x="2989" y="14663"/>
                  </a:cubicBezTo>
                  <a:cubicBezTo>
                    <a:pt x="2942" y="14659"/>
                    <a:pt x="2903" y="14656"/>
                    <a:pt x="2878" y="14654"/>
                  </a:cubicBezTo>
                  <a:cubicBezTo>
                    <a:pt x="2942" y="14126"/>
                    <a:pt x="2942" y="14126"/>
                    <a:pt x="2942" y="14126"/>
                  </a:cubicBezTo>
                  <a:cubicBezTo>
                    <a:pt x="2798" y="14038"/>
                    <a:pt x="2798" y="14038"/>
                    <a:pt x="2798" y="14038"/>
                  </a:cubicBezTo>
                  <a:cubicBezTo>
                    <a:pt x="2791" y="14050"/>
                    <a:pt x="2791" y="14050"/>
                    <a:pt x="2791" y="14050"/>
                  </a:cubicBezTo>
                  <a:lnTo>
                    <a:pt x="2927" y="14133"/>
                  </a:lnTo>
                  <a:close/>
                  <a:moveTo>
                    <a:pt x="1968" y="14132"/>
                  </a:moveTo>
                  <a:cubicBezTo>
                    <a:pt x="1747" y="13997"/>
                    <a:pt x="1747" y="13997"/>
                    <a:pt x="1747" y="13997"/>
                  </a:cubicBezTo>
                  <a:cubicBezTo>
                    <a:pt x="1747" y="13997"/>
                    <a:pt x="1747" y="13997"/>
                    <a:pt x="1747" y="13997"/>
                  </a:cubicBezTo>
                  <a:cubicBezTo>
                    <a:pt x="1751" y="13993"/>
                    <a:pt x="1755" y="13988"/>
                    <a:pt x="1762" y="13982"/>
                  </a:cubicBezTo>
                  <a:cubicBezTo>
                    <a:pt x="1774" y="13969"/>
                    <a:pt x="1791" y="13952"/>
                    <a:pt x="1813" y="13931"/>
                  </a:cubicBezTo>
                  <a:cubicBezTo>
                    <a:pt x="1813" y="13930"/>
                    <a:pt x="1814" y="13930"/>
                    <a:pt x="1814" y="13930"/>
                  </a:cubicBezTo>
                  <a:cubicBezTo>
                    <a:pt x="2033" y="14064"/>
                    <a:pt x="2033" y="14064"/>
                    <a:pt x="2033" y="14064"/>
                  </a:cubicBezTo>
                  <a:cubicBezTo>
                    <a:pt x="1966" y="14129"/>
                    <a:pt x="1966" y="14129"/>
                    <a:pt x="1966" y="14129"/>
                  </a:cubicBezTo>
                  <a:lnTo>
                    <a:pt x="1968" y="14132"/>
                  </a:lnTo>
                  <a:close/>
                  <a:moveTo>
                    <a:pt x="2167" y="10558"/>
                  </a:moveTo>
                  <a:cubicBezTo>
                    <a:pt x="2167" y="10562"/>
                    <a:pt x="2166" y="10565"/>
                    <a:pt x="2165" y="10568"/>
                  </a:cubicBezTo>
                  <a:cubicBezTo>
                    <a:pt x="2163" y="10574"/>
                    <a:pt x="2158" y="10576"/>
                    <a:pt x="2147" y="10576"/>
                  </a:cubicBezTo>
                  <a:cubicBezTo>
                    <a:pt x="2130" y="10576"/>
                    <a:pt x="2103" y="10569"/>
                    <a:pt x="2072" y="10569"/>
                  </a:cubicBezTo>
                  <a:cubicBezTo>
                    <a:pt x="2020" y="10570"/>
                    <a:pt x="2004" y="10612"/>
                    <a:pt x="1981" y="10652"/>
                  </a:cubicBezTo>
                  <a:cubicBezTo>
                    <a:pt x="1959" y="10691"/>
                    <a:pt x="1929" y="10692"/>
                    <a:pt x="1891" y="10706"/>
                  </a:cubicBezTo>
                  <a:cubicBezTo>
                    <a:pt x="1854" y="10720"/>
                    <a:pt x="1796" y="10743"/>
                    <a:pt x="1754" y="10770"/>
                  </a:cubicBezTo>
                  <a:cubicBezTo>
                    <a:pt x="1726" y="10788"/>
                    <a:pt x="1690" y="10796"/>
                    <a:pt x="1672" y="10796"/>
                  </a:cubicBezTo>
                  <a:cubicBezTo>
                    <a:pt x="1668" y="10796"/>
                    <a:pt x="1666" y="10796"/>
                    <a:pt x="1664" y="10795"/>
                  </a:cubicBezTo>
                  <a:cubicBezTo>
                    <a:pt x="1665" y="10795"/>
                    <a:pt x="1665" y="10794"/>
                    <a:pt x="1666" y="10793"/>
                  </a:cubicBezTo>
                  <a:cubicBezTo>
                    <a:pt x="1669" y="10791"/>
                    <a:pt x="1672" y="10788"/>
                    <a:pt x="1677" y="10784"/>
                  </a:cubicBezTo>
                  <a:cubicBezTo>
                    <a:pt x="1687" y="10777"/>
                    <a:pt x="1700" y="10769"/>
                    <a:pt x="1715" y="10760"/>
                  </a:cubicBezTo>
                  <a:cubicBezTo>
                    <a:pt x="1745" y="10742"/>
                    <a:pt x="1781" y="10723"/>
                    <a:pt x="1806" y="10713"/>
                  </a:cubicBezTo>
                  <a:cubicBezTo>
                    <a:pt x="1857" y="10692"/>
                    <a:pt x="1917" y="10650"/>
                    <a:pt x="1978" y="10582"/>
                  </a:cubicBezTo>
                  <a:cubicBezTo>
                    <a:pt x="2028" y="10525"/>
                    <a:pt x="2079" y="10501"/>
                    <a:pt x="2108" y="10501"/>
                  </a:cubicBezTo>
                  <a:cubicBezTo>
                    <a:pt x="2114" y="10501"/>
                    <a:pt x="2118" y="10502"/>
                    <a:pt x="2122" y="10504"/>
                  </a:cubicBezTo>
                  <a:cubicBezTo>
                    <a:pt x="2124" y="10500"/>
                    <a:pt x="2124" y="10500"/>
                    <a:pt x="2124" y="10500"/>
                  </a:cubicBezTo>
                  <a:cubicBezTo>
                    <a:pt x="2122" y="10504"/>
                    <a:pt x="2122" y="10504"/>
                    <a:pt x="2122" y="10504"/>
                  </a:cubicBezTo>
                  <a:cubicBezTo>
                    <a:pt x="2151" y="10516"/>
                    <a:pt x="2167" y="10540"/>
                    <a:pt x="2167" y="10558"/>
                  </a:cubicBezTo>
                  <a:close/>
                  <a:moveTo>
                    <a:pt x="1972" y="10576"/>
                  </a:moveTo>
                  <a:cubicBezTo>
                    <a:pt x="1912" y="10644"/>
                    <a:pt x="1852" y="10685"/>
                    <a:pt x="1802" y="10705"/>
                  </a:cubicBezTo>
                  <a:cubicBezTo>
                    <a:pt x="1764" y="10721"/>
                    <a:pt x="1702" y="10756"/>
                    <a:pt x="1672" y="10778"/>
                  </a:cubicBezTo>
                  <a:cubicBezTo>
                    <a:pt x="1663" y="10785"/>
                    <a:pt x="1657" y="10789"/>
                    <a:pt x="1655" y="10796"/>
                  </a:cubicBezTo>
                  <a:cubicBezTo>
                    <a:pt x="1655" y="10796"/>
                    <a:pt x="1655" y="10796"/>
                    <a:pt x="1655" y="10796"/>
                  </a:cubicBezTo>
                  <a:cubicBezTo>
                    <a:pt x="1655" y="10796"/>
                    <a:pt x="1655" y="10796"/>
                    <a:pt x="1655" y="10796"/>
                  </a:cubicBezTo>
                  <a:cubicBezTo>
                    <a:pt x="1655" y="10796"/>
                    <a:pt x="1655" y="10796"/>
                    <a:pt x="1655" y="10796"/>
                  </a:cubicBezTo>
                  <a:cubicBezTo>
                    <a:pt x="1655" y="10797"/>
                    <a:pt x="1655" y="10797"/>
                    <a:pt x="1655" y="10797"/>
                  </a:cubicBezTo>
                  <a:cubicBezTo>
                    <a:pt x="1658" y="10804"/>
                    <a:pt x="1664" y="10804"/>
                    <a:pt x="1672" y="10804"/>
                  </a:cubicBezTo>
                  <a:cubicBezTo>
                    <a:pt x="1692" y="10804"/>
                    <a:pt x="1728" y="10796"/>
                    <a:pt x="1758" y="10777"/>
                  </a:cubicBezTo>
                  <a:cubicBezTo>
                    <a:pt x="1799" y="10751"/>
                    <a:pt x="1858" y="10728"/>
                    <a:pt x="1894" y="10714"/>
                  </a:cubicBezTo>
                  <a:cubicBezTo>
                    <a:pt x="1930" y="10701"/>
                    <a:pt x="1964" y="10699"/>
                    <a:pt x="1988" y="10656"/>
                  </a:cubicBezTo>
                  <a:cubicBezTo>
                    <a:pt x="2012" y="10614"/>
                    <a:pt x="2026" y="10578"/>
                    <a:pt x="2072" y="10578"/>
                  </a:cubicBezTo>
                  <a:cubicBezTo>
                    <a:pt x="2102" y="10578"/>
                    <a:pt x="2128" y="10584"/>
                    <a:pt x="2147" y="10584"/>
                  </a:cubicBezTo>
                  <a:cubicBezTo>
                    <a:pt x="2158" y="10585"/>
                    <a:pt x="2169" y="10581"/>
                    <a:pt x="2173" y="10571"/>
                  </a:cubicBezTo>
                  <a:cubicBezTo>
                    <a:pt x="2174" y="10567"/>
                    <a:pt x="2175" y="10563"/>
                    <a:pt x="2175" y="10558"/>
                  </a:cubicBezTo>
                  <a:cubicBezTo>
                    <a:pt x="2175" y="10535"/>
                    <a:pt x="2156" y="10509"/>
                    <a:pt x="2125" y="10496"/>
                  </a:cubicBezTo>
                  <a:cubicBezTo>
                    <a:pt x="2125" y="10496"/>
                    <a:pt x="2123" y="10496"/>
                    <a:pt x="2122" y="10495"/>
                  </a:cubicBezTo>
                  <a:cubicBezTo>
                    <a:pt x="2142" y="10497"/>
                    <a:pt x="2163" y="10503"/>
                    <a:pt x="2184" y="10516"/>
                  </a:cubicBezTo>
                  <a:cubicBezTo>
                    <a:pt x="2189" y="10547"/>
                    <a:pt x="2199" y="10572"/>
                    <a:pt x="2213" y="10590"/>
                  </a:cubicBezTo>
                  <a:cubicBezTo>
                    <a:pt x="2186" y="10725"/>
                    <a:pt x="2186" y="10725"/>
                    <a:pt x="2186" y="10725"/>
                  </a:cubicBezTo>
                  <a:cubicBezTo>
                    <a:pt x="2187" y="10725"/>
                    <a:pt x="2187" y="10725"/>
                    <a:pt x="2187" y="10725"/>
                  </a:cubicBezTo>
                  <a:cubicBezTo>
                    <a:pt x="2094" y="10726"/>
                    <a:pt x="2020" y="10732"/>
                    <a:pt x="1960" y="10745"/>
                  </a:cubicBezTo>
                  <a:cubicBezTo>
                    <a:pt x="1851" y="10770"/>
                    <a:pt x="1617" y="10865"/>
                    <a:pt x="1533" y="10901"/>
                  </a:cubicBezTo>
                  <a:cubicBezTo>
                    <a:pt x="1521" y="10907"/>
                    <a:pt x="1507" y="10913"/>
                    <a:pt x="1494" y="10920"/>
                  </a:cubicBezTo>
                  <a:cubicBezTo>
                    <a:pt x="1476" y="10901"/>
                    <a:pt x="1441" y="10862"/>
                    <a:pt x="1403" y="10821"/>
                  </a:cubicBezTo>
                  <a:cubicBezTo>
                    <a:pt x="1436" y="10806"/>
                    <a:pt x="1464" y="10792"/>
                    <a:pt x="1480" y="10783"/>
                  </a:cubicBezTo>
                  <a:cubicBezTo>
                    <a:pt x="1504" y="10769"/>
                    <a:pt x="1562" y="10758"/>
                    <a:pt x="1620" y="10750"/>
                  </a:cubicBezTo>
                  <a:cubicBezTo>
                    <a:pt x="1677" y="10740"/>
                    <a:pt x="1733" y="10733"/>
                    <a:pt x="1761" y="10721"/>
                  </a:cubicBezTo>
                  <a:cubicBezTo>
                    <a:pt x="1812" y="10697"/>
                    <a:pt x="1893" y="10635"/>
                    <a:pt x="1937" y="10590"/>
                  </a:cubicBezTo>
                  <a:cubicBezTo>
                    <a:pt x="1963" y="10563"/>
                    <a:pt x="2016" y="10514"/>
                    <a:pt x="2076" y="10499"/>
                  </a:cubicBezTo>
                  <a:cubicBezTo>
                    <a:pt x="2046" y="10510"/>
                    <a:pt x="2008" y="10535"/>
                    <a:pt x="1972" y="10576"/>
                  </a:cubicBezTo>
                  <a:close/>
                  <a:moveTo>
                    <a:pt x="2717" y="10670"/>
                  </a:moveTo>
                  <a:cubicBezTo>
                    <a:pt x="2750" y="10732"/>
                    <a:pt x="2750" y="10732"/>
                    <a:pt x="2750" y="10732"/>
                  </a:cubicBezTo>
                  <a:cubicBezTo>
                    <a:pt x="2828" y="10745"/>
                    <a:pt x="2828" y="10745"/>
                    <a:pt x="2828" y="10745"/>
                  </a:cubicBezTo>
                  <a:cubicBezTo>
                    <a:pt x="2785" y="10565"/>
                    <a:pt x="2785" y="10565"/>
                    <a:pt x="2785" y="10565"/>
                  </a:cubicBezTo>
                  <a:cubicBezTo>
                    <a:pt x="2783" y="10559"/>
                    <a:pt x="2783" y="10559"/>
                    <a:pt x="2783" y="10559"/>
                  </a:cubicBezTo>
                  <a:cubicBezTo>
                    <a:pt x="2622" y="10560"/>
                    <a:pt x="2622" y="10560"/>
                    <a:pt x="2622" y="10560"/>
                  </a:cubicBezTo>
                  <a:cubicBezTo>
                    <a:pt x="2812" y="10510"/>
                    <a:pt x="2812" y="10510"/>
                    <a:pt x="2812" y="10510"/>
                  </a:cubicBezTo>
                  <a:cubicBezTo>
                    <a:pt x="2871" y="10791"/>
                    <a:pt x="2871" y="10791"/>
                    <a:pt x="2871" y="10791"/>
                  </a:cubicBezTo>
                  <a:cubicBezTo>
                    <a:pt x="2840" y="10784"/>
                    <a:pt x="2736" y="10760"/>
                    <a:pt x="2593" y="10744"/>
                  </a:cubicBezTo>
                  <a:cubicBezTo>
                    <a:pt x="2591" y="10726"/>
                    <a:pt x="2584" y="10686"/>
                    <a:pt x="2542" y="10663"/>
                  </a:cubicBezTo>
                  <a:cubicBezTo>
                    <a:pt x="2489" y="10635"/>
                    <a:pt x="2371" y="10628"/>
                    <a:pt x="2339" y="10624"/>
                  </a:cubicBezTo>
                  <a:cubicBezTo>
                    <a:pt x="2321" y="10622"/>
                    <a:pt x="2286" y="10621"/>
                    <a:pt x="2257" y="10600"/>
                  </a:cubicBezTo>
                  <a:cubicBezTo>
                    <a:pt x="2266" y="10552"/>
                    <a:pt x="2266" y="10552"/>
                    <a:pt x="2266" y="10552"/>
                  </a:cubicBezTo>
                  <a:cubicBezTo>
                    <a:pt x="2495" y="10593"/>
                    <a:pt x="2495" y="10593"/>
                    <a:pt x="2495" y="10593"/>
                  </a:cubicBezTo>
                  <a:cubicBezTo>
                    <a:pt x="2561" y="10576"/>
                    <a:pt x="2561" y="10576"/>
                    <a:pt x="2561" y="10576"/>
                  </a:cubicBezTo>
                  <a:lnTo>
                    <a:pt x="2717" y="10670"/>
                  </a:lnTo>
                  <a:close/>
                  <a:moveTo>
                    <a:pt x="2588" y="10575"/>
                  </a:moveTo>
                  <a:cubicBezTo>
                    <a:pt x="2772" y="10574"/>
                    <a:pt x="2772" y="10574"/>
                    <a:pt x="2772" y="10574"/>
                  </a:cubicBezTo>
                  <a:cubicBezTo>
                    <a:pt x="2809" y="10727"/>
                    <a:pt x="2809" y="10727"/>
                    <a:pt x="2809" y="10727"/>
                  </a:cubicBezTo>
                  <a:cubicBezTo>
                    <a:pt x="2759" y="10719"/>
                    <a:pt x="2759" y="10719"/>
                    <a:pt x="2759" y="10719"/>
                  </a:cubicBezTo>
                  <a:cubicBezTo>
                    <a:pt x="2728" y="10659"/>
                    <a:pt x="2728" y="10659"/>
                    <a:pt x="2728" y="10659"/>
                  </a:cubicBezTo>
                  <a:lnTo>
                    <a:pt x="2588" y="10575"/>
                  </a:lnTo>
                  <a:close/>
                  <a:moveTo>
                    <a:pt x="3559" y="10128"/>
                  </a:moveTo>
                  <a:cubicBezTo>
                    <a:pt x="3555" y="10133"/>
                    <a:pt x="3555" y="10133"/>
                    <a:pt x="3555" y="10133"/>
                  </a:cubicBezTo>
                  <a:cubicBezTo>
                    <a:pt x="3555" y="10131"/>
                    <a:pt x="3555" y="10131"/>
                    <a:pt x="3555" y="10131"/>
                  </a:cubicBezTo>
                  <a:cubicBezTo>
                    <a:pt x="3559" y="10127"/>
                    <a:pt x="3559" y="10127"/>
                    <a:pt x="3559" y="10127"/>
                  </a:cubicBezTo>
                  <a:cubicBezTo>
                    <a:pt x="3559" y="10127"/>
                    <a:pt x="3559" y="10127"/>
                    <a:pt x="3559" y="10127"/>
                  </a:cubicBezTo>
                  <a:cubicBezTo>
                    <a:pt x="3557" y="10129"/>
                    <a:pt x="3557" y="10129"/>
                    <a:pt x="3557" y="10129"/>
                  </a:cubicBezTo>
                  <a:lnTo>
                    <a:pt x="3559" y="10128"/>
                  </a:lnTo>
                  <a:close/>
                  <a:moveTo>
                    <a:pt x="3560" y="10150"/>
                  </a:moveTo>
                  <a:cubicBezTo>
                    <a:pt x="3562" y="10149"/>
                    <a:pt x="3562" y="10149"/>
                    <a:pt x="3562" y="10149"/>
                  </a:cubicBezTo>
                  <a:cubicBezTo>
                    <a:pt x="3706" y="9914"/>
                    <a:pt x="3706" y="9914"/>
                    <a:pt x="3706" y="9914"/>
                  </a:cubicBezTo>
                  <a:cubicBezTo>
                    <a:pt x="3706" y="9914"/>
                    <a:pt x="3707" y="9914"/>
                    <a:pt x="3708" y="9913"/>
                  </a:cubicBezTo>
                  <a:cubicBezTo>
                    <a:pt x="3808" y="10195"/>
                    <a:pt x="3808" y="10195"/>
                    <a:pt x="3808" y="10195"/>
                  </a:cubicBezTo>
                  <a:cubicBezTo>
                    <a:pt x="4047" y="10350"/>
                    <a:pt x="4047" y="10350"/>
                    <a:pt x="4047" y="10350"/>
                  </a:cubicBezTo>
                  <a:cubicBezTo>
                    <a:pt x="3838" y="10412"/>
                    <a:pt x="3641" y="10473"/>
                    <a:pt x="3487" y="10523"/>
                  </a:cubicBezTo>
                  <a:cubicBezTo>
                    <a:pt x="3288" y="10260"/>
                    <a:pt x="3288" y="10260"/>
                    <a:pt x="3288" y="10260"/>
                  </a:cubicBezTo>
                  <a:cubicBezTo>
                    <a:pt x="3277" y="10268"/>
                    <a:pt x="3277" y="10268"/>
                    <a:pt x="3277" y="10268"/>
                  </a:cubicBezTo>
                  <a:cubicBezTo>
                    <a:pt x="3473" y="10528"/>
                    <a:pt x="3473" y="10528"/>
                    <a:pt x="3473" y="10528"/>
                  </a:cubicBezTo>
                  <a:cubicBezTo>
                    <a:pt x="3334" y="10572"/>
                    <a:pt x="3232" y="10607"/>
                    <a:pt x="3191" y="10622"/>
                  </a:cubicBezTo>
                  <a:cubicBezTo>
                    <a:pt x="3181" y="10626"/>
                    <a:pt x="3175" y="10627"/>
                    <a:pt x="3169" y="10630"/>
                  </a:cubicBezTo>
                  <a:cubicBezTo>
                    <a:pt x="3168" y="10632"/>
                    <a:pt x="3167" y="10631"/>
                    <a:pt x="3162" y="10635"/>
                  </a:cubicBezTo>
                  <a:cubicBezTo>
                    <a:pt x="3158" y="10637"/>
                    <a:pt x="3149" y="10640"/>
                    <a:pt x="3139" y="10644"/>
                  </a:cubicBezTo>
                  <a:cubicBezTo>
                    <a:pt x="3119" y="10651"/>
                    <a:pt x="3090" y="10663"/>
                    <a:pt x="3057" y="10677"/>
                  </a:cubicBezTo>
                  <a:cubicBezTo>
                    <a:pt x="3000" y="10702"/>
                    <a:pt x="2943" y="10738"/>
                    <a:pt x="2887" y="10786"/>
                  </a:cubicBezTo>
                  <a:cubicBezTo>
                    <a:pt x="2827" y="10500"/>
                    <a:pt x="2827" y="10500"/>
                    <a:pt x="2827" y="10500"/>
                  </a:cubicBezTo>
                  <a:cubicBezTo>
                    <a:pt x="2851" y="10486"/>
                    <a:pt x="2915" y="10449"/>
                    <a:pt x="2981" y="10411"/>
                  </a:cubicBezTo>
                  <a:cubicBezTo>
                    <a:pt x="3063" y="10363"/>
                    <a:pt x="3149" y="10314"/>
                    <a:pt x="3155" y="10312"/>
                  </a:cubicBezTo>
                  <a:cubicBezTo>
                    <a:pt x="3158" y="10311"/>
                    <a:pt x="3158" y="10311"/>
                    <a:pt x="3161" y="10310"/>
                  </a:cubicBezTo>
                  <a:cubicBezTo>
                    <a:pt x="3165" y="10309"/>
                    <a:pt x="3169" y="10307"/>
                    <a:pt x="3175" y="10305"/>
                  </a:cubicBezTo>
                  <a:cubicBezTo>
                    <a:pt x="3187" y="10300"/>
                    <a:pt x="3203" y="10294"/>
                    <a:pt x="3222" y="10286"/>
                  </a:cubicBezTo>
                  <a:cubicBezTo>
                    <a:pt x="3260" y="10271"/>
                    <a:pt x="3310" y="10251"/>
                    <a:pt x="3360" y="10231"/>
                  </a:cubicBezTo>
                  <a:cubicBezTo>
                    <a:pt x="3460" y="10190"/>
                    <a:pt x="3560" y="10150"/>
                    <a:pt x="3560" y="10150"/>
                  </a:cubicBezTo>
                  <a:close/>
                  <a:moveTo>
                    <a:pt x="4618" y="9257"/>
                  </a:moveTo>
                  <a:cubicBezTo>
                    <a:pt x="4640" y="9684"/>
                    <a:pt x="4640" y="9684"/>
                    <a:pt x="4640" y="9684"/>
                  </a:cubicBezTo>
                  <a:cubicBezTo>
                    <a:pt x="4541" y="9686"/>
                    <a:pt x="4455" y="9688"/>
                    <a:pt x="4399" y="9689"/>
                  </a:cubicBezTo>
                  <a:cubicBezTo>
                    <a:pt x="4214" y="9285"/>
                    <a:pt x="4214" y="9285"/>
                    <a:pt x="4214" y="9285"/>
                  </a:cubicBezTo>
                  <a:cubicBezTo>
                    <a:pt x="4296" y="9281"/>
                    <a:pt x="4456" y="9271"/>
                    <a:pt x="4618" y="9257"/>
                  </a:cubicBezTo>
                  <a:close/>
                  <a:moveTo>
                    <a:pt x="4194" y="9241"/>
                  </a:moveTo>
                  <a:cubicBezTo>
                    <a:pt x="4083" y="8973"/>
                    <a:pt x="4083" y="8973"/>
                    <a:pt x="4083" y="8973"/>
                  </a:cubicBezTo>
                  <a:cubicBezTo>
                    <a:pt x="4481" y="8702"/>
                    <a:pt x="4481" y="8702"/>
                    <a:pt x="4481" y="8702"/>
                  </a:cubicBezTo>
                  <a:cubicBezTo>
                    <a:pt x="4472" y="9223"/>
                    <a:pt x="4472" y="9223"/>
                    <a:pt x="4472" y="9223"/>
                  </a:cubicBezTo>
                  <a:cubicBezTo>
                    <a:pt x="4352" y="9232"/>
                    <a:pt x="4247" y="9238"/>
                    <a:pt x="4194" y="9241"/>
                  </a:cubicBezTo>
                  <a:close/>
                  <a:moveTo>
                    <a:pt x="4658" y="8296"/>
                  </a:moveTo>
                  <a:cubicBezTo>
                    <a:pt x="4656" y="8444"/>
                    <a:pt x="4656" y="8444"/>
                    <a:pt x="4656" y="8444"/>
                  </a:cubicBezTo>
                  <a:cubicBezTo>
                    <a:pt x="4754" y="8445"/>
                    <a:pt x="4754" y="8445"/>
                    <a:pt x="4754" y="8445"/>
                  </a:cubicBezTo>
                  <a:cubicBezTo>
                    <a:pt x="4761" y="8445"/>
                    <a:pt x="4761" y="8445"/>
                    <a:pt x="4761" y="8445"/>
                  </a:cubicBezTo>
                  <a:cubicBezTo>
                    <a:pt x="4762" y="8328"/>
                    <a:pt x="4762" y="8328"/>
                    <a:pt x="4762" y="8328"/>
                  </a:cubicBezTo>
                  <a:cubicBezTo>
                    <a:pt x="4822" y="8669"/>
                    <a:pt x="4822" y="8669"/>
                    <a:pt x="4822" y="8669"/>
                  </a:cubicBezTo>
                  <a:cubicBezTo>
                    <a:pt x="4817" y="8668"/>
                    <a:pt x="4812" y="8668"/>
                    <a:pt x="4807" y="8667"/>
                  </a:cubicBezTo>
                  <a:cubicBezTo>
                    <a:pt x="4706" y="8647"/>
                    <a:pt x="4607" y="8628"/>
                    <a:pt x="4583" y="8623"/>
                  </a:cubicBezTo>
                  <a:cubicBezTo>
                    <a:pt x="4583" y="8585"/>
                    <a:pt x="4587" y="8360"/>
                    <a:pt x="4588" y="8292"/>
                  </a:cubicBezTo>
                  <a:cubicBezTo>
                    <a:pt x="4644" y="8289"/>
                    <a:pt x="4700" y="8287"/>
                    <a:pt x="4754" y="8285"/>
                  </a:cubicBezTo>
                  <a:cubicBezTo>
                    <a:pt x="4756" y="8297"/>
                    <a:pt x="4756" y="8297"/>
                    <a:pt x="4756" y="8297"/>
                  </a:cubicBezTo>
                  <a:lnTo>
                    <a:pt x="4658" y="8296"/>
                  </a:lnTo>
                  <a:close/>
                  <a:moveTo>
                    <a:pt x="4749" y="8310"/>
                  </a:moveTo>
                  <a:cubicBezTo>
                    <a:pt x="4748" y="8432"/>
                    <a:pt x="4748" y="8432"/>
                    <a:pt x="4748" y="8432"/>
                  </a:cubicBezTo>
                  <a:cubicBezTo>
                    <a:pt x="4669" y="8431"/>
                    <a:pt x="4669" y="8431"/>
                    <a:pt x="4669" y="8431"/>
                  </a:cubicBezTo>
                  <a:cubicBezTo>
                    <a:pt x="4670" y="8309"/>
                    <a:pt x="4670" y="8309"/>
                    <a:pt x="4670" y="8309"/>
                  </a:cubicBezTo>
                  <a:lnTo>
                    <a:pt x="4749" y="8310"/>
                  </a:lnTo>
                  <a:close/>
                  <a:moveTo>
                    <a:pt x="4453" y="7943"/>
                  </a:moveTo>
                  <a:cubicBezTo>
                    <a:pt x="4689" y="7910"/>
                    <a:pt x="4689" y="7910"/>
                    <a:pt x="4689" y="7910"/>
                  </a:cubicBezTo>
                  <a:cubicBezTo>
                    <a:pt x="4703" y="7992"/>
                    <a:pt x="4703" y="7992"/>
                    <a:pt x="4703" y="7992"/>
                  </a:cubicBezTo>
                  <a:cubicBezTo>
                    <a:pt x="4612" y="8008"/>
                    <a:pt x="4524" y="8021"/>
                    <a:pt x="4457" y="8028"/>
                  </a:cubicBezTo>
                  <a:cubicBezTo>
                    <a:pt x="4471" y="8025"/>
                    <a:pt x="4471" y="8025"/>
                    <a:pt x="4471" y="8025"/>
                  </a:cubicBezTo>
                  <a:lnTo>
                    <a:pt x="4453" y="7943"/>
                  </a:lnTo>
                  <a:close/>
                  <a:moveTo>
                    <a:pt x="3906" y="7233"/>
                  </a:moveTo>
                  <a:cubicBezTo>
                    <a:pt x="3906" y="7233"/>
                    <a:pt x="3905" y="7232"/>
                    <a:pt x="3905" y="7232"/>
                  </a:cubicBezTo>
                  <a:cubicBezTo>
                    <a:pt x="3904" y="7232"/>
                    <a:pt x="3903" y="7232"/>
                    <a:pt x="3903" y="7231"/>
                  </a:cubicBezTo>
                  <a:cubicBezTo>
                    <a:pt x="3890" y="7077"/>
                    <a:pt x="3890" y="7077"/>
                    <a:pt x="3890" y="7077"/>
                  </a:cubicBezTo>
                  <a:cubicBezTo>
                    <a:pt x="3917" y="6913"/>
                    <a:pt x="3917" y="6913"/>
                    <a:pt x="3917" y="6913"/>
                  </a:cubicBezTo>
                  <a:cubicBezTo>
                    <a:pt x="4223" y="6513"/>
                    <a:pt x="4223" y="6513"/>
                    <a:pt x="4223" y="6513"/>
                  </a:cubicBezTo>
                  <a:cubicBezTo>
                    <a:pt x="4320" y="6556"/>
                    <a:pt x="4320" y="6556"/>
                    <a:pt x="4320" y="6556"/>
                  </a:cubicBezTo>
                  <a:cubicBezTo>
                    <a:pt x="4358" y="6630"/>
                    <a:pt x="4358" y="6630"/>
                    <a:pt x="4358" y="6630"/>
                  </a:cubicBezTo>
                  <a:cubicBezTo>
                    <a:pt x="4182" y="6998"/>
                    <a:pt x="4182" y="6998"/>
                    <a:pt x="4182" y="6998"/>
                  </a:cubicBezTo>
                  <a:cubicBezTo>
                    <a:pt x="4247" y="7099"/>
                    <a:pt x="4247" y="7099"/>
                    <a:pt x="4247" y="7099"/>
                  </a:cubicBezTo>
                  <a:cubicBezTo>
                    <a:pt x="4246" y="7107"/>
                    <a:pt x="4246" y="7107"/>
                    <a:pt x="4246" y="7107"/>
                  </a:cubicBezTo>
                  <a:cubicBezTo>
                    <a:pt x="4251" y="7107"/>
                    <a:pt x="4251" y="7107"/>
                    <a:pt x="4251" y="7107"/>
                  </a:cubicBezTo>
                  <a:cubicBezTo>
                    <a:pt x="4170" y="7347"/>
                    <a:pt x="4170" y="7347"/>
                    <a:pt x="4170" y="7347"/>
                  </a:cubicBezTo>
                  <a:cubicBezTo>
                    <a:pt x="4159" y="7355"/>
                    <a:pt x="4105" y="7391"/>
                    <a:pt x="4087" y="7403"/>
                  </a:cubicBezTo>
                  <a:cubicBezTo>
                    <a:pt x="4009" y="7330"/>
                    <a:pt x="3917" y="7244"/>
                    <a:pt x="3906" y="7233"/>
                  </a:cubicBezTo>
                  <a:close/>
                  <a:moveTo>
                    <a:pt x="3907" y="7239"/>
                  </a:moveTo>
                  <a:cubicBezTo>
                    <a:pt x="3907" y="7239"/>
                    <a:pt x="3907" y="7239"/>
                    <a:pt x="3907" y="7239"/>
                  </a:cubicBezTo>
                  <a:cubicBezTo>
                    <a:pt x="3907" y="7239"/>
                    <a:pt x="3907" y="7239"/>
                    <a:pt x="3907" y="7239"/>
                  </a:cubicBezTo>
                  <a:cubicBezTo>
                    <a:pt x="3907" y="7239"/>
                    <a:pt x="3907" y="7239"/>
                    <a:pt x="3907" y="7239"/>
                  </a:cubicBezTo>
                  <a:close/>
                  <a:moveTo>
                    <a:pt x="3904" y="7245"/>
                  </a:moveTo>
                  <a:cubicBezTo>
                    <a:pt x="3904" y="7245"/>
                    <a:pt x="3904" y="7245"/>
                    <a:pt x="3904" y="7245"/>
                  </a:cubicBezTo>
                  <a:cubicBezTo>
                    <a:pt x="3903" y="7245"/>
                    <a:pt x="3903" y="7245"/>
                    <a:pt x="3903" y="7245"/>
                  </a:cubicBezTo>
                  <a:cubicBezTo>
                    <a:pt x="3903" y="7245"/>
                    <a:pt x="3903" y="7245"/>
                    <a:pt x="3903" y="7245"/>
                  </a:cubicBezTo>
                  <a:cubicBezTo>
                    <a:pt x="3903" y="7245"/>
                    <a:pt x="3904" y="7245"/>
                    <a:pt x="3904" y="7245"/>
                  </a:cubicBezTo>
                  <a:close/>
                  <a:moveTo>
                    <a:pt x="3886" y="7229"/>
                  </a:moveTo>
                  <a:cubicBezTo>
                    <a:pt x="3874" y="7227"/>
                    <a:pt x="3858" y="7224"/>
                    <a:pt x="3858" y="7224"/>
                  </a:cubicBezTo>
                  <a:cubicBezTo>
                    <a:pt x="3855" y="7224"/>
                    <a:pt x="3855" y="7224"/>
                    <a:pt x="3855" y="7224"/>
                  </a:cubicBezTo>
                  <a:cubicBezTo>
                    <a:pt x="3700" y="7349"/>
                    <a:pt x="3700" y="7349"/>
                    <a:pt x="3700" y="7349"/>
                  </a:cubicBezTo>
                  <a:cubicBezTo>
                    <a:pt x="3692" y="7340"/>
                    <a:pt x="3560" y="7185"/>
                    <a:pt x="3442" y="7096"/>
                  </a:cubicBezTo>
                  <a:cubicBezTo>
                    <a:pt x="3536" y="6810"/>
                    <a:pt x="3536" y="6810"/>
                    <a:pt x="3536" y="6810"/>
                  </a:cubicBezTo>
                  <a:cubicBezTo>
                    <a:pt x="3536" y="6810"/>
                    <a:pt x="3536" y="6810"/>
                    <a:pt x="3537" y="6810"/>
                  </a:cubicBezTo>
                  <a:cubicBezTo>
                    <a:pt x="3541" y="6811"/>
                    <a:pt x="3548" y="6813"/>
                    <a:pt x="3555" y="6814"/>
                  </a:cubicBezTo>
                  <a:cubicBezTo>
                    <a:pt x="3571" y="6817"/>
                    <a:pt x="3592" y="6821"/>
                    <a:pt x="3613" y="6825"/>
                  </a:cubicBezTo>
                  <a:cubicBezTo>
                    <a:pt x="3648" y="6832"/>
                    <a:pt x="3682" y="6839"/>
                    <a:pt x="3696" y="6841"/>
                  </a:cubicBezTo>
                  <a:cubicBezTo>
                    <a:pt x="3696" y="6841"/>
                    <a:pt x="3696" y="6841"/>
                    <a:pt x="3696" y="6842"/>
                  </a:cubicBezTo>
                  <a:cubicBezTo>
                    <a:pt x="3697" y="6845"/>
                    <a:pt x="3698" y="6851"/>
                    <a:pt x="3699" y="6856"/>
                  </a:cubicBezTo>
                  <a:cubicBezTo>
                    <a:pt x="3700" y="6867"/>
                    <a:pt x="3701" y="6878"/>
                    <a:pt x="3701" y="6878"/>
                  </a:cubicBezTo>
                  <a:cubicBezTo>
                    <a:pt x="3702" y="6884"/>
                    <a:pt x="3702" y="6884"/>
                    <a:pt x="3702" y="6884"/>
                  </a:cubicBezTo>
                  <a:cubicBezTo>
                    <a:pt x="3899" y="6921"/>
                    <a:pt x="3899" y="6921"/>
                    <a:pt x="3899" y="6921"/>
                  </a:cubicBezTo>
                  <a:cubicBezTo>
                    <a:pt x="3874" y="7076"/>
                    <a:pt x="3874" y="7076"/>
                    <a:pt x="3874" y="7076"/>
                  </a:cubicBezTo>
                  <a:lnTo>
                    <a:pt x="3886" y="7229"/>
                  </a:lnTo>
                  <a:close/>
                  <a:moveTo>
                    <a:pt x="2511" y="7954"/>
                  </a:moveTo>
                  <a:cubicBezTo>
                    <a:pt x="2714" y="7495"/>
                    <a:pt x="2714" y="7495"/>
                    <a:pt x="2714" y="7495"/>
                  </a:cubicBezTo>
                  <a:cubicBezTo>
                    <a:pt x="2743" y="7504"/>
                    <a:pt x="2773" y="7511"/>
                    <a:pt x="2807" y="7516"/>
                  </a:cubicBezTo>
                  <a:cubicBezTo>
                    <a:pt x="2821" y="7517"/>
                    <a:pt x="2835" y="7518"/>
                    <a:pt x="2849" y="7518"/>
                  </a:cubicBezTo>
                  <a:cubicBezTo>
                    <a:pt x="2858" y="7518"/>
                    <a:pt x="2867" y="7518"/>
                    <a:pt x="2876" y="7517"/>
                  </a:cubicBezTo>
                  <a:cubicBezTo>
                    <a:pt x="2962" y="7773"/>
                    <a:pt x="2962" y="7773"/>
                    <a:pt x="2962" y="7773"/>
                  </a:cubicBezTo>
                  <a:cubicBezTo>
                    <a:pt x="2664" y="7995"/>
                    <a:pt x="2664" y="7995"/>
                    <a:pt x="2664" y="7995"/>
                  </a:cubicBezTo>
                  <a:cubicBezTo>
                    <a:pt x="2646" y="7989"/>
                    <a:pt x="2562" y="7968"/>
                    <a:pt x="2512" y="7955"/>
                  </a:cubicBezTo>
                  <a:cubicBezTo>
                    <a:pt x="2513" y="7954"/>
                    <a:pt x="2513" y="7954"/>
                    <a:pt x="2513" y="7954"/>
                  </a:cubicBezTo>
                  <a:lnTo>
                    <a:pt x="2511" y="7954"/>
                  </a:lnTo>
                  <a:close/>
                  <a:moveTo>
                    <a:pt x="1190" y="9306"/>
                  </a:moveTo>
                  <a:cubicBezTo>
                    <a:pt x="1103" y="9349"/>
                    <a:pt x="1103" y="9349"/>
                    <a:pt x="1103" y="9349"/>
                  </a:cubicBezTo>
                  <a:cubicBezTo>
                    <a:pt x="1086" y="9311"/>
                    <a:pt x="1072" y="9279"/>
                    <a:pt x="1066" y="9266"/>
                  </a:cubicBezTo>
                  <a:cubicBezTo>
                    <a:pt x="1147" y="9215"/>
                    <a:pt x="1147" y="9215"/>
                    <a:pt x="1147" y="9215"/>
                  </a:cubicBezTo>
                  <a:cubicBezTo>
                    <a:pt x="1191" y="9306"/>
                    <a:pt x="1191" y="9306"/>
                    <a:pt x="1191" y="9306"/>
                  </a:cubicBezTo>
                  <a:cubicBezTo>
                    <a:pt x="1190" y="9306"/>
                    <a:pt x="1190" y="9306"/>
                    <a:pt x="1190" y="9306"/>
                  </a:cubicBezTo>
                  <a:close/>
                  <a:moveTo>
                    <a:pt x="1161" y="9207"/>
                  </a:moveTo>
                  <a:cubicBezTo>
                    <a:pt x="1260" y="9145"/>
                    <a:pt x="1260" y="9145"/>
                    <a:pt x="1260" y="9145"/>
                  </a:cubicBezTo>
                  <a:cubicBezTo>
                    <a:pt x="1295" y="9222"/>
                    <a:pt x="1295" y="9222"/>
                    <a:pt x="1295" y="9222"/>
                  </a:cubicBezTo>
                  <a:cubicBezTo>
                    <a:pt x="1293" y="9223"/>
                    <a:pt x="1293" y="9223"/>
                    <a:pt x="1293" y="9223"/>
                  </a:cubicBezTo>
                  <a:cubicBezTo>
                    <a:pt x="1299" y="9236"/>
                    <a:pt x="1299" y="9236"/>
                    <a:pt x="1299" y="9236"/>
                  </a:cubicBezTo>
                  <a:cubicBezTo>
                    <a:pt x="1294" y="9238"/>
                    <a:pt x="1294" y="9238"/>
                    <a:pt x="1294" y="9238"/>
                  </a:cubicBezTo>
                  <a:cubicBezTo>
                    <a:pt x="1294" y="9239"/>
                    <a:pt x="1294" y="9239"/>
                    <a:pt x="1294" y="9239"/>
                  </a:cubicBezTo>
                  <a:cubicBezTo>
                    <a:pt x="1199" y="9287"/>
                    <a:pt x="1199" y="9287"/>
                    <a:pt x="1199" y="9287"/>
                  </a:cubicBezTo>
                  <a:lnTo>
                    <a:pt x="1161" y="9207"/>
                  </a:lnTo>
                  <a:close/>
                  <a:moveTo>
                    <a:pt x="2445" y="5224"/>
                  </a:moveTo>
                  <a:cubicBezTo>
                    <a:pt x="2694" y="5342"/>
                    <a:pt x="2694" y="5342"/>
                    <a:pt x="2694" y="5342"/>
                  </a:cubicBezTo>
                  <a:cubicBezTo>
                    <a:pt x="2682" y="5371"/>
                    <a:pt x="2669" y="5400"/>
                    <a:pt x="2656" y="5429"/>
                  </a:cubicBezTo>
                  <a:cubicBezTo>
                    <a:pt x="2653" y="5437"/>
                    <a:pt x="2649" y="5445"/>
                    <a:pt x="2646" y="5453"/>
                  </a:cubicBezTo>
                  <a:cubicBezTo>
                    <a:pt x="2643" y="5451"/>
                    <a:pt x="2639" y="5450"/>
                    <a:pt x="2634" y="5447"/>
                  </a:cubicBezTo>
                  <a:cubicBezTo>
                    <a:pt x="2623" y="5441"/>
                    <a:pt x="2606" y="5432"/>
                    <a:pt x="2587" y="5422"/>
                  </a:cubicBezTo>
                  <a:cubicBezTo>
                    <a:pt x="2548" y="5401"/>
                    <a:pt x="2498" y="5373"/>
                    <a:pt x="2448" y="5345"/>
                  </a:cubicBezTo>
                  <a:cubicBezTo>
                    <a:pt x="2431" y="5335"/>
                    <a:pt x="2414" y="5326"/>
                    <a:pt x="2398" y="5317"/>
                  </a:cubicBezTo>
                  <a:lnTo>
                    <a:pt x="2445" y="5224"/>
                  </a:lnTo>
                  <a:close/>
                  <a:moveTo>
                    <a:pt x="2440" y="5206"/>
                  </a:moveTo>
                  <a:cubicBezTo>
                    <a:pt x="2344" y="5160"/>
                    <a:pt x="2344" y="5160"/>
                    <a:pt x="2344" y="5160"/>
                  </a:cubicBezTo>
                  <a:cubicBezTo>
                    <a:pt x="2355" y="5138"/>
                    <a:pt x="2355" y="5138"/>
                    <a:pt x="2355" y="5138"/>
                  </a:cubicBezTo>
                  <a:cubicBezTo>
                    <a:pt x="2451" y="5185"/>
                    <a:pt x="2451" y="5185"/>
                    <a:pt x="2451" y="5185"/>
                  </a:cubicBezTo>
                  <a:lnTo>
                    <a:pt x="2440" y="5206"/>
                  </a:lnTo>
                  <a:close/>
                  <a:moveTo>
                    <a:pt x="2443" y="5024"/>
                  </a:moveTo>
                  <a:cubicBezTo>
                    <a:pt x="2468" y="4978"/>
                    <a:pt x="2468" y="4978"/>
                    <a:pt x="2468" y="4978"/>
                  </a:cubicBezTo>
                  <a:cubicBezTo>
                    <a:pt x="2564" y="5025"/>
                    <a:pt x="2564" y="5025"/>
                    <a:pt x="2564" y="5025"/>
                  </a:cubicBezTo>
                  <a:cubicBezTo>
                    <a:pt x="2541" y="5066"/>
                    <a:pt x="2541" y="5066"/>
                    <a:pt x="2541" y="5066"/>
                  </a:cubicBezTo>
                  <a:lnTo>
                    <a:pt x="2443" y="5024"/>
                  </a:lnTo>
                  <a:close/>
                  <a:moveTo>
                    <a:pt x="2534" y="5079"/>
                  </a:moveTo>
                  <a:cubicBezTo>
                    <a:pt x="2509" y="5124"/>
                    <a:pt x="2509" y="5124"/>
                    <a:pt x="2509" y="5124"/>
                  </a:cubicBezTo>
                  <a:cubicBezTo>
                    <a:pt x="2415" y="5078"/>
                    <a:pt x="2415" y="5078"/>
                    <a:pt x="2415" y="5078"/>
                  </a:cubicBezTo>
                  <a:cubicBezTo>
                    <a:pt x="2437" y="5037"/>
                    <a:pt x="2437" y="5037"/>
                    <a:pt x="2437" y="5037"/>
                  </a:cubicBezTo>
                  <a:lnTo>
                    <a:pt x="2534" y="5079"/>
                  </a:lnTo>
                  <a:close/>
                  <a:moveTo>
                    <a:pt x="2579" y="5025"/>
                  </a:moveTo>
                  <a:cubicBezTo>
                    <a:pt x="2582" y="5019"/>
                    <a:pt x="2582" y="5019"/>
                    <a:pt x="2582" y="5019"/>
                  </a:cubicBezTo>
                  <a:cubicBezTo>
                    <a:pt x="2462" y="4961"/>
                    <a:pt x="2462" y="4961"/>
                    <a:pt x="2462" y="4961"/>
                  </a:cubicBezTo>
                  <a:cubicBezTo>
                    <a:pt x="2431" y="5019"/>
                    <a:pt x="2431" y="5019"/>
                    <a:pt x="2431" y="5019"/>
                  </a:cubicBezTo>
                  <a:cubicBezTo>
                    <a:pt x="2408" y="5009"/>
                    <a:pt x="2408" y="5009"/>
                    <a:pt x="2408" y="5009"/>
                  </a:cubicBezTo>
                  <a:cubicBezTo>
                    <a:pt x="2458" y="4919"/>
                    <a:pt x="2458" y="4919"/>
                    <a:pt x="2458" y="4919"/>
                  </a:cubicBezTo>
                  <a:cubicBezTo>
                    <a:pt x="2832" y="5037"/>
                    <a:pt x="2832" y="5037"/>
                    <a:pt x="2832" y="5037"/>
                  </a:cubicBezTo>
                  <a:cubicBezTo>
                    <a:pt x="2829" y="5042"/>
                    <a:pt x="2827" y="5047"/>
                    <a:pt x="2824" y="5053"/>
                  </a:cubicBezTo>
                  <a:cubicBezTo>
                    <a:pt x="2814" y="5075"/>
                    <a:pt x="2799" y="5107"/>
                    <a:pt x="2782" y="5146"/>
                  </a:cubicBezTo>
                  <a:cubicBezTo>
                    <a:pt x="2779" y="5153"/>
                    <a:pt x="2776" y="5159"/>
                    <a:pt x="2772" y="5166"/>
                  </a:cubicBezTo>
                  <a:cubicBezTo>
                    <a:pt x="2553" y="5072"/>
                    <a:pt x="2553" y="5072"/>
                    <a:pt x="2553" y="5072"/>
                  </a:cubicBezTo>
                  <a:lnTo>
                    <a:pt x="2579" y="5025"/>
                  </a:lnTo>
                  <a:close/>
                  <a:moveTo>
                    <a:pt x="3040" y="4704"/>
                  </a:moveTo>
                  <a:cubicBezTo>
                    <a:pt x="2961" y="4759"/>
                    <a:pt x="2961" y="4759"/>
                    <a:pt x="2961" y="4759"/>
                  </a:cubicBezTo>
                  <a:cubicBezTo>
                    <a:pt x="2927" y="4710"/>
                    <a:pt x="2927" y="4710"/>
                    <a:pt x="2927" y="4710"/>
                  </a:cubicBezTo>
                  <a:cubicBezTo>
                    <a:pt x="2965" y="4683"/>
                    <a:pt x="2965" y="4683"/>
                    <a:pt x="2965" y="4683"/>
                  </a:cubicBezTo>
                  <a:cubicBezTo>
                    <a:pt x="2941" y="4648"/>
                    <a:pt x="2941" y="4648"/>
                    <a:pt x="2941" y="4648"/>
                  </a:cubicBezTo>
                  <a:cubicBezTo>
                    <a:pt x="2977" y="4623"/>
                    <a:pt x="2977" y="4623"/>
                    <a:pt x="2977" y="4623"/>
                  </a:cubicBezTo>
                  <a:lnTo>
                    <a:pt x="3040" y="4704"/>
                  </a:lnTo>
                  <a:close/>
                  <a:moveTo>
                    <a:pt x="2988" y="4615"/>
                  </a:moveTo>
                  <a:cubicBezTo>
                    <a:pt x="3015" y="4596"/>
                    <a:pt x="3015" y="4596"/>
                    <a:pt x="3015" y="4596"/>
                  </a:cubicBezTo>
                  <a:cubicBezTo>
                    <a:pt x="3040" y="4632"/>
                    <a:pt x="3040" y="4632"/>
                    <a:pt x="3040" y="4632"/>
                  </a:cubicBezTo>
                  <a:cubicBezTo>
                    <a:pt x="3078" y="4605"/>
                    <a:pt x="3078" y="4605"/>
                    <a:pt x="3078" y="4605"/>
                  </a:cubicBezTo>
                  <a:cubicBezTo>
                    <a:pt x="3113" y="4655"/>
                    <a:pt x="3113" y="4655"/>
                    <a:pt x="3113" y="4655"/>
                  </a:cubicBezTo>
                  <a:cubicBezTo>
                    <a:pt x="3052" y="4697"/>
                    <a:pt x="3052" y="4697"/>
                    <a:pt x="3052" y="4697"/>
                  </a:cubicBezTo>
                  <a:lnTo>
                    <a:pt x="2988" y="4615"/>
                  </a:lnTo>
                  <a:close/>
                  <a:moveTo>
                    <a:pt x="2923" y="4645"/>
                  </a:moveTo>
                  <a:cubicBezTo>
                    <a:pt x="2947" y="4680"/>
                    <a:pt x="2947" y="4680"/>
                    <a:pt x="2947" y="4680"/>
                  </a:cubicBezTo>
                  <a:cubicBezTo>
                    <a:pt x="2909" y="4707"/>
                    <a:pt x="2909" y="4707"/>
                    <a:pt x="2909" y="4707"/>
                  </a:cubicBezTo>
                  <a:cubicBezTo>
                    <a:pt x="2954" y="4772"/>
                    <a:pt x="2954" y="4772"/>
                    <a:pt x="2954" y="4772"/>
                  </a:cubicBezTo>
                  <a:cubicBezTo>
                    <a:pt x="2958" y="4778"/>
                    <a:pt x="2958" y="4778"/>
                    <a:pt x="2958" y="4778"/>
                  </a:cubicBezTo>
                  <a:cubicBezTo>
                    <a:pt x="3048" y="4715"/>
                    <a:pt x="3048" y="4715"/>
                    <a:pt x="3048" y="4715"/>
                  </a:cubicBezTo>
                  <a:cubicBezTo>
                    <a:pt x="3060" y="4730"/>
                    <a:pt x="3060" y="4730"/>
                    <a:pt x="3060" y="4730"/>
                  </a:cubicBezTo>
                  <a:cubicBezTo>
                    <a:pt x="2997" y="4782"/>
                    <a:pt x="2968" y="4840"/>
                    <a:pt x="2951" y="4880"/>
                  </a:cubicBezTo>
                  <a:cubicBezTo>
                    <a:pt x="2935" y="4918"/>
                    <a:pt x="2915" y="4967"/>
                    <a:pt x="2905" y="4992"/>
                  </a:cubicBezTo>
                  <a:cubicBezTo>
                    <a:pt x="2515" y="4868"/>
                    <a:pt x="2515" y="4868"/>
                    <a:pt x="2515" y="4868"/>
                  </a:cubicBezTo>
                  <a:cubicBezTo>
                    <a:pt x="2516" y="4867"/>
                    <a:pt x="2517" y="4867"/>
                    <a:pt x="2518" y="4865"/>
                  </a:cubicBezTo>
                  <a:cubicBezTo>
                    <a:pt x="2529" y="4854"/>
                    <a:pt x="2543" y="4838"/>
                    <a:pt x="2560" y="4818"/>
                  </a:cubicBezTo>
                  <a:cubicBezTo>
                    <a:pt x="2595" y="4779"/>
                    <a:pt x="2640" y="4727"/>
                    <a:pt x="2685" y="4675"/>
                  </a:cubicBezTo>
                  <a:cubicBezTo>
                    <a:pt x="2764" y="4584"/>
                    <a:pt x="2841" y="4492"/>
                    <a:pt x="2859" y="4472"/>
                  </a:cubicBezTo>
                  <a:cubicBezTo>
                    <a:pt x="2969" y="4613"/>
                    <a:pt x="2969" y="4613"/>
                    <a:pt x="2969" y="4613"/>
                  </a:cubicBezTo>
                  <a:lnTo>
                    <a:pt x="2923" y="4645"/>
                  </a:lnTo>
                  <a:close/>
                  <a:moveTo>
                    <a:pt x="3432" y="4876"/>
                  </a:moveTo>
                  <a:cubicBezTo>
                    <a:pt x="3430" y="4882"/>
                    <a:pt x="3430" y="4882"/>
                    <a:pt x="3430" y="4882"/>
                  </a:cubicBezTo>
                  <a:cubicBezTo>
                    <a:pt x="3503" y="4902"/>
                    <a:pt x="3503" y="4902"/>
                    <a:pt x="3503" y="4902"/>
                  </a:cubicBezTo>
                  <a:cubicBezTo>
                    <a:pt x="3543" y="4756"/>
                    <a:pt x="3543" y="4756"/>
                    <a:pt x="3543" y="4756"/>
                  </a:cubicBezTo>
                  <a:cubicBezTo>
                    <a:pt x="3471" y="4737"/>
                    <a:pt x="3471" y="4737"/>
                    <a:pt x="3471" y="4737"/>
                  </a:cubicBezTo>
                  <a:cubicBezTo>
                    <a:pt x="3498" y="4742"/>
                    <a:pt x="3527" y="4748"/>
                    <a:pt x="3559" y="4755"/>
                  </a:cubicBezTo>
                  <a:cubicBezTo>
                    <a:pt x="3463" y="5011"/>
                    <a:pt x="3463" y="5011"/>
                    <a:pt x="3463" y="5011"/>
                  </a:cubicBezTo>
                  <a:cubicBezTo>
                    <a:pt x="3263" y="5237"/>
                    <a:pt x="3263" y="5237"/>
                    <a:pt x="3263" y="5237"/>
                  </a:cubicBezTo>
                  <a:cubicBezTo>
                    <a:pt x="2971" y="5012"/>
                    <a:pt x="2971" y="5012"/>
                    <a:pt x="2971" y="5012"/>
                  </a:cubicBezTo>
                  <a:cubicBezTo>
                    <a:pt x="2968" y="5011"/>
                    <a:pt x="2968" y="5011"/>
                    <a:pt x="2968" y="5011"/>
                  </a:cubicBezTo>
                  <a:cubicBezTo>
                    <a:pt x="2979" y="4986"/>
                    <a:pt x="2997" y="4941"/>
                    <a:pt x="3012" y="4905"/>
                  </a:cubicBezTo>
                  <a:cubicBezTo>
                    <a:pt x="3013" y="4903"/>
                    <a:pt x="3014" y="4900"/>
                    <a:pt x="3015" y="4897"/>
                  </a:cubicBezTo>
                  <a:cubicBezTo>
                    <a:pt x="3259" y="4979"/>
                    <a:pt x="3259" y="4979"/>
                    <a:pt x="3259" y="4979"/>
                  </a:cubicBezTo>
                  <a:cubicBezTo>
                    <a:pt x="3412" y="5065"/>
                    <a:pt x="3412" y="5065"/>
                    <a:pt x="3412" y="5065"/>
                  </a:cubicBezTo>
                  <a:cubicBezTo>
                    <a:pt x="3419" y="5053"/>
                    <a:pt x="3419" y="5053"/>
                    <a:pt x="3419" y="5053"/>
                  </a:cubicBezTo>
                  <a:cubicBezTo>
                    <a:pt x="3265" y="4967"/>
                    <a:pt x="3265" y="4967"/>
                    <a:pt x="3265" y="4967"/>
                  </a:cubicBezTo>
                  <a:cubicBezTo>
                    <a:pt x="3021" y="4885"/>
                    <a:pt x="3021" y="4885"/>
                    <a:pt x="3021" y="4885"/>
                  </a:cubicBezTo>
                  <a:cubicBezTo>
                    <a:pt x="3043" y="4838"/>
                    <a:pt x="3080" y="4780"/>
                    <a:pt x="3175" y="4734"/>
                  </a:cubicBezTo>
                  <a:cubicBezTo>
                    <a:pt x="3211" y="4717"/>
                    <a:pt x="3245" y="4710"/>
                    <a:pt x="3286" y="4710"/>
                  </a:cubicBezTo>
                  <a:cubicBezTo>
                    <a:pt x="3335" y="4710"/>
                    <a:pt x="3394" y="4721"/>
                    <a:pt x="3469" y="4736"/>
                  </a:cubicBezTo>
                  <a:lnTo>
                    <a:pt x="3432" y="4876"/>
                  </a:lnTo>
                  <a:close/>
                  <a:moveTo>
                    <a:pt x="3479" y="4752"/>
                  </a:moveTo>
                  <a:cubicBezTo>
                    <a:pt x="3526" y="4765"/>
                    <a:pt x="3526" y="4765"/>
                    <a:pt x="3526" y="4765"/>
                  </a:cubicBezTo>
                  <a:cubicBezTo>
                    <a:pt x="3494" y="4886"/>
                    <a:pt x="3494" y="4886"/>
                    <a:pt x="3494" y="4886"/>
                  </a:cubicBezTo>
                  <a:cubicBezTo>
                    <a:pt x="3446" y="4873"/>
                    <a:pt x="3446" y="4873"/>
                    <a:pt x="3446" y="4873"/>
                  </a:cubicBezTo>
                  <a:lnTo>
                    <a:pt x="3479" y="4752"/>
                  </a:lnTo>
                  <a:close/>
                  <a:moveTo>
                    <a:pt x="3624" y="4595"/>
                  </a:moveTo>
                  <a:cubicBezTo>
                    <a:pt x="3612" y="4654"/>
                    <a:pt x="3612" y="4654"/>
                    <a:pt x="3612" y="4654"/>
                  </a:cubicBezTo>
                  <a:cubicBezTo>
                    <a:pt x="3534" y="4639"/>
                    <a:pt x="3534" y="4639"/>
                    <a:pt x="3534" y="4639"/>
                  </a:cubicBezTo>
                  <a:cubicBezTo>
                    <a:pt x="3524" y="4532"/>
                    <a:pt x="3524" y="4532"/>
                    <a:pt x="3524" y="4532"/>
                  </a:cubicBezTo>
                  <a:cubicBezTo>
                    <a:pt x="3586" y="4544"/>
                    <a:pt x="3586" y="4544"/>
                    <a:pt x="3586" y="4544"/>
                  </a:cubicBezTo>
                  <a:cubicBezTo>
                    <a:pt x="3577" y="4586"/>
                    <a:pt x="3577" y="4586"/>
                    <a:pt x="3577" y="4586"/>
                  </a:cubicBezTo>
                  <a:lnTo>
                    <a:pt x="3624" y="4595"/>
                  </a:lnTo>
                  <a:close/>
                  <a:moveTo>
                    <a:pt x="4845" y="5330"/>
                  </a:moveTo>
                  <a:cubicBezTo>
                    <a:pt x="5424" y="5230"/>
                    <a:pt x="5424" y="5230"/>
                    <a:pt x="5424" y="5230"/>
                  </a:cubicBezTo>
                  <a:cubicBezTo>
                    <a:pt x="5373" y="5661"/>
                    <a:pt x="5373" y="5661"/>
                    <a:pt x="5373" y="5661"/>
                  </a:cubicBezTo>
                  <a:cubicBezTo>
                    <a:pt x="4820" y="5643"/>
                    <a:pt x="4820" y="5643"/>
                    <a:pt x="4820" y="5643"/>
                  </a:cubicBezTo>
                  <a:cubicBezTo>
                    <a:pt x="4836" y="5568"/>
                    <a:pt x="4846" y="5522"/>
                    <a:pt x="4846" y="5522"/>
                  </a:cubicBezTo>
                  <a:cubicBezTo>
                    <a:pt x="4846" y="5521"/>
                    <a:pt x="4846" y="5521"/>
                    <a:pt x="4846" y="5521"/>
                  </a:cubicBezTo>
                  <a:cubicBezTo>
                    <a:pt x="4846" y="5519"/>
                    <a:pt x="4846" y="5519"/>
                    <a:pt x="4846" y="5519"/>
                  </a:cubicBezTo>
                  <a:cubicBezTo>
                    <a:pt x="4846" y="5518"/>
                    <a:pt x="4851" y="5484"/>
                    <a:pt x="4851" y="5431"/>
                  </a:cubicBezTo>
                  <a:cubicBezTo>
                    <a:pt x="4851" y="5402"/>
                    <a:pt x="4849" y="5367"/>
                    <a:pt x="4845" y="5330"/>
                  </a:cubicBezTo>
                  <a:close/>
                  <a:moveTo>
                    <a:pt x="5739" y="5720"/>
                  </a:moveTo>
                  <a:cubicBezTo>
                    <a:pt x="5810" y="5729"/>
                    <a:pt x="5810" y="5729"/>
                    <a:pt x="5810" y="5729"/>
                  </a:cubicBezTo>
                  <a:cubicBezTo>
                    <a:pt x="5868" y="5794"/>
                    <a:pt x="5868" y="5794"/>
                    <a:pt x="5868" y="5794"/>
                  </a:cubicBezTo>
                  <a:cubicBezTo>
                    <a:pt x="5763" y="5888"/>
                    <a:pt x="5763" y="5888"/>
                    <a:pt x="5763" y="5888"/>
                  </a:cubicBezTo>
                  <a:cubicBezTo>
                    <a:pt x="5669" y="5783"/>
                    <a:pt x="5669" y="5783"/>
                    <a:pt x="5669" y="5783"/>
                  </a:cubicBezTo>
                  <a:cubicBezTo>
                    <a:pt x="5739" y="5720"/>
                    <a:pt x="5739" y="5720"/>
                    <a:pt x="5739" y="5720"/>
                  </a:cubicBezTo>
                  <a:close/>
                  <a:moveTo>
                    <a:pt x="5808" y="5714"/>
                  </a:moveTo>
                  <a:cubicBezTo>
                    <a:pt x="5726" y="5704"/>
                    <a:pt x="5726" y="5704"/>
                    <a:pt x="5726" y="5704"/>
                  </a:cubicBezTo>
                  <a:cubicBezTo>
                    <a:pt x="5676" y="5641"/>
                    <a:pt x="5676" y="5641"/>
                    <a:pt x="5676" y="5641"/>
                  </a:cubicBezTo>
                  <a:cubicBezTo>
                    <a:pt x="5790" y="5541"/>
                    <a:pt x="5790" y="5541"/>
                    <a:pt x="5790" y="5541"/>
                  </a:cubicBezTo>
                  <a:cubicBezTo>
                    <a:pt x="5881" y="5651"/>
                    <a:pt x="5881" y="5651"/>
                    <a:pt x="5881" y="5651"/>
                  </a:cubicBezTo>
                  <a:lnTo>
                    <a:pt x="5808" y="5714"/>
                  </a:lnTo>
                  <a:close/>
                  <a:moveTo>
                    <a:pt x="5721" y="5719"/>
                  </a:moveTo>
                  <a:cubicBezTo>
                    <a:pt x="5651" y="5782"/>
                    <a:pt x="5651" y="5782"/>
                    <a:pt x="5651" y="5782"/>
                  </a:cubicBezTo>
                  <a:cubicBezTo>
                    <a:pt x="5762" y="5906"/>
                    <a:pt x="5762" y="5906"/>
                    <a:pt x="5762" y="5906"/>
                  </a:cubicBezTo>
                  <a:cubicBezTo>
                    <a:pt x="5887" y="5795"/>
                    <a:pt x="5887" y="5795"/>
                    <a:pt x="5887" y="5795"/>
                  </a:cubicBezTo>
                  <a:cubicBezTo>
                    <a:pt x="5830" y="5731"/>
                    <a:pt x="5830" y="5731"/>
                    <a:pt x="5830" y="5731"/>
                  </a:cubicBezTo>
                  <a:cubicBezTo>
                    <a:pt x="5956" y="5747"/>
                    <a:pt x="5956" y="5747"/>
                    <a:pt x="5956" y="5747"/>
                  </a:cubicBezTo>
                  <a:cubicBezTo>
                    <a:pt x="5891" y="6134"/>
                    <a:pt x="5891" y="6134"/>
                    <a:pt x="5891" y="6134"/>
                  </a:cubicBezTo>
                  <a:cubicBezTo>
                    <a:pt x="5344" y="6032"/>
                    <a:pt x="5344" y="6032"/>
                    <a:pt x="5344" y="6032"/>
                  </a:cubicBezTo>
                  <a:cubicBezTo>
                    <a:pt x="5386" y="5676"/>
                    <a:pt x="5386" y="5676"/>
                    <a:pt x="5386" y="5676"/>
                  </a:cubicBezTo>
                  <a:cubicBezTo>
                    <a:pt x="5720" y="5717"/>
                    <a:pt x="5720" y="5717"/>
                    <a:pt x="5720" y="5717"/>
                  </a:cubicBezTo>
                  <a:lnTo>
                    <a:pt x="5721" y="5719"/>
                  </a:lnTo>
                  <a:close/>
                  <a:moveTo>
                    <a:pt x="7813" y="6601"/>
                  </a:moveTo>
                  <a:cubicBezTo>
                    <a:pt x="7813" y="6601"/>
                    <a:pt x="7870" y="6476"/>
                    <a:pt x="7889" y="6435"/>
                  </a:cubicBezTo>
                  <a:cubicBezTo>
                    <a:pt x="7993" y="6447"/>
                    <a:pt x="8095" y="6459"/>
                    <a:pt x="8188" y="6469"/>
                  </a:cubicBezTo>
                  <a:cubicBezTo>
                    <a:pt x="8172" y="6658"/>
                    <a:pt x="8172" y="6658"/>
                    <a:pt x="8172" y="6658"/>
                  </a:cubicBezTo>
                  <a:cubicBezTo>
                    <a:pt x="8136" y="6818"/>
                    <a:pt x="8136" y="6818"/>
                    <a:pt x="8136" y="6818"/>
                  </a:cubicBezTo>
                  <a:cubicBezTo>
                    <a:pt x="7781" y="6741"/>
                    <a:pt x="7781" y="6741"/>
                    <a:pt x="7781" y="6741"/>
                  </a:cubicBezTo>
                  <a:cubicBezTo>
                    <a:pt x="7703" y="6859"/>
                    <a:pt x="7703" y="6859"/>
                    <a:pt x="7703" y="6859"/>
                  </a:cubicBezTo>
                  <a:cubicBezTo>
                    <a:pt x="8012" y="6995"/>
                    <a:pt x="8012" y="6995"/>
                    <a:pt x="8012" y="6995"/>
                  </a:cubicBezTo>
                  <a:cubicBezTo>
                    <a:pt x="7887" y="7079"/>
                    <a:pt x="7887" y="7079"/>
                    <a:pt x="7887" y="7079"/>
                  </a:cubicBezTo>
                  <a:cubicBezTo>
                    <a:pt x="7929" y="7019"/>
                    <a:pt x="7929" y="7019"/>
                    <a:pt x="7929" y="7019"/>
                  </a:cubicBezTo>
                  <a:cubicBezTo>
                    <a:pt x="7805" y="6932"/>
                    <a:pt x="7805" y="6932"/>
                    <a:pt x="7805" y="6932"/>
                  </a:cubicBezTo>
                  <a:cubicBezTo>
                    <a:pt x="7761" y="6994"/>
                    <a:pt x="7761" y="6994"/>
                    <a:pt x="7761" y="6994"/>
                  </a:cubicBezTo>
                  <a:cubicBezTo>
                    <a:pt x="7880" y="7078"/>
                    <a:pt x="7880" y="7078"/>
                    <a:pt x="7880" y="7078"/>
                  </a:cubicBezTo>
                  <a:cubicBezTo>
                    <a:pt x="7885" y="7081"/>
                    <a:pt x="7885" y="7081"/>
                    <a:pt x="7885" y="7081"/>
                  </a:cubicBezTo>
                  <a:cubicBezTo>
                    <a:pt x="7820" y="7124"/>
                    <a:pt x="7820" y="7124"/>
                    <a:pt x="7820" y="7124"/>
                  </a:cubicBezTo>
                  <a:cubicBezTo>
                    <a:pt x="7781" y="7094"/>
                    <a:pt x="7516" y="6897"/>
                    <a:pt x="7458" y="6858"/>
                  </a:cubicBezTo>
                  <a:cubicBezTo>
                    <a:pt x="7489" y="6706"/>
                    <a:pt x="7489" y="6706"/>
                    <a:pt x="7489" y="6706"/>
                  </a:cubicBezTo>
                  <a:cubicBezTo>
                    <a:pt x="7512" y="6704"/>
                    <a:pt x="7606" y="6697"/>
                    <a:pt x="7615" y="6697"/>
                  </a:cubicBezTo>
                  <a:cubicBezTo>
                    <a:pt x="7744" y="6791"/>
                    <a:pt x="7744" y="6791"/>
                    <a:pt x="7744" y="6791"/>
                  </a:cubicBezTo>
                  <a:cubicBezTo>
                    <a:pt x="7752" y="6780"/>
                    <a:pt x="7752" y="6780"/>
                    <a:pt x="7752" y="6780"/>
                  </a:cubicBezTo>
                  <a:cubicBezTo>
                    <a:pt x="7622" y="6686"/>
                    <a:pt x="7622" y="6686"/>
                    <a:pt x="7622" y="6686"/>
                  </a:cubicBezTo>
                  <a:cubicBezTo>
                    <a:pt x="7621" y="6673"/>
                    <a:pt x="7614" y="6636"/>
                    <a:pt x="7604" y="6591"/>
                  </a:cubicBezTo>
                  <a:cubicBezTo>
                    <a:pt x="7605" y="6595"/>
                    <a:pt x="7605" y="6595"/>
                    <a:pt x="7605" y="6595"/>
                  </a:cubicBezTo>
                  <a:cubicBezTo>
                    <a:pt x="7605" y="6595"/>
                    <a:pt x="7605" y="6595"/>
                    <a:pt x="7605" y="6595"/>
                  </a:cubicBezTo>
                  <a:cubicBezTo>
                    <a:pt x="7606" y="6595"/>
                    <a:pt x="7607" y="6595"/>
                    <a:pt x="7608" y="6595"/>
                  </a:cubicBezTo>
                  <a:cubicBezTo>
                    <a:pt x="7637" y="6595"/>
                    <a:pt x="7781" y="6610"/>
                    <a:pt x="7790" y="6611"/>
                  </a:cubicBezTo>
                  <a:cubicBezTo>
                    <a:pt x="7996" y="6663"/>
                    <a:pt x="7996" y="6663"/>
                    <a:pt x="7996" y="6663"/>
                  </a:cubicBezTo>
                  <a:cubicBezTo>
                    <a:pt x="8163" y="6669"/>
                    <a:pt x="8163" y="6669"/>
                    <a:pt x="8163" y="6669"/>
                  </a:cubicBezTo>
                  <a:cubicBezTo>
                    <a:pt x="8164" y="6655"/>
                    <a:pt x="8164" y="6655"/>
                    <a:pt x="8164" y="6655"/>
                  </a:cubicBezTo>
                  <a:cubicBezTo>
                    <a:pt x="8006" y="6650"/>
                    <a:pt x="8006" y="6650"/>
                    <a:pt x="8006" y="6650"/>
                  </a:cubicBezTo>
                  <a:cubicBezTo>
                    <a:pt x="8018" y="6590"/>
                    <a:pt x="8018" y="6590"/>
                    <a:pt x="8018" y="6590"/>
                  </a:cubicBezTo>
                  <a:cubicBezTo>
                    <a:pt x="8122" y="6598"/>
                    <a:pt x="8122" y="6598"/>
                    <a:pt x="8122" y="6598"/>
                  </a:cubicBezTo>
                  <a:cubicBezTo>
                    <a:pt x="8128" y="6512"/>
                    <a:pt x="8128" y="6512"/>
                    <a:pt x="8128" y="6512"/>
                  </a:cubicBezTo>
                  <a:cubicBezTo>
                    <a:pt x="8081" y="6508"/>
                    <a:pt x="8081" y="6508"/>
                    <a:pt x="8081" y="6508"/>
                  </a:cubicBezTo>
                  <a:cubicBezTo>
                    <a:pt x="8084" y="6466"/>
                    <a:pt x="8084" y="6466"/>
                    <a:pt x="8084" y="6466"/>
                  </a:cubicBezTo>
                  <a:cubicBezTo>
                    <a:pt x="8046" y="6463"/>
                    <a:pt x="8046" y="6463"/>
                    <a:pt x="8046" y="6463"/>
                  </a:cubicBezTo>
                  <a:cubicBezTo>
                    <a:pt x="8047" y="6458"/>
                    <a:pt x="8047" y="6458"/>
                    <a:pt x="8047" y="6458"/>
                  </a:cubicBezTo>
                  <a:cubicBezTo>
                    <a:pt x="8033" y="6455"/>
                    <a:pt x="8033" y="6455"/>
                    <a:pt x="8033" y="6455"/>
                  </a:cubicBezTo>
                  <a:cubicBezTo>
                    <a:pt x="8032" y="6462"/>
                    <a:pt x="8032" y="6462"/>
                    <a:pt x="8032" y="6462"/>
                  </a:cubicBezTo>
                  <a:cubicBezTo>
                    <a:pt x="7968" y="6457"/>
                    <a:pt x="7968" y="6457"/>
                    <a:pt x="7968" y="6457"/>
                  </a:cubicBezTo>
                  <a:cubicBezTo>
                    <a:pt x="7965" y="6500"/>
                    <a:pt x="7965" y="6500"/>
                    <a:pt x="7965" y="6500"/>
                  </a:cubicBezTo>
                  <a:cubicBezTo>
                    <a:pt x="7918" y="6497"/>
                    <a:pt x="7918" y="6497"/>
                    <a:pt x="7918" y="6497"/>
                  </a:cubicBezTo>
                  <a:cubicBezTo>
                    <a:pt x="7912" y="6576"/>
                    <a:pt x="7912" y="6576"/>
                    <a:pt x="7912" y="6576"/>
                  </a:cubicBezTo>
                  <a:cubicBezTo>
                    <a:pt x="7912" y="6583"/>
                    <a:pt x="7912" y="6583"/>
                    <a:pt x="7912" y="6583"/>
                  </a:cubicBezTo>
                  <a:cubicBezTo>
                    <a:pt x="8004" y="6589"/>
                    <a:pt x="8004" y="6589"/>
                    <a:pt x="8004" y="6589"/>
                  </a:cubicBezTo>
                  <a:cubicBezTo>
                    <a:pt x="7992" y="6648"/>
                    <a:pt x="7992" y="6648"/>
                    <a:pt x="7992" y="6648"/>
                  </a:cubicBezTo>
                  <a:cubicBezTo>
                    <a:pt x="7792" y="6597"/>
                    <a:pt x="7792" y="6597"/>
                    <a:pt x="7792" y="6597"/>
                  </a:cubicBezTo>
                  <a:cubicBezTo>
                    <a:pt x="7792" y="6597"/>
                    <a:pt x="7792" y="6597"/>
                    <a:pt x="7792" y="6597"/>
                  </a:cubicBezTo>
                  <a:cubicBezTo>
                    <a:pt x="7791" y="6597"/>
                    <a:pt x="7640" y="6581"/>
                    <a:pt x="7608" y="6581"/>
                  </a:cubicBezTo>
                  <a:cubicBezTo>
                    <a:pt x="7606" y="6581"/>
                    <a:pt x="7604" y="6581"/>
                    <a:pt x="7602" y="6582"/>
                  </a:cubicBezTo>
                  <a:cubicBezTo>
                    <a:pt x="7599" y="6569"/>
                    <a:pt x="7596" y="6556"/>
                    <a:pt x="7593" y="6543"/>
                  </a:cubicBezTo>
                  <a:cubicBezTo>
                    <a:pt x="7667" y="6548"/>
                    <a:pt x="7667" y="6548"/>
                    <a:pt x="7667" y="6548"/>
                  </a:cubicBezTo>
                  <a:cubicBezTo>
                    <a:pt x="7673" y="6462"/>
                    <a:pt x="7673" y="6462"/>
                    <a:pt x="7673" y="6462"/>
                  </a:cubicBezTo>
                  <a:cubicBezTo>
                    <a:pt x="7626" y="6459"/>
                    <a:pt x="7626" y="6459"/>
                    <a:pt x="7626" y="6459"/>
                  </a:cubicBezTo>
                  <a:cubicBezTo>
                    <a:pt x="7629" y="6416"/>
                    <a:pt x="7629" y="6416"/>
                    <a:pt x="7629" y="6416"/>
                  </a:cubicBezTo>
                  <a:cubicBezTo>
                    <a:pt x="7563" y="6411"/>
                    <a:pt x="7563" y="6411"/>
                    <a:pt x="7563" y="6411"/>
                  </a:cubicBezTo>
                  <a:cubicBezTo>
                    <a:pt x="7562" y="6406"/>
                    <a:pt x="7561" y="6402"/>
                    <a:pt x="7560" y="6399"/>
                  </a:cubicBezTo>
                  <a:cubicBezTo>
                    <a:pt x="7610" y="6404"/>
                    <a:pt x="7662" y="6410"/>
                    <a:pt x="7715" y="6416"/>
                  </a:cubicBezTo>
                  <a:cubicBezTo>
                    <a:pt x="7767" y="6422"/>
                    <a:pt x="7821" y="6428"/>
                    <a:pt x="7875" y="6434"/>
                  </a:cubicBezTo>
                  <a:cubicBezTo>
                    <a:pt x="7854" y="6479"/>
                    <a:pt x="7800" y="6595"/>
                    <a:pt x="7800" y="6595"/>
                  </a:cubicBezTo>
                  <a:lnTo>
                    <a:pt x="7813" y="6601"/>
                  </a:lnTo>
                  <a:close/>
                  <a:moveTo>
                    <a:pt x="8252" y="6534"/>
                  </a:moveTo>
                  <a:cubicBezTo>
                    <a:pt x="8252" y="6537"/>
                    <a:pt x="8252" y="6537"/>
                    <a:pt x="8252" y="6537"/>
                  </a:cubicBezTo>
                  <a:cubicBezTo>
                    <a:pt x="8252" y="6540"/>
                    <a:pt x="8252" y="6543"/>
                    <a:pt x="8252" y="6547"/>
                  </a:cubicBezTo>
                  <a:cubicBezTo>
                    <a:pt x="8253" y="6689"/>
                    <a:pt x="8230" y="6800"/>
                    <a:pt x="8206" y="6840"/>
                  </a:cubicBezTo>
                  <a:cubicBezTo>
                    <a:pt x="8091" y="7037"/>
                    <a:pt x="7806" y="7300"/>
                    <a:pt x="7259" y="7406"/>
                  </a:cubicBezTo>
                  <a:cubicBezTo>
                    <a:pt x="7046" y="7447"/>
                    <a:pt x="6910" y="7474"/>
                    <a:pt x="6812" y="7503"/>
                  </a:cubicBezTo>
                  <a:cubicBezTo>
                    <a:pt x="6746" y="7522"/>
                    <a:pt x="6694" y="7544"/>
                    <a:pt x="6652" y="7571"/>
                  </a:cubicBezTo>
                  <a:cubicBezTo>
                    <a:pt x="6651" y="7568"/>
                    <a:pt x="6650" y="7569"/>
                    <a:pt x="6650" y="7568"/>
                  </a:cubicBezTo>
                  <a:cubicBezTo>
                    <a:pt x="6649" y="7568"/>
                    <a:pt x="6648" y="7567"/>
                    <a:pt x="6648" y="7567"/>
                  </a:cubicBezTo>
                  <a:cubicBezTo>
                    <a:pt x="6646" y="7565"/>
                    <a:pt x="6644" y="7564"/>
                    <a:pt x="6642" y="7562"/>
                  </a:cubicBezTo>
                  <a:cubicBezTo>
                    <a:pt x="6637" y="7559"/>
                    <a:pt x="6630" y="7555"/>
                    <a:pt x="6622" y="7550"/>
                  </a:cubicBezTo>
                  <a:cubicBezTo>
                    <a:pt x="6606" y="7539"/>
                    <a:pt x="6584" y="7525"/>
                    <a:pt x="6562" y="7511"/>
                  </a:cubicBezTo>
                  <a:cubicBezTo>
                    <a:pt x="6522" y="7486"/>
                    <a:pt x="6479" y="7458"/>
                    <a:pt x="6470" y="7451"/>
                  </a:cubicBezTo>
                  <a:cubicBezTo>
                    <a:pt x="6469" y="7447"/>
                    <a:pt x="6467" y="7448"/>
                    <a:pt x="6467" y="7447"/>
                  </a:cubicBezTo>
                  <a:cubicBezTo>
                    <a:pt x="6467" y="7447"/>
                    <a:pt x="6466" y="7447"/>
                    <a:pt x="6466" y="7447"/>
                  </a:cubicBezTo>
                  <a:cubicBezTo>
                    <a:pt x="6465" y="7447"/>
                    <a:pt x="6465" y="7446"/>
                    <a:pt x="6464" y="7446"/>
                  </a:cubicBezTo>
                  <a:cubicBezTo>
                    <a:pt x="6462" y="7446"/>
                    <a:pt x="6460" y="7445"/>
                    <a:pt x="6458" y="7445"/>
                  </a:cubicBezTo>
                  <a:cubicBezTo>
                    <a:pt x="6452" y="7443"/>
                    <a:pt x="6445" y="7442"/>
                    <a:pt x="6436" y="7439"/>
                  </a:cubicBezTo>
                  <a:cubicBezTo>
                    <a:pt x="6418" y="7435"/>
                    <a:pt x="6395" y="7430"/>
                    <a:pt x="6371" y="7425"/>
                  </a:cubicBezTo>
                  <a:cubicBezTo>
                    <a:pt x="6324" y="7414"/>
                    <a:pt x="6277" y="7404"/>
                    <a:pt x="6277" y="7404"/>
                  </a:cubicBezTo>
                  <a:cubicBezTo>
                    <a:pt x="6274" y="7418"/>
                    <a:pt x="6274" y="7418"/>
                    <a:pt x="6274" y="7418"/>
                  </a:cubicBezTo>
                  <a:cubicBezTo>
                    <a:pt x="6274" y="7418"/>
                    <a:pt x="6433" y="7452"/>
                    <a:pt x="6458" y="7459"/>
                  </a:cubicBezTo>
                  <a:cubicBezTo>
                    <a:pt x="6459" y="7460"/>
                    <a:pt x="6460" y="7460"/>
                    <a:pt x="6461" y="7461"/>
                  </a:cubicBezTo>
                  <a:cubicBezTo>
                    <a:pt x="6462" y="7463"/>
                    <a:pt x="6464" y="7464"/>
                    <a:pt x="6466" y="7466"/>
                  </a:cubicBezTo>
                  <a:cubicBezTo>
                    <a:pt x="6471" y="7469"/>
                    <a:pt x="6478" y="7473"/>
                    <a:pt x="6486" y="7479"/>
                  </a:cubicBezTo>
                  <a:cubicBezTo>
                    <a:pt x="6501" y="7489"/>
                    <a:pt x="6523" y="7503"/>
                    <a:pt x="6544" y="7516"/>
                  </a:cubicBezTo>
                  <a:cubicBezTo>
                    <a:pt x="6588" y="7544"/>
                    <a:pt x="6633" y="7573"/>
                    <a:pt x="6640" y="7578"/>
                  </a:cubicBezTo>
                  <a:cubicBezTo>
                    <a:pt x="6640" y="7578"/>
                    <a:pt x="6640" y="7578"/>
                    <a:pt x="6640" y="7578"/>
                  </a:cubicBezTo>
                  <a:cubicBezTo>
                    <a:pt x="6645" y="7574"/>
                    <a:pt x="6645" y="7574"/>
                    <a:pt x="6645" y="7574"/>
                  </a:cubicBezTo>
                  <a:cubicBezTo>
                    <a:pt x="6645" y="7574"/>
                    <a:pt x="6645" y="7574"/>
                    <a:pt x="6645" y="7574"/>
                  </a:cubicBezTo>
                  <a:cubicBezTo>
                    <a:pt x="6645" y="7575"/>
                    <a:pt x="6645" y="7575"/>
                    <a:pt x="6645" y="7575"/>
                  </a:cubicBezTo>
                  <a:cubicBezTo>
                    <a:pt x="6628" y="7587"/>
                    <a:pt x="6613" y="7599"/>
                    <a:pt x="6599" y="7612"/>
                  </a:cubicBezTo>
                  <a:cubicBezTo>
                    <a:pt x="6565" y="7645"/>
                    <a:pt x="6539" y="7679"/>
                    <a:pt x="6510" y="7719"/>
                  </a:cubicBezTo>
                  <a:cubicBezTo>
                    <a:pt x="6507" y="7723"/>
                    <a:pt x="6505" y="7727"/>
                    <a:pt x="6503" y="7730"/>
                  </a:cubicBezTo>
                  <a:cubicBezTo>
                    <a:pt x="6263" y="7555"/>
                    <a:pt x="6263" y="7555"/>
                    <a:pt x="6263" y="7555"/>
                  </a:cubicBezTo>
                  <a:cubicBezTo>
                    <a:pt x="6256" y="7548"/>
                    <a:pt x="6256" y="7548"/>
                    <a:pt x="6256" y="7548"/>
                  </a:cubicBezTo>
                  <a:cubicBezTo>
                    <a:pt x="6257" y="7533"/>
                    <a:pt x="6263" y="7487"/>
                    <a:pt x="6269" y="7440"/>
                  </a:cubicBezTo>
                  <a:cubicBezTo>
                    <a:pt x="6275" y="7388"/>
                    <a:pt x="6282" y="7334"/>
                    <a:pt x="6285" y="7321"/>
                  </a:cubicBezTo>
                  <a:cubicBezTo>
                    <a:pt x="6362" y="7298"/>
                    <a:pt x="6362" y="7298"/>
                    <a:pt x="6362" y="7298"/>
                  </a:cubicBezTo>
                  <a:cubicBezTo>
                    <a:pt x="6372" y="7300"/>
                    <a:pt x="6416" y="7312"/>
                    <a:pt x="6462" y="7324"/>
                  </a:cubicBezTo>
                  <a:cubicBezTo>
                    <a:pt x="6513" y="7337"/>
                    <a:pt x="6562" y="7350"/>
                    <a:pt x="6568" y="7350"/>
                  </a:cubicBezTo>
                  <a:cubicBezTo>
                    <a:pt x="6568" y="7350"/>
                    <a:pt x="6568" y="7350"/>
                    <a:pt x="6569" y="7350"/>
                  </a:cubicBezTo>
                  <a:cubicBezTo>
                    <a:pt x="6569" y="7350"/>
                    <a:pt x="6569" y="7350"/>
                    <a:pt x="6573" y="7349"/>
                  </a:cubicBezTo>
                  <a:cubicBezTo>
                    <a:pt x="6574" y="7348"/>
                    <a:pt x="6576" y="7345"/>
                    <a:pt x="6575" y="7343"/>
                  </a:cubicBezTo>
                  <a:cubicBezTo>
                    <a:pt x="6575" y="7343"/>
                    <a:pt x="6575" y="7342"/>
                    <a:pt x="6575" y="7342"/>
                  </a:cubicBezTo>
                  <a:cubicBezTo>
                    <a:pt x="6576" y="7341"/>
                    <a:pt x="6577" y="7340"/>
                    <a:pt x="6579" y="7338"/>
                  </a:cubicBezTo>
                  <a:cubicBezTo>
                    <a:pt x="6582" y="7335"/>
                    <a:pt x="6586" y="7331"/>
                    <a:pt x="6591" y="7327"/>
                  </a:cubicBezTo>
                  <a:cubicBezTo>
                    <a:pt x="6597" y="7321"/>
                    <a:pt x="6604" y="7316"/>
                    <a:pt x="6607" y="7314"/>
                  </a:cubicBezTo>
                  <a:cubicBezTo>
                    <a:pt x="6736" y="7340"/>
                    <a:pt x="6736" y="7340"/>
                    <a:pt x="6736" y="7340"/>
                  </a:cubicBezTo>
                  <a:cubicBezTo>
                    <a:pt x="6724" y="7407"/>
                    <a:pt x="6724" y="7407"/>
                    <a:pt x="6724" y="7407"/>
                  </a:cubicBezTo>
                  <a:cubicBezTo>
                    <a:pt x="6878" y="7432"/>
                    <a:pt x="6878" y="7432"/>
                    <a:pt x="6878" y="7432"/>
                  </a:cubicBezTo>
                  <a:cubicBezTo>
                    <a:pt x="6889" y="7372"/>
                    <a:pt x="6889" y="7372"/>
                    <a:pt x="6889" y="7372"/>
                  </a:cubicBezTo>
                  <a:cubicBezTo>
                    <a:pt x="6974" y="7389"/>
                    <a:pt x="6974" y="7389"/>
                    <a:pt x="6974" y="7389"/>
                  </a:cubicBezTo>
                  <a:cubicBezTo>
                    <a:pt x="6966" y="7440"/>
                    <a:pt x="6966" y="7440"/>
                    <a:pt x="6966" y="7440"/>
                  </a:cubicBezTo>
                  <a:cubicBezTo>
                    <a:pt x="7031" y="7450"/>
                    <a:pt x="7031" y="7450"/>
                    <a:pt x="7031" y="7450"/>
                  </a:cubicBezTo>
                  <a:cubicBezTo>
                    <a:pt x="7039" y="7396"/>
                    <a:pt x="7039" y="7396"/>
                    <a:pt x="7039" y="7396"/>
                  </a:cubicBezTo>
                  <a:cubicBezTo>
                    <a:pt x="7550" y="7279"/>
                    <a:pt x="7550" y="7279"/>
                    <a:pt x="7550" y="7279"/>
                  </a:cubicBezTo>
                  <a:cubicBezTo>
                    <a:pt x="7813" y="7145"/>
                    <a:pt x="7813" y="7145"/>
                    <a:pt x="7813" y="7145"/>
                  </a:cubicBezTo>
                  <a:cubicBezTo>
                    <a:pt x="8067" y="6975"/>
                    <a:pt x="8067" y="6975"/>
                    <a:pt x="8067" y="6975"/>
                  </a:cubicBezTo>
                  <a:cubicBezTo>
                    <a:pt x="8145" y="6840"/>
                    <a:pt x="8145" y="6840"/>
                    <a:pt x="8145" y="6840"/>
                  </a:cubicBezTo>
                  <a:cubicBezTo>
                    <a:pt x="8186" y="6660"/>
                    <a:pt x="8186" y="6660"/>
                    <a:pt x="8186" y="6660"/>
                  </a:cubicBezTo>
                  <a:cubicBezTo>
                    <a:pt x="8202" y="6471"/>
                    <a:pt x="8202" y="6471"/>
                    <a:pt x="8202" y="6471"/>
                  </a:cubicBezTo>
                  <a:cubicBezTo>
                    <a:pt x="8219" y="6473"/>
                    <a:pt x="8235" y="6475"/>
                    <a:pt x="8251" y="6477"/>
                  </a:cubicBezTo>
                  <a:cubicBezTo>
                    <a:pt x="8252" y="6496"/>
                    <a:pt x="8252" y="6515"/>
                    <a:pt x="8252" y="6534"/>
                  </a:cubicBezTo>
                  <a:close/>
                  <a:moveTo>
                    <a:pt x="7982" y="5236"/>
                  </a:moveTo>
                  <a:cubicBezTo>
                    <a:pt x="7941" y="5143"/>
                    <a:pt x="7887" y="5053"/>
                    <a:pt x="7827" y="4965"/>
                  </a:cubicBezTo>
                  <a:cubicBezTo>
                    <a:pt x="7978" y="4972"/>
                    <a:pt x="7978" y="4972"/>
                    <a:pt x="7978" y="4972"/>
                  </a:cubicBezTo>
                  <a:cubicBezTo>
                    <a:pt x="8022" y="5041"/>
                    <a:pt x="8062" y="5112"/>
                    <a:pt x="8094" y="5186"/>
                  </a:cubicBezTo>
                  <a:cubicBezTo>
                    <a:pt x="8271" y="5587"/>
                    <a:pt x="8371" y="6066"/>
                    <a:pt x="8388" y="6426"/>
                  </a:cubicBezTo>
                  <a:cubicBezTo>
                    <a:pt x="8376" y="6425"/>
                    <a:pt x="8364" y="6424"/>
                    <a:pt x="8352" y="6422"/>
                  </a:cubicBezTo>
                  <a:cubicBezTo>
                    <a:pt x="8324" y="6419"/>
                    <a:pt x="8295" y="6416"/>
                    <a:pt x="8265" y="6412"/>
                  </a:cubicBezTo>
                  <a:cubicBezTo>
                    <a:pt x="8245" y="6070"/>
                    <a:pt x="8148" y="5611"/>
                    <a:pt x="7982" y="5236"/>
                  </a:cubicBezTo>
                  <a:close/>
                  <a:moveTo>
                    <a:pt x="6297" y="7993"/>
                  </a:moveTo>
                  <a:cubicBezTo>
                    <a:pt x="6301" y="7997"/>
                    <a:pt x="6301" y="7997"/>
                    <a:pt x="6301" y="7997"/>
                  </a:cubicBezTo>
                  <a:cubicBezTo>
                    <a:pt x="6301" y="7998"/>
                    <a:pt x="6301" y="7998"/>
                    <a:pt x="6301" y="7998"/>
                  </a:cubicBezTo>
                  <a:cubicBezTo>
                    <a:pt x="6302" y="7992"/>
                    <a:pt x="6302" y="7992"/>
                    <a:pt x="6302" y="7992"/>
                  </a:cubicBezTo>
                  <a:cubicBezTo>
                    <a:pt x="6300" y="7999"/>
                    <a:pt x="6300" y="7999"/>
                    <a:pt x="6300" y="7999"/>
                  </a:cubicBezTo>
                  <a:cubicBezTo>
                    <a:pt x="6259" y="7996"/>
                    <a:pt x="6215" y="7993"/>
                    <a:pt x="6169" y="7990"/>
                  </a:cubicBezTo>
                  <a:cubicBezTo>
                    <a:pt x="6172" y="7953"/>
                    <a:pt x="6172" y="7953"/>
                    <a:pt x="6172" y="7953"/>
                  </a:cubicBezTo>
                  <a:cubicBezTo>
                    <a:pt x="6240" y="7959"/>
                    <a:pt x="6240" y="7959"/>
                    <a:pt x="6240" y="7959"/>
                  </a:cubicBezTo>
                  <a:cubicBezTo>
                    <a:pt x="6247" y="7959"/>
                    <a:pt x="6247" y="7959"/>
                    <a:pt x="6247" y="7959"/>
                  </a:cubicBezTo>
                  <a:cubicBezTo>
                    <a:pt x="6257" y="7802"/>
                    <a:pt x="6257" y="7802"/>
                    <a:pt x="6257" y="7802"/>
                  </a:cubicBezTo>
                  <a:cubicBezTo>
                    <a:pt x="6187" y="7796"/>
                    <a:pt x="6187" y="7796"/>
                    <a:pt x="6187" y="7796"/>
                  </a:cubicBezTo>
                  <a:cubicBezTo>
                    <a:pt x="6192" y="7742"/>
                    <a:pt x="6192" y="7742"/>
                    <a:pt x="6192" y="7742"/>
                  </a:cubicBezTo>
                  <a:cubicBezTo>
                    <a:pt x="6321" y="7812"/>
                    <a:pt x="6321" y="7812"/>
                    <a:pt x="6321" y="7812"/>
                  </a:cubicBezTo>
                  <a:cubicBezTo>
                    <a:pt x="6320" y="7824"/>
                    <a:pt x="6317" y="7858"/>
                    <a:pt x="6313" y="7894"/>
                  </a:cubicBezTo>
                  <a:cubicBezTo>
                    <a:pt x="6309" y="7938"/>
                    <a:pt x="6301" y="7987"/>
                    <a:pt x="6297" y="7993"/>
                  </a:cubicBezTo>
                  <a:cubicBezTo>
                    <a:pt x="6298" y="7994"/>
                    <a:pt x="6298" y="7994"/>
                    <a:pt x="6298" y="7994"/>
                  </a:cubicBezTo>
                  <a:lnTo>
                    <a:pt x="6297" y="7993"/>
                  </a:lnTo>
                  <a:close/>
                  <a:moveTo>
                    <a:pt x="5966" y="7922"/>
                  </a:moveTo>
                  <a:cubicBezTo>
                    <a:pt x="5957" y="7882"/>
                    <a:pt x="5944" y="7830"/>
                    <a:pt x="5934" y="7788"/>
                  </a:cubicBezTo>
                  <a:cubicBezTo>
                    <a:pt x="6172" y="7808"/>
                    <a:pt x="6172" y="7808"/>
                    <a:pt x="6172" y="7808"/>
                  </a:cubicBezTo>
                  <a:cubicBezTo>
                    <a:pt x="6159" y="7939"/>
                    <a:pt x="6159" y="7939"/>
                    <a:pt x="6159" y="7939"/>
                  </a:cubicBezTo>
                  <a:lnTo>
                    <a:pt x="5966" y="7922"/>
                  </a:lnTo>
                  <a:close/>
                  <a:moveTo>
                    <a:pt x="6158" y="7952"/>
                  </a:moveTo>
                  <a:cubicBezTo>
                    <a:pt x="6155" y="7989"/>
                    <a:pt x="6155" y="7989"/>
                    <a:pt x="6155" y="7989"/>
                  </a:cubicBezTo>
                  <a:cubicBezTo>
                    <a:pt x="6097" y="7985"/>
                    <a:pt x="6037" y="7981"/>
                    <a:pt x="5975" y="7976"/>
                  </a:cubicBezTo>
                  <a:cubicBezTo>
                    <a:pt x="5974" y="7967"/>
                    <a:pt x="5972" y="7953"/>
                    <a:pt x="5968" y="7936"/>
                  </a:cubicBezTo>
                  <a:lnTo>
                    <a:pt x="6158" y="7952"/>
                  </a:lnTo>
                  <a:close/>
                  <a:moveTo>
                    <a:pt x="5300" y="7722"/>
                  </a:moveTo>
                  <a:cubicBezTo>
                    <a:pt x="5289" y="7878"/>
                    <a:pt x="5289" y="7878"/>
                    <a:pt x="5289" y="7878"/>
                  </a:cubicBezTo>
                  <a:cubicBezTo>
                    <a:pt x="5386" y="7886"/>
                    <a:pt x="5386" y="7886"/>
                    <a:pt x="5386" y="7886"/>
                  </a:cubicBezTo>
                  <a:cubicBezTo>
                    <a:pt x="5385" y="7934"/>
                    <a:pt x="5385" y="7934"/>
                    <a:pt x="5385" y="7934"/>
                  </a:cubicBezTo>
                  <a:cubicBezTo>
                    <a:pt x="5331" y="7930"/>
                    <a:pt x="5283" y="7927"/>
                    <a:pt x="5243" y="7924"/>
                  </a:cubicBezTo>
                  <a:cubicBezTo>
                    <a:pt x="5183" y="7412"/>
                    <a:pt x="5183" y="7412"/>
                    <a:pt x="5183" y="7412"/>
                  </a:cubicBezTo>
                  <a:cubicBezTo>
                    <a:pt x="5181" y="7407"/>
                    <a:pt x="5181" y="7407"/>
                    <a:pt x="5181" y="7407"/>
                  </a:cubicBezTo>
                  <a:cubicBezTo>
                    <a:pt x="5258" y="7359"/>
                    <a:pt x="5258" y="7359"/>
                    <a:pt x="5258" y="7359"/>
                  </a:cubicBezTo>
                  <a:cubicBezTo>
                    <a:pt x="5585" y="7364"/>
                    <a:pt x="5585" y="7364"/>
                    <a:pt x="5585" y="7364"/>
                  </a:cubicBezTo>
                  <a:cubicBezTo>
                    <a:pt x="5589" y="7746"/>
                    <a:pt x="5589" y="7746"/>
                    <a:pt x="5589" y="7746"/>
                  </a:cubicBezTo>
                  <a:cubicBezTo>
                    <a:pt x="5401" y="7730"/>
                    <a:pt x="5401" y="7730"/>
                    <a:pt x="5401" y="7730"/>
                  </a:cubicBezTo>
                  <a:cubicBezTo>
                    <a:pt x="5405" y="7368"/>
                    <a:pt x="5405" y="7368"/>
                    <a:pt x="5405" y="7368"/>
                  </a:cubicBezTo>
                  <a:cubicBezTo>
                    <a:pt x="5391" y="7368"/>
                    <a:pt x="5391" y="7368"/>
                    <a:pt x="5391" y="7368"/>
                  </a:cubicBezTo>
                  <a:cubicBezTo>
                    <a:pt x="5387" y="7729"/>
                    <a:pt x="5387" y="7729"/>
                    <a:pt x="5387" y="7729"/>
                  </a:cubicBezTo>
                  <a:lnTo>
                    <a:pt x="5300" y="7722"/>
                  </a:lnTo>
                  <a:close/>
                  <a:moveTo>
                    <a:pt x="5387" y="7742"/>
                  </a:moveTo>
                  <a:cubicBezTo>
                    <a:pt x="5386" y="7873"/>
                    <a:pt x="5386" y="7873"/>
                    <a:pt x="5386" y="7873"/>
                  </a:cubicBezTo>
                  <a:cubicBezTo>
                    <a:pt x="5303" y="7866"/>
                    <a:pt x="5303" y="7866"/>
                    <a:pt x="5303" y="7866"/>
                  </a:cubicBezTo>
                  <a:cubicBezTo>
                    <a:pt x="5312" y="7736"/>
                    <a:pt x="5312" y="7736"/>
                    <a:pt x="5312" y="7736"/>
                  </a:cubicBezTo>
                  <a:lnTo>
                    <a:pt x="5387" y="7742"/>
                  </a:lnTo>
                  <a:close/>
                  <a:moveTo>
                    <a:pt x="4355" y="7492"/>
                  </a:moveTo>
                  <a:cubicBezTo>
                    <a:pt x="4366" y="7484"/>
                    <a:pt x="4376" y="7476"/>
                    <a:pt x="4384" y="7468"/>
                  </a:cubicBezTo>
                  <a:cubicBezTo>
                    <a:pt x="4425" y="7429"/>
                    <a:pt x="4459" y="7364"/>
                    <a:pt x="4489" y="7278"/>
                  </a:cubicBezTo>
                  <a:cubicBezTo>
                    <a:pt x="4505" y="7233"/>
                    <a:pt x="4519" y="7184"/>
                    <a:pt x="4532" y="7130"/>
                  </a:cubicBezTo>
                  <a:cubicBezTo>
                    <a:pt x="4566" y="7137"/>
                    <a:pt x="4566" y="7137"/>
                    <a:pt x="4566" y="7137"/>
                  </a:cubicBezTo>
                  <a:cubicBezTo>
                    <a:pt x="4547" y="7240"/>
                    <a:pt x="4547" y="7240"/>
                    <a:pt x="4547" y="7240"/>
                  </a:cubicBezTo>
                  <a:cubicBezTo>
                    <a:pt x="4701" y="7266"/>
                    <a:pt x="4701" y="7266"/>
                    <a:pt x="4701" y="7266"/>
                  </a:cubicBezTo>
                  <a:cubicBezTo>
                    <a:pt x="4719" y="7168"/>
                    <a:pt x="4719" y="7168"/>
                    <a:pt x="4719" y="7168"/>
                  </a:cubicBezTo>
                  <a:cubicBezTo>
                    <a:pt x="5092" y="7242"/>
                    <a:pt x="5092" y="7242"/>
                    <a:pt x="5092" y="7242"/>
                  </a:cubicBezTo>
                  <a:cubicBezTo>
                    <a:pt x="5092" y="7240"/>
                    <a:pt x="5092" y="7240"/>
                    <a:pt x="5092" y="7240"/>
                  </a:cubicBezTo>
                  <a:cubicBezTo>
                    <a:pt x="5092" y="7249"/>
                    <a:pt x="5092" y="7254"/>
                    <a:pt x="5092" y="7254"/>
                  </a:cubicBezTo>
                  <a:cubicBezTo>
                    <a:pt x="5093" y="7255"/>
                    <a:pt x="5093" y="7255"/>
                    <a:pt x="5093" y="7255"/>
                  </a:cubicBezTo>
                  <a:cubicBezTo>
                    <a:pt x="5163" y="7402"/>
                    <a:pt x="5163" y="7402"/>
                    <a:pt x="5163" y="7402"/>
                  </a:cubicBezTo>
                  <a:cubicBezTo>
                    <a:pt x="4895" y="7569"/>
                    <a:pt x="4895" y="7569"/>
                    <a:pt x="4895" y="7569"/>
                  </a:cubicBezTo>
                  <a:cubicBezTo>
                    <a:pt x="4754" y="7517"/>
                    <a:pt x="4754" y="7517"/>
                    <a:pt x="4754" y="7517"/>
                  </a:cubicBezTo>
                  <a:cubicBezTo>
                    <a:pt x="4408" y="7735"/>
                    <a:pt x="4408" y="7735"/>
                    <a:pt x="4408" y="7735"/>
                  </a:cubicBezTo>
                  <a:lnTo>
                    <a:pt x="4355" y="7492"/>
                  </a:lnTo>
                  <a:close/>
                  <a:moveTo>
                    <a:pt x="4404" y="7792"/>
                  </a:moveTo>
                  <a:cubicBezTo>
                    <a:pt x="4308" y="7805"/>
                    <a:pt x="4308" y="7805"/>
                    <a:pt x="4308" y="7805"/>
                  </a:cubicBezTo>
                  <a:cubicBezTo>
                    <a:pt x="4256" y="7554"/>
                    <a:pt x="4256" y="7554"/>
                    <a:pt x="4256" y="7554"/>
                  </a:cubicBezTo>
                  <a:cubicBezTo>
                    <a:pt x="4283" y="7539"/>
                    <a:pt x="4313" y="7522"/>
                    <a:pt x="4341" y="7502"/>
                  </a:cubicBezTo>
                  <a:lnTo>
                    <a:pt x="4404" y="7792"/>
                  </a:lnTo>
                  <a:close/>
                  <a:moveTo>
                    <a:pt x="3702" y="6825"/>
                  </a:moveTo>
                  <a:cubicBezTo>
                    <a:pt x="3702" y="6825"/>
                    <a:pt x="3702" y="6825"/>
                    <a:pt x="3702" y="6825"/>
                  </a:cubicBezTo>
                  <a:cubicBezTo>
                    <a:pt x="3696" y="6825"/>
                    <a:pt x="3604" y="6807"/>
                    <a:pt x="3559" y="6798"/>
                  </a:cubicBezTo>
                  <a:cubicBezTo>
                    <a:pt x="3551" y="6797"/>
                    <a:pt x="3545" y="6795"/>
                    <a:pt x="3541" y="6795"/>
                  </a:cubicBezTo>
                  <a:cubicBezTo>
                    <a:pt x="3553" y="6756"/>
                    <a:pt x="3553" y="6756"/>
                    <a:pt x="3553" y="6756"/>
                  </a:cubicBezTo>
                  <a:cubicBezTo>
                    <a:pt x="3798" y="6542"/>
                    <a:pt x="3798" y="6542"/>
                    <a:pt x="3798" y="6542"/>
                  </a:cubicBezTo>
                  <a:cubicBezTo>
                    <a:pt x="4063" y="6695"/>
                    <a:pt x="4063" y="6695"/>
                    <a:pt x="4063" y="6695"/>
                  </a:cubicBezTo>
                  <a:cubicBezTo>
                    <a:pt x="3902" y="6904"/>
                    <a:pt x="3902" y="6904"/>
                    <a:pt x="3902" y="6904"/>
                  </a:cubicBezTo>
                  <a:cubicBezTo>
                    <a:pt x="3717" y="6870"/>
                    <a:pt x="3717" y="6870"/>
                    <a:pt x="3717" y="6870"/>
                  </a:cubicBezTo>
                  <a:cubicBezTo>
                    <a:pt x="3716" y="6866"/>
                    <a:pt x="3716" y="6861"/>
                    <a:pt x="3715" y="6856"/>
                  </a:cubicBezTo>
                  <a:cubicBezTo>
                    <a:pt x="3713" y="6845"/>
                    <a:pt x="3713" y="6836"/>
                    <a:pt x="3710" y="6830"/>
                  </a:cubicBezTo>
                  <a:cubicBezTo>
                    <a:pt x="3709" y="6829"/>
                    <a:pt x="3709" y="6826"/>
                    <a:pt x="3703" y="6825"/>
                  </a:cubicBezTo>
                  <a:cubicBezTo>
                    <a:pt x="3703" y="6825"/>
                    <a:pt x="3703" y="6825"/>
                    <a:pt x="3703" y="6825"/>
                  </a:cubicBezTo>
                  <a:cubicBezTo>
                    <a:pt x="3703" y="6825"/>
                    <a:pt x="3702" y="6825"/>
                    <a:pt x="3702" y="6825"/>
                  </a:cubicBezTo>
                  <a:close/>
                  <a:moveTo>
                    <a:pt x="2579" y="6728"/>
                  </a:moveTo>
                  <a:cubicBezTo>
                    <a:pt x="2457" y="7276"/>
                    <a:pt x="2457" y="7276"/>
                    <a:pt x="2457" y="7276"/>
                  </a:cubicBezTo>
                  <a:cubicBezTo>
                    <a:pt x="2413" y="7246"/>
                    <a:pt x="2330" y="7185"/>
                    <a:pt x="2248" y="7126"/>
                  </a:cubicBezTo>
                  <a:cubicBezTo>
                    <a:pt x="2166" y="7067"/>
                    <a:pt x="2087" y="7012"/>
                    <a:pt x="2046" y="6989"/>
                  </a:cubicBezTo>
                  <a:cubicBezTo>
                    <a:pt x="2038" y="6985"/>
                    <a:pt x="2025" y="6978"/>
                    <a:pt x="2008" y="6969"/>
                  </a:cubicBezTo>
                  <a:cubicBezTo>
                    <a:pt x="2021" y="6950"/>
                    <a:pt x="2038" y="6925"/>
                    <a:pt x="2058" y="6894"/>
                  </a:cubicBezTo>
                  <a:cubicBezTo>
                    <a:pt x="2099" y="6832"/>
                    <a:pt x="2152" y="6749"/>
                    <a:pt x="2206" y="6667"/>
                  </a:cubicBezTo>
                  <a:cubicBezTo>
                    <a:pt x="2230" y="6629"/>
                    <a:pt x="2255" y="6591"/>
                    <a:pt x="2278" y="6555"/>
                  </a:cubicBezTo>
                  <a:cubicBezTo>
                    <a:pt x="2569" y="6721"/>
                    <a:pt x="2569" y="6721"/>
                    <a:pt x="2569" y="6721"/>
                  </a:cubicBezTo>
                  <a:cubicBezTo>
                    <a:pt x="2802" y="6806"/>
                    <a:pt x="2802" y="6806"/>
                    <a:pt x="2802" y="6806"/>
                  </a:cubicBezTo>
                  <a:cubicBezTo>
                    <a:pt x="2803" y="6806"/>
                    <a:pt x="2803" y="6806"/>
                    <a:pt x="2803" y="6807"/>
                  </a:cubicBezTo>
                  <a:cubicBezTo>
                    <a:pt x="2804" y="6809"/>
                    <a:pt x="2806" y="6813"/>
                    <a:pt x="2808" y="6818"/>
                  </a:cubicBezTo>
                  <a:cubicBezTo>
                    <a:pt x="2812" y="6827"/>
                    <a:pt x="2818" y="6841"/>
                    <a:pt x="2825" y="6858"/>
                  </a:cubicBezTo>
                  <a:cubicBezTo>
                    <a:pt x="2840" y="6891"/>
                    <a:pt x="2860" y="6937"/>
                    <a:pt x="2882" y="6989"/>
                  </a:cubicBezTo>
                  <a:cubicBezTo>
                    <a:pt x="2926" y="7092"/>
                    <a:pt x="2980" y="7216"/>
                    <a:pt x="3018" y="7301"/>
                  </a:cubicBezTo>
                  <a:cubicBezTo>
                    <a:pt x="3036" y="7341"/>
                    <a:pt x="3050" y="7371"/>
                    <a:pt x="3059" y="7388"/>
                  </a:cubicBezTo>
                  <a:cubicBezTo>
                    <a:pt x="2995" y="7424"/>
                    <a:pt x="2922" y="7453"/>
                    <a:pt x="2849" y="7453"/>
                  </a:cubicBezTo>
                  <a:cubicBezTo>
                    <a:pt x="2838" y="7453"/>
                    <a:pt x="2826" y="7452"/>
                    <a:pt x="2815" y="7450"/>
                  </a:cubicBezTo>
                  <a:cubicBezTo>
                    <a:pt x="2661" y="7431"/>
                    <a:pt x="2556" y="7347"/>
                    <a:pt x="2469" y="7285"/>
                  </a:cubicBezTo>
                  <a:cubicBezTo>
                    <a:pt x="2593" y="6731"/>
                    <a:pt x="2593" y="6731"/>
                    <a:pt x="2593" y="6731"/>
                  </a:cubicBezTo>
                  <a:lnTo>
                    <a:pt x="2579" y="6728"/>
                  </a:lnTo>
                  <a:close/>
                  <a:moveTo>
                    <a:pt x="2185" y="5689"/>
                  </a:moveTo>
                  <a:cubicBezTo>
                    <a:pt x="2185" y="5689"/>
                    <a:pt x="2185" y="5689"/>
                    <a:pt x="2185" y="5689"/>
                  </a:cubicBezTo>
                  <a:cubicBezTo>
                    <a:pt x="2185" y="5689"/>
                    <a:pt x="2185" y="5689"/>
                    <a:pt x="2184" y="5689"/>
                  </a:cubicBezTo>
                  <a:cubicBezTo>
                    <a:pt x="2183" y="5688"/>
                    <a:pt x="2181" y="5688"/>
                    <a:pt x="2179" y="5687"/>
                  </a:cubicBezTo>
                  <a:cubicBezTo>
                    <a:pt x="2174" y="5685"/>
                    <a:pt x="2168" y="5682"/>
                    <a:pt x="2162" y="5678"/>
                  </a:cubicBezTo>
                  <a:cubicBezTo>
                    <a:pt x="2148" y="5671"/>
                    <a:pt x="2130" y="5662"/>
                    <a:pt x="2112" y="5653"/>
                  </a:cubicBezTo>
                  <a:cubicBezTo>
                    <a:pt x="2107" y="5650"/>
                    <a:pt x="2101" y="5647"/>
                    <a:pt x="2096" y="5644"/>
                  </a:cubicBezTo>
                  <a:cubicBezTo>
                    <a:pt x="2152" y="5531"/>
                    <a:pt x="2152" y="5531"/>
                    <a:pt x="2152" y="5531"/>
                  </a:cubicBezTo>
                  <a:cubicBezTo>
                    <a:pt x="2248" y="5578"/>
                    <a:pt x="2248" y="5578"/>
                    <a:pt x="2248" y="5578"/>
                  </a:cubicBezTo>
                  <a:cubicBezTo>
                    <a:pt x="2190" y="5691"/>
                    <a:pt x="2190" y="5691"/>
                    <a:pt x="2190" y="5691"/>
                  </a:cubicBezTo>
                  <a:cubicBezTo>
                    <a:pt x="2189" y="5690"/>
                    <a:pt x="2188" y="5690"/>
                    <a:pt x="2185" y="5689"/>
                  </a:cubicBezTo>
                  <a:cubicBezTo>
                    <a:pt x="2185" y="5689"/>
                    <a:pt x="2185" y="5689"/>
                    <a:pt x="2185" y="5689"/>
                  </a:cubicBezTo>
                  <a:cubicBezTo>
                    <a:pt x="2185" y="5689"/>
                    <a:pt x="2185" y="5689"/>
                    <a:pt x="2185" y="5689"/>
                  </a:cubicBezTo>
                  <a:close/>
                  <a:moveTo>
                    <a:pt x="2155" y="5691"/>
                  </a:moveTo>
                  <a:cubicBezTo>
                    <a:pt x="2169" y="5697"/>
                    <a:pt x="2176" y="5701"/>
                    <a:pt x="2183" y="5703"/>
                  </a:cubicBezTo>
                  <a:cubicBezTo>
                    <a:pt x="2183" y="5703"/>
                    <a:pt x="2183" y="5704"/>
                    <a:pt x="2184" y="5704"/>
                  </a:cubicBezTo>
                  <a:cubicBezTo>
                    <a:pt x="2104" y="5861"/>
                    <a:pt x="2104" y="5861"/>
                    <a:pt x="2104" y="5861"/>
                  </a:cubicBezTo>
                  <a:cubicBezTo>
                    <a:pt x="2010" y="5815"/>
                    <a:pt x="2010" y="5815"/>
                    <a:pt x="2010" y="5815"/>
                  </a:cubicBezTo>
                  <a:cubicBezTo>
                    <a:pt x="2089" y="5657"/>
                    <a:pt x="2089" y="5657"/>
                    <a:pt x="2089" y="5657"/>
                  </a:cubicBezTo>
                  <a:cubicBezTo>
                    <a:pt x="2112" y="5669"/>
                    <a:pt x="2137" y="5682"/>
                    <a:pt x="2155" y="5691"/>
                  </a:cubicBezTo>
                  <a:close/>
                  <a:moveTo>
                    <a:pt x="1993" y="5821"/>
                  </a:moveTo>
                  <a:cubicBezTo>
                    <a:pt x="2110" y="5878"/>
                    <a:pt x="2110" y="5878"/>
                    <a:pt x="2110" y="5878"/>
                  </a:cubicBezTo>
                  <a:cubicBezTo>
                    <a:pt x="2193" y="5716"/>
                    <a:pt x="2193" y="5716"/>
                    <a:pt x="2193" y="5716"/>
                  </a:cubicBezTo>
                  <a:cubicBezTo>
                    <a:pt x="2193" y="5716"/>
                    <a:pt x="2193" y="5716"/>
                    <a:pt x="2194" y="5717"/>
                  </a:cubicBezTo>
                  <a:cubicBezTo>
                    <a:pt x="2201" y="5727"/>
                    <a:pt x="2209" y="5741"/>
                    <a:pt x="2218" y="5754"/>
                  </a:cubicBezTo>
                  <a:cubicBezTo>
                    <a:pt x="2234" y="5782"/>
                    <a:pt x="2249" y="5809"/>
                    <a:pt x="2250" y="5809"/>
                  </a:cubicBezTo>
                  <a:cubicBezTo>
                    <a:pt x="2251" y="5812"/>
                    <a:pt x="2251" y="5812"/>
                    <a:pt x="2251" y="5812"/>
                  </a:cubicBezTo>
                  <a:cubicBezTo>
                    <a:pt x="2255" y="5812"/>
                    <a:pt x="2255" y="5812"/>
                    <a:pt x="2255" y="5812"/>
                  </a:cubicBezTo>
                  <a:cubicBezTo>
                    <a:pt x="2255" y="5812"/>
                    <a:pt x="2307" y="5820"/>
                    <a:pt x="2362" y="5828"/>
                  </a:cubicBezTo>
                  <a:cubicBezTo>
                    <a:pt x="2413" y="5836"/>
                    <a:pt x="2468" y="5846"/>
                    <a:pt x="2478" y="5849"/>
                  </a:cubicBezTo>
                  <a:cubicBezTo>
                    <a:pt x="2529" y="5938"/>
                    <a:pt x="2529" y="5938"/>
                    <a:pt x="2529" y="5938"/>
                  </a:cubicBezTo>
                  <a:cubicBezTo>
                    <a:pt x="2527" y="5941"/>
                    <a:pt x="2525" y="5943"/>
                    <a:pt x="2521" y="5947"/>
                  </a:cubicBezTo>
                  <a:cubicBezTo>
                    <a:pt x="2515" y="5953"/>
                    <a:pt x="2508" y="5963"/>
                    <a:pt x="2499" y="5974"/>
                  </a:cubicBezTo>
                  <a:cubicBezTo>
                    <a:pt x="2486" y="5991"/>
                    <a:pt x="2471" y="6012"/>
                    <a:pt x="2455" y="6034"/>
                  </a:cubicBezTo>
                  <a:cubicBezTo>
                    <a:pt x="2427" y="6030"/>
                    <a:pt x="2152" y="6001"/>
                    <a:pt x="2130" y="5999"/>
                  </a:cubicBezTo>
                  <a:cubicBezTo>
                    <a:pt x="2129" y="5999"/>
                    <a:pt x="2129" y="5999"/>
                    <a:pt x="2128" y="5998"/>
                  </a:cubicBezTo>
                  <a:cubicBezTo>
                    <a:pt x="2126" y="5997"/>
                    <a:pt x="2124" y="5996"/>
                    <a:pt x="2120" y="5994"/>
                  </a:cubicBezTo>
                  <a:cubicBezTo>
                    <a:pt x="2114" y="5990"/>
                    <a:pt x="2105" y="5984"/>
                    <a:pt x="2094" y="5977"/>
                  </a:cubicBezTo>
                  <a:cubicBezTo>
                    <a:pt x="2073" y="5963"/>
                    <a:pt x="2046" y="5944"/>
                    <a:pt x="2019" y="5925"/>
                  </a:cubicBezTo>
                  <a:cubicBezTo>
                    <a:pt x="1984" y="5901"/>
                    <a:pt x="1950" y="5877"/>
                    <a:pt x="1930" y="5863"/>
                  </a:cubicBezTo>
                  <a:cubicBezTo>
                    <a:pt x="2055" y="5638"/>
                    <a:pt x="2055" y="5638"/>
                    <a:pt x="2055" y="5638"/>
                  </a:cubicBezTo>
                  <a:cubicBezTo>
                    <a:pt x="2062" y="5642"/>
                    <a:pt x="2069" y="5646"/>
                    <a:pt x="2078" y="5650"/>
                  </a:cubicBezTo>
                  <a:lnTo>
                    <a:pt x="1993" y="5821"/>
                  </a:lnTo>
                  <a:close/>
                  <a:moveTo>
                    <a:pt x="6160" y="6304"/>
                  </a:moveTo>
                  <a:cubicBezTo>
                    <a:pt x="6156" y="6364"/>
                    <a:pt x="6156" y="6364"/>
                    <a:pt x="6156" y="6364"/>
                  </a:cubicBezTo>
                  <a:cubicBezTo>
                    <a:pt x="6045" y="6355"/>
                    <a:pt x="6045" y="6355"/>
                    <a:pt x="6045" y="6355"/>
                  </a:cubicBezTo>
                  <a:cubicBezTo>
                    <a:pt x="6066" y="6253"/>
                    <a:pt x="6066" y="6253"/>
                    <a:pt x="6066" y="6253"/>
                  </a:cubicBezTo>
                  <a:cubicBezTo>
                    <a:pt x="6117" y="6257"/>
                    <a:pt x="6117" y="6257"/>
                    <a:pt x="6117" y="6257"/>
                  </a:cubicBezTo>
                  <a:cubicBezTo>
                    <a:pt x="6114" y="6300"/>
                    <a:pt x="6114" y="6300"/>
                    <a:pt x="6114" y="6300"/>
                  </a:cubicBezTo>
                  <a:lnTo>
                    <a:pt x="6160" y="6304"/>
                  </a:lnTo>
                  <a:close/>
                  <a:moveTo>
                    <a:pt x="6031" y="6354"/>
                  </a:moveTo>
                  <a:cubicBezTo>
                    <a:pt x="5972" y="6349"/>
                    <a:pt x="5972" y="6349"/>
                    <a:pt x="5972" y="6349"/>
                  </a:cubicBezTo>
                  <a:cubicBezTo>
                    <a:pt x="5977" y="6289"/>
                    <a:pt x="5977" y="6289"/>
                    <a:pt x="5977" y="6289"/>
                  </a:cubicBezTo>
                  <a:cubicBezTo>
                    <a:pt x="6023" y="6293"/>
                    <a:pt x="6023" y="6293"/>
                    <a:pt x="6023" y="6293"/>
                  </a:cubicBezTo>
                  <a:cubicBezTo>
                    <a:pt x="6027" y="6250"/>
                    <a:pt x="6027" y="6250"/>
                    <a:pt x="6027" y="6250"/>
                  </a:cubicBezTo>
                  <a:cubicBezTo>
                    <a:pt x="6052" y="6252"/>
                    <a:pt x="6052" y="6252"/>
                    <a:pt x="6052" y="6252"/>
                  </a:cubicBezTo>
                  <a:lnTo>
                    <a:pt x="6031" y="6354"/>
                  </a:lnTo>
                  <a:close/>
                  <a:moveTo>
                    <a:pt x="6043" y="6368"/>
                  </a:moveTo>
                  <a:cubicBezTo>
                    <a:pt x="6168" y="6378"/>
                    <a:pt x="6168" y="6378"/>
                    <a:pt x="6168" y="6378"/>
                  </a:cubicBezTo>
                  <a:cubicBezTo>
                    <a:pt x="6175" y="6292"/>
                    <a:pt x="6175" y="6292"/>
                    <a:pt x="6175" y="6292"/>
                  </a:cubicBezTo>
                  <a:cubicBezTo>
                    <a:pt x="6128" y="6288"/>
                    <a:pt x="6128" y="6288"/>
                    <a:pt x="6128" y="6288"/>
                  </a:cubicBezTo>
                  <a:cubicBezTo>
                    <a:pt x="6131" y="6245"/>
                    <a:pt x="6131" y="6245"/>
                    <a:pt x="6131" y="6245"/>
                  </a:cubicBezTo>
                  <a:cubicBezTo>
                    <a:pt x="6068" y="6240"/>
                    <a:pt x="6068" y="6240"/>
                    <a:pt x="6068" y="6240"/>
                  </a:cubicBezTo>
                  <a:cubicBezTo>
                    <a:pt x="6072" y="6224"/>
                    <a:pt x="6072" y="6224"/>
                    <a:pt x="6072" y="6224"/>
                  </a:cubicBezTo>
                  <a:cubicBezTo>
                    <a:pt x="6207" y="6240"/>
                    <a:pt x="6207" y="6240"/>
                    <a:pt x="6207" y="6240"/>
                  </a:cubicBezTo>
                  <a:cubicBezTo>
                    <a:pt x="6206" y="6286"/>
                    <a:pt x="6205" y="6394"/>
                    <a:pt x="6201" y="6460"/>
                  </a:cubicBezTo>
                  <a:cubicBezTo>
                    <a:pt x="6200" y="6488"/>
                    <a:pt x="6197" y="6510"/>
                    <a:pt x="6197" y="6511"/>
                  </a:cubicBezTo>
                  <a:cubicBezTo>
                    <a:pt x="6202" y="6513"/>
                    <a:pt x="6202" y="6513"/>
                    <a:pt x="6202" y="6513"/>
                  </a:cubicBezTo>
                  <a:cubicBezTo>
                    <a:pt x="6152" y="6508"/>
                    <a:pt x="6152" y="6508"/>
                    <a:pt x="6152" y="6508"/>
                  </a:cubicBezTo>
                  <a:cubicBezTo>
                    <a:pt x="6146" y="6471"/>
                    <a:pt x="6146" y="6471"/>
                    <a:pt x="6146" y="6471"/>
                  </a:cubicBezTo>
                  <a:cubicBezTo>
                    <a:pt x="6025" y="6457"/>
                    <a:pt x="6025" y="6457"/>
                    <a:pt x="6025" y="6457"/>
                  </a:cubicBezTo>
                  <a:lnTo>
                    <a:pt x="6043" y="6368"/>
                  </a:lnTo>
                  <a:close/>
                  <a:moveTo>
                    <a:pt x="7088" y="6405"/>
                  </a:moveTo>
                  <a:cubicBezTo>
                    <a:pt x="7083" y="6464"/>
                    <a:pt x="7083" y="6464"/>
                    <a:pt x="7083" y="6464"/>
                  </a:cubicBezTo>
                  <a:cubicBezTo>
                    <a:pt x="6998" y="6458"/>
                    <a:pt x="6998" y="6458"/>
                    <a:pt x="6998" y="6458"/>
                  </a:cubicBezTo>
                  <a:cubicBezTo>
                    <a:pt x="7015" y="6356"/>
                    <a:pt x="7015" y="6356"/>
                    <a:pt x="7015" y="6356"/>
                  </a:cubicBezTo>
                  <a:cubicBezTo>
                    <a:pt x="7045" y="6358"/>
                    <a:pt x="7045" y="6358"/>
                    <a:pt x="7045" y="6358"/>
                  </a:cubicBezTo>
                  <a:cubicBezTo>
                    <a:pt x="7041" y="6401"/>
                    <a:pt x="7041" y="6401"/>
                    <a:pt x="7041" y="6401"/>
                  </a:cubicBezTo>
                  <a:lnTo>
                    <a:pt x="7088" y="6405"/>
                  </a:lnTo>
                  <a:close/>
                  <a:moveTo>
                    <a:pt x="6984" y="6457"/>
                  </a:moveTo>
                  <a:cubicBezTo>
                    <a:pt x="6900" y="6450"/>
                    <a:pt x="6900" y="6450"/>
                    <a:pt x="6900" y="6450"/>
                  </a:cubicBezTo>
                  <a:cubicBezTo>
                    <a:pt x="6904" y="6390"/>
                    <a:pt x="6904" y="6390"/>
                    <a:pt x="6904" y="6390"/>
                  </a:cubicBezTo>
                  <a:cubicBezTo>
                    <a:pt x="6951" y="6394"/>
                    <a:pt x="6951" y="6394"/>
                    <a:pt x="6951" y="6394"/>
                  </a:cubicBezTo>
                  <a:cubicBezTo>
                    <a:pt x="6954" y="6351"/>
                    <a:pt x="6954" y="6351"/>
                    <a:pt x="6954" y="6351"/>
                  </a:cubicBezTo>
                  <a:cubicBezTo>
                    <a:pt x="7001" y="6355"/>
                    <a:pt x="7001" y="6355"/>
                    <a:pt x="7001" y="6355"/>
                  </a:cubicBezTo>
                  <a:lnTo>
                    <a:pt x="6984" y="6457"/>
                  </a:lnTo>
                  <a:close/>
                  <a:moveTo>
                    <a:pt x="7004" y="6342"/>
                  </a:moveTo>
                  <a:cubicBezTo>
                    <a:pt x="6942" y="6337"/>
                    <a:pt x="6942" y="6337"/>
                    <a:pt x="6942" y="6337"/>
                  </a:cubicBezTo>
                  <a:cubicBezTo>
                    <a:pt x="6939" y="6380"/>
                    <a:pt x="6939" y="6380"/>
                    <a:pt x="6939" y="6380"/>
                  </a:cubicBezTo>
                  <a:cubicBezTo>
                    <a:pt x="6892" y="6376"/>
                    <a:pt x="6892" y="6376"/>
                    <a:pt x="6892" y="6376"/>
                  </a:cubicBezTo>
                  <a:cubicBezTo>
                    <a:pt x="6886" y="6456"/>
                    <a:pt x="6886" y="6456"/>
                    <a:pt x="6886" y="6456"/>
                  </a:cubicBezTo>
                  <a:cubicBezTo>
                    <a:pt x="6885" y="6462"/>
                    <a:pt x="6885" y="6462"/>
                    <a:pt x="6885" y="6462"/>
                  </a:cubicBezTo>
                  <a:cubicBezTo>
                    <a:pt x="6981" y="6470"/>
                    <a:pt x="6981" y="6470"/>
                    <a:pt x="6981" y="6470"/>
                  </a:cubicBezTo>
                  <a:cubicBezTo>
                    <a:pt x="6971" y="6529"/>
                    <a:pt x="6971" y="6529"/>
                    <a:pt x="6971" y="6529"/>
                  </a:cubicBezTo>
                  <a:cubicBezTo>
                    <a:pt x="6985" y="6531"/>
                    <a:pt x="6985" y="6531"/>
                    <a:pt x="6985" y="6531"/>
                  </a:cubicBezTo>
                  <a:cubicBezTo>
                    <a:pt x="6995" y="6471"/>
                    <a:pt x="6995" y="6471"/>
                    <a:pt x="6995" y="6471"/>
                  </a:cubicBezTo>
                  <a:cubicBezTo>
                    <a:pt x="7095" y="6479"/>
                    <a:pt x="7095" y="6479"/>
                    <a:pt x="7095" y="6479"/>
                  </a:cubicBezTo>
                  <a:cubicBezTo>
                    <a:pt x="7102" y="6393"/>
                    <a:pt x="7102" y="6393"/>
                    <a:pt x="7102" y="6393"/>
                  </a:cubicBezTo>
                  <a:cubicBezTo>
                    <a:pt x="7055" y="6389"/>
                    <a:pt x="7055" y="6389"/>
                    <a:pt x="7055" y="6389"/>
                  </a:cubicBezTo>
                  <a:cubicBezTo>
                    <a:pt x="7059" y="6346"/>
                    <a:pt x="7059" y="6346"/>
                    <a:pt x="7059" y="6346"/>
                  </a:cubicBezTo>
                  <a:cubicBezTo>
                    <a:pt x="7018" y="6343"/>
                    <a:pt x="7018" y="6343"/>
                    <a:pt x="7018" y="6343"/>
                  </a:cubicBezTo>
                  <a:cubicBezTo>
                    <a:pt x="7018" y="6337"/>
                    <a:pt x="7018" y="6337"/>
                    <a:pt x="7018" y="6337"/>
                  </a:cubicBezTo>
                  <a:cubicBezTo>
                    <a:pt x="7125" y="6350"/>
                    <a:pt x="7125" y="6350"/>
                    <a:pt x="7125" y="6350"/>
                  </a:cubicBezTo>
                  <a:cubicBezTo>
                    <a:pt x="7096" y="6554"/>
                    <a:pt x="7096" y="6554"/>
                    <a:pt x="7096" y="6554"/>
                  </a:cubicBezTo>
                  <a:cubicBezTo>
                    <a:pt x="7093" y="6553"/>
                    <a:pt x="7089" y="6553"/>
                    <a:pt x="7086" y="6552"/>
                  </a:cubicBezTo>
                  <a:cubicBezTo>
                    <a:pt x="7069" y="6550"/>
                    <a:pt x="7046" y="6546"/>
                    <a:pt x="7018" y="6541"/>
                  </a:cubicBezTo>
                  <a:cubicBezTo>
                    <a:pt x="6965" y="6533"/>
                    <a:pt x="6896" y="6522"/>
                    <a:pt x="6826" y="6511"/>
                  </a:cubicBezTo>
                  <a:cubicBezTo>
                    <a:pt x="6828" y="6509"/>
                    <a:pt x="6829" y="6508"/>
                    <a:pt x="6830" y="6506"/>
                  </a:cubicBezTo>
                  <a:cubicBezTo>
                    <a:pt x="6831" y="6504"/>
                    <a:pt x="6832" y="6502"/>
                    <a:pt x="6833" y="6499"/>
                  </a:cubicBezTo>
                  <a:cubicBezTo>
                    <a:pt x="6835" y="6493"/>
                    <a:pt x="6837" y="6485"/>
                    <a:pt x="6839" y="6475"/>
                  </a:cubicBezTo>
                  <a:cubicBezTo>
                    <a:pt x="6844" y="6455"/>
                    <a:pt x="6850" y="6429"/>
                    <a:pt x="6855" y="6404"/>
                  </a:cubicBezTo>
                  <a:cubicBezTo>
                    <a:pt x="6861" y="6371"/>
                    <a:pt x="6867" y="6339"/>
                    <a:pt x="6870" y="6320"/>
                  </a:cubicBezTo>
                  <a:cubicBezTo>
                    <a:pt x="7005" y="6336"/>
                    <a:pt x="7005" y="6336"/>
                    <a:pt x="7005" y="6336"/>
                  </a:cubicBezTo>
                  <a:lnTo>
                    <a:pt x="7004" y="6342"/>
                  </a:lnTo>
                  <a:close/>
                  <a:moveTo>
                    <a:pt x="7202" y="6797"/>
                  </a:moveTo>
                  <a:cubicBezTo>
                    <a:pt x="7192" y="6843"/>
                    <a:pt x="7192" y="6843"/>
                    <a:pt x="7192" y="6843"/>
                  </a:cubicBezTo>
                  <a:cubicBezTo>
                    <a:pt x="7271" y="6859"/>
                    <a:pt x="7271" y="6859"/>
                    <a:pt x="7271" y="6859"/>
                  </a:cubicBezTo>
                  <a:cubicBezTo>
                    <a:pt x="7277" y="6860"/>
                    <a:pt x="7277" y="6860"/>
                    <a:pt x="7277" y="6860"/>
                  </a:cubicBezTo>
                  <a:cubicBezTo>
                    <a:pt x="7295" y="6769"/>
                    <a:pt x="7295" y="6769"/>
                    <a:pt x="7295" y="6769"/>
                  </a:cubicBezTo>
                  <a:cubicBezTo>
                    <a:pt x="7298" y="6770"/>
                    <a:pt x="7298" y="6770"/>
                    <a:pt x="7298" y="6770"/>
                  </a:cubicBezTo>
                  <a:cubicBezTo>
                    <a:pt x="7308" y="6777"/>
                    <a:pt x="7401" y="6841"/>
                    <a:pt x="7431" y="6859"/>
                  </a:cubicBezTo>
                  <a:cubicBezTo>
                    <a:pt x="7436" y="6861"/>
                    <a:pt x="7437" y="6862"/>
                    <a:pt x="7441" y="6863"/>
                  </a:cubicBezTo>
                  <a:cubicBezTo>
                    <a:pt x="7442" y="6863"/>
                    <a:pt x="7442" y="6864"/>
                    <a:pt x="7443" y="6864"/>
                  </a:cubicBezTo>
                  <a:cubicBezTo>
                    <a:pt x="7419" y="6984"/>
                    <a:pt x="7419" y="6984"/>
                    <a:pt x="7419" y="6984"/>
                  </a:cubicBezTo>
                  <a:cubicBezTo>
                    <a:pt x="7381" y="6977"/>
                    <a:pt x="7183" y="6941"/>
                    <a:pt x="7108" y="6926"/>
                  </a:cubicBezTo>
                  <a:cubicBezTo>
                    <a:pt x="7138" y="6719"/>
                    <a:pt x="7138" y="6719"/>
                    <a:pt x="7138" y="6719"/>
                  </a:cubicBezTo>
                  <a:cubicBezTo>
                    <a:pt x="7171" y="6729"/>
                    <a:pt x="7171" y="6729"/>
                    <a:pt x="7171" y="6729"/>
                  </a:cubicBezTo>
                  <a:cubicBezTo>
                    <a:pt x="7159" y="6789"/>
                    <a:pt x="7159" y="6789"/>
                    <a:pt x="7159" y="6789"/>
                  </a:cubicBezTo>
                  <a:lnTo>
                    <a:pt x="7202" y="6797"/>
                  </a:lnTo>
                  <a:close/>
                  <a:moveTo>
                    <a:pt x="7282" y="6765"/>
                  </a:moveTo>
                  <a:cubicBezTo>
                    <a:pt x="7267" y="6845"/>
                    <a:pt x="7267" y="6845"/>
                    <a:pt x="7267" y="6845"/>
                  </a:cubicBezTo>
                  <a:cubicBezTo>
                    <a:pt x="7208" y="6833"/>
                    <a:pt x="7208" y="6833"/>
                    <a:pt x="7208" y="6833"/>
                  </a:cubicBezTo>
                  <a:cubicBezTo>
                    <a:pt x="7217" y="6787"/>
                    <a:pt x="7217" y="6787"/>
                    <a:pt x="7217" y="6787"/>
                  </a:cubicBezTo>
                  <a:cubicBezTo>
                    <a:pt x="7175" y="6779"/>
                    <a:pt x="7175" y="6779"/>
                    <a:pt x="7175" y="6779"/>
                  </a:cubicBezTo>
                  <a:cubicBezTo>
                    <a:pt x="7184" y="6733"/>
                    <a:pt x="7184" y="6733"/>
                    <a:pt x="7184" y="6733"/>
                  </a:cubicBezTo>
                  <a:lnTo>
                    <a:pt x="7282" y="6765"/>
                  </a:lnTo>
                  <a:close/>
                  <a:moveTo>
                    <a:pt x="7186" y="6720"/>
                  </a:moveTo>
                  <a:cubicBezTo>
                    <a:pt x="7192" y="6690"/>
                    <a:pt x="7192" y="6690"/>
                    <a:pt x="7192" y="6690"/>
                  </a:cubicBezTo>
                  <a:cubicBezTo>
                    <a:pt x="7235" y="6698"/>
                    <a:pt x="7235" y="6698"/>
                    <a:pt x="7235" y="6698"/>
                  </a:cubicBezTo>
                  <a:cubicBezTo>
                    <a:pt x="7244" y="6652"/>
                    <a:pt x="7244" y="6652"/>
                    <a:pt x="7244" y="6652"/>
                  </a:cubicBezTo>
                  <a:cubicBezTo>
                    <a:pt x="7303" y="6664"/>
                    <a:pt x="7303" y="6664"/>
                    <a:pt x="7303" y="6664"/>
                  </a:cubicBezTo>
                  <a:cubicBezTo>
                    <a:pt x="7285" y="6752"/>
                    <a:pt x="7285" y="6752"/>
                    <a:pt x="7285" y="6752"/>
                  </a:cubicBezTo>
                  <a:lnTo>
                    <a:pt x="7186" y="6720"/>
                  </a:lnTo>
                  <a:close/>
                  <a:moveTo>
                    <a:pt x="6245" y="7559"/>
                  </a:moveTo>
                  <a:cubicBezTo>
                    <a:pt x="6201" y="7609"/>
                    <a:pt x="6201" y="7609"/>
                    <a:pt x="6201" y="7609"/>
                  </a:cubicBezTo>
                  <a:cubicBezTo>
                    <a:pt x="6201" y="7609"/>
                    <a:pt x="6201" y="7609"/>
                    <a:pt x="6201" y="7609"/>
                  </a:cubicBezTo>
                  <a:cubicBezTo>
                    <a:pt x="6201" y="7609"/>
                    <a:pt x="6200" y="7609"/>
                    <a:pt x="6200" y="7608"/>
                  </a:cubicBezTo>
                  <a:cubicBezTo>
                    <a:pt x="6200" y="7608"/>
                    <a:pt x="6199" y="7607"/>
                    <a:pt x="6198" y="7607"/>
                  </a:cubicBezTo>
                  <a:cubicBezTo>
                    <a:pt x="6197" y="7605"/>
                    <a:pt x="6195" y="7603"/>
                    <a:pt x="6192" y="7601"/>
                  </a:cubicBezTo>
                  <a:cubicBezTo>
                    <a:pt x="6187" y="7596"/>
                    <a:pt x="6179" y="7590"/>
                    <a:pt x="6170" y="7582"/>
                  </a:cubicBezTo>
                  <a:cubicBezTo>
                    <a:pt x="6152" y="7567"/>
                    <a:pt x="6128" y="7547"/>
                    <a:pt x="6103" y="7526"/>
                  </a:cubicBezTo>
                  <a:cubicBezTo>
                    <a:pt x="6055" y="7486"/>
                    <a:pt x="6006" y="7445"/>
                    <a:pt x="6006" y="7445"/>
                  </a:cubicBezTo>
                  <a:cubicBezTo>
                    <a:pt x="6001" y="7441"/>
                    <a:pt x="6001" y="7441"/>
                    <a:pt x="6001" y="7441"/>
                  </a:cubicBezTo>
                  <a:cubicBezTo>
                    <a:pt x="5954" y="7488"/>
                    <a:pt x="5954" y="7488"/>
                    <a:pt x="5954" y="7488"/>
                  </a:cubicBezTo>
                  <a:cubicBezTo>
                    <a:pt x="5743" y="7366"/>
                    <a:pt x="5743" y="7366"/>
                    <a:pt x="5743" y="7366"/>
                  </a:cubicBezTo>
                  <a:cubicBezTo>
                    <a:pt x="5778" y="7165"/>
                    <a:pt x="5778" y="7165"/>
                    <a:pt x="5778" y="7165"/>
                  </a:cubicBezTo>
                  <a:cubicBezTo>
                    <a:pt x="5782" y="7167"/>
                    <a:pt x="5786" y="7168"/>
                    <a:pt x="5790" y="7169"/>
                  </a:cubicBezTo>
                  <a:cubicBezTo>
                    <a:pt x="5804" y="7174"/>
                    <a:pt x="5824" y="7180"/>
                    <a:pt x="5848" y="7188"/>
                  </a:cubicBezTo>
                  <a:cubicBezTo>
                    <a:pt x="5896" y="7203"/>
                    <a:pt x="5959" y="7223"/>
                    <a:pt x="6023" y="7243"/>
                  </a:cubicBezTo>
                  <a:cubicBezTo>
                    <a:pt x="6133" y="7278"/>
                    <a:pt x="6244" y="7312"/>
                    <a:pt x="6271" y="7320"/>
                  </a:cubicBezTo>
                  <a:cubicBezTo>
                    <a:pt x="6270" y="7322"/>
                    <a:pt x="6270" y="7323"/>
                    <a:pt x="6270" y="7326"/>
                  </a:cubicBezTo>
                  <a:cubicBezTo>
                    <a:pt x="6269" y="7333"/>
                    <a:pt x="6267" y="7343"/>
                    <a:pt x="6266" y="7354"/>
                  </a:cubicBezTo>
                  <a:cubicBezTo>
                    <a:pt x="6263" y="7377"/>
                    <a:pt x="6259" y="7406"/>
                    <a:pt x="6255" y="7435"/>
                  </a:cubicBezTo>
                  <a:cubicBezTo>
                    <a:pt x="6248" y="7494"/>
                    <a:pt x="6241" y="7552"/>
                    <a:pt x="6241" y="7552"/>
                  </a:cubicBezTo>
                  <a:cubicBezTo>
                    <a:pt x="6241" y="7556"/>
                    <a:pt x="6241" y="7556"/>
                    <a:pt x="6241" y="7556"/>
                  </a:cubicBezTo>
                  <a:lnTo>
                    <a:pt x="6245" y="7559"/>
                  </a:lnTo>
                  <a:close/>
                  <a:moveTo>
                    <a:pt x="6173" y="7795"/>
                  </a:moveTo>
                  <a:cubicBezTo>
                    <a:pt x="5931" y="7775"/>
                    <a:pt x="5931" y="7775"/>
                    <a:pt x="5931" y="7775"/>
                  </a:cubicBezTo>
                  <a:cubicBezTo>
                    <a:pt x="5924" y="7746"/>
                    <a:pt x="5918" y="7724"/>
                    <a:pt x="5916" y="7718"/>
                  </a:cubicBezTo>
                  <a:cubicBezTo>
                    <a:pt x="5962" y="7500"/>
                    <a:pt x="5962" y="7500"/>
                    <a:pt x="5962" y="7500"/>
                  </a:cubicBezTo>
                  <a:cubicBezTo>
                    <a:pt x="6002" y="7460"/>
                    <a:pt x="6002" y="7460"/>
                    <a:pt x="6002" y="7460"/>
                  </a:cubicBezTo>
                  <a:cubicBezTo>
                    <a:pt x="6015" y="7471"/>
                    <a:pt x="6053" y="7503"/>
                    <a:pt x="6092" y="7535"/>
                  </a:cubicBezTo>
                  <a:cubicBezTo>
                    <a:pt x="6137" y="7573"/>
                    <a:pt x="6185" y="7613"/>
                    <a:pt x="6190" y="7618"/>
                  </a:cubicBezTo>
                  <a:cubicBezTo>
                    <a:pt x="6190" y="7618"/>
                    <a:pt x="6190" y="7618"/>
                    <a:pt x="6190" y="7618"/>
                  </a:cubicBezTo>
                  <a:cubicBezTo>
                    <a:pt x="6190" y="7618"/>
                    <a:pt x="6190" y="7618"/>
                    <a:pt x="6191" y="7618"/>
                  </a:cubicBezTo>
                  <a:cubicBezTo>
                    <a:pt x="6196" y="7614"/>
                    <a:pt x="6196" y="7614"/>
                    <a:pt x="6196" y="7614"/>
                  </a:cubicBezTo>
                  <a:cubicBezTo>
                    <a:pt x="6196" y="7614"/>
                    <a:pt x="6196" y="7614"/>
                    <a:pt x="6196" y="7614"/>
                  </a:cubicBezTo>
                  <a:cubicBezTo>
                    <a:pt x="6195" y="7617"/>
                    <a:pt x="6195" y="7617"/>
                    <a:pt x="6195" y="7617"/>
                  </a:cubicBezTo>
                  <a:cubicBezTo>
                    <a:pt x="6189" y="7623"/>
                    <a:pt x="6189" y="7623"/>
                    <a:pt x="6189" y="7623"/>
                  </a:cubicBezTo>
                  <a:lnTo>
                    <a:pt x="6173" y="7795"/>
                  </a:lnTo>
                  <a:close/>
                  <a:moveTo>
                    <a:pt x="6186" y="7809"/>
                  </a:moveTo>
                  <a:cubicBezTo>
                    <a:pt x="6244" y="7814"/>
                    <a:pt x="6244" y="7814"/>
                    <a:pt x="6244" y="7814"/>
                  </a:cubicBezTo>
                  <a:cubicBezTo>
                    <a:pt x="6235" y="7945"/>
                    <a:pt x="6235" y="7945"/>
                    <a:pt x="6235" y="7945"/>
                  </a:cubicBezTo>
                  <a:cubicBezTo>
                    <a:pt x="6173" y="7940"/>
                    <a:pt x="6173" y="7940"/>
                    <a:pt x="6173" y="7940"/>
                  </a:cubicBezTo>
                  <a:lnTo>
                    <a:pt x="6186" y="7809"/>
                  </a:lnTo>
                  <a:close/>
                  <a:moveTo>
                    <a:pt x="5903" y="7720"/>
                  </a:moveTo>
                  <a:cubicBezTo>
                    <a:pt x="5903" y="7720"/>
                    <a:pt x="5908" y="7742"/>
                    <a:pt x="5916" y="7773"/>
                  </a:cubicBezTo>
                  <a:cubicBezTo>
                    <a:pt x="5807" y="7764"/>
                    <a:pt x="5807" y="7764"/>
                    <a:pt x="5807" y="7764"/>
                  </a:cubicBezTo>
                  <a:cubicBezTo>
                    <a:pt x="5793" y="7645"/>
                    <a:pt x="5793" y="7645"/>
                    <a:pt x="5793" y="7645"/>
                  </a:cubicBezTo>
                  <a:cubicBezTo>
                    <a:pt x="5829" y="7432"/>
                    <a:pt x="5829" y="7432"/>
                    <a:pt x="5829" y="7432"/>
                  </a:cubicBezTo>
                  <a:cubicBezTo>
                    <a:pt x="5948" y="7500"/>
                    <a:pt x="5948" y="7500"/>
                    <a:pt x="5948" y="7500"/>
                  </a:cubicBezTo>
                  <a:cubicBezTo>
                    <a:pt x="5902" y="7719"/>
                    <a:pt x="5902" y="7719"/>
                    <a:pt x="5902" y="7719"/>
                  </a:cubicBezTo>
                  <a:lnTo>
                    <a:pt x="5903" y="7720"/>
                  </a:lnTo>
                  <a:close/>
                  <a:moveTo>
                    <a:pt x="5741" y="7001"/>
                  </a:moveTo>
                  <a:cubicBezTo>
                    <a:pt x="5717" y="7142"/>
                    <a:pt x="5717" y="7142"/>
                    <a:pt x="5717" y="7142"/>
                  </a:cubicBezTo>
                  <a:cubicBezTo>
                    <a:pt x="5703" y="7140"/>
                    <a:pt x="5687" y="7139"/>
                    <a:pt x="5670" y="7137"/>
                  </a:cubicBezTo>
                  <a:cubicBezTo>
                    <a:pt x="5609" y="7130"/>
                    <a:pt x="5527" y="7121"/>
                    <a:pt x="5444" y="7112"/>
                  </a:cubicBezTo>
                  <a:cubicBezTo>
                    <a:pt x="5279" y="7095"/>
                    <a:pt x="5113" y="7077"/>
                    <a:pt x="5103" y="7077"/>
                  </a:cubicBezTo>
                  <a:cubicBezTo>
                    <a:pt x="5103" y="7077"/>
                    <a:pt x="5103" y="7077"/>
                    <a:pt x="5103" y="7077"/>
                  </a:cubicBezTo>
                  <a:cubicBezTo>
                    <a:pt x="5103" y="7077"/>
                    <a:pt x="5102" y="7077"/>
                    <a:pt x="5102" y="7077"/>
                  </a:cubicBezTo>
                  <a:cubicBezTo>
                    <a:pt x="5100" y="7006"/>
                    <a:pt x="5098" y="6937"/>
                    <a:pt x="5095" y="6916"/>
                  </a:cubicBezTo>
                  <a:cubicBezTo>
                    <a:pt x="5095" y="6913"/>
                    <a:pt x="5095" y="6912"/>
                    <a:pt x="5094" y="6910"/>
                  </a:cubicBezTo>
                  <a:cubicBezTo>
                    <a:pt x="5094" y="6901"/>
                    <a:pt x="5112" y="6849"/>
                    <a:pt x="5130" y="6802"/>
                  </a:cubicBezTo>
                  <a:cubicBezTo>
                    <a:pt x="5146" y="6762"/>
                    <a:pt x="5161" y="6723"/>
                    <a:pt x="5166" y="6712"/>
                  </a:cubicBezTo>
                  <a:cubicBezTo>
                    <a:pt x="5212" y="6704"/>
                    <a:pt x="5212" y="6704"/>
                    <a:pt x="5212" y="6704"/>
                  </a:cubicBezTo>
                  <a:cubicBezTo>
                    <a:pt x="5773" y="6818"/>
                    <a:pt x="5773" y="6818"/>
                    <a:pt x="5773" y="6818"/>
                  </a:cubicBezTo>
                  <a:cubicBezTo>
                    <a:pt x="5743" y="6988"/>
                    <a:pt x="5743" y="6988"/>
                    <a:pt x="5743" y="6988"/>
                  </a:cubicBezTo>
                  <a:cubicBezTo>
                    <a:pt x="5123" y="6825"/>
                    <a:pt x="5123" y="6825"/>
                    <a:pt x="5123" y="6825"/>
                  </a:cubicBezTo>
                  <a:cubicBezTo>
                    <a:pt x="5119" y="6838"/>
                    <a:pt x="5119" y="6838"/>
                    <a:pt x="5119" y="6838"/>
                  </a:cubicBezTo>
                  <a:lnTo>
                    <a:pt x="5741" y="7001"/>
                  </a:lnTo>
                  <a:close/>
                  <a:moveTo>
                    <a:pt x="5107" y="7079"/>
                  </a:moveTo>
                  <a:cubicBezTo>
                    <a:pt x="5103" y="7084"/>
                    <a:pt x="5103" y="7084"/>
                    <a:pt x="5103" y="7084"/>
                  </a:cubicBezTo>
                  <a:cubicBezTo>
                    <a:pt x="5103" y="7084"/>
                    <a:pt x="5103" y="7084"/>
                    <a:pt x="5103" y="7084"/>
                  </a:cubicBezTo>
                  <a:lnTo>
                    <a:pt x="5107" y="7079"/>
                  </a:lnTo>
                  <a:close/>
                  <a:moveTo>
                    <a:pt x="5081" y="6915"/>
                  </a:moveTo>
                  <a:cubicBezTo>
                    <a:pt x="5081" y="6915"/>
                    <a:pt x="5081" y="6915"/>
                    <a:pt x="5081" y="6915"/>
                  </a:cubicBezTo>
                  <a:cubicBezTo>
                    <a:pt x="5081" y="6915"/>
                    <a:pt x="5081" y="6915"/>
                    <a:pt x="5081" y="6915"/>
                  </a:cubicBezTo>
                  <a:cubicBezTo>
                    <a:pt x="5081" y="6916"/>
                    <a:pt x="5081" y="6917"/>
                    <a:pt x="5081" y="6918"/>
                  </a:cubicBezTo>
                  <a:cubicBezTo>
                    <a:pt x="5082" y="6921"/>
                    <a:pt x="5082" y="6925"/>
                    <a:pt x="5082" y="6930"/>
                  </a:cubicBezTo>
                  <a:cubicBezTo>
                    <a:pt x="5083" y="6940"/>
                    <a:pt x="5084" y="6953"/>
                    <a:pt x="5085" y="6969"/>
                  </a:cubicBezTo>
                  <a:cubicBezTo>
                    <a:pt x="5086" y="7002"/>
                    <a:pt x="5087" y="7044"/>
                    <a:pt x="5089" y="7086"/>
                  </a:cubicBezTo>
                  <a:cubicBezTo>
                    <a:pt x="5090" y="7142"/>
                    <a:pt x="5091" y="7197"/>
                    <a:pt x="5092" y="7228"/>
                  </a:cubicBezTo>
                  <a:cubicBezTo>
                    <a:pt x="4722" y="7154"/>
                    <a:pt x="4722" y="7154"/>
                    <a:pt x="4722" y="7154"/>
                  </a:cubicBezTo>
                  <a:cubicBezTo>
                    <a:pt x="4809" y="6685"/>
                    <a:pt x="4809" y="6685"/>
                    <a:pt x="4809" y="6685"/>
                  </a:cubicBezTo>
                  <a:cubicBezTo>
                    <a:pt x="5132" y="6755"/>
                    <a:pt x="5132" y="6755"/>
                    <a:pt x="5132" y="6755"/>
                  </a:cubicBezTo>
                  <a:cubicBezTo>
                    <a:pt x="5135" y="6742"/>
                    <a:pt x="5135" y="6742"/>
                    <a:pt x="5135" y="6742"/>
                  </a:cubicBezTo>
                  <a:cubicBezTo>
                    <a:pt x="4811" y="6671"/>
                    <a:pt x="4811" y="6671"/>
                    <a:pt x="4811" y="6671"/>
                  </a:cubicBezTo>
                  <a:cubicBezTo>
                    <a:pt x="4861" y="6404"/>
                    <a:pt x="4861" y="6404"/>
                    <a:pt x="4861" y="6404"/>
                  </a:cubicBezTo>
                  <a:cubicBezTo>
                    <a:pt x="5244" y="6456"/>
                    <a:pt x="5244" y="6456"/>
                    <a:pt x="5244" y="6456"/>
                  </a:cubicBezTo>
                  <a:cubicBezTo>
                    <a:pt x="5234" y="6563"/>
                    <a:pt x="5225" y="6659"/>
                    <a:pt x="5221" y="6688"/>
                  </a:cubicBezTo>
                  <a:cubicBezTo>
                    <a:pt x="5156" y="6699"/>
                    <a:pt x="5156" y="6699"/>
                    <a:pt x="5156" y="6699"/>
                  </a:cubicBezTo>
                  <a:cubicBezTo>
                    <a:pt x="5155" y="6703"/>
                    <a:pt x="5155" y="6703"/>
                    <a:pt x="5155" y="6703"/>
                  </a:cubicBezTo>
                  <a:cubicBezTo>
                    <a:pt x="5155" y="6703"/>
                    <a:pt x="5136" y="6749"/>
                    <a:pt x="5117" y="6797"/>
                  </a:cubicBezTo>
                  <a:cubicBezTo>
                    <a:pt x="5099" y="6846"/>
                    <a:pt x="5080" y="6895"/>
                    <a:pt x="5080" y="6910"/>
                  </a:cubicBezTo>
                  <a:cubicBezTo>
                    <a:pt x="5080" y="6911"/>
                    <a:pt x="5080" y="6913"/>
                    <a:pt x="5081" y="6915"/>
                  </a:cubicBezTo>
                  <a:close/>
                  <a:moveTo>
                    <a:pt x="5264" y="6382"/>
                  </a:moveTo>
                  <a:cubicBezTo>
                    <a:pt x="5267" y="6347"/>
                    <a:pt x="5270" y="6311"/>
                    <a:pt x="5273" y="6278"/>
                  </a:cubicBezTo>
                  <a:cubicBezTo>
                    <a:pt x="5385" y="6297"/>
                    <a:pt x="5385" y="6297"/>
                    <a:pt x="5385" y="6297"/>
                  </a:cubicBezTo>
                  <a:cubicBezTo>
                    <a:pt x="5384" y="6305"/>
                    <a:pt x="5383" y="6312"/>
                    <a:pt x="5382" y="6318"/>
                  </a:cubicBezTo>
                  <a:cubicBezTo>
                    <a:pt x="5379" y="6334"/>
                    <a:pt x="5376" y="6348"/>
                    <a:pt x="5374" y="6356"/>
                  </a:cubicBezTo>
                  <a:cubicBezTo>
                    <a:pt x="5270" y="6338"/>
                    <a:pt x="5270" y="6338"/>
                    <a:pt x="5270" y="6338"/>
                  </a:cubicBezTo>
                  <a:cubicBezTo>
                    <a:pt x="5268" y="6352"/>
                    <a:pt x="5268" y="6352"/>
                    <a:pt x="5268" y="6352"/>
                  </a:cubicBezTo>
                  <a:cubicBezTo>
                    <a:pt x="5376" y="6370"/>
                    <a:pt x="5376" y="6370"/>
                    <a:pt x="5376" y="6370"/>
                  </a:cubicBezTo>
                  <a:cubicBezTo>
                    <a:pt x="5375" y="6373"/>
                    <a:pt x="5375" y="6373"/>
                    <a:pt x="5375" y="6373"/>
                  </a:cubicBezTo>
                  <a:cubicBezTo>
                    <a:pt x="5376" y="6374"/>
                    <a:pt x="5376" y="6374"/>
                    <a:pt x="5377" y="6374"/>
                  </a:cubicBezTo>
                  <a:cubicBezTo>
                    <a:pt x="5377" y="6374"/>
                    <a:pt x="5377" y="6374"/>
                    <a:pt x="5377" y="6374"/>
                  </a:cubicBezTo>
                  <a:cubicBezTo>
                    <a:pt x="5380" y="6373"/>
                    <a:pt x="5381" y="6372"/>
                    <a:pt x="5382" y="6371"/>
                  </a:cubicBezTo>
                  <a:cubicBezTo>
                    <a:pt x="5496" y="6390"/>
                    <a:pt x="5496" y="6390"/>
                    <a:pt x="5496" y="6390"/>
                  </a:cubicBezTo>
                  <a:cubicBezTo>
                    <a:pt x="5495" y="6395"/>
                    <a:pt x="5495" y="6395"/>
                    <a:pt x="5495" y="6395"/>
                  </a:cubicBezTo>
                  <a:cubicBezTo>
                    <a:pt x="5496" y="6395"/>
                    <a:pt x="5497" y="6395"/>
                    <a:pt x="5497" y="6395"/>
                  </a:cubicBezTo>
                  <a:cubicBezTo>
                    <a:pt x="5501" y="6394"/>
                    <a:pt x="5503" y="6393"/>
                    <a:pt x="5504" y="6392"/>
                  </a:cubicBezTo>
                  <a:cubicBezTo>
                    <a:pt x="5613" y="6410"/>
                    <a:pt x="5613" y="6410"/>
                    <a:pt x="5613" y="6410"/>
                  </a:cubicBezTo>
                  <a:cubicBezTo>
                    <a:pt x="5612" y="6414"/>
                    <a:pt x="5612" y="6414"/>
                    <a:pt x="5612" y="6414"/>
                  </a:cubicBezTo>
                  <a:cubicBezTo>
                    <a:pt x="5613" y="6414"/>
                    <a:pt x="5613" y="6414"/>
                    <a:pt x="5614" y="6414"/>
                  </a:cubicBezTo>
                  <a:cubicBezTo>
                    <a:pt x="5614" y="6414"/>
                    <a:pt x="5614" y="6414"/>
                    <a:pt x="5614" y="6414"/>
                  </a:cubicBezTo>
                  <a:cubicBezTo>
                    <a:pt x="5617" y="6413"/>
                    <a:pt x="5619" y="6412"/>
                    <a:pt x="5620" y="6411"/>
                  </a:cubicBezTo>
                  <a:cubicBezTo>
                    <a:pt x="5837" y="6447"/>
                    <a:pt x="5837" y="6447"/>
                    <a:pt x="5837" y="6447"/>
                  </a:cubicBezTo>
                  <a:cubicBezTo>
                    <a:pt x="5810" y="6606"/>
                    <a:pt x="5810" y="6606"/>
                    <a:pt x="5810" y="6606"/>
                  </a:cubicBezTo>
                  <a:cubicBezTo>
                    <a:pt x="5251" y="6524"/>
                    <a:pt x="5251" y="6524"/>
                    <a:pt x="5251" y="6524"/>
                  </a:cubicBezTo>
                  <a:cubicBezTo>
                    <a:pt x="5256" y="6479"/>
                    <a:pt x="5260" y="6431"/>
                    <a:pt x="5264" y="6382"/>
                  </a:cubicBezTo>
                  <a:close/>
                  <a:moveTo>
                    <a:pt x="5261" y="6262"/>
                  </a:moveTo>
                  <a:cubicBezTo>
                    <a:pt x="4878" y="6195"/>
                    <a:pt x="4878" y="6195"/>
                    <a:pt x="4878" y="6195"/>
                  </a:cubicBezTo>
                  <a:cubicBezTo>
                    <a:pt x="4900" y="6065"/>
                    <a:pt x="4900" y="6065"/>
                    <a:pt x="4900" y="6065"/>
                  </a:cubicBezTo>
                  <a:cubicBezTo>
                    <a:pt x="5272" y="6131"/>
                    <a:pt x="5272" y="6131"/>
                    <a:pt x="5272" y="6131"/>
                  </a:cubicBezTo>
                  <a:cubicBezTo>
                    <a:pt x="5269" y="6166"/>
                    <a:pt x="5265" y="6211"/>
                    <a:pt x="5261" y="6262"/>
                  </a:cubicBezTo>
                  <a:close/>
                  <a:moveTo>
                    <a:pt x="5388" y="6358"/>
                  </a:moveTo>
                  <a:cubicBezTo>
                    <a:pt x="5388" y="6358"/>
                    <a:pt x="5388" y="6358"/>
                    <a:pt x="5388" y="6357"/>
                  </a:cubicBezTo>
                  <a:cubicBezTo>
                    <a:pt x="5390" y="6350"/>
                    <a:pt x="5392" y="6340"/>
                    <a:pt x="5394" y="6328"/>
                  </a:cubicBezTo>
                  <a:cubicBezTo>
                    <a:pt x="5396" y="6319"/>
                    <a:pt x="5398" y="6310"/>
                    <a:pt x="5399" y="6300"/>
                  </a:cubicBezTo>
                  <a:cubicBezTo>
                    <a:pt x="5506" y="6319"/>
                    <a:pt x="5506" y="6319"/>
                    <a:pt x="5506" y="6319"/>
                  </a:cubicBezTo>
                  <a:cubicBezTo>
                    <a:pt x="5504" y="6326"/>
                    <a:pt x="5503" y="6333"/>
                    <a:pt x="5502" y="6340"/>
                  </a:cubicBezTo>
                  <a:cubicBezTo>
                    <a:pt x="5499" y="6355"/>
                    <a:pt x="5497" y="6368"/>
                    <a:pt x="5494" y="6376"/>
                  </a:cubicBezTo>
                  <a:lnTo>
                    <a:pt x="5388" y="6358"/>
                  </a:lnTo>
                  <a:close/>
                  <a:moveTo>
                    <a:pt x="5508" y="6378"/>
                  </a:moveTo>
                  <a:cubicBezTo>
                    <a:pt x="5510" y="6371"/>
                    <a:pt x="5512" y="6361"/>
                    <a:pt x="5514" y="6349"/>
                  </a:cubicBezTo>
                  <a:cubicBezTo>
                    <a:pt x="5516" y="6341"/>
                    <a:pt x="5518" y="6331"/>
                    <a:pt x="5519" y="6321"/>
                  </a:cubicBezTo>
                  <a:cubicBezTo>
                    <a:pt x="5622" y="6339"/>
                    <a:pt x="5622" y="6339"/>
                    <a:pt x="5622" y="6339"/>
                  </a:cubicBezTo>
                  <a:cubicBezTo>
                    <a:pt x="5621" y="6346"/>
                    <a:pt x="5620" y="6352"/>
                    <a:pt x="5619" y="6358"/>
                  </a:cubicBezTo>
                  <a:cubicBezTo>
                    <a:pt x="5616" y="6374"/>
                    <a:pt x="5613" y="6388"/>
                    <a:pt x="5611" y="6396"/>
                  </a:cubicBezTo>
                  <a:lnTo>
                    <a:pt x="5508" y="6378"/>
                  </a:lnTo>
                  <a:close/>
                  <a:moveTo>
                    <a:pt x="5731" y="6416"/>
                  </a:moveTo>
                  <a:cubicBezTo>
                    <a:pt x="5625" y="6398"/>
                    <a:pt x="5625" y="6398"/>
                    <a:pt x="5625" y="6398"/>
                  </a:cubicBezTo>
                  <a:cubicBezTo>
                    <a:pt x="5625" y="6398"/>
                    <a:pt x="5625" y="6398"/>
                    <a:pt x="5625" y="6397"/>
                  </a:cubicBezTo>
                  <a:cubicBezTo>
                    <a:pt x="5627" y="6390"/>
                    <a:pt x="5629" y="6380"/>
                    <a:pt x="5631" y="6368"/>
                  </a:cubicBezTo>
                  <a:cubicBezTo>
                    <a:pt x="5633" y="6360"/>
                    <a:pt x="5634" y="6351"/>
                    <a:pt x="5636" y="6342"/>
                  </a:cubicBezTo>
                  <a:cubicBezTo>
                    <a:pt x="5741" y="6360"/>
                    <a:pt x="5741" y="6360"/>
                    <a:pt x="5741" y="6360"/>
                  </a:cubicBezTo>
                  <a:cubicBezTo>
                    <a:pt x="5740" y="6364"/>
                    <a:pt x="5740" y="6367"/>
                    <a:pt x="5739" y="6370"/>
                  </a:cubicBezTo>
                  <a:cubicBezTo>
                    <a:pt x="5735" y="6394"/>
                    <a:pt x="5730" y="6412"/>
                    <a:pt x="5729" y="6414"/>
                  </a:cubicBezTo>
                  <a:cubicBezTo>
                    <a:pt x="5729" y="6414"/>
                    <a:pt x="5729" y="6414"/>
                    <a:pt x="5729" y="6414"/>
                  </a:cubicBezTo>
                  <a:cubicBezTo>
                    <a:pt x="5729" y="6414"/>
                    <a:pt x="5729" y="6414"/>
                    <a:pt x="5729" y="6414"/>
                  </a:cubicBezTo>
                  <a:lnTo>
                    <a:pt x="5731" y="6416"/>
                  </a:lnTo>
                  <a:close/>
                  <a:moveTo>
                    <a:pt x="6419" y="7115"/>
                  </a:moveTo>
                  <a:cubicBezTo>
                    <a:pt x="6418" y="7121"/>
                    <a:pt x="6418" y="7121"/>
                    <a:pt x="6418" y="7121"/>
                  </a:cubicBezTo>
                  <a:cubicBezTo>
                    <a:pt x="6413" y="7121"/>
                    <a:pt x="6413" y="7121"/>
                    <a:pt x="6413" y="7121"/>
                  </a:cubicBezTo>
                  <a:cubicBezTo>
                    <a:pt x="6098" y="7022"/>
                    <a:pt x="6098" y="7022"/>
                    <a:pt x="6098" y="7022"/>
                  </a:cubicBezTo>
                  <a:cubicBezTo>
                    <a:pt x="5808" y="6996"/>
                    <a:pt x="5808" y="6996"/>
                    <a:pt x="5808" y="6996"/>
                  </a:cubicBezTo>
                  <a:cubicBezTo>
                    <a:pt x="5836" y="6832"/>
                    <a:pt x="5836" y="6832"/>
                    <a:pt x="5836" y="6832"/>
                  </a:cubicBezTo>
                  <a:cubicBezTo>
                    <a:pt x="5918" y="6847"/>
                    <a:pt x="6323" y="6919"/>
                    <a:pt x="6340" y="6919"/>
                  </a:cubicBezTo>
                  <a:cubicBezTo>
                    <a:pt x="6340" y="6919"/>
                    <a:pt x="6341" y="6919"/>
                    <a:pt x="6341" y="6919"/>
                  </a:cubicBezTo>
                  <a:cubicBezTo>
                    <a:pt x="6341" y="6919"/>
                    <a:pt x="6341" y="6919"/>
                    <a:pt x="6341" y="6919"/>
                  </a:cubicBezTo>
                  <a:cubicBezTo>
                    <a:pt x="6343" y="6919"/>
                    <a:pt x="6348" y="6919"/>
                    <a:pt x="6356" y="6920"/>
                  </a:cubicBezTo>
                  <a:cubicBezTo>
                    <a:pt x="6355" y="6924"/>
                    <a:pt x="6355" y="6924"/>
                    <a:pt x="6355" y="6924"/>
                  </a:cubicBezTo>
                  <a:lnTo>
                    <a:pt x="6419" y="7115"/>
                  </a:lnTo>
                  <a:close/>
                  <a:moveTo>
                    <a:pt x="6471" y="6339"/>
                  </a:moveTo>
                  <a:cubicBezTo>
                    <a:pt x="6466" y="6399"/>
                    <a:pt x="6466" y="6399"/>
                    <a:pt x="6466" y="6399"/>
                  </a:cubicBezTo>
                  <a:cubicBezTo>
                    <a:pt x="6370" y="6392"/>
                    <a:pt x="6370" y="6392"/>
                    <a:pt x="6370" y="6392"/>
                  </a:cubicBezTo>
                  <a:cubicBezTo>
                    <a:pt x="6375" y="6289"/>
                    <a:pt x="6375" y="6289"/>
                    <a:pt x="6375" y="6289"/>
                  </a:cubicBezTo>
                  <a:cubicBezTo>
                    <a:pt x="6428" y="6293"/>
                    <a:pt x="6428" y="6293"/>
                    <a:pt x="6428" y="6293"/>
                  </a:cubicBezTo>
                  <a:cubicBezTo>
                    <a:pt x="6424" y="6336"/>
                    <a:pt x="6424" y="6336"/>
                    <a:pt x="6424" y="6336"/>
                  </a:cubicBezTo>
                  <a:lnTo>
                    <a:pt x="6471" y="6339"/>
                  </a:lnTo>
                  <a:close/>
                  <a:moveTo>
                    <a:pt x="6478" y="6413"/>
                  </a:moveTo>
                  <a:cubicBezTo>
                    <a:pt x="6485" y="6327"/>
                    <a:pt x="6485" y="6327"/>
                    <a:pt x="6485" y="6327"/>
                  </a:cubicBezTo>
                  <a:cubicBezTo>
                    <a:pt x="6438" y="6324"/>
                    <a:pt x="6438" y="6324"/>
                    <a:pt x="6438" y="6324"/>
                  </a:cubicBezTo>
                  <a:cubicBezTo>
                    <a:pt x="6442" y="6281"/>
                    <a:pt x="6442" y="6281"/>
                    <a:pt x="6442" y="6281"/>
                  </a:cubicBezTo>
                  <a:cubicBezTo>
                    <a:pt x="6376" y="6276"/>
                    <a:pt x="6376" y="6276"/>
                    <a:pt x="6376" y="6276"/>
                  </a:cubicBezTo>
                  <a:cubicBezTo>
                    <a:pt x="6376" y="6261"/>
                    <a:pt x="6376" y="6261"/>
                    <a:pt x="6376" y="6261"/>
                  </a:cubicBezTo>
                  <a:cubicBezTo>
                    <a:pt x="6529" y="6279"/>
                    <a:pt x="6529" y="6279"/>
                    <a:pt x="6529" y="6279"/>
                  </a:cubicBezTo>
                  <a:cubicBezTo>
                    <a:pt x="6499" y="6544"/>
                    <a:pt x="6499" y="6544"/>
                    <a:pt x="6499" y="6544"/>
                  </a:cubicBezTo>
                  <a:cubicBezTo>
                    <a:pt x="6363" y="6530"/>
                    <a:pt x="6363" y="6530"/>
                    <a:pt x="6363" y="6530"/>
                  </a:cubicBezTo>
                  <a:cubicBezTo>
                    <a:pt x="6369" y="6405"/>
                    <a:pt x="6369" y="6405"/>
                    <a:pt x="6369" y="6405"/>
                  </a:cubicBezTo>
                  <a:lnTo>
                    <a:pt x="6478" y="6413"/>
                  </a:lnTo>
                  <a:close/>
                  <a:moveTo>
                    <a:pt x="6793" y="6375"/>
                  </a:moveTo>
                  <a:cubicBezTo>
                    <a:pt x="6788" y="6435"/>
                    <a:pt x="6788" y="6435"/>
                    <a:pt x="6788" y="6435"/>
                  </a:cubicBezTo>
                  <a:cubicBezTo>
                    <a:pt x="6697" y="6427"/>
                    <a:pt x="6697" y="6427"/>
                    <a:pt x="6697" y="6427"/>
                  </a:cubicBezTo>
                  <a:cubicBezTo>
                    <a:pt x="6710" y="6325"/>
                    <a:pt x="6710" y="6325"/>
                    <a:pt x="6710" y="6325"/>
                  </a:cubicBezTo>
                  <a:cubicBezTo>
                    <a:pt x="6750" y="6328"/>
                    <a:pt x="6750" y="6328"/>
                    <a:pt x="6750" y="6328"/>
                  </a:cubicBezTo>
                  <a:cubicBezTo>
                    <a:pt x="6746" y="6371"/>
                    <a:pt x="6746" y="6371"/>
                    <a:pt x="6746" y="6371"/>
                  </a:cubicBezTo>
                  <a:lnTo>
                    <a:pt x="6793" y="6375"/>
                  </a:lnTo>
                  <a:close/>
                  <a:moveTo>
                    <a:pt x="6698" y="6311"/>
                  </a:moveTo>
                  <a:cubicBezTo>
                    <a:pt x="6647" y="6307"/>
                    <a:pt x="6647" y="6307"/>
                    <a:pt x="6647" y="6307"/>
                  </a:cubicBezTo>
                  <a:cubicBezTo>
                    <a:pt x="6644" y="6350"/>
                    <a:pt x="6644" y="6350"/>
                    <a:pt x="6644" y="6350"/>
                  </a:cubicBezTo>
                  <a:cubicBezTo>
                    <a:pt x="6597" y="6346"/>
                    <a:pt x="6597" y="6346"/>
                    <a:pt x="6597" y="6346"/>
                  </a:cubicBezTo>
                  <a:cubicBezTo>
                    <a:pt x="6591" y="6426"/>
                    <a:pt x="6591" y="6426"/>
                    <a:pt x="6591" y="6426"/>
                  </a:cubicBezTo>
                  <a:cubicBezTo>
                    <a:pt x="6590" y="6432"/>
                    <a:pt x="6590" y="6432"/>
                    <a:pt x="6590" y="6432"/>
                  </a:cubicBezTo>
                  <a:cubicBezTo>
                    <a:pt x="6681" y="6439"/>
                    <a:pt x="6681" y="6439"/>
                    <a:pt x="6681" y="6439"/>
                  </a:cubicBezTo>
                  <a:cubicBezTo>
                    <a:pt x="6675" y="6483"/>
                    <a:pt x="6675" y="6483"/>
                    <a:pt x="6675" y="6483"/>
                  </a:cubicBezTo>
                  <a:cubicBezTo>
                    <a:pt x="6689" y="6485"/>
                    <a:pt x="6689" y="6485"/>
                    <a:pt x="6689" y="6485"/>
                  </a:cubicBezTo>
                  <a:cubicBezTo>
                    <a:pt x="6695" y="6440"/>
                    <a:pt x="6695" y="6440"/>
                    <a:pt x="6695" y="6440"/>
                  </a:cubicBezTo>
                  <a:cubicBezTo>
                    <a:pt x="6800" y="6449"/>
                    <a:pt x="6800" y="6449"/>
                    <a:pt x="6800" y="6449"/>
                  </a:cubicBezTo>
                  <a:cubicBezTo>
                    <a:pt x="6807" y="6363"/>
                    <a:pt x="6807" y="6363"/>
                    <a:pt x="6807" y="6363"/>
                  </a:cubicBezTo>
                  <a:cubicBezTo>
                    <a:pt x="6760" y="6359"/>
                    <a:pt x="6760" y="6359"/>
                    <a:pt x="6760" y="6359"/>
                  </a:cubicBezTo>
                  <a:cubicBezTo>
                    <a:pt x="6764" y="6316"/>
                    <a:pt x="6764" y="6316"/>
                    <a:pt x="6764" y="6316"/>
                  </a:cubicBezTo>
                  <a:cubicBezTo>
                    <a:pt x="6712" y="6312"/>
                    <a:pt x="6712" y="6312"/>
                    <a:pt x="6712" y="6312"/>
                  </a:cubicBezTo>
                  <a:cubicBezTo>
                    <a:pt x="6714" y="6301"/>
                    <a:pt x="6714" y="6301"/>
                    <a:pt x="6714" y="6301"/>
                  </a:cubicBezTo>
                  <a:cubicBezTo>
                    <a:pt x="6857" y="6318"/>
                    <a:pt x="6857" y="6318"/>
                    <a:pt x="6857" y="6318"/>
                  </a:cubicBezTo>
                  <a:cubicBezTo>
                    <a:pt x="6853" y="6336"/>
                    <a:pt x="6848" y="6363"/>
                    <a:pt x="6843" y="6391"/>
                  </a:cubicBezTo>
                  <a:cubicBezTo>
                    <a:pt x="6834" y="6439"/>
                    <a:pt x="6822" y="6491"/>
                    <a:pt x="6817" y="6500"/>
                  </a:cubicBezTo>
                  <a:cubicBezTo>
                    <a:pt x="6817" y="6500"/>
                    <a:pt x="6817" y="6500"/>
                    <a:pt x="6817" y="6500"/>
                  </a:cubicBezTo>
                  <a:cubicBezTo>
                    <a:pt x="6821" y="6504"/>
                    <a:pt x="6821" y="6504"/>
                    <a:pt x="6821" y="6504"/>
                  </a:cubicBezTo>
                  <a:cubicBezTo>
                    <a:pt x="6821" y="6498"/>
                    <a:pt x="6821" y="6498"/>
                    <a:pt x="6821" y="6498"/>
                  </a:cubicBezTo>
                  <a:cubicBezTo>
                    <a:pt x="6821" y="6505"/>
                    <a:pt x="6821" y="6505"/>
                    <a:pt x="6821" y="6505"/>
                  </a:cubicBezTo>
                  <a:cubicBezTo>
                    <a:pt x="6818" y="6510"/>
                    <a:pt x="6818" y="6510"/>
                    <a:pt x="6818" y="6510"/>
                  </a:cubicBezTo>
                  <a:cubicBezTo>
                    <a:pt x="6816" y="6509"/>
                    <a:pt x="6814" y="6509"/>
                    <a:pt x="6811" y="6509"/>
                  </a:cubicBezTo>
                  <a:cubicBezTo>
                    <a:pt x="6685" y="6489"/>
                    <a:pt x="6559" y="6469"/>
                    <a:pt x="6522" y="6463"/>
                  </a:cubicBezTo>
                  <a:cubicBezTo>
                    <a:pt x="6543" y="6280"/>
                    <a:pt x="6543" y="6280"/>
                    <a:pt x="6543" y="6280"/>
                  </a:cubicBezTo>
                  <a:cubicBezTo>
                    <a:pt x="6700" y="6299"/>
                    <a:pt x="6700" y="6299"/>
                    <a:pt x="6700" y="6299"/>
                  </a:cubicBezTo>
                  <a:lnTo>
                    <a:pt x="6698" y="6311"/>
                  </a:lnTo>
                  <a:close/>
                  <a:moveTo>
                    <a:pt x="6696" y="6324"/>
                  </a:moveTo>
                  <a:cubicBezTo>
                    <a:pt x="6683" y="6426"/>
                    <a:pt x="6683" y="6426"/>
                    <a:pt x="6683" y="6426"/>
                  </a:cubicBezTo>
                  <a:cubicBezTo>
                    <a:pt x="6605" y="6420"/>
                    <a:pt x="6605" y="6420"/>
                    <a:pt x="6605" y="6420"/>
                  </a:cubicBezTo>
                  <a:cubicBezTo>
                    <a:pt x="6609" y="6360"/>
                    <a:pt x="6609" y="6360"/>
                    <a:pt x="6609" y="6360"/>
                  </a:cubicBezTo>
                  <a:cubicBezTo>
                    <a:pt x="6656" y="6364"/>
                    <a:pt x="6656" y="6364"/>
                    <a:pt x="6656" y="6364"/>
                  </a:cubicBezTo>
                  <a:cubicBezTo>
                    <a:pt x="6659" y="6321"/>
                    <a:pt x="6659" y="6321"/>
                    <a:pt x="6659" y="6321"/>
                  </a:cubicBezTo>
                  <a:lnTo>
                    <a:pt x="6696" y="6324"/>
                  </a:lnTo>
                  <a:close/>
                  <a:moveTo>
                    <a:pt x="7205" y="7110"/>
                  </a:moveTo>
                  <a:cubicBezTo>
                    <a:pt x="7205" y="7110"/>
                    <a:pt x="7207" y="7131"/>
                    <a:pt x="7210" y="7160"/>
                  </a:cubicBezTo>
                  <a:cubicBezTo>
                    <a:pt x="7076" y="7141"/>
                    <a:pt x="7076" y="7141"/>
                    <a:pt x="7076" y="7141"/>
                  </a:cubicBezTo>
                  <a:cubicBezTo>
                    <a:pt x="7106" y="6940"/>
                    <a:pt x="7106" y="6940"/>
                    <a:pt x="7106" y="6940"/>
                  </a:cubicBezTo>
                  <a:cubicBezTo>
                    <a:pt x="7180" y="6954"/>
                    <a:pt x="7367" y="6988"/>
                    <a:pt x="7412" y="6997"/>
                  </a:cubicBezTo>
                  <a:cubicBezTo>
                    <a:pt x="7350" y="7084"/>
                    <a:pt x="7350" y="7084"/>
                    <a:pt x="7350" y="7084"/>
                  </a:cubicBezTo>
                  <a:cubicBezTo>
                    <a:pt x="7204" y="7103"/>
                    <a:pt x="7204" y="7103"/>
                    <a:pt x="7204" y="7103"/>
                  </a:cubicBezTo>
                  <a:lnTo>
                    <a:pt x="7205" y="7110"/>
                  </a:lnTo>
                  <a:close/>
                  <a:moveTo>
                    <a:pt x="7072" y="6713"/>
                  </a:moveTo>
                  <a:cubicBezTo>
                    <a:pt x="7012" y="6703"/>
                    <a:pt x="7012" y="6703"/>
                    <a:pt x="7012" y="6703"/>
                  </a:cubicBezTo>
                  <a:cubicBezTo>
                    <a:pt x="7021" y="6654"/>
                    <a:pt x="7021" y="6654"/>
                    <a:pt x="7021" y="6654"/>
                  </a:cubicBezTo>
                  <a:cubicBezTo>
                    <a:pt x="7022" y="6647"/>
                    <a:pt x="7022" y="6647"/>
                    <a:pt x="7022" y="6647"/>
                  </a:cubicBezTo>
                  <a:cubicBezTo>
                    <a:pt x="6866" y="6621"/>
                    <a:pt x="6866" y="6621"/>
                    <a:pt x="6866" y="6621"/>
                  </a:cubicBezTo>
                  <a:cubicBezTo>
                    <a:pt x="6856" y="6677"/>
                    <a:pt x="6856" y="6677"/>
                    <a:pt x="6856" y="6677"/>
                  </a:cubicBezTo>
                  <a:cubicBezTo>
                    <a:pt x="6504" y="6618"/>
                    <a:pt x="6504" y="6618"/>
                    <a:pt x="6504" y="6618"/>
                  </a:cubicBezTo>
                  <a:cubicBezTo>
                    <a:pt x="6520" y="6477"/>
                    <a:pt x="6520" y="6477"/>
                    <a:pt x="6520" y="6477"/>
                  </a:cubicBezTo>
                  <a:cubicBezTo>
                    <a:pt x="6594" y="6489"/>
                    <a:pt x="7008" y="6553"/>
                    <a:pt x="7094" y="6568"/>
                  </a:cubicBezTo>
                  <a:lnTo>
                    <a:pt x="7072" y="6713"/>
                  </a:lnTo>
                  <a:close/>
                  <a:moveTo>
                    <a:pt x="6816" y="6973"/>
                  </a:moveTo>
                  <a:cubicBezTo>
                    <a:pt x="6840" y="6841"/>
                    <a:pt x="6840" y="6841"/>
                    <a:pt x="6840" y="6841"/>
                  </a:cubicBezTo>
                  <a:cubicBezTo>
                    <a:pt x="6969" y="6862"/>
                    <a:pt x="6969" y="6862"/>
                    <a:pt x="6969" y="6862"/>
                  </a:cubicBezTo>
                  <a:cubicBezTo>
                    <a:pt x="6945" y="6992"/>
                    <a:pt x="6945" y="6992"/>
                    <a:pt x="6945" y="6992"/>
                  </a:cubicBezTo>
                  <a:cubicBezTo>
                    <a:pt x="6908" y="6987"/>
                    <a:pt x="6863" y="6980"/>
                    <a:pt x="6816" y="6973"/>
                  </a:cubicBezTo>
                  <a:close/>
                  <a:moveTo>
                    <a:pt x="6943" y="7006"/>
                  </a:moveTo>
                  <a:cubicBezTo>
                    <a:pt x="6910" y="7185"/>
                    <a:pt x="6910" y="7185"/>
                    <a:pt x="6910" y="7185"/>
                  </a:cubicBezTo>
                  <a:cubicBezTo>
                    <a:pt x="6780" y="7168"/>
                    <a:pt x="6780" y="7168"/>
                    <a:pt x="6780" y="7168"/>
                  </a:cubicBezTo>
                  <a:cubicBezTo>
                    <a:pt x="6813" y="6987"/>
                    <a:pt x="6813" y="6987"/>
                    <a:pt x="6813" y="6987"/>
                  </a:cubicBezTo>
                  <a:cubicBezTo>
                    <a:pt x="6861" y="6994"/>
                    <a:pt x="6905" y="7000"/>
                    <a:pt x="6943" y="7006"/>
                  </a:cubicBezTo>
                  <a:close/>
                  <a:moveTo>
                    <a:pt x="6842" y="6827"/>
                  </a:moveTo>
                  <a:cubicBezTo>
                    <a:pt x="6867" y="6693"/>
                    <a:pt x="6867" y="6693"/>
                    <a:pt x="6867" y="6693"/>
                  </a:cubicBezTo>
                  <a:cubicBezTo>
                    <a:pt x="6996" y="6715"/>
                    <a:pt x="6996" y="6715"/>
                    <a:pt x="6996" y="6715"/>
                  </a:cubicBezTo>
                  <a:cubicBezTo>
                    <a:pt x="6972" y="6849"/>
                    <a:pt x="6972" y="6849"/>
                    <a:pt x="6972" y="6849"/>
                  </a:cubicBezTo>
                  <a:lnTo>
                    <a:pt x="6842" y="6827"/>
                  </a:lnTo>
                  <a:close/>
                  <a:moveTo>
                    <a:pt x="6869" y="6679"/>
                  </a:moveTo>
                  <a:cubicBezTo>
                    <a:pt x="6877" y="6636"/>
                    <a:pt x="6877" y="6636"/>
                    <a:pt x="6877" y="6636"/>
                  </a:cubicBezTo>
                  <a:cubicBezTo>
                    <a:pt x="7006" y="6658"/>
                    <a:pt x="7006" y="6658"/>
                    <a:pt x="7006" y="6658"/>
                  </a:cubicBezTo>
                  <a:cubicBezTo>
                    <a:pt x="6999" y="6701"/>
                    <a:pt x="6999" y="6701"/>
                    <a:pt x="6999" y="6701"/>
                  </a:cubicBezTo>
                  <a:lnTo>
                    <a:pt x="6869" y="6679"/>
                  </a:lnTo>
                  <a:close/>
                  <a:moveTo>
                    <a:pt x="7009" y="6717"/>
                  </a:moveTo>
                  <a:cubicBezTo>
                    <a:pt x="7070" y="6727"/>
                    <a:pt x="7070" y="6727"/>
                    <a:pt x="7070" y="6727"/>
                  </a:cubicBezTo>
                  <a:cubicBezTo>
                    <a:pt x="7051" y="6862"/>
                    <a:pt x="7051" y="6862"/>
                    <a:pt x="7051" y="6862"/>
                  </a:cubicBezTo>
                  <a:cubicBezTo>
                    <a:pt x="6985" y="6851"/>
                    <a:pt x="6985" y="6851"/>
                    <a:pt x="6985" y="6851"/>
                  </a:cubicBezTo>
                  <a:lnTo>
                    <a:pt x="7009" y="6717"/>
                  </a:lnTo>
                  <a:close/>
                  <a:moveTo>
                    <a:pt x="6502" y="6632"/>
                  </a:moveTo>
                  <a:cubicBezTo>
                    <a:pt x="6854" y="6691"/>
                    <a:pt x="6854" y="6691"/>
                    <a:pt x="6854" y="6691"/>
                  </a:cubicBezTo>
                  <a:cubicBezTo>
                    <a:pt x="6829" y="6825"/>
                    <a:pt x="6829" y="6825"/>
                    <a:pt x="6829" y="6825"/>
                  </a:cubicBezTo>
                  <a:cubicBezTo>
                    <a:pt x="6487" y="6769"/>
                    <a:pt x="6487" y="6769"/>
                    <a:pt x="6487" y="6769"/>
                  </a:cubicBezTo>
                  <a:lnTo>
                    <a:pt x="6502" y="6632"/>
                  </a:lnTo>
                  <a:close/>
                  <a:moveTo>
                    <a:pt x="6827" y="6839"/>
                  </a:moveTo>
                  <a:cubicBezTo>
                    <a:pt x="6803" y="6971"/>
                    <a:pt x="6803" y="6971"/>
                    <a:pt x="6803" y="6971"/>
                  </a:cubicBezTo>
                  <a:cubicBezTo>
                    <a:pt x="6640" y="6947"/>
                    <a:pt x="6449" y="6919"/>
                    <a:pt x="6373" y="6909"/>
                  </a:cubicBezTo>
                  <a:cubicBezTo>
                    <a:pt x="6405" y="6789"/>
                    <a:pt x="6405" y="6789"/>
                    <a:pt x="6405" y="6789"/>
                  </a:cubicBezTo>
                  <a:cubicBezTo>
                    <a:pt x="6470" y="6780"/>
                    <a:pt x="6470" y="6780"/>
                    <a:pt x="6470" y="6780"/>
                  </a:cubicBezTo>
                  <a:lnTo>
                    <a:pt x="6827" y="6839"/>
                  </a:lnTo>
                  <a:close/>
                  <a:moveTo>
                    <a:pt x="6707" y="6971"/>
                  </a:moveTo>
                  <a:cubicBezTo>
                    <a:pt x="6739" y="6976"/>
                    <a:pt x="6770" y="6980"/>
                    <a:pt x="6800" y="6985"/>
                  </a:cubicBezTo>
                  <a:cubicBezTo>
                    <a:pt x="6767" y="7167"/>
                    <a:pt x="6767" y="7167"/>
                    <a:pt x="6767" y="7167"/>
                  </a:cubicBezTo>
                  <a:cubicBezTo>
                    <a:pt x="6432" y="7123"/>
                    <a:pt x="6432" y="7123"/>
                    <a:pt x="6432" y="7123"/>
                  </a:cubicBezTo>
                  <a:cubicBezTo>
                    <a:pt x="6434" y="7115"/>
                    <a:pt x="6434" y="7115"/>
                    <a:pt x="6434" y="7115"/>
                  </a:cubicBezTo>
                  <a:cubicBezTo>
                    <a:pt x="6369" y="6924"/>
                    <a:pt x="6369" y="6924"/>
                    <a:pt x="6369" y="6924"/>
                  </a:cubicBezTo>
                  <a:cubicBezTo>
                    <a:pt x="6370" y="6922"/>
                    <a:pt x="6370" y="6922"/>
                    <a:pt x="6370" y="6922"/>
                  </a:cubicBezTo>
                  <a:cubicBezTo>
                    <a:pt x="6429" y="6930"/>
                    <a:pt x="6569" y="6951"/>
                    <a:pt x="6707" y="6971"/>
                  </a:cubicBezTo>
                  <a:close/>
                  <a:moveTo>
                    <a:pt x="5807" y="6620"/>
                  </a:moveTo>
                  <a:cubicBezTo>
                    <a:pt x="5775" y="6804"/>
                    <a:pt x="5775" y="6804"/>
                    <a:pt x="5775" y="6804"/>
                  </a:cubicBezTo>
                  <a:cubicBezTo>
                    <a:pt x="5234" y="6694"/>
                    <a:pt x="5234" y="6694"/>
                    <a:pt x="5234" y="6694"/>
                  </a:cubicBezTo>
                  <a:cubicBezTo>
                    <a:pt x="5234" y="6693"/>
                    <a:pt x="5234" y="6693"/>
                    <a:pt x="5234" y="6692"/>
                  </a:cubicBezTo>
                  <a:cubicBezTo>
                    <a:pt x="5235" y="6687"/>
                    <a:pt x="5236" y="6680"/>
                    <a:pt x="5237" y="6671"/>
                  </a:cubicBezTo>
                  <a:cubicBezTo>
                    <a:pt x="5239" y="6654"/>
                    <a:pt x="5241" y="6629"/>
                    <a:pt x="5244" y="6599"/>
                  </a:cubicBezTo>
                  <a:cubicBezTo>
                    <a:pt x="5246" y="6580"/>
                    <a:pt x="5248" y="6559"/>
                    <a:pt x="5250" y="6537"/>
                  </a:cubicBezTo>
                  <a:lnTo>
                    <a:pt x="5807" y="6620"/>
                  </a:lnTo>
                  <a:close/>
                  <a:moveTo>
                    <a:pt x="5251" y="6373"/>
                  </a:moveTo>
                  <a:cubicBezTo>
                    <a:pt x="5249" y="6396"/>
                    <a:pt x="5247" y="6419"/>
                    <a:pt x="5245" y="6442"/>
                  </a:cubicBezTo>
                  <a:cubicBezTo>
                    <a:pt x="4863" y="6390"/>
                    <a:pt x="4863" y="6390"/>
                    <a:pt x="4863" y="6390"/>
                  </a:cubicBezTo>
                  <a:cubicBezTo>
                    <a:pt x="4875" y="6327"/>
                    <a:pt x="4875" y="6327"/>
                    <a:pt x="4875" y="6327"/>
                  </a:cubicBezTo>
                  <a:cubicBezTo>
                    <a:pt x="4876" y="6320"/>
                    <a:pt x="4876" y="6320"/>
                    <a:pt x="4876" y="6320"/>
                  </a:cubicBezTo>
                  <a:cubicBezTo>
                    <a:pt x="4721" y="6295"/>
                    <a:pt x="4721" y="6295"/>
                    <a:pt x="4721" y="6295"/>
                  </a:cubicBezTo>
                  <a:cubicBezTo>
                    <a:pt x="4707" y="6369"/>
                    <a:pt x="4707" y="6369"/>
                    <a:pt x="4707" y="6369"/>
                  </a:cubicBezTo>
                  <a:cubicBezTo>
                    <a:pt x="4673" y="6365"/>
                    <a:pt x="4673" y="6365"/>
                    <a:pt x="4673" y="6365"/>
                  </a:cubicBezTo>
                  <a:cubicBezTo>
                    <a:pt x="4682" y="6320"/>
                    <a:pt x="4691" y="6276"/>
                    <a:pt x="4700" y="6231"/>
                  </a:cubicBezTo>
                  <a:cubicBezTo>
                    <a:pt x="5256" y="6320"/>
                    <a:pt x="5256" y="6320"/>
                    <a:pt x="5256" y="6320"/>
                  </a:cubicBezTo>
                  <a:cubicBezTo>
                    <a:pt x="5254" y="6338"/>
                    <a:pt x="5253" y="6356"/>
                    <a:pt x="5251" y="6373"/>
                  </a:cubicBezTo>
                  <a:close/>
                  <a:moveTo>
                    <a:pt x="4718" y="6385"/>
                  </a:moveTo>
                  <a:cubicBezTo>
                    <a:pt x="4848" y="6402"/>
                    <a:pt x="4848" y="6402"/>
                    <a:pt x="4848" y="6402"/>
                  </a:cubicBezTo>
                  <a:cubicBezTo>
                    <a:pt x="4799" y="6668"/>
                    <a:pt x="4799" y="6668"/>
                    <a:pt x="4799" y="6668"/>
                  </a:cubicBezTo>
                  <a:cubicBezTo>
                    <a:pt x="4671" y="6640"/>
                    <a:pt x="4671" y="6640"/>
                    <a:pt x="4671" y="6640"/>
                  </a:cubicBezTo>
                  <a:lnTo>
                    <a:pt x="4718" y="6385"/>
                  </a:lnTo>
                  <a:close/>
                  <a:moveTo>
                    <a:pt x="4658" y="6637"/>
                  </a:moveTo>
                  <a:cubicBezTo>
                    <a:pt x="4621" y="6629"/>
                    <a:pt x="4621" y="6629"/>
                    <a:pt x="4621" y="6629"/>
                  </a:cubicBezTo>
                  <a:cubicBezTo>
                    <a:pt x="4636" y="6551"/>
                    <a:pt x="4653" y="6466"/>
                    <a:pt x="4670" y="6378"/>
                  </a:cubicBezTo>
                  <a:cubicBezTo>
                    <a:pt x="4705" y="6383"/>
                    <a:pt x="4705" y="6383"/>
                    <a:pt x="4705" y="6383"/>
                  </a:cubicBezTo>
                  <a:lnTo>
                    <a:pt x="4658" y="6637"/>
                  </a:lnTo>
                  <a:close/>
                  <a:moveTo>
                    <a:pt x="4720" y="6371"/>
                  </a:moveTo>
                  <a:cubicBezTo>
                    <a:pt x="4731" y="6310"/>
                    <a:pt x="4731" y="6310"/>
                    <a:pt x="4731" y="6310"/>
                  </a:cubicBezTo>
                  <a:cubicBezTo>
                    <a:pt x="4861" y="6331"/>
                    <a:pt x="4861" y="6331"/>
                    <a:pt x="4861" y="6331"/>
                  </a:cubicBezTo>
                  <a:cubicBezTo>
                    <a:pt x="4850" y="6389"/>
                    <a:pt x="4850" y="6389"/>
                    <a:pt x="4850" y="6389"/>
                  </a:cubicBezTo>
                  <a:lnTo>
                    <a:pt x="4720" y="6371"/>
                  </a:lnTo>
                  <a:close/>
                  <a:moveTo>
                    <a:pt x="4681" y="5997"/>
                  </a:moveTo>
                  <a:cubicBezTo>
                    <a:pt x="4627" y="5986"/>
                    <a:pt x="4627" y="5986"/>
                    <a:pt x="4627" y="5986"/>
                  </a:cubicBezTo>
                  <a:cubicBezTo>
                    <a:pt x="4680" y="5700"/>
                    <a:pt x="4680" y="5700"/>
                    <a:pt x="4680" y="5700"/>
                  </a:cubicBezTo>
                  <a:cubicBezTo>
                    <a:pt x="4741" y="5705"/>
                    <a:pt x="4741" y="5705"/>
                    <a:pt x="4741" y="5705"/>
                  </a:cubicBezTo>
                  <a:cubicBezTo>
                    <a:pt x="4724" y="5786"/>
                    <a:pt x="4703" y="5887"/>
                    <a:pt x="4681" y="5997"/>
                  </a:cubicBezTo>
                  <a:close/>
                  <a:moveTo>
                    <a:pt x="4669" y="5685"/>
                  </a:moveTo>
                  <a:cubicBezTo>
                    <a:pt x="4538" y="5673"/>
                    <a:pt x="4538" y="5673"/>
                    <a:pt x="4538" y="5673"/>
                  </a:cubicBezTo>
                  <a:cubicBezTo>
                    <a:pt x="4571" y="5493"/>
                    <a:pt x="4571" y="5493"/>
                    <a:pt x="4571" y="5493"/>
                  </a:cubicBezTo>
                  <a:cubicBezTo>
                    <a:pt x="4701" y="5514"/>
                    <a:pt x="4701" y="5514"/>
                    <a:pt x="4701" y="5514"/>
                  </a:cubicBezTo>
                  <a:lnTo>
                    <a:pt x="4669" y="5685"/>
                  </a:lnTo>
                  <a:close/>
                  <a:moveTo>
                    <a:pt x="4667" y="5699"/>
                  </a:moveTo>
                  <a:cubicBezTo>
                    <a:pt x="4614" y="5984"/>
                    <a:pt x="4614" y="5984"/>
                    <a:pt x="4614" y="5984"/>
                  </a:cubicBezTo>
                  <a:cubicBezTo>
                    <a:pt x="4485" y="5960"/>
                    <a:pt x="4485" y="5960"/>
                    <a:pt x="4485" y="5960"/>
                  </a:cubicBezTo>
                  <a:cubicBezTo>
                    <a:pt x="4535" y="5687"/>
                    <a:pt x="4535" y="5687"/>
                    <a:pt x="4535" y="5687"/>
                  </a:cubicBezTo>
                  <a:lnTo>
                    <a:pt x="4667" y="5699"/>
                  </a:lnTo>
                  <a:close/>
                  <a:moveTo>
                    <a:pt x="4472" y="5958"/>
                  </a:moveTo>
                  <a:cubicBezTo>
                    <a:pt x="4004" y="5870"/>
                    <a:pt x="4004" y="5870"/>
                    <a:pt x="4004" y="5870"/>
                  </a:cubicBezTo>
                  <a:cubicBezTo>
                    <a:pt x="4002" y="5884"/>
                    <a:pt x="4002" y="5884"/>
                    <a:pt x="4002" y="5884"/>
                  </a:cubicBezTo>
                  <a:cubicBezTo>
                    <a:pt x="4470" y="5971"/>
                    <a:pt x="4470" y="5971"/>
                    <a:pt x="4470" y="5971"/>
                  </a:cubicBezTo>
                  <a:cubicBezTo>
                    <a:pt x="4405" y="6325"/>
                    <a:pt x="4405" y="6325"/>
                    <a:pt x="4405" y="6325"/>
                  </a:cubicBezTo>
                  <a:cubicBezTo>
                    <a:pt x="4245" y="6301"/>
                    <a:pt x="4245" y="6301"/>
                    <a:pt x="4245" y="6301"/>
                  </a:cubicBezTo>
                  <a:cubicBezTo>
                    <a:pt x="3887" y="6187"/>
                    <a:pt x="3887" y="6187"/>
                    <a:pt x="3887" y="6187"/>
                  </a:cubicBezTo>
                  <a:cubicBezTo>
                    <a:pt x="3992" y="5999"/>
                    <a:pt x="3992" y="5999"/>
                    <a:pt x="3992" y="5999"/>
                  </a:cubicBezTo>
                  <a:cubicBezTo>
                    <a:pt x="4020" y="5641"/>
                    <a:pt x="4020" y="5641"/>
                    <a:pt x="4020" y="5641"/>
                  </a:cubicBezTo>
                  <a:cubicBezTo>
                    <a:pt x="4522" y="5686"/>
                    <a:pt x="4522" y="5686"/>
                    <a:pt x="4522" y="5686"/>
                  </a:cubicBezTo>
                  <a:lnTo>
                    <a:pt x="4472" y="5958"/>
                  </a:lnTo>
                  <a:close/>
                  <a:moveTo>
                    <a:pt x="4415" y="6341"/>
                  </a:moveTo>
                  <a:cubicBezTo>
                    <a:pt x="4544" y="6360"/>
                    <a:pt x="4544" y="6360"/>
                    <a:pt x="4544" y="6360"/>
                  </a:cubicBezTo>
                  <a:cubicBezTo>
                    <a:pt x="4530" y="6433"/>
                    <a:pt x="4530" y="6433"/>
                    <a:pt x="4530" y="6433"/>
                  </a:cubicBezTo>
                  <a:cubicBezTo>
                    <a:pt x="4402" y="6412"/>
                    <a:pt x="4402" y="6412"/>
                    <a:pt x="4402" y="6412"/>
                  </a:cubicBezTo>
                  <a:lnTo>
                    <a:pt x="4415" y="6341"/>
                  </a:lnTo>
                  <a:close/>
                  <a:moveTo>
                    <a:pt x="4418" y="6327"/>
                  </a:moveTo>
                  <a:cubicBezTo>
                    <a:pt x="4483" y="5974"/>
                    <a:pt x="4483" y="5974"/>
                    <a:pt x="4483" y="5974"/>
                  </a:cubicBezTo>
                  <a:cubicBezTo>
                    <a:pt x="4611" y="5998"/>
                    <a:pt x="4611" y="5998"/>
                    <a:pt x="4611" y="5998"/>
                  </a:cubicBezTo>
                  <a:cubicBezTo>
                    <a:pt x="4546" y="6346"/>
                    <a:pt x="4546" y="6346"/>
                    <a:pt x="4546" y="6346"/>
                  </a:cubicBezTo>
                  <a:lnTo>
                    <a:pt x="4418" y="6327"/>
                  </a:lnTo>
                  <a:close/>
                  <a:moveTo>
                    <a:pt x="4624" y="6000"/>
                  </a:moveTo>
                  <a:cubicBezTo>
                    <a:pt x="4678" y="6010"/>
                    <a:pt x="4678" y="6010"/>
                    <a:pt x="4678" y="6010"/>
                  </a:cubicBezTo>
                  <a:cubicBezTo>
                    <a:pt x="4655" y="6121"/>
                    <a:pt x="4631" y="6240"/>
                    <a:pt x="4608" y="6355"/>
                  </a:cubicBezTo>
                  <a:cubicBezTo>
                    <a:pt x="4559" y="6348"/>
                    <a:pt x="4559" y="6348"/>
                    <a:pt x="4559" y="6348"/>
                  </a:cubicBezTo>
                  <a:lnTo>
                    <a:pt x="4624" y="6000"/>
                  </a:lnTo>
                  <a:close/>
                  <a:moveTo>
                    <a:pt x="4618" y="6643"/>
                  </a:moveTo>
                  <a:cubicBezTo>
                    <a:pt x="4655" y="6651"/>
                    <a:pt x="4655" y="6651"/>
                    <a:pt x="4655" y="6651"/>
                  </a:cubicBezTo>
                  <a:cubicBezTo>
                    <a:pt x="4568" y="7123"/>
                    <a:pt x="4568" y="7123"/>
                    <a:pt x="4568" y="7123"/>
                  </a:cubicBezTo>
                  <a:cubicBezTo>
                    <a:pt x="4534" y="7116"/>
                    <a:pt x="4534" y="7116"/>
                    <a:pt x="4534" y="7116"/>
                  </a:cubicBezTo>
                  <a:cubicBezTo>
                    <a:pt x="4545" y="7069"/>
                    <a:pt x="4554" y="7019"/>
                    <a:pt x="4561" y="6966"/>
                  </a:cubicBezTo>
                  <a:cubicBezTo>
                    <a:pt x="4569" y="6909"/>
                    <a:pt x="4590" y="6790"/>
                    <a:pt x="4618" y="6643"/>
                  </a:cubicBezTo>
                  <a:close/>
                  <a:moveTo>
                    <a:pt x="4579" y="7139"/>
                  </a:moveTo>
                  <a:cubicBezTo>
                    <a:pt x="4707" y="7165"/>
                    <a:pt x="4707" y="7165"/>
                    <a:pt x="4707" y="7165"/>
                  </a:cubicBezTo>
                  <a:cubicBezTo>
                    <a:pt x="4691" y="7250"/>
                    <a:pt x="4691" y="7250"/>
                    <a:pt x="4691" y="7250"/>
                  </a:cubicBezTo>
                  <a:cubicBezTo>
                    <a:pt x="4562" y="7229"/>
                    <a:pt x="4562" y="7229"/>
                    <a:pt x="4562" y="7229"/>
                  </a:cubicBezTo>
                  <a:lnTo>
                    <a:pt x="4579" y="7139"/>
                  </a:lnTo>
                  <a:close/>
                  <a:moveTo>
                    <a:pt x="4581" y="7126"/>
                  </a:moveTo>
                  <a:cubicBezTo>
                    <a:pt x="4668" y="6654"/>
                    <a:pt x="4668" y="6654"/>
                    <a:pt x="4668" y="6654"/>
                  </a:cubicBezTo>
                  <a:cubicBezTo>
                    <a:pt x="4796" y="6682"/>
                    <a:pt x="4796" y="6682"/>
                    <a:pt x="4796" y="6682"/>
                  </a:cubicBezTo>
                  <a:cubicBezTo>
                    <a:pt x="4709" y="7151"/>
                    <a:pt x="4709" y="7151"/>
                    <a:pt x="4709" y="7151"/>
                  </a:cubicBezTo>
                  <a:lnTo>
                    <a:pt x="4581" y="7126"/>
                  </a:lnTo>
                  <a:close/>
                  <a:moveTo>
                    <a:pt x="6036" y="7232"/>
                  </a:moveTo>
                  <a:cubicBezTo>
                    <a:pt x="5924" y="7198"/>
                    <a:pt x="5810" y="7162"/>
                    <a:pt x="5781" y="7152"/>
                  </a:cubicBezTo>
                  <a:cubicBezTo>
                    <a:pt x="5805" y="7010"/>
                    <a:pt x="5805" y="7010"/>
                    <a:pt x="5805" y="7010"/>
                  </a:cubicBezTo>
                  <a:cubicBezTo>
                    <a:pt x="6096" y="7036"/>
                    <a:pt x="6096" y="7036"/>
                    <a:pt x="6096" y="7036"/>
                  </a:cubicBezTo>
                  <a:cubicBezTo>
                    <a:pt x="6410" y="7134"/>
                    <a:pt x="6410" y="7134"/>
                    <a:pt x="6410" y="7134"/>
                  </a:cubicBezTo>
                  <a:cubicBezTo>
                    <a:pt x="6414" y="7135"/>
                    <a:pt x="6414" y="7135"/>
                    <a:pt x="6414" y="7135"/>
                  </a:cubicBezTo>
                  <a:cubicBezTo>
                    <a:pt x="6377" y="7283"/>
                    <a:pt x="6377" y="7283"/>
                    <a:pt x="6377" y="7283"/>
                  </a:cubicBezTo>
                  <a:cubicBezTo>
                    <a:pt x="6390" y="7286"/>
                    <a:pt x="6390" y="7286"/>
                    <a:pt x="6390" y="7286"/>
                  </a:cubicBezTo>
                  <a:cubicBezTo>
                    <a:pt x="6428" y="7137"/>
                    <a:pt x="6428" y="7137"/>
                    <a:pt x="6428" y="7137"/>
                  </a:cubicBezTo>
                  <a:cubicBezTo>
                    <a:pt x="6765" y="7180"/>
                    <a:pt x="6765" y="7180"/>
                    <a:pt x="6765" y="7180"/>
                  </a:cubicBezTo>
                  <a:cubicBezTo>
                    <a:pt x="6738" y="7326"/>
                    <a:pt x="6738" y="7326"/>
                    <a:pt x="6738" y="7326"/>
                  </a:cubicBezTo>
                  <a:cubicBezTo>
                    <a:pt x="6604" y="7299"/>
                    <a:pt x="6604" y="7299"/>
                    <a:pt x="6604" y="7299"/>
                  </a:cubicBezTo>
                  <a:cubicBezTo>
                    <a:pt x="6601" y="7301"/>
                    <a:pt x="6601" y="7301"/>
                    <a:pt x="6601" y="7301"/>
                  </a:cubicBezTo>
                  <a:cubicBezTo>
                    <a:pt x="6601" y="7301"/>
                    <a:pt x="6580" y="7317"/>
                    <a:pt x="6569" y="7329"/>
                  </a:cubicBezTo>
                  <a:cubicBezTo>
                    <a:pt x="6567" y="7331"/>
                    <a:pt x="6565" y="7333"/>
                    <a:pt x="6563" y="7335"/>
                  </a:cubicBezTo>
                  <a:cubicBezTo>
                    <a:pt x="6562" y="7335"/>
                    <a:pt x="6561" y="7334"/>
                    <a:pt x="6560" y="7334"/>
                  </a:cubicBezTo>
                  <a:cubicBezTo>
                    <a:pt x="6554" y="7333"/>
                    <a:pt x="6545" y="7331"/>
                    <a:pt x="6536" y="7328"/>
                  </a:cubicBezTo>
                  <a:cubicBezTo>
                    <a:pt x="6516" y="7323"/>
                    <a:pt x="6490" y="7317"/>
                    <a:pt x="6465" y="7310"/>
                  </a:cubicBezTo>
                  <a:cubicBezTo>
                    <a:pt x="6414" y="7297"/>
                    <a:pt x="6364" y="7284"/>
                    <a:pt x="6364" y="7284"/>
                  </a:cubicBezTo>
                  <a:cubicBezTo>
                    <a:pt x="6362" y="7283"/>
                    <a:pt x="6362" y="7283"/>
                    <a:pt x="6362" y="7283"/>
                  </a:cubicBezTo>
                  <a:cubicBezTo>
                    <a:pt x="6279" y="7308"/>
                    <a:pt x="6279" y="7308"/>
                    <a:pt x="6279" y="7308"/>
                  </a:cubicBezTo>
                  <a:cubicBezTo>
                    <a:pt x="6263" y="7303"/>
                    <a:pt x="6150" y="7268"/>
                    <a:pt x="6036" y="7232"/>
                  </a:cubicBezTo>
                  <a:close/>
                  <a:moveTo>
                    <a:pt x="6749" y="7343"/>
                  </a:moveTo>
                  <a:cubicBezTo>
                    <a:pt x="6876" y="7369"/>
                    <a:pt x="6876" y="7369"/>
                    <a:pt x="6876" y="7369"/>
                  </a:cubicBezTo>
                  <a:cubicBezTo>
                    <a:pt x="6868" y="7417"/>
                    <a:pt x="6868" y="7417"/>
                    <a:pt x="6868" y="7417"/>
                  </a:cubicBezTo>
                  <a:cubicBezTo>
                    <a:pt x="6739" y="7396"/>
                    <a:pt x="6739" y="7396"/>
                    <a:pt x="6739" y="7396"/>
                  </a:cubicBezTo>
                  <a:lnTo>
                    <a:pt x="6749" y="7343"/>
                  </a:lnTo>
                  <a:close/>
                  <a:moveTo>
                    <a:pt x="6751" y="7329"/>
                  </a:moveTo>
                  <a:cubicBezTo>
                    <a:pt x="6778" y="7182"/>
                    <a:pt x="6778" y="7182"/>
                    <a:pt x="6778" y="7182"/>
                  </a:cubicBezTo>
                  <a:cubicBezTo>
                    <a:pt x="6907" y="7199"/>
                    <a:pt x="6907" y="7199"/>
                    <a:pt x="6907" y="7199"/>
                  </a:cubicBezTo>
                  <a:cubicBezTo>
                    <a:pt x="6879" y="7355"/>
                    <a:pt x="6879" y="7355"/>
                    <a:pt x="6879" y="7355"/>
                  </a:cubicBezTo>
                  <a:lnTo>
                    <a:pt x="6751" y="7329"/>
                  </a:lnTo>
                  <a:close/>
                  <a:moveTo>
                    <a:pt x="6921" y="7201"/>
                  </a:moveTo>
                  <a:cubicBezTo>
                    <a:pt x="7000" y="7211"/>
                    <a:pt x="7000" y="7211"/>
                    <a:pt x="7000" y="7211"/>
                  </a:cubicBezTo>
                  <a:cubicBezTo>
                    <a:pt x="6976" y="7375"/>
                    <a:pt x="6976" y="7375"/>
                    <a:pt x="6976" y="7375"/>
                  </a:cubicBezTo>
                  <a:cubicBezTo>
                    <a:pt x="6892" y="7358"/>
                    <a:pt x="6892" y="7358"/>
                    <a:pt x="6892" y="7358"/>
                  </a:cubicBezTo>
                  <a:lnTo>
                    <a:pt x="6921" y="7201"/>
                  </a:lnTo>
                  <a:close/>
                  <a:moveTo>
                    <a:pt x="6923" y="7187"/>
                  </a:moveTo>
                  <a:cubicBezTo>
                    <a:pt x="6956" y="7008"/>
                    <a:pt x="6956" y="7008"/>
                    <a:pt x="6956" y="7008"/>
                  </a:cubicBezTo>
                  <a:cubicBezTo>
                    <a:pt x="6985" y="7012"/>
                    <a:pt x="7010" y="7016"/>
                    <a:pt x="7028" y="7019"/>
                  </a:cubicBezTo>
                  <a:cubicBezTo>
                    <a:pt x="7002" y="7197"/>
                    <a:pt x="7002" y="7197"/>
                    <a:pt x="7002" y="7197"/>
                  </a:cubicBezTo>
                  <a:lnTo>
                    <a:pt x="6923" y="7187"/>
                  </a:lnTo>
                  <a:close/>
                  <a:moveTo>
                    <a:pt x="6958" y="6994"/>
                  </a:moveTo>
                  <a:cubicBezTo>
                    <a:pt x="6982" y="6864"/>
                    <a:pt x="6982" y="6864"/>
                    <a:pt x="6982" y="6864"/>
                  </a:cubicBezTo>
                  <a:cubicBezTo>
                    <a:pt x="7049" y="6875"/>
                    <a:pt x="7049" y="6875"/>
                    <a:pt x="7049" y="6875"/>
                  </a:cubicBezTo>
                  <a:cubicBezTo>
                    <a:pt x="7030" y="7005"/>
                    <a:pt x="7030" y="7005"/>
                    <a:pt x="7030" y="7005"/>
                  </a:cubicBezTo>
                  <a:cubicBezTo>
                    <a:pt x="7012" y="7002"/>
                    <a:pt x="6987" y="6999"/>
                    <a:pt x="6958" y="6994"/>
                  </a:cubicBezTo>
                  <a:close/>
                  <a:moveTo>
                    <a:pt x="7074" y="7154"/>
                  </a:moveTo>
                  <a:cubicBezTo>
                    <a:pt x="7211" y="7174"/>
                    <a:pt x="7211" y="7174"/>
                    <a:pt x="7211" y="7174"/>
                  </a:cubicBezTo>
                  <a:cubicBezTo>
                    <a:pt x="7218" y="7233"/>
                    <a:pt x="7227" y="7315"/>
                    <a:pt x="7234" y="7337"/>
                  </a:cubicBezTo>
                  <a:cubicBezTo>
                    <a:pt x="7041" y="7381"/>
                    <a:pt x="7041" y="7381"/>
                    <a:pt x="7041" y="7381"/>
                  </a:cubicBezTo>
                  <a:lnTo>
                    <a:pt x="7074" y="7154"/>
                  </a:lnTo>
                  <a:close/>
                  <a:moveTo>
                    <a:pt x="7231" y="7224"/>
                  </a:moveTo>
                  <a:cubicBezTo>
                    <a:pt x="7226" y="7178"/>
                    <a:pt x="7221" y="7132"/>
                    <a:pt x="7219" y="7115"/>
                  </a:cubicBezTo>
                  <a:cubicBezTo>
                    <a:pt x="7357" y="7097"/>
                    <a:pt x="7357" y="7097"/>
                    <a:pt x="7357" y="7097"/>
                  </a:cubicBezTo>
                  <a:cubicBezTo>
                    <a:pt x="7361" y="7092"/>
                    <a:pt x="7361" y="7092"/>
                    <a:pt x="7361" y="7092"/>
                  </a:cubicBezTo>
                  <a:cubicBezTo>
                    <a:pt x="7377" y="7106"/>
                    <a:pt x="7409" y="7137"/>
                    <a:pt x="7443" y="7170"/>
                  </a:cubicBezTo>
                  <a:cubicBezTo>
                    <a:pt x="7483" y="7209"/>
                    <a:pt x="7525" y="7251"/>
                    <a:pt x="7537" y="7267"/>
                  </a:cubicBezTo>
                  <a:cubicBezTo>
                    <a:pt x="7247" y="7334"/>
                    <a:pt x="7247" y="7334"/>
                    <a:pt x="7247" y="7334"/>
                  </a:cubicBezTo>
                  <a:cubicBezTo>
                    <a:pt x="7247" y="7333"/>
                    <a:pt x="7246" y="7331"/>
                    <a:pt x="7246" y="7328"/>
                  </a:cubicBezTo>
                  <a:cubicBezTo>
                    <a:pt x="7244" y="7322"/>
                    <a:pt x="7243" y="7313"/>
                    <a:pt x="7241" y="7303"/>
                  </a:cubicBezTo>
                  <a:cubicBezTo>
                    <a:pt x="7238" y="7281"/>
                    <a:pt x="7234" y="7252"/>
                    <a:pt x="7231" y="7224"/>
                  </a:cubicBezTo>
                  <a:close/>
                  <a:moveTo>
                    <a:pt x="7523" y="7231"/>
                  </a:moveTo>
                  <a:cubicBezTo>
                    <a:pt x="7505" y="7212"/>
                    <a:pt x="7481" y="7188"/>
                    <a:pt x="7457" y="7165"/>
                  </a:cubicBezTo>
                  <a:cubicBezTo>
                    <a:pt x="7421" y="7129"/>
                    <a:pt x="7385" y="7095"/>
                    <a:pt x="7369" y="7080"/>
                  </a:cubicBezTo>
                  <a:cubicBezTo>
                    <a:pt x="7431" y="6995"/>
                    <a:pt x="7431" y="6995"/>
                    <a:pt x="7431" y="6995"/>
                  </a:cubicBezTo>
                  <a:cubicBezTo>
                    <a:pt x="7455" y="6873"/>
                    <a:pt x="7455" y="6873"/>
                    <a:pt x="7455" y="6873"/>
                  </a:cubicBezTo>
                  <a:cubicBezTo>
                    <a:pt x="7456" y="6873"/>
                    <a:pt x="7456" y="6873"/>
                    <a:pt x="7457" y="6874"/>
                  </a:cubicBezTo>
                  <a:cubicBezTo>
                    <a:pt x="7468" y="6882"/>
                    <a:pt x="7483" y="6892"/>
                    <a:pt x="7501" y="6905"/>
                  </a:cubicBezTo>
                  <a:cubicBezTo>
                    <a:pt x="7537" y="6931"/>
                    <a:pt x="7584" y="6966"/>
                    <a:pt x="7631" y="7001"/>
                  </a:cubicBezTo>
                  <a:cubicBezTo>
                    <a:pt x="7708" y="7057"/>
                    <a:pt x="7783" y="7114"/>
                    <a:pt x="7808" y="7132"/>
                  </a:cubicBezTo>
                  <a:cubicBezTo>
                    <a:pt x="7806" y="7134"/>
                    <a:pt x="7806" y="7134"/>
                    <a:pt x="7806" y="7134"/>
                  </a:cubicBezTo>
                  <a:cubicBezTo>
                    <a:pt x="7551" y="7262"/>
                    <a:pt x="7551" y="7262"/>
                    <a:pt x="7551" y="7262"/>
                  </a:cubicBezTo>
                  <a:cubicBezTo>
                    <a:pt x="7550" y="7260"/>
                    <a:pt x="7548" y="7258"/>
                    <a:pt x="7545" y="7255"/>
                  </a:cubicBezTo>
                  <a:cubicBezTo>
                    <a:pt x="7540" y="7248"/>
                    <a:pt x="7532" y="7240"/>
                    <a:pt x="7523" y="7231"/>
                  </a:cubicBezTo>
                  <a:close/>
                  <a:moveTo>
                    <a:pt x="7001" y="6230"/>
                  </a:moveTo>
                  <a:cubicBezTo>
                    <a:pt x="6870" y="6216"/>
                    <a:pt x="6870" y="6216"/>
                    <a:pt x="6870" y="6216"/>
                  </a:cubicBezTo>
                  <a:cubicBezTo>
                    <a:pt x="6883" y="6090"/>
                    <a:pt x="6883" y="6090"/>
                    <a:pt x="6883" y="6090"/>
                  </a:cubicBezTo>
                  <a:cubicBezTo>
                    <a:pt x="7014" y="6104"/>
                    <a:pt x="7014" y="6104"/>
                    <a:pt x="7014" y="6104"/>
                  </a:cubicBezTo>
                  <a:lnTo>
                    <a:pt x="7001" y="6230"/>
                  </a:lnTo>
                  <a:close/>
                  <a:moveTo>
                    <a:pt x="7000" y="6244"/>
                  </a:moveTo>
                  <a:cubicBezTo>
                    <a:pt x="6998" y="6269"/>
                    <a:pt x="6998" y="6269"/>
                    <a:pt x="6998" y="6269"/>
                  </a:cubicBezTo>
                  <a:cubicBezTo>
                    <a:pt x="6867" y="6253"/>
                    <a:pt x="6867" y="6253"/>
                    <a:pt x="6867" y="6253"/>
                  </a:cubicBezTo>
                  <a:cubicBezTo>
                    <a:pt x="6869" y="6229"/>
                    <a:pt x="6869" y="6229"/>
                    <a:pt x="6869" y="6229"/>
                  </a:cubicBezTo>
                  <a:lnTo>
                    <a:pt x="7000" y="6244"/>
                  </a:lnTo>
                  <a:close/>
                  <a:moveTo>
                    <a:pt x="6856" y="6215"/>
                  </a:moveTo>
                  <a:cubicBezTo>
                    <a:pt x="6714" y="6200"/>
                    <a:pt x="6714" y="6200"/>
                    <a:pt x="6714" y="6200"/>
                  </a:cubicBezTo>
                  <a:cubicBezTo>
                    <a:pt x="6726" y="6074"/>
                    <a:pt x="6726" y="6074"/>
                    <a:pt x="6726" y="6074"/>
                  </a:cubicBezTo>
                  <a:cubicBezTo>
                    <a:pt x="6869" y="6089"/>
                    <a:pt x="6869" y="6089"/>
                    <a:pt x="6869" y="6089"/>
                  </a:cubicBezTo>
                  <a:lnTo>
                    <a:pt x="6856" y="6215"/>
                  </a:lnTo>
                  <a:close/>
                  <a:moveTo>
                    <a:pt x="6855" y="6228"/>
                  </a:moveTo>
                  <a:cubicBezTo>
                    <a:pt x="6853" y="6251"/>
                    <a:pt x="6853" y="6251"/>
                    <a:pt x="6853" y="6251"/>
                  </a:cubicBezTo>
                  <a:cubicBezTo>
                    <a:pt x="6710" y="6234"/>
                    <a:pt x="6710" y="6234"/>
                    <a:pt x="6710" y="6234"/>
                  </a:cubicBezTo>
                  <a:cubicBezTo>
                    <a:pt x="6712" y="6213"/>
                    <a:pt x="6712" y="6213"/>
                    <a:pt x="6712" y="6213"/>
                  </a:cubicBezTo>
                  <a:lnTo>
                    <a:pt x="6855" y="6228"/>
                  </a:lnTo>
                  <a:close/>
                  <a:moveTo>
                    <a:pt x="6700" y="6198"/>
                  </a:moveTo>
                  <a:cubicBezTo>
                    <a:pt x="6560" y="6183"/>
                    <a:pt x="6560" y="6183"/>
                    <a:pt x="6560" y="6183"/>
                  </a:cubicBezTo>
                  <a:cubicBezTo>
                    <a:pt x="6573" y="6057"/>
                    <a:pt x="6573" y="6057"/>
                    <a:pt x="6573" y="6057"/>
                  </a:cubicBezTo>
                  <a:cubicBezTo>
                    <a:pt x="6712" y="6072"/>
                    <a:pt x="6712" y="6072"/>
                    <a:pt x="6712" y="6072"/>
                  </a:cubicBezTo>
                  <a:lnTo>
                    <a:pt x="6700" y="6198"/>
                  </a:lnTo>
                  <a:close/>
                  <a:moveTo>
                    <a:pt x="6698" y="6211"/>
                  </a:moveTo>
                  <a:cubicBezTo>
                    <a:pt x="6696" y="6233"/>
                    <a:pt x="6696" y="6233"/>
                    <a:pt x="6696" y="6233"/>
                  </a:cubicBezTo>
                  <a:cubicBezTo>
                    <a:pt x="6557" y="6216"/>
                    <a:pt x="6557" y="6216"/>
                    <a:pt x="6557" y="6216"/>
                  </a:cubicBezTo>
                  <a:cubicBezTo>
                    <a:pt x="6559" y="6196"/>
                    <a:pt x="6559" y="6196"/>
                    <a:pt x="6559" y="6196"/>
                  </a:cubicBezTo>
                  <a:lnTo>
                    <a:pt x="6698" y="6211"/>
                  </a:lnTo>
                  <a:close/>
                  <a:moveTo>
                    <a:pt x="6546" y="6182"/>
                  </a:moveTo>
                  <a:cubicBezTo>
                    <a:pt x="6415" y="6168"/>
                    <a:pt x="6415" y="6168"/>
                    <a:pt x="6415" y="6168"/>
                  </a:cubicBezTo>
                  <a:cubicBezTo>
                    <a:pt x="6428" y="6042"/>
                    <a:pt x="6428" y="6042"/>
                    <a:pt x="6428" y="6042"/>
                  </a:cubicBezTo>
                  <a:cubicBezTo>
                    <a:pt x="6559" y="6056"/>
                    <a:pt x="6559" y="6056"/>
                    <a:pt x="6559" y="6056"/>
                  </a:cubicBezTo>
                  <a:lnTo>
                    <a:pt x="6546" y="6182"/>
                  </a:lnTo>
                  <a:close/>
                  <a:moveTo>
                    <a:pt x="6545" y="6195"/>
                  </a:moveTo>
                  <a:cubicBezTo>
                    <a:pt x="6543" y="6214"/>
                    <a:pt x="6543" y="6214"/>
                    <a:pt x="6543" y="6214"/>
                  </a:cubicBezTo>
                  <a:cubicBezTo>
                    <a:pt x="6412" y="6199"/>
                    <a:pt x="6412" y="6199"/>
                    <a:pt x="6412" y="6199"/>
                  </a:cubicBezTo>
                  <a:cubicBezTo>
                    <a:pt x="6414" y="6181"/>
                    <a:pt x="6414" y="6181"/>
                    <a:pt x="6414" y="6181"/>
                  </a:cubicBezTo>
                  <a:lnTo>
                    <a:pt x="6545" y="6195"/>
                  </a:lnTo>
                  <a:close/>
                  <a:moveTo>
                    <a:pt x="6401" y="6166"/>
                  </a:moveTo>
                  <a:cubicBezTo>
                    <a:pt x="6271" y="6152"/>
                    <a:pt x="6271" y="6152"/>
                    <a:pt x="6271" y="6152"/>
                  </a:cubicBezTo>
                  <a:cubicBezTo>
                    <a:pt x="6283" y="6026"/>
                    <a:pt x="6283" y="6026"/>
                    <a:pt x="6283" y="6026"/>
                  </a:cubicBezTo>
                  <a:cubicBezTo>
                    <a:pt x="6414" y="6040"/>
                    <a:pt x="6414" y="6040"/>
                    <a:pt x="6414" y="6040"/>
                  </a:cubicBezTo>
                  <a:lnTo>
                    <a:pt x="6401" y="6166"/>
                  </a:lnTo>
                  <a:close/>
                  <a:moveTo>
                    <a:pt x="6400" y="6179"/>
                  </a:moveTo>
                  <a:cubicBezTo>
                    <a:pt x="6398" y="6197"/>
                    <a:pt x="6398" y="6197"/>
                    <a:pt x="6398" y="6197"/>
                  </a:cubicBezTo>
                  <a:cubicBezTo>
                    <a:pt x="6268" y="6181"/>
                    <a:pt x="6268" y="6181"/>
                    <a:pt x="6268" y="6181"/>
                  </a:cubicBezTo>
                  <a:cubicBezTo>
                    <a:pt x="6269" y="6165"/>
                    <a:pt x="6269" y="6165"/>
                    <a:pt x="6269" y="6165"/>
                  </a:cubicBezTo>
                  <a:lnTo>
                    <a:pt x="6400" y="6179"/>
                  </a:lnTo>
                  <a:close/>
                  <a:moveTo>
                    <a:pt x="6325" y="6272"/>
                  </a:moveTo>
                  <a:cubicBezTo>
                    <a:pt x="6322" y="6314"/>
                    <a:pt x="6322" y="6314"/>
                    <a:pt x="6322" y="6314"/>
                  </a:cubicBezTo>
                  <a:cubicBezTo>
                    <a:pt x="6275" y="6311"/>
                    <a:pt x="6275" y="6311"/>
                    <a:pt x="6275" y="6311"/>
                  </a:cubicBezTo>
                  <a:cubicBezTo>
                    <a:pt x="6269" y="6390"/>
                    <a:pt x="6269" y="6390"/>
                    <a:pt x="6269" y="6390"/>
                  </a:cubicBezTo>
                  <a:cubicBezTo>
                    <a:pt x="6268" y="6397"/>
                    <a:pt x="6268" y="6397"/>
                    <a:pt x="6268" y="6397"/>
                  </a:cubicBezTo>
                  <a:cubicBezTo>
                    <a:pt x="6355" y="6404"/>
                    <a:pt x="6355" y="6404"/>
                    <a:pt x="6355" y="6404"/>
                  </a:cubicBezTo>
                  <a:cubicBezTo>
                    <a:pt x="6349" y="6528"/>
                    <a:pt x="6349" y="6528"/>
                    <a:pt x="6349" y="6528"/>
                  </a:cubicBezTo>
                  <a:cubicBezTo>
                    <a:pt x="6210" y="6514"/>
                    <a:pt x="6210" y="6514"/>
                    <a:pt x="6210" y="6514"/>
                  </a:cubicBezTo>
                  <a:cubicBezTo>
                    <a:pt x="6210" y="6514"/>
                    <a:pt x="6210" y="6513"/>
                    <a:pt x="6210" y="6513"/>
                  </a:cubicBezTo>
                  <a:cubicBezTo>
                    <a:pt x="6211" y="6510"/>
                    <a:pt x="6212" y="6507"/>
                    <a:pt x="6212" y="6503"/>
                  </a:cubicBezTo>
                  <a:cubicBezTo>
                    <a:pt x="6213" y="6494"/>
                    <a:pt x="6214" y="6483"/>
                    <a:pt x="6215" y="6469"/>
                  </a:cubicBezTo>
                  <a:cubicBezTo>
                    <a:pt x="6216" y="6441"/>
                    <a:pt x="6218" y="6404"/>
                    <a:pt x="6219" y="6367"/>
                  </a:cubicBezTo>
                  <a:cubicBezTo>
                    <a:pt x="6220" y="6318"/>
                    <a:pt x="6220" y="6269"/>
                    <a:pt x="6221" y="6242"/>
                  </a:cubicBezTo>
                  <a:cubicBezTo>
                    <a:pt x="6363" y="6259"/>
                    <a:pt x="6363" y="6259"/>
                    <a:pt x="6363" y="6259"/>
                  </a:cubicBezTo>
                  <a:cubicBezTo>
                    <a:pt x="6362" y="6274"/>
                    <a:pt x="6362" y="6274"/>
                    <a:pt x="6362" y="6274"/>
                  </a:cubicBezTo>
                  <a:lnTo>
                    <a:pt x="6325" y="6272"/>
                  </a:lnTo>
                  <a:close/>
                  <a:moveTo>
                    <a:pt x="6361" y="6288"/>
                  </a:moveTo>
                  <a:cubicBezTo>
                    <a:pt x="6356" y="6390"/>
                    <a:pt x="6356" y="6390"/>
                    <a:pt x="6356" y="6390"/>
                  </a:cubicBezTo>
                  <a:cubicBezTo>
                    <a:pt x="6283" y="6385"/>
                    <a:pt x="6283" y="6385"/>
                    <a:pt x="6283" y="6385"/>
                  </a:cubicBezTo>
                  <a:cubicBezTo>
                    <a:pt x="6287" y="6325"/>
                    <a:pt x="6287" y="6325"/>
                    <a:pt x="6287" y="6325"/>
                  </a:cubicBezTo>
                  <a:cubicBezTo>
                    <a:pt x="6334" y="6329"/>
                    <a:pt x="6334" y="6329"/>
                    <a:pt x="6334" y="6329"/>
                  </a:cubicBezTo>
                  <a:cubicBezTo>
                    <a:pt x="6337" y="6286"/>
                    <a:pt x="6337" y="6286"/>
                    <a:pt x="6337" y="6286"/>
                  </a:cubicBezTo>
                  <a:lnTo>
                    <a:pt x="6361" y="6288"/>
                  </a:lnTo>
                  <a:close/>
                  <a:moveTo>
                    <a:pt x="6257" y="6151"/>
                  </a:moveTo>
                  <a:cubicBezTo>
                    <a:pt x="6120" y="6136"/>
                    <a:pt x="6120" y="6136"/>
                    <a:pt x="6120" y="6136"/>
                  </a:cubicBezTo>
                  <a:cubicBezTo>
                    <a:pt x="6133" y="6010"/>
                    <a:pt x="6133" y="6010"/>
                    <a:pt x="6133" y="6010"/>
                  </a:cubicBezTo>
                  <a:cubicBezTo>
                    <a:pt x="6269" y="6025"/>
                    <a:pt x="6269" y="6025"/>
                    <a:pt x="6269" y="6025"/>
                  </a:cubicBezTo>
                  <a:lnTo>
                    <a:pt x="6257" y="6151"/>
                  </a:lnTo>
                  <a:close/>
                  <a:moveTo>
                    <a:pt x="6255" y="6164"/>
                  </a:moveTo>
                  <a:cubicBezTo>
                    <a:pt x="6254" y="6180"/>
                    <a:pt x="6254" y="6180"/>
                    <a:pt x="6254" y="6180"/>
                  </a:cubicBezTo>
                  <a:cubicBezTo>
                    <a:pt x="6117" y="6163"/>
                    <a:pt x="6117" y="6163"/>
                    <a:pt x="6117" y="6163"/>
                  </a:cubicBezTo>
                  <a:cubicBezTo>
                    <a:pt x="6119" y="6149"/>
                    <a:pt x="6119" y="6149"/>
                    <a:pt x="6119" y="6149"/>
                  </a:cubicBezTo>
                  <a:lnTo>
                    <a:pt x="6255" y="6164"/>
                  </a:lnTo>
                  <a:close/>
                  <a:moveTo>
                    <a:pt x="6106" y="6135"/>
                  </a:moveTo>
                  <a:cubicBezTo>
                    <a:pt x="5991" y="6122"/>
                    <a:pt x="5991" y="6122"/>
                    <a:pt x="5991" y="6122"/>
                  </a:cubicBezTo>
                  <a:cubicBezTo>
                    <a:pt x="6006" y="5996"/>
                    <a:pt x="6006" y="5996"/>
                    <a:pt x="6006" y="5996"/>
                  </a:cubicBezTo>
                  <a:cubicBezTo>
                    <a:pt x="6119" y="6008"/>
                    <a:pt x="6119" y="6008"/>
                    <a:pt x="6119" y="6008"/>
                  </a:cubicBezTo>
                  <a:lnTo>
                    <a:pt x="6106" y="6135"/>
                  </a:lnTo>
                  <a:close/>
                  <a:moveTo>
                    <a:pt x="6203" y="6508"/>
                  </a:moveTo>
                  <a:cubicBezTo>
                    <a:pt x="6203" y="6508"/>
                    <a:pt x="6203" y="6508"/>
                    <a:pt x="6203" y="6508"/>
                  </a:cubicBezTo>
                  <a:cubicBezTo>
                    <a:pt x="6203" y="6511"/>
                    <a:pt x="6203" y="6511"/>
                    <a:pt x="6203" y="6511"/>
                  </a:cubicBezTo>
                  <a:lnTo>
                    <a:pt x="6203" y="6508"/>
                  </a:lnTo>
                  <a:close/>
                  <a:moveTo>
                    <a:pt x="6134" y="6484"/>
                  </a:moveTo>
                  <a:cubicBezTo>
                    <a:pt x="6140" y="6521"/>
                    <a:pt x="6140" y="6521"/>
                    <a:pt x="6140" y="6521"/>
                  </a:cubicBezTo>
                  <a:cubicBezTo>
                    <a:pt x="6497" y="6558"/>
                    <a:pt x="6497" y="6558"/>
                    <a:pt x="6497" y="6558"/>
                  </a:cubicBezTo>
                  <a:cubicBezTo>
                    <a:pt x="6490" y="6616"/>
                    <a:pt x="6490" y="6616"/>
                    <a:pt x="6490" y="6616"/>
                  </a:cubicBezTo>
                  <a:cubicBezTo>
                    <a:pt x="6489" y="6616"/>
                    <a:pt x="6489" y="6616"/>
                    <a:pt x="6489" y="6616"/>
                  </a:cubicBezTo>
                  <a:cubicBezTo>
                    <a:pt x="6487" y="6629"/>
                    <a:pt x="6487" y="6629"/>
                    <a:pt x="6487" y="6629"/>
                  </a:cubicBezTo>
                  <a:cubicBezTo>
                    <a:pt x="6489" y="6630"/>
                    <a:pt x="6489" y="6630"/>
                    <a:pt x="6489" y="6630"/>
                  </a:cubicBezTo>
                  <a:cubicBezTo>
                    <a:pt x="6473" y="6767"/>
                    <a:pt x="6473" y="6767"/>
                    <a:pt x="6473" y="6767"/>
                  </a:cubicBezTo>
                  <a:cubicBezTo>
                    <a:pt x="6470" y="6766"/>
                    <a:pt x="6470" y="6766"/>
                    <a:pt x="6470" y="6766"/>
                  </a:cubicBezTo>
                  <a:cubicBezTo>
                    <a:pt x="6393" y="6776"/>
                    <a:pt x="6393" y="6776"/>
                    <a:pt x="6393" y="6776"/>
                  </a:cubicBezTo>
                  <a:cubicBezTo>
                    <a:pt x="6359" y="6907"/>
                    <a:pt x="6359" y="6907"/>
                    <a:pt x="6359" y="6907"/>
                  </a:cubicBezTo>
                  <a:cubicBezTo>
                    <a:pt x="6349" y="6906"/>
                    <a:pt x="6343" y="6905"/>
                    <a:pt x="6341" y="6905"/>
                  </a:cubicBezTo>
                  <a:cubicBezTo>
                    <a:pt x="6341" y="6905"/>
                    <a:pt x="6341" y="6905"/>
                    <a:pt x="6340" y="6905"/>
                  </a:cubicBezTo>
                  <a:cubicBezTo>
                    <a:pt x="6340" y="6905"/>
                    <a:pt x="6340" y="6905"/>
                    <a:pt x="6339" y="6905"/>
                  </a:cubicBezTo>
                  <a:cubicBezTo>
                    <a:pt x="6327" y="6904"/>
                    <a:pt x="6200" y="6882"/>
                    <a:pt x="6077" y="6860"/>
                  </a:cubicBezTo>
                  <a:cubicBezTo>
                    <a:pt x="5981" y="6844"/>
                    <a:pt x="5887" y="6827"/>
                    <a:pt x="5846" y="6820"/>
                  </a:cubicBezTo>
                  <a:cubicBezTo>
                    <a:pt x="5846" y="6819"/>
                    <a:pt x="5846" y="6819"/>
                    <a:pt x="5846" y="6819"/>
                  </a:cubicBezTo>
                  <a:cubicBezTo>
                    <a:pt x="5839" y="6817"/>
                    <a:pt x="5839" y="6817"/>
                    <a:pt x="5839" y="6817"/>
                  </a:cubicBezTo>
                  <a:cubicBezTo>
                    <a:pt x="5872" y="6629"/>
                    <a:pt x="5872" y="6629"/>
                    <a:pt x="5872" y="6629"/>
                  </a:cubicBezTo>
                  <a:cubicBezTo>
                    <a:pt x="6466" y="6709"/>
                    <a:pt x="6466" y="6709"/>
                    <a:pt x="6466" y="6709"/>
                  </a:cubicBezTo>
                  <a:cubicBezTo>
                    <a:pt x="6468" y="6696"/>
                    <a:pt x="6468" y="6696"/>
                    <a:pt x="6468" y="6696"/>
                  </a:cubicBezTo>
                  <a:cubicBezTo>
                    <a:pt x="5874" y="6615"/>
                    <a:pt x="5874" y="6615"/>
                    <a:pt x="5874" y="6615"/>
                  </a:cubicBezTo>
                  <a:cubicBezTo>
                    <a:pt x="5902" y="6456"/>
                    <a:pt x="5902" y="6456"/>
                    <a:pt x="5902" y="6456"/>
                  </a:cubicBezTo>
                  <a:lnTo>
                    <a:pt x="6134" y="6484"/>
                  </a:lnTo>
                  <a:close/>
                  <a:moveTo>
                    <a:pt x="5839" y="6434"/>
                  </a:moveTo>
                  <a:cubicBezTo>
                    <a:pt x="5743" y="6418"/>
                    <a:pt x="5743" y="6418"/>
                    <a:pt x="5743" y="6418"/>
                  </a:cubicBezTo>
                  <a:cubicBezTo>
                    <a:pt x="5744" y="6415"/>
                    <a:pt x="5744" y="6413"/>
                    <a:pt x="5745" y="6410"/>
                  </a:cubicBezTo>
                  <a:cubicBezTo>
                    <a:pt x="5747" y="6402"/>
                    <a:pt x="5749" y="6392"/>
                    <a:pt x="5752" y="6380"/>
                  </a:cubicBezTo>
                  <a:cubicBezTo>
                    <a:pt x="5753" y="6375"/>
                    <a:pt x="5754" y="6369"/>
                    <a:pt x="5755" y="6363"/>
                  </a:cubicBezTo>
                  <a:cubicBezTo>
                    <a:pt x="5810" y="6372"/>
                    <a:pt x="5810" y="6372"/>
                    <a:pt x="5810" y="6372"/>
                  </a:cubicBezTo>
                  <a:cubicBezTo>
                    <a:pt x="5835" y="6218"/>
                    <a:pt x="5835" y="6218"/>
                    <a:pt x="5835" y="6218"/>
                  </a:cubicBezTo>
                  <a:cubicBezTo>
                    <a:pt x="5778" y="6208"/>
                    <a:pt x="5778" y="6208"/>
                    <a:pt x="5778" y="6208"/>
                  </a:cubicBezTo>
                  <a:cubicBezTo>
                    <a:pt x="5779" y="6197"/>
                    <a:pt x="5780" y="6188"/>
                    <a:pt x="5781" y="6180"/>
                  </a:cubicBezTo>
                  <a:cubicBezTo>
                    <a:pt x="5880" y="6199"/>
                    <a:pt x="5880" y="6199"/>
                    <a:pt x="5880" y="6199"/>
                  </a:cubicBezTo>
                  <a:lnTo>
                    <a:pt x="5839" y="6434"/>
                  </a:lnTo>
                  <a:close/>
                  <a:moveTo>
                    <a:pt x="5820" y="6229"/>
                  </a:moveTo>
                  <a:cubicBezTo>
                    <a:pt x="5799" y="6357"/>
                    <a:pt x="5799" y="6357"/>
                    <a:pt x="5799" y="6357"/>
                  </a:cubicBezTo>
                  <a:cubicBezTo>
                    <a:pt x="5757" y="6350"/>
                    <a:pt x="5757" y="6350"/>
                    <a:pt x="5757" y="6350"/>
                  </a:cubicBezTo>
                  <a:cubicBezTo>
                    <a:pt x="5760" y="6331"/>
                    <a:pt x="5763" y="6311"/>
                    <a:pt x="5766" y="6291"/>
                  </a:cubicBezTo>
                  <a:cubicBezTo>
                    <a:pt x="5770" y="6266"/>
                    <a:pt x="5773" y="6242"/>
                    <a:pt x="5776" y="6221"/>
                  </a:cubicBezTo>
                  <a:lnTo>
                    <a:pt x="5820" y="6229"/>
                  </a:lnTo>
                  <a:close/>
                  <a:moveTo>
                    <a:pt x="5764" y="6205"/>
                  </a:moveTo>
                  <a:cubicBezTo>
                    <a:pt x="5659" y="6187"/>
                    <a:pt x="5659" y="6187"/>
                    <a:pt x="5659" y="6187"/>
                  </a:cubicBezTo>
                  <a:cubicBezTo>
                    <a:pt x="5660" y="6175"/>
                    <a:pt x="5662" y="6165"/>
                    <a:pt x="5663" y="6158"/>
                  </a:cubicBezTo>
                  <a:cubicBezTo>
                    <a:pt x="5768" y="6178"/>
                    <a:pt x="5768" y="6178"/>
                    <a:pt x="5768" y="6178"/>
                  </a:cubicBezTo>
                  <a:cubicBezTo>
                    <a:pt x="5767" y="6185"/>
                    <a:pt x="5765" y="6195"/>
                    <a:pt x="5764" y="6205"/>
                  </a:cubicBezTo>
                  <a:close/>
                  <a:moveTo>
                    <a:pt x="5762" y="6218"/>
                  </a:moveTo>
                  <a:cubicBezTo>
                    <a:pt x="5757" y="6257"/>
                    <a:pt x="5750" y="6307"/>
                    <a:pt x="5743" y="6347"/>
                  </a:cubicBezTo>
                  <a:cubicBezTo>
                    <a:pt x="5638" y="6329"/>
                    <a:pt x="5638" y="6329"/>
                    <a:pt x="5638" y="6329"/>
                  </a:cubicBezTo>
                  <a:cubicBezTo>
                    <a:pt x="5641" y="6313"/>
                    <a:pt x="5643" y="6296"/>
                    <a:pt x="5646" y="6279"/>
                  </a:cubicBezTo>
                  <a:cubicBezTo>
                    <a:pt x="5650" y="6250"/>
                    <a:pt x="5654" y="6222"/>
                    <a:pt x="5657" y="6200"/>
                  </a:cubicBezTo>
                  <a:lnTo>
                    <a:pt x="5762" y="6218"/>
                  </a:lnTo>
                  <a:close/>
                  <a:moveTo>
                    <a:pt x="5645" y="6184"/>
                  </a:moveTo>
                  <a:cubicBezTo>
                    <a:pt x="5542" y="6166"/>
                    <a:pt x="5542" y="6166"/>
                    <a:pt x="5542" y="6166"/>
                  </a:cubicBezTo>
                  <a:cubicBezTo>
                    <a:pt x="5544" y="6153"/>
                    <a:pt x="5545" y="6142"/>
                    <a:pt x="5546" y="6137"/>
                  </a:cubicBezTo>
                  <a:cubicBezTo>
                    <a:pt x="5649" y="6156"/>
                    <a:pt x="5649" y="6156"/>
                    <a:pt x="5649" y="6156"/>
                  </a:cubicBezTo>
                  <a:cubicBezTo>
                    <a:pt x="5648" y="6162"/>
                    <a:pt x="5647" y="6172"/>
                    <a:pt x="5645" y="6184"/>
                  </a:cubicBezTo>
                  <a:close/>
                  <a:moveTo>
                    <a:pt x="5643" y="6197"/>
                  </a:moveTo>
                  <a:cubicBezTo>
                    <a:pt x="5638" y="6234"/>
                    <a:pt x="5631" y="6284"/>
                    <a:pt x="5624" y="6326"/>
                  </a:cubicBezTo>
                  <a:cubicBezTo>
                    <a:pt x="5521" y="6308"/>
                    <a:pt x="5521" y="6308"/>
                    <a:pt x="5521" y="6308"/>
                  </a:cubicBezTo>
                  <a:cubicBezTo>
                    <a:pt x="5524" y="6293"/>
                    <a:pt x="5526" y="6276"/>
                    <a:pt x="5529" y="6260"/>
                  </a:cubicBezTo>
                  <a:cubicBezTo>
                    <a:pt x="5533" y="6231"/>
                    <a:pt x="5537" y="6202"/>
                    <a:pt x="5540" y="6179"/>
                  </a:cubicBezTo>
                  <a:lnTo>
                    <a:pt x="5643" y="6197"/>
                  </a:lnTo>
                  <a:close/>
                  <a:moveTo>
                    <a:pt x="5528" y="6163"/>
                  </a:moveTo>
                  <a:cubicBezTo>
                    <a:pt x="5422" y="6144"/>
                    <a:pt x="5422" y="6144"/>
                    <a:pt x="5422" y="6144"/>
                  </a:cubicBezTo>
                  <a:cubicBezTo>
                    <a:pt x="5424" y="6131"/>
                    <a:pt x="5425" y="6120"/>
                    <a:pt x="5426" y="6114"/>
                  </a:cubicBezTo>
                  <a:cubicBezTo>
                    <a:pt x="5532" y="6134"/>
                    <a:pt x="5532" y="6134"/>
                    <a:pt x="5532" y="6134"/>
                  </a:cubicBezTo>
                  <a:cubicBezTo>
                    <a:pt x="5531" y="6140"/>
                    <a:pt x="5530" y="6150"/>
                    <a:pt x="5528" y="6163"/>
                  </a:cubicBezTo>
                  <a:close/>
                  <a:moveTo>
                    <a:pt x="5527" y="6176"/>
                  </a:moveTo>
                  <a:cubicBezTo>
                    <a:pt x="5522" y="6213"/>
                    <a:pt x="5514" y="6263"/>
                    <a:pt x="5508" y="6306"/>
                  </a:cubicBezTo>
                  <a:cubicBezTo>
                    <a:pt x="5401" y="6287"/>
                    <a:pt x="5401" y="6287"/>
                    <a:pt x="5401" y="6287"/>
                  </a:cubicBezTo>
                  <a:cubicBezTo>
                    <a:pt x="5404" y="6271"/>
                    <a:pt x="5406" y="6255"/>
                    <a:pt x="5409" y="6238"/>
                  </a:cubicBezTo>
                  <a:cubicBezTo>
                    <a:pt x="5413" y="6209"/>
                    <a:pt x="5417" y="6181"/>
                    <a:pt x="5420" y="6157"/>
                  </a:cubicBezTo>
                  <a:lnTo>
                    <a:pt x="5527" y="6176"/>
                  </a:lnTo>
                  <a:close/>
                  <a:moveTo>
                    <a:pt x="5408" y="6142"/>
                  </a:moveTo>
                  <a:cubicBezTo>
                    <a:pt x="5287" y="6120"/>
                    <a:pt x="5287" y="6120"/>
                    <a:pt x="5287" y="6120"/>
                  </a:cubicBezTo>
                  <a:cubicBezTo>
                    <a:pt x="5288" y="6108"/>
                    <a:pt x="5289" y="6097"/>
                    <a:pt x="5289" y="6089"/>
                  </a:cubicBezTo>
                  <a:cubicBezTo>
                    <a:pt x="5412" y="6112"/>
                    <a:pt x="5412" y="6112"/>
                    <a:pt x="5412" y="6112"/>
                  </a:cubicBezTo>
                  <a:cubicBezTo>
                    <a:pt x="5411" y="6117"/>
                    <a:pt x="5410" y="6128"/>
                    <a:pt x="5408" y="6142"/>
                  </a:cubicBezTo>
                  <a:close/>
                  <a:moveTo>
                    <a:pt x="5406" y="6155"/>
                  </a:moveTo>
                  <a:cubicBezTo>
                    <a:pt x="5401" y="6191"/>
                    <a:pt x="5394" y="6242"/>
                    <a:pt x="5388" y="6284"/>
                  </a:cubicBezTo>
                  <a:cubicBezTo>
                    <a:pt x="5274" y="6265"/>
                    <a:pt x="5274" y="6265"/>
                    <a:pt x="5274" y="6265"/>
                  </a:cubicBezTo>
                  <a:cubicBezTo>
                    <a:pt x="5279" y="6214"/>
                    <a:pt x="5283" y="6168"/>
                    <a:pt x="5286" y="6134"/>
                  </a:cubicBezTo>
                  <a:lnTo>
                    <a:pt x="5406" y="6155"/>
                  </a:lnTo>
                  <a:close/>
                  <a:moveTo>
                    <a:pt x="5273" y="6118"/>
                  </a:moveTo>
                  <a:cubicBezTo>
                    <a:pt x="4895" y="6051"/>
                    <a:pt x="4895" y="6051"/>
                    <a:pt x="4895" y="6051"/>
                  </a:cubicBezTo>
                  <a:cubicBezTo>
                    <a:pt x="4889" y="6050"/>
                    <a:pt x="4889" y="6050"/>
                    <a:pt x="4889" y="6050"/>
                  </a:cubicBezTo>
                  <a:cubicBezTo>
                    <a:pt x="4863" y="6205"/>
                    <a:pt x="4863" y="6205"/>
                    <a:pt x="4863" y="6205"/>
                  </a:cubicBezTo>
                  <a:cubicBezTo>
                    <a:pt x="5260" y="6275"/>
                    <a:pt x="5260" y="6275"/>
                    <a:pt x="5260" y="6275"/>
                  </a:cubicBezTo>
                  <a:cubicBezTo>
                    <a:pt x="5259" y="6285"/>
                    <a:pt x="5258" y="6296"/>
                    <a:pt x="5257" y="6306"/>
                  </a:cubicBezTo>
                  <a:cubicBezTo>
                    <a:pt x="4703" y="6217"/>
                    <a:pt x="4703" y="6217"/>
                    <a:pt x="4703" y="6217"/>
                  </a:cubicBezTo>
                  <a:cubicBezTo>
                    <a:pt x="4707" y="6197"/>
                    <a:pt x="4711" y="6178"/>
                    <a:pt x="4715" y="6158"/>
                  </a:cubicBezTo>
                  <a:cubicBezTo>
                    <a:pt x="4726" y="6100"/>
                    <a:pt x="4738" y="6043"/>
                    <a:pt x="4749" y="5988"/>
                  </a:cubicBezTo>
                  <a:cubicBezTo>
                    <a:pt x="5276" y="6086"/>
                    <a:pt x="5276" y="6086"/>
                    <a:pt x="5276" y="6086"/>
                  </a:cubicBezTo>
                  <a:cubicBezTo>
                    <a:pt x="5275" y="6094"/>
                    <a:pt x="5274" y="6105"/>
                    <a:pt x="5273" y="6118"/>
                  </a:cubicBezTo>
                  <a:close/>
                  <a:moveTo>
                    <a:pt x="4743" y="5691"/>
                  </a:moveTo>
                  <a:cubicBezTo>
                    <a:pt x="4682" y="5686"/>
                    <a:pt x="4682" y="5686"/>
                    <a:pt x="4682" y="5686"/>
                  </a:cubicBezTo>
                  <a:cubicBezTo>
                    <a:pt x="4715" y="5510"/>
                    <a:pt x="4715" y="5510"/>
                    <a:pt x="4715" y="5510"/>
                  </a:cubicBezTo>
                  <a:cubicBezTo>
                    <a:pt x="4716" y="5503"/>
                    <a:pt x="4716" y="5503"/>
                    <a:pt x="4716" y="5503"/>
                  </a:cubicBezTo>
                  <a:cubicBezTo>
                    <a:pt x="4561" y="5478"/>
                    <a:pt x="4561" y="5478"/>
                    <a:pt x="4561" y="5478"/>
                  </a:cubicBezTo>
                  <a:cubicBezTo>
                    <a:pt x="4525" y="5672"/>
                    <a:pt x="4525" y="5672"/>
                    <a:pt x="4525" y="5672"/>
                  </a:cubicBezTo>
                  <a:cubicBezTo>
                    <a:pt x="4021" y="5627"/>
                    <a:pt x="4021" y="5627"/>
                    <a:pt x="4021" y="5627"/>
                  </a:cubicBezTo>
                  <a:cubicBezTo>
                    <a:pt x="4037" y="5419"/>
                    <a:pt x="4037" y="5419"/>
                    <a:pt x="4037" y="5419"/>
                  </a:cubicBezTo>
                  <a:cubicBezTo>
                    <a:pt x="4785" y="5455"/>
                    <a:pt x="4785" y="5455"/>
                    <a:pt x="4785" y="5455"/>
                  </a:cubicBezTo>
                  <a:cubicBezTo>
                    <a:pt x="4784" y="5469"/>
                    <a:pt x="4784" y="5481"/>
                    <a:pt x="4783" y="5490"/>
                  </a:cubicBezTo>
                  <a:cubicBezTo>
                    <a:pt x="4782" y="5500"/>
                    <a:pt x="4781" y="5507"/>
                    <a:pt x="4781" y="5510"/>
                  </a:cubicBezTo>
                  <a:cubicBezTo>
                    <a:pt x="4779" y="5520"/>
                    <a:pt x="4765" y="5589"/>
                    <a:pt x="4743" y="5691"/>
                  </a:cubicBezTo>
                  <a:close/>
                  <a:moveTo>
                    <a:pt x="4025" y="5405"/>
                  </a:moveTo>
                  <a:cubicBezTo>
                    <a:pt x="4014" y="5542"/>
                    <a:pt x="4014" y="5542"/>
                    <a:pt x="4014" y="5542"/>
                  </a:cubicBezTo>
                  <a:cubicBezTo>
                    <a:pt x="3978" y="5546"/>
                    <a:pt x="3802" y="5568"/>
                    <a:pt x="3801" y="5568"/>
                  </a:cubicBezTo>
                  <a:cubicBezTo>
                    <a:pt x="3797" y="5569"/>
                    <a:pt x="3797" y="5569"/>
                    <a:pt x="3797" y="5569"/>
                  </a:cubicBezTo>
                  <a:cubicBezTo>
                    <a:pt x="3768" y="5647"/>
                    <a:pt x="3768" y="5647"/>
                    <a:pt x="3768" y="5647"/>
                  </a:cubicBezTo>
                  <a:cubicBezTo>
                    <a:pt x="3737" y="5639"/>
                    <a:pt x="3596" y="5604"/>
                    <a:pt x="3536" y="5591"/>
                  </a:cubicBezTo>
                  <a:cubicBezTo>
                    <a:pt x="3561" y="5542"/>
                    <a:pt x="3576" y="5513"/>
                    <a:pt x="3576" y="5513"/>
                  </a:cubicBezTo>
                  <a:cubicBezTo>
                    <a:pt x="3589" y="5488"/>
                    <a:pt x="3589" y="5488"/>
                    <a:pt x="3589" y="5488"/>
                  </a:cubicBezTo>
                  <a:cubicBezTo>
                    <a:pt x="3587" y="5487"/>
                    <a:pt x="3587" y="5487"/>
                    <a:pt x="3587" y="5487"/>
                  </a:cubicBezTo>
                  <a:cubicBezTo>
                    <a:pt x="3744" y="5457"/>
                    <a:pt x="3744" y="5457"/>
                    <a:pt x="3744" y="5457"/>
                  </a:cubicBezTo>
                  <a:cubicBezTo>
                    <a:pt x="3908" y="5211"/>
                    <a:pt x="3908" y="5211"/>
                    <a:pt x="3908" y="5211"/>
                  </a:cubicBezTo>
                  <a:cubicBezTo>
                    <a:pt x="4023" y="5259"/>
                    <a:pt x="4123" y="5301"/>
                    <a:pt x="4153" y="5313"/>
                  </a:cubicBezTo>
                  <a:cubicBezTo>
                    <a:pt x="4154" y="5313"/>
                    <a:pt x="4154" y="5313"/>
                    <a:pt x="4155" y="5313"/>
                  </a:cubicBezTo>
                  <a:cubicBezTo>
                    <a:pt x="4095" y="5408"/>
                    <a:pt x="4095" y="5408"/>
                    <a:pt x="4095" y="5408"/>
                  </a:cubicBezTo>
                  <a:lnTo>
                    <a:pt x="4025" y="5405"/>
                  </a:lnTo>
                  <a:close/>
                  <a:moveTo>
                    <a:pt x="3736" y="5445"/>
                  </a:moveTo>
                  <a:cubicBezTo>
                    <a:pt x="3624" y="5466"/>
                    <a:pt x="3624" y="5466"/>
                    <a:pt x="3624" y="5466"/>
                  </a:cubicBezTo>
                  <a:cubicBezTo>
                    <a:pt x="3690" y="5341"/>
                    <a:pt x="3690" y="5341"/>
                    <a:pt x="3690" y="5341"/>
                  </a:cubicBezTo>
                  <a:cubicBezTo>
                    <a:pt x="3623" y="5306"/>
                    <a:pt x="3623" y="5306"/>
                    <a:pt x="3623" y="5306"/>
                  </a:cubicBezTo>
                  <a:cubicBezTo>
                    <a:pt x="3556" y="5434"/>
                    <a:pt x="3556" y="5434"/>
                    <a:pt x="3556" y="5434"/>
                  </a:cubicBezTo>
                  <a:cubicBezTo>
                    <a:pt x="3553" y="5440"/>
                    <a:pt x="3553" y="5440"/>
                    <a:pt x="3553" y="5440"/>
                  </a:cubicBezTo>
                  <a:cubicBezTo>
                    <a:pt x="3608" y="5469"/>
                    <a:pt x="3608" y="5469"/>
                    <a:pt x="3608" y="5469"/>
                  </a:cubicBezTo>
                  <a:cubicBezTo>
                    <a:pt x="3572" y="5476"/>
                    <a:pt x="3572" y="5476"/>
                    <a:pt x="3572" y="5476"/>
                  </a:cubicBezTo>
                  <a:cubicBezTo>
                    <a:pt x="3505" y="5424"/>
                    <a:pt x="3505" y="5424"/>
                    <a:pt x="3505" y="5424"/>
                  </a:cubicBezTo>
                  <a:cubicBezTo>
                    <a:pt x="3662" y="5106"/>
                    <a:pt x="3662" y="5106"/>
                    <a:pt x="3662" y="5106"/>
                  </a:cubicBezTo>
                  <a:cubicBezTo>
                    <a:pt x="3699" y="5122"/>
                    <a:pt x="3738" y="5139"/>
                    <a:pt x="3778" y="5156"/>
                  </a:cubicBezTo>
                  <a:cubicBezTo>
                    <a:pt x="3817" y="5173"/>
                    <a:pt x="3857" y="5189"/>
                    <a:pt x="3895" y="5205"/>
                  </a:cubicBezTo>
                  <a:lnTo>
                    <a:pt x="3736" y="5445"/>
                  </a:lnTo>
                  <a:close/>
                  <a:moveTo>
                    <a:pt x="3614" y="5457"/>
                  </a:moveTo>
                  <a:cubicBezTo>
                    <a:pt x="3570" y="5434"/>
                    <a:pt x="3570" y="5434"/>
                    <a:pt x="3570" y="5434"/>
                  </a:cubicBezTo>
                  <a:cubicBezTo>
                    <a:pt x="3629" y="5323"/>
                    <a:pt x="3629" y="5323"/>
                    <a:pt x="3629" y="5323"/>
                  </a:cubicBezTo>
                  <a:cubicBezTo>
                    <a:pt x="3673" y="5347"/>
                    <a:pt x="3673" y="5347"/>
                    <a:pt x="3673" y="5347"/>
                  </a:cubicBezTo>
                  <a:lnTo>
                    <a:pt x="3614" y="5457"/>
                  </a:lnTo>
                  <a:close/>
                  <a:moveTo>
                    <a:pt x="3493" y="5415"/>
                  </a:moveTo>
                  <a:cubicBezTo>
                    <a:pt x="3274" y="5246"/>
                    <a:pt x="3274" y="5246"/>
                    <a:pt x="3274" y="5246"/>
                  </a:cubicBezTo>
                  <a:cubicBezTo>
                    <a:pt x="3470" y="5023"/>
                    <a:pt x="3470" y="5023"/>
                    <a:pt x="3470" y="5023"/>
                  </a:cubicBezTo>
                  <a:cubicBezTo>
                    <a:pt x="3471" y="5024"/>
                    <a:pt x="3471" y="5024"/>
                    <a:pt x="3472" y="5024"/>
                  </a:cubicBezTo>
                  <a:cubicBezTo>
                    <a:pt x="3477" y="5026"/>
                    <a:pt x="3483" y="5029"/>
                    <a:pt x="3492" y="5033"/>
                  </a:cubicBezTo>
                  <a:cubicBezTo>
                    <a:pt x="3509" y="5040"/>
                    <a:pt x="3533" y="5051"/>
                    <a:pt x="3561" y="5063"/>
                  </a:cubicBezTo>
                  <a:cubicBezTo>
                    <a:pt x="3587" y="5074"/>
                    <a:pt x="3617" y="5087"/>
                    <a:pt x="3649" y="5101"/>
                  </a:cubicBezTo>
                  <a:lnTo>
                    <a:pt x="3493" y="5415"/>
                  </a:lnTo>
                  <a:close/>
                  <a:moveTo>
                    <a:pt x="3505" y="5507"/>
                  </a:moveTo>
                  <a:cubicBezTo>
                    <a:pt x="3488" y="5541"/>
                    <a:pt x="3454" y="5607"/>
                    <a:pt x="3411" y="5691"/>
                  </a:cubicBezTo>
                  <a:cubicBezTo>
                    <a:pt x="3408" y="5690"/>
                    <a:pt x="3404" y="5688"/>
                    <a:pt x="3400" y="5685"/>
                  </a:cubicBezTo>
                  <a:cubicBezTo>
                    <a:pt x="3397" y="5684"/>
                    <a:pt x="3394" y="5682"/>
                    <a:pt x="3391" y="5681"/>
                  </a:cubicBezTo>
                  <a:cubicBezTo>
                    <a:pt x="3439" y="5587"/>
                    <a:pt x="3439" y="5587"/>
                    <a:pt x="3439" y="5587"/>
                  </a:cubicBezTo>
                  <a:cubicBezTo>
                    <a:pt x="3453" y="5596"/>
                    <a:pt x="3453" y="5596"/>
                    <a:pt x="3453" y="5596"/>
                  </a:cubicBezTo>
                  <a:cubicBezTo>
                    <a:pt x="3461" y="5584"/>
                    <a:pt x="3461" y="5584"/>
                    <a:pt x="3461" y="5584"/>
                  </a:cubicBezTo>
                  <a:cubicBezTo>
                    <a:pt x="3445" y="5574"/>
                    <a:pt x="3445" y="5574"/>
                    <a:pt x="3445" y="5574"/>
                  </a:cubicBezTo>
                  <a:cubicBezTo>
                    <a:pt x="3470" y="5526"/>
                    <a:pt x="3470" y="5526"/>
                    <a:pt x="3470" y="5526"/>
                  </a:cubicBezTo>
                  <a:cubicBezTo>
                    <a:pt x="3473" y="5520"/>
                    <a:pt x="3473" y="5520"/>
                    <a:pt x="3473" y="5520"/>
                  </a:cubicBezTo>
                  <a:cubicBezTo>
                    <a:pt x="3353" y="5462"/>
                    <a:pt x="3353" y="5462"/>
                    <a:pt x="3353" y="5462"/>
                  </a:cubicBezTo>
                  <a:cubicBezTo>
                    <a:pt x="3333" y="5501"/>
                    <a:pt x="3333" y="5501"/>
                    <a:pt x="3333" y="5501"/>
                  </a:cubicBezTo>
                  <a:cubicBezTo>
                    <a:pt x="3020" y="5298"/>
                    <a:pt x="3020" y="5298"/>
                    <a:pt x="3020" y="5298"/>
                  </a:cubicBezTo>
                  <a:cubicBezTo>
                    <a:pt x="3082" y="5181"/>
                    <a:pt x="3082" y="5181"/>
                    <a:pt x="3082" y="5181"/>
                  </a:cubicBezTo>
                  <a:lnTo>
                    <a:pt x="3505" y="5507"/>
                  </a:lnTo>
                  <a:close/>
                  <a:moveTo>
                    <a:pt x="3234" y="5731"/>
                  </a:moveTo>
                  <a:cubicBezTo>
                    <a:pt x="3280" y="5638"/>
                    <a:pt x="3280" y="5638"/>
                    <a:pt x="3280" y="5638"/>
                  </a:cubicBezTo>
                  <a:cubicBezTo>
                    <a:pt x="3316" y="5657"/>
                    <a:pt x="3349" y="5675"/>
                    <a:pt x="3373" y="5687"/>
                  </a:cubicBezTo>
                  <a:cubicBezTo>
                    <a:pt x="3327" y="5777"/>
                    <a:pt x="3327" y="5777"/>
                    <a:pt x="3327" y="5777"/>
                  </a:cubicBezTo>
                  <a:cubicBezTo>
                    <a:pt x="3302" y="5765"/>
                    <a:pt x="3269" y="5748"/>
                    <a:pt x="3234" y="5731"/>
                  </a:cubicBezTo>
                  <a:close/>
                  <a:moveTo>
                    <a:pt x="3321" y="5790"/>
                  </a:moveTo>
                  <a:cubicBezTo>
                    <a:pt x="3311" y="5809"/>
                    <a:pt x="3311" y="5809"/>
                    <a:pt x="3311" y="5809"/>
                  </a:cubicBezTo>
                  <a:cubicBezTo>
                    <a:pt x="3217" y="5763"/>
                    <a:pt x="3217" y="5763"/>
                    <a:pt x="3217" y="5763"/>
                  </a:cubicBezTo>
                  <a:cubicBezTo>
                    <a:pt x="3227" y="5743"/>
                    <a:pt x="3227" y="5743"/>
                    <a:pt x="3227" y="5743"/>
                  </a:cubicBezTo>
                  <a:cubicBezTo>
                    <a:pt x="3263" y="5761"/>
                    <a:pt x="3295" y="5777"/>
                    <a:pt x="3321" y="5790"/>
                  </a:cubicBezTo>
                  <a:close/>
                  <a:moveTo>
                    <a:pt x="3428" y="5579"/>
                  </a:moveTo>
                  <a:cubicBezTo>
                    <a:pt x="3379" y="5675"/>
                    <a:pt x="3379" y="5675"/>
                    <a:pt x="3379" y="5675"/>
                  </a:cubicBezTo>
                  <a:cubicBezTo>
                    <a:pt x="3370" y="5670"/>
                    <a:pt x="3359" y="5664"/>
                    <a:pt x="3347" y="5658"/>
                  </a:cubicBezTo>
                  <a:cubicBezTo>
                    <a:pt x="3329" y="5648"/>
                    <a:pt x="3308" y="5637"/>
                    <a:pt x="3286" y="5625"/>
                  </a:cubicBezTo>
                  <a:cubicBezTo>
                    <a:pt x="3338" y="5521"/>
                    <a:pt x="3338" y="5521"/>
                    <a:pt x="3338" y="5521"/>
                  </a:cubicBezTo>
                  <a:lnTo>
                    <a:pt x="3428" y="5579"/>
                  </a:lnTo>
                  <a:close/>
                  <a:moveTo>
                    <a:pt x="3344" y="5509"/>
                  </a:moveTo>
                  <a:cubicBezTo>
                    <a:pt x="3359" y="5479"/>
                    <a:pt x="3359" y="5479"/>
                    <a:pt x="3359" y="5479"/>
                  </a:cubicBezTo>
                  <a:cubicBezTo>
                    <a:pt x="3455" y="5526"/>
                    <a:pt x="3455" y="5526"/>
                    <a:pt x="3455" y="5526"/>
                  </a:cubicBezTo>
                  <a:cubicBezTo>
                    <a:pt x="3434" y="5567"/>
                    <a:pt x="3434" y="5567"/>
                    <a:pt x="3434" y="5567"/>
                  </a:cubicBezTo>
                  <a:lnTo>
                    <a:pt x="3344" y="5509"/>
                  </a:lnTo>
                  <a:close/>
                  <a:moveTo>
                    <a:pt x="3385" y="5693"/>
                  </a:moveTo>
                  <a:cubicBezTo>
                    <a:pt x="3393" y="5698"/>
                    <a:pt x="3400" y="5701"/>
                    <a:pt x="3405" y="5703"/>
                  </a:cubicBezTo>
                  <a:cubicBezTo>
                    <a:pt x="3390" y="5732"/>
                    <a:pt x="3375" y="5762"/>
                    <a:pt x="3359" y="5793"/>
                  </a:cubicBezTo>
                  <a:cubicBezTo>
                    <a:pt x="3353" y="5790"/>
                    <a:pt x="3346" y="5787"/>
                    <a:pt x="3339" y="5783"/>
                  </a:cubicBezTo>
                  <a:lnTo>
                    <a:pt x="3385" y="5693"/>
                  </a:lnTo>
                  <a:close/>
                  <a:moveTo>
                    <a:pt x="3327" y="5514"/>
                  </a:moveTo>
                  <a:cubicBezTo>
                    <a:pt x="3274" y="5619"/>
                    <a:pt x="3274" y="5619"/>
                    <a:pt x="3274" y="5619"/>
                  </a:cubicBezTo>
                  <a:cubicBezTo>
                    <a:pt x="3247" y="5605"/>
                    <a:pt x="3219" y="5589"/>
                    <a:pt x="3190" y="5574"/>
                  </a:cubicBezTo>
                  <a:cubicBezTo>
                    <a:pt x="3082" y="5515"/>
                    <a:pt x="2972" y="5456"/>
                    <a:pt x="2944" y="5442"/>
                  </a:cubicBezTo>
                  <a:cubicBezTo>
                    <a:pt x="3013" y="5310"/>
                    <a:pt x="3013" y="5310"/>
                    <a:pt x="3013" y="5310"/>
                  </a:cubicBezTo>
                  <a:lnTo>
                    <a:pt x="3327" y="5514"/>
                  </a:lnTo>
                  <a:close/>
                  <a:moveTo>
                    <a:pt x="2951" y="5461"/>
                  </a:moveTo>
                  <a:cubicBezTo>
                    <a:pt x="2963" y="5467"/>
                    <a:pt x="2979" y="5476"/>
                    <a:pt x="3000" y="5487"/>
                  </a:cubicBezTo>
                  <a:cubicBezTo>
                    <a:pt x="3040" y="5509"/>
                    <a:pt x="3094" y="5538"/>
                    <a:pt x="3150" y="5568"/>
                  </a:cubicBezTo>
                  <a:cubicBezTo>
                    <a:pt x="3190" y="5589"/>
                    <a:pt x="3231" y="5612"/>
                    <a:pt x="3268" y="5632"/>
                  </a:cubicBezTo>
                  <a:cubicBezTo>
                    <a:pt x="3222" y="5725"/>
                    <a:pt x="3222" y="5725"/>
                    <a:pt x="3222" y="5725"/>
                  </a:cubicBezTo>
                  <a:cubicBezTo>
                    <a:pt x="3194" y="5711"/>
                    <a:pt x="3165" y="5696"/>
                    <a:pt x="3136" y="5682"/>
                  </a:cubicBezTo>
                  <a:cubicBezTo>
                    <a:pt x="3019" y="5624"/>
                    <a:pt x="2900" y="5564"/>
                    <a:pt x="2884" y="5556"/>
                  </a:cubicBezTo>
                  <a:cubicBezTo>
                    <a:pt x="2937" y="5454"/>
                    <a:pt x="2937" y="5454"/>
                    <a:pt x="2937" y="5454"/>
                  </a:cubicBezTo>
                  <a:cubicBezTo>
                    <a:pt x="2941" y="5456"/>
                    <a:pt x="2945" y="5458"/>
                    <a:pt x="2951" y="5461"/>
                  </a:cubicBezTo>
                  <a:close/>
                  <a:moveTo>
                    <a:pt x="3216" y="5737"/>
                  </a:moveTo>
                  <a:cubicBezTo>
                    <a:pt x="3200" y="5769"/>
                    <a:pt x="3200" y="5769"/>
                    <a:pt x="3200" y="5769"/>
                  </a:cubicBezTo>
                  <a:cubicBezTo>
                    <a:pt x="3317" y="5826"/>
                    <a:pt x="3317" y="5826"/>
                    <a:pt x="3317" y="5826"/>
                  </a:cubicBezTo>
                  <a:cubicBezTo>
                    <a:pt x="3333" y="5795"/>
                    <a:pt x="3333" y="5795"/>
                    <a:pt x="3333" y="5795"/>
                  </a:cubicBezTo>
                  <a:cubicBezTo>
                    <a:pt x="3340" y="5799"/>
                    <a:pt x="3347" y="5803"/>
                    <a:pt x="3353" y="5805"/>
                  </a:cubicBezTo>
                  <a:cubicBezTo>
                    <a:pt x="3328" y="5853"/>
                    <a:pt x="3303" y="5903"/>
                    <a:pt x="3277" y="5954"/>
                  </a:cubicBezTo>
                  <a:cubicBezTo>
                    <a:pt x="3256" y="5944"/>
                    <a:pt x="3256" y="5944"/>
                    <a:pt x="3256" y="5944"/>
                  </a:cubicBezTo>
                  <a:cubicBezTo>
                    <a:pt x="3274" y="5908"/>
                    <a:pt x="3274" y="5908"/>
                    <a:pt x="3274" y="5908"/>
                  </a:cubicBezTo>
                  <a:cubicBezTo>
                    <a:pt x="3277" y="5902"/>
                    <a:pt x="3277" y="5902"/>
                    <a:pt x="3277" y="5902"/>
                  </a:cubicBezTo>
                  <a:cubicBezTo>
                    <a:pt x="3157" y="5844"/>
                    <a:pt x="3157" y="5844"/>
                    <a:pt x="3157" y="5844"/>
                  </a:cubicBezTo>
                  <a:cubicBezTo>
                    <a:pt x="3137" y="5884"/>
                    <a:pt x="3137" y="5884"/>
                    <a:pt x="3137" y="5884"/>
                  </a:cubicBezTo>
                  <a:cubicBezTo>
                    <a:pt x="3064" y="5848"/>
                    <a:pt x="3064" y="5848"/>
                    <a:pt x="3064" y="5848"/>
                  </a:cubicBezTo>
                  <a:cubicBezTo>
                    <a:pt x="3020" y="5871"/>
                    <a:pt x="3020" y="5871"/>
                    <a:pt x="3020" y="5871"/>
                  </a:cubicBezTo>
                  <a:cubicBezTo>
                    <a:pt x="2781" y="5752"/>
                    <a:pt x="2781" y="5752"/>
                    <a:pt x="2781" y="5752"/>
                  </a:cubicBezTo>
                  <a:cubicBezTo>
                    <a:pt x="2775" y="5764"/>
                    <a:pt x="2775" y="5764"/>
                    <a:pt x="2775" y="5764"/>
                  </a:cubicBezTo>
                  <a:cubicBezTo>
                    <a:pt x="3020" y="5887"/>
                    <a:pt x="3020" y="5887"/>
                    <a:pt x="3020" y="5887"/>
                  </a:cubicBezTo>
                  <a:cubicBezTo>
                    <a:pt x="3064" y="5863"/>
                    <a:pt x="3064" y="5863"/>
                    <a:pt x="3064" y="5863"/>
                  </a:cubicBezTo>
                  <a:cubicBezTo>
                    <a:pt x="3131" y="5897"/>
                    <a:pt x="3131" y="5897"/>
                    <a:pt x="3131" y="5897"/>
                  </a:cubicBezTo>
                  <a:cubicBezTo>
                    <a:pt x="3044" y="6071"/>
                    <a:pt x="3044" y="6071"/>
                    <a:pt x="3044" y="6071"/>
                  </a:cubicBezTo>
                  <a:cubicBezTo>
                    <a:pt x="2988" y="6046"/>
                    <a:pt x="2988" y="6046"/>
                    <a:pt x="2988" y="6046"/>
                  </a:cubicBezTo>
                  <a:cubicBezTo>
                    <a:pt x="2888" y="6075"/>
                    <a:pt x="2888" y="6075"/>
                    <a:pt x="2888" y="6075"/>
                  </a:cubicBezTo>
                  <a:cubicBezTo>
                    <a:pt x="2659" y="5982"/>
                    <a:pt x="2659" y="5982"/>
                    <a:pt x="2659" y="5982"/>
                  </a:cubicBezTo>
                  <a:cubicBezTo>
                    <a:pt x="2878" y="5568"/>
                    <a:pt x="2878" y="5568"/>
                    <a:pt x="2878" y="5568"/>
                  </a:cubicBezTo>
                  <a:cubicBezTo>
                    <a:pt x="2903" y="5581"/>
                    <a:pt x="3079" y="5669"/>
                    <a:pt x="3216" y="5737"/>
                  </a:cubicBezTo>
                  <a:close/>
                  <a:moveTo>
                    <a:pt x="3056" y="6076"/>
                  </a:moveTo>
                  <a:cubicBezTo>
                    <a:pt x="3143" y="5903"/>
                    <a:pt x="3143" y="5903"/>
                    <a:pt x="3143" y="5903"/>
                  </a:cubicBezTo>
                  <a:cubicBezTo>
                    <a:pt x="3238" y="5950"/>
                    <a:pt x="3238" y="5950"/>
                    <a:pt x="3238" y="5950"/>
                  </a:cubicBezTo>
                  <a:cubicBezTo>
                    <a:pt x="3152" y="6119"/>
                    <a:pt x="3152" y="6119"/>
                    <a:pt x="3152" y="6119"/>
                  </a:cubicBezTo>
                  <a:lnTo>
                    <a:pt x="3056" y="6076"/>
                  </a:lnTo>
                  <a:close/>
                  <a:moveTo>
                    <a:pt x="3146" y="6131"/>
                  </a:moveTo>
                  <a:cubicBezTo>
                    <a:pt x="3115" y="6191"/>
                    <a:pt x="3115" y="6191"/>
                    <a:pt x="3115" y="6191"/>
                  </a:cubicBezTo>
                  <a:cubicBezTo>
                    <a:pt x="3022" y="6146"/>
                    <a:pt x="3022" y="6146"/>
                    <a:pt x="3022" y="6146"/>
                  </a:cubicBezTo>
                  <a:cubicBezTo>
                    <a:pt x="3050" y="6089"/>
                    <a:pt x="3050" y="6089"/>
                    <a:pt x="3050" y="6089"/>
                  </a:cubicBezTo>
                  <a:lnTo>
                    <a:pt x="3146" y="6131"/>
                  </a:lnTo>
                  <a:close/>
                  <a:moveTo>
                    <a:pt x="3149" y="5890"/>
                  </a:moveTo>
                  <a:cubicBezTo>
                    <a:pt x="3163" y="5862"/>
                    <a:pt x="3163" y="5862"/>
                    <a:pt x="3163" y="5862"/>
                  </a:cubicBezTo>
                  <a:cubicBezTo>
                    <a:pt x="3259" y="5908"/>
                    <a:pt x="3259" y="5908"/>
                    <a:pt x="3259" y="5908"/>
                  </a:cubicBezTo>
                  <a:cubicBezTo>
                    <a:pt x="3244" y="5938"/>
                    <a:pt x="3244" y="5938"/>
                    <a:pt x="3244" y="5938"/>
                  </a:cubicBezTo>
                  <a:lnTo>
                    <a:pt x="3149" y="5890"/>
                  </a:lnTo>
                  <a:close/>
                  <a:moveTo>
                    <a:pt x="3250" y="5956"/>
                  </a:moveTo>
                  <a:cubicBezTo>
                    <a:pt x="3271" y="5967"/>
                    <a:pt x="3271" y="5967"/>
                    <a:pt x="3271" y="5967"/>
                  </a:cubicBezTo>
                  <a:cubicBezTo>
                    <a:pt x="3243" y="6022"/>
                    <a:pt x="3214" y="6079"/>
                    <a:pt x="3186" y="6134"/>
                  </a:cubicBezTo>
                  <a:cubicBezTo>
                    <a:pt x="3164" y="6124"/>
                    <a:pt x="3164" y="6124"/>
                    <a:pt x="3164" y="6124"/>
                  </a:cubicBezTo>
                  <a:lnTo>
                    <a:pt x="3250" y="5956"/>
                  </a:lnTo>
                  <a:close/>
                  <a:moveTo>
                    <a:pt x="2887" y="6090"/>
                  </a:moveTo>
                  <a:cubicBezTo>
                    <a:pt x="2987" y="6061"/>
                    <a:pt x="2987" y="6061"/>
                    <a:pt x="2987" y="6061"/>
                  </a:cubicBezTo>
                  <a:cubicBezTo>
                    <a:pt x="3038" y="6083"/>
                    <a:pt x="3038" y="6083"/>
                    <a:pt x="3038" y="6083"/>
                  </a:cubicBezTo>
                  <a:cubicBezTo>
                    <a:pt x="3004" y="6152"/>
                    <a:pt x="3004" y="6152"/>
                    <a:pt x="3004" y="6152"/>
                  </a:cubicBezTo>
                  <a:cubicBezTo>
                    <a:pt x="3121" y="6209"/>
                    <a:pt x="3121" y="6209"/>
                    <a:pt x="3121" y="6209"/>
                  </a:cubicBezTo>
                  <a:cubicBezTo>
                    <a:pt x="3158" y="6137"/>
                    <a:pt x="3158" y="6137"/>
                    <a:pt x="3158" y="6137"/>
                  </a:cubicBezTo>
                  <a:cubicBezTo>
                    <a:pt x="3180" y="6146"/>
                    <a:pt x="3180" y="6146"/>
                    <a:pt x="3180" y="6146"/>
                  </a:cubicBezTo>
                  <a:cubicBezTo>
                    <a:pt x="3148" y="6209"/>
                    <a:pt x="3117" y="6271"/>
                    <a:pt x="3090" y="6327"/>
                  </a:cubicBezTo>
                  <a:cubicBezTo>
                    <a:pt x="3049" y="6308"/>
                    <a:pt x="2918" y="6247"/>
                    <a:pt x="2785" y="6185"/>
                  </a:cubicBezTo>
                  <a:cubicBezTo>
                    <a:pt x="2646" y="6121"/>
                    <a:pt x="2509" y="6057"/>
                    <a:pt x="2469" y="6039"/>
                  </a:cubicBezTo>
                  <a:cubicBezTo>
                    <a:pt x="2482" y="6021"/>
                    <a:pt x="2494" y="6003"/>
                    <a:pt x="2505" y="5989"/>
                  </a:cubicBezTo>
                  <a:cubicBezTo>
                    <a:pt x="2521" y="5967"/>
                    <a:pt x="2535" y="5952"/>
                    <a:pt x="2539" y="5949"/>
                  </a:cubicBezTo>
                  <a:lnTo>
                    <a:pt x="2887" y="6090"/>
                  </a:lnTo>
                  <a:close/>
                  <a:moveTo>
                    <a:pt x="2920" y="6591"/>
                  </a:moveTo>
                  <a:cubicBezTo>
                    <a:pt x="2882" y="6667"/>
                    <a:pt x="2882" y="6667"/>
                    <a:pt x="2882" y="6667"/>
                  </a:cubicBezTo>
                  <a:cubicBezTo>
                    <a:pt x="2788" y="6621"/>
                    <a:pt x="2788" y="6621"/>
                    <a:pt x="2788" y="6621"/>
                  </a:cubicBezTo>
                  <a:cubicBezTo>
                    <a:pt x="2826" y="6545"/>
                    <a:pt x="2826" y="6545"/>
                    <a:pt x="2826" y="6545"/>
                  </a:cubicBezTo>
                  <a:lnTo>
                    <a:pt x="2920" y="6591"/>
                  </a:lnTo>
                  <a:close/>
                  <a:moveTo>
                    <a:pt x="2832" y="6533"/>
                  </a:moveTo>
                  <a:cubicBezTo>
                    <a:pt x="2929" y="6337"/>
                    <a:pt x="2929" y="6337"/>
                    <a:pt x="2929" y="6337"/>
                  </a:cubicBezTo>
                  <a:cubicBezTo>
                    <a:pt x="3026" y="6384"/>
                    <a:pt x="3026" y="6384"/>
                    <a:pt x="3026" y="6384"/>
                  </a:cubicBezTo>
                  <a:cubicBezTo>
                    <a:pt x="2926" y="6579"/>
                    <a:pt x="2926" y="6579"/>
                    <a:pt x="2926" y="6579"/>
                  </a:cubicBezTo>
                  <a:lnTo>
                    <a:pt x="2832" y="6533"/>
                  </a:lnTo>
                  <a:close/>
                  <a:moveTo>
                    <a:pt x="2770" y="6627"/>
                  </a:moveTo>
                  <a:cubicBezTo>
                    <a:pt x="2888" y="6684"/>
                    <a:pt x="2888" y="6684"/>
                    <a:pt x="2888" y="6684"/>
                  </a:cubicBezTo>
                  <a:cubicBezTo>
                    <a:pt x="2932" y="6597"/>
                    <a:pt x="2932" y="6597"/>
                    <a:pt x="2932" y="6597"/>
                  </a:cubicBezTo>
                  <a:cubicBezTo>
                    <a:pt x="2958" y="6610"/>
                    <a:pt x="2958" y="6610"/>
                    <a:pt x="2958" y="6610"/>
                  </a:cubicBezTo>
                  <a:cubicBezTo>
                    <a:pt x="2956" y="6620"/>
                    <a:pt x="2955" y="6630"/>
                    <a:pt x="2955" y="6641"/>
                  </a:cubicBezTo>
                  <a:cubicBezTo>
                    <a:pt x="2955" y="6670"/>
                    <a:pt x="2961" y="6702"/>
                    <a:pt x="2972" y="6736"/>
                  </a:cubicBezTo>
                  <a:cubicBezTo>
                    <a:pt x="2808" y="6793"/>
                    <a:pt x="2808" y="6793"/>
                    <a:pt x="2808" y="6793"/>
                  </a:cubicBezTo>
                  <a:cubicBezTo>
                    <a:pt x="2574" y="6708"/>
                    <a:pt x="2574" y="6708"/>
                    <a:pt x="2574" y="6708"/>
                  </a:cubicBezTo>
                  <a:cubicBezTo>
                    <a:pt x="2285" y="6544"/>
                    <a:pt x="2285" y="6544"/>
                    <a:pt x="2285" y="6544"/>
                  </a:cubicBezTo>
                  <a:cubicBezTo>
                    <a:pt x="2349" y="6444"/>
                    <a:pt x="2402" y="6363"/>
                    <a:pt x="2415" y="6343"/>
                  </a:cubicBezTo>
                  <a:cubicBezTo>
                    <a:pt x="2814" y="6539"/>
                    <a:pt x="2814" y="6539"/>
                    <a:pt x="2814" y="6539"/>
                  </a:cubicBezTo>
                  <a:lnTo>
                    <a:pt x="2770" y="6627"/>
                  </a:lnTo>
                  <a:close/>
                  <a:moveTo>
                    <a:pt x="2969" y="6580"/>
                  </a:moveTo>
                  <a:cubicBezTo>
                    <a:pt x="2966" y="6586"/>
                    <a:pt x="2964" y="6592"/>
                    <a:pt x="2962" y="6597"/>
                  </a:cubicBezTo>
                  <a:cubicBezTo>
                    <a:pt x="2938" y="6585"/>
                    <a:pt x="2938" y="6585"/>
                    <a:pt x="2938" y="6585"/>
                  </a:cubicBezTo>
                  <a:cubicBezTo>
                    <a:pt x="3040" y="6384"/>
                    <a:pt x="3040" y="6384"/>
                    <a:pt x="3040" y="6384"/>
                  </a:cubicBezTo>
                  <a:cubicBezTo>
                    <a:pt x="3043" y="6378"/>
                    <a:pt x="3043" y="6378"/>
                    <a:pt x="3043" y="6378"/>
                  </a:cubicBezTo>
                  <a:cubicBezTo>
                    <a:pt x="2924" y="6320"/>
                    <a:pt x="2924" y="6320"/>
                    <a:pt x="2924" y="6320"/>
                  </a:cubicBezTo>
                  <a:cubicBezTo>
                    <a:pt x="2820" y="6527"/>
                    <a:pt x="2820" y="6527"/>
                    <a:pt x="2820" y="6527"/>
                  </a:cubicBezTo>
                  <a:cubicBezTo>
                    <a:pt x="2418" y="6329"/>
                    <a:pt x="2418" y="6329"/>
                    <a:pt x="2418" y="6329"/>
                  </a:cubicBezTo>
                  <a:cubicBezTo>
                    <a:pt x="2375" y="6178"/>
                    <a:pt x="2375" y="6178"/>
                    <a:pt x="2375" y="6178"/>
                  </a:cubicBezTo>
                  <a:cubicBezTo>
                    <a:pt x="2384" y="6165"/>
                    <a:pt x="2423" y="6106"/>
                    <a:pt x="2461" y="6051"/>
                  </a:cubicBezTo>
                  <a:cubicBezTo>
                    <a:pt x="2492" y="6064"/>
                    <a:pt x="2637" y="6132"/>
                    <a:pt x="2779" y="6198"/>
                  </a:cubicBezTo>
                  <a:cubicBezTo>
                    <a:pt x="2912" y="6259"/>
                    <a:pt x="3042" y="6320"/>
                    <a:pt x="3083" y="6340"/>
                  </a:cubicBezTo>
                  <a:cubicBezTo>
                    <a:pt x="3029" y="6449"/>
                    <a:pt x="2986" y="6538"/>
                    <a:pt x="2969" y="6580"/>
                  </a:cubicBezTo>
                  <a:close/>
                  <a:moveTo>
                    <a:pt x="1783" y="5868"/>
                  </a:moveTo>
                  <a:cubicBezTo>
                    <a:pt x="1850" y="5751"/>
                    <a:pt x="1850" y="5751"/>
                    <a:pt x="1850" y="5751"/>
                  </a:cubicBezTo>
                  <a:cubicBezTo>
                    <a:pt x="1901" y="5780"/>
                    <a:pt x="1901" y="5780"/>
                    <a:pt x="1901" y="5780"/>
                  </a:cubicBezTo>
                  <a:cubicBezTo>
                    <a:pt x="1835" y="5897"/>
                    <a:pt x="1835" y="5897"/>
                    <a:pt x="1835" y="5897"/>
                  </a:cubicBezTo>
                  <a:lnTo>
                    <a:pt x="1783" y="5868"/>
                  </a:lnTo>
                  <a:close/>
                  <a:moveTo>
                    <a:pt x="1828" y="5909"/>
                  </a:moveTo>
                  <a:cubicBezTo>
                    <a:pt x="1775" y="6004"/>
                    <a:pt x="1775" y="6004"/>
                    <a:pt x="1775" y="6004"/>
                  </a:cubicBezTo>
                  <a:cubicBezTo>
                    <a:pt x="1723" y="5974"/>
                    <a:pt x="1723" y="5974"/>
                    <a:pt x="1723" y="5974"/>
                  </a:cubicBezTo>
                  <a:cubicBezTo>
                    <a:pt x="1777" y="5880"/>
                    <a:pt x="1777" y="5880"/>
                    <a:pt x="1777" y="5880"/>
                  </a:cubicBezTo>
                  <a:lnTo>
                    <a:pt x="1828" y="5909"/>
                  </a:lnTo>
                  <a:close/>
                  <a:moveTo>
                    <a:pt x="1857" y="5739"/>
                  </a:moveTo>
                  <a:cubicBezTo>
                    <a:pt x="1911" y="5644"/>
                    <a:pt x="1911" y="5644"/>
                    <a:pt x="1911" y="5644"/>
                  </a:cubicBezTo>
                  <a:cubicBezTo>
                    <a:pt x="1961" y="5672"/>
                    <a:pt x="1961" y="5672"/>
                    <a:pt x="1961" y="5672"/>
                  </a:cubicBezTo>
                  <a:cubicBezTo>
                    <a:pt x="1908" y="5768"/>
                    <a:pt x="1908" y="5768"/>
                    <a:pt x="1908" y="5768"/>
                  </a:cubicBezTo>
                  <a:lnTo>
                    <a:pt x="1857" y="5739"/>
                  </a:lnTo>
                  <a:close/>
                  <a:moveTo>
                    <a:pt x="1968" y="5660"/>
                  </a:moveTo>
                  <a:cubicBezTo>
                    <a:pt x="1917" y="5632"/>
                    <a:pt x="1917" y="5632"/>
                    <a:pt x="1917" y="5632"/>
                  </a:cubicBezTo>
                  <a:cubicBezTo>
                    <a:pt x="1976" y="5528"/>
                    <a:pt x="1976" y="5528"/>
                    <a:pt x="1976" y="5528"/>
                  </a:cubicBezTo>
                  <a:cubicBezTo>
                    <a:pt x="2022" y="5555"/>
                    <a:pt x="2022" y="5555"/>
                    <a:pt x="2022" y="5555"/>
                  </a:cubicBezTo>
                  <a:cubicBezTo>
                    <a:pt x="2029" y="5543"/>
                    <a:pt x="2029" y="5543"/>
                    <a:pt x="2029" y="5543"/>
                  </a:cubicBezTo>
                  <a:cubicBezTo>
                    <a:pt x="1983" y="5516"/>
                    <a:pt x="1983" y="5516"/>
                    <a:pt x="1983" y="5516"/>
                  </a:cubicBezTo>
                  <a:cubicBezTo>
                    <a:pt x="2043" y="5410"/>
                    <a:pt x="2043" y="5410"/>
                    <a:pt x="2043" y="5410"/>
                  </a:cubicBezTo>
                  <a:cubicBezTo>
                    <a:pt x="2092" y="5438"/>
                    <a:pt x="2092" y="5438"/>
                    <a:pt x="2092" y="5438"/>
                  </a:cubicBezTo>
                  <a:lnTo>
                    <a:pt x="1968" y="5660"/>
                  </a:lnTo>
                  <a:close/>
                  <a:moveTo>
                    <a:pt x="1971" y="5510"/>
                  </a:moveTo>
                  <a:cubicBezTo>
                    <a:pt x="1857" y="5445"/>
                    <a:pt x="1857" y="5445"/>
                    <a:pt x="1857" y="5445"/>
                  </a:cubicBezTo>
                  <a:cubicBezTo>
                    <a:pt x="1918" y="5338"/>
                    <a:pt x="1918" y="5338"/>
                    <a:pt x="1918" y="5338"/>
                  </a:cubicBezTo>
                  <a:cubicBezTo>
                    <a:pt x="2032" y="5403"/>
                    <a:pt x="2032" y="5403"/>
                    <a:pt x="2032" y="5403"/>
                  </a:cubicBezTo>
                  <a:lnTo>
                    <a:pt x="1971" y="5510"/>
                  </a:lnTo>
                  <a:close/>
                  <a:moveTo>
                    <a:pt x="1965" y="5522"/>
                  </a:moveTo>
                  <a:cubicBezTo>
                    <a:pt x="1906" y="5625"/>
                    <a:pt x="1906" y="5625"/>
                    <a:pt x="1906" y="5625"/>
                  </a:cubicBezTo>
                  <a:cubicBezTo>
                    <a:pt x="1792" y="5560"/>
                    <a:pt x="1792" y="5560"/>
                    <a:pt x="1792" y="5560"/>
                  </a:cubicBezTo>
                  <a:cubicBezTo>
                    <a:pt x="1851" y="5457"/>
                    <a:pt x="1851" y="5457"/>
                    <a:pt x="1851" y="5457"/>
                  </a:cubicBezTo>
                  <a:lnTo>
                    <a:pt x="1965" y="5522"/>
                  </a:lnTo>
                  <a:close/>
                  <a:moveTo>
                    <a:pt x="1899" y="5637"/>
                  </a:moveTo>
                  <a:cubicBezTo>
                    <a:pt x="1845" y="5732"/>
                    <a:pt x="1845" y="5732"/>
                    <a:pt x="1845" y="5732"/>
                  </a:cubicBezTo>
                  <a:cubicBezTo>
                    <a:pt x="1731" y="5667"/>
                    <a:pt x="1731" y="5667"/>
                    <a:pt x="1731" y="5667"/>
                  </a:cubicBezTo>
                  <a:cubicBezTo>
                    <a:pt x="1785" y="5572"/>
                    <a:pt x="1785" y="5572"/>
                    <a:pt x="1785" y="5572"/>
                  </a:cubicBezTo>
                  <a:lnTo>
                    <a:pt x="1899" y="5637"/>
                  </a:lnTo>
                  <a:close/>
                  <a:moveTo>
                    <a:pt x="1838" y="5744"/>
                  </a:moveTo>
                  <a:cubicBezTo>
                    <a:pt x="1772" y="5861"/>
                    <a:pt x="1772" y="5861"/>
                    <a:pt x="1772" y="5861"/>
                  </a:cubicBezTo>
                  <a:cubicBezTo>
                    <a:pt x="1658" y="5796"/>
                    <a:pt x="1658" y="5796"/>
                    <a:pt x="1658" y="5796"/>
                  </a:cubicBezTo>
                  <a:cubicBezTo>
                    <a:pt x="1724" y="5679"/>
                    <a:pt x="1724" y="5679"/>
                    <a:pt x="1724" y="5679"/>
                  </a:cubicBezTo>
                  <a:lnTo>
                    <a:pt x="1838" y="5744"/>
                  </a:lnTo>
                  <a:close/>
                  <a:moveTo>
                    <a:pt x="1765" y="5873"/>
                  </a:moveTo>
                  <a:cubicBezTo>
                    <a:pt x="1711" y="5968"/>
                    <a:pt x="1711" y="5968"/>
                    <a:pt x="1711" y="5968"/>
                  </a:cubicBezTo>
                  <a:cubicBezTo>
                    <a:pt x="1597" y="5903"/>
                    <a:pt x="1597" y="5903"/>
                    <a:pt x="1597" y="5903"/>
                  </a:cubicBezTo>
                  <a:cubicBezTo>
                    <a:pt x="1651" y="5808"/>
                    <a:pt x="1651" y="5808"/>
                    <a:pt x="1651" y="5808"/>
                  </a:cubicBezTo>
                  <a:lnTo>
                    <a:pt x="1765" y="5873"/>
                  </a:lnTo>
                  <a:close/>
                  <a:moveTo>
                    <a:pt x="1705" y="5980"/>
                  </a:moveTo>
                  <a:cubicBezTo>
                    <a:pt x="1645" y="6085"/>
                    <a:pt x="1645" y="6085"/>
                    <a:pt x="1645" y="6085"/>
                  </a:cubicBezTo>
                  <a:cubicBezTo>
                    <a:pt x="1531" y="6020"/>
                    <a:pt x="1531" y="6020"/>
                    <a:pt x="1531" y="6020"/>
                  </a:cubicBezTo>
                  <a:cubicBezTo>
                    <a:pt x="1591" y="5915"/>
                    <a:pt x="1591" y="5915"/>
                    <a:pt x="1591" y="5915"/>
                  </a:cubicBezTo>
                  <a:lnTo>
                    <a:pt x="1705" y="5980"/>
                  </a:lnTo>
                  <a:close/>
                  <a:moveTo>
                    <a:pt x="1638" y="6098"/>
                  </a:moveTo>
                  <a:cubicBezTo>
                    <a:pt x="1586" y="6190"/>
                    <a:pt x="1586" y="6190"/>
                    <a:pt x="1586" y="6190"/>
                  </a:cubicBezTo>
                  <a:cubicBezTo>
                    <a:pt x="1472" y="6124"/>
                    <a:pt x="1472" y="6124"/>
                    <a:pt x="1472" y="6124"/>
                  </a:cubicBezTo>
                  <a:cubicBezTo>
                    <a:pt x="1524" y="6032"/>
                    <a:pt x="1524" y="6032"/>
                    <a:pt x="1524" y="6032"/>
                  </a:cubicBezTo>
                  <a:lnTo>
                    <a:pt x="1638" y="6098"/>
                  </a:lnTo>
                  <a:close/>
                  <a:moveTo>
                    <a:pt x="1579" y="6202"/>
                  </a:moveTo>
                  <a:cubicBezTo>
                    <a:pt x="1519" y="6308"/>
                    <a:pt x="1519" y="6308"/>
                    <a:pt x="1519" y="6308"/>
                  </a:cubicBezTo>
                  <a:cubicBezTo>
                    <a:pt x="1405" y="6243"/>
                    <a:pt x="1405" y="6243"/>
                    <a:pt x="1405" y="6243"/>
                  </a:cubicBezTo>
                  <a:cubicBezTo>
                    <a:pt x="1465" y="6137"/>
                    <a:pt x="1465" y="6137"/>
                    <a:pt x="1465" y="6137"/>
                  </a:cubicBezTo>
                  <a:lnTo>
                    <a:pt x="1579" y="6202"/>
                  </a:lnTo>
                  <a:close/>
                  <a:moveTo>
                    <a:pt x="1590" y="6208"/>
                  </a:moveTo>
                  <a:cubicBezTo>
                    <a:pt x="1644" y="6239"/>
                    <a:pt x="1644" y="6239"/>
                    <a:pt x="1644" y="6239"/>
                  </a:cubicBezTo>
                  <a:cubicBezTo>
                    <a:pt x="1584" y="6345"/>
                    <a:pt x="1584" y="6345"/>
                    <a:pt x="1584" y="6345"/>
                  </a:cubicBezTo>
                  <a:cubicBezTo>
                    <a:pt x="1530" y="6314"/>
                    <a:pt x="1530" y="6314"/>
                    <a:pt x="1530" y="6314"/>
                  </a:cubicBezTo>
                  <a:lnTo>
                    <a:pt x="1590" y="6208"/>
                  </a:lnTo>
                  <a:close/>
                  <a:moveTo>
                    <a:pt x="1597" y="6196"/>
                  </a:moveTo>
                  <a:cubicBezTo>
                    <a:pt x="1649" y="6104"/>
                    <a:pt x="1649" y="6104"/>
                    <a:pt x="1649" y="6104"/>
                  </a:cubicBezTo>
                  <a:cubicBezTo>
                    <a:pt x="1702" y="6134"/>
                    <a:pt x="1702" y="6134"/>
                    <a:pt x="1702" y="6134"/>
                  </a:cubicBezTo>
                  <a:cubicBezTo>
                    <a:pt x="1651" y="6227"/>
                    <a:pt x="1651" y="6227"/>
                    <a:pt x="1651" y="6227"/>
                  </a:cubicBezTo>
                  <a:lnTo>
                    <a:pt x="1597" y="6196"/>
                  </a:lnTo>
                  <a:close/>
                  <a:moveTo>
                    <a:pt x="1656" y="6092"/>
                  </a:moveTo>
                  <a:cubicBezTo>
                    <a:pt x="1716" y="5987"/>
                    <a:pt x="1716" y="5987"/>
                    <a:pt x="1716" y="5987"/>
                  </a:cubicBezTo>
                  <a:cubicBezTo>
                    <a:pt x="1768" y="6016"/>
                    <a:pt x="1768" y="6016"/>
                    <a:pt x="1768" y="6016"/>
                  </a:cubicBezTo>
                  <a:cubicBezTo>
                    <a:pt x="1709" y="6122"/>
                    <a:pt x="1709" y="6122"/>
                    <a:pt x="1709" y="6122"/>
                  </a:cubicBezTo>
                  <a:lnTo>
                    <a:pt x="1656" y="6092"/>
                  </a:lnTo>
                  <a:close/>
                  <a:moveTo>
                    <a:pt x="1819" y="6060"/>
                  </a:moveTo>
                  <a:cubicBezTo>
                    <a:pt x="1830" y="6069"/>
                    <a:pt x="1830" y="6069"/>
                    <a:pt x="1830" y="6069"/>
                  </a:cubicBezTo>
                  <a:cubicBezTo>
                    <a:pt x="1759" y="6212"/>
                    <a:pt x="1759" y="6212"/>
                    <a:pt x="1759" y="6212"/>
                  </a:cubicBezTo>
                  <a:cubicBezTo>
                    <a:pt x="1876" y="6269"/>
                    <a:pt x="1876" y="6269"/>
                    <a:pt x="1876" y="6269"/>
                  </a:cubicBezTo>
                  <a:cubicBezTo>
                    <a:pt x="1938" y="6148"/>
                    <a:pt x="1938" y="6148"/>
                    <a:pt x="1938" y="6148"/>
                  </a:cubicBezTo>
                  <a:cubicBezTo>
                    <a:pt x="2092" y="6263"/>
                    <a:pt x="2092" y="6263"/>
                    <a:pt x="2092" y="6263"/>
                  </a:cubicBezTo>
                  <a:cubicBezTo>
                    <a:pt x="2100" y="6251"/>
                    <a:pt x="2100" y="6251"/>
                    <a:pt x="2100" y="6251"/>
                  </a:cubicBezTo>
                  <a:cubicBezTo>
                    <a:pt x="1944" y="6136"/>
                    <a:pt x="1944" y="6136"/>
                    <a:pt x="1944" y="6136"/>
                  </a:cubicBezTo>
                  <a:cubicBezTo>
                    <a:pt x="2029" y="5968"/>
                    <a:pt x="2029" y="5968"/>
                    <a:pt x="2029" y="5968"/>
                  </a:cubicBezTo>
                  <a:cubicBezTo>
                    <a:pt x="2032" y="5962"/>
                    <a:pt x="2032" y="5962"/>
                    <a:pt x="2032" y="5962"/>
                  </a:cubicBezTo>
                  <a:cubicBezTo>
                    <a:pt x="1912" y="5904"/>
                    <a:pt x="1912" y="5904"/>
                    <a:pt x="1912" y="5904"/>
                  </a:cubicBezTo>
                  <a:cubicBezTo>
                    <a:pt x="1837" y="6056"/>
                    <a:pt x="1837" y="6056"/>
                    <a:pt x="1837" y="6056"/>
                  </a:cubicBezTo>
                  <a:cubicBezTo>
                    <a:pt x="1826" y="6048"/>
                    <a:pt x="1826" y="6048"/>
                    <a:pt x="1826" y="6048"/>
                  </a:cubicBezTo>
                  <a:cubicBezTo>
                    <a:pt x="1923" y="5875"/>
                    <a:pt x="1923" y="5875"/>
                    <a:pt x="1923" y="5875"/>
                  </a:cubicBezTo>
                  <a:cubicBezTo>
                    <a:pt x="1967" y="5906"/>
                    <a:pt x="2076" y="5983"/>
                    <a:pt x="2113" y="6005"/>
                  </a:cubicBezTo>
                  <a:cubicBezTo>
                    <a:pt x="2121" y="6010"/>
                    <a:pt x="2122" y="6012"/>
                    <a:pt x="2129" y="6013"/>
                  </a:cubicBezTo>
                  <a:cubicBezTo>
                    <a:pt x="2135" y="6013"/>
                    <a:pt x="2398" y="6041"/>
                    <a:pt x="2447" y="6047"/>
                  </a:cubicBezTo>
                  <a:cubicBezTo>
                    <a:pt x="2445" y="6050"/>
                    <a:pt x="2443" y="6052"/>
                    <a:pt x="2441" y="6055"/>
                  </a:cubicBezTo>
                  <a:cubicBezTo>
                    <a:pt x="2405" y="6107"/>
                    <a:pt x="2372" y="6159"/>
                    <a:pt x="2364" y="6171"/>
                  </a:cubicBezTo>
                  <a:cubicBezTo>
                    <a:pt x="2341" y="6174"/>
                    <a:pt x="2190" y="6195"/>
                    <a:pt x="2146" y="6203"/>
                  </a:cubicBezTo>
                  <a:cubicBezTo>
                    <a:pt x="2138" y="6204"/>
                    <a:pt x="2135" y="6204"/>
                    <a:pt x="2131" y="6206"/>
                  </a:cubicBezTo>
                  <a:cubicBezTo>
                    <a:pt x="2131" y="6207"/>
                    <a:pt x="2129" y="6207"/>
                    <a:pt x="2128" y="6210"/>
                  </a:cubicBezTo>
                  <a:cubicBezTo>
                    <a:pt x="2128" y="6210"/>
                    <a:pt x="2128" y="6210"/>
                    <a:pt x="2128" y="6210"/>
                  </a:cubicBezTo>
                  <a:cubicBezTo>
                    <a:pt x="2126" y="6215"/>
                    <a:pt x="2126" y="6215"/>
                    <a:pt x="2126" y="6215"/>
                  </a:cubicBezTo>
                  <a:cubicBezTo>
                    <a:pt x="2126" y="6215"/>
                    <a:pt x="2126" y="6215"/>
                    <a:pt x="2126" y="6215"/>
                  </a:cubicBezTo>
                  <a:cubicBezTo>
                    <a:pt x="2125" y="6216"/>
                    <a:pt x="2124" y="6217"/>
                    <a:pt x="2123" y="6219"/>
                  </a:cubicBezTo>
                  <a:cubicBezTo>
                    <a:pt x="2120" y="6225"/>
                    <a:pt x="2114" y="6232"/>
                    <a:pt x="2108" y="6241"/>
                  </a:cubicBezTo>
                  <a:cubicBezTo>
                    <a:pt x="2096" y="6259"/>
                    <a:pt x="2079" y="6282"/>
                    <a:pt x="2063" y="6306"/>
                  </a:cubicBezTo>
                  <a:cubicBezTo>
                    <a:pt x="2040" y="6337"/>
                    <a:pt x="2017" y="6368"/>
                    <a:pt x="2005" y="6385"/>
                  </a:cubicBezTo>
                  <a:cubicBezTo>
                    <a:pt x="1726" y="6226"/>
                    <a:pt x="1726" y="6226"/>
                    <a:pt x="1726" y="6226"/>
                  </a:cubicBezTo>
                  <a:lnTo>
                    <a:pt x="1819" y="6060"/>
                  </a:lnTo>
                  <a:close/>
                  <a:moveTo>
                    <a:pt x="1927" y="6140"/>
                  </a:moveTo>
                  <a:cubicBezTo>
                    <a:pt x="1871" y="6252"/>
                    <a:pt x="1871" y="6252"/>
                    <a:pt x="1871" y="6252"/>
                  </a:cubicBezTo>
                  <a:cubicBezTo>
                    <a:pt x="1777" y="6206"/>
                    <a:pt x="1777" y="6206"/>
                    <a:pt x="1777" y="6206"/>
                  </a:cubicBezTo>
                  <a:cubicBezTo>
                    <a:pt x="1841" y="6077"/>
                    <a:pt x="1841" y="6077"/>
                    <a:pt x="1841" y="6077"/>
                  </a:cubicBezTo>
                  <a:lnTo>
                    <a:pt x="1927" y="6140"/>
                  </a:lnTo>
                  <a:close/>
                  <a:moveTo>
                    <a:pt x="1847" y="6064"/>
                  </a:moveTo>
                  <a:cubicBezTo>
                    <a:pt x="1918" y="5922"/>
                    <a:pt x="1918" y="5922"/>
                    <a:pt x="1918" y="5922"/>
                  </a:cubicBezTo>
                  <a:cubicBezTo>
                    <a:pt x="2014" y="5968"/>
                    <a:pt x="2014" y="5968"/>
                    <a:pt x="2014" y="5968"/>
                  </a:cubicBezTo>
                  <a:cubicBezTo>
                    <a:pt x="1933" y="6128"/>
                    <a:pt x="1933" y="6128"/>
                    <a:pt x="1933" y="6128"/>
                  </a:cubicBezTo>
                  <a:lnTo>
                    <a:pt x="1847" y="6064"/>
                  </a:lnTo>
                  <a:close/>
                  <a:moveTo>
                    <a:pt x="2135" y="6227"/>
                  </a:moveTo>
                  <a:cubicBezTo>
                    <a:pt x="2137" y="6222"/>
                    <a:pt x="2139" y="6221"/>
                    <a:pt x="2140" y="6218"/>
                  </a:cubicBezTo>
                  <a:cubicBezTo>
                    <a:pt x="2142" y="6218"/>
                    <a:pt x="2144" y="6217"/>
                    <a:pt x="2146" y="6217"/>
                  </a:cubicBezTo>
                  <a:cubicBezTo>
                    <a:pt x="2152" y="6216"/>
                    <a:pt x="2161" y="6214"/>
                    <a:pt x="2172" y="6213"/>
                  </a:cubicBezTo>
                  <a:cubicBezTo>
                    <a:pt x="2194" y="6209"/>
                    <a:pt x="2223" y="6205"/>
                    <a:pt x="2252" y="6201"/>
                  </a:cubicBezTo>
                  <a:cubicBezTo>
                    <a:pt x="2300" y="6194"/>
                    <a:pt x="2347" y="6187"/>
                    <a:pt x="2363" y="6185"/>
                  </a:cubicBezTo>
                  <a:cubicBezTo>
                    <a:pt x="2404" y="6333"/>
                    <a:pt x="2404" y="6333"/>
                    <a:pt x="2404" y="6333"/>
                  </a:cubicBezTo>
                  <a:cubicBezTo>
                    <a:pt x="2394" y="6348"/>
                    <a:pt x="2340" y="6433"/>
                    <a:pt x="2273" y="6537"/>
                  </a:cubicBezTo>
                  <a:cubicBezTo>
                    <a:pt x="2018" y="6392"/>
                    <a:pt x="2018" y="6392"/>
                    <a:pt x="2018" y="6392"/>
                  </a:cubicBezTo>
                  <a:cubicBezTo>
                    <a:pt x="2044" y="6356"/>
                    <a:pt x="2114" y="6259"/>
                    <a:pt x="2135" y="6227"/>
                  </a:cubicBezTo>
                  <a:close/>
                  <a:moveTo>
                    <a:pt x="3037" y="7308"/>
                  </a:moveTo>
                  <a:cubicBezTo>
                    <a:pt x="3013" y="7255"/>
                    <a:pt x="2982" y="7184"/>
                    <a:pt x="2951" y="7112"/>
                  </a:cubicBezTo>
                  <a:cubicBezTo>
                    <a:pt x="2892" y="6976"/>
                    <a:pt x="2832" y="6837"/>
                    <a:pt x="2817" y="6804"/>
                  </a:cubicBezTo>
                  <a:cubicBezTo>
                    <a:pt x="2977" y="6749"/>
                    <a:pt x="2977" y="6749"/>
                    <a:pt x="2977" y="6749"/>
                  </a:cubicBezTo>
                  <a:cubicBezTo>
                    <a:pt x="2997" y="6803"/>
                    <a:pt x="3030" y="6859"/>
                    <a:pt x="3077" y="6906"/>
                  </a:cubicBezTo>
                  <a:cubicBezTo>
                    <a:pt x="3164" y="6993"/>
                    <a:pt x="3271" y="7055"/>
                    <a:pt x="3388" y="7137"/>
                  </a:cubicBezTo>
                  <a:cubicBezTo>
                    <a:pt x="3414" y="7156"/>
                    <a:pt x="3444" y="7182"/>
                    <a:pt x="3475" y="7210"/>
                  </a:cubicBezTo>
                  <a:cubicBezTo>
                    <a:pt x="3455" y="7213"/>
                    <a:pt x="3433" y="7217"/>
                    <a:pt x="3410" y="7221"/>
                  </a:cubicBezTo>
                  <a:cubicBezTo>
                    <a:pt x="3339" y="7236"/>
                    <a:pt x="3259" y="7255"/>
                    <a:pt x="3208" y="7289"/>
                  </a:cubicBezTo>
                  <a:cubicBezTo>
                    <a:pt x="3173" y="7314"/>
                    <a:pt x="3125" y="7350"/>
                    <a:pt x="3071" y="7381"/>
                  </a:cubicBezTo>
                  <a:cubicBezTo>
                    <a:pt x="3069" y="7378"/>
                    <a:pt x="3068" y="7375"/>
                    <a:pt x="3066" y="7372"/>
                  </a:cubicBezTo>
                  <a:cubicBezTo>
                    <a:pt x="3059" y="7357"/>
                    <a:pt x="3049" y="7335"/>
                    <a:pt x="3037" y="7308"/>
                  </a:cubicBezTo>
                  <a:close/>
                  <a:moveTo>
                    <a:pt x="3426" y="7084"/>
                  </a:moveTo>
                  <a:cubicBezTo>
                    <a:pt x="3306" y="7000"/>
                    <a:pt x="3202" y="6939"/>
                    <a:pt x="3123" y="6859"/>
                  </a:cubicBezTo>
                  <a:cubicBezTo>
                    <a:pt x="3057" y="6794"/>
                    <a:pt x="3020" y="6695"/>
                    <a:pt x="3021" y="6641"/>
                  </a:cubicBezTo>
                  <a:cubicBezTo>
                    <a:pt x="3021" y="6634"/>
                    <a:pt x="3021" y="6627"/>
                    <a:pt x="3022" y="6622"/>
                  </a:cubicBezTo>
                  <a:cubicBezTo>
                    <a:pt x="3022" y="6622"/>
                    <a:pt x="3022" y="6622"/>
                    <a:pt x="3022" y="6622"/>
                  </a:cubicBezTo>
                  <a:cubicBezTo>
                    <a:pt x="3022" y="6622"/>
                    <a:pt x="3022" y="6622"/>
                    <a:pt x="3023" y="6622"/>
                  </a:cubicBezTo>
                  <a:cubicBezTo>
                    <a:pt x="3023" y="6621"/>
                    <a:pt x="3023" y="6620"/>
                    <a:pt x="3024" y="6618"/>
                  </a:cubicBezTo>
                  <a:cubicBezTo>
                    <a:pt x="3025" y="6615"/>
                    <a:pt x="3027" y="6611"/>
                    <a:pt x="3029" y="6605"/>
                  </a:cubicBezTo>
                  <a:cubicBezTo>
                    <a:pt x="3033" y="6595"/>
                    <a:pt x="3040" y="6581"/>
                    <a:pt x="3048" y="6563"/>
                  </a:cubicBezTo>
                  <a:cubicBezTo>
                    <a:pt x="3053" y="6552"/>
                    <a:pt x="3059" y="6539"/>
                    <a:pt x="3065" y="6526"/>
                  </a:cubicBezTo>
                  <a:cubicBezTo>
                    <a:pt x="3539" y="6755"/>
                    <a:pt x="3539" y="6755"/>
                    <a:pt x="3539" y="6755"/>
                  </a:cubicBezTo>
                  <a:cubicBezTo>
                    <a:pt x="3430" y="7087"/>
                    <a:pt x="3430" y="7087"/>
                    <a:pt x="3430" y="7087"/>
                  </a:cubicBezTo>
                  <a:cubicBezTo>
                    <a:pt x="3429" y="7086"/>
                    <a:pt x="3427" y="7085"/>
                    <a:pt x="3426" y="7084"/>
                  </a:cubicBezTo>
                  <a:close/>
                  <a:moveTo>
                    <a:pt x="3071" y="6513"/>
                  </a:moveTo>
                  <a:cubicBezTo>
                    <a:pt x="3083" y="6488"/>
                    <a:pt x="3097" y="6460"/>
                    <a:pt x="3112" y="6429"/>
                  </a:cubicBezTo>
                  <a:cubicBezTo>
                    <a:pt x="3144" y="6364"/>
                    <a:pt x="3182" y="6288"/>
                    <a:pt x="3223" y="6207"/>
                  </a:cubicBezTo>
                  <a:cubicBezTo>
                    <a:pt x="3823" y="6446"/>
                    <a:pt x="3823" y="6446"/>
                    <a:pt x="3823" y="6446"/>
                  </a:cubicBezTo>
                  <a:cubicBezTo>
                    <a:pt x="3828" y="6433"/>
                    <a:pt x="3828" y="6433"/>
                    <a:pt x="3828" y="6433"/>
                  </a:cubicBezTo>
                  <a:cubicBezTo>
                    <a:pt x="3229" y="6195"/>
                    <a:pt x="3229" y="6195"/>
                    <a:pt x="3229" y="6195"/>
                  </a:cubicBezTo>
                  <a:cubicBezTo>
                    <a:pt x="3253" y="6147"/>
                    <a:pt x="3278" y="6097"/>
                    <a:pt x="3303" y="6048"/>
                  </a:cubicBezTo>
                  <a:cubicBezTo>
                    <a:pt x="3338" y="5979"/>
                    <a:pt x="3373" y="5911"/>
                    <a:pt x="3405" y="5847"/>
                  </a:cubicBezTo>
                  <a:cubicBezTo>
                    <a:pt x="3971" y="6004"/>
                    <a:pt x="3971" y="6004"/>
                    <a:pt x="3971" y="6004"/>
                  </a:cubicBezTo>
                  <a:cubicBezTo>
                    <a:pt x="3975" y="5990"/>
                    <a:pt x="3975" y="5990"/>
                    <a:pt x="3975" y="5990"/>
                  </a:cubicBezTo>
                  <a:cubicBezTo>
                    <a:pt x="3412" y="5834"/>
                    <a:pt x="3412" y="5834"/>
                    <a:pt x="3412" y="5834"/>
                  </a:cubicBezTo>
                  <a:cubicBezTo>
                    <a:pt x="3458" y="5743"/>
                    <a:pt x="3500" y="5662"/>
                    <a:pt x="3529" y="5604"/>
                  </a:cubicBezTo>
                  <a:cubicBezTo>
                    <a:pt x="3554" y="5609"/>
                    <a:pt x="3600" y="5620"/>
                    <a:pt x="3644" y="5631"/>
                  </a:cubicBezTo>
                  <a:cubicBezTo>
                    <a:pt x="3708" y="5646"/>
                    <a:pt x="3771" y="5662"/>
                    <a:pt x="3771" y="5662"/>
                  </a:cubicBezTo>
                  <a:cubicBezTo>
                    <a:pt x="3777" y="5663"/>
                    <a:pt x="3777" y="5663"/>
                    <a:pt x="3777" y="5663"/>
                  </a:cubicBezTo>
                  <a:cubicBezTo>
                    <a:pt x="3807" y="5582"/>
                    <a:pt x="3807" y="5582"/>
                    <a:pt x="3807" y="5582"/>
                  </a:cubicBezTo>
                  <a:cubicBezTo>
                    <a:pt x="3821" y="5580"/>
                    <a:pt x="3866" y="5574"/>
                    <a:pt x="3911" y="5569"/>
                  </a:cubicBezTo>
                  <a:cubicBezTo>
                    <a:pt x="3954" y="5564"/>
                    <a:pt x="3996" y="5558"/>
                    <a:pt x="4013" y="5556"/>
                  </a:cubicBezTo>
                  <a:cubicBezTo>
                    <a:pt x="3978" y="5995"/>
                    <a:pt x="3978" y="5995"/>
                    <a:pt x="3978" y="5995"/>
                  </a:cubicBezTo>
                  <a:cubicBezTo>
                    <a:pt x="3867" y="6195"/>
                    <a:pt x="3867" y="6195"/>
                    <a:pt x="3867" y="6195"/>
                  </a:cubicBezTo>
                  <a:cubicBezTo>
                    <a:pt x="3873" y="6197"/>
                    <a:pt x="3873" y="6197"/>
                    <a:pt x="3873" y="6197"/>
                  </a:cubicBezTo>
                  <a:cubicBezTo>
                    <a:pt x="3873" y="6197"/>
                    <a:pt x="3873" y="6197"/>
                    <a:pt x="3873" y="6198"/>
                  </a:cubicBezTo>
                  <a:cubicBezTo>
                    <a:pt x="3873" y="6199"/>
                    <a:pt x="3874" y="6202"/>
                    <a:pt x="3874" y="6205"/>
                  </a:cubicBezTo>
                  <a:cubicBezTo>
                    <a:pt x="3875" y="6212"/>
                    <a:pt x="3875" y="6221"/>
                    <a:pt x="3875" y="6232"/>
                  </a:cubicBezTo>
                  <a:cubicBezTo>
                    <a:pt x="3875" y="6271"/>
                    <a:pt x="3871" y="6326"/>
                    <a:pt x="3870" y="6334"/>
                  </a:cubicBezTo>
                  <a:cubicBezTo>
                    <a:pt x="3868" y="6339"/>
                    <a:pt x="3868" y="6339"/>
                    <a:pt x="3868" y="6339"/>
                  </a:cubicBezTo>
                  <a:cubicBezTo>
                    <a:pt x="3867" y="6340"/>
                    <a:pt x="3867" y="6340"/>
                    <a:pt x="3867" y="6340"/>
                  </a:cubicBezTo>
                  <a:cubicBezTo>
                    <a:pt x="3867" y="6340"/>
                    <a:pt x="3867" y="6340"/>
                    <a:pt x="3867" y="6340"/>
                  </a:cubicBezTo>
                  <a:cubicBezTo>
                    <a:pt x="3865" y="6333"/>
                    <a:pt x="3865" y="6333"/>
                    <a:pt x="3865" y="6333"/>
                  </a:cubicBezTo>
                  <a:cubicBezTo>
                    <a:pt x="3864" y="6333"/>
                    <a:pt x="3859" y="6336"/>
                    <a:pt x="3859" y="6340"/>
                  </a:cubicBezTo>
                  <a:cubicBezTo>
                    <a:pt x="3860" y="6346"/>
                    <a:pt x="3862" y="6345"/>
                    <a:pt x="3863" y="6346"/>
                  </a:cubicBezTo>
                  <a:cubicBezTo>
                    <a:pt x="3864" y="6347"/>
                    <a:pt x="3864" y="6347"/>
                    <a:pt x="3865" y="6348"/>
                  </a:cubicBezTo>
                  <a:cubicBezTo>
                    <a:pt x="3791" y="6529"/>
                    <a:pt x="3791" y="6529"/>
                    <a:pt x="3791" y="6529"/>
                  </a:cubicBezTo>
                  <a:cubicBezTo>
                    <a:pt x="3546" y="6743"/>
                    <a:pt x="3546" y="6743"/>
                    <a:pt x="3546" y="6743"/>
                  </a:cubicBezTo>
                  <a:lnTo>
                    <a:pt x="3071" y="6513"/>
                  </a:lnTo>
                  <a:close/>
                  <a:moveTo>
                    <a:pt x="3806" y="6530"/>
                  </a:moveTo>
                  <a:cubicBezTo>
                    <a:pt x="3877" y="6354"/>
                    <a:pt x="3877" y="6354"/>
                    <a:pt x="3877" y="6354"/>
                  </a:cubicBezTo>
                  <a:cubicBezTo>
                    <a:pt x="3877" y="6355"/>
                    <a:pt x="3878" y="6355"/>
                    <a:pt x="3878" y="6355"/>
                  </a:cubicBezTo>
                  <a:cubicBezTo>
                    <a:pt x="3888" y="6360"/>
                    <a:pt x="3902" y="6367"/>
                    <a:pt x="3918" y="6375"/>
                  </a:cubicBezTo>
                  <a:cubicBezTo>
                    <a:pt x="3951" y="6391"/>
                    <a:pt x="3995" y="6411"/>
                    <a:pt x="4039" y="6431"/>
                  </a:cubicBezTo>
                  <a:cubicBezTo>
                    <a:pt x="4113" y="6464"/>
                    <a:pt x="4187" y="6497"/>
                    <a:pt x="4208" y="6506"/>
                  </a:cubicBezTo>
                  <a:cubicBezTo>
                    <a:pt x="4072" y="6684"/>
                    <a:pt x="4072" y="6684"/>
                    <a:pt x="4072" y="6684"/>
                  </a:cubicBezTo>
                  <a:lnTo>
                    <a:pt x="3806" y="6530"/>
                  </a:lnTo>
                  <a:close/>
                  <a:moveTo>
                    <a:pt x="4053" y="6422"/>
                  </a:moveTo>
                  <a:cubicBezTo>
                    <a:pt x="3982" y="6390"/>
                    <a:pt x="3909" y="6356"/>
                    <a:pt x="3882" y="6342"/>
                  </a:cubicBezTo>
                  <a:cubicBezTo>
                    <a:pt x="3884" y="6338"/>
                    <a:pt x="3884" y="6338"/>
                    <a:pt x="3884" y="6338"/>
                  </a:cubicBezTo>
                  <a:cubicBezTo>
                    <a:pt x="3884" y="6337"/>
                    <a:pt x="3884" y="6337"/>
                    <a:pt x="3884" y="6337"/>
                  </a:cubicBezTo>
                  <a:cubicBezTo>
                    <a:pt x="3884" y="6337"/>
                    <a:pt x="3889" y="6275"/>
                    <a:pt x="3889" y="6232"/>
                  </a:cubicBezTo>
                  <a:cubicBezTo>
                    <a:pt x="3889" y="6221"/>
                    <a:pt x="3889" y="6211"/>
                    <a:pt x="3888" y="6203"/>
                  </a:cubicBezTo>
                  <a:cubicBezTo>
                    <a:pt x="3888" y="6203"/>
                    <a:pt x="3888" y="6203"/>
                    <a:pt x="3888" y="6202"/>
                  </a:cubicBezTo>
                  <a:cubicBezTo>
                    <a:pt x="4242" y="6315"/>
                    <a:pt x="4242" y="6315"/>
                    <a:pt x="4242" y="6315"/>
                  </a:cubicBezTo>
                  <a:cubicBezTo>
                    <a:pt x="4402" y="6339"/>
                    <a:pt x="4402" y="6339"/>
                    <a:pt x="4402" y="6339"/>
                  </a:cubicBezTo>
                  <a:cubicBezTo>
                    <a:pt x="4387" y="6423"/>
                    <a:pt x="4387" y="6423"/>
                    <a:pt x="4387" y="6423"/>
                  </a:cubicBezTo>
                  <a:cubicBezTo>
                    <a:pt x="4541" y="6448"/>
                    <a:pt x="4541" y="6448"/>
                    <a:pt x="4541" y="6448"/>
                  </a:cubicBezTo>
                  <a:cubicBezTo>
                    <a:pt x="4557" y="6362"/>
                    <a:pt x="4557" y="6362"/>
                    <a:pt x="4557" y="6362"/>
                  </a:cubicBezTo>
                  <a:cubicBezTo>
                    <a:pt x="4605" y="6369"/>
                    <a:pt x="4605" y="6369"/>
                    <a:pt x="4605" y="6369"/>
                  </a:cubicBezTo>
                  <a:cubicBezTo>
                    <a:pt x="4581" y="6492"/>
                    <a:pt x="4558" y="6610"/>
                    <a:pt x="4539" y="6710"/>
                  </a:cubicBezTo>
                  <a:cubicBezTo>
                    <a:pt x="4376" y="6630"/>
                    <a:pt x="4376" y="6630"/>
                    <a:pt x="4376" y="6630"/>
                  </a:cubicBezTo>
                  <a:cubicBezTo>
                    <a:pt x="4376" y="6630"/>
                    <a:pt x="4376" y="6630"/>
                    <a:pt x="4376" y="6630"/>
                  </a:cubicBezTo>
                  <a:cubicBezTo>
                    <a:pt x="4332" y="6543"/>
                    <a:pt x="4332" y="6543"/>
                    <a:pt x="4332" y="6543"/>
                  </a:cubicBezTo>
                  <a:cubicBezTo>
                    <a:pt x="4218" y="6493"/>
                    <a:pt x="4218" y="6493"/>
                    <a:pt x="4218" y="6493"/>
                  </a:cubicBezTo>
                  <a:cubicBezTo>
                    <a:pt x="4217" y="6495"/>
                    <a:pt x="4217" y="6495"/>
                    <a:pt x="4217" y="6495"/>
                  </a:cubicBezTo>
                  <a:cubicBezTo>
                    <a:pt x="4201" y="6488"/>
                    <a:pt x="4128" y="6456"/>
                    <a:pt x="4053" y="6422"/>
                  </a:cubicBezTo>
                  <a:close/>
                  <a:moveTo>
                    <a:pt x="4536" y="6724"/>
                  </a:moveTo>
                  <a:cubicBezTo>
                    <a:pt x="4517" y="6828"/>
                    <a:pt x="4502" y="6911"/>
                    <a:pt x="4496" y="6957"/>
                  </a:cubicBezTo>
                  <a:cubicBezTo>
                    <a:pt x="4489" y="7010"/>
                    <a:pt x="4480" y="7061"/>
                    <a:pt x="4469" y="7108"/>
                  </a:cubicBezTo>
                  <a:cubicBezTo>
                    <a:pt x="4263" y="7094"/>
                    <a:pt x="4263" y="7094"/>
                    <a:pt x="4263" y="7094"/>
                  </a:cubicBezTo>
                  <a:cubicBezTo>
                    <a:pt x="4201" y="6997"/>
                    <a:pt x="4201" y="6997"/>
                    <a:pt x="4201" y="6997"/>
                  </a:cubicBezTo>
                  <a:cubicBezTo>
                    <a:pt x="4370" y="6642"/>
                    <a:pt x="4370" y="6642"/>
                    <a:pt x="4370" y="6642"/>
                  </a:cubicBezTo>
                  <a:lnTo>
                    <a:pt x="4536" y="6724"/>
                  </a:lnTo>
                  <a:close/>
                  <a:moveTo>
                    <a:pt x="4640" y="7605"/>
                  </a:moveTo>
                  <a:cubicBezTo>
                    <a:pt x="4664" y="7755"/>
                    <a:pt x="4664" y="7755"/>
                    <a:pt x="4664" y="7755"/>
                  </a:cubicBezTo>
                  <a:cubicBezTo>
                    <a:pt x="4420" y="7789"/>
                    <a:pt x="4420" y="7789"/>
                    <a:pt x="4420" y="7789"/>
                  </a:cubicBezTo>
                  <a:cubicBezTo>
                    <a:pt x="4411" y="7750"/>
                    <a:pt x="4411" y="7750"/>
                    <a:pt x="4411" y="7750"/>
                  </a:cubicBezTo>
                  <a:lnTo>
                    <a:pt x="4640" y="7605"/>
                  </a:lnTo>
                  <a:close/>
                  <a:moveTo>
                    <a:pt x="4667" y="7768"/>
                  </a:moveTo>
                  <a:cubicBezTo>
                    <a:pt x="4687" y="7897"/>
                    <a:pt x="4687" y="7897"/>
                    <a:pt x="4687" y="7897"/>
                  </a:cubicBezTo>
                  <a:cubicBezTo>
                    <a:pt x="4451" y="7930"/>
                    <a:pt x="4451" y="7930"/>
                    <a:pt x="4451" y="7930"/>
                  </a:cubicBezTo>
                  <a:cubicBezTo>
                    <a:pt x="4423" y="7802"/>
                    <a:pt x="4423" y="7802"/>
                    <a:pt x="4423" y="7802"/>
                  </a:cubicBezTo>
                  <a:lnTo>
                    <a:pt x="4667" y="7768"/>
                  </a:lnTo>
                  <a:close/>
                  <a:moveTo>
                    <a:pt x="4654" y="7601"/>
                  </a:moveTo>
                  <a:cubicBezTo>
                    <a:pt x="4645" y="7602"/>
                    <a:pt x="4645" y="7602"/>
                    <a:pt x="4645" y="7602"/>
                  </a:cubicBezTo>
                  <a:cubicBezTo>
                    <a:pt x="4751" y="7535"/>
                    <a:pt x="4751" y="7535"/>
                    <a:pt x="4751" y="7535"/>
                  </a:cubicBezTo>
                  <a:cubicBezTo>
                    <a:pt x="4751" y="7538"/>
                    <a:pt x="4752" y="7541"/>
                    <a:pt x="4753" y="7546"/>
                  </a:cubicBezTo>
                  <a:cubicBezTo>
                    <a:pt x="4755" y="7558"/>
                    <a:pt x="4759" y="7576"/>
                    <a:pt x="4762" y="7597"/>
                  </a:cubicBezTo>
                  <a:cubicBezTo>
                    <a:pt x="4769" y="7636"/>
                    <a:pt x="4777" y="7686"/>
                    <a:pt x="4785" y="7738"/>
                  </a:cubicBezTo>
                  <a:cubicBezTo>
                    <a:pt x="4678" y="7753"/>
                    <a:pt x="4678" y="7753"/>
                    <a:pt x="4678" y="7753"/>
                  </a:cubicBezTo>
                  <a:lnTo>
                    <a:pt x="4654" y="7601"/>
                  </a:lnTo>
                  <a:close/>
                  <a:moveTo>
                    <a:pt x="4768" y="7547"/>
                  </a:moveTo>
                  <a:cubicBezTo>
                    <a:pt x="4767" y="7543"/>
                    <a:pt x="4766" y="7539"/>
                    <a:pt x="4765" y="7536"/>
                  </a:cubicBezTo>
                  <a:cubicBezTo>
                    <a:pt x="4890" y="7582"/>
                    <a:pt x="4890" y="7582"/>
                    <a:pt x="4890" y="7582"/>
                  </a:cubicBezTo>
                  <a:cubicBezTo>
                    <a:pt x="4912" y="7720"/>
                    <a:pt x="4912" y="7720"/>
                    <a:pt x="4912" y="7720"/>
                  </a:cubicBezTo>
                  <a:cubicBezTo>
                    <a:pt x="4799" y="7736"/>
                    <a:pt x="4799" y="7736"/>
                    <a:pt x="4799" y="7736"/>
                  </a:cubicBezTo>
                  <a:cubicBezTo>
                    <a:pt x="4787" y="7659"/>
                    <a:pt x="4775" y="7584"/>
                    <a:pt x="4768" y="7547"/>
                  </a:cubicBezTo>
                  <a:close/>
                  <a:moveTo>
                    <a:pt x="4914" y="7733"/>
                  </a:moveTo>
                  <a:cubicBezTo>
                    <a:pt x="4936" y="7862"/>
                    <a:pt x="4936" y="7862"/>
                    <a:pt x="4936" y="7862"/>
                  </a:cubicBezTo>
                  <a:cubicBezTo>
                    <a:pt x="4820" y="7878"/>
                    <a:pt x="4820" y="7878"/>
                    <a:pt x="4820" y="7878"/>
                  </a:cubicBezTo>
                  <a:cubicBezTo>
                    <a:pt x="4815" y="7840"/>
                    <a:pt x="4808" y="7794"/>
                    <a:pt x="4801" y="7749"/>
                  </a:cubicBezTo>
                  <a:lnTo>
                    <a:pt x="4914" y="7733"/>
                  </a:lnTo>
                  <a:close/>
                  <a:moveTo>
                    <a:pt x="4938" y="7875"/>
                  </a:moveTo>
                  <a:cubicBezTo>
                    <a:pt x="4949" y="7947"/>
                    <a:pt x="4949" y="7947"/>
                    <a:pt x="4949" y="7947"/>
                  </a:cubicBezTo>
                  <a:cubicBezTo>
                    <a:pt x="4915" y="7953"/>
                    <a:pt x="4877" y="7961"/>
                    <a:pt x="4837" y="7968"/>
                  </a:cubicBezTo>
                  <a:cubicBezTo>
                    <a:pt x="4836" y="7968"/>
                    <a:pt x="4835" y="7969"/>
                    <a:pt x="4834" y="7969"/>
                  </a:cubicBezTo>
                  <a:cubicBezTo>
                    <a:pt x="4832" y="7955"/>
                    <a:pt x="4828" y="7927"/>
                    <a:pt x="4822" y="7891"/>
                  </a:cubicBezTo>
                  <a:lnTo>
                    <a:pt x="4938" y="7875"/>
                  </a:lnTo>
                  <a:close/>
                  <a:moveTo>
                    <a:pt x="4928" y="7731"/>
                  </a:moveTo>
                  <a:cubicBezTo>
                    <a:pt x="5034" y="7716"/>
                    <a:pt x="5034" y="7716"/>
                    <a:pt x="5034" y="7716"/>
                  </a:cubicBezTo>
                  <a:cubicBezTo>
                    <a:pt x="5055" y="7845"/>
                    <a:pt x="5055" y="7845"/>
                    <a:pt x="5055" y="7845"/>
                  </a:cubicBezTo>
                  <a:cubicBezTo>
                    <a:pt x="4949" y="7860"/>
                    <a:pt x="4949" y="7860"/>
                    <a:pt x="4949" y="7860"/>
                  </a:cubicBezTo>
                  <a:lnTo>
                    <a:pt x="4928" y="7731"/>
                  </a:lnTo>
                  <a:close/>
                  <a:moveTo>
                    <a:pt x="5063" y="7858"/>
                  </a:moveTo>
                  <a:cubicBezTo>
                    <a:pt x="5070" y="7857"/>
                    <a:pt x="5070" y="7857"/>
                    <a:pt x="5070" y="7857"/>
                  </a:cubicBezTo>
                  <a:cubicBezTo>
                    <a:pt x="5045" y="7701"/>
                    <a:pt x="5045" y="7701"/>
                    <a:pt x="5045" y="7701"/>
                  </a:cubicBezTo>
                  <a:cubicBezTo>
                    <a:pt x="4926" y="7718"/>
                    <a:pt x="4926" y="7718"/>
                    <a:pt x="4926" y="7718"/>
                  </a:cubicBezTo>
                  <a:cubicBezTo>
                    <a:pt x="4904" y="7580"/>
                    <a:pt x="4904" y="7580"/>
                    <a:pt x="4904" y="7580"/>
                  </a:cubicBezTo>
                  <a:cubicBezTo>
                    <a:pt x="5028" y="7503"/>
                    <a:pt x="5028" y="7503"/>
                    <a:pt x="5028" y="7503"/>
                  </a:cubicBezTo>
                  <a:cubicBezTo>
                    <a:pt x="5091" y="7918"/>
                    <a:pt x="5091" y="7918"/>
                    <a:pt x="5091" y="7918"/>
                  </a:cubicBezTo>
                  <a:cubicBezTo>
                    <a:pt x="5075" y="7921"/>
                    <a:pt x="5027" y="7931"/>
                    <a:pt x="4963" y="7944"/>
                  </a:cubicBezTo>
                  <a:cubicBezTo>
                    <a:pt x="4951" y="7873"/>
                    <a:pt x="4951" y="7873"/>
                    <a:pt x="4951" y="7873"/>
                  </a:cubicBezTo>
                  <a:lnTo>
                    <a:pt x="5063" y="7858"/>
                  </a:lnTo>
                  <a:close/>
                  <a:moveTo>
                    <a:pt x="5042" y="7499"/>
                  </a:moveTo>
                  <a:cubicBezTo>
                    <a:pt x="5032" y="7500"/>
                    <a:pt x="5032" y="7500"/>
                    <a:pt x="5032" y="7500"/>
                  </a:cubicBezTo>
                  <a:cubicBezTo>
                    <a:pt x="5169" y="7415"/>
                    <a:pt x="5169" y="7415"/>
                    <a:pt x="5169" y="7415"/>
                  </a:cubicBezTo>
                  <a:cubicBezTo>
                    <a:pt x="5170" y="7416"/>
                    <a:pt x="5170" y="7416"/>
                    <a:pt x="5170" y="7416"/>
                  </a:cubicBezTo>
                  <a:cubicBezTo>
                    <a:pt x="5229" y="7923"/>
                    <a:pt x="5229" y="7923"/>
                    <a:pt x="5229" y="7923"/>
                  </a:cubicBezTo>
                  <a:cubicBezTo>
                    <a:pt x="5161" y="7918"/>
                    <a:pt x="5120" y="7915"/>
                    <a:pt x="5119" y="7915"/>
                  </a:cubicBezTo>
                  <a:cubicBezTo>
                    <a:pt x="5109" y="7914"/>
                    <a:pt x="5109" y="7914"/>
                    <a:pt x="5109" y="7914"/>
                  </a:cubicBezTo>
                  <a:cubicBezTo>
                    <a:pt x="5105" y="7915"/>
                    <a:pt x="5105" y="7915"/>
                    <a:pt x="5105" y="7915"/>
                  </a:cubicBezTo>
                  <a:lnTo>
                    <a:pt x="5042" y="7499"/>
                  </a:lnTo>
                  <a:close/>
                  <a:moveTo>
                    <a:pt x="5589" y="7759"/>
                  </a:moveTo>
                  <a:cubicBezTo>
                    <a:pt x="5590" y="7890"/>
                    <a:pt x="5590" y="7890"/>
                    <a:pt x="5590" y="7890"/>
                  </a:cubicBezTo>
                  <a:cubicBezTo>
                    <a:pt x="5400" y="7874"/>
                    <a:pt x="5400" y="7874"/>
                    <a:pt x="5400" y="7874"/>
                  </a:cubicBezTo>
                  <a:cubicBezTo>
                    <a:pt x="5401" y="7743"/>
                    <a:pt x="5401" y="7743"/>
                    <a:pt x="5401" y="7743"/>
                  </a:cubicBezTo>
                  <a:lnTo>
                    <a:pt x="5589" y="7759"/>
                  </a:lnTo>
                  <a:close/>
                  <a:moveTo>
                    <a:pt x="5400" y="7887"/>
                  </a:moveTo>
                  <a:cubicBezTo>
                    <a:pt x="5591" y="7903"/>
                    <a:pt x="5591" y="7903"/>
                    <a:pt x="5591" y="7903"/>
                  </a:cubicBezTo>
                  <a:cubicBezTo>
                    <a:pt x="5591" y="7949"/>
                    <a:pt x="5591" y="7949"/>
                    <a:pt x="5591" y="7949"/>
                  </a:cubicBezTo>
                  <a:cubicBezTo>
                    <a:pt x="5523" y="7944"/>
                    <a:pt x="5458" y="7939"/>
                    <a:pt x="5399" y="7935"/>
                  </a:cubicBezTo>
                  <a:lnTo>
                    <a:pt x="5400" y="7887"/>
                  </a:lnTo>
                  <a:close/>
                  <a:moveTo>
                    <a:pt x="5255" y="7345"/>
                  </a:moveTo>
                  <a:cubicBezTo>
                    <a:pt x="5175" y="7395"/>
                    <a:pt x="5175" y="7395"/>
                    <a:pt x="5175" y="7395"/>
                  </a:cubicBezTo>
                  <a:cubicBezTo>
                    <a:pt x="5106" y="7252"/>
                    <a:pt x="5106" y="7252"/>
                    <a:pt x="5106" y="7252"/>
                  </a:cubicBezTo>
                  <a:cubicBezTo>
                    <a:pt x="5106" y="7240"/>
                    <a:pt x="5105" y="7162"/>
                    <a:pt x="5103" y="7084"/>
                  </a:cubicBezTo>
                  <a:cubicBezTo>
                    <a:pt x="5103" y="7084"/>
                    <a:pt x="5103" y="7084"/>
                    <a:pt x="5103" y="7084"/>
                  </a:cubicBezTo>
                  <a:cubicBezTo>
                    <a:pt x="5105" y="7091"/>
                    <a:pt x="5105" y="7091"/>
                    <a:pt x="5105" y="7091"/>
                  </a:cubicBezTo>
                  <a:cubicBezTo>
                    <a:pt x="5103" y="7085"/>
                    <a:pt x="5103" y="7085"/>
                    <a:pt x="5103" y="7085"/>
                  </a:cubicBezTo>
                  <a:cubicBezTo>
                    <a:pt x="5103" y="7091"/>
                    <a:pt x="5103" y="7091"/>
                    <a:pt x="5103" y="7091"/>
                  </a:cubicBezTo>
                  <a:cubicBezTo>
                    <a:pt x="5103" y="7087"/>
                    <a:pt x="5103" y="7087"/>
                    <a:pt x="5103" y="7087"/>
                  </a:cubicBezTo>
                  <a:cubicBezTo>
                    <a:pt x="5103" y="7091"/>
                    <a:pt x="5103" y="7091"/>
                    <a:pt x="5103" y="7091"/>
                  </a:cubicBezTo>
                  <a:cubicBezTo>
                    <a:pt x="5103" y="7091"/>
                    <a:pt x="5103" y="7091"/>
                    <a:pt x="5103" y="7091"/>
                  </a:cubicBezTo>
                  <a:cubicBezTo>
                    <a:pt x="5117" y="7091"/>
                    <a:pt x="5556" y="7138"/>
                    <a:pt x="5714" y="7156"/>
                  </a:cubicBezTo>
                  <a:cubicBezTo>
                    <a:pt x="5680" y="7351"/>
                    <a:pt x="5680" y="7351"/>
                    <a:pt x="5680" y="7351"/>
                  </a:cubicBezTo>
                  <a:lnTo>
                    <a:pt x="5255" y="7345"/>
                  </a:lnTo>
                  <a:close/>
                  <a:moveTo>
                    <a:pt x="5677" y="7365"/>
                  </a:moveTo>
                  <a:cubicBezTo>
                    <a:pt x="5676" y="7372"/>
                    <a:pt x="5676" y="7372"/>
                    <a:pt x="5676" y="7372"/>
                  </a:cubicBezTo>
                  <a:cubicBezTo>
                    <a:pt x="5740" y="7383"/>
                    <a:pt x="5740" y="7383"/>
                    <a:pt x="5740" y="7383"/>
                  </a:cubicBezTo>
                  <a:cubicBezTo>
                    <a:pt x="5741" y="7381"/>
                    <a:pt x="5741" y="7381"/>
                    <a:pt x="5741" y="7381"/>
                  </a:cubicBezTo>
                  <a:cubicBezTo>
                    <a:pt x="5816" y="7424"/>
                    <a:pt x="5816" y="7424"/>
                    <a:pt x="5816" y="7424"/>
                  </a:cubicBezTo>
                  <a:cubicBezTo>
                    <a:pt x="5779" y="7645"/>
                    <a:pt x="5779" y="7645"/>
                    <a:pt x="5779" y="7645"/>
                  </a:cubicBezTo>
                  <a:cubicBezTo>
                    <a:pt x="5793" y="7763"/>
                    <a:pt x="5793" y="7763"/>
                    <a:pt x="5793" y="7763"/>
                  </a:cubicBezTo>
                  <a:cubicBezTo>
                    <a:pt x="5603" y="7747"/>
                    <a:pt x="5603" y="7747"/>
                    <a:pt x="5603" y="7747"/>
                  </a:cubicBezTo>
                  <a:cubicBezTo>
                    <a:pt x="5599" y="7364"/>
                    <a:pt x="5599" y="7364"/>
                    <a:pt x="5599" y="7364"/>
                  </a:cubicBezTo>
                  <a:lnTo>
                    <a:pt x="5677" y="7365"/>
                  </a:lnTo>
                  <a:close/>
                  <a:moveTo>
                    <a:pt x="5795" y="7776"/>
                  </a:moveTo>
                  <a:cubicBezTo>
                    <a:pt x="5810" y="7909"/>
                    <a:pt x="5810" y="7909"/>
                    <a:pt x="5810" y="7909"/>
                  </a:cubicBezTo>
                  <a:cubicBezTo>
                    <a:pt x="5604" y="7891"/>
                    <a:pt x="5604" y="7891"/>
                    <a:pt x="5604" y="7891"/>
                  </a:cubicBezTo>
                  <a:cubicBezTo>
                    <a:pt x="5603" y="7760"/>
                    <a:pt x="5603" y="7760"/>
                    <a:pt x="5603" y="7760"/>
                  </a:cubicBezTo>
                  <a:lnTo>
                    <a:pt x="5795" y="7776"/>
                  </a:lnTo>
                  <a:close/>
                  <a:moveTo>
                    <a:pt x="5812" y="7922"/>
                  </a:moveTo>
                  <a:cubicBezTo>
                    <a:pt x="5817" y="7965"/>
                    <a:pt x="5817" y="7965"/>
                    <a:pt x="5817" y="7965"/>
                  </a:cubicBezTo>
                  <a:cubicBezTo>
                    <a:pt x="5745" y="7960"/>
                    <a:pt x="5673" y="7955"/>
                    <a:pt x="5605" y="7950"/>
                  </a:cubicBezTo>
                  <a:cubicBezTo>
                    <a:pt x="5605" y="7905"/>
                    <a:pt x="5605" y="7905"/>
                    <a:pt x="5605" y="7905"/>
                  </a:cubicBezTo>
                  <a:lnTo>
                    <a:pt x="5812" y="7922"/>
                  </a:lnTo>
                  <a:close/>
                  <a:moveTo>
                    <a:pt x="5809" y="7778"/>
                  </a:moveTo>
                  <a:cubicBezTo>
                    <a:pt x="5919" y="7787"/>
                    <a:pt x="5919" y="7787"/>
                    <a:pt x="5919" y="7787"/>
                  </a:cubicBezTo>
                  <a:cubicBezTo>
                    <a:pt x="5923" y="7803"/>
                    <a:pt x="5928" y="7821"/>
                    <a:pt x="5932" y="7839"/>
                  </a:cubicBezTo>
                  <a:cubicBezTo>
                    <a:pt x="5939" y="7867"/>
                    <a:pt x="5946" y="7896"/>
                    <a:pt x="5951" y="7921"/>
                  </a:cubicBezTo>
                  <a:cubicBezTo>
                    <a:pt x="5825" y="7910"/>
                    <a:pt x="5825" y="7910"/>
                    <a:pt x="5825" y="7910"/>
                  </a:cubicBezTo>
                  <a:lnTo>
                    <a:pt x="5809" y="7778"/>
                  </a:lnTo>
                  <a:close/>
                  <a:moveTo>
                    <a:pt x="5954" y="7934"/>
                  </a:moveTo>
                  <a:cubicBezTo>
                    <a:pt x="5957" y="7952"/>
                    <a:pt x="5960" y="7966"/>
                    <a:pt x="5961" y="7975"/>
                  </a:cubicBezTo>
                  <a:cubicBezTo>
                    <a:pt x="5920" y="7972"/>
                    <a:pt x="5879" y="7969"/>
                    <a:pt x="5838" y="7966"/>
                  </a:cubicBezTo>
                  <a:cubicBezTo>
                    <a:pt x="5836" y="7966"/>
                    <a:pt x="5833" y="7966"/>
                    <a:pt x="5831" y="7966"/>
                  </a:cubicBezTo>
                  <a:cubicBezTo>
                    <a:pt x="5826" y="7923"/>
                    <a:pt x="5826" y="7923"/>
                    <a:pt x="5826" y="7923"/>
                  </a:cubicBezTo>
                  <a:lnTo>
                    <a:pt x="5954" y="7934"/>
                  </a:lnTo>
                  <a:close/>
                  <a:moveTo>
                    <a:pt x="6193" y="7727"/>
                  </a:moveTo>
                  <a:cubicBezTo>
                    <a:pt x="6202" y="7629"/>
                    <a:pt x="6202" y="7629"/>
                    <a:pt x="6202" y="7629"/>
                  </a:cubicBezTo>
                  <a:cubicBezTo>
                    <a:pt x="6257" y="7567"/>
                    <a:pt x="6257" y="7567"/>
                    <a:pt x="6257" y="7567"/>
                  </a:cubicBezTo>
                  <a:cubicBezTo>
                    <a:pt x="6391" y="7666"/>
                    <a:pt x="6391" y="7666"/>
                    <a:pt x="6391" y="7666"/>
                  </a:cubicBezTo>
                  <a:cubicBezTo>
                    <a:pt x="6252" y="7639"/>
                    <a:pt x="6252" y="7639"/>
                    <a:pt x="6252" y="7639"/>
                  </a:cubicBezTo>
                  <a:cubicBezTo>
                    <a:pt x="6238" y="7713"/>
                    <a:pt x="6238" y="7713"/>
                    <a:pt x="6238" y="7713"/>
                  </a:cubicBezTo>
                  <a:cubicBezTo>
                    <a:pt x="6380" y="7741"/>
                    <a:pt x="6380" y="7741"/>
                    <a:pt x="6380" y="7741"/>
                  </a:cubicBezTo>
                  <a:cubicBezTo>
                    <a:pt x="6386" y="7742"/>
                    <a:pt x="6386" y="7742"/>
                    <a:pt x="6386" y="7742"/>
                  </a:cubicBezTo>
                  <a:cubicBezTo>
                    <a:pt x="6400" y="7672"/>
                    <a:pt x="6400" y="7672"/>
                    <a:pt x="6400" y="7672"/>
                  </a:cubicBezTo>
                  <a:cubicBezTo>
                    <a:pt x="6495" y="7742"/>
                    <a:pt x="6495" y="7742"/>
                    <a:pt x="6495" y="7742"/>
                  </a:cubicBezTo>
                  <a:cubicBezTo>
                    <a:pt x="6471" y="7780"/>
                    <a:pt x="6452" y="7820"/>
                    <a:pt x="6438" y="7860"/>
                  </a:cubicBezTo>
                  <a:lnTo>
                    <a:pt x="6193" y="7727"/>
                  </a:lnTo>
                  <a:close/>
                  <a:moveTo>
                    <a:pt x="6385" y="7678"/>
                  </a:moveTo>
                  <a:cubicBezTo>
                    <a:pt x="6376" y="7727"/>
                    <a:pt x="6376" y="7727"/>
                    <a:pt x="6376" y="7727"/>
                  </a:cubicBezTo>
                  <a:cubicBezTo>
                    <a:pt x="6253" y="7703"/>
                    <a:pt x="6253" y="7703"/>
                    <a:pt x="6253" y="7703"/>
                  </a:cubicBezTo>
                  <a:cubicBezTo>
                    <a:pt x="6262" y="7654"/>
                    <a:pt x="6262" y="7654"/>
                    <a:pt x="6262" y="7654"/>
                  </a:cubicBezTo>
                  <a:lnTo>
                    <a:pt x="6385" y="7678"/>
                  </a:lnTo>
                  <a:close/>
                  <a:moveTo>
                    <a:pt x="7724" y="6853"/>
                  </a:moveTo>
                  <a:cubicBezTo>
                    <a:pt x="7788" y="6756"/>
                    <a:pt x="7788" y="6756"/>
                    <a:pt x="7788" y="6756"/>
                  </a:cubicBezTo>
                  <a:cubicBezTo>
                    <a:pt x="8133" y="6832"/>
                    <a:pt x="8133" y="6832"/>
                    <a:pt x="8133" y="6832"/>
                  </a:cubicBezTo>
                  <a:cubicBezTo>
                    <a:pt x="8132" y="6835"/>
                    <a:pt x="8132" y="6835"/>
                    <a:pt x="8132" y="6835"/>
                  </a:cubicBezTo>
                  <a:cubicBezTo>
                    <a:pt x="8057" y="6965"/>
                    <a:pt x="8057" y="6965"/>
                    <a:pt x="8057" y="6965"/>
                  </a:cubicBezTo>
                  <a:cubicBezTo>
                    <a:pt x="8024" y="6988"/>
                    <a:pt x="8024" y="6988"/>
                    <a:pt x="8024" y="6988"/>
                  </a:cubicBezTo>
                  <a:cubicBezTo>
                    <a:pt x="8025" y="6986"/>
                    <a:pt x="8025" y="6986"/>
                    <a:pt x="8025" y="6986"/>
                  </a:cubicBezTo>
                  <a:lnTo>
                    <a:pt x="7724" y="6853"/>
                  </a:lnTo>
                  <a:close/>
                  <a:moveTo>
                    <a:pt x="7882" y="7063"/>
                  </a:moveTo>
                  <a:cubicBezTo>
                    <a:pt x="7780" y="6991"/>
                    <a:pt x="7780" y="6991"/>
                    <a:pt x="7780" y="6991"/>
                  </a:cubicBezTo>
                  <a:cubicBezTo>
                    <a:pt x="7808" y="6950"/>
                    <a:pt x="7808" y="6950"/>
                    <a:pt x="7808" y="6950"/>
                  </a:cubicBezTo>
                  <a:cubicBezTo>
                    <a:pt x="7911" y="7023"/>
                    <a:pt x="7911" y="7023"/>
                    <a:pt x="7911" y="7023"/>
                  </a:cubicBezTo>
                  <a:lnTo>
                    <a:pt x="7882" y="7063"/>
                  </a:lnTo>
                  <a:close/>
                  <a:moveTo>
                    <a:pt x="8114" y="6524"/>
                  </a:moveTo>
                  <a:cubicBezTo>
                    <a:pt x="8110" y="6584"/>
                    <a:pt x="8110" y="6584"/>
                    <a:pt x="8110" y="6584"/>
                  </a:cubicBezTo>
                  <a:cubicBezTo>
                    <a:pt x="8021" y="6578"/>
                    <a:pt x="8021" y="6578"/>
                    <a:pt x="8021" y="6578"/>
                  </a:cubicBezTo>
                  <a:cubicBezTo>
                    <a:pt x="8043" y="6476"/>
                    <a:pt x="8043" y="6476"/>
                    <a:pt x="8043" y="6476"/>
                  </a:cubicBezTo>
                  <a:cubicBezTo>
                    <a:pt x="8070" y="6478"/>
                    <a:pt x="8070" y="6478"/>
                    <a:pt x="8070" y="6478"/>
                  </a:cubicBezTo>
                  <a:cubicBezTo>
                    <a:pt x="8067" y="6521"/>
                    <a:pt x="8067" y="6521"/>
                    <a:pt x="8067" y="6521"/>
                  </a:cubicBezTo>
                  <a:lnTo>
                    <a:pt x="8114" y="6524"/>
                  </a:lnTo>
                  <a:close/>
                  <a:moveTo>
                    <a:pt x="8007" y="6577"/>
                  </a:moveTo>
                  <a:cubicBezTo>
                    <a:pt x="7926" y="6571"/>
                    <a:pt x="7926" y="6571"/>
                    <a:pt x="7926" y="6571"/>
                  </a:cubicBezTo>
                  <a:cubicBezTo>
                    <a:pt x="7930" y="6511"/>
                    <a:pt x="7930" y="6511"/>
                    <a:pt x="7930" y="6511"/>
                  </a:cubicBezTo>
                  <a:cubicBezTo>
                    <a:pt x="7977" y="6514"/>
                    <a:pt x="7977" y="6514"/>
                    <a:pt x="7977" y="6514"/>
                  </a:cubicBezTo>
                  <a:cubicBezTo>
                    <a:pt x="7980" y="6471"/>
                    <a:pt x="7980" y="6471"/>
                    <a:pt x="7980" y="6471"/>
                  </a:cubicBezTo>
                  <a:cubicBezTo>
                    <a:pt x="8029" y="6475"/>
                    <a:pt x="8029" y="6475"/>
                    <a:pt x="8029" y="6475"/>
                  </a:cubicBezTo>
                  <a:lnTo>
                    <a:pt x="8007" y="6577"/>
                  </a:lnTo>
                  <a:close/>
                  <a:moveTo>
                    <a:pt x="7659" y="6474"/>
                  </a:moveTo>
                  <a:cubicBezTo>
                    <a:pt x="7654" y="6534"/>
                    <a:pt x="7654" y="6534"/>
                    <a:pt x="7654" y="6534"/>
                  </a:cubicBezTo>
                  <a:cubicBezTo>
                    <a:pt x="7590" y="6530"/>
                    <a:pt x="7590" y="6530"/>
                    <a:pt x="7590" y="6530"/>
                  </a:cubicBezTo>
                  <a:cubicBezTo>
                    <a:pt x="7581" y="6490"/>
                    <a:pt x="7573" y="6452"/>
                    <a:pt x="7566" y="6425"/>
                  </a:cubicBezTo>
                  <a:cubicBezTo>
                    <a:pt x="7615" y="6428"/>
                    <a:pt x="7615" y="6428"/>
                    <a:pt x="7615" y="6428"/>
                  </a:cubicBezTo>
                  <a:cubicBezTo>
                    <a:pt x="7612" y="6471"/>
                    <a:pt x="7612" y="6471"/>
                    <a:pt x="7612" y="6471"/>
                  </a:cubicBezTo>
                  <a:lnTo>
                    <a:pt x="7659" y="6474"/>
                  </a:lnTo>
                  <a:close/>
                  <a:moveTo>
                    <a:pt x="7576" y="6529"/>
                  </a:moveTo>
                  <a:cubicBezTo>
                    <a:pt x="7470" y="6521"/>
                    <a:pt x="7470" y="6521"/>
                    <a:pt x="7470" y="6521"/>
                  </a:cubicBezTo>
                  <a:cubicBezTo>
                    <a:pt x="7475" y="6461"/>
                    <a:pt x="7475" y="6461"/>
                    <a:pt x="7475" y="6461"/>
                  </a:cubicBezTo>
                  <a:cubicBezTo>
                    <a:pt x="7522" y="6465"/>
                    <a:pt x="7522" y="6465"/>
                    <a:pt x="7522" y="6465"/>
                  </a:cubicBezTo>
                  <a:cubicBezTo>
                    <a:pt x="7525" y="6422"/>
                    <a:pt x="7525" y="6422"/>
                    <a:pt x="7525" y="6422"/>
                  </a:cubicBezTo>
                  <a:cubicBezTo>
                    <a:pt x="7552" y="6424"/>
                    <a:pt x="7552" y="6424"/>
                    <a:pt x="7552" y="6424"/>
                  </a:cubicBezTo>
                  <a:cubicBezTo>
                    <a:pt x="7558" y="6450"/>
                    <a:pt x="7567" y="6488"/>
                    <a:pt x="7576" y="6529"/>
                  </a:cubicBezTo>
                  <a:close/>
                  <a:moveTo>
                    <a:pt x="7513" y="6408"/>
                  </a:moveTo>
                  <a:cubicBezTo>
                    <a:pt x="7509" y="6451"/>
                    <a:pt x="7509" y="6451"/>
                    <a:pt x="7509" y="6451"/>
                  </a:cubicBezTo>
                  <a:cubicBezTo>
                    <a:pt x="7463" y="6447"/>
                    <a:pt x="7463" y="6447"/>
                    <a:pt x="7463" y="6447"/>
                  </a:cubicBezTo>
                  <a:cubicBezTo>
                    <a:pt x="7457" y="6527"/>
                    <a:pt x="7457" y="6527"/>
                    <a:pt x="7457" y="6527"/>
                  </a:cubicBezTo>
                  <a:cubicBezTo>
                    <a:pt x="7456" y="6533"/>
                    <a:pt x="7456" y="6533"/>
                    <a:pt x="7456" y="6533"/>
                  </a:cubicBezTo>
                  <a:cubicBezTo>
                    <a:pt x="7579" y="6542"/>
                    <a:pt x="7579" y="6542"/>
                    <a:pt x="7579" y="6542"/>
                  </a:cubicBezTo>
                  <a:cubicBezTo>
                    <a:pt x="7591" y="6595"/>
                    <a:pt x="7602" y="6649"/>
                    <a:pt x="7607" y="6674"/>
                  </a:cubicBezTo>
                  <a:cubicBezTo>
                    <a:pt x="7604" y="6672"/>
                    <a:pt x="7604" y="6672"/>
                    <a:pt x="7604" y="6672"/>
                  </a:cubicBezTo>
                  <a:cubicBezTo>
                    <a:pt x="7596" y="6683"/>
                    <a:pt x="7596" y="6683"/>
                    <a:pt x="7596" y="6683"/>
                  </a:cubicBezTo>
                  <a:cubicBezTo>
                    <a:pt x="7597" y="6684"/>
                    <a:pt x="7597" y="6684"/>
                    <a:pt x="7597" y="6684"/>
                  </a:cubicBezTo>
                  <a:cubicBezTo>
                    <a:pt x="7565" y="6686"/>
                    <a:pt x="7502" y="6691"/>
                    <a:pt x="7486" y="6692"/>
                  </a:cubicBezTo>
                  <a:cubicBezTo>
                    <a:pt x="7207" y="6360"/>
                    <a:pt x="7207" y="6360"/>
                    <a:pt x="7207" y="6360"/>
                  </a:cubicBezTo>
                  <a:cubicBezTo>
                    <a:pt x="7272" y="6367"/>
                    <a:pt x="7397" y="6380"/>
                    <a:pt x="7546" y="6397"/>
                  </a:cubicBezTo>
                  <a:cubicBezTo>
                    <a:pt x="7546" y="6400"/>
                    <a:pt x="7547" y="6405"/>
                    <a:pt x="7549" y="6410"/>
                  </a:cubicBezTo>
                  <a:lnTo>
                    <a:pt x="7513" y="6408"/>
                  </a:lnTo>
                  <a:close/>
                  <a:moveTo>
                    <a:pt x="7475" y="6701"/>
                  </a:moveTo>
                  <a:cubicBezTo>
                    <a:pt x="7446" y="6850"/>
                    <a:pt x="7446" y="6850"/>
                    <a:pt x="7446" y="6850"/>
                  </a:cubicBezTo>
                  <a:cubicBezTo>
                    <a:pt x="7445" y="6850"/>
                    <a:pt x="7445" y="6850"/>
                    <a:pt x="7444" y="6850"/>
                  </a:cubicBezTo>
                  <a:cubicBezTo>
                    <a:pt x="7444" y="6849"/>
                    <a:pt x="7443" y="6849"/>
                    <a:pt x="7443" y="6849"/>
                  </a:cubicBezTo>
                  <a:cubicBezTo>
                    <a:pt x="7442" y="6849"/>
                    <a:pt x="7440" y="6848"/>
                    <a:pt x="7438" y="6846"/>
                  </a:cubicBezTo>
                  <a:cubicBezTo>
                    <a:pt x="7434" y="6844"/>
                    <a:pt x="7428" y="6840"/>
                    <a:pt x="7421" y="6836"/>
                  </a:cubicBezTo>
                  <a:cubicBezTo>
                    <a:pt x="7408" y="6828"/>
                    <a:pt x="7390" y="6816"/>
                    <a:pt x="7373" y="6804"/>
                  </a:cubicBezTo>
                  <a:cubicBezTo>
                    <a:pt x="7339" y="6781"/>
                    <a:pt x="7305" y="6758"/>
                    <a:pt x="7305" y="6758"/>
                  </a:cubicBezTo>
                  <a:cubicBezTo>
                    <a:pt x="7304" y="6758"/>
                    <a:pt x="7304" y="6758"/>
                    <a:pt x="7304" y="6758"/>
                  </a:cubicBezTo>
                  <a:cubicBezTo>
                    <a:pt x="7298" y="6756"/>
                    <a:pt x="7298" y="6756"/>
                    <a:pt x="7298" y="6756"/>
                  </a:cubicBezTo>
                  <a:cubicBezTo>
                    <a:pt x="7318" y="6654"/>
                    <a:pt x="7318" y="6654"/>
                    <a:pt x="7318" y="6654"/>
                  </a:cubicBezTo>
                  <a:cubicBezTo>
                    <a:pt x="7233" y="6637"/>
                    <a:pt x="7233" y="6637"/>
                    <a:pt x="7233" y="6637"/>
                  </a:cubicBezTo>
                  <a:cubicBezTo>
                    <a:pt x="7224" y="6683"/>
                    <a:pt x="7224" y="6683"/>
                    <a:pt x="7224" y="6683"/>
                  </a:cubicBezTo>
                  <a:cubicBezTo>
                    <a:pt x="7182" y="6674"/>
                    <a:pt x="7182" y="6674"/>
                    <a:pt x="7182" y="6674"/>
                  </a:cubicBezTo>
                  <a:cubicBezTo>
                    <a:pt x="7174" y="6716"/>
                    <a:pt x="7174" y="6716"/>
                    <a:pt x="7174" y="6716"/>
                  </a:cubicBezTo>
                  <a:cubicBezTo>
                    <a:pt x="7140" y="6705"/>
                    <a:pt x="7140" y="6705"/>
                    <a:pt x="7140" y="6705"/>
                  </a:cubicBezTo>
                  <a:cubicBezTo>
                    <a:pt x="7190" y="6361"/>
                    <a:pt x="7190" y="6361"/>
                    <a:pt x="7190" y="6361"/>
                  </a:cubicBezTo>
                  <a:lnTo>
                    <a:pt x="7475" y="6701"/>
                  </a:lnTo>
                  <a:close/>
                  <a:moveTo>
                    <a:pt x="7167" y="6289"/>
                  </a:moveTo>
                  <a:cubicBezTo>
                    <a:pt x="7167" y="6289"/>
                    <a:pt x="7167" y="6289"/>
                    <a:pt x="7167" y="6289"/>
                  </a:cubicBezTo>
                  <a:cubicBezTo>
                    <a:pt x="7011" y="6270"/>
                    <a:pt x="7011" y="6270"/>
                    <a:pt x="7011" y="6270"/>
                  </a:cubicBezTo>
                  <a:cubicBezTo>
                    <a:pt x="7014" y="6245"/>
                    <a:pt x="7014" y="6245"/>
                    <a:pt x="7014" y="6245"/>
                  </a:cubicBezTo>
                  <a:cubicBezTo>
                    <a:pt x="7140" y="6259"/>
                    <a:pt x="7140" y="6259"/>
                    <a:pt x="7140" y="6259"/>
                  </a:cubicBezTo>
                  <a:cubicBezTo>
                    <a:pt x="7146" y="6259"/>
                    <a:pt x="7146" y="6259"/>
                    <a:pt x="7146" y="6259"/>
                  </a:cubicBezTo>
                  <a:cubicBezTo>
                    <a:pt x="7164" y="6107"/>
                    <a:pt x="7164" y="6107"/>
                    <a:pt x="7164" y="6107"/>
                  </a:cubicBezTo>
                  <a:cubicBezTo>
                    <a:pt x="7029" y="6093"/>
                    <a:pt x="7029" y="6093"/>
                    <a:pt x="7029" y="6093"/>
                  </a:cubicBezTo>
                  <a:cubicBezTo>
                    <a:pt x="7068" y="5704"/>
                    <a:pt x="7068" y="5704"/>
                    <a:pt x="7068" y="5704"/>
                  </a:cubicBezTo>
                  <a:cubicBezTo>
                    <a:pt x="7220" y="5720"/>
                    <a:pt x="7220" y="5720"/>
                    <a:pt x="7220" y="5720"/>
                  </a:cubicBezTo>
                  <a:cubicBezTo>
                    <a:pt x="7216" y="5767"/>
                    <a:pt x="7192" y="6045"/>
                    <a:pt x="7177" y="6197"/>
                  </a:cubicBezTo>
                  <a:cubicBezTo>
                    <a:pt x="7173" y="6242"/>
                    <a:pt x="7169" y="6278"/>
                    <a:pt x="7167" y="6289"/>
                  </a:cubicBezTo>
                  <a:close/>
                  <a:moveTo>
                    <a:pt x="7015" y="6232"/>
                  </a:moveTo>
                  <a:cubicBezTo>
                    <a:pt x="7028" y="6106"/>
                    <a:pt x="7028" y="6106"/>
                    <a:pt x="7028" y="6106"/>
                  </a:cubicBezTo>
                  <a:cubicBezTo>
                    <a:pt x="7149" y="6119"/>
                    <a:pt x="7149" y="6119"/>
                    <a:pt x="7149" y="6119"/>
                  </a:cubicBezTo>
                  <a:cubicBezTo>
                    <a:pt x="7135" y="6245"/>
                    <a:pt x="7135" y="6245"/>
                    <a:pt x="7135" y="6245"/>
                  </a:cubicBezTo>
                  <a:lnTo>
                    <a:pt x="7015" y="6232"/>
                  </a:lnTo>
                  <a:close/>
                  <a:moveTo>
                    <a:pt x="7015" y="6091"/>
                  </a:moveTo>
                  <a:cubicBezTo>
                    <a:pt x="6884" y="6077"/>
                    <a:pt x="6884" y="6077"/>
                    <a:pt x="6884" y="6077"/>
                  </a:cubicBezTo>
                  <a:cubicBezTo>
                    <a:pt x="6922" y="5689"/>
                    <a:pt x="6922" y="5689"/>
                    <a:pt x="6922" y="5689"/>
                  </a:cubicBezTo>
                  <a:cubicBezTo>
                    <a:pt x="7054" y="5703"/>
                    <a:pt x="7054" y="5703"/>
                    <a:pt x="7054" y="5703"/>
                  </a:cubicBezTo>
                  <a:lnTo>
                    <a:pt x="7015" y="6091"/>
                  </a:lnTo>
                  <a:close/>
                  <a:moveTo>
                    <a:pt x="6870" y="6076"/>
                  </a:moveTo>
                  <a:cubicBezTo>
                    <a:pt x="6727" y="6061"/>
                    <a:pt x="6727" y="6061"/>
                    <a:pt x="6727" y="6061"/>
                  </a:cubicBezTo>
                  <a:cubicBezTo>
                    <a:pt x="6766" y="5672"/>
                    <a:pt x="6766" y="5672"/>
                    <a:pt x="6766" y="5672"/>
                  </a:cubicBezTo>
                  <a:cubicBezTo>
                    <a:pt x="6909" y="5687"/>
                    <a:pt x="6909" y="5687"/>
                    <a:pt x="6909" y="5687"/>
                  </a:cubicBezTo>
                  <a:lnTo>
                    <a:pt x="6870" y="6076"/>
                  </a:lnTo>
                  <a:close/>
                  <a:moveTo>
                    <a:pt x="6714" y="6059"/>
                  </a:moveTo>
                  <a:cubicBezTo>
                    <a:pt x="6574" y="6044"/>
                    <a:pt x="6574" y="6044"/>
                    <a:pt x="6574" y="6044"/>
                  </a:cubicBezTo>
                  <a:cubicBezTo>
                    <a:pt x="6612" y="5659"/>
                    <a:pt x="6612" y="5659"/>
                    <a:pt x="6612" y="5659"/>
                  </a:cubicBezTo>
                  <a:cubicBezTo>
                    <a:pt x="6598" y="5658"/>
                    <a:pt x="6598" y="5658"/>
                    <a:pt x="6598" y="5658"/>
                  </a:cubicBezTo>
                  <a:cubicBezTo>
                    <a:pt x="6560" y="6043"/>
                    <a:pt x="6560" y="6043"/>
                    <a:pt x="6560" y="6043"/>
                  </a:cubicBezTo>
                  <a:cubicBezTo>
                    <a:pt x="6429" y="6029"/>
                    <a:pt x="6429" y="6029"/>
                    <a:pt x="6429" y="6029"/>
                  </a:cubicBezTo>
                  <a:cubicBezTo>
                    <a:pt x="6467" y="5640"/>
                    <a:pt x="6467" y="5640"/>
                    <a:pt x="6467" y="5640"/>
                  </a:cubicBezTo>
                  <a:cubicBezTo>
                    <a:pt x="6752" y="5670"/>
                    <a:pt x="6752" y="5670"/>
                    <a:pt x="6752" y="5670"/>
                  </a:cubicBezTo>
                  <a:lnTo>
                    <a:pt x="6714" y="6059"/>
                  </a:lnTo>
                  <a:close/>
                  <a:moveTo>
                    <a:pt x="6415" y="6027"/>
                  </a:moveTo>
                  <a:cubicBezTo>
                    <a:pt x="6284" y="6013"/>
                    <a:pt x="6284" y="6013"/>
                    <a:pt x="6284" y="6013"/>
                  </a:cubicBezTo>
                  <a:cubicBezTo>
                    <a:pt x="6323" y="5625"/>
                    <a:pt x="6323" y="5625"/>
                    <a:pt x="6323" y="5625"/>
                  </a:cubicBezTo>
                  <a:cubicBezTo>
                    <a:pt x="6309" y="5624"/>
                    <a:pt x="6309" y="5624"/>
                    <a:pt x="6309" y="5624"/>
                  </a:cubicBezTo>
                  <a:cubicBezTo>
                    <a:pt x="6271" y="6012"/>
                    <a:pt x="6271" y="6012"/>
                    <a:pt x="6271" y="6012"/>
                  </a:cubicBezTo>
                  <a:cubicBezTo>
                    <a:pt x="6134" y="5997"/>
                    <a:pt x="6134" y="5997"/>
                    <a:pt x="6134" y="5997"/>
                  </a:cubicBezTo>
                  <a:cubicBezTo>
                    <a:pt x="6172" y="5613"/>
                    <a:pt x="6172" y="5613"/>
                    <a:pt x="6172" y="5613"/>
                  </a:cubicBezTo>
                  <a:cubicBezTo>
                    <a:pt x="6158" y="5612"/>
                    <a:pt x="6158" y="5612"/>
                    <a:pt x="6158" y="5612"/>
                  </a:cubicBezTo>
                  <a:cubicBezTo>
                    <a:pt x="6120" y="5995"/>
                    <a:pt x="6120" y="5995"/>
                    <a:pt x="6120" y="5995"/>
                  </a:cubicBezTo>
                  <a:cubicBezTo>
                    <a:pt x="5994" y="5982"/>
                    <a:pt x="5994" y="5982"/>
                    <a:pt x="5994" y="5982"/>
                  </a:cubicBezTo>
                  <a:cubicBezTo>
                    <a:pt x="5977" y="6134"/>
                    <a:pt x="5977" y="6134"/>
                    <a:pt x="5977" y="6134"/>
                  </a:cubicBezTo>
                  <a:cubicBezTo>
                    <a:pt x="6105" y="6148"/>
                    <a:pt x="6105" y="6148"/>
                    <a:pt x="6105" y="6148"/>
                  </a:cubicBezTo>
                  <a:cubicBezTo>
                    <a:pt x="6104" y="6162"/>
                    <a:pt x="6104" y="6162"/>
                    <a:pt x="6104" y="6162"/>
                  </a:cubicBezTo>
                  <a:cubicBezTo>
                    <a:pt x="5956" y="6144"/>
                    <a:pt x="5956" y="6144"/>
                    <a:pt x="5956" y="6144"/>
                  </a:cubicBezTo>
                  <a:cubicBezTo>
                    <a:pt x="6047" y="5596"/>
                    <a:pt x="6047" y="5596"/>
                    <a:pt x="6047" y="5596"/>
                  </a:cubicBezTo>
                  <a:cubicBezTo>
                    <a:pt x="6453" y="5639"/>
                    <a:pt x="6453" y="5639"/>
                    <a:pt x="6453" y="5639"/>
                  </a:cubicBezTo>
                  <a:lnTo>
                    <a:pt x="6415" y="6027"/>
                  </a:lnTo>
                  <a:close/>
                  <a:moveTo>
                    <a:pt x="6058" y="6222"/>
                  </a:moveTo>
                  <a:cubicBezTo>
                    <a:pt x="6054" y="6239"/>
                    <a:pt x="6054" y="6239"/>
                    <a:pt x="6054" y="6239"/>
                  </a:cubicBezTo>
                  <a:cubicBezTo>
                    <a:pt x="6015" y="6236"/>
                    <a:pt x="6015" y="6236"/>
                    <a:pt x="6015" y="6236"/>
                  </a:cubicBezTo>
                  <a:cubicBezTo>
                    <a:pt x="6011" y="6279"/>
                    <a:pt x="6011" y="6279"/>
                    <a:pt x="6011" y="6279"/>
                  </a:cubicBezTo>
                  <a:cubicBezTo>
                    <a:pt x="5965" y="6275"/>
                    <a:pt x="5965" y="6275"/>
                    <a:pt x="5965" y="6275"/>
                  </a:cubicBezTo>
                  <a:cubicBezTo>
                    <a:pt x="5958" y="6355"/>
                    <a:pt x="5958" y="6355"/>
                    <a:pt x="5958" y="6355"/>
                  </a:cubicBezTo>
                  <a:cubicBezTo>
                    <a:pt x="5958" y="6361"/>
                    <a:pt x="5958" y="6361"/>
                    <a:pt x="5958" y="6361"/>
                  </a:cubicBezTo>
                  <a:cubicBezTo>
                    <a:pt x="6029" y="6367"/>
                    <a:pt x="6029" y="6367"/>
                    <a:pt x="6029" y="6367"/>
                  </a:cubicBezTo>
                  <a:cubicBezTo>
                    <a:pt x="6011" y="6455"/>
                    <a:pt x="6011" y="6455"/>
                    <a:pt x="6011" y="6455"/>
                  </a:cubicBezTo>
                  <a:cubicBezTo>
                    <a:pt x="5904" y="6442"/>
                    <a:pt x="5904" y="6442"/>
                    <a:pt x="5904" y="6442"/>
                  </a:cubicBezTo>
                  <a:cubicBezTo>
                    <a:pt x="5945" y="6209"/>
                    <a:pt x="5945" y="6209"/>
                    <a:pt x="5945" y="6209"/>
                  </a:cubicBezTo>
                  <a:lnTo>
                    <a:pt x="6058" y="6222"/>
                  </a:lnTo>
                  <a:close/>
                  <a:moveTo>
                    <a:pt x="5372" y="5675"/>
                  </a:moveTo>
                  <a:cubicBezTo>
                    <a:pt x="5330" y="6030"/>
                    <a:pt x="5330" y="6030"/>
                    <a:pt x="5330" y="6030"/>
                  </a:cubicBezTo>
                  <a:cubicBezTo>
                    <a:pt x="4762" y="5924"/>
                    <a:pt x="4762" y="5924"/>
                    <a:pt x="4762" y="5924"/>
                  </a:cubicBezTo>
                  <a:cubicBezTo>
                    <a:pt x="4784" y="5819"/>
                    <a:pt x="4803" y="5727"/>
                    <a:pt x="4818" y="5657"/>
                  </a:cubicBezTo>
                  <a:lnTo>
                    <a:pt x="5372" y="5675"/>
                  </a:lnTo>
                  <a:close/>
                  <a:moveTo>
                    <a:pt x="4785" y="5441"/>
                  </a:moveTo>
                  <a:cubicBezTo>
                    <a:pt x="4111" y="5409"/>
                    <a:pt x="4111" y="5409"/>
                    <a:pt x="4111" y="5409"/>
                  </a:cubicBezTo>
                  <a:cubicBezTo>
                    <a:pt x="4169" y="5316"/>
                    <a:pt x="4169" y="5316"/>
                    <a:pt x="4169" y="5316"/>
                  </a:cubicBezTo>
                  <a:cubicBezTo>
                    <a:pt x="4202" y="5316"/>
                    <a:pt x="4425" y="5311"/>
                    <a:pt x="4425" y="5311"/>
                  </a:cubicBezTo>
                  <a:cubicBezTo>
                    <a:pt x="4428" y="5310"/>
                    <a:pt x="4428" y="5310"/>
                    <a:pt x="4428" y="5310"/>
                  </a:cubicBezTo>
                  <a:cubicBezTo>
                    <a:pt x="4624" y="5041"/>
                    <a:pt x="4624" y="5041"/>
                    <a:pt x="4624" y="5041"/>
                  </a:cubicBezTo>
                  <a:cubicBezTo>
                    <a:pt x="4683" y="5077"/>
                    <a:pt x="4721" y="5132"/>
                    <a:pt x="4746" y="5194"/>
                  </a:cubicBezTo>
                  <a:cubicBezTo>
                    <a:pt x="4778" y="5276"/>
                    <a:pt x="4785" y="5367"/>
                    <a:pt x="4785" y="5431"/>
                  </a:cubicBezTo>
                  <a:cubicBezTo>
                    <a:pt x="4785" y="5434"/>
                    <a:pt x="4785" y="5438"/>
                    <a:pt x="4785" y="5441"/>
                  </a:cubicBezTo>
                  <a:close/>
                  <a:moveTo>
                    <a:pt x="4421" y="5297"/>
                  </a:moveTo>
                  <a:cubicBezTo>
                    <a:pt x="4392" y="5297"/>
                    <a:pt x="4182" y="5302"/>
                    <a:pt x="4166" y="5303"/>
                  </a:cubicBezTo>
                  <a:cubicBezTo>
                    <a:pt x="4166" y="5302"/>
                    <a:pt x="4165" y="5302"/>
                    <a:pt x="4165" y="5302"/>
                  </a:cubicBezTo>
                  <a:cubicBezTo>
                    <a:pt x="4163" y="5302"/>
                    <a:pt x="4161" y="5301"/>
                    <a:pt x="4159" y="5300"/>
                  </a:cubicBezTo>
                  <a:cubicBezTo>
                    <a:pt x="4154" y="5298"/>
                    <a:pt x="4146" y="5295"/>
                    <a:pt x="4137" y="5291"/>
                  </a:cubicBezTo>
                  <a:cubicBezTo>
                    <a:pt x="4118" y="5283"/>
                    <a:pt x="4091" y="5273"/>
                    <a:pt x="4060" y="5259"/>
                  </a:cubicBezTo>
                  <a:cubicBezTo>
                    <a:pt x="3997" y="5233"/>
                    <a:pt x="3913" y="5198"/>
                    <a:pt x="3828" y="5162"/>
                  </a:cubicBezTo>
                  <a:cubicBezTo>
                    <a:pt x="3773" y="5139"/>
                    <a:pt x="3718" y="5115"/>
                    <a:pt x="3668" y="5094"/>
                  </a:cubicBezTo>
                  <a:cubicBezTo>
                    <a:pt x="3765" y="4797"/>
                    <a:pt x="3765" y="4797"/>
                    <a:pt x="3765" y="4797"/>
                  </a:cubicBezTo>
                  <a:cubicBezTo>
                    <a:pt x="4004" y="4849"/>
                    <a:pt x="4312" y="4931"/>
                    <a:pt x="4562" y="5012"/>
                  </a:cubicBezTo>
                  <a:cubicBezTo>
                    <a:pt x="4581" y="5018"/>
                    <a:pt x="4597" y="5025"/>
                    <a:pt x="4612" y="5034"/>
                  </a:cubicBezTo>
                  <a:lnTo>
                    <a:pt x="4421" y="5297"/>
                  </a:lnTo>
                  <a:close/>
                  <a:moveTo>
                    <a:pt x="3655" y="5088"/>
                  </a:moveTo>
                  <a:cubicBezTo>
                    <a:pt x="3567" y="5051"/>
                    <a:pt x="3497" y="5020"/>
                    <a:pt x="3477" y="5011"/>
                  </a:cubicBezTo>
                  <a:cubicBezTo>
                    <a:pt x="3573" y="4758"/>
                    <a:pt x="3573" y="4758"/>
                    <a:pt x="3573" y="4758"/>
                  </a:cubicBezTo>
                  <a:cubicBezTo>
                    <a:pt x="3594" y="4762"/>
                    <a:pt x="3617" y="4767"/>
                    <a:pt x="3641" y="4772"/>
                  </a:cubicBezTo>
                  <a:cubicBezTo>
                    <a:pt x="3676" y="4778"/>
                    <a:pt x="3713" y="4786"/>
                    <a:pt x="3751" y="4794"/>
                  </a:cubicBezTo>
                  <a:lnTo>
                    <a:pt x="3655" y="5088"/>
                  </a:lnTo>
                  <a:close/>
                  <a:moveTo>
                    <a:pt x="2789" y="5163"/>
                  </a:moveTo>
                  <a:cubicBezTo>
                    <a:pt x="2814" y="5108"/>
                    <a:pt x="2834" y="5064"/>
                    <a:pt x="2845" y="5041"/>
                  </a:cubicBezTo>
                  <a:cubicBezTo>
                    <a:pt x="2940" y="5071"/>
                    <a:pt x="2940" y="5071"/>
                    <a:pt x="2940" y="5071"/>
                  </a:cubicBezTo>
                  <a:cubicBezTo>
                    <a:pt x="3070" y="5172"/>
                    <a:pt x="3070" y="5172"/>
                    <a:pt x="3070" y="5172"/>
                  </a:cubicBezTo>
                  <a:cubicBezTo>
                    <a:pt x="2646" y="5977"/>
                    <a:pt x="2646" y="5977"/>
                    <a:pt x="2646" y="5977"/>
                  </a:cubicBezTo>
                  <a:cubicBezTo>
                    <a:pt x="2544" y="5936"/>
                    <a:pt x="2544" y="5936"/>
                    <a:pt x="2544" y="5936"/>
                  </a:cubicBezTo>
                  <a:cubicBezTo>
                    <a:pt x="2491" y="5843"/>
                    <a:pt x="2491" y="5843"/>
                    <a:pt x="2491" y="5843"/>
                  </a:cubicBezTo>
                  <a:cubicBezTo>
                    <a:pt x="2499" y="5824"/>
                    <a:pt x="2544" y="5720"/>
                    <a:pt x="2600" y="5593"/>
                  </a:cubicBezTo>
                  <a:cubicBezTo>
                    <a:pt x="2662" y="5451"/>
                    <a:pt x="2737" y="5280"/>
                    <a:pt x="2789" y="5163"/>
                  </a:cubicBezTo>
                  <a:close/>
                  <a:moveTo>
                    <a:pt x="2640" y="5466"/>
                  </a:moveTo>
                  <a:cubicBezTo>
                    <a:pt x="2612" y="5529"/>
                    <a:pt x="2586" y="5590"/>
                    <a:pt x="2562" y="5645"/>
                  </a:cubicBezTo>
                  <a:cubicBezTo>
                    <a:pt x="2349" y="5536"/>
                    <a:pt x="2349" y="5536"/>
                    <a:pt x="2349" y="5536"/>
                  </a:cubicBezTo>
                  <a:cubicBezTo>
                    <a:pt x="2364" y="5460"/>
                    <a:pt x="2364" y="5460"/>
                    <a:pt x="2364" y="5460"/>
                  </a:cubicBezTo>
                  <a:cubicBezTo>
                    <a:pt x="2336" y="5439"/>
                    <a:pt x="2336" y="5439"/>
                    <a:pt x="2336" y="5439"/>
                  </a:cubicBezTo>
                  <a:cubicBezTo>
                    <a:pt x="2392" y="5330"/>
                    <a:pt x="2392" y="5330"/>
                    <a:pt x="2392" y="5330"/>
                  </a:cubicBezTo>
                  <a:cubicBezTo>
                    <a:pt x="2492" y="5385"/>
                    <a:pt x="2609" y="5450"/>
                    <a:pt x="2640" y="5466"/>
                  </a:cubicBezTo>
                  <a:close/>
                  <a:moveTo>
                    <a:pt x="2325" y="5431"/>
                  </a:moveTo>
                  <a:cubicBezTo>
                    <a:pt x="2241" y="5367"/>
                    <a:pt x="2241" y="5367"/>
                    <a:pt x="2241" y="5367"/>
                  </a:cubicBezTo>
                  <a:cubicBezTo>
                    <a:pt x="2288" y="5272"/>
                    <a:pt x="2288" y="5272"/>
                    <a:pt x="2288" y="5272"/>
                  </a:cubicBezTo>
                  <a:cubicBezTo>
                    <a:pt x="2313" y="5285"/>
                    <a:pt x="2345" y="5303"/>
                    <a:pt x="2380" y="5323"/>
                  </a:cubicBezTo>
                  <a:lnTo>
                    <a:pt x="2325" y="5431"/>
                  </a:lnTo>
                  <a:close/>
                  <a:moveTo>
                    <a:pt x="2319" y="5444"/>
                  </a:moveTo>
                  <a:cubicBezTo>
                    <a:pt x="2307" y="5468"/>
                    <a:pt x="2307" y="5468"/>
                    <a:pt x="2307" y="5468"/>
                  </a:cubicBezTo>
                  <a:cubicBezTo>
                    <a:pt x="2213" y="5422"/>
                    <a:pt x="2213" y="5422"/>
                    <a:pt x="2213" y="5422"/>
                  </a:cubicBezTo>
                  <a:cubicBezTo>
                    <a:pt x="2234" y="5379"/>
                    <a:pt x="2234" y="5379"/>
                    <a:pt x="2234" y="5379"/>
                  </a:cubicBezTo>
                  <a:lnTo>
                    <a:pt x="2319" y="5444"/>
                  </a:lnTo>
                  <a:close/>
                  <a:moveTo>
                    <a:pt x="2195" y="5428"/>
                  </a:moveTo>
                  <a:cubicBezTo>
                    <a:pt x="2313" y="5485"/>
                    <a:pt x="2313" y="5485"/>
                    <a:pt x="2313" y="5485"/>
                  </a:cubicBezTo>
                  <a:cubicBezTo>
                    <a:pt x="2330" y="5452"/>
                    <a:pt x="2330" y="5452"/>
                    <a:pt x="2330" y="5452"/>
                  </a:cubicBezTo>
                  <a:cubicBezTo>
                    <a:pt x="2348" y="5466"/>
                    <a:pt x="2348" y="5466"/>
                    <a:pt x="2348" y="5466"/>
                  </a:cubicBezTo>
                  <a:cubicBezTo>
                    <a:pt x="2333" y="5544"/>
                    <a:pt x="2333" y="5544"/>
                    <a:pt x="2333" y="5544"/>
                  </a:cubicBezTo>
                  <a:cubicBezTo>
                    <a:pt x="2556" y="5658"/>
                    <a:pt x="2556" y="5658"/>
                    <a:pt x="2556" y="5658"/>
                  </a:cubicBezTo>
                  <a:cubicBezTo>
                    <a:pt x="2517" y="5748"/>
                    <a:pt x="2487" y="5816"/>
                    <a:pt x="2479" y="5835"/>
                  </a:cubicBezTo>
                  <a:cubicBezTo>
                    <a:pt x="2459" y="5830"/>
                    <a:pt x="2412" y="5822"/>
                    <a:pt x="2364" y="5814"/>
                  </a:cubicBezTo>
                  <a:cubicBezTo>
                    <a:pt x="2317" y="5807"/>
                    <a:pt x="2272" y="5801"/>
                    <a:pt x="2260" y="5799"/>
                  </a:cubicBezTo>
                  <a:cubicBezTo>
                    <a:pt x="2252" y="5785"/>
                    <a:pt x="2218" y="5726"/>
                    <a:pt x="2200" y="5702"/>
                  </a:cubicBezTo>
                  <a:cubicBezTo>
                    <a:pt x="2263" y="5578"/>
                    <a:pt x="2263" y="5578"/>
                    <a:pt x="2263" y="5578"/>
                  </a:cubicBezTo>
                  <a:cubicBezTo>
                    <a:pt x="2266" y="5572"/>
                    <a:pt x="2266" y="5572"/>
                    <a:pt x="2266" y="5572"/>
                  </a:cubicBezTo>
                  <a:cubicBezTo>
                    <a:pt x="2146" y="5514"/>
                    <a:pt x="2146" y="5514"/>
                    <a:pt x="2146" y="5514"/>
                  </a:cubicBezTo>
                  <a:cubicBezTo>
                    <a:pt x="2084" y="5638"/>
                    <a:pt x="2084" y="5638"/>
                    <a:pt x="2084" y="5638"/>
                  </a:cubicBezTo>
                  <a:cubicBezTo>
                    <a:pt x="2076" y="5634"/>
                    <a:pt x="2068" y="5630"/>
                    <a:pt x="2062" y="5626"/>
                  </a:cubicBezTo>
                  <a:cubicBezTo>
                    <a:pt x="2210" y="5361"/>
                    <a:pt x="2210" y="5361"/>
                    <a:pt x="2210" y="5361"/>
                  </a:cubicBezTo>
                  <a:cubicBezTo>
                    <a:pt x="2224" y="5371"/>
                    <a:pt x="2224" y="5371"/>
                    <a:pt x="2224" y="5371"/>
                  </a:cubicBezTo>
                  <a:lnTo>
                    <a:pt x="2195" y="5428"/>
                  </a:lnTo>
                  <a:close/>
                  <a:moveTo>
                    <a:pt x="2158" y="5321"/>
                  </a:moveTo>
                  <a:cubicBezTo>
                    <a:pt x="2109" y="5294"/>
                    <a:pt x="2109" y="5294"/>
                    <a:pt x="2109" y="5294"/>
                  </a:cubicBezTo>
                  <a:cubicBezTo>
                    <a:pt x="2158" y="5207"/>
                    <a:pt x="2158" y="5207"/>
                    <a:pt x="2158" y="5207"/>
                  </a:cubicBezTo>
                  <a:cubicBezTo>
                    <a:pt x="2206" y="5235"/>
                    <a:pt x="2206" y="5235"/>
                    <a:pt x="2206" y="5235"/>
                  </a:cubicBezTo>
                  <a:lnTo>
                    <a:pt x="2158" y="5321"/>
                  </a:lnTo>
                  <a:close/>
                  <a:moveTo>
                    <a:pt x="2151" y="5334"/>
                  </a:moveTo>
                  <a:cubicBezTo>
                    <a:pt x="2099" y="5426"/>
                    <a:pt x="2099" y="5426"/>
                    <a:pt x="2099" y="5426"/>
                  </a:cubicBezTo>
                  <a:cubicBezTo>
                    <a:pt x="2050" y="5398"/>
                    <a:pt x="2050" y="5398"/>
                    <a:pt x="2050" y="5398"/>
                  </a:cubicBezTo>
                  <a:cubicBezTo>
                    <a:pt x="2102" y="5306"/>
                    <a:pt x="2102" y="5306"/>
                    <a:pt x="2102" y="5306"/>
                  </a:cubicBezTo>
                  <a:lnTo>
                    <a:pt x="2151" y="5334"/>
                  </a:lnTo>
                  <a:close/>
                  <a:moveTo>
                    <a:pt x="2039" y="5391"/>
                  </a:moveTo>
                  <a:cubicBezTo>
                    <a:pt x="1925" y="5326"/>
                    <a:pt x="1925" y="5326"/>
                    <a:pt x="1925" y="5326"/>
                  </a:cubicBezTo>
                  <a:cubicBezTo>
                    <a:pt x="1977" y="5234"/>
                    <a:pt x="1977" y="5234"/>
                    <a:pt x="1977" y="5234"/>
                  </a:cubicBezTo>
                  <a:cubicBezTo>
                    <a:pt x="2091" y="5299"/>
                    <a:pt x="2091" y="5299"/>
                    <a:pt x="2091" y="5299"/>
                  </a:cubicBezTo>
                  <a:lnTo>
                    <a:pt x="2039" y="5391"/>
                  </a:lnTo>
                  <a:close/>
                  <a:moveTo>
                    <a:pt x="1913" y="5320"/>
                  </a:moveTo>
                  <a:cubicBezTo>
                    <a:pt x="1551" y="5113"/>
                    <a:pt x="1551" y="5113"/>
                    <a:pt x="1551" y="5113"/>
                  </a:cubicBezTo>
                  <a:cubicBezTo>
                    <a:pt x="1586" y="5011"/>
                    <a:pt x="1586" y="5011"/>
                    <a:pt x="1586" y="5011"/>
                  </a:cubicBezTo>
                  <a:cubicBezTo>
                    <a:pt x="1965" y="5228"/>
                    <a:pt x="1965" y="5228"/>
                    <a:pt x="1965" y="5228"/>
                  </a:cubicBezTo>
                  <a:lnTo>
                    <a:pt x="1913" y="5320"/>
                  </a:lnTo>
                  <a:close/>
                  <a:moveTo>
                    <a:pt x="1906" y="5332"/>
                  </a:moveTo>
                  <a:cubicBezTo>
                    <a:pt x="1846" y="5438"/>
                    <a:pt x="1846" y="5438"/>
                    <a:pt x="1846" y="5438"/>
                  </a:cubicBezTo>
                  <a:cubicBezTo>
                    <a:pt x="1505" y="5244"/>
                    <a:pt x="1505" y="5244"/>
                    <a:pt x="1505" y="5244"/>
                  </a:cubicBezTo>
                  <a:cubicBezTo>
                    <a:pt x="1546" y="5126"/>
                    <a:pt x="1546" y="5126"/>
                    <a:pt x="1546" y="5126"/>
                  </a:cubicBezTo>
                  <a:lnTo>
                    <a:pt x="1906" y="5332"/>
                  </a:lnTo>
                  <a:close/>
                  <a:moveTo>
                    <a:pt x="1839" y="5450"/>
                  </a:moveTo>
                  <a:cubicBezTo>
                    <a:pt x="1781" y="5554"/>
                    <a:pt x="1781" y="5554"/>
                    <a:pt x="1781" y="5554"/>
                  </a:cubicBezTo>
                  <a:cubicBezTo>
                    <a:pt x="1421" y="5348"/>
                    <a:pt x="1421" y="5348"/>
                    <a:pt x="1421" y="5348"/>
                  </a:cubicBezTo>
                  <a:cubicBezTo>
                    <a:pt x="1500" y="5257"/>
                    <a:pt x="1500" y="5257"/>
                    <a:pt x="1500" y="5257"/>
                  </a:cubicBezTo>
                  <a:cubicBezTo>
                    <a:pt x="1500" y="5257"/>
                    <a:pt x="1500" y="5257"/>
                    <a:pt x="1500" y="5257"/>
                  </a:cubicBezTo>
                  <a:lnTo>
                    <a:pt x="1839" y="5450"/>
                  </a:lnTo>
                  <a:close/>
                  <a:moveTo>
                    <a:pt x="1774" y="5566"/>
                  </a:moveTo>
                  <a:cubicBezTo>
                    <a:pt x="1720" y="5661"/>
                    <a:pt x="1720" y="5661"/>
                    <a:pt x="1720" y="5661"/>
                  </a:cubicBezTo>
                  <a:cubicBezTo>
                    <a:pt x="1387" y="5471"/>
                    <a:pt x="1387" y="5471"/>
                    <a:pt x="1387" y="5471"/>
                  </a:cubicBezTo>
                  <a:cubicBezTo>
                    <a:pt x="1417" y="5362"/>
                    <a:pt x="1417" y="5362"/>
                    <a:pt x="1417" y="5362"/>
                  </a:cubicBezTo>
                  <a:lnTo>
                    <a:pt x="1774" y="5566"/>
                  </a:lnTo>
                  <a:close/>
                  <a:moveTo>
                    <a:pt x="1713" y="5673"/>
                  </a:moveTo>
                  <a:cubicBezTo>
                    <a:pt x="1647" y="5790"/>
                    <a:pt x="1647" y="5790"/>
                    <a:pt x="1647" y="5790"/>
                  </a:cubicBezTo>
                  <a:cubicBezTo>
                    <a:pt x="1345" y="5618"/>
                    <a:pt x="1345" y="5618"/>
                    <a:pt x="1345" y="5618"/>
                  </a:cubicBezTo>
                  <a:cubicBezTo>
                    <a:pt x="1383" y="5484"/>
                    <a:pt x="1383" y="5484"/>
                    <a:pt x="1383" y="5484"/>
                  </a:cubicBezTo>
                  <a:lnTo>
                    <a:pt x="1713" y="5673"/>
                  </a:lnTo>
                  <a:close/>
                  <a:moveTo>
                    <a:pt x="1640" y="5802"/>
                  </a:moveTo>
                  <a:cubicBezTo>
                    <a:pt x="1586" y="5896"/>
                    <a:pt x="1586" y="5896"/>
                    <a:pt x="1586" y="5896"/>
                  </a:cubicBezTo>
                  <a:cubicBezTo>
                    <a:pt x="1226" y="5691"/>
                    <a:pt x="1226" y="5691"/>
                    <a:pt x="1226" y="5691"/>
                  </a:cubicBezTo>
                  <a:cubicBezTo>
                    <a:pt x="1336" y="5628"/>
                    <a:pt x="1336" y="5628"/>
                    <a:pt x="1336" y="5628"/>
                  </a:cubicBezTo>
                  <a:lnTo>
                    <a:pt x="1640" y="5802"/>
                  </a:lnTo>
                  <a:close/>
                  <a:moveTo>
                    <a:pt x="1579" y="5908"/>
                  </a:moveTo>
                  <a:cubicBezTo>
                    <a:pt x="1519" y="6014"/>
                    <a:pt x="1519" y="6014"/>
                    <a:pt x="1519" y="6014"/>
                  </a:cubicBezTo>
                  <a:cubicBezTo>
                    <a:pt x="1165" y="5812"/>
                    <a:pt x="1165" y="5812"/>
                    <a:pt x="1165" y="5812"/>
                  </a:cubicBezTo>
                  <a:cubicBezTo>
                    <a:pt x="1199" y="5707"/>
                    <a:pt x="1199" y="5707"/>
                    <a:pt x="1199" y="5707"/>
                  </a:cubicBezTo>
                  <a:cubicBezTo>
                    <a:pt x="1212" y="5699"/>
                    <a:pt x="1212" y="5699"/>
                    <a:pt x="1212" y="5699"/>
                  </a:cubicBezTo>
                  <a:lnTo>
                    <a:pt x="1579" y="5908"/>
                  </a:lnTo>
                  <a:close/>
                  <a:moveTo>
                    <a:pt x="1513" y="6026"/>
                  </a:moveTo>
                  <a:cubicBezTo>
                    <a:pt x="1460" y="6118"/>
                    <a:pt x="1460" y="6118"/>
                    <a:pt x="1460" y="6118"/>
                  </a:cubicBezTo>
                  <a:cubicBezTo>
                    <a:pt x="1128" y="5928"/>
                    <a:pt x="1128" y="5928"/>
                    <a:pt x="1128" y="5928"/>
                  </a:cubicBezTo>
                  <a:cubicBezTo>
                    <a:pt x="1161" y="5825"/>
                    <a:pt x="1161" y="5825"/>
                    <a:pt x="1161" y="5825"/>
                  </a:cubicBezTo>
                  <a:lnTo>
                    <a:pt x="1513" y="6026"/>
                  </a:lnTo>
                  <a:close/>
                  <a:moveTo>
                    <a:pt x="1453" y="6130"/>
                  </a:moveTo>
                  <a:cubicBezTo>
                    <a:pt x="1393" y="6236"/>
                    <a:pt x="1393" y="6236"/>
                    <a:pt x="1393" y="6236"/>
                  </a:cubicBezTo>
                  <a:cubicBezTo>
                    <a:pt x="1081" y="6058"/>
                    <a:pt x="1081" y="6058"/>
                    <a:pt x="1081" y="6058"/>
                  </a:cubicBezTo>
                  <a:cubicBezTo>
                    <a:pt x="1087" y="6055"/>
                    <a:pt x="1087" y="6055"/>
                    <a:pt x="1087" y="6055"/>
                  </a:cubicBezTo>
                  <a:cubicBezTo>
                    <a:pt x="1123" y="5942"/>
                    <a:pt x="1123" y="5942"/>
                    <a:pt x="1123" y="5942"/>
                  </a:cubicBezTo>
                  <a:lnTo>
                    <a:pt x="1453" y="6130"/>
                  </a:lnTo>
                  <a:close/>
                  <a:moveTo>
                    <a:pt x="1386" y="6249"/>
                  </a:moveTo>
                  <a:cubicBezTo>
                    <a:pt x="1328" y="6352"/>
                    <a:pt x="1328" y="6352"/>
                    <a:pt x="1328" y="6352"/>
                  </a:cubicBezTo>
                  <a:cubicBezTo>
                    <a:pt x="955" y="6139"/>
                    <a:pt x="955" y="6139"/>
                    <a:pt x="955" y="6139"/>
                  </a:cubicBezTo>
                  <a:cubicBezTo>
                    <a:pt x="957" y="6135"/>
                    <a:pt x="957" y="6135"/>
                    <a:pt x="957" y="6135"/>
                  </a:cubicBezTo>
                  <a:cubicBezTo>
                    <a:pt x="1068" y="6067"/>
                    <a:pt x="1068" y="6067"/>
                    <a:pt x="1068" y="6067"/>
                  </a:cubicBezTo>
                  <a:lnTo>
                    <a:pt x="1386" y="6249"/>
                  </a:lnTo>
                  <a:close/>
                  <a:moveTo>
                    <a:pt x="1398" y="6255"/>
                  </a:moveTo>
                  <a:cubicBezTo>
                    <a:pt x="1512" y="6320"/>
                    <a:pt x="1512" y="6320"/>
                    <a:pt x="1512" y="6320"/>
                  </a:cubicBezTo>
                  <a:cubicBezTo>
                    <a:pt x="1453" y="6423"/>
                    <a:pt x="1453" y="6423"/>
                    <a:pt x="1453" y="6423"/>
                  </a:cubicBezTo>
                  <a:cubicBezTo>
                    <a:pt x="1339" y="6358"/>
                    <a:pt x="1339" y="6358"/>
                    <a:pt x="1339" y="6358"/>
                  </a:cubicBezTo>
                  <a:lnTo>
                    <a:pt x="1398" y="6255"/>
                  </a:lnTo>
                  <a:close/>
                  <a:moveTo>
                    <a:pt x="1523" y="6327"/>
                  </a:moveTo>
                  <a:cubicBezTo>
                    <a:pt x="1577" y="6358"/>
                    <a:pt x="1577" y="6358"/>
                    <a:pt x="1577" y="6358"/>
                  </a:cubicBezTo>
                  <a:cubicBezTo>
                    <a:pt x="1519" y="6461"/>
                    <a:pt x="1519" y="6461"/>
                    <a:pt x="1519" y="6461"/>
                  </a:cubicBezTo>
                  <a:cubicBezTo>
                    <a:pt x="1465" y="6430"/>
                    <a:pt x="1465" y="6430"/>
                    <a:pt x="1465" y="6430"/>
                  </a:cubicBezTo>
                  <a:lnTo>
                    <a:pt x="1523" y="6327"/>
                  </a:lnTo>
                  <a:close/>
                  <a:moveTo>
                    <a:pt x="1719" y="6238"/>
                  </a:moveTo>
                  <a:cubicBezTo>
                    <a:pt x="1997" y="6396"/>
                    <a:pt x="1997" y="6396"/>
                    <a:pt x="1997" y="6396"/>
                  </a:cubicBezTo>
                  <a:cubicBezTo>
                    <a:pt x="1997" y="6397"/>
                    <a:pt x="1996" y="6397"/>
                    <a:pt x="1996" y="6397"/>
                  </a:cubicBezTo>
                  <a:cubicBezTo>
                    <a:pt x="2007" y="6406"/>
                    <a:pt x="2007" y="6406"/>
                    <a:pt x="2007" y="6406"/>
                  </a:cubicBezTo>
                  <a:cubicBezTo>
                    <a:pt x="2007" y="6406"/>
                    <a:pt x="2008" y="6405"/>
                    <a:pt x="2009" y="6403"/>
                  </a:cubicBezTo>
                  <a:cubicBezTo>
                    <a:pt x="2265" y="6549"/>
                    <a:pt x="2265" y="6549"/>
                    <a:pt x="2265" y="6549"/>
                  </a:cubicBezTo>
                  <a:cubicBezTo>
                    <a:pt x="2244" y="6582"/>
                    <a:pt x="2222" y="6617"/>
                    <a:pt x="2199" y="6652"/>
                  </a:cubicBezTo>
                  <a:cubicBezTo>
                    <a:pt x="2117" y="6778"/>
                    <a:pt x="2034" y="6906"/>
                    <a:pt x="1996" y="6962"/>
                  </a:cubicBezTo>
                  <a:cubicBezTo>
                    <a:pt x="1933" y="6925"/>
                    <a:pt x="1825" y="6862"/>
                    <a:pt x="1723" y="6802"/>
                  </a:cubicBezTo>
                  <a:cubicBezTo>
                    <a:pt x="1623" y="6743"/>
                    <a:pt x="1528" y="6687"/>
                    <a:pt x="1483" y="6660"/>
                  </a:cubicBezTo>
                  <a:lnTo>
                    <a:pt x="1719" y="6238"/>
                  </a:lnTo>
                  <a:close/>
                  <a:moveTo>
                    <a:pt x="1944" y="7007"/>
                  </a:moveTo>
                  <a:cubicBezTo>
                    <a:pt x="1977" y="7026"/>
                    <a:pt x="2002" y="7041"/>
                    <a:pt x="2015" y="7047"/>
                  </a:cubicBezTo>
                  <a:cubicBezTo>
                    <a:pt x="2048" y="7065"/>
                    <a:pt x="2129" y="7121"/>
                    <a:pt x="2210" y="7179"/>
                  </a:cubicBezTo>
                  <a:cubicBezTo>
                    <a:pt x="2211" y="7180"/>
                    <a:pt x="2211" y="7180"/>
                    <a:pt x="2212" y="7180"/>
                  </a:cubicBezTo>
                  <a:cubicBezTo>
                    <a:pt x="1867" y="7558"/>
                    <a:pt x="1867" y="7558"/>
                    <a:pt x="1867" y="7558"/>
                  </a:cubicBezTo>
                  <a:cubicBezTo>
                    <a:pt x="1854" y="7541"/>
                    <a:pt x="1823" y="7504"/>
                    <a:pt x="1792" y="7465"/>
                  </a:cubicBezTo>
                  <a:cubicBezTo>
                    <a:pt x="1752" y="7417"/>
                    <a:pt x="1711" y="7366"/>
                    <a:pt x="1707" y="7359"/>
                  </a:cubicBezTo>
                  <a:cubicBezTo>
                    <a:pt x="1706" y="7358"/>
                    <a:pt x="1706" y="7357"/>
                    <a:pt x="1705" y="7356"/>
                  </a:cubicBezTo>
                  <a:cubicBezTo>
                    <a:pt x="1705" y="7356"/>
                    <a:pt x="1704" y="7356"/>
                    <a:pt x="1704" y="7356"/>
                  </a:cubicBezTo>
                  <a:cubicBezTo>
                    <a:pt x="1706" y="7354"/>
                    <a:pt x="1707" y="7352"/>
                    <a:pt x="1709" y="7349"/>
                  </a:cubicBezTo>
                  <a:cubicBezTo>
                    <a:pt x="1724" y="7328"/>
                    <a:pt x="1744" y="7299"/>
                    <a:pt x="1766" y="7267"/>
                  </a:cubicBezTo>
                  <a:cubicBezTo>
                    <a:pt x="1810" y="7203"/>
                    <a:pt x="1862" y="7124"/>
                    <a:pt x="1901" y="7068"/>
                  </a:cubicBezTo>
                  <a:cubicBezTo>
                    <a:pt x="1919" y="7042"/>
                    <a:pt x="1935" y="7020"/>
                    <a:pt x="1944" y="7007"/>
                  </a:cubicBezTo>
                  <a:close/>
                  <a:moveTo>
                    <a:pt x="1876" y="7572"/>
                  </a:moveTo>
                  <a:cubicBezTo>
                    <a:pt x="1876" y="7569"/>
                    <a:pt x="1876" y="7569"/>
                    <a:pt x="1876" y="7569"/>
                  </a:cubicBezTo>
                  <a:cubicBezTo>
                    <a:pt x="1876" y="7568"/>
                    <a:pt x="1876" y="7568"/>
                    <a:pt x="1876" y="7568"/>
                  </a:cubicBezTo>
                  <a:cubicBezTo>
                    <a:pt x="2223" y="7189"/>
                    <a:pt x="2223" y="7189"/>
                    <a:pt x="2223" y="7189"/>
                  </a:cubicBezTo>
                  <a:cubicBezTo>
                    <a:pt x="2286" y="7234"/>
                    <a:pt x="2347" y="7279"/>
                    <a:pt x="2391" y="7310"/>
                  </a:cubicBezTo>
                  <a:cubicBezTo>
                    <a:pt x="2391" y="7311"/>
                    <a:pt x="2390" y="7312"/>
                    <a:pt x="2390" y="7313"/>
                  </a:cubicBezTo>
                  <a:cubicBezTo>
                    <a:pt x="2384" y="7326"/>
                    <a:pt x="2377" y="7344"/>
                    <a:pt x="2369" y="7366"/>
                  </a:cubicBezTo>
                  <a:cubicBezTo>
                    <a:pt x="2353" y="7408"/>
                    <a:pt x="2331" y="7465"/>
                    <a:pt x="2311" y="7522"/>
                  </a:cubicBezTo>
                  <a:cubicBezTo>
                    <a:pt x="2273" y="7625"/>
                    <a:pt x="2236" y="7728"/>
                    <a:pt x="2229" y="7745"/>
                  </a:cubicBezTo>
                  <a:cubicBezTo>
                    <a:pt x="2216" y="7753"/>
                    <a:pt x="2146" y="7789"/>
                    <a:pt x="2075" y="7826"/>
                  </a:cubicBezTo>
                  <a:cubicBezTo>
                    <a:pt x="2011" y="7859"/>
                    <a:pt x="1945" y="7894"/>
                    <a:pt x="1918" y="7908"/>
                  </a:cubicBezTo>
                  <a:cubicBezTo>
                    <a:pt x="1911" y="7905"/>
                    <a:pt x="1895" y="7898"/>
                    <a:pt x="1879" y="7891"/>
                  </a:cubicBezTo>
                  <a:cubicBezTo>
                    <a:pt x="1863" y="7884"/>
                    <a:pt x="1846" y="7877"/>
                    <a:pt x="1838" y="7873"/>
                  </a:cubicBezTo>
                  <a:cubicBezTo>
                    <a:pt x="1838" y="7871"/>
                    <a:pt x="1839" y="7869"/>
                    <a:pt x="1839" y="7865"/>
                  </a:cubicBezTo>
                  <a:cubicBezTo>
                    <a:pt x="1841" y="7857"/>
                    <a:pt x="1842" y="7845"/>
                    <a:pt x="1844" y="7831"/>
                  </a:cubicBezTo>
                  <a:cubicBezTo>
                    <a:pt x="1848" y="7802"/>
                    <a:pt x="1853" y="7763"/>
                    <a:pt x="1858" y="7725"/>
                  </a:cubicBezTo>
                  <a:cubicBezTo>
                    <a:pt x="1867" y="7649"/>
                    <a:pt x="1876" y="7572"/>
                    <a:pt x="1876" y="7572"/>
                  </a:cubicBezTo>
                  <a:close/>
                  <a:moveTo>
                    <a:pt x="1839" y="7892"/>
                  </a:moveTo>
                  <a:cubicBezTo>
                    <a:pt x="1847" y="7895"/>
                    <a:pt x="1859" y="7900"/>
                    <a:pt x="1870" y="7905"/>
                  </a:cubicBezTo>
                  <a:cubicBezTo>
                    <a:pt x="1884" y="7911"/>
                    <a:pt x="1897" y="7917"/>
                    <a:pt x="1906" y="7920"/>
                  </a:cubicBezTo>
                  <a:cubicBezTo>
                    <a:pt x="1906" y="7927"/>
                    <a:pt x="1906" y="7927"/>
                    <a:pt x="1906" y="7927"/>
                  </a:cubicBezTo>
                  <a:cubicBezTo>
                    <a:pt x="1906" y="7927"/>
                    <a:pt x="1906" y="7927"/>
                    <a:pt x="1907" y="7927"/>
                  </a:cubicBezTo>
                  <a:cubicBezTo>
                    <a:pt x="1865" y="8067"/>
                    <a:pt x="1865" y="8067"/>
                    <a:pt x="1865" y="8067"/>
                  </a:cubicBezTo>
                  <a:cubicBezTo>
                    <a:pt x="2103" y="8179"/>
                    <a:pt x="2103" y="8179"/>
                    <a:pt x="2103" y="8179"/>
                  </a:cubicBezTo>
                  <a:cubicBezTo>
                    <a:pt x="1990" y="8255"/>
                    <a:pt x="1990" y="8255"/>
                    <a:pt x="1990" y="8255"/>
                  </a:cubicBezTo>
                  <a:cubicBezTo>
                    <a:pt x="1665" y="8280"/>
                    <a:pt x="1665" y="8280"/>
                    <a:pt x="1665" y="8280"/>
                  </a:cubicBezTo>
                  <a:cubicBezTo>
                    <a:pt x="1538" y="8123"/>
                    <a:pt x="1538" y="8123"/>
                    <a:pt x="1538" y="8123"/>
                  </a:cubicBezTo>
                  <a:cubicBezTo>
                    <a:pt x="1547" y="8116"/>
                    <a:pt x="1558" y="8106"/>
                    <a:pt x="1571" y="8095"/>
                  </a:cubicBezTo>
                  <a:cubicBezTo>
                    <a:pt x="1601" y="8071"/>
                    <a:pt x="1639" y="8039"/>
                    <a:pt x="1678" y="8008"/>
                  </a:cubicBezTo>
                  <a:cubicBezTo>
                    <a:pt x="1745" y="7954"/>
                    <a:pt x="1812" y="7901"/>
                    <a:pt x="1829" y="7887"/>
                  </a:cubicBezTo>
                  <a:cubicBezTo>
                    <a:pt x="1832" y="7888"/>
                    <a:pt x="1835" y="7890"/>
                    <a:pt x="1839" y="7892"/>
                  </a:cubicBezTo>
                  <a:close/>
                  <a:moveTo>
                    <a:pt x="1669" y="8325"/>
                  </a:moveTo>
                  <a:cubicBezTo>
                    <a:pt x="1871" y="8309"/>
                    <a:pt x="1871" y="8309"/>
                    <a:pt x="1871" y="8309"/>
                  </a:cubicBezTo>
                  <a:cubicBezTo>
                    <a:pt x="2030" y="8655"/>
                    <a:pt x="2030" y="8655"/>
                    <a:pt x="2030" y="8655"/>
                  </a:cubicBezTo>
                  <a:cubicBezTo>
                    <a:pt x="1695" y="8796"/>
                    <a:pt x="1695" y="8796"/>
                    <a:pt x="1695" y="8796"/>
                  </a:cubicBezTo>
                  <a:cubicBezTo>
                    <a:pt x="1608" y="8903"/>
                    <a:pt x="1608" y="8903"/>
                    <a:pt x="1608" y="8903"/>
                  </a:cubicBezTo>
                  <a:cubicBezTo>
                    <a:pt x="1551" y="8780"/>
                    <a:pt x="1497" y="8662"/>
                    <a:pt x="1487" y="8638"/>
                  </a:cubicBezTo>
                  <a:cubicBezTo>
                    <a:pt x="1501" y="8613"/>
                    <a:pt x="1516" y="8587"/>
                    <a:pt x="1532" y="8561"/>
                  </a:cubicBezTo>
                  <a:cubicBezTo>
                    <a:pt x="1591" y="8459"/>
                    <a:pt x="1650" y="8357"/>
                    <a:pt x="1669" y="8325"/>
                  </a:cubicBezTo>
                  <a:close/>
                  <a:moveTo>
                    <a:pt x="1996" y="8849"/>
                  </a:moveTo>
                  <a:cubicBezTo>
                    <a:pt x="1903" y="8898"/>
                    <a:pt x="1903" y="8898"/>
                    <a:pt x="1903" y="8898"/>
                  </a:cubicBezTo>
                  <a:cubicBezTo>
                    <a:pt x="1870" y="8829"/>
                    <a:pt x="1840" y="8767"/>
                    <a:pt x="1834" y="8756"/>
                  </a:cubicBezTo>
                  <a:cubicBezTo>
                    <a:pt x="1935" y="8713"/>
                    <a:pt x="1935" y="8713"/>
                    <a:pt x="1935" y="8713"/>
                  </a:cubicBezTo>
                  <a:cubicBezTo>
                    <a:pt x="1999" y="8847"/>
                    <a:pt x="1999" y="8847"/>
                    <a:pt x="1999" y="8847"/>
                  </a:cubicBezTo>
                  <a:cubicBezTo>
                    <a:pt x="1996" y="8849"/>
                    <a:pt x="1996" y="8849"/>
                    <a:pt x="1996" y="8849"/>
                  </a:cubicBezTo>
                  <a:close/>
                  <a:moveTo>
                    <a:pt x="1712" y="8807"/>
                  </a:moveTo>
                  <a:cubicBezTo>
                    <a:pt x="1819" y="8762"/>
                    <a:pt x="1819" y="8762"/>
                    <a:pt x="1819" y="8762"/>
                  </a:cubicBezTo>
                  <a:cubicBezTo>
                    <a:pt x="1823" y="8771"/>
                    <a:pt x="1859" y="8844"/>
                    <a:pt x="1896" y="8921"/>
                  </a:cubicBezTo>
                  <a:cubicBezTo>
                    <a:pt x="1789" y="8972"/>
                    <a:pt x="1789" y="8972"/>
                    <a:pt x="1789" y="8972"/>
                  </a:cubicBezTo>
                  <a:lnTo>
                    <a:pt x="1712" y="8807"/>
                  </a:lnTo>
                  <a:close/>
                  <a:moveTo>
                    <a:pt x="1762" y="8952"/>
                  </a:moveTo>
                  <a:cubicBezTo>
                    <a:pt x="1756" y="8943"/>
                    <a:pt x="1756" y="8943"/>
                    <a:pt x="1756" y="8943"/>
                  </a:cubicBezTo>
                  <a:cubicBezTo>
                    <a:pt x="1650" y="8993"/>
                    <a:pt x="1650" y="8993"/>
                    <a:pt x="1650" y="8993"/>
                  </a:cubicBezTo>
                  <a:cubicBezTo>
                    <a:pt x="1641" y="8974"/>
                    <a:pt x="1632" y="8955"/>
                    <a:pt x="1623" y="8935"/>
                  </a:cubicBezTo>
                  <a:cubicBezTo>
                    <a:pt x="1621" y="8930"/>
                    <a:pt x="1618" y="8925"/>
                    <a:pt x="1616" y="8919"/>
                  </a:cubicBezTo>
                  <a:cubicBezTo>
                    <a:pt x="1699" y="8818"/>
                    <a:pt x="1699" y="8818"/>
                    <a:pt x="1699" y="8818"/>
                  </a:cubicBezTo>
                  <a:lnTo>
                    <a:pt x="1762" y="8952"/>
                  </a:lnTo>
                  <a:close/>
                  <a:moveTo>
                    <a:pt x="1950" y="8707"/>
                  </a:moveTo>
                  <a:cubicBezTo>
                    <a:pt x="2037" y="8670"/>
                    <a:pt x="2037" y="8670"/>
                    <a:pt x="2037" y="8670"/>
                  </a:cubicBezTo>
                  <a:cubicBezTo>
                    <a:pt x="2091" y="8788"/>
                    <a:pt x="2091" y="8788"/>
                    <a:pt x="2091" y="8788"/>
                  </a:cubicBezTo>
                  <a:cubicBezTo>
                    <a:pt x="2009" y="8829"/>
                    <a:pt x="2009" y="8829"/>
                    <a:pt x="2009" y="8829"/>
                  </a:cubicBezTo>
                  <a:lnTo>
                    <a:pt x="1950" y="8707"/>
                  </a:lnTo>
                  <a:close/>
                  <a:moveTo>
                    <a:pt x="1605" y="8935"/>
                  </a:moveTo>
                  <a:cubicBezTo>
                    <a:pt x="1618" y="8962"/>
                    <a:pt x="1630" y="8989"/>
                    <a:pt x="1642" y="9015"/>
                  </a:cubicBezTo>
                  <a:cubicBezTo>
                    <a:pt x="1547" y="9063"/>
                    <a:pt x="1547" y="9063"/>
                    <a:pt x="1547" y="9063"/>
                  </a:cubicBezTo>
                  <a:cubicBezTo>
                    <a:pt x="1512" y="8988"/>
                    <a:pt x="1512" y="8988"/>
                    <a:pt x="1512" y="8988"/>
                  </a:cubicBezTo>
                  <a:cubicBezTo>
                    <a:pt x="1603" y="8931"/>
                    <a:pt x="1603" y="8931"/>
                    <a:pt x="1603" y="8931"/>
                  </a:cubicBezTo>
                  <a:cubicBezTo>
                    <a:pt x="1604" y="8932"/>
                    <a:pt x="1605" y="8934"/>
                    <a:pt x="1605" y="8935"/>
                  </a:cubicBezTo>
                  <a:close/>
                  <a:moveTo>
                    <a:pt x="1532" y="9070"/>
                  </a:moveTo>
                  <a:cubicBezTo>
                    <a:pt x="1531" y="9071"/>
                    <a:pt x="1531" y="9071"/>
                    <a:pt x="1531" y="9071"/>
                  </a:cubicBezTo>
                  <a:cubicBezTo>
                    <a:pt x="1536" y="9086"/>
                    <a:pt x="1536" y="9086"/>
                    <a:pt x="1536" y="9086"/>
                  </a:cubicBezTo>
                  <a:cubicBezTo>
                    <a:pt x="1533" y="9088"/>
                    <a:pt x="1533" y="9088"/>
                    <a:pt x="1533" y="9088"/>
                  </a:cubicBezTo>
                  <a:cubicBezTo>
                    <a:pt x="1533" y="9088"/>
                    <a:pt x="1533" y="9088"/>
                    <a:pt x="1533" y="9088"/>
                  </a:cubicBezTo>
                  <a:cubicBezTo>
                    <a:pt x="1427" y="9139"/>
                    <a:pt x="1427" y="9139"/>
                    <a:pt x="1427" y="9139"/>
                  </a:cubicBezTo>
                  <a:cubicBezTo>
                    <a:pt x="1391" y="9063"/>
                    <a:pt x="1391" y="9063"/>
                    <a:pt x="1391" y="9063"/>
                  </a:cubicBezTo>
                  <a:cubicBezTo>
                    <a:pt x="1498" y="8996"/>
                    <a:pt x="1498" y="8996"/>
                    <a:pt x="1498" y="8996"/>
                  </a:cubicBezTo>
                  <a:lnTo>
                    <a:pt x="1532" y="9070"/>
                  </a:lnTo>
                  <a:close/>
                  <a:moveTo>
                    <a:pt x="1419" y="9161"/>
                  </a:moveTo>
                  <a:cubicBezTo>
                    <a:pt x="1310" y="9215"/>
                    <a:pt x="1310" y="9215"/>
                    <a:pt x="1310" y="9215"/>
                  </a:cubicBezTo>
                  <a:cubicBezTo>
                    <a:pt x="1274" y="9136"/>
                    <a:pt x="1274" y="9136"/>
                    <a:pt x="1274" y="9136"/>
                  </a:cubicBezTo>
                  <a:cubicBezTo>
                    <a:pt x="1377" y="9072"/>
                    <a:pt x="1377" y="9072"/>
                    <a:pt x="1377" y="9072"/>
                  </a:cubicBezTo>
                  <a:lnTo>
                    <a:pt x="1419" y="9161"/>
                  </a:lnTo>
                  <a:close/>
                  <a:moveTo>
                    <a:pt x="1301" y="9251"/>
                  </a:moveTo>
                  <a:cubicBezTo>
                    <a:pt x="1341" y="9323"/>
                    <a:pt x="1341" y="9323"/>
                    <a:pt x="1341" y="9323"/>
                  </a:cubicBezTo>
                  <a:cubicBezTo>
                    <a:pt x="1352" y="9348"/>
                    <a:pt x="1352" y="9348"/>
                    <a:pt x="1352" y="9348"/>
                  </a:cubicBezTo>
                  <a:cubicBezTo>
                    <a:pt x="1347" y="9350"/>
                    <a:pt x="1347" y="9350"/>
                    <a:pt x="1347" y="9350"/>
                  </a:cubicBezTo>
                  <a:cubicBezTo>
                    <a:pt x="1353" y="9363"/>
                    <a:pt x="1353" y="9363"/>
                    <a:pt x="1353" y="9363"/>
                  </a:cubicBezTo>
                  <a:cubicBezTo>
                    <a:pt x="1354" y="9364"/>
                    <a:pt x="1354" y="9364"/>
                    <a:pt x="1354" y="9364"/>
                  </a:cubicBezTo>
                  <a:cubicBezTo>
                    <a:pt x="1260" y="9411"/>
                    <a:pt x="1260" y="9411"/>
                    <a:pt x="1260" y="9411"/>
                  </a:cubicBezTo>
                  <a:cubicBezTo>
                    <a:pt x="1206" y="9299"/>
                    <a:pt x="1206" y="9299"/>
                    <a:pt x="1206" y="9299"/>
                  </a:cubicBezTo>
                  <a:lnTo>
                    <a:pt x="1301" y="9251"/>
                  </a:lnTo>
                  <a:close/>
                  <a:moveTo>
                    <a:pt x="1316" y="9227"/>
                  </a:moveTo>
                  <a:cubicBezTo>
                    <a:pt x="1425" y="9174"/>
                    <a:pt x="1425" y="9174"/>
                    <a:pt x="1425" y="9174"/>
                  </a:cubicBezTo>
                  <a:cubicBezTo>
                    <a:pt x="1477" y="9287"/>
                    <a:pt x="1477" y="9287"/>
                    <a:pt x="1477" y="9287"/>
                  </a:cubicBezTo>
                  <a:cubicBezTo>
                    <a:pt x="1367" y="9341"/>
                    <a:pt x="1367" y="9341"/>
                    <a:pt x="1367" y="9341"/>
                  </a:cubicBezTo>
                  <a:lnTo>
                    <a:pt x="1316" y="9227"/>
                  </a:lnTo>
                  <a:close/>
                  <a:moveTo>
                    <a:pt x="1439" y="9167"/>
                  </a:moveTo>
                  <a:cubicBezTo>
                    <a:pt x="1440" y="9166"/>
                    <a:pt x="1440" y="9166"/>
                    <a:pt x="1440" y="9166"/>
                  </a:cubicBezTo>
                  <a:cubicBezTo>
                    <a:pt x="1437" y="9155"/>
                    <a:pt x="1437" y="9155"/>
                    <a:pt x="1437" y="9155"/>
                  </a:cubicBezTo>
                  <a:cubicBezTo>
                    <a:pt x="1436" y="9151"/>
                    <a:pt x="1436" y="9151"/>
                    <a:pt x="1436" y="9151"/>
                  </a:cubicBezTo>
                  <a:cubicBezTo>
                    <a:pt x="1540" y="9100"/>
                    <a:pt x="1540" y="9100"/>
                    <a:pt x="1540" y="9100"/>
                  </a:cubicBezTo>
                  <a:cubicBezTo>
                    <a:pt x="1577" y="9166"/>
                    <a:pt x="1577" y="9166"/>
                    <a:pt x="1577" y="9166"/>
                  </a:cubicBezTo>
                  <a:cubicBezTo>
                    <a:pt x="1591" y="9196"/>
                    <a:pt x="1591" y="9196"/>
                    <a:pt x="1591" y="9196"/>
                  </a:cubicBezTo>
                  <a:cubicBezTo>
                    <a:pt x="1587" y="9198"/>
                    <a:pt x="1587" y="9198"/>
                    <a:pt x="1587" y="9198"/>
                  </a:cubicBezTo>
                  <a:cubicBezTo>
                    <a:pt x="1590" y="9209"/>
                    <a:pt x="1590" y="9209"/>
                    <a:pt x="1590" y="9209"/>
                  </a:cubicBezTo>
                  <a:cubicBezTo>
                    <a:pt x="1592" y="9213"/>
                    <a:pt x="1592" y="9213"/>
                    <a:pt x="1592" y="9213"/>
                  </a:cubicBezTo>
                  <a:cubicBezTo>
                    <a:pt x="1486" y="9265"/>
                    <a:pt x="1486" y="9265"/>
                    <a:pt x="1486" y="9265"/>
                  </a:cubicBezTo>
                  <a:cubicBezTo>
                    <a:pt x="1485" y="9265"/>
                    <a:pt x="1485" y="9265"/>
                    <a:pt x="1485" y="9265"/>
                  </a:cubicBezTo>
                  <a:cubicBezTo>
                    <a:pt x="1484" y="9262"/>
                    <a:pt x="1484" y="9262"/>
                    <a:pt x="1484" y="9262"/>
                  </a:cubicBezTo>
                  <a:lnTo>
                    <a:pt x="1439" y="9167"/>
                  </a:lnTo>
                  <a:close/>
                  <a:moveTo>
                    <a:pt x="1553" y="9075"/>
                  </a:moveTo>
                  <a:cubicBezTo>
                    <a:pt x="1648" y="9028"/>
                    <a:pt x="1648" y="9028"/>
                    <a:pt x="1648" y="9028"/>
                  </a:cubicBezTo>
                  <a:cubicBezTo>
                    <a:pt x="1665" y="9063"/>
                    <a:pt x="1680" y="9096"/>
                    <a:pt x="1694" y="9125"/>
                  </a:cubicBezTo>
                  <a:cubicBezTo>
                    <a:pt x="1691" y="9126"/>
                    <a:pt x="1691" y="9126"/>
                    <a:pt x="1691" y="9126"/>
                  </a:cubicBezTo>
                  <a:cubicBezTo>
                    <a:pt x="1698" y="9139"/>
                    <a:pt x="1698" y="9139"/>
                    <a:pt x="1698" y="9139"/>
                  </a:cubicBezTo>
                  <a:cubicBezTo>
                    <a:pt x="1699" y="9141"/>
                    <a:pt x="1699" y="9141"/>
                    <a:pt x="1699" y="9141"/>
                  </a:cubicBezTo>
                  <a:cubicBezTo>
                    <a:pt x="1605" y="9188"/>
                    <a:pt x="1605" y="9188"/>
                    <a:pt x="1605" y="9188"/>
                  </a:cubicBezTo>
                  <a:lnTo>
                    <a:pt x="1553" y="9075"/>
                  </a:lnTo>
                  <a:close/>
                  <a:moveTo>
                    <a:pt x="1663" y="9020"/>
                  </a:moveTo>
                  <a:cubicBezTo>
                    <a:pt x="1665" y="9019"/>
                    <a:pt x="1665" y="9019"/>
                    <a:pt x="1665" y="9019"/>
                  </a:cubicBezTo>
                  <a:cubicBezTo>
                    <a:pt x="1658" y="9006"/>
                    <a:pt x="1658" y="9006"/>
                    <a:pt x="1658" y="9006"/>
                  </a:cubicBezTo>
                  <a:cubicBezTo>
                    <a:pt x="1657" y="9005"/>
                    <a:pt x="1657" y="9005"/>
                    <a:pt x="1657" y="9005"/>
                  </a:cubicBezTo>
                  <a:cubicBezTo>
                    <a:pt x="1750" y="8961"/>
                    <a:pt x="1750" y="8961"/>
                    <a:pt x="1750" y="8961"/>
                  </a:cubicBezTo>
                  <a:cubicBezTo>
                    <a:pt x="1765" y="8985"/>
                    <a:pt x="1765" y="8985"/>
                    <a:pt x="1765" y="8985"/>
                  </a:cubicBezTo>
                  <a:cubicBezTo>
                    <a:pt x="1771" y="8996"/>
                    <a:pt x="1771" y="8996"/>
                    <a:pt x="1771" y="8996"/>
                  </a:cubicBezTo>
                  <a:cubicBezTo>
                    <a:pt x="1778" y="8993"/>
                    <a:pt x="1778" y="8993"/>
                    <a:pt x="1778" y="8993"/>
                  </a:cubicBezTo>
                  <a:cubicBezTo>
                    <a:pt x="1802" y="9039"/>
                    <a:pt x="1802" y="9039"/>
                    <a:pt x="1802" y="9039"/>
                  </a:cubicBezTo>
                  <a:cubicBezTo>
                    <a:pt x="1816" y="9068"/>
                    <a:pt x="1816" y="9068"/>
                    <a:pt x="1816" y="9068"/>
                  </a:cubicBezTo>
                  <a:cubicBezTo>
                    <a:pt x="1709" y="9118"/>
                    <a:pt x="1709" y="9118"/>
                    <a:pt x="1709" y="9118"/>
                  </a:cubicBezTo>
                  <a:cubicBezTo>
                    <a:pt x="1695" y="9089"/>
                    <a:pt x="1680" y="9056"/>
                    <a:pt x="1663" y="9020"/>
                  </a:cubicBezTo>
                  <a:close/>
                  <a:moveTo>
                    <a:pt x="1795" y="8985"/>
                  </a:moveTo>
                  <a:cubicBezTo>
                    <a:pt x="1902" y="8933"/>
                    <a:pt x="1902" y="8933"/>
                    <a:pt x="1902" y="8933"/>
                  </a:cubicBezTo>
                  <a:cubicBezTo>
                    <a:pt x="1918" y="8968"/>
                    <a:pt x="1935" y="9002"/>
                    <a:pt x="1948" y="9030"/>
                  </a:cubicBezTo>
                  <a:cubicBezTo>
                    <a:pt x="1948" y="9030"/>
                    <a:pt x="1948" y="9030"/>
                    <a:pt x="1948" y="9030"/>
                  </a:cubicBezTo>
                  <a:cubicBezTo>
                    <a:pt x="1950" y="9035"/>
                    <a:pt x="1950" y="9035"/>
                    <a:pt x="1950" y="9035"/>
                  </a:cubicBezTo>
                  <a:cubicBezTo>
                    <a:pt x="1952" y="9039"/>
                    <a:pt x="1954" y="9042"/>
                    <a:pt x="1955" y="9046"/>
                  </a:cubicBezTo>
                  <a:cubicBezTo>
                    <a:pt x="1855" y="9094"/>
                    <a:pt x="1855" y="9094"/>
                    <a:pt x="1855" y="9094"/>
                  </a:cubicBezTo>
                  <a:cubicBezTo>
                    <a:pt x="1841" y="9070"/>
                    <a:pt x="1841" y="9070"/>
                    <a:pt x="1841" y="9070"/>
                  </a:cubicBezTo>
                  <a:cubicBezTo>
                    <a:pt x="1834" y="9059"/>
                    <a:pt x="1834" y="9059"/>
                    <a:pt x="1834" y="9059"/>
                  </a:cubicBezTo>
                  <a:cubicBezTo>
                    <a:pt x="1831" y="9061"/>
                    <a:pt x="1831" y="9061"/>
                    <a:pt x="1831" y="9061"/>
                  </a:cubicBezTo>
                  <a:lnTo>
                    <a:pt x="1795" y="8985"/>
                  </a:lnTo>
                  <a:close/>
                  <a:moveTo>
                    <a:pt x="1953" y="9004"/>
                  </a:moveTo>
                  <a:cubicBezTo>
                    <a:pt x="1942" y="8980"/>
                    <a:pt x="1929" y="8953"/>
                    <a:pt x="1916" y="8926"/>
                  </a:cubicBezTo>
                  <a:cubicBezTo>
                    <a:pt x="1921" y="8924"/>
                    <a:pt x="1921" y="8924"/>
                    <a:pt x="1921" y="8924"/>
                  </a:cubicBezTo>
                  <a:cubicBezTo>
                    <a:pt x="1914" y="8911"/>
                    <a:pt x="1914" y="8911"/>
                    <a:pt x="1914" y="8911"/>
                  </a:cubicBezTo>
                  <a:cubicBezTo>
                    <a:pt x="1913" y="8908"/>
                    <a:pt x="1913" y="8908"/>
                    <a:pt x="1913" y="8908"/>
                  </a:cubicBezTo>
                  <a:cubicBezTo>
                    <a:pt x="2003" y="8861"/>
                    <a:pt x="2003" y="8861"/>
                    <a:pt x="2003" y="8861"/>
                  </a:cubicBezTo>
                  <a:cubicBezTo>
                    <a:pt x="2022" y="8895"/>
                    <a:pt x="2022" y="8895"/>
                    <a:pt x="2022" y="8895"/>
                  </a:cubicBezTo>
                  <a:cubicBezTo>
                    <a:pt x="2054" y="8961"/>
                    <a:pt x="2054" y="8961"/>
                    <a:pt x="2054" y="8961"/>
                  </a:cubicBezTo>
                  <a:cubicBezTo>
                    <a:pt x="2052" y="8962"/>
                    <a:pt x="2052" y="8962"/>
                    <a:pt x="2052" y="8962"/>
                  </a:cubicBezTo>
                  <a:cubicBezTo>
                    <a:pt x="2056" y="8974"/>
                    <a:pt x="2056" y="8974"/>
                    <a:pt x="2056" y="8974"/>
                  </a:cubicBezTo>
                  <a:cubicBezTo>
                    <a:pt x="2056" y="8974"/>
                    <a:pt x="2056" y="8974"/>
                    <a:pt x="2056" y="8974"/>
                  </a:cubicBezTo>
                  <a:cubicBezTo>
                    <a:pt x="1963" y="9022"/>
                    <a:pt x="1963" y="9022"/>
                    <a:pt x="1963" y="9022"/>
                  </a:cubicBezTo>
                  <a:lnTo>
                    <a:pt x="1953" y="9004"/>
                  </a:lnTo>
                  <a:close/>
                  <a:moveTo>
                    <a:pt x="2015" y="8841"/>
                  </a:moveTo>
                  <a:cubicBezTo>
                    <a:pt x="2095" y="8801"/>
                    <a:pt x="2095" y="8801"/>
                    <a:pt x="2095" y="8801"/>
                  </a:cubicBezTo>
                  <a:cubicBezTo>
                    <a:pt x="2110" y="8830"/>
                    <a:pt x="2110" y="8830"/>
                    <a:pt x="2110" y="8830"/>
                  </a:cubicBezTo>
                  <a:cubicBezTo>
                    <a:pt x="2149" y="8914"/>
                    <a:pt x="2149" y="8914"/>
                    <a:pt x="2149" y="8914"/>
                  </a:cubicBezTo>
                  <a:cubicBezTo>
                    <a:pt x="2069" y="8954"/>
                    <a:pt x="2069" y="8954"/>
                    <a:pt x="2069" y="8954"/>
                  </a:cubicBezTo>
                  <a:lnTo>
                    <a:pt x="2015" y="8841"/>
                  </a:lnTo>
                  <a:close/>
                  <a:moveTo>
                    <a:pt x="2141" y="8857"/>
                  </a:moveTo>
                  <a:cubicBezTo>
                    <a:pt x="2022" y="8599"/>
                    <a:pt x="2022" y="8599"/>
                    <a:pt x="2022" y="8599"/>
                  </a:cubicBezTo>
                  <a:cubicBezTo>
                    <a:pt x="2028" y="8596"/>
                    <a:pt x="2035" y="8592"/>
                    <a:pt x="2044" y="8588"/>
                  </a:cubicBezTo>
                  <a:cubicBezTo>
                    <a:pt x="2056" y="8582"/>
                    <a:pt x="2070" y="8575"/>
                    <a:pt x="2085" y="8568"/>
                  </a:cubicBezTo>
                  <a:cubicBezTo>
                    <a:pt x="2134" y="8665"/>
                    <a:pt x="2134" y="8665"/>
                    <a:pt x="2134" y="8665"/>
                  </a:cubicBezTo>
                  <a:cubicBezTo>
                    <a:pt x="2157" y="8656"/>
                    <a:pt x="2157" y="8656"/>
                    <a:pt x="2157" y="8656"/>
                  </a:cubicBezTo>
                  <a:cubicBezTo>
                    <a:pt x="2180" y="8700"/>
                    <a:pt x="2180" y="8700"/>
                    <a:pt x="2180" y="8700"/>
                  </a:cubicBezTo>
                  <a:cubicBezTo>
                    <a:pt x="2264" y="8661"/>
                    <a:pt x="2264" y="8661"/>
                    <a:pt x="2264" y="8661"/>
                  </a:cubicBezTo>
                  <a:cubicBezTo>
                    <a:pt x="2280" y="8696"/>
                    <a:pt x="2280" y="8696"/>
                    <a:pt x="2280" y="8696"/>
                  </a:cubicBezTo>
                  <a:cubicBezTo>
                    <a:pt x="2310" y="8678"/>
                    <a:pt x="2310" y="8678"/>
                    <a:pt x="2310" y="8678"/>
                  </a:cubicBezTo>
                  <a:cubicBezTo>
                    <a:pt x="2284" y="8629"/>
                    <a:pt x="2284" y="8629"/>
                    <a:pt x="2284" y="8629"/>
                  </a:cubicBezTo>
                  <a:cubicBezTo>
                    <a:pt x="2299" y="8619"/>
                    <a:pt x="2299" y="8619"/>
                    <a:pt x="2299" y="8619"/>
                  </a:cubicBezTo>
                  <a:cubicBezTo>
                    <a:pt x="2292" y="8590"/>
                    <a:pt x="2292" y="8590"/>
                    <a:pt x="2292" y="8590"/>
                  </a:cubicBezTo>
                  <a:cubicBezTo>
                    <a:pt x="2408" y="8536"/>
                    <a:pt x="2408" y="8536"/>
                    <a:pt x="2408" y="8536"/>
                  </a:cubicBezTo>
                  <a:cubicBezTo>
                    <a:pt x="2360" y="8435"/>
                    <a:pt x="2360" y="8435"/>
                    <a:pt x="2360" y="8435"/>
                  </a:cubicBezTo>
                  <a:cubicBezTo>
                    <a:pt x="2373" y="8429"/>
                    <a:pt x="2383" y="8424"/>
                    <a:pt x="2388" y="8421"/>
                  </a:cubicBezTo>
                  <a:cubicBezTo>
                    <a:pt x="2388" y="8421"/>
                    <a:pt x="2389" y="8422"/>
                    <a:pt x="2389" y="8422"/>
                  </a:cubicBezTo>
                  <a:cubicBezTo>
                    <a:pt x="2507" y="8666"/>
                    <a:pt x="2507" y="8666"/>
                    <a:pt x="2507" y="8666"/>
                  </a:cubicBezTo>
                  <a:cubicBezTo>
                    <a:pt x="2482" y="8680"/>
                    <a:pt x="2305" y="8781"/>
                    <a:pt x="2209" y="8838"/>
                  </a:cubicBezTo>
                  <a:cubicBezTo>
                    <a:pt x="2179" y="8856"/>
                    <a:pt x="2159" y="8868"/>
                    <a:pt x="2150" y="8874"/>
                  </a:cubicBezTo>
                  <a:lnTo>
                    <a:pt x="2141" y="8857"/>
                  </a:lnTo>
                  <a:close/>
                  <a:moveTo>
                    <a:pt x="2278" y="8594"/>
                  </a:moveTo>
                  <a:cubicBezTo>
                    <a:pt x="2283" y="8613"/>
                    <a:pt x="2283" y="8613"/>
                    <a:pt x="2283" y="8613"/>
                  </a:cubicBezTo>
                  <a:cubicBezTo>
                    <a:pt x="2276" y="8618"/>
                    <a:pt x="2276" y="8618"/>
                    <a:pt x="2276" y="8618"/>
                  </a:cubicBezTo>
                  <a:cubicBezTo>
                    <a:pt x="2266" y="8625"/>
                    <a:pt x="2266" y="8625"/>
                    <a:pt x="2266" y="8625"/>
                  </a:cubicBezTo>
                  <a:cubicBezTo>
                    <a:pt x="2272" y="8636"/>
                    <a:pt x="2272" y="8636"/>
                    <a:pt x="2272" y="8636"/>
                  </a:cubicBezTo>
                  <a:cubicBezTo>
                    <a:pt x="2292" y="8673"/>
                    <a:pt x="2292" y="8673"/>
                    <a:pt x="2292" y="8673"/>
                  </a:cubicBezTo>
                  <a:cubicBezTo>
                    <a:pt x="2286" y="8676"/>
                    <a:pt x="2286" y="8676"/>
                    <a:pt x="2286" y="8676"/>
                  </a:cubicBezTo>
                  <a:cubicBezTo>
                    <a:pt x="2276" y="8655"/>
                    <a:pt x="2276" y="8655"/>
                    <a:pt x="2276" y="8655"/>
                  </a:cubicBezTo>
                  <a:cubicBezTo>
                    <a:pt x="2271" y="8643"/>
                    <a:pt x="2271" y="8643"/>
                    <a:pt x="2271" y="8643"/>
                  </a:cubicBezTo>
                  <a:cubicBezTo>
                    <a:pt x="2258" y="8649"/>
                    <a:pt x="2258" y="8649"/>
                    <a:pt x="2258" y="8649"/>
                  </a:cubicBezTo>
                  <a:cubicBezTo>
                    <a:pt x="2186" y="8682"/>
                    <a:pt x="2186" y="8682"/>
                    <a:pt x="2186" y="8682"/>
                  </a:cubicBezTo>
                  <a:cubicBezTo>
                    <a:pt x="2170" y="8650"/>
                    <a:pt x="2170" y="8650"/>
                    <a:pt x="2170" y="8650"/>
                  </a:cubicBezTo>
                  <a:cubicBezTo>
                    <a:pt x="2164" y="8638"/>
                    <a:pt x="2164" y="8638"/>
                    <a:pt x="2164" y="8638"/>
                  </a:cubicBezTo>
                  <a:cubicBezTo>
                    <a:pt x="2152" y="8643"/>
                    <a:pt x="2152" y="8643"/>
                    <a:pt x="2152" y="8643"/>
                  </a:cubicBezTo>
                  <a:cubicBezTo>
                    <a:pt x="2140" y="8648"/>
                    <a:pt x="2140" y="8648"/>
                    <a:pt x="2140" y="8648"/>
                  </a:cubicBezTo>
                  <a:cubicBezTo>
                    <a:pt x="2099" y="8565"/>
                    <a:pt x="2099" y="8565"/>
                    <a:pt x="2099" y="8565"/>
                  </a:cubicBezTo>
                  <a:cubicBezTo>
                    <a:pt x="2349" y="8443"/>
                    <a:pt x="2349" y="8443"/>
                    <a:pt x="2349" y="8443"/>
                  </a:cubicBezTo>
                  <a:cubicBezTo>
                    <a:pt x="2390" y="8529"/>
                    <a:pt x="2390" y="8529"/>
                    <a:pt x="2390" y="8529"/>
                  </a:cubicBezTo>
                  <a:cubicBezTo>
                    <a:pt x="2286" y="8578"/>
                    <a:pt x="2286" y="8578"/>
                    <a:pt x="2286" y="8578"/>
                  </a:cubicBezTo>
                  <a:cubicBezTo>
                    <a:pt x="2275" y="8583"/>
                    <a:pt x="2275" y="8583"/>
                    <a:pt x="2275" y="8583"/>
                  </a:cubicBezTo>
                  <a:lnTo>
                    <a:pt x="2278" y="8594"/>
                  </a:lnTo>
                  <a:close/>
                  <a:moveTo>
                    <a:pt x="2380" y="8407"/>
                  </a:moveTo>
                  <a:cubicBezTo>
                    <a:pt x="2378" y="8408"/>
                    <a:pt x="2376" y="8409"/>
                    <a:pt x="2373" y="8411"/>
                  </a:cubicBezTo>
                  <a:cubicBezTo>
                    <a:pt x="2368" y="8414"/>
                    <a:pt x="2359" y="8418"/>
                    <a:pt x="2349" y="8423"/>
                  </a:cubicBezTo>
                  <a:cubicBezTo>
                    <a:pt x="2328" y="8433"/>
                    <a:pt x="2298" y="8448"/>
                    <a:pt x="2266" y="8463"/>
                  </a:cubicBezTo>
                  <a:cubicBezTo>
                    <a:pt x="2200" y="8495"/>
                    <a:pt x="2122" y="8532"/>
                    <a:pt x="2068" y="8558"/>
                  </a:cubicBezTo>
                  <a:cubicBezTo>
                    <a:pt x="2044" y="8570"/>
                    <a:pt x="2027" y="8578"/>
                    <a:pt x="2015" y="8584"/>
                  </a:cubicBezTo>
                  <a:cubicBezTo>
                    <a:pt x="1888" y="8308"/>
                    <a:pt x="1888" y="8308"/>
                    <a:pt x="1888" y="8308"/>
                  </a:cubicBezTo>
                  <a:cubicBezTo>
                    <a:pt x="2004" y="8299"/>
                    <a:pt x="2004" y="8299"/>
                    <a:pt x="2004" y="8299"/>
                  </a:cubicBezTo>
                  <a:cubicBezTo>
                    <a:pt x="2250" y="8132"/>
                    <a:pt x="2250" y="8132"/>
                    <a:pt x="2250" y="8132"/>
                  </a:cubicBezTo>
                  <a:cubicBezTo>
                    <a:pt x="2382" y="8406"/>
                    <a:pt x="2382" y="8406"/>
                    <a:pt x="2382" y="8406"/>
                  </a:cubicBezTo>
                  <a:cubicBezTo>
                    <a:pt x="2381" y="8406"/>
                    <a:pt x="2380" y="8406"/>
                    <a:pt x="2380" y="8407"/>
                  </a:cubicBezTo>
                  <a:close/>
                  <a:moveTo>
                    <a:pt x="2119" y="8168"/>
                  </a:moveTo>
                  <a:cubicBezTo>
                    <a:pt x="1885" y="8058"/>
                    <a:pt x="1885" y="8058"/>
                    <a:pt x="1885" y="8058"/>
                  </a:cubicBezTo>
                  <a:cubicBezTo>
                    <a:pt x="1926" y="7919"/>
                    <a:pt x="1926" y="7919"/>
                    <a:pt x="1926" y="7919"/>
                  </a:cubicBezTo>
                  <a:cubicBezTo>
                    <a:pt x="1936" y="7914"/>
                    <a:pt x="1949" y="7908"/>
                    <a:pt x="1964" y="7900"/>
                  </a:cubicBezTo>
                  <a:cubicBezTo>
                    <a:pt x="1995" y="7884"/>
                    <a:pt x="2037" y="7862"/>
                    <a:pt x="2078" y="7841"/>
                  </a:cubicBezTo>
                  <a:cubicBezTo>
                    <a:pt x="2158" y="7798"/>
                    <a:pt x="2238" y="7756"/>
                    <a:pt x="2238" y="7756"/>
                  </a:cubicBezTo>
                  <a:cubicBezTo>
                    <a:pt x="2241" y="7755"/>
                    <a:pt x="2241" y="7755"/>
                    <a:pt x="2241" y="7755"/>
                  </a:cubicBezTo>
                  <a:cubicBezTo>
                    <a:pt x="2242" y="7753"/>
                    <a:pt x="2242" y="7753"/>
                    <a:pt x="2242" y="7753"/>
                  </a:cubicBezTo>
                  <a:cubicBezTo>
                    <a:pt x="2242" y="7752"/>
                    <a:pt x="2330" y="7507"/>
                    <a:pt x="2380" y="7377"/>
                  </a:cubicBezTo>
                  <a:cubicBezTo>
                    <a:pt x="2389" y="7353"/>
                    <a:pt x="2397" y="7332"/>
                    <a:pt x="2403" y="7319"/>
                  </a:cubicBezTo>
                  <a:cubicBezTo>
                    <a:pt x="2409" y="7323"/>
                    <a:pt x="2414" y="7327"/>
                    <a:pt x="2419" y="7330"/>
                  </a:cubicBezTo>
                  <a:cubicBezTo>
                    <a:pt x="2480" y="7373"/>
                    <a:pt x="2559" y="7436"/>
                    <a:pt x="2664" y="7478"/>
                  </a:cubicBezTo>
                  <a:cubicBezTo>
                    <a:pt x="2459" y="7940"/>
                    <a:pt x="2459" y="7940"/>
                    <a:pt x="2459" y="7940"/>
                  </a:cubicBezTo>
                  <a:lnTo>
                    <a:pt x="2119" y="8168"/>
                  </a:lnTo>
                  <a:close/>
                  <a:moveTo>
                    <a:pt x="2890" y="7516"/>
                  </a:moveTo>
                  <a:cubicBezTo>
                    <a:pt x="3045" y="7498"/>
                    <a:pt x="3176" y="7390"/>
                    <a:pt x="3245" y="7344"/>
                  </a:cubicBezTo>
                  <a:cubicBezTo>
                    <a:pt x="3246" y="7343"/>
                    <a:pt x="3247" y="7342"/>
                    <a:pt x="3248" y="7342"/>
                  </a:cubicBezTo>
                  <a:cubicBezTo>
                    <a:pt x="3419" y="7543"/>
                    <a:pt x="3419" y="7543"/>
                    <a:pt x="3419" y="7543"/>
                  </a:cubicBezTo>
                  <a:cubicBezTo>
                    <a:pt x="3045" y="7834"/>
                    <a:pt x="3045" y="7834"/>
                    <a:pt x="3045" y="7834"/>
                  </a:cubicBezTo>
                  <a:cubicBezTo>
                    <a:pt x="3006" y="7796"/>
                    <a:pt x="2979" y="7769"/>
                    <a:pt x="2979" y="7769"/>
                  </a:cubicBezTo>
                  <a:cubicBezTo>
                    <a:pt x="2974" y="7764"/>
                    <a:pt x="2974" y="7764"/>
                    <a:pt x="2974" y="7764"/>
                  </a:cubicBezTo>
                  <a:cubicBezTo>
                    <a:pt x="2974" y="7764"/>
                    <a:pt x="2974" y="7764"/>
                    <a:pt x="2974" y="7764"/>
                  </a:cubicBezTo>
                  <a:lnTo>
                    <a:pt x="2890" y="7516"/>
                  </a:lnTo>
                  <a:close/>
                  <a:moveTo>
                    <a:pt x="3261" y="7335"/>
                  </a:moveTo>
                  <a:cubicBezTo>
                    <a:pt x="3298" y="7315"/>
                    <a:pt x="3365" y="7297"/>
                    <a:pt x="3422" y="7286"/>
                  </a:cubicBezTo>
                  <a:cubicBezTo>
                    <a:pt x="3471" y="7276"/>
                    <a:pt x="3514" y="7270"/>
                    <a:pt x="3534" y="7267"/>
                  </a:cubicBezTo>
                  <a:cubicBezTo>
                    <a:pt x="3546" y="7280"/>
                    <a:pt x="3558" y="7292"/>
                    <a:pt x="3570" y="7304"/>
                  </a:cubicBezTo>
                  <a:cubicBezTo>
                    <a:pt x="3615" y="7352"/>
                    <a:pt x="3632" y="7376"/>
                    <a:pt x="3637" y="7382"/>
                  </a:cubicBezTo>
                  <a:cubicBezTo>
                    <a:pt x="3636" y="7383"/>
                    <a:pt x="3636" y="7383"/>
                    <a:pt x="3636" y="7383"/>
                  </a:cubicBezTo>
                  <a:cubicBezTo>
                    <a:pt x="3636" y="7383"/>
                    <a:pt x="3636" y="7383"/>
                    <a:pt x="3636" y="7383"/>
                  </a:cubicBezTo>
                  <a:cubicBezTo>
                    <a:pt x="3544" y="7428"/>
                    <a:pt x="3544" y="7428"/>
                    <a:pt x="3544" y="7428"/>
                  </a:cubicBezTo>
                  <a:cubicBezTo>
                    <a:pt x="3512" y="7553"/>
                    <a:pt x="3512" y="7553"/>
                    <a:pt x="3512" y="7553"/>
                  </a:cubicBezTo>
                  <a:cubicBezTo>
                    <a:pt x="3431" y="7534"/>
                    <a:pt x="3431" y="7534"/>
                    <a:pt x="3431" y="7534"/>
                  </a:cubicBezTo>
                  <a:cubicBezTo>
                    <a:pt x="3430" y="7534"/>
                    <a:pt x="3430" y="7534"/>
                    <a:pt x="3430" y="7534"/>
                  </a:cubicBezTo>
                  <a:cubicBezTo>
                    <a:pt x="3430" y="7533"/>
                    <a:pt x="3430" y="7533"/>
                    <a:pt x="3430" y="7533"/>
                  </a:cubicBezTo>
                  <a:lnTo>
                    <a:pt x="3261" y="7335"/>
                  </a:lnTo>
                  <a:close/>
                  <a:moveTo>
                    <a:pt x="3558" y="7439"/>
                  </a:moveTo>
                  <a:cubicBezTo>
                    <a:pt x="3648" y="7396"/>
                    <a:pt x="3648" y="7396"/>
                    <a:pt x="3648" y="7396"/>
                  </a:cubicBezTo>
                  <a:cubicBezTo>
                    <a:pt x="3848" y="7627"/>
                    <a:pt x="3848" y="7627"/>
                    <a:pt x="3848" y="7627"/>
                  </a:cubicBezTo>
                  <a:cubicBezTo>
                    <a:pt x="3849" y="7629"/>
                    <a:pt x="3850" y="7633"/>
                    <a:pt x="3851" y="7638"/>
                  </a:cubicBezTo>
                  <a:cubicBezTo>
                    <a:pt x="3853" y="7645"/>
                    <a:pt x="3854" y="7654"/>
                    <a:pt x="3855" y="7662"/>
                  </a:cubicBezTo>
                  <a:cubicBezTo>
                    <a:pt x="3585" y="7717"/>
                    <a:pt x="3585" y="7717"/>
                    <a:pt x="3585" y="7717"/>
                  </a:cubicBezTo>
                  <a:cubicBezTo>
                    <a:pt x="3527" y="7562"/>
                    <a:pt x="3527" y="7562"/>
                    <a:pt x="3527" y="7562"/>
                  </a:cubicBezTo>
                  <a:lnTo>
                    <a:pt x="3558" y="7439"/>
                  </a:lnTo>
                  <a:close/>
                  <a:moveTo>
                    <a:pt x="4105" y="7410"/>
                  </a:moveTo>
                  <a:cubicBezTo>
                    <a:pt x="4114" y="7404"/>
                    <a:pt x="4126" y="7397"/>
                    <a:pt x="4137" y="7389"/>
                  </a:cubicBezTo>
                  <a:cubicBezTo>
                    <a:pt x="4160" y="7374"/>
                    <a:pt x="4182" y="7359"/>
                    <a:pt x="4182" y="7359"/>
                  </a:cubicBezTo>
                  <a:cubicBezTo>
                    <a:pt x="4184" y="7357"/>
                    <a:pt x="4184" y="7357"/>
                    <a:pt x="4184" y="7357"/>
                  </a:cubicBezTo>
                  <a:cubicBezTo>
                    <a:pt x="4268" y="7108"/>
                    <a:pt x="4268" y="7108"/>
                    <a:pt x="4268" y="7108"/>
                  </a:cubicBezTo>
                  <a:cubicBezTo>
                    <a:pt x="4466" y="7122"/>
                    <a:pt x="4466" y="7122"/>
                    <a:pt x="4466" y="7122"/>
                  </a:cubicBezTo>
                  <a:cubicBezTo>
                    <a:pt x="4455" y="7171"/>
                    <a:pt x="4442" y="7216"/>
                    <a:pt x="4428" y="7256"/>
                  </a:cubicBezTo>
                  <a:cubicBezTo>
                    <a:pt x="4399" y="7337"/>
                    <a:pt x="4365" y="7396"/>
                    <a:pt x="4340" y="7420"/>
                  </a:cubicBezTo>
                  <a:cubicBezTo>
                    <a:pt x="4312" y="7446"/>
                    <a:pt x="4262" y="7475"/>
                    <a:pt x="4220" y="7496"/>
                  </a:cubicBezTo>
                  <a:cubicBezTo>
                    <a:pt x="4212" y="7500"/>
                    <a:pt x="4205" y="7504"/>
                    <a:pt x="4199" y="7507"/>
                  </a:cubicBezTo>
                  <a:cubicBezTo>
                    <a:pt x="4192" y="7501"/>
                    <a:pt x="4150" y="7462"/>
                    <a:pt x="4099" y="7414"/>
                  </a:cubicBezTo>
                  <a:cubicBezTo>
                    <a:pt x="4101" y="7413"/>
                    <a:pt x="4103" y="7412"/>
                    <a:pt x="4105" y="7410"/>
                  </a:cubicBezTo>
                  <a:close/>
                  <a:moveTo>
                    <a:pt x="4200" y="7581"/>
                  </a:moveTo>
                  <a:cubicBezTo>
                    <a:pt x="4212" y="7576"/>
                    <a:pt x="4225" y="7569"/>
                    <a:pt x="4241" y="7561"/>
                  </a:cubicBezTo>
                  <a:cubicBezTo>
                    <a:pt x="4292" y="7807"/>
                    <a:pt x="4292" y="7807"/>
                    <a:pt x="4292" y="7807"/>
                  </a:cubicBezTo>
                  <a:cubicBezTo>
                    <a:pt x="4187" y="7822"/>
                    <a:pt x="4187" y="7822"/>
                    <a:pt x="4187" y="7822"/>
                  </a:cubicBezTo>
                  <a:cubicBezTo>
                    <a:pt x="4140" y="7612"/>
                    <a:pt x="4140" y="7612"/>
                    <a:pt x="4140" y="7612"/>
                  </a:cubicBezTo>
                  <a:lnTo>
                    <a:pt x="4200" y="7581"/>
                  </a:lnTo>
                  <a:close/>
                  <a:moveTo>
                    <a:pt x="4202" y="7965"/>
                  </a:moveTo>
                  <a:cubicBezTo>
                    <a:pt x="4129" y="7975"/>
                    <a:pt x="4129" y="7975"/>
                    <a:pt x="4129" y="7975"/>
                  </a:cubicBezTo>
                  <a:cubicBezTo>
                    <a:pt x="4109" y="7847"/>
                    <a:pt x="4109" y="7847"/>
                    <a:pt x="4109" y="7847"/>
                  </a:cubicBezTo>
                  <a:cubicBezTo>
                    <a:pt x="4173" y="7837"/>
                    <a:pt x="4173" y="7837"/>
                    <a:pt x="4173" y="7837"/>
                  </a:cubicBezTo>
                  <a:lnTo>
                    <a:pt x="4202" y="7965"/>
                  </a:lnTo>
                  <a:close/>
                  <a:moveTo>
                    <a:pt x="4190" y="7835"/>
                  </a:moveTo>
                  <a:cubicBezTo>
                    <a:pt x="4294" y="7820"/>
                    <a:pt x="4294" y="7820"/>
                    <a:pt x="4294" y="7820"/>
                  </a:cubicBezTo>
                  <a:cubicBezTo>
                    <a:pt x="4321" y="7948"/>
                    <a:pt x="4321" y="7948"/>
                    <a:pt x="4321" y="7948"/>
                  </a:cubicBezTo>
                  <a:cubicBezTo>
                    <a:pt x="4218" y="7963"/>
                    <a:pt x="4218" y="7963"/>
                    <a:pt x="4218" y="7963"/>
                  </a:cubicBezTo>
                  <a:lnTo>
                    <a:pt x="4190" y="7835"/>
                  </a:lnTo>
                  <a:close/>
                  <a:moveTo>
                    <a:pt x="4323" y="7961"/>
                  </a:moveTo>
                  <a:cubicBezTo>
                    <a:pt x="4338" y="8034"/>
                    <a:pt x="4338" y="8034"/>
                    <a:pt x="4338" y="8034"/>
                  </a:cubicBezTo>
                  <a:cubicBezTo>
                    <a:pt x="4302" y="8034"/>
                    <a:pt x="4267" y="8032"/>
                    <a:pt x="4233" y="8029"/>
                  </a:cubicBezTo>
                  <a:cubicBezTo>
                    <a:pt x="4221" y="7975"/>
                    <a:pt x="4221" y="7975"/>
                    <a:pt x="4221" y="7975"/>
                  </a:cubicBezTo>
                  <a:lnTo>
                    <a:pt x="4323" y="7961"/>
                  </a:lnTo>
                  <a:close/>
                  <a:moveTo>
                    <a:pt x="4337" y="7946"/>
                  </a:moveTo>
                  <a:cubicBezTo>
                    <a:pt x="4311" y="7818"/>
                    <a:pt x="4311" y="7818"/>
                    <a:pt x="4311" y="7818"/>
                  </a:cubicBezTo>
                  <a:cubicBezTo>
                    <a:pt x="4406" y="7804"/>
                    <a:pt x="4406" y="7804"/>
                    <a:pt x="4406" y="7804"/>
                  </a:cubicBezTo>
                  <a:cubicBezTo>
                    <a:pt x="4434" y="7932"/>
                    <a:pt x="4434" y="7932"/>
                    <a:pt x="4434" y="7932"/>
                  </a:cubicBezTo>
                  <a:lnTo>
                    <a:pt x="4337" y="7946"/>
                  </a:lnTo>
                  <a:close/>
                  <a:moveTo>
                    <a:pt x="4437" y="7945"/>
                  </a:moveTo>
                  <a:cubicBezTo>
                    <a:pt x="4455" y="8028"/>
                    <a:pt x="4455" y="8028"/>
                    <a:pt x="4455" y="8028"/>
                  </a:cubicBezTo>
                  <a:cubicBezTo>
                    <a:pt x="4445" y="8029"/>
                    <a:pt x="4435" y="8030"/>
                    <a:pt x="4426" y="8031"/>
                  </a:cubicBezTo>
                  <a:cubicBezTo>
                    <a:pt x="4401" y="8033"/>
                    <a:pt x="4378" y="8033"/>
                    <a:pt x="4355" y="8034"/>
                  </a:cubicBezTo>
                  <a:cubicBezTo>
                    <a:pt x="4340" y="7959"/>
                    <a:pt x="4340" y="7959"/>
                    <a:pt x="4340" y="7959"/>
                  </a:cubicBezTo>
                  <a:lnTo>
                    <a:pt x="4437" y="7945"/>
                  </a:lnTo>
                  <a:close/>
                  <a:moveTo>
                    <a:pt x="4701" y="7895"/>
                  </a:moveTo>
                  <a:cubicBezTo>
                    <a:pt x="4680" y="7766"/>
                    <a:pt x="4680" y="7766"/>
                    <a:pt x="4680" y="7766"/>
                  </a:cubicBezTo>
                  <a:cubicBezTo>
                    <a:pt x="4787" y="7751"/>
                    <a:pt x="4787" y="7751"/>
                    <a:pt x="4787" y="7751"/>
                  </a:cubicBezTo>
                  <a:cubicBezTo>
                    <a:pt x="4787" y="7752"/>
                    <a:pt x="4787" y="7753"/>
                    <a:pt x="4787" y="7754"/>
                  </a:cubicBezTo>
                  <a:cubicBezTo>
                    <a:pt x="4794" y="7798"/>
                    <a:pt x="4801" y="7843"/>
                    <a:pt x="4807" y="7880"/>
                  </a:cubicBezTo>
                  <a:lnTo>
                    <a:pt x="4701" y="7895"/>
                  </a:lnTo>
                  <a:close/>
                  <a:moveTo>
                    <a:pt x="4808" y="7893"/>
                  </a:moveTo>
                  <a:cubicBezTo>
                    <a:pt x="4814" y="7929"/>
                    <a:pt x="4818" y="7957"/>
                    <a:pt x="4820" y="7971"/>
                  </a:cubicBezTo>
                  <a:cubicBezTo>
                    <a:pt x="4786" y="7978"/>
                    <a:pt x="4752" y="7984"/>
                    <a:pt x="4717" y="7990"/>
                  </a:cubicBezTo>
                  <a:cubicBezTo>
                    <a:pt x="4703" y="7908"/>
                    <a:pt x="4703" y="7908"/>
                    <a:pt x="4703" y="7908"/>
                  </a:cubicBezTo>
                  <a:lnTo>
                    <a:pt x="4808" y="7893"/>
                  </a:lnTo>
                  <a:close/>
                  <a:moveTo>
                    <a:pt x="5119" y="8068"/>
                  </a:moveTo>
                  <a:cubicBezTo>
                    <a:pt x="5216" y="8075"/>
                    <a:pt x="5956" y="8128"/>
                    <a:pt x="6345" y="8155"/>
                  </a:cubicBezTo>
                  <a:cubicBezTo>
                    <a:pt x="6333" y="8179"/>
                    <a:pt x="6322" y="8188"/>
                    <a:pt x="6315" y="8191"/>
                  </a:cubicBezTo>
                  <a:cubicBezTo>
                    <a:pt x="6314" y="8191"/>
                    <a:pt x="6314" y="8191"/>
                    <a:pt x="6314" y="8191"/>
                  </a:cubicBezTo>
                  <a:cubicBezTo>
                    <a:pt x="6314" y="8191"/>
                    <a:pt x="6314" y="8191"/>
                    <a:pt x="6314" y="8191"/>
                  </a:cubicBezTo>
                  <a:cubicBezTo>
                    <a:pt x="6313" y="8192"/>
                    <a:pt x="6313" y="8192"/>
                    <a:pt x="6312" y="8192"/>
                  </a:cubicBezTo>
                  <a:cubicBezTo>
                    <a:pt x="6310" y="8193"/>
                    <a:pt x="6306" y="8193"/>
                    <a:pt x="6303" y="8194"/>
                  </a:cubicBezTo>
                  <a:cubicBezTo>
                    <a:pt x="6295" y="8196"/>
                    <a:pt x="6284" y="8198"/>
                    <a:pt x="6271" y="8199"/>
                  </a:cubicBezTo>
                  <a:cubicBezTo>
                    <a:pt x="6245" y="8201"/>
                    <a:pt x="6211" y="8202"/>
                    <a:pt x="6171" y="8202"/>
                  </a:cubicBezTo>
                  <a:cubicBezTo>
                    <a:pt x="6170" y="8202"/>
                    <a:pt x="6170" y="8202"/>
                    <a:pt x="6170" y="8202"/>
                  </a:cubicBezTo>
                  <a:cubicBezTo>
                    <a:pt x="5902" y="8202"/>
                    <a:pt x="5404" y="8147"/>
                    <a:pt x="5156" y="8136"/>
                  </a:cubicBezTo>
                  <a:cubicBezTo>
                    <a:pt x="5076" y="8132"/>
                    <a:pt x="4976" y="8128"/>
                    <a:pt x="4865" y="8128"/>
                  </a:cubicBezTo>
                  <a:cubicBezTo>
                    <a:pt x="4846" y="8128"/>
                    <a:pt x="4826" y="8129"/>
                    <a:pt x="4806" y="8129"/>
                  </a:cubicBezTo>
                  <a:cubicBezTo>
                    <a:pt x="4951" y="8103"/>
                    <a:pt x="5081" y="8076"/>
                    <a:pt x="5119" y="8068"/>
                  </a:cubicBezTo>
                  <a:close/>
                  <a:moveTo>
                    <a:pt x="6309" y="8000"/>
                  </a:moveTo>
                  <a:cubicBezTo>
                    <a:pt x="6310" y="7998"/>
                    <a:pt x="6311" y="7996"/>
                    <a:pt x="6312" y="7993"/>
                  </a:cubicBezTo>
                  <a:cubicBezTo>
                    <a:pt x="6314" y="7987"/>
                    <a:pt x="6315" y="7979"/>
                    <a:pt x="6317" y="7970"/>
                  </a:cubicBezTo>
                  <a:cubicBezTo>
                    <a:pt x="6320" y="7952"/>
                    <a:pt x="6323" y="7928"/>
                    <a:pt x="6326" y="7904"/>
                  </a:cubicBezTo>
                  <a:cubicBezTo>
                    <a:pt x="6330" y="7870"/>
                    <a:pt x="6333" y="7836"/>
                    <a:pt x="6334" y="7820"/>
                  </a:cubicBezTo>
                  <a:cubicBezTo>
                    <a:pt x="6433" y="7874"/>
                    <a:pt x="6433" y="7874"/>
                    <a:pt x="6433" y="7874"/>
                  </a:cubicBezTo>
                  <a:cubicBezTo>
                    <a:pt x="6424" y="7902"/>
                    <a:pt x="6415" y="7930"/>
                    <a:pt x="6408" y="7958"/>
                  </a:cubicBezTo>
                  <a:cubicBezTo>
                    <a:pt x="6403" y="7974"/>
                    <a:pt x="6399" y="7990"/>
                    <a:pt x="6395" y="8006"/>
                  </a:cubicBezTo>
                  <a:cubicBezTo>
                    <a:pt x="6368" y="8004"/>
                    <a:pt x="6339" y="8002"/>
                    <a:pt x="6309" y="8000"/>
                  </a:cubicBezTo>
                  <a:close/>
                  <a:moveTo>
                    <a:pt x="6424" y="7962"/>
                  </a:moveTo>
                  <a:cubicBezTo>
                    <a:pt x="6431" y="7936"/>
                    <a:pt x="6439" y="7909"/>
                    <a:pt x="6448" y="7882"/>
                  </a:cubicBezTo>
                  <a:cubicBezTo>
                    <a:pt x="6448" y="7882"/>
                    <a:pt x="6448" y="7882"/>
                    <a:pt x="6448" y="7882"/>
                  </a:cubicBezTo>
                  <a:cubicBezTo>
                    <a:pt x="6455" y="7870"/>
                    <a:pt x="6455" y="7870"/>
                    <a:pt x="6455" y="7870"/>
                  </a:cubicBezTo>
                  <a:cubicBezTo>
                    <a:pt x="6452" y="7868"/>
                    <a:pt x="6452" y="7868"/>
                    <a:pt x="6452" y="7868"/>
                  </a:cubicBezTo>
                  <a:cubicBezTo>
                    <a:pt x="6467" y="7828"/>
                    <a:pt x="6484" y="7789"/>
                    <a:pt x="6508" y="7751"/>
                  </a:cubicBezTo>
                  <a:cubicBezTo>
                    <a:pt x="6509" y="7752"/>
                    <a:pt x="6509" y="7752"/>
                    <a:pt x="6509" y="7752"/>
                  </a:cubicBezTo>
                  <a:cubicBezTo>
                    <a:pt x="6517" y="7741"/>
                    <a:pt x="6517" y="7741"/>
                    <a:pt x="6517" y="7741"/>
                  </a:cubicBezTo>
                  <a:cubicBezTo>
                    <a:pt x="6516" y="7740"/>
                    <a:pt x="6516" y="7740"/>
                    <a:pt x="6516" y="7740"/>
                  </a:cubicBezTo>
                  <a:cubicBezTo>
                    <a:pt x="6518" y="7736"/>
                    <a:pt x="6521" y="7733"/>
                    <a:pt x="6523" y="7729"/>
                  </a:cubicBezTo>
                  <a:cubicBezTo>
                    <a:pt x="6553" y="7689"/>
                    <a:pt x="6578" y="7655"/>
                    <a:pt x="6610" y="7624"/>
                  </a:cubicBezTo>
                  <a:cubicBezTo>
                    <a:pt x="6659" y="7578"/>
                    <a:pt x="6721" y="7546"/>
                    <a:pt x="6817" y="7518"/>
                  </a:cubicBezTo>
                  <a:cubicBezTo>
                    <a:pt x="6914" y="7490"/>
                    <a:pt x="7050" y="7463"/>
                    <a:pt x="7262" y="7422"/>
                  </a:cubicBezTo>
                  <a:cubicBezTo>
                    <a:pt x="7813" y="7316"/>
                    <a:pt x="8103" y="7050"/>
                    <a:pt x="8220" y="6848"/>
                  </a:cubicBezTo>
                  <a:cubicBezTo>
                    <a:pt x="8248" y="6803"/>
                    <a:pt x="8268" y="6691"/>
                    <a:pt x="8269" y="6547"/>
                  </a:cubicBezTo>
                  <a:cubicBezTo>
                    <a:pt x="8269" y="6543"/>
                    <a:pt x="8269" y="6540"/>
                    <a:pt x="8269" y="6537"/>
                  </a:cubicBezTo>
                  <a:cubicBezTo>
                    <a:pt x="8269" y="6534"/>
                    <a:pt x="8269" y="6534"/>
                    <a:pt x="8269" y="6534"/>
                  </a:cubicBezTo>
                  <a:cubicBezTo>
                    <a:pt x="8269" y="6516"/>
                    <a:pt x="8268" y="6497"/>
                    <a:pt x="8268" y="6478"/>
                  </a:cubicBezTo>
                  <a:cubicBezTo>
                    <a:pt x="8312" y="6484"/>
                    <a:pt x="8354" y="6488"/>
                    <a:pt x="8391" y="6493"/>
                  </a:cubicBezTo>
                  <a:cubicBezTo>
                    <a:pt x="8391" y="6507"/>
                    <a:pt x="8392" y="6522"/>
                    <a:pt x="8392" y="6536"/>
                  </a:cubicBezTo>
                  <a:cubicBezTo>
                    <a:pt x="8391" y="6697"/>
                    <a:pt x="8375" y="6823"/>
                    <a:pt x="8326" y="6909"/>
                  </a:cubicBezTo>
                  <a:cubicBezTo>
                    <a:pt x="8189" y="7147"/>
                    <a:pt x="7866" y="7431"/>
                    <a:pt x="7285" y="7543"/>
                  </a:cubicBezTo>
                  <a:cubicBezTo>
                    <a:pt x="7003" y="7597"/>
                    <a:pt x="6858" y="7628"/>
                    <a:pt x="6779" y="7661"/>
                  </a:cubicBezTo>
                  <a:cubicBezTo>
                    <a:pt x="6739" y="7678"/>
                    <a:pt x="6716" y="7694"/>
                    <a:pt x="6695" y="7714"/>
                  </a:cubicBezTo>
                  <a:cubicBezTo>
                    <a:pt x="6673" y="7734"/>
                    <a:pt x="6652" y="7762"/>
                    <a:pt x="6622" y="7802"/>
                  </a:cubicBezTo>
                  <a:cubicBezTo>
                    <a:pt x="6582" y="7855"/>
                    <a:pt x="6558" y="7934"/>
                    <a:pt x="6536" y="8016"/>
                  </a:cubicBezTo>
                  <a:cubicBezTo>
                    <a:pt x="6506" y="8014"/>
                    <a:pt x="6463" y="8011"/>
                    <a:pt x="6411" y="8007"/>
                  </a:cubicBezTo>
                  <a:cubicBezTo>
                    <a:pt x="6415" y="7992"/>
                    <a:pt x="6419" y="7977"/>
                    <a:pt x="6424" y="7962"/>
                  </a:cubicBezTo>
                  <a:close/>
                  <a:moveTo>
                    <a:pt x="6582" y="8172"/>
                  </a:moveTo>
                  <a:cubicBezTo>
                    <a:pt x="6590" y="8172"/>
                    <a:pt x="6599" y="8172"/>
                    <a:pt x="6607" y="8173"/>
                  </a:cubicBezTo>
                  <a:cubicBezTo>
                    <a:pt x="6481" y="8529"/>
                    <a:pt x="6481" y="8529"/>
                    <a:pt x="6481" y="8529"/>
                  </a:cubicBezTo>
                  <a:cubicBezTo>
                    <a:pt x="6411" y="8528"/>
                    <a:pt x="6411" y="8528"/>
                    <a:pt x="6411" y="8528"/>
                  </a:cubicBezTo>
                  <a:cubicBezTo>
                    <a:pt x="6446" y="8430"/>
                    <a:pt x="6446" y="8430"/>
                    <a:pt x="6446" y="8430"/>
                  </a:cubicBezTo>
                  <a:cubicBezTo>
                    <a:pt x="6304" y="8375"/>
                    <a:pt x="6304" y="8375"/>
                    <a:pt x="6304" y="8375"/>
                  </a:cubicBezTo>
                  <a:cubicBezTo>
                    <a:pt x="6250" y="8526"/>
                    <a:pt x="6250" y="8526"/>
                    <a:pt x="6250" y="8526"/>
                  </a:cubicBezTo>
                  <a:cubicBezTo>
                    <a:pt x="5900" y="8521"/>
                    <a:pt x="5900" y="8521"/>
                    <a:pt x="5900" y="8521"/>
                  </a:cubicBezTo>
                  <a:cubicBezTo>
                    <a:pt x="5907" y="8495"/>
                    <a:pt x="5913" y="8470"/>
                    <a:pt x="5919" y="8447"/>
                  </a:cubicBezTo>
                  <a:cubicBezTo>
                    <a:pt x="5930" y="8402"/>
                    <a:pt x="5939" y="8367"/>
                    <a:pt x="5944" y="8350"/>
                  </a:cubicBezTo>
                  <a:cubicBezTo>
                    <a:pt x="6027" y="8355"/>
                    <a:pt x="6105" y="8358"/>
                    <a:pt x="6171" y="8358"/>
                  </a:cubicBezTo>
                  <a:cubicBezTo>
                    <a:pt x="6214" y="8358"/>
                    <a:pt x="6253" y="8357"/>
                    <a:pt x="6286" y="8354"/>
                  </a:cubicBezTo>
                  <a:cubicBezTo>
                    <a:pt x="6320" y="8350"/>
                    <a:pt x="6348" y="8346"/>
                    <a:pt x="6378" y="8334"/>
                  </a:cubicBezTo>
                  <a:cubicBezTo>
                    <a:pt x="6433" y="8309"/>
                    <a:pt x="6466" y="8263"/>
                    <a:pt x="6488" y="8218"/>
                  </a:cubicBezTo>
                  <a:cubicBezTo>
                    <a:pt x="6497" y="8201"/>
                    <a:pt x="6503" y="8184"/>
                    <a:pt x="6509" y="8167"/>
                  </a:cubicBezTo>
                  <a:cubicBezTo>
                    <a:pt x="6550" y="8170"/>
                    <a:pt x="6576" y="8172"/>
                    <a:pt x="6582" y="8172"/>
                  </a:cubicBezTo>
                  <a:close/>
                  <a:moveTo>
                    <a:pt x="7884" y="8280"/>
                  </a:moveTo>
                  <a:cubicBezTo>
                    <a:pt x="7814" y="8417"/>
                    <a:pt x="7814" y="8417"/>
                    <a:pt x="7814" y="8417"/>
                  </a:cubicBezTo>
                  <a:cubicBezTo>
                    <a:pt x="7700" y="8364"/>
                    <a:pt x="7700" y="8364"/>
                    <a:pt x="7700" y="8364"/>
                  </a:cubicBezTo>
                  <a:cubicBezTo>
                    <a:pt x="7771" y="8224"/>
                    <a:pt x="7771" y="8224"/>
                    <a:pt x="7771" y="8224"/>
                  </a:cubicBezTo>
                  <a:lnTo>
                    <a:pt x="7884" y="8280"/>
                  </a:lnTo>
                  <a:close/>
                  <a:moveTo>
                    <a:pt x="7777" y="8212"/>
                  </a:moveTo>
                  <a:cubicBezTo>
                    <a:pt x="7841" y="8086"/>
                    <a:pt x="7841" y="8086"/>
                    <a:pt x="7841" y="8086"/>
                  </a:cubicBezTo>
                  <a:cubicBezTo>
                    <a:pt x="7953" y="8145"/>
                    <a:pt x="7953" y="8145"/>
                    <a:pt x="7953" y="8145"/>
                  </a:cubicBezTo>
                  <a:cubicBezTo>
                    <a:pt x="7890" y="8267"/>
                    <a:pt x="7890" y="8267"/>
                    <a:pt x="7890" y="8267"/>
                  </a:cubicBezTo>
                  <a:lnTo>
                    <a:pt x="7777" y="8212"/>
                  </a:lnTo>
                  <a:close/>
                  <a:moveTo>
                    <a:pt x="7060" y="10381"/>
                  </a:moveTo>
                  <a:cubicBezTo>
                    <a:pt x="6960" y="10918"/>
                    <a:pt x="6960" y="10918"/>
                    <a:pt x="6960" y="10918"/>
                  </a:cubicBezTo>
                  <a:cubicBezTo>
                    <a:pt x="6868" y="10893"/>
                    <a:pt x="6799" y="10880"/>
                    <a:pt x="6763" y="10873"/>
                  </a:cubicBezTo>
                  <a:cubicBezTo>
                    <a:pt x="6827" y="10275"/>
                    <a:pt x="6827" y="10275"/>
                    <a:pt x="6827" y="10275"/>
                  </a:cubicBezTo>
                  <a:cubicBezTo>
                    <a:pt x="6870" y="10294"/>
                    <a:pt x="6960" y="10335"/>
                    <a:pt x="7065" y="10382"/>
                  </a:cubicBezTo>
                  <a:lnTo>
                    <a:pt x="7060" y="10381"/>
                  </a:lnTo>
                  <a:close/>
                  <a:moveTo>
                    <a:pt x="7074" y="10386"/>
                  </a:moveTo>
                  <a:cubicBezTo>
                    <a:pt x="7158" y="10423"/>
                    <a:pt x="7250" y="10465"/>
                    <a:pt x="7336" y="10503"/>
                  </a:cubicBezTo>
                  <a:cubicBezTo>
                    <a:pt x="7255" y="11015"/>
                    <a:pt x="7255" y="11015"/>
                    <a:pt x="7255" y="11015"/>
                  </a:cubicBezTo>
                  <a:cubicBezTo>
                    <a:pt x="7148" y="10974"/>
                    <a:pt x="7053" y="10944"/>
                    <a:pt x="6974" y="10922"/>
                  </a:cubicBezTo>
                  <a:lnTo>
                    <a:pt x="7074" y="10386"/>
                  </a:lnTo>
                  <a:close/>
                  <a:moveTo>
                    <a:pt x="7308" y="13742"/>
                  </a:moveTo>
                  <a:cubicBezTo>
                    <a:pt x="7234" y="13746"/>
                    <a:pt x="7049" y="13755"/>
                    <a:pt x="6912" y="13775"/>
                  </a:cubicBezTo>
                  <a:cubicBezTo>
                    <a:pt x="6850" y="13390"/>
                    <a:pt x="6850" y="13390"/>
                    <a:pt x="6850" y="13390"/>
                  </a:cubicBezTo>
                  <a:cubicBezTo>
                    <a:pt x="6858" y="13379"/>
                    <a:pt x="6894" y="13332"/>
                    <a:pt x="6914" y="13304"/>
                  </a:cubicBezTo>
                  <a:cubicBezTo>
                    <a:pt x="6918" y="13297"/>
                    <a:pt x="6922" y="13293"/>
                    <a:pt x="6924" y="13289"/>
                  </a:cubicBezTo>
                  <a:cubicBezTo>
                    <a:pt x="6927" y="13290"/>
                    <a:pt x="6930" y="13291"/>
                    <a:pt x="6934" y="13292"/>
                  </a:cubicBezTo>
                  <a:cubicBezTo>
                    <a:pt x="6945" y="13295"/>
                    <a:pt x="6960" y="13299"/>
                    <a:pt x="6978" y="13303"/>
                  </a:cubicBezTo>
                  <a:cubicBezTo>
                    <a:pt x="7014" y="13312"/>
                    <a:pt x="7062" y="13324"/>
                    <a:pt x="7110" y="13336"/>
                  </a:cubicBezTo>
                  <a:cubicBezTo>
                    <a:pt x="7179" y="13352"/>
                    <a:pt x="7246" y="13369"/>
                    <a:pt x="7280" y="13377"/>
                  </a:cubicBezTo>
                  <a:cubicBezTo>
                    <a:pt x="7276" y="13430"/>
                    <a:pt x="7276" y="13430"/>
                    <a:pt x="7276" y="13430"/>
                  </a:cubicBezTo>
                  <a:cubicBezTo>
                    <a:pt x="7276" y="13431"/>
                    <a:pt x="7276" y="13431"/>
                    <a:pt x="7276" y="13431"/>
                  </a:cubicBezTo>
                  <a:cubicBezTo>
                    <a:pt x="7276" y="13432"/>
                    <a:pt x="7276" y="13568"/>
                    <a:pt x="7308" y="13742"/>
                  </a:cubicBezTo>
                  <a:close/>
                  <a:moveTo>
                    <a:pt x="3410" y="14099"/>
                  </a:moveTo>
                  <a:cubicBezTo>
                    <a:pt x="3402" y="14158"/>
                    <a:pt x="3402" y="14158"/>
                    <a:pt x="3402" y="14158"/>
                  </a:cubicBezTo>
                  <a:cubicBezTo>
                    <a:pt x="3314" y="14146"/>
                    <a:pt x="3314" y="14146"/>
                    <a:pt x="3314" y="14146"/>
                  </a:cubicBezTo>
                  <a:cubicBezTo>
                    <a:pt x="3320" y="14107"/>
                    <a:pt x="3325" y="14072"/>
                    <a:pt x="3329" y="14044"/>
                  </a:cubicBezTo>
                  <a:cubicBezTo>
                    <a:pt x="3369" y="14050"/>
                    <a:pt x="3369" y="14050"/>
                    <a:pt x="3369" y="14050"/>
                  </a:cubicBezTo>
                  <a:cubicBezTo>
                    <a:pt x="3363" y="14092"/>
                    <a:pt x="3363" y="14092"/>
                    <a:pt x="3363" y="14092"/>
                  </a:cubicBezTo>
                  <a:lnTo>
                    <a:pt x="3410" y="14099"/>
                  </a:lnTo>
                  <a:close/>
                  <a:moveTo>
                    <a:pt x="3300" y="14144"/>
                  </a:moveTo>
                  <a:cubicBezTo>
                    <a:pt x="3219" y="14133"/>
                    <a:pt x="3219" y="14133"/>
                    <a:pt x="3219" y="14133"/>
                  </a:cubicBezTo>
                  <a:cubicBezTo>
                    <a:pt x="3227" y="14074"/>
                    <a:pt x="3227" y="14074"/>
                    <a:pt x="3227" y="14074"/>
                  </a:cubicBezTo>
                  <a:cubicBezTo>
                    <a:pt x="3274" y="14080"/>
                    <a:pt x="3274" y="14080"/>
                    <a:pt x="3274" y="14080"/>
                  </a:cubicBezTo>
                  <a:cubicBezTo>
                    <a:pt x="3279" y="14037"/>
                    <a:pt x="3279" y="14037"/>
                    <a:pt x="3279" y="14037"/>
                  </a:cubicBezTo>
                  <a:cubicBezTo>
                    <a:pt x="3315" y="14042"/>
                    <a:pt x="3315" y="14042"/>
                    <a:pt x="3315" y="14042"/>
                  </a:cubicBezTo>
                  <a:cubicBezTo>
                    <a:pt x="3311" y="14070"/>
                    <a:pt x="3306" y="14105"/>
                    <a:pt x="3300" y="14144"/>
                  </a:cubicBezTo>
                  <a:close/>
                  <a:moveTo>
                    <a:pt x="3168" y="14009"/>
                  </a:moveTo>
                  <a:cubicBezTo>
                    <a:pt x="3160" y="14069"/>
                    <a:pt x="3160" y="14069"/>
                    <a:pt x="3160" y="14069"/>
                  </a:cubicBezTo>
                  <a:cubicBezTo>
                    <a:pt x="3085" y="14058"/>
                    <a:pt x="3085" y="14058"/>
                    <a:pt x="3085" y="14058"/>
                  </a:cubicBezTo>
                  <a:cubicBezTo>
                    <a:pt x="3099" y="13956"/>
                    <a:pt x="3099" y="13956"/>
                    <a:pt x="3099" y="13956"/>
                  </a:cubicBezTo>
                  <a:cubicBezTo>
                    <a:pt x="3127" y="13960"/>
                    <a:pt x="3127" y="13960"/>
                    <a:pt x="3127" y="13960"/>
                  </a:cubicBezTo>
                  <a:cubicBezTo>
                    <a:pt x="3122" y="14003"/>
                    <a:pt x="3122" y="14003"/>
                    <a:pt x="3122" y="14003"/>
                  </a:cubicBezTo>
                  <a:lnTo>
                    <a:pt x="3168" y="14009"/>
                  </a:lnTo>
                  <a:close/>
                  <a:moveTo>
                    <a:pt x="1924" y="13824"/>
                  </a:moveTo>
                  <a:cubicBezTo>
                    <a:pt x="2141" y="13958"/>
                    <a:pt x="2141" y="13958"/>
                    <a:pt x="2141" y="13958"/>
                  </a:cubicBezTo>
                  <a:cubicBezTo>
                    <a:pt x="2042" y="14054"/>
                    <a:pt x="2042" y="14054"/>
                    <a:pt x="2042" y="14054"/>
                  </a:cubicBezTo>
                  <a:cubicBezTo>
                    <a:pt x="1824" y="13920"/>
                    <a:pt x="1824" y="13920"/>
                    <a:pt x="1824" y="13920"/>
                  </a:cubicBezTo>
                  <a:cubicBezTo>
                    <a:pt x="1853" y="13892"/>
                    <a:pt x="1887" y="13859"/>
                    <a:pt x="1924" y="13824"/>
                  </a:cubicBezTo>
                  <a:close/>
                  <a:moveTo>
                    <a:pt x="1811" y="13913"/>
                  </a:moveTo>
                  <a:cubicBezTo>
                    <a:pt x="1723" y="13858"/>
                    <a:pt x="1723" y="13858"/>
                    <a:pt x="1723" y="13858"/>
                  </a:cubicBezTo>
                  <a:cubicBezTo>
                    <a:pt x="1791" y="13742"/>
                    <a:pt x="1791" y="13742"/>
                    <a:pt x="1791" y="13742"/>
                  </a:cubicBezTo>
                  <a:cubicBezTo>
                    <a:pt x="1911" y="13816"/>
                    <a:pt x="1911" y="13816"/>
                    <a:pt x="1911" y="13816"/>
                  </a:cubicBezTo>
                  <a:cubicBezTo>
                    <a:pt x="1875" y="13851"/>
                    <a:pt x="1840" y="13884"/>
                    <a:pt x="1811" y="13913"/>
                  </a:cubicBezTo>
                  <a:close/>
                  <a:moveTo>
                    <a:pt x="2057" y="13438"/>
                  </a:moveTo>
                  <a:cubicBezTo>
                    <a:pt x="1958" y="12996"/>
                    <a:pt x="1958" y="12996"/>
                    <a:pt x="1958" y="12996"/>
                  </a:cubicBezTo>
                  <a:cubicBezTo>
                    <a:pt x="2083" y="12716"/>
                    <a:pt x="2083" y="12716"/>
                    <a:pt x="2083" y="12716"/>
                  </a:cubicBezTo>
                  <a:cubicBezTo>
                    <a:pt x="2245" y="12773"/>
                    <a:pt x="2245" y="12773"/>
                    <a:pt x="2245" y="12773"/>
                  </a:cubicBezTo>
                  <a:cubicBezTo>
                    <a:pt x="2350" y="12924"/>
                    <a:pt x="2350" y="12924"/>
                    <a:pt x="2350" y="12924"/>
                  </a:cubicBezTo>
                  <a:cubicBezTo>
                    <a:pt x="2352" y="12925"/>
                    <a:pt x="2352" y="12925"/>
                    <a:pt x="2352" y="12925"/>
                  </a:cubicBezTo>
                  <a:cubicBezTo>
                    <a:pt x="2353" y="12925"/>
                    <a:pt x="2479" y="12959"/>
                    <a:pt x="2607" y="12996"/>
                  </a:cubicBezTo>
                  <a:cubicBezTo>
                    <a:pt x="2387" y="13570"/>
                    <a:pt x="2387" y="13570"/>
                    <a:pt x="2387" y="13570"/>
                  </a:cubicBezTo>
                  <a:cubicBezTo>
                    <a:pt x="2055" y="13450"/>
                    <a:pt x="2055" y="13450"/>
                    <a:pt x="2055" y="13450"/>
                  </a:cubicBezTo>
                  <a:cubicBezTo>
                    <a:pt x="2059" y="13451"/>
                    <a:pt x="2059" y="13451"/>
                    <a:pt x="2059" y="13451"/>
                  </a:cubicBezTo>
                  <a:lnTo>
                    <a:pt x="2057" y="13438"/>
                  </a:lnTo>
                  <a:close/>
                  <a:moveTo>
                    <a:pt x="2572" y="11077"/>
                  </a:moveTo>
                  <a:cubicBezTo>
                    <a:pt x="2586" y="11077"/>
                    <a:pt x="2599" y="11077"/>
                    <a:pt x="2612" y="11077"/>
                  </a:cubicBezTo>
                  <a:cubicBezTo>
                    <a:pt x="2581" y="11119"/>
                    <a:pt x="2554" y="11158"/>
                    <a:pt x="2529" y="11198"/>
                  </a:cubicBezTo>
                  <a:cubicBezTo>
                    <a:pt x="2498" y="11247"/>
                    <a:pt x="2467" y="11297"/>
                    <a:pt x="2432" y="11364"/>
                  </a:cubicBezTo>
                  <a:cubicBezTo>
                    <a:pt x="2431" y="11367"/>
                    <a:pt x="2429" y="11369"/>
                    <a:pt x="2428" y="11372"/>
                  </a:cubicBezTo>
                  <a:cubicBezTo>
                    <a:pt x="2337" y="11329"/>
                    <a:pt x="2337" y="11329"/>
                    <a:pt x="2337" y="11329"/>
                  </a:cubicBezTo>
                  <a:cubicBezTo>
                    <a:pt x="2354" y="11254"/>
                    <a:pt x="2354" y="11254"/>
                    <a:pt x="2354" y="11254"/>
                  </a:cubicBezTo>
                  <a:cubicBezTo>
                    <a:pt x="2473" y="11065"/>
                    <a:pt x="2473" y="11065"/>
                    <a:pt x="2473" y="11065"/>
                  </a:cubicBezTo>
                  <a:cubicBezTo>
                    <a:pt x="2473" y="11077"/>
                    <a:pt x="2473" y="11077"/>
                    <a:pt x="2473" y="11077"/>
                  </a:cubicBezTo>
                  <a:cubicBezTo>
                    <a:pt x="2477" y="11077"/>
                    <a:pt x="2524" y="11077"/>
                    <a:pt x="2572" y="11077"/>
                  </a:cubicBezTo>
                  <a:close/>
                  <a:moveTo>
                    <a:pt x="4529" y="9768"/>
                  </a:moveTo>
                  <a:cubicBezTo>
                    <a:pt x="4526" y="9757"/>
                    <a:pt x="4526" y="9757"/>
                    <a:pt x="4526" y="9757"/>
                  </a:cubicBezTo>
                  <a:cubicBezTo>
                    <a:pt x="4593" y="9735"/>
                    <a:pt x="4593" y="9735"/>
                    <a:pt x="4593" y="9735"/>
                  </a:cubicBezTo>
                  <a:cubicBezTo>
                    <a:pt x="4629" y="9844"/>
                    <a:pt x="4629" y="9844"/>
                    <a:pt x="4629" y="9844"/>
                  </a:cubicBezTo>
                  <a:cubicBezTo>
                    <a:pt x="4559" y="9867"/>
                    <a:pt x="4559" y="9867"/>
                    <a:pt x="4559" y="9867"/>
                  </a:cubicBezTo>
                  <a:cubicBezTo>
                    <a:pt x="4583" y="9939"/>
                    <a:pt x="4583" y="9939"/>
                    <a:pt x="4583" y="9939"/>
                  </a:cubicBezTo>
                  <a:cubicBezTo>
                    <a:pt x="4536" y="9954"/>
                    <a:pt x="4536" y="9954"/>
                    <a:pt x="4536" y="9954"/>
                  </a:cubicBezTo>
                  <a:cubicBezTo>
                    <a:pt x="4484" y="9790"/>
                    <a:pt x="4484" y="9790"/>
                    <a:pt x="4484" y="9790"/>
                  </a:cubicBezTo>
                  <a:cubicBezTo>
                    <a:pt x="4531" y="9774"/>
                    <a:pt x="4531" y="9774"/>
                    <a:pt x="4531" y="9774"/>
                  </a:cubicBezTo>
                  <a:lnTo>
                    <a:pt x="4529" y="9768"/>
                  </a:lnTo>
                  <a:close/>
                  <a:moveTo>
                    <a:pt x="4599" y="9947"/>
                  </a:moveTo>
                  <a:cubicBezTo>
                    <a:pt x="4576" y="9875"/>
                    <a:pt x="4576" y="9875"/>
                    <a:pt x="4576" y="9875"/>
                  </a:cubicBezTo>
                  <a:cubicBezTo>
                    <a:pt x="4645" y="9852"/>
                    <a:pt x="4645" y="9852"/>
                    <a:pt x="4645" y="9852"/>
                  </a:cubicBezTo>
                  <a:cubicBezTo>
                    <a:pt x="4601" y="9718"/>
                    <a:pt x="4601" y="9718"/>
                    <a:pt x="4601" y="9718"/>
                  </a:cubicBezTo>
                  <a:cubicBezTo>
                    <a:pt x="4509" y="9749"/>
                    <a:pt x="4509" y="9749"/>
                    <a:pt x="4509" y="9749"/>
                  </a:cubicBezTo>
                  <a:cubicBezTo>
                    <a:pt x="4511" y="9755"/>
                    <a:pt x="4511" y="9755"/>
                    <a:pt x="4511" y="9755"/>
                  </a:cubicBezTo>
                  <a:cubicBezTo>
                    <a:pt x="4515" y="9766"/>
                    <a:pt x="4515" y="9766"/>
                    <a:pt x="4515" y="9766"/>
                  </a:cubicBezTo>
                  <a:cubicBezTo>
                    <a:pt x="4468" y="9782"/>
                    <a:pt x="4468" y="9782"/>
                    <a:pt x="4468" y="9782"/>
                  </a:cubicBezTo>
                  <a:cubicBezTo>
                    <a:pt x="4525" y="9965"/>
                    <a:pt x="4525" y="9965"/>
                    <a:pt x="4525" y="9965"/>
                  </a:cubicBezTo>
                  <a:cubicBezTo>
                    <a:pt x="4406" y="9703"/>
                    <a:pt x="4406" y="9703"/>
                    <a:pt x="4406" y="9703"/>
                  </a:cubicBezTo>
                  <a:cubicBezTo>
                    <a:pt x="4461" y="9702"/>
                    <a:pt x="4546" y="9700"/>
                    <a:pt x="4642" y="9698"/>
                  </a:cubicBezTo>
                  <a:cubicBezTo>
                    <a:pt x="4728" y="10163"/>
                    <a:pt x="4728" y="10163"/>
                    <a:pt x="4728" y="10163"/>
                  </a:cubicBezTo>
                  <a:cubicBezTo>
                    <a:pt x="4695" y="10171"/>
                    <a:pt x="4662" y="10179"/>
                    <a:pt x="4628" y="10188"/>
                  </a:cubicBezTo>
                  <a:cubicBezTo>
                    <a:pt x="4528" y="9971"/>
                    <a:pt x="4528" y="9971"/>
                    <a:pt x="4528" y="9971"/>
                  </a:cubicBezTo>
                  <a:lnTo>
                    <a:pt x="4599" y="9947"/>
                  </a:lnTo>
                  <a:close/>
                  <a:moveTo>
                    <a:pt x="4954" y="9221"/>
                  </a:moveTo>
                  <a:cubicBezTo>
                    <a:pt x="5110" y="9674"/>
                    <a:pt x="5110" y="9674"/>
                    <a:pt x="5110" y="9674"/>
                  </a:cubicBezTo>
                  <a:cubicBezTo>
                    <a:pt x="4969" y="9677"/>
                    <a:pt x="4799" y="9681"/>
                    <a:pt x="4654" y="9684"/>
                  </a:cubicBezTo>
                  <a:cubicBezTo>
                    <a:pt x="4631" y="9256"/>
                    <a:pt x="4631" y="9256"/>
                    <a:pt x="4631" y="9256"/>
                  </a:cubicBezTo>
                  <a:cubicBezTo>
                    <a:pt x="4751" y="9246"/>
                    <a:pt x="4869" y="9234"/>
                    <a:pt x="4954" y="9221"/>
                  </a:cubicBezTo>
                  <a:close/>
                  <a:moveTo>
                    <a:pt x="4783" y="9197"/>
                  </a:moveTo>
                  <a:cubicBezTo>
                    <a:pt x="4683" y="8657"/>
                    <a:pt x="4683" y="8657"/>
                    <a:pt x="4683" y="8657"/>
                  </a:cubicBezTo>
                  <a:cubicBezTo>
                    <a:pt x="4766" y="8673"/>
                    <a:pt x="4881" y="8695"/>
                    <a:pt x="4959" y="8710"/>
                  </a:cubicBezTo>
                  <a:cubicBezTo>
                    <a:pt x="4949" y="9176"/>
                    <a:pt x="4949" y="9176"/>
                    <a:pt x="4949" y="9176"/>
                  </a:cubicBezTo>
                  <a:cubicBezTo>
                    <a:pt x="4903" y="9183"/>
                    <a:pt x="4845" y="9190"/>
                    <a:pt x="4783" y="9197"/>
                  </a:cubicBezTo>
                  <a:close/>
                  <a:moveTo>
                    <a:pt x="5351" y="9005"/>
                  </a:moveTo>
                  <a:cubicBezTo>
                    <a:pt x="5392" y="9012"/>
                    <a:pt x="5474" y="9026"/>
                    <a:pt x="5553" y="9039"/>
                  </a:cubicBezTo>
                  <a:cubicBezTo>
                    <a:pt x="5660" y="9058"/>
                    <a:pt x="5764" y="9076"/>
                    <a:pt x="5783" y="9078"/>
                  </a:cubicBezTo>
                  <a:cubicBezTo>
                    <a:pt x="5785" y="9082"/>
                    <a:pt x="5786" y="9086"/>
                    <a:pt x="5787" y="9090"/>
                  </a:cubicBezTo>
                  <a:cubicBezTo>
                    <a:pt x="5798" y="9122"/>
                    <a:pt x="5809" y="9153"/>
                    <a:pt x="5812" y="9161"/>
                  </a:cubicBezTo>
                  <a:cubicBezTo>
                    <a:pt x="5793" y="9225"/>
                    <a:pt x="5793" y="9225"/>
                    <a:pt x="5793" y="9225"/>
                  </a:cubicBezTo>
                  <a:cubicBezTo>
                    <a:pt x="5793" y="9224"/>
                    <a:pt x="5793" y="9224"/>
                    <a:pt x="5793" y="9224"/>
                  </a:cubicBezTo>
                  <a:cubicBezTo>
                    <a:pt x="5793" y="9224"/>
                    <a:pt x="5793" y="9224"/>
                    <a:pt x="5793" y="9224"/>
                  </a:cubicBezTo>
                  <a:cubicBezTo>
                    <a:pt x="5786" y="9224"/>
                    <a:pt x="5655" y="9199"/>
                    <a:pt x="5529" y="9175"/>
                  </a:cubicBezTo>
                  <a:cubicBezTo>
                    <a:pt x="5441" y="9159"/>
                    <a:pt x="5354" y="9142"/>
                    <a:pt x="5307" y="9133"/>
                  </a:cubicBezTo>
                  <a:cubicBezTo>
                    <a:pt x="5295" y="9112"/>
                    <a:pt x="5280" y="9092"/>
                    <a:pt x="5269" y="9079"/>
                  </a:cubicBezTo>
                  <a:cubicBezTo>
                    <a:pt x="5301" y="9053"/>
                    <a:pt x="5328" y="9028"/>
                    <a:pt x="5351" y="9005"/>
                  </a:cubicBezTo>
                  <a:close/>
                  <a:moveTo>
                    <a:pt x="5330" y="8960"/>
                  </a:moveTo>
                  <a:cubicBezTo>
                    <a:pt x="5330" y="8961"/>
                    <a:pt x="5330" y="8961"/>
                    <a:pt x="5330" y="8961"/>
                  </a:cubicBezTo>
                  <a:cubicBezTo>
                    <a:pt x="5330" y="8961"/>
                    <a:pt x="5330" y="8961"/>
                    <a:pt x="5330" y="8961"/>
                  </a:cubicBezTo>
                  <a:lnTo>
                    <a:pt x="5330" y="8960"/>
                  </a:lnTo>
                  <a:close/>
                  <a:moveTo>
                    <a:pt x="6437" y="10637"/>
                  </a:moveTo>
                  <a:cubicBezTo>
                    <a:pt x="6429" y="10643"/>
                    <a:pt x="6429" y="10643"/>
                    <a:pt x="6429" y="10643"/>
                  </a:cubicBezTo>
                  <a:cubicBezTo>
                    <a:pt x="6367" y="10572"/>
                    <a:pt x="6367" y="10572"/>
                    <a:pt x="6367" y="10572"/>
                  </a:cubicBezTo>
                  <a:cubicBezTo>
                    <a:pt x="6241" y="10682"/>
                    <a:pt x="6241" y="10682"/>
                    <a:pt x="6241" y="10682"/>
                  </a:cubicBezTo>
                  <a:cubicBezTo>
                    <a:pt x="6351" y="10808"/>
                    <a:pt x="6351" y="10808"/>
                    <a:pt x="6351" y="10808"/>
                  </a:cubicBezTo>
                  <a:cubicBezTo>
                    <a:pt x="6420" y="10747"/>
                    <a:pt x="6420" y="10747"/>
                    <a:pt x="6420" y="10747"/>
                  </a:cubicBezTo>
                  <a:cubicBezTo>
                    <a:pt x="6403" y="10864"/>
                    <a:pt x="6403" y="10864"/>
                    <a:pt x="6403" y="10864"/>
                  </a:cubicBezTo>
                  <a:cubicBezTo>
                    <a:pt x="6141" y="10861"/>
                    <a:pt x="6141" y="10861"/>
                    <a:pt x="6141" y="10861"/>
                  </a:cubicBezTo>
                  <a:cubicBezTo>
                    <a:pt x="6211" y="10499"/>
                    <a:pt x="6211" y="10499"/>
                    <a:pt x="6211" y="10499"/>
                  </a:cubicBezTo>
                  <a:cubicBezTo>
                    <a:pt x="6257" y="10503"/>
                    <a:pt x="6355" y="10511"/>
                    <a:pt x="6455" y="10519"/>
                  </a:cubicBezTo>
                  <a:lnTo>
                    <a:pt x="6437" y="10637"/>
                  </a:lnTo>
                  <a:close/>
                  <a:moveTo>
                    <a:pt x="6450" y="10643"/>
                  </a:moveTo>
                  <a:cubicBezTo>
                    <a:pt x="6507" y="10599"/>
                    <a:pt x="6507" y="10599"/>
                    <a:pt x="6507" y="10599"/>
                  </a:cubicBezTo>
                  <a:cubicBezTo>
                    <a:pt x="6606" y="10713"/>
                    <a:pt x="6606" y="10713"/>
                    <a:pt x="6606" y="10713"/>
                  </a:cubicBezTo>
                  <a:cubicBezTo>
                    <a:pt x="6495" y="10803"/>
                    <a:pt x="6495" y="10803"/>
                    <a:pt x="6495" y="10803"/>
                  </a:cubicBezTo>
                  <a:cubicBezTo>
                    <a:pt x="6436" y="10735"/>
                    <a:pt x="6436" y="10735"/>
                    <a:pt x="6436" y="10735"/>
                  </a:cubicBezTo>
                  <a:lnTo>
                    <a:pt x="6450" y="10643"/>
                  </a:lnTo>
                  <a:close/>
                  <a:moveTo>
                    <a:pt x="6434" y="10656"/>
                  </a:moveTo>
                  <a:cubicBezTo>
                    <a:pt x="6424" y="10727"/>
                    <a:pt x="6424" y="10727"/>
                    <a:pt x="6424" y="10727"/>
                  </a:cubicBezTo>
                  <a:cubicBezTo>
                    <a:pt x="6353" y="10790"/>
                    <a:pt x="6353" y="10790"/>
                    <a:pt x="6353" y="10790"/>
                  </a:cubicBezTo>
                  <a:cubicBezTo>
                    <a:pt x="6260" y="10684"/>
                    <a:pt x="6260" y="10684"/>
                    <a:pt x="6260" y="10684"/>
                  </a:cubicBezTo>
                  <a:cubicBezTo>
                    <a:pt x="6366" y="10591"/>
                    <a:pt x="6366" y="10591"/>
                    <a:pt x="6366" y="10591"/>
                  </a:cubicBezTo>
                  <a:cubicBezTo>
                    <a:pt x="6427" y="10661"/>
                    <a:pt x="6427" y="10661"/>
                    <a:pt x="6427" y="10661"/>
                  </a:cubicBezTo>
                  <a:lnTo>
                    <a:pt x="6434" y="10656"/>
                  </a:lnTo>
                  <a:close/>
                  <a:moveTo>
                    <a:pt x="6065" y="10907"/>
                  </a:moveTo>
                  <a:cubicBezTo>
                    <a:pt x="5967" y="11394"/>
                    <a:pt x="5967" y="11394"/>
                    <a:pt x="5967" y="11394"/>
                  </a:cubicBezTo>
                  <a:cubicBezTo>
                    <a:pt x="5917" y="11542"/>
                    <a:pt x="5917" y="11542"/>
                    <a:pt x="5917" y="11542"/>
                  </a:cubicBezTo>
                  <a:cubicBezTo>
                    <a:pt x="5907" y="11519"/>
                    <a:pt x="5907" y="11519"/>
                    <a:pt x="5907" y="11519"/>
                  </a:cubicBezTo>
                  <a:cubicBezTo>
                    <a:pt x="6018" y="10049"/>
                    <a:pt x="6018" y="10049"/>
                    <a:pt x="6018" y="10049"/>
                  </a:cubicBezTo>
                  <a:cubicBezTo>
                    <a:pt x="6059" y="10047"/>
                    <a:pt x="6096" y="10045"/>
                    <a:pt x="6128" y="10044"/>
                  </a:cubicBezTo>
                  <a:cubicBezTo>
                    <a:pt x="6176" y="10042"/>
                    <a:pt x="6212" y="10041"/>
                    <a:pt x="6233" y="10041"/>
                  </a:cubicBezTo>
                  <a:lnTo>
                    <a:pt x="6065" y="10907"/>
                  </a:lnTo>
                  <a:close/>
                  <a:moveTo>
                    <a:pt x="5729" y="12421"/>
                  </a:moveTo>
                  <a:cubicBezTo>
                    <a:pt x="5583" y="12395"/>
                    <a:pt x="5583" y="12395"/>
                    <a:pt x="5583" y="12395"/>
                  </a:cubicBezTo>
                  <a:cubicBezTo>
                    <a:pt x="5566" y="12491"/>
                    <a:pt x="5566" y="12491"/>
                    <a:pt x="5566" y="12491"/>
                  </a:cubicBezTo>
                  <a:cubicBezTo>
                    <a:pt x="5565" y="12496"/>
                    <a:pt x="5565" y="12496"/>
                    <a:pt x="5565" y="12496"/>
                  </a:cubicBezTo>
                  <a:cubicBezTo>
                    <a:pt x="5467" y="12478"/>
                    <a:pt x="5377" y="12461"/>
                    <a:pt x="5377" y="12461"/>
                  </a:cubicBezTo>
                  <a:cubicBezTo>
                    <a:pt x="5374" y="12474"/>
                    <a:pt x="5374" y="12474"/>
                    <a:pt x="5374" y="12474"/>
                  </a:cubicBezTo>
                  <a:cubicBezTo>
                    <a:pt x="5375" y="12474"/>
                    <a:pt x="5704" y="12537"/>
                    <a:pt x="5784" y="12552"/>
                  </a:cubicBezTo>
                  <a:cubicBezTo>
                    <a:pt x="5753" y="12831"/>
                    <a:pt x="5753" y="12831"/>
                    <a:pt x="5753" y="12831"/>
                  </a:cubicBezTo>
                  <a:cubicBezTo>
                    <a:pt x="5719" y="12824"/>
                    <a:pt x="5636" y="12809"/>
                    <a:pt x="5555" y="12794"/>
                  </a:cubicBezTo>
                  <a:cubicBezTo>
                    <a:pt x="5465" y="12777"/>
                    <a:pt x="5376" y="12760"/>
                    <a:pt x="5351" y="12755"/>
                  </a:cubicBezTo>
                  <a:cubicBezTo>
                    <a:pt x="5338" y="12626"/>
                    <a:pt x="5338" y="12626"/>
                    <a:pt x="5338" y="12626"/>
                  </a:cubicBezTo>
                  <a:cubicBezTo>
                    <a:pt x="5347" y="12628"/>
                    <a:pt x="5756" y="12706"/>
                    <a:pt x="5765" y="12706"/>
                  </a:cubicBezTo>
                  <a:cubicBezTo>
                    <a:pt x="5765" y="12692"/>
                    <a:pt x="5765" y="12692"/>
                    <a:pt x="5765" y="12692"/>
                  </a:cubicBezTo>
                  <a:cubicBezTo>
                    <a:pt x="5764" y="12692"/>
                    <a:pt x="5656" y="12672"/>
                    <a:pt x="5551" y="12652"/>
                  </a:cubicBezTo>
                  <a:cubicBezTo>
                    <a:pt x="5445" y="12632"/>
                    <a:pt x="5340" y="12612"/>
                    <a:pt x="5340" y="12612"/>
                  </a:cubicBezTo>
                  <a:cubicBezTo>
                    <a:pt x="5337" y="12625"/>
                    <a:pt x="5337" y="12625"/>
                    <a:pt x="5337" y="12625"/>
                  </a:cubicBezTo>
                  <a:cubicBezTo>
                    <a:pt x="5337" y="12624"/>
                    <a:pt x="5337" y="12624"/>
                    <a:pt x="5337" y="12624"/>
                  </a:cubicBezTo>
                  <a:cubicBezTo>
                    <a:pt x="5394" y="12344"/>
                    <a:pt x="5394" y="12344"/>
                    <a:pt x="5394" y="12344"/>
                  </a:cubicBezTo>
                  <a:cubicBezTo>
                    <a:pt x="5436" y="12352"/>
                    <a:pt x="5726" y="12407"/>
                    <a:pt x="5799" y="12420"/>
                  </a:cubicBezTo>
                  <a:cubicBezTo>
                    <a:pt x="5786" y="12538"/>
                    <a:pt x="5786" y="12538"/>
                    <a:pt x="5786" y="12538"/>
                  </a:cubicBezTo>
                  <a:cubicBezTo>
                    <a:pt x="5770" y="12535"/>
                    <a:pt x="5743" y="12530"/>
                    <a:pt x="5710" y="12524"/>
                  </a:cubicBezTo>
                  <a:lnTo>
                    <a:pt x="5729" y="12421"/>
                  </a:lnTo>
                  <a:close/>
                  <a:moveTo>
                    <a:pt x="5700" y="12509"/>
                  </a:moveTo>
                  <a:cubicBezTo>
                    <a:pt x="5580" y="12487"/>
                    <a:pt x="5580" y="12487"/>
                    <a:pt x="5580" y="12487"/>
                  </a:cubicBezTo>
                  <a:cubicBezTo>
                    <a:pt x="5594" y="12410"/>
                    <a:pt x="5594" y="12410"/>
                    <a:pt x="5594" y="12410"/>
                  </a:cubicBezTo>
                  <a:cubicBezTo>
                    <a:pt x="5714" y="12431"/>
                    <a:pt x="5714" y="12431"/>
                    <a:pt x="5714" y="12431"/>
                  </a:cubicBezTo>
                  <a:lnTo>
                    <a:pt x="5700" y="12509"/>
                  </a:lnTo>
                  <a:close/>
                  <a:moveTo>
                    <a:pt x="4919" y="12874"/>
                  </a:moveTo>
                  <a:cubicBezTo>
                    <a:pt x="4963" y="12881"/>
                    <a:pt x="5034" y="12891"/>
                    <a:pt x="5105" y="12901"/>
                  </a:cubicBezTo>
                  <a:cubicBezTo>
                    <a:pt x="5220" y="12918"/>
                    <a:pt x="5338" y="12935"/>
                    <a:pt x="5341" y="12936"/>
                  </a:cubicBezTo>
                  <a:cubicBezTo>
                    <a:pt x="5341" y="12936"/>
                    <a:pt x="5347" y="12937"/>
                    <a:pt x="5356" y="12938"/>
                  </a:cubicBezTo>
                  <a:cubicBezTo>
                    <a:pt x="5372" y="13098"/>
                    <a:pt x="5372" y="13098"/>
                    <a:pt x="5372" y="13098"/>
                  </a:cubicBezTo>
                  <a:cubicBezTo>
                    <a:pt x="5370" y="13107"/>
                    <a:pt x="5358" y="13161"/>
                    <a:pt x="5345" y="13218"/>
                  </a:cubicBezTo>
                  <a:cubicBezTo>
                    <a:pt x="5331" y="13274"/>
                    <a:pt x="5316" y="13334"/>
                    <a:pt x="5311" y="13346"/>
                  </a:cubicBezTo>
                  <a:cubicBezTo>
                    <a:pt x="5292" y="13342"/>
                    <a:pt x="5292" y="13342"/>
                    <a:pt x="5292" y="13342"/>
                  </a:cubicBezTo>
                  <a:cubicBezTo>
                    <a:pt x="5048" y="13344"/>
                    <a:pt x="5048" y="13344"/>
                    <a:pt x="5048" y="13344"/>
                  </a:cubicBezTo>
                  <a:cubicBezTo>
                    <a:pt x="5049" y="13336"/>
                    <a:pt x="5049" y="13325"/>
                    <a:pt x="5049" y="13312"/>
                  </a:cubicBezTo>
                  <a:cubicBezTo>
                    <a:pt x="5049" y="13225"/>
                    <a:pt x="5037" y="13037"/>
                    <a:pt x="4919" y="12874"/>
                  </a:cubicBezTo>
                  <a:close/>
                  <a:moveTo>
                    <a:pt x="2400" y="13575"/>
                  </a:moveTo>
                  <a:cubicBezTo>
                    <a:pt x="2621" y="13000"/>
                    <a:pt x="2621" y="13000"/>
                    <a:pt x="2621" y="13000"/>
                  </a:cubicBezTo>
                  <a:cubicBezTo>
                    <a:pt x="2683" y="13018"/>
                    <a:pt x="2745" y="13036"/>
                    <a:pt x="2793" y="13052"/>
                  </a:cubicBezTo>
                  <a:cubicBezTo>
                    <a:pt x="2865" y="13076"/>
                    <a:pt x="2930" y="13140"/>
                    <a:pt x="2976" y="13199"/>
                  </a:cubicBezTo>
                  <a:cubicBezTo>
                    <a:pt x="3002" y="13233"/>
                    <a:pt x="3022" y="13265"/>
                    <a:pt x="3034" y="13286"/>
                  </a:cubicBezTo>
                  <a:cubicBezTo>
                    <a:pt x="3003" y="13292"/>
                    <a:pt x="2974" y="13300"/>
                    <a:pt x="2950" y="13308"/>
                  </a:cubicBezTo>
                  <a:cubicBezTo>
                    <a:pt x="2888" y="13330"/>
                    <a:pt x="2833" y="13349"/>
                    <a:pt x="2800" y="13400"/>
                  </a:cubicBezTo>
                  <a:cubicBezTo>
                    <a:pt x="2745" y="13489"/>
                    <a:pt x="2714" y="13618"/>
                    <a:pt x="2700" y="13684"/>
                  </a:cubicBezTo>
                  <a:lnTo>
                    <a:pt x="2400" y="13575"/>
                  </a:lnTo>
                  <a:close/>
                  <a:moveTo>
                    <a:pt x="2689" y="13750"/>
                  </a:moveTo>
                  <a:cubicBezTo>
                    <a:pt x="2640" y="13796"/>
                    <a:pt x="2481" y="13947"/>
                    <a:pt x="2351" y="14072"/>
                  </a:cubicBezTo>
                  <a:cubicBezTo>
                    <a:pt x="2163" y="13956"/>
                    <a:pt x="2163" y="13956"/>
                    <a:pt x="2163" y="13956"/>
                  </a:cubicBezTo>
                  <a:cubicBezTo>
                    <a:pt x="2459" y="13666"/>
                    <a:pt x="2459" y="13666"/>
                    <a:pt x="2459" y="13666"/>
                  </a:cubicBezTo>
                  <a:lnTo>
                    <a:pt x="2689" y="13750"/>
                  </a:lnTo>
                  <a:close/>
                  <a:moveTo>
                    <a:pt x="2512" y="11762"/>
                  </a:moveTo>
                  <a:cubicBezTo>
                    <a:pt x="2696" y="11709"/>
                    <a:pt x="2696" y="11709"/>
                    <a:pt x="2696" y="11709"/>
                  </a:cubicBezTo>
                  <a:cubicBezTo>
                    <a:pt x="2782" y="11625"/>
                    <a:pt x="2782" y="11625"/>
                    <a:pt x="2782" y="11625"/>
                  </a:cubicBezTo>
                  <a:cubicBezTo>
                    <a:pt x="2876" y="11731"/>
                    <a:pt x="2876" y="11731"/>
                    <a:pt x="2876" y="11731"/>
                  </a:cubicBezTo>
                  <a:cubicBezTo>
                    <a:pt x="3003" y="11775"/>
                    <a:pt x="3003" y="11775"/>
                    <a:pt x="3003" y="11775"/>
                  </a:cubicBezTo>
                  <a:cubicBezTo>
                    <a:pt x="2984" y="11829"/>
                    <a:pt x="2891" y="12094"/>
                    <a:pt x="2875" y="12138"/>
                  </a:cubicBezTo>
                  <a:cubicBezTo>
                    <a:pt x="2856" y="12135"/>
                    <a:pt x="2789" y="12125"/>
                    <a:pt x="2725" y="12115"/>
                  </a:cubicBezTo>
                  <a:cubicBezTo>
                    <a:pt x="2664" y="12105"/>
                    <a:pt x="2605" y="12096"/>
                    <a:pt x="2582" y="12093"/>
                  </a:cubicBezTo>
                  <a:cubicBezTo>
                    <a:pt x="2620" y="11970"/>
                    <a:pt x="2620" y="11970"/>
                    <a:pt x="2620" y="11970"/>
                  </a:cubicBezTo>
                  <a:cubicBezTo>
                    <a:pt x="2375" y="11959"/>
                    <a:pt x="2375" y="11959"/>
                    <a:pt x="2375" y="11959"/>
                  </a:cubicBezTo>
                  <a:cubicBezTo>
                    <a:pt x="2391" y="11912"/>
                    <a:pt x="2430" y="11797"/>
                    <a:pt x="2442" y="11767"/>
                  </a:cubicBezTo>
                  <a:lnTo>
                    <a:pt x="2512" y="11762"/>
                  </a:lnTo>
                  <a:close/>
                  <a:moveTo>
                    <a:pt x="2340" y="11730"/>
                  </a:moveTo>
                  <a:cubicBezTo>
                    <a:pt x="2349" y="11706"/>
                    <a:pt x="2360" y="11681"/>
                    <a:pt x="2371" y="11654"/>
                  </a:cubicBezTo>
                  <a:cubicBezTo>
                    <a:pt x="2399" y="11651"/>
                    <a:pt x="2424" y="11644"/>
                    <a:pt x="2442" y="11634"/>
                  </a:cubicBezTo>
                  <a:cubicBezTo>
                    <a:pt x="2443" y="11638"/>
                    <a:pt x="2445" y="11642"/>
                    <a:pt x="2448" y="11646"/>
                  </a:cubicBezTo>
                  <a:cubicBezTo>
                    <a:pt x="2455" y="11658"/>
                    <a:pt x="2471" y="11669"/>
                    <a:pt x="2496" y="11671"/>
                  </a:cubicBezTo>
                  <a:cubicBezTo>
                    <a:pt x="2505" y="11672"/>
                    <a:pt x="2514" y="11672"/>
                    <a:pt x="2524" y="11672"/>
                  </a:cubicBezTo>
                  <a:cubicBezTo>
                    <a:pt x="2574" y="11671"/>
                    <a:pt x="2636" y="11666"/>
                    <a:pt x="2665" y="11644"/>
                  </a:cubicBezTo>
                  <a:cubicBezTo>
                    <a:pt x="2679" y="11633"/>
                    <a:pt x="2700" y="11612"/>
                    <a:pt x="2721" y="11593"/>
                  </a:cubicBezTo>
                  <a:cubicBezTo>
                    <a:pt x="2742" y="11575"/>
                    <a:pt x="2765" y="11558"/>
                    <a:pt x="2772" y="11558"/>
                  </a:cubicBezTo>
                  <a:cubicBezTo>
                    <a:pt x="2772" y="11558"/>
                    <a:pt x="2772" y="11558"/>
                    <a:pt x="2773" y="11558"/>
                  </a:cubicBezTo>
                  <a:cubicBezTo>
                    <a:pt x="2765" y="11578"/>
                    <a:pt x="2765" y="11578"/>
                    <a:pt x="2765" y="11578"/>
                  </a:cubicBezTo>
                  <a:cubicBezTo>
                    <a:pt x="2673" y="11668"/>
                    <a:pt x="2673" y="11668"/>
                    <a:pt x="2673" y="11668"/>
                  </a:cubicBezTo>
                  <a:cubicBezTo>
                    <a:pt x="2504" y="11717"/>
                    <a:pt x="2504" y="11717"/>
                    <a:pt x="2504" y="11717"/>
                  </a:cubicBezTo>
                  <a:lnTo>
                    <a:pt x="2340" y="11730"/>
                  </a:lnTo>
                  <a:close/>
                  <a:moveTo>
                    <a:pt x="3165" y="11656"/>
                  </a:moveTo>
                  <a:cubicBezTo>
                    <a:pt x="3197" y="11681"/>
                    <a:pt x="3244" y="11738"/>
                    <a:pt x="3282" y="11790"/>
                  </a:cubicBezTo>
                  <a:cubicBezTo>
                    <a:pt x="3301" y="11814"/>
                    <a:pt x="3317" y="11837"/>
                    <a:pt x="3329" y="11855"/>
                  </a:cubicBezTo>
                  <a:cubicBezTo>
                    <a:pt x="3243" y="11811"/>
                    <a:pt x="3243" y="11811"/>
                    <a:pt x="3243" y="11811"/>
                  </a:cubicBezTo>
                  <a:cubicBezTo>
                    <a:pt x="3208" y="11799"/>
                    <a:pt x="3208" y="11799"/>
                    <a:pt x="3208" y="11799"/>
                  </a:cubicBezTo>
                  <a:cubicBezTo>
                    <a:pt x="3211" y="11796"/>
                    <a:pt x="3211" y="11796"/>
                    <a:pt x="3211" y="11796"/>
                  </a:cubicBezTo>
                  <a:cubicBezTo>
                    <a:pt x="3211" y="11796"/>
                    <a:pt x="3171" y="11741"/>
                    <a:pt x="3117" y="11685"/>
                  </a:cubicBezTo>
                  <a:cubicBezTo>
                    <a:pt x="3058" y="11626"/>
                    <a:pt x="2988" y="11617"/>
                    <a:pt x="2917" y="11571"/>
                  </a:cubicBezTo>
                  <a:cubicBezTo>
                    <a:pt x="2883" y="11549"/>
                    <a:pt x="2854" y="11538"/>
                    <a:pt x="2830" y="11533"/>
                  </a:cubicBezTo>
                  <a:cubicBezTo>
                    <a:pt x="2873" y="11423"/>
                    <a:pt x="2873" y="11423"/>
                    <a:pt x="2873" y="11423"/>
                  </a:cubicBezTo>
                  <a:cubicBezTo>
                    <a:pt x="2878" y="11432"/>
                    <a:pt x="2884" y="11444"/>
                    <a:pt x="2890" y="11456"/>
                  </a:cubicBezTo>
                  <a:cubicBezTo>
                    <a:pt x="2904" y="11483"/>
                    <a:pt x="2917" y="11509"/>
                    <a:pt x="2922" y="11515"/>
                  </a:cubicBezTo>
                  <a:cubicBezTo>
                    <a:pt x="2923" y="11516"/>
                    <a:pt x="2922" y="11517"/>
                    <a:pt x="2925" y="11518"/>
                  </a:cubicBezTo>
                  <a:cubicBezTo>
                    <a:pt x="2925" y="11518"/>
                    <a:pt x="2925" y="11518"/>
                    <a:pt x="2925" y="11518"/>
                  </a:cubicBezTo>
                  <a:cubicBezTo>
                    <a:pt x="2975" y="11538"/>
                    <a:pt x="3099" y="11605"/>
                    <a:pt x="3165" y="11656"/>
                  </a:cubicBezTo>
                  <a:close/>
                  <a:moveTo>
                    <a:pt x="3255" y="11384"/>
                  </a:moveTo>
                  <a:cubicBezTo>
                    <a:pt x="3222" y="11418"/>
                    <a:pt x="3222" y="11418"/>
                    <a:pt x="3222" y="11418"/>
                  </a:cubicBezTo>
                  <a:cubicBezTo>
                    <a:pt x="3221" y="11417"/>
                    <a:pt x="3221" y="11417"/>
                    <a:pt x="3221" y="11417"/>
                  </a:cubicBezTo>
                  <a:cubicBezTo>
                    <a:pt x="3221" y="11418"/>
                    <a:pt x="3221" y="11418"/>
                    <a:pt x="3221" y="11418"/>
                  </a:cubicBezTo>
                  <a:cubicBezTo>
                    <a:pt x="3122" y="11340"/>
                    <a:pt x="3122" y="11340"/>
                    <a:pt x="3122" y="11340"/>
                  </a:cubicBezTo>
                  <a:cubicBezTo>
                    <a:pt x="3141" y="11316"/>
                    <a:pt x="3141" y="11316"/>
                    <a:pt x="3141" y="11316"/>
                  </a:cubicBezTo>
                  <a:cubicBezTo>
                    <a:pt x="3138" y="11322"/>
                    <a:pt x="3138" y="11322"/>
                    <a:pt x="3138" y="11322"/>
                  </a:cubicBezTo>
                  <a:lnTo>
                    <a:pt x="3255" y="11384"/>
                  </a:lnTo>
                  <a:close/>
                  <a:moveTo>
                    <a:pt x="4307" y="11635"/>
                  </a:moveTo>
                  <a:cubicBezTo>
                    <a:pt x="4296" y="11901"/>
                    <a:pt x="4296" y="11901"/>
                    <a:pt x="4296" y="11901"/>
                  </a:cubicBezTo>
                  <a:cubicBezTo>
                    <a:pt x="4233" y="11989"/>
                    <a:pt x="4233" y="11989"/>
                    <a:pt x="4233" y="11989"/>
                  </a:cubicBezTo>
                  <a:cubicBezTo>
                    <a:pt x="3632" y="11203"/>
                    <a:pt x="3632" y="11203"/>
                    <a:pt x="3632" y="11203"/>
                  </a:cubicBezTo>
                  <a:cubicBezTo>
                    <a:pt x="3951" y="11093"/>
                    <a:pt x="3951" y="11093"/>
                    <a:pt x="3951" y="11093"/>
                  </a:cubicBezTo>
                  <a:cubicBezTo>
                    <a:pt x="3949" y="11095"/>
                    <a:pt x="3949" y="11095"/>
                    <a:pt x="3949" y="11095"/>
                  </a:cubicBezTo>
                  <a:lnTo>
                    <a:pt x="4307" y="11635"/>
                  </a:lnTo>
                  <a:close/>
                  <a:moveTo>
                    <a:pt x="5824" y="9169"/>
                  </a:moveTo>
                  <a:cubicBezTo>
                    <a:pt x="6007" y="9202"/>
                    <a:pt x="6007" y="9202"/>
                    <a:pt x="6007" y="9202"/>
                  </a:cubicBezTo>
                  <a:cubicBezTo>
                    <a:pt x="5964" y="9320"/>
                    <a:pt x="5964" y="9320"/>
                    <a:pt x="5964" y="9320"/>
                  </a:cubicBezTo>
                  <a:cubicBezTo>
                    <a:pt x="5789" y="9290"/>
                    <a:pt x="5789" y="9290"/>
                    <a:pt x="5789" y="9290"/>
                  </a:cubicBezTo>
                  <a:lnTo>
                    <a:pt x="5824" y="9169"/>
                  </a:lnTo>
                  <a:close/>
                  <a:moveTo>
                    <a:pt x="5792" y="9224"/>
                  </a:moveTo>
                  <a:cubicBezTo>
                    <a:pt x="5793" y="9227"/>
                    <a:pt x="5793" y="9227"/>
                    <a:pt x="5793" y="9227"/>
                  </a:cubicBezTo>
                  <a:cubicBezTo>
                    <a:pt x="5793" y="9227"/>
                    <a:pt x="5793" y="9227"/>
                    <a:pt x="5793" y="9227"/>
                  </a:cubicBezTo>
                  <a:lnTo>
                    <a:pt x="5792" y="9224"/>
                  </a:lnTo>
                  <a:close/>
                  <a:moveTo>
                    <a:pt x="5825" y="9745"/>
                  </a:moveTo>
                  <a:cubicBezTo>
                    <a:pt x="5872" y="9616"/>
                    <a:pt x="5872" y="9616"/>
                    <a:pt x="5872" y="9616"/>
                  </a:cubicBezTo>
                  <a:cubicBezTo>
                    <a:pt x="5999" y="9636"/>
                    <a:pt x="5999" y="9636"/>
                    <a:pt x="5999" y="9636"/>
                  </a:cubicBezTo>
                  <a:cubicBezTo>
                    <a:pt x="5958" y="9751"/>
                    <a:pt x="5958" y="9751"/>
                    <a:pt x="5958" y="9751"/>
                  </a:cubicBezTo>
                  <a:cubicBezTo>
                    <a:pt x="5917" y="9749"/>
                    <a:pt x="5870" y="9747"/>
                    <a:pt x="5825" y="9745"/>
                  </a:cubicBezTo>
                  <a:close/>
                  <a:moveTo>
                    <a:pt x="5953" y="9764"/>
                  </a:moveTo>
                  <a:cubicBezTo>
                    <a:pt x="5894" y="9926"/>
                    <a:pt x="5894" y="9926"/>
                    <a:pt x="5894" y="9926"/>
                  </a:cubicBezTo>
                  <a:cubicBezTo>
                    <a:pt x="5776" y="9881"/>
                    <a:pt x="5776" y="9881"/>
                    <a:pt x="5776" y="9881"/>
                  </a:cubicBezTo>
                  <a:cubicBezTo>
                    <a:pt x="5820" y="9759"/>
                    <a:pt x="5820" y="9759"/>
                    <a:pt x="5820" y="9759"/>
                  </a:cubicBezTo>
                  <a:cubicBezTo>
                    <a:pt x="5864" y="9761"/>
                    <a:pt x="5912" y="9763"/>
                    <a:pt x="5953" y="9764"/>
                  </a:cubicBezTo>
                  <a:close/>
                  <a:moveTo>
                    <a:pt x="5169" y="11616"/>
                  </a:moveTo>
                  <a:cubicBezTo>
                    <a:pt x="5169" y="11613"/>
                    <a:pt x="5169" y="11610"/>
                    <a:pt x="5169" y="11607"/>
                  </a:cubicBezTo>
                  <a:cubicBezTo>
                    <a:pt x="5169" y="11578"/>
                    <a:pt x="5167" y="11550"/>
                    <a:pt x="5161" y="11522"/>
                  </a:cubicBezTo>
                  <a:cubicBezTo>
                    <a:pt x="5155" y="11492"/>
                    <a:pt x="5139" y="11366"/>
                    <a:pt x="5119" y="11203"/>
                  </a:cubicBezTo>
                  <a:cubicBezTo>
                    <a:pt x="5589" y="11144"/>
                    <a:pt x="5589" y="11144"/>
                    <a:pt x="5589" y="11144"/>
                  </a:cubicBezTo>
                  <a:cubicBezTo>
                    <a:pt x="5868" y="11166"/>
                    <a:pt x="5868" y="11166"/>
                    <a:pt x="5868" y="11166"/>
                  </a:cubicBezTo>
                  <a:cubicBezTo>
                    <a:pt x="5848" y="11420"/>
                    <a:pt x="5848" y="11420"/>
                    <a:pt x="5848" y="11420"/>
                  </a:cubicBezTo>
                  <a:cubicBezTo>
                    <a:pt x="5809" y="11423"/>
                    <a:pt x="5728" y="11427"/>
                    <a:pt x="5728" y="11427"/>
                  </a:cubicBezTo>
                  <a:cubicBezTo>
                    <a:pt x="5727" y="11428"/>
                    <a:pt x="5727" y="11428"/>
                    <a:pt x="5727" y="11428"/>
                  </a:cubicBezTo>
                  <a:lnTo>
                    <a:pt x="5169" y="11616"/>
                  </a:lnTo>
                  <a:close/>
                  <a:moveTo>
                    <a:pt x="5424" y="11545"/>
                  </a:moveTo>
                  <a:cubicBezTo>
                    <a:pt x="5625" y="11705"/>
                    <a:pt x="5625" y="11705"/>
                    <a:pt x="5625" y="11705"/>
                  </a:cubicBezTo>
                  <a:cubicBezTo>
                    <a:pt x="5628" y="11724"/>
                    <a:pt x="5643" y="11835"/>
                    <a:pt x="5650" y="11880"/>
                  </a:cubicBezTo>
                  <a:cubicBezTo>
                    <a:pt x="5326" y="11851"/>
                    <a:pt x="5326" y="11851"/>
                    <a:pt x="5326" y="11851"/>
                  </a:cubicBezTo>
                  <a:cubicBezTo>
                    <a:pt x="5325" y="11844"/>
                    <a:pt x="5325" y="11834"/>
                    <a:pt x="5325" y="11822"/>
                  </a:cubicBezTo>
                  <a:cubicBezTo>
                    <a:pt x="5323" y="11797"/>
                    <a:pt x="5322" y="11763"/>
                    <a:pt x="5321" y="11729"/>
                  </a:cubicBezTo>
                  <a:cubicBezTo>
                    <a:pt x="5318" y="11666"/>
                    <a:pt x="5315" y="11603"/>
                    <a:pt x="5312" y="11582"/>
                  </a:cubicBezTo>
                  <a:lnTo>
                    <a:pt x="5424" y="11545"/>
                  </a:lnTo>
                  <a:close/>
                  <a:moveTo>
                    <a:pt x="5312" y="11850"/>
                  </a:moveTo>
                  <a:cubicBezTo>
                    <a:pt x="5137" y="11834"/>
                    <a:pt x="5137" y="11834"/>
                    <a:pt x="5137" y="11834"/>
                  </a:cubicBezTo>
                  <a:cubicBezTo>
                    <a:pt x="5151" y="11774"/>
                    <a:pt x="5165" y="11703"/>
                    <a:pt x="5168" y="11631"/>
                  </a:cubicBezTo>
                  <a:cubicBezTo>
                    <a:pt x="5298" y="11587"/>
                    <a:pt x="5298" y="11587"/>
                    <a:pt x="5298" y="11587"/>
                  </a:cubicBezTo>
                  <a:cubicBezTo>
                    <a:pt x="5299" y="11588"/>
                    <a:pt x="5299" y="11589"/>
                    <a:pt x="5299" y="11590"/>
                  </a:cubicBezTo>
                  <a:cubicBezTo>
                    <a:pt x="5300" y="11597"/>
                    <a:pt x="5300" y="11607"/>
                    <a:pt x="5301" y="11618"/>
                  </a:cubicBezTo>
                  <a:cubicBezTo>
                    <a:pt x="5303" y="11642"/>
                    <a:pt x="5304" y="11674"/>
                    <a:pt x="5306" y="11707"/>
                  </a:cubicBezTo>
                  <a:cubicBezTo>
                    <a:pt x="5308" y="11764"/>
                    <a:pt x="5310" y="11823"/>
                    <a:pt x="5312" y="11850"/>
                  </a:cubicBezTo>
                  <a:close/>
                  <a:moveTo>
                    <a:pt x="5126" y="11882"/>
                  </a:moveTo>
                  <a:cubicBezTo>
                    <a:pt x="5126" y="11881"/>
                    <a:pt x="5126" y="11880"/>
                    <a:pt x="5127" y="11879"/>
                  </a:cubicBezTo>
                  <a:cubicBezTo>
                    <a:pt x="5467" y="11909"/>
                    <a:pt x="5467" y="11909"/>
                    <a:pt x="5467" y="11909"/>
                  </a:cubicBezTo>
                  <a:cubicBezTo>
                    <a:pt x="5448" y="12001"/>
                    <a:pt x="5448" y="12001"/>
                    <a:pt x="5448" y="12001"/>
                  </a:cubicBezTo>
                  <a:cubicBezTo>
                    <a:pt x="5410" y="12000"/>
                    <a:pt x="5108" y="11978"/>
                    <a:pt x="5089" y="11977"/>
                  </a:cubicBezTo>
                  <a:cubicBezTo>
                    <a:pt x="5105" y="11945"/>
                    <a:pt x="5118" y="11914"/>
                    <a:pt x="5126" y="11882"/>
                  </a:cubicBezTo>
                  <a:close/>
                  <a:moveTo>
                    <a:pt x="5261" y="12117"/>
                  </a:moveTo>
                  <a:cubicBezTo>
                    <a:pt x="5266" y="12013"/>
                    <a:pt x="5266" y="12013"/>
                    <a:pt x="5266" y="12013"/>
                  </a:cubicBezTo>
                  <a:cubicBezTo>
                    <a:pt x="5118" y="12006"/>
                    <a:pt x="5118" y="12006"/>
                    <a:pt x="5118" y="12006"/>
                  </a:cubicBezTo>
                  <a:cubicBezTo>
                    <a:pt x="5114" y="12103"/>
                    <a:pt x="5114" y="12103"/>
                    <a:pt x="5114" y="12103"/>
                  </a:cubicBezTo>
                  <a:cubicBezTo>
                    <a:pt x="5113" y="12109"/>
                    <a:pt x="5113" y="12109"/>
                    <a:pt x="5113" y="12109"/>
                  </a:cubicBezTo>
                  <a:cubicBezTo>
                    <a:pt x="5072" y="12106"/>
                    <a:pt x="5035" y="12104"/>
                    <a:pt x="5011" y="12102"/>
                  </a:cubicBezTo>
                  <a:cubicBezTo>
                    <a:pt x="5038" y="12063"/>
                    <a:pt x="5065" y="12022"/>
                    <a:pt x="5087" y="11981"/>
                  </a:cubicBezTo>
                  <a:cubicBezTo>
                    <a:pt x="5086" y="11991"/>
                    <a:pt x="5086" y="11991"/>
                    <a:pt x="5086" y="11991"/>
                  </a:cubicBezTo>
                  <a:cubicBezTo>
                    <a:pt x="5086" y="11991"/>
                    <a:pt x="5394" y="12013"/>
                    <a:pt x="5445" y="12015"/>
                  </a:cubicBezTo>
                  <a:cubicBezTo>
                    <a:pt x="5422" y="12130"/>
                    <a:pt x="5422" y="12130"/>
                    <a:pt x="5422" y="12130"/>
                  </a:cubicBezTo>
                  <a:cubicBezTo>
                    <a:pt x="5395" y="12128"/>
                    <a:pt x="5288" y="12120"/>
                    <a:pt x="5185" y="12113"/>
                  </a:cubicBezTo>
                  <a:lnTo>
                    <a:pt x="5261" y="12117"/>
                  </a:lnTo>
                  <a:close/>
                  <a:moveTo>
                    <a:pt x="5127" y="12098"/>
                  </a:moveTo>
                  <a:cubicBezTo>
                    <a:pt x="5130" y="12019"/>
                    <a:pt x="5130" y="12019"/>
                    <a:pt x="5130" y="12019"/>
                  </a:cubicBezTo>
                  <a:cubicBezTo>
                    <a:pt x="5252" y="12025"/>
                    <a:pt x="5252" y="12025"/>
                    <a:pt x="5252" y="12025"/>
                  </a:cubicBezTo>
                  <a:cubicBezTo>
                    <a:pt x="5249" y="12103"/>
                    <a:pt x="5249" y="12103"/>
                    <a:pt x="5249" y="12103"/>
                  </a:cubicBezTo>
                  <a:lnTo>
                    <a:pt x="5127" y="12098"/>
                  </a:lnTo>
                  <a:close/>
                  <a:moveTo>
                    <a:pt x="5077" y="11800"/>
                  </a:moveTo>
                  <a:cubicBezTo>
                    <a:pt x="5034" y="11745"/>
                    <a:pt x="4964" y="11654"/>
                    <a:pt x="4889" y="11558"/>
                  </a:cubicBezTo>
                  <a:cubicBezTo>
                    <a:pt x="4864" y="11526"/>
                    <a:pt x="4839" y="11492"/>
                    <a:pt x="4814" y="11460"/>
                  </a:cubicBezTo>
                  <a:cubicBezTo>
                    <a:pt x="4842" y="11460"/>
                    <a:pt x="4898" y="11460"/>
                    <a:pt x="4954" y="11460"/>
                  </a:cubicBezTo>
                  <a:cubicBezTo>
                    <a:pt x="5005" y="11460"/>
                    <a:pt x="5057" y="11461"/>
                    <a:pt x="5086" y="11461"/>
                  </a:cubicBezTo>
                  <a:cubicBezTo>
                    <a:pt x="5091" y="11496"/>
                    <a:pt x="5094" y="11522"/>
                    <a:pt x="5097" y="11534"/>
                  </a:cubicBezTo>
                  <a:cubicBezTo>
                    <a:pt x="5101" y="11557"/>
                    <a:pt x="5103" y="11582"/>
                    <a:pt x="5103" y="11607"/>
                  </a:cubicBezTo>
                  <a:cubicBezTo>
                    <a:pt x="5103" y="11671"/>
                    <a:pt x="5091" y="11739"/>
                    <a:pt x="5077" y="11800"/>
                  </a:cubicBezTo>
                  <a:close/>
                  <a:moveTo>
                    <a:pt x="4954" y="11446"/>
                  </a:moveTo>
                  <a:cubicBezTo>
                    <a:pt x="4889" y="11446"/>
                    <a:pt x="4824" y="11446"/>
                    <a:pt x="4803" y="11446"/>
                  </a:cubicBezTo>
                  <a:cubicBezTo>
                    <a:pt x="4780" y="11416"/>
                    <a:pt x="4757" y="11386"/>
                    <a:pt x="4736" y="11358"/>
                  </a:cubicBezTo>
                  <a:cubicBezTo>
                    <a:pt x="5066" y="11307"/>
                    <a:pt x="5066" y="11307"/>
                    <a:pt x="5066" y="11307"/>
                  </a:cubicBezTo>
                  <a:cubicBezTo>
                    <a:pt x="5073" y="11362"/>
                    <a:pt x="5079" y="11409"/>
                    <a:pt x="5084" y="11447"/>
                  </a:cubicBezTo>
                  <a:cubicBezTo>
                    <a:pt x="5054" y="11447"/>
                    <a:pt x="5005" y="11446"/>
                    <a:pt x="4954" y="11446"/>
                  </a:cubicBezTo>
                  <a:close/>
                  <a:moveTo>
                    <a:pt x="4726" y="11346"/>
                  </a:moveTo>
                  <a:cubicBezTo>
                    <a:pt x="4684" y="11290"/>
                    <a:pt x="4647" y="11241"/>
                    <a:pt x="4623" y="11209"/>
                  </a:cubicBezTo>
                  <a:cubicBezTo>
                    <a:pt x="4686" y="11202"/>
                    <a:pt x="4960" y="11164"/>
                    <a:pt x="5047" y="11152"/>
                  </a:cubicBezTo>
                  <a:cubicBezTo>
                    <a:pt x="5053" y="11202"/>
                    <a:pt x="5059" y="11250"/>
                    <a:pt x="5064" y="11293"/>
                  </a:cubicBezTo>
                  <a:lnTo>
                    <a:pt x="4726" y="11346"/>
                  </a:lnTo>
                  <a:close/>
                  <a:moveTo>
                    <a:pt x="5027" y="10990"/>
                  </a:moveTo>
                  <a:cubicBezTo>
                    <a:pt x="5033" y="11041"/>
                    <a:pt x="5039" y="11090"/>
                    <a:pt x="5045" y="11138"/>
                  </a:cubicBezTo>
                  <a:cubicBezTo>
                    <a:pt x="5006" y="11143"/>
                    <a:pt x="4927" y="11154"/>
                    <a:pt x="4847" y="11165"/>
                  </a:cubicBezTo>
                  <a:cubicBezTo>
                    <a:pt x="4742" y="11180"/>
                    <a:pt x="4633" y="11194"/>
                    <a:pt x="4614" y="11196"/>
                  </a:cubicBezTo>
                  <a:cubicBezTo>
                    <a:pt x="4610" y="11190"/>
                    <a:pt x="4607" y="11185"/>
                    <a:pt x="4604" y="11181"/>
                  </a:cubicBezTo>
                  <a:cubicBezTo>
                    <a:pt x="4586" y="11155"/>
                    <a:pt x="4581" y="11136"/>
                    <a:pt x="4581" y="11122"/>
                  </a:cubicBezTo>
                  <a:cubicBezTo>
                    <a:pt x="4581" y="11104"/>
                    <a:pt x="4589" y="11091"/>
                    <a:pt x="4602" y="11079"/>
                  </a:cubicBezTo>
                  <a:cubicBezTo>
                    <a:pt x="4614" y="11067"/>
                    <a:pt x="4631" y="11058"/>
                    <a:pt x="4641" y="11055"/>
                  </a:cubicBezTo>
                  <a:cubicBezTo>
                    <a:pt x="4641" y="11055"/>
                    <a:pt x="4651" y="11052"/>
                    <a:pt x="4664" y="11050"/>
                  </a:cubicBezTo>
                  <a:cubicBezTo>
                    <a:pt x="4677" y="11047"/>
                    <a:pt x="4695" y="11044"/>
                    <a:pt x="4715" y="11040"/>
                  </a:cubicBezTo>
                  <a:cubicBezTo>
                    <a:pt x="4755" y="11033"/>
                    <a:pt x="4806" y="11025"/>
                    <a:pt x="4856" y="11017"/>
                  </a:cubicBezTo>
                  <a:cubicBezTo>
                    <a:pt x="4926" y="11005"/>
                    <a:pt x="4993" y="10995"/>
                    <a:pt x="5027" y="10990"/>
                  </a:cubicBezTo>
                  <a:close/>
                  <a:moveTo>
                    <a:pt x="4875" y="10947"/>
                  </a:moveTo>
                  <a:cubicBezTo>
                    <a:pt x="4818" y="10619"/>
                    <a:pt x="4818" y="10619"/>
                    <a:pt x="4818" y="10619"/>
                  </a:cubicBezTo>
                  <a:cubicBezTo>
                    <a:pt x="4891" y="10613"/>
                    <a:pt x="4952" y="10607"/>
                    <a:pt x="4982" y="10605"/>
                  </a:cubicBezTo>
                  <a:cubicBezTo>
                    <a:pt x="4989" y="10669"/>
                    <a:pt x="4997" y="10736"/>
                    <a:pt x="5005" y="10803"/>
                  </a:cubicBezTo>
                  <a:cubicBezTo>
                    <a:pt x="5010" y="10844"/>
                    <a:pt x="5015" y="10885"/>
                    <a:pt x="5019" y="10925"/>
                  </a:cubicBezTo>
                  <a:cubicBezTo>
                    <a:pt x="4991" y="10929"/>
                    <a:pt x="4936" y="10938"/>
                    <a:pt x="4875" y="10947"/>
                  </a:cubicBezTo>
                  <a:close/>
                  <a:moveTo>
                    <a:pt x="5021" y="10379"/>
                  </a:moveTo>
                  <a:cubicBezTo>
                    <a:pt x="5105" y="10361"/>
                    <a:pt x="5387" y="10302"/>
                    <a:pt x="5399" y="10300"/>
                  </a:cubicBezTo>
                  <a:cubicBezTo>
                    <a:pt x="5399" y="10300"/>
                    <a:pt x="5399" y="10300"/>
                    <a:pt x="5399" y="10300"/>
                  </a:cubicBezTo>
                  <a:cubicBezTo>
                    <a:pt x="5400" y="10300"/>
                    <a:pt x="5400" y="10299"/>
                    <a:pt x="5401" y="10299"/>
                  </a:cubicBezTo>
                  <a:cubicBezTo>
                    <a:pt x="5402" y="10299"/>
                    <a:pt x="5404" y="10299"/>
                    <a:pt x="5406" y="10299"/>
                  </a:cubicBezTo>
                  <a:cubicBezTo>
                    <a:pt x="5410" y="10299"/>
                    <a:pt x="5417" y="10299"/>
                    <a:pt x="5424" y="10299"/>
                  </a:cubicBezTo>
                  <a:cubicBezTo>
                    <a:pt x="5440" y="10298"/>
                    <a:pt x="5462" y="10298"/>
                    <a:pt x="5489" y="10297"/>
                  </a:cubicBezTo>
                  <a:cubicBezTo>
                    <a:pt x="5541" y="10296"/>
                    <a:pt x="5611" y="10294"/>
                    <a:pt x="5680" y="10293"/>
                  </a:cubicBezTo>
                  <a:cubicBezTo>
                    <a:pt x="5785" y="10291"/>
                    <a:pt x="5890" y="10289"/>
                    <a:pt x="5934" y="10288"/>
                  </a:cubicBezTo>
                  <a:cubicBezTo>
                    <a:pt x="5912" y="10576"/>
                    <a:pt x="5912" y="10576"/>
                    <a:pt x="5912" y="10576"/>
                  </a:cubicBezTo>
                  <a:cubicBezTo>
                    <a:pt x="5902" y="10576"/>
                    <a:pt x="5890" y="10576"/>
                    <a:pt x="5874" y="10576"/>
                  </a:cubicBezTo>
                  <a:cubicBezTo>
                    <a:pt x="5736" y="10576"/>
                    <a:pt x="5396" y="10579"/>
                    <a:pt x="5396" y="10579"/>
                  </a:cubicBezTo>
                  <a:cubicBezTo>
                    <a:pt x="5395" y="10579"/>
                    <a:pt x="5395" y="10579"/>
                    <a:pt x="5395" y="10579"/>
                  </a:cubicBezTo>
                  <a:cubicBezTo>
                    <a:pt x="5053" y="10647"/>
                    <a:pt x="5053" y="10647"/>
                    <a:pt x="5053" y="10647"/>
                  </a:cubicBezTo>
                  <a:cubicBezTo>
                    <a:pt x="5041" y="10549"/>
                    <a:pt x="5030" y="10457"/>
                    <a:pt x="5021" y="10379"/>
                  </a:cubicBezTo>
                  <a:close/>
                  <a:moveTo>
                    <a:pt x="5488" y="10283"/>
                  </a:moveTo>
                  <a:cubicBezTo>
                    <a:pt x="5435" y="10284"/>
                    <a:pt x="5401" y="10285"/>
                    <a:pt x="5396" y="10286"/>
                  </a:cubicBezTo>
                  <a:cubicBezTo>
                    <a:pt x="5390" y="10288"/>
                    <a:pt x="5106" y="10347"/>
                    <a:pt x="5020" y="10365"/>
                  </a:cubicBezTo>
                  <a:cubicBezTo>
                    <a:pt x="5009" y="10271"/>
                    <a:pt x="5001" y="10200"/>
                    <a:pt x="4997" y="10170"/>
                  </a:cubicBezTo>
                  <a:cubicBezTo>
                    <a:pt x="5347" y="10100"/>
                    <a:pt x="5707" y="10068"/>
                    <a:pt x="5952" y="10053"/>
                  </a:cubicBezTo>
                  <a:cubicBezTo>
                    <a:pt x="5935" y="10274"/>
                    <a:pt x="5935" y="10274"/>
                    <a:pt x="5935" y="10274"/>
                  </a:cubicBezTo>
                  <a:cubicBezTo>
                    <a:pt x="5865" y="10275"/>
                    <a:pt x="5622" y="10280"/>
                    <a:pt x="5488" y="10283"/>
                  </a:cubicBezTo>
                  <a:close/>
                  <a:moveTo>
                    <a:pt x="5172" y="10071"/>
                  </a:moveTo>
                  <a:cubicBezTo>
                    <a:pt x="5185" y="9687"/>
                    <a:pt x="5185" y="9687"/>
                    <a:pt x="5185" y="9687"/>
                  </a:cubicBezTo>
                  <a:cubicBezTo>
                    <a:pt x="5281" y="9685"/>
                    <a:pt x="5354" y="9683"/>
                    <a:pt x="5380" y="9683"/>
                  </a:cubicBezTo>
                  <a:cubicBezTo>
                    <a:pt x="5377" y="9742"/>
                    <a:pt x="5372" y="9806"/>
                    <a:pt x="5368" y="9864"/>
                  </a:cubicBezTo>
                  <a:cubicBezTo>
                    <a:pt x="5362" y="9943"/>
                    <a:pt x="5355" y="10011"/>
                    <a:pt x="5352" y="10045"/>
                  </a:cubicBezTo>
                  <a:cubicBezTo>
                    <a:pt x="5293" y="10053"/>
                    <a:pt x="5233" y="10061"/>
                    <a:pt x="5172" y="10071"/>
                  </a:cubicBezTo>
                  <a:close/>
                  <a:moveTo>
                    <a:pt x="5387" y="9324"/>
                  </a:moveTo>
                  <a:cubicBezTo>
                    <a:pt x="5751" y="9370"/>
                    <a:pt x="5751" y="9370"/>
                    <a:pt x="5751" y="9370"/>
                  </a:cubicBezTo>
                  <a:cubicBezTo>
                    <a:pt x="5713" y="9505"/>
                    <a:pt x="5713" y="9505"/>
                    <a:pt x="5713" y="9505"/>
                  </a:cubicBezTo>
                  <a:cubicBezTo>
                    <a:pt x="5691" y="9503"/>
                    <a:pt x="5624" y="9492"/>
                    <a:pt x="5560" y="9481"/>
                  </a:cubicBezTo>
                  <a:cubicBezTo>
                    <a:pt x="5504" y="9472"/>
                    <a:pt x="5450" y="9463"/>
                    <a:pt x="5424" y="9459"/>
                  </a:cubicBezTo>
                  <a:cubicBezTo>
                    <a:pt x="5417" y="9413"/>
                    <a:pt x="5403" y="9366"/>
                    <a:pt x="5387" y="9324"/>
                  </a:cubicBezTo>
                  <a:close/>
                  <a:moveTo>
                    <a:pt x="5428" y="9633"/>
                  </a:moveTo>
                  <a:cubicBezTo>
                    <a:pt x="5672" y="9654"/>
                    <a:pt x="5672" y="9654"/>
                    <a:pt x="5672" y="9654"/>
                  </a:cubicBezTo>
                  <a:cubicBezTo>
                    <a:pt x="5675" y="9802"/>
                    <a:pt x="5675" y="9802"/>
                    <a:pt x="5675" y="9802"/>
                  </a:cubicBezTo>
                  <a:cubicBezTo>
                    <a:pt x="5415" y="9843"/>
                    <a:pt x="5415" y="9843"/>
                    <a:pt x="5415" y="9843"/>
                  </a:cubicBezTo>
                  <a:cubicBezTo>
                    <a:pt x="5420" y="9773"/>
                    <a:pt x="5425" y="9698"/>
                    <a:pt x="5428" y="9633"/>
                  </a:cubicBezTo>
                  <a:close/>
                  <a:moveTo>
                    <a:pt x="5398" y="10039"/>
                  </a:moveTo>
                  <a:cubicBezTo>
                    <a:pt x="5402" y="10001"/>
                    <a:pt x="5408" y="9933"/>
                    <a:pt x="5414" y="9857"/>
                  </a:cubicBezTo>
                  <a:cubicBezTo>
                    <a:pt x="5675" y="9816"/>
                    <a:pt x="5675" y="9816"/>
                    <a:pt x="5675" y="9816"/>
                  </a:cubicBezTo>
                  <a:cubicBezTo>
                    <a:pt x="5678" y="10008"/>
                    <a:pt x="5678" y="10008"/>
                    <a:pt x="5678" y="10008"/>
                  </a:cubicBezTo>
                  <a:cubicBezTo>
                    <a:pt x="5590" y="10016"/>
                    <a:pt x="5496" y="10026"/>
                    <a:pt x="5398" y="10039"/>
                  </a:cubicBezTo>
                  <a:close/>
                  <a:moveTo>
                    <a:pt x="5674" y="9641"/>
                  </a:moveTo>
                  <a:cubicBezTo>
                    <a:pt x="5429" y="9619"/>
                    <a:pt x="5429" y="9619"/>
                    <a:pt x="5429" y="9619"/>
                  </a:cubicBezTo>
                  <a:cubicBezTo>
                    <a:pt x="5430" y="9590"/>
                    <a:pt x="5431" y="9562"/>
                    <a:pt x="5431" y="9539"/>
                  </a:cubicBezTo>
                  <a:cubicBezTo>
                    <a:pt x="5431" y="9521"/>
                    <a:pt x="5430" y="9504"/>
                    <a:pt x="5429" y="9491"/>
                  </a:cubicBezTo>
                  <a:cubicBezTo>
                    <a:pt x="5429" y="9485"/>
                    <a:pt x="5427" y="9479"/>
                    <a:pt x="5427" y="9473"/>
                  </a:cubicBezTo>
                  <a:cubicBezTo>
                    <a:pt x="5485" y="9483"/>
                    <a:pt x="5663" y="9513"/>
                    <a:pt x="5709" y="9519"/>
                  </a:cubicBezTo>
                  <a:lnTo>
                    <a:pt x="5674" y="9641"/>
                  </a:lnTo>
                  <a:close/>
                  <a:moveTo>
                    <a:pt x="5785" y="9304"/>
                  </a:moveTo>
                  <a:cubicBezTo>
                    <a:pt x="5959" y="9333"/>
                    <a:pt x="5959" y="9333"/>
                    <a:pt x="5959" y="9333"/>
                  </a:cubicBezTo>
                  <a:cubicBezTo>
                    <a:pt x="5913" y="9461"/>
                    <a:pt x="5913" y="9461"/>
                    <a:pt x="5913" y="9461"/>
                  </a:cubicBezTo>
                  <a:cubicBezTo>
                    <a:pt x="5750" y="9436"/>
                    <a:pt x="5750" y="9436"/>
                    <a:pt x="5750" y="9436"/>
                  </a:cubicBezTo>
                  <a:cubicBezTo>
                    <a:pt x="5748" y="9450"/>
                    <a:pt x="5748" y="9450"/>
                    <a:pt x="5748" y="9450"/>
                  </a:cubicBezTo>
                  <a:cubicBezTo>
                    <a:pt x="5909" y="9475"/>
                    <a:pt x="5909" y="9475"/>
                    <a:pt x="5909" y="9475"/>
                  </a:cubicBezTo>
                  <a:cubicBezTo>
                    <a:pt x="5863" y="9600"/>
                    <a:pt x="5863" y="9600"/>
                    <a:pt x="5863" y="9600"/>
                  </a:cubicBezTo>
                  <a:cubicBezTo>
                    <a:pt x="5707" y="9575"/>
                    <a:pt x="5707" y="9575"/>
                    <a:pt x="5707" y="9575"/>
                  </a:cubicBezTo>
                  <a:lnTo>
                    <a:pt x="5785" y="9304"/>
                  </a:lnTo>
                  <a:close/>
                  <a:moveTo>
                    <a:pt x="5877" y="9602"/>
                  </a:moveTo>
                  <a:cubicBezTo>
                    <a:pt x="5922" y="9477"/>
                    <a:pt x="5922" y="9477"/>
                    <a:pt x="5922" y="9477"/>
                  </a:cubicBezTo>
                  <a:cubicBezTo>
                    <a:pt x="6049" y="9497"/>
                    <a:pt x="6049" y="9497"/>
                    <a:pt x="6049" y="9497"/>
                  </a:cubicBezTo>
                  <a:cubicBezTo>
                    <a:pt x="6003" y="9623"/>
                    <a:pt x="6003" y="9623"/>
                    <a:pt x="6003" y="9623"/>
                  </a:cubicBezTo>
                  <a:lnTo>
                    <a:pt x="5877" y="9602"/>
                  </a:lnTo>
                  <a:close/>
                  <a:moveTo>
                    <a:pt x="5927" y="9463"/>
                  </a:moveTo>
                  <a:cubicBezTo>
                    <a:pt x="5973" y="9336"/>
                    <a:pt x="5973" y="9336"/>
                    <a:pt x="5973" y="9336"/>
                  </a:cubicBezTo>
                  <a:cubicBezTo>
                    <a:pt x="6099" y="9357"/>
                    <a:pt x="6099" y="9357"/>
                    <a:pt x="6099" y="9357"/>
                  </a:cubicBezTo>
                  <a:cubicBezTo>
                    <a:pt x="6054" y="9483"/>
                    <a:pt x="6054" y="9483"/>
                    <a:pt x="6054" y="9483"/>
                  </a:cubicBezTo>
                  <a:lnTo>
                    <a:pt x="5927" y="9463"/>
                  </a:lnTo>
                  <a:close/>
                  <a:moveTo>
                    <a:pt x="5977" y="9322"/>
                  </a:moveTo>
                  <a:cubicBezTo>
                    <a:pt x="6020" y="9205"/>
                    <a:pt x="6020" y="9205"/>
                    <a:pt x="6020" y="9205"/>
                  </a:cubicBezTo>
                  <a:cubicBezTo>
                    <a:pt x="6145" y="9228"/>
                    <a:pt x="6145" y="9228"/>
                    <a:pt x="6145" y="9228"/>
                  </a:cubicBezTo>
                  <a:cubicBezTo>
                    <a:pt x="6104" y="9344"/>
                    <a:pt x="6104" y="9344"/>
                    <a:pt x="6104" y="9344"/>
                  </a:cubicBezTo>
                  <a:lnTo>
                    <a:pt x="5977" y="9322"/>
                  </a:lnTo>
                  <a:close/>
                  <a:moveTo>
                    <a:pt x="6024" y="9191"/>
                  </a:moveTo>
                  <a:cubicBezTo>
                    <a:pt x="6065" y="9078"/>
                    <a:pt x="6065" y="9078"/>
                    <a:pt x="6065" y="9078"/>
                  </a:cubicBezTo>
                  <a:cubicBezTo>
                    <a:pt x="6189" y="9106"/>
                    <a:pt x="6189" y="9106"/>
                    <a:pt x="6189" y="9106"/>
                  </a:cubicBezTo>
                  <a:cubicBezTo>
                    <a:pt x="6150" y="9215"/>
                    <a:pt x="6150" y="9215"/>
                    <a:pt x="6150" y="9215"/>
                  </a:cubicBezTo>
                  <a:lnTo>
                    <a:pt x="6024" y="9191"/>
                  </a:lnTo>
                  <a:close/>
                  <a:moveTo>
                    <a:pt x="6070" y="9065"/>
                  </a:moveTo>
                  <a:cubicBezTo>
                    <a:pt x="6112" y="8947"/>
                    <a:pt x="6112" y="8947"/>
                    <a:pt x="6112" y="8947"/>
                  </a:cubicBezTo>
                  <a:cubicBezTo>
                    <a:pt x="6238" y="8969"/>
                    <a:pt x="6238" y="8969"/>
                    <a:pt x="6238" y="8969"/>
                  </a:cubicBezTo>
                  <a:cubicBezTo>
                    <a:pt x="6194" y="9093"/>
                    <a:pt x="6194" y="9093"/>
                    <a:pt x="6194" y="9093"/>
                  </a:cubicBezTo>
                  <a:lnTo>
                    <a:pt x="6070" y="9065"/>
                  </a:lnTo>
                  <a:close/>
                  <a:moveTo>
                    <a:pt x="6117" y="8933"/>
                  </a:moveTo>
                  <a:cubicBezTo>
                    <a:pt x="6154" y="8832"/>
                    <a:pt x="6154" y="8832"/>
                    <a:pt x="6154" y="8832"/>
                  </a:cubicBezTo>
                  <a:cubicBezTo>
                    <a:pt x="6281" y="8851"/>
                    <a:pt x="6281" y="8851"/>
                    <a:pt x="6281" y="8851"/>
                  </a:cubicBezTo>
                  <a:cubicBezTo>
                    <a:pt x="6243" y="8956"/>
                    <a:pt x="6243" y="8956"/>
                    <a:pt x="6243" y="8956"/>
                  </a:cubicBezTo>
                  <a:lnTo>
                    <a:pt x="6117" y="8933"/>
                  </a:lnTo>
                  <a:close/>
                  <a:moveTo>
                    <a:pt x="6158" y="8819"/>
                  </a:moveTo>
                  <a:cubicBezTo>
                    <a:pt x="6205" y="8689"/>
                    <a:pt x="6205" y="8689"/>
                    <a:pt x="6205" y="8689"/>
                  </a:cubicBezTo>
                  <a:cubicBezTo>
                    <a:pt x="6334" y="8703"/>
                    <a:pt x="6334" y="8703"/>
                    <a:pt x="6334" y="8703"/>
                  </a:cubicBezTo>
                  <a:cubicBezTo>
                    <a:pt x="6286" y="8837"/>
                    <a:pt x="6286" y="8837"/>
                    <a:pt x="6286" y="8837"/>
                  </a:cubicBezTo>
                  <a:lnTo>
                    <a:pt x="6158" y="8819"/>
                  </a:lnTo>
                  <a:close/>
                  <a:moveTo>
                    <a:pt x="6145" y="8817"/>
                  </a:moveTo>
                  <a:cubicBezTo>
                    <a:pt x="5838" y="8772"/>
                    <a:pt x="5838" y="8772"/>
                    <a:pt x="5838" y="8772"/>
                  </a:cubicBezTo>
                  <a:cubicBezTo>
                    <a:pt x="5847" y="8734"/>
                    <a:pt x="5857" y="8693"/>
                    <a:pt x="5867" y="8653"/>
                  </a:cubicBezTo>
                  <a:cubicBezTo>
                    <a:pt x="6192" y="8688"/>
                    <a:pt x="6192" y="8688"/>
                    <a:pt x="6192" y="8688"/>
                  </a:cubicBezTo>
                  <a:lnTo>
                    <a:pt x="6145" y="8817"/>
                  </a:lnTo>
                  <a:close/>
                  <a:moveTo>
                    <a:pt x="5837" y="8717"/>
                  </a:moveTo>
                  <a:cubicBezTo>
                    <a:pt x="5460" y="8660"/>
                    <a:pt x="5460" y="8660"/>
                    <a:pt x="5460" y="8660"/>
                  </a:cubicBezTo>
                  <a:cubicBezTo>
                    <a:pt x="5459" y="8652"/>
                    <a:pt x="5459" y="8645"/>
                    <a:pt x="5458" y="8638"/>
                  </a:cubicBezTo>
                  <a:cubicBezTo>
                    <a:pt x="5454" y="8608"/>
                    <a:pt x="5448" y="8568"/>
                    <a:pt x="5441" y="8526"/>
                  </a:cubicBezTo>
                  <a:cubicBezTo>
                    <a:pt x="5474" y="8530"/>
                    <a:pt x="5569" y="8546"/>
                    <a:pt x="5659" y="8562"/>
                  </a:cubicBezTo>
                  <a:cubicBezTo>
                    <a:pt x="5754" y="8579"/>
                    <a:pt x="5847" y="8595"/>
                    <a:pt x="5867" y="8599"/>
                  </a:cubicBezTo>
                  <a:cubicBezTo>
                    <a:pt x="5857" y="8638"/>
                    <a:pt x="5847" y="8678"/>
                    <a:pt x="5837" y="8717"/>
                  </a:cubicBezTo>
                  <a:close/>
                  <a:moveTo>
                    <a:pt x="5834" y="8731"/>
                  </a:moveTo>
                  <a:cubicBezTo>
                    <a:pt x="5826" y="8762"/>
                    <a:pt x="5818" y="8792"/>
                    <a:pt x="5811" y="8820"/>
                  </a:cubicBezTo>
                  <a:cubicBezTo>
                    <a:pt x="5789" y="8816"/>
                    <a:pt x="5494" y="8763"/>
                    <a:pt x="5467" y="8756"/>
                  </a:cubicBezTo>
                  <a:cubicBezTo>
                    <a:pt x="5467" y="8730"/>
                    <a:pt x="5465" y="8702"/>
                    <a:pt x="5462" y="8674"/>
                  </a:cubicBezTo>
                  <a:lnTo>
                    <a:pt x="5834" y="8731"/>
                  </a:lnTo>
                  <a:close/>
                  <a:moveTo>
                    <a:pt x="5467" y="8770"/>
                  </a:moveTo>
                  <a:cubicBezTo>
                    <a:pt x="5470" y="8771"/>
                    <a:pt x="5473" y="8772"/>
                    <a:pt x="5477" y="8772"/>
                  </a:cubicBezTo>
                  <a:cubicBezTo>
                    <a:pt x="5487" y="8774"/>
                    <a:pt x="5500" y="8777"/>
                    <a:pt x="5517" y="8780"/>
                  </a:cubicBezTo>
                  <a:cubicBezTo>
                    <a:pt x="5549" y="8786"/>
                    <a:pt x="5593" y="8794"/>
                    <a:pt x="5636" y="8802"/>
                  </a:cubicBezTo>
                  <a:cubicBezTo>
                    <a:pt x="5715" y="8817"/>
                    <a:pt x="5793" y="8831"/>
                    <a:pt x="5808" y="8834"/>
                  </a:cubicBezTo>
                  <a:cubicBezTo>
                    <a:pt x="5803" y="8852"/>
                    <a:pt x="5798" y="8871"/>
                    <a:pt x="5794" y="8887"/>
                  </a:cubicBezTo>
                  <a:cubicBezTo>
                    <a:pt x="5789" y="8907"/>
                    <a:pt x="5784" y="8925"/>
                    <a:pt x="5780" y="8941"/>
                  </a:cubicBezTo>
                  <a:cubicBezTo>
                    <a:pt x="5781" y="8937"/>
                    <a:pt x="5781" y="8937"/>
                    <a:pt x="5781" y="8937"/>
                  </a:cubicBezTo>
                  <a:cubicBezTo>
                    <a:pt x="5780" y="8937"/>
                    <a:pt x="5521" y="8893"/>
                    <a:pt x="5448" y="8881"/>
                  </a:cubicBezTo>
                  <a:cubicBezTo>
                    <a:pt x="5462" y="8848"/>
                    <a:pt x="5467" y="8810"/>
                    <a:pt x="5467" y="8770"/>
                  </a:cubicBezTo>
                  <a:close/>
                  <a:moveTo>
                    <a:pt x="5782" y="8987"/>
                  </a:moveTo>
                  <a:cubicBezTo>
                    <a:pt x="5785" y="8977"/>
                    <a:pt x="5789" y="8962"/>
                    <a:pt x="5794" y="8943"/>
                  </a:cubicBezTo>
                  <a:cubicBezTo>
                    <a:pt x="5804" y="8906"/>
                    <a:pt x="5817" y="8854"/>
                    <a:pt x="5832" y="8796"/>
                  </a:cubicBezTo>
                  <a:cubicBezTo>
                    <a:pt x="5833" y="8793"/>
                    <a:pt x="5833" y="8789"/>
                    <a:pt x="5834" y="8786"/>
                  </a:cubicBezTo>
                  <a:cubicBezTo>
                    <a:pt x="6140" y="8830"/>
                    <a:pt x="6140" y="8830"/>
                    <a:pt x="6140" y="8830"/>
                  </a:cubicBezTo>
                  <a:cubicBezTo>
                    <a:pt x="6104" y="8931"/>
                    <a:pt x="6104" y="8931"/>
                    <a:pt x="6104" y="8931"/>
                  </a:cubicBezTo>
                  <a:cubicBezTo>
                    <a:pt x="5812" y="8879"/>
                    <a:pt x="5812" y="8879"/>
                    <a:pt x="5812" y="8879"/>
                  </a:cubicBezTo>
                  <a:cubicBezTo>
                    <a:pt x="5809" y="8892"/>
                    <a:pt x="5809" y="8892"/>
                    <a:pt x="5809" y="8892"/>
                  </a:cubicBezTo>
                  <a:cubicBezTo>
                    <a:pt x="6099" y="8944"/>
                    <a:pt x="6099" y="8944"/>
                    <a:pt x="6099" y="8944"/>
                  </a:cubicBezTo>
                  <a:cubicBezTo>
                    <a:pt x="6057" y="9062"/>
                    <a:pt x="6057" y="9062"/>
                    <a:pt x="6057" y="9062"/>
                  </a:cubicBezTo>
                  <a:cubicBezTo>
                    <a:pt x="5779" y="9000"/>
                    <a:pt x="5779" y="9000"/>
                    <a:pt x="5779" y="9000"/>
                  </a:cubicBezTo>
                  <a:cubicBezTo>
                    <a:pt x="5777" y="9010"/>
                    <a:pt x="5777" y="9010"/>
                    <a:pt x="5777" y="9010"/>
                  </a:cubicBezTo>
                  <a:cubicBezTo>
                    <a:pt x="5777" y="9008"/>
                    <a:pt x="5776" y="9006"/>
                    <a:pt x="5776" y="9005"/>
                  </a:cubicBezTo>
                  <a:cubicBezTo>
                    <a:pt x="5776" y="9004"/>
                    <a:pt x="5776" y="9004"/>
                    <a:pt x="5776" y="9004"/>
                  </a:cubicBezTo>
                  <a:cubicBezTo>
                    <a:pt x="5777" y="9002"/>
                    <a:pt x="5777" y="9001"/>
                    <a:pt x="5778" y="9000"/>
                  </a:cubicBezTo>
                  <a:cubicBezTo>
                    <a:pt x="5779" y="8997"/>
                    <a:pt x="5780" y="8993"/>
                    <a:pt x="5782" y="8987"/>
                  </a:cubicBezTo>
                  <a:close/>
                  <a:moveTo>
                    <a:pt x="6052" y="9075"/>
                  </a:moveTo>
                  <a:cubicBezTo>
                    <a:pt x="6011" y="9189"/>
                    <a:pt x="6011" y="9189"/>
                    <a:pt x="6011" y="9189"/>
                  </a:cubicBezTo>
                  <a:cubicBezTo>
                    <a:pt x="5824" y="9155"/>
                    <a:pt x="5824" y="9155"/>
                    <a:pt x="5824" y="9155"/>
                  </a:cubicBezTo>
                  <a:cubicBezTo>
                    <a:pt x="5821" y="9145"/>
                    <a:pt x="5811" y="9116"/>
                    <a:pt x="5801" y="9086"/>
                  </a:cubicBezTo>
                  <a:cubicBezTo>
                    <a:pt x="5791" y="9059"/>
                    <a:pt x="5782" y="9030"/>
                    <a:pt x="5778" y="9014"/>
                  </a:cubicBezTo>
                  <a:lnTo>
                    <a:pt x="6052" y="9075"/>
                  </a:lnTo>
                  <a:close/>
                  <a:moveTo>
                    <a:pt x="5755" y="9357"/>
                  </a:moveTo>
                  <a:cubicBezTo>
                    <a:pt x="5381" y="9309"/>
                    <a:pt x="5381" y="9309"/>
                    <a:pt x="5381" y="9309"/>
                  </a:cubicBezTo>
                  <a:cubicBezTo>
                    <a:pt x="5379" y="9303"/>
                    <a:pt x="5377" y="9297"/>
                    <a:pt x="5374" y="9292"/>
                  </a:cubicBezTo>
                  <a:cubicBezTo>
                    <a:pt x="5350" y="9232"/>
                    <a:pt x="5325" y="9181"/>
                    <a:pt x="5322" y="9168"/>
                  </a:cubicBezTo>
                  <a:cubicBezTo>
                    <a:pt x="5321" y="9162"/>
                    <a:pt x="5318" y="9155"/>
                    <a:pt x="5315" y="9149"/>
                  </a:cubicBezTo>
                  <a:cubicBezTo>
                    <a:pt x="5434" y="9172"/>
                    <a:pt x="5752" y="9232"/>
                    <a:pt x="5790" y="9237"/>
                  </a:cubicBezTo>
                  <a:lnTo>
                    <a:pt x="5755" y="9357"/>
                  </a:lnTo>
                  <a:close/>
                  <a:moveTo>
                    <a:pt x="5333" y="9309"/>
                  </a:moveTo>
                  <a:cubicBezTo>
                    <a:pt x="5356" y="9367"/>
                    <a:pt x="5380" y="9436"/>
                    <a:pt x="5384" y="9494"/>
                  </a:cubicBezTo>
                  <a:cubicBezTo>
                    <a:pt x="5385" y="9506"/>
                    <a:pt x="5385" y="9521"/>
                    <a:pt x="5385" y="9539"/>
                  </a:cubicBezTo>
                  <a:cubicBezTo>
                    <a:pt x="5385" y="9575"/>
                    <a:pt x="5384" y="9620"/>
                    <a:pt x="5381" y="9669"/>
                  </a:cubicBezTo>
                  <a:cubicBezTo>
                    <a:pt x="5350" y="9669"/>
                    <a:pt x="5251" y="9671"/>
                    <a:pt x="5124" y="9674"/>
                  </a:cubicBezTo>
                  <a:cubicBezTo>
                    <a:pt x="4968" y="9218"/>
                    <a:pt x="4968" y="9218"/>
                    <a:pt x="4968" y="9218"/>
                  </a:cubicBezTo>
                  <a:cubicBezTo>
                    <a:pt x="5076" y="9200"/>
                    <a:pt x="5163" y="9155"/>
                    <a:pt x="5233" y="9106"/>
                  </a:cubicBezTo>
                  <a:cubicBezTo>
                    <a:pt x="5237" y="9111"/>
                    <a:pt x="5242" y="9117"/>
                    <a:pt x="5247" y="9124"/>
                  </a:cubicBezTo>
                  <a:cubicBezTo>
                    <a:pt x="5261" y="9142"/>
                    <a:pt x="5276" y="9166"/>
                    <a:pt x="5279" y="9179"/>
                  </a:cubicBezTo>
                  <a:cubicBezTo>
                    <a:pt x="5285" y="9204"/>
                    <a:pt x="5309" y="9250"/>
                    <a:pt x="5333" y="9309"/>
                  </a:cubicBezTo>
                  <a:close/>
                  <a:moveTo>
                    <a:pt x="5171" y="9687"/>
                  </a:moveTo>
                  <a:cubicBezTo>
                    <a:pt x="5158" y="10074"/>
                    <a:pt x="5158" y="10074"/>
                    <a:pt x="5158" y="10074"/>
                  </a:cubicBezTo>
                  <a:cubicBezTo>
                    <a:pt x="5083" y="10086"/>
                    <a:pt x="5009" y="10100"/>
                    <a:pt x="4934" y="10115"/>
                  </a:cubicBezTo>
                  <a:cubicBezTo>
                    <a:pt x="4915" y="9692"/>
                    <a:pt x="4915" y="9692"/>
                    <a:pt x="4915" y="9692"/>
                  </a:cubicBezTo>
                  <a:cubicBezTo>
                    <a:pt x="5006" y="9690"/>
                    <a:pt x="5095" y="9689"/>
                    <a:pt x="5171" y="9687"/>
                  </a:cubicBezTo>
                  <a:close/>
                  <a:moveTo>
                    <a:pt x="4920" y="10118"/>
                  </a:moveTo>
                  <a:cubicBezTo>
                    <a:pt x="4891" y="10124"/>
                    <a:pt x="4862" y="10131"/>
                    <a:pt x="4832" y="10138"/>
                  </a:cubicBezTo>
                  <a:cubicBezTo>
                    <a:pt x="4803" y="10145"/>
                    <a:pt x="4772" y="10152"/>
                    <a:pt x="4741" y="10160"/>
                  </a:cubicBezTo>
                  <a:cubicBezTo>
                    <a:pt x="4656" y="9698"/>
                    <a:pt x="4656" y="9698"/>
                    <a:pt x="4656" y="9698"/>
                  </a:cubicBezTo>
                  <a:cubicBezTo>
                    <a:pt x="4721" y="9696"/>
                    <a:pt x="4790" y="9695"/>
                    <a:pt x="4860" y="9694"/>
                  </a:cubicBezTo>
                  <a:cubicBezTo>
                    <a:pt x="4874" y="9693"/>
                    <a:pt x="4887" y="9693"/>
                    <a:pt x="4901" y="9693"/>
                  </a:cubicBezTo>
                  <a:lnTo>
                    <a:pt x="4920" y="10118"/>
                  </a:lnTo>
                  <a:close/>
                  <a:moveTo>
                    <a:pt x="4847" y="10202"/>
                  </a:moveTo>
                  <a:cubicBezTo>
                    <a:pt x="4875" y="10195"/>
                    <a:pt x="4904" y="10189"/>
                    <a:pt x="4933" y="10183"/>
                  </a:cubicBezTo>
                  <a:cubicBezTo>
                    <a:pt x="4939" y="10239"/>
                    <a:pt x="4958" y="10399"/>
                    <a:pt x="4980" y="10591"/>
                  </a:cubicBezTo>
                  <a:cubicBezTo>
                    <a:pt x="4950" y="10593"/>
                    <a:pt x="4889" y="10599"/>
                    <a:pt x="4815" y="10605"/>
                  </a:cubicBezTo>
                  <a:cubicBezTo>
                    <a:pt x="4722" y="10232"/>
                    <a:pt x="4722" y="10232"/>
                    <a:pt x="4722" y="10232"/>
                  </a:cubicBezTo>
                  <a:cubicBezTo>
                    <a:pt x="4765" y="10221"/>
                    <a:pt x="4807" y="10211"/>
                    <a:pt x="4847" y="10202"/>
                  </a:cubicBezTo>
                  <a:close/>
                  <a:moveTo>
                    <a:pt x="4861" y="10949"/>
                  </a:moveTo>
                  <a:cubicBezTo>
                    <a:pt x="4803" y="10959"/>
                    <a:pt x="4741" y="10969"/>
                    <a:pt x="4695" y="10977"/>
                  </a:cubicBezTo>
                  <a:cubicBezTo>
                    <a:pt x="4581" y="10640"/>
                    <a:pt x="4581" y="10640"/>
                    <a:pt x="4581" y="10640"/>
                  </a:cubicBezTo>
                  <a:cubicBezTo>
                    <a:pt x="4607" y="10638"/>
                    <a:pt x="4634" y="10635"/>
                    <a:pt x="4661" y="10633"/>
                  </a:cubicBezTo>
                  <a:cubicBezTo>
                    <a:pt x="4710" y="10629"/>
                    <a:pt x="4759" y="10624"/>
                    <a:pt x="4804" y="10620"/>
                  </a:cubicBezTo>
                  <a:lnTo>
                    <a:pt x="4861" y="10949"/>
                  </a:lnTo>
                  <a:close/>
                  <a:moveTo>
                    <a:pt x="4681" y="10980"/>
                  </a:moveTo>
                  <a:cubicBezTo>
                    <a:pt x="4670" y="10982"/>
                    <a:pt x="4659" y="10984"/>
                    <a:pt x="4651" y="10985"/>
                  </a:cubicBezTo>
                  <a:cubicBezTo>
                    <a:pt x="4636" y="10988"/>
                    <a:pt x="4627" y="10990"/>
                    <a:pt x="4618" y="10993"/>
                  </a:cubicBezTo>
                  <a:cubicBezTo>
                    <a:pt x="4602" y="11000"/>
                    <a:pt x="4579" y="11011"/>
                    <a:pt x="4557" y="11031"/>
                  </a:cubicBezTo>
                  <a:cubicBezTo>
                    <a:pt x="4547" y="11041"/>
                    <a:pt x="4537" y="11053"/>
                    <a:pt x="4529" y="11067"/>
                  </a:cubicBezTo>
                  <a:cubicBezTo>
                    <a:pt x="4136" y="10994"/>
                    <a:pt x="4136" y="10994"/>
                    <a:pt x="4136" y="10994"/>
                  </a:cubicBezTo>
                  <a:cubicBezTo>
                    <a:pt x="4241" y="10696"/>
                    <a:pt x="4241" y="10696"/>
                    <a:pt x="4241" y="10696"/>
                  </a:cubicBezTo>
                  <a:cubicBezTo>
                    <a:pt x="4255" y="10690"/>
                    <a:pt x="4310" y="10667"/>
                    <a:pt x="4317" y="10664"/>
                  </a:cubicBezTo>
                  <a:cubicBezTo>
                    <a:pt x="4317" y="10664"/>
                    <a:pt x="4317" y="10664"/>
                    <a:pt x="4317" y="10664"/>
                  </a:cubicBezTo>
                  <a:cubicBezTo>
                    <a:pt x="4318" y="10664"/>
                    <a:pt x="4318" y="10664"/>
                    <a:pt x="4319" y="10664"/>
                  </a:cubicBezTo>
                  <a:cubicBezTo>
                    <a:pt x="4320" y="10664"/>
                    <a:pt x="4322" y="10664"/>
                    <a:pt x="4325" y="10663"/>
                  </a:cubicBezTo>
                  <a:cubicBezTo>
                    <a:pt x="4330" y="10663"/>
                    <a:pt x="4338" y="10662"/>
                    <a:pt x="4348" y="10661"/>
                  </a:cubicBezTo>
                  <a:cubicBezTo>
                    <a:pt x="4367" y="10659"/>
                    <a:pt x="4394" y="10657"/>
                    <a:pt x="4426" y="10654"/>
                  </a:cubicBezTo>
                  <a:cubicBezTo>
                    <a:pt x="4466" y="10650"/>
                    <a:pt x="4515" y="10646"/>
                    <a:pt x="4567" y="10641"/>
                  </a:cubicBezTo>
                  <a:lnTo>
                    <a:pt x="4681" y="10980"/>
                  </a:lnTo>
                  <a:close/>
                  <a:moveTo>
                    <a:pt x="4517" y="11111"/>
                  </a:moveTo>
                  <a:cubicBezTo>
                    <a:pt x="4517" y="11115"/>
                    <a:pt x="4516" y="11118"/>
                    <a:pt x="4516" y="11122"/>
                  </a:cubicBezTo>
                  <a:cubicBezTo>
                    <a:pt x="4516" y="11152"/>
                    <a:pt x="4527" y="11184"/>
                    <a:pt x="4550" y="11218"/>
                  </a:cubicBezTo>
                  <a:cubicBezTo>
                    <a:pt x="4619" y="11320"/>
                    <a:pt x="4991" y="11796"/>
                    <a:pt x="5058" y="11881"/>
                  </a:cubicBezTo>
                  <a:cubicBezTo>
                    <a:pt x="5040" y="11942"/>
                    <a:pt x="4993" y="12013"/>
                    <a:pt x="4944" y="12084"/>
                  </a:cubicBezTo>
                  <a:cubicBezTo>
                    <a:pt x="4942" y="12082"/>
                    <a:pt x="4940" y="12081"/>
                    <a:pt x="4938" y="12079"/>
                  </a:cubicBezTo>
                  <a:cubicBezTo>
                    <a:pt x="4922" y="12068"/>
                    <a:pt x="4899" y="12052"/>
                    <a:pt x="4872" y="12032"/>
                  </a:cubicBezTo>
                  <a:cubicBezTo>
                    <a:pt x="4819" y="11993"/>
                    <a:pt x="4747" y="11940"/>
                    <a:pt x="4672" y="11885"/>
                  </a:cubicBezTo>
                  <a:cubicBezTo>
                    <a:pt x="4524" y="11776"/>
                    <a:pt x="4367" y="11660"/>
                    <a:pt x="4330" y="11633"/>
                  </a:cubicBezTo>
                  <a:cubicBezTo>
                    <a:pt x="4325" y="11630"/>
                    <a:pt x="4324" y="11629"/>
                    <a:pt x="4322" y="11628"/>
                  </a:cubicBezTo>
                  <a:cubicBezTo>
                    <a:pt x="3964" y="11089"/>
                    <a:pt x="3964" y="11089"/>
                    <a:pt x="3964" y="11089"/>
                  </a:cubicBezTo>
                  <a:cubicBezTo>
                    <a:pt x="4132" y="11039"/>
                    <a:pt x="4132" y="11039"/>
                    <a:pt x="4132" y="11039"/>
                  </a:cubicBezTo>
                  <a:lnTo>
                    <a:pt x="4517" y="11111"/>
                  </a:lnTo>
                  <a:close/>
                  <a:moveTo>
                    <a:pt x="4395" y="12735"/>
                  </a:moveTo>
                  <a:cubicBezTo>
                    <a:pt x="4395" y="12756"/>
                    <a:pt x="4392" y="12861"/>
                    <a:pt x="4392" y="12921"/>
                  </a:cubicBezTo>
                  <a:cubicBezTo>
                    <a:pt x="4392" y="12932"/>
                    <a:pt x="4392" y="12942"/>
                    <a:pt x="4393" y="12949"/>
                  </a:cubicBezTo>
                  <a:cubicBezTo>
                    <a:pt x="4315" y="12927"/>
                    <a:pt x="4315" y="12927"/>
                    <a:pt x="4315" y="12927"/>
                  </a:cubicBezTo>
                  <a:cubicBezTo>
                    <a:pt x="4315" y="12896"/>
                    <a:pt x="4300" y="12870"/>
                    <a:pt x="4286" y="12848"/>
                  </a:cubicBezTo>
                  <a:cubicBezTo>
                    <a:pt x="4273" y="12829"/>
                    <a:pt x="4260" y="12813"/>
                    <a:pt x="4256" y="12809"/>
                  </a:cubicBezTo>
                  <a:cubicBezTo>
                    <a:pt x="4256" y="12808"/>
                    <a:pt x="4255" y="12808"/>
                    <a:pt x="4255" y="12808"/>
                  </a:cubicBezTo>
                  <a:cubicBezTo>
                    <a:pt x="4255" y="12807"/>
                    <a:pt x="4255" y="12807"/>
                    <a:pt x="4255" y="12807"/>
                  </a:cubicBezTo>
                  <a:cubicBezTo>
                    <a:pt x="4254" y="12805"/>
                    <a:pt x="4253" y="12805"/>
                    <a:pt x="4253" y="12804"/>
                  </a:cubicBezTo>
                  <a:cubicBezTo>
                    <a:pt x="4252" y="12804"/>
                    <a:pt x="4252" y="12803"/>
                    <a:pt x="4251" y="12803"/>
                  </a:cubicBezTo>
                  <a:cubicBezTo>
                    <a:pt x="4251" y="12802"/>
                    <a:pt x="4250" y="12802"/>
                    <a:pt x="4250" y="12802"/>
                  </a:cubicBezTo>
                  <a:cubicBezTo>
                    <a:pt x="4248" y="12800"/>
                    <a:pt x="4247" y="12799"/>
                    <a:pt x="4245" y="12798"/>
                  </a:cubicBezTo>
                  <a:cubicBezTo>
                    <a:pt x="4241" y="12794"/>
                    <a:pt x="4235" y="12790"/>
                    <a:pt x="4228" y="12784"/>
                  </a:cubicBezTo>
                  <a:cubicBezTo>
                    <a:pt x="4214" y="12772"/>
                    <a:pt x="4195" y="12756"/>
                    <a:pt x="4173" y="12736"/>
                  </a:cubicBezTo>
                  <a:cubicBezTo>
                    <a:pt x="4103" y="12674"/>
                    <a:pt x="4007" y="12586"/>
                    <a:pt x="3985" y="12565"/>
                  </a:cubicBezTo>
                  <a:cubicBezTo>
                    <a:pt x="3989" y="12554"/>
                    <a:pt x="3993" y="12544"/>
                    <a:pt x="3996" y="12534"/>
                  </a:cubicBezTo>
                  <a:cubicBezTo>
                    <a:pt x="4011" y="12494"/>
                    <a:pt x="4042" y="12379"/>
                    <a:pt x="4052" y="12349"/>
                  </a:cubicBezTo>
                  <a:cubicBezTo>
                    <a:pt x="4064" y="12315"/>
                    <a:pt x="4076" y="12262"/>
                    <a:pt x="4113" y="12219"/>
                  </a:cubicBezTo>
                  <a:cubicBezTo>
                    <a:pt x="4128" y="12201"/>
                    <a:pt x="4150" y="12178"/>
                    <a:pt x="4171" y="12159"/>
                  </a:cubicBezTo>
                  <a:cubicBezTo>
                    <a:pt x="4172" y="12158"/>
                    <a:pt x="4173" y="12157"/>
                    <a:pt x="4174" y="12156"/>
                  </a:cubicBezTo>
                  <a:cubicBezTo>
                    <a:pt x="4266" y="12374"/>
                    <a:pt x="4266" y="12374"/>
                    <a:pt x="4266" y="12374"/>
                  </a:cubicBezTo>
                  <a:cubicBezTo>
                    <a:pt x="4209" y="12416"/>
                    <a:pt x="4209" y="12416"/>
                    <a:pt x="4209" y="12416"/>
                  </a:cubicBezTo>
                  <a:cubicBezTo>
                    <a:pt x="4301" y="12577"/>
                    <a:pt x="4301" y="12577"/>
                    <a:pt x="4301" y="12577"/>
                  </a:cubicBezTo>
                  <a:cubicBezTo>
                    <a:pt x="4289" y="12642"/>
                    <a:pt x="4289" y="12642"/>
                    <a:pt x="4289" y="12642"/>
                  </a:cubicBezTo>
                  <a:lnTo>
                    <a:pt x="4395" y="12735"/>
                  </a:lnTo>
                  <a:close/>
                  <a:moveTo>
                    <a:pt x="3616" y="12776"/>
                  </a:moveTo>
                  <a:cubicBezTo>
                    <a:pt x="3620" y="12781"/>
                    <a:pt x="3620" y="12781"/>
                    <a:pt x="3620" y="12781"/>
                  </a:cubicBezTo>
                  <a:cubicBezTo>
                    <a:pt x="3620" y="12781"/>
                    <a:pt x="3629" y="12796"/>
                    <a:pt x="3629" y="12796"/>
                  </a:cubicBezTo>
                  <a:cubicBezTo>
                    <a:pt x="3646" y="12792"/>
                    <a:pt x="3682" y="12783"/>
                    <a:pt x="3725" y="12769"/>
                  </a:cubicBezTo>
                  <a:cubicBezTo>
                    <a:pt x="3724" y="12956"/>
                    <a:pt x="3724" y="12956"/>
                    <a:pt x="3724" y="12956"/>
                  </a:cubicBezTo>
                  <a:cubicBezTo>
                    <a:pt x="3684" y="13059"/>
                    <a:pt x="3684" y="13059"/>
                    <a:pt x="3684" y="13059"/>
                  </a:cubicBezTo>
                  <a:cubicBezTo>
                    <a:pt x="3628" y="13037"/>
                    <a:pt x="3628" y="13037"/>
                    <a:pt x="3628" y="13037"/>
                  </a:cubicBezTo>
                  <a:cubicBezTo>
                    <a:pt x="3631" y="13031"/>
                    <a:pt x="3635" y="13024"/>
                    <a:pt x="3637" y="13017"/>
                  </a:cubicBezTo>
                  <a:cubicBezTo>
                    <a:pt x="3651" y="12977"/>
                    <a:pt x="3658" y="12941"/>
                    <a:pt x="3658" y="12907"/>
                  </a:cubicBezTo>
                  <a:cubicBezTo>
                    <a:pt x="3658" y="12856"/>
                    <a:pt x="3642" y="12814"/>
                    <a:pt x="3616" y="12776"/>
                  </a:cubicBezTo>
                  <a:close/>
                  <a:moveTo>
                    <a:pt x="3481" y="12331"/>
                  </a:moveTo>
                  <a:cubicBezTo>
                    <a:pt x="3609" y="12227"/>
                    <a:pt x="3609" y="12227"/>
                    <a:pt x="3609" y="12227"/>
                  </a:cubicBezTo>
                  <a:cubicBezTo>
                    <a:pt x="3777" y="12397"/>
                    <a:pt x="3777" y="12397"/>
                    <a:pt x="3777" y="12397"/>
                  </a:cubicBezTo>
                  <a:cubicBezTo>
                    <a:pt x="3857" y="12661"/>
                    <a:pt x="3857" y="12661"/>
                    <a:pt x="3857" y="12661"/>
                  </a:cubicBezTo>
                  <a:cubicBezTo>
                    <a:pt x="3824" y="12685"/>
                    <a:pt x="3764" y="12709"/>
                    <a:pt x="3712" y="12726"/>
                  </a:cubicBezTo>
                  <a:cubicBezTo>
                    <a:pt x="3654" y="12744"/>
                    <a:pt x="3609" y="12757"/>
                    <a:pt x="3609" y="12757"/>
                  </a:cubicBezTo>
                  <a:cubicBezTo>
                    <a:pt x="3604" y="12759"/>
                    <a:pt x="3604" y="12759"/>
                    <a:pt x="3604" y="12759"/>
                  </a:cubicBezTo>
                  <a:cubicBezTo>
                    <a:pt x="3598" y="12751"/>
                    <a:pt x="3593" y="12744"/>
                    <a:pt x="3587" y="12738"/>
                  </a:cubicBezTo>
                  <a:cubicBezTo>
                    <a:pt x="3589" y="12740"/>
                    <a:pt x="3589" y="12740"/>
                    <a:pt x="3589" y="12740"/>
                  </a:cubicBezTo>
                  <a:lnTo>
                    <a:pt x="3481" y="12331"/>
                  </a:lnTo>
                  <a:close/>
                  <a:moveTo>
                    <a:pt x="3418" y="11630"/>
                  </a:moveTo>
                  <a:cubicBezTo>
                    <a:pt x="3361" y="11699"/>
                    <a:pt x="3361" y="11699"/>
                    <a:pt x="3361" y="11699"/>
                  </a:cubicBezTo>
                  <a:cubicBezTo>
                    <a:pt x="3262" y="11619"/>
                    <a:pt x="3262" y="11619"/>
                    <a:pt x="3262" y="11619"/>
                  </a:cubicBezTo>
                  <a:cubicBezTo>
                    <a:pt x="3276" y="11598"/>
                    <a:pt x="3276" y="11598"/>
                    <a:pt x="3276" y="11598"/>
                  </a:cubicBezTo>
                  <a:cubicBezTo>
                    <a:pt x="3283" y="11589"/>
                    <a:pt x="3283" y="11589"/>
                    <a:pt x="3283" y="11589"/>
                  </a:cubicBezTo>
                  <a:cubicBezTo>
                    <a:pt x="3345" y="11512"/>
                    <a:pt x="3345" y="11512"/>
                    <a:pt x="3345" y="11512"/>
                  </a:cubicBezTo>
                  <a:cubicBezTo>
                    <a:pt x="3439" y="11588"/>
                    <a:pt x="3439" y="11588"/>
                    <a:pt x="3439" y="11588"/>
                  </a:cubicBezTo>
                  <a:cubicBezTo>
                    <a:pt x="3421" y="11617"/>
                    <a:pt x="3421" y="11617"/>
                    <a:pt x="3421" y="11617"/>
                  </a:cubicBezTo>
                  <a:cubicBezTo>
                    <a:pt x="3415" y="11627"/>
                    <a:pt x="3415" y="11627"/>
                    <a:pt x="3415" y="11627"/>
                  </a:cubicBezTo>
                  <a:lnTo>
                    <a:pt x="3418" y="11630"/>
                  </a:lnTo>
                  <a:close/>
                  <a:moveTo>
                    <a:pt x="3433" y="11643"/>
                  </a:moveTo>
                  <a:cubicBezTo>
                    <a:pt x="3530" y="11722"/>
                    <a:pt x="3530" y="11722"/>
                    <a:pt x="3530" y="11722"/>
                  </a:cubicBezTo>
                  <a:cubicBezTo>
                    <a:pt x="3446" y="11827"/>
                    <a:pt x="3446" y="11827"/>
                    <a:pt x="3446" y="11827"/>
                  </a:cubicBezTo>
                  <a:cubicBezTo>
                    <a:pt x="3349" y="11748"/>
                    <a:pt x="3349" y="11748"/>
                    <a:pt x="3349" y="11748"/>
                  </a:cubicBezTo>
                  <a:cubicBezTo>
                    <a:pt x="3349" y="11748"/>
                    <a:pt x="3349" y="11748"/>
                    <a:pt x="3349" y="11748"/>
                  </a:cubicBezTo>
                  <a:lnTo>
                    <a:pt x="3433" y="11643"/>
                  </a:lnTo>
                  <a:close/>
                  <a:moveTo>
                    <a:pt x="3450" y="11849"/>
                  </a:moveTo>
                  <a:cubicBezTo>
                    <a:pt x="3549" y="11930"/>
                    <a:pt x="3549" y="11930"/>
                    <a:pt x="3549" y="11930"/>
                  </a:cubicBezTo>
                  <a:cubicBezTo>
                    <a:pt x="3548" y="11931"/>
                    <a:pt x="3548" y="11931"/>
                    <a:pt x="3548" y="11931"/>
                  </a:cubicBezTo>
                  <a:cubicBezTo>
                    <a:pt x="3553" y="11934"/>
                    <a:pt x="3553" y="11934"/>
                    <a:pt x="3553" y="11934"/>
                  </a:cubicBezTo>
                  <a:cubicBezTo>
                    <a:pt x="3520" y="11974"/>
                    <a:pt x="3520" y="11974"/>
                    <a:pt x="3520" y="11974"/>
                  </a:cubicBezTo>
                  <a:cubicBezTo>
                    <a:pt x="3522" y="11976"/>
                    <a:pt x="3522" y="11976"/>
                    <a:pt x="3522" y="11976"/>
                  </a:cubicBezTo>
                  <a:cubicBezTo>
                    <a:pt x="3493" y="12013"/>
                    <a:pt x="3493" y="12013"/>
                    <a:pt x="3493" y="12013"/>
                  </a:cubicBezTo>
                  <a:cubicBezTo>
                    <a:pt x="3406" y="11903"/>
                    <a:pt x="3406" y="11903"/>
                    <a:pt x="3406" y="11903"/>
                  </a:cubicBezTo>
                  <a:lnTo>
                    <a:pt x="3450" y="11849"/>
                  </a:lnTo>
                  <a:close/>
                  <a:moveTo>
                    <a:pt x="3833" y="12315"/>
                  </a:moveTo>
                  <a:cubicBezTo>
                    <a:pt x="3900" y="12229"/>
                    <a:pt x="3900" y="12229"/>
                    <a:pt x="3900" y="12229"/>
                  </a:cubicBezTo>
                  <a:cubicBezTo>
                    <a:pt x="3993" y="12304"/>
                    <a:pt x="3993" y="12304"/>
                    <a:pt x="3993" y="12304"/>
                  </a:cubicBezTo>
                  <a:cubicBezTo>
                    <a:pt x="3908" y="12410"/>
                    <a:pt x="3908" y="12410"/>
                    <a:pt x="3908" y="12410"/>
                  </a:cubicBezTo>
                  <a:cubicBezTo>
                    <a:pt x="3819" y="12338"/>
                    <a:pt x="3819" y="12338"/>
                    <a:pt x="3819" y="12338"/>
                  </a:cubicBezTo>
                  <a:cubicBezTo>
                    <a:pt x="3827" y="12326"/>
                    <a:pt x="3827" y="12326"/>
                    <a:pt x="3827" y="12326"/>
                  </a:cubicBezTo>
                  <a:cubicBezTo>
                    <a:pt x="3834" y="12316"/>
                    <a:pt x="3834" y="12316"/>
                    <a:pt x="3834" y="12316"/>
                  </a:cubicBezTo>
                  <a:lnTo>
                    <a:pt x="3833" y="12315"/>
                  </a:lnTo>
                  <a:close/>
                  <a:moveTo>
                    <a:pt x="3891" y="12205"/>
                  </a:moveTo>
                  <a:cubicBezTo>
                    <a:pt x="3884" y="12216"/>
                    <a:pt x="3884" y="12216"/>
                    <a:pt x="3884" y="12216"/>
                  </a:cubicBezTo>
                  <a:cubicBezTo>
                    <a:pt x="3887" y="12218"/>
                    <a:pt x="3887" y="12218"/>
                    <a:pt x="3887" y="12218"/>
                  </a:cubicBezTo>
                  <a:cubicBezTo>
                    <a:pt x="3820" y="12304"/>
                    <a:pt x="3820" y="12304"/>
                    <a:pt x="3820" y="12304"/>
                  </a:cubicBezTo>
                  <a:cubicBezTo>
                    <a:pt x="3725" y="12224"/>
                    <a:pt x="3725" y="12224"/>
                    <a:pt x="3725" y="12224"/>
                  </a:cubicBezTo>
                  <a:cubicBezTo>
                    <a:pt x="3734" y="12208"/>
                    <a:pt x="3734" y="12208"/>
                    <a:pt x="3734" y="12208"/>
                  </a:cubicBezTo>
                  <a:cubicBezTo>
                    <a:pt x="3735" y="12204"/>
                    <a:pt x="3735" y="12204"/>
                    <a:pt x="3735" y="12204"/>
                  </a:cubicBezTo>
                  <a:cubicBezTo>
                    <a:pt x="3805" y="12114"/>
                    <a:pt x="3805" y="12114"/>
                    <a:pt x="3805" y="12114"/>
                  </a:cubicBezTo>
                  <a:cubicBezTo>
                    <a:pt x="3899" y="12194"/>
                    <a:pt x="3899" y="12194"/>
                    <a:pt x="3899" y="12194"/>
                  </a:cubicBezTo>
                  <a:lnTo>
                    <a:pt x="3891" y="12205"/>
                  </a:lnTo>
                  <a:close/>
                  <a:moveTo>
                    <a:pt x="3798" y="12093"/>
                  </a:moveTo>
                  <a:cubicBezTo>
                    <a:pt x="3793" y="12102"/>
                    <a:pt x="3793" y="12102"/>
                    <a:pt x="3793" y="12102"/>
                  </a:cubicBezTo>
                  <a:cubicBezTo>
                    <a:pt x="3730" y="12184"/>
                    <a:pt x="3730" y="12184"/>
                    <a:pt x="3730" y="12184"/>
                  </a:cubicBezTo>
                  <a:cubicBezTo>
                    <a:pt x="3727" y="12188"/>
                    <a:pt x="3727" y="12188"/>
                    <a:pt x="3727" y="12188"/>
                  </a:cubicBezTo>
                  <a:cubicBezTo>
                    <a:pt x="3629" y="12104"/>
                    <a:pt x="3629" y="12104"/>
                    <a:pt x="3629" y="12104"/>
                  </a:cubicBezTo>
                  <a:cubicBezTo>
                    <a:pt x="3647" y="12079"/>
                    <a:pt x="3647" y="12079"/>
                    <a:pt x="3647" y="12079"/>
                  </a:cubicBezTo>
                  <a:cubicBezTo>
                    <a:pt x="3654" y="12069"/>
                    <a:pt x="3654" y="12069"/>
                    <a:pt x="3654" y="12069"/>
                  </a:cubicBezTo>
                  <a:cubicBezTo>
                    <a:pt x="3654" y="12069"/>
                    <a:pt x="3654" y="12069"/>
                    <a:pt x="3654" y="12069"/>
                  </a:cubicBezTo>
                  <a:cubicBezTo>
                    <a:pt x="3711" y="11996"/>
                    <a:pt x="3711" y="11996"/>
                    <a:pt x="3711" y="11996"/>
                  </a:cubicBezTo>
                  <a:cubicBezTo>
                    <a:pt x="3806" y="12077"/>
                    <a:pt x="3806" y="12077"/>
                    <a:pt x="3806" y="12077"/>
                  </a:cubicBezTo>
                  <a:lnTo>
                    <a:pt x="3798" y="12093"/>
                  </a:lnTo>
                  <a:close/>
                  <a:moveTo>
                    <a:pt x="3702" y="11972"/>
                  </a:moveTo>
                  <a:cubicBezTo>
                    <a:pt x="3694" y="11982"/>
                    <a:pt x="3694" y="11982"/>
                    <a:pt x="3694" y="11982"/>
                  </a:cubicBezTo>
                  <a:cubicBezTo>
                    <a:pt x="3698" y="11985"/>
                    <a:pt x="3698" y="11985"/>
                    <a:pt x="3698" y="11985"/>
                  </a:cubicBezTo>
                  <a:cubicBezTo>
                    <a:pt x="3640" y="12057"/>
                    <a:pt x="3640" y="12057"/>
                    <a:pt x="3640" y="12057"/>
                  </a:cubicBezTo>
                  <a:cubicBezTo>
                    <a:pt x="3543" y="11975"/>
                    <a:pt x="3543" y="11975"/>
                    <a:pt x="3543" y="11975"/>
                  </a:cubicBezTo>
                  <a:cubicBezTo>
                    <a:pt x="3627" y="11868"/>
                    <a:pt x="3627" y="11868"/>
                    <a:pt x="3627" y="11868"/>
                  </a:cubicBezTo>
                  <a:cubicBezTo>
                    <a:pt x="3719" y="11947"/>
                    <a:pt x="3719" y="11947"/>
                    <a:pt x="3719" y="11947"/>
                  </a:cubicBezTo>
                  <a:lnTo>
                    <a:pt x="3702" y="11972"/>
                  </a:lnTo>
                  <a:close/>
                  <a:moveTo>
                    <a:pt x="3535" y="11986"/>
                  </a:moveTo>
                  <a:cubicBezTo>
                    <a:pt x="3631" y="12068"/>
                    <a:pt x="3631" y="12068"/>
                    <a:pt x="3631" y="12068"/>
                  </a:cubicBezTo>
                  <a:cubicBezTo>
                    <a:pt x="3630" y="12069"/>
                    <a:pt x="3630" y="12069"/>
                    <a:pt x="3630" y="12069"/>
                  </a:cubicBezTo>
                  <a:cubicBezTo>
                    <a:pt x="3632" y="12070"/>
                    <a:pt x="3632" y="12070"/>
                    <a:pt x="3632" y="12070"/>
                  </a:cubicBezTo>
                  <a:cubicBezTo>
                    <a:pt x="3585" y="12130"/>
                    <a:pt x="3585" y="12130"/>
                    <a:pt x="3585" y="12130"/>
                  </a:cubicBezTo>
                  <a:cubicBezTo>
                    <a:pt x="3503" y="12026"/>
                    <a:pt x="3503" y="12026"/>
                    <a:pt x="3503" y="12026"/>
                  </a:cubicBezTo>
                  <a:lnTo>
                    <a:pt x="3535" y="11986"/>
                  </a:lnTo>
                  <a:close/>
                  <a:moveTo>
                    <a:pt x="3619" y="12114"/>
                  </a:moveTo>
                  <a:cubicBezTo>
                    <a:pt x="3718" y="12199"/>
                    <a:pt x="3718" y="12199"/>
                    <a:pt x="3718" y="12199"/>
                  </a:cubicBezTo>
                  <a:cubicBezTo>
                    <a:pt x="3717" y="12200"/>
                    <a:pt x="3717" y="12200"/>
                    <a:pt x="3717" y="12200"/>
                  </a:cubicBezTo>
                  <a:cubicBezTo>
                    <a:pt x="3718" y="12200"/>
                    <a:pt x="3718" y="12200"/>
                    <a:pt x="3718" y="12200"/>
                  </a:cubicBezTo>
                  <a:cubicBezTo>
                    <a:pt x="3687" y="12241"/>
                    <a:pt x="3687" y="12241"/>
                    <a:pt x="3687" y="12241"/>
                  </a:cubicBezTo>
                  <a:cubicBezTo>
                    <a:pt x="3615" y="12169"/>
                    <a:pt x="3615" y="12169"/>
                    <a:pt x="3615" y="12169"/>
                  </a:cubicBezTo>
                  <a:cubicBezTo>
                    <a:pt x="3595" y="12143"/>
                    <a:pt x="3595" y="12143"/>
                    <a:pt x="3595" y="12143"/>
                  </a:cubicBezTo>
                  <a:lnTo>
                    <a:pt x="3619" y="12114"/>
                  </a:lnTo>
                  <a:close/>
                  <a:moveTo>
                    <a:pt x="3714" y="12232"/>
                  </a:moveTo>
                  <a:cubicBezTo>
                    <a:pt x="3812" y="12316"/>
                    <a:pt x="3812" y="12316"/>
                    <a:pt x="3812" y="12316"/>
                  </a:cubicBezTo>
                  <a:cubicBezTo>
                    <a:pt x="3789" y="12345"/>
                    <a:pt x="3789" y="12345"/>
                    <a:pt x="3789" y="12345"/>
                  </a:cubicBezTo>
                  <a:cubicBezTo>
                    <a:pt x="3698" y="12253"/>
                    <a:pt x="3698" y="12253"/>
                    <a:pt x="3698" y="12253"/>
                  </a:cubicBezTo>
                  <a:lnTo>
                    <a:pt x="3714" y="12232"/>
                  </a:lnTo>
                  <a:close/>
                  <a:moveTo>
                    <a:pt x="3809" y="12347"/>
                  </a:moveTo>
                  <a:cubicBezTo>
                    <a:pt x="3910" y="12429"/>
                    <a:pt x="3910" y="12429"/>
                    <a:pt x="3910" y="12429"/>
                  </a:cubicBezTo>
                  <a:cubicBezTo>
                    <a:pt x="4012" y="12302"/>
                    <a:pt x="4012" y="12302"/>
                    <a:pt x="4012" y="12302"/>
                  </a:cubicBezTo>
                  <a:cubicBezTo>
                    <a:pt x="3908" y="12217"/>
                    <a:pt x="3908" y="12217"/>
                    <a:pt x="3908" y="12217"/>
                  </a:cubicBezTo>
                  <a:cubicBezTo>
                    <a:pt x="3934" y="12184"/>
                    <a:pt x="3934" y="12184"/>
                    <a:pt x="3934" y="12184"/>
                  </a:cubicBezTo>
                  <a:cubicBezTo>
                    <a:pt x="3970" y="12216"/>
                    <a:pt x="4012" y="12252"/>
                    <a:pt x="4032" y="12269"/>
                  </a:cubicBezTo>
                  <a:cubicBezTo>
                    <a:pt x="4021" y="12295"/>
                    <a:pt x="4015" y="12319"/>
                    <a:pt x="4010" y="12334"/>
                  </a:cubicBezTo>
                  <a:cubicBezTo>
                    <a:pt x="3998" y="12368"/>
                    <a:pt x="3967" y="12483"/>
                    <a:pt x="3954" y="12519"/>
                  </a:cubicBezTo>
                  <a:cubicBezTo>
                    <a:pt x="3941" y="12552"/>
                    <a:pt x="3934" y="12583"/>
                    <a:pt x="3894" y="12627"/>
                  </a:cubicBezTo>
                  <a:cubicBezTo>
                    <a:pt x="3817" y="12373"/>
                    <a:pt x="3817" y="12373"/>
                    <a:pt x="3817" y="12373"/>
                  </a:cubicBezTo>
                  <a:cubicBezTo>
                    <a:pt x="3801" y="12357"/>
                    <a:pt x="3801" y="12357"/>
                    <a:pt x="3801" y="12357"/>
                  </a:cubicBezTo>
                  <a:lnTo>
                    <a:pt x="3809" y="12347"/>
                  </a:lnTo>
                  <a:close/>
                  <a:moveTo>
                    <a:pt x="3912" y="12186"/>
                  </a:moveTo>
                  <a:cubicBezTo>
                    <a:pt x="3813" y="12103"/>
                    <a:pt x="3813" y="12103"/>
                    <a:pt x="3813" y="12103"/>
                  </a:cubicBezTo>
                  <a:cubicBezTo>
                    <a:pt x="3839" y="12070"/>
                    <a:pt x="3839" y="12070"/>
                    <a:pt x="3839" y="12070"/>
                  </a:cubicBezTo>
                  <a:cubicBezTo>
                    <a:pt x="3864" y="12123"/>
                    <a:pt x="3864" y="12123"/>
                    <a:pt x="3864" y="12123"/>
                  </a:cubicBezTo>
                  <a:cubicBezTo>
                    <a:pt x="3868" y="12127"/>
                    <a:pt x="3868" y="12127"/>
                    <a:pt x="3868" y="12127"/>
                  </a:cubicBezTo>
                  <a:cubicBezTo>
                    <a:pt x="3868" y="12127"/>
                    <a:pt x="3892" y="12147"/>
                    <a:pt x="3921" y="12173"/>
                  </a:cubicBezTo>
                  <a:lnTo>
                    <a:pt x="3912" y="12186"/>
                  </a:lnTo>
                  <a:close/>
                  <a:moveTo>
                    <a:pt x="3818" y="12069"/>
                  </a:moveTo>
                  <a:cubicBezTo>
                    <a:pt x="3719" y="11985"/>
                    <a:pt x="3719" y="11985"/>
                    <a:pt x="3719" y="11985"/>
                  </a:cubicBezTo>
                  <a:cubicBezTo>
                    <a:pt x="3768" y="11922"/>
                    <a:pt x="3768" y="11922"/>
                    <a:pt x="3768" y="11922"/>
                  </a:cubicBezTo>
                  <a:cubicBezTo>
                    <a:pt x="3831" y="12053"/>
                    <a:pt x="3831" y="12053"/>
                    <a:pt x="3831" y="12053"/>
                  </a:cubicBezTo>
                  <a:lnTo>
                    <a:pt x="3818" y="12069"/>
                  </a:lnTo>
                  <a:close/>
                  <a:moveTo>
                    <a:pt x="3759" y="11907"/>
                  </a:moveTo>
                  <a:cubicBezTo>
                    <a:pt x="3733" y="11940"/>
                    <a:pt x="3733" y="11940"/>
                    <a:pt x="3733" y="11940"/>
                  </a:cubicBezTo>
                  <a:cubicBezTo>
                    <a:pt x="3635" y="11857"/>
                    <a:pt x="3635" y="11857"/>
                    <a:pt x="3635" y="11857"/>
                  </a:cubicBezTo>
                  <a:cubicBezTo>
                    <a:pt x="3681" y="11799"/>
                    <a:pt x="3681" y="11799"/>
                    <a:pt x="3681" y="11799"/>
                  </a:cubicBezTo>
                  <a:cubicBezTo>
                    <a:pt x="3701" y="11814"/>
                    <a:pt x="3718" y="11826"/>
                    <a:pt x="3726" y="11831"/>
                  </a:cubicBezTo>
                  <a:cubicBezTo>
                    <a:pt x="3763" y="11910"/>
                    <a:pt x="3763" y="11910"/>
                    <a:pt x="3763" y="11910"/>
                  </a:cubicBezTo>
                  <a:lnTo>
                    <a:pt x="3759" y="11907"/>
                  </a:lnTo>
                  <a:close/>
                  <a:moveTo>
                    <a:pt x="3655" y="11806"/>
                  </a:moveTo>
                  <a:cubicBezTo>
                    <a:pt x="3551" y="11721"/>
                    <a:pt x="3551" y="11721"/>
                    <a:pt x="3551" y="11721"/>
                  </a:cubicBezTo>
                  <a:cubicBezTo>
                    <a:pt x="3560" y="11711"/>
                    <a:pt x="3560" y="11711"/>
                    <a:pt x="3560" y="11711"/>
                  </a:cubicBezTo>
                  <a:cubicBezTo>
                    <a:pt x="3563" y="11713"/>
                    <a:pt x="3567" y="11716"/>
                    <a:pt x="3571" y="11719"/>
                  </a:cubicBezTo>
                  <a:cubicBezTo>
                    <a:pt x="3589" y="11732"/>
                    <a:pt x="3613" y="11749"/>
                    <a:pt x="3636" y="11766"/>
                  </a:cubicBezTo>
                  <a:cubicBezTo>
                    <a:pt x="3647" y="11774"/>
                    <a:pt x="3657" y="11782"/>
                    <a:pt x="3668" y="11789"/>
                  </a:cubicBezTo>
                  <a:lnTo>
                    <a:pt x="3655" y="11806"/>
                  </a:lnTo>
                  <a:close/>
                  <a:moveTo>
                    <a:pt x="3636" y="11808"/>
                  </a:moveTo>
                  <a:cubicBezTo>
                    <a:pt x="3612" y="11838"/>
                    <a:pt x="3612" y="11838"/>
                    <a:pt x="3612" y="11838"/>
                  </a:cubicBezTo>
                  <a:cubicBezTo>
                    <a:pt x="3603" y="11849"/>
                    <a:pt x="3603" y="11849"/>
                    <a:pt x="3603" y="11849"/>
                  </a:cubicBezTo>
                  <a:cubicBezTo>
                    <a:pt x="3610" y="11854"/>
                    <a:pt x="3610" y="11854"/>
                    <a:pt x="3610" y="11854"/>
                  </a:cubicBezTo>
                  <a:cubicBezTo>
                    <a:pt x="3558" y="11919"/>
                    <a:pt x="3558" y="11919"/>
                    <a:pt x="3558" y="11919"/>
                  </a:cubicBezTo>
                  <a:cubicBezTo>
                    <a:pt x="3458" y="11838"/>
                    <a:pt x="3458" y="11838"/>
                    <a:pt x="3458" y="11838"/>
                  </a:cubicBezTo>
                  <a:cubicBezTo>
                    <a:pt x="3543" y="11732"/>
                    <a:pt x="3543" y="11732"/>
                    <a:pt x="3543" y="11732"/>
                  </a:cubicBezTo>
                  <a:lnTo>
                    <a:pt x="3636" y="11808"/>
                  </a:lnTo>
                  <a:close/>
                  <a:moveTo>
                    <a:pt x="3539" y="11711"/>
                  </a:moveTo>
                  <a:cubicBezTo>
                    <a:pt x="3442" y="11632"/>
                    <a:pt x="3442" y="11632"/>
                    <a:pt x="3442" y="11632"/>
                  </a:cubicBezTo>
                  <a:cubicBezTo>
                    <a:pt x="3483" y="11581"/>
                    <a:pt x="3483" y="11581"/>
                    <a:pt x="3483" y="11581"/>
                  </a:cubicBezTo>
                  <a:cubicBezTo>
                    <a:pt x="3506" y="11631"/>
                    <a:pt x="3528" y="11679"/>
                    <a:pt x="3533" y="11689"/>
                  </a:cubicBezTo>
                  <a:cubicBezTo>
                    <a:pt x="3534" y="11691"/>
                    <a:pt x="3533" y="11690"/>
                    <a:pt x="3538" y="11695"/>
                  </a:cubicBezTo>
                  <a:cubicBezTo>
                    <a:pt x="3539" y="11696"/>
                    <a:pt x="3540" y="11698"/>
                    <a:pt x="3543" y="11699"/>
                  </a:cubicBezTo>
                  <a:cubicBezTo>
                    <a:pt x="3543" y="11699"/>
                    <a:pt x="3543" y="11699"/>
                    <a:pt x="3543" y="11699"/>
                  </a:cubicBezTo>
                  <a:cubicBezTo>
                    <a:pt x="3544" y="11700"/>
                    <a:pt x="3545" y="11701"/>
                    <a:pt x="3546" y="11701"/>
                  </a:cubicBezTo>
                  <a:lnTo>
                    <a:pt x="3539" y="11711"/>
                  </a:lnTo>
                  <a:close/>
                  <a:moveTo>
                    <a:pt x="3453" y="11591"/>
                  </a:moveTo>
                  <a:cubicBezTo>
                    <a:pt x="3457" y="11585"/>
                    <a:pt x="3457" y="11585"/>
                    <a:pt x="3457" y="11585"/>
                  </a:cubicBezTo>
                  <a:cubicBezTo>
                    <a:pt x="3353" y="11501"/>
                    <a:pt x="3353" y="11501"/>
                    <a:pt x="3353" y="11501"/>
                  </a:cubicBezTo>
                  <a:cubicBezTo>
                    <a:pt x="3389" y="11456"/>
                    <a:pt x="3389" y="11456"/>
                    <a:pt x="3389" y="11456"/>
                  </a:cubicBezTo>
                  <a:cubicBezTo>
                    <a:pt x="3439" y="11482"/>
                    <a:pt x="3439" y="11482"/>
                    <a:pt x="3439" y="11482"/>
                  </a:cubicBezTo>
                  <a:cubicBezTo>
                    <a:pt x="3445" y="11496"/>
                    <a:pt x="3459" y="11529"/>
                    <a:pt x="3475" y="11564"/>
                  </a:cubicBezTo>
                  <a:lnTo>
                    <a:pt x="3453" y="11591"/>
                  </a:lnTo>
                  <a:close/>
                  <a:moveTo>
                    <a:pt x="3364" y="11461"/>
                  </a:moveTo>
                  <a:cubicBezTo>
                    <a:pt x="3295" y="11406"/>
                    <a:pt x="3295" y="11406"/>
                    <a:pt x="3295" y="11406"/>
                  </a:cubicBezTo>
                  <a:cubicBezTo>
                    <a:pt x="3374" y="11448"/>
                    <a:pt x="3374" y="11448"/>
                    <a:pt x="3374" y="11448"/>
                  </a:cubicBezTo>
                  <a:lnTo>
                    <a:pt x="3364" y="11461"/>
                  </a:lnTo>
                  <a:close/>
                  <a:moveTo>
                    <a:pt x="3348" y="11466"/>
                  </a:moveTo>
                  <a:cubicBezTo>
                    <a:pt x="3334" y="11487"/>
                    <a:pt x="3334" y="11487"/>
                    <a:pt x="3334" y="11487"/>
                  </a:cubicBezTo>
                  <a:cubicBezTo>
                    <a:pt x="3327" y="11497"/>
                    <a:pt x="3327" y="11497"/>
                    <a:pt x="3327" y="11497"/>
                  </a:cubicBezTo>
                  <a:cubicBezTo>
                    <a:pt x="3332" y="11501"/>
                    <a:pt x="3332" y="11501"/>
                    <a:pt x="3332" y="11501"/>
                  </a:cubicBezTo>
                  <a:cubicBezTo>
                    <a:pt x="3271" y="11577"/>
                    <a:pt x="3271" y="11577"/>
                    <a:pt x="3271" y="11577"/>
                  </a:cubicBezTo>
                  <a:cubicBezTo>
                    <a:pt x="3183" y="11508"/>
                    <a:pt x="3183" y="11508"/>
                    <a:pt x="3183" y="11508"/>
                  </a:cubicBezTo>
                  <a:cubicBezTo>
                    <a:pt x="3268" y="11402"/>
                    <a:pt x="3268" y="11402"/>
                    <a:pt x="3268" y="11402"/>
                  </a:cubicBezTo>
                  <a:lnTo>
                    <a:pt x="3348" y="11466"/>
                  </a:lnTo>
                  <a:close/>
                  <a:moveTo>
                    <a:pt x="3171" y="11497"/>
                  </a:moveTo>
                  <a:cubicBezTo>
                    <a:pt x="3169" y="11496"/>
                    <a:pt x="3169" y="11496"/>
                    <a:pt x="3169" y="11496"/>
                  </a:cubicBezTo>
                  <a:cubicBezTo>
                    <a:pt x="3218" y="11434"/>
                    <a:pt x="3218" y="11434"/>
                    <a:pt x="3218" y="11434"/>
                  </a:cubicBezTo>
                  <a:cubicBezTo>
                    <a:pt x="3221" y="11435"/>
                    <a:pt x="3221" y="11435"/>
                    <a:pt x="3221" y="11435"/>
                  </a:cubicBezTo>
                  <a:lnTo>
                    <a:pt x="3171" y="11497"/>
                  </a:lnTo>
                  <a:close/>
                  <a:moveTo>
                    <a:pt x="3175" y="11518"/>
                  </a:moveTo>
                  <a:cubicBezTo>
                    <a:pt x="3262" y="11588"/>
                    <a:pt x="3262" y="11588"/>
                    <a:pt x="3262" y="11588"/>
                  </a:cubicBezTo>
                  <a:cubicBezTo>
                    <a:pt x="3200" y="11666"/>
                    <a:pt x="3200" y="11666"/>
                    <a:pt x="3200" y="11666"/>
                  </a:cubicBezTo>
                  <a:cubicBezTo>
                    <a:pt x="3191" y="11657"/>
                    <a:pt x="3183" y="11649"/>
                    <a:pt x="3175" y="11643"/>
                  </a:cubicBezTo>
                  <a:cubicBezTo>
                    <a:pt x="3157" y="11629"/>
                    <a:pt x="3134" y="11613"/>
                    <a:pt x="3110" y="11598"/>
                  </a:cubicBezTo>
                  <a:lnTo>
                    <a:pt x="3175" y="11518"/>
                  </a:lnTo>
                  <a:close/>
                  <a:moveTo>
                    <a:pt x="3251" y="11628"/>
                  </a:moveTo>
                  <a:cubicBezTo>
                    <a:pt x="3353" y="11710"/>
                    <a:pt x="3353" y="11710"/>
                    <a:pt x="3353" y="11710"/>
                  </a:cubicBezTo>
                  <a:cubicBezTo>
                    <a:pt x="3351" y="11712"/>
                    <a:pt x="3351" y="11712"/>
                    <a:pt x="3351" y="11712"/>
                  </a:cubicBezTo>
                  <a:cubicBezTo>
                    <a:pt x="3354" y="11714"/>
                    <a:pt x="3354" y="11714"/>
                    <a:pt x="3354" y="11714"/>
                  </a:cubicBezTo>
                  <a:cubicBezTo>
                    <a:pt x="3349" y="11722"/>
                    <a:pt x="3349" y="11722"/>
                    <a:pt x="3349" y="11722"/>
                  </a:cubicBezTo>
                  <a:cubicBezTo>
                    <a:pt x="3299" y="11784"/>
                    <a:pt x="3299" y="11784"/>
                    <a:pt x="3299" y="11784"/>
                  </a:cubicBezTo>
                  <a:cubicBezTo>
                    <a:pt x="3272" y="11748"/>
                    <a:pt x="3240" y="11708"/>
                    <a:pt x="3212" y="11677"/>
                  </a:cubicBezTo>
                  <a:lnTo>
                    <a:pt x="3251" y="11628"/>
                  </a:lnTo>
                  <a:close/>
                  <a:moveTo>
                    <a:pt x="3340" y="11759"/>
                  </a:moveTo>
                  <a:cubicBezTo>
                    <a:pt x="3437" y="11838"/>
                    <a:pt x="3437" y="11838"/>
                    <a:pt x="3437" y="11838"/>
                  </a:cubicBezTo>
                  <a:cubicBezTo>
                    <a:pt x="3396" y="11890"/>
                    <a:pt x="3396" y="11890"/>
                    <a:pt x="3396" y="11890"/>
                  </a:cubicBezTo>
                  <a:cubicBezTo>
                    <a:pt x="3395" y="11888"/>
                    <a:pt x="3395" y="11888"/>
                    <a:pt x="3395" y="11888"/>
                  </a:cubicBezTo>
                  <a:cubicBezTo>
                    <a:pt x="3359" y="11870"/>
                    <a:pt x="3359" y="11870"/>
                    <a:pt x="3359" y="11870"/>
                  </a:cubicBezTo>
                  <a:cubicBezTo>
                    <a:pt x="3352" y="11859"/>
                    <a:pt x="3333" y="11831"/>
                    <a:pt x="3309" y="11798"/>
                  </a:cubicBezTo>
                  <a:lnTo>
                    <a:pt x="3340" y="11759"/>
                  </a:lnTo>
                  <a:close/>
                  <a:moveTo>
                    <a:pt x="3365" y="11924"/>
                  </a:moveTo>
                  <a:cubicBezTo>
                    <a:pt x="3467" y="12053"/>
                    <a:pt x="3467" y="12053"/>
                    <a:pt x="3467" y="12053"/>
                  </a:cubicBezTo>
                  <a:cubicBezTo>
                    <a:pt x="3467" y="12054"/>
                    <a:pt x="3466" y="12055"/>
                    <a:pt x="3466" y="12056"/>
                  </a:cubicBezTo>
                  <a:cubicBezTo>
                    <a:pt x="3462" y="12063"/>
                    <a:pt x="3456" y="12073"/>
                    <a:pt x="3450" y="12086"/>
                  </a:cubicBezTo>
                  <a:cubicBezTo>
                    <a:pt x="3437" y="12110"/>
                    <a:pt x="3420" y="12143"/>
                    <a:pt x="3404" y="12176"/>
                  </a:cubicBezTo>
                  <a:cubicBezTo>
                    <a:pt x="3377" y="12229"/>
                    <a:pt x="3351" y="12282"/>
                    <a:pt x="3342" y="12301"/>
                  </a:cubicBezTo>
                  <a:cubicBezTo>
                    <a:pt x="3124" y="12217"/>
                    <a:pt x="3124" y="12217"/>
                    <a:pt x="3124" y="12217"/>
                  </a:cubicBezTo>
                  <a:cubicBezTo>
                    <a:pt x="3184" y="12068"/>
                    <a:pt x="3184" y="12068"/>
                    <a:pt x="3184" y="12068"/>
                  </a:cubicBezTo>
                  <a:cubicBezTo>
                    <a:pt x="2946" y="11987"/>
                    <a:pt x="2946" y="11987"/>
                    <a:pt x="2946" y="11987"/>
                  </a:cubicBezTo>
                  <a:cubicBezTo>
                    <a:pt x="2976" y="11902"/>
                    <a:pt x="3008" y="11810"/>
                    <a:pt x="3018" y="11780"/>
                  </a:cubicBezTo>
                  <a:cubicBezTo>
                    <a:pt x="3225" y="11852"/>
                    <a:pt x="3225" y="11852"/>
                    <a:pt x="3225" y="11852"/>
                  </a:cubicBezTo>
                  <a:lnTo>
                    <a:pt x="3365" y="11924"/>
                  </a:lnTo>
                  <a:close/>
                  <a:moveTo>
                    <a:pt x="3162" y="12078"/>
                  </a:moveTo>
                  <a:cubicBezTo>
                    <a:pt x="3102" y="12226"/>
                    <a:pt x="3102" y="12226"/>
                    <a:pt x="3102" y="12226"/>
                  </a:cubicBezTo>
                  <a:cubicBezTo>
                    <a:pt x="3336" y="12316"/>
                    <a:pt x="3336" y="12316"/>
                    <a:pt x="3336" y="12316"/>
                  </a:cubicBezTo>
                  <a:cubicBezTo>
                    <a:pt x="3243" y="12499"/>
                    <a:pt x="3243" y="12499"/>
                    <a:pt x="3243" y="12499"/>
                  </a:cubicBezTo>
                  <a:cubicBezTo>
                    <a:pt x="3212" y="12485"/>
                    <a:pt x="3182" y="12474"/>
                    <a:pt x="3152" y="12465"/>
                  </a:cubicBezTo>
                  <a:cubicBezTo>
                    <a:pt x="3065" y="12439"/>
                    <a:pt x="2984" y="12413"/>
                    <a:pt x="2882" y="12391"/>
                  </a:cubicBezTo>
                  <a:cubicBezTo>
                    <a:pt x="2858" y="12152"/>
                    <a:pt x="2858" y="12152"/>
                    <a:pt x="2858" y="12152"/>
                  </a:cubicBezTo>
                  <a:cubicBezTo>
                    <a:pt x="2871" y="12154"/>
                    <a:pt x="2879" y="12155"/>
                    <a:pt x="2881" y="12155"/>
                  </a:cubicBezTo>
                  <a:cubicBezTo>
                    <a:pt x="2881" y="12155"/>
                    <a:pt x="2881" y="12155"/>
                    <a:pt x="2881" y="12155"/>
                  </a:cubicBezTo>
                  <a:cubicBezTo>
                    <a:pt x="2886" y="12155"/>
                    <a:pt x="2886" y="12155"/>
                    <a:pt x="2886" y="12155"/>
                  </a:cubicBezTo>
                  <a:cubicBezTo>
                    <a:pt x="2888" y="12150"/>
                    <a:pt x="2888" y="12150"/>
                    <a:pt x="2888" y="12150"/>
                  </a:cubicBezTo>
                  <a:cubicBezTo>
                    <a:pt x="2889" y="12149"/>
                    <a:pt x="2913" y="12081"/>
                    <a:pt x="2940" y="12002"/>
                  </a:cubicBezTo>
                  <a:lnTo>
                    <a:pt x="3162" y="12078"/>
                  </a:lnTo>
                  <a:close/>
                  <a:moveTo>
                    <a:pt x="3349" y="12321"/>
                  </a:moveTo>
                  <a:cubicBezTo>
                    <a:pt x="3350" y="12321"/>
                    <a:pt x="3350" y="12321"/>
                    <a:pt x="3350" y="12321"/>
                  </a:cubicBezTo>
                  <a:cubicBezTo>
                    <a:pt x="3353" y="12315"/>
                    <a:pt x="3353" y="12315"/>
                    <a:pt x="3353" y="12315"/>
                  </a:cubicBezTo>
                  <a:cubicBezTo>
                    <a:pt x="3353" y="12315"/>
                    <a:pt x="3382" y="12255"/>
                    <a:pt x="3414" y="12193"/>
                  </a:cubicBezTo>
                  <a:cubicBezTo>
                    <a:pt x="3439" y="12143"/>
                    <a:pt x="3465" y="12091"/>
                    <a:pt x="3478" y="12067"/>
                  </a:cubicBezTo>
                  <a:cubicBezTo>
                    <a:pt x="3582" y="12198"/>
                    <a:pt x="3582" y="12198"/>
                    <a:pt x="3582" y="12198"/>
                  </a:cubicBezTo>
                  <a:cubicBezTo>
                    <a:pt x="3598" y="12215"/>
                    <a:pt x="3598" y="12215"/>
                    <a:pt x="3598" y="12215"/>
                  </a:cubicBezTo>
                  <a:cubicBezTo>
                    <a:pt x="3463" y="12325"/>
                    <a:pt x="3463" y="12325"/>
                    <a:pt x="3463" y="12325"/>
                  </a:cubicBezTo>
                  <a:cubicBezTo>
                    <a:pt x="3564" y="12714"/>
                    <a:pt x="3564" y="12714"/>
                    <a:pt x="3564" y="12714"/>
                  </a:cubicBezTo>
                  <a:cubicBezTo>
                    <a:pt x="3563" y="12713"/>
                    <a:pt x="3562" y="12712"/>
                    <a:pt x="3561" y="12711"/>
                  </a:cubicBezTo>
                  <a:cubicBezTo>
                    <a:pt x="3500" y="12652"/>
                    <a:pt x="3379" y="12563"/>
                    <a:pt x="3255" y="12505"/>
                  </a:cubicBezTo>
                  <a:lnTo>
                    <a:pt x="3349" y="12321"/>
                  </a:lnTo>
                  <a:close/>
                  <a:moveTo>
                    <a:pt x="3740" y="12959"/>
                  </a:moveTo>
                  <a:cubicBezTo>
                    <a:pt x="3741" y="12763"/>
                    <a:pt x="3741" y="12763"/>
                    <a:pt x="3741" y="12763"/>
                  </a:cubicBezTo>
                  <a:cubicBezTo>
                    <a:pt x="3797" y="12744"/>
                    <a:pt x="3858" y="12720"/>
                    <a:pt x="3895" y="12688"/>
                  </a:cubicBezTo>
                  <a:cubicBezTo>
                    <a:pt x="3929" y="12659"/>
                    <a:pt x="3950" y="12632"/>
                    <a:pt x="3964" y="12608"/>
                  </a:cubicBezTo>
                  <a:cubicBezTo>
                    <a:pt x="3998" y="12638"/>
                    <a:pt x="4080" y="12714"/>
                    <a:pt x="4143" y="12770"/>
                  </a:cubicBezTo>
                  <a:cubicBezTo>
                    <a:pt x="4180" y="12803"/>
                    <a:pt x="4212" y="12828"/>
                    <a:pt x="4219" y="12835"/>
                  </a:cubicBezTo>
                  <a:cubicBezTo>
                    <a:pt x="4220" y="12836"/>
                    <a:pt x="4221" y="12837"/>
                    <a:pt x="4221" y="12838"/>
                  </a:cubicBezTo>
                  <a:cubicBezTo>
                    <a:pt x="4223" y="12840"/>
                    <a:pt x="4225" y="12842"/>
                    <a:pt x="4228" y="12845"/>
                  </a:cubicBezTo>
                  <a:cubicBezTo>
                    <a:pt x="4233" y="12852"/>
                    <a:pt x="4240" y="12860"/>
                    <a:pt x="4246" y="12870"/>
                  </a:cubicBezTo>
                  <a:cubicBezTo>
                    <a:pt x="4259" y="12889"/>
                    <a:pt x="4271" y="12914"/>
                    <a:pt x="4271" y="12928"/>
                  </a:cubicBezTo>
                  <a:cubicBezTo>
                    <a:pt x="4271" y="12930"/>
                    <a:pt x="4270" y="12935"/>
                    <a:pt x="4270" y="12940"/>
                  </a:cubicBezTo>
                  <a:cubicBezTo>
                    <a:pt x="4268" y="12942"/>
                    <a:pt x="4267" y="12943"/>
                    <a:pt x="4265" y="12945"/>
                  </a:cubicBezTo>
                  <a:cubicBezTo>
                    <a:pt x="4258" y="12954"/>
                    <a:pt x="4201" y="13006"/>
                    <a:pt x="4182" y="13023"/>
                  </a:cubicBezTo>
                  <a:cubicBezTo>
                    <a:pt x="4166" y="13037"/>
                    <a:pt x="4116" y="13047"/>
                    <a:pt x="4039" y="13143"/>
                  </a:cubicBezTo>
                  <a:cubicBezTo>
                    <a:pt x="4030" y="13155"/>
                    <a:pt x="4021" y="13167"/>
                    <a:pt x="4013" y="13179"/>
                  </a:cubicBezTo>
                  <a:cubicBezTo>
                    <a:pt x="3700" y="13063"/>
                    <a:pt x="3700" y="13063"/>
                    <a:pt x="3700" y="13063"/>
                  </a:cubicBezTo>
                  <a:lnTo>
                    <a:pt x="3740" y="12959"/>
                  </a:lnTo>
                  <a:close/>
                  <a:moveTo>
                    <a:pt x="4214" y="12820"/>
                  </a:moveTo>
                  <a:cubicBezTo>
                    <a:pt x="4214" y="12820"/>
                    <a:pt x="4214" y="12820"/>
                    <a:pt x="4214" y="12820"/>
                  </a:cubicBezTo>
                  <a:cubicBezTo>
                    <a:pt x="4214" y="12820"/>
                    <a:pt x="4214" y="12820"/>
                    <a:pt x="4214" y="12820"/>
                  </a:cubicBezTo>
                  <a:close/>
                  <a:moveTo>
                    <a:pt x="4214" y="12816"/>
                  </a:moveTo>
                  <a:cubicBezTo>
                    <a:pt x="4214" y="12816"/>
                    <a:pt x="4215" y="12815"/>
                    <a:pt x="4215" y="12815"/>
                  </a:cubicBezTo>
                  <a:cubicBezTo>
                    <a:pt x="4215" y="12815"/>
                    <a:pt x="4215" y="12815"/>
                    <a:pt x="4215" y="12815"/>
                  </a:cubicBezTo>
                  <a:cubicBezTo>
                    <a:pt x="4215" y="12815"/>
                    <a:pt x="4214" y="12816"/>
                    <a:pt x="4214" y="12816"/>
                  </a:cubicBezTo>
                  <a:close/>
                  <a:moveTo>
                    <a:pt x="4141" y="12125"/>
                  </a:moveTo>
                  <a:cubicBezTo>
                    <a:pt x="4118" y="12146"/>
                    <a:pt x="4095" y="12170"/>
                    <a:pt x="4078" y="12190"/>
                  </a:cubicBezTo>
                  <a:cubicBezTo>
                    <a:pt x="4068" y="12202"/>
                    <a:pt x="4060" y="12215"/>
                    <a:pt x="4052" y="12227"/>
                  </a:cubicBezTo>
                  <a:cubicBezTo>
                    <a:pt x="4050" y="12225"/>
                    <a:pt x="4047" y="12222"/>
                    <a:pt x="4043" y="12220"/>
                  </a:cubicBezTo>
                  <a:cubicBezTo>
                    <a:pt x="4027" y="12205"/>
                    <a:pt x="4005" y="12187"/>
                    <a:pt x="3984" y="12168"/>
                  </a:cubicBezTo>
                  <a:cubicBezTo>
                    <a:pt x="3948" y="12137"/>
                    <a:pt x="3912" y="12105"/>
                    <a:pt x="3901" y="12096"/>
                  </a:cubicBezTo>
                  <a:cubicBezTo>
                    <a:pt x="3849" y="11987"/>
                    <a:pt x="3849" y="11987"/>
                    <a:pt x="3849" y="11987"/>
                  </a:cubicBezTo>
                  <a:cubicBezTo>
                    <a:pt x="4090" y="11913"/>
                    <a:pt x="4090" y="11913"/>
                    <a:pt x="4090" y="11913"/>
                  </a:cubicBezTo>
                  <a:cubicBezTo>
                    <a:pt x="4208" y="12068"/>
                    <a:pt x="4208" y="12068"/>
                    <a:pt x="4208" y="12068"/>
                  </a:cubicBezTo>
                  <a:cubicBezTo>
                    <a:pt x="4208" y="12068"/>
                    <a:pt x="4208" y="12068"/>
                    <a:pt x="4208" y="12068"/>
                  </a:cubicBezTo>
                  <a:cubicBezTo>
                    <a:pt x="4208" y="12068"/>
                    <a:pt x="4208" y="12068"/>
                    <a:pt x="4209" y="12069"/>
                  </a:cubicBezTo>
                  <a:cubicBezTo>
                    <a:pt x="4209" y="12069"/>
                    <a:pt x="4209" y="12069"/>
                    <a:pt x="4209" y="12069"/>
                  </a:cubicBezTo>
                  <a:cubicBezTo>
                    <a:pt x="4204" y="12072"/>
                    <a:pt x="4173" y="12096"/>
                    <a:pt x="4141" y="12125"/>
                  </a:cubicBezTo>
                  <a:close/>
                  <a:moveTo>
                    <a:pt x="4079" y="11899"/>
                  </a:moveTo>
                  <a:cubicBezTo>
                    <a:pt x="3842" y="11972"/>
                    <a:pt x="3842" y="11972"/>
                    <a:pt x="3842" y="11972"/>
                  </a:cubicBezTo>
                  <a:cubicBezTo>
                    <a:pt x="3761" y="11802"/>
                    <a:pt x="3761" y="11802"/>
                    <a:pt x="3761" y="11802"/>
                  </a:cubicBezTo>
                  <a:cubicBezTo>
                    <a:pt x="3757" y="11798"/>
                    <a:pt x="3757" y="11798"/>
                    <a:pt x="3757" y="11798"/>
                  </a:cubicBezTo>
                  <a:cubicBezTo>
                    <a:pt x="3757" y="11798"/>
                    <a:pt x="3600" y="11684"/>
                    <a:pt x="3571" y="11663"/>
                  </a:cubicBezTo>
                  <a:cubicBezTo>
                    <a:pt x="3570" y="11662"/>
                    <a:pt x="3570" y="11661"/>
                    <a:pt x="3569" y="11660"/>
                  </a:cubicBezTo>
                  <a:cubicBezTo>
                    <a:pt x="3566" y="11654"/>
                    <a:pt x="3563" y="11646"/>
                    <a:pt x="3558" y="11636"/>
                  </a:cubicBezTo>
                  <a:cubicBezTo>
                    <a:pt x="3549" y="11616"/>
                    <a:pt x="3537" y="11590"/>
                    <a:pt x="3525" y="11563"/>
                  </a:cubicBezTo>
                  <a:cubicBezTo>
                    <a:pt x="3500" y="11510"/>
                    <a:pt x="3477" y="11457"/>
                    <a:pt x="3477" y="11457"/>
                  </a:cubicBezTo>
                  <a:cubicBezTo>
                    <a:pt x="3475" y="11453"/>
                    <a:pt x="3475" y="11453"/>
                    <a:pt x="3475" y="11453"/>
                  </a:cubicBezTo>
                  <a:cubicBezTo>
                    <a:pt x="3614" y="11289"/>
                    <a:pt x="3614" y="11289"/>
                    <a:pt x="3614" y="11289"/>
                  </a:cubicBezTo>
                  <a:lnTo>
                    <a:pt x="4079" y="11899"/>
                  </a:lnTo>
                  <a:close/>
                  <a:moveTo>
                    <a:pt x="3461" y="11443"/>
                  </a:moveTo>
                  <a:cubicBezTo>
                    <a:pt x="3160" y="11282"/>
                    <a:pt x="3160" y="11282"/>
                    <a:pt x="3160" y="11282"/>
                  </a:cubicBezTo>
                  <a:cubicBezTo>
                    <a:pt x="3153" y="11294"/>
                    <a:pt x="3153" y="11294"/>
                    <a:pt x="3153" y="11294"/>
                  </a:cubicBezTo>
                  <a:cubicBezTo>
                    <a:pt x="3228" y="11135"/>
                    <a:pt x="3228" y="11135"/>
                    <a:pt x="3228" y="11135"/>
                  </a:cubicBezTo>
                  <a:cubicBezTo>
                    <a:pt x="3409" y="11021"/>
                    <a:pt x="3409" y="11021"/>
                    <a:pt x="3409" y="11021"/>
                  </a:cubicBezTo>
                  <a:cubicBezTo>
                    <a:pt x="3604" y="11276"/>
                    <a:pt x="3604" y="11276"/>
                    <a:pt x="3604" y="11276"/>
                  </a:cubicBezTo>
                  <a:lnTo>
                    <a:pt x="3461" y="11443"/>
                  </a:lnTo>
                  <a:close/>
                  <a:moveTo>
                    <a:pt x="3212" y="11429"/>
                  </a:moveTo>
                  <a:cubicBezTo>
                    <a:pt x="3163" y="11491"/>
                    <a:pt x="3163" y="11491"/>
                    <a:pt x="3163" y="11491"/>
                  </a:cubicBezTo>
                  <a:cubicBezTo>
                    <a:pt x="3157" y="11487"/>
                    <a:pt x="3157" y="11487"/>
                    <a:pt x="3157" y="11487"/>
                  </a:cubicBezTo>
                  <a:cubicBezTo>
                    <a:pt x="3148" y="11496"/>
                    <a:pt x="3148" y="11496"/>
                    <a:pt x="3148" y="11496"/>
                  </a:cubicBezTo>
                  <a:cubicBezTo>
                    <a:pt x="3118" y="11526"/>
                    <a:pt x="3118" y="11526"/>
                    <a:pt x="3118" y="11526"/>
                  </a:cubicBezTo>
                  <a:cubicBezTo>
                    <a:pt x="3034" y="11461"/>
                    <a:pt x="3034" y="11461"/>
                    <a:pt x="3034" y="11461"/>
                  </a:cubicBezTo>
                  <a:cubicBezTo>
                    <a:pt x="3119" y="11356"/>
                    <a:pt x="3119" y="11356"/>
                    <a:pt x="3119" y="11356"/>
                  </a:cubicBezTo>
                  <a:lnTo>
                    <a:pt x="3212" y="11429"/>
                  </a:lnTo>
                  <a:close/>
                  <a:moveTo>
                    <a:pt x="3119" y="11545"/>
                  </a:moveTo>
                  <a:cubicBezTo>
                    <a:pt x="3157" y="11507"/>
                    <a:pt x="3157" y="11507"/>
                    <a:pt x="3157" y="11507"/>
                  </a:cubicBezTo>
                  <a:cubicBezTo>
                    <a:pt x="3159" y="11509"/>
                    <a:pt x="3159" y="11509"/>
                    <a:pt x="3159" y="11509"/>
                  </a:cubicBezTo>
                  <a:cubicBezTo>
                    <a:pt x="3161" y="11507"/>
                    <a:pt x="3161" y="11507"/>
                    <a:pt x="3161" y="11507"/>
                  </a:cubicBezTo>
                  <a:cubicBezTo>
                    <a:pt x="3162" y="11508"/>
                    <a:pt x="3162" y="11508"/>
                    <a:pt x="3162" y="11508"/>
                  </a:cubicBezTo>
                  <a:cubicBezTo>
                    <a:pt x="3096" y="11590"/>
                    <a:pt x="3096" y="11590"/>
                    <a:pt x="3096" y="11590"/>
                  </a:cubicBezTo>
                  <a:cubicBezTo>
                    <a:pt x="3052" y="11563"/>
                    <a:pt x="3005" y="11538"/>
                    <a:pt x="2969" y="11520"/>
                  </a:cubicBezTo>
                  <a:cubicBezTo>
                    <a:pt x="3016" y="11464"/>
                    <a:pt x="3016" y="11464"/>
                    <a:pt x="3016" y="11464"/>
                  </a:cubicBezTo>
                  <a:lnTo>
                    <a:pt x="3119" y="11545"/>
                  </a:lnTo>
                  <a:close/>
                  <a:moveTo>
                    <a:pt x="2904" y="11592"/>
                  </a:moveTo>
                  <a:cubicBezTo>
                    <a:pt x="2980" y="11641"/>
                    <a:pt x="3049" y="11650"/>
                    <a:pt x="3099" y="11702"/>
                  </a:cubicBezTo>
                  <a:cubicBezTo>
                    <a:pt x="3131" y="11735"/>
                    <a:pt x="3157" y="11766"/>
                    <a:pt x="3173" y="11787"/>
                  </a:cubicBezTo>
                  <a:cubicBezTo>
                    <a:pt x="2902" y="11692"/>
                    <a:pt x="2902" y="11692"/>
                    <a:pt x="2902" y="11692"/>
                  </a:cubicBezTo>
                  <a:cubicBezTo>
                    <a:pt x="2809" y="11588"/>
                    <a:pt x="2809" y="11588"/>
                    <a:pt x="2809" y="11588"/>
                  </a:cubicBezTo>
                  <a:cubicBezTo>
                    <a:pt x="2822" y="11556"/>
                    <a:pt x="2822" y="11556"/>
                    <a:pt x="2822" y="11556"/>
                  </a:cubicBezTo>
                  <a:cubicBezTo>
                    <a:pt x="2842" y="11560"/>
                    <a:pt x="2869" y="11569"/>
                    <a:pt x="2904" y="11592"/>
                  </a:cubicBezTo>
                  <a:close/>
                  <a:moveTo>
                    <a:pt x="2598" y="11986"/>
                  </a:moveTo>
                  <a:cubicBezTo>
                    <a:pt x="2561" y="12106"/>
                    <a:pt x="2561" y="12106"/>
                    <a:pt x="2561" y="12106"/>
                  </a:cubicBezTo>
                  <a:cubicBezTo>
                    <a:pt x="2570" y="12107"/>
                    <a:pt x="2570" y="12107"/>
                    <a:pt x="2570" y="12107"/>
                  </a:cubicBezTo>
                  <a:cubicBezTo>
                    <a:pt x="2571" y="12107"/>
                    <a:pt x="2762" y="12137"/>
                    <a:pt x="2844" y="12150"/>
                  </a:cubicBezTo>
                  <a:cubicBezTo>
                    <a:pt x="2868" y="12387"/>
                    <a:pt x="2868" y="12387"/>
                    <a:pt x="2868" y="12387"/>
                  </a:cubicBezTo>
                  <a:cubicBezTo>
                    <a:pt x="2799" y="12373"/>
                    <a:pt x="2721" y="12360"/>
                    <a:pt x="2626" y="12351"/>
                  </a:cubicBezTo>
                  <a:cubicBezTo>
                    <a:pt x="2462" y="12335"/>
                    <a:pt x="2364" y="12325"/>
                    <a:pt x="2318" y="12320"/>
                  </a:cubicBezTo>
                  <a:cubicBezTo>
                    <a:pt x="2319" y="12317"/>
                    <a:pt x="2319" y="12314"/>
                    <a:pt x="2320" y="12309"/>
                  </a:cubicBezTo>
                  <a:cubicBezTo>
                    <a:pt x="2322" y="12299"/>
                    <a:pt x="2324" y="12285"/>
                    <a:pt x="2326" y="12269"/>
                  </a:cubicBezTo>
                  <a:cubicBezTo>
                    <a:pt x="2331" y="12236"/>
                    <a:pt x="2338" y="12193"/>
                    <a:pt x="2344" y="12150"/>
                  </a:cubicBezTo>
                  <a:cubicBezTo>
                    <a:pt x="2356" y="12068"/>
                    <a:pt x="2368" y="11988"/>
                    <a:pt x="2369" y="11979"/>
                  </a:cubicBezTo>
                  <a:cubicBezTo>
                    <a:pt x="2369" y="11978"/>
                    <a:pt x="2369" y="11977"/>
                    <a:pt x="2370" y="11975"/>
                  </a:cubicBezTo>
                  <a:lnTo>
                    <a:pt x="2598" y="11986"/>
                  </a:lnTo>
                  <a:close/>
                  <a:moveTo>
                    <a:pt x="2621" y="12396"/>
                  </a:moveTo>
                  <a:cubicBezTo>
                    <a:pt x="2861" y="12420"/>
                    <a:pt x="2990" y="12463"/>
                    <a:pt x="3139" y="12508"/>
                  </a:cubicBezTo>
                  <a:cubicBezTo>
                    <a:pt x="3194" y="12524"/>
                    <a:pt x="3254" y="12553"/>
                    <a:pt x="3312" y="12585"/>
                  </a:cubicBezTo>
                  <a:cubicBezTo>
                    <a:pt x="2887" y="13089"/>
                    <a:pt x="2887" y="13089"/>
                    <a:pt x="2887" y="13089"/>
                  </a:cubicBezTo>
                  <a:cubicBezTo>
                    <a:pt x="2859" y="13068"/>
                    <a:pt x="2829" y="13050"/>
                    <a:pt x="2797" y="13039"/>
                  </a:cubicBezTo>
                  <a:cubicBezTo>
                    <a:pt x="2724" y="13015"/>
                    <a:pt x="2617" y="12984"/>
                    <a:pt x="2527" y="12959"/>
                  </a:cubicBezTo>
                  <a:cubicBezTo>
                    <a:pt x="2620" y="12396"/>
                    <a:pt x="2620" y="12396"/>
                    <a:pt x="2620" y="12396"/>
                  </a:cubicBezTo>
                  <a:cubicBezTo>
                    <a:pt x="2621" y="12396"/>
                    <a:pt x="2621" y="12396"/>
                    <a:pt x="2621" y="12396"/>
                  </a:cubicBezTo>
                  <a:close/>
                  <a:moveTo>
                    <a:pt x="2898" y="13098"/>
                  </a:moveTo>
                  <a:cubicBezTo>
                    <a:pt x="3324" y="12592"/>
                    <a:pt x="3324" y="12592"/>
                    <a:pt x="3324" y="12592"/>
                  </a:cubicBezTo>
                  <a:cubicBezTo>
                    <a:pt x="3410" y="12643"/>
                    <a:pt x="3488" y="12702"/>
                    <a:pt x="3530" y="12743"/>
                  </a:cubicBezTo>
                  <a:cubicBezTo>
                    <a:pt x="3582" y="12794"/>
                    <a:pt x="3612" y="12841"/>
                    <a:pt x="3613" y="12907"/>
                  </a:cubicBezTo>
                  <a:cubicBezTo>
                    <a:pt x="3613" y="12935"/>
                    <a:pt x="3607" y="12966"/>
                    <a:pt x="3594" y="13002"/>
                  </a:cubicBezTo>
                  <a:cubicBezTo>
                    <a:pt x="3565" y="13089"/>
                    <a:pt x="3442" y="13172"/>
                    <a:pt x="3382" y="13205"/>
                  </a:cubicBezTo>
                  <a:cubicBezTo>
                    <a:pt x="3365" y="13214"/>
                    <a:pt x="3353" y="13220"/>
                    <a:pt x="3350" y="13221"/>
                  </a:cubicBezTo>
                  <a:cubicBezTo>
                    <a:pt x="3285" y="13246"/>
                    <a:pt x="3156" y="13260"/>
                    <a:pt x="3049" y="13282"/>
                  </a:cubicBezTo>
                  <a:cubicBezTo>
                    <a:pt x="3026" y="13243"/>
                    <a:pt x="2971" y="13159"/>
                    <a:pt x="2898" y="13098"/>
                  </a:cubicBezTo>
                  <a:close/>
                  <a:moveTo>
                    <a:pt x="3367" y="13263"/>
                  </a:moveTo>
                  <a:cubicBezTo>
                    <a:pt x="3368" y="13263"/>
                    <a:pt x="3368" y="13263"/>
                    <a:pt x="3368" y="13263"/>
                  </a:cubicBezTo>
                  <a:cubicBezTo>
                    <a:pt x="3369" y="13263"/>
                    <a:pt x="3369" y="13263"/>
                    <a:pt x="3369" y="13263"/>
                  </a:cubicBezTo>
                  <a:cubicBezTo>
                    <a:pt x="3370" y="13262"/>
                    <a:pt x="3423" y="13236"/>
                    <a:pt x="3483" y="13194"/>
                  </a:cubicBezTo>
                  <a:cubicBezTo>
                    <a:pt x="3534" y="13157"/>
                    <a:pt x="3590" y="13109"/>
                    <a:pt x="3622" y="13050"/>
                  </a:cubicBezTo>
                  <a:cubicBezTo>
                    <a:pt x="3679" y="13072"/>
                    <a:pt x="3679" y="13072"/>
                    <a:pt x="3679" y="13072"/>
                  </a:cubicBezTo>
                  <a:cubicBezTo>
                    <a:pt x="3679" y="13073"/>
                    <a:pt x="3679" y="13073"/>
                    <a:pt x="3679" y="13073"/>
                  </a:cubicBezTo>
                  <a:cubicBezTo>
                    <a:pt x="4004" y="13194"/>
                    <a:pt x="4004" y="13194"/>
                    <a:pt x="4004" y="13194"/>
                  </a:cubicBezTo>
                  <a:cubicBezTo>
                    <a:pt x="3954" y="13275"/>
                    <a:pt x="3923" y="13371"/>
                    <a:pt x="3914" y="13396"/>
                  </a:cubicBezTo>
                  <a:cubicBezTo>
                    <a:pt x="3856" y="13406"/>
                    <a:pt x="3367" y="13479"/>
                    <a:pt x="3330" y="13485"/>
                  </a:cubicBezTo>
                  <a:cubicBezTo>
                    <a:pt x="3330" y="13485"/>
                    <a:pt x="3329" y="13485"/>
                    <a:pt x="3328" y="13484"/>
                  </a:cubicBezTo>
                  <a:cubicBezTo>
                    <a:pt x="3326" y="13483"/>
                    <a:pt x="3322" y="13481"/>
                    <a:pt x="3318" y="13478"/>
                  </a:cubicBezTo>
                  <a:cubicBezTo>
                    <a:pt x="3310" y="13474"/>
                    <a:pt x="3299" y="13466"/>
                    <a:pt x="3286" y="13458"/>
                  </a:cubicBezTo>
                  <a:cubicBezTo>
                    <a:pt x="3260" y="13440"/>
                    <a:pt x="3226" y="13417"/>
                    <a:pt x="3192" y="13394"/>
                  </a:cubicBezTo>
                  <a:cubicBezTo>
                    <a:pt x="3151" y="13366"/>
                    <a:pt x="3112" y="13339"/>
                    <a:pt x="3086" y="13321"/>
                  </a:cubicBezTo>
                  <a:cubicBezTo>
                    <a:pt x="3185" y="13303"/>
                    <a:pt x="3300" y="13288"/>
                    <a:pt x="3367" y="13263"/>
                  </a:cubicBezTo>
                  <a:close/>
                  <a:moveTo>
                    <a:pt x="3928" y="13407"/>
                  </a:moveTo>
                  <a:cubicBezTo>
                    <a:pt x="3931" y="13400"/>
                    <a:pt x="3942" y="13363"/>
                    <a:pt x="3961" y="13316"/>
                  </a:cubicBezTo>
                  <a:cubicBezTo>
                    <a:pt x="3983" y="13264"/>
                    <a:pt x="4014" y="13200"/>
                    <a:pt x="4052" y="13154"/>
                  </a:cubicBezTo>
                  <a:cubicBezTo>
                    <a:pt x="4129" y="13059"/>
                    <a:pt x="4169" y="13054"/>
                    <a:pt x="4192" y="13035"/>
                  </a:cubicBezTo>
                  <a:cubicBezTo>
                    <a:pt x="4210" y="13020"/>
                    <a:pt x="4256" y="12978"/>
                    <a:pt x="4273" y="12961"/>
                  </a:cubicBezTo>
                  <a:cubicBezTo>
                    <a:pt x="4632" y="13064"/>
                    <a:pt x="4632" y="13064"/>
                    <a:pt x="4632" y="13064"/>
                  </a:cubicBezTo>
                  <a:cubicBezTo>
                    <a:pt x="4634" y="13058"/>
                    <a:pt x="4634" y="13058"/>
                    <a:pt x="4634" y="13058"/>
                  </a:cubicBezTo>
                  <a:cubicBezTo>
                    <a:pt x="4633" y="13060"/>
                    <a:pt x="4632" y="13062"/>
                    <a:pt x="4631" y="13065"/>
                  </a:cubicBezTo>
                  <a:cubicBezTo>
                    <a:pt x="4610" y="13119"/>
                    <a:pt x="4573" y="13215"/>
                    <a:pt x="4547" y="13285"/>
                  </a:cubicBezTo>
                  <a:cubicBezTo>
                    <a:pt x="4535" y="13319"/>
                    <a:pt x="4526" y="13345"/>
                    <a:pt x="4522" y="13363"/>
                  </a:cubicBezTo>
                  <a:cubicBezTo>
                    <a:pt x="4513" y="13413"/>
                    <a:pt x="4494" y="13524"/>
                    <a:pt x="4488" y="13576"/>
                  </a:cubicBezTo>
                  <a:cubicBezTo>
                    <a:pt x="4485" y="13599"/>
                    <a:pt x="4470" y="13706"/>
                    <a:pt x="4454" y="13811"/>
                  </a:cubicBezTo>
                  <a:cubicBezTo>
                    <a:pt x="4442" y="13894"/>
                    <a:pt x="4429" y="13978"/>
                    <a:pt x="4421" y="14021"/>
                  </a:cubicBezTo>
                  <a:cubicBezTo>
                    <a:pt x="4394" y="14017"/>
                    <a:pt x="4334" y="14007"/>
                    <a:pt x="4276" y="13998"/>
                  </a:cubicBezTo>
                  <a:cubicBezTo>
                    <a:pt x="4209" y="13987"/>
                    <a:pt x="4145" y="13976"/>
                    <a:pt x="4130" y="13974"/>
                  </a:cubicBezTo>
                  <a:cubicBezTo>
                    <a:pt x="3928" y="13758"/>
                    <a:pt x="3928" y="13758"/>
                    <a:pt x="3928" y="13758"/>
                  </a:cubicBezTo>
                  <a:lnTo>
                    <a:pt x="3928" y="13407"/>
                  </a:lnTo>
                  <a:close/>
                  <a:moveTo>
                    <a:pt x="4409" y="12954"/>
                  </a:moveTo>
                  <a:cubicBezTo>
                    <a:pt x="4409" y="12953"/>
                    <a:pt x="4409" y="12952"/>
                    <a:pt x="4409" y="12951"/>
                  </a:cubicBezTo>
                  <a:cubicBezTo>
                    <a:pt x="4409" y="12944"/>
                    <a:pt x="4409" y="12934"/>
                    <a:pt x="4409" y="12921"/>
                  </a:cubicBezTo>
                  <a:cubicBezTo>
                    <a:pt x="4409" y="12855"/>
                    <a:pt x="4412" y="12731"/>
                    <a:pt x="4412" y="12731"/>
                  </a:cubicBezTo>
                  <a:cubicBezTo>
                    <a:pt x="4412" y="12727"/>
                    <a:pt x="4412" y="12727"/>
                    <a:pt x="4412" y="12727"/>
                  </a:cubicBezTo>
                  <a:cubicBezTo>
                    <a:pt x="4307" y="12635"/>
                    <a:pt x="4307" y="12635"/>
                    <a:pt x="4307" y="12635"/>
                  </a:cubicBezTo>
                  <a:cubicBezTo>
                    <a:pt x="4318" y="12574"/>
                    <a:pt x="4318" y="12574"/>
                    <a:pt x="4318" y="12574"/>
                  </a:cubicBezTo>
                  <a:cubicBezTo>
                    <a:pt x="4230" y="12420"/>
                    <a:pt x="4230" y="12420"/>
                    <a:pt x="4230" y="12420"/>
                  </a:cubicBezTo>
                  <a:cubicBezTo>
                    <a:pt x="4286" y="12380"/>
                    <a:pt x="4286" y="12380"/>
                    <a:pt x="4286" y="12380"/>
                  </a:cubicBezTo>
                  <a:cubicBezTo>
                    <a:pt x="4187" y="12145"/>
                    <a:pt x="4187" y="12145"/>
                    <a:pt x="4187" y="12145"/>
                  </a:cubicBezTo>
                  <a:cubicBezTo>
                    <a:pt x="4212" y="12122"/>
                    <a:pt x="4232" y="12107"/>
                    <a:pt x="4232" y="12106"/>
                  </a:cubicBezTo>
                  <a:cubicBezTo>
                    <a:pt x="4236" y="12103"/>
                    <a:pt x="4236" y="12103"/>
                    <a:pt x="4236" y="12103"/>
                  </a:cubicBezTo>
                  <a:cubicBezTo>
                    <a:pt x="4268" y="12144"/>
                    <a:pt x="4324" y="12216"/>
                    <a:pt x="4389" y="12299"/>
                  </a:cubicBezTo>
                  <a:cubicBezTo>
                    <a:pt x="4490" y="12429"/>
                    <a:pt x="4612" y="12586"/>
                    <a:pt x="4697" y="12697"/>
                  </a:cubicBezTo>
                  <a:cubicBezTo>
                    <a:pt x="4739" y="12751"/>
                    <a:pt x="4773" y="12796"/>
                    <a:pt x="4789" y="12817"/>
                  </a:cubicBezTo>
                  <a:cubicBezTo>
                    <a:pt x="4738" y="12886"/>
                    <a:pt x="4676" y="12984"/>
                    <a:pt x="4652" y="13023"/>
                  </a:cubicBezTo>
                  <a:cubicBezTo>
                    <a:pt x="4648" y="13022"/>
                    <a:pt x="4648" y="13022"/>
                    <a:pt x="4648" y="13022"/>
                  </a:cubicBezTo>
                  <a:cubicBezTo>
                    <a:pt x="4648" y="13022"/>
                    <a:pt x="4648" y="13023"/>
                    <a:pt x="4648" y="13023"/>
                  </a:cubicBezTo>
                  <a:lnTo>
                    <a:pt x="4409" y="12954"/>
                  </a:lnTo>
                  <a:close/>
                  <a:moveTo>
                    <a:pt x="4761" y="12672"/>
                  </a:moveTo>
                  <a:cubicBezTo>
                    <a:pt x="4705" y="12600"/>
                    <a:pt x="4631" y="12504"/>
                    <a:pt x="4557" y="12409"/>
                  </a:cubicBezTo>
                  <a:cubicBezTo>
                    <a:pt x="4422" y="12235"/>
                    <a:pt x="4270" y="12036"/>
                    <a:pt x="4244" y="12002"/>
                  </a:cubicBezTo>
                  <a:cubicBezTo>
                    <a:pt x="4312" y="11906"/>
                    <a:pt x="4312" y="11906"/>
                    <a:pt x="4312" y="11906"/>
                  </a:cubicBezTo>
                  <a:cubicBezTo>
                    <a:pt x="4323" y="11645"/>
                    <a:pt x="4323" y="11645"/>
                    <a:pt x="4323" y="11645"/>
                  </a:cubicBezTo>
                  <a:cubicBezTo>
                    <a:pt x="4327" y="11648"/>
                    <a:pt x="4333" y="11653"/>
                    <a:pt x="4341" y="11658"/>
                  </a:cubicBezTo>
                  <a:cubicBezTo>
                    <a:pt x="4358" y="11671"/>
                    <a:pt x="4382" y="11688"/>
                    <a:pt x="4410" y="11709"/>
                  </a:cubicBezTo>
                  <a:cubicBezTo>
                    <a:pt x="4467" y="11751"/>
                    <a:pt x="4543" y="11807"/>
                    <a:pt x="4619" y="11863"/>
                  </a:cubicBezTo>
                  <a:cubicBezTo>
                    <a:pt x="4752" y="11961"/>
                    <a:pt x="4886" y="12060"/>
                    <a:pt x="4936" y="12095"/>
                  </a:cubicBezTo>
                  <a:cubicBezTo>
                    <a:pt x="4921" y="12117"/>
                    <a:pt x="4906" y="12138"/>
                    <a:pt x="4892" y="12158"/>
                  </a:cubicBezTo>
                  <a:cubicBezTo>
                    <a:pt x="4859" y="12206"/>
                    <a:pt x="4846" y="12253"/>
                    <a:pt x="4846" y="12300"/>
                  </a:cubicBezTo>
                  <a:cubicBezTo>
                    <a:pt x="4846" y="12360"/>
                    <a:pt x="4865" y="12416"/>
                    <a:pt x="4883" y="12480"/>
                  </a:cubicBezTo>
                  <a:cubicBezTo>
                    <a:pt x="4894" y="12522"/>
                    <a:pt x="4899" y="12558"/>
                    <a:pt x="4899" y="12588"/>
                  </a:cubicBezTo>
                  <a:cubicBezTo>
                    <a:pt x="4899" y="12666"/>
                    <a:pt x="4869" y="12715"/>
                    <a:pt x="4831" y="12764"/>
                  </a:cubicBezTo>
                  <a:cubicBezTo>
                    <a:pt x="4830" y="12763"/>
                    <a:pt x="4829" y="12762"/>
                    <a:pt x="4828" y="12760"/>
                  </a:cubicBezTo>
                  <a:cubicBezTo>
                    <a:pt x="4812" y="12739"/>
                    <a:pt x="4789" y="12708"/>
                    <a:pt x="4761" y="12672"/>
                  </a:cubicBezTo>
                  <a:close/>
                  <a:moveTo>
                    <a:pt x="4965" y="12588"/>
                  </a:moveTo>
                  <a:cubicBezTo>
                    <a:pt x="4965" y="12551"/>
                    <a:pt x="4959" y="12509"/>
                    <a:pt x="4946" y="12463"/>
                  </a:cubicBezTo>
                  <a:cubicBezTo>
                    <a:pt x="4927" y="12397"/>
                    <a:pt x="4912" y="12345"/>
                    <a:pt x="4912" y="12300"/>
                  </a:cubicBezTo>
                  <a:cubicBezTo>
                    <a:pt x="4912" y="12265"/>
                    <a:pt x="4920" y="12233"/>
                    <a:pt x="4946" y="12195"/>
                  </a:cubicBezTo>
                  <a:cubicBezTo>
                    <a:pt x="4963" y="12170"/>
                    <a:pt x="4982" y="12143"/>
                    <a:pt x="5001" y="12116"/>
                  </a:cubicBezTo>
                  <a:cubicBezTo>
                    <a:pt x="5085" y="12120"/>
                    <a:pt x="5367" y="12140"/>
                    <a:pt x="5420" y="12144"/>
                  </a:cubicBezTo>
                  <a:cubicBezTo>
                    <a:pt x="5323" y="12623"/>
                    <a:pt x="5323" y="12623"/>
                    <a:pt x="5323" y="12623"/>
                  </a:cubicBezTo>
                  <a:cubicBezTo>
                    <a:pt x="5354" y="12924"/>
                    <a:pt x="5354" y="12924"/>
                    <a:pt x="5354" y="12924"/>
                  </a:cubicBezTo>
                  <a:cubicBezTo>
                    <a:pt x="5348" y="12923"/>
                    <a:pt x="5344" y="12922"/>
                    <a:pt x="5344" y="12922"/>
                  </a:cubicBezTo>
                  <a:cubicBezTo>
                    <a:pt x="5336" y="12920"/>
                    <a:pt x="5011" y="12873"/>
                    <a:pt x="4908" y="12859"/>
                  </a:cubicBezTo>
                  <a:cubicBezTo>
                    <a:pt x="4897" y="12845"/>
                    <a:pt x="4885" y="12831"/>
                    <a:pt x="4872" y="12817"/>
                  </a:cubicBezTo>
                  <a:cubicBezTo>
                    <a:pt x="4917" y="12762"/>
                    <a:pt x="4965" y="12692"/>
                    <a:pt x="4965" y="12588"/>
                  </a:cubicBezTo>
                  <a:close/>
                  <a:moveTo>
                    <a:pt x="5370" y="12941"/>
                  </a:moveTo>
                  <a:cubicBezTo>
                    <a:pt x="5446" y="12955"/>
                    <a:pt x="5649" y="12994"/>
                    <a:pt x="5732" y="13009"/>
                  </a:cubicBezTo>
                  <a:cubicBezTo>
                    <a:pt x="5718" y="13138"/>
                    <a:pt x="5718" y="13138"/>
                    <a:pt x="5718" y="13138"/>
                  </a:cubicBezTo>
                  <a:cubicBezTo>
                    <a:pt x="5384" y="13075"/>
                    <a:pt x="5384" y="13075"/>
                    <a:pt x="5384" y="13075"/>
                  </a:cubicBezTo>
                  <a:lnTo>
                    <a:pt x="5370" y="12941"/>
                  </a:lnTo>
                  <a:close/>
                  <a:moveTo>
                    <a:pt x="5555" y="12962"/>
                  </a:moveTo>
                  <a:cubicBezTo>
                    <a:pt x="5480" y="12948"/>
                    <a:pt x="5406" y="12934"/>
                    <a:pt x="5369" y="12927"/>
                  </a:cubicBezTo>
                  <a:cubicBezTo>
                    <a:pt x="5352" y="12770"/>
                    <a:pt x="5352" y="12770"/>
                    <a:pt x="5352" y="12770"/>
                  </a:cubicBezTo>
                  <a:cubicBezTo>
                    <a:pt x="5411" y="12781"/>
                    <a:pt x="5679" y="12832"/>
                    <a:pt x="5751" y="12845"/>
                  </a:cubicBezTo>
                  <a:cubicBezTo>
                    <a:pt x="5734" y="12995"/>
                    <a:pt x="5734" y="12995"/>
                    <a:pt x="5734" y="12995"/>
                  </a:cubicBezTo>
                  <a:cubicBezTo>
                    <a:pt x="5693" y="12988"/>
                    <a:pt x="5623" y="12975"/>
                    <a:pt x="5555" y="12962"/>
                  </a:cubicBezTo>
                  <a:close/>
                  <a:moveTo>
                    <a:pt x="5602" y="12369"/>
                  </a:moveTo>
                  <a:cubicBezTo>
                    <a:pt x="5510" y="12352"/>
                    <a:pt x="5419" y="12335"/>
                    <a:pt x="5396" y="12330"/>
                  </a:cubicBezTo>
                  <a:cubicBezTo>
                    <a:pt x="5444" y="12093"/>
                    <a:pt x="5444" y="12093"/>
                    <a:pt x="5444" y="12093"/>
                  </a:cubicBezTo>
                  <a:cubicBezTo>
                    <a:pt x="5445" y="12095"/>
                    <a:pt x="5445" y="12095"/>
                    <a:pt x="5445" y="12095"/>
                  </a:cubicBezTo>
                  <a:cubicBezTo>
                    <a:pt x="5445" y="12098"/>
                    <a:pt x="5445" y="12098"/>
                    <a:pt x="5445" y="12098"/>
                  </a:cubicBezTo>
                  <a:cubicBezTo>
                    <a:pt x="5445" y="12101"/>
                    <a:pt x="5445" y="12101"/>
                    <a:pt x="5445" y="12101"/>
                  </a:cubicBezTo>
                  <a:cubicBezTo>
                    <a:pt x="5450" y="12101"/>
                    <a:pt x="5551" y="12120"/>
                    <a:pt x="5647" y="12138"/>
                  </a:cubicBezTo>
                  <a:cubicBezTo>
                    <a:pt x="5724" y="12153"/>
                    <a:pt x="5799" y="12167"/>
                    <a:pt x="5827" y="12173"/>
                  </a:cubicBezTo>
                  <a:cubicBezTo>
                    <a:pt x="5801" y="12407"/>
                    <a:pt x="5801" y="12407"/>
                    <a:pt x="5801" y="12407"/>
                  </a:cubicBezTo>
                  <a:cubicBezTo>
                    <a:pt x="5767" y="12400"/>
                    <a:pt x="5684" y="12385"/>
                    <a:pt x="5602" y="12369"/>
                  </a:cubicBezTo>
                  <a:close/>
                  <a:moveTo>
                    <a:pt x="5445" y="12087"/>
                  </a:moveTo>
                  <a:cubicBezTo>
                    <a:pt x="5445" y="12088"/>
                    <a:pt x="5445" y="12087"/>
                    <a:pt x="5445" y="12087"/>
                  </a:cubicBezTo>
                  <a:cubicBezTo>
                    <a:pt x="5481" y="11910"/>
                    <a:pt x="5481" y="11910"/>
                    <a:pt x="5481" y="11910"/>
                  </a:cubicBezTo>
                  <a:cubicBezTo>
                    <a:pt x="5853" y="11943"/>
                    <a:pt x="5853" y="11943"/>
                    <a:pt x="5853" y="11943"/>
                  </a:cubicBezTo>
                  <a:cubicBezTo>
                    <a:pt x="5829" y="12159"/>
                    <a:pt x="5829" y="12159"/>
                    <a:pt x="5829" y="12159"/>
                  </a:cubicBezTo>
                  <a:cubicBezTo>
                    <a:pt x="5763" y="12146"/>
                    <a:pt x="5460" y="12088"/>
                    <a:pt x="5445" y="12087"/>
                  </a:cubicBezTo>
                  <a:close/>
                  <a:moveTo>
                    <a:pt x="5664" y="11881"/>
                  </a:moveTo>
                  <a:cubicBezTo>
                    <a:pt x="5664" y="11876"/>
                    <a:pt x="5663" y="11871"/>
                    <a:pt x="5662" y="11864"/>
                  </a:cubicBezTo>
                  <a:cubicBezTo>
                    <a:pt x="5659" y="11846"/>
                    <a:pt x="5656" y="11821"/>
                    <a:pt x="5652" y="11797"/>
                  </a:cubicBezTo>
                  <a:cubicBezTo>
                    <a:pt x="5645" y="11748"/>
                    <a:pt x="5639" y="11700"/>
                    <a:pt x="5639" y="11700"/>
                  </a:cubicBezTo>
                  <a:cubicBezTo>
                    <a:pt x="5638" y="11697"/>
                    <a:pt x="5638" y="11697"/>
                    <a:pt x="5638" y="11697"/>
                  </a:cubicBezTo>
                  <a:cubicBezTo>
                    <a:pt x="5439" y="11539"/>
                    <a:pt x="5439" y="11539"/>
                    <a:pt x="5439" y="11539"/>
                  </a:cubicBezTo>
                  <a:cubicBezTo>
                    <a:pt x="5729" y="11441"/>
                    <a:pt x="5729" y="11441"/>
                    <a:pt x="5729" y="11441"/>
                  </a:cubicBezTo>
                  <a:cubicBezTo>
                    <a:pt x="5739" y="11441"/>
                    <a:pt x="5810" y="11436"/>
                    <a:pt x="5847" y="11434"/>
                  </a:cubicBezTo>
                  <a:cubicBezTo>
                    <a:pt x="5840" y="11530"/>
                    <a:pt x="5840" y="11530"/>
                    <a:pt x="5840" y="11530"/>
                  </a:cubicBezTo>
                  <a:cubicBezTo>
                    <a:pt x="5888" y="11637"/>
                    <a:pt x="5888" y="11637"/>
                    <a:pt x="5888" y="11637"/>
                  </a:cubicBezTo>
                  <a:cubicBezTo>
                    <a:pt x="5858" y="11898"/>
                    <a:pt x="5858" y="11898"/>
                    <a:pt x="5858" y="11898"/>
                  </a:cubicBezTo>
                  <a:lnTo>
                    <a:pt x="5664" y="11881"/>
                  </a:lnTo>
                  <a:close/>
                  <a:moveTo>
                    <a:pt x="5869" y="11152"/>
                  </a:moveTo>
                  <a:cubicBezTo>
                    <a:pt x="5588" y="11130"/>
                    <a:pt x="5588" y="11130"/>
                    <a:pt x="5588" y="11130"/>
                  </a:cubicBezTo>
                  <a:cubicBezTo>
                    <a:pt x="5117" y="11189"/>
                    <a:pt x="5117" y="11189"/>
                    <a:pt x="5117" y="11189"/>
                  </a:cubicBezTo>
                  <a:cubicBezTo>
                    <a:pt x="5107" y="11105"/>
                    <a:pt x="5096" y="11011"/>
                    <a:pt x="5084" y="10915"/>
                  </a:cubicBezTo>
                  <a:cubicBezTo>
                    <a:pt x="5127" y="10906"/>
                    <a:pt x="5214" y="10887"/>
                    <a:pt x="5302" y="10868"/>
                  </a:cubicBezTo>
                  <a:cubicBezTo>
                    <a:pt x="5424" y="10842"/>
                    <a:pt x="5551" y="10816"/>
                    <a:pt x="5552" y="10816"/>
                  </a:cubicBezTo>
                  <a:cubicBezTo>
                    <a:pt x="5558" y="10816"/>
                    <a:pt x="5818" y="10836"/>
                    <a:pt x="5892" y="10841"/>
                  </a:cubicBezTo>
                  <a:lnTo>
                    <a:pt x="5869" y="11152"/>
                  </a:lnTo>
                  <a:close/>
                  <a:moveTo>
                    <a:pt x="5552" y="10802"/>
                  </a:moveTo>
                  <a:cubicBezTo>
                    <a:pt x="5542" y="10803"/>
                    <a:pt x="5187" y="10879"/>
                    <a:pt x="5083" y="10901"/>
                  </a:cubicBezTo>
                  <a:cubicBezTo>
                    <a:pt x="5078" y="10866"/>
                    <a:pt x="5074" y="10831"/>
                    <a:pt x="5070" y="10796"/>
                  </a:cubicBezTo>
                  <a:cubicBezTo>
                    <a:pt x="5065" y="10750"/>
                    <a:pt x="5059" y="10705"/>
                    <a:pt x="5054" y="10661"/>
                  </a:cubicBezTo>
                  <a:cubicBezTo>
                    <a:pt x="5397" y="10593"/>
                    <a:pt x="5397" y="10593"/>
                    <a:pt x="5397" y="10593"/>
                  </a:cubicBezTo>
                  <a:cubicBezTo>
                    <a:pt x="5413" y="10593"/>
                    <a:pt x="5739" y="10590"/>
                    <a:pt x="5874" y="10590"/>
                  </a:cubicBezTo>
                  <a:cubicBezTo>
                    <a:pt x="5889" y="10590"/>
                    <a:pt x="5902" y="10590"/>
                    <a:pt x="5911" y="10590"/>
                  </a:cubicBezTo>
                  <a:cubicBezTo>
                    <a:pt x="5893" y="10827"/>
                    <a:pt x="5893" y="10827"/>
                    <a:pt x="5893" y="10827"/>
                  </a:cubicBezTo>
                  <a:cubicBezTo>
                    <a:pt x="5820" y="10822"/>
                    <a:pt x="5560" y="10802"/>
                    <a:pt x="5552" y="10802"/>
                  </a:cubicBezTo>
                  <a:close/>
                  <a:moveTo>
                    <a:pt x="5965" y="9986"/>
                  </a:moveTo>
                  <a:cubicBezTo>
                    <a:pt x="5886" y="9991"/>
                    <a:pt x="5793" y="9998"/>
                    <a:pt x="5692" y="10007"/>
                  </a:cubicBezTo>
                  <a:cubicBezTo>
                    <a:pt x="5686" y="9649"/>
                    <a:pt x="5686" y="9649"/>
                    <a:pt x="5686" y="9649"/>
                  </a:cubicBezTo>
                  <a:cubicBezTo>
                    <a:pt x="5703" y="9589"/>
                    <a:pt x="5703" y="9589"/>
                    <a:pt x="5703" y="9589"/>
                  </a:cubicBezTo>
                  <a:cubicBezTo>
                    <a:pt x="5859" y="9614"/>
                    <a:pt x="5859" y="9614"/>
                    <a:pt x="5859" y="9614"/>
                  </a:cubicBezTo>
                  <a:cubicBezTo>
                    <a:pt x="5811" y="9745"/>
                    <a:pt x="5811" y="9745"/>
                    <a:pt x="5811" y="9745"/>
                  </a:cubicBezTo>
                  <a:cubicBezTo>
                    <a:pt x="5746" y="9742"/>
                    <a:pt x="5692" y="9740"/>
                    <a:pt x="5689" y="9740"/>
                  </a:cubicBezTo>
                  <a:cubicBezTo>
                    <a:pt x="5689" y="9754"/>
                    <a:pt x="5689" y="9754"/>
                    <a:pt x="5689" y="9754"/>
                  </a:cubicBezTo>
                  <a:cubicBezTo>
                    <a:pt x="5691" y="9754"/>
                    <a:pt x="5743" y="9756"/>
                    <a:pt x="5807" y="9759"/>
                  </a:cubicBezTo>
                  <a:cubicBezTo>
                    <a:pt x="5762" y="9883"/>
                    <a:pt x="5762" y="9883"/>
                    <a:pt x="5762" y="9883"/>
                  </a:cubicBezTo>
                  <a:cubicBezTo>
                    <a:pt x="5760" y="9889"/>
                    <a:pt x="5760" y="9889"/>
                    <a:pt x="5760" y="9889"/>
                  </a:cubicBezTo>
                  <a:cubicBezTo>
                    <a:pt x="5902" y="9943"/>
                    <a:pt x="5902" y="9943"/>
                    <a:pt x="5902" y="9943"/>
                  </a:cubicBezTo>
                  <a:cubicBezTo>
                    <a:pt x="5966" y="9765"/>
                    <a:pt x="5966" y="9765"/>
                    <a:pt x="5966" y="9765"/>
                  </a:cubicBezTo>
                  <a:cubicBezTo>
                    <a:pt x="6003" y="9766"/>
                    <a:pt x="6031" y="9767"/>
                    <a:pt x="6043" y="9768"/>
                  </a:cubicBezTo>
                  <a:lnTo>
                    <a:pt x="5965" y="9986"/>
                  </a:lnTo>
                  <a:close/>
                  <a:moveTo>
                    <a:pt x="5971" y="9751"/>
                  </a:moveTo>
                  <a:cubicBezTo>
                    <a:pt x="6012" y="9638"/>
                    <a:pt x="6012" y="9638"/>
                    <a:pt x="6012" y="9638"/>
                  </a:cubicBezTo>
                  <a:cubicBezTo>
                    <a:pt x="6084" y="9650"/>
                    <a:pt x="6084" y="9650"/>
                    <a:pt x="6084" y="9650"/>
                  </a:cubicBezTo>
                  <a:cubicBezTo>
                    <a:pt x="6047" y="9754"/>
                    <a:pt x="6047" y="9754"/>
                    <a:pt x="6047" y="9754"/>
                  </a:cubicBezTo>
                  <a:cubicBezTo>
                    <a:pt x="6044" y="9754"/>
                    <a:pt x="6014" y="9753"/>
                    <a:pt x="5971" y="9751"/>
                  </a:cubicBezTo>
                  <a:close/>
                  <a:moveTo>
                    <a:pt x="6017" y="9625"/>
                  </a:moveTo>
                  <a:cubicBezTo>
                    <a:pt x="6062" y="9499"/>
                    <a:pt x="6062" y="9499"/>
                    <a:pt x="6062" y="9499"/>
                  </a:cubicBezTo>
                  <a:cubicBezTo>
                    <a:pt x="6134" y="9510"/>
                    <a:pt x="6134" y="9510"/>
                    <a:pt x="6134" y="9510"/>
                  </a:cubicBezTo>
                  <a:cubicBezTo>
                    <a:pt x="6089" y="9637"/>
                    <a:pt x="6089" y="9637"/>
                    <a:pt x="6089" y="9637"/>
                  </a:cubicBezTo>
                  <a:lnTo>
                    <a:pt x="6017" y="9625"/>
                  </a:lnTo>
                  <a:close/>
                  <a:moveTo>
                    <a:pt x="6067" y="9485"/>
                  </a:moveTo>
                  <a:cubicBezTo>
                    <a:pt x="6112" y="9359"/>
                    <a:pt x="6112" y="9359"/>
                    <a:pt x="6112" y="9359"/>
                  </a:cubicBezTo>
                  <a:cubicBezTo>
                    <a:pt x="6180" y="9371"/>
                    <a:pt x="6180" y="9371"/>
                    <a:pt x="6180" y="9371"/>
                  </a:cubicBezTo>
                  <a:cubicBezTo>
                    <a:pt x="6183" y="9357"/>
                    <a:pt x="6183" y="9357"/>
                    <a:pt x="6183" y="9357"/>
                  </a:cubicBezTo>
                  <a:cubicBezTo>
                    <a:pt x="6117" y="9346"/>
                    <a:pt x="6117" y="9346"/>
                    <a:pt x="6117" y="9346"/>
                  </a:cubicBezTo>
                  <a:cubicBezTo>
                    <a:pt x="6159" y="9230"/>
                    <a:pt x="6159" y="9230"/>
                    <a:pt x="6159" y="9230"/>
                  </a:cubicBezTo>
                  <a:cubicBezTo>
                    <a:pt x="6226" y="9243"/>
                    <a:pt x="6226" y="9243"/>
                    <a:pt x="6226" y="9243"/>
                  </a:cubicBezTo>
                  <a:cubicBezTo>
                    <a:pt x="6229" y="9229"/>
                    <a:pt x="6229" y="9229"/>
                    <a:pt x="6229" y="9229"/>
                  </a:cubicBezTo>
                  <a:cubicBezTo>
                    <a:pt x="6163" y="9217"/>
                    <a:pt x="6163" y="9217"/>
                    <a:pt x="6163" y="9217"/>
                  </a:cubicBezTo>
                  <a:cubicBezTo>
                    <a:pt x="6202" y="9109"/>
                    <a:pt x="6202" y="9109"/>
                    <a:pt x="6202" y="9109"/>
                  </a:cubicBezTo>
                  <a:cubicBezTo>
                    <a:pt x="6270" y="9124"/>
                    <a:pt x="6270" y="9124"/>
                    <a:pt x="6270" y="9124"/>
                  </a:cubicBezTo>
                  <a:cubicBezTo>
                    <a:pt x="6139" y="9497"/>
                    <a:pt x="6139" y="9497"/>
                    <a:pt x="6139" y="9497"/>
                  </a:cubicBezTo>
                  <a:lnTo>
                    <a:pt x="6067" y="9485"/>
                  </a:lnTo>
                  <a:close/>
                  <a:moveTo>
                    <a:pt x="6207" y="9096"/>
                  </a:moveTo>
                  <a:cubicBezTo>
                    <a:pt x="6251" y="8972"/>
                    <a:pt x="6251" y="8972"/>
                    <a:pt x="6251" y="8972"/>
                  </a:cubicBezTo>
                  <a:cubicBezTo>
                    <a:pt x="6320" y="8984"/>
                    <a:pt x="6320" y="8984"/>
                    <a:pt x="6320" y="8984"/>
                  </a:cubicBezTo>
                  <a:cubicBezTo>
                    <a:pt x="6275" y="9111"/>
                    <a:pt x="6275" y="9111"/>
                    <a:pt x="6275" y="9111"/>
                  </a:cubicBezTo>
                  <a:lnTo>
                    <a:pt x="6207" y="9096"/>
                  </a:lnTo>
                  <a:close/>
                  <a:moveTo>
                    <a:pt x="6256" y="8958"/>
                  </a:moveTo>
                  <a:cubicBezTo>
                    <a:pt x="6294" y="8853"/>
                    <a:pt x="6294" y="8853"/>
                    <a:pt x="6294" y="8853"/>
                  </a:cubicBezTo>
                  <a:cubicBezTo>
                    <a:pt x="6363" y="8863"/>
                    <a:pt x="6363" y="8863"/>
                    <a:pt x="6363" y="8863"/>
                  </a:cubicBezTo>
                  <a:cubicBezTo>
                    <a:pt x="6325" y="8971"/>
                    <a:pt x="6325" y="8971"/>
                    <a:pt x="6325" y="8971"/>
                  </a:cubicBezTo>
                  <a:lnTo>
                    <a:pt x="6256" y="8958"/>
                  </a:lnTo>
                  <a:close/>
                  <a:moveTo>
                    <a:pt x="6299" y="8839"/>
                  </a:moveTo>
                  <a:cubicBezTo>
                    <a:pt x="6348" y="8704"/>
                    <a:pt x="6348" y="8704"/>
                    <a:pt x="6348" y="8704"/>
                  </a:cubicBezTo>
                  <a:cubicBezTo>
                    <a:pt x="6412" y="8711"/>
                    <a:pt x="6412" y="8711"/>
                    <a:pt x="6412" y="8711"/>
                  </a:cubicBezTo>
                  <a:cubicBezTo>
                    <a:pt x="6413" y="8697"/>
                    <a:pt x="6413" y="8697"/>
                    <a:pt x="6413" y="8697"/>
                  </a:cubicBezTo>
                  <a:cubicBezTo>
                    <a:pt x="6352" y="8691"/>
                    <a:pt x="6352" y="8691"/>
                    <a:pt x="6352" y="8691"/>
                  </a:cubicBezTo>
                  <a:cubicBezTo>
                    <a:pt x="6406" y="8542"/>
                    <a:pt x="6406" y="8542"/>
                    <a:pt x="6406" y="8542"/>
                  </a:cubicBezTo>
                  <a:cubicBezTo>
                    <a:pt x="6476" y="8543"/>
                    <a:pt x="6476" y="8543"/>
                    <a:pt x="6476" y="8543"/>
                  </a:cubicBezTo>
                  <a:cubicBezTo>
                    <a:pt x="6368" y="8849"/>
                    <a:pt x="6368" y="8849"/>
                    <a:pt x="6368" y="8849"/>
                  </a:cubicBezTo>
                  <a:lnTo>
                    <a:pt x="6299" y="8839"/>
                  </a:lnTo>
                  <a:close/>
                  <a:moveTo>
                    <a:pt x="6397" y="8528"/>
                  </a:moveTo>
                  <a:cubicBezTo>
                    <a:pt x="6263" y="8526"/>
                    <a:pt x="6263" y="8526"/>
                    <a:pt x="6263" y="8526"/>
                  </a:cubicBezTo>
                  <a:cubicBezTo>
                    <a:pt x="6312" y="8392"/>
                    <a:pt x="6312" y="8392"/>
                    <a:pt x="6312" y="8392"/>
                  </a:cubicBezTo>
                  <a:cubicBezTo>
                    <a:pt x="6430" y="8437"/>
                    <a:pt x="6430" y="8437"/>
                    <a:pt x="6430" y="8437"/>
                  </a:cubicBezTo>
                  <a:lnTo>
                    <a:pt x="6397" y="8528"/>
                  </a:lnTo>
                  <a:close/>
                  <a:moveTo>
                    <a:pt x="6392" y="8542"/>
                  </a:moveTo>
                  <a:cubicBezTo>
                    <a:pt x="6339" y="8689"/>
                    <a:pt x="6339" y="8689"/>
                    <a:pt x="6339" y="8689"/>
                  </a:cubicBezTo>
                  <a:cubicBezTo>
                    <a:pt x="6210" y="8676"/>
                    <a:pt x="6210" y="8676"/>
                    <a:pt x="6210" y="8676"/>
                  </a:cubicBezTo>
                  <a:cubicBezTo>
                    <a:pt x="6258" y="8540"/>
                    <a:pt x="6258" y="8540"/>
                    <a:pt x="6258" y="8540"/>
                  </a:cubicBezTo>
                  <a:lnTo>
                    <a:pt x="6392" y="8542"/>
                  </a:lnTo>
                  <a:close/>
                  <a:moveTo>
                    <a:pt x="6196" y="8674"/>
                  </a:moveTo>
                  <a:cubicBezTo>
                    <a:pt x="5871" y="8640"/>
                    <a:pt x="5871" y="8640"/>
                    <a:pt x="5871" y="8640"/>
                  </a:cubicBezTo>
                  <a:cubicBezTo>
                    <a:pt x="5880" y="8604"/>
                    <a:pt x="5889" y="8568"/>
                    <a:pt x="5897" y="8535"/>
                  </a:cubicBezTo>
                  <a:cubicBezTo>
                    <a:pt x="6245" y="8540"/>
                    <a:pt x="6245" y="8540"/>
                    <a:pt x="6245" y="8540"/>
                  </a:cubicBezTo>
                  <a:lnTo>
                    <a:pt x="6196" y="8674"/>
                  </a:lnTo>
                  <a:close/>
                  <a:moveTo>
                    <a:pt x="5886" y="8521"/>
                  </a:moveTo>
                  <a:cubicBezTo>
                    <a:pt x="5881" y="8521"/>
                    <a:pt x="5881" y="8521"/>
                    <a:pt x="5881" y="8521"/>
                  </a:cubicBezTo>
                  <a:cubicBezTo>
                    <a:pt x="5880" y="8535"/>
                    <a:pt x="5880" y="8535"/>
                    <a:pt x="5880" y="8535"/>
                  </a:cubicBezTo>
                  <a:cubicBezTo>
                    <a:pt x="5883" y="8535"/>
                    <a:pt x="5883" y="8535"/>
                    <a:pt x="5883" y="8535"/>
                  </a:cubicBezTo>
                  <a:cubicBezTo>
                    <a:pt x="5882" y="8537"/>
                    <a:pt x="5882" y="8539"/>
                    <a:pt x="5881" y="8541"/>
                  </a:cubicBezTo>
                  <a:cubicBezTo>
                    <a:pt x="5878" y="8555"/>
                    <a:pt x="5874" y="8570"/>
                    <a:pt x="5870" y="8586"/>
                  </a:cubicBezTo>
                  <a:cubicBezTo>
                    <a:pt x="5835" y="8579"/>
                    <a:pt x="5504" y="8519"/>
                    <a:pt x="5438" y="8512"/>
                  </a:cubicBezTo>
                  <a:cubicBezTo>
                    <a:pt x="5433" y="8478"/>
                    <a:pt x="5426" y="8443"/>
                    <a:pt x="5420" y="8409"/>
                  </a:cubicBezTo>
                  <a:cubicBezTo>
                    <a:pt x="5502" y="8423"/>
                    <a:pt x="5871" y="8484"/>
                    <a:pt x="5895" y="8487"/>
                  </a:cubicBezTo>
                  <a:cubicBezTo>
                    <a:pt x="5892" y="8498"/>
                    <a:pt x="5889" y="8509"/>
                    <a:pt x="5886" y="8521"/>
                  </a:cubicBezTo>
                  <a:close/>
                  <a:moveTo>
                    <a:pt x="5442" y="8894"/>
                  </a:moveTo>
                  <a:cubicBezTo>
                    <a:pt x="5470" y="8899"/>
                    <a:pt x="5538" y="8910"/>
                    <a:pt x="5605" y="8921"/>
                  </a:cubicBezTo>
                  <a:cubicBezTo>
                    <a:pt x="5690" y="8935"/>
                    <a:pt x="5773" y="8949"/>
                    <a:pt x="5778" y="8950"/>
                  </a:cubicBezTo>
                  <a:cubicBezTo>
                    <a:pt x="5771" y="8976"/>
                    <a:pt x="5766" y="8993"/>
                    <a:pt x="5764" y="8997"/>
                  </a:cubicBezTo>
                  <a:cubicBezTo>
                    <a:pt x="5763" y="8998"/>
                    <a:pt x="5763" y="8999"/>
                    <a:pt x="5762" y="9000"/>
                  </a:cubicBezTo>
                  <a:cubicBezTo>
                    <a:pt x="5762" y="9001"/>
                    <a:pt x="5762" y="9002"/>
                    <a:pt x="5762" y="9003"/>
                  </a:cubicBezTo>
                  <a:cubicBezTo>
                    <a:pt x="5762" y="9012"/>
                    <a:pt x="5770" y="9036"/>
                    <a:pt x="5779" y="9064"/>
                  </a:cubicBezTo>
                  <a:cubicBezTo>
                    <a:pt x="5751" y="9059"/>
                    <a:pt x="5653" y="9042"/>
                    <a:pt x="5556" y="9026"/>
                  </a:cubicBezTo>
                  <a:cubicBezTo>
                    <a:pt x="5481" y="9013"/>
                    <a:pt x="5407" y="9000"/>
                    <a:pt x="5362" y="8993"/>
                  </a:cubicBezTo>
                  <a:cubicBezTo>
                    <a:pt x="5384" y="8970"/>
                    <a:pt x="5401" y="8951"/>
                    <a:pt x="5414" y="8937"/>
                  </a:cubicBezTo>
                  <a:cubicBezTo>
                    <a:pt x="5425" y="8924"/>
                    <a:pt x="5435" y="8910"/>
                    <a:pt x="5442" y="8894"/>
                  </a:cubicBezTo>
                  <a:close/>
                  <a:moveTo>
                    <a:pt x="4963" y="9173"/>
                  </a:moveTo>
                  <a:cubicBezTo>
                    <a:pt x="4973" y="8712"/>
                    <a:pt x="4973" y="8712"/>
                    <a:pt x="4973" y="8712"/>
                  </a:cubicBezTo>
                  <a:cubicBezTo>
                    <a:pt x="5013" y="8720"/>
                    <a:pt x="5042" y="8725"/>
                    <a:pt x="5046" y="8725"/>
                  </a:cubicBezTo>
                  <a:cubicBezTo>
                    <a:pt x="5052" y="8724"/>
                    <a:pt x="5057" y="8721"/>
                    <a:pt x="5069" y="8715"/>
                  </a:cubicBezTo>
                  <a:cubicBezTo>
                    <a:pt x="5080" y="8710"/>
                    <a:pt x="5095" y="8702"/>
                    <a:pt x="5112" y="8692"/>
                  </a:cubicBezTo>
                  <a:cubicBezTo>
                    <a:pt x="5137" y="8679"/>
                    <a:pt x="5166" y="8663"/>
                    <a:pt x="5197" y="8645"/>
                  </a:cubicBezTo>
                  <a:cubicBezTo>
                    <a:pt x="5203" y="8661"/>
                    <a:pt x="5229" y="8728"/>
                    <a:pt x="5256" y="8797"/>
                  </a:cubicBezTo>
                  <a:cubicBezTo>
                    <a:pt x="5286" y="8873"/>
                    <a:pt x="5316" y="8949"/>
                    <a:pt x="5325" y="8966"/>
                  </a:cubicBezTo>
                  <a:cubicBezTo>
                    <a:pt x="5253" y="9041"/>
                    <a:pt x="5135" y="9143"/>
                    <a:pt x="4963" y="9173"/>
                  </a:cubicBezTo>
                  <a:close/>
                  <a:moveTo>
                    <a:pt x="4709" y="10235"/>
                  </a:moveTo>
                  <a:cubicBezTo>
                    <a:pt x="4801" y="10607"/>
                    <a:pt x="4801" y="10607"/>
                    <a:pt x="4801" y="10607"/>
                  </a:cubicBezTo>
                  <a:cubicBezTo>
                    <a:pt x="4746" y="10611"/>
                    <a:pt x="4684" y="10617"/>
                    <a:pt x="4624" y="10622"/>
                  </a:cubicBezTo>
                  <a:cubicBezTo>
                    <a:pt x="4535" y="10280"/>
                    <a:pt x="4535" y="10280"/>
                    <a:pt x="4535" y="10280"/>
                  </a:cubicBezTo>
                  <a:cubicBezTo>
                    <a:pt x="4594" y="10265"/>
                    <a:pt x="4652" y="10249"/>
                    <a:pt x="4709" y="10235"/>
                  </a:cubicBezTo>
                  <a:close/>
                  <a:moveTo>
                    <a:pt x="4610" y="10624"/>
                  </a:moveTo>
                  <a:cubicBezTo>
                    <a:pt x="4545" y="10629"/>
                    <a:pt x="4483" y="10635"/>
                    <a:pt x="4433" y="10639"/>
                  </a:cubicBezTo>
                  <a:cubicBezTo>
                    <a:pt x="4347" y="10332"/>
                    <a:pt x="4347" y="10332"/>
                    <a:pt x="4347" y="10332"/>
                  </a:cubicBezTo>
                  <a:cubicBezTo>
                    <a:pt x="4406" y="10315"/>
                    <a:pt x="4464" y="10299"/>
                    <a:pt x="4522" y="10284"/>
                  </a:cubicBezTo>
                  <a:lnTo>
                    <a:pt x="4610" y="10624"/>
                  </a:lnTo>
                  <a:close/>
                  <a:moveTo>
                    <a:pt x="4418" y="10641"/>
                  </a:moveTo>
                  <a:cubicBezTo>
                    <a:pt x="4389" y="10643"/>
                    <a:pt x="4364" y="10646"/>
                    <a:pt x="4346" y="10647"/>
                  </a:cubicBezTo>
                  <a:cubicBezTo>
                    <a:pt x="4326" y="10649"/>
                    <a:pt x="4317" y="10650"/>
                    <a:pt x="4313" y="10651"/>
                  </a:cubicBezTo>
                  <a:cubicBezTo>
                    <a:pt x="4309" y="10652"/>
                    <a:pt x="4282" y="10664"/>
                    <a:pt x="4260" y="10673"/>
                  </a:cubicBezTo>
                  <a:cubicBezTo>
                    <a:pt x="4257" y="10664"/>
                    <a:pt x="4174" y="10452"/>
                    <a:pt x="4152" y="10388"/>
                  </a:cubicBezTo>
                  <a:cubicBezTo>
                    <a:pt x="4212" y="10370"/>
                    <a:pt x="4273" y="10353"/>
                    <a:pt x="4333" y="10336"/>
                  </a:cubicBezTo>
                  <a:lnTo>
                    <a:pt x="4418" y="10641"/>
                  </a:lnTo>
                  <a:close/>
                  <a:moveTo>
                    <a:pt x="4190" y="10530"/>
                  </a:moveTo>
                  <a:cubicBezTo>
                    <a:pt x="4218" y="10603"/>
                    <a:pt x="4246" y="10675"/>
                    <a:pt x="4247" y="10678"/>
                  </a:cubicBezTo>
                  <a:cubicBezTo>
                    <a:pt x="4239" y="10681"/>
                    <a:pt x="4233" y="10684"/>
                    <a:pt x="4233" y="10684"/>
                  </a:cubicBezTo>
                  <a:cubicBezTo>
                    <a:pt x="4230" y="10685"/>
                    <a:pt x="4230" y="10685"/>
                    <a:pt x="4230" y="10685"/>
                  </a:cubicBezTo>
                  <a:cubicBezTo>
                    <a:pt x="4121" y="10996"/>
                    <a:pt x="4121" y="10996"/>
                    <a:pt x="4121" y="10996"/>
                  </a:cubicBezTo>
                  <a:cubicBezTo>
                    <a:pt x="3939" y="11050"/>
                    <a:pt x="3939" y="11050"/>
                    <a:pt x="3939" y="11050"/>
                  </a:cubicBezTo>
                  <a:cubicBezTo>
                    <a:pt x="3939" y="11049"/>
                    <a:pt x="3939" y="11049"/>
                    <a:pt x="3939" y="11049"/>
                  </a:cubicBezTo>
                  <a:cubicBezTo>
                    <a:pt x="3601" y="11162"/>
                    <a:pt x="3601" y="11162"/>
                    <a:pt x="3601" y="11162"/>
                  </a:cubicBezTo>
                  <a:cubicBezTo>
                    <a:pt x="3453" y="10969"/>
                    <a:pt x="3453" y="10969"/>
                    <a:pt x="3453" y="10969"/>
                  </a:cubicBezTo>
                  <a:cubicBezTo>
                    <a:pt x="3453" y="10969"/>
                    <a:pt x="3453" y="10969"/>
                    <a:pt x="3453" y="10969"/>
                  </a:cubicBezTo>
                  <a:cubicBezTo>
                    <a:pt x="3232" y="10677"/>
                    <a:pt x="3232" y="10677"/>
                    <a:pt x="3232" y="10677"/>
                  </a:cubicBezTo>
                  <a:cubicBezTo>
                    <a:pt x="3234" y="10676"/>
                    <a:pt x="3236" y="10675"/>
                    <a:pt x="3238" y="10674"/>
                  </a:cubicBezTo>
                  <a:cubicBezTo>
                    <a:pt x="3267" y="10664"/>
                    <a:pt x="3308" y="10650"/>
                    <a:pt x="3360" y="10633"/>
                  </a:cubicBezTo>
                  <a:cubicBezTo>
                    <a:pt x="3464" y="10599"/>
                    <a:pt x="3610" y="10552"/>
                    <a:pt x="3776" y="10501"/>
                  </a:cubicBezTo>
                  <a:cubicBezTo>
                    <a:pt x="3889" y="10466"/>
                    <a:pt x="4013" y="10429"/>
                    <a:pt x="4138" y="10392"/>
                  </a:cubicBezTo>
                  <a:cubicBezTo>
                    <a:pt x="4141" y="10401"/>
                    <a:pt x="4146" y="10412"/>
                    <a:pt x="4151" y="10426"/>
                  </a:cubicBezTo>
                  <a:cubicBezTo>
                    <a:pt x="4161" y="10455"/>
                    <a:pt x="4176" y="10493"/>
                    <a:pt x="4190" y="10530"/>
                  </a:cubicBezTo>
                  <a:close/>
                  <a:moveTo>
                    <a:pt x="3399" y="11007"/>
                  </a:moveTo>
                  <a:cubicBezTo>
                    <a:pt x="3399" y="11007"/>
                    <a:pt x="3399" y="11007"/>
                    <a:pt x="3399" y="11007"/>
                  </a:cubicBezTo>
                  <a:cubicBezTo>
                    <a:pt x="3399" y="11008"/>
                    <a:pt x="3399" y="11008"/>
                    <a:pt x="3399" y="11008"/>
                  </a:cubicBezTo>
                  <a:cubicBezTo>
                    <a:pt x="3224" y="11118"/>
                    <a:pt x="3224" y="11118"/>
                    <a:pt x="3224" y="11118"/>
                  </a:cubicBezTo>
                  <a:cubicBezTo>
                    <a:pt x="3112" y="10954"/>
                    <a:pt x="3112" y="10954"/>
                    <a:pt x="3112" y="10954"/>
                  </a:cubicBezTo>
                  <a:cubicBezTo>
                    <a:pt x="2891" y="10871"/>
                    <a:pt x="2891" y="10871"/>
                    <a:pt x="2891" y="10871"/>
                  </a:cubicBezTo>
                  <a:cubicBezTo>
                    <a:pt x="2893" y="10870"/>
                    <a:pt x="2895" y="10868"/>
                    <a:pt x="2896" y="10866"/>
                  </a:cubicBezTo>
                  <a:cubicBezTo>
                    <a:pt x="2896" y="10866"/>
                    <a:pt x="2906" y="10857"/>
                    <a:pt x="2912" y="10850"/>
                  </a:cubicBezTo>
                  <a:cubicBezTo>
                    <a:pt x="2961" y="10806"/>
                    <a:pt x="3011" y="10771"/>
                    <a:pt x="3066" y="10745"/>
                  </a:cubicBezTo>
                  <a:cubicBezTo>
                    <a:pt x="3109" y="10725"/>
                    <a:pt x="3145" y="10712"/>
                    <a:pt x="3169" y="10703"/>
                  </a:cubicBezTo>
                  <a:lnTo>
                    <a:pt x="3399" y="11007"/>
                  </a:lnTo>
                  <a:close/>
                  <a:moveTo>
                    <a:pt x="3101" y="10968"/>
                  </a:moveTo>
                  <a:cubicBezTo>
                    <a:pt x="3213" y="11130"/>
                    <a:pt x="3213" y="11130"/>
                    <a:pt x="3213" y="11130"/>
                  </a:cubicBezTo>
                  <a:cubicBezTo>
                    <a:pt x="3131" y="11303"/>
                    <a:pt x="3131" y="11303"/>
                    <a:pt x="3131" y="11303"/>
                  </a:cubicBezTo>
                  <a:cubicBezTo>
                    <a:pt x="2954" y="11513"/>
                    <a:pt x="2954" y="11513"/>
                    <a:pt x="2954" y="11513"/>
                  </a:cubicBezTo>
                  <a:cubicBezTo>
                    <a:pt x="2946" y="11509"/>
                    <a:pt x="2939" y="11506"/>
                    <a:pt x="2933" y="11504"/>
                  </a:cubicBezTo>
                  <a:cubicBezTo>
                    <a:pt x="2933" y="11503"/>
                    <a:pt x="2933" y="11503"/>
                    <a:pt x="2933" y="11503"/>
                  </a:cubicBezTo>
                  <a:cubicBezTo>
                    <a:pt x="2932" y="11502"/>
                    <a:pt x="2931" y="11499"/>
                    <a:pt x="2929" y="11496"/>
                  </a:cubicBezTo>
                  <a:cubicBezTo>
                    <a:pt x="2926" y="11490"/>
                    <a:pt x="2922" y="11482"/>
                    <a:pt x="2917" y="11472"/>
                  </a:cubicBezTo>
                  <a:cubicBezTo>
                    <a:pt x="2907" y="11453"/>
                    <a:pt x="2895" y="11430"/>
                    <a:pt x="2887" y="11414"/>
                  </a:cubicBezTo>
                  <a:cubicBezTo>
                    <a:pt x="2884" y="11408"/>
                    <a:pt x="2881" y="11404"/>
                    <a:pt x="2880" y="11401"/>
                  </a:cubicBezTo>
                  <a:cubicBezTo>
                    <a:pt x="2909" y="11264"/>
                    <a:pt x="2909" y="11264"/>
                    <a:pt x="2909" y="11264"/>
                  </a:cubicBezTo>
                  <a:cubicBezTo>
                    <a:pt x="2909" y="11262"/>
                    <a:pt x="2909" y="11262"/>
                    <a:pt x="2909" y="11262"/>
                  </a:cubicBezTo>
                  <a:cubicBezTo>
                    <a:pt x="2909" y="11262"/>
                    <a:pt x="2911" y="11183"/>
                    <a:pt x="2911" y="11146"/>
                  </a:cubicBezTo>
                  <a:cubicBezTo>
                    <a:pt x="2911" y="11136"/>
                    <a:pt x="2911" y="11131"/>
                    <a:pt x="2910" y="11124"/>
                  </a:cubicBezTo>
                  <a:cubicBezTo>
                    <a:pt x="2909" y="11122"/>
                    <a:pt x="2912" y="11121"/>
                    <a:pt x="2903" y="11111"/>
                  </a:cubicBezTo>
                  <a:cubicBezTo>
                    <a:pt x="2903" y="11111"/>
                    <a:pt x="2903" y="11111"/>
                    <a:pt x="2902" y="11111"/>
                  </a:cubicBezTo>
                  <a:cubicBezTo>
                    <a:pt x="2901" y="11109"/>
                    <a:pt x="2898" y="11106"/>
                    <a:pt x="2895" y="11104"/>
                  </a:cubicBezTo>
                  <a:cubicBezTo>
                    <a:pt x="2887" y="11098"/>
                    <a:pt x="2876" y="11093"/>
                    <a:pt x="2855" y="11086"/>
                  </a:cubicBezTo>
                  <a:cubicBezTo>
                    <a:pt x="2830" y="11078"/>
                    <a:pt x="2768" y="11059"/>
                    <a:pt x="2723" y="11046"/>
                  </a:cubicBezTo>
                  <a:cubicBezTo>
                    <a:pt x="2779" y="10977"/>
                    <a:pt x="2839" y="10919"/>
                    <a:pt x="2877" y="10884"/>
                  </a:cubicBezTo>
                  <a:lnTo>
                    <a:pt x="3101" y="10968"/>
                  </a:lnTo>
                  <a:close/>
                  <a:moveTo>
                    <a:pt x="2739" y="11098"/>
                  </a:moveTo>
                  <a:cubicBezTo>
                    <a:pt x="2778" y="11110"/>
                    <a:pt x="2822" y="11123"/>
                    <a:pt x="2841" y="11129"/>
                  </a:cubicBezTo>
                  <a:cubicBezTo>
                    <a:pt x="2855" y="11133"/>
                    <a:pt x="2862" y="11137"/>
                    <a:pt x="2866" y="11139"/>
                  </a:cubicBezTo>
                  <a:cubicBezTo>
                    <a:pt x="2866" y="11141"/>
                    <a:pt x="2866" y="11143"/>
                    <a:pt x="2866" y="11146"/>
                  </a:cubicBezTo>
                  <a:cubicBezTo>
                    <a:pt x="2866" y="11178"/>
                    <a:pt x="2864" y="11246"/>
                    <a:pt x="2864" y="11259"/>
                  </a:cubicBezTo>
                  <a:cubicBezTo>
                    <a:pt x="2834" y="11397"/>
                    <a:pt x="2834" y="11397"/>
                    <a:pt x="2834" y="11397"/>
                  </a:cubicBezTo>
                  <a:cubicBezTo>
                    <a:pt x="2783" y="11531"/>
                    <a:pt x="2783" y="11531"/>
                    <a:pt x="2783" y="11531"/>
                  </a:cubicBezTo>
                  <a:cubicBezTo>
                    <a:pt x="2777" y="11532"/>
                    <a:pt x="2772" y="11533"/>
                    <a:pt x="2767" y="11534"/>
                  </a:cubicBezTo>
                  <a:cubicBezTo>
                    <a:pt x="2748" y="11538"/>
                    <a:pt x="2728" y="11556"/>
                    <a:pt x="2705" y="11575"/>
                  </a:cubicBezTo>
                  <a:cubicBezTo>
                    <a:pt x="2683" y="11594"/>
                    <a:pt x="2662" y="11615"/>
                    <a:pt x="2649" y="11625"/>
                  </a:cubicBezTo>
                  <a:cubicBezTo>
                    <a:pt x="2635" y="11638"/>
                    <a:pt x="2571" y="11648"/>
                    <a:pt x="2524" y="11648"/>
                  </a:cubicBezTo>
                  <a:cubicBezTo>
                    <a:pt x="2515" y="11648"/>
                    <a:pt x="2506" y="11647"/>
                    <a:pt x="2498" y="11647"/>
                  </a:cubicBezTo>
                  <a:cubicBezTo>
                    <a:pt x="2479" y="11645"/>
                    <a:pt x="2472" y="11638"/>
                    <a:pt x="2468" y="11632"/>
                  </a:cubicBezTo>
                  <a:cubicBezTo>
                    <a:pt x="2464" y="11626"/>
                    <a:pt x="2464" y="11619"/>
                    <a:pt x="2464" y="11618"/>
                  </a:cubicBezTo>
                  <a:cubicBezTo>
                    <a:pt x="2464" y="11617"/>
                    <a:pt x="2464" y="11617"/>
                    <a:pt x="2464" y="11617"/>
                  </a:cubicBezTo>
                  <a:cubicBezTo>
                    <a:pt x="2464" y="11617"/>
                    <a:pt x="2464" y="11617"/>
                    <a:pt x="2464" y="11617"/>
                  </a:cubicBezTo>
                  <a:cubicBezTo>
                    <a:pt x="2463" y="11617"/>
                    <a:pt x="2463" y="11617"/>
                    <a:pt x="2463" y="11617"/>
                  </a:cubicBezTo>
                  <a:cubicBezTo>
                    <a:pt x="2503" y="11575"/>
                    <a:pt x="2534" y="11520"/>
                    <a:pt x="2544" y="11454"/>
                  </a:cubicBezTo>
                  <a:cubicBezTo>
                    <a:pt x="2548" y="11422"/>
                    <a:pt x="2561" y="11388"/>
                    <a:pt x="2572" y="11363"/>
                  </a:cubicBezTo>
                  <a:cubicBezTo>
                    <a:pt x="2584" y="11337"/>
                    <a:pt x="2594" y="11320"/>
                    <a:pt x="2594" y="11320"/>
                  </a:cubicBezTo>
                  <a:cubicBezTo>
                    <a:pt x="2573" y="11308"/>
                    <a:pt x="2573" y="11308"/>
                    <a:pt x="2573" y="11308"/>
                  </a:cubicBezTo>
                  <a:cubicBezTo>
                    <a:pt x="2573" y="11308"/>
                    <a:pt x="2529" y="11379"/>
                    <a:pt x="2519" y="11450"/>
                  </a:cubicBezTo>
                  <a:cubicBezTo>
                    <a:pt x="2510" y="11515"/>
                    <a:pt x="2479" y="11568"/>
                    <a:pt x="2439" y="11607"/>
                  </a:cubicBezTo>
                  <a:cubicBezTo>
                    <a:pt x="2430" y="11616"/>
                    <a:pt x="2409" y="11622"/>
                    <a:pt x="2383" y="11627"/>
                  </a:cubicBezTo>
                  <a:cubicBezTo>
                    <a:pt x="2414" y="11554"/>
                    <a:pt x="2452" y="11473"/>
                    <a:pt x="2493" y="11396"/>
                  </a:cubicBezTo>
                  <a:cubicBezTo>
                    <a:pt x="2527" y="11331"/>
                    <a:pt x="2557" y="11283"/>
                    <a:pt x="2587" y="11235"/>
                  </a:cubicBezTo>
                  <a:cubicBezTo>
                    <a:pt x="2619" y="11185"/>
                    <a:pt x="2652" y="11137"/>
                    <a:pt x="2693" y="11084"/>
                  </a:cubicBezTo>
                  <a:cubicBezTo>
                    <a:pt x="2706" y="11088"/>
                    <a:pt x="2722" y="11093"/>
                    <a:pt x="2739" y="11098"/>
                  </a:cubicBezTo>
                  <a:close/>
                  <a:moveTo>
                    <a:pt x="2339" y="11247"/>
                  </a:moveTo>
                  <a:cubicBezTo>
                    <a:pt x="2322" y="11321"/>
                    <a:pt x="2322" y="11321"/>
                    <a:pt x="2322" y="11321"/>
                  </a:cubicBezTo>
                  <a:cubicBezTo>
                    <a:pt x="2266" y="11295"/>
                    <a:pt x="2266" y="11295"/>
                    <a:pt x="2266" y="11295"/>
                  </a:cubicBezTo>
                  <a:cubicBezTo>
                    <a:pt x="2265" y="11294"/>
                    <a:pt x="2265" y="11294"/>
                    <a:pt x="2265" y="11294"/>
                  </a:cubicBezTo>
                  <a:cubicBezTo>
                    <a:pt x="2265" y="11294"/>
                    <a:pt x="2208" y="11275"/>
                    <a:pt x="2150" y="11256"/>
                  </a:cubicBezTo>
                  <a:cubicBezTo>
                    <a:pt x="2110" y="11243"/>
                    <a:pt x="2072" y="11230"/>
                    <a:pt x="2048" y="11223"/>
                  </a:cubicBezTo>
                  <a:cubicBezTo>
                    <a:pt x="2103" y="11073"/>
                    <a:pt x="2103" y="11073"/>
                    <a:pt x="2103" y="11073"/>
                  </a:cubicBezTo>
                  <a:cubicBezTo>
                    <a:pt x="2105" y="11070"/>
                    <a:pt x="2105" y="11070"/>
                    <a:pt x="2105" y="11070"/>
                  </a:cubicBezTo>
                  <a:cubicBezTo>
                    <a:pt x="2063" y="11054"/>
                    <a:pt x="2063" y="11054"/>
                    <a:pt x="2063" y="11054"/>
                  </a:cubicBezTo>
                  <a:cubicBezTo>
                    <a:pt x="1960" y="11334"/>
                    <a:pt x="1960" y="11334"/>
                    <a:pt x="1960" y="11334"/>
                  </a:cubicBezTo>
                  <a:cubicBezTo>
                    <a:pt x="1891" y="11390"/>
                    <a:pt x="1891" y="11390"/>
                    <a:pt x="1891" y="11390"/>
                  </a:cubicBezTo>
                  <a:cubicBezTo>
                    <a:pt x="1522" y="10983"/>
                    <a:pt x="1522" y="10983"/>
                    <a:pt x="1522" y="10983"/>
                  </a:cubicBezTo>
                  <a:cubicBezTo>
                    <a:pt x="1535" y="10976"/>
                    <a:pt x="1549" y="10970"/>
                    <a:pt x="1561" y="10964"/>
                  </a:cubicBezTo>
                  <a:cubicBezTo>
                    <a:pt x="1641" y="10929"/>
                    <a:pt x="1878" y="10834"/>
                    <a:pt x="1975" y="10813"/>
                  </a:cubicBezTo>
                  <a:cubicBezTo>
                    <a:pt x="1976" y="10812"/>
                    <a:pt x="1978" y="10812"/>
                    <a:pt x="1980" y="10812"/>
                  </a:cubicBezTo>
                  <a:cubicBezTo>
                    <a:pt x="2074" y="11058"/>
                    <a:pt x="2074" y="11058"/>
                    <a:pt x="2074" y="11058"/>
                  </a:cubicBezTo>
                  <a:cubicBezTo>
                    <a:pt x="2457" y="11059"/>
                    <a:pt x="2457" y="11059"/>
                    <a:pt x="2457" y="11059"/>
                  </a:cubicBezTo>
                  <a:lnTo>
                    <a:pt x="2339" y="11247"/>
                  </a:lnTo>
                  <a:close/>
                  <a:moveTo>
                    <a:pt x="2312" y="11367"/>
                  </a:moveTo>
                  <a:cubicBezTo>
                    <a:pt x="2270" y="11551"/>
                    <a:pt x="2270" y="11551"/>
                    <a:pt x="2270" y="11551"/>
                  </a:cubicBezTo>
                  <a:cubicBezTo>
                    <a:pt x="1977" y="11486"/>
                    <a:pt x="1977" y="11486"/>
                    <a:pt x="1977" y="11486"/>
                  </a:cubicBezTo>
                  <a:cubicBezTo>
                    <a:pt x="1921" y="11424"/>
                    <a:pt x="1921" y="11424"/>
                    <a:pt x="1921" y="11424"/>
                  </a:cubicBezTo>
                  <a:cubicBezTo>
                    <a:pt x="1998" y="11361"/>
                    <a:pt x="1998" y="11361"/>
                    <a:pt x="1998" y="11361"/>
                  </a:cubicBezTo>
                  <a:cubicBezTo>
                    <a:pt x="2033" y="11265"/>
                    <a:pt x="2033" y="11265"/>
                    <a:pt x="2033" y="11265"/>
                  </a:cubicBezTo>
                  <a:cubicBezTo>
                    <a:pt x="2038" y="11267"/>
                    <a:pt x="2044" y="11269"/>
                    <a:pt x="2052" y="11271"/>
                  </a:cubicBezTo>
                  <a:cubicBezTo>
                    <a:pt x="2074" y="11279"/>
                    <a:pt x="2103" y="11288"/>
                    <a:pt x="2133" y="11298"/>
                  </a:cubicBezTo>
                  <a:cubicBezTo>
                    <a:pt x="2187" y="11316"/>
                    <a:pt x="2240" y="11334"/>
                    <a:pt x="2250" y="11337"/>
                  </a:cubicBezTo>
                  <a:lnTo>
                    <a:pt x="2312" y="11367"/>
                  </a:lnTo>
                  <a:close/>
                  <a:moveTo>
                    <a:pt x="1908" y="11434"/>
                  </a:moveTo>
                  <a:cubicBezTo>
                    <a:pt x="1969" y="11501"/>
                    <a:pt x="1969" y="11501"/>
                    <a:pt x="1969" y="11501"/>
                  </a:cubicBezTo>
                  <a:cubicBezTo>
                    <a:pt x="2283" y="11571"/>
                    <a:pt x="2283" y="11571"/>
                    <a:pt x="2283" y="11571"/>
                  </a:cubicBezTo>
                  <a:cubicBezTo>
                    <a:pt x="2327" y="11374"/>
                    <a:pt x="2327" y="11374"/>
                    <a:pt x="2327" y="11374"/>
                  </a:cubicBezTo>
                  <a:cubicBezTo>
                    <a:pt x="2407" y="11412"/>
                    <a:pt x="2407" y="11412"/>
                    <a:pt x="2407" y="11412"/>
                  </a:cubicBezTo>
                  <a:cubicBezTo>
                    <a:pt x="2369" y="11489"/>
                    <a:pt x="2333" y="11566"/>
                    <a:pt x="2304" y="11635"/>
                  </a:cubicBezTo>
                  <a:cubicBezTo>
                    <a:pt x="2290" y="11636"/>
                    <a:pt x="2276" y="11636"/>
                    <a:pt x="2262" y="11636"/>
                  </a:cubicBezTo>
                  <a:cubicBezTo>
                    <a:pt x="2220" y="11636"/>
                    <a:pt x="2178" y="11634"/>
                    <a:pt x="2147" y="11632"/>
                  </a:cubicBezTo>
                  <a:cubicBezTo>
                    <a:pt x="2107" y="11630"/>
                    <a:pt x="2054" y="11610"/>
                    <a:pt x="2011" y="11590"/>
                  </a:cubicBezTo>
                  <a:cubicBezTo>
                    <a:pt x="1973" y="11573"/>
                    <a:pt x="1944" y="11556"/>
                    <a:pt x="1937" y="11552"/>
                  </a:cubicBezTo>
                  <a:cubicBezTo>
                    <a:pt x="1861" y="11472"/>
                    <a:pt x="1861" y="11472"/>
                    <a:pt x="1861" y="11472"/>
                  </a:cubicBezTo>
                  <a:lnTo>
                    <a:pt x="1908" y="11434"/>
                  </a:lnTo>
                  <a:close/>
                  <a:moveTo>
                    <a:pt x="1922" y="11572"/>
                  </a:moveTo>
                  <a:cubicBezTo>
                    <a:pt x="1923" y="11573"/>
                    <a:pt x="1923" y="11573"/>
                    <a:pt x="1923" y="11573"/>
                  </a:cubicBezTo>
                  <a:cubicBezTo>
                    <a:pt x="1924" y="11573"/>
                    <a:pt x="2055" y="11650"/>
                    <a:pt x="2146" y="11656"/>
                  </a:cubicBezTo>
                  <a:cubicBezTo>
                    <a:pt x="2177" y="11658"/>
                    <a:pt x="2219" y="11660"/>
                    <a:pt x="2262" y="11660"/>
                  </a:cubicBezTo>
                  <a:cubicBezTo>
                    <a:pt x="2273" y="11660"/>
                    <a:pt x="2283" y="11660"/>
                    <a:pt x="2294" y="11660"/>
                  </a:cubicBezTo>
                  <a:cubicBezTo>
                    <a:pt x="2286" y="11680"/>
                    <a:pt x="2278" y="11699"/>
                    <a:pt x="2271" y="11718"/>
                  </a:cubicBezTo>
                  <a:cubicBezTo>
                    <a:pt x="2251" y="11717"/>
                    <a:pt x="2232" y="11717"/>
                    <a:pt x="2224" y="11717"/>
                  </a:cubicBezTo>
                  <a:cubicBezTo>
                    <a:pt x="2188" y="11717"/>
                    <a:pt x="2097" y="11713"/>
                    <a:pt x="2017" y="11678"/>
                  </a:cubicBezTo>
                  <a:cubicBezTo>
                    <a:pt x="1943" y="11647"/>
                    <a:pt x="1876" y="11592"/>
                    <a:pt x="1848" y="11567"/>
                  </a:cubicBezTo>
                  <a:cubicBezTo>
                    <a:pt x="1841" y="11560"/>
                    <a:pt x="1837" y="11556"/>
                    <a:pt x="1835" y="11555"/>
                  </a:cubicBezTo>
                  <a:cubicBezTo>
                    <a:pt x="1804" y="11519"/>
                    <a:pt x="1804" y="11519"/>
                    <a:pt x="1804" y="11519"/>
                  </a:cubicBezTo>
                  <a:cubicBezTo>
                    <a:pt x="1842" y="11488"/>
                    <a:pt x="1842" y="11488"/>
                    <a:pt x="1842" y="11488"/>
                  </a:cubicBezTo>
                  <a:lnTo>
                    <a:pt x="1922" y="11572"/>
                  </a:lnTo>
                  <a:close/>
                  <a:moveTo>
                    <a:pt x="2224" y="11786"/>
                  </a:moveTo>
                  <a:cubicBezTo>
                    <a:pt x="2231" y="11786"/>
                    <a:pt x="2239" y="11786"/>
                    <a:pt x="2246" y="11786"/>
                  </a:cubicBezTo>
                  <a:cubicBezTo>
                    <a:pt x="2223" y="11853"/>
                    <a:pt x="2215" y="11881"/>
                    <a:pt x="2213" y="11893"/>
                  </a:cubicBezTo>
                  <a:cubicBezTo>
                    <a:pt x="2205" y="11905"/>
                    <a:pt x="2185" y="11939"/>
                    <a:pt x="2155" y="11985"/>
                  </a:cubicBezTo>
                  <a:cubicBezTo>
                    <a:pt x="2148" y="11997"/>
                    <a:pt x="2139" y="12010"/>
                    <a:pt x="2130" y="12023"/>
                  </a:cubicBezTo>
                  <a:cubicBezTo>
                    <a:pt x="2183" y="11784"/>
                    <a:pt x="2183" y="11784"/>
                    <a:pt x="2183" y="11784"/>
                  </a:cubicBezTo>
                  <a:cubicBezTo>
                    <a:pt x="2200" y="11785"/>
                    <a:pt x="2214" y="11785"/>
                    <a:pt x="2224" y="11786"/>
                  </a:cubicBezTo>
                  <a:close/>
                  <a:moveTo>
                    <a:pt x="2275" y="11923"/>
                  </a:moveTo>
                  <a:cubicBezTo>
                    <a:pt x="2279" y="11916"/>
                    <a:pt x="2279" y="11916"/>
                    <a:pt x="2279" y="11916"/>
                  </a:cubicBezTo>
                  <a:cubicBezTo>
                    <a:pt x="2279" y="11910"/>
                    <a:pt x="2279" y="11910"/>
                    <a:pt x="2279" y="11910"/>
                  </a:cubicBezTo>
                  <a:cubicBezTo>
                    <a:pt x="2280" y="11909"/>
                    <a:pt x="2280" y="11909"/>
                    <a:pt x="2280" y="11908"/>
                  </a:cubicBezTo>
                  <a:cubicBezTo>
                    <a:pt x="2280" y="11906"/>
                    <a:pt x="2281" y="11901"/>
                    <a:pt x="2284" y="11893"/>
                  </a:cubicBezTo>
                  <a:cubicBezTo>
                    <a:pt x="2288" y="11877"/>
                    <a:pt x="2297" y="11848"/>
                    <a:pt x="2314" y="11798"/>
                  </a:cubicBezTo>
                  <a:cubicBezTo>
                    <a:pt x="2317" y="11791"/>
                    <a:pt x="2320" y="11784"/>
                    <a:pt x="2322" y="11777"/>
                  </a:cubicBezTo>
                  <a:cubicBezTo>
                    <a:pt x="2424" y="11769"/>
                    <a:pt x="2424" y="11769"/>
                    <a:pt x="2424" y="11769"/>
                  </a:cubicBezTo>
                  <a:cubicBezTo>
                    <a:pt x="2422" y="11774"/>
                    <a:pt x="2419" y="11781"/>
                    <a:pt x="2417" y="11789"/>
                  </a:cubicBezTo>
                  <a:cubicBezTo>
                    <a:pt x="2409" y="11810"/>
                    <a:pt x="2400" y="11837"/>
                    <a:pt x="2390" y="11865"/>
                  </a:cubicBezTo>
                  <a:cubicBezTo>
                    <a:pt x="2371" y="11920"/>
                    <a:pt x="2353" y="11974"/>
                    <a:pt x="2353" y="11974"/>
                  </a:cubicBezTo>
                  <a:cubicBezTo>
                    <a:pt x="2353" y="11975"/>
                    <a:pt x="2353" y="11975"/>
                    <a:pt x="2353" y="11975"/>
                  </a:cubicBezTo>
                  <a:cubicBezTo>
                    <a:pt x="2353" y="11976"/>
                    <a:pt x="2353" y="11976"/>
                    <a:pt x="2353" y="11976"/>
                  </a:cubicBezTo>
                  <a:cubicBezTo>
                    <a:pt x="2353" y="11976"/>
                    <a:pt x="2341" y="12059"/>
                    <a:pt x="2328" y="12143"/>
                  </a:cubicBezTo>
                  <a:cubicBezTo>
                    <a:pt x="2317" y="12221"/>
                    <a:pt x="2305" y="12302"/>
                    <a:pt x="2302" y="12318"/>
                  </a:cubicBezTo>
                  <a:cubicBezTo>
                    <a:pt x="2266" y="12314"/>
                    <a:pt x="2122" y="12300"/>
                    <a:pt x="2024" y="12292"/>
                  </a:cubicBezTo>
                  <a:cubicBezTo>
                    <a:pt x="2038" y="12273"/>
                    <a:pt x="2051" y="12255"/>
                    <a:pt x="2062" y="12240"/>
                  </a:cubicBezTo>
                  <a:cubicBezTo>
                    <a:pt x="2182" y="12081"/>
                    <a:pt x="2275" y="11924"/>
                    <a:pt x="2275" y="11923"/>
                  </a:cubicBezTo>
                  <a:close/>
                  <a:moveTo>
                    <a:pt x="2281" y="12361"/>
                  </a:moveTo>
                  <a:cubicBezTo>
                    <a:pt x="2281" y="12361"/>
                    <a:pt x="2281" y="12361"/>
                    <a:pt x="2281" y="12361"/>
                  </a:cubicBezTo>
                  <a:cubicBezTo>
                    <a:pt x="2281" y="12361"/>
                    <a:pt x="2376" y="12371"/>
                    <a:pt x="2607" y="12394"/>
                  </a:cubicBezTo>
                  <a:cubicBezTo>
                    <a:pt x="2514" y="12955"/>
                    <a:pt x="2514" y="12955"/>
                    <a:pt x="2514" y="12955"/>
                  </a:cubicBezTo>
                  <a:cubicBezTo>
                    <a:pt x="2435" y="12933"/>
                    <a:pt x="2371" y="12916"/>
                    <a:pt x="2358" y="12912"/>
                  </a:cubicBezTo>
                  <a:cubicBezTo>
                    <a:pt x="2254" y="12761"/>
                    <a:pt x="2254" y="12761"/>
                    <a:pt x="2254" y="12761"/>
                  </a:cubicBezTo>
                  <a:cubicBezTo>
                    <a:pt x="2087" y="12703"/>
                    <a:pt x="2087" y="12703"/>
                    <a:pt x="2087" y="12703"/>
                  </a:cubicBezTo>
                  <a:cubicBezTo>
                    <a:pt x="2173" y="12351"/>
                    <a:pt x="2173" y="12351"/>
                    <a:pt x="2173" y="12351"/>
                  </a:cubicBezTo>
                  <a:cubicBezTo>
                    <a:pt x="2216" y="12355"/>
                    <a:pt x="2255" y="12359"/>
                    <a:pt x="2281" y="12361"/>
                  </a:cubicBezTo>
                  <a:close/>
                  <a:moveTo>
                    <a:pt x="2444" y="13661"/>
                  </a:moveTo>
                  <a:cubicBezTo>
                    <a:pt x="2151" y="13948"/>
                    <a:pt x="2151" y="13948"/>
                    <a:pt x="2151" y="13948"/>
                  </a:cubicBezTo>
                  <a:cubicBezTo>
                    <a:pt x="1933" y="13814"/>
                    <a:pt x="1933" y="13814"/>
                    <a:pt x="1933" y="13814"/>
                  </a:cubicBezTo>
                  <a:cubicBezTo>
                    <a:pt x="1945" y="13803"/>
                    <a:pt x="1957" y="13792"/>
                    <a:pt x="1968" y="13781"/>
                  </a:cubicBezTo>
                  <a:cubicBezTo>
                    <a:pt x="2069" y="13684"/>
                    <a:pt x="2170" y="13589"/>
                    <a:pt x="2191" y="13569"/>
                  </a:cubicBezTo>
                  <a:lnTo>
                    <a:pt x="2444" y="13661"/>
                  </a:lnTo>
                  <a:close/>
                  <a:moveTo>
                    <a:pt x="2153" y="13965"/>
                  </a:moveTo>
                  <a:cubicBezTo>
                    <a:pt x="2341" y="14081"/>
                    <a:pt x="2341" y="14081"/>
                    <a:pt x="2341" y="14081"/>
                  </a:cubicBezTo>
                  <a:cubicBezTo>
                    <a:pt x="2305" y="14117"/>
                    <a:pt x="2271" y="14150"/>
                    <a:pt x="2243" y="14177"/>
                  </a:cubicBezTo>
                  <a:cubicBezTo>
                    <a:pt x="2054" y="14062"/>
                    <a:pt x="2054" y="14062"/>
                    <a:pt x="2054" y="14062"/>
                  </a:cubicBezTo>
                  <a:lnTo>
                    <a:pt x="2153" y="13965"/>
                  </a:lnTo>
                  <a:close/>
                  <a:moveTo>
                    <a:pt x="2262" y="14178"/>
                  </a:moveTo>
                  <a:cubicBezTo>
                    <a:pt x="2289" y="14152"/>
                    <a:pt x="2320" y="14121"/>
                    <a:pt x="2354" y="14089"/>
                  </a:cubicBezTo>
                  <a:cubicBezTo>
                    <a:pt x="2583" y="14230"/>
                    <a:pt x="2583" y="14230"/>
                    <a:pt x="2583" y="14230"/>
                  </a:cubicBezTo>
                  <a:cubicBezTo>
                    <a:pt x="2485" y="14326"/>
                    <a:pt x="2485" y="14326"/>
                    <a:pt x="2485" y="14326"/>
                  </a:cubicBezTo>
                  <a:cubicBezTo>
                    <a:pt x="2255" y="14185"/>
                    <a:pt x="2255" y="14185"/>
                    <a:pt x="2255" y="14185"/>
                  </a:cubicBezTo>
                  <a:cubicBezTo>
                    <a:pt x="2257" y="14182"/>
                    <a:pt x="2260" y="14180"/>
                    <a:pt x="2262" y="14178"/>
                  </a:cubicBezTo>
                  <a:close/>
                  <a:moveTo>
                    <a:pt x="2595" y="14238"/>
                  </a:moveTo>
                  <a:cubicBezTo>
                    <a:pt x="2718" y="14314"/>
                    <a:pt x="2718" y="14314"/>
                    <a:pt x="2718" y="14314"/>
                  </a:cubicBezTo>
                  <a:cubicBezTo>
                    <a:pt x="2649" y="14427"/>
                    <a:pt x="2649" y="14427"/>
                    <a:pt x="2649" y="14427"/>
                  </a:cubicBezTo>
                  <a:cubicBezTo>
                    <a:pt x="2497" y="14334"/>
                    <a:pt x="2497" y="14334"/>
                    <a:pt x="2497" y="14334"/>
                  </a:cubicBezTo>
                  <a:lnTo>
                    <a:pt x="2595" y="14238"/>
                  </a:lnTo>
                  <a:close/>
                  <a:moveTo>
                    <a:pt x="2592" y="14221"/>
                  </a:moveTo>
                  <a:cubicBezTo>
                    <a:pt x="2363" y="14080"/>
                    <a:pt x="2363" y="14080"/>
                    <a:pt x="2363" y="14080"/>
                  </a:cubicBezTo>
                  <a:cubicBezTo>
                    <a:pt x="2390" y="14054"/>
                    <a:pt x="2418" y="14027"/>
                    <a:pt x="2446" y="14000"/>
                  </a:cubicBezTo>
                  <a:cubicBezTo>
                    <a:pt x="2558" y="13893"/>
                    <a:pt x="2670" y="13786"/>
                    <a:pt x="2703" y="13755"/>
                  </a:cubicBezTo>
                  <a:cubicBezTo>
                    <a:pt x="2967" y="13851"/>
                    <a:pt x="2967" y="13851"/>
                    <a:pt x="2967" y="13851"/>
                  </a:cubicBezTo>
                  <a:lnTo>
                    <a:pt x="2592" y="14221"/>
                  </a:lnTo>
                  <a:close/>
                  <a:moveTo>
                    <a:pt x="2743" y="13700"/>
                  </a:moveTo>
                  <a:cubicBezTo>
                    <a:pt x="2747" y="13679"/>
                    <a:pt x="2753" y="13651"/>
                    <a:pt x="2761" y="13620"/>
                  </a:cubicBezTo>
                  <a:cubicBezTo>
                    <a:pt x="2778" y="13556"/>
                    <a:pt x="2804" y="13478"/>
                    <a:pt x="2838" y="13424"/>
                  </a:cubicBezTo>
                  <a:cubicBezTo>
                    <a:pt x="2859" y="13390"/>
                    <a:pt x="2902" y="13373"/>
                    <a:pt x="2965" y="13351"/>
                  </a:cubicBezTo>
                  <a:cubicBezTo>
                    <a:pt x="2993" y="13341"/>
                    <a:pt x="3028" y="13332"/>
                    <a:pt x="3067" y="13325"/>
                  </a:cubicBezTo>
                  <a:cubicBezTo>
                    <a:pt x="3115" y="13359"/>
                    <a:pt x="3263" y="13461"/>
                    <a:pt x="3311" y="13490"/>
                  </a:cubicBezTo>
                  <a:cubicBezTo>
                    <a:pt x="3312" y="13491"/>
                    <a:pt x="3312" y="13491"/>
                    <a:pt x="3313" y="13491"/>
                  </a:cubicBezTo>
                  <a:cubicBezTo>
                    <a:pt x="3162" y="13852"/>
                    <a:pt x="3162" y="13852"/>
                    <a:pt x="3162" y="13852"/>
                  </a:cubicBezTo>
                  <a:lnTo>
                    <a:pt x="2743" y="13700"/>
                  </a:lnTo>
                  <a:close/>
                  <a:moveTo>
                    <a:pt x="3325" y="13498"/>
                  </a:moveTo>
                  <a:cubicBezTo>
                    <a:pt x="3326" y="13499"/>
                    <a:pt x="3328" y="13499"/>
                    <a:pt x="3330" y="13499"/>
                  </a:cubicBezTo>
                  <a:cubicBezTo>
                    <a:pt x="3330" y="13499"/>
                    <a:pt x="3330" y="13499"/>
                    <a:pt x="3330" y="13499"/>
                  </a:cubicBezTo>
                  <a:cubicBezTo>
                    <a:pt x="3331" y="13499"/>
                    <a:pt x="3331" y="13499"/>
                    <a:pt x="3331" y="13499"/>
                  </a:cubicBezTo>
                  <a:cubicBezTo>
                    <a:pt x="3331" y="13499"/>
                    <a:pt x="3331" y="13499"/>
                    <a:pt x="3331" y="13499"/>
                  </a:cubicBezTo>
                  <a:cubicBezTo>
                    <a:pt x="3335" y="13498"/>
                    <a:pt x="3469" y="13478"/>
                    <a:pt x="3609" y="13457"/>
                  </a:cubicBezTo>
                  <a:cubicBezTo>
                    <a:pt x="3576" y="14002"/>
                    <a:pt x="3576" y="14002"/>
                    <a:pt x="3576" y="14002"/>
                  </a:cubicBezTo>
                  <a:cubicBezTo>
                    <a:pt x="3175" y="13856"/>
                    <a:pt x="3175" y="13856"/>
                    <a:pt x="3175" y="13856"/>
                  </a:cubicBezTo>
                  <a:lnTo>
                    <a:pt x="3325" y="13498"/>
                  </a:lnTo>
                  <a:close/>
                  <a:moveTo>
                    <a:pt x="3623" y="13455"/>
                  </a:moveTo>
                  <a:cubicBezTo>
                    <a:pt x="3748" y="13436"/>
                    <a:pt x="3874" y="13417"/>
                    <a:pt x="3912" y="13411"/>
                  </a:cubicBezTo>
                  <a:cubicBezTo>
                    <a:pt x="3912" y="13764"/>
                    <a:pt x="3912" y="13764"/>
                    <a:pt x="3912" y="13764"/>
                  </a:cubicBezTo>
                  <a:cubicBezTo>
                    <a:pt x="4116" y="13984"/>
                    <a:pt x="4116" y="13984"/>
                    <a:pt x="4116" y="13984"/>
                  </a:cubicBezTo>
                  <a:cubicBezTo>
                    <a:pt x="4096" y="14080"/>
                    <a:pt x="4096" y="14080"/>
                    <a:pt x="4096" y="14080"/>
                  </a:cubicBezTo>
                  <a:cubicBezTo>
                    <a:pt x="4178" y="14220"/>
                    <a:pt x="4178" y="14220"/>
                    <a:pt x="4178" y="14220"/>
                  </a:cubicBezTo>
                  <a:cubicBezTo>
                    <a:pt x="3589" y="14007"/>
                    <a:pt x="3589" y="14007"/>
                    <a:pt x="3589" y="14007"/>
                  </a:cubicBezTo>
                  <a:lnTo>
                    <a:pt x="3623" y="13455"/>
                  </a:lnTo>
                  <a:close/>
                  <a:moveTo>
                    <a:pt x="4113" y="14077"/>
                  </a:moveTo>
                  <a:cubicBezTo>
                    <a:pt x="4132" y="13991"/>
                    <a:pt x="4132" y="13991"/>
                    <a:pt x="4132" y="13991"/>
                  </a:cubicBezTo>
                  <a:cubicBezTo>
                    <a:pt x="4172" y="13998"/>
                    <a:pt x="4359" y="14029"/>
                    <a:pt x="4418" y="14037"/>
                  </a:cubicBezTo>
                  <a:cubicBezTo>
                    <a:pt x="4417" y="14040"/>
                    <a:pt x="4417" y="14044"/>
                    <a:pt x="4416" y="14046"/>
                  </a:cubicBezTo>
                  <a:cubicBezTo>
                    <a:pt x="4404" y="14095"/>
                    <a:pt x="4392" y="14128"/>
                    <a:pt x="4368" y="14165"/>
                  </a:cubicBezTo>
                  <a:cubicBezTo>
                    <a:pt x="4348" y="14195"/>
                    <a:pt x="4312" y="14243"/>
                    <a:pt x="4296" y="14263"/>
                  </a:cubicBezTo>
                  <a:cubicBezTo>
                    <a:pt x="4202" y="14229"/>
                    <a:pt x="4202" y="14229"/>
                    <a:pt x="4202" y="14229"/>
                  </a:cubicBezTo>
                  <a:lnTo>
                    <a:pt x="4113" y="14077"/>
                  </a:lnTo>
                  <a:close/>
                  <a:moveTo>
                    <a:pt x="4425" y="14203"/>
                  </a:moveTo>
                  <a:cubicBezTo>
                    <a:pt x="4455" y="14158"/>
                    <a:pt x="4470" y="14114"/>
                    <a:pt x="4483" y="14062"/>
                  </a:cubicBezTo>
                  <a:cubicBezTo>
                    <a:pt x="4490" y="14033"/>
                    <a:pt x="4506" y="13928"/>
                    <a:pt x="4522" y="13821"/>
                  </a:cubicBezTo>
                  <a:cubicBezTo>
                    <a:pt x="4538" y="13715"/>
                    <a:pt x="4553" y="13610"/>
                    <a:pt x="4556" y="13584"/>
                  </a:cubicBezTo>
                  <a:cubicBezTo>
                    <a:pt x="4561" y="13545"/>
                    <a:pt x="4574" y="13461"/>
                    <a:pt x="4584" y="13406"/>
                  </a:cubicBezTo>
                  <a:cubicBezTo>
                    <a:pt x="4739" y="13549"/>
                    <a:pt x="4739" y="13549"/>
                    <a:pt x="4739" y="13549"/>
                  </a:cubicBezTo>
                  <a:cubicBezTo>
                    <a:pt x="4738" y="13574"/>
                    <a:pt x="4728" y="13729"/>
                    <a:pt x="4717" y="13889"/>
                  </a:cubicBezTo>
                  <a:cubicBezTo>
                    <a:pt x="4707" y="14050"/>
                    <a:pt x="4696" y="14215"/>
                    <a:pt x="4693" y="14250"/>
                  </a:cubicBezTo>
                  <a:cubicBezTo>
                    <a:pt x="4691" y="14250"/>
                    <a:pt x="4689" y="14250"/>
                    <a:pt x="4687" y="14250"/>
                  </a:cubicBezTo>
                  <a:cubicBezTo>
                    <a:pt x="4640" y="14250"/>
                    <a:pt x="4469" y="14248"/>
                    <a:pt x="4394" y="14246"/>
                  </a:cubicBezTo>
                  <a:cubicBezTo>
                    <a:pt x="4405" y="14231"/>
                    <a:pt x="4416" y="14216"/>
                    <a:pt x="4425" y="14203"/>
                  </a:cubicBezTo>
                  <a:close/>
                  <a:moveTo>
                    <a:pt x="4836" y="13700"/>
                  </a:moveTo>
                  <a:cubicBezTo>
                    <a:pt x="4830" y="13758"/>
                    <a:pt x="4830" y="13758"/>
                    <a:pt x="4830" y="13758"/>
                  </a:cubicBezTo>
                  <a:cubicBezTo>
                    <a:pt x="4817" y="13758"/>
                    <a:pt x="4817" y="13758"/>
                    <a:pt x="4817" y="13758"/>
                  </a:cubicBezTo>
                  <a:cubicBezTo>
                    <a:pt x="4808" y="13806"/>
                    <a:pt x="4808" y="13806"/>
                    <a:pt x="4808" y="13806"/>
                  </a:cubicBezTo>
                  <a:cubicBezTo>
                    <a:pt x="4772" y="13804"/>
                    <a:pt x="4772" y="13804"/>
                    <a:pt x="4772" y="13804"/>
                  </a:cubicBezTo>
                  <a:cubicBezTo>
                    <a:pt x="4766" y="13856"/>
                    <a:pt x="4766" y="13856"/>
                    <a:pt x="4766" y="13856"/>
                  </a:cubicBezTo>
                  <a:cubicBezTo>
                    <a:pt x="4736" y="13854"/>
                    <a:pt x="4736" y="13854"/>
                    <a:pt x="4736" y="13854"/>
                  </a:cubicBezTo>
                  <a:cubicBezTo>
                    <a:pt x="4741" y="13781"/>
                    <a:pt x="4745" y="13712"/>
                    <a:pt x="4749" y="13657"/>
                  </a:cubicBezTo>
                  <a:cubicBezTo>
                    <a:pt x="4753" y="13657"/>
                    <a:pt x="4773" y="13658"/>
                    <a:pt x="4800" y="13660"/>
                  </a:cubicBezTo>
                  <a:cubicBezTo>
                    <a:pt x="4795" y="13698"/>
                    <a:pt x="4795" y="13698"/>
                    <a:pt x="4795" y="13698"/>
                  </a:cubicBezTo>
                  <a:lnTo>
                    <a:pt x="4836" y="13700"/>
                  </a:lnTo>
                  <a:close/>
                  <a:moveTo>
                    <a:pt x="4929" y="13669"/>
                  </a:moveTo>
                  <a:cubicBezTo>
                    <a:pt x="4919" y="13756"/>
                    <a:pt x="4919" y="13756"/>
                    <a:pt x="4919" y="13756"/>
                  </a:cubicBezTo>
                  <a:cubicBezTo>
                    <a:pt x="4907" y="13755"/>
                    <a:pt x="4907" y="13755"/>
                    <a:pt x="4907" y="13755"/>
                  </a:cubicBezTo>
                  <a:cubicBezTo>
                    <a:pt x="4906" y="13768"/>
                    <a:pt x="4906" y="13768"/>
                    <a:pt x="4906" y="13768"/>
                  </a:cubicBezTo>
                  <a:cubicBezTo>
                    <a:pt x="4895" y="13862"/>
                    <a:pt x="4895" y="13862"/>
                    <a:pt x="4895" y="13862"/>
                  </a:cubicBezTo>
                  <a:cubicBezTo>
                    <a:pt x="4780" y="13856"/>
                    <a:pt x="4780" y="13856"/>
                    <a:pt x="4780" y="13856"/>
                  </a:cubicBezTo>
                  <a:cubicBezTo>
                    <a:pt x="4784" y="13819"/>
                    <a:pt x="4784" y="13819"/>
                    <a:pt x="4784" y="13819"/>
                  </a:cubicBezTo>
                  <a:cubicBezTo>
                    <a:pt x="4807" y="13820"/>
                    <a:pt x="4807" y="13820"/>
                    <a:pt x="4807" y="13820"/>
                  </a:cubicBezTo>
                  <a:cubicBezTo>
                    <a:pt x="4820" y="13821"/>
                    <a:pt x="4820" y="13821"/>
                    <a:pt x="4820" y="13821"/>
                  </a:cubicBezTo>
                  <a:cubicBezTo>
                    <a:pt x="4822" y="13809"/>
                    <a:pt x="4822" y="13809"/>
                    <a:pt x="4822" y="13809"/>
                  </a:cubicBezTo>
                  <a:cubicBezTo>
                    <a:pt x="4828" y="13772"/>
                    <a:pt x="4828" y="13772"/>
                    <a:pt x="4828" y="13772"/>
                  </a:cubicBezTo>
                  <a:cubicBezTo>
                    <a:pt x="4830" y="13772"/>
                    <a:pt x="4830" y="13772"/>
                    <a:pt x="4830" y="13772"/>
                  </a:cubicBezTo>
                  <a:cubicBezTo>
                    <a:pt x="4843" y="13772"/>
                    <a:pt x="4843" y="13772"/>
                    <a:pt x="4843" y="13772"/>
                  </a:cubicBezTo>
                  <a:cubicBezTo>
                    <a:pt x="4844" y="13760"/>
                    <a:pt x="4844" y="13760"/>
                    <a:pt x="4844" y="13760"/>
                  </a:cubicBezTo>
                  <a:cubicBezTo>
                    <a:pt x="4850" y="13701"/>
                    <a:pt x="4850" y="13701"/>
                    <a:pt x="4850" y="13701"/>
                  </a:cubicBezTo>
                  <a:cubicBezTo>
                    <a:pt x="4851" y="13686"/>
                    <a:pt x="4851" y="13686"/>
                    <a:pt x="4851" y="13686"/>
                  </a:cubicBezTo>
                  <a:cubicBezTo>
                    <a:pt x="4836" y="13686"/>
                    <a:pt x="4836" y="13686"/>
                    <a:pt x="4836" y="13686"/>
                  </a:cubicBezTo>
                  <a:cubicBezTo>
                    <a:pt x="4811" y="13684"/>
                    <a:pt x="4811" y="13684"/>
                    <a:pt x="4811" y="13684"/>
                  </a:cubicBezTo>
                  <a:cubicBezTo>
                    <a:pt x="4814" y="13661"/>
                    <a:pt x="4814" y="13661"/>
                    <a:pt x="4814" y="13661"/>
                  </a:cubicBezTo>
                  <a:cubicBezTo>
                    <a:pt x="4851" y="13664"/>
                    <a:pt x="4895" y="13667"/>
                    <a:pt x="4929" y="13669"/>
                  </a:cubicBezTo>
                  <a:close/>
                  <a:moveTo>
                    <a:pt x="4816" y="13645"/>
                  </a:moveTo>
                  <a:cubicBezTo>
                    <a:pt x="4820" y="13612"/>
                    <a:pt x="4820" y="13612"/>
                    <a:pt x="4820" y="13612"/>
                  </a:cubicBezTo>
                  <a:cubicBezTo>
                    <a:pt x="4845" y="13613"/>
                    <a:pt x="4845" y="13613"/>
                    <a:pt x="4845" y="13613"/>
                  </a:cubicBezTo>
                  <a:cubicBezTo>
                    <a:pt x="4858" y="13614"/>
                    <a:pt x="4858" y="13614"/>
                    <a:pt x="4858" y="13614"/>
                  </a:cubicBezTo>
                  <a:cubicBezTo>
                    <a:pt x="4860" y="13601"/>
                    <a:pt x="4860" y="13601"/>
                    <a:pt x="4860" y="13601"/>
                  </a:cubicBezTo>
                  <a:cubicBezTo>
                    <a:pt x="4864" y="13564"/>
                    <a:pt x="4864" y="13564"/>
                    <a:pt x="4864" y="13564"/>
                  </a:cubicBezTo>
                  <a:cubicBezTo>
                    <a:pt x="4940" y="13572"/>
                    <a:pt x="4940" y="13572"/>
                    <a:pt x="4940" y="13572"/>
                  </a:cubicBezTo>
                  <a:cubicBezTo>
                    <a:pt x="4931" y="13653"/>
                    <a:pt x="4931" y="13653"/>
                    <a:pt x="4931" y="13653"/>
                  </a:cubicBezTo>
                  <a:cubicBezTo>
                    <a:pt x="4924" y="13653"/>
                    <a:pt x="4916" y="13652"/>
                    <a:pt x="4907" y="13652"/>
                  </a:cubicBezTo>
                  <a:cubicBezTo>
                    <a:pt x="4878" y="13650"/>
                    <a:pt x="4845" y="13647"/>
                    <a:pt x="4816" y="13645"/>
                  </a:cubicBezTo>
                  <a:close/>
                  <a:moveTo>
                    <a:pt x="4800" y="13895"/>
                  </a:moveTo>
                  <a:cubicBezTo>
                    <a:pt x="4776" y="13893"/>
                    <a:pt x="4776" y="13893"/>
                    <a:pt x="4776" y="13893"/>
                  </a:cubicBezTo>
                  <a:cubicBezTo>
                    <a:pt x="4778" y="13873"/>
                    <a:pt x="4778" y="13873"/>
                    <a:pt x="4778" y="13873"/>
                  </a:cubicBezTo>
                  <a:cubicBezTo>
                    <a:pt x="4893" y="13878"/>
                    <a:pt x="4893" y="13878"/>
                    <a:pt x="4893" y="13878"/>
                  </a:cubicBezTo>
                  <a:cubicBezTo>
                    <a:pt x="4883" y="13960"/>
                    <a:pt x="4883" y="13960"/>
                    <a:pt x="4883" y="13960"/>
                  </a:cubicBezTo>
                  <a:cubicBezTo>
                    <a:pt x="4809" y="13950"/>
                    <a:pt x="4809" y="13950"/>
                    <a:pt x="4809" y="13950"/>
                  </a:cubicBezTo>
                  <a:cubicBezTo>
                    <a:pt x="4813" y="13910"/>
                    <a:pt x="4813" y="13910"/>
                    <a:pt x="4813" y="13910"/>
                  </a:cubicBezTo>
                  <a:cubicBezTo>
                    <a:pt x="4814" y="13896"/>
                    <a:pt x="4814" y="13896"/>
                    <a:pt x="4814" y="13896"/>
                  </a:cubicBezTo>
                  <a:lnTo>
                    <a:pt x="4800" y="13895"/>
                  </a:lnTo>
                  <a:close/>
                  <a:moveTo>
                    <a:pt x="4733" y="13902"/>
                  </a:moveTo>
                  <a:cubicBezTo>
                    <a:pt x="4734" y="13892"/>
                    <a:pt x="4734" y="13881"/>
                    <a:pt x="4735" y="13870"/>
                  </a:cubicBezTo>
                  <a:cubicBezTo>
                    <a:pt x="4764" y="13872"/>
                    <a:pt x="4764" y="13872"/>
                    <a:pt x="4764" y="13872"/>
                  </a:cubicBezTo>
                  <a:cubicBezTo>
                    <a:pt x="4760" y="13906"/>
                    <a:pt x="4760" y="13906"/>
                    <a:pt x="4760" y="13906"/>
                  </a:cubicBezTo>
                  <a:cubicBezTo>
                    <a:pt x="4799" y="13909"/>
                    <a:pt x="4799" y="13909"/>
                    <a:pt x="4799" y="13909"/>
                  </a:cubicBezTo>
                  <a:cubicBezTo>
                    <a:pt x="4794" y="13963"/>
                    <a:pt x="4794" y="13963"/>
                    <a:pt x="4794" y="13963"/>
                  </a:cubicBezTo>
                  <a:cubicBezTo>
                    <a:pt x="4895" y="13975"/>
                    <a:pt x="4895" y="13975"/>
                    <a:pt x="4895" y="13975"/>
                  </a:cubicBezTo>
                  <a:cubicBezTo>
                    <a:pt x="4907" y="13879"/>
                    <a:pt x="4907" y="13879"/>
                    <a:pt x="4907" y="13879"/>
                  </a:cubicBezTo>
                  <a:cubicBezTo>
                    <a:pt x="4940" y="13881"/>
                    <a:pt x="4940" y="13881"/>
                    <a:pt x="4940" y="13881"/>
                  </a:cubicBezTo>
                  <a:cubicBezTo>
                    <a:pt x="4940" y="13889"/>
                    <a:pt x="4940" y="13898"/>
                    <a:pt x="4940" y="13908"/>
                  </a:cubicBezTo>
                  <a:cubicBezTo>
                    <a:pt x="4940" y="13929"/>
                    <a:pt x="4939" y="13946"/>
                    <a:pt x="4942" y="13971"/>
                  </a:cubicBezTo>
                  <a:cubicBezTo>
                    <a:pt x="4935" y="13975"/>
                    <a:pt x="4924" y="13981"/>
                    <a:pt x="4910" y="13988"/>
                  </a:cubicBezTo>
                  <a:cubicBezTo>
                    <a:pt x="4887" y="14000"/>
                    <a:pt x="4857" y="14016"/>
                    <a:pt x="4827" y="14032"/>
                  </a:cubicBezTo>
                  <a:cubicBezTo>
                    <a:pt x="4784" y="14055"/>
                    <a:pt x="4742" y="14077"/>
                    <a:pt x="4721" y="14089"/>
                  </a:cubicBezTo>
                  <a:cubicBezTo>
                    <a:pt x="4724" y="14032"/>
                    <a:pt x="4729" y="13967"/>
                    <a:pt x="4733" y="13902"/>
                  </a:cubicBezTo>
                  <a:close/>
                  <a:moveTo>
                    <a:pt x="4942" y="13856"/>
                  </a:moveTo>
                  <a:cubicBezTo>
                    <a:pt x="4941" y="13858"/>
                    <a:pt x="4941" y="13861"/>
                    <a:pt x="4941" y="13864"/>
                  </a:cubicBezTo>
                  <a:cubicBezTo>
                    <a:pt x="4909" y="13863"/>
                    <a:pt x="4909" y="13863"/>
                    <a:pt x="4909" y="13863"/>
                  </a:cubicBezTo>
                  <a:cubicBezTo>
                    <a:pt x="4920" y="13769"/>
                    <a:pt x="4920" y="13769"/>
                    <a:pt x="4920" y="13769"/>
                  </a:cubicBezTo>
                  <a:cubicBezTo>
                    <a:pt x="4932" y="13770"/>
                    <a:pt x="4932" y="13770"/>
                    <a:pt x="4932" y="13770"/>
                  </a:cubicBezTo>
                  <a:cubicBezTo>
                    <a:pt x="4943" y="13670"/>
                    <a:pt x="4943" y="13670"/>
                    <a:pt x="4943" y="13670"/>
                  </a:cubicBezTo>
                  <a:cubicBezTo>
                    <a:pt x="4950" y="13671"/>
                    <a:pt x="4957" y="13671"/>
                    <a:pt x="4963" y="13672"/>
                  </a:cubicBezTo>
                  <a:cubicBezTo>
                    <a:pt x="4956" y="13724"/>
                    <a:pt x="4947" y="13795"/>
                    <a:pt x="4942" y="13856"/>
                  </a:cubicBezTo>
                  <a:close/>
                  <a:moveTo>
                    <a:pt x="4946" y="13654"/>
                  </a:moveTo>
                  <a:cubicBezTo>
                    <a:pt x="4946" y="13654"/>
                    <a:pt x="4946" y="13654"/>
                    <a:pt x="4946" y="13654"/>
                  </a:cubicBezTo>
                  <a:cubicBezTo>
                    <a:pt x="4946" y="13654"/>
                    <a:pt x="4946" y="13654"/>
                    <a:pt x="4945" y="13654"/>
                  </a:cubicBezTo>
                  <a:cubicBezTo>
                    <a:pt x="4955" y="13559"/>
                    <a:pt x="4955" y="13559"/>
                    <a:pt x="4955" y="13559"/>
                  </a:cubicBezTo>
                  <a:cubicBezTo>
                    <a:pt x="4852" y="13549"/>
                    <a:pt x="4852" y="13549"/>
                    <a:pt x="4852" y="13549"/>
                  </a:cubicBezTo>
                  <a:cubicBezTo>
                    <a:pt x="4846" y="13599"/>
                    <a:pt x="4846" y="13599"/>
                    <a:pt x="4846" y="13599"/>
                  </a:cubicBezTo>
                  <a:cubicBezTo>
                    <a:pt x="4808" y="13597"/>
                    <a:pt x="4808" y="13597"/>
                    <a:pt x="4808" y="13597"/>
                  </a:cubicBezTo>
                  <a:cubicBezTo>
                    <a:pt x="4802" y="13644"/>
                    <a:pt x="4802" y="13644"/>
                    <a:pt x="4802" y="13644"/>
                  </a:cubicBezTo>
                  <a:cubicBezTo>
                    <a:pt x="4776" y="13642"/>
                    <a:pt x="4756" y="13641"/>
                    <a:pt x="4750" y="13640"/>
                  </a:cubicBezTo>
                  <a:cubicBezTo>
                    <a:pt x="4753" y="13598"/>
                    <a:pt x="4755" y="13566"/>
                    <a:pt x="4755" y="13553"/>
                  </a:cubicBezTo>
                  <a:cubicBezTo>
                    <a:pt x="4789" y="13550"/>
                    <a:pt x="4934" y="13533"/>
                    <a:pt x="4983" y="13527"/>
                  </a:cubicBezTo>
                  <a:cubicBezTo>
                    <a:pt x="4979" y="13563"/>
                    <a:pt x="4974" y="13594"/>
                    <a:pt x="4972" y="13612"/>
                  </a:cubicBezTo>
                  <a:cubicBezTo>
                    <a:pt x="4970" y="13622"/>
                    <a:pt x="4968" y="13637"/>
                    <a:pt x="4965" y="13655"/>
                  </a:cubicBezTo>
                  <a:cubicBezTo>
                    <a:pt x="4960" y="13655"/>
                    <a:pt x="4954" y="13655"/>
                    <a:pt x="4946" y="13654"/>
                  </a:cubicBezTo>
                  <a:close/>
                  <a:moveTo>
                    <a:pt x="4963" y="13513"/>
                  </a:moveTo>
                  <a:cubicBezTo>
                    <a:pt x="4942" y="13515"/>
                    <a:pt x="4915" y="13519"/>
                    <a:pt x="4886" y="13522"/>
                  </a:cubicBezTo>
                  <a:cubicBezTo>
                    <a:pt x="4829" y="13529"/>
                    <a:pt x="4768" y="13535"/>
                    <a:pt x="4751" y="13537"/>
                  </a:cubicBezTo>
                  <a:cubicBezTo>
                    <a:pt x="4751" y="13537"/>
                    <a:pt x="4751" y="13537"/>
                    <a:pt x="4750" y="13537"/>
                  </a:cubicBezTo>
                  <a:cubicBezTo>
                    <a:pt x="4588" y="13387"/>
                    <a:pt x="4588" y="13387"/>
                    <a:pt x="4588" y="13387"/>
                  </a:cubicBezTo>
                  <a:cubicBezTo>
                    <a:pt x="4589" y="13383"/>
                    <a:pt x="4589" y="13379"/>
                    <a:pt x="4590" y="13376"/>
                  </a:cubicBezTo>
                  <a:cubicBezTo>
                    <a:pt x="4591" y="13369"/>
                    <a:pt x="4600" y="13341"/>
                    <a:pt x="4612" y="13308"/>
                  </a:cubicBezTo>
                  <a:cubicBezTo>
                    <a:pt x="4624" y="13275"/>
                    <a:pt x="4640" y="13235"/>
                    <a:pt x="4655" y="13196"/>
                  </a:cubicBezTo>
                  <a:cubicBezTo>
                    <a:pt x="4684" y="13122"/>
                    <a:pt x="4711" y="13054"/>
                    <a:pt x="4713" y="13049"/>
                  </a:cubicBezTo>
                  <a:cubicBezTo>
                    <a:pt x="4725" y="13030"/>
                    <a:pt x="4742" y="13004"/>
                    <a:pt x="4761" y="12974"/>
                  </a:cubicBezTo>
                  <a:cubicBezTo>
                    <a:pt x="4787" y="12934"/>
                    <a:pt x="4818" y="12888"/>
                    <a:pt x="4844" y="12853"/>
                  </a:cubicBezTo>
                  <a:cubicBezTo>
                    <a:pt x="4990" y="13011"/>
                    <a:pt x="5004" y="13221"/>
                    <a:pt x="5004" y="13312"/>
                  </a:cubicBezTo>
                  <a:cubicBezTo>
                    <a:pt x="5004" y="13326"/>
                    <a:pt x="5003" y="13336"/>
                    <a:pt x="5003" y="13344"/>
                  </a:cubicBezTo>
                  <a:cubicBezTo>
                    <a:pt x="5002" y="13355"/>
                    <a:pt x="4999" y="13397"/>
                    <a:pt x="4994" y="13443"/>
                  </a:cubicBezTo>
                  <a:cubicBezTo>
                    <a:pt x="4991" y="13465"/>
                    <a:pt x="4989" y="13488"/>
                    <a:pt x="4986" y="13510"/>
                  </a:cubicBezTo>
                  <a:cubicBezTo>
                    <a:pt x="4980" y="13511"/>
                    <a:pt x="4972" y="13512"/>
                    <a:pt x="4963" y="13513"/>
                  </a:cubicBezTo>
                  <a:close/>
                  <a:moveTo>
                    <a:pt x="4986" y="13860"/>
                  </a:moveTo>
                  <a:cubicBezTo>
                    <a:pt x="4994" y="13770"/>
                    <a:pt x="5011" y="13654"/>
                    <a:pt x="5016" y="13619"/>
                  </a:cubicBezTo>
                  <a:cubicBezTo>
                    <a:pt x="5021" y="13587"/>
                    <a:pt x="5031" y="13513"/>
                    <a:pt x="5039" y="13448"/>
                  </a:cubicBezTo>
                  <a:cubicBezTo>
                    <a:pt x="5043" y="13413"/>
                    <a:pt x="5045" y="13380"/>
                    <a:pt x="5047" y="13361"/>
                  </a:cubicBezTo>
                  <a:cubicBezTo>
                    <a:pt x="5047" y="13361"/>
                    <a:pt x="5047" y="13361"/>
                    <a:pt x="5047" y="13361"/>
                  </a:cubicBezTo>
                  <a:cubicBezTo>
                    <a:pt x="5047" y="13361"/>
                    <a:pt x="5047" y="13360"/>
                    <a:pt x="5047" y="13360"/>
                  </a:cubicBezTo>
                  <a:cubicBezTo>
                    <a:pt x="5291" y="13359"/>
                    <a:pt x="5291" y="13359"/>
                    <a:pt x="5291" y="13359"/>
                  </a:cubicBezTo>
                  <a:cubicBezTo>
                    <a:pt x="5431" y="13388"/>
                    <a:pt x="5431" y="13388"/>
                    <a:pt x="5431" y="13388"/>
                  </a:cubicBezTo>
                  <a:cubicBezTo>
                    <a:pt x="5407" y="13527"/>
                    <a:pt x="5407" y="13527"/>
                    <a:pt x="5407" y="13527"/>
                  </a:cubicBezTo>
                  <a:cubicBezTo>
                    <a:pt x="5368" y="13522"/>
                    <a:pt x="5368" y="13522"/>
                    <a:pt x="5368" y="13522"/>
                  </a:cubicBezTo>
                  <a:cubicBezTo>
                    <a:pt x="5366" y="13527"/>
                    <a:pt x="5366" y="13527"/>
                    <a:pt x="5366" y="13527"/>
                  </a:cubicBezTo>
                  <a:cubicBezTo>
                    <a:pt x="5365" y="13527"/>
                    <a:pt x="5278" y="13688"/>
                    <a:pt x="5231" y="13773"/>
                  </a:cubicBezTo>
                  <a:cubicBezTo>
                    <a:pt x="5217" y="13798"/>
                    <a:pt x="5206" y="13818"/>
                    <a:pt x="5203" y="13822"/>
                  </a:cubicBezTo>
                  <a:cubicBezTo>
                    <a:pt x="5202" y="13822"/>
                    <a:pt x="5202" y="13823"/>
                    <a:pt x="5200" y="13824"/>
                  </a:cubicBezTo>
                  <a:cubicBezTo>
                    <a:pt x="5199" y="13825"/>
                    <a:pt x="5196" y="13827"/>
                    <a:pt x="5193" y="13829"/>
                  </a:cubicBezTo>
                  <a:cubicBezTo>
                    <a:pt x="5186" y="13834"/>
                    <a:pt x="5177" y="13841"/>
                    <a:pt x="5166" y="13849"/>
                  </a:cubicBezTo>
                  <a:cubicBezTo>
                    <a:pt x="5145" y="13865"/>
                    <a:pt x="5116" y="13887"/>
                    <a:pt x="5088" y="13908"/>
                  </a:cubicBezTo>
                  <a:cubicBezTo>
                    <a:pt x="5049" y="13938"/>
                    <a:pt x="5011" y="13967"/>
                    <a:pt x="4990" y="13982"/>
                  </a:cubicBezTo>
                  <a:cubicBezTo>
                    <a:pt x="4989" y="13977"/>
                    <a:pt x="4988" y="13971"/>
                    <a:pt x="4988" y="13966"/>
                  </a:cubicBezTo>
                  <a:cubicBezTo>
                    <a:pt x="4988" y="13961"/>
                    <a:pt x="4988" y="13961"/>
                    <a:pt x="4988" y="13961"/>
                  </a:cubicBezTo>
                  <a:cubicBezTo>
                    <a:pt x="4986" y="13949"/>
                    <a:pt x="4985" y="13928"/>
                    <a:pt x="4985" y="13908"/>
                  </a:cubicBezTo>
                  <a:cubicBezTo>
                    <a:pt x="4985" y="13887"/>
                    <a:pt x="4986" y="13868"/>
                    <a:pt x="4986" y="13860"/>
                  </a:cubicBezTo>
                  <a:close/>
                  <a:moveTo>
                    <a:pt x="5426" y="13358"/>
                  </a:moveTo>
                  <a:cubicBezTo>
                    <a:pt x="5440" y="13281"/>
                    <a:pt x="5440" y="13281"/>
                    <a:pt x="5440" y="13281"/>
                  </a:cubicBezTo>
                  <a:cubicBezTo>
                    <a:pt x="5560" y="13303"/>
                    <a:pt x="5560" y="13303"/>
                    <a:pt x="5560" y="13303"/>
                  </a:cubicBezTo>
                  <a:cubicBezTo>
                    <a:pt x="5546" y="13380"/>
                    <a:pt x="5546" y="13380"/>
                    <a:pt x="5546" y="13380"/>
                  </a:cubicBezTo>
                  <a:lnTo>
                    <a:pt x="5426" y="13358"/>
                  </a:lnTo>
                  <a:close/>
                  <a:moveTo>
                    <a:pt x="5454" y="13377"/>
                  </a:moveTo>
                  <a:cubicBezTo>
                    <a:pt x="5452" y="13377"/>
                    <a:pt x="5451" y="13376"/>
                    <a:pt x="5450" y="13376"/>
                  </a:cubicBezTo>
                  <a:cubicBezTo>
                    <a:pt x="5450" y="13376"/>
                    <a:pt x="5450" y="13376"/>
                    <a:pt x="5450" y="13376"/>
                  </a:cubicBezTo>
                  <a:lnTo>
                    <a:pt x="5454" y="13377"/>
                  </a:lnTo>
                  <a:close/>
                  <a:moveTo>
                    <a:pt x="5447" y="13390"/>
                  </a:moveTo>
                  <a:cubicBezTo>
                    <a:pt x="5465" y="13393"/>
                    <a:pt x="5519" y="13403"/>
                    <a:pt x="5571" y="13411"/>
                  </a:cubicBezTo>
                  <a:cubicBezTo>
                    <a:pt x="5618" y="13418"/>
                    <a:pt x="5664" y="13425"/>
                    <a:pt x="5685" y="13428"/>
                  </a:cubicBezTo>
                  <a:cubicBezTo>
                    <a:pt x="5668" y="13578"/>
                    <a:pt x="5668" y="13578"/>
                    <a:pt x="5668" y="13578"/>
                  </a:cubicBezTo>
                  <a:cubicBezTo>
                    <a:pt x="5644" y="13575"/>
                    <a:pt x="5590" y="13565"/>
                    <a:pt x="5538" y="13555"/>
                  </a:cubicBezTo>
                  <a:cubicBezTo>
                    <a:pt x="5491" y="13546"/>
                    <a:pt x="5445" y="13537"/>
                    <a:pt x="5423" y="13532"/>
                  </a:cubicBezTo>
                  <a:lnTo>
                    <a:pt x="5447" y="13390"/>
                  </a:lnTo>
                  <a:close/>
                  <a:moveTo>
                    <a:pt x="5557" y="13393"/>
                  </a:moveTo>
                  <a:cubicBezTo>
                    <a:pt x="5575" y="13293"/>
                    <a:pt x="5575" y="13293"/>
                    <a:pt x="5575" y="13293"/>
                  </a:cubicBezTo>
                  <a:cubicBezTo>
                    <a:pt x="5429" y="13266"/>
                    <a:pt x="5429" y="13266"/>
                    <a:pt x="5429" y="13266"/>
                  </a:cubicBezTo>
                  <a:cubicBezTo>
                    <a:pt x="5412" y="13362"/>
                    <a:pt x="5412" y="13362"/>
                    <a:pt x="5412" y="13362"/>
                  </a:cubicBezTo>
                  <a:cubicBezTo>
                    <a:pt x="5411" y="13367"/>
                    <a:pt x="5411" y="13367"/>
                    <a:pt x="5411" y="13367"/>
                  </a:cubicBezTo>
                  <a:cubicBezTo>
                    <a:pt x="5325" y="13349"/>
                    <a:pt x="5325" y="13349"/>
                    <a:pt x="5325" y="13349"/>
                  </a:cubicBezTo>
                  <a:cubicBezTo>
                    <a:pt x="5326" y="13348"/>
                    <a:pt x="5326" y="13346"/>
                    <a:pt x="5327" y="13344"/>
                  </a:cubicBezTo>
                  <a:cubicBezTo>
                    <a:pt x="5329" y="13336"/>
                    <a:pt x="5332" y="13326"/>
                    <a:pt x="5335" y="13314"/>
                  </a:cubicBezTo>
                  <a:cubicBezTo>
                    <a:pt x="5341" y="13290"/>
                    <a:pt x="5349" y="13258"/>
                    <a:pt x="5357" y="13227"/>
                  </a:cubicBezTo>
                  <a:cubicBezTo>
                    <a:pt x="5372" y="13163"/>
                    <a:pt x="5386" y="13100"/>
                    <a:pt x="5386" y="13100"/>
                  </a:cubicBezTo>
                  <a:cubicBezTo>
                    <a:pt x="5387" y="13099"/>
                    <a:pt x="5387" y="13099"/>
                    <a:pt x="5387" y="13099"/>
                  </a:cubicBezTo>
                  <a:cubicBezTo>
                    <a:pt x="5385" y="13089"/>
                    <a:pt x="5385" y="13089"/>
                    <a:pt x="5385" y="13089"/>
                  </a:cubicBezTo>
                  <a:cubicBezTo>
                    <a:pt x="5716" y="13152"/>
                    <a:pt x="5716" y="13152"/>
                    <a:pt x="5716" y="13152"/>
                  </a:cubicBezTo>
                  <a:cubicBezTo>
                    <a:pt x="5687" y="13414"/>
                    <a:pt x="5687" y="13414"/>
                    <a:pt x="5687" y="13414"/>
                  </a:cubicBezTo>
                  <a:cubicBezTo>
                    <a:pt x="5663" y="13410"/>
                    <a:pt x="5609" y="13401"/>
                    <a:pt x="5557" y="13393"/>
                  </a:cubicBezTo>
                  <a:close/>
                  <a:moveTo>
                    <a:pt x="5697" y="13906"/>
                  </a:moveTo>
                  <a:cubicBezTo>
                    <a:pt x="5954" y="11639"/>
                    <a:pt x="5954" y="11639"/>
                    <a:pt x="5954" y="11639"/>
                  </a:cubicBezTo>
                  <a:cubicBezTo>
                    <a:pt x="6031" y="11411"/>
                    <a:pt x="6031" y="11411"/>
                    <a:pt x="6031" y="11411"/>
                  </a:cubicBezTo>
                  <a:cubicBezTo>
                    <a:pt x="6128" y="10926"/>
                    <a:pt x="6128" y="10926"/>
                    <a:pt x="6128" y="10926"/>
                  </a:cubicBezTo>
                  <a:cubicBezTo>
                    <a:pt x="6210" y="10927"/>
                    <a:pt x="6210" y="10927"/>
                    <a:pt x="6210" y="10927"/>
                  </a:cubicBezTo>
                  <a:cubicBezTo>
                    <a:pt x="6200" y="10982"/>
                    <a:pt x="6179" y="11097"/>
                    <a:pt x="6155" y="11224"/>
                  </a:cubicBezTo>
                  <a:cubicBezTo>
                    <a:pt x="6137" y="11319"/>
                    <a:pt x="6117" y="11421"/>
                    <a:pt x="6099" y="11509"/>
                  </a:cubicBezTo>
                  <a:cubicBezTo>
                    <a:pt x="6098" y="11509"/>
                    <a:pt x="6098" y="11509"/>
                    <a:pt x="6098" y="11509"/>
                  </a:cubicBezTo>
                  <a:cubicBezTo>
                    <a:pt x="6097" y="11521"/>
                    <a:pt x="6097" y="11521"/>
                    <a:pt x="6097" y="11521"/>
                  </a:cubicBezTo>
                  <a:cubicBezTo>
                    <a:pt x="6082" y="11590"/>
                    <a:pt x="6070" y="11649"/>
                    <a:pt x="6060" y="11687"/>
                  </a:cubicBezTo>
                  <a:cubicBezTo>
                    <a:pt x="6054" y="11710"/>
                    <a:pt x="6048" y="11726"/>
                    <a:pt x="6047" y="11729"/>
                  </a:cubicBezTo>
                  <a:cubicBezTo>
                    <a:pt x="6047" y="11729"/>
                    <a:pt x="6047" y="11729"/>
                    <a:pt x="6047" y="11729"/>
                  </a:cubicBezTo>
                  <a:cubicBezTo>
                    <a:pt x="6046" y="11729"/>
                    <a:pt x="6046" y="11729"/>
                    <a:pt x="6046" y="11729"/>
                  </a:cubicBezTo>
                  <a:cubicBezTo>
                    <a:pt x="6045" y="11731"/>
                    <a:pt x="6044" y="11732"/>
                    <a:pt x="6044" y="11734"/>
                  </a:cubicBezTo>
                  <a:cubicBezTo>
                    <a:pt x="6044" y="11735"/>
                    <a:pt x="6044" y="11736"/>
                    <a:pt x="6044" y="11736"/>
                  </a:cubicBezTo>
                  <a:cubicBezTo>
                    <a:pt x="6044" y="11749"/>
                    <a:pt x="6035" y="11824"/>
                    <a:pt x="6021" y="11937"/>
                  </a:cubicBezTo>
                  <a:cubicBezTo>
                    <a:pt x="6018" y="11937"/>
                    <a:pt x="6018" y="11937"/>
                    <a:pt x="6018" y="11937"/>
                  </a:cubicBezTo>
                  <a:cubicBezTo>
                    <a:pt x="6017" y="11951"/>
                    <a:pt x="6017" y="11951"/>
                    <a:pt x="6017" y="11951"/>
                  </a:cubicBezTo>
                  <a:cubicBezTo>
                    <a:pt x="6020" y="11951"/>
                    <a:pt x="6020" y="11951"/>
                    <a:pt x="6020" y="11951"/>
                  </a:cubicBezTo>
                  <a:cubicBezTo>
                    <a:pt x="6006" y="12060"/>
                    <a:pt x="5988" y="12203"/>
                    <a:pt x="5968" y="12362"/>
                  </a:cubicBezTo>
                  <a:cubicBezTo>
                    <a:pt x="5965" y="12362"/>
                    <a:pt x="5965" y="12362"/>
                    <a:pt x="5965" y="12362"/>
                  </a:cubicBezTo>
                  <a:cubicBezTo>
                    <a:pt x="5964" y="12376"/>
                    <a:pt x="5964" y="12376"/>
                    <a:pt x="5964" y="12376"/>
                  </a:cubicBezTo>
                  <a:cubicBezTo>
                    <a:pt x="5966" y="12376"/>
                    <a:pt x="5966" y="12376"/>
                    <a:pt x="5966" y="12376"/>
                  </a:cubicBezTo>
                  <a:cubicBezTo>
                    <a:pt x="5915" y="12768"/>
                    <a:pt x="5852" y="13254"/>
                    <a:pt x="5810" y="13570"/>
                  </a:cubicBezTo>
                  <a:cubicBezTo>
                    <a:pt x="5791" y="13715"/>
                    <a:pt x="5777" y="13824"/>
                    <a:pt x="5770" y="13871"/>
                  </a:cubicBezTo>
                  <a:cubicBezTo>
                    <a:pt x="5768" y="13871"/>
                    <a:pt x="5768" y="13871"/>
                    <a:pt x="5768" y="13871"/>
                  </a:cubicBezTo>
                  <a:cubicBezTo>
                    <a:pt x="5692" y="13926"/>
                    <a:pt x="5692" y="13926"/>
                    <a:pt x="5692" y="13926"/>
                  </a:cubicBezTo>
                  <a:lnTo>
                    <a:pt x="5697" y="13906"/>
                  </a:lnTo>
                  <a:close/>
                  <a:moveTo>
                    <a:pt x="6374" y="11159"/>
                  </a:moveTo>
                  <a:cubicBezTo>
                    <a:pt x="6340" y="11327"/>
                    <a:pt x="6340" y="11327"/>
                    <a:pt x="6340" y="11327"/>
                  </a:cubicBezTo>
                  <a:cubicBezTo>
                    <a:pt x="6204" y="11316"/>
                    <a:pt x="6204" y="11316"/>
                    <a:pt x="6204" y="11316"/>
                  </a:cubicBezTo>
                  <a:cubicBezTo>
                    <a:pt x="6239" y="11149"/>
                    <a:pt x="6239" y="11149"/>
                    <a:pt x="6239" y="11149"/>
                  </a:cubicBezTo>
                  <a:cubicBezTo>
                    <a:pt x="6275" y="11151"/>
                    <a:pt x="6323" y="11155"/>
                    <a:pt x="6374" y="11159"/>
                  </a:cubicBezTo>
                  <a:close/>
                  <a:moveTo>
                    <a:pt x="6242" y="11135"/>
                  </a:moveTo>
                  <a:cubicBezTo>
                    <a:pt x="6268" y="11010"/>
                    <a:pt x="6268" y="11010"/>
                    <a:pt x="6268" y="11010"/>
                  </a:cubicBezTo>
                  <a:cubicBezTo>
                    <a:pt x="6398" y="11037"/>
                    <a:pt x="6398" y="11037"/>
                    <a:pt x="6398" y="11037"/>
                  </a:cubicBezTo>
                  <a:cubicBezTo>
                    <a:pt x="6376" y="11145"/>
                    <a:pt x="6376" y="11145"/>
                    <a:pt x="6376" y="11145"/>
                  </a:cubicBezTo>
                  <a:cubicBezTo>
                    <a:pt x="6326" y="11141"/>
                    <a:pt x="6278" y="11138"/>
                    <a:pt x="6242" y="11135"/>
                  </a:cubicBezTo>
                  <a:close/>
                  <a:moveTo>
                    <a:pt x="6147" y="11527"/>
                  </a:moveTo>
                  <a:cubicBezTo>
                    <a:pt x="6105" y="11731"/>
                    <a:pt x="6105" y="11731"/>
                    <a:pt x="6105" y="11731"/>
                  </a:cubicBezTo>
                  <a:cubicBezTo>
                    <a:pt x="6086" y="11730"/>
                    <a:pt x="6071" y="11729"/>
                    <a:pt x="6062" y="11728"/>
                  </a:cubicBezTo>
                  <a:cubicBezTo>
                    <a:pt x="6063" y="11727"/>
                    <a:pt x="6063" y="11727"/>
                    <a:pt x="6063" y="11726"/>
                  </a:cubicBezTo>
                  <a:cubicBezTo>
                    <a:pt x="6065" y="11719"/>
                    <a:pt x="6068" y="11710"/>
                    <a:pt x="6071" y="11698"/>
                  </a:cubicBezTo>
                  <a:cubicBezTo>
                    <a:pt x="6078" y="11675"/>
                    <a:pt x="6085" y="11641"/>
                    <a:pt x="6094" y="11602"/>
                  </a:cubicBezTo>
                  <a:cubicBezTo>
                    <a:pt x="6099" y="11578"/>
                    <a:pt x="6105" y="11552"/>
                    <a:pt x="6110" y="11524"/>
                  </a:cubicBezTo>
                  <a:cubicBezTo>
                    <a:pt x="6119" y="11525"/>
                    <a:pt x="6132" y="11526"/>
                    <a:pt x="6147" y="11527"/>
                  </a:cubicBezTo>
                  <a:close/>
                  <a:moveTo>
                    <a:pt x="6113" y="11510"/>
                  </a:moveTo>
                  <a:cubicBezTo>
                    <a:pt x="6125" y="11453"/>
                    <a:pt x="6137" y="11390"/>
                    <a:pt x="6150" y="11326"/>
                  </a:cubicBezTo>
                  <a:cubicBezTo>
                    <a:pt x="6188" y="11329"/>
                    <a:pt x="6188" y="11329"/>
                    <a:pt x="6188" y="11329"/>
                  </a:cubicBezTo>
                  <a:cubicBezTo>
                    <a:pt x="6150" y="11514"/>
                    <a:pt x="6150" y="11514"/>
                    <a:pt x="6150" y="11514"/>
                  </a:cubicBezTo>
                  <a:cubicBezTo>
                    <a:pt x="6134" y="11512"/>
                    <a:pt x="6122" y="11511"/>
                    <a:pt x="6113" y="11510"/>
                  </a:cubicBezTo>
                  <a:close/>
                  <a:moveTo>
                    <a:pt x="6115" y="11745"/>
                  </a:moveTo>
                  <a:cubicBezTo>
                    <a:pt x="6122" y="11746"/>
                    <a:pt x="6129" y="11746"/>
                    <a:pt x="6137" y="11747"/>
                  </a:cubicBezTo>
                  <a:cubicBezTo>
                    <a:pt x="6170" y="11749"/>
                    <a:pt x="6211" y="11751"/>
                    <a:pt x="6253" y="11754"/>
                  </a:cubicBezTo>
                  <a:cubicBezTo>
                    <a:pt x="6219" y="11920"/>
                    <a:pt x="6219" y="11920"/>
                    <a:pt x="6219" y="11920"/>
                  </a:cubicBezTo>
                  <a:cubicBezTo>
                    <a:pt x="6084" y="11893"/>
                    <a:pt x="6084" y="11893"/>
                    <a:pt x="6084" y="11893"/>
                  </a:cubicBezTo>
                  <a:lnTo>
                    <a:pt x="6115" y="11745"/>
                  </a:lnTo>
                  <a:close/>
                  <a:moveTo>
                    <a:pt x="6118" y="11732"/>
                  </a:moveTo>
                  <a:cubicBezTo>
                    <a:pt x="6160" y="11529"/>
                    <a:pt x="6160" y="11529"/>
                    <a:pt x="6160" y="11529"/>
                  </a:cubicBezTo>
                  <a:cubicBezTo>
                    <a:pt x="6196" y="11532"/>
                    <a:pt x="6244" y="11537"/>
                    <a:pt x="6296" y="11542"/>
                  </a:cubicBezTo>
                  <a:cubicBezTo>
                    <a:pt x="6256" y="11740"/>
                    <a:pt x="6256" y="11740"/>
                    <a:pt x="6256" y="11740"/>
                  </a:cubicBezTo>
                  <a:cubicBezTo>
                    <a:pt x="6203" y="11737"/>
                    <a:pt x="6155" y="11734"/>
                    <a:pt x="6118" y="11732"/>
                  </a:cubicBezTo>
                  <a:close/>
                  <a:moveTo>
                    <a:pt x="6163" y="11515"/>
                  </a:moveTo>
                  <a:cubicBezTo>
                    <a:pt x="6202" y="11330"/>
                    <a:pt x="6202" y="11330"/>
                    <a:pt x="6202" y="11330"/>
                  </a:cubicBezTo>
                  <a:cubicBezTo>
                    <a:pt x="6337" y="11340"/>
                    <a:pt x="6337" y="11340"/>
                    <a:pt x="6337" y="11340"/>
                  </a:cubicBezTo>
                  <a:cubicBezTo>
                    <a:pt x="6299" y="11528"/>
                    <a:pt x="6299" y="11528"/>
                    <a:pt x="6299" y="11528"/>
                  </a:cubicBezTo>
                  <a:cubicBezTo>
                    <a:pt x="6247" y="11523"/>
                    <a:pt x="6199" y="11519"/>
                    <a:pt x="6163" y="11515"/>
                  </a:cubicBezTo>
                  <a:close/>
                  <a:moveTo>
                    <a:pt x="6191" y="11315"/>
                  </a:moveTo>
                  <a:cubicBezTo>
                    <a:pt x="6152" y="11312"/>
                    <a:pt x="6152" y="11312"/>
                    <a:pt x="6152" y="11312"/>
                  </a:cubicBezTo>
                  <a:cubicBezTo>
                    <a:pt x="6163" y="11255"/>
                    <a:pt x="6174" y="11197"/>
                    <a:pt x="6184" y="11144"/>
                  </a:cubicBezTo>
                  <a:cubicBezTo>
                    <a:pt x="6191" y="11145"/>
                    <a:pt x="6206" y="11146"/>
                    <a:pt x="6226" y="11147"/>
                  </a:cubicBezTo>
                  <a:lnTo>
                    <a:pt x="6191" y="11315"/>
                  </a:lnTo>
                  <a:close/>
                  <a:moveTo>
                    <a:pt x="6444" y="13246"/>
                  </a:moveTo>
                  <a:cubicBezTo>
                    <a:pt x="6423" y="13443"/>
                    <a:pt x="6423" y="13443"/>
                    <a:pt x="6423" y="13443"/>
                  </a:cubicBezTo>
                  <a:cubicBezTo>
                    <a:pt x="5847" y="13398"/>
                    <a:pt x="5847" y="13398"/>
                    <a:pt x="5847" y="13398"/>
                  </a:cubicBezTo>
                  <a:cubicBezTo>
                    <a:pt x="5864" y="13271"/>
                    <a:pt x="5882" y="13128"/>
                    <a:pt x="5902" y="12981"/>
                  </a:cubicBezTo>
                  <a:cubicBezTo>
                    <a:pt x="5951" y="12985"/>
                    <a:pt x="5951" y="12985"/>
                    <a:pt x="5951" y="12985"/>
                  </a:cubicBezTo>
                  <a:cubicBezTo>
                    <a:pt x="5935" y="13139"/>
                    <a:pt x="5935" y="13139"/>
                    <a:pt x="5935" y="13139"/>
                  </a:cubicBezTo>
                  <a:cubicBezTo>
                    <a:pt x="6096" y="13159"/>
                    <a:pt x="6096" y="13159"/>
                    <a:pt x="6096" y="13159"/>
                  </a:cubicBezTo>
                  <a:cubicBezTo>
                    <a:pt x="6113" y="12997"/>
                    <a:pt x="6113" y="12997"/>
                    <a:pt x="6113" y="12997"/>
                  </a:cubicBezTo>
                  <a:cubicBezTo>
                    <a:pt x="6468" y="13024"/>
                    <a:pt x="6468" y="13024"/>
                    <a:pt x="6468" y="13024"/>
                  </a:cubicBezTo>
                  <a:cubicBezTo>
                    <a:pt x="6446" y="13232"/>
                    <a:pt x="6446" y="13232"/>
                    <a:pt x="6446" y="13232"/>
                  </a:cubicBezTo>
                  <a:cubicBezTo>
                    <a:pt x="5875" y="13188"/>
                    <a:pt x="5875" y="13188"/>
                    <a:pt x="5875" y="13188"/>
                  </a:cubicBezTo>
                  <a:cubicBezTo>
                    <a:pt x="5874" y="13202"/>
                    <a:pt x="5874" y="13202"/>
                    <a:pt x="5874" y="13202"/>
                  </a:cubicBezTo>
                  <a:lnTo>
                    <a:pt x="6444" y="13246"/>
                  </a:lnTo>
                  <a:close/>
                  <a:moveTo>
                    <a:pt x="6422" y="13457"/>
                  </a:moveTo>
                  <a:cubicBezTo>
                    <a:pt x="6401" y="13655"/>
                    <a:pt x="6401" y="13655"/>
                    <a:pt x="6401" y="13655"/>
                  </a:cubicBezTo>
                  <a:cubicBezTo>
                    <a:pt x="5819" y="13610"/>
                    <a:pt x="5819" y="13610"/>
                    <a:pt x="5819" y="13610"/>
                  </a:cubicBezTo>
                  <a:cubicBezTo>
                    <a:pt x="5827" y="13551"/>
                    <a:pt x="5836" y="13484"/>
                    <a:pt x="5845" y="13412"/>
                  </a:cubicBezTo>
                  <a:lnTo>
                    <a:pt x="6422" y="13457"/>
                  </a:lnTo>
                  <a:close/>
                  <a:moveTo>
                    <a:pt x="5965" y="12972"/>
                  </a:moveTo>
                  <a:cubicBezTo>
                    <a:pt x="5986" y="12773"/>
                    <a:pt x="5986" y="12773"/>
                    <a:pt x="5986" y="12773"/>
                  </a:cubicBezTo>
                  <a:cubicBezTo>
                    <a:pt x="6121" y="12784"/>
                    <a:pt x="6121" y="12784"/>
                    <a:pt x="6121" y="12784"/>
                  </a:cubicBezTo>
                  <a:cubicBezTo>
                    <a:pt x="6101" y="12982"/>
                    <a:pt x="6101" y="12982"/>
                    <a:pt x="6101" y="12982"/>
                  </a:cubicBezTo>
                  <a:lnTo>
                    <a:pt x="5965" y="12972"/>
                  </a:lnTo>
                  <a:close/>
                  <a:moveTo>
                    <a:pt x="6099" y="12996"/>
                  </a:moveTo>
                  <a:cubicBezTo>
                    <a:pt x="6084" y="13144"/>
                    <a:pt x="6084" y="13144"/>
                    <a:pt x="6084" y="13144"/>
                  </a:cubicBezTo>
                  <a:cubicBezTo>
                    <a:pt x="5949" y="13127"/>
                    <a:pt x="5949" y="13127"/>
                    <a:pt x="5949" y="13127"/>
                  </a:cubicBezTo>
                  <a:cubicBezTo>
                    <a:pt x="5964" y="12986"/>
                    <a:pt x="5964" y="12986"/>
                    <a:pt x="5964" y="12986"/>
                  </a:cubicBezTo>
                  <a:lnTo>
                    <a:pt x="6099" y="12996"/>
                  </a:lnTo>
                  <a:close/>
                  <a:moveTo>
                    <a:pt x="5988" y="12760"/>
                  </a:moveTo>
                  <a:cubicBezTo>
                    <a:pt x="6007" y="12571"/>
                    <a:pt x="6007" y="12571"/>
                    <a:pt x="6007" y="12571"/>
                  </a:cubicBezTo>
                  <a:cubicBezTo>
                    <a:pt x="6142" y="12581"/>
                    <a:pt x="6142" y="12581"/>
                    <a:pt x="6142" y="12581"/>
                  </a:cubicBezTo>
                  <a:cubicBezTo>
                    <a:pt x="6122" y="12770"/>
                    <a:pt x="6122" y="12770"/>
                    <a:pt x="6122" y="12770"/>
                  </a:cubicBezTo>
                  <a:lnTo>
                    <a:pt x="5988" y="12760"/>
                  </a:lnTo>
                  <a:close/>
                  <a:moveTo>
                    <a:pt x="5974" y="12759"/>
                  </a:moveTo>
                  <a:cubicBezTo>
                    <a:pt x="5931" y="12755"/>
                    <a:pt x="5931" y="12755"/>
                    <a:pt x="5931" y="12755"/>
                  </a:cubicBezTo>
                  <a:cubicBezTo>
                    <a:pt x="5939" y="12692"/>
                    <a:pt x="5947" y="12629"/>
                    <a:pt x="5955" y="12567"/>
                  </a:cubicBezTo>
                  <a:cubicBezTo>
                    <a:pt x="5994" y="12570"/>
                    <a:pt x="5994" y="12570"/>
                    <a:pt x="5994" y="12570"/>
                  </a:cubicBezTo>
                  <a:lnTo>
                    <a:pt x="5974" y="12759"/>
                  </a:lnTo>
                  <a:close/>
                  <a:moveTo>
                    <a:pt x="5973" y="12772"/>
                  </a:moveTo>
                  <a:cubicBezTo>
                    <a:pt x="5952" y="12971"/>
                    <a:pt x="5952" y="12971"/>
                    <a:pt x="5952" y="12971"/>
                  </a:cubicBezTo>
                  <a:cubicBezTo>
                    <a:pt x="5903" y="12967"/>
                    <a:pt x="5903" y="12967"/>
                    <a:pt x="5903" y="12967"/>
                  </a:cubicBezTo>
                  <a:cubicBezTo>
                    <a:pt x="5912" y="12901"/>
                    <a:pt x="5921" y="12835"/>
                    <a:pt x="5929" y="12769"/>
                  </a:cubicBezTo>
                  <a:lnTo>
                    <a:pt x="5973" y="12772"/>
                  </a:lnTo>
                  <a:close/>
                  <a:moveTo>
                    <a:pt x="6114" y="12983"/>
                  </a:moveTo>
                  <a:cubicBezTo>
                    <a:pt x="6134" y="12785"/>
                    <a:pt x="6134" y="12785"/>
                    <a:pt x="6134" y="12785"/>
                  </a:cubicBezTo>
                  <a:cubicBezTo>
                    <a:pt x="6491" y="12812"/>
                    <a:pt x="6491" y="12812"/>
                    <a:pt x="6491" y="12812"/>
                  </a:cubicBezTo>
                  <a:cubicBezTo>
                    <a:pt x="6469" y="13011"/>
                    <a:pt x="6469" y="13011"/>
                    <a:pt x="6469" y="13011"/>
                  </a:cubicBezTo>
                  <a:lnTo>
                    <a:pt x="6114" y="12983"/>
                  </a:lnTo>
                  <a:close/>
                  <a:moveTo>
                    <a:pt x="6136" y="12771"/>
                  </a:moveTo>
                  <a:cubicBezTo>
                    <a:pt x="6155" y="12582"/>
                    <a:pt x="6155" y="12582"/>
                    <a:pt x="6155" y="12582"/>
                  </a:cubicBezTo>
                  <a:cubicBezTo>
                    <a:pt x="6512" y="12610"/>
                    <a:pt x="6512" y="12610"/>
                    <a:pt x="6512" y="12610"/>
                  </a:cubicBezTo>
                  <a:cubicBezTo>
                    <a:pt x="6492" y="12798"/>
                    <a:pt x="6492" y="12798"/>
                    <a:pt x="6492" y="12798"/>
                  </a:cubicBezTo>
                  <a:lnTo>
                    <a:pt x="6136" y="12771"/>
                  </a:lnTo>
                  <a:close/>
                  <a:moveTo>
                    <a:pt x="6156" y="12568"/>
                  </a:moveTo>
                  <a:cubicBezTo>
                    <a:pt x="6174" y="12392"/>
                    <a:pt x="6174" y="12392"/>
                    <a:pt x="6174" y="12392"/>
                  </a:cubicBezTo>
                  <a:cubicBezTo>
                    <a:pt x="6532" y="12419"/>
                    <a:pt x="6532" y="12419"/>
                    <a:pt x="6532" y="12419"/>
                  </a:cubicBezTo>
                  <a:cubicBezTo>
                    <a:pt x="6514" y="12596"/>
                    <a:pt x="6514" y="12596"/>
                    <a:pt x="6514" y="12596"/>
                  </a:cubicBezTo>
                  <a:lnTo>
                    <a:pt x="6156" y="12568"/>
                  </a:lnTo>
                  <a:close/>
                  <a:moveTo>
                    <a:pt x="6162" y="12377"/>
                  </a:moveTo>
                  <a:cubicBezTo>
                    <a:pt x="6029" y="12366"/>
                    <a:pt x="6029" y="12366"/>
                    <a:pt x="6029" y="12366"/>
                  </a:cubicBezTo>
                  <a:cubicBezTo>
                    <a:pt x="6042" y="12234"/>
                    <a:pt x="6042" y="12234"/>
                    <a:pt x="6042" y="12234"/>
                  </a:cubicBezTo>
                  <a:cubicBezTo>
                    <a:pt x="6175" y="12248"/>
                    <a:pt x="6175" y="12248"/>
                    <a:pt x="6175" y="12248"/>
                  </a:cubicBezTo>
                  <a:lnTo>
                    <a:pt x="6162" y="12377"/>
                  </a:lnTo>
                  <a:close/>
                  <a:moveTo>
                    <a:pt x="6161" y="12391"/>
                  </a:moveTo>
                  <a:cubicBezTo>
                    <a:pt x="6143" y="12567"/>
                    <a:pt x="6143" y="12567"/>
                    <a:pt x="6143" y="12567"/>
                  </a:cubicBezTo>
                  <a:cubicBezTo>
                    <a:pt x="6009" y="12557"/>
                    <a:pt x="6009" y="12557"/>
                    <a:pt x="6009" y="12557"/>
                  </a:cubicBezTo>
                  <a:cubicBezTo>
                    <a:pt x="6027" y="12380"/>
                    <a:pt x="6027" y="12380"/>
                    <a:pt x="6027" y="12380"/>
                  </a:cubicBezTo>
                  <a:lnTo>
                    <a:pt x="6161" y="12391"/>
                  </a:lnTo>
                  <a:close/>
                  <a:moveTo>
                    <a:pt x="5996" y="12556"/>
                  </a:moveTo>
                  <a:cubicBezTo>
                    <a:pt x="5957" y="12553"/>
                    <a:pt x="5957" y="12553"/>
                    <a:pt x="5957" y="12553"/>
                  </a:cubicBezTo>
                  <a:cubicBezTo>
                    <a:pt x="5965" y="12493"/>
                    <a:pt x="5973" y="12434"/>
                    <a:pt x="5980" y="12377"/>
                  </a:cubicBezTo>
                  <a:cubicBezTo>
                    <a:pt x="6014" y="12379"/>
                    <a:pt x="6014" y="12379"/>
                    <a:pt x="6014" y="12379"/>
                  </a:cubicBezTo>
                  <a:lnTo>
                    <a:pt x="5996" y="12556"/>
                  </a:lnTo>
                  <a:close/>
                  <a:moveTo>
                    <a:pt x="5817" y="13624"/>
                  </a:moveTo>
                  <a:cubicBezTo>
                    <a:pt x="6399" y="13669"/>
                    <a:pt x="6399" y="13669"/>
                    <a:pt x="6399" y="13669"/>
                  </a:cubicBezTo>
                  <a:cubicBezTo>
                    <a:pt x="6380" y="13853"/>
                    <a:pt x="6380" y="13853"/>
                    <a:pt x="6380" y="13853"/>
                  </a:cubicBezTo>
                  <a:cubicBezTo>
                    <a:pt x="6373" y="13854"/>
                    <a:pt x="6366" y="13855"/>
                    <a:pt x="6359" y="13855"/>
                  </a:cubicBezTo>
                  <a:cubicBezTo>
                    <a:pt x="6280" y="13863"/>
                    <a:pt x="6134" y="13867"/>
                    <a:pt x="6009" y="13869"/>
                  </a:cubicBezTo>
                  <a:cubicBezTo>
                    <a:pt x="5901" y="13871"/>
                    <a:pt x="5808" y="13871"/>
                    <a:pt x="5785" y="13871"/>
                  </a:cubicBezTo>
                  <a:cubicBezTo>
                    <a:pt x="5790" y="13829"/>
                    <a:pt x="5802" y="13741"/>
                    <a:pt x="5817" y="13624"/>
                  </a:cubicBezTo>
                  <a:close/>
                  <a:moveTo>
                    <a:pt x="6366" y="13920"/>
                  </a:moveTo>
                  <a:cubicBezTo>
                    <a:pt x="6416" y="13915"/>
                    <a:pt x="6467" y="13910"/>
                    <a:pt x="6518" y="13904"/>
                  </a:cubicBezTo>
                  <a:cubicBezTo>
                    <a:pt x="6518" y="14208"/>
                    <a:pt x="6518" y="14208"/>
                    <a:pt x="6518" y="14208"/>
                  </a:cubicBezTo>
                  <a:cubicBezTo>
                    <a:pt x="6447" y="14211"/>
                    <a:pt x="6403" y="14212"/>
                    <a:pt x="6399" y="14213"/>
                  </a:cubicBezTo>
                  <a:cubicBezTo>
                    <a:pt x="6398" y="14213"/>
                    <a:pt x="6398" y="14213"/>
                    <a:pt x="6398" y="14213"/>
                  </a:cubicBezTo>
                  <a:cubicBezTo>
                    <a:pt x="6398" y="14213"/>
                    <a:pt x="6397" y="14213"/>
                    <a:pt x="6396" y="14213"/>
                  </a:cubicBezTo>
                  <a:cubicBezTo>
                    <a:pt x="6371" y="14213"/>
                    <a:pt x="6241" y="14205"/>
                    <a:pt x="6197" y="14202"/>
                  </a:cubicBezTo>
                  <a:cubicBezTo>
                    <a:pt x="6228" y="13929"/>
                    <a:pt x="6228" y="13929"/>
                    <a:pt x="6228" y="13929"/>
                  </a:cubicBezTo>
                  <a:cubicBezTo>
                    <a:pt x="6281" y="13927"/>
                    <a:pt x="6329" y="13924"/>
                    <a:pt x="6366" y="13920"/>
                  </a:cubicBezTo>
                  <a:close/>
                  <a:moveTo>
                    <a:pt x="6446" y="13846"/>
                  </a:moveTo>
                  <a:cubicBezTo>
                    <a:pt x="6500" y="13346"/>
                    <a:pt x="6500" y="13346"/>
                    <a:pt x="6500" y="13346"/>
                  </a:cubicBezTo>
                  <a:cubicBezTo>
                    <a:pt x="6533" y="13351"/>
                    <a:pt x="6592" y="13359"/>
                    <a:pt x="6652" y="13367"/>
                  </a:cubicBezTo>
                  <a:cubicBezTo>
                    <a:pt x="6734" y="13379"/>
                    <a:pt x="6817" y="13391"/>
                    <a:pt x="6836" y="13394"/>
                  </a:cubicBezTo>
                  <a:cubicBezTo>
                    <a:pt x="6898" y="13777"/>
                    <a:pt x="6898" y="13777"/>
                    <a:pt x="6898" y="13777"/>
                  </a:cubicBezTo>
                  <a:cubicBezTo>
                    <a:pt x="6878" y="13780"/>
                    <a:pt x="6858" y="13783"/>
                    <a:pt x="6841" y="13786"/>
                  </a:cubicBezTo>
                  <a:cubicBezTo>
                    <a:pt x="6712" y="13813"/>
                    <a:pt x="6580" y="13831"/>
                    <a:pt x="6446" y="13846"/>
                  </a:cubicBezTo>
                  <a:close/>
                  <a:moveTo>
                    <a:pt x="6911" y="13266"/>
                  </a:moveTo>
                  <a:cubicBezTo>
                    <a:pt x="6911" y="13273"/>
                    <a:pt x="6911" y="13277"/>
                    <a:pt x="6912" y="13281"/>
                  </a:cubicBezTo>
                  <a:cubicBezTo>
                    <a:pt x="6912" y="13281"/>
                    <a:pt x="6912" y="13281"/>
                    <a:pt x="6912" y="13281"/>
                  </a:cubicBezTo>
                  <a:cubicBezTo>
                    <a:pt x="6912" y="13282"/>
                    <a:pt x="6911" y="13283"/>
                    <a:pt x="6911" y="13284"/>
                  </a:cubicBezTo>
                  <a:cubicBezTo>
                    <a:pt x="6909" y="13287"/>
                    <a:pt x="6906" y="13291"/>
                    <a:pt x="6902" y="13296"/>
                  </a:cubicBezTo>
                  <a:cubicBezTo>
                    <a:pt x="6895" y="13307"/>
                    <a:pt x="6885" y="13320"/>
                    <a:pt x="6876" y="13333"/>
                  </a:cubicBezTo>
                  <a:cubicBezTo>
                    <a:pt x="6860" y="13353"/>
                    <a:pt x="6845" y="13373"/>
                    <a:pt x="6839" y="13380"/>
                  </a:cubicBezTo>
                  <a:cubicBezTo>
                    <a:pt x="6805" y="13375"/>
                    <a:pt x="6580" y="13343"/>
                    <a:pt x="6501" y="13332"/>
                  </a:cubicBezTo>
                  <a:cubicBezTo>
                    <a:pt x="6546" y="12907"/>
                    <a:pt x="6546" y="12907"/>
                    <a:pt x="6546" y="12907"/>
                  </a:cubicBezTo>
                  <a:cubicBezTo>
                    <a:pt x="6639" y="12914"/>
                    <a:pt x="6894" y="12931"/>
                    <a:pt x="6928" y="12933"/>
                  </a:cubicBezTo>
                  <a:cubicBezTo>
                    <a:pt x="6919" y="13078"/>
                    <a:pt x="6911" y="13221"/>
                    <a:pt x="6911" y="13266"/>
                  </a:cubicBezTo>
                  <a:close/>
                  <a:moveTo>
                    <a:pt x="6534" y="12405"/>
                  </a:moveTo>
                  <a:cubicBezTo>
                    <a:pt x="6176" y="12378"/>
                    <a:pt x="6176" y="12378"/>
                    <a:pt x="6176" y="12378"/>
                  </a:cubicBezTo>
                  <a:cubicBezTo>
                    <a:pt x="6189" y="12243"/>
                    <a:pt x="6189" y="12243"/>
                    <a:pt x="6189" y="12243"/>
                  </a:cubicBezTo>
                  <a:cubicBezTo>
                    <a:pt x="6190" y="12236"/>
                    <a:pt x="6190" y="12236"/>
                    <a:pt x="6190" y="12236"/>
                  </a:cubicBezTo>
                  <a:cubicBezTo>
                    <a:pt x="6031" y="12220"/>
                    <a:pt x="6031" y="12220"/>
                    <a:pt x="6031" y="12220"/>
                  </a:cubicBezTo>
                  <a:cubicBezTo>
                    <a:pt x="6016" y="12365"/>
                    <a:pt x="6016" y="12365"/>
                    <a:pt x="6016" y="12365"/>
                  </a:cubicBezTo>
                  <a:cubicBezTo>
                    <a:pt x="5982" y="12363"/>
                    <a:pt x="5982" y="12363"/>
                    <a:pt x="5982" y="12363"/>
                  </a:cubicBezTo>
                  <a:cubicBezTo>
                    <a:pt x="5991" y="12292"/>
                    <a:pt x="5999" y="12224"/>
                    <a:pt x="6007" y="12161"/>
                  </a:cubicBezTo>
                  <a:cubicBezTo>
                    <a:pt x="6555" y="12202"/>
                    <a:pt x="6555" y="12202"/>
                    <a:pt x="6555" y="12202"/>
                  </a:cubicBezTo>
                  <a:lnTo>
                    <a:pt x="6534" y="12405"/>
                  </a:lnTo>
                  <a:close/>
                  <a:moveTo>
                    <a:pt x="6009" y="12147"/>
                  </a:moveTo>
                  <a:cubicBezTo>
                    <a:pt x="6018" y="12075"/>
                    <a:pt x="6027" y="12009"/>
                    <a:pt x="6034" y="11952"/>
                  </a:cubicBezTo>
                  <a:cubicBezTo>
                    <a:pt x="6578" y="11993"/>
                    <a:pt x="6578" y="11993"/>
                    <a:pt x="6578" y="11993"/>
                  </a:cubicBezTo>
                  <a:cubicBezTo>
                    <a:pt x="6557" y="12189"/>
                    <a:pt x="6557" y="12189"/>
                    <a:pt x="6557" y="12189"/>
                  </a:cubicBezTo>
                  <a:lnTo>
                    <a:pt x="6009" y="12147"/>
                  </a:lnTo>
                  <a:close/>
                  <a:moveTo>
                    <a:pt x="6035" y="11938"/>
                  </a:moveTo>
                  <a:cubicBezTo>
                    <a:pt x="6048" y="11835"/>
                    <a:pt x="6056" y="11764"/>
                    <a:pt x="6058" y="11742"/>
                  </a:cubicBezTo>
                  <a:cubicBezTo>
                    <a:pt x="6062" y="11742"/>
                    <a:pt x="6067" y="11742"/>
                    <a:pt x="6074" y="11743"/>
                  </a:cubicBezTo>
                  <a:cubicBezTo>
                    <a:pt x="6082" y="11743"/>
                    <a:pt x="6091" y="11744"/>
                    <a:pt x="6102" y="11745"/>
                  </a:cubicBezTo>
                  <a:cubicBezTo>
                    <a:pt x="6069" y="11904"/>
                    <a:pt x="6069" y="11904"/>
                    <a:pt x="6069" y="11904"/>
                  </a:cubicBezTo>
                  <a:cubicBezTo>
                    <a:pt x="6230" y="11935"/>
                    <a:pt x="6230" y="11935"/>
                    <a:pt x="6230" y="11935"/>
                  </a:cubicBezTo>
                  <a:cubicBezTo>
                    <a:pt x="6266" y="11755"/>
                    <a:pt x="6266" y="11755"/>
                    <a:pt x="6266" y="11755"/>
                  </a:cubicBezTo>
                  <a:cubicBezTo>
                    <a:pt x="6287" y="11756"/>
                    <a:pt x="6308" y="11757"/>
                    <a:pt x="6329" y="11758"/>
                  </a:cubicBezTo>
                  <a:cubicBezTo>
                    <a:pt x="6450" y="11766"/>
                    <a:pt x="6571" y="11773"/>
                    <a:pt x="6601" y="11775"/>
                  </a:cubicBezTo>
                  <a:cubicBezTo>
                    <a:pt x="6579" y="11979"/>
                    <a:pt x="6579" y="11979"/>
                    <a:pt x="6579" y="11979"/>
                  </a:cubicBezTo>
                  <a:lnTo>
                    <a:pt x="6035" y="11938"/>
                  </a:lnTo>
                  <a:close/>
                  <a:moveTo>
                    <a:pt x="6269" y="11741"/>
                  </a:moveTo>
                  <a:cubicBezTo>
                    <a:pt x="6309" y="11543"/>
                    <a:pt x="6309" y="11543"/>
                    <a:pt x="6309" y="11543"/>
                  </a:cubicBezTo>
                  <a:cubicBezTo>
                    <a:pt x="6432" y="11555"/>
                    <a:pt x="6572" y="11569"/>
                    <a:pt x="6622" y="11573"/>
                  </a:cubicBezTo>
                  <a:cubicBezTo>
                    <a:pt x="6602" y="11761"/>
                    <a:pt x="6602" y="11761"/>
                    <a:pt x="6602" y="11761"/>
                  </a:cubicBezTo>
                  <a:cubicBezTo>
                    <a:pt x="6569" y="11759"/>
                    <a:pt x="6408" y="11749"/>
                    <a:pt x="6269" y="11741"/>
                  </a:cubicBezTo>
                  <a:close/>
                  <a:moveTo>
                    <a:pt x="6367" y="11535"/>
                  </a:moveTo>
                  <a:cubicBezTo>
                    <a:pt x="6348" y="11533"/>
                    <a:pt x="6330" y="11531"/>
                    <a:pt x="6312" y="11529"/>
                  </a:cubicBezTo>
                  <a:cubicBezTo>
                    <a:pt x="6350" y="11341"/>
                    <a:pt x="6350" y="11341"/>
                    <a:pt x="6350" y="11341"/>
                  </a:cubicBezTo>
                  <a:cubicBezTo>
                    <a:pt x="6645" y="11364"/>
                    <a:pt x="6645" y="11364"/>
                    <a:pt x="6645" y="11364"/>
                  </a:cubicBezTo>
                  <a:cubicBezTo>
                    <a:pt x="6624" y="11559"/>
                    <a:pt x="6624" y="11559"/>
                    <a:pt x="6624" y="11559"/>
                  </a:cubicBezTo>
                  <a:cubicBezTo>
                    <a:pt x="6582" y="11556"/>
                    <a:pt x="6474" y="11545"/>
                    <a:pt x="6367" y="11535"/>
                  </a:cubicBezTo>
                  <a:close/>
                  <a:moveTo>
                    <a:pt x="6353" y="11328"/>
                  </a:moveTo>
                  <a:cubicBezTo>
                    <a:pt x="6387" y="11160"/>
                    <a:pt x="6387" y="11160"/>
                    <a:pt x="6387" y="11160"/>
                  </a:cubicBezTo>
                  <a:cubicBezTo>
                    <a:pt x="6505" y="11169"/>
                    <a:pt x="6635" y="11179"/>
                    <a:pt x="6664" y="11181"/>
                  </a:cubicBezTo>
                  <a:cubicBezTo>
                    <a:pt x="6646" y="11350"/>
                    <a:pt x="6646" y="11350"/>
                    <a:pt x="6646" y="11350"/>
                  </a:cubicBezTo>
                  <a:lnTo>
                    <a:pt x="6353" y="11328"/>
                  </a:lnTo>
                  <a:close/>
                  <a:moveTo>
                    <a:pt x="6663" y="11174"/>
                  </a:moveTo>
                  <a:cubicBezTo>
                    <a:pt x="6665" y="11174"/>
                    <a:pt x="6665" y="11174"/>
                    <a:pt x="6665" y="11174"/>
                  </a:cubicBezTo>
                  <a:cubicBezTo>
                    <a:pt x="6665" y="11174"/>
                    <a:pt x="6665" y="11174"/>
                    <a:pt x="6665" y="11174"/>
                  </a:cubicBezTo>
                  <a:lnTo>
                    <a:pt x="6663" y="11174"/>
                  </a:lnTo>
                  <a:close/>
                  <a:moveTo>
                    <a:pt x="6390" y="11146"/>
                  </a:moveTo>
                  <a:cubicBezTo>
                    <a:pt x="6413" y="11033"/>
                    <a:pt x="6413" y="11033"/>
                    <a:pt x="6413" y="11033"/>
                  </a:cubicBezTo>
                  <a:cubicBezTo>
                    <a:pt x="6414" y="11026"/>
                    <a:pt x="6414" y="11026"/>
                    <a:pt x="6414" y="11026"/>
                  </a:cubicBezTo>
                  <a:cubicBezTo>
                    <a:pt x="6258" y="10995"/>
                    <a:pt x="6258" y="10995"/>
                    <a:pt x="6258" y="10995"/>
                  </a:cubicBezTo>
                  <a:cubicBezTo>
                    <a:pt x="6229" y="11134"/>
                    <a:pt x="6229" y="11134"/>
                    <a:pt x="6229" y="11134"/>
                  </a:cubicBezTo>
                  <a:cubicBezTo>
                    <a:pt x="6209" y="11132"/>
                    <a:pt x="6194" y="11131"/>
                    <a:pt x="6187" y="11130"/>
                  </a:cubicBezTo>
                  <a:cubicBezTo>
                    <a:pt x="6203" y="11042"/>
                    <a:pt x="6217" y="10967"/>
                    <a:pt x="6224" y="10927"/>
                  </a:cubicBezTo>
                  <a:cubicBezTo>
                    <a:pt x="6691" y="10933"/>
                    <a:pt x="6691" y="10933"/>
                    <a:pt x="6691" y="10933"/>
                  </a:cubicBezTo>
                  <a:cubicBezTo>
                    <a:pt x="6666" y="11167"/>
                    <a:pt x="6666" y="11167"/>
                    <a:pt x="6666" y="11167"/>
                  </a:cubicBezTo>
                  <a:cubicBezTo>
                    <a:pt x="6640" y="11166"/>
                    <a:pt x="6509" y="11156"/>
                    <a:pt x="6390" y="11146"/>
                  </a:cubicBezTo>
                  <a:close/>
                  <a:moveTo>
                    <a:pt x="6417" y="10864"/>
                  </a:moveTo>
                  <a:cubicBezTo>
                    <a:pt x="6434" y="10752"/>
                    <a:pt x="6434" y="10752"/>
                    <a:pt x="6434" y="10752"/>
                  </a:cubicBezTo>
                  <a:cubicBezTo>
                    <a:pt x="6494" y="10822"/>
                    <a:pt x="6494" y="10822"/>
                    <a:pt x="6494" y="10822"/>
                  </a:cubicBezTo>
                  <a:cubicBezTo>
                    <a:pt x="6625" y="10715"/>
                    <a:pt x="6625" y="10715"/>
                    <a:pt x="6625" y="10715"/>
                  </a:cubicBezTo>
                  <a:cubicBezTo>
                    <a:pt x="6508" y="10581"/>
                    <a:pt x="6508" y="10581"/>
                    <a:pt x="6508" y="10581"/>
                  </a:cubicBezTo>
                  <a:cubicBezTo>
                    <a:pt x="6453" y="10624"/>
                    <a:pt x="6453" y="10624"/>
                    <a:pt x="6453" y="10624"/>
                  </a:cubicBezTo>
                  <a:cubicBezTo>
                    <a:pt x="6469" y="10520"/>
                    <a:pt x="6469" y="10520"/>
                    <a:pt x="6469" y="10520"/>
                  </a:cubicBezTo>
                  <a:cubicBezTo>
                    <a:pt x="6576" y="10528"/>
                    <a:pt x="6684" y="10536"/>
                    <a:pt x="6732" y="10539"/>
                  </a:cubicBezTo>
                  <a:cubicBezTo>
                    <a:pt x="6697" y="10868"/>
                    <a:pt x="6697" y="10868"/>
                    <a:pt x="6697" y="10868"/>
                  </a:cubicBezTo>
                  <a:lnTo>
                    <a:pt x="6417" y="10864"/>
                  </a:lnTo>
                  <a:close/>
                  <a:moveTo>
                    <a:pt x="6214" y="10486"/>
                  </a:moveTo>
                  <a:cubicBezTo>
                    <a:pt x="6252" y="10287"/>
                    <a:pt x="6252" y="10287"/>
                    <a:pt x="6252" y="10287"/>
                  </a:cubicBezTo>
                  <a:cubicBezTo>
                    <a:pt x="6267" y="10288"/>
                    <a:pt x="6267" y="10288"/>
                    <a:pt x="6267" y="10288"/>
                  </a:cubicBezTo>
                  <a:cubicBezTo>
                    <a:pt x="6239" y="10440"/>
                    <a:pt x="6239" y="10440"/>
                    <a:pt x="6239" y="10440"/>
                  </a:cubicBezTo>
                  <a:cubicBezTo>
                    <a:pt x="6238" y="10446"/>
                    <a:pt x="6238" y="10446"/>
                    <a:pt x="6238" y="10446"/>
                  </a:cubicBezTo>
                  <a:cubicBezTo>
                    <a:pt x="6387" y="10485"/>
                    <a:pt x="6387" y="10485"/>
                    <a:pt x="6387" y="10485"/>
                  </a:cubicBezTo>
                  <a:cubicBezTo>
                    <a:pt x="6426" y="10301"/>
                    <a:pt x="6426" y="10301"/>
                    <a:pt x="6426" y="10301"/>
                  </a:cubicBezTo>
                  <a:cubicBezTo>
                    <a:pt x="6755" y="10328"/>
                    <a:pt x="6755" y="10328"/>
                    <a:pt x="6755" y="10328"/>
                  </a:cubicBezTo>
                  <a:cubicBezTo>
                    <a:pt x="6734" y="10525"/>
                    <a:pt x="6734" y="10525"/>
                    <a:pt x="6734" y="10525"/>
                  </a:cubicBezTo>
                  <a:cubicBezTo>
                    <a:pt x="6640" y="10520"/>
                    <a:pt x="6314" y="10494"/>
                    <a:pt x="6214" y="10486"/>
                  </a:cubicBezTo>
                  <a:close/>
                  <a:moveTo>
                    <a:pt x="6283" y="10275"/>
                  </a:moveTo>
                  <a:cubicBezTo>
                    <a:pt x="6327" y="10044"/>
                    <a:pt x="6327" y="10044"/>
                    <a:pt x="6327" y="10044"/>
                  </a:cubicBezTo>
                  <a:cubicBezTo>
                    <a:pt x="6463" y="10063"/>
                    <a:pt x="6463" y="10063"/>
                    <a:pt x="6463" y="10063"/>
                  </a:cubicBezTo>
                  <a:cubicBezTo>
                    <a:pt x="6415" y="10286"/>
                    <a:pt x="6415" y="10286"/>
                    <a:pt x="6415" y="10286"/>
                  </a:cubicBezTo>
                  <a:lnTo>
                    <a:pt x="6283" y="10275"/>
                  </a:lnTo>
                  <a:close/>
                  <a:moveTo>
                    <a:pt x="6412" y="10300"/>
                  </a:moveTo>
                  <a:cubicBezTo>
                    <a:pt x="6377" y="10468"/>
                    <a:pt x="6377" y="10468"/>
                    <a:pt x="6377" y="10468"/>
                  </a:cubicBezTo>
                  <a:cubicBezTo>
                    <a:pt x="6253" y="10436"/>
                    <a:pt x="6253" y="10436"/>
                    <a:pt x="6253" y="10436"/>
                  </a:cubicBezTo>
                  <a:cubicBezTo>
                    <a:pt x="6281" y="10289"/>
                    <a:pt x="6281" y="10289"/>
                    <a:pt x="6281" y="10289"/>
                  </a:cubicBezTo>
                  <a:lnTo>
                    <a:pt x="6412" y="10300"/>
                  </a:lnTo>
                  <a:close/>
                  <a:moveTo>
                    <a:pt x="6331" y="10031"/>
                  </a:moveTo>
                  <a:cubicBezTo>
                    <a:pt x="6412" y="9793"/>
                    <a:pt x="6412" y="9793"/>
                    <a:pt x="6412" y="9793"/>
                  </a:cubicBezTo>
                  <a:cubicBezTo>
                    <a:pt x="6543" y="9825"/>
                    <a:pt x="6543" y="9825"/>
                    <a:pt x="6543" y="9825"/>
                  </a:cubicBezTo>
                  <a:cubicBezTo>
                    <a:pt x="6467" y="10049"/>
                    <a:pt x="6467" y="10049"/>
                    <a:pt x="6467" y="10049"/>
                  </a:cubicBezTo>
                  <a:lnTo>
                    <a:pt x="6331" y="10031"/>
                  </a:lnTo>
                  <a:close/>
                  <a:moveTo>
                    <a:pt x="6556" y="9828"/>
                  </a:moveTo>
                  <a:cubicBezTo>
                    <a:pt x="6822" y="9892"/>
                    <a:pt x="6822" y="9892"/>
                    <a:pt x="6822" y="9892"/>
                  </a:cubicBezTo>
                  <a:cubicBezTo>
                    <a:pt x="6791" y="9988"/>
                    <a:pt x="6791" y="9988"/>
                    <a:pt x="6791" y="9988"/>
                  </a:cubicBezTo>
                  <a:cubicBezTo>
                    <a:pt x="6780" y="10092"/>
                    <a:pt x="6780" y="10092"/>
                    <a:pt x="6780" y="10092"/>
                  </a:cubicBezTo>
                  <a:cubicBezTo>
                    <a:pt x="6480" y="10051"/>
                    <a:pt x="6480" y="10051"/>
                    <a:pt x="6480" y="10051"/>
                  </a:cubicBezTo>
                  <a:lnTo>
                    <a:pt x="6556" y="9828"/>
                  </a:lnTo>
                  <a:close/>
                  <a:moveTo>
                    <a:pt x="6548" y="9812"/>
                  </a:moveTo>
                  <a:cubicBezTo>
                    <a:pt x="6416" y="9780"/>
                    <a:pt x="6416" y="9780"/>
                    <a:pt x="6416" y="9780"/>
                  </a:cubicBezTo>
                  <a:cubicBezTo>
                    <a:pt x="6484" y="9581"/>
                    <a:pt x="6484" y="9581"/>
                    <a:pt x="6484" y="9581"/>
                  </a:cubicBezTo>
                  <a:cubicBezTo>
                    <a:pt x="6616" y="9610"/>
                    <a:pt x="6616" y="9610"/>
                    <a:pt x="6616" y="9610"/>
                  </a:cubicBezTo>
                  <a:lnTo>
                    <a:pt x="6548" y="9812"/>
                  </a:lnTo>
                  <a:close/>
                  <a:moveTo>
                    <a:pt x="6488" y="9568"/>
                  </a:moveTo>
                  <a:cubicBezTo>
                    <a:pt x="6551" y="9385"/>
                    <a:pt x="6551" y="9385"/>
                    <a:pt x="6551" y="9385"/>
                  </a:cubicBezTo>
                  <a:cubicBezTo>
                    <a:pt x="6682" y="9417"/>
                    <a:pt x="6682" y="9417"/>
                    <a:pt x="6682" y="9417"/>
                  </a:cubicBezTo>
                  <a:cubicBezTo>
                    <a:pt x="6621" y="9597"/>
                    <a:pt x="6621" y="9597"/>
                    <a:pt x="6621" y="9597"/>
                  </a:cubicBezTo>
                  <a:lnTo>
                    <a:pt x="6488" y="9568"/>
                  </a:lnTo>
                  <a:close/>
                  <a:moveTo>
                    <a:pt x="7299" y="8402"/>
                  </a:moveTo>
                  <a:cubicBezTo>
                    <a:pt x="7245" y="8571"/>
                    <a:pt x="7245" y="8571"/>
                    <a:pt x="7245" y="8571"/>
                  </a:cubicBezTo>
                  <a:cubicBezTo>
                    <a:pt x="7194" y="8561"/>
                    <a:pt x="7092" y="8542"/>
                    <a:pt x="6998" y="8524"/>
                  </a:cubicBezTo>
                  <a:cubicBezTo>
                    <a:pt x="7056" y="8354"/>
                    <a:pt x="7056" y="8354"/>
                    <a:pt x="7056" y="8354"/>
                  </a:cubicBezTo>
                  <a:lnTo>
                    <a:pt x="7299" y="8402"/>
                  </a:lnTo>
                  <a:close/>
                  <a:moveTo>
                    <a:pt x="7060" y="8341"/>
                  </a:moveTo>
                  <a:cubicBezTo>
                    <a:pt x="7116" y="8176"/>
                    <a:pt x="7116" y="8176"/>
                    <a:pt x="7116" y="8176"/>
                  </a:cubicBezTo>
                  <a:cubicBezTo>
                    <a:pt x="7132" y="8179"/>
                    <a:pt x="7148" y="8182"/>
                    <a:pt x="7164" y="8186"/>
                  </a:cubicBezTo>
                  <a:cubicBezTo>
                    <a:pt x="7240" y="8202"/>
                    <a:pt x="7314" y="8217"/>
                    <a:pt x="7355" y="8226"/>
                  </a:cubicBezTo>
                  <a:cubicBezTo>
                    <a:pt x="7303" y="8388"/>
                    <a:pt x="7303" y="8388"/>
                    <a:pt x="7303" y="8388"/>
                  </a:cubicBezTo>
                  <a:lnTo>
                    <a:pt x="7060" y="8341"/>
                  </a:lnTo>
                  <a:close/>
                  <a:moveTo>
                    <a:pt x="6977" y="8728"/>
                  </a:moveTo>
                  <a:cubicBezTo>
                    <a:pt x="7056" y="8743"/>
                    <a:pt x="7135" y="8758"/>
                    <a:pt x="7182" y="8767"/>
                  </a:cubicBezTo>
                  <a:cubicBezTo>
                    <a:pt x="7126" y="8940"/>
                    <a:pt x="7126" y="8940"/>
                    <a:pt x="7126" y="8940"/>
                  </a:cubicBezTo>
                  <a:cubicBezTo>
                    <a:pt x="7084" y="8933"/>
                    <a:pt x="6990" y="8915"/>
                    <a:pt x="6900" y="8897"/>
                  </a:cubicBezTo>
                  <a:cubicBezTo>
                    <a:pt x="6891" y="8896"/>
                    <a:pt x="6882" y="8894"/>
                    <a:pt x="6873" y="8892"/>
                  </a:cubicBezTo>
                  <a:cubicBezTo>
                    <a:pt x="6932" y="8719"/>
                    <a:pt x="6932" y="8719"/>
                    <a:pt x="6932" y="8719"/>
                  </a:cubicBezTo>
                  <a:cubicBezTo>
                    <a:pt x="6947" y="8722"/>
                    <a:pt x="6962" y="8725"/>
                    <a:pt x="6977" y="8728"/>
                  </a:cubicBezTo>
                  <a:close/>
                  <a:moveTo>
                    <a:pt x="6936" y="8706"/>
                  </a:moveTo>
                  <a:cubicBezTo>
                    <a:pt x="6993" y="8538"/>
                    <a:pt x="6993" y="8538"/>
                    <a:pt x="6993" y="8538"/>
                  </a:cubicBezTo>
                  <a:cubicBezTo>
                    <a:pt x="7009" y="8540"/>
                    <a:pt x="7024" y="8543"/>
                    <a:pt x="7039" y="8546"/>
                  </a:cubicBezTo>
                  <a:cubicBezTo>
                    <a:pt x="7119" y="8561"/>
                    <a:pt x="7197" y="8576"/>
                    <a:pt x="7240" y="8584"/>
                  </a:cubicBezTo>
                  <a:cubicBezTo>
                    <a:pt x="7186" y="8754"/>
                    <a:pt x="7186" y="8754"/>
                    <a:pt x="7186" y="8754"/>
                  </a:cubicBezTo>
                  <a:cubicBezTo>
                    <a:pt x="7131" y="8743"/>
                    <a:pt x="7030" y="8724"/>
                    <a:pt x="6936" y="8706"/>
                  </a:cubicBezTo>
                  <a:close/>
                  <a:moveTo>
                    <a:pt x="7185" y="8972"/>
                  </a:moveTo>
                  <a:cubicBezTo>
                    <a:pt x="7193" y="8975"/>
                    <a:pt x="7202" y="8979"/>
                    <a:pt x="7212" y="8984"/>
                  </a:cubicBezTo>
                  <a:cubicBezTo>
                    <a:pt x="7246" y="9000"/>
                    <a:pt x="7291" y="9021"/>
                    <a:pt x="7334" y="9043"/>
                  </a:cubicBezTo>
                  <a:cubicBezTo>
                    <a:pt x="7336" y="9043"/>
                    <a:pt x="7337" y="9044"/>
                    <a:pt x="7338" y="9045"/>
                  </a:cubicBezTo>
                  <a:cubicBezTo>
                    <a:pt x="7263" y="9192"/>
                    <a:pt x="7263" y="9192"/>
                    <a:pt x="7263" y="9192"/>
                  </a:cubicBezTo>
                  <a:cubicBezTo>
                    <a:pt x="7135" y="9129"/>
                    <a:pt x="7135" y="9129"/>
                    <a:pt x="7135" y="9129"/>
                  </a:cubicBezTo>
                  <a:lnTo>
                    <a:pt x="7185" y="8972"/>
                  </a:lnTo>
                  <a:close/>
                  <a:moveTo>
                    <a:pt x="7217" y="8971"/>
                  </a:moveTo>
                  <a:cubicBezTo>
                    <a:pt x="7207" y="8966"/>
                    <a:pt x="7198" y="8962"/>
                    <a:pt x="7190" y="8958"/>
                  </a:cubicBezTo>
                  <a:cubicBezTo>
                    <a:pt x="7245" y="8786"/>
                    <a:pt x="7245" y="8786"/>
                    <a:pt x="7245" y="8786"/>
                  </a:cubicBezTo>
                  <a:cubicBezTo>
                    <a:pt x="7423" y="8877"/>
                    <a:pt x="7423" y="8877"/>
                    <a:pt x="7423" y="8877"/>
                  </a:cubicBezTo>
                  <a:cubicBezTo>
                    <a:pt x="7344" y="9032"/>
                    <a:pt x="7344" y="9032"/>
                    <a:pt x="7344" y="9032"/>
                  </a:cubicBezTo>
                  <a:cubicBezTo>
                    <a:pt x="7299" y="9010"/>
                    <a:pt x="7253" y="8988"/>
                    <a:pt x="7217" y="8971"/>
                  </a:cubicBezTo>
                  <a:close/>
                  <a:moveTo>
                    <a:pt x="6985" y="8522"/>
                  </a:moveTo>
                  <a:cubicBezTo>
                    <a:pt x="6935" y="8513"/>
                    <a:pt x="6888" y="8504"/>
                    <a:pt x="6853" y="8498"/>
                  </a:cubicBezTo>
                  <a:cubicBezTo>
                    <a:pt x="6912" y="8326"/>
                    <a:pt x="6912" y="8326"/>
                    <a:pt x="6912" y="8326"/>
                  </a:cubicBezTo>
                  <a:cubicBezTo>
                    <a:pt x="7043" y="8351"/>
                    <a:pt x="7043" y="8351"/>
                    <a:pt x="7043" y="8351"/>
                  </a:cubicBezTo>
                  <a:lnTo>
                    <a:pt x="6985" y="8522"/>
                  </a:lnTo>
                  <a:close/>
                  <a:moveTo>
                    <a:pt x="6980" y="8535"/>
                  </a:moveTo>
                  <a:cubicBezTo>
                    <a:pt x="6923" y="8703"/>
                    <a:pt x="6923" y="8703"/>
                    <a:pt x="6923" y="8703"/>
                  </a:cubicBezTo>
                  <a:cubicBezTo>
                    <a:pt x="6874" y="8694"/>
                    <a:pt x="6827" y="8685"/>
                    <a:pt x="6792" y="8678"/>
                  </a:cubicBezTo>
                  <a:cubicBezTo>
                    <a:pt x="6849" y="8511"/>
                    <a:pt x="6849" y="8511"/>
                    <a:pt x="6849" y="8511"/>
                  </a:cubicBezTo>
                  <a:cubicBezTo>
                    <a:pt x="6883" y="8517"/>
                    <a:pt x="6930" y="8526"/>
                    <a:pt x="6980" y="8535"/>
                  </a:cubicBezTo>
                  <a:close/>
                  <a:moveTo>
                    <a:pt x="6919" y="8717"/>
                  </a:moveTo>
                  <a:cubicBezTo>
                    <a:pt x="6860" y="8890"/>
                    <a:pt x="6860" y="8890"/>
                    <a:pt x="6860" y="8890"/>
                  </a:cubicBezTo>
                  <a:cubicBezTo>
                    <a:pt x="6810" y="8880"/>
                    <a:pt x="6763" y="8870"/>
                    <a:pt x="6728" y="8863"/>
                  </a:cubicBezTo>
                  <a:cubicBezTo>
                    <a:pt x="6787" y="8692"/>
                    <a:pt x="6787" y="8692"/>
                    <a:pt x="6787" y="8692"/>
                  </a:cubicBezTo>
                  <a:cubicBezTo>
                    <a:pt x="6822" y="8698"/>
                    <a:pt x="6869" y="8707"/>
                    <a:pt x="6919" y="8717"/>
                  </a:cubicBezTo>
                  <a:close/>
                  <a:moveTo>
                    <a:pt x="6856" y="8903"/>
                  </a:moveTo>
                  <a:cubicBezTo>
                    <a:pt x="6807" y="9046"/>
                    <a:pt x="6807" y="9046"/>
                    <a:pt x="6807" y="9046"/>
                  </a:cubicBezTo>
                  <a:cubicBezTo>
                    <a:pt x="6676" y="9016"/>
                    <a:pt x="6676" y="9016"/>
                    <a:pt x="6676" y="9016"/>
                  </a:cubicBezTo>
                  <a:cubicBezTo>
                    <a:pt x="6724" y="8877"/>
                    <a:pt x="6724" y="8877"/>
                    <a:pt x="6724" y="8877"/>
                  </a:cubicBezTo>
                  <a:cubicBezTo>
                    <a:pt x="6759" y="8884"/>
                    <a:pt x="6806" y="8893"/>
                    <a:pt x="6856" y="8903"/>
                  </a:cubicBezTo>
                  <a:close/>
                  <a:moveTo>
                    <a:pt x="6803" y="9060"/>
                  </a:moveTo>
                  <a:cubicBezTo>
                    <a:pt x="6747" y="9223"/>
                    <a:pt x="6747" y="9223"/>
                    <a:pt x="6747" y="9223"/>
                  </a:cubicBezTo>
                  <a:cubicBezTo>
                    <a:pt x="6616" y="9192"/>
                    <a:pt x="6616" y="9192"/>
                    <a:pt x="6616" y="9192"/>
                  </a:cubicBezTo>
                  <a:cubicBezTo>
                    <a:pt x="6672" y="9029"/>
                    <a:pt x="6672" y="9029"/>
                    <a:pt x="6672" y="9029"/>
                  </a:cubicBezTo>
                  <a:lnTo>
                    <a:pt x="6803" y="9060"/>
                  </a:lnTo>
                  <a:close/>
                  <a:moveTo>
                    <a:pt x="6743" y="9236"/>
                  </a:moveTo>
                  <a:cubicBezTo>
                    <a:pt x="6686" y="9403"/>
                    <a:pt x="6686" y="9403"/>
                    <a:pt x="6686" y="9403"/>
                  </a:cubicBezTo>
                  <a:cubicBezTo>
                    <a:pt x="6555" y="9371"/>
                    <a:pt x="6555" y="9371"/>
                    <a:pt x="6555" y="9371"/>
                  </a:cubicBezTo>
                  <a:cubicBezTo>
                    <a:pt x="6612" y="9206"/>
                    <a:pt x="6612" y="9206"/>
                    <a:pt x="6612" y="9206"/>
                  </a:cubicBezTo>
                  <a:lnTo>
                    <a:pt x="6743" y="9236"/>
                  </a:lnTo>
                  <a:close/>
                  <a:moveTo>
                    <a:pt x="6694" y="9420"/>
                  </a:moveTo>
                  <a:cubicBezTo>
                    <a:pt x="6953" y="9483"/>
                    <a:pt x="6953" y="9483"/>
                    <a:pt x="6953" y="9483"/>
                  </a:cubicBezTo>
                  <a:cubicBezTo>
                    <a:pt x="6897" y="9658"/>
                    <a:pt x="6897" y="9658"/>
                    <a:pt x="6897" y="9658"/>
                  </a:cubicBezTo>
                  <a:cubicBezTo>
                    <a:pt x="6633" y="9600"/>
                    <a:pt x="6633" y="9600"/>
                    <a:pt x="6633" y="9600"/>
                  </a:cubicBezTo>
                  <a:lnTo>
                    <a:pt x="6694" y="9420"/>
                  </a:lnTo>
                  <a:close/>
                  <a:moveTo>
                    <a:pt x="6699" y="9406"/>
                  </a:moveTo>
                  <a:cubicBezTo>
                    <a:pt x="6756" y="9239"/>
                    <a:pt x="6756" y="9239"/>
                    <a:pt x="6756" y="9239"/>
                  </a:cubicBezTo>
                  <a:cubicBezTo>
                    <a:pt x="7011" y="9300"/>
                    <a:pt x="7011" y="9300"/>
                    <a:pt x="7011" y="9300"/>
                  </a:cubicBezTo>
                  <a:cubicBezTo>
                    <a:pt x="6957" y="9469"/>
                    <a:pt x="6957" y="9469"/>
                    <a:pt x="6957" y="9469"/>
                  </a:cubicBezTo>
                  <a:lnTo>
                    <a:pt x="6699" y="9406"/>
                  </a:lnTo>
                  <a:close/>
                  <a:moveTo>
                    <a:pt x="6760" y="9226"/>
                  </a:moveTo>
                  <a:cubicBezTo>
                    <a:pt x="6815" y="9063"/>
                    <a:pt x="6815" y="9063"/>
                    <a:pt x="6815" y="9063"/>
                  </a:cubicBezTo>
                  <a:cubicBezTo>
                    <a:pt x="7069" y="9121"/>
                    <a:pt x="7069" y="9121"/>
                    <a:pt x="7069" y="9121"/>
                  </a:cubicBezTo>
                  <a:cubicBezTo>
                    <a:pt x="7016" y="9287"/>
                    <a:pt x="7016" y="9287"/>
                    <a:pt x="7016" y="9287"/>
                  </a:cubicBezTo>
                  <a:lnTo>
                    <a:pt x="6760" y="9226"/>
                  </a:lnTo>
                  <a:close/>
                  <a:moveTo>
                    <a:pt x="6820" y="9049"/>
                  </a:moveTo>
                  <a:cubicBezTo>
                    <a:pt x="6869" y="8906"/>
                    <a:pt x="6869" y="8906"/>
                    <a:pt x="6869" y="8906"/>
                  </a:cubicBezTo>
                  <a:cubicBezTo>
                    <a:pt x="6966" y="8925"/>
                    <a:pt x="7073" y="8945"/>
                    <a:pt x="7122" y="8954"/>
                  </a:cubicBezTo>
                  <a:cubicBezTo>
                    <a:pt x="7073" y="9108"/>
                    <a:pt x="7073" y="9108"/>
                    <a:pt x="7073" y="9108"/>
                  </a:cubicBezTo>
                  <a:lnTo>
                    <a:pt x="6820" y="9049"/>
                  </a:lnTo>
                  <a:close/>
                  <a:moveTo>
                    <a:pt x="7131" y="9142"/>
                  </a:moveTo>
                  <a:cubicBezTo>
                    <a:pt x="7256" y="9205"/>
                    <a:pt x="7256" y="9205"/>
                    <a:pt x="7256" y="9205"/>
                  </a:cubicBezTo>
                  <a:cubicBezTo>
                    <a:pt x="7179" y="9356"/>
                    <a:pt x="7179" y="9356"/>
                    <a:pt x="7179" y="9356"/>
                  </a:cubicBezTo>
                  <a:cubicBezTo>
                    <a:pt x="7078" y="9308"/>
                    <a:pt x="7078" y="9308"/>
                    <a:pt x="7078" y="9308"/>
                  </a:cubicBezTo>
                  <a:lnTo>
                    <a:pt x="7131" y="9142"/>
                  </a:lnTo>
                  <a:close/>
                  <a:moveTo>
                    <a:pt x="7185" y="9374"/>
                  </a:moveTo>
                  <a:cubicBezTo>
                    <a:pt x="7299" y="9428"/>
                    <a:pt x="7299" y="9428"/>
                    <a:pt x="7299" y="9428"/>
                  </a:cubicBezTo>
                  <a:cubicBezTo>
                    <a:pt x="7234" y="9555"/>
                    <a:pt x="7234" y="9555"/>
                    <a:pt x="7234" y="9555"/>
                  </a:cubicBezTo>
                  <a:cubicBezTo>
                    <a:pt x="7123" y="9495"/>
                    <a:pt x="7123" y="9495"/>
                    <a:pt x="7123" y="9495"/>
                  </a:cubicBezTo>
                  <a:lnTo>
                    <a:pt x="7185" y="9374"/>
                  </a:lnTo>
                  <a:close/>
                  <a:moveTo>
                    <a:pt x="7191" y="9361"/>
                  </a:moveTo>
                  <a:cubicBezTo>
                    <a:pt x="7268" y="9210"/>
                    <a:pt x="7268" y="9210"/>
                    <a:pt x="7268" y="9210"/>
                  </a:cubicBezTo>
                  <a:cubicBezTo>
                    <a:pt x="7381" y="9266"/>
                    <a:pt x="7381" y="9266"/>
                    <a:pt x="7381" y="9266"/>
                  </a:cubicBezTo>
                  <a:cubicBezTo>
                    <a:pt x="7305" y="9416"/>
                    <a:pt x="7305" y="9416"/>
                    <a:pt x="7305" y="9416"/>
                  </a:cubicBezTo>
                  <a:lnTo>
                    <a:pt x="7191" y="9361"/>
                  </a:lnTo>
                  <a:close/>
                  <a:moveTo>
                    <a:pt x="7275" y="9198"/>
                  </a:moveTo>
                  <a:cubicBezTo>
                    <a:pt x="7350" y="9050"/>
                    <a:pt x="7350" y="9050"/>
                    <a:pt x="7350" y="9050"/>
                  </a:cubicBezTo>
                  <a:cubicBezTo>
                    <a:pt x="7393" y="9072"/>
                    <a:pt x="7433" y="9092"/>
                    <a:pt x="7463" y="9107"/>
                  </a:cubicBezTo>
                  <a:cubicBezTo>
                    <a:pt x="7388" y="9254"/>
                    <a:pt x="7388" y="9254"/>
                    <a:pt x="7388" y="9254"/>
                  </a:cubicBezTo>
                  <a:lnTo>
                    <a:pt x="7275" y="9198"/>
                  </a:lnTo>
                  <a:close/>
                  <a:moveTo>
                    <a:pt x="7356" y="9038"/>
                  </a:moveTo>
                  <a:cubicBezTo>
                    <a:pt x="7435" y="8883"/>
                    <a:pt x="7435" y="8883"/>
                    <a:pt x="7435" y="8883"/>
                  </a:cubicBezTo>
                  <a:cubicBezTo>
                    <a:pt x="7547" y="8941"/>
                    <a:pt x="7547" y="8941"/>
                    <a:pt x="7547" y="8941"/>
                  </a:cubicBezTo>
                  <a:cubicBezTo>
                    <a:pt x="7469" y="9094"/>
                    <a:pt x="7469" y="9094"/>
                    <a:pt x="7469" y="9094"/>
                  </a:cubicBezTo>
                  <a:cubicBezTo>
                    <a:pt x="7440" y="9079"/>
                    <a:pt x="7399" y="9059"/>
                    <a:pt x="7356" y="9038"/>
                  </a:cubicBezTo>
                  <a:close/>
                  <a:moveTo>
                    <a:pt x="7430" y="8865"/>
                  </a:moveTo>
                  <a:cubicBezTo>
                    <a:pt x="7249" y="8772"/>
                    <a:pt x="7249" y="8772"/>
                    <a:pt x="7249" y="8772"/>
                  </a:cubicBezTo>
                  <a:cubicBezTo>
                    <a:pt x="7303" y="8605"/>
                    <a:pt x="7303" y="8605"/>
                    <a:pt x="7303" y="8605"/>
                  </a:cubicBezTo>
                  <a:cubicBezTo>
                    <a:pt x="7511" y="8706"/>
                    <a:pt x="7511" y="8706"/>
                    <a:pt x="7511" y="8706"/>
                  </a:cubicBezTo>
                  <a:lnTo>
                    <a:pt x="7430" y="8865"/>
                  </a:lnTo>
                  <a:close/>
                  <a:moveTo>
                    <a:pt x="7307" y="8591"/>
                  </a:moveTo>
                  <a:cubicBezTo>
                    <a:pt x="7361" y="8421"/>
                    <a:pt x="7361" y="8421"/>
                    <a:pt x="7361" y="8421"/>
                  </a:cubicBezTo>
                  <a:cubicBezTo>
                    <a:pt x="7597" y="8537"/>
                    <a:pt x="7597" y="8537"/>
                    <a:pt x="7597" y="8537"/>
                  </a:cubicBezTo>
                  <a:cubicBezTo>
                    <a:pt x="7517" y="8694"/>
                    <a:pt x="7517" y="8694"/>
                    <a:pt x="7517" y="8694"/>
                  </a:cubicBezTo>
                  <a:lnTo>
                    <a:pt x="7307" y="8591"/>
                  </a:lnTo>
                  <a:close/>
                  <a:moveTo>
                    <a:pt x="7366" y="8408"/>
                  </a:moveTo>
                  <a:cubicBezTo>
                    <a:pt x="7417" y="8247"/>
                    <a:pt x="7417" y="8247"/>
                    <a:pt x="7417" y="8247"/>
                  </a:cubicBezTo>
                  <a:cubicBezTo>
                    <a:pt x="7682" y="8370"/>
                    <a:pt x="7682" y="8370"/>
                    <a:pt x="7682" y="8370"/>
                  </a:cubicBezTo>
                  <a:cubicBezTo>
                    <a:pt x="7603" y="8525"/>
                    <a:pt x="7603" y="8525"/>
                    <a:pt x="7603" y="8525"/>
                  </a:cubicBezTo>
                  <a:lnTo>
                    <a:pt x="7366" y="8408"/>
                  </a:lnTo>
                  <a:close/>
                  <a:moveTo>
                    <a:pt x="7359" y="8213"/>
                  </a:moveTo>
                  <a:cubicBezTo>
                    <a:pt x="7310" y="8202"/>
                    <a:pt x="7211" y="8181"/>
                    <a:pt x="7120" y="8162"/>
                  </a:cubicBezTo>
                  <a:cubicBezTo>
                    <a:pt x="7170" y="8015"/>
                    <a:pt x="7170" y="8015"/>
                    <a:pt x="7170" y="8015"/>
                  </a:cubicBezTo>
                  <a:cubicBezTo>
                    <a:pt x="7408" y="8060"/>
                    <a:pt x="7408" y="8060"/>
                    <a:pt x="7408" y="8060"/>
                  </a:cubicBezTo>
                  <a:lnTo>
                    <a:pt x="7359" y="8213"/>
                  </a:lnTo>
                  <a:close/>
                  <a:moveTo>
                    <a:pt x="7162" y="7999"/>
                  </a:moveTo>
                  <a:cubicBezTo>
                    <a:pt x="7032" y="7974"/>
                    <a:pt x="7032" y="7974"/>
                    <a:pt x="7032" y="7974"/>
                  </a:cubicBezTo>
                  <a:cubicBezTo>
                    <a:pt x="7066" y="7872"/>
                    <a:pt x="7066" y="7872"/>
                    <a:pt x="7066" y="7872"/>
                  </a:cubicBezTo>
                  <a:cubicBezTo>
                    <a:pt x="7191" y="7914"/>
                    <a:pt x="7191" y="7914"/>
                    <a:pt x="7191" y="7914"/>
                  </a:cubicBezTo>
                  <a:lnTo>
                    <a:pt x="7162" y="7999"/>
                  </a:lnTo>
                  <a:close/>
                  <a:moveTo>
                    <a:pt x="7157" y="8012"/>
                  </a:moveTo>
                  <a:cubicBezTo>
                    <a:pt x="7107" y="8160"/>
                    <a:pt x="7107" y="8160"/>
                    <a:pt x="7107" y="8160"/>
                  </a:cubicBezTo>
                  <a:cubicBezTo>
                    <a:pt x="7058" y="8150"/>
                    <a:pt x="7011" y="8140"/>
                    <a:pt x="6977" y="8133"/>
                  </a:cubicBezTo>
                  <a:cubicBezTo>
                    <a:pt x="7027" y="7988"/>
                    <a:pt x="7027" y="7988"/>
                    <a:pt x="7027" y="7988"/>
                  </a:cubicBezTo>
                  <a:lnTo>
                    <a:pt x="7157" y="8012"/>
                  </a:lnTo>
                  <a:close/>
                  <a:moveTo>
                    <a:pt x="7103" y="8173"/>
                  </a:moveTo>
                  <a:cubicBezTo>
                    <a:pt x="7047" y="8338"/>
                    <a:pt x="7047" y="8338"/>
                    <a:pt x="7047" y="8338"/>
                  </a:cubicBezTo>
                  <a:cubicBezTo>
                    <a:pt x="6916" y="8312"/>
                    <a:pt x="6916" y="8312"/>
                    <a:pt x="6916" y="8312"/>
                  </a:cubicBezTo>
                  <a:cubicBezTo>
                    <a:pt x="6973" y="8147"/>
                    <a:pt x="6973" y="8147"/>
                    <a:pt x="6973" y="8147"/>
                  </a:cubicBezTo>
                  <a:cubicBezTo>
                    <a:pt x="7006" y="8153"/>
                    <a:pt x="7053" y="8163"/>
                    <a:pt x="7103" y="8173"/>
                  </a:cubicBezTo>
                  <a:close/>
                  <a:moveTo>
                    <a:pt x="6903" y="8310"/>
                  </a:moveTo>
                  <a:cubicBezTo>
                    <a:pt x="6888" y="8307"/>
                    <a:pt x="6888" y="8307"/>
                    <a:pt x="6888" y="8307"/>
                  </a:cubicBezTo>
                  <a:cubicBezTo>
                    <a:pt x="6908" y="8248"/>
                    <a:pt x="6927" y="8192"/>
                    <a:pt x="6944" y="8141"/>
                  </a:cubicBezTo>
                  <a:cubicBezTo>
                    <a:pt x="6949" y="8142"/>
                    <a:pt x="6954" y="8143"/>
                    <a:pt x="6960" y="8144"/>
                  </a:cubicBezTo>
                  <a:lnTo>
                    <a:pt x="6903" y="8310"/>
                  </a:lnTo>
                  <a:close/>
                  <a:moveTo>
                    <a:pt x="6899" y="8323"/>
                  </a:moveTo>
                  <a:cubicBezTo>
                    <a:pt x="6840" y="8495"/>
                    <a:pt x="6840" y="8495"/>
                    <a:pt x="6840" y="8495"/>
                  </a:cubicBezTo>
                  <a:cubicBezTo>
                    <a:pt x="6835" y="8494"/>
                    <a:pt x="6830" y="8494"/>
                    <a:pt x="6825" y="8493"/>
                  </a:cubicBezTo>
                  <a:cubicBezTo>
                    <a:pt x="6845" y="8433"/>
                    <a:pt x="6865" y="8375"/>
                    <a:pt x="6884" y="8320"/>
                  </a:cubicBezTo>
                  <a:lnTo>
                    <a:pt x="6899" y="8323"/>
                  </a:lnTo>
                  <a:close/>
                  <a:moveTo>
                    <a:pt x="6836" y="8509"/>
                  </a:moveTo>
                  <a:cubicBezTo>
                    <a:pt x="6779" y="8676"/>
                    <a:pt x="6779" y="8676"/>
                    <a:pt x="6779" y="8676"/>
                  </a:cubicBezTo>
                  <a:cubicBezTo>
                    <a:pt x="6773" y="8675"/>
                    <a:pt x="6768" y="8674"/>
                    <a:pt x="6764" y="8673"/>
                  </a:cubicBezTo>
                  <a:cubicBezTo>
                    <a:pt x="6783" y="8616"/>
                    <a:pt x="6802" y="8560"/>
                    <a:pt x="6821" y="8506"/>
                  </a:cubicBezTo>
                  <a:cubicBezTo>
                    <a:pt x="6825" y="8507"/>
                    <a:pt x="6830" y="8508"/>
                    <a:pt x="6836" y="8509"/>
                  </a:cubicBezTo>
                  <a:close/>
                  <a:moveTo>
                    <a:pt x="6774" y="8689"/>
                  </a:moveTo>
                  <a:cubicBezTo>
                    <a:pt x="6716" y="8861"/>
                    <a:pt x="6716" y="8861"/>
                    <a:pt x="6716" y="8861"/>
                  </a:cubicBezTo>
                  <a:cubicBezTo>
                    <a:pt x="6710" y="8860"/>
                    <a:pt x="6706" y="8859"/>
                    <a:pt x="6701" y="8858"/>
                  </a:cubicBezTo>
                  <a:cubicBezTo>
                    <a:pt x="6721" y="8800"/>
                    <a:pt x="6740" y="8743"/>
                    <a:pt x="6759" y="8686"/>
                  </a:cubicBezTo>
                  <a:cubicBezTo>
                    <a:pt x="6764" y="8687"/>
                    <a:pt x="6769" y="8688"/>
                    <a:pt x="6774" y="8689"/>
                  </a:cubicBezTo>
                  <a:close/>
                  <a:moveTo>
                    <a:pt x="6711" y="8874"/>
                  </a:moveTo>
                  <a:cubicBezTo>
                    <a:pt x="6664" y="9013"/>
                    <a:pt x="6664" y="9013"/>
                    <a:pt x="6664" y="9013"/>
                  </a:cubicBezTo>
                  <a:cubicBezTo>
                    <a:pt x="6650" y="9010"/>
                    <a:pt x="6650" y="9010"/>
                    <a:pt x="6650" y="9010"/>
                  </a:cubicBezTo>
                  <a:cubicBezTo>
                    <a:pt x="6665" y="8964"/>
                    <a:pt x="6681" y="8917"/>
                    <a:pt x="6697" y="8871"/>
                  </a:cubicBezTo>
                  <a:cubicBezTo>
                    <a:pt x="6701" y="8872"/>
                    <a:pt x="6706" y="8873"/>
                    <a:pt x="6711" y="8874"/>
                  </a:cubicBezTo>
                  <a:close/>
                  <a:moveTo>
                    <a:pt x="6659" y="9026"/>
                  </a:moveTo>
                  <a:cubicBezTo>
                    <a:pt x="6604" y="9189"/>
                    <a:pt x="6604" y="9189"/>
                    <a:pt x="6604" y="9189"/>
                  </a:cubicBezTo>
                  <a:cubicBezTo>
                    <a:pt x="6590" y="9186"/>
                    <a:pt x="6590" y="9186"/>
                    <a:pt x="6590" y="9186"/>
                  </a:cubicBezTo>
                  <a:cubicBezTo>
                    <a:pt x="6608" y="9132"/>
                    <a:pt x="6627" y="9078"/>
                    <a:pt x="6645" y="9023"/>
                  </a:cubicBezTo>
                  <a:lnTo>
                    <a:pt x="6659" y="9026"/>
                  </a:lnTo>
                  <a:close/>
                  <a:moveTo>
                    <a:pt x="6599" y="9202"/>
                  </a:moveTo>
                  <a:cubicBezTo>
                    <a:pt x="6543" y="9368"/>
                    <a:pt x="6543" y="9368"/>
                    <a:pt x="6543" y="9368"/>
                  </a:cubicBezTo>
                  <a:cubicBezTo>
                    <a:pt x="6529" y="9365"/>
                    <a:pt x="6529" y="9365"/>
                    <a:pt x="6529" y="9365"/>
                  </a:cubicBezTo>
                  <a:cubicBezTo>
                    <a:pt x="6548" y="9311"/>
                    <a:pt x="6566" y="9256"/>
                    <a:pt x="6586" y="9199"/>
                  </a:cubicBezTo>
                  <a:lnTo>
                    <a:pt x="6599" y="9202"/>
                  </a:lnTo>
                  <a:close/>
                  <a:moveTo>
                    <a:pt x="6538" y="9381"/>
                  </a:moveTo>
                  <a:cubicBezTo>
                    <a:pt x="6476" y="9565"/>
                    <a:pt x="6476" y="9565"/>
                    <a:pt x="6476" y="9565"/>
                  </a:cubicBezTo>
                  <a:cubicBezTo>
                    <a:pt x="6462" y="9562"/>
                    <a:pt x="6462" y="9562"/>
                    <a:pt x="6462" y="9562"/>
                  </a:cubicBezTo>
                  <a:cubicBezTo>
                    <a:pt x="6482" y="9504"/>
                    <a:pt x="6503" y="9442"/>
                    <a:pt x="6525" y="9378"/>
                  </a:cubicBezTo>
                  <a:lnTo>
                    <a:pt x="6538" y="9381"/>
                  </a:lnTo>
                  <a:close/>
                  <a:moveTo>
                    <a:pt x="6471" y="9578"/>
                  </a:moveTo>
                  <a:cubicBezTo>
                    <a:pt x="6403" y="9777"/>
                    <a:pt x="6403" y="9777"/>
                    <a:pt x="6403" y="9777"/>
                  </a:cubicBezTo>
                  <a:cubicBezTo>
                    <a:pt x="6391" y="9774"/>
                    <a:pt x="6391" y="9774"/>
                    <a:pt x="6391" y="9774"/>
                  </a:cubicBezTo>
                  <a:cubicBezTo>
                    <a:pt x="6411" y="9715"/>
                    <a:pt x="6433" y="9648"/>
                    <a:pt x="6458" y="9575"/>
                  </a:cubicBezTo>
                  <a:lnTo>
                    <a:pt x="6471" y="9578"/>
                  </a:lnTo>
                  <a:close/>
                  <a:moveTo>
                    <a:pt x="6399" y="9790"/>
                  </a:moveTo>
                  <a:cubicBezTo>
                    <a:pt x="6317" y="10029"/>
                    <a:pt x="6317" y="10029"/>
                    <a:pt x="6317" y="10029"/>
                  </a:cubicBezTo>
                  <a:cubicBezTo>
                    <a:pt x="6305" y="10027"/>
                    <a:pt x="6305" y="10027"/>
                    <a:pt x="6305" y="10027"/>
                  </a:cubicBezTo>
                  <a:cubicBezTo>
                    <a:pt x="6316" y="9994"/>
                    <a:pt x="6345" y="9908"/>
                    <a:pt x="6386" y="9787"/>
                  </a:cubicBezTo>
                  <a:lnTo>
                    <a:pt x="6399" y="9790"/>
                  </a:lnTo>
                  <a:close/>
                  <a:moveTo>
                    <a:pt x="6314" y="10043"/>
                  </a:moveTo>
                  <a:cubicBezTo>
                    <a:pt x="6270" y="10274"/>
                    <a:pt x="6270" y="10274"/>
                    <a:pt x="6270" y="10274"/>
                  </a:cubicBezTo>
                  <a:cubicBezTo>
                    <a:pt x="6255" y="10273"/>
                    <a:pt x="6255" y="10273"/>
                    <a:pt x="6255" y="10273"/>
                  </a:cubicBezTo>
                  <a:cubicBezTo>
                    <a:pt x="6300" y="10041"/>
                    <a:pt x="6300" y="10041"/>
                    <a:pt x="6300" y="10041"/>
                  </a:cubicBezTo>
                  <a:lnTo>
                    <a:pt x="6314" y="10043"/>
                  </a:lnTo>
                  <a:close/>
                  <a:moveTo>
                    <a:pt x="6429" y="10287"/>
                  </a:moveTo>
                  <a:cubicBezTo>
                    <a:pt x="6475" y="10066"/>
                    <a:pt x="6475" y="10066"/>
                    <a:pt x="6475" y="10066"/>
                  </a:cubicBezTo>
                  <a:cubicBezTo>
                    <a:pt x="6476" y="10065"/>
                    <a:pt x="6476" y="10065"/>
                    <a:pt x="6476" y="10065"/>
                  </a:cubicBezTo>
                  <a:cubicBezTo>
                    <a:pt x="6779" y="10106"/>
                    <a:pt x="6779" y="10106"/>
                    <a:pt x="6779" y="10106"/>
                  </a:cubicBezTo>
                  <a:cubicBezTo>
                    <a:pt x="6756" y="10315"/>
                    <a:pt x="6756" y="10315"/>
                    <a:pt x="6756" y="10315"/>
                  </a:cubicBezTo>
                  <a:lnTo>
                    <a:pt x="6429" y="10287"/>
                  </a:lnTo>
                  <a:close/>
                  <a:moveTo>
                    <a:pt x="6826" y="9879"/>
                  </a:moveTo>
                  <a:cubicBezTo>
                    <a:pt x="6561" y="9815"/>
                    <a:pt x="6561" y="9815"/>
                    <a:pt x="6561" y="9815"/>
                  </a:cubicBezTo>
                  <a:cubicBezTo>
                    <a:pt x="6629" y="9613"/>
                    <a:pt x="6629" y="9613"/>
                    <a:pt x="6629" y="9613"/>
                  </a:cubicBezTo>
                  <a:cubicBezTo>
                    <a:pt x="6893" y="9671"/>
                    <a:pt x="6893" y="9671"/>
                    <a:pt x="6893" y="9671"/>
                  </a:cubicBezTo>
                  <a:lnTo>
                    <a:pt x="6826" y="9879"/>
                  </a:lnTo>
                  <a:close/>
                  <a:moveTo>
                    <a:pt x="6955" y="9692"/>
                  </a:moveTo>
                  <a:cubicBezTo>
                    <a:pt x="7096" y="9759"/>
                    <a:pt x="7096" y="9759"/>
                    <a:pt x="7096" y="9759"/>
                  </a:cubicBezTo>
                  <a:cubicBezTo>
                    <a:pt x="6887" y="9903"/>
                    <a:pt x="6887" y="9903"/>
                    <a:pt x="6887" y="9903"/>
                  </a:cubicBezTo>
                  <a:lnTo>
                    <a:pt x="6955" y="9692"/>
                  </a:lnTo>
                  <a:close/>
                  <a:moveTo>
                    <a:pt x="6959" y="9679"/>
                  </a:moveTo>
                  <a:cubicBezTo>
                    <a:pt x="7015" y="9504"/>
                    <a:pt x="7015" y="9504"/>
                    <a:pt x="7015" y="9504"/>
                  </a:cubicBezTo>
                  <a:cubicBezTo>
                    <a:pt x="7245" y="9607"/>
                    <a:pt x="7245" y="9607"/>
                    <a:pt x="7245" y="9607"/>
                  </a:cubicBezTo>
                  <a:cubicBezTo>
                    <a:pt x="7206" y="9683"/>
                    <a:pt x="7206" y="9683"/>
                    <a:pt x="7206" y="9683"/>
                  </a:cubicBezTo>
                  <a:cubicBezTo>
                    <a:pt x="7110" y="9750"/>
                    <a:pt x="7110" y="9750"/>
                    <a:pt x="7110" y="9750"/>
                  </a:cubicBezTo>
                  <a:lnTo>
                    <a:pt x="6959" y="9679"/>
                  </a:lnTo>
                  <a:close/>
                  <a:moveTo>
                    <a:pt x="7019" y="9491"/>
                  </a:moveTo>
                  <a:cubicBezTo>
                    <a:pt x="7073" y="9321"/>
                    <a:pt x="7073" y="9321"/>
                    <a:pt x="7073" y="9321"/>
                  </a:cubicBezTo>
                  <a:cubicBezTo>
                    <a:pt x="7173" y="9368"/>
                    <a:pt x="7173" y="9368"/>
                    <a:pt x="7173" y="9368"/>
                  </a:cubicBezTo>
                  <a:cubicBezTo>
                    <a:pt x="7108" y="9495"/>
                    <a:pt x="7108" y="9495"/>
                    <a:pt x="7108" y="9495"/>
                  </a:cubicBezTo>
                  <a:cubicBezTo>
                    <a:pt x="7105" y="9501"/>
                    <a:pt x="7105" y="9501"/>
                    <a:pt x="7105" y="9501"/>
                  </a:cubicBezTo>
                  <a:cubicBezTo>
                    <a:pt x="7240" y="9573"/>
                    <a:pt x="7240" y="9573"/>
                    <a:pt x="7240" y="9573"/>
                  </a:cubicBezTo>
                  <a:cubicBezTo>
                    <a:pt x="7311" y="9434"/>
                    <a:pt x="7311" y="9434"/>
                    <a:pt x="7311" y="9434"/>
                  </a:cubicBezTo>
                  <a:cubicBezTo>
                    <a:pt x="7328" y="9442"/>
                    <a:pt x="7328" y="9442"/>
                    <a:pt x="7328" y="9442"/>
                  </a:cubicBezTo>
                  <a:cubicBezTo>
                    <a:pt x="7251" y="9594"/>
                    <a:pt x="7251" y="9594"/>
                    <a:pt x="7251" y="9594"/>
                  </a:cubicBezTo>
                  <a:lnTo>
                    <a:pt x="7019" y="9491"/>
                  </a:lnTo>
                  <a:close/>
                  <a:moveTo>
                    <a:pt x="7317" y="9421"/>
                  </a:moveTo>
                  <a:cubicBezTo>
                    <a:pt x="7393" y="9272"/>
                    <a:pt x="7393" y="9272"/>
                    <a:pt x="7393" y="9272"/>
                  </a:cubicBezTo>
                  <a:cubicBezTo>
                    <a:pt x="7410" y="9281"/>
                    <a:pt x="7410" y="9281"/>
                    <a:pt x="7410" y="9281"/>
                  </a:cubicBezTo>
                  <a:cubicBezTo>
                    <a:pt x="7335" y="9430"/>
                    <a:pt x="7335" y="9430"/>
                    <a:pt x="7335" y="9430"/>
                  </a:cubicBezTo>
                  <a:lnTo>
                    <a:pt x="7317" y="9421"/>
                  </a:lnTo>
                  <a:close/>
                  <a:moveTo>
                    <a:pt x="7399" y="9260"/>
                  </a:moveTo>
                  <a:cubicBezTo>
                    <a:pt x="7475" y="9113"/>
                    <a:pt x="7475" y="9113"/>
                    <a:pt x="7475" y="9113"/>
                  </a:cubicBezTo>
                  <a:cubicBezTo>
                    <a:pt x="7481" y="9116"/>
                    <a:pt x="7487" y="9119"/>
                    <a:pt x="7491" y="9121"/>
                  </a:cubicBezTo>
                  <a:cubicBezTo>
                    <a:pt x="7416" y="9268"/>
                    <a:pt x="7416" y="9268"/>
                    <a:pt x="7416" y="9268"/>
                  </a:cubicBezTo>
                  <a:lnTo>
                    <a:pt x="7399" y="9260"/>
                  </a:lnTo>
                  <a:close/>
                  <a:moveTo>
                    <a:pt x="7481" y="9100"/>
                  </a:moveTo>
                  <a:cubicBezTo>
                    <a:pt x="7559" y="8947"/>
                    <a:pt x="7559" y="8947"/>
                    <a:pt x="7559" y="8947"/>
                  </a:cubicBezTo>
                  <a:cubicBezTo>
                    <a:pt x="7575" y="8955"/>
                    <a:pt x="7575" y="8955"/>
                    <a:pt x="7575" y="8955"/>
                  </a:cubicBezTo>
                  <a:cubicBezTo>
                    <a:pt x="7498" y="9108"/>
                    <a:pt x="7498" y="9108"/>
                    <a:pt x="7498" y="9108"/>
                  </a:cubicBezTo>
                  <a:cubicBezTo>
                    <a:pt x="7493" y="9106"/>
                    <a:pt x="7487" y="9103"/>
                    <a:pt x="7481" y="9100"/>
                  </a:cubicBezTo>
                  <a:close/>
                  <a:moveTo>
                    <a:pt x="7554" y="8928"/>
                  </a:moveTo>
                  <a:cubicBezTo>
                    <a:pt x="7441" y="8871"/>
                    <a:pt x="7441" y="8871"/>
                    <a:pt x="7441" y="8871"/>
                  </a:cubicBezTo>
                  <a:cubicBezTo>
                    <a:pt x="7522" y="8712"/>
                    <a:pt x="7522" y="8712"/>
                    <a:pt x="7522" y="8712"/>
                  </a:cubicBezTo>
                  <a:cubicBezTo>
                    <a:pt x="7636" y="8767"/>
                    <a:pt x="7636" y="8767"/>
                    <a:pt x="7636" y="8767"/>
                  </a:cubicBezTo>
                  <a:lnTo>
                    <a:pt x="7554" y="8928"/>
                  </a:lnTo>
                  <a:close/>
                  <a:moveTo>
                    <a:pt x="7529" y="8699"/>
                  </a:moveTo>
                  <a:cubicBezTo>
                    <a:pt x="7608" y="8543"/>
                    <a:pt x="7608" y="8543"/>
                    <a:pt x="7608" y="8543"/>
                  </a:cubicBezTo>
                  <a:cubicBezTo>
                    <a:pt x="7721" y="8599"/>
                    <a:pt x="7721" y="8599"/>
                    <a:pt x="7721" y="8599"/>
                  </a:cubicBezTo>
                  <a:cubicBezTo>
                    <a:pt x="7642" y="8755"/>
                    <a:pt x="7642" y="8755"/>
                    <a:pt x="7642" y="8755"/>
                  </a:cubicBezTo>
                  <a:lnTo>
                    <a:pt x="7529" y="8699"/>
                  </a:lnTo>
                  <a:close/>
                  <a:moveTo>
                    <a:pt x="7615" y="8531"/>
                  </a:moveTo>
                  <a:cubicBezTo>
                    <a:pt x="7693" y="8376"/>
                    <a:pt x="7693" y="8376"/>
                    <a:pt x="7693" y="8376"/>
                  </a:cubicBezTo>
                  <a:cubicBezTo>
                    <a:pt x="7808" y="8429"/>
                    <a:pt x="7808" y="8429"/>
                    <a:pt x="7808" y="8429"/>
                  </a:cubicBezTo>
                  <a:cubicBezTo>
                    <a:pt x="7728" y="8587"/>
                    <a:pt x="7728" y="8587"/>
                    <a:pt x="7728" y="8587"/>
                  </a:cubicBezTo>
                  <a:lnTo>
                    <a:pt x="7615" y="8531"/>
                  </a:lnTo>
                  <a:close/>
                  <a:moveTo>
                    <a:pt x="7688" y="8358"/>
                  </a:moveTo>
                  <a:cubicBezTo>
                    <a:pt x="7422" y="8234"/>
                    <a:pt x="7422" y="8234"/>
                    <a:pt x="7422" y="8234"/>
                  </a:cubicBezTo>
                  <a:cubicBezTo>
                    <a:pt x="7472" y="8076"/>
                    <a:pt x="7472" y="8076"/>
                    <a:pt x="7472" y="8076"/>
                  </a:cubicBezTo>
                  <a:cubicBezTo>
                    <a:pt x="7759" y="8218"/>
                    <a:pt x="7759" y="8218"/>
                    <a:pt x="7759" y="8218"/>
                  </a:cubicBezTo>
                  <a:lnTo>
                    <a:pt x="7688" y="8358"/>
                  </a:lnTo>
                  <a:close/>
                  <a:moveTo>
                    <a:pt x="7215" y="7842"/>
                  </a:moveTo>
                  <a:cubicBezTo>
                    <a:pt x="7293" y="7842"/>
                    <a:pt x="7378" y="7850"/>
                    <a:pt x="7470" y="7869"/>
                  </a:cubicBezTo>
                  <a:cubicBezTo>
                    <a:pt x="7412" y="8047"/>
                    <a:pt x="7412" y="8047"/>
                    <a:pt x="7412" y="8047"/>
                  </a:cubicBezTo>
                  <a:cubicBezTo>
                    <a:pt x="7175" y="8002"/>
                    <a:pt x="7175" y="8002"/>
                    <a:pt x="7175" y="8002"/>
                  </a:cubicBezTo>
                  <a:cubicBezTo>
                    <a:pt x="7207" y="7906"/>
                    <a:pt x="7207" y="7906"/>
                    <a:pt x="7207" y="7906"/>
                  </a:cubicBezTo>
                  <a:cubicBezTo>
                    <a:pt x="7058" y="7855"/>
                    <a:pt x="7058" y="7855"/>
                    <a:pt x="7058" y="7855"/>
                  </a:cubicBezTo>
                  <a:cubicBezTo>
                    <a:pt x="7019" y="7972"/>
                    <a:pt x="7019" y="7972"/>
                    <a:pt x="7019" y="7972"/>
                  </a:cubicBezTo>
                  <a:cubicBezTo>
                    <a:pt x="7003" y="7969"/>
                    <a:pt x="7003" y="7969"/>
                    <a:pt x="7003" y="7969"/>
                  </a:cubicBezTo>
                  <a:cubicBezTo>
                    <a:pt x="7020" y="7918"/>
                    <a:pt x="7033" y="7879"/>
                    <a:pt x="7041" y="7855"/>
                  </a:cubicBezTo>
                  <a:cubicBezTo>
                    <a:pt x="7095" y="7847"/>
                    <a:pt x="7153" y="7842"/>
                    <a:pt x="7215" y="7842"/>
                  </a:cubicBezTo>
                  <a:close/>
                  <a:moveTo>
                    <a:pt x="7144" y="7643"/>
                  </a:moveTo>
                  <a:cubicBezTo>
                    <a:pt x="7144" y="7643"/>
                    <a:pt x="7144" y="7642"/>
                    <a:pt x="7144" y="7641"/>
                  </a:cubicBezTo>
                  <a:cubicBezTo>
                    <a:pt x="7144" y="7641"/>
                    <a:pt x="7144" y="7641"/>
                    <a:pt x="7145" y="7641"/>
                  </a:cubicBezTo>
                  <a:cubicBezTo>
                    <a:pt x="7148" y="7640"/>
                    <a:pt x="7153" y="7640"/>
                    <a:pt x="7159" y="7638"/>
                  </a:cubicBezTo>
                  <a:cubicBezTo>
                    <a:pt x="7171" y="7636"/>
                    <a:pt x="7189" y="7633"/>
                    <a:pt x="7211" y="7628"/>
                  </a:cubicBezTo>
                  <a:cubicBezTo>
                    <a:pt x="7255" y="7620"/>
                    <a:pt x="7317" y="7606"/>
                    <a:pt x="7392" y="7587"/>
                  </a:cubicBezTo>
                  <a:cubicBezTo>
                    <a:pt x="7427" y="7578"/>
                    <a:pt x="7466" y="7567"/>
                    <a:pt x="7506" y="7555"/>
                  </a:cubicBezTo>
                  <a:cubicBezTo>
                    <a:pt x="7598" y="7743"/>
                    <a:pt x="7598" y="7743"/>
                    <a:pt x="7598" y="7743"/>
                  </a:cubicBezTo>
                  <a:cubicBezTo>
                    <a:pt x="7587" y="7739"/>
                    <a:pt x="7575" y="7736"/>
                    <a:pt x="7563" y="7733"/>
                  </a:cubicBezTo>
                  <a:cubicBezTo>
                    <a:pt x="7438" y="7702"/>
                    <a:pt x="7321" y="7689"/>
                    <a:pt x="7215" y="7689"/>
                  </a:cubicBezTo>
                  <a:cubicBezTo>
                    <a:pt x="7193" y="7689"/>
                    <a:pt x="7170" y="7690"/>
                    <a:pt x="7149" y="7691"/>
                  </a:cubicBezTo>
                  <a:cubicBezTo>
                    <a:pt x="7146" y="7673"/>
                    <a:pt x="7144" y="7654"/>
                    <a:pt x="7144" y="7643"/>
                  </a:cubicBezTo>
                  <a:close/>
                  <a:moveTo>
                    <a:pt x="7014" y="7985"/>
                  </a:moveTo>
                  <a:cubicBezTo>
                    <a:pt x="6964" y="8131"/>
                    <a:pt x="6964" y="8131"/>
                    <a:pt x="6964" y="8131"/>
                  </a:cubicBezTo>
                  <a:cubicBezTo>
                    <a:pt x="6959" y="8130"/>
                    <a:pt x="6953" y="8129"/>
                    <a:pt x="6949" y="8128"/>
                  </a:cubicBezTo>
                  <a:cubicBezTo>
                    <a:pt x="6967" y="8073"/>
                    <a:pt x="6984" y="8024"/>
                    <a:pt x="6998" y="7982"/>
                  </a:cubicBezTo>
                  <a:lnTo>
                    <a:pt x="7014" y="7985"/>
                  </a:lnTo>
                  <a:close/>
                  <a:moveTo>
                    <a:pt x="6963" y="7880"/>
                  </a:moveTo>
                  <a:cubicBezTo>
                    <a:pt x="6947" y="7928"/>
                    <a:pt x="6924" y="7996"/>
                    <a:pt x="6896" y="8079"/>
                  </a:cubicBezTo>
                  <a:cubicBezTo>
                    <a:pt x="6840" y="8245"/>
                    <a:pt x="6764" y="8470"/>
                    <a:pt x="6683" y="8708"/>
                  </a:cubicBezTo>
                  <a:cubicBezTo>
                    <a:pt x="6521" y="9185"/>
                    <a:pt x="6341" y="9714"/>
                    <a:pt x="6270" y="9926"/>
                  </a:cubicBezTo>
                  <a:cubicBezTo>
                    <a:pt x="6263" y="9945"/>
                    <a:pt x="6258" y="9961"/>
                    <a:pt x="6253" y="9975"/>
                  </a:cubicBezTo>
                  <a:cubicBezTo>
                    <a:pt x="6241" y="9975"/>
                    <a:pt x="6161" y="9976"/>
                    <a:pt x="6036" y="9982"/>
                  </a:cubicBezTo>
                  <a:cubicBezTo>
                    <a:pt x="6679" y="8168"/>
                    <a:pt x="6679" y="8168"/>
                    <a:pt x="6679" y="8168"/>
                  </a:cubicBezTo>
                  <a:cubicBezTo>
                    <a:pt x="6699" y="8164"/>
                    <a:pt x="6721" y="8156"/>
                    <a:pt x="6742" y="8139"/>
                  </a:cubicBezTo>
                  <a:cubicBezTo>
                    <a:pt x="6757" y="8128"/>
                    <a:pt x="6757" y="8128"/>
                    <a:pt x="6757" y="8128"/>
                  </a:cubicBezTo>
                  <a:cubicBezTo>
                    <a:pt x="6764" y="8111"/>
                    <a:pt x="6764" y="8111"/>
                    <a:pt x="6764" y="8111"/>
                  </a:cubicBezTo>
                  <a:cubicBezTo>
                    <a:pt x="6764" y="8111"/>
                    <a:pt x="6773" y="8090"/>
                    <a:pt x="6788" y="8060"/>
                  </a:cubicBezTo>
                  <a:cubicBezTo>
                    <a:pt x="6802" y="8030"/>
                    <a:pt x="6821" y="7992"/>
                    <a:pt x="6840" y="7957"/>
                  </a:cubicBezTo>
                  <a:cubicBezTo>
                    <a:pt x="6840" y="7957"/>
                    <a:pt x="6840" y="7957"/>
                    <a:pt x="6840" y="7956"/>
                  </a:cubicBezTo>
                  <a:cubicBezTo>
                    <a:pt x="6841" y="7955"/>
                    <a:pt x="6843" y="7952"/>
                    <a:pt x="6846" y="7949"/>
                  </a:cubicBezTo>
                  <a:cubicBezTo>
                    <a:pt x="6851" y="7942"/>
                    <a:pt x="6861" y="7931"/>
                    <a:pt x="6874" y="7920"/>
                  </a:cubicBezTo>
                  <a:cubicBezTo>
                    <a:pt x="6894" y="7902"/>
                    <a:pt x="6925" y="7883"/>
                    <a:pt x="6967" y="7870"/>
                  </a:cubicBezTo>
                  <a:cubicBezTo>
                    <a:pt x="6965" y="7873"/>
                    <a:pt x="6964" y="7876"/>
                    <a:pt x="6963" y="7880"/>
                  </a:cubicBezTo>
                  <a:close/>
                  <a:moveTo>
                    <a:pt x="5929" y="8351"/>
                  </a:moveTo>
                  <a:cubicBezTo>
                    <a:pt x="5926" y="8361"/>
                    <a:pt x="5922" y="8376"/>
                    <a:pt x="5918" y="8395"/>
                  </a:cubicBezTo>
                  <a:cubicBezTo>
                    <a:pt x="5912" y="8419"/>
                    <a:pt x="5904" y="8449"/>
                    <a:pt x="5896" y="8482"/>
                  </a:cubicBezTo>
                  <a:cubicBezTo>
                    <a:pt x="5896" y="8473"/>
                    <a:pt x="5896" y="8473"/>
                    <a:pt x="5896" y="8473"/>
                  </a:cubicBezTo>
                  <a:cubicBezTo>
                    <a:pt x="5895" y="8473"/>
                    <a:pt x="5770" y="8453"/>
                    <a:pt x="5649" y="8433"/>
                  </a:cubicBezTo>
                  <a:cubicBezTo>
                    <a:pt x="5549" y="8417"/>
                    <a:pt x="5450" y="8400"/>
                    <a:pt x="5418" y="8395"/>
                  </a:cubicBezTo>
                  <a:cubicBezTo>
                    <a:pt x="5412" y="8362"/>
                    <a:pt x="5406" y="8333"/>
                    <a:pt x="5401" y="8309"/>
                  </a:cubicBezTo>
                  <a:cubicBezTo>
                    <a:pt x="5566" y="8322"/>
                    <a:pt x="5758" y="8339"/>
                    <a:pt x="5929" y="8349"/>
                  </a:cubicBezTo>
                  <a:cubicBezTo>
                    <a:pt x="5929" y="8350"/>
                    <a:pt x="5929" y="8350"/>
                    <a:pt x="5929" y="8351"/>
                  </a:cubicBezTo>
                  <a:close/>
                  <a:moveTo>
                    <a:pt x="5413" y="8644"/>
                  </a:moveTo>
                  <a:cubicBezTo>
                    <a:pt x="5419" y="8687"/>
                    <a:pt x="5423" y="8727"/>
                    <a:pt x="5423" y="8763"/>
                  </a:cubicBezTo>
                  <a:cubicBezTo>
                    <a:pt x="5423" y="8825"/>
                    <a:pt x="5411" y="8873"/>
                    <a:pt x="5380" y="8906"/>
                  </a:cubicBezTo>
                  <a:cubicBezTo>
                    <a:pt x="5369" y="8919"/>
                    <a:pt x="5354" y="8936"/>
                    <a:pt x="5335" y="8956"/>
                  </a:cubicBezTo>
                  <a:cubicBezTo>
                    <a:pt x="5334" y="8954"/>
                    <a:pt x="5334" y="8952"/>
                    <a:pt x="5332" y="8949"/>
                  </a:cubicBezTo>
                  <a:cubicBezTo>
                    <a:pt x="5328" y="8940"/>
                    <a:pt x="5323" y="8927"/>
                    <a:pt x="5317" y="8912"/>
                  </a:cubicBezTo>
                  <a:cubicBezTo>
                    <a:pt x="5304" y="8882"/>
                    <a:pt x="5288" y="8841"/>
                    <a:pt x="5272" y="8800"/>
                  </a:cubicBezTo>
                  <a:cubicBezTo>
                    <a:pt x="5241" y="8723"/>
                    <a:pt x="5212" y="8647"/>
                    <a:pt x="5209" y="8638"/>
                  </a:cubicBezTo>
                  <a:cubicBezTo>
                    <a:pt x="5218" y="8633"/>
                    <a:pt x="5227" y="8628"/>
                    <a:pt x="5236" y="8623"/>
                  </a:cubicBezTo>
                  <a:cubicBezTo>
                    <a:pt x="5302" y="8585"/>
                    <a:pt x="5368" y="8547"/>
                    <a:pt x="5396" y="8531"/>
                  </a:cubicBezTo>
                  <a:cubicBezTo>
                    <a:pt x="5403" y="8574"/>
                    <a:pt x="5410" y="8614"/>
                    <a:pt x="5413" y="8644"/>
                  </a:cubicBezTo>
                  <a:close/>
                  <a:moveTo>
                    <a:pt x="5237" y="8606"/>
                  </a:moveTo>
                  <a:cubicBezTo>
                    <a:pt x="5166" y="8647"/>
                    <a:pt x="5092" y="8688"/>
                    <a:pt x="5060" y="8704"/>
                  </a:cubicBezTo>
                  <a:cubicBezTo>
                    <a:pt x="5086" y="8289"/>
                    <a:pt x="5086" y="8289"/>
                    <a:pt x="5086" y="8289"/>
                  </a:cubicBezTo>
                  <a:cubicBezTo>
                    <a:pt x="5108" y="8289"/>
                    <a:pt x="5129" y="8290"/>
                    <a:pt x="5149" y="8291"/>
                  </a:cubicBezTo>
                  <a:cubicBezTo>
                    <a:pt x="5205" y="8294"/>
                    <a:pt x="5276" y="8299"/>
                    <a:pt x="5355" y="8305"/>
                  </a:cubicBezTo>
                  <a:cubicBezTo>
                    <a:pt x="5364" y="8355"/>
                    <a:pt x="5380" y="8439"/>
                    <a:pt x="5393" y="8516"/>
                  </a:cubicBezTo>
                  <a:cubicBezTo>
                    <a:pt x="5370" y="8530"/>
                    <a:pt x="5305" y="8567"/>
                    <a:pt x="5237" y="8606"/>
                  </a:cubicBezTo>
                  <a:close/>
                  <a:moveTo>
                    <a:pt x="5046" y="8711"/>
                  </a:moveTo>
                  <a:cubicBezTo>
                    <a:pt x="5046" y="8711"/>
                    <a:pt x="5046" y="8711"/>
                    <a:pt x="5046" y="8711"/>
                  </a:cubicBezTo>
                  <a:cubicBezTo>
                    <a:pt x="5046" y="8711"/>
                    <a:pt x="5046" y="8711"/>
                    <a:pt x="5046" y="8711"/>
                  </a:cubicBezTo>
                  <a:cubicBezTo>
                    <a:pt x="5046" y="8711"/>
                    <a:pt x="5046" y="8711"/>
                    <a:pt x="5046" y="8711"/>
                  </a:cubicBezTo>
                  <a:cubicBezTo>
                    <a:pt x="5041" y="8711"/>
                    <a:pt x="4941" y="8692"/>
                    <a:pt x="4837" y="8672"/>
                  </a:cubicBezTo>
                  <a:cubicBezTo>
                    <a:pt x="4768" y="8285"/>
                    <a:pt x="4768" y="8285"/>
                    <a:pt x="4768" y="8285"/>
                  </a:cubicBezTo>
                  <a:cubicBezTo>
                    <a:pt x="4798" y="8285"/>
                    <a:pt x="4827" y="8284"/>
                    <a:pt x="4855" y="8284"/>
                  </a:cubicBezTo>
                  <a:cubicBezTo>
                    <a:pt x="4858" y="8284"/>
                    <a:pt x="4862" y="8284"/>
                    <a:pt x="4865" y="8284"/>
                  </a:cubicBezTo>
                  <a:cubicBezTo>
                    <a:pt x="4940" y="8284"/>
                    <a:pt x="5010" y="8286"/>
                    <a:pt x="5072" y="8288"/>
                  </a:cubicBezTo>
                  <a:lnTo>
                    <a:pt x="5046" y="8711"/>
                  </a:lnTo>
                  <a:close/>
                  <a:moveTo>
                    <a:pt x="4668" y="8654"/>
                  </a:moveTo>
                  <a:cubicBezTo>
                    <a:pt x="4769" y="9198"/>
                    <a:pt x="4769" y="9198"/>
                    <a:pt x="4769" y="9198"/>
                  </a:cubicBezTo>
                  <a:cubicBezTo>
                    <a:pt x="4678" y="9207"/>
                    <a:pt x="4578" y="9216"/>
                    <a:pt x="4486" y="9222"/>
                  </a:cubicBezTo>
                  <a:cubicBezTo>
                    <a:pt x="4496" y="8692"/>
                    <a:pt x="4496" y="8692"/>
                    <a:pt x="4496" y="8692"/>
                  </a:cubicBezTo>
                  <a:cubicBezTo>
                    <a:pt x="4577" y="8636"/>
                    <a:pt x="4577" y="8636"/>
                    <a:pt x="4577" y="8636"/>
                  </a:cubicBezTo>
                  <a:cubicBezTo>
                    <a:pt x="4587" y="8638"/>
                    <a:pt x="4622" y="8645"/>
                    <a:pt x="4668" y="8654"/>
                  </a:cubicBezTo>
                  <a:close/>
                  <a:moveTo>
                    <a:pt x="4564" y="10205"/>
                  </a:moveTo>
                  <a:cubicBezTo>
                    <a:pt x="4400" y="10248"/>
                    <a:pt x="4228" y="10297"/>
                    <a:pt x="4062" y="10346"/>
                  </a:cubicBezTo>
                  <a:cubicBezTo>
                    <a:pt x="4063" y="10344"/>
                    <a:pt x="4063" y="10344"/>
                    <a:pt x="4063" y="10344"/>
                  </a:cubicBezTo>
                  <a:cubicBezTo>
                    <a:pt x="3819" y="10186"/>
                    <a:pt x="3819" y="10186"/>
                    <a:pt x="3819" y="10186"/>
                  </a:cubicBezTo>
                  <a:cubicBezTo>
                    <a:pt x="3720" y="9905"/>
                    <a:pt x="3720" y="9905"/>
                    <a:pt x="3720" y="9905"/>
                  </a:cubicBezTo>
                  <a:cubicBezTo>
                    <a:pt x="3760" y="9879"/>
                    <a:pt x="3874" y="9805"/>
                    <a:pt x="3989" y="9730"/>
                  </a:cubicBezTo>
                  <a:cubicBezTo>
                    <a:pt x="4105" y="9655"/>
                    <a:pt x="4223" y="9579"/>
                    <a:pt x="4264" y="9552"/>
                  </a:cubicBezTo>
                  <a:lnTo>
                    <a:pt x="4564" y="10205"/>
                  </a:lnTo>
                  <a:close/>
                  <a:moveTo>
                    <a:pt x="2337" y="10649"/>
                  </a:moveTo>
                  <a:cubicBezTo>
                    <a:pt x="2369" y="10652"/>
                    <a:pt x="2488" y="10661"/>
                    <a:pt x="2531" y="10684"/>
                  </a:cubicBezTo>
                  <a:cubicBezTo>
                    <a:pt x="2559" y="10699"/>
                    <a:pt x="2566" y="10727"/>
                    <a:pt x="2568" y="10742"/>
                  </a:cubicBezTo>
                  <a:cubicBezTo>
                    <a:pt x="2534" y="10738"/>
                    <a:pt x="2498" y="10735"/>
                    <a:pt x="2460" y="10733"/>
                  </a:cubicBezTo>
                  <a:cubicBezTo>
                    <a:pt x="2373" y="10728"/>
                    <a:pt x="2298" y="10726"/>
                    <a:pt x="2232" y="10725"/>
                  </a:cubicBezTo>
                  <a:cubicBezTo>
                    <a:pt x="2252" y="10625"/>
                    <a:pt x="2252" y="10625"/>
                    <a:pt x="2252" y="10625"/>
                  </a:cubicBezTo>
                  <a:cubicBezTo>
                    <a:pt x="2285" y="10645"/>
                    <a:pt x="2321" y="10648"/>
                    <a:pt x="2337" y="10649"/>
                  </a:cubicBezTo>
                  <a:close/>
                  <a:moveTo>
                    <a:pt x="2456" y="10802"/>
                  </a:moveTo>
                  <a:cubicBezTo>
                    <a:pt x="2617" y="10811"/>
                    <a:pt x="2747" y="10835"/>
                    <a:pt x="2814" y="10849"/>
                  </a:cubicBezTo>
                  <a:cubicBezTo>
                    <a:pt x="2771" y="10889"/>
                    <a:pt x="2713" y="10948"/>
                    <a:pt x="2660" y="11014"/>
                  </a:cubicBezTo>
                  <a:cubicBezTo>
                    <a:pt x="2655" y="11020"/>
                    <a:pt x="2651" y="11026"/>
                    <a:pt x="2646" y="11032"/>
                  </a:cubicBezTo>
                  <a:cubicBezTo>
                    <a:pt x="2643" y="11032"/>
                    <a:pt x="2640" y="11032"/>
                    <a:pt x="2637" y="11032"/>
                  </a:cubicBezTo>
                  <a:cubicBezTo>
                    <a:pt x="2619" y="11032"/>
                    <a:pt x="2596" y="11032"/>
                    <a:pt x="2572" y="11032"/>
                  </a:cubicBezTo>
                  <a:cubicBezTo>
                    <a:pt x="2524" y="11032"/>
                    <a:pt x="2477" y="11032"/>
                    <a:pt x="2477" y="11032"/>
                  </a:cubicBezTo>
                  <a:cubicBezTo>
                    <a:pt x="2473" y="11032"/>
                    <a:pt x="2473" y="11032"/>
                    <a:pt x="2473" y="11032"/>
                  </a:cubicBezTo>
                  <a:cubicBezTo>
                    <a:pt x="2473" y="11043"/>
                    <a:pt x="2473" y="11043"/>
                    <a:pt x="2473" y="11043"/>
                  </a:cubicBezTo>
                  <a:cubicBezTo>
                    <a:pt x="2086" y="11041"/>
                    <a:pt x="2086" y="11041"/>
                    <a:pt x="2086" y="11041"/>
                  </a:cubicBezTo>
                  <a:cubicBezTo>
                    <a:pt x="1996" y="10808"/>
                    <a:pt x="1996" y="10808"/>
                    <a:pt x="1996" y="10808"/>
                  </a:cubicBezTo>
                  <a:cubicBezTo>
                    <a:pt x="2050" y="10799"/>
                    <a:pt x="2119" y="10794"/>
                    <a:pt x="2208" y="10794"/>
                  </a:cubicBezTo>
                  <a:cubicBezTo>
                    <a:pt x="2278" y="10794"/>
                    <a:pt x="2360" y="10797"/>
                    <a:pt x="2456" y="10802"/>
                  </a:cubicBezTo>
                  <a:close/>
                  <a:moveTo>
                    <a:pt x="1506" y="10990"/>
                  </a:moveTo>
                  <a:cubicBezTo>
                    <a:pt x="1878" y="11400"/>
                    <a:pt x="1878" y="11400"/>
                    <a:pt x="1878" y="11400"/>
                  </a:cubicBezTo>
                  <a:cubicBezTo>
                    <a:pt x="1830" y="11439"/>
                    <a:pt x="1830" y="11439"/>
                    <a:pt x="1830" y="11439"/>
                  </a:cubicBezTo>
                  <a:cubicBezTo>
                    <a:pt x="1774" y="11381"/>
                    <a:pt x="1774" y="11381"/>
                    <a:pt x="1774" y="11381"/>
                  </a:cubicBezTo>
                  <a:cubicBezTo>
                    <a:pt x="1773" y="11382"/>
                    <a:pt x="1773" y="11382"/>
                    <a:pt x="1773" y="11382"/>
                  </a:cubicBezTo>
                  <a:cubicBezTo>
                    <a:pt x="1448" y="11018"/>
                    <a:pt x="1448" y="11018"/>
                    <a:pt x="1448" y="11018"/>
                  </a:cubicBezTo>
                  <a:cubicBezTo>
                    <a:pt x="1467" y="11009"/>
                    <a:pt x="1486" y="10999"/>
                    <a:pt x="1506" y="10990"/>
                  </a:cubicBezTo>
                  <a:close/>
                  <a:moveTo>
                    <a:pt x="1752" y="11395"/>
                  </a:moveTo>
                  <a:cubicBezTo>
                    <a:pt x="1743" y="11401"/>
                    <a:pt x="1731" y="11409"/>
                    <a:pt x="1716" y="11418"/>
                  </a:cubicBezTo>
                  <a:cubicBezTo>
                    <a:pt x="1392" y="11046"/>
                    <a:pt x="1392" y="11046"/>
                    <a:pt x="1392" y="11046"/>
                  </a:cubicBezTo>
                  <a:cubicBezTo>
                    <a:pt x="1402" y="11041"/>
                    <a:pt x="1413" y="11036"/>
                    <a:pt x="1425" y="11029"/>
                  </a:cubicBezTo>
                  <a:lnTo>
                    <a:pt x="1752" y="11395"/>
                  </a:lnTo>
                  <a:close/>
                  <a:moveTo>
                    <a:pt x="1770" y="11413"/>
                  </a:moveTo>
                  <a:cubicBezTo>
                    <a:pt x="1811" y="11455"/>
                    <a:pt x="1811" y="11455"/>
                    <a:pt x="1811" y="11455"/>
                  </a:cubicBezTo>
                  <a:cubicBezTo>
                    <a:pt x="1774" y="11485"/>
                    <a:pt x="1774" y="11485"/>
                    <a:pt x="1774" y="11485"/>
                  </a:cubicBezTo>
                  <a:cubicBezTo>
                    <a:pt x="1732" y="11437"/>
                    <a:pt x="1732" y="11437"/>
                    <a:pt x="1732" y="11437"/>
                  </a:cubicBezTo>
                  <a:cubicBezTo>
                    <a:pt x="1749" y="11426"/>
                    <a:pt x="1762" y="11418"/>
                    <a:pt x="1770" y="11413"/>
                  </a:cubicBezTo>
                  <a:close/>
                  <a:moveTo>
                    <a:pt x="1786" y="11603"/>
                  </a:moveTo>
                  <a:cubicBezTo>
                    <a:pt x="1790" y="11607"/>
                    <a:pt x="1877" y="11693"/>
                    <a:pt x="1990" y="11742"/>
                  </a:cubicBezTo>
                  <a:cubicBezTo>
                    <a:pt x="2053" y="11769"/>
                    <a:pt x="2118" y="11779"/>
                    <a:pt x="2166" y="11783"/>
                  </a:cubicBezTo>
                  <a:cubicBezTo>
                    <a:pt x="2105" y="12060"/>
                    <a:pt x="2105" y="12060"/>
                    <a:pt x="2105" y="12060"/>
                  </a:cubicBezTo>
                  <a:cubicBezTo>
                    <a:pt x="2076" y="12104"/>
                    <a:pt x="2043" y="12151"/>
                    <a:pt x="2007" y="12198"/>
                  </a:cubicBezTo>
                  <a:cubicBezTo>
                    <a:pt x="1986" y="12227"/>
                    <a:pt x="1963" y="12260"/>
                    <a:pt x="1943" y="12285"/>
                  </a:cubicBezTo>
                  <a:cubicBezTo>
                    <a:pt x="1943" y="12285"/>
                    <a:pt x="1942" y="12285"/>
                    <a:pt x="1942" y="12285"/>
                  </a:cubicBezTo>
                  <a:cubicBezTo>
                    <a:pt x="1916" y="12279"/>
                    <a:pt x="1885" y="12274"/>
                    <a:pt x="1846" y="12265"/>
                  </a:cubicBezTo>
                  <a:cubicBezTo>
                    <a:pt x="1742" y="12240"/>
                    <a:pt x="1601" y="12197"/>
                    <a:pt x="1526" y="12146"/>
                  </a:cubicBezTo>
                  <a:cubicBezTo>
                    <a:pt x="1419" y="12074"/>
                    <a:pt x="1410" y="12017"/>
                    <a:pt x="1399" y="11982"/>
                  </a:cubicBezTo>
                  <a:cubicBezTo>
                    <a:pt x="1389" y="11948"/>
                    <a:pt x="1362" y="11843"/>
                    <a:pt x="1345" y="11779"/>
                  </a:cubicBezTo>
                  <a:cubicBezTo>
                    <a:pt x="1335" y="11746"/>
                    <a:pt x="1317" y="11707"/>
                    <a:pt x="1294" y="11669"/>
                  </a:cubicBezTo>
                  <a:lnTo>
                    <a:pt x="1786" y="11603"/>
                  </a:lnTo>
                  <a:close/>
                  <a:moveTo>
                    <a:pt x="1501" y="12184"/>
                  </a:moveTo>
                  <a:cubicBezTo>
                    <a:pt x="1518" y="12195"/>
                    <a:pt x="1538" y="12206"/>
                    <a:pt x="1558" y="12216"/>
                  </a:cubicBezTo>
                  <a:cubicBezTo>
                    <a:pt x="1541" y="12493"/>
                    <a:pt x="1541" y="12493"/>
                    <a:pt x="1541" y="12493"/>
                  </a:cubicBezTo>
                  <a:cubicBezTo>
                    <a:pt x="1258" y="12579"/>
                    <a:pt x="1258" y="12579"/>
                    <a:pt x="1258" y="12579"/>
                  </a:cubicBezTo>
                  <a:cubicBezTo>
                    <a:pt x="1164" y="12446"/>
                    <a:pt x="1164" y="12446"/>
                    <a:pt x="1164" y="12446"/>
                  </a:cubicBezTo>
                  <a:cubicBezTo>
                    <a:pt x="1456" y="12151"/>
                    <a:pt x="1456" y="12151"/>
                    <a:pt x="1456" y="12151"/>
                  </a:cubicBezTo>
                  <a:cubicBezTo>
                    <a:pt x="1470" y="12162"/>
                    <a:pt x="1484" y="12173"/>
                    <a:pt x="1501" y="12184"/>
                  </a:cubicBezTo>
                  <a:close/>
                  <a:moveTo>
                    <a:pt x="1557" y="12505"/>
                  </a:moveTo>
                  <a:cubicBezTo>
                    <a:pt x="1574" y="12224"/>
                    <a:pt x="1574" y="12224"/>
                    <a:pt x="1574" y="12224"/>
                  </a:cubicBezTo>
                  <a:cubicBezTo>
                    <a:pt x="1655" y="12261"/>
                    <a:pt x="1756" y="12289"/>
                    <a:pt x="1835" y="12309"/>
                  </a:cubicBezTo>
                  <a:cubicBezTo>
                    <a:pt x="1865" y="12316"/>
                    <a:pt x="1890" y="12320"/>
                    <a:pt x="1911" y="12324"/>
                  </a:cubicBezTo>
                  <a:cubicBezTo>
                    <a:pt x="1874" y="12370"/>
                    <a:pt x="1833" y="12422"/>
                    <a:pt x="1789" y="12474"/>
                  </a:cubicBezTo>
                  <a:cubicBezTo>
                    <a:pt x="1679" y="12607"/>
                    <a:pt x="1561" y="12746"/>
                    <a:pt x="1520" y="12794"/>
                  </a:cubicBezTo>
                  <a:cubicBezTo>
                    <a:pt x="1351" y="12711"/>
                    <a:pt x="1351" y="12711"/>
                    <a:pt x="1351" y="12711"/>
                  </a:cubicBezTo>
                  <a:cubicBezTo>
                    <a:pt x="1268" y="12593"/>
                    <a:pt x="1268" y="12593"/>
                    <a:pt x="1268" y="12593"/>
                  </a:cubicBezTo>
                  <a:lnTo>
                    <a:pt x="1557" y="12505"/>
                  </a:lnTo>
                  <a:close/>
                  <a:moveTo>
                    <a:pt x="1842" y="12518"/>
                  </a:moveTo>
                  <a:cubicBezTo>
                    <a:pt x="1898" y="12451"/>
                    <a:pt x="1950" y="12384"/>
                    <a:pt x="1992" y="12334"/>
                  </a:cubicBezTo>
                  <a:cubicBezTo>
                    <a:pt x="2036" y="12338"/>
                    <a:pt x="2098" y="12344"/>
                    <a:pt x="2156" y="12349"/>
                  </a:cubicBezTo>
                  <a:cubicBezTo>
                    <a:pt x="2069" y="12707"/>
                    <a:pt x="2069" y="12707"/>
                    <a:pt x="2069" y="12707"/>
                  </a:cubicBezTo>
                  <a:cubicBezTo>
                    <a:pt x="1941" y="12994"/>
                    <a:pt x="1941" y="12994"/>
                    <a:pt x="1941" y="12994"/>
                  </a:cubicBezTo>
                  <a:cubicBezTo>
                    <a:pt x="2041" y="13445"/>
                    <a:pt x="2041" y="13445"/>
                    <a:pt x="2041" y="13445"/>
                  </a:cubicBezTo>
                  <a:cubicBezTo>
                    <a:pt x="1910" y="13397"/>
                    <a:pt x="1910" y="13397"/>
                    <a:pt x="1910" y="13397"/>
                  </a:cubicBezTo>
                  <a:cubicBezTo>
                    <a:pt x="1910" y="13397"/>
                    <a:pt x="1910" y="13397"/>
                    <a:pt x="1910" y="13397"/>
                  </a:cubicBezTo>
                  <a:cubicBezTo>
                    <a:pt x="1673" y="13312"/>
                    <a:pt x="1673" y="13312"/>
                    <a:pt x="1673" y="13312"/>
                  </a:cubicBezTo>
                  <a:cubicBezTo>
                    <a:pt x="1607" y="12837"/>
                    <a:pt x="1607" y="12837"/>
                    <a:pt x="1607" y="12837"/>
                  </a:cubicBezTo>
                  <a:cubicBezTo>
                    <a:pt x="1583" y="12825"/>
                    <a:pt x="1583" y="12825"/>
                    <a:pt x="1583" y="12825"/>
                  </a:cubicBezTo>
                  <a:cubicBezTo>
                    <a:pt x="1632" y="12768"/>
                    <a:pt x="1740" y="12641"/>
                    <a:pt x="1842" y="12518"/>
                  </a:cubicBezTo>
                  <a:close/>
                  <a:moveTo>
                    <a:pt x="1898" y="13463"/>
                  </a:moveTo>
                  <a:cubicBezTo>
                    <a:pt x="1898" y="13463"/>
                    <a:pt x="1898" y="13463"/>
                    <a:pt x="1898" y="13463"/>
                  </a:cubicBezTo>
                  <a:cubicBezTo>
                    <a:pt x="1898" y="13463"/>
                    <a:pt x="1898" y="13463"/>
                    <a:pt x="1898" y="13463"/>
                  </a:cubicBezTo>
                  <a:close/>
                  <a:moveTo>
                    <a:pt x="1898" y="13463"/>
                  </a:moveTo>
                  <a:cubicBezTo>
                    <a:pt x="1898" y="13463"/>
                    <a:pt x="1898" y="13463"/>
                    <a:pt x="1898" y="13463"/>
                  </a:cubicBezTo>
                  <a:cubicBezTo>
                    <a:pt x="1898" y="13463"/>
                    <a:pt x="1898" y="13463"/>
                    <a:pt x="1898" y="13463"/>
                  </a:cubicBezTo>
                  <a:cubicBezTo>
                    <a:pt x="2176" y="13564"/>
                    <a:pt x="2176" y="13564"/>
                    <a:pt x="2176" y="13564"/>
                  </a:cubicBezTo>
                  <a:cubicBezTo>
                    <a:pt x="2143" y="13595"/>
                    <a:pt x="2027" y="13705"/>
                    <a:pt x="1921" y="13807"/>
                  </a:cubicBezTo>
                  <a:cubicBezTo>
                    <a:pt x="1786" y="13723"/>
                    <a:pt x="1786" y="13723"/>
                    <a:pt x="1786" y="13723"/>
                  </a:cubicBezTo>
                  <a:cubicBezTo>
                    <a:pt x="1705" y="13863"/>
                    <a:pt x="1705" y="13863"/>
                    <a:pt x="1705" y="13863"/>
                  </a:cubicBezTo>
                  <a:cubicBezTo>
                    <a:pt x="1802" y="13922"/>
                    <a:pt x="1802" y="13922"/>
                    <a:pt x="1802" y="13922"/>
                  </a:cubicBezTo>
                  <a:cubicBezTo>
                    <a:pt x="1768" y="13955"/>
                    <a:pt x="1743" y="13980"/>
                    <a:pt x="1735" y="13990"/>
                  </a:cubicBezTo>
                  <a:cubicBezTo>
                    <a:pt x="1609" y="13913"/>
                    <a:pt x="1609" y="13913"/>
                    <a:pt x="1609" y="13913"/>
                  </a:cubicBezTo>
                  <a:lnTo>
                    <a:pt x="1898" y="13463"/>
                  </a:lnTo>
                  <a:close/>
                  <a:moveTo>
                    <a:pt x="2045" y="14071"/>
                  </a:moveTo>
                  <a:cubicBezTo>
                    <a:pt x="2233" y="14187"/>
                    <a:pt x="2233" y="14187"/>
                    <a:pt x="2233" y="14187"/>
                  </a:cubicBezTo>
                  <a:cubicBezTo>
                    <a:pt x="2199" y="14220"/>
                    <a:pt x="2176" y="14244"/>
                    <a:pt x="2170" y="14252"/>
                  </a:cubicBezTo>
                  <a:cubicBezTo>
                    <a:pt x="2169" y="14253"/>
                    <a:pt x="2169" y="14253"/>
                    <a:pt x="2169" y="14253"/>
                  </a:cubicBezTo>
                  <a:cubicBezTo>
                    <a:pt x="1978" y="14137"/>
                    <a:pt x="1978" y="14137"/>
                    <a:pt x="1978" y="14137"/>
                  </a:cubicBezTo>
                  <a:lnTo>
                    <a:pt x="2045" y="14071"/>
                  </a:lnTo>
                  <a:close/>
                  <a:moveTo>
                    <a:pt x="2185" y="14256"/>
                  </a:moveTo>
                  <a:cubicBezTo>
                    <a:pt x="2189" y="14251"/>
                    <a:pt x="2194" y="14245"/>
                    <a:pt x="2202" y="14238"/>
                  </a:cubicBezTo>
                  <a:cubicBezTo>
                    <a:pt x="2213" y="14227"/>
                    <a:pt x="2228" y="14212"/>
                    <a:pt x="2245" y="14194"/>
                  </a:cubicBezTo>
                  <a:cubicBezTo>
                    <a:pt x="2476" y="14336"/>
                    <a:pt x="2476" y="14336"/>
                    <a:pt x="2476" y="14336"/>
                  </a:cubicBezTo>
                  <a:cubicBezTo>
                    <a:pt x="2410" y="14400"/>
                    <a:pt x="2410" y="14400"/>
                    <a:pt x="2410" y="14400"/>
                  </a:cubicBezTo>
                  <a:cubicBezTo>
                    <a:pt x="2181" y="14260"/>
                    <a:pt x="2181" y="14260"/>
                    <a:pt x="2181" y="14260"/>
                  </a:cubicBezTo>
                  <a:cubicBezTo>
                    <a:pt x="2182" y="14259"/>
                    <a:pt x="2183" y="14258"/>
                    <a:pt x="2185" y="14256"/>
                  </a:cubicBezTo>
                  <a:close/>
                  <a:moveTo>
                    <a:pt x="3085" y="13954"/>
                  </a:moveTo>
                  <a:cubicBezTo>
                    <a:pt x="3071" y="14057"/>
                    <a:pt x="3071" y="14057"/>
                    <a:pt x="3071" y="14057"/>
                  </a:cubicBezTo>
                  <a:cubicBezTo>
                    <a:pt x="2977" y="14044"/>
                    <a:pt x="2977" y="14044"/>
                    <a:pt x="2977" y="14044"/>
                  </a:cubicBezTo>
                  <a:cubicBezTo>
                    <a:pt x="2985" y="13984"/>
                    <a:pt x="2985" y="13984"/>
                    <a:pt x="2985" y="13984"/>
                  </a:cubicBezTo>
                  <a:cubicBezTo>
                    <a:pt x="3032" y="13991"/>
                    <a:pt x="3032" y="13991"/>
                    <a:pt x="3032" y="13991"/>
                  </a:cubicBezTo>
                  <a:cubicBezTo>
                    <a:pt x="3038" y="13948"/>
                    <a:pt x="3038" y="13948"/>
                    <a:pt x="3038" y="13948"/>
                  </a:cubicBezTo>
                  <a:lnTo>
                    <a:pt x="3085" y="13954"/>
                  </a:lnTo>
                  <a:close/>
                  <a:moveTo>
                    <a:pt x="3083" y="14071"/>
                  </a:moveTo>
                  <a:cubicBezTo>
                    <a:pt x="3171" y="14083"/>
                    <a:pt x="3171" y="14083"/>
                    <a:pt x="3171" y="14083"/>
                  </a:cubicBezTo>
                  <a:cubicBezTo>
                    <a:pt x="3183" y="13998"/>
                    <a:pt x="3183" y="13998"/>
                    <a:pt x="3183" y="13998"/>
                  </a:cubicBezTo>
                  <a:cubicBezTo>
                    <a:pt x="3136" y="13992"/>
                    <a:pt x="3136" y="13992"/>
                    <a:pt x="3136" y="13992"/>
                  </a:cubicBezTo>
                  <a:cubicBezTo>
                    <a:pt x="3142" y="13949"/>
                    <a:pt x="3142" y="13949"/>
                    <a:pt x="3142" y="13949"/>
                  </a:cubicBezTo>
                  <a:cubicBezTo>
                    <a:pt x="3100" y="13943"/>
                    <a:pt x="3100" y="13943"/>
                    <a:pt x="3100" y="13943"/>
                  </a:cubicBezTo>
                  <a:cubicBezTo>
                    <a:pt x="3106" y="13901"/>
                    <a:pt x="3106" y="13901"/>
                    <a:pt x="3106" y="13901"/>
                  </a:cubicBezTo>
                  <a:cubicBezTo>
                    <a:pt x="3206" y="13937"/>
                    <a:pt x="3206" y="13937"/>
                    <a:pt x="3206" y="13937"/>
                  </a:cubicBezTo>
                  <a:cubicBezTo>
                    <a:pt x="3202" y="13975"/>
                    <a:pt x="3179" y="14148"/>
                    <a:pt x="3157" y="14316"/>
                  </a:cubicBezTo>
                  <a:cubicBezTo>
                    <a:pt x="3135" y="14480"/>
                    <a:pt x="3113" y="14640"/>
                    <a:pt x="3108" y="14672"/>
                  </a:cubicBezTo>
                  <a:cubicBezTo>
                    <a:pt x="3072" y="14669"/>
                    <a:pt x="3036" y="14666"/>
                    <a:pt x="3003" y="14664"/>
                  </a:cubicBezTo>
                  <a:lnTo>
                    <a:pt x="3083" y="14071"/>
                  </a:lnTo>
                  <a:close/>
                  <a:moveTo>
                    <a:pt x="3289" y="14316"/>
                  </a:moveTo>
                  <a:cubicBezTo>
                    <a:pt x="3297" y="14261"/>
                    <a:pt x="3305" y="14207"/>
                    <a:pt x="3312" y="14159"/>
                  </a:cubicBezTo>
                  <a:cubicBezTo>
                    <a:pt x="3413" y="14173"/>
                    <a:pt x="3413" y="14173"/>
                    <a:pt x="3413" y="14173"/>
                  </a:cubicBezTo>
                  <a:cubicBezTo>
                    <a:pt x="3425" y="14087"/>
                    <a:pt x="3425" y="14087"/>
                    <a:pt x="3425" y="14087"/>
                  </a:cubicBezTo>
                  <a:cubicBezTo>
                    <a:pt x="3378" y="14081"/>
                    <a:pt x="3378" y="14081"/>
                    <a:pt x="3378" y="14081"/>
                  </a:cubicBezTo>
                  <a:cubicBezTo>
                    <a:pt x="3384" y="14038"/>
                    <a:pt x="3384" y="14038"/>
                    <a:pt x="3384" y="14038"/>
                  </a:cubicBezTo>
                  <a:cubicBezTo>
                    <a:pt x="3331" y="14031"/>
                    <a:pt x="3331" y="14031"/>
                    <a:pt x="3331" y="14031"/>
                  </a:cubicBezTo>
                  <a:cubicBezTo>
                    <a:pt x="3334" y="14010"/>
                    <a:pt x="3336" y="13994"/>
                    <a:pt x="3337" y="13985"/>
                  </a:cubicBezTo>
                  <a:cubicBezTo>
                    <a:pt x="3452" y="14027"/>
                    <a:pt x="3452" y="14027"/>
                    <a:pt x="3452" y="14027"/>
                  </a:cubicBezTo>
                  <a:cubicBezTo>
                    <a:pt x="3366" y="14692"/>
                    <a:pt x="3366" y="14692"/>
                    <a:pt x="3366" y="14692"/>
                  </a:cubicBezTo>
                  <a:cubicBezTo>
                    <a:pt x="3349" y="14691"/>
                    <a:pt x="3301" y="14687"/>
                    <a:pt x="3240" y="14683"/>
                  </a:cubicBezTo>
                  <a:cubicBezTo>
                    <a:pt x="3241" y="14661"/>
                    <a:pt x="3265" y="14485"/>
                    <a:pt x="3289" y="14316"/>
                  </a:cubicBezTo>
                  <a:close/>
                  <a:moveTo>
                    <a:pt x="3465" y="14032"/>
                  </a:moveTo>
                  <a:cubicBezTo>
                    <a:pt x="4259" y="14320"/>
                    <a:pt x="4259" y="14320"/>
                    <a:pt x="4259" y="14320"/>
                  </a:cubicBezTo>
                  <a:cubicBezTo>
                    <a:pt x="4110" y="14514"/>
                    <a:pt x="4110" y="14514"/>
                    <a:pt x="4110" y="14514"/>
                  </a:cubicBezTo>
                  <a:cubicBezTo>
                    <a:pt x="3840" y="14449"/>
                    <a:pt x="3840" y="14449"/>
                    <a:pt x="3840" y="14449"/>
                  </a:cubicBezTo>
                  <a:cubicBezTo>
                    <a:pt x="3840" y="14449"/>
                    <a:pt x="3840" y="14449"/>
                    <a:pt x="3840" y="14449"/>
                  </a:cubicBezTo>
                  <a:cubicBezTo>
                    <a:pt x="3837" y="14446"/>
                    <a:pt x="3834" y="14447"/>
                    <a:pt x="3834" y="14447"/>
                  </a:cubicBezTo>
                  <a:cubicBezTo>
                    <a:pt x="3833" y="14447"/>
                    <a:pt x="3832" y="14447"/>
                    <a:pt x="3831" y="14447"/>
                  </a:cubicBezTo>
                  <a:cubicBezTo>
                    <a:pt x="3426" y="14351"/>
                    <a:pt x="3426" y="14351"/>
                    <a:pt x="3426" y="14351"/>
                  </a:cubicBezTo>
                  <a:cubicBezTo>
                    <a:pt x="3422" y="14364"/>
                    <a:pt x="3422" y="14364"/>
                    <a:pt x="3422" y="14364"/>
                  </a:cubicBezTo>
                  <a:cubicBezTo>
                    <a:pt x="3826" y="14461"/>
                    <a:pt x="3826" y="14461"/>
                    <a:pt x="3826" y="14461"/>
                  </a:cubicBezTo>
                  <a:cubicBezTo>
                    <a:pt x="3826" y="14463"/>
                    <a:pt x="3825" y="14464"/>
                    <a:pt x="3825" y="14467"/>
                  </a:cubicBezTo>
                  <a:cubicBezTo>
                    <a:pt x="3824" y="14476"/>
                    <a:pt x="3822" y="14489"/>
                    <a:pt x="3820" y="14505"/>
                  </a:cubicBezTo>
                  <a:cubicBezTo>
                    <a:pt x="3815" y="14536"/>
                    <a:pt x="3810" y="14577"/>
                    <a:pt x="3804" y="14619"/>
                  </a:cubicBezTo>
                  <a:cubicBezTo>
                    <a:pt x="3794" y="14691"/>
                    <a:pt x="3785" y="14764"/>
                    <a:pt x="3782" y="14781"/>
                  </a:cubicBezTo>
                  <a:cubicBezTo>
                    <a:pt x="3761" y="14781"/>
                    <a:pt x="3738" y="14780"/>
                    <a:pt x="3713" y="14780"/>
                  </a:cubicBezTo>
                  <a:cubicBezTo>
                    <a:pt x="3603" y="14780"/>
                    <a:pt x="3475" y="14785"/>
                    <a:pt x="3391" y="14806"/>
                  </a:cubicBezTo>
                  <a:cubicBezTo>
                    <a:pt x="3387" y="14806"/>
                    <a:pt x="3377" y="14807"/>
                    <a:pt x="3365" y="14810"/>
                  </a:cubicBezTo>
                  <a:lnTo>
                    <a:pt x="3465" y="14032"/>
                  </a:lnTo>
                  <a:close/>
                  <a:moveTo>
                    <a:pt x="4101" y="14526"/>
                  </a:moveTo>
                  <a:cubicBezTo>
                    <a:pt x="3902" y="14785"/>
                    <a:pt x="3902" y="14785"/>
                    <a:pt x="3902" y="14785"/>
                  </a:cubicBezTo>
                  <a:cubicBezTo>
                    <a:pt x="3882" y="14784"/>
                    <a:pt x="3844" y="14782"/>
                    <a:pt x="3797" y="14781"/>
                  </a:cubicBezTo>
                  <a:cubicBezTo>
                    <a:pt x="3802" y="14744"/>
                    <a:pt x="3833" y="14511"/>
                    <a:pt x="3839" y="14464"/>
                  </a:cubicBezTo>
                  <a:lnTo>
                    <a:pt x="4101" y="14526"/>
                  </a:lnTo>
                  <a:close/>
                  <a:moveTo>
                    <a:pt x="3395" y="14871"/>
                  </a:moveTo>
                  <a:cubicBezTo>
                    <a:pt x="3398" y="14871"/>
                    <a:pt x="3399" y="14871"/>
                    <a:pt x="3399" y="14871"/>
                  </a:cubicBezTo>
                  <a:cubicBezTo>
                    <a:pt x="3402" y="14871"/>
                    <a:pt x="3402" y="14871"/>
                    <a:pt x="3402" y="14871"/>
                  </a:cubicBezTo>
                  <a:cubicBezTo>
                    <a:pt x="3405" y="14870"/>
                    <a:pt x="3405" y="14870"/>
                    <a:pt x="3405" y="14870"/>
                  </a:cubicBezTo>
                  <a:cubicBezTo>
                    <a:pt x="3476" y="14851"/>
                    <a:pt x="3605" y="14846"/>
                    <a:pt x="3713" y="14846"/>
                  </a:cubicBezTo>
                  <a:cubicBezTo>
                    <a:pt x="3793" y="14846"/>
                    <a:pt x="3863" y="14849"/>
                    <a:pt x="3896" y="14850"/>
                  </a:cubicBezTo>
                  <a:cubicBezTo>
                    <a:pt x="3957" y="14998"/>
                    <a:pt x="3957" y="14998"/>
                    <a:pt x="3957" y="14998"/>
                  </a:cubicBezTo>
                  <a:cubicBezTo>
                    <a:pt x="3606" y="15194"/>
                    <a:pt x="3606" y="15194"/>
                    <a:pt x="3606" y="15194"/>
                  </a:cubicBezTo>
                  <a:cubicBezTo>
                    <a:pt x="3602" y="15186"/>
                    <a:pt x="3602" y="15186"/>
                    <a:pt x="3602" y="15186"/>
                  </a:cubicBezTo>
                  <a:cubicBezTo>
                    <a:pt x="3604" y="15185"/>
                    <a:pt x="3604" y="15185"/>
                    <a:pt x="3604" y="15185"/>
                  </a:cubicBezTo>
                  <a:cubicBezTo>
                    <a:pt x="3589" y="15159"/>
                    <a:pt x="3589" y="15159"/>
                    <a:pt x="3589" y="15159"/>
                  </a:cubicBezTo>
                  <a:cubicBezTo>
                    <a:pt x="3580" y="15142"/>
                    <a:pt x="3580" y="15142"/>
                    <a:pt x="3580" y="15142"/>
                  </a:cubicBezTo>
                  <a:cubicBezTo>
                    <a:pt x="3699" y="15074"/>
                    <a:pt x="3699" y="15074"/>
                    <a:pt x="3699" y="15074"/>
                  </a:cubicBezTo>
                  <a:cubicBezTo>
                    <a:pt x="3647" y="14983"/>
                    <a:pt x="3647" y="14983"/>
                    <a:pt x="3647" y="14983"/>
                  </a:cubicBezTo>
                  <a:cubicBezTo>
                    <a:pt x="3534" y="15049"/>
                    <a:pt x="3534" y="15049"/>
                    <a:pt x="3534" y="15049"/>
                  </a:cubicBezTo>
                  <a:cubicBezTo>
                    <a:pt x="3523" y="15028"/>
                    <a:pt x="3523" y="15028"/>
                    <a:pt x="3523" y="15028"/>
                  </a:cubicBezTo>
                  <a:cubicBezTo>
                    <a:pt x="3261" y="14915"/>
                    <a:pt x="3261" y="14915"/>
                    <a:pt x="3261" y="14915"/>
                  </a:cubicBezTo>
                  <a:cubicBezTo>
                    <a:pt x="3327" y="14882"/>
                    <a:pt x="3379" y="14873"/>
                    <a:pt x="3395" y="14871"/>
                  </a:cubicBezTo>
                  <a:close/>
                  <a:moveTo>
                    <a:pt x="3569" y="15150"/>
                  </a:moveTo>
                  <a:cubicBezTo>
                    <a:pt x="3584" y="15181"/>
                    <a:pt x="3584" y="15181"/>
                    <a:pt x="3584" y="15181"/>
                  </a:cubicBezTo>
                  <a:cubicBezTo>
                    <a:pt x="3480" y="15241"/>
                    <a:pt x="3480" y="15241"/>
                    <a:pt x="3480" y="15241"/>
                  </a:cubicBezTo>
                  <a:cubicBezTo>
                    <a:pt x="3441" y="15173"/>
                    <a:pt x="3441" y="15173"/>
                    <a:pt x="3441" y="15173"/>
                  </a:cubicBezTo>
                  <a:cubicBezTo>
                    <a:pt x="3547" y="15112"/>
                    <a:pt x="3547" y="15112"/>
                    <a:pt x="3547" y="15112"/>
                  </a:cubicBezTo>
                  <a:lnTo>
                    <a:pt x="3569" y="15150"/>
                  </a:lnTo>
                  <a:close/>
                  <a:moveTo>
                    <a:pt x="3539" y="15060"/>
                  </a:moveTo>
                  <a:cubicBezTo>
                    <a:pt x="3642" y="15001"/>
                    <a:pt x="3642" y="15001"/>
                    <a:pt x="3642" y="15001"/>
                  </a:cubicBezTo>
                  <a:cubicBezTo>
                    <a:pt x="3681" y="15069"/>
                    <a:pt x="3681" y="15069"/>
                    <a:pt x="3681" y="15069"/>
                  </a:cubicBezTo>
                  <a:cubicBezTo>
                    <a:pt x="3576" y="15130"/>
                    <a:pt x="3576" y="15130"/>
                    <a:pt x="3576" y="15130"/>
                  </a:cubicBezTo>
                  <a:cubicBezTo>
                    <a:pt x="3566" y="15113"/>
                    <a:pt x="3566" y="15113"/>
                    <a:pt x="3566" y="15113"/>
                  </a:cubicBezTo>
                  <a:lnTo>
                    <a:pt x="3539" y="15060"/>
                  </a:lnTo>
                  <a:close/>
                  <a:moveTo>
                    <a:pt x="3513" y="15039"/>
                  </a:moveTo>
                  <a:cubicBezTo>
                    <a:pt x="3522" y="15056"/>
                    <a:pt x="3522" y="15056"/>
                    <a:pt x="3522" y="15056"/>
                  </a:cubicBezTo>
                  <a:cubicBezTo>
                    <a:pt x="3519" y="15057"/>
                    <a:pt x="3519" y="15057"/>
                    <a:pt x="3519" y="15057"/>
                  </a:cubicBezTo>
                  <a:cubicBezTo>
                    <a:pt x="3543" y="15099"/>
                    <a:pt x="3543" y="15099"/>
                    <a:pt x="3543" y="15099"/>
                  </a:cubicBezTo>
                  <a:cubicBezTo>
                    <a:pt x="3423" y="15169"/>
                    <a:pt x="3423" y="15169"/>
                    <a:pt x="3423" y="15169"/>
                  </a:cubicBezTo>
                  <a:cubicBezTo>
                    <a:pt x="3472" y="15253"/>
                    <a:pt x="3472" y="15253"/>
                    <a:pt x="3472" y="15253"/>
                  </a:cubicBezTo>
                  <a:cubicBezTo>
                    <a:pt x="3476" y="15259"/>
                    <a:pt x="3476" y="15259"/>
                    <a:pt x="3476" y="15259"/>
                  </a:cubicBezTo>
                  <a:cubicBezTo>
                    <a:pt x="3590" y="15193"/>
                    <a:pt x="3590" y="15193"/>
                    <a:pt x="3590" y="15193"/>
                  </a:cubicBezTo>
                  <a:cubicBezTo>
                    <a:pt x="3594" y="15200"/>
                    <a:pt x="3594" y="15200"/>
                    <a:pt x="3594" y="15200"/>
                  </a:cubicBezTo>
                  <a:cubicBezTo>
                    <a:pt x="3382" y="15319"/>
                    <a:pt x="3382" y="15319"/>
                    <a:pt x="3382" y="15319"/>
                  </a:cubicBezTo>
                  <a:cubicBezTo>
                    <a:pt x="3302" y="15223"/>
                    <a:pt x="3302" y="15223"/>
                    <a:pt x="3302" y="15223"/>
                  </a:cubicBezTo>
                  <a:cubicBezTo>
                    <a:pt x="3301" y="15223"/>
                    <a:pt x="3301" y="15223"/>
                    <a:pt x="3301" y="15223"/>
                  </a:cubicBezTo>
                  <a:cubicBezTo>
                    <a:pt x="3301" y="15223"/>
                    <a:pt x="3240" y="15183"/>
                    <a:pt x="3177" y="15141"/>
                  </a:cubicBezTo>
                  <a:cubicBezTo>
                    <a:pt x="3133" y="15112"/>
                    <a:pt x="3088" y="15081"/>
                    <a:pt x="3061" y="15062"/>
                  </a:cubicBezTo>
                  <a:cubicBezTo>
                    <a:pt x="3092" y="15038"/>
                    <a:pt x="3120" y="15016"/>
                    <a:pt x="3142" y="14996"/>
                  </a:cubicBezTo>
                  <a:cubicBezTo>
                    <a:pt x="3177" y="14964"/>
                    <a:pt x="3212" y="14941"/>
                    <a:pt x="3245" y="14924"/>
                  </a:cubicBezTo>
                  <a:lnTo>
                    <a:pt x="3513" y="15039"/>
                  </a:lnTo>
                  <a:close/>
                  <a:moveTo>
                    <a:pt x="4201" y="15271"/>
                  </a:moveTo>
                  <a:cubicBezTo>
                    <a:pt x="4200" y="15269"/>
                    <a:pt x="4199" y="15266"/>
                    <a:pt x="4197" y="15264"/>
                  </a:cubicBezTo>
                  <a:cubicBezTo>
                    <a:pt x="4417" y="15132"/>
                    <a:pt x="4417" y="15132"/>
                    <a:pt x="4417" y="15132"/>
                  </a:cubicBezTo>
                  <a:cubicBezTo>
                    <a:pt x="4555" y="15372"/>
                    <a:pt x="4555" y="15372"/>
                    <a:pt x="4555" y="15372"/>
                  </a:cubicBezTo>
                  <a:cubicBezTo>
                    <a:pt x="4453" y="15429"/>
                    <a:pt x="4366" y="15478"/>
                    <a:pt x="4330" y="15499"/>
                  </a:cubicBezTo>
                  <a:cubicBezTo>
                    <a:pt x="4325" y="15489"/>
                    <a:pt x="4320" y="15480"/>
                    <a:pt x="4314" y="15469"/>
                  </a:cubicBezTo>
                  <a:cubicBezTo>
                    <a:pt x="4281" y="15409"/>
                    <a:pt x="4241" y="15339"/>
                    <a:pt x="4201" y="15271"/>
                  </a:cubicBezTo>
                  <a:close/>
                  <a:moveTo>
                    <a:pt x="4190" y="15252"/>
                  </a:moveTo>
                  <a:cubicBezTo>
                    <a:pt x="4126" y="15143"/>
                    <a:pt x="4067" y="15045"/>
                    <a:pt x="4052" y="15020"/>
                  </a:cubicBezTo>
                  <a:cubicBezTo>
                    <a:pt x="4076" y="15006"/>
                    <a:pt x="4076" y="15006"/>
                    <a:pt x="4076" y="15006"/>
                  </a:cubicBezTo>
                  <a:cubicBezTo>
                    <a:pt x="4279" y="14891"/>
                    <a:pt x="4279" y="14891"/>
                    <a:pt x="4279" y="14891"/>
                  </a:cubicBezTo>
                  <a:cubicBezTo>
                    <a:pt x="4410" y="15120"/>
                    <a:pt x="4410" y="15120"/>
                    <a:pt x="4410" y="15120"/>
                  </a:cubicBezTo>
                  <a:lnTo>
                    <a:pt x="4190" y="15252"/>
                  </a:lnTo>
                  <a:close/>
                  <a:moveTo>
                    <a:pt x="4044" y="14949"/>
                  </a:moveTo>
                  <a:cubicBezTo>
                    <a:pt x="4015" y="14965"/>
                    <a:pt x="4015" y="14965"/>
                    <a:pt x="4015" y="14965"/>
                  </a:cubicBezTo>
                  <a:cubicBezTo>
                    <a:pt x="3955" y="14823"/>
                    <a:pt x="3955" y="14823"/>
                    <a:pt x="3955" y="14823"/>
                  </a:cubicBezTo>
                  <a:cubicBezTo>
                    <a:pt x="4358" y="14296"/>
                    <a:pt x="4358" y="14296"/>
                    <a:pt x="4358" y="14296"/>
                  </a:cubicBezTo>
                  <a:cubicBezTo>
                    <a:pt x="4358" y="14295"/>
                    <a:pt x="4358" y="14295"/>
                    <a:pt x="4358" y="14295"/>
                  </a:cubicBezTo>
                  <a:cubicBezTo>
                    <a:pt x="4365" y="14286"/>
                    <a:pt x="4373" y="14275"/>
                    <a:pt x="4383" y="14263"/>
                  </a:cubicBezTo>
                  <a:cubicBezTo>
                    <a:pt x="4406" y="14263"/>
                    <a:pt x="4446" y="14264"/>
                    <a:pt x="4488" y="14264"/>
                  </a:cubicBezTo>
                  <a:cubicBezTo>
                    <a:pt x="4496" y="14290"/>
                    <a:pt x="4551" y="14479"/>
                    <a:pt x="4583" y="14581"/>
                  </a:cubicBezTo>
                  <a:cubicBezTo>
                    <a:pt x="4590" y="14604"/>
                    <a:pt x="4595" y="14621"/>
                    <a:pt x="4599" y="14633"/>
                  </a:cubicBezTo>
                  <a:lnTo>
                    <a:pt x="4044" y="14949"/>
                  </a:lnTo>
                  <a:close/>
                  <a:moveTo>
                    <a:pt x="4598" y="14582"/>
                  </a:moveTo>
                  <a:cubicBezTo>
                    <a:pt x="4586" y="14546"/>
                    <a:pt x="4572" y="14498"/>
                    <a:pt x="4558" y="14450"/>
                  </a:cubicBezTo>
                  <a:cubicBezTo>
                    <a:pt x="4533" y="14368"/>
                    <a:pt x="4510" y="14288"/>
                    <a:pt x="4503" y="14264"/>
                  </a:cubicBezTo>
                  <a:cubicBezTo>
                    <a:pt x="4577" y="14266"/>
                    <a:pt x="4657" y="14267"/>
                    <a:pt x="4687" y="14267"/>
                  </a:cubicBezTo>
                  <a:cubicBezTo>
                    <a:pt x="4693" y="14267"/>
                    <a:pt x="4697" y="14267"/>
                    <a:pt x="4699" y="14267"/>
                  </a:cubicBezTo>
                  <a:cubicBezTo>
                    <a:pt x="4700" y="14266"/>
                    <a:pt x="4700" y="14266"/>
                    <a:pt x="4700" y="14266"/>
                  </a:cubicBezTo>
                  <a:cubicBezTo>
                    <a:pt x="4700" y="14267"/>
                    <a:pt x="4701" y="14267"/>
                    <a:pt x="4704" y="14266"/>
                  </a:cubicBezTo>
                  <a:cubicBezTo>
                    <a:pt x="4709" y="14261"/>
                    <a:pt x="4707" y="14261"/>
                    <a:pt x="4708" y="14260"/>
                  </a:cubicBezTo>
                  <a:cubicBezTo>
                    <a:pt x="4708" y="14260"/>
                    <a:pt x="4708" y="14259"/>
                    <a:pt x="4708" y="14259"/>
                  </a:cubicBezTo>
                  <a:cubicBezTo>
                    <a:pt x="4708" y="14258"/>
                    <a:pt x="4708" y="14258"/>
                    <a:pt x="4708" y="14257"/>
                  </a:cubicBezTo>
                  <a:cubicBezTo>
                    <a:pt x="4709" y="14256"/>
                    <a:pt x="4709" y="14253"/>
                    <a:pt x="4709" y="14251"/>
                  </a:cubicBezTo>
                  <a:cubicBezTo>
                    <a:pt x="4710" y="14245"/>
                    <a:pt x="4710" y="14238"/>
                    <a:pt x="4711" y="14228"/>
                  </a:cubicBezTo>
                  <a:cubicBezTo>
                    <a:pt x="4712" y="14208"/>
                    <a:pt x="4714" y="14180"/>
                    <a:pt x="4717" y="14147"/>
                  </a:cubicBezTo>
                  <a:cubicBezTo>
                    <a:pt x="4718" y="14135"/>
                    <a:pt x="4718" y="14121"/>
                    <a:pt x="4719" y="14108"/>
                  </a:cubicBezTo>
                  <a:cubicBezTo>
                    <a:pt x="4749" y="14092"/>
                    <a:pt x="4899" y="14012"/>
                    <a:pt x="4944" y="13989"/>
                  </a:cubicBezTo>
                  <a:cubicBezTo>
                    <a:pt x="4945" y="13991"/>
                    <a:pt x="4945" y="13992"/>
                    <a:pt x="4946" y="13994"/>
                  </a:cubicBezTo>
                  <a:cubicBezTo>
                    <a:pt x="4946" y="13995"/>
                    <a:pt x="4946" y="13996"/>
                    <a:pt x="4946" y="13997"/>
                  </a:cubicBezTo>
                  <a:cubicBezTo>
                    <a:pt x="4946" y="13999"/>
                    <a:pt x="4947" y="14001"/>
                    <a:pt x="4948" y="14003"/>
                  </a:cubicBezTo>
                  <a:cubicBezTo>
                    <a:pt x="4948" y="14006"/>
                    <a:pt x="4949" y="14007"/>
                    <a:pt x="4949" y="14009"/>
                  </a:cubicBezTo>
                  <a:cubicBezTo>
                    <a:pt x="4950" y="14010"/>
                    <a:pt x="4950" y="14010"/>
                    <a:pt x="4950" y="14011"/>
                  </a:cubicBezTo>
                  <a:cubicBezTo>
                    <a:pt x="4950" y="14013"/>
                    <a:pt x="4951" y="14015"/>
                    <a:pt x="4951" y="14016"/>
                  </a:cubicBezTo>
                  <a:cubicBezTo>
                    <a:pt x="4952" y="14017"/>
                    <a:pt x="4952" y="14019"/>
                    <a:pt x="4953" y="14020"/>
                  </a:cubicBezTo>
                  <a:cubicBezTo>
                    <a:pt x="4953" y="14022"/>
                    <a:pt x="4953" y="14022"/>
                    <a:pt x="4953" y="14022"/>
                  </a:cubicBezTo>
                  <a:cubicBezTo>
                    <a:pt x="4953" y="14022"/>
                    <a:pt x="4953" y="14022"/>
                    <a:pt x="4953" y="14022"/>
                  </a:cubicBezTo>
                  <a:cubicBezTo>
                    <a:pt x="4965" y="14058"/>
                    <a:pt x="4987" y="14114"/>
                    <a:pt x="5024" y="14178"/>
                  </a:cubicBezTo>
                  <a:cubicBezTo>
                    <a:pt x="5055" y="14230"/>
                    <a:pt x="5078" y="14279"/>
                    <a:pt x="5092" y="14315"/>
                  </a:cubicBezTo>
                  <a:cubicBezTo>
                    <a:pt x="5098" y="14327"/>
                    <a:pt x="5101" y="14337"/>
                    <a:pt x="5105" y="14345"/>
                  </a:cubicBezTo>
                  <a:cubicBezTo>
                    <a:pt x="4611" y="14626"/>
                    <a:pt x="4611" y="14626"/>
                    <a:pt x="4611" y="14626"/>
                  </a:cubicBezTo>
                  <a:cubicBezTo>
                    <a:pt x="4611" y="14626"/>
                    <a:pt x="4611" y="14626"/>
                    <a:pt x="4611" y="14626"/>
                  </a:cubicBezTo>
                  <a:cubicBezTo>
                    <a:pt x="4608" y="14615"/>
                    <a:pt x="4603" y="14600"/>
                    <a:pt x="4598" y="14582"/>
                  </a:cubicBezTo>
                  <a:close/>
                  <a:moveTo>
                    <a:pt x="5063" y="14155"/>
                  </a:moveTo>
                  <a:cubicBezTo>
                    <a:pt x="5026" y="14093"/>
                    <a:pt x="5005" y="14036"/>
                    <a:pt x="4994" y="14000"/>
                  </a:cubicBezTo>
                  <a:cubicBezTo>
                    <a:pt x="5010" y="13988"/>
                    <a:pt x="5052" y="13956"/>
                    <a:pt x="5095" y="13923"/>
                  </a:cubicBezTo>
                  <a:cubicBezTo>
                    <a:pt x="5149" y="13882"/>
                    <a:pt x="5206" y="13840"/>
                    <a:pt x="5212" y="13836"/>
                  </a:cubicBezTo>
                  <a:cubicBezTo>
                    <a:pt x="5212" y="13836"/>
                    <a:pt x="5212" y="13836"/>
                    <a:pt x="5212" y="13836"/>
                  </a:cubicBezTo>
                  <a:cubicBezTo>
                    <a:pt x="5212" y="13835"/>
                    <a:pt x="5212" y="13835"/>
                    <a:pt x="5212" y="13835"/>
                  </a:cubicBezTo>
                  <a:cubicBezTo>
                    <a:pt x="5216" y="13833"/>
                    <a:pt x="5215" y="13833"/>
                    <a:pt x="5216" y="13832"/>
                  </a:cubicBezTo>
                  <a:cubicBezTo>
                    <a:pt x="5217" y="13831"/>
                    <a:pt x="5217" y="13830"/>
                    <a:pt x="5218" y="13829"/>
                  </a:cubicBezTo>
                  <a:cubicBezTo>
                    <a:pt x="5219" y="13827"/>
                    <a:pt x="5221" y="13823"/>
                    <a:pt x="5224" y="13819"/>
                  </a:cubicBezTo>
                  <a:cubicBezTo>
                    <a:pt x="5229" y="13811"/>
                    <a:pt x="5235" y="13799"/>
                    <a:pt x="5243" y="13785"/>
                  </a:cubicBezTo>
                  <a:cubicBezTo>
                    <a:pt x="5259" y="13757"/>
                    <a:pt x="5279" y="13720"/>
                    <a:pt x="5299" y="13683"/>
                  </a:cubicBezTo>
                  <a:cubicBezTo>
                    <a:pt x="5334" y="13620"/>
                    <a:pt x="5368" y="13557"/>
                    <a:pt x="5377" y="13539"/>
                  </a:cubicBezTo>
                  <a:cubicBezTo>
                    <a:pt x="5417" y="13545"/>
                    <a:pt x="5417" y="13545"/>
                    <a:pt x="5417" y="13545"/>
                  </a:cubicBezTo>
                  <a:cubicBezTo>
                    <a:pt x="5462" y="13554"/>
                    <a:pt x="5618" y="13585"/>
                    <a:pt x="5666" y="13592"/>
                  </a:cubicBezTo>
                  <a:cubicBezTo>
                    <a:pt x="5632" y="13894"/>
                    <a:pt x="5632" y="13894"/>
                    <a:pt x="5632" y="13894"/>
                  </a:cubicBezTo>
                  <a:cubicBezTo>
                    <a:pt x="5610" y="13985"/>
                    <a:pt x="5610" y="13985"/>
                    <a:pt x="5610" y="13985"/>
                  </a:cubicBezTo>
                  <a:cubicBezTo>
                    <a:pt x="5144" y="14322"/>
                    <a:pt x="5144" y="14322"/>
                    <a:pt x="5144" y="14322"/>
                  </a:cubicBezTo>
                  <a:cubicBezTo>
                    <a:pt x="5130" y="14285"/>
                    <a:pt x="5103" y="14223"/>
                    <a:pt x="5063" y="14155"/>
                  </a:cubicBezTo>
                  <a:close/>
                  <a:moveTo>
                    <a:pt x="5667" y="14028"/>
                  </a:moveTo>
                  <a:cubicBezTo>
                    <a:pt x="5668" y="14024"/>
                    <a:pt x="5668" y="14024"/>
                    <a:pt x="5668" y="14024"/>
                  </a:cubicBezTo>
                  <a:cubicBezTo>
                    <a:pt x="5789" y="13937"/>
                    <a:pt x="5789" y="13937"/>
                    <a:pt x="5789" y="13937"/>
                  </a:cubicBezTo>
                  <a:cubicBezTo>
                    <a:pt x="5838" y="13937"/>
                    <a:pt x="6047" y="13936"/>
                    <a:pt x="6214" y="13930"/>
                  </a:cubicBezTo>
                  <a:cubicBezTo>
                    <a:pt x="6183" y="14201"/>
                    <a:pt x="6183" y="14201"/>
                    <a:pt x="6183" y="14201"/>
                  </a:cubicBezTo>
                  <a:cubicBezTo>
                    <a:pt x="6182" y="14201"/>
                    <a:pt x="6181" y="14201"/>
                    <a:pt x="6181" y="14201"/>
                  </a:cubicBezTo>
                  <a:cubicBezTo>
                    <a:pt x="6177" y="14200"/>
                    <a:pt x="6177" y="14200"/>
                    <a:pt x="6177" y="14200"/>
                  </a:cubicBezTo>
                  <a:cubicBezTo>
                    <a:pt x="6119" y="14295"/>
                    <a:pt x="6119" y="14295"/>
                    <a:pt x="6119" y="14295"/>
                  </a:cubicBezTo>
                  <a:cubicBezTo>
                    <a:pt x="6038" y="14569"/>
                    <a:pt x="6038" y="14569"/>
                    <a:pt x="6038" y="14569"/>
                  </a:cubicBezTo>
                  <a:cubicBezTo>
                    <a:pt x="5605" y="14188"/>
                    <a:pt x="5605" y="14188"/>
                    <a:pt x="5605" y="14188"/>
                  </a:cubicBezTo>
                  <a:lnTo>
                    <a:pt x="5667" y="14028"/>
                  </a:lnTo>
                  <a:close/>
                  <a:moveTo>
                    <a:pt x="6132" y="14301"/>
                  </a:moveTo>
                  <a:cubicBezTo>
                    <a:pt x="6185" y="14215"/>
                    <a:pt x="6185" y="14215"/>
                    <a:pt x="6185" y="14215"/>
                  </a:cubicBezTo>
                  <a:cubicBezTo>
                    <a:pt x="6211" y="14217"/>
                    <a:pt x="6354" y="14226"/>
                    <a:pt x="6392" y="14227"/>
                  </a:cubicBezTo>
                  <a:cubicBezTo>
                    <a:pt x="6307" y="14610"/>
                    <a:pt x="6307" y="14610"/>
                    <a:pt x="6307" y="14610"/>
                  </a:cubicBezTo>
                  <a:cubicBezTo>
                    <a:pt x="6180" y="14610"/>
                    <a:pt x="6093" y="14610"/>
                    <a:pt x="6093" y="14610"/>
                  </a:cubicBezTo>
                  <a:cubicBezTo>
                    <a:pt x="6093" y="14617"/>
                    <a:pt x="6093" y="14617"/>
                    <a:pt x="6093" y="14617"/>
                  </a:cubicBezTo>
                  <a:cubicBezTo>
                    <a:pt x="6050" y="14579"/>
                    <a:pt x="6050" y="14579"/>
                    <a:pt x="6050" y="14579"/>
                  </a:cubicBezTo>
                  <a:lnTo>
                    <a:pt x="6132" y="14301"/>
                  </a:lnTo>
                  <a:close/>
                  <a:moveTo>
                    <a:pt x="6335" y="14675"/>
                  </a:moveTo>
                  <a:cubicBezTo>
                    <a:pt x="6346" y="14859"/>
                    <a:pt x="6346" y="14859"/>
                    <a:pt x="6346" y="14859"/>
                  </a:cubicBezTo>
                  <a:cubicBezTo>
                    <a:pt x="6122" y="14847"/>
                    <a:pt x="6122" y="14847"/>
                    <a:pt x="6122" y="14847"/>
                  </a:cubicBezTo>
                  <a:cubicBezTo>
                    <a:pt x="6108" y="14676"/>
                    <a:pt x="6108" y="14676"/>
                    <a:pt x="6108" y="14676"/>
                  </a:cubicBezTo>
                  <a:cubicBezTo>
                    <a:pt x="6140" y="14676"/>
                    <a:pt x="6225" y="14676"/>
                    <a:pt x="6335" y="14675"/>
                  </a:cubicBezTo>
                  <a:close/>
                  <a:moveTo>
                    <a:pt x="7281" y="13363"/>
                  </a:moveTo>
                  <a:cubicBezTo>
                    <a:pt x="7248" y="13355"/>
                    <a:pt x="7185" y="13340"/>
                    <a:pt x="7120" y="13324"/>
                  </a:cubicBezTo>
                  <a:cubicBezTo>
                    <a:pt x="7032" y="13302"/>
                    <a:pt x="6941" y="13280"/>
                    <a:pt x="6925" y="13275"/>
                  </a:cubicBezTo>
                  <a:cubicBezTo>
                    <a:pt x="6925" y="13273"/>
                    <a:pt x="6925" y="13270"/>
                    <a:pt x="6925" y="13266"/>
                  </a:cubicBezTo>
                  <a:cubicBezTo>
                    <a:pt x="6925" y="13213"/>
                    <a:pt x="6937" y="13020"/>
                    <a:pt x="6947" y="12848"/>
                  </a:cubicBezTo>
                  <a:cubicBezTo>
                    <a:pt x="7318" y="12906"/>
                    <a:pt x="7318" y="12906"/>
                    <a:pt x="7318" y="12906"/>
                  </a:cubicBezTo>
                  <a:lnTo>
                    <a:pt x="7281" y="13363"/>
                  </a:lnTo>
                  <a:close/>
                  <a:moveTo>
                    <a:pt x="6929" y="12919"/>
                  </a:moveTo>
                  <a:cubicBezTo>
                    <a:pt x="6899" y="12917"/>
                    <a:pt x="6642" y="12900"/>
                    <a:pt x="6548" y="12894"/>
                  </a:cubicBezTo>
                  <a:cubicBezTo>
                    <a:pt x="6592" y="12481"/>
                    <a:pt x="6592" y="12481"/>
                    <a:pt x="6592" y="12481"/>
                  </a:cubicBezTo>
                  <a:cubicBezTo>
                    <a:pt x="6952" y="12562"/>
                    <a:pt x="6952" y="12562"/>
                    <a:pt x="6952" y="12562"/>
                  </a:cubicBezTo>
                  <a:cubicBezTo>
                    <a:pt x="6950" y="12594"/>
                    <a:pt x="6939" y="12756"/>
                    <a:pt x="6929" y="12919"/>
                  </a:cubicBezTo>
                  <a:close/>
                  <a:moveTo>
                    <a:pt x="6593" y="12467"/>
                  </a:moveTo>
                  <a:cubicBezTo>
                    <a:pt x="6651" y="11922"/>
                    <a:pt x="6651" y="11922"/>
                    <a:pt x="6651" y="11922"/>
                  </a:cubicBezTo>
                  <a:cubicBezTo>
                    <a:pt x="6758" y="11945"/>
                    <a:pt x="7043" y="12005"/>
                    <a:pt x="7107" y="12016"/>
                  </a:cubicBezTo>
                  <a:cubicBezTo>
                    <a:pt x="7109" y="12290"/>
                    <a:pt x="7109" y="12290"/>
                    <a:pt x="7109" y="12290"/>
                  </a:cubicBezTo>
                  <a:cubicBezTo>
                    <a:pt x="6956" y="12549"/>
                    <a:pt x="6956" y="12549"/>
                    <a:pt x="6956" y="12549"/>
                  </a:cubicBezTo>
                  <a:lnTo>
                    <a:pt x="6593" y="12467"/>
                  </a:lnTo>
                  <a:close/>
                  <a:moveTo>
                    <a:pt x="7107" y="11963"/>
                  </a:moveTo>
                  <a:cubicBezTo>
                    <a:pt x="7106" y="11964"/>
                    <a:pt x="7106" y="11964"/>
                    <a:pt x="7106" y="11964"/>
                  </a:cubicBezTo>
                  <a:cubicBezTo>
                    <a:pt x="7107" y="12002"/>
                    <a:pt x="7107" y="12002"/>
                    <a:pt x="7107" y="12002"/>
                  </a:cubicBezTo>
                  <a:cubicBezTo>
                    <a:pt x="7071" y="11996"/>
                    <a:pt x="6965" y="11974"/>
                    <a:pt x="6861" y="11952"/>
                  </a:cubicBezTo>
                  <a:cubicBezTo>
                    <a:pt x="6779" y="11935"/>
                    <a:pt x="6699" y="11918"/>
                    <a:pt x="6653" y="11908"/>
                  </a:cubicBezTo>
                  <a:cubicBezTo>
                    <a:pt x="6684" y="11618"/>
                    <a:pt x="6684" y="11618"/>
                    <a:pt x="6684" y="11618"/>
                  </a:cubicBezTo>
                  <a:cubicBezTo>
                    <a:pt x="6972" y="11652"/>
                    <a:pt x="6972" y="11652"/>
                    <a:pt x="6972" y="11652"/>
                  </a:cubicBezTo>
                  <a:cubicBezTo>
                    <a:pt x="6987" y="11661"/>
                    <a:pt x="7124" y="11746"/>
                    <a:pt x="7166" y="11769"/>
                  </a:cubicBezTo>
                  <a:cubicBezTo>
                    <a:pt x="7169" y="11770"/>
                    <a:pt x="7171" y="11771"/>
                    <a:pt x="7173" y="11772"/>
                  </a:cubicBezTo>
                  <a:cubicBezTo>
                    <a:pt x="7135" y="11883"/>
                    <a:pt x="7107" y="11963"/>
                    <a:pt x="7107" y="11963"/>
                  </a:cubicBezTo>
                  <a:close/>
                  <a:moveTo>
                    <a:pt x="7173" y="11757"/>
                  </a:moveTo>
                  <a:cubicBezTo>
                    <a:pt x="7167" y="11753"/>
                    <a:pt x="7158" y="11749"/>
                    <a:pt x="7148" y="11743"/>
                  </a:cubicBezTo>
                  <a:cubicBezTo>
                    <a:pt x="7129" y="11731"/>
                    <a:pt x="7103" y="11716"/>
                    <a:pt x="7078" y="11701"/>
                  </a:cubicBezTo>
                  <a:cubicBezTo>
                    <a:pt x="7028" y="11670"/>
                    <a:pt x="6979" y="11639"/>
                    <a:pt x="6979" y="11639"/>
                  </a:cubicBezTo>
                  <a:cubicBezTo>
                    <a:pt x="6977" y="11638"/>
                    <a:pt x="6977" y="11638"/>
                    <a:pt x="6977" y="11638"/>
                  </a:cubicBezTo>
                  <a:cubicBezTo>
                    <a:pt x="6685" y="11604"/>
                    <a:pt x="6685" y="11604"/>
                    <a:pt x="6685" y="11604"/>
                  </a:cubicBezTo>
                  <a:cubicBezTo>
                    <a:pt x="6728" y="11204"/>
                    <a:pt x="6728" y="11204"/>
                    <a:pt x="6728" y="11204"/>
                  </a:cubicBezTo>
                  <a:cubicBezTo>
                    <a:pt x="7062" y="11369"/>
                    <a:pt x="7062" y="11369"/>
                    <a:pt x="7062" y="11369"/>
                  </a:cubicBezTo>
                  <a:cubicBezTo>
                    <a:pt x="7311" y="11374"/>
                    <a:pt x="7311" y="11374"/>
                    <a:pt x="7311" y="11374"/>
                  </a:cubicBezTo>
                  <a:cubicBezTo>
                    <a:pt x="7293" y="11428"/>
                    <a:pt x="7273" y="11485"/>
                    <a:pt x="7253" y="11542"/>
                  </a:cubicBezTo>
                  <a:cubicBezTo>
                    <a:pt x="7227" y="11618"/>
                    <a:pt x="7201" y="11693"/>
                    <a:pt x="7178" y="11759"/>
                  </a:cubicBezTo>
                  <a:cubicBezTo>
                    <a:pt x="7176" y="11758"/>
                    <a:pt x="7175" y="11758"/>
                    <a:pt x="7173" y="11757"/>
                  </a:cubicBezTo>
                  <a:close/>
                  <a:moveTo>
                    <a:pt x="7066" y="11355"/>
                  </a:moveTo>
                  <a:cubicBezTo>
                    <a:pt x="6729" y="11189"/>
                    <a:pt x="6729" y="11189"/>
                    <a:pt x="6729" y="11189"/>
                  </a:cubicBezTo>
                  <a:cubicBezTo>
                    <a:pt x="6756" y="10939"/>
                    <a:pt x="6756" y="10939"/>
                    <a:pt x="6756" y="10939"/>
                  </a:cubicBezTo>
                  <a:cubicBezTo>
                    <a:pt x="6763" y="10940"/>
                    <a:pt x="6771" y="10941"/>
                    <a:pt x="6781" y="10943"/>
                  </a:cubicBezTo>
                  <a:cubicBezTo>
                    <a:pt x="6817" y="10950"/>
                    <a:pt x="6870" y="10962"/>
                    <a:pt x="6935" y="10980"/>
                  </a:cubicBezTo>
                  <a:cubicBezTo>
                    <a:pt x="7053" y="11011"/>
                    <a:pt x="7212" y="11063"/>
                    <a:pt x="7389" y="11143"/>
                  </a:cubicBezTo>
                  <a:cubicBezTo>
                    <a:pt x="7388" y="11146"/>
                    <a:pt x="7388" y="11148"/>
                    <a:pt x="7387" y="11151"/>
                  </a:cubicBezTo>
                  <a:cubicBezTo>
                    <a:pt x="7379" y="11175"/>
                    <a:pt x="7367" y="11209"/>
                    <a:pt x="7354" y="11249"/>
                  </a:cubicBezTo>
                  <a:cubicBezTo>
                    <a:pt x="7342" y="11283"/>
                    <a:pt x="7329" y="11320"/>
                    <a:pt x="7316" y="11361"/>
                  </a:cubicBezTo>
                  <a:lnTo>
                    <a:pt x="7066" y="11355"/>
                  </a:lnTo>
                  <a:close/>
                  <a:moveTo>
                    <a:pt x="7268" y="11021"/>
                  </a:moveTo>
                  <a:cubicBezTo>
                    <a:pt x="7349" y="10509"/>
                    <a:pt x="7349" y="10509"/>
                    <a:pt x="7349" y="10509"/>
                  </a:cubicBezTo>
                  <a:cubicBezTo>
                    <a:pt x="7453" y="10555"/>
                    <a:pt x="7545" y="10595"/>
                    <a:pt x="7596" y="10616"/>
                  </a:cubicBezTo>
                  <a:cubicBezTo>
                    <a:pt x="7605" y="10620"/>
                    <a:pt x="7613" y="10623"/>
                    <a:pt x="7619" y="10626"/>
                  </a:cubicBezTo>
                  <a:cubicBezTo>
                    <a:pt x="7556" y="10848"/>
                    <a:pt x="7500" y="11049"/>
                    <a:pt x="7482" y="11114"/>
                  </a:cubicBezTo>
                  <a:cubicBezTo>
                    <a:pt x="7480" y="11113"/>
                    <a:pt x="7479" y="11113"/>
                    <a:pt x="7478" y="11112"/>
                  </a:cubicBezTo>
                  <a:cubicBezTo>
                    <a:pt x="7405" y="11077"/>
                    <a:pt x="7335" y="11047"/>
                    <a:pt x="7268" y="11021"/>
                  </a:cubicBezTo>
                  <a:close/>
                  <a:moveTo>
                    <a:pt x="7601" y="10603"/>
                  </a:moveTo>
                  <a:cubicBezTo>
                    <a:pt x="7577" y="10593"/>
                    <a:pt x="7543" y="10579"/>
                    <a:pt x="7504" y="10562"/>
                  </a:cubicBezTo>
                  <a:cubicBezTo>
                    <a:pt x="7424" y="10527"/>
                    <a:pt x="7320" y="10481"/>
                    <a:pt x="7217" y="10435"/>
                  </a:cubicBezTo>
                  <a:cubicBezTo>
                    <a:pt x="7051" y="10360"/>
                    <a:pt x="6887" y="10287"/>
                    <a:pt x="6828" y="10260"/>
                  </a:cubicBezTo>
                  <a:cubicBezTo>
                    <a:pt x="6855" y="10005"/>
                    <a:pt x="6855" y="10005"/>
                    <a:pt x="6855" y="10005"/>
                  </a:cubicBezTo>
                  <a:cubicBezTo>
                    <a:pt x="6934" y="9950"/>
                    <a:pt x="6934" y="9950"/>
                    <a:pt x="6934" y="9950"/>
                  </a:cubicBezTo>
                  <a:cubicBezTo>
                    <a:pt x="7686" y="10390"/>
                    <a:pt x="7686" y="10390"/>
                    <a:pt x="7686" y="10390"/>
                  </a:cubicBezTo>
                  <a:cubicBezTo>
                    <a:pt x="7676" y="10425"/>
                    <a:pt x="7666" y="10460"/>
                    <a:pt x="7656" y="10495"/>
                  </a:cubicBezTo>
                  <a:cubicBezTo>
                    <a:pt x="7645" y="10535"/>
                    <a:pt x="7634" y="10574"/>
                    <a:pt x="7623" y="10612"/>
                  </a:cubicBezTo>
                  <a:cubicBezTo>
                    <a:pt x="7617" y="10610"/>
                    <a:pt x="7610" y="10607"/>
                    <a:pt x="7601" y="10603"/>
                  </a:cubicBezTo>
                  <a:close/>
                  <a:moveTo>
                    <a:pt x="6947" y="9942"/>
                  </a:moveTo>
                  <a:cubicBezTo>
                    <a:pt x="7209" y="9761"/>
                    <a:pt x="7209" y="9761"/>
                    <a:pt x="7209" y="9761"/>
                  </a:cubicBezTo>
                  <a:cubicBezTo>
                    <a:pt x="7295" y="9819"/>
                    <a:pt x="7645" y="10054"/>
                    <a:pt x="7747" y="10121"/>
                  </a:cubicBezTo>
                  <a:cubicBezTo>
                    <a:pt x="7753" y="10125"/>
                    <a:pt x="7757" y="10128"/>
                    <a:pt x="7761" y="10130"/>
                  </a:cubicBezTo>
                  <a:cubicBezTo>
                    <a:pt x="7739" y="10205"/>
                    <a:pt x="7715" y="10289"/>
                    <a:pt x="7690" y="10376"/>
                  </a:cubicBezTo>
                  <a:lnTo>
                    <a:pt x="6947" y="9942"/>
                  </a:lnTo>
                  <a:close/>
                  <a:moveTo>
                    <a:pt x="7755" y="10109"/>
                  </a:moveTo>
                  <a:cubicBezTo>
                    <a:pt x="7738" y="10099"/>
                    <a:pt x="7715" y="10083"/>
                    <a:pt x="7687" y="10065"/>
                  </a:cubicBezTo>
                  <a:cubicBezTo>
                    <a:pt x="7632" y="10028"/>
                    <a:pt x="7559" y="9979"/>
                    <a:pt x="7486" y="9930"/>
                  </a:cubicBezTo>
                  <a:cubicBezTo>
                    <a:pt x="7377" y="9857"/>
                    <a:pt x="7268" y="9784"/>
                    <a:pt x="7221" y="9752"/>
                  </a:cubicBezTo>
                  <a:cubicBezTo>
                    <a:pt x="7257" y="9728"/>
                    <a:pt x="7257" y="9728"/>
                    <a:pt x="7257" y="9728"/>
                  </a:cubicBezTo>
                  <a:cubicBezTo>
                    <a:pt x="7364" y="9517"/>
                    <a:pt x="7364" y="9517"/>
                    <a:pt x="7364" y="9517"/>
                  </a:cubicBezTo>
                  <a:cubicBezTo>
                    <a:pt x="7859" y="9838"/>
                    <a:pt x="7859" y="9838"/>
                    <a:pt x="7859" y="9838"/>
                  </a:cubicBezTo>
                  <a:cubicBezTo>
                    <a:pt x="7858" y="9839"/>
                    <a:pt x="7856" y="9842"/>
                    <a:pt x="7856" y="9843"/>
                  </a:cubicBezTo>
                  <a:cubicBezTo>
                    <a:pt x="7856" y="9843"/>
                    <a:pt x="7856" y="9843"/>
                    <a:pt x="7856" y="9843"/>
                  </a:cubicBezTo>
                  <a:cubicBezTo>
                    <a:pt x="7855" y="9843"/>
                    <a:pt x="7854" y="9844"/>
                    <a:pt x="7853" y="9845"/>
                  </a:cubicBezTo>
                  <a:cubicBezTo>
                    <a:pt x="7851" y="9847"/>
                    <a:pt x="7850" y="9848"/>
                    <a:pt x="7850" y="9849"/>
                  </a:cubicBezTo>
                  <a:cubicBezTo>
                    <a:pt x="7848" y="9851"/>
                    <a:pt x="7847" y="9853"/>
                    <a:pt x="7847" y="9855"/>
                  </a:cubicBezTo>
                  <a:cubicBezTo>
                    <a:pt x="7845" y="9858"/>
                    <a:pt x="7844" y="9862"/>
                    <a:pt x="7842" y="9867"/>
                  </a:cubicBezTo>
                  <a:cubicBezTo>
                    <a:pt x="7838" y="9877"/>
                    <a:pt x="7833" y="9891"/>
                    <a:pt x="7828" y="9909"/>
                  </a:cubicBezTo>
                  <a:cubicBezTo>
                    <a:pt x="7817" y="9944"/>
                    <a:pt x="7801" y="9994"/>
                    <a:pt x="7784" y="10054"/>
                  </a:cubicBezTo>
                  <a:cubicBezTo>
                    <a:pt x="7778" y="10074"/>
                    <a:pt x="7772" y="10095"/>
                    <a:pt x="7765" y="10116"/>
                  </a:cubicBezTo>
                  <a:cubicBezTo>
                    <a:pt x="7762" y="10114"/>
                    <a:pt x="7759" y="10112"/>
                    <a:pt x="7755" y="10109"/>
                  </a:cubicBezTo>
                  <a:close/>
                  <a:moveTo>
                    <a:pt x="7370" y="9504"/>
                  </a:moveTo>
                  <a:cubicBezTo>
                    <a:pt x="7505" y="9238"/>
                    <a:pt x="7505" y="9238"/>
                    <a:pt x="7505" y="9238"/>
                  </a:cubicBezTo>
                  <a:cubicBezTo>
                    <a:pt x="8026" y="9589"/>
                    <a:pt x="8026" y="9589"/>
                    <a:pt x="8026" y="9589"/>
                  </a:cubicBezTo>
                  <a:cubicBezTo>
                    <a:pt x="8022" y="9595"/>
                    <a:pt x="8017" y="9602"/>
                    <a:pt x="8013" y="9609"/>
                  </a:cubicBezTo>
                  <a:cubicBezTo>
                    <a:pt x="7945" y="9712"/>
                    <a:pt x="7892" y="9793"/>
                    <a:pt x="7867" y="9827"/>
                  </a:cubicBezTo>
                  <a:lnTo>
                    <a:pt x="7370" y="9504"/>
                  </a:lnTo>
                  <a:close/>
                  <a:moveTo>
                    <a:pt x="7512" y="9225"/>
                  </a:moveTo>
                  <a:cubicBezTo>
                    <a:pt x="7625" y="9003"/>
                    <a:pt x="7625" y="9003"/>
                    <a:pt x="7625" y="9003"/>
                  </a:cubicBezTo>
                  <a:cubicBezTo>
                    <a:pt x="8176" y="9359"/>
                    <a:pt x="8176" y="9359"/>
                    <a:pt x="8176" y="9359"/>
                  </a:cubicBezTo>
                  <a:cubicBezTo>
                    <a:pt x="8125" y="9437"/>
                    <a:pt x="8077" y="9511"/>
                    <a:pt x="8034" y="9577"/>
                  </a:cubicBezTo>
                  <a:lnTo>
                    <a:pt x="7512" y="9225"/>
                  </a:lnTo>
                  <a:close/>
                  <a:moveTo>
                    <a:pt x="7582" y="8943"/>
                  </a:moveTo>
                  <a:cubicBezTo>
                    <a:pt x="7565" y="8934"/>
                    <a:pt x="7565" y="8934"/>
                    <a:pt x="7565" y="8934"/>
                  </a:cubicBezTo>
                  <a:cubicBezTo>
                    <a:pt x="7648" y="8773"/>
                    <a:pt x="7648" y="8773"/>
                    <a:pt x="7648" y="8773"/>
                  </a:cubicBezTo>
                  <a:cubicBezTo>
                    <a:pt x="7664" y="8781"/>
                    <a:pt x="7664" y="8781"/>
                    <a:pt x="7664" y="8781"/>
                  </a:cubicBezTo>
                  <a:lnTo>
                    <a:pt x="7582" y="8943"/>
                  </a:lnTo>
                  <a:close/>
                  <a:moveTo>
                    <a:pt x="7654" y="8761"/>
                  </a:moveTo>
                  <a:cubicBezTo>
                    <a:pt x="7733" y="8605"/>
                    <a:pt x="7733" y="8605"/>
                    <a:pt x="7733" y="8605"/>
                  </a:cubicBezTo>
                  <a:cubicBezTo>
                    <a:pt x="7749" y="8613"/>
                    <a:pt x="7749" y="8613"/>
                    <a:pt x="7749" y="8613"/>
                  </a:cubicBezTo>
                  <a:cubicBezTo>
                    <a:pt x="7670" y="8769"/>
                    <a:pt x="7670" y="8769"/>
                    <a:pt x="7670" y="8769"/>
                  </a:cubicBezTo>
                  <a:lnTo>
                    <a:pt x="7654" y="8761"/>
                  </a:lnTo>
                  <a:close/>
                  <a:moveTo>
                    <a:pt x="7740" y="8592"/>
                  </a:moveTo>
                  <a:cubicBezTo>
                    <a:pt x="7820" y="8435"/>
                    <a:pt x="7820" y="8435"/>
                    <a:pt x="7820" y="8435"/>
                  </a:cubicBezTo>
                  <a:cubicBezTo>
                    <a:pt x="7836" y="8442"/>
                    <a:pt x="7836" y="8442"/>
                    <a:pt x="7836" y="8442"/>
                  </a:cubicBezTo>
                  <a:cubicBezTo>
                    <a:pt x="7756" y="8600"/>
                    <a:pt x="7756" y="8600"/>
                    <a:pt x="7756" y="8600"/>
                  </a:cubicBezTo>
                  <a:lnTo>
                    <a:pt x="7740" y="8592"/>
                  </a:lnTo>
                  <a:close/>
                  <a:moveTo>
                    <a:pt x="7826" y="8423"/>
                  </a:moveTo>
                  <a:cubicBezTo>
                    <a:pt x="7896" y="8286"/>
                    <a:pt x="7896" y="8286"/>
                    <a:pt x="7896" y="8286"/>
                  </a:cubicBezTo>
                  <a:cubicBezTo>
                    <a:pt x="7911" y="8293"/>
                    <a:pt x="7911" y="8293"/>
                    <a:pt x="7911" y="8293"/>
                  </a:cubicBezTo>
                  <a:cubicBezTo>
                    <a:pt x="7842" y="8430"/>
                    <a:pt x="7842" y="8430"/>
                    <a:pt x="7842" y="8430"/>
                  </a:cubicBezTo>
                  <a:lnTo>
                    <a:pt x="7826" y="8423"/>
                  </a:lnTo>
                  <a:close/>
                  <a:moveTo>
                    <a:pt x="7902" y="8273"/>
                  </a:moveTo>
                  <a:cubicBezTo>
                    <a:pt x="7970" y="8140"/>
                    <a:pt x="7970" y="8140"/>
                    <a:pt x="7970" y="8140"/>
                  </a:cubicBezTo>
                  <a:cubicBezTo>
                    <a:pt x="7836" y="8068"/>
                    <a:pt x="7836" y="8068"/>
                    <a:pt x="7836" y="8068"/>
                  </a:cubicBezTo>
                  <a:cubicBezTo>
                    <a:pt x="7765" y="8206"/>
                    <a:pt x="7765" y="8206"/>
                    <a:pt x="7765" y="8206"/>
                  </a:cubicBezTo>
                  <a:cubicBezTo>
                    <a:pt x="7476" y="8063"/>
                    <a:pt x="7476" y="8063"/>
                    <a:pt x="7476" y="8063"/>
                  </a:cubicBezTo>
                  <a:cubicBezTo>
                    <a:pt x="7534" y="7883"/>
                    <a:pt x="7534" y="7883"/>
                    <a:pt x="7534" y="7883"/>
                  </a:cubicBezTo>
                  <a:cubicBezTo>
                    <a:pt x="7706" y="7927"/>
                    <a:pt x="7948" y="8078"/>
                    <a:pt x="8002" y="8114"/>
                  </a:cubicBezTo>
                  <a:cubicBezTo>
                    <a:pt x="8002" y="8114"/>
                    <a:pt x="8002" y="8114"/>
                    <a:pt x="8002" y="8114"/>
                  </a:cubicBezTo>
                  <a:cubicBezTo>
                    <a:pt x="7918" y="8281"/>
                    <a:pt x="7918" y="8281"/>
                    <a:pt x="7918" y="8281"/>
                  </a:cubicBezTo>
                  <a:lnTo>
                    <a:pt x="7902" y="8273"/>
                  </a:lnTo>
                  <a:close/>
                  <a:moveTo>
                    <a:pt x="8015" y="7351"/>
                  </a:moveTo>
                  <a:cubicBezTo>
                    <a:pt x="8068" y="7320"/>
                    <a:pt x="8115" y="7285"/>
                    <a:pt x="8158" y="7248"/>
                  </a:cubicBezTo>
                  <a:cubicBezTo>
                    <a:pt x="8168" y="7255"/>
                    <a:pt x="8265" y="7327"/>
                    <a:pt x="8358" y="7394"/>
                  </a:cubicBezTo>
                  <a:cubicBezTo>
                    <a:pt x="8358" y="7394"/>
                    <a:pt x="8358" y="7394"/>
                    <a:pt x="8357" y="7395"/>
                  </a:cubicBezTo>
                  <a:cubicBezTo>
                    <a:pt x="8356" y="7398"/>
                    <a:pt x="8354" y="7403"/>
                    <a:pt x="8352" y="7408"/>
                  </a:cubicBezTo>
                  <a:cubicBezTo>
                    <a:pt x="8348" y="7419"/>
                    <a:pt x="8343" y="7434"/>
                    <a:pt x="8338" y="7451"/>
                  </a:cubicBezTo>
                  <a:cubicBezTo>
                    <a:pt x="8326" y="7484"/>
                    <a:pt x="8313" y="7523"/>
                    <a:pt x="8303" y="7551"/>
                  </a:cubicBezTo>
                  <a:cubicBezTo>
                    <a:pt x="8297" y="7567"/>
                    <a:pt x="8292" y="7579"/>
                    <a:pt x="8290" y="7583"/>
                  </a:cubicBezTo>
                  <a:cubicBezTo>
                    <a:pt x="8289" y="7583"/>
                    <a:pt x="8288" y="7583"/>
                    <a:pt x="8288" y="7583"/>
                  </a:cubicBezTo>
                  <a:lnTo>
                    <a:pt x="8015" y="7351"/>
                  </a:lnTo>
                  <a:close/>
                  <a:moveTo>
                    <a:pt x="8466" y="6785"/>
                  </a:moveTo>
                  <a:cubicBezTo>
                    <a:pt x="8460" y="6784"/>
                    <a:pt x="8460" y="6784"/>
                    <a:pt x="8460" y="6784"/>
                  </a:cubicBezTo>
                  <a:cubicBezTo>
                    <a:pt x="8459" y="6790"/>
                    <a:pt x="8459" y="6790"/>
                    <a:pt x="8459" y="6790"/>
                  </a:cubicBezTo>
                  <a:cubicBezTo>
                    <a:pt x="8458" y="6790"/>
                    <a:pt x="8426" y="6890"/>
                    <a:pt x="8344" y="7015"/>
                  </a:cubicBezTo>
                  <a:cubicBezTo>
                    <a:pt x="8261" y="7139"/>
                    <a:pt x="8130" y="7287"/>
                    <a:pt x="7933" y="7380"/>
                  </a:cubicBezTo>
                  <a:cubicBezTo>
                    <a:pt x="7586" y="7544"/>
                    <a:pt x="7241" y="7609"/>
                    <a:pt x="7156" y="7625"/>
                  </a:cubicBezTo>
                  <a:cubicBezTo>
                    <a:pt x="7144" y="7627"/>
                    <a:pt x="7139" y="7628"/>
                    <a:pt x="7135" y="7629"/>
                  </a:cubicBezTo>
                  <a:cubicBezTo>
                    <a:pt x="7127" y="7636"/>
                    <a:pt x="7131" y="7638"/>
                    <a:pt x="7130" y="7643"/>
                  </a:cubicBezTo>
                  <a:cubicBezTo>
                    <a:pt x="7130" y="7655"/>
                    <a:pt x="7132" y="7674"/>
                    <a:pt x="7135" y="7692"/>
                  </a:cubicBezTo>
                  <a:cubicBezTo>
                    <a:pt x="7077" y="7695"/>
                    <a:pt x="7022" y="7702"/>
                    <a:pt x="6972" y="7711"/>
                  </a:cubicBezTo>
                  <a:cubicBezTo>
                    <a:pt x="6882" y="7728"/>
                    <a:pt x="6816" y="7768"/>
                    <a:pt x="6774" y="7805"/>
                  </a:cubicBezTo>
                  <a:cubicBezTo>
                    <a:pt x="6731" y="7842"/>
                    <a:pt x="6711" y="7874"/>
                    <a:pt x="6708" y="7880"/>
                  </a:cubicBezTo>
                  <a:cubicBezTo>
                    <a:pt x="6708" y="7881"/>
                    <a:pt x="6708" y="7881"/>
                    <a:pt x="6708" y="7881"/>
                  </a:cubicBezTo>
                  <a:cubicBezTo>
                    <a:pt x="6707" y="7882"/>
                    <a:pt x="6707" y="7882"/>
                    <a:pt x="6707" y="7882"/>
                  </a:cubicBezTo>
                  <a:cubicBezTo>
                    <a:pt x="6679" y="7933"/>
                    <a:pt x="6653" y="7987"/>
                    <a:pt x="6638" y="8020"/>
                  </a:cubicBezTo>
                  <a:cubicBezTo>
                    <a:pt x="6633" y="8020"/>
                    <a:pt x="6627" y="8020"/>
                    <a:pt x="6620" y="8020"/>
                  </a:cubicBezTo>
                  <a:cubicBezTo>
                    <a:pt x="6611" y="8020"/>
                    <a:pt x="6600" y="8020"/>
                    <a:pt x="6589" y="8019"/>
                  </a:cubicBezTo>
                  <a:cubicBezTo>
                    <a:pt x="6586" y="8019"/>
                    <a:pt x="6573" y="8018"/>
                    <a:pt x="6553" y="8017"/>
                  </a:cubicBezTo>
                  <a:cubicBezTo>
                    <a:pt x="6575" y="7937"/>
                    <a:pt x="6599" y="7860"/>
                    <a:pt x="6635" y="7812"/>
                  </a:cubicBezTo>
                  <a:cubicBezTo>
                    <a:pt x="6665" y="7772"/>
                    <a:pt x="6685" y="7745"/>
                    <a:pt x="6706" y="7726"/>
                  </a:cubicBezTo>
                  <a:cubicBezTo>
                    <a:pt x="6726" y="7707"/>
                    <a:pt x="6747" y="7693"/>
                    <a:pt x="6785" y="7677"/>
                  </a:cubicBezTo>
                  <a:cubicBezTo>
                    <a:pt x="6861" y="7644"/>
                    <a:pt x="7006" y="7613"/>
                    <a:pt x="7288" y="7559"/>
                  </a:cubicBezTo>
                  <a:cubicBezTo>
                    <a:pt x="7873" y="7446"/>
                    <a:pt x="8201" y="7160"/>
                    <a:pt x="8341" y="6918"/>
                  </a:cubicBezTo>
                  <a:cubicBezTo>
                    <a:pt x="8392" y="6826"/>
                    <a:pt x="8407" y="6698"/>
                    <a:pt x="8408" y="6536"/>
                  </a:cubicBezTo>
                  <a:cubicBezTo>
                    <a:pt x="8408" y="6523"/>
                    <a:pt x="8408" y="6509"/>
                    <a:pt x="8407" y="6495"/>
                  </a:cubicBezTo>
                  <a:cubicBezTo>
                    <a:pt x="8439" y="6499"/>
                    <a:pt x="8468" y="6502"/>
                    <a:pt x="8492" y="6505"/>
                  </a:cubicBezTo>
                  <a:cubicBezTo>
                    <a:pt x="8505" y="6507"/>
                    <a:pt x="8516" y="6508"/>
                    <a:pt x="8526" y="6509"/>
                  </a:cubicBezTo>
                  <a:cubicBezTo>
                    <a:pt x="8526" y="6516"/>
                    <a:pt x="8526" y="6522"/>
                    <a:pt x="8526" y="6528"/>
                  </a:cubicBezTo>
                  <a:cubicBezTo>
                    <a:pt x="8526" y="6615"/>
                    <a:pt x="8525" y="6704"/>
                    <a:pt x="8523" y="6788"/>
                  </a:cubicBezTo>
                  <a:cubicBezTo>
                    <a:pt x="8497" y="6787"/>
                    <a:pt x="8466" y="6785"/>
                    <a:pt x="8466" y="6785"/>
                  </a:cubicBezTo>
                  <a:close/>
                  <a:moveTo>
                    <a:pt x="8514" y="6442"/>
                  </a:moveTo>
                  <a:cubicBezTo>
                    <a:pt x="8485" y="6438"/>
                    <a:pt x="8448" y="6434"/>
                    <a:pt x="8405" y="6428"/>
                  </a:cubicBezTo>
                  <a:cubicBezTo>
                    <a:pt x="8388" y="6065"/>
                    <a:pt x="8288" y="5583"/>
                    <a:pt x="8109" y="5180"/>
                  </a:cubicBezTo>
                  <a:cubicBezTo>
                    <a:pt x="8078" y="5108"/>
                    <a:pt x="8040" y="5039"/>
                    <a:pt x="7998" y="4973"/>
                  </a:cubicBezTo>
                  <a:cubicBezTo>
                    <a:pt x="8097" y="4977"/>
                    <a:pt x="8097" y="4977"/>
                    <a:pt x="8097" y="4977"/>
                  </a:cubicBezTo>
                  <a:cubicBezTo>
                    <a:pt x="8216" y="5181"/>
                    <a:pt x="8216" y="5181"/>
                    <a:pt x="8216" y="5181"/>
                  </a:cubicBezTo>
                  <a:cubicBezTo>
                    <a:pt x="8328" y="5393"/>
                    <a:pt x="8502" y="5849"/>
                    <a:pt x="8517" y="6149"/>
                  </a:cubicBezTo>
                  <a:cubicBezTo>
                    <a:pt x="8522" y="6231"/>
                    <a:pt x="8525" y="6334"/>
                    <a:pt x="8525" y="6443"/>
                  </a:cubicBezTo>
                  <a:cubicBezTo>
                    <a:pt x="8521" y="6443"/>
                    <a:pt x="8518" y="6442"/>
                    <a:pt x="8514" y="6442"/>
                  </a:cubicBezTo>
                  <a:close/>
                  <a:moveTo>
                    <a:pt x="7955" y="4905"/>
                  </a:moveTo>
                  <a:cubicBezTo>
                    <a:pt x="7869" y="4778"/>
                    <a:pt x="7770" y="4659"/>
                    <a:pt x="7672" y="4548"/>
                  </a:cubicBezTo>
                  <a:cubicBezTo>
                    <a:pt x="7507" y="4360"/>
                    <a:pt x="7342" y="4191"/>
                    <a:pt x="7242" y="4044"/>
                  </a:cubicBezTo>
                  <a:cubicBezTo>
                    <a:pt x="7176" y="3947"/>
                    <a:pt x="7140" y="3861"/>
                    <a:pt x="7141" y="3793"/>
                  </a:cubicBezTo>
                  <a:cubicBezTo>
                    <a:pt x="7141" y="3793"/>
                    <a:pt x="7141" y="3792"/>
                    <a:pt x="7141" y="3792"/>
                  </a:cubicBezTo>
                  <a:cubicBezTo>
                    <a:pt x="7141" y="3781"/>
                    <a:pt x="7141" y="3771"/>
                    <a:pt x="7143" y="3761"/>
                  </a:cubicBezTo>
                  <a:cubicBezTo>
                    <a:pt x="7164" y="3623"/>
                    <a:pt x="7251" y="3534"/>
                    <a:pt x="7364" y="3467"/>
                  </a:cubicBezTo>
                  <a:cubicBezTo>
                    <a:pt x="7373" y="3462"/>
                    <a:pt x="7383" y="3457"/>
                    <a:pt x="7393" y="3452"/>
                  </a:cubicBezTo>
                  <a:cubicBezTo>
                    <a:pt x="7798" y="4464"/>
                    <a:pt x="7798" y="4464"/>
                    <a:pt x="7798" y="4464"/>
                  </a:cubicBezTo>
                  <a:cubicBezTo>
                    <a:pt x="8057" y="4910"/>
                    <a:pt x="8057" y="4910"/>
                    <a:pt x="8057" y="4910"/>
                  </a:cubicBezTo>
                  <a:lnTo>
                    <a:pt x="7955" y="4905"/>
                  </a:lnTo>
                  <a:close/>
                  <a:moveTo>
                    <a:pt x="7356" y="3453"/>
                  </a:moveTo>
                  <a:cubicBezTo>
                    <a:pt x="7241" y="3521"/>
                    <a:pt x="7148" y="3614"/>
                    <a:pt x="7127" y="3759"/>
                  </a:cubicBezTo>
                  <a:cubicBezTo>
                    <a:pt x="7125" y="3769"/>
                    <a:pt x="7124" y="3780"/>
                    <a:pt x="7124" y="3792"/>
                  </a:cubicBezTo>
                  <a:cubicBezTo>
                    <a:pt x="7124" y="3793"/>
                    <a:pt x="7124" y="3793"/>
                    <a:pt x="7124" y="3793"/>
                  </a:cubicBezTo>
                  <a:cubicBezTo>
                    <a:pt x="7124" y="3867"/>
                    <a:pt x="7161" y="3955"/>
                    <a:pt x="7229" y="4053"/>
                  </a:cubicBezTo>
                  <a:cubicBezTo>
                    <a:pt x="7330" y="4203"/>
                    <a:pt x="7495" y="4371"/>
                    <a:pt x="7660" y="4559"/>
                  </a:cubicBezTo>
                  <a:cubicBezTo>
                    <a:pt x="7755" y="4667"/>
                    <a:pt x="7850" y="4782"/>
                    <a:pt x="7934" y="4904"/>
                  </a:cubicBezTo>
                  <a:cubicBezTo>
                    <a:pt x="7778" y="4897"/>
                    <a:pt x="7778" y="4897"/>
                    <a:pt x="7778" y="4897"/>
                  </a:cubicBezTo>
                  <a:cubicBezTo>
                    <a:pt x="7664" y="4743"/>
                    <a:pt x="7530" y="4597"/>
                    <a:pt x="7406" y="4460"/>
                  </a:cubicBezTo>
                  <a:cubicBezTo>
                    <a:pt x="7300" y="4343"/>
                    <a:pt x="7201" y="4232"/>
                    <a:pt x="7127" y="4123"/>
                  </a:cubicBezTo>
                  <a:cubicBezTo>
                    <a:pt x="7053" y="4014"/>
                    <a:pt x="7002" y="3906"/>
                    <a:pt x="7001" y="3792"/>
                  </a:cubicBezTo>
                  <a:cubicBezTo>
                    <a:pt x="7001" y="3775"/>
                    <a:pt x="7002" y="3757"/>
                    <a:pt x="7005" y="3740"/>
                  </a:cubicBezTo>
                  <a:cubicBezTo>
                    <a:pt x="7021" y="3632"/>
                    <a:pt x="7070" y="3542"/>
                    <a:pt x="7133" y="3474"/>
                  </a:cubicBezTo>
                  <a:cubicBezTo>
                    <a:pt x="7193" y="3408"/>
                    <a:pt x="7265" y="3360"/>
                    <a:pt x="7337" y="3323"/>
                  </a:cubicBezTo>
                  <a:cubicBezTo>
                    <a:pt x="7352" y="3353"/>
                    <a:pt x="7362" y="3377"/>
                    <a:pt x="7368" y="3390"/>
                  </a:cubicBezTo>
                  <a:cubicBezTo>
                    <a:pt x="7371" y="3396"/>
                    <a:pt x="7372" y="3400"/>
                    <a:pt x="7372" y="3399"/>
                  </a:cubicBezTo>
                  <a:cubicBezTo>
                    <a:pt x="7387" y="3436"/>
                    <a:pt x="7387" y="3436"/>
                    <a:pt x="7387" y="3436"/>
                  </a:cubicBezTo>
                  <a:cubicBezTo>
                    <a:pt x="7376" y="3442"/>
                    <a:pt x="7366" y="3447"/>
                    <a:pt x="7356" y="3453"/>
                  </a:cubicBezTo>
                  <a:close/>
                  <a:moveTo>
                    <a:pt x="7806" y="4964"/>
                  </a:moveTo>
                  <a:cubicBezTo>
                    <a:pt x="7869" y="5054"/>
                    <a:pt x="7925" y="5147"/>
                    <a:pt x="7967" y="5243"/>
                  </a:cubicBezTo>
                  <a:cubicBezTo>
                    <a:pt x="8132" y="5614"/>
                    <a:pt x="8229" y="6071"/>
                    <a:pt x="8248" y="6410"/>
                  </a:cubicBezTo>
                  <a:cubicBezTo>
                    <a:pt x="8134" y="6397"/>
                    <a:pt x="8000" y="6382"/>
                    <a:pt x="7867" y="6367"/>
                  </a:cubicBezTo>
                  <a:cubicBezTo>
                    <a:pt x="7557" y="6332"/>
                    <a:pt x="7248" y="6298"/>
                    <a:pt x="7181" y="6291"/>
                  </a:cubicBezTo>
                  <a:cubicBezTo>
                    <a:pt x="7181" y="6286"/>
                    <a:pt x="7182" y="6280"/>
                    <a:pt x="7183" y="6272"/>
                  </a:cubicBezTo>
                  <a:cubicBezTo>
                    <a:pt x="7185" y="6256"/>
                    <a:pt x="7188" y="6233"/>
                    <a:pt x="7190" y="6206"/>
                  </a:cubicBezTo>
                  <a:cubicBezTo>
                    <a:pt x="7196" y="6151"/>
                    <a:pt x="7203" y="6078"/>
                    <a:pt x="7209" y="6006"/>
                  </a:cubicBezTo>
                  <a:cubicBezTo>
                    <a:pt x="7222" y="5860"/>
                    <a:pt x="7234" y="5715"/>
                    <a:pt x="7234" y="5715"/>
                  </a:cubicBezTo>
                  <a:cubicBezTo>
                    <a:pt x="7235" y="5708"/>
                    <a:pt x="7235" y="5708"/>
                    <a:pt x="7235" y="5708"/>
                  </a:cubicBezTo>
                  <a:cubicBezTo>
                    <a:pt x="6050" y="5582"/>
                    <a:pt x="6050" y="5582"/>
                    <a:pt x="6050" y="5582"/>
                  </a:cubicBezTo>
                  <a:cubicBezTo>
                    <a:pt x="6165" y="4892"/>
                    <a:pt x="6165" y="4892"/>
                    <a:pt x="6165" y="4892"/>
                  </a:cubicBezTo>
                  <a:lnTo>
                    <a:pt x="7806" y="4964"/>
                  </a:lnTo>
                  <a:close/>
                  <a:moveTo>
                    <a:pt x="5958" y="5733"/>
                  </a:moveTo>
                  <a:cubicBezTo>
                    <a:pt x="5826" y="5717"/>
                    <a:pt x="5826" y="5717"/>
                    <a:pt x="5826" y="5717"/>
                  </a:cubicBezTo>
                  <a:cubicBezTo>
                    <a:pt x="5899" y="5652"/>
                    <a:pt x="5899" y="5652"/>
                    <a:pt x="5899" y="5652"/>
                  </a:cubicBezTo>
                  <a:cubicBezTo>
                    <a:pt x="5791" y="5523"/>
                    <a:pt x="5791" y="5523"/>
                    <a:pt x="5791" y="5523"/>
                  </a:cubicBezTo>
                  <a:cubicBezTo>
                    <a:pt x="5658" y="5640"/>
                    <a:pt x="5658" y="5640"/>
                    <a:pt x="5658" y="5640"/>
                  </a:cubicBezTo>
                  <a:cubicBezTo>
                    <a:pt x="5707" y="5702"/>
                    <a:pt x="5707" y="5702"/>
                    <a:pt x="5707" y="5702"/>
                  </a:cubicBezTo>
                  <a:cubicBezTo>
                    <a:pt x="5387" y="5662"/>
                    <a:pt x="5387" y="5662"/>
                    <a:pt x="5387" y="5662"/>
                  </a:cubicBezTo>
                  <a:cubicBezTo>
                    <a:pt x="5438" y="5227"/>
                    <a:pt x="5438" y="5227"/>
                    <a:pt x="5438" y="5227"/>
                  </a:cubicBezTo>
                  <a:cubicBezTo>
                    <a:pt x="6059" y="5124"/>
                    <a:pt x="6059" y="5124"/>
                    <a:pt x="6059" y="5124"/>
                  </a:cubicBezTo>
                  <a:lnTo>
                    <a:pt x="5958" y="5733"/>
                  </a:lnTo>
                  <a:close/>
                  <a:moveTo>
                    <a:pt x="4843" y="5316"/>
                  </a:moveTo>
                  <a:cubicBezTo>
                    <a:pt x="4837" y="5270"/>
                    <a:pt x="4826" y="5219"/>
                    <a:pt x="4807" y="5170"/>
                  </a:cubicBezTo>
                  <a:cubicBezTo>
                    <a:pt x="4781" y="5104"/>
                    <a:pt x="4738" y="5039"/>
                    <a:pt x="4672" y="4994"/>
                  </a:cubicBezTo>
                  <a:cubicBezTo>
                    <a:pt x="4900" y="4821"/>
                    <a:pt x="4900" y="4821"/>
                    <a:pt x="4900" y="4821"/>
                  </a:cubicBezTo>
                  <a:cubicBezTo>
                    <a:pt x="5042" y="4556"/>
                    <a:pt x="5042" y="4556"/>
                    <a:pt x="5042" y="4556"/>
                  </a:cubicBezTo>
                  <a:cubicBezTo>
                    <a:pt x="5086" y="4570"/>
                    <a:pt x="5367" y="4659"/>
                    <a:pt x="5407" y="4671"/>
                  </a:cubicBezTo>
                  <a:cubicBezTo>
                    <a:pt x="5425" y="5215"/>
                    <a:pt x="5425" y="5215"/>
                    <a:pt x="5425" y="5215"/>
                  </a:cubicBezTo>
                  <a:lnTo>
                    <a:pt x="4843" y="5316"/>
                  </a:lnTo>
                  <a:close/>
                  <a:moveTo>
                    <a:pt x="4889" y="4812"/>
                  </a:moveTo>
                  <a:cubicBezTo>
                    <a:pt x="4660" y="4985"/>
                    <a:pt x="4660" y="4985"/>
                    <a:pt x="4660" y="4985"/>
                  </a:cubicBezTo>
                  <a:cubicBezTo>
                    <a:pt x="4637" y="4971"/>
                    <a:pt x="4611" y="4959"/>
                    <a:pt x="4583" y="4949"/>
                  </a:cubicBezTo>
                  <a:cubicBezTo>
                    <a:pt x="4506" y="4925"/>
                    <a:pt x="4425" y="4900"/>
                    <a:pt x="4342" y="4876"/>
                  </a:cubicBezTo>
                  <a:cubicBezTo>
                    <a:pt x="4660" y="4226"/>
                    <a:pt x="4660" y="4226"/>
                    <a:pt x="4660" y="4226"/>
                  </a:cubicBezTo>
                  <a:cubicBezTo>
                    <a:pt x="4706" y="4266"/>
                    <a:pt x="4984" y="4513"/>
                    <a:pt x="5029" y="4549"/>
                  </a:cubicBezTo>
                  <a:cubicBezTo>
                    <a:pt x="5029" y="4550"/>
                    <a:pt x="5029" y="4550"/>
                    <a:pt x="5030" y="4550"/>
                  </a:cubicBezTo>
                  <a:lnTo>
                    <a:pt x="4889" y="4812"/>
                  </a:lnTo>
                  <a:close/>
                  <a:moveTo>
                    <a:pt x="4485" y="4552"/>
                  </a:moveTo>
                  <a:cubicBezTo>
                    <a:pt x="4328" y="4872"/>
                    <a:pt x="4328" y="4872"/>
                    <a:pt x="4328" y="4872"/>
                  </a:cubicBezTo>
                  <a:cubicBezTo>
                    <a:pt x="4232" y="4845"/>
                    <a:pt x="4134" y="4819"/>
                    <a:pt x="4039" y="4795"/>
                  </a:cubicBezTo>
                  <a:cubicBezTo>
                    <a:pt x="4060" y="4740"/>
                    <a:pt x="4107" y="4612"/>
                    <a:pt x="4134" y="4488"/>
                  </a:cubicBezTo>
                  <a:cubicBezTo>
                    <a:pt x="4301" y="4520"/>
                    <a:pt x="4467" y="4551"/>
                    <a:pt x="4485" y="4552"/>
                  </a:cubicBezTo>
                  <a:close/>
                  <a:moveTo>
                    <a:pt x="4076" y="4444"/>
                  </a:moveTo>
                  <a:cubicBezTo>
                    <a:pt x="4075" y="4450"/>
                    <a:pt x="4073" y="4456"/>
                    <a:pt x="4072" y="4461"/>
                  </a:cubicBezTo>
                  <a:cubicBezTo>
                    <a:pt x="3926" y="4433"/>
                    <a:pt x="3796" y="4408"/>
                    <a:pt x="3784" y="4406"/>
                  </a:cubicBezTo>
                  <a:cubicBezTo>
                    <a:pt x="3791" y="4070"/>
                    <a:pt x="3791" y="4070"/>
                    <a:pt x="3791" y="4070"/>
                  </a:cubicBezTo>
                  <a:cubicBezTo>
                    <a:pt x="4086" y="4100"/>
                    <a:pt x="4086" y="4100"/>
                    <a:pt x="4086" y="4100"/>
                  </a:cubicBezTo>
                  <a:cubicBezTo>
                    <a:pt x="4088" y="4143"/>
                    <a:pt x="4089" y="4189"/>
                    <a:pt x="4089" y="4235"/>
                  </a:cubicBezTo>
                  <a:cubicBezTo>
                    <a:pt x="4089" y="4315"/>
                    <a:pt x="4085" y="4393"/>
                    <a:pt x="4076" y="4444"/>
                  </a:cubicBezTo>
                  <a:close/>
                  <a:moveTo>
                    <a:pt x="4069" y="4475"/>
                  </a:moveTo>
                  <a:cubicBezTo>
                    <a:pt x="4054" y="4547"/>
                    <a:pt x="4031" y="4622"/>
                    <a:pt x="4011" y="4682"/>
                  </a:cubicBezTo>
                  <a:cubicBezTo>
                    <a:pt x="3996" y="4724"/>
                    <a:pt x="3983" y="4759"/>
                    <a:pt x="3975" y="4779"/>
                  </a:cubicBezTo>
                  <a:cubicBezTo>
                    <a:pt x="3906" y="4762"/>
                    <a:pt x="3839" y="4746"/>
                    <a:pt x="3777" y="4733"/>
                  </a:cubicBezTo>
                  <a:cubicBezTo>
                    <a:pt x="3784" y="4420"/>
                    <a:pt x="3784" y="4420"/>
                    <a:pt x="3784" y="4420"/>
                  </a:cubicBezTo>
                  <a:cubicBezTo>
                    <a:pt x="3806" y="4424"/>
                    <a:pt x="3930" y="4448"/>
                    <a:pt x="4069" y="4475"/>
                  </a:cubicBezTo>
                  <a:close/>
                  <a:moveTo>
                    <a:pt x="3763" y="4730"/>
                  </a:moveTo>
                  <a:cubicBezTo>
                    <a:pt x="3725" y="4721"/>
                    <a:pt x="3688" y="4714"/>
                    <a:pt x="3654" y="4707"/>
                  </a:cubicBezTo>
                  <a:cubicBezTo>
                    <a:pt x="3612" y="4699"/>
                    <a:pt x="3574" y="4691"/>
                    <a:pt x="3539" y="4684"/>
                  </a:cubicBezTo>
                  <a:cubicBezTo>
                    <a:pt x="3536" y="4653"/>
                    <a:pt x="3536" y="4653"/>
                    <a:pt x="3536" y="4653"/>
                  </a:cubicBezTo>
                  <a:cubicBezTo>
                    <a:pt x="3623" y="4670"/>
                    <a:pt x="3623" y="4670"/>
                    <a:pt x="3623" y="4670"/>
                  </a:cubicBezTo>
                  <a:cubicBezTo>
                    <a:pt x="3639" y="4585"/>
                    <a:pt x="3639" y="4585"/>
                    <a:pt x="3639" y="4585"/>
                  </a:cubicBezTo>
                  <a:cubicBezTo>
                    <a:pt x="3593" y="4576"/>
                    <a:pt x="3593" y="4576"/>
                    <a:pt x="3593" y="4576"/>
                  </a:cubicBezTo>
                  <a:cubicBezTo>
                    <a:pt x="3601" y="4534"/>
                    <a:pt x="3601" y="4534"/>
                    <a:pt x="3601" y="4534"/>
                  </a:cubicBezTo>
                  <a:cubicBezTo>
                    <a:pt x="3523" y="4519"/>
                    <a:pt x="3523" y="4519"/>
                    <a:pt x="3523" y="4519"/>
                  </a:cubicBezTo>
                  <a:cubicBezTo>
                    <a:pt x="3481" y="4093"/>
                    <a:pt x="3481" y="4093"/>
                    <a:pt x="3481" y="4093"/>
                  </a:cubicBezTo>
                  <a:cubicBezTo>
                    <a:pt x="3468" y="4094"/>
                    <a:pt x="3468" y="4094"/>
                    <a:pt x="3468" y="4094"/>
                  </a:cubicBezTo>
                  <a:cubicBezTo>
                    <a:pt x="3508" y="4516"/>
                    <a:pt x="3508" y="4516"/>
                    <a:pt x="3508" y="4516"/>
                  </a:cubicBezTo>
                  <a:cubicBezTo>
                    <a:pt x="3486" y="4512"/>
                    <a:pt x="3486" y="4512"/>
                    <a:pt x="3486" y="4512"/>
                  </a:cubicBezTo>
                  <a:cubicBezTo>
                    <a:pt x="3478" y="4554"/>
                    <a:pt x="3478" y="4554"/>
                    <a:pt x="3478" y="4554"/>
                  </a:cubicBezTo>
                  <a:cubicBezTo>
                    <a:pt x="3432" y="4545"/>
                    <a:pt x="3432" y="4545"/>
                    <a:pt x="3432" y="4545"/>
                  </a:cubicBezTo>
                  <a:cubicBezTo>
                    <a:pt x="3417" y="4623"/>
                    <a:pt x="3417" y="4623"/>
                    <a:pt x="3417" y="4623"/>
                  </a:cubicBezTo>
                  <a:cubicBezTo>
                    <a:pt x="3416" y="4630"/>
                    <a:pt x="3416" y="4630"/>
                    <a:pt x="3416" y="4630"/>
                  </a:cubicBezTo>
                  <a:cubicBezTo>
                    <a:pt x="3521" y="4650"/>
                    <a:pt x="3521" y="4650"/>
                    <a:pt x="3521" y="4650"/>
                  </a:cubicBezTo>
                  <a:cubicBezTo>
                    <a:pt x="3524" y="4681"/>
                    <a:pt x="3524" y="4681"/>
                    <a:pt x="3524" y="4681"/>
                  </a:cubicBezTo>
                  <a:cubicBezTo>
                    <a:pt x="3428" y="4661"/>
                    <a:pt x="3354" y="4645"/>
                    <a:pt x="3286" y="4645"/>
                  </a:cubicBezTo>
                  <a:cubicBezTo>
                    <a:pt x="3281" y="4645"/>
                    <a:pt x="3276" y="4645"/>
                    <a:pt x="3271" y="4645"/>
                  </a:cubicBezTo>
                  <a:cubicBezTo>
                    <a:pt x="3114" y="4135"/>
                    <a:pt x="3114" y="4135"/>
                    <a:pt x="3114" y="4135"/>
                  </a:cubicBezTo>
                  <a:cubicBezTo>
                    <a:pt x="3711" y="4062"/>
                    <a:pt x="3711" y="4062"/>
                    <a:pt x="3711" y="4062"/>
                  </a:cubicBezTo>
                  <a:cubicBezTo>
                    <a:pt x="3777" y="4069"/>
                    <a:pt x="3777" y="4069"/>
                    <a:pt x="3777" y="4069"/>
                  </a:cubicBezTo>
                  <a:lnTo>
                    <a:pt x="3763" y="4730"/>
                  </a:lnTo>
                  <a:close/>
                  <a:moveTo>
                    <a:pt x="3520" y="4637"/>
                  </a:moveTo>
                  <a:cubicBezTo>
                    <a:pt x="3431" y="4619"/>
                    <a:pt x="3431" y="4619"/>
                    <a:pt x="3431" y="4619"/>
                  </a:cubicBezTo>
                  <a:cubicBezTo>
                    <a:pt x="3443" y="4560"/>
                    <a:pt x="3443" y="4560"/>
                    <a:pt x="3443" y="4560"/>
                  </a:cubicBezTo>
                  <a:cubicBezTo>
                    <a:pt x="3489" y="4569"/>
                    <a:pt x="3489" y="4569"/>
                    <a:pt x="3489" y="4569"/>
                  </a:cubicBezTo>
                  <a:cubicBezTo>
                    <a:pt x="3497" y="4527"/>
                    <a:pt x="3497" y="4527"/>
                    <a:pt x="3497" y="4527"/>
                  </a:cubicBezTo>
                  <a:cubicBezTo>
                    <a:pt x="3510" y="4530"/>
                    <a:pt x="3510" y="4530"/>
                    <a:pt x="3510" y="4530"/>
                  </a:cubicBezTo>
                  <a:lnTo>
                    <a:pt x="3520" y="4637"/>
                  </a:lnTo>
                  <a:close/>
                  <a:moveTo>
                    <a:pt x="3256" y="4646"/>
                  </a:moveTo>
                  <a:cubicBezTo>
                    <a:pt x="3219" y="4649"/>
                    <a:pt x="3182" y="4658"/>
                    <a:pt x="3147" y="4675"/>
                  </a:cubicBezTo>
                  <a:cubicBezTo>
                    <a:pt x="3117" y="4689"/>
                    <a:pt x="3093" y="4705"/>
                    <a:pt x="3071" y="4721"/>
                  </a:cubicBezTo>
                  <a:cubicBezTo>
                    <a:pt x="3060" y="4707"/>
                    <a:pt x="3060" y="4707"/>
                    <a:pt x="3060" y="4707"/>
                  </a:cubicBezTo>
                  <a:cubicBezTo>
                    <a:pt x="3131" y="4658"/>
                    <a:pt x="3131" y="4658"/>
                    <a:pt x="3131" y="4658"/>
                  </a:cubicBezTo>
                  <a:cubicBezTo>
                    <a:pt x="3082" y="4587"/>
                    <a:pt x="3082" y="4587"/>
                    <a:pt x="3082" y="4587"/>
                  </a:cubicBezTo>
                  <a:cubicBezTo>
                    <a:pt x="3043" y="4614"/>
                    <a:pt x="3043" y="4614"/>
                    <a:pt x="3043" y="4614"/>
                  </a:cubicBezTo>
                  <a:cubicBezTo>
                    <a:pt x="3019" y="4578"/>
                    <a:pt x="3019" y="4578"/>
                    <a:pt x="3019" y="4578"/>
                  </a:cubicBezTo>
                  <a:cubicBezTo>
                    <a:pt x="2980" y="4605"/>
                    <a:pt x="2980" y="4605"/>
                    <a:pt x="2980" y="4605"/>
                  </a:cubicBezTo>
                  <a:cubicBezTo>
                    <a:pt x="2658" y="4190"/>
                    <a:pt x="2658" y="4190"/>
                    <a:pt x="2658" y="4190"/>
                  </a:cubicBezTo>
                  <a:cubicBezTo>
                    <a:pt x="3100" y="4137"/>
                    <a:pt x="3100" y="4137"/>
                    <a:pt x="3100" y="4137"/>
                  </a:cubicBezTo>
                  <a:lnTo>
                    <a:pt x="3256" y="4646"/>
                  </a:lnTo>
                  <a:close/>
                  <a:moveTo>
                    <a:pt x="2850" y="4460"/>
                  </a:moveTo>
                  <a:cubicBezTo>
                    <a:pt x="2831" y="4483"/>
                    <a:pt x="2654" y="4691"/>
                    <a:pt x="2555" y="4803"/>
                  </a:cubicBezTo>
                  <a:cubicBezTo>
                    <a:pt x="2531" y="4830"/>
                    <a:pt x="2511" y="4852"/>
                    <a:pt x="2500" y="4864"/>
                  </a:cubicBezTo>
                  <a:cubicBezTo>
                    <a:pt x="2457" y="4850"/>
                    <a:pt x="2457" y="4850"/>
                    <a:pt x="2457" y="4850"/>
                  </a:cubicBezTo>
                  <a:cubicBezTo>
                    <a:pt x="2220" y="4678"/>
                    <a:pt x="2220" y="4678"/>
                    <a:pt x="2220" y="4678"/>
                  </a:cubicBezTo>
                  <a:cubicBezTo>
                    <a:pt x="2645" y="4196"/>
                    <a:pt x="2645" y="4196"/>
                    <a:pt x="2645" y="4196"/>
                  </a:cubicBezTo>
                  <a:lnTo>
                    <a:pt x="2850" y="4460"/>
                  </a:lnTo>
                  <a:close/>
                  <a:moveTo>
                    <a:pt x="2401" y="5021"/>
                  </a:moveTo>
                  <a:cubicBezTo>
                    <a:pt x="2425" y="5031"/>
                    <a:pt x="2425" y="5031"/>
                    <a:pt x="2425" y="5031"/>
                  </a:cubicBezTo>
                  <a:cubicBezTo>
                    <a:pt x="2397" y="5084"/>
                    <a:pt x="2397" y="5084"/>
                    <a:pt x="2397" y="5084"/>
                  </a:cubicBezTo>
                  <a:cubicBezTo>
                    <a:pt x="2515" y="5141"/>
                    <a:pt x="2515" y="5141"/>
                    <a:pt x="2515" y="5141"/>
                  </a:cubicBezTo>
                  <a:cubicBezTo>
                    <a:pt x="2546" y="5084"/>
                    <a:pt x="2546" y="5084"/>
                    <a:pt x="2546" y="5084"/>
                  </a:cubicBezTo>
                  <a:cubicBezTo>
                    <a:pt x="2767" y="5179"/>
                    <a:pt x="2767" y="5179"/>
                    <a:pt x="2767" y="5179"/>
                  </a:cubicBezTo>
                  <a:cubicBezTo>
                    <a:pt x="2747" y="5224"/>
                    <a:pt x="2724" y="5275"/>
                    <a:pt x="2700" y="5329"/>
                  </a:cubicBezTo>
                  <a:cubicBezTo>
                    <a:pt x="2452" y="5211"/>
                    <a:pt x="2452" y="5211"/>
                    <a:pt x="2452" y="5211"/>
                  </a:cubicBezTo>
                  <a:cubicBezTo>
                    <a:pt x="2465" y="5185"/>
                    <a:pt x="2465" y="5185"/>
                    <a:pt x="2465" y="5185"/>
                  </a:cubicBezTo>
                  <a:cubicBezTo>
                    <a:pt x="2468" y="5179"/>
                    <a:pt x="2468" y="5179"/>
                    <a:pt x="2468" y="5179"/>
                  </a:cubicBezTo>
                  <a:cubicBezTo>
                    <a:pt x="2349" y="5121"/>
                    <a:pt x="2349" y="5121"/>
                    <a:pt x="2349" y="5121"/>
                  </a:cubicBezTo>
                  <a:cubicBezTo>
                    <a:pt x="2332" y="5154"/>
                    <a:pt x="2332" y="5154"/>
                    <a:pt x="2332" y="5154"/>
                  </a:cubicBezTo>
                  <a:cubicBezTo>
                    <a:pt x="2327" y="5152"/>
                    <a:pt x="2327" y="5152"/>
                    <a:pt x="2327" y="5152"/>
                  </a:cubicBezTo>
                  <a:lnTo>
                    <a:pt x="2401" y="5021"/>
                  </a:lnTo>
                  <a:close/>
                  <a:moveTo>
                    <a:pt x="2337" y="5172"/>
                  </a:moveTo>
                  <a:cubicBezTo>
                    <a:pt x="2434" y="5218"/>
                    <a:pt x="2434" y="5218"/>
                    <a:pt x="2434" y="5218"/>
                  </a:cubicBezTo>
                  <a:cubicBezTo>
                    <a:pt x="2387" y="5311"/>
                    <a:pt x="2387" y="5311"/>
                    <a:pt x="2387" y="5311"/>
                  </a:cubicBezTo>
                  <a:cubicBezTo>
                    <a:pt x="2351" y="5291"/>
                    <a:pt x="2319" y="5273"/>
                    <a:pt x="2294" y="5259"/>
                  </a:cubicBezTo>
                  <a:lnTo>
                    <a:pt x="2337" y="5172"/>
                  </a:lnTo>
                  <a:close/>
                  <a:moveTo>
                    <a:pt x="2283" y="5253"/>
                  </a:moveTo>
                  <a:cubicBezTo>
                    <a:pt x="2280" y="5251"/>
                    <a:pt x="2277" y="5249"/>
                    <a:pt x="2274" y="5248"/>
                  </a:cubicBezTo>
                  <a:cubicBezTo>
                    <a:pt x="2321" y="5164"/>
                    <a:pt x="2321" y="5164"/>
                    <a:pt x="2321" y="5164"/>
                  </a:cubicBezTo>
                  <a:cubicBezTo>
                    <a:pt x="2326" y="5167"/>
                    <a:pt x="2326" y="5167"/>
                    <a:pt x="2326" y="5167"/>
                  </a:cubicBezTo>
                  <a:lnTo>
                    <a:pt x="2283" y="5253"/>
                  </a:lnTo>
                  <a:close/>
                  <a:moveTo>
                    <a:pt x="2277" y="5265"/>
                  </a:moveTo>
                  <a:cubicBezTo>
                    <a:pt x="2230" y="5359"/>
                    <a:pt x="2230" y="5359"/>
                    <a:pt x="2230" y="5359"/>
                  </a:cubicBezTo>
                  <a:cubicBezTo>
                    <a:pt x="2217" y="5349"/>
                    <a:pt x="2217" y="5349"/>
                    <a:pt x="2217" y="5349"/>
                  </a:cubicBezTo>
                  <a:cubicBezTo>
                    <a:pt x="2267" y="5260"/>
                    <a:pt x="2267" y="5260"/>
                    <a:pt x="2267" y="5260"/>
                  </a:cubicBezTo>
                  <a:cubicBezTo>
                    <a:pt x="2270" y="5262"/>
                    <a:pt x="2273" y="5263"/>
                    <a:pt x="2277" y="5265"/>
                  </a:cubicBezTo>
                  <a:close/>
                  <a:moveTo>
                    <a:pt x="2213" y="5222"/>
                  </a:moveTo>
                  <a:cubicBezTo>
                    <a:pt x="2165" y="5195"/>
                    <a:pt x="2165" y="5195"/>
                    <a:pt x="2165" y="5195"/>
                  </a:cubicBezTo>
                  <a:cubicBezTo>
                    <a:pt x="2219" y="5101"/>
                    <a:pt x="2219" y="5101"/>
                    <a:pt x="2219" y="5101"/>
                  </a:cubicBezTo>
                  <a:cubicBezTo>
                    <a:pt x="2266" y="5128"/>
                    <a:pt x="2266" y="5128"/>
                    <a:pt x="2266" y="5128"/>
                  </a:cubicBezTo>
                  <a:lnTo>
                    <a:pt x="2213" y="5222"/>
                  </a:lnTo>
                  <a:close/>
                  <a:moveTo>
                    <a:pt x="2214" y="5082"/>
                  </a:moveTo>
                  <a:cubicBezTo>
                    <a:pt x="2100" y="5017"/>
                    <a:pt x="2100" y="5017"/>
                    <a:pt x="2100" y="5017"/>
                  </a:cubicBezTo>
                  <a:cubicBezTo>
                    <a:pt x="2152" y="4925"/>
                    <a:pt x="2152" y="4925"/>
                    <a:pt x="2152" y="4925"/>
                  </a:cubicBezTo>
                  <a:cubicBezTo>
                    <a:pt x="2267" y="4990"/>
                    <a:pt x="2267" y="4990"/>
                    <a:pt x="2267" y="4990"/>
                  </a:cubicBezTo>
                  <a:lnTo>
                    <a:pt x="2214" y="5082"/>
                  </a:lnTo>
                  <a:close/>
                  <a:moveTo>
                    <a:pt x="2207" y="5094"/>
                  </a:moveTo>
                  <a:cubicBezTo>
                    <a:pt x="2154" y="5189"/>
                    <a:pt x="2154" y="5189"/>
                    <a:pt x="2154" y="5189"/>
                  </a:cubicBezTo>
                  <a:cubicBezTo>
                    <a:pt x="2040" y="5123"/>
                    <a:pt x="2040" y="5123"/>
                    <a:pt x="2040" y="5123"/>
                  </a:cubicBezTo>
                  <a:cubicBezTo>
                    <a:pt x="2093" y="5029"/>
                    <a:pt x="2093" y="5029"/>
                    <a:pt x="2093" y="5029"/>
                  </a:cubicBezTo>
                  <a:lnTo>
                    <a:pt x="2207" y="5094"/>
                  </a:lnTo>
                  <a:close/>
                  <a:moveTo>
                    <a:pt x="2147" y="5201"/>
                  </a:moveTo>
                  <a:cubicBezTo>
                    <a:pt x="2098" y="5287"/>
                    <a:pt x="2098" y="5287"/>
                    <a:pt x="2098" y="5287"/>
                  </a:cubicBezTo>
                  <a:cubicBezTo>
                    <a:pt x="1984" y="5222"/>
                    <a:pt x="1984" y="5222"/>
                    <a:pt x="1984" y="5222"/>
                  </a:cubicBezTo>
                  <a:cubicBezTo>
                    <a:pt x="2033" y="5136"/>
                    <a:pt x="2033" y="5136"/>
                    <a:pt x="2033" y="5136"/>
                  </a:cubicBezTo>
                  <a:lnTo>
                    <a:pt x="2147" y="5201"/>
                  </a:lnTo>
                  <a:close/>
                  <a:moveTo>
                    <a:pt x="1972" y="5216"/>
                  </a:moveTo>
                  <a:cubicBezTo>
                    <a:pt x="1593" y="4999"/>
                    <a:pt x="1593" y="4999"/>
                    <a:pt x="1593" y="4999"/>
                  </a:cubicBezTo>
                  <a:cubicBezTo>
                    <a:pt x="1666" y="4926"/>
                    <a:pt x="1666" y="4926"/>
                    <a:pt x="1666" y="4926"/>
                  </a:cubicBezTo>
                  <a:cubicBezTo>
                    <a:pt x="2022" y="5129"/>
                    <a:pt x="2022" y="5129"/>
                    <a:pt x="2022" y="5129"/>
                  </a:cubicBezTo>
                  <a:lnTo>
                    <a:pt x="1972" y="5216"/>
                  </a:lnTo>
                  <a:close/>
                  <a:moveTo>
                    <a:pt x="1580" y="4992"/>
                  </a:moveTo>
                  <a:cubicBezTo>
                    <a:pt x="1232" y="4793"/>
                    <a:pt x="1232" y="4793"/>
                    <a:pt x="1232" y="4793"/>
                  </a:cubicBezTo>
                  <a:cubicBezTo>
                    <a:pt x="1280" y="4706"/>
                    <a:pt x="1280" y="4706"/>
                    <a:pt x="1280" y="4706"/>
                  </a:cubicBezTo>
                  <a:cubicBezTo>
                    <a:pt x="1653" y="4919"/>
                    <a:pt x="1653" y="4919"/>
                    <a:pt x="1653" y="4919"/>
                  </a:cubicBezTo>
                  <a:lnTo>
                    <a:pt x="1580" y="4992"/>
                  </a:lnTo>
                  <a:close/>
                  <a:moveTo>
                    <a:pt x="1574" y="5004"/>
                  </a:moveTo>
                  <a:cubicBezTo>
                    <a:pt x="1538" y="5106"/>
                    <a:pt x="1538" y="5106"/>
                    <a:pt x="1538" y="5106"/>
                  </a:cubicBezTo>
                  <a:cubicBezTo>
                    <a:pt x="1175" y="4899"/>
                    <a:pt x="1175" y="4899"/>
                    <a:pt x="1175" y="4899"/>
                  </a:cubicBezTo>
                  <a:cubicBezTo>
                    <a:pt x="1226" y="4806"/>
                    <a:pt x="1226" y="4806"/>
                    <a:pt x="1226" y="4806"/>
                  </a:cubicBezTo>
                  <a:lnTo>
                    <a:pt x="1574" y="5004"/>
                  </a:lnTo>
                  <a:close/>
                  <a:moveTo>
                    <a:pt x="1534" y="5119"/>
                  </a:moveTo>
                  <a:cubicBezTo>
                    <a:pt x="1493" y="5237"/>
                    <a:pt x="1493" y="5237"/>
                    <a:pt x="1493" y="5237"/>
                  </a:cubicBezTo>
                  <a:cubicBezTo>
                    <a:pt x="1110" y="5018"/>
                    <a:pt x="1110" y="5018"/>
                    <a:pt x="1110" y="5018"/>
                  </a:cubicBezTo>
                  <a:cubicBezTo>
                    <a:pt x="1169" y="4911"/>
                    <a:pt x="1169" y="4911"/>
                    <a:pt x="1169" y="4911"/>
                  </a:cubicBezTo>
                  <a:lnTo>
                    <a:pt x="1534" y="5119"/>
                  </a:lnTo>
                  <a:close/>
                  <a:moveTo>
                    <a:pt x="1488" y="5250"/>
                  </a:moveTo>
                  <a:cubicBezTo>
                    <a:pt x="1409" y="5341"/>
                    <a:pt x="1409" y="5341"/>
                    <a:pt x="1409" y="5341"/>
                  </a:cubicBezTo>
                  <a:cubicBezTo>
                    <a:pt x="1047" y="5135"/>
                    <a:pt x="1047" y="5135"/>
                    <a:pt x="1047" y="5135"/>
                  </a:cubicBezTo>
                  <a:cubicBezTo>
                    <a:pt x="1103" y="5030"/>
                    <a:pt x="1103" y="5030"/>
                    <a:pt x="1103" y="5030"/>
                  </a:cubicBezTo>
                  <a:lnTo>
                    <a:pt x="1488" y="5250"/>
                  </a:lnTo>
                  <a:close/>
                  <a:moveTo>
                    <a:pt x="1404" y="5355"/>
                  </a:moveTo>
                  <a:cubicBezTo>
                    <a:pt x="1374" y="5463"/>
                    <a:pt x="1374" y="5463"/>
                    <a:pt x="1374" y="5463"/>
                  </a:cubicBezTo>
                  <a:cubicBezTo>
                    <a:pt x="988" y="5243"/>
                    <a:pt x="988" y="5243"/>
                    <a:pt x="988" y="5243"/>
                  </a:cubicBezTo>
                  <a:cubicBezTo>
                    <a:pt x="1040" y="5147"/>
                    <a:pt x="1040" y="5147"/>
                    <a:pt x="1040" y="5147"/>
                  </a:cubicBezTo>
                  <a:lnTo>
                    <a:pt x="1404" y="5355"/>
                  </a:lnTo>
                  <a:close/>
                  <a:moveTo>
                    <a:pt x="1370" y="5477"/>
                  </a:moveTo>
                  <a:cubicBezTo>
                    <a:pt x="1333" y="5611"/>
                    <a:pt x="1333" y="5611"/>
                    <a:pt x="1333" y="5611"/>
                  </a:cubicBezTo>
                  <a:cubicBezTo>
                    <a:pt x="917" y="5373"/>
                    <a:pt x="917" y="5373"/>
                    <a:pt x="917" y="5373"/>
                  </a:cubicBezTo>
                  <a:cubicBezTo>
                    <a:pt x="981" y="5255"/>
                    <a:pt x="981" y="5255"/>
                    <a:pt x="981" y="5255"/>
                  </a:cubicBezTo>
                  <a:lnTo>
                    <a:pt x="1370" y="5477"/>
                  </a:lnTo>
                  <a:close/>
                  <a:moveTo>
                    <a:pt x="1322" y="5620"/>
                  </a:moveTo>
                  <a:cubicBezTo>
                    <a:pt x="1212" y="5683"/>
                    <a:pt x="1212" y="5683"/>
                    <a:pt x="1212" y="5683"/>
                  </a:cubicBezTo>
                  <a:cubicBezTo>
                    <a:pt x="858" y="5481"/>
                    <a:pt x="858" y="5481"/>
                    <a:pt x="858" y="5481"/>
                  </a:cubicBezTo>
                  <a:cubicBezTo>
                    <a:pt x="910" y="5386"/>
                    <a:pt x="910" y="5386"/>
                    <a:pt x="910" y="5386"/>
                  </a:cubicBezTo>
                  <a:lnTo>
                    <a:pt x="1322" y="5620"/>
                  </a:lnTo>
                  <a:close/>
                  <a:moveTo>
                    <a:pt x="1198" y="5691"/>
                  </a:moveTo>
                  <a:cubicBezTo>
                    <a:pt x="1187" y="5697"/>
                    <a:pt x="1187" y="5697"/>
                    <a:pt x="1187" y="5697"/>
                  </a:cubicBezTo>
                  <a:cubicBezTo>
                    <a:pt x="1153" y="5805"/>
                    <a:pt x="1153" y="5805"/>
                    <a:pt x="1153" y="5805"/>
                  </a:cubicBezTo>
                  <a:cubicBezTo>
                    <a:pt x="794" y="5600"/>
                    <a:pt x="794" y="5600"/>
                    <a:pt x="794" y="5600"/>
                  </a:cubicBezTo>
                  <a:cubicBezTo>
                    <a:pt x="852" y="5493"/>
                    <a:pt x="852" y="5493"/>
                    <a:pt x="852" y="5493"/>
                  </a:cubicBezTo>
                  <a:lnTo>
                    <a:pt x="1198" y="5691"/>
                  </a:lnTo>
                  <a:close/>
                  <a:moveTo>
                    <a:pt x="1148" y="5818"/>
                  </a:moveTo>
                  <a:cubicBezTo>
                    <a:pt x="1115" y="5921"/>
                    <a:pt x="1115" y="5921"/>
                    <a:pt x="1115" y="5921"/>
                  </a:cubicBezTo>
                  <a:cubicBezTo>
                    <a:pt x="736" y="5705"/>
                    <a:pt x="736" y="5705"/>
                    <a:pt x="736" y="5705"/>
                  </a:cubicBezTo>
                  <a:cubicBezTo>
                    <a:pt x="787" y="5612"/>
                    <a:pt x="787" y="5612"/>
                    <a:pt x="787" y="5612"/>
                  </a:cubicBezTo>
                  <a:lnTo>
                    <a:pt x="1148" y="5818"/>
                  </a:lnTo>
                  <a:close/>
                  <a:moveTo>
                    <a:pt x="1111" y="5935"/>
                  </a:moveTo>
                  <a:cubicBezTo>
                    <a:pt x="1075" y="6046"/>
                    <a:pt x="1075" y="6046"/>
                    <a:pt x="1075" y="6046"/>
                  </a:cubicBezTo>
                  <a:cubicBezTo>
                    <a:pt x="1067" y="6050"/>
                    <a:pt x="1067" y="6050"/>
                    <a:pt x="1067" y="6050"/>
                  </a:cubicBezTo>
                  <a:cubicBezTo>
                    <a:pt x="671" y="5824"/>
                    <a:pt x="671" y="5824"/>
                    <a:pt x="671" y="5824"/>
                  </a:cubicBezTo>
                  <a:cubicBezTo>
                    <a:pt x="730" y="5717"/>
                    <a:pt x="730" y="5717"/>
                    <a:pt x="730" y="5717"/>
                  </a:cubicBezTo>
                  <a:lnTo>
                    <a:pt x="1111" y="5935"/>
                  </a:lnTo>
                  <a:close/>
                  <a:moveTo>
                    <a:pt x="1054" y="6059"/>
                  </a:moveTo>
                  <a:cubicBezTo>
                    <a:pt x="946" y="6125"/>
                    <a:pt x="946" y="6125"/>
                    <a:pt x="946" y="6125"/>
                  </a:cubicBezTo>
                  <a:cubicBezTo>
                    <a:pt x="943" y="6132"/>
                    <a:pt x="943" y="6132"/>
                    <a:pt x="943" y="6132"/>
                  </a:cubicBezTo>
                  <a:cubicBezTo>
                    <a:pt x="608" y="5941"/>
                    <a:pt x="608" y="5941"/>
                    <a:pt x="608" y="5941"/>
                  </a:cubicBezTo>
                  <a:cubicBezTo>
                    <a:pt x="665" y="5837"/>
                    <a:pt x="665" y="5837"/>
                    <a:pt x="665" y="5837"/>
                  </a:cubicBezTo>
                  <a:lnTo>
                    <a:pt x="1054" y="6059"/>
                  </a:lnTo>
                  <a:close/>
                  <a:moveTo>
                    <a:pt x="950" y="6152"/>
                  </a:moveTo>
                  <a:cubicBezTo>
                    <a:pt x="1321" y="6364"/>
                    <a:pt x="1321" y="6364"/>
                    <a:pt x="1321" y="6364"/>
                  </a:cubicBezTo>
                  <a:cubicBezTo>
                    <a:pt x="1267" y="6459"/>
                    <a:pt x="1267" y="6459"/>
                    <a:pt x="1267" y="6459"/>
                  </a:cubicBezTo>
                  <a:cubicBezTo>
                    <a:pt x="907" y="6253"/>
                    <a:pt x="907" y="6253"/>
                    <a:pt x="907" y="6253"/>
                  </a:cubicBezTo>
                  <a:lnTo>
                    <a:pt x="950" y="6152"/>
                  </a:lnTo>
                  <a:close/>
                  <a:moveTo>
                    <a:pt x="1271" y="6478"/>
                  </a:moveTo>
                  <a:cubicBezTo>
                    <a:pt x="1385" y="6543"/>
                    <a:pt x="1385" y="6543"/>
                    <a:pt x="1385" y="6543"/>
                  </a:cubicBezTo>
                  <a:cubicBezTo>
                    <a:pt x="1353" y="6599"/>
                    <a:pt x="1353" y="6599"/>
                    <a:pt x="1353" y="6599"/>
                  </a:cubicBezTo>
                  <a:cubicBezTo>
                    <a:pt x="1239" y="6534"/>
                    <a:pt x="1239" y="6534"/>
                    <a:pt x="1239" y="6534"/>
                  </a:cubicBezTo>
                  <a:lnTo>
                    <a:pt x="1271" y="6478"/>
                  </a:lnTo>
                  <a:close/>
                  <a:moveTo>
                    <a:pt x="1278" y="6465"/>
                  </a:moveTo>
                  <a:cubicBezTo>
                    <a:pt x="1332" y="6370"/>
                    <a:pt x="1332" y="6370"/>
                    <a:pt x="1332" y="6370"/>
                  </a:cubicBezTo>
                  <a:cubicBezTo>
                    <a:pt x="1446" y="6435"/>
                    <a:pt x="1446" y="6435"/>
                    <a:pt x="1446" y="6435"/>
                  </a:cubicBezTo>
                  <a:cubicBezTo>
                    <a:pt x="1392" y="6530"/>
                    <a:pt x="1392" y="6530"/>
                    <a:pt x="1392" y="6530"/>
                  </a:cubicBezTo>
                  <a:lnTo>
                    <a:pt x="1278" y="6465"/>
                  </a:lnTo>
                  <a:close/>
                  <a:moveTo>
                    <a:pt x="1458" y="6442"/>
                  </a:moveTo>
                  <a:cubicBezTo>
                    <a:pt x="1513" y="6473"/>
                    <a:pt x="1513" y="6473"/>
                    <a:pt x="1513" y="6473"/>
                  </a:cubicBezTo>
                  <a:cubicBezTo>
                    <a:pt x="1459" y="6569"/>
                    <a:pt x="1459" y="6569"/>
                    <a:pt x="1459" y="6569"/>
                  </a:cubicBezTo>
                  <a:cubicBezTo>
                    <a:pt x="1404" y="6537"/>
                    <a:pt x="1404" y="6537"/>
                    <a:pt x="1404" y="6537"/>
                  </a:cubicBezTo>
                  <a:lnTo>
                    <a:pt x="1458" y="6442"/>
                  </a:lnTo>
                  <a:close/>
                  <a:moveTo>
                    <a:pt x="1429" y="7189"/>
                  </a:moveTo>
                  <a:cubicBezTo>
                    <a:pt x="1423" y="7180"/>
                    <a:pt x="1423" y="7180"/>
                    <a:pt x="1423" y="7180"/>
                  </a:cubicBezTo>
                  <a:cubicBezTo>
                    <a:pt x="1424" y="7180"/>
                    <a:pt x="1424" y="7180"/>
                    <a:pt x="1424" y="7180"/>
                  </a:cubicBezTo>
                  <a:cubicBezTo>
                    <a:pt x="1414" y="7165"/>
                    <a:pt x="1414" y="7165"/>
                    <a:pt x="1414" y="7165"/>
                  </a:cubicBezTo>
                  <a:cubicBezTo>
                    <a:pt x="1535" y="7162"/>
                    <a:pt x="1535" y="7162"/>
                    <a:pt x="1535" y="7162"/>
                  </a:cubicBezTo>
                  <a:cubicBezTo>
                    <a:pt x="1548" y="7167"/>
                    <a:pt x="1646" y="7204"/>
                    <a:pt x="1713" y="7230"/>
                  </a:cubicBezTo>
                  <a:cubicBezTo>
                    <a:pt x="1710" y="7235"/>
                    <a:pt x="1707" y="7240"/>
                    <a:pt x="1703" y="7245"/>
                  </a:cubicBezTo>
                  <a:cubicBezTo>
                    <a:pt x="1687" y="7268"/>
                    <a:pt x="1687" y="7268"/>
                    <a:pt x="1687" y="7268"/>
                  </a:cubicBezTo>
                  <a:cubicBezTo>
                    <a:pt x="1687" y="7267"/>
                    <a:pt x="1687" y="7267"/>
                    <a:pt x="1687" y="7267"/>
                  </a:cubicBezTo>
                  <a:cubicBezTo>
                    <a:pt x="1661" y="7304"/>
                    <a:pt x="1639" y="7334"/>
                    <a:pt x="1634" y="7339"/>
                  </a:cubicBezTo>
                  <a:cubicBezTo>
                    <a:pt x="1636" y="7340"/>
                    <a:pt x="1636" y="7340"/>
                    <a:pt x="1636" y="7340"/>
                  </a:cubicBezTo>
                  <a:cubicBezTo>
                    <a:pt x="1636" y="7341"/>
                    <a:pt x="1636" y="7341"/>
                    <a:pt x="1636" y="7341"/>
                  </a:cubicBezTo>
                  <a:cubicBezTo>
                    <a:pt x="1564" y="7444"/>
                    <a:pt x="1564" y="7444"/>
                    <a:pt x="1564" y="7444"/>
                  </a:cubicBezTo>
                  <a:cubicBezTo>
                    <a:pt x="1562" y="7444"/>
                    <a:pt x="1561" y="7443"/>
                    <a:pt x="1559" y="7442"/>
                  </a:cubicBezTo>
                  <a:cubicBezTo>
                    <a:pt x="1554" y="7439"/>
                    <a:pt x="1546" y="7435"/>
                    <a:pt x="1538" y="7429"/>
                  </a:cubicBezTo>
                  <a:cubicBezTo>
                    <a:pt x="1520" y="7419"/>
                    <a:pt x="1497" y="7404"/>
                    <a:pt x="1474" y="7390"/>
                  </a:cubicBezTo>
                  <a:cubicBezTo>
                    <a:pt x="1444" y="7371"/>
                    <a:pt x="1414" y="7351"/>
                    <a:pt x="1398" y="7341"/>
                  </a:cubicBezTo>
                  <a:lnTo>
                    <a:pt x="1429" y="7189"/>
                  </a:lnTo>
                  <a:close/>
                  <a:moveTo>
                    <a:pt x="1694" y="7370"/>
                  </a:moveTo>
                  <a:cubicBezTo>
                    <a:pt x="1696" y="7371"/>
                    <a:pt x="1697" y="7374"/>
                    <a:pt x="1700" y="7377"/>
                  </a:cubicBezTo>
                  <a:cubicBezTo>
                    <a:pt x="1704" y="7383"/>
                    <a:pt x="1711" y="7391"/>
                    <a:pt x="1719" y="7401"/>
                  </a:cubicBezTo>
                  <a:cubicBezTo>
                    <a:pt x="1735" y="7421"/>
                    <a:pt x="1756" y="7447"/>
                    <a:pt x="1777" y="7473"/>
                  </a:cubicBezTo>
                  <a:cubicBezTo>
                    <a:pt x="1813" y="7518"/>
                    <a:pt x="1850" y="7562"/>
                    <a:pt x="1859" y="7574"/>
                  </a:cubicBezTo>
                  <a:cubicBezTo>
                    <a:pt x="1857" y="7588"/>
                    <a:pt x="1850" y="7649"/>
                    <a:pt x="1843" y="7713"/>
                  </a:cubicBezTo>
                  <a:cubicBezTo>
                    <a:pt x="1841" y="7730"/>
                    <a:pt x="1838" y="7748"/>
                    <a:pt x="1836" y="7765"/>
                  </a:cubicBezTo>
                  <a:cubicBezTo>
                    <a:pt x="1814" y="7764"/>
                    <a:pt x="1620" y="7756"/>
                    <a:pt x="1587" y="7755"/>
                  </a:cubicBezTo>
                  <a:cubicBezTo>
                    <a:pt x="1586" y="7754"/>
                    <a:pt x="1586" y="7753"/>
                    <a:pt x="1585" y="7752"/>
                  </a:cubicBezTo>
                  <a:cubicBezTo>
                    <a:pt x="1582" y="7749"/>
                    <a:pt x="1578" y="7744"/>
                    <a:pt x="1573" y="7738"/>
                  </a:cubicBezTo>
                  <a:cubicBezTo>
                    <a:pt x="1564" y="7727"/>
                    <a:pt x="1551" y="7712"/>
                    <a:pt x="1539" y="7697"/>
                  </a:cubicBezTo>
                  <a:cubicBezTo>
                    <a:pt x="1523" y="7678"/>
                    <a:pt x="1507" y="7660"/>
                    <a:pt x="1498" y="7649"/>
                  </a:cubicBezTo>
                  <a:lnTo>
                    <a:pt x="1694" y="7370"/>
                  </a:lnTo>
                  <a:close/>
                  <a:moveTo>
                    <a:pt x="1524" y="7705"/>
                  </a:moveTo>
                  <a:cubicBezTo>
                    <a:pt x="1546" y="7731"/>
                    <a:pt x="1569" y="7758"/>
                    <a:pt x="1574" y="7765"/>
                  </a:cubicBezTo>
                  <a:cubicBezTo>
                    <a:pt x="1574" y="7770"/>
                    <a:pt x="1574" y="7770"/>
                    <a:pt x="1574" y="7770"/>
                  </a:cubicBezTo>
                  <a:cubicBezTo>
                    <a:pt x="1580" y="7772"/>
                    <a:pt x="1580" y="7772"/>
                    <a:pt x="1580" y="7772"/>
                  </a:cubicBezTo>
                  <a:cubicBezTo>
                    <a:pt x="1582" y="7772"/>
                    <a:pt x="1583" y="7772"/>
                    <a:pt x="1583" y="7772"/>
                  </a:cubicBezTo>
                  <a:cubicBezTo>
                    <a:pt x="1583" y="7772"/>
                    <a:pt x="1584" y="7772"/>
                    <a:pt x="1584" y="7772"/>
                  </a:cubicBezTo>
                  <a:cubicBezTo>
                    <a:pt x="1584" y="7772"/>
                    <a:pt x="1584" y="7772"/>
                    <a:pt x="1584" y="7772"/>
                  </a:cubicBezTo>
                  <a:cubicBezTo>
                    <a:pt x="1606" y="7772"/>
                    <a:pt x="1806" y="7780"/>
                    <a:pt x="1834" y="7781"/>
                  </a:cubicBezTo>
                  <a:cubicBezTo>
                    <a:pt x="1829" y="7826"/>
                    <a:pt x="1824" y="7863"/>
                    <a:pt x="1821" y="7872"/>
                  </a:cubicBezTo>
                  <a:cubicBezTo>
                    <a:pt x="1812" y="7880"/>
                    <a:pt x="1745" y="7933"/>
                    <a:pt x="1675" y="7989"/>
                  </a:cubicBezTo>
                  <a:cubicBezTo>
                    <a:pt x="1616" y="8037"/>
                    <a:pt x="1556" y="8085"/>
                    <a:pt x="1528" y="8110"/>
                  </a:cubicBezTo>
                  <a:cubicBezTo>
                    <a:pt x="1338" y="7875"/>
                    <a:pt x="1338" y="7875"/>
                    <a:pt x="1338" y="7875"/>
                  </a:cubicBezTo>
                  <a:cubicBezTo>
                    <a:pt x="1488" y="7663"/>
                    <a:pt x="1488" y="7663"/>
                    <a:pt x="1488" y="7663"/>
                  </a:cubicBezTo>
                  <a:cubicBezTo>
                    <a:pt x="1497" y="7673"/>
                    <a:pt x="1510" y="7689"/>
                    <a:pt x="1524" y="7705"/>
                  </a:cubicBezTo>
                  <a:close/>
                  <a:moveTo>
                    <a:pt x="1628" y="8306"/>
                  </a:moveTo>
                  <a:cubicBezTo>
                    <a:pt x="1613" y="8332"/>
                    <a:pt x="1578" y="8392"/>
                    <a:pt x="1537" y="8461"/>
                  </a:cubicBezTo>
                  <a:cubicBezTo>
                    <a:pt x="1327" y="8306"/>
                    <a:pt x="1327" y="8306"/>
                    <a:pt x="1327" y="8306"/>
                  </a:cubicBezTo>
                  <a:cubicBezTo>
                    <a:pt x="1345" y="8162"/>
                    <a:pt x="1345" y="8162"/>
                    <a:pt x="1345" y="8162"/>
                  </a:cubicBezTo>
                  <a:cubicBezTo>
                    <a:pt x="1222" y="7977"/>
                    <a:pt x="1222" y="7977"/>
                    <a:pt x="1222" y="7977"/>
                  </a:cubicBezTo>
                  <a:cubicBezTo>
                    <a:pt x="1307" y="7908"/>
                    <a:pt x="1307" y="7908"/>
                    <a:pt x="1307" y="7908"/>
                  </a:cubicBezTo>
                  <a:lnTo>
                    <a:pt x="1628" y="8306"/>
                  </a:lnTo>
                  <a:close/>
                  <a:moveTo>
                    <a:pt x="1328" y="8166"/>
                  </a:moveTo>
                  <a:cubicBezTo>
                    <a:pt x="1311" y="8302"/>
                    <a:pt x="1311" y="8302"/>
                    <a:pt x="1311" y="8302"/>
                  </a:cubicBezTo>
                  <a:cubicBezTo>
                    <a:pt x="1091" y="8314"/>
                    <a:pt x="1091" y="8314"/>
                    <a:pt x="1091" y="8314"/>
                  </a:cubicBezTo>
                  <a:cubicBezTo>
                    <a:pt x="1091" y="8263"/>
                    <a:pt x="1097" y="8105"/>
                    <a:pt x="1097" y="8077"/>
                  </a:cubicBezTo>
                  <a:cubicBezTo>
                    <a:pt x="1209" y="7987"/>
                    <a:pt x="1209" y="7987"/>
                    <a:pt x="1209" y="7987"/>
                  </a:cubicBezTo>
                  <a:lnTo>
                    <a:pt x="1328" y="8166"/>
                  </a:lnTo>
                  <a:close/>
                  <a:moveTo>
                    <a:pt x="1167" y="8623"/>
                  </a:moveTo>
                  <a:cubicBezTo>
                    <a:pt x="1235" y="8675"/>
                    <a:pt x="1306" y="8729"/>
                    <a:pt x="1358" y="8769"/>
                  </a:cubicBezTo>
                  <a:cubicBezTo>
                    <a:pt x="1356" y="8772"/>
                    <a:pt x="1354" y="8776"/>
                    <a:pt x="1353" y="8778"/>
                  </a:cubicBezTo>
                  <a:cubicBezTo>
                    <a:pt x="1347" y="8785"/>
                    <a:pt x="1347" y="8785"/>
                    <a:pt x="1347" y="8785"/>
                  </a:cubicBezTo>
                  <a:cubicBezTo>
                    <a:pt x="1343" y="8789"/>
                    <a:pt x="1337" y="8794"/>
                    <a:pt x="1331" y="8800"/>
                  </a:cubicBezTo>
                  <a:cubicBezTo>
                    <a:pt x="1316" y="8813"/>
                    <a:pt x="1296" y="8833"/>
                    <a:pt x="1272" y="8856"/>
                  </a:cubicBezTo>
                  <a:cubicBezTo>
                    <a:pt x="1253" y="8873"/>
                    <a:pt x="1233" y="8893"/>
                    <a:pt x="1211" y="8913"/>
                  </a:cubicBezTo>
                  <a:cubicBezTo>
                    <a:pt x="1195" y="8894"/>
                    <a:pt x="1137" y="8824"/>
                    <a:pt x="1078" y="8751"/>
                  </a:cubicBezTo>
                  <a:cubicBezTo>
                    <a:pt x="1014" y="8673"/>
                    <a:pt x="949" y="8593"/>
                    <a:pt x="935" y="8575"/>
                  </a:cubicBezTo>
                  <a:cubicBezTo>
                    <a:pt x="943" y="8563"/>
                    <a:pt x="965" y="8529"/>
                    <a:pt x="991" y="8489"/>
                  </a:cubicBezTo>
                  <a:cubicBezTo>
                    <a:pt x="1011" y="8504"/>
                    <a:pt x="1088" y="8563"/>
                    <a:pt x="1167" y="8623"/>
                  </a:cubicBezTo>
                  <a:close/>
                  <a:moveTo>
                    <a:pt x="1382" y="8814"/>
                  </a:moveTo>
                  <a:cubicBezTo>
                    <a:pt x="1382" y="8813"/>
                    <a:pt x="1382" y="8813"/>
                    <a:pt x="1382" y="8813"/>
                  </a:cubicBezTo>
                  <a:cubicBezTo>
                    <a:pt x="1383" y="8813"/>
                    <a:pt x="1384" y="8812"/>
                    <a:pt x="1385" y="8811"/>
                  </a:cubicBezTo>
                  <a:cubicBezTo>
                    <a:pt x="1386" y="8810"/>
                    <a:pt x="1386" y="8810"/>
                    <a:pt x="1387" y="8809"/>
                  </a:cubicBezTo>
                  <a:cubicBezTo>
                    <a:pt x="1387" y="8809"/>
                    <a:pt x="1387" y="8808"/>
                    <a:pt x="1388" y="8808"/>
                  </a:cubicBezTo>
                  <a:cubicBezTo>
                    <a:pt x="1388" y="8807"/>
                    <a:pt x="1388" y="8807"/>
                    <a:pt x="1388" y="8807"/>
                  </a:cubicBezTo>
                  <a:cubicBezTo>
                    <a:pt x="1388" y="8807"/>
                    <a:pt x="1388" y="8807"/>
                    <a:pt x="1389" y="8807"/>
                  </a:cubicBezTo>
                  <a:cubicBezTo>
                    <a:pt x="1389" y="8806"/>
                    <a:pt x="1389" y="8806"/>
                    <a:pt x="1389" y="8806"/>
                  </a:cubicBezTo>
                  <a:cubicBezTo>
                    <a:pt x="1389" y="8806"/>
                    <a:pt x="1389" y="8805"/>
                    <a:pt x="1389" y="8805"/>
                  </a:cubicBezTo>
                  <a:cubicBezTo>
                    <a:pt x="1390" y="8804"/>
                    <a:pt x="1391" y="8803"/>
                    <a:pt x="1392" y="8801"/>
                  </a:cubicBezTo>
                  <a:cubicBezTo>
                    <a:pt x="1394" y="8797"/>
                    <a:pt x="1397" y="8792"/>
                    <a:pt x="1401" y="8785"/>
                  </a:cubicBezTo>
                  <a:cubicBezTo>
                    <a:pt x="1409" y="8772"/>
                    <a:pt x="1420" y="8753"/>
                    <a:pt x="1433" y="8730"/>
                  </a:cubicBezTo>
                  <a:cubicBezTo>
                    <a:pt x="1446" y="8708"/>
                    <a:pt x="1461" y="8683"/>
                    <a:pt x="1476" y="8656"/>
                  </a:cubicBezTo>
                  <a:cubicBezTo>
                    <a:pt x="1478" y="8659"/>
                    <a:pt x="1479" y="8663"/>
                    <a:pt x="1481" y="8667"/>
                  </a:cubicBezTo>
                  <a:cubicBezTo>
                    <a:pt x="1489" y="8683"/>
                    <a:pt x="1499" y="8706"/>
                    <a:pt x="1512" y="8734"/>
                  </a:cubicBezTo>
                  <a:cubicBezTo>
                    <a:pt x="1535" y="8784"/>
                    <a:pt x="1565" y="8849"/>
                    <a:pt x="1596" y="8916"/>
                  </a:cubicBezTo>
                  <a:cubicBezTo>
                    <a:pt x="1045" y="9259"/>
                    <a:pt x="1045" y="9259"/>
                    <a:pt x="1045" y="9259"/>
                  </a:cubicBezTo>
                  <a:cubicBezTo>
                    <a:pt x="1048" y="9266"/>
                    <a:pt x="1048" y="9266"/>
                    <a:pt x="1048" y="9266"/>
                  </a:cubicBezTo>
                  <a:cubicBezTo>
                    <a:pt x="1048" y="9266"/>
                    <a:pt x="1066" y="9306"/>
                    <a:pt x="1088" y="9356"/>
                  </a:cubicBezTo>
                  <a:cubicBezTo>
                    <a:pt x="1079" y="9360"/>
                    <a:pt x="1079" y="9360"/>
                    <a:pt x="1079" y="9360"/>
                  </a:cubicBezTo>
                  <a:cubicBezTo>
                    <a:pt x="1150" y="9500"/>
                    <a:pt x="1150" y="9500"/>
                    <a:pt x="1150" y="9500"/>
                  </a:cubicBezTo>
                  <a:cubicBezTo>
                    <a:pt x="1152" y="9499"/>
                    <a:pt x="1152" y="9499"/>
                    <a:pt x="1152" y="9499"/>
                  </a:cubicBezTo>
                  <a:cubicBezTo>
                    <a:pt x="1156" y="9507"/>
                    <a:pt x="1160" y="9515"/>
                    <a:pt x="1163" y="9520"/>
                  </a:cubicBezTo>
                  <a:cubicBezTo>
                    <a:pt x="1164" y="9523"/>
                    <a:pt x="1165" y="9525"/>
                    <a:pt x="1166" y="9528"/>
                  </a:cubicBezTo>
                  <a:cubicBezTo>
                    <a:pt x="1085" y="9571"/>
                    <a:pt x="1085" y="9571"/>
                    <a:pt x="1085" y="9571"/>
                  </a:cubicBezTo>
                  <a:cubicBezTo>
                    <a:pt x="1079" y="9551"/>
                    <a:pt x="1067" y="9514"/>
                    <a:pt x="1050" y="9473"/>
                  </a:cubicBezTo>
                  <a:cubicBezTo>
                    <a:pt x="1024" y="9413"/>
                    <a:pt x="992" y="9345"/>
                    <a:pt x="938" y="9310"/>
                  </a:cubicBezTo>
                  <a:cubicBezTo>
                    <a:pt x="919" y="9299"/>
                    <a:pt x="901" y="9292"/>
                    <a:pt x="883" y="9287"/>
                  </a:cubicBezTo>
                  <a:cubicBezTo>
                    <a:pt x="923" y="9249"/>
                    <a:pt x="1017" y="9159"/>
                    <a:pt x="1114" y="9068"/>
                  </a:cubicBezTo>
                  <a:cubicBezTo>
                    <a:pt x="1237" y="8950"/>
                    <a:pt x="1365" y="8829"/>
                    <a:pt x="1382" y="8814"/>
                  </a:cubicBezTo>
                  <a:close/>
                  <a:moveTo>
                    <a:pt x="1161" y="9478"/>
                  </a:moveTo>
                  <a:cubicBezTo>
                    <a:pt x="1150" y="9454"/>
                    <a:pt x="1136" y="9424"/>
                    <a:pt x="1123" y="9393"/>
                  </a:cubicBezTo>
                  <a:cubicBezTo>
                    <a:pt x="1118" y="9383"/>
                    <a:pt x="1113" y="9372"/>
                    <a:pt x="1108" y="9361"/>
                  </a:cubicBezTo>
                  <a:cubicBezTo>
                    <a:pt x="1197" y="9319"/>
                    <a:pt x="1197" y="9319"/>
                    <a:pt x="1197" y="9319"/>
                  </a:cubicBezTo>
                  <a:cubicBezTo>
                    <a:pt x="1245" y="9419"/>
                    <a:pt x="1245" y="9419"/>
                    <a:pt x="1245" y="9419"/>
                  </a:cubicBezTo>
                  <a:cubicBezTo>
                    <a:pt x="1245" y="9419"/>
                    <a:pt x="1245" y="9419"/>
                    <a:pt x="1245" y="9419"/>
                  </a:cubicBezTo>
                  <a:cubicBezTo>
                    <a:pt x="1248" y="9429"/>
                    <a:pt x="1248" y="9429"/>
                    <a:pt x="1248" y="9429"/>
                  </a:cubicBezTo>
                  <a:cubicBezTo>
                    <a:pt x="1249" y="9432"/>
                    <a:pt x="1249" y="9432"/>
                    <a:pt x="1249" y="9432"/>
                  </a:cubicBezTo>
                  <a:lnTo>
                    <a:pt x="1161" y="9478"/>
                  </a:lnTo>
                  <a:close/>
                  <a:moveTo>
                    <a:pt x="1258" y="9444"/>
                  </a:moveTo>
                  <a:cubicBezTo>
                    <a:pt x="1271" y="9471"/>
                    <a:pt x="1271" y="9471"/>
                    <a:pt x="1271" y="9471"/>
                  </a:cubicBezTo>
                  <a:cubicBezTo>
                    <a:pt x="1181" y="9520"/>
                    <a:pt x="1181" y="9520"/>
                    <a:pt x="1181" y="9520"/>
                  </a:cubicBezTo>
                  <a:cubicBezTo>
                    <a:pt x="1180" y="9518"/>
                    <a:pt x="1180" y="9517"/>
                    <a:pt x="1179" y="9516"/>
                  </a:cubicBezTo>
                  <a:cubicBezTo>
                    <a:pt x="1176" y="9510"/>
                    <a:pt x="1172" y="9501"/>
                    <a:pt x="1167" y="9491"/>
                  </a:cubicBezTo>
                  <a:lnTo>
                    <a:pt x="1258" y="9444"/>
                  </a:lnTo>
                  <a:close/>
                  <a:moveTo>
                    <a:pt x="1266" y="9424"/>
                  </a:moveTo>
                  <a:cubicBezTo>
                    <a:pt x="1364" y="9374"/>
                    <a:pt x="1364" y="9374"/>
                    <a:pt x="1364" y="9374"/>
                  </a:cubicBezTo>
                  <a:cubicBezTo>
                    <a:pt x="1381" y="9412"/>
                    <a:pt x="1381" y="9412"/>
                    <a:pt x="1381" y="9412"/>
                  </a:cubicBezTo>
                  <a:cubicBezTo>
                    <a:pt x="1286" y="9464"/>
                    <a:pt x="1286" y="9464"/>
                    <a:pt x="1286" y="9464"/>
                  </a:cubicBezTo>
                  <a:lnTo>
                    <a:pt x="1266" y="9424"/>
                  </a:lnTo>
                  <a:close/>
                  <a:moveTo>
                    <a:pt x="1373" y="9353"/>
                  </a:moveTo>
                  <a:cubicBezTo>
                    <a:pt x="1483" y="9300"/>
                    <a:pt x="1483" y="9300"/>
                    <a:pt x="1483" y="9300"/>
                  </a:cubicBezTo>
                  <a:cubicBezTo>
                    <a:pt x="1504" y="9346"/>
                    <a:pt x="1504" y="9346"/>
                    <a:pt x="1504" y="9346"/>
                  </a:cubicBezTo>
                  <a:cubicBezTo>
                    <a:pt x="1396" y="9404"/>
                    <a:pt x="1396" y="9404"/>
                    <a:pt x="1396" y="9404"/>
                  </a:cubicBezTo>
                  <a:lnTo>
                    <a:pt x="1373" y="9353"/>
                  </a:lnTo>
                  <a:close/>
                  <a:moveTo>
                    <a:pt x="1493" y="9283"/>
                  </a:moveTo>
                  <a:cubicBezTo>
                    <a:pt x="1492" y="9277"/>
                    <a:pt x="1492" y="9277"/>
                    <a:pt x="1492" y="9277"/>
                  </a:cubicBezTo>
                  <a:cubicBezTo>
                    <a:pt x="1604" y="9223"/>
                    <a:pt x="1604" y="9223"/>
                    <a:pt x="1604" y="9223"/>
                  </a:cubicBezTo>
                  <a:cubicBezTo>
                    <a:pt x="1629" y="9278"/>
                    <a:pt x="1629" y="9278"/>
                    <a:pt x="1629" y="9278"/>
                  </a:cubicBezTo>
                  <a:cubicBezTo>
                    <a:pt x="1519" y="9338"/>
                    <a:pt x="1519" y="9338"/>
                    <a:pt x="1519" y="9338"/>
                  </a:cubicBezTo>
                  <a:lnTo>
                    <a:pt x="1493" y="9283"/>
                  </a:lnTo>
                  <a:close/>
                  <a:moveTo>
                    <a:pt x="1611" y="9201"/>
                  </a:moveTo>
                  <a:cubicBezTo>
                    <a:pt x="1707" y="9153"/>
                    <a:pt x="1707" y="9153"/>
                    <a:pt x="1707" y="9153"/>
                  </a:cubicBezTo>
                  <a:cubicBezTo>
                    <a:pt x="1722" y="9186"/>
                    <a:pt x="1733" y="9209"/>
                    <a:pt x="1738" y="9219"/>
                  </a:cubicBezTo>
                  <a:cubicBezTo>
                    <a:pt x="1644" y="9270"/>
                    <a:pt x="1644" y="9270"/>
                    <a:pt x="1644" y="9270"/>
                  </a:cubicBezTo>
                  <a:lnTo>
                    <a:pt x="1611" y="9201"/>
                  </a:lnTo>
                  <a:close/>
                  <a:moveTo>
                    <a:pt x="1715" y="9131"/>
                  </a:moveTo>
                  <a:cubicBezTo>
                    <a:pt x="1822" y="9080"/>
                    <a:pt x="1822" y="9080"/>
                    <a:pt x="1822" y="9080"/>
                  </a:cubicBezTo>
                  <a:cubicBezTo>
                    <a:pt x="1857" y="9155"/>
                    <a:pt x="1857" y="9155"/>
                    <a:pt x="1857" y="9155"/>
                  </a:cubicBezTo>
                  <a:cubicBezTo>
                    <a:pt x="1753" y="9212"/>
                    <a:pt x="1753" y="9212"/>
                    <a:pt x="1753" y="9212"/>
                  </a:cubicBezTo>
                  <a:cubicBezTo>
                    <a:pt x="1747" y="9199"/>
                    <a:pt x="1733" y="9170"/>
                    <a:pt x="1715" y="9131"/>
                  </a:cubicBezTo>
                  <a:close/>
                  <a:moveTo>
                    <a:pt x="1854" y="9110"/>
                  </a:moveTo>
                  <a:cubicBezTo>
                    <a:pt x="1961" y="9058"/>
                    <a:pt x="1961" y="9058"/>
                    <a:pt x="1961" y="9058"/>
                  </a:cubicBezTo>
                  <a:cubicBezTo>
                    <a:pt x="1968" y="9074"/>
                    <a:pt x="1974" y="9085"/>
                    <a:pt x="1976" y="9091"/>
                  </a:cubicBezTo>
                  <a:cubicBezTo>
                    <a:pt x="1872" y="9148"/>
                    <a:pt x="1872" y="9148"/>
                    <a:pt x="1872" y="9148"/>
                  </a:cubicBezTo>
                  <a:lnTo>
                    <a:pt x="1854" y="9110"/>
                  </a:lnTo>
                  <a:close/>
                  <a:moveTo>
                    <a:pt x="1969" y="9036"/>
                  </a:moveTo>
                  <a:cubicBezTo>
                    <a:pt x="1970" y="9035"/>
                    <a:pt x="1970" y="9035"/>
                    <a:pt x="1970" y="9035"/>
                  </a:cubicBezTo>
                  <a:cubicBezTo>
                    <a:pt x="1970" y="9035"/>
                    <a:pt x="1970" y="9035"/>
                    <a:pt x="1970" y="9035"/>
                  </a:cubicBezTo>
                  <a:cubicBezTo>
                    <a:pt x="2066" y="8985"/>
                    <a:pt x="2066" y="8985"/>
                    <a:pt x="2066" y="8985"/>
                  </a:cubicBezTo>
                  <a:cubicBezTo>
                    <a:pt x="2088" y="9031"/>
                    <a:pt x="2088" y="9031"/>
                    <a:pt x="2088" y="9031"/>
                  </a:cubicBezTo>
                  <a:cubicBezTo>
                    <a:pt x="1991" y="9083"/>
                    <a:pt x="1991" y="9083"/>
                    <a:pt x="1991" y="9083"/>
                  </a:cubicBezTo>
                  <a:cubicBezTo>
                    <a:pt x="1989" y="9081"/>
                    <a:pt x="1988" y="9078"/>
                    <a:pt x="1986" y="9074"/>
                  </a:cubicBezTo>
                  <a:cubicBezTo>
                    <a:pt x="1982" y="9064"/>
                    <a:pt x="1976" y="9051"/>
                    <a:pt x="1969" y="9036"/>
                  </a:cubicBezTo>
                  <a:close/>
                  <a:moveTo>
                    <a:pt x="2169" y="8919"/>
                  </a:moveTo>
                  <a:cubicBezTo>
                    <a:pt x="2173" y="8917"/>
                    <a:pt x="2173" y="8917"/>
                    <a:pt x="2173" y="8917"/>
                  </a:cubicBezTo>
                  <a:cubicBezTo>
                    <a:pt x="2158" y="8888"/>
                    <a:pt x="2158" y="8888"/>
                    <a:pt x="2158" y="8888"/>
                  </a:cubicBezTo>
                  <a:cubicBezTo>
                    <a:pt x="2158" y="8888"/>
                    <a:pt x="2159" y="8888"/>
                    <a:pt x="2160" y="8887"/>
                  </a:cubicBezTo>
                  <a:cubicBezTo>
                    <a:pt x="2163" y="8885"/>
                    <a:pt x="2166" y="8883"/>
                    <a:pt x="2171" y="8880"/>
                  </a:cubicBezTo>
                  <a:cubicBezTo>
                    <a:pt x="2181" y="8874"/>
                    <a:pt x="2195" y="8865"/>
                    <a:pt x="2212" y="8855"/>
                  </a:cubicBezTo>
                  <a:cubicBezTo>
                    <a:pt x="2246" y="8835"/>
                    <a:pt x="2291" y="8809"/>
                    <a:pt x="2337" y="8782"/>
                  </a:cubicBezTo>
                  <a:cubicBezTo>
                    <a:pt x="2420" y="8734"/>
                    <a:pt x="2502" y="8687"/>
                    <a:pt x="2515" y="8680"/>
                  </a:cubicBezTo>
                  <a:cubicBezTo>
                    <a:pt x="2564" y="8783"/>
                    <a:pt x="2564" y="8783"/>
                    <a:pt x="2564" y="8783"/>
                  </a:cubicBezTo>
                  <a:cubicBezTo>
                    <a:pt x="2500" y="8816"/>
                    <a:pt x="2441" y="8848"/>
                    <a:pt x="2388" y="8876"/>
                  </a:cubicBezTo>
                  <a:cubicBezTo>
                    <a:pt x="2302" y="8921"/>
                    <a:pt x="2233" y="8956"/>
                    <a:pt x="2195" y="8974"/>
                  </a:cubicBezTo>
                  <a:lnTo>
                    <a:pt x="2169" y="8919"/>
                  </a:lnTo>
                  <a:close/>
                  <a:moveTo>
                    <a:pt x="2547" y="8641"/>
                  </a:moveTo>
                  <a:cubicBezTo>
                    <a:pt x="2545" y="8642"/>
                    <a:pt x="2545" y="8642"/>
                    <a:pt x="2545" y="8642"/>
                  </a:cubicBezTo>
                  <a:cubicBezTo>
                    <a:pt x="2443" y="8428"/>
                    <a:pt x="2443" y="8428"/>
                    <a:pt x="2443" y="8428"/>
                  </a:cubicBezTo>
                  <a:cubicBezTo>
                    <a:pt x="2443" y="8428"/>
                    <a:pt x="2444" y="8428"/>
                    <a:pt x="2444" y="8428"/>
                  </a:cubicBezTo>
                  <a:cubicBezTo>
                    <a:pt x="2449" y="8426"/>
                    <a:pt x="2455" y="8423"/>
                    <a:pt x="2463" y="8420"/>
                  </a:cubicBezTo>
                  <a:cubicBezTo>
                    <a:pt x="2479" y="8414"/>
                    <a:pt x="2500" y="8406"/>
                    <a:pt x="2521" y="8398"/>
                  </a:cubicBezTo>
                  <a:cubicBezTo>
                    <a:pt x="2541" y="8390"/>
                    <a:pt x="2561" y="8383"/>
                    <a:pt x="2577" y="8377"/>
                  </a:cubicBezTo>
                  <a:cubicBezTo>
                    <a:pt x="2470" y="8419"/>
                    <a:pt x="2470" y="8419"/>
                    <a:pt x="2470" y="8419"/>
                  </a:cubicBezTo>
                  <a:cubicBezTo>
                    <a:pt x="2566" y="8640"/>
                    <a:pt x="2566" y="8640"/>
                    <a:pt x="2566" y="8640"/>
                  </a:cubicBezTo>
                  <a:cubicBezTo>
                    <a:pt x="2643" y="8619"/>
                    <a:pt x="2643" y="8619"/>
                    <a:pt x="2643" y="8619"/>
                  </a:cubicBezTo>
                  <a:cubicBezTo>
                    <a:pt x="2655" y="8501"/>
                    <a:pt x="2655" y="8501"/>
                    <a:pt x="2655" y="8501"/>
                  </a:cubicBezTo>
                  <a:cubicBezTo>
                    <a:pt x="2751" y="8595"/>
                    <a:pt x="2751" y="8595"/>
                    <a:pt x="2751" y="8595"/>
                  </a:cubicBezTo>
                  <a:cubicBezTo>
                    <a:pt x="2796" y="8585"/>
                    <a:pt x="2796" y="8585"/>
                    <a:pt x="2796" y="8585"/>
                  </a:cubicBezTo>
                  <a:cubicBezTo>
                    <a:pt x="2580" y="8376"/>
                    <a:pt x="2580" y="8376"/>
                    <a:pt x="2580" y="8376"/>
                  </a:cubicBezTo>
                  <a:cubicBezTo>
                    <a:pt x="2588" y="8373"/>
                    <a:pt x="2596" y="8370"/>
                    <a:pt x="2600" y="8369"/>
                  </a:cubicBezTo>
                  <a:cubicBezTo>
                    <a:pt x="2858" y="8626"/>
                    <a:pt x="2858" y="8626"/>
                    <a:pt x="2858" y="8626"/>
                  </a:cubicBezTo>
                  <a:cubicBezTo>
                    <a:pt x="2771" y="8673"/>
                    <a:pt x="2685" y="8719"/>
                    <a:pt x="2604" y="8761"/>
                  </a:cubicBezTo>
                  <a:lnTo>
                    <a:pt x="2547" y="8641"/>
                  </a:lnTo>
                  <a:close/>
                  <a:moveTo>
                    <a:pt x="2767" y="8577"/>
                  </a:moveTo>
                  <a:cubicBezTo>
                    <a:pt x="2755" y="8579"/>
                    <a:pt x="2755" y="8579"/>
                    <a:pt x="2755" y="8579"/>
                  </a:cubicBezTo>
                  <a:cubicBezTo>
                    <a:pt x="2665" y="8491"/>
                    <a:pt x="2665" y="8491"/>
                    <a:pt x="2665" y="8491"/>
                  </a:cubicBezTo>
                  <a:cubicBezTo>
                    <a:pt x="2645" y="8471"/>
                    <a:pt x="2645" y="8471"/>
                    <a:pt x="2645" y="8471"/>
                  </a:cubicBezTo>
                  <a:cubicBezTo>
                    <a:pt x="2642" y="8500"/>
                    <a:pt x="2642" y="8500"/>
                    <a:pt x="2642" y="8500"/>
                  </a:cubicBezTo>
                  <a:cubicBezTo>
                    <a:pt x="2630" y="8608"/>
                    <a:pt x="2630" y="8608"/>
                    <a:pt x="2630" y="8608"/>
                  </a:cubicBezTo>
                  <a:cubicBezTo>
                    <a:pt x="2574" y="8623"/>
                    <a:pt x="2574" y="8623"/>
                    <a:pt x="2574" y="8623"/>
                  </a:cubicBezTo>
                  <a:cubicBezTo>
                    <a:pt x="2488" y="8427"/>
                    <a:pt x="2488" y="8427"/>
                    <a:pt x="2488" y="8427"/>
                  </a:cubicBezTo>
                  <a:cubicBezTo>
                    <a:pt x="2576" y="8392"/>
                    <a:pt x="2576" y="8392"/>
                    <a:pt x="2576" y="8392"/>
                  </a:cubicBezTo>
                  <a:lnTo>
                    <a:pt x="2767" y="8577"/>
                  </a:lnTo>
                  <a:close/>
                  <a:moveTo>
                    <a:pt x="3342" y="8127"/>
                  </a:moveTo>
                  <a:cubicBezTo>
                    <a:pt x="3332" y="8116"/>
                    <a:pt x="3317" y="8102"/>
                    <a:pt x="3299" y="8084"/>
                  </a:cubicBezTo>
                  <a:cubicBezTo>
                    <a:pt x="3264" y="8049"/>
                    <a:pt x="3216" y="8002"/>
                    <a:pt x="3169" y="7956"/>
                  </a:cubicBezTo>
                  <a:cubicBezTo>
                    <a:pt x="3129" y="7917"/>
                    <a:pt x="3090" y="7878"/>
                    <a:pt x="3057" y="7846"/>
                  </a:cubicBezTo>
                  <a:cubicBezTo>
                    <a:pt x="3435" y="7552"/>
                    <a:pt x="3435" y="7552"/>
                    <a:pt x="3435" y="7552"/>
                  </a:cubicBezTo>
                  <a:cubicBezTo>
                    <a:pt x="3512" y="7570"/>
                    <a:pt x="3512" y="7570"/>
                    <a:pt x="3512" y="7570"/>
                  </a:cubicBezTo>
                  <a:cubicBezTo>
                    <a:pt x="3656" y="7957"/>
                    <a:pt x="3656" y="7957"/>
                    <a:pt x="3656" y="7957"/>
                  </a:cubicBezTo>
                  <a:cubicBezTo>
                    <a:pt x="3473" y="8176"/>
                    <a:pt x="3473" y="8176"/>
                    <a:pt x="3473" y="8176"/>
                  </a:cubicBezTo>
                  <a:cubicBezTo>
                    <a:pt x="3457" y="8170"/>
                    <a:pt x="3406" y="8155"/>
                    <a:pt x="3377" y="8146"/>
                  </a:cubicBezTo>
                  <a:cubicBezTo>
                    <a:pt x="3367" y="8143"/>
                    <a:pt x="3361" y="8142"/>
                    <a:pt x="3356" y="8141"/>
                  </a:cubicBezTo>
                  <a:cubicBezTo>
                    <a:pt x="3356" y="8140"/>
                    <a:pt x="3355" y="8139"/>
                    <a:pt x="3354" y="8138"/>
                  </a:cubicBezTo>
                  <a:cubicBezTo>
                    <a:pt x="3351" y="8136"/>
                    <a:pt x="3347" y="8132"/>
                    <a:pt x="3342" y="8127"/>
                  </a:cubicBezTo>
                  <a:close/>
                  <a:moveTo>
                    <a:pt x="3590" y="7733"/>
                  </a:moveTo>
                  <a:cubicBezTo>
                    <a:pt x="3856" y="7679"/>
                    <a:pt x="3856" y="7679"/>
                    <a:pt x="3856" y="7679"/>
                  </a:cubicBezTo>
                  <a:cubicBezTo>
                    <a:pt x="3857" y="7682"/>
                    <a:pt x="3857" y="7685"/>
                    <a:pt x="3857" y="7687"/>
                  </a:cubicBezTo>
                  <a:cubicBezTo>
                    <a:pt x="3857" y="7690"/>
                    <a:pt x="3858" y="7691"/>
                    <a:pt x="3858" y="7693"/>
                  </a:cubicBezTo>
                  <a:cubicBezTo>
                    <a:pt x="3858" y="7695"/>
                    <a:pt x="3858" y="7697"/>
                    <a:pt x="3858" y="7700"/>
                  </a:cubicBezTo>
                  <a:cubicBezTo>
                    <a:pt x="3858" y="7761"/>
                    <a:pt x="3875" y="7865"/>
                    <a:pt x="3881" y="7903"/>
                  </a:cubicBezTo>
                  <a:cubicBezTo>
                    <a:pt x="3881" y="7903"/>
                    <a:pt x="3881" y="7903"/>
                    <a:pt x="3881" y="7903"/>
                  </a:cubicBezTo>
                  <a:cubicBezTo>
                    <a:pt x="3881" y="7904"/>
                    <a:pt x="3882" y="7905"/>
                    <a:pt x="3882" y="7907"/>
                  </a:cubicBezTo>
                  <a:cubicBezTo>
                    <a:pt x="3882" y="7907"/>
                    <a:pt x="3882" y="7908"/>
                    <a:pt x="3882" y="7909"/>
                  </a:cubicBezTo>
                  <a:cubicBezTo>
                    <a:pt x="3727" y="7979"/>
                    <a:pt x="3727" y="7979"/>
                    <a:pt x="3727" y="7979"/>
                  </a:cubicBezTo>
                  <a:cubicBezTo>
                    <a:pt x="3675" y="7961"/>
                    <a:pt x="3675" y="7961"/>
                    <a:pt x="3675" y="7961"/>
                  </a:cubicBezTo>
                  <a:lnTo>
                    <a:pt x="3590" y="7733"/>
                  </a:lnTo>
                  <a:close/>
                  <a:moveTo>
                    <a:pt x="3711" y="7361"/>
                  </a:moveTo>
                  <a:cubicBezTo>
                    <a:pt x="3859" y="7241"/>
                    <a:pt x="3859" y="7241"/>
                    <a:pt x="3859" y="7241"/>
                  </a:cubicBezTo>
                  <a:cubicBezTo>
                    <a:pt x="3867" y="7242"/>
                    <a:pt x="3887" y="7245"/>
                    <a:pt x="3896" y="7246"/>
                  </a:cubicBezTo>
                  <a:cubicBezTo>
                    <a:pt x="3896" y="7247"/>
                    <a:pt x="3896" y="7247"/>
                    <a:pt x="3897" y="7247"/>
                  </a:cubicBezTo>
                  <a:cubicBezTo>
                    <a:pt x="3899" y="7249"/>
                    <a:pt x="3902" y="7252"/>
                    <a:pt x="3906" y="7256"/>
                  </a:cubicBezTo>
                  <a:cubicBezTo>
                    <a:pt x="3914" y="7264"/>
                    <a:pt x="3925" y="7274"/>
                    <a:pt x="3939" y="7287"/>
                  </a:cubicBezTo>
                  <a:cubicBezTo>
                    <a:pt x="3966" y="7313"/>
                    <a:pt x="4003" y="7347"/>
                    <a:pt x="4040" y="7382"/>
                  </a:cubicBezTo>
                  <a:cubicBezTo>
                    <a:pt x="4103" y="7441"/>
                    <a:pt x="4167" y="7500"/>
                    <a:pt x="4182" y="7515"/>
                  </a:cubicBezTo>
                  <a:cubicBezTo>
                    <a:pt x="4159" y="7525"/>
                    <a:pt x="4144" y="7532"/>
                    <a:pt x="4144" y="7532"/>
                  </a:cubicBezTo>
                  <a:cubicBezTo>
                    <a:pt x="4144" y="7532"/>
                    <a:pt x="4144" y="7532"/>
                    <a:pt x="4144" y="7532"/>
                  </a:cubicBezTo>
                  <a:cubicBezTo>
                    <a:pt x="4145" y="7534"/>
                    <a:pt x="4145" y="7534"/>
                    <a:pt x="4145" y="7534"/>
                  </a:cubicBezTo>
                  <a:cubicBezTo>
                    <a:pt x="4034" y="7589"/>
                    <a:pt x="4034" y="7589"/>
                    <a:pt x="4034" y="7589"/>
                  </a:cubicBezTo>
                  <a:cubicBezTo>
                    <a:pt x="3921" y="7639"/>
                    <a:pt x="3921" y="7639"/>
                    <a:pt x="3921" y="7639"/>
                  </a:cubicBezTo>
                  <a:cubicBezTo>
                    <a:pt x="3920" y="7635"/>
                    <a:pt x="3920" y="7630"/>
                    <a:pt x="3919" y="7626"/>
                  </a:cubicBezTo>
                  <a:cubicBezTo>
                    <a:pt x="3916" y="7605"/>
                    <a:pt x="3909" y="7593"/>
                    <a:pt x="3907" y="7590"/>
                  </a:cubicBezTo>
                  <a:cubicBezTo>
                    <a:pt x="3905" y="7588"/>
                    <a:pt x="3905" y="7588"/>
                    <a:pt x="3905" y="7588"/>
                  </a:cubicBezTo>
                  <a:lnTo>
                    <a:pt x="3711" y="7361"/>
                  </a:lnTo>
                  <a:close/>
                  <a:moveTo>
                    <a:pt x="4018" y="7671"/>
                  </a:moveTo>
                  <a:cubicBezTo>
                    <a:pt x="4063" y="7651"/>
                    <a:pt x="4063" y="7651"/>
                    <a:pt x="4063" y="7651"/>
                  </a:cubicBezTo>
                  <a:cubicBezTo>
                    <a:pt x="4125" y="7620"/>
                    <a:pt x="4125" y="7620"/>
                    <a:pt x="4125" y="7620"/>
                  </a:cubicBezTo>
                  <a:cubicBezTo>
                    <a:pt x="4171" y="7824"/>
                    <a:pt x="4171" y="7824"/>
                    <a:pt x="4171" y="7824"/>
                  </a:cubicBezTo>
                  <a:cubicBezTo>
                    <a:pt x="4094" y="7835"/>
                    <a:pt x="4094" y="7835"/>
                    <a:pt x="4094" y="7835"/>
                  </a:cubicBezTo>
                  <a:cubicBezTo>
                    <a:pt x="4118" y="7990"/>
                    <a:pt x="4118" y="7990"/>
                    <a:pt x="4118" y="7990"/>
                  </a:cubicBezTo>
                  <a:cubicBezTo>
                    <a:pt x="4205" y="7978"/>
                    <a:pt x="4205" y="7978"/>
                    <a:pt x="4205" y="7978"/>
                  </a:cubicBezTo>
                  <a:cubicBezTo>
                    <a:pt x="4216" y="8028"/>
                    <a:pt x="4216" y="8028"/>
                    <a:pt x="4216" y="8028"/>
                  </a:cubicBezTo>
                  <a:cubicBezTo>
                    <a:pt x="4178" y="8025"/>
                    <a:pt x="4141" y="8022"/>
                    <a:pt x="4104" y="8021"/>
                  </a:cubicBezTo>
                  <a:lnTo>
                    <a:pt x="4018" y="7671"/>
                  </a:lnTo>
                  <a:close/>
                  <a:moveTo>
                    <a:pt x="4280" y="8185"/>
                  </a:moveTo>
                  <a:cubicBezTo>
                    <a:pt x="4301" y="8186"/>
                    <a:pt x="4322" y="8186"/>
                    <a:pt x="4345" y="8186"/>
                  </a:cubicBezTo>
                  <a:cubicBezTo>
                    <a:pt x="4374" y="8186"/>
                    <a:pt x="4405" y="8185"/>
                    <a:pt x="4437" y="8183"/>
                  </a:cubicBezTo>
                  <a:cubicBezTo>
                    <a:pt x="4507" y="8178"/>
                    <a:pt x="4601" y="8164"/>
                    <a:pt x="4697" y="8148"/>
                  </a:cubicBezTo>
                  <a:cubicBezTo>
                    <a:pt x="4755" y="8146"/>
                    <a:pt x="4812" y="8145"/>
                    <a:pt x="4865" y="8145"/>
                  </a:cubicBezTo>
                  <a:cubicBezTo>
                    <a:pt x="4976" y="8145"/>
                    <a:pt x="5076" y="8148"/>
                    <a:pt x="5155" y="8152"/>
                  </a:cubicBezTo>
                  <a:cubicBezTo>
                    <a:pt x="5402" y="8163"/>
                    <a:pt x="5900" y="8219"/>
                    <a:pt x="6170" y="8219"/>
                  </a:cubicBezTo>
                  <a:cubicBezTo>
                    <a:pt x="6170" y="8219"/>
                    <a:pt x="6171" y="8219"/>
                    <a:pt x="6171" y="8219"/>
                  </a:cubicBezTo>
                  <a:cubicBezTo>
                    <a:pt x="6211" y="8219"/>
                    <a:pt x="6246" y="8218"/>
                    <a:pt x="6273" y="8215"/>
                  </a:cubicBezTo>
                  <a:cubicBezTo>
                    <a:pt x="6293" y="8213"/>
                    <a:pt x="6308" y="8210"/>
                    <a:pt x="6316" y="8208"/>
                  </a:cubicBezTo>
                  <a:cubicBezTo>
                    <a:pt x="6318" y="8207"/>
                    <a:pt x="6319" y="8207"/>
                    <a:pt x="6321" y="8206"/>
                  </a:cubicBezTo>
                  <a:cubicBezTo>
                    <a:pt x="6334" y="8200"/>
                    <a:pt x="6348" y="8187"/>
                    <a:pt x="6363" y="8157"/>
                  </a:cubicBezTo>
                  <a:cubicBezTo>
                    <a:pt x="6414" y="8160"/>
                    <a:pt x="6457" y="8163"/>
                    <a:pt x="6493" y="8166"/>
                  </a:cubicBezTo>
                  <a:cubicBezTo>
                    <a:pt x="6487" y="8181"/>
                    <a:pt x="6481" y="8196"/>
                    <a:pt x="6474" y="8211"/>
                  </a:cubicBezTo>
                  <a:cubicBezTo>
                    <a:pt x="6453" y="8254"/>
                    <a:pt x="6421" y="8296"/>
                    <a:pt x="6371" y="8319"/>
                  </a:cubicBezTo>
                  <a:cubicBezTo>
                    <a:pt x="6344" y="8330"/>
                    <a:pt x="6318" y="8334"/>
                    <a:pt x="6285" y="8337"/>
                  </a:cubicBezTo>
                  <a:cubicBezTo>
                    <a:pt x="6252" y="8341"/>
                    <a:pt x="6214" y="8342"/>
                    <a:pt x="6171" y="8342"/>
                  </a:cubicBezTo>
                  <a:cubicBezTo>
                    <a:pt x="6104" y="8342"/>
                    <a:pt x="6024" y="8339"/>
                    <a:pt x="5939" y="8333"/>
                  </a:cubicBezTo>
                  <a:cubicBezTo>
                    <a:pt x="5937" y="8330"/>
                    <a:pt x="5937" y="8330"/>
                    <a:pt x="5937" y="8330"/>
                  </a:cubicBezTo>
                  <a:cubicBezTo>
                    <a:pt x="5935" y="8332"/>
                    <a:pt x="5934" y="8333"/>
                    <a:pt x="5934" y="8333"/>
                  </a:cubicBezTo>
                  <a:cubicBezTo>
                    <a:pt x="5662" y="8317"/>
                    <a:pt x="5331" y="8283"/>
                    <a:pt x="5150" y="8275"/>
                  </a:cubicBezTo>
                  <a:cubicBezTo>
                    <a:pt x="5130" y="8274"/>
                    <a:pt x="5109" y="8273"/>
                    <a:pt x="5087" y="8272"/>
                  </a:cubicBezTo>
                  <a:cubicBezTo>
                    <a:pt x="5087" y="8265"/>
                    <a:pt x="5087" y="8265"/>
                    <a:pt x="5087" y="8265"/>
                  </a:cubicBezTo>
                  <a:cubicBezTo>
                    <a:pt x="5073" y="8264"/>
                    <a:pt x="5073" y="8264"/>
                    <a:pt x="5073" y="8264"/>
                  </a:cubicBezTo>
                  <a:cubicBezTo>
                    <a:pt x="5073" y="8272"/>
                    <a:pt x="5073" y="8272"/>
                    <a:pt x="5073" y="8272"/>
                  </a:cubicBezTo>
                  <a:cubicBezTo>
                    <a:pt x="5011" y="8270"/>
                    <a:pt x="4941" y="8268"/>
                    <a:pt x="4865" y="8268"/>
                  </a:cubicBezTo>
                  <a:cubicBezTo>
                    <a:pt x="4862" y="8268"/>
                    <a:pt x="4858" y="8268"/>
                    <a:pt x="4855" y="8268"/>
                  </a:cubicBezTo>
                  <a:cubicBezTo>
                    <a:pt x="4826" y="8268"/>
                    <a:pt x="4796" y="8268"/>
                    <a:pt x="4765" y="8269"/>
                  </a:cubicBezTo>
                  <a:cubicBezTo>
                    <a:pt x="4764" y="8262"/>
                    <a:pt x="4764" y="8262"/>
                    <a:pt x="4764" y="8262"/>
                  </a:cubicBezTo>
                  <a:cubicBezTo>
                    <a:pt x="4750" y="8264"/>
                    <a:pt x="4750" y="8264"/>
                    <a:pt x="4750" y="8264"/>
                  </a:cubicBezTo>
                  <a:cubicBezTo>
                    <a:pt x="4751" y="8269"/>
                    <a:pt x="4751" y="8269"/>
                    <a:pt x="4751" y="8269"/>
                  </a:cubicBezTo>
                  <a:cubicBezTo>
                    <a:pt x="4698" y="8270"/>
                    <a:pt x="4643" y="8273"/>
                    <a:pt x="4588" y="8276"/>
                  </a:cubicBezTo>
                  <a:cubicBezTo>
                    <a:pt x="4588" y="8275"/>
                    <a:pt x="4588" y="8273"/>
                    <a:pt x="4588" y="8273"/>
                  </a:cubicBezTo>
                  <a:cubicBezTo>
                    <a:pt x="4574" y="8273"/>
                    <a:pt x="4574" y="8273"/>
                    <a:pt x="4574" y="8273"/>
                  </a:cubicBezTo>
                  <a:cubicBezTo>
                    <a:pt x="4574" y="8273"/>
                    <a:pt x="4574" y="8275"/>
                    <a:pt x="4574" y="8277"/>
                  </a:cubicBezTo>
                  <a:cubicBezTo>
                    <a:pt x="4494" y="8282"/>
                    <a:pt x="4413" y="8290"/>
                    <a:pt x="4333" y="8301"/>
                  </a:cubicBezTo>
                  <a:cubicBezTo>
                    <a:pt x="4331" y="8294"/>
                    <a:pt x="4331" y="8294"/>
                    <a:pt x="4331" y="8294"/>
                  </a:cubicBezTo>
                  <a:cubicBezTo>
                    <a:pt x="4318" y="8297"/>
                    <a:pt x="4318" y="8297"/>
                    <a:pt x="4318" y="8297"/>
                  </a:cubicBezTo>
                  <a:cubicBezTo>
                    <a:pt x="4319" y="8303"/>
                    <a:pt x="4319" y="8303"/>
                    <a:pt x="4319" y="8303"/>
                  </a:cubicBezTo>
                  <a:cubicBezTo>
                    <a:pt x="4152" y="8328"/>
                    <a:pt x="3990" y="8368"/>
                    <a:pt x="3857" y="8431"/>
                  </a:cubicBezTo>
                  <a:cubicBezTo>
                    <a:pt x="3810" y="8318"/>
                    <a:pt x="3810" y="8318"/>
                    <a:pt x="3810" y="8318"/>
                  </a:cubicBezTo>
                  <a:cubicBezTo>
                    <a:pt x="3951" y="8252"/>
                    <a:pt x="4114" y="8211"/>
                    <a:pt x="4280" y="8185"/>
                  </a:cubicBezTo>
                  <a:close/>
                  <a:moveTo>
                    <a:pt x="4324" y="8319"/>
                  </a:moveTo>
                  <a:cubicBezTo>
                    <a:pt x="4429" y="8715"/>
                    <a:pt x="4429" y="8715"/>
                    <a:pt x="4429" y="8715"/>
                  </a:cubicBezTo>
                  <a:cubicBezTo>
                    <a:pt x="4442" y="8711"/>
                    <a:pt x="4442" y="8711"/>
                    <a:pt x="4442" y="8711"/>
                  </a:cubicBezTo>
                  <a:cubicBezTo>
                    <a:pt x="4338" y="8317"/>
                    <a:pt x="4338" y="8317"/>
                    <a:pt x="4338" y="8317"/>
                  </a:cubicBezTo>
                  <a:cubicBezTo>
                    <a:pt x="4416" y="8306"/>
                    <a:pt x="4495" y="8299"/>
                    <a:pt x="4574" y="8293"/>
                  </a:cubicBezTo>
                  <a:cubicBezTo>
                    <a:pt x="4573" y="8363"/>
                    <a:pt x="4569" y="8595"/>
                    <a:pt x="4569" y="8625"/>
                  </a:cubicBezTo>
                  <a:cubicBezTo>
                    <a:pt x="4077" y="8960"/>
                    <a:pt x="4077" y="8960"/>
                    <a:pt x="4077" y="8960"/>
                  </a:cubicBezTo>
                  <a:cubicBezTo>
                    <a:pt x="3863" y="8446"/>
                    <a:pt x="3863" y="8446"/>
                    <a:pt x="3863" y="8446"/>
                  </a:cubicBezTo>
                  <a:cubicBezTo>
                    <a:pt x="3995" y="8384"/>
                    <a:pt x="4156" y="8344"/>
                    <a:pt x="4324" y="8319"/>
                  </a:cubicBezTo>
                  <a:close/>
                  <a:moveTo>
                    <a:pt x="3357" y="9834"/>
                  </a:moveTo>
                  <a:cubicBezTo>
                    <a:pt x="3374" y="9859"/>
                    <a:pt x="3396" y="9893"/>
                    <a:pt x="3419" y="9930"/>
                  </a:cubicBezTo>
                  <a:cubicBezTo>
                    <a:pt x="3465" y="10003"/>
                    <a:pt x="3517" y="10084"/>
                    <a:pt x="3538" y="10118"/>
                  </a:cubicBezTo>
                  <a:cubicBezTo>
                    <a:pt x="3545" y="10128"/>
                    <a:pt x="3548" y="10133"/>
                    <a:pt x="3550" y="10136"/>
                  </a:cubicBezTo>
                  <a:cubicBezTo>
                    <a:pt x="3551" y="10136"/>
                    <a:pt x="3550" y="10136"/>
                    <a:pt x="3553" y="10137"/>
                  </a:cubicBezTo>
                  <a:cubicBezTo>
                    <a:pt x="3553" y="10137"/>
                    <a:pt x="3553" y="10137"/>
                    <a:pt x="3553" y="10137"/>
                  </a:cubicBezTo>
                  <a:cubicBezTo>
                    <a:pt x="3538" y="10143"/>
                    <a:pt x="3450" y="10179"/>
                    <a:pt x="3360" y="10216"/>
                  </a:cubicBezTo>
                  <a:cubicBezTo>
                    <a:pt x="3291" y="10244"/>
                    <a:pt x="3221" y="10272"/>
                    <a:pt x="3182" y="10287"/>
                  </a:cubicBezTo>
                  <a:cubicBezTo>
                    <a:pt x="3112" y="9997"/>
                    <a:pt x="3112" y="9997"/>
                    <a:pt x="3112" y="9997"/>
                  </a:cubicBezTo>
                  <a:cubicBezTo>
                    <a:pt x="3145" y="9981"/>
                    <a:pt x="3171" y="9969"/>
                    <a:pt x="3191" y="9957"/>
                  </a:cubicBezTo>
                  <a:cubicBezTo>
                    <a:pt x="3241" y="9931"/>
                    <a:pt x="3267" y="9905"/>
                    <a:pt x="3310" y="9845"/>
                  </a:cubicBezTo>
                  <a:cubicBezTo>
                    <a:pt x="3320" y="9831"/>
                    <a:pt x="3328" y="9817"/>
                    <a:pt x="3336" y="9802"/>
                  </a:cubicBezTo>
                  <a:cubicBezTo>
                    <a:pt x="3336" y="9803"/>
                    <a:pt x="3336" y="9803"/>
                    <a:pt x="3337" y="9804"/>
                  </a:cubicBezTo>
                  <a:cubicBezTo>
                    <a:pt x="3342" y="9811"/>
                    <a:pt x="3349" y="9821"/>
                    <a:pt x="3357" y="9834"/>
                  </a:cubicBezTo>
                  <a:close/>
                  <a:moveTo>
                    <a:pt x="3169" y="10292"/>
                  </a:moveTo>
                  <a:cubicBezTo>
                    <a:pt x="3160" y="10295"/>
                    <a:pt x="3154" y="10298"/>
                    <a:pt x="3152" y="10298"/>
                  </a:cubicBezTo>
                  <a:cubicBezTo>
                    <a:pt x="3152" y="10298"/>
                    <a:pt x="3152" y="10298"/>
                    <a:pt x="3152" y="10298"/>
                  </a:cubicBezTo>
                  <a:cubicBezTo>
                    <a:pt x="3148" y="10299"/>
                    <a:pt x="3149" y="10300"/>
                    <a:pt x="3145" y="10301"/>
                  </a:cubicBezTo>
                  <a:cubicBezTo>
                    <a:pt x="3143" y="10302"/>
                    <a:pt x="3139" y="10305"/>
                    <a:pt x="3134" y="10307"/>
                  </a:cubicBezTo>
                  <a:cubicBezTo>
                    <a:pt x="3124" y="10313"/>
                    <a:pt x="3110" y="10320"/>
                    <a:pt x="3094" y="10329"/>
                  </a:cubicBezTo>
                  <a:cubicBezTo>
                    <a:pt x="3062" y="10348"/>
                    <a:pt x="3020" y="10372"/>
                    <a:pt x="2978" y="10396"/>
                  </a:cubicBezTo>
                  <a:cubicBezTo>
                    <a:pt x="2906" y="10438"/>
                    <a:pt x="2835" y="10479"/>
                    <a:pt x="2815" y="10491"/>
                  </a:cubicBezTo>
                  <a:cubicBezTo>
                    <a:pt x="2596" y="10200"/>
                    <a:pt x="2596" y="10200"/>
                    <a:pt x="2596" y="10200"/>
                  </a:cubicBezTo>
                  <a:cubicBezTo>
                    <a:pt x="2696" y="10187"/>
                    <a:pt x="2810" y="10159"/>
                    <a:pt x="2920" y="10097"/>
                  </a:cubicBezTo>
                  <a:cubicBezTo>
                    <a:pt x="2999" y="10054"/>
                    <a:pt x="3056" y="10025"/>
                    <a:pt x="3099" y="10003"/>
                  </a:cubicBezTo>
                  <a:lnTo>
                    <a:pt x="3169" y="10292"/>
                  </a:lnTo>
                  <a:close/>
                  <a:moveTo>
                    <a:pt x="2802" y="10496"/>
                  </a:moveTo>
                  <a:cubicBezTo>
                    <a:pt x="2747" y="10510"/>
                    <a:pt x="2747" y="10510"/>
                    <a:pt x="2747" y="10510"/>
                  </a:cubicBezTo>
                  <a:cubicBezTo>
                    <a:pt x="2550" y="10236"/>
                    <a:pt x="2550" y="10236"/>
                    <a:pt x="2550" y="10236"/>
                  </a:cubicBezTo>
                  <a:cubicBezTo>
                    <a:pt x="2468" y="10240"/>
                    <a:pt x="2468" y="10240"/>
                    <a:pt x="2468" y="10240"/>
                  </a:cubicBezTo>
                  <a:cubicBezTo>
                    <a:pt x="2653" y="10516"/>
                    <a:pt x="2653" y="10516"/>
                    <a:pt x="2653" y="10516"/>
                  </a:cubicBezTo>
                  <a:cubicBezTo>
                    <a:pt x="2734" y="10512"/>
                    <a:pt x="2734" y="10512"/>
                    <a:pt x="2734" y="10512"/>
                  </a:cubicBezTo>
                  <a:cubicBezTo>
                    <a:pt x="2744" y="10511"/>
                    <a:pt x="2744" y="10511"/>
                    <a:pt x="2744" y="10511"/>
                  </a:cubicBezTo>
                  <a:cubicBezTo>
                    <a:pt x="2556" y="10560"/>
                    <a:pt x="2556" y="10560"/>
                    <a:pt x="2556" y="10560"/>
                  </a:cubicBezTo>
                  <a:cubicBezTo>
                    <a:pt x="2535" y="10560"/>
                    <a:pt x="2535" y="10560"/>
                    <a:pt x="2535" y="10560"/>
                  </a:cubicBezTo>
                  <a:cubicBezTo>
                    <a:pt x="2541" y="10564"/>
                    <a:pt x="2541" y="10564"/>
                    <a:pt x="2541" y="10564"/>
                  </a:cubicBezTo>
                  <a:cubicBezTo>
                    <a:pt x="2494" y="10576"/>
                    <a:pt x="2494" y="10576"/>
                    <a:pt x="2494" y="10576"/>
                  </a:cubicBezTo>
                  <a:cubicBezTo>
                    <a:pt x="2270" y="10536"/>
                    <a:pt x="2270" y="10536"/>
                    <a:pt x="2270" y="10536"/>
                  </a:cubicBezTo>
                  <a:cubicBezTo>
                    <a:pt x="2337" y="10200"/>
                    <a:pt x="2337" y="10200"/>
                    <a:pt x="2337" y="10200"/>
                  </a:cubicBezTo>
                  <a:cubicBezTo>
                    <a:pt x="2362" y="10203"/>
                    <a:pt x="2404" y="10209"/>
                    <a:pt x="2462" y="10209"/>
                  </a:cubicBezTo>
                  <a:cubicBezTo>
                    <a:pt x="2497" y="10209"/>
                    <a:pt x="2537" y="10207"/>
                    <a:pt x="2581" y="10202"/>
                  </a:cubicBezTo>
                  <a:lnTo>
                    <a:pt x="2802" y="10496"/>
                  </a:lnTo>
                  <a:close/>
                  <a:moveTo>
                    <a:pt x="2720" y="10498"/>
                  </a:moveTo>
                  <a:cubicBezTo>
                    <a:pt x="2661" y="10500"/>
                    <a:pt x="2661" y="10500"/>
                    <a:pt x="2661" y="10500"/>
                  </a:cubicBezTo>
                  <a:cubicBezTo>
                    <a:pt x="2495" y="10253"/>
                    <a:pt x="2495" y="10253"/>
                    <a:pt x="2495" y="10253"/>
                  </a:cubicBezTo>
                  <a:cubicBezTo>
                    <a:pt x="2543" y="10251"/>
                    <a:pt x="2543" y="10251"/>
                    <a:pt x="2543" y="10251"/>
                  </a:cubicBezTo>
                  <a:lnTo>
                    <a:pt x="2720" y="10498"/>
                  </a:lnTo>
                  <a:close/>
                  <a:moveTo>
                    <a:pt x="2272" y="10295"/>
                  </a:moveTo>
                  <a:cubicBezTo>
                    <a:pt x="1936" y="10410"/>
                    <a:pt x="1936" y="10410"/>
                    <a:pt x="1936" y="10410"/>
                  </a:cubicBezTo>
                  <a:cubicBezTo>
                    <a:pt x="1766" y="10564"/>
                    <a:pt x="1766" y="10564"/>
                    <a:pt x="1766" y="10564"/>
                  </a:cubicBezTo>
                  <a:cubicBezTo>
                    <a:pt x="1599" y="10457"/>
                    <a:pt x="1599" y="10457"/>
                    <a:pt x="1599" y="10457"/>
                  </a:cubicBezTo>
                  <a:cubicBezTo>
                    <a:pt x="1605" y="10386"/>
                    <a:pt x="1605" y="10386"/>
                    <a:pt x="1605" y="10386"/>
                  </a:cubicBezTo>
                  <a:cubicBezTo>
                    <a:pt x="1623" y="10388"/>
                    <a:pt x="1623" y="10388"/>
                    <a:pt x="1623" y="10388"/>
                  </a:cubicBezTo>
                  <a:cubicBezTo>
                    <a:pt x="1623" y="10384"/>
                    <a:pt x="1628" y="10336"/>
                    <a:pt x="1633" y="10286"/>
                  </a:cubicBezTo>
                  <a:cubicBezTo>
                    <a:pt x="1636" y="10248"/>
                    <a:pt x="1639" y="10210"/>
                    <a:pt x="1641" y="10190"/>
                  </a:cubicBezTo>
                  <a:cubicBezTo>
                    <a:pt x="1994" y="10041"/>
                    <a:pt x="1994" y="10041"/>
                    <a:pt x="1994" y="10041"/>
                  </a:cubicBezTo>
                  <a:cubicBezTo>
                    <a:pt x="2017" y="10065"/>
                    <a:pt x="2073" y="10120"/>
                    <a:pt x="2139" y="10147"/>
                  </a:cubicBezTo>
                  <a:cubicBezTo>
                    <a:pt x="2186" y="10167"/>
                    <a:pt x="2251" y="10182"/>
                    <a:pt x="2293" y="10191"/>
                  </a:cubicBezTo>
                  <a:lnTo>
                    <a:pt x="2272" y="10295"/>
                  </a:lnTo>
                  <a:close/>
                  <a:moveTo>
                    <a:pt x="1767" y="10585"/>
                  </a:moveTo>
                  <a:cubicBezTo>
                    <a:pt x="1945" y="10425"/>
                    <a:pt x="1945" y="10425"/>
                    <a:pt x="1945" y="10425"/>
                  </a:cubicBezTo>
                  <a:cubicBezTo>
                    <a:pt x="2269" y="10313"/>
                    <a:pt x="2269" y="10313"/>
                    <a:pt x="2269" y="10313"/>
                  </a:cubicBezTo>
                  <a:cubicBezTo>
                    <a:pt x="2220" y="10553"/>
                    <a:pt x="2220" y="10553"/>
                    <a:pt x="2220" y="10553"/>
                  </a:cubicBezTo>
                  <a:cubicBezTo>
                    <a:pt x="2215" y="10540"/>
                    <a:pt x="2210" y="10525"/>
                    <a:pt x="2208" y="10507"/>
                  </a:cubicBezTo>
                  <a:cubicBezTo>
                    <a:pt x="2207" y="10501"/>
                    <a:pt x="2207" y="10501"/>
                    <a:pt x="2207" y="10501"/>
                  </a:cubicBezTo>
                  <a:cubicBezTo>
                    <a:pt x="2202" y="10498"/>
                    <a:pt x="2202" y="10498"/>
                    <a:pt x="2202" y="10498"/>
                  </a:cubicBezTo>
                  <a:cubicBezTo>
                    <a:pt x="2171" y="10478"/>
                    <a:pt x="2140" y="10470"/>
                    <a:pt x="2111" y="10470"/>
                  </a:cubicBezTo>
                  <a:cubicBezTo>
                    <a:pt x="2022" y="10471"/>
                    <a:pt x="1952" y="10540"/>
                    <a:pt x="1919" y="10573"/>
                  </a:cubicBezTo>
                  <a:cubicBezTo>
                    <a:pt x="1878" y="10615"/>
                    <a:pt x="1796" y="10678"/>
                    <a:pt x="1751" y="10699"/>
                  </a:cubicBezTo>
                  <a:cubicBezTo>
                    <a:pt x="1730" y="10708"/>
                    <a:pt x="1673" y="10716"/>
                    <a:pt x="1616" y="10725"/>
                  </a:cubicBezTo>
                  <a:cubicBezTo>
                    <a:pt x="1558" y="10734"/>
                    <a:pt x="1500" y="10744"/>
                    <a:pt x="1467" y="10762"/>
                  </a:cubicBezTo>
                  <a:cubicBezTo>
                    <a:pt x="1452" y="10771"/>
                    <a:pt x="1422" y="10785"/>
                    <a:pt x="1386" y="10802"/>
                  </a:cubicBezTo>
                  <a:cubicBezTo>
                    <a:pt x="1357" y="10769"/>
                    <a:pt x="1328" y="10737"/>
                    <a:pt x="1310" y="10715"/>
                  </a:cubicBezTo>
                  <a:cubicBezTo>
                    <a:pt x="1289" y="10690"/>
                    <a:pt x="1273" y="10670"/>
                    <a:pt x="1260" y="10651"/>
                  </a:cubicBezTo>
                  <a:cubicBezTo>
                    <a:pt x="1591" y="10470"/>
                    <a:pt x="1591" y="10470"/>
                    <a:pt x="1591" y="10470"/>
                  </a:cubicBezTo>
                  <a:lnTo>
                    <a:pt x="1767" y="10585"/>
                  </a:lnTo>
                  <a:close/>
                  <a:moveTo>
                    <a:pt x="1429" y="10951"/>
                  </a:moveTo>
                  <a:cubicBezTo>
                    <a:pt x="1419" y="10956"/>
                    <a:pt x="1409" y="10960"/>
                    <a:pt x="1400" y="10965"/>
                  </a:cubicBezTo>
                  <a:cubicBezTo>
                    <a:pt x="1310" y="10863"/>
                    <a:pt x="1310" y="10863"/>
                    <a:pt x="1310" y="10863"/>
                  </a:cubicBezTo>
                  <a:cubicBezTo>
                    <a:pt x="1319" y="10859"/>
                    <a:pt x="1328" y="10855"/>
                    <a:pt x="1338" y="10851"/>
                  </a:cubicBezTo>
                  <a:cubicBezTo>
                    <a:pt x="1372" y="10888"/>
                    <a:pt x="1406" y="10926"/>
                    <a:pt x="1429" y="10951"/>
                  </a:cubicBezTo>
                  <a:close/>
                  <a:moveTo>
                    <a:pt x="1378" y="10976"/>
                  </a:moveTo>
                  <a:cubicBezTo>
                    <a:pt x="1364" y="10983"/>
                    <a:pt x="1353" y="10988"/>
                    <a:pt x="1346" y="10992"/>
                  </a:cubicBezTo>
                  <a:cubicBezTo>
                    <a:pt x="1326" y="10970"/>
                    <a:pt x="1295" y="10934"/>
                    <a:pt x="1256" y="10889"/>
                  </a:cubicBezTo>
                  <a:cubicBezTo>
                    <a:pt x="1266" y="10884"/>
                    <a:pt x="1276" y="10879"/>
                    <a:pt x="1287" y="10874"/>
                  </a:cubicBezTo>
                  <a:lnTo>
                    <a:pt x="1378" y="10976"/>
                  </a:lnTo>
                  <a:close/>
                  <a:moveTo>
                    <a:pt x="1326" y="11075"/>
                  </a:moveTo>
                  <a:cubicBezTo>
                    <a:pt x="1657" y="11455"/>
                    <a:pt x="1657" y="11455"/>
                    <a:pt x="1657" y="11455"/>
                  </a:cubicBezTo>
                  <a:cubicBezTo>
                    <a:pt x="1594" y="11494"/>
                    <a:pt x="1525" y="11538"/>
                    <a:pt x="1510" y="11546"/>
                  </a:cubicBezTo>
                  <a:cubicBezTo>
                    <a:pt x="1505" y="11549"/>
                    <a:pt x="1486" y="11553"/>
                    <a:pt x="1464" y="11553"/>
                  </a:cubicBezTo>
                  <a:cubicBezTo>
                    <a:pt x="1414" y="11553"/>
                    <a:pt x="1342" y="11538"/>
                    <a:pt x="1317" y="11512"/>
                  </a:cubicBezTo>
                  <a:cubicBezTo>
                    <a:pt x="1307" y="11502"/>
                    <a:pt x="1304" y="11494"/>
                    <a:pt x="1304" y="11486"/>
                  </a:cubicBezTo>
                  <a:cubicBezTo>
                    <a:pt x="1303" y="11462"/>
                    <a:pt x="1335" y="11430"/>
                    <a:pt x="1351" y="11399"/>
                  </a:cubicBezTo>
                  <a:cubicBezTo>
                    <a:pt x="1360" y="11380"/>
                    <a:pt x="1369" y="11360"/>
                    <a:pt x="1369" y="11337"/>
                  </a:cubicBezTo>
                  <a:cubicBezTo>
                    <a:pt x="1369" y="11312"/>
                    <a:pt x="1358" y="11286"/>
                    <a:pt x="1333" y="11259"/>
                  </a:cubicBezTo>
                  <a:cubicBezTo>
                    <a:pt x="1302" y="11228"/>
                    <a:pt x="1298" y="11194"/>
                    <a:pt x="1298" y="11177"/>
                  </a:cubicBezTo>
                  <a:cubicBezTo>
                    <a:pt x="1298" y="11170"/>
                    <a:pt x="1299" y="11167"/>
                    <a:pt x="1299" y="11167"/>
                  </a:cubicBezTo>
                  <a:cubicBezTo>
                    <a:pt x="1299" y="11164"/>
                    <a:pt x="1299" y="11164"/>
                    <a:pt x="1299" y="11164"/>
                  </a:cubicBezTo>
                  <a:cubicBezTo>
                    <a:pt x="1298" y="11161"/>
                    <a:pt x="1298" y="11161"/>
                    <a:pt x="1298" y="11161"/>
                  </a:cubicBezTo>
                  <a:cubicBezTo>
                    <a:pt x="1298" y="11161"/>
                    <a:pt x="1291" y="11138"/>
                    <a:pt x="1277" y="11111"/>
                  </a:cubicBezTo>
                  <a:cubicBezTo>
                    <a:pt x="1285" y="11105"/>
                    <a:pt x="1293" y="11099"/>
                    <a:pt x="1300" y="11094"/>
                  </a:cubicBezTo>
                  <a:cubicBezTo>
                    <a:pt x="1312" y="11085"/>
                    <a:pt x="1321" y="11078"/>
                    <a:pt x="1326" y="11075"/>
                  </a:cubicBezTo>
                  <a:close/>
                  <a:moveTo>
                    <a:pt x="1189" y="12600"/>
                  </a:moveTo>
                  <a:cubicBezTo>
                    <a:pt x="771" y="12698"/>
                    <a:pt x="771" y="12698"/>
                    <a:pt x="771" y="12698"/>
                  </a:cubicBezTo>
                  <a:cubicBezTo>
                    <a:pt x="752" y="12643"/>
                    <a:pt x="752" y="12643"/>
                    <a:pt x="752" y="12643"/>
                  </a:cubicBezTo>
                  <a:cubicBezTo>
                    <a:pt x="711" y="12657"/>
                    <a:pt x="711" y="12657"/>
                    <a:pt x="711" y="12657"/>
                  </a:cubicBezTo>
                  <a:cubicBezTo>
                    <a:pt x="696" y="12612"/>
                    <a:pt x="696" y="12612"/>
                    <a:pt x="696" y="12612"/>
                  </a:cubicBezTo>
                  <a:cubicBezTo>
                    <a:pt x="620" y="12638"/>
                    <a:pt x="620" y="12638"/>
                    <a:pt x="620" y="12638"/>
                  </a:cubicBezTo>
                  <a:cubicBezTo>
                    <a:pt x="614" y="12640"/>
                    <a:pt x="614" y="12640"/>
                    <a:pt x="614" y="12640"/>
                  </a:cubicBezTo>
                  <a:cubicBezTo>
                    <a:pt x="644" y="12727"/>
                    <a:pt x="644" y="12727"/>
                    <a:pt x="644" y="12727"/>
                  </a:cubicBezTo>
                  <a:cubicBezTo>
                    <a:pt x="611" y="12735"/>
                    <a:pt x="611" y="12735"/>
                    <a:pt x="611" y="12735"/>
                  </a:cubicBezTo>
                  <a:cubicBezTo>
                    <a:pt x="597" y="12709"/>
                    <a:pt x="578" y="12678"/>
                    <a:pt x="557" y="12645"/>
                  </a:cubicBezTo>
                  <a:cubicBezTo>
                    <a:pt x="575" y="12640"/>
                    <a:pt x="598" y="12632"/>
                    <a:pt x="626" y="12623"/>
                  </a:cubicBezTo>
                  <a:cubicBezTo>
                    <a:pt x="683" y="12606"/>
                    <a:pt x="756" y="12582"/>
                    <a:pt x="829" y="12558"/>
                  </a:cubicBezTo>
                  <a:cubicBezTo>
                    <a:pt x="942" y="12520"/>
                    <a:pt x="1053" y="12483"/>
                    <a:pt x="1097" y="12469"/>
                  </a:cubicBezTo>
                  <a:lnTo>
                    <a:pt x="1189" y="12600"/>
                  </a:lnTo>
                  <a:close/>
                  <a:moveTo>
                    <a:pt x="748" y="12803"/>
                  </a:moveTo>
                  <a:cubicBezTo>
                    <a:pt x="691" y="12823"/>
                    <a:pt x="691" y="12823"/>
                    <a:pt x="691" y="12823"/>
                  </a:cubicBezTo>
                  <a:cubicBezTo>
                    <a:pt x="662" y="12738"/>
                    <a:pt x="662" y="12738"/>
                    <a:pt x="662" y="12738"/>
                  </a:cubicBezTo>
                  <a:cubicBezTo>
                    <a:pt x="763" y="12714"/>
                    <a:pt x="763" y="12714"/>
                    <a:pt x="763" y="12714"/>
                  </a:cubicBezTo>
                  <a:cubicBezTo>
                    <a:pt x="773" y="12745"/>
                    <a:pt x="773" y="12745"/>
                    <a:pt x="773" y="12745"/>
                  </a:cubicBezTo>
                  <a:cubicBezTo>
                    <a:pt x="732" y="12759"/>
                    <a:pt x="732" y="12759"/>
                    <a:pt x="732" y="12759"/>
                  </a:cubicBezTo>
                  <a:lnTo>
                    <a:pt x="748" y="12803"/>
                  </a:lnTo>
                  <a:close/>
                  <a:moveTo>
                    <a:pt x="657" y="12724"/>
                  </a:moveTo>
                  <a:cubicBezTo>
                    <a:pt x="631" y="12649"/>
                    <a:pt x="631" y="12649"/>
                    <a:pt x="631" y="12649"/>
                  </a:cubicBezTo>
                  <a:cubicBezTo>
                    <a:pt x="687" y="12629"/>
                    <a:pt x="687" y="12629"/>
                    <a:pt x="687" y="12629"/>
                  </a:cubicBezTo>
                  <a:cubicBezTo>
                    <a:pt x="703" y="12673"/>
                    <a:pt x="703" y="12673"/>
                    <a:pt x="703" y="12673"/>
                  </a:cubicBezTo>
                  <a:cubicBezTo>
                    <a:pt x="743" y="12659"/>
                    <a:pt x="743" y="12659"/>
                    <a:pt x="743" y="12659"/>
                  </a:cubicBezTo>
                  <a:cubicBezTo>
                    <a:pt x="758" y="12701"/>
                    <a:pt x="758" y="12701"/>
                    <a:pt x="758" y="12701"/>
                  </a:cubicBezTo>
                  <a:lnTo>
                    <a:pt x="657" y="12724"/>
                  </a:lnTo>
                  <a:close/>
                  <a:moveTo>
                    <a:pt x="649" y="12741"/>
                  </a:moveTo>
                  <a:cubicBezTo>
                    <a:pt x="683" y="12840"/>
                    <a:pt x="683" y="12840"/>
                    <a:pt x="683" y="12840"/>
                  </a:cubicBezTo>
                  <a:cubicBezTo>
                    <a:pt x="765" y="12811"/>
                    <a:pt x="765" y="12811"/>
                    <a:pt x="765" y="12811"/>
                  </a:cubicBezTo>
                  <a:cubicBezTo>
                    <a:pt x="749" y="12767"/>
                    <a:pt x="749" y="12767"/>
                    <a:pt x="749" y="12767"/>
                  </a:cubicBezTo>
                  <a:cubicBezTo>
                    <a:pt x="790" y="12753"/>
                    <a:pt x="790" y="12753"/>
                    <a:pt x="790" y="12753"/>
                  </a:cubicBezTo>
                  <a:cubicBezTo>
                    <a:pt x="775" y="12711"/>
                    <a:pt x="775" y="12711"/>
                    <a:pt x="775" y="12711"/>
                  </a:cubicBezTo>
                  <a:cubicBezTo>
                    <a:pt x="1198" y="12613"/>
                    <a:pt x="1198" y="12613"/>
                    <a:pt x="1198" y="12613"/>
                  </a:cubicBezTo>
                  <a:cubicBezTo>
                    <a:pt x="1270" y="12716"/>
                    <a:pt x="1270" y="12716"/>
                    <a:pt x="1270" y="12716"/>
                  </a:cubicBezTo>
                  <a:cubicBezTo>
                    <a:pt x="1168" y="12738"/>
                    <a:pt x="945" y="12788"/>
                    <a:pt x="945" y="12788"/>
                  </a:cubicBezTo>
                  <a:cubicBezTo>
                    <a:pt x="945" y="12788"/>
                    <a:pt x="945" y="12788"/>
                    <a:pt x="945" y="12788"/>
                  </a:cubicBezTo>
                  <a:cubicBezTo>
                    <a:pt x="926" y="12792"/>
                    <a:pt x="903" y="12797"/>
                    <a:pt x="876" y="12803"/>
                  </a:cubicBezTo>
                  <a:cubicBezTo>
                    <a:pt x="816" y="12816"/>
                    <a:pt x="745" y="12832"/>
                    <a:pt x="695" y="12843"/>
                  </a:cubicBezTo>
                  <a:cubicBezTo>
                    <a:pt x="682" y="12846"/>
                    <a:pt x="672" y="12848"/>
                    <a:pt x="663" y="12851"/>
                  </a:cubicBezTo>
                  <a:cubicBezTo>
                    <a:pt x="653" y="12822"/>
                    <a:pt x="640" y="12790"/>
                    <a:pt x="621" y="12753"/>
                  </a:cubicBezTo>
                  <a:cubicBezTo>
                    <a:pt x="620" y="12752"/>
                    <a:pt x="619" y="12750"/>
                    <a:pt x="618" y="12748"/>
                  </a:cubicBezTo>
                  <a:lnTo>
                    <a:pt x="649" y="12741"/>
                  </a:lnTo>
                  <a:close/>
                  <a:moveTo>
                    <a:pt x="1320" y="12789"/>
                  </a:moveTo>
                  <a:cubicBezTo>
                    <a:pt x="1516" y="12888"/>
                    <a:pt x="1516" y="12888"/>
                    <a:pt x="1516" y="12888"/>
                  </a:cubicBezTo>
                  <a:cubicBezTo>
                    <a:pt x="1566" y="13289"/>
                    <a:pt x="1566" y="13289"/>
                    <a:pt x="1566" y="13289"/>
                  </a:cubicBezTo>
                  <a:cubicBezTo>
                    <a:pt x="1433" y="13492"/>
                    <a:pt x="1433" y="13492"/>
                    <a:pt x="1433" y="13492"/>
                  </a:cubicBezTo>
                  <a:cubicBezTo>
                    <a:pt x="1168" y="13272"/>
                    <a:pt x="1168" y="13272"/>
                    <a:pt x="1168" y="13272"/>
                  </a:cubicBezTo>
                  <a:cubicBezTo>
                    <a:pt x="1164" y="13059"/>
                    <a:pt x="1164" y="13059"/>
                    <a:pt x="1164" y="13059"/>
                  </a:cubicBezTo>
                  <a:cubicBezTo>
                    <a:pt x="1164" y="13055"/>
                    <a:pt x="1164" y="13055"/>
                    <a:pt x="1164" y="13055"/>
                  </a:cubicBezTo>
                  <a:cubicBezTo>
                    <a:pt x="1162" y="13052"/>
                    <a:pt x="1162" y="13052"/>
                    <a:pt x="1162" y="13052"/>
                  </a:cubicBezTo>
                  <a:cubicBezTo>
                    <a:pt x="1040" y="12854"/>
                    <a:pt x="1040" y="12854"/>
                    <a:pt x="1040" y="12854"/>
                  </a:cubicBezTo>
                  <a:lnTo>
                    <a:pt x="1320" y="12789"/>
                  </a:lnTo>
                  <a:close/>
                  <a:moveTo>
                    <a:pt x="677" y="13188"/>
                  </a:moveTo>
                  <a:cubicBezTo>
                    <a:pt x="681" y="13110"/>
                    <a:pt x="683" y="13031"/>
                    <a:pt x="683" y="12986"/>
                  </a:cubicBezTo>
                  <a:cubicBezTo>
                    <a:pt x="683" y="12973"/>
                    <a:pt x="683" y="12963"/>
                    <a:pt x="682" y="12955"/>
                  </a:cubicBezTo>
                  <a:cubicBezTo>
                    <a:pt x="682" y="12942"/>
                    <a:pt x="681" y="12929"/>
                    <a:pt x="678" y="12914"/>
                  </a:cubicBezTo>
                  <a:cubicBezTo>
                    <a:pt x="679" y="12914"/>
                    <a:pt x="680" y="12914"/>
                    <a:pt x="680" y="12914"/>
                  </a:cubicBezTo>
                  <a:cubicBezTo>
                    <a:pt x="699" y="12909"/>
                    <a:pt x="726" y="12903"/>
                    <a:pt x="756" y="12897"/>
                  </a:cubicBezTo>
                  <a:cubicBezTo>
                    <a:pt x="815" y="12883"/>
                    <a:pt x="878" y="12872"/>
                    <a:pt x="928" y="12861"/>
                  </a:cubicBezTo>
                  <a:cubicBezTo>
                    <a:pt x="928" y="12861"/>
                    <a:pt x="960" y="12855"/>
                    <a:pt x="972" y="12852"/>
                  </a:cubicBezTo>
                  <a:cubicBezTo>
                    <a:pt x="1111" y="13078"/>
                    <a:pt x="1111" y="13078"/>
                    <a:pt x="1111" y="13078"/>
                  </a:cubicBezTo>
                  <a:cubicBezTo>
                    <a:pt x="1112" y="13276"/>
                    <a:pt x="1112" y="13276"/>
                    <a:pt x="1112" y="13276"/>
                  </a:cubicBezTo>
                  <a:cubicBezTo>
                    <a:pt x="1024" y="13195"/>
                    <a:pt x="1024" y="13195"/>
                    <a:pt x="1024" y="13195"/>
                  </a:cubicBezTo>
                  <a:cubicBezTo>
                    <a:pt x="677" y="13199"/>
                    <a:pt x="677" y="13199"/>
                    <a:pt x="677" y="13199"/>
                  </a:cubicBezTo>
                  <a:cubicBezTo>
                    <a:pt x="677" y="13195"/>
                    <a:pt x="677" y="13192"/>
                    <a:pt x="677" y="13188"/>
                  </a:cubicBezTo>
                  <a:close/>
                  <a:moveTo>
                    <a:pt x="1544" y="13552"/>
                  </a:moveTo>
                  <a:cubicBezTo>
                    <a:pt x="1545" y="13551"/>
                    <a:pt x="1545" y="13551"/>
                    <a:pt x="1545" y="13551"/>
                  </a:cubicBezTo>
                  <a:cubicBezTo>
                    <a:pt x="1545" y="13551"/>
                    <a:pt x="1573" y="13507"/>
                    <a:pt x="1603" y="13460"/>
                  </a:cubicBezTo>
                  <a:cubicBezTo>
                    <a:pt x="1623" y="13428"/>
                    <a:pt x="1645" y="13395"/>
                    <a:pt x="1658" y="13375"/>
                  </a:cubicBezTo>
                  <a:cubicBezTo>
                    <a:pt x="1882" y="13457"/>
                    <a:pt x="1882" y="13457"/>
                    <a:pt x="1882" y="13457"/>
                  </a:cubicBezTo>
                  <a:cubicBezTo>
                    <a:pt x="1595" y="13905"/>
                    <a:pt x="1595" y="13905"/>
                    <a:pt x="1595" y="13905"/>
                  </a:cubicBezTo>
                  <a:cubicBezTo>
                    <a:pt x="1532" y="13867"/>
                    <a:pt x="1532" y="13867"/>
                    <a:pt x="1532" y="13867"/>
                  </a:cubicBezTo>
                  <a:cubicBezTo>
                    <a:pt x="1358" y="13808"/>
                    <a:pt x="1358" y="13808"/>
                    <a:pt x="1358" y="13808"/>
                  </a:cubicBezTo>
                  <a:lnTo>
                    <a:pt x="1544" y="13552"/>
                  </a:lnTo>
                  <a:close/>
                  <a:moveTo>
                    <a:pt x="2900" y="15193"/>
                  </a:moveTo>
                  <a:cubicBezTo>
                    <a:pt x="2951" y="15148"/>
                    <a:pt x="3003" y="15107"/>
                    <a:pt x="3049" y="15071"/>
                  </a:cubicBezTo>
                  <a:cubicBezTo>
                    <a:pt x="3055" y="15075"/>
                    <a:pt x="3061" y="15079"/>
                    <a:pt x="3068" y="15084"/>
                  </a:cubicBezTo>
                  <a:cubicBezTo>
                    <a:pt x="3093" y="15101"/>
                    <a:pt x="3126" y="15124"/>
                    <a:pt x="3160" y="15146"/>
                  </a:cubicBezTo>
                  <a:cubicBezTo>
                    <a:pt x="3222" y="15188"/>
                    <a:pt x="3284" y="15229"/>
                    <a:pt x="3292" y="15234"/>
                  </a:cubicBezTo>
                  <a:cubicBezTo>
                    <a:pt x="3370" y="15325"/>
                    <a:pt x="3370" y="15325"/>
                    <a:pt x="3370" y="15325"/>
                  </a:cubicBezTo>
                  <a:cubicBezTo>
                    <a:pt x="3055" y="15501"/>
                    <a:pt x="3055" y="15501"/>
                    <a:pt x="3055" y="15501"/>
                  </a:cubicBezTo>
                  <a:cubicBezTo>
                    <a:pt x="3055" y="15500"/>
                    <a:pt x="3054" y="15500"/>
                    <a:pt x="3053" y="15499"/>
                  </a:cubicBezTo>
                  <a:cubicBezTo>
                    <a:pt x="3047" y="15490"/>
                    <a:pt x="3038" y="15478"/>
                    <a:pt x="3028" y="15464"/>
                  </a:cubicBezTo>
                  <a:cubicBezTo>
                    <a:pt x="3006" y="15436"/>
                    <a:pt x="2978" y="15400"/>
                    <a:pt x="2950" y="15363"/>
                  </a:cubicBezTo>
                  <a:cubicBezTo>
                    <a:pt x="2912" y="15314"/>
                    <a:pt x="2873" y="15265"/>
                    <a:pt x="2851" y="15236"/>
                  </a:cubicBezTo>
                  <a:cubicBezTo>
                    <a:pt x="2867" y="15222"/>
                    <a:pt x="2883" y="15207"/>
                    <a:pt x="2900" y="15193"/>
                  </a:cubicBezTo>
                  <a:close/>
                  <a:moveTo>
                    <a:pt x="3321" y="15948"/>
                  </a:moveTo>
                  <a:cubicBezTo>
                    <a:pt x="3322" y="15946"/>
                    <a:pt x="3323" y="15944"/>
                    <a:pt x="3324" y="15942"/>
                  </a:cubicBezTo>
                  <a:cubicBezTo>
                    <a:pt x="3326" y="15937"/>
                    <a:pt x="3328" y="15931"/>
                    <a:pt x="3330" y="15923"/>
                  </a:cubicBezTo>
                  <a:cubicBezTo>
                    <a:pt x="3335" y="15908"/>
                    <a:pt x="3341" y="15889"/>
                    <a:pt x="3346" y="15869"/>
                  </a:cubicBezTo>
                  <a:cubicBezTo>
                    <a:pt x="3357" y="15829"/>
                    <a:pt x="3367" y="15790"/>
                    <a:pt x="3367" y="15790"/>
                  </a:cubicBezTo>
                  <a:cubicBezTo>
                    <a:pt x="3368" y="15787"/>
                    <a:pt x="3368" y="15787"/>
                    <a:pt x="3368" y="15787"/>
                  </a:cubicBezTo>
                  <a:cubicBezTo>
                    <a:pt x="3367" y="15785"/>
                    <a:pt x="3367" y="15785"/>
                    <a:pt x="3367" y="15785"/>
                  </a:cubicBezTo>
                  <a:cubicBezTo>
                    <a:pt x="3367" y="15785"/>
                    <a:pt x="3326" y="15708"/>
                    <a:pt x="3286" y="15629"/>
                  </a:cubicBezTo>
                  <a:cubicBezTo>
                    <a:pt x="3257" y="15575"/>
                    <a:pt x="3229" y="15520"/>
                    <a:pt x="3213" y="15488"/>
                  </a:cubicBezTo>
                  <a:cubicBezTo>
                    <a:pt x="3467" y="15346"/>
                    <a:pt x="3467" y="15346"/>
                    <a:pt x="3467" y="15346"/>
                  </a:cubicBezTo>
                  <a:cubicBezTo>
                    <a:pt x="3519" y="15433"/>
                    <a:pt x="3519" y="15433"/>
                    <a:pt x="3519" y="15433"/>
                  </a:cubicBezTo>
                  <a:cubicBezTo>
                    <a:pt x="3416" y="15492"/>
                    <a:pt x="3416" y="15492"/>
                    <a:pt x="3416" y="15492"/>
                  </a:cubicBezTo>
                  <a:cubicBezTo>
                    <a:pt x="3465" y="15577"/>
                    <a:pt x="3465" y="15577"/>
                    <a:pt x="3465" y="15577"/>
                  </a:cubicBezTo>
                  <a:cubicBezTo>
                    <a:pt x="3469" y="15583"/>
                    <a:pt x="3469" y="15583"/>
                    <a:pt x="3469" y="15583"/>
                  </a:cubicBezTo>
                  <a:cubicBezTo>
                    <a:pt x="3573" y="15522"/>
                    <a:pt x="3573" y="15522"/>
                    <a:pt x="3573" y="15522"/>
                  </a:cubicBezTo>
                  <a:cubicBezTo>
                    <a:pt x="3702" y="15738"/>
                    <a:pt x="3702" y="15738"/>
                    <a:pt x="3702" y="15738"/>
                  </a:cubicBezTo>
                  <a:cubicBezTo>
                    <a:pt x="3449" y="16003"/>
                    <a:pt x="3449" y="16003"/>
                    <a:pt x="3449" y="16003"/>
                  </a:cubicBezTo>
                  <a:cubicBezTo>
                    <a:pt x="3320" y="15949"/>
                    <a:pt x="3320" y="15949"/>
                    <a:pt x="3320" y="15949"/>
                  </a:cubicBezTo>
                  <a:cubicBezTo>
                    <a:pt x="3321" y="15948"/>
                    <a:pt x="3321" y="15948"/>
                    <a:pt x="3321" y="15948"/>
                  </a:cubicBezTo>
                  <a:close/>
                  <a:moveTo>
                    <a:pt x="3713" y="15746"/>
                  </a:moveTo>
                  <a:cubicBezTo>
                    <a:pt x="3864" y="15779"/>
                    <a:pt x="3864" y="15779"/>
                    <a:pt x="3864" y="15779"/>
                  </a:cubicBezTo>
                  <a:cubicBezTo>
                    <a:pt x="4269" y="15530"/>
                    <a:pt x="4269" y="15530"/>
                    <a:pt x="4269" y="15530"/>
                  </a:cubicBezTo>
                  <a:cubicBezTo>
                    <a:pt x="4270" y="15530"/>
                    <a:pt x="4271" y="15530"/>
                    <a:pt x="4272" y="15530"/>
                  </a:cubicBezTo>
                  <a:cubicBezTo>
                    <a:pt x="4296" y="15575"/>
                    <a:pt x="4314" y="15612"/>
                    <a:pt x="4319" y="15628"/>
                  </a:cubicBezTo>
                  <a:cubicBezTo>
                    <a:pt x="4326" y="15649"/>
                    <a:pt x="4335" y="15685"/>
                    <a:pt x="4345" y="15728"/>
                  </a:cubicBezTo>
                  <a:cubicBezTo>
                    <a:pt x="4305" y="15748"/>
                    <a:pt x="4124" y="15835"/>
                    <a:pt x="4026" y="15883"/>
                  </a:cubicBezTo>
                  <a:cubicBezTo>
                    <a:pt x="3989" y="15901"/>
                    <a:pt x="3966" y="15912"/>
                    <a:pt x="3961" y="15915"/>
                  </a:cubicBezTo>
                  <a:cubicBezTo>
                    <a:pt x="3961" y="15915"/>
                    <a:pt x="3961" y="15916"/>
                    <a:pt x="3961" y="15916"/>
                  </a:cubicBezTo>
                  <a:cubicBezTo>
                    <a:pt x="3961" y="15916"/>
                    <a:pt x="3961" y="15916"/>
                    <a:pt x="3961" y="15916"/>
                  </a:cubicBezTo>
                  <a:cubicBezTo>
                    <a:pt x="3961" y="15917"/>
                    <a:pt x="3960" y="15915"/>
                    <a:pt x="3959" y="15918"/>
                  </a:cubicBezTo>
                  <a:cubicBezTo>
                    <a:pt x="3958" y="15919"/>
                    <a:pt x="3957" y="15920"/>
                    <a:pt x="3956" y="15921"/>
                  </a:cubicBezTo>
                  <a:cubicBezTo>
                    <a:pt x="3953" y="15924"/>
                    <a:pt x="3949" y="15927"/>
                    <a:pt x="3944" y="15932"/>
                  </a:cubicBezTo>
                  <a:cubicBezTo>
                    <a:pt x="3933" y="15942"/>
                    <a:pt x="3918" y="15955"/>
                    <a:pt x="3900" y="15971"/>
                  </a:cubicBezTo>
                  <a:cubicBezTo>
                    <a:pt x="3864" y="16003"/>
                    <a:pt x="3815" y="16046"/>
                    <a:pt x="3767" y="16088"/>
                  </a:cubicBezTo>
                  <a:cubicBezTo>
                    <a:pt x="3685" y="16159"/>
                    <a:pt x="3603" y="16230"/>
                    <a:pt x="3580" y="16250"/>
                  </a:cubicBezTo>
                  <a:cubicBezTo>
                    <a:pt x="3459" y="16013"/>
                    <a:pt x="3459" y="16013"/>
                    <a:pt x="3459" y="16013"/>
                  </a:cubicBezTo>
                  <a:lnTo>
                    <a:pt x="3713" y="15746"/>
                  </a:lnTo>
                  <a:close/>
                  <a:moveTo>
                    <a:pt x="4248" y="16186"/>
                  </a:moveTo>
                  <a:cubicBezTo>
                    <a:pt x="4217" y="16156"/>
                    <a:pt x="4175" y="16116"/>
                    <a:pt x="4134" y="16076"/>
                  </a:cubicBezTo>
                  <a:cubicBezTo>
                    <a:pt x="4065" y="16009"/>
                    <a:pt x="3997" y="15943"/>
                    <a:pt x="3977" y="15923"/>
                  </a:cubicBezTo>
                  <a:cubicBezTo>
                    <a:pt x="3979" y="15922"/>
                    <a:pt x="3981" y="15921"/>
                    <a:pt x="3985" y="15919"/>
                  </a:cubicBezTo>
                  <a:cubicBezTo>
                    <a:pt x="3996" y="15913"/>
                    <a:pt x="4011" y="15906"/>
                    <a:pt x="4029" y="15897"/>
                  </a:cubicBezTo>
                  <a:cubicBezTo>
                    <a:pt x="4066" y="15879"/>
                    <a:pt x="4115" y="15855"/>
                    <a:pt x="4164" y="15832"/>
                  </a:cubicBezTo>
                  <a:cubicBezTo>
                    <a:pt x="4242" y="15794"/>
                    <a:pt x="4320" y="15756"/>
                    <a:pt x="4348" y="15742"/>
                  </a:cubicBezTo>
                  <a:cubicBezTo>
                    <a:pt x="4361" y="15798"/>
                    <a:pt x="4375" y="15864"/>
                    <a:pt x="4387" y="15926"/>
                  </a:cubicBezTo>
                  <a:cubicBezTo>
                    <a:pt x="4404" y="16012"/>
                    <a:pt x="4418" y="16091"/>
                    <a:pt x="4424" y="16126"/>
                  </a:cubicBezTo>
                  <a:cubicBezTo>
                    <a:pt x="4394" y="16148"/>
                    <a:pt x="4343" y="16184"/>
                    <a:pt x="4288" y="16222"/>
                  </a:cubicBezTo>
                  <a:cubicBezTo>
                    <a:pt x="4287" y="16222"/>
                    <a:pt x="4287" y="16222"/>
                    <a:pt x="4287" y="16222"/>
                  </a:cubicBezTo>
                  <a:cubicBezTo>
                    <a:pt x="4278" y="16213"/>
                    <a:pt x="4264" y="16201"/>
                    <a:pt x="4248" y="16186"/>
                  </a:cubicBezTo>
                  <a:close/>
                  <a:moveTo>
                    <a:pt x="4683" y="15301"/>
                  </a:moveTo>
                  <a:cubicBezTo>
                    <a:pt x="4644" y="15323"/>
                    <a:pt x="4605" y="15344"/>
                    <a:pt x="4568" y="15365"/>
                  </a:cubicBezTo>
                  <a:cubicBezTo>
                    <a:pt x="4291" y="14884"/>
                    <a:pt x="4291" y="14884"/>
                    <a:pt x="4291" y="14884"/>
                  </a:cubicBezTo>
                  <a:cubicBezTo>
                    <a:pt x="4718" y="14641"/>
                    <a:pt x="4718" y="14641"/>
                    <a:pt x="4718" y="14641"/>
                  </a:cubicBezTo>
                  <a:cubicBezTo>
                    <a:pt x="4759" y="14702"/>
                    <a:pt x="4999" y="15052"/>
                    <a:pt x="5039" y="15103"/>
                  </a:cubicBezTo>
                  <a:cubicBezTo>
                    <a:pt x="5004" y="15123"/>
                    <a:pt x="4844" y="15211"/>
                    <a:pt x="4683" y="15301"/>
                  </a:cubicBezTo>
                  <a:close/>
                  <a:moveTo>
                    <a:pt x="5038" y="15080"/>
                  </a:moveTo>
                  <a:cubicBezTo>
                    <a:pt x="5029" y="15066"/>
                    <a:pt x="5016" y="15048"/>
                    <a:pt x="5000" y="15025"/>
                  </a:cubicBezTo>
                  <a:cubicBezTo>
                    <a:pt x="4968" y="14980"/>
                    <a:pt x="4927" y="14921"/>
                    <a:pt x="4886" y="14861"/>
                  </a:cubicBezTo>
                  <a:cubicBezTo>
                    <a:pt x="4818" y="14763"/>
                    <a:pt x="4751" y="14665"/>
                    <a:pt x="4730" y="14634"/>
                  </a:cubicBezTo>
                  <a:cubicBezTo>
                    <a:pt x="5161" y="14389"/>
                    <a:pt x="5161" y="14389"/>
                    <a:pt x="5161" y="14389"/>
                  </a:cubicBezTo>
                  <a:cubicBezTo>
                    <a:pt x="5438" y="14819"/>
                    <a:pt x="5438" y="14819"/>
                    <a:pt x="5438" y="14819"/>
                  </a:cubicBezTo>
                  <a:cubicBezTo>
                    <a:pt x="5051" y="15096"/>
                    <a:pt x="5051" y="15096"/>
                    <a:pt x="5051" y="15096"/>
                  </a:cubicBezTo>
                  <a:cubicBezTo>
                    <a:pt x="5050" y="15096"/>
                    <a:pt x="5050" y="15096"/>
                    <a:pt x="5050" y="15095"/>
                  </a:cubicBezTo>
                  <a:cubicBezTo>
                    <a:pt x="5047" y="15092"/>
                    <a:pt x="5043" y="15086"/>
                    <a:pt x="5038" y="15080"/>
                  </a:cubicBezTo>
                  <a:close/>
                  <a:moveTo>
                    <a:pt x="5173" y="14382"/>
                  </a:moveTo>
                  <a:cubicBezTo>
                    <a:pt x="5571" y="14094"/>
                    <a:pt x="5571" y="14094"/>
                    <a:pt x="5571" y="14094"/>
                  </a:cubicBezTo>
                  <a:cubicBezTo>
                    <a:pt x="5528" y="14208"/>
                    <a:pt x="5528" y="14208"/>
                    <a:pt x="5528" y="14208"/>
                  </a:cubicBezTo>
                  <a:cubicBezTo>
                    <a:pt x="5842" y="14484"/>
                    <a:pt x="5842" y="14484"/>
                    <a:pt x="5842" y="14484"/>
                  </a:cubicBezTo>
                  <a:cubicBezTo>
                    <a:pt x="5449" y="14810"/>
                    <a:pt x="5449" y="14810"/>
                    <a:pt x="5449" y="14810"/>
                  </a:cubicBezTo>
                  <a:lnTo>
                    <a:pt x="5173" y="14382"/>
                  </a:lnTo>
                  <a:close/>
                  <a:moveTo>
                    <a:pt x="5853" y="14493"/>
                  </a:moveTo>
                  <a:cubicBezTo>
                    <a:pt x="6041" y="14659"/>
                    <a:pt x="6041" y="14659"/>
                    <a:pt x="6041" y="14659"/>
                  </a:cubicBezTo>
                  <a:cubicBezTo>
                    <a:pt x="6041" y="14659"/>
                    <a:pt x="6041" y="14659"/>
                    <a:pt x="6041" y="14659"/>
                  </a:cubicBezTo>
                  <a:cubicBezTo>
                    <a:pt x="6040" y="14660"/>
                    <a:pt x="6039" y="14661"/>
                    <a:pt x="6037" y="14662"/>
                  </a:cubicBezTo>
                  <a:cubicBezTo>
                    <a:pt x="6021" y="14672"/>
                    <a:pt x="5998" y="14686"/>
                    <a:pt x="5970" y="14703"/>
                  </a:cubicBezTo>
                  <a:cubicBezTo>
                    <a:pt x="5915" y="14737"/>
                    <a:pt x="5841" y="14781"/>
                    <a:pt x="5767" y="14825"/>
                  </a:cubicBezTo>
                  <a:cubicBezTo>
                    <a:pt x="5639" y="14902"/>
                    <a:pt x="5511" y="14978"/>
                    <a:pt x="5479" y="14997"/>
                  </a:cubicBezTo>
                  <a:cubicBezTo>
                    <a:pt x="5455" y="14823"/>
                    <a:pt x="5455" y="14823"/>
                    <a:pt x="5455" y="14823"/>
                  </a:cubicBezTo>
                  <a:lnTo>
                    <a:pt x="5853" y="14493"/>
                  </a:lnTo>
                  <a:close/>
                  <a:moveTo>
                    <a:pt x="5768" y="14841"/>
                  </a:moveTo>
                  <a:cubicBezTo>
                    <a:pt x="5879" y="14774"/>
                    <a:pt x="5991" y="14707"/>
                    <a:pt x="6042" y="14675"/>
                  </a:cubicBezTo>
                  <a:cubicBezTo>
                    <a:pt x="6080" y="15160"/>
                    <a:pt x="6080" y="15160"/>
                    <a:pt x="6080" y="15160"/>
                  </a:cubicBezTo>
                  <a:cubicBezTo>
                    <a:pt x="6019" y="15161"/>
                    <a:pt x="5826" y="15164"/>
                    <a:pt x="5827" y="15164"/>
                  </a:cubicBezTo>
                  <a:cubicBezTo>
                    <a:pt x="5502" y="15152"/>
                    <a:pt x="5502" y="15152"/>
                    <a:pt x="5502" y="15152"/>
                  </a:cubicBezTo>
                  <a:cubicBezTo>
                    <a:pt x="5482" y="15012"/>
                    <a:pt x="5482" y="15012"/>
                    <a:pt x="5482" y="15012"/>
                  </a:cubicBezTo>
                  <a:cubicBezTo>
                    <a:pt x="5500" y="15001"/>
                    <a:pt x="5633" y="14922"/>
                    <a:pt x="5768" y="14841"/>
                  </a:cubicBezTo>
                  <a:close/>
                  <a:moveTo>
                    <a:pt x="6123" y="14861"/>
                  </a:moveTo>
                  <a:cubicBezTo>
                    <a:pt x="6592" y="14887"/>
                    <a:pt x="6592" y="14887"/>
                    <a:pt x="6592" y="14887"/>
                  </a:cubicBezTo>
                  <a:cubicBezTo>
                    <a:pt x="6597" y="15027"/>
                    <a:pt x="6597" y="15027"/>
                    <a:pt x="6597" y="15027"/>
                  </a:cubicBezTo>
                  <a:cubicBezTo>
                    <a:pt x="6568" y="15026"/>
                    <a:pt x="6465" y="15023"/>
                    <a:pt x="6361" y="15020"/>
                  </a:cubicBezTo>
                  <a:cubicBezTo>
                    <a:pt x="6340" y="15019"/>
                    <a:pt x="6319" y="15018"/>
                    <a:pt x="6299" y="15018"/>
                  </a:cubicBezTo>
                  <a:cubicBezTo>
                    <a:pt x="6301" y="14909"/>
                    <a:pt x="6301" y="14909"/>
                    <a:pt x="6301" y="14909"/>
                  </a:cubicBezTo>
                  <a:cubicBezTo>
                    <a:pt x="6215" y="14907"/>
                    <a:pt x="6215" y="14907"/>
                    <a:pt x="6215" y="14907"/>
                  </a:cubicBezTo>
                  <a:cubicBezTo>
                    <a:pt x="6214" y="14954"/>
                    <a:pt x="6214" y="14954"/>
                    <a:pt x="6214" y="14954"/>
                  </a:cubicBezTo>
                  <a:cubicBezTo>
                    <a:pt x="6171" y="14954"/>
                    <a:pt x="6171" y="14954"/>
                    <a:pt x="6171" y="14954"/>
                  </a:cubicBezTo>
                  <a:cubicBezTo>
                    <a:pt x="6170" y="15013"/>
                    <a:pt x="6170" y="15013"/>
                    <a:pt x="6170" y="15013"/>
                  </a:cubicBezTo>
                  <a:cubicBezTo>
                    <a:pt x="6156" y="15013"/>
                    <a:pt x="6144" y="15012"/>
                    <a:pt x="6135" y="15012"/>
                  </a:cubicBezTo>
                  <a:lnTo>
                    <a:pt x="6123" y="14861"/>
                  </a:lnTo>
                  <a:close/>
                  <a:moveTo>
                    <a:pt x="6182" y="15058"/>
                  </a:moveTo>
                  <a:cubicBezTo>
                    <a:pt x="6183" y="15028"/>
                    <a:pt x="6183" y="15028"/>
                    <a:pt x="6183" y="15028"/>
                  </a:cubicBezTo>
                  <a:cubicBezTo>
                    <a:pt x="6183" y="15028"/>
                    <a:pt x="6184" y="15028"/>
                    <a:pt x="6185" y="15028"/>
                  </a:cubicBezTo>
                  <a:cubicBezTo>
                    <a:pt x="6214" y="15029"/>
                    <a:pt x="6249" y="15030"/>
                    <a:pt x="6286" y="15031"/>
                  </a:cubicBezTo>
                  <a:cubicBezTo>
                    <a:pt x="6284" y="15106"/>
                    <a:pt x="6284" y="15106"/>
                    <a:pt x="6284" y="15106"/>
                  </a:cubicBezTo>
                  <a:cubicBezTo>
                    <a:pt x="6224" y="15105"/>
                    <a:pt x="6224" y="15105"/>
                    <a:pt x="6224" y="15105"/>
                  </a:cubicBezTo>
                  <a:cubicBezTo>
                    <a:pt x="6225" y="15058"/>
                    <a:pt x="6225" y="15058"/>
                    <a:pt x="6225" y="15058"/>
                  </a:cubicBezTo>
                  <a:lnTo>
                    <a:pt x="6182" y="15058"/>
                  </a:lnTo>
                  <a:close/>
                  <a:moveTo>
                    <a:pt x="6183" y="15014"/>
                  </a:moveTo>
                  <a:cubicBezTo>
                    <a:pt x="6184" y="14967"/>
                    <a:pt x="6184" y="14967"/>
                    <a:pt x="6184" y="14967"/>
                  </a:cubicBezTo>
                  <a:cubicBezTo>
                    <a:pt x="6227" y="14968"/>
                    <a:pt x="6227" y="14968"/>
                    <a:pt x="6227" y="14968"/>
                  </a:cubicBezTo>
                  <a:cubicBezTo>
                    <a:pt x="6228" y="14921"/>
                    <a:pt x="6228" y="14921"/>
                    <a:pt x="6228" y="14921"/>
                  </a:cubicBezTo>
                  <a:cubicBezTo>
                    <a:pt x="6288" y="14922"/>
                    <a:pt x="6288" y="14922"/>
                    <a:pt x="6288" y="14922"/>
                  </a:cubicBezTo>
                  <a:cubicBezTo>
                    <a:pt x="6286" y="15017"/>
                    <a:pt x="6286" y="15017"/>
                    <a:pt x="6286" y="15017"/>
                  </a:cubicBezTo>
                  <a:cubicBezTo>
                    <a:pt x="6248" y="15016"/>
                    <a:pt x="6212" y="15015"/>
                    <a:pt x="6183" y="15014"/>
                  </a:cubicBezTo>
                  <a:close/>
                  <a:moveTo>
                    <a:pt x="6169" y="15027"/>
                  </a:moveTo>
                  <a:cubicBezTo>
                    <a:pt x="6169" y="15070"/>
                    <a:pt x="6169" y="15070"/>
                    <a:pt x="6169" y="15070"/>
                  </a:cubicBezTo>
                  <a:cubicBezTo>
                    <a:pt x="6212" y="15071"/>
                    <a:pt x="6212" y="15071"/>
                    <a:pt x="6212" y="15071"/>
                  </a:cubicBezTo>
                  <a:cubicBezTo>
                    <a:pt x="6211" y="15118"/>
                    <a:pt x="6211" y="15118"/>
                    <a:pt x="6211" y="15118"/>
                  </a:cubicBezTo>
                  <a:cubicBezTo>
                    <a:pt x="6291" y="15120"/>
                    <a:pt x="6291" y="15120"/>
                    <a:pt x="6291" y="15120"/>
                  </a:cubicBezTo>
                  <a:cubicBezTo>
                    <a:pt x="6297" y="15120"/>
                    <a:pt x="6297" y="15120"/>
                    <a:pt x="6297" y="15120"/>
                  </a:cubicBezTo>
                  <a:cubicBezTo>
                    <a:pt x="6299" y="15032"/>
                    <a:pt x="6299" y="15032"/>
                    <a:pt x="6299" y="15032"/>
                  </a:cubicBezTo>
                  <a:cubicBezTo>
                    <a:pt x="6318" y="15032"/>
                    <a:pt x="6337" y="15033"/>
                    <a:pt x="6356" y="15033"/>
                  </a:cubicBezTo>
                  <a:cubicBezTo>
                    <a:pt x="6463" y="15037"/>
                    <a:pt x="6569" y="15040"/>
                    <a:pt x="6598" y="15041"/>
                  </a:cubicBezTo>
                  <a:cubicBezTo>
                    <a:pt x="6603" y="15189"/>
                    <a:pt x="6603" y="15189"/>
                    <a:pt x="6603" y="15189"/>
                  </a:cubicBezTo>
                  <a:cubicBezTo>
                    <a:pt x="6601" y="15189"/>
                    <a:pt x="6598" y="15189"/>
                    <a:pt x="6593" y="15189"/>
                  </a:cubicBezTo>
                  <a:cubicBezTo>
                    <a:pt x="6584" y="15189"/>
                    <a:pt x="6571" y="15189"/>
                    <a:pt x="6555" y="15189"/>
                  </a:cubicBezTo>
                  <a:cubicBezTo>
                    <a:pt x="6450" y="15189"/>
                    <a:pt x="6227" y="15188"/>
                    <a:pt x="6148" y="15187"/>
                  </a:cubicBezTo>
                  <a:cubicBezTo>
                    <a:pt x="6136" y="15026"/>
                    <a:pt x="6136" y="15026"/>
                    <a:pt x="6136" y="15026"/>
                  </a:cubicBezTo>
                  <a:cubicBezTo>
                    <a:pt x="6145" y="15026"/>
                    <a:pt x="6156" y="15027"/>
                    <a:pt x="6169" y="15027"/>
                  </a:cubicBezTo>
                  <a:close/>
                  <a:moveTo>
                    <a:pt x="6169" y="15201"/>
                  </a:moveTo>
                  <a:cubicBezTo>
                    <a:pt x="6200" y="15201"/>
                    <a:pt x="6243" y="15202"/>
                    <a:pt x="6289" y="15202"/>
                  </a:cubicBezTo>
                  <a:cubicBezTo>
                    <a:pt x="6382" y="15203"/>
                    <a:pt x="6491" y="15203"/>
                    <a:pt x="6555" y="15203"/>
                  </a:cubicBezTo>
                  <a:cubicBezTo>
                    <a:pt x="6579" y="15203"/>
                    <a:pt x="6595" y="15203"/>
                    <a:pt x="6604" y="15203"/>
                  </a:cubicBezTo>
                  <a:cubicBezTo>
                    <a:pt x="6608" y="15317"/>
                    <a:pt x="6608" y="15317"/>
                    <a:pt x="6608" y="15317"/>
                  </a:cubicBezTo>
                  <a:cubicBezTo>
                    <a:pt x="6622" y="15316"/>
                    <a:pt x="6622" y="15316"/>
                    <a:pt x="6622" y="15316"/>
                  </a:cubicBezTo>
                  <a:cubicBezTo>
                    <a:pt x="6597" y="14675"/>
                    <a:pt x="6597" y="14675"/>
                    <a:pt x="6597" y="14675"/>
                  </a:cubicBezTo>
                  <a:cubicBezTo>
                    <a:pt x="6655" y="14675"/>
                    <a:pt x="6715" y="14675"/>
                    <a:pt x="6775" y="14675"/>
                  </a:cubicBezTo>
                  <a:cubicBezTo>
                    <a:pt x="6775" y="14757"/>
                    <a:pt x="6775" y="15049"/>
                    <a:pt x="6780" y="15140"/>
                  </a:cubicBezTo>
                  <a:cubicBezTo>
                    <a:pt x="6781" y="15156"/>
                    <a:pt x="6781" y="15164"/>
                    <a:pt x="6783" y="15170"/>
                  </a:cubicBezTo>
                  <a:cubicBezTo>
                    <a:pt x="6783" y="15170"/>
                    <a:pt x="6783" y="15170"/>
                    <a:pt x="6783" y="15170"/>
                  </a:cubicBezTo>
                  <a:cubicBezTo>
                    <a:pt x="6715" y="15154"/>
                    <a:pt x="6715" y="15154"/>
                    <a:pt x="6715" y="15154"/>
                  </a:cubicBezTo>
                  <a:cubicBezTo>
                    <a:pt x="6719" y="15310"/>
                    <a:pt x="6719" y="15310"/>
                    <a:pt x="6719" y="15310"/>
                  </a:cubicBezTo>
                  <a:cubicBezTo>
                    <a:pt x="6335" y="15336"/>
                    <a:pt x="6335" y="15336"/>
                    <a:pt x="6335" y="15336"/>
                  </a:cubicBezTo>
                  <a:cubicBezTo>
                    <a:pt x="6337" y="15242"/>
                    <a:pt x="6337" y="15242"/>
                    <a:pt x="6337" y="15242"/>
                  </a:cubicBezTo>
                  <a:cubicBezTo>
                    <a:pt x="6251" y="15241"/>
                    <a:pt x="6251" y="15241"/>
                    <a:pt x="6251" y="15241"/>
                  </a:cubicBezTo>
                  <a:cubicBezTo>
                    <a:pt x="6250" y="15288"/>
                    <a:pt x="6250" y="15288"/>
                    <a:pt x="6250" y="15288"/>
                  </a:cubicBezTo>
                  <a:cubicBezTo>
                    <a:pt x="6207" y="15287"/>
                    <a:pt x="6207" y="15287"/>
                    <a:pt x="6207" y="15287"/>
                  </a:cubicBezTo>
                  <a:cubicBezTo>
                    <a:pt x="6206" y="15344"/>
                    <a:pt x="6206" y="15344"/>
                    <a:pt x="6206" y="15344"/>
                  </a:cubicBezTo>
                  <a:cubicBezTo>
                    <a:pt x="6161" y="15347"/>
                    <a:pt x="6161" y="15347"/>
                    <a:pt x="6161" y="15347"/>
                  </a:cubicBezTo>
                  <a:cubicBezTo>
                    <a:pt x="6149" y="15201"/>
                    <a:pt x="6149" y="15201"/>
                    <a:pt x="6149" y="15201"/>
                  </a:cubicBezTo>
                  <a:cubicBezTo>
                    <a:pt x="6155" y="15201"/>
                    <a:pt x="6162" y="15201"/>
                    <a:pt x="6169" y="15201"/>
                  </a:cubicBezTo>
                  <a:close/>
                  <a:moveTo>
                    <a:pt x="6218" y="15391"/>
                  </a:moveTo>
                  <a:cubicBezTo>
                    <a:pt x="6219" y="15357"/>
                    <a:pt x="6219" y="15357"/>
                    <a:pt x="6219" y="15357"/>
                  </a:cubicBezTo>
                  <a:cubicBezTo>
                    <a:pt x="6322" y="15351"/>
                    <a:pt x="6322" y="15351"/>
                    <a:pt x="6322" y="15351"/>
                  </a:cubicBezTo>
                  <a:cubicBezTo>
                    <a:pt x="6320" y="15439"/>
                    <a:pt x="6320" y="15439"/>
                    <a:pt x="6320" y="15439"/>
                  </a:cubicBezTo>
                  <a:cubicBezTo>
                    <a:pt x="6260" y="15438"/>
                    <a:pt x="6260" y="15438"/>
                    <a:pt x="6260" y="15438"/>
                  </a:cubicBezTo>
                  <a:cubicBezTo>
                    <a:pt x="6261" y="15391"/>
                    <a:pt x="6261" y="15391"/>
                    <a:pt x="6261" y="15391"/>
                  </a:cubicBezTo>
                  <a:lnTo>
                    <a:pt x="6218" y="15391"/>
                  </a:lnTo>
                  <a:close/>
                  <a:moveTo>
                    <a:pt x="6219" y="15343"/>
                  </a:moveTo>
                  <a:cubicBezTo>
                    <a:pt x="6220" y="15300"/>
                    <a:pt x="6220" y="15300"/>
                    <a:pt x="6220" y="15300"/>
                  </a:cubicBezTo>
                  <a:cubicBezTo>
                    <a:pt x="6263" y="15301"/>
                    <a:pt x="6263" y="15301"/>
                    <a:pt x="6263" y="15301"/>
                  </a:cubicBezTo>
                  <a:cubicBezTo>
                    <a:pt x="6264" y="15254"/>
                    <a:pt x="6264" y="15254"/>
                    <a:pt x="6264" y="15254"/>
                  </a:cubicBezTo>
                  <a:cubicBezTo>
                    <a:pt x="6324" y="15255"/>
                    <a:pt x="6324" y="15255"/>
                    <a:pt x="6324" y="15255"/>
                  </a:cubicBezTo>
                  <a:cubicBezTo>
                    <a:pt x="6322" y="15337"/>
                    <a:pt x="6322" y="15337"/>
                    <a:pt x="6322" y="15337"/>
                  </a:cubicBezTo>
                  <a:lnTo>
                    <a:pt x="6219" y="15343"/>
                  </a:lnTo>
                  <a:close/>
                  <a:moveTo>
                    <a:pt x="6412" y="15645"/>
                  </a:moveTo>
                  <a:cubicBezTo>
                    <a:pt x="6406" y="15910"/>
                    <a:pt x="6406" y="15910"/>
                    <a:pt x="6406" y="15910"/>
                  </a:cubicBezTo>
                  <a:cubicBezTo>
                    <a:pt x="6205" y="15904"/>
                    <a:pt x="6205" y="15904"/>
                    <a:pt x="6205" y="15904"/>
                  </a:cubicBezTo>
                  <a:cubicBezTo>
                    <a:pt x="6185" y="15658"/>
                    <a:pt x="6185" y="15658"/>
                    <a:pt x="6185" y="15658"/>
                  </a:cubicBezTo>
                  <a:lnTo>
                    <a:pt x="6412" y="15645"/>
                  </a:lnTo>
                  <a:close/>
                  <a:moveTo>
                    <a:pt x="6290" y="16604"/>
                  </a:moveTo>
                  <a:cubicBezTo>
                    <a:pt x="6304" y="16571"/>
                    <a:pt x="6312" y="16532"/>
                    <a:pt x="6313" y="16488"/>
                  </a:cubicBezTo>
                  <a:cubicBezTo>
                    <a:pt x="6315" y="16449"/>
                    <a:pt x="6316" y="16406"/>
                    <a:pt x="6317" y="16362"/>
                  </a:cubicBezTo>
                  <a:cubicBezTo>
                    <a:pt x="6475" y="16373"/>
                    <a:pt x="6475" y="16373"/>
                    <a:pt x="6475" y="16373"/>
                  </a:cubicBezTo>
                  <a:cubicBezTo>
                    <a:pt x="6475" y="16433"/>
                    <a:pt x="6475" y="16433"/>
                    <a:pt x="6475" y="16433"/>
                  </a:cubicBezTo>
                  <a:cubicBezTo>
                    <a:pt x="6481" y="16434"/>
                    <a:pt x="6481" y="16434"/>
                    <a:pt x="6481" y="16434"/>
                  </a:cubicBezTo>
                  <a:cubicBezTo>
                    <a:pt x="6481" y="16434"/>
                    <a:pt x="6754" y="16501"/>
                    <a:pt x="6813" y="16513"/>
                  </a:cubicBezTo>
                  <a:cubicBezTo>
                    <a:pt x="6700" y="16571"/>
                    <a:pt x="6700" y="16571"/>
                    <a:pt x="6700" y="16571"/>
                  </a:cubicBezTo>
                  <a:cubicBezTo>
                    <a:pt x="6718" y="16703"/>
                    <a:pt x="6718" y="16703"/>
                    <a:pt x="6718" y="16703"/>
                  </a:cubicBezTo>
                  <a:lnTo>
                    <a:pt x="6290" y="16604"/>
                  </a:lnTo>
                  <a:close/>
                  <a:moveTo>
                    <a:pt x="6650" y="16461"/>
                  </a:moveTo>
                  <a:cubicBezTo>
                    <a:pt x="6578" y="16444"/>
                    <a:pt x="6509" y="16427"/>
                    <a:pt x="6489" y="16422"/>
                  </a:cubicBezTo>
                  <a:cubicBezTo>
                    <a:pt x="6489" y="16360"/>
                    <a:pt x="6489" y="16360"/>
                    <a:pt x="6489" y="16360"/>
                  </a:cubicBezTo>
                  <a:cubicBezTo>
                    <a:pt x="6317" y="16348"/>
                    <a:pt x="6317" y="16348"/>
                    <a:pt x="6317" y="16348"/>
                  </a:cubicBezTo>
                  <a:cubicBezTo>
                    <a:pt x="6319" y="16278"/>
                    <a:pt x="6320" y="16207"/>
                    <a:pt x="6320" y="16144"/>
                  </a:cubicBezTo>
                  <a:cubicBezTo>
                    <a:pt x="6499" y="16145"/>
                    <a:pt x="6499" y="16145"/>
                    <a:pt x="6499" y="16145"/>
                  </a:cubicBezTo>
                  <a:cubicBezTo>
                    <a:pt x="6493" y="16208"/>
                    <a:pt x="6493" y="16208"/>
                    <a:pt x="6493" y="16208"/>
                  </a:cubicBezTo>
                  <a:cubicBezTo>
                    <a:pt x="6855" y="16282"/>
                    <a:pt x="6855" y="16282"/>
                    <a:pt x="6855" y="16282"/>
                  </a:cubicBezTo>
                  <a:cubicBezTo>
                    <a:pt x="6839" y="16377"/>
                    <a:pt x="6824" y="16465"/>
                    <a:pt x="6818" y="16500"/>
                  </a:cubicBezTo>
                  <a:cubicBezTo>
                    <a:pt x="6797" y="16495"/>
                    <a:pt x="6722" y="16478"/>
                    <a:pt x="6650" y="16461"/>
                  </a:cubicBezTo>
                  <a:close/>
                  <a:moveTo>
                    <a:pt x="6508" y="16197"/>
                  </a:moveTo>
                  <a:cubicBezTo>
                    <a:pt x="6514" y="16132"/>
                    <a:pt x="6514" y="16132"/>
                    <a:pt x="6514" y="16132"/>
                  </a:cubicBezTo>
                  <a:cubicBezTo>
                    <a:pt x="6321" y="16130"/>
                    <a:pt x="6321" y="16130"/>
                    <a:pt x="6321" y="16130"/>
                  </a:cubicBezTo>
                  <a:cubicBezTo>
                    <a:pt x="6321" y="16061"/>
                    <a:pt x="6321" y="16004"/>
                    <a:pt x="6321" y="15974"/>
                  </a:cubicBezTo>
                  <a:cubicBezTo>
                    <a:pt x="6904" y="15991"/>
                    <a:pt x="6904" y="15991"/>
                    <a:pt x="6904" y="15991"/>
                  </a:cubicBezTo>
                  <a:cubicBezTo>
                    <a:pt x="6904" y="15993"/>
                    <a:pt x="6904" y="15994"/>
                    <a:pt x="6903" y="15996"/>
                  </a:cubicBezTo>
                  <a:cubicBezTo>
                    <a:pt x="6901" y="16011"/>
                    <a:pt x="6897" y="16032"/>
                    <a:pt x="6893" y="16058"/>
                  </a:cubicBezTo>
                  <a:cubicBezTo>
                    <a:pt x="6884" y="16109"/>
                    <a:pt x="6872" y="16177"/>
                    <a:pt x="6861" y="16244"/>
                  </a:cubicBezTo>
                  <a:cubicBezTo>
                    <a:pt x="6860" y="16253"/>
                    <a:pt x="6858" y="16261"/>
                    <a:pt x="6857" y="16269"/>
                  </a:cubicBezTo>
                  <a:lnTo>
                    <a:pt x="6508" y="16197"/>
                  </a:lnTo>
                  <a:close/>
                  <a:moveTo>
                    <a:pt x="6977" y="15514"/>
                  </a:moveTo>
                  <a:cubicBezTo>
                    <a:pt x="6977" y="15508"/>
                    <a:pt x="6977" y="15508"/>
                    <a:pt x="6977" y="15508"/>
                  </a:cubicBezTo>
                  <a:cubicBezTo>
                    <a:pt x="6871" y="15489"/>
                    <a:pt x="6871" y="15489"/>
                    <a:pt x="6871" y="15489"/>
                  </a:cubicBezTo>
                  <a:cubicBezTo>
                    <a:pt x="6883" y="15207"/>
                    <a:pt x="6883" y="15207"/>
                    <a:pt x="6883" y="15207"/>
                  </a:cubicBezTo>
                  <a:cubicBezTo>
                    <a:pt x="7025" y="15240"/>
                    <a:pt x="7025" y="15240"/>
                    <a:pt x="7025" y="15240"/>
                  </a:cubicBezTo>
                  <a:cubicBezTo>
                    <a:pt x="7094" y="15226"/>
                    <a:pt x="7094" y="15226"/>
                    <a:pt x="7094" y="15226"/>
                  </a:cubicBezTo>
                  <a:cubicBezTo>
                    <a:pt x="7098" y="15508"/>
                    <a:pt x="7098" y="15508"/>
                    <a:pt x="7098" y="15508"/>
                  </a:cubicBezTo>
                  <a:cubicBezTo>
                    <a:pt x="7162" y="15539"/>
                    <a:pt x="7162" y="15539"/>
                    <a:pt x="7162" y="15539"/>
                  </a:cubicBezTo>
                  <a:cubicBezTo>
                    <a:pt x="7212" y="15935"/>
                    <a:pt x="7212" y="15935"/>
                    <a:pt x="7212" y="15935"/>
                  </a:cubicBezTo>
                  <a:cubicBezTo>
                    <a:pt x="6952" y="15927"/>
                    <a:pt x="6952" y="15927"/>
                    <a:pt x="6952" y="15927"/>
                  </a:cubicBezTo>
                  <a:cubicBezTo>
                    <a:pt x="6952" y="15926"/>
                    <a:pt x="6952" y="15926"/>
                    <a:pt x="6952" y="15926"/>
                  </a:cubicBezTo>
                  <a:cubicBezTo>
                    <a:pt x="6952" y="15863"/>
                    <a:pt x="6977" y="15514"/>
                    <a:pt x="6977" y="15514"/>
                  </a:cubicBezTo>
                  <a:close/>
                  <a:moveTo>
                    <a:pt x="7032" y="15224"/>
                  </a:moveTo>
                  <a:cubicBezTo>
                    <a:pt x="7014" y="14831"/>
                    <a:pt x="7014" y="14831"/>
                    <a:pt x="7014" y="14831"/>
                  </a:cubicBezTo>
                  <a:cubicBezTo>
                    <a:pt x="7115" y="14829"/>
                    <a:pt x="7115" y="14829"/>
                    <a:pt x="7115" y="14829"/>
                  </a:cubicBezTo>
                  <a:cubicBezTo>
                    <a:pt x="7113" y="14742"/>
                    <a:pt x="7113" y="14742"/>
                    <a:pt x="7113" y="14742"/>
                  </a:cubicBezTo>
                  <a:cubicBezTo>
                    <a:pt x="7066" y="14744"/>
                    <a:pt x="7066" y="14744"/>
                    <a:pt x="7066" y="14744"/>
                  </a:cubicBezTo>
                  <a:cubicBezTo>
                    <a:pt x="7065" y="14701"/>
                    <a:pt x="7065" y="14701"/>
                    <a:pt x="7065" y="14701"/>
                  </a:cubicBezTo>
                  <a:cubicBezTo>
                    <a:pt x="7008" y="14702"/>
                    <a:pt x="7008" y="14702"/>
                    <a:pt x="7008" y="14702"/>
                  </a:cubicBezTo>
                  <a:cubicBezTo>
                    <a:pt x="7007" y="14674"/>
                    <a:pt x="7007" y="14674"/>
                    <a:pt x="7007" y="14674"/>
                  </a:cubicBezTo>
                  <a:cubicBezTo>
                    <a:pt x="7069" y="14674"/>
                    <a:pt x="7127" y="14673"/>
                    <a:pt x="7178" y="14673"/>
                  </a:cubicBezTo>
                  <a:cubicBezTo>
                    <a:pt x="7178" y="14676"/>
                    <a:pt x="7178" y="14676"/>
                    <a:pt x="7178" y="14676"/>
                  </a:cubicBezTo>
                  <a:cubicBezTo>
                    <a:pt x="7178" y="14676"/>
                    <a:pt x="7178" y="14676"/>
                    <a:pt x="7179" y="14676"/>
                  </a:cubicBezTo>
                  <a:cubicBezTo>
                    <a:pt x="7179" y="14684"/>
                    <a:pt x="7179" y="14694"/>
                    <a:pt x="7179" y="14705"/>
                  </a:cubicBezTo>
                  <a:cubicBezTo>
                    <a:pt x="7179" y="14835"/>
                    <a:pt x="7177" y="15151"/>
                    <a:pt x="7176" y="15196"/>
                  </a:cubicBezTo>
                  <a:lnTo>
                    <a:pt x="7032" y="15224"/>
                  </a:lnTo>
                  <a:close/>
                  <a:moveTo>
                    <a:pt x="7447" y="14382"/>
                  </a:moveTo>
                  <a:cubicBezTo>
                    <a:pt x="7442" y="14381"/>
                    <a:pt x="7442" y="14381"/>
                    <a:pt x="7442" y="14381"/>
                  </a:cubicBezTo>
                  <a:cubicBezTo>
                    <a:pt x="7442" y="14381"/>
                    <a:pt x="7408" y="14376"/>
                    <a:pt x="7396" y="14374"/>
                  </a:cubicBezTo>
                  <a:cubicBezTo>
                    <a:pt x="7396" y="14374"/>
                    <a:pt x="7396" y="14374"/>
                    <a:pt x="7396" y="14373"/>
                  </a:cubicBezTo>
                  <a:cubicBezTo>
                    <a:pt x="7396" y="14370"/>
                    <a:pt x="7396" y="14365"/>
                    <a:pt x="7396" y="14359"/>
                  </a:cubicBezTo>
                  <a:cubicBezTo>
                    <a:pt x="7396" y="14312"/>
                    <a:pt x="7402" y="14200"/>
                    <a:pt x="7403" y="14185"/>
                  </a:cubicBezTo>
                  <a:cubicBezTo>
                    <a:pt x="7465" y="14090"/>
                    <a:pt x="7465" y="14090"/>
                    <a:pt x="7465" y="14090"/>
                  </a:cubicBezTo>
                  <a:cubicBezTo>
                    <a:pt x="7496" y="14096"/>
                    <a:pt x="7675" y="14131"/>
                    <a:pt x="7731" y="14140"/>
                  </a:cubicBezTo>
                  <a:cubicBezTo>
                    <a:pt x="7727" y="14205"/>
                    <a:pt x="7724" y="14267"/>
                    <a:pt x="7721" y="14316"/>
                  </a:cubicBezTo>
                  <a:cubicBezTo>
                    <a:pt x="7719" y="14360"/>
                    <a:pt x="7716" y="14396"/>
                    <a:pt x="7714" y="14409"/>
                  </a:cubicBezTo>
                  <a:cubicBezTo>
                    <a:pt x="7713" y="14410"/>
                    <a:pt x="7711" y="14411"/>
                    <a:pt x="7709" y="14414"/>
                  </a:cubicBezTo>
                  <a:cubicBezTo>
                    <a:pt x="7705" y="14419"/>
                    <a:pt x="7698" y="14427"/>
                    <a:pt x="7688" y="14436"/>
                  </a:cubicBezTo>
                  <a:cubicBezTo>
                    <a:pt x="7669" y="14454"/>
                    <a:pt x="7642" y="14479"/>
                    <a:pt x="7606" y="14504"/>
                  </a:cubicBezTo>
                  <a:cubicBezTo>
                    <a:pt x="7573" y="14528"/>
                    <a:pt x="7532" y="14551"/>
                    <a:pt x="7486" y="14570"/>
                  </a:cubicBezTo>
                  <a:lnTo>
                    <a:pt x="7447" y="14382"/>
                  </a:lnTo>
                  <a:close/>
                  <a:moveTo>
                    <a:pt x="7603" y="14102"/>
                  </a:moveTo>
                  <a:cubicBezTo>
                    <a:pt x="7544" y="14091"/>
                    <a:pt x="7486" y="14080"/>
                    <a:pt x="7469" y="14077"/>
                  </a:cubicBezTo>
                  <a:cubicBezTo>
                    <a:pt x="7468" y="14046"/>
                    <a:pt x="7461" y="13882"/>
                    <a:pt x="7461" y="13814"/>
                  </a:cubicBezTo>
                  <a:cubicBezTo>
                    <a:pt x="7461" y="13809"/>
                    <a:pt x="7461" y="13805"/>
                    <a:pt x="7461" y="13802"/>
                  </a:cubicBezTo>
                  <a:cubicBezTo>
                    <a:pt x="7761" y="13790"/>
                    <a:pt x="7761" y="13790"/>
                    <a:pt x="7761" y="13790"/>
                  </a:cubicBezTo>
                  <a:cubicBezTo>
                    <a:pt x="7747" y="13873"/>
                    <a:pt x="7738" y="14005"/>
                    <a:pt x="7731" y="14126"/>
                  </a:cubicBezTo>
                  <a:cubicBezTo>
                    <a:pt x="7706" y="14122"/>
                    <a:pt x="7654" y="14112"/>
                    <a:pt x="7603" y="14102"/>
                  </a:cubicBezTo>
                  <a:close/>
                  <a:moveTo>
                    <a:pt x="7322" y="12859"/>
                  </a:moveTo>
                  <a:cubicBezTo>
                    <a:pt x="7319" y="12892"/>
                    <a:pt x="7319" y="12892"/>
                    <a:pt x="7319" y="12892"/>
                  </a:cubicBezTo>
                  <a:cubicBezTo>
                    <a:pt x="6948" y="12834"/>
                    <a:pt x="6948" y="12834"/>
                    <a:pt x="6948" y="12834"/>
                  </a:cubicBezTo>
                  <a:cubicBezTo>
                    <a:pt x="6957" y="12695"/>
                    <a:pt x="6965" y="12574"/>
                    <a:pt x="6966" y="12559"/>
                  </a:cubicBezTo>
                  <a:cubicBezTo>
                    <a:pt x="7036" y="12441"/>
                    <a:pt x="7036" y="12441"/>
                    <a:pt x="7036" y="12441"/>
                  </a:cubicBezTo>
                  <a:cubicBezTo>
                    <a:pt x="7034" y="12446"/>
                    <a:pt x="7034" y="12446"/>
                    <a:pt x="7034" y="12446"/>
                  </a:cubicBezTo>
                  <a:cubicBezTo>
                    <a:pt x="7457" y="12581"/>
                    <a:pt x="7457" y="12581"/>
                    <a:pt x="7457" y="12581"/>
                  </a:cubicBezTo>
                  <a:lnTo>
                    <a:pt x="7322" y="12859"/>
                  </a:lnTo>
                  <a:close/>
                  <a:moveTo>
                    <a:pt x="7781" y="11589"/>
                  </a:moveTo>
                  <a:cubicBezTo>
                    <a:pt x="7477" y="11570"/>
                    <a:pt x="7477" y="11570"/>
                    <a:pt x="7477" y="11570"/>
                  </a:cubicBezTo>
                  <a:cubicBezTo>
                    <a:pt x="7313" y="11412"/>
                    <a:pt x="7313" y="11412"/>
                    <a:pt x="7313" y="11412"/>
                  </a:cubicBezTo>
                  <a:cubicBezTo>
                    <a:pt x="7317" y="11400"/>
                    <a:pt x="7321" y="11387"/>
                    <a:pt x="7325" y="11375"/>
                  </a:cubicBezTo>
                  <a:cubicBezTo>
                    <a:pt x="7326" y="11375"/>
                    <a:pt x="7326" y="11375"/>
                    <a:pt x="7326" y="11375"/>
                  </a:cubicBezTo>
                  <a:cubicBezTo>
                    <a:pt x="7326" y="11374"/>
                    <a:pt x="7326" y="11374"/>
                    <a:pt x="7326" y="11374"/>
                  </a:cubicBezTo>
                  <a:cubicBezTo>
                    <a:pt x="7358" y="11281"/>
                    <a:pt x="7385" y="11201"/>
                    <a:pt x="7400" y="11155"/>
                  </a:cubicBezTo>
                  <a:cubicBezTo>
                    <a:pt x="7401" y="11153"/>
                    <a:pt x="7401" y="11151"/>
                    <a:pt x="7402" y="11149"/>
                  </a:cubicBezTo>
                  <a:cubicBezTo>
                    <a:pt x="7418" y="11156"/>
                    <a:pt x="7434" y="11163"/>
                    <a:pt x="7450" y="11171"/>
                  </a:cubicBezTo>
                  <a:cubicBezTo>
                    <a:pt x="7654" y="11269"/>
                    <a:pt x="7799" y="11341"/>
                    <a:pt x="7894" y="11389"/>
                  </a:cubicBezTo>
                  <a:cubicBezTo>
                    <a:pt x="7950" y="11417"/>
                    <a:pt x="7987" y="11437"/>
                    <a:pt x="8009" y="11448"/>
                  </a:cubicBezTo>
                  <a:cubicBezTo>
                    <a:pt x="7893" y="11687"/>
                    <a:pt x="7893" y="11687"/>
                    <a:pt x="7893" y="11687"/>
                  </a:cubicBezTo>
                  <a:lnTo>
                    <a:pt x="7781" y="11589"/>
                  </a:lnTo>
                  <a:close/>
                  <a:moveTo>
                    <a:pt x="7523" y="11134"/>
                  </a:moveTo>
                  <a:cubicBezTo>
                    <a:pt x="7538" y="11079"/>
                    <a:pt x="7595" y="10875"/>
                    <a:pt x="7660" y="10647"/>
                  </a:cubicBezTo>
                  <a:cubicBezTo>
                    <a:pt x="7736" y="10378"/>
                    <a:pt x="7823" y="10076"/>
                    <a:pt x="7865" y="9941"/>
                  </a:cubicBezTo>
                  <a:cubicBezTo>
                    <a:pt x="7871" y="9922"/>
                    <a:pt x="7876" y="9906"/>
                    <a:pt x="7880" y="9895"/>
                  </a:cubicBezTo>
                  <a:cubicBezTo>
                    <a:pt x="7984" y="9964"/>
                    <a:pt x="8411" y="10250"/>
                    <a:pt x="8547" y="10338"/>
                  </a:cubicBezTo>
                  <a:cubicBezTo>
                    <a:pt x="8548" y="10338"/>
                    <a:pt x="8548" y="10339"/>
                    <a:pt x="8549" y="10339"/>
                  </a:cubicBezTo>
                  <a:cubicBezTo>
                    <a:pt x="8038" y="11389"/>
                    <a:pt x="8038" y="11389"/>
                    <a:pt x="8038" y="11389"/>
                  </a:cubicBezTo>
                  <a:cubicBezTo>
                    <a:pt x="7979" y="11359"/>
                    <a:pt x="7816" y="11275"/>
                    <a:pt x="7523" y="11134"/>
                  </a:cubicBezTo>
                  <a:close/>
                  <a:moveTo>
                    <a:pt x="8494" y="10250"/>
                  </a:moveTo>
                  <a:cubicBezTo>
                    <a:pt x="8425" y="10205"/>
                    <a:pt x="8334" y="10144"/>
                    <a:pt x="8244" y="10084"/>
                  </a:cubicBezTo>
                  <a:cubicBezTo>
                    <a:pt x="8098" y="9987"/>
                    <a:pt x="7954" y="9890"/>
                    <a:pt x="7902" y="9855"/>
                  </a:cubicBezTo>
                  <a:cubicBezTo>
                    <a:pt x="7909" y="9846"/>
                    <a:pt x="7918" y="9833"/>
                    <a:pt x="7929" y="9817"/>
                  </a:cubicBezTo>
                  <a:cubicBezTo>
                    <a:pt x="7953" y="9781"/>
                    <a:pt x="7987" y="9730"/>
                    <a:pt x="8028" y="9669"/>
                  </a:cubicBezTo>
                  <a:cubicBezTo>
                    <a:pt x="8108" y="9546"/>
                    <a:pt x="8214" y="9383"/>
                    <a:pt x="8320" y="9219"/>
                  </a:cubicBezTo>
                  <a:cubicBezTo>
                    <a:pt x="8499" y="8942"/>
                    <a:pt x="8677" y="8664"/>
                    <a:pt x="8726" y="8588"/>
                  </a:cubicBezTo>
                  <a:cubicBezTo>
                    <a:pt x="8856" y="8667"/>
                    <a:pt x="9104" y="8822"/>
                    <a:pt x="9249" y="8903"/>
                  </a:cubicBezTo>
                  <a:cubicBezTo>
                    <a:pt x="8569" y="10299"/>
                    <a:pt x="8569" y="10299"/>
                    <a:pt x="8569" y="10299"/>
                  </a:cubicBezTo>
                  <a:cubicBezTo>
                    <a:pt x="8549" y="10286"/>
                    <a:pt x="8524" y="10269"/>
                    <a:pt x="8494" y="10250"/>
                  </a:cubicBezTo>
                  <a:close/>
                  <a:moveTo>
                    <a:pt x="8450" y="8934"/>
                  </a:moveTo>
                  <a:cubicBezTo>
                    <a:pt x="8366" y="9064"/>
                    <a:pt x="8272" y="9210"/>
                    <a:pt x="8183" y="9347"/>
                  </a:cubicBezTo>
                  <a:cubicBezTo>
                    <a:pt x="7631" y="8990"/>
                    <a:pt x="7631" y="8990"/>
                    <a:pt x="7631" y="8990"/>
                  </a:cubicBezTo>
                  <a:cubicBezTo>
                    <a:pt x="8065" y="8135"/>
                    <a:pt x="8065" y="8135"/>
                    <a:pt x="8065" y="8135"/>
                  </a:cubicBezTo>
                  <a:cubicBezTo>
                    <a:pt x="8069" y="8135"/>
                    <a:pt x="8076" y="8134"/>
                    <a:pt x="8088" y="8133"/>
                  </a:cubicBezTo>
                  <a:cubicBezTo>
                    <a:pt x="8130" y="8165"/>
                    <a:pt x="8226" y="8236"/>
                    <a:pt x="8329" y="8311"/>
                  </a:cubicBezTo>
                  <a:cubicBezTo>
                    <a:pt x="8467" y="8413"/>
                    <a:pt x="8617" y="8521"/>
                    <a:pt x="8671" y="8554"/>
                  </a:cubicBezTo>
                  <a:cubicBezTo>
                    <a:pt x="8676" y="8557"/>
                    <a:pt x="8682" y="8561"/>
                    <a:pt x="8688" y="8564"/>
                  </a:cubicBezTo>
                  <a:cubicBezTo>
                    <a:pt x="8654" y="8617"/>
                    <a:pt x="8562" y="8761"/>
                    <a:pt x="8450" y="8934"/>
                  </a:cubicBezTo>
                  <a:close/>
                  <a:moveTo>
                    <a:pt x="8352" y="7919"/>
                  </a:moveTo>
                  <a:cubicBezTo>
                    <a:pt x="8337" y="7905"/>
                    <a:pt x="8317" y="7885"/>
                    <a:pt x="8292" y="7861"/>
                  </a:cubicBezTo>
                  <a:cubicBezTo>
                    <a:pt x="8243" y="7813"/>
                    <a:pt x="8180" y="7749"/>
                    <a:pt x="8116" y="7685"/>
                  </a:cubicBezTo>
                  <a:cubicBezTo>
                    <a:pt x="8110" y="7679"/>
                    <a:pt x="8104" y="7673"/>
                    <a:pt x="8099" y="7667"/>
                  </a:cubicBezTo>
                  <a:cubicBezTo>
                    <a:pt x="8178" y="7637"/>
                    <a:pt x="8258" y="7608"/>
                    <a:pt x="8285" y="7599"/>
                  </a:cubicBezTo>
                  <a:cubicBezTo>
                    <a:pt x="8577" y="7848"/>
                    <a:pt x="8577" y="7848"/>
                    <a:pt x="8577" y="7848"/>
                  </a:cubicBezTo>
                  <a:cubicBezTo>
                    <a:pt x="8523" y="7885"/>
                    <a:pt x="8457" y="7921"/>
                    <a:pt x="8406" y="7933"/>
                  </a:cubicBezTo>
                  <a:cubicBezTo>
                    <a:pt x="8396" y="7935"/>
                    <a:pt x="8385" y="7937"/>
                    <a:pt x="8374" y="7939"/>
                  </a:cubicBezTo>
                  <a:cubicBezTo>
                    <a:pt x="8373" y="7938"/>
                    <a:pt x="8372" y="7937"/>
                    <a:pt x="8370" y="7935"/>
                  </a:cubicBezTo>
                  <a:cubicBezTo>
                    <a:pt x="8365" y="7932"/>
                    <a:pt x="8359" y="7926"/>
                    <a:pt x="8352" y="7919"/>
                  </a:cubicBezTo>
                  <a:close/>
                  <a:moveTo>
                    <a:pt x="8299" y="7593"/>
                  </a:moveTo>
                  <a:cubicBezTo>
                    <a:pt x="8300" y="7592"/>
                    <a:pt x="8300" y="7592"/>
                    <a:pt x="8301" y="7591"/>
                  </a:cubicBezTo>
                  <a:cubicBezTo>
                    <a:pt x="8302" y="7589"/>
                    <a:pt x="8303" y="7587"/>
                    <a:pt x="8304" y="7584"/>
                  </a:cubicBezTo>
                  <a:cubicBezTo>
                    <a:pt x="8307" y="7579"/>
                    <a:pt x="8310" y="7572"/>
                    <a:pt x="8313" y="7563"/>
                  </a:cubicBezTo>
                  <a:cubicBezTo>
                    <a:pt x="8320" y="7546"/>
                    <a:pt x="8328" y="7522"/>
                    <a:pt x="8336" y="7499"/>
                  </a:cubicBezTo>
                  <a:cubicBezTo>
                    <a:pt x="8349" y="7459"/>
                    <a:pt x="8364" y="7416"/>
                    <a:pt x="8369" y="7402"/>
                  </a:cubicBezTo>
                  <a:cubicBezTo>
                    <a:pt x="8426" y="7442"/>
                    <a:pt x="8479" y="7480"/>
                    <a:pt x="8506" y="7498"/>
                  </a:cubicBezTo>
                  <a:cubicBezTo>
                    <a:pt x="8509" y="7499"/>
                    <a:pt x="8510" y="7500"/>
                    <a:pt x="8512" y="7501"/>
                  </a:cubicBezTo>
                  <a:cubicBezTo>
                    <a:pt x="8519" y="7557"/>
                    <a:pt x="8531" y="7614"/>
                    <a:pt x="8555" y="7669"/>
                  </a:cubicBezTo>
                  <a:cubicBezTo>
                    <a:pt x="8576" y="7715"/>
                    <a:pt x="8606" y="7759"/>
                    <a:pt x="8640" y="7801"/>
                  </a:cubicBezTo>
                  <a:cubicBezTo>
                    <a:pt x="8626" y="7812"/>
                    <a:pt x="8611" y="7825"/>
                    <a:pt x="8593" y="7837"/>
                  </a:cubicBezTo>
                  <a:cubicBezTo>
                    <a:pt x="8592" y="7838"/>
                    <a:pt x="8590" y="7839"/>
                    <a:pt x="8589" y="7840"/>
                  </a:cubicBezTo>
                  <a:lnTo>
                    <a:pt x="8299" y="7593"/>
                  </a:lnTo>
                  <a:close/>
                  <a:moveTo>
                    <a:pt x="10111" y="2660"/>
                  </a:moveTo>
                  <a:cubicBezTo>
                    <a:pt x="9660" y="2788"/>
                    <a:pt x="9079" y="2945"/>
                    <a:pt x="8602" y="3074"/>
                  </a:cubicBezTo>
                  <a:cubicBezTo>
                    <a:pt x="8364" y="3138"/>
                    <a:pt x="8153" y="3195"/>
                    <a:pt x="7997" y="3238"/>
                  </a:cubicBezTo>
                  <a:cubicBezTo>
                    <a:pt x="7919" y="3259"/>
                    <a:pt x="7855" y="3277"/>
                    <a:pt x="7809" y="3290"/>
                  </a:cubicBezTo>
                  <a:cubicBezTo>
                    <a:pt x="7786" y="3296"/>
                    <a:pt x="7767" y="3302"/>
                    <a:pt x="7754" y="3306"/>
                  </a:cubicBezTo>
                  <a:cubicBezTo>
                    <a:pt x="7749" y="3307"/>
                    <a:pt x="7745" y="3308"/>
                    <a:pt x="7742" y="3309"/>
                  </a:cubicBezTo>
                  <a:cubicBezTo>
                    <a:pt x="7742" y="3309"/>
                    <a:pt x="7742" y="3309"/>
                    <a:pt x="7742" y="3309"/>
                  </a:cubicBezTo>
                  <a:cubicBezTo>
                    <a:pt x="7733" y="3312"/>
                    <a:pt x="7733" y="3312"/>
                    <a:pt x="7733" y="3312"/>
                  </a:cubicBezTo>
                  <a:cubicBezTo>
                    <a:pt x="7717" y="3319"/>
                    <a:pt x="7700" y="3324"/>
                    <a:pt x="7677" y="3330"/>
                  </a:cubicBezTo>
                  <a:cubicBezTo>
                    <a:pt x="7638" y="3341"/>
                    <a:pt x="7584" y="3356"/>
                    <a:pt x="7527" y="3376"/>
                  </a:cubicBezTo>
                  <a:cubicBezTo>
                    <a:pt x="7513" y="3342"/>
                    <a:pt x="7513" y="3342"/>
                    <a:pt x="7513" y="3342"/>
                  </a:cubicBezTo>
                  <a:cubicBezTo>
                    <a:pt x="7513" y="3341"/>
                    <a:pt x="7500" y="3309"/>
                    <a:pt x="7478" y="3263"/>
                  </a:cubicBezTo>
                  <a:cubicBezTo>
                    <a:pt x="7526" y="3245"/>
                    <a:pt x="7571" y="3232"/>
                    <a:pt x="7607" y="3222"/>
                  </a:cubicBezTo>
                  <a:cubicBezTo>
                    <a:pt x="7647" y="3211"/>
                    <a:pt x="7678" y="3202"/>
                    <a:pt x="7686" y="3199"/>
                  </a:cubicBezTo>
                  <a:cubicBezTo>
                    <a:pt x="7694" y="3196"/>
                    <a:pt x="7698" y="3194"/>
                    <a:pt x="7707" y="3191"/>
                  </a:cubicBezTo>
                  <a:cubicBezTo>
                    <a:pt x="7771" y="3172"/>
                    <a:pt x="7983" y="3114"/>
                    <a:pt x="8271" y="3036"/>
                  </a:cubicBezTo>
                  <a:cubicBezTo>
                    <a:pt x="8703" y="2919"/>
                    <a:pt x="9303" y="2758"/>
                    <a:pt x="9810" y="2616"/>
                  </a:cubicBezTo>
                  <a:cubicBezTo>
                    <a:pt x="10063" y="2546"/>
                    <a:pt x="10294" y="2480"/>
                    <a:pt x="10468" y="2428"/>
                  </a:cubicBezTo>
                  <a:cubicBezTo>
                    <a:pt x="10478" y="2424"/>
                    <a:pt x="10488" y="2421"/>
                    <a:pt x="10498" y="2418"/>
                  </a:cubicBezTo>
                  <a:cubicBezTo>
                    <a:pt x="10505" y="2445"/>
                    <a:pt x="10513" y="2474"/>
                    <a:pt x="10522" y="2507"/>
                  </a:cubicBezTo>
                  <a:cubicBezTo>
                    <a:pt x="10525" y="2517"/>
                    <a:pt x="10527" y="2527"/>
                    <a:pt x="10530" y="2537"/>
                  </a:cubicBezTo>
                  <a:cubicBezTo>
                    <a:pt x="10414" y="2573"/>
                    <a:pt x="10271" y="2614"/>
                    <a:pt x="10111" y="2660"/>
                  </a:cubicBezTo>
                  <a:close/>
                  <a:moveTo>
                    <a:pt x="10463" y="2412"/>
                  </a:moveTo>
                  <a:cubicBezTo>
                    <a:pt x="10289" y="2464"/>
                    <a:pt x="10059" y="2530"/>
                    <a:pt x="9805" y="2601"/>
                  </a:cubicBezTo>
                  <a:cubicBezTo>
                    <a:pt x="9298" y="2742"/>
                    <a:pt x="8699" y="2904"/>
                    <a:pt x="8267" y="3020"/>
                  </a:cubicBezTo>
                  <a:cubicBezTo>
                    <a:pt x="7978" y="3098"/>
                    <a:pt x="7767" y="3156"/>
                    <a:pt x="7702" y="3176"/>
                  </a:cubicBezTo>
                  <a:cubicBezTo>
                    <a:pt x="7694" y="3178"/>
                    <a:pt x="7688" y="3180"/>
                    <a:pt x="7680" y="3184"/>
                  </a:cubicBezTo>
                  <a:cubicBezTo>
                    <a:pt x="7675" y="3186"/>
                    <a:pt x="7642" y="3195"/>
                    <a:pt x="7603" y="3206"/>
                  </a:cubicBezTo>
                  <a:cubicBezTo>
                    <a:pt x="7566" y="3216"/>
                    <a:pt x="7520" y="3230"/>
                    <a:pt x="7470" y="3248"/>
                  </a:cubicBezTo>
                  <a:cubicBezTo>
                    <a:pt x="7462" y="3232"/>
                    <a:pt x="7454" y="3214"/>
                    <a:pt x="7444" y="3195"/>
                  </a:cubicBezTo>
                  <a:cubicBezTo>
                    <a:pt x="7440" y="3188"/>
                    <a:pt x="7435" y="3180"/>
                    <a:pt x="7431" y="3172"/>
                  </a:cubicBezTo>
                  <a:cubicBezTo>
                    <a:pt x="7543" y="3137"/>
                    <a:pt x="7752" y="3073"/>
                    <a:pt x="7964" y="3008"/>
                  </a:cubicBezTo>
                  <a:cubicBezTo>
                    <a:pt x="8245" y="2921"/>
                    <a:pt x="8530" y="2833"/>
                    <a:pt x="8588" y="2815"/>
                  </a:cubicBezTo>
                  <a:cubicBezTo>
                    <a:pt x="8589" y="2815"/>
                    <a:pt x="8589" y="2815"/>
                    <a:pt x="8589" y="2815"/>
                  </a:cubicBezTo>
                  <a:cubicBezTo>
                    <a:pt x="8598" y="2813"/>
                    <a:pt x="8598" y="2813"/>
                    <a:pt x="8598" y="2813"/>
                  </a:cubicBezTo>
                  <a:cubicBezTo>
                    <a:pt x="8598" y="2813"/>
                    <a:pt x="8598" y="2813"/>
                    <a:pt x="8599" y="2812"/>
                  </a:cubicBezTo>
                  <a:cubicBezTo>
                    <a:pt x="8601" y="2812"/>
                    <a:pt x="8604" y="2811"/>
                    <a:pt x="8608" y="2810"/>
                  </a:cubicBezTo>
                  <a:cubicBezTo>
                    <a:pt x="8616" y="2808"/>
                    <a:pt x="8628" y="2805"/>
                    <a:pt x="8644" y="2801"/>
                  </a:cubicBezTo>
                  <a:cubicBezTo>
                    <a:pt x="8675" y="2793"/>
                    <a:pt x="8720" y="2782"/>
                    <a:pt x="8775" y="2768"/>
                  </a:cubicBezTo>
                  <a:cubicBezTo>
                    <a:pt x="8886" y="2740"/>
                    <a:pt x="9039" y="2702"/>
                    <a:pt x="9209" y="2659"/>
                  </a:cubicBezTo>
                  <a:cubicBezTo>
                    <a:pt x="9549" y="2573"/>
                    <a:pt x="9956" y="2470"/>
                    <a:pt x="10228" y="2401"/>
                  </a:cubicBezTo>
                  <a:cubicBezTo>
                    <a:pt x="10338" y="2373"/>
                    <a:pt x="10424" y="2352"/>
                    <a:pt x="10476" y="2338"/>
                  </a:cubicBezTo>
                  <a:cubicBezTo>
                    <a:pt x="10481" y="2355"/>
                    <a:pt x="10487" y="2377"/>
                    <a:pt x="10494" y="2403"/>
                  </a:cubicBezTo>
                  <a:cubicBezTo>
                    <a:pt x="10483" y="2406"/>
                    <a:pt x="10474" y="2409"/>
                    <a:pt x="10463" y="2412"/>
                  </a:cubicBezTo>
                  <a:close/>
                  <a:moveTo>
                    <a:pt x="8504" y="2717"/>
                  </a:moveTo>
                  <a:cubicBezTo>
                    <a:pt x="8505" y="2713"/>
                    <a:pt x="8507" y="2708"/>
                    <a:pt x="8510" y="2703"/>
                  </a:cubicBezTo>
                  <a:cubicBezTo>
                    <a:pt x="8510" y="2702"/>
                    <a:pt x="8511" y="2701"/>
                    <a:pt x="8511" y="2701"/>
                  </a:cubicBezTo>
                  <a:cubicBezTo>
                    <a:pt x="8508" y="2706"/>
                    <a:pt x="8506" y="2712"/>
                    <a:pt x="8504" y="2717"/>
                  </a:cubicBezTo>
                  <a:close/>
                  <a:moveTo>
                    <a:pt x="8501" y="2683"/>
                  </a:moveTo>
                  <a:cubicBezTo>
                    <a:pt x="8466" y="2693"/>
                    <a:pt x="8417" y="2709"/>
                    <a:pt x="8359" y="2727"/>
                  </a:cubicBezTo>
                  <a:cubicBezTo>
                    <a:pt x="8241" y="2763"/>
                    <a:pt x="8085" y="2811"/>
                    <a:pt x="7928" y="2859"/>
                  </a:cubicBezTo>
                  <a:cubicBezTo>
                    <a:pt x="7684" y="2934"/>
                    <a:pt x="7439" y="3010"/>
                    <a:pt x="7345" y="3039"/>
                  </a:cubicBezTo>
                  <a:cubicBezTo>
                    <a:pt x="7323" y="3012"/>
                    <a:pt x="7300" y="2987"/>
                    <a:pt x="7274" y="2967"/>
                  </a:cubicBezTo>
                  <a:cubicBezTo>
                    <a:pt x="7144" y="2866"/>
                    <a:pt x="6995" y="2845"/>
                    <a:pt x="6891" y="2821"/>
                  </a:cubicBezTo>
                  <a:cubicBezTo>
                    <a:pt x="6842" y="2809"/>
                    <a:pt x="6688" y="2771"/>
                    <a:pt x="6522" y="2728"/>
                  </a:cubicBezTo>
                  <a:cubicBezTo>
                    <a:pt x="6592" y="2482"/>
                    <a:pt x="6592" y="2482"/>
                    <a:pt x="6592" y="2482"/>
                  </a:cubicBezTo>
                  <a:cubicBezTo>
                    <a:pt x="6610" y="2458"/>
                    <a:pt x="6631" y="2443"/>
                    <a:pt x="6661" y="2432"/>
                  </a:cubicBezTo>
                  <a:cubicBezTo>
                    <a:pt x="6692" y="2421"/>
                    <a:pt x="6732" y="2417"/>
                    <a:pt x="6782" y="2417"/>
                  </a:cubicBezTo>
                  <a:cubicBezTo>
                    <a:pt x="6828" y="2417"/>
                    <a:pt x="6954" y="2433"/>
                    <a:pt x="7065" y="2449"/>
                  </a:cubicBezTo>
                  <a:cubicBezTo>
                    <a:pt x="7176" y="2465"/>
                    <a:pt x="7274" y="2482"/>
                    <a:pt x="7274" y="2482"/>
                  </a:cubicBezTo>
                  <a:cubicBezTo>
                    <a:pt x="7277" y="2482"/>
                    <a:pt x="7277" y="2482"/>
                    <a:pt x="7277" y="2482"/>
                  </a:cubicBezTo>
                  <a:cubicBezTo>
                    <a:pt x="8517" y="2458"/>
                    <a:pt x="8517" y="2458"/>
                    <a:pt x="8517" y="2458"/>
                  </a:cubicBezTo>
                  <a:cubicBezTo>
                    <a:pt x="8520" y="2536"/>
                    <a:pt x="8525" y="2626"/>
                    <a:pt x="8527" y="2675"/>
                  </a:cubicBezTo>
                  <a:cubicBezTo>
                    <a:pt x="8520" y="2677"/>
                    <a:pt x="8511" y="2680"/>
                    <a:pt x="8501" y="2683"/>
                  </a:cubicBezTo>
                  <a:close/>
                  <a:moveTo>
                    <a:pt x="5370" y="3915"/>
                  </a:moveTo>
                  <a:cubicBezTo>
                    <a:pt x="5546" y="3990"/>
                    <a:pt x="5657" y="4117"/>
                    <a:pt x="5928" y="4268"/>
                  </a:cubicBezTo>
                  <a:cubicBezTo>
                    <a:pt x="6005" y="4311"/>
                    <a:pt x="6051" y="4384"/>
                    <a:pt x="6079" y="4466"/>
                  </a:cubicBezTo>
                  <a:cubicBezTo>
                    <a:pt x="6106" y="4549"/>
                    <a:pt x="6114" y="4641"/>
                    <a:pt x="6114" y="4714"/>
                  </a:cubicBezTo>
                  <a:cubicBezTo>
                    <a:pt x="6114" y="4754"/>
                    <a:pt x="6112" y="4789"/>
                    <a:pt x="6109" y="4814"/>
                  </a:cubicBezTo>
                  <a:cubicBezTo>
                    <a:pt x="6107" y="4839"/>
                    <a:pt x="6105" y="4853"/>
                    <a:pt x="6105" y="4852"/>
                  </a:cubicBezTo>
                  <a:cubicBezTo>
                    <a:pt x="6062" y="5110"/>
                    <a:pt x="6062" y="5110"/>
                    <a:pt x="6062" y="5110"/>
                  </a:cubicBezTo>
                  <a:cubicBezTo>
                    <a:pt x="5439" y="5213"/>
                    <a:pt x="5439" y="5213"/>
                    <a:pt x="5439" y="5213"/>
                  </a:cubicBezTo>
                  <a:cubicBezTo>
                    <a:pt x="5420" y="4661"/>
                    <a:pt x="5420" y="4661"/>
                    <a:pt x="5420" y="4661"/>
                  </a:cubicBezTo>
                  <a:cubicBezTo>
                    <a:pt x="5416" y="4659"/>
                    <a:pt x="5416" y="4659"/>
                    <a:pt x="5416" y="4659"/>
                  </a:cubicBezTo>
                  <a:cubicBezTo>
                    <a:pt x="5415" y="4659"/>
                    <a:pt x="5050" y="4544"/>
                    <a:pt x="5041" y="4541"/>
                  </a:cubicBezTo>
                  <a:cubicBezTo>
                    <a:pt x="5041" y="4541"/>
                    <a:pt x="5041" y="4541"/>
                    <a:pt x="5041" y="4541"/>
                  </a:cubicBezTo>
                  <a:cubicBezTo>
                    <a:pt x="5040" y="4541"/>
                    <a:pt x="5039" y="4540"/>
                    <a:pt x="5037" y="4538"/>
                  </a:cubicBezTo>
                  <a:cubicBezTo>
                    <a:pt x="5034" y="4536"/>
                    <a:pt x="5030" y="4532"/>
                    <a:pt x="5024" y="4528"/>
                  </a:cubicBezTo>
                  <a:cubicBezTo>
                    <a:pt x="5013" y="4518"/>
                    <a:pt x="4998" y="4505"/>
                    <a:pt x="4980" y="4489"/>
                  </a:cubicBezTo>
                  <a:cubicBezTo>
                    <a:pt x="4944" y="4458"/>
                    <a:pt x="4897" y="4416"/>
                    <a:pt x="4850" y="4375"/>
                  </a:cubicBezTo>
                  <a:cubicBezTo>
                    <a:pt x="4756" y="4292"/>
                    <a:pt x="4663" y="4210"/>
                    <a:pt x="4663" y="4209"/>
                  </a:cubicBezTo>
                  <a:cubicBezTo>
                    <a:pt x="4661" y="4208"/>
                    <a:pt x="4661" y="4208"/>
                    <a:pt x="4661" y="4208"/>
                  </a:cubicBezTo>
                  <a:cubicBezTo>
                    <a:pt x="4152" y="4097"/>
                    <a:pt x="4152" y="4097"/>
                    <a:pt x="4152" y="4097"/>
                  </a:cubicBezTo>
                  <a:cubicBezTo>
                    <a:pt x="4148" y="4009"/>
                    <a:pt x="4143" y="3936"/>
                    <a:pt x="4141" y="3912"/>
                  </a:cubicBezTo>
                  <a:cubicBezTo>
                    <a:pt x="4150" y="3891"/>
                    <a:pt x="4178" y="3824"/>
                    <a:pt x="4209" y="3754"/>
                  </a:cubicBezTo>
                  <a:cubicBezTo>
                    <a:pt x="4239" y="3683"/>
                    <a:pt x="4273" y="3606"/>
                    <a:pt x="4288" y="3573"/>
                  </a:cubicBezTo>
                  <a:cubicBezTo>
                    <a:pt x="4466" y="3635"/>
                    <a:pt x="4624" y="3687"/>
                    <a:pt x="4748" y="3719"/>
                  </a:cubicBezTo>
                  <a:cubicBezTo>
                    <a:pt x="4949" y="3772"/>
                    <a:pt x="5190" y="3837"/>
                    <a:pt x="5370" y="3915"/>
                  </a:cubicBezTo>
                  <a:close/>
                  <a:moveTo>
                    <a:pt x="4211" y="3585"/>
                  </a:moveTo>
                  <a:cubicBezTo>
                    <a:pt x="4195" y="3620"/>
                    <a:pt x="4175" y="3665"/>
                    <a:pt x="4156" y="3711"/>
                  </a:cubicBezTo>
                  <a:cubicBezTo>
                    <a:pt x="4116" y="3803"/>
                    <a:pt x="4078" y="3894"/>
                    <a:pt x="4078" y="3894"/>
                  </a:cubicBezTo>
                  <a:cubicBezTo>
                    <a:pt x="4075" y="3901"/>
                    <a:pt x="4075" y="3901"/>
                    <a:pt x="4075" y="3901"/>
                  </a:cubicBezTo>
                  <a:cubicBezTo>
                    <a:pt x="4075" y="3909"/>
                    <a:pt x="4075" y="3909"/>
                    <a:pt x="4075" y="3909"/>
                  </a:cubicBezTo>
                  <a:cubicBezTo>
                    <a:pt x="4075" y="3910"/>
                    <a:pt x="4081" y="3987"/>
                    <a:pt x="4085" y="4086"/>
                  </a:cubicBezTo>
                  <a:cubicBezTo>
                    <a:pt x="3710" y="4048"/>
                    <a:pt x="3710" y="4048"/>
                    <a:pt x="3710" y="4048"/>
                  </a:cubicBezTo>
                  <a:cubicBezTo>
                    <a:pt x="2642" y="4178"/>
                    <a:pt x="2642" y="4178"/>
                    <a:pt x="2642" y="4178"/>
                  </a:cubicBezTo>
                  <a:cubicBezTo>
                    <a:pt x="2209" y="4669"/>
                    <a:pt x="2209" y="4669"/>
                    <a:pt x="2209" y="4669"/>
                  </a:cubicBezTo>
                  <a:cubicBezTo>
                    <a:pt x="1634" y="4252"/>
                    <a:pt x="1634" y="4252"/>
                    <a:pt x="1634" y="4252"/>
                  </a:cubicBezTo>
                  <a:cubicBezTo>
                    <a:pt x="1643" y="4242"/>
                    <a:pt x="1653" y="4232"/>
                    <a:pt x="1665" y="4218"/>
                  </a:cubicBezTo>
                  <a:cubicBezTo>
                    <a:pt x="1704" y="4177"/>
                    <a:pt x="1758" y="4118"/>
                    <a:pt x="1822" y="4050"/>
                  </a:cubicBezTo>
                  <a:cubicBezTo>
                    <a:pt x="1949" y="3912"/>
                    <a:pt x="2112" y="3735"/>
                    <a:pt x="2261" y="3574"/>
                  </a:cubicBezTo>
                  <a:cubicBezTo>
                    <a:pt x="2417" y="3405"/>
                    <a:pt x="2532" y="3273"/>
                    <a:pt x="2604" y="3213"/>
                  </a:cubicBezTo>
                  <a:cubicBezTo>
                    <a:pt x="2725" y="3112"/>
                    <a:pt x="2845" y="3086"/>
                    <a:pt x="2944" y="3085"/>
                  </a:cubicBezTo>
                  <a:cubicBezTo>
                    <a:pt x="3016" y="3085"/>
                    <a:pt x="3077" y="3099"/>
                    <a:pt x="3118" y="3110"/>
                  </a:cubicBezTo>
                  <a:cubicBezTo>
                    <a:pt x="3162" y="3121"/>
                    <a:pt x="3287" y="3175"/>
                    <a:pt x="3436" y="3240"/>
                  </a:cubicBezTo>
                  <a:cubicBezTo>
                    <a:pt x="3586" y="3306"/>
                    <a:pt x="3764" y="3383"/>
                    <a:pt x="3926" y="3442"/>
                  </a:cubicBezTo>
                  <a:cubicBezTo>
                    <a:pt x="4029" y="3481"/>
                    <a:pt x="4130" y="3517"/>
                    <a:pt x="4226" y="3551"/>
                  </a:cubicBezTo>
                  <a:cubicBezTo>
                    <a:pt x="4222" y="3561"/>
                    <a:pt x="4217" y="3572"/>
                    <a:pt x="4211" y="3585"/>
                  </a:cubicBezTo>
                  <a:close/>
                  <a:moveTo>
                    <a:pt x="1910" y="4534"/>
                  </a:moveTo>
                  <a:cubicBezTo>
                    <a:pt x="1784" y="4667"/>
                    <a:pt x="1784" y="4667"/>
                    <a:pt x="1784" y="4667"/>
                  </a:cubicBezTo>
                  <a:cubicBezTo>
                    <a:pt x="1510" y="4511"/>
                    <a:pt x="1510" y="4511"/>
                    <a:pt x="1510" y="4511"/>
                  </a:cubicBezTo>
                  <a:cubicBezTo>
                    <a:pt x="1524" y="4474"/>
                    <a:pt x="1560" y="4384"/>
                    <a:pt x="1582" y="4330"/>
                  </a:cubicBezTo>
                  <a:cubicBezTo>
                    <a:pt x="1586" y="4320"/>
                    <a:pt x="1590" y="4311"/>
                    <a:pt x="1593" y="4304"/>
                  </a:cubicBezTo>
                  <a:cubicBezTo>
                    <a:pt x="1593" y="4304"/>
                    <a:pt x="1594" y="4304"/>
                    <a:pt x="1594" y="4304"/>
                  </a:cubicBezTo>
                  <a:lnTo>
                    <a:pt x="1910" y="4534"/>
                  </a:lnTo>
                  <a:close/>
                  <a:moveTo>
                    <a:pt x="1793" y="4688"/>
                  </a:moveTo>
                  <a:cubicBezTo>
                    <a:pt x="2338" y="4999"/>
                    <a:pt x="2338" y="4999"/>
                    <a:pt x="2338" y="4999"/>
                  </a:cubicBezTo>
                  <a:cubicBezTo>
                    <a:pt x="2273" y="5115"/>
                    <a:pt x="2273" y="5115"/>
                    <a:pt x="2273" y="5115"/>
                  </a:cubicBezTo>
                  <a:cubicBezTo>
                    <a:pt x="2226" y="5088"/>
                    <a:pt x="2226" y="5088"/>
                    <a:pt x="2226" y="5088"/>
                  </a:cubicBezTo>
                  <a:cubicBezTo>
                    <a:pt x="2281" y="4991"/>
                    <a:pt x="2281" y="4991"/>
                    <a:pt x="2281" y="4991"/>
                  </a:cubicBezTo>
                  <a:cubicBezTo>
                    <a:pt x="2284" y="4985"/>
                    <a:pt x="2284" y="4985"/>
                    <a:pt x="2284" y="4985"/>
                  </a:cubicBezTo>
                  <a:cubicBezTo>
                    <a:pt x="2147" y="4907"/>
                    <a:pt x="2147" y="4907"/>
                    <a:pt x="2147" y="4907"/>
                  </a:cubicBezTo>
                  <a:cubicBezTo>
                    <a:pt x="2089" y="5010"/>
                    <a:pt x="2089" y="5010"/>
                    <a:pt x="2089" y="5010"/>
                  </a:cubicBezTo>
                  <a:cubicBezTo>
                    <a:pt x="1764" y="4825"/>
                    <a:pt x="1764" y="4825"/>
                    <a:pt x="1764" y="4825"/>
                  </a:cubicBezTo>
                  <a:lnTo>
                    <a:pt x="1793" y="4688"/>
                  </a:lnTo>
                  <a:close/>
                  <a:moveTo>
                    <a:pt x="2082" y="5022"/>
                  </a:moveTo>
                  <a:cubicBezTo>
                    <a:pt x="2028" y="5117"/>
                    <a:pt x="2028" y="5117"/>
                    <a:pt x="2028" y="5117"/>
                  </a:cubicBezTo>
                  <a:cubicBezTo>
                    <a:pt x="1676" y="4916"/>
                    <a:pt x="1676" y="4916"/>
                    <a:pt x="1676" y="4916"/>
                  </a:cubicBezTo>
                  <a:cubicBezTo>
                    <a:pt x="1756" y="4836"/>
                    <a:pt x="1756" y="4836"/>
                    <a:pt x="1756" y="4836"/>
                  </a:cubicBezTo>
                  <a:lnTo>
                    <a:pt x="2082" y="5022"/>
                  </a:lnTo>
                  <a:close/>
                  <a:moveTo>
                    <a:pt x="1664" y="4909"/>
                  </a:moveTo>
                  <a:cubicBezTo>
                    <a:pt x="1287" y="4694"/>
                    <a:pt x="1287" y="4694"/>
                    <a:pt x="1287" y="4694"/>
                  </a:cubicBezTo>
                  <a:cubicBezTo>
                    <a:pt x="1339" y="4598"/>
                    <a:pt x="1339" y="4598"/>
                    <a:pt x="1339" y="4598"/>
                  </a:cubicBezTo>
                  <a:cubicBezTo>
                    <a:pt x="1743" y="4829"/>
                    <a:pt x="1743" y="4829"/>
                    <a:pt x="1743" y="4829"/>
                  </a:cubicBezTo>
                  <a:lnTo>
                    <a:pt x="1664" y="4909"/>
                  </a:lnTo>
                  <a:close/>
                  <a:moveTo>
                    <a:pt x="1334" y="4580"/>
                  </a:moveTo>
                  <a:cubicBezTo>
                    <a:pt x="1220" y="4514"/>
                    <a:pt x="1220" y="4514"/>
                    <a:pt x="1220" y="4514"/>
                  </a:cubicBezTo>
                  <a:cubicBezTo>
                    <a:pt x="1265" y="4431"/>
                    <a:pt x="1265" y="4431"/>
                    <a:pt x="1265" y="4431"/>
                  </a:cubicBezTo>
                  <a:cubicBezTo>
                    <a:pt x="1381" y="4494"/>
                    <a:pt x="1381" y="4494"/>
                    <a:pt x="1381" y="4494"/>
                  </a:cubicBezTo>
                  <a:lnTo>
                    <a:pt x="1334" y="4580"/>
                  </a:lnTo>
                  <a:close/>
                  <a:moveTo>
                    <a:pt x="1327" y="4592"/>
                  </a:moveTo>
                  <a:cubicBezTo>
                    <a:pt x="1275" y="4687"/>
                    <a:pt x="1275" y="4687"/>
                    <a:pt x="1275" y="4687"/>
                  </a:cubicBezTo>
                  <a:cubicBezTo>
                    <a:pt x="1161" y="4622"/>
                    <a:pt x="1161" y="4622"/>
                    <a:pt x="1161" y="4622"/>
                  </a:cubicBezTo>
                  <a:cubicBezTo>
                    <a:pt x="1213" y="4527"/>
                    <a:pt x="1213" y="4527"/>
                    <a:pt x="1213" y="4527"/>
                  </a:cubicBezTo>
                  <a:lnTo>
                    <a:pt x="1327" y="4592"/>
                  </a:lnTo>
                  <a:close/>
                  <a:moveTo>
                    <a:pt x="1269" y="4699"/>
                  </a:moveTo>
                  <a:cubicBezTo>
                    <a:pt x="1221" y="4787"/>
                    <a:pt x="1221" y="4787"/>
                    <a:pt x="1221" y="4787"/>
                  </a:cubicBezTo>
                  <a:cubicBezTo>
                    <a:pt x="1107" y="4722"/>
                    <a:pt x="1107" y="4722"/>
                    <a:pt x="1107" y="4722"/>
                  </a:cubicBezTo>
                  <a:cubicBezTo>
                    <a:pt x="1155" y="4634"/>
                    <a:pt x="1155" y="4634"/>
                    <a:pt x="1155" y="4634"/>
                  </a:cubicBezTo>
                  <a:lnTo>
                    <a:pt x="1269" y="4699"/>
                  </a:lnTo>
                  <a:close/>
                  <a:moveTo>
                    <a:pt x="1214" y="4799"/>
                  </a:moveTo>
                  <a:cubicBezTo>
                    <a:pt x="1164" y="4892"/>
                    <a:pt x="1164" y="4892"/>
                    <a:pt x="1164" y="4892"/>
                  </a:cubicBezTo>
                  <a:cubicBezTo>
                    <a:pt x="1050" y="4827"/>
                    <a:pt x="1050" y="4827"/>
                    <a:pt x="1050" y="4827"/>
                  </a:cubicBezTo>
                  <a:cubicBezTo>
                    <a:pt x="1100" y="4734"/>
                    <a:pt x="1100" y="4734"/>
                    <a:pt x="1100" y="4734"/>
                  </a:cubicBezTo>
                  <a:lnTo>
                    <a:pt x="1214" y="4799"/>
                  </a:lnTo>
                  <a:close/>
                  <a:moveTo>
                    <a:pt x="1157" y="4904"/>
                  </a:moveTo>
                  <a:cubicBezTo>
                    <a:pt x="1099" y="5012"/>
                    <a:pt x="1099" y="5012"/>
                    <a:pt x="1099" y="5012"/>
                  </a:cubicBezTo>
                  <a:cubicBezTo>
                    <a:pt x="985" y="4947"/>
                    <a:pt x="985" y="4947"/>
                    <a:pt x="985" y="4947"/>
                  </a:cubicBezTo>
                  <a:cubicBezTo>
                    <a:pt x="1043" y="4839"/>
                    <a:pt x="1043" y="4839"/>
                    <a:pt x="1043" y="4839"/>
                  </a:cubicBezTo>
                  <a:lnTo>
                    <a:pt x="1157" y="4904"/>
                  </a:lnTo>
                  <a:close/>
                  <a:moveTo>
                    <a:pt x="1092" y="5024"/>
                  </a:moveTo>
                  <a:cubicBezTo>
                    <a:pt x="1035" y="5128"/>
                    <a:pt x="1035" y="5128"/>
                    <a:pt x="1035" y="5128"/>
                  </a:cubicBezTo>
                  <a:cubicBezTo>
                    <a:pt x="921" y="5063"/>
                    <a:pt x="921" y="5063"/>
                    <a:pt x="921" y="5063"/>
                  </a:cubicBezTo>
                  <a:cubicBezTo>
                    <a:pt x="978" y="4959"/>
                    <a:pt x="978" y="4959"/>
                    <a:pt x="978" y="4959"/>
                  </a:cubicBezTo>
                  <a:lnTo>
                    <a:pt x="1092" y="5024"/>
                  </a:lnTo>
                  <a:close/>
                  <a:moveTo>
                    <a:pt x="1029" y="5140"/>
                  </a:moveTo>
                  <a:cubicBezTo>
                    <a:pt x="976" y="5236"/>
                    <a:pt x="976" y="5236"/>
                    <a:pt x="976" y="5236"/>
                  </a:cubicBezTo>
                  <a:cubicBezTo>
                    <a:pt x="862" y="5171"/>
                    <a:pt x="862" y="5171"/>
                    <a:pt x="862" y="5171"/>
                  </a:cubicBezTo>
                  <a:cubicBezTo>
                    <a:pt x="915" y="5075"/>
                    <a:pt x="915" y="5075"/>
                    <a:pt x="915" y="5075"/>
                  </a:cubicBezTo>
                  <a:lnTo>
                    <a:pt x="1029" y="5140"/>
                  </a:lnTo>
                  <a:close/>
                  <a:moveTo>
                    <a:pt x="970" y="5249"/>
                  </a:moveTo>
                  <a:cubicBezTo>
                    <a:pt x="906" y="5367"/>
                    <a:pt x="906" y="5367"/>
                    <a:pt x="906" y="5367"/>
                  </a:cubicBezTo>
                  <a:cubicBezTo>
                    <a:pt x="791" y="5302"/>
                    <a:pt x="791" y="5302"/>
                    <a:pt x="791" y="5302"/>
                  </a:cubicBezTo>
                  <a:cubicBezTo>
                    <a:pt x="856" y="5184"/>
                    <a:pt x="856" y="5184"/>
                    <a:pt x="856" y="5184"/>
                  </a:cubicBezTo>
                  <a:lnTo>
                    <a:pt x="970" y="5249"/>
                  </a:lnTo>
                  <a:close/>
                  <a:moveTo>
                    <a:pt x="899" y="5379"/>
                  </a:moveTo>
                  <a:cubicBezTo>
                    <a:pt x="847" y="5475"/>
                    <a:pt x="847" y="5475"/>
                    <a:pt x="847" y="5475"/>
                  </a:cubicBezTo>
                  <a:cubicBezTo>
                    <a:pt x="733" y="5409"/>
                    <a:pt x="733" y="5409"/>
                    <a:pt x="733" y="5409"/>
                  </a:cubicBezTo>
                  <a:cubicBezTo>
                    <a:pt x="785" y="5314"/>
                    <a:pt x="785" y="5314"/>
                    <a:pt x="785" y="5314"/>
                  </a:cubicBezTo>
                  <a:lnTo>
                    <a:pt x="899" y="5379"/>
                  </a:lnTo>
                  <a:close/>
                  <a:moveTo>
                    <a:pt x="840" y="5487"/>
                  </a:moveTo>
                  <a:cubicBezTo>
                    <a:pt x="782" y="5593"/>
                    <a:pt x="782" y="5593"/>
                    <a:pt x="782" y="5593"/>
                  </a:cubicBezTo>
                  <a:cubicBezTo>
                    <a:pt x="668" y="5528"/>
                    <a:pt x="668" y="5528"/>
                    <a:pt x="668" y="5528"/>
                  </a:cubicBezTo>
                  <a:cubicBezTo>
                    <a:pt x="726" y="5422"/>
                    <a:pt x="726" y="5422"/>
                    <a:pt x="726" y="5422"/>
                  </a:cubicBezTo>
                  <a:lnTo>
                    <a:pt x="840" y="5487"/>
                  </a:lnTo>
                  <a:close/>
                  <a:moveTo>
                    <a:pt x="776" y="5605"/>
                  </a:moveTo>
                  <a:cubicBezTo>
                    <a:pt x="725" y="5698"/>
                    <a:pt x="725" y="5698"/>
                    <a:pt x="725" y="5698"/>
                  </a:cubicBezTo>
                  <a:cubicBezTo>
                    <a:pt x="611" y="5633"/>
                    <a:pt x="611" y="5633"/>
                    <a:pt x="611" y="5633"/>
                  </a:cubicBezTo>
                  <a:cubicBezTo>
                    <a:pt x="662" y="5540"/>
                    <a:pt x="662" y="5540"/>
                    <a:pt x="662" y="5540"/>
                  </a:cubicBezTo>
                  <a:lnTo>
                    <a:pt x="776" y="5605"/>
                  </a:lnTo>
                  <a:close/>
                  <a:moveTo>
                    <a:pt x="718" y="5711"/>
                  </a:moveTo>
                  <a:cubicBezTo>
                    <a:pt x="660" y="5818"/>
                    <a:pt x="660" y="5818"/>
                    <a:pt x="660" y="5818"/>
                  </a:cubicBezTo>
                  <a:cubicBezTo>
                    <a:pt x="546" y="5753"/>
                    <a:pt x="546" y="5753"/>
                    <a:pt x="546" y="5753"/>
                  </a:cubicBezTo>
                  <a:cubicBezTo>
                    <a:pt x="604" y="5646"/>
                    <a:pt x="604" y="5646"/>
                    <a:pt x="604" y="5646"/>
                  </a:cubicBezTo>
                  <a:lnTo>
                    <a:pt x="718" y="5711"/>
                  </a:lnTo>
                  <a:close/>
                  <a:moveTo>
                    <a:pt x="653" y="5830"/>
                  </a:moveTo>
                  <a:cubicBezTo>
                    <a:pt x="597" y="5934"/>
                    <a:pt x="597" y="5934"/>
                    <a:pt x="597" y="5934"/>
                  </a:cubicBezTo>
                  <a:cubicBezTo>
                    <a:pt x="483" y="5869"/>
                    <a:pt x="483" y="5869"/>
                    <a:pt x="483" y="5869"/>
                  </a:cubicBezTo>
                  <a:cubicBezTo>
                    <a:pt x="539" y="5765"/>
                    <a:pt x="539" y="5765"/>
                    <a:pt x="539" y="5765"/>
                  </a:cubicBezTo>
                  <a:lnTo>
                    <a:pt x="653" y="5830"/>
                  </a:lnTo>
                  <a:close/>
                  <a:moveTo>
                    <a:pt x="601" y="5953"/>
                  </a:moveTo>
                  <a:cubicBezTo>
                    <a:pt x="937" y="6145"/>
                    <a:pt x="937" y="6145"/>
                    <a:pt x="937" y="6145"/>
                  </a:cubicBezTo>
                  <a:cubicBezTo>
                    <a:pt x="895" y="6247"/>
                    <a:pt x="895" y="6247"/>
                    <a:pt x="895" y="6247"/>
                  </a:cubicBezTo>
                  <a:cubicBezTo>
                    <a:pt x="549" y="6049"/>
                    <a:pt x="549" y="6049"/>
                    <a:pt x="549" y="6049"/>
                  </a:cubicBezTo>
                  <a:lnTo>
                    <a:pt x="601" y="5953"/>
                  </a:lnTo>
                  <a:close/>
                  <a:moveTo>
                    <a:pt x="902" y="6266"/>
                  </a:moveTo>
                  <a:cubicBezTo>
                    <a:pt x="1260" y="6471"/>
                    <a:pt x="1260" y="6471"/>
                    <a:pt x="1260" y="6471"/>
                  </a:cubicBezTo>
                  <a:cubicBezTo>
                    <a:pt x="1221" y="6539"/>
                    <a:pt x="1221" y="6539"/>
                    <a:pt x="1221" y="6539"/>
                  </a:cubicBezTo>
                  <a:cubicBezTo>
                    <a:pt x="1358" y="6617"/>
                    <a:pt x="1358" y="6617"/>
                    <a:pt x="1358" y="6617"/>
                  </a:cubicBezTo>
                  <a:cubicBezTo>
                    <a:pt x="1397" y="6549"/>
                    <a:pt x="1397" y="6549"/>
                    <a:pt x="1397" y="6549"/>
                  </a:cubicBezTo>
                  <a:cubicBezTo>
                    <a:pt x="1452" y="6581"/>
                    <a:pt x="1452" y="6581"/>
                    <a:pt x="1452" y="6581"/>
                  </a:cubicBezTo>
                  <a:cubicBezTo>
                    <a:pt x="1409" y="6658"/>
                    <a:pt x="1409" y="6658"/>
                    <a:pt x="1409" y="6658"/>
                  </a:cubicBezTo>
                  <a:cubicBezTo>
                    <a:pt x="1409" y="6659"/>
                    <a:pt x="1409" y="6659"/>
                    <a:pt x="1409" y="6659"/>
                  </a:cubicBezTo>
                  <a:cubicBezTo>
                    <a:pt x="1409" y="6659"/>
                    <a:pt x="1406" y="6665"/>
                    <a:pt x="1402" y="6675"/>
                  </a:cubicBezTo>
                  <a:cubicBezTo>
                    <a:pt x="860" y="6366"/>
                    <a:pt x="860" y="6366"/>
                    <a:pt x="860" y="6366"/>
                  </a:cubicBezTo>
                  <a:lnTo>
                    <a:pt x="902" y="6266"/>
                  </a:lnTo>
                  <a:close/>
                  <a:moveTo>
                    <a:pt x="1396" y="6688"/>
                  </a:moveTo>
                  <a:cubicBezTo>
                    <a:pt x="1389" y="6703"/>
                    <a:pt x="1379" y="6723"/>
                    <a:pt x="1368" y="6746"/>
                  </a:cubicBezTo>
                  <a:cubicBezTo>
                    <a:pt x="1344" y="6796"/>
                    <a:pt x="1311" y="6857"/>
                    <a:pt x="1280" y="6904"/>
                  </a:cubicBezTo>
                  <a:cubicBezTo>
                    <a:pt x="1260" y="6934"/>
                    <a:pt x="1239" y="6958"/>
                    <a:pt x="1228" y="6965"/>
                  </a:cubicBezTo>
                  <a:cubicBezTo>
                    <a:pt x="1182" y="6994"/>
                    <a:pt x="1136" y="7006"/>
                    <a:pt x="1112" y="7010"/>
                  </a:cubicBezTo>
                  <a:cubicBezTo>
                    <a:pt x="1067" y="6933"/>
                    <a:pt x="958" y="6763"/>
                    <a:pt x="790" y="6609"/>
                  </a:cubicBezTo>
                  <a:cubicBezTo>
                    <a:pt x="766" y="6586"/>
                    <a:pt x="740" y="6564"/>
                    <a:pt x="714" y="6542"/>
                  </a:cubicBezTo>
                  <a:cubicBezTo>
                    <a:pt x="791" y="6455"/>
                    <a:pt x="850" y="6388"/>
                    <a:pt x="850" y="6388"/>
                  </a:cubicBezTo>
                  <a:cubicBezTo>
                    <a:pt x="851" y="6388"/>
                    <a:pt x="851" y="6388"/>
                    <a:pt x="851" y="6388"/>
                  </a:cubicBezTo>
                  <a:cubicBezTo>
                    <a:pt x="855" y="6379"/>
                    <a:pt x="855" y="6379"/>
                    <a:pt x="855" y="6379"/>
                  </a:cubicBezTo>
                  <a:lnTo>
                    <a:pt x="1396" y="6688"/>
                  </a:lnTo>
                  <a:close/>
                  <a:moveTo>
                    <a:pt x="1080" y="7230"/>
                  </a:moveTo>
                  <a:cubicBezTo>
                    <a:pt x="1088" y="7228"/>
                    <a:pt x="1099" y="7226"/>
                    <a:pt x="1113" y="7223"/>
                  </a:cubicBezTo>
                  <a:cubicBezTo>
                    <a:pt x="1141" y="7216"/>
                    <a:pt x="1177" y="7208"/>
                    <a:pt x="1214" y="7199"/>
                  </a:cubicBezTo>
                  <a:cubicBezTo>
                    <a:pt x="1283" y="7184"/>
                    <a:pt x="1352" y="7168"/>
                    <a:pt x="1360" y="7166"/>
                  </a:cubicBezTo>
                  <a:cubicBezTo>
                    <a:pt x="1362" y="7166"/>
                    <a:pt x="1362" y="7166"/>
                    <a:pt x="1362" y="7166"/>
                  </a:cubicBezTo>
                  <a:cubicBezTo>
                    <a:pt x="1382" y="7197"/>
                    <a:pt x="1382" y="7197"/>
                    <a:pt x="1382" y="7197"/>
                  </a:cubicBezTo>
                  <a:cubicBezTo>
                    <a:pt x="1348" y="7358"/>
                    <a:pt x="1348" y="7358"/>
                    <a:pt x="1348" y="7358"/>
                  </a:cubicBezTo>
                  <a:cubicBezTo>
                    <a:pt x="1243" y="7485"/>
                    <a:pt x="1243" y="7485"/>
                    <a:pt x="1243" y="7485"/>
                  </a:cubicBezTo>
                  <a:cubicBezTo>
                    <a:pt x="1048" y="7310"/>
                    <a:pt x="1048" y="7310"/>
                    <a:pt x="1048" y="7310"/>
                  </a:cubicBezTo>
                  <a:cubicBezTo>
                    <a:pt x="1065" y="7266"/>
                    <a:pt x="1065" y="7266"/>
                    <a:pt x="1065" y="7266"/>
                  </a:cubicBezTo>
                  <a:cubicBezTo>
                    <a:pt x="1066" y="7267"/>
                    <a:pt x="1066" y="7267"/>
                    <a:pt x="1066" y="7267"/>
                  </a:cubicBezTo>
                  <a:cubicBezTo>
                    <a:pt x="1080" y="7230"/>
                    <a:pt x="1080" y="7230"/>
                    <a:pt x="1080" y="7230"/>
                  </a:cubicBezTo>
                  <a:cubicBezTo>
                    <a:pt x="1080" y="7230"/>
                    <a:pt x="1080" y="7230"/>
                    <a:pt x="1080" y="7230"/>
                  </a:cubicBezTo>
                  <a:close/>
                  <a:moveTo>
                    <a:pt x="1245" y="7508"/>
                  </a:moveTo>
                  <a:cubicBezTo>
                    <a:pt x="1360" y="7370"/>
                    <a:pt x="1360" y="7370"/>
                    <a:pt x="1360" y="7370"/>
                  </a:cubicBezTo>
                  <a:cubicBezTo>
                    <a:pt x="1360" y="7370"/>
                    <a:pt x="1360" y="7370"/>
                    <a:pt x="1360" y="7370"/>
                  </a:cubicBezTo>
                  <a:cubicBezTo>
                    <a:pt x="1360" y="7370"/>
                    <a:pt x="1399" y="7396"/>
                    <a:pt x="1442" y="7423"/>
                  </a:cubicBezTo>
                  <a:cubicBezTo>
                    <a:pt x="1479" y="7446"/>
                    <a:pt x="1517" y="7470"/>
                    <a:pt x="1538" y="7481"/>
                  </a:cubicBezTo>
                  <a:cubicBezTo>
                    <a:pt x="1289" y="7837"/>
                    <a:pt x="1289" y="7837"/>
                    <a:pt x="1289" y="7837"/>
                  </a:cubicBezTo>
                  <a:cubicBezTo>
                    <a:pt x="1182" y="7923"/>
                    <a:pt x="1182" y="7923"/>
                    <a:pt x="1182" y="7923"/>
                  </a:cubicBezTo>
                  <a:cubicBezTo>
                    <a:pt x="1091" y="7661"/>
                    <a:pt x="1091" y="7661"/>
                    <a:pt x="1091" y="7661"/>
                  </a:cubicBezTo>
                  <a:cubicBezTo>
                    <a:pt x="946" y="7570"/>
                    <a:pt x="946" y="7570"/>
                    <a:pt x="946" y="7570"/>
                  </a:cubicBezTo>
                  <a:cubicBezTo>
                    <a:pt x="1041" y="7326"/>
                    <a:pt x="1041" y="7326"/>
                    <a:pt x="1041" y="7326"/>
                  </a:cubicBezTo>
                  <a:lnTo>
                    <a:pt x="1245" y="7508"/>
                  </a:lnTo>
                  <a:close/>
                  <a:moveTo>
                    <a:pt x="1077" y="7672"/>
                  </a:moveTo>
                  <a:cubicBezTo>
                    <a:pt x="1169" y="7934"/>
                    <a:pt x="1169" y="7934"/>
                    <a:pt x="1169" y="7934"/>
                  </a:cubicBezTo>
                  <a:cubicBezTo>
                    <a:pt x="940" y="8120"/>
                    <a:pt x="940" y="8120"/>
                    <a:pt x="940" y="8120"/>
                  </a:cubicBezTo>
                  <a:cubicBezTo>
                    <a:pt x="917" y="8019"/>
                    <a:pt x="917" y="8019"/>
                    <a:pt x="917" y="8019"/>
                  </a:cubicBezTo>
                  <a:cubicBezTo>
                    <a:pt x="854" y="7964"/>
                    <a:pt x="854" y="7964"/>
                    <a:pt x="854" y="7964"/>
                  </a:cubicBezTo>
                  <a:cubicBezTo>
                    <a:pt x="872" y="7815"/>
                    <a:pt x="872" y="7815"/>
                    <a:pt x="872" y="7815"/>
                  </a:cubicBezTo>
                  <a:cubicBezTo>
                    <a:pt x="915" y="7792"/>
                    <a:pt x="915" y="7792"/>
                    <a:pt x="915" y="7792"/>
                  </a:cubicBezTo>
                  <a:cubicBezTo>
                    <a:pt x="881" y="7630"/>
                    <a:pt x="881" y="7630"/>
                    <a:pt x="881" y="7630"/>
                  </a:cubicBezTo>
                  <a:cubicBezTo>
                    <a:pt x="935" y="7583"/>
                    <a:pt x="935" y="7583"/>
                    <a:pt x="935" y="7583"/>
                  </a:cubicBezTo>
                  <a:lnTo>
                    <a:pt x="1077" y="7672"/>
                  </a:lnTo>
                  <a:close/>
                  <a:moveTo>
                    <a:pt x="867" y="7643"/>
                  </a:moveTo>
                  <a:cubicBezTo>
                    <a:pt x="896" y="7783"/>
                    <a:pt x="896" y="7783"/>
                    <a:pt x="896" y="7783"/>
                  </a:cubicBezTo>
                  <a:cubicBezTo>
                    <a:pt x="857" y="7805"/>
                    <a:pt x="857" y="7805"/>
                    <a:pt x="857" y="7805"/>
                  </a:cubicBezTo>
                  <a:cubicBezTo>
                    <a:pt x="836" y="7971"/>
                    <a:pt x="836" y="7971"/>
                    <a:pt x="836" y="7971"/>
                  </a:cubicBezTo>
                  <a:cubicBezTo>
                    <a:pt x="902" y="8028"/>
                    <a:pt x="902" y="8028"/>
                    <a:pt x="902" y="8028"/>
                  </a:cubicBezTo>
                  <a:cubicBezTo>
                    <a:pt x="925" y="8131"/>
                    <a:pt x="925" y="8131"/>
                    <a:pt x="925" y="8131"/>
                  </a:cubicBezTo>
                  <a:cubicBezTo>
                    <a:pt x="925" y="8132"/>
                    <a:pt x="925" y="8132"/>
                    <a:pt x="925" y="8132"/>
                  </a:cubicBezTo>
                  <a:cubicBezTo>
                    <a:pt x="925" y="8132"/>
                    <a:pt x="925" y="8132"/>
                    <a:pt x="925" y="8132"/>
                  </a:cubicBezTo>
                  <a:cubicBezTo>
                    <a:pt x="711" y="8310"/>
                    <a:pt x="711" y="8310"/>
                    <a:pt x="711" y="8310"/>
                  </a:cubicBezTo>
                  <a:cubicBezTo>
                    <a:pt x="489" y="8047"/>
                    <a:pt x="489" y="8047"/>
                    <a:pt x="489" y="8047"/>
                  </a:cubicBezTo>
                  <a:lnTo>
                    <a:pt x="867" y="7643"/>
                  </a:lnTo>
                  <a:close/>
                  <a:moveTo>
                    <a:pt x="952" y="8194"/>
                  </a:moveTo>
                  <a:cubicBezTo>
                    <a:pt x="1081" y="8091"/>
                    <a:pt x="1081" y="8091"/>
                    <a:pt x="1081" y="8091"/>
                  </a:cubicBezTo>
                  <a:cubicBezTo>
                    <a:pt x="1079" y="8145"/>
                    <a:pt x="1074" y="8298"/>
                    <a:pt x="1074" y="8326"/>
                  </a:cubicBezTo>
                  <a:cubicBezTo>
                    <a:pt x="1074" y="8328"/>
                    <a:pt x="1074" y="8329"/>
                    <a:pt x="1074" y="8329"/>
                  </a:cubicBezTo>
                  <a:cubicBezTo>
                    <a:pt x="1074" y="8330"/>
                    <a:pt x="1074" y="8330"/>
                    <a:pt x="1074" y="8330"/>
                  </a:cubicBezTo>
                  <a:cubicBezTo>
                    <a:pt x="1072" y="8332"/>
                    <a:pt x="1071" y="8335"/>
                    <a:pt x="1069" y="8338"/>
                  </a:cubicBezTo>
                  <a:cubicBezTo>
                    <a:pt x="1064" y="8345"/>
                    <a:pt x="1058" y="8355"/>
                    <a:pt x="1051" y="8366"/>
                  </a:cubicBezTo>
                  <a:cubicBezTo>
                    <a:pt x="1036" y="8389"/>
                    <a:pt x="1016" y="8420"/>
                    <a:pt x="997" y="8450"/>
                  </a:cubicBezTo>
                  <a:cubicBezTo>
                    <a:pt x="961" y="8505"/>
                    <a:pt x="926" y="8559"/>
                    <a:pt x="919" y="8569"/>
                  </a:cubicBezTo>
                  <a:cubicBezTo>
                    <a:pt x="911" y="8574"/>
                    <a:pt x="875" y="8594"/>
                    <a:pt x="828" y="8620"/>
                  </a:cubicBezTo>
                  <a:cubicBezTo>
                    <a:pt x="680" y="8421"/>
                    <a:pt x="680" y="8421"/>
                    <a:pt x="680" y="8421"/>
                  </a:cubicBezTo>
                  <a:lnTo>
                    <a:pt x="952" y="8194"/>
                  </a:lnTo>
                  <a:close/>
                  <a:moveTo>
                    <a:pt x="816" y="8627"/>
                  </a:moveTo>
                  <a:cubicBezTo>
                    <a:pt x="717" y="8682"/>
                    <a:pt x="579" y="8758"/>
                    <a:pt x="546" y="8778"/>
                  </a:cubicBezTo>
                  <a:cubicBezTo>
                    <a:pt x="541" y="8773"/>
                    <a:pt x="534" y="8767"/>
                    <a:pt x="527" y="8760"/>
                  </a:cubicBezTo>
                  <a:cubicBezTo>
                    <a:pt x="511" y="8744"/>
                    <a:pt x="489" y="8724"/>
                    <a:pt x="469" y="8703"/>
                  </a:cubicBezTo>
                  <a:cubicBezTo>
                    <a:pt x="447" y="8682"/>
                    <a:pt x="426" y="8661"/>
                    <a:pt x="410" y="8645"/>
                  </a:cubicBezTo>
                  <a:cubicBezTo>
                    <a:pt x="669" y="8430"/>
                    <a:pt x="669" y="8430"/>
                    <a:pt x="669" y="8430"/>
                  </a:cubicBezTo>
                  <a:lnTo>
                    <a:pt x="816" y="8627"/>
                  </a:lnTo>
                  <a:close/>
                  <a:moveTo>
                    <a:pt x="921" y="8645"/>
                  </a:moveTo>
                  <a:cubicBezTo>
                    <a:pt x="1146" y="8928"/>
                    <a:pt x="1146" y="8928"/>
                    <a:pt x="1146" y="8928"/>
                  </a:cubicBezTo>
                  <a:cubicBezTo>
                    <a:pt x="1079" y="8992"/>
                    <a:pt x="1079" y="8992"/>
                    <a:pt x="1079" y="8992"/>
                  </a:cubicBezTo>
                  <a:cubicBezTo>
                    <a:pt x="815" y="8656"/>
                    <a:pt x="815" y="8656"/>
                    <a:pt x="815" y="8656"/>
                  </a:cubicBezTo>
                  <a:lnTo>
                    <a:pt x="921" y="8645"/>
                  </a:lnTo>
                  <a:close/>
                  <a:moveTo>
                    <a:pt x="552" y="8793"/>
                  </a:moveTo>
                  <a:cubicBezTo>
                    <a:pt x="555" y="8791"/>
                    <a:pt x="559" y="8789"/>
                    <a:pt x="564" y="8786"/>
                  </a:cubicBezTo>
                  <a:cubicBezTo>
                    <a:pt x="574" y="8780"/>
                    <a:pt x="589" y="8772"/>
                    <a:pt x="607" y="8762"/>
                  </a:cubicBezTo>
                  <a:cubicBezTo>
                    <a:pt x="643" y="8742"/>
                    <a:pt x="691" y="8715"/>
                    <a:pt x="738" y="8688"/>
                  </a:cubicBezTo>
                  <a:cubicBezTo>
                    <a:pt x="758" y="8677"/>
                    <a:pt x="778" y="8666"/>
                    <a:pt x="797" y="8656"/>
                  </a:cubicBezTo>
                  <a:cubicBezTo>
                    <a:pt x="1078" y="9012"/>
                    <a:pt x="1078" y="9012"/>
                    <a:pt x="1078" y="9012"/>
                  </a:cubicBezTo>
                  <a:cubicBezTo>
                    <a:pt x="1165" y="8929"/>
                    <a:pt x="1165" y="8929"/>
                    <a:pt x="1165" y="8929"/>
                  </a:cubicBezTo>
                  <a:cubicBezTo>
                    <a:pt x="927" y="8631"/>
                    <a:pt x="927" y="8631"/>
                    <a:pt x="927" y="8631"/>
                  </a:cubicBezTo>
                  <a:cubicBezTo>
                    <a:pt x="823" y="8641"/>
                    <a:pt x="823" y="8641"/>
                    <a:pt x="823" y="8641"/>
                  </a:cubicBezTo>
                  <a:cubicBezTo>
                    <a:pt x="870" y="8615"/>
                    <a:pt x="909" y="8594"/>
                    <a:pt x="923" y="8586"/>
                  </a:cubicBezTo>
                  <a:cubicBezTo>
                    <a:pt x="925" y="8589"/>
                    <a:pt x="927" y="8592"/>
                    <a:pt x="931" y="8596"/>
                  </a:cubicBezTo>
                  <a:cubicBezTo>
                    <a:pt x="939" y="8606"/>
                    <a:pt x="950" y="8620"/>
                    <a:pt x="963" y="8636"/>
                  </a:cubicBezTo>
                  <a:cubicBezTo>
                    <a:pt x="990" y="8669"/>
                    <a:pt x="1025" y="8712"/>
                    <a:pt x="1061" y="8756"/>
                  </a:cubicBezTo>
                  <a:cubicBezTo>
                    <a:pt x="1122" y="8831"/>
                    <a:pt x="1183" y="8906"/>
                    <a:pt x="1199" y="8925"/>
                  </a:cubicBezTo>
                  <a:cubicBezTo>
                    <a:pt x="1165" y="8957"/>
                    <a:pt x="1129" y="8991"/>
                    <a:pt x="1092" y="9026"/>
                  </a:cubicBezTo>
                  <a:cubicBezTo>
                    <a:pt x="1013" y="9102"/>
                    <a:pt x="930" y="9180"/>
                    <a:pt x="879" y="9229"/>
                  </a:cubicBezTo>
                  <a:cubicBezTo>
                    <a:pt x="878" y="9228"/>
                    <a:pt x="878" y="9228"/>
                    <a:pt x="877" y="9227"/>
                  </a:cubicBezTo>
                  <a:cubicBezTo>
                    <a:pt x="868" y="9218"/>
                    <a:pt x="854" y="9205"/>
                    <a:pt x="838" y="9190"/>
                  </a:cubicBezTo>
                  <a:cubicBezTo>
                    <a:pt x="806" y="9159"/>
                    <a:pt x="764" y="9119"/>
                    <a:pt x="721" y="9078"/>
                  </a:cubicBezTo>
                  <a:cubicBezTo>
                    <a:pt x="643" y="9004"/>
                    <a:pt x="566" y="8930"/>
                    <a:pt x="554" y="8919"/>
                  </a:cubicBezTo>
                  <a:cubicBezTo>
                    <a:pt x="553" y="8903"/>
                    <a:pt x="551" y="8824"/>
                    <a:pt x="551" y="8798"/>
                  </a:cubicBezTo>
                  <a:lnTo>
                    <a:pt x="552" y="8793"/>
                  </a:lnTo>
                  <a:close/>
                  <a:moveTo>
                    <a:pt x="611" y="8996"/>
                  </a:moveTo>
                  <a:cubicBezTo>
                    <a:pt x="694" y="9075"/>
                    <a:pt x="827" y="9201"/>
                    <a:pt x="867" y="9240"/>
                  </a:cubicBezTo>
                  <a:cubicBezTo>
                    <a:pt x="847" y="9259"/>
                    <a:pt x="833" y="9273"/>
                    <a:pt x="828" y="9277"/>
                  </a:cubicBezTo>
                  <a:cubicBezTo>
                    <a:pt x="828" y="9277"/>
                    <a:pt x="827" y="9277"/>
                    <a:pt x="827" y="9277"/>
                  </a:cubicBezTo>
                  <a:cubicBezTo>
                    <a:pt x="819" y="9277"/>
                    <a:pt x="811" y="9276"/>
                    <a:pt x="804" y="9276"/>
                  </a:cubicBezTo>
                  <a:cubicBezTo>
                    <a:pt x="775" y="9276"/>
                    <a:pt x="752" y="9280"/>
                    <a:pt x="735" y="9283"/>
                  </a:cubicBezTo>
                  <a:cubicBezTo>
                    <a:pt x="689" y="9290"/>
                    <a:pt x="664" y="9303"/>
                    <a:pt x="641" y="9302"/>
                  </a:cubicBezTo>
                  <a:cubicBezTo>
                    <a:pt x="621" y="9303"/>
                    <a:pt x="576" y="9286"/>
                    <a:pt x="535" y="9272"/>
                  </a:cubicBezTo>
                  <a:cubicBezTo>
                    <a:pt x="556" y="9199"/>
                    <a:pt x="596" y="9051"/>
                    <a:pt x="609" y="9003"/>
                  </a:cubicBezTo>
                  <a:cubicBezTo>
                    <a:pt x="610" y="9000"/>
                    <a:pt x="610" y="8998"/>
                    <a:pt x="611" y="8996"/>
                  </a:cubicBezTo>
                  <a:close/>
                  <a:moveTo>
                    <a:pt x="641" y="9371"/>
                  </a:moveTo>
                  <a:cubicBezTo>
                    <a:pt x="686" y="9370"/>
                    <a:pt x="712" y="9354"/>
                    <a:pt x="744" y="9351"/>
                  </a:cubicBezTo>
                  <a:cubicBezTo>
                    <a:pt x="763" y="9348"/>
                    <a:pt x="781" y="9345"/>
                    <a:pt x="804" y="9345"/>
                  </a:cubicBezTo>
                  <a:cubicBezTo>
                    <a:pt x="810" y="9345"/>
                    <a:pt x="816" y="9345"/>
                    <a:pt x="822" y="9346"/>
                  </a:cubicBezTo>
                  <a:cubicBezTo>
                    <a:pt x="847" y="9348"/>
                    <a:pt x="873" y="9352"/>
                    <a:pt x="902" y="9369"/>
                  </a:cubicBezTo>
                  <a:cubicBezTo>
                    <a:pt x="921" y="9380"/>
                    <a:pt x="948" y="9417"/>
                    <a:pt x="968" y="9458"/>
                  </a:cubicBezTo>
                  <a:cubicBezTo>
                    <a:pt x="988" y="9499"/>
                    <a:pt x="1004" y="9544"/>
                    <a:pt x="1014" y="9574"/>
                  </a:cubicBezTo>
                  <a:cubicBezTo>
                    <a:pt x="1020" y="9591"/>
                    <a:pt x="1023" y="9602"/>
                    <a:pt x="1023" y="9604"/>
                  </a:cubicBezTo>
                  <a:cubicBezTo>
                    <a:pt x="575" y="9844"/>
                    <a:pt x="575" y="9844"/>
                    <a:pt x="575" y="9844"/>
                  </a:cubicBezTo>
                  <a:cubicBezTo>
                    <a:pt x="565" y="9814"/>
                    <a:pt x="544" y="9755"/>
                    <a:pt x="522" y="9694"/>
                  </a:cubicBezTo>
                  <a:cubicBezTo>
                    <a:pt x="493" y="9612"/>
                    <a:pt x="462" y="9525"/>
                    <a:pt x="459" y="9512"/>
                  </a:cubicBezTo>
                  <a:cubicBezTo>
                    <a:pt x="464" y="9495"/>
                    <a:pt x="500" y="9388"/>
                    <a:pt x="516" y="9339"/>
                  </a:cubicBezTo>
                  <a:cubicBezTo>
                    <a:pt x="554" y="9351"/>
                    <a:pt x="597" y="9370"/>
                    <a:pt x="641" y="9371"/>
                  </a:cubicBezTo>
                  <a:close/>
                  <a:moveTo>
                    <a:pt x="1345" y="9605"/>
                  </a:moveTo>
                  <a:cubicBezTo>
                    <a:pt x="2230" y="9127"/>
                    <a:pt x="2230" y="9127"/>
                    <a:pt x="2230" y="9127"/>
                  </a:cubicBezTo>
                  <a:cubicBezTo>
                    <a:pt x="2233" y="9125"/>
                    <a:pt x="2233" y="9125"/>
                    <a:pt x="2233" y="9125"/>
                  </a:cubicBezTo>
                  <a:cubicBezTo>
                    <a:pt x="2234" y="9125"/>
                    <a:pt x="2234" y="9125"/>
                    <a:pt x="2234" y="9125"/>
                  </a:cubicBezTo>
                  <a:cubicBezTo>
                    <a:pt x="2234" y="9125"/>
                    <a:pt x="2984" y="8734"/>
                    <a:pt x="3408" y="8507"/>
                  </a:cubicBezTo>
                  <a:cubicBezTo>
                    <a:pt x="3549" y="8431"/>
                    <a:pt x="3653" y="8375"/>
                    <a:pt x="3687" y="8355"/>
                  </a:cubicBezTo>
                  <a:cubicBezTo>
                    <a:pt x="3692" y="8352"/>
                    <a:pt x="3694" y="8351"/>
                    <a:pt x="3701" y="8346"/>
                  </a:cubicBezTo>
                  <a:cubicBezTo>
                    <a:pt x="3711" y="8339"/>
                    <a:pt x="3724" y="8328"/>
                    <a:pt x="3738" y="8317"/>
                  </a:cubicBezTo>
                  <a:cubicBezTo>
                    <a:pt x="3744" y="8331"/>
                    <a:pt x="3744" y="8331"/>
                    <a:pt x="3744" y="8331"/>
                  </a:cubicBezTo>
                  <a:cubicBezTo>
                    <a:pt x="3534" y="8439"/>
                    <a:pt x="2900" y="8790"/>
                    <a:pt x="2268" y="9131"/>
                  </a:cubicBezTo>
                  <a:cubicBezTo>
                    <a:pt x="1543" y="9522"/>
                    <a:pt x="811" y="9910"/>
                    <a:pt x="640" y="10001"/>
                  </a:cubicBezTo>
                  <a:cubicBezTo>
                    <a:pt x="615" y="10014"/>
                    <a:pt x="602" y="10021"/>
                    <a:pt x="602" y="10021"/>
                  </a:cubicBezTo>
                  <a:cubicBezTo>
                    <a:pt x="601" y="10022"/>
                    <a:pt x="601" y="10022"/>
                    <a:pt x="601" y="10022"/>
                  </a:cubicBezTo>
                  <a:cubicBezTo>
                    <a:pt x="599" y="10022"/>
                    <a:pt x="599" y="10022"/>
                    <a:pt x="599" y="10022"/>
                  </a:cubicBezTo>
                  <a:cubicBezTo>
                    <a:pt x="593" y="10026"/>
                    <a:pt x="592" y="10027"/>
                    <a:pt x="538" y="10057"/>
                  </a:cubicBezTo>
                  <a:cubicBezTo>
                    <a:pt x="532" y="10051"/>
                    <a:pt x="529" y="10047"/>
                    <a:pt x="526" y="10044"/>
                  </a:cubicBezTo>
                  <a:lnTo>
                    <a:pt x="1345" y="9605"/>
                  </a:lnTo>
                  <a:close/>
                  <a:moveTo>
                    <a:pt x="3726" y="8136"/>
                  </a:moveTo>
                  <a:cubicBezTo>
                    <a:pt x="3672" y="8173"/>
                    <a:pt x="3629" y="8210"/>
                    <a:pt x="3613" y="8222"/>
                  </a:cubicBezTo>
                  <a:cubicBezTo>
                    <a:pt x="3612" y="8222"/>
                    <a:pt x="3612" y="8222"/>
                    <a:pt x="3612" y="8222"/>
                  </a:cubicBezTo>
                  <a:cubicBezTo>
                    <a:pt x="3610" y="8223"/>
                    <a:pt x="3607" y="8225"/>
                    <a:pt x="3604" y="8227"/>
                  </a:cubicBezTo>
                  <a:cubicBezTo>
                    <a:pt x="3597" y="8231"/>
                    <a:pt x="3586" y="8237"/>
                    <a:pt x="3574" y="8244"/>
                  </a:cubicBezTo>
                  <a:cubicBezTo>
                    <a:pt x="3548" y="8258"/>
                    <a:pt x="3513" y="8277"/>
                    <a:pt x="3470" y="8300"/>
                  </a:cubicBezTo>
                  <a:cubicBezTo>
                    <a:pt x="3410" y="8333"/>
                    <a:pt x="3334" y="8373"/>
                    <a:pt x="3250" y="8418"/>
                  </a:cubicBezTo>
                  <a:cubicBezTo>
                    <a:pt x="3358" y="8158"/>
                    <a:pt x="3358" y="8158"/>
                    <a:pt x="3358" y="8158"/>
                  </a:cubicBezTo>
                  <a:cubicBezTo>
                    <a:pt x="3361" y="8159"/>
                    <a:pt x="3366" y="8160"/>
                    <a:pt x="3372" y="8162"/>
                  </a:cubicBezTo>
                  <a:cubicBezTo>
                    <a:pt x="3384" y="8165"/>
                    <a:pt x="3399" y="8170"/>
                    <a:pt x="3414" y="8174"/>
                  </a:cubicBezTo>
                  <a:cubicBezTo>
                    <a:pt x="3444" y="8184"/>
                    <a:pt x="3474" y="8193"/>
                    <a:pt x="3474" y="8193"/>
                  </a:cubicBezTo>
                  <a:cubicBezTo>
                    <a:pt x="3479" y="8194"/>
                    <a:pt x="3479" y="8194"/>
                    <a:pt x="3479" y="8194"/>
                  </a:cubicBezTo>
                  <a:cubicBezTo>
                    <a:pt x="3663" y="7974"/>
                    <a:pt x="3663" y="7974"/>
                    <a:pt x="3663" y="7974"/>
                  </a:cubicBezTo>
                  <a:cubicBezTo>
                    <a:pt x="3728" y="7997"/>
                    <a:pt x="3728" y="7997"/>
                    <a:pt x="3728" y="7997"/>
                  </a:cubicBezTo>
                  <a:cubicBezTo>
                    <a:pt x="3885" y="7926"/>
                    <a:pt x="3885" y="7926"/>
                    <a:pt x="3885" y="7926"/>
                  </a:cubicBezTo>
                  <a:cubicBezTo>
                    <a:pt x="3891" y="7953"/>
                    <a:pt x="3900" y="7977"/>
                    <a:pt x="3908" y="7998"/>
                  </a:cubicBezTo>
                  <a:cubicBezTo>
                    <a:pt x="3915" y="8015"/>
                    <a:pt x="3921" y="8029"/>
                    <a:pt x="3925" y="8038"/>
                  </a:cubicBezTo>
                  <a:cubicBezTo>
                    <a:pt x="3848" y="8060"/>
                    <a:pt x="3780" y="8099"/>
                    <a:pt x="3726" y="8136"/>
                  </a:cubicBezTo>
                  <a:close/>
                  <a:moveTo>
                    <a:pt x="3812" y="8262"/>
                  </a:moveTo>
                  <a:cubicBezTo>
                    <a:pt x="3860" y="8229"/>
                    <a:pt x="3917" y="8197"/>
                    <a:pt x="3972" y="8183"/>
                  </a:cubicBezTo>
                  <a:cubicBezTo>
                    <a:pt x="4001" y="8175"/>
                    <a:pt x="4031" y="8172"/>
                    <a:pt x="4066" y="8172"/>
                  </a:cubicBezTo>
                  <a:cubicBezTo>
                    <a:pt x="4107" y="8172"/>
                    <a:pt x="4154" y="8176"/>
                    <a:pt x="4208" y="8180"/>
                  </a:cubicBezTo>
                  <a:cubicBezTo>
                    <a:pt x="4065" y="8207"/>
                    <a:pt x="3927" y="8246"/>
                    <a:pt x="3803" y="8302"/>
                  </a:cubicBezTo>
                  <a:cubicBezTo>
                    <a:pt x="3792" y="8276"/>
                    <a:pt x="3792" y="8276"/>
                    <a:pt x="3792" y="8276"/>
                  </a:cubicBezTo>
                  <a:cubicBezTo>
                    <a:pt x="3799" y="8272"/>
                    <a:pt x="3805" y="8267"/>
                    <a:pt x="3812" y="8262"/>
                  </a:cubicBezTo>
                  <a:close/>
                  <a:moveTo>
                    <a:pt x="3804" y="8475"/>
                  </a:moveTo>
                  <a:cubicBezTo>
                    <a:pt x="4008" y="8965"/>
                    <a:pt x="4008" y="8965"/>
                    <a:pt x="4008" y="8965"/>
                  </a:cubicBezTo>
                  <a:cubicBezTo>
                    <a:pt x="3957" y="8979"/>
                    <a:pt x="3844" y="9009"/>
                    <a:pt x="3735" y="9043"/>
                  </a:cubicBezTo>
                  <a:cubicBezTo>
                    <a:pt x="3590" y="9088"/>
                    <a:pt x="3511" y="9143"/>
                    <a:pt x="3466" y="9203"/>
                  </a:cubicBezTo>
                  <a:cubicBezTo>
                    <a:pt x="3420" y="9263"/>
                    <a:pt x="3410" y="9324"/>
                    <a:pt x="3396" y="9376"/>
                  </a:cubicBezTo>
                  <a:cubicBezTo>
                    <a:pt x="3391" y="9394"/>
                    <a:pt x="3387" y="9415"/>
                    <a:pt x="3383" y="9437"/>
                  </a:cubicBezTo>
                  <a:cubicBezTo>
                    <a:pt x="3092" y="8849"/>
                    <a:pt x="3092" y="8849"/>
                    <a:pt x="3092" y="8849"/>
                  </a:cubicBezTo>
                  <a:cubicBezTo>
                    <a:pt x="3414" y="8678"/>
                    <a:pt x="3677" y="8540"/>
                    <a:pt x="3804" y="8475"/>
                  </a:cubicBezTo>
                  <a:close/>
                  <a:moveTo>
                    <a:pt x="3378" y="9461"/>
                  </a:moveTo>
                  <a:cubicBezTo>
                    <a:pt x="3371" y="9503"/>
                    <a:pt x="3364" y="9549"/>
                    <a:pt x="3355" y="9597"/>
                  </a:cubicBezTo>
                  <a:cubicBezTo>
                    <a:pt x="3338" y="9679"/>
                    <a:pt x="3314" y="9763"/>
                    <a:pt x="3274" y="9818"/>
                  </a:cubicBezTo>
                  <a:cubicBezTo>
                    <a:pt x="3253" y="9847"/>
                    <a:pt x="3239" y="9865"/>
                    <a:pt x="3224" y="9879"/>
                  </a:cubicBezTo>
                  <a:cubicBezTo>
                    <a:pt x="2655" y="9081"/>
                    <a:pt x="2655" y="9081"/>
                    <a:pt x="2655" y="9081"/>
                  </a:cubicBezTo>
                  <a:cubicBezTo>
                    <a:pt x="2803" y="9002"/>
                    <a:pt x="2946" y="8926"/>
                    <a:pt x="3080" y="8855"/>
                  </a:cubicBezTo>
                  <a:lnTo>
                    <a:pt x="3378" y="9461"/>
                  </a:lnTo>
                  <a:close/>
                  <a:moveTo>
                    <a:pt x="3214" y="9888"/>
                  </a:moveTo>
                  <a:cubicBezTo>
                    <a:pt x="3202" y="9899"/>
                    <a:pt x="3188" y="9908"/>
                    <a:pt x="3170" y="9918"/>
                  </a:cubicBezTo>
                  <a:cubicBezTo>
                    <a:pt x="3124" y="9942"/>
                    <a:pt x="3049" y="9974"/>
                    <a:pt x="2899" y="10058"/>
                  </a:cubicBezTo>
                  <a:cubicBezTo>
                    <a:pt x="2861" y="10079"/>
                    <a:pt x="2823" y="10095"/>
                    <a:pt x="2785" y="10109"/>
                  </a:cubicBezTo>
                  <a:cubicBezTo>
                    <a:pt x="2428" y="9203"/>
                    <a:pt x="2428" y="9203"/>
                    <a:pt x="2428" y="9203"/>
                  </a:cubicBezTo>
                  <a:cubicBezTo>
                    <a:pt x="2500" y="9164"/>
                    <a:pt x="2572" y="9125"/>
                    <a:pt x="2643" y="9088"/>
                  </a:cubicBezTo>
                  <a:lnTo>
                    <a:pt x="3214" y="9888"/>
                  </a:lnTo>
                  <a:close/>
                  <a:moveTo>
                    <a:pt x="2772" y="10114"/>
                  </a:moveTo>
                  <a:cubicBezTo>
                    <a:pt x="2657" y="10153"/>
                    <a:pt x="2545" y="10164"/>
                    <a:pt x="2462" y="10164"/>
                  </a:cubicBezTo>
                  <a:cubicBezTo>
                    <a:pt x="2418" y="10164"/>
                    <a:pt x="2387" y="10159"/>
                    <a:pt x="2362" y="10157"/>
                  </a:cubicBezTo>
                  <a:cubicBezTo>
                    <a:pt x="2354" y="10156"/>
                    <a:pt x="2347" y="10155"/>
                    <a:pt x="2342" y="10154"/>
                  </a:cubicBezTo>
                  <a:cubicBezTo>
                    <a:pt x="2341" y="10154"/>
                    <a:pt x="2312" y="10149"/>
                    <a:pt x="2274" y="10140"/>
                  </a:cubicBezTo>
                  <a:cubicBezTo>
                    <a:pt x="2236" y="10132"/>
                    <a:pt x="2189" y="10119"/>
                    <a:pt x="2156" y="10106"/>
                  </a:cubicBezTo>
                  <a:cubicBezTo>
                    <a:pt x="2150" y="10103"/>
                    <a:pt x="2144" y="10100"/>
                    <a:pt x="2139" y="10097"/>
                  </a:cubicBezTo>
                  <a:cubicBezTo>
                    <a:pt x="2139" y="10096"/>
                    <a:pt x="2139" y="10096"/>
                    <a:pt x="2139" y="10095"/>
                  </a:cubicBezTo>
                  <a:cubicBezTo>
                    <a:pt x="2140" y="10089"/>
                    <a:pt x="2141" y="10080"/>
                    <a:pt x="2143" y="10069"/>
                  </a:cubicBezTo>
                  <a:cubicBezTo>
                    <a:pt x="2145" y="10047"/>
                    <a:pt x="2149" y="10016"/>
                    <a:pt x="2153" y="9978"/>
                  </a:cubicBezTo>
                  <a:cubicBezTo>
                    <a:pt x="2162" y="9903"/>
                    <a:pt x="2172" y="9803"/>
                    <a:pt x="2183" y="9702"/>
                  </a:cubicBezTo>
                  <a:cubicBezTo>
                    <a:pt x="2201" y="9530"/>
                    <a:pt x="2219" y="9357"/>
                    <a:pt x="2223" y="9313"/>
                  </a:cubicBezTo>
                  <a:cubicBezTo>
                    <a:pt x="2287" y="9278"/>
                    <a:pt x="2352" y="9244"/>
                    <a:pt x="2416" y="9209"/>
                  </a:cubicBezTo>
                  <a:lnTo>
                    <a:pt x="2772" y="10114"/>
                  </a:lnTo>
                  <a:close/>
                  <a:moveTo>
                    <a:pt x="2168" y="9687"/>
                  </a:moveTo>
                  <a:cubicBezTo>
                    <a:pt x="2150" y="9862"/>
                    <a:pt x="2130" y="10043"/>
                    <a:pt x="2123" y="10089"/>
                  </a:cubicBezTo>
                  <a:cubicBezTo>
                    <a:pt x="2082" y="10064"/>
                    <a:pt x="2045" y="10029"/>
                    <a:pt x="2028" y="10011"/>
                  </a:cubicBezTo>
                  <a:cubicBezTo>
                    <a:pt x="2021" y="10004"/>
                    <a:pt x="2017" y="9999"/>
                    <a:pt x="2017" y="9999"/>
                  </a:cubicBezTo>
                  <a:cubicBezTo>
                    <a:pt x="2006" y="9987"/>
                    <a:pt x="2006" y="9987"/>
                    <a:pt x="2006" y="9987"/>
                  </a:cubicBezTo>
                  <a:cubicBezTo>
                    <a:pt x="1623" y="10148"/>
                    <a:pt x="1623" y="10148"/>
                    <a:pt x="1623" y="10148"/>
                  </a:cubicBezTo>
                  <a:cubicBezTo>
                    <a:pt x="1366" y="9930"/>
                    <a:pt x="1366" y="9930"/>
                    <a:pt x="1366" y="9930"/>
                  </a:cubicBezTo>
                  <a:cubicBezTo>
                    <a:pt x="1358" y="9940"/>
                    <a:pt x="1358" y="9940"/>
                    <a:pt x="1358" y="9940"/>
                  </a:cubicBezTo>
                  <a:cubicBezTo>
                    <a:pt x="1349" y="9933"/>
                    <a:pt x="1324" y="9912"/>
                    <a:pt x="1299" y="9890"/>
                  </a:cubicBezTo>
                  <a:cubicBezTo>
                    <a:pt x="1281" y="9875"/>
                    <a:pt x="1262" y="9859"/>
                    <a:pt x="1249" y="9848"/>
                  </a:cubicBezTo>
                  <a:cubicBezTo>
                    <a:pt x="1491" y="9716"/>
                    <a:pt x="1781" y="9560"/>
                    <a:pt x="2093" y="9392"/>
                  </a:cubicBezTo>
                  <a:cubicBezTo>
                    <a:pt x="2094" y="9391"/>
                    <a:pt x="2094" y="9391"/>
                    <a:pt x="2094" y="9391"/>
                  </a:cubicBezTo>
                  <a:cubicBezTo>
                    <a:pt x="2116" y="9371"/>
                    <a:pt x="2116" y="9371"/>
                    <a:pt x="2116" y="9371"/>
                  </a:cubicBezTo>
                  <a:cubicBezTo>
                    <a:pt x="2146" y="9355"/>
                    <a:pt x="2176" y="9338"/>
                    <a:pt x="2206" y="9322"/>
                  </a:cubicBezTo>
                  <a:cubicBezTo>
                    <a:pt x="2200" y="9378"/>
                    <a:pt x="2184" y="9531"/>
                    <a:pt x="2168" y="9687"/>
                  </a:cubicBezTo>
                  <a:close/>
                  <a:moveTo>
                    <a:pt x="1285" y="9900"/>
                  </a:moveTo>
                  <a:cubicBezTo>
                    <a:pt x="1311" y="9923"/>
                    <a:pt x="1338" y="9945"/>
                    <a:pt x="1347" y="9953"/>
                  </a:cubicBezTo>
                  <a:cubicBezTo>
                    <a:pt x="1337" y="9965"/>
                    <a:pt x="1337" y="9965"/>
                    <a:pt x="1337" y="9965"/>
                  </a:cubicBezTo>
                  <a:cubicBezTo>
                    <a:pt x="1596" y="10185"/>
                    <a:pt x="1596" y="10185"/>
                    <a:pt x="1596" y="10185"/>
                  </a:cubicBezTo>
                  <a:cubicBezTo>
                    <a:pt x="1595" y="10202"/>
                    <a:pt x="1591" y="10243"/>
                    <a:pt x="1588" y="10282"/>
                  </a:cubicBezTo>
                  <a:cubicBezTo>
                    <a:pt x="1583" y="10332"/>
                    <a:pt x="1578" y="10380"/>
                    <a:pt x="1578" y="10380"/>
                  </a:cubicBezTo>
                  <a:cubicBezTo>
                    <a:pt x="1578" y="10383"/>
                    <a:pt x="1578" y="10383"/>
                    <a:pt x="1578" y="10383"/>
                  </a:cubicBezTo>
                  <a:cubicBezTo>
                    <a:pt x="1589" y="10384"/>
                    <a:pt x="1589" y="10384"/>
                    <a:pt x="1589" y="10384"/>
                  </a:cubicBezTo>
                  <a:cubicBezTo>
                    <a:pt x="1583" y="10456"/>
                    <a:pt x="1583" y="10456"/>
                    <a:pt x="1583" y="10456"/>
                  </a:cubicBezTo>
                  <a:cubicBezTo>
                    <a:pt x="1251" y="10638"/>
                    <a:pt x="1251" y="10638"/>
                    <a:pt x="1251" y="10638"/>
                  </a:cubicBezTo>
                  <a:cubicBezTo>
                    <a:pt x="1235" y="10614"/>
                    <a:pt x="1223" y="10593"/>
                    <a:pt x="1209" y="10568"/>
                  </a:cubicBezTo>
                  <a:cubicBezTo>
                    <a:pt x="1195" y="10544"/>
                    <a:pt x="1121" y="10415"/>
                    <a:pt x="1051" y="10291"/>
                  </a:cubicBezTo>
                  <a:cubicBezTo>
                    <a:pt x="982" y="10168"/>
                    <a:pt x="916" y="10051"/>
                    <a:pt x="915" y="10051"/>
                  </a:cubicBezTo>
                  <a:cubicBezTo>
                    <a:pt x="912" y="10047"/>
                    <a:pt x="912" y="10047"/>
                    <a:pt x="912" y="10047"/>
                  </a:cubicBezTo>
                  <a:cubicBezTo>
                    <a:pt x="852" y="10081"/>
                    <a:pt x="852" y="10081"/>
                    <a:pt x="852" y="10081"/>
                  </a:cubicBezTo>
                  <a:cubicBezTo>
                    <a:pt x="856" y="10085"/>
                    <a:pt x="1120" y="10553"/>
                    <a:pt x="1149" y="10603"/>
                  </a:cubicBezTo>
                  <a:cubicBezTo>
                    <a:pt x="1177" y="10650"/>
                    <a:pt x="1200" y="10693"/>
                    <a:pt x="1257" y="10760"/>
                  </a:cubicBezTo>
                  <a:cubicBezTo>
                    <a:pt x="1273" y="10778"/>
                    <a:pt x="1296" y="10804"/>
                    <a:pt x="1320" y="10831"/>
                  </a:cubicBezTo>
                  <a:cubicBezTo>
                    <a:pt x="1313" y="10835"/>
                    <a:pt x="1306" y="10838"/>
                    <a:pt x="1299" y="10841"/>
                  </a:cubicBezTo>
                  <a:cubicBezTo>
                    <a:pt x="1297" y="10842"/>
                    <a:pt x="1295" y="10843"/>
                    <a:pt x="1293" y="10844"/>
                  </a:cubicBezTo>
                  <a:cubicBezTo>
                    <a:pt x="1279" y="10829"/>
                    <a:pt x="1232" y="10779"/>
                    <a:pt x="1182" y="10721"/>
                  </a:cubicBezTo>
                  <a:cubicBezTo>
                    <a:pt x="1122" y="10652"/>
                    <a:pt x="1057" y="10571"/>
                    <a:pt x="1040" y="10532"/>
                  </a:cubicBezTo>
                  <a:cubicBezTo>
                    <a:pt x="1011" y="10468"/>
                    <a:pt x="933" y="10316"/>
                    <a:pt x="870" y="10241"/>
                  </a:cubicBezTo>
                  <a:cubicBezTo>
                    <a:pt x="849" y="10218"/>
                    <a:pt x="832" y="10200"/>
                    <a:pt x="810" y="10198"/>
                  </a:cubicBezTo>
                  <a:cubicBezTo>
                    <a:pt x="808" y="10198"/>
                    <a:pt x="808" y="10198"/>
                    <a:pt x="808" y="10198"/>
                  </a:cubicBezTo>
                  <a:cubicBezTo>
                    <a:pt x="807" y="10198"/>
                    <a:pt x="807" y="10198"/>
                    <a:pt x="807" y="10198"/>
                  </a:cubicBezTo>
                  <a:cubicBezTo>
                    <a:pt x="782" y="10198"/>
                    <a:pt x="739" y="10212"/>
                    <a:pt x="688" y="10232"/>
                  </a:cubicBezTo>
                  <a:cubicBezTo>
                    <a:pt x="672" y="10213"/>
                    <a:pt x="656" y="10195"/>
                    <a:pt x="642" y="10178"/>
                  </a:cubicBezTo>
                  <a:cubicBezTo>
                    <a:pt x="661" y="10167"/>
                    <a:pt x="674" y="10159"/>
                    <a:pt x="677" y="10157"/>
                  </a:cubicBezTo>
                  <a:cubicBezTo>
                    <a:pt x="691" y="10150"/>
                    <a:pt x="860" y="10058"/>
                    <a:pt x="1115" y="9920"/>
                  </a:cubicBezTo>
                  <a:cubicBezTo>
                    <a:pt x="1153" y="9899"/>
                    <a:pt x="1193" y="9878"/>
                    <a:pt x="1233" y="9856"/>
                  </a:cubicBezTo>
                  <a:cubicBezTo>
                    <a:pt x="1236" y="9858"/>
                    <a:pt x="1237" y="9859"/>
                    <a:pt x="1239" y="9861"/>
                  </a:cubicBezTo>
                  <a:cubicBezTo>
                    <a:pt x="1252" y="9872"/>
                    <a:pt x="1268" y="9886"/>
                    <a:pt x="1285" y="9900"/>
                  </a:cubicBezTo>
                  <a:close/>
                  <a:moveTo>
                    <a:pt x="806" y="10222"/>
                  </a:moveTo>
                  <a:cubicBezTo>
                    <a:pt x="807" y="10222"/>
                    <a:pt x="807" y="10222"/>
                    <a:pt x="807" y="10222"/>
                  </a:cubicBezTo>
                  <a:cubicBezTo>
                    <a:pt x="808" y="10222"/>
                    <a:pt x="808" y="10222"/>
                    <a:pt x="808" y="10222"/>
                  </a:cubicBezTo>
                  <a:cubicBezTo>
                    <a:pt x="808" y="10222"/>
                    <a:pt x="808" y="10222"/>
                    <a:pt x="808" y="10222"/>
                  </a:cubicBezTo>
                  <a:cubicBezTo>
                    <a:pt x="813" y="10221"/>
                    <a:pt x="832" y="10234"/>
                    <a:pt x="851" y="10257"/>
                  </a:cubicBezTo>
                  <a:cubicBezTo>
                    <a:pt x="871" y="10281"/>
                    <a:pt x="893" y="10313"/>
                    <a:pt x="915" y="10348"/>
                  </a:cubicBezTo>
                  <a:cubicBezTo>
                    <a:pt x="958" y="10419"/>
                    <a:pt x="999" y="10500"/>
                    <a:pt x="1017" y="10542"/>
                  </a:cubicBezTo>
                  <a:cubicBezTo>
                    <a:pt x="1053" y="10620"/>
                    <a:pt x="1226" y="10808"/>
                    <a:pt x="1269" y="10855"/>
                  </a:cubicBezTo>
                  <a:cubicBezTo>
                    <a:pt x="1259" y="10860"/>
                    <a:pt x="1249" y="10865"/>
                    <a:pt x="1239" y="10869"/>
                  </a:cubicBezTo>
                  <a:cubicBezTo>
                    <a:pt x="1162" y="10781"/>
                    <a:pt x="1060" y="10662"/>
                    <a:pt x="956" y="10542"/>
                  </a:cubicBezTo>
                  <a:cubicBezTo>
                    <a:pt x="868" y="10441"/>
                    <a:pt x="779" y="10338"/>
                    <a:pt x="705" y="10252"/>
                  </a:cubicBezTo>
                  <a:cubicBezTo>
                    <a:pt x="751" y="10234"/>
                    <a:pt x="789" y="10223"/>
                    <a:pt x="806" y="10222"/>
                  </a:cubicBezTo>
                  <a:close/>
                  <a:moveTo>
                    <a:pt x="1297" y="11041"/>
                  </a:moveTo>
                  <a:cubicBezTo>
                    <a:pt x="1287" y="11047"/>
                    <a:pt x="1271" y="11058"/>
                    <a:pt x="1253" y="11073"/>
                  </a:cubicBezTo>
                  <a:cubicBezTo>
                    <a:pt x="1231" y="11043"/>
                    <a:pt x="1199" y="11017"/>
                    <a:pt x="1155" y="11016"/>
                  </a:cubicBezTo>
                  <a:cubicBezTo>
                    <a:pt x="1154" y="11016"/>
                    <a:pt x="1153" y="11017"/>
                    <a:pt x="1153" y="11017"/>
                  </a:cubicBezTo>
                  <a:cubicBezTo>
                    <a:pt x="1150" y="11009"/>
                    <a:pt x="1148" y="10996"/>
                    <a:pt x="1148" y="10983"/>
                  </a:cubicBezTo>
                  <a:cubicBezTo>
                    <a:pt x="1148" y="10967"/>
                    <a:pt x="1151" y="10952"/>
                    <a:pt x="1161" y="10942"/>
                  </a:cubicBezTo>
                  <a:cubicBezTo>
                    <a:pt x="1165" y="10937"/>
                    <a:pt x="1177" y="10930"/>
                    <a:pt x="1193" y="10921"/>
                  </a:cubicBezTo>
                  <a:cubicBezTo>
                    <a:pt x="1239" y="10974"/>
                    <a:pt x="1276" y="11017"/>
                    <a:pt x="1297" y="11041"/>
                  </a:cubicBezTo>
                  <a:close/>
                  <a:moveTo>
                    <a:pt x="1155" y="11041"/>
                  </a:moveTo>
                  <a:cubicBezTo>
                    <a:pt x="1187" y="11041"/>
                    <a:pt x="1214" y="11062"/>
                    <a:pt x="1234" y="11088"/>
                  </a:cubicBezTo>
                  <a:cubicBezTo>
                    <a:pt x="1223" y="11096"/>
                    <a:pt x="1212" y="11105"/>
                    <a:pt x="1202" y="11115"/>
                  </a:cubicBezTo>
                  <a:cubicBezTo>
                    <a:pt x="1176" y="11138"/>
                    <a:pt x="1152" y="11164"/>
                    <a:pt x="1133" y="11187"/>
                  </a:cubicBezTo>
                  <a:cubicBezTo>
                    <a:pt x="1106" y="11219"/>
                    <a:pt x="1075" y="11262"/>
                    <a:pt x="1052" y="11305"/>
                  </a:cubicBezTo>
                  <a:cubicBezTo>
                    <a:pt x="1037" y="11333"/>
                    <a:pt x="1026" y="11360"/>
                    <a:pt x="1019" y="11381"/>
                  </a:cubicBezTo>
                  <a:cubicBezTo>
                    <a:pt x="1011" y="11357"/>
                    <a:pt x="1001" y="11333"/>
                    <a:pt x="992" y="11311"/>
                  </a:cubicBezTo>
                  <a:cubicBezTo>
                    <a:pt x="970" y="11263"/>
                    <a:pt x="950" y="11220"/>
                    <a:pt x="950" y="11206"/>
                  </a:cubicBezTo>
                  <a:cubicBezTo>
                    <a:pt x="950" y="11205"/>
                    <a:pt x="950" y="11205"/>
                    <a:pt x="950" y="11205"/>
                  </a:cubicBezTo>
                  <a:cubicBezTo>
                    <a:pt x="950" y="11161"/>
                    <a:pt x="988" y="11109"/>
                    <a:pt x="1112" y="11051"/>
                  </a:cubicBezTo>
                  <a:cubicBezTo>
                    <a:pt x="1128" y="11044"/>
                    <a:pt x="1142" y="11041"/>
                    <a:pt x="1155" y="11041"/>
                  </a:cubicBezTo>
                  <a:close/>
                  <a:moveTo>
                    <a:pt x="1007" y="11433"/>
                  </a:moveTo>
                  <a:cubicBezTo>
                    <a:pt x="1009" y="11445"/>
                    <a:pt x="1010" y="11457"/>
                    <a:pt x="1010" y="11468"/>
                  </a:cubicBezTo>
                  <a:cubicBezTo>
                    <a:pt x="1010" y="11489"/>
                    <a:pt x="1006" y="11509"/>
                    <a:pt x="996" y="11525"/>
                  </a:cubicBezTo>
                  <a:cubicBezTo>
                    <a:pt x="963" y="11579"/>
                    <a:pt x="928" y="11593"/>
                    <a:pt x="895" y="11594"/>
                  </a:cubicBezTo>
                  <a:cubicBezTo>
                    <a:pt x="877" y="11594"/>
                    <a:pt x="860" y="11589"/>
                    <a:pt x="844" y="11582"/>
                  </a:cubicBezTo>
                  <a:cubicBezTo>
                    <a:pt x="885" y="11509"/>
                    <a:pt x="905" y="11419"/>
                    <a:pt x="913" y="11373"/>
                  </a:cubicBezTo>
                  <a:cubicBezTo>
                    <a:pt x="933" y="11384"/>
                    <a:pt x="949" y="11394"/>
                    <a:pt x="962" y="11401"/>
                  </a:cubicBezTo>
                  <a:cubicBezTo>
                    <a:pt x="973" y="11408"/>
                    <a:pt x="989" y="11419"/>
                    <a:pt x="1007" y="11433"/>
                  </a:cubicBezTo>
                  <a:close/>
                  <a:moveTo>
                    <a:pt x="895" y="11618"/>
                  </a:moveTo>
                  <a:cubicBezTo>
                    <a:pt x="912" y="11618"/>
                    <a:pt x="929" y="11615"/>
                    <a:pt x="946" y="11607"/>
                  </a:cubicBezTo>
                  <a:cubicBezTo>
                    <a:pt x="1068" y="11719"/>
                    <a:pt x="1068" y="11719"/>
                    <a:pt x="1068" y="11719"/>
                  </a:cubicBezTo>
                  <a:cubicBezTo>
                    <a:pt x="1123" y="11949"/>
                    <a:pt x="1123" y="11949"/>
                    <a:pt x="1123" y="11949"/>
                  </a:cubicBezTo>
                  <a:cubicBezTo>
                    <a:pt x="859" y="12013"/>
                    <a:pt x="859" y="12013"/>
                    <a:pt x="859" y="12013"/>
                  </a:cubicBezTo>
                  <a:cubicBezTo>
                    <a:pt x="860" y="12014"/>
                    <a:pt x="860" y="12014"/>
                    <a:pt x="860" y="12014"/>
                  </a:cubicBezTo>
                  <a:cubicBezTo>
                    <a:pt x="854" y="12006"/>
                    <a:pt x="847" y="11997"/>
                    <a:pt x="840" y="11986"/>
                  </a:cubicBezTo>
                  <a:cubicBezTo>
                    <a:pt x="813" y="11949"/>
                    <a:pt x="776" y="11897"/>
                    <a:pt x="731" y="11835"/>
                  </a:cubicBezTo>
                  <a:cubicBezTo>
                    <a:pt x="711" y="11807"/>
                    <a:pt x="690" y="11776"/>
                    <a:pt x="667" y="11745"/>
                  </a:cubicBezTo>
                  <a:cubicBezTo>
                    <a:pt x="668" y="11746"/>
                    <a:pt x="668" y="11746"/>
                    <a:pt x="668" y="11746"/>
                  </a:cubicBezTo>
                  <a:cubicBezTo>
                    <a:pt x="672" y="11745"/>
                    <a:pt x="674" y="11744"/>
                    <a:pt x="678" y="11742"/>
                  </a:cubicBezTo>
                  <a:cubicBezTo>
                    <a:pt x="687" y="11738"/>
                    <a:pt x="699" y="11732"/>
                    <a:pt x="714" y="11722"/>
                  </a:cubicBezTo>
                  <a:cubicBezTo>
                    <a:pt x="742" y="11703"/>
                    <a:pt x="779" y="11672"/>
                    <a:pt x="818" y="11622"/>
                  </a:cubicBezTo>
                  <a:cubicBezTo>
                    <a:pt x="822" y="11616"/>
                    <a:pt x="827" y="11610"/>
                    <a:pt x="831" y="11603"/>
                  </a:cubicBezTo>
                  <a:cubicBezTo>
                    <a:pt x="850" y="11612"/>
                    <a:pt x="872" y="11618"/>
                    <a:pt x="895" y="11618"/>
                  </a:cubicBezTo>
                  <a:close/>
                  <a:moveTo>
                    <a:pt x="735" y="11952"/>
                  </a:moveTo>
                  <a:cubicBezTo>
                    <a:pt x="753" y="11977"/>
                    <a:pt x="768" y="11999"/>
                    <a:pt x="782" y="12018"/>
                  </a:cubicBezTo>
                  <a:cubicBezTo>
                    <a:pt x="796" y="12038"/>
                    <a:pt x="808" y="12054"/>
                    <a:pt x="816" y="12065"/>
                  </a:cubicBezTo>
                  <a:cubicBezTo>
                    <a:pt x="444" y="12211"/>
                    <a:pt x="444" y="12211"/>
                    <a:pt x="444" y="12211"/>
                  </a:cubicBezTo>
                  <a:cubicBezTo>
                    <a:pt x="399" y="12151"/>
                    <a:pt x="399" y="12151"/>
                    <a:pt x="399" y="12151"/>
                  </a:cubicBezTo>
                  <a:cubicBezTo>
                    <a:pt x="365" y="12177"/>
                    <a:pt x="365" y="12177"/>
                    <a:pt x="365" y="12177"/>
                  </a:cubicBezTo>
                  <a:cubicBezTo>
                    <a:pt x="347" y="12153"/>
                    <a:pt x="347" y="12153"/>
                    <a:pt x="347" y="12153"/>
                  </a:cubicBezTo>
                  <a:lnTo>
                    <a:pt x="735" y="11952"/>
                  </a:lnTo>
                  <a:close/>
                  <a:moveTo>
                    <a:pt x="362" y="12195"/>
                  </a:moveTo>
                  <a:cubicBezTo>
                    <a:pt x="396" y="12169"/>
                    <a:pt x="396" y="12169"/>
                    <a:pt x="396" y="12169"/>
                  </a:cubicBezTo>
                  <a:cubicBezTo>
                    <a:pt x="431" y="12216"/>
                    <a:pt x="431" y="12216"/>
                    <a:pt x="431" y="12216"/>
                  </a:cubicBezTo>
                  <a:cubicBezTo>
                    <a:pt x="332" y="12255"/>
                    <a:pt x="332" y="12255"/>
                    <a:pt x="332" y="12255"/>
                  </a:cubicBezTo>
                  <a:cubicBezTo>
                    <a:pt x="286" y="12193"/>
                    <a:pt x="286" y="12193"/>
                    <a:pt x="286" y="12193"/>
                  </a:cubicBezTo>
                  <a:cubicBezTo>
                    <a:pt x="322" y="12166"/>
                    <a:pt x="322" y="12166"/>
                    <a:pt x="322" y="12166"/>
                  </a:cubicBezTo>
                  <a:cubicBezTo>
                    <a:pt x="335" y="12159"/>
                    <a:pt x="335" y="12159"/>
                    <a:pt x="335" y="12159"/>
                  </a:cubicBezTo>
                  <a:lnTo>
                    <a:pt x="362" y="12195"/>
                  </a:lnTo>
                  <a:close/>
                  <a:moveTo>
                    <a:pt x="440" y="12228"/>
                  </a:moveTo>
                  <a:cubicBezTo>
                    <a:pt x="450" y="12242"/>
                    <a:pt x="450" y="12242"/>
                    <a:pt x="450" y="12242"/>
                  </a:cubicBezTo>
                  <a:cubicBezTo>
                    <a:pt x="416" y="12268"/>
                    <a:pt x="416" y="12268"/>
                    <a:pt x="416" y="12268"/>
                  </a:cubicBezTo>
                  <a:cubicBezTo>
                    <a:pt x="444" y="12306"/>
                    <a:pt x="444" y="12306"/>
                    <a:pt x="444" y="12306"/>
                  </a:cubicBezTo>
                  <a:cubicBezTo>
                    <a:pt x="395" y="12341"/>
                    <a:pt x="395" y="12341"/>
                    <a:pt x="395" y="12341"/>
                  </a:cubicBezTo>
                  <a:cubicBezTo>
                    <a:pt x="340" y="12267"/>
                    <a:pt x="340" y="12267"/>
                    <a:pt x="340" y="12267"/>
                  </a:cubicBezTo>
                  <a:lnTo>
                    <a:pt x="440" y="12228"/>
                  </a:lnTo>
                  <a:close/>
                  <a:moveTo>
                    <a:pt x="905" y="12194"/>
                  </a:moveTo>
                  <a:cubicBezTo>
                    <a:pt x="994" y="12322"/>
                    <a:pt x="994" y="12322"/>
                    <a:pt x="994" y="12322"/>
                  </a:cubicBezTo>
                  <a:cubicBezTo>
                    <a:pt x="947" y="12339"/>
                    <a:pt x="769" y="12403"/>
                    <a:pt x="623" y="12454"/>
                  </a:cubicBezTo>
                  <a:cubicBezTo>
                    <a:pt x="578" y="12392"/>
                    <a:pt x="578" y="12392"/>
                    <a:pt x="578" y="12392"/>
                  </a:cubicBezTo>
                  <a:cubicBezTo>
                    <a:pt x="543" y="12418"/>
                    <a:pt x="543" y="12418"/>
                    <a:pt x="543" y="12418"/>
                  </a:cubicBezTo>
                  <a:cubicBezTo>
                    <a:pt x="515" y="12380"/>
                    <a:pt x="515" y="12380"/>
                    <a:pt x="515" y="12380"/>
                  </a:cubicBezTo>
                  <a:cubicBezTo>
                    <a:pt x="451" y="12427"/>
                    <a:pt x="451" y="12427"/>
                    <a:pt x="451" y="12427"/>
                  </a:cubicBezTo>
                  <a:cubicBezTo>
                    <a:pt x="446" y="12431"/>
                    <a:pt x="446" y="12431"/>
                    <a:pt x="446" y="12431"/>
                  </a:cubicBezTo>
                  <a:cubicBezTo>
                    <a:pt x="495" y="12498"/>
                    <a:pt x="495" y="12498"/>
                    <a:pt x="495" y="12498"/>
                  </a:cubicBezTo>
                  <a:cubicBezTo>
                    <a:pt x="485" y="12501"/>
                    <a:pt x="475" y="12504"/>
                    <a:pt x="467" y="12507"/>
                  </a:cubicBezTo>
                  <a:cubicBezTo>
                    <a:pt x="442" y="12470"/>
                    <a:pt x="421" y="12439"/>
                    <a:pt x="407" y="12420"/>
                  </a:cubicBezTo>
                  <a:cubicBezTo>
                    <a:pt x="399" y="12408"/>
                    <a:pt x="388" y="12393"/>
                    <a:pt x="375" y="12376"/>
                  </a:cubicBezTo>
                  <a:lnTo>
                    <a:pt x="905" y="12194"/>
                  </a:lnTo>
                  <a:close/>
                  <a:moveTo>
                    <a:pt x="528" y="12501"/>
                  </a:moveTo>
                  <a:cubicBezTo>
                    <a:pt x="555" y="12492"/>
                    <a:pt x="586" y="12481"/>
                    <a:pt x="619" y="12470"/>
                  </a:cubicBezTo>
                  <a:cubicBezTo>
                    <a:pt x="629" y="12483"/>
                    <a:pt x="629" y="12483"/>
                    <a:pt x="629" y="12483"/>
                  </a:cubicBezTo>
                  <a:cubicBezTo>
                    <a:pt x="594" y="12509"/>
                    <a:pt x="594" y="12509"/>
                    <a:pt x="594" y="12509"/>
                  </a:cubicBezTo>
                  <a:cubicBezTo>
                    <a:pt x="622" y="12546"/>
                    <a:pt x="622" y="12546"/>
                    <a:pt x="622" y="12546"/>
                  </a:cubicBezTo>
                  <a:cubicBezTo>
                    <a:pt x="574" y="12582"/>
                    <a:pt x="574" y="12582"/>
                    <a:pt x="574" y="12582"/>
                  </a:cubicBezTo>
                  <a:cubicBezTo>
                    <a:pt x="517" y="12505"/>
                    <a:pt x="517" y="12505"/>
                    <a:pt x="517" y="12505"/>
                  </a:cubicBezTo>
                  <a:cubicBezTo>
                    <a:pt x="520" y="12504"/>
                    <a:pt x="524" y="12503"/>
                    <a:pt x="528" y="12501"/>
                  </a:cubicBezTo>
                  <a:close/>
                  <a:moveTo>
                    <a:pt x="508" y="12493"/>
                  </a:moveTo>
                  <a:cubicBezTo>
                    <a:pt x="464" y="12434"/>
                    <a:pt x="464" y="12434"/>
                    <a:pt x="464" y="12434"/>
                  </a:cubicBezTo>
                  <a:cubicBezTo>
                    <a:pt x="512" y="12398"/>
                    <a:pt x="512" y="12398"/>
                    <a:pt x="512" y="12398"/>
                  </a:cubicBezTo>
                  <a:cubicBezTo>
                    <a:pt x="540" y="12436"/>
                    <a:pt x="540" y="12436"/>
                    <a:pt x="540" y="12436"/>
                  </a:cubicBezTo>
                  <a:cubicBezTo>
                    <a:pt x="575" y="12410"/>
                    <a:pt x="575" y="12410"/>
                    <a:pt x="575" y="12410"/>
                  </a:cubicBezTo>
                  <a:cubicBezTo>
                    <a:pt x="610" y="12458"/>
                    <a:pt x="610" y="12458"/>
                    <a:pt x="610" y="12458"/>
                  </a:cubicBezTo>
                  <a:cubicBezTo>
                    <a:pt x="579" y="12469"/>
                    <a:pt x="549" y="12479"/>
                    <a:pt x="523" y="12488"/>
                  </a:cubicBezTo>
                  <a:cubicBezTo>
                    <a:pt x="518" y="12490"/>
                    <a:pt x="513" y="12492"/>
                    <a:pt x="508" y="12493"/>
                  </a:cubicBezTo>
                  <a:close/>
                  <a:moveTo>
                    <a:pt x="504" y="12509"/>
                  </a:moveTo>
                  <a:cubicBezTo>
                    <a:pt x="571" y="12600"/>
                    <a:pt x="571" y="12600"/>
                    <a:pt x="571" y="12600"/>
                  </a:cubicBezTo>
                  <a:cubicBezTo>
                    <a:pt x="640" y="12549"/>
                    <a:pt x="640" y="12549"/>
                    <a:pt x="640" y="12549"/>
                  </a:cubicBezTo>
                  <a:cubicBezTo>
                    <a:pt x="612" y="12511"/>
                    <a:pt x="612" y="12511"/>
                    <a:pt x="612" y="12511"/>
                  </a:cubicBezTo>
                  <a:cubicBezTo>
                    <a:pt x="647" y="12486"/>
                    <a:pt x="647" y="12486"/>
                    <a:pt x="647" y="12486"/>
                  </a:cubicBezTo>
                  <a:cubicBezTo>
                    <a:pt x="632" y="12465"/>
                    <a:pt x="632" y="12465"/>
                    <a:pt x="632" y="12465"/>
                  </a:cubicBezTo>
                  <a:cubicBezTo>
                    <a:pt x="663" y="12454"/>
                    <a:pt x="695" y="12443"/>
                    <a:pt x="727" y="12432"/>
                  </a:cubicBezTo>
                  <a:cubicBezTo>
                    <a:pt x="850" y="12388"/>
                    <a:pt x="970" y="12345"/>
                    <a:pt x="1003" y="12334"/>
                  </a:cubicBezTo>
                  <a:cubicBezTo>
                    <a:pt x="1089" y="12457"/>
                    <a:pt x="1089" y="12457"/>
                    <a:pt x="1089" y="12457"/>
                  </a:cubicBezTo>
                  <a:cubicBezTo>
                    <a:pt x="1011" y="12483"/>
                    <a:pt x="764" y="12565"/>
                    <a:pt x="622" y="12610"/>
                  </a:cubicBezTo>
                  <a:cubicBezTo>
                    <a:pt x="593" y="12620"/>
                    <a:pt x="567" y="12627"/>
                    <a:pt x="550" y="12633"/>
                  </a:cubicBezTo>
                  <a:cubicBezTo>
                    <a:pt x="525" y="12594"/>
                    <a:pt x="499" y="12555"/>
                    <a:pt x="475" y="12519"/>
                  </a:cubicBezTo>
                  <a:cubicBezTo>
                    <a:pt x="484" y="12516"/>
                    <a:pt x="493" y="12513"/>
                    <a:pt x="504" y="12509"/>
                  </a:cubicBezTo>
                  <a:close/>
                  <a:moveTo>
                    <a:pt x="614" y="13612"/>
                  </a:moveTo>
                  <a:cubicBezTo>
                    <a:pt x="619" y="13583"/>
                    <a:pt x="642" y="13451"/>
                    <a:pt x="659" y="13378"/>
                  </a:cubicBezTo>
                  <a:cubicBezTo>
                    <a:pt x="666" y="13348"/>
                    <a:pt x="670" y="13300"/>
                    <a:pt x="674" y="13244"/>
                  </a:cubicBezTo>
                  <a:cubicBezTo>
                    <a:pt x="1007" y="13240"/>
                    <a:pt x="1007" y="13240"/>
                    <a:pt x="1007" y="13240"/>
                  </a:cubicBezTo>
                  <a:cubicBezTo>
                    <a:pt x="1112" y="13337"/>
                    <a:pt x="1112" y="13337"/>
                    <a:pt x="1112" y="13337"/>
                  </a:cubicBezTo>
                  <a:cubicBezTo>
                    <a:pt x="1112" y="13337"/>
                    <a:pt x="1112" y="13337"/>
                    <a:pt x="1112" y="13337"/>
                  </a:cubicBezTo>
                  <a:cubicBezTo>
                    <a:pt x="1126" y="13349"/>
                    <a:pt x="1126" y="13349"/>
                    <a:pt x="1126" y="13349"/>
                  </a:cubicBezTo>
                  <a:cubicBezTo>
                    <a:pt x="1128" y="13351"/>
                    <a:pt x="1128" y="13351"/>
                    <a:pt x="1128" y="13351"/>
                  </a:cubicBezTo>
                  <a:cubicBezTo>
                    <a:pt x="840" y="13837"/>
                    <a:pt x="840" y="13837"/>
                    <a:pt x="840" y="13837"/>
                  </a:cubicBezTo>
                  <a:cubicBezTo>
                    <a:pt x="839" y="13837"/>
                    <a:pt x="839" y="13837"/>
                    <a:pt x="839" y="13837"/>
                  </a:cubicBezTo>
                  <a:cubicBezTo>
                    <a:pt x="838" y="13837"/>
                    <a:pt x="838" y="13837"/>
                    <a:pt x="838" y="13837"/>
                  </a:cubicBezTo>
                  <a:cubicBezTo>
                    <a:pt x="836" y="13836"/>
                    <a:pt x="835" y="13835"/>
                    <a:pt x="833" y="13834"/>
                  </a:cubicBezTo>
                  <a:cubicBezTo>
                    <a:pt x="819" y="13825"/>
                    <a:pt x="800" y="13814"/>
                    <a:pt x="780" y="13801"/>
                  </a:cubicBezTo>
                  <a:cubicBezTo>
                    <a:pt x="741" y="13777"/>
                    <a:pt x="665" y="13724"/>
                    <a:pt x="652" y="13714"/>
                  </a:cubicBezTo>
                  <a:cubicBezTo>
                    <a:pt x="652" y="13713"/>
                    <a:pt x="651" y="13713"/>
                    <a:pt x="651" y="13713"/>
                  </a:cubicBezTo>
                  <a:cubicBezTo>
                    <a:pt x="631" y="13688"/>
                    <a:pt x="613" y="13636"/>
                    <a:pt x="614" y="13616"/>
                  </a:cubicBezTo>
                  <a:cubicBezTo>
                    <a:pt x="614" y="13614"/>
                    <a:pt x="614" y="13613"/>
                    <a:pt x="614" y="13612"/>
                  </a:cubicBezTo>
                  <a:close/>
                  <a:moveTo>
                    <a:pt x="1140" y="13362"/>
                  </a:moveTo>
                  <a:cubicBezTo>
                    <a:pt x="1144" y="13365"/>
                    <a:pt x="1144" y="13365"/>
                    <a:pt x="1144" y="13365"/>
                  </a:cubicBezTo>
                  <a:cubicBezTo>
                    <a:pt x="1144" y="13365"/>
                    <a:pt x="1144" y="13365"/>
                    <a:pt x="1144" y="13365"/>
                  </a:cubicBezTo>
                  <a:cubicBezTo>
                    <a:pt x="1420" y="13605"/>
                    <a:pt x="1420" y="13605"/>
                    <a:pt x="1420" y="13605"/>
                  </a:cubicBezTo>
                  <a:cubicBezTo>
                    <a:pt x="1240" y="13853"/>
                    <a:pt x="1240" y="13853"/>
                    <a:pt x="1240" y="13853"/>
                  </a:cubicBezTo>
                  <a:cubicBezTo>
                    <a:pt x="1240" y="13853"/>
                    <a:pt x="1151" y="13967"/>
                    <a:pt x="1125" y="14001"/>
                  </a:cubicBezTo>
                  <a:cubicBezTo>
                    <a:pt x="1122" y="14005"/>
                    <a:pt x="1121" y="14007"/>
                    <a:pt x="1119" y="14010"/>
                  </a:cubicBezTo>
                  <a:cubicBezTo>
                    <a:pt x="1119" y="14010"/>
                    <a:pt x="1118" y="14011"/>
                    <a:pt x="1118" y="14011"/>
                  </a:cubicBezTo>
                  <a:cubicBezTo>
                    <a:pt x="854" y="13846"/>
                    <a:pt x="854" y="13846"/>
                    <a:pt x="854" y="13846"/>
                  </a:cubicBezTo>
                  <a:lnTo>
                    <a:pt x="1140" y="13362"/>
                  </a:lnTo>
                  <a:close/>
                  <a:moveTo>
                    <a:pt x="1167" y="14060"/>
                  </a:moveTo>
                  <a:cubicBezTo>
                    <a:pt x="1170" y="14056"/>
                    <a:pt x="1170" y="14056"/>
                    <a:pt x="1174" y="14052"/>
                  </a:cubicBezTo>
                  <a:cubicBezTo>
                    <a:pt x="1174" y="14051"/>
                    <a:pt x="1175" y="14051"/>
                    <a:pt x="1176" y="14049"/>
                  </a:cubicBezTo>
                  <a:cubicBezTo>
                    <a:pt x="1177" y="14048"/>
                    <a:pt x="1178" y="14046"/>
                    <a:pt x="1179" y="14044"/>
                  </a:cubicBezTo>
                  <a:cubicBezTo>
                    <a:pt x="1183" y="14040"/>
                    <a:pt x="1187" y="14033"/>
                    <a:pt x="1193" y="14026"/>
                  </a:cubicBezTo>
                  <a:cubicBezTo>
                    <a:pt x="1204" y="14011"/>
                    <a:pt x="1219" y="13992"/>
                    <a:pt x="1234" y="13972"/>
                  </a:cubicBezTo>
                  <a:cubicBezTo>
                    <a:pt x="1264" y="13933"/>
                    <a:pt x="1294" y="13895"/>
                    <a:pt x="1295" y="13894"/>
                  </a:cubicBezTo>
                  <a:cubicBezTo>
                    <a:pt x="1298" y="13890"/>
                    <a:pt x="1298" y="13890"/>
                    <a:pt x="1298" y="13890"/>
                  </a:cubicBezTo>
                  <a:cubicBezTo>
                    <a:pt x="1403" y="13990"/>
                    <a:pt x="1403" y="13990"/>
                    <a:pt x="1403" y="13990"/>
                  </a:cubicBezTo>
                  <a:cubicBezTo>
                    <a:pt x="1221" y="14372"/>
                    <a:pt x="1221" y="14372"/>
                    <a:pt x="1221" y="14372"/>
                  </a:cubicBezTo>
                  <a:cubicBezTo>
                    <a:pt x="988" y="14245"/>
                    <a:pt x="988" y="14245"/>
                    <a:pt x="988" y="14245"/>
                  </a:cubicBezTo>
                  <a:cubicBezTo>
                    <a:pt x="988" y="14245"/>
                    <a:pt x="988" y="14245"/>
                    <a:pt x="988" y="14245"/>
                  </a:cubicBezTo>
                  <a:cubicBezTo>
                    <a:pt x="1065" y="14166"/>
                    <a:pt x="1146" y="14082"/>
                    <a:pt x="1167" y="14060"/>
                  </a:cubicBezTo>
                  <a:close/>
                  <a:moveTo>
                    <a:pt x="1214" y="14387"/>
                  </a:moveTo>
                  <a:cubicBezTo>
                    <a:pt x="1044" y="14744"/>
                    <a:pt x="1044" y="14744"/>
                    <a:pt x="1044" y="14744"/>
                  </a:cubicBezTo>
                  <a:cubicBezTo>
                    <a:pt x="741" y="14514"/>
                    <a:pt x="741" y="14514"/>
                    <a:pt x="741" y="14514"/>
                  </a:cubicBezTo>
                  <a:cubicBezTo>
                    <a:pt x="743" y="14510"/>
                    <a:pt x="747" y="14505"/>
                    <a:pt x="752" y="14499"/>
                  </a:cubicBezTo>
                  <a:cubicBezTo>
                    <a:pt x="761" y="14486"/>
                    <a:pt x="773" y="14472"/>
                    <a:pt x="785" y="14458"/>
                  </a:cubicBezTo>
                  <a:cubicBezTo>
                    <a:pt x="807" y="14432"/>
                    <a:pt x="831" y="14406"/>
                    <a:pt x="836" y="14401"/>
                  </a:cubicBezTo>
                  <a:cubicBezTo>
                    <a:pt x="837" y="14400"/>
                    <a:pt x="836" y="14401"/>
                    <a:pt x="837" y="14400"/>
                  </a:cubicBezTo>
                  <a:cubicBezTo>
                    <a:pt x="838" y="14400"/>
                    <a:pt x="838" y="14399"/>
                    <a:pt x="838" y="14399"/>
                  </a:cubicBezTo>
                  <a:cubicBezTo>
                    <a:pt x="839" y="14398"/>
                    <a:pt x="840" y="14397"/>
                    <a:pt x="841" y="14396"/>
                  </a:cubicBezTo>
                  <a:cubicBezTo>
                    <a:pt x="843" y="14394"/>
                    <a:pt x="847" y="14391"/>
                    <a:pt x="851" y="14386"/>
                  </a:cubicBezTo>
                  <a:cubicBezTo>
                    <a:pt x="859" y="14378"/>
                    <a:pt x="871" y="14366"/>
                    <a:pt x="884" y="14352"/>
                  </a:cubicBezTo>
                  <a:cubicBezTo>
                    <a:pt x="909" y="14326"/>
                    <a:pt x="942" y="14293"/>
                    <a:pt x="976" y="14258"/>
                  </a:cubicBezTo>
                  <a:lnTo>
                    <a:pt x="1214" y="14387"/>
                  </a:lnTo>
                  <a:close/>
                  <a:moveTo>
                    <a:pt x="1028" y="14817"/>
                  </a:moveTo>
                  <a:cubicBezTo>
                    <a:pt x="927" y="14941"/>
                    <a:pt x="927" y="14941"/>
                    <a:pt x="927" y="14941"/>
                  </a:cubicBezTo>
                  <a:cubicBezTo>
                    <a:pt x="974" y="15066"/>
                    <a:pt x="974" y="15066"/>
                    <a:pt x="974" y="15066"/>
                  </a:cubicBezTo>
                  <a:cubicBezTo>
                    <a:pt x="894" y="15367"/>
                    <a:pt x="894" y="15367"/>
                    <a:pt x="894" y="15367"/>
                  </a:cubicBezTo>
                  <a:cubicBezTo>
                    <a:pt x="711" y="15294"/>
                    <a:pt x="711" y="15294"/>
                    <a:pt x="711" y="15294"/>
                  </a:cubicBezTo>
                  <a:cubicBezTo>
                    <a:pt x="778" y="15027"/>
                    <a:pt x="778" y="15027"/>
                    <a:pt x="778" y="15027"/>
                  </a:cubicBezTo>
                  <a:cubicBezTo>
                    <a:pt x="611" y="14914"/>
                    <a:pt x="611" y="14914"/>
                    <a:pt x="611" y="14914"/>
                  </a:cubicBezTo>
                  <a:cubicBezTo>
                    <a:pt x="648" y="14840"/>
                    <a:pt x="678" y="14747"/>
                    <a:pt x="692" y="14705"/>
                  </a:cubicBezTo>
                  <a:cubicBezTo>
                    <a:pt x="706" y="14663"/>
                    <a:pt x="719" y="14616"/>
                    <a:pt x="726" y="14589"/>
                  </a:cubicBezTo>
                  <a:lnTo>
                    <a:pt x="1028" y="14817"/>
                  </a:lnTo>
                  <a:close/>
                  <a:moveTo>
                    <a:pt x="526" y="14924"/>
                  </a:moveTo>
                  <a:cubicBezTo>
                    <a:pt x="513" y="14943"/>
                    <a:pt x="463" y="15010"/>
                    <a:pt x="400" y="15094"/>
                  </a:cubicBezTo>
                  <a:cubicBezTo>
                    <a:pt x="419" y="15032"/>
                    <a:pt x="444" y="14976"/>
                    <a:pt x="462" y="14954"/>
                  </a:cubicBezTo>
                  <a:cubicBezTo>
                    <a:pt x="492" y="14916"/>
                    <a:pt x="514" y="14845"/>
                    <a:pt x="533" y="14772"/>
                  </a:cubicBezTo>
                  <a:cubicBezTo>
                    <a:pt x="542" y="14733"/>
                    <a:pt x="550" y="14694"/>
                    <a:pt x="556" y="14660"/>
                  </a:cubicBezTo>
                  <a:cubicBezTo>
                    <a:pt x="571" y="14671"/>
                    <a:pt x="585" y="14683"/>
                    <a:pt x="599" y="14693"/>
                  </a:cubicBezTo>
                  <a:cubicBezTo>
                    <a:pt x="606" y="14699"/>
                    <a:pt x="613" y="14704"/>
                    <a:pt x="618" y="14709"/>
                  </a:cubicBezTo>
                  <a:cubicBezTo>
                    <a:pt x="598" y="14770"/>
                    <a:pt x="561" y="14875"/>
                    <a:pt x="526" y="14924"/>
                  </a:cubicBezTo>
                  <a:close/>
                  <a:moveTo>
                    <a:pt x="1397" y="15718"/>
                  </a:moveTo>
                  <a:cubicBezTo>
                    <a:pt x="1208" y="15551"/>
                    <a:pt x="1208" y="15551"/>
                    <a:pt x="1208" y="15551"/>
                  </a:cubicBezTo>
                  <a:cubicBezTo>
                    <a:pt x="1515" y="15180"/>
                    <a:pt x="1515" y="15180"/>
                    <a:pt x="1515" y="15180"/>
                  </a:cubicBezTo>
                  <a:cubicBezTo>
                    <a:pt x="1690" y="15311"/>
                    <a:pt x="1876" y="15450"/>
                    <a:pt x="2001" y="15543"/>
                  </a:cubicBezTo>
                  <a:cubicBezTo>
                    <a:pt x="2001" y="15543"/>
                    <a:pt x="1999" y="15544"/>
                    <a:pt x="1999" y="15544"/>
                  </a:cubicBezTo>
                  <a:cubicBezTo>
                    <a:pt x="1997" y="15544"/>
                    <a:pt x="1997" y="15544"/>
                    <a:pt x="1997" y="15544"/>
                  </a:cubicBezTo>
                  <a:cubicBezTo>
                    <a:pt x="1884" y="15737"/>
                    <a:pt x="1884" y="15737"/>
                    <a:pt x="1884" y="15737"/>
                  </a:cubicBezTo>
                  <a:cubicBezTo>
                    <a:pt x="1788" y="15680"/>
                    <a:pt x="1788" y="15680"/>
                    <a:pt x="1788" y="15680"/>
                  </a:cubicBezTo>
                  <a:cubicBezTo>
                    <a:pt x="1559" y="16019"/>
                    <a:pt x="1559" y="16019"/>
                    <a:pt x="1559" y="16019"/>
                  </a:cubicBezTo>
                  <a:cubicBezTo>
                    <a:pt x="1504" y="15966"/>
                    <a:pt x="1393" y="15870"/>
                    <a:pt x="1322" y="15808"/>
                  </a:cubicBezTo>
                  <a:lnTo>
                    <a:pt x="1397" y="15718"/>
                  </a:lnTo>
                  <a:close/>
                  <a:moveTo>
                    <a:pt x="1922" y="16142"/>
                  </a:moveTo>
                  <a:cubicBezTo>
                    <a:pt x="1929" y="16146"/>
                    <a:pt x="1940" y="16151"/>
                    <a:pt x="1952" y="16156"/>
                  </a:cubicBezTo>
                  <a:cubicBezTo>
                    <a:pt x="1978" y="16168"/>
                    <a:pt x="2011" y="16183"/>
                    <a:pt x="2045" y="16198"/>
                  </a:cubicBezTo>
                  <a:cubicBezTo>
                    <a:pt x="2068" y="16208"/>
                    <a:pt x="2092" y="16219"/>
                    <a:pt x="2113" y="16228"/>
                  </a:cubicBezTo>
                  <a:cubicBezTo>
                    <a:pt x="1965" y="16402"/>
                    <a:pt x="1965" y="16402"/>
                    <a:pt x="1965" y="16402"/>
                  </a:cubicBezTo>
                  <a:cubicBezTo>
                    <a:pt x="1941" y="16380"/>
                    <a:pt x="1874" y="16317"/>
                    <a:pt x="1800" y="16247"/>
                  </a:cubicBezTo>
                  <a:cubicBezTo>
                    <a:pt x="1799" y="16246"/>
                    <a:pt x="1799" y="16246"/>
                    <a:pt x="1798" y="16246"/>
                  </a:cubicBezTo>
                  <a:cubicBezTo>
                    <a:pt x="1914" y="16139"/>
                    <a:pt x="1914" y="16139"/>
                    <a:pt x="1914" y="16139"/>
                  </a:cubicBezTo>
                  <a:cubicBezTo>
                    <a:pt x="1916" y="16140"/>
                    <a:pt x="1919" y="16141"/>
                    <a:pt x="1922" y="16142"/>
                  </a:cubicBezTo>
                  <a:close/>
                  <a:moveTo>
                    <a:pt x="1916" y="16137"/>
                  </a:moveTo>
                  <a:cubicBezTo>
                    <a:pt x="1916" y="16137"/>
                    <a:pt x="1916" y="16137"/>
                    <a:pt x="1916" y="16137"/>
                  </a:cubicBezTo>
                  <a:cubicBezTo>
                    <a:pt x="1916" y="16137"/>
                    <a:pt x="1916" y="16137"/>
                    <a:pt x="1916" y="16137"/>
                  </a:cubicBezTo>
                  <a:cubicBezTo>
                    <a:pt x="1916" y="16137"/>
                    <a:pt x="1916" y="16137"/>
                    <a:pt x="1916" y="16137"/>
                  </a:cubicBezTo>
                  <a:close/>
                  <a:moveTo>
                    <a:pt x="2015" y="16042"/>
                  </a:moveTo>
                  <a:cubicBezTo>
                    <a:pt x="2187" y="16100"/>
                    <a:pt x="2187" y="16100"/>
                    <a:pt x="2187" y="16100"/>
                  </a:cubicBezTo>
                  <a:cubicBezTo>
                    <a:pt x="2575" y="16120"/>
                    <a:pt x="2575" y="16120"/>
                    <a:pt x="2575" y="16120"/>
                  </a:cubicBezTo>
                  <a:cubicBezTo>
                    <a:pt x="2574" y="16173"/>
                    <a:pt x="2574" y="16237"/>
                    <a:pt x="2573" y="16308"/>
                  </a:cubicBezTo>
                  <a:cubicBezTo>
                    <a:pt x="2184" y="16245"/>
                    <a:pt x="2184" y="16245"/>
                    <a:pt x="2184" y="16245"/>
                  </a:cubicBezTo>
                  <a:cubicBezTo>
                    <a:pt x="2177" y="16241"/>
                    <a:pt x="2117" y="16215"/>
                    <a:pt x="2055" y="16187"/>
                  </a:cubicBezTo>
                  <a:cubicBezTo>
                    <a:pt x="2001" y="16163"/>
                    <a:pt x="1945" y="16138"/>
                    <a:pt x="1925" y="16128"/>
                  </a:cubicBezTo>
                  <a:cubicBezTo>
                    <a:pt x="2015" y="16045"/>
                    <a:pt x="2015" y="16045"/>
                    <a:pt x="2015" y="16045"/>
                  </a:cubicBezTo>
                  <a:lnTo>
                    <a:pt x="2015" y="16042"/>
                  </a:lnTo>
                  <a:close/>
                  <a:moveTo>
                    <a:pt x="2572" y="16676"/>
                  </a:moveTo>
                  <a:cubicBezTo>
                    <a:pt x="2545" y="16675"/>
                    <a:pt x="2505" y="16674"/>
                    <a:pt x="2461" y="16671"/>
                  </a:cubicBezTo>
                  <a:cubicBezTo>
                    <a:pt x="2429" y="16669"/>
                    <a:pt x="2394" y="16666"/>
                    <a:pt x="2362" y="16662"/>
                  </a:cubicBezTo>
                  <a:cubicBezTo>
                    <a:pt x="2227" y="16457"/>
                    <a:pt x="2227" y="16457"/>
                    <a:pt x="2227" y="16457"/>
                  </a:cubicBezTo>
                  <a:cubicBezTo>
                    <a:pt x="2293" y="16277"/>
                    <a:pt x="2293" y="16277"/>
                    <a:pt x="2293" y="16277"/>
                  </a:cubicBezTo>
                  <a:cubicBezTo>
                    <a:pt x="2573" y="16322"/>
                    <a:pt x="2573" y="16322"/>
                    <a:pt x="2573" y="16322"/>
                  </a:cubicBezTo>
                  <a:cubicBezTo>
                    <a:pt x="2573" y="16415"/>
                    <a:pt x="2572" y="16519"/>
                    <a:pt x="2572" y="16629"/>
                  </a:cubicBezTo>
                  <a:cubicBezTo>
                    <a:pt x="2572" y="16644"/>
                    <a:pt x="2572" y="16660"/>
                    <a:pt x="2572" y="16676"/>
                  </a:cubicBezTo>
                  <a:close/>
                  <a:moveTo>
                    <a:pt x="2343" y="16660"/>
                  </a:moveTo>
                  <a:cubicBezTo>
                    <a:pt x="2306" y="16654"/>
                    <a:pt x="2275" y="16647"/>
                    <a:pt x="2257" y="16639"/>
                  </a:cubicBezTo>
                  <a:cubicBezTo>
                    <a:pt x="2219" y="16622"/>
                    <a:pt x="2158" y="16575"/>
                    <a:pt x="2103" y="16527"/>
                  </a:cubicBezTo>
                  <a:cubicBezTo>
                    <a:pt x="2049" y="16480"/>
                    <a:pt x="2001" y="16434"/>
                    <a:pt x="1975" y="16411"/>
                  </a:cubicBezTo>
                  <a:cubicBezTo>
                    <a:pt x="2126" y="16234"/>
                    <a:pt x="2126" y="16234"/>
                    <a:pt x="2126" y="16234"/>
                  </a:cubicBezTo>
                  <a:cubicBezTo>
                    <a:pt x="2157" y="16248"/>
                    <a:pt x="2179" y="16258"/>
                    <a:pt x="2179" y="16258"/>
                  </a:cubicBezTo>
                  <a:cubicBezTo>
                    <a:pt x="2180" y="16258"/>
                    <a:pt x="2180" y="16258"/>
                    <a:pt x="2180" y="16258"/>
                  </a:cubicBezTo>
                  <a:cubicBezTo>
                    <a:pt x="2279" y="16274"/>
                    <a:pt x="2279" y="16274"/>
                    <a:pt x="2279" y="16274"/>
                  </a:cubicBezTo>
                  <a:cubicBezTo>
                    <a:pt x="2211" y="16459"/>
                    <a:pt x="2211" y="16459"/>
                    <a:pt x="2211" y="16459"/>
                  </a:cubicBezTo>
                  <a:lnTo>
                    <a:pt x="2343" y="16660"/>
                  </a:lnTo>
                  <a:close/>
                  <a:moveTo>
                    <a:pt x="1929" y="16459"/>
                  </a:moveTo>
                  <a:cubicBezTo>
                    <a:pt x="1930" y="16459"/>
                    <a:pt x="1930" y="16459"/>
                    <a:pt x="1930" y="16459"/>
                  </a:cubicBezTo>
                  <a:cubicBezTo>
                    <a:pt x="1930" y="16460"/>
                    <a:pt x="1930" y="16460"/>
                    <a:pt x="1930" y="16460"/>
                  </a:cubicBezTo>
                  <a:cubicBezTo>
                    <a:pt x="1953" y="16478"/>
                    <a:pt x="2004" y="16527"/>
                    <a:pt x="2060" y="16576"/>
                  </a:cubicBezTo>
                  <a:cubicBezTo>
                    <a:pt x="2063" y="16579"/>
                    <a:pt x="2067" y="16582"/>
                    <a:pt x="2070" y="16585"/>
                  </a:cubicBezTo>
                  <a:cubicBezTo>
                    <a:pt x="2067" y="16596"/>
                    <a:pt x="2062" y="16612"/>
                    <a:pt x="2056" y="16630"/>
                  </a:cubicBezTo>
                  <a:cubicBezTo>
                    <a:pt x="2046" y="16662"/>
                    <a:pt x="2034" y="16702"/>
                    <a:pt x="2021" y="16744"/>
                  </a:cubicBezTo>
                  <a:cubicBezTo>
                    <a:pt x="1752" y="16519"/>
                    <a:pt x="1752" y="16519"/>
                    <a:pt x="1752" y="16519"/>
                  </a:cubicBezTo>
                  <a:cubicBezTo>
                    <a:pt x="1821" y="16432"/>
                    <a:pt x="1821" y="16432"/>
                    <a:pt x="1821" y="16432"/>
                  </a:cubicBezTo>
                  <a:cubicBezTo>
                    <a:pt x="1826" y="16426"/>
                    <a:pt x="1826" y="16426"/>
                    <a:pt x="1826" y="16426"/>
                  </a:cubicBezTo>
                  <a:cubicBezTo>
                    <a:pt x="1721" y="16344"/>
                    <a:pt x="1721" y="16344"/>
                    <a:pt x="1721" y="16344"/>
                  </a:cubicBezTo>
                  <a:cubicBezTo>
                    <a:pt x="1650" y="16433"/>
                    <a:pt x="1650" y="16433"/>
                    <a:pt x="1650" y="16433"/>
                  </a:cubicBezTo>
                  <a:cubicBezTo>
                    <a:pt x="1623" y="16411"/>
                    <a:pt x="1623" y="16411"/>
                    <a:pt x="1623" y="16411"/>
                  </a:cubicBezTo>
                  <a:cubicBezTo>
                    <a:pt x="1734" y="16275"/>
                    <a:pt x="1734" y="16275"/>
                    <a:pt x="1734" y="16275"/>
                  </a:cubicBezTo>
                  <a:cubicBezTo>
                    <a:pt x="1834" y="16369"/>
                    <a:pt x="1929" y="16458"/>
                    <a:pt x="1929" y="16459"/>
                  </a:cubicBezTo>
                  <a:close/>
                  <a:moveTo>
                    <a:pt x="1363" y="16730"/>
                  </a:moveTo>
                  <a:cubicBezTo>
                    <a:pt x="1365" y="16727"/>
                    <a:pt x="1365" y="16727"/>
                    <a:pt x="1365" y="16727"/>
                  </a:cubicBezTo>
                  <a:cubicBezTo>
                    <a:pt x="1476" y="16591"/>
                    <a:pt x="1476" y="16591"/>
                    <a:pt x="1476" y="16591"/>
                  </a:cubicBezTo>
                  <a:cubicBezTo>
                    <a:pt x="1477" y="16592"/>
                    <a:pt x="1477" y="16593"/>
                    <a:pt x="1478" y="16593"/>
                  </a:cubicBezTo>
                  <a:cubicBezTo>
                    <a:pt x="1485" y="16600"/>
                    <a:pt x="1494" y="16607"/>
                    <a:pt x="1504" y="16616"/>
                  </a:cubicBezTo>
                  <a:cubicBezTo>
                    <a:pt x="1437" y="16699"/>
                    <a:pt x="1437" y="16699"/>
                    <a:pt x="1437" y="16699"/>
                  </a:cubicBezTo>
                  <a:cubicBezTo>
                    <a:pt x="1542" y="16783"/>
                    <a:pt x="1542" y="16783"/>
                    <a:pt x="1542" y="16783"/>
                  </a:cubicBezTo>
                  <a:cubicBezTo>
                    <a:pt x="1605" y="16704"/>
                    <a:pt x="1605" y="16704"/>
                    <a:pt x="1605" y="16704"/>
                  </a:cubicBezTo>
                  <a:cubicBezTo>
                    <a:pt x="1635" y="16729"/>
                    <a:pt x="1667" y="16757"/>
                    <a:pt x="1700" y="16784"/>
                  </a:cubicBezTo>
                  <a:cubicBezTo>
                    <a:pt x="1805" y="16875"/>
                    <a:pt x="1911" y="16964"/>
                    <a:pt x="1936" y="16986"/>
                  </a:cubicBezTo>
                  <a:cubicBezTo>
                    <a:pt x="1828" y="17096"/>
                    <a:pt x="1828" y="17096"/>
                    <a:pt x="1828" y="17096"/>
                  </a:cubicBezTo>
                  <a:cubicBezTo>
                    <a:pt x="1795" y="17063"/>
                    <a:pt x="1754" y="17038"/>
                    <a:pt x="1712" y="17011"/>
                  </a:cubicBezTo>
                  <a:cubicBezTo>
                    <a:pt x="1646" y="16969"/>
                    <a:pt x="1473" y="16886"/>
                    <a:pt x="1383" y="16814"/>
                  </a:cubicBezTo>
                  <a:cubicBezTo>
                    <a:pt x="1351" y="16788"/>
                    <a:pt x="1347" y="16772"/>
                    <a:pt x="1347" y="16762"/>
                  </a:cubicBezTo>
                  <a:cubicBezTo>
                    <a:pt x="1346" y="16748"/>
                    <a:pt x="1360" y="16732"/>
                    <a:pt x="1363" y="16730"/>
                  </a:cubicBezTo>
                  <a:close/>
                  <a:moveTo>
                    <a:pt x="1734" y="16521"/>
                  </a:moveTo>
                  <a:cubicBezTo>
                    <a:pt x="1604" y="16684"/>
                    <a:pt x="1604" y="16684"/>
                    <a:pt x="1604" y="16684"/>
                  </a:cubicBezTo>
                  <a:cubicBezTo>
                    <a:pt x="1573" y="16658"/>
                    <a:pt x="1545" y="16633"/>
                    <a:pt x="1523" y="16614"/>
                  </a:cubicBezTo>
                  <a:cubicBezTo>
                    <a:pt x="1651" y="16452"/>
                    <a:pt x="1651" y="16452"/>
                    <a:pt x="1651" y="16452"/>
                  </a:cubicBezTo>
                  <a:lnTo>
                    <a:pt x="1734" y="16521"/>
                  </a:lnTo>
                  <a:close/>
                  <a:moveTo>
                    <a:pt x="1660" y="16441"/>
                  </a:moveTo>
                  <a:cubicBezTo>
                    <a:pt x="1723" y="16362"/>
                    <a:pt x="1723" y="16362"/>
                    <a:pt x="1723" y="16362"/>
                  </a:cubicBezTo>
                  <a:cubicBezTo>
                    <a:pt x="1807" y="16429"/>
                    <a:pt x="1807" y="16429"/>
                    <a:pt x="1807" y="16429"/>
                  </a:cubicBezTo>
                  <a:cubicBezTo>
                    <a:pt x="1742" y="16510"/>
                    <a:pt x="1742" y="16510"/>
                    <a:pt x="1742" y="16510"/>
                  </a:cubicBezTo>
                  <a:lnTo>
                    <a:pt x="1660" y="16441"/>
                  </a:lnTo>
                  <a:close/>
                  <a:moveTo>
                    <a:pt x="1595" y="16695"/>
                  </a:moveTo>
                  <a:cubicBezTo>
                    <a:pt x="1540" y="16765"/>
                    <a:pt x="1540" y="16765"/>
                    <a:pt x="1540" y="16765"/>
                  </a:cubicBezTo>
                  <a:cubicBezTo>
                    <a:pt x="1456" y="16697"/>
                    <a:pt x="1456" y="16697"/>
                    <a:pt x="1456" y="16697"/>
                  </a:cubicBezTo>
                  <a:cubicBezTo>
                    <a:pt x="1514" y="16625"/>
                    <a:pt x="1514" y="16625"/>
                    <a:pt x="1514" y="16625"/>
                  </a:cubicBezTo>
                  <a:cubicBezTo>
                    <a:pt x="1520" y="16630"/>
                    <a:pt x="1526" y="16635"/>
                    <a:pt x="1533" y="16642"/>
                  </a:cubicBezTo>
                  <a:cubicBezTo>
                    <a:pt x="1552" y="16658"/>
                    <a:pt x="1573" y="16676"/>
                    <a:pt x="1595" y="16695"/>
                  </a:cubicBezTo>
                  <a:close/>
                  <a:moveTo>
                    <a:pt x="1513" y="16605"/>
                  </a:moveTo>
                  <a:cubicBezTo>
                    <a:pt x="1502" y="16595"/>
                    <a:pt x="1492" y="16587"/>
                    <a:pt x="1485" y="16581"/>
                  </a:cubicBezTo>
                  <a:cubicBezTo>
                    <a:pt x="1614" y="16421"/>
                    <a:pt x="1614" y="16421"/>
                    <a:pt x="1614" y="16421"/>
                  </a:cubicBezTo>
                  <a:cubicBezTo>
                    <a:pt x="1641" y="16444"/>
                    <a:pt x="1641" y="16444"/>
                    <a:pt x="1641" y="16444"/>
                  </a:cubicBezTo>
                  <a:lnTo>
                    <a:pt x="1513" y="16605"/>
                  </a:lnTo>
                  <a:close/>
                  <a:moveTo>
                    <a:pt x="1714" y="16779"/>
                  </a:moveTo>
                  <a:cubicBezTo>
                    <a:pt x="1680" y="16750"/>
                    <a:pt x="1646" y="16720"/>
                    <a:pt x="1614" y="16693"/>
                  </a:cubicBezTo>
                  <a:cubicBezTo>
                    <a:pt x="1744" y="16530"/>
                    <a:pt x="1744" y="16530"/>
                    <a:pt x="1744" y="16530"/>
                  </a:cubicBezTo>
                  <a:cubicBezTo>
                    <a:pt x="2017" y="16758"/>
                    <a:pt x="2017" y="16758"/>
                    <a:pt x="2017" y="16758"/>
                  </a:cubicBezTo>
                  <a:cubicBezTo>
                    <a:pt x="2017" y="16758"/>
                    <a:pt x="2017" y="16758"/>
                    <a:pt x="2017" y="16758"/>
                  </a:cubicBezTo>
                  <a:cubicBezTo>
                    <a:pt x="2016" y="16761"/>
                    <a:pt x="2015" y="16765"/>
                    <a:pt x="2014" y="16768"/>
                  </a:cubicBezTo>
                  <a:cubicBezTo>
                    <a:pt x="1986" y="16859"/>
                    <a:pt x="1958" y="16953"/>
                    <a:pt x="1948" y="16978"/>
                  </a:cubicBezTo>
                  <a:cubicBezTo>
                    <a:pt x="1931" y="16963"/>
                    <a:pt x="1823" y="16872"/>
                    <a:pt x="1714" y="16779"/>
                  </a:cubicBezTo>
                  <a:close/>
                  <a:moveTo>
                    <a:pt x="1285" y="16737"/>
                  </a:moveTo>
                  <a:cubicBezTo>
                    <a:pt x="1283" y="16745"/>
                    <a:pt x="1281" y="16753"/>
                    <a:pt x="1281" y="16762"/>
                  </a:cubicBezTo>
                  <a:cubicBezTo>
                    <a:pt x="1281" y="16782"/>
                    <a:pt x="1289" y="16803"/>
                    <a:pt x="1303" y="16824"/>
                  </a:cubicBezTo>
                  <a:cubicBezTo>
                    <a:pt x="1302" y="16825"/>
                    <a:pt x="1301" y="16826"/>
                    <a:pt x="1299" y="16827"/>
                  </a:cubicBezTo>
                  <a:cubicBezTo>
                    <a:pt x="1292" y="16833"/>
                    <a:pt x="1281" y="16841"/>
                    <a:pt x="1268" y="16850"/>
                  </a:cubicBezTo>
                  <a:cubicBezTo>
                    <a:pt x="1242" y="16869"/>
                    <a:pt x="1207" y="16893"/>
                    <a:pt x="1173" y="16918"/>
                  </a:cubicBezTo>
                  <a:cubicBezTo>
                    <a:pt x="1113" y="16960"/>
                    <a:pt x="1054" y="17001"/>
                    <a:pt x="1038" y="17011"/>
                  </a:cubicBezTo>
                  <a:cubicBezTo>
                    <a:pt x="906" y="16906"/>
                    <a:pt x="906" y="16906"/>
                    <a:pt x="906" y="16906"/>
                  </a:cubicBezTo>
                  <a:cubicBezTo>
                    <a:pt x="911" y="16893"/>
                    <a:pt x="925" y="16854"/>
                    <a:pt x="939" y="16812"/>
                  </a:cubicBezTo>
                  <a:cubicBezTo>
                    <a:pt x="953" y="16768"/>
                    <a:pt x="968" y="16724"/>
                    <a:pt x="972" y="16706"/>
                  </a:cubicBezTo>
                  <a:lnTo>
                    <a:pt x="1285" y="16737"/>
                  </a:lnTo>
                  <a:close/>
                  <a:moveTo>
                    <a:pt x="1270" y="16866"/>
                  </a:moveTo>
                  <a:cubicBezTo>
                    <a:pt x="1207" y="16974"/>
                    <a:pt x="1207" y="16974"/>
                    <a:pt x="1207" y="16974"/>
                  </a:cubicBezTo>
                  <a:cubicBezTo>
                    <a:pt x="1326" y="17044"/>
                    <a:pt x="1326" y="17044"/>
                    <a:pt x="1326" y="17044"/>
                  </a:cubicBezTo>
                  <a:cubicBezTo>
                    <a:pt x="1396" y="16925"/>
                    <a:pt x="1396" y="16925"/>
                    <a:pt x="1396" y="16925"/>
                  </a:cubicBezTo>
                  <a:cubicBezTo>
                    <a:pt x="1282" y="16858"/>
                    <a:pt x="1282" y="16858"/>
                    <a:pt x="1282" y="16858"/>
                  </a:cubicBezTo>
                  <a:cubicBezTo>
                    <a:pt x="1281" y="16858"/>
                    <a:pt x="1281" y="16858"/>
                    <a:pt x="1281" y="16858"/>
                  </a:cubicBezTo>
                  <a:cubicBezTo>
                    <a:pt x="1294" y="16849"/>
                    <a:pt x="1304" y="16841"/>
                    <a:pt x="1311" y="16836"/>
                  </a:cubicBezTo>
                  <a:cubicBezTo>
                    <a:pt x="1320" y="16846"/>
                    <a:pt x="1329" y="16856"/>
                    <a:pt x="1342" y="16866"/>
                  </a:cubicBezTo>
                  <a:cubicBezTo>
                    <a:pt x="1365" y="16884"/>
                    <a:pt x="1393" y="16903"/>
                    <a:pt x="1422" y="16921"/>
                  </a:cubicBezTo>
                  <a:cubicBezTo>
                    <a:pt x="1204" y="17223"/>
                    <a:pt x="1204" y="17223"/>
                    <a:pt x="1204" y="17223"/>
                  </a:cubicBezTo>
                  <a:cubicBezTo>
                    <a:pt x="1216" y="17231"/>
                    <a:pt x="1216" y="17231"/>
                    <a:pt x="1216" y="17231"/>
                  </a:cubicBezTo>
                  <a:cubicBezTo>
                    <a:pt x="1434" y="16929"/>
                    <a:pt x="1434" y="16929"/>
                    <a:pt x="1434" y="16929"/>
                  </a:cubicBezTo>
                  <a:cubicBezTo>
                    <a:pt x="1505" y="16972"/>
                    <a:pt x="1583" y="17013"/>
                    <a:pt x="1636" y="17042"/>
                  </a:cubicBezTo>
                  <a:cubicBezTo>
                    <a:pt x="1514" y="17323"/>
                    <a:pt x="1514" y="17323"/>
                    <a:pt x="1514" y="17323"/>
                  </a:cubicBezTo>
                  <a:cubicBezTo>
                    <a:pt x="1212" y="17236"/>
                    <a:pt x="1212" y="17236"/>
                    <a:pt x="1212" y="17236"/>
                  </a:cubicBezTo>
                  <a:cubicBezTo>
                    <a:pt x="1048" y="17022"/>
                    <a:pt x="1048" y="17022"/>
                    <a:pt x="1048" y="17022"/>
                  </a:cubicBezTo>
                  <a:cubicBezTo>
                    <a:pt x="1075" y="17003"/>
                    <a:pt x="1199" y="16917"/>
                    <a:pt x="1270" y="16866"/>
                  </a:cubicBezTo>
                  <a:close/>
                  <a:moveTo>
                    <a:pt x="1281" y="16873"/>
                  </a:moveTo>
                  <a:cubicBezTo>
                    <a:pt x="1378" y="16929"/>
                    <a:pt x="1378" y="16929"/>
                    <a:pt x="1378" y="16929"/>
                  </a:cubicBezTo>
                  <a:cubicBezTo>
                    <a:pt x="1321" y="17026"/>
                    <a:pt x="1321" y="17026"/>
                    <a:pt x="1321" y="17026"/>
                  </a:cubicBezTo>
                  <a:cubicBezTo>
                    <a:pt x="1225" y="16969"/>
                    <a:pt x="1225" y="16969"/>
                    <a:pt x="1225" y="16969"/>
                  </a:cubicBezTo>
                  <a:lnTo>
                    <a:pt x="1281" y="16873"/>
                  </a:lnTo>
                  <a:close/>
                  <a:moveTo>
                    <a:pt x="1648" y="17049"/>
                  </a:moveTo>
                  <a:cubicBezTo>
                    <a:pt x="1659" y="17056"/>
                    <a:pt x="1669" y="17062"/>
                    <a:pt x="1677" y="17067"/>
                  </a:cubicBezTo>
                  <a:cubicBezTo>
                    <a:pt x="1741" y="17107"/>
                    <a:pt x="1790" y="17138"/>
                    <a:pt x="1811" y="17182"/>
                  </a:cubicBezTo>
                  <a:cubicBezTo>
                    <a:pt x="1822" y="17204"/>
                    <a:pt x="1831" y="17228"/>
                    <a:pt x="1837" y="17249"/>
                  </a:cubicBezTo>
                  <a:cubicBezTo>
                    <a:pt x="1844" y="17269"/>
                    <a:pt x="1848" y="17284"/>
                    <a:pt x="1855" y="17299"/>
                  </a:cubicBezTo>
                  <a:cubicBezTo>
                    <a:pt x="1810" y="17408"/>
                    <a:pt x="1810" y="17408"/>
                    <a:pt x="1810" y="17408"/>
                  </a:cubicBezTo>
                  <a:cubicBezTo>
                    <a:pt x="1527" y="17327"/>
                    <a:pt x="1527" y="17327"/>
                    <a:pt x="1527" y="17327"/>
                  </a:cubicBezTo>
                  <a:lnTo>
                    <a:pt x="1648" y="17049"/>
                  </a:lnTo>
                  <a:close/>
                  <a:moveTo>
                    <a:pt x="2231" y="16793"/>
                  </a:moveTo>
                  <a:cubicBezTo>
                    <a:pt x="2245" y="16793"/>
                    <a:pt x="2346" y="16801"/>
                    <a:pt x="2438" y="16808"/>
                  </a:cubicBezTo>
                  <a:cubicBezTo>
                    <a:pt x="2439" y="16908"/>
                    <a:pt x="2439" y="16908"/>
                    <a:pt x="2439" y="16908"/>
                  </a:cubicBezTo>
                  <a:cubicBezTo>
                    <a:pt x="2224" y="16886"/>
                    <a:pt x="2224" y="16886"/>
                    <a:pt x="2224" y="16886"/>
                  </a:cubicBezTo>
                  <a:cubicBezTo>
                    <a:pt x="2223" y="16900"/>
                    <a:pt x="2223" y="16900"/>
                    <a:pt x="2223" y="16900"/>
                  </a:cubicBezTo>
                  <a:cubicBezTo>
                    <a:pt x="2439" y="16922"/>
                    <a:pt x="2439" y="16922"/>
                    <a:pt x="2439" y="16922"/>
                  </a:cubicBezTo>
                  <a:cubicBezTo>
                    <a:pt x="2439" y="17030"/>
                    <a:pt x="2439" y="17030"/>
                    <a:pt x="2439" y="17030"/>
                  </a:cubicBezTo>
                  <a:cubicBezTo>
                    <a:pt x="2216" y="17016"/>
                    <a:pt x="2216" y="17016"/>
                    <a:pt x="2216" y="17016"/>
                  </a:cubicBezTo>
                  <a:cubicBezTo>
                    <a:pt x="2215" y="17030"/>
                    <a:pt x="2215" y="17030"/>
                    <a:pt x="2215" y="17030"/>
                  </a:cubicBezTo>
                  <a:cubicBezTo>
                    <a:pt x="2439" y="17044"/>
                    <a:pt x="2439" y="17044"/>
                    <a:pt x="2439" y="17044"/>
                  </a:cubicBezTo>
                  <a:cubicBezTo>
                    <a:pt x="2440" y="17202"/>
                    <a:pt x="2440" y="17202"/>
                    <a:pt x="2440" y="17202"/>
                  </a:cubicBezTo>
                  <a:cubicBezTo>
                    <a:pt x="2201" y="17163"/>
                    <a:pt x="2201" y="17163"/>
                    <a:pt x="2201" y="17163"/>
                  </a:cubicBezTo>
                  <a:lnTo>
                    <a:pt x="2231" y="16793"/>
                  </a:lnTo>
                  <a:close/>
                  <a:moveTo>
                    <a:pt x="2573" y="16819"/>
                  </a:moveTo>
                  <a:cubicBezTo>
                    <a:pt x="2573" y="16852"/>
                    <a:pt x="2573" y="16886"/>
                    <a:pt x="2573" y="16920"/>
                  </a:cubicBezTo>
                  <a:cubicBezTo>
                    <a:pt x="2573" y="16921"/>
                    <a:pt x="2574" y="16922"/>
                    <a:pt x="2574" y="16922"/>
                  </a:cubicBezTo>
                  <a:cubicBezTo>
                    <a:pt x="2570" y="16922"/>
                    <a:pt x="2570" y="16922"/>
                    <a:pt x="2570" y="16922"/>
                  </a:cubicBezTo>
                  <a:cubicBezTo>
                    <a:pt x="2569" y="16818"/>
                    <a:pt x="2569" y="16818"/>
                    <a:pt x="2569" y="16818"/>
                  </a:cubicBezTo>
                  <a:cubicBezTo>
                    <a:pt x="2570" y="16818"/>
                    <a:pt x="2572" y="16819"/>
                    <a:pt x="2573" y="16819"/>
                  </a:cubicBezTo>
                  <a:close/>
                  <a:moveTo>
                    <a:pt x="2574" y="16936"/>
                  </a:moveTo>
                  <a:cubicBezTo>
                    <a:pt x="2574" y="16971"/>
                    <a:pt x="2574" y="17005"/>
                    <a:pt x="2575" y="17039"/>
                  </a:cubicBezTo>
                  <a:cubicBezTo>
                    <a:pt x="2572" y="17039"/>
                    <a:pt x="2572" y="17039"/>
                    <a:pt x="2572" y="17039"/>
                  </a:cubicBezTo>
                  <a:cubicBezTo>
                    <a:pt x="2570" y="16936"/>
                    <a:pt x="2570" y="16936"/>
                    <a:pt x="2570" y="16936"/>
                  </a:cubicBezTo>
                  <a:lnTo>
                    <a:pt x="2574" y="16936"/>
                  </a:lnTo>
                  <a:close/>
                  <a:moveTo>
                    <a:pt x="2575" y="17053"/>
                  </a:moveTo>
                  <a:cubicBezTo>
                    <a:pt x="2576" y="17112"/>
                    <a:pt x="2577" y="17170"/>
                    <a:pt x="2578" y="17225"/>
                  </a:cubicBezTo>
                  <a:cubicBezTo>
                    <a:pt x="2574" y="17225"/>
                    <a:pt x="2574" y="17225"/>
                    <a:pt x="2574" y="17225"/>
                  </a:cubicBezTo>
                  <a:cubicBezTo>
                    <a:pt x="2572" y="17053"/>
                    <a:pt x="2572" y="17053"/>
                    <a:pt x="2572" y="17053"/>
                  </a:cubicBezTo>
                  <a:lnTo>
                    <a:pt x="2575" y="17053"/>
                  </a:lnTo>
                  <a:close/>
                  <a:moveTo>
                    <a:pt x="2575" y="16006"/>
                  </a:moveTo>
                  <a:cubicBezTo>
                    <a:pt x="2575" y="16031"/>
                    <a:pt x="2575" y="16065"/>
                    <a:pt x="2575" y="16107"/>
                  </a:cubicBezTo>
                  <a:cubicBezTo>
                    <a:pt x="2189" y="16087"/>
                    <a:pt x="2189" y="16087"/>
                    <a:pt x="2189" y="16087"/>
                  </a:cubicBezTo>
                  <a:cubicBezTo>
                    <a:pt x="2014" y="16027"/>
                    <a:pt x="2014" y="16027"/>
                    <a:pt x="2014" y="16027"/>
                  </a:cubicBezTo>
                  <a:cubicBezTo>
                    <a:pt x="2007" y="15925"/>
                    <a:pt x="2007" y="15925"/>
                    <a:pt x="2007" y="15925"/>
                  </a:cubicBezTo>
                  <a:cubicBezTo>
                    <a:pt x="2050" y="15920"/>
                    <a:pt x="2293" y="15891"/>
                    <a:pt x="2328" y="15886"/>
                  </a:cubicBezTo>
                  <a:cubicBezTo>
                    <a:pt x="2331" y="15885"/>
                    <a:pt x="2331" y="15885"/>
                    <a:pt x="2332" y="15885"/>
                  </a:cubicBezTo>
                  <a:cubicBezTo>
                    <a:pt x="2333" y="15886"/>
                    <a:pt x="2334" y="15888"/>
                    <a:pt x="2334" y="15889"/>
                  </a:cubicBezTo>
                  <a:cubicBezTo>
                    <a:pt x="2336" y="15893"/>
                    <a:pt x="2336" y="15894"/>
                    <a:pt x="2336" y="15894"/>
                  </a:cubicBezTo>
                  <a:cubicBezTo>
                    <a:pt x="2343" y="15913"/>
                    <a:pt x="2343" y="15913"/>
                    <a:pt x="2343" y="15913"/>
                  </a:cubicBezTo>
                  <a:cubicBezTo>
                    <a:pt x="2580" y="15946"/>
                    <a:pt x="2580" y="15946"/>
                    <a:pt x="2580" y="15946"/>
                  </a:cubicBezTo>
                  <a:cubicBezTo>
                    <a:pt x="2577" y="15965"/>
                    <a:pt x="2575" y="15985"/>
                    <a:pt x="2575" y="16006"/>
                  </a:cubicBezTo>
                  <a:close/>
                  <a:moveTo>
                    <a:pt x="2316" y="15873"/>
                  </a:moveTo>
                  <a:cubicBezTo>
                    <a:pt x="2307" y="15874"/>
                    <a:pt x="2294" y="15876"/>
                    <a:pt x="2279" y="15878"/>
                  </a:cubicBezTo>
                  <a:cubicBezTo>
                    <a:pt x="2248" y="15882"/>
                    <a:pt x="2206" y="15887"/>
                    <a:pt x="2165" y="15892"/>
                  </a:cubicBezTo>
                  <a:cubicBezTo>
                    <a:pt x="2082" y="15902"/>
                    <a:pt x="1999" y="15912"/>
                    <a:pt x="1999" y="15912"/>
                  </a:cubicBezTo>
                  <a:cubicBezTo>
                    <a:pt x="1992" y="15913"/>
                    <a:pt x="1992" y="15913"/>
                    <a:pt x="1992" y="15913"/>
                  </a:cubicBezTo>
                  <a:cubicBezTo>
                    <a:pt x="2001" y="16039"/>
                    <a:pt x="2001" y="16039"/>
                    <a:pt x="2001" y="16039"/>
                  </a:cubicBezTo>
                  <a:cubicBezTo>
                    <a:pt x="1788" y="16236"/>
                    <a:pt x="1788" y="16236"/>
                    <a:pt x="1788" y="16236"/>
                  </a:cubicBezTo>
                  <a:cubicBezTo>
                    <a:pt x="1700" y="16153"/>
                    <a:pt x="1606" y="16064"/>
                    <a:pt x="1569" y="16029"/>
                  </a:cubicBezTo>
                  <a:cubicBezTo>
                    <a:pt x="1792" y="15699"/>
                    <a:pt x="1792" y="15699"/>
                    <a:pt x="1792" y="15699"/>
                  </a:cubicBezTo>
                  <a:cubicBezTo>
                    <a:pt x="1889" y="15757"/>
                    <a:pt x="1889" y="15757"/>
                    <a:pt x="1889" y="15757"/>
                  </a:cubicBezTo>
                  <a:cubicBezTo>
                    <a:pt x="2006" y="15556"/>
                    <a:pt x="2006" y="15556"/>
                    <a:pt x="2006" y="15556"/>
                  </a:cubicBezTo>
                  <a:cubicBezTo>
                    <a:pt x="2008" y="15555"/>
                    <a:pt x="2011" y="15554"/>
                    <a:pt x="2014" y="15552"/>
                  </a:cubicBezTo>
                  <a:cubicBezTo>
                    <a:pt x="2059" y="15586"/>
                    <a:pt x="2095" y="15613"/>
                    <a:pt x="2118" y="15630"/>
                  </a:cubicBezTo>
                  <a:cubicBezTo>
                    <a:pt x="2245" y="15724"/>
                    <a:pt x="2305" y="15828"/>
                    <a:pt x="2326" y="15872"/>
                  </a:cubicBezTo>
                  <a:cubicBezTo>
                    <a:pt x="2324" y="15872"/>
                    <a:pt x="2321" y="15873"/>
                    <a:pt x="2316" y="15873"/>
                  </a:cubicBezTo>
                  <a:close/>
                  <a:moveTo>
                    <a:pt x="2144" y="15567"/>
                  </a:moveTo>
                  <a:cubicBezTo>
                    <a:pt x="2122" y="15551"/>
                    <a:pt x="2093" y="15529"/>
                    <a:pt x="2059" y="15503"/>
                  </a:cubicBezTo>
                  <a:cubicBezTo>
                    <a:pt x="2146" y="15344"/>
                    <a:pt x="2363" y="14933"/>
                    <a:pt x="2388" y="14884"/>
                  </a:cubicBezTo>
                  <a:cubicBezTo>
                    <a:pt x="2587" y="15088"/>
                    <a:pt x="2587" y="15088"/>
                    <a:pt x="2587" y="15088"/>
                  </a:cubicBezTo>
                  <a:cubicBezTo>
                    <a:pt x="2639" y="15344"/>
                    <a:pt x="2639" y="15344"/>
                    <a:pt x="2639" y="15344"/>
                  </a:cubicBezTo>
                  <a:cubicBezTo>
                    <a:pt x="2597" y="15384"/>
                    <a:pt x="2566" y="15415"/>
                    <a:pt x="2554" y="15426"/>
                  </a:cubicBezTo>
                  <a:cubicBezTo>
                    <a:pt x="2550" y="15428"/>
                    <a:pt x="2543" y="15432"/>
                    <a:pt x="2534" y="15437"/>
                  </a:cubicBezTo>
                  <a:cubicBezTo>
                    <a:pt x="2519" y="15445"/>
                    <a:pt x="2497" y="15456"/>
                    <a:pt x="2472" y="15468"/>
                  </a:cubicBezTo>
                  <a:cubicBezTo>
                    <a:pt x="2421" y="15491"/>
                    <a:pt x="2354" y="15518"/>
                    <a:pt x="2292" y="15531"/>
                  </a:cubicBezTo>
                  <a:cubicBezTo>
                    <a:pt x="2208" y="15549"/>
                    <a:pt x="2165" y="15561"/>
                    <a:pt x="2144" y="15567"/>
                  </a:cubicBezTo>
                  <a:close/>
                  <a:moveTo>
                    <a:pt x="2590" y="15481"/>
                  </a:moveTo>
                  <a:cubicBezTo>
                    <a:pt x="2593" y="15479"/>
                    <a:pt x="2593" y="15479"/>
                    <a:pt x="2593" y="15479"/>
                  </a:cubicBezTo>
                  <a:cubicBezTo>
                    <a:pt x="2596" y="15477"/>
                    <a:pt x="2596" y="15477"/>
                    <a:pt x="2596" y="15477"/>
                  </a:cubicBezTo>
                  <a:cubicBezTo>
                    <a:pt x="2615" y="15459"/>
                    <a:pt x="2721" y="15354"/>
                    <a:pt x="2840" y="15246"/>
                  </a:cubicBezTo>
                  <a:cubicBezTo>
                    <a:pt x="2845" y="15251"/>
                    <a:pt x="2850" y="15258"/>
                    <a:pt x="2855" y="15265"/>
                  </a:cubicBezTo>
                  <a:cubicBezTo>
                    <a:pt x="2876" y="15292"/>
                    <a:pt x="2905" y="15328"/>
                    <a:pt x="2933" y="15365"/>
                  </a:cubicBezTo>
                  <a:cubicBezTo>
                    <a:pt x="2979" y="15423"/>
                    <a:pt x="3025" y="15484"/>
                    <a:pt x="3043" y="15508"/>
                  </a:cubicBezTo>
                  <a:cubicBezTo>
                    <a:pt x="2892" y="15592"/>
                    <a:pt x="2892" y="15592"/>
                    <a:pt x="2892" y="15592"/>
                  </a:cubicBezTo>
                  <a:cubicBezTo>
                    <a:pt x="2876" y="15598"/>
                    <a:pt x="2807" y="15625"/>
                    <a:pt x="2736" y="15683"/>
                  </a:cubicBezTo>
                  <a:cubicBezTo>
                    <a:pt x="2714" y="15701"/>
                    <a:pt x="2691" y="15723"/>
                    <a:pt x="2670" y="15748"/>
                  </a:cubicBezTo>
                  <a:cubicBezTo>
                    <a:pt x="2670" y="15748"/>
                    <a:pt x="2670" y="15748"/>
                    <a:pt x="2670" y="15747"/>
                  </a:cubicBezTo>
                  <a:cubicBezTo>
                    <a:pt x="2667" y="15743"/>
                    <a:pt x="2663" y="15737"/>
                    <a:pt x="2659" y="15729"/>
                  </a:cubicBezTo>
                  <a:cubicBezTo>
                    <a:pt x="2649" y="15715"/>
                    <a:pt x="2636" y="15695"/>
                    <a:pt x="2622" y="15673"/>
                  </a:cubicBezTo>
                  <a:cubicBezTo>
                    <a:pt x="2593" y="15629"/>
                    <a:pt x="2558" y="15577"/>
                    <a:pt x="2534" y="15540"/>
                  </a:cubicBezTo>
                  <a:cubicBezTo>
                    <a:pt x="2529" y="15531"/>
                    <a:pt x="2524" y="15524"/>
                    <a:pt x="2520" y="15518"/>
                  </a:cubicBezTo>
                  <a:cubicBezTo>
                    <a:pt x="2562" y="15497"/>
                    <a:pt x="2589" y="15481"/>
                    <a:pt x="2590" y="15481"/>
                  </a:cubicBezTo>
                  <a:close/>
                  <a:moveTo>
                    <a:pt x="2752" y="15757"/>
                  </a:moveTo>
                  <a:cubicBezTo>
                    <a:pt x="2811" y="15700"/>
                    <a:pt x="2879" y="15668"/>
                    <a:pt x="2906" y="15657"/>
                  </a:cubicBezTo>
                  <a:cubicBezTo>
                    <a:pt x="2913" y="15654"/>
                    <a:pt x="2917" y="15653"/>
                    <a:pt x="2917" y="15653"/>
                  </a:cubicBezTo>
                  <a:cubicBezTo>
                    <a:pt x="2919" y="15652"/>
                    <a:pt x="2919" y="15652"/>
                    <a:pt x="2919" y="15652"/>
                  </a:cubicBezTo>
                  <a:cubicBezTo>
                    <a:pt x="2920" y="15653"/>
                    <a:pt x="2921" y="15654"/>
                    <a:pt x="2922" y="15655"/>
                  </a:cubicBezTo>
                  <a:cubicBezTo>
                    <a:pt x="2929" y="15662"/>
                    <a:pt x="2939" y="15672"/>
                    <a:pt x="2951" y="15684"/>
                  </a:cubicBezTo>
                  <a:cubicBezTo>
                    <a:pt x="2975" y="15708"/>
                    <a:pt x="3008" y="15740"/>
                    <a:pt x="3040" y="15772"/>
                  </a:cubicBezTo>
                  <a:cubicBezTo>
                    <a:pt x="3089" y="15821"/>
                    <a:pt x="3138" y="15869"/>
                    <a:pt x="3159" y="15890"/>
                  </a:cubicBezTo>
                  <a:cubicBezTo>
                    <a:pt x="3159" y="15890"/>
                    <a:pt x="3159" y="15890"/>
                    <a:pt x="3159" y="15890"/>
                  </a:cubicBezTo>
                  <a:cubicBezTo>
                    <a:pt x="3159" y="15890"/>
                    <a:pt x="3159" y="15890"/>
                    <a:pt x="3159" y="15890"/>
                  </a:cubicBezTo>
                  <a:cubicBezTo>
                    <a:pt x="3159" y="15890"/>
                    <a:pt x="3159" y="15890"/>
                    <a:pt x="3159" y="15890"/>
                  </a:cubicBezTo>
                  <a:cubicBezTo>
                    <a:pt x="3159" y="15896"/>
                    <a:pt x="3156" y="15927"/>
                    <a:pt x="3152" y="15966"/>
                  </a:cubicBezTo>
                  <a:cubicBezTo>
                    <a:pt x="2654" y="15914"/>
                    <a:pt x="2654" y="15914"/>
                    <a:pt x="2654" y="15914"/>
                  </a:cubicBezTo>
                  <a:cubicBezTo>
                    <a:pt x="2672" y="15848"/>
                    <a:pt x="2710" y="15797"/>
                    <a:pt x="2752" y="15757"/>
                  </a:cubicBezTo>
                  <a:close/>
                  <a:moveTo>
                    <a:pt x="3172" y="15901"/>
                  </a:moveTo>
                  <a:cubicBezTo>
                    <a:pt x="3446" y="16017"/>
                    <a:pt x="3446" y="16017"/>
                    <a:pt x="3446" y="16017"/>
                  </a:cubicBezTo>
                  <a:cubicBezTo>
                    <a:pt x="3570" y="16261"/>
                    <a:pt x="3570" y="16261"/>
                    <a:pt x="3570" y="16261"/>
                  </a:cubicBezTo>
                  <a:cubicBezTo>
                    <a:pt x="3374" y="16587"/>
                    <a:pt x="3374" y="16587"/>
                    <a:pt x="3374" y="16587"/>
                  </a:cubicBezTo>
                  <a:cubicBezTo>
                    <a:pt x="3371" y="16586"/>
                    <a:pt x="3369" y="16585"/>
                    <a:pt x="3364" y="16585"/>
                  </a:cubicBezTo>
                  <a:cubicBezTo>
                    <a:pt x="3359" y="16585"/>
                    <a:pt x="3355" y="16587"/>
                    <a:pt x="3352" y="16589"/>
                  </a:cubicBezTo>
                  <a:cubicBezTo>
                    <a:pt x="3351" y="16589"/>
                    <a:pt x="3351" y="16589"/>
                    <a:pt x="3351" y="16589"/>
                  </a:cubicBezTo>
                  <a:cubicBezTo>
                    <a:pt x="3346" y="16590"/>
                    <a:pt x="3338" y="16592"/>
                    <a:pt x="3328" y="16593"/>
                  </a:cubicBezTo>
                  <a:cubicBezTo>
                    <a:pt x="3308" y="16597"/>
                    <a:pt x="3278" y="16601"/>
                    <a:pt x="3243" y="16606"/>
                  </a:cubicBezTo>
                  <a:cubicBezTo>
                    <a:pt x="3199" y="16611"/>
                    <a:pt x="3146" y="16618"/>
                    <a:pt x="3089" y="16625"/>
                  </a:cubicBezTo>
                  <a:cubicBezTo>
                    <a:pt x="3198" y="16266"/>
                    <a:pt x="3198" y="16266"/>
                    <a:pt x="3198" y="16266"/>
                  </a:cubicBezTo>
                  <a:cubicBezTo>
                    <a:pt x="3138" y="16210"/>
                    <a:pt x="3138" y="16210"/>
                    <a:pt x="3138" y="16210"/>
                  </a:cubicBezTo>
                  <a:cubicBezTo>
                    <a:pt x="3142" y="16179"/>
                    <a:pt x="3168" y="15957"/>
                    <a:pt x="3172" y="15901"/>
                  </a:cubicBezTo>
                  <a:close/>
                  <a:moveTo>
                    <a:pt x="4486" y="16099"/>
                  </a:moveTo>
                  <a:cubicBezTo>
                    <a:pt x="4479" y="16059"/>
                    <a:pt x="4466" y="15990"/>
                    <a:pt x="4451" y="15914"/>
                  </a:cubicBezTo>
                  <a:cubicBezTo>
                    <a:pt x="4450" y="15909"/>
                    <a:pt x="4449" y="15903"/>
                    <a:pt x="4448" y="15898"/>
                  </a:cubicBezTo>
                  <a:cubicBezTo>
                    <a:pt x="4472" y="15892"/>
                    <a:pt x="4524" y="15879"/>
                    <a:pt x="4577" y="15866"/>
                  </a:cubicBezTo>
                  <a:cubicBezTo>
                    <a:pt x="4647" y="15848"/>
                    <a:pt x="4720" y="15830"/>
                    <a:pt x="4723" y="15830"/>
                  </a:cubicBezTo>
                  <a:cubicBezTo>
                    <a:pt x="4815" y="15849"/>
                    <a:pt x="4815" y="15849"/>
                    <a:pt x="4815" y="15849"/>
                  </a:cubicBezTo>
                  <a:cubicBezTo>
                    <a:pt x="4806" y="16097"/>
                    <a:pt x="4806" y="16097"/>
                    <a:pt x="4806" y="16097"/>
                  </a:cubicBezTo>
                  <a:lnTo>
                    <a:pt x="4486" y="16099"/>
                  </a:lnTo>
                  <a:close/>
                  <a:moveTo>
                    <a:pt x="5131" y="15873"/>
                  </a:moveTo>
                  <a:cubicBezTo>
                    <a:pt x="5136" y="15885"/>
                    <a:pt x="5136" y="15885"/>
                    <a:pt x="5136" y="15885"/>
                  </a:cubicBezTo>
                  <a:cubicBezTo>
                    <a:pt x="5136" y="15885"/>
                    <a:pt x="5136" y="15885"/>
                    <a:pt x="5136" y="15885"/>
                  </a:cubicBezTo>
                  <a:cubicBezTo>
                    <a:pt x="5137" y="15885"/>
                    <a:pt x="5139" y="15885"/>
                    <a:pt x="5140" y="15884"/>
                  </a:cubicBezTo>
                  <a:cubicBezTo>
                    <a:pt x="5144" y="15884"/>
                    <a:pt x="5149" y="15884"/>
                    <a:pt x="5155" y="15884"/>
                  </a:cubicBezTo>
                  <a:cubicBezTo>
                    <a:pt x="5167" y="15883"/>
                    <a:pt x="5184" y="15883"/>
                    <a:pt x="5205" y="15883"/>
                  </a:cubicBezTo>
                  <a:cubicBezTo>
                    <a:pt x="5245" y="15882"/>
                    <a:pt x="5298" y="15881"/>
                    <a:pt x="5351" y="15881"/>
                  </a:cubicBezTo>
                  <a:cubicBezTo>
                    <a:pt x="5440" y="15880"/>
                    <a:pt x="5529" y="15879"/>
                    <a:pt x="5553" y="15879"/>
                  </a:cubicBezTo>
                  <a:cubicBezTo>
                    <a:pt x="5568" y="16090"/>
                    <a:pt x="5568" y="16090"/>
                    <a:pt x="5568" y="16090"/>
                  </a:cubicBezTo>
                  <a:cubicBezTo>
                    <a:pt x="5120" y="16094"/>
                    <a:pt x="5120" y="16094"/>
                    <a:pt x="5120" y="16094"/>
                  </a:cubicBezTo>
                  <a:lnTo>
                    <a:pt x="5131" y="15873"/>
                  </a:lnTo>
                  <a:close/>
                  <a:moveTo>
                    <a:pt x="5566" y="15865"/>
                  </a:moveTo>
                  <a:cubicBezTo>
                    <a:pt x="5560" y="15865"/>
                    <a:pt x="5560" y="15865"/>
                    <a:pt x="5560" y="15865"/>
                  </a:cubicBezTo>
                  <a:cubicBezTo>
                    <a:pt x="5560" y="15865"/>
                    <a:pt x="5241" y="15867"/>
                    <a:pt x="5155" y="15870"/>
                  </a:cubicBezTo>
                  <a:cubicBezTo>
                    <a:pt x="5142" y="15870"/>
                    <a:pt x="5136" y="15870"/>
                    <a:pt x="5131" y="15872"/>
                  </a:cubicBezTo>
                  <a:cubicBezTo>
                    <a:pt x="5142" y="15668"/>
                    <a:pt x="5142" y="15668"/>
                    <a:pt x="5142" y="15668"/>
                  </a:cubicBezTo>
                  <a:cubicBezTo>
                    <a:pt x="5170" y="15660"/>
                    <a:pt x="5316" y="15616"/>
                    <a:pt x="5464" y="15572"/>
                  </a:cubicBezTo>
                  <a:cubicBezTo>
                    <a:pt x="5613" y="15527"/>
                    <a:pt x="5765" y="15482"/>
                    <a:pt x="5793" y="15474"/>
                  </a:cubicBezTo>
                  <a:cubicBezTo>
                    <a:pt x="5793" y="15475"/>
                    <a:pt x="5793" y="15476"/>
                    <a:pt x="5794" y="15478"/>
                  </a:cubicBezTo>
                  <a:cubicBezTo>
                    <a:pt x="5795" y="15483"/>
                    <a:pt x="5797" y="15492"/>
                    <a:pt x="5799" y="15502"/>
                  </a:cubicBezTo>
                  <a:cubicBezTo>
                    <a:pt x="5803" y="15523"/>
                    <a:pt x="5807" y="15551"/>
                    <a:pt x="5811" y="15579"/>
                  </a:cubicBezTo>
                  <a:cubicBezTo>
                    <a:pt x="5819" y="15635"/>
                    <a:pt x="5826" y="15690"/>
                    <a:pt x="5826" y="15691"/>
                  </a:cubicBezTo>
                  <a:cubicBezTo>
                    <a:pt x="5826" y="15695"/>
                    <a:pt x="5826" y="15695"/>
                    <a:pt x="5826" y="15695"/>
                  </a:cubicBezTo>
                  <a:cubicBezTo>
                    <a:pt x="6128" y="15767"/>
                    <a:pt x="6128" y="15767"/>
                    <a:pt x="6128" y="15767"/>
                  </a:cubicBezTo>
                  <a:cubicBezTo>
                    <a:pt x="6140" y="15921"/>
                    <a:pt x="6140" y="15921"/>
                    <a:pt x="6140" y="15921"/>
                  </a:cubicBezTo>
                  <a:cubicBezTo>
                    <a:pt x="5915" y="16087"/>
                    <a:pt x="5915" y="16087"/>
                    <a:pt x="5915" y="16087"/>
                  </a:cubicBezTo>
                  <a:cubicBezTo>
                    <a:pt x="5582" y="16090"/>
                    <a:pt x="5582" y="16090"/>
                    <a:pt x="5582" y="16090"/>
                  </a:cubicBezTo>
                  <a:lnTo>
                    <a:pt x="5566" y="15865"/>
                  </a:lnTo>
                  <a:close/>
                  <a:moveTo>
                    <a:pt x="6185" y="15969"/>
                  </a:moveTo>
                  <a:cubicBezTo>
                    <a:pt x="6256" y="15972"/>
                    <a:pt x="6256" y="15972"/>
                    <a:pt x="6256" y="15972"/>
                  </a:cubicBezTo>
                  <a:cubicBezTo>
                    <a:pt x="6256" y="16048"/>
                    <a:pt x="6255" y="16304"/>
                    <a:pt x="6248" y="16486"/>
                  </a:cubicBezTo>
                  <a:cubicBezTo>
                    <a:pt x="6246" y="16547"/>
                    <a:pt x="6229" y="16591"/>
                    <a:pt x="6206" y="16613"/>
                  </a:cubicBezTo>
                  <a:cubicBezTo>
                    <a:pt x="6166" y="16652"/>
                    <a:pt x="6099" y="16663"/>
                    <a:pt x="6058" y="16663"/>
                  </a:cubicBezTo>
                  <a:cubicBezTo>
                    <a:pt x="6055" y="16663"/>
                    <a:pt x="6052" y="16663"/>
                    <a:pt x="6049" y="16662"/>
                  </a:cubicBezTo>
                  <a:cubicBezTo>
                    <a:pt x="6035" y="16492"/>
                    <a:pt x="5978" y="16212"/>
                    <a:pt x="5962" y="16134"/>
                  </a:cubicBezTo>
                  <a:lnTo>
                    <a:pt x="6185" y="15969"/>
                  </a:lnTo>
                  <a:close/>
                  <a:moveTo>
                    <a:pt x="6526" y="17014"/>
                  </a:moveTo>
                  <a:cubicBezTo>
                    <a:pt x="6531" y="16985"/>
                    <a:pt x="6536" y="16963"/>
                    <a:pt x="6537" y="16957"/>
                  </a:cubicBezTo>
                  <a:cubicBezTo>
                    <a:pt x="6559" y="16943"/>
                    <a:pt x="6716" y="16839"/>
                    <a:pt x="6741" y="16823"/>
                  </a:cubicBezTo>
                  <a:cubicBezTo>
                    <a:pt x="6740" y="16832"/>
                    <a:pt x="6740" y="16832"/>
                    <a:pt x="6740" y="16832"/>
                  </a:cubicBezTo>
                  <a:cubicBezTo>
                    <a:pt x="7135" y="16877"/>
                    <a:pt x="7135" y="16877"/>
                    <a:pt x="7135" y="16877"/>
                  </a:cubicBezTo>
                  <a:cubicBezTo>
                    <a:pt x="7058" y="17052"/>
                    <a:pt x="6983" y="17223"/>
                    <a:pt x="6922" y="17361"/>
                  </a:cubicBezTo>
                  <a:cubicBezTo>
                    <a:pt x="6825" y="17182"/>
                    <a:pt x="6825" y="17182"/>
                    <a:pt x="6825" y="17182"/>
                  </a:cubicBezTo>
                  <a:cubicBezTo>
                    <a:pt x="6508" y="17112"/>
                    <a:pt x="6508" y="17112"/>
                    <a:pt x="6508" y="17112"/>
                  </a:cubicBezTo>
                  <a:cubicBezTo>
                    <a:pt x="6514" y="17077"/>
                    <a:pt x="6521" y="17042"/>
                    <a:pt x="6526" y="17014"/>
                  </a:cubicBezTo>
                  <a:close/>
                  <a:moveTo>
                    <a:pt x="6747" y="16819"/>
                  </a:moveTo>
                  <a:cubicBezTo>
                    <a:pt x="6748" y="16818"/>
                    <a:pt x="6748" y="16818"/>
                    <a:pt x="6748" y="16818"/>
                  </a:cubicBezTo>
                  <a:cubicBezTo>
                    <a:pt x="6715" y="16579"/>
                    <a:pt x="6715" y="16579"/>
                    <a:pt x="6715" y="16579"/>
                  </a:cubicBezTo>
                  <a:cubicBezTo>
                    <a:pt x="6829" y="16520"/>
                    <a:pt x="6829" y="16520"/>
                    <a:pt x="6829" y="16520"/>
                  </a:cubicBezTo>
                  <a:cubicBezTo>
                    <a:pt x="6829" y="16517"/>
                    <a:pt x="6829" y="16517"/>
                    <a:pt x="6829" y="16517"/>
                  </a:cubicBezTo>
                  <a:cubicBezTo>
                    <a:pt x="6829" y="16517"/>
                    <a:pt x="6834" y="16488"/>
                    <a:pt x="6841" y="16445"/>
                  </a:cubicBezTo>
                  <a:cubicBezTo>
                    <a:pt x="6871" y="16444"/>
                    <a:pt x="6994" y="16441"/>
                    <a:pt x="7033" y="16438"/>
                  </a:cubicBezTo>
                  <a:cubicBezTo>
                    <a:pt x="7040" y="16437"/>
                    <a:pt x="7043" y="16438"/>
                    <a:pt x="7047" y="16436"/>
                  </a:cubicBezTo>
                  <a:cubicBezTo>
                    <a:pt x="7055" y="16432"/>
                    <a:pt x="7157" y="16381"/>
                    <a:pt x="7172" y="16373"/>
                  </a:cubicBezTo>
                  <a:cubicBezTo>
                    <a:pt x="7344" y="16401"/>
                    <a:pt x="7344" y="16401"/>
                    <a:pt x="7344" y="16401"/>
                  </a:cubicBezTo>
                  <a:cubicBezTo>
                    <a:pt x="7296" y="16512"/>
                    <a:pt x="7243" y="16632"/>
                    <a:pt x="7190" y="16753"/>
                  </a:cubicBezTo>
                  <a:cubicBezTo>
                    <a:pt x="7174" y="16790"/>
                    <a:pt x="7157" y="16827"/>
                    <a:pt x="7141" y="16863"/>
                  </a:cubicBezTo>
                  <a:lnTo>
                    <a:pt x="6747" y="16819"/>
                  </a:lnTo>
                  <a:close/>
                  <a:moveTo>
                    <a:pt x="7170" y="16359"/>
                  </a:moveTo>
                  <a:cubicBezTo>
                    <a:pt x="7168" y="16360"/>
                    <a:pt x="7168" y="16360"/>
                    <a:pt x="7168" y="16360"/>
                  </a:cubicBezTo>
                  <a:cubicBezTo>
                    <a:pt x="7168" y="16360"/>
                    <a:pt x="7052" y="16418"/>
                    <a:pt x="7041" y="16423"/>
                  </a:cubicBezTo>
                  <a:cubicBezTo>
                    <a:pt x="7041" y="16423"/>
                    <a:pt x="7041" y="16423"/>
                    <a:pt x="7041" y="16423"/>
                  </a:cubicBezTo>
                  <a:cubicBezTo>
                    <a:pt x="7041" y="16423"/>
                    <a:pt x="7041" y="16423"/>
                    <a:pt x="7041" y="16423"/>
                  </a:cubicBezTo>
                  <a:cubicBezTo>
                    <a:pt x="7041" y="16423"/>
                    <a:pt x="7040" y="16423"/>
                    <a:pt x="7039" y="16423"/>
                  </a:cubicBezTo>
                  <a:cubicBezTo>
                    <a:pt x="7038" y="16424"/>
                    <a:pt x="7035" y="16424"/>
                    <a:pt x="7032" y="16424"/>
                  </a:cubicBezTo>
                  <a:cubicBezTo>
                    <a:pt x="7026" y="16425"/>
                    <a:pt x="7017" y="16425"/>
                    <a:pt x="7007" y="16426"/>
                  </a:cubicBezTo>
                  <a:cubicBezTo>
                    <a:pt x="6987" y="16427"/>
                    <a:pt x="6962" y="16428"/>
                    <a:pt x="6936" y="16428"/>
                  </a:cubicBezTo>
                  <a:cubicBezTo>
                    <a:pt x="6898" y="16429"/>
                    <a:pt x="6861" y="16430"/>
                    <a:pt x="6844" y="16431"/>
                  </a:cubicBezTo>
                  <a:cubicBezTo>
                    <a:pt x="6866" y="16299"/>
                    <a:pt x="6906" y="16058"/>
                    <a:pt x="6918" y="15991"/>
                  </a:cubicBezTo>
                  <a:cubicBezTo>
                    <a:pt x="7516" y="16009"/>
                    <a:pt x="7516" y="16009"/>
                    <a:pt x="7516" y="16009"/>
                  </a:cubicBezTo>
                  <a:cubicBezTo>
                    <a:pt x="7498" y="16050"/>
                    <a:pt x="7476" y="16101"/>
                    <a:pt x="7451" y="16158"/>
                  </a:cubicBezTo>
                  <a:cubicBezTo>
                    <a:pt x="7421" y="16226"/>
                    <a:pt x="7387" y="16304"/>
                    <a:pt x="7350" y="16388"/>
                  </a:cubicBezTo>
                  <a:lnTo>
                    <a:pt x="7170" y="16359"/>
                  </a:lnTo>
                  <a:close/>
                  <a:moveTo>
                    <a:pt x="7421" y="15621"/>
                  </a:moveTo>
                  <a:cubicBezTo>
                    <a:pt x="7525" y="15620"/>
                    <a:pt x="7525" y="15620"/>
                    <a:pt x="7525" y="15620"/>
                  </a:cubicBezTo>
                  <a:cubicBezTo>
                    <a:pt x="7524" y="15764"/>
                    <a:pt x="7524" y="15764"/>
                    <a:pt x="7524" y="15764"/>
                  </a:cubicBezTo>
                  <a:cubicBezTo>
                    <a:pt x="7455" y="15765"/>
                    <a:pt x="7455" y="15765"/>
                    <a:pt x="7455" y="15765"/>
                  </a:cubicBezTo>
                  <a:cubicBezTo>
                    <a:pt x="7447" y="15754"/>
                    <a:pt x="7440" y="15742"/>
                    <a:pt x="7432" y="15730"/>
                  </a:cubicBezTo>
                  <a:cubicBezTo>
                    <a:pt x="7427" y="15722"/>
                    <a:pt x="7421" y="15714"/>
                    <a:pt x="7416" y="15705"/>
                  </a:cubicBezTo>
                  <a:cubicBezTo>
                    <a:pt x="7424" y="15705"/>
                    <a:pt x="7424" y="15705"/>
                    <a:pt x="7424" y="15705"/>
                  </a:cubicBezTo>
                  <a:lnTo>
                    <a:pt x="7421" y="15621"/>
                  </a:lnTo>
                  <a:close/>
                  <a:moveTo>
                    <a:pt x="7439" y="15766"/>
                  </a:moveTo>
                  <a:cubicBezTo>
                    <a:pt x="7438" y="15863"/>
                    <a:pt x="7438" y="15863"/>
                    <a:pt x="7438" y="15863"/>
                  </a:cubicBezTo>
                  <a:cubicBezTo>
                    <a:pt x="7342" y="15862"/>
                    <a:pt x="7342" y="15862"/>
                    <a:pt x="7342" y="15862"/>
                  </a:cubicBezTo>
                  <a:cubicBezTo>
                    <a:pt x="7340" y="15707"/>
                    <a:pt x="7340" y="15707"/>
                    <a:pt x="7340" y="15707"/>
                  </a:cubicBezTo>
                  <a:cubicBezTo>
                    <a:pt x="7399" y="15706"/>
                    <a:pt x="7399" y="15706"/>
                    <a:pt x="7399" y="15706"/>
                  </a:cubicBezTo>
                  <a:cubicBezTo>
                    <a:pt x="7412" y="15726"/>
                    <a:pt x="7426" y="15746"/>
                    <a:pt x="7439" y="15766"/>
                  </a:cubicBezTo>
                  <a:close/>
                  <a:moveTo>
                    <a:pt x="7551" y="15908"/>
                  </a:moveTo>
                  <a:cubicBezTo>
                    <a:pt x="7543" y="15897"/>
                    <a:pt x="7533" y="15882"/>
                    <a:pt x="7520" y="15864"/>
                  </a:cubicBezTo>
                  <a:cubicBezTo>
                    <a:pt x="7504" y="15840"/>
                    <a:pt x="7484" y="15810"/>
                    <a:pt x="7463" y="15778"/>
                  </a:cubicBezTo>
                  <a:cubicBezTo>
                    <a:pt x="7537" y="15777"/>
                    <a:pt x="7537" y="15777"/>
                    <a:pt x="7537" y="15777"/>
                  </a:cubicBezTo>
                  <a:cubicBezTo>
                    <a:pt x="7538" y="15607"/>
                    <a:pt x="7538" y="15607"/>
                    <a:pt x="7538" y="15607"/>
                  </a:cubicBezTo>
                  <a:cubicBezTo>
                    <a:pt x="7407" y="15608"/>
                    <a:pt x="7407" y="15608"/>
                    <a:pt x="7407" y="15608"/>
                  </a:cubicBezTo>
                  <a:cubicBezTo>
                    <a:pt x="7410" y="15692"/>
                    <a:pt x="7410" y="15692"/>
                    <a:pt x="7410" y="15692"/>
                  </a:cubicBezTo>
                  <a:cubicBezTo>
                    <a:pt x="7407" y="15692"/>
                    <a:pt x="7407" y="15692"/>
                    <a:pt x="7407" y="15692"/>
                  </a:cubicBezTo>
                  <a:cubicBezTo>
                    <a:pt x="7361" y="15622"/>
                    <a:pt x="7320" y="15559"/>
                    <a:pt x="7309" y="15541"/>
                  </a:cubicBezTo>
                  <a:cubicBezTo>
                    <a:pt x="7311" y="15539"/>
                    <a:pt x="7313" y="15536"/>
                    <a:pt x="7315" y="15533"/>
                  </a:cubicBezTo>
                  <a:cubicBezTo>
                    <a:pt x="7320" y="15526"/>
                    <a:pt x="7326" y="15518"/>
                    <a:pt x="7331" y="15509"/>
                  </a:cubicBezTo>
                  <a:cubicBezTo>
                    <a:pt x="7338" y="15498"/>
                    <a:pt x="7345" y="15486"/>
                    <a:pt x="7349" y="15480"/>
                  </a:cubicBezTo>
                  <a:cubicBezTo>
                    <a:pt x="7366" y="15484"/>
                    <a:pt x="7427" y="15496"/>
                    <a:pt x="7489" y="15509"/>
                  </a:cubicBezTo>
                  <a:cubicBezTo>
                    <a:pt x="7543" y="15521"/>
                    <a:pt x="7598" y="15533"/>
                    <a:pt x="7625" y="15538"/>
                  </a:cubicBezTo>
                  <a:cubicBezTo>
                    <a:pt x="7567" y="15894"/>
                    <a:pt x="7567" y="15894"/>
                    <a:pt x="7567" y="15894"/>
                  </a:cubicBezTo>
                  <a:cubicBezTo>
                    <a:pt x="7565" y="15898"/>
                    <a:pt x="7562" y="15907"/>
                    <a:pt x="7557" y="15917"/>
                  </a:cubicBezTo>
                  <a:cubicBezTo>
                    <a:pt x="7555" y="15914"/>
                    <a:pt x="7553" y="15912"/>
                    <a:pt x="7551" y="15908"/>
                  </a:cubicBezTo>
                  <a:close/>
                  <a:moveTo>
                    <a:pt x="7598" y="15518"/>
                  </a:moveTo>
                  <a:cubicBezTo>
                    <a:pt x="7570" y="15512"/>
                    <a:pt x="7533" y="15504"/>
                    <a:pt x="7495" y="15497"/>
                  </a:cubicBezTo>
                  <a:cubicBezTo>
                    <a:pt x="7421" y="15481"/>
                    <a:pt x="7347" y="15466"/>
                    <a:pt x="7347" y="15466"/>
                  </a:cubicBezTo>
                  <a:cubicBezTo>
                    <a:pt x="7342" y="15465"/>
                    <a:pt x="7342" y="15465"/>
                    <a:pt x="7342" y="15465"/>
                  </a:cubicBezTo>
                  <a:cubicBezTo>
                    <a:pt x="7339" y="15469"/>
                    <a:pt x="7339" y="15469"/>
                    <a:pt x="7339" y="15469"/>
                  </a:cubicBezTo>
                  <a:cubicBezTo>
                    <a:pt x="7339" y="15469"/>
                    <a:pt x="7330" y="15484"/>
                    <a:pt x="7320" y="15500"/>
                  </a:cubicBezTo>
                  <a:cubicBezTo>
                    <a:pt x="7311" y="15515"/>
                    <a:pt x="7300" y="15531"/>
                    <a:pt x="7297" y="15534"/>
                  </a:cubicBezTo>
                  <a:cubicBezTo>
                    <a:pt x="7287" y="15537"/>
                    <a:pt x="7193" y="15558"/>
                    <a:pt x="7179" y="15562"/>
                  </a:cubicBezTo>
                  <a:cubicBezTo>
                    <a:pt x="7175" y="15529"/>
                    <a:pt x="7175" y="15529"/>
                    <a:pt x="7175" y="15529"/>
                  </a:cubicBezTo>
                  <a:cubicBezTo>
                    <a:pt x="7112" y="15499"/>
                    <a:pt x="7112" y="15499"/>
                    <a:pt x="7112" y="15499"/>
                  </a:cubicBezTo>
                  <a:cubicBezTo>
                    <a:pt x="7108" y="15224"/>
                    <a:pt x="7108" y="15224"/>
                    <a:pt x="7108" y="15224"/>
                  </a:cubicBezTo>
                  <a:cubicBezTo>
                    <a:pt x="7183" y="15209"/>
                    <a:pt x="7183" y="15209"/>
                    <a:pt x="7183" y="15209"/>
                  </a:cubicBezTo>
                  <a:cubicBezTo>
                    <a:pt x="7517" y="15265"/>
                    <a:pt x="7517" y="15265"/>
                    <a:pt x="7517" y="15265"/>
                  </a:cubicBezTo>
                  <a:cubicBezTo>
                    <a:pt x="7501" y="15370"/>
                    <a:pt x="7501" y="15370"/>
                    <a:pt x="7501" y="15370"/>
                  </a:cubicBezTo>
                  <a:cubicBezTo>
                    <a:pt x="7586" y="15382"/>
                    <a:pt x="7586" y="15382"/>
                    <a:pt x="7586" y="15382"/>
                  </a:cubicBezTo>
                  <a:cubicBezTo>
                    <a:pt x="7593" y="15336"/>
                    <a:pt x="7593" y="15336"/>
                    <a:pt x="7593" y="15336"/>
                  </a:cubicBezTo>
                  <a:cubicBezTo>
                    <a:pt x="7636" y="15342"/>
                    <a:pt x="7636" y="15342"/>
                    <a:pt x="7636" y="15342"/>
                  </a:cubicBezTo>
                  <a:cubicBezTo>
                    <a:pt x="7644" y="15287"/>
                    <a:pt x="7644" y="15287"/>
                    <a:pt x="7644" y="15287"/>
                  </a:cubicBezTo>
                  <a:cubicBezTo>
                    <a:pt x="7666" y="15290"/>
                    <a:pt x="7666" y="15290"/>
                    <a:pt x="7666" y="15290"/>
                  </a:cubicBezTo>
                  <a:cubicBezTo>
                    <a:pt x="7627" y="15525"/>
                    <a:pt x="7627" y="15525"/>
                    <a:pt x="7627" y="15525"/>
                  </a:cubicBezTo>
                  <a:cubicBezTo>
                    <a:pt x="7620" y="15523"/>
                    <a:pt x="7610" y="15521"/>
                    <a:pt x="7598" y="15518"/>
                  </a:cubicBezTo>
                  <a:close/>
                  <a:moveTo>
                    <a:pt x="7639" y="15238"/>
                  </a:moveTo>
                  <a:cubicBezTo>
                    <a:pt x="7634" y="15271"/>
                    <a:pt x="7634" y="15271"/>
                    <a:pt x="7634" y="15271"/>
                  </a:cubicBezTo>
                  <a:cubicBezTo>
                    <a:pt x="7532" y="15254"/>
                    <a:pt x="7532" y="15254"/>
                    <a:pt x="7532" y="15254"/>
                  </a:cubicBezTo>
                  <a:cubicBezTo>
                    <a:pt x="7544" y="15176"/>
                    <a:pt x="7544" y="15176"/>
                    <a:pt x="7544" y="15176"/>
                  </a:cubicBezTo>
                  <a:cubicBezTo>
                    <a:pt x="7603" y="15185"/>
                    <a:pt x="7603" y="15185"/>
                    <a:pt x="7603" y="15185"/>
                  </a:cubicBezTo>
                  <a:cubicBezTo>
                    <a:pt x="7596" y="15232"/>
                    <a:pt x="7596" y="15232"/>
                    <a:pt x="7596" y="15232"/>
                  </a:cubicBezTo>
                  <a:lnTo>
                    <a:pt x="7639" y="15238"/>
                  </a:lnTo>
                  <a:close/>
                  <a:moveTo>
                    <a:pt x="7632" y="15285"/>
                  </a:moveTo>
                  <a:cubicBezTo>
                    <a:pt x="7625" y="15327"/>
                    <a:pt x="7625" y="15327"/>
                    <a:pt x="7625" y="15327"/>
                  </a:cubicBezTo>
                  <a:cubicBezTo>
                    <a:pt x="7582" y="15321"/>
                    <a:pt x="7582" y="15321"/>
                    <a:pt x="7582" y="15321"/>
                  </a:cubicBezTo>
                  <a:cubicBezTo>
                    <a:pt x="7575" y="15367"/>
                    <a:pt x="7575" y="15367"/>
                    <a:pt x="7575" y="15367"/>
                  </a:cubicBezTo>
                  <a:cubicBezTo>
                    <a:pt x="7516" y="15359"/>
                    <a:pt x="7516" y="15359"/>
                    <a:pt x="7516" y="15359"/>
                  </a:cubicBezTo>
                  <a:cubicBezTo>
                    <a:pt x="7530" y="15267"/>
                    <a:pt x="7530" y="15267"/>
                    <a:pt x="7530" y="15267"/>
                  </a:cubicBezTo>
                  <a:lnTo>
                    <a:pt x="7632" y="15285"/>
                  </a:lnTo>
                  <a:close/>
                  <a:moveTo>
                    <a:pt x="7647" y="15273"/>
                  </a:moveTo>
                  <a:cubicBezTo>
                    <a:pt x="7653" y="15227"/>
                    <a:pt x="7653" y="15227"/>
                    <a:pt x="7653" y="15227"/>
                  </a:cubicBezTo>
                  <a:cubicBezTo>
                    <a:pt x="7611" y="15221"/>
                    <a:pt x="7611" y="15221"/>
                    <a:pt x="7611" y="15221"/>
                  </a:cubicBezTo>
                  <a:cubicBezTo>
                    <a:pt x="7618" y="15174"/>
                    <a:pt x="7618" y="15174"/>
                    <a:pt x="7618" y="15174"/>
                  </a:cubicBezTo>
                  <a:cubicBezTo>
                    <a:pt x="7539" y="15162"/>
                    <a:pt x="7539" y="15162"/>
                    <a:pt x="7539" y="15162"/>
                  </a:cubicBezTo>
                  <a:cubicBezTo>
                    <a:pt x="7533" y="15161"/>
                    <a:pt x="7533" y="15161"/>
                    <a:pt x="7533" y="15161"/>
                  </a:cubicBezTo>
                  <a:cubicBezTo>
                    <a:pt x="7519" y="15251"/>
                    <a:pt x="7519" y="15251"/>
                    <a:pt x="7519" y="15251"/>
                  </a:cubicBezTo>
                  <a:cubicBezTo>
                    <a:pt x="7190" y="15196"/>
                    <a:pt x="7190" y="15196"/>
                    <a:pt x="7190" y="15196"/>
                  </a:cubicBezTo>
                  <a:cubicBezTo>
                    <a:pt x="7190" y="15178"/>
                    <a:pt x="7191" y="15118"/>
                    <a:pt x="7191" y="15043"/>
                  </a:cubicBezTo>
                  <a:cubicBezTo>
                    <a:pt x="7224" y="15049"/>
                    <a:pt x="7335" y="15073"/>
                    <a:pt x="7443" y="15097"/>
                  </a:cubicBezTo>
                  <a:cubicBezTo>
                    <a:pt x="7549" y="15120"/>
                    <a:pt x="7654" y="15143"/>
                    <a:pt x="7689" y="15151"/>
                  </a:cubicBezTo>
                  <a:cubicBezTo>
                    <a:pt x="7668" y="15277"/>
                    <a:pt x="7668" y="15277"/>
                    <a:pt x="7668" y="15277"/>
                  </a:cubicBezTo>
                  <a:lnTo>
                    <a:pt x="7647" y="15273"/>
                  </a:lnTo>
                  <a:close/>
                  <a:moveTo>
                    <a:pt x="7446" y="15083"/>
                  </a:moveTo>
                  <a:cubicBezTo>
                    <a:pt x="7335" y="15059"/>
                    <a:pt x="7225" y="15035"/>
                    <a:pt x="7191" y="15029"/>
                  </a:cubicBezTo>
                  <a:cubicBezTo>
                    <a:pt x="7192" y="14993"/>
                    <a:pt x="7192" y="14955"/>
                    <a:pt x="7192" y="14917"/>
                  </a:cubicBezTo>
                  <a:cubicBezTo>
                    <a:pt x="7558" y="14988"/>
                    <a:pt x="7558" y="14988"/>
                    <a:pt x="7558" y="14988"/>
                  </a:cubicBezTo>
                  <a:cubicBezTo>
                    <a:pt x="7541" y="15097"/>
                    <a:pt x="7541" y="15097"/>
                    <a:pt x="7541" y="15097"/>
                  </a:cubicBezTo>
                  <a:cubicBezTo>
                    <a:pt x="7626" y="15110"/>
                    <a:pt x="7626" y="15110"/>
                    <a:pt x="7626" y="15110"/>
                  </a:cubicBezTo>
                  <a:cubicBezTo>
                    <a:pt x="7633" y="15063"/>
                    <a:pt x="7633" y="15063"/>
                    <a:pt x="7633" y="15063"/>
                  </a:cubicBezTo>
                  <a:cubicBezTo>
                    <a:pt x="7676" y="15070"/>
                    <a:pt x="7676" y="15070"/>
                    <a:pt x="7676" y="15070"/>
                  </a:cubicBezTo>
                  <a:cubicBezTo>
                    <a:pt x="7685" y="15013"/>
                    <a:pt x="7685" y="15013"/>
                    <a:pt x="7685" y="15013"/>
                  </a:cubicBezTo>
                  <a:cubicBezTo>
                    <a:pt x="7710" y="15018"/>
                    <a:pt x="7710" y="15018"/>
                    <a:pt x="7710" y="15018"/>
                  </a:cubicBezTo>
                  <a:cubicBezTo>
                    <a:pt x="7691" y="15137"/>
                    <a:pt x="7691" y="15137"/>
                    <a:pt x="7691" y="15137"/>
                  </a:cubicBezTo>
                  <a:cubicBezTo>
                    <a:pt x="7656" y="15129"/>
                    <a:pt x="7551" y="15106"/>
                    <a:pt x="7446" y="15083"/>
                  </a:cubicBezTo>
                  <a:close/>
                  <a:moveTo>
                    <a:pt x="7687" y="14999"/>
                  </a:moveTo>
                  <a:cubicBezTo>
                    <a:pt x="7694" y="14954"/>
                    <a:pt x="7694" y="14954"/>
                    <a:pt x="7694" y="14954"/>
                  </a:cubicBezTo>
                  <a:cubicBezTo>
                    <a:pt x="7651" y="14948"/>
                    <a:pt x="7651" y="14948"/>
                    <a:pt x="7651" y="14948"/>
                  </a:cubicBezTo>
                  <a:cubicBezTo>
                    <a:pt x="7657" y="14907"/>
                    <a:pt x="7657" y="14907"/>
                    <a:pt x="7657" y="14907"/>
                  </a:cubicBezTo>
                  <a:cubicBezTo>
                    <a:pt x="7686" y="14913"/>
                    <a:pt x="7710" y="14919"/>
                    <a:pt x="7726" y="14922"/>
                  </a:cubicBezTo>
                  <a:cubicBezTo>
                    <a:pt x="7713" y="15004"/>
                    <a:pt x="7713" y="15004"/>
                    <a:pt x="7713" y="15004"/>
                  </a:cubicBezTo>
                  <a:lnTo>
                    <a:pt x="7687" y="14999"/>
                  </a:lnTo>
                  <a:close/>
                  <a:moveTo>
                    <a:pt x="7663" y="14894"/>
                  </a:moveTo>
                  <a:cubicBezTo>
                    <a:pt x="7610" y="14883"/>
                    <a:pt x="7540" y="14867"/>
                    <a:pt x="7470" y="14852"/>
                  </a:cubicBezTo>
                  <a:cubicBezTo>
                    <a:pt x="7339" y="14823"/>
                    <a:pt x="7209" y="14795"/>
                    <a:pt x="7193" y="14792"/>
                  </a:cubicBezTo>
                  <a:cubicBezTo>
                    <a:pt x="7193" y="14759"/>
                    <a:pt x="7193" y="14729"/>
                    <a:pt x="7193" y="14705"/>
                  </a:cubicBezTo>
                  <a:cubicBezTo>
                    <a:pt x="7193" y="14695"/>
                    <a:pt x="7193" y="14686"/>
                    <a:pt x="7193" y="14679"/>
                  </a:cubicBezTo>
                  <a:cubicBezTo>
                    <a:pt x="7249" y="14689"/>
                    <a:pt x="7450" y="14727"/>
                    <a:pt x="7601" y="14755"/>
                  </a:cubicBezTo>
                  <a:cubicBezTo>
                    <a:pt x="7585" y="14863"/>
                    <a:pt x="7585" y="14863"/>
                    <a:pt x="7585" y="14863"/>
                  </a:cubicBezTo>
                  <a:cubicBezTo>
                    <a:pt x="7670" y="14876"/>
                    <a:pt x="7670" y="14876"/>
                    <a:pt x="7670" y="14876"/>
                  </a:cubicBezTo>
                  <a:cubicBezTo>
                    <a:pt x="7677" y="14830"/>
                    <a:pt x="7677" y="14830"/>
                    <a:pt x="7677" y="14830"/>
                  </a:cubicBezTo>
                  <a:cubicBezTo>
                    <a:pt x="7720" y="14836"/>
                    <a:pt x="7720" y="14836"/>
                    <a:pt x="7720" y="14836"/>
                  </a:cubicBezTo>
                  <a:cubicBezTo>
                    <a:pt x="7729" y="14778"/>
                    <a:pt x="7729" y="14778"/>
                    <a:pt x="7729" y="14778"/>
                  </a:cubicBezTo>
                  <a:cubicBezTo>
                    <a:pt x="7736" y="14779"/>
                    <a:pt x="7743" y="14781"/>
                    <a:pt x="7749" y="14782"/>
                  </a:cubicBezTo>
                  <a:cubicBezTo>
                    <a:pt x="7728" y="14909"/>
                    <a:pt x="7728" y="14909"/>
                    <a:pt x="7728" y="14909"/>
                  </a:cubicBezTo>
                  <a:cubicBezTo>
                    <a:pt x="7728" y="14908"/>
                    <a:pt x="7728" y="14908"/>
                    <a:pt x="7727" y="14908"/>
                  </a:cubicBezTo>
                  <a:cubicBezTo>
                    <a:pt x="7712" y="14905"/>
                    <a:pt x="7689" y="14900"/>
                    <a:pt x="7663" y="14894"/>
                  </a:cubicBezTo>
                  <a:close/>
                  <a:moveTo>
                    <a:pt x="7723" y="14732"/>
                  </a:moveTo>
                  <a:cubicBezTo>
                    <a:pt x="7718" y="14762"/>
                    <a:pt x="7718" y="14762"/>
                    <a:pt x="7718" y="14762"/>
                  </a:cubicBezTo>
                  <a:cubicBezTo>
                    <a:pt x="7691" y="14757"/>
                    <a:pt x="7655" y="14751"/>
                    <a:pt x="7616" y="14743"/>
                  </a:cubicBezTo>
                  <a:cubicBezTo>
                    <a:pt x="7628" y="14670"/>
                    <a:pt x="7628" y="14670"/>
                    <a:pt x="7628" y="14670"/>
                  </a:cubicBezTo>
                  <a:cubicBezTo>
                    <a:pt x="7687" y="14679"/>
                    <a:pt x="7687" y="14679"/>
                    <a:pt x="7687" y="14679"/>
                  </a:cubicBezTo>
                  <a:cubicBezTo>
                    <a:pt x="7680" y="14725"/>
                    <a:pt x="7680" y="14725"/>
                    <a:pt x="7680" y="14725"/>
                  </a:cubicBezTo>
                  <a:lnTo>
                    <a:pt x="7723" y="14732"/>
                  </a:lnTo>
                  <a:close/>
                  <a:moveTo>
                    <a:pt x="7716" y="14776"/>
                  </a:moveTo>
                  <a:cubicBezTo>
                    <a:pt x="7709" y="14821"/>
                    <a:pt x="7709" y="14821"/>
                    <a:pt x="7709" y="14821"/>
                  </a:cubicBezTo>
                  <a:cubicBezTo>
                    <a:pt x="7666" y="14815"/>
                    <a:pt x="7666" y="14815"/>
                    <a:pt x="7666" y="14815"/>
                  </a:cubicBezTo>
                  <a:cubicBezTo>
                    <a:pt x="7659" y="14861"/>
                    <a:pt x="7659" y="14861"/>
                    <a:pt x="7659" y="14861"/>
                  </a:cubicBezTo>
                  <a:cubicBezTo>
                    <a:pt x="7600" y="14852"/>
                    <a:pt x="7600" y="14852"/>
                    <a:pt x="7600" y="14852"/>
                  </a:cubicBezTo>
                  <a:cubicBezTo>
                    <a:pt x="7614" y="14757"/>
                    <a:pt x="7614" y="14757"/>
                    <a:pt x="7614" y="14757"/>
                  </a:cubicBezTo>
                  <a:cubicBezTo>
                    <a:pt x="7653" y="14764"/>
                    <a:pt x="7688" y="14771"/>
                    <a:pt x="7716" y="14776"/>
                  </a:cubicBezTo>
                  <a:close/>
                  <a:moveTo>
                    <a:pt x="7731" y="14764"/>
                  </a:moveTo>
                  <a:cubicBezTo>
                    <a:pt x="7737" y="14721"/>
                    <a:pt x="7737" y="14721"/>
                    <a:pt x="7737" y="14721"/>
                  </a:cubicBezTo>
                  <a:cubicBezTo>
                    <a:pt x="7695" y="14714"/>
                    <a:pt x="7695" y="14714"/>
                    <a:pt x="7695" y="14714"/>
                  </a:cubicBezTo>
                  <a:cubicBezTo>
                    <a:pt x="7702" y="14668"/>
                    <a:pt x="7702" y="14668"/>
                    <a:pt x="7702" y="14668"/>
                  </a:cubicBezTo>
                  <a:cubicBezTo>
                    <a:pt x="7623" y="14656"/>
                    <a:pt x="7623" y="14656"/>
                    <a:pt x="7623" y="14656"/>
                  </a:cubicBezTo>
                  <a:cubicBezTo>
                    <a:pt x="7617" y="14655"/>
                    <a:pt x="7617" y="14655"/>
                    <a:pt x="7617" y="14655"/>
                  </a:cubicBezTo>
                  <a:cubicBezTo>
                    <a:pt x="7604" y="14741"/>
                    <a:pt x="7604" y="14741"/>
                    <a:pt x="7604" y="14741"/>
                  </a:cubicBezTo>
                  <a:cubicBezTo>
                    <a:pt x="7563" y="14734"/>
                    <a:pt x="7520" y="14725"/>
                    <a:pt x="7477" y="14717"/>
                  </a:cubicBezTo>
                  <a:cubicBezTo>
                    <a:pt x="7384" y="14700"/>
                    <a:pt x="7292" y="14683"/>
                    <a:pt x="7236" y="14672"/>
                  </a:cubicBezTo>
                  <a:cubicBezTo>
                    <a:pt x="7266" y="14672"/>
                    <a:pt x="7292" y="14672"/>
                    <a:pt x="7314" y="14672"/>
                  </a:cubicBezTo>
                  <a:cubicBezTo>
                    <a:pt x="7426" y="14669"/>
                    <a:pt x="7521" y="14632"/>
                    <a:pt x="7595" y="14589"/>
                  </a:cubicBezTo>
                  <a:cubicBezTo>
                    <a:pt x="7768" y="14664"/>
                    <a:pt x="7768" y="14664"/>
                    <a:pt x="7768" y="14664"/>
                  </a:cubicBezTo>
                  <a:cubicBezTo>
                    <a:pt x="7751" y="14768"/>
                    <a:pt x="7751" y="14768"/>
                    <a:pt x="7751" y="14768"/>
                  </a:cubicBezTo>
                  <a:cubicBezTo>
                    <a:pt x="7745" y="14767"/>
                    <a:pt x="7738" y="14766"/>
                    <a:pt x="7731" y="14764"/>
                  </a:cubicBezTo>
                  <a:close/>
                  <a:moveTo>
                    <a:pt x="7610" y="14581"/>
                  </a:moveTo>
                  <a:cubicBezTo>
                    <a:pt x="7674" y="14541"/>
                    <a:pt x="7720" y="14497"/>
                    <a:pt x="7745" y="14471"/>
                  </a:cubicBezTo>
                  <a:cubicBezTo>
                    <a:pt x="7752" y="14475"/>
                    <a:pt x="7758" y="14480"/>
                    <a:pt x="7767" y="14486"/>
                  </a:cubicBezTo>
                  <a:cubicBezTo>
                    <a:pt x="7775" y="14492"/>
                    <a:pt x="7784" y="14499"/>
                    <a:pt x="7794" y="14506"/>
                  </a:cubicBezTo>
                  <a:cubicBezTo>
                    <a:pt x="7771" y="14650"/>
                    <a:pt x="7771" y="14650"/>
                    <a:pt x="7771" y="14650"/>
                  </a:cubicBezTo>
                  <a:lnTo>
                    <a:pt x="7610" y="14581"/>
                  </a:lnTo>
                  <a:close/>
                  <a:moveTo>
                    <a:pt x="8266" y="13687"/>
                  </a:moveTo>
                  <a:cubicBezTo>
                    <a:pt x="8264" y="13616"/>
                    <a:pt x="8264" y="13616"/>
                    <a:pt x="8264" y="13616"/>
                  </a:cubicBezTo>
                  <a:cubicBezTo>
                    <a:pt x="8119" y="13619"/>
                    <a:pt x="8119" y="13619"/>
                    <a:pt x="8119" y="13619"/>
                  </a:cubicBezTo>
                  <a:cubicBezTo>
                    <a:pt x="8114" y="13619"/>
                    <a:pt x="8114" y="13619"/>
                    <a:pt x="8114" y="13619"/>
                  </a:cubicBezTo>
                  <a:cubicBezTo>
                    <a:pt x="8114" y="13415"/>
                    <a:pt x="8114" y="13415"/>
                    <a:pt x="8114" y="13415"/>
                  </a:cubicBezTo>
                  <a:cubicBezTo>
                    <a:pt x="8170" y="13413"/>
                    <a:pt x="8223" y="13411"/>
                    <a:pt x="8270" y="13410"/>
                  </a:cubicBezTo>
                  <a:cubicBezTo>
                    <a:pt x="8270" y="13704"/>
                    <a:pt x="8270" y="13704"/>
                    <a:pt x="8270" y="13704"/>
                  </a:cubicBezTo>
                  <a:cubicBezTo>
                    <a:pt x="8114" y="13710"/>
                    <a:pt x="8114" y="13710"/>
                    <a:pt x="8114" y="13710"/>
                  </a:cubicBezTo>
                  <a:cubicBezTo>
                    <a:pt x="8114" y="13690"/>
                    <a:pt x="8114" y="13690"/>
                    <a:pt x="8114" y="13690"/>
                  </a:cubicBezTo>
                  <a:lnTo>
                    <a:pt x="8266" y="13687"/>
                  </a:lnTo>
                  <a:close/>
                  <a:moveTo>
                    <a:pt x="8126" y="13632"/>
                  </a:moveTo>
                  <a:cubicBezTo>
                    <a:pt x="8251" y="13630"/>
                    <a:pt x="8251" y="13630"/>
                    <a:pt x="8251" y="13630"/>
                  </a:cubicBezTo>
                  <a:cubicBezTo>
                    <a:pt x="8252" y="13674"/>
                    <a:pt x="8252" y="13674"/>
                    <a:pt x="8252" y="13674"/>
                  </a:cubicBezTo>
                  <a:cubicBezTo>
                    <a:pt x="8127" y="13677"/>
                    <a:pt x="8127" y="13677"/>
                    <a:pt x="8127" y="13677"/>
                  </a:cubicBezTo>
                  <a:lnTo>
                    <a:pt x="8126" y="13632"/>
                  </a:lnTo>
                  <a:close/>
                  <a:moveTo>
                    <a:pt x="8284" y="13703"/>
                  </a:moveTo>
                  <a:cubicBezTo>
                    <a:pt x="8284" y="13409"/>
                    <a:pt x="8284" y="13409"/>
                    <a:pt x="8284" y="13409"/>
                  </a:cubicBezTo>
                  <a:cubicBezTo>
                    <a:pt x="8371" y="13407"/>
                    <a:pt x="8435" y="13405"/>
                    <a:pt x="8455" y="13404"/>
                  </a:cubicBezTo>
                  <a:cubicBezTo>
                    <a:pt x="8455" y="13696"/>
                    <a:pt x="8455" y="13696"/>
                    <a:pt x="8455" y="13696"/>
                  </a:cubicBezTo>
                  <a:lnTo>
                    <a:pt x="8284" y="13703"/>
                  </a:lnTo>
                  <a:close/>
                  <a:moveTo>
                    <a:pt x="8694" y="13684"/>
                  </a:moveTo>
                  <a:cubicBezTo>
                    <a:pt x="8665" y="13688"/>
                    <a:pt x="8665" y="13688"/>
                    <a:pt x="8665" y="13688"/>
                  </a:cubicBezTo>
                  <a:cubicBezTo>
                    <a:pt x="8469" y="13696"/>
                    <a:pt x="8469" y="13696"/>
                    <a:pt x="8469" y="13696"/>
                  </a:cubicBezTo>
                  <a:cubicBezTo>
                    <a:pt x="8469" y="13390"/>
                    <a:pt x="8469" y="13390"/>
                    <a:pt x="8469" y="13390"/>
                  </a:cubicBezTo>
                  <a:cubicBezTo>
                    <a:pt x="8462" y="13390"/>
                    <a:pt x="8462" y="13390"/>
                    <a:pt x="8462" y="13390"/>
                  </a:cubicBezTo>
                  <a:cubicBezTo>
                    <a:pt x="8462" y="13390"/>
                    <a:pt x="7587" y="13416"/>
                    <a:pt x="7356" y="13426"/>
                  </a:cubicBezTo>
                  <a:cubicBezTo>
                    <a:pt x="7351" y="13427"/>
                    <a:pt x="7347" y="13427"/>
                    <a:pt x="7342" y="13427"/>
                  </a:cubicBezTo>
                  <a:cubicBezTo>
                    <a:pt x="7386" y="12877"/>
                    <a:pt x="7386" y="12877"/>
                    <a:pt x="7386" y="12877"/>
                  </a:cubicBezTo>
                  <a:cubicBezTo>
                    <a:pt x="8067" y="11478"/>
                    <a:pt x="8067" y="11478"/>
                    <a:pt x="8067" y="11478"/>
                  </a:cubicBezTo>
                  <a:cubicBezTo>
                    <a:pt x="9399" y="12158"/>
                    <a:pt x="9399" y="12158"/>
                    <a:pt x="9399" y="12158"/>
                  </a:cubicBezTo>
                  <a:cubicBezTo>
                    <a:pt x="9348" y="12266"/>
                    <a:pt x="9348" y="12266"/>
                    <a:pt x="9348" y="12266"/>
                  </a:cubicBezTo>
                  <a:lnTo>
                    <a:pt x="8694" y="13684"/>
                  </a:lnTo>
                  <a:close/>
                  <a:moveTo>
                    <a:pt x="8096" y="11419"/>
                  </a:moveTo>
                  <a:cubicBezTo>
                    <a:pt x="9307" y="8934"/>
                    <a:pt x="9307" y="8934"/>
                    <a:pt x="9307" y="8934"/>
                  </a:cubicBezTo>
                  <a:cubicBezTo>
                    <a:pt x="9483" y="9030"/>
                    <a:pt x="9865" y="9236"/>
                    <a:pt x="10022" y="9303"/>
                  </a:cubicBezTo>
                  <a:cubicBezTo>
                    <a:pt x="10103" y="9337"/>
                    <a:pt x="10259" y="9409"/>
                    <a:pt x="10394" y="9471"/>
                  </a:cubicBezTo>
                  <a:cubicBezTo>
                    <a:pt x="10491" y="9516"/>
                    <a:pt x="10577" y="9556"/>
                    <a:pt x="10618" y="9575"/>
                  </a:cubicBezTo>
                  <a:cubicBezTo>
                    <a:pt x="9427" y="12098"/>
                    <a:pt x="9427" y="12098"/>
                    <a:pt x="9427" y="12098"/>
                  </a:cubicBezTo>
                  <a:lnTo>
                    <a:pt x="8096" y="11419"/>
                  </a:lnTo>
                  <a:close/>
                  <a:moveTo>
                    <a:pt x="10666" y="9525"/>
                  </a:moveTo>
                  <a:cubicBezTo>
                    <a:pt x="10609" y="9499"/>
                    <a:pt x="10201" y="9308"/>
                    <a:pt x="10048" y="9243"/>
                  </a:cubicBezTo>
                  <a:cubicBezTo>
                    <a:pt x="9888" y="9175"/>
                    <a:pt x="9466" y="8946"/>
                    <a:pt x="9308" y="8860"/>
                  </a:cubicBezTo>
                  <a:cubicBezTo>
                    <a:pt x="9151" y="8776"/>
                    <a:pt x="8808" y="8559"/>
                    <a:pt x="8705" y="8498"/>
                  </a:cubicBezTo>
                  <a:cubicBezTo>
                    <a:pt x="8657" y="8469"/>
                    <a:pt x="8505" y="8359"/>
                    <a:pt x="8367" y="8258"/>
                  </a:cubicBezTo>
                  <a:cubicBezTo>
                    <a:pt x="8298" y="8208"/>
                    <a:pt x="8233" y="8159"/>
                    <a:pt x="8184" y="8123"/>
                  </a:cubicBezTo>
                  <a:cubicBezTo>
                    <a:pt x="8260" y="8114"/>
                    <a:pt x="8358" y="8100"/>
                    <a:pt x="8440" y="8081"/>
                  </a:cubicBezTo>
                  <a:cubicBezTo>
                    <a:pt x="8521" y="8062"/>
                    <a:pt x="8594" y="8020"/>
                    <a:pt x="8656" y="7979"/>
                  </a:cubicBezTo>
                  <a:cubicBezTo>
                    <a:pt x="8693" y="7954"/>
                    <a:pt x="8725" y="7930"/>
                    <a:pt x="8749" y="7910"/>
                  </a:cubicBezTo>
                  <a:cubicBezTo>
                    <a:pt x="8814" y="7964"/>
                    <a:pt x="8888" y="8011"/>
                    <a:pt x="8967" y="8046"/>
                  </a:cubicBezTo>
                  <a:cubicBezTo>
                    <a:pt x="9129" y="8116"/>
                    <a:pt x="9735" y="8390"/>
                    <a:pt x="10245" y="8558"/>
                  </a:cubicBezTo>
                  <a:cubicBezTo>
                    <a:pt x="10689" y="8704"/>
                    <a:pt x="11084" y="8779"/>
                    <a:pt x="11180" y="8797"/>
                  </a:cubicBezTo>
                  <a:cubicBezTo>
                    <a:pt x="11174" y="8878"/>
                    <a:pt x="11149" y="9059"/>
                    <a:pt x="11047" y="9165"/>
                  </a:cubicBezTo>
                  <a:cubicBezTo>
                    <a:pt x="10975" y="9241"/>
                    <a:pt x="10870" y="9340"/>
                    <a:pt x="10784" y="9419"/>
                  </a:cubicBezTo>
                  <a:cubicBezTo>
                    <a:pt x="10736" y="9463"/>
                    <a:pt x="10694" y="9500"/>
                    <a:pt x="10666" y="9525"/>
                  </a:cubicBezTo>
                  <a:close/>
                  <a:moveTo>
                    <a:pt x="11152" y="8636"/>
                  </a:moveTo>
                  <a:cubicBezTo>
                    <a:pt x="11103" y="8627"/>
                    <a:pt x="11033" y="8613"/>
                    <a:pt x="10947" y="8593"/>
                  </a:cubicBezTo>
                  <a:cubicBezTo>
                    <a:pt x="10776" y="8554"/>
                    <a:pt x="10541" y="8495"/>
                    <a:pt x="10292" y="8413"/>
                  </a:cubicBezTo>
                  <a:cubicBezTo>
                    <a:pt x="10288" y="8412"/>
                    <a:pt x="10283" y="8410"/>
                    <a:pt x="10279" y="8409"/>
                  </a:cubicBezTo>
                  <a:cubicBezTo>
                    <a:pt x="10716" y="7170"/>
                    <a:pt x="10716" y="7170"/>
                    <a:pt x="10716" y="7170"/>
                  </a:cubicBezTo>
                  <a:cubicBezTo>
                    <a:pt x="10723" y="7174"/>
                    <a:pt x="10728" y="7177"/>
                    <a:pt x="10730" y="7179"/>
                  </a:cubicBezTo>
                  <a:cubicBezTo>
                    <a:pt x="10732" y="7181"/>
                    <a:pt x="10734" y="7182"/>
                    <a:pt x="10735" y="7182"/>
                  </a:cubicBezTo>
                  <a:cubicBezTo>
                    <a:pt x="10738" y="7185"/>
                    <a:pt x="10740" y="7185"/>
                    <a:pt x="10742" y="7186"/>
                  </a:cubicBezTo>
                  <a:cubicBezTo>
                    <a:pt x="10744" y="7187"/>
                    <a:pt x="10745" y="7187"/>
                    <a:pt x="10746" y="7187"/>
                  </a:cubicBezTo>
                  <a:cubicBezTo>
                    <a:pt x="10748" y="7188"/>
                    <a:pt x="10748" y="7188"/>
                    <a:pt x="10749" y="7188"/>
                  </a:cubicBezTo>
                  <a:cubicBezTo>
                    <a:pt x="10749" y="7188"/>
                    <a:pt x="10750" y="7188"/>
                    <a:pt x="10750" y="7188"/>
                  </a:cubicBezTo>
                  <a:cubicBezTo>
                    <a:pt x="10751" y="7188"/>
                    <a:pt x="10751" y="7188"/>
                    <a:pt x="10752" y="7188"/>
                  </a:cubicBezTo>
                  <a:cubicBezTo>
                    <a:pt x="10753" y="7188"/>
                    <a:pt x="10755" y="7189"/>
                    <a:pt x="10757" y="7189"/>
                  </a:cubicBezTo>
                  <a:cubicBezTo>
                    <a:pt x="10762" y="7189"/>
                    <a:pt x="10769" y="7190"/>
                    <a:pt x="10777" y="7190"/>
                  </a:cubicBezTo>
                  <a:cubicBezTo>
                    <a:pt x="10793" y="7192"/>
                    <a:pt x="10817" y="7193"/>
                    <a:pt x="10845" y="7195"/>
                  </a:cubicBezTo>
                  <a:cubicBezTo>
                    <a:pt x="10902" y="7200"/>
                    <a:pt x="10978" y="7205"/>
                    <a:pt x="11053" y="7211"/>
                  </a:cubicBezTo>
                  <a:cubicBezTo>
                    <a:pt x="11204" y="7222"/>
                    <a:pt x="11355" y="7233"/>
                    <a:pt x="11356" y="7233"/>
                  </a:cubicBezTo>
                  <a:cubicBezTo>
                    <a:pt x="11356" y="7233"/>
                    <a:pt x="11543" y="7243"/>
                    <a:pt x="11643" y="7243"/>
                  </a:cubicBezTo>
                  <a:cubicBezTo>
                    <a:pt x="11658" y="7243"/>
                    <a:pt x="11672" y="7243"/>
                    <a:pt x="11683" y="7242"/>
                  </a:cubicBezTo>
                  <a:cubicBezTo>
                    <a:pt x="11693" y="7241"/>
                    <a:pt x="11699" y="7242"/>
                    <a:pt x="11709" y="7239"/>
                  </a:cubicBezTo>
                  <a:cubicBezTo>
                    <a:pt x="11777" y="7225"/>
                    <a:pt x="11832" y="7182"/>
                    <a:pt x="11874" y="7129"/>
                  </a:cubicBezTo>
                  <a:cubicBezTo>
                    <a:pt x="11883" y="7117"/>
                    <a:pt x="11892" y="7104"/>
                    <a:pt x="11901" y="7091"/>
                  </a:cubicBezTo>
                  <a:cubicBezTo>
                    <a:pt x="11975" y="7125"/>
                    <a:pt x="12008" y="7206"/>
                    <a:pt x="12014" y="7226"/>
                  </a:cubicBezTo>
                  <a:cubicBezTo>
                    <a:pt x="12015" y="7229"/>
                    <a:pt x="12015" y="7230"/>
                    <a:pt x="12015" y="7230"/>
                  </a:cubicBezTo>
                  <a:cubicBezTo>
                    <a:pt x="12015" y="7230"/>
                    <a:pt x="12015" y="7230"/>
                    <a:pt x="12015" y="7230"/>
                  </a:cubicBezTo>
                  <a:cubicBezTo>
                    <a:pt x="12476" y="8728"/>
                    <a:pt x="12476" y="8728"/>
                    <a:pt x="12476" y="8728"/>
                  </a:cubicBezTo>
                  <a:cubicBezTo>
                    <a:pt x="12349" y="8716"/>
                    <a:pt x="12234" y="8712"/>
                    <a:pt x="12133" y="8707"/>
                  </a:cubicBezTo>
                  <a:cubicBezTo>
                    <a:pt x="11938" y="8699"/>
                    <a:pt x="11277" y="8654"/>
                    <a:pt x="11225" y="8650"/>
                  </a:cubicBezTo>
                  <a:cubicBezTo>
                    <a:pt x="11217" y="8648"/>
                    <a:pt x="11192" y="8644"/>
                    <a:pt x="11152" y="8636"/>
                  </a:cubicBezTo>
                  <a:close/>
                  <a:moveTo>
                    <a:pt x="11822" y="7088"/>
                  </a:moveTo>
                  <a:cubicBezTo>
                    <a:pt x="11786" y="7133"/>
                    <a:pt x="11744" y="7165"/>
                    <a:pt x="11694" y="7175"/>
                  </a:cubicBezTo>
                  <a:cubicBezTo>
                    <a:pt x="11692" y="7175"/>
                    <a:pt x="11692" y="7175"/>
                    <a:pt x="11692" y="7175"/>
                  </a:cubicBezTo>
                  <a:cubicBezTo>
                    <a:pt x="11689" y="7176"/>
                    <a:pt x="11689" y="7176"/>
                    <a:pt x="11689" y="7176"/>
                  </a:cubicBezTo>
                  <a:cubicBezTo>
                    <a:pt x="11689" y="7176"/>
                    <a:pt x="11689" y="7176"/>
                    <a:pt x="11689" y="7176"/>
                  </a:cubicBezTo>
                  <a:cubicBezTo>
                    <a:pt x="11687" y="7176"/>
                    <a:pt x="11684" y="7177"/>
                    <a:pt x="11679" y="7177"/>
                  </a:cubicBezTo>
                  <a:cubicBezTo>
                    <a:pt x="11670" y="7177"/>
                    <a:pt x="11658" y="7177"/>
                    <a:pt x="11643" y="7177"/>
                  </a:cubicBezTo>
                  <a:cubicBezTo>
                    <a:pt x="11595" y="7177"/>
                    <a:pt x="11524" y="7175"/>
                    <a:pt x="11465" y="7172"/>
                  </a:cubicBezTo>
                  <a:cubicBezTo>
                    <a:pt x="11406" y="7170"/>
                    <a:pt x="11360" y="7167"/>
                    <a:pt x="11360" y="7167"/>
                  </a:cubicBezTo>
                  <a:cubicBezTo>
                    <a:pt x="11360" y="7167"/>
                    <a:pt x="11217" y="7157"/>
                    <a:pt x="11070" y="7146"/>
                  </a:cubicBezTo>
                  <a:cubicBezTo>
                    <a:pt x="10938" y="7137"/>
                    <a:pt x="10802" y="7127"/>
                    <a:pt x="10766" y="7124"/>
                  </a:cubicBezTo>
                  <a:cubicBezTo>
                    <a:pt x="10765" y="7123"/>
                    <a:pt x="10765" y="7123"/>
                    <a:pt x="10764" y="7123"/>
                  </a:cubicBezTo>
                  <a:cubicBezTo>
                    <a:pt x="10759" y="7119"/>
                    <a:pt x="10752" y="7115"/>
                    <a:pt x="10743" y="7109"/>
                  </a:cubicBezTo>
                  <a:cubicBezTo>
                    <a:pt x="10725" y="7098"/>
                    <a:pt x="10699" y="7082"/>
                    <a:pt x="10668" y="7063"/>
                  </a:cubicBezTo>
                  <a:cubicBezTo>
                    <a:pt x="10605" y="7025"/>
                    <a:pt x="10522" y="6976"/>
                    <a:pt x="10437" y="6925"/>
                  </a:cubicBezTo>
                  <a:cubicBezTo>
                    <a:pt x="10266" y="6824"/>
                    <a:pt x="10091" y="6721"/>
                    <a:pt x="10061" y="6706"/>
                  </a:cubicBezTo>
                  <a:cubicBezTo>
                    <a:pt x="10059" y="6705"/>
                    <a:pt x="10059" y="6704"/>
                    <a:pt x="10057" y="6704"/>
                  </a:cubicBezTo>
                  <a:cubicBezTo>
                    <a:pt x="10056" y="6703"/>
                    <a:pt x="10055" y="6702"/>
                    <a:pt x="10054" y="6700"/>
                  </a:cubicBezTo>
                  <a:cubicBezTo>
                    <a:pt x="10050" y="6694"/>
                    <a:pt x="10044" y="6683"/>
                    <a:pt x="10037" y="6668"/>
                  </a:cubicBezTo>
                  <a:cubicBezTo>
                    <a:pt x="10025" y="6636"/>
                    <a:pt x="10013" y="6583"/>
                    <a:pt x="10013" y="6504"/>
                  </a:cubicBezTo>
                  <a:cubicBezTo>
                    <a:pt x="10013" y="6494"/>
                    <a:pt x="10014" y="6484"/>
                    <a:pt x="10014" y="6474"/>
                  </a:cubicBezTo>
                  <a:cubicBezTo>
                    <a:pt x="10019" y="6341"/>
                    <a:pt x="10043" y="6025"/>
                    <a:pt x="10043" y="5766"/>
                  </a:cubicBezTo>
                  <a:cubicBezTo>
                    <a:pt x="10043" y="5659"/>
                    <a:pt x="10039" y="5562"/>
                    <a:pt x="10027" y="5489"/>
                  </a:cubicBezTo>
                  <a:cubicBezTo>
                    <a:pt x="10008" y="5365"/>
                    <a:pt x="9920" y="5018"/>
                    <a:pt x="9837" y="4699"/>
                  </a:cubicBezTo>
                  <a:cubicBezTo>
                    <a:pt x="9764" y="4417"/>
                    <a:pt x="9695" y="4159"/>
                    <a:pt x="9679" y="4103"/>
                  </a:cubicBezTo>
                  <a:cubicBezTo>
                    <a:pt x="10840" y="3769"/>
                    <a:pt x="10840" y="3769"/>
                    <a:pt x="10840" y="3769"/>
                  </a:cubicBezTo>
                  <a:cubicBezTo>
                    <a:pt x="10841" y="3772"/>
                    <a:pt x="10842" y="3775"/>
                    <a:pt x="10843" y="3778"/>
                  </a:cubicBezTo>
                  <a:cubicBezTo>
                    <a:pt x="10854" y="3812"/>
                    <a:pt x="10897" y="3969"/>
                    <a:pt x="10973" y="4125"/>
                  </a:cubicBezTo>
                  <a:cubicBezTo>
                    <a:pt x="11050" y="4282"/>
                    <a:pt x="11158" y="4445"/>
                    <a:pt x="11318" y="4489"/>
                  </a:cubicBezTo>
                  <a:cubicBezTo>
                    <a:pt x="11453" y="4525"/>
                    <a:pt x="11586" y="4534"/>
                    <a:pt x="11699" y="4534"/>
                  </a:cubicBezTo>
                  <a:cubicBezTo>
                    <a:pt x="11831" y="4534"/>
                    <a:pt x="11938" y="4521"/>
                    <a:pt x="11976" y="4521"/>
                  </a:cubicBezTo>
                  <a:cubicBezTo>
                    <a:pt x="12014" y="4521"/>
                    <a:pt x="12074" y="4522"/>
                    <a:pt x="12126" y="4548"/>
                  </a:cubicBezTo>
                  <a:cubicBezTo>
                    <a:pt x="12176" y="4573"/>
                    <a:pt x="12222" y="4617"/>
                    <a:pt x="12241" y="4718"/>
                  </a:cubicBezTo>
                  <a:cubicBezTo>
                    <a:pt x="12241" y="4718"/>
                    <a:pt x="12241" y="4718"/>
                    <a:pt x="12241" y="4719"/>
                  </a:cubicBezTo>
                  <a:cubicBezTo>
                    <a:pt x="12240" y="4722"/>
                    <a:pt x="12240" y="4725"/>
                    <a:pt x="12240" y="4729"/>
                  </a:cubicBezTo>
                  <a:cubicBezTo>
                    <a:pt x="12240" y="4755"/>
                    <a:pt x="12244" y="4809"/>
                    <a:pt x="12245" y="4823"/>
                  </a:cubicBezTo>
                  <a:cubicBezTo>
                    <a:pt x="11971" y="6701"/>
                    <a:pt x="11971" y="6701"/>
                    <a:pt x="11971" y="6701"/>
                  </a:cubicBezTo>
                  <a:cubicBezTo>
                    <a:pt x="11971" y="6701"/>
                    <a:pt x="11968" y="6716"/>
                    <a:pt x="11963" y="6741"/>
                  </a:cubicBezTo>
                  <a:cubicBezTo>
                    <a:pt x="11958" y="6767"/>
                    <a:pt x="11950" y="6803"/>
                    <a:pt x="11938" y="6843"/>
                  </a:cubicBezTo>
                  <a:cubicBezTo>
                    <a:pt x="11915" y="6922"/>
                    <a:pt x="11877" y="7020"/>
                    <a:pt x="11822" y="7088"/>
                  </a:cubicBezTo>
                  <a:close/>
                  <a:moveTo>
                    <a:pt x="12155" y="4489"/>
                  </a:moveTo>
                  <a:cubicBezTo>
                    <a:pt x="12086" y="4456"/>
                    <a:pt x="12016" y="4456"/>
                    <a:pt x="11976" y="4455"/>
                  </a:cubicBezTo>
                  <a:cubicBezTo>
                    <a:pt x="11928" y="4456"/>
                    <a:pt x="11828" y="4469"/>
                    <a:pt x="11699" y="4469"/>
                  </a:cubicBezTo>
                  <a:cubicBezTo>
                    <a:pt x="11590" y="4469"/>
                    <a:pt x="11462" y="4459"/>
                    <a:pt x="11335" y="4426"/>
                  </a:cubicBezTo>
                  <a:cubicBezTo>
                    <a:pt x="11211" y="4394"/>
                    <a:pt x="11104" y="4248"/>
                    <a:pt x="11032" y="4097"/>
                  </a:cubicBezTo>
                  <a:cubicBezTo>
                    <a:pt x="10959" y="3946"/>
                    <a:pt x="10917" y="3795"/>
                    <a:pt x="10905" y="3757"/>
                  </a:cubicBezTo>
                  <a:cubicBezTo>
                    <a:pt x="10903" y="3751"/>
                    <a:pt x="10894" y="3718"/>
                    <a:pt x="10883" y="3671"/>
                  </a:cubicBezTo>
                  <a:cubicBezTo>
                    <a:pt x="10871" y="3624"/>
                    <a:pt x="10856" y="3560"/>
                    <a:pt x="10838" y="3486"/>
                  </a:cubicBezTo>
                  <a:cubicBezTo>
                    <a:pt x="10805" y="3350"/>
                    <a:pt x="10764" y="3179"/>
                    <a:pt x="10720" y="3007"/>
                  </a:cubicBezTo>
                  <a:cubicBezTo>
                    <a:pt x="10908" y="3003"/>
                    <a:pt x="12289" y="2973"/>
                    <a:pt x="12289" y="2973"/>
                  </a:cubicBezTo>
                  <a:cubicBezTo>
                    <a:pt x="12289" y="2973"/>
                    <a:pt x="12289" y="2973"/>
                    <a:pt x="12289" y="2973"/>
                  </a:cubicBezTo>
                  <a:cubicBezTo>
                    <a:pt x="12290" y="2973"/>
                    <a:pt x="12290" y="2973"/>
                    <a:pt x="12290" y="2973"/>
                  </a:cubicBezTo>
                  <a:cubicBezTo>
                    <a:pt x="12290" y="2973"/>
                    <a:pt x="12291" y="2973"/>
                    <a:pt x="12295" y="2973"/>
                  </a:cubicBezTo>
                  <a:cubicBezTo>
                    <a:pt x="12322" y="2972"/>
                    <a:pt x="12426" y="2979"/>
                    <a:pt x="12494" y="3040"/>
                  </a:cubicBezTo>
                  <a:cubicBezTo>
                    <a:pt x="13232" y="4163"/>
                    <a:pt x="13232" y="4163"/>
                    <a:pt x="13232" y="4163"/>
                  </a:cubicBezTo>
                  <a:cubicBezTo>
                    <a:pt x="13232" y="4163"/>
                    <a:pt x="13232" y="4163"/>
                    <a:pt x="13233" y="4165"/>
                  </a:cubicBezTo>
                  <a:cubicBezTo>
                    <a:pt x="13234" y="4166"/>
                    <a:pt x="13235" y="4168"/>
                    <a:pt x="13237" y="4171"/>
                  </a:cubicBezTo>
                  <a:cubicBezTo>
                    <a:pt x="13240" y="4178"/>
                    <a:pt x="13244" y="4187"/>
                    <a:pt x="13249" y="4200"/>
                  </a:cubicBezTo>
                  <a:cubicBezTo>
                    <a:pt x="13258" y="4225"/>
                    <a:pt x="13267" y="4262"/>
                    <a:pt x="13267" y="4309"/>
                  </a:cubicBezTo>
                  <a:cubicBezTo>
                    <a:pt x="13267" y="4360"/>
                    <a:pt x="13257" y="4423"/>
                    <a:pt x="13223" y="4495"/>
                  </a:cubicBezTo>
                  <a:cubicBezTo>
                    <a:pt x="13146" y="4658"/>
                    <a:pt x="13083" y="4762"/>
                    <a:pt x="13057" y="4803"/>
                  </a:cubicBezTo>
                  <a:cubicBezTo>
                    <a:pt x="13057" y="4803"/>
                    <a:pt x="13056" y="4804"/>
                    <a:pt x="13056" y="4804"/>
                  </a:cubicBezTo>
                  <a:cubicBezTo>
                    <a:pt x="12897" y="4758"/>
                    <a:pt x="12897" y="4758"/>
                    <a:pt x="12897" y="4758"/>
                  </a:cubicBezTo>
                  <a:cubicBezTo>
                    <a:pt x="12717" y="4709"/>
                    <a:pt x="12389" y="4686"/>
                    <a:pt x="12299" y="4680"/>
                  </a:cubicBezTo>
                  <a:cubicBezTo>
                    <a:pt x="12275" y="4579"/>
                    <a:pt x="12217" y="4518"/>
                    <a:pt x="12155" y="4489"/>
                  </a:cubicBezTo>
                  <a:close/>
                  <a:moveTo>
                    <a:pt x="12876" y="1058"/>
                  </a:moveTo>
                  <a:cubicBezTo>
                    <a:pt x="12879" y="1064"/>
                    <a:pt x="12881" y="1071"/>
                    <a:pt x="12884" y="1078"/>
                  </a:cubicBezTo>
                  <a:cubicBezTo>
                    <a:pt x="12774" y="1100"/>
                    <a:pt x="12651" y="1117"/>
                    <a:pt x="12549" y="1145"/>
                  </a:cubicBezTo>
                  <a:cubicBezTo>
                    <a:pt x="12376" y="1193"/>
                    <a:pt x="12263" y="1247"/>
                    <a:pt x="12234" y="1263"/>
                  </a:cubicBezTo>
                  <a:cubicBezTo>
                    <a:pt x="12162" y="1304"/>
                    <a:pt x="11798" y="1599"/>
                    <a:pt x="11616" y="1725"/>
                  </a:cubicBezTo>
                  <a:cubicBezTo>
                    <a:pt x="11569" y="1769"/>
                    <a:pt x="11523" y="1812"/>
                    <a:pt x="11477" y="1855"/>
                  </a:cubicBezTo>
                  <a:cubicBezTo>
                    <a:pt x="11331" y="1992"/>
                    <a:pt x="11194" y="2122"/>
                    <a:pt x="11083" y="2224"/>
                  </a:cubicBezTo>
                  <a:cubicBezTo>
                    <a:pt x="11028" y="2275"/>
                    <a:pt x="10979" y="2319"/>
                    <a:pt x="10939" y="2353"/>
                  </a:cubicBezTo>
                  <a:cubicBezTo>
                    <a:pt x="10898" y="2388"/>
                    <a:pt x="10868" y="2413"/>
                    <a:pt x="10842" y="2428"/>
                  </a:cubicBezTo>
                  <a:cubicBezTo>
                    <a:pt x="10823" y="2439"/>
                    <a:pt x="10802" y="2448"/>
                    <a:pt x="10770" y="2460"/>
                  </a:cubicBezTo>
                  <a:cubicBezTo>
                    <a:pt x="10727" y="2475"/>
                    <a:pt x="10666" y="2495"/>
                    <a:pt x="10593" y="2518"/>
                  </a:cubicBezTo>
                  <a:cubicBezTo>
                    <a:pt x="10581" y="2473"/>
                    <a:pt x="10570" y="2433"/>
                    <a:pt x="10561" y="2399"/>
                  </a:cubicBezTo>
                  <a:cubicBezTo>
                    <a:pt x="10607" y="2385"/>
                    <a:pt x="10649" y="2371"/>
                    <a:pt x="10682" y="2360"/>
                  </a:cubicBezTo>
                  <a:cubicBezTo>
                    <a:pt x="10710" y="2351"/>
                    <a:pt x="10732" y="2343"/>
                    <a:pt x="10749" y="2336"/>
                  </a:cubicBezTo>
                  <a:cubicBezTo>
                    <a:pt x="10757" y="2333"/>
                    <a:pt x="10765" y="2330"/>
                    <a:pt x="10770" y="2327"/>
                  </a:cubicBezTo>
                  <a:cubicBezTo>
                    <a:pt x="10775" y="2325"/>
                    <a:pt x="10777" y="2324"/>
                    <a:pt x="10779" y="2323"/>
                  </a:cubicBezTo>
                  <a:cubicBezTo>
                    <a:pt x="10779" y="2323"/>
                    <a:pt x="10779" y="2323"/>
                    <a:pt x="10779" y="2323"/>
                  </a:cubicBezTo>
                  <a:cubicBezTo>
                    <a:pt x="10793" y="2315"/>
                    <a:pt x="10829" y="2286"/>
                    <a:pt x="10876" y="2245"/>
                  </a:cubicBezTo>
                  <a:cubicBezTo>
                    <a:pt x="11040" y="2101"/>
                    <a:pt x="11349" y="1802"/>
                    <a:pt x="11647" y="1529"/>
                  </a:cubicBezTo>
                  <a:cubicBezTo>
                    <a:pt x="11796" y="1393"/>
                    <a:pt x="11942" y="1262"/>
                    <a:pt x="12068" y="1160"/>
                  </a:cubicBezTo>
                  <a:cubicBezTo>
                    <a:pt x="12130" y="1109"/>
                    <a:pt x="12188" y="1065"/>
                    <a:pt x="12239" y="1030"/>
                  </a:cubicBezTo>
                  <a:cubicBezTo>
                    <a:pt x="12290" y="995"/>
                    <a:pt x="12333" y="969"/>
                    <a:pt x="12374" y="955"/>
                  </a:cubicBezTo>
                  <a:cubicBezTo>
                    <a:pt x="12467" y="923"/>
                    <a:pt x="12587" y="906"/>
                    <a:pt x="12730" y="896"/>
                  </a:cubicBezTo>
                  <a:cubicBezTo>
                    <a:pt x="12760" y="894"/>
                    <a:pt x="12792" y="892"/>
                    <a:pt x="12824" y="891"/>
                  </a:cubicBezTo>
                  <a:cubicBezTo>
                    <a:pt x="12836" y="939"/>
                    <a:pt x="12852" y="997"/>
                    <a:pt x="12876" y="1058"/>
                  </a:cubicBezTo>
                  <a:close/>
                  <a:moveTo>
                    <a:pt x="11851" y="1099"/>
                  </a:moveTo>
                  <a:cubicBezTo>
                    <a:pt x="11873" y="1075"/>
                    <a:pt x="11891" y="1054"/>
                    <a:pt x="11905" y="1034"/>
                  </a:cubicBezTo>
                  <a:cubicBezTo>
                    <a:pt x="11919" y="1014"/>
                    <a:pt x="11954" y="971"/>
                    <a:pt x="11996" y="931"/>
                  </a:cubicBezTo>
                  <a:cubicBezTo>
                    <a:pt x="12037" y="891"/>
                    <a:pt x="12086" y="853"/>
                    <a:pt x="12121" y="838"/>
                  </a:cubicBezTo>
                  <a:cubicBezTo>
                    <a:pt x="12200" y="802"/>
                    <a:pt x="12300" y="797"/>
                    <a:pt x="12424" y="793"/>
                  </a:cubicBezTo>
                  <a:cubicBezTo>
                    <a:pt x="12455" y="791"/>
                    <a:pt x="12603" y="790"/>
                    <a:pt x="12803" y="789"/>
                  </a:cubicBezTo>
                  <a:cubicBezTo>
                    <a:pt x="12806" y="809"/>
                    <a:pt x="12812" y="838"/>
                    <a:pt x="12820" y="874"/>
                  </a:cubicBezTo>
                  <a:cubicBezTo>
                    <a:pt x="12789" y="876"/>
                    <a:pt x="12758" y="877"/>
                    <a:pt x="12729" y="879"/>
                  </a:cubicBezTo>
                  <a:cubicBezTo>
                    <a:pt x="12585" y="890"/>
                    <a:pt x="12464" y="907"/>
                    <a:pt x="12368" y="940"/>
                  </a:cubicBezTo>
                  <a:cubicBezTo>
                    <a:pt x="12325" y="955"/>
                    <a:pt x="12281" y="981"/>
                    <a:pt x="12230" y="1016"/>
                  </a:cubicBezTo>
                  <a:cubicBezTo>
                    <a:pt x="12178" y="1051"/>
                    <a:pt x="12120" y="1096"/>
                    <a:pt x="12057" y="1147"/>
                  </a:cubicBezTo>
                  <a:cubicBezTo>
                    <a:pt x="11931" y="1250"/>
                    <a:pt x="11785" y="1380"/>
                    <a:pt x="11636" y="1517"/>
                  </a:cubicBezTo>
                  <a:cubicBezTo>
                    <a:pt x="11338" y="1791"/>
                    <a:pt x="11029" y="2090"/>
                    <a:pt x="10865" y="2233"/>
                  </a:cubicBezTo>
                  <a:cubicBezTo>
                    <a:pt x="10819" y="2273"/>
                    <a:pt x="10782" y="2303"/>
                    <a:pt x="10771" y="2309"/>
                  </a:cubicBezTo>
                  <a:cubicBezTo>
                    <a:pt x="10770" y="2309"/>
                    <a:pt x="10770" y="2309"/>
                    <a:pt x="10770" y="2309"/>
                  </a:cubicBezTo>
                  <a:cubicBezTo>
                    <a:pt x="10770" y="2309"/>
                    <a:pt x="10769" y="2309"/>
                    <a:pt x="10769" y="2310"/>
                  </a:cubicBezTo>
                  <a:cubicBezTo>
                    <a:pt x="10767" y="2310"/>
                    <a:pt x="10765" y="2311"/>
                    <a:pt x="10763" y="2312"/>
                  </a:cubicBezTo>
                  <a:cubicBezTo>
                    <a:pt x="10758" y="2315"/>
                    <a:pt x="10751" y="2318"/>
                    <a:pt x="10743" y="2321"/>
                  </a:cubicBezTo>
                  <a:cubicBezTo>
                    <a:pt x="10727" y="2327"/>
                    <a:pt x="10704" y="2335"/>
                    <a:pt x="10677" y="2344"/>
                  </a:cubicBezTo>
                  <a:cubicBezTo>
                    <a:pt x="10644" y="2356"/>
                    <a:pt x="10603" y="2369"/>
                    <a:pt x="10556" y="2383"/>
                  </a:cubicBezTo>
                  <a:cubicBezTo>
                    <a:pt x="10550" y="2359"/>
                    <a:pt x="10544" y="2339"/>
                    <a:pt x="10540" y="2322"/>
                  </a:cubicBezTo>
                  <a:cubicBezTo>
                    <a:pt x="10546" y="2321"/>
                    <a:pt x="10546" y="2321"/>
                    <a:pt x="10546" y="2321"/>
                  </a:cubicBezTo>
                  <a:cubicBezTo>
                    <a:pt x="10547" y="2320"/>
                    <a:pt x="10547" y="2320"/>
                    <a:pt x="10547" y="2320"/>
                  </a:cubicBezTo>
                  <a:cubicBezTo>
                    <a:pt x="10554" y="2317"/>
                    <a:pt x="10563" y="2315"/>
                    <a:pt x="10573" y="2311"/>
                  </a:cubicBezTo>
                  <a:cubicBezTo>
                    <a:pt x="10597" y="2302"/>
                    <a:pt x="10625" y="2291"/>
                    <a:pt x="10654" y="2267"/>
                  </a:cubicBezTo>
                  <a:cubicBezTo>
                    <a:pt x="10659" y="2263"/>
                    <a:pt x="10662" y="2260"/>
                    <a:pt x="10670" y="2253"/>
                  </a:cubicBezTo>
                  <a:cubicBezTo>
                    <a:pt x="10677" y="2246"/>
                    <a:pt x="10687" y="2237"/>
                    <a:pt x="10698" y="2226"/>
                  </a:cubicBezTo>
                  <a:cubicBezTo>
                    <a:pt x="10722" y="2204"/>
                    <a:pt x="10754" y="2173"/>
                    <a:pt x="10792" y="2137"/>
                  </a:cubicBezTo>
                  <a:cubicBezTo>
                    <a:pt x="10868" y="2064"/>
                    <a:pt x="10970" y="1967"/>
                    <a:pt x="11077" y="1864"/>
                  </a:cubicBezTo>
                  <a:cubicBezTo>
                    <a:pt x="11291" y="1657"/>
                    <a:pt x="11529" y="1429"/>
                    <a:pt x="11635" y="1325"/>
                  </a:cubicBezTo>
                  <a:cubicBezTo>
                    <a:pt x="11666" y="1295"/>
                    <a:pt x="11684" y="1277"/>
                    <a:pt x="11692" y="1269"/>
                  </a:cubicBezTo>
                  <a:cubicBezTo>
                    <a:pt x="11694" y="1267"/>
                    <a:pt x="11694" y="1267"/>
                    <a:pt x="11699" y="1260"/>
                  </a:cubicBezTo>
                  <a:cubicBezTo>
                    <a:pt x="11700" y="1260"/>
                    <a:pt x="11700" y="1259"/>
                    <a:pt x="11701" y="1258"/>
                  </a:cubicBezTo>
                  <a:cubicBezTo>
                    <a:pt x="11703" y="1256"/>
                    <a:pt x="11706" y="1253"/>
                    <a:pt x="11709" y="1249"/>
                  </a:cubicBezTo>
                  <a:cubicBezTo>
                    <a:pt x="11718" y="1240"/>
                    <a:pt x="11732" y="1225"/>
                    <a:pt x="11748" y="1209"/>
                  </a:cubicBezTo>
                  <a:cubicBezTo>
                    <a:pt x="11779" y="1176"/>
                    <a:pt x="11819" y="1135"/>
                    <a:pt x="11851" y="1099"/>
                  </a:cubicBezTo>
                  <a:close/>
                  <a:moveTo>
                    <a:pt x="11598" y="1280"/>
                  </a:moveTo>
                  <a:cubicBezTo>
                    <a:pt x="11603" y="1283"/>
                    <a:pt x="11608" y="1285"/>
                    <a:pt x="11612" y="1287"/>
                  </a:cubicBezTo>
                  <a:cubicBezTo>
                    <a:pt x="11612" y="1286"/>
                    <a:pt x="11612" y="1286"/>
                    <a:pt x="11612" y="1286"/>
                  </a:cubicBezTo>
                  <a:cubicBezTo>
                    <a:pt x="11608" y="1285"/>
                    <a:pt x="11603" y="1283"/>
                    <a:pt x="11598" y="1280"/>
                  </a:cubicBezTo>
                  <a:close/>
                  <a:moveTo>
                    <a:pt x="10594" y="226"/>
                  </a:moveTo>
                  <a:cubicBezTo>
                    <a:pt x="10595" y="226"/>
                    <a:pt x="10595" y="226"/>
                    <a:pt x="10595" y="226"/>
                  </a:cubicBezTo>
                  <a:cubicBezTo>
                    <a:pt x="10596" y="225"/>
                    <a:pt x="10732" y="176"/>
                    <a:pt x="10749" y="170"/>
                  </a:cubicBezTo>
                  <a:cubicBezTo>
                    <a:pt x="10888" y="172"/>
                    <a:pt x="10888" y="172"/>
                    <a:pt x="10888" y="172"/>
                  </a:cubicBezTo>
                  <a:cubicBezTo>
                    <a:pt x="10888" y="173"/>
                    <a:pt x="10888" y="173"/>
                    <a:pt x="10888" y="173"/>
                  </a:cubicBezTo>
                  <a:cubicBezTo>
                    <a:pt x="10899" y="172"/>
                    <a:pt x="10899" y="172"/>
                    <a:pt x="10899" y="172"/>
                  </a:cubicBezTo>
                  <a:cubicBezTo>
                    <a:pt x="11564" y="181"/>
                    <a:pt x="11564" y="181"/>
                    <a:pt x="11564" y="181"/>
                  </a:cubicBezTo>
                  <a:cubicBezTo>
                    <a:pt x="11565" y="205"/>
                    <a:pt x="11565" y="228"/>
                    <a:pt x="11565" y="253"/>
                  </a:cubicBezTo>
                  <a:cubicBezTo>
                    <a:pt x="11568" y="674"/>
                    <a:pt x="11702" y="923"/>
                    <a:pt x="11744" y="990"/>
                  </a:cubicBezTo>
                  <a:cubicBezTo>
                    <a:pt x="11729" y="1007"/>
                    <a:pt x="11711" y="1026"/>
                    <a:pt x="11693" y="1045"/>
                  </a:cubicBezTo>
                  <a:cubicBezTo>
                    <a:pt x="11654" y="1087"/>
                    <a:pt x="11614" y="1128"/>
                    <a:pt x="11594" y="1149"/>
                  </a:cubicBezTo>
                  <a:cubicBezTo>
                    <a:pt x="11587" y="1156"/>
                    <a:pt x="11584" y="1159"/>
                    <a:pt x="11578" y="1168"/>
                  </a:cubicBezTo>
                  <a:cubicBezTo>
                    <a:pt x="11578" y="1168"/>
                    <a:pt x="11578" y="1168"/>
                    <a:pt x="11578" y="1168"/>
                  </a:cubicBezTo>
                  <a:cubicBezTo>
                    <a:pt x="11577" y="1169"/>
                    <a:pt x="11576" y="1169"/>
                    <a:pt x="11576" y="1170"/>
                  </a:cubicBezTo>
                  <a:cubicBezTo>
                    <a:pt x="11570" y="1175"/>
                    <a:pt x="11562" y="1183"/>
                    <a:pt x="11552" y="1193"/>
                  </a:cubicBezTo>
                  <a:cubicBezTo>
                    <a:pt x="11531" y="1214"/>
                    <a:pt x="11501" y="1243"/>
                    <a:pt x="11464" y="1279"/>
                  </a:cubicBezTo>
                  <a:cubicBezTo>
                    <a:pt x="11427" y="1315"/>
                    <a:pt x="11383" y="1358"/>
                    <a:pt x="11334" y="1404"/>
                  </a:cubicBezTo>
                  <a:cubicBezTo>
                    <a:pt x="11303" y="1377"/>
                    <a:pt x="11230" y="1315"/>
                    <a:pt x="11149" y="1246"/>
                  </a:cubicBezTo>
                  <a:cubicBezTo>
                    <a:pt x="11042" y="1154"/>
                    <a:pt x="10921" y="1048"/>
                    <a:pt x="10869" y="998"/>
                  </a:cubicBezTo>
                  <a:cubicBezTo>
                    <a:pt x="10751" y="885"/>
                    <a:pt x="10603" y="886"/>
                    <a:pt x="10599" y="885"/>
                  </a:cubicBezTo>
                  <a:cubicBezTo>
                    <a:pt x="9863" y="885"/>
                    <a:pt x="9863" y="885"/>
                    <a:pt x="9863" y="885"/>
                  </a:cubicBezTo>
                  <a:cubicBezTo>
                    <a:pt x="9862" y="791"/>
                    <a:pt x="9850" y="510"/>
                    <a:pt x="9839" y="242"/>
                  </a:cubicBezTo>
                  <a:lnTo>
                    <a:pt x="10594" y="226"/>
                  </a:lnTo>
                  <a:close/>
                  <a:moveTo>
                    <a:pt x="9356" y="1184"/>
                  </a:moveTo>
                  <a:cubicBezTo>
                    <a:pt x="9359" y="1184"/>
                    <a:pt x="9361" y="1184"/>
                    <a:pt x="9362" y="1184"/>
                  </a:cubicBezTo>
                  <a:cubicBezTo>
                    <a:pt x="9364" y="1185"/>
                    <a:pt x="9366" y="1185"/>
                    <a:pt x="9367" y="1185"/>
                  </a:cubicBezTo>
                  <a:cubicBezTo>
                    <a:pt x="9377" y="1184"/>
                    <a:pt x="9379" y="1182"/>
                    <a:pt x="9381" y="1182"/>
                  </a:cubicBezTo>
                  <a:cubicBezTo>
                    <a:pt x="9384" y="1181"/>
                    <a:pt x="9386" y="1180"/>
                    <a:pt x="9388" y="1179"/>
                  </a:cubicBezTo>
                  <a:cubicBezTo>
                    <a:pt x="9391" y="1177"/>
                    <a:pt x="9395" y="1174"/>
                    <a:pt x="9400" y="1171"/>
                  </a:cubicBezTo>
                  <a:cubicBezTo>
                    <a:pt x="9409" y="1165"/>
                    <a:pt x="9421" y="1158"/>
                    <a:pt x="9435" y="1148"/>
                  </a:cubicBezTo>
                  <a:cubicBezTo>
                    <a:pt x="9463" y="1129"/>
                    <a:pt x="9499" y="1104"/>
                    <a:pt x="9536" y="1078"/>
                  </a:cubicBezTo>
                  <a:cubicBezTo>
                    <a:pt x="9611" y="1025"/>
                    <a:pt x="9691" y="968"/>
                    <a:pt x="9717" y="952"/>
                  </a:cubicBezTo>
                  <a:cubicBezTo>
                    <a:pt x="9718" y="951"/>
                    <a:pt x="9718" y="951"/>
                    <a:pt x="9718" y="951"/>
                  </a:cubicBezTo>
                  <a:cubicBezTo>
                    <a:pt x="9735" y="951"/>
                    <a:pt x="9775" y="951"/>
                    <a:pt x="9830" y="951"/>
                  </a:cubicBezTo>
                  <a:cubicBezTo>
                    <a:pt x="9830" y="951"/>
                    <a:pt x="9830" y="951"/>
                    <a:pt x="9830" y="951"/>
                  </a:cubicBezTo>
                  <a:cubicBezTo>
                    <a:pt x="9830" y="951"/>
                    <a:pt x="9830" y="951"/>
                    <a:pt x="9830" y="951"/>
                  </a:cubicBezTo>
                  <a:cubicBezTo>
                    <a:pt x="10073" y="951"/>
                    <a:pt x="10599" y="951"/>
                    <a:pt x="10599" y="951"/>
                  </a:cubicBezTo>
                  <a:cubicBezTo>
                    <a:pt x="10600" y="951"/>
                    <a:pt x="10600" y="951"/>
                    <a:pt x="10600" y="951"/>
                  </a:cubicBezTo>
                  <a:cubicBezTo>
                    <a:pt x="10601" y="951"/>
                    <a:pt x="10602" y="951"/>
                    <a:pt x="10604" y="951"/>
                  </a:cubicBezTo>
                  <a:cubicBezTo>
                    <a:pt x="10607" y="951"/>
                    <a:pt x="10612" y="952"/>
                    <a:pt x="10619" y="953"/>
                  </a:cubicBezTo>
                  <a:cubicBezTo>
                    <a:pt x="10633" y="954"/>
                    <a:pt x="10652" y="957"/>
                    <a:pt x="10674" y="963"/>
                  </a:cubicBezTo>
                  <a:cubicBezTo>
                    <a:pt x="10719" y="975"/>
                    <a:pt x="10775" y="998"/>
                    <a:pt x="10823" y="1045"/>
                  </a:cubicBezTo>
                  <a:cubicBezTo>
                    <a:pt x="10916" y="1135"/>
                    <a:pt x="11206" y="1381"/>
                    <a:pt x="11287" y="1450"/>
                  </a:cubicBezTo>
                  <a:cubicBezTo>
                    <a:pt x="11253" y="1483"/>
                    <a:pt x="11217" y="1517"/>
                    <a:pt x="11180" y="1553"/>
                  </a:cubicBezTo>
                  <a:cubicBezTo>
                    <a:pt x="10964" y="1761"/>
                    <a:pt x="10720" y="1994"/>
                    <a:pt x="10611" y="2099"/>
                  </a:cubicBezTo>
                  <a:cubicBezTo>
                    <a:pt x="10580" y="2128"/>
                    <a:pt x="10558" y="2148"/>
                    <a:pt x="10555" y="2151"/>
                  </a:cubicBezTo>
                  <a:cubicBezTo>
                    <a:pt x="10555" y="2151"/>
                    <a:pt x="10555" y="2151"/>
                    <a:pt x="10555" y="2151"/>
                  </a:cubicBezTo>
                  <a:cubicBezTo>
                    <a:pt x="10553" y="2153"/>
                    <a:pt x="10539" y="2161"/>
                    <a:pt x="10526" y="2166"/>
                  </a:cubicBezTo>
                  <a:cubicBezTo>
                    <a:pt x="10512" y="2171"/>
                    <a:pt x="10498" y="2175"/>
                    <a:pt x="10493" y="2177"/>
                  </a:cubicBezTo>
                  <a:cubicBezTo>
                    <a:pt x="10492" y="2177"/>
                    <a:pt x="10492" y="2177"/>
                    <a:pt x="10492" y="2177"/>
                  </a:cubicBezTo>
                  <a:cubicBezTo>
                    <a:pt x="10466" y="2184"/>
                    <a:pt x="10008" y="2299"/>
                    <a:pt x="9545" y="2416"/>
                  </a:cubicBezTo>
                  <a:cubicBezTo>
                    <a:pt x="9131" y="2521"/>
                    <a:pt x="8711" y="2627"/>
                    <a:pt x="8592" y="2657"/>
                  </a:cubicBezTo>
                  <a:cubicBezTo>
                    <a:pt x="8588" y="2565"/>
                    <a:pt x="8578" y="2378"/>
                    <a:pt x="8576" y="2324"/>
                  </a:cubicBezTo>
                  <a:cubicBezTo>
                    <a:pt x="8574" y="2297"/>
                    <a:pt x="8573" y="2263"/>
                    <a:pt x="8573" y="2227"/>
                  </a:cubicBezTo>
                  <a:cubicBezTo>
                    <a:pt x="8573" y="2168"/>
                    <a:pt x="8577" y="2104"/>
                    <a:pt x="8588" y="2063"/>
                  </a:cubicBezTo>
                  <a:cubicBezTo>
                    <a:pt x="8609" y="1986"/>
                    <a:pt x="8691" y="1680"/>
                    <a:pt x="8702" y="1610"/>
                  </a:cubicBezTo>
                  <a:cubicBezTo>
                    <a:pt x="8704" y="1598"/>
                    <a:pt x="8705" y="1583"/>
                    <a:pt x="8705" y="1565"/>
                  </a:cubicBezTo>
                  <a:cubicBezTo>
                    <a:pt x="8705" y="1470"/>
                    <a:pt x="8688" y="1275"/>
                    <a:pt x="8681" y="1199"/>
                  </a:cubicBezTo>
                  <a:cubicBezTo>
                    <a:pt x="8937" y="1195"/>
                    <a:pt x="9290" y="1184"/>
                    <a:pt x="9356" y="1184"/>
                  </a:cubicBezTo>
                  <a:close/>
                  <a:moveTo>
                    <a:pt x="7130" y="1388"/>
                  </a:moveTo>
                  <a:cubicBezTo>
                    <a:pt x="7133" y="1370"/>
                    <a:pt x="7135" y="1358"/>
                    <a:pt x="7135" y="1347"/>
                  </a:cubicBezTo>
                  <a:cubicBezTo>
                    <a:pt x="7135" y="1345"/>
                    <a:pt x="7135" y="1344"/>
                    <a:pt x="7134" y="1341"/>
                  </a:cubicBezTo>
                  <a:cubicBezTo>
                    <a:pt x="7134" y="1339"/>
                    <a:pt x="7134" y="1337"/>
                    <a:pt x="7132" y="1333"/>
                  </a:cubicBezTo>
                  <a:cubicBezTo>
                    <a:pt x="7133" y="1328"/>
                    <a:pt x="7135" y="1322"/>
                    <a:pt x="7137" y="1318"/>
                  </a:cubicBezTo>
                  <a:cubicBezTo>
                    <a:pt x="7142" y="1310"/>
                    <a:pt x="7145" y="1308"/>
                    <a:pt x="7148" y="1308"/>
                  </a:cubicBezTo>
                  <a:cubicBezTo>
                    <a:pt x="7169" y="1304"/>
                    <a:pt x="7227" y="1294"/>
                    <a:pt x="7288" y="1281"/>
                  </a:cubicBezTo>
                  <a:cubicBezTo>
                    <a:pt x="7350" y="1268"/>
                    <a:pt x="7412" y="1254"/>
                    <a:pt x="7447" y="1240"/>
                  </a:cubicBezTo>
                  <a:cubicBezTo>
                    <a:pt x="7496" y="1219"/>
                    <a:pt x="7714" y="1173"/>
                    <a:pt x="7786" y="1171"/>
                  </a:cubicBezTo>
                  <a:cubicBezTo>
                    <a:pt x="7790" y="1171"/>
                    <a:pt x="7796" y="1171"/>
                    <a:pt x="7804" y="1171"/>
                  </a:cubicBezTo>
                  <a:cubicBezTo>
                    <a:pt x="7913" y="1170"/>
                    <a:pt x="8276" y="1192"/>
                    <a:pt x="8459" y="1198"/>
                  </a:cubicBezTo>
                  <a:cubicBezTo>
                    <a:pt x="8485" y="1199"/>
                    <a:pt x="8518" y="1199"/>
                    <a:pt x="8556" y="1199"/>
                  </a:cubicBezTo>
                  <a:cubicBezTo>
                    <a:pt x="8575" y="1199"/>
                    <a:pt x="8595" y="1199"/>
                    <a:pt x="8616" y="1199"/>
                  </a:cubicBezTo>
                  <a:cubicBezTo>
                    <a:pt x="8618" y="1227"/>
                    <a:pt x="8622" y="1274"/>
                    <a:pt x="8626" y="1326"/>
                  </a:cubicBezTo>
                  <a:cubicBezTo>
                    <a:pt x="8633" y="1410"/>
                    <a:pt x="8639" y="1509"/>
                    <a:pt x="8639" y="1565"/>
                  </a:cubicBezTo>
                  <a:cubicBezTo>
                    <a:pt x="8639" y="1582"/>
                    <a:pt x="8638" y="1595"/>
                    <a:pt x="8637" y="1600"/>
                  </a:cubicBezTo>
                  <a:cubicBezTo>
                    <a:pt x="8628" y="1660"/>
                    <a:pt x="8545" y="1972"/>
                    <a:pt x="8525" y="2046"/>
                  </a:cubicBezTo>
                  <a:cubicBezTo>
                    <a:pt x="8511" y="2099"/>
                    <a:pt x="8508" y="2166"/>
                    <a:pt x="8508" y="2227"/>
                  </a:cubicBezTo>
                  <a:cubicBezTo>
                    <a:pt x="8508" y="2265"/>
                    <a:pt x="8509" y="2300"/>
                    <a:pt x="8510" y="2327"/>
                  </a:cubicBezTo>
                  <a:cubicBezTo>
                    <a:pt x="8511" y="2341"/>
                    <a:pt x="8512" y="2365"/>
                    <a:pt x="8513" y="2393"/>
                  </a:cubicBezTo>
                  <a:cubicBezTo>
                    <a:pt x="7282" y="2416"/>
                    <a:pt x="7282" y="2416"/>
                    <a:pt x="7282" y="2416"/>
                  </a:cubicBezTo>
                  <a:cubicBezTo>
                    <a:pt x="7273" y="2415"/>
                    <a:pt x="7243" y="2410"/>
                    <a:pt x="7202" y="2404"/>
                  </a:cubicBezTo>
                  <a:cubicBezTo>
                    <a:pt x="7200" y="2373"/>
                    <a:pt x="7195" y="2318"/>
                    <a:pt x="7188" y="2247"/>
                  </a:cubicBezTo>
                  <a:cubicBezTo>
                    <a:pt x="7179" y="2158"/>
                    <a:pt x="7166" y="2046"/>
                    <a:pt x="7154" y="1937"/>
                  </a:cubicBezTo>
                  <a:cubicBezTo>
                    <a:pt x="7132" y="1737"/>
                    <a:pt x="7110" y="1545"/>
                    <a:pt x="7106" y="1513"/>
                  </a:cubicBezTo>
                  <a:cubicBezTo>
                    <a:pt x="7110" y="1495"/>
                    <a:pt x="7123" y="1431"/>
                    <a:pt x="7130" y="1388"/>
                  </a:cubicBezTo>
                  <a:close/>
                  <a:moveTo>
                    <a:pt x="4094" y="1427"/>
                  </a:moveTo>
                  <a:cubicBezTo>
                    <a:pt x="4102" y="1414"/>
                    <a:pt x="4126" y="1369"/>
                    <a:pt x="4160" y="1313"/>
                  </a:cubicBezTo>
                  <a:cubicBezTo>
                    <a:pt x="4201" y="1243"/>
                    <a:pt x="4232" y="1125"/>
                    <a:pt x="4238" y="1102"/>
                  </a:cubicBezTo>
                  <a:cubicBezTo>
                    <a:pt x="4465" y="660"/>
                    <a:pt x="4465" y="660"/>
                    <a:pt x="4465" y="660"/>
                  </a:cubicBezTo>
                  <a:cubicBezTo>
                    <a:pt x="4523" y="690"/>
                    <a:pt x="4687" y="767"/>
                    <a:pt x="4919" y="836"/>
                  </a:cubicBezTo>
                  <a:cubicBezTo>
                    <a:pt x="5208" y="922"/>
                    <a:pt x="5501" y="1012"/>
                    <a:pt x="5634" y="1020"/>
                  </a:cubicBezTo>
                  <a:cubicBezTo>
                    <a:pt x="5647" y="1020"/>
                    <a:pt x="5659" y="1021"/>
                    <a:pt x="5671" y="1021"/>
                  </a:cubicBezTo>
                  <a:cubicBezTo>
                    <a:pt x="5779" y="1021"/>
                    <a:pt x="5851" y="989"/>
                    <a:pt x="5953" y="933"/>
                  </a:cubicBezTo>
                  <a:cubicBezTo>
                    <a:pt x="6063" y="874"/>
                    <a:pt x="6278" y="748"/>
                    <a:pt x="6296" y="738"/>
                  </a:cubicBezTo>
                  <a:cubicBezTo>
                    <a:pt x="6296" y="738"/>
                    <a:pt x="6296" y="738"/>
                    <a:pt x="6297" y="738"/>
                  </a:cubicBezTo>
                  <a:cubicBezTo>
                    <a:pt x="6298" y="737"/>
                    <a:pt x="6299" y="736"/>
                    <a:pt x="6302" y="735"/>
                  </a:cubicBezTo>
                  <a:cubicBezTo>
                    <a:pt x="6306" y="734"/>
                    <a:pt x="6313" y="731"/>
                    <a:pt x="6322" y="728"/>
                  </a:cubicBezTo>
                  <a:cubicBezTo>
                    <a:pt x="6340" y="723"/>
                    <a:pt x="6365" y="718"/>
                    <a:pt x="6392" y="718"/>
                  </a:cubicBezTo>
                  <a:cubicBezTo>
                    <a:pt x="6449" y="719"/>
                    <a:pt x="6515" y="737"/>
                    <a:pt x="6571" y="830"/>
                  </a:cubicBezTo>
                  <a:cubicBezTo>
                    <a:pt x="6849" y="1332"/>
                    <a:pt x="6849" y="1332"/>
                    <a:pt x="6849" y="1332"/>
                  </a:cubicBezTo>
                  <a:cubicBezTo>
                    <a:pt x="6850" y="1334"/>
                    <a:pt x="6884" y="1395"/>
                    <a:pt x="6940" y="1453"/>
                  </a:cubicBezTo>
                  <a:cubicBezTo>
                    <a:pt x="6974" y="1486"/>
                    <a:pt x="7014" y="1507"/>
                    <a:pt x="7042" y="1529"/>
                  </a:cubicBezTo>
                  <a:cubicBezTo>
                    <a:pt x="7051" y="1606"/>
                    <a:pt x="7098" y="2013"/>
                    <a:pt x="7123" y="2253"/>
                  </a:cubicBezTo>
                  <a:cubicBezTo>
                    <a:pt x="7129" y="2313"/>
                    <a:pt x="7134" y="2363"/>
                    <a:pt x="7136" y="2393"/>
                  </a:cubicBezTo>
                  <a:cubicBezTo>
                    <a:pt x="7116" y="2390"/>
                    <a:pt x="7095" y="2387"/>
                    <a:pt x="7074" y="2384"/>
                  </a:cubicBezTo>
                  <a:cubicBezTo>
                    <a:pt x="6962" y="2368"/>
                    <a:pt x="6839" y="2351"/>
                    <a:pt x="6782" y="2351"/>
                  </a:cubicBezTo>
                  <a:cubicBezTo>
                    <a:pt x="6728" y="2351"/>
                    <a:pt x="6681" y="2356"/>
                    <a:pt x="6639" y="2370"/>
                  </a:cubicBezTo>
                  <a:cubicBezTo>
                    <a:pt x="6597" y="2385"/>
                    <a:pt x="6561" y="2411"/>
                    <a:pt x="6535" y="2449"/>
                  </a:cubicBezTo>
                  <a:cubicBezTo>
                    <a:pt x="6532" y="2454"/>
                    <a:pt x="6532" y="2454"/>
                    <a:pt x="6532" y="2454"/>
                  </a:cubicBezTo>
                  <a:cubicBezTo>
                    <a:pt x="6458" y="2711"/>
                    <a:pt x="6458" y="2711"/>
                    <a:pt x="6458" y="2711"/>
                  </a:cubicBezTo>
                  <a:cubicBezTo>
                    <a:pt x="6293" y="2669"/>
                    <a:pt x="6128" y="2624"/>
                    <a:pt x="6048" y="2601"/>
                  </a:cubicBezTo>
                  <a:cubicBezTo>
                    <a:pt x="5882" y="2551"/>
                    <a:pt x="5390" y="2405"/>
                    <a:pt x="5340" y="2390"/>
                  </a:cubicBezTo>
                  <a:cubicBezTo>
                    <a:pt x="4497" y="2042"/>
                    <a:pt x="4497" y="2042"/>
                    <a:pt x="4497" y="2042"/>
                  </a:cubicBezTo>
                  <a:cubicBezTo>
                    <a:pt x="4454" y="2010"/>
                    <a:pt x="4252" y="1864"/>
                    <a:pt x="4027" y="1765"/>
                  </a:cubicBezTo>
                  <a:lnTo>
                    <a:pt x="4094" y="1427"/>
                  </a:lnTo>
                  <a:close/>
                  <a:moveTo>
                    <a:pt x="3855" y="1861"/>
                  </a:moveTo>
                  <a:cubicBezTo>
                    <a:pt x="4084" y="1936"/>
                    <a:pt x="4343" y="2117"/>
                    <a:pt x="4401" y="2160"/>
                  </a:cubicBezTo>
                  <a:cubicBezTo>
                    <a:pt x="4410" y="2166"/>
                    <a:pt x="4414" y="2169"/>
                    <a:pt x="4414" y="2169"/>
                  </a:cubicBezTo>
                  <a:cubicBezTo>
                    <a:pt x="4422" y="2175"/>
                    <a:pt x="4422" y="2175"/>
                    <a:pt x="4422" y="2175"/>
                  </a:cubicBezTo>
                  <a:cubicBezTo>
                    <a:pt x="5277" y="2529"/>
                    <a:pt x="5277" y="2529"/>
                    <a:pt x="5277" y="2529"/>
                  </a:cubicBezTo>
                  <a:cubicBezTo>
                    <a:pt x="5274" y="2539"/>
                    <a:pt x="5271" y="2551"/>
                    <a:pt x="5267" y="2563"/>
                  </a:cubicBezTo>
                  <a:cubicBezTo>
                    <a:pt x="5253" y="2612"/>
                    <a:pt x="5234" y="2674"/>
                    <a:pt x="5214" y="2735"/>
                  </a:cubicBezTo>
                  <a:cubicBezTo>
                    <a:pt x="5176" y="2858"/>
                    <a:pt x="5137" y="2976"/>
                    <a:pt x="5137" y="2976"/>
                  </a:cubicBezTo>
                  <a:cubicBezTo>
                    <a:pt x="5136" y="2982"/>
                    <a:pt x="5136" y="2982"/>
                    <a:pt x="5136" y="2982"/>
                  </a:cubicBezTo>
                  <a:cubicBezTo>
                    <a:pt x="5144" y="3357"/>
                    <a:pt x="5144" y="3357"/>
                    <a:pt x="5144" y="3357"/>
                  </a:cubicBezTo>
                  <a:cubicBezTo>
                    <a:pt x="4989" y="3717"/>
                    <a:pt x="4989" y="3717"/>
                    <a:pt x="4989" y="3717"/>
                  </a:cubicBezTo>
                  <a:cubicBezTo>
                    <a:pt x="4912" y="3695"/>
                    <a:pt x="4836" y="3674"/>
                    <a:pt x="4765" y="3656"/>
                  </a:cubicBezTo>
                  <a:cubicBezTo>
                    <a:pt x="4566" y="3604"/>
                    <a:pt x="4268" y="3499"/>
                    <a:pt x="3948" y="3381"/>
                  </a:cubicBezTo>
                  <a:cubicBezTo>
                    <a:pt x="3790" y="3322"/>
                    <a:pt x="3612" y="3246"/>
                    <a:pt x="3462" y="3180"/>
                  </a:cubicBezTo>
                  <a:cubicBezTo>
                    <a:pt x="3370" y="3140"/>
                    <a:pt x="3289" y="3105"/>
                    <a:pt x="3227" y="3080"/>
                  </a:cubicBezTo>
                  <a:cubicBezTo>
                    <a:pt x="3645" y="1790"/>
                    <a:pt x="3645" y="1790"/>
                    <a:pt x="3645" y="1790"/>
                  </a:cubicBezTo>
                  <a:cubicBezTo>
                    <a:pt x="3727" y="1818"/>
                    <a:pt x="3801" y="1843"/>
                    <a:pt x="3855" y="1861"/>
                  </a:cubicBezTo>
                  <a:close/>
                  <a:moveTo>
                    <a:pt x="1187" y="3995"/>
                  </a:moveTo>
                  <a:cubicBezTo>
                    <a:pt x="1116" y="3905"/>
                    <a:pt x="1023" y="3785"/>
                    <a:pt x="930" y="3665"/>
                  </a:cubicBezTo>
                  <a:cubicBezTo>
                    <a:pt x="781" y="3472"/>
                    <a:pt x="634" y="3279"/>
                    <a:pt x="582" y="3211"/>
                  </a:cubicBezTo>
                  <a:cubicBezTo>
                    <a:pt x="1286" y="2458"/>
                    <a:pt x="1286" y="2458"/>
                    <a:pt x="1286" y="2458"/>
                  </a:cubicBezTo>
                  <a:cubicBezTo>
                    <a:pt x="1297" y="2449"/>
                    <a:pt x="1361" y="2392"/>
                    <a:pt x="1458" y="2309"/>
                  </a:cubicBezTo>
                  <a:cubicBezTo>
                    <a:pt x="1562" y="2218"/>
                    <a:pt x="1704" y="2096"/>
                    <a:pt x="1850" y="1968"/>
                  </a:cubicBezTo>
                  <a:cubicBezTo>
                    <a:pt x="2144" y="1714"/>
                    <a:pt x="2460" y="1442"/>
                    <a:pt x="2548" y="1369"/>
                  </a:cubicBezTo>
                  <a:cubicBezTo>
                    <a:pt x="2553" y="1366"/>
                    <a:pt x="2556" y="1363"/>
                    <a:pt x="2559" y="1361"/>
                  </a:cubicBezTo>
                  <a:cubicBezTo>
                    <a:pt x="2582" y="1384"/>
                    <a:pt x="2607" y="1403"/>
                    <a:pt x="2631" y="1417"/>
                  </a:cubicBezTo>
                  <a:cubicBezTo>
                    <a:pt x="2674" y="1443"/>
                    <a:pt x="2717" y="1459"/>
                    <a:pt x="2747" y="1470"/>
                  </a:cubicBezTo>
                  <a:cubicBezTo>
                    <a:pt x="2792" y="1487"/>
                    <a:pt x="3244" y="1650"/>
                    <a:pt x="3583" y="1768"/>
                  </a:cubicBezTo>
                  <a:cubicBezTo>
                    <a:pt x="3166" y="3057"/>
                    <a:pt x="3166" y="3057"/>
                    <a:pt x="3166" y="3057"/>
                  </a:cubicBezTo>
                  <a:cubicBezTo>
                    <a:pt x="3154" y="3053"/>
                    <a:pt x="3143" y="3049"/>
                    <a:pt x="3134" y="3047"/>
                  </a:cubicBezTo>
                  <a:cubicBezTo>
                    <a:pt x="3091" y="3035"/>
                    <a:pt x="3024" y="3020"/>
                    <a:pt x="2944" y="3020"/>
                  </a:cubicBezTo>
                  <a:cubicBezTo>
                    <a:pt x="2833" y="3019"/>
                    <a:pt x="2695" y="3051"/>
                    <a:pt x="2562" y="3163"/>
                  </a:cubicBezTo>
                  <a:cubicBezTo>
                    <a:pt x="2482" y="3230"/>
                    <a:pt x="2369" y="3360"/>
                    <a:pt x="2212" y="3530"/>
                  </a:cubicBezTo>
                  <a:cubicBezTo>
                    <a:pt x="1949" y="3815"/>
                    <a:pt x="1636" y="4155"/>
                    <a:pt x="1569" y="4225"/>
                  </a:cubicBezTo>
                  <a:cubicBezTo>
                    <a:pt x="1497" y="4199"/>
                    <a:pt x="1370" y="4154"/>
                    <a:pt x="1316" y="4138"/>
                  </a:cubicBezTo>
                  <a:cubicBezTo>
                    <a:pt x="1309" y="4137"/>
                    <a:pt x="1305" y="4135"/>
                    <a:pt x="1300" y="4134"/>
                  </a:cubicBezTo>
                  <a:cubicBezTo>
                    <a:pt x="1300" y="4134"/>
                    <a:pt x="1299" y="4133"/>
                    <a:pt x="1299" y="4133"/>
                  </a:cubicBezTo>
                  <a:cubicBezTo>
                    <a:pt x="1293" y="4126"/>
                    <a:pt x="1284" y="4116"/>
                    <a:pt x="1274" y="4103"/>
                  </a:cubicBezTo>
                  <a:cubicBezTo>
                    <a:pt x="1252" y="4077"/>
                    <a:pt x="1223" y="4040"/>
                    <a:pt x="1187" y="3995"/>
                  </a:cubicBezTo>
                  <a:close/>
                  <a:moveTo>
                    <a:pt x="1321" y="4209"/>
                  </a:moveTo>
                  <a:cubicBezTo>
                    <a:pt x="1326" y="4210"/>
                    <a:pt x="1331" y="4212"/>
                    <a:pt x="1337" y="4213"/>
                  </a:cubicBezTo>
                  <a:cubicBezTo>
                    <a:pt x="1368" y="4224"/>
                    <a:pt x="1407" y="4237"/>
                    <a:pt x="1446" y="4251"/>
                  </a:cubicBezTo>
                  <a:cubicBezTo>
                    <a:pt x="1501" y="4270"/>
                    <a:pt x="1553" y="4289"/>
                    <a:pt x="1580" y="4299"/>
                  </a:cubicBezTo>
                  <a:cubicBezTo>
                    <a:pt x="1577" y="4305"/>
                    <a:pt x="1574" y="4312"/>
                    <a:pt x="1570" y="4321"/>
                  </a:cubicBezTo>
                  <a:cubicBezTo>
                    <a:pt x="1561" y="4344"/>
                    <a:pt x="1549" y="4374"/>
                    <a:pt x="1537" y="4403"/>
                  </a:cubicBezTo>
                  <a:cubicBezTo>
                    <a:pt x="1521" y="4443"/>
                    <a:pt x="1506" y="4482"/>
                    <a:pt x="1498" y="4504"/>
                  </a:cubicBezTo>
                  <a:cubicBezTo>
                    <a:pt x="1240" y="4357"/>
                    <a:pt x="1240" y="4357"/>
                    <a:pt x="1240" y="4357"/>
                  </a:cubicBezTo>
                  <a:lnTo>
                    <a:pt x="1321" y="4209"/>
                  </a:lnTo>
                  <a:close/>
                  <a:moveTo>
                    <a:pt x="1234" y="4369"/>
                  </a:moveTo>
                  <a:cubicBezTo>
                    <a:pt x="1493" y="4517"/>
                    <a:pt x="1493" y="4517"/>
                    <a:pt x="1493" y="4517"/>
                  </a:cubicBezTo>
                  <a:cubicBezTo>
                    <a:pt x="1491" y="4520"/>
                    <a:pt x="1491" y="4522"/>
                    <a:pt x="1491" y="4522"/>
                  </a:cubicBezTo>
                  <a:cubicBezTo>
                    <a:pt x="1504" y="4527"/>
                    <a:pt x="1504" y="4527"/>
                    <a:pt x="1504" y="4527"/>
                  </a:cubicBezTo>
                  <a:cubicBezTo>
                    <a:pt x="1504" y="4527"/>
                    <a:pt x="1504" y="4526"/>
                    <a:pt x="1505" y="4524"/>
                  </a:cubicBezTo>
                  <a:cubicBezTo>
                    <a:pt x="1780" y="4681"/>
                    <a:pt x="1780" y="4681"/>
                    <a:pt x="1780" y="4681"/>
                  </a:cubicBezTo>
                  <a:cubicBezTo>
                    <a:pt x="1751" y="4818"/>
                    <a:pt x="1751" y="4818"/>
                    <a:pt x="1751" y="4818"/>
                  </a:cubicBezTo>
                  <a:cubicBezTo>
                    <a:pt x="1345" y="4586"/>
                    <a:pt x="1345" y="4586"/>
                    <a:pt x="1345" y="4586"/>
                  </a:cubicBezTo>
                  <a:cubicBezTo>
                    <a:pt x="1395" y="4494"/>
                    <a:pt x="1395" y="4494"/>
                    <a:pt x="1395" y="4494"/>
                  </a:cubicBezTo>
                  <a:cubicBezTo>
                    <a:pt x="1398" y="4488"/>
                    <a:pt x="1398" y="4488"/>
                    <a:pt x="1398" y="4488"/>
                  </a:cubicBezTo>
                  <a:cubicBezTo>
                    <a:pt x="1260" y="4413"/>
                    <a:pt x="1260" y="4413"/>
                    <a:pt x="1260" y="4413"/>
                  </a:cubicBezTo>
                  <a:cubicBezTo>
                    <a:pt x="1209" y="4508"/>
                    <a:pt x="1209" y="4508"/>
                    <a:pt x="1209" y="4508"/>
                  </a:cubicBezTo>
                  <a:cubicBezTo>
                    <a:pt x="1170" y="4486"/>
                    <a:pt x="1170" y="4486"/>
                    <a:pt x="1170" y="4486"/>
                  </a:cubicBezTo>
                  <a:lnTo>
                    <a:pt x="1234" y="4369"/>
                  </a:lnTo>
                  <a:close/>
                  <a:moveTo>
                    <a:pt x="1163" y="4498"/>
                  </a:moveTo>
                  <a:cubicBezTo>
                    <a:pt x="1202" y="4520"/>
                    <a:pt x="1202" y="4520"/>
                    <a:pt x="1202" y="4520"/>
                  </a:cubicBezTo>
                  <a:cubicBezTo>
                    <a:pt x="1150" y="4616"/>
                    <a:pt x="1150" y="4616"/>
                    <a:pt x="1150" y="4616"/>
                  </a:cubicBezTo>
                  <a:cubicBezTo>
                    <a:pt x="1111" y="4594"/>
                    <a:pt x="1111" y="4594"/>
                    <a:pt x="1111" y="4594"/>
                  </a:cubicBezTo>
                  <a:lnTo>
                    <a:pt x="1163" y="4498"/>
                  </a:lnTo>
                  <a:close/>
                  <a:moveTo>
                    <a:pt x="1104" y="4606"/>
                  </a:moveTo>
                  <a:cubicBezTo>
                    <a:pt x="1143" y="4628"/>
                    <a:pt x="1143" y="4628"/>
                    <a:pt x="1143" y="4628"/>
                  </a:cubicBezTo>
                  <a:cubicBezTo>
                    <a:pt x="1096" y="4715"/>
                    <a:pt x="1096" y="4715"/>
                    <a:pt x="1096" y="4715"/>
                  </a:cubicBezTo>
                  <a:cubicBezTo>
                    <a:pt x="1057" y="4693"/>
                    <a:pt x="1057" y="4693"/>
                    <a:pt x="1057" y="4693"/>
                  </a:cubicBezTo>
                  <a:lnTo>
                    <a:pt x="1104" y="4606"/>
                  </a:lnTo>
                  <a:close/>
                  <a:moveTo>
                    <a:pt x="1050" y="4705"/>
                  </a:moveTo>
                  <a:cubicBezTo>
                    <a:pt x="1089" y="4728"/>
                    <a:pt x="1089" y="4728"/>
                    <a:pt x="1089" y="4728"/>
                  </a:cubicBezTo>
                  <a:cubicBezTo>
                    <a:pt x="1038" y="4821"/>
                    <a:pt x="1038" y="4821"/>
                    <a:pt x="1038" y="4821"/>
                  </a:cubicBezTo>
                  <a:cubicBezTo>
                    <a:pt x="999" y="4798"/>
                    <a:pt x="999" y="4798"/>
                    <a:pt x="999" y="4798"/>
                  </a:cubicBezTo>
                  <a:lnTo>
                    <a:pt x="1050" y="4705"/>
                  </a:lnTo>
                  <a:close/>
                  <a:moveTo>
                    <a:pt x="993" y="4810"/>
                  </a:moveTo>
                  <a:cubicBezTo>
                    <a:pt x="1032" y="4833"/>
                    <a:pt x="1032" y="4833"/>
                    <a:pt x="1032" y="4833"/>
                  </a:cubicBezTo>
                  <a:cubicBezTo>
                    <a:pt x="973" y="4940"/>
                    <a:pt x="973" y="4940"/>
                    <a:pt x="973" y="4940"/>
                  </a:cubicBezTo>
                  <a:cubicBezTo>
                    <a:pt x="934" y="4918"/>
                    <a:pt x="934" y="4918"/>
                    <a:pt x="934" y="4918"/>
                  </a:cubicBezTo>
                  <a:lnTo>
                    <a:pt x="993" y="4810"/>
                  </a:lnTo>
                  <a:close/>
                  <a:moveTo>
                    <a:pt x="927" y="4930"/>
                  </a:moveTo>
                  <a:cubicBezTo>
                    <a:pt x="967" y="4952"/>
                    <a:pt x="967" y="4952"/>
                    <a:pt x="967" y="4952"/>
                  </a:cubicBezTo>
                  <a:cubicBezTo>
                    <a:pt x="910" y="5057"/>
                    <a:pt x="910" y="5057"/>
                    <a:pt x="910" y="5057"/>
                  </a:cubicBezTo>
                  <a:cubicBezTo>
                    <a:pt x="870" y="5034"/>
                    <a:pt x="870" y="5034"/>
                    <a:pt x="870" y="5034"/>
                  </a:cubicBezTo>
                  <a:lnTo>
                    <a:pt x="927" y="4930"/>
                  </a:lnTo>
                  <a:close/>
                  <a:moveTo>
                    <a:pt x="864" y="5046"/>
                  </a:moveTo>
                  <a:cubicBezTo>
                    <a:pt x="903" y="5069"/>
                    <a:pt x="903" y="5069"/>
                    <a:pt x="903" y="5069"/>
                  </a:cubicBezTo>
                  <a:cubicBezTo>
                    <a:pt x="851" y="5165"/>
                    <a:pt x="851" y="5165"/>
                    <a:pt x="851" y="5165"/>
                  </a:cubicBezTo>
                  <a:cubicBezTo>
                    <a:pt x="811" y="5142"/>
                    <a:pt x="811" y="5142"/>
                    <a:pt x="811" y="5142"/>
                  </a:cubicBezTo>
                  <a:lnTo>
                    <a:pt x="864" y="5046"/>
                  </a:lnTo>
                  <a:close/>
                  <a:moveTo>
                    <a:pt x="805" y="5155"/>
                  </a:moveTo>
                  <a:cubicBezTo>
                    <a:pt x="844" y="5177"/>
                    <a:pt x="844" y="5177"/>
                    <a:pt x="844" y="5177"/>
                  </a:cubicBezTo>
                  <a:cubicBezTo>
                    <a:pt x="780" y="5295"/>
                    <a:pt x="780" y="5295"/>
                    <a:pt x="780" y="5295"/>
                  </a:cubicBezTo>
                  <a:cubicBezTo>
                    <a:pt x="740" y="5272"/>
                    <a:pt x="740" y="5272"/>
                    <a:pt x="740" y="5272"/>
                  </a:cubicBezTo>
                  <a:lnTo>
                    <a:pt x="805" y="5155"/>
                  </a:lnTo>
                  <a:close/>
                  <a:moveTo>
                    <a:pt x="734" y="5285"/>
                  </a:moveTo>
                  <a:cubicBezTo>
                    <a:pt x="773" y="5307"/>
                    <a:pt x="773" y="5307"/>
                    <a:pt x="773" y="5307"/>
                  </a:cubicBezTo>
                  <a:cubicBezTo>
                    <a:pt x="721" y="5403"/>
                    <a:pt x="721" y="5403"/>
                    <a:pt x="721" y="5403"/>
                  </a:cubicBezTo>
                  <a:cubicBezTo>
                    <a:pt x="681" y="5380"/>
                    <a:pt x="681" y="5380"/>
                    <a:pt x="681" y="5380"/>
                  </a:cubicBezTo>
                  <a:lnTo>
                    <a:pt x="734" y="5285"/>
                  </a:lnTo>
                  <a:close/>
                  <a:moveTo>
                    <a:pt x="675" y="5392"/>
                  </a:moveTo>
                  <a:cubicBezTo>
                    <a:pt x="715" y="5415"/>
                    <a:pt x="715" y="5415"/>
                    <a:pt x="715" y="5415"/>
                  </a:cubicBezTo>
                  <a:cubicBezTo>
                    <a:pt x="657" y="5522"/>
                    <a:pt x="657" y="5522"/>
                    <a:pt x="657" y="5522"/>
                  </a:cubicBezTo>
                  <a:cubicBezTo>
                    <a:pt x="617" y="5499"/>
                    <a:pt x="617" y="5499"/>
                    <a:pt x="617" y="5499"/>
                  </a:cubicBezTo>
                  <a:lnTo>
                    <a:pt x="675" y="5392"/>
                  </a:lnTo>
                  <a:close/>
                  <a:moveTo>
                    <a:pt x="610" y="5511"/>
                  </a:moveTo>
                  <a:cubicBezTo>
                    <a:pt x="650" y="5534"/>
                    <a:pt x="650" y="5534"/>
                    <a:pt x="650" y="5534"/>
                  </a:cubicBezTo>
                  <a:cubicBezTo>
                    <a:pt x="600" y="5627"/>
                    <a:pt x="600" y="5627"/>
                    <a:pt x="600" y="5627"/>
                  </a:cubicBezTo>
                  <a:cubicBezTo>
                    <a:pt x="559" y="5604"/>
                    <a:pt x="559" y="5604"/>
                    <a:pt x="559" y="5604"/>
                  </a:cubicBezTo>
                  <a:lnTo>
                    <a:pt x="610" y="5511"/>
                  </a:lnTo>
                  <a:close/>
                  <a:moveTo>
                    <a:pt x="552" y="5616"/>
                  </a:moveTo>
                  <a:cubicBezTo>
                    <a:pt x="593" y="5639"/>
                    <a:pt x="593" y="5639"/>
                    <a:pt x="593" y="5639"/>
                  </a:cubicBezTo>
                  <a:cubicBezTo>
                    <a:pt x="535" y="5746"/>
                    <a:pt x="535" y="5746"/>
                    <a:pt x="535" y="5746"/>
                  </a:cubicBezTo>
                  <a:cubicBezTo>
                    <a:pt x="494" y="5723"/>
                    <a:pt x="494" y="5723"/>
                    <a:pt x="494" y="5723"/>
                  </a:cubicBezTo>
                  <a:lnTo>
                    <a:pt x="552" y="5616"/>
                  </a:lnTo>
                  <a:close/>
                  <a:moveTo>
                    <a:pt x="487" y="5735"/>
                  </a:moveTo>
                  <a:cubicBezTo>
                    <a:pt x="528" y="5759"/>
                    <a:pt x="528" y="5759"/>
                    <a:pt x="528" y="5759"/>
                  </a:cubicBezTo>
                  <a:cubicBezTo>
                    <a:pt x="471" y="5863"/>
                    <a:pt x="471" y="5863"/>
                    <a:pt x="471" y="5863"/>
                  </a:cubicBezTo>
                  <a:cubicBezTo>
                    <a:pt x="430" y="5840"/>
                    <a:pt x="430" y="5840"/>
                    <a:pt x="430" y="5840"/>
                  </a:cubicBezTo>
                  <a:lnTo>
                    <a:pt x="487" y="5735"/>
                  </a:lnTo>
                  <a:close/>
                  <a:moveTo>
                    <a:pt x="424" y="5852"/>
                  </a:moveTo>
                  <a:cubicBezTo>
                    <a:pt x="464" y="5875"/>
                    <a:pt x="464" y="5875"/>
                    <a:pt x="464" y="5875"/>
                  </a:cubicBezTo>
                  <a:cubicBezTo>
                    <a:pt x="412" y="5971"/>
                    <a:pt x="412" y="5971"/>
                    <a:pt x="412" y="5971"/>
                  </a:cubicBezTo>
                  <a:cubicBezTo>
                    <a:pt x="371" y="5948"/>
                    <a:pt x="371" y="5948"/>
                    <a:pt x="371" y="5948"/>
                  </a:cubicBezTo>
                  <a:lnTo>
                    <a:pt x="424" y="5852"/>
                  </a:lnTo>
                  <a:close/>
                  <a:moveTo>
                    <a:pt x="365" y="5960"/>
                  </a:moveTo>
                  <a:cubicBezTo>
                    <a:pt x="406" y="5983"/>
                    <a:pt x="406" y="5983"/>
                    <a:pt x="406" y="5983"/>
                  </a:cubicBezTo>
                  <a:cubicBezTo>
                    <a:pt x="363" y="6062"/>
                    <a:pt x="363" y="6062"/>
                    <a:pt x="363" y="6062"/>
                  </a:cubicBezTo>
                  <a:cubicBezTo>
                    <a:pt x="501" y="6137"/>
                    <a:pt x="501" y="6137"/>
                    <a:pt x="501" y="6137"/>
                  </a:cubicBezTo>
                  <a:cubicBezTo>
                    <a:pt x="542" y="6061"/>
                    <a:pt x="542" y="6061"/>
                    <a:pt x="542" y="6061"/>
                  </a:cubicBezTo>
                  <a:cubicBezTo>
                    <a:pt x="889" y="6259"/>
                    <a:pt x="889" y="6259"/>
                    <a:pt x="889" y="6259"/>
                  </a:cubicBezTo>
                  <a:cubicBezTo>
                    <a:pt x="848" y="6359"/>
                    <a:pt x="848" y="6359"/>
                    <a:pt x="848" y="6359"/>
                  </a:cubicBezTo>
                  <a:cubicBezTo>
                    <a:pt x="313" y="6054"/>
                    <a:pt x="313" y="6054"/>
                    <a:pt x="313" y="6054"/>
                  </a:cubicBezTo>
                  <a:lnTo>
                    <a:pt x="365" y="5960"/>
                  </a:lnTo>
                  <a:close/>
                  <a:moveTo>
                    <a:pt x="221" y="6222"/>
                  </a:moveTo>
                  <a:cubicBezTo>
                    <a:pt x="307" y="6066"/>
                    <a:pt x="307" y="6066"/>
                    <a:pt x="307" y="6066"/>
                  </a:cubicBezTo>
                  <a:cubicBezTo>
                    <a:pt x="842" y="6372"/>
                    <a:pt x="842" y="6372"/>
                    <a:pt x="842" y="6372"/>
                  </a:cubicBezTo>
                  <a:cubicBezTo>
                    <a:pt x="839" y="6380"/>
                    <a:pt x="839" y="6380"/>
                    <a:pt x="839" y="6380"/>
                  </a:cubicBezTo>
                  <a:cubicBezTo>
                    <a:pt x="832" y="6388"/>
                    <a:pt x="776" y="6451"/>
                    <a:pt x="703" y="6533"/>
                  </a:cubicBezTo>
                  <a:cubicBezTo>
                    <a:pt x="541" y="6400"/>
                    <a:pt x="358" y="6286"/>
                    <a:pt x="221" y="6222"/>
                  </a:cubicBezTo>
                  <a:close/>
                  <a:moveTo>
                    <a:pt x="363" y="6928"/>
                  </a:moveTo>
                  <a:cubicBezTo>
                    <a:pt x="378" y="6913"/>
                    <a:pt x="398" y="6891"/>
                    <a:pt x="423" y="6864"/>
                  </a:cubicBezTo>
                  <a:cubicBezTo>
                    <a:pt x="472" y="6811"/>
                    <a:pt x="535" y="6741"/>
                    <a:pt x="599" y="6670"/>
                  </a:cubicBezTo>
                  <a:cubicBezTo>
                    <a:pt x="623" y="6643"/>
                    <a:pt x="647" y="6617"/>
                    <a:pt x="670" y="6591"/>
                  </a:cubicBezTo>
                  <a:cubicBezTo>
                    <a:pt x="696" y="6612"/>
                    <a:pt x="722" y="6634"/>
                    <a:pt x="746" y="6657"/>
                  </a:cubicBezTo>
                  <a:cubicBezTo>
                    <a:pt x="907" y="6805"/>
                    <a:pt x="1013" y="6971"/>
                    <a:pt x="1056" y="7044"/>
                  </a:cubicBezTo>
                  <a:cubicBezTo>
                    <a:pt x="1062" y="7054"/>
                    <a:pt x="1066" y="7063"/>
                    <a:pt x="1070" y="7069"/>
                  </a:cubicBezTo>
                  <a:cubicBezTo>
                    <a:pt x="1010" y="7231"/>
                    <a:pt x="1010" y="7231"/>
                    <a:pt x="1010" y="7231"/>
                  </a:cubicBezTo>
                  <a:cubicBezTo>
                    <a:pt x="926" y="7435"/>
                    <a:pt x="926" y="7435"/>
                    <a:pt x="926" y="7435"/>
                  </a:cubicBezTo>
                  <a:cubicBezTo>
                    <a:pt x="837" y="7356"/>
                    <a:pt x="423" y="6992"/>
                    <a:pt x="354" y="6937"/>
                  </a:cubicBezTo>
                  <a:cubicBezTo>
                    <a:pt x="357" y="6934"/>
                    <a:pt x="359" y="6931"/>
                    <a:pt x="363" y="6928"/>
                  </a:cubicBezTo>
                  <a:close/>
                  <a:moveTo>
                    <a:pt x="203" y="7248"/>
                  </a:moveTo>
                  <a:cubicBezTo>
                    <a:pt x="205" y="7245"/>
                    <a:pt x="206" y="7242"/>
                    <a:pt x="208" y="7239"/>
                  </a:cubicBezTo>
                  <a:cubicBezTo>
                    <a:pt x="216" y="7222"/>
                    <a:pt x="226" y="7198"/>
                    <a:pt x="237" y="7171"/>
                  </a:cubicBezTo>
                  <a:cubicBezTo>
                    <a:pt x="260" y="7118"/>
                    <a:pt x="287" y="7054"/>
                    <a:pt x="307" y="7008"/>
                  </a:cubicBezTo>
                  <a:cubicBezTo>
                    <a:pt x="319" y="6980"/>
                    <a:pt x="330" y="6958"/>
                    <a:pt x="334" y="6954"/>
                  </a:cubicBezTo>
                  <a:cubicBezTo>
                    <a:pt x="337" y="6953"/>
                    <a:pt x="337" y="6952"/>
                    <a:pt x="338" y="6951"/>
                  </a:cubicBezTo>
                  <a:cubicBezTo>
                    <a:pt x="340" y="6950"/>
                    <a:pt x="342" y="6949"/>
                    <a:pt x="344" y="6947"/>
                  </a:cubicBezTo>
                  <a:cubicBezTo>
                    <a:pt x="344" y="6947"/>
                    <a:pt x="344" y="6947"/>
                    <a:pt x="344" y="6947"/>
                  </a:cubicBezTo>
                  <a:cubicBezTo>
                    <a:pt x="349" y="6951"/>
                    <a:pt x="356" y="6956"/>
                    <a:pt x="364" y="6963"/>
                  </a:cubicBezTo>
                  <a:cubicBezTo>
                    <a:pt x="381" y="6978"/>
                    <a:pt x="405" y="6998"/>
                    <a:pt x="433" y="7022"/>
                  </a:cubicBezTo>
                  <a:cubicBezTo>
                    <a:pt x="487" y="7069"/>
                    <a:pt x="557" y="7130"/>
                    <a:pt x="628" y="7192"/>
                  </a:cubicBezTo>
                  <a:cubicBezTo>
                    <a:pt x="628" y="7192"/>
                    <a:pt x="627" y="7193"/>
                    <a:pt x="626" y="7193"/>
                  </a:cubicBezTo>
                  <a:cubicBezTo>
                    <a:pt x="623" y="7196"/>
                    <a:pt x="620" y="7199"/>
                    <a:pt x="616" y="7203"/>
                  </a:cubicBezTo>
                  <a:cubicBezTo>
                    <a:pt x="607" y="7211"/>
                    <a:pt x="595" y="7222"/>
                    <a:pt x="581" y="7236"/>
                  </a:cubicBezTo>
                  <a:cubicBezTo>
                    <a:pt x="554" y="7264"/>
                    <a:pt x="518" y="7300"/>
                    <a:pt x="482" y="7337"/>
                  </a:cubicBezTo>
                  <a:cubicBezTo>
                    <a:pt x="433" y="7388"/>
                    <a:pt x="384" y="7438"/>
                    <a:pt x="359" y="7464"/>
                  </a:cubicBezTo>
                  <a:lnTo>
                    <a:pt x="203" y="7248"/>
                  </a:lnTo>
                  <a:close/>
                  <a:moveTo>
                    <a:pt x="66" y="8067"/>
                  </a:moveTo>
                  <a:cubicBezTo>
                    <a:pt x="50" y="8057"/>
                    <a:pt x="34" y="8047"/>
                    <a:pt x="18" y="8037"/>
                  </a:cubicBezTo>
                  <a:cubicBezTo>
                    <a:pt x="36" y="7999"/>
                    <a:pt x="79" y="7908"/>
                    <a:pt x="107" y="7852"/>
                  </a:cubicBezTo>
                  <a:cubicBezTo>
                    <a:pt x="118" y="7832"/>
                    <a:pt x="127" y="7815"/>
                    <a:pt x="130" y="7811"/>
                  </a:cubicBezTo>
                  <a:cubicBezTo>
                    <a:pt x="145" y="7812"/>
                    <a:pt x="207" y="7819"/>
                    <a:pt x="216" y="7819"/>
                  </a:cubicBezTo>
                  <a:cubicBezTo>
                    <a:pt x="222" y="7818"/>
                    <a:pt x="222" y="7817"/>
                    <a:pt x="223" y="7816"/>
                  </a:cubicBezTo>
                  <a:cubicBezTo>
                    <a:pt x="224" y="7815"/>
                    <a:pt x="224" y="7813"/>
                    <a:pt x="225" y="7812"/>
                  </a:cubicBezTo>
                  <a:cubicBezTo>
                    <a:pt x="227" y="7809"/>
                    <a:pt x="228" y="7806"/>
                    <a:pt x="231" y="7801"/>
                  </a:cubicBezTo>
                  <a:cubicBezTo>
                    <a:pt x="235" y="7792"/>
                    <a:pt x="240" y="7779"/>
                    <a:pt x="247" y="7764"/>
                  </a:cubicBezTo>
                  <a:cubicBezTo>
                    <a:pt x="259" y="7734"/>
                    <a:pt x="275" y="7693"/>
                    <a:pt x="291" y="7652"/>
                  </a:cubicBezTo>
                  <a:cubicBezTo>
                    <a:pt x="311" y="7600"/>
                    <a:pt x="331" y="7549"/>
                    <a:pt x="342" y="7518"/>
                  </a:cubicBezTo>
                  <a:cubicBezTo>
                    <a:pt x="583" y="7853"/>
                    <a:pt x="583" y="7853"/>
                    <a:pt x="583" y="7853"/>
                  </a:cubicBezTo>
                  <a:cubicBezTo>
                    <a:pt x="252" y="8205"/>
                    <a:pt x="252" y="8205"/>
                    <a:pt x="252" y="8205"/>
                  </a:cubicBezTo>
                  <a:cubicBezTo>
                    <a:pt x="252" y="8205"/>
                    <a:pt x="252" y="8206"/>
                    <a:pt x="251" y="8206"/>
                  </a:cubicBezTo>
                  <a:cubicBezTo>
                    <a:pt x="221" y="8180"/>
                    <a:pt x="153" y="8123"/>
                    <a:pt x="66" y="8067"/>
                  </a:cubicBezTo>
                  <a:close/>
                  <a:moveTo>
                    <a:pt x="206" y="8501"/>
                  </a:moveTo>
                  <a:cubicBezTo>
                    <a:pt x="200" y="8507"/>
                    <a:pt x="200" y="8507"/>
                    <a:pt x="200" y="8507"/>
                  </a:cubicBezTo>
                  <a:cubicBezTo>
                    <a:pt x="243" y="8461"/>
                    <a:pt x="243" y="8461"/>
                    <a:pt x="243" y="8461"/>
                  </a:cubicBezTo>
                  <a:cubicBezTo>
                    <a:pt x="165" y="8378"/>
                    <a:pt x="165" y="8378"/>
                    <a:pt x="165" y="8378"/>
                  </a:cubicBezTo>
                  <a:cubicBezTo>
                    <a:pt x="228" y="8330"/>
                    <a:pt x="269" y="8281"/>
                    <a:pt x="300" y="8250"/>
                  </a:cubicBezTo>
                  <a:cubicBezTo>
                    <a:pt x="480" y="8058"/>
                    <a:pt x="480" y="8058"/>
                    <a:pt x="480" y="8058"/>
                  </a:cubicBezTo>
                  <a:cubicBezTo>
                    <a:pt x="700" y="8319"/>
                    <a:pt x="700" y="8319"/>
                    <a:pt x="700" y="8319"/>
                  </a:cubicBezTo>
                  <a:cubicBezTo>
                    <a:pt x="330" y="8627"/>
                    <a:pt x="330" y="8627"/>
                    <a:pt x="330" y="8627"/>
                  </a:cubicBezTo>
                  <a:lnTo>
                    <a:pt x="206" y="8501"/>
                  </a:lnTo>
                  <a:close/>
                  <a:moveTo>
                    <a:pt x="156" y="8857"/>
                  </a:moveTo>
                  <a:cubicBezTo>
                    <a:pt x="399" y="8654"/>
                    <a:pt x="399" y="8654"/>
                    <a:pt x="399" y="8654"/>
                  </a:cubicBezTo>
                  <a:cubicBezTo>
                    <a:pt x="436" y="8691"/>
                    <a:pt x="506" y="8760"/>
                    <a:pt x="535" y="8787"/>
                  </a:cubicBezTo>
                  <a:cubicBezTo>
                    <a:pt x="534" y="8789"/>
                    <a:pt x="535" y="8789"/>
                    <a:pt x="534" y="8791"/>
                  </a:cubicBezTo>
                  <a:cubicBezTo>
                    <a:pt x="534" y="8793"/>
                    <a:pt x="534" y="8795"/>
                    <a:pt x="534" y="8797"/>
                  </a:cubicBezTo>
                  <a:cubicBezTo>
                    <a:pt x="534" y="8823"/>
                    <a:pt x="537" y="8897"/>
                    <a:pt x="537" y="8917"/>
                  </a:cubicBezTo>
                  <a:cubicBezTo>
                    <a:pt x="342" y="9012"/>
                    <a:pt x="342" y="9012"/>
                    <a:pt x="342" y="9012"/>
                  </a:cubicBezTo>
                  <a:lnTo>
                    <a:pt x="156" y="8857"/>
                  </a:lnTo>
                  <a:close/>
                  <a:moveTo>
                    <a:pt x="346" y="9028"/>
                  </a:moveTo>
                  <a:cubicBezTo>
                    <a:pt x="544" y="8932"/>
                    <a:pt x="544" y="8932"/>
                    <a:pt x="544" y="8932"/>
                  </a:cubicBezTo>
                  <a:cubicBezTo>
                    <a:pt x="552" y="8940"/>
                    <a:pt x="573" y="8960"/>
                    <a:pt x="600" y="8985"/>
                  </a:cubicBezTo>
                  <a:cubicBezTo>
                    <a:pt x="597" y="8985"/>
                    <a:pt x="597" y="8985"/>
                    <a:pt x="597" y="8985"/>
                  </a:cubicBezTo>
                  <a:cubicBezTo>
                    <a:pt x="597" y="8985"/>
                    <a:pt x="597" y="8985"/>
                    <a:pt x="596" y="8985"/>
                  </a:cubicBezTo>
                  <a:cubicBezTo>
                    <a:pt x="596" y="8986"/>
                    <a:pt x="596" y="8987"/>
                    <a:pt x="596" y="8988"/>
                  </a:cubicBezTo>
                  <a:cubicBezTo>
                    <a:pt x="595" y="8991"/>
                    <a:pt x="594" y="8994"/>
                    <a:pt x="593" y="8999"/>
                  </a:cubicBezTo>
                  <a:cubicBezTo>
                    <a:pt x="591" y="9008"/>
                    <a:pt x="587" y="9021"/>
                    <a:pt x="583" y="9036"/>
                  </a:cubicBezTo>
                  <a:cubicBezTo>
                    <a:pt x="575" y="9067"/>
                    <a:pt x="564" y="9108"/>
                    <a:pt x="553" y="9148"/>
                  </a:cubicBezTo>
                  <a:cubicBezTo>
                    <a:pt x="540" y="9193"/>
                    <a:pt x="528" y="9236"/>
                    <a:pt x="520" y="9267"/>
                  </a:cubicBezTo>
                  <a:cubicBezTo>
                    <a:pt x="480" y="9254"/>
                    <a:pt x="409" y="9222"/>
                    <a:pt x="348" y="9221"/>
                  </a:cubicBezTo>
                  <a:cubicBezTo>
                    <a:pt x="346" y="9221"/>
                    <a:pt x="343" y="9221"/>
                    <a:pt x="341" y="9221"/>
                  </a:cubicBezTo>
                  <a:cubicBezTo>
                    <a:pt x="304" y="9223"/>
                    <a:pt x="278" y="9232"/>
                    <a:pt x="258" y="9240"/>
                  </a:cubicBezTo>
                  <a:lnTo>
                    <a:pt x="346" y="9028"/>
                  </a:lnTo>
                  <a:close/>
                  <a:moveTo>
                    <a:pt x="216" y="9806"/>
                  </a:moveTo>
                  <a:cubicBezTo>
                    <a:pt x="187" y="9823"/>
                    <a:pt x="156" y="9840"/>
                    <a:pt x="145" y="9845"/>
                  </a:cubicBezTo>
                  <a:cubicBezTo>
                    <a:pt x="145" y="9844"/>
                    <a:pt x="144" y="9843"/>
                    <a:pt x="143" y="9843"/>
                  </a:cubicBezTo>
                  <a:cubicBezTo>
                    <a:pt x="140" y="9840"/>
                    <a:pt x="135" y="9835"/>
                    <a:pt x="130" y="9830"/>
                  </a:cubicBezTo>
                  <a:cubicBezTo>
                    <a:pt x="118" y="9820"/>
                    <a:pt x="103" y="9806"/>
                    <a:pt x="88" y="9791"/>
                  </a:cubicBezTo>
                  <a:cubicBezTo>
                    <a:pt x="58" y="9763"/>
                    <a:pt x="28" y="9734"/>
                    <a:pt x="17" y="9726"/>
                  </a:cubicBezTo>
                  <a:cubicBezTo>
                    <a:pt x="18" y="9713"/>
                    <a:pt x="26" y="9669"/>
                    <a:pt x="33" y="9629"/>
                  </a:cubicBezTo>
                  <a:cubicBezTo>
                    <a:pt x="40" y="9594"/>
                    <a:pt x="46" y="9560"/>
                    <a:pt x="48" y="9547"/>
                  </a:cubicBezTo>
                  <a:cubicBezTo>
                    <a:pt x="139" y="9523"/>
                    <a:pt x="139" y="9523"/>
                    <a:pt x="139" y="9523"/>
                  </a:cubicBezTo>
                  <a:cubicBezTo>
                    <a:pt x="273" y="9774"/>
                    <a:pt x="273" y="9774"/>
                    <a:pt x="273" y="9774"/>
                  </a:cubicBezTo>
                  <a:cubicBezTo>
                    <a:pt x="262" y="9780"/>
                    <a:pt x="239" y="9793"/>
                    <a:pt x="216" y="9806"/>
                  </a:cubicBezTo>
                  <a:close/>
                  <a:moveTo>
                    <a:pt x="131" y="9370"/>
                  </a:moveTo>
                  <a:cubicBezTo>
                    <a:pt x="142" y="9365"/>
                    <a:pt x="155" y="9359"/>
                    <a:pt x="169" y="9353"/>
                  </a:cubicBezTo>
                  <a:cubicBezTo>
                    <a:pt x="202" y="9337"/>
                    <a:pt x="241" y="9320"/>
                    <a:pt x="250" y="9317"/>
                  </a:cubicBezTo>
                  <a:cubicBezTo>
                    <a:pt x="282" y="9306"/>
                    <a:pt x="299" y="9293"/>
                    <a:pt x="345" y="9290"/>
                  </a:cubicBezTo>
                  <a:cubicBezTo>
                    <a:pt x="346" y="9290"/>
                    <a:pt x="347" y="9290"/>
                    <a:pt x="348" y="9290"/>
                  </a:cubicBezTo>
                  <a:cubicBezTo>
                    <a:pt x="386" y="9289"/>
                    <a:pt x="457" y="9318"/>
                    <a:pt x="500" y="9333"/>
                  </a:cubicBezTo>
                  <a:cubicBezTo>
                    <a:pt x="483" y="9385"/>
                    <a:pt x="443" y="9505"/>
                    <a:pt x="442" y="9509"/>
                  </a:cubicBezTo>
                  <a:cubicBezTo>
                    <a:pt x="442" y="9510"/>
                    <a:pt x="442" y="9510"/>
                    <a:pt x="442" y="9510"/>
                  </a:cubicBezTo>
                  <a:cubicBezTo>
                    <a:pt x="442" y="9511"/>
                    <a:pt x="442" y="9511"/>
                    <a:pt x="442" y="9511"/>
                  </a:cubicBezTo>
                  <a:cubicBezTo>
                    <a:pt x="442" y="9511"/>
                    <a:pt x="442" y="9511"/>
                    <a:pt x="442" y="9511"/>
                  </a:cubicBezTo>
                  <a:cubicBezTo>
                    <a:pt x="442" y="9517"/>
                    <a:pt x="444" y="9520"/>
                    <a:pt x="448" y="9531"/>
                  </a:cubicBezTo>
                  <a:cubicBezTo>
                    <a:pt x="451" y="9542"/>
                    <a:pt x="456" y="9556"/>
                    <a:pt x="462" y="9573"/>
                  </a:cubicBezTo>
                  <a:cubicBezTo>
                    <a:pt x="474" y="9607"/>
                    <a:pt x="489" y="9651"/>
                    <a:pt x="505" y="9695"/>
                  </a:cubicBezTo>
                  <a:cubicBezTo>
                    <a:pt x="528" y="9759"/>
                    <a:pt x="550" y="9822"/>
                    <a:pt x="561" y="9852"/>
                  </a:cubicBezTo>
                  <a:cubicBezTo>
                    <a:pt x="441" y="9917"/>
                    <a:pt x="441" y="9917"/>
                    <a:pt x="441" y="9917"/>
                  </a:cubicBezTo>
                  <a:cubicBezTo>
                    <a:pt x="439" y="9918"/>
                    <a:pt x="435" y="9919"/>
                    <a:pt x="430" y="9921"/>
                  </a:cubicBezTo>
                  <a:lnTo>
                    <a:pt x="131" y="9370"/>
                  </a:lnTo>
                  <a:close/>
                  <a:moveTo>
                    <a:pt x="475" y="10090"/>
                  </a:moveTo>
                  <a:cubicBezTo>
                    <a:pt x="470" y="10088"/>
                    <a:pt x="464" y="10087"/>
                    <a:pt x="456" y="10085"/>
                  </a:cubicBezTo>
                  <a:cubicBezTo>
                    <a:pt x="459" y="10082"/>
                    <a:pt x="462" y="10080"/>
                    <a:pt x="466" y="10078"/>
                  </a:cubicBezTo>
                  <a:cubicBezTo>
                    <a:pt x="466" y="10078"/>
                    <a:pt x="467" y="10079"/>
                    <a:pt x="467" y="10080"/>
                  </a:cubicBezTo>
                  <a:cubicBezTo>
                    <a:pt x="468" y="10081"/>
                    <a:pt x="468" y="10081"/>
                    <a:pt x="468" y="10082"/>
                  </a:cubicBezTo>
                  <a:cubicBezTo>
                    <a:pt x="469" y="10083"/>
                    <a:pt x="469" y="10083"/>
                    <a:pt x="470" y="10084"/>
                  </a:cubicBezTo>
                  <a:cubicBezTo>
                    <a:pt x="471" y="10084"/>
                    <a:pt x="471" y="10085"/>
                    <a:pt x="472" y="10086"/>
                  </a:cubicBezTo>
                  <a:cubicBezTo>
                    <a:pt x="473" y="10087"/>
                    <a:pt x="474" y="10089"/>
                    <a:pt x="475" y="10090"/>
                  </a:cubicBezTo>
                  <a:close/>
                  <a:moveTo>
                    <a:pt x="470" y="10266"/>
                  </a:moveTo>
                  <a:cubicBezTo>
                    <a:pt x="465" y="10267"/>
                    <a:pt x="450" y="10272"/>
                    <a:pt x="433" y="10277"/>
                  </a:cubicBezTo>
                  <a:cubicBezTo>
                    <a:pt x="414" y="10283"/>
                    <a:pt x="391" y="10289"/>
                    <a:pt x="388" y="10289"/>
                  </a:cubicBezTo>
                  <a:cubicBezTo>
                    <a:pt x="387" y="10289"/>
                    <a:pt x="387" y="10289"/>
                    <a:pt x="387" y="10289"/>
                  </a:cubicBezTo>
                  <a:cubicBezTo>
                    <a:pt x="301" y="10304"/>
                    <a:pt x="301" y="10304"/>
                    <a:pt x="301" y="10304"/>
                  </a:cubicBezTo>
                  <a:cubicBezTo>
                    <a:pt x="282" y="10307"/>
                    <a:pt x="261" y="10310"/>
                    <a:pt x="239" y="10313"/>
                  </a:cubicBezTo>
                  <a:cubicBezTo>
                    <a:pt x="343" y="10201"/>
                    <a:pt x="426" y="10111"/>
                    <a:pt x="435" y="10102"/>
                  </a:cubicBezTo>
                  <a:cubicBezTo>
                    <a:pt x="436" y="10101"/>
                    <a:pt x="438" y="10099"/>
                    <a:pt x="440" y="10097"/>
                  </a:cubicBezTo>
                  <a:cubicBezTo>
                    <a:pt x="460" y="10103"/>
                    <a:pt x="474" y="10107"/>
                    <a:pt x="478" y="10108"/>
                  </a:cubicBezTo>
                  <a:cubicBezTo>
                    <a:pt x="481" y="10108"/>
                    <a:pt x="481" y="10108"/>
                    <a:pt x="481" y="10108"/>
                  </a:cubicBezTo>
                  <a:cubicBezTo>
                    <a:pt x="484" y="10107"/>
                    <a:pt x="484" y="10107"/>
                    <a:pt x="484" y="10107"/>
                  </a:cubicBezTo>
                  <a:cubicBezTo>
                    <a:pt x="486" y="10106"/>
                    <a:pt x="487" y="10106"/>
                    <a:pt x="488" y="10105"/>
                  </a:cubicBezTo>
                  <a:cubicBezTo>
                    <a:pt x="493" y="10111"/>
                    <a:pt x="499" y="10118"/>
                    <a:pt x="506" y="10127"/>
                  </a:cubicBezTo>
                  <a:cubicBezTo>
                    <a:pt x="523" y="10146"/>
                    <a:pt x="545" y="10172"/>
                    <a:pt x="571" y="10202"/>
                  </a:cubicBezTo>
                  <a:cubicBezTo>
                    <a:pt x="535" y="10223"/>
                    <a:pt x="506" y="10242"/>
                    <a:pt x="470" y="10266"/>
                  </a:cubicBezTo>
                  <a:close/>
                  <a:moveTo>
                    <a:pt x="549" y="10070"/>
                  </a:moveTo>
                  <a:cubicBezTo>
                    <a:pt x="600" y="10041"/>
                    <a:pt x="601" y="10041"/>
                    <a:pt x="608" y="10036"/>
                  </a:cubicBezTo>
                  <a:cubicBezTo>
                    <a:pt x="609" y="10036"/>
                    <a:pt x="609" y="10036"/>
                    <a:pt x="609" y="10036"/>
                  </a:cubicBezTo>
                  <a:cubicBezTo>
                    <a:pt x="609" y="10035"/>
                    <a:pt x="609" y="10035"/>
                    <a:pt x="609" y="10035"/>
                  </a:cubicBezTo>
                  <a:cubicBezTo>
                    <a:pt x="610" y="10035"/>
                    <a:pt x="1447" y="9593"/>
                    <a:pt x="2276" y="9146"/>
                  </a:cubicBezTo>
                  <a:cubicBezTo>
                    <a:pt x="2907" y="8805"/>
                    <a:pt x="3540" y="8455"/>
                    <a:pt x="3751" y="8346"/>
                  </a:cubicBezTo>
                  <a:cubicBezTo>
                    <a:pt x="3798" y="8460"/>
                    <a:pt x="3798" y="8460"/>
                    <a:pt x="3798" y="8460"/>
                  </a:cubicBezTo>
                  <a:cubicBezTo>
                    <a:pt x="3671" y="8525"/>
                    <a:pt x="3408" y="8663"/>
                    <a:pt x="3085" y="8834"/>
                  </a:cubicBezTo>
                  <a:cubicBezTo>
                    <a:pt x="3084" y="8832"/>
                    <a:pt x="3084" y="8832"/>
                    <a:pt x="3084" y="8832"/>
                  </a:cubicBezTo>
                  <a:cubicBezTo>
                    <a:pt x="3071" y="8838"/>
                    <a:pt x="3071" y="8838"/>
                    <a:pt x="3071" y="8838"/>
                  </a:cubicBezTo>
                  <a:cubicBezTo>
                    <a:pt x="3072" y="8840"/>
                    <a:pt x="3072" y="8840"/>
                    <a:pt x="3072" y="8840"/>
                  </a:cubicBezTo>
                  <a:cubicBezTo>
                    <a:pt x="2938" y="8911"/>
                    <a:pt x="2794" y="8988"/>
                    <a:pt x="2646" y="9067"/>
                  </a:cubicBezTo>
                  <a:cubicBezTo>
                    <a:pt x="2636" y="9055"/>
                    <a:pt x="2636" y="9055"/>
                    <a:pt x="2636" y="9055"/>
                  </a:cubicBezTo>
                  <a:cubicBezTo>
                    <a:pt x="2625" y="9063"/>
                    <a:pt x="2625" y="9063"/>
                    <a:pt x="2625" y="9063"/>
                  </a:cubicBezTo>
                  <a:cubicBezTo>
                    <a:pt x="2633" y="9074"/>
                    <a:pt x="2633" y="9074"/>
                    <a:pt x="2633" y="9074"/>
                  </a:cubicBezTo>
                  <a:cubicBezTo>
                    <a:pt x="2564" y="9111"/>
                    <a:pt x="2493" y="9149"/>
                    <a:pt x="2422" y="9187"/>
                  </a:cubicBezTo>
                  <a:cubicBezTo>
                    <a:pt x="2418" y="9177"/>
                    <a:pt x="2418" y="9177"/>
                    <a:pt x="2418" y="9177"/>
                  </a:cubicBezTo>
                  <a:cubicBezTo>
                    <a:pt x="2405" y="9182"/>
                    <a:pt x="2405" y="9182"/>
                    <a:pt x="2405" y="9182"/>
                  </a:cubicBezTo>
                  <a:cubicBezTo>
                    <a:pt x="2410" y="9194"/>
                    <a:pt x="2410" y="9194"/>
                    <a:pt x="2410" y="9194"/>
                  </a:cubicBezTo>
                  <a:cubicBezTo>
                    <a:pt x="2344" y="9229"/>
                    <a:pt x="2278" y="9265"/>
                    <a:pt x="2212" y="9300"/>
                  </a:cubicBezTo>
                  <a:cubicBezTo>
                    <a:pt x="2208" y="9300"/>
                    <a:pt x="2208" y="9300"/>
                    <a:pt x="2208" y="9300"/>
                  </a:cubicBezTo>
                  <a:cubicBezTo>
                    <a:pt x="2208" y="9300"/>
                    <a:pt x="2208" y="9301"/>
                    <a:pt x="2208" y="9302"/>
                  </a:cubicBezTo>
                  <a:cubicBezTo>
                    <a:pt x="2174" y="9321"/>
                    <a:pt x="2140" y="9339"/>
                    <a:pt x="2107" y="9357"/>
                  </a:cubicBezTo>
                  <a:cubicBezTo>
                    <a:pt x="2106" y="9357"/>
                    <a:pt x="2106" y="9357"/>
                    <a:pt x="2106" y="9357"/>
                  </a:cubicBezTo>
                  <a:cubicBezTo>
                    <a:pt x="2084" y="9378"/>
                    <a:pt x="2084" y="9378"/>
                    <a:pt x="2084" y="9378"/>
                  </a:cubicBezTo>
                  <a:cubicBezTo>
                    <a:pt x="1771" y="9547"/>
                    <a:pt x="1479" y="9704"/>
                    <a:pt x="1236" y="9836"/>
                  </a:cubicBezTo>
                  <a:cubicBezTo>
                    <a:pt x="1234" y="9834"/>
                    <a:pt x="1232" y="9833"/>
                    <a:pt x="1231" y="9832"/>
                  </a:cubicBezTo>
                  <a:cubicBezTo>
                    <a:pt x="1231" y="9832"/>
                    <a:pt x="1231" y="9831"/>
                    <a:pt x="1231" y="9831"/>
                  </a:cubicBezTo>
                  <a:cubicBezTo>
                    <a:pt x="1231" y="9831"/>
                    <a:pt x="1230" y="9830"/>
                    <a:pt x="1230" y="9830"/>
                  </a:cubicBezTo>
                  <a:cubicBezTo>
                    <a:pt x="1230" y="9830"/>
                    <a:pt x="1230" y="9829"/>
                    <a:pt x="1229" y="9829"/>
                  </a:cubicBezTo>
                  <a:cubicBezTo>
                    <a:pt x="1229" y="9829"/>
                    <a:pt x="1228" y="9828"/>
                    <a:pt x="1227" y="9828"/>
                  </a:cubicBezTo>
                  <a:cubicBezTo>
                    <a:pt x="1226" y="9828"/>
                    <a:pt x="1225" y="9827"/>
                    <a:pt x="1224" y="9827"/>
                  </a:cubicBezTo>
                  <a:cubicBezTo>
                    <a:pt x="1224" y="9827"/>
                    <a:pt x="1224" y="9827"/>
                    <a:pt x="1224" y="9827"/>
                  </a:cubicBezTo>
                  <a:cubicBezTo>
                    <a:pt x="1224" y="9827"/>
                    <a:pt x="1224" y="9827"/>
                    <a:pt x="1224" y="9827"/>
                  </a:cubicBezTo>
                  <a:cubicBezTo>
                    <a:pt x="1224" y="9827"/>
                    <a:pt x="1224" y="9827"/>
                    <a:pt x="1224" y="9827"/>
                  </a:cubicBezTo>
                  <a:cubicBezTo>
                    <a:pt x="1224" y="9827"/>
                    <a:pt x="1224" y="9827"/>
                    <a:pt x="1224" y="9827"/>
                  </a:cubicBezTo>
                  <a:cubicBezTo>
                    <a:pt x="1224" y="9827"/>
                    <a:pt x="1224" y="9827"/>
                    <a:pt x="1223" y="9828"/>
                  </a:cubicBezTo>
                  <a:cubicBezTo>
                    <a:pt x="1222" y="9828"/>
                    <a:pt x="1221" y="9828"/>
                    <a:pt x="1220" y="9829"/>
                  </a:cubicBezTo>
                  <a:cubicBezTo>
                    <a:pt x="1218" y="9829"/>
                    <a:pt x="1216" y="9833"/>
                    <a:pt x="1216" y="9836"/>
                  </a:cubicBezTo>
                  <a:cubicBezTo>
                    <a:pt x="1217" y="9842"/>
                    <a:pt x="1218" y="9840"/>
                    <a:pt x="1218" y="9842"/>
                  </a:cubicBezTo>
                  <a:cubicBezTo>
                    <a:pt x="1219" y="9842"/>
                    <a:pt x="1219" y="9843"/>
                    <a:pt x="1220" y="9843"/>
                  </a:cubicBezTo>
                  <a:cubicBezTo>
                    <a:pt x="1220" y="9844"/>
                    <a:pt x="1220" y="9844"/>
                    <a:pt x="1221" y="9844"/>
                  </a:cubicBezTo>
                  <a:cubicBezTo>
                    <a:pt x="1182" y="9865"/>
                    <a:pt x="1143" y="9886"/>
                    <a:pt x="1107" y="9906"/>
                  </a:cubicBezTo>
                  <a:cubicBezTo>
                    <a:pt x="853" y="10043"/>
                    <a:pt x="683" y="10135"/>
                    <a:pt x="669" y="10143"/>
                  </a:cubicBezTo>
                  <a:cubicBezTo>
                    <a:pt x="665" y="10145"/>
                    <a:pt x="651" y="10153"/>
                    <a:pt x="631" y="10166"/>
                  </a:cubicBezTo>
                  <a:cubicBezTo>
                    <a:pt x="596" y="10125"/>
                    <a:pt x="567" y="10092"/>
                    <a:pt x="549" y="10070"/>
                  </a:cubicBezTo>
                  <a:close/>
                  <a:moveTo>
                    <a:pt x="638" y="10279"/>
                  </a:moveTo>
                  <a:cubicBezTo>
                    <a:pt x="712" y="10365"/>
                    <a:pt x="802" y="10470"/>
                    <a:pt x="893" y="10575"/>
                  </a:cubicBezTo>
                  <a:cubicBezTo>
                    <a:pt x="996" y="10693"/>
                    <a:pt x="1098" y="10811"/>
                    <a:pt x="1176" y="10902"/>
                  </a:cubicBezTo>
                  <a:cubicBezTo>
                    <a:pt x="1162" y="10910"/>
                    <a:pt x="1150" y="10918"/>
                    <a:pt x="1143" y="10925"/>
                  </a:cubicBezTo>
                  <a:cubicBezTo>
                    <a:pt x="1127" y="10942"/>
                    <a:pt x="1123" y="10964"/>
                    <a:pt x="1123" y="10983"/>
                  </a:cubicBezTo>
                  <a:cubicBezTo>
                    <a:pt x="1123" y="10997"/>
                    <a:pt x="1126" y="11010"/>
                    <a:pt x="1128" y="11020"/>
                  </a:cubicBezTo>
                  <a:cubicBezTo>
                    <a:pt x="1119" y="11022"/>
                    <a:pt x="1111" y="11025"/>
                    <a:pt x="1102" y="11029"/>
                  </a:cubicBezTo>
                  <a:cubicBezTo>
                    <a:pt x="975" y="11088"/>
                    <a:pt x="927" y="11145"/>
                    <a:pt x="926" y="11205"/>
                  </a:cubicBezTo>
                  <a:cubicBezTo>
                    <a:pt x="926" y="11206"/>
                    <a:pt x="926" y="11206"/>
                    <a:pt x="926" y="11206"/>
                  </a:cubicBezTo>
                  <a:cubicBezTo>
                    <a:pt x="926" y="11233"/>
                    <a:pt x="948" y="11273"/>
                    <a:pt x="969" y="11321"/>
                  </a:cubicBezTo>
                  <a:cubicBezTo>
                    <a:pt x="975" y="11335"/>
                    <a:pt x="981" y="11349"/>
                    <a:pt x="986" y="11363"/>
                  </a:cubicBezTo>
                  <a:cubicBezTo>
                    <a:pt x="986" y="11363"/>
                    <a:pt x="986" y="11363"/>
                    <a:pt x="986" y="11363"/>
                  </a:cubicBezTo>
                  <a:cubicBezTo>
                    <a:pt x="937" y="11333"/>
                    <a:pt x="835" y="11276"/>
                    <a:pt x="759" y="11227"/>
                  </a:cubicBezTo>
                  <a:cubicBezTo>
                    <a:pt x="922" y="11001"/>
                    <a:pt x="922" y="11001"/>
                    <a:pt x="922" y="11001"/>
                  </a:cubicBezTo>
                  <a:cubicBezTo>
                    <a:pt x="927" y="10997"/>
                    <a:pt x="945" y="10985"/>
                    <a:pt x="964" y="10972"/>
                  </a:cubicBezTo>
                  <a:cubicBezTo>
                    <a:pt x="984" y="10958"/>
                    <a:pt x="1007" y="10943"/>
                    <a:pt x="1012" y="10941"/>
                  </a:cubicBezTo>
                  <a:cubicBezTo>
                    <a:pt x="1015" y="10941"/>
                    <a:pt x="1015" y="10941"/>
                    <a:pt x="1016" y="10940"/>
                  </a:cubicBezTo>
                  <a:cubicBezTo>
                    <a:pt x="1017" y="10939"/>
                    <a:pt x="1020" y="10939"/>
                    <a:pt x="1020" y="10933"/>
                  </a:cubicBezTo>
                  <a:cubicBezTo>
                    <a:pt x="1020" y="10928"/>
                    <a:pt x="1020" y="10930"/>
                    <a:pt x="1019" y="10929"/>
                  </a:cubicBezTo>
                  <a:cubicBezTo>
                    <a:pt x="1019" y="10928"/>
                    <a:pt x="1019" y="10928"/>
                    <a:pt x="1018" y="10927"/>
                  </a:cubicBezTo>
                  <a:cubicBezTo>
                    <a:pt x="1018" y="10926"/>
                    <a:pt x="1017" y="10924"/>
                    <a:pt x="1016" y="10923"/>
                  </a:cubicBezTo>
                  <a:cubicBezTo>
                    <a:pt x="1013" y="10919"/>
                    <a:pt x="1010" y="10913"/>
                    <a:pt x="1006" y="10907"/>
                  </a:cubicBezTo>
                  <a:cubicBezTo>
                    <a:pt x="998" y="10893"/>
                    <a:pt x="986" y="10874"/>
                    <a:pt x="971" y="10851"/>
                  </a:cubicBezTo>
                  <a:cubicBezTo>
                    <a:pt x="942" y="10805"/>
                    <a:pt x="904" y="10744"/>
                    <a:pt x="865" y="10683"/>
                  </a:cubicBezTo>
                  <a:cubicBezTo>
                    <a:pt x="788" y="10562"/>
                    <a:pt x="711" y="10441"/>
                    <a:pt x="711" y="10441"/>
                  </a:cubicBezTo>
                  <a:cubicBezTo>
                    <a:pt x="707" y="10434"/>
                    <a:pt x="707" y="10434"/>
                    <a:pt x="707" y="10434"/>
                  </a:cubicBezTo>
                  <a:cubicBezTo>
                    <a:pt x="588" y="10502"/>
                    <a:pt x="588" y="10502"/>
                    <a:pt x="588" y="10502"/>
                  </a:cubicBezTo>
                  <a:cubicBezTo>
                    <a:pt x="499" y="10344"/>
                    <a:pt x="499" y="10344"/>
                    <a:pt x="499" y="10344"/>
                  </a:cubicBezTo>
                  <a:cubicBezTo>
                    <a:pt x="541" y="10323"/>
                    <a:pt x="590" y="10300"/>
                    <a:pt x="638" y="10279"/>
                  </a:cubicBezTo>
                  <a:close/>
                  <a:moveTo>
                    <a:pt x="746" y="11218"/>
                  </a:moveTo>
                  <a:cubicBezTo>
                    <a:pt x="697" y="11183"/>
                    <a:pt x="650" y="11125"/>
                    <a:pt x="632" y="11101"/>
                  </a:cubicBezTo>
                  <a:cubicBezTo>
                    <a:pt x="724" y="10990"/>
                    <a:pt x="724" y="10990"/>
                    <a:pt x="724" y="10990"/>
                  </a:cubicBezTo>
                  <a:cubicBezTo>
                    <a:pt x="630" y="10831"/>
                    <a:pt x="630" y="10831"/>
                    <a:pt x="630" y="10831"/>
                  </a:cubicBezTo>
                  <a:cubicBezTo>
                    <a:pt x="741" y="10776"/>
                    <a:pt x="741" y="10776"/>
                    <a:pt x="741" y="10776"/>
                  </a:cubicBezTo>
                  <a:cubicBezTo>
                    <a:pt x="596" y="10516"/>
                    <a:pt x="596" y="10516"/>
                    <a:pt x="596" y="10516"/>
                  </a:cubicBezTo>
                  <a:cubicBezTo>
                    <a:pt x="702" y="10456"/>
                    <a:pt x="702" y="10456"/>
                    <a:pt x="702" y="10456"/>
                  </a:cubicBezTo>
                  <a:cubicBezTo>
                    <a:pt x="719" y="10483"/>
                    <a:pt x="784" y="10585"/>
                    <a:pt x="850" y="10689"/>
                  </a:cubicBezTo>
                  <a:cubicBezTo>
                    <a:pt x="916" y="10793"/>
                    <a:pt x="983" y="10901"/>
                    <a:pt x="1000" y="10929"/>
                  </a:cubicBezTo>
                  <a:cubicBezTo>
                    <a:pt x="997" y="10931"/>
                    <a:pt x="994" y="10933"/>
                    <a:pt x="989" y="10936"/>
                  </a:cubicBezTo>
                  <a:cubicBezTo>
                    <a:pt x="980" y="10941"/>
                    <a:pt x="968" y="10949"/>
                    <a:pt x="957" y="10957"/>
                  </a:cubicBezTo>
                  <a:cubicBezTo>
                    <a:pt x="934" y="10972"/>
                    <a:pt x="912" y="10988"/>
                    <a:pt x="912" y="10988"/>
                  </a:cubicBezTo>
                  <a:cubicBezTo>
                    <a:pt x="911" y="10989"/>
                    <a:pt x="911" y="10989"/>
                    <a:pt x="911" y="10989"/>
                  </a:cubicBezTo>
                  <a:lnTo>
                    <a:pt x="746" y="11218"/>
                  </a:lnTo>
                  <a:close/>
                  <a:moveTo>
                    <a:pt x="449" y="10370"/>
                  </a:moveTo>
                  <a:cubicBezTo>
                    <a:pt x="461" y="10363"/>
                    <a:pt x="476" y="10356"/>
                    <a:pt x="493" y="10347"/>
                  </a:cubicBezTo>
                  <a:cubicBezTo>
                    <a:pt x="447" y="10371"/>
                    <a:pt x="447" y="10371"/>
                    <a:pt x="447" y="10371"/>
                  </a:cubicBezTo>
                  <a:cubicBezTo>
                    <a:pt x="448" y="10371"/>
                    <a:pt x="448" y="10370"/>
                    <a:pt x="449" y="10370"/>
                  </a:cubicBezTo>
                  <a:close/>
                  <a:moveTo>
                    <a:pt x="325" y="10453"/>
                  </a:moveTo>
                  <a:cubicBezTo>
                    <a:pt x="493" y="10365"/>
                    <a:pt x="493" y="10365"/>
                    <a:pt x="493" y="10365"/>
                  </a:cubicBezTo>
                  <a:cubicBezTo>
                    <a:pt x="718" y="10769"/>
                    <a:pt x="718" y="10769"/>
                    <a:pt x="718" y="10769"/>
                  </a:cubicBezTo>
                  <a:cubicBezTo>
                    <a:pt x="607" y="10824"/>
                    <a:pt x="607" y="10824"/>
                    <a:pt x="607" y="10824"/>
                  </a:cubicBezTo>
                  <a:cubicBezTo>
                    <a:pt x="704" y="10988"/>
                    <a:pt x="704" y="10988"/>
                    <a:pt x="704" y="10988"/>
                  </a:cubicBezTo>
                  <a:cubicBezTo>
                    <a:pt x="622" y="11087"/>
                    <a:pt x="622" y="11087"/>
                    <a:pt x="622" y="11087"/>
                  </a:cubicBezTo>
                  <a:cubicBezTo>
                    <a:pt x="622" y="11087"/>
                    <a:pt x="621" y="11086"/>
                    <a:pt x="621" y="11086"/>
                  </a:cubicBezTo>
                  <a:cubicBezTo>
                    <a:pt x="621" y="11086"/>
                    <a:pt x="621" y="11086"/>
                    <a:pt x="621" y="11086"/>
                  </a:cubicBezTo>
                  <a:cubicBezTo>
                    <a:pt x="591" y="11036"/>
                    <a:pt x="591" y="11036"/>
                    <a:pt x="591" y="11036"/>
                  </a:cubicBezTo>
                  <a:cubicBezTo>
                    <a:pt x="562" y="10988"/>
                    <a:pt x="531" y="10928"/>
                    <a:pt x="503" y="10867"/>
                  </a:cubicBezTo>
                  <a:cubicBezTo>
                    <a:pt x="446" y="10745"/>
                    <a:pt x="358" y="10524"/>
                    <a:pt x="358" y="10524"/>
                  </a:cubicBezTo>
                  <a:cubicBezTo>
                    <a:pt x="352" y="10512"/>
                    <a:pt x="352" y="10512"/>
                    <a:pt x="352" y="10512"/>
                  </a:cubicBezTo>
                  <a:cubicBezTo>
                    <a:pt x="352" y="10512"/>
                    <a:pt x="352" y="10512"/>
                    <a:pt x="352" y="10512"/>
                  </a:cubicBezTo>
                  <a:lnTo>
                    <a:pt x="325" y="10453"/>
                  </a:lnTo>
                  <a:close/>
                  <a:moveTo>
                    <a:pt x="46" y="10856"/>
                  </a:moveTo>
                  <a:cubicBezTo>
                    <a:pt x="34" y="10840"/>
                    <a:pt x="34" y="10840"/>
                    <a:pt x="34" y="10840"/>
                  </a:cubicBezTo>
                  <a:cubicBezTo>
                    <a:pt x="34" y="10839"/>
                    <a:pt x="34" y="10839"/>
                    <a:pt x="34" y="10839"/>
                  </a:cubicBezTo>
                  <a:cubicBezTo>
                    <a:pt x="34" y="10839"/>
                    <a:pt x="34" y="10839"/>
                    <a:pt x="34" y="10839"/>
                  </a:cubicBezTo>
                  <a:cubicBezTo>
                    <a:pt x="63" y="10818"/>
                    <a:pt x="73" y="10810"/>
                    <a:pt x="85" y="10802"/>
                  </a:cubicBezTo>
                  <a:cubicBezTo>
                    <a:pt x="113" y="10782"/>
                    <a:pt x="152" y="10754"/>
                    <a:pt x="191" y="10727"/>
                  </a:cubicBezTo>
                  <a:cubicBezTo>
                    <a:pt x="229" y="10701"/>
                    <a:pt x="266" y="10674"/>
                    <a:pt x="295" y="10654"/>
                  </a:cubicBezTo>
                  <a:cubicBezTo>
                    <a:pt x="170" y="10805"/>
                    <a:pt x="170" y="10805"/>
                    <a:pt x="170" y="10805"/>
                  </a:cubicBezTo>
                  <a:cubicBezTo>
                    <a:pt x="189" y="10874"/>
                    <a:pt x="189" y="10874"/>
                    <a:pt x="189" y="10874"/>
                  </a:cubicBezTo>
                  <a:cubicBezTo>
                    <a:pt x="373" y="10799"/>
                    <a:pt x="373" y="10799"/>
                    <a:pt x="373" y="10799"/>
                  </a:cubicBezTo>
                  <a:cubicBezTo>
                    <a:pt x="380" y="10796"/>
                    <a:pt x="380" y="10796"/>
                    <a:pt x="380" y="10796"/>
                  </a:cubicBezTo>
                  <a:cubicBezTo>
                    <a:pt x="307" y="10646"/>
                    <a:pt x="307" y="10646"/>
                    <a:pt x="307" y="10646"/>
                  </a:cubicBezTo>
                  <a:cubicBezTo>
                    <a:pt x="330" y="10630"/>
                    <a:pt x="345" y="10619"/>
                    <a:pt x="345" y="10619"/>
                  </a:cubicBezTo>
                  <a:cubicBezTo>
                    <a:pt x="347" y="10618"/>
                    <a:pt x="347" y="10618"/>
                    <a:pt x="347" y="10618"/>
                  </a:cubicBezTo>
                  <a:cubicBezTo>
                    <a:pt x="371" y="10675"/>
                    <a:pt x="403" y="10754"/>
                    <a:pt x="433" y="10822"/>
                  </a:cubicBezTo>
                  <a:cubicBezTo>
                    <a:pt x="118" y="10962"/>
                    <a:pt x="118" y="10962"/>
                    <a:pt x="118" y="10962"/>
                  </a:cubicBezTo>
                  <a:cubicBezTo>
                    <a:pt x="79" y="10905"/>
                    <a:pt x="52" y="10866"/>
                    <a:pt x="46" y="10856"/>
                  </a:cubicBezTo>
                  <a:close/>
                  <a:moveTo>
                    <a:pt x="302" y="10669"/>
                  </a:moveTo>
                  <a:cubicBezTo>
                    <a:pt x="360" y="10788"/>
                    <a:pt x="360" y="10788"/>
                    <a:pt x="360" y="10788"/>
                  </a:cubicBezTo>
                  <a:cubicBezTo>
                    <a:pt x="199" y="10854"/>
                    <a:pt x="199" y="10854"/>
                    <a:pt x="199" y="10854"/>
                  </a:cubicBezTo>
                  <a:cubicBezTo>
                    <a:pt x="186" y="10808"/>
                    <a:pt x="186" y="10808"/>
                    <a:pt x="186" y="10808"/>
                  </a:cubicBezTo>
                  <a:lnTo>
                    <a:pt x="302" y="10669"/>
                  </a:lnTo>
                  <a:close/>
                  <a:moveTo>
                    <a:pt x="414" y="11387"/>
                  </a:moveTo>
                  <a:cubicBezTo>
                    <a:pt x="303" y="11228"/>
                    <a:pt x="197" y="11075"/>
                    <a:pt x="126" y="10974"/>
                  </a:cubicBezTo>
                  <a:cubicBezTo>
                    <a:pt x="439" y="10835"/>
                    <a:pt x="439" y="10835"/>
                    <a:pt x="439" y="10835"/>
                  </a:cubicBezTo>
                  <a:cubicBezTo>
                    <a:pt x="447" y="10853"/>
                    <a:pt x="455" y="10871"/>
                    <a:pt x="462" y="10886"/>
                  </a:cubicBezTo>
                  <a:cubicBezTo>
                    <a:pt x="506" y="10980"/>
                    <a:pt x="564" y="11079"/>
                    <a:pt x="593" y="11122"/>
                  </a:cubicBezTo>
                  <a:cubicBezTo>
                    <a:pt x="593" y="11123"/>
                    <a:pt x="593" y="11123"/>
                    <a:pt x="593" y="11123"/>
                  </a:cubicBezTo>
                  <a:cubicBezTo>
                    <a:pt x="594" y="11124"/>
                    <a:pt x="640" y="11194"/>
                    <a:pt x="710" y="11248"/>
                  </a:cubicBezTo>
                  <a:cubicBezTo>
                    <a:pt x="459" y="11451"/>
                    <a:pt x="459" y="11451"/>
                    <a:pt x="459" y="11451"/>
                  </a:cubicBezTo>
                  <a:cubicBezTo>
                    <a:pt x="444" y="11429"/>
                    <a:pt x="429" y="11408"/>
                    <a:pt x="414" y="11387"/>
                  </a:cubicBezTo>
                  <a:close/>
                  <a:moveTo>
                    <a:pt x="467" y="11462"/>
                  </a:moveTo>
                  <a:cubicBezTo>
                    <a:pt x="722" y="11256"/>
                    <a:pt x="722" y="11256"/>
                    <a:pt x="722" y="11256"/>
                  </a:cubicBezTo>
                  <a:cubicBezTo>
                    <a:pt x="725" y="11258"/>
                    <a:pt x="728" y="11261"/>
                    <a:pt x="731" y="11263"/>
                  </a:cubicBezTo>
                  <a:cubicBezTo>
                    <a:pt x="774" y="11291"/>
                    <a:pt x="826" y="11322"/>
                    <a:pt x="872" y="11348"/>
                  </a:cubicBezTo>
                  <a:cubicBezTo>
                    <a:pt x="869" y="11365"/>
                    <a:pt x="864" y="11396"/>
                    <a:pt x="854" y="11432"/>
                  </a:cubicBezTo>
                  <a:cubicBezTo>
                    <a:pt x="840" y="11486"/>
                    <a:pt x="816" y="11552"/>
                    <a:pt x="782" y="11595"/>
                  </a:cubicBezTo>
                  <a:cubicBezTo>
                    <a:pt x="716" y="11680"/>
                    <a:pt x="655" y="11704"/>
                    <a:pt x="650" y="11705"/>
                  </a:cubicBezTo>
                  <a:cubicBezTo>
                    <a:pt x="641" y="11708"/>
                    <a:pt x="641" y="11708"/>
                    <a:pt x="641" y="11708"/>
                  </a:cubicBezTo>
                  <a:cubicBezTo>
                    <a:pt x="586" y="11631"/>
                    <a:pt x="527" y="11547"/>
                    <a:pt x="467" y="11462"/>
                  </a:cubicBezTo>
                  <a:close/>
                  <a:moveTo>
                    <a:pt x="185" y="12166"/>
                  </a:moveTo>
                  <a:cubicBezTo>
                    <a:pt x="166" y="12155"/>
                    <a:pt x="141" y="12146"/>
                    <a:pt x="115" y="12139"/>
                  </a:cubicBezTo>
                  <a:cubicBezTo>
                    <a:pt x="150" y="11995"/>
                    <a:pt x="150" y="11995"/>
                    <a:pt x="150" y="11995"/>
                  </a:cubicBezTo>
                  <a:cubicBezTo>
                    <a:pt x="607" y="11774"/>
                    <a:pt x="607" y="11774"/>
                    <a:pt x="607" y="11774"/>
                  </a:cubicBezTo>
                  <a:cubicBezTo>
                    <a:pt x="652" y="11836"/>
                    <a:pt x="693" y="11894"/>
                    <a:pt x="727" y="11941"/>
                  </a:cubicBezTo>
                  <a:cubicBezTo>
                    <a:pt x="339" y="12142"/>
                    <a:pt x="339" y="12142"/>
                    <a:pt x="339" y="12142"/>
                  </a:cubicBezTo>
                  <a:cubicBezTo>
                    <a:pt x="337" y="12139"/>
                    <a:pt x="337" y="12139"/>
                    <a:pt x="337" y="12139"/>
                  </a:cubicBezTo>
                  <a:cubicBezTo>
                    <a:pt x="319" y="12152"/>
                    <a:pt x="319" y="12152"/>
                    <a:pt x="319" y="12152"/>
                  </a:cubicBezTo>
                  <a:cubicBezTo>
                    <a:pt x="227" y="12200"/>
                    <a:pt x="227" y="12200"/>
                    <a:pt x="227" y="12200"/>
                  </a:cubicBezTo>
                  <a:cubicBezTo>
                    <a:pt x="213" y="12186"/>
                    <a:pt x="199" y="12174"/>
                    <a:pt x="185" y="12166"/>
                  </a:cubicBezTo>
                  <a:close/>
                  <a:moveTo>
                    <a:pt x="237" y="12210"/>
                  </a:moveTo>
                  <a:cubicBezTo>
                    <a:pt x="269" y="12193"/>
                    <a:pt x="269" y="12193"/>
                    <a:pt x="269" y="12193"/>
                  </a:cubicBezTo>
                  <a:cubicBezTo>
                    <a:pt x="319" y="12260"/>
                    <a:pt x="319" y="12260"/>
                    <a:pt x="319" y="12260"/>
                  </a:cubicBezTo>
                  <a:cubicBezTo>
                    <a:pt x="292" y="12271"/>
                    <a:pt x="292" y="12271"/>
                    <a:pt x="292" y="12271"/>
                  </a:cubicBezTo>
                  <a:cubicBezTo>
                    <a:pt x="274" y="12249"/>
                    <a:pt x="255" y="12228"/>
                    <a:pt x="237" y="12210"/>
                  </a:cubicBezTo>
                  <a:close/>
                  <a:moveTo>
                    <a:pt x="305" y="12285"/>
                  </a:moveTo>
                  <a:cubicBezTo>
                    <a:pt x="304" y="12284"/>
                    <a:pt x="303" y="12283"/>
                    <a:pt x="302" y="12282"/>
                  </a:cubicBezTo>
                  <a:cubicBezTo>
                    <a:pt x="328" y="12272"/>
                    <a:pt x="328" y="12272"/>
                    <a:pt x="328" y="12272"/>
                  </a:cubicBezTo>
                  <a:cubicBezTo>
                    <a:pt x="390" y="12356"/>
                    <a:pt x="390" y="12356"/>
                    <a:pt x="390" y="12356"/>
                  </a:cubicBezTo>
                  <a:cubicBezTo>
                    <a:pt x="367" y="12365"/>
                    <a:pt x="367" y="12365"/>
                    <a:pt x="367" y="12365"/>
                  </a:cubicBezTo>
                  <a:cubicBezTo>
                    <a:pt x="348" y="12340"/>
                    <a:pt x="327" y="12312"/>
                    <a:pt x="305" y="12285"/>
                  </a:cubicBezTo>
                  <a:close/>
                  <a:moveTo>
                    <a:pt x="214" y="12704"/>
                  </a:moveTo>
                  <a:cubicBezTo>
                    <a:pt x="185" y="12667"/>
                    <a:pt x="152" y="12642"/>
                    <a:pt x="127" y="12627"/>
                  </a:cubicBezTo>
                  <a:cubicBezTo>
                    <a:pt x="314" y="12403"/>
                    <a:pt x="314" y="12403"/>
                    <a:pt x="314" y="12403"/>
                  </a:cubicBezTo>
                  <a:cubicBezTo>
                    <a:pt x="330" y="12425"/>
                    <a:pt x="344" y="12444"/>
                    <a:pt x="353" y="12457"/>
                  </a:cubicBezTo>
                  <a:cubicBezTo>
                    <a:pt x="387" y="12505"/>
                    <a:pt x="473" y="12630"/>
                    <a:pt x="528" y="12722"/>
                  </a:cubicBezTo>
                  <a:cubicBezTo>
                    <a:pt x="500" y="12728"/>
                    <a:pt x="442" y="12741"/>
                    <a:pt x="382" y="12755"/>
                  </a:cubicBezTo>
                  <a:cubicBezTo>
                    <a:pt x="336" y="12765"/>
                    <a:pt x="291" y="12776"/>
                    <a:pt x="261" y="12782"/>
                  </a:cubicBezTo>
                  <a:cubicBezTo>
                    <a:pt x="246" y="12750"/>
                    <a:pt x="228" y="12723"/>
                    <a:pt x="214" y="12704"/>
                  </a:cubicBezTo>
                  <a:close/>
                  <a:moveTo>
                    <a:pt x="160" y="13485"/>
                  </a:moveTo>
                  <a:cubicBezTo>
                    <a:pt x="271" y="13315"/>
                    <a:pt x="271" y="13315"/>
                    <a:pt x="271" y="13315"/>
                  </a:cubicBezTo>
                  <a:cubicBezTo>
                    <a:pt x="329" y="13337"/>
                    <a:pt x="515" y="13405"/>
                    <a:pt x="581" y="13427"/>
                  </a:cubicBezTo>
                  <a:cubicBezTo>
                    <a:pt x="567" y="13498"/>
                    <a:pt x="553" y="13578"/>
                    <a:pt x="549" y="13602"/>
                  </a:cubicBezTo>
                  <a:cubicBezTo>
                    <a:pt x="549" y="13607"/>
                    <a:pt x="548" y="13611"/>
                    <a:pt x="548" y="13616"/>
                  </a:cubicBezTo>
                  <a:cubicBezTo>
                    <a:pt x="549" y="13630"/>
                    <a:pt x="552" y="13646"/>
                    <a:pt x="556" y="13661"/>
                  </a:cubicBezTo>
                  <a:cubicBezTo>
                    <a:pt x="243" y="13633"/>
                    <a:pt x="243" y="13633"/>
                    <a:pt x="243" y="13633"/>
                  </a:cubicBezTo>
                  <a:lnTo>
                    <a:pt x="160" y="13485"/>
                  </a:lnTo>
                  <a:close/>
                  <a:moveTo>
                    <a:pt x="244" y="13648"/>
                  </a:moveTo>
                  <a:cubicBezTo>
                    <a:pt x="560" y="13675"/>
                    <a:pt x="560" y="13675"/>
                    <a:pt x="560" y="13675"/>
                  </a:cubicBezTo>
                  <a:cubicBezTo>
                    <a:pt x="570" y="13704"/>
                    <a:pt x="584" y="13732"/>
                    <a:pt x="601" y="13756"/>
                  </a:cubicBezTo>
                  <a:cubicBezTo>
                    <a:pt x="602" y="13757"/>
                    <a:pt x="602" y="13757"/>
                    <a:pt x="602" y="13757"/>
                  </a:cubicBezTo>
                  <a:cubicBezTo>
                    <a:pt x="604" y="13759"/>
                    <a:pt x="604" y="13759"/>
                    <a:pt x="604" y="13759"/>
                  </a:cubicBezTo>
                  <a:cubicBezTo>
                    <a:pt x="613" y="13767"/>
                    <a:pt x="624" y="13774"/>
                    <a:pt x="640" y="13786"/>
                  </a:cubicBezTo>
                  <a:cubicBezTo>
                    <a:pt x="656" y="13797"/>
                    <a:pt x="665" y="13803"/>
                    <a:pt x="685" y="13816"/>
                  </a:cubicBezTo>
                  <a:cubicBezTo>
                    <a:pt x="708" y="13831"/>
                    <a:pt x="708" y="13831"/>
                    <a:pt x="708" y="13831"/>
                  </a:cubicBezTo>
                  <a:cubicBezTo>
                    <a:pt x="749" y="13860"/>
                    <a:pt x="749" y="13860"/>
                    <a:pt x="749" y="13860"/>
                  </a:cubicBezTo>
                  <a:cubicBezTo>
                    <a:pt x="748" y="13860"/>
                    <a:pt x="748" y="13860"/>
                    <a:pt x="748" y="13860"/>
                  </a:cubicBezTo>
                  <a:cubicBezTo>
                    <a:pt x="753" y="13863"/>
                    <a:pt x="753" y="13863"/>
                    <a:pt x="753" y="13863"/>
                  </a:cubicBezTo>
                  <a:cubicBezTo>
                    <a:pt x="748" y="13861"/>
                    <a:pt x="748" y="13861"/>
                    <a:pt x="748" y="13861"/>
                  </a:cubicBezTo>
                  <a:cubicBezTo>
                    <a:pt x="560" y="14121"/>
                    <a:pt x="560" y="14121"/>
                    <a:pt x="560" y="14121"/>
                  </a:cubicBezTo>
                  <a:cubicBezTo>
                    <a:pt x="523" y="14097"/>
                    <a:pt x="250" y="13920"/>
                    <a:pt x="159" y="13865"/>
                  </a:cubicBezTo>
                  <a:lnTo>
                    <a:pt x="244" y="13648"/>
                  </a:lnTo>
                  <a:close/>
                  <a:moveTo>
                    <a:pt x="464" y="14505"/>
                  </a:moveTo>
                  <a:cubicBezTo>
                    <a:pt x="40" y="14169"/>
                    <a:pt x="40" y="14169"/>
                    <a:pt x="40" y="14169"/>
                  </a:cubicBezTo>
                  <a:cubicBezTo>
                    <a:pt x="154" y="13878"/>
                    <a:pt x="154" y="13878"/>
                    <a:pt x="154" y="13878"/>
                  </a:cubicBezTo>
                  <a:cubicBezTo>
                    <a:pt x="165" y="13885"/>
                    <a:pt x="178" y="13893"/>
                    <a:pt x="194" y="13903"/>
                  </a:cubicBezTo>
                  <a:cubicBezTo>
                    <a:pt x="235" y="13929"/>
                    <a:pt x="289" y="13964"/>
                    <a:pt x="342" y="13998"/>
                  </a:cubicBezTo>
                  <a:cubicBezTo>
                    <a:pt x="436" y="14059"/>
                    <a:pt x="530" y="14118"/>
                    <a:pt x="552" y="14132"/>
                  </a:cubicBezTo>
                  <a:cubicBezTo>
                    <a:pt x="551" y="14134"/>
                    <a:pt x="551" y="14134"/>
                    <a:pt x="551" y="14134"/>
                  </a:cubicBezTo>
                  <a:cubicBezTo>
                    <a:pt x="648" y="14202"/>
                    <a:pt x="648" y="14202"/>
                    <a:pt x="648" y="14202"/>
                  </a:cubicBezTo>
                  <a:lnTo>
                    <a:pt x="464" y="14505"/>
                  </a:lnTo>
                  <a:close/>
                  <a:moveTo>
                    <a:pt x="477" y="14515"/>
                  </a:moveTo>
                  <a:cubicBezTo>
                    <a:pt x="670" y="14197"/>
                    <a:pt x="670" y="14197"/>
                    <a:pt x="670" y="14197"/>
                  </a:cubicBezTo>
                  <a:cubicBezTo>
                    <a:pt x="574" y="14130"/>
                    <a:pt x="574" y="14130"/>
                    <a:pt x="574" y="14130"/>
                  </a:cubicBezTo>
                  <a:cubicBezTo>
                    <a:pt x="763" y="13869"/>
                    <a:pt x="763" y="13869"/>
                    <a:pt x="763" y="13869"/>
                  </a:cubicBezTo>
                  <a:cubicBezTo>
                    <a:pt x="1069" y="14062"/>
                    <a:pt x="1069" y="14062"/>
                    <a:pt x="1069" y="14062"/>
                  </a:cubicBezTo>
                  <a:cubicBezTo>
                    <a:pt x="1040" y="14093"/>
                    <a:pt x="1001" y="14133"/>
                    <a:pt x="961" y="14174"/>
                  </a:cubicBezTo>
                  <a:cubicBezTo>
                    <a:pt x="881" y="14257"/>
                    <a:pt x="797" y="14343"/>
                    <a:pt x="790" y="14350"/>
                  </a:cubicBezTo>
                  <a:cubicBezTo>
                    <a:pt x="790" y="14350"/>
                    <a:pt x="790" y="14350"/>
                    <a:pt x="790" y="14350"/>
                  </a:cubicBezTo>
                  <a:cubicBezTo>
                    <a:pt x="790" y="14350"/>
                    <a:pt x="789" y="14351"/>
                    <a:pt x="789" y="14351"/>
                  </a:cubicBezTo>
                  <a:cubicBezTo>
                    <a:pt x="789" y="14351"/>
                    <a:pt x="788" y="14352"/>
                    <a:pt x="788" y="14352"/>
                  </a:cubicBezTo>
                  <a:cubicBezTo>
                    <a:pt x="787" y="14353"/>
                    <a:pt x="786" y="14354"/>
                    <a:pt x="785" y="14355"/>
                  </a:cubicBezTo>
                  <a:cubicBezTo>
                    <a:pt x="783" y="14357"/>
                    <a:pt x="781" y="14359"/>
                    <a:pt x="778" y="14363"/>
                  </a:cubicBezTo>
                  <a:cubicBezTo>
                    <a:pt x="772" y="14369"/>
                    <a:pt x="763" y="14378"/>
                    <a:pt x="754" y="14388"/>
                  </a:cubicBezTo>
                  <a:cubicBezTo>
                    <a:pt x="736" y="14409"/>
                    <a:pt x="714" y="14434"/>
                    <a:pt x="698" y="14456"/>
                  </a:cubicBezTo>
                  <a:cubicBezTo>
                    <a:pt x="686" y="14471"/>
                    <a:pt x="678" y="14482"/>
                    <a:pt x="672" y="14499"/>
                  </a:cubicBezTo>
                  <a:cubicBezTo>
                    <a:pt x="662" y="14532"/>
                    <a:pt x="664" y="14553"/>
                    <a:pt x="662" y="14559"/>
                  </a:cubicBezTo>
                  <a:cubicBezTo>
                    <a:pt x="661" y="14566"/>
                    <a:pt x="652" y="14601"/>
                    <a:pt x="641" y="14639"/>
                  </a:cubicBezTo>
                  <a:cubicBezTo>
                    <a:pt x="624" y="14626"/>
                    <a:pt x="605" y="14611"/>
                    <a:pt x="585" y="14595"/>
                  </a:cubicBezTo>
                  <a:cubicBezTo>
                    <a:pt x="580" y="14592"/>
                    <a:pt x="575" y="14588"/>
                    <a:pt x="570" y="14584"/>
                  </a:cubicBezTo>
                  <a:cubicBezTo>
                    <a:pt x="582" y="14515"/>
                    <a:pt x="680" y="14397"/>
                    <a:pt x="705" y="14348"/>
                  </a:cubicBezTo>
                  <a:cubicBezTo>
                    <a:pt x="709" y="14340"/>
                    <a:pt x="711" y="14332"/>
                    <a:pt x="711" y="14325"/>
                  </a:cubicBezTo>
                  <a:cubicBezTo>
                    <a:pt x="710" y="14299"/>
                    <a:pt x="692" y="14280"/>
                    <a:pt x="676" y="14268"/>
                  </a:cubicBezTo>
                  <a:cubicBezTo>
                    <a:pt x="660" y="14255"/>
                    <a:pt x="645" y="14248"/>
                    <a:pt x="644" y="14248"/>
                  </a:cubicBezTo>
                  <a:cubicBezTo>
                    <a:pt x="634" y="14270"/>
                    <a:pt x="634" y="14270"/>
                    <a:pt x="634" y="14270"/>
                  </a:cubicBezTo>
                  <a:cubicBezTo>
                    <a:pt x="634" y="14270"/>
                    <a:pt x="648" y="14276"/>
                    <a:pt x="661" y="14287"/>
                  </a:cubicBezTo>
                  <a:cubicBezTo>
                    <a:pt x="675" y="14298"/>
                    <a:pt x="687" y="14312"/>
                    <a:pt x="686" y="14325"/>
                  </a:cubicBezTo>
                  <a:cubicBezTo>
                    <a:pt x="686" y="14328"/>
                    <a:pt x="685" y="14332"/>
                    <a:pt x="683" y="14337"/>
                  </a:cubicBezTo>
                  <a:cubicBezTo>
                    <a:pt x="662" y="14379"/>
                    <a:pt x="571" y="14488"/>
                    <a:pt x="549" y="14568"/>
                  </a:cubicBezTo>
                  <a:cubicBezTo>
                    <a:pt x="522" y="14548"/>
                    <a:pt x="493" y="14527"/>
                    <a:pt x="477" y="14515"/>
                  </a:cubicBezTo>
                  <a:close/>
                  <a:moveTo>
                    <a:pt x="82" y="15209"/>
                  </a:moveTo>
                  <a:cubicBezTo>
                    <a:pt x="289" y="14853"/>
                    <a:pt x="289" y="14853"/>
                    <a:pt x="289" y="14853"/>
                  </a:cubicBezTo>
                  <a:cubicBezTo>
                    <a:pt x="394" y="14895"/>
                    <a:pt x="394" y="14895"/>
                    <a:pt x="394" y="14895"/>
                  </a:cubicBezTo>
                  <a:cubicBezTo>
                    <a:pt x="509" y="14624"/>
                    <a:pt x="509" y="14624"/>
                    <a:pt x="509" y="14624"/>
                  </a:cubicBezTo>
                  <a:cubicBezTo>
                    <a:pt x="517" y="14630"/>
                    <a:pt x="526" y="14636"/>
                    <a:pt x="535" y="14643"/>
                  </a:cubicBezTo>
                  <a:cubicBezTo>
                    <a:pt x="528" y="14679"/>
                    <a:pt x="519" y="14723"/>
                    <a:pt x="509" y="14766"/>
                  </a:cubicBezTo>
                  <a:cubicBezTo>
                    <a:pt x="491" y="14838"/>
                    <a:pt x="468" y="14909"/>
                    <a:pt x="443" y="14938"/>
                  </a:cubicBezTo>
                  <a:cubicBezTo>
                    <a:pt x="415" y="14974"/>
                    <a:pt x="379" y="15061"/>
                    <a:pt x="360" y="15145"/>
                  </a:cubicBezTo>
                  <a:cubicBezTo>
                    <a:pt x="332" y="15183"/>
                    <a:pt x="302" y="15222"/>
                    <a:pt x="273" y="15260"/>
                  </a:cubicBezTo>
                  <a:cubicBezTo>
                    <a:pt x="256" y="15283"/>
                    <a:pt x="238" y="15306"/>
                    <a:pt x="221" y="15328"/>
                  </a:cubicBezTo>
                  <a:cubicBezTo>
                    <a:pt x="194" y="15306"/>
                    <a:pt x="145" y="15263"/>
                    <a:pt x="82" y="15209"/>
                  </a:cubicBezTo>
                  <a:close/>
                  <a:moveTo>
                    <a:pt x="121" y="15567"/>
                  </a:moveTo>
                  <a:cubicBezTo>
                    <a:pt x="140" y="15543"/>
                    <a:pt x="181" y="15490"/>
                    <a:pt x="231" y="15425"/>
                  </a:cubicBezTo>
                  <a:cubicBezTo>
                    <a:pt x="238" y="15426"/>
                    <a:pt x="247" y="15427"/>
                    <a:pt x="260" y="15429"/>
                  </a:cubicBezTo>
                  <a:cubicBezTo>
                    <a:pt x="288" y="15433"/>
                    <a:pt x="330" y="15438"/>
                    <a:pt x="385" y="15446"/>
                  </a:cubicBezTo>
                  <a:cubicBezTo>
                    <a:pt x="498" y="15462"/>
                    <a:pt x="638" y="15496"/>
                    <a:pt x="745" y="15525"/>
                  </a:cubicBezTo>
                  <a:cubicBezTo>
                    <a:pt x="764" y="15531"/>
                    <a:pt x="780" y="15536"/>
                    <a:pt x="797" y="15542"/>
                  </a:cubicBezTo>
                  <a:cubicBezTo>
                    <a:pt x="714" y="15731"/>
                    <a:pt x="714" y="15731"/>
                    <a:pt x="714" y="15731"/>
                  </a:cubicBezTo>
                  <a:lnTo>
                    <a:pt x="121" y="15567"/>
                  </a:lnTo>
                  <a:close/>
                  <a:moveTo>
                    <a:pt x="695" y="15814"/>
                  </a:moveTo>
                  <a:cubicBezTo>
                    <a:pt x="812" y="15547"/>
                    <a:pt x="812" y="15547"/>
                    <a:pt x="812" y="15547"/>
                  </a:cubicBezTo>
                  <a:cubicBezTo>
                    <a:pt x="879" y="15571"/>
                    <a:pt x="931" y="15599"/>
                    <a:pt x="995" y="15632"/>
                  </a:cubicBezTo>
                  <a:cubicBezTo>
                    <a:pt x="1031" y="15650"/>
                    <a:pt x="1090" y="15696"/>
                    <a:pt x="1137" y="15736"/>
                  </a:cubicBezTo>
                  <a:cubicBezTo>
                    <a:pt x="1138" y="15737"/>
                    <a:pt x="1138" y="15737"/>
                    <a:pt x="1139" y="15737"/>
                  </a:cubicBezTo>
                  <a:cubicBezTo>
                    <a:pt x="1133" y="15747"/>
                    <a:pt x="1125" y="15756"/>
                    <a:pt x="1113" y="15765"/>
                  </a:cubicBezTo>
                  <a:cubicBezTo>
                    <a:pt x="1086" y="15787"/>
                    <a:pt x="1063" y="15794"/>
                    <a:pt x="1042" y="15794"/>
                  </a:cubicBezTo>
                  <a:cubicBezTo>
                    <a:pt x="1009" y="15794"/>
                    <a:pt x="979" y="15774"/>
                    <a:pt x="953" y="15750"/>
                  </a:cubicBezTo>
                  <a:cubicBezTo>
                    <a:pt x="927" y="15726"/>
                    <a:pt x="908" y="15700"/>
                    <a:pt x="884" y="15692"/>
                  </a:cubicBezTo>
                  <a:cubicBezTo>
                    <a:pt x="878" y="15690"/>
                    <a:pt x="871" y="15689"/>
                    <a:pt x="863" y="15689"/>
                  </a:cubicBezTo>
                  <a:cubicBezTo>
                    <a:pt x="816" y="15689"/>
                    <a:pt x="756" y="15728"/>
                    <a:pt x="755" y="15792"/>
                  </a:cubicBezTo>
                  <a:cubicBezTo>
                    <a:pt x="755" y="15795"/>
                    <a:pt x="755" y="15797"/>
                    <a:pt x="755" y="15800"/>
                  </a:cubicBezTo>
                  <a:cubicBezTo>
                    <a:pt x="755" y="15800"/>
                    <a:pt x="781" y="15815"/>
                    <a:pt x="781" y="15815"/>
                  </a:cubicBezTo>
                  <a:cubicBezTo>
                    <a:pt x="781" y="15810"/>
                    <a:pt x="779" y="15796"/>
                    <a:pt x="779" y="15792"/>
                  </a:cubicBezTo>
                  <a:cubicBezTo>
                    <a:pt x="779" y="15769"/>
                    <a:pt x="791" y="15749"/>
                    <a:pt x="808" y="15735"/>
                  </a:cubicBezTo>
                  <a:cubicBezTo>
                    <a:pt x="824" y="15721"/>
                    <a:pt x="846" y="15713"/>
                    <a:pt x="863" y="15713"/>
                  </a:cubicBezTo>
                  <a:cubicBezTo>
                    <a:pt x="868" y="15713"/>
                    <a:pt x="873" y="15714"/>
                    <a:pt x="877" y="15715"/>
                  </a:cubicBezTo>
                  <a:cubicBezTo>
                    <a:pt x="887" y="15717"/>
                    <a:pt x="910" y="15743"/>
                    <a:pt x="937" y="15768"/>
                  </a:cubicBezTo>
                  <a:cubicBezTo>
                    <a:pt x="964" y="15793"/>
                    <a:pt x="999" y="15818"/>
                    <a:pt x="1042" y="15819"/>
                  </a:cubicBezTo>
                  <a:cubicBezTo>
                    <a:pt x="1069" y="15819"/>
                    <a:pt x="1098" y="15809"/>
                    <a:pt x="1128" y="15785"/>
                  </a:cubicBezTo>
                  <a:cubicBezTo>
                    <a:pt x="1141" y="15775"/>
                    <a:pt x="1150" y="15764"/>
                    <a:pt x="1157" y="15753"/>
                  </a:cubicBezTo>
                  <a:cubicBezTo>
                    <a:pt x="1184" y="15776"/>
                    <a:pt x="1204" y="15795"/>
                    <a:pt x="1214" y="15805"/>
                  </a:cubicBezTo>
                  <a:cubicBezTo>
                    <a:pt x="1142" y="15883"/>
                    <a:pt x="1142" y="15883"/>
                    <a:pt x="1142" y="15883"/>
                  </a:cubicBezTo>
                  <a:lnTo>
                    <a:pt x="695" y="15814"/>
                  </a:lnTo>
                  <a:close/>
                  <a:moveTo>
                    <a:pt x="914" y="15864"/>
                  </a:moveTo>
                  <a:cubicBezTo>
                    <a:pt x="1149" y="15901"/>
                    <a:pt x="1149" y="15901"/>
                    <a:pt x="1149" y="15901"/>
                  </a:cubicBezTo>
                  <a:cubicBezTo>
                    <a:pt x="1226" y="15816"/>
                    <a:pt x="1226" y="15816"/>
                    <a:pt x="1226" y="15816"/>
                  </a:cubicBezTo>
                  <a:cubicBezTo>
                    <a:pt x="1246" y="15833"/>
                    <a:pt x="1291" y="15871"/>
                    <a:pt x="1342" y="15915"/>
                  </a:cubicBezTo>
                  <a:cubicBezTo>
                    <a:pt x="1409" y="15973"/>
                    <a:pt x="1487" y="16040"/>
                    <a:pt x="1523" y="16075"/>
                  </a:cubicBezTo>
                  <a:cubicBezTo>
                    <a:pt x="1524" y="16076"/>
                    <a:pt x="1526" y="16078"/>
                    <a:pt x="1527" y="16079"/>
                  </a:cubicBezTo>
                  <a:cubicBezTo>
                    <a:pt x="1526" y="16081"/>
                    <a:pt x="1526" y="16081"/>
                    <a:pt x="1524" y="16083"/>
                  </a:cubicBezTo>
                  <a:cubicBezTo>
                    <a:pt x="1518" y="16091"/>
                    <a:pt x="1510" y="16102"/>
                    <a:pt x="1499" y="16116"/>
                  </a:cubicBezTo>
                  <a:cubicBezTo>
                    <a:pt x="1478" y="16142"/>
                    <a:pt x="1450" y="16176"/>
                    <a:pt x="1422" y="16210"/>
                  </a:cubicBezTo>
                  <a:cubicBezTo>
                    <a:pt x="1374" y="16268"/>
                    <a:pt x="1326" y="16325"/>
                    <a:pt x="1313" y="16340"/>
                  </a:cubicBezTo>
                  <a:cubicBezTo>
                    <a:pt x="1230" y="16303"/>
                    <a:pt x="1230" y="16303"/>
                    <a:pt x="1230" y="16303"/>
                  </a:cubicBezTo>
                  <a:cubicBezTo>
                    <a:pt x="1227" y="16308"/>
                    <a:pt x="1227" y="16308"/>
                    <a:pt x="1227" y="16308"/>
                  </a:cubicBezTo>
                  <a:cubicBezTo>
                    <a:pt x="1227" y="16308"/>
                    <a:pt x="1206" y="16342"/>
                    <a:pt x="1183" y="16378"/>
                  </a:cubicBezTo>
                  <a:cubicBezTo>
                    <a:pt x="1162" y="16412"/>
                    <a:pt x="1138" y="16448"/>
                    <a:pt x="1132" y="16455"/>
                  </a:cubicBezTo>
                  <a:cubicBezTo>
                    <a:pt x="1131" y="16455"/>
                    <a:pt x="1130" y="16455"/>
                    <a:pt x="1129" y="16455"/>
                  </a:cubicBezTo>
                  <a:cubicBezTo>
                    <a:pt x="1126" y="16455"/>
                    <a:pt x="1121" y="16456"/>
                    <a:pt x="1115" y="16456"/>
                  </a:cubicBezTo>
                  <a:cubicBezTo>
                    <a:pt x="1104" y="16458"/>
                    <a:pt x="1088" y="16459"/>
                    <a:pt x="1069" y="16461"/>
                  </a:cubicBezTo>
                  <a:cubicBezTo>
                    <a:pt x="1030" y="16464"/>
                    <a:pt x="979" y="16468"/>
                    <a:pt x="927" y="16473"/>
                  </a:cubicBezTo>
                  <a:cubicBezTo>
                    <a:pt x="914" y="16474"/>
                    <a:pt x="900" y="16475"/>
                    <a:pt x="886" y="16476"/>
                  </a:cubicBezTo>
                  <a:cubicBezTo>
                    <a:pt x="882" y="16427"/>
                    <a:pt x="846" y="16216"/>
                    <a:pt x="843" y="16197"/>
                  </a:cubicBezTo>
                  <a:lnTo>
                    <a:pt x="914" y="15864"/>
                  </a:lnTo>
                  <a:close/>
                  <a:moveTo>
                    <a:pt x="19" y="15757"/>
                  </a:moveTo>
                  <a:cubicBezTo>
                    <a:pt x="95" y="15656"/>
                    <a:pt x="95" y="15656"/>
                    <a:pt x="95" y="15656"/>
                  </a:cubicBezTo>
                  <a:cubicBezTo>
                    <a:pt x="183" y="15721"/>
                    <a:pt x="183" y="15721"/>
                    <a:pt x="183" y="15721"/>
                  </a:cubicBezTo>
                  <a:cubicBezTo>
                    <a:pt x="117" y="15808"/>
                    <a:pt x="117" y="15808"/>
                    <a:pt x="117" y="15808"/>
                  </a:cubicBezTo>
                  <a:lnTo>
                    <a:pt x="19" y="15757"/>
                  </a:lnTo>
                  <a:close/>
                  <a:moveTo>
                    <a:pt x="688" y="16475"/>
                  </a:moveTo>
                  <a:cubicBezTo>
                    <a:pt x="679" y="16466"/>
                    <a:pt x="666" y="16452"/>
                    <a:pt x="651" y="16435"/>
                  </a:cubicBezTo>
                  <a:cubicBezTo>
                    <a:pt x="620" y="16402"/>
                    <a:pt x="581" y="16358"/>
                    <a:pt x="541" y="16313"/>
                  </a:cubicBezTo>
                  <a:cubicBezTo>
                    <a:pt x="462" y="16225"/>
                    <a:pt x="385" y="16137"/>
                    <a:pt x="384" y="16137"/>
                  </a:cubicBezTo>
                  <a:cubicBezTo>
                    <a:pt x="384" y="16136"/>
                    <a:pt x="384" y="16136"/>
                    <a:pt x="384" y="16136"/>
                  </a:cubicBezTo>
                  <a:cubicBezTo>
                    <a:pt x="28" y="15949"/>
                    <a:pt x="28" y="15949"/>
                    <a:pt x="28" y="15949"/>
                  </a:cubicBezTo>
                  <a:cubicBezTo>
                    <a:pt x="121" y="15825"/>
                    <a:pt x="121" y="15825"/>
                    <a:pt x="121" y="15825"/>
                  </a:cubicBezTo>
                  <a:cubicBezTo>
                    <a:pt x="829" y="16195"/>
                    <a:pt x="829" y="16195"/>
                    <a:pt x="829" y="16195"/>
                  </a:cubicBezTo>
                  <a:cubicBezTo>
                    <a:pt x="829" y="16196"/>
                    <a:pt x="829" y="16196"/>
                    <a:pt x="829" y="16196"/>
                  </a:cubicBezTo>
                  <a:cubicBezTo>
                    <a:pt x="829" y="16198"/>
                    <a:pt x="829" y="16198"/>
                    <a:pt x="829" y="16198"/>
                  </a:cubicBezTo>
                  <a:cubicBezTo>
                    <a:pt x="829" y="16198"/>
                    <a:pt x="869" y="16431"/>
                    <a:pt x="872" y="16477"/>
                  </a:cubicBezTo>
                  <a:cubicBezTo>
                    <a:pt x="789" y="16484"/>
                    <a:pt x="715" y="16489"/>
                    <a:pt x="701" y="16489"/>
                  </a:cubicBezTo>
                  <a:cubicBezTo>
                    <a:pt x="701" y="16489"/>
                    <a:pt x="700" y="16488"/>
                    <a:pt x="699" y="16487"/>
                  </a:cubicBezTo>
                  <a:cubicBezTo>
                    <a:pt x="696" y="16484"/>
                    <a:pt x="692" y="16480"/>
                    <a:pt x="688" y="16475"/>
                  </a:cubicBezTo>
                  <a:close/>
                  <a:moveTo>
                    <a:pt x="344" y="16979"/>
                  </a:moveTo>
                  <a:cubicBezTo>
                    <a:pt x="370" y="16943"/>
                    <a:pt x="540" y="16710"/>
                    <a:pt x="637" y="16582"/>
                  </a:cubicBezTo>
                  <a:cubicBezTo>
                    <a:pt x="669" y="16540"/>
                    <a:pt x="695" y="16508"/>
                    <a:pt x="701" y="16503"/>
                  </a:cubicBezTo>
                  <a:cubicBezTo>
                    <a:pt x="701" y="16503"/>
                    <a:pt x="701" y="16503"/>
                    <a:pt x="701" y="16503"/>
                  </a:cubicBezTo>
                  <a:cubicBezTo>
                    <a:pt x="716" y="16503"/>
                    <a:pt x="793" y="16497"/>
                    <a:pt x="878" y="16491"/>
                  </a:cubicBezTo>
                  <a:cubicBezTo>
                    <a:pt x="878" y="16493"/>
                    <a:pt x="878" y="16493"/>
                    <a:pt x="878" y="16493"/>
                  </a:cubicBezTo>
                  <a:cubicBezTo>
                    <a:pt x="881" y="16493"/>
                    <a:pt x="883" y="16491"/>
                    <a:pt x="884" y="16490"/>
                  </a:cubicBezTo>
                  <a:cubicBezTo>
                    <a:pt x="899" y="16489"/>
                    <a:pt x="915" y="16488"/>
                    <a:pt x="930" y="16486"/>
                  </a:cubicBezTo>
                  <a:cubicBezTo>
                    <a:pt x="966" y="16693"/>
                    <a:pt x="966" y="16693"/>
                    <a:pt x="966" y="16693"/>
                  </a:cubicBezTo>
                  <a:cubicBezTo>
                    <a:pt x="964" y="16699"/>
                    <a:pt x="964" y="16699"/>
                    <a:pt x="964" y="16699"/>
                  </a:cubicBezTo>
                  <a:cubicBezTo>
                    <a:pt x="959" y="16699"/>
                    <a:pt x="959" y="16699"/>
                    <a:pt x="959" y="16699"/>
                  </a:cubicBezTo>
                  <a:cubicBezTo>
                    <a:pt x="959" y="16699"/>
                    <a:pt x="959" y="16700"/>
                    <a:pt x="959" y="16700"/>
                  </a:cubicBezTo>
                  <a:cubicBezTo>
                    <a:pt x="959" y="16700"/>
                    <a:pt x="959" y="16700"/>
                    <a:pt x="959" y="16700"/>
                  </a:cubicBezTo>
                  <a:cubicBezTo>
                    <a:pt x="958" y="16708"/>
                    <a:pt x="942" y="16760"/>
                    <a:pt x="925" y="16808"/>
                  </a:cubicBezTo>
                  <a:cubicBezTo>
                    <a:pt x="913" y="16846"/>
                    <a:pt x="900" y="16883"/>
                    <a:pt x="894" y="16898"/>
                  </a:cubicBezTo>
                  <a:cubicBezTo>
                    <a:pt x="873" y="16886"/>
                    <a:pt x="802" y="16849"/>
                    <a:pt x="759" y="16828"/>
                  </a:cubicBezTo>
                  <a:cubicBezTo>
                    <a:pt x="741" y="16820"/>
                    <a:pt x="731" y="16814"/>
                    <a:pt x="724" y="16813"/>
                  </a:cubicBezTo>
                  <a:cubicBezTo>
                    <a:pt x="724" y="16813"/>
                    <a:pt x="724" y="16813"/>
                    <a:pt x="724" y="16813"/>
                  </a:cubicBezTo>
                  <a:cubicBezTo>
                    <a:pt x="723" y="16813"/>
                    <a:pt x="722" y="16813"/>
                    <a:pt x="721" y="16814"/>
                  </a:cubicBezTo>
                  <a:cubicBezTo>
                    <a:pt x="716" y="16816"/>
                    <a:pt x="717" y="16817"/>
                    <a:pt x="714" y="16820"/>
                  </a:cubicBezTo>
                  <a:cubicBezTo>
                    <a:pt x="712" y="16823"/>
                    <a:pt x="709" y="16826"/>
                    <a:pt x="706" y="16831"/>
                  </a:cubicBezTo>
                  <a:cubicBezTo>
                    <a:pt x="699" y="16839"/>
                    <a:pt x="689" y="16852"/>
                    <a:pt x="678" y="16867"/>
                  </a:cubicBezTo>
                  <a:cubicBezTo>
                    <a:pt x="656" y="16897"/>
                    <a:pt x="627" y="16936"/>
                    <a:pt x="598" y="16976"/>
                  </a:cubicBezTo>
                  <a:cubicBezTo>
                    <a:pt x="595" y="16980"/>
                    <a:pt x="591" y="16985"/>
                    <a:pt x="588" y="16989"/>
                  </a:cubicBezTo>
                  <a:cubicBezTo>
                    <a:pt x="549" y="16958"/>
                    <a:pt x="549" y="16958"/>
                    <a:pt x="549" y="16958"/>
                  </a:cubicBezTo>
                  <a:cubicBezTo>
                    <a:pt x="522" y="16991"/>
                    <a:pt x="522" y="16991"/>
                    <a:pt x="522" y="16991"/>
                  </a:cubicBezTo>
                  <a:cubicBezTo>
                    <a:pt x="485" y="16962"/>
                    <a:pt x="485" y="16962"/>
                    <a:pt x="485" y="16962"/>
                  </a:cubicBezTo>
                  <a:cubicBezTo>
                    <a:pt x="435" y="17024"/>
                    <a:pt x="435" y="17024"/>
                    <a:pt x="435" y="17024"/>
                  </a:cubicBezTo>
                  <a:cubicBezTo>
                    <a:pt x="431" y="17030"/>
                    <a:pt x="431" y="17030"/>
                    <a:pt x="431" y="17030"/>
                  </a:cubicBezTo>
                  <a:cubicBezTo>
                    <a:pt x="512" y="17094"/>
                    <a:pt x="512" y="17094"/>
                    <a:pt x="512" y="17094"/>
                  </a:cubicBezTo>
                  <a:cubicBezTo>
                    <a:pt x="504" y="17105"/>
                    <a:pt x="497" y="17114"/>
                    <a:pt x="492" y="17121"/>
                  </a:cubicBezTo>
                  <a:lnTo>
                    <a:pt x="344" y="16979"/>
                  </a:lnTo>
                  <a:close/>
                  <a:moveTo>
                    <a:pt x="591" y="17008"/>
                  </a:moveTo>
                  <a:cubicBezTo>
                    <a:pt x="621" y="17032"/>
                    <a:pt x="621" y="17032"/>
                    <a:pt x="621" y="17032"/>
                  </a:cubicBezTo>
                  <a:cubicBezTo>
                    <a:pt x="595" y="17066"/>
                    <a:pt x="595" y="17066"/>
                    <a:pt x="595" y="17066"/>
                  </a:cubicBezTo>
                  <a:cubicBezTo>
                    <a:pt x="632" y="17095"/>
                    <a:pt x="632" y="17095"/>
                    <a:pt x="632" y="17095"/>
                  </a:cubicBezTo>
                  <a:cubicBezTo>
                    <a:pt x="594" y="17142"/>
                    <a:pt x="594" y="17142"/>
                    <a:pt x="594" y="17142"/>
                  </a:cubicBezTo>
                  <a:cubicBezTo>
                    <a:pt x="531" y="17092"/>
                    <a:pt x="531" y="17092"/>
                    <a:pt x="531" y="17092"/>
                  </a:cubicBezTo>
                  <a:cubicBezTo>
                    <a:pt x="548" y="17068"/>
                    <a:pt x="569" y="17039"/>
                    <a:pt x="591" y="17008"/>
                  </a:cubicBezTo>
                  <a:close/>
                  <a:moveTo>
                    <a:pt x="520" y="17083"/>
                  </a:moveTo>
                  <a:cubicBezTo>
                    <a:pt x="450" y="17028"/>
                    <a:pt x="450" y="17028"/>
                    <a:pt x="450" y="17028"/>
                  </a:cubicBezTo>
                  <a:cubicBezTo>
                    <a:pt x="487" y="16981"/>
                    <a:pt x="487" y="16981"/>
                    <a:pt x="487" y="16981"/>
                  </a:cubicBezTo>
                  <a:cubicBezTo>
                    <a:pt x="524" y="17010"/>
                    <a:pt x="524" y="17010"/>
                    <a:pt x="524" y="17010"/>
                  </a:cubicBezTo>
                  <a:cubicBezTo>
                    <a:pt x="551" y="16976"/>
                    <a:pt x="551" y="16976"/>
                    <a:pt x="551" y="16976"/>
                  </a:cubicBezTo>
                  <a:cubicBezTo>
                    <a:pt x="580" y="17000"/>
                    <a:pt x="580" y="17000"/>
                    <a:pt x="580" y="17000"/>
                  </a:cubicBezTo>
                  <a:cubicBezTo>
                    <a:pt x="558" y="17030"/>
                    <a:pt x="537" y="17060"/>
                    <a:pt x="520" y="17083"/>
                  </a:cubicBezTo>
                  <a:close/>
                  <a:moveTo>
                    <a:pt x="700" y="17319"/>
                  </a:moveTo>
                  <a:cubicBezTo>
                    <a:pt x="503" y="17131"/>
                    <a:pt x="503" y="17131"/>
                    <a:pt x="503" y="17131"/>
                  </a:cubicBezTo>
                  <a:cubicBezTo>
                    <a:pt x="507" y="17124"/>
                    <a:pt x="514" y="17114"/>
                    <a:pt x="523" y="17102"/>
                  </a:cubicBezTo>
                  <a:cubicBezTo>
                    <a:pt x="596" y="17161"/>
                    <a:pt x="596" y="17161"/>
                    <a:pt x="596" y="17161"/>
                  </a:cubicBezTo>
                  <a:cubicBezTo>
                    <a:pt x="650" y="17093"/>
                    <a:pt x="650" y="17093"/>
                    <a:pt x="650" y="17093"/>
                  </a:cubicBezTo>
                  <a:cubicBezTo>
                    <a:pt x="613" y="17064"/>
                    <a:pt x="613" y="17064"/>
                    <a:pt x="613" y="17064"/>
                  </a:cubicBezTo>
                  <a:cubicBezTo>
                    <a:pt x="640" y="17030"/>
                    <a:pt x="640" y="17030"/>
                    <a:pt x="640" y="17030"/>
                  </a:cubicBezTo>
                  <a:cubicBezTo>
                    <a:pt x="599" y="16998"/>
                    <a:pt x="599" y="16998"/>
                    <a:pt x="599" y="16998"/>
                  </a:cubicBezTo>
                  <a:cubicBezTo>
                    <a:pt x="602" y="16994"/>
                    <a:pt x="604" y="16991"/>
                    <a:pt x="606" y="16988"/>
                  </a:cubicBezTo>
                  <a:cubicBezTo>
                    <a:pt x="659" y="16916"/>
                    <a:pt x="714" y="16841"/>
                    <a:pt x="726" y="16828"/>
                  </a:cubicBezTo>
                  <a:cubicBezTo>
                    <a:pt x="727" y="16829"/>
                    <a:pt x="729" y="16829"/>
                    <a:pt x="732" y="16831"/>
                  </a:cubicBezTo>
                  <a:cubicBezTo>
                    <a:pt x="737" y="16833"/>
                    <a:pt x="745" y="16836"/>
                    <a:pt x="753" y="16840"/>
                  </a:cubicBezTo>
                  <a:cubicBezTo>
                    <a:pt x="770" y="16848"/>
                    <a:pt x="791" y="16859"/>
                    <a:pt x="812" y="16870"/>
                  </a:cubicBezTo>
                  <a:cubicBezTo>
                    <a:pt x="852" y="16891"/>
                    <a:pt x="889" y="16911"/>
                    <a:pt x="894" y="16914"/>
                  </a:cubicBezTo>
                  <a:cubicBezTo>
                    <a:pt x="965" y="16971"/>
                    <a:pt x="965" y="16971"/>
                    <a:pt x="965" y="16971"/>
                  </a:cubicBezTo>
                  <a:cubicBezTo>
                    <a:pt x="703" y="17320"/>
                    <a:pt x="703" y="17320"/>
                    <a:pt x="703" y="17320"/>
                  </a:cubicBezTo>
                  <a:lnTo>
                    <a:pt x="700" y="17319"/>
                  </a:lnTo>
                  <a:close/>
                  <a:moveTo>
                    <a:pt x="928" y="17418"/>
                  </a:moveTo>
                  <a:cubicBezTo>
                    <a:pt x="716" y="17326"/>
                    <a:pt x="716" y="17326"/>
                    <a:pt x="716" y="17326"/>
                  </a:cubicBezTo>
                  <a:cubicBezTo>
                    <a:pt x="976" y="16979"/>
                    <a:pt x="976" y="16979"/>
                    <a:pt x="976" y="16979"/>
                  </a:cubicBezTo>
                  <a:cubicBezTo>
                    <a:pt x="1033" y="17025"/>
                    <a:pt x="1033" y="17025"/>
                    <a:pt x="1033" y="17025"/>
                  </a:cubicBezTo>
                  <a:cubicBezTo>
                    <a:pt x="1123" y="17143"/>
                    <a:pt x="1123" y="17143"/>
                    <a:pt x="1123" y="17143"/>
                  </a:cubicBezTo>
                  <a:cubicBezTo>
                    <a:pt x="1121" y="17145"/>
                    <a:pt x="1119" y="17147"/>
                    <a:pt x="1117" y="17150"/>
                  </a:cubicBezTo>
                  <a:cubicBezTo>
                    <a:pt x="1111" y="17157"/>
                    <a:pt x="1104" y="17168"/>
                    <a:pt x="1095" y="17181"/>
                  </a:cubicBezTo>
                  <a:cubicBezTo>
                    <a:pt x="1077" y="17205"/>
                    <a:pt x="1055" y="17238"/>
                    <a:pt x="1032" y="17271"/>
                  </a:cubicBezTo>
                  <a:cubicBezTo>
                    <a:pt x="987" y="17244"/>
                    <a:pt x="987" y="17244"/>
                    <a:pt x="987" y="17244"/>
                  </a:cubicBezTo>
                  <a:cubicBezTo>
                    <a:pt x="965" y="17282"/>
                    <a:pt x="965" y="17282"/>
                    <a:pt x="965" y="17282"/>
                  </a:cubicBezTo>
                  <a:cubicBezTo>
                    <a:pt x="925" y="17258"/>
                    <a:pt x="925" y="17258"/>
                    <a:pt x="925" y="17258"/>
                  </a:cubicBezTo>
                  <a:cubicBezTo>
                    <a:pt x="885" y="17327"/>
                    <a:pt x="885" y="17327"/>
                    <a:pt x="885" y="17327"/>
                  </a:cubicBezTo>
                  <a:cubicBezTo>
                    <a:pt x="881" y="17332"/>
                    <a:pt x="881" y="17332"/>
                    <a:pt x="881" y="17332"/>
                  </a:cubicBezTo>
                  <a:cubicBezTo>
                    <a:pt x="958" y="17377"/>
                    <a:pt x="958" y="17377"/>
                    <a:pt x="958" y="17377"/>
                  </a:cubicBezTo>
                  <a:cubicBezTo>
                    <a:pt x="944" y="17396"/>
                    <a:pt x="934" y="17410"/>
                    <a:pt x="928" y="17418"/>
                  </a:cubicBezTo>
                  <a:close/>
                  <a:moveTo>
                    <a:pt x="1029" y="17300"/>
                  </a:moveTo>
                  <a:cubicBezTo>
                    <a:pt x="1031" y="17296"/>
                    <a:pt x="1034" y="17292"/>
                    <a:pt x="1036" y="17289"/>
                  </a:cubicBezTo>
                  <a:cubicBezTo>
                    <a:pt x="1070" y="17308"/>
                    <a:pt x="1070" y="17308"/>
                    <a:pt x="1070" y="17308"/>
                  </a:cubicBezTo>
                  <a:cubicBezTo>
                    <a:pt x="1048" y="17345"/>
                    <a:pt x="1048" y="17345"/>
                    <a:pt x="1048" y="17345"/>
                  </a:cubicBezTo>
                  <a:cubicBezTo>
                    <a:pt x="1089" y="17369"/>
                    <a:pt x="1089" y="17369"/>
                    <a:pt x="1089" y="17369"/>
                  </a:cubicBezTo>
                  <a:cubicBezTo>
                    <a:pt x="1058" y="17421"/>
                    <a:pt x="1058" y="17421"/>
                    <a:pt x="1058" y="17421"/>
                  </a:cubicBezTo>
                  <a:cubicBezTo>
                    <a:pt x="977" y="17373"/>
                    <a:pt x="977" y="17373"/>
                    <a:pt x="977" y="17373"/>
                  </a:cubicBezTo>
                  <a:cubicBezTo>
                    <a:pt x="993" y="17352"/>
                    <a:pt x="1011" y="17326"/>
                    <a:pt x="1029" y="17300"/>
                  </a:cubicBezTo>
                  <a:close/>
                  <a:moveTo>
                    <a:pt x="965" y="17366"/>
                  </a:moveTo>
                  <a:cubicBezTo>
                    <a:pt x="899" y="17328"/>
                    <a:pt x="899" y="17328"/>
                    <a:pt x="899" y="17328"/>
                  </a:cubicBezTo>
                  <a:cubicBezTo>
                    <a:pt x="930" y="17276"/>
                    <a:pt x="930" y="17276"/>
                    <a:pt x="930" y="17276"/>
                  </a:cubicBezTo>
                  <a:cubicBezTo>
                    <a:pt x="970" y="17300"/>
                    <a:pt x="970" y="17300"/>
                    <a:pt x="970" y="17300"/>
                  </a:cubicBezTo>
                  <a:cubicBezTo>
                    <a:pt x="992" y="17262"/>
                    <a:pt x="992" y="17262"/>
                    <a:pt x="992" y="17262"/>
                  </a:cubicBezTo>
                  <a:cubicBezTo>
                    <a:pt x="1024" y="17282"/>
                    <a:pt x="1024" y="17282"/>
                    <a:pt x="1024" y="17282"/>
                  </a:cubicBezTo>
                  <a:cubicBezTo>
                    <a:pt x="1004" y="17311"/>
                    <a:pt x="983" y="17341"/>
                    <a:pt x="965" y="17366"/>
                  </a:cubicBezTo>
                  <a:close/>
                  <a:moveTo>
                    <a:pt x="1271" y="17563"/>
                  </a:moveTo>
                  <a:cubicBezTo>
                    <a:pt x="1294" y="17509"/>
                    <a:pt x="1294" y="17509"/>
                    <a:pt x="1294" y="17509"/>
                  </a:cubicBezTo>
                  <a:cubicBezTo>
                    <a:pt x="1393" y="17547"/>
                    <a:pt x="1393" y="17547"/>
                    <a:pt x="1393" y="17547"/>
                  </a:cubicBezTo>
                  <a:cubicBezTo>
                    <a:pt x="1424" y="17467"/>
                    <a:pt x="1424" y="17467"/>
                    <a:pt x="1424" y="17467"/>
                  </a:cubicBezTo>
                  <a:cubicBezTo>
                    <a:pt x="1380" y="17450"/>
                    <a:pt x="1380" y="17450"/>
                    <a:pt x="1380" y="17450"/>
                  </a:cubicBezTo>
                  <a:cubicBezTo>
                    <a:pt x="1395" y="17410"/>
                    <a:pt x="1395" y="17410"/>
                    <a:pt x="1395" y="17410"/>
                  </a:cubicBezTo>
                  <a:cubicBezTo>
                    <a:pt x="1346" y="17390"/>
                    <a:pt x="1346" y="17390"/>
                    <a:pt x="1346" y="17390"/>
                  </a:cubicBezTo>
                  <a:cubicBezTo>
                    <a:pt x="1384" y="17302"/>
                    <a:pt x="1384" y="17302"/>
                    <a:pt x="1384" y="17302"/>
                  </a:cubicBezTo>
                  <a:cubicBezTo>
                    <a:pt x="1371" y="17297"/>
                    <a:pt x="1371" y="17297"/>
                    <a:pt x="1371" y="17297"/>
                  </a:cubicBezTo>
                  <a:cubicBezTo>
                    <a:pt x="1332" y="17385"/>
                    <a:pt x="1332" y="17385"/>
                    <a:pt x="1332" y="17385"/>
                  </a:cubicBezTo>
                  <a:cubicBezTo>
                    <a:pt x="1286" y="17368"/>
                    <a:pt x="1286" y="17368"/>
                    <a:pt x="1286" y="17368"/>
                  </a:cubicBezTo>
                  <a:cubicBezTo>
                    <a:pt x="1271" y="17408"/>
                    <a:pt x="1271" y="17408"/>
                    <a:pt x="1271" y="17408"/>
                  </a:cubicBezTo>
                  <a:cubicBezTo>
                    <a:pt x="1227" y="17391"/>
                    <a:pt x="1227" y="17391"/>
                    <a:pt x="1227" y="17391"/>
                  </a:cubicBezTo>
                  <a:cubicBezTo>
                    <a:pt x="1199" y="17466"/>
                    <a:pt x="1199" y="17466"/>
                    <a:pt x="1199" y="17466"/>
                  </a:cubicBezTo>
                  <a:cubicBezTo>
                    <a:pt x="1196" y="17472"/>
                    <a:pt x="1196" y="17472"/>
                    <a:pt x="1196" y="17472"/>
                  </a:cubicBezTo>
                  <a:cubicBezTo>
                    <a:pt x="1281" y="17504"/>
                    <a:pt x="1281" y="17504"/>
                    <a:pt x="1281" y="17504"/>
                  </a:cubicBezTo>
                  <a:cubicBezTo>
                    <a:pt x="1257" y="17560"/>
                    <a:pt x="1257" y="17560"/>
                    <a:pt x="1257" y="17560"/>
                  </a:cubicBezTo>
                  <a:cubicBezTo>
                    <a:pt x="1256" y="17560"/>
                    <a:pt x="1255" y="17560"/>
                    <a:pt x="1255" y="17560"/>
                  </a:cubicBezTo>
                  <a:cubicBezTo>
                    <a:pt x="941" y="17423"/>
                    <a:pt x="941" y="17423"/>
                    <a:pt x="941" y="17423"/>
                  </a:cubicBezTo>
                  <a:cubicBezTo>
                    <a:pt x="941" y="17423"/>
                    <a:pt x="941" y="17423"/>
                    <a:pt x="942" y="17422"/>
                  </a:cubicBezTo>
                  <a:cubicBezTo>
                    <a:pt x="947" y="17415"/>
                    <a:pt x="955" y="17405"/>
                    <a:pt x="964" y="17392"/>
                  </a:cubicBezTo>
                  <a:cubicBezTo>
                    <a:pt x="966" y="17390"/>
                    <a:pt x="968" y="17387"/>
                    <a:pt x="970" y="17384"/>
                  </a:cubicBezTo>
                  <a:cubicBezTo>
                    <a:pt x="1063" y="17439"/>
                    <a:pt x="1063" y="17439"/>
                    <a:pt x="1063" y="17439"/>
                  </a:cubicBezTo>
                  <a:cubicBezTo>
                    <a:pt x="1107" y="17364"/>
                    <a:pt x="1107" y="17364"/>
                    <a:pt x="1107" y="17364"/>
                  </a:cubicBezTo>
                  <a:cubicBezTo>
                    <a:pt x="1066" y="17341"/>
                    <a:pt x="1066" y="17341"/>
                    <a:pt x="1066" y="17341"/>
                  </a:cubicBezTo>
                  <a:cubicBezTo>
                    <a:pt x="1088" y="17303"/>
                    <a:pt x="1088" y="17303"/>
                    <a:pt x="1088" y="17303"/>
                  </a:cubicBezTo>
                  <a:cubicBezTo>
                    <a:pt x="1044" y="17278"/>
                    <a:pt x="1044" y="17278"/>
                    <a:pt x="1044" y="17278"/>
                  </a:cubicBezTo>
                  <a:cubicBezTo>
                    <a:pt x="1082" y="17223"/>
                    <a:pt x="1118" y="17171"/>
                    <a:pt x="1132" y="17154"/>
                  </a:cubicBezTo>
                  <a:cubicBezTo>
                    <a:pt x="1204" y="17248"/>
                    <a:pt x="1204" y="17248"/>
                    <a:pt x="1204" y="17248"/>
                  </a:cubicBezTo>
                  <a:cubicBezTo>
                    <a:pt x="1668" y="17382"/>
                    <a:pt x="1668" y="17382"/>
                    <a:pt x="1668" y="17382"/>
                  </a:cubicBezTo>
                  <a:cubicBezTo>
                    <a:pt x="1580" y="17626"/>
                    <a:pt x="1580" y="17626"/>
                    <a:pt x="1580" y="17626"/>
                  </a:cubicBezTo>
                  <a:cubicBezTo>
                    <a:pt x="1434" y="17596"/>
                    <a:pt x="1313" y="17572"/>
                    <a:pt x="1271" y="17563"/>
                  </a:cubicBezTo>
                  <a:close/>
                  <a:moveTo>
                    <a:pt x="1407" y="17474"/>
                  </a:moveTo>
                  <a:cubicBezTo>
                    <a:pt x="1385" y="17530"/>
                    <a:pt x="1385" y="17530"/>
                    <a:pt x="1385" y="17530"/>
                  </a:cubicBezTo>
                  <a:cubicBezTo>
                    <a:pt x="1299" y="17497"/>
                    <a:pt x="1299" y="17497"/>
                    <a:pt x="1299" y="17497"/>
                  </a:cubicBezTo>
                  <a:cubicBezTo>
                    <a:pt x="1340" y="17403"/>
                    <a:pt x="1340" y="17403"/>
                    <a:pt x="1340" y="17403"/>
                  </a:cubicBezTo>
                  <a:cubicBezTo>
                    <a:pt x="1378" y="17417"/>
                    <a:pt x="1378" y="17417"/>
                    <a:pt x="1378" y="17417"/>
                  </a:cubicBezTo>
                  <a:cubicBezTo>
                    <a:pt x="1363" y="17457"/>
                    <a:pt x="1363" y="17457"/>
                    <a:pt x="1363" y="17457"/>
                  </a:cubicBezTo>
                  <a:lnTo>
                    <a:pt x="1407" y="17474"/>
                  </a:lnTo>
                  <a:close/>
                  <a:moveTo>
                    <a:pt x="1286" y="17492"/>
                  </a:moveTo>
                  <a:cubicBezTo>
                    <a:pt x="1213" y="17464"/>
                    <a:pt x="1213" y="17464"/>
                    <a:pt x="1213" y="17464"/>
                  </a:cubicBezTo>
                  <a:cubicBezTo>
                    <a:pt x="1235" y="17408"/>
                    <a:pt x="1235" y="17408"/>
                    <a:pt x="1235" y="17408"/>
                  </a:cubicBezTo>
                  <a:cubicBezTo>
                    <a:pt x="1279" y="17425"/>
                    <a:pt x="1279" y="17425"/>
                    <a:pt x="1279" y="17425"/>
                  </a:cubicBezTo>
                  <a:cubicBezTo>
                    <a:pt x="1294" y="17385"/>
                    <a:pt x="1294" y="17385"/>
                    <a:pt x="1294" y="17385"/>
                  </a:cubicBezTo>
                  <a:cubicBezTo>
                    <a:pt x="1327" y="17398"/>
                    <a:pt x="1327" y="17398"/>
                    <a:pt x="1327" y="17398"/>
                  </a:cubicBezTo>
                  <a:lnTo>
                    <a:pt x="1286" y="17492"/>
                  </a:lnTo>
                  <a:close/>
                  <a:moveTo>
                    <a:pt x="2518" y="17651"/>
                  </a:moveTo>
                  <a:cubicBezTo>
                    <a:pt x="2494" y="17658"/>
                    <a:pt x="2394" y="17689"/>
                    <a:pt x="2323" y="17774"/>
                  </a:cubicBezTo>
                  <a:cubicBezTo>
                    <a:pt x="2293" y="17769"/>
                    <a:pt x="2037" y="17718"/>
                    <a:pt x="1786" y="17667"/>
                  </a:cubicBezTo>
                  <a:cubicBezTo>
                    <a:pt x="1720" y="17654"/>
                    <a:pt x="1655" y="17641"/>
                    <a:pt x="1594" y="17628"/>
                  </a:cubicBezTo>
                  <a:cubicBezTo>
                    <a:pt x="1682" y="17386"/>
                    <a:pt x="1682" y="17386"/>
                    <a:pt x="1682" y="17386"/>
                  </a:cubicBezTo>
                  <a:cubicBezTo>
                    <a:pt x="1818" y="17425"/>
                    <a:pt x="1818" y="17425"/>
                    <a:pt x="1818" y="17425"/>
                  </a:cubicBezTo>
                  <a:cubicBezTo>
                    <a:pt x="1864" y="17313"/>
                    <a:pt x="1864" y="17313"/>
                    <a:pt x="1864" y="17313"/>
                  </a:cubicBezTo>
                  <a:cubicBezTo>
                    <a:pt x="1866" y="17315"/>
                    <a:pt x="1869" y="17318"/>
                    <a:pt x="1874" y="17320"/>
                  </a:cubicBezTo>
                  <a:cubicBezTo>
                    <a:pt x="1893" y="17282"/>
                    <a:pt x="1893" y="17282"/>
                    <a:pt x="1893" y="17282"/>
                  </a:cubicBezTo>
                  <a:cubicBezTo>
                    <a:pt x="1895" y="17281"/>
                    <a:pt x="1895" y="17281"/>
                    <a:pt x="1895" y="17281"/>
                  </a:cubicBezTo>
                  <a:cubicBezTo>
                    <a:pt x="2521" y="17395"/>
                    <a:pt x="2521" y="17395"/>
                    <a:pt x="2521" y="17395"/>
                  </a:cubicBezTo>
                  <a:lnTo>
                    <a:pt x="2518" y="17651"/>
                  </a:lnTo>
                  <a:close/>
                  <a:moveTo>
                    <a:pt x="2188" y="17320"/>
                  </a:moveTo>
                  <a:cubicBezTo>
                    <a:pt x="2200" y="17177"/>
                    <a:pt x="2200" y="17177"/>
                    <a:pt x="2200" y="17177"/>
                  </a:cubicBezTo>
                  <a:cubicBezTo>
                    <a:pt x="2440" y="17217"/>
                    <a:pt x="2440" y="17217"/>
                    <a:pt x="2440" y="17217"/>
                  </a:cubicBezTo>
                  <a:cubicBezTo>
                    <a:pt x="2441" y="17346"/>
                    <a:pt x="2441" y="17346"/>
                    <a:pt x="2441" y="17346"/>
                  </a:cubicBezTo>
                  <a:cubicBezTo>
                    <a:pt x="2575" y="17340"/>
                    <a:pt x="2575" y="17340"/>
                    <a:pt x="2575" y="17340"/>
                  </a:cubicBezTo>
                  <a:cubicBezTo>
                    <a:pt x="2574" y="17239"/>
                    <a:pt x="2574" y="17239"/>
                    <a:pt x="2574" y="17239"/>
                  </a:cubicBezTo>
                  <a:cubicBezTo>
                    <a:pt x="2578" y="17239"/>
                    <a:pt x="2578" y="17239"/>
                    <a:pt x="2578" y="17239"/>
                  </a:cubicBezTo>
                  <a:cubicBezTo>
                    <a:pt x="2579" y="17293"/>
                    <a:pt x="2580" y="17344"/>
                    <a:pt x="2582" y="17392"/>
                  </a:cubicBezTo>
                  <a:lnTo>
                    <a:pt x="2188" y="17320"/>
                  </a:lnTo>
                  <a:close/>
                  <a:moveTo>
                    <a:pt x="2390" y="15853"/>
                  </a:moveTo>
                  <a:cubicBezTo>
                    <a:pt x="2372" y="15813"/>
                    <a:pt x="2319" y="15715"/>
                    <a:pt x="2208" y="15618"/>
                  </a:cubicBezTo>
                  <a:cubicBezTo>
                    <a:pt x="2231" y="15612"/>
                    <a:pt x="2263" y="15605"/>
                    <a:pt x="2306" y="15595"/>
                  </a:cubicBezTo>
                  <a:cubicBezTo>
                    <a:pt x="2379" y="15580"/>
                    <a:pt x="2453" y="15549"/>
                    <a:pt x="2507" y="15524"/>
                  </a:cubicBezTo>
                  <a:cubicBezTo>
                    <a:pt x="2511" y="15529"/>
                    <a:pt x="2515" y="15535"/>
                    <a:pt x="2519" y="15542"/>
                  </a:cubicBezTo>
                  <a:cubicBezTo>
                    <a:pt x="2535" y="15566"/>
                    <a:pt x="2555" y="15598"/>
                    <a:pt x="2576" y="15629"/>
                  </a:cubicBezTo>
                  <a:cubicBezTo>
                    <a:pt x="2616" y="15689"/>
                    <a:pt x="2658" y="15753"/>
                    <a:pt x="2661" y="15760"/>
                  </a:cubicBezTo>
                  <a:cubicBezTo>
                    <a:pt x="2634" y="15794"/>
                    <a:pt x="2611" y="15835"/>
                    <a:pt x="2595" y="15882"/>
                  </a:cubicBezTo>
                  <a:lnTo>
                    <a:pt x="2390" y="15853"/>
                  </a:lnTo>
                  <a:close/>
                  <a:moveTo>
                    <a:pt x="2638" y="16629"/>
                  </a:moveTo>
                  <a:cubicBezTo>
                    <a:pt x="2638" y="16482"/>
                    <a:pt x="2639" y="16343"/>
                    <a:pt x="2639" y="16231"/>
                  </a:cubicBezTo>
                  <a:cubicBezTo>
                    <a:pt x="3123" y="16217"/>
                    <a:pt x="3123" y="16217"/>
                    <a:pt x="3123" y="16217"/>
                  </a:cubicBezTo>
                  <a:cubicBezTo>
                    <a:pt x="3123" y="16203"/>
                    <a:pt x="3123" y="16203"/>
                    <a:pt x="3123" y="16203"/>
                  </a:cubicBezTo>
                  <a:cubicBezTo>
                    <a:pt x="2640" y="16217"/>
                    <a:pt x="2640" y="16217"/>
                    <a:pt x="2640" y="16217"/>
                  </a:cubicBezTo>
                  <a:cubicBezTo>
                    <a:pt x="2640" y="16124"/>
                    <a:pt x="2641" y="16050"/>
                    <a:pt x="2641" y="16006"/>
                  </a:cubicBezTo>
                  <a:cubicBezTo>
                    <a:pt x="2641" y="15978"/>
                    <a:pt x="2644" y="15952"/>
                    <a:pt x="2650" y="15928"/>
                  </a:cubicBezTo>
                  <a:cubicBezTo>
                    <a:pt x="3150" y="15980"/>
                    <a:pt x="3150" y="15980"/>
                    <a:pt x="3150" y="15980"/>
                  </a:cubicBezTo>
                  <a:cubicBezTo>
                    <a:pt x="3140" y="16076"/>
                    <a:pt x="3124" y="16211"/>
                    <a:pt x="3124" y="16212"/>
                  </a:cubicBezTo>
                  <a:cubicBezTo>
                    <a:pt x="3124" y="16215"/>
                    <a:pt x="3124" y="16215"/>
                    <a:pt x="3124" y="16215"/>
                  </a:cubicBezTo>
                  <a:cubicBezTo>
                    <a:pt x="3182" y="16270"/>
                    <a:pt x="3182" y="16270"/>
                    <a:pt x="3182" y="16270"/>
                  </a:cubicBezTo>
                  <a:cubicBezTo>
                    <a:pt x="3074" y="16627"/>
                    <a:pt x="3074" y="16627"/>
                    <a:pt x="3074" y="16627"/>
                  </a:cubicBezTo>
                  <a:cubicBezTo>
                    <a:pt x="3044" y="16630"/>
                    <a:pt x="3012" y="16634"/>
                    <a:pt x="2981" y="16637"/>
                  </a:cubicBezTo>
                  <a:cubicBezTo>
                    <a:pt x="2842" y="16654"/>
                    <a:pt x="2703" y="16669"/>
                    <a:pt x="2638" y="16676"/>
                  </a:cubicBezTo>
                  <a:cubicBezTo>
                    <a:pt x="2638" y="16660"/>
                    <a:pt x="2638" y="16644"/>
                    <a:pt x="2638" y="16629"/>
                  </a:cubicBezTo>
                  <a:close/>
                  <a:moveTo>
                    <a:pt x="2968" y="16844"/>
                  </a:moveTo>
                  <a:cubicBezTo>
                    <a:pt x="2970" y="16880"/>
                    <a:pt x="2972" y="16916"/>
                    <a:pt x="2974" y="16947"/>
                  </a:cubicBezTo>
                  <a:cubicBezTo>
                    <a:pt x="2922" y="16954"/>
                    <a:pt x="2880" y="16960"/>
                    <a:pt x="2865" y="16962"/>
                  </a:cubicBezTo>
                  <a:cubicBezTo>
                    <a:pt x="2849" y="16855"/>
                    <a:pt x="2849" y="16855"/>
                    <a:pt x="2849" y="16855"/>
                  </a:cubicBezTo>
                  <a:cubicBezTo>
                    <a:pt x="2967" y="16840"/>
                    <a:pt x="2967" y="16840"/>
                    <a:pt x="2967" y="16840"/>
                  </a:cubicBezTo>
                  <a:cubicBezTo>
                    <a:pt x="2967" y="16841"/>
                    <a:pt x="2967" y="16843"/>
                    <a:pt x="2968" y="16844"/>
                  </a:cubicBezTo>
                  <a:close/>
                  <a:moveTo>
                    <a:pt x="2641" y="17070"/>
                  </a:moveTo>
                  <a:cubicBezTo>
                    <a:pt x="2640" y="17020"/>
                    <a:pt x="2640" y="16970"/>
                    <a:pt x="2639" y="16919"/>
                  </a:cubicBezTo>
                  <a:cubicBezTo>
                    <a:pt x="2638" y="16853"/>
                    <a:pt x="2638" y="16787"/>
                    <a:pt x="2638" y="16721"/>
                  </a:cubicBezTo>
                  <a:cubicBezTo>
                    <a:pt x="2696" y="16715"/>
                    <a:pt x="2823" y="16701"/>
                    <a:pt x="2956" y="16686"/>
                  </a:cubicBezTo>
                  <a:cubicBezTo>
                    <a:pt x="2957" y="16695"/>
                    <a:pt x="2958" y="16705"/>
                    <a:pt x="2959" y="16717"/>
                  </a:cubicBezTo>
                  <a:cubicBezTo>
                    <a:pt x="2961" y="16748"/>
                    <a:pt x="2964" y="16787"/>
                    <a:pt x="2966" y="16827"/>
                  </a:cubicBezTo>
                  <a:cubicBezTo>
                    <a:pt x="2834" y="16844"/>
                    <a:pt x="2834" y="16844"/>
                    <a:pt x="2834" y="16844"/>
                  </a:cubicBezTo>
                  <a:cubicBezTo>
                    <a:pt x="2854" y="16977"/>
                    <a:pt x="2854" y="16977"/>
                    <a:pt x="2854" y="16977"/>
                  </a:cubicBezTo>
                  <a:cubicBezTo>
                    <a:pt x="2860" y="16976"/>
                    <a:pt x="2860" y="16976"/>
                    <a:pt x="2860" y="16976"/>
                  </a:cubicBezTo>
                  <a:cubicBezTo>
                    <a:pt x="2860" y="16976"/>
                    <a:pt x="2909" y="16969"/>
                    <a:pt x="2975" y="16960"/>
                  </a:cubicBezTo>
                  <a:cubicBezTo>
                    <a:pt x="2976" y="16982"/>
                    <a:pt x="2977" y="17000"/>
                    <a:pt x="2978" y="17012"/>
                  </a:cubicBezTo>
                  <a:lnTo>
                    <a:pt x="2641" y="17070"/>
                  </a:lnTo>
                  <a:close/>
                  <a:moveTo>
                    <a:pt x="2970" y="16684"/>
                  </a:moveTo>
                  <a:cubicBezTo>
                    <a:pt x="3035" y="16677"/>
                    <a:pt x="3101" y="16669"/>
                    <a:pt x="3161" y="16662"/>
                  </a:cubicBezTo>
                  <a:cubicBezTo>
                    <a:pt x="3161" y="16664"/>
                    <a:pt x="3161" y="16666"/>
                    <a:pt x="3161" y="16668"/>
                  </a:cubicBezTo>
                  <a:cubicBezTo>
                    <a:pt x="3162" y="16682"/>
                    <a:pt x="3162" y="16701"/>
                    <a:pt x="3162" y="16723"/>
                  </a:cubicBezTo>
                  <a:cubicBezTo>
                    <a:pt x="3163" y="16746"/>
                    <a:pt x="3163" y="16773"/>
                    <a:pt x="3163" y="16801"/>
                  </a:cubicBezTo>
                  <a:cubicBezTo>
                    <a:pt x="2980" y="16825"/>
                    <a:pt x="2980" y="16825"/>
                    <a:pt x="2980" y="16825"/>
                  </a:cubicBezTo>
                  <a:cubicBezTo>
                    <a:pt x="2977" y="16768"/>
                    <a:pt x="2973" y="16715"/>
                    <a:pt x="2970" y="16684"/>
                  </a:cubicBezTo>
                  <a:close/>
                  <a:moveTo>
                    <a:pt x="2981" y="16838"/>
                  </a:moveTo>
                  <a:cubicBezTo>
                    <a:pt x="3163" y="16814"/>
                    <a:pt x="3163" y="16814"/>
                    <a:pt x="3163" y="16814"/>
                  </a:cubicBezTo>
                  <a:cubicBezTo>
                    <a:pt x="3163" y="16834"/>
                    <a:pt x="3163" y="16855"/>
                    <a:pt x="3163" y="16874"/>
                  </a:cubicBezTo>
                  <a:cubicBezTo>
                    <a:pt x="3163" y="16891"/>
                    <a:pt x="3163" y="16907"/>
                    <a:pt x="3163" y="16921"/>
                  </a:cubicBezTo>
                  <a:cubicBezTo>
                    <a:pt x="3135" y="16925"/>
                    <a:pt x="3105" y="16929"/>
                    <a:pt x="3075" y="16933"/>
                  </a:cubicBezTo>
                  <a:cubicBezTo>
                    <a:pt x="3045" y="16937"/>
                    <a:pt x="3015" y="16941"/>
                    <a:pt x="2988" y="16945"/>
                  </a:cubicBezTo>
                  <a:cubicBezTo>
                    <a:pt x="2986" y="16913"/>
                    <a:pt x="2983" y="16876"/>
                    <a:pt x="2981" y="16838"/>
                  </a:cubicBezTo>
                  <a:close/>
                  <a:moveTo>
                    <a:pt x="2991" y="17009"/>
                  </a:moveTo>
                  <a:cubicBezTo>
                    <a:pt x="2991" y="16997"/>
                    <a:pt x="2990" y="16980"/>
                    <a:pt x="2988" y="16958"/>
                  </a:cubicBezTo>
                  <a:cubicBezTo>
                    <a:pt x="3043" y="16951"/>
                    <a:pt x="3108" y="16942"/>
                    <a:pt x="3163" y="16934"/>
                  </a:cubicBezTo>
                  <a:cubicBezTo>
                    <a:pt x="3163" y="16953"/>
                    <a:pt x="3163" y="16969"/>
                    <a:pt x="3163" y="16980"/>
                  </a:cubicBezTo>
                  <a:lnTo>
                    <a:pt x="2991" y="17009"/>
                  </a:lnTo>
                  <a:close/>
                  <a:moveTo>
                    <a:pt x="3205" y="17525"/>
                  </a:moveTo>
                  <a:cubicBezTo>
                    <a:pt x="3205" y="17525"/>
                    <a:pt x="3205" y="17525"/>
                    <a:pt x="3205" y="17525"/>
                  </a:cubicBezTo>
                  <a:cubicBezTo>
                    <a:pt x="3208" y="17522"/>
                    <a:pt x="3208" y="17522"/>
                    <a:pt x="3208" y="17522"/>
                  </a:cubicBezTo>
                  <a:lnTo>
                    <a:pt x="3205" y="17525"/>
                  </a:lnTo>
                  <a:close/>
                  <a:moveTo>
                    <a:pt x="3200" y="17519"/>
                  </a:moveTo>
                  <a:cubicBezTo>
                    <a:pt x="3200" y="17519"/>
                    <a:pt x="3200" y="17519"/>
                    <a:pt x="3199" y="17519"/>
                  </a:cubicBezTo>
                  <a:cubicBezTo>
                    <a:pt x="3192" y="17512"/>
                    <a:pt x="3192" y="17512"/>
                    <a:pt x="3192" y="17512"/>
                  </a:cubicBezTo>
                  <a:cubicBezTo>
                    <a:pt x="3074" y="17263"/>
                    <a:pt x="3074" y="17263"/>
                    <a:pt x="3074" y="17263"/>
                  </a:cubicBezTo>
                  <a:cubicBezTo>
                    <a:pt x="3019" y="17050"/>
                    <a:pt x="3019" y="17050"/>
                    <a:pt x="3019" y="17050"/>
                  </a:cubicBezTo>
                  <a:cubicBezTo>
                    <a:pt x="3662" y="16940"/>
                    <a:pt x="3662" y="16940"/>
                    <a:pt x="3662" y="16940"/>
                  </a:cubicBezTo>
                  <a:cubicBezTo>
                    <a:pt x="3713" y="17234"/>
                    <a:pt x="3713" y="17234"/>
                    <a:pt x="3713" y="17234"/>
                  </a:cubicBezTo>
                  <a:cubicBezTo>
                    <a:pt x="3666" y="17259"/>
                    <a:pt x="3230" y="17495"/>
                    <a:pt x="3200" y="17519"/>
                  </a:cubicBezTo>
                  <a:close/>
                  <a:moveTo>
                    <a:pt x="4266" y="17546"/>
                  </a:moveTo>
                  <a:cubicBezTo>
                    <a:pt x="4265" y="17548"/>
                    <a:pt x="4263" y="17545"/>
                    <a:pt x="4261" y="17553"/>
                  </a:cubicBezTo>
                  <a:cubicBezTo>
                    <a:pt x="4261" y="17553"/>
                    <a:pt x="4262" y="17554"/>
                    <a:pt x="4262" y="17554"/>
                  </a:cubicBezTo>
                  <a:cubicBezTo>
                    <a:pt x="4262" y="17555"/>
                    <a:pt x="4261" y="17555"/>
                    <a:pt x="4261" y="17556"/>
                  </a:cubicBezTo>
                  <a:cubicBezTo>
                    <a:pt x="4260" y="17558"/>
                    <a:pt x="4259" y="17561"/>
                    <a:pt x="4258" y="17565"/>
                  </a:cubicBezTo>
                  <a:cubicBezTo>
                    <a:pt x="4256" y="17571"/>
                    <a:pt x="4252" y="17580"/>
                    <a:pt x="4248" y="17591"/>
                  </a:cubicBezTo>
                  <a:cubicBezTo>
                    <a:pt x="4239" y="17612"/>
                    <a:pt x="4227" y="17639"/>
                    <a:pt x="4215" y="17665"/>
                  </a:cubicBezTo>
                  <a:cubicBezTo>
                    <a:pt x="4194" y="17712"/>
                    <a:pt x="4174" y="17756"/>
                    <a:pt x="4169" y="17767"/>
                  </a:cubicBezTo>
                  <a:cubicBezTo>
                    <a:pt x="3847" y="17731"/>
                    <a:pt x="3847" y="17731"/>
                    <a:pt x="3847" y="17731"/>
                  </a:cubicBezTo>
                  <a:cubicBezTo>
                    <a:pt x="3790" y="17407"/>
                    <a:pt x="3790" y="17407"/>
                    <a:pt x="3790" y="17407"/>
                  </a:cubicBezTo>
                  <a:cubicBezTo>
                    <a:pt x="3794" y="17407"/>
                    <a:pt x="3798" y="17407"/>
                    <a:pt x="3803" y="17407"/>
                  </a:cubicBezTo>
                  <a:cubicBezTo>
                    <a:pt x="3826" y="17407"/>
                    <a:pt x="3857" y="17406"/>
                    <a:pt x="3887" y="17405"/>
                  </a:cubicBezTo>
                  <a:cubicBezTo>
                    <a:pt x="3942" y="17404"/>
                    <a:pt x="3997" y="17402"/>
                    <a:pt x="4008" y="17402"/>
                  </a:cubicBezTo>
                  <a:cubicBezTo>
                    <a:pt x="4255" y="17559"/>
                    <a:pt x="4255" y="17559"/>
                    <a:pt x="4255" y="17559"/>
                  </a:cubicBezTo>
                  <a:cubicBezTo>
                    <a:pt x="4255" y="17559"/>
                    <a:pt x="4255" y="17559"/>
                    <a:pt x="4255" y="17559"/>
                  </a:cubicBezTo>
                  <a:cubicBezTo>
                    <a:pt x="4262" y="17547"/>
                    <a:pt x="4262" y="17547"/>
                    <a:pt x="4262" y="17547"/>
                  </a:cubicBezTo>
                  <a:cubicBezTo>
                    <a:pt x="4012" y="17388"/>
                    <a:pt x="4012" y="17388"/>
                    <a:pt x="4012" y="17388"/>
                  </a:cubicBezTo>
                  <a:cubicBezTo>
                    <a:pt x="4010" y="17388"/>
                    <a:pt x="4010" y="17388"/>
                    <a:pt x="4010" y="17388"/>
                  </a:cubicBezTo>
                  <a:cubicBezTo>
                    <a:pt x="4010" y="17388"/>
                    <a:pt x="3850" y="17392"/>
                    <a:pt x="3788" y="17394"/>
                  </a:cubicBezTo>
                  <a:cubicBezTo>
                    <a:pt x="3706" y="16932"/>
                    <a:pt x="3706" y="16932"/>
                    <a:pt x="3706" y="16932"/>
                  </a:cubicBezTo>
                  <a:cubicBezTo>
                    <a:pt x="3968" y="16887"/>
                    <a:pt x="3968" y="16887"/>
                    <a:pt x="3968" y="16887"/>
                  </a:cubicBezTo>
                  <a:cubicBezTo>
                    <a:pt x="3981" y="16984"/>
                    <a:pt x="4013" y="17050"/>
                    <a:pt x="4060" y="17095"/>
                  </a:cubicBezTo>
                  <a:cubicBezTo>
                    <a:pt x="4078" y="17111"/>
                    <a:pt x="4096" y="17124"/>
                    <a:pt x="4116" y="17134"/>
                  </a:cubicBezTo>
                  <a:cubicBezTo>
                    <a:pt x="4006" y="17384"/>
                    <a:pt x="4006" y="17384"/>
                    <a:pt x="4006" y="17384"/>
                  </a:cubicBezTo>
                  <a:cubicBezTo>
                    <a:pt x="4019" y="17390"/>
                    <a:pt x="4019" y="17390"/>
                    <a:pt x="4019" y="17390"/>
                  </a:cubicBezTo>
                  <a:cubicBezTo>
                    <a:pt x="4128" y="17141"/>
                    <a:pt x="4128" y="17141"/>
                    <a:pt x="4128" y="17141"/>
                  </a:cubicBezTo>
                  <a:cubicBezTo>
                    <a:pt x="4173" y="17162"/>
                    <a:pt x="4222" y="17172"/>
                    <a:pt x="4267" y="17181"/>
                  </a:cubicBezTo>
                  <a:cubicBezTo>
                    <a:pt x="4328" y="17191"/>
                    <a:pt x="4399" y="17195"/>
                    <a:pt x="4471" y="17196"/>
                  </a:cubicBezTo>
                  <a:cubicBezTo>
                    <a:pt x="4474" y="17196"/>
                    <a:pt x="4477" y="17197"/>
                    <a:pt x="4481" y="17197"/>
                  </a:cubicBezTo>
                  <a:cubicBezTo>
                    <a:pt x="4481" y="17197"/>
                    <a:pt x="4481" y="17197"/>
                    <a:pt x="4481" y="17197"/>
                  </a:cubicBezTo>
                  <a:cubicBezTo>
                    <a:pt x="4481" y="17196"/>
                    <a:pt x="4481" y="17196"/>
                    <a:pt x="4481" y="17196"/>
                  </a:cubicBezTo>
                  <a:cubicBezTo>
                    <a:pt x="4486" y="17196"/>
                    <a:pt x="4492" y="17196"/>
                    <a:pt x="4497" y="17196"/>
                  </a:cubicBezTo>
                  <a:cubicBezTo>
                    <a:pt x="4503" y="17196"/>
                    <a:pt x="4509" y="17196"/>
                    <a:pt x="4515" y="17196"/>
                  </a:cubicBezTo>
                  <a:cubicBezTo>
                    <a:pt x="4515" y="17202"/>
                    <a:pt x="4514" y="17210"/>
                    <a:pt x="4513" y="17218"/>
                  </a:cubicBezTo>
                  <a:cubicBezTo>
                    <a:pt x="4510" y="17246"/>
                    <a:pt x="4507" y="17282"/>
                    <a:pt x="4504" y="17319"/>
                  </a:cubicBezTo>
                  <a:cubicBezTo>
                    <a:pt x="4498" y="17391"/>
                    <a:pt x="4493" y="17464"/>
                    <a:pt x="4493" y="17464"/>
                  </a:cubicBezTo>
                  <a:cubicBezTo>
                    <a:pt x="4506" y="17465"/>
                    <a:pt x="4506" y="17465"/>
                    <a:pt x="4506" y="17465"/>
                  </a:cubicBezTo>
                  <a:cubicBezTo>
                    <a:pt x="4480" y="17473"/>
                    <a:pt x="4281" y="17537"/>
                    <a:pt x="4266" y="17546"/>
                  </a:cubicBezTo>
                  <a:close/>
                  <a:moveTo>
                    <a:pt x="4721" y="17759"/>
                  </a:moveTo>
                  <a:cubicBezTo>
                    <a:pt x="4513" y="17463"/>
                    <a:pt x="4513" y="17463"/>
                    <a:pt x="4513" y="17463"/>
                  </a:cubicBezTo>
                  <a:cubicBezTo>
                    <a:pt x="4508" y="17464"/>
                    <a:pt x="4508" y="17464"/>
                    <a:pt x="4508" y="17464"/>
                  </a:cubicBezTo>
                  <a:cubicBezTo>
                    <a:pt x="4508" y="17464"/>
                    <a:pt x="4507" y="17465"/>
                    <a:pt x="4507" y="17465"/>
                  </a:cubicBezTo>
                  <a:cubicBezTo>
                    <a:pt x="4507" y="17461"/>
                    <a:pt x="4512" y="17395"/>
                    <a:pt x="4517" y="17327"/>
                  </a:cubicBezTo>
                  <a:cubicBezTo>
                    <a:pt x="4521" y="17276"/>
                    <a:pt x="4526" y="17223"/>
                    <a:pt x="4530" y="17196"/>
                  </a:cubicBezTo>
                  <a:cubicBezTo>
                    <a:pt x="4611" y="17195"/>
                    <a:pt x="4690" y="17191"/>
                    <a:pt x="4751" y="17189"/>
                  </a:cubicBezTo>
                  <a:cubicBezTo>
                    <a:pt x="4787" y="17188"/>
                    <a:pt x="4821" y="17186"/>
                    <a:pt x="4851" y="17186"/>
                  </a:cubicBezTo>
                  <a:cubicBezTo>
                    <a:pt x="4892" y="17185"/>
                    <a:pt x="4925" y="17190"/>
                    <a:pt x="4950" y="17205"/>
                  </a:cubicBezTo>
                  <a:cubicBezTo>
                    <a:pt x="4974" y="17220"/>
                    <a:pt x="4996" y="17246"/>
                    <a:pt x="5013" y="17301"/>
                  </a:cubicBezTo>
                  <a:cubicBezTo>
                    <a:pt x="5020" y="17324"/>
                    <a:pt x="5027" y="17385"/>
                    <a:pt x="5030" y="17461"/>
                  </a:cubicBezTo>
                  <a:cubicBezTo>
                    <a:pt x="5034" y="17535"/>
                    <a:pt x="5035" y="17626"/>
                    <a:pt x="5035" y="17722"/>
                  </a:cubicBezTo>
                  <a:lnTo>
                    <a:pt x="4721" y="17759"/>
                  </a:lnTo>
                  <a:close/>
                  <a:moveTo>
                    <a:pt x="5983" y="17163"/>
                  </a:moveTo>
                  <a:cubicBezTo>
                    <a:pt x="5975" y="17292"/>
                    <a:pt x="5963" y="17408"/>
                    <a:pt x="5958" y="17461"/>
                  </a:cubicBezTo>
                  <a:cubicBezTo>
                    <a:pt x="5876" y="17441"/>
                    <a:pt x="5791" y="17421"/>
                    <a:pt x="5716" y="17406"/>
                  </a:cubicBezTo>
                  <a:cubicBezTo>
                    <a:pt x="5568" y="17376"/>
                    <a:pt x="5146" y="17308"/>
                    <a:pt x="5079" y="17297"/>
                  </a:cubicBezTo>
                  <a:cubicBezTo>
                    <a:pt x="5078" y="17292"/>
                    <a:pt x="5077" y="17286"/>
                    <a:pt x="5076" y="17282"/>
                  </a:cubicBezTo>
                  <a:cubicBezTo>
                    <a:pt x="5056" y="17217"/>
                    <a:pt x="5025" y="17173"/>
                    <a:pt x="4983" y="17149"/>
                  </a:cubicBezTo>
                  <a:cubicBezTo>
                    <a:pt x="4942" y="17125"/>
                    <a:pt x="4897" y="17120"/>
                    <a:pt x="4851" y="17120"/>
                  </a:cubicBezTo>
                  <a:cubicBezTo>
                    <a:pt x="4818" y="17120"/>
                    <a:pt x="4783" y="17123"/>
                    <a:pt x="4749" y="17124"/>
                  </a:cubicBezTo>
                  <a:cubicBezTo>
                    <a:pt x="4680" y="17126"/>
                    <a:pt x="4590" y="17130"/>
                    <a:pt x="4501" y="17130"/>
                  </a:cubicBezTo>
                  <a:cubicBezTo>
                    <a:pt x="4500" y="17120"/>
                    <a:pt x="4499" y="17107"/>
                    <a:pt x="4498" y="17091"/>
                  </a:cubicBezTo>
                  <a:cubicBezTo>
                    <a:pt x="4496" y="17051"/>
                    <a:pt x="4496" y="16999"/>
                    <a:pt x="4492" y="16954"/>
                  </a:cubicBezTo>
                  <a:cubicBezTo>
                    <a:pt x="4491" y="16936"/>
                    <a:pt x="4490" y="16920"/>
                    <a:pt x="4490" y="16902"/>
                  </a:cubicBezTo>
                  <a:cubicBezTo>
                    <a:pt x="4490" y="16837"/>
                    <a:pt x="4503" y="16750"/>
                    <a:pt x="4558" y="16545"/>
                  </a:cubicBezTo>
                  <a:cubicBezTo>
                    <a:pt x="4572" y="16489"/>
                    <a:pt x="4579" y="16438"/>
                    <a:pt x="4579" y="16392"/>
                  </a:cubicBezTo>
                  <a:cubicBezTo>
                    <a:pt x="4578" y="16285"/>
                    <a:pt x="4546" y="16209"/>
                    <a:pt x="4519" y="16165"/>
                  </a:cubicBezTo>
                  <a:cubicBezTo>
                    <a:pt x="5899" y="16153"/>
                    <a:pt x="5899" y="16153"/>
                    <a:pt x="5899" y="16153"/>
                  </a:cubicBezTo>
                  <a:cubicBezTo>
                    <a:pt x="5907" y="16192"/>
                    <a:pt x="5923" y="16269"/>
                    <a:pt x="5939" y="16358"/>
                  </a:cubicBezTo>
                  <a:cubicBezTo>
                    <a:pt x="5962" y="16484"/>
                    <a:pt x="5985" y="16633"/>
                    <a:pt x="5987" y="16717"/>
                  </a:cubicBezTo>
                  <a:cubicBezTo>
                    <a:pt x="5987" y="16756"/>
                    <a:pt x="5989" y="16823"/>
                    <a:pt x="5989" y="16900"/>
                  </a:cubicBezTo>
                  <a:cubicBezTo>
                    <a:pt x="5989" y="16984"/>
                    <a:pt x="5987" y="17081"/>
                    <a:pt x="5983" y="17163"/>
                  </a:cubicBezTo>
                  <a:close/>
                  <a:moveTo>
                    <a:pt x="6195" y="17521"/>
                  </a:moveTo>
                  <a:cubicBezTo>
                    <a:pt x="6150" y="17509"/>
                    <a:pt x="6089" y="17493"/>
                    <a:pt x="6022" y="17477"/>
                  </a:cubicBezTo>
                  <a:cubicBezTo>
                    <a:pt x="6027" y="17428"/>
                    <a:pt x="6040" y="17305"/>
                    <a:pt x="6048" y="17167"/>
                  </a:cubicBezTo>
                  <a:cubicBezTo>
                    <a:pt x="6050" y="17128"/>
                    <a:pt x="6052" y="17087"/>
                    <a:pt x="6053" y="17045"/>
                  </a:cubicBezTo>
                  <a:cubicBezTo>
                    <a:pt x="6244" y="17056"/>
                    <a:pt x="6244" y="17056"/>
                    <a:pt x="6244" y="17056"/>
                  </a:cubicBezTo>
                  <a:cubicBezTo>
                    <a:pt x="6246" y="17055"/>
                    <a:pt x="6246" y="17055"/>
                    <a:pt x="6246" y="17055"/>
                  </a:cubicBezTo>
                  <a:cubicBezTo>
                    <a:pt x="6246" y="17055"/>
                    <a:pt x="6294" y="17026"/>
                    <a:pt x="6304" y="17021"/>
                  </a:cubicBezTo>
                  <a:cubicBezTo>
                    <a:pt x="6312" y="17022"/>
                    <a:pt x="6356" y="17033"/>
                    <a:pt x="6399" y="17044"/>
                  </a:cubicBezTo>
                  <a:cubicBezTo>
                    <a:pt x="6446" y="17056"/>
                    <a:pt x="6491" y="17067"/>
                    <a:pt x="6502" y="17068"/>
                  </a:cubicBezTo>
                  <a:cubicBezTo>
                    <a:pt x="6498" y="17087"/>
                    <a:pt x="6495" y="17106"/>
                    <a:pt x="6491" y="17126"/>
                  </a:cubicBezTo>
                  <a:cubicBezTo>
                    <a:pt x="6478" y="17202"/>
                    <a:pt x="6465" y="17277"/>
                    <a:pt x="6462" y="17296"/>
                  </a:cubicBezTo>
                  <a:cubicBezTo>
                    <a:pt x="6399" y="17318"/>
                    <a:pt x="6399" y="17318"/>
                    <a:pt x="6399" y="17318"/>
                  </a:cubicBezTo>
                  <a:cubicBezTo>
                    <a:pt x="6321" y="17560"/>
                    <a:pt x="6321" y="17560"/>
                    <a:pt x="6321" y="17560"/>
                  </a:cubicBezTo>
                  <a:cubicBezTo>
                    <a:pt x="6274" y="17545"/>
                    <a:pt x="6237" y="17532"/>
                    <a:pt x="6195" y="17521"/>
                  </a:cubicBezTo>
                  <a:close/>
                  <a:moveTo>
                    <a:pt x="6798" y="17642"/>
                  </a:moveTo>
                  <a:cubicBezTo>
                    <a:pt x="6785" y="17641"/>
                    <a:pt x="6773" y="17639"/>
                    <a:pt x="6761" y="17638"/>
                  </a:cubicBezTo>
                  <a:cubicBezTo>
                    <a:pt x="6533" y="17616"/>
                    <a:pt x="6417" y="17589"/>
                    <a:pt x="6335" y="17564"/>
                  </a:cubicBezTo>
                  <a:cubicBezTo>
                    <a:pt x="6410" y="17329"/>
                    <a:pt x="6410" y="17329"/>
                    <a:pt x="6410" y="17329"/>
                  </a:cubicBezTo>
                  <a:cubicBezTo>
                    <a:pt x="6474" y="17306"/>
                    <a:pt x="6474" y="17306"/>
                    <a:pt x="6474" y="17306"/>
                  </a:cubicBezTo>
                  <a:cubicBezTo>
                    <a:pt x="6475" y="17302"/>
                    <a:pt x="6475" y="17302"/>
                    <a:pt x="6475" y="17302"/>
                  </a:cubicBezTo>
                  <a:cubicBezTo>
                    <a:pt x="6475" y="17302"/>
                    <a:pt x="6490" y="17214"/>
                    <a:pt x="6505" y="17126"/>
                  </a:cubicBezTo>
                  <a:cubicBezTo>
                    <a:pt x="6816" y="17194"/>
                    <a:pt x="6816" y="17194"/>
                    <a:pt x="6816" y="17194"/>
                  </a:cubicBezTo>
                  <a:cubicBezTo>
                    <a:pt x="6915" y="17377"/>
                    <a:pt x="6915" y="17377"/>
                    <a:pt x="6915" y="17377"/>
                  </a:cubicBezTo>
                  <a:cubicBezTo>
                    <a:pt x="6860" y="17502"/>
                    <a:pt x="6817" y="17598"/>
                    <a:pt x="6798" y="17642"/>
                  </a:cubicBezTo>
                  <a:close/>
                  <a:moveTo>
                    <a:pt x="8562" y="15399"/>
                  </a:moveTo>
                  <a:cubicBezTo>
                    <a:pt x="8558" y="15450"/>
                    <a:pt x="8543" y="16200"/>
                    <a:pt x="8541" y="16291"/>
                  </a:cubicBezTo>
                  <a:cubicBezTo>
                    <a:pt x="7637" y="17931"/>
                    <a:pt x="7637" y="17931"/>
                    <a:pt x="7637" y="17931"/>
                  </a:cubicBezTo>
                  <a:cubicBezTo>
                    <a:pt x="7631" y="17928"/>
                    <a:pt x="7631" y="17928"/>
                    <a:pt x="7631" y="17928"/>
                  </a:cubicBezTo>
                  <a:cubicBezTo>
                    <a:pt x="7630" y="17927"/>
                    <a:pt x="7630" y="17927"/>
                    <a:pt x="7630" y="17927"/>
                  </a:cubicBezTo>
                  <a:cubicBezTo>
                    <a:pt x="7628" y="17927"/>
                    <a:pt x="7231" y="17718"/>
                    <a:pt x="6865" y="17653"/>
                  </a:cubicBezTo>
                  <a:cubicBezTo>
                    <a:pt x="6869" y="17643"/>
                    <a:pt x="6874" y="17631"/>
                    <a:pt x="6880" y="17619"/>
                  </a:cubicBezTo>
                  <a:cubicBezTo>
                    <a:pt x="6902" y="17570"/>
                    <a:pt x="6932" y="17500"/>
                    <a:pt x="6969" y="17416"/>
                  </a:cubicBezTo>
                  <a:cubicBezTo>
                    <a:pt x="7043" y="17249"/>
                    <a:pt x="7141" y="17027"/>
                    <a:pt x="7238" y="16805"/>
                  </a:cubicBezTo>
                  <a:cubicBezTo>
                    <a:pt x="7434" y="16361"/>
                    <a:pt x="7629" y="15917"/>
                    <a:pt x="7629" y="15917"/>
                  </a:cubicBezTo>
                  <a:cubicBezTo>
                    <a:pt x="7630" y="15913"/>
                    <a:pt x="7630" y="15913"/>
                    <a:pt x="7630" y="15913"/>
                  </a:cubicBezTo>
                  <a:cubicBezTo>
                    <a:pt x="7854" y="14548"/>
                    <a:pt x="7854" y="14548"/>
                    <a:pt x="7854" y="14548"/>
                  </a:cubicBezTo>
                  <a:cubicBezTo>
                    <a:pt x="7864" y="14555"/>
                    <a:pt x="7874" y="14562"/>
                    <a:pt x="7884" y="14570"/>
                  </a:cubicBezTo>
                  <a:cubicBezTo>
                    <a:pt x="7982" y="14638"/>
                    <a:pt x="8111" y="14729"/>
                    <a:pt x="8241" y="14819"/>
                  </a:cubicBezTo>
                  <a:cubicBezTo>
                    <a:pt x="8444" y="14961"/>
                    <a:pt x="8646" y="15101"/>
                    <a:pt x="8725" y="15156"/>
                  </a:cubicBezTo>
                  <a:cubicBezTo>
                    <a:pt x="8652" y="15192"/>
                    <a:pt x="8576" y="15266"/>
                    <a:pt x="8562" y="15399"/>
                  </a:cubicBezTo>
                  <a:close/>
                  <a:moveTo>
                    <a:pt x="8838" y="16417"/>
                  </a:moveTo>
                  <a:cubicBezTo>
                    <a:pt x="8734" y="16358"/>
                    <a:pt x="8643" y="16303"/>
                    <a:pt x="8607" y="16281"/>
                  </a:cubicBezTo>
                  <a:cubicBezTo>
                    <a:pt x="8608" y="16225"/>
                    <a:pt x="8612" y="16041"/>
                    <a:pt x="8616" y="15856"/>
                  </a:cubicBezTo>
                  <a:cubicBezTo>
                    <a:pt x="8665" y="15868"/>
                    <a:pt x="8765" y="15892"/>
                    <a:pt x="8863" y="15916"/>
                  </a:cubicBezTo>
                  <a:cubicBezTo>
                    <a:pt x="8999" y="15950"/>
                    <a:pt x="9133" y="15984"/>
                    <a:pt x="9134" y="15984"/>
                  </a:cubicBezTo>
                  <a:cubicBezTo>
                    <a:pt x="9136" y="15984"/>
                    <a:pt x="9136" y="15984"/>
                    <a:pt x="9136" y="15984"/>
                  </a:cubicBezTo>
                  <a:cubicBezTo>
                    <a:pt x="9138" y="15983"/>
                    <a:pt x="9138" y="15983"/>
                    <a:pt x="9138" y="15983"/>
                  </a:cubicBezTo>
                  <a:cubicBezTo>
                    <a:pt x="9135" y="16059"/>
                    <a:pt x="9105" y="16434"/>
                    <a:pt x="9099" y="16555"/>
                  </a:cubicBezTo>
                  <a:cubicBezTo>
                    <a:pt x="9023" y="16520"/>
                    <a:pt x="8926" y="16467"/>
                    <a:pt x="8838" y="16417"/>
                  </a:cubicBezTo>
                  <a:close/>
                  <a:moveTo>
                    <a:pt x="9195" y="16594"/>
                  </a:moveTo>
                  <a:cubicBezTo>
                    <a:pt x="9174" y="16589"/>
                    <a:pt x="9145" y="16577"/>
                    <a:pt x="9112" y="16562"/>
                  </a:cubicBezTo>
                  <a:cubicBezTo>
                    <a:pt x="9118" y="16445"/>
                    <a:pt x="9151" y="16035"/>
                    <a:pt x="9153" y="15976"/>
                  </a:cubicBezTo>
                  <a:cubicBezTo>
                    <a:pt x="9520" y="15800"/>
                    <a:pt x="9520" y="15800"/>
                    <a:pt x="9520" y="15800"/>
                  </a:cubicBezTo>
                  <a:cubicBezTo>
                    <a:pt x="9852" y="15905"/>
                    <a:pt x="9852" y="15905"/>
                    <a:pt x="9852" y="15905"/>
                  </a:cubicBezTo>
                  <a:cubicBezTo>
                    <a:pt x="9846" y="15935"/>
                    <a:pt x="9755" y="16375"/>
                    <a:pt x="9703" y="16611"/>
                  </a:cubicBezTo>
                  <a:cubicBezTo>
                    <a:pt x="9691" y="16668"/>
                    <a:pt x="9680" y="16714"/>
                    <a:pt x="9674" y="16737"/>
                  </a:cubicBezTo>
                  <a:cubicBezTo>
                    <a:pt x="9525" y="16677"/>
                    <a:pt x="9344" y="16638"/>
                    <a:pt x="9195" y="16594"/>
                  </a:cubicBezTo>
                  <a:close/>
                  <a:moveTo>
                    <a:pt x="9822" y="16901"/>
                  </a:moveTo>
                  <a:cubicBezTo>
                    <a:pt x="9826" y="16892"/>
                    <a:pt x="9826" y="16892"/>
                    <a:pt x="9826" y="16892"/>
                  </a:cubicBezTo>
                  <a:cubicBezTo>
                    <a:pt x="9826" y="16892"/>
                    <a:pt x="9826" y="16892"/>
                    <a:pt x="9826" y="16892"/>
                  </a:cubicBezTo>
                  <a:lnTo>
                    <a:pt x="9822" y="16901"/>
                  </a:lnTo>
                  <a:close/>
                  <a:moveTo>
                    <a:pt x="10162" y="17083"/>
                  </a:moveTo>
                  <a:cubicBezTo>
                    <a:pt x="10159" y="17076"/>
                    <a:pt x="10155" y="17069"/>
                    <a:pt x="10151" y="17063"/>
                  </a:cubicBezTo>
                  <a:cubicBezTo>
                    <a:pt x="10120" y="17023"/>
                    <a:pt x="10045" y="16963"/>
                    <a:pt x="9956" y="16900"/>
                  </a:cubicBezTo>
                  <a:cubicBezTo>
                    <a:pt x="9867" y="16837"/>
                    <a:pt x="9766" y="16775"/>
                    <a:pt x="9688" y="16743"/>
                  </a:cubicBezTo>
                  <a:cubicBezTo>
                    <a:pt x="9688" y="16742"/>
                    <a:pt x="9687" y="16742"/>
                    <a:pt x="9687" y="16742"/>
                  </a:cubicBezTo>
                  <a:cubicBezTo>
                    <a:pt x="9688" y="16737"/>
                    <a:pt x="9690" y="16730"/>
                    <a:pt x="9692" y="16722"/>
                  </a:cubicBezTo>
                  <a:cubicBezTo>
                    <a:pt x="9698" y="16699"/>
                    <a:pt x="9705" y="16665"/>
                    <a:pt x="9714" y="16625"/>
                  </a:cubicBezTo>
                  <a:cubicBezTo>
                    <a:pt x="9732" y="16545"/>
                    <a:pt x="9755" y="16438"/>
                    <a:pt x="9777" y="16332"/>
                  </a:cubicBezTo>
                  <a:cubicBezTo>
                    <a:pt x="9819" y="16134"/>
                    <a:pt x="9860" y="15936"/>
                    <a:pt x="9865" y="15909"/>
                  </a:cubicBezTo>
                  <a:cubicBezTo>
                    <a:pt x="10130" y="15993"/>
                    <a:pt x="10130" y="15993"/>
                    <a:pt x="10130" y="15993"/>
                  </a:cubicBezTo>
                  <a:cubicBezTo>
                    <a:pt x="10481" y="16369"/>
                    <a:pt x="10481" y="16369"/>
                    <a:pt x="10481" y="16369"/>
                  </a:cubicBezTo>
                  <a:cubicBezTo>
                    <a:pt x="10267" y="16653"/>
                    <a:pt x="10267" y="16653"/>
                    <a:pt x="10267" y="16653"/>
                  </a:cubicBezTo>
                  <a:cubicBezTo>
                    <a:pt x="10415" y="16882"/>
                    <a:pt x="10415" y="16882"/>
                    <a:pt x="10415" y="16882"/>
                  </a:cubicBezTo>
                  <a:cubicBezTo>
                    <a:pt x="10417" y="16884"/>
                    <a:pt x="10417" y="16884"/>
                    <a:pt x="10417" y="16884"/>
                  </a:cubicBezTo>
                  <a:cubicBezTo>
                    <a:pt x="10297" y="16977"/>
                    <a:pt x="10203" y="17051"/>
                    <a:pt x="10162" y="17083"/>
                  </a:cubicBezTo>
                  <a:close/>
                  <a:moveTo>
                    <a:pt x="10428" y="16875"/>
                  </a:moveTo>
                  <a:cubicBezTo>
                    <a:pt x="10426" y="16873"/>
                    <a:pt x="10426" y="16873"/>
                    <a:pt x="10426" y="16873"/>
                  </a:cubicBezTo>
                  <a:cubicBezTo>
                    <a:pt x="10284" y="16654"/>
                    <a:pt x="10284" y="16654"/>
                    <a:pt x="10284" y="16654"/>
                  </a:cubicBezTo>
                  <a:cubicBezTo>
                    <a:pt x="10493" y="16377"/>
                    <a:pt x="10493" y="16377"/>
                    <a:pt x="10493" y="16377"/>
                  </a:cubicBezTo>
                  <a:cubicBezTo>
                    <a:pt x="10863" y="16535"/>
                    <a:pt x="10863" y="16535"/>
                    <a:pt x="10863" y="16535"/>
                  </a:cubicBezTo>
                  <a:cubicBezTo>
                    <a:pt x="10824" y="16565"/>
                    <a:pt x="10785" y="16595"/>
                    <a:pt x="10746" y="16626"/>
                  </a:cubicBezTo>
                  <a:cubicBezTo>
                    <a:pt x="10635" y="16713"/>
                    <a:pt x="10524" y="16800"/>
                    <a:pt x="10428" y="16875"/>
                  </a:cubicBezTo>
                  <a:close/>
                  <a:moveTo>
                    <a:pt x="11530" y="17045"/>
                  </a:moveTo>
                  <a:cubicBezTo>
                    <a:pt x="11488" y="17045"/>
                    <a:pt x="11488" y="17045"/>
                    <a:pt x="11488" y="17045"/>
                  </a:cubicBezTo>
                  <a:cubicBezTo>
                    <a:pt x="11489" y="17061"/>
                    <a:pt x="11489" y="17078"/>
                    <a:pt x="11490" y="17095"/>
                  </a:cubicBezTo>
                  <a:cubicBezTo>
                    <a:pt x="10844" y="17242"/>
                    <a:pt x="10844" y="17242"/>
                    <a:pt x="10844" y="17242"/>
                  </a:cubicBezTo>
                  <a:cubicBezTo>
                    <a:pt x="10462" y="16905"/>
                    <a:pt x="10462" y="16905"/>
                    <a:pt x="10462" y="16905"/>
                  </a:cubicBezTo>
                  <a:cubicBezTo>
                    <a:pt x="10551" y="16836"/>
                    <a:pt x="10651" y="16757"/>
                    <a:pt x="10753" y="16678"/>
                  </a:cubicBezTo>
                  <a:cubicBezTo>
                    <a:pt x="10804" y="16638"/>
                    <a:pt x="10856" y="16597"/>
                    <a:pt x="10907" y="16558"/>
                  </a:cubicBezTo>
                  <a:cubicBezTo>
                    <a:pt x="11529" y="16976"/>
                    <a:pt x="11529" y="16976"/>
                    <a:pt x="11529" y="16976"/>
                  </a:cubicBezTo>
                  <a:cubicBezTo>
                    <a:pt x="11529" y="16984"/>
                    <a:pt x="11530" y="17003"/>
                    <a:pt x="11530" y="17022"/>
                  </a:cubicBezTo>
                  <a:cubicBezTo>
                    <a:pt x="11530" y="17030"/>
                    <a:pt x="11530" y="17038"/>
                    <a:pt x="11530" y="17045"/>
                  </a:cubicBezTo>
                  <a:close/>
                  <a:moveTo>
                    <a:pt x="10918" y="16549"/>
                  </a:moveTo>
                  <a:cubicBezTo>
                    <a:pt x="11121" y="16391"/>
                    <a:pt x="11302" y="16250"/>
                    <a:pt x="11366" y="16202"/>
                  </a:cubicBezTo>
                  <a:cubicBezTo>
                    <a:pt x="11576" y="16369"/>
                    <a:pt x="11667" y="16531"/>
                    <a:pt x="11686" y="16570"/>
                  </a:cubicBezTo>
                  <a:cubicBezTo>
                    <a:pt x="11689" y="16576"/>
                    <a:pt x="11690" y="16578"/>
                    <a:pt x="11690" y="16578"/>
                  </a:cubicBezTo>
                  <a:cubicBezTo>
                    <a:pt x="11810" y="16858"/>
                    <a:pt x="11810" y="16858"/>
                    <a:pt x="11810" y="16858"/>
                  </a:cubicBezTo>
                  <a:cubicBezTo>
                    <a:pt x="11803" y="16861"/>
                    <a:pt x="11796" y="16864"/>
                    <a:pt x="11787" y="16867"/>
                  </a:cubicBezTo>
                  <a:cubicBezTo>
                    <a:pt x="11758" y="16879"/>
                    <a:pt x="11720" y="16894"/>
                    <a:pt x="11683" y="16908"/>
                  </a:cubicBezTo>
                  <a:cubicBezTo>
                    <a:pt x="11617" y="16934"/>
                    <a:pt x="11552" y="16959"/>
                    <a:pt x="11537" y="16965"/>
                  </a:cubicBezTo>
                  <a:lnTo>
                    <a:pt x="10918" y="16549"/>
                  </a:lnTo>
                  <a:close/>
                  <a:moveTo>
                    <a:pt x="12099" y="17532"/>
                  </a:moveTo>
                  <a:cubicBezTo>
                    <a:pt x="11787" y="17980"/>
                    <a:pt x="11787" y="17980"/>
                    <a:pt x="11787" y="17980"/>
                  </a:cubicBezTo>
                  <a:cubicBezTo>
                    <a:pt x="11761" y="17947"/>
                    <a:pt x="11724" y="17893"/>
                    <a:pt x="11680" y="17806"/>
                  </a:cubicBezTo>
                  <a:cubicBezTo>
                    <a:pt x="11636" y="17723"/>
                    <a:pt x="11603" y="17563"/>
                    <a:pt x="11584" y="17413"/>
                  </a:cubicBezTo>
                  <a:cubicBezTo>
                    <a:pt x="11565" y="17271"/>
                    <a:pt x="11556" y="17136"/>
                    <a:pt x="11554" y="17045"/>
                  </a:cubicBezTo>
                  <a:cubicBezTo>
                    <a:pt x="11544" y="17045"/>
                    <a:pt x="11544" y="17045"/>
                    <a:pt x="11544" y="17045"/>
                  </a:cubicBezTo>
                  <a:cubicBezTo>
                    <a:pt x="11544" y="17038"/>
                    <a:pt x="11544" y="17030"/>
                    <a:pt x="11544" y="17022"/>
                  </a:cubicBezTo>
                  <a:cubicBezTo>
                    <a:pt x="11544" y="17004"/>
                    <a:pt x="11543" y="16986"/>
                    <a:pt x="11543" y="16977"/>
                  </a:cubicBezTo>
                  <a:cubicBezTo>
                    <a:pt x="11571" y="16967"/>
                    <a:pt x="11714" y="16911"/>
                    <a:pt x="11792" y="16880"/>
                  </a:cubicBezTo>
                  <a:cubicBezTo>
                    <a:pt x="11801" y="16877"/>
                    <a:pt x="11809" y="16874"/>
                    <a:pt x="11816" y="16871"/>
                  </a:cubicBezTo>
                  <a:lnTo>
                    <a:pt x="12099" y="17532"/>
                  </a:lnTo>
                  <a:close/>
                  <a:moveTo>
                    <a:pt x="13616" y="15820"/>
                  </a:moveTo>
                  <a:cubicBezTo>
                    <a:pt x="13616" y="15940"/>
                    <a:pt x="13626" y="16007"/>
                    <a:pt x="13631" y="16033"/>
                  </a:cubicBezTo>
                  <a:cubicBezTo>
                    <a:pt x="12624" y="16067"/>
                    <a:pt x="12624" y="16067"/>
                    <a:pt x="12624" y="16067"/>
                  </a:cubicBezTo>
                  <a:cubicBezTo>
                    <a:pt x="12621" y="16067"/>
                    <a:pt x="12621" y="16067"/>
                    <a:pt x="12621" y="16067"/>
                  </a:cubicBezTo>
                  <a:cubicBezTo>
                    <a:pt x="12619" y="16068"/>
                    <a:pt x="12580" y="16076"/>
                    <a:pt x="12539" y="16104"/>
                  </a:cubicBezTo>
                  <a:cubicBezTo>
                    <a:pt x="12498" y="16132"/>
                    <a:pt x="12454" y="16184"/>
                    <a:pt x="12455" y="16264"/>
                  </a:cubicBezTo>
                  <a:cubicBezTo>
                    <a:pt x="12455" y="16267"/>
                    <a:pt x="12455" y="16269"/>
                    <a:pt x="12455" y="16271"/>
                  </a:cubicBezTo>
                  <a:cubicBezTo>
                    <a:pt x="12455" y="16280"/>
                    <a:pt x="12455" y="16289"/>
                    <a:pt x="12455" y="16297"/>
                  </a:cubicBezTo>
                  <a:cubicBezTo>
                    <a:pt x="12455" y="16353"/>
                    <a:pt x="12448" y="16375"/>
                    <a:pt x="12434" y="16391"/>
                  </a:cubicBezTo>
                  <a:cubicBezTo>
                    <a:pt x="12419" y="16409"/>
                    <a:pt x="12386" y="16427"/>
                    <a:pt x="12328" y="16456"/>
                  </a:cubicBezTo>
                  <a:cubicBezTo>
                    <a:pt x="12270" y="16485"/>
                    <a:pt x="12134" y="16540"/>
                    <a:pt x="12015" y="16587"/>
                  </a:cubicBezTo>
                  <a:cubicBezTo>
                    <a:pt x="11916" y="16626"/>
                    <a:pt x="11828" y="16660"/>
                    <a:pt x="11801" y="16670"/>
                  </a:cubicBezTo>
                  <a:cubicBezTo>
                    <a:pt x="11750" y="16551"/>
                    <a:pt x="11750" y="16551"/>
                    <a:pt x="11750" y="16551"/>
                  </a:cubicBezTo>
                  <a:cubicBezTo>
                    <a:pt x="11749" y="16548"/>
                    <a:pt x="11666" y="16365"/>
                    <a:pt x="11431" y="16170"/>
                  </a:cubicBezTo>
                  <a:cubicBezTo>
                    <a:pt x="11841" y="15383"/>
                    <a:pt x="11841" y="15383"/>
                    <a:pt x="11841" y="15383"/>
                  </a:cubicBezTo>
                  <a:cubicBezTo>
                    <a:pt x="11846" y="15375"/>
                    <a:pt x="11889" y="15297"/>
                    <a:pt x="11889" y="15195"/>
                  </a:cubicBezTo>
                  <a:cubicBezTo>
                    <a:pt x="11891" y="15088"/>
                    <a:pt x="11837" y="14956"/>
                    <a:pt x="11656" y="14868"/>
                  </a:cubicBezTo>
                  <a:cubicBezTo>
                    <a:pt x="11635" y="14496"/>
                    <a:pt x="11635" y="14496"/>
                    <a:pt x="11635" y="14496"/>
                  </a:cubicBezTo>
                  <a:cubicBezTo>
                    <a:pt x="11635" y="14493"/>
                    <a:pt x="11636" y="14487"/>
                    <a:pt x="11637" y="14477"/>
                  </a:cubicBezTo>
                  <a:cubicBezTo>
                    <a:pt x="11639" y="14464"/>
                    <a:pt x="11642" y="14445"/>
                    <a:pt x="11647" y="14425"/>
                  </a:cubicBezTo>
                  <a:cubicBezTo>
                    <a:pt x="11657" y="14385"/>
                    <a:pt x="11677" y="14338"/>
                    <a:pt x="11707" y="14310"/>
                  </a:cubicBezTo>
                  <a:cubicBezTo>
                    <a:pt x="11728" y="14292"/>
                    <a:pt x="11752" y="14281"/>
                    <a:pt x="11787" y="14280"/>
                  </a:cubicBezTo>
                  <a:cubicBezTo>
                    <a:pt x="11795" y="14280"/>
                    <a:pt x="11803" y="14281"/>
                    <a:pt x="11812" y="14282"/>
                  </a:cubicBezTo>
                  <a:cubicBezTo>
                    <a:pt x="11912" y="14298"/>
                    <a:pt x="12112" y="14333"/>
                    <a:pt x="12286" y="14364"/>
                  </a:cubicBezTo>
                  <a:cubicBezTo>
                    <a:pt x="12460" y="14395"/>
                    <a:pt x="12608" y="14422"/>
                    <a:pt x="12609" y="14422"/>
                  </a:cubicBezTo>
                  <a:cubicBezTo>
                    <a:pt x="12657" y="14431"/>
                    <a:pt x="12657" y="14431"/>
                    <a:pt x="12657" y="14431"/>
                  </a:cubicBezTo>
                  <a:cubicBezTo>
                    <a:pt x="12601" y="14177"/>
                    <a:pt x="12601" y="14177"/>
                    <a:pt x="12601" y="14177"/>
                  </a:cubicBezTo>
                  <a:cubicBezTo>
                    <a:pt x="12785" y="13896"/>
                    <a:pt x="12785" y="13896"/>
                    <a:pt x="12785" y="13896"/>
                  </a:cubicBezTo>
                  <a:cubicBezTo>
                    <a:pt x="12855" y="13693"/>
                    <a:pt x="12855" y="13693"/>
                    <a:pt x="12855" y="13693"/>
                  </a:cubicBezTo>
                  <a:cubicBezTo>
                    <a:pt x="12858" y="13687"/>
                    <a:pt x="12862" y="13676"/>
                    <a:pt x="12862" y="13661"/>
                  </a:cubicBezTo>
                  <a:cubicBezTo>
                    <a:pt x="12863" y="13625"/>
                    <a:pt x="12836" y="13577"/>
                    <a:pt x="12759" y="13545"/>
                  </a:cubicBezTo>
                  <a:cubicBezTo>
                    <a:pt x="12710" y="13523"/>
                    <a:pt x="12528" y="13415"/>
                    <a:pt x="12363" y="13314"/>
                  </a:cubicBezTo>
                  <a:cubicBezTo>
                    <a:pt x="12210" y="13221"/>
                    <a:pt x="12069" y="13133"/>
                    <a:pt x="12048" y="13119"/>
                  </a:cubicBezTo>
                  <a:cubicBezTo>
                    <a:pt x="12036" y="13108"/>
                    <a:pt x="11979" y="13054"/>
                    <a:pt x="11913" y="12989"/>
                  </a:cubicBezTo>
                  <a:cubicBezTo>
                    <a:pt x="11851" y="12928"/>
                    <a:pt x="11781" y="12857"/>
                    <a:pt x="11731" y="12802"/>
                  </a:cubicBezTo>
                  <a:cubicBezTo>
                    <a:pt x="14181" y="12117"/>
                    <a:pt x="14181" y="12117"/>
                    <a:pt x="14181" y="12117"/>
                  </a:cubicBezTo>
                  <a:cubicBezTo>
                    <a:pt x="14120" y="12485"/>
                    <a:pt x="13755" y="14693"/>
                    <a:pt x="13671" y="15225"/>
                  </a:cubicBezTo>
                  <a:cubicBezTo>
                    <a:pt x="13627" y="15497"/>
                    <a:pt x="13616" y="15690"/>
                    <a:pt x="13616" y="15820"/>
                  </a:cubicBezTo>
                  <a:close/>
                  <a:moveTo>
                    <a:pt x="13707" y="16103"/>
                  </a:moveTo>
                  <a:cubicBezTo>
                    <a:pt x="13707" y="16103"/>
                    <a:pt x="13707" y="16103"/>
                    <a:pt x="13706" y="16103"/>
                  </a:cubicBezTo>
                  <a:cubicBezTo>
                    <a:pt x="13703" y="16103"/>
                    <a:pt x="13694" y="16103"/>
                    <a:pt x="13680" y="16098"/>
                  </a:cubicBezTo>
                  <a:cubicBezTo>
                    <a:pt x="13680" y="16098"/>
                    <a:pt x="13679" y="16098"/>
                    <a:pt x="13679" y="16097"/>
                  </a:cubicBezTo>
                  <a:cubicBezTo>
                    <a:pt x="13685" y="16097"/>
                    <a:pt x="13685" y="16097"/>
                    <a:pt x="13685" y="16097"/>
                  </a:cubicBezTo>
                  <a:cubicBezTo>
                    <a:pt x="13683" y="16044"/>
                    <a:pt x="13683" y="16044"/>
                    <a:pt x="13683" y="16044"/>
                  </a:cubicBezTo>
                  <a:cubicBezTo>
                    <a:pt x="13707" y="16043"/>
                    <a:pt x="13707" y="16043"/>
                    <a:pt x="13707" y="16043"/>
                  </a:cubicBezTo>
                  <a:lnTo>
                    <a:pt x="13707" y="16103"/>
                  </a:lnTo>
                  <a:close/>
                  <a:moveTo>
                    <a:pt x="13718" y="16042"/>
                  </a:moveTo>
                  <a:cubicBezTo>
                    <a:pt x="13718" y="16042"/>
                    <a:pt x="13718" y="16042"/>
                    <a:pt x="13718" y="16042"/>
                  </a:cubicBezTo>
                  <a:cubicBezTo>
                    <a:pt x="13750" y="16090"/>
                    <a:pt x="13750" y="16090"/>
                    <a:pt x="13750" y="16090"/>
                  </a:cubicBezTo>
                  <a:lnTo>
                    <a:pt x="13718" y="16042"/>
                  </a:lnTo>
                  <a:close/>
                  <a:moveTo>
                    <a:pt x="15453" y="13276"/>
                  </a:moveTo>
                  <a:cubicBezTo>
                    <a:pt x="15456" y="13274"/>
                    <a:pt x="15459" y="13272"/>
                    <a:pt x="15461" y="13270"/>
                  </a:cubicBezTo>
                  <a:cubicBezTo>
                    <a:pt x="15466" y="13264"/>
                    <a:pt x="15469" y="13258"/>
                    <a:pt x="15472" y="13251"/>
                  </a:cubicBezTo>
                  <a:cubicBezTo>
                    <a:pt x="15473" y="13247"/>
                    <a:pt x="15475" y="13244"/>
                    <a:pt x="15476" y="13240"/>
                  </a:cubicBezTo>
                  <a:cubicBezTo>
                    <a:pt x="15671" y="13288"/>
                    <a:pt x="16111" y="13429"/>
                    <a:pt x="16463" y="13776"/>
                  </a:cubicBezTo>
                  <a:cubicBezTo>
                    <a:pt x="16972" y="14277"/>
                    <a:pt x="17143" y="14912"/>
                    <a:pt x="17176" y="15061"/>
                  </a:cubicBezTo>
                  <a:cubicBezTo>
                    <a:pt x="17181" y="15082"/>
                    <a:pt x="17183" y="15093"/>
                    <a:pt x="17183" y="15093"/>
                  </a:cubicBezTo>
                  <a:cubicBezTo>
                    <a:pt x="17184" y="15095"/>
                    <a:pt x="17184" y="15095"/>
                    <a:pt x="17184" y="15095"/>
                  </a:cubicBezTo>
                  <a:cubicBezTo>
                    <a:pt x="17184" y="15097"/>
                    <a:pt x="17184" y="15097"/>
                    <a:pt x="17184" y="15097"/>
                  </a:cubicBezTo>
                  <a:cubicBezTo>
                    <a:pt x="17235" y="15256"/>
                    <a:pt x="17254" y="15406"/>
                    <a:pt x="17254" y="15543"/>
                  </a:cubicBezTo>
                  <a:cubicBezTo>
                    <a:pt x="17254" y="15925"/>
                    <a:pt x="17104" y="16204"/>
                    <a:pt x="17068" y="16265"/>
                  </a:cubicBezTo>
                  <a:cubicBezTo>
                    <a:pt x="17067" y="16267"/>
                    <a:pt x="17067" y="16268"/>
                    <a:pt x="17066" y="16269"/>
                  </a:cubicBezTo>
                  <a:cubicBezTo>
                    <a:pt x="16896" y="16224"/>
                    <a:pt x="16760" y="16221"/>
                    <a:pt x="16708" y="16221"/>
                  </a:cubicBezTo>
                  <a:cubicBezTo>
                    <a:pt x="16700" y="16221"/>
                    <a:pt x="16694" y="16221"/>
                    <a:pt x="16690" y="16221"/>
                  </a:cubicBezTo>
                  <a:cubicBezTo>
                    <a:pt x="16690" y="16221"/>
                    <a:pt x="16689" y="16221"/>
                    <a:pt x="16689" y="16221"/>
                  </a:cubicBezTo>
                  <a:cubicBezTo>
                    <a:pt x="16688" y="16221"/>
                    <a:pt x="16687" y="16221"/>
                    <a:pt x="16687" y="16221"/>
                  </a:cubicBezTo>
                  <a:cubicBezTo>
                    <a:pt x="16686" y="16221"/>
                    <a:pt x="16685" y="16221"/>
                    <a:pt x="16684" y="16221"/>
                  </a:cubicBezTo>
                  <a:cubicBezTo>
                    <a:pt x="16677" y="16221"/>
                    <a:pt x="16677" y="16221"/>
                    <a:pt x="16677" y="16221"/>
                  </a:cubicBezTo>
                  <a:cubicBezTo>
                    <a:pt x="16559" y="16221"/>
                    <a:pt x="15369" y="16239"/>
                    <a:pt x="14552" y="16251"/>
                  </a:cubicBezTo>
                  <a:cubicBezTo>
                    <a:pt x="14550" y="16242"/>
                    <a:pt x="14549" y="16230"/>
                    <a:pt x="14547" y="16215"/>
                  </a:cubicBezTo>
                  <a:cubicBezTo>
                    <a:pt x="14544" y="16181"/>
                    <a:pt x="14540" y="16134"/>
                    <a:pt x="14540" y="16079"/>
                  </a:cubicBezTo>
                  <a:cubicBezTo>
                    <a:pt x="14540" y="15957"/>
                    <a:pt x="14558" y="15800"/>
                    <a:pt x="14626" y="15678"/>
                  </a:cubicBezTo>
                  <a:cubicBezTo>
                    <a:pt x="14766" y="15424"/>
                    <a:pt x="14796" y="15191"/>
                    <a:pt x="14796" y="15189"/>
                  </a:cubicBezTo>
                  <a:cubicBezTo>
                    <a:pt x="14796" y="15188"/>
                    <a:pt x="14796" y="15188"/>
                    <a:pt x="14796" y="15188"/>
                  </a:cubicBezTo>
                  <a:cubicBezTo>
                    <a:pt x="14796" y="15187"/>
                    <a:pt x="14796" y="15187"/>
                    <a:pt x="14796" y="15187"/>
                  </a:cubicBezTo>
                  <a:cubicBezTo>
                    <a:pt x="14796" y="15187"/>
                    <a:pt x="14804" y="15067"/>
                    <a:pt x="14818" y="14903"/>
                  </a:cubicBezTo>
                  <a:cubicBezTo>
                    <a:pt x="14832" y="14739"/>
                    <a:pt x="14852" y="14531"/>
                    <a:pt x="14875" y="14355"/>
                  </a:cubicBezTo>
                  <a:cubicBezTo>
                    <a:pt x="14917" y="14028"/>
                    <a:pt x="14993" y="13933"/>
                    <a:pt x="14997" y="13929"/>
                  </a:cubicBezTo>
                  <a:cubicBezTo>
                    <a:pt x="14997" y="13929"/>
                    <a:pt x="14997" y="13929"/>
                    <a:pt x="14997" y="13929"/>
                  </a:cubicBezTo>
                  <a:cubicBezTo>
                    <a:pt x="15000" y="13926"/>
                    <a:pt x="15000" y="13926"/>
                    <a:pt x="15000" y="13926"/>
                  </a:cubicBezTo>
                  <a:cubicBezTo>
                    <a:pt x="15002" y="13922"/>
                    <a:pt x="15002" y="13922"/>
                    <a:pt x="15002" y="13922"/>
                  </a:cubicBezTo>
                  <a:cubicBezTo>
                    <a:pt x="15057" y="13818"/>
                    <a:pt x="15225" y="13595"/>
                    <a:pt x="15332" y="13456"/>
                  </a:cubicBezTo>
                  <a:cubicBezTo>
                    <a:pt x="15403" y="13364"/>
                    <a:pt x="15440" y="13301"/>
                    <a:pt x="15453" y="13276"/>
                  </a:cubicBezTo>
                  <a:close/>
                  <a:moveTo>
                    <a:pt x="15385" y="13219"/>
                  </a:moveTo>
                  <a:cubicBezTo>
                    <a:pt x="15390" y="13220"/>
                    <a:pt x="15397" y="13222"/>
                    <a:pt x="15407" y="13224"/>
                  </a:cubicBezTo>
                  <a:cubicBezTo>
                    <a:pt x="15401" y="13235"/>
                    <a:pt x="15401" y="13235"/>
                    <a:pt x="15401" y="13235"/>
                  </a:cubicBezTo>
                  <a:cubicBezTo>
                    <a:pt x="15401" y="13235"/>
                    <a:pt x="15399" y="13238"/>
                    <a:pt x="15395" y="13246"/>
                  </a:cubicBezTo>
                  <a:cubicBezTo>
                    <a:pt x="15391" y="13254"/>
                    <a:pt x="15384" y="13265"/>
                    <a:pt x="15374" y="13281"/>
                  </a:cubicBezTo>
                  <a:cubicBezTo>
                    <a:pt x="15355" y="13312"/>
                    <a:pt x="15325" y="13358"/>
                    <a:pt x="15280" y="13416"/>
                  </a:cubicBezTo>
                  <a:cubicBezTo>
                    <a:pt x="15173" y="13556"/>
                    <a:pt x="15008" y="13773"/>
                    <a:pt x="14945" y="13888"/>
                  </a:cubicBezTo>
                  <a:cubicBezTo>
                    <a:pt x="14928" y="13910"/>
                    <a:pt x="14852" y="14020"/>
                    <a:pt x="14810" y="14347"/>
                  </a:cubicBezTo>
                  <a:cubicBezTo>
                    <a:pt x="14765" y="14690"/>
                    <a:pt x="14733" y="15152"/>
                    <a:pt x="14731" y="15181"/>
                  </a:cubicBezTo>
                  <a:cubicBezTo>
                    <a:pt x="14731" y="15184"/>
                    <a:pt x="14729" y="15196"/>
                    <a:pt x="14725" y="15218"/>
                  </a:cubicBezTo>
                  <a:cubicBezTo>
                    <a:pt x="14720" y="15243"/>
                    <a:pt x="14712" y="15278"/>
                    <a:pt x="14700" y="15321"/>
                  </a:cubicBezTo>
                  <a:cubicBezTo>
                    <a:pt x="14676" y="15408"/>
                    <a:pt x="14635" y="15525"/>
                    <a:pt x="14568" y="15646"/>
                  </a:cubicBezTo>
                  <a:cubicBezTo>
                    <a:pt x="14492" y="15785"/>
                    <a:pt x="14475" y="15951"/>
                    <a:pt x="14475" y="16079"/>
                  </a:cubicBezTo>
                  <a:cubicBezTo>
                    <a:pt x="14475" y="16156"/>
                    <a:pt x="14481" y="16219"/>
                    <a:pt x="14486" y="16252"/>
                  </a:cubicBezTo>
                  <a:cubicBezTo>
                    <a:pt x="14141" y="16258"/>
                    <a:pt x="13875" y="16262"/>
                    <a:pt x="13802" y="16263"/>
                  </a:cubicBezTo>
                  <a:cubicBezTo>
                    <a:pt x="13794" y="16173"/>
                    <a:pt x="13788" y="16104"/>
                    <a:pt x="13785" y="16063"/>
                  </a:cubicBezTo>
                  <a:cubicBezTo>
                    <a:pt x="13784" y="16049"/>
                    <a:pt x="13784" y="16037"/>
                    <a:pt x="13783" y="16032"/>
                  </a:cubicBezTo>
                  <a:cubicBezTo>
                    <a:pt x="13784" y="16029"/>
                    <a:pt x="13784" y="16024"/>
                    <a:pt x="13783" y="16018"/>
                  </a:cubicBezTo>
                  <a:cubicBezTo>
                    <a:pt x="13783" y="16015"/>
                    <a:pt x="13782" y="16012"/>
                    <a:pt x="13781" y="16008"/>
                  </a:cubicBezTo>
                  <a:cubicBezTo>
                    <a:pt x="13781" y="16008"/>
                    <a:pt x="13781" y="16008"/>
                    <a:pt x="13781" y="16008"/>
                  </a:cubicBezTo>
                  <a:cubicBezTo>
                    <a:pt x="13781" y="16007"/>
                    <a:pt x="13780" y="16005"/>
                    <a:pt x="13780" y="16001"/>
                  </a:cubicBezTo>
                  <a:cubicBezTo>
                    <a:pt x="13779" y="15995"/>
                    <a:pt x="13777" y="15985"/>
                    <a:pt x="13775" y="15970"/>
                  </a:cubicBezTo>
                  <a:cubicBezTo>
                    <a:pt x="13772" y="15939"/>
                    <a:pt x="13768" y="15891"/>
                    <a:pt x="13768" y="15820"/>
                  </a:cubicBezTo>
                  <a:cubicBezTo>
                    <a:pt x="13768" y="15699"/>
                    <a:pt x="13779" y="15514"/>
                    <a:pt x="13821" y="15249"/>
                  </a:cubicBezTo>
                  <a:cubicBezTo>
                    <a:pt x="13877" y="14894"/>
                    <a:pt x="14060" y="13789"/>
                    <a:pt x="14192" y="12985"/>
                  </a:cubicBezTo>
                  <a:lnTo>
                    <a:pt x="15385" y="13219"/>
                  </a:lnTo>
                  <a:close/>
                  <a:moveTo>
                    <a:pt x="13843" y="9995"/>
                  </a:moveTo>
                  <a:cubicBezTo>
                    <a:pt x="13888" y="10006"/>
                    <a:pt x="13935" y="10015"/>
                    <a:pt x="13984" y="10027"/>
                  </a:cubicBezTo>
                  <a:cubicBezTo>
                    <a:pt x="14063" y="10047"/>
                    <a:pt x="14142" y="10073"/>
                    <a:pt x="14206" y="10114"/>
                  </a:cubicBezTo>
                  <a:cubicBezTo>
                    <a:pt x="14326" y="10188"/>
                    <a:pt x="14402" y="10327"/>
                    <a:pt x="14408" y="10340"/>
                  </a:cubicBezTo>
                  <a:cubicBezTo>
                    <a:pt x="14408" y="10341"/>
                    <a:pt x="14408" y="10341"/>
                    <a:pt x="14408" y="10341"/>
                  </a:cubicBezTo>
                  <a:cubicBezTo>
                    <a:pt x="14412" y="10349"/>
                    <a:pt x="14412" y="10349"/>
                    <a:pt x="14412" y="10349"/>
                  </a:cubicBezTo>
                  <a:cubicBezTo>
                    <a:pt x="14418" y="10356"/>
                    <a:pt x="14418" y="10356"/>
                    <a:pt x="14418" y="10356"/>
                  </a:cubicBezTo>
                  <a:cubicBezTo>
                    <a:pt x="14419" y="10356"/>
                    <a:pt x="14730" y="10734"/>
                    <a:pt x="14857" y="10873"/>
                  </a:cubicBezTo>
                  <a:cubicBezTo>
                    <a:pt x="14875" y="10893"/>
                    <a:pt x="14889" y="10908"/>
                    <a:pt x="14902" y="10920"/>
                  </a:cubicBezTo>
                  <a:cubicBezTo>
                    <a:pt x="14936" y="10951"/>
                    <a:pt x="14964" y="10972"/>
                    <a:pt x="14983" y="10986"/>
                  </a:cubicBezTo>
                  <a:cubicBezTo>
                    <a:pt x="14700" y="11374"/>
                    <a:pt x="14700" y="11374"/>
                    <a:pt x="14700" y="11374"/>
                  </a:cubicBezTo>
                  <a:cubicBezTo>
                    <a:pt x="14697" y="11385"/>
                    <a:pt x="14697" y="11385"/>
                    <a:pt x="14697" y="11385"/>
                  </a:cubicBezTo>
                  <a:cubicBezTo>
                    <a:pt x="14697" y="11385"/>
                    <a:pt x="14696" y="11387"/>
                    <a:pt x="14694" y="11393"/>
                  </a:cubicBezTo>
                  <a:cubicBezTo>
                    <a:pt x="14692" y="11398"/>
                    <a:pt x="14689" y="11406"/>
                    <a:pt x="14685" y="11416"/>
                  </a:cubicBezTo>
                  <a:cubicBezTo>
                    <a:pt x="14677" y="11437"/>
                    <a:pt x="14665" y="11466"/>
                    <a:pt x="14649" y="11501"/>
                  </a:cubicBezTo>
                  <a:cubicBezTo>
                    <a:pt x="14617" y="11569"/>
                    <a:pt x="14571" y="11658"/>
                    <a:pt x="14514" y="11737"/>
                  </a:cubicBezTo>
                  <a:cubicBezTo>
                    <a:pt x="14416" y="11872"/>
                    <a:pt x="14264" y="11985"/>
                    <a:pt x="14229" y="12008"/>
                  </a:cubicBezTo>
                  <a:cubicBezTo>
                    <a:pt x="14224" y="12012"/>
                    <a:pt x="14222" y="12013"/>
                    <a:pt x="14222" y="12013"/>
                  </a:cubicBezTo>
                  <a:cubicBezTo>
                    <a:pt x="14195" y="12032"/>
                    <a:pt x="14195" y="12032"/>
                    <a:pt x="14195" y="12032"/>
                  </a:cubicBezTo>
                  <a:cubicBezTo>
                    <a:pt x="14193" y="12045"/>
                    <a:pt x="14193" y="12045"/>
                    <a:pt x="14193" y="12045"/>
                  </a:cubicBezTo>
                  <a:cubicBezTo>
                    <a:pt x="10984" y="12942"/>
                    <a:pt x="10984" y="12942"/>
                    <a:pt x="10984" y="12942"/>
                  </a:cubicBezTo>
                  <a:cubicBezTo>
                    <a:pt x="9677" y="13371"/>
                    <a:pt x="9677" y="13371"/>
                    <a:pt x="9677" y="13371"/>
                  </a:cubicBezTo>
                  <a:cubicBezTo>
                    <a:pt x="8788" y="13673"/>
                    <a:pt x="8788" y="13673"/>
                    <a:pt x="8788" y="13673"/>
                  </a:cubicBezTo>
                  <a:cubicBezTo>
                    <a:pt x="8788" y="13673"/>
                    <a:pt x="8788" y="13673"/>
                    <a:pt x="8788" y="13673"/>
                  </a:cubicBezTo>
                  <a:cubicBezTo>
                    <a:pt x="8789" y="13677"/>
                    <a:pt x="8789" y="13677"/>
                    <a:pt x="8789" y="13677"/>
                  </a:cubicBezTo>
                  <a:cubicBezTo>
                    <a:pt x="8781" y="13676"/>
                    <a:pt x="8775" y="13676"/>
                    <a:pt x="8770" y="13676"/>
                  </a:cubicBezTo>
                  <a:cubicBezTo>
                    <a:pt x="9407" y="12294"/>
                    <a:pt x="9407" y="12294"/>
                    <a:pt x="9407" y="12294"/>
                  </a:cubicBezTo>
                  <a:cubicBezTo>
                    <a:pt x="9457" y="12189"/>
                    <a:pt x="9457" y="12189"/>
                    <a:pt x="9457" y="12189"/>
                  </a:cubicBezTo>
                  <a:cubicBezTo>
                    <a:pt x="9470" y="12196"/>
                    <a:pt x="9487" y="12205"/>
                    <a:pt x="9508" y="12214"/>
                  </a:cubicBezTo>
                  <a:cubicBezTo>
                    <a:pt x="9502" y="12228"/>
                    <a:pt x="9494" y="12246"/>
                    <a:pt x="9485" y="12268"/>
                  </a:cubicBezTo>
                  <a:cubicBezTo>
                    <a:pt x="9481" y="12269"/>
                    <a:pt x="9481" y="12269"/>
                    <a:pt x="9481" y="12269"/>
                  </a:cubicBezTo>
                  <a:cubicBezTo>
                    <a:pt x="9482" y="12273"/>
                    <a:pt x="9482" y="12273"/>
                    <a:pt x="9482" y="12273"/>
                  </a:cubicBezTo>
                  <a:cubicBezTo>
                    <a:pt x="9464" y="12316"/>
                    <a:pt x="9439" y="12372"/>
                    <a:pt x="9413" y="12432"/>
                  </a:cubicBezTo>
                  <a:cubicBezTo>
                    <a:pt x="9357" y="12561"/>
                    <a:pt x="9293" y="12705"/>
                    <a:pt x="9262" y="12768"/>
                  </a:cubicBezTo>
                  <a:cubicBezTo>
                    <a:pt x="9255" y="12783"/>
                    <a:pt x="9249" y="12794"/>
                    <a:pt x="9247" y="12797"/>
                  </a:cubicBezTo>
                  <a:cubicBezTo>
                    <a:pt x="9244" y="12798"/>
                    <a:pt x="9244" y="12799"/>
                    <a:pt x="9243" y="12800"/>
                  </a:cubicBezTo>
                  <a:cubicBezTo>
                    <a:pt x="9242" y="12802"/>
                    <a:pt x="9240" y="12804"/>
                    <a:pt x="9239" y="12807"/>
                  </a:cubicBezTo>
                  <a:cubicBezTo>
                    <a:pt x="9236" y="12812"/>
                    <a:pt x="9232" y="12819"/>
                    <a:pt x="9227" y="12828"/>
                  </a:cubicBezTo>
                  <a:cubicBezTo>
                    <a:pt x="9217" y="12846"/>
                    <a:pt x="9204" y="12872"/>
                    <a:pt x="9189" y="12903"/>
                  </a:cubicBezTo>
                  <a:cubicBezTo>
                    <a:pt x="9158" y="12964"/>
                    <a:pt x="9119" y="13047"/>
                    <a:pt x="9080" y="13129"/>
                  </a:cubicBezTo>
                  <a:cubicBezTo>
                    <a:pt x="9001" y="13294"/>
                    <a:pt x="8924" y="13459"/>
                    <a:pt x="8924" y="13459"/>
                  </a:cubicBezTo>
                  <a:cubicBezTo>
                    <a:pt x="8921" y="13465"/>
                    <a:pt x="8921" y="13465"/>
                    <a:pt x="8921" y="13465"/>
                  </a:cubicBezTo>
                  <a:cubicBezTo>
                    <a:pt x="8928" y="13468"/>
                    <a:pt x="8928" y="13468"/>
                    <a:pt x="8928" y="13468"/>
                  </a:cubicBezTo>
                  <a:cubicBezTo>
                    <a:pt x="8928" y="13468"/>
                    <a:pt x="8973" y="13487"/>
                    <a:pt x="8988" y="13494"/>
                  </a:cubicBezTo>
                  <a:cubicBezTo>
                    <a:pt x="8988" y="13495"/>
                    <a:pt x="8988" y="13495"/>
                    <a:pt x="8988" y="13495"/>
                  </a:cubicBezTo>
                  <a:cubicBezTo>
                    <a:pt x="8993" y="13496"/>
                    <a:pt x="8993" y="13496"/>
                    <a:pt x="8993" y="13496"/>
                  </a:cubicBezTo>
                  <a:cubicBezTo>
                    <a:pt x="8994" y="13496"/>
                    <a:pt x="8994" y="13497"/>
                    <a:pt x="8996" y="13497"/>
                  </a:cubicBezTo>
                  <a:cubicBezTo>
                    <a:pt x="9000" y="13496"/>
                    <a:pt x="9000" y="13495"/>
                    <a:pt x="9001" y="13494"/>
                  </a:cubicBezTo>
                  <a:cubicBezTo>
                    <a:pt x="9003" y="13494"/>
                    <a:pt x="9006" y="13492"/>
                    <a:pt x="9011" y="13491"/>
                  </a:cubicBezTo>
                  <a:cubicBezTo>
                    <a:pt x="9020" y="13488"/>
                    <a:pt x="9033" y="13483"/>
                    <a:pt x="9050" y="13478"/>
                  </a:cubicBezTo>
                  <a:cubicBezTo>
                    <a:pt x="9084" y="13466"/>
                    <a:pt x="9133" y="13450"/>
                    <a:pt x="9193" y="13430"/>
                  </a:cubicBezTo>
                  <a:cubicBezTo>
                    <a:pt x="9315" y="13390"/>
                    <a:pt x="9483" y="13336"/>
                    <a:pt x="9670" y="13275"/>
                  </a:cubicBezTo>
                  <a:cubicBezTo>
                    <a:pt x="9970" y="13178"/>
                    <a:pt x="10317" y="13066"/>
                    <a:pt x="10597" y="12976"/>
                  </a:cubicBezTo>
                  <a:cubicBezTo>
                    <a:pt x="10598" y="12979"/>
                    <a:pt x="10599" y="12981"/>
                    <a:pt x="10599" y="12981"/>
                  </a:cubicBezTo>
                  <a:cubicBezTo>
                    <a:pt x="10599" y="12981"/>
                    <a:pt x="10599" y="12981"/>
                    <a:pt x="10599" y="12981"/>
                  </a:cubicBezTo>
                  <a:cubicBezTo>
                    <a:pt x="10612" y="12976"/>
                    <a:pt x="10612" y="12976"/>
                    <a:pt x="10612" y="12976"/>
                  </a:cubicBezTo>
                  <a:cubicBezTo>
                    <a:pt x="10612" y="12976"/>
                    <a:pt x="10611" y="12974"/>
                    <a:pt x="10611" y="12972"/>
                  </a:cubicBezTo>
                  <a:cubicBezTo>
                    <a:pt x="10675" y="12951"/>
                    <a:pt x="10737" y="12931"/>
                    <a:pt x="10792" y="12913"/>
                  </a:cubicBezTo>
                  <a:cubicBezTo>
                    <a:pt x="10992" y="12849"/>
                    <a:pt x="11125" y="12806"/>
                    <a:pt x="11125" y="12806"/>
                  </a:cubicBezTo>
                  <a:cubicBezTo>
                    <a:pt x="11125" y="12806"/>
                    <a:pt x="11125" y="12806"/>
                    <a:pt x="11125" y="12806"/>
                  </a:cubicBezTo>
                  <a:cubicBezTo>
                    <a:pt x="11182" y="12786"/>
                    <a:pt x="11182" y="12786"/>
                    <a:pt x="11182" y="12786"/>
                  </a:cubicBezTo>
                  <a:cubicBezTo>
                    <a:pt x="11176" y="12771"/>
                    <a:pt x="11176" y="12771"/>
                    <a:pt x="11176" y="12771"/>
                  </a:cubicBezTo>
                  <a:cubicBezTo>
                    <a:pt x="11039" y="12378"/>
                    <a:pt x="11039" y="12378"/>
                    <a:pt x="11039" y="12378"/>
                  </a:cubicBezTo>
                  <a:cubicBezTo>
                    <a:pt x="12029" y="12063"/>
                    <a:pt x="12029" y="12063"/>
                    <a:pt x="12029" y="12063"/>
                  </a:cubicBezTo>
                  <a:cubicBezTo>
                    <a:pt x="12109" y="12231"/>
                    <a:pt x="12204" y="12432"/>
                    <a:pt x="12234" y="12490"/>
                  </a:cubicBezTo>
                  <a:cubicBezTo>
                    <a:pt x="12295" y="12466"/>
                    <a:pt x="12295" y="12466"/>
                    <a:pt x="12295" y="12466"/>
                  </a:cubicBezTo>
                  <a:cubicBezTo>
                    <a:pt x="12292" y="12460"/>
                    <a:pt x="12269" y="12409"/>
                    <a:pt x="12265" y="12401"/>
                  </a:cubicBezTo>
                  <a:cubicBezTo>
                    <a:pt x="12254" y="12378"/>
                    <a:pt x="12238" y="12346"/>
                    <a:pt x="12219" y="12308"/>
                  </a:cubicBezTo>
                  <a:cubicBezTo>
                    <a:pt x="12184" y="12234"/>
                    <a:pt x="12137" y="12136"/>
                    <a:pt x="12090" y="12037"/>
                  </a:cubicBezTo>
                  <a:cubicBezTo>
                    <a:pt x="12419" y="11841"/>
                    <a:pt x="12419" y="11841"/>
                    <a:pt x="12419" y="11841"/>
                  </a:cubicBezTo>
                  <a:cubicBezTo>
                    <a:pt x="12475" y="11701"/>
                    <a:pt x="12475" y="11701"/>
                    <a:pt x="12475" y="11701"/>
                  </a:cubicBezTo>
                  <a:cubicBezTo>
                    <a:pt x="12475" y="11701"/>
                    <a:pt x="12475" y="11701"/>
                    <a:pt x="12475" y="11701"/>
                  </a:cubicBezTo>
                  <a:cubicBezTo>
                    <a:pt x="12475" y="11701"/>
                    <a:pt x="12475" y="11700"/>
                    <a:pt x="12475" y="11700"/>
                  </a:cubicBezTo>
                  <a:cubicBezTo>
                    <a:pt x="12535" y="11552"/>
                    <a:pt x="12535" y="11552"/>
                    <a:pt x="12535" y="11552"/>
                  </a:cubicBezTo>
                  <a:cubicBezTo>
                    <a:pt x="12533" y="11549"/>
                    <a:pt x="12533" y="11549"/>
                    <a:pt x="12533" y="11549"/>
                  </a:cubicBezTo>
                  <a:cubicBezTo>
                    <a:pt x="12533" y="11548"/>
                    <a:pt x="12400" y="11342"/>
                    <a:pt x="12350" y="11274"/>
                  </a:cubicBezTo>
                  <a:cubicBezTo>
                    <a:pt x="12368" y="11256"/>
                    <a:pt x="12386" y="11239"/>
                    <a:pt x="12405" y="11221"/>
                  </a:cubicBezTo>
                  <a:cubicBezTo>
                    <a:pt x="12550" y="11080"/>
                    <a:pt x="12684" y="10946"/>
                    <a:pt x="12697" y="10933"/>
                  </a:cubicBezTo>
                  <a:lnTo>
                    <a:pt x="13843" y="9995"/>
                  </a:lnTo>
                  <a:close/>
                  <a:moveTo>
                    <a:pt x="13518" y="9830"/>
                  </a:moveTo>
                  <a:cubicBezTo>
                    <a:pt x="13600" y="9894"/>
                    <a:pt x="13686" y="9946"/>
                    <a:pt x="13758" y="9971"/>
                  </a:cubicBezTo>
                  <a:cubicBezTo>
                    <a:pt x="13760" y="9972"/>
                    <a:pt x="13763" y="9973"/>
                    <a:pt x="13766" y="9974"/>
                  </a:cubicBezTo>
                  <a:cubicBezTo>
                    <a:pt x="12685" y="10858"/>
                    <a:pt x="12685" y="10858"/>
                    <a:pt x="12685" y="10858"/>
                  </a:cubicBezTo>
                  <a:cubicBezTo>
                    <a:pt x="12013" y="10291"/>
                    <a:pt x="12013" y="10291"/>
                    <a:pt x="12013" y="10291"/>
                  </a:cubicBezTo>
                  <a:cubicBezTo>
                    <a:pt x="12011" y="10290"/>
                    <a:pt x="12011" y="10290"/>
                    <a:pt x="12011" y="10290"/>
                  </a:cubicBezTo>
                  <a:cubicBezTo>
                    <a:pt x="12008" y="10288"/>
                    <a:pt x="11969" y="10264"/>
                    <a:pt x="11912" y="10263"/>
                  </a:cubicBezTo>
                  <a:cubicBezTo>
                    <a:pt x="11872" y="10263"/>
                    <a:pt x="11822" y="10277"/>
                    <a:pt x="11776" y="10317"/>
                  </a:cubicBezTo>
                  <a:cubicBezTo>
                    <a:pt x="11731" y="10357"/>
                    <a:pt x="11703" y="10378"/>
                    <a:pt x="11688" y="10388"/>
                  </a:cubicBezTo>
                  <a:cubicBezTo>
                    <a:pt x="11413" y="10042"/>
                    <a:pt x="11413" y="10042"/>
                    <a:pt x="11413" y="10042"/>
                  </a:cubicBezTo>
                  <a:cubicBezTo>
                    <a:pt x="11411" y="10040"/>
                    <a:pt x="11411" y="10040"/>
                    <a:pt x="11411" y="10040"/>
                  </a:cubicBezTo>
                  <a:cubicBezTo>
                    <a:pt x="11410" y="10039"/>
                    <a:pt x="11287" y="9932"/>
                    <a:pt x="11085" y="9800"/>
                  </a:cubicBezTo>
                  <a:cubicBezTo>
                    <a:pt x="10942" y="9707"/>
                    <a:pt x="10796" y="9610"/>
                    <a:pt x="10724" y="9562"/>
                  </a:cubicBezTo>
                  <a:cubicBezTo>
                    <a:pt x="10810" y="9485"/>
                    <a:pt x="10986" y="9325"/>
                    <a:pt x="11095" y="9210"/>
                  </a:cubicBezTo>
                  <a:cubicBezTo>
                    <a:pt x="11214" y="9082"/>
                    <a:pt x="11239" y="8893"/>
                    <a:pt x="11245" y="8804"/>
                  </a:cubicBezTo>
                  <a:cubicBezTo>
                    <a:pt x="11264" y="8805"/>
                    <a:pt x="11291" y="8807"/>
                    <a:pt x="11323" y="8809"/>
                  </a:cubicBezTo>
                  <a:cubicBezTo>
                    <a:pt x="11393" y="8814"/>
                    <a:pt x="11488" y="8821"/>
                    <a:pt x="11589" y="8827"/>
                  </a:cubicBezTo>
                  <a:cubicBezTo>
                    <a:pt x="11793" y="8841"/>
                    <a:pt x="12021" y="8855"/>
                    <a:pt x="12127" y="8860"/>
                  </a:cubicBezTo>
                  <a:cubicBezTo>
                    <a:pt x="12336" y="8869"/>
                    <a:pt x="12594" y="8878"/>
                    <a:pt x="12880" y="8947"/>
                  </a:cubicBezTo>
                  <a:cubicBezTo>
                    <a:pt x="13022" y="8981"/>
                    <a:pt x="13125" y="9024"/>
                    <a:pt x="13194" y="9071"/>
                  </a:cubicBezTo>
                  <a:cubicBezTo>
                    <a:pt x="13264" y="9120"/>
                    <a:pt x="13301" y="9170"/>
                    <a:pt x="13320" y="9228"/>
                  </a:cubicBezTo>
                  <a:cubicBezTo>
                    <a:pt x="13333" y="9265"/>
                    <a:pt x="13338" y="9316"/>
                    <a:pt x="13338" y="9366"/>
                  </a:cubicBezTo>
                  <a:cubicBezTo>
                    <a:pt x="13338" y="9409"/>
                    <a:pt x="13334" y="9451"/>
                    <a:pt x="13330" y="9484"/>
                  </a:cubicBezTo>
                  <a:cubicBezTo>
                    <a:pt x="13325" y="9517"/>
                    <a:pt x="13319" y="9544"/>
                    <a:pt x="13318" y="9549"/>
                  </a:cubicBezTo>
                  <a:cubicBezTo>
                    <a:pt x="13318" y="9549"/>
                    <a:pt x="13318" y="9549"/>
                    <a:pt x="13318" y="9549"/>
                  </a:cubicBezTo>
                  <a:cubicBezTo>
                    <a:pt x="13318" y="9548"/>
                    <a:pt x="13318" y="9548"/>
                    <a:pt x="13318" y="9548"/>
                  </a:cubicBezTo>
                  <a:cubicBezTo>
                    <a:pt x="13315" y="9580"/>
                    <a:pt x="13315" y="9580"/>
                    <a:pt x="13315" y="9580"/>
                  </a:cubicBezTo>
                  <a:cubicBezTo>
                    <a:pt x="13319" y="9615"/>
                    <a:pt x="13319" y="9615"/>
                    <a:pt x="13319" y="9615"/>
                  </a:cubicBezTo>
                  <a:cubicBezTo>
                    <a:pt x="13361" y="9694"/>
                    <a:pt x="13437" y="9766"/>
                    <a:pt x="13518" y="9830"/>
                  </a:cubicBezTo>
                  <a:close/>
                  <a:moveTo>
                    <a:pt x="16000" y="4788"/>
                  </a:moveTo>
                  <a:cubicBezTo>
                    <a:pt x="16015" y="4848"/>
                    <a:pt x="16029" y="4933"/>
                    <a:pt x="16029" y="5035"/>
                  </a:cubicBezTo>
                  <a:cubicBezTo>
                    <a:pt x="16029" y="5110"/>
                    <a:pt x="16021" y="5194"/>
                    <a:pt x="16000" y="5285"/>
                  </a:cubicBezTo>
                  <a:cubicBezTo>
                    <a:pt x="15922" y="5619"/>
                    <a:pt x="15662" y="5831"/>
                    <a:pt x="15557" y="6081"/>
                  </a:cubicBezTo>
                  <a:cubicBezTo>
                    <a:pt x="15483" y="6261"/>
                    <a:pt x="15418" y="6393"/>
                    <a:pt x="15418" y="6641"/>
                  </a:cubicBezTo>
                  <a:cubicBezTo>
                    <a:pt x="15418" y="6718"/>
                    <a:pt x="15424" y="6805"/>
                    <a:pt x="15437" y="6908"/>
                  </a:cubicBezTo>
                  <a:cubicBezTo>
                    <a:pt x="15465" y="7126"/>
                    <a:pt x="15510" y="7484"/>
                    <a:pt x="15548" y="7789"/>
                  </a:cubicBezTo>
                  <a:cubicBezTo>
                    <a:pt x="15575" y="8009"/>
                    <a:pt x="15599" y="8200"/>
                    <a:pt x="15610" y="8289"/>
                  </a:cubicBezTo>
                  <a:cubicBezTo>
                    <a:pt x="15577" y="8303"/>
                    <a:pt x="15544" y="8318"/>
                    <a:pt x="15530" y="8324"/>
                  </a:cubicBezTo>
                  <a:cubicBezTo>
                    <a:pt x="15523" y="8327"/>
                    <a:pt x="15520" y="8329"/>
                    <a:pt x="15512" y="8333"/>
                  </a:cubicBezTo>
                  <a:cubicBezTo>
                    <a:pt x="15506" y="8337"/>
                    <a:pt x="15497" y="8342"/>
                    <a:pt x="15486" y="8347"/>
                  </a:cubicBezTo>
                  <a:cubicBezTo>
                    <a:pt x="15465" y="8359"/>
                    <a:pt x="15436" y="8376"/>
                    <a:pt x="15401" y="8395"/>
                  </a:cubicBezTo>
                  <a:cubicBezTo>
                    <a:pt x="15332" y="8434"/>
                    <a:pt x="15240" y="8485"/>
                    <a:pt x="15141" y="8539"/>
                  </a:cubicBezTo>
                  <a:cubicBezTo>
                    <a:pt x="14944" y="8646"/>
                    <a:pt x="14717" y="8763"/>
                    <a:pt x="14605" y="8804"/>
                  </a:cubicBezTo>
                  <a:cubicBezTo>
                    <a:pt x="14433" y="8866"/>
                    <a:pt x="14274" y="8918"/>
                    <a:pt x="14192" y="8943"/>
                  </a:cubicBezTo>
                  <a:cubicBezTo>
                    <a:pt x="14168" y="8950"/>
                    <a:pt x="14149" y="8955"/>
                    <a:pt x="14143" y="8957"/>
                  </a:cubicBezTo>
                  <a:cubicBezTo>
                    <a:pt x="14141" y="8957"/>
                    <a:pt x="14140" y="8957"/>
                    <a:pt x="14139" y="8957"/>
                  </a:cubicBezTo>
                  <a:cubicBezTo>
                    <a:pt x="14137" y="8957"/>
                    <a:pt x="14136" y="8958"/>
                    <a:pt x="14134" y="8958"/>
                  </a:cubicBezTo>
                  <a:cubicBezTo>
                    <a:pt x="14131" y="8958"/>
                    <a:pt x="14128" y="8959"/>
                    <a:pt x="14125" y="8960"/>
                  </a:cubicBezTo>
                  <a:cubicBezTo>
                    <a:pt x="14118" y="8961"/>
                    <a:pt x="14109" y="8963"/>
                    <a:pt x="14098" y="8966"/>
                  </a:cubicBezTo>
                  <a:cubicBezTo>
                    <a:pt x="14076" y="8971"/>
                    <a:pt x="14046" y="8978"/>
                    <a:pt x="14011" y="8986"/>
                  </a:cubicBezTo>
                  <a:cubicBezTo>
                    <a:pt x="13940" y="9003"/>
                    <a:pt x="13847" y="9025"/>
                    <a:pt x="13754" y="9047"/>
                  </a:cubicBezTo>
                  <a:cubicBezTo>
                    <a:pt x="13631" y="9077"/>
                    <a:pt x="13509" y="9107"/>
                    <a:pt x="13441" y="9123"/>
                  </a:cubicBezTo>
                  <a:cubicBezTo>
                    <a:pt x="13407" y="9055"/>
                    <a:pt x="13353" y="8995"/>
                    <a:pt x="13281" y="8946"/>
                  </a:cubicBezTo>
                  <a:cubicBezTo>
                    <a:pt x="13189" y="8883"/>
                    <a:pt x="13069" y="8835"/>
                    <a:pt x="12916" y="8798"/>
                  </a:cubicBezTo>
                  <a:cubicBezTo>
                    <a:pt x="12786" y="8767"/>
                    <a:pt x="12662" y="8748"/>
                    <a:pt x="12546" y="8735"/>
                  </a:cubicBezTo>
                  <a:cubicBezTo>
                    <a:pt x="12078" y="7212"/>
                    <a:pt x="12078" y="7212"/>
                    <a:pt x="12078" y="7212"/>
                  </a:cubicBezTo>
                  <a:cubicBezTo>
                    <a:pt x="12078" y="7212"/>
                    <a:pt x="12078" y="7212"/>
                    <a:pt x="12078" y="7212"/>
                  </a:cubicBezTo>
                  <a:cubicBezTo>
                    <a:pt x="12074" y="7198"/>
                    <a:pt x="12042" y="7088"/>
                    <a:pt x="11934" y="7034"/>
                  </a:cubicBezTo>
                  <a:cubicBezTo>
                    <a:pt x="11948" y="7006"/>
                    <a:pt x="11961" y="6978"/>
                    <a:pt x="11971" y="6950"/>
                  </a:cubicBezTo>
                  <a:cubicBezTo>
                    <a:pt x="12019" y="6827"/>
                    <a:pt x="12035" y="6712"/>
                    <a:pt x="12035" y="6711"/>
                  </a:cubicBezTo>
                  <a:cubicBezTo>
                    <a:pt x="12311" y="4826"/>
                    <a:pt x="12311" y="4826"/>
                    <a:pt x="12311" y="4826"/>
                  </a:cubicBezTo>
                  <a:cubicBezTo>
                    <a:pt x="12310" y="4823"/>
                    <a:pt x="12310" y="4823"/>
                    <a:pt x="12310" y="4823"/>
                  </a:cubicBezTo>
                  <a:cubicBezTo>
                    <a:pt x="12310" y="4823"/>
                    <a:pt x="12308" y="4781"/>
                    <a:pt x="12307" y="4751"/>
                  </a:cubicBezTo>
                  <a:cubicBezTo>
                    <a:pt x="12313" y="4751"/>
                    <a:pt x="12313" y="4751"/>
                    <a:pt x="12313" y="4751"/>
                  </a:cubicBezTo>
                  <a:cubicBezTo>
                    <a:pt x="12312" y="4747"/>
                    <a:pt x="12312" y="4747"/>
                    <a:pt x="12312" y="4747"/>
                  </a:cubicBezTo>
                  <a:cubicBezTo>
                    <a:pt x="12353" y="4749"/>
                    <a:pt x="12423" y="4755"/>
                    <a:pt x="12502" y="4762"/>
                  </a:cubicBezTo>
                  <a:cubicBezTo>
                    <a:pt x="12630" y="4775"/>
                    <a:pt x="12783" y="4795"/>
                    <a:pt x="12879" y="4821"/>
                  </a:cubicBezTo>
                  <a:cubicBezTo>
                    <a:pt x="13567" y="5021"/>
                    <a:pt x="13567" y="5021"/>
                    <a:pt x="13567" y="5021"/>
                  </a:cubicBezTo>
                  <a:cubicBezTo>
                    <a:pt x="14055" y="5138"/>
                    <a:pt x="14055" y="5138"/>
                    <a:pt x="14055" y="5138"/>
                  </a:cubicBezTo>
                  <a:cubicBezTo>
                    <a:pt x="15986" y="4735"/>
                    <a:pt x="15986" y="4735"/>
                    <a:pt x="15986" y="4735"/>
                  </a:cubicBezTo>
                  <a:cubicBezTo>
                    <a:pt x="15990" y="4750"/>
                    <a:pt x="15995" y="4767"/>
                    <a:pt x="16000" y="4788"/>
                  </a:cubicBezTo>
                  <a:close/>
                  <a:moveTo>
                    <a:pt x="15890" y="1942"/>
                  </a:moveTo>
                  <a:cubicBezTo>
                    <a:pt x="15794" y="2067"/>
                    <a:pt x="15692" y="2215"/>
                    <a:pt x="15660" y="2329"/>
                  </a:cubicBezTo>
                  <a:cubicBezTo>
                    <a:pt x="15627" y="2453"/>
                    <a:pt x="15596" y="2671"/>
                    <a:pt x="15595" y="2932"/>
                  </a:cubicBezTo>
                  <a:cubicBezTo>
                    <a:pt x="15595" y="3119"/>
                    <a:pt x="15612" y="3328"/>
                    <a:pt x="15656" y="3537"/>
                  </a:cubicBezTo>
                  <a:cubicBezTo>
                    <a:pt x="15745" y="3958"/>
                    <a:pt x="15910" y="4497"/>
                    <a:pt x="15954" y="4651"/>
                  </a:cubicBezTo>
                  <a:cubicBezTo>
                    <a:pt x="15956" y="4660"/>
                    <a:pt x="15958" y="4668"/>
                    <a:pt x="15960" y="4674"/>
                  </a:cubicBezTo>
                  <a:cubicBezTo>
                    <a:pt x="14056" y="5070"/>
                    <a:pt x="14056" y="5070"/>
                    <a:pt x="14056" y="5070"/>
                  </a:cubicBezTo>
                  <a:cubicBezTo>
                    <a:pt x="13584" y="4958"/>
                    <a:pt x="13584" y="4958"/>
                    <a:pt x="13584" y="4958"/>
                  </a:cubicBezTo>
                  <a:cubicBezTo>
                    <a:pt x="13122" y="4823"/>
                    <a:pt x="13122" y="4823"/>
                    <a:pt x="13122" y="4823"/>
                  </a:cubicBezTo>
                  <a:cubicBezTo>
                    <a:pt x="13153" y="4773"/>
                    <a:pt x="13212" y="4672"/>
                    <a:pt x="13282" y="4523"/>
                  </a:cubicBezTo>
                  <a:cubicBezTo>
                    <a:pt x="13320" y="4442"/>
                    <a:pt x="13333" y="4369"/>
                    <a:pt x="13333" y="4309"/>
                  </a:cubicBezTo>
                  <a:cubicBezTo>
                    <a:pt x="13333" y="4197"/>
                    <a:pt x="13289" y="4130"/>
                    <a:pt x="13287" y="4127"/>
                  </a:cubicBezTo>
                  <a:cubicBezTo>
                    <a:pt x="12544" y="2998"/>
                    <a:pt x="12544" y="2998"/>
                    <a:pt x="12544" y="2998"/>
                  </a:cubicBezTo>
                  <a:cubicBezTo>
                    <a:pt x="12541" y="2995"/>
                    <a:pt x="12541" y="2995"/>
                    <a:pt x="12541" y="2995"/>
                  </a:cubicBezTo>
                  <a:cubicBezTo>
                    <a:pt x="12519" y="2975"/>
                    <a:pt x="12496" y="2960"/>
                    <a:pt x="12472" y="2948"/>
                  </a:cubicBezTo>
                  <a:cubicBezTo>
                    <a:pt x="12489" y="2909"/>
                    <a:pt x="12522" y="2832"/>
                    <a:pt x="12537" y="2799"/>
                  </a:cubicBezTo>
                  <a:cubicBezTo>
                    <a:pt x="12537" y="2799"/>
                    <a:pt x="12538" y="2799"/>
                    <a:pt x="12539" y="2797"/>
                  </a:cubicBezTo>
                  <a:cubicBezTo>
                    <a:pt x="12540" y="2796"/>
                    <a:pt x="12541" y="2793"/>
                    <a:pt x="12543" y="2791"/>
                  </a:cubicBezTo>
                  <a:cubicBezTo>
                    <a:pt x="12546" y="2785"/>
                    <a:pt x="12551" y="2778"/>
                    <a:pt x="12557" y="2770"/>
                  </a:cubicBezTo>
                  <a:cubicBezTo>
                    <a:pt x="12570" y="2753"/>
                    <a:pt x="12586" y="2731"/>
                    <a:pt x="12605" y="2706"/>
                  </a:cubicBezTo>
                  <a:cubicBezTo>
                    <a:pt x="12644" y="2656"/>
                    <a:pt x="12694" y="2593"/>
                    <a:pt x="12743" y="2532"/>
                  </a:cubicBezTo>
                  <a:cubicBezTo>
                    <a:pt x="12842" y="2409"/>
                    <a:pt x="12938" y="2292"/>
                    <a:pt x="12938" y="2292"/>
                  </a:cubicBezTo>
                  <a:cubicBezTo>
                    <a:pt x="12939" y="2290"/>
                    <a:pt x="12939" y="2290"/>
                    <a:pt x="12939" y="2290"/>
                  </a:cubicBezTo>
                  <a:cubicBezTo>
                    <a:pt x="12940" y="2289"/>
                    <a:pt x="12940" y="2289"/>
                    <a:pt x="12940" y="2289"/>
                  </a:cubicBezTo>
                  <a:cubicBezTo>
                    <a:pt x="12940" y="2289"/>
                    <a:pt x="12967" y="2248"/>
                    <a:pt x="13005" y="2196"/>
                  </a:cubicBezTo>
                  <a:cubicBezTo>
                    <a:pt x="13042" y="2144"/>
                    <a:pt x="13090" y="2080"/>
                    <a:pt x="13129" y="2035"/>
                  </a:cubicBezTo>
                  <a:cubicBezTo>
                    <a:pt x="13201" y="1955"/>
                    <a:pt x="13292" y="1953"/>
                    <a:pt x="13369" y="1950"/>
                  </a:cubicBezTo>
                  <a:cubicBezTo>
                    <a:pt x="13398" y="1951"/>
                    <a:pt x="14002" y="1964"/>
                    <a:pt x="14459" y="1964"/>
                  </a:cubicBezTo>
                  <a:cubicBezTo>
                    <a:pt x="14693" y="1964"/>
                    <a:pt x="14885" y="1961"/>
                    <a:pt x="14950" y="1949"/>
                  </a:cubicBezTo>
                  <a:cubicBezTo>
                    <a:pt x="15100" y="1923"/>
                    <a:pt x="15565" y="1885"/>
                    <a:pt x="16019" y="1786"/>
                  </a:cubicBezTo>
                  <a:cubicBezTo>
                    <a:pt x="15984" y="1826"/>
                    <a:pt x="15938" y="1881"/>
                    <a:pt x="15890" y="1942"/>
                  </a:cubicBezTo>
                  <a:close/>
                  <a:moveTo>
                    <a:pt x="16115" y="1764"/>
                  </a:moveTo>
                  <a:cubicBezTo>
                    <a:pt x="16115" y="1764"/>
                    <a:pt x="16115" y="1764"/>
                    <a:pt x="16115" y="1764"/>
                  </a:cubicBezTo>
                  <a:cubicBezTo>
                    <a:pt x="16119" y="1772"/>
                    <a:pt x="16119" y="1772"/>
                    <a:pt x="16119" y="1772"/>
                  </a:cubicBezTo>
                  <a:lnTo>
                    <a:pt x="16115" y="1764"/>
                  </a:lnTo>
                  <a:close/>
                  <a:moveTo>
                    <a:pt x="4" y="16455"/>
                  </a:moveTo>
                  <a:cubicBezTo>
                    <a:pt x="29" y="16428"/>
                    <a:pt x="29" y="16428"/>
                    <a:pt x="29" y="16428"/>
                  </a:cubicBezTo>
                  <a:cubicBezTo>
                    <a:pt x="4" y="16377"/>
                    <a:pt x="4" y="16377"/>
                    <a:pt x="4" y="16377"/>
                  </a:cubicBezTo>
                  <a:cubicBezTo>
                    <a:pt x="4" y="16345"/>
                    <a:pt x="4" y="16345"/>
                    <a:pt x="4" y="16345"/>
                  </a:cubicBezTo>
                  <a:cubicBezTo>
                    <a:pt x="46" y="16430"/>
                    <a:pt x="46" y="16430"/>
                    <a:pt x="46" y="16430"/>
                  </a:cubicBezTo>
                  <a:cubicBezTo>
                    <a:pt x="4" y="16476"/>
                    <a:pt x="4" y="16476"/>
                    <a:pt x="4" y="16476"/>
                  </a:cubicBezTo>
                  <a:lnTo>
                    <a:pt x="4" y="16455"/>
                  </a:lnTo>
                  <a:close/>
                  <a:moveTo>
                    <a:pt x="10539" y="213"/>
                  </a:moveTo>
                  <a:cubicBezTo>
                    <a:pt x="10519" y="0"/>
                    <a:pt x="10519" y="0"/>
                    <a:pt x="10519" y="0"/>
                  </a:cubicBezTo>
                  <a:cubicBezTo>
                    <a:pt x="10533" y="0"/>
                    <a:pt x="10533" y="0"/>
                    <a:pt x="10533" y="0"/>
                  </a:cubicBezTo>
                  <a:cubicBezTo>
                    <a:pt x="10553" y="211"/>
                    <a:pt x="10553" y="211"/>
                    <a:pt x="10553" y="211"/>
                  </a:cubicBezTo>
                  <a:lnTo>
                    <a:pt x="10539" y="213"/>
                  </a:lnTo>
                  <a:close/>
                  <a:moveTo>
                    <a:pt x="4358" y="14296"/>
                  </a:moveTo>
                  <a:cubicBezTo>
                    <a:pt x="4358" y="14296"/>
                    <a:pt x="4358" y="14296"/>
                    <a:pt x="4358" y="14296"/>
                  </a:cubicBezTo>
                  <a:cubicBezTo>
                    <a:pt x="4358" y="14295"/>
                    <a:pt x="4358" y="14295"/>
                    <a:pt x="4358" y="14295"/>
                  </a:cubicBezTo>
                  <a:lnTo>
                    <a:pt x="4358" y="14296"/>
                  </a:lnTo>
                  <a:close/>
                  <a:moveTo>
                    <a:pt x="481" y="14602"/>
                  </a:moveTo>
                  <a:cubicBezTo>
                    <a:pt x="481" y="14602"/>
                    <a:pt x="481" y="14602"/>
                    <a:pt x="481" y="14602"/>
                  </a:cubicBezTo>
                  <a:cubicBezTo>
                    <a:pt x="481" y="14602"/>
                    <a:pt x="481" y="14602"/>
                    <a:pt x="481" y="14602"/>
                  </a:cubicBezTo>
                  <a:close/>
                </a:path>
              </a:pathLst>
            </a:custGeom>
            <a:gradFill>
              <a:gsLst>
                <a:gs pos="40000">
                  <a:srgbClr val="FFFFFF"/>
                </a:gs>
                <a:gs pos="100000">
                  <a:srgbClr val="B0AAB2"/>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7" name="Wit">
              <a:extLst>
                <a:ext uri="{FF2B5EF4-FFF2-40B4-BE49-F238E27FC236}">
                  <a16:creationId xmlns:a16="http://schemas.microsoft.com/office/drawing/2014/main" id="{7EFCB56D-9737-498D-9FA8-73AE08482F9D}"/>
                </a:ext>
              </a:extLst>
            </p:cNvPr>
            <p:cNvSpPr>
              <a:spLocks noSelect="1"/>
            </p:cNvSpPr>
            <p:nvPr userDrawn="1"/>
          </p:nvSpPr>
          <p:spPr bwMode="gray">
            <a:xfrm>
              <a:off x="4079" y="1"/>
              <a:ext cx="3603" cy="4315"/>
            </a:xfrm>
            <a:custGeom>
              <a:avLst/>
              <a:gdLst>
                <a:gd name="T0" fmla="*/ 11592 w 18011"/>
                <a:gd name="T1" fmla="*/ 21032 h 21600"/>
                <a:gd name="T2" fmla="*/ 4580 w 18011"/>
                <a:gd name="T3" fmla="*/ 21600 h 21600"/>
                <a:gd name="T4" fmla="*/ 2355 w 18011"/>
                <a:gd name="T5" fmla="*/ 18261 h 21600"/>
                <a:gd name="T6" fmla="*/ 6418 w 18011"/>
                <a:gd name="T7" fmla="*/ 18456 h 21600"/>
                <a:gd name="T8" fmla="*/ 11965 w 18011"/>
                <a:gd name="T9" fmla="*/ 18643 h 21600"/>
                <a:gd name="T10" fmla="*/ 3130 w 18011"/>
                <a:gd name="T11" fmla="*/ 19682 h 21600"/>
                <a:gd name="T12" fmla="*/ 4466 w 18011"/>
                <a:gd name="T13" fmla="*/ 19921 h 21600"/>
                <a:gd name="T14" fmla="*/ 7193 w 18011"/>
                <a:gd name="T15" fmla="*/ 19942 h 21600"/>
                <a:gd name="T16" fmla="*/ 9923 w 18011"/>
                <a:gd name="T17" fmla="*/ 20256 h 21600"/>
                <a:gd name="T18" fmla="*/ 555 w 18011"/>
                <a:gd name="T19" fmla="*/ 9449 h 21600"/>
                <a:gd name="T20" fmla="*/ 15983 w 18011"/>
                <a:gd name="T21" fmla="*/ 4559 h 21600"/>
                <a:gd name="T22" fmla="*/ 15078 w 18011"/>
                <a:gd name="T23" fmla="*/ 10886 h 21600"/>
                <a:gd name="T24" fmla="*/ 13685 w 18011"/>
                <a:gd name="T25" fmla="*/ 16424 h 21600"/>
                <a:gd name="T26" fmla="*/ 7659 w 18011"/>
                <a:gd name="T27" fmla="*/ 18002 h 21600"/>
                <a:gd name="T28" fmla="*/ 1565 w 18011"/>
                <a:gd name="T29" fmla="*/ 18000 h 21600"/>
                <a:gd name="T30" fmla="*/ 1241 w 18011"/>
                <a:gd name="T31" fmla="*/ 15804 h 21600"/>
                <a:gd name="T32" fmla="*/ 297 w 18011"/>
                <a:gd name="T33" fmla="*/ 12959 h 21600"/>
                <a:gd name="T34" fmla="*/ 32 w 18011"/>
                <a:gd name="T35" fmla="*/ 10923 h 21600"/>
                <a:gd name="T36" fmla="*/ 1999 w 18011"/>
                <a:gd name="T37" fmla="*/ 11727 h 21600"/>
                <a:gd name="T38" fmla="*/ 2504 w 18011"/>
                <a:gd name="T39" fmla="*/ 7951 h 21600"/>
                <a:gd name="T40" fmla="*/ 107 w 18011"/>
                <a:gd name="T41" fmla="*/ 9324 h 21600"/>
                <a:gd name="T42" fmla="*/ 1054 w 18011"/>
                <a:gd name="T43" fmla="*/ 7261 h 21600"/>
                <a:gd name="T44" fmla="*/ 677 w 18011"/>
                <a:gd name="T45" fmla="*/ 1813 h 21600"/>
                <a:gd name="T46" fmla="*/ 5950 w 18011"/>
                <a:gd name="T47" fmla="*/ 180 h 21600"/>
                <a:gd name="T48" fmla="*/ 11347 w 18011"/>
                <a:gd name="T49" fmla="*/ 1421 h 21600"/>
                <a:gd name="T50" fmla="*/ 14990 w 18011"/>
                <a:gd name="T51" fmla="*/ 687 h 21600"/>
                <a:gd name="T52" fmla="*/ 13110 w 18011"/>
                <a:gd name="T53" fmla="*/ 4749 h 21600"/>
                <a:gd name="T54" fmla="*/ 11915 w 18011"/>
                <a:gd name="T55" fmla="*/ 10314 h 21600"/>
                <a:gd name="T56" fmla="*/ 12812 w 18011"/>
                <a:gd name="T57" fmla="*/ 13672 h 21600"/>
                <a:gd name="T58" fmla="*/ 6854 w 18011"/>
                <a:gd name="T59" fmla="*/ 13836 h 21600"/>
                <a:gd name="T60" fmla="*/ 4965 w 18011"/>
                <a:gd name="T61" fmla="*/ 14020 h 21600"/>
                <a:gd name="T62" fmla="*/ 1623 w 18011"/>
                <a:gd name="T63" fmla="*/ 13335 h 21600"/>
                <a:gd name="T64" fmla="*/ 2509 w 18011"/>
                <a:gd name="T65" fmla="*/ 11727 h 21600"/>
                <a:gd name="T66" fmla="*/ 4222 w 18011"/>
                <a:gd name="T67" fmla="*/ 12082 h 21600"/>
                <a:gd name="T68" fmla="*/ 6013 w 18011"/>
                <a:gd name="T69" fmla="*/ 2729 h 21600"/>
                <a:gd name="T70" fmla="*/ 8089 w 18011"/>
                <a:gd name="T71" fmla="*/ 4922 h 21600"/>
                <a:gd name="T72" fmla="*/ 8607 w 18011"/>
                <a:gd name="T73" fmla="*/ 7852 h 21600"/>
                <a:gd name="T74" fmla="*/ 4242 w 18011"/>
                <a:gd name="T75" fmla="*/ 12083 h 21600"/>
                <a:gd name="T76" fmla="*/ 3965 w 18011"/>
                <a:gd name="T77" fmla="*/ 11081 h 21600"/>
                <a:gd name="T78" fmla="*/ 5985 w 18011"/>
                <a:gd name="T79" fmla="*/ 11398 h 21600"/>
                <a:gd name="T80" fmla="*/ 8090 w 18011"/>
                <a:gd name="T81" fmla="*/ 8114 h 21600"/>
                <a:gd name="T82" fmla="*/ 4197 w 18011"/>
                <a:gd name="T83" fmla="*/ 9277 h 21600"/>
                <a:gd name="T84" fmla="*/ 9437 w 18011"/>
                <a:gd name="T85" fmla="*/ 12119 h 21600"/>
                <a:gd name="T86" fmla="*/ 10040 w 18011"/>
                <a:gd name="T87" fmla="*/ 6750 h 21600"/>
                <a:gd name="T88" fmla="*/ 12821 w 18011"/>
                <a:gd name="T89" fmla="*/ 792 h 21600"/>
                <a:gd name="T90" fmla="*/ 7788 w 18011"/>
                <a:gd name="T91" fmla="*/ 1156 h 21600"/>
                <a:gd name="T92" fmla="*/ 4281 w 18011"/>
                <a:gd name="T93" fmla="*/ 3554 h 21600"/>
                <a:gd name="T94" fmla="*/ 1291 w 18011"/>
                <a:gd name="T95" fmla="*/ 4143 h 21600"/>
                <a:gd name="T96" fmla="*/ 3005 w 18011"/>
                <a:gd name="T97" fmla="*/ 6542 h 21600"/>
                <a:gd name="T98" fmla="*/ 4069 w 18011"/>
                <a:gd name="T99" fmla="*/ 8038 h 21600"/>
                <a:gd name="T100" fmla="*/ 4346 w 18011"/>
                <a:gd name="T101" fmla="*/ 8168 h 21600"/>
                <a:gd name="T102" fmla="*/ 2899 w 18011"/>
                <a:gd name="T103" fmla="*/ 10798 h 21600"/>
                <a:gd name="T104" fmla="*/ 1345 w 18011"/>
                <a:gd name="T105" fmla="*/ 11012 h 21600"/>
                <a:gd name="T106" fmla="*/ 861 w 18011"/>
                <a:gd name="T107" fmla="*/ 12038 h 21600"/>
                <a:gd name="T108" fmla="*/ 643 w 18011"/>
                <a:gd name="T109" fmla="*/ 13723 h 21600"/>
                <a:gd name="T110" fmla="*/ 718 w 18011"/>
                <a:gd name="T111" fmla="*/ 14568 h 21600"/>
                <a:gd name="T112" fmla="*/ 3379 w 18011"/>
                <a:gd name="T113" fmla="*/ 16783 h 21600"/>
                <a:gd name="T114" fmla="*/ 6244 w 18011"/>
                <a:gd name="T115" fmla="*/ 16650 h 21600"/>
                <a:gd name="T116" fmla="*/ 14863 w 18011"/>
                <a:gd name="T117" fmla="*/ 14353 h 21600"/>
                <a:gd name="T118" fmla="*/ 11707 w 18011"/>
                <a:gd name="T119" fmla="*/ 12794 h 21600"/>
                <a:gd name="T120" fmla="*/ 8749 w 18011"/>
                <a:gd name="T121" fmla="*/ 13692 h 21600"/>
                <a:gd name="T122" fmla="*/ 13339 w 18011"/>
                <a:gd name="T123" fmla="*/ 9606 h 21600"/>
                <a:gd name="T124" fmla="*/ 12534 w 18011"/>
                <a:gd name="T125" fmla="*/ 3006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11" h="21600">
                  <a:moveTo>
                    <a:pt x="105" y="18543"/>
                  </a:moveTo>
                  <a:cubicBezTo>
                    <a:pt x="71" y="18555"/>
                    <a:pt x="39" y="18566"/>
                    <a:pt x="7" y="18577"/>
                  </a:cubicBezTo>
                  <a:cubicBezTo>
                    <a:pt x="7" y="18549"/>
                    <a:pt x="7" y="18549"/>
                    <a:pt x="7" y="18549"/>
                  </a:cubicBezTo>
                  <a:cubicBezTo>
                    <a:pt x="36" y="18539"/>
                    <a:pt x="65" y="18529"/>
                    <a:pt x="96" y="18518"/>
                  </a:cubicBezTo>
                  <a:cubicBezTo>
                    <a:pt x="347" y="18430"/>
                    <a:pt x="394" y="18327"/>
                    <a:pt x="396" y="18146"/>
                  </a:cubicBezTo>
                  <a:cubicBezTo>
                    <a:pt x="396" y="18102"/>
                    <a:pt x="393" y="18053"/>
                    <a:pt x="389" y="18000"/>
                  </a:cubicBezTo>
                  <a:cubicBezTo>
                    <a:pt x="415" y="18000"/>
                    <a:pt x="415" y="18000"/>
                    <a:pt x="415" y="18000"/>
                  </a:cubicBezTo>
                  <a:cubicBezTo>
                    <a:pt x="419" y="18053"/>
                    <a:pt x="422" y="18101"/>
                    <a:pt x="422" y="18146"/>
                  </a:cubicBezTo>
                  <a:cubicBezTo>
                    <a:pt x="424" y="18333"/>
                    <a:pt x="361" y="18457"/>
                    <a:pt x="105" y="18543"/>
                  </a:cubicBezTo>
                  <a:close/>
                  <a:moveTo>
                    <a:pt x="18011" y="19930"/>
                  </a:moveTo>
                  <a:cubicBezTo>
                    <a:pt x="17783" y="20116"/>
                    <a:pt x="17548" y="20305"/>
                    <a:pt x="17462" y="20374"/>
                  </a:cubicBezTo>
                  <a:cubicBezTo>
                    <a:pt x="17585" y="20498"/>
                    <a:pt x="17760" y="20645"/>
                    <a:pt x="18011" y="20758"/>
                  </a:cubicBezTo>
                  <a:cubicBezTo>
                    <a:pt x="18011" y="20797"/>
                    <a:pt x="18011" y="20797"/>
                    <a:pt x="18011" y="20797"/>
                  </a:cubicBezTo>
                  <a:cubicBezTo>
                    <a:pt x="17746" y="20681"/>
                    <a:pt x="17561" y="20525"/>
                    <a:pt x="17433" y="20397"/>
                  </a:cubicBezTo>
                  <a:cubicBezTo>
                    <a:pt x="17429" y="20400"/>
                    <a:pt x="17427" y="20402"/>
                    <a:pt x="17427" y="20402"/>
                  </a:cubicBezTo>
                  <a:cubicBezTo>
                    <a:pt x="17427" y="20402"/>
                    <a:pt x="17401" y="20425"/>
                    <a:pt x="17360" y="20465"/>
                  </a:cubicBezTo>
                  <a:cubicBezTo>
                    <a:pt x="17236" y="20583"/>
                    <a:pt x="16982" y="20852"/>
                    <a:pt x="16927" y="21070"/>
                  </a:cubicBezTo>
                  <a:cubicBezTo>
                    <a:pt x="16889" y="21218"/>
                    <a:pt x="16894" y="21344"/>
                    <a:pt x="16862" y="21468"/>
                  </a:cubicBezTo>
                  <a:cubicBezTo>
                    <a:pt x="16851" y="21512"/>
                    <a:pt x="16835" y="21556"/>
                    <a:pt x="16810" y="21600"/>
                  </a:cubicBezTo>
                  <a:cubicBezTo>
                    <a:pt x="16768" y="21600"/>
                    <a:pt x="16768" y="21600"/>
                    <a:pt x="16768" y="21600"/>
                  </a:cubicBezTo>
                  <a:cubicBezTo>
                    <a:pt x="16797" y="21553"/>
                    <a:pt x="16815" y="21507"/>
                    <a:pt x="16827" y="21459"/>
                  </a:cubicBezTo>
                  <a:cubicBezTo>
                    <a:pt x="16857" y="21342"/>
                    <a:pt x="16853" y="21215"/>
                    <a:pt x="16892" y="21061"/>
                  </a:cubicBezTo>
                  <a:cubicBezTo>
                    <a:pt x="16973" y="20749"/>
                    <a:pt x="17403" y="20376"/>
                    <a:pt x="17404" y="20375"/>
                  </a:cubicBezTo>
                  <a:cubicBezTo>
                    <a:pt x="17404" y="20375"/>
                    <a:pt x="17405" y="20373"/>
                    <a:pt x="17408" y="20371"/>
                  </a:cubicBezTo>
                  <a:cubicBezTo>
                    <a:pt x="17354" y="20315"/>
                    <a:pt x="17310" y="20266"/>
                    <a:pt x="17276" y="20229"/>
                  </a:cubicBezTo>
                  <a:cubicBezTo>
                    <a:pt x="17275" y="20229"/>
                    <a:pt x="17246" y="20195"/>
                    <a:pt x="17193" y="20138"/>
                  </a:cubicBezTo>
                  <a:cubicBezTo>
                    <a:pt x="17032" y="19968"/>
                    <a:pt x="16651" y="19591"/>
                    <a:pt x="16182" y="19314"/>
                  </a:cubicBezTo>
                  <a:cubicBezTo>
                    <a:pt x="15992" y="19202"/>
                    <a:pt x="15754" y="19060"/>
                    <a:pt x="15515" y="18933"/>
                  </a:cubicBezTo>
                  <a:cubicBezTo>
                    <a:pt x="15243" y="18788"/>
                    <a:pt x="14969" y="18650"/>
                    <a:pt x="14763" y="18548"/>
                  </a:cubicBezTo>
                  <a:cubicBezTo>
                    <a:pt x="14661" y="18497"/>
                    <a:pt x="14575" y="18455"/>
                    <a:pt x="14515" y="18425"/>
                  </a:cubicBezTo>
                  <a:cubicBezTo>
                    <a:pt x="14485" y="18410"/>
                    <a:pt x="14461" y="18398"/>
                    <a:pt x="14445" y="18390"/>
                  </a:cubicBezTo>
                  <a:cubicBezTo>
                    <a:pt x="14437" y="18386"/>
                    <a:pt x="14430" y="18382"/>
                    <a:pt x="14426" y="18380"/>
                  </a:cubicBezTo>
                  <a:cubicBezTo>
                    <a:pt x="14424" y="18379"/>
                    <a:pt x="14423" y="18378"/>
                    <a:pt x="14422" y="18378"/>
                  </a:cubicBezTo>
                  <a:cubicBezTo>
                    <a:pt x="13967" y="18328"/>
                    <a:pt x="13967" y="18328"/>
                    <a:pt x="13967" y="18328"/>
                  </a:cubicBezTo>
                  <a:cubicBezTo>
                    <a:pt x="13261" y="20358"/>
                    <a:pt x="13261" y="20358"/>
                    <a:pt x="13261" y="20358"/>
                  </a:cubicBezTo>
                  <a:cubicBezTo>
                    <a:pt x="13264" y="20361"/>
                    <a:pt x="13267" y="20365"/>
                    <a:pt x="13271" y="20369"/>
                  </a:cubicBezTo>
                  <a:cubicBezTo>
                    <a:pt x="13339" y="20407"/>
                    <a:pt x="13430" y="20475"/>
                    <a:pt x="13493" y="20583"/>
                  </a:cubicBezTo>
                  <a:cubicBezTo>
                    <a:pt x="13600" y="20767"/>
                    <a:pt x="13638" y="20829"/>
                    <a:pt x="13844" y="20923"/>
                  </a:cubicBezTo>
                  <a:cubicBezTo>
                    <a:pt x="14051" y="21016"/>
                    <a:pt x="15276" y="21531"/>
                    <a:pt x="15296" y="21539"/>
                  </a:cubicBezTo>
                  <a:cubicBezTo>
                    <a:pt x="15303" y="21542"/>
                    <a:pt x="15309" y="21546"/>
                    <a:pt x="15323" y="21555"/>
                  </a:cubicBezTo>
                  <a:cubicBezTo>
                    <a:pt x="15338" y="21566"/>
                    <a:pt x="15360" y="21582"/>
                    <a:pt x="15386" y="21600"/>
                  </a:cubicBezTo>
                  <a:cubicBezTo>
                    <a:pt x="15324" y="21600"/>
                    <a:pt x="15324" y="21600"/>
                    <a:pt x="15324" y="21600"/>
                  </a:cubicBezTo>
                  <a:cubicBezTo>
                    <a:pt x="15315" y="21594"/>
                    <a:pt x="15306" y="21588"/>
                    <a:pt x="15300" y="21583"/>
                  </a:cubicBezTo>
                  <a:cubicBezTo>
                    <a:pt x="15295" y="21580"/>
                    <a:pt x="15290" y="21577"/>
                    <a:pt x="15287" y="21575"/>
                  </a:cubicBezTo>
                  <a:cubicBezTo>
                    <a:pt x="15285" y="21574"/>
                    <a:pt x="15284" y="21573"/>
                    <a:pt x="15283" y="21572"/>
                  </a:cubicBezTo>
                  <a:cubicBezTo>
                    <a:pt x="15283" y="21572"/>
                    <a:pt x="15283" y="21572"/>
                    <a:pt x="15282" y="21572"/>
                  </a:cubicBezTo>
                  <a:cubicBezTo>
                    <a:pt x="15252" y="21560"/>
                    <a:pt x="14038" y="21049"/>
                    <a:pt x="13829" y="20956"/>
                  </a:cubicBezTo>
                  <a:cubicBezTo>
                    <a:pt x="13619" y="20862"/>
                    <a:pt x="13567" y="20785"/>
                    <a:pt x="13462" y="20601"/>
                  </a:cubicBezTo>
                  <a:cubicBezTo>
                    <a:pt x="13411" y="20513"/>
                    <a:pt x="13338" y="20452"/>
                    <a:pt x="13277" y="20414"/>
                  </a:cubicBezTo>
                  <a:cubicBezTo>
                    <a:pt x="13269" y="20409"/>
                    <a:pt x="13260" y="20404"/>
                    <a:pt x="13252" y="20399"/>
                  </a:cubicBezTo>
                  <a:cubicBezTo>
                    <a:pt x="13245" y="20397"/>
                    <a:pt x="13245" y="20397"/>
                    <a:pt x="13245" y="20397"/>
                  </a:cubicBezTo>
                  <a:cubicBezTo>
                    <a:pt x="13195" y="20503"/>
                    <a:pt x="12952" y="21022"/>
                    <a:pt x="12678" y="21593"/>
                  </a:cubicBezTo>
                  <a:cubicBezTo>
                    <a:pt x="12688" y="21600"/>
                    <a:pt x="12688" y="21600"/>
                    <a:pt x="12688" y="21600"/>
                  </a:cubicBezTo>
                  <a:cubicBezTo>
                    <a:pt x="12674" y="21600"/>
                    <a:pt x="12674" y="21600"/>
                    <a:pt x="12674" y="21600"/>
                  </a:cubicBezTo>
                  <a:cubicBezTo>
                    <a:pt x="12547" y="21600"/>
                    <a:pt x="12547" y="21600"/>
                    <a:pt x="12547" y="21600"/>
                  </a:cubicBezTo>
                  <a:cubicBezTo>
                    <a:pt x="12479" y="21600"/>
                    <a:pt x="12479" y="21600"/>
                    <a:pt x="12479" y="21600"/>
                  </a:cubicBezTo>
                  <a:cubicBezTo>
                    <a:pt x="11592" y="21032"/>
                    <a:pt x="11592" y="21032"/>
                    <a:pt x="11592" y="21032"/>
                  </a:cubicBezTo>
                  <a:cubicBezTo>
                    <a:pt x="11447" y="20939"/>
                    <a:pt x="10874" y="20619"/>
                    <a:pt x="10724" y="20552"/>
                  </a:cubicBezTo>
                  <a:cubicBezTo>
                    <a:pt x="10651" y="20519"/>
                    <a:pt x="10574" y="20497"/>
                    <a:pt x="10515" y="20485"/>
                  </a:cubicBezTo>
                  <a:cubicBezTo>
                    <a:pt x="10486" y="20478"/>
                    <a:pt x="10462" y="20474"/>
                    <a:pt x="10445" y="20471"/>
                  </a:cubicBezTo>
                  <a:cubicBezTo>
                    <a:pt x="10428" y="20468"/>
                    <a:pt x="10419" y="20468"/>
                    <a:pt x="10419" y="20467"/>
                  </a:cubicBezTo>
                  <a:cubicBezTo>
                    <a:pt x="10418" y="20467"/>
                    <a:pt x="10418" y="20467"/>
                    <a:pt x="10418" y="20467"/>
                  </a:cubicBezTo>
                  <a:cubicBezTo>
                    <a:pt x="10417" y="20467"/>
                    <a:pt x="10417" y="20467"/>
                    <a:pt x="10417" y="20467"/>
                  </a:cubicBezTo>
                  <a:cubicBezTo>
                    <a:pt x="10416" y="20467"/>
                    <a:pt x="10263" y="20444"/>
                    <a:pt x="10032" y="20410"/>
                  </a:cubicBezTo>
                  <a:cubicBezTo>
                    <a:pt x="9338" y="20307"/>
                    <a:pt x="7939" y="20098"/>
                    <a:pt x="7874" y="20089"/>
                  </a:cubicBezTo>
                  <a:cubicBezTo>
                    <a:pt x="7843" y="20085"/>
                    <a:pt x="7807" y="20082"/>
                    <a:pt x="7775" y="20080"/>
                  </a:cubicBezTo>
                  <a:cubicBezTo>
                    <a:pt x="7768" y="20098"/>
                    <a:pt x="7768" y="20098"/>
                    <a:pt x="7768" y="20098"/>
                  </a:cubicBezTo>
                  <a:cubicBezTo>
                    <a:pt x="7468" y="21457"/>
                    <a:pt x="7468" y="21457"/>
                    <a:pt x="7468" y="21457"/>
                  </a:cubicBezTo>
                  <a:cubicBezTo>
                    <a:pt x="7468" y="21458"/>
                    <a:pt x="7468" y="21459"/>
                    <a:pt x="7467" y="21463"/>
                  </a:cubicBezTo>
                  <a:cubicBezTo>
                    <a:pt x="7467" y="21466"/>
                    <a:pt x="7466" y="21472"/>
                    <a:pt x="7466" y="21479"/>
                  </a:cubicBezTo>
                  <a:cubicBezTo>
                    <a:pt x="7466" y="21503"/>
                    <a:pt x="7472" y="21542"/>
                    <a:pt x="7508" y="21581"/>
                  </a:cubicBezTo>
                  <a:cubicBezTo>
                    <a:pt x="7514" y="21588"/>
                    <a:pt x="7521" y="21594"/>
                    <a:pt x="7529" y="21600"/>
                  </a:cubicBezTo>
                  <a:cubicBezTo>
                    <a:pt x="7477" y="21600"/>
                    <a:pt x="7477" y="21600"/>
                    <a:pt x="7477" y="21600"/>
                  </a:cubicBezTo>
                  <a:cubicBezTo>
                    <a:pt x="7438" y="21555"/>
                    <a:pt x="7430" y="21508"/>
                    <a:pt x="7430" y="21479"/>
                  </a:cubicBezTo>
                  <a:cubicBezTo>
                    <a:pt x="7430" y="21461"/>
                    <a:pt x="7433" y="21450"/>
                    <a:pt x="7433" y="21449"/>
                  </a:cubicBezTo>
                  <a:cubicBezTo>
                    <a:pt x="7734" y="20088"/>
                    <a:pt x="7734" y="20088"/>
                    <a:pt x="7734" y="20088"/>
                  </a:cubicBezTo>
                  <a:cubicBezTo>
                    <a:pt x="7734" y="20077"/>
                    <a:pt x="7734" y="20077"/>
                    <a:pt x="7734" y="20077"/>
                  </a:cubicBezTo>
                  <a:cubicBezTo>
                    <a:pt x="7721" y="20076"/>
                    <a:pt x="7709" y="20076"/>
                    <a:pt x="7701" y="20075"/>
                  </a:cubicBezTo>
                  <a:cubicBezTo>
                    <a:pt x="7695" y="20075"/>
                    <a:pt x="7690" y="20075"/>
                    <a:pt x="7687" y="20075"/>
                  </a:cubicBezTo>
                  <a:cubicBezTo>
                    <a:pt x="7686" y="20075"/>
                    <a:pt x="7684" y="20075"/>
                    <a:pt x="7683" y="20075"/>
                  </a:cubicBezTo>
                  <a:cubicBezTo>
                    <a:pt x="7683" y="20075"/>
                    <a:pt x="7682" y="20075"/>
                    <a:pt x="7681" y="20075"/>
                  </a:cubicBezTo>
                  <a:cubicBezTo>
                    <a:pt x="7681" y="20075"/>
                    <a:pt x="7681" y="20075"/>
                    <a:pt x="7680" y="20074"/>
                  </a:cubicBezTo>
                  <a:cubicBezTo>
                    <a:pt x="7642" y="20073"/>
                    <a:pt x="7283" y="20060"/>
                    <a:pt x="6882" y="20046"/>
                  </a:cubicBezTo>
                  <a:cubicBezTo>
                    <a:pt x="6881" y="20048"/>
                    <a:pt x="6880" y="20051"/>
                    <a:pt x="6879" y="20053"/>
                  </a:cubicBezTo>
                  <a:cubicBezTo>
                    <a:pt x="6336" y="21600"/>
                    <a:pt x="6336" y="21600"/>
                    <a:pt x="6336" y="21600"/>
                  </a:cubicBezTo>
                  <a:cubicBezTo>
                    <a:pt x="6308" y="21600"/>
                    <a:pt x="6308" y="21600"/>
                    <a:pt x="6308" y="21600"/>
                  </a:cubicBezTo>
                  <a:cubicBezTo>
                    <a:pt x="6850" y="20057"/>
                    <a:pt x="6850" y="20057"/>
                    <a:pt x="6850" y="20057"/>
                  </a:cubicBezTo>
                  <a:cubicBezTo>
                    <a:pt x="6849" y="20045"/>
                    <a:pt x="6849" y="20045"/>
                    <a:pt x="6849" y="20045"/>
                  </a:cubicBezTo>
                  <a:cubicBezTo>
                    <a:pt x="6365" y="20027"/>
                    <a:pt x="5832" y="20008"/>
                    <a:pt x="5729" y="20005"/>
                  </a:cubicBezTo>
                  <a:cubicBezTo>
                    <a:pt x="5728" y="20008"/>
                    <a:pt x="5727" y="20011"/>
                    <a:pt x="5727" y="20014"/>
                  </a:cubicBezTo>
                  <a:cubicBezTo>
                    <a:pt x="5572" y="21540"/>
                    <a:pt x="5572" y="21540"/>
                    <a:pt x="5572" y="21540"/>
                  </a:cubicBezTo>
                  <a:cubicBezTo>
                    <a:pt x="5579" y="21542"/>
                    <a:pt x="5579" y="21542"/>
                    <a:pt x="5579" y="21542"/>
                  </a:cubicBezTo>
                  <a:cubicBezTo>
                    <a:pt x="5626" y="21551"/>
                    <a:pt x="5785" y="21573"/>
                    <a:pt x="5938" y="21594"/>
                  </a:cubicBezTo>
                  <a:cubicBezTo>
                    <a:pt x="5952" y="21596"/>
                    <a:pt x="5966" y="21598"/>
                    <a:pt x="5980" y="21600"/>
                  </a:cubicBezTo>
                  <a:cubicBezTo>
                    <a:pt x="5790" y="21600"/>
                    <a:pt x="5790" y="21600"/>
                    <a:pt x="5790" y="21600"/>
                  </a:cubicBezTo>
                  <a:cubicBezTo>
                    <a:pt x="5749" y="21595"/>
                    <a:pt x="5711" y="21589"/>
                    <a:pt x="5679" y="21584"/>
                  </a:cubicBezTo>
                  <a:cubicBezTo>
                    <a:pt x="5644" y="21579"/>
                    <a:pt x="5615" y="21575"/>
                    <a:pt x="5594" y="21572"/>
                  </a:cubicBezTo>
                  <a:cubicBezTo>
                    <a:pt x="5587" y="21570"/>
                    <a:pt x="5580" y="21569"/>
                    <a:pt x="5575" y="21568"/>
                  </a:cubicBezTo>
                  <a:cubicBezTo>
                    <a:pt x="5569" y="21568"/>
                    <a:pt x="5569" y="21568"/>
                    <a:pt x="5569" y="21568"/>
                  </a:cubicBezTo>
                  <a:cubicBezTo>
                    <a:pt x="5565" y="21600"/>
                    <a:pt x="5565" y="21600"/>
                    <a:pt x="5565" y="21600"/>
                  </a:cubicBezTo>
                  <a:cubicBezTo>
                    <a:pt x="5529" y="21600"/>
                    <a:pt x="5529" y="21600"/>
                    <a:pt x="5529" y="21600"/>
                  </a:cubicBezTo>
                  <a:cubicBezTo>
                    <a:pt x="5689" y="20029"/>
                    <a:pt x="5689" y="20029"/>
                    <a:pt x="5689" y="20029"/>
                  </a:cubicBezTo>
                  <a:cubicBezTo>
                    <a:pt x="5688" y="20029"/>
                    <a:pt x="5688" y="20029"/>
                    <a:pt x="5688" y="20029"/>
                  </a:cubicBezTo>
                  <a:cubicBezTo>
                    <a:pt x="5687" y="20002"/>
                    <a:pt x="5687" y="20002"/>
                    <a:pt x="5687" y="20002"/>
                  </a:cubicBezTo>
                  <a:cubicBezTo>
                    <a:pt x="5684" y="19998"/>
                    <a:pt x="5684" y="19998"/>
                    <a:pt x="5684" y="19998"/>
                  </a:cubicBezTo>
                  <a:cubicBezTo>
                    <a:pt x="5666" y="19994"/>
                    <a:pt x="5633" y="19986"/>
                    <a:pt x="5592" y="19977"/>
                  </a:cubicBezTo>
                  <a:cubicBezTo>
                    <a:pt x="5460" y="19947"/>
                    <a:pt x="5241" y="19898"/>
                    <a:pt x="5132" y="19873"/>
                  </a:cubicBezTo>
                  <a:cubicBezTo>
                    <a:pt x="5109" y="20051"/>
                    <a:pt x="5018" y="20777"/>
                    <a:pt x="4913" y="21600"/>
                  </a:cubicBezTo>
                  <a:cubicBezTo>
                    <a:pt x="4797" y="21600"/>
                    <a:pt x="4797" y="21600"/>
                    <a:pt x="4797" y="21600"/>
                  </a:cubicBezTo>
                  <a:cubicBezTo>
                    <a:pt x="4852" y="21168"/>
                    <a:pt x="4904" y="20762"/>
                    <a:pt x="4944" y="20447"/>
                  </a:cubicBezTo>
                  <a:cubicBezTo>
                    <a:pt x="4979" y="20170"/>
                    <a:pt x="5005" y="19965"/>
                    <a:pt x="5016" y="19872"/>
                  </a:cubicBezTo>
                  <a:cubicBezTo>
                    <a:pt x="4913" y="19891"/>
                    <a:pt x="4913" y="19891"/>
                    <a:pt x="4913" y="19891"/>
                  </a:cubicBezTo>
                  <a:cubicBezTo>
                    <a:pt x="4695" y="21600"/>
                    <a:pt x="4695" y="21600"/>
                    <a:pt x="4695" y="21600"/>
                  </a:cubicBezTo>
                  <a:cubicBezTo>
                    <a:pt x="4580" y="21600"/>
                    <a:pt x="4580" y="21600"/>
                    <a:pt x="4580" y="21600"/>
                  </a:cubicBezTo>
                  <a:cubicBezTo>
                    <a:pt x="4648" y="21064"/>
                    <a:pt x="4648" y="21064"/>
                    <a:pt x="4648" y="21064"/>
                  </a:cubicBezTo>
                  <a:cubicBezTo>
                    <a:pt x="4644" y="21062"/>
                    <a:pt x="4640" y="21058"/>
                    <a:pt x="4636" y="21055"/>
                  </a:cubicBezTo>
                  <a:cubicBezTo>
                    <a:pt x="4623" y="21049"/>
                    <a:pt x="4605" y="21040"/>
                    <a:pt x="4582" y="21029"/>
                  </a:cubicBezTo>
                  <a:cubicBezTo>
                    <a:pt x="4443" y="20964"/>
                    <a:pt x="4131" y="20833"/>
                    <a:pt x="3866" y="20834"/>
                  </a:cubicBezTo>
                  <a:cubicBezTo>
                    <a:pt x="3852" y="20834"/>
                    <a:pt x="3838" y="20834"/>
                    <a:pt x="3824" y="20835"/>
                  </a:cubicBezTo>
                  <a:cubicBezTo>
                    <a:pt x="3641" y="20845"/>
                    <a:pt x="3514" y="20855"/>
                    <a:pt x="3434" y="20863"/>
                  </a:cubicBezTo>
                  <a:cubicBezTo>
                    <a:pt x="3354" y="20870"/>
                    <a:pt x="3320" y="20875"/>
                    <a:pt x="3320" y="20875"/>
                  </a:cubicBezTo>
                  <a:cubicBezTo>
                    <a:pt x="3314" y="20840"/>
                    <a:pt x="3314" y="20840"/>
                    <a:pt x="3314" y="20840"/>
                  </a:cubicBezTo>
                  <a:cubicBezTo>
                    <a:pt x="3315" y="20840"/>
                    <a:pt x="3454" y="20819"/>
                    <a:pt x="3822" y="20799"/>
                  </a:cubicBezTo>
                  <a:cubicBezTo>
                    <a:pt x="3830" y="20798"/>
                    <a:pt x="3838" y="20798"/>
                    <a:pt x="3846" y="20798"/>
                  </a:cubicBezTo>
                  <a:cubicBezTo>
                    <a:pt x="3757" y="20400"/>
                    <a:pt x="3757" y="20400"/>
                    <a:pt x="3757" y="20400"/>
                  </a:cubicBezTo>
                  <a:cubicBezTo>
                    <a:pt x="3677" y="20413"/>
                    <a:pt x="3609" y="20416"/>
                    <a:pt x="3494" y="20427"/>
                  </a:cubicBezTo>
                  <a:cubicBezTo>
                    <a:pt x="3353" y="20440"/>
                    <a:pt x="3195" y="20453"/>
                    <a:pt x="3072" y="20463"/>
                  </a:cubicBezTo>
                  <a:cubicBezTo>
                    <a:pt x="3010" y="20468"/>
                    <a:pt x="2958" y="20472"/>
                    <a:pt x="2920" y="20475"/>
                  </a:cubicBezTo>
                  <a:cubicBezTo>
                    <a:pt x="2905" y="20476"/>
                    <a:pt x="2892" y="20477"/>
                    <a:pt x="2883" y="20478"/>
                  </a:cubicBezTo>
                  <a:cubicBezTo>
                    <a:pt x="3120" y="21600"/>
                    <a:pt x="3120" y="21600"/>
                    <a:pt x="3120" y="21600"/>
                  </a:cubicBezTo>
                  <a:cubicBezTo>
                    <a:pt x="3083" y="21600"/>
                    <a:pt x="3083" y="21600"/>
                    <a:pt x="3083" y="21600"/>
                  </a:cubicBezTo>
                  <a:cubicBezTo>
                    <a:pt x="3073" y="21554"/>
                    <a:pt x="3073" y="21554"/>
                    <a:pt x="3073" y="21554"/>
                  </a:cubicBezTo>
                  <a:cubicBezTo>
                    <a:pt x="3070" y="21554"/>
                    <a:pt x="3070" y="21554"/>
                    <a:pt x="3070" y="21554"/>
                  </a:cubicBezTo>
                  <a:cubicBezTo>
                    <a:pt x="2197" y="21600"/>
                    <a:pt x="2197" y="21600"/>
                    <a:pt x="2197" y="21600"/>
                  </a:cubicBezTo>
                  <a:cubicBezTo>
                    <a:pt x="1706" y="21600"/>
                    <a:pt x="1706" y="21600"/>
                    <a:pt x="1706" y="21600"/>
                  </a:cubicBezTo>
                  <a:cubicBezTo>
                    <a:pt x="3049" y="21528"/>
                    <a:pt x="3049" y="21528"/>
                    <a:pt x="3049" y="21528"/>
                  </a:cubicBezTo>
                  <a:cubicBezTo>
                    <a:pt x="3067" y="21525"/>
                    <a:pt x="3067" y="21525"/>
                    <a:pt x="3067" y="21525"/>
                  </a:cubicBezTo>
                  <a:cubicBezTo>
                    <a:pt x="2844" y="20471"/>
                    <a:pt x="2844" y="20471"/>
                    <a:pt x="2844" y="20471"/>
                  </a:cubicBezTo>
                  <a:cubicBezTo>
                    <a:pt x="2843" y="20469"/>
                    <a:pt x="2842" y="20466"/>
                    <a:pt x="2842" y="20462"/>
                  </a:cubicBezTo>
                  <a:cubicBezTo>
                    <a:pt x="2842" y="20461"/>
                    <a:pt x="2842" y="20460"/>
                    <a:pt x="2842" y="20459"/>
                  </a:cubicBezTo>
                  <a:cubicBezTo>
                    <a:pt x="2734" y="19946"/>
                    <a:pt x="2734" y="19946"/>
                    <a:pt x="2734" y="19946"/>
                  </a:cubicBezTo>
                  <a:cubicBezTo>
                    <a:pt x="2663" y="19950"/>
                    <a:pt x="2595" y="19951"/>
                    <a:pt x="2555" y="19953"/>
                  </a:cubicBezTo>
                  <a:cubicBezTo>
                    <a:pt x="2549" y="19954"/>
                    <a:pt x="2543" y="19954"/>
                    <a:pt x="2538" y="19954"/>
                  </a:cubicBezTo>
                  <a:cubicBezTo>
                    <a:pt x="2537" y="19954"/>
                    <a:pt x="2537" y="19954"/>
                    <a:pt x="2537" y="19954"/>
                  </a:cubicBezTo>
                  <a:cubicBezTo>
                    <a:pt x="2456" y="19954"/>
                    <a:pt x="2389" y="19924"/>
                    <a:pt x="2362" y="19865"/>
                  </a:cubicBezTo>
                  <a:cubicBezTo>
                    <a:pt x="2351" y="19841"/>
                    <a:pt x="2341" y="19798"/>
                    <a:pt x="2332" y="19752"/>
                  </a:cubicBezTo>
                  <a:cubicBezTo>
                    <a:pt x="773" y="20146"/>
                    <a:pt x="773" y="20146"/>
                    <a:pt x="773" y="20146"/>
                  </a:cubicBezTo>
                  <a:cubicBezTo>
                    <a:pt x="950" y="20534"/>
                    <a:pt x="1163" y="21005"/>
                    <a:pt x="1182" y="21052"/>
                  </a:cubicBezTo>
                  <a:cubicBezTo>
                    <a:pt x="1204" y="21107"/>
                    <a:pt x="1276" y="21369"/>
                    <a:pt x="1329" y="21600"/>
                  </a:cubicBezTo>
                  <a:cubicBezTo>
                    <a:pt x="1292" y="21600"/>
                    <a:pt x="1292" y="21600"/>
                    <a:pt x="1292" y="21600"/>
                  </a:cubicBezTo>
                  <a:cubicBezTo>
                    <a:pt x="1239" y="21372"/>
                    <a:pt x="1169" y="21115"/>
                    <a:pt x="1149" y="21065"/>
                  </a:cubicBezTo>
                  <a:cubicBezTo>
                    <a:pt x="1133" y="21027"/>
                    <a:pt x="971" y="20669"/>
                    <a:pt x="814" y="20322"/>
                  </a:cubicBezTo>
                  <a:cubicBezTo>
                    <a:pt x="735" y="20149"/>
                    <a:pt x="657" y="19978"/>
                    <a:pt x="599" y="19850"/>
                  </a:cubicBezTo>
                  <a:cubicBezTo>
                    <a:pt x="561" y="19766"/>
                    <a:pt x="531" y="19702"/>
                    <a:pt x="516" y="19667"/>
                  </a:cubicBezTo>
                  <a:cubicBezTo>
                    <a:pt x="505" y="19655"/>
                    <a:pt x="505" y="19655"/>
                    <a:pt x="505" y="19655"/>
                  </a:cubicBezTo>
                  <a:cubicBezTo>
                    <a:pt x="444" y="19682"/>
                    <a:pt x="405" y="19701"/>
                    <a:pt x="405" y="19701"/>
                  </a:cubicBezTo>
                  <a:cubicBezTo>
                    <a:pt x="405" y="19700"/>
                    <a:pt x="271" y="19765"/>
                    <a:pt x="68" y="19862"/>
                  </a:cubicBezTo>
                  <a:cubicBezTo>
                    <a:pt x="48" y="19872"/>
                    <a:pt x="28" y="19882"/>
                    <a:pt x="7" y="19892"/>
                  </a:cubicBezTo>
                  <a:cubicBezTo>
                    <a:pt x="7" y="19764"/>
                    <a:pt x="7" y="19764"/>
                    <a:pt x="7" y="19764"/>
                  </a:cubicBezTo>
                  <a:cubicBezTo>
                    <a:pt x="216" y="19664"/>
                    <a:pt x="355" y="19597"/>
                    <a:pt x="356" y="19597"/>
                  </a:cubicBezTo>
                  <a:cubicBezTo>
                    <a:pt x="357" y="19596"/>
                    <a:pt x="695" y="19439"/>
                    <a:pt x="931" y="19346"/>
                  </a:cubicBezTo>
                  <a:cubicBezTo>
                    <a:pt x="1048" y="19300"/>
                    <a:pt x="1275" y="19213"/>
                    <a:pt x="1486" y="19127"/>
                  </a:cubicBezTo>
                  <a:cubicBezTo>
                    <a:pt x="1592" y="19083"/>
                    <a:pt x="1693" y="19041"/>
                    <a:pt x="1775" y="19004"/>
                  </a:cubicBezTo>
                  <a:cubicBezTo>
                    <a:pt x="1856" y="18968"/>
                    <a:pt x="1919" y="18935"/>
                    <a:pt x="1937" y="18921"/>
                  </a:cubicBezTo>
                  <a:cubicBezTo>
                    <a:pt x="1957" y="18907"/>
                    <a:pt x="2002" y="18859"/>
                    <a:pt x="2053" y="18801"/>
                  </a:cubicBezTo>
                  <a:cubicBezTo>
                    <a:pt x="2129" y="18713"/>
                    <a:pt x="2222" y="18596"/>
                    <a:pt x="2296" y="18502"/>
                  </a:cubicBezTo>
                  <a:cubicBezTo>
                    <a:pt x="2346" y="18438"/>
                    <a:pt x="2386" y="18385"/>
                    <a:pt x="2407" y="18357"/>
                  </a:cubicBezTo>
                  <a:cubicBezTo>
                    <a:pt x="2407" y="18357"/>
                    <a:pt x="2407" y="18357"/>
                    <a:pt x="2407" y="18357"/>
                  </a:cubicBezTo>
                  <a:cubicBezTo>
                    <a:pt x="2407" y="18357"/>
                    <a:pt x="2409" y="18355"/>
                    <a:pt x="2412" y="18352"/>
                  </a:cubicBezTo>
                  <a:cubicBezTo>
                    <a:pt x="2415" y="18347"/>
                    <a:pt x="2418" y="18343"/>
                    <a:pt x="2420" y="18340"/>
                  </a:cubicBezTo>
                  <a:cubicBezTo>
                    <a:pt x="2395" y="18317"/>
                    <a:pt x="2373" y="18291"/>
                    <a:pt x="2355" y="18261"/>
                  </a:cubicBezTo>
                  <a:cubicBezTo>
                    <a:pt x="2353" y="18261"/>
                    <a:pt x="2350" y="18261"/>
                    <a:pt x="2347" y="18260"/>
                  </a:cubicBezTo>
                  <a:cubicBezTo>
                    <a:pt x="2346" y="18262"/>
                    <a:pt x="2346" y="18262"/>
                    <a:pt x="2346" y="18262"/>
                  </a:cubicBezTo>
                  <a:cubicBezTo>
                    <a:pt x="2342" y="18261"/>
                    <a:pt x="1818" y="18184"/>
                    <a:pt x="1633" y="18141"/>
                  </a:cubicBezTo>
                  <a:cubicBezTo>
                    <a:pt x="1503" y="18110"/>
                    <a:pt x="1403" y="18059"/>
                    <a:pt x="1302" y="18000"/>
                  </a:cubicBezTo>
                  <a:cubicBezTo>
                    <a:pt x="1565" y="18000"/>
                    <a:pt x="1565" y="18000"/>
                    <a:pt x="1565" y="18000"/>
                  </a:cubicBezTo>
                  <a:cubicBezTo>
                    <a:pt x="1595" y="18011"/>
                    <a:pt x="1626" y="18021"/>
                    <a:pt x="1659" y="18029"/>
                  </a:cubicBezTo>
                  <a:cubicBezTo>
                    <a:pt x="1745" y="18049"/>
                    <a:pt x="1923" y="18080"/>
                    <a:pt x="2077" y="18104"/>
                  </a:cubicBezTo>
                  <a:cubicBezTo>
                    <a:pt x="2161" y="18118"/>
                    <a:pt x="2238" y="18129"/>
                    <a:pt x="2291" y="18137"/>
                  </a:cubicBezTo>
                  <a:cubicBezTo>
                    <a:pt x="2293" y="18138"/>
                    <a:pt x="2302" y="18139"/>
                    <a:pt x="2310" y="18140"/>
                  </a:cubicBezTo>
                  <a:cubicBezTo>
                    <a:pt x="2307" y="18121"/>
                    <a:pt x="2305" y="18103"/>
                    <a:pt x="2305" y="18083"/>
                  </a:cubicBezTo>
                  <a:cubicBezTo>
                    <a:pt x="2305" y="18055"/>
                    <a:pt x="2309" y="18027"/>
                    <a:pt x="2316" y="18000"/>
                  </a:cubicBezTo>
                  <a:cubicBezTo>
                    <a:pt x="2442" y="18000"/>
                    <a:pt x="2442" y="18000"/>
                    <a:pt x="2442" y="18000"/>
                  </a:cubicBezTo>
                  <a:cubicBezTo>
                    <a:pt x="2431" y="18026"/>
                    <a:pt x="2426" y="18054"/>
                    <a:pt x="2426" y="18083"/>
                  </a:cubicBezTo>
                  <a:cubicBezTo>
                    <a:pt x="2426" y="18207"/>
                    <a:pt x="2526" y="18308"/>
                    <a:pt x="2651" y="18308"/>
                  </a:cubicBezTo>
                  <a:cubicBezTo>
                    <a:pt x="2775" y="18308"/>
                    <a:pt x="2876" y="18207"/>
                    <a:pt x="2876" y="18083"/>
                  </a:cubicBezTo>
                  <a:cubicBezTo>
                    <a:pt x="2876" y="18054"/>
                    <a:pt x="2870" y="18026"/>
                    <a:pt x="2860" y="18000"/>
                  </a:cubicBezTo>
                  <a:cubicBezTo>
                    <a:pt x="2986" y="18000"/>
                    <a:pt x="2986" y="18000"/>
                    <a:pt x="2986" y="18000"/>
                  </a:cubicBezTo>
                  <a:cubicBezTo>
                    <a:pt x="2992" y="18027"/>
                    <a:pt x="2996" y="18055"/>
                    <a:pt x="2996" y="18083"/>
                  </a:cubicBezTo>
                  <a:cubicBezTo>
                    <a:pt x="2996" y="18088"/>
                    <a:pt x="2996" y="18093"/>
                    <a:pt x="2995" y="18098"/>
                  </a:cubicBezTo>
                  <a:cubicBezTo>
                    <a:pt x="2998" y="18099"/>
                    <a:pt x="3001" y="18101"/>
                    <a:pt x="3003" y="18102"/>
                  </a:cubicBezTo>
                  <a:cubicBezTo>
                    <a:pt x="3003" y="18102"/>
                    <a:pt x="3003" y="18102"/>
                    <a:pt x="3003" y="18102"/>
                  </a:cubicBezTo>
                  <a:cubicBezTo>
                    <a:pt x="3003" y="18102"/>
                    <a:pt x="3003" y="18102"/>
                    <a:pt x="3003" y="18102"/>
                  </a:cubicBezTo>
                  <a:cubicBezTo>
                    <a:pt x="3003" y="18102"/>
                    <a:pt x="3004" y="18103"/>
                    <a:pt x="3005" y="18103"/>
                  </a:cubicBezTo>
                  <a:cubicBezTo>
                    <a:pt x="3011" y="18106"/>
                    <a:pt x="3016" y="18109"/>
                    <a:pt x="3015" y="18108"/>
                  </a:cubicBezTo>
                  <a:cubicBezTo>
                    <a:pt x="3015" y="18108"/>
                    <a:pt x="3016" y="18109"/>
                    <a:pt x="3016" y="18109"/>
                  </a:cubicBezTo>
                  <a:cubicBezTo>
                    <a:pt x="3052" y="18129"/>
                    <a:pt x="3160" y="18189"/>
                    <a:pt x="3277" y="18260"/>
                  </a:cubicBezTo>
                  <a:cubicBezTo>
                    <a:pt x="3348" y="18304"/>
                    <a:pt x="3423" y="18353"/>
                    <a:pt x="3486" y="18399"/>
                  </a:cubicBezTo>
                  <a:cubicBezTo>
                    <a:pt x="3549" y="18447"/>
                    <a:pt x="3601" y="18490"/>
                    <a:pt x="3632" y="18536"/>
                  </a:cubicBezTo>
                  <a:cubicBezTo>
                    <a:pt x="3723" y="18677"/>
                    <a:pt x="3743" y="18893"/>
                    <a:pt x="3744" y="19000"/>
                  </a:cubicBezTo>
                  <a:cubicBezTo>
                    <a:pt x="3744" y="19013"/>
                    <a:pt x="3744" y="19025"/>
                    <a:pt x="3743" y="19036"/>
                  </a:cubicBezTo>
                  <a:cubicBezTo>
                    <a:pt x="3737" y="19103"/>
                    <a:pt x="3728" y="19280"/>
                    <a:pt x="3726" y="19330"/>
                  </a:cubicBezTo>
                  <a:cubicBezTo>
                    <a:pt x="3749" y="19386"/>
                    <a:pt x="3772" y="19440"/>
                    <a:pt x="3792" y="19486"/>
                  </a:cubicBezTo>
                  <a:cubicBezTo>
                    <a:pt x="3816" y="19542"/>
                    <a:pt x="3837" y="19587"/>
                    <a:pt x="3846" y="19602"/>
                  </a:cubicBezTo>
                  <a:cubicBezTo>
                    <a:pt x="3869" y="19641"/>
                    <a:pt x="3896" y="19687"/>
                    <a:pt x="3924" y="19726"/>
                  </a:cubicBezTo>
                  <a:cubicBezTo>
                    <a:pt x="3951" y="19764"/>
                    <a:pt x="3982" y="19795"/>
                    <a:pt x="3995" y="19801"/>
                  </a:cubicBezTo>
                  <a:cubicBezTo>
                    <a:pt x="4004" y="19806"/>
                    <a:pt x="4029" y="19813"/>
                    <a:pt x="4057" y="19816"/>
                  </a:cubicBezTo>
                  <a:cubicBezTo>
                    <a:pt x="4086" y="19820"/>
                    <a:pt x="4120" y="19822"/>
                    <a:pt x="4151" y="19822"/>
                  </a:cubicBezTo>
                  <a:cubicBezTo>
                    <a:pt x="4174" y="19822"/>
                    <a:pt x="4196" y="19821"/>
                    <a:pt x="4215" y="19820"/>
                  </a:cubicBezTo>
                  <a:cubicBezTo>
                    <a:pt x="4217" y="19816"/>
                    <a:pt x="4218" y="19812"/>
                    <a:pt x="4220" y="19809"/>
                  </a:cubicBezTo>
                  <a:cubicBezTo>
                    <a:pt x="4583" y="18733"/>
                    <a:pt x="4583" y="18733"/>
                    <a:pt x="4583" y="18733"/>
                  </a:cubicBezTo>
                  <a:cubicBezTo>
                    <a:pt x="4264" y="18140"/>
                    <a:pt x="4264" y="18140"/>
                    <a:pt x="4264" y="18140"/>
                  </a:cubicBezTo>
                  <a:cubicBezTo>
                    <a:pt x="4278" y="18000"/>
                    <a:pt x="4278" y="18000"/>
                    <a:pt x="4278" y="18000"/>
                  </a:cubicBezTo>
                  <a:cubicBezTo>
                    <a:pt x="4304" y="18000"/>
                    <a:pt x="4304" y="18000"/>
                    <a:pt x="4304" y="18000"/>
                  </a:cubicBezTo>
                  <a:cubicBezTo>
                    <a:pt x="4291" y="18134"/>
                    <a:pt x="4291" y="18134"/>
                    <a:pt x="4291" y="18134"/>
                  </a:cubicBezTo>
                  <a:cubicBezTo>
                    <a:pt x="4607" y="18722"/>
                    <a:pt x="4607" y="18722"/>
                    <a:pt x="4607" y="18722"/>
                  </a:cubicBezTo>
                  <a:cubicBezTo>
                    <a:pt x="5088" y="19038"/>
                    <a:pt x="5088" y="19038"/>
                    <a:pt x="5088" y="19038"/>
                  </a:cubicBezTo>
                  <a:cubicBezTo>
                    <a:pt x="5093" y="19039"/>
                    <a:pt x="5099" y="19040"/>
                    <a:pt x="5104" y="19041"/>
                  </a:cubicBezTo>
                  <a:cubicBezTo>
                    <a:pt x="5037" y="18459"/>
                    <a:pt x="5037" y="18459"/>
                    <a:pt x="5037" y="18459"/>
                  </a:cubicBezTo>
                  <a:cubicBezTo>
                    <a:pt x="5037" y="18457"/>
                    <a:pt x="5037" y="18457"/>
                    <a:pt x="5037" y="18457"/>
                  </a:cubicBezTo>
                  <a:cubicBezTo>
                    <a:pt x="5037" y="18457"/>
                    <a:pt x="5046" y="18245"/>
                    <a:pt x="5050" y="18000"/>
                  </a:cubicBezTo>
                  <a:cubicBezTo>
                    <a:pt x="5086" y="18000"/>
                    <a:pt x="5086" y="18000"/>
                    <a:pt x="5086" y="18000"/>
                  </a:cubicBezTo>
                  <a:cubicBezTo>
                    <a:pt x="5085" y="18053"/>
                    <a:pt x="5084" y="18104"/>
                    <a:pt x="5083" y="18152"/>
                  </a:cubicBezTo>
                  <a:cubicBezTo>
                    <a:pt x="5084" y="18147"/>
                    <a:pt x="5084" y="18147"/>
                    <a:pt x="5084" y="18147"/>
                  </a:cubicBezTo>
                  <a:cubicBezTo>
                    <a:pt x="5084" y="18147"/>
                    <a:pt x="5084" y="18147"/>
                    <a:pt x="5084" y="18147"/>
                  </a:cubicBezTo>
                  <a:cubicBezTo>
                    <a:pt x="5085" y="18147"/>
                    <a:pt x="5290" y="18202"/>
                    <a:pt x="5515" y="18261"/>
                  </a:cubicBezTo>
                  <a:cubicBezTo>
                    <a:pt x="5739" y="18320"/>
                    <a:pt x="5982" y="18384"/>
                    <a:pt x="6055" y="18400"/>
                  </a:cubicBezTo>
                  <a:cubicBezTo>
                    <a:pt x="6154" y="18422"/>
                    <a:pt x="6263" y="18456"/>
                    <a:pt x="6418" y="18456"/>
                  </a:cubicBezTo>
                  <a:cubicBezTo>
                    <a:pt x="6492" y="18456"/>
                    <a:pt x="6577" y="18447"/>
                    <a:pt x="6675" y="18427"/>
                  </a:cubicBezTo>
                  <a:cubicBezTo>
                    <a:pt x="6682" y="18382"/>
                    <a:pt x="6709" y="18222"/>
                    <a:pt x="6735" y="18061"/>
                  </a:cubicBezTo>
                  <a:cubicBezTo>
                    <a:pt x="6739" y="18041"/>
                    <a:pt x="6742" y="18020"/>
                    <a:pt x="6745" y="18000"/>
                  </a:cubicBezTo>
                  <a:cubicBezTo>
                    <a:pt x="6782" y="18000"/>
                    <a:pt x="6782" y="18000"/>
                    <a:pt x="6782" y="18000"/>
                  </a:cubicBezTo>
                  <a:cubicBezTo>
                    <a:pt x="6777" y="18027"/>
                    <a:pt x="6773" y="18053"/>
                    <a:pt x="6769" y="18080"/>
                  </a:cubicBezTo>
                  <a:cubicBezTo>
                    <a:pt x="6741" y="18248"/>
                    <a:pt x="6714" y="18411"/>
                    <a:pt x="6710" y="18440"/>
                  </a:cubicBezTo>
                  <a:cubicBezTo>
                    <a:pt x="7232" y="19931"/>
                    <a:pt x="7232" y="19931"/>
                    <a:pt x="7232" y="19931"/>
                  </a:cubicBezTo>
                  <a:cubicBezTo>
                    <a:pt x="7239" y="19944"/>
                    <a:pt x="7239" y="19944"/>
                    <a:pt x="7239" y="19944"/>
                  </a:cubicBezTo>
                  <a:cubicBezTo>
                    <a:pt x="7289" y="19945"/>
                    <a:pt x="7336" y="19947"/>
                    <a:pt x="7379" y="19949"/>
                  </a:cubicBezTo>
                  <a:cubicBezTo>
                    <a:pt x="7564" y="19955"/>
                    <a:pt x="7687" y="19960"/>
                    <a:pt x="7687" y="19960"/>
                  </a:cubicBezTo>
                  <a:cubicBezTo>
                    <a:pt x="7688" y="19960"/>
                    <a:pt x="7689" y="19960"/>
                    <a:pt x="7690" y="19960"/>
                  </a:cubicBezTo>
                  <a:cubicBezTo>
                    <a:pt x="7699" y="19960"/>
                    <a:pt x="7732" y="19962"/>
                    <a:pt x="7772" y="19964"/>
                  </a:cubicBezTo>
                  <a:cubicBezTo>
                    <a:pt x="7778" y="19953"/>
                    <a:pt x="7778" y="19953"/>
                    <a:pt x="7778" y="19953"/>
                  </a:cubicBezTo>
                  <a:cubicBezTo>
                    <a:pt x="7869" y="19705"/>
                    <a:pt x="7869" y="19705"/>
                    <a:pt x="7869" y="19705"/>
                  </a:cubicBezTo>
                  <a:cubicBezTo>
                    <a:pt x="7792" y="18998"/>
                    <a:pt x="7792" y="18998"/>
                    <a:pt x="7792" y="18998"/>
                  </a:cubicBezTo>
                  <a:cubicBezTo>
                    <a:pt x="7778" y="18970"/>
                    <a:pt x="7665" y="18745"/>
                    <a:pt x="7577" y="18526"/>
                  </a:cubicBezTo>
                  <a:cubicBezTo>
                    <a:pt x="7537" y="18427"/>
                    <a:pt x="7525" y="18341"/>
                    <a:pt x="7525" y="18275"/>
                  </a:cubicBezTo>
                  <a:cubicBezTo>
                    <a:pt x="7525" y="18184"/>
                    <a:pt x="7548" y="18130"/>
                    <a:pt x="7548" y="18129"/>
                  </a:cubicBezTo>
                  <a:cubicBezTo>
                    <a:pt x="7549" y="18128"/>
                    <a:pt x="7549" y="18128"/>
                    <a:pt x="7549" y="18128"/>
                  </a:cubicBezTo>
                  <a:cubicBezTo>
                    <a:pt x="7619" y="18000"/>
                    <a:pt x="7619" y="18000"/>
                    <a:pt x="7619" y="18000"/>
                  </a:cubicBezTo>
                  <a:cubicBezTo>
                    <a:pt x="7657" y="18000"/>
                    <a:pt x="7657" y="18000"/>
                    <a:pt x="7657" y="18000"/>
                  </a:cubicBezTo>
                  <a:cubicBezTo>
                    <a:pt x="7660" y="18000"/>
                    <a:pt x="7660" y="18000"/>
                    <a:pt x="7660" y="18000"/>
                  </a:cubicBezTo>
                  <a:cubicBezTo>
                    <a:pt x="7727" y="18000"/>
                    <a:pt x="7727" y="18000"/>
                    <a:pt x="7727" y="18000"/>
                  </a:cubicBezTo>
                  <a:cubicBezTo>
                    <a:pt x="8901" y="18698"/>
                    <a:pt x="8901" y="18698"/>
                    <a:pt x="8901" y="18698"/>
                  </a:cubicBezTo>
                  <a:cubicBezTo>
                    <a:pt x="8911" y="18684"/>
                    <a:pt x="8927" y="18662"/>
                    <a:pt x="8945" y="18635"/>
                  </a:cubicBezTo>
                  <a:cubicBezTo>
                    <a:pt x="9027" y="18513"/>
                    <a:pt x="9169" y="18294"/>
                    <a:pt x="9170" y="18293"/>
                  </a:cubicBezTo>
                  <a:cubicBezTo>
                    <a:pt x="9175" y="18285"/>
                    <a:pt x="9175" y="18285"/>
                    <a:pt x="9175" y="18285"/>
                  </a:cubicBezTo>
                  <a:cubicBezTo>
                    <a:pt x="9208" y="18285"/>
                    <a:pt x="9208" y="18285"/>
                    <a:pt x="9208" y="18285"/>
                  </a:cubicBezTo>
                  <a:cubicBezTo>
                    <a:pt x="9191" y="18000"/>
                    <a:pt x="9191" y="18000"/>
                    <a:pt x="9191" y="18000"/>
                  </a:cubicBezTo>
                  <a:cubicBezTo>
                    <a:pt x="9227" y="18000"/>
                    <a:pt x="9227" y="18000"/>
                    <a:pt x="9227" y="18000"/>
                  </a:cubicBezTo>
                  <a:cubicBezTo>
                    <a:pt x="9244" y="18286"/>
                    <a:pt x="9244" y="18286"/>
                    <a:pt x="9244" y="18286"/>
                  </a:cubicBezTo>
                  <a:cubicBezTo>
                    <a:pt x="9242" y="18286"/>
                    <a:pt x="9242" y="18286"/>
                    <a:pt x="9242" y="18286"/>
                  </a:cubicBezTo>
                  <a:cubicBezTo>
                    <a:pt x="10224" y="18300"/>
                    <a:pt x="10224" y="18300"/>
                    <a:pt x="10224" y="18300"/>
                  </a:cubicBezTo>
                  <a:cubicBezTo>
                    <a:pt x="10224" y="18299"/>
                    <a:pt x="10224" y="18299"/>
                    <a:pt x="10224" y="18299"/>
                  </a:cubicBezTo>
                  <a:cubicBezTo>
                    <a:pt x="10248" y="18280"/>
                    <a:pt x="10348" y="18188"/>
                    <a:pt x="10348" y="18014"/>
                  </a:cubicBezTo>
                  <a:cubicBezTo>
                    <a:pt x="10348" y="18010"/>
                    <a:pt x="10347" y="18005"/>
                    <a:pt x="10347" y="18000"/>
                  </a:cubicBezTo>
                  <a:cubicBezTo>
                    <a:pt x="10383" y="18000"/>
                    <a:pt x="10383" y="18000"/>
                    <a:pt x="10383" y="18000"/>
                  </a:cubicBezTo>
                  <a:cubicBezTo>
                    <a:pt x="10383" y="18005"/>
                    <a:pt x="10384" y="18010"/>
                    <a:pt x="10384" y="18014"/>
                  </a:cubicBezTo>
                  <a:cubicBezTo>
                    <a:pt x="10384" y="18200"/>
                    <a:pt x="10280" y="18300"/>
                    <a:pt x="10249" y="18326"/>
                  </a:cubicBezTo>
                  <a:cubicBezTo>
                    <a:pt x="10253" y="18361"/>
                    <a:pt x="10265" y="18491"/>
                    <a:pt x="10278" y="18621"/>
                  </a:cubicBezTo>
                  <a:cubicBezTo>
                    <a:pt x="10286" y="18698"/>
                    <a:pt x="10294" y="18775"/>
                    <a:pt x="10299" y="18833"/>
                  </a:cubicBezTo>
                  <a:cubicBezTo>
                    <a:pt x="10302" y="18862"/>
                    <a:pt x="10304" y="18886"/>
                    <a:pt x="10306" y="18903"/>
                  </a:cubicBezTo>
                  <a:cubicBezTo>
                    <a:pt x="10306" y="18906"/>
                    <a:pt x="10307" y="18909"/>
                    <a:pt x="10307" y="18911"/>
                  </a:cubicBezTo>
                  <a:cubicBezTo>
                    <a:pt x="11924" y="18622"/>
                    <a:pt x="11924" y="18622"/>
                    <a:pt x="11924" y="18622"/>
                  </a:cubicBezTo>
                  <a:cubicBezTo>
                    <a:pt x="11805" y="18069"/>
                    <a:pt x="11805" y="18069"/>
                    <a:pt x="11805" y="18069"/>
                  </a:cubicBezTo>
                  <a:cubicBezTo>
                    <a:pt x="11794" y="18061"/>
                    <a:pt x="11772" y="18042"/>
                    <a:pt x="11741" y="18000"/>
                  </a:cubicBezTo>
                  <a:cubicBezTo>
                    <a:pt x="11787" y="18000"/>
                    <a:pt x="11787" y="18000"/>
                    <a:pt x="11787" y="18000"/>
                  </a:cubicBezTo>
                  <a:cubicBezTo>
                    <a:pt x="11788" y="18002"/>
                    <a:pt x="11790" y="18003"/>
                    <a:pt x="11791" y="18005"/>
                  </a:cubicBezTo>
                  <a:cubicBezTo>
                    <a:pt x="11794" y="18000"/>
                    <a:pt x="11794" y="18000"/>
                    <a:pt x="11794" y="18000"/>
                  </a:cubicBezTo>
                  <a:cubicBezTo>
                    <a:pt x="11838" y="18000"/>
                    <a:pt x="11838" y="18000"/>
                    <a:pt x="11838" y="18000"/>
                  </a:cubicBezTo>
                  <a:cubicBezTo>
                    <a:pt x="11816" y="18031"/>
                    <a:pt x="11816" y="18031"/>
                    <a:pt x="11816" y="18031"/>
                  </a:cubicBezTo>
                  <a:cubicBezTo>
                    <a:pt x="11818" y="18033"/>
                    <a:pt x="11820" y="18035"/>
                    <a:pt x="11821" y="18036"/>
                  </a:cubicBezTo>
                  <a:cubicBezTo>
                    <a:pt x="11825" y="18039"/>
                    <a:pt x="11827" y="18041"/>
                    <a:pt x="11828" y="18042"/>
                  </a:cubicBezTo>
                  <a:cubicBezTo>
                    <a:pt x="11829" y="18042"/>
                    <a:pt x="11829" y="18042"/>
                    <a:pt x="11830" y="18042"/>
                  </a:cubicBezTo>
                  <a:cubicBezTo>
                    <a:pt x="11830" y="18042"/>
                    <a:pt x="11830" y="18042"/>
                    <a:pt x="11830" y="18042"/>
                  </a:cubicBezTo>
                  <a:cubicBezTo>
                    <a:pt x="11837" y="18046"/>
                    <a:pt x="11837" y="18046"/>
                    <a:pt x="11837" y="18046"/>
                  </a:cubicBezTo>
                  <a:cubicBezTo>
                    <a:pt x="11965" y="18643"/>
                    <a:pt x="11965" y="18643"/>
                    <a:pt x="11965" y="18643"/>
                  </a:cubicBezTo>
                  <a:cubicBezTo>
                    <a:pt x="12160" y="19922"/>
                    <a:pt x="12160" y="19922"/>
                    <a:pt x="12160" y="19922"/>
                  </a:cubicBezTo>
                  <a:cubicBezTo>
                    <a:pt x="13154" y="20315"/>
                    <a:pt x="13154" y="20315"/>
                    <a:pt x="13154" y="20315"/>
                  </a:cubicBezTo>
                  <a:cubicBezTo>
                    <a:pt x="13849" y="18315"/>
                    <a:pt x="13849" y="18315"/>
                    <a:pt x="13849" y="18315"/>
                  </a:cubicBezTo>
                  <a:cubicBezTo>
                    <a:pt x="13370" y="18263"/>
                    <a:pt x="13370" y="18263"/>
                    <a:pt x="13370" y="18263"/>
                  </a:cubicBezTo>
                  <a:cubicBezTo>
                    <a:pt x="12901" y="18000"/>
                    <a:pt x="12901" y="18000"/>
                    <a:pt x="12901" y="18000"/>
                  </a:cubicBezTo>
                  <a:cubicBezTo>
                    <a:pt x="12974" y="18000"/>
                    <a:pt x="12974" y="18000"/>
                    <a:pt x="12974" y="18000"/>
                  </a:cubicBezTo>
                  <a:cubicBezTo>
                    <a:pt x="13381" y="18228"/>
                    <a:pt x="13381" y="18228"/>
                    <a:pt x="13381" y="18228"/>
                  </a:cubicBezTo>
                  <a:cubicBezTo>
                    <a:pt x="13849" y="18279"/>
                    <a:pt x="13849" y="18279"/>
                    <a:pt x="13849" y="18279"/>
                  </a:cubicBezTo>
                  <a:cubicBezTo>
                    <a:pt x="13859" y="18280"/>
                    <a:pt x="13859" y="18280"/>
                    <a:pt x="13859" y="18280"/>
                  </a:cubicBezTo>
                  <a:cubicBezTo>
                    <a:pt x="13855" y="18240"/>
                    <a:pt x="13845" y="18139"/>
                    <a:pt x="13832" y="18000"/>
                  </a:cubicBezTo>
                  <a:cubicBezTo>
                    <a:pt x="13948" y="18000"/>
                    <a:pt x="13948" y="18000"/>
                    <a:pt x="13948" y="18000"/>
                  </a:cubicBezTo>
                  <a:cubicBezTo>
                    <a:pt x="13948" y="18007"/>
                    <a:pt x="13949" y="18014"/>
                    <a:pt x="13949" y="18020"/>
                  </a:cubicBezTo>
                  <a:cubicBezTo>
                    <a:pt x="13965" y="18184"/>
                    <a:pt x="13975" y="18288"/>
                    <a:pt x="13975" y="18288"/>
                  </a:cubicBezTo>
                  <a:cubicBezTo>
                    <a:pt x="13975" y="18292"/>
                    <a:pt x="13975" y="18292"/>
                    <a:pt x="13975" y="18292"/>
                  </a:cubicBezTo>
                  <a:cubicBezTo>
                    <a:pt x="13977" y="18292"/>
                    <a:pt x="13980" y="18293"/>
                    <a:pt x="13982" y="18294"/>
                  </a:cubicBezTo>
                  <a:cubicBezTo>
                    <a:pt x="14429" y="18342"/>
                    <a:pt x="14429" y="18342"/>
                    <a:pt x="14429" y="18342"/>
                  </a:cubicBezTo>
                  <a:cubicBezTo>
                    <a:pt x="14430" y="18342"/>
                    <a:pt x="14436" y="18342"/>
                    <a:pt x="14441" y="18347"/>
                  </a:cubicBezTo>
                  <a:cubicBezTo>
                    <a:pt x="14450" y="18352"/>
                    <a:pt x="14488" y="18372"/>
                    <a:pt x="14544" y="18399"/>
                  </a:cubicBezTo>
                  <a:cubicBezTo>
                    <a:pt x="14667" y="18460"/>
                    <a:pt x="14885" y="18567"/>
                    <a:pt x="15133" y="18694"/>
                  </a:cubicBezTo>
                  <a:cubicBezTo>
                    <a:pt x="15123" y="18646"/>
                    <a:pt x="15073" y="18458"/>
                    <a:pt x="15012" y="18237"/>
                  </a:cubicBezTo>
                  <a:cubicBezTo>
                    <a:pt x="14991" y="18161"/>
                    <a:pt x="14969" y="18081"/>
                    <a:pt x="14947" y="18000"/>
                  </a:cubicBezTo>
                  <a:cubicBezTo>
                    <a:pt x="14984" y="18000"/>
                    <a:pt x="14984" y="18000"/>
                    <a:pt x="14984" y="18000"/>
                  </a:cubicBezTo>
                  <a:cubicBezTo>
                    <a:pt x="15005" y="18077"/>
                    <a:pt x="15027" y="18154"/>
                    <a:pt x="15047" y="18227"/>
                  </a:cubicBezTo>
                  <a:cubicBezTo>
                    <a:pt x="15112" y="18465"/>
                    <a:pt x="15165" y="18658"/>
                    <a:pt x="15170" y="18696"/>
                  </a:cubicBezTo>
                  <a:cubicBezTo>
                    <a:pt x="15145" y="18700"/>
                    <a:pt x="15145" y="18700"/>
                    <a:pt x="15145" y="18700"/>
                  </a:cubicBezTo>
                  <a:cubicBezTo>
                    <a:pt x="15269" y="18763"/>
                    <a:pt x="15401" y="18831"/>
                    <a:pt x="15532" y="18901"/>
                  </a:cubicBezTo>
                  <a:cubicBezTo>
                    <a:pt x="15772" y="19029"/>
                    <a:pt x="16011" y="19171"/>
                    <a:pt x="16200" y="19283"/>
                  </a:cubicBezTo>
                  <a:cubicBezTo>
                    <a:pt x="16832" y="19657"/>
                    <a:pt x="17302" y="20204"/>
                    <a:pt x="17303" y="20205"/>
                  </a:cubicBezTo>
                  <a:cubicBezTo>
                    <a:pt x="17338" y="20243"/>
                    <a:pt x="17381" y="20293"/>
                    <a:pt x="17436" y="20349"/>
                  </a:cubicBezTo>
                  <a:cubicBezTo>
                    <a:pt x="17502" y="20296"/>
                    <a:pt x="17662" y="20168"/>
                    <a:pt x="17839" y="20023"/>
                  </a:cubicBezTo>
                  <a:cubicBezTo>
                    <a:pt x="17896" y="19977"/>
                    <a:pt x="17954" y="19930"/>
                    <a:pt x="18011" y="19883"/>
                  </a:cubicBezTo>
                  <a:lnTo>
                    <a:pt x="18011" y="19930"/>
                  </a:lnTo>
                  <a:close/>
                  <a:moveTo>
                    <a:pt x="2929" y="18287"/>
                  </a:moveTo>
                  <a:cubicBezTo>
                    <a:pt x="2948" y="18297"/>
                    <a:pt x="2948" y="18297"/>
                    <a:pt x="2948" y="18297"/>
                  </a:cubicBezTo>
                  <a:cubicBezTo>
                    <a:pt x="2948" y="18297"/>
                    <a:pt x="2948" y="18297"/>
                    <a:pt x="2948" y="18297"/>
                  </a:cubicBezTo>
                  <a:cubicBezTo>
                    <a:pt x="2981" y="18313"/>
                    <a:pt x="3028" y="18335"/>
                    <a:pt x="3077" y="18359"/>
                  </a:cubicBezTo>
                  <a:cubicBezTo>
                    <a:pt x="3123" y="18381"/>
                    <a:pt x="3170" y="18404"/>
                    <a:pt x="3210" y="18424"/>
                  </a:cubicBezTo>
                  <a:cubicBezTo>
                    <a:pt x="3250" y="18445"/>
                    <a:pt x="3280" y="18461"/>
                    <a:pt x="3300" y="18474"/>
                  </a:cubicBezTo>
                  <a:cubicBezTo>
                    <a:pt x="3366" y="18518"/>
                    <a:pt x="3414" y="18581"/>
                    <a:pt x="3453" y="18654"/>
                  </a:cubicBezTo>
                  <a:cubicBezTo>
                    <a:pt x="3475" y="18693"/>
                    <a:pt x="3501" y="18756"/>
                    <a:pt x="3527" y="18822"/>
                  </a:cubicBezTo>
                  <a:cubicBezTo>
                    <a:pt x="3553" y="18887"/>
                    <a:pt x="3577" y="18951"/>
                    <a:pt x="3589" y="18988"/>
                  </a:cubicBezTo>
                  <a:cubicBezTo>
                    <a:pt x="3594" y="19001"/>
                    <a:pt x="3606" y="19033"/>
                    <a:pt x="3623" y="19076"/>
                  </a:cubicBezTo>
                  <a:cubicBezTo>
                    <a:pt x="3625" y="19057"/>
                    <a:pt x="3627" y="19040"/>
                    <a:pt x="3628" y="19026"/>
                  </a:cubicBezTo>
                  <a:cubicBezTo>
                    <a:pt x="3629" y="19020"/>
                    <a:pt x="3629" y="19011"/>
                    <a:pt x="3629" y="19000"/>
                  </a:cubicBezTo>
                  <a:cubicBezTo>
                    <a:pt x="3631" y="18910"/>
                    <a:pt x="3604" y="18697"/>
                    <a:pt x="3536" y="18599"/>
                  </a:cubicBezTo>
                  <a:cubicBezTo>
                    <a:pt x="3523" y="18578"/>
                    <a:pt x="3476" y="18535"/>
                    <a:pt x="3418" y="18492"/>
                  </a:cubicBezTo>
                  <a:cubicBezTo>
                    <a:pt x="3329" y="18426"/>
                    <a:pt x="3211" y="18353"/>
                    <a:pt x="3116" y="18298"/>
                  </a:cubicBezTo>
                  <a:cubicBezTo>
                    <a:pt x="3051" y="18260"/>
                    <a:pt x="2998" y="18230"/>
                    <a:pt x="2970" y="18215"/>
                  </a:cubicBezTo>
                  <a:cubicBezTo>
                    <a:pt x="2959" y="18241"/>
                    <a:pt x="2945" y="18265"/>
                    <a:pt x="2929" y="18287"/>
                  </a:cubicBezTo>
                  <a:close/>
                  <a:moveTo>
                    <a:pt x="2326" y="19717"/>
                  </a:moveTo>
                  <a:cubicBezTo>
                    <a:pt x="2316" y="19660"/>
                    <a:pt x="2310" y="19605"/>
                    <a:pt x="2307" y="19578"/>
                  </a:cubicBezTo>
                  <a:cubicBezTo>
                    <a:pt x="2307" y="19574"/>
                    <a:pt x="2307" y="19570"/>
                    <a:pt x="2307" y="19566"/>
                  </a:cubicBezTo>
                  <a:cubicBezTo>
                    <a:pt x="2306" y="19508"/>
                    <a:pt x="2345" y="19436"/>
                    <a:pt x="2447" y="19408"/>
                  </a:cubicBezTo>
                  <a:cubicBezTo>
                    <a:pt x="2540" y="19382"/>
                    <a:pt x="2737" y="19357"/>
                    <a:pt x="2858" y="19357"/>
                  </a:cubicBezTo>
                  <a:cubicBezTo>
                    <a:pt x="2874" y="19357"/>
                    <a:pt x="2889" y="19357"/>
                    <a:pt x="2902" y="19358"/>
                  </a:cubicBezTo>
                  <a:cubicBezTo>
                    <a:pt x="3014" y="19366"/>
                    <a:pt x="3067" y="19427"/>
                    <a:pt x="3096" y="19487"/>
                  </a:cubicBezTo>
                  <a:cubicBezTo>
                    <a:pt x="3120" y="19535"/>
                    <a:pt x="3130" y="19617"/>
                    <a:pt x="3130" y="19682"/>
                  </a:cubicBezTo>
                  <a:cubicBezTo>
                    <a:pt x="3130" y="19703"/>
                    <a:pt x="3129" y="19722"/>
                    <a:pt x="3127" y="19738"/>
                  </a:cubicBezTo>
                  <a:cubicBezTo>
                    <a:pt x="3124" y="19753"/>
                    <a:pt x="3117" y="19770"/>
                    <a:pt x="3107" y="19787"/>
                  </a:cubicBezTo>
                  <a:cubicBezTo>
                    <a:pt x="3115" y="19792"/>
                    <a:pt x="3167" y="19811"/>
                    <a:pt x="3227" y="19830"/>
                  </a:cubicBezTo>
                  <a:cubicBezTo>
                    <a:pt x="3288" y="19849"/>
                    <a:pt x="3359" y="19867"/>
                    <a:pt x="3409" y="19873"/>
                  </a:cubicBezTo>
                  <a:cubicBezTo>
                    <a:pt x="3414" y="19873"/>
                    <a:pt x="3419" y="19873"/>
                    <a:pt x="3426" y="19873"/>
                  </a:cubicBezTo>
                  <a:cubicBezTo>
                    <a:pt x="3486" y="19874"/>
                    <a:pt x="3593" y="19848"/>
                    <a:pt x="3684" y="19823"/>
                  </a:cubicBezTo>
                  <a:cubicBezTo>
                    <a:pt x="3731" y="19809"/>
                    <a:pt x="3773" y="19796"/>
                    <a:pt x="3803" y="19787"/>
                  </a:cubicBezTo>
                  <a:cubicBezTo>
                    <a:pt x="3819" y="19775"/>
                    <a:pt x="3819" y="19775"/>
                    <a:pt x="3819" y="19775"/>
                  </a:cubicBezTo>
                  <a:cubicBezTo>
                    <a:pt x="3792" y="19736"/>
                    <a:pt x="3767" y="19694"/>
                    <a:pt x="3747" y="19659"/>
                  </a:cubicBezTo>
                  <a:cubicBezTo>
                    <a:pt x="3732" y="19634"/>
                    <a:pt x="3712" y="19590"/>
                    <a:pt x="3687" y="19532"/>
                  </a:cubicBezTo>
                  <a:cubicBezTo>
                    <a:pt x="3612" y="19360"/>
                    <a:pt x="3501" y="19083"/>
                    <a:pt x="3481" y="19026"/>
                  </a:cubicBezTo>
                  <a:cubicBezTo>
                    <a:pt x="3469" y="18991"/>
                    <a:pt x="3445" y="18927"/>
                    <a:pt x="3420" y="18864"/>
                  </a:cubicBezTo>
                  <a:cubicBezTo>
                    <a:pt x="3396" y="18801"/>
                    <a:pt x="3368" y="18737"/>
                    <a:pt x="3353" y="18709"/>
                  </a:cubicBezTo>
                  <a:cubicBezTo>
                    <a:pt x="3318" y="18646"/>
                    <a:pt x="3281" y="18599"/>
                    <a:pt x="3236" y="18569"/>
                  </a:cubicBezTo>
                  <a:cubicBezTo>
                    <a:pt x="3228" y="18563"/>
                    <a:pt x="3196" y="18546"/>
                    <a:pt x="3158" y="18527"/>
                  </a:cubicBezTo>
                  <a:cubicBezTo>
                    <a:pt x="3042" y="18468"/>
                    <a:pt x="2854" y="18380"/>
                    <a:pt x="2853" y="18380"/>
                  </a:cubicBezTo>
                  <a:cubicBezTo>
                    <a:pt x="2854" y="18378"/>
                    <a:pt x="2854" y="18378"/>
                    <a:pt x="2854" y="18378"/>
                  </a:cubicBezTo>
                  <a:cubicBezTo>
                    <a:pt x="2842" y="18372"/>
                    <a:pt x="2842" y="18372"/>
                    <a:pt x="2842" y="18372"/>
                  </a:cubicBezTo>
                  <a:cubicBezTo>
                    <a:pt x="2841" y="18371"/>
                    <a:pt x="2841" y="18371"/>
                    <a:pt x="2841" y="18371"/>
                  </a:cubicBezTo>
                  <a:cubicBezTo>
                    <a:pt x="2787" y="18407"/>
                    <a:pt x="2721" y="18429"/>
                    <a:pt x="2651" y="18429"/>
                  </a:cubicBezTo>
                  <a:cubicBezTo>
                    <a:pt x="2604" y="18429"/>
                    <a:pt x="2559" y="18419"/>
                    <a:pt x="2518" y="18402"/>
                  </a:cubicBezTo>
                  <a:cubicBezTo>
                    <a:pt x="2512" y="18409"/>
                    <a:pt x="2506" y="18418"/>
                    <a:pt x="2506" y="18418"/>
                  </a:cubicBezTo>
                  <a:cubicBezTo>
                    <a:pt x="2506" y="18418"/>
                    <a:pt x="2506" y="18418"/>
                    <a:pt x="2505" y="18418"/>
                  </a:cubicBezTo>
                  <a:cubicBezTo>
                    <a:pt x="2477" y="18455"/>
                    <a:pt x="2397" y="18560"/>
                    <a:pt x="2307" y="18673"/>
                  </a:cubicBezTo>
                  <a:cubicBezTo>
                    <a:pt x="2251" y="18743"/>
                    <a:pt x="2192" y="18815"/>
                    <a:pt x="2139" y="18876"/>
                  </a:cubicBezTo>
                  <a:cubicBezTo>
                    <a:pt x="2086" y="18937"/>
                    <a:pt x="2042" y="18985"/>
                    <a:pt x="2006" y="19012"/>
                  </a:cubicBezTo>
                  <a:cubicBezTo>
                    <a:pt x="1969" y="19040"/>
                    <a:pt x="1906" y="19070"/>
                    <a:pt x="1822" y="19109"/>
                  </a:cubicBezTo>
                  <a:cubicBezTo>
                    <a:pt x="1572" y="19222"/>
                    <a:pt x="1148" y="19384"/>
                    <a:pt x="973" y="19453"/>
                  </a:cubicBezTo>
                  <a:cubicBezTo>
                    <a:pt x="858" y="19499"/>
                    <a:pt x="715" y="19561"/>
                    <a:pt x="602" y="19611"/>
                  </a:cubicBezTo>
                  <a:cubicBezTo>
                    <a:pt x="583" y="19620"/>
                    <a:pt x="565" y="19628"/>
                    <a:pt x="547" y="19635"/>
                  </a:cubicBezTo>
                  <a:cubicBezTo>
                    <a:pt x="549" y="19654"/>
                    <a:pt x="549" y="19654"/>
                    <a:pt x="549" y="19654"/>
                  </a:cubicBezTo>
                  <a:cubicBezTo>
                    <a:pt x="581" y="19723"/>
                    <a:pt x="663" y="19903"/>
                    <a:pt x="758" y="20113"/>
                  </a:cubicBezTo>
                  <a:lnTo>
                    <a:pt x="2326" y="19717"/>
                  </a:lnTo>
                  <a:close/>
                  <a:moveTo>
                    <a:pt x="3097" y="19803"/>
                  </a:moveTo>
                  <a:cubicBezTo>
                    <a:pt x="3097" y="19803"/>
                    <a:pt x="3097" y="19803"/>
                    <a:pt x="3097" y="19803"/>
                  </a:cubicBezTo>
                  <a:cubicBezTo>
                    <a:pt x="3101" y="19818"/>
                    <a:pt x="3101" y="19818"/>
                    <a:pt x="3101" y="19818"/>
                  </a:cubicBezTo>
                  <a:lnTo>
                    <a:pt x="3097" y="19803"/>
                  </a:lnTo>
                  <a:close/>
                  <a:moveTo>
                    <a:pt x="2936" y="19882"/>
                  </a:moveTo>
                  <a:cubicBezTo>
                    <a:pt x="2979" y="19866"/>
                    <a:pt x="3017" y="19839"/>
                    <a:pt x="3045" y="19809"/>
                  </a:cubicBezTo>
                  <a:cubicBezTo>
                    <a:pt x="3073" y="19780"/>
                    <a:pt x="3089" y="19749"/>
                    <a:pt x="3091" y="19733"/>
                  </a:cubicBezTo>
                  <a:cubicBezTo>
                    <a:pt x="3109" y="19735"/>
                    <a:pt x="3109" y="19735"/>
                    <a:pt x="3109" y="19735"/>
                  </a:cubicBezTo>
                  <a:cubicBezTo>
                    <a:pt x="3091" y="19733"/>
                    <a:pt x="3091" y="19733"/>
                    <a:pt x="3091" y="19733"/>
                  </a:cubicBezTo>
                  <a:cubicBezTo>
                    <a:pt x="3093" y="19719"/>
                    <a:pt x="3094" y="19701"/>
                    <a:pt x="3094" y="19682"/>
                  </a:cubicBezTo>
                  <a:cubicBezTo>
                    <a:pt x="3094" y="19621"/>
                    <a:pt x="3083" y="19540"/>
                    <a:pt x="3064" y="19503"/>
                  </a:cubicBezTo>
                  <a:cubicBezTo>
                    <a:pt x="3036" y="19448"/>
                    <a:pt x="2999" y="19403"/>
                    <a:pt x="2899" y="19394"/>
                  </a:cubicBezTo>
                  <a:cubicBezTo>
                    <a:pt x="2887" y="19393"/>
                    <a:pt x="2873" y="19393"/>
                    <a:pt x="2858" y="19393"/>
                  </a:cubicBezTo>
                  <a:cubicBezTo>
                    <a:pt x="2742" y="19393"/>
                    <a:pt x="2544" y="19418"/>
                    <a:pt x="2457" y="19443"/>
                  </a:cubicBezTo>
                  <a:cubicBezTo>
                    <a:pt x="2367" y="19468"/>
                    <a:pt x="2344" y="19522"/>
                    <a:pt x="2343" y="19566"/>
                  </a:cubicBezTo>
                  <a:cubicBezTo>
                    <a:pt x="2343" y="19570"/>
                    <a:pt x="2343" y="19572"/>
                    <a:pt x="2343" y="19575"/>
                  </a:cubicBezTo>
                  <a:cubicBezTo>
                    <a:pt x="2347" y="19626"/>
                    <a:pt x="2373" y="19804"/>
                    <a:pt x="2395" y="19850"/>
                  </a:cubicBezTo>
                  <a:cubicBezTo>
                    <a:pt x="2413" y="19891"/>
                    <a:pt x="2464" y="19918"/>
                    <a:pt x="2538" y="19918"/>
                  </a:cubicBezTo>
                  <a:cubicBezTo>
                    <a:pt x="2543" y="19918"/>
                    <a:pt x="2548" y="19918"/>
                    <a:pt x="2553" y="19917"/>
                  </a:cubicBezTo>
                  <a:cubicBezTo>
                    <a:pt x="2639" y="19913"/>
                    <a:pt x="2848" y="19913"/>
                    <a:pt x="2936" y="19882"/>
                  </a:cubicBezTo>
                  <a:close/>
                  <a:moveTo>
                    <a:pt x="3839" y="20346"/>
                  </a:moveTo>
                  <a:cubicBezTo>
                    <a:pt x="4016" y="20305"/>
                    <a:pt x="4188" y="20187"/>
                    <a:pt x="4315" y="20079"/>
                  </a:cubicBezTo>
                  <a:cubicBezTo>
                    <a:pt x="4377" y="20027"/>
                    <a:pt x="4427" y="19977"/>
                    <a:pt x="4464" y="19939"/>
                  </a:cubicBezTo>
                  <a:cubicBezTo>
                    <a:pt x="4466" y="19921"/>
                    <a:pt x="4466" y="19921"/>
                    <a:pt x="4466" y="19921"/>
                  </a:cubicBezTo>
                  <a:cubicBezTo>
                    <a:pt x="4359" y="19926"/>
                    <a:pt x="4263" y="19931"/>
                    <a:pt x="4237" y="19933"/>
                  </a:cubicBezTo>
                  <a:cubicBezTo>
                    <a:pt x="4213" y="19935"/>
                    <a:pt x="4183" y="19937"/>
                    <a:pt x="4151" y="19937"/>
                  </a:cubicBezTo>
                  <a:cubicBezTo>
                    <a:pt x="4116" y="19937"/>
                    <a:pt x="4078" y="19935"/>
                    <a:pt x="4042" y="19930"/>
                  </a:cubicBezTo>
                  <a:cubicBezTo>
                    <a:pt x="4006" y="19925"/>
                    <a:pt x="3973" y="19918"/>
                    <a:pt x="3942" y="19902"/>
                  </a:cubicBezTo>
                  <a:cubicBezTo>
                    <a:pt x="3903" y="19881"/>
                    <a:pt x="3874" y="19849"/>
                    <a:pt x="3846" y="19813"/>
                  </a:cubicBezTo>
                  <a:cubicBezTo>
                    <a:pt x="3842" y="19813"/>
                    <a:pt x="3838" y="19814"/>
                    <a:pt x="3833" y="19815"/>
                  </a:cubicBezTo>
                  <a:cubicBezTo>
                    <a:pt x="3755" y="19840"/>
                    <a:pt x="3536" y="19909"/>
                    <a:pt x="3426" y="19909"/>
                  </a:cubicBezTo>
                  <a:cubicBezTo>
                    <a:pt x="3418" y="19909"/>
                    <a:pt x="3411" y="19909"/>
                    <a:pt x="3405" y="19908"/>
                  </a:cubicBezTo>
                  <a:cubicBezTo>
                    <a:pt x="3347" y="19902"/>
                    <a:pt x="3269" y="19881"/>
                    <a:pt x="3204" y="19861"/>
                  </a:cubicBezTo>
                  <a:cubicBezTo>
                    <a:pt x="3172" y="19850"/>
                    <a:pt x="3143" y="19840"/>
                    <a:pt x="3122" y="19832"/>
                  </a:cubicBezTo>
                  <a:cubicBezTo>
                    <a:pt x="3112" y="19829"/>
                    <a:pt x="3104" y="19825"/>
                    <a:pt x="3097" y="19822"/>
                  </a:cubicBezTo>
                  <a:cubicBezTo>
                    <a:pt x="3094" y="19821"/>
                    <a:pt x="3092" y="19820"/>
                    <a:pt x="3089" y="19819"/>
                  </a:cubicBezTo>
                  <a:cubicBezTo>
                    <a:pt x="3088" y="19818"/>
                    <a:pt x="3087" y="19817"/>
                    <a:pt x="3086" y="19816"/>
                  </a:cubicBezTo>
                  <a:cubicBezTo>
                    <a:pt x="3081" y="19822"/>
                    <a:pt x="3077" y="19828"/>
                    <a:pt x="3071" y="19834"/>
                  </a:cubicBezTo>
                  <a:cubicBezTo>
                    <a:pt x="3040" y="19867"/>
                    <a:pt x="2998" y="19898"/>
                    <a:pt x="2947" y="19916"/>
                  </a:cubicBezTo>
                  <a:cubicBezTo>
                    <a:pt x="2903" y="19931"/>
                    <a:pt x="2837" y="19939"/>
                    <a:pt x="2770" y="19944"/>
                  </a:cubicBezTo>
                  <a:cubicBezTo>
                    <a:pt x="2875" y="20442"/>
                    <a:pt x="2875" y="20442"/>
                    <a:pt x="2875" y="20442"/>
                  </a:cubicBezTo>
                  <a:cubicBezTo>
                    <a:pt x="2875" y="20442"/>
                    <a:pt x="2876" y="20442"/>
                    <a:pt x="2876" y="20442"/>
                  </a:cubicBezTo>
                  <a:cubicBezTo>
                    <a:pt x="2951" y="20436"/>
                    <a:pt x="3247" y="20414"/>
                    <a:pt x="3491" y="20391"/>
                  </a:cubicBezTo>
                  <a:cubicBezTo>
                    <a:pt x="3647" y="20376"/>
                    <a:pt x="3713" y="20376"/>
                    <a:pt x="3839" y="20346"/>
                  </a:cubicBezTo>
                  <a:close/>
                  <a:moveTo>
                    <a:pt x="4796" y="19905"/>
                  </a:moveTo>
                  <a:cubicBezTo>
                    <a:pt x="4744" y="19907"/>
                    <a:pt x="4658" y="19911"/>
                    <a:pt x="4569" y="19916"/>
                  </a:cubicBezTo>
                  <a:cubicBezTo>
                    <a:pt x="4558" y="19916"/>
                    <a:pt x="4548" y="19917"/>
                    <a:pt x="4537" y="19917"/>
                  </a:cubicBezTo>
                  <a:cubicBezTo>
                    <a:pt x="4523" y="19929"/>
                    <a:pt x="4523" y="19929"/>
                    <a:pt x="4523" y="19929"/>
                  </a:cubicBezTo>
                  <a:cubicBezTo>
                    <a:pt x="4436" y="20023"/>
                    <a:pt x="4157" y="20308"/>
                    <a:pt x="3847" y="20381"/>
                  </a:cubicBezTo>
                  <a:cubicBezTo>
                    <a:pt x="3828" y="20386"/>
                    <a:pt x="3810" y="20390"/>
                    <a:pt x="3793" y="20393"/>
                  </a:cubicBezTo>
                  <a:cubicBezTo>
                    <a:pt x="3883" y="20798"/>
                    <a:pt x="3883" y="20798"/>
                    <a:pt x="3883" y="20798"/>
                  </a:cubicBezTo>
                  <a:cubicBezTo>
                    <a:pt x="4183" y="20804"/>
                    <a:pt x="4524" y="20960"/>
                    <a:pt x="4635" y="21015"/>
                  </a:cubicBezTo>
                  <a:cubicBezTo>
                    <a:pt x="4654" y="21019"/>
                    <a:pt x="4654" y="21019"/>
                    <a:pt x="4654" y="21019"/>
                  </a:cubicBezTo>
                  <a:lnTo>
                    <a:pt x="4796" y="19905"/>
                  </a:lnTo>
                  <a:close/>
                  <a:moveTo>
                    <a:pt x="5071" y="19745"/>
                  </a:moveTo>
                  <a:cubicBezTo>
                    <a:pt x="5073" y="19737"/>
                    <a:pt x="5075" y="19724"/>
                    <a:pt x="5076" y="19718"/>
                  </a:cubicBezTo>
                  <a:cubicBezTo>
                    <a:pt x="5115" y="19136"/>
                    <a:pt x="5115" y="19136"/>
                    <a:pt x="5115" y="19136"/>
                  </a:cubicBezTo>
                  <a:cubicBezTo>
                    <a:pt x="5109" y="19083"/>
                    <a:pt x="5109" y="19083"/>
                    <a:pt x="5109" y="19083"/>
                  </a:cubicBezTo>
                  <a:cubicBezTo>
                    <a:pt x="4604" y="18752"/>
                    <a:pt x="4604" y="18752"/>
                    <a:pt x="4604" y="18752"/>
                  </a:cubicBezTo>
                  <a:cubicBezTo>
                    <a:pt x="4251" y="19801"/>
                    <a:pt x="4251" y="19801"/>
                    <a:pt x="4251" y="19801"/>
                  </a:cubicBezTo>
                  <a:cubicBezTo>
                    <a:pt x="4249" y="19817"/>
                    <a:pt x="4249" y="19817"/>
                    <a:pt x="4249" y="19817"/>
                  </a:cubicBezTo>
                  <a:cubicBezTo>
                    <a:pt x="4367" y="19810"/>
                    <a:pt x="4793" y="19790"/>
                    <a:pt x="4837" y="19788"/>
                  </a:cubicBezTo>
                  <a:lnTo>
                    <a:pt x="5071" y="19745"/>
                  </a:lnTo>
                  <a:close/>
                  <a:moveTo>
                    <a:pt x="7193" y="19942"/>
                  </a:moveTo>
                  <a:cubicBezTo>
                    <a:pt x="7192" y="19926"/>
                    <a:pt x="7192" y="19926"/>
                    <a:pt x="7192" y="19926"/>
                  </a:cubicBezTo>
                  <a:cubicBezTo>
                    <a:pt x="6679" y="18463"/>
                    <a:pt x="6679" y="18463"/>
                    <a:pt x="6679" y="18463"/>
                  </a:cubicBezTo>
                  <a:cubicBezTo>
                    <a:pt x="6580" y="18483"/>
                    <a:pt x="6494" y="18492"/>
                    <a:pt x="6418" y="18492"/>
                  </a:cubicBezTo>
                  <a:cubicBezTo>
                    <a:pt x="6418" y="18492"/>
                    <a:pt x="6418" y="18492"/>
                    <a:pt x="6418" y="18492"/>
                  </a:cubicBezTo>
                  <a:cubicBezTo>
                    <a:pt x="6258" y="18492"/>
                    <a:pt x="6144" y="18456"/>
                    <a:pt x="6047" y="18435"/>
                  </a:cubicBezTo>
                  <a:cubicBezTo>
                    <a:pt x="5907" y="18404"/>
                    <a:pt x="5161" y="18205"/>
                    <a:pt x="5082" y="18184"/>
                  </a:cubicBezTo>
                  <a:cubicBezTo>
                    <a:pt x="5078" y="18333"/>
                    <a:pt x="5074" y="18444"/>
                    <a:pt x="5073" y="18458"/>
                  </a:cubicBezTo>
                  <a:cubicBezTo>
                    <a:pt x="5151" y="19135"/>
                    <a:pt x="5151" y="19135"/>
                    <a:pt x="5151" y="19135"/>
                  </a:cubicBezTo>
                  <a:cubicBezTo>
                    <a:pt x="5112" y="19731"/>
                    <a:pt x="5112" y="19731"/>
                    <a:pt x="5112" y="19731"/>
                  </a:cubicBezTo>
                  <a:cubicBezTo>
                    <a:pt x="5115" y="19752"/>
                    <a:pt x="5115" y="19752"/>
                    <a:pt x="5115" y="19752"/>
                  </a:cubicBezTo>
                  <a:cubicBezTo>
                    <a:pt x="5170" y="19764"/>
                    <a:pt x="5304" y="19794"/>
                    <a:pt x="5433" y="19823"/>
                  </a:cubicBezTo>
                  <a:cubicBezTo>
                    <a:pt x="5507" y="19840"/>
                    <a:pt x="5580" y="19857"/>
                    <a:pt x="5635" y="19869"/>
                  </a:cubicBezTo>
                  <a:cubicBezTo>
                    <a:pt x="5662" y="19875"/>
                    <a:pt x="5685" y="19881"/>
                    <a:pt x="5701" y="19884"/>
                  </a:cubicBezTo>
                  <a:cubicBezTo>
                    <a:pt x="5709" y="19886"/>
                    <a:pt x="5715" y="19888"/>
                    <a:pt x="5720" y="19889"/>
                  </a:cubicBezTo>
                  <a:cubicBezTo>
                    <a:pt x="5721" y="19889"/>
                    <a:pt x="5722" y="19889"/>
                    <a:pt x="5722" y="19890"/>
                  </a:cubicBezTo>
                  <a:cubicBezTo>
                    <a:pt x="5784" y="19892"/>
                    <a:pt x="6242" y="19908"/>
                    <a:pt x="6701" y="19924"/>
                  </a:cubicBezTo>
                  <a:cubicBezTo>
                    <a:pt x="6872" y="19931"/>
                    <a:pt x="7043" y="19937"/>
                    <a:pt x="7193" y="19942"/>
                  </a:cubicBezTo>
                  <a:close/>
                  <a:moveTo>
                    <a:pt x="8911" y="18889"/>
                  </a:moveTo>
                  <a:cubicBezTo>
                    <a:pt x="8912" y="18889"/>
                    <a:pt x="8912" y="18889"/>
                    <a:pt x="8912" y="18889"/>
                  </a:cubicBezTo>
                  <a:cubicBezTo>
                    <a:pt x="8912" y="18889"/>
                    <a:pt x="8912" y="18889"/>
                    <a:pt x="8912" y="18889"/>
                  </a:cubicBezTo>
                  <a:lnTo>
                    <a:pt x="8911" y="18889"/>
                  </a:lnTo>
                  <a:close/>
                  <a:moveTo>
                    <a:pt x="8910" y="18895"/>
                  </a:moveTo>
                  <a:cubicBezTo>
                    <a:pt x="8912" y="18895"/>
                    <a:pt x="8912" y="18895"/>
                    <a:pt x="8912" y="18895"/>
                  </a:cubicBezTo>
                  <a:cubicBezTo>
                    <a:pt x="8912" y="18895"/>
                    <a:pt x="8912" y="18895"/>
                    <a:pt x="8912" y="18895"/>
                  </a:cubicBezTo>
                  <a:lnTo>
                    <a:pt x="8910" y="18895"/>
                  </a:lnTo>
                  <a:close/>
                  <a:moveTo>
                    <a:pt x="7820" y="18974"/>
                  </a:moveTo>
                  <a:cubicBezTo>
                    <a:pt x="7932" y="18963"/>
                    <a:pt x="8777" y="18883"/>
                    <a:pt x="8910" y="18877"/>
                  </a:cubicBezTo>
                  <a:cubicBezTo>
                    <a:pt x="8901" y="18806"/>
                    <a:pt x="8894" y="18754"/>
                    <a:pt x="8892" y="18734"/>
                  </a:cubicBezTo>
                  <a:cubicBezTo>
                    <a:pt x="7659" y="18002"/>
                    <a:pt x="7659" y="18002"/>
                    <a:pt x="7659" y="18002"/>
                  </a:cubicBezTo>
                  <a:cubicBezTo>
                    <a:pt x="7581" y="18144"/>
                    <a:pt x="7581" y="18144"/>
                    <a:pt x="7581" y="18144"/>
                  </a:cubicBezTo>
                  <a:cubicBezTo>
                    <a:pt x="7581" y="18145"/>
                    <a:pt x="7580" y="18147"/>
                    <a:pt x="7578" y="18151"/>
                  </a:cubicBezTo>
                  <a:cubicBezTo>
                    <a:pt x="7573" y="18168"/>
                    <a:pt x="7561" y="18211"/>
                    <a:pt x="7561" y="18275"/>
                  </a:cubicBezTo>
                  <a:cubicBezTo>
                    <a:pt x="7561" y="18337"/>
                    <a:pt x="7572" y="18417"/>
                    <a:pt x="7610" y="18513"/>
                  </a:cubicBezTo>
                  <a:cubicBezTo>
                    <a:pt x="7657" y="18628"/>
                    <a:pt x="7711" y="18746"/>
                    <a:pt x="7753" y="18836"/>
                  </a:cubicBezTo>
                  <a:cubicBezTo>
                    <a:pt x="7785" y="18902"/>
                    <a:pt x="7810" y="18953"/>
                    <a:pt x="7820" y="18974"/>
                  </a:cubicBezTo>
                  <a:close/>
                  <a:moveTo>
                    <a:pt x="7890" y="19976"/>
                  </a:moveTo>
                  <a:cubicBezTo>
                    <a:pt x="7927" y="19981"/>
                    <a:pt x="8374" y="20047"/>
                    <a:pt x="8882" y="20123"/>
                  </a:cubicBezTo>
                  <a:cubicBezTo>
                    <a:pt x="8884" y="20121"/>
                    <a:pt x="8892" y="20110"/>
                    <a:pt x="8898" y="20104"/>
                  </a:cubicBezTo>
                  <a:cubicBezTo>
                    <a:pt x="8901" y="20100"/>
                    <a:pt x="8903" y="20095"/>
                    <a:pt x="8906" y="20090"/>
                  </a:cubicBezTo>
                  <a:cubicBezTo>
                    <a:pt x="8939" y="20028"/>
                    <a:pt x="9004" y="19879"/>
                    <a:pt x="9004" y="19695"/>
                  </a:cubicBezTo>
                  <a:cubicBezTo>
                    <a:pt x="9004" y="19668"/>
                    <a:pt x="9003" y="19640"/>
                    <a:pt x="9000" y="19611"/>
                  </a:cubicBezTo>
                  <a:cubicBezTo>
                    <a:pt x="8983" y="19464"/>
                    <a:pt x="8956" y="19243"/>
                    <a:pt x="8933" y="19058"/>
                  </a:cubicBezTo>
                  <a:cubicBezTo>
                    <a:pt x="8926" y="19006"/>
                    <a:pt x="8920" y="18956"/>
                    <a:pt x="8915" y="18913"/>
                  </a:cubicBezTo>
                  <a:cubicBezTo>
                    <a:pt x="8855" y="18915"/>
                    <a:pt x="8593" y="18938"/>
                    <a:pt x="8341" y="18961"/>
                  </a:cubicBezTo>
                  <a:cubicBezTo>
                    <a:pt x="8113" y="18982"/>
                    <a:pt x="7892" y="19003"/>
                    <a:pt x="7830" y="19009"/>
                  </a:cubicBezTo>
                  <a:cubicBezTo>
                    <a:pt x="7906" y="19709"/>
                    <a:pt x="7906" y="19709"/>
                    <a:pt x="7906" y="19709"/>
                  </a:cubicBezTo>
                  <a:cubicBezTo>
                    <a:pt x="7817" y="19952"/>
                    <a:pt x="7817" y="19952"/>
                    <a:pt x="7817" y="19952"/>
                  </a:cubicBezTo>
                  <a:cubicBezTo>
                    <a:pt x="7818" y="19968"/>
                    <a:pt x="7818" y="19968"/>
                    <a:pt x="7818" y="19968"/>
                  </a:cubicBezTo>
                  <a:cubicBezTo>
                    <a:pt x="7842" y="19970"/>
                    <a:pt x="7866" y="19973"/>
                    <a:pt x="7890" y="19976"/>
                  </a:cubicBezTo>
                  <a:close/>
                  <a:moveTo>
                    <a:pt x="8932" y="20130"/>
                  </a:moveTo>
                  <a:cubicBezTo>
                    <a:pt x="9256" y="20178"/>
                    <a:pt x="9600" y="20230"/>
                    <a:pt x="9877" y="20271"/>
                  </a:cubicBezTo>
                  <a:cubicBezTo>
                    <a:pt x="9884" y="20258"/>
                    <a:pt x="9884" y="20258"/>
                    <a:pt x="9884" y="20258"/>
                  </a:cubicBezTo>
                  <a:cubicBezTo>
                    <a:pt x="10006" y="19900"/>
                    <a:pt x="10006" y="19900"/>
                    <a:pt x="10006" y="19900"/>
                  </a:cubicBezTo>
                  <a:cubicBezTo>
                    <a:pt x="10162" y="19772"/>
                    <a:pt x="10162" y="19772"/>
                    <a:pt x="10162" y="19772"/>
                  </a:cubicBezTo>
                  <a:cubicBezTo>
                    <a:pt x="10138" y="19101"/>
                    <a:pt x="10138" y="19101"/>
                    <a:pt x="10138" y="19101"/>
                  </a:cubicBezTo>
                  <a:cubicBezTo>
                    <a:pt x="10272" y="18927"/>
                    <a:pt x="10272" y="18927"/>
                    <a:pt x="10272" y="18927"/>
                  </a:cubicBezTo>
                  <a:cubicBezTo>
                    <a:pt x="10267" y="18868"/>
                    <a:pt x="10223" y="18426"/>
                    <a:pt x="10214" y="18336"/>
                  </a:cubicBezTo>
                  <a:cubicBezTo>
                    <a:pt x="9195" y="18321"/>
                    <a:pt x="9195" y="18321"/>
                    <a:pt x="9195" y="18321"/>
                  </a:cubicBezTo>
                  <a:cubicBezTo>
                    <a:pt x="9177" y="18348"/>
                    <a:pt x="9121" y="18435"/>
                    <a:pt x="9064" y="18522"/>
                  </a:cubicBezTo>
                  <a:cubicBezTo>
                    <a:pt x="9029" y="18574"/>
                    <a:pt x="8994" y="18626"/>
                    <a:pt x="8967" y="18666"/>
                  </a:cubicBezTo>
                  <a:cubicBezTo>
                    <a:pt x="8954" y="18686"/>
                    <a:pt x="8942" y="18703"/>
                    <a:pt x="8934" y="18715"/>
                  </a:cubicBezTo>
                  <a:cubicBezTo>
                    <a:pt x="8931" y="18718"/>
                    <a:pt x="8929" y="18721"/>
                    <a:pt x="8927" y="18724"/>
                  </a:cubicBezTo>
                  <a:cubicBezTo>
                    <a:pt x="8932" y="18767"/>
                    <a:pt x="9004" y="19324"/>
                    <a:pt x="9035" y="19607"/>
                  </a:cubicBezTo>
                  <a:cubicBezTo>
                    <a:pt x="9039" y="19637"/>
                    <a:pt x="9040" y="19666"/>
                    <a:pt x="9040" y="19695"/>
                  </a:cubicBezTo>
                  <a:cubicBezTo>
                    <a:pt x="9040" y="19887"/>
                    <a:pt x="8972" y="20041"/>
                    <a:pt x="8938" y="20107"/>
                  </a:cubicBezTo>
                  <a:lnTo>
                    <a:pt x="8932" y="20130"/>
                  </a:lnTo>
                  <a:close/>
                  <a:moveTo>
                    <a:pt x="13140" y="20349"/>
                  </a:moveTo>
                  <a:cubicBezTo>
                    <a:pt x="12127" y="19948"/>
                    <a:pt x="12127" y="19948"/>
                    <a:pt x="12127" y="19948"/>
                  </a:cubicBezTo>
                  <a:cubicBezTo>
                    <a:pt x="11931" y="18657"/>
                    <a:pt x="11931" y="18657"/>
                    <a:pt x="11931" y="18657"/>
                  </a:cubicBezTo>
                  <a:cubicBezTo>
                    <a:pt x="10301" y="18949"/>
                    <a:pt x="10301" y="18949"/>
                    <a:pt x="10301" y="18949"/>
                  </a:cubicBezTo>
                  <a:cubicBezTo>
                    <a:pt x="10174" y="19113"/>
                    <a:pt x="10174" y="19113"/>
                    <a:pt x="10174" y="19113"/>
                  </a:cubicBezTo>
                  <a:cubicBezTo>
                    <a:pt x="10199" y="19789"/>
                    <a:pt x="10199" y="19789"/>
                    <a:pt x="10199" y="19789"/>
                  </a:cubicBezTo>
                  <a:cubicBezTo>
                    <a:pt x="10037" y="19922"/>
                    <a:pt x="10037" y="19922"/>
                    <a:pt x="10037" y="19922"/>
                  </a:cubicBezTo>
                  <a:cubicBezTo>
                    <a:pt x="9923" y="20256"/>
                    <a:pt x="9923" y="20256"/>
                    <a:pt x="9923" y="20256"/>
                  </a:cubicBezTo>
                  <a:cubicBezTo>
                    <a:pt x="9921" y="20277"/>
                    <a:pt x="9921" y="20277"/>
                    <a:pt x="9921" y="20277"/>
                  </a:cubicBezTo>
                  <a:cubicBezTo>
                    <a:pt x="10211" y="20321"/>
                    <a:pt x="10418" y="20351"/>
                    <a:pt x="10433" y="20354"/>
                  </a:cubicBezTo>
                  <a:cubicBezTo>
                    <a:pt x="10449" y="20356"/>
                    <a:pt x="10611" y="20375"/>
                    <a:pt x="10771" y="20447"/>
                  </a:cubicBezTo>
                  <a:cubicBezTo>
                    <a:pt x="10935" y="20521"/>
                    <a:pt x="11499" y="20837"/>
                    <a:pt x="11654" y="20935"/>
                  </a:cubicBezTo>
                  <a:cubicBezTo>
                    <a:pt x="12581" y="21529"/>
                    <a:pt x="12581" y="21529"/>
                    <a:pt x="12581" y="21529"/>
                  </a:cubicBezTo>
                  <a:cubicBezTo>
                    <a:pt x="12725" y="21229"/>
                    <a:pt x="12860" y="20944"/>
                    <a:pt x="12963" y="20726"/>
                  </a:cubicBezTo>
                  <a:cubicBezTo>
                    <a:pt x="13052" y="20536"/>
                    <a:pt x="13117" y="20399"/>
                    <a:pt x="13140" y="20349"/>
                  </a:cubicBezTo>
                  <a:close/>
                  <a:moveTo>
                    <a:pt x="4151" y="12831"/>
                  </a:moveTo>
                  <a:cubicBezTo>
                    <a:pt x="4162" y="12845"/>
                    <a:pt x="4147" y="12881"/>
                    <a:pt x="4141" y="12888"/>
                  </a:cubicBezTo>
                  <a:cubicBezTo>
                    <a:pt x="4136" y="12896"/>
                    <a:pt x="4043" y="12953"/>
                    <a:pt x="4026" y="12972"/>
                  </a:cubicBezTo>
                  <a:cubicBezTo>
                    <a:pt x="4009" y="12990"/>
                    <a:pt x="4012" y="13044"/>
                    <a:pt x="4008" y="13058"/>
                  </a:cubicBezTo>
                  <a:cubicBezTo>
                    <a:pt x="4005" y="13072"/>
                    <a:pt x="3993" y="13070"/>
                    <a:pt x="3974" y="13067"/>
                  </a:cubicBezTo>
                  <a:cubicBezTo>
                    <a:pt x="3956" y="13064"/>
                    <a:pt x="3941" y="13004"/>
                    <a:pt x="3947" y="12977"/>
                  </a:cubicBezTo>
                  <a:cubicBezTo>
                    <a:pt x="3949" y="12967"/>
                    <a:pt x="3907" y="12986"/>
                    <a:pt x="3890" y="12997"/>
                  </a:cubicBezTo>
                  <a:cubicBezTo>
                    <a:pt x="3873" y="13008"/>
                    <a:pt x="3857" y="13014"/>
                    <a:pt x="3836" y="12997"/>
                  </a:cubicBezTo>
                  <a:cubicBezTo>
                    <a:pt x="3816" y="12981"/>
                    <a:pt x="3834" y="12950"/>
                    <a:pt x="3857" y="12938"/>
                  </a:cubicBezTo>
                  <a:cubicBezTo>
                    <a:pt x="3880" y="12927"/>
                    <a:pt x="3915" y="12925"/>
                    <a:pt x="3944" y="12922"/>
                  </a:cubicBezTo>
                  <a:cubicBezTo>
                    <a:pt x="3973" y="12919"/>
                    <a:pt x="4017" y="12911"/>
                    <a:pt x="4027" y="12887"/>
                  </a:cubicBezTo>
                  <a:cubicBezTo>
                    <a:pt x="4037" y="12864"/>
                    <a:pt x="3872" y="12854"/>
                    <a:pt x="3844" y="12849"/>
                  </a:cubicBezTo>
                  <a:cubicBezTo>
                    <a:pt x="3817" y="12844"/>
                    <a:pt x="3806" y="12821"/>
                    <a:pt x="3813" y="12809"/>
                  </a:cubicBezTo>
                  <a:cubicBezTo>
                    <a:pt x="3820" y="12798"/>
                    <a:pt x="3850" y="12816"/>
                    <a:pt x="3850" y="12816"/>
                  </a:cubicBezTo>
                  <a:cubicBezTo>
                    <a:pt x="3850" y="12816"/>
                    <a:pt x="4042" y="12809"/>
                    <a:pt x="4084" y="12811"/>
                  </a:cubicBezTo>
                  <a:cubicBezTo>
                    <a:pt x="4126" y="12812"/>
                    <a:pt x="4151" y="12831"/>
                    <a:pt x="4151" y="12831"/>
                  </a:cubicBezTo>
                  <a:close/>
                  <a:moveTo>
                    <a:pt x="2789" y="11458"/>
                  </a:moveTo>
                  <a:cubicBezTo>
                    <a:pt x="2789" y="11458"/>
                    <a:pt x="2783" y="11380"/>
                    <a:pt x="2794" y="11339"/>
                  </a:cubicBezTo>
                  <a:cubicBezTo>
                    <a:pt x="2806" y="11299"/>
                    <a:pt x="2850" y="11262"/>
                    <a:pt x="2848" y="11222"/>
                  </a:cubicBezTo>
                  <a:cubicBezTo>
                    <a:pt x="2847" y="11183"/>
                    <a:pt x="2840" y="11175"/>
                    <a:pt x="2827" y="11167"/>
                  </a:cubicBezTo>
                  <a:cubicBezTo>
                    <a:pt x="2802" y="11151"/>
                    <a:pt x="2713" y="11162"/>
                    <a:pt x="2628" y="11307"/>
                  </a:cubicBezTo>
                  <a:cubicBezTo>
                    <a:pt x="2611" y="11348"/>
                    <a:pt x="2631" y="11393"/>
                    <a:pt x="2627" y="11409"/>
                  </a:cubicBezTo>
                  <a:cubicBezTo>
                    <a:pt x="2623" y="11425"/>
                    <a:pt x="2633" y="11516"/>
                    <a:pt x="2578" y="11567"/>
                  </a:cubicBezTo>
                  <a:cubicBezTo>
                    <a:pt x="2549" y="11594"/>
                    <a:pt x="2546" y="11601"/>
                    <a:pt x="2546" y="11601"/>
                  </a:cubicBezTo>
                  <a:cubicBezTo>
                    <a:pt x="2546" y="11601"/>
                    <a:pt x="2597" y="11598"/>
                    <a:pt x="2655" y="11573"/>
                  </a:cubicBezTo>
                  <a:cubicBezTo>
                    <a:pt x="2712" y="11549"/>
                    <a:pt x="2777" y="11528"/>
                    <a:pt x="2789" y="11458"/>
                  </a:cubicBezTo>
                  <a:close/>
                  <a:moveTo>
                    <a:pt x="1759" y="10773"/>
                  </a:moveTo>
                  <a:cubicBezTo>
                    <a:pt x="1800" y="10747"/>
                    <a:pt x="1859" y="10724"/>
                    <a:pt x="1896" y="10710"/>
                  </a:cubicBezTo>
                  <a:cubicBezTo>
                    <a:pt x="1933" y="10697"/>
                    <a:pt x="1964" y="10695"/>
                    <a:pt x="1987" y="10654"/>
                  </a:cubicBezTo>
                  <a:cubicBezTo>
                    <a:pt x="2011" y="10613"/>
                    <a:pt x="2026" y="10574"/>
                    <a:pt x="2075" y="10574"/>
                  </a:cubicBezTo>
                  <a:cubicBezTo>
                    <a:pt x="2124" y="10574"/>
                    <a:pt x="2164" y="10591"/>
                    <a:pt x="2172" y="10569"/>
                  </a:cubicBezTo>
                  <a:cubicBezTo>
                    <a:pt x="2180" y="10548"/>
                    <a:pt x="2162" y="10515"/>
                    <a:pt x="2127" y="10500"/>
                  </a:cubicBezTo>
                  <a:cubicBezTo>
                    <a:pt x="2100" y="10488"/>
                    <a:pt x="2038" y="10511"/>
                    <a:pt x="1978" y="10579"/>
                  </a:cubicBezTo>
                  <a:cubicBezTo>
                    <a:pt x="1918" y="10647"/>
                    <a:pt x="1858" y="10688"/>
                    <a:pt x="1807" y="10709"/>
                  </a:cubicBezTo>
                  <a:cubicBezTo>
                    <a:pt x="1756" y="10729"/>
                    <a:pt x="1661" y="10787"/>
                    <a:pt x="1662" y="10796"/>
                  </a:cubicBezTo>
                  <a:cubicBezTo>
                    <a:pt x="1664" y="10806"/>
                    <a:pt x="1718" y="10799"/>
                    <a:pt x="1759" y="10773"/>
                  </a:cubicBezTo>
                  <a:close/>
                  <a:moveTo>
                    <a:pt x="555" y="9449"/>
                  </a:moveTo>
                  <a:cubicBezTo>
                    <a:pt x="588" y="9474"/>
                    <a:pt x="640" y="9501"/>
                    <a:pt x="651" y="9550"/>
                  </a:cubicBezTo>
                  <a:cubicBezTo>
                    <a:pt x="662" y="9599"/>
                    <a:pt x="621" y="9647"/>
                    <a:pt x="621" y="9647"/>
                  </a:cubicBezTo>
                  <a:cubicBezTo>
                    <a:pt x="621" y="9647"/>
                    <a:pt x="681" y="9674"/>
                    <a:pt x="702" y="9683"/>
                  </a:cubicBezTo>
                  <a:cubicBezTo>
                    <a:pt x="722" y="9691"/>
                    <a:pt x="779" y="9692"/>
                    <a:pt x="823" y="9663"/>
                  </a:cubicBezTo>
                  <a:cubicBezTo>
                    <a:pt x="867" y="9635"/>
                    <a:pt x="898" y="9605"/>
                    <a:pt x="912" y="9580"/>
                  </a:cubicBezTo>
                  <a:cubicBezTo>
                    <a:pt x="926" y="9556"/>
                    <a:pt x="938" y="9531"/>
                    <a:pt x="946" y="9527"/>
                  </a:cubicBezTo>
                  <a:cubicBezTo>
                    <a:pt x="946" y="9527"/>
                    <a:pt x="937" y="9498"/>
                    <a:pt x="889" y="9523"/>
                  </a:cubicBezTo>
                  <a:cubicBezTo>
                    <a:pt x="841" y="9547"/>
                    <a:pt x="800" y="9571"/>
                    <a:pt x="777" y="9556"/>
                  </a:cubicBezTo>
                  <a:cubicBezTo>
                    <a:pt x="753" y="9540"/>
                    <a:pt x="743" y="9535"/>
                    <a:pt x="737" y="9505"/>
                  </a:cubicBezTo>
                  <a:cubicBezTo>
                    <a:pt x="732" y="9475"/>
                    <a:pt x="722" y="9446"/>
                    <a:pt x="687" y="9437"/>
                  </a:cubicBezTo>
                  <a:cubicBezTo>
                    <a:pt x="651" y="9427"/>
                    <a:pt x="611" y="9424"/>
                    <a:pt x="600" y="9419"/>
                  </a:cubicBezTo>
                  <a:cubicBezTo>
                    <a:pt x="591" y="9414"/>
                    <a:pt x="553" y="9396"/>
                    <a:pt x="548" y="9391"/>
                  </a:cubicBezTo>
                  <a:cubicBezTo>
                    <a:pt x="547" y="9397"/>
                    <a:pt x="526" y="9427"/>
                    <a:pt x="555" y="9449"/>
                  </a:cubicBezTo>
                  <a:close/>
                  <a:moveTo>
                    <a:pt x="1650" y="8648"/>
                  </a:moveTo>
                  <a:cubicBezTo>
                    <a:pt x="1636" y="8684"/>
                    <a:pt x="1629" y="8738"/>
                    <a:pt x="1657" y="8745"/>
                  </a:cubicBezTo>
                  <a:cubicBezTo>
                    <a:pt x="1657" y="8745"/>
                    <a:pt x="1684" y="8727"/>
                    <a:pt x="1695" y="8700"/>
                  </a:cubicBezTo>
                  <a:cubicBezTo>
                    <a:pt x="1706" y="8673"/>
                    <a:pt x="1718" y="8663"/>
                    <a:pt x="1741" y="8655"/>
                  </a:cubicBezTo>
                  <a:cubicBezTo>
                    <a:pt x="1765" y="8647"/>
                    <a:pt x="1812" y="8644"/>
                    <a:pt x="1856" y="8621"/>
                  </a:cubicBezTo>
                  <a:cubicBezTo>
                    <a:pt x="1900" y="8598"/>
                    <a:pt x="1909" y="8577"/>
                    <a:pt x="1884" y="8563"/>
                  </a:cubicBezTo>
                  <a:cubicBezTo>
                    <a:pt x="1858" y="8550"/>
                    <a:pt x="1802" y="8554"/>
                    <a:pt x="1784" y="8547"/>
                  </a:cubicBezTo>
                  <a:cubicBezTo>
                    <a:pt x="1766" y="8540"/>
                    <a:pt x="1747" y="8509"/>
                    <a:pt x="1769" y="8494"/>
                  </a:cubicBezTo>
                  <a:cubicBezTo>
                    <a:pt x="1791" y="8479"/>
                    <a:pt x="1837" y="8479"/>
                    <a:pt x="1841" y="8461"/>
                  </a:cubicBezTo>
                  <a:cubicBezTo>
                    <a:pt x="1845" y="8443"/>
                    <a:pt x="1843" y="8380"/>
                    <a:pt x="1802" y="8384"/>
                  </a:cubicBezTo>
                  <a:cubicBezTo>
                    <a:pt x="1761" y="8389"/>
                    <a:pt x="1756" y="8423"/>
                    <a:pt x="1751" y="8440"/>
                  </a:cubicBezTo>
                  <a:cubicBezTo>
                    <a:pt x="1746" y="8458"/>
                    <a:pt x="1707" y="8472"/>
                    <a:pt x="1695" y="8487"/>
                  </a:cubicBezTo>
                  <a:cubicBezTo>
                    <a:pt x="1683" y="8502"/>
                    <a:pt x="1670" y="8516"/>
                    <a:pt x="1683" y="8529"/>
                  </a:cubicBezTo>
                  <a:cubicBezTo>
                    <a:pt x="1695" y="8543"/>
                    <a:pt x="1707" y="8568"/>
                    <a:pt x="1698" y="8587"/>
                  </a:cubicBezTo>
                  <a:cubicBezTo>
                    <a:pt x="1688" y="8606"/>
                    <a:pt x="1664" y="8613"/>
                    <a:pt x="1650" y="8648"/>
                  </a:cubicBezTo>
                  <a:close/>
                  <a:moveTo>
                    <a:pt x="3523" y="7929"/>
                  </a:moveTo>
                  <a:cubicBezTo>
                    <a:pt x="3536" y="7886"/>
                    <a:pt x="3497" y="7835"/>
                    <a:pt x="3433" y="7815"/>
                  </a:cubicBezTo>
                  <a:cubicBezTo>
                    <a:pt x="3351" y="7788"/>
                    <a:pt x="3290" y="7804"/>
                    <a:pt x="3273" y="7845"/>
                  </a:cubicBezTo>
                  <a:cubicBezTo>
                    <a:pt x="3257" y="7886"/>
                    <a:pt x="3306" y="7950"/>
                    <a:pt x="3370" y="7968"/>
                  </a:cubicBezTo>
                  <a:cubicBezTo>
                    <a:pt x="3433" y="7987"/>
                    <a:pt x="3511" y="7972"/>
                    <a:pt x="3523" y="7929"/>
                  </a:cubicBezTo>
                  <a:close/>
                  <a:moveTo>
                    <a:pt x="508" y="15179"/>
                  </a:moveTo>
                  <a:cubicBezTo>
                    <a:pt x="473" y="15204"/>
                    <a:pt x="424" y="15276"/>
                    <a:pt x="461" y="15304"/>
                  </a:cubicBezTo>
                  <a:cubicBezTo>
                    <a:pt x="498" y="15333"/>
                    <a:pt x="570" y="15329"/>
                    <a:pt x="621" y="15282"/>
                  </a:cubicBezTo>
                  <a:cubicBezTo>
                    <a:pt x="672" y="15235"/>
                    <a:pt x="670" y="15204"/>
                    <a:pt x="650" y="15177"/>
                  </a:cubicBezTo>
                  <a:cubicBezTo>
                    <a:pt x="620" y="15139"/>
                    <a:pt x="543" y="15155"/>
                    <a:pt x="508" y="15179"/>
                  </a:cubicBezTo>
                  <a:close/>
                  <a:moveTo>
                    <a:pt x="2265" y="11304"/>
                  </a:moveTo>
                  <a:cubicBezTo>
                    <a:pt x="2265" y="11304"/>
                    <a:pt x="2083" y="11244"/>
                    <a:pt x="2038" y="11229"/>
                  </a:cubicBezTo>
                  <a:cubicBezTo>
                    <a:pt x="2094" y="11074"/>
                    <a:pt x="2094" y="11074"/>
                    <a:pt x="2094" y="11074"/>
                  </a:cubicBezTo>
                  <a:cubicBezTo>
                    <a:pt x="2071" y="11065"/>
                    <a:pt x="2071" y="11065"/>
                    <a:pt x="2071" y="11065"/>
                  </a:cubicBezTo>
                  <a:cubicBezTo>
                    <a:pt x="1971" y="11340"/>
                    <a:pt x="1971" y="11340"/>
                    <a:pt x="1971" y="11340"/>
                  </a:cubicBezTo>
                  <a:cubicBezTo>
                    <a:pt x="1783" y="11493"/>
                    <a:pt x="1783" y="11493"/>
                    <a:pt x="1783" y="11493"/>
                  </a:cubicBezTo>
                  <a:cubicBezTo>
                    <a:pt x="1800" y="11511"/>
                    <a:pt x="1800" y="11511"/>
                    <a:pt x="1800" y="11511"/>
                  </a:cubicBezTo>
                  <a:cubicBezTo>
                    <a:pt x="1992" y="11355"/>
                    <a:pt x="1992" y="11355"/>
                    <a:pt x="1992" y="11355"/>
                  </a:cubicBezTo>
                  <a:cubicBezTo>
                    <a:pt x="2029" y="11252"/>
                    <a:pt x="2029" y="11252"/>
                    <a:pt x="2029" y="11252"/>
                  </a:cubicBezTo>
                  <a:cubicBezTo>
                    <a:pt x="2030" y="11252"/>
                    <a:pt x="2030" y="11253"/>
                    <a:pt x="2031" y="11253"/>
                  </a:cubicBezTo>
                  <a:cubicBezTo>
                    <a:pt x="2037" y="11255"/>
                    <a:pt x="2047" y="11258"/>
                    <a:pt x="2058" y="11262"/>
                  </a:cubicBezTo>
                  <a:cubicBezTo>
                    <a:pt x="2080" y="11269"/>
                    <a:pt x="2110" y="11279"/>
                    <a:pt x="2139" y="11288"/>
                  </a:cubicBezTo>
                  <a:cubicBezTo>
                    <a:pt x="2194" y="11307"/>
                    <a:pt x="2249" y="11325"/>
                    <a:pt x="2256" y="11327"/>
                  </a:cubicBezTo>
                  <a:cubicBezTo>
                    <a:pt x="2429" y="11409"/>
                    <a:pt x="2429" y="11409"/>
                    <a:pt x="2429" y="11409"/>
                  </a:cubicBezTo>
                  <a:cubicBezTo>
                    <a:pt x="2429" y="11409"/>
                    <a:pt x="2429" y="11409"/>
                    <a:pt x="2429" y="11409"/>
                  </a:cubicBezTo>
                  <a:cubicBezTo>
                    <a:pt x="2439" y="11387"/>
                    <a:pt x="2439" y="11387"/>
                    <a:pt x="2439" y="11387"/>
                  </a:cubicBezTo>
                  <a:cubicBezTo>
                    <a:pt x="2266" y="11304"/>
                    <a:pt x="2266" y="11304"/>
                    <a:pt x="2266" y="11304"/>
                  </a:cubicBezTo>
                  <a:lnTo>
                    <a:pt x="2265" y="11304"/>
                  </a:lnTo>
                  <a:close/>
                  <a:moveTo>
                    <a:pt x="18011" y="673"/>
                  </a:moveTo>
                  <a:cubicBezTo>
                    <a:pt x="17977" y="697"/>
                    <a:pt x="17944" y="720"/>
                    <a:pt x="17912" y="741"/>
                  </a:cubicBezTo>
                  <a:cubicBezTo>
                    <a:pt x="17945" y="788"/>
                    <a:pt x="17979" y="842"/>
                    <a:pt x="18011" y="902"/>
                  </a:cubicBezTo>
                  <a:cubicBezTo>
                    <a:pt x="18011" y="981"/>
                    <a:pt x="18011" y="981"/>
                    <a:pt x="18011" y="981"/>
                  </a:cubicBezTo>
                  <a:cubicBezTo>
                    <a:pt x="17970" y="896"/>
                    <a:pt x="17926" y="823"/>
                    <a:pt x="17882" y="761"/>
                  </a:cubicBezTo>
                  <a:cubicBezTo>
                    <a:pt x="17435" y="1053"/>
                    <a:pt x="16722" y="1590"/>
                    <a:pt x="16212" y="1725"/>
                  </a:cubicBezTo>
                  <a:cubicBezTo>
                    <a:pt x="16179" y="1734"/>
                    <a:pt x="16146" y="1742"/>
                    <a:pt x="16112" y="1750"/>
                  </a:cubicBezTo>
                  <a:cubicBezTo>
                    <a:pt x="16114" y="1753"/>
                    <a:pt x="16114" y="1753"/>
                    <a:pt x="16114" y="1753"/>
                  </a:cubicBezTo>
                  <a:cubicBezTo>
                    <a:pt x="16117" y="1757"/>
                    <a:pt x="16117" y="1757"/>
                    <a:pt x="16117" y="1757"/>
                  </a:cubicBezTo>
                  <a:cubicBezTo>
                    <a:pt x="16094" y="1775"/>
                    <a:pt x="15762" y="2152"/>
                    <a:pt x="15712" y="2342"/>
                  </a:cubicBezTo>
                  <a:cubicBezTo>
                    <a:pt x="15681" y="2459"/>
                    <a:pt x="15649" y="2676"/>
                    <a:pt x="15649" y="2932"/>
                  </a:cubicBezTo>
                  <a:cubicBezTo>
                    <a:pt x="15649" y="3116"/>
                    <a:pt x="15665" y="3322"/>
                    <a:pt x="15709" y="3526"/>
                  </a:cubicBezTo>
                  <a:cubicBezTo>
                    <a:pt x="15760" y="3769"/>
                    <a:pt x="15837" y="4052"/>
                    <a:pt x="15901" y="4277"/>
                  </a:cubicBezTo>
                  <a:cubicBezTo>
                    <a:pt x="15933" y="4390"/>
                    <a:pt x="15962" y="4488"/>
                    <a:pt x="15983" y="4559"/>
                  </a:cubicBezTo>
                  <a:cubicBezTo>
                    <a:pt x="15993" y="4594"/>
                    <a:pt x="16002" y="4623"/>
                    <a:pt x="16008" y="4644"/>
                  </a:cubicBezTo>
                  <a:cubicBezTo>
                    <a:pt x="16010" y="4654"/>
                    <a:pt x="16013" y="4662"/>
                    <a:pt x="16014" y="4669"/>
                  </a:cubicBezTo>
                  <a:cubicBezTo>
                    <a:pt x="16015" y="4673"/>
                    <a:pt x="16016" y="4675"/>
                    <a:pt x="16016" y="4678"/>
                  </a:cubicBezTo>
                  <a:cubicBezTo>
                    <a:pt x="16104" y="4659"/>
                    <a:pt x="16104" y="4659"/>
                    <a:pt x="16104" y="4659"/>
                  </a:cubicBezTo>
                  <a:cubicBezTo>
                    <a:pt x="16105" y="4659"/>
                    <a:pt x="16576" y="4571"/>
                    <a:pt x="16974" y="4571"/>
                  </a:cubicBezTo>
                  <a:cubicBezTo>
                    <a:pt x="17013" y="4571"/>
                    <a:pt x="17051" y="4571"/>
                    <a:pt x="17087" y="4573"/>
                  </a:cubicBezTo>
                  <a:cubicBezTo>
                    <a:pt x="17432" y="4591"/>
                    <a:pt x="17814" y="4639"/>
                    <a:pt x="18011" y="4666"/>
                  </a:cubicBezTo>
                  <a:cubicBezTo>
                    <a:pt x="18011" y="4703"/>
                    <a:pt x="18011" y="4703"/>
                    <a:pt x="18011" y="4703"/>
                  </a:cubicBezTo>
                  <a:cubicBezTo>
                    <a:pt x="17816" y="4675"/>
                    <a:pt x="17431" y="4627"/>
                    <a:pt x="17085" y="4609"/>
                  </a:cubicBezTo>
                  <a:cubicBezTo>
                    <a:pt x="17049" y="4607"/>
                    <a:pt x="17012" y="4607"/>
                    <a:pt x="16974" y="4607"/>
                  </a:cubicBezTo>
                  <a:cubicBezTo>
                    <a:pt x="16778" y="4607"/>
                    <a:pt x="16562" y="4629"/>
                    <a:pt x="16395" y="4651"/>
                  </a:cubicBezTo>
                  <a:cubicBezTo>
                    <a:pt x="16229" y="4673"/>
                    <a:pt x="16112" y="4695"/>
                    <a:pt x="16111" y="4695"/>
                  </a:cubicBezTo>
                  <a:cubicBezTo>
                    <a:pt x="16034" y="4711"/>
                    <a:pt x="16034" y="4711"/>
                    <a:pt x="16034" y="4711"/>
                  </a:cubicBezTo>
                  <a:cubicBezTo>
                    <a:pt x="16052" y="4765"/>
                    <a:pt x="16083" y="4881"/>
                    <a:pt x="16083" y="5035"/>
                  </a:cubicBezTo>
                  <a:cubicBezTo>
                    <a:pt x="16083" y="5114"/>
                    <a:pt x="16075" y="5202"/>
                    <a:pt x="16053" y="5297"/>
                  </a:cubicBezTo>
                  <a:cubicBezTo>
                    <a:pt x="15969" y="5650"/>
                    <a:pt x="15701" y="5868"/>
                    <a:pt x="15607" y="6100"/>
                  </a:cubicBezTo>
                  <a:cubicBezTo>
                    <a:pt x="15532" y="6284"/>
                    <a:pt x="15472" y="6402"/>
                    <a:pt x="15472" y="6641"/>
                  </a:cubicBezTo>
                  <a:cubicBezTo>
                    <a:pt x="15472" y="6715"/>
                    <a:pt x="15478" y="6800"/>
                    <a:pt x="15491" y="6902"/>
                  </a:cubicBezTo>
                  <a:cubicBezTo>
                    <a:pt x="15537" y="7268"/>
                    <a:pt x="15633" y="8033"/>
                    <a:pt x="15662" y="8267"/>
                  </a:cubicBezTo>
                  <a:cubicBezTo>
                    <a:pt x="15662" y="8267"/>
                    <a:pt x="15662" y="8268"/>
                    <a:pt x="15662" y="8268"/>
                  </a:cubicBezTo>
                  <a:cubicBezTo>
                    <a:pt x="15662" y="8268"/>
                    <a:pt x="15665" y="8279"/>
                    <a:pt x="15667" y="8287"/>
                  </a:cubicBezTo>
                  <a:cubicBezTo>
                    <a:pt x="15685" y="8279"/>
                    <a:pt x="15698" y="8273"/>
                    <a:pt x="15698" y="8273"/>
                  </a:cubicBezTo>
                  <a:cubicBezTo>
                    <a:pt x="15704" y="8271"/>
                    <a:pt x="15704" y="8271"/>
                    <a:pt x="15704" y="8271"/>
                  </a:cubicBezTo>
                  <a:cubicBezTo>
                    <a:pt x="17137" y="7977"/>
                    <a:pt x="17137" y="7977"/>
                    <a:pt x="17137" y="7977"/>
                  </a:cubicBezTo>
                  <a:cubicBezTo>
                    <a:pt x="17140" y="7977"/>
                    <a:pt x="17140" y="7977"/>
                    <a:pt x="17140" y="7977"/>
                  </a:cubicBezTo>
                  <a:cubicBezTo>
                    <a:pt x="17140" y="7977"/>
                    <a:pt x="17387" y="7948"/>
                    <a:pt x="17635" y="7919"/>
                  </a:cubicBezTo>
                  <a:cubicBezTo>
                    <a:pt x="17760" y="7904"/>
                    <a:pt x="17884" y="7889"/>
                    <a:pt x="17978" y="7879"/>
                  </a:cubicBezTo>
                  <a:cubicBezTo>
                    <a:pt x="17990" y="7877"/>
                    <a:pt x="18001" y="7876"/>
                    <a:pt x="18011" y="7875"/>
                  </a:cubicBezTo>
                  <a:cubicBezTo>
                    <a:pt x="18011" y="7990"/>
                    <a:pt x="18011" y="7990"/>
                    <a:pt x="18011" y="7990"/>
                  </a:cubicBezTo>
                  <a:cubicBezTo>
                    <a:pt x="17911" y="8002"/>
                    <a:pt x="17770" y="8018"/>
                    <a:pt x="17631" y="8035"/>
                  </a:cubicBezTo>
                  <a:cubicBezTo>
                    <a:pt x="17403" y="8062"/>
                    <a:pt x="17181" y="8088"/>
                    <a:pt x="17155" y="8091"/>
                  </a:cubicBezTo>
                  <a:cubicBezTo>
                    <a:pt x="15738" y="8381"/>
                    <a:pt x="15738" y="8381"/>
                    <a:pt x="15738" y="8381"/>
                  </a:cubicBezTo>
                  <a:cubicBezTo>
                    <a:pt x="15714" y="8391"/>
                    <a:pt x="15613" y="8435"/>
                    <a:pt x="15588" y="8446"/>
                  </a:cubicBezTo>
                  <a:cubicBezTo>
                    <a:pt x="15588" y="8446"/>
                    <a:pt x="15588" y="8446"/>
                    <a:pt x="15588" y="8446"/>
                  </a:cubicBezTo>
                  <a:cubicBezTo>
                    <a:pt x="15580" y="8449"/>
                    <a:pt x="15530" y="8478"/>
                    <a:pt x="15460" y="8517"/>
                  </a:cubicBezTo>
                  <a:cubicBezTo>
                    <a:pt x="15354" y="8576"/>
                    <a:pt x="15200" y="8662"/>
                    <a:pt x="15048" y="8742"/>
                  </a:cubicBezTo>
                  <a:cubicBezTo>
                    <a:pt x="14897" y="8821"/>
                    <a:pt x="14750" y="8894"/>
                    <a:pt x="14653" y="8930"/>
                  </a:cubicBezTo>
                  <a:cubicBezTo>
                    <a:pt x="14529" y="8974"/>
                    <a:pt x="14413" y="9014"/>
                    <a:pt x="14325" y="9042"/>
                  </a:cubicBezTo>
                  <a:cubicBezTo>
                    <a:pt x="14281" y="9056"/>
                    <a:pt x="14244" y="9068"/>
                    <a:pt x="14217" y="9076"/>
                  </a:cubicBezTo>
                  <a:cubicBezTo>
                    <a:pt x="14204" y="9080"/>
                    <a:pt x="14192" y="9083"/>
                    <a:pt x="14183" y="9085"/>
                  </a:cubicBezTo>
                  <a:cubicBezTo>
                    <a:pt x="14179" y="9086"/>
                    <a:pt x="14175" y="9087"/>
                    <a:pt x="14171" y="9088"/>
                  </a:cubicBezTo>
                  <a:cubicBezTo>
                    <a:pt x="14168" y="9088"/>
                    <a:pt x="14166" y="9089"/>
                    <a:pt x="14161" y="9089"/>
                  </a:cubicBezTo>
                  <a:cubicBezTo>
                    <a:pt x="14149" y="9092"/>
                    <a:pt x="14094" y="9104"/>
                    <a:pt x="14024" y="9121"/>
                  </a:cubicBezTo>
                  <a:cubicBezTo>
                    <a:pt x="13852" y="9162"/>
                    <a:pt x="13573" y="9229"/>
                    <a:pt x="13466" y="9255"/>
                  </a:cubicBezTo>
                  <a:cubicBezTo>
                    <a:pt x="13472" y="9293"/>
                    <a:pt x="13475" y="9330"/>
                    <a:pt x="13475" y="9366"/>
                  </a:cubicBezTo>
                  <a:cubicBezTo>
                    <a:pt x="13475" y="9426"/>
                    <a:pt x="13469" y="9482"/>
                    <a:pt x="13462" y="9524"/>
                  </a:cubicBezTo>
                  <a:cubicBezTo>
                    <a:pt x="13459" y="9543"/>
                    <a:pt x="13456" y="9560"/>
                    <a:pt x="13452" y="9573"/>
                  </a:cubicBezTo>
                  <a:cubicBezTo>
                    <a:pt x="13483" y="9619"/>
                    <a:pt x="13540" y="9677"/>
                    <a:pt x="13603" y="9725"/>
                  </a:cubicBezTo>
                  <a:cubicBezTo>
                    <a:pt x="13675" y="9782"/>
                    <a:pt x="13757" y="9829"/>
                    <a:pt x="13804" y="9845"/>
                  </a:cubicBezTo>
                  <a:cubicBezTo>
                    <a:pt x="13856" y="9863"/>
                    <a:pt x="13934" y="9877"/>
                    <a:pt x="14019" y="9898"/>
                  </a:cubicBezTo>
                  <a:cubicBezTo>
                    <a:pt x="14104" y="9919"/>
                    <a:pt x="14196" y="9948"/>
                    <a:pt x="14280" y="10001"/>
                  </a:cubicBezTo>
                  <a:cubicBezTo>
                    <a:pt x="14429" y="10096"/>
                    <a:pt x="14510" y="10241"/>
                    <a:pt x="14528" y="10275"/>
                  </a:cubicBezTo>
                  <a:cubicBezTo>
                    <a:pt x="14547" y="10298"/>
                    <a:pt x="14638" y="10408"/>
                    <a:pt x="14737" y="10525"/>
                  </a:cubicBezTo>
                  <a:cubicBezTo>
                    <a:pt x="14792" y="10591"/>
                    <a:pt x="14849" y="10658"/>
                    <a:pt x="14896" y="10713"/>
                  </a:cubicBezTo>
                  <a:cubicBezTo>
                    <a:pt x="14943" y="10767"/>
                    <a:pt x="14983" y="10810"/>
                    <a:pt x="14995" y="10821"/>
                  </a:cubicBezTo>
                  <a:cubicBezTo>
                    <a:pt x="15027" y="10850"/>
                    <a:pt x="15050" y="10867"/>
                    <a:pt x="15064" y="10877"/>
                  </a:cubicBezTo>
                  <a:cubicBezTo>
                    <a:pt x="15070" y="10881"/>
                    <a:pt x="15075" y="10884"/>
                    <a:pt x="15078" y="10886"/>
                  </a:cubicBezTo>
                  <a:cubicBezTo>
                    <a:pt x="15111" y="10894"/>
                    <a:pt x="15256" y="10928"/>
                    <a:pt x="15436" y="10968"/>
                  </a:cubicBezTo>
                  <a:cubicBezTo>
                    <a:pt x="15642" y="11015"/>
                    <a:pt x="15893" y="11071"/>
                    <a:pt x="16073" y="11108"/>
                  </a:cubicBezTo>
                  <a:cubicBezTo>
                    <a:pt x="16358" y="11166"/>
                    <a:pt x="17513" y="11467"/>
                    <a:pt x="18011" y="11598"/>
                  </a:cubicBezTo>
                  <a:cubicBezTo>
                    <a:pt x="18011" y="11716"/>
                    <a:pt x="18011" y="11716"/>
                    <a:pt x="18011" y="11716"/>
                  </a:cubicBezTo>
                  <a:cubicBezTo>
                    <a:pt x="17833" y="11670"/>
                    <a:pt x="17558" y="11598"/>
                    <a:pt x="17266" y="11522"/>
                  </a:cubicBezTo>
                  <a:cubicBezTo>
                    <a:pt x="16770" y="11394"/>
                    <a:pt x="16228" y="11256"/>
                    <a:pt x="16050" y="11220"/>
                  </a:cubicBezTo>
                  <a:cubicBezTo>
                    <a:pt x="15767" y="11163"/>
                    <a:pt x="15317" y="11059"/>
                    <a:pt x="15130" y="11016"/>
                  </a:cubicBezTo>
                  <a:cubicBezTo>
                    <a:pt x="14823" y="11437"/>
                    <a:pt x="14823" y="11437"/>
                    <a:pt x="14823" y="11437"/>
                  </a:cubicBezTo>
                  <a:cubicBezTo>
                    <a:pt x="14808" y="11478"/>
                    <a:pt x="14739" y="11658"/>
                    <a:pt x="14625" y="11815"/>
                  </a:cubicBezTo>
                  <a:cubicBezTo>
                    <a:pt x="14519" y="11960"/>
                    <a:pt x="14374" y="12071"/>
                    <a:pt x="14321" y="12110"/>
                  </a:cubicBezTo>
                  <a:cubicBezTo>
                    <a:pt x="14312" y="12163"/>
                    <a:pt x="14289" y="12303"/>
                    <a:pt x="14256" y="12498"/>
                  </a:cubicBezTo>
                  <a:cubicBezTo>
                    <a:pt x="14236" y="12622"/>
                    <a:pt x="14212" y="12767"/>
                    <a:pt x="14186" y="12926"/>
                  </a:cubicBezTo>
                  <a:cubicBezTo>
                    <a:pt x="14192" y="12929"/>
                    <a:pt x="14200" y="12932"/>
                    <a:pt x="14206" y="12935"/>
                  </a:cubicBezTo>
                  <a:cubicBezTo>
                    <a:pt x="15398" y="13170"/>
                    <a:pt x="15398" y="13170"/>
                    <a:pt x="15398" y="13170"/>
                  </a:cubicBezTo>
                  <a:cubicBezTo>
                    <a:pt x="15407" y="13171"/>
                    <a:pt x="15422" y="13174"/>
                    <a:pt x="15441" y="13179"/>
                  </a:cubicBezTo>
                  <a:cubicBezTo>
                    <a:pt x="15441" y="13177"/>
                    <a:pt x="15442" y="13176"/>
                    <a:pt x="15442" y="13174"/>
                  </a:cubicBezTo>
                  <a:cubicBezTo>
                    <a:pt x="15491" y="12889"/>
                    <a:pt x="15661" y="12543"/>
                    <a:pt x="16213" y="12392"/>
                  </a:cubicBezTo>
                  <a:cubicBezTo>
                    <a:pt x="16488" y="12316"/>
                    <a:pt x="16806" y="12278"/>
                    <a:pt x="17065" y="12256"/>
                  </a:cubicBezTo>
                  <a:cubicBezTo>
                    <a:pt x="17195" y="12245"/>
                    <a:pt x="17310" y="12238"/>
                    <a:pt x="17397" y="12232"/>
                  </a:cubicBezTo>
                  <a:cubicBezTo>
                    <a:pt x="17484" y="12227"/>
                    <a:pt x="17545" y="12223"/>
                    <a:pt x="17560" y="12218"/>
                  </a:cubicBezTo>
                  <a:cubicBezTo>
                    <a:pt x="17612" y="12206"/>
                    <a:pt x="17796" y="12150"/>
                    <a:pt x="18011" y="12028"/>
                  </a:cubicBezTo>
                  <a:cubicBezTo>
                    <a:pt x="18011" y="12069"/>
                    <a:pt x="18011" y="12069"/>
                    <a:pt x="18011" y="12069"/>
                  </a:cubicBezTo>
                  <a:cubicBezTo>
                    <a:pt x="17801" y="12186"/>
                    <a:pt x="17622" y="12240"/>
                    <a:pt x="17569" y="12253"/>
                  </a:cubicBezTo>
                  <a:cubicBezTo>
                    <a:pt x="17545" y="12259"/>
                    <a:pt x="17487" y="12263"/>
                    <a:pt x="17399" y="12268"/>
                  </a:cubicBezTo>
                  <a:cubicBezTo>
                    <a:pt x="17137" y="12284"/>
                    <a:pt x="16630" y="12314"/>
                    <a:pt x="16223" y="12427"/>
                  </a:cubicBezTo>
                  <a:cubicBezTo>
                    <a:pt x="15683" y="12576"/>
                    <a:pt x="15527" y="12904"/>
                    <a:pt x="15477" y="13181"/>
                  </a:cubicBezTo>
                  <a:cubicBezTo>
                    <a:pt x="15477" y="13183"/>
                    <a:pt x="15477" y="13185"/>
                    <a:pt x="15476" y="13187"/>
                  </a:cubicBezTo>
                  <a:cubicBezTo>
                    <a:pt x="15667" y="13233"/>
                    <a:pt x="16130" y="13373"/>
                    <a:pt x="16502" y="13740"/>
                  </a:cubicBezTo>
                  <a:cubicBezTo>
                    <a:pt x="17083" y="14312"/>
                    <a:pt x="17229" y="15048"/>
                    <a:pt x="17236" y="15083"/>
                  </a:cubicBezTo>
                  <a:cubicBezTo>
                    <a:pt x="17288" y="15246"/>
                    <a:pt x="17308" y="15402"/>
                    <a:pt x="17308" y="15543"/>
                  </a:cubicBezTo>
                  <a:cubicBezTo>
                    <a:pt x="17308" y="15952"/>
                    <a:pt x="17144" y="16243"/>
                    <a:pt x="17112" y="16296"/>
                  </a:cubicBezTo>
                  <a:cubicBezTo>
                    <a:pt x="17231" y="16332"/>
                    <a:pt x="17365" y="16388"/>
                    <a:pt x="17497" y="16477"/>
                  </a:cubicBezTo>
                  <a:cubicBezTo>
                    <a:pt x="17699" y="16614"/>
                    <a:pt x="17860" y="16740"/>
                    <a:pt x="18011" y="16857"/>
                  </a:cubicBezTo>
                  <a:cubicBezTo>
                    <a:pt x="18011" y="16902"/>
                    <a:pt x="18011" y="16902"/>
                    <a:pt x="18011" y="16902"/>
                  </a:cubicBezTo>
                  <a:cubicBezTo>
                    <a:pt x="17853" y="16781"/>
                    <a:pt x="17687" y="16650"/>
                    <a:pt x="17476" y="16507"/>
                  </a:cubicBezTo>
                  <a:cubicBezTo>
                    <a:pt x="17144" y="16282"/>
                    <a:pt x="16799" y="16272"/>
                    <a:pt x="16711" y="16272"/>
                  </a:cubicBezTo>
                  <a:cubicBezTo>
                    <a:pt x="16702" y="16272"/>
                    <a:pt x="16696" y="16272"/>
                    <a:pt x="16692" y="16272"/>
                  </a:cubicBezTo>
                  <a:cubicBezTo>
                    <a:pt x="16691" y="16272"/>
                    <a:pt x="16690" y="16272"/>
                    <a:pt x="16689" y="16272"/>
                  </a:cubicBezTo>
                  <a:cubicBezTo>
                    <a:pt x="16688" y="16272"/>
                    <a:pt x="16688" y="16272"/>
                    <a:pt x="16686" y="16272"/>
                  </a:cubicBezTo>
                  <a:cubicBezTo>
                    <a:pt x="16686" y="16272"/>
                    <a:pt x="16686" y="16272"/>
                    <a:pt x="16685" y="16271"/>
                  </a:cubicBezTo>
                  <a:cubicBezTo>
                    <a:pt x="16684" y="16271"/>
                    <a:pt x="16682" y="16271"/>
                    <a:pt x="16680" y="16271"/>
                  </a:cubicBezTo>
                  <a:cubicBezTo>
                    <a:pt x="16590" y="16271"/>
                    <a:pt x="15867" y="16282"/>
                    <a:pt x="15166" y="16293"/>
                  </a:cubicBezTo>
                  <a:cubicBezTo>
                    <a:pt x="14952" y="16296"/>
                    <a:pt x="14741" y="16299"/>
                    <a:pt x="14550" y="16302"/>
                  </a:cubicBezTo>
                  <a:cubicBezTo>
                    <a:pt x="14565" y="16363"/>
                    <a:pt x="14598" y="16504"/>
                    <a:pt x="14642" y="16685"/>
                  </a:cubicBezTo>
                  <a:cubicBezTo>
                    <a:pt x="14701" y="16927"/>
                    <a:pt x="14779" y="17239"/>
                    <a:pt x="14853" y="17517"/>
                  </a:cubicBezTo>
                  <a:cubicBezTo>
                    <a:pt x="14889" y="17653"/>
                    <a:pt x="14937" y="17827"/>
                    <a:pt x="14984" y="18000"/>
                  </a:cubicBezTo>
                  <a:cubicBezTo>
                    <a:pt x="14947" y="18000"/>
                    <a:pt x="14947" y="18000"/>
                    <a:pt x="14947" y="18000"/>
                  </a:cubicBezTo>
                  <a:cubicBezTo>
                    <a:pt x="14900" y="17831"/>
                    <a:pt x="14853" y="17660"/>
                    <a:pt x="14818" y="17527"/>
                  </a:cubicBezTo>
                  <a:cubicBezTo>
                    <a:pt x="14687" y="17032"/>
                    <a:pt x="14544" y="16432"/>
                    <a:pt x="14513" y="16303"/>
                  </a:cubicBezTo>
                  <a:cubicBezTo>
                    <a:pt x="14405" y="16304"/>
                    <a:pt x="14303" y="16306"/>
                    <a:pt x="14213" y="16307"/>
                  </a:cubicBezTo>
                  <a:cubicBezTo>
                    <a:pt x="14003" y="16311"/>
                    <a:pt x="13851" y="16313"/>
                    <a:pt x="13803" y="16314"/>
                  </a:cubicBezTo>
                  <a:cubicBezTo>
                    <a:pt x="13791" y="16317"/>
                    <a:pt x="13791" y="16317"/>
                    <a:pt x="13791" y="16317"/>
                  </a:cubicBezTo>
                  <a:cubicBezTo>
                    <a:pt x="13815" y="16590"/>
                    <a:pt x="13854" y="17012"/>
                    <a:pt x="13890" y="17395"/>
                  </a:cubicBezTo>
                  <a:cubicBezTo>
                    <a:pt x="13912" y="17624"/>
                    <a:pt x="13932" y="17838"/>
                    <a:pt x="13948" y="18000"/>
                  </a:cubicBezTo>
                  <a:cubicBezTo>
                    <a:pt x="13832" y="18000"/>
                    <a:pt x="13832" y="18000"/>
                    <a:pt x="13832" y="18000"/>
                  </a:cubicBezTo>
                  <a:cubicBezTo>
                    <a:pt x="13812" y="17791"/>
                    <a:pt x="13785" y="17496"/>
                    <a:pt x="13757" y="17199"/>
                  </a:cubicBezTo>
                  <a:cubicBezTo>
                    <a:pt x="13731" y="16921"/>
                    <a:pt x="13705" y="16641"/>
                    <a:pt x="13685" y="16424"/>
                  </a:cubicBezTo>
                  <a:cubicBezTo>
                    <a:pt x="13676" y="16316"/>
                    <a:pt x="13667" y="16224"/>
                    <a:pt x="13662" y="16156"/>
                  </a:cubicBezTo>
                  <a:cubicBezTo>
                    <a:pt x="13660" y="16128"/>
                    <a:pt x="13658" y="16106"/>
                    <a:pt x="13656" y="16087"/>
                  </a:cubicBezTo>
                  <a:cubicBezTo>
                    <a:pt x="13641" y="16084"/>
                    <a:pt x="13641" y="16084"/>
                    <a:pt x="13641" y="16084"/>
                  </a:cubicBezTo>
                  <a:cubicBezTo>
                    <a:pt x="12633" y="16117"/>
                    <a:pt x="12633" y="16117"/>
                    <a:pt x="12633" y="16117"/>
                  </a:cubicBezTo>
                  <a:cubicBezTo>
                    <a:pt x="12630" y="16118"/>
                    <a:pt x="12624" y="16120"/>
                    <a:pt x="12615" y="16123"/>
                  </a:cubicBezTo>
                  <a:cubicBezTo>
                    <a:pt x="12578" y="16137"/>
                    <a:pt x="12508" y="16174"/>
                    <a:pt x="12509" y="16264"/>
                  </a:cubicBezTo>
                  <a:cubicBezTo>
                    <a:pt x="12509" y="16266"/>
                    <a:pt x="12509" y="16268"/>
                    <a:pt x="12509" y="16270"/>
                  </a:cubicBezTo>
                  <a:cubicBezTo>
                    <a:pt x="12509" y="16279"/>
                    <a:pt x="12509" y="16288"/>
                    <a:pt x="12509" y="16297"/>
                  </a:cubicBezTo>
                  <a:cubicBezTo>
                    <a:pt x="12509" y="16356"/>
                    <a:pt x="12501" y="16394"/>
                    <a:pt x="12475" y="16425"/>
                  </a:cubicBezTo>
                  <a:cubicBezTo>
                    <a:pt x="12449" y="16454"/>
                    <a:pt x="12411" y="16472"/>
                    <a:pt x="12354" y="16501"/>
                  </a:cubicBezTo>
                  <a:cubicBezTo>
                    <a:pt x="12236" y="16560"/>
                    <a:pt x="11860" y="16703"/>
                    <a:pt x="11810" y="16722"/>
                  </a:cubicBezTo>
                  <a:cubicBezTo>
                    <a:pt x="12156" y="17529"/>
                    <a:pt x="12156" y="17529"/>
                    <a:pt x="12156" y="17529"/>
                  </a:cubicBezTo>
                  <a:cubicBezTo>
                    <a:pt x="12143" y="17534"/>
                    <a:pt x="12143" y="17534"/>
                    <a:pt x="12143" y="17534"/>
                  </a:cubicBezTo>
                  <a:cubicBezTo>
                    <a:pt x="12974" y="18000"/>
                    <a:pt x="12974" y="18000"/>
                    <a:pt x="12974" y="18000"/>
                  </a:cubicBezTo>
                  <a:cubicBezTo>
                    <a:pt x="12901" y="18000"/>
                    <a:pt x="12901" y="18000"/>
                    <a:pt x="12901" y="18000"/>
                  </a:cubicBezTo>
                  <a:cubicBezTo>
                    <a:pt x="12137" y="17572"/>
                    <a:pt x="12137" y="17572"/>
                    <a:pt x="12137" y="17572"/>
                  </a:cubicBezTo>
                  <a:cubicBezTo>
                    <a:pt x="11838" y="18000"/>
                    <a:pt x="11838" y="18000"/>
                    <a:pt x="11838" y="18000"/>
                  </a:cubicBezTo>
                  <a:cubicBezTo>
                    <a:pt x="11794" y="18000"/>
                    <a:pt x="11794" y="18000"/>
                    <a:pt x="11794" y="18000"/>
                  </a:cubicBezTo>
                  <a:cubicBezTo>
                    <a:pt x="12119" y="17534"/>
                    <a:pt x="12119" y="17534"/>
                    <a:pt x="12119" y="17534"/>
                  </a:cubicBezTo>
                  <a:cubicBezTo>
                    <a:pt x="11706" y="16572"/>
                    <a:pt x="11706" y="16572"/>
                    <a:pt x="11706" y="16572"/>
                  </a:cubicBezTo>
                  <a:cubicBezTo>
                    <a:pt x="11707" y="16572"/>
                    <a:pt x="11701" y="16559"/>
                    <a:pt x="11688" y="16536"/>
                  </a:cubicBezTo>
                  <a:cubicBezTo>
                    <a:pt x="11651" y="16472"/>
                    <a:pt x="11556" y="16331"/>
                    <a:pt x="11373" y="16187"/>
                  </a:cubicBezTo>
                  <a:cubicBezTo>
                    <a:pt x="11345" y="16208"/>
                    <a:pt x="11275" y="16261"/>
                    <a:pt x="11183" y="16333"/>
                  </a:cubicBezTo>
                  <a:cubicBezTo>
                    <a:pt x="11009" y="16468"/>
                    <a:pt x="10754" y="16667"/>
                    <a:pt x="10543" y="16832"/>
                  </a:cubicBezTo>
                  <a:cubicBezTo>
                    <a:pt x="10349" y="16984"/>
                    <a:pt x="10193" y="17106"/>
                    <a:pt x="10168" y="17126"/>
                  </a:cubicBezTo>
                  <a:cubicBezTo>
                    <a:pt x="10175" y="17144"/>
                    <a:pt x="10183" y="17166"/>
                    <a:pt x="10191" y="17191"/>
                  </a:cubicBezTo>
                  <a:cubicBezTo>
                    <a:pt x="10246" y="17362"/>
                    <a:pt x="10320" y="17673"/>
                    <a:pt x="10370" y="17891"/>
                  </a:cubicBezTo>
                  <a:cubicBezTo>
                    <a:pt x="10378" y="17930"/>
                    <a:pt x="10382" y="17966"/>
                    <a:pt x="10383" y="18000"/>
                  </a:cubicBezTo>
                  <a:cubicBezTo>
                    <a:pt x="10347" y="18000"/>
                    <a:pt x="10347" y="18000"/>
                    <a:pt x="10347" y="18000"/>
                  </a:cubicBezTo>
                  <a:cubicBezTo>
                    <a:pt x="10346" y="17969"/>
                    <a:pt x="10343" y="17936"/>
                    <a:pt x="10334" y="17899"/>
                  </a:cubicBezTo>
                  <a:cubicBezTo>
                    <a:pt x="10302" y="17754"/>
                    <a:pt x="10258" y="17568"/>
                    <a:pt x="10216" y="17409"/>
                  </a:cubicBezTo>
                  <a:cubicBezTo>
                    <a:pt x="10195" y="17330"/>
                    <a:pt x="10175" y="17258"/>
                    <a:pt x="10157" y="17202"/>
                  </a:cubicBezTo>
                  <a:cubicBezTo>
                    <a:pt x="10139" y="17147"/>
                    <a:pt x="10122" y="17105"/>
                    <a:pt x="10113" y="17094"/>
                  </a:cubicBezTo>
                  <a:cubicBezTo>
                    <a:pt x="10092" y="17065"/>
                    <a:pt x="10016" y="17002"/>
                    <a:pt x="9929" y="16941"/>
                  </a:cubicBezTo>
                  <a:cubicBezTo>
                    <a:pt x="9903" y="16923"/>
                    <a:pt x="9876" y="16904"/>
                    <a:pt x="9848" y="16887"/>
                  </a:cubicBezTo>
                  <a:cubicBezTo>
                    <a:pt x="9842" y="16897"/>
                    <a:pt x="9824" y="16925"/>
                    <a:pt x="9801" y="16962"/>
                  </a:cubicBezTo>
                  <a:cubicBezTo>
                    <a:pt x="9715" y="17102"/>
                    <a:pt x="9538" y="17388"/>
                    <a:pt x="9395" y="17575"/>
                  </a:cubicBezTo>
                  <a:cubicBezTo>
                    <a:pt x="9235" y="17786"/>
                    <a:pt x="9223" y="17897"/>
                    <a:pt x="9223" y="17926"/>
                  </a:cubicBezTo>
                  <a:cubicBezTo>
                    <a:pt x="9223" y="17928"/>
                    <a:pt x="9223" y="17931"/>
                    <a:pt x="9223" y="17932"/>
                  </a:cubicBezTo>
                  <a:cubicBezTo>
                    <a:pt x="9223" y="17933"/>
                    <a:pt x="9223" y="17933"/>
                    <a:pt x="9223" y="17933"/>
                  </a:cubicBezTo>
                  <a:cubicBezTo>
                    <a:pt x="9223" y="17934"/>
                    <a:pt x="9223" y="17934"/>
                    <a:pt x="9223" y="17934"/>
                  </a:cubicBezTo>
                  <a:cubicBezTo>
                    <a:pt x="9227" y="18000"/>
                    <a:pt x="9227" y="18000"/>
                    <a:pt x="9227" y="18000"/>
                  </a:cubicBezTo>
                  <a:cubicBezTo>
                    <a:pt x="9191" y="18000"/>
                    <a:pt x="9191" y="18000"/>
                    <a:pt x="9191" y="18000"/>
                  </a:cubicBezTo>
                  <a:cubicBezTo>
                    <a:pt x="9187" y="17938"/>
                    <a:pt x="9187" y="17938"/>
                    <a:pt x="9187" y="17938"/>
                  </a:cubicBezTo>
                  <a:cubicBezTo>
                    <a:pt x="9187" y="17936"/>
                    <a:pt x="9187" y="17932"/>
                    <a:pt x="9187" y="17926"/>
                  </a:cubicBezTo>
                  <a:cubicBezTo>
                    <a:pt x="9187" y="17887"/>
                    <a:pt x="9203" y="17768"/>
                    <a:pt x="9366" y="17554"/>
                  </a:cubicBezTo>
                  <a:cubicBezTo>
                    <a:pt x="9463" y="17427"/>
                    <a:pt x="9576" y="17254"/>
                    <a:pt x="9665" y="17112"/>
                  </a:cubicBezTo>
                  <a:cubicBezTo>
                    <a:pt x="9710" y="17042"/>
                    <a:pt x="9748" y="16979"/>
                    <a:pt x="9776" y="16934"/>
                  </a:cubicBezTo>
                  <a:cubicBezTo>
                    <a:pt x="9790" y="16911"/>
                    <a:pt x="9801" y="16893"/>
                    <a:pt x="9809" y="16880"/>
                  </a:cubicBezTo>
                  <a:cubicBezTo>
                    <a:pt x="9813" y="16875"/>
                    <a:pt x="9815" y="16871"/>
                    <a:pt x="9818" y="16868"/>
                  </a:cubicBezTo>
                  <a:cubicBezTo>
                    <a:pt x="9765" y="16835"/>
                    <a:pt x="9713" y="16807"/>
                    <a:pt x="9672" y="16790"/>
                  </a:cubicBezTo>
                  <a:cubicBezTo>
                    <a:pt x="9527" y="16729"/>
                    <a:pt x="9340" y="16688"/>
                    <a:pt x="9184" y="16643"/>
                  </a:cubicBezTo>
                  <a:cubicBezTo>
                    <a:pt x="9041" y="16601"/>
                    <a:pt x="8665" y="16375"/>
                    <a:pt x="8584" y="16325"/>
                  </a:cubicBezTo>
                  <a:cubicBezTo>
                    <a:pt x="7677" y="17970"/>
                    <a:pt x="7677" y="17970"/>
                    <a:pt x="7677" y="17970"/>
                  </a:cubicBezTo>
                  <a:cubicBezTo>
                    <a:pt x="7727" y="18000"/>
                    <a:pt x="7727" y="18000"/>
                    <a:pt x="7727" y="18000"/>
                  </a:cubicBezTo>
                  <a:cubicBezTo>
                    <a:pt x="7660" y="18000"/>
                    <a:pt x="7660" y="18000"/>
                    <a:pt x="7660" y="18000"/>
                  </a:cubicBezTo>
                  <a:cubicBezTo>
                    <a:pt x="7659" y="18002"/>
                    <a:pt x="7659" y="18002"/>
                    <a:pt x="7659" y="18002"/>
                  </a:cubicBezTo>
                  <a:cubicBezTo>
                    <a:pt x="7657" y="18000"/>
                    <a:pt x="7657" y="18000"/>
                    <a:pt x="7657" y="18000"/>
                  </a:cubicBezTo>
                  <a:cubicBezTo>
                    <a:pt x="7619" y="18000"/>
                    <a:pt x="7619" y="18000"/>
                    <a:pt x="7619" y="18000"/>
                  </a:cubicBezTo>
                  <a:cubicBezTo>
                    <a:pt x="7628" y="17983"/>
                    <a:pt x="7628" y="17983"/>
                    <a:pt x="7628" y="17983"/>
                  </a:cubicBezTo>
                  <a:cubicBezTo>
                    <a:pt x="7609" y="17972"/>
                    <a:pt x="7609" y="17972"/>
                    <a:pt x="7609" y="17972"/>
                  </a:cubicBezTo>
                  <a:cubicBezTo>
                    <a:pt x="7608" y="17972"/>
                    <a:pt x="7579" y="17956"/>
                    <a:pt x="7530" y="17933"/>
                  </a:cubicBezTo>
                  <a:cubicBezTo>
                    <a:pt x="7392" y="17868"/>
                    <a:pt x="7097" y="17740"/>
                    <a:pt x="6833" y="17698"/>
                  </a:cubicBezTo>
                  <a:cubicBezTo>
                    <a:pt x="6826" y="17735"/>
                    <a:pt x="6805" y="17862"/>
                    <a:pt x="6782" y="18000"/>
                  </a:cubicBezTo>
                  <a:cubicBezTo>
                    <a:pt x="6745" y="18000"/>
                    <a:pt x="6745" y="18000"/>
                    <a:pt x="6745" y="18000"/>
                  </a:cubicBezTo>
                  <a:cubicBezTo>
                    <a:pt x="6757" y="17927"/>
                    <a:pt x="6769" y="17856"/>
                    <a:pt x="6779" y="17800"/>
                  </a:cubicBezTo>
                  <a:cubicBezTo>
                    <a:pt x="6785" y="17764"/>
                    <a:pt x="6790" y="17735"/>
                    <a:pt x="6794" y="17713"/>
                  </a:cubicBezTo>
                  <a:cubicBezTo>
                    <a:pt x="6795" y="17705"/>
                    <a:pt x="6796" y="17699"/>
                    <a:pt x="6797" y="17693"/>
                  </a:cubicBezTo>
                  <a:cubicBezTo>
                    <a:pt x="6785" y="17691"/>
                    <a:pt x="6772" y="17690"/>
                    <a:pt x="6759" y="17689"/>
                  </a:cubicBezTo>
                  <a:cubicBezTo>
                    <a:pt x="6379" y="17652"/>
                    <a:pt x="6292" y="17597"/>
                    <a:pt x="6185" y="17570"/>
                  </a:cubicBezTo>
                  <a:cubicBezTo>
                    <a:pt x="6075" y="17541"/>
                    <a:pt x="5867" y="17488"/>
                    <a:pt x="5709" y="17456"/>
                  </a:cubicBezTo>
                  <a:cubicBezTo>
                    <a:pt x="5630" y="17440"/>
                    <a:pt x="5468" y="17412"/>
                    <a:pt x="5327" y="17388"/>
                  </a:cubicBezTo>
                  <a:cubicBezTo>
                    <a:pt x="5211" y="17369"/>
                    <a:pt x="5108" y="17353"/>
                    <a:pt x="5076" y="17347"/>
                  </a:cubicBezTo>
                  <a:cubicBezTo>
                    <a:pt x="5086" y="17435"/>
                    <a:pt x="5089" y="17576"/>
                    <a:pt x="5089" y="17732"/>
                  </a:cubicBezTo>
                  <a:cubicBezTo>
                    <a:pt x="5089" y="17820"/>
                    <a:pt x="5088" y="17912"/>
                    <a:pt x="5086" y="18000"/>
                  </a:cubicBezTo>
                  <a:cubicBezTo>
                    <a:pt x="5050" y="18000"/>
                    <a:pt x="5050" y="18000"/>
                    <a:pt x="5050" y="18000"/>
                  </a:cubicBezTo>
                  <a:cubicBezTo>
                    <a:pt x="5052" y="17912"/>
                    <a:pt x="5053" y="17820"/>
                    <a:pt x="5053" y="17732"/>
                  </a:cubicBezTo>
                  <a:cubicBezTo>
                    <a:pt x="5053" y="17533"/>
                    <a:pt x="5047" y="17351"/>
                    <a:pt x="5030" y="17296"/>
                  </a:cubicBezTo>
                  <a:cubicBezTo>
                    <a:pt x="5013" y="17239"/>
                    <a:pt x="4989" y="17210"/>
                    <a:pt x="4960" y="17193"/>
                  </a:cubicBezTo>
                  <a:cubicBezTo>
                    <a:pt x="4932" y="17176"/>
                    <a:pt x="4896" y="17171"/>
                    <a:pt x="4854" y="17171"/>
                  </a:cubicBezTo>
                  <a:cubicBezTo>
                    <a:pt x="4823" y="17171"/>
                    <a:pt x="4790" y="17173"/>
                    <a:pt x="4754" y="17174"/>
                  </a:cubicBezTo>
                  <a:cubicBezTo>
                    <a:pt x="4684" y="17177"/>
                    <a:pt x="4592" y="17181"/>
                    <a:pt x="4500" y="17181"/>
                  </a:cubicBezTo>
                  <a:cubicBezTo>
                    <a:pt x="4495" y="17181"/>
                    <a:pt x="4489" y="17181"/>
                    <a:pt x="4484" y="17181"/>
                  </a:cubicBezTo>
                  <a:cubicBezTo>
                    <a:pt x="4484" y="17183"/>
                    <a:pt x="4484" y="17183"/>
                    <a:pt x="4484" y="17183"/>
                  </a:cubicBezTo>
                  <a:cubicBezTo>
                    <a:pt x="4481" y="17183"/>
                    <a:pt x="4478" y="17182"/>
                    <a:pt x="4475" y="17181"/>
                  </a:cubicBezTo>
                  <a:cubicBezTo>
                    <a:pt x="4403" y="17180"/>
                    <a:pt x="4332" y="17177"/>
                    <a:pt x="4273" y="17166"/>
                  </a:cubicBezTo>
                  <a:cubicBezTo>
                    <a:pt x="4204" y="17154"/>
                    <a:pt x="4130" y="17138"/>
                    <a:pt x="4073" y="17084"/>
                  </a:cubicBezTo>
                  <a:cubicBezTo>
                    <a:pt x="4028" y="17041"/>
                    <a:pt x="3996" y="16976"/>
                    <a:pt x="3985" y="16878"/>
                  </a:cubicBezTo>
                  <a:cubicBezTo>
                    <a:pt x="3973" y="16877"/>
                    <a:pt x="3973" y="16877"/>
                    <a:pt x="3973" y="16877"/>
                  </a:cubicBezTo>
                  <a:cubicBezTo>
                    <a:pt x="3698" y="16925"/>
                    <a:pt x="3698" y="16925"/>
                    <a:pt x="3698" y="16925"/>
                  </a:cubicBezTo>
                  <a:cubicBezTo>
                    <a:pt x="3842" y="17740"/>
                    <a:pt x="3842" y="17740"/>
                    <a:pt x="3842" y="17740"/>
                  </a:cubicBezTo>
                  <a:cubicBezTo>
                    <a:pt x="4325" y="17793"/>
                    <a:pt x="4325" y="17793"/>
                    <a:pt x="4325" y="17793"/>
                  </a:cubicBezTo>
                  <a:cubicBezTo>
                    <a:pt x="4304" y="18000"/>
                    <a:pt x="4304" y="18000"/>
                    <a:pt x="4304" y="18000"/>
                  </a:cubicBezTo>
                  <a:cubicBezTo>
                    <a:pt x="4278" y="18000"/>
                    <a:pt x="4278" y="18000"/>
                    <a:pt x="4278" y="18000"/>
                  </a:cubicBezTo>
                  <a:cubicBezTo>
                    <a:pt x="4296" y="17817"/>
                    <a:pt x="4296" y="17817"/>
                    <a:pt x="4296" y="17817"/>
                  </a:cubicBezTo>
                  <a:cubicBezTo>
                    <a:pt x="3820" y="17764"/>
                    <a:pt x="3820" y="17764"/>
                    <a:pt x="3820" y="17764"/>
                  </a:cubicBezTo>
                  <a:cubicBezTo>
                    <a:pt x="3672" y="16929"/>
                    <a:pt x="3672" y="16929"/>
                    <a:pt x="3672" y="16929"/>
                  </a:cubicBezTo>
                  <a:cubicBezTo>
                    <a:pt x="2630" y="17108"/>
                    <a:pt x="2630" y="17108"/>
                    <a:pt x="2630" y="17108"/>
                  </a:cubicBezTo>
                  <a:cubicBezTo>
                    <a:pt x="2634" y="17397"/>
                    <a:pt x="2642" y="17646"/>
                    <a:pt x="2645" y="17725"/>
                  </a:cubicBezTo>
                  <a:cubicBezTo>
                    <a:pt x="2647" y="17738"/>
                    <a:pt x="2647" y="17738"/>
                    <a:pt x="2647" y="17738"/>
                  </a:cubicBezTo>
                  <a:cubicBezTo>
                    <a:pt x="2648" y="17738"/>
                    <a:pt x="2650" y="17738"/>
                    <a:pt x="2651" y="17738"/>
                  </a:cubicBezTo>
                  <a:cubicBezTo>
                    <a:pt x="2813" y="17738"/>
                    <a:pt x="2949" y="17850"/>
                    <a:pt x="2986" y="18000"/>
                  </a:cubicBezTo>
                  <a:cubicBezTo>
                    <a:pt x="2860" y="18000"/>
                    <a:pt x="2860" y="18000"/>
                    <a:pt x="2860" y="18000"/>
                  </a:cubicBezTo>
                  <a:cubicBezTo>
                    <a:pt x="2827" y="17917"/>
                    <a:pt x="2746" y="17858"/>
                    <a:pt x="2651" y="17858"/>
                  </a:cubicBezTo>
                  <a:cubicBezTo>
                    <a:pt x="2556" y="17858"/>
                    <a:pt x="2475" y="17917"/>
                    <a:pt x="2442" y="18000"/>
                  </a:cubicBezTo>
                  <a:cubicBezTo>
                    <a:pt x="2316" y="18000"/>
                    <a:pt x="2316" y="18000"/>
                    <a:pt x="2316" y="18000"/>
                  </a:cubicBezTo>
                  <a:cubicBezTo>
                    <a:pt x="2318" y="17990"/>
                    <a:pt x="2321" y="17980"/>
                    <a:pt x="2325" y="17970"/>
                  </a:cubicBezTo>
                  <a:cubicBezTo>
                    <a:pt x="2282" y="17956"/>
                    <a:pt x="2211" y="17936"/>
                    <a:pt x="2115" y="17916"/>
                  </a:cubicBezTo>
                  <a:cubicBezTo>
                    <a:pt x="1949" y="17882"/>
                    <a:pt x="1777" y="17869"/>
                    <a:pt x="1604" y="17836"/>
                  </a:cubicBezTo>
                  <a:cubicBezTo>
                    <a:pt x="1422" y="17800"/>
                    <a:pt x="1186" y="17722"/>
                    <a:pt x="906" y="17615"/>
                  </a:cubicBezTo>
                  <a:cubicBezTo>
                    <a:pt x="897" y="17612"/>
                    <a:pt x="889" y="17608"/>
                    <a:pt x="880" y="17604"/>
                  </a:cubicBezTo>
                  <a:cubicBezTo>
                    <a:pt x="883" y="17606"/>
                    <a:pt x="887" y="17609"/>
                    <a:pt x="890" y="17611"/>
                  </a:cubicBezTo>
                  <a:cubicBezTo>
                    <a:pt x="1003" y="17686"/>
                    <a:pt x="1128" y="17766"/>
                    <a:pt x="1208" y="17812"/>
                  </a:cubicBezTo>
                  <a:cubicBezTo>
                    <a:pt x="1343" y="17890"/>
                    <a:pt x="1444" y="17956"/>
                    <a:pt x="1565" y="18000"/>
                  </a:cubicBezTo>
                  <a:cubicBezTo>
                    <a:pt x="1302" y="18000"/>
                    <a:pt x="1302" y="18000"/>
                    <a:pt x="1302" y="18000"/>
                  </a:cubicBezTo>
                  <a:cubicBezTo>
                    <a:pt x="1253" y="17972"/>
                    <a:pt x="1204" y="17942"/>
                    <a:pt x="1151" y="17912"/>
                  </a:cubicBezTo>
                  <a:cubicBezTo>
                    <a:pt x="1066" y="17863"/>
                    <a:pt x="941" y="17782"/>
                    <a:pt x="827" y="17707"/>
                  </a:cubicBezTo>
                  <a:cubicBezTo>
                    <a:pt x="712" y="17631"/>
                    <a:pt x="612" y="17561"/>
                    <a:pt x="573" y="17531"/>
                  </a:cubicBezTo>
                  <a:cubicBezTo>
                    <a:pt x="565" y="17524"/>
                    <a:pt x="528" y="17499"/>
                    <a:pt x="481" y="17465"/>
                  </a:cubicBezTo>
                  <a:cubicBezTo>
                    <a:pt x="442" y="17437"/>
                    <a:pt x="394" y="17401"/>
                    <a:pt x="345" y="17359"/>
                  </a:cubicBezTo>
                  <a:cubicBezTo>
                    <a:pt x="339" y="17375"/>
                    <a:pt x="339" y="17375"/>
                    <a:pt x="339" y="17375"/>
                  </a:cubicBezTo>
                  <a:cubicBezTo>
                    <a:pt x="360" y="17478"/>
                    <a:pt x="388" y="17640"/>
                    <a:pt x="396" y="17767"/>
                  </a:cubicBezTo>
                  <a:cubicBezTo>
                    <a:pt x="402" y="17854"/>
                    <a:pt x="409" y="17931"/>
                    <a:pt x="415" y="18000"/>
                  </a:cubicBezTo>
                  <a:cubicBezTo>
                    <a:pt x="389" y="18000"/>
                    <a:pt x="389" y="18000"/>
                    <a:pt x="389" y="18000"/>
                  </a:cubicBezTo>
                  <a:cubicBezTo>
                    <a:pt x="383" y="17932"/>
                    <a:pt x="375" y="17855"/>
                    <a:pt x="370" y="17769"/>
                  </a:cubicBezTo>
                  <a:cubicBezTo>
                    <a:pt x="361" y="17616"/>
                    <a:pt x="320" y="17409"/>
                    <a:pt x="302" y="17321"/>
                  </a:cubicBezTo>
                  <a:cubicBezTo>
                    <a:pt x="201" y="17231"/>
                    <a:pt x="105" y="17123"/>
                    <a:pt x="44" y="17063"/>
                  </a:cubicBezTo>
                  <a:cubicBezTo>
                    <a:pt x="34" y="17052"/>
                    <a:pt x="21" y="17039"/>
                    <a:pt x="7" y="17024"/>
                  </a:cubicBezTo>
                  <a:cubicBezTo>
                    <a:pt x="7" y="16944"/>
                    <a:pt x="7" y="16944"/>
                    <a:pt x="7" y="16944"/>
                  </a:cubicBezTo>
                  <a:cubicBezTo>
                    <a:pt x="7" y="16854"/>
                    <a:pt x="7" y="16854"/>
                    <a:pt x="7" y="16854"/>
                  </a:cubicBezTo>
                  <a:cubicBezTo>
                    <a:pt x="7" y="16788"/>
                    <a:pt x="7" y="16788"/>
                    <a:pt x="7" y="16788"/>
                  </a:cubicBezTo>
                  <a:cubicBezTo>
                    <a:pt x="78" y="16854"/>
                    <a:pt x="157" y="16925"/>
                    <a:pt x="240" y="16998"/>
                  </a:cubicBezTo>
                  <a:cubicBezTo>
                    <a:pt x="367" y="17109"/>
                    <a:pt x="503" y="17221"/>
                    <a:pt x="628" y="17314"/>
                  </a:cubicBezTo>
                  <a:cubicBezTo>
                    <a:pt x="752" y="17406"/>
                    <a:pt x="868" y="17478"/>
                    <a:pt x="947" y="17508"/>
                  </a:cubicBezTo>
                  <a:cubicBezTo>
                    <a:pt x="1224" y="17613"/>
                    <a:pt x="1457" y="17690"/>
                    <a:pt x="1626" y="17723"/>
                  </a:cubicBezTo>
                  <a:cubicBezTo>
                    <a:pt x="1790" y="17755"/>
                    <a:pt x="1963" y="17768"/>
                    <a:pt x="2138" y="17803"/>
                  </a:cubicBezTo>
                  <a:cubicBezTo>
                    <a:pt x="2257" y="17828"/>
                    <a:pt x="2339" y="17853"/>
                    <a:pt x="2381" y="17868"/>
                  </a:cubicBezTo>
                  <a:cubicBezTo>
                    <a:pt x="2435" y="17800"/>
                    <a:pt x="2514" y="17753"/>
                    <a:pt x="2604" y="17741"/>
                  </a:cubicBezTo>
                  <a:cubicBezTo>
                    <a:pt x="2605" y="17741"/>
                    <a:pt x="2605" y="17740"/>
                    <a:pt x="2605" y="17740"/>
                  </a:cubicBezTo>
                  <a:cubicBezTo>
                    <a:pt x="2605" y="17740"/>
                    <a:pt x="2606" y="17714"/>
                    <a:pt x="2607" y="17714"/>
                  </a:cubicBezTo>
                  <a:cubicBezTo>
                    <a:pt x="2607" y="17714"/>
                    <a:pt x="2608" y="17714"/>
                    <a:pt x="2608" y="17714"/>
                  </a:cubicBezTo>
                  <a:cubicBezTo>
                    <a:pt x="2605" y="17603"/>
                    <a:pt x="2595" y="17268"/>
                    <a:pt x="2591" y="16920"/>
                  </a:cubicBezTo>
                  <a:cubicBezTo>
                    <a:pt x="2591" y="16855"/>
                    <a:pt x="2590" y="16791"/>
                    <a:pt x="2590" y="16727"/>
                  </a:cubicBezTo>
                  <a:cubicBezTo>
                    <a:pt x="2564" y="16727"/>
                    <a:pt x="2516" y="16726"/>
                    <a:pt x="2461" y="16722"/>
                  </a:cubicBezTo>
                  <a:cubicBezTo>
                    <a:pt x="2380" y="16717"/>
                    <a:pt x="2290" y="16707"/>
                    <a:pt x="2239" y="16685"/>
                  </a:cubicBezTo>
                  <a:cubicBezTo>
                    <a:pt x="2143" y="16642"/>
                    <a:pt x="1990" y="16488"/>
                    <a:pt x="1943" y="16448"/>
                  </a:cubicBezTo>
                  <a:cubicBezTo>
                    <a:pt x="1942" y="16448"/>
                    <a:pt x="1839" y="16351"/>
                    <a:pt x="1735" y="16253"/>
                  </a:cubicBezTo>
                  <a:cubicBezTo>
                    <a:pt x="1358" y="16717"/>
                    <a:pt x="1358" y="16717"/>
                    <a:pt x="1358" y="16717"/>
                  </a:cubicBezTo>
                  <a:cubicBezTo>
                    <a:pt x="1356" y="16718"/>
                    <a:pt x="1356" y="16718"/>
                    <a:pt x="1356" y="16718"/>
                  </a:cubicBezTo>
                  <a:cubicBezTo>
                    <a:pt x="1356" y="16718"/>
                    <a:pt x="1356" y="16719"/>
                    <a:pt x="1354" y="16721"/>
                  </a:cubicBezTo>
                  <a:cubicBezTo>
                    <a:pt x="1347" y="16727"/>
                    <a:pt x="1335" y="16743"/>
                    <a:pt x="1335" y="16762"/>
                  </a:cubicBezTo>
                  <a:cubicBezTo>
                    <a:pt x="1335" y="16777"/>
                    <a:pt x="1342" y="16798"/>
                    <a:pt x="1376" y="16826"/>
                  </a:cubicBezTo>
                  <a:cubicBezTo>
                    <a:pt x="1470" y="16900"/>
                    <a:pt x="1642" y="16982"/>
                    <a:pt x="1707" y="17024"/>
                  </a:cubicBezTo>
                  <a:cubicBezTo>
                    <a:pt x="1770" y="17064"/>
                    <a:pt x="1829" y="17098"/>
                    <a:pt x="1860" y="17159"/>
                  </a:cubicBezTo>
                  <a:cubicBezTo>
                    <a:pt x="1874" y="17189"/>
                    <a:pt x="1884" y="17219"/>
                    <a:pt x="1891" y="17243"/>
                  </a:cubicBezTo>
                  <a:cubicBezTo>
                    <a:pt x="1895" y="17254"/>
                    <a:pt x="1898" y="17264"/>
                    <a:pt x="1901" y="17271"/>
                  </a:cubicBezTo>
                  <a:cubicBezTo>
                    <a:pt x="1902" y="17274"/>
                    <a:pt x="1903" y="17277"/>
                    <a:pt x="1903" y="17278"/>
                  </a:cubicBezTo>
                  <a:cubicBezTo>
                    <a:pt x="1903" y="17278"/>
                    <a:pt x="1903" y="17278"/>
                    <a:pt x="1903" y="17278"/>
                  </a:cubicBezTo>
                  <a:cubicBezTo>
                    <a:pt x="1894" y="17285"/>
                    <a:pt x="1894" y="17285"/>
                    <a:pt x="1894" y="17285"/>
                  </a:cubicBezTo>
                  <a:cubicBezTo>
                    <a:pt x="1883" y="17307"/>
                    <a:pt x="1883" y="17307"/>
                    <a:pt x="1883" y="17307"/>
                  </a:cubicBezTo>
                  <a:cubicBezTo>
                    <a:pt x="1870" y="17298"/>
                    <a:pt x="1871" y="17292"/>
                    <a:pt x="1867" y="17284"/>
                  </a:cubicBezTo>
                  <a:cubicBezTo>
                    <a:pt x="1858" y="17259"/>
                    <a:pt x="1847" y="17215"/>
                    <a:pt x="1828" y="17176"/>
                  </a:cubicBezTo>
                  <a:cubicBezTo>
                    <a:pt x="1803" y="17126"/>
                    <a:pt x="1752" y="17095"/>
                    <a:pt x="1688" y="17054"/>
                  </a:cubicBezTo>
                  <a:cubicBezTo>
                    <a:pt x="1627" y="17015"/>
                    <a:pt x="1452" y="16932"/>
                    <a:pt x="1354" y="16854"/>
                  </a:cubicBezTo>
                  <a:cubicBezTo>
                    <a:pt x="1314" y="16823"/>
                    <a:pt x="1299" y="16790"/>
                    <a:pt x="1299" y="16762"/>
                  </a:cubicBezTo>
                  <a:cubicBezTo>
                    <a:pt x="1299" y="16722"/>
                    <a:pt x="1325" y="16698"/>
                    <a:pt x="1332" y="16692"/>
                  </a:cubicBezTo>
                  <a:cubicBezTo>
                    <a:pt x="1709" y="16228"/>
                    <a:pt x="1709" y="16228"/>
                    <a:pt x="1709" y="16228"/>
                  </a:cubicBezTo>
                  <a:cubicBezTo>
                    <a:pt x="1636" y="16159"/>
                    <a:pt x="1566" y="16094"/>
                    <a:pt x="1537" y="16065"/>
                  </a:cubicBezTo>
                  <a:cubicBezTo>
                    <a:pt x="1500" y="16029"/>
                    <a:pt x="1422" y="15962"/>
                    <a:pt x="1354" y="15903"/>
                  </a:cubicBezTo>
                  <a:cubicBezTo>
                    <a:pt x="1306" y="15862"/>
                    <a:pt x="1262" y="15823"/>
                    <a:pt x="1241" y="15804"/>
                  </a:cubicBezTo>
                  <a:cubicBezTo>
                    <a:pt x="1241" y="15804"/>
                    <a:pt x="1241" y="15804"/>
                    <a:pt x="1241" y="15804"/>
                  </a:cubicBezTo>
                  <a:cubicBezTo>
                    <a:pt x="1236" y="15801"/>
                    <a:pt x="1236" y="15801"/>
                    <a:pt x="1236" y="15801"/>
                  </a:cubicBezTo>
                  <a:cubicBezTo>
                    <a:pt x="1236" y="15800"/>
                    <a:pt x="1199" y="15765"/>
                    <a:pt x="1150" y="15725"/>
                  </a:cubicBezTo>
                  <a:cubicBezTo>
                    <a:pt x="1102" y="15684"/>
                    <a:pt x="1043" y="15638"/>
                    <a:pt x="1005" y="15618"/>
                  </a:cubicBezTo>
                  <a:cubicBezTo>
                    <a:pt x="921" y="15575"/>
                    <a:pt x="858" y="15540"/>
                    <a:pt x="752" y="15510"/>
                  </a:cubicBezTo>
                  <a:cubicBezTo>
                    <a:pt x="645" y="15481"/>
                    <a:pt x="504" y="15447"/>
                    <a:pt x="390" y="15431"/>
                  </a:cubicBezTo>
                  <a:cubicBezTo>
                    <a:pt x="335" y="15423"/>
                    <a:pt x="293" y="15417"/>
                    <a:pt x="265" y="15414"/>
                  </a:cubicBezTo>
                  <a:cubicBezTo>
                    <a:pt x="251" y="15412"/>
                    <a:pt x="241" y="15410"/>
                    <a:pt x="234" y="15409"/>
                  </a:cubicBezTo>
                  <a:cubicBezTo>
                    <a:pt x="233" y="15409"/>
                    <a:pt x="232" y="15409"/>
                    <a:pt x="232" y="15409"/>
                  </a:cubicBezTo>
                  <a:cubicBezTo>
                    <a:pt x="230" y="15410"/>
                    <a:pt x="228" y="15410"/>
                    <a:pt x="227" y="15411"/>
                  </a:cubicBezTo>
                  <a:cubicBezTo>
                    <a:pt x="151" y="15511"/>
                    <a:pt x="98" y="15577"/>
                    <a:pt x="98" y="15577"/>
                  </a:cubicBezTo>
                  <a:cubicBezTo>
                    <a:pt x="98" y="15577"/>
                    <a:pt x="98" y="15577"/>
                    <a:pt x="98" y="15577"/>
                  </a:cubicBezTo>
                  <a:cubicBezTo>
                    <a:pt x="7" y="15694"/>
                    <a:pt x="7" y="15694"/>
                    <a:pt x="7" y="15694"/>
                  </a:cubicBezTo>
                  <a:cubicBezTo>
                    <a:pt x="7" y="15635"/>
                    <a:pt x="7" y="15635"/>
                    <a:pt x="7" y="15635"/>
                  </a:cubicBezTo>
                  <a:cubicBezTo>
                    <a:pt x="61" y="15566"/>
                    <a:pt x="61" y="15566"/>
                    <a:pt x="61" y="15566"/>
                  </a:cubicBezTo>
                  <a:cubicBezTo>
                    <a:pt x="60" y="15566"/>
                    <a:pt x="60" y="15566"/>
                    <a:pt x="60" y="15566"/>
                  </a:cubicBezTo>
                  <a:cubicBezTo>
                    <a:pt x="60" y="15566"/>
                    <a:pt x="125" y="15483"/>
                    <a:pt x="205" y="15379"/>
                  </a:cubicBezTo>
                  <a:cubicBezTo>
                    <a:pt x="182" y="15359"/>
                    <a:pt x="108" y="15295"/>
                    <a:pt x="7" y="15209"/>
                  </a:cubicBezTo>
                  <a:cubicBezTo>
                    <a:pt x="7" y="15162"/>
                    <a:pt x="7" y="15162"/>
                    <a:pt x="7" y="15162"/>
                  </a:cubicBezTo>
                  <a:cubicBezTo>
                    <a:pt x="117" y="15256"/>
                    <a:pt x="200" y="15327"/>
                    <a:pt x="227" y="15350"/>
                  </a:cubicBezTo>
                  <a:cubicBezTo>
                    <a:pt x="247" y="15324"/>
                    <a:pt x="268" y="15297"/>
                    <a:pt x="288" y="15270"/>
                  </a:cubicBezTo>
                  <a:cubicBezTo>
                    <a:pt x="401" y="15122"/>
                    <a:pt x="520" y="14965"/>
                    <a:pt x="542" y="14933"/>
                  </a:cubicBezTo>
                  <a:cubicBezTo>
                    <a:pt x="581" y="14877"/>
                    <a:pt x="620" y="14762"/>
                    <a:pt x="640" y="14703"/>
                  </a:cubicBezTo>
                  <a:cubicBezTo>
                    <a:pt x="634" y="14698"/>
                    <a:pt x="625" y="14691"/>
                    <a:pt x="614" y="14683"/>
                  </a:cubicBezTo>
                  <a:cubicBezTo>
                    <a:pt x="560" y="14641"/>
                    <a:pt x="470" y="14574"/>
                    <a:pt x="470" y="14574"/>
                  </a:cubicBezTo>
                  <a:cubicBezTo>
                    <a:pt x="470" y="14572"/>
                    <a:pt x="470" y="14572"/>
                    <a:pt x="470" y="14572"/>
                  </a:cubicBezTo>
                  <a:cubicBezTo>
                    <a:pt x="7" y="14206"/>
                    <a:pt x="7" y="14206"/>
                    <a:pt x="7" y="14206"/>
                  </a:cubicBezTo>
                  <a:cubicBezTo>
                    <a:pt x="7" y="14169"/>
                    <a:pt x="7" y="14169"/>
                    <a:pt x="7" y="14169"/>
                  </a:cubicBezTo>
                  <a:cubicBezTo>
                    <a:pt x="5" y="14168"/>
                    <a:pt x="5" y="14168"/>
                    <a:pt x="5" y="14168"/>
                  </a:cubicBezTo>
                  <a:cubicBezTo>
                    <a:pt x="5" y="14168"/>
                    <a:pt x="5" y="14168"/>
                    <a:pt x="5" y="14168"/>
                  </a:cubicBezTo>
                  <a:cubicBezTo>
                    <a:pt x="6" y="14166"/>
                    <a:pt x="6" y="14166"/>
                    <a:pt x="6" y="14166"/>
                  </a:cubicBezTo>
                  <a:cubicBezTo>
                    <a:pt x="0" y="14159"/>
                    <a:pt x="0" y="14159"/>
                    <a:pt x="0" y="14159"/>
                  </a:cubicBezTo>
                  <a:cubicBezTo>
                    <a:pt x="2" y="14156"/>
                    <a:pt x="2" y="14156"/>
                    <a:pt x="2" y="14156"/>
                  </a:cubicBezTo>
                  <a:cubicBezTo>
                    <a:pt x="7" y="14150"/>
                    <a:pt x="7" y="14150"/>
                    <a:pt x="7" y="14150"/>
                  </a:cubicBezTo>
                  <a:cubicBezTo>
                    <a:pt x="15" y="14142"/>
                    <a:pt x="15" y="14142"/>
                    <a:pt x="15" y="14142"/>
                  </a:cubicBezTo>
                  <a:cubicBezTo>
                    <a:pt x="211" y="13644"/>
                    <a:pt x="211" y="13644"/>
                    <a:pt x="211" y="13644"/>
                  </a:cubicBezTo>
                  <a:cubicBezTo>
                    <a:pt x="122" y="13484"/>
                    <a:pt x="122" y="13484"/>
                    <a:pt x="122" y="13484"/>
                  </a:cubicBezTo>
                  <a:cubicBezTo>
                    <a:pt x="242" y="13300"/>
                    <a:pt x="242" y="13300"/>
                    <a:pt x="242" y="13300"/>
                  </a:cubicBezTo>
                  <a:cubicBezTo>
                    <a:pt x="242" y="13298"/>
                    <a:pt x="242" y="13298"/>
                    <a:pt x="242" y="13298"/>
                  </a:cubicBezTo>
                  <a:cubicBezTo>
                    <a:pt x="242" y="13269"/>
                    <a:pt x="243" y="13139"/>
                    <a:pt x="265" y="13019"/>
                  </a:cubicBezTo>
                  <a:cubicBezTo>
                    <a:pt x="269" y="12998"/>
                    <a:pt x="270" y="12978"/>
                    <a:pt x="270" y="12959"/>
                  </a:cubicBezTo>
                  <a:cubicBezTo>
                    <a:pt x="270" y="12855"/>
                    <a:pt x="222" y="12769"/>
                    <a:pt x="188" y="12726"/>
                  </a:cubicBezTo>
                  <a:cubicBezTo>
                    <a:pt x="169" y="12700"/>
                    <a:pt x="146" y="12680"/>
                    <a:pt x="127" y="12667"/>
                  </a:cubicBezTo>
                  <a:cubicBezTo>
                    <a:pt x="118" y="12661"/>
                    <a:pt x="109" y="12656"/>
                    <a:pt x="103" y="12653"/>
                  </a:cubicBezTo>
                  <a:cubicBezTo>
                    <a:pt x="99" y="12651"/>
                    <a:pt x="96" y="12650"/>
                    <a:pt x="94" y="12649"/>
                  </a:cubicBezTo>
                  <a:cubicBezTo>
                    <a:pt x="93" y="12649"/>
                    <a:pt x="93" y="12649"/>
                    <a:pt x="92" y="12649"/>
                  </a:cubicBezTo>
                  <a:cubicBezTo>
                    <a:pt x="92" y="12649"/>
                    <a:pt x="92" y="12649"/>
                    <a:pt x="92" y="12649"/>
                  </a:cubicBezTo>
                  <a:cubicBezTo>
                    <a:pt x="86" y="12648"/>
                    <a:pt x="68" y="12646"/>
                    <a:pt x="39" y="12641"/>
                  </a:cubicBezTo>
                  <a:cubicBezTo>
                    <a:pt x="30" y="12639"/>
                    <a:pt x="19" y="12638"/>
                    <a:pt x="7" y="12636"/>
                  </a:cubicBezTo>
                  <a:cubicBezTo>
                    <a:pt x="7" y="12609"/>
                    <a:pt x="7" y="12609"/>
                    <a:pt x="7" y="12609"/>
                  </a:cubicBezTo>
                  <a:cubicBezTo>
                    <a:pt x="20" y="12611"/>
                    <a:pt x="33" y="12613"/>
                    <a:pt x="44" y="12615"/>
                  </a:cubicBezTo>
                  <a:cubicBezTo>
                    <a:pt x="57" y="12617"/>
                    <a:pt x="69" y="12619"/>
                    <a:pt x="78" y="12621"/>
                  </a:cubicBezTo>
                  <a:cubicBezTo>
                    <a:pt x="82" y="12621"/>
                    <a:pt x="86" y="12622"/>
                    <a:pt x="89" y="12622"/>
                  </a:cubicBezTo>
                  <a:cubicBezTo>
                    <a:pt x="90" y="12622"/>
                    <a:pt x="91" y="12622"/>
                    <a:pt x="92" y="12622"/>
                  </a:cubicBezTo>
                  <a:cubicBezTo>
                    <a:pt x="92" y="12622"/>
                    <a:pt x="92" y="12622"/>
                    <a:pt x="92" y="12622"/>
                  </a:cubicBezTo>
                  <a:cubicBezTo>
                    <a:pt x="106" y="12623"/>
                    <a:pt x="120" y="12631"/>
                    <a:pt x="142" y="12646"/>
                  </a:cubicBezTo>
                  <a:cubicBezTo>
                    <a:pt x="163" y="12660"/>
                    <a:pt x="188" y="12682"/>
                    <a:pt x="209" y="12710"/>
                  </a:cubicBezTo>
                  <a:cubicBezTo>
                    <a:pt x="245" y="12756"/>
                    <a:pt x="296" y="12847"/>
                    <a:pt x="297" y="12959"/>
                  </a:cubicBezTo>
                  <a:cubicBezTo>
                    <a:pt x="297" y="12980"/>
                    <a:pt x="295" y="13001"/>
                    <a:pt x="291" y="13023"/>
                  </a:cubicBezTo>
                  <a:cubicBezTo>
                    <a:pt x="269" y="13141"/>
                    <a:pt x="268" y="13270"/>
                    <a:pt x="268" y="13298"/>
                  </a:cubicBezTo>
                  <a:cubicBezTo>
                    <a:pt x="268" y="13302"/>
                    <a:pt x="268" y="13304"/>
                    <a:pt x="268" y="13304"/>
                  </a:cubicBezTo>
                  <a:cubicBezTo>
                    <a:pt x="268" y="13308"/>
                    <a:pt x="268" y="13308"/>
                    <a:pt x="268" y="13308"/>
                  </a:cubicBezTo>
                  <a:cubicBezTo>
                    <a:pt x="153" y="13485"/>
                    <a:pt x="153" y="13485"/>
                    <a:pt x="153" y="13485"/>
                  </a:cubicBezTo>
                  <a:cubicBezTo>
                    <a:pt x="240" y="13642"/>
                    <a:pt x="240" y="13642"/>
                    <a:pt x="240" y="13642"/>
                  </a:cubicBezTo>
                  <a:cubicBezTo>
                    <a:pt x="35" y="14163"/>
                    <a:pt x="35" y="14163"/>
                    <a:pt x="35" y="14163"/>
                  </a:cubicBezTo>
                  <a:cubicBezTo>
                    <a:pt x="32" y="14179"/>
                    <a:pt x="32" y="14179"/>
                    <a:pt x="32" y="14179"/>
                  </a:cubicBezTo>
                  <a:cubicBezTo>
                    <a:pt x="474" y="14530"/>
                    <a:pt x="474" y="14530"/>
                    <a:pt x="474" y="14530"/>
                  </a:cubicBezTo>
                  <a:cubicBezTo>
                    <a:pt x="491" y="14542"/>
                    <a:pt x="540" y="14579"/>
                    <a:pt x="578" y="14608"/>
                  </a:cubicBezTo>
                  <a:cubicBezTo>
                    <a:pt x="601" y="14625"/>
                    <a:pt x="625" y="14643"/>
                    <a:pt x="642" y="14657"/>
                  </a:cubicBezTo>
                  <a:cubicBezTo>
                    <a:pt x="646" y="14660"/>
                    <a:pt x="649" y="14663"/>
                    <a:pt x="652" y="14665"/>
                  </a:cubicBezTo>
                  <a:cubicBezTo>
                    <a:pt x="666" y="14620"/>
                    <a:pt x="679" y="14572"/>
                    <a:pt x="681" y="14562"/>
                  </a:cubicBezTo>
                  <a:cubicBezTo>
                    <a:pt x="683" y="14552"/>
                    <a:pt x="680" y="14534"/>
                    <a:pt x="690" y="14503"/>
                  </a:cubicBezTo>
                  <a:cubicBezTo>
                    <a:pt x="694" y="14491"/>
                    <a:pt x="702" y="14480"/>
                    <a:pt x="713" y="14465"/>
                  </a:cubicBezTo>
                  <a:cubicBezTo>
                    <a:pt x="729" y="14444"/>
                    <a:pt x="751" y="14419"/>
                    <a:pt x="769" y="14399"/>
                  </a:cubicBezTo>
                  <a:cubicBezTo>
                    <a:pt x="778" y="14389"/>
                    <a:pt x="786" y="14380"/>
                    <a:pt x="792" y="14373"/>
                  </a:cubicBezTo>
                  <a:cubicBezTo>
                    <a:pt x="795" y="14370"/>
                    <a:pt x="798" y="14367"/>
                    <a:pt x="799" y="14365"/>
                  </a:cubicBezTo>
                  <a:cubicBezTo>
                    <a:pt x="800" y="14365"/>
                    <a:pt x="801" y="14364"/>
                    <a:pt x="802" y="14363"/>
                  </a:cubicBezTo>
                  <a:cubicBezTo>
                    <a:pt x="803" y="14362"/>
                    <a:pt x="802" y="14362"/>
                    <a:pt x="804" y="14361"/>
                  </a:cubicBezTo>
                  <a:cubicBezTo>
                    <a:pt x="804" y="14361"/>
                    <a:pt x="804" y="14361"/>
                    <a:pt x="804" y="14361"/>
                  </a:cubicBezTo>
                  <a:cubicBezTo>
                    <a:pt x="810" y="14355"/>
                    <a:pt x="892" y="14271"/>
                    <a:pt x="972" y="14188"/>
                  </a:cubicBezTo>
                  <a:cubicBezTo>
                    <a:pt x="1013" y="14146"/>
                    <a:pt x="1054" y="14104"/>
                    <a:pt x="1085" y="14072"/>
                  </a:cubicBezTo>
                  <a:cubicBezTo>
                    <a:pt x="1089" y="14067"/>
                    <a:pt x="1093" y="14063"/>
                    <a:pt x="1097" y="14059"/>
                  </a:cubicBezTo>
                  <a:cubicBezTo>
                    <a:pt x="771" y="13854"/>
                    <a:pt x="771" y="13854"/>
                    <a:pt x="771" y="13854"/>
                  </a:cubicBezTo>
                  <a:cubicBezTo>
                    <a:pt x="772" y="13854"/>
                    <a:pt x="772" y="13854"/>
                    <a:pt x="772" y="13854"/>
                  </a:cubicBezTo>
                  <a:cubicBezTo>
                    <a:pt x="757" y="13845"/>
                    <a:pt x="737" y="13831"/>
                    <a:pt x="702" y="13808"/>
                  </a:cubicBezTo>
                  <a:cubicBezTo>
                    <a:pt x="693" y="13802"/>
                    <a:pt x="693" y="13802"/>
                    <a:pt x="693" y="13802"/>
                  </a:cubicBezTo>
                  <a:cubicBezTo>
                    <a:pt x="655" y="13777"/>
                    <a:pt x="629" y="13759"/>
                    <a:pt x="617" y="13748"/>
                  </a:cubicBezTo>
                  <a:cubicBezTo>
                    <a:pt x="617" y="13747"/>
                    <a:pt x="617" y="13747"/>
                    <a:pt x="617" y="13747"/>
                  </a:cubicBezTo>
                  <a:cubicBezTo>
                    <a:pt x="616" y="13746"/>
                    <a:pt x="616" y="13746"/>
                    <a:pt x="616" y="13746"/>
                  </a:cubicBezTo>
                  <a:cubicBezTo>
                    <a:pt x="588" y="13710"/>
                    <a:pt x="567" y="13656"/>
                    <a:pt x="566" y="13616"/>
                  </a:cubicBezTo>
                  <a:cubicBezTo>
                    <a:pt x="566" y="13612"/>
                    <a:pt x="566" y="13608"/>
                    <a:pt x="567" y="13604"/>
                  </a:cubicBezTo>
                  <a:cubicBezTo>
                    <a:pt x="572" y="13573"/>
                    <a:pt x="595" y="13443"/>
                    <a:pt x="612" y="13366"/>
                  </a:cubicBezTo>
                  <a:cubicBezTo>
                    <a:pt x="627" y="13305"/>
                    <a:pt x="635" y="13072"/>
                    <a:pt x="635" y="12986"/>
                  </a:cubicBezTo>
                  <a:cubicBezTo>
                    <a:pt x="635" y="12973"/>
                    <a:pt x="635" y="12964"/>
                    <a:pt x="635" y="12958"/>
                  </a:cubicBezTo>
                  <a:cubicBezTo>
                    <a:pt x="632" y="12912"/>
                    <a:pt x="623" y="12863"/>
                    <a:pt x="579" y="12777"/>
                  </a:cubicBezTo>
                  <a:cubicBezTo>
                    <a:pt x="535" y="12691"/>
                    <a:pt x="411" y="12509"/>
                    <a:pt x="369" y="12449"/>
                  </a:cubicBezTo>
                  <a:cubicBezTo>
                    <a:pt x="347" y="12419"/>
                    <a:pt x="308" y="12366"/>
                    <a:pt x="268" y="12317"/>
                  </a:cubicBezTo>
                  <a:cubicBezTo>
                    <a:pt x="228" y="12269"/>
                    <a:pt x="185" y="12223"/>
                    <a:pt x="163" y="12210"/>
                  </a:cubicBezTo>
                  <a:cubicBezTo>
                    <a:pt x="131" y="12191"/>
                    <a:pt x="63" y="12178"/>
                    <a:pt x="7" y="12173"/>
                  </a:cubicBezTo>
                  <a:cubicBezTo>
                    <a:pt x="7" y="12137"/>
                    <a:pt x="7" y="12137"/>
                    <a:pt x="7" y="12137"/>
                  </a:cubicBezTo>
                  <a:cubicBezTo>
                    <a:pt x="28" y="12139"/>
                    <a:pt x="51" y="12141"/>
                    <a:pt x="73" y="12145"/>
                  </a:cubicBezTo>
                  <a:cubicBezTo>
                    <a:pt x="86" y="12121"/>
                    <a:pt x="86" y="12121"/>
                    <a:pt x="86" y="12121"/>
                  </a:cubicBezTo>
                  <a:cubicBezTo>
                    <a:pt x="118" y="11986"/>
                    <a:pt x="118" y="11986"/>
                    <a:pt x="118" y="11986"/>
                  </a:cubicBezTo>
                  <a:cubicBezTo>
                    <a:pt x="7" y="11921"/>
                    <a:pt x="7" y="11921"/>
                    <a:pt x="7" y="11921"/>
                  </a:cubicBezTo>
                  <a:cubicBezTo>
                    <a:pt x="7" y="11891"/>
                    <a:pt x="7" y="11891"/>
                    <a:pt x="7" y="11891"/>
                  </a:cubicBezTo>
                  <a:cubicBezTo>
                    <a:pt x="134" y="11965"/>
                    <a:pt x="134" y="11965"/>
                    <a:pt x="134" y="11965"/>
                  </a:cubicBezTo>
                  <a:cubicBezTo>
                    <a:pt x="602" y="11738"/>
                    <a:pt x="602" y="11738"/>
                    <a:pt x="602" y="11738"/>
                  </a:cubicBezTo>
                  <a:cubicBezTo>
                    <a:pt x="603" y="11738"/>
                    <a:pt x="603" y="11738"/>
                    <a:pt x="603" y="11738"/>
                  </a:cubicBezTo>
                  <a:cubicBezTo>
                    <a:pt x="532" y="11638"/>
                    <a:pt x="452" y="11526"/>
                    <a:pt x="375" y="11416"/>
                  </a:cubicBezTo>
                  <a:cubicBezTo>
                    <a:pt x="279" y="11278"/>
                    <a:pt x="187" y="11143"/>
                    <a:pt x="119" y="11043"/>
                  </a:cubicBezTo>
                  <a:cubicBezTo>
                    <a:pt x="89" y="10998"/>
                    <a:pt x="60" y="10964"/>
                    <a:pt x="40" y="10936"/>
                  </a:cubicBezTo>
                  <a:cubicBezTo>
                    <a:pt x="40" y="10936"/>
                    <a:pt x="40" y="10936"/>
                    <a:pt x="40" y="10936"/>
                  </a:cubicBezTo>
                  <a:cubicBezTo>
                    <a:pt x="39" y="10934"/>
                    <a:pt x="39" y="10934"/>
                    <a:pt x="39" y="10934"/>
                  </a:cubicBezTo>
                  <a:cubicBezTo>
                    <a:pt x="37" y="10931"/>
                    <a:pt x="35" y="10928"/>
                    <a:pt x="33" y="10926"/>
                  </a:cubicBezTo>
                  <a:cubicBezTo>
                    <a:pt x="32" y="10923"/>
                    <a:pt x="32" y="10923"/>
                    <a:pt x="32" y="10923"/>
                  </a:cubicBezTo>
                  <a:cubicBezTo>
                    <a:pt x="7" y="10885"/>
                    <a:pt x="7" y="10885"/>
                    <a:pt x="7" y="10885"/>
                  </a:cubicBezTo>
                  <a:cubicBezTo>
                    <a:pt x="7" y="10881"/>
                    <a:pt x="7" y="10881"/>
                    <a:pt x="7" y="10881"/>
                  </a:cubicBezTo>
                  <a:cubicBezTo>
                    <a:pt x="6" y="10880"/>
                    <a:pt x="5" y="10878"/>
                    <a:pt x="4" y="10877"/>
                  </a:cubicBezTo>
                  <a:cubicBezTo>
                    <a:pt x="4" y="10876"/>
                    <a:pt x="3" y="10875"/>
                    <a:pt x="3" y="10874"/>
                  </a:cubicBezTo>
                  <a:cubicBezTo>
                    <a:pt x="2" y="10873"/>
                    <a:pt x="2" y="10873"/>
                    <a:pt x="2" y="10872"/>
                  </a:cubicBezTo>
                  <a:cubicBezTo>
                    <a:pt x="1" y="10870"/>
                    <a:pt x="1" y="10872"/>
                    <a:pt x="0" y="10864"/>
                  </a:cubicBezTo>
                  <a:cubicBezTo>
                    <a:pt x="0" y="10860"/>
                    <a:pt x="1" y="10854"/>
                    <a:pt x="6" y="10850"/>
                  </a:cubicBezTo>
                  <a:cubicBezTo>
                    <a:pt x="6" y="10850"/>
                    <a:pt x="7" y="10850"/>
                    <a:pt x="7" y="10849"/>
                  </a:cubicBezTo>
                  <a:cubicBezTo>
                    <a:pt x="7" y="10819"/>
                    <a:pt x="7" y="10819"/>
                    <a:pt x="7" y="10819"/>
                  </a:cubicBezTo>
                  <a:cubicBezTo>
                    <a:pt x="26" y="10848"/>
                    <a:pt x="26" y="10848"/>
                    <a:pt x="26" y="10848"/>
                  </a:cubicBezTo>
                  <a:cubicBezTo>
                    <a:pt x="30" y="10850"/>
                    <a:pt x="33" y="10853"/>
                    <a:pt x="34" y="10857"/>
                  </a:cubicBezTo>
                  <a:cubicBezTo>
                    <a:pt x="32" y="10857"/>
                    <a:pt x="32" y="10857"/>
                    <a:pt x="32" y="10857"/>
                  </a:cubicBezTo>
                  <a:cubicBezTo>
                    <a:pt x="45" y="10879"/>
                    <a:pt x="222" y="11133"/>
                    <a:pt x="405" y="11395"/>
                  </a:cubicBezTo>
                  <a:cubicBezTo>
                    <a:pt x="483" y="11507"/>
                    <a:pt x="563" y="11620"/>
                    <a:pt x="635" y="11721"/>
                  </a:cubicBezTo>
                  <a:cubicBezTo>
                    <a:pt x="637" y="11720"/>
                    <a:pt x="637" y="11720"/>
                    <a:pt x="637" y="11720"/>
                  </a:cubicBezTo>
                  <a:cubicBezTo>
                    <a:pt x="657" y="11714"/>
                    <a:pt x="657" y="11714"/>
                    <a:pt x="657" y="11714"/>
                  </a:cubicBezTo>
                  <a:cubicBezTo>
                    <a:pt x="664" y="11712"/>
                    <a:pt x="726" y="11687"/>
                    <a:pt x="794" y="11600"/>
                  </a:cubicBezTo>
                  <a:cubicBezTo>
                    <a:pt x="829" y="11555"/>
                    <a:pt x="853" y="11489"/>
                    <a:pt x="868" y="11434"/>
                  </a:cubicBezTo>
                  <a:cubicBezTo>
                    <a:pt x="879" y="11392"/>
                    <a:pt x="885" y="11358"/>
                    <a:pt x="887" y="11343"/>
                  </a:cubicBezTo>
                  <a:cubicBezTo>
                    <a:pt x="839" y="11316"/>
                    <a:pt x="785" y="11284"/>
                    <a:pt x="739" y="11254"/>
                  </a:cubicBezTo>
                  <a:cubicBezTo>
                    <a:pt x="660" y="11202"/>
                    <a:pt x="603" y="11115"/>
                    <a:pt x="602" y="11114"/>
                  </a:cubicBezTo>
                  <a:cubicBezTo>
                    <a:pt x="602" y="11114"/>
                    <a:pt x="602" y="11114"/>
                    <a:pt x="602" y="11114"/>
                  </a:cubicBezTo>
                  <a:cubicBezTo>
                    <a:pt x="573" y="11068"/>
                    <a:pt x="515" y="10971"/>
                    <a:pt x="474" y="10882"/>
                  </a:cubicBezTo>
                  <a:cubicBezTo>
                    <a:pt x="416" y="10759"/>
                    <a:pt x="328" y="10539"/>
                    <a:pt x="328" y="10539"/>
                  </a:cubicBezTo>
                  <a:cubicBezTo>
                    <a:pt x="350" y="10524"/>
                    <a:pt x="350" y="10524"/>
                    <a:pt x="350" y="10524"/>
                  </a:cubicBezTo>
                  <a:cubicBezTo>
                    <a:pt x="350" y="10524"/>
                    <a:pt x="440" y="10749"/>
                    <a:pt x="498" y="10871"/>
                  </a:cubicBezTo>
                  <a:cubicBezTo>
                    <a:pt x="535" y="10952"/>
                    <a:pt x="587" y="11047"/>
                    <a:pt x="618" y="11095"/>
                  </a:cubicBezTo>
                  <a:cubicBezTo>
                    <a:pt x="634" y="11119"/>
                    <a:pt x="644" y="11124"/>
                    <a:pt x="644" y="11124"/>
                  </a:cubicBezTo>
                  <a:cubicBezTo>
                    <a:pt x="641" y="11126"/>
                    <a:pt x="641" y="11126"/>
                    <a:pt x="641" y="11126"/>
                  </a:cubicBezTo>
                  <a:cubicBezTo>
                    <a:pt x="647" y="11134"/>
                    <a:pt x="654" y="11142"/>
                    <a:pt x="661" y="11150"/>
                  </a:cubicBezTo>
                  <a:cubicBezTo>
                    <a:pt x="684" y="11177"/>
                    <a:pt x="716" y="11209"/>
                    <a:pt x="753" y="11234"/>
                  </a:cubicBezTo>
                  <a:cubicBezTo>
                    <a:pt x="829" y="11283"/>
                    <a:pt x="934" y="11342"/>
                    <a:pt x="983" y="11372"/>
                  </a:cubicBezTo>
                  <a:cubicBezTo>
                    <a:pt x="994" y="11379"/>
                    <a:pt x="1009" y="11389"/>
                    <a:pt x="1026" y="11401"/>
                  </a:cubicBezTo>
                  <a:cubicBezTo>
                    <a:pt x="1032" y="11381"/>
                    <a:pt x="1045" y="11346"/>
                    <a:pt x="1064" y="11310"/>
                  </a:cubicBezTo>
                  <a:cubicBezTo>
                    <a:pt x="1087" y="11267"/>
                    <a:pt x="1117" y="11225"/>
                    <a:pt x="1144" y="11194"/>
                  </a:cubicBezTo>
                  <a:cubicBezTo>
                    <a:pt x="1163" y="11171"/>
                    <a:pt x="1186" y="11145"/>
                    <a:pt x="1211" y="11123"/>
                  </a:cubicBezTo>
                  <a:cubicBezTo>
                    <a:pt x="1262" y="11077"/>
                    <a:pt x="1314" y="11043"/>
                    <a:pt x="1314" y="11043"/>
                  </a:cubicBezTo>
                  <a:cubicBezTo>
                    <a:pt x="1328" y="11064"/>
                    <a:pt x="1328" y="11064"/>
                    <a:pt x="1328" y="11064"/>
                  </a:cubicBezTo>
                  <a:cubicBezTo>
                    <a:pt x="1328" y="11064"/>
                    <a:pt x="1328" y="11064"/>
                    <a:pt x="1328" y="11064"/>
                  </a:cubicBezTo>
                  <a:cubicBezTo>
                    <a:pt x="1328" y="11064"/>
                    <a:pt x="1277" y="11097"/>
                    <a:pt x="1228" y="11141"/>
                  </a:cubicBezTo>
                  <a:cubicBezTo>
                    <a:pt x="1204" y="11162"/>
                    <a:pt x="1181" y="11187"/>
                    <a:pt x="1162" y="11210"/>
                  </a:cubicBezTo>
                  <a:cubicBezTo>
                    <a:pt x="1137" y="11240"/>
                    <a:pt x="1107" y="11281"/>
                    <a:pt x="1086" y="11321"/>
                  </a:cubicBezTo>
                  <a:cubicBezTo>
                    <a:pt x="1065" y="11361"/>
                    <a:pt x="1052" y="11400"/>
                    <a:pt x="1046" y="11417"/>
                  </a:cubicBezTo>
                  <a:cubicBezTo>
                    <a:pt x="1101" y="11459"/>
                    <a:pt x="1167" y="11517"/>
                    <a:pt x="1203" y="11556"/>
                  </a:cubicBezTo>
                  <a:cubicBezTo>
                    <a:pt x="1257" y="11614"/>
                    <a:pt x="1319" y="11714"/>
                    <a:pt x="1338" y="11782"/>
                  </a:cubicBezTo>
                  <a:cubicBezTo>
                    <a:pt x="1355" y="11845"/>
                    <a:pt x="1382" y="11951"/>
                    <a:pt x="1392" y="11985"/>
                  </a:cubicBezTo>
                  <a:cubicBezTo>
                    <a:pt x="1403" y="12020"/>
                    <a:pt x="1414" y="12081"/>
                    <a:pt x="1523" y="12155"/>
                  </a:cubicBezTo>
                  <a:cubicBezTo>
                    <a:pt x="1601" y="12207"/>
                    <a:pt x="1742" y="12250"/>
                    <a:pt x="1846" y="12275"/>
                  </a:cubicBezTo>
                  <a:cubicBezTo>
                    <a:pt x="1886" y="12284"/>
                    <a:pt x="1918" y="12289"/>
                    <a:pt x="1944" y="12295"/>
                  </a:cubicBezTo>
                  <a:cubicBezTo>
                    <a:pt x="1947" y="12295"/>
                    <a:pt x="1952" y="12295"/>
                    <a:pt x="1957" y="12296"/>
                  </a:cubicBezTo>
                  <a:cubicBezTo>
                    <a:pt x="1978" y="12270"/>
                    <a:pt x="2001" y="12236"/>
                    <a:pt x="2023" y="12208"/>
                  </a:cubicBezTo>
                  <a:cubicBezTo>
                    <a:pt x="2081" y="12130"/>
                    <a:pt x="2134" y="12052"/>
                    <a:pt x="2171" y="11993"/>
                  </a:cubicBezTo>
                  <a:cubicBezTo>
                    <a:pt x="2203" y="11944"/>
                    <a:pt x="2224" y="11909"/>
                    <a:pt x="2230" y="11899"/>
                  </a:cubicBezTo>
                  <a:cubicBezTo>
                    <a:pt x="2232" y="11889"/>
                    <a:pt x="2239" y="11861"/>
                    <a:pt x="2267" y="11781"/>
                  </a:cubicBezTo>
                  <a:cubicBezTo>
                    <a:pt x="2268" y="11778"/>
                    <a:pt x="2270" y="11774"/>
                    <a:pt x="2271" y="11771"/>
                  </a:cubicBezTo>
                  <a:cubicBezTo>
                    <a:pt x="2256" y="11770"/>
                    <a:pt x="2241" y="11770"/>
                    <a:pt x="2227" y="11770"/>
                  </a:cubicBezTo>
                  <a:cubicBezTo>
                    <a:pt x="2188" y="11770"/>
                    <a:pt x="2091" y="11767"/>
                    <a:pt x="1999" y="11727"/>
                  </a:cubicBezTo>
                  <a:cubicBezTo>
                    <a:pt x="1888" y="11679"/>
                    <a:pt x="1800" y="11592"/>
                    <a:pt x="1800" y="11592"/>
                  </a:cubicBezTo>
                  <a:cubicBezTo>
                    <a:pt x="1799" y="11591"/>
                    <a:pt x="1799" y="11591"/>
                    <a:pt x="1799" y="11591"/>
                  </a:cubicBezTo>
                  <a:cubicBezTo>
                    <a:pt x="1331" y="11053"/>
                    <a:pt x="1331" y="11053"/>
                    <a:pt x="1331" y="11053"/>
                  </a:cubicBezTo>
                  <a:cubicBezTo>
                    <a:pt x="1331" y="11053"/>
                    <a:pt x="1119" y="10809"/>
                    <a:pt x="908" y="10564"/>
                  </a:cubicBezTo>
                  <a:cubicBezTo>
                    <a:pt x="802" y="10442"/>
                    <a:pt x="696" y="10320"/>
                    <a:pt x="617" y="10228"/>
                  </a:cubicBezTo>
                  <a:cubicBezTo>
                    <a:pt x="609" y="10218"/>
                    <a:pt x="601" y="10209"/>
                    <a:pt x="593" y="10200"/>
                  </a:cubicBezTo>
                  <a:cubicBezTo>
                    <a:pt x="550" y="10226"/>
                    <a:pt x="518" y="10246"/>
                    <a:pt x="476" y="10273"/>
                  </a:cubicBezTo>
                  <a:cubicBezTo>
                    <a:pt x="476" y="10273"/>
                    <a:pt x="403" y="10297"/>
                    <a:pt x="391" y="10297"/>
                  </a:cubicBezTo>
                  <a:cubicBezTo>
                    <a:pt x="305" y="10312"/>
                    <a:pt x="305" y="10312"/>
                    <a:pt x="305" y="10312"/>
                  </a:cubicBezTo>
                  <a:cubicBezTo>
                    <a:pt x="277" y="10317"/>
                    <a:pt x="244" y="10321"/>
                    <a:pt x="211" y="10325"/>
                  </a:cubicBezTo>
                  <a:cubicBezTo>
                    <a:pt x="173" y="10366"/>
                    <a:pt x="132" y="10410"/>
                    <a:pt x="92" y="10453"/>
                  </a:cubicBezTo>
                  <a:cubicBezTo>
                    <a:pt x="63" y="10484"/>
                    <a:pt x="35" y="10515"/>
                    <a:pt x="7" y="10544"/>
                  </a:cubicBezTo>
                  <a:cubicBezTo>
                    <a:pt x="7" y="10363"/>
                    <a:pt x="7" y="10363"/>
                    <a:pt x="7" y="10363"/>
                  </a:cubicBezTo>
                  <a:cubicBezTo>
                    <a:pt x="14" y="10357"/>
                    <a:pt x="20" y="10350"/>
                    <a:pt x="26" y="10343"/>
                  </a:cubicBezTo>
                  <a:cubicBezTo>
                    <a:pt x="20" y="10343"/>
                    <a:pt x="14" y="10344"/>
                    <a:pt x="7" y="10345"/>
                  </a:cubicBezTo>
                  <a:cubicBezTo>
                    <a:pt x="7" y="10080"/>
                    <a:pt x="7" y="10080"/>
                    <a:pt x="7" y="10080"/>
                  </a:cubicBezTo>
                  <a:cubicBezTo>
                    <a:pt x="39" y="10063"/>
                    <a:pt x="78" y="10047"/>
                    <a:pt x="119" y="10044"/>
                  </a:cubicBezTo>
                  <a:cubicBezTo>
                    <a:pt x="169" y="10040"/>
                    <a:pt x="232" y="10046"/>
                    <a:pt x="292" y="10056"/>
                  </a:cubicBezTo>
                  <a:cubicBezTo>
                    <a:pt x="317" y="10029"/>
                    <a:pt x="334" y="10011"/>
                    <a:pt x="339" y="10006"/>
                  </a:cubicBezTo>
                  <a:cubicBezTo>
                    <a:pt x="358" y="9986"/>
                    <a:pt x="380" y="9971"/>
                    <a:pt x="399" y="9959"/>
                  </a:cubicBezTo>
                  <a:cubicBezTo>
                    <a:pt x="421" y="9944"/>
                    <a:pt x="445" y="9932"/>
                    <a:pt x="451" y="9930"/>
                  </a:cubicBezTo>
                  <a:cubicBezTo>
                    <a:pt x="1283" y="9484"/>
                    <a:pt x="1283" y="9484"/>
                    <a:pt x="1283" y="9484"/>
                  </a:cubicBezTo>
                  <a:cubicBezTo>
                    <a:pt x="2204" y="8993"/>
                    <a:pt x="2204" y="8993"/>
                    <a:pt x="2204" y="8993"/>
                  </a:cubicBezTo>
                  <a:cubicBezTo>
                    <a:pt x="2208" y="8991"/>
                    <a:pt x="2208" y="8991"/>
                    <a:pt x="2208" y="8991"/>
                  </a:cubicBezTo>
                  <a:cubicBezTo>
                    <a:pt x="2208" y="8991"/>
                    <a:pt x="2267" y="8963"/>
                    <a:pt x="2400" y="8892"/>
                  </a:cubicBezTo>
                  <a:cubicBezTo>
                    <a:pt x="2600" y="8787"/>
                    <a:pt x="2900" y="8628"/>
                    <a:pt x="3154" y="8492"/>
                  </a:cubicBezTo>
                  <a:cubicBezTo>
                    <a:pt x="3281" y="8424"/>
                    <a:pt x="3397" y="8363"/>
                    <a:pt x="3482" y="8316"/>
                  </a:cubicBezTo>
                  <a:cubicBezTo>
                    <a:pt x="3525" y="8293"/>
                    <a:pt x="3561" y="8274"/>
                    <a:pt x="3586" y="8260"/>
                  </a:cubicBezTo>
                  <a:cubicBezTo>
                    <a:pt x="3599" y="8253"/>
                    <a:pt x="3609" y="8247"/>
                    <a:pt x="3616" y="8243"/>
                  </a:cubicBezTo>
                  <a:cubicBezTo>
                    <a:pt x="3620" y="8241"/>
                    <a:pt x="3622" y="8240"/>
                    <a:pt x="3624" y="8238"/>
                  </a:cubicBezTo>
                  <a:cubicBezTo>
                    <a:pt x="3625" y="8238"/>
                    <a:pt x="3626" y="8238"/>
                    <a:pt x="3626" y="8237"/>
                  </a:cubicBezTo>
                  <a:cubicBezTo>
                    <a:pt x="3643" y="8225"/>
                    <a:pt x="3686" y="8189"/>
                    <a:pt x="3740" y="8152"/>
                  </a:cubicBezTo>
                  <a:cubicBezTo>
                    <a:pt x="3795" y="8115"/>
                    <a:pt x="3863" y="8075"/>
                    <a:pt x="3940" y="8054"/>
                  </a:cubicBezTo>
                  <a:cubicBezTo>
                    <a:pt x="3943" y="8053"/>
                    <a:pt x="3946" y="8053"/>
                    <a:pt x="3949" y="8052"/>
                  </a:cubicBezTo>
                  <a:cubicBezTo>
                    <a:pt x="3943" y="8035"/>
                    <a:pt x="3943" y="8035"/>
                    <a:pt x="3943" y="8035"/>
                  </a:cubicBezTo>
                  <a:cubicBezTo>
                    <a:pt x="3935" y="8018"/>
                    <a:pt x="3911" y="7973"/>
                    <a:pt x="3901" y="7923"/>
                  </a:cubicBezTo>
                  <a:cubicBezTo>
                    <a:pt x="3900" y="7923"/>
                    <a:pt x="3900" y="7923"/>
                    <a:pt x="3900" y="7923"/>
                  </a:cubicBezTo>
                  <a:cubicBezTo>
                    <a:pt x="3900" y="7917"/>
                    <a:pt x="3900" y="7917"/>
                    <a:pt x="3900" y="7917"/>
                  </a:cubicBezTo>
                  <a:cubicBezTo>
                    <a:pt x="3900" y="7917"/>
                    <a:pt x="3899" y="7915"/>
                    <a:pt x="3899" y="7913"/>
                  </a:cubicBezTo>
                  <a:cubicBezTo>
                    <a:pt x="3899" y="7911"/>
                    <a:pt x="3898" y="7910"/>
                    <a:pt x="3898" y="7908"/>
                  </a:cubicBezTo>
                  <a:cubicBezTo>
                    <a:pt x="3898" y="7908"/>
                    <a:pt x="3898" y="7908"/>
                    <a:pt x="3898" y="7908"/>
                  </a:cubicBezTo>
                  <a:cubicBezTo>
                    <a:pt x="3893" y="7876"/>
                    <a:pt x="3876" y="7761"/>
                    <a:pt x="3876" y="7700"/>
                  </a:cubicBezTo>
                  <a:cubicBezTo>
                    <a:pt x="3876" y="7697"/>
                    <a:pt x="3876" y="7694"/>
                    <a:pt x="3876" y="7692"/>
                  </a:cubicBezTo>
                  <a:cubicBezTo>
                    <a:pt x="3875" y="7684"/>
                    <a:pt x="3873" y="7656"/>
                    <a:pt x="3870" y="7636"/>
                  </a:cubicBezTo>
                  <a:cubicBezTo>
                    <a:pt x="3868" y="7629"/>
                    <a:pt x="3867" y="7624"/>
                    <a:pt x="3866" y="7621"/>
                  </a:cubicBezTo>
                  <a:cubicBezTo>
                    <a:pt x="3865" y="7620"/>
                    <a:pt x="3865" y="7619"/>
                    <a:pt x="3865" y="7619"/>
                  </a:cubicBezTo>
                  <a:cubicBezTo>
                    <a:pt x="3678" y="7401"/>
                    <a:pt x="3678" y="7401"/>
                    <a:pt x="3678" y="7401"/>
                  </a:cubicBezTo>
                  <a:cubicBezTo>
                    <a:pt x="3676" y="7400"/>
                    <a:pt x="3676" y="7400"/>
                    <a:pt x="3676" y="7400"/>
                  </a:cubicBezTo>
                  <a:cubicBezTo>
                    <a:pt x="3676" y="7400"/>
                    <a:pt x="3639" y="7354"/>
                    <a:pt x="3583" y="7294"/>
                  </a:cubicBezTo>
                  <a:cubicBezTo>
                    <a:pt x="3570" y="7281"/>
                    <a:pt x="3556" y="7266"/>
                    <a:pt x="3542" y="7252"/>
                  </a:cubicBezTo>
                  <a:cubicBezTo>
                    <a:pt x="3527" y="7254"/>
                    <a:pt x="3479" y="7260"/>
                    <a:pt x="3423" y="7271"/>
                  </a:cubicBezTo>
                  <a:cubicBezTo>
                    <a:pt x="3355" y="7284"/>
                    <a:pt x="3277" y="7306"/>
                    <a:pt x="3240" y="7331"/>
                  </a:cubicBezTo>
                  <a:cubicBezTo>
                    <a:pt x="3164" y="7383"/>
                    <a:pt x="3018" y="7503"/>
                    <a:pt x="2852" y="7503"/>
                  </a:cubicBezTo>
                  <a:cubicBezTo>
                    <a:pt x="2839" y="7503"/>
                    <a:pt x="2825" y="7503"/>
                    <a:pt x="2811" y="7501"/>
                  </a:cubicBezTo>
                  <a:cubicBezTo>
                    <a:pt x="2777" y="7496"/>
                    <a:pt x="2745" y="7488"/>
                    <a:pt x="2714" y="7479"/>
                  </a:cubicBezTo>
                  <a:cubicBezTo>
                    <a:pt x="2707" y="7492"/>
                    <a:pt x="2707" y="7492"/>
                    <a:pt x="2707" y="7492"/>
                  </a:cubicBezTo>
                  <a:cubicBezTo>
                    <a:pt x="2504" y="7951"/>
                    <a:pt x="2504" y="7951"/>
                    <a:pt x="2504" y="7951"/>
                  </a:cubicBezTo>
                  <a:cubicBezTo>
                    <a:pt x="2504" y="7951"/>
                    <a:pt x="2504" y="7951"/>
                    <a:pt x="2504" y="7951"/>
                  </a:cubicBezTo>
                  <a:cubicBezTo>
                    <a:pt x="2504" y="7951"/>
                    <a:pt x="2504" y="7951"/>
                    <a:pt x="2504" y="7951"/>
                  </a:cubicBezTo>
                  <a:cubicBezTo>
                    <a:pt x="2502" y="7954"/>
                    <a:pt x="2502" y="7954"/>
                    <a:pt x="2502" y="7954"/>
                  </a:cubicBezTo>
                  <a:cubicBezTo>
                    <a:pt x="2500" y="7953"/>
                    <a:pt x="2500" y="7953"/>
                    <a:pt x="2500" y="7953"/>
                  </a:cubicBezTo>
                  <a:cubicBezTo>
                    <a:pt x="2278" y="8104"/>
                    <a:pt x="2278" y="8104"/>
                    <a:pt x="2278" y="8104"/>
                  </a:cubicBezTo>
                  <a:cubicBezTo>
                    <a:pt x="2539" y="8646"/>
                    <a:pt x="2539" y="8646"/>
                    <a:pt x="2539" y="8646"/>
                  </a:cubicBezTo>
                  <a:cubicBezTo>
                    <a:pt x="2541" y="8645"/>
                    <a:pt x="2541" y="8645"/>
                    <a:pt x="2541" y="8645"/>
                  </a:cubicBezTo>
                  <a:cubicBezTo>
                    <a:pt x="2599" y="8768"/>
                    <a:pt x="2599" y="8768"/>
                    <a:pt x="2599" y="8768"/>
                  </a:cubicBezTo>
                  <a:cubicBezTo>
                    <a:pt x="2576" y="8779"/>
                    <a:pt x="2576" y="8779"/>
                    <a:pt x="2576" y="8779"/>
                  </a:cubicBezTo>
                  <a:cubicBezTo>
                    <a:pt x="2527" y="8676"/>
                    <a:pt x="2527" y="8676"/>
                    <a:pt x="2527" y="8676"/>
                  </a:cubicBezTo>
                  <a:cubicBezTo>
                    <a:pt x="2526" y="8677"/>
                    <a:pt x="2526" y="8677"/>
                    <a:pt x="2526" y="8677"/>
                  </a:cubicBezTo>
                  <a:cubicBezTo>
                    <a:pt x="2258" y="8118"/>
                    <a:pt x="2258" y="8118"/>
                    <a:pt x="2258" y="8118"/>
                  </a:cubicBezTo>
                  <a:cubicBezTo>
                    <a:pt x="2005" y="8289"/>
                    <a:pt x="2005" y="8289"/>
                    <a:pt x="2005" y="8289"/>
                  </a:cubicBezTo>
                  <a:cubicBezTo>
                    <a:pt x="1665" y="8315"/>
                    <a:pt x="1665" y="8315"/>
                    <a:pt x="1665" y="8315"/>
                  </a:cubicBezTo>
                  <a:cubicBezTo>
                    <a:pt x="1651" y="8341"/>
                    <a:pt x="1588" y="8448"/>
                    <a:pt x="1526" y="8555"/>
                  </a:cubicBezTo>
                  <a:cubicBezTo>
                    <a:pt x="1490" y="8617"/>
                    <a:pt x="1454" y="8678"/>
                    <a:pt x="1428" y="8724"/>
                  </a:cubicBezTo>
                  <a:cubicBezTo>
                    <a:pt x="1414" y="8747"/>
                    <a:pt x="1403" y="8767"/>
                    <a:pt x="1395" y="8780"/>
                  </a:cubicBezTo>
                  <a:cubicBezTo>
                    <a:pt x="1391" y="8787"/>
                    <a:pt x="1388" y="8792"/>
                    <a:pt x="1386" y="8796"/>
                  </a:cubicBezTo>
                  <a:cubicBezTo>
                    <a:pt x="1385" y="8797"/>
                    <a:pt x="1384" y="8799"/>
                    <a:pt x="1384" y="8800"/>
                  </a:cubicBezTo>
                  <a:cubicBezTo>
                    <a:pt x="1383" y="8800"/>
                    <a:pt x="1383" y="8801"/>
                    <a:pt x="1383" y="8801"/>
                  </a:cubicBezTo>
                  <a:cubicBezTo>
                    <a:pt x="1383" y="8801"/>
                    <a:pt x="1383" y="8801"/>
                    <a:pt x="1383" y="8801"/>
                  </a:cubicBezTo>
                  <a:cubicBezTo>
                    <a:pt x="1383" y="8801"/>
                    <a:pt x="1383" y="8801"/>
                    <a:pt x="1383" y="8801"/>
                  </a:cubicBezTo>
                  <a:cubicBezTo>
                    <a:pt x="1383" y="8801"/>
                    <a:pt x="1383" y="8802"/>
                    <a:pt x="1383" y="8802"/>
                  </a:cubicBezTo>
                  <a:cubicBezTo>
                    <a:pt x="1383" y="8802"/>
                    <a:pt x="1382" y="8802"/>
                    <a:pt x="1382" y="8802"/>
                  </a:cubicBezTo>
                  <a:cubicBezTo>
                    <a:pt x="1382" y="8802"/>
                    <a:pt x="1382" y="8802"/>
                    <a:pt x="1382" y="8803"/>
                  </a:cubicBezTo>
                  <a:cubicBezTo>
                    <a:pt x="1382" y="8803"/>
                    <a:pt x="1381" y="8803"/>
                    <a:pt x="1381" y="8804"/>
                  </a:cubicBezTo>
                  <a:cubicBezTo>
                    <a:pt x="1380" y="8804"/>
                    <a:pt x="1380" y="8805"/>
                    <a:pt x="1379" y="8805"/>
                  </a:cubicBezTo>
                  <a:cubicBezTo>
                    <a:pt x="1379" y="8805"/>
                    <a:pt x="1379" y="8805"/>
                    <a:pt x="1379" y="8805"/>
                  </a:cubicBezTo>
                  <a:cubicBezTo>
                    <a:pt x="1366" y="8817"/>
                    <a:pt x="1239" y="8937"/>
                    <a:pt x="1115" y="9055"/>
                  </a:cubicBezTo>
                  <a:cubicBezTo>
                    <a:pt x="993" y="9171"/>
                    <a:pt x="874" y="9285"/>
                    <a:pt x="861" y="9297"/>
                  </a:cubicBezTo>
                  <a:cubicBezTo>
                    <a:pt x="883" y="9301"/>
                    <a:pt x="907" y="9308"/>
                    <a:pt x="932" y="9323"/>
                  </a:cubicBezTo>
                  <a:cubicBezTo>
                    <a:pt x="980" y="9354"/>
                    <a:pt x="1014" y="9420"/>
                    <a:pt x="1039" y="9479"/>
                  </a:cubicBezTo>
                  <a:cubicBezTo>
                    <a:pt x="1063" y="9538"/>
                    <a:pt x="1078" y="9591"/>
                    <a:pt x="1078" y="9591"/>
                  </a:cubicBezTo>
                  <a:cubicBezTo>
                    <a:pt x="1041" y="9601"/>
                    <a:pt x="1041" y="9601"/>
                    <a:pt x="1041" y="9601"/>
                  </a:cubicBezTo>
                  <a:cubicBezTo>
                    <a:pt x="1041" y="9600"/>
                    <a:pt x="1028" y="9550"/>
                    <a:pt x="1004" y="9494"/>
                  </a:cubicBezTo>
                  <a:cubicBezTo>
                    <a:pt x="981" y="9437"/>
                    <a:pt x="946" y="9375"/>
                    <a:pt x="913" y="9356"/>
                  </a:cubicBezTo>
                  <a:cubicBezTo>
                    <a:pt x="881" y="9337"/>
                    <a:pt x="852" y="9332"/>
                    <a:pt x="826" y="9330"/>
                  </a:cubicBezTo>
                  <a:cubicBezTo>
                    <a:pt x="819" y="9330"/>
                    <a:pt x="813" y="9330"/>
                    <a:pt x="807" y="9330"/>
                  </a:cubicBezTo>
                  <a:cubicBezTo>
                    <a:pt x="783" y="9330"/>
                    <a:pt x="764" y="9333"/>
                    <a:pt x="745" y="9336"/>
                  </a:cubicBezTo>
                  <a:cubicBezTo>
                    <a:pt x="710" y="9340"/>
                    <a:pt x="684" y="9355"/>
                    <a:pt x="644" y="9356"/>
                  </a:cubicBezTo>
                  <a:cubicBezTo>
                    <a:pt x="603" y="9355"/>
                    <a:pt x="555" y="9333"/>
                    <a:pt x="515" y="9321"/>
                  </a:cubicBezTo>
                  <a:cubicBezTo>
                    <a:pt x="474" y="9307"/>
                    <a:pt x="396" y="9274"/>
                    <a:pt x="351" y="9274"/>
                  </a:cubicBezTo>
                  <a:cubicBezTo>
                    <a:pt x="349" y="9274"/>
                    <a:pt x="348" y="9274"/>
                    <a:pt x="347" y="9275"/>
                  </a:cubicBezTo>
                  <a:cubicBezTo>
                    <a:pt x="298" y="9277"/>
                    <a:pt x="277" y="9292"/>
                    <a:pt x="248" y="9302"/>
                  </a:cubicBezTo>
                  <a:cubicBezTo>
                    <a:pt x="237" y="9306"/>
                    <a:pt x="199" y="9323"/>
                    <a:pt x="166" y="9339"/>
                  </a:cubicBezTo>
                  <a:cubicBezTo>
                    <a:pt x="149" y="9346"/>
                    <a:pt x="133" y="9353"/>
                    <a:pt x="122" y="9359"/>
                  </a:cubicBezTo>
                  <a:cubicBezTo>
                    <a:pt x="118" y="9363"/>
                    <a:pt x="117" y="9366"/>
                    <a:pt x="117" y="9369"/>
                  </a:cubicBezTo>
                  <a:cubicBezTo>
                    <a:pt x="422" y="9935"/>
                    <a:pt x="422" y="9935"/>
                    <a:pt x="422" y="9935"/>
                  </a:cubicBezTo>
                  <a:cubicBezTo>
                    <a:pt x="389" y="9952"/>
                    <a:pt x="389" y="9952"/>
                    <a:pt x="389" y="9952"/>
                  </a:cubicBezTo>
                  <a:cubicBezTo>
                    <a:pt x="55" y="9332"/>
                    <a:pt x="55" y="9332"/>
                    <a:pt x="55" y="9332"/>
                  </a:cubicBezTo>
                  <a:cubicBezTo>
                    <a:pt x="55" y="9331"/>
                    <a:pt x="55" y="9331"/>
                    <a:pt x="55" y="9331"/>
                  </a:cubicBezTo>
                  <a:cubicBezTo>
                    <a:pt x="7" y="9237"/>
                    <a:pt x="7" y="9237"/>
                    <a:pt x="7" y="9237"/>
                  </a:cubicBezTo>
                  <a:cubicBezTo>
                    <a:pt x="7" y="9158"/>
                    <a:pt x="7" y="9158"/>
                    <a:pt x="7" y="9158"/>
                  </a:cubicBezTo>
                  <a:cubicBezTo>
                    <a:pt x="88" y="9316"/>
                    <a:pt x="88" y="9316"/>
                    <a:pt x="88" y="9316"/>
                  </a:cubicBezTo>
                  <a:cubicBezTo>
                    <a:pt x="88" y="9316"/>
                    <a:pt x="88" y="9316"/>
                    <a:pt x="88" y="9316"/>
                  </a:cubicBezTo>
                  <a:cubicBezTo>
                    <a:pt x="90" y="9321"/>
                    <a:pt x="90" y="9321"/>
                    <a:pt x="90" y="9321"/>
                  </a:cubicBezTo>
                  <a:cubicBezTo>
                    <a:pt x="95" y="9324"/>
                    <a:pt x="102" y="9324"/>
                    <a:pt x="107" y="9324"/>
                  </a:cubicBezTo>
                  <a:cubicBezTo>
                    <a:pt x="144" y="9307"/>
                    <a:pt x="215" y="9274"/>
                    <a:pt x="236" y="9267"/>
                  </a:cubicBezTo>
                  <a:cubicBezTo>
                    <a:pt x="257" y="9259"/>
                    <a:pt x="288" y="9240"/>
                    <a:pt x="345" y="9237"/>
                  </a:cubicBezTo>
                  <a:cubicBezTo>
                    <a:pt x="347" y="9237"/>
                    <a:pt x="349" y="9237"/>
                    <a:pt x="351" y="9237"/>
                  </a:cubicBezTo>
                  <a:cubicBezTo>
                    <a:pt x="411" y="9237"/>
                    <a:pt x="489" y="9273"/>
                    <a:pt x="527" y="9285"/>
                  </a:cubicBezTo>
                  <a:cubicBezTo>
                    <a:pt x="569" y="9299"/>
                    <a:pt x="617" y="9319"/>
                    <a:pt x="644" y="9318"/>
                  </a:cubicBezTo>
                  <a:cubicBezTo>
                    <a:pt x="672" y="9319"/>
                    <a:pt x="697" y="9304"/>
                    <a:pt x="740" y="9298"/>
                  </a:cubicBezTo>
                  <a:cubicBezTo>
                    <a:pt x="758" y="9296"/>
                    <a:pt x="779" y="9292"/>
                    <a:pt x="807" y="9292"/>
                  </a:cubicBezTo>
                  <a:cubicBezTo>
                    <a:pt x="814" y="9292"/>
                    <a:pt x="821" y="9292"/>
                    <a:pt x="829" y="9293"/>
                  </a:cubicBezTo>
                  <a:cubicBezTo>
                    <a:pt x="838" y="9293"/>
                    <a:pt x="847" y="9295"/>
                    <a:pt x="858" y="9296"/>
                  </a:cubicBezTo>
                  <a:cubicBezTo>
                    <a:pt x="843" y="9280"/>
                    <a:pt x="843" y="9280"/>
                    <a:pt x="843" y="9280"/>
                  </a:cubicBezTo>
                  <a:cubicBezTo>
                    <a:pt x="843" y="9280"/>
                    <a:pt x="972" y="9157"/>
                    <a:pt x="1102" y="9033"/>
                  </a:cubicBezTo>
                  <a:cubicBezTo>
                    <a:pt x="1168" y="8971"/>
                    <a:pt x="1233" y="8910"/>
                    <a:pt x="1282" y="8863"/>
                  </a:cubicBezTo>
                  <a:cubicBezTo>
                    <a:pt x="1306" y="8840"/>
                    <a:pt x="1327" y="8821"/>
                    <a:pt x="1341" y="8807"/>
                  </a:cubicBezTo>
                  <a:cubicBezTo>
                    <a:pt x="1348" y="8800"/>
                    <a:pt x="1354" y="8795"/>
                    <a:pt x="1358" y="8791"/>
                  </a:cubicBezTo>
                  <a:cubicBezTo>
                    <a:pt x="1359" y="8791"/>
                    <a:pt x="1359" y="8790"/>
                    <a:pt x="1360" y="8789"/>
                  </a:cubicBezTo>
                  <a:cubicBezTo>
                    <a:pt x="1364" y="8786"/>
                    <a:pt x="1364" y="8786"/>
                    <a:pt x="1364" y="8786"/>
                  </a:cubicBezTo>
                  <a:cubicBezTo>
                    <a:pt x="1386" y="8747"/>
                    <a:pt x="1610" y="8362"/>
                    <a:pt x="1643" y="8305"/>
                  </a:cubicBezTo>
                  <a:cubicBezTo>
                    <a:pt x="1314" y="7896"/>
                    <a:pt x="1314" y="7896"/>
                    <a:pt x="1314" y="7896"/>
                  </a:cubicBezTo>
                  <a:cubicBezTo>
                    <a:pt x="1333" y="7881"/>
                    <a:pt x="1333" y="7881"/>
                    <a:pt x="1333" y="7881"/>
                  </a:cubicBezTo>
                  <a:cubicBezTo>
                    <a:pt x="1664" y="8291"/>
                    <a:pt x="1664" y="8291"/>
                    <a:pt x="1664" y="8291"/>
                  </a:cubicBezTo>
                  <a:cubicBezTo>
                    <a:pt x="1997" y="8265"/>
                    <a:pt x="1997" y="8265"/>
                    <a:pt x="1997" y="8265"/>
                  </a:cubicBezTo>
                  <a:cubicBezTo>
                    <a:pt x="2472" y="7943"/>
                    <a:pt x="2472" y="7943"/>
                    <a:pt x="2472" y="7943"/>
                  </a:cubicBezTo>
                  <a:cubicBezTo>
                    <a:pt x="2675" y="7484"/>
                    <a:pt x="2675" y="7484"/>
                    <a:pt x="2675" y="7484"/>
                  </a:cubicBezTo>
                  <a:cubicBezTo>
                    <a:pt x="2675" y="7484"/>
                    <a:pt x="2675" y="7484"/>
                    <a:pt x="2675" y="7484"/>
                  </a:cubicBezTo>
                  <a:cubicBezTo>
                    <a:pt x="2680" y="7467"/>
                    <a:pt x="2680" y="7467"/>
                    <a:pt x="2680" y="7467"/>
                  </a:cubicBezTo>
                  <a:cubicBezTo>
                    <a:pt x="2573" y="7426"/>
                    <a:pt x="2494" y="7362"/>
                    <a:pt x="2431" y="7318"/>
                  </a:cubicBezTo>
                  <a:cubicBezTo>
                    <a:pt x="2343" y="7257"/>
                    <a:pt x="2096" y="7072"/>
                    <a:pt x="2025" y="7034"/>
                  </a:cubicBezTo>
                  <a:cubicBezTo>
                    <a:pt x="2011" y="7027"/>
                    <a:pt x="1982" y="7010"/>
                    <a:pt x="1944" y="6988"/>
                  </a:cubicBezTo>
                  <a:cubicBezTo>
                    <a:pt x="1936" y="6997"/>
                    <a:pt x="1917" y="7023"/>
                    <a:pt x="1896" y="7054"/>
                  </a:cubicBezTo>
                  <a:cubicBezTo>
                    <a:pt x="1857" y="7110"/>
                    <a:pt x="1804" y="7190"/>
                    <a:pt x="1759" y="7256"/>
                  </a:cubicBezTo>
                  <a:cubicBezTo>
                    <a:pt x="1738" y="7286"/>
                    <a:pt x="1719" y="7312"/>
                    <a:pt x="1704" y="7333"/>
                  </a:cubicBezTo>
                  <a:cubicBezTo>
                    <a:pt x="1317" y="7883"/>
                    <a:pt x="1317" y="7883"/>
                    <a:pt x="1317" y="7883"/>
                  </a:cubicBezTo>
                  <a:cubicBezTo>
                    <a:pt x="1319" y="7883"/>
                    <a:pt x="1319" y="7883"/>
                    <a:pt x="1319" y="7883"/>
                  </a:cubicBezTo>
                  <a:cubicBezTo>
                    <a:pt x="949" y="8181"/>
                    <a:pt x="949" y="8181"/>
                    <a:pt x="949" y="8181"/>
                  </a:cubicBezTo>
                  <a:cubicBezTo>
                    <a:pt x="7" y="8964"/>
                    <a:pt x="7" y="8964"/>
                    <a:pt x="7" y="8964"/>
                  </a:cubicBezTo>
                  <a:cubicBezTo>
                    <a:pt x="7" y="8917"/>
                    <a:pt x="7" y="8917"/>
                    <a:pt x="7" y="8917"/>
                  </a:cubicBezTo>
                  <a:cubicBezTo>
                    <a:pt x="931" y="8148"/>
                    <a:pt x="931" y="8148"/>
                    <a:pt x="931" y="8148"/>
                  </a:cubicBezTo>
                  <a:cubicBezTo>
                    <a:pt x="931" y="8148"/>
                    <a:pt x="931" y="8148"/>
                    <a:pt x="931" y="8148"/>
                  </a:cubicBezTo>
                  <a:cubicBezTo>
                    <a:pt x="934" y="8147"/>
                    <a:pt x="934" y="8147"/>
                    <a:pt x="934" y="8147"/>
                  </a:cubicBezTo>
                  <a:cubicBezTo>
                    <a:pt x="940" y="8141"/>
                    <a:pt x="940" y="8141"/>
                    <a:pt x="940" y="8141"/>
                  </a:cubicBezTo>
                  <a:cubicBezTo>
                    <a:pt x="940" y="8141"/>
                    <a:pt x="940" y="8141"/>
                    <a:pt x="940" y="8141"/>
                  </a:cubicBezTo>
                  <a:cubicBezTo>
                    <a:pt x="1289" y="7857"/>
                    <a:pt x="1289" y="7857"/>
                    <a:pt x="1289" y="7857"/>
                  </a:cubicBezTo>
                  <a:cubicBezTo>
                    <a:pt x="1560" y="7479"/>
                    <a:pt x="1560" y="7479"/>
                    <a:pt x="1560" y="7479"/>
                  </a:cubicBezTo>
                  <a:cubicBezTo>
                    <a:pt x="1556" y="7478"/>
                    <a:pt x="1555" y="7477"/>
                    <a:pt x="1553" y="7476"/>
                  </a:cubicBezTo>
                  <a:cubicBezTo>
                    <a:pt x="1524" y="7462"/>
                    <a:pt x="1369" y="7362"/>
                    <a:pt x="1369" y="7362"/>
                  </a:cubicBezTo>
                  <a:cubicBezTo>
                    <a:pt x="1362" y="7357"/>
                    <a:pt x="1362" y="7357"/>
                    <a:pt x="1362" y="7357"/>
                  </a:cubicBezTo>
                  <a:cubicBezTo>
                    <a:pt x="1395" y="7195"/>
                    <a:pt x="1395" y="7195"/>
                    <a:pt x="1395" y="7195"/>
                  </a:cubicBezTo>
                  <a:cubicBezTo>
                    <a:pt x="1371" y="7157"/>
                    <a:pt x="1371" y="7157"/>
                    <a:pt x="1371" y="7157"/>
                  </a:cubicBezTo>
                  <a:cubicBezTo>
                    <a:pt x="1276" y="7013"/>
                    <a:pt x="1276" y="7013"/>
                    <a:pt x="1276" y="7013"/>
                  </a:cubicBezTo>
                  <a:cubicBezTo>
                    <a:pt x="1267" y="7001"/>
                    <a:pt x="1267" y="7001"/>
                    <a:pt x="1267" y="7001"/>
                  </a:cubicBezTo>
                  <a:cubicBezTo>
                    <a:pt x="1264" y="7003"/>
                    <a:pt x="1261" y="7006"/>
                    <a:pt x="1259" y="7007"/>
                  </a:cubicBezTo>
                  <a:cubicBezTo>
                    <a:pt x="1209" y="7039"/>
                    <a:pt x="1161" y="7053"/>
                    <a:pt x="1131" y="7059"/>
                  </a:cubicBezTo>
                  <a:cubicBezTo>
                    <a:pt x="1130" y="7062"/>
                    <a:pt x="1129" y="7065"/>
                    <a:pt x="1129" y="7065"/>
                  </a:cubicBezTo>
                  <a:cubicBezTo>
                    <a:pt x="1129" y="7065"/>
                    <a:pt x="1128" y="7065"/>
                    <a:pt x="1128" y="7065"/>
                  </a:cubicBezTo>
                  <a:cubicBezTo>
                    <a:pt x="1128" y="7066"/>
                    <a:pt x="1128" y="7066"/>
                    <a:pt x="1128" y="7066"/>
                  </a:cubicBezTo>
                  <a:cubicBezTo>
                    <a:pt x="1056" y="7261"/>
                    <a:pt x="1056" y="7261"/>
                    <a:pt x="1056" y="7261"/>
                  </a:cubicBezTo>
                  <a:cubicBezTo>
                    <a:pt x="1054" y="7261"/>
                    <a:pt x="1054" y="7261"/>
                    <a:pt x="1054" y="7261"/>
                  </a:cubicBezTo>
                  <a:cubicBezTo>
                    <a:pt x="933" y="7567"/>
                    <a:pt x="933" y="7567"/>
                    <a:pt x="933" y="7567"/>
                  </a:cubicBezTo>
                  <a:cubicBezTo>
                    <a:pt x="931" y="7570"/>
                    <a:pt x="931" y="7570"/>
                    <a:pt x="931" y="7570"/>
                  </a:cubicBezTo>
                  <a:cubicBezTo>
                    <a:pt x="866" y="7625"/>
                    <a:pt x="866" y="7625"/>
                    <a:pt x="866" y="7625"/>
                  </a:cubicBezTo>
                  <a:cubicBezTo>
                    <a:pt x="292" y="8240"/>
                    <a:pt x="292" y="8240"/>
                    <a:pt x="292" y="8240"/>
                  </a:cubicBezTo>
                  <a:cubicBezTo>
                    <a:pt x="240" y="8292"/>
                    <a:pt x="164" y="8388"/>
                    <a:pt x="7" y="8454"/>
                  </a:cubicBezTo>
                  <a:cubicBezTo>
                    <a:pt x="7" y="8415"/>
                    <a:pt x="7" y="8415"/>
                    <a:pt x="7" y="8415"/>
                  </a:cubicBezTo>
                  <a:cubicBezTo>
                    <a:pt x="117" y="8366"/>
                    <a:pt x="182" y="8302"/>
                    <a:pt x="230" y="8252"/>
                  </a:cubicBezTo>
                  <a:cubicBezTo>
                    <a:pt x="222" y="8245"/>
                    <a:pt x="206" y="8231"/>
                    <a:pt x="183" y="8212"/>
                  </a:cubicBezTo>
                  <a:cubicBezTo>
                    <a:pt x="142" y="8179"/>
                    <a:pt x="80" y="8132"/>
                    <a:pt x="7" y="8088"/>
                  </a:cubicBezTo>
                  <a:cubicBezTo>
                    <a:pt x="7" y="8046"/>
                    <a:pt x="7" y="8046"/>
                    <a:pt x="7" y="8046"/>
                  </a:cubicBezTo>
                  <a:cubicBezTo>
                    <a:pt x="133" y="8120"/>
                    <a:pt x="230" y="8204"/>
                    <a:pt x="255" y="8226"/>
                  </a:cubicBezTo>
                  <a:cubicBezTo>
                    <a:pt x="259" y="8223"/>
                    <a:pt x="262" y="8219"/>
                    <a:pt x="266" y="8215"/>
                  </a:cubicBezTo>
                  <a:cubicBezTo>
                    <a:pt x="603" y="7856"/>
                    <a:pt x="603" y="7856"/>
                    <a:pt x="603" y="7856"/>
                  </a:cubicBezTo>
                  <a:cubicBezTo>
                    <a:pt x="601" y="7853"/>
                    <a:pt x="601" y="7853"/>
                    <a:pt x="601" y="7853"/>
                  </a:cubicBezTo>
                  <a:cubicBezTo>
                    <a:pt x="599" y="7855"/>
                    <a:pt x="599" y="7855"/>
                    <a:pt x="599" y="7855"/>
                  </a:cubicBezTo>
                  <a:cubicBezTo>
                    <a:pt x="180" y="7273"/>
                    <a:pt x="180" y="7273"/>
                    <a:pt x="180" y="7273"/>
                  </a:cubicBezTo>
                  <a:cubicBezTo>
                    <a:pt x="7" y="7208"/>
                    <a:pt x="7" y="7208"/>
                    <a:pt x="7" y="7208"/>
                  </a:cubicBezTo>
                  <a:cubicBezTo>
                    <a:pt x="7" y="7180"/>
                    <a:pt x="7" y="7180"/>
                    <a:pt x="7" y="7180"/>
                  </a:cubicBezTo>
                  <a:cubicBezTo>
                    <a:pt x="197" y="7251"/>
                    <a:pt x="197" y="7251"/>
                    <a:pt x="197" y="7251"/>
                  </a:cubicBezTo>
                  <a:cubicBezTo>
                    <a:pt x="615" y="7833"/>
                    <a:pt x="615" y="7833"/>
                    <a:pt x="615" y="7833"/>
                  </a:cubicBezTo>
                  <a:cubicBezTo>
                    <a:pt x="617" y="7835"/>
                    <a:pt x="619" y="7836"/>
                    <a:pt x="621" y="7837"/>
                  </a:cubicBezTo>
                  <a:cubicBezTo>
                    <a:pt x="871" y="7571"/>
                    <a:pt x="871" y="7571"/>
                    <a:pt x="871" y="7571"/>
                  </a:cubicBezTo>
                  <a:cubicBezTo>
                    <a:pt x="871" y="7572"/>
                    <a:pt x="871" y="7572"/>
                    <a:pt x="871" y="7572"/>
                  </a:cubicBezTo>
                  <a:cubicBezTo>
                    <a:pt x="901" y="7545"/>
                    <a:pt x="901" y="7545"/>
                    <a:pt x="901" y="7545"/>
                  </a:cubicBezTo>
                  <a:cubicBezTo>
                    <a:pt x="1030" y="7226"/>
                    <a:pt x="1030" y="7226"/>
                    <a:pt x="1030" y="7226"/>
                  </a:cubicBezTo>
                  <a:cubicBezTo>
                    <a:pt x="1030" y="7226"/>
                    <a:pt x="1030" y="7226"/>
                    <a:pt x="1030" y="7226"/>
                  </a:cubicBezTo>
                  <a:cubicBezTo>
                    <a:pt x="1089" y="7068"/>
                    <a:pt x="1089" y="7068"/>
                    <a:pt x="1089" y="7068"/>
                  </a:cubicBezTo>
                  <a:cubicBezTo>
                    <a:pt x="1086" y="7062"/>
                    <a:pt x="1080" y="7051"/>
                    <a:pt x="1071" y="7036"/>
                  </a:cubicBezTo>
                  <a:cubicBezTo>
                    <a:pt x="1028" y="6963"/>
                    <a:pt x="921" y="6795"/>
                    <a:pt x="759" y="6646"/>
                  </a:cubicBezTo>
                  <a:cubicBezTo>
                    <a:pt x="578" y="6480"/>
                    <a:pt x="341" y="6330"/>
                    <a:pt x="186" y="6261"/>
                  </a:cubicBezTo>
                  <a:cubicBezTo>
                    <a:pt x="186" y="6262"/>
                    <a:pt x="186" y="6262"/>
                    <a:pt x="186" y="6262"/>
                  </a:cubicBezTo>
                  <a:cubicBezTo>
                    <a:pt x="184" y="6264"/>
                    <a:pt x="184" y="6264"/>
                    <a:pt x="184" y="6264"/>
                  </a:cubicBezTo>
                  <a:cubicBezTo>
                    <a:pt x="153" y="6297"/>
                    <a:pt x="115" y="6374"/>
                    <a:pt x="9" y="6438"/>
                  </a:cubicBezTo>
                  <a:cubicBezTo>
                    <a:pt x="9" y="6438"/>
                    <a:pt x="8" y="6439"/>
                    <a:pt x="7" y="6439"/>
                  </a:cubicBezTo>
                  <a:cubicBezTo>
                    <a:pt x="7" y="6396"/>
                    <a:pt x="7" y="6396"/>
                    <a:pt x="7" y="6396"/>
                  </a:cubicBezTo>
                  <a:cubicBezTo>
                    <a:pt x="87" y="6342"/>
                    <a:pt x="119" y="6285"/>
                    <a:pt x="152" y="6246"/>
                  </a:cubicBezTo>
                  <a:cubicBezTo>
                    <a:pt x="134" y="6239"/>
                    <a:pt x="118" y="6234"/>
                    <a:pt x="104" y="6229"/>
                  </a:cubicBezTo>
                  <a:cubicBezTo>
                    <a:pt x="76" y="6221"/>
                    <a:pt x="44" y="6212"/>
                    <a:pt x="7" y="6203"/>
                  </a:cubicBezTo>
                  <a:cubicBezTo>
                    <a:pt x="7" y="6166"/>
                    <a:pt x="7" y="6166"/>
                    <a:pt x="7" y="6166"/>
                  </a:cubicBezTo>
                  <a:cubicBezTo>
                    <a:pt x="48" y="6176"/>
                    <a:pt x="84" y="6185"/>
                    <a:pt x="115" y="6195"/>
                  </a:cubicBezTo>
                  <a:cubicBezTo>
                    <a:pt x="131" y="6200"/>
                    <a:pt x="150" y="6207"/>
                    <a:pt x="170" y="6215"/>
                  </a:cubicBezTo>
                  <a:cubicBezTo>
                    <a:pt x="1281" y="4182"/>
                    <a:pt x="1281" y="4182"/>
                    <a:pt x="1281" y="4182"/>
                  </a:cubicBezTo>
                  <a:cubicBezTo>
                    <a:pt x="1278" y="4181"/>
                    <a:pt x="1278" y="4180"/>
                    <a:pt x="1276" y="4179"/>
                  </a:cubicBezTo>
                  <a:cubicBezTo>
                    <a:pt x="1271" y="4175"/>
                    <a:pt x="1267" y="4170"/>
                    <a:pt x="1259" y="4161"/>
                  </a:cubicBezTo>
                  <a:cubicBezTo>
                    <a:pt x="1159" y="4045"/>
                    <a:pt x="638" y="3365"/>
                    <a:pt x="541" y="3237"/>
                  </a:cubicBezTo>
                  <a:cubicBezTo>
                    <a:pt x="7" y="3808"/>
                    <a:pt x="7" y="3808"/>
                    <a:pt x="7" y="3808"/>
                  </a:cubicBezTo>
                  <a:cubicBezTo>
                    <a:pt x="7" y="3755"/>
                    <a:pt x="7" y="3755"/>
                    <a:pt x="7" y="3755"/>
                  </a:cubicBezTo>
                  <a:cubicBezTo>
                    <a:pt x="1252" y="2424"/>
                    <a:pt x="1252" y="2424"/>
                    <a:pt x="1252" y="2424"/>
                  </a:cubicBezTo>
                  <a:cubicBezTo>
                    <a:pt x="811" y="2083"/>
                    <a:pt x="811" y="2083"/>
                    <a:pt x="811" y="2083"/>
                  </a:cubicBezTo>
                  <a:cubicBezTo>
                    <a:pt x="809" y="2081"/>
                    <a:pt x="809" y="2081"/>
                    <a:pt x="809" y="2081"/>
                  </a:cubicBezTo>
                  <a:cubicBezTo>
                    <a:pt x="809" y="2080"/>
                    <a:pt x="744" y="1990"/>
                    <a:pt x="711" y="1891"/>
                  </a:cubicBezTo>
                  <a:cubicBezTo>
                    <a:pt x="704" y="1884"/>
                    <a:pt x="678" y="1861"/>
                    <a:pt x="640" y="1829"/>
                  </a:cubicBezTo>
                  <a:cubicBezTo>
                    <a:pt x="517" y="1726"/>
                    <a:pt x="261" y="1516"/>
                    <a:pt x="7" y="1309"/>
                  </a:cubicBezTo>
                  <a:cubicBezTo>
                    <a:pt x="7" y="1263"/>
                    <a:pt x="7" y="1263"/>
                    <a:pt x="7" y="1263"/>
                  </a:cubicBezTo>
                  <a:cubicBezTo>
                    <a:pt x="19" y="1272"/>
                    <a:pt x="30" y="1281"/>
                    <a:pt x="41" y="1290"/>
                  </a:cubicBezTo>
                  <a:cubicBezTo>
                    <a:pt x="214" y="1431"/>
                    <a:pt x="387" y="1573"/>
                    <a:pt x="518" y="1681"/>
                  </a:cubicBezTo>
                  <a:cubicBezTo>
                    <a:pt x="584" y="1735"/>
                    <a:pt x="638" y="1780"/>
                    <a:pt x="677" y="1813"/>
                  </a:cubicBezTo>
                  <a:cubicBezTo>
                    <a:pt x="696" y="1829"/>
                    <a:pt x="712" y="1842"/>
                    <a:pt x="722" y="1852"/>
                  </a:cubicBezTo>
                  <a:cubicBezTo>
                    <a:pt x="728" y="1857"/>
                    <a:pt x="732" y="1861"/>
                    <a:pt x="735" y="1864"/>
                  </a:cubicBezTo>
                  <a:cubicBezTo>
                    <a:pt x="737" y="1865"/>
                    <a:pt x="738" y="1867"/>
                    <a:pt x="739" y="1868"/>
                  </a:cubicBezTo>
                  <a:cubicBezTo>
                    <a:pt x="741" y="1870"/>
                    <a:pt x="742" y="1870"/>
                    <a:pt x="744" y="1875"/>
                  </a:cubicBezTo>
                  <a:cubicBezTo>
                    <a:pt x="745" y="1876"/>
                    <a:pt x="745" y="1876"/>
                    <a:pt x="745" y="1876"/>
                  </a:cubicBezTo>
                  <a:cubicBezTo>
                    <a:pt x="745" y="1876"/>
                    <a:pt x="745" y="1876"/>
                    <a:pt x="745" y="1876"/>
                  </a:cubicBezTo>
                  <a:cubicBezTo>
                    <a:pt x="759" y="1923"/>
                    <a:pt x="783" y="1969"/>
                    <a:pt x="803" y="2003"/>
                  </a:cubicBezTo>
                  <a:cubicBezTo>
                    <a:pt x="819" y="2032"/>
                    <a:pt x="833" y="2052"/>
                    <a:pt x="837" y="2058"/>
                  </a:cubicBezTo>
                  <a:cubicBezTo>
                    <a:pt x="1278" y="2398"/>
                    <a:pt x="1278" y="2398"/>
                    <a:pt x="1278" y="2398"/>
                  </a:cubicBezTo>
                  <a:cubicBezTo>
                    <a:pt x="1271" y="2406"/>
                    <a:pt x="1271" y="2406"/>
                    <a:pt x="1271" y="2406"/>
                  </a:cubicBezTo>
                  <a:cubicBezTo>
                    <a:pt x="1340" y="2346"/>
                    <a:pt x="1616" y="2106"/>
                    <a:pt x="1894" y="1866"/>
                  </a:cubicBezTo>
                  <a:cubicBezTo>
                    <a:pt x="2054" y="1727"/>
                    <a:pt x="2215" y="1589"/>
                    <a:pt x="2336" y="1485"/>
                  </a:cubicBezTo>
                  <a:cubicBezTo>
                    <a:pt x="2397" y="1433"/>
                    <a:pt x="2448" y="1390"/>
                    <a:pt x="2484" y="1359"/>
                  </a:cubicBezTo>
                  <a:cubicBezTo>
                    <a:pt x="2502" y="1344"/>
                    <a:pt x="2517" y="1332"/>
                    <a:pt x="2527" y="1324"/>
                  </a:cubicBezTo>
                  <a:cubicBezTo>
                    <a:pt x="2529" y="1322"/>
                    <a:pt x="2529" y="1322"/>
                    <a:pt x="2531" y="1321"/>
                  </a:cubicBezTo>
                  <a:cubicBezTo>
                    <a:pt x="2542" y="1301"/>
                    <a:pt x="2542" y="1301"/>
                    <a:pt x="2542" y="1301"/>
                  </a:cubicBezTo>
                  <a:cubicBezTo>
                    <a:pt x="2539" y="1297"/>
                    <a:pt x="2536" y="1293"/>
                    <a:pt x="2534" y="1289"/>
                  </a:cubicBezTo>
                  <a:cubicBezTo>
                    <a:pt x="2512" y="1241"/>
                    <a:pt x="2495" y="1175"/>
                    <a:pt x="2482" y="1118"/>
                  </a:cubicBezTo>
                  <a:cubicBezTo>
                    <a:pt x="2471" y="1066"/>
                    <a:pt x="2463" y="1023"/>
                    <a:pt x="2462" y="1016"/>
                  </a:cubicBezTo>
                  <a:cubicBezTo>
                    <a:pt x="2253" y="0"/>
                    <a:pt x="2253" y="0"/>
                    <a:pt x="2253" y="0"/>
                  </a:cubicBezTo>
                  <a:cubicBezTo>
                    <a:pt x="2370" y="0"/>
                    <a:pt x="2370" y="0"/>
                    <a:pt x="2370" y="0"/>
                  </a:cubicBezTo>
                  <a:cubicBezTo>
                    <a:pt x="2575" y="995"/>
                    <a:pt x="2575" y="995"/>
                    <a:pt x="2575" y="995"/>
                  </a:cubicBezTo>
                  <a:cubicBezTo>
                    <a:pt x="2575" y="996"/>
                    <a:pt x="2575" y="996"/>
                    <a:pt x="2575" y="996"/>
                  </a:cubicBezTo>
                  <a:cubicBezTo>
                    <a:pt x="2575" y="996"/>
                    <a:pt x="2582" y="1040"/>
                    <a:pt x="2594" y="1093"/>
                  </a:cubicBezTo>
                  <a:cubicBezTo>
                    <a:pt x="2606" y="1146"/>
                    <a:pt x="2623" y="1210"/>
                    <a:pt x="2638" y="1239"/>
                  </a:cubicBezTo>
                  <a:cubicBezTo>
                    <a:pt x="2649" y="1263"/>
                    <a:pt x="2672" y="1285"/>
                    <a:pt x="2703" y="1303"/>
                  </a:cubicBezTo>
                  <a:cubicBezTo>
                    <a:pt x="2733" y="1321"/>
                    <a:pt x="2768" y="1335"/>
                    <a:pt x="2796" y="1345"/>
                  </a:cubicBezTo>
                  <a:cubicBezTo>
                    <a:pt x="2854" y="1366"/>
                    <a:pt x="3623" y="1643"/>
                    <a:pt x="3900" y="1735"/>
                  </a:cubicBezTo>
                  <a:cubicBezTo>
                    <a:pt x="3924" y="1742"/>
                    <a:pt x="3947" y="1751"/>
                    <a:pt x="3971" y="1761"/>
                  </a:cubicBezTo>
                  <a:cubicBezTo>
                    <a:pt x="3971" y="1761"/>
                    <a:pt x="3971" y="1761"/>
                    <a:pt x="3971" y="1761"/>
                  </a:cubicBezTo>
                  <a:cubicBezTo>
                    <a:pt x="3973" y="1760"/>
                    <a:pt x="3978" y="1752"/>
                    <a:pt x="3982" y="1745"/>
                  </a:cubicBezTo>
                  <a:cubicBezTo>
                    <a:pt x="4049" y="1410"/>
                    <a:pt x="4049" y="1410"/>
                    <a:pt x="4049" y="1410"/>
                  </a:cubicBezTo>
                  <a:cubicBezTo>
                    <a:pt x="4050" y="1408"/>
                    <a:pt x="4050" y="1408"/>
                    <a:pt x="4050" y="1408"/>
                  </a:cubicBezTo>
                  <a:cubicBezTo>
                    <a:pt x="4050" y="1407"/>
                    <a:pt x="4078" y="1356"/>
                    <a:pt x="4119" y="1287"/>
                  </a:cubicBezTo>
                  <a:cubicBezTo>
                    <a:pt x="4139" y="1255"/>
                    <a:pt x="4157" y="1204"/>
                    <a:pt x="4171" y="1162"/>
                  </a:cubicBezTo>
                  <a:cubicBezTo>
                    <a:pt x="4184" y="1119"/>
                    <a:pt x="4193" y="1086"/>
                    <a:pt x="4193" y="1086"/>
                  </a:cubicBezTo>
                  <a:cubicBezTo>
                    <a:pt x="4193" y="1084"/>
                    <a:pt x="4193" y="1084"/>
                    <a:pt x="4193" y="1084"/>
                  </a:cubicBezTo>
                  <a:cubicBezTo>
                    <a:pt x="4432" y="619"/>
                    <a:pt x="4432" y="619"/>
                    <a:pt x="4432" y="619"/>
                  </a:cubicBezTo>
                  <a:cubicBezTo>
                    <a:pt x="4409" y="53"/>
                    <a:pt x="4409" y="53"/>
                    <a:pt x="4409" y="53"/>
                  </a:cubicBezTo>
                  <a:cubicBezTo>
                    <a:pt x="4362" y="0"/>
                    <a:pt x="4362" y="0"/>
                    <a:pt x="4362" y="0"/>
                  </a:cubicBezTo>
                  <a:cubicBezTo>
                    <a:pt x="4410" y="0"/>
                    <a:pt x="4410" y="0"/>
                    <a:pt x="4410" y="0"/>
                  </a:cubicBezTo>
                  <a:cubicBezTo>
                    <a:pt x="4434" y="28"/>
                    <a:pt x="4434" y="28"/>
                    <a:pt x="4434" y="28"/>
                  </a:cubicBezTo>
                  <a:cubicBezTo>
                    <a:pt x="4563" y="23"/>
                    <a:pt x="4671" y="12"/>
                    <a:pt x="4760" y="0"/>
                  </a:cubicBezTo>
                  <a:cubicBezTo>
                    <a:pt x="4966" y="0"/>
                    <a:pt x="4966" y="0"/>
                    <a:pt x="4966" y="0"/>
                  </a:cubicBezTo>
                  <a:cubicBezTo>
                    <a:pt x="4866" y="23"/>
                    <a:pt x="4694" y="53"/>
                    <a:pt x="4445" y="64"/>
                  </a:cubicBezTo>
                  <a:cubicBezTo>
                    <a:pt x="4468" y="607"/>
                    <a:pt x="4468" y="607"/>
                    <a:pt x="4468" y="607"/>
                  </a:cubicBezTo>
                  <a:cubicBezTo>
                    <a:pt x="4470" y="604"/>
                    <a:pt x="4470" y="604"/>
                    <a:pt x="4470" y="604"/>
                  </a:cubicBezTo>
                  <a:cubicBezTo>
                    <a:pt x="4470" y="604"/>
                    <a:pt x="4514" y="628"/>
                    <a:pt x="4595" y="664"/>
                  </a:cubicBezTo>
                  <a:cubicBezTo>
                    <a:pt x="4676" y="699"/>
                    <a:pt x="4793" y="745"/>
                    <a:pt x="4936" y="788"/>
                  </a:cubicBezTo>
                  <a:cubicBezTo>
                    <a:pt x="5100" y="837"/>
                    <a:pt x="5267" y="886"/>
                    <a:pt x="5402" y="921"/>
                  </a:cubicBezTo>
                  <a:cubicBezTo>
                    <a:pt x="5407" y="901"/>
                    <a:pt x="5420" y="857"/>
                    <a:pt x="5433" y="809"/>
                  </a:cubicBezTo>
                  <a:cubicBezTo>
                    <a:pt x="5450" y="743"/>
                    <a:pt x="5468" y="666"/>
                    <a:pt x="5469" y="636"/>
                  </a:cubicBezTo>
                  <a:cubicBezTo>
                    <a:pt x="5473" y="565"/>
                    <a:pt x="5488" y="539"/>
                    <a:pt x="5508" y="486"/>
                  </a:cubicBezTo>
                  <a:cubicBezTo>
                    <a:pt x="5514" y="473"/>
                    <a:pt x="5524" y="464"/>
                    <a:pt x="5538" y="450"/>
                  </a:cubicBezTo>
                  <a:cubicBezTo>
                    <a:pt x="5587" y="407"/>
                    <a:pt x="5689" y="339"/>
                    <a:pt x="5782" y="280"/>
                  </a:cubicBezTo>
                  <a:cubicBezTo>
                    <a:pt x="5828" y="251"/>
                    <a:pt x="5872" y="225"/>
                    <a:pt x="5904" y="206"/>
                  </a:cubicBezTo>
                  <a:cubicBezTo>
                    <a:pt x="5918" y="198"/>
                    <a:pt x="5929" y="191"/>
                    <a:pt x="5950" y="180"/>
                  </a:cubicBezTo>
                  <a:cubicBezTo>
                    <a:pt x="5968" y="211"/>
                    <a:pt x="5968" y="211"/>
                    <a:pt x="5968" y="211"/>
                  </a:cubicBezTo>
                  <a:cubicBezTo>
                    <a:pt x="5919" y="239"/>
                    <a:pt x="5831" y="291"/>
                    <a:pt x="5747" y="346"/>
                  </a:cubicBezTo>
                  <a:cubicBezTo>
                    <a:pt x="5696" y="379"/>
                    <a:pt x="5645" y="412"/>
                    <a:pt x="5607" y="441"/>
                  </a:cubicBezTo>
                  <a:cubicBezTo>
                    <a:pt x="5588" y="455"/>
                    <a:pt x="5572" y="468"/>
                    <a:pt x="5560" y="479"/>
                  </a:cubicBezTo>
                  <a:cubicBezTo>
                    <a:pt x="5549" y="489"/>
                    <a:pt x="5542" y="499"/>
                    <a:pt x="5542" y="499"/>
                  </a:cubicBezTo>
                  <a:cubicBezTo>
                    <a:pt x="5521" y="556"/>
                    <a:pt x="5509" y="572"/>
                    <a:pt x="5505" y="638"/>
                  </a:cubicBezTo>
                  <a:cubicBezTo>
                    <a:pt x="5502" y="702"/>
                    <a:pt x="5451" y="880"/>
                    <a:pt x="5436" y="930"/>
                  </a:cubicBezTo>
                  <a:cubicBezTo>
                    <a:pt x="5523" y="952"/>
                    <a:pt x="5594" y="967"/>
                    <a:pt x="5639" y="969"/>
                  </a:cubicBezTo>
                  <a:cubicBezTo>
                    <a:pt x="5652" y="970"/>
                    <a:pt x="5663" y="970"/>
                    <a:pt x="5674" y="970"/>
                  </a:cubicBezTo>
                  <a:cubicBezTo>
                    <a:pt x="5772" y="970"/>
                    <a:pt x="5830" y="944"/>
                    <a:pt x="5932" y="889"/>
                  </a:cubicBezTo>
                  <a:cubicBezTo>
                    <a:pt x="6045" y="827"/>
                    <a:pt x="6274" y="693"/>
                    <a:pt x="6275" y="693"/>
                  </a:cubicBezTo>
                  <a:cubicBezTo>
                    <a:pt x="6275" y="693"/>
                    <a:pt x="6275" y="693"/>
                    <a:pt x="6275" y="693"/>
                  </a:cubicBezTo>
                  <a:cubicBezTo>
                    <a:pt x="6276" y="693"/>
                    <a:pt x="6276" y="693"/>
                    <a:pt x="6276" y="693"/>
                  </a:cubicBezTo>
                  <a:cubicBezTo>
                    <a:pt x="6277" y="692"/>
                    <a:pt x="6327" y="667"/>
                    <a:pt x="6395" y="667"/>
                  </a:cubicBezTo>
                  <a:cubicBezTo>
                    <a:pt x="6465" y="666"/>
                    <a:pt x="6555" y="696"/>
                    <a:pt x="6619" y="805"/>
                  </a:cubicBezTo>
                  <a:cubicBezTo>
                    <a:pt x="6897" y="1308"/>
                    <a:pt x="6897" y="1308"/>
                    <a:pt x="6897" y="1308"/>
                  </a:cubicBezTo>
                  <a:cubicBezTo>
                    <a:pt x="6897" y="1308"/>
                    <a:pt x="6904" y="1322"/>
                    <a:pt x="6919" y="1343"/>
                  </a:cubicBezTo>
                  <a:cubicBezTo>
                    <a:pt x="6933" y="1364"/>
                    <a:pt x="6954" y="1391"/>
                    <a:pt x="6980" y="1417"/>
                  </a:cubicBezTo>
                  <a:cubicBezTo>
                    <a:pt x="7002" y="1440"/>
                    <a:pt x="7034" y="1458"/>
                    <a:pt x="7064" y="1480"/>
                  </a:cubicBezTo>
                  <a:cubicBezTo>
                    <a:pt x="7066" y="1467"/>
                    <a:pt x="7069" y="1451"/>
                    <a:pt x="7073" y="1435"/>
                  </a:cubicBezTo>
                  <a:cubicBezTo>
                    <a:pt x="7079" y="1402"/>
                    <a:pt x="7085" y="1365"/>
                    <a:pt x="7087" y="1351"/>
                  </a:cubicBezTo>
                  <a:cubicBezTo>
                    <a:pt x="7083" y="1345"/>
                    <a:pt x="7084" y="1342"/>
                    <a:pt x="7084" y="1338"/>
                  </a:cubicBezTo>
                  <a:cubicBezTo>
                    <a:pt x="7084" y="1326"/>
                    <a:pt x="7087" y="1310"/>
                    <a:pt x="7095" y="1294"/>
                  </a:cubicBezTo>
                  <a:cubicBezTo>
                    <a:pt x="7104" y="1279"/>
                    <a:pt x="7119" y="1261"/>
                    <a:pt x="7142" y="1257"/>
                  </a:cubicBezTo>
                  <a:cubicBezTo>
                    <a:pt x="7183" y="1251"/>
                    <a:pt x="7377" y="1216"/>
                    <a:pt x="7430" y="1193"/>
                  </a:cubicBezTo>
                  <a:cubicBezTo>
                    <a:pt x="7487" y="1170"/>
                    <a:pt x="7664" y="1132"/>
                    <a:pt x="7759" y="1122"/>
                  </a:cubicBezTo>
                  <a:cubicBezTo>
                    <a:pt x="7769" y="589"/>
                    <a:pt x="7769" y="589"/>
                    <a:pt x="7769" y="589"/>
                  </a:cubicBezTo>
                  <a:cubicBezTo>
                    <a:pt x="7605" y="268"/>
                    <a:pt x="7605" y="268"/>
                    <a:pt x="7605" y="268"/>
                  </a:cubicBezTo>
                  <a:cubicBezTo>
                    <a:pt x="7599" y="257"/>
                    <a:pt x="7528" y="139"/>
                    <a:pt x="7458" y="21"/>
                  </a:cubicBezTo>
                  <a:cubicBezTo>
                    <a:pt x="7454" y="14"/>
                    <a:pt x="7450" y="7"/>
                    <a:pt x="7446" y="0"/>
                  </a:cubicBezTo>
                  <a:cubicBezTo>
                    <a:pt x="7488" y="0"/>
                    <a:pt x="7488" y="0"/>
                    <a:pt x="7488" y="0"/>
                  </a:cubicBezTo>
                  <a:cubicBezTo>
                    <a:pt x="7562" y="125"/>
                    <a:pt x="7636" y="250"/>
                    <a:pt x="7637" y="250"/>
                  </a:cubicBezTo>
                  <a:cubicBezTo>
                    <a:pt x="7637" y="250"/>
                    <a:pt x="7637" y="250"/>
                    <a:pt x="7637" y="250"/>
                  </a:cubicBezTo>
                  <a:cubicBezTo>
                    <a:pt x="7805" y="581"/>
                    <a:pt x="7805" y="581"/>
                    <a:pt x="7805" y="581"/>
                  </a:cubicBezTo>
                  <a:cubicBezTo>
                    <a:pt x="7795" y="1120"/>
                    <a:pt x="7795" y="1120"/>
                    <a:pt x="7795" y="1120"/>
                  </a:cubicBezTo>
                  <a:cubicBezTo>
                    <a:pt x="7799" y="1120"/>
                    <a:pt x="7802" y="1120"/>
                    <a:pt x="7807" y="1120"/>
                  </a:cubicBezTo>
                  <a:cubicBezTo>
                    <a:pt x="7920" y="1120"/>
                    <a:pt x="8282" y="1141"/>
                    <a:pt x="8464" y="1147"/>
                  </a:cubicBezTo>
                  <a:cubicBezTo>
                    <a:pt x="8488" y="1148"/>
                    <a:pt x="8521" y="1149"/>
                    <a:pt x="8559" y="1149"/>
                  </a:cubicBezTo>
                  <a:cubicBezTo>
                    <a:pt x="8804" y="1149"/>
                    <a:pt x="9279" y="1133"/>
                    <a:pt x="9359" y="1133"/>
                  </a:cubicBezTo>
                  <a:cubicBezTo>
                    <a:pt x="9362" y="1133"/>
                    <a:pt x="9365" y="1133"/>
                    <a:pt x="9367" y="1133"/>
                  </a:cubicBezTo>
                  <a:cubicBezTo>
                    <a:pt x="9367" y="1133"/>
                    <a:pt x="9367" y="1133"/>
                    <a:pt x="9367" y="1133"/>
                  </a:cubicBezTo>
                  <a:cubicBezTo>
                    <a:pt x="9375" y="1129"/>
                    <a:pt x="9399" y="1114"/>
                    <a:pt x="9427" y="1094"/>
                  </a:cubicBezTo>
                  <a:cubicBezTo>
                    <a:pt x="9476" y="1060"/>
                    <a:pt x="9543" y="1013"/>
                    <a:pt x="9599" y="974"/>
                  </a:cubicBezTo>
                  <a:cubicBezTo>
                    <a:pt x="9627" y="954"/>
                    <a:pt x="9652" y="936"/>
                    <a:pt x="9670" y="924"/>
                  </a:cubicBezTo>
                  <a:cubicBezTo>
                    <a:pt x="9680" y="917"/>
                    <a:pt x="9688" y="912"/>
                    <a:pt x="9693" y="908"/>
                  </a:cubicBezTo>
                  <a:cubicBezTo>
                    <a:pt x="9696" y="907"/>
                    <a:pt x="9699" y="905"/>
                    <a:pt x="9701" y="904"/>
                  </a:cubicBezTo>
                  <a:cubicBezTo>
                    <a:pt x="9704" y="903"/>
                    <a:pt x="9703" y="901"/>
                    <a:pt x="9713" y="900"/>
                  </a:cubicBezTo>
                  <a:cubicBezTo>
                    <a:pt x="9816" y="900"/>
                    <a:pt x="9816" y="900"/>
                    <a:pt x="9816" y="900"/>
                  </a:cubicBezTo>
                  <a:cubicBezTo>
                    <a:pt x="9815" y="827"/>
                    <a:pt x="9803" y="526"/>
                    <a:pt x="9791" y="241"/>
                  </a:cubicBezTo>
                  <a:cubicBezTo>
                    <a:pt x="9788" y="157"/>
                    <a:pt x="9784" y="75"/>
                    <a:pt x="9781" y="0"/>
                  </a:cubicBezTo>
                  <a:cubicBezTo>
                    <a:pt x="9817" y="0"/>
                    <a:pt x="9817" y="0"/>
                    <a:pt x="9817" y="0"/>
                  </a:cubicBezTo>
                  <a:cubicBezTo>
                    <a:pt x="9831" y="331"/>
                    <a:pt x="9851" y="803"/>
                    <a:pt x="9852" y="900"/>
                  </a:cubicBezTo>
                  <a:cubicBezTo>
                    <a:pt x="10602" y="900"/>
                    <a:pt x="10602" y="900"/>
                    <a:pt x="10602" y="900"/>
                  </a:cubicBezTo>
                  <a:cubicBezTo>
                    <a:pt x="10604" y="900"/>
                    <a:pt x="10749" y="900"/>
                    <a:pt x="10862" y="1008"/>
                  </a:cubicBezTo>
                  <a:cubicBezTo>
                    <a:pt x="10914" y="1059"/>
                    <a:pt x="11035" y="1165"/>
                    <a:pt x="11143" y="1257"/>
                  </a:cubicBezTo>
                  <a:cubicBezTo>
                    <a:pt x="11217" y="1321"/>
                    <a:pt x="11284" y="1378"/>
                    <a:pt x="11319" y="1408"/>
                  </a:cubicBezTo>
                  <a:cubicBezTo>
                    <a:pt x="11347" y="1421"/>
                    <a:pt x="11347" y="1421"/>
                    <a:pt x="11347" y="1421"/>
                  </a:cubicBezTo>
                  <a:cubicBezTo>
                    <a:pt x="11384" y="1386"/>
                    <a:pt x="11418" y="1352"/>
                    <a:pt x="11449" y="1323"/>
                  </a:cubicBezTo>
                  <a:cubicBezTo>
                    <a:pt x="11495" y="1278"/>
                    <a:pt x="11533" y="1241"/>
                    <a:pt x="11559" y="1216"/>
                  </a:cubicBezTo>
                  <a:cubicBezTo>
                    <a:pt x="11572" y="1203"/>
                    <a:pt x="11583" y="1192"/>
                    <a:pt x="11590" y="1185"/>
                  </a:cubicBezTo>
                  <a:cubicBezTo>
                    <a:pt x="11592" y="1184"/>
                    <a:pt x="11593" y="1182"/>
                    <a:pt x="11595" y="1181"/>
                  </a:cubicBezTo>
                  <a:cubicBezTo>
                    <a:pt x="11598" y="1176"/>
                    <a:pt x="11598" y="1176"/>
                    <a:pt x="11600" y="1173"/>
                  </a:cubicBezTo>
                  <a:cubicBezTo>
                    <a:pt x="11615" y="1157"/>
                    <a:pt x="11655" y="1116"/>
                    <a:pt x="11699" y="1070"/>
                  </a:cubicBezTo>
                  <a:cubicBezTo>
                    <a:pt x="11722" y="1046"/>
                    <a:pt x="11746" y="1020"/>
                    <a:pt x="11765" y="999"/>
                  </a:cubicBezTo>
                  <a:cubicBezTo>
                    <a:pt x="11762" y="987"/>
                    <a:pt x="11762" y="987"/>
                    <a:pt x="11762" y="987"/>
                  </a:cubicBezTo>
                  <a:cubicBezTo>
                    <a:pt x="11725" y="928"/>
                    <a:pt x="11586" y="680"/>
                    <a:pt x="11583" y="252"/>
                  </a:cubicBezTo>
                  <a:cubicBezTo>
                    <a:pt x="11582" y="162"/>
                    <a:pt x="11581" y="78"/>
                    <a:pt x="11579" y="0"/>
                  </a:cubicBezTo>
                  <a:cubicBezTo>
                    <a:pt x="11615" y="0"/>
                    <a:pt x="11615" y="0"/>
                    <a:pt x="11615" y="0"/>
                  </a:cubicBezTo>
                  <a:cubicBezTo>
                    <a:pt x="11617" y="78"/>
                    <a:pt x="11618" y="162"/>
                    <a:pt x="11619" y="252"/>
                  </a:cubicBezTo>
                  <a:cubicBezTo>
                    <a:pt x="11621" y="494"/>
                    <a:pt x="11667" y="676"/>
                    <a:pt x="11712" y="798"/>
                  </a:cubicBezTo>
                  <a:cubicBezTo>
                    <a:pt x="11734" y="859"/>
                    <a:pt x="11757" y="905"/>
                    <a:pt x="11774" y="935"/>
                  </a:cubicBezTo>
                  <a:cubicBezTo>
                    <a:pt x="11776" y="940"/>
                    <a:pt x="11778" y="943"/>
                    <a:pt x="11781" y="947"/>
                  </a:cubicBezTo>
                  <a:cubicBezTo>
                    <a:pt x="11797" y="959"/>
                    <a:pt x="11797" y="959"/>
                    <a:pt x="11797" y="959"/>
                  </a:cubicBezTo>
                  <a:cubicBezTo>
                    <a:pt x="11797" y="959"/>
                    <a:pt x="11797" y="959"/>
                    <a:pt x="11797" y="959"/>
                  </a:cubicBezTo>
                  <a:cubicBezTo>
                    <a:pt x="11819" y="927"/>
                    <a:pt x="11858" y="881"/>
                    <a:pt x="11906" y="835"/>
                  </a:cubicBezTo>
                  <a:cubicBezTo>
                    <a:pt x="11954" y="789"/>
                    <a:pt x="12010" y="743"/>
                    <a:pt x="12069" y="716"/>
                  </a:cubicBezTo>
                  <a:cubicBezTo>
                    <a:pt x="12182" y="665"/>
                    <a:pt x="12300" y="664"/>
                    <a:pt x="12422" y="659"/>
                  </a:cubicBezTo>
                  <a:cubicBezTo>
                    <a:pt x="12487" y="657"/>
                    <a:pt x="12926" y="655"/>
                    <a:pt x="13370" y="652"/>
                  </a:cubicBezTo>
                  <a:cubicBezTo>
                    <a:pt x="13591" y="651"/>
                    <a:pt x="13812" y="650"/>
                    <a:pt x="13986" y="648"/>
                  </a:cubicBezTo>
                  <a:cubicBezTo>
                    <a:pt x="13994" y="648"/>
                    <a:pt x="14002" y="648"/>
                    <a:pt x="14009" y="648"/>
                  </a:cubicBezTo>
                  <a:cubicBezTo>
                    <a:pt x="14012" y="642"/>
                    <a:pt x="14012" y="642"/>
                    <a:pt x="14012" y="642"/>
                  </a:cubicBezTo>
                  <a:cubicBezTo>
                    <a:pt x="14017" y="631"/>
                    <a:pt x="14029" y="598"/>
                    <a:pt x="14043" y="558"/>
                  </a:cubicBezTo>
                  <a:cubicBezTo>
                    <a:pt x="14088" y="430"/>
                    <a:pt x="14159" y="211"/>
                    <a:pt x="14176" y="161"/>
                  </a:cubicBezTo>
                  <a:cubicBezTo>
                    <a:pt x="14020" y="0"/>
                    <a:pt x="14020" y="0"/>
                    <a:pt x="14020" y="0"/>
                  </a:cubicBezTo>
                  <a:cubicBezTo>
                    <a:pt x="14040" y="0"/>
                    <a:pt x="14040" y="0"/>
                    <a:pt x="14040" y="0"/>
                  </a:cubicBezTo>
                  <a:cubicBezTo>
                    <a:pt x="14070" y="0"/>
                    <a:pt x="14070" y="0"/>
                    <a:pt x="14070" y="0"/>
                  </a:cubicBezTo>
                  <a:cubicBezTo>
                    <a:pt x="14077" y="0"/>
                    <a:pt x="14077" y="0"/>
                    <a:pt x="14077" y="0"/>
                  </a:cubicBezTo>
                  <a:cubicBezTo>
                    <a:pt x="14221" y="145"/>
                    <a:pt x="14221" y="145"/>
                    <a:pt x="14221" y="145"/>
                  </a:cubicBezTo>
                  <a:cubicBezTo>
                    <a:pt x="14219" y="153"/>
                    <a:pt x="14219" y="153"/>
                    <a:pt x="14219" y="153"/>
                  </a:cubicBezTo>
                  <a:cubicBezTo>
                    <a:pt x="14219" y="153"/>
                    <a:pt x="14179" y="281"/>
                    <a:pt x="14138" y="410"/>
                  </a:cubicBezTo>
                  <a:cubicBezTo>
                    <a:pt x="14117" y="474"/>
                    <a:pt x="14096" y="538"/>
                    <a:pt x="14079" y="586"/>
                  </a:cubicBezTo>
                  <a:cubicBezTo>
                    <a:pt x="14071" y="607"/>
                    <a:pt x="14065" y="625"/>
                    <a:pt x="14059" y="639"/>
                  </a:cubicBezTo>
                  <a:cubicBezTo>
                    <a:pt x="14060" y="647"/>
                    <a:pt x="14060" y="647"/>
                    <a:pt x="14060" y="647"/>
                  </a:cubicBezTo>
                  <a:cubicBezTo>
                    <a:pt x="14195" y="646"/>
                    <a:pt x="14292" y="644"/>
                    <a:pt x="14315" y="642"/>
                  </a:cubicBezTo>
                  <a:cubicBezTo>
                    <a:pt x="14378" y="637"/>
                    <a:pt x="14460" y="631"/>
                    <a:pt x="14534" y="616"/>
                  </a:cubicBezTo>
                  <a:cubicBezTo>
                    <a:pt x="14608" y="603"/>
                    <a:pt x="14674" y="579"/>
                    <a:pt x="14701" y="553"/>
                  </a:cubicBezTo>
                  <a:cubicBezTo>
                    <a:pt x="14775" y="488"/>
                    <a:pt x="14834" y="375"/>
                    <a:pt x="14846" y="346"/>
                  </a:cubicBezTo>
                  <a:cubicBezTo>
                    <a:pt x="14851" y="336"/>
                    <a:pt x="14919" y="189"/>
                    <a:pt x="15006" y="0"/>
                  </a:cubicBezTo>
                  <a:cubicBezTo>
                    <a:pt x="15133" y="0"/>
                    <a:pt x="15133" y="0"/>
                    <a:pt x="15133" y="0"/>
                  </a:cubicBezTo>
                  <a:cubicBezTo>
                    <a:pt x="15035" y="212"/>
                    <a:pt x="14956" y="383"/>
                    <a:pt x="14951" y="394"/>
                  </a:cubicBezTo>
                  <a:cubicBezTo>
                    <a:pt x="14934" y="430"/>
                    <a:pt x="14874" y="552"/>
                    <a:pt x="14777" y="639"/>
                  </a:cubicBezTo>
                  <a:cubicBezTo>
                    <a:pt x="14718" y="690"/>
                    <a:pt x="14638" y="713"/>
                    <a:pt x="14556" y="729"/>
                  </a:cubicBezTo>
                  <a:cubicBezTo>
                    <a:pt x="14473" y="745"/>
                    <a:pt x="14388" y="752"/>
                    <a:pt x="14324" y="757"/>
                  </a:cubicBezTo>
                  <a:cubicBezTo>
                    <a:pt x="14286" y="759"/>
                    <a:pt x="14162" y="761"/>
                    <a:pt x="13987" y="763"/>
                  </a:cubicBezTo>
                  <a:cubicBezTo>
                    <a:pt x="13672" y="766"/>
                    <a:pt x="13201" y="768"/>
                    <a:pt x="12858" y="770"/>
                  </a:cubicBezTo>
                  <a:cubicBezTo>
                    <a:pt x="12857" y="785"/>
                    <a:pt x="12857" y="785"/>
                    <a:pt x="12857" y="785"/>
                  </a:cubicBezTo>
                  <a:cubicBezTo>
                    <a:pt x="12859" y="799"/>
                    <a:pt x="12863" y="819"/>
                    <a:pt x="12868" y="842"/>
                  </a:cubicBezTo>
                  <a:cubicBezTo>
                    <a:pt x="12870" y="854"/>
                    <a:pt x="12873" y="867"/>
                    <a:pt x="12877" y="880"/>
                  </a:cubicBezTo>
                  <a:cubicBezTo>
                    <a:pt x="12984" y="876"/>
                    <a:pt x="13099" y="875"/>
                    <a:pt x="13221" y="875"/>
                  </a:cubicBezTo>
                  <a:cubicBezTo>
                    <a:pt x="13444" y="875"/>
                    <a:pt x="13688" y="879"/>
                    <a:pt x="13934" y="879"/>
                  </a:cubicBezTo>
                  <a:cubicBezTo>
                    <a:pt x="13956" y="879"/>
                    <a:pt x="13979" y="879"/>
                    <a:pt x="14002" y="879"/>
                  </a:cubicBezTo>
                  <a:cubicBezTo>
                    <a:pt x="14331" y="878"/>
                    <a:pt x="14539" y="856"/>
                    <a:pt x="14681" y="823"/>
                  </a:cubicBezTo>
                  <a:cubicBezTo>
                    <a:pt x="14824" y="789"/>
                    <a:pt x="14901" y="747"/>
                    <a:pt x="14983" y="693"/>
                  </a:cubicBezTo>
                  <a:cubicBezTo>
                    <a:pt x="14983" y="693"/>
                    <a:pt x="14986" y="692"/>
                    <a:pt x="14990" y="687"/>
                  </a:cubicBezTo>
                  <a:cubicBezTo>
                    <a:pt x="15007" y="671"/>
                    <a:pt x="15039" y="628"/>
                    <a:pt x="15076" y="569"/>
                  </a:cubicBezTo>
                  <a:cubicBezTo>
                    <a:pt x="15160" y="437"/>
                    <a:pt x="15272" y="226"/>
                    <a:pt x="15387" y="0"/>
                  </a:cubicBezTo>
                  <a:cubicBezTo>
                    <a:pt x="15543" y="0"/>
                    <a:pt x="15543" y="0"/>
                    <a:pt x="15543" y="0"/>
                  </a:cubicBezTo>
                  <a:cubicBezTo>
                    <a:pt x="15459" y="168"/>
                    <a:pt x="15374" y="331"/>
                    <a:pt x="15298" y="467"/>
                  </a:cubicBezTo>
                  <a:cubicBezTo>
                    <a:pt x="15250" y="552"/>
                    <a:pt x="15206" y="626"/>
                    <a:pt x="15168" y="684"/>
                  </a:cubicBezTo>
                  <a:cubicBezTo>
                    <a:pt x="15149" y="713"/>
                    <a:pt x="15131" y="737"/>
                    <a:pt x="15114" y="758"/>
                  </a:cubicBezTo>
                  <a:cubicBezTo>
                    <a:pt x="15096" y="779"/>
                    <a:pt x="15081" y="796"/>
                    <a:pt x="15059" y="810"/>
                  </a:cubicBezTo>
                  <a:cubicBezTo>
                    <a:pt x="14972" y="868"/>
                    <a:pt x="14871" y="922"/>
                    <a:pt x="14713" y="959"/>
                  </a:cubicBezTo>
                  <a:cubicBezTo>
                    <a:pt x="14555" y="996"/>
                    <a:pt x="14338" y="1017"/>
                    <a:pt x="14002" y="1018"/>
                  </a:cubicBezTo>
                  <a:cubicBezTo>
                    <a:pt x="13979" y="1018"/>
                    <a:pt x="13957" y="1018"/>
                    <a:pt x="13934" y="1018"/>
                  </a:cubicBezTo>
                  <a:cubicBezTo>
                    <a:pt x="13686" y="1018"/>
                    <a:pt x="13442" y="1014"/>
                    <a:pt x="13221" y="1014"/>
                  </a:cubicBezTo>
                  <a:cubicBezTo>
                    <a:pt x="13271" y="1016"/>
                    <a:pt x="13271" y="1016"/>
                    <a:pt x="13271" y="1016"/>
                  </a:cubicBezTo>
                  <a:cubicBezTo>
                    <a:pt x="13213" y="1016"/>
                    <a:pt x="13089" y="1045"/>
                    <a:pt x="12940" y="1076"/>
                  </a:cubicBezTo>
                  <a:cubicBezTo>
                    <a:pt x="13003" y="1240"/>
                    <a:pt x="13112" y="1548"/>
                    <a:pt x="13140" y="1656"/>
                  </a:cubicBezTo>
                  <a:cubicBezTo>
                    <a:pt x="13165" y="1753"/>
                    <a:pt x="13187" y="1889"/>
                    <a:pt x="13194" y="1930"/>
                  </a:cubicBezTo>
                  <a:cubicBezTo>
                    <a:pt x="13258" y="1902"/>
                    <a:pt x="13323" y="1901"/>
                    <a:pt x="13371" y="1899"/>
                  </a:cubicBezTo>
                  <a:cubicBezTo>
                    <a:pt x="13372" y="1899"/>
                    <a:pt x="13372" y="1899"/>
                    <a:pt x="13372" y="1899"/>
                  </a:cubicBezTo>
                  <a:cubicBezTo>
                    <a:pt x="13373" y="1899"/>
                    <a:pt x="13373" y="1899"/>
                    <a:pt x="13373" y="1899"/>
                  </a:cubicBezTo>
                  <a:cubicBezTo>
                    <a:pt x="13373" y="1899"/>
                    <a:pt x="13528" y="1903"/>
                    <a:pt x="13742" y="1906"/>
                  </a:cubicBezTo>
                  <a:cubicBezTo>
                    <a:pt x="13956" y="1909"/>
                    <a:pt x="14228" y="1913"/>
                    <a:pt x="14462" y="1913"/>
                  </a:cubicBezTo>
                  <a:cubicBezTo>
                    <a:pt x="14694" y="1913"/>
                    <a:pt x="14890" y="1909"/>
                    <a:pt x="14945" y="1899"/>
                  </a:cubicBezTo>
                  <a:cubicBezTo>
                    <a:pt x="15122" y="1868"/>
                    <a:pt x="15700" y="1824"/>
                    <a:pt x="16203" y="1690"/>
                  </a:cubicBezTo>
                  <a:cubicBezTo>
                    <a:pt x="16699" y="1559"/>
                    <a:pt x="17413" y="1025"/>
                    <a:pt x="17860" y="732"/>
                  </a:cubicBezTo>
                  <a:cubicBezTo>
                    <a:pt x="17853" y="722"/>
                    <a:pt x="17845" y="712"/>
                    <a:pt x="17838" y="703"/>
                  </a:cubicBezTo>
                  <a:cubicBezTo>
                    <a:pt x="17708" y="543"/>
                    <a:pt x="17490" y="301"/>
                    <a:pt x="17025" y="0"/>
                  </a:cubicBezTo>
                  <a:cubicBezTo>
                    <a:pt x="17091" y="0"/>
                    <a:pt x="17091" y="0"/>
                    <a:pt x="17091" y="0"/>
                  </a:cubicBezTo>
                  <a:cubicBezTo>
                    <a:pt x="17527" y="289"/>
                    <a:pt x="17739" y="524"/>
                    <a:pt x="17866" y="680"/>
                  </a:cubicBezTo>
                  <a:cubicBezTo>
                    <a:pt x="17874" y="690"/>
                    <a:pt x="17882" y="701"/>
                    <a:pt x="17890" y="712"/>
                  </a:cubicBezTo>
                  <a:cubicBezTo>
                    <a:pt x="17929" y="686"/>
                    <a:pt x="17969" y="658"/>
                    <a:pt x="18011" y="628"/>
                  </a:cubicBezTo>
                  <a:lnTo>
                    <a:pt x="18011" y="673"/>
                  </a:lnTo>
                  <a:close/>
                  <a:moveTo>
                    <a:pt x="12905" y="1083"/>
                  </a:moveTo>
                  <a:cubicBezTo>
                    <a:pt x="12903" y="1083"/>
                    <a:pt x="12902" y="1084"/>
                    <a:pt x="12901" y="1084"/>
                  </a:cubicBezTo>
                  <a:cubicBezTo>
                    <a:pt x="12788" y="1107"/>
                    <a:pt x="12659" y="1124"/>
                    <a:pt x="12555" y="1153"/>
                  </a:cubicBezTo>
                  <a:cubicBezTo>
                    <a:pt x="12381" y="1200"/>
                    <a:pt x="12269" y="1255"/>
                    <a:pt x="12241" y="1271"/>
                  </a:cubicBezTo>
                  <a:cubicBezTo>
                    <a:pt x="12171" y="1310"/>
                    <a:pt x="11805" y="1605"/>
                    <a:pt x="11625" y="1731"/>
                  </a:cubicBezTo>
                  <a:cubicBezTo>
                    <a:pt x="11578" y="1774"/>
                    <a:pt x="11531" y="1818"/>
                    <a:pt x="11485" y="1861"/>
                  </a:cubicBezTo>
                  <a:cubicBezTo>
                    <a:pt x="11340" y="1998"/>
                    <a:pt x="11203" y="2128"/>
                    <a:pt x="11092" y="2230"/>
                  </a:cubicBezTo>
                  <a:cubicBezTo>
                    <a:pt x="11036" y="2281"/>
                    <a:pt x="10987" y="2325"/>
                    <a:pt x="10947" y="2360"/>
                  </a:cubicBezTo>
                  <a:cubicBezTo>
                    <a:pt x="10906" y="2395"/>
                    <a:pt x="10876" y="2419"/>
                    <a:pt x="10849" y="2435"/>
                  </a:cubicBezTo>
                  <a:cubicBezTo>
                    <a:pt x="10829" y="2447"/>
                    <a:pt x="10808" y="2455"/>
                    <a:pt x="10776" y="2467"/>
                  </a:cubicBezTo>
                  <a:cubicBezTo>
                    <a:pt x="10729" y="2484"/>
                    <a:pt x="10664" y="2505"/>
                    <a:pt x="10584" y="2530"/>
                  </a:cubicBezTo>
                  <a:cubicBezTo>
                    <a:pt x="10616" y="2651"/>
                    <a:pt x="10657" y="2803"/>
                    <a:pt x="10696" y="2958"/>
                  </a:cubicBezTo>
                  <a:cubicBezTo>
                    <a:pt x="10697" y="2958"/>
                    <a:pt x="10697" y="2957"/>
                    <a:pt x="10698" y="2957"/>
                  </a:cubicBezTo>
                  <a:cubicBezTo>
                    <a:pt x="10700" y="2956"/>
                    <a:pt x="10700" y="2956"/>
                    <a:pt x="10700" y="2956"/>
                  </a:cubicBezTo>
                  <a:cubicBezTo>
                    <a:pt x="10700" y="2956"/>
                    <a:pt x="10700" y="2956"/>
                    <a:pt x="10700" y="2956"/>
                  </a:cubicBezTo>
                  <a:cubicBezTo>
                    <a:pt x="10706" y="2956"/>
                    <a:pt x="12290" y="2922"/>
                    <a:pt x="12291" y="2922"/>
                  </a:cubicBezTo>
                  <a:cubicBezTo>
                    <a:pt x="12290" y="2922"/>
                    <a:pt x="12293" y="2922"/>
                    <a:pt x="12298" y="2922"/>
                  </a:cubicBezTo>
                  <a:cubicBezTo>
                    <a:pt x="12317" y="2922"/>
                    <a:pt x="12367" y="2924"/>
                    <a:pt x="12422" y="2942"/>
                  </a:cubicBezTo>
                  <a:cubicBezTo>
                    <a:pt x="12434" y="2914"/>
                    <a:pt x="12476" y="2816"/>
                    <a:pt x="12494" y="2778"/>
                  </a:cubicBezTo>
                  <a:cubicBezTo>
                    <a:pt x="12502" y="2762"/>
                    <a:pt x="12529" y="2727"/>
                    <a:pt x="12568" y="2675"/>
                  </a:cubicBezTo>
                  <a:cubicBezTo>
                    <a:pt x="12682" y="2529"/>
                    <a:pt x="12889" y="2275"/>
                    <a:pt x="12901" y="2260"/>
                  </a:cubicBezTo>
                  <a:cubicBezTo>
                    <a:pt x="12909" y="2249"/>
                    <a:pt x="13014" y="2092"/>
                    <a:pt x="13094" y="2001"/>
                  </a:cubicBezTo>
                  <a:cubicBezTo>
                    <a:pt x="13115" y="1978"/>
                    <a:pt x="13137" y="1961"/>
                    <a:pt x="13160" y="1947"/>
                  </a:cubicBezTo>
                  <a:cubicBezTo>
                    <a:pt x="13158" y="1938"/>
                    <a:pt x="13133" y="1775"/>
                    <a:pt x="13105" y="1665"/>
                  </a:cubicBezTo>
                  <a:cubicBezTo>
                    <a:pt x="13078" y="1560"/>
                    <a:pt x="12967" y="1245"/>
                    <a:pt x="12905" y="1083"/>
                  </a:cubicBezTo>
                  <a:close/>
                  <a:moveTo>
                    <a:pt x="13066" y="4821"/>
                  </a:moveTo>
                  <a:cubicBezTo>
                    <a:pt x="13074" y="4809"/>
                    <a:pt x="13089" y="4785"/>
                    <a:pt x="13110" y="4749"/>
                  </a:cubicBezTo>
                  <a:cubicBezTo>
                    <a:pt x="13143" y="4693"/>
                    <a:pt x="13188" y="4611"/>
                    <a:pt x="13239" y="4501"/>
                  </a:cubicBezTo>
                  <a:cubicBezTo>
                    <a:pt x="13274" y="4427"/>
                    <a:pt x="13285" y="4362"/>
                    <a:pt x="13285" y="4309"/>
                  </a:cubicBezTo>
                  <a:cubicBezTo>
                    <a:pt x="13285" y="4260"/>
                    <a:pt x="13275" y="4221"/>
                    <a:pt x="13266" y="4195"/>
                  </a:cubicBezTo>
                  <a:cubicBezTo>
                    <a:pt x="13261" y="4181"/>
                    <a:pt x="13256" y="4171"/>
                    <a:pt x="13253" y="4164"/>
                  </a:cubicBezTo>
                  <a:cubicBezTo>
                    <a:pt x="13249" y="4158"/>
                    <a:pt x="13247" y="4155"/>
                    <a:pt x="13247" y="4155"/>
                  </a:cubicBezTo>
                  <a:cubicBezTo>
                    <a:pt x="12508" y="3031"/>
                    <a:pt x="12508" y="3031"/>
                    <a:pt x="12508" y="3031"/>
                  </a:cubicBezTo>
                  <a:cubicBezTo>
                    <a:pt x="12435" y="2964"/>
                    <a:pt x="12326" y="2958"/>
                    <a:pt x="12298" y="2958"/>
                  </a:cubicBezTo>
                  <a:cubicBezTo>
                    <a:pt x="12294" y="2958"/>
                    <a:pt x="12292" y="2958"/>
                    <a:pt x="12292" y="2958"/>
                  </a:cubicBezTo>
                  <a:cubicBezTo>
                    <a:pt x="12290" y="2958"/>
                    <a:pt x="11894" y="2967"/>
                    <a:pt x="11497" y="2975"/>
                  </a:cubicBezTo>
                  <a:cubicBezTo>
                    <a:pt x="11298" y="2980"/>
                    <a:pt x="11099" y="2984"/>
                    <a:pt x="10950" y="2987"/>
                  </a:cubicBezTo>
                  <a:cubicBezTo>
                    <a:pt x="10876" y="2989"/>
                    <a:pt x="10814" y="2990"/>
                    <a:pt x="10770" y="2991"/>
                  </a:cubicBezTo>
                  <a:cubicBezTo>
                    <a:pt x="10749" y="2991"/>
                    <a:pt x="10731" y="2992"/>
                    <a:pt x="10720" y="2992"/>
                  </a:cubicBezTo>
                  <a:cubicBezTo>
                    <a:pt x="10714" y="2992"/>
                    <a:pt x="10710" y="2992"/>
                    <a:pt x="10707" y="2992"/>
                  </a:cubicBezTo>
                  <a:cubicBezTo>
                    <a:pt x="10706" y="2992"/>
                    <a:pt x="10705" y="2992"/>
                    <a:pt x="10705" y="2992"/>
                  </a:cubicBezTo>
                  <a:cubicBezTo>
                    <a:pt x="10796" y="3357"/>
                    <a:pt x="10882" y="3728"/>
                    <a:pt x="10894" y="3762"/>
                  </a:cubicBezTo>
                  <a:cubicBezTo>
                    <a:pt x="10906" y="3799"/>
                    <a:pt x="10948" y="3951"/>
                    <a:pt x="11022" y="4103"/>
                  </a:cubicBezTo>
                  <a:cubicBezTo>
                    <a:pt x="11095" y="4256"/>
                    <a:pt x="11202" y="4406"/>
                    <a:pt x="11334" y="4440"/>
                  </a:cubicBezTo>
                  <a:cubicBezTo>
                    <a:pt x="11463" y="4474"/>
                    <a:pt x="11592" y="4483"/>
                    <a:pt x="11702" y="4483"/>
                  </a:cubicBezTo>
                  <a:cubicBezTo>
                    <a:pt x="11832" y="4483"/>
                    <a:pt x="11933" y="4470"/>
                    <a:pt x="11979" y="4470"/>
                  </a:cubicBezTo>
                  <a:cubicBezTo>
                    <a:pt x="12018" y="4470"/>
                    <a:pt x="12087" y="4471"/>
                    <a:pt x="12151" y="4502"/>
                  </a:cubicBezTo>
                  <a:cubicBezTo>
                    <a:pt x="12212" y="4531"/>
                    <a:pt x="12268" y="4590"/>
                    <a:pt x="12290" y="4694"/>
                  </a:cubicBezTo>
                  <a:cubicBezTo>
                    <a:pt x="12360" y="4698"/>
                    <a:pt x="12711" y="4722"/>
                    <a:pt x="12896" y="4772"/>
                  </a:cubicBezTo>
                  <a:lnTo>
                    <a:pt x="13066" y="4821"/>
                  </a:lnTo>
                  <a:close/>
                  <a:moveTo>
                    <a:pt x="12495" y="8730"/>
                  </a:moveTo>
                  <a:cubicBezTo>
                    <a:pt x="12033" y="7227"/>
                    <a:pt x="12033" y="7227"/>
                    <a:pt x="12033" y="7227"/>
                  </a:cubicBezTo>
                  <a:cubicBezTo>
                    <a:pt x="12033" y="7226"/>
                    <a:pt x="12031" y="7219"/>
                    <a:pt x="12026" y="7208"/>
                  </a:cubicBezTo>
                  <a:cubicBezTo>
                    <a:pt x="12013" y="7173"/>
                    <a:pt x="11975" y="7101"/>
                    <a:pt x="11898" y="7072"/>
                  </a:cubicBezTo>
                  <a:cubicBezTo>
                    <a:pt x="11853" y="7146"/>
                    <a:pt x="11792" y="7207"/>
                    <a:pt x="11708" y="7224"/>
                  </a:cubicBezTo>
                  <a:cubicBezTo>
                    <a:pt x="11701" y="7227"/>
                    <a:pt x="11695" y="7227"/>
                    <a:pt x="11685" y="7228"/>
                  </a:cubicBezTo>
                  <a:cubicBezTo>
                    <a:pt x="11674" y="7228"/>
                    <a:pt x="11661" y="7228"/>
                    <a:pt x="11646" y="7228"/>
                  </a:cubicBezTo>
                  <a:cubicBezTo>
                    <a:pt x="11547" y="7228"/>
                    <a:pt x="11360" y="7218"/>
                    <a:pt x="11360" y="7218"/>
                  </a:cubicBezTo>
                  <a:cubicBezTo>
                    <a:pt x="11359" y="7218"/>
                    <a:pt x="11208" y="7207"/>
                    <a:pt x="11057" y="7196"/>
                  </a:cubicBezTo>
                  <a:cubicBezTo>
                    <a:pt x="10982" y="7191"/>
                    <a:pt x="10906" y="7185"/>
                    <a:pt x="10849" y="7181"/>
                  </a:cubicBezTo>
                  <a:cubicBezTo>
                    <a:pt x="10821" y="7179"/>
                    <a:pt x="10797" y="7177"/>
                    <a:pt x="10781" y="7176"/>
                  </a:cubicBezTo>
                  <a:cubicBezTo>
                    <a:pt x="10773" y="7175"/>
                    <a:pt x="10766" y="7174"/>
                    <a:pt x="10762" y="7174"/>
                  </a:cubicBezTo>
                  <a:cubicBezTo>
                    <a:pt x="10759" y="7174"/>
                    <a:pt x="10758" y="7174"/>
                    <a:pt x="10756" y="7174"/>
                  </a:cubicBezTo>
                  <a:cubicBezTo>
                    <a:pt x="10756" y="7174"/>
                    <a:pt x="10755" y="7174"/>
                    <a:pt x="10755" y="7173"/>
                  </a:cubicBezTo>
                  <a:cubicBezTo>
                    <a:pt x="10755" y="7173"/>
                    <a:pt x="10754" y="7173"/>
                    <a:pt x="10754" y="7173"/>
                  </a:cubicBezTo>
                  <a:cubicBezTo>
                    <a:pt x="10754" y="7173"/>
                    <a:pt x="10753" y="7173"/>
                    <a:pt x="10752" y="7173"/>
                  </a:cubicBezTo>
                  <a:cubicBezTo>
                    <a:pt x="10752" y="7173"/>
                    <a:pt x="10751" y="7173"/>
                    <a:pt x="10750" y="7172"/>
                  </a:cubicBezTo>
                  <a:cubicBezTo>
                    <a:pt x="10749" y="7172"/>
                    <a:pt x="10748" y="7172"/>
                    <a:pt x="10746" y="7170"/>
                  </a:cubicBezTo>
                  <a:cubicBezTo>
                    <a:pt x="10745" y="7170"/>
                    <a:pt x="10744" y="7169"/>
                    <a:pt x="10743" y="7167"/>
                  </a:cubicBezTo>
                  <a:cubicBezTo>
                    <a:pt x="10738" y="7164"/>
                    <a:pt x="10727" y="7157"/>
                    <a:pt x="10712" y="7148"/>
                  </a:cubicBezTo>
                  <a:cubicBezTo>
                    <a:pt x="10269" y="8401"/>
                    <a:pt x="10269" y="8401"/>
                    <a:pt x="10269" y="8401"/>
                  </a:cubicBezTo>
                  <a:cubicBezTo>
                    <a:pt x="10268" y="8424"/>
                    <a:pt x="10268" y="8424"/>
                    <a:pt x="10268" y="8424"/>
                  </a:cubicBezTo>
                  <a:cubicBezTo>
                    <a:pt x="10275" y="8426"/>
                    <a:pt x="10282" y="8429"/>
                    <a:pt x="10290" y="8431"/>
                  </a:cubicBezTo>
                  <a:cubicBezTo>
                    <a:pt x="10539" y="8513"/>
                    <a:pt x="10774" y="8573"/>
                    <a:pt x="10946" y="8612"/>
                  </a:cubicBezTo>
                  <a:cubicBezTo>
                    <a:pt x="11032" y="8631"/>
                    <a:pt x="11103" y="8645"/>
                    <a:pt x="11152" y="8655"/>
                  </a:cubicBezTo>
                  <a:cubicBezTo>
                    <a:pt x="11193" y="8663"/>
                    <a:pt x="11219" y="8667"/>
                    <a:pt x="11225" y="8668"/>
                  </a:cubicBezTo>
                  <a:cubicBezTo>
                    <a:pt x="11272" y="8672"/>
                    <a:pt x="11938" y="8718"/>
                    <a:pt x="12136" y="8726"/>
                  </a:cubicBezTo>
                  <a:cubicBezTo>
                    <a:pt x="12241" y="8731"/>
                    <a:pt x="12361" y="8736"/>
                    <a:pt x="12494" y="8748"/>
                  </a:cubicBezTo>
                  <a:cubicBezTo>
                    <a:pt x="12495" y="8742"/>
                    <a:pt x="12495" y="8733"/>
                    <a:pt x="12495" y="8730"/>
                  </a:cubicBezTo>
                  <a:close/>
                  <a:moveTo>
                    <a:pt x="12372" y="11185"/>
                  </a:moveTo>
                  <a:cubicBezTo>
                    <a:pt x="12509" y="11051"/>
                    <a:pt x="12636" y="10926"/>
                    <a:pt x="12660" y="10901"/>
                  </a:cubicBezTo>
                  <a:cubicBezTo>
                    <a:pt x="11986" y="10332"/>
                    <a:pt x="11986" y="10332"/>
                    <a:pt x="11986" y="10332"/>
                  </a:cubicBezTo>
                  <a:cubicBezTo>
                    <a:pt x="11985" y="10332"/>
                    <a:pt x="11984" y="10331"/>
                    <a:pt x="11982" y="10330"/>
                  </a:cubicBezTo>
                  <a:cubicBezTo>
                    <a:pt x="11972" y="10325"/>
                    <a:pt x="11947" y="10314"/>
                    <a:pt x="11915" y="10314"/>
                  </a:cubicBezTo>
                  <a:cubicBezTo>
                    <a:pt x="11885" y="10314"/>
                    <a:pt x="11850" y="10323"/>
                    <a:pt x="11812" y="10355"/>
                  </a:cubicBezTo>
                  <a:cubicBezTo>
                    <a:pt x="11763" y="10399"/>
                    <a:pt x="11734" y="10420"/>
                    <a:pt x="11717" y="10432"/>
                  </a:cubicBezTo>
                  <a:cubicBezTo>
                    <a:pt x="11714" y="10433"/>
                    <a:pt x="11713" y="10434"/>
                    <a:pt x="11711" y="10436"/>
                  </a:cubicBezTo>
                  <a:cubicBezTo>
                    <a:pt x="12335" y="11221"/>
                    <a:pt x="12335" y="11221"/>
                    <a:pt x="12335" y="11221"/>
                  </a:cubicBezTo>
                  <a:cubicBezTo>
                    <a:pt x="12347" y="11209"/>
                    <a:pt x="12360" y="11197"/>
                    <a:pt x="12372" y="11185"/>
                  </a:cubicBezTo>
                  <a:close/>
                  <a:moveTo>
                    <a:pt x="11379" y="10077"/>
                  </a:moveTo>
                  <a:cubicBezTo>
                    <a:pt x="11373" y="10072"/>
                    <a:pt x="11344" y="10047"/>
                    <a:pt x="11295" y="10009"/>
                  </a:cubicBezTo>
                  <a:cubicBezTo>
                    <a:pt x="11240" y="9967"/>
                    <a:pt x="11160" y="9908"/>
                    <a:pt x="11060" y="9843"/>
                  </a:cubicBezTo>
                  <a:cubicBezTo>
                    <a:pt x="10899" y="9738"/>
                    <a:pt x="10734" y="9628"/>
                    <a:pt x="10675" y="9588"/>
                  </a:cubicBezTo>
                  <a:cubicBezTo>
                    <a:pt x="10672" y="9591"/>
                    <a:pt x="10670" y="9593"/>
                    <a:pt x="10669" y="9594"/>
                  </a:cubicBezTo>
                  <a:cubicBezTo>
                    <a:pt x="9469" y="12136"/>
                    <a:pt x="9469" y="12136"/>
                    <a:pt x="9469" y="12136"/>
                  </a:cubicBezTo>
                  <a:cubicBezTo>
                    <a:pt x="9474" y="12139"/>
                    <a:pt x="9481" y="12143"/>
                    <a:pt x="9491" y="12148"/>
                  </a:cubicBezTo>
                  <a:cubicBezTo>
                    <a:pt x="9551" y="12180"/>
                    <a:pt x="9693" y="12245"/>
                    <a:pt x="9850" y="12244"/>
                  </a:cubicBezTo>
                  <a:cubicBezTo>
                    <a:pt x="9901" y="12244"/>
                    <a:pt x="9952" y="12238"/>
                    <a:pt x="10004" y="12222"/>
                  </a:cubicBezTo>
                  <a:cubicBezTo>
                    <a:pt x="10142" y="12179"/>
                    <a:pt x="10607" y="12028"/>
                    <a:pt x="11036" y="11888"/>
                  </a:cubicBezTo>
                  <a:cubicBezTo>
                    <a:pt x="11251" y="11818"/>
                    <a:pt x="11457" y="11750"/>
                    <a:pt x="11609" y="11701"/>
                  </a:cubicBezTo>
                  <a:cubicBezTo>
                    <a:pt x="11762" y="11651"/>
                    <a:pt x="11860" y="11618"/>
                    <a:pt x="11860" y="11618"/>
                  </a:cubicBezTo>
                  <a:cubicBezTo>
                    <a:pt x="11860" y="11618"/>
                    <a:pt x="11863" y="11617"/>
                    <a:pt x="11870" y="11614"/>
                  </a:cubicBezTo>
                  <a:cubicBezTo>
                    <a:pt x="11890" y="11606"/>
                    <a:pt x="11941" y="11581"/>
                    <a:pt x="12010" y="11527"/>
                  </a:cubicBezTo>
                  <a:cubicBezTo>
                    <a:pt x="12049" y="11497"/>
                    <a:pt x="12177" y="11375"/>
                    <a:pt x="12309" y="11246"/>
                  </a:cubicBezTo>
                  <a:lnTo>
                    <a:pt x="11379" y="10077"/>
                  </a:lnTo>
                  <a:close/>
                  <a:moveTo>
                    <a:pt x="11002" y="12991"/>
                  </a:moveTo>
                  <a:cubicBezTo>
                    <a:pt x="9697" y="13419"/>
                    <a:pt x="9697" y="13419"/>
                    <a:pt x="9697" y="13419"/>
                  </a:cubicBezTo>
                  <a:cubicBezTo>
                    <a:pt x="8886" y="13695"/>
                    <a:pt x="8886" y="13695"/>
                    <a:pt x="8886" y="13695"/>
                  </a:cubicBezTo>
                  <a:cubicBezTo>
                    <a:pt x="8931" y="13696"/>
                    <a:pt x="8986" y="13698"/>
                    <a:pt x="9048" y="13699"/>
                  </a:cubicBezTo>
                  <a:cubicBezTo>
                    <a:pt x="9213" y="13704"/>
                    <a:pt x="9421" y="13708"/>
                    <a:pt x="9596" y="13708"/>
                  </a:cubicBezTo>
                  <a:cubicBezTo>
                    <a:pt x="9654" y="13708"/>
                    <a:pt x="9708" y="13708"/>
                    <a:pt x="9756" y="13707"/>
                  </a:cubicBezTo>
                  <a:cubicBezTo>
                    <a:pt x="9761" y="13706"/>
                    <a:pt x="9766" y="13706"/>
                    <a:pt x="9771" y="13706"/>
                  </a:cubicBezTo>
                  <a:cubicBezTo>
                    <a:pt x="9936" y="13706"/>
                    <a:pt x="10028" y="13773"/>
                    <a:pt x="10076" y="13841"/>
                  </a:cubicBezTo>
                  <a:cubicBezTo>
                    <a:pt x="10124" y="13908"/>
                    <a:pt x="10129" y="13974"/>
                    <a:pt x="10129" y="13976"/>
                  </a:cubicBezTo>
                  <a:cubicBezTo>
                    <a:pt x="10129" y="13977"/>
                    <a:pt x="10129" y="13977"/>
                    <a:pt x="10129" y="13977"/>
                  </a:cubicBezTo>
                  <a:cubicBezTo>
                    <a:pt x="10129" y="13977"/>
                    <a:pt x="10129" y="13977"/>
                    <a:pt x="10129" y="13977"/>
                  </a:cubicBezTo>
                  <a:cubicBezTo>
                    <a:pt x="10129" y="13978"/>
                    <a:pt x="10136" y="14678"/>
                    <a:pt x="10136" y="15026"/>
                  </a:cubicBezTo>
                  <a:cubicBezTo>
                    <a:pt x="10136" y="15084"/>
                    <a:pt x="10136" y="15132"/>
                    <a:pt x="10136" y="15166"/>
                  </a:cubicBezTo>
                  <a:cubicBezTo>
                    <a:pt x="10135" y="15183"/>
                    <a:pt x="10135" y="15196"/>
                    <a:pt x="10135" y="15205"/>
                  </a:cubicBezTo>
                  <a:cubicBezTo>
                    <a:pt x="10134" y="15210"/>
                    <a:pt x="10134" y="15213"/>
                    <a:pt x="10134" y="15216"/>
                  </a:cubicBezTo>
                  <a:cubicBezTo>
                    <a:pt x="10134" y="15218"/>
                    <a:pt x="10134" y="15219"/>
                    <a:pt x="10133" y="15221"/>
                  </a:cubicBezTo>
                  <a:cubicBezTo>
                    <a:pt x="10133" y="15222"/>
                    <a:pt x="10133" y="15223"/>
                    <a:pt x="10132" y="15225"/>
                  </a:cubicBezTo>
                  <a:cubicBezTo>
                    <a:pt x="10132" y="15226"/>
                    <a:pt x="10131" y="15227"/>
                    <a:pt x="10130" y="15228"/>
                  </a:cubicBezTo>
                  <a:cubicBezTo>
                    <a:pt x="10190" y="15274"/>
                    <a:pt x="10410" y="15442"/>
                    <a:pt x="10547" y="15547"/>
                  </a:cubicBezTo>
                  <a:cubicBezTo>
                    <a:pt x="10705" y="15668"/>
                    <a:pt x="11048" y="15905"/>
                    <a:pt x="11342" y="16118"/>
                  </a:cubicBezTo>
                  <a:cubicBezTo>
                    <a:pt x="11357" y="16129"/>
                    <a:pt x="11372" y="16140"/>
                    <a:pt x="11386" y="16151"/>
                  </a:cubicBezTo>
                  <a:cubicBezTo>
                    <a:pt x="11800" y="15359"/>
                    <a:pt x="11800" y="15359"/>
                    <a:pt x="11800" y="15359"/>
                  </a:cubicBezTo>
                  <a:cubicBezTo>
                    <a:pt x="11800" y="15358"/>
                    <a:pt x="11802" y="15355"/>
                    <a:pt x="11806" y="15346"/>
                  </a:cubicBezTo>
                  <a:cubicBezTo>
                    <a:pt x="11818" y="15322"/>
                    <a:pt x="11842" y="15263"/>
                    <a:pt x="11841" y="15195"/>
                  </a:cubicBezTo>
                  <a:cubicBezTo>
                    <a:pt x="11841" y="15101"/>
                    <a:pt x="11801" y="14989"/>
                    <a:pt x="11620" y="14906"/>
                  </a:cubicBezTo>
                  <a:cubicBezTo>
                    <a:pt x="11610" y="14902"/>
                    <a:pt x="11610" y="14902"/>
                    <a:pt x="11610" y="14902"/>
                  </a:cubicBezTo>
                  <a:cubicBezTo>
                    <a:pt x="11587" y="14495"/>
                    <a:pt x="11587" y="14495"/>
                    <a:pt x="11587" y="14495"/>
                  </a:cubicBezTo>
                  <a:cubicBezTo>
                    <a:pt x="11587" y="14495"/>
                    <a:pt x="11587" y="14495"/>
                    <a:pt x="11587" y="14495"/>
                  </a:cubicBezTo>
                  <a:cubicBezTo>
                    <a:pt x="11587" y="14493"/>
                    <a:pt x="11590" y="14430"/>
                    <a:pt x="11616" y="14365"/>
                  </a:cubicBezTo>
                  <a:cubicBezTo>
                    <a:pt x="11641" y="14300"/>
                    <a:pt x="11693" y="14229"/>
                    <a:pt x="11790" y="14229"/>
                  </a:cubicBezTo>
                  <a:cubicBezTo>
                    <a:pt x="11800" y="14229"/>
                    <a:pt x="11811" y="14230"/>
                    <a:pt x="11823" y="14232"/>
                  </a:cubicBezTo>
                  <a:cubicBezTo>
                    <a:pt x="11999" y="14259"/>
                    <a:pt x="12476" y="14346"/>
                    <a:pt x="12594" y="14368"/>
                  </a:cubicBezTo>
                  <a:cubicBezTo>
                    <a:pt x="12550" y="14168"/>
                    <a:pt x="12550" y="14168"/>
                    <a:pt x="12550" y="14168"/>
                  </a:cubicBezTo>
                  <a:cubicBezTo>
                    <a:pt x="12742" y="13874"/>
                    <a:pt x="12742" y="13874"/>
                    <a:pt x="12742" y="13874"/>
                  </a:cubicBezTo>
                  <a:cubicBezTo>
                    <a:pt x="12811" y="13673"/>
                    <a:pt x="12811" y="13673"/>
                    <a:pt x="12811" y="13673"/>
                  </a:cubicBezTo>
                  <a:cubicBezTo>
                    <a:pt x="12812" y="13672"/>
                    <a:pt x="12812" y="13672"/>
                    <a:pt x="12812" y="13672"/>
                  </a:cubicBezTo>
                  <a:cubicBezTo>
                    <a:pt x="12812" y="13672"/>
                    <a:pt x="12812" y="13672"/>
                    <a:pt x="12812" y="13672"/>
                  </a:cubicBezTo>
                  <a:cubicBezTo>
                    <a:pt x="12812" y="13671"/>
                    <a:pt x="12814" y="13667"/>
                    <a:pt x="12814" y="13661"/>
                  </a:cubicBezTo>
                  <a:cubicBezTo>
                    <a:pt x="12813" y="13649"/>
                    <a:pt x="12809" y="13622"/>
                    <a:pt x="12742" y="13592"/>
                  </a:cubicBezTo>
                  <a:cubicBezTo>
                    <a:pt x="12684" y="13566"/>
                    <a:pt x="12506" y="13459"/>
                    <a:pt x="12339" y="13358"/>
                  </a:cubicBezTo>
                  <a:cubicBezTo>
                    <a:pt x="12173" y="13256"/>
                    <a:pt x="12021" y="13161"/>
                    <a:pt x="12021" y="13161"/>
                  </a:cubicBezTo>
                  <a:cubicBezTo>
                    <a:pt x="12019" y="13160"/>
                    <a:pt x="12019" y="13160"/>
                    <a:pt x="12019" y="13160"/>
                  </a:cubicBezTo>
                  <a:cubicBezTo>
                    <a:pt x="12018" y="13159"/>
                    <a:pt x="12018" y="13159"/>
                    <a:pt x="12018" y="13159"/>
                  </a:cubicBezTo>
                  <a:cubicBezTo>
                    <a:pt x="12018" y="13158"/>
                    <a:pt x="11772" y="12925"/>
                    <a:pt x="11668" y="12805"/>
                  </a:cubicBezTo>
                  <a:lnTo>
                    <a:pt x="11002" y="12991"/>
                  </a:lnTo>
                  <a:close/>
                  <a:moveTo>
                    <a:pt x="10109" y="15213"/>
                  </a:moveTo>
                  <a:cubicBezTo>
                    <a:pt x="10102" y="15207"/>
                    <a:pt x="10102" y="15207"/>
                    <a:pt x="10102" y="15207"/>
                  </a:cubicBezTo>
                  <a:cubicBezTo>
                    <a:pt x="10109" y="15213"/>
                    <a:pt x="10109" y="15213"/>
                    <a:pt x="10109" y="15213"/>
                  </a:cubicBezTo>
                  <a:close/>
                  <a:moveTo>
                    <a:pt x="8762" y="13726"/>
                  </a:moveTo>
                  <a:cubicBezTo>
                    <a:pt x="8672" y="13739"/>
                    <a:pt x="8672" y="13739"/>
                    <a:pt x="8672" y="13739"/>
                  </a:cubicBezTo>
                  <a:cubicBezTo>
                    <a:pt x="7816" y="13773"/>
                    <a:pt x="7816" y="13773"/>
                    <a:pt x="7816" y="13773"/>
                  </a:cubicBezTo>
                  <a:cubicBezTo>
                    <a:pt x="7819" y="13774"/>
                    <a:pt x="7819" y="13774"/>
                    <a:pt x="7819" y="13774"/>
                  </a:cubicBezTo>
                  <a:cubicBezTo>
                    <a:pt x="7802" y="13852"/>
                    <a:pt x="7791" y="14016"/>
                    <a:pt x="7783" y="14160"/>
                  </a:cubicBezTo>
                  <a:cubicBezTo>
                    <a:pt x="7780" y="14232"/>
                    <a:pt x="7776" y="14299"/>
                    <a:pt x="7773" y="14348"/>
                  </a:cubicBezTo>
                  <a:cubicBezTo>
                    <a:pt x="7772" y="14373"/>
                    <a:pt x="7770" y="14393"/>
                    <a:pt x="7768" y="14407"/>
                  </a:cubicBezTo>
                  <a:cubicBezTo>
                    <a:pt x="7767" y="14412"/>
                    <a:pt x="7767" y="14417"/>
                    <a:pt x="7766" y="14421"/>
                  </a:cubicBezTo>
                  <a:cubicBezTo>
                    <a:pt x="7775" y="14428"/>
                    <a:pt x="7790" y="14439"/>
                    <a:pt x="7809" y="14452"/>
                  </a:cubicBezTo>
                  <a:cubicBezTo>
                    <a:pt x="7915" y="14528"/>
                    <a:pt x="8161" y="14700"/>
                    <a:pt x="8380" y="14852"/>
                  </a:cubicBezTo>
                  <a:cubicBezTo>
                    <a:pt x="8599" y="15005"/>
                    <a:pt x="8791" y="15138"/>
                    <a:pt x="8791" y="15138"/>
                  </a:cubicBezTo>
                  <a:cubicBezTo>
                    <a:pt x="8784" y="15149"/>
                    <a:pt x="8784" y="15149"/>
                    <a:pt x="8784" y="15149"/>
                  </a:cubicBezTo>
                  <a:cubicBezTo>
                    <a:pt x="8838" y="15132"/>
                    <a:pt x="8883" y="15131"/>
                    <a:pt x="8890" y="15131"/>
                  </a:cubicBezTo>
                  <a:cubicBezTo>
                    <a:pt x="8891" y="15131"/>
                    <a:pt x="8892" y="15131"/>
                    <a:pt x="8892" y="15131"/>
                  </a:cubicBezTo>
                  <a:cubicBezTo>
                    <a:pt x="10098" y="15212"/>
                    <a:pt x="10098" y="15212"/>
                    <a:pt x="10098" y="15212"/>
                  </a:cubicBezTo>
                  <a:cubicBezTo>
                    <a:pt x="10099" y="15199"/>
                    <a:pt x="10100" y="15126"/>
                    <a:pt x="10100" y="15026"/>
                  </a:cubicBezTo>
                  <a:cubicBezTo>
                    <a:pt x="10100" y="14852"/>
                    <a:pt x="10098" y="14590"/>
                    <a:pt x="10097" y="14372"/>
                  </a:cubicBezTo>
                  <a:cubicBezTo>
                    <a:pt x="10095" y="14161"/>
                    <a:pt x="10093" y="13991"/>
                    <a:pt x="10093" y="13979"/>
                  </a:cubicBezTo>
                  <a:cubicBezTo>
                    <a:pt x="10093" y="13977"/>
                    <a:pt x="10093" y="13975"/>
                    <a:pt x="10092" y="13970"/>
                  </a:cubicBezTo>
                  <a:cubicBezTo>
                    <a:pt x="10088" y="13948"/>
                    <a:pt x="10074" y="13890"/>
                    <a:pt x="10029" y="13839"/>
                  </a:cubicBezTo>
                  <a:cubicBezTo>
                    <a:pt x="9984" y="13789"/>
                    <a:pt x="9907" y="13743"/>
                    <a:pt x="9771" y="13743"/>
                  </a:cubicBezTo>
                  <a:cubicBezTo>
                    <a:pt x="9766" y="13743"/>
                    <a:pt x="9762" y="13743"/>
                    <a:pt x="9757" y="13743"/>
                  </a:cubicBezTo>
                  <a:cubicBezTo>
                    <a:pt x="9709" y="13744"/>
                    <a:pt x="9654" y="13744"/>
                    <a:pt x="9596" y="13744"/>
                  </a:cubicBezTo>
                  <a:cubicBezTo>
                    <a:pt x="9258" y="13744"/>
                    <a:pt x="8793" y="13728"/>
                    <a:pt x="8762" y="13726"/>
                  </a:cubicBezTo>
                  <a:close/>
                  <a:moveTo>
                    <a:pt x="7545" y="15959"/>
                  </a:moveTo>
                  <a:cubicBezTo>
                    <a:pt x="7544" y="15990"/>
                    <a:pt x="7544" y="15990"/>
                    <a:pt x="7544" y="15990"/>
                  </a:cubicBezTo>
                  <a:cubicBezTo>
                    <a:pt x="7566" y="15939"/>
                    <a:pt x="7581" y="15907"/>
                    <a:pt x="7584" y="15899"/>
                  </a:cubicBezTo>
                  <a:cubicBezTo>
                    <a:pt x="7812" y="14505"/>
                    <a:pt x="7812" y="14505"/>
                    <a:pt x="7812" y="14505"/>
                  </a:cubicBezTo>
                  <a:cubicBezTo>
                    <a:pt x="7824" y="14507"/>
                    <a:pt x="7824" y="14507"/>
                    <a:pt x="7824" y="14507"/>
                  </a:cubicBezTo>
                  <a:cubicBezTo>
                    <a:pt x="7807" y="14495"/>
                    <a:pt x="7791" y="14484"/>
                    <a:pt x="7778" y="14474"/>
                  </a:cubicBezTo>
                  <a:cubicBezTo>
                    <a:pt x="7765" y="14465"/>
                    <a:pt x="7754" y="14457"/>
                    <a:pt x="7747" y="14451"/>
                  </a:cubicBezTo>
                  <a:cubicBezTo>
                    <a:pt x="7704" y="14498"/>
                    <a:pt x="7547" y="14653"/>
                    <a:pt x="7316" y="14657"/>
                  </a:cubicBezTo>
                  <a:cubicBezTo>
                    <a:pt x="7055" y="14661"/>
                    <a:pt x="6096" y="14661"/>
                    <a:pt x="6096" y="14661"/>
                  </a:cubicBezTo>
                  <a:cubicBezTo>
                    <a:pt x="6096" y="14625"/>
                    <a:pt x="6096" y="14625"/>
                    <a:pt x="6096" y="14625"/>
                  </a:cubicBezTo>
                  <a:cubicBezTo>
                    <a:pt x="6096" y="14625"/>
                    <a:pt x="6336" y="14625"/>
                    <a:pt x="6608" y="14624"/>
                  </a:cubicBezTo>
                  <a:cubicBezTo>
                    <a:pt x="6880" y="14624"/>
                    <a:pt x="7185" y="14623"/>
                    <a:pt x="7316" y="14621"/>
                  </a:cubicBezTo>
                  <a:cubicBezTo>
                    <a:pt x="7441" y="14619"/>
                    <a:pt x="7545" y="14568"/>
                    <a:pt x="7618" y="14516"/>
                  </a:cubicBezTo>
                  <a:cubicBezTo>
                    <a:pt x="7654" y="14491"/>
                    <a:pt x="7682" y="14465"/>
                    <a:pt x="7702" y="14446"/>
                  </a:cubicBezTo>
                  <a:cubicBezTo>
                    <a:pt x="7720" y="14428"/>
                    <a:pt x="7729" y="14416"/>
                    <a:pt x="7730" y="14416"/>
                  </a:cubicBezTo>
                  <a:cubicBezTo>
                    <a:pt x="7730" y="14415"/>
                    <a:pt x="7730" y="14415"/>
                    <a:pt x="7730" y="14415"/>
                  </a:cubicBezTo>
                  <a:cubicBezTo>
                    <a:pt x="7733" y="14403"/>
                    <a:pt x="7736" y="14365"/>
                    <a:pt x="7739" y="14317"/>
                  </a:cubicBezTo>
                  <a:cubicBezTo>
                    <a:pt x="7748" y="14165"/>
                    <a:pt x="7757" y="13897"/>
                    <a:pt x="7782" y="13774"/>
                  </a:cubicBezTo>
                  <a:cubicBezTo>
                    <a:pt x="7345" y="13792"/>
                    <a:pt x="7345" y="13792"/>
                    <a:pt x="7345" y="13792"/>
                  </a:cubicBezTo>
                  <a:cubicBezTo>
                    <a:pt x="7345" y="13792"/>
                    <a:pt x="7262" y="13795"/>
                    <a:pt x="7159" y="13802"/>
                  </a:cubicBezTo>
                  <a:cubicBezTo>
                    <a:pt x="7055" y="13809"/>
                    <a:pt x="6932" y="13820"/>
                    <a:pt x="6854" y="13836"/>
                  </a:cubicBezTo>
                  <a:cubicBezTo>
                    <a:pt x="6694" y="13869"/>
                    <a:pt x="6531" y="13889"/>
                    <a:pt x="6367" y="13906"/>
                  </a:cubicBezTo>
                  <a:cubicBezTo>
                    <a:pt x="6213" y="13921"/>
                    <a:pt x="5839" y="13922"/>
                    <a:pt x="5788" y="13922"/>
                  </a:cubicBezTo>
                  <a:cubicBezTo>
                    <a:pt x="5658" y="14016"/>
                    <a:pt x="5658" y="14016"/>
                    <a:pt x="5658" y="14016"/>
                  </a:cubicBezTo>
                  <a:cubicBezTo>
                    <a:pt x="5656" y="14024"/>
                    <a:pt x="5656" y="14024"/>
                    <a:pt x="5656" y="14024"/>
                  </a:cubicBezTo>
                  <a:cubicBezTo>
                    <a:pt x="5591" y="14193"/>
                    <a:pt x="5591" y="14193"/>
                    <a:pt x="5591" y="14193"/>
                  </a:cubicBezTo>
                  <a:cubicBezTo>
                    <a:pt x="6093" y="14634"/>
                    <a:pt x="6093" y="14634"/>
                    <a:pt x="6093" y="14634"/>
                  </a:cubicBezTo>
                  <a:cubicBezTo>
                    <a:pt x="6194" y="15919"/>
                    <a:pt x="6194" y="15919"/>
                    <a:pt x="6194" y="15919"/>
                  </a:cubicBezTo>
                  <a:lnTo>
                    <a:pt x="7545" y="15959"/>
                  </a:lnTo>
                  <a:close/>
                  <a:moveTo>
                    <a:pt x="6038" y="16676"/>
                  </a:moveTo>
                  <a:cubicBezTo>
                    <a:pt x="6044" y="16677"/>
                    <a:pt x="6052" y="16677"/>
                    <a:pt x="6061" y="16677"/>
                  </a:cubicBezTo>
                  <a:cubicBezTo>
                    <a:pt x="6104" y="16678"/>
                    <a:pt x="6175" y="16667"/>
                    <a:pt x="6219" y="16624"/>
                  </a:cubicBezTo>
                  <a:cubicBezTo>
                    <a:pt x="6247" y="16598"/>
                    <a:pt x="6263" y="16550"/>
                    <a:pt x="6266" y="16487"/>
                  </a:cubicBezTo>
                  <a:cubicBezTo>
                    <a:pt x="6273" y="16291"/>
                    <a:pt x="6274" y="16008"/>
                    <a:pt x="6274" y="15957"/>
                  </a:cubicBezTo>
                  <a:cubicBezTo>
                    <a:pt x="6183" y="15955"/>
                    <a:pt x="6183" y="15955"/>
                    <a:pt x="6183" y="15955"/>
                  </a:cubicBezTo>
                  <a:cubicBezTo>
                    <a:pt x="5949" y="16128"/>
                    <a:pt x="5949" y="16128"/>
                    <a:pt x="5949" y="16128"/>
                  </a:cubicBezTo>
                  <a:cubicBezTo>
                    <a:pt x="5962" y="16191"/>
                    <a:pt x="6026" y="16502"/>
                    <a:pt x="6038" y="16676"/>
                  </a:cubicBezTo>
                  <a:close/>
                  <a:moveTo>
                    <a:pt x="5923" y="16102"/>
                  </a:moveTo>
                  <a:cubicBezTo>
                    <a:pt x="6159" y="15928"/>
                    <a:pt x="6159" y="15928"/>
                    <a:pt x="6159" y="15928"/>
                  </a:cubicBezTo>
                  <a:cubicBezTo>
                    <a:pt x="6058" y="14652"/>
                    <a:pt x="6058" y="14652"/>
                    <a:pt x="6058" y="14652"/>
                  </a:cubicBezTo>
                  <a:cubicBezTo>
                    <a:pt x="5548" y="14203"/>
                    <a:pt x="5548" y="14203"/>
                    <a:pt x="5548" y="14203"/>
                  </a:cubicBezTo>
                  <a:cubicBezTo>
                    <a:pt x="5606" y="14053"/>
                    <a:pt x="5606" y="14053"/>
                    <a:pt x="5606" y="14053"/>
                  </a:cubicBezTo>
                  <a:cubicBezTo>
                    <a:pt x="5167" y="14370"/>
                    <a:pt x="5167" y="14370"/>
                    <a:pt x="5167" y="14370"/>
                  </a:cubicBezTo>
                  <a:cubicBezTo>
                    <a:pt x="4072" y="14994"/>
                    <a:pt x="4072" y="14994"/>
                    <a:pt x="4072" y="14994"/>
                  </a:cubicBezTo>
                  <a:cubicBezTo>
                    <a:pt x="4033" y="15015"/>
                    <a:pt x="4033" y="15015"/>
                    <a:pt x="4033" y="15015"/>
                  </a:cubicBezTo>
                  <a:cubicBezTo>
                    <a:pt x="4037" y="15018"/>
                    <a:pt x="4037" y="15018"/>
                    <a:pt x="4037" y="15018"/>
                  </a:cubicBezTo>
                  <a:cubicBezTo>
                    <a:pt x="4038" y="15021"/>
                    <a:pt x="4038" y="15021"/>
                    <a:pt x="4038" y="15021"/>
                  </a:cubicBezTo>
                  <a:cubicBezTo>
                    <a:pt x="4038" y="15021"/>
                    <a:pt x="4113" y="15144"/>
                    <a:pt x="4192" y="15279"/>
                  </a:cubicBezTo>
                  <a:cubicBezTo>
                    <a:pt x="4271" y="15414"/>
                    <a:pt x="4353" y="15559"/>
                    <a:pt x="4370" y="15612"/>
                  </a:cubicBezTo>
                  <a:cubicBezTo>
                    <a:pt x="4403" y="15709"/>
                    <a:pt x="4461" y="16027"/>
                    <a:pt x="4477" y="16114"/>
                  </a:cubicBezTo>
                  <a:lnTo>
                    <a:pt x="5923" y="16102"/>
                  </a:lnTo>
                  <a:close/>
                  <a:moveTo>
                    <a:pt x="2749" y="15694"/>
                  </a:moveTo>
                  <a:cubicBezTo>
                    <a:pt x="2819" y="15637"/>
                    <a:pt x="2889" y="15610"/>
                    <a:pt x="2901" y="15606"/>
                  </a:cubicBezTo>
                  <a:cubicBezTo>
                    <a:pt x="3979" y="15004"/>
                    <a:pt x="3979" y="15004"/>
                    <a:pt x="3979" y="15004"/>
                  </a:cubicBezTo>
                  <a:cubicBezTo>
                    <a:pt x="3909" y="14836"/>
                    <a:pt x="3909" y="14836"/>
                    <a:pt x="3909" y="14836"/>
                  </a:cubicBezTo>
                  <a:cubicBezTo>
                    <a:pt x="3882" y="14834"/>
                    <a:pt x="3806" y="14831"/>
                    <a:pt x="3716" y="14831"/>
                  </a:cubicBezTo>
                  <a:cubicBezTo>
                    <a:pt x="3607" y="14831"/>
                    <a:pt x="3478" y="14836"/>
                    <a:pt x="3404" y="14856"/>
                  </a:cubicBezTo>
                  <a:cubicBezTo>
                    <a:pt x="3403" y="14856"/>
                    <a:pt x="3403" y="14856"/>
                    <a:pt x="3403" y="14856"/>
                  </a:cubicBezTo>
                  <a:cubicBezTo>
                    <a:pt x="3401" y="14856"/>
                    <a:pt x="3401" y="14856"/>
                    <a:pt x="3401" y="14856"/>
                  </a:cubicBezTo>
                  <a:cubicBezTo>
                    <a:pt x="3401" y="14856"/>
                    <a:pt x="3394" y="14857"/>
                    <a:pt x="3379" y="14859"/>
                  </a:cubicBezTo>
                  <a:cubicBezTo>
                    <a:pt x="3336" y="14868"/>
                    <a:pt x="3236" y="14895"/>
                    <a:pt x="3135" y="14985"/>
                  </a:cubicBezTo>
                  <a:cubicBezTo>
                    <a:pt x="3079" y="15035"/>
                    <a:pt x="2984" y="15102"/>
                    <a:pt x="2893" y="15182"/>
                  </a:cubicBezTo>
                  <a:cubicBezTo>
                    <a:pt x="2751" y="15306"/>
                    <a:pt x="2611" y="15445"/>
                    <a:pt x="2589" y="15466"/>
                  </a:cubicBezTo>
                  <a:cubicBezTo>
                    <a:pt x="2587" y="15467"/>
                    <a:pt x="2587" y="15467"/>
                    <a:pt x="2587" y="15467"/>
                  </a:cubicBezTo>
                  <a:cubicBezTo>
                    <a:pt x="2586" y="15468"/>
                    <a:pt x="2586" y="15468"/>
                    <a:pt x="2586" y="15468"/>
                  </a:cubicBezTo>
                  <a:cubicBezTo>
                    <a:pt x="2585" y="15469"/>
                    <a:pt x="2441" y="15552"/>
                    <a:pt x="2306" y="15581"/>
                  </a:cubicBezTo>
                  <a:cubicBezTo>
                    <a:pt x="2242" y="15595"/>
                    <a:pt x="2202" y="15604"/>
                    <a:pt x="2178" y="15611"/>
                  </a:cubicBezTo>
                  <a:cubicBezTo>
                    <a:pt x="2312" y="15719"/>
                    <a:pt x="2368" y="15832"/>
                    <a:pt x="2383" y="15867"/>
                  </a:cubicBezTo>
                  <a:cubicBezTo>
                    <a:pt x="2608" y="15899"/>
                    <a:pt x="2608" y="15899"/>
                    <a:pt x="2608" y="15899"/>
                  </a:cubicBezTo>
                  <a:cubicBezTo>
                    <a:pt x="2635" y="15808"/>
                    <a:pt x="2692" y="15740"/>
                    <a:pt x="2749" y="15694"/>
                  </a:cubicBezTo>
                  <a:close/>
                  <a:moveTo>
                    <a:pt x="4011" y="14986"/>
                  </a:moveTo>
                  <a:cubicBezTo>
                    <a:pt x="4054" y="14962"/>
                    <a:pt x="4054" y="14962"/>
                    <a:pt x="4054" y="14962"/>
                  </a:cubicBezTo>
                  <a:cubicBezTo>
                    <a:pt x="5120" y="14355"/>
                    <a:pt x="5120" y="14355"/>
                    <a:pt x="5120" y="14355"/>
                  </a:cubicBezTo>
                  <a:cubicBezTo>
                    <a:pt x="5119" y="14353"/>
                    <a:pt x="5119" y="14351"/>
                    <a:pt x="5119" y="14348"/>
                  </a:cubicBezTo>
                  <a:cubicBezTo>
                    <a:pt x="5115" y="14338"/>
                    <a:pt x="5111" y="14326"/>
                    <a:pt x="5104" y="14311"/>
                  </a:cubicBezTo>
                  <a:cubicBezTo>
                    <a:pt x="5089" y="14275"/>
                    <a:pt x="5066" y="14226"/>
                    <a:pt x="5035" y="14173"/>
                  </a:cubicBezTo>
                  <a:cubicBezTo>
                    <a:pt x="5000" y="14114"/>
                    <a:pt x="4979" y="14060"/>
                    <a:pt x="4966" y="14022"/>
                  </a:cubicBezTo>
                  <a:cubicBezTo>
                    <a:pt x="4965" y="14020"/>
                    <a:pt x="4965" y="14020"/>
                    <a:pt x="4965" y="14020"/>
                  </a:cubicBezTo>
                  <a:cubicBezTo>
                    <a:pt x="4965" y="14020"/>
                    <a:pt x="4964" y="14016"/>
                    <a:pt x="4963" y="14011"/>
                  </a:cubicBezTo>
                  <a:cubicBezTo>
                    <a:pt x="4955" y="13987"/>
                    <a:pt x="4952" y="13972"/>
                    <a:pt x="4952" y="13971"/>
                  </a:cubicBezTo>
                  <a:cubicBezTo>
                    <a:pt x="4955" y="13971"/>
                    <a:pt x="4955" y="13971"/>
                    <a:pt x="4955" y="13971"/>
                  </a:cubicBezTo>
                  <a:cubicBezTo>
                    <a:pt x="4954" y="13969"/>
                    <a:pt x="4954" y="13968"/>
                    <a:pt x="4954" y="13966"/>
                  </a:cubicBezTo>
                  <a:cubicBezTo>
                    <a:pt x="4952" y="13944"/>
                    <a:pt x="4953" y="13929"/>
                    <a:pt x="4953" y="13908"/>
                  </a:cubicBezTo>
                  <a:cubicBezTo>
                    <a:pt x="4953" y="13886"/>
                    <a:pt x="4954" y="13867"/>
                    <a:pt x="4955" y="13857"/>
                  </a:cubicBezTo>
                  <a:cubicBezTo>
                    <a:pt x="4963" y="13766"/>
                    <a:pt x="4979" y="13649"/>
                    <a:pt x="4985" y="13614"/>
                  </a:cubicBezTo>
                  <a:cubicBezTo>
                    <a:pt x="4989" y="13582"/>
                    <a:pt x="5000" y="13509"/>
                    <a:pt x="5007" y="13444"/>
                  </a:cubicBezTo>
                  <a:cubicBezTo>
                    <a:pt x="5011" y="13410"/>
                    <a:pt x="5014" y="13377"/>
                    <a:pt x="5015" y="13357"/>
                  </a:cubicBezTo>
                  <a:cubicBezTo>
                    <a:pt x="5013" y="13357"/>
                    <a:pt x="5013" y="13357"/>
                    <a:pt x="5013" y="13357"/>
                  </a:cubicBezTo>
                  <a:cubicBezTo>
                    <a:pt x="5015" y="13357"/>
                    <a:pt x="5015" y="13357"/>
                    <a:pt x="5015" y="13357"/>
                  </a:cubicBezTo>
                  <a:cubicBezTo>
                    <a:pt x="5015" y="13353"/>
                    <a:pt x="5016" y="13350"/>
                    <a:pt x="5016" y="13347"/>
                  </a:cubicBezTo>
                  <a:cubicBezTo>
                    <a:pt x="5016" y="13339"/>
                    <a:pt x="5016" y="13328"/>
                    <a:pt x="5016" y="13312"/>
                  </a:cubicBezTo>
                  <a:cubicBezTo>
                    <a:pt x="5016" y="13219"/>
                    <a:pt x="5001" y="13003"/>
                    <a:pt x="4848" y="12841"/>
                  </a:cubicBezTo>
                  <a:cubicBezTo>
                    <a:pt x="4841" y="12836"/>
                    <a:pt x="4841" y="12836"/>
                    <a:pt x="4841" y="12836"/>
                  </a:cubicBezTo>
                  <a:cubicBezTo>
                    <a:pt x="4814" y="12873"/>
                    <a:pt x="4780" y="12922"/>
                    <a:pt x="4752" y="12966"/>
                  </a:cubicBezTo>
                  <a:cubicBezTo>
                    <a:pt x="4732" y="12996"/>
                    <a:pt x="4715" y="13023"/>
                    <a:pt x="4703" y="13042"/>
                  </a:cubicBezTo>
                  <a:cubicBezTo>
                    <a:pt x="4703" y="13042"/>
                    <a:pt x="4703" y="13042"/>
                    <a:pt x="4703" y="13042"/>
                  </a:cubicBezTo>
                  <a:cubicBezTo>
                    <a:pt x="4703" y="13042"/>
                    <a:pt x="4703" y="13042"/>
                    <a:pt x="4703" y="13042"/>
                  </a:cubicBezTo>
                  <a:cubicBezTo>
                    <a:pt x="4702" y="13043"/>
                    <a:pt x="4702" y="13044"/>
                    <a:pt x="4701" y="13045"/>
                  </a:cubicBezTo>
                  <a:cubicBezTo>
                    <a:pt x="4701" y="13046"/>
                    <a:pt x="4700" y="13048"/>
                    <a:pt x="4699" y="13050"/>
                  </a:cubicBezTo>
                  <a:cubicBezTo>
                    <a:pt x="4690" y="13071"/>
                    <a:pt x="4667" y="13129"/>
                    <a:pt x="4643" y="13190"/>
                  </a:cubicBezTo>
                  <a:cubicBezTo>
                    <a:pt x="4613" y="13267"/>
                    <a:pt x="4581" y="13353"/>
                    <a:pt x="4578" y="13373"/>
                  </a:cubicBezTo>
                  <a:cubicBezTo>
                    <a:pt x="4568" y="13422"/>
                    <a:pt x="4549" y="13534"/>
                    <a:pt x="4544" y="13582"/>
                  </a:cubicBezTo>
                  <a:cubicBezTo>
                    <a:pt x="4538" y="13633"/>
                    <a:pt x="4484" y="14005"/>
                    <a:pt x="4471" y="14058"/>
                  </a:cubicBezTo>
                  <a:cubicBezTo>
                    <a:pt x="4458" y="14110"/>
                    <a:pt x="4444" y="14151"/>
                    <a:pt x="4415" y="14194"/>
                  </a:cubicBezTo>
                  <a:cubicBezTo>
                    <a:pt x="4396" y="14222"/>
                    <a:pt x="4367" y="14262"/>
                    <a:pt x="4349" y="14286"/>
                  </a:cubicBezTo>
                  <a:cubicBezTo>
                    <a:pt x="4349" y="14287"/>
                    <a:pt x="4349" y="14287"/>
                    <a:pt x="4349" y="14287"/>
                  </a:cubicBezTo>
                  <a:cubicBezTo>
                    <a:pt x="3942" y="14821"/>
                    <a:pt x="3942" y="14821"/>
                    <a:pt x="3942" y="14821"/>
                  </a:cubicBezTo>
                  <a:lnTo>
                    <a:pt x="4011" y="14986"/>
                  </a:lnTo>
                  <a:close/>
                  <a:moveTo>
                    <a:pt x="2709" y="13702"/>
                  </a:moveTo>
                  <a:cubicBezTo>
                    <a:pt x="2709" y="13702"/>
                    <a:pt x="2709" y="13702"/>
                    <a:pt x="2709" y="13702"/>
                  </a:cubicBezTo>
                  <a:cubicBezTo>
                    <a:pt x="2710" y="13697"/>
                    <a:pt x="2711" y="13691"/>
                    <a:pt x="2713" y="13684"/>
                  </a:cubicBezTo>
                  <a:cubicBezTo>
                    <a:pt x="2713" y="13681"/>
                    <a:pt x="2713" y="13679"/>
                    <a:pt x="2713" y="13679"/>
                  </a:cubicBezTo>
                  <a:cubicBezTo>
                    <a:pt x="2714" y="13679"/>
                    <a:pt x="2714" y="13679"/>
                    <a:pt x="2714" y="13679"/>
                  </a:cubicBezTo>
                  <a:cubicBezTo>
                    <a:pt x="2728" y="13611"/>
                    <a:pt x="2759" y="13488"/>
                    <a:pt x="2811" y="13405"/>
                  </a:cubicBezTo>
                  <a:cubicBezTo>
                    <a:pt x="2842" y="13357"/>
                    <a:pt x="2894" y="13339"/>
                    <a:pt x="2956" y="13317"/>
                  </a:cubicBezTo>
                  <a:cubicBezTo>
                    <a:pt x="3066" y="13279"/>
                    <a:pt x="3268" y="13263"/>
                    <a:pt x="3357" y="13230"/>
                  </a:cubicBezTo>
                  <a:cubicBezTo>
                    <a:pt x="3363" y="13227"/>
                    <a:pt x="3411" y="13203"/>
                    <a:pt x="3465" y="13165"/>
                  </a:cubicBezTo>
                  <a:cubicBezTo>
                    <a:pt x="3523" y="13124"/>
                    <a:pt x="3585" y="13066"/>
                    <a:pt x="3606" y="13005"/>
                  </a:cubicBezTo>
                  <a:cubicBezTo>
                    <a:pt x="3619" y="12968"/>
                    <a:pt x="3625" y="12936"/>
                    <a:pt x="3625" y="12907"/>
                  </a:cubicBezTo>
                  <a:cubicBezTo>
                    <a:pt x="3625" y="12838"/>
                    <a:pt x="3592" y="12788"/>
                    <a:pt x="3539" y="12737"/>
                  </a:cubicBezTo>
                  <a:cubicBezTo>
                    <a:pt x="3466" y="12665"/>
                    <a:pt x="3290" y="12542"/>
                    <a:pt x="3145" y="12499"/>
                  </a:cubicBezTo>
                  <a:cubicBezTo>
                    <a:pt x="2995" y="12454"/>
                    <a:pt x="2865" y="12410"/>
                    <a:pt x="2625" y="12386"/>
                  </a:cubicBezTo>
                  <a:cubicBezTo>
                    <a:pt x="2438" y="12368"/>
                    <a:pt x="2337" y="12356"/>
                    <a:pt x="2300" y="12352"/>
                  </a:cubicBezTo>
                  <a:cubicBezTo>
                    <a:pt x="2246" y="12347"/>
                    <a:pt x="2071" y="12330"/>
                    <a:pt x="1984" y="12323"/>
                  </a:cubicBezTo>
                  <a:cubicBezTo>
                    <a:pt x="1941" y="12374"/>
                    <a:pt x="1890" y="12441"/>
                    <a:pt x="1833" y="12509"/>
                  </a:cubicBezTo>
                  <a:cubicBezTo>
                    <a:pt x="1721" y="12644"/>
                    <a:pt x="1601" y="12784"/>
                    <a:pt x="1562" y="12830"/>
                  </a:cubicBezTo>
                  <a:cubicBezTo>
                    <a:pt x="1595" y="12847"/>
                    <a:pt x="1595" y="12847"/>
                    <a:pt x="1595" y="12847"/>
                  </a:cubicBezTo>
                  <a:cubicBezTo>
                    <a:pt x="1662" y="13323"/>
                    <a:pt x="1662" y="13323"/>
                    <a:pt x="1662" y="13323"/>
                  </a:cubicBezTo>
                  <a:cubicBezTo>
                    <a:pt x="1908" y="13411"/>
                    <a:pt x="1908" y="13411"/>
                    <a:pt x="1908" y="13411"/>
                  </a:cubicBezTo>
                  <a:cubicBezTo>
                    <a:pt x="1908" y="13411"/>
                    <a:pt x="1908" y="13411"/>
                    <a:pt x="1908" y="13411"/>
                  </a:cubicBezTo>
                  <a:lnTo>
                    <a:pt x="2709" y="13702"/>
                  </a:lnTo>
                  <a:close/>
                  <a:moveTo>
                    <a:pt x="1503" y="13521"/>
                  </a:moveTo>
                  <a:cubicBezTo>
                    <a:pt x="1503" y="13521"/>
                    <a:pt x="1534" y="13473"/>
                    <a:pt x="1565" y="13425"/>
                  </a:cubicBezTo>
                  <a:cubicBezTo>
                    <a:pt x="1581" y="13400"/>
                    <a:pt x="1597" y="13376"/>
                    <a:pt x="1609" y="13358"/>
                  </a:cubicBezTo>
                  <a:cubicBezTo>
                    <a:pt x="1615" y="13348"/>
                    <a:pt x="1620" y="13341"/>
                    <a:pt x="1623" y="13335"/>
                  </a:cubicBezTo>
                  <a:cubicBezTo>
                    <a:pt x="1624" y="13334"/>
                    <a:pt x="1625" y="13333"/>
                    <a:pt x="1625" y="13332"/>
                  </a:cubicBezTo>
                  <a:cubicBezTo>
                    <a:pt x="1561" y="12872"/>
                    <a:pt x="1561" y="12872"/>
                    <a:pt x="1561" y="12872"/>
                  </a:cubicBezTo>
                  <a:cubicBezTo>
                    <a:pt x="1329" y="12758"/>
                    <a:pt x="1329" y="12758"/>
                    <a:pt x="1329" y="12758"/>
                  </a:cubicBezTo>
                  <a:cubicBezTo>
                    <a:pt x="1307" y="12763"/>
                    <a:pt x="1230" y="12780"/>
                    <a:pt x="1153" y="12797"/>
                  </a:cubicBezTo>
                  <a:cubicBezTo>
                    <a:pt x="1107" y="12807"/>
                    <a:pt x="1061" y="12817"/>
                    <a:pt x="1027" y="12825"/>
                  </a:cubicBezTo>
                  <a:cubicBezTo>
                    <a:pt x="1010" y="12829"/>
                    <a:pt x="995" y="12832"/>
                    <a:pt x="985" y="12835"/>
                  </a:cubicBezTo>
                  <a:cubicBezTo>
                    <a:pt x="980" y="12836"/>
                    <a:pt x="969" y="12839"/>
                    <a:pt x="969" y="12839"/>
                  </a:cubicBezTo>
                  <a:cubicBezTo>
                    <a:pt x="969" y="12838"/>
                    <a:pt x="969" y="12838"/>
                    <a:pt x="969" y="12838"/>
                  </a:cubicBezTo>
                  <a:cubicBezTo>
                    <a:pt x="931" y="12846"/>
                    <a:pt x="815" y="12870"/>
                    <a:pt x="815" y="12870"/>
                  </a:cubicBezTo>
                  <a:cubicBezTo>
                    <a:pt x="772" y="12880"/>
                    <a:pt x="733" y="12887"/>
                    <a:pt x="702" y="12894"/>
                  </a:cubicBezTo>
                  <a:cubicBezTo>
                    <a:pt x="686" y="12898"/>
                    <a:pt x="673" y="12901"/>
                    <a:pt x="664" y="12903"/>
                  </a:cubicBezTo>
                  <a:cubicBezTo>
                    <a:pt x="668" y="12922"/>
                    <a:pt x="670" y="12940"/>
                    <a:pt x="671" y="12956"/>
                  </a:cubicBezTo>
                  <a:cubicBezTo>
                    <a:pt x="671" y="12963"/>
                    <a:pt x="671" y="12973"/>
                    <a:pt x="671" y="12986"/>
                  </a:cubicBezTo>
                  <a:cubicBezTo>
                    <a:pt x="671" y="13035"/>
                    <a:pt x="669" y="13125"/>
                    <a:pt x="664" y="13208"/>
                  </a:cubicBezTo>
                  <a:cubicBezTo>
                    <a:pt x="1024" y="13204"/>
                    <a:pt x="1024" y="13204"/>
                    <a:pt x="1024" y="13204"/>
                  </a:cubicBezTo>
                  <a:cubicBezTo>
                    <a:pt x="1126" y="13298"/>
                    <a:pt x="1126" y="13298"/>
                    <a:pt x="1126" y="13298"/>
                  </a:cubicBezTo>
                  <a:cubicBezTo>
                    <a:pt x="1456" y="13587"/>
                    <a:pt x="1456" y="13587"/>
                    <a:pt x="1456" y="13587"/>
                  </a:cubicBezTo>
                  <a:lnTo>
                    <a:pt x="1503" y="13521"/>
                  </a:lnTo>
                  <a:close/>
                  <a:moveTo>
                    <a:pt x="4305" y="14281"/>
                  </a:moveTo>
                  <a:cubicBezTo>
                    <a:pt x="4312" y="14272"/>
                    <a:pt x="4359" y="14210"/>
                    <a:pt x="4384" y="14173"/>
                  </a:cubicBezTo>
                  <a:cubicBezTo>
                    <a:pt x="4409" y="14134"/>
                    <a:pt x="4422" y="14099"/>
                    <a:pt x="4434" y="14050"/>
                  </a:cubicBezTo>
                  <a:cubicBezTo>
                    <a:pt x="4446" y="14002"/>
                    <a:pt x="4501" y="13625"/>
                    <a:pt x="4506" y="13578"/>
                  </a:cubicBezTo>
                  <a:cubicBezTo>
                    <a:pt x="4512" y="13527"/>
                    <a:pt x="4531" y="13416"/>
                    <a:pt x="4541" y="13366"/>
                  </a:cubicBezTo>
                  <a:cubicBezTo>
                    <a:pt x="4546" y="13337"/>
                    <a:pt x="4578" y="13255"/>
                    <a:pt x="4608" y="13177"/>
                  </a:cubicBezTo>
                  <a:cubicBezTo>
                    <a:pt x="4623" y="13137"/>
                    <a:pt x="4653" y="13062"/>
                    <a:pt x="4653" y="13062"/>
                  </a:cubicBezTo>
                  <a:cubicBezTo>
                    <a:pt x="4653" y="13062"/>
                    <a:pt x="4653" y="13062"/>
                    <a:pt x="4653" y="13062"/>
                  </a:cubicBezTo>
                  <a:cubicBezTo>
                    <a:pt x="4653" y="13062"/>
                    <a:pt x="4654" y="13061"/>
                    <a:pt x="4650" y="13059"/>
                  </a:cubicBezTo>
                  <a:cubicBezTo>
                    <a:pt x="4646" y="13057"/>
                    <a:pt x="4637" y="13054"/>
                    <a:pt x="4637" y="13054"/>
                  </a:cubicBezTo>
                  <a:cubicBezTo>
                    <a:pt x="4637" y="13054"/>
                    <a:pt x="4637" y="13054"/>
                    <a:pt x="4637" y="13054"/>
                  </a:cubicBezTo>
                  <a:cubicBezTo>
                    <a:pt x="4291" y="12955"/>
                    <a:pt x="4291" y="12955"/>
                    <a:pt x="4291" y="12955"/>
                  </a:cubicBezTo>
                  <a:cubicBezTo>
                    <a:pt x="4286" y="12953"/>
                    <a:pt x="4286" y="12953"/>
                    <a:pt x="4286" y="12953"/>
                  </a:cubicBezTo>
                  <a:cubicBezTo>
                    <a:pt x="4286" y="12953"/>
                    <a:pt x="4281" y="12953"/>
                    <a:pt x="4281" y="12945"/>
                  </a:cubicBezTo>
                  <a:cubicBezTo>
                    <a:pt x="4281" y="12944"/>
                    <a:pt x="4282" y="12943"/>
                    <a:pt x="4282" y="12942"/>
                  </a:cubicBezTo>
                  <a:cubicBezTo>
                    <a:pt x="4281" y="12942"/>
                    <a:pt x="4281" y="12942"/>
                    <a:pt x="4281" y="12942"/>
                  </a:cubicBezTo>
                  <a:cubicBezTo>
                    <a:pt x="4283" y="12938"/>
                    <a:pt x="4284" y="12933"/>
                    <a:pt x="4284" y="12928"/>
                  </a:cubicBezTo>
                  <a:cubicBezTo>
                    <a:pt x="4284" y="12910"/>
                    <a:pt x="4271" y="12884"/>
                    <a:pt x="4258" y="12864"/>
                  </a:cubicBezTo>
                  <a:cubicBezTo>
                    <a:pt x="4251" y="12854"/>
                    <a:pt x="4244" y="12845"/>
                    <a:pt x="4239" y="12839"/>
                  </a:cubicBezTo>
                  <a:cubicBezTo>
                    <a:pt x="4236" y="12836"/>
                    <a:pt x="4234" y="12833"/>
                    <a:pt x="4232" y="12831"/>
                  </a:cubicBezTo>
                  <a:cubicBezTo>
                    <a:pt x="4232" y="12830"/>
                    <a:pt x="4231" y="12829"/>
                    <a:pt x="4230" y="12829"/>
                  </a:cubicBezTo>
                  <a:cubicBezTo>
                    <a:pt x="4230" y="12828"/>
                    <a:pt x="4230" y="12828"/>
                    <a:pt x="4230" y="12828"/>
                  </a:cubicBezTo>
                  <a:cubicBezTo>
                    <a:pt x="4230" y="12828"/>
                    <a:pt x="4230" y="12828"/>
                    <a:pt x="4230" y="12828"/>
                  </a:cubicBezTo>
                  <a:cubicBezTo>
                    <a:pt x="4222" y="12821"/>
                    <a:pt x="4191" y="12797"/>
                    <a:pt x="4153" y="12762"/>
                  </a:cubicBezTo>
                  <a:cubicBezTo>
                    <a:pt x="4083" y="12700"/>
                    <a:pt x="3988" y="12613"/>
                    <a:pt x="3965" y="12592"/>
                  </a:cubicBezTo>
                  <a:cubicBezTo>
                    <a:pt x="3951" y="12618"/>
                    <a:pt x="3930" y="12647"/>
                    <a:pt x="3892" y="12680"/>
                  </a:cubicBezTo>
                  <a:cubicBezTo>
                    <a:pt x="3823" y="12739"/>
                    <a:pt x="3651" y="12782"/>
                    <a:pt x="3617" y="12790"/>
                  </a:cubicBezTo>
                  <a:cubicBezTo>
                    <a:pt x="3638" y="12824"/>
                    <a:pt x="3651" y="12862"/>
                    <a:pt x="3651" y="12907"/>
                  </a:cubicBezTo>
                  <a:cubicBezTo>
                    <a:pt x="3651" y="12939"/>
                    <a:pt x="3645" y="12975"/>
                    <a:pt x="3631" y="13014"/>
                  </a:cubicBezTo>
                  <a:cubicBezTo>
                    <a:pt x="3580" y="13154"/>
                    <a:pt x="3369" y="13253"/>
                    <a:pt x="3368" y="13254"/>
                  </a:cubicBezTo>
                  <a:cubicBezTo>
                    <a:pt x="3367" y="13254"/>
                    <a:pt x="3367" y="13254"/>
                    <a:pt x="3367" y="13254"/>
                  </a:cubicBezTo>
                  <a:cubicBezTo>
                    <a:pt x="3367" y="13254"/>
                    <a:pt x="3367" y="13254"/>
                    <a:pt x="3367" y="13254"/>
                  </a:cubicBezTo>
                  <a:cubicBezTo>
                    <a:pt x="3271" y="13290"/>
                    <a:pt x="3069" y="13305"/>
                    <a:pt x="2965" y="13342"/>
                  </a:cubicBezTo>
                  <a:cubicBezTo>
                    <a:pt x="2902" y="13364"/>
                    <a:pt x="2857" y="13381"/>
                    <a:pt x="2834" y="13419"/>
                  </a:cubicBezTo>
                  <a:cubicBezTo>
                    <a:pt x="2798" y="13475"/>
                    <a:pt x="2772" y="13553"/>
                    <a:pt x="2755" y="13618"/>
                  </a:cubicBezTo>
                  <a:cubicBezTo>
                    <a:pt x="2747" y="13649"/>
                    <a:pt x="2741" y="13677"/>
                    <a:pt x="2737" y="13698"/>
                  </a:cubicBezTo>
                  <a:cubicBezTo>
                    <a:pt x="2737" y="13702"/>
                    <a:pt x="2738" y="13708"/>
                    <a:pt x="2739" y="13713"/>
                  </a:cubicBezTo>
                  <a:lnTo>
                    <a:pt x="4305" y="14281"/>
                  </a:lnTo>
                  <a:close/>
                  <a:moveTo>
                    <a:pt x="2509" y="11727"/>
                  </a:moveTo>
                  <a:cubicBezTo>
                    <a:pt x="2681" y="11678"/>
                    <a:pt x="2681" y="11678"/>
                    <a:pt x="2681" y="11678"/>
                  </a:cubicBezTo>
                  <a:cubicBezTo>
                    <a:pt x="2777" y="11584"/>
                    <a:pt x="2777" y="11584"/>
                    <a:pt x="2777" y="11584"/>
                  </a:cubicBezTo>
                  <a:cubicBezTo>
                    <a:pt x="2847" y="11400"/>
                    <a:pt x="2847" y="11400"/>
                    <a:pt x="2847" y="11400"/>
                  </a:cubicBezTo>
                  <a:cubicBezTo>
                    <a:pt x="2877" y="11260"/>
                    <a:pt x="2877" y="11260"/>
                    <a:pt x="2877" y="11260"/>
                  </a:cubicBezTo>
                  <a:cubicBezTo>
                    <a:pt x="2877" y="11250"/>
                    <a:pt x="2879" y="11179"/>
                    <a:pt x="2879" y="11146"/>
                  </a:cubicBezTo>
                  <a:cubicBezTo>
                    <a:pt x="2879" y="11141"/>
                    <a:pt x="2879" y="11136"/>
                    <a:pt x="2879" y="11133"/>
                  </a:cubicBezTo>
                  <a:cubicBezTo>
                    <a:pt x="2879" y="11133"/>
                    <a:pt x="2878" y="11133"/>
                    <a:pt x="2876" y="11131"/>
                  </a:cubicBezTo>
                  <a:cubicBezTo>
                    <a:pt x="2872" y="11129"/>
                    <a:pt x="2864" y="11124"/>
                    <a:pt x="2847" y="11119"/>
                  </a:cubicBezTo>
                  <a:cubicBezTo>
                    <a:pt x="2828" y="11113"/>
                    <a:pt x="2784" y="11100"/>
                    <a:pt x="2745" y="11088"/>
                  </a:cubicBezTo>
                  <a:cubicBezTo>
                    <a:pt x="2725" y="11082"/>
                    <a:pt x="2707" y="11076"/>
                    <a:pt x="2693" y="11072"/>
                  </a:cubicBezTo>
                  <a:cubicBezTo>
                    <a:pt x="2690" y="11072"/>
                    <a:pt x="2688" y="11071"/>
                    <a:pt x="2686" y="11071"/>
                  </a:cubicBezTo>
                  <a:cubicBezTo>
                    <a:pt x="2644" y="11126"/>
                    <a:pt x="2609" y="11175"/>
                    <a:pt x="2577" y="11227"/>
                  </a:cubicBezTo>
                  <a:cubicBezTo>
                    <a:pt x="2546" y="11275"/>
                    <a:pt x="2517" y="11323"/>
                    <a:pt x="2482" y="11389"/>
                  </a:cubicBezTo>
                  <a:cubicBezTo>
                    <a:pt x="2418" y="11512"/>
                    <a:pt x="2360" y="11642"/>
                    <a:pt x="2322" y="11740"/>
                  </a:cubicBezTo>
                  <a:cubicBezTo>
                    <a:pt x="2322" y="11740"/>
                    <a:pt x="2330" y="11741"/>
                    <a:pt x="2335" y="11741"/>
                  </a:cubicBezTo>
                  <a:lnTo>
                    <a:pt x="2509" y="11727"/>
                  </a:lnTo>
                  <a:close/>
                  <a:moveTo>
                    <a:pt x="2801" y="11590"/>
                  </a:moveTo>
                  <a:cubicBezTo>
                    <a:pt x="2899" y="11701"/>
                    <a:pt x="2899" y="11701"/>
                    <a:pt x="2899" y="11701"/>
                  </a:cubicBezTo>
                  <a:cubicBezTo>
                    <a:pt x="3242" y="11820"/>
                    <a:pt x="3242" y="11820"/>
                    <a:pt x="3242" y="11820"/>
                  </a:cubicBezTo>
                  <a:cubicBezTo>
                    <a:pt x="3391" y="11896"/>
                    <a:pt x="3391" y="11896"/>
                    <a:pt x="3391" y="11896"/>
                  </a:cubicBezTo>
                  <a:cubicBezTo>
                    <a:pt x="3611" y="12176"/>
                    <a:pt x="3611" y="12176"/>
                    <a:pt x="3611" y="12176"/>
                  </a:cubicBezTo>
                  <a:cubicBezTo>
                    <a:pt x="3811" y="12378"/>
                    <a:pt x="3811" y="12378"/>
                    <a:pt x="3811" y="12378"/>
                  </a:cubicBezTo>
                  <a:cubicBezTo>
                    <a:pt x="3892" y="12646"/>
                    <a:pt x="3892" y="12646"/>
                    <a:pt x="3892" y="12646"/>
                  </a:cubicBezTo>
                  <a:cubicBezTo>
                    <a:pt x="3945" y="12595"/>
                    <a:pt x="3953" y="12558"/>
                    <a:pt x="3966" y="12522"/>
                  </a:cubicBezTo>
                  <a:cubicBezTo>
                    <a:pt x="3980" y="12486"/>
                    <a:pt x="4011" y="12370"/>
                    <a:pt x="4022" y="12338"/>
                  </a:cubicBezTo>
                  <a:cubicBezTo>
                    <a:pt x="4028" y="12320"/>
                    <a:pt x="4035" y="12294"/>
                    <a:pt x="4047" y="12266"/>
                  </a:cubicBezTo>
                  <a:cubicBezTo>
                    <a:pt x="4042" y="12261"/>
                    <a:pt x="4033" y="12254"/>
                    <a:pt x="4021" y="12244"/>
                  </a:cubicBezTo>
                  <a:cubicBezTo>
                    <a:pt x="3971" y="12201"/>
                    <a:pt x="3877" y="12119"/>
                    <a:pt x="3877" y="12119"/>
                  </a:cubicBezTo>
                  <a:cubicBezTo>
                    <a:pt x="3876" y="12117"/>
                    <a:pt x="3876" y="12117"/>
                    <a:pt x="3876" y="12117"/>
                  </a:cubicBezTo>
                  <a:cubicBezTo>
                    <a:pt x="3737" y="11825"/>
                    <a:pt x="3737" y="11825"/>
                    <a:pt x="3737" y="11825"/>
                  </a:cubicBezTo>
                  <a:cubicBezTo>
                    <a:pt x="3726" y="11817"/>
                    <a:pt x="3686" y="11788"/>
                    <a:pt x="3645" y="11758"/>
                  </a:cubicBezTo>
                  <a:cubicBezTo>
                    <a:pt x="3622" y="11741"/>
                    <a:pt x="3598" y="11723"/>
                    <a:pt x="3580" y="11711"/>
                  </a:cubicBezTo>
                  <a:cubicBezTo>
                    <a:pt x="3571" y="11704"/>
                    <a:pt x="3564" y="11699"/>
                    <a:pt x="3558" y="11695"/>
                  </a:cubicBezTo>
                  <a:cubicBezTo>
                    <a:pt x="3556" y="11693"/>
                    <a:pt x="3554" y="11692"/>
                    <a:pt x="3552" y="11691"/>
                  </a:cubicBezTo>
                  <a:cubicBezTo>
                    <a:pt x="3552" y="11691"/>
                    <a:pt x="3552" y="11690"/>
                    <a:pt x="3551" y="11690"/>
                  </a:cubicBezTo>
                  <a:cubicBezTo>
                    <a:pt x="3549" y="11689"/>
                    <a:pt x="3549" y="11688"/>
                    <a:pt x="3548" y="11688"/>
                  </a:cubicBezTo>
                  <a:cubicBezTo>
                    <a:pt x="3546" y="11685"/>
                    <a:pt x="3546" y="11685"/>
                    <a:pt x="3545" y="11684"/>
                  </a:cubicBezTo>
                  <a:cubicBezTo>
                    <a:pt x="3536" y="11668"/>
                    <a:pt x="3462" y="11502"/>
                    <a:pt x="3450" y="11475"/>
                  </a:cubicBezTo>
                  <a:cubicBezTo>
                    <a:pt x="3152" y="11316"/>
                    <a:pt x="3152" y="11316"/>
                    <a:pt x="3152" y="11316"/>
                  </a:cubicBezTo>
                  <a:cubicBezTo>
                    <a:pt x="3164" y="11294"/>
                    <a:pt x="3164" y="11294"/>
                    <a:pt x="3164" y="11294"/>
                  </a:cubicBezTo>
                  <a:cubicBezTo>
                    <a:pt x="3469" y="11457"/>
                    <a:pt x="3469" y="11457"/>
                    <a:pt x="3469" y="11457"/>
                  </a:cubicBezTo>
                  <a:cubicBezTo>
                    <a:pt x="3470" y="11461"/>
                    <a:pt x="3470" y="11461"/>
                    <a:pt x="3470" y="11461"/>
                  </a:cubicBezTo>
                  <a:cubicBezTo>
                    <a:pt x="3470" y="11461"/>
                    <a:pt x="3494" y="11514"/>
                    <a:pt x="3518" y="11568"/>
                  </a:cubicBezTo>
                  <a:cubicBezTo>
                    <a:pt x="3530" y="11594"/>
                    <a:pt x="3543" y="11621"/>
                    <a:pt x="3552" y="11641"/>
                  </a:cubicBezTo>
                  <a:cubicBezTo>
                    <a:pt x="3556" y="11651"/>
                    <a:pt x="3560" y="11659"/>
                    <a:pt x="3563" y="11665"/>
                  </a:cubicBezTo>
                  <a:cubicBezTo>
                    <a:pt x="3564" y="11667"/>
                    <a:pt x="3565" y="11669"/>
                    <a:pt x="3566" y="11670"/>
                  </a:cubicBezTo>
                  <a:cubicBezTo>
                    <a:pt x="3578" y="11679"/>
                    <a:pt x="3619" y="11709"/>
                    <a:pt x="3662" y="11740"/>
                  </a:cubicBezTo>
                  <a:cubicBezTo>
                    <a:pt x="3708" y="11773"/>
                    <a:pt x="3754" y="11807"/>
                    <a:pt x="3754" y="11807"/>
                  </a:cubicBezTo>
                  <a:cubicBezTo>
                    <a:pt x="3756" y="11809"/>
                    <a:pt x="3756" y="11809"/>
                    <a:pt x="3756" y="11809"/>
                  </a:cubicBezTo>
                  <a:cubicBezTo>
                    <a:pt x="3896" y="12102"/>
                    <a:pt x="3896" y="12102"/>
                    <a:pt x="3896" y="12102"/>
                  </a:cubicBezTo>
                  <a:cubicBezTo>
                    <a:pt x="3904" y="12110"/>
                    <a:pt x="3942" y="12143"/>
                    <a:pt x="3980" y="12176"/>
                  </a:cubicBezTo>
                  <a:cubicBezTo>
                    <a:pt x="4002" y="12194"/>
                    <a:pt x="4023" y="12213"/>
                    <a:pt x="4040" y="12227"/>
                  </a:cubicBezTo>
                  <a:cubicBezTo>
                    <a:pt x="4047" y="12234"/>
                    <a:pt x="4053" y="12239"/>
                    <a:pt x="4058" y="12243"/>
                  </a:cubicBezTo>
                  <a:cubicBezTo>
                    <a:pt x="4066" y="12227"/>
                    <a:pt x="4076" y="12212"/>
                    <a:pt x="4089" y="12197"/>
                  </a:cubicBezTo>
                  <a:cubicBezTo>
                    <a:pt x="4106" y="12177"/>
                    <a:pt x="4128" y="12154"/>
                    <a:pt x="4151" y="12133"/>
                  </a:cubicBezTo>
                  <a:cubicBezTo>
                    <a:pt x="4184" y="12102"/>
                    <a:pt x="4216" y="12078"/>
                    <a:pt x="4217" y="12076"/>
                  </a:cubicBezTo>
                  <a:cubicBezTo>
                    <a:pt x="4222" y="12082"/>
                    <a:pt x="4222" y="12082"/>
                    <a:pt x="4222" y="12082"/>
                  </a:cubicBezTo>
                  <a:cubicBezTo>
                    <a:pt x="4217" y="12077"/>
                    <a:pt x="4217" y="12077"/>
                    <a:pt x="4217" y="12077"/>
                  </a:cubicBezTo>
                  <a:cubicBezTo>
                    <a:pt x="4226" y="12063"/>
                    <a:pt x="4226" y="12063"/>
                    <a:pt x="4226" y="12063"/>
                  </a:cubicBezTo>
                  <a:cubicBezTo>
                    <a:pt x="4224" y="12060"/>
                    <a:pt x="4223" y="12059"/>
                    <a:pt x="4223" y="12059"/>
                  </a:cubicBezTo>
                  <a:cubicBezTo>
                    <a:pt x="4223" y="12057"/>
                    <a:pt x="4223" y="12057"/>
                    <a:pt x="4223" y="12057"/>
                  </a:cubicBezTo>
                  <a:cubicBezTo>
                    <a:pt x="3414" y="10998"/>
                    <a:pt x="3414" y="10998"/>
                    <a:pt x="3414" y="10998"/>
                  </a:cubicBezTo>
                  <a:cubicBezTo>
                    <a:pt x="3414" y="10998"/>
                    <a:pt x="3414" y="10998"/>
                    <a:pt x="3414" y="10998"/>
                  </a:cubicBezTo>
                  <a:cubicBezTo>
                    <a:pt x="3173" y="10687"/>
                    <a:pt x="3173" y="10687"/>
                    <a:pt x="3173" y="10687"/>
                  </a:cubicBezTo>
                  <a:cubicBezTo>
                    <a:pt x="3122" y="10706"/>
                    <a:pt x="2993" y="10758"/>
                    <a:pt x="2895" y="10848"/>
                  </a:cubicBezTo>
                  <a:cubicBezTo>
                    <a:pt x="2885" y="10858"/>
                    <a:pt x="2868" y="10874"/>
                    <a:pt x="2844" y="10896"/>
                  </a:cubicBezTo>
                  <a:cubicBezTo>
                    <a:pt x="2804" y="10935"/>
                    <a:pt x="2751" y="10988"/>
                    <a:pt x="2705" y="11047"/>
                  </a:cubicBezTo>
                  <a:cubicBezTo>
                    <a:pt x="2704" y="11048"/>
                    <a:pt x="2703" y="11049"/>
                    <a:pt x="2703" y="11050"/>
                  </a:cubicBezTo>
                  <a:cubicBezTo>
                    <a:pt x="2746" y="11062"/>
                    <a:pt x="2826" y="11087"/>
                    <a:pt x="2854" y="11096"/>
                  </a:cubicBezTo>
                  <a:cubicBezTo>
                    <a:pt x="2875" y="11102"/>
                    <a:pt x="2886" y="11108"/>
                    <a:pt x="2892" y="11112"/>
                  </a:cubicBezTo>
                  <a:cubicBezTo>
                    <a:pt x="2895" y="11114"/>
                    <a:pt x="2897" y="11116"/>
                    <a:pt x="2898" y="11118"/>
                  </a:cubicBezTo>
                  <a:cubicBezTo>
                    <a:pt x="2901" y="11120"/>
                    <a:pt x="2901" y="11122"/>
                    <a:pt x="2902" y="11122"/>
                  </a:cubicBezTo>
                  <a:cubicBezTo>
                    <a:pt x="2904" y="11127"/>
                    <a:pt x="2903" y="11127"/>
                    <a:pt x="2903" y="11129"/>
                  </a:cubicBezTo>
                  <a:cubicBezTo>
                    <a:pt x="2904" y="11132"/>
                    <a:pt x="2904" y="11138"/>
                    <a:pt x="2904" y="11146"/>
                  </a:cubicBezTo>
                  <a:cubicBezTo>
                    <a:pt x="2904" y="11183"/>
                    <a:pt x="2902" y="11262"/>
                    <a:pt x="2902" y="11262"/>
                  </a:cubicBezTo>
                  <a:cubicBezTo>
                    <a:pt x="2902" y="11263"/>
                    <a:pt x="2902" y="11263"/>
                    <a:pt x="2902" y="11263"/>
                  </a:cubicBezTo>
                  <a:cubicBezTo>
                    <a:pt x="2871" y="11407"/>
                    <a:pt x="2871" y="11407"/>
                    <a:pt x="2871" y="11407"/>
                  </a:cubicBezTo>
                  <a:lnTo>
                    <a:pt x="2801" y="11590"/>
                  </a:lnTo>
                  <a:close/>
                  <a:moveTo>
                    <a:pt x="4185" y="9251"/>
                  </a:moveTo>
                  <a:cubicBezTo>
                    <a:pt x="4188" y="9251"/>
                    <a:pt x="4188" y="9251"/>
                    <a:pt x="4188" y="9251"/>
                  </a:cubicBezTo>
                  <a:cubicBezTo>
                    <a:pt x="4301" y="9245"/>
                    <a:pt x="4747" y="9218"/>
                    <a:pt x="4958" y="9185"/>
                  </a:cubicBezTo>
                  <a:cubicBezTo>
                    <a:pt x="5194" y="9147"/>
                    <a:pt x="5332" y="8976"/>
                    <a:pt x="5390" y="8913"/>
                  </a:cubicBezTo>
                  <a:cubicBezTo>
                    <a:pt x="5423" y="8877"/>
                    <a:pt x="5435" y="8826"/>
                    <a:pt x="5435" y="8763"/>
                  </a:cubicBezTo>
                  <a:cubicBezTo>
                    <a:pt x="5435" y="8726"/>
                    <a:pt x="5431" y="8686"/>
                    <a:pt x="5426" y="8643"/>
                  </a:cubicBezTo>
                  <a:cubicBezTo>
                    <a:pt x="5415" y="8555"/>
                    <a:pt x="5381" y="8377"/>
                    <a:pt x="5366" y="8297"/>
                  </a:cubicBezTo>
                  <a:cubicBezTo>
                    <a:pt x="5284" y="8291"/>
                    <a:pt x="5210" y="8285"/>
                    <a:pt x="5152" y="8283"/>
                  </a:cubicBezTo>
                  <a:cubicBezTo>
                    <a:pt x="5074" y="8279"/>
                    <a:pt x="4976" y="8276"/>
                    <a:pt x="4868" y="8276"/>
                  </a:cubicBezTo>
                  <a:cubicBezTo>
                    <a:pt x="4546" y="8275"/>
                    <a:pt x="4128" y="8308"/>
                    <a:pt x="3850" y="8445"/>
                  </a:cubicBezTo>
                  <a:lnTo>
                    <a:pt x="4185" y="9251"/>
                  </a:lnTo>
                  <a:close/>
                  <a:moveTo>
                    <a:pt x="7868" y="6381"/>
                  </a:moveTo>
                  <a:cubicBezTo>
                    <a:pt x="8006" y="6397"/>
                    <a:pt x="8143" y="6412"/>
                    <a:pt x="8260" y="6426"/>
                  </a:cubicBezTo>
                  <a:cubicBezTo>
                    <a:pt x="8243" y="6084"/>
                    <a:pt x="8145" y="5618"/>
                    <a:pt x="7977" y="5240"/>
                  </a:cubicBezTo>
                  <a:cubicBezTo>
                    <a:pt x="7933" y="5140"/>
                    <a:pt x="7875" y="5043"/>
                    <a:pt x="7809" y="4949"/>
                  </a:cubicBezTo>
                  <a:cubicBezTo>
                    <a:pt x="6155" y="4877"/>
                    <a:pt x="6155" y="4877"/>
                    <a:pt x="6155" y="4877"/>
                  </a:cubicBezTo>
                  <a:cubicBezTo>
                    <a:pt x="5942" y="6157"/>
                    <a:pt x="5942" y="6157"/>
                    <a:pt x="5942" y="6157"/>
                  </a:cubicBezTo>
                  <a:cubicBezTo>
                    <a:pt x="7168" y="6304"/>
                    <a:pt x="7168" y="6304"/>
                    <a:pt x="7168" y="6304"/>
                  </a:cubicBezTo>
                  <a:cubicBezTo>
                    <a:pt x="7168" y="6304"/>
                    <a:pt x="7517" y="6342"/>
                    <a:pt x="7868" y="6381"/>
                  </a:cubicBezTo>
                  <a:close/>
                  <a:moveTo>
                    <a:pt x="5198" y="3367"/>
                  </a:moveTo>
                  <a:cubicBezTo>
                    <a:pt x="5035" y="3745"/>
                    <a:pt x="5035" y="3745"/>
                    <a:pt x="5035" y="3745"/>
                  </a:cubicBezTo>
                  <a:cubicBezTo>
                    <a:pt x="5161" y="3781"/>
                    <a:pt x="5286" y="3822"/>
                    <a:pt x="5393" y="3868"/>
                  </a:cubicBezTo>
                  <a:cubicBezTo>
                    <a:pt x="5582" y="3949"/>
                    <a:pt x="5691" y="4077"/>
                    <a:pt x="5956" y="4224"/>
                  </a:cubicBezTo>
                  <a:cubicBezTo>
                    <a:pt x="6138" y="4327"/>
                    <a:pt x="6167" y="4561"/>
                    <a:pt x="6168" y="4714"/>
                  </a:cubicBezTo>
                  <a:cubicBezTo>
                    <a:pt x="6168" y="4771"/>
                    <a:pt x="6163" y="4816"/>
                    <a:pt x="6160" y="4841"/>
                  </a:cubicBezTo>
                  <a:cubicBezTo>
                    <a:pt x="7782" y="4912"/>
                    <a:pt x="7782" y="4912"/>
                    <a:pt x="7782" y="4912"/>
                  </a:cubicBezTo>
                  <a:cubicBezTo>
                    <a:pt x="7666" y="4755"/>
                    <a:pt x="7530" y="4606"/>
                    <a:pt x="7403" y="4466"/>
                  </a:cubicBezTo>
                  <a:cubicBezTo>
                    <a:pt x="7297" y="4348"/>
                    <a:pt x="7198" y="4237"/>
                    <a:pt x="7123" y="4127"/>
                  </a:cubicBezTo>
                  <a:cubicBezTo>
                    <a:pt x="7049" y="4018"/>
                    <a:pt x="6997" y="3908"/>
                    <a:pt x="6996" y="3792"/>
                  </a:cubicBezTo>
                  <a:cubicBezTo>
                    <a:pt x="6996" y="3774"/>
                    <a:pt x="6997" y="3757"/>
                    <a:pt x="7000" y="3739"/>
                  </a:cubicBezTo>
                  <a:cubicBezTo>
                    <a:pt x="7016" y="3629"/>
                    <a:pt x="7066" y="3538"/>
                    <a:pt x="7130" y="3468"/>
                  </a:cubicBezTo>
                  <a:cubicBezTo>
                    <a:pt x="7196" y="3397"/>
                    <a:pt x="7275" y="3346"/>
                    <a:pt x="7354" y="3307"/>
                  </a:cubicBezTo>
                  <a:cubicBezTo>
                    <a:pt x="7338" y="3276"/>
                    <a:pt x="7319" y="3239"/>
                    <a:pt x="7298" y="3203"/>
                  </a:cubicBezTo>
                  <a:cubicBezTo>
                    <a:pt x="7265" y="3148"/>
                    <a:pt x="7226" y="3096"/>
                    <a:pt x="7195" y="3072"/>
                  </a:cubicBezTo>
                  <a:cubicBezTo>
                    <a:pt x="7100" y="2997"/>
                    <a:pt x="6975" y="2976"/>
                    <a:pt x="6864" y="2951"/>
                  </a:cubicBezTo>
                  <a:cubicBezTo>
                    <a:pt x="6754" y="2926"/>
                    <a:pt x="6191" y="2782"/>
                    <a:pt x="6013" y="2729"/>
                  </a:cubicBezTo>
                  <a:cubicBezTo>
                    <a:pt x="5866" y="2685"/>
                    <a:pt x="5463" y="2565"/>
                    <a:pt x="5338" y="2528"/>
                  </a:cubicBezTo>
                  <a:cubicBezTo>
                    <a:pt x="5330" y="2540"/>
                    <a:pt x="5330" y="2540"/>
                    <a:pt x="5330" y="2540"/>
                  </a:cubicBezTo>
                  <a:cubicBezTo>
                    <a:pt x="5294" y="2667"/>
                    <a:pt x="5200" y="2957"/>
                    <a:pt x="5190" y="2989"/>
                  </a:cubicBezTo>
                  <a:lnTo>
                    <a:pt x="5198" y="3367"/>
                  </a:lnTo>
                  <a:close/>
                  <a:moveTo>
                    <a:pt x="7070" y="2434"/>
                  </a:moveTo>
                  <a:cubicBezTo>
                    <a:pt x="6959" y="2418"/>
                    <a:pt x="6834" y="2402"/>
                    <a:pt x="6785" y="2402"/>
                  </a:cubicBezTo>
                  <a:cubicBezTo>
                    <a:pt x="6685" y="2402"/>
                    <a:pt x="6621" y="2420"/>
                    <a:pt x="6581" y="2476"/>
                  </a:cubicBezTo>
                  <a:cubicBezTo>
                    <a:pt x="6509" y="2728"/>
                    <a:pt x="6509" y="2728"/>
                    <a:pt x="6509" y="2728"/>
                  </a:cubicBezTo>
                  <a:cubicBezTo>
                    <a:pt x="6509" y="2733"/>
                    <a:pt x="6509" y="2739"/>
                    <a:pt x="6509" y="2743"/>
                  </a:cubicBezTo>
                  <a:cubicBezTo>
                    <a:pt x="6679" y="2787"/>
                    <a:pt x="6839" y="2827"/>
                    <a:pt x="6890" y="2839"/>
                  </a:cubicBezTo>
                  <a:cubicBezTo>
                    <a:pt x="6994" y="2863"/>
                    <a:pt x="7140" y="2885"/>
                    <a:pt x="7266" y="2982"/>
                  </a:cubicBezTo>
                  <a:cubicBezTo>
                    <a:pt x="7293" y="3003"/>
                    <a:pt x="7318" y="3031"/>
                    <a:pt x="7341" y="3061"/>
                  </a:cubicBezTo>
                  <a:cubicBezTo>
                    <a:pt x="7425" y="3035"/>
                    <a:pt x="7681" y="2956"/>
                    <a:pt x="7937" y="2877"/>
                  </a:cubicBezTo>
                  <a:cubicBezTo>
                    <a:pt x="8093" y="2829"/>
                    <a:pt x="8250" y="2781"/>
                    <a:pt x="8367" y="2745"/>
                  </a:cubicBezTo>
                  <a:cubicBezTo>
                    <a:pt x="8426" y="2727"/>
                    <a:pt x="8475" y="2711"/>
                    <a:pt x="8509" y="2701"/>
                  </a:cubicBezTo>
                  <a:cubicBezTo>
                    <a:pt x="8523" y="2697"/>
                    <a:pt x="8534" y="2693"/>
                    <a:pt x="8543" y="2691"/>
                  </a:cubicBezTo>
                  <a:cubicBezTo>
                    <a:pt x="8545" y="2677"/>
                    <a:pt x="8545" y="2677"/>
                    <a:pt x="8545" y="2677"/>
                  </a:cubicBezTo>
                  <a:cubicBezTo>
                    <a:pt x="8543" y="2625"/>
                    <a:pt x="8538" y="2526"/>
                    <a:pt x="8534" y="2443"/>
                  </a:cubicBezTo>
                  <a:cubicBezTo>
                    <a:pt x="7281" y="2467"/>
                    <a:pt x="7281" y="2467"/>
                    <a:pt x="7281" y="2467"/>
                  </a:cubicBezTo>
                  <a:cubicBezTo>
                    <a:pt x="7280" y="2467"/>
                    <a:pt x="7280" y="2467"/>
                    <a:pt x="7280" y="2467"/>
                  </a:cubicBezTo>
                  <a:cubicBezTo>
                    <a:pt x="7279" y="2467"/>
                    <a:pt x="7181" y="2451"/>
                    <a:pt x="7070" y="2434"/>
                  </a:cubicBezTo>
                  <a:close/>
                  <a:moveTo>
                    <a:pt x="10702" y="2974"/>
                  </a:moveTo>
                  <a:cubicBezTo>
                    <a:pt x="10702" y="2980"/>
                    <a:pt x="10702" y="2980"/>
                    <a:pt x="10702" y="2980"/>
                  </a:cubicBezTo>
                  <a:cubicBezTo>
                    <a:pt x="10702" y="2981"/>
                    <a:pt x="10702" y="2981"/>
                    <a:pt x="10702" y="2982"/>
                  </a:cubicBezTo>
                  <a:cubicBezTo>
                    <a:pt x="10702" y="2980"/>
                    <a:pt x="10702" y="2980"/>
                    <a:pt x="10702" y="2980"/>
                  </a:cubicBezTo>
                  <a:cubicBezTo>
                    <a:pt x="10702" y="2975"/>
                    <a:pt x="10702" y="2975"/>
                    <a:pt x="10702" y="2975"/>
                  </a:cubicBezTo>
                  <a:cubicBezTo>
                    <a:pt x="10702" y="2983"/>
                    <a:pt x="10702" y="2983"/>
                    <a:pt x="10702" y="2983"/>
                  </a:cubicBezTo>
                  <a:cubicBezTo>
                    <a:pt x="10702" y="2984"/>
                    <a:pt x="10703" y="2985"/>
                    <a:pt x="10703" y="2986"/>
                  </a:cubicBezTo>
                  <a:lnTo>
                    <a:pt x="10702" y="2974"/>
                  </a:lnTo>
                  <a:close/>
                  <a:moveTo>
                    <a:pt x="10662" y="2972"/>
                  </a:moveTo>
                  <a:cubicBezTo>
                    <a:pt x="10623" y="2816"/>
                    <a:pt x="10582" y="2663"/>
                    <a:pt x="10549" y="2541"/>
                  </a:cubicBezTo>
                  <a:cubicBezTo>
                    <a:pt x="10430" y="2577"/>
                    <a:pt x="10282" y="2620"/>
                    <a:pt x="10116" y="2668"/>
                  </a:cubicBezTo>
                  <a:cubicBezTo>
                    <a:pt x="9665" y="2796"/>
                    <a:pt x="9084" y="2953"/>
                    <a:pt x="8608" y="3082"/>
                  </a:cubicBezTo>
                  <a:cubicBezTo>
                    <a:pt x="8370" y="3146"/>
                    <a:pt x="8158" y="3203"/>
                    <a:pt x="8002" y="3246"/>
                  </a:cubicBezTo>
                  <a:cubicBezTo>
                    <a:pt x="7924" y="3267"/>
                    <a:pt x="7860" y="3285"/>
                    <a:pt x="7814" y="3298"/>
                  </a:cubicBezTo>
                  <a:cubicBezTo>
                    <a:pt x="7791" y="3304"/>
                    <a:pt x="7773" y="3310"/>
                    <a:pt x="7759" y="3314"/>
                  </a:cubicBezTo>
                  <a:cubicBezTo>
                    <a:pt x="7753" y="3316"/>
                    <a:pt x="7747" y="3317"/>
                    <a:pt x="7744" y="3318"/>
                  </a:cubicBezTo>
                  <a:cubicBezTo>
                    <a:pt x="7742" y="3319"/>
                    <a:pt x="7740" y="3319"/>
                    <a:pt x="7740" y="3320"/>
                  </a:cubicBezTo>
                  <a:cubicBezTo>
                    <a:pt x="7740" y="3320"/>
                    <a:pt x="7740" y="3320"/>
                    <a:pt x="7740" y="3320"/>
                  </a:cubicBezTo>
                  <a:cubicBezTo>
                    <a:pt x="7722" y="3327"/>
                    <a:pt x="7705" y="3332"/>
                    <a:pt x="7682" y="3338"/>
                  </a:cubicBezTo>
                  <a:cubicBezTo>
                    <a:pt x="7639" y="3350"/>
                    <a:pt x="7579" y="3366"/>
                    <a:pt x="7515" y="3390"/>
                  </a:cubicBezTo>
                  <a:cubicBezTo>
                    <a:pt x="7921" y="4406"/>
                    <a:pt x="7921" y="4406"/>
                    <a:pt x="7921" y="4406"/>
                  </a:cubicBezTo>
                  <a:cubicBezTo>
                    <a:pt x="7994" y="4531"/>
                    <a:pt x="7994" y="4531"/>
                    <a:pt x="7994" y="4531"/>
                  </a:cubicBezTo>
                  <a:cubicBezTo>
                    <a:pt x="8020" y="4530"/>
                    <a:pt x="8020" y="4530"/>
                    <a:pt x="8020" y="4530"/>
                  </a:cubicBezTo>
                  <a:cubicBezTo>
                    <a:pt x="10844" y="3715"/>
                    <a:pt x="10844" y="3715"/>
                    <a:pt x="10844" y="3715"/>
                  </a:cubicBezTo>
                  <a:cubicBezTo>
                    <a:pt x="10812" y="3587"/>
                    <a:pt x="10739" y="3276"/>
                    <a:pt x="10662" y="2972"/>
                  </a:cubicBezTo>
                  <a:close/>
                  <a:moveTo>
                    <a:pt x="8547" y="6459"/>
                  </a:moveTo>
                  <a:cubicBezTo>
                    <a:pt x="8547" y="6344"/>
                    <a:pt x="8544" y="6234"/>
                    <a:pt x="8539" y="6148"/>
                  </a:cubicBezTo>
                  <a:cubicBezTo>
                    <a:pt x="8523" y="5843"/>
                    <a:pt x="8348" y="5386"/>
                    <a:pt x="8235" y="5172"/>
                  </a:cubicBezTo>
                  <a:cubicBezTo>
                    <a:pt x="8113" y="4963"/>
                    <a:pt x="8113" y="4963"/>
                    <a:pt x="8113" y="4963"/>
                  </a:cubicBezTo>
                  <a:cubicBezTo>
                    <a:pt x="7982" y="4957"/>
                    <a:pt x="7982" y="4957"/>
                    <a:pt x="7982" y="4957"/>
                  </a:cubicBezTo>
                  <a:cubicBezTo>
                    <a:pt x="8028" y="5030"/>
                    <a:pt x="8070" y="5105"/>
                    <a:pt x="8105" y="5183"/>
                  </a:cubicBezTo>
                  <a:cubicBezTo>
                    <a:pt x="8285" y="5591"/>
                    <a:pt x="8385" y="6078"/>
                    <a:pt x="8400" y="6442"/>
                  </a:cubicBezTo>
                  <a:cubicBezTo>
                    <a:pt x="8446" y="6448"/>
                    <a:pt x="8485" y="6453"/>
                    <a:pt x="8515" y="6456"/>
                  </a:cubicBezTo>
                  <a:cubicBezTo>
                    <a:pt x="8520" y="6457"/>
                    <a:pt x="8525" y="6458"/>
                    <a:pt x="8530" y="6458"/>
                  </a:cubicBezTo>
                  <a:cubicBezTo>
                    <a:pt x="8534" y="6459"/>
                    <a:pt x="8541" y="6459"/>
                    <a:pt x="8547" y="6459"/>
                  </a:cubicBezTo>
                  <a:close/>
                  <a:moveTo>
                    <a:pt x="8089" y="4922"/>
                  </a:moveTo>
                  <a:cubicBezTo>
                    <a:pt x="7818" y="4456"/>
                    <a:pt x="7818" y="4456"/>
                    <a:pt x="7818" y="4456"/>
                  </a:cubicBezTo>
                  <a:cubicBezTo>
                    <a:pt x="7409" y="3435"/>
                    <a:pt x="7409" y="3435"/>
                    <a:pt x="7409" y="3435"/>
                  </a:cubicBezTo>
                  <a:cubicBezTo>
                    <a:pt x="7394" y="3443"/>
                    <a:pt x="7378" y="3451"/>
                    <a:pt x="7363" y="3460"/>
                  </a:cubicBezTo>
                  <a:cubicBezTo>
                    <a:pt x="7249" y="3528"/>
                    <a:pt x="7159" y="3619"/>
                    <a:pt x="7138" y="3760"/>
                  </a:cubicBezTo>
                  <a:cubicBezTo>
                    <a:pt x="7136" y="3770"/>
                    <a:pt x="7135" y="3781"/>
                    <a:pt x="7135" y="3792"/>
                  </a:cubicBezTo>
                  <a:cubicBezTo>
                    <a:pt x="7135" y="3863"/>
                    <a:pt x="7171" y="3950"/>
                    <a:pt x="7239" y="4049"/>
                  </a:cubicBezTo>
                  <a:cubicBezTo>
                    <a:pt x="7339" y="4197"/>
                    <a:pt x="7504" y="4366"/>
                    <a:pt x="7669" y="4553"/>
                  </a:cubicBezTo>
                  <a:cubicBezTo>
                    <a:pt x="7770" y="4668"/>
                    <a:pt x="7871" y="4789"/>
                    <a:pt x="7958" y="4920"/>
                  </a:cubicBezTo>
                  <a:cubicBezTo>
                    <a:pt x="8065" y="4925"/>
                    <a:pt x="8065" y="4925"/>
                    <a:pt x="8065" y="4925"/>
                  </a:cubicBezTo>
                  <a:lnTo>
                    <a:pt x="8089" y="4922"/>
                  </a:lnTo>
                  <a:close/>
                  <a:moveTo>
                    <a:pt x="10227" y="2383"/>
                  </a:moveTo>
                  <a:cubicBezTo>
                    <a:pt x="9955" y="2451"/>
                    <a:pt x="9547" y="2554"/>
                    <a:pt x="9207" y="2640"/>
                  </a:cubicBezTo>
                  <a:cubicBezTo>
                    <a:pt x="9037" y="2683"/>
                    <a:pt x="8884" y="2722"/>
                    <a:pt x="8773" y="2750"/>
                  </a:cubicBezTo>
                  <a:cubicBezTo>
                    <a:pt x="8718" y="2764"/>
                    <a:pt x="8673" y="2775"/>
                    <a:pt x="8642" y="2783"/>
                  </a:cubicBezTo>
                  <a:cubicBezTo>
                    <a:pt x="8627" y="2787"/>
                    <a:pt x="8615" y="2790"/>
                    <a:pt x="8607" y="2792"/>
                  </a:cubicBezTo>
                  <a:cubicBezTo>
                    <a:pt x="8602" y="2793"/>
                    <a:pt x="8599" y="2794"/>
                    <a:pt x="8597" y="2794"/>
                  </a:cubicBezTo>
                  <a:cubicBezTo>
                    <a:pt x="8597" y="2794"/>
                    <a:pt x="8596" y="2794"/>
                    <a:pt x="8596" y="2794"/>
                  </a:cubicBezTo>
                  <a:cubicBezTo>
                    <a:pt x="8589" y="2797"/>
                    <a:pt x="8589" y="2797"/>
                    <a:pt x="8589" y="2797"/>
                  </a:cubicBezTo>
                  <a:cubicBezTo>
                    <a:pt x="8589" y="2797"/>
                    <a:pt x="8589" y="2797"/>
                    <a:pt x="8589" y="2797"/>
                  </a:cubicBezTo>
                  <a:cubicBezTo>
                    <a:pt x="8536" y="2813"/>
                    <a:pt x="8243" y="2903"/>
                    <a:pt x="7954" y="2992"/>
                  </a:cubicBezTo>
                  <a:cubicBezTo>
                    <a:pt x="7730" y="3061"/>
                    <a:pt x="7509" y="3129"/>
                    <a:pt x="7406" y="3161"/>
                  </a:cubicBezTo>
                  <a:cubicBezTo>
                    <a:pt x="7414" y="3175"/>
                    <a:pt x="7422" y="3190"/>
                    <a:pt x="7430" y="3204"/>
                  </a:cubicBezTo>
                  <a:cubicBezTo>
                    <a:pt x="7441" y="3225"/>
                    <a:pt x="7451" y="3244"/>
                    <a:pt x="7459" y="3262"/>
                  </a:cubicBezTo>
                  <a:cubicBezTo>
                    <a:pt x="7461" y="3261"/>
                    <a:pt x="7462" y="3261"/>
                    <a:pt x="7463" y="3260"/>
                  </a:cubicBezTo>
                  <a:cubicBezTo>
                    <a:pt x="7518" y="3240"/>
                    <a:pt x="7568" y="3225"/>
                    <a:pt x="7608" y="3214"/>
                  </a:cubicBezTo>
                  <a:cubicBezTo>
                    <a:pt x="7648" y="3203"/>
                    <a:pt x="7680" y="3194"/>
                    <a:pt x="7686" y="3191"/>
                  </a:cubicBezTo>
                  <a:cubicBezTo>
                    <a:pt x="7694" y="3188"/>
                    <a:pt x="7699" y="3186"/>
                    <a:pt x="7708" y="3184"/>
                  </a:cubicBezTo>
                  <a:cubicBezTo>
                    <a:pt x="7772" y="3164"/>
                    <a:pt x="7984" y="3106"/>
                    <a:pt x="8272" y="3028"/>
                  </a:cubicBezTo>
                  <a:cubicBezTo>
                    <a:pt x="8704" y="2911"/>
                    <a:pt x="9303" y="2750"/>
                    <a:pt x="9811" y="2609"/>
                  </a:cubicBezTo>
                  <a:cubicBezTo>
                    <a:pt x="10064" y="2538"/>
                    <a:pt x="10294" y="2472"/>
                    <a:pt x="10469" y="2420"/>
                  </a:cubicBezTo>
                  <a:cubicBezTo>
                    <a:pt x="10484" y="2415"/>
                    <a:pt x="10498" y="2411"/>
                    <a:pt x="10513" y="2406"/>
                  </a:cubicBezTo>
                  <a:cubicBezTo>
                    <a:pt x="10504" y="2375"/>
                    <a:pt x="10497" y="2349"/>
                    <a:pt x="10492" y="2330"/>
                  </a:cubicBezTo>
                  <a:cubicBezTo>
                    <a:pt x="10483" y="2318"/>
                    <a:pt x="10483" y="2318"/>
                    <a:pt x="10483" y="2318"/>
                  </a:cubicBezTo>
                  <a:cubicBezTo>
                    <a:pt x="10432" y="2331"/>
                    <a:pt x="10341" y="2354"/>
                    <a:pt x="10227" y="2383"/>
                  </a:cubicBezTo>
                  <a:close/>
                  <a:moveTo>
                    <a:pt x="8525" y="2723"/>
                  </a:moveTo>
                  <a:cubicBezTo>
                    <a:pt x="8525" y="2723"/>
                    <a:pt x="8525" y="2723"/>
                    <a:pt x="8525" y="2723"/>
                  </a:cubicBezTo>
                  <a:cubicBezTo>
                    <a:pt x="8526" y="2718"/>
                    <a:pt x="8528" y="2714"/>
                    <a:pt x="8530" y="2710"/>
                  </a:cubicBezTo>
                  <a:cubicBezTo>
                    <a:pt x="8530" y="2711"/>
                    <a:pt x="8530" y="2711"/>
                    <a:pt x="8530" y="2712"/>
                  </a:cubicBezTo>
                  <a:cubicBezTo>
                    <a:pt x="8527" y="2716"/>
                    <a:pt x="8526" y="2720"/>
                    <a:pt x="8525" y="2723"/>
                  </a:cubicBezTo>
                  <a:close/>
                  <a:moveTo>
                    <a:pt x="7290" y="7551"/>
                  </a:moveTo>
                  <a:cubicBezTo>
                    <a:pt x="7008" y="7605"/>
                    <a:pt x="6863" y="7636"/>
                    <a:pt x="6785" y="7669"/>
                  </a:cubicBezTo>
                  <a:cubicBezTo>
                    <a:pt x="6746" y="7685"/>
                    <a:pt x="6724" y="7700"/>
                    <a:pt x="6703" y="7720"/>
                  </a:cubicBezTo>
                  <a:cubicBezTo>
                    <a:pt x="6682" y="7739"/>
                    <a:pt x="6661" y="7767"/>
                    <a:pt x="6632" y="7807"/>
                  </a:cubicBezTo>
                  <a:cubicBezTo>
                    <a:pt x="6591" y="7862"/>
                    <a:pt x="6566" y="7948"/>
                    <a:pt x="6543" y="8035"/>
                  </a:cubicBezTo>
                  <a:cubicBezTo>
                    <a:pt x="6570" y="8037"/>
                    <a:pt x="6587" y="8038"/>
                    <a:pt x="6591" y="8038"/>
                  </a:cubicBezTo>
                  <a:cubicBezTo>
                    <a:pt x="6603" y="8039"/>
                    <a:pt x="6613" y="8039"/>
                    <a:pt x="6623" y="8039"/>
                  </a:cubicBezTo>
                  <a:cubicBezTo>
                    <a:pt x="6636" y="8039"/>
                    <a:pt x="6647" y="8038"/>
                    <a:pt x="6654" y="8037"/>
                  </a:cubicBezTo>
                  <a:cubicBezTo>
                    <a:pt x="6668" y="8007"/>
                    <a:pt x="6696" y="7947"/>
                    <a:pt x="6727" y="7891"/>
                  </a:cubicBezTo>
                  <a:cubicBezTo>
                    <a:pt x="6727" y="7890"/>
                    <a:pt x="6727" y="7890"/>
                    <a:pt x="6727" y="7890"/>
                  </a:cubicBezTo>
                  <a:cubicBezTo>
                    <a:pt x="6728" y="7889"/>
                    <a:pt x="6728" y="7889"/>
                    <a:pt x="6728" y="7889"/>
                  </a:cubicBezTo>
                  <a:cubicBezTo>
                    <a:pt x="6732" y="7882"/>
                    <a:pt x="6804" y="7762"/>
                    <a:pt x="6978" y="7730"/>
                  </a:cubicBezTo>
                  <a:cubicBezTo>
                    <a:pt x="7050" y="7717"/>
                    <a:pt x="7130" y="7708"/>
                    <a:pt x="7218" y="7708"/>
                  </a:cubicBezTo>
                  <a:cubicBezTo>
                    <a:pt x="7323" y="7708"/>
                    <a:pt x="7438" y="7720"/>
                    <a:pt x="7562" y="7751"/>
                  </a:cubicBezTo>
                  <a:cubicBezTo>
                    <a:pt x="7766" y="7803"/>
                    <a:pt x="8008" y="7957"/>
                    <a:pt x="8075" y="8000"/>
                  </a:cubicBezTo>
                  <a:cubicBezTo>
                    <a:pt x="8096" y="7998"/>
                    <a:pt x="8135" y="7994"/>
                    <a:pt x="8181" y="7989"/>
                  </a:cubicBezTo>
                  <a:cubicBezTo>
                    <a:pt x="8253" y="7980"/>
                    <a:pt x="8343" y="7967"/>
                    <a:pt x="8413" y="7951"/>
                  </a:cubicBezTo>
                  <a:cubicBezTo>
                    <a:pt x="8474" y="7938"/>
                    <a:pt x="8549" y="7894"/>
                    <a:pt x="8607" y="7852"/>
                  </a:cubicBezTo>
                  <a:cubicBezTo>
                    <a:pt x="8632" y="7835"/>
                    <a:pt x="8653" y="7818"/>
                    <a:pt x="8670" y="7804"/>
                  </a:cubicBezTo>
                  <a:cubicBezTo>
                    <a:pt x="8631" y="7759"/>
                    <a:pt x="8598" y="7711"/>
                    <a:pt x="8576" y="7661"/>
                  </a:cubicBezTo>
                  <a:cubicBezTo>
                    <a:pt x="8536" y="7571"/>
                    <a:pt x="8528" y="7473"/>
                    <a:pt x="8527" y="7384"/>
                  </a:cubicBezTo>
                  <a:cubicBezTo>
                    <a:pt x="8527" y="7322"/>
                    <a:pt x="8532" y="7264"/>
                    <a:pt x="8534" y="7214"/>
                  </a:cubicBezTo>
                  <a:cubicBezTo>
                    <a:pt x="8538" y="7131"/>
                    <a:pt x="8547" y="6819"/>
                    <a:pt x="8547" y="6528"/>
                  </a:cubicBezTo>
                  <a:cubicBezTo>
                    <a:pt x="8547" y="6518"/>
                    <a:pt x="8547" y="6507"/>
                    <a:pt x="8547" y="6497"/>
                  </a:cubicBezTo>
                  <a:cubicBezTo>
                    <a:pt x="8542" y="6496"/>
                    <a:pt x="8536" y="6496"/>
                    <a:pt x="8529" y="6495"/>
                  </a:cubicBezTo>
                  <a:cubicBezTo>
                    <a:pt x="8519" y="6494"/>
                    <a:pt x="8519" y="6494"/>
                    <a:pt x="8519" y="6494"/>
                  </a:cubicBezTo>
                  <a:cubicBezTo>
                    <a:pt x="8519" y="6494"/>
                    <a:pt x="8519" y="6493"/>
                    <a:pt x="8519" y="6493"/>
                  </a:cubicBezTo>
                  <a:cubicBezTo>
                    <a:pt x="8490" y="6490"/>
                    <a:pt x="8449" y="6485"/>
                    <a:pt x="8402" y="6479"/>
                  </a:cubicBezTo>
                  <a:cubicBezTo>
                    <a:pt x="8402" y="6498"/>
                    <a:pt x="8403" y="6518"/>
                    <a:pt x="8403" y="6536"/>
                  </a:cubicBezTo>
                  <a:cubicBezTo>
                    <a:pt x="8402" y="6697"/>
                    <a:pt x="8386" y="6824"/>
                    <a:pt x="8336" y="6914"/>
                  </a:cubicBezTo>
                  <a:cubicBezTo>
                    <a:pt x="8198" y="7153"/>
                    <a:pt x="7872" y="7438"/>
                    <a:pt x="7290" y="7551"/>
                  </a:cubicBezTo>
                  <a:close/>
                  <a:moveTo>
                    <a:pt x="7294" y="13431"/>
                  </a:moveTo>
                  <a:cubicBezTo>
                    <a:pt x="7294" y="13430"/>
                    <a:pt x="7294" y="13430"/>
                    <a:pt x="7294" y="13430"/>
                  </a:cubicBezTo>
                  <a:cubicBezTo>
                    <a:pt x="7339" y="12863"/>
                    <a:pt x="7339" y="12863"/>
                    <a:pt x="7339" y="12863"/>
                  </a:cubicBezTo>
                  <a:cubicBezTo>
                    <a:pt x="8031" y="11442"/>
                    <a:pt x="8031" y="11442"/>
                    <a:pt x="8031" y="11442"/>
                  </a:cubicBezTo>
                  <a:cubicBezTo>
                    <a:pt x="8013" y="11432"/>
                    <a:pt x="7972" y="11411"/>
                    <a:pt x="7904" y="11376"/>
                  </a:cubicBezTo>
                  <a:cubicBezTo>
                    <a:pt x="7809" y="11328"/>
                    <a:pt x="7663" y="11256"/>
                    <a:pt x="7459" y="11158"/>
                  </a:cubicBezTo>
                  <a:cubicBezTo>
                    <a:pt x="7256" y="11061"/>
                    <a:pt x="7074" y="11001"/>
                    <a:pt x="6942" y="10965"/>
                  </a:cubicBezTo>
                  <a:cubicBezTo>
                    <a:pt x="6876" y="10948"/>
                    <a:pt x="6823" y="10936"/>
                    <a:pt x="6786" y="10929"/>
                  </a:cubicBezTo>
                  <a:cubicBezTo>
                    <a:pt x="6769" y="10925"/>
                    <a:pt x="6755" y="10923"/>
                    <a:pt x="6746" y="10921"/>
                  </a:cubicBezTo>
                  <a:cubicBezTo>
                    <a:pt x="6433" y="13862"/>
                    <a:pt x="6433" y="13862"/>
                    <a:pt x="6433" y="13862"/>
                  </a:cubicBezTo>
                  <a:cubicBezTo>
                    <a:pt x="6572" y="13847"/>
                    <a:pt x="6711" y="13829"/>
                    <a:pt x="6847" y="13801"/>
                  </a:cubicBezTo>
                  <a:cubicBezTo>
                    <a:pt x="6989" y="13772"/>
                    <a:pt x="7261" y="13759"/>
                    <a:pt x="7329" y="13756"/>
                  </a:cubicBezTo>
                  <a:cubicBezTo>
                    <a:pt x="7294" y="13575"/>
                    <a:pt x="7294" y="13432"/>
                    <a:pt x="7294" y="13431"/>
                  </a:cubicBezTo>
                  <a:close/>
                  <a:moveTo>
                    <a:pt x="5626" y="13994"/>
                  </a:moveTo>
                  <a:cubicBezTo>
                    <a:pt x="5650" y="13897"/>
                    <a:pt x="5650" y="13897"/>
                    <a:pt x="5650" y="13897"/>
                  </a:cubicBezTo>
                  <a:cubicBezTo>
                    <a:pt x="5871" y="11940"/>
                    <a:pt x="5871" y="11940"/>
                    <a:pt x="5871" y="11940"/>
                  </a:cubicBezTo>
                  <a:cubicBezTo>
                    <a:pt x="5868" y="11939"/>
                    <a:pt x="5862" y="11937"/>
                    <a:pt x="5856" y="11934"/>
                  </a:cubicBezTo>
                  <a:cubicBezTo>
                    <a:pt x="5126" y="11869"/>
                    <a:pt x="5126" y="11869"/>
                    <a:pt x="5126" y="11869"/>
                  </a:cubicBezTo>
                  <a:cubicBezTo>
                    <a:pt x="5116" y="11873"/>
                    <a:pt x="5116" y="11873"/>
                    <a:pt x="5116" y="11873"/>
                  </a:cubicBezTo>
                  <a:cubicBezTo>
                    <a:pt x="5115" y="11875"/>
                    <a:pt x="5115" y="11877"/>
                    <a:pt x="5115" y="11878"/>
                  </a:cubicBezTo>
                  <a:cubicBezTo>
                    <a:pt x="5091" y="11982"/>
                    <a:pt x="5002" y="12091"/>
                    <a:pt x="4937" y="12187"/>
                  </a:cubicBezTo>
                  <a:cubicBezTo>
                    <a:pt x="4909" y="12227"/>
                    <a:pt x="4900" y="12262"/>
                    <a:pt x="4900" y="12300"/>
                  </a:cubicBezTo>
                  <a:cubicBezTo>
                    <a:pt x="4900" y="12348"/>
                    <a:pt x="4916" y="12401"/>
                    <a:pt x="4935" y="12467"/>
                  </a:cubicBezTo>
                  <a:cubicBezTo>
                    <a:pt x="4947" y="12512"/>
                    <a:pt x="4953" y="12552"/>
                    <a:pt x="4953" y="12588"/>
                  </a:cubicBezTo>
                  <a:cubicBezTo>
                    <a:pt x="4953" y="12690"/>
                    <a:pt x="4907" y="12755"/>
                    <a:pt x="4861" y="12811"/>
                  </a:cubicBezTo>
                  <a:cubicBezTo>
                    <a:pt x="4860" y="12812"/>
                    <a:pt x="4859" y="12813"/>
                    <a:pt x="4859" y="12814"/>
                  </a:cubicBezTo>
                  <a:cubicBezTo>
                    <a:pt x="5027" y="12985"/>
                    <a:pt x="5042" y="13214"/>
                    <a:pt x="5042" y="13312"/>
                  </a:cubicBezTo>
                  <a:cubicBezTo>
                    <a:pt x="5042" y="13340"/>
                    <a:pt x="5041" y="13356"/>
                    <a:pt x="5040" y="13359"/>
                  </a:cubicBezTo>
                  <a:cubicBezTo>
                    <a:pt x="5038" y="13378"/>
                    <a:pt x="5035" y="13411"/>
                    <a:pt x="5031" y="13447"/>
                  </a:cubicBezTo>
                  <a:cubicBezTo>
                    <a:pt x="5024" y="13512"/>
                    <a:pt x="5014" y="13586"/>
                    <a:pt x="5009" y="13617"/>
                  </a:cubicBezTo>
                  <a:cubicBezTo>
                    <a:pt x="5004" y="13653"/>
                    <a:pt x="4987" y="13769"/>
                    <a:pt x="4979" y="13859"/>
                  </a:cubicBezTo>
                  <a:cubicBezTo>
                    <a:pt x="4979" y="13867"/>
                    <a:pt x="4978" y="13887"/>
                    <a:pt x="4978" y="13908"/>
                  </a:cubicBezTo>
                  <a:cubicBezTo>
                    <a:pt x="4978" y="13928"/>
                    <a:pt x="4979" y="13950"/>
                    <a:pt x="4981" y="13963"/>
                  </a:cubicBezTo>
                  <a:cubicBezTo>
                    <a:pt x="4982" y="13976"/>
                    <a:pt x="4989" y="14006"/>
                    <a:pt x="4989" y="14006"/>
                  </a:cubicBezTo>
                  <a:cubicBezTo>
                    <a:pt x="4989" y="14008"/>
                    <a:pt x="4989" y="14008"/>
                    <a:pt x="4989" y="14008"/>
                  </a:cubicBezTo>
                  <a:cubicBezTo>
                    <a:pt x="4991" y="14013"/>
                    <a:pt x="4992" y="14018"/>
                    <a:pt x="4994" y="14023"/>
                  </a:cubicBezTo>
                  <a:cubicBezTo>
                    <a:pt x="5007" y="14059"/>
                    <a:pt x="5027" y="14108"/>
                    <a:pt x="5058" y="14160"/>
                  </a:cubicBezTo>
                  <a:cubicBezTo>
                    <a:pt x="5098" y="14228"/>
                    <a:pt x="5124" y="14290"/>
                    <a:pt x="5139" y="14326"/>
                  </a:cubicBezTo>
                  <a:cubicBezTo>
                    <a:pt x="5142" y="14330"/>
                    <a:pt x="5146" y="14335"/>
                    <a:pt x="5149" y="14339"/>
                  </a:cubicBezTo>
                  <a:lnTo>
                    <a:pt x="5626" y="13994"/>
                  </a:lnTo>
                  <a:close/>
                  <a:moveTo>
                    <a:pt x="4810" y="12817"/>
                  </a:moveTo>
                  <a:cubicBezTo>
                    <a:pt x="4798" y="12801"/>
                    <a:pt x="4763" y="12754"/>
                    <a:pt x="4716" y="12693"/>
                  </a:cubicBezTo>
                  <a:cubicBezTo>
                    <a:pt x="4631" y="12583"/>
                    <a:pt x="4508" y="12425"/>
                    <a:pt x="4406" y="12294"/>
                  </a:cubicBezTo>
                  <a:cubicBezTo>
                    <a:pt x="4333" y="12200"/>
                    <a:pt x="4271" y="12121"/>
                    <a:pt x="4242" y="12083"/>
                  </a:cubicBezTo>
                  <a:cubicBezTo>
                    <a:pt x="4240" y="12103"/>
                    <a:pt x="4240" y="12103"/>
                    <a:pt x="4240" y="12103"/>
                  </a:cubicBezTo>
                  <a:cubicBezTo>
                    <a:pt x="4233" y="12096"/>
                    <a:pt x="4233" y="12096"/>
                    <a:pt x="4233" y="12096"/>
                  </a:cubicBezTo>
                  <a:cubicBezTo>
                    <a:pt x="4230" y="12099"/>
                    <a:pt x="4230" y="12099"/>
                    <a:pt x="4230" y="12099"/>
                  </a:cubicBezTo>
                  <a:cubicBezTo>
                    <a:pt x="4230" y="12099"/>
                    <a:pt x="4200" y="12121"/>
                    <a:pt x="4167" y="12151"/>
                  </a:cubicBezTo>
                  <a:cubicBezTo>
                    <a:pt x="4145" y="12171"/>
                    <a:pt x="4124" y="12194"/>
                    <a:pt x="4108" y="12212"/>
                  </a:cubicBezTo>
                  <a:cubicBezTo>
                    <a:pt x="4069" y="12258"/>
                    <a:pt x="4057" y="12312"/>
                    <a:pt x="4046" y="12345"/>
                  </a:cubicBezTo>
                  <a:cubicBezTo>
                    <a:pt x="4035" y="12376"/>
                    <a:pt x="4004" y="12492"/>
                    <a:pt x="3989" y="12531"/>
                  </a:cubicBezTo>
                  <a:cubicBezTo>
                    <a:pt x="3985" y="12542"/>
                    <a:pt x="3981" y="12555"/>
                    <a:pt x="3975" y="12569"/>
                  </a:cubicBezTo>
                  <a:cubicBezTo>
                    <a:pt x="3976" y="12568"/>
                    <a:pt x="3976" y="12568"/>
                    <a:pt x="3976" y="12568"/>
                  </a:cubicBezTo>
                  <a:cubicBezTo>
                    <a:pt x="3976" y="12568"/>
                    <a:pt x="3976" y="12568"/>
                    <a:pt x="3976" y="12568"/>
                  </a:cubicBezTo>
                  <a:cubicBezTo>
                    <a:pt x="3976" y="12569"/>
                    <a:pt x="4089" y="12672"/>
                    <a:pt x="4169" y="12744"/>
                  </a:cubicBezTo>
                  <a:cubicBezTo>
                    <a:pt x="4191" y="12764"/>
                    <a:pt x="4211" y="12780"/>
                    <a:pt x="4225" y="12792"/>
                  </a:cubicBezTo>
                  <a:cubicBezTo>
                    <a:pt x="4232" y="12798"/>
                    <a:pt x="4237" y="12802"/>
                    <a:pt x="4241" y="12805"/>
                  </a:cubicBezTo>
                  <a:cubicBezTo>
                    <a:pt x="4243" y="12807"/>
                    <a:pt x="4245" y="12808"/>
                    <a:pt x="4246" y="12809"/>
                  </a:cubicBezTo>
                  <a:cubicBezTo>
                    <a:pt x="4246" y="12810"/>
                    <a:pt x="4247" y="12810"/>
                    <a:pt x="4247" y="12811"/>
                  </a:cubicBezTo>
                  <a:cubicBezTo>
                    <a:pt x="4248" y="12811"/>
                    <a:pt x="4248" y="12811"/>
                    <a:pt x="4248" y="12812"/>
                  </a:cubicBezTo>
                  <a:cubicBezTo>
                    <a:pt x="4249" y="12812"/>
                    <a:pt x="4249" y="12812"/>
                    <a:pt x="4249" y="12813"/>
                  </a:cubicBezTo>
                  <a:cubicBezTo>
                    <a:pt x="4249" y="12813"/>
                    <a:pt x="4249" y="12813"/>
                    <a:pt x="4249" y="12813"/>
                  </a:cubicBezTo>
                  <a:cubicBezTo>
                    <a:pt x="4249" y="12813"/>
                    <a:pt x="4250" y="12813"/>
                    <a:pt x="4250" y="12813"/>
                  </a:cubicBezTo>
                  <a:cubicBezTo>
                    <a:pt x="4250" y="12814"/>
                    <a:pt x="4250" y="12814"/>
                    <a:pt x="4251" y="12815"/>
                  </a:cubicBezTo>
                  <a:cubicBezTo>
                    <a:pt x="4259" y="12826"/>
                    <a:pt x="4307" y="12878"/>
                    <a:pt x="4308" y="12928"/>
                  </a:cubicBezTo>
                  <a:cubicBezTo>
                    <a:pt x="4308" y="12930"/>
                    <a:pt x="4308" y="12932"/>
                    <a:pt x="4308" y="12934"/>
                  </a:cubicBezTo>
                  <a:cubicBezTo>
                    <a:pt x="4647" y="13032"/>
                    <a:pt x="4647" y="13032"/>
                    <a:pt x="4647" y="13032"/>
                  </a:cubicBezTo>
                  <a:cubicBezTo>
                    <a:pt x="4643" y="13039"/>
                    <a:pt x="4643" y="13039"/>
                    <a:pt x="4643" y="13039"/>
                  </a:cubicBezTo>
                  <a:cubicBezTo>
                    <a:pt x="4647" y="13032"/>
                    <a:pt x="4647" y="13032"/>
                    <a:pt x="4647" y="13032"/>
                  </a:cubicBezTo>
                  <a:cubicBezTo>
                    <a:pt x="4664" y="13037"/>
                    <a:pt x="4664" y="13037"/>
                    <a:pt x="4664" y="13037"/>
                  </a:cubicBezTo>
                  <a:cubicBezTo>
                    <a:pt x="4664" y="13037"/>
                    <a:pt x="4667" y="13030"/>
                    <a:pt x="4669" y="13029"/>
                  </a:cubicBezTo>
                  <a:cubicBezTo>
                    <a:pt x="4695" y="12986"/>
                    <a:pt x="4760" y="12884"/>
                    <a:pt x="4810" y="12817"/>
                  </a:cubicBezTo>
                  <a:close/>
                  <a:moveTo>
                    <a:pt x="4228" y="12817"/>
                  </a:moveTo>
                  <a:cubicBezTo>
                    <a:pt x="4227" y="12817"/>
                    <a:pt x="4227" y="12818"/>
                    <a:pt x="4227" y="12818"/>
                  </a:cubicBezTo>
                  <a:cubicBezTo>
                    <a:pt x="4227" y="12818"/>
                    <a:pt x="4227" y="12818"/>
                    <a:pt x="4228" y="12817"/>
                  </a:cubicBezTo>
                  <a:close/>
                  <a:moveTo>
                    <a:pt x="4227" y="12820"/>
                  </a:moveTo>
                  <a:cubicBezTo>
                    <a:pt x="4227" y="12820"/>
                    <a:pt x="4227" y="12820"/>
                    <a:pt x="4227" y="12820"/>
                  </a:cubicBezTo>
                  <a:cubicBezTo>
                    <a:pt x="4227" y="12820"/>
                    <a:pt x="4227" y="12820"/>
                    <a:pt x="4227" y="12820"/>
                  </a:cubicBezTo>
                  <a:cubicBezTo>
                    <a:pt x="4227" y="12820"/>
                    <a:pt x="4227" y="12820"/>
                    <a:pt x="4227" y="12820"/>
                  </a:cubicBezTo>
                  <a:close/>
                  <a:moveTo>
                    <a:pt x="3618" y="11204"/>
                  </a:moveTo>
                  <a:cubicBezTo>
                    <a:pt x="4231" y="12005"/>
                    <a:pt x="4231" y="12005"/>
                    <a:pt x="4231" y="12005"/>
                  </a:cubicBezTo>
                  <a:cubicBezTo>
                    <a:pt x="4231" y="12005"/>
                    <a:pt x="4231" y="12005"/>
                    <a:pt x="4231" y="12005"/>
                  </a:cubicBezTo>
                  <a:cubicBezTo>
                    <a:pt x="4231" y="12005"/>
                    <a:pt x="4237" y="12013"/>
                    <a:pt x="4247" y="12025"/>
                  </a:cubicBezTo>
                  <a:cubicBezTo>
                    <a:pt x="4247" y="12026"/>
                    <a:pt x="4247" y="12026"/>
                    <a:pt x="4247" y="12026"/>
                  </a:cubicBezTo>
                  <a:cubicBezTo>
                    <a:pt x="4247" y="12026"/>
                    <a:pt x="4247" y="12026"/>
                    <a:pt x="4247" y="12026"/>
                  </a:cubicBezTo>
                  <a:cubicBezTo>
                    <a:pt x="4292" y="12086"/>
                    <a:pt x="4427" y="12262"/>
                    <a:pt x="4548" y="12418"/>
                  </a:cubicBezTo>
                  <a:cubicBezTo>
                    <a:pt x="4622" y="12513"/>
                    <a:pt x="4696" y="12609"/>
                    <a:pt x="4752" y="12681"/>
                  </a:cubicBezTo>
                  <a:cubicBezTo>
                    <a:pt x="4780" y="12717"/>
                    <a:pt x="4803" y="12748"/>
                    <a:pt x="4819" y="12769"/>
                  </a:cubicBezTo>
                  <a:cubicBezTo>
                    <a:pt x="4825" y="12777"/>
                    <a:pt x="4829" y="12783"/>
                    <a:pt x="4833" y="12788"/>
                  </a:cubicBezTo>
                  <a:cubicBezTo>
                    <a:pt x="4833" y="12788"/>
                    <a:pt x="4833" y="12788"/>
                    <a:pt x="4833" y="12788"/>
                  </a:cubicBezTo>
                  <a:cubicBezTo>
                    <a:pt x="4878" y="12733"/>
                    <a:pt x="4917" y="12678"/>
                    <a:pt x="4917" y="12588"/>
                  </a:cubicBezTo>
                  <a:cubicBezTo>
                    <a:pt x="4917" y="12556"/>
                    <a:pt x="4912" y="12519"/>
                    <a:pt x="4900" y="12476"/>
                  </a:cubicBezTo>
                  <a:cubicBezTo>
                    <a:pt x="4882" y="12412"/>
                    <a:pt x="4864" y="12356"/>
                    <a:pt x="4864" y="12300"/>
                  </a:cubicBezTo>
                  <a:cubicBezTo>
                    <a:pt x="4864" y="12256"/>
                    <a:pt x="4876" y="12212"/>
                    <a:pt x="4907" y="12167"/>
                  </a:cubicBezTo>
                  <a:cubicBezTo>
                    <a:pt x="4971" y="12073"/>
                    <a:pt x="5054" y="11966"/>
                    <a:pt x="5077" y="11878"/>
                  </a:cubicBezTo>
                  <a:cubicBezTo>
                    <a:pt x="5026" y="11812"/>
                    <a:pt x="4636" y="11313"/>
                    <a:pt x="4565" y="11210"/>
                  </a:cubicBezTo>
                  <a:cubicBezTo>
                    <a:pt x="4543" y="11178"/>
                    <a:pt x="4533" y="11148"/>
                    <a:pt x="4533" y="11122"/>
                  </a:cubicBezTo>
                  <a:cubicBezTo>
                    <a:pt x="4533" y="11116"/>
                    <a:pt x="4535" y="11110"/>
                    <a:pt x="4536" y="11104"/>
                  </a:cubicBezTo>
                  <a:cubicBezTo>
                    <a:pt x="4135" y="11030"/>
                    <a:pt x="4135" y="11030"/>
                    <a:pt x="4135" y="11030"/>
                  </a:cubicBezTo>
                  <a:cubicBezTo>
                    <a:pt x="3964" y="11080"/>
                    <a:pt x="3964" y="11080"/>
                    <a:pt x="3964" y="11080"/>
                  </a:cubicBezTo>
                  <a:cubicBezTo>
                    <a:pt x="3965" y="11081"/>
                    <a:pt x="3965" y="11081"/>
                    <a:pt x="3965" y="11081"/>
                  </a:cubicBezTo>
                  <a:cubicBezTo>
                    <a:pt x="3631" y="11196"/>
                    <a:pt x="3631" y="11196"/>
                    <a:pt x="3631" y="11196"/>
                  </a:cubicBezTo>
                  <a:lnTo>
                    <a:pt x="3618" y="11204"/>
                  </a:lnTo>
                  <a:close/>
                  <a:moveTo>
                    <a:pt x="4984" y="10158"/>
                  </a:moveTo>
                  <a:cubicBezTo>
                    <a:pt x="4988" y="10190"/>
                    <a:pt x="5022" y="10487"/>
                    <a:pt x="5059" y="10797"/>
                  </a:cubicBezTo>
                  <a:cubicBezTo>
                    <a:pt x="5097" y="11126"/>
                    <a:pt x="5139" y="11470"/>
                    <a:pt x="5150" y="11525"/>
                  </a:cubicBezTo>
                  <a:cubicBezTo>
                    <a:pt x="5155" y="11551"/>
                    <a:pt x="5157" y="11579"/>
                    <a:pt x="5157" y="11607"/>
                  </a:cubicBezTo>
                  <a:cubicBezTo>
                    <a:pt x="5157" y="11688"/>
                    <a:pt x="5139" y="11772"/>
                    <a:pt x="5123" y="11841"/>
                  </a:cubicBezTo>
                  <a:cubicBezTo>
                    <a:pt x="5130" y="11843"/>
                    <a:pt x="5130" y="11843"/>
                    <a:pt x="5130" y="11843"/>
                  </a:cubicBezTo>
                  <a:cubicBezTo>
                    <a:pt x="5870" y="11909"/>
                    <a:pt x="5870" y="11909"/>
                    <a:pt x="5870" y="11909"/>
                  </a:cubicBezTo>
                  <a:cubicBezTo>
                    <a:pt x="5870" y="11909"/>
                    <a:pt x="5870" y="11909"/>
                    <a:pt x="5870" y="11909"/>
                  </a:cubicBezTo>
                  <a:cubicBezTo>
                    <a:pt x="5875" y="11909"/>
                    <a:pt x="5875" y="11909"/>
                    <a:pt x="5875" y="11909"/>
                  </a:cubicBezTo>
                  <a:cubicBezTo>
                    <a:pt x="5906" y="11634"/>
                    <a:pt x="5906" y="11634"/>
                    <a:pt x="5906" y="11634"/>
                  </a:cubicBezTo>
                  <a:cubicBezTo>
                    <a:pt x="5858" y="11528"/>
                    <a:pt x="5858" y="11528"/>
                    <a:pt x="5858" y="11528"/>
                  </a:cubicBezTo>
                  <a:cubicBezTo>
                    <a:pt x="5971" y="10037"/>
                    <a:pt x="5971" y="10037"/>
                    <a:pt x="5971" y="10037"/>
                  </a:cubicBezTo>
                  <a:cubicBezTo>
                    <a:pt x="5918" y="10040"/>
                    <a:pt x="5861" y="10044"/>
                    <a:pt x="5799" y="10049"/>
                  </a:cubicBezTo>
                  <a:cubicBezTo>
                    <a:pt x="5565" y="10067"/>
                    <a:pt x="5270" y="10100"/>
                    <a:pt x="4984" y="10158"/>
                  </a:cubicBezTo>
                  <a:close/>
                  <a:moveTo>
                    <a:pt x="6018" y="9998"/>
                  </a:moveTo>
                  <a:cubicBezTo>
                    <a:pt x="6166" y="9990"/>
                    <a:pt x="6258" y="9989"/>
                    <a:pt x="6258" y="9989"/>
                  </a:cubicBezTo>
                  <a:cubicBezTo>
                    <a:pt x="6258" y="10013"/>
                    <a:pt x="6258" y="10013"/>
                    <a:pt x="6258" y="10013"/>
                  </a:cubicBezTo>
                  <a:cubicBezTo>
                    <a:pt x="6271" y="9975"/>
                    <a:pt x="6313" y="9852"/>
                    <a:pt x="6372" y="9680"/>
                  </a:cubicBezTo>
                  <a:cubicBezTo>
                    <a:pt x="6477" y="9369"/>
                    <a:pt x="6636" y="8902"/>
                    <a:pt x="6768" y="8513"/>
                  </a:cubicBezTo>
                  <a:cubicBezTo>
                    <a:pt x="6834" y="8318"/>
                    <a:pt x="6893" y="8143"/>
                    <a:pt x="6936" y="8016"/>
                  </a:cubicBezTo>
                  <a:cubicBezTo>
                    <a:pt x="6957" y="7954"/>
                    <a:pt x="6974" y="7904"/>
                    <a:pt x="6986" y="7868"/>
                  </a:cubicBezTo>
                  <a:cubicBezTo>
                    <a:pt x="6985" y="7846"/>
                    <a:pt x="6985" y="7846"/>
                    <a:pt x="6985" y="7846"/>
                  </a:cubicBezTo>
                  <a:cubicBezTo>
                    <a:pt x="6929" y="7859"/>
                    <a:pt x="6890" y="7884"/>
                    <a:pt x="6864" y="7906"/>
                  </a:cubicBezTo>
                  <a:cubicBezTo>
                    <a:pt x="6850" y="7918"/>
                    <a:pt x="6840" y="7929"/>
                    <a:pt x="6834" y="7937"/>
                  </a:cubicBezTo>
                  <a:cubicBezTo>
                    <a:pt x="6831" y="7941"/>
                    <a:pt x="6829" y="7944"/>
                    <a:pt x="6828" y="7946"/>
                  </a:cubicBezTo>
                  <a:cubicBezTo>
                    <a:pt x="6827" y="7946"/>
                    <a:pt x="6827" y="7947"/>
                    <a:pt x="6827" y="7947"/>
                  </a:cubicBezTo>
                  <a:cubicBezTo>
                    <a:pt x="6807" y="7983"/>
                    <a:pt x="6788" y="8022"/>
                    <a:pt x="6774" y="8052"/>
                  </a:cubicBezTo>
                  <a:cubicBezTo>
                    <a:pt x="6759" y="8082"/>
                    <a:pt x="6750" y="8103"/>
                    <a:pt x="6750" y="8103"/>
                  </a:cubicBezTo>
                  <a:cubicBezTo>
                    <a:pt x="6744" y="8116"/>
                    <a:pt x="6744" y="8116"/>
                    <a:pt x="6744" y="8116"/>
                  </a:cubicBezTo>
                  <a:cubicBezTo>
                    <a:pt x="6733" y="8125"/>
                    <a:pt x="6733" y="8125"/>
                    <a:pt x="6733" y="8125"/>
                  </a:cubicBezTo>
                  <a:cubicBezTo>
                    <a:pt x="6713" y="8140"/>
                    <a:pt x="6692" y="8147"/>
                    <a:pt x="6672" y="8150"/>
                  </a:cubicBezTo>
                  <a:lnTo>
                    <a:pt x="6018" y="9998"/>
                  </a:lnTo>
                  <a:close/>
                  <a:moveTo>
                    <a:pt x="8025" y="8105"/>
                  </a:moveTo>
                  <a:cubicBezTo>
                    <a:pt x="8021" y="8102"/>
                    <a:pt x="8005" y="8092"/>
                    <a:pt x="7980" y="8076"/>
                  </a:cubicBezTo>
                  <a:cubicBezTo>
                    <a:pt x="7891" y="8019"/>
                    <a:pt x="7686" y="7899"/>
                    <a:pt x="7534" y="7863"/>
                  </a:cubicBezTo>
                  <a:cubicBezTo>
                    <a:pt x="7534" y="7862"/>
                    <a:pt x="7533" y="7862"/>
                    <a:pt x="7532" y="7862"/>
                  </a:cubicBezTo>
                  <a:cubicBezTo>
                    <a:pt x="7530" y="7866"/>
                    <a:pt x="7527" y="7870"/>
                    <a:pt x="7524" y="7873"/>
                  </a:cubicBezTo>
                  <a:cubicBezTo>
                    <a:pt x="6863" y="9940"/>
                    <a:pt x="6863" y="9940"/>
                    <a:pt x="6863" y="9940"/>
                  </a:cubicBezTo>
                  <a:cubicBezTo>
                    <a:pt x="7220" y="9693"/>
                    <a:pt x="7220" y="9693"/>
                    <a:pt x="7220" y="9693"/>
                  </a:cubicBezTo>
                  <a:cubicBezTo>
                    <a:pt x="8022" y="8113"/>
                    <a:pt x="8022" y="8113"/>
                    <a:pt x="8022" y="8113"/>
                  </a:cubicBezTo>
                  <a:cubicBezTo>
                    <a:pt x="8023" y="8111"/>
                    <a:pt x="8024" y="8108"/>
                    <a:pt x="8025" y="8105"/>
                  </a:cubicBezTo>
                  <a:close/>
                  <a:moveTo>
                    <a:pt x="7489" y="7853"/>
                  </a:moveTo>
                  <a:cubicBezTo>
                    <a:pt x="7392" y="7832"/>
                    <a:pt x="7301" y="7823"/>
                    <a:pt x="7218" y="7823"/>
                  </a:cubicBezTo>
                  <a:cubicBezTo>
                    <a:pt x="7153" y="7823"/>
                    <a:pt x="7093" y="7828"/>
                    <a:pt x="7037" y="7837"/>
                  </a:cubicBezTo>
                  <a:cubicBezTo>
                    <a:pt x="7031" y="7846"/>
                    <a:pt x="7031" y="7846"/>
                    <a:pt x="7031" y="7846"/>
                  </a:cubicBezTo>
                  <a:cubicBezTo>
                    <a:pt x="6951" y="8087"/>
                    <a:pt x="6306" y="9986"/>
                    <a:pt x="6289" y="10036"/>
                  </a:cubicBezTo>
                  <a:cubicBezTo>
                    <a:pt x="6126" y="10875"/>
                    <a:pt x="6126" y="10875"/>
                    <a:pt x="6126" y="10875"/>
                  </a:cubicBezTo>
                  <a:cubicBezTo>
                    <a:pt x="6714" y="10883"/>
                    <a:pt x="6714" y="10883"/>
                    <a:pt x="6714" y="10883"/>
                  </a:cubicBezTo>
                  <a:cubicBezTo>
                    <a:pt x="6809" y="9991"/>
                    <a:pt x="6809" y="9991"/>
                    <a:pt x="6809" y="9991"/>
                  </a:cubicBezTo>
                  <a:cubicBezTo>
                    <a:pt x="7486" y="7874"/>
                    <a:pt x="7486" y="7874"/>
                    <a:pt x="7486" y="7874"/>
                  </a:cubicBezTo>
                  <a:cubicBezTo>
                    <a:pt x="7487" y="7870"/>
                    <a:pt x="7488" y="7860"/>
                    <a:pt x="7489" y="7853"/>
                  </a:cubicBezTo>
                  <a:close/>
                  <a:moveTo>
                    <a:pt x="6007" y="10035"/>
                  </a:moveTo>
                  <a:cubicBezTo>
                    <a:pt x="5895" y="11521"/>
                    <a:pt x="5895" y="11521"/>
                    <a:pt x="5895" y="11521"/>
                  </a:cubicBezTo>
                  <a:cubicBezTo>
                    <a:pt x="5922" y="11582"/>
                    <a:pt x="5922" y="11582"/>
                    <a:pt x="5922" y="11582"/>
                  </a:cubicBezTo>
                  <a:cubicBezTo>
                    <a:pt x="5985" y="11398"/>
                    <a:pt x="5985" y="11398"/>
                    <a:pt x="5985" y="11398"/>
                  </a:cubicBezTo>
                  <a:cubicBezTo>
                    <a:pt x="6082" y="10910"/>
                    <a:pt x="6082" y="10910"/>
                    <a:pt x="6082" y="10910"/>
                  </a:cubicBezTo>
                  <a:cubicBezTo>
                    <a:pt x="6254" y="10027"/>
                    <a:pt x="6254" y="10027"/>
                    <a:pt x="6254" y="10027"/>
                  </a:cubicBezTo>
                  <a:cubicBezTo>
                    <a:pt x="6254" y="10026"/>
                    <a:pt x="6254" y="10026"/>
                    <a:pt x="6254" y="10026"/>
                  </a:cubicBezTo>
                  <a:cubicBezTo>
                    <a:pt x="6254" y="10026"/>
                    <a:pt x="6254" y="10026"/>
                    <a:pt x="6254" y="10026"/>
                  </a:cubicBezTo>
                  <a:cubicBezTo>
                    <a:pt x="6235" y="10026"/>
                    <a:pt x="6144" y="10028"/>
                    <a:pt x="6007" y="10035"/>
                  </a:cubicBezTo>
                  <a:close/>
                  <a:moveTo>
                    <a:pt x="5043" y="10973"/>
                  </a:moveTo>
                  <a:cubicBezTo>
                    <a:pt x="5019" y="10977"/>
                    <a:pt x="4940" y="10989"/>
                    <a:pt x="4857" y="11002"/>
                  </a:cubicBezTo>
                  <a:cubicBezTo>
                    <a:pt x="4807" y="11010"/>
                    <a:pt x="4756" y="11018"/>
                    <a:pt x="4715" y="11025"/>
                  </a:cubicBezTo>
                  <a:cubicBezTo>
                    <a:pt x="4675" y="11032"/>
                    <a:pt x="4644" y="11039"/>
                    <a:pt x="4639" y="11041"/>
                  </a:cubicBezTo>
                  <a:cubicBezTo>
                    <a:pt x="4628" y="11045"/>
                    <a:pt x="4609" y="11054"/>
                    <a:pt x="4595" y="11068"/>
                  </a:cubicBezTo>
                  <a:cubicBezTo>
                    <a:pt x="4580" y="11082"/>
                    <a:pt x="4570" y="11099"/>
                    <a:pt x="4570" y="11122"/>
                  </a:cubicBezTo>
                  <a:cubicBezTo>
                    <a:pt x="4570" y="11139"/>
                    <a:pt x="4576" y="11161"/>
                    <a:pt x="4595" y="11189"/>
                  </a:cubicBezTo>
                  <a:cubicBezTo>
                    <a:pt x="4631" y="11243"/>
                    <a:pt x="4761" y="11412"/>
                    <a:pt x="4881" y="11567"/>
                  </a:cubicBezTo>
                  <a:cubicBezTo>
                    <a:pt x="4968" y="11679"/>
                    <a:pt x="5049" y="11784"/>
                    <a:pt x="5088" y="11834"/>
                  </a:cubicBezTo>
                  <a:cubicBezTo>
                    <a:pt x="5104" y="11765"/>
                    <a:pt x="5121" y="11683"/>
                    <a:pt x="5121" y="11607"/>
                  </a:cubicBezTo>
                  <a:cubicBezTo>
                    <a:pt x="5121" y="11581"/>
                    <a:pt x="5119" y="11556"/>
                    <a:pt x="5114" y="11532"/>
                  </a:cubicBezTo>
                  <a:cubicBezTo>
                    <a:pt x="5105" y="11484"/>
                    <a:pt x="5075" y="11241"/>
                    <a:pt x="5043" y="10973"/>
                  </a:cubicBezTo>
                  <a:close/>
                  <a:moveTo>
                    <a:pt x="5671" y="13962"/>
                  </a:moveTo>
                  <a:cubicBezTo>
                    <a:pt x="5776" y="13886"/>
                    <a:pt x="5776" y="13886"/>
                    <a:pt x="5776" y="13886"/>
                  </a:cubicBezTo>
                  <a:cubicBezTo>
                    <a:pt x="5782" y="13886"/>
                    <a:pt x="5782" y="13886"/>
                    <a:pt x="5782" y="13886"/>
                  </a:cubicBezTo>
                  <a:cubicBezTo>
                    <a:pt x="5782" y="13886"/>
                    <a:pt x="5887" y="13886"/>
                    <a:pt x="6012" y="13884"/>
                  </a:cubicBezTo>
                  <a:cubicBezTo>
                    <a:pt x="6137" y="13882"/>
                    <a:pt x="6283" y="13878"/>
                    <a:pt x="6363" y="13870"/>
                  </a:cubicBezTo>
                  <a:cubicBezTo>
                    <a:pt x="6376" y="13869"/>
                    <a:pt x="6388" y="13867"/>
                    <a:pt x="6400" y="13866"/>
                  </a:cubicBezTo>
                  <a:cubicBezTo>
                    <a:pt x="6396" y="13866"/>
                    <a:pt x="6396" y="13866"/>
                    <a:pt x="6396" y="13866"/>
                  </a:cubicBezTo>
                  <a:cubicBezTo>
                    <a:pt x="6396" y="13866"/>
                    <a:pt x="6396" y="13866"/>
                    <a:pt x="6396" y="13866"/>
                  </a:cubicBezTo>
                  <a:cubicBezTo>
                    <a:pt x="6710" y="10919"/>
                    <a:pt x="6710" y="10919"/>
                    <a:pt x="6710" y="10919"/>
                  </a:cubicBezTo>
                  <a:cubicBezTo>
                    <a:pt x="6119" y="10911"/>
                    <a:pt x="6119" y="10911"/>
                    <a:pt x="6119" y="10911"/>
                  </a:cubicBezTo>
                  <a:cubicBezTo>
                    <a:pt x="6118" y="10917"/>
                    <a:pt x="6118" y="10917"/>
                    <a:pt x="6118" y="10917"/>
                  </a:cubicBezTo>
                  <a:cubicBezTo>
                    <a:pt x="6020" y="11408"/>
                    <a:pt x="6020" y="11408"/>
                    <a:pt x="6020" y="11408"/>
                  </a:cubicBezTo>
                  <a:cubicBezTo>
                    <a:pt x="5942" y="11635"/>
                    <a:pt x="5942" y="11635"/>
                    <a:pt x="5942" y="11635"/>
                  </a:cubicBezTo>
                  <a:cubicBezTo>
                    <a:pt x="5685" y="13903"/>
                    <a:pt x="5685" y="13903"/>
                    <a:pt x="5685" y="13903"/>
                  </a:cubicBezTo>
                  <a:lnTo>
                    <a:pt x="5671" y="13962"/>
                  </a:lnTo>
                  <a:close/>
                  <a:moveTo>
                    <a:pt x="8568" y="10341"/>
                  </a:moveTo>
                  <a:cubicBezTo>
                    <a:pt x="8546" y="10324"/>
                    <a:pt x="8546" y="10324"/>
                    <a:pt x="8546" y="10324"/>
                  </a:cubicBezTo>
                  <a:cubicBezTo>
                    <a:pt x="8525" y="10311"/>
                    <a:pt x="8499" y="10293"/>
                    <a:pt x="8468" y="10273"/>
                  </a:cubicBezTo>
                  <a:cubicBezTo>
                    <a:pt x="8280" y="10150"/>
                    <a:pt x="7947" y="9926"/>
                    <a:pt x="7878" y="9880"/>
                  </a:cubicBezTo>
                  <a:cubicBezTo>
                    <a:pt x="7874" y="9891"/>
                    <a:pt x="7868" y="9909"/>
                    <a:pt x="7861" y="9931"/>
                  </a:cubicBezTo>
                  <a:cubicBezTo>
                    <a:pt x="7820" y="10063"/>
                    <a:pt x="7732" y="10367"/>
                    <a:pt x="7656" y="10638"/>
                  </a:cubicBezTo>
                  <a:cubicBezTo>
                    <a:pt x="7587" y="10881"/>
                    <a:pt x="7526" y="11096"/>
                    <a:pt x="7515" y="11138"/>
                  </a:cubicBezTo>
                  <a:cubicBezTo>
                    <a:pt x="7514" y="11144"/>
                    <a:pt x="7514" y="11144"/>
                    <a:pt x="7514" y="11144"/>
                  </a:cubicBezTo>
                  <a:cubicBezTo>
                    <a:pt x="7837" y="11300"/>
                    <a:pt x="8004" y="11387"/>
                    <a:pt x="8047" y="11409"/>
                  </a:cubicBezTo>
                  <a:lnTo>
                    <a:pt x="8568" y="10341"/>
                  </a:lnTo>
                  <a:close/>
                  <a:moveTo>
                    <a:pt x="9271" y="8897"/>
                  </a:moveTo>
                  <a:cubicBezTo>
                    <a:pt x="9128" y="8818"/>
                    <a:pt x="8866" y="8654"/>
                    <a:pt x="8734" y="8573"/>
                  </a:cubicBezTo>
                  <a:cubicBezTo>
                    <a:pt x="8723" y="8580"/>
                    <a:pt x="8723" y="8580"/>
                    <a:pt x="8723" y="8580"/>
                  </a:cubicBezTo>
                  <a:cubicBezTo>
                    <a:pt x="8677" y="8652"/>
                    <a:pt x="8497" y="8933"/>
                    <a:pt x="8315" y="9214"/>
                  </a:cubicBezTo>
                  <a:cubicBezTo>
                    <a:pt x="8209" y="9378"/>
                    <a:pt x="8103" y="9541"/>
                    <a:pt x="8023" y="9663"/>
                  </a:cubicBezTo>
                  <a:cubicBezTo>
                    <a:pt x="7982" y="9725"/>
                    <a:pt x="7948" y="9776"/>
                    <a:pt x="7924" y="9812"/>
                  </a:cubicBezTo>
                  <a:cubicBezTo>
                    <a:pt x="7912" y="9830"/>
                    <a:pt x="7902" y="9844"/>
                    <a:pt x="7895" y="9853"/>
                  </a:cubicBezTo>
                  <a:cubicBezTo>
                    <a:pt x="7894" y="9855"/>
                    <a:pt x="7893" y="9856"/>
                    <a:pt x="7892" y="9858"/>
                  </a:cubicBezTo>
                  <a:cubicBezTo>
                    <a:pt x="7935" y="9886"/>
                    <a:pt x="8087" y="9989"/>
                    <a:pt x="8241" y="10091"/>
                  </a:cubicBezTo>
                  <a:cubicBezTo>
                    <a:pt x="8332" y="10152"/>
                    <a:pt x="8423" y="10212"/>
                    <a:pt x="8492" y="10258"/>
                  </a:cubicBezTo>
                  <a:cubicBezTo>
                    <a:pt x="8520" y="10276"/>
                    <a:pt x="8543" y="10291"/>
                    <a:pt x="8562" y="10304"/>
                  </a:cubicBezTo>
                  <a:cubicBezTo>
                    <a:pt x="8570" y="10304"/>
                    <a:pt x="8578" y="10305"/>
                    <a:pt x="8585" y="10305"/>
                  </a:cubicBezTo>
                  <a:lnTo>
                    <a:pt x="9271" y="8897"/>
                  </a:lnTo>
                  <a:close/>
                  <a:moveTo>
                    <a:pt x="8682" y="8541"/>
                  </a:moveTo>
                  <a:cubicBezTo>
                    <a:pt x="8588" y="8485"/>
                    <a:pt x="8171" y="8175"/>
                    <a:pt x="8090" y="8114"/>
                  </a:cubicBezTo>
                  <a:cubicBezTo>
                    <a:pt x="8074" y="8116"/>
                    <a:pt x="8065" y="8116"/>
                    <a:pt x="8065" y="8116"/>
                  </a:cubicBezTo>
                  <a:cubicBezTo>
                    <a:pt x="8064" y="8116"/>
                    <a:pt x="8064" y="8116"/>
                    <a:pt x="8064" y="8116"/>
                  </a:cubicBezTo>
                  <a:cubicBezTo>
                    <a:pt x="8054" y="8130"/>
                    <a:pt x="8054" y="8130"/>
                    <a:pt x="8054" y="8130"/>
                  </a:cubicBezTo>
                  <a:cubicBezTo>
                    <a:pt x="7248" y="9717"/>
                    <a:pt x="7248" y="9717"/>
                    <a:pt x="7248" y="9717"/>
                  </a:cubicBezTo>
                  <a:cubicBezTo>
                    <a:pt x="6849" y="9994"/>
                    <a:pt x="6849" y="9994"/>
                    <a:pt x="6849" y="9994"/>
                  </a:cubicBezTo>
                  <a:cubicBezTo>
                    <a:pt x="6847" y="9990"/>
                    <a:pt x="6847" y="9990"/>
                    <a:pt x="6847" y="9990"/>
                  </a:cubicBezTo>
                  <a:cubicBezTo>
                    <a:pt x="6844" y="9999"/>
                    <a:pt x="6844" y="9999"/>
                    <a:pt x="6844" y="9999"/>
                  </a:cubicBezTo>
                  <a:cubicBezTo>
                    <a:pt x="6750" y="10885"/>
                    <a:pt x="6750" y="10885"/>
                    <a:pt x="6750" y="10885"/>
                  </a:cubicBezTo>
                  <a:cubicBezTo>
                    <a:pt x="6818" y="10897"/>
                    <a:pt x="7114" y="10952"/>
                    <a:pt x="7475" y="11125"/>
                  </a:cubicBezTo>
                  <a:cubicBezTo>
                    <a:pt x="7476" y="11126"/>
                    <a:pt x="7478" y="11127"/>
                    <a:pt x="7479" y="11128"/>
                  </a:cubicBezTo>
                  <a:cubicBezTo>
                    <a:pt x="7484" y="11124"/>
                    <a:pt x="7490" y="11120"/>
                    <a:pt x="7493" y="11118"/>
                  </a:cubicBezTo>
                  <a:cubicBezTo>
                    <a:pt x="7514" y="11043"/>
                    <a:pt x="7590" y="10771"/>
                    <a:pt x="7668" y="10498"/>
                  </a:cubicBezTo>
                  <a:cubicBezTo>
                    <a:pt x="7714" y="10338"/>
                    <a:pt x="7760" y="10177"/>
                    <a:pt x="7796" y="10057"/>
                  </a:cubicBezTo>
                  <a:cubicBezTo>
                    <a:pt x="7813" y="9997"/>
                    <a:pt x="7829" y="9947"/>
                    <a:pt x="7840" y="9912"/>
                  </a:cubicBezTo>
                  <a:cubicBezTo>
                    <a:pt x="7845" y="9894"/>
                    <a:pt x="7850" y="9880"/>
                    <a:pt x="7854" y="9870"/>
                  </a:cubicBezTo>
                  <a:cubicBezTo>
                    <a:pt x="7855" y="9865"/>
                    <a:pt x="7857" y="9862"/>
                    <a:pt x="7858" y="9859"/>
                  </a:cubicBezTo>
                  <a:cubicBezTo>
                    <a:pt x="7859" y="9857"/>
                    <a:pt x="7860" y="9856"/>
                    <a:pt x="7860" y="9854"/>
                  </a:cubicBezTo>
                  <a:cubicBezTo>
                    <a:pt x="7862" y="9854"/>
                    <a:pt x="7861" y="9851"/>
                    <a:pt x="7865" y="9850"/>
                  </a:cubicBezTo>
                  <a:cubicBezTo>
                    <a:pt x="7877" y="9836"/>
                    <a:pt x="7937" y="9747"/>
                    <a:pt x="8018" y="9623"/>
                  </a:cubicBezTo>
                  <a:cubicBezTo>
                    <a:pt x="8141" y="9435"/>
                    <a:pt x="8315" y="9166"/>
                    <a:pt x="8458" y="8944"/>
                  </a:cubicBezTo>
                  <a:cubicBezTo>
                    <a:pt x="8576" y="8761"/>
                    <a:pt x="8673" y="8610"/>
                    <a:pt x="8703" y="8563"/>
                  </a:cubicBezTo>
                  <a:cubicBezTo>
                    <a:pt x="8702" y="8554"/>
                    <a:pt x="8702" y="8554"/>
                    <a:pt x="8702" y="8554"/>
                  </a:cubicBezTo>
                  <a:cubicBezTo>
                    <a:pt x="8695" y="8549"/>
                    <a:pt x="8688" y="8545"/>
                    <a:pt x="8682" y="8541"/>
                  </a:cubicBezTo>
                  <a:close/>
                  <a:moveTo>
                    <a:pt x="6511" y="8148"/>
                  </a:moveTo>
                  <a:cubicBezTo>
                    <a:pt x="6503" y="8171"/>
                    <a:pt x="6495" y="8193"/>
                    <a:pt x="6484" y="8214"/>
                  </a:cubicBezTo>
                  <a:cubicBezTo>
                    <a:pt x="6463" y="8258"/>
                    <a:pt x="6430" y="8303"/>
                    <a:pt x="6377" y="8326"/>
                  </a:cubicBezTo>
                  <a:cubicBezTo>
                    <a:pt x="6349" y="8338"/>
                    <a:pt x="6322" y="8342"/>
                    <a:pt x="6288" y="8346"/>
                  </a:cubicBezTo>
                  <a:cubicBezTo>
                    <a:pt x="6255" y="8349"/>
                    <a:pt x="6217" y="8350"/>
                    <a:pt x="6174" y="8350"/>
                  </a:cubicBezTo>
                  <a:cubicBezTo>
                    <a:pt x="5967" y="8350"/>
                    <a:pt x="5645" y="8320"/>
                    <a:pt x="5393" y="8299"/>
                  </a:cubicBezTo>
                  <a:cubicBezTo>
                    <a:pt x="5409" y="8383"/>
                    <a:pt x="5441" y="8553"/>
                    <a:pt x="5452" y="8639"/>
                  </a:cubicBezTo>
                  <a:cubicBezTo>
                    <a:pt x="5457" y="8683"/>
                    <a:pt x="5461" y="8724"/>
                    <a:pt x="5461" y="8763"/>
                  </a:cubicBezTo>
                  <a:cubicBezTo>
                    <a:pt x="5461" y="8829"/>
                    <a:pt x="5449" y="8887"/>
                    <a:pt x="5410" y="8931"/>
                  </a:cubicBezTo>
                  <a:cubicBezTo>
                    <a:pt x="5381" y="8961"/>
                    <a:pt x="5331" y="9021"/>
                    <a:pt x="5259" y="9078"/>
                  </a:cubicBezTo>
                  <a:cubicBezTo>
                    <a:pt x="5274" y="9096"/>
                    <a:pt x="5307" y="9136"/>
                    <a:pt x="5316" y="9170"/>
                  </a:cubicBezTo>
                  <a:cubicBezTo>
                    <a:pt x="5320" y="9186"/>
                    <a:pt x="5344" y="9236"/>
                    <a:pt x="5369" y="9295"/>
                  </a:cubicBezTo>
                  <a:cubicBezTo>
                    <a:pt x="5393" y="9355"/>
                    <a:pt x="5418" y="9426"/>
                    <a:pt x="5423" y="9492"/>
                  </a:cubicBezTo>
                  <a:cubicBezTo>
                    <a:pt x="5424" y="9505"/>
                    <a:pt x="5424" y="9521"/>
                    <a:pt x="5424" y="9539"/>
                  </a:cubicBezTo>
                  <a:cubicBezTo>
                    <a:pt x="5424" y="9675"/>
                    <a:pt x="5401" y="9943"/>
                    <a:pt x="5392" y="10036"/>
                  </a:cubicBezTo>
                  <a:cubicBezTo>
                    <a:pt x="5397" y="10054"/>
                    <a:pt x="5397" y="10054"/>
                    <a:pt x="5397" y="10054"/>
                  </a:cubicBezTo>
                  <a:cubicBezTo>
                    <a:pt x="5619" y="10025"/>
                    <a:pt x="5824" y="10009"/>
                    <a:pt x="5979" y="10001"/>
                  </a:cubicBezTo>
                  <a:cubicBezTo>
                    <a:pt x="6626" y="8174"/>
                    <a:pt x="6626" y="8174"/>
                    <a:pt x="6626" y="8174"/>
                  </a:cubicBezTo>
                  <a:cubicBezTo>
                    <a:pt x="6623" y="8173"/>
                    <a:pt x="6623" y="8173"/>
                    <a:pt x="6623" y="8173"/>
                  </a:cubicBezTo>
                  <a:cubicBezTo>
                    <a:pt x="6628" y="8154"/>
                    <a:pt x="6628" y="8154"/>
                    <a:pt x="6628" y="8154"/>
                  </a:cubicBezTo>
                  <a:cubicBezTo>
                    <a:pt x="6626" y="8154"/>
                    <a:pt x="6625" y="8154"/>
                    <a:pt x="6623" y="8154"/>
                  </a:cubicBezTo>
                  <a:cubicBezTo>
                    <a:pt x="6610" y="8154"/>
                    <a:pt x="6598" y="8154"/>
                    <a:pt x="6586" y="8153"/>
                  </a:cubicBezTo>
                  <a:cubicBezTo>
                    <a:pt x="6580" y="8153"/>
                    <a:pt x="6553" y="8151"/>
                    <a:pt x="6511" y="8148"/>
                  </a:cubicBezTo>
                  <a:close/>
                  <a:moveTo>
                    <a:pt x="6366" y="8138"/>
                  </a:moveTo>
                  <a:cubicBezTo>
                    <a:pt x="5978" y="8110"/>
                    <a:pt x="5207" y="8055"/>
                    <a:pt x="5121" y="8049"/>
                  </a:cubicBezTo>
                  <a:cubicBezTo>
                    <a:pt x="5072" y="8059"/>
                    <a:pt x="4814" y="8112"/>
                    <a:pt x="4606" y="8144"/>
                  </a:cubicBezTo>
                  <a:cubicBezTo>
                    <a:pt x="4697" y="8139"/>
                    <a:pt x="4786" y="8137"/>
                    <a:pt x="4868" y="8137"/>
                  </a:cubicBezTo>
                  <a:cubicBezTo>
                    <a:pt x="4979" y="8137"/>
                    <a:pt x="5079" y="8140"/>
                    <a:pt x="5158" y="8144"/>
                  </a:cubicBezTo>
                  <a:cubicBezTo>
                    <a:pt x="5406" y="8155"/>
                    <a:pt x="5906" y="8211"/>
                    <a:pt x="6174" y="8211"/>
                  </a:cubicBezTo>
                  <a:cubicBezTo>
                    <a:pt x="6214" y="8211"/>
                    <a:pt x="6249" y="8209"/>
                    <a:pt x="6275" y="8207"/>
                  </a:cubicBezTo>
                  <a:cubicBezTo>
                    <a:pt x="6301" y="8205"/>
                    <a:pt x="6320" y="8200"/>
                    <a:pt x="6321" y="8199"/>
                  </a:cubicBezTo>
                  <a:cubicBezTo>
                    <a:pt x="6332" y="8194"/>
                    <a:pt x="6345" y="8182"/>
                    <a:pt x="6359" y="8153"/>
                  </a:cubicBezTo>
                  <a:cubicBezTo>
                    <a:pt x="6361" y="8148"/>
                    <a:pt x="6364" y="8143"/>
                    <a:pt x="6366" y="8138"/>
                  </a:cubicBezTo>
                  <a:close/>
                  <a:moveTo>
                    <a:pt x="4197" y="9277"/>
                  </a:moveTo>
                  <a:cubicBezTo>
                    <a:pt x="4623" y="10205"/>
                    <a:pt x="4623" y="10205"/>
                    <a:pt x="4623" y="10205"/>
                  </a:cubicBezTo>
                  <a:cubicBezTo>
                    <a:pt x="4697" y="10186"/>
                    <a:pt x="4770" y="10168"/>
                    <a:pt x="4839" y="10152"/>
                  </a:cubicBezTo>
                  <a:cubicBezTo>
                    <a:pt x="5008" y="10112"/>
                    <a:pt x="5185" y="10082"/>
                    <a:pt x="5353" y="10060"/>
                  </a:cubicBezTo>
                  <a:cubicBezTo>
                    <a:pt x="5365" y="10042"/>
                    <a:pt x="5365" y="10042"/>
                    <a:pt x="5365" y="10042"/>
                  </a:cubicBezTo>
                  <a:cubicBezTo>
                    <a:pt x="5373" y="9958"/>
                    <a:pt x="5398" y="9677"/>
                    <a:pt x="5398" y="9539"/>
                  </a:cubicBezTo>
                  <a:cubicBezTo>
                    <a:pt x="5398" y="9521"/>
                    <a:pt x="5397" y="9506"/>
                    <a:pt x="5397" y="9494"/>
                  </a:cubicBezTo>
                  <a:cubicBezTo>
                    <a:pt x="5392" y="9433"/>
                    <a:pt x="5368" y="9364"/>
                    <a:pt x="5344" y="9305"/>
                  </a:cubicBezTo>
                  <a:cubicBezTo>
                    <a:pt x="5320" y="9246"/>
                    <a:pt x="5297" y="9199"/>
                    <a:pt x="5291" y="9176"/>
                  </a:cubicBezTo>
                  <a:cubicBezTo>
                    <a:pt x="5287" y="9161"/>
                    <a:pt x="5272" y="9137"/>
                    <a:pt x="5258" y="9118"/>
                  </a:cubicBezTo>
                  <a:cubicBezTo>
                    <a:pt x="5250" y="9108"/>
                    <a:pt x="5243" y="9099"/>
                    <a:pt x="5237" y="9093"/>
                  </a:cubicBezTo>
                  <a:cubicBezTo>
                    <a:pt x="5166" y="9145"/>
                    <a:pt x="5075" y="9192"/>
                    <a:pt x="4962" y="9210"/>
                  </a:cubicBezTo>
                  <a:cubicBezTo>
                    <a:pt x="4752" y="9244"/>
                    <a:pt x="4323" y="9270"/>
                    <a:pt x="4197" y="9277"/>
                  </a:cubicBezTo>
                  <a:close/>
                  <a:moveTo>
                    <a:pt x="3774" y="10487"/>
                  </a:moveTo>
                  <a:cubicBezTo>
                    <a:pt x="3608" y="10538"/>
                    <a:pt x="3463" y="10585"/>
                    <a:pt x="3359" y="10619"/>
                  </a:cubicBezTo>
                  <a:cubicBezTo>
                    <a:pt x="3307" y="10636"/>
                    <a:pt x="3265" y="10651"/>
                    <a:pt x="3236" y="10661"/>
                  </a:cubicBezTo>
                  <a:cubicBezTo>
                    <a:pt x="3226" y="10664"/>
                    <a:pt x="3218" y="10667"/>
                    <a:pt x="3211" y="10670"/>
                  </a:cubicBezTo>
                  <a:cubicBezTo>
                    <a:pt x="3443" y="10977"/>
                    <a:pt x="3443" y="10977"/>
                    <a:pt x="3443" y="10977"/>
                  </a:cubicBezTo>
                  <a:cubicBezTo>
                    <a:pt x="3444" y="10976"/>
                    <a:pt x="3444" y="10976"/>
                    <a:pt x="3444" y="10976"/>
                  </a:cubicBezTo>
                  <a:cubicBezTo>
                    <a:pt x="3594" y="11172"/>
                    <a:pt x="3594" y="11172"/>
                    <a:pt x="3594" y="11172"/>
                  </a:cubicBezTo>
                  <a:cubicBezTo>
                    <a:pt x="3609" y="11169"/>
                    <a:pt x="3609" y="11169"/>
                    <a:pt x="3609" y="11169"/>
                  </a:cubicBezTo>
                  <a:cubicBezTo>
                    <a:pt x="3609" y="11169"/>
                    <a:pt x="3609" y="11169"/>
                    <a:pt x="3609" y="11169"/>
                  </a:cubicBezTo>
                  <a:cubicBezTo>
                    <a:pt x="3938" y="11061"/>
                    <a:pt x="3938" y="11061"/>
                    <a:pt x="3938" y="11061"/>
                  </a:cubicBezTo>
                  <a:cubicBezTo>
                    <a:pt x="3938" y="11061"/>
                    <a:pt x="3938" y="11061"/>
                    <a:pt x="3938" y="11061"/>
                  </a:cubicBezTo>
                  <a:cubicBezTo>
                    <a:pt x="4134" y="11003"/>
                    <a:pt x="4134" y="11003"/>
                    <a:pt x="4134" y="11003"/>
                  </a:cubicBezTo>
                  <a:cubicBezTo>
                    <a:pt x="4535" y="11078"/>
                    <a:pt x="4535" y="11078"/>
                    <a:pt x="4535" y="11078"/>
                  </a:cubicBezTo>
                  <a:cubicBezTo>
                    <a:pt x="4543" y="11079"/>
                    <a:pt x="4543" y="11079"/>
                    <a:pt x="4543" y="11079"/>
                  </a:cubicBezTo>
                  <a:cubicBezTo>
                    <a:pt x="4550" y="11064"/>
                    <a:pt x="4560" y="11052"/>
                    <a:pt x="4570" y="11042"/>
                  </a:cubicBezTo>
                  <a:cubicBezTo>
                    <a:pt x="4590" y="11023"/>
                    <a:pt x="4612" y="11013"/>
                    <a:pt x="4626" y="11007"/>
                  </a:cubicBezTo>
                  <a:cubicBezTo>
                    <a:pt x="4639" y="11003"/>
                    <a:pt x="4668" y="10997"/>
                    <a:pt x="4709" y="10990"/>
                  </a:cubicBezTo>
                  <a:cubicBezTo>
                    <a:pt x="4819" y="10971"/>
                    <a:pt x="5001" y="10943"/>
                    <a:pt x="5039" y="10937"/>
                  </a:cubicBezTo>
                  <a:cubicBezTo>
                    <a:pt x="4997" y="10591"/>
                    <a:pt x="4954" y="10216"/>
                    <a:pt x="4948" y="10165"/>
                  </a:cubicBezTo>
                  <a:cubicBezTo>
                    <a:pt x="4914" y="10172"/>
                    <a:pt x="4880" y="10179"/>
                    <a:pt x="4847" y="10187"/>
                  </a:cubicBezTo>
                  <a:cubicBezTo>
                    <a:pt x="4520" y="10263"/>
                    <a:pt x="4106" y="10384"/>
                    <a:pt x="3774" y="10487"/>
                  </a:cubicBezTo>
                  <a:close/>
                  <a:moveTo>
                    <a:pt x="8707" y="13697"/>
                  </a:moveTo>
                  <a:cubicBezTo>
                    <a:pt x="9364" y="12273"/>
                    <a:pt x="9364" y="12273"/>
                    <a:pt x="9364" y="12273"/>
                  </a:cubicBezTo>
                  <a:cubicBezTo>
                    <a:pt x="9422" y="12151"/>
                    <a:pt x="9422" y="12151"/>
                    <a:pt x="9422" y="12151"/>
                  </a:cubicBezTo>
                  <a:cubicBezTo>
                    <a:pt x="8064" y="11458"/>
                    <a:pt x="8064" y="11458"/>
                    <a:pt x="8064" y="11458"/>
                  </a:cubicBezTo>
                  <a:cubicBezTo>
                    <a:pt x="7375" y="12873"/>
                    <a:pt x="7375" y="12873"/>
                    <a:pt x="7375" y="12873"/>
                  </a:cubicBezTo>
                  <a:cubicBezTo>
                    <a:pt x="7330" y="13431"/>
                    <a:pt x="7330" y="13431"/>
                    <a:pt x="7330" y="13431"/>
                  </a:cubicBezTo>
                  <a:cubicBezTo>
                    <a:pt x="7330" y="13436"/>
                    <a:pt x="7330" y="13470"/>
                    <a:pt x="7334" y="13523"/>
                  </a:cubicBezTo>
                  <a:cubicBezTo>
                    <a:pt x="7338" y="13581"/>
                    <a:pt x="7347" y="13661"/>
                    <a:pt x="7364" y="13750"/>
                  </a:cubicBezTo>
                  <a:cubicBezTo>
                    <a:pt x="7331" y="13756"/>
                    <a:pt x="7331" y="13756"/>
                    <a:pt x="7331" y="13756"/>
                  </a:cubicBezTo>
                  <a:cubicBezTo>
                    <a:pt x="7339" y="13756"/>
                    <a:pt x="7344" y="13756"/>
                    <a:pt x="7344" y="13756"/>
                  </a:cubicBezTo>
                  <a:cubicBezTo>
                    <a:pt x="8669" y="13703"/>
                    <a:pt x="8669" y="13703"/>
                    <a:pt x="8669" y="13703"/>
                  </a:cubicBezTo>
                  <a:lnTo>
                    <a:pt x="8707" y="13697"/>
                  </a:lnTo>
                  <a:close/>
                  <a:moveTo>
                    <a:pt x="9437" y="12119"/>
                  </a:moveTo>
                  <a:cubicBezTo>
                    <a:pt x="10639" y="9572"/>
                    <a:pt x="10639" y="9572"/>
                    <a:pt x="10639" y="9572"/>
                  </a:cubicBezTo>
                  <a:cubicBezTo>
                    <a:pt x="10642" y="9569"/>
                    <a:pt x="10642" y="9569"/>
                    <a:pt x="10642" y="9569"/>
                  </a:cubicBezTo>
                  <a:cubicBezTo>
                    <a:pt x="10642" y="9569"/>
                    <a:pt x="10642" y="9569"/>
                    <a:pt x="10642" y="9569"/>
                  </a:cubicBezTo>
                  <a:cubicBezTo>
                    <a:pt x="10610" y="9554"/>
                    <a:pt x="10513" y="9509"/>
                    <a:pt x="10404" y="9458"/>
                  </a:cubicBezTo>
                  <a:cubicBezTo>
                    <a:pt x="10268" y="9395"/>
                    <a:pt x="10112" y="9324"/>
                    <a:pt x="10031" y="9289"/>
                  </a:cubicBezTo>
                  <a:cubicBezTo>
                    <a:pt x="9871" y="9221"/>
                    <a:pt x="9473" y="9005"/>
                    <a:pt x="9303" y="8914"/>
                  </a:cubicBezTo>
                  <a:cubicBezTo>
                    <a:pt x="8603" y="10351"/>
                    <a:pt x="8603" y="10351"/>
                    <a:pt x="8603" y="10351"/>
                  </a:cubicBezTo>
                  <a:cubicBezTo>
                    <a:pt x="8603" y="10357"/>
                    <a:pt x="8603" y="10357"/>
                    <a:pt x="8603" y="10357"/>
                  </a:cubicBezTo>
                  <a:cubicBezTo>
                    <a:pt x="8602" y="10357"/>
                    <a:pt x="8601" y="10357"/>
                    <a:pt x="8600" y="10357"/>
                  </a:cubicBezTo>
                  <a:cubicBezTo>
                    <a:pt x="8079" y="11426"/>
                    <a:pt x="8079" y="11426"/>
                    <a:pt x="8079" y="11426"/>
                  </a:cubicBezTo>
                  <a:lnTo>
                    <a:pt x="9437" y="12119"/>
                  </a:lnTo>
                  <a:close/>
                  <a:moveTo>
                    <a:pt x="10797" y="9430"/>
                  </a:moveTo>
                  <a:cubicBezTo>
                    <a:pt x="10883" y="9350"/>
                    <a:pt x="10988" y="9252"/>
                    <a:pt x="11061" y="9175"/>
                  </a:cubicBezTo>
                  <a:cubicBezTo>
                    <a:pt x="11161" y="9070"/>
                    <a:pt x="11189" y="8900"/>
                    <a:pt x="11196" y="8812"/>
                  </a:cubicBezTo>
                  <a:cubicBezTo>
                    <a:pt x="11197" y="8812"/>
                    <a:pt x="11196" y="8812"/>
                    <a:pt x="11196" y="8812"/>
                  </a:cubicBezTo>
                  <a:cubicBezTo>
                    <a:pt x="11196" y="8812"/>
                    <a:pt x="11196" y="8812"/>
                    <a:pt x="11196" y="8812"/>
                  </a:cubicBezTo>
                  <a:cubicBezTo>
                    <a:pt x="11197" y="8805"/>
                    <a:pt x="11198" y="8798"/>
                    <a:pt x="11198" y="8792"/>
                  </a:cubicBezTo>
                  <a:cubicBezTo>
                    <a:pt x="11198" y="8788"/>
                    <a:pt x="11198" y="8784"/>
                    <a:pt x="11197" y="8780"/>
                  </a:cubicBezTo>
                  <a:cubicBezTo>
                    <a:pt x="11127" y="8768"/>
                    <a:pt x="10717" y="8693"/>
                    <a:pt x="10254" y="8540"/>
                  </a:cubicBezTo>
                  <a:cubicBezTo>
                    <a:pt x="9746" y="8373"/>
                    <a:pt x="9139" y="8099"/>
                    <a:pt x="8977" y="8028"/>
                  </a:cubicBezTo>
                  <a:cubicBezTo>
                    <a:pt x="8896" y="7993"/>
                    <a:pt x="8818" y="7943"/>
                    <a:pt x="8752" y="7885"/>
                  </a:cubicBezTo>
                  <a:cubicBezTo>
                    <a:pt x="8727" y="7906"/>
                    <a:pt x="8691" y="7934"/>
                    <a:pt x="8648" y="7963"/>
                  </a:cubicBezTo>
                  <a:cubicBezTo>
                    <a:pt x="8588" y="8004"/>
                    <a:pt x="8516" y="8045"/>
                    <a:pt x="8439" y="8063"/>
                  </a:cubicBezTo>
                  <a:cubicBezTo>
                    <a:pt x="8349" y="8084"/>
                    <a:pt x="8237" y="8098"/>
                    <a:pt x="8159" y="8107"/>
                  </a:cubicBezTo>
                  <a:cubicBezTo>
                    <a:pt x="8166" y="8126"/>
                    <a:pt x="8166" y="8126"/>
                    <a:pt x="8166" y="8126"/>
                  </a:cubicBezTo>
                  <a:cubicBezTo>
                    <a:pt x="8215" y="8162"/>
                    <a:pt x="8287" y="8215"/>
                    <a:pt x="8362" y="8270"/>
                  </a:cubicBezTo>
                  <a:cubicBezTo>
                    <a:pt x="8500" y="8371"/>
                    <a:pt x="8651" y="8481"/>
                    <a:pt x="8700" y="8511"/>
                  </a:cubicBezTo>
                  <a:cubicBezTo>
                    <a:pt x="8803" y="8572"/>
                    <a:pt x="9146" y="8788"/>
                    <a:pt x="9304" y="8873"/>
                  </a:cubicBezTo>
                  <a:cubicBezTo>
                    <a:pt x="9463" y="8959"/>
                    <a:pt x="9884" y="9188"/>
                    <a:pt x="10045" y="9256"/>
                  </a:cubicBezTo>
                  <a:cubicBezTo>
                    <a:pt x="10209" y="9326"/>
                    <a:pt x="10670" y="9542"/>
                    <a:pt x="10670" y="9542"/>
                  </a:cubicBezTo>
                  <a:cubicBezTo>
                    <a:pt x="10671" y="9543"/>
                    <a:pt x="10671" y="9543"/>
                    <a:pt x="10671" y="9543"/>
                  </a:cubicBezTo>
                  <a:cubicBezTo>
                    <a:pt x="10672" y="9543"/>
                    <a:pt x="10672" y="9543"/>
                    <a:pt x="10672" y="9543"/>
                  </a:cubicBezTo>
                  <a:cubicBezTo>
                    <a:pt x="10700" y="9518"/>
                    <a:pt x="10745" y="9478"/>
                    <a:pt x="10797" y="9430"/>
                  </a:cubicBezTo>
                  <a:close/>
                  <a:moveTo>
                    <a:pt x="11927" y="6932"/>
                  </a:moveTo>
                  <a:cubicBezTo>
                    <a:pt x="11949" y="6873"/>
                    <a:pt x="11965" y="6816"/>
                    <a:pt x="11975" y="6773"/>
                  </a:cubicBezTo>
                  <a:cubicBezTo>
                    <a:pt x="11984" y="6731"/>
                    <a:pt x="11988" y="6703"/>
                    <a:pt x="11988" y="6703"/>
                  </a:cubicBezTo>
                  <a:cubicBezTo>
                    <a:pt x="12262" y="4824"/>
                    <a:pt x="12262" y="4824"/>
                    <a:pt x="12262" y="4824"/>
                  </a:cubicBezTo>
                  <a:cubicBezTo>
                    <a:pt x="12262" y="4813"/>
                    <a:pt x="12258" y="4755"/>
                    <a:pt x="12258" y="4729"/>
                  </a:cubicBezTo>
                  <a:cubicBezTo>
                    <a:pt x="12258" y="4726"/>
                    <a:pt x="12258" y="4723"/>
                    <a:pt x="12258" y="4720"/>
                  </a:cubicBezTo>
                  <a:cubicBezTo>
                    <a:pt x="12259" y="4719"/>
                    <a:pt x="12259" y="4718"/>
                    <a:pt x="12259" y="4717"/>
                  </a:cubicBezTo>
                  <a:cubicBezTo>
                    <a:pt x="12240" y="4611"/>
                    <a:pt x="12190" y="4562"/>
                    <a:pt x="12135" y="4535"/>
                  </a:cubicBezTo>
                  <a:cubicBezTo>
                    <a:pt x="12080" y="4507"/>
                    <a:pt x="12018" y="4506"/>
                    <a:pt x="11979" y="4506"/>
                  </a:cubicBezTo>
                  <a:cubicBezTo>
                    <a:pt x="11938" y="4506"/>
                    <a:pt x="11833" y="4519"/>
                    <a:pt x="11702" y="4519"/>
                  </a:cubicBezTo>
                  <a:cubicBezTo>
                    <a:pt x="11590" y="4519"/>
                    <a:pt x="11458" y="4510"/>
                    <a:pt x="11325" y="4475"/>
                  </a:cubicBezTo>
                  <a:cubicBezTo>
                    <a:pt x="11173" y="4434"/>
                    <a:pt x="11065" y="4274"/>
                    <a:pt x="10989" y="4119"/>
                  </a:cubicBezTo>
                  <a:cubicBezTo>
                    <a:pt x="10914" y="3963"/>
                    <a:pt x="10871" y="3808"/>
                    <a:pt x="10860" y="3773"/>
                  </a:cubicBezTo>
                  <a:cubicBezTo>
                    <a:pt x="10858" y="3769"/>
                    <a:pt x="10856" y="3761"/>
                    <a:pt x="10853" y="3750"/>
                  </a:cubicBezTo>
                  <a:cubicBezTo>
                    <a:pt x="8042" y="4561"/>
                    <a:pt x="8042" y="4561"/>
                    <a:pt x="8042" y="4561"/>
                  </a:cubicBezTo>
                  <a:cubicBezTo>
                    <a:pt x="8020" y="4576"/>
                    <a:pt x="8020" y="4576"/>
                    <a:pt x="8020" y="4576"/>
                  </a:cubicBezTo>
                  <a:cubicBezTo>
                    <a:pt x="8335" y="5116"/>
                    <a:pt x="8335" y="5116"/>
                    <a:pt x="8335" y="5116"/>
                  </a:cubicBezTo>
                  <a:cubicBezTo>
                    <a:pt x="8336" y="5117"/>
                    <a:pt x="8336" y="5117"/>
                    <a:pt x="8336" y="5117"/>
                  </a:cubicBezTo>
                  <a:cubicBezTo>
                    <a:pt x="8455" y="5345"/>
                    <a:pt x="8634" y="5803"/>
                    <a:pt x="8654" y="6142"/>
                  </a:cubicBezTo>
                  <a:cubicBezTo>
                    <a:pt x="8660" y="6249"/>
                    <a:pt x="8662" y="6386"/>
                    <a:pt x="8662" y="6528"/>
                  </a:cubicBezTo>
                  <a:cubicBezTo>
                    <a:pt x="8662" y="6822"/>
                    <a:pt x="8653" y="7133"/>
                    <a:pt x="8649" y="7220"/>
                  </a:cubicBezTo>
                  <a:cubicBezTo>
                    <a:pt x="8646" y="7272"/>
                    <a:pt x="8642" y="7328"/>
                    <a:pt x="8642" y="7384"/>
                  </a:cubicBezTo>
                  <a:cubicBezTo>
                    <a:pt x="8642" y="7466"/>
                    <a:pt x="8651" y="7548"/>
                    <a:pt x="8681" y="7615"/>
                  </a:cubicBezTo>
                  <a:cubicBezTo>
                    <a:pt x="8729" y="7728"/>
                    <a:pt x="8872" y="7859"/>
                    <a:pt x="9023" y="7923"/>
                  </a:cubicBezTo>
                  <a:cubicBezTo>
                    <a:pt x="9178" y="7991"/>
                    <a:pt x="9735" y="8242"/>
                    <a:pt x="10219" y="8408"/>
                  </a:cubicBezTo>
                  <a:cubicBezTo>
                    <a:pt x="10224" y="8402"/>
                    <a:pt x="10230" y="8394"/>
                    <a:pt x="10235" y="8386"/>
                  </a:cubicBezTo>
                  <a:cubicBezTo>
                    <a:pt x="10680" y="7128"/>
                    <a:pt x="10680" y="7128"/>
                    <a:pt x="10680" y="7128"/>
                  </a:cubicBezTo>
                  <a:cubicBezTo>
                    <a:pt x="10664" y="7118"/>
                    <a:pt x="10645" y="7107"/>
                    <a:pt x="10624" y="7094"/>
                  </a:cubicBezTo>
                  <a:cubicBezTo>
                    <a:pt x="10524" y="7034"/>
                    <a:pt x="10379" y="6948"/>
                    <a:pt x="10259" y="6877"/>
                  </a:cubicBezTo>
                  <a:cubicBezTo>
                    <a:pt x="10199" y="6842"/>
                    <a:pt x="10144" y="6810"/>
                    <a:pt x="10105" y="6787"/>
                  </a:cubicBezTo>
                  <a:cubicBezTo>
                    <a:pt x="10085" y="6775"/>
                    <a:pt x="10068" y="6766"/>
                    <a:pt x="10057" y="6760"/>
                  </a:cubicBezTo>
                  <a:cubicBezTo>
                    <a:pt x="10051" y="6756"/>
                    <a:pt x="10047" y="6754"/>
                    <a:pt x="10043" y="6752"/>
                  </a:cubicBezTo>
                  <a:cubicBezTo>
                    <a:pt x="10042" y="6751"/>
                    <a:pt x="10041" y="6751"/>
                    <a:pt x="10040" y="6750"/>
                  </a:cubicBezTo>
                  <a:cubicBezTo>
                    <a:pt x="10040" y="6750"/>
                    <a:pt x="10039" y="6750"/>
                    <a:pt x="10039" y="6750"/>
                  </a:cubicBezTo>
                  <a:cubicBezTo>
                    <a:pt x="10040" y="6750"/>
                    <a:pt x="10040" y="6750"/>
                    <a:pt x="10040" y="6750"/>
                  </a:cubicBezTo>
                  <a:cubicBezTo>
                    <a:pt x="10029" y="6746"/>
                    <a:pt x="10024" y="6740"/>
                    <a:pt x="10016" y="6730"/>
                  </a:cubicBezTo>
                  <a:cubicBezTo>
                    <a:pt x="9994" y="6699"/>
                    <a:pt x="9966" y="6631"/>
                    <a:pt x="9966" y="6504"/>
                  </a:cubicBezTo>
                  <a:cubicBezTo>
                    <a:pt x="9966" y="6494"/>
                    <a:pt x="9966" y="6483"/>
                    <a:pt x="9966" y="6472"/>
                  </a:cubicBezTo>
                  <a:cubicBezTo>
                    <a:pt x="9971" y="6337"/>
                    <a:pt x="9995" y="6022"/>
                    <a:pt x="9995" y="5766"/>
                  </a:cubicBezTo>
                  <a:cubicBezTo>
                    <a:pt x="9995" y="5660"/>
                    <a:pt x="9991" y="5565"/>
                    <a:pt x="9980" y="5497"/>
                  </a:cubicBezTo>
                  <a:cubicBezTo>
                    <a:pt x="9962" y="5379"/>
                    <a:pt x="9874" y="5030"/>
                    <a:pt x="9791" y="4712"/>
                  </a:cubicBezTo>
                  <a:cubicBezTo>
                    <a:pt x="9708" y="4393"/>
                    <a:pt x="9630" y="4106"/>
                    <a:pt x="9630" y="4105"/>
                  </a:cubicBezTo>
                  <a:cubicBezTo>
                    <a:pt x="9665" y="4096"/>
                    <a:pt x="9665" y="4096"/>
                    <a:pt x="9665" y="4096"/>
                  </a:cubicBezTo>
                  <a:cubicBezTo>
                    <a:pt x="9665" y="4096"/>
                    <a:pt x="9977" y="5248"/>
                    <a:pt x="10016" y="5491"/>
                  </a:cubicBezTo>
                  <a:cubicBezTo>
                    <a:pt x="10027" y="5563"/>
                    <a:pt x="10031" y="5659"/>
                    <a:pt x="10031" y="5766"/>
                  </a:cubicBezTo>
                  <a:cubicBezTo>
                    <a:pt x="10031" y="6024"/>
                    <a:pt x="10007" y="6340"/>
                    <a:pt x="10002" y="6473"/>
                  </a:cubicBezTo>
                  <a:cubicBezTo>
                    <a:pt x="10002" y="6484"/>
                    <a:pt x="10002" y="6494"/>
                    <a:pt x="10002" y="6504"/>
                  </a:cubicBezTo>
                  <a:cubicBezTo>
                    <a:pt x="10002" y="6585"/>
                    <a:pt x="10014" y="6639"/>
                    <a:pt x="10027" y="6673"/>
                  </a:cubicBezTo>
                  <a:cubicBezTo>
                    <a:pt x="10033" y="6690"/>
                    <a:pt x="10040" y="6701"/>
                    <a:pt x="10045" y="6709"/>
                  </a:cubicBezTo>
                  <a:cubicBezTo>
                    <a:pt x="10048" y="6712"/>
                    <a:pt x="10050" y="6715"/>
                    <a:pt x="10052" y="6716"/>
                  </a:cubicBezTo>
                  <a:cubicBezTo>
                    <a:pt x="10052" y="6716"/>
                    <a:pt x="10052" y="6716"/>
                    <a:pt x="10052" y="6716"/>
                  </a:cubicBezTo>
                  <a:cubicBezTo>
                    <a:pt x="10055" y="6717"/>
                    <a:pt x="10055" y="6718"/>
                    <a:pt x="10057" y="6719"/>
                  </a:cubicBezTo>
                  <a:cubicBezTo>
                    <a:pt x="10086" y="6733"/>
                    <a:pt x="10262" y="6836"/>
                    <a:pt x="10432" y="6938"/>
                  </a:cubicBezTo>
                  <a:cubicBezTo>
                    <a:pt x="10517" y="6988"/>
                    <a:pt x="10601" y="7038"/>
                    <a:pt x="10663" y="7076"/>
                  </a:cubicBezTo>
                  <a:cubicBezTo>
                    <a:pt x="10694" y="7094"/>
                    <a:pt x="10720" y="7110"/>
                    <a:pt x="10738" y="7121"/>
                  </a:cubicBezTo>
                  <a:cubicBezTo>
                    <a:pt x="10747" y="7127"/>
                    <a:pt x="10754" y="7132"/>
                    <a:pt x="10759" y="7135"/>
                  </a:cubicBezTo>
                  <a:cubicBezTo>
                    <a:pt x="10761" y="7136"/>
                    <a:pt x="10762" y="7137"/>
                    <a:pt x="10764" y="7138"/>
                  </a:cubicBezTo>
                  <a:cubicBezTo>
                    <a:pt x="10825" y="7143"/>
                    <a:pt x="11361" y="7182"/>
                    <a:pt x="11362" y="7182"/>
                  </a:cubicBezTo>
                  <a:cubicBezTo>
                    <a:pt x="11362" y="7182"/>
                    <a:pt x="11548" y="7192"/>
                    <a:pt x="11646" y="7192"/>
                  </a:cubicBezTo>
                  <a:cubicBezTo>
                    <a:pt x="11661" y="7192"/>
                    <a:pt x="11673" y="7192"/>
                    <a:pt x="11683" y="7191"/>
                  </a:cubicBezTo>
                  <a:cubicBezTo>
                    <a:pt x="11688" y="7191"/>
                    <a:pt x="11691" y="7191"/>
                    <a:pt x="11694" y="7191"/>
                  </a:cubicBezTo>
                  <a:cubicBezTo>
                    <a:pt x="11696" y="7190"/>
                    <a:pt x="11697" y="7190"/>
                    <a:pt x="11697" y="7190"/>
                  </a:cubicBezTo>
                  <a:cubicBezTo>
                    <a:pt x="11698" y="7190"/>
                    <a:pt x="11698" y="7190"/>
                    <a:pt x="11698" y="7190"/>
                  </a:cubicBezTo>
                  <a:cubicBezTo>
                    <a:pt x="11699" y="7190"/>
                    <a:pt x="11699" y="7190"/>
                    <a:pt x="11699" y="7190"/>
                  </a:cubicBezTo>
                  <a:cubicBezTo>
                    <a:pt x="11700" y="7189"/>
                    <a:pt x="11700" y="7189"/>
                    <a:pt x="11700" y="7189"/>
                  </a:cubicBezTo>
                  <a:cubicBezTo>
                    <a:pt x="11807" y="7169"/>
                    <a:pt x="11882" y="7050"/>
                    <a:pt x="11927" y="6932"/>
                  </a:cubicBezTo>
                  <a:close/>
                  <a:moveTo>
                    <a:pt x="11145" y="1775"/>
                  </a:moveTo>
                  <a:cubicBezTo>
                    <a:pt x="11023" y="1892"/>
                    <a:pt x="10902" y="2008"/>
                    <a:pt x="10810" y="2096"/>
                  </a:cubicBezTo>
                  <a:cubicBezTo>
                    <a:pt x="10764" y="2140"/>
                    <a:pt x="10725" y="2177"/>
                    <a:pt x="10697" y="2204"/>
                  </a:cubicBezTo>
                  <a:cubicBezTo>
                    <a:pt x="10683" y="2217"/>
                    <a:pt x="10671" y="2228"/>
                    <a:pt x="10663" y="2236"/>
                  </a:cubicBezTo>
                  <a:cubicBezTo>
                    <a:pt x="10654" y="2245"/>
                    <a:pt x="10649" y="2249"/>
                    <a:pt x="10645" y="2253"/>
                  </a:cubicBezTo>
                  <a:cubicBezTo>
                    <a:pt x="10619" y="2274"/>
                    <a:pt x="10592" y="2285"/>
                    <a:pt x="10569" y="2293"/>
                  </a:cubicBezTo>
                  <a:cubicBezTo>
                    <a:pt x="10558" y="2297"/>
                    <a:pt x="10549" y="2300"/>
                    <a:pt x="10541" y="2303"/>
                  </a:cubicBezTo>
                  <a:cubicBezTo>
                    <a:pt x="10540" y="2303"/>
                    <a:pt x="10540" y="2303"/>
                    <a:pt x="10540" y="2303"/>
                  </a:cubicBezTo>
                  <a:cubicBezTo>
                    <a:pt x="10529" y="2306"/>
                    <a:pt x="10529" y="2306"/>
                    <a:pt x="10529" y="2306"/>
                  </a:cubicBezTo>
                  <a:cubicBezTo>
                    <a:pt x="10529" y="2306"/>
                    <a:pt x="10528" y="2306"/>
                    <a:pt x="10528" y="2307"/>
                  </a:cubicBezTo>
                  <a:cubicBezTo>
                    <a:pt x="10527" y="2307"/>
                    <a:pt x="10527" y="2307"/>
                    <a:pt x="10527" y="2307"/>
                  </a:cubicBezTo>
                  <a:cubicBezTo>
                    <a:pt x="10527" y="2307"/>
                    <a:pt x="10527" y="2307"/>
                    <a:pt x="10526" y="2307"/>
                  </a:cubicBezTo>
                  <a:cubicBezTo>
                    <a:pt x="10526" y="2307"/>
                    <a:pt x="10526" y="2307"/>
                    <a:pt x="10525" y="2307"/>
                  </a:cubicBezTo>
                  <a:cubicBezTo>
                    <a:pt x="10529" y="2328"/>
                    <a:pt x="10529" y="2328"/>
                    <a:pt x="10529" y="2328"/>
                  </a:cubicBezTo>
                  <a:cubicBezTo>
                    <a:pt x="10534" y="2346"/>
                    <a:pt x="10540" y="2369"/>
                    <a:pt x="10547" y="2396"/>
                  </a:cubicBezTo>
                  <a:cubicBezTo>
                    <a:pt x="10600" y="2379"/>
                    <a:pt x="10646" y="2365"/>
                    <a:pt x="10683" y="2352"/>
                  </a:cubicBezTo>
                  <a:cubicBezTo>
                    <a:pt x="10710" y="2343"/>
                    <a:pt x="10732" y="2335"/>
                    <a:pt x="10749" y="2328"/>
                  </a:cubicBezTo>
                  <a:cubicBezTo>
                    <a:pt x="10765" y="2322"/>
                    <a:pt x="10777" y="2316"/>
                    <a:pt x="10778" y="2316"/>
                  </a:cubicBezTo>
                  <a:cubicBezTo>
                    <a:pt x="10790" y="2309"/>
                    <a:pt x="10827" y="2280"/>
                    <a:pt x="10873" y="2239"/>
                  </a:cubicBezTo>
                  <a:cubicBezTo>
                    <a:pt x="11038" y="2096"/>
                    <a:pt x="11347" y="1796"/>
                    <a:pt x="11644" y="1523"/>
                  </a:cubicBezTo>
                  <a:cubicBezTo>
                    <a:pt x="11793" y="1387"/>
                    <a:pt x="11940" y="1256"/>
                    <a:pt x="12065" y="1154"/>
                  </a:cubicBezTo>
                  <a:cubicBezTo>
                    <a:pt x="12128" y="1102"/>
                    <a:pt x="12186" y="1058"/>
                    <a:pt x="12237" y="1023"/>
                  </a:cubicBezTo>
                  <a:cubicBezTo>
                    <a:pt x="12289" y="988"/>
                    <a:pt x="12332" y="962"/>
                    <a:pt x="12374" y="947"/>
                  </a:cubicBezTo>
                  <a:cubicBezTo>
                    <a:pt x="12468" y="915"/>
                    <a:pt x="12589" y="898"/>
                    <a:pt x="12733" y="888"/>
                  </a:cubicBezTo>
                  <a:cubicBezTo>
                    <a:pt x="12767" y="885"/>
                    <a:pt x="12803" y="883"/>
                    <a:pt x="12840" y="882"/>
                  </a:cubicBezTo>
                  <a:cubicBezTo>
                    <a:pt x="12831" y="845"/>
                    <a:pt x="12825" y="814"/>
                    <a:pt x="12821" y="792"/>
                  </a:cubicBezTo>
                  <a:cubicBezTo>
                    <a:pt x="12812" y="770"/>
                    <a:pt x="12812" y="770"/>
                    <a:pt x="12812" y="770"/>
                  </a:cubicBezTo>
                  <a:cubicBezTo>
                    <a:pt x="12610" y="771"/>
                    <a:pt x="12459" y="773"/>
                    <a:pt x="12426" y="774"/>
                  </a:cubicBezTo>
                  <a:cubicBezTo>
                    <a:pt x="12303" y="778"/>
                    <a:pt x="12200" y="782"/>
                    <a:pt x="12116" y="820"/>
                  </a:cubicBezTo>
                  <a:cubicBezTo>
                    <a:pt x="12078" y="837"/>
                    <a:pt x="12028" y="876"/>
                    <a:pt x="11986" y="917"/>
                  </a:cubicBezTo>
                  <a:cubicBezTo>
                    <a:pt x="11943" y="958"/>
                    <a:pt x="11907" y="1002"/>
                    <a:pt x="11892" y="1024"/>
                  </a:cubicBezTo>
                  <a:cubicBezTo>
                    <a:pt x="11880" y="1042"/>
                    <a:pt x="11862" y="1062"/>
                    <a:pt x="11840" y="1086"/>
                  </a:cubicBezTo>
                  <a:cubicBezTo>
                    <a:pt x="11808" y="1122"/>
                    <a:pt x="11769" y="1163"/>
                    <a:pt x="11737" y="1196"/>
                  </a:cubicBezTo>
                  <a:cubicBezTo>
                    <a:pt x="11721" y="1212"/>
                    <a:pt x="11708" y="1226"/>
                    <a:pt x="11698" y="1236"/>
                  </a:cubicBezTo>
                  <a:cubicBezTo>
                    <a:pt x="11694" y="1241"/>
                    <a:pt x="11691" y="1244"/>
                    <a:pt x="11689" y="1246"/>
                  </a:cubicBezTo>
                  <a:cubicBezTo>
                    <a:pt x="11686" y="1251"/>
                    <a:pt x="11686" y="1250"/>
                    <a:pt x="11685" y="1252"/>
                  </a:cubicBezTo>
                  <a:cubicBezTo>
                    <a:pt x="11681" y="1256"/>
                    <a:pt x="11680" y="1257"/>
                    <a:pt x="11677" y="1260"/>
                  </a:cubicBezTo>
                  <a:cubicBezTo>
                    <a:pt x="11638" y="1300"/>
                    <a:pt x="11389" y="1540"/>
                    <a:pt x="11145" y="1775"/>
                  </a:cubicBezTo>
                  <a:close/>
                  <a:moveTo>
                    <a:pt x="8668" y="1184"/>
                  </a:moveTo>
                  <a:cubicBezTo>
                    <a:pt x="8674" y="1245"/>
                    <a:pt x="8693" y="1464"/>
                    <a:pt x="8693" y="1565"/>
                  </a:cubicBezTo>
                  <a:cubicBezTo>
                    <a:pt x="8693" y="1583"/>
                    <a:pt x="8692" y="1597"/>
                    <a:pt x="8691" y="1608"/>
                  </a:cubicBezTo>
                  <a:cubicBezTo>
                    <a:pt x="8680" y="1676"/>
                    <a:pt x="8598" y="1983"/>
                    <a:pt x="8577" y="2059"/>
                  </a:cubicBezTo>
                  <a:cubicBezTo>
                    <a:pt x="8565" y="2103"/>
                    <a:pt x="8561" y="2168"/>
                    <a:pt x="8561" y="2227"/>
                  </a:cubicBezTo>
                  <a:cubicBezTo>
                    <a:pt x="8561" y="2263"/>
                    <a:pt x="8563" y="2298"/>
                    <a:pt x="8564" y="2325"/>
                  </a:cubicBezTo>
                  <a:cubicBezTo>
                    <a:pt x="8566" y="2378"/>
                    <a:pt x="8576" y="2564"/>
                    <a:pt x="8580" y="2657"/>
                  </a:cubicBezTo>
                  <a:cubicBezTo>
                    <a:pt x="8590" y="2678"/>
                    <a:pt x="8590" y="2678"/>
                    <a:pt x="8590" y="2678"/>
                  </a:cubicBezTo>
                  <a:cubicBezTo>
                    <a:pt x="8692" y="2652"/>
                    <a:pt x="9122" y="2543"/>
                    <a:pt x="9548" y="2436"/>
                  </a:cubicBezTo>
                  <a:cubicBezTo>
                    <a:pt x="10027" y="2315"/>
                    <a:pt x="10500" y="2195"/>
                    <a:pt x="10500" y="2195"/>
                  </a:cubicBezTo>
                  <a:cubicBezTo>
                    <a:pt x="10500" y="2195"/>
                    <a:pt x="10500" y="2195"/>
                    <a:pt x="10500" y="2195"/>
                  </a:cubicBezTo>
                  <a:cubicBezTo>
                    <a:pt x="10502" y="2195"/>
                    <a:pt x="10504" y="2194"/>
                    <a:pt x="10507" y="2193"/>
                  </a:cubicBezTo>
                  <a:cubicBezTo>
                    <a:pt x="10524" y="2189"/>
                    <a:pt x="10564" y="2173"/>
                    <a:pt x="10571" y="2165"/>
                  </a:cubicBezTo>
                  <a:cubicBezTo>
                    <a:pt x="10571" y="2165"/>
                    <a:pt x="10571" y="2165"/>
                    <a:pt x="10571" y="2165"/>
                  </a:cubicBezTo>
                  <a:cubicBezTo>
                    <a:pt x="10599" y="2139"/>
                    <a:pt x="10859" y="1891"/>
                    <a:pt x="11108" y="1651"/>
                  </a:cubicBezTo>
                  <a:cubicBezTo>
                    <a:pt x="11179" y="1583"/>
                    <a:pt x="11248" y="1516"/>
                    <a:pt x="11312" y="1454"/>
                  </a:cubicBezTo>
                  <a:cubicBezTo>
                    <a:pt x="11303" y="1442"/>
                    <a:pt x="11303" y="1442"/>
                    <a:pt x="11303" y="1442"/>
                  </a:cubicBezTo>
                  <a:cubicBezTo>
                    <a:pt x="11226" y="1377"/>
                    <a:pt x="10930" y="1125"/>
                    <a:pt x="10837" y="1034"/>
                  </a:cubicBezTo>
                  <a:cubicBezTo>
                    <a:pt x="10786" y="986"/>
                    <a:pt x="10728" y="961"/>
                    <a:pt x="10681" y="949"/>
                  </a:cubicBezTo>
                  <a:cubicBezTo>
                    <a:pt x="10658" y="942"/>
                    <a:pt x="10638" y="939"/>
                    <a:pt x="10624" y="938"/>
                  </a:cubicBezTo>
                  <a:cubicBezTo>
                    <a:pt x="10610" y="936"/>
                    <a:pt x="10602" y="936"/>
                    <a:pt x="10602" y="936"/>
                  </a:cubicBezTo>
                  <a:cubicBezTo>
                    <a:pt x="9717" y="936"/>
                    <a:pt x="9717" y="936"/>
                    <a:pt x="9717" y="936"/>
                  </a:cubicBezTo>
                  <a:cubicBezTo>
                    <a:pt x="9709" y="941"/>
                    <a:pt x="9686" y="956"/>
                    <a:pt x="9658" y="976"/>
                  </a:cubicBezTo>
                  <a:cubicBezTo>
                    <a:pt x="9610" y="1010"/>
                    <a:pt x="9543" y="1057"/>
                    <a:pt x="9487" y="1096"/>
                  </a:cubicBezTo>
                  <a:cubicBezTo>
                    <a:pt x="9459" y="1116"/>
                    <a:pt x="9434" y="1134"/>
                    <a:pt x="9414" y="1146"/>
                  </a:cubicBezTo>
                  <a:cubicBezTo>
                    <a:pt x="9405" y="1153"/>
                    <a:pt x="9397" y="1158"/>
                    <a:pt x="9390" y="1162"/>
                  </a:cubicBezTo>
                  <a:cubicBezTo>
                    <a:pt x="9387" y="1164"/>
                    <a:pt x="9384" y="1165"/>
                    <a:pt x="9382" y="1167"/>
                  </a:cubicBezTo>
                  <a:cubicBezTo>
                    <a:pt x="9379" y="1168"/>
                    <a:pt x="9378" y="1169"/>
                    <a:pt x="9370" y="1170"/>
                  </a:cubicBezTo>
                  <a:cubicBezTo>
                    <a:pt x="9369" y="1170"/>
                    <a:pt x="9368" y="1170"/>
                    <a:pt x="9367" y="1169"/>
                  </a:cubicBezTo>
                  <a:cubicBezTo>
                    <a:pt x="9365" y="1169"/>
                    <a:pt x="9362" y="1169"/>
                    <a:pt x="9359" y="1169"/>
                  </a:cubicBezTo>
                  <a:cubicBezTo>
                    <a:pt x="9291" y="1169"/>
                    <a:pt x="8925" y="1181"/>
                    <a:pt x="8668" y="1184"/>
                  </a:cubicBezTo>
                  <a:close/>
                  <a:moveTo>
                    <a:pt x="7094" y="1513"/>
                  </a:moveTo>
                  <a:cubicBezTo>
                    <a:pt x="7100" y="1564"/>
                    <a:pt x="7187" y="2311"/>
                    <a:pt x="7191" y="2416"/>
                  </a:cubicBezTo>
                  <a:cubicBezTo>
                    <a:pt x="7240" y="2424"/>
                    <a:pt x="7276" y="2430"/>
                    <a:pt x="7284" y="2431"/>
                  </a:cubicBezTo>
                  <a:cubicBezTo>
                    <a:pt x="8532" y="2407"/>
                    <a:pt x="8532" y="2407"/>
                    <a:pt x="8532" y="2407"/>
                  </a:cubicBezTo>
                  <a:cubicBezTo>
                    <a:pt x="8530" y="2372"/>
                    <a:pt x="8529" y="2343"/>
                    <a:pt x="8528" y="2327"/>
                  </a:cubicBezTo>
                  <a:cubicBezTo>
                    <a:pt x="8527" y="2299"/>
                    <a:pt x="8525" y="2264"/>
                    <a:pt x="8525" y="2227"/>
                  </a:cubicBezTo>
                  <a:cubicBezTo>
                    <a:pt x="8525" y="2166"/>
                    <a:pt x="8529" y="2100"/>
                    <a:pt x="8542" y="2050"/>
                  </a:cubicBezTo>
                  <a:cubicBezTo>
                    <a:pt x="8563" y="1975"/>
                    <a:pt x="8645" y="1664"/>
                    <a:pt x="8655" y="1602"/>
                  </a:cubicBezTo>
                  <a:cubicBezTo>
                    <a:pt x="8656" y="1596"/>
                    <a:pt x="8657" y="1582"/>
                    <a:pt x="8657" y="1565"/>
                  </a:cubicBezTo>
                  <a:cubicBezTo>
                    <a:pt x="8657" y="1466"/>
                    <a:pt x="8637" y="1242"/>
                    <a:pt x="8632" y="1184"/>
                  </a:cubicBezTo>
                  <a:cubicBezTo>
                    <a:pt x="8606" y="1185"/>
                    <a:pt x="8582" y="1185"/>
                    <a:pt x="8559" y="1185"/>
                  </a:cubicBezTo>
                  <a:cubicBezTo>
                    <a:pt x="8521" y="1185"/>
                    <a:pt x="8488" y="1184"/>
                    <a:pt x="8463" y="1183"/>
                  </a:cubicBezTo>
                  <a:cubicBezTo>
                    <a:pt x="8280" y="1177"/>
                    <a:pt x="7917" y="1156"/>
                    <a:pt x="7807" y="1156"/>
                  </a:cubicBezTo>
                  <a:cubicBezTo>
                    <a:pt x="7799" y="1156"/>
                    <a:pt x="7793" y="1156"/>
                    <a:pt x="7788" y="1156"/>
                  </a:cubicBezTo>
                  <a:cubicBezTo>
                    <a:pt x="7713" y="1159"/>
                    <a:pt x="7498" y="1204"/>
                    <a:pt x="7444" y="1227"/>
                  </a:cubicBezTo>
                  <a:cubicBezTo>
                    <a:pt x="7381" y="1252"/>
                    <a:pt x="7191" y="1286"/>
                    <a:pt x="7148" y="1293"/>
                  </a:cubicBezTo>
                  <a:cubicBezTo>
                    <a:pt x="7140" y="1294"/>
                    <a:pt x="7133" y="1301"/>
                    <a:pt x="7127" y="1311"/>
                  </a:cubicBezTo>
                  <a:cubicBezTo>
                    <a:pt x="7123" y="1319"/>
                    <a:pt x="7121" y="1329"/>
                    <a:pt x="7120" y="1335"/>
                  </a:cubicBezTo>
                  <a:cubicBezTo>
                    <a:pt x="7124" y="1343"/>
                    <a:pt x="7122" y="1344"/>
                    <a:pt x="7123" y="1347"/>
                  </a:cubicBezTo>
                  <a:cubicBezTo>
                    <a:pt x="7123" y="1363"/>
                    <a:pt x="7115" y="1402"/>
                    <a:pt x="7108" y="1441"/>
                  </a:cubicBezTo>
                  <a:cubicBezTo>
                    <a:pt x="7102" y="1474"/>
                    <a:pt x="7096" y="1504"/>
                    <a:pt x="7094" y="1513"/>
                  </a:cubicBezTo>
                  <a:close/>
                  <a:moveTo>
                    <a:pt x="4016" y="1758"/>
                  </a:moveTo>
                  <a:cubicBezTo>
                    <a:pt x="4017" y="1780"/>
                    <a:pt x="4017" y="1780"/>
                    <a:pt x="4017" y="1780"/>
                  </a:cubicBezTo>
                  <a:cubicBezTo>
                    <a:pt x="4245" y="1879"/>
                    <a:pt x="4453" y="2030"/>
                    <a:pt x="4491" y="2058"/>
                  </a:cubicBezTo>
                  <a:cubicBezTo>
                    <a:pt x="5336" y="2408"/>
                    <a:pt x="5336" y="2408"/>
                    <a:pt x="5336" y="2408"/>
                  </a:cubicBezTo>
                  <a:cubicBezTo>
                    <a:pt x="5378" y="2420"/>
                    <a:pt x="5878" y="2569"/>
                    <a:pt x="6046" y="2619"/>
                  </a:cubicBezTo>
                  <a:cubicBezTo>
                    <a:pt x="6126" y="2643"/>
                    <a:pt x="6294" y="2687"/>
                    <a:pt x="6460" y="2731"/>
                  </a:cubicBezTo>
                  <a:cubicBezTo>
                    <a:pt x="6476" y="2715"/>
                    <a:pt x="6476" y="2715"/>
                    <a:pt x="6476" y="2715"/>
                  </a:cubicBezTo>
                  <a:cubicBezTo>
                    <a:pt x="6548" y="2460"/>
                    <a:pt x="6548" y="2460"/>
                    <a:pt x="6548" y="2460"/>
                  </a:cubicBezTo>
                  <a:cubicBezTo>
                    <a:pt x="6550" y="2458"/>
                    <a:pt x="6550" y="2458"/>
                    <a:pt x="6550" y="2458"/>
                  </a:cubicBezTo>
                  <a:cubicBezTo>
                    <a:pt x="6600" y="2385"/>
                    <a:pt x="6681" y="2366"/>
                    <a:pt x="6785" y="2366"/>
                  </a:cubicBezTo>
                  <a:cubicBezTo>
                    <a:pt x="6852" y="2366"/>
                    <a:pt x="7030" y="2392"/>
                    <a:pt x="7155" y="2411"/>
                  </a:cubicBezTo>
                  <a:cubicBezTo>
                    <a:pt x="7152" y="2351"/>
                    <a:pt x="7129" y="2142"/>
                    <a:pt x="7107" y="1942"/>
                  </a:cubicBezTo>
                  <a:cubicBezTo>
                    <a:pt x="7085" y="1747"/>
                    <a:pt x="7063" y="1559"/>
                    <a:pt x="7059" y="1521"/>
                  </a:cubicBezTo>
                  <a:cubicBezTo>
                    <a:pt x="7029" y="1496"/>
                    <a:pt x="6987" y="1475"/>
                    <a:pt x="6954" y="1442"/>
                  </a:cubicBezTo>
                  <a:cubicBezTo>
                    <a:pt x="6899" y="1386"/>
                    <a:pt x="6866" y="1326"/>
                    <a:pt x="6865" y="1325"/>
                  </a:cubicBezTo>
                  <a:cubicBezTo>
                    <a:pt x="6587" y="823"/>
                    <a:pt x="6587" y="823"/>
                    <a:pt x="6587" y="823"/>
                  </a:cubicBezTo>
                  <a:cubicBezTo>
                    <a:pt x="6529" y="725"/>
                    <a:pt x="6456" y="703"/>
                    <a:pt x="6395" y="703"/>
                  </a:cubicBezTo>
                  <a:cubicBezTo>
                    <a:pt x="6366" y="703"/>
                    <a:pt x="6340" y="708"/>
                    <a:pt x="6321" y="714"/>
                  </a:cubicBezTo>
                  <a:cubicBezTo>
                    <a:pt x="6312" y="717"/>
                    <a:pt x="6304" y="720"/>
                    <a:pt x="6299" y="722"/>
                  </a:cubicBezTo>
                  <a:cubicBezTo>
                    <a:pt x="6295" y="723"/>
                    <a:pt x="6293" y="724"/>
                    <a:pt x="6292" y="725"/>
                  </a:cubicBezTo>
                  <a:cubicBezTo>
                    <a:pt x="6279" y="733"/>
                    <a:pt x="6059" y="860"/>
                    <a:pt x="5949" y="920"/>
                  </a:cubicBezTo>
                  <a:cubicBezTo>
                    <a:pt x="5847" y="976"/>
                    <a:pt x="5779" y="1006"/>
                    <a:pt x="5674" y="1006"/>
                  </a:cubicBezTo>
                  <a:cubicBezTo>
                    <a:pt x="5662" y="1006"/>
                    <a:pt x="5650" y="1006"/>
                    <a:pt x="5637" y="1005"/>
                  </a:cubicBezTo>
                  <a:cubicBezTo>
                    <a:pt x="5509" y="997"/>
                    <a:pt x="5215" y="908"/>
                    <a:pt x="4926" y="822"/>
                  </a:cubicBezTo>
                  <a:cubicBezTo>
                    <a:pt x="4674" y="747"/>
                    <a:pt x="4503" y="662"/>
                    <a:pt x="4462" y="641"/>
                  </a:cubicBezTo>
                  <a:cubicBezTo>
                    <a:pt x="4227" y="1096"/>
                    <a:pt x="4227" y="1096"/>
                    <a:pt x="4227" y="1096"/>
                  </a:cubicBezTo>
                  <a:cubicBezTo>
                    <a:pt x="4223" y="1114"/>
                    <a:pt x="4191" y="1237"/>
                    <a:pt x="4150" y="1305"/>
                  </a:cubicBezTo>
                  <a:cubicBezTo>
                    <a:pt x="4114" y="1365"/>
                    <a:pt x="4089" y="1412"/>
                    <a:pt x="4083" y="1422"/>
                  </a:cubicBezTo>
                  <a:lnTo>
                    <a:pt x="4016" y="1758"/>
                  </a:lnTo>
                  <a:close/>
                  <a:moveTo>
                    <a:pt x="3864" y="1844"/>
                  </a:moveTo>
                  <a:cubicBezTo>
                    <a:pt x="3809" y="1825"/>
                    <a:pt x="3734" y="1800"/>
                    <a:pt x="3650" y="1770"/>
                  </a:cubicBezTo>
                  <a:cubicBezTo>
                    <a:pt x="3634" y="1783"/>
                    <a:pt x="3634" y="1783"/>
                    <a:pt x="3634" y="1783"/>
                  </a:cubicBezTo>
                  <a:cubicBezTo>
                    <a:pt x="3212" y="3088"/>
                    <a:pt x="3212" y="3088"/>
                    <a:pt x="3212" y="3088"/>
                  </a:cubicBezTo>
                  <a:cubicBezTo>
                    <a:pt x="3207" y="3087"/>
                    <a:pt x="3207" y="3087"/>
                    <a:pt x="3207" y="3087"/>
                  </a:cubicBezTo>
                  <a:cubicBezTo>
                    <a:pt x="3364" y="3148"/>
                    <a:pt x="3679" y="3296"/>
                    <a:pt x="3946" y="3395"/>
                  </a:cubicBezTo>
                  <a:cubicBezTo>
                    <a:pt x="4266" y="3513"/>
                    <a:pt x="4564" y="3618"/>
                    <a:pt x="4764" y="3670"/>
                  </a:cubicBezTo>
                  <a:cubicBezTo>
                    <a:pt x="4839" y="3690"/>
                    <a:pt x="4919" y="3711"/>
                    <a:pt x="5000" y="3734"/>
                  </a:cubicBezTo>
                  <a:cubicBezTo>
                    <a:pt x="5162" y="3360"/>
                    <a:pt x="5162" y="3360"/>
                    <a:pt x="5162" y="3360"/>
                  </a:cubicBezTo>
                  <a:cubicBezTo>
                    <a:pt x="5153" y="2984"/>
                    <a:pt x="5153" y="2984"/>
                    <a:pt x="5153" y="2984"/>
                  </a:cubicBezTo>
                  <a:cubicBezTo>
                    <a:pt x="5154" y="2981"/>
                    <a:pt x="5154" y="2981"/>
                    <a:pt x="5154" y="2981"/>
                  </a:cubicBezTo>
                  <a:cubicBezTo>
                    <a:pt x="5154" y="2981"/>
                    <a:pt x="5193" y="2862"/>
                    <a:pt x="5231" y="2740"/>
                  </a:cubicBezTo>
                  <a:cubicBezTo>
                    <a:pt x="5251" y="2678"/>
                    <a:pt x="5270" y="2616"/>
                    <a:pt x="5284" y="2567"/>
                  </a:cubicBezTo>
                  <a:cubicBezTo>
                    <a:pt x="5290" y="2549"/>
                    <a:pt x="5294" y="2533"/>
                    <a:pt x="5298" y="2520"/>
                  </a:cubicBezTo>
                  <a:cubicBezTo>
                    <a:pt x="5298" y="2519"/>
                    <a:pt x="5298" y="2517"/>
                    <a:pt x="5298" y="2516"/>
                  </a:cubicBezTo>
                  <a:cubicBezTo>
                    <a:pt x="5298" y="2516"/>
                    <a:pt x="5298" y="2516"/>
                    <a:pt x="5298" y="2516"/>
                  </a:cubicBezTo>
                  <a:cubicBezTo>
                    <a:pt x="4434" y="2159"/>
                    <a:pt x="4434" y="2159"/>
                    <a:pt x="4434" y="2159"/>
                  </a:cubicBezTo>
                  <a:cubicBezTo>
                    <a:pt x="4428" y="2154"/>
                    <a:pt x="4428" y="2154"/>
                    <a:pt x="4428" y="2154"/>
                  </a:cubicBezTo>
                  <a:cubicBezTo>
                    <a:pt x="4428" y="2154"/>
                    <a:pt x="4410" y="2141"/>
                    <a:pt x="4379" y="2119"/>
                  </a:cubicBezTo>
                  <a:cubicBezTo>
                    <a:pt x="4283" y="2052"/>
                    <a:pt x="4063" y="1909"/>
                    <a:pt x="3864" y="1844"/>
                  </a:cubicBezTo>
                  <a:close/>
                  <a:moveTo>
                    <a:pt x="4281" y="3554"/>
                  </a:moveTo>
                  <a:cubicBezTo>
                    <a:pt x="4281" y="3554"/>
                    <a:pt x="4281" y="3554"/>
                    <a:pt x="4281" y="3554"/>
                  </a:cubicBezTo>
                  <a:cubicBezTo>
                    <a:pt x="4281" y="3555"/>
                    <a:pt x="4281" y="3555"/>
                    <a:pt x="4281" y="3555"/>
                  </a:cubicBezTo>
                  <a:cubicBezTo>
                    <a:pt x="4281" y="3555"/>
                    <a:pt x="4281" y="3555"/>
                    <a:pt x="4281" y="3555"/>
                  </a:cubicBezTo>
                  <a:lnTo>
                    <a:pt x="4281" y="3554"/>
                  </a:lnTo>
                  <a:close/>
                  <a:moveTo>
                    <a:pt x="4093" y="3904"/>
                  </a:moveTo>
                  <a:cubicBezTo>
                    <a:pt x="4094" y="3900"/>
                    <a:pt x="4094" y="3900"/>
                    <a:pt x="4094" y="3900"/>
                  </a:cubicBezTo>
                  <a:cubicBezTo>
                    <a:pt x="4094" y="3900"/>
                    <a:pt x="4133" y="3809"/>
                    <a:pt x="4172" y="3717"/>
                  </a:cubicBezTo>
                  <a:cubicBezTo>
                    <a:pt x="4192" y="3671"/>
                    <a:pt x="4212" y="3625"/>
                    <a:pt x="4228" y="3591"/>
                  </a:cubicBezTo>
                  <a:cubicBezTo>
                    <a:pt x="4235" y="3573"/>
                    <a:pt x="4242" y="3558"/>
                    <a:pt x="4247" y="3548"/>
                  </a:cubicBezTo>
                  <a:cubicBezTo>
                    <a:pt x="4248" y="3546"/>
                    <a:pt x="4249" y="3545"/>
                    <a:pt x="4250" y="3543"/>
                  </a:cubicBezTo>
                  <a:cubicBezTo>
                    <a:pt x="4149" y="3507"/>
                    <a:pt x="4043" y="3469"/>
                    <a:pt x="3934" y="3428"/>
                  </a:cubicBezTo>
                  <a:cubicBezTo>
                    <a:pt x="3613" y="3310"/>
                    <a:pt x="3221" y="3121"/>
                    <a:pt x="3125" y="3096"/>
                  </a:cubicBezTo>
                  <a:cubicBezTo>
                    <a:pt x="3083" y="3085"/>
                    <a:pt x="3021" y="3071"/>
                    <a:pt x="2947" y="3071"/>
                  </a:cubicBezTo>
                  <a:cubicBezTo>
                    <a:pt x="2845" y="3071"/>
                    <a:pt x="2721" y="3098"/>
                    <a:pt x="2597" y="3202"/>
                  </a:cubicBezTo>
                  <a:cubicBezTo>
                    <a:pt x="2524" y="3263"/>
                    <a:pt x="2409" y="3395"/>
                    <a:pt x="2253" y="3564"/>
                  </a:cubicBezTo>
                  <a:cubicBezTo>
                    <a:pt x="2104" y="3725"/>
                    <a:pt x="1941" y="3902"/>
                    <a:pt x="1814" y="4040"/>
                  </a:cubicBezTo>
                  <a:cubicBezTo>
                    <a:pt x="1750" y="4108"/>
                    <a:pt x="1696" y="4167"/>
                    <a:pt x="1657" y="4208"/>
                  </a:cubicBezTo>
                  <a:cubicBezTo>
                    <a:pt x="1639" y="4229"/>
                    <a:pt x="1624" y="4244"/>
                    <a:pt x="1613" y="4256"/>
                  </a:cubicBezTo>
                  <a:cubicBezTo>
                    <a:pt x="1616" y="4257"/>
                    <a:pt x="1619" y="4258"/>
                    <a:pt x="1619" y="4258"/>
                  </a:cubicBezTo>
                  <a:cubicBezTo>
                    <a:pt x="1621" y="4259"/>
                    <a:pt x="1621" y="4259"/>
                    <a:pt x="1621" y="4259"/>
                  </a:cubicBezTo>
                  <a:cubicBezTo>
                    <a:pt x="2454" y="4863"/>
                    <a:pt x="2454" y="4863"/>
                    <a:pt x="2454" y="4863"/>
                  </a:cubicBezTo>
                  <a:cubicBezTo>
                    <a:pt x="2917" y="5010"/>
                    <a:pt x="2917" y="5010"/>
                    <a:pt x="2917" y="5010"/>
                  </a:cubicBezTo>
                  <a:cubicBezTo>
                    <a:pt x="2923" y="4995"/>
                    <a:pt x="2949" y="4932"/>
                    <a:pt x="2968" y="4886"/>
                  </a:cubicBezTo>
                  <a:cubicBezTo>
                    <a:pt x="2990" y="4832"/>
                    <a:pt x="3033" y="4747"/>
                    <a:pt x="3156" y="4688"/>
                  </a:cubicBezTo>
                  <a:cubicBezTo>
                    <a:pt x="3199" y="4668"/>
                    <a:pt x="3242" y="4659"/>
                    <a:pt x="3289" y="4659"/>
                  </a:cubicBezTo>
                  <a:cubicBezTo>
                    <a:pt x="3381" y="4660"/>
                    <a:pt x="3489" y="4690"/>
                    <a:pt x="3654" y="4722"/>
                  </a:cubicBezTo>
                  <a:cubicBezTo>
                    <a:pt x="3750" y="4740"/>
                    <a:pt x="3865" y="4766"/>
                    <a:pt x="3987" y="4796"/>
                  </a:cubicBezTo>
                  <a:cubicBezTo>
                    <a:pt x="3993" y="4781"/>
                    <a:pt x="4009" y="4741"/>
                    <a:pt x="4028" y="4687"/>
                  </a:cubicBezTo>
                  <a:cubicBezTo>
                    <a:pt x="4051" y="4618"/>
                    <a:pt x="4078" y="4529"/>
                    <a:pt x="4093" y="4447"/>
                  </a:cubicBezTo>
                  <a:cubicBezTo>
                    <a:pt x="4103" y="4394"/>
                    <a:pt x="4107" y="4315"/>
                    <a:pt x="4106" y="4235"/>
                  </a:cubicBezTo>
                  <a:cubicBezTo>
                    <a:pt x="4107" y="4075"/>
                    <a:pt x="4093" y="3909"/>
                    <a:pt x="4093" y="3908"/>
                  </a:cubicBezTo>
                  <a:lnTo>
                    <a:pt x="4093" y="3904"/>
                  </a:lnTo>
                  <a:close/>
                  <a:moveTo>
                    <a:pt x="1291" y="4143"/>
                  </a:moveTo>
                  <a:cubicBezTo>
                    <a:pt x="1293" y="4145"/>
                    <a:pt x="1294" y="4146"/>
                    <a:pt x="1295" y="4148"/>
                  </a:cubicBezTo>
                  <a:cubicBezTo>
                    <a:pt x="1301" y="4149"/>
                    <a:pt x="1307" y="4150"/>
                    <a:pt x="1315" y="4153"/>
                  </a:cubicBezTo>
                  <a:cubicBezTo>
                    <a:pt x="1370" y="4168"/>
                    <a:pt x="1506" y="4217"/>
                    <a:pt x="1576" y="4242"/>
                  </a:cubicBezTo>
                  <a:cubicBezTo>
                    <a:pt x="1597" y="4220"/>
                    <a:pt x="1683" y="4128"/>
                    <a:pt x="1796" y="4005"/>
                  </a:cubicBezTo>
                  <a:cubicBezTo>
                    <a:pt x="1922" y="3870"/>
                    <a:pt x="2081" y="3697"/>
                    <a:pt x="2226" y="3540"/>
                  </a:cubicBezTo>
                  <a:cubicBezTo>
                    <a:pt x="2382" y="3370"/>
                    <a:pt x="2496" y="3240"/>
                    <a:pt x="2574" y="3174"/>
                  </a:cubicBezTo>
                  <a:cubicBezTo>
                    <a:pt x="2705" y="3064"/>
                    <a:pt x="2839" y="3034"/>
                    <a:pt x="2947" y="3034"/>
                  </a:cubicBezTo>
                  <a:cubicBezTo>
                    <a:pt x="3025" y="3034"/>
                    <a:pt x="3091" y="3050"/>
                    <a:pt x="3134" y="3061"/>
                  </a:cubicBezTo>
                  <a:cubicBezTo>
                    <a:pt x="3145" y="3064"/>
                    <a:pt x="3161" y="3069"/>
                    <a:pt x="3178" y="3076"/>
                  </a:cubicBezTo>
                  <a:cubicBezTo>
                    <a:pt x="3601" y="1769"/>
                    <a:pt x="3601" y="1769"/>
                    <a:pt x="3601" y="1769"/>
                  </a:cubicBezTo>
                  <a:cubicBezTo>
                    <a:pt x="3602" y="1754"/>
                    <a:pt x="3602" y="1754"/>
                    <a:pt x="3602" y="1754"/>
                  </a:cubicBezTo>
                  <a:cubicBezTo>
                    <a:pt x="3262" y="1635"/>
                    <a:pt x="2802" y="1470"/>
                    <a:pt x="2757" y="1453"/>
                  </a:cubicBezTo>
                  <a:cubicBezTo>
                    <a:pt x="2727" y="1442"/>
                    <a:pt x="2685" y="1426"/>
                    <a:pt x="2644" y="1401"/>
                  </a:cubicBezTo>
                  <a:cubicBezTo>
                    <a:pt x="2617" y="1385"/>
                    <a:pt x="2591" y="1365"/>
                    <a:pt x="2568" y="1339"/>
                  </a:cubicBezTo>
                  <a:cubicBezTo>
                    <a:pt x="2558" y="1345"/>
                    <a:pt x="2558" y="1345"/>
                    <a:pt x="2558" y="1345"/>
                  </a:cubicBezTo>
                  <a:cubicBezTo>
                    <a:pt x="2548" y="1353"/>
                    <a:pt x="2526" y="1371"/>
                    <a:pt x="2495" y="1397"/>
                  </a:cubicBezTo>
                  <a:cubicBezTo>
                    <a:pt x="2360" y="1511"/>
                    <a:pt x="2056" y="1774"/>
                    <a:pt x="1785" y="2008"/>
                  </a:cubicBezTo>
                  <a:cubicBezTo>
                    <a:pt x="1650" y="2125"/>
                    <a:pt x="1523" y="2235"/>
                    <a:pt x="1430" y="2316"/>
                  </a:cubicBezTo>
                  <a:cubicBezTo>
                    <a:pt x="1343" y="2392"/>
                    <a:pt x="1285" y="2442"/>
                    <a:pt x="1279" y="2447"/>
                  </a:cubicBezTo>
                  <a:cubicBezTo>
                    <a:pt x="565" y="3210"/>
                    <a:pt x="565" y="3210"/>
                    <a:pt x="565" y="3210"/>
                  </a:cubicBezTo>
                  <a:cubicBezTo>
                    <a:pt x="609" y="3267"/>
                    <a:pt x="764" y="3470"/>
                    <a:pt x="922" y="3674"/>
                  </a:cubicBezTo>
                  <a:cubicBezTo>
                    <a:pt x="1014" y="3794"/>
                    <a:pt x="1108" y="3914"/>
                    <a:pt x="1179" y="4004"/>
                  </a:cubicBezTo>
                  <a:cubicBezTo>
                    <a:pt x="1214" y="4049"/>
                    <a:pt x="1244" y="4087"/>
                    <a:pt x="1265" y="4113"/>
                  </a:cubicBezTo>
                  <a:cubicBezTo>
                    <a:pt x="1276" y="4126"/>
                    <a:pt x="1285" y="4136"/>
                    <a:pt x="1291" y="4143"/>
                  </a:cubicBezTo>
                  <a:close/>
                  <a:moveTo>
                    <a:pt x="1357" y="6806"/>
                  </a:moveTo>
                  <a:cubicBezTo>
                    <a:pt x="1396" y="6732"/>
                    <a:pt x="1425" y="6665"/>
                    <a:pt x="1425" y="6665"/>
                  </a:cubicBezTo>
                  <a:cubicBezTo>
                    <a:pt x="1426" y="6664"/>
                    <a:pt x="1426" y="6664"/>
                    <a:pt x="1426" y="6664"/>
                  </a:cubicBezTo>
                  <a:cubicBezTo>
                    <a:pt x="2422" y="4885"/>
                    <a:pt x="2422" y="4885"/>
                    <a:pt x="2422" y="4885"/>
                  </a:cubicBezTo>
                  <a:cubicBezTo>
                    <a:pt x="1604" y="4291"/>
                    <a:pt x="1604" y="4291"/>
                    <a:pt x="1604" y="4291"/>
                  </a:cubicBezTo>
                  <a:cubicBezTo>
                    <a:pt x="1591" y="4286"/>
                    <a:pt x="1524" y="4262"/>
                    <a:pt x="1454" y="4237"/>
                  </a:cubicBezTo>
                  <a:cubicBezTo>
                    <a:pt x="1415" y="4223"/>
                    <a:pt x="1376" y="4210"/>
                    <a:pt x="1344" y="4199"/>
                  </a:cubicBezTo>
                  <a:cubicBezTo>
                    <a:pt x="1334" y="4196"/>
                    <a:pt x="1325" y="4193"/>
                    <a:pt x="1317" y="4191"/>
                  </a:cubicBezTo>
                  <a:cubicBezTo>
                    <a:pt x="204" y="6229"/>
                    <a:pt x="204" y="6229"/>
                    <a:pt x="204" y="6229"/>
                  </a:cubicBezTo>
                  <a:cubicBezTo>
                    <a:pt x="364" y="6302"/>
                    <a:pt x="600" y="6451"/>
                    <a:pt x="783" y="6620"/>
                  </a:cubicBezTo>
                  <a:cubicBezTo>
                    <a:pt x="956" y="6778"/>
                    <a:pt x="1066" y="6955"/>
                    <a:pt x="1107" y="7026"/>
                  </a:cubicBezTo>
                  <a:cubicBezTo>
                    <a:pt x="1108" y="7026"/>
                    <a:pt x="1109" y="7026"/>
                    <a:pt x="1110" y="7025"/>
                  </a:cubicBezTo>
                  <a:cubicBezTo>
                    <a:pt x="1133" y="7022"/>
                    <a:pt x="1186" y="7011"/>
                    <a:pt x="1239" y="6977"/>
                  </a:cubicBezTo>
                  <a:cubicBezTo>
                    <a:pt x="1269" y="6959"/>
                    <a:pt x="1320" y="6879"/>
                    <a:pt x="1357" y="6806"/>
                  </a:cubicBezTo>
                  <a:close/>
                  <a:moveTo>
                    <a:pt x="1912" y="6970"/>
                  </a:moveTo>
                  <a:cubicBezTo>
                    <a:pt x="1761" y="6882"/>
                    <a:pt x="1517" y="6737"/>
                    <a:pt x="1450" y="6698"/>
                  </a:cubicBezTo>
                  <a:cubicBezTo>
                    <a:pt x="1439" y="6723"/>
                    <a:pt x="1416" y="6771"/>
                    <a:pt x="1389" y="6822"/>
                  </a:cubicBezTo>
                  <a:cubicBezTo>
                    <a:pt x="1357" y="6882"/>
                    <a:pt x="1322" y="6945"/>
                    <a:pt x="1286" y="6983"/>
                  </a:cubicBezTo>
                  <a:cubicBezTo>
                    <a:pt x="1290" y="6989"/>
                    <a:pt x="1290" y="6989"/>
                    <a:pt x="1290" y="6989"/>
                  </a:cubicBezTo>
                  <a:cubicBezTo>
                    <a:pt x="1290" y="6989"/>
                    <a:pt x="1290" y="6989"/>
                    <a:pt x="1290" y="6989"/>
                  </a:cubicBezTo>
                  <a:cubicBezTo>
                    <a:pt x="1394" y="7148"/>
                    <a:pt x="1394" y="7148"/>
                    <a:pt x="1394" y="7148"/>
                  </a:cubicBezTo>
                  <a:cubicBezTo>
                    <a:pt x="1394" y="7148"/>
                    <a:pt x="1394" y="7148"/>
                    <a:pt x="1394" y="7148"/>
                  </a:cubicBezTo>
                  <a:cubicBezTo>
                    <a:pt x="1402" y="7161"/>
                    <a:pt x="1402" y="7161"/>
                    <a:pt x="1402" y="7161"/>
                  </a:cubicBezTo>
                  <a:cubicBezTo>
                    <a:pt x="1419" y="7185"/>
                    <a:pt x="1419" y="7185"/>
                    <a:pt x="1419" y="7185"/>
                  </a:cubicBezTo>
                  <a:cubicBezTo>
                    <a:pt x="1418" y="7186"/>
                    <a:pt x="1418" y="7186"/>
                    <a:pt x="1418" y="7186"/>
                  </a:cubicBezTo>
                  <a:cubicBezTo>
                    <a:pt x="1422" y="7191"/>
                    <a:pt x="1422" y="7191"/>
                    <a:pt x="1422" y="7191"/>
                  </a:cubicBezTo>
                  <a:cubicBezTo>
                    <a:pt x="1389" y="7346"/>
                    <a:pt x="1389" y="7346"/>
                    <a:pt x="1389" y="7346"/>
                  </a:cubicBezTo>
                  <a:cubicBezTo>
                    <a:pt x="1403" y="7355"/>
                    <a:pt x="1437" y="7377"/>
                    <a:pt x="1472" y="7399"/>
                  </a:cubicBezTo>
                  <a:cubicBezTo>
                    <a:pt x="1495" y="7413"/>
                    <a:pt x="1518" y="7427"/>
                    <a:pt x="1535" y="7438"/>
                  </a:cubicBezTo>
                  <a:cubicBezTo>
                    <a:pt x="1544" y="7443"/>
                    <a:pt x="1552" y="7448"/>
                    <a:pt x="1557" y="7451"/>
                  </a:cubicBezTo>
                  <a:cubicBezTo>
                    <a:pt x="1560" y="7452"/>
                    <a:pt x="1562" y="7454"/>
                    <a:pt x="1563" y="7454"/>
                  </a:cubicBezTo>
                  <a:cubicBezTo>
                    <a:pt x="1564" y="7455"/>
                    <a:pt x="1565" y="7455"/>
                    <a:pt x="1565" y="7455"/>
                  </a:cubicBezTo>
                  <a:cubicBezTo>
                    <a:pt x="1562" y="7463"/>
                    <a:pt x="1562" y="7463"/>
                    <a:pt x="1562" y="7463"/>
                  </a:cubicBezTo>
                  <a:cubicBezTo>
                    <a:pt x="1562" y="7454"/>
                    <a:pt x="1562" y="7454"/>
                    <a:pt x="1562" y="7454"/>
                  </a:cubicBezTo>
                  <a:cubicBezTo>
                    <a:pt x="1562" y="7466"/>
                    <a:pt x="1562" y="7466"/>
                    <a:pt x="1562" y="7466"/>
                  </a:cubicBezTo>
                  <a:cubicBezTo>
                    <a:pt x="1563" y="7473"/>
                    <a:pt x="1563" y="7473"/>
                    <a:pt x="1563" y="7473"/>
                  </a:cubicBezTo>
                  <a:cubicBezTo>
                    <a:pt x="1650" y="7353"/>
                    <a:pt x="1650" y="7353"/>
                    <a:pt x="1650" y="7353"/>
                  </a:cubicBezTo>
                  <a:cubicBezTo>
                    <a:pt x="1647" y="7350"/>
                    <a:pt x="1647" y="7350"/>
                    <a:pt x="1647" y="7350"/>
                  </a:cubicBezTo>
                  <a:cubicBezTo>
                    <a:pt x="1647" y="7350"/>
                    <a:pt x="1647" y="7350"/>
                    <a:pt x="1647" y="7349"/>
                  </a:cubicBezTo>
                  <a:cubicBezTo>
                    <a:pt x="1647" y="7349"/>
                    <a:pt x="1647" y="7349"/>
                    <a:pt x="1647" y="7349"/>
                  </a:cubicBezTo>
                  <a:cubicBezTo>
                    <a:pt x="1652" y="7345"/>
                    <a:pt x="1673" y="7317"/>
                    <a:pt x="1698" y="7281"/>
                  </a:cubicBezTo>
                  <a:cubicBezTo>
                    <a:pt x="1698" y="7284"/>
                    <a:pt x="1698" y="7284"/>
                    <a:pt x="1698" y="7284"/>
                  </a:cubicBezTo>
                  <a:cubicBezTo>
                    <a:pt x="1716" y="7259"/>
                    <a:pt x="1716" y="7259"/>
                    <a:pt x="1716" y="7259"/>
                  </a:cubicBezTo>
                  <a:cubicBezTo>
                    <a:pt x="1753" y="7205"/>
                    <a:pt x="1796" y="7135"/>
                    <a:pt x="1835" y="7079"/>
                  </a:cubicBezTo>
                  <a:cubicBezTo>
                    <a:pt x="1857" y="7046"/>
                    <a:pt x="1877" y="7017"/>
                    <a:pt x="1893" y="6995"/>
                  </a:cubicBezTo>
                  <a:cubicBezTo>
                    <a:pt x="1901" y="6985"/>
                    <a:pt x="1907" y="6977"/>
                    <a:pt x="1912" y="6970"/>
                  </a:cubicBezTo>
                  <a:close/>
                  <a:moveTo>
                    <a:pt x="1941" y="6987"/>
                  </a:moveTo>
                  <a:cubicBezTo>
                    <a:pt x="1941" y="6987"/>
                    <a:pt x="1941" y="6987"/>
                    <a:pt x="1941" y="6987"/>
                  </a:cubicBezTo>
                  <a:cubicBezTo>
                    <a:pt x="1941" y="6988"/>
                    <a:pt x="1941" y="6988"/>
                    <a:pt x="1941" y="6988"/>
                  </a:cubicBezTo>
                  <a:cubicBezTo>
                    <a:pt x="1941" y="6988"/>
                    <a:pt x="1941" y="6988"/>
                    <a:pt x="1941" y="6988"/>
                  </a:cubicBezTo>
                  <a:lnTo>
                    <a:pt x="1941" y="6987"/>
                  </a:lnTo>
                  <a:close/>
                  <a:moveTo>
                    <a:pt x="3510" y="7220"/>
                  </a:moveTo>
                  <a:cubicBezTo>
                    <a:pt x="3472" y="7183"/>
                    <a:pt x="3433" y="7149"/>
                    <a:pt x="3399" y="7125"/>
                  </a:cubicBezTo>
                  <a:cubicBezTo>
                    <a:pt x="3282" y="7042"/>
                    <a:pt x="3176" y="6981"/>
                    <a:pt x="3090" y="6895"/>
                  </a:cubicBezTo>
                  <a:cubicBezTo>
                    <a:pt x="3014" y="6819"/>
                    <a:pt x="2973" y="6714"/>
                    <a:pt x="2973" y="6641"/>
                  </a:cubicBezTo>
                  <a:cubicBezTo>
                    <a:pt x="2973" y="6631"/>
                    <a:pt x="2974" y="6621"/>
                    <a:pt x="2976" y="6611"/>
                  </a:cubicBezTo>
                  <a:cubicBezTo>
                    <a:pt x="2979" y="6599"/>
                    <a:pt x="2988" y="6578"/>
                    <a:pt x="3005" y="6542"/>
                  </a:cubicBezTo>
                  <a:cubicBezTo>
                    <a:pt x="3109" y="6316"/>
                    <a:pt x="3472" y="5609"/>
                    <a:pt x="3527" y="5503"/>
                  </a:cubicBezTo>
                  <a:cubicBezTo>
                    <a:pt x="2950" y="5058"/>
                    <a:pt x="2950" y="5058"/>
                    <a:pt x="2950" y="5058"/>
                  </a:cubicBezTo>
                  <a:cubicBezTo>
                    <a:pt x="2454" y="4901"/>
                    <a:pt x="2454" y="4901"/>
                    <a:pt x="2454" y="4901"/>
                  </a:cubicBezTo>
                  <a:cubicBezTo>
                    <a:pt x="1466" y="6666"/>
                    <a:pt x="1466" y="6666"/>
                    <a:pt x="1466" y="6666"/>
                  </a:cubicBezTo>
                  <a:cubicBezTo>
                    <a:pt x="1504" y="6688"/>
                    <a:pt x="1608" y="6750"/>
                    <a:pt x="1719" y="6815"/>
                  </a:cubicBezTo>
                  <a:cubicBezTo>
                    <a:pt x="1857" y="6897"/>
                    <a:pt x="2006" y="6983"/>
                    <a:pt x="2042" y="7003"/>
                  </a:cubicBezTo>
                  <a:cubicBezTo>
                    <a:pt x="2120" y="7044"/>
                    <a:pt x="2364" y="7227"/>
                    <a:pt x="2451" y="7289"/>
                  </a:cubicBezTo>
                  <a:cubicBezTo>
                    <a:pt x="2540" y="7351"/>
                    <a:pt x="2651" y="7444"/>
                    <a:pt x="2816" y="7465"/>
                  </a:cubicBezTo>
                  <a:cubicBezTo>
                    <a:pt x="2828" y="7467"/>
                    <a:pt x="2840" y="7467"/>
                    <a:pt x="2852" y="7467"/>
                  </a:cubicBezTo>
                  <a:cubicBezTo>
                    <a:pt x="3000" y="7468"/>
                    <a:pt x="3142" y="7355"/>
                    <a:pt x="3220" y="7302"/>
                  </a:cubicBezTo>
                  <a:cubicBezTo>
                    <a:pt x="3266" y="7270"/>
                    <a:pt x="3346" y="7250"/>
                    <a:pt x="3415" y="7236"/>
                  </a:cubicBezTo>
                  <a:cubicBezTo>
                    <a:pt x="3452" y="7228"/>
                    <a:pt x="3486" y="7223"/>
                    <a:pt x="3510" y="7220"/>
                  </a:cubicBezTo>
                  <a:close/>
                  <a:moveTo>
                    <a:pt x="3896" y="7597"/>
                  </a:moveTo>
                  <a:cubicBezTo>
                    <a:pt x="3897" y="7598"/>
                    <a:pt x="3897" y="7598"/>
                    <a:pt x="3897" y="7598"/>
                  </a:cubicBezTo>
                  <a:cubicBezTo>
                    <a:pt x="3898" y="7600"/>
                    <a:pt x="3904" y="7610"/>
                    <a:pt x="3907" y="7629"/>
                  </a:cubicBezTo>
                  <a:cubicBezTo>
                    <a:pt x="3909" y="7639"/>
                    <a:pt x="3910" y="7651"/>
                    <a:pt x="3911" y="7661"/>
                  </a:cubicBezTo>
                  <a:cubicBezTo>
                    <a:pt x="4044" y="7603"/>
                    <a:pt x="4044" y="7603"/>
                    <a:pt x="4044" y="7603"/>
                  </a:cubicBezTo>
                  <a:cubicBezTo>
                    <a:pt x="4154" y="7549"/>
                    <a:pt x="4154" y="7549"/>
                    <a:pt x="4154" y="7549"/>
                  </a:cubicBezTo>
                  <a:cubicBezTo>
                    <a:pt x="4152" y="7545"/>
                    <a:pt x="4152" y="7545"/>
                    <a:pt x="4152" y="7545"/>
                  </a:cubicBezTo>
                  <a:cubicBezTo>
                    <a:pt x="4173" y="7540"/>
                    <a:pt x="4173" y="7540"/>
                    <a:pt x="4173" y="7540"/>
                  </a:cubicBezTo>
                  <a:cubicBezTo>
                    <a:pt x="4206" y="7523"/>
                    <a:pt x="4206" y="7523"/>
                    <a:pt x="4206" y="7523"/>
                  </a:cubicBezTo>
                  <a:cubicBezTo>
                    <a:pt x="4206" y="7523"/>
                    <a:pt x="4206" y="7523"/>
                    <a:pt x="4206" y="7523"/>
                  </a:cubicBezTo>
                  <a:cubicBezTo>
                    <a:pt x="4211" y="7520"/>
                    <a:pt x="4218" y="7517"/>
                    <a:pt x="4227" y="7512"/>
                  </a:cubicBezTo>
                  <a:cubicBezTo>
                    <a:pt x="4235" y="7507"/>
                    <a:pt x="4235" y="7507"/>
                    <a:pt x="4235" y="7507"/>
                  </a:cubicBezTo>
                  <a:cubicBezTo>
                    <a:pt x="4278" y="7486"/>
                    <a:pt x="4322" y="7459"/>
                    <a:pt x="4353" y="7430"/>
                  </a:cubicBezTo>
                  <a:cubicBezTo>
                    <a:pt x="4412" y="7377"/>
                    <a:pt x="4484" y="7189"/>
                    <a:pt x="4514" y="6959"/>
                  </a:cubicBezTo>
                  <a:cubicBezTo>
                    <a:pt x="4544" y="6728"/>
                    <a:pt x="4791" y="5548"/>
                    <a:pt x="4799" y="5512"/>
                  </a:cubicBezTo>
                  <a:cubicBezTo>
                    <a:pt x="4799" y="5508"/>
                    <a:pt x="4803" y="5477"/>
                    <a:pt x="4803" y="5431"/>
                  </a:cubicBezTo>
                  <a:cubicBezTo>
                    <a:pt x="4803" y="5366"/>
                    <a:pt x="4795" y="5273"/>
                    <a:pt x="4762" y="5189"/>
                  </a:cubicBezTo>
                  <a:cubicBezTo>
                    <a:pt x="4729" y="5105"/>
                    <a:pt x="4672" y="5031"/>
                    <a:pt x="4570" y="4998"/>
                  </a:cubicBezTo>
                  <a:cubicBezTo>
                    <a:pt x="4273" y="4902"/>
                    <a:pt x="3896" y="4805"/>
                    <a:pt x="3647" y="4757"/>
                  </a:cubicBezTo>
                  <a:cubicBezTo>
                    <a:pt x="3481" y="4725"/>
                    <a:pt x="3373" y="4695"/>
                    <a:pt x="3289" y="4695"/>
                  </a:cubicBezTo>
                  <a:cubicBezTo>
                    <a:pt x="3246" y="4696"/>
                    <a:pt x="3209" y="4703"/>
                    <a:pt x="3172" y="4721"/>
                  </a:cubicBezTo>
                  <a:cubicBezTo>
                    <a:pt x="3058" y="4776"/>
                    <a:pt x="3023" y="4849"/>
                    <a:pt x="3001" y="4900"/>
                  </a:cubicBezTo>
                  <a:cubicBezTo>
                    <a:pt x="2983" y="4944"/>
                    <a:pt x="2959" y="5003"/>
                    <a:pt x="2951" y="5021"/>
                  </a:cubicBezTo>
                  <a:cubicBezTo>
                    <a:pt x="2967" y="5026"/>
                    <a:pt x="2967" y="5026"/>
                    <a:pt x="2967" y="5026"/>
                  </a:cubicBezTo>
                  <a:cubicBezTo>
                    <a:pt x="3573" y="5493"/>
                    <a:pt x="3573" y="5493"/>
                    <a:pt x="3573" y="5493"/>
                  </a:cubicBezTo>
                  <a:cubicBezTo>
                    <a:pt x="3566" y="5506"/>
                    <a:pt x="3566" y="5506"/>
                    <a:pt x="3566" y="5506"/>
                  </a:cubicBezTo>
                  <a:cubicBezTo>
                    <a:pt x="3566" y="5506"/>
                    <a:pt x="3430" y="5770"/>
                    <a:pt x="3293" y="6042"/>
                  </a:cubicBezTo>
                  <a:cubicBezTo>
                    <a:pt x="3224" y="6177"/>
                    <a:pt x="3155" y="6315"/>
                    <a:pt x="3102" y="6423"/>
                  </a:cubicBezTo>
                  <a:cubicBezTo>
                    <a:pt x="3076" y="6476"/>
                    <a:pt x="3053" y="6523"/>
                    <a:pt x="3037" y="6557"/>
                  </a:cubicBezTo>
                  <a:cubicBezTo>
                    <a:pt x="3021" y="6591"/>
                    <a:pt x="3011" y="6616"/>
                    <a:pt x="3011" y="6619"/>
                  </a:cubicBezTo>
                  <a:cubicBezTo>
                    <a:pt x="3010" y="6625"/>
                    <a:pt x="3009" y="6633"/>
                    <a:pt x="3009" y="6641"/>
                  </a:cubicBezTo>
                  <a:cubicBezTo>
                    <a:pt x="3008" y="6700"/>
                    <a:pt x="3046" y="6801"/>
                    <a:pt x="3116" y="6870"/>
                  </a:cubicBezTo>
                  <a:cubicBezTo>
                    <a:pt x="3197" y="6951"/>
                    <a:pt x="3301" y="7012"/>
                    <a:pt x="3420" y="7096"/>
                  </a:cubicBezTo>
                  <a:cubicBezTo>
                    <a:pt x="3542" y="7182"/>
                    <a:pt x="3708" y="7379"/>
                    <a:pt x="3708" y="7379"/>
                  </a:cubicBezTo>
                  <a:cubicBezTo>
                    <a:pt x="3708" y="7379"/>
                    <a:pt x="3708" y="7379"/>
                    <a:pt x="3708" y="7379"/>
                  </a:cubicBezTo>
                  <a:lnTo>
                    <a:pt x="3896" y="7597"/>
                  </a:lnTo>
                  <a:close/>
                  <a:moveTo>
                    <a:pt x="3937" y="7897"/>
                  </a:moveTo>
                  <a:cubicBezTo>
                    <a:pt x="3939" y="7896"/>
                    <a:pt x="3939" y="7896"/>
                    <a:pt x="3939" y="7896"/>
                  </a:cubicBezTo>
                  <a:cubicBezTo>
                    <a:pt x="3938" y="7900"/>
                    <a:pt x="3938" y="7900"/>
                    <a:pt x="3938" y="7900"/>
                  </a:cubicBezTo>
                  <a:cubicBezTo>
                    <a:pt x="3942" y="7930"/>
                    <a:pt x="3950" y="7959"/>
                    <a:pt x="3960" y="7984"/>
                  </a:cubicBezTo>
                  <a:cubicBezTo>
                    <a:pt x="3965" y="7996"/>
                    <a:pt x="3970" y="8007"/>
                    <a:pt x="3974" y="8015"/>
                  </a:cubicBezTo>
                  <a:cubicBezTo>
                    <a:pt x="3975" y="8019"/>
                    <a:pt x="3977" y="8022"/>
                    <a:pt x="3978" y="8025"/>
                  </a:cubicBezTo>
                  <a:cubicBezTo>
                    <a:pt x="3979" y="8026"/>
                    <a:pt x="3979" y="8027"/>
                    <a:pt x="3980" y="8028"/>
                  </a:cubicBezTo>
                  <a:cubicBezTo>
                    <a:pt x="3987" y="8044"/>
                    <a:pt x="3987" y="8044"/>
                    <a:pt x="3987" y="8044"/>
                  </a:cubicBezTo>
                  <a:cubicBezTo>
                    <a:pt x="4015" y="8040"/>
                    <a:pt x="4042" y="8038"/>
                    <a:pt x="4069" y="8038"/>
                  </a:cubicBezTo>
                  <a:cubicBezTo>
                    <a:pt x="4157" y="8039"/>
                    <a:pt x="4244" y="8053"/>
                    <a:pt x="4348" y="8053"/>
                  </a:cubicBezTo>
                  <a:cubicBezTo>
                    <a:pt x="4374" y="8053"/>
                    <a:pt x="4401" y="8052"/>
                    <a:pt x="4430" y="8050"/>
                  </a:cubicBezTo>
                  <a:cubicBezTo>
                    <a:pt x="4530" y="8042"/>
                    <a:pt x="4700" y="8014"/>
                    <a:pt x="4844" y="7987"/>
                  </a:cubicBezTo>
                  <a:cubicBezTo>
                    <a:pt x="4987" y="7960"/>
                    <a:pt x="5105" y="7935"/>
                    <a:pt x="5105" y="7935"/>
                  </a:cubicBezTo>
                  <a:cubicBezTo>
                    <a:pt x="5113" y="7933"/>
                    <a:pt x="5113" y="7933"/>
                    <a:pt x="5113" y="7933"/>
                  </a:cubicBezTo>
                  <a:cubicBezTo>
                    <a:pt x="5121" y="7934"/>
                    <a:pt x="5121" y="7934"/>
                    <a:pt x="5121" y="7934"/>
                  </a:cubicBezTo>
                  <a:cubicBezTo>
                    <a:pt x="5122" y="7934"/>
                    <a:pt x="5477" y="7959"/>
                    <a:pt x="5840" y="7985"/>
                  </a:cubicBezTo>
                  <a:cubicBezTo>
                    <a:pt x="6047" y="8000"/>
                    <a:pt x="6256" y="8015"/>
                    <a:pt x="6401" y="8025"/>
                  </a:cubicBezTo>
                  <a:cubicBezTo>
                    <a:pt x="6407" y="8004"/>
                    <a:pt x="6413" y="7982"/>
                    <a:pt x="6419" y="7960"/>
                  </a:cubicBezTo>
                  <a:cubicBezTo>
                    <a:pt x="6440" y="7882"/>
                    <a:pt x="6466" y="7797"/>
                    <a:pt x="6520" y="7724"/>
                  </a:cubicBezTo>
                  <a:cubicBezTo>
                    <a:pt x="6549" y="7684"/>
                    <a:pt x="6574" y="7650"/>
                    <a:pt x="6607" y="7618"/>
                  </a:cubicBezTo>
                  <a:cubicBezTo>
                    <a:pt x="6657" y="7571"/>
                    <a:pt x="6721" y="7538"/>
                    <a:pt x="6818" y="7511"/>
                  </a:cubicBezTo>
                  <a:cubicBezTo>
                    <a:pt x="6915" y="7482"/>
                    <a:pt x="7051" y="7455"/>
                    <a:pt x="7263" y="7414"/>
                  </a:cubicBezTo>
                  <a:cubicBezTo>
                    <a:pt x="7812" y="7308"/>
                    <a:pt x="8100" y="7044"/>
                    <a:pt x="8216" y="6844"/>
                  </a:cubicBezTo>
                  <a:cubicBezTo>
                    <a:pt x="8243" y="6801"/>
                    <a:pt x="8264" y="6685"/>
                    <a:pt x="8263" y="6536"/>
                  </a:cubicBezTo>
                  <a:cubicBezTo>
                    <a:pt x="8263" y="6513"/>
                    <a:pt x="8263" y="6488"/>
                    <a:pt x="8262" y="6463"/>
                  </a:cubicBezTo>
                  <a:cubicBezTo>
                    <a:pt x="8066" y="6440"/>
                    <a:pt x="7811" y="6411"/>
                    <a:pt x="7595" y="6387"/>
                  </a:cubicBezTo>
                  <a:cubicBezTo>
                    <a:pt x="7397" y="6365"/>
                    <a:pt x="7233" y="6347"/>
                    <a:pt x="7181" y="6341"/>
                  </a:cubicBezTo>
                  <a:cubicBezTo>
                    <a:pt x="7023" y="7432"/>
                    <a:pt x="7023" y="7432"/>
                    <a:pt x="7023" y="7432"/>
                  </a:cubicBezTo>
                  <a:cubicBezTo>
                    <a:pt x="6987" y="7427"/>
                    <a:pt x="6987" y="7427"/>
                    <a:pt x="6987" y="7427"/>
                  </a:cubicBezTo>
                  <a:cubicBezTo>
                    <a:pt x="7145" y="6337"/>
                    <a:pt x="7145" y="6337"/>
                    <a:pt x="7145" y="6337"/>
                  </a:cubicBezTo>
                  <a:cubicBezTo>
                    <a:pt x="5936" y="6193"/>
                    <a:pt x="5936" y="6193"/>
                    <a:pt x="5936" y="6193"/>
                  </a:cubicBezTo>
                  <a:cubicBezTo>
                    <a:pt x="5733" y="7363"/>
                    <a:pt x="5733" y="7363"/>
                    <a:pt x="5733" y="7363"/>
                  </a:cubicBezTo>
                  <a:cubicBezTo>
                    <a:pt x="5697" y="7357"/>
                    <a:pt x="5697" y="7357"/>
                    <a:pt x="5697" y="7357"/>
                  </a:cubicBezTo>
                  <a:cubicBezTo>
                    <a:pt x="5900" y="6187"/>
                    <a:pt x="5900" y="6187"/>
                    <a:pt x="5900" y="6187"/>
                  </a:cubicBezTo>
                  <a:cubicBezTo>
                    <a:pt x="4743" y="5971"/>
                    <a:pt x="4743" y="5971"/>
                    <a:pt x="4743" y="5971"/>
                  </a:cubicBezTo>
                  <a:cubicBezTo>
                    <a:pt x="4750" y="5936"/>
                    <a:pt x="4750" y="5936"/>
                    <a:pt x="4750" y="5936"/>
                  </a:cubicBezTo>
                  <a:cubicBezTo>
                    <a:pt x="5906" y="6151"/>
                    <a:pt x="5906" y="6151"/>
                    <a:pt x="5906" y="6151"/>
                  </a:cubicBezTo>
                  <a:cubicBezTo>
                    <a:pt x="6122" y="4855"/>
                    <a:pt x="6122" y="4855"/>
                    <a:pt x="6122" y="4855"/>
                  </a:cubicBezTo>
                  <a:cubicBezTo>
                    <a:pt x="6122" y="4855"/>
                    <a:pt x="6132" y="4796"/>
                    <a:pt x="6132" y="4714"/>
                  </a:cubicBezTo>
                  <a:cubicBezTo>
                    <a:pt x="6132" y="4565"/>
                    <a:pt x="6100" y="4344"/>
                    <a:pt x="5938" y="4256"/>
                  </a:cubicBezTo>
                  <a:cubicBezTo>
                    <a:pt x="5669" y="4105"/>
                    <a:pt x="5559" y="3978"/>
                    <a:pt x="5379" y="3901"/>
                  </a:cubicBezTo>
                  <a:cubicBezTo>
                    <a:pt x="5197" y="3823"/>
                    <a:pt x="4956" y="3758"/>
                    <a:pt x="4755" y="3705"/>
                  </a:cubicBezTo>
                  <a:cubicBezTo>
                    <a:pt x="4629" y="3672"/>
                    <a:pt x="4466" y="3619"/>
                    <a:pt x="4284" y="3555"/>
                  </a:cubicBezTo>
                  <a:cubicBezTo>
                    <a:pt x="4279" y="3565"/>
                    <a:pt x="4268" y="3587"/>
                    <a:pt x="4256" y="3615"/>
                  </a:cubicBezTo>
                  <a:cubicBezTo>
                    <a:pt x="4213" y="3713"/>
                    <a:pt x="4141" y="3881"/>
                    <a:pt x="4129" y="3910"/>
                  </a:cubicBezTo>
                  <a:cubicBezTo>
                    <a:pt x="4131" y="3937"/>
                    <a:pt x="4143" y="4089"/>
                    <a:pt x="4143" y="4235"/>
                  </a:cubicBezTo>
                  <a:cubicBezTo>
                    <a:pt x="4143" y="4316"/>
                    <a:pt x="4139" y="4396"/>
                    <a:pt x="4129" y="4453"/>
                  </a:cubicBezTo>
                  <a:cubicBezTo>
                    <a:pt x="4102" y="4599"/>
                    <a:pt x="4040" y="4761"/>
                    <a:pt x="4023" y="4805"/>
                  </a:cubicBezTo>
                  <a:cubicBezTo>
                    <a:pt x="4209" y="4851"/>
                    <a:pt x="4408" y="4907"/>
                    <a:pt x="4581" y="4963"/>
                  </a:cubicBezTo>
                  <a:cubicBezTo>
                    <a:pt x="4695" y="5000"/>
                    <a:pt x="4760" y="5085"/>
                    <a:pt x="4796" y="5176"/>
                  </a:cubicBezTo>
                  <a:cubicBezTo>
                    <a:pt x="4831" y="5267"/>
                    <a:pt x="4839" y="5364"/>
                    <a:pt x="4839" y="5431"/>
                  </a:cubicBezTo>
                  <a:cubicBezTo>
                    <a:pt x="4839" y="5483"/>
                    <a:pt x="4834" y="5517"/>
                    <a:pt x="4834" y="5518"/>
                  </a:cubicBezTo>
                  <a:cubicBezTo>
                    <a:pt x="4834" y="5518"/>
                    <a:pt x="4834" y="5518"/>
                    <a:pt x="4834" y="5518"/>
                  </a:cubicBezTo>
                  <a:cubicBezTo>
                    <a:pt x="4834" y="5519"/>
                    <a:pt x="4834" y="5519"/>
                    <a:pt x="4834" y="5519"/>
                  </a:cubicBezTo>
                  <a:cubicBezTo>
                    <a:pt x="4834" y="5520"/>
                    <a:pt x="4771" y="5822"/>
                    <a:pt x="4703" y="6155"/>
                  </a:cubicBezTo>
                  <a:cubicBezTo>
                    <a:pt x="4636" y="6487"/>
                    <a:pt x="4565" y="6849"/>
                    <a:pt x="4550" y="6964"/>
                  </a:cubicBezTo>
                  <a:cubicBezTo>
                    <a:pt x="4518" y="7199"/>
                    <a:pt x="4450" y="7388"/>
                    <a:pt x="4377" y="7457"/>
                  </a:cubicBezTo>
                  <a:cubicBezTo>
                    <a:pt x="4331" y="7500"/>
                    <a:pt x="4258" y="7539"/>
                    <a:pt x="4213" y="7561"/>
                  </a:cubicBezTo>
                  <a:cubicBezTo>
                    <a:pt x="4213" y="7561"/>
                    <a:pt x="4213" y="7561"/>
                    <a:pt x="4213" y="7561"/>
                  </a:cubicBezTo>
                  <a:cubicBezTo>
                    <a:pt x="4060" y="7637"/>
                    <a:pt x="4060" y="7637"/>
                    <a:pt x="4060" y="7637"/>
                  </a:cubicBezTo>
                  <a:cubicBezTo>
                    <a:pt x="3914" y="7701"/>
                    <a:pt x="3914" y="7701"/>
                    <a:pt x="3914" y="7701"/>
                  </a:cubicBezTo>
                  <a:cubicBezTo>
                    <a:pt x="3914" y="7757"/>
                    <a:pt x="3932" y="7866"/>
                    <a:pt x="3937" y="7897"/>
                  </a:cubicBezTo>
                  <a:close/>
                  <a:moveTo>
                    <a:pt x="3779" y="8265"/>
                  </a:moveTo>
                  <a:cubicBezTo>
                    <a:pt x="3788" y="8296"/>
                    <a:pt x="3788" y="8296"/>
                    <a:pt x="3788" y="8296"/>
                  </a:cubicBezTo>
                  <a:cubicBezTo>
                    <a:pt x="3796" y="8316"/>
                    <a:pt x="3796" y="8316"/>
                    <a:pt x="3796" y="8316"/>
                  </a:cubicBezTo>
                  <a:cubicBezTo>
                    <a:pt x="3960" y="8238"/>
                    <a:pt x="4152" y="8193"/>
                    <a:pt x="4346" y="8168"/>
                  </a:cubicBezTo>
                  <a:cubicBezTo>
                    <a:pt x="4233" y="8167"/>
                    <a:pt x="4143" y="8153"/>
                    <a:pt x="4069" y="8153"/>
                  </a:cubicBezTo>
                  <a:cubicBezTo>
                    <a:pt x="4033" y="8153"/>
                    <a:pt x="4001" y="8156"/>
                    <a:pt x="3970" y="8165"/>
                  </a:cubicBezTo>
                  <a:cubicBezTo>
                    <a:pt x="3912" y="8180"/>
                    <a:pt x="3853" y="8213"/>
                    <a:pt x="3804" y="8247"/>
                  </a:cubicBezTo>
                  <a:cubicBezTo>
                    <a:pt x="3795" y="8253"/>
                    <a:pt x="3787" y="8259"/>
                    <a:pt x="3779" y="8265"/>
                  </a:cubicBezTo>
                  <a:close/>
                  <a:moveTo>
                    <a:pt x="500" y="10043"/>
                  </a:moveTo>
                  <a:cubicBezTo>
                    <a:pt x="505" y="10043"/>
                    <a:pt x="509" y="10045"/>
                    <a:pt x="513" y="10048"/>
                  </a:cubicBezTo>
                  <a:cubicBezTo>
                    <a:pt x="513" y="10049"/>
                    <a:pt x="514" y="10050"/>
                    <a:pt x="515" y="10051"/>
                  </a:cubicBezTo>
                  <a:cubicBezTo>
                    <a:pt x="516" y="10053"/>
                    <a:pt x="523" y="10060"/>
                    <a:pt x="533" y="10072"/>
                  </a:cubicBezTo>
                  <a:cubicBezTo>
                    <a:pt x="599" y="10034"/>
                    <a:pt x="600" y="10034"/>
                    <a:pt x="607" y="10029"/>
                  </a:cubicBezTo>
                  <a:cubicBezTo>
                    <a:pt x="608" y="10029"/>
                    <a:pt x="608" y="10029"/>
                    <a:pt x="608" y="10029"/>
                  </a:cubicBezTo>
                  <a:cubicBezTo>
                    <a:pt x="609" y="10028"/>
                    <a:pt x="609" y="10028"/>
                    <a:pt x="609" y="10028"/>
                  </a:cubicBezTo>
                  <a:cubicBezTo>
                    <a:pt x="609" y="10028"/>
                    <a:pt x="1446" y="9585"/>
                    <a:pt x="2275" y="9138"/>
                  </a:cubicBezTo>
                  <a:cubicBezTo>
                    <a:pt x="2920" y="8790"/>
                    <a:pt x="3567" y="8432"/>
                    <a:pt x="3764" y="8332"/>
                  </a:cubicBezTo>
                  <a:cubicBezTo>
                    <a:pt x="3748" y="8295"/>
                    <a:pt x="3748" y="8295"/>
                    <a:pt x="3748" y="8295"/>
                  </a:cubicBezTo>
                  <a:cubicBezTo>
                    <a:pt x="3747" y="8294"/>
                    <a:pt x="3745" y="8292"/>
                    <a:pt x="3744" y="8291"/>
                  </a:cubicBezTo>
                  <a:cubicBezTo>
                    <a:pt x="3723" y="8307"/>
                    <a:pt x="3706" y="8321"/>
                    <a:pt x="3693" y="8331"/>
                  </a:cubicBezTo>
                  <a:cubicBezTo>
                    <a:pt x="3684" y="8337"/>
                    <a:pt x="3678" y="8340"/>
                    <a:pt x="3664" y="8348"/>
                  </a:cubicBezTo>
                  <a:cubicBezTo>
                    <a:pt x="3491" y="8446"/>
                    <a:pt x="2449" y="8993"/>
                    <a:pt x="2263" y="9094"/>
                  </a:cubicBezTo>
                  <a:cubicBezTo>
                    <a:pt x="2263" y="9094"/>
                    <a:pt x="2263" y="9094"/>
                    <a:pt x="2263" y="9094"/>
                  </a:cubicBezTo>
                  <a:cubicBezTo>
                    <a:pt x="2261" y="9095"/>
                    <a:pt x="2261" y="9095"/>
                    <a:pt x="2261" y="9095"/>
                  </a:cubicBezTo>
                  <a:cubicBezTo>
                    <a:pt x="2244" y="9104"/>
                    <a:pt x="2234" y="9110"/>
                    <a:pt x="2235" y="9110"/>
                  </a:cubicBezTo>
                  <a:cubicBezTo>
                    <a:pt x="2234" y="9109"/>
                    <a:pt x="2234" y="9109"/>
                    <a:pt x="2234" y="9109"/>
                  </a:cubicBezTo>
                  <a:cubicBezTo>
                    <a:pt x="1341" y="9592"/>
                    <a:pt x="1341" y="9592"/>
                    <a:pt x="1341" y="9592"/>
                  </a:cubicBezTo>
                  <a:cubicBezTo>
                    <a:pt x="507" y="10039"/>
                    <a:pt x="507" y="10039"/>
                    <a:pt x="507" y="10039"/>
                  </a:cubicBezTo>
                  <a:cubicBezTo>
                    <a:pt x="506" y="10039"/>
                    <a:pt x="506" y="10039"/>
                    <a:pt x="506" y="10039"/>
                  </a:cubicBezTo>
                  <a:cubicBezTo>
                    <a:pt x="506" y="10039"/>
                    <a:pt x="503" y="10041"/>
                    <a:pt x="500" y="10043"/>
                  </a:cubicBezTo>
                  <a:close/>
                  <a:moveTo>
                    <a:pt x="499" y="10091"/>
                  </a:moveTo>
                  <a:cubicBezTo>
                    <a:pt x="498" y="10089"/>
                    <a:pt x="496" y="10087"/>
                    <a:pt x="494" y="10085"/>
                  </a:cubicBezTo>
                  <a:cubicBezTo>
                    <a:pt x="491" y="10081"/>
                    <a:pt x="489" y="10078"/>
                    <a:pt x="487" y="10076"/>
                  </a:cubicBezTo>
                  <a:cubicBezTo>
                    <a:pt x="486" y="10075"/>
                    <a:pt x="486" y="10075"/>
                    <a:pt x="485" y="10074"/>
                  </a:cubicBezTo>
                  <a:cubicBezTo>
                    <a:pt x="485" y="10073"/>
                    <a:pt x="484" y="10073"/>
                    <a:pt x="484" y="10073"/>
                  </a:cubicBezTo>
                  <a:cubicBezTo>
                    <a:pt x="484" y="10072"/>
                    <a:pt x="484" y="10072"/>
                    <a:pt x="483" y="10071"/>
                  </a:cubicBezTo>
                  <a:cubicBezTo>
                    <a:pt x="483" y="10071"/>
                    <a:pt x="483" y="10071"/>
                    <a:pt x="482" y="10070"/>
                  </a:cubicBezTo>
                  <a:cubicBezTo>
                    <a:pt x="482" y="10068"/>
                    <a:pt x="481" y="10068"/>
                    <a:pt x="480" y="10061"/>
                  </a:cubicBezTo>
                  <a:cubicBezTo>
                    <a:pt x="480" y="10059"/>
                    <a:pt x="481" y="10058"/>
                    <a:pt x="481" y="10056"/>
                  </a:cubicBezTo>
                  <a:cubicBezTo>
                    <a:pt x="482" y="10054"/>
                    <a:pt x="483" y="10053"/>
                    <a:pt x="484" y="10051"/>
                  </a:cubicBezTo>
                  <a:cubicBezTo>
                    <a:pt x="477" y="10055"/>
                    <a:pt x="471" y="10058"/>
                    <a:pt x="466" y="10062"/>
                  </a:cubicBezTo>
                  <a:cubicBezTo>
                    <a:pt x="454" y="10069"/>
                    <a:pt x="441" y="10079"/>
                    <a:pt x="433" y="10086"/>
                  </a:cubicBezTo>
                  <a:cubicBezTo>
                    <a:pt x="460" y="10093"/>
                    <a:pt x="479" y="10098"/>
                    <a:pt x="483" y="10100"/>
                  </a:cubicBezTo>
                  <a:cubicBezTo>
                    <a:pt x="489" y="10096"/>
                    <a:pt x="494" y="10094"/>
                    <a:pt x="499" y="10091"/>
                  </a:cubicBezTo>
                  <a:close/>
                  <a:moveTo>
                    <a:pt x="1345" y="11012"/>
                  </a:moveTo>
                  <a:cubicBezTo>
                    <a:pt x="1354" y="11007"/>
                    <a:pt x="1403" y="10982"/>
                    <a:pt x="1457" y="10956"/>
                  </a:cubicBezTo>
                  <a:cubicBezTo>
                    <a:pt x="1424" y="10919"/>
                    <a:pt x="1318" y="10804"/>
                    <a:pt x="1272" y="10749"/>
                  </a:cubicBezTo>
                  <a:cubicBezTo>
                    <a:pt x="1216" y="10684"/>
                    <a:pt x="1194" y="10643"/>
                    <a:pt x="1166" y="10595"/>
                  </a:cubicBezTo>
                  <a:cubicBezTo>
                    <a:pt x="1139" y="10550"/>
                    <a:pt x="919" y="10161"/>
                    <a:pt x="876" y="10086"/>
                  </a:cubicBezTo>
                  <a:cubicBezTo>
                    <a:pt x="910" y="10068"/>
                    <a:pt x="910" y="10068"/>
                    <a:pt x="910" y="10068"/>
                  </a:cubicBezTo>
                  <a:cubicBezTo>
                    <a:pt x="928" y="10100"/>
                    <a:pt x="991" y="10211"/>
                    <a:pt x="1041" y="10299"/>
                  </a:cubicBezTo>
                  <a:cubicBezTo>
                    <a:pt x="1111" y="10422"/>
                    <a:pt x="1184" y="10552"/>
                    <a:pt x="1198" y="10576"/>
                  </a:cubicBezTo>
                  <a:cubicBezTo>
                    <a:pt x="1227" y="10625"/>
                    <a:pt x="1247" y="10661"/>
                    <a:pt x="1301" y="10725"/>
                  </a:cubicBezTo>
                  <a:cubicBezTo>
                    <a:pt x="1351" y="10784"/>
                    <a:pt x="1473" y="10917"/>
                    <a:pt x="1493" y="10939"/>
                  </a:cubicBezTo>
                  <a:cubicBezTo>
                    <a:pt x="1510" y="10930"/>
                    <a:pt x="1527" y="10923"/>
                    <a:pt x="1543" y="10916"/>
                  </a:cubicBezTo>
                  <a:cubicBezTo>
                    <a:pt x="1626" y="10879"/>
                    <a:pt x="1860" y="10784"/>
                    <a:pt x="1966" y="10761"/>
                  </a:cubicBezTo>
                  <a:cubicBezTo>
                    <a:pt x="2029" y="10747"/>
                    <a:pt x="2108" y="10740"/>
                    <a:pt x="2211" y="10740"/>
                  </a:cubicBezTo>
                  <a:cubicBezTo>
                    <a:pt x="2282" y="10740"/>
                    <a:pt x="2365" y="10743"/>
                    <a:pt x="2462" y="10749"/>
                  </a:cubicBezTo>
                  <a:cubicBezTo>
                    <a:pt x="2677" y="10761"/>
                    <a:pt x="2849" y="10801"/>
                    <a:pt x="2883" y="10809"/>
                  </a:cubicBezTo>
                  <a:cubicBezTo>
                    <a:pt x="2892" y="10801"/>
                    <a:pt x="2898" y="10797"/>
                    <a:pt x="2898" y="10796"/>
                  </a:cubicBezTo>
                  <a:cubicBezTo>
                    <a:pt x="2899" y="10798"/>
                    <a:pt x="2899" y="10798"/>
                    <a:pt x="2899" y="10798"/>
                  </a:cubicBezTo>
                  <a:cubicBezTo>
                    <a:pt x="2954" y="10751"/>
                    <a:pt x="3010" y="10715"/>
                    <a:pt x="3066" y="10691"/>
                  </a:cubicBezTo>
                  <a:cubicBezTo>
                    <a:pt x="3098" y="10676"/>
                    <a:pt x="3127" y="10665"/>
                    <a:pt x="3148" y="10658"/>
                  </a:cubicBezTo>
                  <a:cubicBezTo>
                    <a:pt x="3158" y="10654"/>
                    <a:pt x="3166" y="10651"/>
                    <a:pt x="3171" y="10649"/>
                  </a:cubicBezTo>
                  <a:cubicBezTo>
                    <a:pt x="3172" y="10648"/>
                    <a:pt x="3172" y="10648"/>
                    <a:pt x="3173" y="10648"/>
                  </a:cubicBezTo>
                  <a:cubicBezTo>
                    <a:pt x="3174" y="10647"/>
                    <a:pt x="3175" y="10647"/>
                    <a:pt x="3175" y="10646"/>
                  </a:cubicBezTo>
                  <a:cubicBezTo>
                    <a:pt x="3180" y="10643"/>
                    <a:pt x="3181" y="10643"/>
                    <a:pt x="3184" y="10641"/>
                  </a:cubicBezTo>
                  <a:cubicBezTo>
                    <a:pt x="3250" y="10614"/>
                    <a:pt x="3982" y="10373"/>
                    <a:pt x="4587" y="10215"/>
                  </a:cubicBezTo>
                  <a:cubicBezTo>
                    <a:pt x="4156" y="9274"/>
                    <a:pt x="4156" y="9274"/>
                    <a:pt x="4156" y="9274"/>
                  </a:cubicBezTo>
                  <a:cubicBezTo>
                    <a:pt x="4042" y="9000"/>
                    <a:pt x="4042" y="9000"/>
                    <a:pt x="4042" y="9000"/>
                  </a:cubicBezTo>
                  <a:cubicBezTo>
                    <a:pt x="4037" y="8999"/>
                    <a:pt x="4032" y="8999"/>
                    <a:pt x="4027" y="8998"/>
                  </a:cubicBezTo>
                  <a:cubicBezTo>
                    <a:pt x="3981" y="9010"/>
                    <a:pt x="3863" y="9041"/>
                    <a:pt x="3749" y="9077"/>
                  </a:cubicBezTo>
                  <a:cubicBezTo>
                    <a:pt x="3608" y="9121"/>
                    <a:pt x="3537" y="9173"/>
                    <a:pt x="3497" y="9225"/>
                  </a:cubicBezTo>
                  <a:cubicBezTo>
                    <a:pt x="3457" y="9277"/>
                    <a:pt x="3448" y="9331"/>
                    <a:pt x="3433" y="9385"/>
                  </a:cubicBezTo>
                  <a:cubicBezTo>
                    <a:pt x="3405" y="9489"/>
                    <a:pt x="3396" y="9713"/>
                    <a:pt x="3306" y="9839"/>
                  </a:cubicBezTo>
                  <a:cubicBezTo>
                    <a:pt x="3262" y="9900"/>
                    <a:pt x="3238" y="9923"/>
                    <a:pt x="3190" y="9949"/>
                  </a:cubicBezTo>
                  <a:cubicBezTo>
                    <a:pt x="3141" y="9975"/>
                    <a:pt x="3069" y="10006"/>
                    <a:pt x="2919" y="10089"/>
                  </a:cubicBezTo>
                  <a:cubicBezTo>
                    <a:pt x="2755" y="10180"/>
                    <a:pt x="2583" y="10199"/>
                    <a:pt x="2465" y="10199"/>
                  </a:cubicBezTo>
                  <a:cubicBezTo>
                    <a:pt x="2405" y="10199"/>
                    <a:pt x="2362" y="10193"/>
                    <a:pt x="2339" y="10189"/>
                  </a:cubicBezTo>
                  <a:cubicBezTo>
                    <a:pt x="2339" y="10189"/>
                    <a:pt x="2339" y="10189"/>
                    <a:pt x="2339" y="10189"/>
                  </a:cubicBezTo>
                  <a:cubicBezTo>
                    <a:pt x="2339" y="10189"/>
                    <a:pt x="2336" y="10188"/>
                    <a:pt x="2332" y="10187"/>
                  </a:cubicBezTo>
                  <a:cubicBezTo>
                    <a:pt x="2223" y="10732"/>
                    <a:pt x="2223" y="10732"/>
                    <a:pt x="2223" y="10732"/>
                  </a:cubicBezTo>
                  <a:cubicBezTo>
                    <a:pt x="2199" y="10727"/>
                    <a:pt x="2199" y="10727"/>
                    <a:pt x="2199" y="10727"/>
                  </a:cubicBezTo>
                  <a:cubicBezTo>
                    <a:pt x="2308" y="10183"/>
                    <a:pt x="2308" y="10183"/>
                    <a:pt x="2308" y="10183"/>
                  </a:cubicBezTo>
                  <a:cubicBezTo>
                    <a:pt x="2268" y="10175"/>
                    <a:pt x="2196" y="10158"/>
                    <a:pt x="2146" y="10138"/>
                  </a:cubicBezTo>
                  <a:cubicBezTo>
                    <a:pt x="2077" y="10109"/>
                    <a:pt x="2018" y="10049"/>
                    <a:pt x="1999" y="10029"/>
                  </a:cubicBezTo>
                  <a:cubicBezTo>
                    <a:pt x="1634" y="10183"/>
                    <a:pt x="1634" y="10183"/>
                    <a:pt x="1634" y="10183"/>
                  </a:cubicBezTo>
                  <a:cubicBezTo>
                    <a:pt x="1632" y="10221"/>
                    <a:pt x="1616" y="10383"/>
                    <a:pt x="1616" y="10383"/>
                  </a:cubicBezTo>
                  <a:cubicBezTo>
                    <a:pt x="1592" y="10381"/>
                    <a:pt x="1592" y="10381"/>
                    <a:pt x="1592" y="10381"/>
                  </a:cubicBezTo>
                  <a:cubicBezTo>
                    <a:pt x="1592" y="10381"/>
                    <a:pt x="1592" y="10381"/>
                    <a:pt x="1592" y="10381"/>
                  </a:cubicBezTo>
                  <a:cubicBezTo>
                    <a:pt x="1592" y="10381"/>
                    <a:pt x="1608" y="10212"/>
                    <a:pt x="1610" y="10180"/>
                  </a:cubicBezTo>
                  <a:cubicBezTo>
                    <a:pt x="1351" y="9960"/>
                    <a:pt x="1351" y="9960"/>
                    <a:pt x="1351" y="9960"/>
                  </a:cubicBezTo>
                  <a:cubicBezTo>
                    <a:pt x="1366" y="9941"/>
                    <a:pt x="1366" y="9941"/>
                    <a:pt x="1366" y="9941"/>
                  </a:cubicBezTo>
                  <a:cubicBezTo>
                    <a:pt x="1624" y="10160"/>
                    <a:pt x="1624" y="10160"/>
                    <a:pt x="1624" y="10160"/>
                  </a:cubicBezTo>
                  <a:cubicBezTo>
                    <a:pt x="2006" y="9999"/>
                    <a:pt x="2006" y="9999"/>
                    <a:pt x="2006" y="9999"/>
                  </a:cubicBezTo>
                  <a:cubicBezTo>
                    <a:pt x="2012" y="10006"/>
                    <a:pt x="2012" y="10006"/>
                    <a:pt x="2012" y="10006"/>
                  </a:cubicBezTo>
                  <a:cubicBezTo>
                    <a:pt x="2012" y="10006"/>
                    <a:pt x="2029" y="10025"/>
                    <a:pt x="2055" y="10049"/>
                  </a:cubicBezTo>
                  <a:cubicBezTo>
                    <a:pt x="2082" y="10072"/>
                    <a:pt x="2118" y="10100"/>
                    <a:pt x="2155" y="10115"/>
                  </a:cubicBezTo>
                  <a:cubicBezTo>
                    <a:pt x="2210" y="10138"/>
                    <a:pt x="2298" y="10156"/>
                    <a:pt x="2334" y="10163"/>
                  </a:cubicBezTo>
                  <a:cubicBezTo>
                    <a:pt x="2336" y="10163"/>
                    <a:pt x="2336" y="10163"/>
                    <a:pt x="2336" y="10163"/>
                  </a:cubicBezTo>
                  <a:cubicBezTo>
                    <a:pt x="2335" y="10162"/>
                    <a:pt x="2376" y="10173"/>
                    <a:pt x="2465" y="10173"/>
                  </a:cubicBezTo>
                  <a:cubicBezTo>
                    <a:pt x="2580" y="10173"/>
                    <a:pt x="2748" y="10154"/>
                    <a:pt x="2906" y="10066"/>
                  </a:cubicBezTo>
                  <a:cubicBezTo>
                    <a:pt x="3056" y="9983"/>
                    <a:pt x="3131" y="9951"/>
                    <a:pt x="3177" y="9926"/>
                  </a:cubicBezTo>
                  <a:cubicBezTo>
                    <a:pt x="3223" y="9901"/>
                    <a:pt x="3241" y="9884"/>
                    <a:pt x="3284" y="9824"/>
                  </a:cubicBezTo>
                  <a:cubicBezTo>
                    <a:pt x="3368" y="9708"/>
                    <a:pt x="3379" y="9487"/>
                    <a:pt x="3408" y="9378"/>
                  </a:cubicBezTo>
                  <a:cubicBezTo>
                    <a:pt x="3422" y="9326"/>
                    <a:pt x="3432" y="9266"/>
                    <a:pt x="3476" y="9209"/>
                  </a:cubicBezTo>
                  <a:cubicBezTo>
                    <a:pt x="3520" y="9151"/>
                    <a:pt x="3597" y="9097"/>
                    <a:pt x="3741" y="9052"/>
                  </a:cubicBezTo>
                  <a:cubicBezTo>
                    <a:pt x="3845" y="9019"/>
                    <a:pt x="3952" y="8990"/>
                    <a:pt x="4006" y="8976"/>
                  </a:cubicBezTo>
                  <a:cubicBezTo>
                    <a:pt x="4010" y="8972"/>
                    <a:pt x="4018" y="8967"/>
                    <a:pt x="4025" y="8961"/>
                  </a:cubicBezTo>
                  <a:cubicBezTo>
                    <a:pt x="3817" y="8461"/>
                    <a:pt x="3817" y="8461"/>
                    <a:pt x="3817" y="8461"/>
                  </a:cubicBezTo>
                  <a:cubicBezTo>
                    <a:pt x="3589" y="8577"/>
                    <a:pt x="2829" y="8978"/>
                    <a:pt x="2114" y="9364"/>
                  </a:cubicBezTo>
                  <a:cubicBezTo>
                    <a:pt x="2092" y="9385"/>
                    <a:pt x="2092" y="9385"/>
                    <a:pt x="2092" y="9385"/>
                  </a:cubicBezTo>
                  <a:cubicBezTo>
                    <a:pt x="1721" y="9585"/>
                    <a:pt x="1380" y="9769"/>
                    <a:pt x="1114" y="9913"/>
                  </a:cubicBezTo>
                  <a:cubicBezTo>
                    <a:pt x="859" y="10051"/>
                    <a:pt x="690" y="10142"/>
                    <a:pt x="676" y="10150"/>
                  </a:cubicBezTo>
                  <a:cubicBezTo>
                    <a:pt x="672" y="10153"/>
                    <a:pt x="652" y="10164"/>
                    <a:pt x="626" y="10180"/>
                  </a:cubicBezTo>
                  <a:cubicBezTo>
                    <a:pt x="634" y="10190"/>
                    <a:pt x="643" y="10201"/>
                    <a:pt x="653" y="10211"/>
                  </a:cubicBezTo>
                  <a:cubicBezTo>
                    <a:pt x="773" y="10351"/>
                    <a:pt x="949" y="10555"/>
                    <a:pt x="1096" y="10724"/>
                  </a:cubicBezTo>
                  <a:cubicBezTo>
                    <a:pt x="1212" y="10859"/>
                    <a:pt x="1310" y="10971"/>
                    <a:pt x="1345" y="11012"/>
                  </a:cubicBezTo>
                  <a:close/>
                  <a:moveTo>
                    <a:pt x="2284" y="11733"/>
                  </a:moveTo>
                  <a:cubicBezTo>
                    <a:pt x="2322" y="11633"/>
                    <a:pt x="2382" y="11499"/>
                    <a:pt x="2449" y="11371"/>
                  </a:cubicBezTo>
                  <a:cubicBezTo>
                    <a:pt x="2484" y="11305"/>
                    <a:pt x="2514" y="11255"/>
                    <a:pt x="2545" y="11207"/>
                  </a:cubicBezTo>
                  <a:cubicBezTo>
                    <a:pt x="2574" y="11161"/>
                    <a:pt x="2605" y="11116"/>
                    <a:pt x="2642" y="11067"/>
                  </a:cubicBezTo>
                  <a:cubicBezTo>
                    <a:pt x="2624" y="11067"/>
                    <a:pt x="2600" y="11067"/>
                    <a:pt x="2575" y="11067"/>
                  </a:cubicBezTo>
                  <a:cubicBezTo>
                    <a:pt x="2527" y="11067"/>
                    <a:pt x="2482" y="11067"/>
                    <a:pt x="2482" y="11067"/>
                  </a:cubicBezTo>
                  <a:cubicBezTo>
                    <a:pt x="2482" y="11042"/>
                    <a:pt x="2482" y="11042"/>
                    <a:pt x="2482" y="11042"/>
                  </a:cubicBezTo>
                  <a:cubicBezTo>
                    <a:pt x="2482" y="11042"/>
                    <a:pt x="2527" y="11042"/>
                    <a:pt x="2575" y="11042"/>
                  </a:cubicBezTo>
                  <a:cubicBezTo>
                    <a:pt x="2599" y="11042"/>
                    <a:pt x="2622" y="11042"/>
                    <a:pt x="2640" y="11042"/>
                  </a:cubicBezTo>
                  <a:cubicBezTo>
                    <a:pt x="2649" y="11042"/>
                    <a:pt x="2656" y="11042"/>
                    <a:pt x="2661" y="11042"/>
                  </a:cubicBezTo>
                  <a:cubicBezTo>
                    <a:pt x="2666" y="11036"/>
                    <a:pt x="2670" y="11030"/>
                    <a:pt x="2675" y="11024"/>
                  </a:cubicBezTo>
                  <a:cubicBezTo>
                    <a:pt x="2734" y="10949"/>
                    <a:pt x="2804" y="10882"/>
                    <a:pt x="2849" y="10840"/>
                  </a:cubicBezTo>
                  <a:cubicBezTo>
                    <a:pt x="2830" y="10835"/>
                    <a:pt x="2797" y="10828"/>
                    <a:pt x="2754" y="10821"/>
                  </a:cubicBezTo>
                  <a:cubicBezTo>
                    <a:pt x="2681" y="10808"/>
                    <a:pt x="2578" y="10793"/>
                    <a:pt x="2460" y="10786"/>
                  </a:cubicBezTo>
                  <a:cubicBezTo>
                    <a:pt x="2363" y="10781"/>
                    <a:pt x="2281" y="10778"/>
                    <a:pt x="2211" y="10778"/>
                  </a:cubicBezTo>
                  <a:cubicBezTo>
                    <a:pt x="2109" y="10778"/>
                    <a:pt x="2033" y="10784"/>
                    <a:pt x="1974" y="10797"/>
                  </a:cubicBezTo>
                  <a:cubicBezTo>
                    <a:pt x="1875" y="10819"/>
                    <a:pt x="1638" y="10914"/>
                    <a:pt x="1558" y="10950"/>
                  </a:cubicBezTo>
                  <a:cubicBezTo>
                    <a:pt x="1518" y="10968"/>
                    <a:pt x="1469" y="10992"/>
                    <a:pt x="1430" y="11011"/>
                  </a:cubicBezTo>
                  <a:cubicBezTo>
                    <a:pt x="1410" y="11021"/>
                    <a:pt x="1393" y="11030"/>
                    <a:pt x="1380" y="11036"/>
                  </a:cubicBezTo>
                  <a:cubicBezTo>
                    <a:pt x="1376" y="11038"/>
                    <a:pt x="1373" y="11040"/>
                    <a:pt x="1370" y="11041"/>
                  </a:cubicBezTo>
                  <a:cubicBezTo>
                    <a:pt x="1826" y="11565"/>
                    <a:pt x="1826" y="11565"/>
                    <a:pt x="1826" y="11565"/>
                  </a:cubicBezTo>
                  <a:cubicBezTo>
                    <a:pt x="1829" y="11568"/>
                    <a:pt x="1849" y="11587"/>
                    <a:pt x="1881" y="11612"/>
                  </a:cubicBezTo>
                  <a:cubicBezTo>
                    <a:pt x="1915" y="11639"/>
                    <a:pt x="1963" y="11671"/>
                    <a:pt x="2014" y="11693"/>
                  </a:cubicBezTo>
                  <a:cubicBezTo>
                    <a:pt x="2097" y="11729"/>
                    <a:pt x="2190" y="11732"/>
                    <a:pt x="2227" y="11732"/>
                  </a:cubicBezTo>
                  <a:cubicBezTo>
                    <a:pt x="2245" y="11732"/>
                    <a:pt x="2266" y="11733"/>
                    <a:pt x="2284" y="11733"/>
                  </a:cubicBezTo>
                  <a:close/>
                  <a:moveTo>
                    <a:pt x="2002" y="12300"/>
                  </a:moveTo>
                  <a:cubicBezTo>
                    <a:pt x="2112" y="12309"/>
                    <a:pt x="2319" y="12329"/>
                    <a:pt x="2319" y="12329"/>
                  </a:cubicBezTo>
                  <a:cubicBezTo>
                    <a:pt x="2328" y="12330"/>
                    <a:pt x="2328" y="12330"/>
                    <a:pt x="2328" y="12330"/>
                  </a:cubicBezTo>
                  <a:cubicBezTo>
                    <a:pt x="2378" y="12335"/>
                    <a:pt x="2473" y="12345"/>
                    <a:pt x="2628" y="12360"/>
                  </a:cubicBezTo>
                  <a:cubicBezTo>
                    <a:pt x="2870" y="12384"/>
                    <a:pt x="3004" y="12429"/>
                    <a:pt x="3152" y="12474"/>
                  </a:cubicBezTo>
                  <a:cubicBezTo>
                    <a:pt x="3304" y="12519"/>
                    <a:pt x="3481" y="12643"/>
                    <a:pt x="3558" y="12718"/>
                  </a:cubicBezTo>
                  <a:cubicBezTo>
                    <a:pt x="3575" y="12734"/>
                    <a:pt x="3590" y="12752"/>
                    <a:pt x="3603" y="12769"/>
                  </a:cubicBezTo>
                  <a:cubicBezTo>
                    <a:pt x="3614" y="12767"/>
                    <a:pt x="3666" y="12752"/>
                    <a:pt x="3718" y="12735"/>
                  </a:cubicBezTo>
                  <a:cubicBezTo>
                    <a:pt x="3774" y="12717"/>
                    <a:pt x="3838" y="12692"/>
                    <a:pt x="3872" y="12665"/>
                  </a:cubicBezTo>
                  <a:cubicBezTo>
                    <a:pt x="3789" y="12391"/>
                    <a:pt x="3789" y="12391"/>
                    <a:pt x="3789" y="12391"/>
                  </a:cubicBezTo>
                  <a:cubicBezTo>
                    <a:pt x="3593" y="12192"/>
                    <a:pt x="3593" y="12192"/>
                    <a:pt x="3593" y="12192"/>
                  </a:cubicBezTo>
                  <a:cubicBezTo>
                    <a:pt x="3375" y="11916"/>
                    <a:pt x="3375" y="11916"/>
                    <a:pt x="3375" y="11916"/>
                  </a:cubicBezTo>
                  <a:cubicBezTo>
                    <a:pt x="3232" y="11843"/>
                    <a:pt x="3232" y="11843"/>
                    <a:pt x="3232" y="11843"/>
                  </a:cubicBezTo>
                  <a:cubicBezTo>
                    <a:pt x="2885" y="11722"/>
                    <a:pt x="2885" y="11722"/>
                    <a:pt x="2885" y="11722"/>
                  </a:cubicBezTo>
                  <a:cubicBezTo>
                    <a:pt x="2785" y="11610"/>
                    <a:pt x="2785" y="11610"/>
                    <a:pt x="2785" y="11610"/>
                  </a:cubicBezTo>
                  <a:cubicBezTo>
                    <a:pt x="2694" y="11699"/>
                    <a:pt x="2694" y="11699"/>
                    <a:pt x="2694" y="11699"/>
                  </a:cubicBezTo>
                  <a:cubicBezTo>
                    <a:pt x="2513" y="11752"/>
                    <a:pt x="2513" y="11752"/>
                    <a:pt x="2513" y="11752"/>
                  </a:cubicBezTo>
                  <a:cubicBezTo>
                    <a:pt x="2313" y="11767"/>
                    <a:pt x="2313" y="11767"/>
                    <a:pt x="2313" y="11767"/>
                  </a:cubicBezTo>
                  <a:cubicBezTo>
                    <a:pt x="2313" y="11766"/>
                    <a:pt x="2313" y="11766"/>
                    <a:pt x="2313" y="11766"/>
                  </a:cubicBezTo>
                  <a:cubicBezTo>
                    <a:pt x="2313" y="11766"/>
                    <a:pt x="2313" y="11766"/>
                    <a:pt x="2312" y="11766"/>
                  </a:cubicBezTo>
                  <a:cubicBezTo>
                    <a:pt x="2309" y="11775"/>
                    <a:pt x="2306" y="11785"/>
                    <a:pt x="2303" y="11793"/>
                  </a:cubicBezTo>
                  <a:cubicBezTo>
                    <a:pt x="2285" y="11843"/>
                    <a:pt x="2276" y="11872"/>
                    <a:pt x="2272" y="11889"/>
                  </a:cubicBezTo>
                  <a:cubicBezTo>
                    <a:pt x="2269" y="11897"/>
                    <a:pt x="2268" y="11902"/>
                    <a:pt x="2268" y="11905"/>
                  </a:cubicBezTo>
                  <a:cubicBezTo>
                    <a:pt x="2267" y="11906"/>
                    <a:pt x="2267" y="11907"/>
                    <a:pt x="2267" y="11908"/>
                  </a:cubicBezTo>
                  <a:cubicBezTo>
                    <a:pt x="2267" y="11912"/>
                    <a:pt x="2267" y="11912"/>
                    <a:pt x="2267" y="11912"/>
                  </a:cubicBezTo>
                  <a:cubicBezTo>
                    <a:pt x="2265" y="11915"/>
                    <a:pt x="2265" y="11915"/>
                    <a:pt x="2265" y="11915"/>
                  </a:cubicBezTo>
                  <a:cubicBezTo>
                    <a:pt x="2264" y="11915"/>
                    <a:pt x="2172" y="12072"/>
                    <a:pt x="2053" y="12230"/>
                  </a:cubicBezTo>
                  <a:cubicBezTo>
                    <a:pt x="2037" y="12251"/>
                    <a:pt x="2020" y="12276"/>
                    <a:pt x="2002" y="12300"/>
                  </a:cubicBezTo>
                  <a:close/>
                  <a:moveTo>
                    <a:pt x="650" y="11742"/>
                  </a:moveTo>
                  <a:cubicBezTo>
                    <a:pt x="676" y="11778"/>
                    <a:pt x="700" y="11812"/>
                    <a:pt x="722" y="11843"/>
                  </a:cubicBezTo>
                  <a:cubicBezTo>
                    <a:pt x="767" y="11905"/>
                    <a:pt x="804" y="11958"/>
                    <a:pt x="831" y="11995"/>
                  </a:cubicBezTo>
                  <a:cubicBezTo>
                    <a:pt x="844" y="12013"/>
                    <a:pt x="854" y="12028"/>
                    <a:pt x="861" y="12038"/>
                  </a:cubicBezTo>
                  <a:cubicBezTo>
                    <a:pt x="865" y="12043"/>
                    <a:pt x="868" y="12047"/>
                    <a:pt x="870" y="12049"/>
                  </a:cubicBezTo>
                  <a:cubicBezTo>
                    <a:pt x="871" y="12051"/>
                    <a:pt x="871" y="12052"/>
                    <a:pt x="872" y="12053"/>
                  </a:cubicBezTo>
                  <a:cubicBezTo>
                    <a:pt x="872" y="12053"/>
                    <a:pt x="872" y="12053"/>
                    <a:pt x="873" y="12054"/>
                  </a:cubicBezTo>
                  <a:cubicBezTo>
                    <a:pt x="873" y="12054"/>
                    <a:pt x="873" y="12055"/>
                    <a:pt x="873" y="12055"/>
                  </a:cubicBezTo>
                  <a:cubicBezTo>
                    <a:pt x="874" y="12056"/>
                    <a:pt x="874" y="12056"/>
                    <a:pt x="875" y="12058"/>
                  </a:cubicBezTo>
                  <a:cubicBezTo>
                    <a:pt x="1344" y="12723"/>
                    <a:pt x="1344" y="12723"/>
                    <a:pt x="1344" y="12723"/>
                  </a:cubicBezTo>
                  <a:cubicBezTo>
                    <a:pt x="1527" y="12813"/>
                    <a:pt x="1527" y="12813"/>
                    <a:pt x="1527" y="12813"/>
                  </a:cubicBezTo>
                  <a:cubicBezTo>
                    <a:pt x="1558" y="12776"/>
                    <a:pt x="1685" y="12627"/>
                    <a:pt x="1804" y="12484"/>
                  </a:cubicBezTo>
                  <a:cubicBezTo>
                    <a:pt x="1853" y="12426"/>
                    <a:pt x="1899" y="12367"/>
                    <a:pt x="1938" y="12319"/>
                  </a:cubicBezTo>
                  <a:cubicBezTo>
                    <a:pt x="1914" y="12313"/>
                    <a:pt x="1881" y="12308"/>
                    <a:pt x="1840" y="12299"/>
                  </a:cubicBezTo>
                  <a:cubicBezTo>
                    <a:pt x="1735" y="12273"/>
                    <a:pt x="1593" y="12231"/>
                    <a:pt x="1510" y="12175"/>
                  </a:cubicBezTo>
                  <a:cubicBezTo>
                    <a:pt x="1395" y="12100"/>
                    <a:pt x="1378" y="12026"/>
                    <a:pt x="1368" y="11992"/>
                  </a:cubicBezTo>
                  <a:cubicBezTo>
                    <a:pt x="1358" y="11957"/>
                    <a:pt x="1332" y="11852"/>
                    <a:pt x="1314" y="11788"/>
                  </a:cubicBezTo>
                  <a:cubicBezTo>
                    <a:pt x="1298" y="11728"/>
                    <a:pt x="1236" y="11627"/>
                    <a:pt x="1185" y="11573"/>
                  </a:cubicBezTo>
                  <a:cubicBezTo>
                    <a:pt x="1135" y="11518"/>
                    <a:pt x="1017" y="11421"/>
                    <a:pt x="970" y="11393"/>
                  </a:cubicBezTo>
                  <a:cubicBezTo>
                    <a:pt x="955" y="11383"/>
                    <a:pt x="934" y="11371"/>
                    <a:pt x="909" y="11357"/>
                  </a:cubicBezTo>
                  <a:cubicBezTo>
                    <a:pt x="902" y="11404"/>
                    <a:pt x="876" y="11535"/>
                    <a:pt x="813" y="11616"/>
                  </a:cubicBezTo>
                  <a:cubicBezTo>
                    <a:pt x="775" y="11664"/>
                    <a:pt x="739" y="11694"/>
                    <a:pt x="712" y="11713"/>
                  </a:cubicBezTo>
                  <a:cubicBezTo>
                    <a:pt x="698" y="11722"/>
                    <a:pt x="686" y="11728"/>
                    <a:pt x="678" y="11732"/>
                  </a:cubicBezTo>
                  <a:cubicBezTo>
                    <a:pt x="669" y="11736"/>
                    <a:pt x="665" y="11738"/>
                    <a:pt x="650" y="11742"/>
                  </a:cubicBezTo>
                  <a:close/>
                  <a:moveTo>
                    <a:pt x="611" y="12760"/>
                  </a:moveTo>
                  <a:cubicBezTo>
                    <a:pt x="633" y="12803"/>
                    <a:pt x="647" y="12838"/>
                    <a:pt x="656" y="12868"/>
                  </a:cubicBezTo>
                  <a:cubicBezTo>
                    <a:pt x="685" y="12861"/>
                    <a:pt x="751" y="12846"/>
                    <a:pt x="819" y="12831"/>
                  </a:cubicBezTo>
                  <a:cubicBezTo>
                    <a:pt x="862" y="12822"/>
                    <a:pt x="905" y="12812"/>
                    <a:pt x="937" y="12805"/>
                  </a:cubicBezTo>
                  <a:cubicBezTo>
                    <a:pt x="953" y="12802"/>
                    <a:pt x="967" y="12799"/>
                    <a:pt x="977" y="12797"/>
                  </a:cubicBezTo>
                  <a:cubicBezTo>
                    <a:pt x="982" y="12796"/>
                    <a:pt x="986" y="12795"/>
                    <a:pt x="989" y="12794"/>
                  </a:cubicBezTo>
                  <a:cubicBezTo>
                    <a:pt x="992" y="12794"/>
                    <a:pt x="993" y="12794"/>
                    <a:pt x="995" y="12793"/>
                  </a:cubicBezTo>
                  <a:cubicBezTo>
                    <a:pt x="1060" y="12779"/>
                    <a:pt x="1232" y="12741"/>
                    <a:pt x="1299" y="12726"/>
                  </a:cubicBezTo>
                  <a:cubicBezTo>
                    <a:pt x="830" y="12057"/>
                    <a:pt x="830" y="12057"/>
                    <a:pt x="830" y="12057"/>
                  </a:cubicBezTo>
                  <a:cubicBezTo>
                    <a:pt x="831" y="12057"/>
                    <a:pt x="831" y="12057"/>
                    <a:pt x="831" y="12057"/>
                  </a:cubicBezTo>
                  <a:cubicBezTo>
                    <a:pt x="802" y="12016"/>
                    <a:pt x="721" y="11904"/>
                    <a:pt x="621" y="11763"/>
                  </a:cubicBezTo>
                  <a:cubicBezTo>
                    <a:pt x="608" y="11764"/>
                    <a:pt x="608" y="11764"/>
                    <a:pt x="608" y="11764"/>
                  </a:cubicBezTo>
                  <a:cubicBezTo>
                    <a:pt x="144" y="11989"/>
                    <a:pt x="144" y="11989"/>
                    <a:pt x="144" y="11989"/>
                  </a:cubicBezTo>
                  <a:cubicBezTo>
                    <a:pt x="106" y="12151"/>
                    <a:pt x="106" y="12151"/>
                    <a:pt x="106" y="12151"/>
                  </a:cubicBezTo>
                  <a:cubicBezTo>
                    <a:pt x="134" y="12158"/>
                    <a:pt x="161" y="12167"/>
                    <a:pt x="181" y="12179"/>
                  </a:cubicBezTo>
                  <a:cubicBezTo>
                    <a:pt x="213" y="12198"/>
                    <a:pt x="255" y="12244"/>
                    <a:pt x="296" y="12295"/>
                  </a:cubicBezTo>
                  <a:cubicBezTo>
                    <a:pt x="337" y="12344"/>
                    <a:pt x="376" y="12398"/>
                    <a:pt x="398" y="12428"/>
                  </a:cubicBezTo>
                  <a:cubicBezTo>
                    <a:pt x="441" y="12489"/>
                    <a:pt x="564" y="12670"/>
                    <a:pt x="611" y="12760"/>
                  </a:cubicBezTo>
                  <a:close/>
                  <a:moveTo>
                    <a:pt x="1124" y="14031"/>
                  </a:moveTo>
                  <a:cubicBezTo>
                    <a:pt x="1127" y="14027"/>
                    <a:pt x="1130" y="14024"/>
                    <a:pt x="1132" y="14022"/>
                  </a:cubicBezTo>
                  <a:cubicBezTo>
                    <a:pt x="1133" y="14021"/>
                    <a:pt x="1134" y="14020"/>
                    <a:pt x="1134" y="14020"/>
                  </a:cubicBezTo>
                  <a:cubicBezTo>
                    <a:pt x="1134" y="14019"/>
                    <a:pt x="1134" y="14019"/>
                    <a:pt x="1134" y="14019"/>
                  </a:cubicBezTo>
                  <a:cubicBezTo>
                    <a:pt x="1143" y="14006"/>
                    <a:pt x="1255" y="13863"/>
                    <a:pt x="1255" y="13862"/>
                  </a:cubicBezTo>
                  <a:cubicBezTo>
                    <a:pt x="1441" y="13607"/>
                    <a:pt x="1441" y="13607"/>
                    <a:pt x="1441" y="13607"/>
                  </a:cubicBezTo>
                  <a:cubicBezTo>
                    <a:pt x="1154" y="13358"/>
                    <a:pt x="1154" y="13358"/>
                    <a:pt x="1154" y="13358"/>
                  </a:cubicBezTo>
                  <a:cubicBezTo>
                    <a:pt x="1153" y="13359"/>
                    <a:pt x="1153" y="13359"/>
                    <a:pt x="1153" y="13359"/>
                  </a:cubicBezTo>
                  <a:cubicBezTo>
                    <a:pt x="1153" y="13359"/>
                    <a:pt x="1153" y="13359"/>
                    <a:pt x="1153" y="13359"/>
                  </a:cubicBezTo>
                  <a:cubicBezTo>
                    <a:pt x="1121" y="13329"/>
                    <a:pt x="1121" y="13329"/>
                    <a:pt x="1121" y="13329"/>
                  </a:cubicBezTo>
                  <a:cubicBezTo>
                    <a:pt x="1113" y="13322"/>
                    <a:pt x="1113" y="13322"/>
                    <a:pt x="1113" y="13322"/>
                  </a:cubicBezTo>
                  <a:cubicBezTo>
                    <a:pt x="1113" y="13322"/>
                    <a:pt x="1113" y="13322"/>
                    <a:pt x="1113" y="13322"/>
                  </a:cubicBezTo>
                  <a:cubicBezTo>
                    <a:pt x="1014" y="13231"/>
                    <a:pt x="1014" y="13231"/>
                    <a:pt x="1014" y="13231"/>
                  </a:cubicBezTo>
                  <a:cubicBezTo>
                    <a:pt x="663" y="13235"/>
                    <a:pt x="663" y="13235"/>
                    <a:pt x="663" y="13235"/>
                  </a:cubicBezTo>
                  <a:cubicBezTo>
                    <a:pt x="663" y="13235"/>
                    <a:pt x="663" y="13235"/>
                    <a:pt x="663" y="13235"/>
                  </a:cubicBezTo>
                  <a:cubicBezTo>
                    <a:pt x="659" y="13294"/>
                    <a:pt x="654" y="13346"/>
                    <a:pt x="648" y="13374"/>
                  </a:cubicBezTo>
                  <a:cubicBezTo>
                    <a:pt x="630" y="13449"/>
                    <a:pt x="607" y="13580"/>
                    <a:pt x="602" y="13610"/>
                  </a:cubicBezTo>
                  <a:cubicBezTo>
                    <a:pt x="602" y="13611"/>
                    <a:pt x="602" y="13614"/>
                    <a:pt x="602" y="13616"/>
                  </a:cubicBezTo>
                  <a:cubicBezTo>
                    <a:pt x="601" y="13642"/>
                    <a:pt x="621" y="13695"/>
                    <a:pt x="643" y="13723"/>
                  </a:cubicBezTo>
                  <a:cubicBezTo>
                    <a:pt x="647" y="13726"/>
                    <a:pt x="659" y="13736"/>
                    <a:pt x="675" y="13746"/>
                  </a:cubicBezTo>
                  <a:cubicBezTo>
                    <a:pt x="700" y="13763"/>
                    <a:pt x="760" y="13803"/>
                    <a:pt x="790" y="13821"/>
                  </a:cubicBezTo>
                  <a:cubicBezTo>
                    <a:pt x="796" y="13825"/>
                    <a:pt x="796" y="13825"/>
                    <a:pt x="796" y="13825"/>
                  </a:cubicBezTo>
                  <a:cubicBezTo>
                    <a:pt x="811" y="13834"/>
                    <a:pt x="814" y="13836"/>
                    <a:pt x="824" y="13842"/>
                  </a:cubicBezTo>
                  <a:cubicBezTo>
                    <a:pt x="825" y="13842"/>
                    <a:pt x="825" y="13842"/>
                    <a:pt x="825" y="13842"/>
                  </a:cubicBezTo>
                  <a:lnTo>
                    <a:pt x="1124" y="14031"/>
                  </a:lnTo>
                  <a:close/>
                  <a:moveTo>
                    <a:pt x="725" y="14519"/>
                  </a:moveTo>
                  <a:cubicBezTo>
                    <a:pt x="1088" y="14792"/>
                    <a:pt x="1088" y="14792"/>
                    <a:pt x="1088" y="14792"/>
                  </a:cubicBezTo>
                  <a:cubicBezTo>
                    <a:pt x="1089" y="14791"/>
                    <a:pt x="1089" y="14791"/>
                    <a:pt x="1089" y="14791"/>
                  </a:cubicBezTo>
                  <a:cubicBezTo>
                    <a:pt x="1090" y="14794"/>
                    <a:pt x="1090" y="14794"/>
                    <a:pt x="1090" y="14794"/>
                  </a:cubicBezTo>
                  <a:cubicBezTo>
                    <a:pt x="1091" y="14794"/>
                    <a:pt x="1311" y="14958"/>
                    <a:pt x="1554" y="15141"/>
                  </a:cubicBezTo>
                  <a:cubicBezTo>
                    <a:pt x="1792" y="15319"/>
                    <a:pt x="2049" y="15513"/>
                    <a:pt x="2144" y="15583"/>
                  </a:cubicBezTo>
                  <a:cubicBezTo>
                    <a:pt x="2161" y="15578"/>
                    <a:pt x="2203" y="15566"/>
                    <a:pt x="2298" y="15546"/>
                  </a:cubicBezTo>
                  <a:cubicBezTo>
                    <a:pt x="2362" y="15532"/>
                    <a:pt x="2429" y="15505"/>
                    <a:pt x="2481" y="15481"/>
                  </a:cubicBezTo>
                  <a:cubicBezTo>
                    <a:pt x="2526" y="15460"/>
                    <a:pt x="2558" y="15442"/>
                    <a:pt x="2566" y="15438"/>
                  </a:cubicBezTo>
                  <a:cubicBezTo>
                    <a:pt x="2591" y="15414"/>
                    <a:pt x="2729" y="15277"/>
                    <a:pt x="2869" y="15154"/>
                  </a:cubicBezTo>
                  <a:cubicBezTo>
                    <a:pt x="2962" y="15073"/>
                    <a:pt x="3058" y="15005"/>
                    <a:pt x="3111" y="14958"/>
                  </a:cubicBezTo>
                  <a:cubicBezTo>
                    <a:pt x="3246" y="14838"/>
                    <a:pt x="3381" y="14822"/>
                    <a:pt x="3397" y="14820"/>
                  </a:cubicBezTo>
                  <a:cubicBezTo>
                    <a:pt x="3478" y="14800"/>
                    <a:pt x="3606" y="14795"/>
                    <a:pt x="3716" y="14795"/>
                  </a:cubicBezTo>
                  <a:cubicBezTo>
                    <a:pt x="3809" y="14795"/>
                    <a:pt x="3887" y="14799"/>
                    <a:pt x="3912" y="14800"/>
                  </a:cubicBezTo>
                  <a:cubicBezTo>
                    <a:pt x="4286" y="14313"/>
                    <a:pt x="4286" y="14313"/>
                    <a:pt x="4286" y="14313"/>
                  </a:cubicBezTo>
                  <a:cubicBezTo>
                    <a:pt x="1911" y="13451"/>
                    <a:pt x="1911" y="13451"/>
                    <a:pt x="1911" y="13451"/>
                  </a:cubicBezTo>
                  <a:cubicBezTo>
                    <a:pt x="1911" y="13451"/>
                    <a:pt x="1911" y="13451"/>
                    <a:pt x="1911" y="13451"/>
                  </a:cubicBezTo>
                  <a:cubicBezTo>
                    <a:pt x="1652" y="13359"/>
                    <a:pt x="1652" y="13359"/>
                    <a:pt x="1652" y="13359"/>
                  </a:cubicBezTo>
                  <a:cubicBezTo>
                    <a:pt x="1641" y="13377"/>
                    <a:pt x="1617" y="13414"/>
                    <a:pt x="1594" y="13450"/>
                  </a:cubicBezTo>
                  <a:cubicBezTo>
                    <a:pt x="1564" y="13497"/>
                    <a:pt x="1535" y="13542"/>
                    <a:pt x="1535" y="13543"/>
                  </a:cubicBezTo>
                  <a:cubicBezTo>
                    <a:pt x="1285" y="13885"/>
                    <a:pt x="1285" y="13885"/>
                    <a:pt x="1285" y="13885"/>
                  </a:cubicBezTo>
                  <a:cubicBezTo>
                    <a:pt x="1285" y="13885"/>
                    <a:pt x="1255" y="13924"/>
                    <a:pt x="1225" y="13963"/>
                  </a:cubicBezTo>
                  <a:cubicBezTo>
                    <a:pt x="1210" y="13982"/>
                    <a:pt x="1195" y="14002"/>
                    <a:pt x="1184" y="14017"/>
                  </a:cubicBezTo>
                  <a:cubicBezTo>
                    <a:pt x="1178" y="14024"/>
                    <a:pt x="1173" y="14030"/>
                    <a:pt x="1170" y="14035"/>
                  </a:cubicBezTo>
                  <a:cubicBezTo>
                    <a:pt x="1168" y="14037"/>
                    <a:pt x="1167" y="14039"/>
                    <a:pt x="1166" y="14040"/>
                  </a:cubicBezTo>
                  <a:cubicBezTo>
                    <a:pt x="1166" y="14040"/>
                    <a:pt x="1166" y="14040"/>
                    <a:pt x="1166" y="14040"/>
                  </a:cubicBezTo>
                  <a:cubicBezTo>
                    <a:pt x="1165" y="14042"/>
                    <a:pt x="1165" y="14042"/>
                    <a:pt x="1164" y="14042"/>
                  </a:cubicBezTo>
                  <a:cubicBezTo>
                    <a:pt x="1161" y="14046"/>
                    <a:pt x="1157" y="14050"/>
                    <a:pt x="1147" y="14061"/>
                  </a:cubicBezTo>
                  <a:cubicBezTo>
                    <a:pt x="1114" y="14096"/>
                    <a:pt x="1035" y="14177"/>
                    <a:pt x="964" y="14250"/>
                  </a:cubicBezTo>
                  <a:cubicBezTo>
                    <a:pt x="929" y="14287"/>
                    <a:pt x="896" y="14321"/>
                    <a:pt x="871" y="14347"/>
                  </a:cubicBezTo>
                  <a:cubicBezTo>
                    <a:pt x="858" y="14359"/>
                    <a:pt x="848" y="14370"/>
                    <a:pt x="841" y="14377"/>
                  </a:cubicBezTo>
                  <a:cubicBezTo>
                    <a:pt x="838" y="14381"/>
                    <a:pt x="835" y="14384"/>
                    <a:pt x="833" y="14386"/>
                  </a:cubicBezTo>
                  <a:cubicBezTo>
                    <a:pt x="832" y="14387"/>
                    <a:pt x="831" y="14387"/>
                    <a:pt x="830" y="14388"/>
                  </a:cubicBezTo>
                  <a:cubicBezTo>
                    <a:pt x="830" y="14388"/>
                    <a:pt x="830" y="14389"/>
                    <a:pt x="829" y="14389"/>
                  </a:cubicBezTo>
                  <a:cubicBezTo>
                    <a:pt x="829" y="14389"/>
                    <a:pt x="829" y="14389"/>
                    <a:pt x="828" y="14390"/>
                  </a:cubicBezTo>
                  <a:cubicBezTo>
                    <a:pt x="824" y="14394"/>
                    <a:pt x="800" y="14420"/>
                    <a:pt x="776" y="14448"/>
                  </a:cubicBezTo>
                  <a:cubicBezTo>
                    <a:pt x="764" y="14462"/>
                    <a:pt x="752" y="14477"/>
                    <a:pt x="742" y="14489"/>
                  </a:cubicBezTo>
                  <a:cubicBezTo>
                    <a:pt x="733" y="14502"/>
                    <a:pt x="726" y="14513"/>
                    <a:pt x="726" y="14515"/>
                  </a:cubicBezTo>
                  <a:cubicBezTo>
                    <a:pt x="725" y="14516"/>
                    <a:pt x="725" y="14517"/>
                    <a:pt x="725" y="14519"/>
                  </a:cubicBezTo>
                  <a:close/>
                  <a:moveTo>
                    <a:pt x="2590" y="16691"/>
                  </a:moveTo>
                  <a:cubicBezTo>
                    <a:pt x="2590" y="16670"/>
                    <a:pt x="2590" y="16649"/>
                    <a:pt x="2590" y="16629"/>
                  </a:cubicBezTo>
                  <a:cubicBezTo>
                    <a:pt x="2590" y="16351"/>
                    <a:pt x="2593" y="16105"/>
                    <a:pt x="2593" y="16006"/>
                  </a:cubicBezTo>
                  <a:cubicBezTo>
                    <a:pt x="2593" y="15980"/>
                    <a:pt x="2596" y="15957"/>
                    <a:pt x="2600" y="15934"/>
                  </a:cubicBezTo>
                  <a:cubicBezTo>
                    <a:pt x="2357" y="15899"/>
                    <a:pt x="2357" y="15899"/>
                    <a:pt x="2357" y="15899"/>
                  </a:cubicBezTo>
                  <a:cubicBezTo>
                    <a:pt x="2353" y="15889"/>
                    <a:pt x="2353" y="15889"/>
                    <a:pt x="2353" y="15889"/>
                  </a:cubicBezTo>
                  <a:cubicBezTo>
                    <a:pt x="2353" y="15889"/>
                    <a:pt x="2350" y="15881"/>
                    <a:pt x="2343" y="15866"/>
                  </a:cubicBezTo>
                  <a:cubicBezTo>
                    <a:pt x="2321" y="15820"/>
                    <a:pt x="2259" y="15714"/>
                    <a:pt x="2130" y="15618"/>
                  </a:cubicBezTo>
                  <a:cubicBezTo>
                    <a:pt x="1955" y="15488"/>
                    <a:pt x="1075" y="14830"/>
                    <a:pt x="1061" y="14820"/>
                  </a:cubicBezTo>
                  <a:cubicBezTo>
                    <a:pt x="1061" y="14820"/>
                    <a:pt x="1061" y="14820"/>
                    <a:pt x="1061" y="14820"/>
                  </a:cubicBezTo>
                  <a:cubicBezTo>
                    <a:pt x="718" y="14561"/>
                    <a:pt x="718" y="14561"/>
                    <a:pt x="718" y="14561"/>
                  </a:cubicBezTo>
                  <a:cubicBezTo>
                    <a:pt x="718" y="14564"/>
                    <a:pt x="718" y="14566"/>
                    <a:pt x="718" y="14568"/>
                  </a:cubicBezTo>
                  <a:cubicBezTo>
                    <a:pt x="715" y="14586"/>
                    <a:pt x="698" y="14647"/>
                    <a:pt x="680" y="14700"/>
                  </a:cubicBezTo>
                  <a:cubicBezTo>
                    <a:pt x="663" y="14752"/>
                    <a:pt x="621" y="14884"/>
                    <a:pt x="573" y="14954"/>
                  </a:cubicBezTo>
                  <a:cubicBezTo>
                    <a:pt x="546" y="14994"/>
                    <a:pt x="383" y="15208"/>
                    <a:pt x="256" y="15374"/>
                  </a:cubicBezTo>
                  <a:cubicBezTo>
                    <a:pt x="283" y="15378"/>
                    <a:pt x="330" y="15384"/>
                    <a:pt x="396" y="15393"/>
                  </a:cubicBezTo>
                  <a:cubicBezTo>
                    <a:pt x="512" y="15410"/>
                    <a:pt x="654" y="15444"/>
                    <a:pt x="762" y="15474"/>
                  </a:cubicBezTo>
                  <a:cubicBezTo>
                    <a:pt x="872" y="15504"/>
                    <a:pt x="939" y="15542"/>
                    <a:pt x="1022" y="15585"/>
                  </a:cubicBezTo>
                  <a:cubicBezTo>
                    <a:pt x="1110" y="15630"/>
                    <a:pt x="1261" y="15772"/>
                    <a:pt x="1262" y="15773"/>
                  </a:cubicBezTo>
                  <a:cubicBezTo>
                    <a:pt x="1266" y="15777"/>
                    <a:pt x="1266" y="15777"/>
                    <a:pt x="1266" y="15777"/>
                  </a:cubicBezTo>
                  <a:cubicBezTo>
                    <a:pt x="1266" y="15777"/>
                    <a:pt x="1266" y="15777"/>
                    <a:pt x="1266" y="15777"/>
                  </a:cubicBezTo>
                  <a:cubicBezTo>
                    <a:pt x="1319" y="15822"/>
                    <a:pt x="1497" y="15976"/>
                    <a:pt x="1562" y="16039"/>
                  </a:cubicBezTo>
                  <a:cubicBezTo>
                    <a:pt x="1637" y="16112"/>
                    <a:pt x="1966" y="16421"/>
                    <a:pt x="1967" y="16421"/>
                  </a:cubicBezTo>
                  <a:cubicBezTo>
                    <a:pt x="2015" y="16462"/>
                    <a:pt x="2169" y="16615"/>
                    <a:pt x="2254" y="16652"/>
                  </a:cubicBezTo>
                  <a:cubicBezTo>
                    <a:pt x="2294" y="16670"/>
                    <a:pt x="2385" y="16681"/>
                    <a:pt x="2463" y="16686"/>
                  </a:cubicBezTo>
                  <a:cubicBezTo>
                    <a:pt x="2517" y="16689"/>
                    <a:pt x="2565" y="16691"/>
                    <a:pt x="2590" y="16691"/>
                  </a:cubicBezTo>
                  <a:close/>
                  <a:moveTo>
                    <a:pt x="3982" y="16849"/>
                  </a:moveTo>
                  <a:cubicBezTo>
                    <a:pt x="3981" y="16831"/>
                    <a:pt x="3980" y="16813"/>
                    <a:pt x="3980" y="16794"/>
                  </a:cubicBezTo>
                  <a:cubicBezTo>
                    <a:pt x="3980" y="16789"/>
                    <a:pt x="3980" y="16785"/>
                    <a:pt x="3980" y="16781"/>
                  </a:cubicBezTo>
                  <a:cubicBezTo>
                    <a:pt x="3982" y="16628"/>
                    <a:pt x="4001" y="16538"/>
                    <a:pt x="4020" y="16483"/>
                  </a:cubicBezTo>
                  <a:cubicBezTo>
                    <a:pt x="4030" y="16456"/>
                    <a:pt x="4040" y="16438"/>
                    <a:pt x="4048" y="16426"/>
                  </a:cubicBezTo>
                  <a:cubicBezTo>
                    <a:pt x="4052" y="16420"/>
                    <a:pt x="4055" y="16415"/>
                    <a:pt x="4058" y="16412"/>
                  </a:cubicBezTo>
                  <a:cubicBezTo>
                    <a:pt x="4059" y="16411"/>
                    <a:pt x="4060" y="16409"/>
                    <a:pt x="4060" y="16409"/>
                  </a:cubicBezTo>
                  <a:cubicBezTo>
                    <a:pt x="4060" y="16409"/>
                    <a:pt x="4061" y="16408"/>
                    <a:pt x="4061" y="16408"/>
                  </a:cubicBezTo>
                  <a:cubicBezTo>
                    <a:pt x="4061" y="16408"/>
                    <a:pt x="4061" y="16408"/>
                    <a:pt x="4061" y="16408"/>
                  </a:cubicBezTo>
                  <a:cubicBezTo>
                    <a:pt x="4061" y="16408"/>
                    <a:pt x="4061" y="16408"/>
                    <a:pt x="4061" y="16408"/>
                  </a:cubicBezTo>
                  <a:cubicBezTo>
                    <a:pt x="4064" y="16403"/>
                    <a:pt x="4064" y="16404"/>
                    <a:pt x="4066" y="16403"/>
                  </a:cubicBezTo>
                  <a:cubicBezTo>
                    <a:pt x="4081" y="16389"/>
                    <a:pt x="4180" y="16319"/>
                    <a:pt x="4276" y="16251"/>
                  </a:cubicBezTo>
                  <a:cubicBezTo>
                    <a:pt x="4345" y="16202"/>
                    <a:pt x="4411" y="16156"/>
                    <a:pt x="4444" y="16133"/>
                  </a:cubicBezTo>
                  <a:cubicBezTo>
                    <a:pt x="4438" y="16104"/>
                    <a:pt x="4423" y="16018"/>
                    <a:pt x="4404" y="15924"/>
                  </a:cubicBezTo>
                  <a:cubicBezTo>
                    <a:pt x="4381" y="15807"/>
                    <a:pt x="4354" y="15676"/>
                    <a:pt x="4336" y="15623"/>
                  </a:cubicBezTo>
                  <a:cubicBezTo>
                    <a:pt x="4322" y="15580"/>
                    <a:pt x="4239" y="15431"/>
                    <a:pt x="4160" y="15297"/>
                  </a:cubicBezTo>
                  <a:cubicBezTo>
                    <a:pt x="4089" y="15174"/>
                    <a:pt x="4020" y="15061"/>
                    <a:pt x="4009" y="15042"/>
                  </a:cubicBezTo>
                  <a:cubicBezTo>
                    <a:pt x="3999" y="15034"/>
                    <a:pt x="3999" y="15034"/>
                    <a:pt x="3999" y="15034"/>
                  </a:cubicBezTo>
                  <a:cubicBezTo>
                    <a:pt x="2916" y="15639"/>
                    <a:pt x="2916" y="15639"/>
                    <a:pt x="2916" y="15639"/>
                  </a:cubicBezTo>
                  <a:cubicBezTo>
                    <a:pt x="2915" y="15639"/>
                    <a:pt x="2915" y="15639"/>
                    <a:pt x="2915" y="15639"/>
                  </a:cubicBezTo>
                  <a:cubicBezTo>
                    <a:pt x="2915" y="15639"/>
                    <a:pt x="2897" y="15645"/>
                    <a:pt x="2870" y="15659"/>
                  </a:cubicBezTo>
                  <a:cubicBezTo>
                    <a:pt x="2789" y="15700"/>
                    <a:pt x="2629" y="15805"/>
                    <a:pt x="2629" y="16006"/>
                  </a:cubicBezTo>
                  <a:cubicBezTo>
                    <a:pt x="2629" y="16105"/>
                    <a:pt x="2626" y="16352"/>
                    <a:pt x="2626" y="16629"/>
                  </a:cubicBezTo>
                  <a:cubicBezTo>
                    <a:pt x="2626" y="16647"/>
                    <a:pt x="2626" y="16667"/>
                    <a:pt x="2626" y="16685"/>
                  </a:cubicBezTo>
                  <a:cubicBezTo>
                    <a:pt x="2628" y="16686"/>
                    <a:pt x="2630" y="16686"/>
                    <a:pt x="2632" y="16686"/>
                  </a:cubicBezTo>
                  <a:cubicBezTo>
                    <a:pt x="2692" y="16680"/>
                    <a:pt x="2838" y="16664"/>
                    <a:pt x="2985" y="16647"/>
                  </a:cubicBezTo>
                  <a:cubicBezTo>
                    <a:pt x="3080" y="16636"/>
                    <a:pt x="3175" y="16624"/>
                    <a:pt x="3247" y="16615"/>
                  </a:cubicBezTo>
                  <a:cubicBezTo>
                    <a:pt x="3282" y="16610"/>
                    <a:pt x="3312" y="16606"/>
                    <a:pt x="3333" y="16603"/>
                  </a:cubicBezTo>
                  <a:cubicBezTo>
                    <a:pt x="3343" y="16601"/>
                    <a:pt x="3351" y="16600"/>
                    <a:pt x="3356" y="16598"/>
                  </a:cubicBezTo>
                  <a:cubicBezTo>
                    <a:pt x="3357" y="16598"/>
                    <a:pt x="3358" y="16598"/>
                    <a:pt x="3359" y="16598"/>
                  </a:cubicBezTo>
                  <a:cubicBezTo>
                    <a:pt x="3361" y="16596"/>
                    <a:pt x="3363" y="16595"/>
                    <a:pt x="3367" y="16595"/>
                  </a:cubicBezTo>
                  <a:cubicBezTo>
                    <a:pt x="3376" y="16596"/>
                    <a:pt x="3378" y="16599"/>
                    <a:pt x="3379" y="16601"/>
                  </a:cubicBezTo>
                  <a:cubicBezTo>
                    <a:pt x="3379" y="16601"/>
                    <a:pt x="3379" y="16601"/>
                    <a:pt x="3379" y="16601"/>
                  </a:cubicBezTo>
                  <a:cubicBezTo>
                    <a:pt x="3379" y="16601"/>
                    <a:pt x="3379" y="16602"/>
                    <a:pt x="3380" y="16603"/>
                  </a:cubicBezTo>
                  <a:cubicBezTo>
                    <a:pt x="3380" y="16604"/>
                    <a:pt x="3380" y="16605"/>
                    <a:pt x="3381" y="16606"/>
                  </a:cubicBezTo>
                  <a:cubicBezTo>
                    <a:pt x="3381" y="16606"/>
                    <a:pt x="3381" y="16606"/>
                    <a:pt x="3381" y="16606"/>
                  </a:cubicBezTo>
                  <a:cubicBezTo>
                    <a:pt x="3381" y="16607"/>
                    <a:pt x="3381" y="16607"/>
                    <a:pt x="3381" y="16608"/>
                  </a:cubicBezTo>
                  <a:cubicBezTo>
                    <a:pt x="3381" y="16609"/>
                    <a:pt x="3381" y="16609"/>
                    <a:pt x="3381" y="16609"/>
                  </a:cubicBezTo>
                  <a:cubicBezTo>
                    <a:pt x="3382" y="16622"/>
                    <a:pt x="3394" y="16702"/>
                    <a:pt x="3405" y="16779"/>
                  </a:cubicBezTo>
                  <a:cubicBezTo>
                    <a:pt x="3417" y="16861"/>
                    <a:pt x="3430" y="16942"/>
                    <a:pt x="3430" y="16942"/>
                  </a:cubicBezTo>
                  <a:cubicBezTo>
                    <a:pt x="3404" y="16946"/>
                    <a:pt x="3404" y="16946"/>
                    <a:pt x="3404" y="16946"/>
                  </a:cubicBezTo>
                  <a:cubicBezTo>
                    <a:pt x="3404" y="16946"/>
                    <a:pt x="3404" y="16946"/>
                    <a:pt x="3404" y="16946"/>
                  </a:cubicBezTo>
                  <a:cubicBezTo>
                    <a:pt x="3404" y="16946"/>
                    <a:pt x="3391" y="16865"/>
                    <a:pt x="3379" y="16783"/>
                  </a:cubicBezTo>
                  <a:cubicBezTo>
                    <a:pt x="3370" y="16719"/>
                    <a:pt x="3360" y="16655"/>
                    <a:pt x="3356" y="16625"/>
                  </a:cubicBezTo>
                  <a:cubicBezTo>
                    <a:pt x="3264" y="16644"/>
                    <a:pt x="2766" y="16698"/>
                    <a:pt x="2637" y="16712"/>
                  </a:cubicBezTo>
                  <a:cubicBezTo>
                    <a:pt x="2626" y="16716"/>
                    <a:pt x="2626" y="16716"/>
                    <a:pt x="2626" y="16716"/>
                  </a:cubicBezTo>
                  <a:cubicBezTo>
                    <a:pt x="2626" y="16783"/>
                    <a:pt x="2627" y="16851"/>
                    <a:pt x="2627" y="16920"/>
                  </a:cubicBezTo>
                  <a:cubicBezTo>
                    <a:pt x="2628" y="16973"/>
                    <a:pt x="2629" y="17026"/>
                    <a:pt x="2629" y="17078"/>
                  </a:cubicBezTo>
                  <a:cubicBezTo>
                    <a:pt x="2633" y="17078"/>
                    <a:pt x="2637" y="17079"/>
                    <a:pt x="2641" y="17080"/>
                  </a:cubicBezTo>
                  <a:lnTo>
                    <a:pt x="3982" y="16849"/>
                  </a:lnTo>
                  <a:close/>
                  <a:moveTo>
                    <a:pt x="4455" y="17145"/>
                  </a:moveTo>
                  <a:cubicBezTo>
                    <a:pt x="4452" y="17126"/>
                    <a:pt x="4451" y="17104"/>
                    <a:pt x="4450" y="17078"/>
                  </a:cubicBezTo>
                  <a:cubicBezTo>
                    <a:pt x="4448" y="17039"/>
                    <a:pt x="4448" y="16995"/>
                    <a:pt x="4444" y="16958"/>
                  </a:cubicBezTo>
                  <a:cubicBezTo>
                    <a:pt x="4443" y="16940"/>
                    <a:pt x="4442" y="16922"/>
                    <a:pt x="4442" y="16902"/>
                  </a:cubicBezTo>
                  <a:cubicBezTo>
                    <a:pt x="4442" y="16829"/>
                    <a:pt x="4457" y="16738"/>
                    <a:pt x="4511" y="16532"/>
                  </a:cubicBezTo>
                  <a:cubicBezTo>
                    <a:pt x="4525" y="16480"/>
                    <a:pt x="4531" y="16433"/>
                    <a:pt x="4531" y="16392"/>
                  </a:cubicBezTo>
                  <a:cubicBezTo>
                    <a:pt x="4531" y="16312"/>
                    <a:pt x="4510" y="16252"/>
                    <a:pt x="4490" y="16212"/>
                  </a:cubicBezTo>
                  <a:cubicBezTo>
                    <a:pt x="4480" y="16192"/>
                    <a:pt x="4470" y="16177"/>
                    <a:pt x="4462" y="16167"/>
                  </a:cubicBezTo>
                  <a:cubicBezTo>
                    <a:pt x="4462" y="16166"/>
                    <a:pt x="4461" y="16166"/>
                    <a:pt x="4461" y="16165"/>
                  </a:cubicBezTo>
                  <a:cubicBezTo>
                    <a:pt x="4425" y="16190"/>
                    <a:pt x="4357" y="16238"/>
                    <a:pt x="4288" y="16287"/>
                  </a:cubicBezTo>
                  <a:cubicBezTo>
                    <a:pt x="4238" y="16322"/>
                    <a:pt x="4188" y="16357"/>
                    <a:pt x="4151" y="16384"/>
                  </a:cubicBezTo>
                  <a:cubicBezTo>
                    <a:pt x="4132" y="16398"/>
                    <a:pt x="4116" y="16409"/>
                    <a:pt x="4105" y="16418"/>
                  </a:cubicBezTo>
                  <a:cubicBezTo>
                    <a:pt x="4100" y="16422"/>
                    <a:pt x="4095" y="16425"/>
                    <a:pt x="4092" y="16427"/>
                  </a:cubicBezTo>
                  <a:cubicBezTo>
                    <a:pt x="4091" y="16428"/>
                    <a:pt x="4091" y="16429"/>
                    <a:pt x="4090" y="16429"/>
                  </a:cubicBezTo>
                  <a:cubicBezTo>
                    <a:pt x="4088" y="16432"/>
                    <a:pt x="4087" y="16433"/>
                    <a:pt x="4086" y="16435"/>
                  </a:cubicBezTo>
                  <a:cubicBezTo>
                    <a:pt x="4073" y="16451"/>
                    <a:pt x="4020" y="16519"/>
                    <a:pt x="4016" y="16781"/>
                  </a:cubicBezTo>
                  <a:cubicBezTo>
                    <a:pt x="4016" y="16785"/>
                    <a:pt x="4016" y="16789"/>
                    <a:pt x="4016" y="16794"/>
                  </a:cubicBezTo>
                  <a:cubicBezTo>
                    <a:pt x="4016" y="16936"/>
                    <a:pt x="4051" y="17013"/>
                    <a:pt x="4098" y="17058"/>
                  </a:cubicBezTo>
                  <a:cubicBezTo>
                    <a:pt x="4146" y="17103"/>
                    <a:pt x="4211" y="17119"/>
                    <a:pt x="4279" y="17131"/>
                  </a:cubicBezTo>
                  <a:cubicBezTo>
                    <a:pt x="4330" y="17139"/>
                    <a:pt x="4391" y="17143"/>
                    <a:pt x="4455" y="17145"/>
                  </a:cubicBezTo>
                  <a:close/>
                  <a:moveTo>
                    <a:pt x="5716" y="17420"/>
                  </a:moveTo>
                  <a:cubicBezTo>
                    <a:pt x="5796" y="17437"/>
                    <a:pt x="5888" y="17458"/>
                    <a:pt x="5973" y="17479"/>
                  </a:cubicBezTo>
                  <a:cubicBezTo>
                    <a:pt x="5978" y="17438"/>
                    <a:pt x="5992" y="17309"/>
                    <a:pt x="6000" y="17164"/>
                  </a:cubicBezTo>
                  <a:cubicBezTo>
                    <a:pt x="6005" y="17081"/>
                    <a:pt x="6006" y="16985"/>
                    <a:pt x="6006" y="16900"/>
                  </a:cubicBezTo>
                  <a:cubicBezTo>
                    <a:pt x="6006" y="16823"/>
                    <a:pt x="6005" y="16755"/>
                    <a:pt x="6004" y="16716"/>
                  </a:cubicBezTo>
                  <a:cubicBezTo>
                    <a:pt x="6002" y="16631"/>
                    <a:pt x="5979" y="16482"/>
                    <a:pt x="5956" y="16355"/>
                  </a:cubicBezTo>
                  <a:cubicBezTo>
                    <a:pt x="5938" y="16256"/>
                    <a:pt x="5921" y="16171"/>
                    <a:pt x="5914" y="16138"/>
                  </a:cubicBezTo>
                  <a:cubicBezTo>
                    <a:pt x="4494" y="16150"/>
                    <a:pt x="4494" y="16150"/>
                    <a:pt x="4494" y="16150"/>
                  </a:cubicBezTo>
                  <a:cubicBezTo>
                    <a:pt x="4521" y="16186"/>
                    <a:pt x="4567" y="16267"/>
                    <a:pt x="4567" y="16392"/>
                  </a:cubicBezTo>
                  <a:cubicBezTo>
                    <a:pt x="4567" y="16436"/>
                    <a:pt x="4561" y="16486"/>
                    <a:pt x="4546" y="16541"/>
                  </a:cubicBezTo>
                  <a:cubicBezTo>
                    <a:pt x="4492" y="16747"/>
                    <a:pt x="4478" y="16835"/>
                    <a:pt x="4478" y="16902"/>
                  </a:cubicBezTo>
                  <a:cubicBezTo>
                    <a:pt x="4478" y="16920"/>
                    <a:pt x="4479" y="16937"/>
                    <a:pt x="4480" y="16955"/>
                  </a:cubicBezTo>
                  <a:cubicBezTo>
                    <a:pt x="4484" y="16999"/>
                    <a:pt x="4484" y="17051"/>
                    <a:pt x="4486" y="17092"/>
                  </a:cubicBezTo>
                  <a:cubicBezTo>
                    <a:pt x="4487" y="17112"/>
                    <a:pt x="4489" y="17130"/>
                    <a:pt x="4491" y="17141"/>
                  </a:cubicBezTo>
                  <a:cubicBezTo>
                    <a:pt x="4491" y="17142"/>
                    <a:pt x="4491" y="17144"/>
                    <a:pt x="4492" y="17145"/>
                  </a:cubicBezTo>
                  <a:cubicBezTo>
                    <a:pt x="4495" y="17145"/>
                    <a:pt x="4497" y="17145"/>
                    <a:pt x="4500" y="17145"/>
                  </a:cubicBezTo>
                  <a:cubicBezTo>
                    <a:pt x="4591" y="17145"/>
                    <a:pt x="4683" y="17141"/>
                    <a:pt x="4753" y="17138"/>
                  </a:cubicBezTo>
                  <a:cubicBezTo>
                    <a:pt x="4787" y="17137"/>
                    <a:pt x="4821" y="17135"/>
                    <a:pt x="4854" y="17135"/>
                  </a:cubicBezTo>
                  <a:cubicBezTo>
                    <a:pt x="4899" y="17135"/>
                    <a:pt x="4941" y="17139"/>
                    <a:pt x="4979" y="17162"/>
                  </a:cubicBezTo>
                  <a:cubicBezTo>
                    <a:pt x="5016" y="17184"/>
                    <a:pt x="5046" y="17224"/>
                    <a:pt x="5064" y="17286"/>
                  </a:cubicBezTo>
                  <a:cubicBezTo>
                    <a:pt x="5066" y="17293"/>
                    <a:pt x="5068" y="17302"/>
                    <a:pt x="5070" y="17311"/>
                  </a:cubicBezTo>
                  <a:cubicBezTo>
                    <a:pt x="5070" y="17310"/>
                    <a:pt x="5070" y="17310"/>
                    <a:pt x="5070" y="17310"/>
                  </a:cubicBezTo>
                  <a:cubicBezTo>
                    <a:pt x="5071" y="17310"/>
                    <a:pt x="5556" y="17388"/>
                    <a:pt x="5716" y="17420"/>
                  </a:cubicBezTo>
                  <a:close/>
                  <a:moveTo>
                    <a:pt x="6810" y="17658"/>
                  </a:moveTo>
                  <a:cubicBezTo>
                    <a:pt x="6848" y="17573"/>
                    <a:pt x="7026" y="17168"/>
                    <a:pt x="7202" y="16769"/>
                  </a:cubicBezTo>
                  <a:cubicBezTo>
                    <a:pt x="7298" y="16549"/>
                    <a:pt x="7394" y="16331"/>
                    <a:pt x="7466" y="16168"/>
                  </a:cubicBezTo>
                  <a:cubicBezTo>
                    <a:pt x="7496" y="16099"/>
                    <a:pt x="7522" y="16040"/>
                    <a:pt x="7542" y="15995"/>
                  </a:cubicBezTo>
                  <a:cubicBezTo>
                    <a:pt x="6310" y="15958"/>
                    <a:pt x="6310" y="15958"/>
                    <a:pt x="6310" y="15958"/>
                  </a:cubicBezTo>
                  <a:cubicBezTo>
                    <a:pt x="6310" y="16012"/>
                    <a:pt x="6309" y="16292"/>
                    <a:pt x="6302" y="16488"/>
                  </a:cubicBezTo>
                  <a:cubicBezTo>
                    <a:pt x="6299" y="16556"/>
                    <a:pt x="6282" y="16613"/>
                    <a:pt x="6244" y="16650"/>
                  </a:cubicBezTo>
                  <a:cubicBezTo>
                    <a:pt x="6188" y="16703"/>
                    <a:pt x="6109" y="16713"/>
                    <a:pt x="6061" y="16713"/>
                  </a:cubicBezTo>
                  <a:cubicBezTo>
                    <a:pt x="6053" y="16713"/>
                    <a:pt x="6047" y="16713"/>
                    <a:pt x="6040" y="16713"/>
                  </a:cubicBezTo>
                  <a:cubicBezTo>
                    <a:pt x="6040" y="16713"/>
                    <a:pt x="6040" y="16714"/>
                    <a:pt x="6040" y="16715"/>
                  </a:cubicBezTo>
                  <a:cubicBezTo>
                    <a:pt x="6041" y="16755"/>
                    <a:pt x="6043" y="16822"/>
                    <a:pt x="6043" y="16900"/>
                  </a:cubicBezTo>
                  <a:cubicBezTo>
                    <a:pt x="6043" y="16985"/>
                    <a:pt x="6041" y="17082"/>
                    <a:pt x="6036" y="17166"/>
                  </a:cubicBezTo>
                  <a:cubicBezTo>
                    <a:pt x="6028" y="17318"/>
                    <a:pt x="6013" y="17452"/>
                    <a:pt x="6009" y="17488"/>
                  </a:cubicBezTo>
                  <a:cubicBezTo>
                    <a:pt x="6081" y="17506"/>
                    <a:pt x="6147" y="17523"/>
                    <a:pt x="6194" y="17535"/>
                  </a:cubicBezTo>
                  <a:cubicBezTo>
                    <a:pt x="6308" y="17564"/>
                    <a:pt x="6384" y="17616"/>
                    <a:pt x="6763" y="17653"/>
                  </a:cubicBezTo>
                  <a:cubicBezTo>
                    <a:pt x="6778" y="17654"/>
                    <a:pt x="6794" y="17656"/>
                    <a:pt x="6810" y="17658"/>
                  </a:cubicBezTo>
                  <a:close/>
                  <a:moveTo>
                    <a:pt x="8559" y="16295"/>
                  </a:moveTo>
                  <a:cubicBezTo>
                    <a:pt x="8560" y="16225"/>
                    <a:pt x="8575" y="15450"/>
                    <a:pt x="8579" y="15400"/>
                  </a:cubicBezTo>
                  <a:cubicBezTo>
                    <a:pt x="8594" y="15269"/>
                    <a:pt x="8669" y="15199"/>
                    <a:pt x="8741" y="15166"/>
                  </a:cubicBezTo>
                  <a:cubicBezTo>
                    <a:pt x="8746" y="15163"/>
                    <a:pt x="8752" y="15161"/>
                    <a:pt x="8757" y="15159"/>
                  </a:cubicBezTo>
                  <a:cubicBezTo>
                    <a:pt x="8702" y="15120"/>
                    <a:pt x="8477" y="14964"/>
                    <a:pt x="8252" y="14807"/>
                  </a:cubicBezTo>
                  <a:cubicBezTo>
                    <a:pt x="8123" y="14717"/>
                    <a:pt x="7993" y="14626"/>
                    <a:pt x="7896" y="14558"/>
                  </a:cubicBezTo>
                  <a:cubicBezTo>
                    <a:pt x="7878" y="14545"/>
                    <a:pt x="7862" y="14534"/>
                    <a:pt x="7846" y="14523"/>
                  </a:cubicBezTo>
                  <a:cubicBezTo>
                    <a:pt x="7619" y="15909"/>
                    <a:pt x="7619" y="15909"/>
                    <a:pt x="7619" y="15909"/>
                  </a:cubicBezTo>
                  <a:cubicBezTo>
                    <a:pt x="7618" y="15911"/>
                    <a:pt x="7618" y="15911"/>
                    <a:pt x="7618" y="15911"/>
                  </a:cubicBezTo>
                  <a:cubicBezTo>
                    <a:pt x="7618" y="15911"/>
                    <a:pt x="7423" y="16355"/>
                    <a:pt x="7228" y="16799"/>
                  </a:cubicBezTo>
                  <a:cubicBezTo>
                    <a:pt x="7130" y="17021"/>
                    <a:pt x="7032" y="17243"/>
                    <a:pt x="6959" y="17410"/>
                  </a:cubicBezTo>
                  <a:cubicBezTo>
                    <a:pt x="6922" y="17494"/>
                    <a:pt x="6891" y="17564"/>
                    <a:pt x="6869" y="17613"/>
                  </a:cubicBezTo>
                  <a:cubicBezTo>
                    <a:pt x="6860" y="17634"/>
                    <a:pt x="6852" y="17651"/>
                    <a:pt x="6847" y="17664"/>
                  </a:cubicBezTo>
                  <a:cubicBezTo>
                    <a:pt x="7214" y="17725"/>
                    <a:pt x="7625" y="17940"/>
                    <a:pt x="7626" y="17940"/>
                  </a:cubicBezTo>
                  <a:cubicBezTo>
                    <a:pt x="7646" y="17952"/>
                    <a:pt x="7646" y="17952"/>
                    <a:pt x="7646" y="17952"/>
                  </a:cubicBezTo>
                  <a:lnTo>
                    <a:pt x="8559" y="16295"/>
                  </a:lnTo>
                  <a:close/>
                  <a:moveTo>
                    <a:pt x="11352" y="16170"/>
                  </a:moveTo>
                  <a:cubicBezTo>
                    <a:pt x="11342" y="16162"/>
                    <a:pt x="11331" y="16155"/>
                    <a:pt x="11321" y="16147"/>
                  </a:cubicBezTo>
                  <a:cubicBezTo>
                    <a:pt x="11027" y="15935"/>
                    <a:pt x="10685" y="15698"/>
                    <a:pt x="10525" y="15575"/>
                  </a:cubicBezTo>
                  <a:cubicBezTo>
                    <a:pt x="10377" y="15462"/>
                    <a:pt x="10132" y="15275"/>
                    <a:pt x="10096" y="15248"/>
                  </a:cubicBezTo>
                  <a:cubicBezTo>
                    <a:pt x="8890" y="15167"/>
                    <a:pt x="8890" y="15167"/>
                    <a:pt x="8890" y="15167"/>
                  </a:cubicBezTo>
                  <a:cubicBezTo>
                    <a:pt x="8884" y="15167"/>
                    <a:pt x="8820" y="15168"/>
                    <a:pt x="8756" y="15198"/>
                  </a:cubicBezTo>
                  <a:cubicBezTo>
                    <a:pt x="8692" y="15229"/>
                    <a:pt x="8629" y="15285"/>
                    <a:pt x="8615" y="15404"/>
                  </a:cubicBezTo>
                  <a:cubicBezTo>
                    <a:pt x="8612" y="15447"/>
                    <a:pt x="8597" y="16195"/>
                    <a:pt x="8595" y="16290"/>
                  </a:cubicBezTo>
                  <a:cubicBezTo>
                    <a:pt x="8624" y="16307"/>
                    <a:pt x="8722" y="16367"/>
                    <a:pt x="8834" y="16430"/>
                  </a:cubicBezTo>
                  <a:cubicBezTo>
                    <a:pt x="8967" y="16506"/>
                    <a:pt x="9120" y="16588"/>
                    <a:pt x="9194" y="16609"/>
                  </a:cubicBezTo>
                  <a:cubicBezTo>
                    <a:pt x="9348" y="16653"/>
                    <a:pt x="9536" y="16694"/>
                    <a:pt x="9686" y="16756"/>
                  </a:cubicBezTo>
                  <a:cubicBezTo>
                    <a:pt x="9761" y="16788"/>
                    <a:pt x="9862" y="16849"/>
                    <a:pt x="9950" y="16912"/>
                  </a:cubicBezTo>
                  <a:cubicBezTo>
                    <a:pt x="10039" y="16974"/>
                    <a:pt x="10114" y="17036"/>
                    <a:pt x="10142" y="17072"/>
                  </a:cubicBezTo>
                  <a:cubicBezTo>
                    <a:pt x="10147" y="17079"/>
                    <a:pt x="10152" y="17089"/>
                    <a:pt x="10158" y="17101"/>
                  </a:cubicBezTo>
                  <a:cubicBezTo>
                    <a:pt x="10209" y="17061"/>
                    <a:pt x="10481" y="16848"/>
                    <a:pt x="10755" y="16633"/>
                  </a:cubicBezTo>
                  <a:cubicBezTo>
                    <a:pt x="10907" y="16514"/>
                    <a:pt x="11060" y="16395"/>
                    <a:pt x="11175" y="16306"/>
                  </a:cubicBezTo>
                  <a:cubicBezTo>
                    <a:pt x="11233" y="16261"/>
                    <a:pt x="11281" y="16224"/>
                    <a:pt x="11316" y="16197"/>
                  </a:cubicBezTo>
                  <a:cubicBezTo>
                    <a:pt x="11331" y="16186"/>
                    <a:pt x="11342" y="16177"/>
                    <a:pt x="11352" y="16170"/>
                  </a:cubicBezTo>
                  <a:close/>
                  <a:moveTo>
                    <a:pt x="13767" y="16037"/>
                  </a:moveTo>
                  <a:cubicBezTo>
                    <a:pt x="13766" y="16036"/>
                    <a:pt x="13766" y="16036"/>
                    <a:pt x="13766" y="16036"/>
                  </a:cubicBezTo>
                  <a:cubicBezTo>
                    <a:pt x="13766" y="16036"/>
                    <a:pt x="13766" y="16036"/>
                    <a:pt x="13766" y="16036"/>
                  </a:cubicBezTo>
                  <a:lnTo>
                    <a:pt x="13767" y="16037"/>
                  </a:lnTo>
                  <a:close/>
                  <a:moveTo>
                    <a:pt x="15469" y="13222"/>
                  </a:moveTo>
                  <a:cubicBezTo>
                    <a:pt x="15466" y="13232"/>
                    <a:pt x="15464" y="13239"/>
                    <a:pt x="15461" y="13245"/>
                  </a:cubicBezTo>
                  <a:cubicBezTo>
                    <a:pt x="15459" y="13251"/>
                    <a:pt x="15456" y="13256"/>
                    <a:pt x="15453" y="13260"/>
                  </a:cubicBezTo>
                  <a:cubicBezTo>
                    <a:pt x="15451" y="13262"/>
                    <a:pt x="15448" y="13264"/>
                    <a:pt x="15445" y="13266"/>
                  </a:cubicBezTo>
                  <a:cubicBezTo>
                    <a:pt x="15434" y="13287"/>
                    <a:pt x="15397" y="13351"/>
                    <a:pt x="15324" y="13447"/>
                  </a:cubicBezTo>
                  <a:cubicBezTo>
                    <a:pt x="15216" y="13587"/>
                    <a:pt x="15048" y="13809"/>
                    <a:pt x="14992" y="13915"/>
                  </a:cubicBezTo>
                  <a:cubicBezTo>
                    <a:pt x="14991" y="13917"/>
                    <a:pt x="14991" y="13917"/>
                    <a:pt x="14991" y="13917"/>
                  </a:cubicBezTo>
                  <a:cubicBezTo>
                    <a:pt x="14989" y="13919"/>
                    <a:pt x="14989" y="13919"/>
                    <a:pt x="14989" y="13919"/>
                  </a:cubicBezTo>
                  <a:cubicBezTo>
                    <a:pt x="14989" y="13919"/>
                    <a:pt x="14988" y="13919"/>
                    <a:pt x="14986" y="13922"/>
                  </a:cubicBezTo>
                  <a:cubicBezTo>
                    <a:pt x="14972" y="13941"/>
                    <a:pt x="14903" y="14046"/>
                    <a:pt x="14863" y="14353"/>
                  </a:cubicBezTo>
                  <a:cubicBezTo>
                    <a:pt x="14840" y="14529"/>
                    <a:pt x="14820" y="14738"/>
                    <a:pt x="14807" y="14902"/>
                  </a:cubicBezTo>
                  <a:cubicBezTo>
                    <a:pt x="14793" y="15066"/>
                    <a:pt x="14785" y="15186"/>
                    <a:pt x="14785" y="15186"/>
                  </a:cubicBezTo>
                  <a:cubicBezTo>
                    <a:pt x="14785" y="15186"/>
                    <a:pt x="14785" y="15186"/>
                    <a:pt x="14785" y="15186"/>
                  </a:cubicBezTo>
                  <a:cubicBezTo>
                    <a:pt x="14784" y="15187"/>
                    <a:pt x="14784" y="15187"/>
                    <a:pt x="14784" y="15187"/>
                  </a:cubicBezTo>
                  <a:cubicBezTo>
                    <a:pt x="14784" y="15188"/>
                    <a:pt x="14755" y="15419"/>
                    <a:pt x="14616" y="15671"/>
                  </a:cubicBezTo>
                  <a:cubicBezTo>
                    <a:pt x="14546" y="15796"/>
                    <a:pt x="14529" y="15956"/>
                    <a:pt x="14529" y="16079"/>
                  </a:cubicBezTo>
                  <a:cubicBezTo>
                    <a:pt x="14529" y="16177"/>
                    <a:pt x="14539" y="16250"/>
                    <a:pt x="14542" y="16266"/>
                  </a:cubicBezTo>
                  <a:cubicBezTo>
                    <a:pt x="15359" y="16254"/>
                    <a:pt x="16562" y="16235"/>
                    <a:pt x="16680" y="16235"/>
                  </a:cubicBezTo>
                  <a:cubicBezTo>
                    <a:pt x="16683" y="16235"/>
                    <a:pt x="16685" y="16235"/>
                    <a:pt x="16687" y="16235"/>
                  </a:cubicBezTo>
                  <a:cubicBezTo>
                    <a:pt x="16688" y="16235"/>
                    <a:pt x="16688" y="16235"/>
                    <a:pt x="16689" y="16235"/>
                  </a:cubicBezTo>
                  <a:cubicBezTo>
                    <a:pt x="16689" y="16235"/>
                    <a:pt x="16690" y="16235"/>
                    <a:pt x="16690" y="16236"/>
                  </a:cubicBezTo>
                  <a:cubicBezTo>
                    <a:pt x="16691" y="16236"/>
                    <a:pt x="16691" y="16236"/>
                    <a:pt x="16692" y="16236"/>
                  </a:cubicBezTo>
                  <a:cubicBezTo>
                    <a:pt x="16692" y="16236"/>
                    <a:pt x="16692" y="16236"/>
                    <a:pt x="16692" y="16236"/>
                  </a:cubicBezTo>
                  <a:cubicBezTo>
                    <a:pt x="16695" y="16236"/>
                    <a:pt x="16702" y="16236"/>
                    <a:pt x="16711" y="16236"/>
                  </a:cubicBezTo>
                  <a:cubicBezTo>
                    <a:pt x="16763" y="16236"/>
                    <a:pt x="16902" y="16239"/>
                    <a:pt x="17076" y="16286"/>
                  </a:cubicBezTo>
                  <a:cubicBezTo>
                    <a:pt x="17076" y="16285"/>
                    <a:pt x="17088" y="16267"/>
                    <a:pt x="17106" y="16233"/>
                  </a:cubicBezTo>
                  <a:cubicBezTo>
                    <a:pt x="17161" y="16127"/>
                    <a:pt x="17272" y="15874"/>
                    <a:pt x="17272" y="15543"/>
                  </a:cubicBezTo>
                  <a:cubicBezTo>
                    <a:pt x="17272" y="15405"/>
                    <a:pt x="17252" y="15253"/>
                    <a:pt x="17201" y="15093"/>
                  </a:cubicBezTo>
                  <a:cubicBezTo>
                    <a:pt x="17201" y="15092"/>
                    <a:pt x="17201" y="15092"/>
                    <a:pt x="17201" y="15092"/>
                  </a:cubicBezTo>
                  <a:cubicBezTo>
                    <a:pt x="17201" y="15090"/>
                    <a:pt x="17201" y="15090"/>
                    <a:pt x="17201" y="15090"/>
                  </a:cubicBezTo>
                  <a:cubicBezTo>
                    <a:pt x="17201" y="15090"/>
                    <a:pt x="17192" y="15044"/>
                    <a:pt x="17170" y="14965"/>
                  </a:cubicBezTo>
                  <a:cubicBezTo>
                    <a:pt x="17104" y="14728"/>
                    <a:pt x="16916" y="14198"/>
                    <a:pt x="16477" y="13766"/>
                  </a:cubicBezTo>
                  <a:cubicBezTo>
                    <a:pt x="16112" y="13407"/>
                    <a:pt x="15657" y="13268"/>
                    <a:pt x="15469" y="13222"/>
                  </a:cubicBezTo>
                  <a:close/>
                  <a:moveTo>
                    <a:pt x="15391" y="13205"/>
                  </a:moveTo>
                  <a:cubicBezTo>
                    <a:pt x="14189" y="12969"/>
                    <a:pt x="14189" y="12969"/>
                    <a:pt x="14189" y="12969"/>
                  </a:cubicBezTo>
                  <a:cubicBezTo>
                    <a:pt x="14179" y="12968"/>
                    <a:pt x="14179" y="12968"/>
                    <a:pt x="14179" y="12968"/>
                  </a:cubicBezTo>
                  <a:cubicBezTo>
                    <a:pt x="14046" y="13773"/>
                    <a:pt x="13862" y="14889"/>
                    <a:pt x="13806" y="15246"/>
                  </a:cubicBezTo>
                  <a:cubicBezTo>
                    <a:pt x="13763" y="15512"/>
                    <a:pt x="13752" y="15698"/>
                    <a:pt x="13752" y="15820"/>
                  </a:cubicBezTo>
                  <a:cubicBezTo>
                    <a:pt x="13752" y="15891"/>
                    <a:pt x="13756" y="15941"/>
                    <a:pt x="13760" y="15972"/>
                  </a:cubicBezTo>
                  <a:cubicBezTo>
                    <a:pt x="13761" y="15987"/>
                    <a:pt x="13763" y="15998"/>
                    <a:pt x="13764" y="16005"/>
                  </a:cubicBezTo>
                  <a:cubicBezTo>
                    <a:pt x="13765" y="16008"/>
                    <a:pt x="13765" y="16010"/>
                    <a:pt x="13766" y="16012"/>
                  </a:cubicBezTo>
                  <a:cubicBezTo>
                    <a:pt x="13766" y="16012"/>
                    <a:pt x="13766" y="16012"/>
                    <a:pt x="13766" y="16012"/>
                  </a:cubicBezTo>
                  <a:cubicBezTo>
                    <a:pt x="13766" y="16013"/>
                    <a:pt x="13766" y="16013"/>
                    <a:pt x="13766" y="16013"/>
                  </a:cubicBezTo>
                  <a:cubicBezTo>
                    <a:pt x="13766" y="16013"/>
                    <a:pt x="13766" y="16013"/>
                    <a:pt x="13766" y="16013"/>
                  </a:cubicBezTo>
                  <a:cubicBezTo>
                    <a:pt x="13767" y="16015"/>
                    <a:pt x="13767" y="16018"/>
                    <a:pt x="13767" y="16020"/>
                  </a:cubicBezTo>
                  <a:cubicBezTo>
                    <a:pt x="13768" y="16025"/>
                    <a:pt x="13768" y="16029"/>
                    <a:pt x="13767" y="16032"/>
                  </a:cubicBezTo>
                  <a:cubicBezTo>
                    <a:pt x="13768" y="16043"/>
                    <a:pt x="13771" y="16087"/>
                    <a:pt x="13776" y="16146"/>
                  </a:cubicBezTo>
                  <a:cubicBezTo>
                    <a:pt x="13779" y="16183"/>
                    <a:pt x="13783" y="16227"/>
                    <a:pt x="13787" y="16276"/>
                  </a:cubicBezTo>
                  <a:cubicBezTo>
                    <a:pt x="13805" y="16278"/>
                    <a:pt x="13805" y="16278"/>
                    <a:pt x="13805" y="16278"/>
                  </a:cubicBezTo>
                  <a:cubicBezTo>
                    <a:pt x="13879" y="16277"/>
                    <a:pt x="14153" y="16272"/>
                    <a:pt x="14505" y="16267"/>
                  </a:cubicBezTo>
                  <a:cubicBezTo>
                    <a:pt x="14502" y="16243"/>
                    <a:pt x="14493" y="16172"/>
                    <a:pt x="14493" y="16079"/>
                  </a:cubicBezTo>
                  <a:cubicBezTo>
                    <a:pt x="14493" y="15953"/>
                    <a:pt x="14510" y="15788"/>
                    <a:pt x="14584" y="15653"/>
                  </a:cubicBezTo>
                  <a:cubicBezTo>
                    <a:pt x="14652" y="15531"/>
                    <a:pt x="14693" y="15413"/>
                    <a:pt x="14717" y="15325"/>
                  </a:cubicBezTo>
                  <a:cubicBezTo>
                    <a:pt x="14729" y="15282"/>
                    <a:pt x="14737" y="15246"/>
                    <a:pt x="14742" y="15221"/>
                  </a:cubicBezTo>
                  <a:cubicBezTo>
                    <a:pt x="14747" y="15196"/>
                    <a:pt x="14749" y="15182"/>
                    <a:pt x="14749" y="15182"/>
                  </a:cubicBezTo>
                  <a:cubicBezTo>
                    <a:pt x="14750" y="15157"/>
                    <a:pt x="14783" y="14693"/>
                    <a:pt x="14827" y="14349"/>
                  </a:cubicBezTo>
                  <a:cubicBezTo>
                    <a:pt x="14870" y="14017"/>
                    <a:pt x="14948" y="13912"/>
                    <a:pt x="14961" y="13896"/>
                  </a:cubicBezTo>
                  <a:cubicBezTo>
                    <a:pt x="15021" y="13784"/>
                    <a:pt x="15187" y="13565"/>
                    <a:pt x="15295" y="13425"/>
                  </a:cubicBezTo>
                  <a:cubicBezTo>
                    <a:pt x="15340" y="13366"/>
                    <a:pt x="15371" y="13320"/>
                    <a:pt x="15390" y="13289"/>
                  </a:cubicBezTo>
                  <a:cubicBezTo>
                    <a:pt x="15409" y="13257"/>
                    <a:pt x="15417" y="13241"/>
                    <a:pt x="15417" y="13241"/>
                  </a:cubicBezTo>
                  <a:cubicBezTo>
                    <a:pt x="15429" y="13217"/>
                    <a:pt x="15429" y="13217"/>
                    <a:pt x="15429" y="13217"/>
                  </a:cubicBezTo>
                  <a:cubicBezTo>
                    <a:pt x="15432" y="13220"/>
                    <a:pt x="15432" y="13220"/>
                    <a:pt x="15432" y="13220"/>
                  </a:cubicBezTo>
                  <a:cubicBezTo>
                    <a:pt x="15432" y="13218"/>
                    <a:pt x="15433" y="13216"/>
                    <a:pt x="15433" y="13214"/>
                  </a:cubicBezTo>
                  <a:cubicBezTo>
                    <a:pt x="15414" y="13210"/>
                    <a:pt x="15399" y="13207"/>
                    <a:pt x="15391" y="13205"/>
                  </a:cubicBezTo>
                  <a:close/>
                  <a:moveTo>
                    <a:pt x="14206" y="12098"/>
                  </a:moveTo>
                  <a:cubicBezTo>
                    <a:pt x="14189" y="12100"/>
                    <a:pt x="14189" y="12100"/>
                    <a:pt x="14189" y="12100"/>
                  </a:cubicBezTo>
                  <a:cubicBezTo>
                    <a:pt x="11707" y="12794"/>
                    <a:pt x="11707" y="12794"/>
                    <a:pt x="11707" y="12794"/>
                  </a:cubicBezTo>
                  <a:cubicBezTo>
                    <a:pt x="11758" y="12852"/>
                    <a:pt x="11837" y="12932"/>
                    <a:pt x="11906" y="13000"/>
                  </a:cubicBezTo>
                  <a:cubicBezTo>
                    <a:pt x="11974" y="13067"/>
                    <a:pt x="12032" y="13123"/>
                    <a:pt x="12042" y="13131"/>
                  </a:cubicBezTo>
                  <a:cubicBezTo>
                    <a:pt x="12058" y="13142"/>
                    <a:pt x="12202" y="13231"/>
                    <a:pt x="12358" y="13327"/>
                  </a:cubicBezTo>
                  <a:cubicBezTo>
                    <a:pt x="12524" y="13428"/>
                    <a:pt x="12704" y="13536"/>
                    <a:pt x="12756" y="13559"/>
                  </a:cubicBezTo>
                  <a:cubicBezTo>
                    <a:pt x="12830" y="13590"/>
                    <a:pt x="12851" y="13632"/>
                    <a:pt x="12850" y="13661"/>
                  </a:cubicBezTo>
                  <a:cubicBezTo>
                    <a:pt x="12850" y="13674"/>
                    <a:pt x="12847" y="13683"/>
                    <a:pt x="12845" y="13687"/>
                  </a:cubicBezTo>
                  <a:cubicBezTo>
                    <a:pt x="12774" y="13890"/>
                    <a:pt x="12774" y="13890"/>
                    <a:pt x="12774" y="13890"/>
                  </a:cubicBezTo>
                  <a:cubicBezTo>
                    <a:pt x="12589" y="14175"/>
                    <a:pt x="12589" y="14175"/>
                    <a:pt x="12589" y="14175"/>
                  </a:cubicBezTo>
                  <a:cubicBezTo>
                    <a:pt x="12641" y="14413"/>
                    <a:pt x="12641" y="14413"/>
                    <a:pt x="12641" y="14413"/>
                  </a:cubicBezTo>
                  <a:cubicBezTo>
                    <a:pt x="12614" y="14408"/>
                    <a:pt x="12614" y="14408"/>
                    <a:pt x="12614" y="14408"/>
                  </a:cubicBezTo>
                  <a:cubicBezTo>
                    <a:pt x="12614" y="14408"/>
                    <a:pt x="12465" y="14381"/>
                    <a:pt x="12291" y="14349"/>
                  </a:cubicBezTo>
                  <a:cubicBezTo>
                    <a:pt x="12117" y="14318"/>
                    <a:pt x="11918" y="14283"/>
                    <a:pt x="11817" y="14268"/>
                  </a:cubicBezTo>
                  <a:cubicBezTo>
                    <a:pt x="11808" y="14266"/>
                    <a:pt x="11798" y="14266"/>
                    <a:pt x="11790" y="14266"/>
                  </a:cubicBezTo>
                  <a:cubicBezTo>
                    <a:pt x="11714" y="14266"/>
                    <a:pt x="11674" y="14319"/>
                    <a:pt x="11650" y="14378"/>
                  </a:cubicBezTo>
                  <a:cubicBezTo>
                    <a:pt x="11638" y="14407"/>
                    <a:pt x="11631" y="14437"/>
                    <a:pt x="11628" y="14460"/>
                  </a:cubicBezTo>
                  <a:cubicBezTo>
                    <a:pt x="11624" y="14479"/>
                    <a:pt x="11624" y="14492"/>
                    <a:pt x="11623" y="14495"/>
                  </a:cubicBezTo>
                  <a:cubicBezTo>
                    <a:pt x="11645" y="14878"/>
                    <a:pt x="11645" y="14878"/>
                    <a:pt x="11645" y="14878"/>
                  </a:cubicBezTo>
                  <a:cubicBezTo>
                    <a:pt x="11828" y="14964"/>
                    <a:pt x="11878" y="15091"/>
                    <a:pt x="11878" y="15195"/>
                  </a:cubicBezTo>
                  <a:cubicBezTo>
                    <a:pt x="11877" y="15297"/>
                    <a:pt x="11832" y="15375"/>
                    <a:pt x="11831" y="15377"/>
                  </a:cubicBezTo>
                  <a:cubicBezTo>
                    <a:pt x="11415" y="16174"/>
                    <a:pt x="11415" y="16174"/>
                    <a:pt x="11415" y="16174"/>
                  </a:cubicBezTo>
                  <a:cubicBezTo>
                    <a:pt x="11655" y="16370"/>
                    <a:pt x="11739" y="16556"/>
                    <a:pt x="11740" y="16557"/>
                  </a:cubicBezTo>
                  <a:cubicBezTo>
                    <a:pt x="11796" y="16689"/>
                    <a:pt x="11796" y="16689"/>
                    <a:pt x="11796" y="16689"/>
                  </a:cubicBezTo>
                  <a:cubicBezTo>
                    <a:pt x="11800" y="16687"/>
                    <a:pt x="11800" y="16687"/>
                    <a:pt x="11800" y="16687"/>
                  </a:cubicBezTo>
                  <a:cubicBezTo>
                    <a:pt x="11801" y="16687"/>
                    <a:pt x="11904" y="16648"/>
                    <a:pt x="12024" y="16601"/>
                  </a:cubicBezTo>
                  <a:cubicBezTo>
                    <a:pt x="12143" y="16554"/>
                    <a:pt x="12278" y="16499"/>
                    <a:pt x="12338" y="16469"/>
                  </a:cubicBezTo>
                  <a:cubicBezTo>
                    <a:pt x="12395" y="16440"/>
                    <a:pt x="12430" y="16422"/>
                    <a:pt x="12448" y="16401"/>
                  </a:cubicBezTo>
                  <a:cubicBezTo>
                    <a:pt x="12466" y="16380"/>
                    <a:pt x="12473" y="16354"/>
                    <a:pt x="12473" y="16297"/>
                  </a:cubicBezTo>
                  <a:cubicBezTo>
                    <a:pt x="12473" y="16289"/>
                    <a:pt x="12473" y="16280"/>
                    <a:pt x="12473" y="16271"/>
                  </a:cubicBezTo>
                  <a:cubicBezTo>
                    <a:pt x="12473" y="16269"/>
                    <a:pt x="12472" y="16266"/>
                    <a:pt x="12472" y="16264"/>
                  </a:cubicBezTo>
                  <a:cubicBezTo>
                    <a:pt x="12472" y="16190"/>
                    <a:pt x="12512" y="16142"/>
                    <a:pt x="12550" y="16116"/>
                  </a:cubicBezTo>
                  <a:cubicBezTo>
                    <a:pt x="12589" y="16090"/>
                    <a:pt x="12626" y="16082"/>
                    <a:pt x="12627" y="16082"/>
                  </a:cubicBezTo>
                  <a:cubicBezTo>
                    <a:pt x="12629" y="16081"/>
                    <a:pt x="12629" y="16081"/>
                    <a:pt x="12629" y="16081"/>
                  </a:cubicBezTo>
                  <a:cubicBezTo>
                    <a:pt x="13637" y="16048"/>
                    <a:pt x="13637" y="16048"/>
                    <a:pt x="13637" y="16048"/>
                  </a:cubicBezTo>
                  <a:cubicBezTo>
                    <a:pt x="13642" y="16047"/>
                    <a:pt x="13648" y="16045"/>
                    <a:pt x="13653" y="16044"/>
                  </a:cubicBezTo>
                  <a:cubicBezTo>
                    <a:pt x="13653" y="16040"/>
                    <a:pt x="13653" y="16035"/>
                    <a:pt x="13653" y="16032"/>
                  </a:cubicBezTo>
                  <a:cubicBezTo>
                    <a:pt x="13648" y="16009"/>
                    <a:pt x="13637" y="15943"/>
                    <a:pt x="13637" y="15820"/>
                  </a:cubicBezTo>
                  <a:cubicBezTo>
                    <a:pt x="13637" y="15691"/>
                    <a:pt x="13649" y="15499"/>
                    <a:pt x="13692" y="15228"/>
                  </a:cubicBezTo>
                  <a:cubicBezTo>
                    <a:pt x="13778" y="14685"/>
                    <a:pt x="14158" y="12392"/>
                    <a:pt x="14206" y="12098"/>
                  </a:cubicBezTo>
                  <a:close/>
                  <a:moveTo>
                    <a:pt x="13991" y="10009"/>
                  </a:moveTo>
                  <a:cubicBezTo>
                    <a:pt x="13941" y="9997"/>
                    <a:pt x="13892" y="9987"/>
                    <a:pt x="13846" y="9976"/>
                  </a:cubicBezTo>
                  <a:cubicBezTo>
                    <a:pt x="12690" y="10923"/>
                    <a:pt x="12690" y="10923"/>
                    <a:pt x="12690" y="10923"/>
                  </a:cubicBezTo>
                  <a:cubicBezTo>
                    <a:pt x="12666" y="10946"/>
                    <a:pt x="12127" y="11482"/>
                    <a:pt x="12032" y="11556"/>
                  </a:cubicBezTo>
                  <a:cubicBezTo>
                    <a:pt x="11966" y="11608"/>
                    <a:pt x="11916" y="11633"/>
                    <a:pt x="11890" y="11645"/>
                  </a:cubicBezTo>
                  <a:cubicBezTo>
                    <a:pt x="11915" y="11697"/>
                    <a:pt x="11995" y="11865"/>
                    <a:pt x="12075" y="12034"/>
                  </a:cubicBezTo>
                  <a:cubicBezTo>
                    <a:pt x="12123" y="12136"/>
                    <a:pt x="12172" y="12238"/>
                    <a:pt x="12209" y="12314"/>
                  </a:cubicBezTo>
                  <a:cubicBezTo>
                    <a:pt x="12220" y="12337"/>
                    <a:pt x="12230" y="12357"/>
                    <a:pt x="12274" y="12452"/>
                  </a:cubicBezTo>
                  <a:cubicBezTo>
                    <a:pt x="12241" y="12465"/>
                    <a:pt x="12241" y="12465"/>
                    <a:pt x="12241" y="12465"/>
                  </a:cubicBezTo>
                  <a:cubicBezTo>
                    <a:pt x="12119" y="12212"/>
                    <a:pt x="11898" y="11745"/>
                    <a:pt x="11856" y="11658"/>
                  </a:cubicBezTo>
                  <a:cubicBezTo>
                    <a:pt x="11770" y="11686"/>
                    <a:pt x="11324" y="11832"/>
                    <a:pt x="10887" y="11975"/>
                  </a:cubicBezTo>
                  <a:cubicBezTo>
                    <a:pt x="11165" y="12776"/>
                    <a:pt x="11165" y="12776"/>
                    <a:pt x="11165" y="12776"/>
                  </a:cubicBezTo>
                  <a:cubicBezTo>
                    <a:pt x="11131" y="12788"/>
                    <a:pt x="11131" y="12788"/>
                    <a:pt x="11131" y="12788"/>
                  </a:cubicBezTo>
                  <a:cubicBezTo>
                    <a:pt x="10853" y="11986"/>
                    <a:pt x="10853" y="11986"/>
                    <a:pt x="10853" y="11986"/>
                  </a:cubicBezTo>
                  <a:cubicBezTo>
                    <a:pt x="10486" y="12106"/>
                    <a:pt x="10133" y="12220"/>
                    <a:pt x="10015" y="12257"/>
                  </a:cubicBezTo>
                  <a:cubicBezTo>
                    <a:pt x="9959" y="12274"/>
                    <a:pt x="9904" y="12281"/>
                    <a:pt x="9850" y="12281"/>
                  </a:cubicBezTo>
                  <a:cubicBezTo>
                    <a:pt x="9661" y="12280"/>
                    <a:pt x="9499" y="12195"/>
                    <a:pt x="9453" y="12168"/>
                  </a:cubicBezTo>
                  <a:cubicBezTo>
                    <a:pt x="9397" y="12288"/>
                    <a:pt x="9397" y="12288"/>
                    <a:pt x="9397" y="12288"/>
                  </a:cubicBezTo>
                  <a:cubicBezTo>
                    <a:pt x="8749" y="13692"/>
                    <a:pt x="8749" y="13692"/>
                    <a:pt x="8749" y="13692"/>
                  </a:cubicBezTo>
                  <a:cubicBezTo>
                    <a:pt x="8760" y="13690"/>
                    <a:pt x="8760" y="13690"/>
                    <a:pt x="8760" y="13690"/>
                  </a:cubicBezTo>
                  <a:cubicBezTo>
                    <a:pt x="8761" y="13690"/>
                    <a:pt x="8761" y="13690"/>
                    <a:pt x="8761" y="13690"/>
                  </a:cubicBezTo>
                  <a:cubicBezTo>
                    <a:pt x="8761" y="13690"/>
                    <a:pt x="8774" y="13691"/>
                    <a:pt x="8797" y="13692"/>
                  </a:cubicBezTo>
                  <a:cubicBezTo>
                    <a:pt x="8796" y="13687"/>
                    <a:pt x="8796" y="13687"/>
                    <a:pt x="8796" y="13687"/>
                  </a:cubicBezTo>
                  <a:cubicBezTo>
                    <a:pt x="8796" y="13687"/>
                    <a:pt x="8796" y="13687"/>
                    <a:pt x="8796" y="13687"/>
                  </a:cubicBezTo>
                  <a:cubicBezTo>
                    <a:pt x="9685" y="13385"/>
                    <a:pt x="9685" y="13385"/>
                    <a:pt x="9685" y="13385"/>
                  </a:cubicBezTo>
                  <a:cubicBezTo>
                    <a:pt x="10991" y="12957"/>
                    <a:pt x="10991" y="12957"/>
                    <a:pt x="10991" y="12957"/>
                  </a:cubicBezTo>
                  <a:cubicBezTo>
                    <a:pt x="14213" y="12056"/>
                    <a:pt x="14213" y="12056"/>
                    <a:pt x="14213" y="12056"/>
                  </a:cubicBezTo>
                  <a:cubicBezTo>
                    <a:pt x="14215" y="12043"/>
                    <a:pt x="14215" y="12043"/>
                    <a:pt x="14215" y="12043"/>
                  </a:cubicBezTo>
                  <a:cubicBezTo>
                    <a:pt x="14236" y="12029"/>
                    <a:pt x="14236" y="12029"/>
                    <a:pt x="14236" y="12029"/>
                  </a:cubicBezTo>
                  <a:cubicBezTo>
                    <a:pt x="14236" y="12029"/>
                    <a:pt x="14238" y="12027"/>
                    <a:pt x="14243" y="12024"/>
                  </a:cubicBezTo>
                  <a:cubicBezTo>
                    <a:pt x="14278" y="12000"/>
                    <a:pt x="14432" y="11886"/>
                    <a:pt x="14532" y="11748"/>
                  </a:cubicBezTo>
                  <a:cubicBezTo>
                    <a:pt x="14590" y="11668"/>
                    <a:pt x="14637" y="11578"/>
                    <a:pt x="14669" y="11508"/>
                  </a:cubicBezTo>
                  <a:cubicBezTo>
                    <a:pt x="14685" y="11474"/>
                    <a:pt x="14697" y="11444"/>
                    <a:pt x="14705" y="11423"/>
                  </a:cubicBezTo>
                  <a:cubicBezTo>
                    <a:pt x="14714" y="11402"/>
                    <a:pt x="14718" y="11391"/>
                    <a:pt x="14718" y="11391"/>
                  </a:cubicBezTo>
                  <a:cubicBezTo>
                    <a:pt x="14720" y="11383"/>
                    <a:pt x="14720" y="11383"/>
                    <a:pt x="14720" y="11383"/>
                  </a:cubicBezTo>
                  <a:cubicBezTo>
                    <a:pt x="15013" y="10981"/>
                    <a:pt x="15013" y="10981"/>
                    <a:pt x="15013" y="10981"/>
                  </a:cubicBezTo>
                  <a:cubicBezTo>
                    <a:pt x="14994" y="10969"/>
                    <a:pt x="14962" y="10946"/>
                    <a:pt x="14917" y="10906"/>
                  </a:cubicBezTo>
                  <a:cubicBezTo>
                    <a:pt x="14895" y="10885"/>
                    <a:pt x="14859" y="10844"/>
                    <a:pt x="14810" y="10788"/>
                  </a:cubicBezTo>
                  <a:cubicBezTo>
                    <a:pt x="14666" y="10622"/>
                    <a:pt x="14436" y="10344"/>
                    <a:pt x="14436" y="10344"/>
                  </a:cubicBezTo>
                  <a:cubicBezTo>
                    <a:pt x="14431" y="10339"/>
                    <a:pt x="14431" y="10339"/>
                    <a:pt x="14431" y="10339"/>
                  </a:cubicBezTo>
                  <a:cubicBezTo>
                    <a:pt x="14428" y="10332"/>
                    <a:pt x="14428" y="10332"/>
                    <a:pt x="14428" y="10332"/>
                  </a:cubicBezTo>
                  <a:cubicBezTo>
                    <a:pt x="14428" y="10332"/>
                    <a:pt x="14428" y="10331"/>
                    <a:pt x="14426" y="10327"/>
                  </a:cubicBezTo>
                  <a:cubicBezTo>
                    <a:pt x="14411" y="10299"/>
                    <a:pt x="14336" y="10171"/>
                    <a:pt x="14219" y="10098"/>
                  </a:cubicBezTo>
                  <a:cubicBezTo>
                    <a:pt x="14152" y="10055"/>
                    <a:pt x="14071" y="10029"/>
                    <a:pt x="13991" y="10009"/>
                  </a:cubicBezTo>
                  <a:close/>
                  <a:moveTo>
                    <a:pt x="13339" y="9606"/>
                  </a:moveTo>
                  <a:cubicBezTo>
                    <a:pt x="13337" y="9581"/>
                    <a:pt x="13337" y="9581"/>
                    <a:pt x="13337" y="9581"/>
                  </a:cubicBezTo>
                  <a:cubicBezTo>
                    <a:pt x="13338" y="9555"/>
                    <a:pt x="13338" y="9555"/>
                    <a:pt x="13338" y="9555"/>
                  </a:cubicBezTo>
                  <a:cubicBezTo>
                    <a:pt x="13338" y="9555"/>
                    <a:pt x="13338" y="9555"/>
                    <a:pt x="13339" y="9554"/>
                  </a:cubicBezTo>
                  <a:cubicBezTo>
                    <a:pt x="13340" y="9549"/>
                    <a:pt x="13346" y="9523"/>
                    <a:pt x="13351" y="9492"/>
                  </a:cubicBezTo>
                  <a:cubicBezTo>
                    <a:pt x="13356" y="9457"/>
                    <a:pt x="13360" y="9412"/>
                    <a:pt x="13360" y="9366"/>
                  </a:cubicBezTo>
                  <a:cubicBezTo>
                    <a:pt x="13360" y="9315"/>
                    <a:pt x="13354" y="9263"/>
                    <a:pt x="13341" y="9222"/>
                  </a:cubicBezTo>
                  <a:cubicBezTo>
                    <a:pt x="13320" y="9160"/>
                    <a:pt x="13280" y="9106"/>
                    <a:pt x="13208" y="9056"/>
                  </a:cubicBezTo>
                  <a:cubicBezTo>
                    <a:pt x="13136" y="9006"/>
                    <a:pt x="13031" y="8963"/>
                    <a:pt x="12888" y="8928"/>
                  </a:cubicBezTo>
                  <a:cubicBezTo>
                    <a:pt x="12599" y="8859"/>
                    <a:pt x="12340" y="8850"/>
                    <a:pt x="12131" y="8841"/>
                  </a:cubicBezTo>
                  <a:cubicBezTo>
                    <a:pt x="12026" y="8836"/>
                    <a:pt x="11797" y="8822"/>
                    <a:pt x="11594" y="8808"/>
                  </a:cubicBezTo>
                  <a:cubicBezTo>
                    <a:pt x="11492" y="8802"/>
                    <a:pt x="11397" y="8795"/>
                    <a:pt x="11328" y="8791"/>
                  </a:cubicBezTo>
                  <a:cubicBezTo>
                    <a:pt x="11293" y="8788"/>
                    <a:pt x="11264" y="8786"/>
                    <a:pt x="11244" y="8785"/>
                  </a:cubicBezTo>
                  <a:cubicBezTo>
                    <a:pt x="11244" y="8785"/>
                    <a:pt x="11243" y="8785"/>
                    <a:pt x="11243" y="8785"/>
                  </a:cubicBezTo>
                  <a:cubicBezTo>
                    <a:pt x="11233" y="8806"/>
                    <a:pt x="11233" y="8806"/>
                    <a:pt x="11233" y="8806"/>
                  </a:cubicBezTo>
                  <a:cubicBezTo>
                    <a:pt x="11227" y="8895"/>
                    <a:pt x="11201" y="9079"/>
                    <a:pt x="11087" y="9199"/>
                  </a:cubicBezTo>
                  <a:cubicBezTo>
                    <a:pt x="10972" y="9321"/>
                    <a:pt x="10782" y="9493"/>
                    <a:pt x="10703" y="9564"/>
                  </a:cubicBezTo>
                  <a:cubicBezTo>
                    <a:pt x="10767" y="9607"/>
                    <a:pt x="10926" y="9712"/>
                    <a:pt x="11080" y="9813"/>
                  </a:cubicBezTo>
                  <a:cubicBezTo>
                    <a:pt x="11281" y="9944"/>
                    <a:pt x="11404" y="10050"/>
                    <a:pt x="11404" y="10051"/>
                  </a:cubicBezTo>
                  <a:cubicBezTo>
                    <a:pt x="11406" y="10052"/>
                    <a:pt x="11406" y="10052"/>
                    <a:pt x="11406" y="10052"/>
                  </a:cubicBezTo>
                  <a:cubicBezTo>
                    <a:pt x="11688" y="10407"/>
                    <a:pt x="11688" y="10407"/>
                    <a:pt x="11688" y="10407"/>
                  </a:cubicBezTo>
                  <a:cubicBezTo>
                    <a:pt x="11699" y="10401"/>
                    <a:pt x="11728" y="10381"/>
                    <a:pt x="11789" y="10328"/>
                  </a:cubicBezTo>
                  <a:cubicBezTo>
                    <a:pt x="11832" y="10290"/>
                    <a:pt x="11878" y="10278"/>
                    <a:pt x="11915" y="10278"/>
                  </a:cubicBezTo>
                  <a:cubicBezTo>
                    <a:pt x="11968" y="10278"/>
                    <a:pt x="12004" y="10301"/>
                    <a:pt x="12006" y="10302"/>
                  </a:cubicBezTo>
                  <a:cubicBezTo>
                    <a:pt x="12007" y="10303"/>
                    <a:pt x="12007" y="10303"/>
                    <a:pt x="12007" y="10303"/>
                  </a:cubicBezTo>
                  <a:cubicBezTo>
                    <a:pt x="12685" y="10875"/>
                    <a:pt x="12685" y="10875"/>
                    <a:pt x="12685" y="10875"/>
                  </a:cubicBezTo>
                  <a:cubicBezTo>
                    <a:pt x="12673" y="10890"/>
                    <a:pt x="12673" y="10890"/>
                    <a:pt x="12673" y="10890"/>
                  </a:cubicBezTo>
                  <a:cubicBezTo>
                    <a:pt x="13784" y="9980"/>
                    <a:pt x="13784" y="9980"/>
                    <a:pt x="13784" y="9980"/>
                  </a:cubicBezTo>
                  <a:cubicBezTo>
                    <a:pt x="13785" y="9975"/>
                    <a:pt x="13788" y="9967"/>
                    <a:pt x="13789" y="9960"/>
                  </a:cubicBezTo>
                  <a:cubicBezTo>
                    <a:pt x="13782" y="9958"/>
                    <a:pt x="13774" y="9956"/>
                    <a:pt x="13767" y="9954"/>
                  </a:cubicBezTo>
                  <a:cubicBezTo>
                    <a:pt x="13698" y="9930"/>
                    <a:pt x="13613" y="9878"/>
                    <a:pt x="13533" y="9816"/>
                  </a:cubicBezTo>
                  <a:cubicBezTo>
                    <a:pt x="13452" y="9752"/>
                    <a:pt x="13379" y="9681"/>
                    <a:pt x="13339" y="9606"/>
                  </a:cubicBezTo>
                  <a:close/>
                  <a:moveTo>
                    <a:pt x="15999" y="4718"/>
                  </a:moveTo>
                  <a:cubicBezTo>
                    <a:pt x="14058" y="5123"/>
                    <a:pt x="14058" y="5123"/>
                    <a:pt x="14058" y="5123"/>
                  </a:cubicBezTo>
                  <a:cubicBezTo>
                    <a:pt x="13574" y="5007"/>
                    <a:pt x="13574" y="5007"/>
                    <a:pt x="13574" y="5007"/>
                  </a:cubicBezTo>
                  <a:cubicBezTo>
                    <a:pt x="12887" y="4807"/>
                    <a:pt x="12887" y="4807"/>
                    <a:pt x="12887" y="4807"/>
                  </a:cubicBezTo>
                  <a:cubicBezTo>
                    <a:pt x="12788" y="4780"/>
                    <a:pt x="12634" y="4760"/>
                    <a:pt x="12507" y="4748"/>
                  </a:cubicBezTo>
                  <a:cubicBezTo>
                    <a:pt x="12413" y="4738"/>
                    <a:pt x="12334" y="4733"/>
                    <a:pt x="12298" y="4731"/>
                  </a:cubicBezTo>
                  <a:cubicBezTo>
                    <a:pt x="12298" y="4736"/>
                    <a:pt x="12298" y="4736"/>
                    <a:pt x="12298" y="4736"/>
                  </a:cubicBezTo>
                  <a:cubicBezTo>
                    <a:pt x="12294" y="4736"/>
                    <a:pt x="12294" y="4736"/>
                    <a:pt x="12294" y="4736"/>
                  </a:cubicBezTo>
                  <a:cubicBezTo>
                    <a:pt x="12295" y="4766"/>
                    <a:pt x="12299" y="4823"/>
                    <a:pt x="12299" y="4824"/>
                  </a:cubicBezTo>
                  <a:cubicBezTo>
                    <a:pt x="12299" y="4825"/>
                    <a:pt x="12299" y="4825"/>
                    <a:pt x="12299" y="4825"/>
                  </a:cubicBezTo>
                  <a:cubicBezTo>
                    <a:pt x="12024" y="6708"/>
                    <a:pt x="12024" y="6708"/>
                    <a:pt x="12024" y="6708"/>
                  </a:cubicBezTo>
                  <a:cubicBezTo>
                    <a:pt x="12024" y="6709"/>
                    <a:pt x="12007" y="6823"/>
                    <a:pt x="11961" y="6945"/>
                  </a:cubicBezTo>
                  <a:cubicBezTo>
                    <a:pt x="11948" y="6977"/>
                    <a:pt x="11934" y="7010"/>
                    <a:pt x="11917" y="7041"/>
                  </a:cubicBezTo>
                  <a:cubicBezTo>
                    <a:pt x="12035" y="7090"/>
                    <a:pt x="12067" y="7215"/>
                    <a:pt x="12067" y="7217"/>
                  </a:cubicBezTo>
                  <a:cubicBezTo>
                    <a:pt x="12532" y="8728"/>
                    <a:pt x="12532" y="8728"/>
                    <a:pt x="12532" y="8728"/>
                  </a:cubicBezTo>
                  <a:cubicBezTo>
                    <a:pt x="12532" y="8728"/>
                    <a:pt x="12533" y="8729"/>
                    <a:pt x="12533" y="8729"/>
                  </a:cubicBezTo>
                  <a:cubicBezTo>
                    <a:pt x="12541" y="8753"/>
                    <a:pt x="12541" y="8753"/>
                    <a:pt x="12541" y="8753"/>
                  </a:cubicBezTo>
                  <a:cubicBezTo>
                    <a:pt x="12658" y="8766"/>
                    <a:pt x="12783" y="8785"/>
                    <a:pt x="12914" y="8817"/>
                  </a:cubicBezTo>
                  <a:cubicBezTo>
                    <a:pt x="13066" y="8853"/>
                    <a:pt x="13184" y="8900"/>
                    <a:pt x="13273" y="8961"/>
                  </a:cubicBezTo>
                  <a:cubicBezTo>
                    <a:pt x="13348" y="9012"/>
                    <a:pt x="13401" y="9074"/>
                    <a:pt x="13434" y="9145"/>
                  </a:cubicBezTo>
                  <a:cubicBezTo>
                    <a:pt x="13497" y="9130"/>
                    <a:pt x="13629" y="9098"/>
                    <a:pt x="13762" y="9066"/>
                  </a:cubicBezTo>
                  <a:cubicBezTo>
                    <a:pt x="13854" y="9043"/>
                    <a:pt x="13947" y="9021"/>
                    <a:pt x="14018" y="9004"/>
                  </a:cubicBezTo>
                  <a:cubicBezTo>
                    <a:pt x="14053" y="8996"/>
                    <a:pt x="14083" y="8989"/>
                    <a:pt x="14105" y="8984"/>
                  </a:cubicBezTo>
                  <a:cubicBezTo>
                    <a:pt x="14116" y="8982"/>
                    <a:pt x="14125" y="8980"/>
                    <a:pt x="14132" y="8978"/>
                  </a:cubicBezTo>
                  <a:cubicBezTo>
                    <a:pt x="14135" y="8978"/>
                    <a:pt x="14138" y="8977"/>
                    <a:pt x="14140" y="8976"/>
                  </a:cubicBezTo>
                  <a:cubicBezTo>
                    <a:pt x="14143" y="8976"/>
                    <a:pt x="14143" y="8976"/>
                    <a:pt x="14148" y="8975"/>
                  </a:cubicBezTo>
                  <a:cubicBezTo>
                    <a:pt x="14161" y="8973"/>
                    <a:pt x="14224" y="8954"/>
                    <a:pt x="14306" y="8928"/>
                  </a:cubicBezTo>
                  <a:cubicBezTo>
                    <a:pt x="14391" y="8900"/>
                    <a:pt x="14499" y="8863"/>
                    <a:pt x="14614" y="8822"/>
                  </a:cubicBezTo>
                  <a:cubicBezTo>
                    <a:pt x="14729" y="8780"/>
                    <a:pt x="14956" y="8663"/>
                    <a:pt x="15153" y="8555"/>
                  </a:cubicBezTo>
                  <a:cubicBezTo>
                    <a:pt x="15252" y="8502"/>
                    <a:pt x="15344" y="8450"/>
                    <a:pt x="15414" y="8411"/>
                  </a:cubicBezTo>
                  <a:cubicBezTo>
                    <a:pt x="15448" y="8392"/>
                    <a:pt x="15477" y="8376"/>
                    <a:pt x="15498" y="8364"/>
                  </a:cubicBezTo>
                  <a:cubicBezTo>
                    <a:pt x="15509" y="8358"/>
                    <a:pt x="15518" y="8353"/>
                    <a:pt x="15524" y="8350"/>
                  </a:cubicBezTo>
                  <a:cubicBezTo>
                    <a:pt x="15532" y="8346"/>
                    <a:pt x="15535" y="8344"/>
                    <a:pt x="15541" y="8341"/>
                  </a:cubicBezTo>
                  <a:cubicBezTo>
                    <a:pt x="15555" y="8335"/>
                    <a:pt x="15594" y="8318"/>
                    <a:pt x="15629" y="8303"/>
                  </a:cubicBezTo>
                  <a:cubicBezTo>
                    <a:pt x="15629" y="8301"/>
                    <a:pt x="15628" y="8294"/>
                    <a:pt x="15628" y="8288"/>
                  </a:cubicBezTo>
                  <a:cubicBezTo>
                    <a:pt x="15617" y="8199"/>
                    <a:pt x="15593" y="8008"/>
                    <a:pt x="15566" y="7787"/>
                  </a:cubicBezTo>
                  <a:cubicBezTo>
                    <a:pt x="15528" y="7483"/>
                    <a:pt x="15483" y="7124"/>
                    <a:pt x="15455" y="6906"/>
                  </a:cubicBezTo>
                  <a:cubicBezTo>
                    <a:pt x="15442" y="6803"/>
                    <a:pt x="15436" y="6717"/>
                    <a:pt x="15436" y="6641"/>
                  </a:cubicBezTo>
                  <a:cubicBezTo>
                    <a:pt x="15436" y="6396"/>
                    <a:pt x="15499" y="6268"/>
                    <a:pt x="15574" y="6087"/>
                  </a:cubicBezTo>
                  <a:cubicBezTo>
                    <a:pt x="15676" y="5842"/>
                    <a:pt x="15938" y="5628"/>
                    <a:pt x="16017" y="5288"/>
                  </a:cubicBezTo>
                  <a:cubicBezTo>
                    <a:pt x="16039" y="5197"/>
                    <a:pt x="16047" y="5111"/>
                    <a:pt x="16047" y="5035"/>
                  </a:cubicBezTo>
                  <a:cubicBezTo>
                    <a:pt x="16047" y="4931"/>
                    <a:pt x="16032" y="4845"/>
                    <a:pt x="16018" y="4785"/>
                  </a:cubicBezTo>
                  <a:cubicBezTo>
                    <a:pt x="16011" y="4756"/>
                    <a:pt x="16004" y="4734"/>
                    <a:pt x="15999" y="4718"/>
                  </a:cubicBezTo>
                  <a:close/>
                  <a:moveTo>
                    <a:pt x="16063" y="1762"/>
                  </a:moveTo>
                  <a:cubicBezTo>
                    <a:pt x="15597" y="1868"/>
                    <a:pt x="15107" y="1907"/>
                    <a:pt x="14951" y="1935"/>
                  </a:cubicBezTo>
                  <a:cubicBezTo>
                    <a:pt x="14889" y="1946"/>
                    <a:pt x="14696" y="1949"/>
                    <a:pt x="14462" y="1949"/>
                  </a:cubicBezTo>
                  <a:cubicBezTo>
                    <a:pt x="14004" y="1949"/>
                    <a:pt x="13398" y="1936"/>
                    <a:pt x="13373" y="1935"/>
                  </a:cubicBezTo>
                  <a:cubicBezTo>
                    <a:pt x="13296" y="1939"/>
                    <a:pt x="13198" y="1939"/>
                    <a:pt x="13121" y="2025"/>
                  </a:cubicBezTo>
                  <a:cubicBezTo>
                    <a:pt x="13081" y="2071"/>
                    <a:pt x="13033" y="2135"/>
                    <a:pt x="12996" y="2187"/>
                  </a:cubicBezTo>
                  <a:cubicBezTo>
                    <a:pt x="12958" y="2240"/>
                    <a:pt x="12931" y="2281"/>
                    <a:pt x="12931" y="2281"/>
                  </a:cubicBezTo>
                  <a:cubicBezTo>
                    <a:pt x="12930" y="2282"/>
                    <a:pt x="12930" y="2282"/>
                    <a:pt x="12930" y="2282"/>
                  </a:cubicBezTo>
                  <a:cubicBezTo>
                    <a:pt x="12930" y="2282"/>
                    <a:pt x="12930" y="2282"/>
                    <a:pt x="12930" y="2282"/>
                  </a:cubicBezTo>
                  <a:cubicBezTo>
                    <a:pt x="12929" y="2282"/>
                    <a:pt x="12834" y="2400"/>
                    <a:pt x="12735" y="2523"/>
                  </a:cubicBezTo>
                  <a:cubicBezTo>
                    <a:pt x="12686" y="2584"/>
                    <a:pt x="12636" y="2647"/>
                    <a:pt x="12597" y="2697"/>
                  </a:cubicBezTo>
                  <a:cubicBezTo>
                    <a:pt x="12558" y="2747"/>
                    <a:pt x="12529" y="2787"/>
                    <a:pt x="12527" y="2793"/>
                  </a:cubicBezTo>
                  <a:cubicBezTo>
                    <a:pt x="12510" y="2830"/>
                    <a:pt x="12469" y="2925"/>
                    <a:pt x="12456" y="2955"/>
                  </a:cubicBezTo>
                  <a:cubicBezTo>
                    <a:pt x="12483" y="2967"/>
                    <a:pt x="12510" y="2983"/>
                    <a:pt x="12534" y="3006"/>
                  </a:cubicBezTo>
                  <a:cubicBezTo>
                    <a:pt x="12536" y="3007"/>
                    <a:pt x="12536" y="3007"/>
                    <a:pt x="12536" y="3007"/>
                  </a:cubicBezTo>
                  <a:cubicBezTo>
                    <a:pt x="13277" y="4135"/>
                    <a:pt x="13277" y="4135"/>
                    <a:pt x="13277" y="4135"/>
                  </a:cubicBezTo>
                  <a:cubicBezTo>
                    <a:pt x="13279" y="4137"/>
                    <a:pt x="13321" y="4201"/>
                    <a:pt x="13321" y="4309"/>
                  </a:cubicBezTo>
                  <a:cubicBezTo>
                    <a:pt x="13321" y="4367"/>
                    <a:pt x="13309" y="4438"/>
                    <a:pt x="13272" y="4517"/>
                  </a:cubicBezTo>
                  <a:cubicBezTo>
                    <a:pt x="13193" y="4684"/>
                    <a:pt x="13129" y="4790"/>
                    <a:pt x="13102" y="4832"/>
                  </a:cubicBezTo>
                  <a:cubicBezTo>
                    <a:pt x="13583" y="4972"/>
                    <a:pt x="13583" y="4972"/>
                    <a:pt x="13583" y="4972"/>
                  </a:cubicBezTo>
                  <a:cubicBezTo>
                    <a:pt x="14059" y="5086"/>
                    <a:pt x="14059" y="5086"/>
                    <a:pt x="14059" y="5086"/>
                  </a:cubicBezTo>
                  <a:cubicBezTo>
                    <a:pt x="15987" y="4684"/>
                    <a:pt x="15987" y="4684"/>
                    <a:pt x="15987" y="4684"/>
                  </a:cubicBezTo>
                  <a:cubicBezTo>
                    <a:pt x="15981" y="4684"/>
                    <a:pt x="15981" y="4684"/>
                    <a:pt x="15981" y="4684"/>
                  </a:cubicBezTo>
                  <a:cubicBezTo>
                    <a:pt x="15981" y="4684"/>
                    <a:pt x="15981" y="4684"/>
                    <a:pt x="15981" y="4684"/>
                  </a:cubicBezTo>
                  <a:cubicBezTo>
                    <a:pt x="15981" y="4684"/>
                    <a:pt x="15981" y="4684"/>
                    <a:pt x="15981" y="4684"/>
                  </a:cubicBezTo>
                  <a:cubicBezTo>
                    <a:pt x="15970" y="4630"/>
                    <a:pt x="15773" y="4005"/>
                    <a:pt x="15674" y="3534"/>
                  </a:cubicBezTo>
                  <a:cubicBezTo>
                    <a:pt x="15630" y="3326"/>
                    <a:pt x="15613" y="3118"/>
                    <a:pt x="15613" y="2932"/>
                  </a:cubicBezTo>
                  <a:cubicBezTo>
                    <a:pt x="15613" y="2673"/>
                    <a:pt x="15645" y="2455"/>
                    <a:pt x="15678" y="2333"/>
                  </a:cubicBezTo>
                  <a:cubicBezTo>
                    <a:pt x="15707" y="2224"/>
                    <a:pt x="15809" y="2076"/>
                    <a:pt x="15905" y="1951"/>
                  </a:cubicBezTo>
                  <a:cubicBezTo>
                    <a:pt x="15953" y="1890"/>
                    <a:pt x="15999" y="1834"/>
                    <a:pt x="16034" y="1794"/>
                  </a:cubicBezTo>
                  <a:cubicBezTo>
                    <a:pt x="16045" y="1782"/>
                    <a:pt x="16054" y="1771"/>
                    <a:pt x="16063" y="1762"/>
                  </a:cubicBezTo>
                  <a:close/>
                  <a:moveTo>
                    <a:pt x="11544" y="17077"/>
                  </a:moveTo>
                  <a:cubicBezTo>
                    <a:pt x="11544" y="17056"/>
                    <a:pt x="11544" y="17056"/>
                    <a:pt x="11544" y="17056"/>
                  </a:cubicBezTo>
                  <a:cubicBezTo>
                    <a:pt x="11507" y="17056"/>
                    <a:pt x="11507" y="17056"/>
                    <a:pt x="11507" y="17056"/>
                  </a:cubicBezTo>
                  <a:cubicBezTo>
                    <a:pt x="11508" y="17077"/>
                    <a:pt x="11508" y="17077"/>
                    <a:pt x="11508" y="17077"/>
                  </a:cubicBezTo>
                  <a:cubicBezTo>
                    <a:pt x="11508" y="17178"/>
                    <a:pt x="11540" y="17639"/>
                    <a:pt x="11638" y="17830"/>
                  </a:cubicBezTo>
                  <a:cubicBezTo>
                    <a:pt x="11679" y="17910"/>
                    <a:pt x="11714" y="17964"/>
                    <a:pt x="11741" y="18000"/>
                  </a:cubicBezTo>
                  <a:cubicBezTo>
                    <a:pt x="11787" y="18000"/>
                    <a:pt x="11787" y="18000"/>
                    <a:pt x="11787" y="18000"/>
                  </a:cubicBezTo>
                  <a:cubicBezTo>
                    <a:pt x="11760" y="17967"/>
                    <a:pt x="11720" y="17910"/>
                    <a:pt x="11670" y="17813"/>
                  </a:cubicBezTo>
                  <a:cubicBezTo>
                    <a:pt x="11578" y="17639"/>
                    <a:pt x="11543" y="17172"/>
                    <a:pt x="11544" y="17077"/>
                  </a:cubicBezTo>
                  <a:close/>
                  <a:moveTo>
                    <a:pt x="4350" y="14287"/>
                  </a:moveTo>
                  <a:cubicBezTo>
                    <a:pt x="4349" y="14287"/>
                    <a:pt x="4349" y="14287"/>
                    <a:pt x="4349" y="14287"/>
                  </a:cubicBezTo>
                  <a:cubicBezTo>
                    <a:pt x="4350" y="14287"/>
                    <a:pt x="4350" y="14287"/>
                    <a:pt x="4350" y="14287"/>
                  </a:cubicBezTo>
                  <a:close/>
                  <a:moveTo>
                    <a:pt x="1041" y="9601"/>
                  </a:moveTo>
                  <a:cubicBezTo>
                    <a:pt x="1041" y="9601"/>
                    <a:pt x="1041" y="9601"/>
                    <a:pt x="1041" y="9601"/>
                  </a:cubicBezTo>
                  <a:cubicBezTo>
                    <a:pt x="1041" y="9601"/>
                    <a:pt x="1041" y="9601"/>
                    <a:pt x="1041" y="960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gr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Hoofdstukdia met eigen foto (blauw)">
    <p:bg>
      <p:bgPr>
        <a:solidFill>
          <a:schemeClr val="bg1"/>
        </a:solidFill>
        <a:effectLst/>
      </p:bgPr>
    </p:bg>
    <p:spTree>
      <p:nvGrpSpPr>
        <p:cNvPr id="1" name=""/>
        <p:cNvGrpSpPr/>
        <p:nvPr/>
      </p:nvGrpSpPr>
      <p:grpSpPr>
        <a:xfrm>
          <a:off x="0" y="0"/>
          <a:ext cx="0" cy="0"/>
          <a:chOff x="0" y="0"/>
          <a:chExt cx="0" cy="0"/>
        </a:xfrm>
      </p:grpSpPr>
      <p:sp>
        <p:nvSpPr>
          <p:cNvPr id="7" name="Vrije vorm: vorm 9">
            <a:extLst>
              <a:ext uri="{FF2B5EF4-FFF2-40B4-BE49-F238E27FC236}">
                <a16:creationId xmlns:a16="http://schemas.microsoft.com/office/drawing/2014/main" id="{D4237D0C-6A65-43B0-9664-D5C08664B193}"/>
              </a:ext>
            </a:extLst>
          </p:cNvPr>
          <p:cNvSpPr>
            <a:spLocks noGrp="1" noSelect="1"/>
          </p:cNvSpPr>
          <p:nvPr>
            <p:ph type="body" idx="1000" hasCustomPrompt="1"/>
            <p:custDataLst>
              <p:custData r:id="rId1"/>
            </p:custDataLst>
          </p:nvPr>
        </p:nvSpPr>
        <p:spPr bwMode="gray">
          <a:xfrm>
            <a:off x="0" y="0"/>
            <a:ext cx="5780160" cy="6857999"/>
          </a:xfrm>
          <a:custGeom>
            <a:avLst/>
            <a:gdLst>
              <a:gd name="connsiteX0" fmla="*/ 0 w 5780088"/>
              <a:gd name="connsiteY0" fmla="*/ 0 h 6851650"/>
              <a:gd name="connsiteX1" fmla="*/ 4383088 w 5780088"/>
              <a:gd name="connsiteY1" fmla="*/ 0 h 6851650"/>
              <a:gd name="connsiteX2" fmla="*/ 5780088 w 5780088"/>
              <a:gd name="connsiteY2" fmla="*/ 0 h 6851650"/>
              <a:gd name="connsiteX3" fmla="*/ 5780088 w 5780088"/>
              <a:gd name="connsiteY3" fmla="*/ 5456238 h 6851650"/>
              <a:gd name="connsiteX4" fmla="*/ 5081588 w 5780088"/>
              <a:gd name="connsiteY4" fmla="*/ 6154738 h 6851650"/>
              <a:gd name="connsiteX5" fmla="*/ 5081588 w 5780088"/>
              <a:gd name="connsiteY5" fmla="*/ 6154738 h 6851650"/>
              <a:gd name="connsiteX6" fmla="*/ 4383088 w 5780088"/>
              <a:gd name="connsiteY6" fmla="*/ 6851650 h 6851650"/>
              <a:gd name="connsiteX7" fmla="*/ 0 w 5780088"/>
              <a:gd name="connsiteY7" fmla="*/ 6851650 h 6851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80088" h="6851650">
                <a:moveTo>
                  <a:pt x="0" y="0"/>
                </a:moveTo>
                <a:lnTo>
                  <a:pt x="4383088" y="0"/>
                </a:lnTo>
                <a:lnTo>
                  <a:pt x="5780088" y="0"/>
                </a:lnTo>
                <a:lnTo>
                  <a:pt x="5780088" y="5456238"/>
                </a:lnTo>
                <a:lnTo>
                  <a:pt x="5081588" y="6154738"/>
                </a:lnTo>
                <a:lnTo>
                  <a:pt x="5081588" y="6154738"/>
                </a:lnTo>
                <a:lnTo>
                  <a:pt x="4383088" y="6851650"/>
                </a:lnTo>
                <a:lnTo>
                  <a:pt x="0" y="6851650"/>
                </a:lnTo>
                <a:close/>
              </a:path>
            </a:pathLst>
          </a:custGeom>
          <a:solidFill>
            <a:srgbClr val="78BDDE"/>
          </a:solidFill>
          <a:ln>
            <a:noFill/>
          </a:ln>
        </p:spPr>
        <p:txBody>
          <a:bodyPr vert="horz" wrap="square" lIns="91440" tIns="45720" rIns="91440" bIns="45720" numCol="1" anchor="t" anchorCtr="0" compatLnSpc="1">
            <a:prstTxWarp prst="textNoShape">
              <a:avLst/>
            </a:prstTxWarp>
            <a:noAutofit/>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8" name="Tijdelijke aanduiding voor afbeelding 17">
            <a:extLst>
              <a:ext uri="{FF2B5EF4-FFF2-40B4-BE49-F238E27FC236}">
                <a16:creationId xmlns:a16="http://schemas.microsoft.com/office/drawing/2014/main" id="{CCEA4C94-9671-4803-ADEE-73024B5AC58D}"/>
              </a:ext>
            </a:extLst>
          </p:cNvPr>
          <p:cNvSpPr>
            <a:spLocks noGrp="1" noSelect="1"/>
          </p:cNvSpPr>
          <p:nvPr>
            <p:ph type="pic" idx="13" hasCustomPrompt="1"/>
          </p:nvPr>
        </p:nvSpPr>
        <p:spPr bwMode="gray">
          <a:xfrm>
            <a:off x="4383000" y="0"/>
            <a:ext cx="7812000" cy="6857999"/>
          </a:xfrm>
          <a:custGeom>
            <a:avLst/>
            <a:gdLst>
              <a:gd name="connsiteX0" fmla="*/ 0 w 7812000"/>
              <a:gd name="connsiteY0" fmla="*/ 0 h 6851520"/>
              <a:gd name="connsiteX1" fmla="*/ 7812000 w 7812000"/>
              <a:gd name="connsiteY1" fmla="*/ 0 h 6851520"/>
              <a:gd name="connsiteX2" fmla="*/ 7812000 w 7812000"/>
              <a:gd name="connsiteY2" fmla="*/ 6851520 h 6851520"/>
              <a:gd name="connsiteX3" fmla="*/ 1396847 w 7812000"/>
              <a:gd name="connsiteY3" fmla="*/ 6851520 h 6851520"/>
              <a:gd name="connsiteX4" fmla="*/ 698413 w 7812000"/>
              <a:gd name="connsiteY4" fmla="*/ 6154673 h 6851520"/>
              <a:gd name="connsiteX5" fmla="*/ 698412 w 7812000"/>
              <a:gd name="connsiteY5" fmla="*/ 6154673 h 6851520"/>
              <a:gd name="connsiteX6" fmla="*/ 0 w 7812000"/>
              <a:gd name="connsiteY6" fmla="*/ 5456261 h 6851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12000" h="6851520">
                <a:moveTo>
                  <a:pt x="0" y="0"/>
                </a:moveTo>
                <a:lnTo>
                  <a:pt x="7812000" y="0"/>
                </a:lnTo>
                <a:lnTo>
                  <a:pt x="7812000" y="6851520"/>
                </a:lnTo>
                <a:lnTo>
                  <a:pt x="1396847" y="6851520"/>
                </a:lnTo>
                <a:lnTo>
                  <a:pt x="698413" y="6154673"/>
                </a:lnTo>
                <a:lnTo>
                  <a:pt x="698412" y="6154673"/>
                </a:lnTo>
                <a:lnTo>
                  <a:pt x="0" y="5456261"/>
                </a:lnTo>
                <a:close/>
              </a:path>
            </a:pathLst>
          </a:custGeom>
          <a:noFill/>
        </p:spPr>
        <p:txBody>
          <a:bodyPr wrap="square" anchor="ctr" anchorCtr="1">
            <a:noAutofit/>
          </a:bodyPr>
          <a:lstStyle>
            <a:lvl1pPr marL="270108" indent="-270108" algn="l" defTabSz="1088937" rtl="0" eaLnBrk="1" latinLnBrk="0" hangingPunct="1">
              <a:spcBef>
                <a:spcPts val="0"/>
              </a:spcBef>
              <a:buFont typeface="Arial" pitchFamily="34" charset="0"/>
              <a:buNone/>
              <a:defRPr/>
            </a:lvl1pPr>
          </a:lstStyle>
          <a:p>
            <a:r>
              <a:rPr lang="nl-NL" dirty="0"/>
              <a:t>[Klik op icoon en voeg afbeelding in]</a:t>
            </a:r>
          </a:p>
        </p:txBody>
      </p:sp>
      <p:sp>
        <p:nvSpPr>
          <p:cNvPr id="9" name="Freeform 7 (PHJU)">
            <a:extLst>
              <a:ext uri="{FF2B5EF4-FFF2-40B4-BE49-F238E27FC236}">
                <a16:creationId xmlns:a16="http://schemas.microsoft.com/office/drawing/2014/main" id="{B28D01B1-372B-4C4F-8C07-4CB2BF8A6902}"/>
              </a:ext>
            </a:extLst>
          </p:cNvPr>
          <p:cNvSpPr>
            <a:spLocks noGrp="1" noSelect="1"/>
          </p:cNvSpPr>
          <p:nvPr>
            <p:ph type="body" idx="1001" hasCustomPrompt="1"/>
            <p:custDataLst>
              <p:custData r:id="rId2"/>
            </p:custDataLst>
          </p:nvPr>
        </p:nvSpPr>
        <p:spPr bwMode="gray">
          <a:xfrm>
            <a:off x="4383360" y="-1"/>
            <a:ext cx="1397160" cy="6163200"/>
          </a:xfrm>
          <a:custGeom>
            <a:avLst/>
            <a:gdLst>
              <a:gd name="T0" fmla="*/ 880 w 880"/>
              <a:gd name="T1" fmla="*/ 0 h 3877"/>
              <a:gd name="T2" fmla="*/ 880 w 880"/>
              <a:gd name="T3" fmla="*/ 3437 h 3877"/>
              <a:gd name="T4" fmla="*/ 440 w 880"/>
              <a:gd name="T5" fmla="*/ 3877 h 3877"/>
              <a:gd name="T6" fmla="*/ 0 w 880"/>
              <a:gd name="T7" fmla="*/ 3437 h 3877"/>
              <a:gd name="T8" fmla="*/ 0 w 880"/>
              <a:gd name="T9" fmla="*/ 0 h 3877"/>
              <a:gd name="T10" fmla="*/ 880 w 880"/>
              <a:gd name="T11" fmla="*/ 0 h 3877"/>
            </a:gdLst>
            <a:ahLst/>
            <a:cxnLst>
              <a:cxn ang="0">
                <a:pos x="T0" y="T1"/>
              </a:cxn>
              <a:cxn ang="0">
                <a:pos x="T2" y="T3"/>
              </a:cxn>
              <a:cxn ang="0">
                <a:pos x="T4" y="T5"/>
              </a:cxn>
              <a:cxn ang="0">
                <a:pos x="T6" y="T7"/>
              </a:cxn>
              <a:cxn ang="0">
                <a:pos x="T8" y="T9"/>
              </a:cxn>
              <a:cxn ang="0">
                <a:pos x="T10" y="T11"/>
              </a:cxn>
            </a:cxnLst>
            <a:rect l="0" t="0" r="r" b="b"/>
            <a:pathLst>
              <a:path w="880" h="3877">
                <a:moveTo>
                  <a:pt x="880" y="0"/>
                </a:moveTo>
                <a:lnTo>
                  <a:pt x="880" y="3437"/>
                </a:lnTo>
                <a:lnTo>
                  <a:pt x="440" y="3877"/>
                </a:lnTo>
                <a:lnTo>
                  <a:pt x="0" y="3437"/>
                </a:lnTo>
                <a:lnTo>
                  <a:pt x="0" y="0"/>
                </a:lnTo>
                <a:lnTo>
                  <a:pt x="880" y="0"/>
                </a:lnTo>
                <a:close/>
              </a:path>
            </a:pathLst>
          </a:custGeom>
          <a:solidFill>
            <a:srgbClr val="58525A">
              <a:alpha val="80000"/>
            </a:srgbClr>
          </a:solidFill>
          <a:ln>
            <a:noFill/>
          </a:ln>
        </p:spPr>
        <p:txBody>
          <a:bodyPr vert="horz" wrap="square" lIns="91440" tIns="45720" rIns="91440" bIns="45720" numCol="1" anchor="t" anchorCtr="0" compatLnSpc="1">
            <a:prstTxWarp prst="textNoShape">
              <a:avLst/>
            </a:prstTxWarp>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10" name="Freeform 7 (PHJU)">
            <a:extLst>
              <a:ext uri="{FF2B5EF4-FFF2-40B4-BE49-F238E27FC236}">
                <a16:creationId xmlns:a16="http://schemas.microsoft.com/office/drawing/2014/main" id="{8D989C93-92A0-4CE2-973E-E7F07F49A001}"/>
              </a:ext>
            </a:extLst>
          </p:cNvPr>
          <p:cNvSpPr>
            <a:spLocks noGrp="1" noSelect="1"/>
          </p:cNvSpPr>
          <p:nvPr>
            <p:ph type="body" idx="1003" hasCustomPrompt="1"/>
            <p:custDataLst>
              <p:custData r:id="rId3"/>
            </p:custDataLst>
          </p:nvPr>
        </p:nvSpPr>
        <p:spPr bwMode="gray">
          <a:xfrm>
            <a:off x="4381920" y="0"/>
            <a:ext cx="1397160" cy="6171840"/>
          </a:xfrm>
          <a:custGeom>
            <a:avLst/>
            <a:gdLst>
              <a:gd name="T0" fmla="*/ 880 w 880"/>
              <a:gd name="T1" fmla="*/ 0 h 3877"/>
              <a:gd name="T2" fmla="*/ 880 w 880"/>
              <a:gd name="T3" fmla="*/ 3437 h 3877"/>
              <a:gd name="T4" fmla="*/ 440 w 880"/>
              <a:gd name="T5" fmla="*/ 3877 h 3877"/>
              <a:gd name="T6" fmla="*/ 0 w 880"/>
              <a:gd name="T7" fmla="*/ 3437 h 3877"/>
              <a:gd name="T8" fmla="*/ 0 w 880"/>
              <a:gd name="T9" fmla="*/ 0 h 3877"/>
              <a:gd name="T10" fmla="*/ 880 w 880"/>
              <a:gd name="T11" fmla="*/ 0 h 3877"/>
            </a:gdLst>
            <a:ahLst/>
            <a:cxnLst>
              <a:cxn ang="0">
                <a:pos x="T0" y="T1"/>
              </a:cxn>
              <a:cxn ang="0">
                <a:pos x="T2" y="T3"/>
              </a:cxn>
              <a:cxn ang="0">
                <a:pos x="T4" y="T5"/>
              </a:cxn>
              <a:cxn ang="0">
                <a:pos x="T6" y="T7"/>
              </a:cxn>
              <a:cxn ang="0">
                <a:pos x="T8" y="T9"/>
              </a:cxn>
              <a:cxn ang="0">
                <a:pos x="T10" y="T11"/>
              </a:cxn>
            </a:cxnLst>
            <a:rect l="0" t="0" r="r" b="b"/>
            <a:pathLst>
              <a:path w="880" h="3877">
                <a:moveTo>
                  <a:pt x="880" y="0"/>
                </a:moveTo>
                <a:lnTo>
                  <a:pt x="880" y="3437"/>
                </a:lnTo>
                <a:lnTo>
                  <a:pt x="440" y="3877"/>
                </a:lnTo>
                <a:lnTo>
                  <a:pt x="0" y="3437"/>
                </a:lnTo>
                <a:lnTo>
                  <a:pt x="0" y="0"/>
                </a:lnTo>
                <a:lnTo>
                  <a:pt x="880" y="0"/>
                </a:lnTo>
                <a:close/>
              </a:path>
            </a:pathLst>
          </a:custGeom>
          <a:solidFill>
            <a:srgbClr val="78BDDE">
              <a:alpha val="80000"/>
            </a:srgbClr>
          </a:solidFill>
          <a:ln>
            <a:noFill/>
          </a:ln>
        </p:spPr>
        <p:txBody>
          <a:bodyPr vert="horz" wrap="square" lIns="91440" tIns="45720" rIns="91440" bIns="45720" numCol="1" anchor="t" anchorCtr="0" compatLnSpc="1">
            <a:prstTxWarp prst="textNoShape">
              <a:avLst/>
            </a:prstTxWarp>
          </a:bodyPr>
          <a:lstStyle>
            <a:lvl1pPr marL="270108" indent="-270108" algn="l" defTabSz="1088937" rtl="0" eaLnBrk="1" latinLnBrk="0" hangingPunct="1">
              <a:spcBef>
                <a:spcPts val="0"/>
              </a:spcBef>
              <a:buFont typeface="Arial" pitchFamily="34" charset="0"/>
              <a:buNone/>
              <a:defRPr/>
            </a:lvl1pPr>
          </a:lstStyle>
          <a:p>
            <a:r>
              <a:rPr lang="nl-NL" dirty="0"/>
              <a:t> </a:t>
            </a:r>
          </a:p>
        </p:txBody>
      </p:sp>
      <p:sp>
        <p:nvSpPr>
          <p:cNvPr id="13" name="Logo (PHJU)">
            <a:extLst>
              <a:ext uri="{FF2B5EF4-FFF2-40B4-BE49-F238E27FC236}">
                <a16:creationId xmlns:a16="http://schemas.microsoft.com/office/drawing/2014/main" id="{86FE5542-5787-4DBC-AD23-6C2E6214DE2A}"/>
              </a:ext>
            </a:extLst>
          </p:cNvPr>
          <p:cNvSpPr>
            <a:spLocks noGrp="1" noSelect="1"/>
          </p:cNvSpPr>
          <p:nvPr userDrawn="1">
            <p:ph type="body" idx="1002" hasCustomPrompt="1"/>
            <p:custDataLst>
              <p:custData r:id="rId4"/>
            </p:custDataLst>
          </p:nvPr>
        </p:nvSpPr>
        <p:spPr bwMode="gray">
          <a:xfrm>
            <a:off x="638175" y="6030913"/>
            <a:ext cx="2481263" cy="508000"/>
          </a:xfrm>
          <a:custGeom>
            <a:avLst/>
            <a:gdLst>
              <a:gd name="T0" fmla="*/ 1692 w 7817"/>
              <a:gd name="T1" fmla="*/ 0 h 1604"/>
              <a:gd name="T2" fmla="*/ 1692 w 7817"/>
              <a:gd name="T3" fmla="*/ 525 h 1604"/>
              <a:gd name="T4" fmla="*/ 2362 w 7817"/>
              <a:gd name="T5" fmla="*/ 330 h 1604"/>
              <a:gd name="T6" fmla="*/ 2557 w 7817"/>
              <a:gd name="T7" fmla="*/ 729 h 1604"/>
              <a:gd name="T8" fmla="*/ 3512 w 7817"/>
              <a:gd name="T9" fmla="*/ 0 h 1604"/>
              <a:gd name="T10" fmla="*/ 3421 w 7817"/>
              <a:gd name="T11" fmla="*/ 525 h 1604"/>
              <a:gd name="T12" fmla="*/ 5552 w 7817"/>
              <a:gd name="T13" fmla="*/ 1512 h 1604"/>
              <a:gd name="T14" fmla="*/ 5558 w 7817"/>
              <a:gd name="T15" fmla="*/ 1482 h 1604"/>
              <a:gd name="T16" fmla="*/ 5876 w 7817"/>
              <a:gd name="T17" fmla="*/ 1472 h 1604"/>
              <a:gd name="T18" fmla="*/ 5792 w 7817"/>
              <a:gd name="T19" fmla="*/ 1341 h 1604"/>
              <a:gd name="T20" fmla="*/ 5942 w 7817"/>
              <a:gd name="T21" fmla="*/ 1317 h 1604"/>
              <a:gd name="T22" fmla="*/ 6271 w 7817"/>
              <a:gd name="T23" fmla="*/ 1454 h 1604"/>
              <a:gd name="T24" fmla="*/ 6267 w 7817"/>
              <a:gd name="T25" fmla="*/ 1395 h 1604"/>
              <a:gd name="T26" fmla="*/ 6433 w 7817"/>
              <a:gd name="T27" fmla="*/ 1412 h 1604"/>
              <a:gd name="T28" fmla="*/ 6534 w 7817"/>
              <a:gd name="T29" fmla="*/ 1482 h 1604"/>
              <a:gd name="T30" fmla="*/ 6713 w 7817"/>
              <a:gd name="T31" fmla="*/ 1473 h 1604"/>
              <a:gd name="T32" fmla="*/ 6847 w 7817"/>
              <a:gd name="T33" fmla="*/ 1412 h 1604"/>
              <a:gd name="T34" fmla="*/ 7086 w 7817"/>
              <a:gd name="T35" fmla="*/ 1507 h 1604"/>
              <a:gd name="T36" fmla="*/ 6925 w 7817"/>
              <a:gd name="T37" fmla="*/ 1317 h 1604"/>
              <a:gd name="T38" fmla="*/ 7356 w 7817"/>
              <a:gd name="T39" fmla="*/ 1312 h 1604"/>
              <a:gd name="T40" fmla="*/ 7446 w 7817"/>
              <a:gd name="T41" fmla="*/ 1411 h 1604"/>
              <a:gd name="T42" fmla="*/ 7625 w 7817"/>
              <a:gd name="T43" fmla="*/ 1507 h 1604"/>
              <a:gd name="T44" fmla="*/ 7519 w 7817"/>
              <a:gd name="T45" fmla="*/ 1317 h 1604"/>
              <a:gd name="T46" fmla="*/ 7728 w 7817"/>
              <a:gd name="T47" fmla="*/ 1343 h 1604"/>
              <a:gd name="T48" fmla="*/ 7815 w 7817"/>
              <a:gd name="T49" fmla="*/ 1343 h 1604"/>
              <a:gd name="T50" fmla="*/ 3773 w 7817"/>
              <a:gd name="T51" fmla="*/ 1344 h 1604"/>
              <a:gd name="T52" fmla="*/ 3942 w 7817"/>
              <a:gd name="T53" fmla="*/ 1412 h 1604"/>
              <a:gd name="T54" fmla="*/ 4091 w 7817"/>
              <a:gd name="T55" fmla="*/ 1314 h 1604"/>
              <a:gd name="T56" fmla="*/ 4013 w 7817"/>
              <a:gd name="T57" fmla="*/ 1317 h 1604"/>
              <a:gd name="T58" fmla="*/ 4206 w 7817"/>
              <a:gd name="T59" fmla="*/ 1312 h 1604"/>
              <a:gd name="T60" fmla="*/ 4384 w 7817"/>
              <a:gd name="T61" fmla="*/ 1344 h 1604"/>
              <a:gd name="T62" fmla="*/ 4553 w 7817"/>
              <a:gd name="T63" fmla="*/ 1412 h 1604"/>
              <a:gd name="T64" fmla="*/ 4588 w 7817"/>
              <a:gd name="T65" fmla="*/ 1412 h 1604"/>
              <a:gd name="T66" fmla="*/ 4686 w 7817"/>
              <a:gd name="T67" fmla="*/ 1312 h 1604"/>
              <a:gd name="T68" fmla="*/ 4916 w 7817"/>
              <a:gd name="T69" fmla="*/ 1343 h 1604"/>
              <a:gd name="T70" fmla="*/ 4858 w 7817"/>
              <a:gd name="T71" fmla="*/ 1348 h 1604"/>
              <a:gd name="T72" fmla="*/ 4963 w 7817"/>
              <a:gd name="T73" fmla="*/ 1317 h 1604"/>
              <a:gd name="T74" fmla="*/ 5036 w 7817"/>
              <a:gd name="T75" fmla="*/ 1439 h 1604"/>
              <a:gd name="T76" fmla="*/ 5129 w 7817"/>
              <a:gd name="T77" fmla="*/ 1572 h 1604"/>
              <a:gd name="T78" fmla="*/ 5274 w 7817"/>
              <a:gd name="T79" fmla="*/ 1317 h 1604"/>
              <a:gd name="T80" fmla="*/ 1632 w 7817"/>
              <a:gd name="T81" fmla="*/ 1473 h 1604"/>
              <a:gd name="T82" fmla="*/ 1767 w 7817"/>
              <a:gd name="T83" fmla="*/ 1412 h 1604"/>
              <a:gd name="T84" fmla="*/ 1866 w 7817"/>
              <a:gd name="T85" fmla="*/ 1412 h 1604"/>
              <a:gd name="T86" fmla="*/ 2208 w 7817"/>
              <a:gd name="T87" fmla="*/ 1476 h 1604"/>
              <a:gd name="T88" fmla="*/ 2206 w 7817"/>
              <a:gd name="T89" fmla="*/ 1317 h 1604"/>
              <a:gd name="T90" fmla="*/ 2632 w 7817"/>
              <a:gd name="T91" fmla="*/ 1507 h 1604"/>
              <a:gd name="T92" fmla="*/ 2414 w 7817"/>
              <a:gd name="T93" fmla="*/ 1361 h 1604"/>
              <a:gd name="T94" fmla="*/ 2433 w 7817"/>
              <a:gd name="T95" fmla="*/ 1317 h 1604"/>
              <a:gd name="T96" fmla="*/ 2668 w 7817"/>
              <a:gd name="T97" fmla="*/ 1195 h 1604"/>
              <a:gd name="T98" fmla="*/ 2893 w 7817"/>
              <a:gd name="T99" fmla="*/ 1412 h 1604"/>
              <a:gd name="T100" fmla="*/ 3097 w 7817"/>
              <a:gd name="T101" fmla="*/ 1507 h 1604"/>
              <a:gd name="T102" fmla="*/ 2930 w 7817"/>
              <a:gd name="T103" fmla="*/ 1317 h 1604"/>
              <a:gd name="T104" fmla="*/ 3238 w 7817"/>
              <a:gd name="T105" fmla="*/ 1312 h 1604"/>
              <a:gd name="T106" fmla="*/ 3307 w 7817"/>
              <a:gd name="T107" fmla="*/ 1200 h 1604"/>
              <a:gd name="T108" fmla="*/ 3454 w 7817"/>
              <a:gd name="T109" fmla="*/ 1512 h 1604"/>
              <a:gd name="T110" fmla="*/ 3523 w 7817"/>
              <a:gd name="T111" fmla="*/ 1346 h 1604"/>
              <a:gd name="T112" fmla="*/ 0 w 7817"/>
              <a:gd name="T113" fmla="*/ 403 h 1604"/>
              <a:gd name="T114" fmla="*/ 814 w 7817"/>
              <a:gd name="T115" fmla="*/ 386 h 1604"/>
              <a:gd name="T116" fmla="*/ 50 w 7817"/>
              <a:gd name="T117" fmla="*/ 403 h 1604"/>
              <a:gd name="T118" fmla="*/ 218 w 7817"/>
              <a:gd name="T119" fmla="*/ 621 h 1604"/>
              <a:gd name="T120" fmla="*/ 1165 w 7817"/>
              <a:gd name="T121" fmla="*/ 420 h 1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17" h="1604">
                <a:moveTo>
                  <a:pt x="1692" y="702"/>
                </a:moveTo>
                <a:cubicBezTo>
                  <a:pt x="1694" y="702"/>
                  <a:pt x="1694" y="702"/>
                  <a:pt x="1694" y="702"/>
                </a:cubicBezTo>
                <a:cubicBezTo>
                  <a:pt x="1728" y="764"/>
                  <a:pt x="1807" y="814"/>
                  <a:pt x="1905" y="814"/>
                </a:cubicBezTo>
                <a:cubicBezTo>
                  <a:pt x="2059" y="814"/>
                  <a:pt x="2180" y="689"/>
                  <a:pt x="2180" y="525"/>
                </a:cubicBezTo>
                <a:cubicBezTo>
                  <a:pt x="2180" y="358"/>
                  <a:pt x="2064" y="236"/>
                  <a:pt x="1891" y="236"/>
                </a:cubicBezTo>
                <a:cubicBezTo>
                  <a:pt x="1812" y="236"/>
                  <a:pt x="1745" y="271"/>
                  <a:pt x="1694" y="330"/>
                </a:cubicBezTo>
                <a:cubicBezTo>
                  <a:pt x="1692" y="330"/>
                  <a:pt x="1692" y="330"/>
                  <a:pt x="1692" y="330"/>
                </a:cubicBezTo>
                <a:cubicBezTo>
                  <a:pt x="1692" y="0"/>
                  <a:pt x="1692" y="0"/>
                  <a:pt x="1692" y="0"/>
                </a:cubicBezTo>
                <a:cubicBezTo>
                  <a:pt x="1600" y="0"/>
                  <a:pt x="1600" y="0"/>
                  <a:pt x="1600" y="0"/>
                </a:cubicBezTo>
                <a:cubicBezTo>
                  <a:pt x="1600" y="799"/>
                  <a:pt x="1600" y="799"/>
                  <a:pt x="1600" y="799"/>
                </a:cubicBezTo>
                <a:cubicBezTo>
                  <a:pt x="1692" y="799"/>
                  <a:pt x="1692" y="799"/>
                  <a:pt x="1692" y="799"/>
                </a:cubicBezTo>
                <a:lnTo>
                  <a:pt x="1692" y="702"/>
                </a:lnTo>
                <a:close/>
                <a:moveTo>
                  <a:pt x="1887" y="320"/>
                </a:moveTo>
                <a:cubicBezTo>
                  <a:pt x="2005" y="320"/>
                  <a:pt x="2082" y="410"/>
                  <a:pt x="2082" y="525"/>
                </a:cubicBezTo>
                <a:cubicBezTo>
                  <a:pt x="2082" y="640"/>
                  <a:pt x="2005" y="729"/>
                  <a:pt x="1887" y="729"/>
                </a:cubicBezTo>
                <a:cubicBezTo>
                  <a:pt x="1768" y="729"/>
                  <a:pt x="1692" y="640"/>
                  <a:pt x="1692" y="525"/>
                </a:cubicBezTo>
                <a:cubicBezTo>
                  <a:pt x="1692" y="410"/>
                  <a:pt x="1768" y="320"/>
                  <a:pt x="1887" y="320"/>
                </a:cubicBezTo>
                <a:close/>
                <a:moveTo>
                  <a:pt x="2362" y="702"/>
                </a:moveTo>
                <a:cubicBezTo>
                  <a:pt x="2365" y="702"/>
                  <a:pt x="2365" y="702"/>
                  <a:pt x="2365" y="702"/>
                </a:cubicBezTo>
                <a:cubicBezTo>
                  <a:pt x="2399" y="764"/>
                  <a:pt x="2477" y="814"/>
                  <a:pt x="2576" y="814"/>
                </a:cubicBezTo>
                <a:cubicBezTo>
                  <a:pt x="2730" y="814"/>
                  <a:pt x="2851" y="689"/>
                  <a:pt x="2851" y="525"/>
                </a:cubicBezTo>
                <a:cubicBezTo>
                  <a:pt x="2851" y="358"/>
                  <a:pt x="2735" y="236"/>
                  <a:pt x="2562" y="236"/>
                </a:cubicBezTo>
                <a:cubicBezTo>
                  <a:pt x="2482" y="236"/>
                  <a:pt x="2415" y="271"/>
                  <a:pt x="2365" y="330"/>
                </a:cubicBezTo>
                <a:cubicBezTo>
                  <a:pt x="2362" y="330"/>
                  <a:pt x="2362" y="330"/>
                  <a:pt x="2362" y="330"/>
                </a:cubicBezTo>
                <a:cubicBezTo>
                  <a:pt x="2362" y="250"/>
                  <a:pt x="2362" y="250"/>
                  <a:pt x="2362" y="250"/>
                </a:cubicBezTo>
                <a:cubicBezTo>
                  <a:pt x="2271" y="250"/>
                  <a:pt x="2271" y="250"/>
                  <a:pt x="2271" y="250"/>
                </a:cubicBezTo>
                <a:cubicBezTo>
                  <a:pt x="2271" y="1057"/>
                  <a:pt x="2271" y="1057"/>
                  <a:pt x="2271" y="1057"/>
                </a:cubicBezTo>
                <a:cubicBezTo>
                  <a:pt x="2362" y="1057"/>
                  <a:pt x="2362" y="1057"/>
                  <a:pt x="2362" y="1057"/>
                </a:cubicBezTo>
                <a:lnTo>
                  <a:pt x="2362" y="702"/>
                </a:lnTo>
                <a:close/>
                <a:moveTo>
                  <a:pt x="2557" y="320"/>
                </a:moveTo>
                <a:cubicBezTo>
                  <a:pt x="2676" y="320"/>
                  <a:pt x="2752" y="410"/>
                  <a:pt x="2752" y="525"/>
                </a:cubicBezTo>
                <a:cubicBezTo>
                  <a:pt x="2752" y="640"/>
                  <a:pt x="2676" y="729"/>
                  <a:pt x="2557" y="729"/>
                </a:cubicBezTo>
                <a:cubicBezTo>
                  <a:pt x="2439" y="729"/>
                  <a:pt x="2362" y="640"/>
                  <a:pt x="2362" y="525"/>
                </a:cubicBezTo>
                <a:cubicBezTo>
                  <a:pt x="2362" y="410"/>
                  <a:pt x="2439" y="320"/>
                  <a:pt x="2557" y="320"/>
                </a:cubicBezTo>
                <a:close/>
                <a:moveTo>
                  <a:pt x="3207" y="814"/>
                </a:moveTo>
                <a:cubicBezTo>
                  <a:pt x="3306" y="814"/>
                  <a:pt x="3385" y="764"/>
                  <a:pt x="3419" y="702"/>
                </a:cubicBezTo>
                <a:cubicBezTo>
                  <a:pt x="3421" y="702"/>
                  <a:pt x="3421" y="702"/>
                  <a:pt x="3421" y="702"/>
                </a:cubicBezTo>
                <a:cubicBezTo>
                  <a:pt x="3421" y="799"/>
                  <a:pt x="3421" y="799"/>
                  <a:pt x="3421" y="799"/>
                </a:cubicBezTo>
                <a:cubicBezTo>
                  <a:pt x="3512" y="799"/>
                  <a:pt x="3512" y="799"/>
                  <a:pt x="3512" y="799"/>
                </a:cubicBezTo>
                <a:cubicBezTo>
                  <a:pt x="3512" y="0"/>
                  <a:pt x="3512" y="0"/>
                  <a:pt x="3512" y="0"/>
                </a:cubicBezTo>
                <a:cubicBezTo>
                  <a:pt x="3421" y="0"/>
                  <a:pt x="3421" y="0"/>
                  <a:pt x="3421" y="0"/>
                </a:cubicBezTo>
                <a:cubicBezTo>
                  <a:pt x="3421" y="330"/>
                  <a:pt x="3421" y="330"/>
                  <a:pt x="3421" y="330"/>
                </a:cubicBezTo>
                <a:cubicBezTo>
                  <a:pt x="3419" y="330"/>
                  <a:pt x="3419" y="330"/>
                  <a:pt x="3419" y="330"/>
                </a:cubicBezTo>
                <a:cubicBezTo>
                  <a:pt x="3368" y="271"/>
                  <a:pt x="3301" y="236"/>
                  <a:pt x="3221" y="236"/>
                </a:cubicBezTo>
                <a:cubicBezTo>
                  <a:pt x="3049" y="236"/>
                  <a:pt x="2933" y="358"/>
                  <a:pt x="2933" y="525"/>
                </a:cubicBezTo>
                <a:cubicBezTo>
                  <a:pt x="2933" y="689"/>
                  <a:pt x="3054" y="814"/>
                  <a:pt x="3207" y="814"/>
                </a:cubicBezTo>
                <a:close/>
                <a:moveTo>
                  <a:pt x="3226" y="320"/>
                </a:moveTo>
                <a:cubicBezTo>
                  <a:pt x="3345" y="320"/>
                  <a:pt x="3421" y="410"/>
                  <a:pt x="3421" y="525"/>
                </a:cubicBezTo>
                <a:cubicBezTo>
                  <a:pt x="3421" y="640"/>
                  <a:pt x="3345" y="729"/>
                  <a:pt x="3226" y="729"/>
                </a:cubicBezTo>
                <a:cubicBezTo>
                  <a:pt x="3107" y="729"/>
                  <a:pt x="3031" y="640"/>
                  <a:pt x="3031" y="525"/>
                </a:cubicBezTo>
                <a:cubicBezTo>
                  <a:pt x="3031" y="410"/>
                  <a:pt x="3107" y="320"/>
                  <a:pt x="3226" y="320"/>
                </a:cubicBezTo>
                <a:close/>
                <a:moveTo>
                  <a:pt x="5626" y="1344"/>
                </a:moveTo>
                <a:cubicBezTo>
                  <a:pt x="5625" y="1344"/>
                  <a:pt x="5625" y="1344"/>
                  <a:pt x="5625" y="1344"/>
                </a:cubicBezTo>
                <a:cubicBezTo>
                  <a:pt x="5607" y="1324"/>
                  <a:pt x="5584" y="1312"/>
                  <a:pt x="5557" y="1312"/>
                </a:cubicBezTo>
                <a:cubicBezTo>
                  <a:pt x="5497" y="1312"/>
                  <a:pt x="5457" y="1354"/>
                  <a:pt x="5457" y="1412"/>
                </a:cubicBezTo>
                <a:cubicBezTo>
                  <a:pt x="5457" y="1469"/>
                  <a:pt x="5498" y="1512"/>
                  <a:pt x="5552" y="1512"/>
                </a:cubicBezTo>
                <a:cubicBezTo>
                  <a:pt x="5586" y="1512"/>
                  <a:pt x="5613" y="1495"/>
                  <a:pt x="5625" y="1473"/>
                </a:cubicBezTo>
                <a:cubicBezTo>
                  <a:pt x="5626" y="1473"/>
                  <a:pt x="5626" y="1473"/>
                  <a:pt x="5626" y="1473"/>
                </a:cubicBezTo>
                <a:cubicBezTo>
                  <a:pt x="5626" y="1507"/>
                  <a:pt x="5626" y="1507"/>
                  <a:pt x="5626" y="1507"/>
                </a:cubicBezTo>
                <a:cubicBezTo>
                  <a:pt x="5657" y="1507"/>
                  <a:pt x="5657" y="1507"/>
                  <a:pt x="5657" y="1507"/>
                </a:cubicBezTo>
                <a:cubicBezTo>
                  <a:pt x="5657" y="1200"/>
                  <a:pt x="5657" y="1200"/>
                  <a:pt x="5657" y="1200"/>
                </a:cubicBezTo>
                <a:cubicBezTo>
                  <a:pt x="5626" y="1200"/>
                  <a:pt x="5626" y="1200"/>
                  <a:pt x="5626" y="1200"/>
                </a:cubicBezTo>
                <a:lnTo>
                  <a:pt x="5626" y="1344"/>
                </a:lnTo>
                <a:close/>
                <a:moveTo>
                  <a:pt x="5558" y="1482"/>
                </a:moveTo>
                <a:cubicBezTo>
                  <a:pt x="5517" y="1482"/>
                  <a:pt x="5491" y="1452"/>
                  <a:pt x="5491" y="1412"/>
                </a:cubicBezTo>
                <a:cubicBezTo>
                  <a:pt x="5491" y="1372"/>
                  <a:pt x="5517" y="1341"/>
                  <a:pt x="5558" y="1341"/>
                </a:cubicBezTo>
                <a:cubicBezTo>
                  <a:pt x="5599" y="1341"/>
                  <a:pt x="5626" y="1372"/>
                  <a:pt x="5626" y="1412"/>
                </a:cubicBezTo>
                <a:cubicBezTo>
                  <a:pt x="5626" y="1452"/>
                  <a:pt x="5599" y="1482"/>
                  <a:pt x="5558" y="1482"/>
                </a:cubicBezTo>
                <a:close/>
                <a:moveTo>
                  <a:pt x="5793" y="1312"/>
                </a:moveTo>
                <a:cubicBezTo>
                  <a:pt x="5737" y="1312"/>
                  <a:pt x="5695" y="1353"/>
                  <a:pt x="5695" y="1412"/>
                </a:cubicBezTo>
                <a:cubicBezTo>
                  <a:pt x="5695" y="1467"/>
                  <a:pt x="5732" y="1512"/>
                  <a:pt x="5792" y="1512"/>
                </a:cubicBezTo>
                <a:cubicBezTo>
                  <a:pt x="5827" y="1512"/>
                  <a:pt x="5854" y="1501"/>
                  <a:pt x="5876" y="1472"/>
                </a:cubicBezTo>
                <a:cubicBezTo>
                  <a:pt x="5852" y="1454"/>
                  <a:pt x="5852" y="1454"/>
                  <a:pt x="5852" y="1454"/>
                </a:cubicBezTo>
                <a:cubicBezTo>
                  <a:pt x="5837" y="1473"/>
                  <a:pt x="5819" y="1482"/>
                  <a:pt x="5792" y="1482"/>
                </a:cubicBezTo>
                <a:cubicBezTo>
                  <a:pt x="5757" y="1482"/>
                  <a:pt x="5732" y="1454"/>
                  <a:pt x="5729" y="1421"/>
                </a:cubicBezTo>
                <a:cubicBezTo>
                  <a:pt x="5883" y="1421"/>
                  <a:pt x="5883" y="1421"/>
                  <a:pt x="5883" y="1421"/>
                </a:cubicBezTo>
                <a:cubicBezTo>
                  <a:pt x="5883" y="1411"/>
                  <a:pt x="5883" y="1411"/>
                  <a:pt x="5883" y="1411"/>
                </a:cubicBezTo>
                <a:cubicBezTo>
                  <a:pt x="5883" y="1348"/>
                  <a:pt x="5846" y="1312"/>
                  <a:pt x="5793" y="1312"/>
                </a:cubicBezTo>
                <a:close/>
                <a:moveTo>
                  <a:pt x="5729" y="1395"/>
                </a:moveTo>
                <a:cubicBezTo>
                  <a:pt x="5733" y="1363"/>
                  <a:pt x="5757" y="1341"/>
                  <a:pt x="5792" y="1341"/>
                </a:cubicBezTo>
                <a:cubicBezTo>
                  <a:pt x="5827" y="1341"/>
                  <a:pt x="5848" y="1363"/>
                  <a:pt x="5849" y="1395"/>
                </a:cubicBezTo>
                <a:lnTo>
                  <a:pt x="5729" y="1395"/>
                </a:lnTo>
                <a:close/>
                <a:moveTo>
                  <a:pt x="6059" y="1317"/>
                </a:moveTo>
                <a:cubicBezTo>
                  <a:pt x="6093" y="1317"/>
                  <a:pt x="6093" y="1317"/>
                  <a:pt x="6093" y="1317"/>
                </a:cubicBezTo>
                <a:cubicBezTo>
                  <a:pt x="6018" y="1507"/>
                  <a:pt x="6018" y="1507"/>
                  <a:pt x="6018" y="1507"/>
                </a:cubicBezTo>
                <a:cubicBezTo>
                  <a:pt x="5983" y="1507"/>
                  <a:pt x="5983" y="1507"/>
                  <a:pt x="5983" y="1507"/>
                </a:cubicBezTo>
                <a:cubicBezTo>
                  <a:pt x="5905" y="1317"/>
                  <a:pt x="5905" y="1317"/>
                  <a:pt x="5905" y="1317"/>
                </a:cubicBezTo>
                <a:cubicBezTo>
                  <a:pt x="5942" y="1317"/>
                  <a:pt x="5942" y="1317"/>
                  <a:pt x="5942" y="1317"/>
                </a:cubicBezTo>
                <a:cubicBezTo>
                  <a:pt x="6001" y="1466"/>
                  <a:pt x="6001" y="1466"/>
                  <a:pt x="6001" y="1466"/>
                </a:cubicBezTo>
                <a:cubicBezTo>
                  <a:pt x="6002" y="1466"/>
                  <a:pt x="6002" y="1466"/>
                  <a:pt x="6002" y="1466"/>
                </a:cubicBezTo>
                <a:lnTo>
                  <a:pt x="6059" y="1317"/>
                </a:lnTo>
                <a:close/>
                <a:moveTo>
                  <a:pt x="6211" y="1312"/>
                </a:moveTo>
                <a:cubicBezTo>
                  <a:pt x="6155" y="1312"/>
                  <a:pt x="6114" y="1353"/>
                  <a:pt x="6114" y="1412"/>
                </a:cubicBezTo>
                <a:cubicBezTo>
                  <a:pt x="6114" y="1467"/>
                  <a:pt x="6150" y="1512"/>
                  <a:pt x="6210" y="1512"/>
                </a:cubicBezTo>
                <a:cubicBezTo>
                  <a:pt x="6245" y="1512"/>
                  <a:pt x="6272" y="1501"/>
                  <a:pt x="6295" y="1472"/>
                </a:cubicBezTo>
                <a:cubicBezTo>
                  <a:pt x="6271" y="1454"/>
                  <a:pt x="6271" y="1454"/>
                  <a:pt x="6271" y="1454"/>
                </a:cubicBezTo>
                <a:cubicBezTo>
                  <a:pt x="6256" y="1473"/>
                  <a:pt x="6237" y="1482"/>
                  <a:pt x="6210" y="1482"/>
                </a:cubicBezTo>
                <a:cubicBezTo>
                  <a:pt x="6176" y="1482"/>
                  <a:pt x="6150" y="1454"/>
                  <a:pt x="6148" y="1421"/>
                </a:cubicBezTo>
                <a:cubicBezTo>
                  <a:pt x="6302" y="1421"/>
                  <a:pt x="6302" y="1421"/>
                  <a:pt x="6302" y="1421"/>
                </a:cubicBezTo>
                <a:cubicBezTo>
                  <a:pt x="6302" y="1411"/>
                  <a:pt x="6302" y="1411"/>
                  <a:pt x="6302" y="1411"/>
                </a:cubicBezTo>
                <a:cubicBezTo>
                  <a:pt x="6302" y="1348"/>
                  <a:pt x="6265" y="1312"/>
                  <a:pt x="6211" y="1312"/>
                </a:cubicBezTo>
                <a:close/>
                <a:moveTo>
                  <a:pt x="6148" y="1395"/>
                </a:moveTo>
                <a:cubicBezTo>
                  <a:pt x="6152" y="1363"/>
                  <a:pt x="6175" y="1341"/>
                  <a:pt x="6210" y="1341"/>
                </a:cubicBezTo>
                <a:cubicBezTo>
                  <a:pt x="6245" y="1341"/>
                  <a:pt x="6266" y="1363"/>
                  <a:pt x="6267" y="1395"/>
                </a:cubicBezTo>
                <a:lnTo>
                  <a:pt x="6148" y="1395"/>
                </a:lnTo>
                <a:close/>
                <a:moveTo>
                  <a:pt x="6354" y="1200"/>
                </a:moveTo>
                <a:cubicBezTo>
                  <a:pt x="6386" y="1200"/>
                  <a:pt x="6386" y="1200"/>
                  <a:pt x="6386" y="1200"/>
                </a:cubicBezTo>
                <a:cubicBezTo>
                  <a:pt x="6386" y="1507"/>
                  <a:pt x="6386" y="1507"/>
                  <a:pt x="6386" y="1507"/>
                </a:cubicBezTo>
                <a:cubicBezTo>
                  <a:pt x="6354" y="1507"/>
                  <a:pt x="6354" y="1507"/>
                  <a:pt x="6354" y="1507"/>
                </a:cubicBezTo>
                <a:lnTo>
                  <a:pt x="6354" y="1200"/>
                </a:lnTo>
                <a:close/>
                <a:moveTo>
                  <a:pt x="6534" y="1312"/>
                </a:moveTo>
                <a:cubicBezTo>
                  <a:pt x="6476" y="1312"/>
                  <a:pt x="6433" y="1352"/>
                  <a:pt x="6433" y="1412"/>
                </a:cubicBezTo>
                <a:cubicBezTo>
                  <a:pt x="6433" y="1471"/>
                  <a:pt x="6476" y="1512"/>
                  <a:pt x="6534" y="1512"/>
                </a:cubicBezTo>
                <a:cubicBezTo>
                  <a:pt x="6593" y="1512"/>
                  <a:pt x="6636" y="1471"/>
                  <a:pt x="6636" y="1412"/>
                </a:cubicBezTo>
                <a:cubicBezTo>
                  <a:pt x="6636" y="1352"/>
                  <a:pt x="6593" y="1312"/>
                  <a:pt x="6534" y="1312"/>
                </a:cubicBezTo>
                <a:close/>
                <a:moveTo>
                  <a:pt x="6534" y="1482"/>
                </a:moveTo>
                <a:cubicBezTo>
                  <a:pt x="6493" y="1482"/>
                  <a:pt x="6467" y="1452"/>
                  <a:pt x="6467" y="1412"/>
                </a:cubicBezTo>
                <a:cubicBezTo>
                  <a:pt x="6467" y="1372"/>
                  <a:pt x="6493" y="1341"/>
                  <a:pt x="6534" y="1341"/>
                </a:cubicBezTo>
                <a:cubicBezTo>
                  <a:pt x="6575" y="1341"/>
                  <a:pt x="6602" y="1372"/>
                  <a:pt x="6602" y="1412"/>
                </a:cubicBezTo>
                <a:cubicBezTo>
                  <a:pt x="6602" y="1452"/>
                  <a:pt x="6575" y="1482"/>
                  <a:pt x="6534" y="1482"/>
                </a:cubicBezTo>
                <a:close/>
                <a:moveTo>
                  <a:pt x="6782" y="1312"/>
                </a:moveTo>
                <a:cubicBezTo>
                  <a:pt x="6754" y="1312"/>
                  <a:pt x="6731" y="1324"/>
                  <a:pt x="6713" y="1344"/>
                </a:cubicBezTo>
                <a:cubicBezTo>
                  <a:pt x="6713" y="1344"/>
                  <a:pt x="6713" y="1344"/>
                  <a:pt x="6713" y="1344"/>
                </a:cubicBezTo>
                <a:cubicBezTo>
                  <a:pt x="6713" y="1317"/>
                  <a:pt x="6713" y="1317"/>
                  <a:pt x="6713" y="1317"/>
                </a:cubicBezTo>
                <a:cubicBezTo>
                  <a:pt x="6681" y="1317"/>
                  <a:pt x="6681" y="1317"/>
                  <a:pt x="6681" y="1317"/>
                </a:cubicBezTo>
                <a:cubicBezTo>
                  <a:pt x="6681" y="1600"/>
                  <a:pt x="6681" y="1600"/>
                  <a:pt x="6681" y="1600"/>
                </a:cubicBezTo>
                <a:cubicBezTo>
                  <a:pt x="6713" y="1600"/>
                  <a:pt x="6713" y="1600"/>
                  <a:pt x="6713" y="1600"/>
                </a:cubicBezTo>
                <a:cubicBezTo>
                  <a:pt x="6713" y="1473"/>
                  <a:pt x="6713" y="1473"/>
                  <a:pt x="6713" y="1473"/>
                </a:cubicBezTo>
                <a:cubicBezTo>
                  <a:pt x="6713" y="1473"/>
                  <a:pt x="6713" y="1473"/>
                  <a:pt x="6713" y="1473"/>
                </a:cubicBezTo>
                <a:cubicBezTo>
                  <a:pt x="6725" y="1495"/>
                  <a:pt x="6752" y="1512"/>
                  <a:pt x="6786" y="1512"/>
                </a:cubicBezTo>
                <a:cubicBezTo>
                  <a:pt x="6840" y="1512"/>
                  <a:pt x="6882" y="1469"/>
                  <a:pt x="6882" y="1412"/>
                </a:cubicBezTo>
                <a:cubicBezTo>
                  <a:pt x="6882" y="1354"/>
                  <a:pt x="6841" y="1312"/>
                  <a:pt x="6782" y="1312"/>
                </a:cubicBezTo>
                <a:close/>
                <a:moveTo>
                  <a:pt x="6780" y="1482"/>
                </a:moveTo>
                <a:cubicBezTo>
                  <a:pt x="6739" y="1482"/>
                  <a:pt x="6713" y="1452"/>
                  <a:pt x="6713" y="1412"/>
                </a:cubicBezTo>
                <a:cubicBezTo>
                  <a:pt x="6713" y="1372"/>
                  <a:pt x="6739" y="1341"/>
                  <a:pt x="6780" y="1341"/>
                </a:cubicBezTo>
                <a:cubicBezTo>
                  <a:pt x="6821" y="1341"/>
                  <a:pt x="6847" y="1372"/>
                  <a:pt x="6847" y="1412"/>
                </a:cubicBezTo>
                <a:cubicBezTo>
                  <a:pt x="6847" y="1452"/>
                  <a:pt x="6821" y="1482"/>
                  <a:pt x="6780" y="1482"/>
                </a:cubicBezTo>
                <a:close/>
                <a:moveTo>
                  <a:pt x="7213" y="1391"/>
                </a:moveTo>
                <a:cubicBezTo>
                  <a:pt x="7213" y="1507"/>
                  <a:pt x="7213" y="1507"/>
                  <a:pt x="7213" y="1507"/>
                </a:cubicBezTo>
                <a:cubicBezTo>
                  <a:pt x="7181" y="1507"/>
                  <a:pt x="7181" y="1507"/>
                  <a:pt x="7181" y="1507"/>
                </a:cubicBezTo>
                <a:cubicBezTo>
                  <a:pt x="7181" y="1393"/>
                  <a:pt x="7181" y="1393"/>
                  <a:pt x="7181" y="1393"/>
                </a:cubicBezTo>
                <a:cubicBezTo>
                  <a:pt x="7181" y="1367"/>
                  <a:pt x="7172" y="1341"/>
                  <a:pt x="7135" y="1341"/>
                </a:cubicBezTo>
                <a:cubicBezTo>
                  <a:pt x="7108" y="1341"/>
                  <a:pt x="7086" y="1363"/>
                  <a:pt x="7086" y="1397"/>
                </a:cubicBezTo>
                <a:cubicBezTo>
                  <a:pt x="7086" y="1507"/>
                  <a:pt x="7086" y="1507"/>
                  <a:pt x="7086" y="1507"/>
                </a:cubicBezTo>
                <a:cubicBezTo>
                  <a:pt x="7054" y="1507"/>
                  <a:pt x="7054" y="1507"/>
                  <a:pt x="7054" y="1507"/>
                </a:cubicBezTo>
                <a:cubicBezTo>
                  <a:pt x="7054" y="1399"/>
                  <a:pt x="7054" y="1399"/>
                  <a:pt x="7054" y="1399"/>
                </a:cubicBezTo>
                <a:cubicBezTo>
                  <a:pt x="7054" y="1357"/>
                  <a:pt x="7043" y="1341"/>
                  <a:pt x="7017" y="1341"/>
                </a:cubicBezTo>
                <a:cubicBezTo>
                  <a:pt x="6976" y="1341"/>
                  <a:pt x="6958" y="1371"/>
                  <a:pt x="6958" y="1414"/>
                </a:cubicBezTo>
                <a:cubicBezTo>
                  <a:pt x="6958" y="1507"/>
                  <a:pt x="6958" y="1507"/>
                  <a:pt x="6958" y="1507"/>
                </a:cubicBezTo>
                <a:cubicBezTo>
                  <a:pt x="6927" y="1507"/>
                  <a:pt x="6927" y="1507"/>
                  <a:pt x="6927" y="1507"/>
                </a:cubicBezTo>
                <a:cubicBezTo>
                  <a:pt x="6927" y="1362"/>
                  <a:pt x="6927" y="1362"/>
                  <a:pt x="6927" y="1362"/>
                </a:cubicBezTo>
                <a:cubicBezTo>
                  <a:pt x="6927" y="1344"/>
                  <a:pt x="6925" y="1329"/>
                  <a:pt x="6925" y="1317"/>
                </a:cubicBezTo>
                <a:cubicBezTo>
                  <a:pt x="6955" y="1317"/>
                  <a:pt x="6955" y="1317"/>
                  <a:pt x="6955" y="1317"/>
                </a:cubicBezTo>
                <a:cubicBezTo>
                  <a:pt x="6955" y="1327"/>
                  <a:pt x="6956" y="1337"/>
                  <a:pt x="6956" y="1348"/>
                </a:cubicBezTo>
                <a:cubicBezTo>
                  <a:pt x="6957" y="1348"/>
                  <a:pt x="6957" y="1348"/>
                  <a:pt x="6957" y="1348"/>
                </a:cubicBezTo>
                <a:cubicBezTo>
                  <a:pt x="6965" y="1329"/>
                  <a:pt x="6989" y="1312"/>
                  <a:pt x="7020" y="1312"/>
                </a:cubicBezTo>
                <a:cubicBezTo>
                  <a:pt x="7061" y="1312"/>
                  <a:pt x="7074" y="1335"/>
                  <a:pt x="7080" y="1348"/>
                </a:cubicBezTo>
                <a:cubicBezTo>
                  <a:pt x="7094" y="1326"/>
                  <a:pt x="7112" y="1312"/>
                  <a:pt x="7140" y="1312"/>
                </a:cubicBezTo>
                <a:cubicBezTo>
                  <a:pt x="7195" y="1312"/>
                  <a:pt x="7213" y="1342"/>
                  <a:pt x="7213" y="1391"/>
                </a:cubicBezTo>
                <a:close/>
                <a:moveTo>
                  <a:pt x="7356" y="1312"/>
                </a:moveTo>
                <a:cubicBezTo>
                  <a:pt x="7300" y="1312"/>
                  <a:pt x="7258" y="1353"/>
                  <a:pt x="7258" y="1412"/>
                </a:cubicBezTo>
                <a:cubicBezTo>
                  <a:pt x="7258" y="1467"/>
                  <a:pt x="7295" y="1512"/>
                  <a:pt x="7354" y="1512"/>
                </a:cubicBezTo>
                <a:cubicBezTo>
                  <a:pt x="7390" y="1512"/>
                  <a:pt x="7417" y="1501"/>
                  <a:pt x="7439" y="1472"/>
                </a:cubicBezTo>
                <a:cubicBezTo>
                  <a:pt x="7415" y="1454"/>
                  <a:pt x="7415" y="1454"/>
                  <a:pt x="7415" y="1454"/>
                </a:cubicBezTo>
                <a:cubicBezTo>
                  <a:pt x="7400" y="1473"/>
                  <a:pt x="7382" y="1482"/>
                  <a:pt x="7354" y="1482"/>
                </a:cubicBezTo>
                <a:cubicBezTo>
                  <a:pt x="7320" y="1482"/>
                  <a:pt x="7295" y="1454"/>
                  <a:pt x="7292" y="1421"/>
                </a:cubicBezTo>
                <a:cubicBezTo>
                  <a:pt x="7446" y="1421"/>
                  <a:pt x="7446" y="1421"/>
                  <a:pt x="7446" y="1421"/>
                </a:cubicBezTo>
                <a:cubicBezTo>
                  <a:pt x="7446" y="1411"/>
                  <a:pt x="7446" y="1411"/>
                  <a:pt x="7446" y="1411"/>
                </a:cubicBezTo>
                <a:cubicBezTo>
                  <a:pt x="7446" y="1348"/>
                  <a:pt x="7409" y="1312"/>
                  <a:pt x="7356" y="1312"/>
                </a:cubicBezTo>
                <a:close/>
                <a:moveTo>
                  <a:pt x="7292" y="1395"/>
                </a:moveTo>
                <a:cubicBezTo>
                  <a:pt x="7296" y="1363"/>
                  <a:pt x="7320" y="1341"/>
                  <a:pt x="7354" y="1341"/>
                </a:cubicBezTo>
                <a:cubicBezTo>
                  <a:pt x="7389" y="1341"/>
                  <a:pt x="7411" y="1363"/>
                  <a:pt x="7412" y="1395"/>
                </a:cubicBezTo>
                <a:lnTo>
                  <a:pt x="7292" y="1395"/>
                </a:lnTo>
                <a:close/>
                <a:moveTo>
                  <a:pt x="7657" y="1389"/>
                </a:moveTo>
                <a:cubicBezTo>
                  <a:pt x="7657" y="1507"/>
                  <a:pt x="7657" y="1507"/>
                  <a:pt x="7657" y="1507"/>
                </a:cubicBezTo>
                <a:cubicBezTo>
                  <a:pt x="7625" y="1507"/>
                  <a:pt x="7625" y="1507"/>
                  <a:pt x="7625" y="1507"/>
                </a:cubicBezTo>
                <a:cubicBezTo>
                  <a:pt x="7625" y="1393"/>
                  <a:pt x="7625" y="1393"/>
                  <a:pt x="7625" y="1393"/>
                </a:cubicBezTo>
                <a:cubicBezTo>
                  <a:pt x="7625" y="1361"/>
                  <a:pt x="7611" y="1341"/>
                  <a:pt x="7582" y="1341"/>
                </a:cubicBezTo>
                <a:cubicBezTo>
                  <a:pt x="7541" y="1341"/>
                  <a:pt x="7523" y="1371"/>
                  <a:pt x="7523" y="1414"/>
                </a:cubicBezTo>
                <a:cubicBezTo>
                  <a:pt x="7523" y="1507"/>
                  <a:pt x="7523" y="1507"/>
                  <a:pt x="7523" y="1507"/>
                </a:cubicBezTo>
                <a:cubicBezTo>
                  <a:pt x="7491" y="1507"/>
                  <a:pt x="7491" y="1507"/>
                  <a:pt x="7491" y="1507"/>
                </a:cubicBezTo>
                <a:cubicBezTo>
                  <a:pt x="7491" y="1362"/>
                  <a:pt x="7491" y="1362"/>
                  <a:pt x="7491" y="1362"/>
                </a:cubicBezTo>
                <a:cubicBezTo>
                  <a:pt x="7491" y="1344"/>
                  <a:pt x="7489" y="1329"/>
                  <a:pt x="7489" y="1317"/>
                </a:cubicBezTo>
                <a:cubicBezTo>
                  <a:pt x="7519" y="1317"/>
                  <a:pt x="7519" y="1317"/>
                  <a:pt x="7519" y="1317"/>
                </a:cubicBezTo>
                <a:cubicBezTo>
                  <a:pt x="7519" y="1327"/>
                  <a:pt x="7520" y="1337"/>
                  <a:pt x="7520" y="1348"/>
                </a:cubicBezTo>
                <a:cubicBezTo>
                  <a:pt x="7521" y="1348"/>
                  <a:pt x="7521" y="1348"/>
                  <a:pt x="7521" y="1348"/>
                </a:cubicBezTo>
                <a:cubicBezTo>
                  <a:pt x="7530" y="1329"/>
                  <a:pt x="7553" y="1312"/>
                  <a:pt x="7584" y="1312"/>
                </a:cubicBezTo>
                <a:cubicBezTo>
                  <a:pt x="7634" y="1312"/>
                  <a:pt x="7657" y="1343"/>
                  <a:pt x="7657" y="1389"/>
                </a:cubicBezTo>
                <a:close/>
                <a:moveTo>
                  <a:pt x="7817" y="1505"/>
                </a:moveTo>
                <a:cubicBezTo>
                  <a:pt x="7806" y="1510"/>
                  <a:pt x="7792" y="1512"/>
                  <a:pt x="7780" y="1512"/>
                </a:cubicBezTo>
                <a:cubicBezTo>
                  <a:pt x="7735" y="1512"/>
                  <a:pt x="7728" y="1487"/>
                  <a:pt x="7728" y="1448"/>
                </a:cubicBezTo>
                <a:cubicBezTo>
                  <a:pt x="7728" y="1343"/>
                  <a:pt x="7728" y="1343"/>
                  <a:pt x="7728" y="1343"/>
                </a:cubicBezTo>
                <a:cubicBezTo>
                  <a:pt x="7686" y="1343"/>
                  <a:pt x="7686" y="1343"/>
                  <a:pt x="7686" y="1343"/>
                </a:cubicBezTo>
                <a:cubicBezTo>
                  <a:pt x="7686" y="1317"/>
                  <a:pt x="7686" y="1317"/>
                  <a:pt x="7686" y="1317"/>
                </a:cubicBezTo>
                <a:cubicBezTo>
                  <a:pt x="7728" y="1317"/>
                  <a:pt x="7728" y="1317"/>
                  <a:pt x="7728" y="1317"/>
                </a:cubicBezTo>
                <a:cubicBezTo>
                  <a:pt x="7728" y="1263"/>
                  <a:pt x="7728" y="1263"/>
                  <a:pt x="7728" y="1263"/>
                </a:cubicBezTo>
                <a:cubicBezTo>
                  <a:pt x="7759" y="1263"/>
                  <a:pt x="7759" y="1263"/>
                  <a:pt x="7759" y="1263"/>
                </a:cubicBezTo>
                <a:cubicBezTo>
                  <a:pt x="7759" y="1317"/>
                  <a:pt x="7759" y="1317"/>
                  <a:pt x="7759" y="1317"/>
                </a:cubicBezTo>
                <a:cubicBezTo>
                  <a:pt x="7815" y="1317"/>
                  <a:pt x="7815" y="1317"/>
                  <a:pt x="7815" y="1317"/>
                </a:cubicBezTo>
                <a:cubicBezTo>
                  <a:pt x="7815" y="1343"/>
                  <a:pt x="7815" y="1343"/>
                  <a:pt x="7815" y="1343"/>
                </a:cubicBezTo>
                <a:cubicBezTo>
                  <a:pt x="7759" y="1343"/>
                  <a:pt x="7759" y="1343"/>
                  <a:pt x="7759" y="1343"/>
                </a:cubicBezTo>
                <a:cubicBezTo>
                  <a:pt x="7759" y="1439"/>
                  <a:pt x="7759" y="1439"/>
                  <a:pt x="7759" y="1439"/>
                </a:cubicBezTo>
                <a:cubicBezTo>
                  <a:pt x="7759" y="1463"/>
                  <a:pt x="7760" y="1482"/>
                  <a:pt x="7788" y="1482"/>
                </a:cubicBezTo>
                <a:cubicBezTo>
                  <a:pt x="7797" y="1482"/>
                  <a:pt x="7807" y="1480"/>
                  <a:pt x="7816" y="1476"/>
                </a:cubicBezTo>
                <a:lnTo>
                  <a:pt x="7817" y="1505"/>
                </a:lnTo>
                <a:close/>
                <a:moveTo>
                  <a:pt x="3842" y="1312"/>
                </a:moveTo>
                <a:cubicBezTo>
                  <a:pt x="3815" y="1312"/>
                  <a:pt x="3791" y="1324"/>
                  <a:pt x="3774" y="1344"/>
                </a:cubicBezTo>
                <a:cubicBezTo>
                  <a:pt x="3773" y="1344"/>
                  <a:pt x="3773" y="1344"/>
                  <a:pt x="3773" y="1344"/>
                </a:cubicBezTo>
                <a:cubicBezTo>
                  <a:pt x="3773" y="1317"/>
                  <a:pt x="3773" y="1317"/>
                  <a:pt x="3773" y="1317"/>
                </a:cubicBezTo>
                <a:cubicBezTo>
                  <a:pt x="3741" y="1317"/>
                  <a:pt x="3741" y="1317"/>
                  <a:pt x="3741" y="1317"/>
                </a:cubicBezTo>
                <a:cubicBezTo>
                  <a:pt x="3741" y="1600"/>
                  <a:pt x="3741" y="1600"/>
                  <a:pt x="3741" y="1600"/>
                </a:cubicBezTo>
                <a:cubicBezTo>
                  <a:pt x="3773" y="1600"/>
                  <a:pt x="3773" y="1600"/>
                  <a:pt x="3773" y="1600"/>
                </a:cubicBezTo>
                <a:cubicBezTo>
                  <a:pt x="3773" y="1473"/>
                  <a:pt x="3773" y="1473"/>
                  <a:pt x="3773" y="1473"/>
                </a:cubicBezTo>
                <a:cubicBezTo>
                  <a:pt x="3774" y="1473"/>
                  <a:pt x="3774" y="1473"/>
                  <a:pt x="3774" y="1473"/>
                </a:cubicBezTo>
                <a:cubicBezTo>
                  <a:pt x="3786" y="1495"/>
                  <a:pt x="3813" y="1512"/>
                  <a:pt x="3847" y="1512"/>
                </a:cubicBezTo>
                <a:cubicBezTo>
                  <a:pt x="3900" y="1512"/>
                  <a:pt x="3942" y="1469"/>
                  <a:pt x="3942" y="1412"/>
                </a:cubicBezTo>
                <a:cubicBezTo>
                  <a:pt x="3942" y="1354"/>
                  <a:pt x="3902" y="1312"/>
                  <a:pt x="3842" y="1312"/>
                </a:cubicBezTo>
                <a:close/>
                <a:moveTo>
                  <a:pt x="3841" y="1482"/>
                </a:moveTo>
                <a:cubicBezTo>
                  <a:pt x="3800" y="1482"/>
                  <a:pt x="3773" y="1452"/>
                  <a:pt x="3773" y="1412"/>
                </a:cubicBezTo>
                <a:cubicBezTo>
                  <a:pt x="3773" y="1372"/>
                  <a:pt x="3800" y="1341"/>
                  <a:pt x="3841" y="1341"/>
                </a:cubicBezTo>
                <a:cubicBezTo>
                  <a:pt x="3882" y="1341"/>
                  <a:pt x="3908" y="1372"/>
                  <a:pt x="3908" y="1412"/>
                </a:cubicBezTo>
                <a:cubicBezTo>
                  <a:pt x="3908" y="1452"/>
                  <a:pt x="3882" y="1482"/>
                  <a:pt x="3841" y="1482"/>
                </a:cubicBezTo>
                <a:close/>
                <a:moveTo>
                  <a:pt x="4078" y="1312"/>
                </a:moveTo>
                <a:cubicBezTo>
                  <a:pt x="4082" y="1312"/>
                  <a:pt x="4087" y="1312"/>
                  <a:pt x="4091" y="1314"/>
                </a:cubicBezTo>
                <a:cubicBezTo>
                  <a:pt x="4089" y="1346"/>
                  <a:pt x="4089" y="1346"/>
                  <a:pt x="4089" y="1346"/>
                </a:cubicBezTo>
                <a:cubicBezTo>
                  <a:pt x="4084" y="1344"/>
                  <a:pt x="4078" y="1343"/>
                  <a:pt x="4072" y="1343"/>
                </a:cubicBezTo>
                <a:cubicBezTo>
                  <a:pt x="4033" y="1343"/>
                  <a:pt x="4016" y="1371"/>
                  <a:pt x="4016" y="1414"/>
                </a:cubicBezTo>
                <a:cubicBezTo>
                  <a:pt x="4016" y="1507"/>
                  <a:pt x="4016" y="1507"/>
                  <a:pt x="4016" y="1507"/>
                </a:cubicBezTo>
                <a:cubicBezTo>
                  <a:pt x="3985" y="1507"/>
                  <a:pt x="3985" y="1507"/>
                  <a:pt x="3985" y="1507"/>
                </a:cubicBezTo>
                <a:cubicBezTo>
                  <a:pt x="3985" y="1362"/>
                  <a:pt x="3985" y="1362"/>
                  <a:pt x="3985" y="1362"/>
                </a:cubicBezTo>
                <a:cubicBezTo>
                  <a:pt x="3985" y="1344"/>
                  <a:pt x="3983" y="1329"/>
                  <a:pt x="3983" y="1317"/>
                </a:cubicBezTo>
                <a:cubicBezTo>
                  <a:pt x="4013" y="1317"/>
                  <a:pt x="4013" y="1317"/>
                  <a:pt x="4013" y="1317"/>
                </a:cubicBezTo>
                <a:cubicBezTo>
                  <a:pt x="4013" y="1327"/>
                  <a:pt x="4014" y="1337"/>
                  <a:pt x="4014" y="1348"/>
                </a:cubicBezTo>
                <a:cubicBezTo>
                  <a:pt x="4015" y="1348"/>
                  <a:pt x="4015" y="1348"/>
                  <a:pt x="4015" y="1348"/>
                </a:cubicBezTo>
                <a:cubicBezTo>
                  <a:pt x="4023" y="1329"/>
                  <a:pt x="4047" y="1312"/>
                  <a:pt x="4078" y="1312"/>
                </a:cubicBezTo>
                <a:close/>
                <a:moveTo>
                  <a:pt x="4206" y="1312"/>
                </a:moveTo>
                <a:cubicBezTo>
                  <a:pt x="4147" y="1312"/>
                  <a:pt x="4104" y="1352"/>
                  <a:pt x="4104" y="1412"/>
                </a:cubicBezTo>
                <a:cubicBezTo>
                  <a:pt x="4104" y="1471"/>
                  <a:pt x="4147" y="1512"/>
                  <a:pt x="4206" y="1512"/>
                </a:cubicBezTo>
                <a:cubicBezTo>
                  <a:pt x="4264" y="1512"/>
                  <a:pt x="4307" y="1471"/>
                  <a:pt x="4307" y="1412"/>
                </a:cubicBezTo>
                <a:cubicBezTo>
                  <a:pt x="4307" y="1352"/>
                  <a:pt x="4264" y="1312"/>
                  <a:pt x="4206" y="1312"/>
                </a:cubicBezTo>
                <a:close/>
                <a:moveTo>
                  <a:pt x="4206" y="1482"/>
                </a:moveTo>
                <a:cubicBezTo>
                  <a:pt x="4165" y="1482"/>
                  <a:pt x="4138" y="1452"/>
                  <a:pt x="4138" y="1412"/>
                </a:cubicBezTo>
                <a:cubicBezTo>
                  <a:pt x="4138" y="1372"/>
                  <a:pt x="4165" y="1341"/>
                  <a:pt x="4206" y="1341"/>
                </a:cubicBezTo>
                <a:cubicBezTo>
                  <a:pt x="4247" y="1341"/>
                  <a:pt x="4273" y="1372"/>
                  <a:pt x="4273" y="1412"/>
                </a:cubicBezTo>
                <a:cubicBezTo>
                  <a:pt x="4273" y="1452"/>
                  <a:pt x="4247" y="1482"/>
                  <a:pt x="4206" y="1482"/>
                </a:cubicBezTo>
                <a:close/>
                <a:moveTo>
                  <a:pt x="4453" y="1312"/>
                </a:moveTo>
                <a:cubicBezTo>
                  <a:pt x="4425" y="1312"/>
                  <a:pt x="4402" y="1324"/>
                  <a:pt x="4385" y="1344"/>
                </a:cubicBezTo>
                <a:cubicBezTo>
                  <a:pt x="4384" y="1344"/>
                  <a:pt x="4384" y="1344"/>
                  <a:pt x="4384" y="1344"/>
                </a:cubicBezTo>
                <a:cubicBezTo>
                  <a:pt x="4384" y="1317"/>
                  <a:pt x="4384" y="1317"/>
                  <a:pt x="4384" y="1317"/>
                </a:cubicBezTo>
                <a:cubicBezTo>
                  <a:pt x="4352" y="1317"/>
                  <a:pt x="4352" y="1317"/>
                  <a:pt x="4352" y="1317"/>
                </a:cubicBezTo>
                <a:cubicBezTo>
                  <a:pt x="4352" y="1600"/>
                  <a:pt x="4352" y="1600"/>
                  <a:pt x="4352" y="1600"/>
                </a:cubicBezTo>
                <a:cubicBezTo>
                  <a:pt x="4384" y="1600"/>
                  <a:pt x="4384" y="1600"/>
                  <a:pt x="4384" y="1600"/>
                </a:cubicBezTo>
                <a:cubicBezTo>
                  <a:pt x="4384" y="1473"/>
                  <a:pt x="4384" y="1473"/>
                  <a:pt x="4384" y="1473"/>
                </a:cubicBezTo>
                <a:cubicBezTo>
                  <a:pt x="4385" y="1473"/>
                  <a:pt x="4385" y="1473"/>
                  <a:pt x="4385" y="1473"/>
                </a:cubicBezTo>
                <a:cubicBezTo>
                  <a:pt x="4396" y="1495"/>
                  <a:pt x="4424" y="1512"/>
                  <a:pt x="4458" y="1512"/>
                </a:cubicBezTo>
                <a:cubicBezTo>
                  <a:pt x="4511" y="1512"/>
                  <a:pt x="4553" y="1469"/>
                  <a:pt x="4553" y="1412"/>
                </a:cubicBezTo>
                <a:cubicBezTo>
                  <a:pt x="4553" y="1354"/>
                  <a:pt x="4513" y="1312"/>
                  <a:pt x="4453" y="1312"/>
                </a:cubicBezTo>
                <a:close/>
                <a:moveTo>
                  <a:pt x="4451" y="1482"/>
                </a:moveTo>
                <a:cubicBezTo>
                  <a:pt x="4410" y="1482"/>
                  <a:pt x="4384" y="1452"/>
                  <a:pt x="4384" y="1412"/>
                </a:cubicBezTo>
                <a:cubicBezTo>
                  <a:pt x="4384" y="1372"/>
                  <a:pt x="4410" y="1341"/>
                  <a:pt x="4451" y="1341"/>
                </a:cubicBezTo>
                <a:cubicBezTo>
                  <a:pt x="4492" y="1341"/>
                  <a:pt x="4519" y="1372"/>
                  <a:pt x="4519" y="1412"/>
                </a:cubicBezTo>
                <a:cubicBezTo>
                  <a:pt x="4519" y="1452"/>
                  <a:pt x="4492" y="1482"/>
                  <a:pt x="4451" y="1482"/>
                </a:cubicBezTo>
                <a:close/>
                <a:moveTo>
                  <a:pt x="4686" y="1312"/>
                </a:moveTo>
                <a:cubicBezTo>
                  <a:pt x="4630" y="1312"/>
                  <a:pt x="4588" y="1353"/>
                  <a:pt x="4588" y="1412"/>
                </a:cubicBezTo>
                <a:cubicBezTo>
                  <a:pt x="4588" y="1467"/>
                  <a:pt x="4625" y="1512"/>
                  <a:pt x="4685" y="1512"/>
                </a:cubicBezTo>
                <a:cubicBezTo>
                  <a:pt x="4720" y="1512"/>
                  <a:pt x="4747" y="1501"/>
                  <a:pt x="4769" y="1472"/>
                </a:cubicBezTo>
                <a:cubicBezTo>
                  <a:pt x="4745" y="1454"/>
                  <a:pt x="4745" y="1454"/>
                  <a:pt x="4745" y="1454"/>
                </a:cubicBezTo>
                <a:cubicBezTo>
                  <a:pt x="4730" y="1473"/>
                  <a:pt x="4712" y="1482"/>
                  <a:pt x="4685" y="1482"/>
                </a:cubicBezTo>
                <a:cubicBezTo>
                  <a:pt x="4650" y="1482"/>
                  <a:pt x="4625" y="1454"/>
                  <a:pt x="4623" y="1421"/>
                </a:cubicBezTo>
                <a:cubicBezTo>
                  <a:pt x="4776" y="1421"/>
                  <a:pt x="4776" y="1421"/>
                  <a:pt x="4776" y="1421"/>
                </a:cubicBezTo>
                <a:cubicBezTo>
                  <a:pt x="4776" y="1411"/>
                  <a:pt x="4776" y="1411"/>
                  <a:pt x="4776" y="1411"/>
                </a:cubicBezTo>
                <a:cubicBezTo>
                  <a:pt x="4776" y="1348"/>
                  <a:pt x="4740" y="1312"/>
                  <a:pt x="4686" y="1312"/>
                </a:cubicBezTo>
                <a:close/>
                <a:moveTo>
                  <a:pt x="4623" y="1395"/>
                </a:moveTo>
                <a:cubicBezTo>
                  <a:pt x="4627" y="1363"/>
                  <a:pt x="4650" y="1341"/>
                  <a:pt x="4685" y="1341"/>
                </a:cubicBezTo>
                <a:cubicBezTo>
                  <a:pt x="4720" y="1341"/>
                  <a:pt x="4741" y="1363"/>
                  <a:pt x="4742" y="1395"/>
                </a:cubicBezTo>
                <a:lnTo>
                  <a:pt x="4623" y="1395"/>
                </a:lnTo>
                <a:close/>
                <a:moveTo>
                  <a:pt x="4922" y="1312"/>
                </a:moveTo>
                <a:cubicBezTo>
                  <a:pt x="4926" y="1312"/>
                  <a:pt x="4930" y="1312"/>
                  <a:pt x="4935" y="1314"/>
                </a:cubicBezTo>
                <a:cubicBezTo>
                  <a:pt x="4933" y="1346"/>
                  <a:pt x="4933" y="1346"/>
                  <a:pt x="4933" y="1346"/>
                </a:cubicBezTo>
                <a:cubicBezTo>
                  <a:pt x="4927" y="1344"/>
                  <a:pt x="4921" y="1343"/>
                  <a:pt x="4916" y="1343"/>
                </a:cubicBezTo>
                <a:cubicBezTo>
                  <a:pt x="4877" y="1343"/>
                  <a:pt x="4860" y="1371"/>
                  <a:pt x="4860" y="1414"/>
                </a:cubicBezTo>
                <a:cubicBezTo>
                  <a:pt x="4860" y="1507"/>
                  <a:pt x="4860" y="1507"/>
                  <a:pt x="4860" y="1507"/>
                </a:cubicBezTo>
                <a:cubicBezTo>
                  <a:pt x="4828" y="1507"/>
                  <a:pt x="4828" y="1507"/>
                  <a:pt x="4828" y="1507"/>
                </a:cubicBezTo>
                <a:cubicBezTo>
                  <a:pt x="4828" y="1362"/>
                  <a:pt x="4828" y="1362"/>
                  <a:pt x="4828" y="1362"/>
                </a:cubicBezTo>
                <a:cubicBezTo>
                  <a:pt x="4828" y="1344"/>
                  <a:pt x="4827" y="1329"/>
                  <a:pt x="4827" y="1317"/>
                </a:cubicBezTo>
                <a:cubicBezTo>
                  <a:pt x="4857" y="1317"/>
                  <a:pt x="4857" y="1317"/>
                  <a:pt x="4857" y="1317"/>
                </a:cubicBezTo>
                <a:cubicBezTo>
                  <a:pt x="4857" y="1327"/>
                  <a:pt x="4858" y="1337"/>
                  <a:pt x="4858" y="1348"/>
                </a:cubicBezTo>
                <a:cubicBezTo>
                  <a:pt x="4858" y="1348"/>
                  <a:pt x="4858" y="1348"/>
                  <a:pt x="4858" y="1348"/>
                </a:cubicBezTo>
                <a:cubicBezTo>
                  <a:pt x="4867" y="1329"/>
                  <a:pt x="4890" y="1312"/>
                  <a:pt x="4922" y="1312"/>
                </a:cubicBezTo>
                <a:close/>
                <a:moveTo>
                  <a:pt x="5092" y="1476"/>
                </a:moveTo>
                <a:cubicBezTo>
                  <a:pt x="5094" y="1505"/>
                  <a:pt x="5094" y="1505"/>
                  <a:pt x="5094" y="1505"/>
                </a:cubicBezTo>
                <a:cubicBezTo>
                  <a:pt x="5083" y="1510"/>
                  <a:pt x="5068" y="1512"/>
                  <a:pt x="5057" y="1512"/>
                </a:cubicBezTo>
                <a:cubicBezTo>
                  <a:pt x="5012" y="1512"/>
                  <a:pt x="5004" y="1487"/>
                  <a:pt x="5004" y="1448"/>
                </a:cubicBezTo>
                <a:cubicBezTo>
                  <a:pt x="5004" y="1343"/>
                  <a:pt x="5004" y="1343"/>
                  <a:pt x="5004" y="1343"/>
                </a:cubicBezTo>
                <a:cubicBezTo>
                  <a:pt x="4963" y="1343"/>
                  <a:pt x="4963" y="1343"/>
                  <a:pt x="4963" y="1343"/>
                </a:cubicBezTo>
                <a:cubicBezTo>
                  <a:pt x="4963" y="1317"/>
                  <a:pt x="4963" y="1317"/>
                  <a:pt x="4963" y="1317"/>
                </a:cubicBezTo>
                <a:cubicBezTo>
                  <a:pt x="5004" y="1317"/>
                  <a:pt x="5004" y="1317"/>
                  <a:pt x="5004" y="1317"/>
                </a:cubicBezTo>
                <a:cubicBezTo>
                  <a:pt x="5004" y="1263"/>
                  <a:pt x="5004" y="1263"/>
                  <a:pt x="5004" y="1263"/>
                </a:cubicBezTo>
                <a:cubicBezTo>
                  <a:pt x="5036" y="1263"/>
                  <a:pt x="5036" y="1263"/>
                  <a:pt x="5036" y="1263"/>
                </a:cubicBezTo>
                <a:cubicBezTo>
                  <a:pt x="5036" y="1317"/>
                  <a:pt x="5036" y="1317"/>
                  <a:pt x="5036" y="1317"/>
                </a:cubicBezTo>
                <a:cubicBezTo>
                  <a:pt x="5092" y="1317"/>
                  <a:pt x="5092" y="1317"/>
                  <a:pt x="5092" y="1317"/>
                </a:cubicBezTo>
                <a:cubicBezTo>
                  <a:pt x="5092" y="1343"/>
                  <a:pt x="5092" y="1343"/>
                  <a:pt x="5092" y="1343"/>
                </a:cubicBezTo>
                <a:cubicBezTo>
                  <a:pt x="5036" y="1343"/>
                  <a:pt x="5036" y="1343"/>
                  <a:pt x="5036" y="1343"/>
                </a:cubicBezTo>
                <a:cubicBezTo>
                  <a:pt x="5036" y="1439"/>
                  <a:pt x="5036" y="1439"/>
                  <a:pt x="5036" y="1439"/>
                </a:cubicBezTo>
                <a:cubicBezTo>
                  <a:pt x="5036" y="1463"/>
                  <a:pt x="5036" y="1482"/>
                  <a:pt x="5064" y="1482"/>
                </a:cubicBezTo>
                <a:cubicBezTo>
                  <a:pt x="5074" y="1482"/>
                  <a:pt x="5084" y="1480"/>
                  <a:pt x="5092" y="1476"/>
                </a:cubicBezTo>
                <a:close/>
                <a:moveTo>
                  <a:pt x="5274" y="1317"/>
                </a:moveTo>
                <a:cubicBezTo>
                  <a:pt x="5309" y="1317"/>
                  <a:pt x="5309" y="1317"/>
                  <a:pt x="5309" y="1317"/>
                </a:cubicBezTo>
                <a:cubicBezTo>
                  <a:pt x="5217" y="1550"/>
                  <a:pt x="5217" y="1550"/>
                  <a:pt x="5217" y="1550"/>
                </a:cubicBezTo>
                <a:cubicBezTo>
                  <a:pt x="5204" y="1582"/>
                  <a:pt x="5192" y="1604"/>
                  <a:pt x="5153" y="1604"/>
                </a:cubicBezTo>
                <a:cubicBezTo>
                  <a:pt x="5145" y="1604"/>
                  <a:pt x="5133" y="1604"/>
                  <a:pt x="5125" y="1600"/>
                </a:cubicBezTo>
                <a:cubicBezTo>
                  <a:pt x="5129" y="1572"/>
                  <a:pt x="5129" y="1572"/>
                  <a:pt x="5129" y="1572"/>
                </a:cubicBezTo>
                <a:cubicBezTo>
                  <a:pt x="5136" y="1574"/>
                  <a:pt x="5142" y="1575"/>
                  <a:pt x="5151" y="1575"/>
                </a:cubicBezTo>
                <a:cubicBezTo>
                  <a:pt x="5172" y="1575"/>
                  <a:pt x="5180" y="1563"/>
                  <a:pt x="5187" y="1544"/>
                </a:cubicBezTo>
                <a:cubicBezTo>
                  <a:pt x="5200" y="1508"/>
                  <a:pt x="5200" y="1508"/>
                  <a:pt x="5200" y="1508"/>
                </a:cubicBezTo>
                <a:cubicBezTo>
                  <a:pt x="5121" y="1317"/>
                  <a:pt x="5121" y="1317"/>
                  <a:pt x="5121" y="1317"/>
                </a:cubicBezTo>
                <a:cubicBezTo>
                  <a:pt x="5158" y="1317"/>
                  <a:pt x="5158" y="1317"/>
                  <a:pt x="5158" y="1317"/>
                </a:cubicBezTo>
                <a:cubicBezTo>
                  <a:pt x="5217" y="1466"/>
                  <a:pt x="5217" y="1466"/>
                  <a:pt x="5217" y="1466"/>
                </a:cubicBezTo>
                <a:cubicBezTo>
                  <a:pt x="5218" y="1466"/>
                  <a:pt x="5218" y="1466"/>
                  <a:pt x="5218" y="1466"/>
                </a:cubicBezTo>
                <a:lnTo>
                  <a:pt x="5274" y="1317"/>
                </a:lnTo>
                <a:close/>
                <a:moveTo>
                  <a:pt x="1701" y="1312"/>
                </a:moveTo>
                <a:cubicBezTo>
                  <a:pt x="1673" y="1312"/>
                  <a:pt x="1650" y="1324"/>
                  <a:pt x="1633" y="1344"/>
                </a:cubicBezTo>
                <a:cubicBezTo>
                  <a:pt x="1632" y="1344"/>
                  <a:pt x="1632" y="1344"/>
                  <a:pt x="1632" y="1344"/>
                </a:cubicBezTo>
                <a:cubicBezTo>
                  <a:pt x="1632" y="1200"/>
                  <a:pt x="1632" y="1200"/>
                  <a:pt x="1632" y="1200"/>
                </a:cubicBezTo>
                <a:cubicBezTo>
                  <a:pt x="1600" y="1200"/>
                  <a:pt x="1600" y="1200"/>
                  <a:pt x="1600" y="1200"/>
                </a:cubicBezTo>
                <a:cubicBezTo>
                  <a:pt x="1600" y="1507"/>
                  <a:pt x="1600" y="1507"/>
                  <a:pt x="1600" y="1507"/>
                </a:cubicBezTo>
                <a:cubicBezTo>
                  <a:pt x="1632" y="1507"/>
                  <a:pt x="1632" y="1507"/>
                  <a:pt x="1632" y="1507"/>
                </a:cubicBezTo>
                <a:cubicBezTo>
                  <a:pt x="1632" y="1473"/>
                  <a:pt x="1632" y="1473"/>
                  <a:pt x="1632" y="1473"/>
                </a:cubicBezTo>
                <a:cubicBezTo>
                  <a:pt x="1633" y="1473"/>
                  <a:pt x="1633" y="1473"/>
                  <a:pt x="1633" y="1473"/>
                </a:cubicBezTo>
                <a:cubicBezTo>
                  <a:pt x="1645" y="1495"/>
                  <a:pt x="1672" y="1512"/>
                  <a:pt x="1706" y="1512"/>
                </a:cubicBezTo>
                <a:cubicBezTo>
                  <a:pt x="1759" y="1512"/>
                  <a:pt x="1801" y="1469"/>
                  <a:pt x="1801" y="1412"/>
                </a:cubicBezTo>
                <a:cubicBezTo>
                  <a:pt x="1801" y="1354"/>
                  <a:pt x="1761" y="1312"/>
                  <a:pt x="1701" y="1312"/>
                </a:cubicBezTo>
                <a:close/>
                <a:moveTo>
                  <a:pt x="1699" y="1482"/>
                </a:moveTo>
                <a:cubicBezTo>
                  <a:pt x="1658" y="1482"/>
                  <a:pt x="1632" y="1452"/>
                  <a:pt x="1632" y="1412"/>
                </a:cubicBezTo>
                <a:cubicBezTo>
                  <a:pt x="1632" y="1372"/>
                  <a:pt x="1658" y="1341"/>
                  <a:pt x="1699" y="1341"/>
                </a:cubicBezTo>
                <a:cubicBezTo>
                  <a:pt x="1740" y="1341"/>
                  <a:pt x="1767" y="1372"/>
                  <a:pt x="1767" y="1412"/>
                </a:cubicBezTo>
                <a:cubicBezTo>
                  <a:pt x="1767" y="1452"/>
                  <a:pt x="1740" y="1482"/>
                  <a:pt x="1699" y="1482"/>
                </a:cubicBezTo>
                <a:close/>
                <a:moveTo>
                  <a:pt x="1933" y="1312"/>
                </a:moveTo>
                <a:cubicBezTo>
                  <a:pt x="1875" y="1312"/>
                  <a:pt x="1832" y="1352"/>
                  <a:pt x="1832" y="1412"/>
                </a:cubicBezTo>
                <a:cubicBezTo>
                  <a:pt x="1832" y="1471"/>
                  <a:pt x="1875" y="1512"/>
                  <a:pt x="1933" y="1512"/>
                </a:cubicBezTo>
                <a:cubicBezTo>
                  <a:pt x="1992" y="1512"/>
                  <a:pt x="2035" y="1471"/>
                  <a:pt x="2035" y="1412"/>
                </a:cubicBezTo>
                <a:cubicBezTo>
                  <a:pt x="2035" y="1352"/>
                  <a:pt x="1992" y="1312"/>
                  <a:pt x="1933" y="1312"/>
                </a:cubicBezTo>
                <a:close/>
                <a:moveTo>
                  <a:pt x="1933" y="1482"/>
                </a:moveTo>
                <a:cubicBezTo>
                  <a:pt x="1892" y="1482"/>
                  <a:pt x="1866" y="1452"/>
                  <a:pt x="1866" y="1412"/>
                </a:cubicBezTo>
                <a:cubicBezTo>
                  <a:pt x="1866" y="1372"/>
                  <a:pt x="1892" y="1341"/>
                  <a:pt x="1933" y="1341"/>
                </a:cubicBezTo>
                <a:cubicBezTo>
                  <a:pt x="1974" y="1341"/>
                  <a:pt x="2001" y="1372"/>
                  <a:pt x="2001" y="1412"/>
                </a:cubicBezTo>
                <a:cubicBezTo>
                  <a:pt x="2001" y="1452"/>
                  <a:pt x="1974" y="1482"/>
                  <a:pt x="1933" y="1482"/>
                </a:cubicBezTo>
                <a:close/>
                <a:moveTo>
                  <a:pt x="2238" y="1462"/>
                </a:moveTo>
                <a:cubicBezTo>
                  <a:pt x="2238" y="1479"/>
                  <a:pt x="2240" y="1494"/>
                  <a:pt x="2240" y="1507"/>
                </a:cubicBezTo>
                <a:cubicBezTo>
                  <a:pt x="2210" y="1507"/>
                  <a:pt x="2210" y="1507"/>
                  <a:pt x="2210" y="1507"/>
                </a:cubicBezTo>
                <a:cubicBezTo>
                  <a:pt x="2210" y="1497"/>
                  <a:pt x="2209" y="1486"/>
                  <a:pt x="2209" y="1476"/>
                </a:cubicBezTo>
                <a:cubicBezTo>
                  <a:pt x="2208" y="1476"/>
                  <a:pt x="2208" y="1476"/>
                  <a:pt x="2208" y="1476"/>
                </a:cubicBezTo>
                <a:cubicBezTo>
                  <a:pt x="2199" y="1494"/>
                  <a:pt x="2176" y="1512"/>
                  <a:pt x="2145" y="1512"/>
                </a:cubicBezTo>
                <a:cubicBezTo>
                  <a:pt x="2095" y="1512"/>
                  <a:pt x="2072" y="1480"/>
                  <a:pt x="2072" y="1434"/>
                </a:cubicBezTo>
                <a:cubicBezTo>
                  <a:pt x="2072" y="1317"/>
                  <a:pt x="2072" y="1317"/>
                  <a:pt x="2072" y="1317"/>
                </a:cubicBezTo>
                <a:cubicBezTo>
                  <a:pt x="2104" y="1317"/>
                  <a:pt x="2104" y="1317"/>
                  <a:pt x="2104" y="1317"/>
                </a:cubicBezTo>
                <a:cubicBezTo>
                  <a:pt x="2104" y="1431"/>
                  <a:pt x="2104" y="1431"/>
                  <a:pt x="2104" y="1431"/>
                </a:cubicBezTo>
                <a:cubicBezTo>
                  <a:pt x="2104" y="1463"/>
                  <a:pt x="2118" y="1482"/>
                  <a:pt x="2147" y="1482"/>
                </a:cubicBezTo>
                <a:cubicBezTo>
                  <a:pt x="2188" y="1482"/>
                  <a:pt x="2206" y="1453"/>
                  <a:pt x="2206" y="1409"/>
                </a:cubicBezTo>
                <a:cubicBezTo>
                  <a:pt x="2206" y="1317"/>
                  <a:pt x="2206" y="1317"/>
                  <a:pt x="2206" y="1317"/>
                </a:cubicBezTo>
                <a:cubicBezTo>
                  <a:pt x="2238" y="1317"/>
                  <a:pt x="2238" y="1317"/>
                  <a:pt x="2238" y="1317"/>
                </a:cubicBezTo>
                <a:lnTo>
                  <a:pt x="2238" y="1462"/>
                </a:lnTo>
                <a:close/>
                <a:moveTo>
                  <a:pt x="2632" y="1281"/>
                </a:moveTo>
                <a:cubicBezTo>
                  <a:pt x="2632" y="1317"/>
                  <a:pt x="2632" y="1317"/>
                  <a:pt x="2632" y="1317"/>
                </a:cubicBezTo>
                <a:cubicBezTo>
                  <a:pt x="2678" y="1317"/>
                  <a:pt x="2678" y="1317"/>
                  <a:pt x="2678" y="1317"/>
                </a:cubicBezTo>
                <a:cubicBezTo>
                  <a:pt x="2678" y="1343"/>
                  <a:pt x="2678" y="1343"/>
                  <a:pt x="2678" y="1343"/>
                </a:cubicBezTo>
                <a:cubicBezTo>
                  <a:pt x="2632" y="1343"/>
                  <a:pt x="2632" y="1343"/>
                  <a:pt x="2632" y="1343"/>
                </a:cubicBezTo>
                <a:cubicBezTo>
                  <a:pt x="2632" y="1507"/>
                  <a:pt x="2632" y="1507"/>
                  <a:pt x="2632" y="1507"/>
                </a:cubicBezTo>
                <a:cubicBezTo>
                  <a:pt x="2600" y="1507"/>
                  <a:pt x="2600" y="1507"/>
                  <a:pt x="2600" y="1507"/>
                </a:cubicBezTo>
                <a:cubicBezTo>
                  <a:pt x="2600" y="1343"/>
                  <a:pt x="2600" y="1343"/>
                  <a:pt x="2600" y="1343"/>
                </a:cubicBezTo>
                <a:cubicBezTo>
                  <a:pt x="2553" y="1343"/>
                  <a:pt x="2553" y="1343"/>
                  <a:pt x="2553" y="1343"/>
                </a:cubicBezTo>
                <a:cubicBezTo>
                  <a:pt x="2553" y="1343"/>
                  <a:pt x="2553" y="1343"/>
                  <a:pt x="2553" y="1343"/>
                </a:cubicBezTo>
                <a:cubicBezTo>
                  <a:pt x="2500" y="1507"/>
                  <a:pt x="2500" y="1507"/>
                  <a:pt x="2500" y="1507"/>
                </a:cubicBezTo>
                <a:cubicBezTo>
                  <a:pt x="2469" y="1507"/>
                  <a:pt x="2469" y="1507"/>
                  <a:pt x="2469" y="1507"/>
                </a:cubicBezTo>
                <a:cubicBezTo>
                  <a:pt x="2415" y="1361"/>
                  <a:pt x="2415" y="1361"/>
                  <a:pt x="2415" y="1361"/>
                </a:cubicBezTo>
                <a:cubicBezTo>
                  <a:pt x="2414" y="1361"/>
                  <a:pt x="2414" y="1361"/>
                  <a:pt x="2414" y="1361"/>
                </a:cubicBezTo>
                <a:cubicBezTo>
                  <a:pt x="2366" y="1507"/>
                  <a:pt x="2366" y="1507"/>
                  <a:pt x="2366" y="1507"/>
                </a:cubicBezTo>
                <a:cubicBezTo>
                  <a:pt x="2333" y="1507"/>
                  <a:pt x="2333" y="1507"/>
                  <a:pt x="2333" y="1507"/>
                </a:cubicBezTo>
                <a:cubicBezTo>
                  <a:pt x="2271" y="1317"/>
                  <a:pt x="2271" y="1317"/>
                  <a:pt x="2271" y="1317"/>
                </a:cubicBezTo>
                <a:cubicBezTo>
                  <a:pt x="2306" y="1317"/>
                  <a:pt x="2306" y="1317"/>
                  <a:pt x="2306" y="1317"/>
                </a:cubicBezTo>
                <a:cubicBezTo>
                  <a:pt x="2350" y="1463"/>
                  <a:pt x="2350" y="1463"/>
                  <a:pt x="2350" y="1463"/>
                </a:cubicBezTo>
                <a:cubicBezTo>
                  <a:pt x="2351" y="1463"/>
                  <a:pt x="2351" y="1463"/>
                  <a:pt x="2351" y="1463"/>
                </a:cubicBezTo>
                <a:cubicBezTo>
                  <a:pt x="2400" y="1317"/>
                  <a:pt x="2400" y="1317"/>
                  <a:pt x="2400" y="1317"/>
                </a:cubicBezTo>
                <a:cubicBezTo>
                  <a:pt x="2433" y="1317"/>
                  <a:pt x="2433" y="1317"/>
                  <a:pt x="2433" y="1317"/>
                </a:cubicBezTo>
                <a:cubicBezTo>
                  <a:pt x="2483" y="1463"/>
                  <a:pt x="2483" y="1463"/>
                  <a:pt x="2483" y="1463"/>
                </a:cubicBezTo>
                <a:cubicBezTo>
                  <a:pt x="2484" y="1463"/>
                  <a:pt x="2484" y="1463"/>
                  <a:pt x="2484" y="1463"/>
                </a:cubicBezTo>
                <a:cubicBezTo>
                  <a:pt x="2527" y="1317"/>
                  <a:pt x="2527" y="1317"/>
                  <a:pt x="2527" y="1317"/>
                </a:cubicBezTo>
                <a:cubicBezTo>
                  <a:pt x="2553" y="1317"/>
                  <a:pt x="2553" y="1317"/>
                  <a:pt x="2553" y="1317"/>
                </a:cubicBezTo>
                <a:cubicBezTo>
                  <a:pt x="2561" y="1317"/>
                  <a:pt x="2561" y="1317"/>
                  <a:pt x="2561" y="1317"/>
                </a:cubicBezTo>
                <a:cubicBezTo>
                  <a:pt x="2600" y="1317"/>
                  <a:pt x="2600" y="1317"/>
                  <a:pt x="2600" y="1317"/>
                </a:cubicBezTo>
                <a:cubicBezTo>
                  <a:pt x="2600" y="1274"/>
                  <a:pt x="2600" y="1274"/>
                  <a:pt x="2600" y="1274"/>
                </a:cubicBezTo>
                <a:cubicBezTo>
                  <a:pt x="2600" y="1228"/>
                  <a:pt x="2616" y="1195"/>
                  <a:pt x="2668" y="1195"/>
                </a:cubicBezTo>
                <a:cubicBezTo>
                  <a:pt x="2676" y="1195"/>
                  <a:pt x="2686" y="1196"/>
                  <a:pt x="2692" y="1200"/>
                </a:cubicBezTo>
                <a:cubicBezTo>
                  <a:pt x="2688" y="1228"/>
                  <a:pt x="2688" y="1228"/>
                  <a:pt x="2688" y="1228"/>
                </a:cubicBezTo>
                <a:cubicBezTo>
                  <a:pt x="2681" y="1226"/>
                  <a:pt x="2673" y="1224"/>
                  <a:pt x="2666" y="1224"/>
                </a:cubicBezTo>
                <a:cubicBezTo>
                  <a:pt x="2633" y="1224"/>
                  <a:pt x="2632" y="1248"/>
                  <a:pt x="2632" y="1281"/>
                </a:cubicBezTo>
                <a:close/>
                <a:moveTo>
                  <a:pt x="2791" y="1312"/>
                </a:moveTo>
                <a:cubicBezTo>
                  <a:pt x="2733" y="1312"/>
                  <a:pt x="2690" y="1352"/>
                  <a:pt x="2690" y="1412"/>
                </a:cubicBezTo>
                <a:cubicBezTo>
                  <a:pt x="2690" y="1471"/>
                  <a:pt x="2733" y="1512"/>
                  <a:pt x="2791" y="1512"/>
                </a:cubicBezTo>
                <a:cubicBezTo>
                  <a:pt x="2850" y="1512"/>
                  <a:pt x="2893" y="1471"/>
                  <a:pt x="2893" y="1412"/>
                </a:cubicBezTo>
                <a:cubicBezTo>
                  <a:pt x="2893" y="1352"/>
                  <a:pt x="2850" y="1312"/>
                  <a:pt x="2791" y="1312"/>
                </a:cubicBezTo>
                <a:close/>
                <a:moveTo>
                  <a:pt x="2791" y="1482"/>
                </a:moveTo>
                <a:cubicBezTo>
                  <a:pt x="2750" y="1482"/>
                  <a:pt x="2724" y="1452"/>
                  <a:pt x="2724" y="1412"/>
                </a:cubicBezTo>
                <a:cubicBezTo>
                  <a:pt x="2724" y="1372"/>
                  <a:pt x="2750" y="1341"/>
                  <a:pt x="2791" y="1341"/>
                </a:cubicBezTo>
                <a:cubicBezTo>
                  <a:pt x="2833" y="1341"/>
                  <a:pt x="2859" y="1372"/>
                  <a:pt x="2859" y="1412"/>
                </a:cubicBezTo>
                <a:cubicBezTo>
                  <a:pt x="2859" y="1452"/>
                  <a:pt x="2833" y="1482"/>
                  <a:pt x="2791" y="1482"/>
                </a:cubicBezTo>
                <a:close/>
                <a:moveTo>
                  <a:pt x="3097" y="1389"/>
                </a:moveTo>
                <a:cubicBezTo>
                  <a:pt x="3097" y="1507"/>
                  <a:pt x="3097" y="1507"/>
                  <a:pt x="3097" y="1507"/>
                </a:cubicBezTo>
                <a:cubicBezTo>
                  <a:pt x="3065" y="1507"/>
                  <a:pt x="3065" y="1507"/>
                  <a:pt x="3065" y="1507"/>
                </a:cubicBezTo>
                <a:cubicBezTo>
                  <a:pt x="3065" y="1393"/>
                  <a:pt x="3065" y="1393"/>
                  <a:pt x="3065" y="1393"/>
                </a:cubicBezTo>
                <a:cubicBezTo>
                  <a:pt x="3065" y="1361"/>
                  <a:pt x="3052" y="1341"/>
                  <a:pt x="3022" y="1341"/>
                </a:cubicBezTo>
                <a:cubicBezTo>
                  <a:pt x="2981" y="1341"/>
                  <a:pt x="2963" y="1371"/>
                  <a:pt x="2963" y="1414"/>
                </a:cubicBezTo>
                <a:cubicBezTo>
                  <a:pt x="2963" y="1507"/>
                  <a:pt x="2963" y="1507"/>
                  <a:pt x="2963" y="1507"/>
                </a:cubicBezTo>
                <a:cubicBezTo>
                  <a:pt x="2931" y="1507"/>
                  <a:pt x="2931" y="1507"/>
                  <a:pt x="2931" y="1507"/>
                </a:cubicBezTo>
                <a:cubicBezTo>
                  <a:pt x="2931" y="1362"/>
                  <a:pt x="2931" y="1362"/>
                  <a:pt x="2931" y="1362"/>
                </a:cubicBezTo>
                <a:cubicBezTo>
                  <a:pt x="2931" y="1344"/>
                  <a:pt x="2930" y="1329"/>
                  <a:pt x="2930" y="1317"/>
                </a:cubicBezTo>
                <a:cubicBezTo>
                  <a:pt x="2960" y="1317"/>
                  <a:pt x="2960" y="1317"/>
                  <a:pt x="2960" y="1317"/>
                </a:cubicBezTo>
                <a:cubicBezTo>
                  <a:pt x="2960" y="1327"/>
                  <a:pt x="2960" y="1337"/>
                  <a:pt x="2960" y="1348"/>
                </a:cubicBezTo>
                <a:cubicBezTo>
                  <a:pt x="2961" y="1348"/>
                  <a:pt x="2961" y="1348"/>
                  <a:pt x="2961" y="1348"/>
                </a:cubicBezTo>
                <a:cubicBezTo>
                  <a:pt x="2970" y="1329"/>
                  <a:pt x="2993" y="1312"/>
                  <a:pt x="3025" y="1312"/>
                </a:cubicBezTo>
                <a:cubicBezTo>
                  <a:pt x="3075" y="1312"/>
                  <a:pt x="3097" y="1343"/>
                  <a:pt x="3097" y="1389"/>
                </a:cubicBezTo>
                <a:close/>
                <a:moveTo>
                  <a:pt x="3307" y="1344"/>
                </a:moveTo>
                <a:cubicBezTo>
                  <a:pt x="3306" y="1344"/>
                  <a:pt x="3306" y="1344"/>
                  <a:pt x="3306" y="1344"/>
                </a:cubicBezTo>
                <a:cubicBezTo>
                  <a:pt x="3289" y="1324"/>
                  <a:pt x="3266" y="1312"/>
                  <a:pt x="3238" y="1312"/>
                </a:cubicBezTo>
                <a:cubicBezTo>
                  <a:pt x="3178" y="1312"/>
                  <a:pt x="3138" y="1354"/>
                  <a:pt x="3138" y="1412"/>
                </a:cubicBezTo>
                <a:cubicBezTo>
                  <a:pt x="3138" y="1469"/>
                  <a:pt x="3180" y="1512"/>
                  <a:pt x="3233" y="1512"/>
                </a:cubicBezTo>
                <a:cubicBezTo>
                  <a:pt x="3267" y="1512"/>
                  <a:pt x="3295" y="1495"/>
                  <a:pt x="3306" y="1473"/>
                </a:cubicBezTo>
                <a:cubicBezTo>
                  <a:pt x="3307" y="1473"/>
                  <a:pt x="3307" y="1473"/>
                  <a:pt x="3307" y="1473"/>
                </a:cubicBezTo>
                <a:cubicBezTo>
                  <a:pt x="3307" y="1507"/>
                  <a:pt x="3307" y="1507"/>
                  <a:pt x="3307" y="1507"/>
                </a:cubicBezTo>
                <a:cubicBezTo>
                  <a:pt x="3339" y="1507"/>
                  <a:pt x="3339" y="1507"/>
                  <a:pt x="3339" y="1507"/>
                </a:cubicBezTo>
                <a:cubicBezTo>
                  <a:pt x="3339" y="1200"/>
                  <a:pt x="3339" y="1200"/>
                  <a:pt x="3339" y="1200"/>
                </a:cubicBezTo>
                <a:cubicBezTo>
                  <a:pt x="3307" y="1200"/>
                  <a:pt x="3307" y="1200"/>
                  <a:pt x="3307" y="1200"/>
                </a:cubicBezTo>
                <a:lnTo>
                  <a:pt x="3307" y="1344"/>
                </a:lnTo>
                <a:close/>
                <a:moveTo>
                  <a:pt x="3240" y="1482"/>
                </a:moveTo>
                <a:cubicBezTo>
                  <a:pt x="3199" y="1482"/>
                  <a:pt x="3172" y="1452"/>
                  <a:pt x="3172" y="1412"/>
                </a:cubicBezTo>
                <a:cubicBezTo>
                  <a:pt x="3172" y="1372"/>
                  <a:pt x="3199" y="1341"/>
                  <a:pt x="3240" y="1341"/>
                </a:cubicBezTo>
                <a:cubicBezTo>
                  <a:pt x="3281" y="1341"/>
                  <a:pt x="3307" y="1372"/>
                  <a:pt x="3307" y="1412"/>
                </a:cubicBezTo>
                <a:cubicBezTo>
                  <a:pt x="3307" y="1452"/>
                  <a:pt x="3281" y="1482"/>
                  <a:pt x="3240" y="1482"/>
                </a:cubicBezTo>
                <a:close/>
                <a:moveTo>
                  <a:pt x="3530" y="1452"/>
                </a:moveTo>
                <a:cubicBezTo>
                  <a:pt x="3530" y="1495"/>
                  <a:pt x="3491" y="1512"/>
                  <a:pt x="3454" y="1512"/>
                </a:cubicBezTo>
                <a:cubicBezTo>
                  <a:pt x="3421" y="1512"/>
                  <a:pt x="3398" y="1503"/>
                  <a:pt x="3380" y="1476"/>
                </a:cubicBezTo>
                <a:cubicBezTo>
                  <a:pt x="3405" y="1457"/>
                  <a:pt x="3405" y="1457"/>
                  <a:pt x="3405" y="1457"/>
                </a:cubicBezTo>
                <a:cubicBezTo>
                  <a:pt x="3417" y="1472"/>
                  <a:pt x="3431" y="1482"/>
                  <a:pt x="3454" y="1482"/>
                </a:cubicBezTo>
                <a:cubicBezTo>
                  <a:pt x="3473" y="1482"/>
                  <a:pt x="3495" y="1474"/>
                  <a:pt x="3495" y="1453"/>
                </a:cubicBezTo>
                <a:cubicBezTo>
                  <a:pt x="3495" y="1433"/>
                  <a:pt x="3475" y="1428"/>
                  <a:pt x="3455" y="1423"/>
                </a:cubicBezTo>
                <a:cubicBezTo>
                  <a:pt x="3419" y="1415"/>
                  <a:pt x="3388" y="1407"/>
                  <a:pt x="3388" y="1368"/>
                </a:cubicBezTo>
                <a:cubicBezTo>
                  <a:pt x="3388" y="1331"/>
                  <a:pt x="3423" y="1312"/>
                  <a:pt x="3459" y="1312"/>
                </a:cubicBezTo>
                <a:cubicBezTo>
                  <a:pt x="3486" y="1312"/>
                  <a:pt x="3510" y="1322"/>
                  <a:pt x="3523" y="1346"/>
                </a:cubicBezTo>
                <a:cubicBezTo>
                  <a:pt x="3497" y="1364"/>
                  <a:pt x="3497" y="1364"/>
                  <a:pt x="3497" y="1364"/>
                </a:cubicBezTo>
                <a:cubicBezTo>
                  <a:pt x="3489" y="1350"/>
                  <a:pt x="3475" y="1341"/>
                  <a:pt x="3457" y="1341"/>
                </a:cubicBezTo>
                <a:cubicBezTo>
                  <a:pt x="3439" y="1341"/>
                  <a:pt x="3419" y="1350"/>
                  <a:pt x="3419" y="1367"/>
                </a:cubicBezTo>
                <a:cubicBezTo>
                  <a:pt x="3419" y="1383"/>
                  <a:pt x="3442" y="1390"/>
                  <a:pt x="3467" y="1395"/>
                </a:cubicBezTo>
                <a:cubicBezTo>
                  <a:pt x="3501" y="1402"/>
                  <a:pt x="3530" y="1414"/>
                  <a:pt x="3530" y="1452"/>
                </a:cubicBezTo>
                <a:close/>
                <a:moveTo>
                  <a:pt x="814" y="0"/>
                </a:moveTo>
                <a:cubicBezTo>
                  <a:pt x="404" y="0"/>
                  <a:pt x="404" y="0"/>
                  <a:pt x="404" y="0"/>
                </a:cubicBezTo>
                <a:cubicBezTo>
                  <a:pt x="0" y="403"/>
                  <a:pt x="0" y="403"/>
                  <a:pt x="0" y="403"/>
                </a:cubicBezTo>
                <a:cubicBezTo>
                  <a:pt x="193" y="596"/>
                  <a:pt x="193" y="596"/>
                  <a:pt x="193" y="596"/>
                </a:cubicBezTo>
                <a:cubicBezTo>
                  <a:pt x="0" y="789"/>
                  <a:pt x="0" y="789"/>
                  <a:pt x="0" y="789"/>
                </a:cubicBezTo>
                <a:cubicBezTo>
                  <a:pt x="411" y="1200"/>
                  <a:pt x="411" y="1200"/>
                  <a:pt x="411" y="1200"/>
                </a:cubicBezTo>
                <a:cubicBezTo>
                  <a:pt x="604" y="1007"/>
                  <a:pt x="604" y="1007"/>
                  <a:pt x="604" y="1007"/>
                </a:cubicBezTo>
                <a:cubicBezTo>
                  <a:pt x="797" y="1200"/>
                  <a:pt x="797" y="1200"/>
                  <a:pt x="797" y="1200"/>
                </a:cubicBezTo>
                <a:cubicBezTo>
                  <a:pt x="1200" y="796"/>
                  <a:pt x="1200" y="796"/>
                  <a:pt x="1200" y="796"/>
                </a:cubicBezTo>
                <a:cubicBezTo>
                  <a:pt x="1200" y="386"/>
                  <a:pt x="1200" y="386"/>
                  <a:pt x="1200" y="386"/>
                </a:cubicBezTo>
                <a:cubicBezTo>
                  <a:pt x="814" y="386"/>
                  <a:pt x="814" y="386"/>
                  <a:pt x="814" y="386"/>
                </a:cubicBezTo>
                <a:lnTo>
                  <a:pt x="814" y="0"/>
                </a:lnTo>
                <a:close/>
                <a:moveTo>
                  <a:pt x="50" y="403"/>
                </a:moveTo>
                <a:cubicBezTo>
                  <a:pt x="418" y="35"/>
                  <a:pt x="418" y="35"/>
                  <a:pt x="418" y="35"/>
                </a:cubicBezTo>
                <a:cubicBezTo>
                  <a:pt x="779" y="35"/>
                  <a:pt x="779" y="35"/>
                  <a:pt x="779" y="35"/>
                </a:cubicBezTo>
                <a:cubicBezTo>
                  <a:pt x="779" y="386"/>
                  <a:pt x="779" y="386"/>
                  <a:pt x="779" y="386"/>
                </a:cubicBezTo>
                <a:cubicBezTo>
                  <a:pt x="404" y="386"/>
                  <a:pt x="404" y="386"/>
                  <a:pt x="404" y="386"/>
                </a:cubicBezTo>
                <a:cubicBezTo>
                  <a:pt x="218" y="571"/>
                  <a:pt x="218" y="571"/>
                  <a:pt x="218" y="571"/>
                </a:cubicBezTo>
                <a:lnTo>
                  <a:pt x="50" y="403"/>
                </a:lnTo>
                <a:close/>
                <a:moveTo>
                  <a:pt x="755" y="420"/>
                </a:moveTo>
                <a:cubicBezTo>
                  <a:pt x="411" y="764"/>
                  <a:pt x="411" y="764"/>
                  <a:pt x="411" y="764"/>
                </a:cubicBezTo>
                <a:cubicBezTo>
                  <a:pt x="242" y="596"/>
                  <a:pt x="242" y="596"/>
                  <a:pt x="242" y="596"/>
                </a:cubicBezTo>
                <a:cubicBezTo>
                  <a:pt x="418" y="420"/>
                  <a:pt x="418" y="420"/>
                  <a:pt x="418" y="420"/>
                </a:cubicBezTo>
                <a:lnTo>
                  <a:pt x="755" y="420"/>
                </a:lnTo>
                <a:close/>
                <a:moveTo>
                  <a:pt x="411" y="1150"/>
                </a:moveTo>
                <a:cubicBezTo>
                  <a:pt x="49" y="789"/>
                  <a:pt x="49" y="789"/>
                  <a:pt x="49" y="789"/>
                </a:cubicBezTo>
                <a:cubicBezTo>
                  <a:pt x="218" y="621"/>
                  <a:pt x="218" y="621"/>
                  <a:pt x="218" y="621"/>
                </a:cubicBezTo>
                <a:cubicBezTo>
                  <a:pt x="579" y="982"/>
                  <a:pt x="579" y="982"/>
                  <a:pt x="579" y="982"/>
                </a:cubicBezTo>
                <a:lnTo>
                  <a:pt x="411" y="1150"/>
                </a:lnTo>
                <a:close/>
                <a:moveTo>
                  <a:pt x="435" y="789"/>
                </a:moveTo>
                <a:cubicBezTo>
                  <a:pt x="779" y="445"/>
                  <a:pt x="779" y="445"/>
                  <a:pt x="779" y="445"/>
                </a:cubicBezTo>
                <a:cubicBezTo>
                  <a:pt x="779" y="782"/>
                  <a:pt x="779" y="782"/>
                  <a:pt x="779" y="782"/>
                </a:cubicBezTo>
                <a:cubicBezTo>
                  <a:pt x="604" y="957"/>
                  <a:pt x="604" y="957"/>
                  <a:pt x="604" y="957"/>
                </a:cubicBezTo>
                <a:lnTo>
                  <a:pt x="435" y="789"/>
                </a:lnTo>
                <a:close/>
                <a:moveTo>
                  <a:pt x="1165" y="420"/>
                </a:moveTo>
                <a:cubicBezTo>
                  <a:pt x="1165" y="782"/>
                  <a:pt x="1165" y="782"/>
                  <a:pt x="1165" y="782"/>
                </a:cubicBezTo>
                <a:cubicBezTo>
                  <a:pt x="797" y="1150"/>
                  <a:pt x="797" y="1150"/>
                  <a:pt x="797" y="1150"/>
                </a:cubicBezTo>
                <a:cubicBezTo>
                  <a:pt x="628" y="982"/>
                  <a:pt x="628" y="982"/>
                  <a:pt x="628" y="982"/>
                </a:cubicBezTo>
                <a:cubicBezTo>
                  <a:pt x="814" y="796"/>
                  <a:pt x="814" y="796"/>
                  <a:pt x="814" y="796"/>
                </a:cubicBezTo>
                <a:cubicBezTo>
                  <a:pt x="814" y="420"/>
                  <a:pt x="814" y="420"/>
                  <a:pt x="814" y="420"/>
                </a:cubicBezTo>
                <a:lnTo>
                  <a:pt x="1165" y="4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lvl1pPr marL="0" indent="0" algn="l" defTabSz="1088937" rtl="0" eaLnBrk="1" latinLnBrk="0" hangingPunct="1">
              <a:lnSpc>
                <a:spcPct val="114000"/>
              </a:lnSpc>
              <a:spcBef>
                <a:spcPts val="0"/>
              </a:spcBef>
              <a:buFont typeface="Arial" pitchFamily="34" charset="0"/>
              <a:buNone/>
              <a:defRPr/>
            </a:lvl1pPr>
          </a:lstStyle>
          <a:p>
            <a:r>
              <a:rPr lang="nl-NL" dirty="0"/>
              <a:t> </a:t>
            </a:r>
          </a:p>
        </p:txBody>
      </p:sp>
      <p:sp>
        <p:nvSpPr>
          <p:cNvPr id="3" name="***Tijdelijke aanduiding voor tekst 2"/>
          <p:cNvSpPr>
            <a:spLocks noGrp="1" noSelect="1"/>
          </p:cNvSpPr>
          <p:nvPr>
            <p:ph type="body" sz="quarter" idx="14" hasCustomPrompt="1"/>
          </p:nvPr>
        </p:nvSpPr>
        <p:spPr bwMode="gray">
          <a:xfrm>
            <a:off x="638426" y="729135"/>
            <a:ext cx="3348000" cy="3815989"/>
          </a:xfrm>
        </p:spPr>
        <p:txBody>
          <a:bodyPr>
            <a:noAutofit/>
          </a:bodyPr>
          <a:lstStyle>
            <a:lvl1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1pPr>
            <a:lvl2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2pPr>
            <a:lvl3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3pPr>
            <a:lvl4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4pPr>
            <a:lvl5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5pPr>
            <a:lvl6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6pPr>
            <a:lvl7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7pPr>
            <a:lvl8pPr marL="0" indent="0">
              <a:lnSpc>
                <a:spcPct val="105000"/>
              </a:lnSpc>
              <a:spcBef>
                <a:spcPts val="0"/>
              </a:spcBef>
              <a:spcAft>
                <a:spcPts val="0"/>
              </a:spcAft>
              <a:buFont typeface="Arial" panose="020B0604020202020204" pitchFamily="34" charset="0"/>
              <a:buNone/>
              <a:defRPr sz="3000" b="0">
                <a:solidFill>
                  <a:schemeClr val="bg1"/>
                </a:solidFill>
                <a:latin typeface="Univers" panose="020B0603020202030204" pitchFamily="34" charset="0"/>
              </a:defRPr>
            </a:lvl8pPr>
            <a:lvl9pPr marL="0" indent="0">
              <a:lnSpc>
                <a:spcPct val="105000"/>
              </a:lnSpc>
              <a:spcBef>
                <a:spcPts val="0"/>
              </a:spcBef>
              <a:spcAft>
                <a:spcPts val="0"/>
              </a:spcAft>
              <a:buNone/>
              <a:defRPr sz="3000" b="0">
                <a:solidFill>
                  <a:schemeClr val="bg1"/>
                </a:solidFill>
                <a:latin typeface="Univers" panose="020B0603020202030204" pitchFamily="34" charset="0"/>
              </a:defRPr>
            </a:lvl9pPr>
          </a:lstStyle>
          <a:p>
            <a:pPr lvl="0"/>
            <a:r>
              <a:rPr lang="nl-NL" dirty="0"/>
              <a:t>[Hier is ruimte voor een kop of hoofdstuktitel die over maximaal 8 regels loopt. </a:t>
            </a:r>
            <a:r>
              <a:rPr lang="nl-NL" dirty="0" err="1"/>
              <a:t>Etum</a:t>
            </a:r>
            <a:r>
              <a:rPr lang="nl-NL" dirty="0"/>
              <a:t> as </a:t>
            </a:r>
            <a:r>
              <a:rPr lang="nl-NL" dirty="0" err="1"/>
              <a:t>aniet</a:t>
            </a:r>
            <a:r>
              <a:rPr lang="nl-NL" dirty="0"/>
              <a:t> </a:t>
            </a:r>
            <a:r>
              <a:rPr lang="nl-NL" dirty="0" err="1"/>
              <a:t>postrum</a:t>
            </a:r>
            <a:r>
              <a:rPr lang="nl-NL" dirty="0"/>
              <a:t> </a:t>
            </a:r>
            <a:r>
              <a:rPr lang="nl-NL" dirty="0" err="1"/>
              <a:t>coribus</a:t>
            </a:r>
            <a:r>
              <a:rPr lang="nl-NL" dirty="0"/>
              <a:t> </a:t>
            </a:r>
            <a:r>
              <a:rPr lang="nl-NL" dirty="0" err="1"/>
              <a:t>idis</a:t>
            </a:r>
            <a:r>
              <a:rPr lang="nl-NL" dirty="0"/>
              <a:t> &gt; lijnt links en boven.]</a:t>
            </a:r>
          </a:p>
        </p:txBody>
      </p:sp>
      <p:sp>
        <p:nvSpPr>
          <p:cNvPr id="16" name="witdriehoek">
            <a:extLst>
              <a:ext uri="{FF2B5EF4-FFF2-40B4-BE49-F238E27FC236}">
                <a16:creationId xmlns:a16="http://schemas.microsoft.com/office/drawing/2014/main" id="{991575C4-F7D1-4D63-81BA-956CA294FF9C}"/>
              </a:ext>
            </a:extLst>
          </p:cNvPr>
          <p:cNvSpPr>
            <a:spLocks noSelect="1"/>
          </p:cNvSpPr>
          <p:nvPr userDrawn="1"/>
        </p:nvSpPr>
        <p:spPr bwMode="auto">
          <a:xfrm>
            <a:off x="4384675" y="6156326"/>
            <a:ext cx="1395413" cy="696913"/>
          </a:xfrm>
          <a:custGeom>
            <a:avLst/>
            <a:gdLst>
              <a:gd name="T0" fmla="*/ 879 w 879"/>
              <a:gd name="T1" fmla="*/ 439 h 439"/>
              <a:gd name="T2" fmla="*/ 0 w 879"/>
              <a:gd name="T3" fmla="*/ 439 h 439"/>
              <a:gd name="T4" fmla="*/ 439 w 879"/>
              <a:gd name="T5" fmla="*/ 0 h 439"/>
              <a:gd name="T6" fmla="*/ 879 w 879"/>
              <a:gd name="T7" fmla="*/ 439 h 439"/>
            </a:gdLst>
            <a:ahLst/>
            <a:cxnLst>
              <a:cxn ang="0">
                <a:pos x="T0" y="T1"/>
              </a:cxn>
              <a:cxn ang="0">
                <a:pos x="T2" y="T3"/>
              </a:cxn>
              <a:cxn ang="0">
                <a:pos x="T4" y="T5"/>
              </a:cxn>
              <a:cxn ang="0">
                <a:pos x="T6" y="T7"/>
              </a:cxn>
            </a:cxnLst>
            <a:rect l="0" t="0" r="r" b="b"/>
            <a:pathLst>
              <a:path w="879" h="439">
                <a:moveTo>
                  <a:pt x="879" y="439"/>
                </a:moveTo>
                <a:lnTo>
                  <a:pt x="0" y="439"/>
                </a:lnTo>
                <a:lnTo>
                  <a:pt x="439" y="0"/>
                </a:lnTo>
                <a:lnTo>
                  <a:pt x="879"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x-none" dirty="0"/>
          </a:p>
        </p:txBody>
      </p:sp>
      <p:sp>
        <p:nvSpPr>
          <p:cNvPr id="17" name="kleurdriehoek">
            <a:extLst>
              <a:ext uri="{FF2B5EF4-FFF2-40B4-BE49-F238E27FC236}">
                <a16:creationId xmlns:a16="http://schemas.microsoft.com/office/drawing/2014/main" id="{3CA0437A-72F4-4330-A537-4E1F3BA1DC05}"/>
              </a:ext>
            </a:extLst>
          </p:cNvPr>
          <p:cNvSpPr>
            <a:spLocks noSelect="1"/>
          </p:cNvSpPr>
          <p:nvPr userDrawn="1"/>
        </p:nvSpPr>
        <p:spPr bwMode="auto">
          <a:xfrm>
            <a:off x="4384675" y="5459413"/>
            <a:ext cx="696913" cy="1393825"/>
          </a:xfrm>
          <a:custGeom>
            <a:avLst/>
            <a:gdLst>
              <a:gd name="T0" fmla="*/ 0 w 439"/>
              <a:gd name="T1" fmla="*/ 878 h 878"/>
              <a:gd name="T2" fmla="*/ 0 w 439"/>
              <a:gd name="T3" fmla="*/ 0 h 878"/>
              <a:gd name="T4" fmla="*/ 439 w 439"/>
              <a:gd name="T5" fmla="*/ 439 h 878"/>
              <a:gd name="T6" fmla="*/ 0 w 439"/>
              <a:gd name="T7" fmla="*/ 878 h 878"/>
            </a:gdLst>
            <a:ahLst/>
            <a:cxnLst>
              <a:cxn ang="0">
                <a:pos x="T0" y="T1"/>
              </a:cxn>
              <a:cxn ang="0">
                <a:pos x="T2" y="T3"/>
              </a:cxn>
              <a:cxn ang="0">
                <a:pos x="T4" y="T5"/>
              </a:cxn>
              <a:cxn ang="0">
                <a:pos x="T6" y="T7"/>
              </a:cxn>
            </a:cxnLst>
            <a:rect l="0" t="0" r="r" b="b"/>
            <a:pathLst>
              <a:path w="439" h="878">
                <a:moveTo>
                  <a:pt x="0" y="878"/>
                </a:moveTo>
                <a:lnTo>
                  <a:pt x="0" y="0"/>
                </a:lnTo>
                <a:lnTo>
                  <a:pt x="439" y="439"/>
                </a:lnTo>
                <a:lnTo>
                  <a:pt x="0" y="878"/>
                </a:lnTo>
                <a:close/>
              </a:path>
            </a:pathLst>
          </a:custGeom>
          <a:solidFill>
            <a:srgbClr val="78BD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x-none" dirty="0"/>
          </a:p>
        </p:txBody>
      </p:sp>
    </p:spTree>
    <p:extLst>
      <p:ext uri="{BB962C8B-B14F-4D97-AF65-F5344CB8AC3E}">
        <p14:creationId xmlns:p14="http://schemas.microsoft.com/office/powerpoint/2010/main" val="20886071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5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700" fill="hold"/>
                                        <p:tgtEl>
                                          <p:spTgt spid="8"/>
                                        </p:tgtEl>
                                        <p:attrNameLst>
                                          <p:attrName>ppt_x</p:attrName>
                                        </p:attrNameLst>
                                      </p:cBhvr>
                                      <p:tavLst>
                                        <p:tav tm="0">
                                          <p:val>
                                            <p:strVal val="1+#ppt_w/2"/>
                                          </p:val>
                                        </p:tav>
                                        <p:tav tm="100000">
                                          <p:val>
                                            <p:strVal val="#ppt_x"/>
                                          </p:val>
                                        </p:tav>
                                      </p:tavLst>
                                    </p:anim>
                                    <p:anim calcmode="lin" valueType="num">
                                      <p:cBhvr additive="base">
                                        <p:cTn id="8" dur="7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decel="50000" fill="hold" grpId="0" nodeType="withEffect">
                                  <p:stCondLst>
                                    <p:cond delay="0"/>
                                  </p:stCondLst>
                                  <p:childTnLst>
                                    <p:set>
                                      <p:cBhvr>
                                        <p:cTn id="10" dur="1" fill="hold">
                                          <p:stCondLst>
                                            <p:cond delay="0"/>
                                          </p:stCondLst>
                                        </p:cTn>
                                        <p:tgtEl>
                                          <p:spTgt spid="7">
                                            <p:bg/>
                                          </p:spTgt>
                                        </p:tgtEl>
                                        <p:attrNameLst>
                                          <p:attrName>style.visibility</p:attrName>
                                        </p:attrNameLst>
                                      </p:cBhvr>
                                      <p:to>
                                        <p:strVal val="visible"/>
                                      </p:to>
                                    </p:set>
                                    <p:anim calcmode="lin" valueType="num">
                                      <p:cBhvr additive="base">
                                        <p:cTn id="11" dur="700" fill="hold"/>
                                        <p:tgtEl>
                                          <p:spTgt spid="7">
                                            <p:bg/>
                                          </p:spTgt>
                                        </p:tgtEl>
                                        <p:attrNameLst>
                                          <p:attrName>ppt_x</p:attrName>
                                        </p:attrNameLst>
                                      </p:cBhvr>
                                      <p:tavLst>
                                        <p:tav tm="0">
                                          <p:val>
                                            <p:strVal val="0-#ppt_w/2"/>
                                          </p:val>
                                        </p:tav>
                                        <p:tav tm="100000">
                                          <p:val>
                                            <p:strVal val="#ppt_x"/>
                                          </p:val>
                                        </p:tav>
                                      </p:tavLst>
                                    </p:anim>
                                    <p:anim calcmode="lin" valueType="num">
                                      <p:cBhvr additive="base">
                                        <p:cTn id="12" dur="700" fill="hold"/>
                                        <p:tgtEl>
                                          <p:spTgt spid="7">
                                            <p:bg/>
                                          </p:spTgt>
                                        </p:tgtEl>
                                        <p:attrNameLst>
                                          <p:attrName>ppt_y</p:attrName>
                                        </p:attrNameLst>
                                      </p:cBhvr>
                                      <p:tavLst>
                                        <p:tav tm="0">
                                          <p:val>
                                            <p:strVal val="#ppt_y"/>
                                          </p:val>
                                        </p:tav>
                                        <p:tav tm="100000">
                                          <p:val>
                                            <p:strVal val="#ppt_y"/>
                                          </p:val>
                                        </p:tav>
                                      </p:tavLst>
                                    </p:anim>
                                  </p:childTnLst>
                                </p:cTn>
                              </p:par>
                              <p:par>
                                <p:cTn id="13" presetID="2" presetClass="entr" presetSubtype="8" decel="50000" fill="hold" grpId="0" nodeType="withEffect">
                                  <p:stCondLst>
                                    <p:cond delay="0"/>
                                  </p:stCondLst>
                                  <p:childTnLst>
                                    <p:set>
                                      <p:cBhvr>
                                        <p:cTn id="14" dur="1" fill="hold">
                                          <p:stCondLst>
                                            <p:cond delay="0"/>
                                          </p:stCondLst>
                                        </p:cTn>
                                        <p:tgtEl>
                                          <p:spTgt spid="7">
                                            <p:txEl>
                                              <p:pRg st="0" end="0"/>
                                            </p:txEl>
                                          </p:spTgt>
                                        </p:tgtEl>
                                        <p:attrNameLst>
                                          <p:attrName>style.visibility</p:attrName>
                                        </p:attrNameLst>
                                      </p:cBhvr>
                                      <p:to>
                                        <p:strVal val="visible"/>
                                      </p:to>
                                    </p:set>
                                    <p:anim calcmode="lin" valueType="num">
                                      <p:cBhvr additive="base">
                                        <p:cTn id="15" dur="700" fill="hold"/>
                                        <p:tgtEl>
                                          <p:spTgt spid="7">
                                            <p:txEl>
                                              <p:pRg st="0" end="0"/>
                                            </p:txEl>
                                          </p:spTgt>
                                        </p:tgtEl>
                                        <p:attrNameLst>
                                          <p:attrName>ppt_x</p:attrName>
                                        </p:attrNameLst>
                                      </p:cBhvr>
                                      <p:tavLst>
                                        <p:tav tm="0">
                                          <p:val>
                                            <p:strVal val="0-#ppt_w/2"/>
                                          </p:val>
                                        </p:tav>
                                        <p:tav tm="100000">
                                          <p:val>
                                            <p:strVal val="#ppt_x"/>
                                          </p:val>
                                        </p:tav>
                                      </p:tavLst>
                                    </p:anim>
                                    <p:anim calcmode="lin" valueType="num">
                                      <p:cBhvr additive="base">
                                        <p:cTn id="16" dur="700" fill="hold"/>
                                        <p:tgtEl>
                                          <p:spTgt spid="7">
                                            <p:txEl>
                                              <p:pRg st="0" end="0"/>
                                            </p:txEl>
                                          </p:spTgt>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60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200"/>
                                        <p:tgtEl>
                                          <p:spTgt spid="9"/>
                                        </p:tgtEl>
                                      </p:cBhvr>
                                    </p:animEffect>
                                  </p:childTnLst>
                                </p:cTn>
                              </p:par>
                              <p:par>
                                <p:cTn id="20" presetID="10" presetClass="entr" presetSubtype="0" fill="hold" grpId="0" nodeType="withEffect">
                                  <p:stCondLst>
                                    <p:cond delay="60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200"/>
                                        <p:tgtEl>
                                          <p:spTgt spid="10"/>
                                        </p:tgtEl>
                                      </p:cBhvr>
                                    </p:animEffect>
                                  </p:childTnLst>
                                </p:cTn>
                              </p:par>
                            </p:childTnLst>
                          </p:cTn>
                        </p:par>
                        <p:par>
                          <p:cTn id="23" fill="hold">
                            <p:stCondLst>
                              <p:cond delay="800"/>
                            </p:stCondLst>
                            <p:childTnLst>
                              <p:par>
                                <p:cTn id="24" presetID="1" presetClass="entr" presetSubtype="0" fill="hold" grpId="0" nodeType="afterEffect">
                                  <p:stCondLst>
                                    <p:cond delay="0"/>
                                  </p:stCondLst>
                                  <p:childTnLst>
                                    <p:set>
                                      <p:cBhvr>
                                        <p:cTn id="25"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animBg="1">
        <p:tmplLst>
          <p:tmpl>
            <p:tnLst>
              <p:par>
                <p:cTn presetID="2" presetClass="entr" presetSubtype="8" decel="50000" fill="hold" nodeType="withEffect">
                  <p:stCondLst>
                    <p:cond delay="0"/>
                  </p:stCondLst>
                  <p:childTnLst>
                    <p:set>
                      <p:cBhvr>
                        <p:cTn dur="1" fill="hold">
                          <p:stCondLst>
                            <p:cond delay="0"/>
                          </p:stCondLst>
                        </p:cTn>
                        <p:tgtEl>
                          <p:spTgt spid="7"/>
                        </p:tgtEl>
                        <p:attrNameLst>
                          <p:attrName>style.visibility</p:attrName>
                        </p:attrNameLst>
                      </p:cBhvr>
                      <p:to>
                        <p:strVal val="visible"/>
                      </p:to>
                    </p:set>
                    <p:anim calcmode="lin" valueType="num">
                      <p:cBhvr additive="base">
                        <p:cTn dur="700" fill="hold"/>
                        <p:tgtEl>
                          <p:spTgt spid="7"/>
                        </p:tgtEl>
                        <p:attrNameLst>
                          <p:attrName>ppt_x</p:attrName>
                        </p:attrNameLst>
                      </p:cBhvr>
                      <p:tavLst>
                        <p:tav tm="0">
                          <p:val>
                            <p:strVal val="0-#ppt_w/2"/>
                          </p:val>
                        </p:tav>
                        <p:tav tm="100000">
                          <p:val>
                            <p:strVal val="#ppt_x"/>
                          </p:val>
                        </p:tav>
                      </p:tavLst>
                    </p:anim>
                    <p:anim calcmode="lin" valueType="num">
                      <p:cBhvr additive="base">
                        <p:cTn dur="700" fill="hold"/>
                        <p:tgtEl>
                          <p:spTgt spid="7"/>
                        </p:tgtEl>
                        <p:attrNameLst>
                          <p:attrName>ppt_y</p:attrName>
                        </p:attrNameLst>
                      </p:cBhvr>
                      <p:tavLst>
                        <p:tav tm="0">
                          <p:val>
                            <p:strVal val="#ppt_y"/>
                          </p:val>
                        </p:tav>
                        <p:tav tm="100000">
                          <p:val>
                            <p:strVal val="#ppt_y"/>
                          </p:val>
                        </p:tav>
                      </p:tavLst>
                    </p:anim>
                  </p:childTnLst>
                </p:cTn>
              </p:par>
            </p:tnLst>
          </p:tmpl>
          <p:tmpl lvl="1">
            <p:tnLst>
              <p:par>
                <p:cTn presetID="2" presetClass="entr" presetSubtype="8" decel="50000" fill="hold" nodeType="withEffect">
                  <p:stCondLst>
                    <p:cond delay="0"/>
                  </p:stCondLst>
                  <p:childTnLst>
                    <p:set>
                      <p:cBhvr>
                        <p:cTn dur="1" fill="hold">
                          <p:stCondLst>
                            <p:cond delay="0"/>
                          </p:stCondLst>
                        </p:cTn>
                        <p:tgtEl>
                          <p:spTgt spid="7"/>
                        </p:tgtEl>
                        <p:attrNameLst>
                          <p:attrName>style.visibility</p:attrName>
                        </p:attrNameLst>
                      </p:cBhvr>
                      <p:to>
                        <p:strVal val="visible"/>
                      </p:to>
                    </p:set>
                    <p:anim calcmode="lin" valueType="num">
                      <p:cBhvr additive="base">
                        <p:cTn dur="700" fill="hold"/>
                        <p:tgtEl>
                          <p:spTgt spid="7"/>
                        </p:tgtEl>
                        <p:attrNameLst>
                          <p:attrName>ppt_x</p:attrName>
                        </p:attrNameLst>
                      </p:cBhvr>
                      <p:tavLst>
                        <p:tav tm="0">
                          <p:val>
                            <p:strVal val="0-#ppt_w/2"/>
                          </p:val>
                        </p:tav>
                        <p:tav tm="100000">
                          <p:val>
                            <p:strVal val="#ppt_x"/>
                          </p:val>
                        </p:tav>
                      </p:tavLst>
                    </p:anim>
                    <p:anim calcmode="lin" valueType="num">
                      <p:cBhvr additive="base">
                        <p:cTn dur="700" fill="hold"/>
                        <p:tgtEl>
                          <p:spTgt spid="7"/>
                        </p:tgtEl>
                        <p:attrNameLst>
                          <p:attrName>ppt_y</p:attrName>
                        </p:attrNameLst>
                      </p:cBhvr>
                      <p:tavLst>
                        <p:tav tm="0">
                          <p:val>
                            <p:strVal val="#ppt_y"/>
                          </p:val>
                        </p:tav>
                        <p:tav tm="100000">
                          <p:val>
                            <p:strVal val="#ppt_y"/>
                          </p:val>
                        </p:tav>
                      </p:tavLst>
                    </p:anim>
                  </p:childTnLst>
                </p:cTn>
              </p:par>
            </p:tnLst>
          </p:tmpl>
        </p:tmplLst>
      </p:bldP>
      <p:bldP spid="8" grpId="0"/>
      <p:bldP spid="9" grpId="0" animBg="1">
        <p:tmplLst>
          <p:tmpl>
            <p:tnLst>
              <p:par>
                <p:cTn presetID="10" presetClass="entr" presetSubtype="0" fill="hold" nodeType="withEffect">
                  <p:stCondLst>
                    <p:cond delay="600"/>
                  </p:stCondLst>
                  <p:childTnLst>
                    <p:set>
                      <p:cBhvr>
                        <p:cTn dur="1" fill="hold">
                          <p:stCondLst>
                            <p:cond delay="0"/>
                          </p:stCondLst>
                        </p:cTn>
                        <p:tgtEl>
                          <p:spTgt spid="9"/>
                        </p:tgtEl>
                        <p:attrNameLst>
                          <p:attrName>style.visibility</p:attrName>
                        </p:attrNameLst>
                      </p:cBhvr>
                      <p:to>
                        <p:strVal val="visible"/>
                      </p:to>
                    </p:set>
                    <p:animEffect transition="in" filter="fade">
                      <p:cBhvr>
                        <p:cTn dur="200"/>
                        <p:tgtEl>
                          <p:spTgt spid="9"/>
                        </p:tgtEl>
                      </p:cBhvr>
                    </p:animEffect>
                  </p:childTnLst>
                </p:cTn>
              </p:par>
            </p:tnLst>
          </p:tmpl>
        </p:tmplLst>
      </p:bldP>
      <p:bldP spid="10" grpId="0" animBg="1">
        <p:tmplLst>
          <p:tmpl>
            <p:tnLst>
              <p:par>
                <p:cTn presetID="10" presetClass="entr" presetSubtype="0" fill="hold" nodeType="withEffect">
                  <p:stCondLst>
                    <p:cond delay="600"/>
                  </p:stCondLst>
                  <p:childTnLst>
                    <p:set>
                      <p:cBhvr>
                        <p:cTn dur="1" fill="hold">
                          <p:stCondLst>
                            <p:cond delay="0"/>
                          </p:stCondLst>
                        </p:cTn>
                        <p:tgtEl>
                          <p:spTgt spid="10"/>
                        </p:tgtEl>
                        <p:attrNameLst>
                          <p:attrName>style.visibility</p:attrName>
                        </p:attrNameLst>
                      </p:cBhvr>
                      <p:to>
                        <p:strVal val="visible"/>
                      </p:to>
                    </p:set>
                    <p:animEffect transition="in" filter="fade">
                      <p:cBhvr>
                        <p:cTn dur="200"/>
                        <p:tgtEl>
                          <p:spTgt spid="10"/>
                        </p:tgtEl>
                      </p:cBhvr>
                    </p:animEffect>
                  </p:childTnLst>
                </p:cTn>
              </p:par>
            </p:tnLst>
          </p:tmpl>
        </p:tmplLst>
      </p:bldP>
      <p:bldP spid="17" grpId="0" animBg="1"/>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pSp>
        <p:nvGrpSpPr>
          <p:cNvPr id="13" name="Group 4">
            <a:extLst>
              <a:ext uri="{FF2B5EF4-FFF2-40B4-BE49-F238E27FC236}">
                <a16:creationId xmlns:a16="http://schemas.microsoft.com/office/drawing/2014/main" id="{6EC04E3E-340D-4B9B-89E8-5F0135ADA501}"/>
              </a:ext>
            </a:extLst>
          </p:cNvPr>
          <p:cNvGrpSpPr>
            <a:grpSpLocks noSelect="1" noChangeAspect="1"/>
          </p:cNvGrpSpPr>
          <p:nvPr userDrawn="1"/>
        </p:nvGrpSpPr>
        <p:grpSpPr bwMode="gray">
          <a:xfrm>
            <a:off x="6475413" y="8731"/>
            <a:ext cx="5719763" cy="6854825"/>
            <a:chOff x="4079" y="1"/>
            <a:chExt cx="3603" cy="4318"/>
          </a:xfrm>
        </p:grpSpPr>
        <p:sp>
          <p:nvSpPr>
            <p:cNvPr id="14" name="Freeform 5">
              <a:extLst>
                <a:ext uri="{FF2B5EF4-FFF2-40B4-BE49-F238E27FC236}">
                  <a16:creationId xmlns:a16="http://schemas.microsoft.com/office/drawing/2014/main" id="{84184A2E-78F0-4684-8515-512D3FDC4E1E}"/>
                </a:ext>
              </a:extLst>
            </p:cNvPr>
            <p:cNvSpPr>
              <a:spLocks noSelect="1"/>
            </p:cNvSpPr>
            <p:nvPr userDrawn="1"/>
          </p:nvSpPr>
          <p:spPr bwMode="gray">
            <a:xfrm>
              <a:off x="4080" y="1"/>
              <a:ext cx="3602" cy="4318"/>
            </a:xfrm>
            <a:custGeom>
              <a:avLst/>
              <a:gdLst>
                <a:gd name="T0" fmla="*/ 11720 w 18008"/>
                <a:gd name="T1" fmla="*/ 18000 h 21615"/>
                <a:gd name="T2" fmla="*/ 2951 w 18008"/>
                <a:gd name="T3" fmla="*/ 18448 h 21615"/>
                <a:gd name="T4" fmla="*/ 475 w 18008"/>
                <a:gd name="T5" fmla="*/ 13933 h 21615"/>
                <a:gd name="T6" fmla="*/ 646 w 18008"/>
                <a:gd name="T7" fmla="*/ 15854 h 21615"/>
                <a:gd name="T8" fmla="*/ 489 w 18008"/>
                <a:gd name="T9" fmla="*/ 8109 h 21615"/>
                <a:gd name="T10" fmla="*/ 3010 w 18008"/>
                <a:gd name="T11" fmla="*/ 7533 h 21615"/>
                <a:gd name="T12" fmla="*/ 5914 w 18008"/>
                <a:gd name="T13" fmla="*/ 14207 h 21615"/>
                <a:gd name="T14" fmla="*/ 3333 w 18008"/>
                <a:gd name="T15" fmla="*/ 13449 h 21615"/>
                <a:gd name="T16" fmla="*/ 3256 w 18008"/>
                <a:gd name="T17" fmla="*/ 9761 h 21615"/>
                <a:gd name="T18" fmla="*/ 4650 w 18008"/>
                <a:gd name="T19" fmla="*/ 12353 h 21615"/>
                <a:gd name="T20" fmla="*/ 3542 w 18008"/>
                <a:gd name="T21" fmla="*/ 9814 h 21615"/>
                <a:gd name="T22" fmla="*/ 4980 w 18008"/>
                <a:gd name="T23" fmla="*/ 11136 h 21615"/>
                <a:gd name="T24" fmla="*/ 3238 w 18008"/>
                <a:gd name="T25" fmla="*/ 4799 h 21615"/>
                <a:gd name="T26" fmla="*/ 6919 w 18008"/>
                <a:gd name="T27" fmla="*/ 11806 h 21615"/>
                <a:gd name="T28" fmla="*/ 7365 w 18008"/>
                <a:gd name="T29" fmla="*/ 16078 h 21615"/>
                <a:gd name="T30" fmla="*/ 6165 w 18008"/>
                <a:gd name="T31" fmla="*/ 13626 h 21615"/>
                <a:gd name="T32" fmla="*/ 10444 w 18008"/>
                <a:gd name="T33" fmla="*/ 16100 h 21615"/>
                <a:gd name="T34" fmla="*/ 8091 w 18008"/>
                <a:gd name="T35" fmla="*/ 17917 h 21615"/>
                <a:gd name="T36" fmla="*/ 7905 w 18008"/>
                <a:gd name="T37" fmla="*/ 13695 h 21615"/>
                <a:gd name="T38" fmla="*/ 3861 w 18008"/>
                <a:gd name="T39" fmla="*/ 16568 h 21615"/>
                <a:gd name="T40" fmla="*/ 6601 w 18008"/>
                <a:gd name="T41" fmla="*/ 13574 h 21615"/>
                <a:gd name="T42" fmla="*/ 6508 w 18008"/>
                <a:gd name="T43" fmla="*/ 3883 h 21615"/>
                <a:gd name="T44" fmla="*/ 7913 w 18008"/>
                <a:gd name="T45" fmla="*/ 12404 h 21615"/>
                <a:gd name="T46" fmla="*/ 1076 w 18008"/>
                <a:gd name="T47" fmla="*/ 9159 h 21615"/>
                <a:gd name="T48" fmla="*/ 1292 w 18008"/>
                <a:gd name="T49" fmla="*/ 8495 h 21615"/>
                <a:gd name="T50" fmla="*/ 3210 w 18008"/>
                <a:gd name="T51" fmla="*/ 12036 h 21615"/>
                <a:gd name="T52" fmla="*/ 1830 w 18008"/>
                <a:gd name="T53" fmla="*/ 12640 h 21615"/>
                <a:gd name="T54" fmla="*/ 750 w 18008"/>
                <a:gd name="T55" fmla="*/ 14137 h 21615"/>
                <a:gd name="T56" fmla="*/ 13999 w 18008"/>
                <a:gd name="T57" fmla="*/ 871 h 21615"/>
                <a:gd name="T58" fmla="*/ 346 w 18008"/>
                <a:gd name="T59" fmla="*/ 10516 h 21615"/>
                <a:gd name="T60" fmla="*/ 12157 w 18008"/>
                <a:gd name="T61" fmla="*/ 17527 h 21615"/>
                <a:gd name="T62" fmla="*/ 10180 w 18008"/>
                <a:gd name="T63" fmla="*/ 12723 h 21615"/>
                <a:gd name="T64" fmla="*/ 9140 w 18008"/>
                <a:gd name="T65" fmla="*/ 15965 h 21615"/>
                <a:gd name="T66" fmla="*/ 7181 w 18008"/>
                <a:gd name="T67" fmla="*/ 3087 h 21615"/>
                <a:gd name="T68" fmla="*/ 2042 w 18008"/>
                <a:gd name="T69" fmla="*/ 14599 h 21615"/>
                <a:gd name="T70" fmla="*/ 1627 w 18008"/>
                <a:gd name="T71" fmla="*/ 7179 h 21615"/>
                <a:gd name="T72" fmla="*/ 2827 w 18008"/>
                <a:gd name="T73" fmla="*/ 10500 h 21615"/>
                <a:gd name="T74" fmla="*/ 6568 w 18008"/>
                <a:gd name="T75" fmla="*/ 7350 h 21615"/>
                <a:gd name="T76" fmla="*/ 5166 w 18008"/>
                <a:gd name="T77" fmla="*/ 6712 h 21615"/>
                <a:gd name="T78" fmla="*/ 6739 w 18008"/>
                <a:gd name="T79" fmla="*/ 7396 h 21615"/>
                <a:gd name="T80" fmla="*/ 3150 w 18008"/>
                <a:gd name="T81" fmla="*/ 5568 h 21615"/>
                <a:gd name="T82" fmla="*/ 4785 w 18008"/>
                <a:gd name="T83" fmla="*/ 7738 h 21615"/>
                <a:gd name="T84" fmla="*/ 2050 w 18008"/>
                <a:gd name="T85" fmla="*/ 5398 h 21615"/>
                <a:gd name="T86" fmla="*/ 3544 w 18008"/>
                <a:gd name="T87" fmla="*/ 7428 h 21615"/>
                <a:gd name="T88" fmla="*/ 5048 w 18008"/>
                <a:gd name="T89" fmla="*/ 13344 h 21615"/>
                <a:gd name="T90" fmla="*/ 5171 w 18008"/>
                <a:gd name="T91" fmla="*/ 9687 h 21615"/>
                <a:gd name="T92" fmla="*/ 4214 w 18008"/>
                <a:gd name="T93" fmla="*/ 12816 h 21615"/>
                <a:gd name="T94" fmla="*/ 4152 w 18008"/>
                <a:gd name="T95" fmla="*/ 10388 h 21615"/>
                <a:gd name="T96" fmla="*/ 5003 w 18008"/>
                <a:gd name="T97" fmla="*/ 13344 h 21615"/>
                <a:gd name="T98" fmla="*/ 6551 w 18008"/>
                <a:gd name="T99" fmla="*/ 9385 h 21615"/>
                <a:gd name="T100" fmla="*/ 5149 w 18008"/>
                <a:gd name="T101" fmla="*/ 8291 h 21615"/>
                <a:gd name="T102" fmla="*/ 6952 w 18008"/>
                <a:gd name="T103" fmla="*/ 12562 h 21615"/>
                <a:gd name="T104" fmla="*/ 2266 w 18008"/>
                <a:gd name="T105" fmla="*/ 5128 h 21615"/>
                <a:gd name="T106" fmla="*/ 4118 w 18008"/>
                <a:gd name="T107" fmla="*/ 7990 h 21615"/>
                <a:gd name="T108" fmla="*/ 6214 w 18008"/>
                <a:gd name="T109" fmla="*/ 14954 h 21615"/>
                <a:gd name="T110" fmla="*/ 1910 w 18008"/>
                <a:gd name="T111" fmla="*/ 4534 h 21615"/>
                <a:gd name="T112" fmla="*/ 1293 w 18008"/>
                <a:gd name="T113" fmla="*/ 10844 h 21615"/>
                <a:gd name="T114" fmla="*/ 1212 w 18008"/>
                <a:gd name="T115" fmla="*/ 17236 h 21615"/>
                <a:gd name="T116" fmla="*/ 7604 w 18008"/>
                <a:gd name="T117" fmla="*/ 14741 h 21615"/>
                <a:gd name="T118" fmla="*/ 4497 w 18008"/>
                <a:gd name="T119" fmla="*/ 2042 h 21615"/>
                <a:gd name="T120" fmla="*/ 865 w 18008"/>
                <a:gd name="T121" fmla="*/ 10683 h 21615"/>
                <a:gd name="T122" fmla="*/ 930 w 18008"/>
                <a:gd name="T123" fmla="*/ 17276 h 21615"/>
                <a:gd name="T124" fmla="*/ 12015 w 18008"/>
                <a:gd name="T125" fmla="*/ 16587 h 2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08" h="21615">
                  <a:moveTo>
                    <a:pt x="3950" y="18222"/>
                  </a:moveTo>
                  <a:cubicBezTo>
                    <a:pt x="4003" y="18168"/>
                    <a:pt x="4003" y="18168"/>
                    <a:pt x="4003" y="18168"/>
                  </a:cubicBezTo>
                  <a:cubicBezTo>
                    <a:pt x="4055" y="18219"/>
                    <a:pt x="4055" y="18219"/>
                    <a:pt x="4055" y="18219"/>
                  </a:cubicBezTo>
                  <a:cubicBezTo>
                    <a:pt x="4154" y="18118"/>
                    <a:pt x="4154" y="18118"/>
                    <a:pt x="4154" y="18118"/>
                  </a:cubicBezTo>
                  <a:cubicBezTo>
                    <a:pt x="4085" y="18051"/>
                    <a:pt x="4085" y="18051"/>
                    <a:pt x="4085" y="18051"/>
                  </a:cubicBezTo>
                  <a:cubicBezTo>
                    <a:pt x="4080" y="18055"/>
                    <a:pt x="4080" y="18055"/>
                    <a:pt x="4080" y="18055"/>
                  </a:cubicBezTo>
                  <a:cubicBezTo>
                    <a:pt x="4072" y="18064"/>
                    <a:pt x="4072" y="18064"/>
                    <a:pt x="4072" y="18064"/>
                  </a:cubicBezTo>
                  <a:cubicBezTo>
                    <a:pt x="4037" y="18029"/>
                    <a:pt x="4037" y="18029"/>
                    <a:pt x="4037" y="18029"/>
                  </a:cubicBezTo>
                  <a:cubicBezTo>
                    <a:pt x="3900" y="18164"/>
                    <a:pt x="3900" y="18164"/>
                    <a:pt x="3900" y="18164"/>
                  </a:cubicBezTo>
                  <a:cubicBezTo>
                    <a:pt x="3896" y="18169"/>
                    <a:pt x="3896" y="18169"/>
                    <a:pt x="3896" y="18169"/>
                  </a:cubicBezTo>
                  <a:lnTo>
                    <a:pt x="3950" y="18222"/>
                  </a:lnTo>
                  <a:close/>
                  <a:moveTo>
                    <a:pt x="4037" y="18047"/>
                  </a:moveTo>
                  <a:cubicBezTo>
                    <a:pt x="4072" y="18082"/>
                    <a:pt x="4072" y="18082"/>
                    <a:pt x="4072" y="18082"/>
                  </a:cubicBezTo>
                  <a:cubicBezTo>
                    <a:pt x="4077" y="18078"/>
                    <a:pt x="4077" y="18078"/>
                    <a:pt x="4077" y="18078"/>
                  </a:cubicBezTo>
                  <a:cubicBezTo>
                    <a:pt x="4085" y="18069"/>
                    <a:pt x="4085" y="18069"/>
                    <a:pt x="4085" y="18069"/>
                  </a:cubicBezTo>
                  <a:cubicBezTo>
                    <a:pt x="4135" y="18119"/>
                    <a:pt x="4135" y="18119"/>
                    <a:pt x="4135" y="18119"/>
                  </a:cubicBezTo>
                  <a:cubicBezTo>
                    <a:pt x="4055" y="18200"/>
                    <a:pt x="4055" y="18200"/>
                    <a:pt x="4055" y="18200"/>
                  </a:cubicBezTo>
                  <a:cubicBezTo>
                    <a:pt x="4003" y="18149"/>
                    <a:pt x="4003" y="18149"/>
                    <a:pt x="4003" y="18149"/>
                  </a:cubicBezTo>
                  <a:cubicBezTo>
                    <a:pt x="3950" y="18203"/>
                    <a:pt x="3950" y="18203"/>
                    <a:pt x="3950" y="18203"/>
                  </a:cubicBezTo>
                  <a:cubicBezTo>
                    <a:pt x="3914" y="18169"/>
                    <a:pt x="3914" y="18169"/>
                    <a:pt x="3914" y="18169"/>
                  </a:cubicBezTo>
                  <a:lnTo>
                    <a:pt x="4037" y="18047"/>
                  </a:lnTo>
                  <a:close/>
                  <a:moveTo>
                    <a:pt x="4835" y="18023"/>
                  </a:moveTo>
                  <a:cubicBezTo>
                    <a:pt x="4835" y="18000"/>
                    <a:pt x="4835" y="18000"/>
                    <a:pt x="4835" y="18000"/>
                  </a:cubicBezTo>
                  <a:cubicBezTo>
                    <a:pt x="4848" y="18000"/>
                    <a:pt x="4848" y="18000"/>
                    <a:pt x="4848" y="18000"/>
                  </a:cubicBezTo>
                  <a:cubicBezTo>
                    <a:pt x="4848" y="18016"/>
                    <a:pt x="4848" y="18016"/>
                    <a:pt x="4848" y="18016"/>
                  </a:cubicBezTo>
                  <a:cubicBezTo>
                    <a:pt x="4906" y="18016"/>
                    <a:pt x="4906" y="18016"/>
                    <a:pt x="4906" y="18016"/>
                  </a:cubicBezTo>
                  <a:cubicBezTo>
                    <a:pt x="4906" y="18089"/>
                    <a:pt x="4906" y="18089"/>
                    <a:pt x="4906" y="18089"/>
                  </a:cubicBezTo>
                  <a:cubicBezTo>
                    <a:pt x="4990" y="18088"/>
                    <a:pt x="4990" y="18088"/>
                    <a:pt x="4990" y="18088"/>
                  </a:cubicBezTo>
                  <a:cubicBezTo>
                    <a:pt x="4989" y="18000"/>
                    <a:pt x="4989" y="18000"/>
                    <a:pt x="4989" y="18000"/>
                  </a:cubicBezTo>
                  <a:cubicBezTo>
                    <a:pt x="5003" y="18000"/>
                    <a:pt x="5003" y="18000"/>
                    <a:pt x="5003" y="18000"/>
                  </a:cubicBezTo>
                  <a:cubicBezTo>
                    <a:pt x="5003" y="18101"/>
                    <a:pt x="5003" y="18101"/>
                    <a:pt x="5003" y="18101"/>
                  </a:cubicBezTo>
                  <a:cubicBezTo>
                    <a:pt x="4893" y="18102"/>
                    <a:pt x="4893" y="18102"/>
                    <a:pt x="4893" y="18102"/>
                  </a:cubicBezTo>
                  <a:cubicBezTo>
                    <a:pt x="4893" y="18029"/>
                    <a:pt x="4893" y="18029"/>
                    <a:pt x="4893" y="18029"/>
                  </a:cubicBezTo>
                  <a:cubicBezTo>
                    <a:pt x="4836" y="18029"/>
                    <a:pt x="4836" y="18029"/>
                    <a:pt x="4836" y="18029"/>
                  </a:cubicBezTo>
                  <a:lnTo>
                    <a:pt x="4835" y="18023"/>
                  </a:lnTo>
                  <a:close/>
                  <a:moveTo>
                    <a:pt x="4728" y="18465"/>
                  </a:moveTo>
                  <a:cubicBezTo>
                    <a:pt x="4729" y="18635"/>
                    <a:pt x="4729" y="18635"/>
                    <a:pt x="4729" y="18635"/>
                  </a:cubicBezTo>
                  <a:cubicBezTo>
                    <a:pt x="4814" y="18636"/>
                    <a:pt x="4814" y="18636"/>
                    <a:pt x="4814" y="18636"/>
                  </a:cubicBezTo>
                  <a:cubicBezTo>
                    <a:pt x="4815" y="18733"/>
                    <a:pt x="4815" y="18733"/>
                    <a:pt x="4815" y="18733"/>
                  </a:cubicBezTo>
                  <a:cubicBezTo>
                    <a:pt x="4937" y="18733"/>
                    <a:pt x="4937" y="18733"/>
                    <a:pt x="4937" y="18733"/>
                  </a:cubicBezTo>
                  <a:cubicBezTo>
                    <a:pt x="4940" y="18551"/>
                    <a:pt x="4940" y="18551"/>
                    <a:pt x="4940" y="18551"/>
                  </a:cubicBezTo>
                  <a:cubicBezTo>
                    <a:pt x="4856" y="18550"/>
                    <a:pt x="4856" y="18550"/>
                    <a:pt x="4856" y="18550"/>
                  </a:cubicBezTo>
                  <a:cubicBezTo>
                    <a:pt x="4859" y="18466"/>
                    <a:pt x="4859" y="18466"/>
                    <a:pt x="4859" y="18466"/>
                  </a:cubicBezTo>
                  <a:lnTo>
                    <a:pt x="4728" y="18465"/>
                  </a:lnTo>
                  <a:close/>
                  <a:moveTo>
                    <a:pt x="4926" y="18564"/>
                  </a:moveTo>
                  <a:cubicBezTo>
                    <a:pt x="4924" y="18720"/>
                    <a:pt x="4924" y="18720"/>
                    <a:pt x="4924" y="18720"/>
                  </a:cubicBezTo>
                  <a:cubicBezTo>
                    <a:pt x="4828" y="18720"/>
                    <a:pt x="4828" y="18720"/>
                    <a:pt x="4828" y="18720"/>
                  </a:cubicBezTo>
                  <a:cubicBezTo>
                    <a:pt x="4827" y="18630"/>
                    <a:pt x="4827" y="18630"/>
                    <a:pt x="4827" y="18630"/>
                  </a:cubicBezTo>
                  <a:cubicBezTo>
                    <a:pt x="4827" y="18623"/>
                    <a:pt x="4827" y="18623"/>
                    <a:pt x="4827" y="18623"/>
                  </a:cubicBezTo>
                  <a:cubicBezTo>
                    <a:pt x="4742" y="18622"/>
                    <a:pt x="4742" y="18622"/>
                    <a:pt x="4742" y="18622"/>
                  </a:cubicBezTo>
                  <a:cubicBezTo>
                    <a:pt x="4741" y="18478"/>
                    <a:pt x="4741" y="18478"/>
                    <a:pt x="4741" y="18478"/>
                  </a:cubicBezTo>
                  <a:cubicBezTo>
                    <a:pt x="4845" y="18479"/>
                    <a:pt x="4845" y="18479"/>
                    <a:pt x="4845" y="18479"/>
                  </a:cubicBezTo>
                  <a:cubicBezTo>
                    <a:pt x="4842" y="18563"/>
                    <a:pt x="4842" y="18563"/>
                    <a:pt x="4842" y="18563"/>
                  </a:cubicBezTo>
                  <a:lnTo>
                    <a:pt x="4926" y="18564"/>
                  </a:lnTo>
                  <a:close/>
                  <a:moveTo>
                    <a:pt x="5143" y="21404"/>
                  </a:moveTo>
                  <a:cubicBezTo>
                    <a:pt x="5160" y="21294"/>
                    <a:pt x="5160" y="21294"/>
                    <a:pt x="5160" y="21294"/>
                  </a:cubicBezTo>
                  <a:cubicBezTo>
                    <a:pt x="5006" y="21271"/>
                    <a:pt x="5006" y="21271"/>
                    <a:pt x="5006" y="21271"/>
                  </a:cubicBezTo>
                  <a:cubicBezTo>
                    <a:pt x="4990" y="21381"/>
                    <a:pt x="4990" y="21381"/>
                    <a:pt x="4990" y="21381"/>
                  </a:cubicBezTo>
                  <a:cubicBezTo>
                    <a:pt x="5137" y="21403"/>
                    <a:pt x="5137" y="21403"/>
                    <a:pt x="5137" y="21403"/>
                  </a:cubicBezTo>
                  <a:lnTo>
                    <a:pt x="5143" y="21404"/>
                  </a:lnTo>
                  <a:close/>
                  <a:moveTo>
                    <a:pt x="5005" y="21370"/>
                  </a:moveTo>
                  <a:cubicBezTo>
                    <a:pt x="5017" y="21286"/>
                    <a:pt x="5017" y="21286"/>
                    <a:pt x="5017" y="21286"/>
                  </a:cubicBezTo>
                  <a:cubicBezTo>
                    <a:pt x="5145" y="21305"/>
                    <a:pt x="5145" y="21305"/>
                    <a:pt x="5145" y="21305"/>
                  </a:cubicBezTo>
                  <a:cubicBezTo>
                    <a:pt x="5132" y="21389"/>
                    <a:pt x="5132" y="21389"/>
                    <a:pt x="5132" y="21389"/>
                  </a:cubicBezTo>
                  <a:lnTo>
                    <a:pt x="5005" y="21370"/>
                  </a:lnTo>
                  <a:close/>
                  <a:moveTo>
                    <a:pt x="4978" y="21592"/>
                  </a:moveTo>
                  <a:cubicBezTo>
                    <a:pt x="5032" y="21600"/>
                    <a:pt x="5032" y="21600"/>
                    <a:pt x="5032" y="21600"/>
                  </a:cubicBezTo>
                  <a:cubicBezTo>
                    <a:pt x="5125" y="21614"/>
                    <a:pt x="5125" y="21614"/>
                    <a:pt x="5125" y="21614"/>
                  </a:cubicBezTo>
                  <a:cubicBezTo>
                    <a:pt x="5132" y="21615"/>
                    <a:pt x="5132" y="21615"/>
                    <a:pt x="5132" y="21615"/>
                  </a:cubicBezTo>
                  <a:cubicBezTo>
                    <a:pt x="5134" y="21600"/>
                    <a:pt x="5134" y="21600"/>
                    <a:pt x="5134" y="21600"/>
                  </a:cubicBezTo>
                  <a:cubicBezTo>
                    <a:pt x="5148" y="21505"/>
                    <a:pt x="5148" y="21505"/>
                    <a:pt x="5148" y="21505"/>
                  </a:cubicBezTo>
                  <a:cubicBezTo>
                    <a:pt x="4995" y="21482"/>
                    <a:pt x="4995" y="21482"/>
                    <a:pt x="4995" y="21482"/>
                  </a:cubicBezTo>
                  <a:lnTo>
                    <a:pt x="4978" y="21592"/>
                  </a:lnTo>
                  <a:close/>
                  <a:moveTo>
                    <a:pt x="5133" y="21516"/>
                  </a:moveTo>
                  <a:cubicBezTo>
                    <a:pt x="5121" y="21600"/>
                    <a:pt x="5121" y="21600"/>
                    <a:pt x="5121" y="21600"/>
                  </a:cubicBezTo>
                  <a:cubicBezTo>
                    <a:pt x="5121" y="21600"/>
                    <a:pt x="5121" y="21600"/>
                    <a:pt x="5121" y="21600"/>
                  </a:cubicBezTo>
                  <a:cubicBezTo>
                    <a:pt x="5120" y="21600"/>
                    <a:pt x="5120" y="21600"/>
                    <a:pt x="5120" y="21600"/>
                  </a:cubicBezTo>
                  <a:cubicBezTo>
                    <a:pt x="4993" y="21581"/>
                    <a:pt x="4993" y="21581"/>
                    <a:pt x="4993" y="21581"/>
                  </a:cubicBezTo>
                  <a:cubicBezTo>
                    <a:pt x="5006" y="21497"/>
                    <a:pt x="5006" y="21497"/>
                    <a:pt x="5006" y="21497"/>
                  </a:cubicBezTo>
                  <a:lnTo>
                    <a:pt x="5133" y="21516"/>
                  </a:lnTo>
                  <a:close/>
                  <a:moveTo>
                    <a:pt x="4535" y="21325"/>
                  </a:moveTo>
                  <a:cubicBezTo>
                    <a:pt x="4552" y="21215"/>
                    <a:pt x="4552" y="21215"/>
                    <a:pt x="4552" y="21215"/>
                  </a:cubicBezTo>
                  <a:cubicBezTo>
                    <a:pt x="4398" y="21192"/>
                    <a:pt x="4398" y="21192"/>
                    <a:pt x="4398" y="21192"/>
                  </a:cubicBezTo>
                  <a:cubicBezTo>
                    <a:pt x="4382" y="21302"/>
                    <a:pt x="4382" y="21302"/>
                    <a:pt x="4382" y="21302"/>
                  </a:cubicBezTo>
                  <a:cubicBezTo>
                    <a:pt x="4529" y="21324"/>
                    <a:pt x="4529" y="21324"/>
                    <a:pt x="4529" y="21324"/>
                  </a:cubicBezTo>
                  <a:lnTo>
                    <a:pt x="4535" y="21325"/>
                  </a:lnTo>
                  <a:close/>
                  <a:moveTo>
                    <a:pt x="4397" y="21291"/>
                  </a:moveTo>
                  <a:cubicBezTo>
                    <a:pt x="4409" y="21207"/>
                    <a:pt x="4409" y="21207"/>
                    <a:pt x="4409" y="21207"/>
                  </a:cubicBezTo>
                  <a:cubicBezTo>
                    <a:pt x="4537" y="21226"/>
                    <a:pt x="4537" y="21226"/>
                    <a:pt x="4537" y="21226"/>
                  </a:cubicBezTo>
                  <a:cubicBezTo>
                    <a:pt x="4524" y="21310"/>
                    <a:pt x="4524" y="21310"/>
                    <a:pt x="4524" y="21310"/>
                  </a:cubicBezTo>
                  <a:lnTo>
                    <a:pt x="4397" y="21291"/>
                  </a:lnTo>
                  <a:close/>
                  <a:moveTo>
                    <a:pt x="4512" y="21529"/>
                  </a:moveTo>
                  <a:cubicBezTo>
                    <a:pt x="4528" y="21419"/>
                    <a:pt x="4528" y="21419"/>
                    <a:pt x="4528" y="21419"/>
                  </a:cubicBezTo>
                  <a:cubicBezTo>
                    <a:pt x="4375" y="21396"/>
                    <a:pt x="4375" y="21396"/>
                    <a:pt x="4375" y="21396"/>
                  </a:cubicBezTo>
                  <a:cubicBezTo>
                    <a:pt x="4358" y="21506"/>
                    <a:pt x="4358" y="21506"/>
                    <a:pt x="4358" y="21506"/>
                  </a:cubicBezTo>
                  <a:cubicBezTo>
                    <a:pt x="4505" y="21528"/>
                    <a:pt x="4505" y="21528"/>
                    <a:pt x="4505" y="21528"/>
                  </a:cubicBezTo>
                  <a:lnTo>
                    <a:pt x="4512" y="21529"/>
                  </a:lnTo>
                  <a:close/>
                  <a:moveTo>
                    <a:pt x="4373" y="21495"/>
                  </a:moveTo>
                  <a:cubicBezTo>
                    <a:pt x="4386" y="21411"/>
                    <a:pt x="4386" y="21411"/>
                    <a:pt x="4386" y="21411"/>
                  </a:cubicBezTo>
                  <a:cubicBezTo>
                    <a:pt x="4513" y="21430"/>
                    <a:pt x="4513" y="21430"/>
                    <a:pt x="4513" y="21430"/>
                  </a:cubicBezTo>
                  <a:cubicBezTo>
                    <a:pt x="4501" y="21514"/>
                    <a:pt x="4501" y="21514"/>
                    <a:pt x="4501" y="21514"/>
                  </a:cubicBezTo>
                  <a:lnTo>
                    <a:pt x="4373" y="21495"/>
                  </a:lnTo>
                  <a:close/>
                  <a:moveTo>
                    <a:pt x="3360" y="21514"/>
                  </a:moveTo>
                  <a:cubicBezTo>
                    <a:pt x="3511" y="21517"/>
                    <a:pt x="3511" y="21517"/>
                    <a:pt x="3511" y="21517"/>
                  </a:cubicBezTo>
                  <a:cubicBezTo>
                    <a:pt x="3513" y="21411"/>
                    <a:pt x="3513" y="21411"/>
                    <a:pt x="3513" y="21411"/>
                  </a:cubicBezTo>
                  <a:cubicBezTo>
                    <a:pt x="3369" y="21409"/>
                    <a:pt x="3369" y="21409"/>
                    <a:pt x="3369" y="21409"/>
                  </a:cubicBezTo>
                  <a:cubicBezTo>
                    <a:pt x="3362" y="21408"/>
                    <a:pt x="3362" y="21408"/>
                    <a:pt x="3362" y="21408"/>
                  </a:cubicBezTo>
                  <a:lnTo>
                    <a:pt x="3360" y="21514"/>
                  </a:lnTo>
                  <a:close/>
                  <a:moveTo>
                    <a:pt x="3375" y="21421"/>
                  </a:moveTo>
                  <a:cubicBezTo>
                    <a:pt x="3501" y="21424"/>
                    <a:pt x="3501" y="21424"/>
                    <a:pt x="3501" y="21424"/>
                  </a:cubicBezTo>
                  <a:cubicBezTo>
                    <a:pt x="3499" y="21504"/>
                    <a:pt x="3499" y="21504"/>
                    <a:pt x="3499" y="21504"/>
                  </a:cubicBezTo>
                  <a:cubicBezTo>
                    <a:pt x="3373" y="21502"/>
                    <a:pt x="3373" y="21502"/>
                    <a:pt x="3373" y="21502"/>
                  </a:cubicBezTo>
                  <a:lnTo>
                    <a:pt x="3375" y="21421"/>
                  </a:lnTo>
                  <a:close/>
                  <a:moveTo>
                    <a:pt x="3309" y="21246"/>
                  </a:moveTo>
                  <a:cubicBezTo>
                    <a:pt x="3307" y="21351"/>
                    <a:pt x="3307" y="21351"/>
                    <a:pt x="3307" y="21351"/>
                  </a:cubicBezTo>
                  <a:cubicBezTo>
                    <a:pt x="3458" y="21354"/>
                    <a:pt x="3458" y="21354"/>
                    <a:pt x="3458" y="21354"/>
                  </a:cubicBezTo>
                  <a:cubicBezTo>
                    <a:pt x="3461" y="21249"/>
                    <a:pt x="3461" y="21249"/>
                    <a:pt x="3461" y="21249"/>
                  </a:cubicBezTo>
                  <a:cubicBezTo>
                    <a:pt x="3316" y="21246"/>
                    <a:pt x="3316" y="21246"/>
                    <a:pt x="3316" y="21246"/>
                  </a:cubicBezTo>
                  <a:lnTo>
                    <a:pt x="3309" y="21246"/>
                  </a:lnTo>
                  <a:close/>
                  <a:moveTo>
                    <a:pt x="3322" y="21258"/>
                  </a:moveTo>
                  <a:cubicBezTo>
                    <a:pt x="3448" y="21261"/>
                    <a:pt x="3448" y="21261"/>
                    <a:pt x="3448" y="21261"/>
                  </a:cubicBezTo>
                  <a:cubicBezTo>
                    <a:pt x="3446" y="21341"/>
                    <a:pt x="3446" y="21341"/>
                    <a:pt x="3446" y="21341"/>
                  </a:cubicBezTo>
                  <a:cubicBezTo>
                    <a:pt x="3320" y="21339"/>
                    <a:pt x="3320" y="21339"/>
                    <a:pt x="3320" y="21339"/>
                  </a:cubicBezTo>
                  <a:lnTo>
                    <a:pt x="3322" y="21258"/>
                  </a:lnTo>
                  <a:close/>
                  <a:moveTo>
                    <a:pt x="3285" y="21094"/>
                  </a:moveTo>
                  <a:cubicBezTo>
                    <a:pt x="3282" y="21200"/>
                    <a:pt x="3282" y="21200"/>
                    <a:pt x="3282" y="21200"/>
                  </a:cubicBezTo>
                  <a:cubicBezTo>
                    <a:pt x="3434" y="21203"/>
                    <a:pt x="3434" y="21203"/>
                    <a:pt x="3434" y="21203"/>
                  </a:cubicBezTo>
                  <a:cubicBezTo>
                    <a:pt x="3436" y="21097"/>
                    <a:pt x="3436" y="21097"/>
                    <a:pt x="3436" y="21097"/>
                  </a:cubicBezTo>
                  <a:cubicBezTo>
                    <a:pt x="3291" y="21094"/>
                    <a:pt x="3291" y="21094"/>
                    <a:pt x="3291" y="21094"/>
                  </a:cubicBezTo>
                  <a:lnTo>
                    <a:pt x="3285" y="21094"/>
                  </a:lnTo>
                  <a:close/>
                  <a:moveTo>
                    <a:pt x="3297" y="21107"/>
                  </a:moveTo>
                  <a:cubicBezTo>
                    <a:pt x="3423" y="21110"/>
                    <a:pt x="3423" y="21110"/>
                    <a:pt x="3423" y="21110"/>
                  </a:cubicBezTo>
                  <a:cubicBezTo>
                    <a:pt x="3421" y="21190"/>
                    <a:pt x="3421" y="21190"/>
                    <a:pt x="3421" y="21190"/>
                  </a:cubicBezTo>
                  <a:cubicBezTo>
                    <a:pt x="3295" y="21187"/>
                    <a:pt x="3295" y="21187"/>
                    <a:pt x="3295" y="21187"/>
                  </a:cubicBezTo>
                  <a:lnTo>
                    <a:pt x="3297" y="21107"/>
                  </a:lnTo>
                  <a:close/>
                  <a:moveTo>
                    <a:pt x="3900" y="20899"/>
                  </a:moveTo>
                  <a:cubicBezTo>
                    <a:pt x="3756" y="20896"/>
                    <a:pt x="3756" y="20896"/>
                    <a:pt x="3756" y="20896"/>
                  </a:cubicBezTo>
                  <a:cubicBezTo>
                    <a:pt x="3749" y="20896"/>
                    <a:pt x="3749" y="20896"/>
                    <a:pt x="3749" y="20896"/>
                  </a:cubicBezTo>
                  <a:cubicBezTo>
                    <a:pt x="3747" y="21001"/>
                    <a:pt x="3747" y="21001"/>
                    <a:pt x="3747" y="21001"/>
                  </a:cubicBezTo>
                  <a:cubicBezTo>
                    <a:pt x="3898" y="21004"/>
                    <a:pt x="3898" y="21004"/>
                    <a:pt x="3898" y="21004"/>
                  </a:cubicBezTo>
                  <a:lnTo>
                    <a:pt x="3900" y="20899"/>
                  </a:lnTo>
                  <a:close/>
                  <a:moveTo>
                    <a:pt x="3886" y="20992"/>
                  </a:moveTo>
                  <a:cubicBezTo>
                    <a:pt x="3760" y="20989"/>
                    <a:pt x="3760" y="20989"/>
                    <a:pt x="3760" y="20989"/>
                  </a:cubicBezTo>
                  <a:cubicBezTo>
                    <a:pt x="3762" y="20909"/>
                    <a:pt x="3762" y="20909"/>
                    <a:pt x="3762" y="20909"/>
                  </a:cubicBezTo>
                  <a:cubicBezTo>
                    <a:pt x="3888" y="20911"/>
                    <a:pt x="3888" y="20911"/>
                    <a:pt x="3888" y="20911"/>
                  </a:cubicBezTo>
                  <a:lnTo>
                    <a:pt x="3886" y="20992"/>
                  </a:lnTo>
                  <a:close/>
                  <a:moveTo>
                    <a:pt x="4042" y="20926"/>
                  </a:moveTo>
                  <a:cubicBezTo>
                    <a:pt x="4040" y="21032"/>
                    <a:pt x="4040" y="21032"/>
                    <a:pt x="4040" y="21032"/>
                  </a:cubicBezTo>
                  <a:cubicBezTo>
                    <a:pt x="4191" y="21035"/>
                    <a:pt x="4191" y="21035"/>
                    <a:pt x="4191" y="21035"/>
                  </a:cubicBezTo>
                  <a:cubicBezTo>
                    <a:pt x="4193" y="20929"/>
                    <a:pt x="4193" y="20929"/>
                    <a:pt x="4193" y="20929"/>
                  </a:cubicBezTo>
                  <a:cubicBezTo>
                    <a:pt x="4048" y="20926"/>
                    <a:pt x="4048" y="20926"/>
                    <a:pt x="4048" y="20926"/>
                  </a:cubicBezTo>
                  <a:lnTo>
                    <a:pt x="4042" y="20926"/>
                  </a:lnTo>
                  <a:close/>
                  <a:moveTo>
                    <a:pt x="4054" y="20939"/>
                  </a:moveTo>
                  <a:cubicBezTo>
                    <a:pt x="4180" y="20942"/>
                    <a:pt x="4180" y="20942"/>
                    <a:pt x="4180" y="20942"/>
                  </a:cubicBezTo>
                  <a:cubicBezTo>
                    <a:pt x="4178" y="21022"/>
                    <a:pt x="4178" y="21022"/>
                    <a:pt x="4178" y="21022"/>
                  </a:cubicBezTo>
                  <a:cubicBezTo>
                    <a:pt x="4052" y="21019"/>
                    <a:pt x="4052" y="21019"/>
                    <a:pt x="4052" y="21019"/>
                  </a:cubicBezTo>
                  <a:lnTo>
                    <a:pt x="4054" y="20939"/>
                  </a:lnTo>
                  <a:close/>
                  <a:moveTo>
                    <a:pt x="5372" y="20474"/>
                  </a:moveTo>
                  <a:cubicBezTo>
                    <a:pt x="5371" y="20481"/>
                    <a:pt x="5371" y="20481"/>
                    <a:pt x="5371" y="20481"/>
                  </a:cubicBezTo>
                  <a:cubicBezTo>
                    <a:pt x="5567" y="20513"/>
                    <a:pt x="5567" y="20513"/>
                    <a:pt x="5567" y="20513"/>
                  </a:cubicBezTo>
                  <a:cubicBezTo>
                    <a:pt x="5583" y="20417"/>
                    <a:pt x="5583" y="20417"/>
                    <a:pt x="5583" y="20417"/>
                  </a:cubicBezTo>
                  <a:cubicBezTo>
                    <a:pt x="5387" y="20385"/>
                    <a:pt x="5387" y="20385"/>
                    <a:pt x="5387" y="20385"/>
                  </a:cubicBezTo>
                  <a:lnTo>
                    <a:pt x="5372" y="20474"/>
                  </a:lnTo>
                  <a:close/>
                  <a:moveTo>
                    <a:pt x="5568" y="20428"/>
                  </a:moveTo>
                  <a:cubicBezTo>
                    <a:pt x="5557" y="20498"/>
                    <a:pt x="5557" y="20498"/>
                    <a:pt x="5557" y="20498"/>
                  </a:cubicBezTo>
                  <a:cubicBezTo>
                    <a:pt x="5386" y="20470"/>
                    <a:pt x="5386" y="20470"/>
                    <a:pt x="5386" y="20470"/>
                  </a:cubicBezTo>
                  <a:cubicBezTo>
                    <a:pt x="5398" y="20400"/>
                    <a:pt x="5398" y="20400"/>
                    <a:pt x="5398" y="20400"/>
                  </a:cubicBezTo>
                  <a:lnTo>
                    <a:pt x="5568" y="20428"/>
                  </a:lnTo>
                  <a:close/>
                  <a:moveTo>
                    <a:pt x="5464" y="20333"/>
                  </a:moveTo>
                  <a:cubicBezTo>
                    <a:pt x="5491" y="20144"/>
                    <a:pt x="5491" y="20144"/>
                    <a:pt x="5491" y="20144"/>
                  </a:cubicBezTo>
                  <a:cubicBezTo>
                    <a:pt x="5492" y="20137"/>
                    <a:pt x="5492" y="20137"/>
                    <a:pt x="5492" y="20137"/>
                  </a:cubicBezTo>
                  <a:cubicBezTo>
                    <a:pt x="5170" y="20091"/>
                    <a:pt x="5170" y="20091"/>
                    <a:pt x="5170" y="20091"/>
                  </a:cubicBezTo>
                  <a:cubicBezTo>
                    <a:pt x="5162" y="20153"/>
                    <a:pt x="5162" y="20153"/>
                    <a:pt x="5162" y="20153"/>
                  </a:cubicBezTo>
                  <a:cubicBezTo>
                    <a:pt x="5127" y="20150"/>
                    <a:pt x="5127" y="20150"/>
                    <a:pt x="5127" y="20150"/>
                  </a:cubicBezTo>
                  <a:cubicBezTo>
                    <a:pt x="5114" y="20235"/>
                    <a:pt x="5114" y="20235"/>
                    <a:pt x="5114" y="20235"/>
                  </a:cubicBezTo>
                  <a:cubicBezTo>
                    <a:pt x="5147" y="20241"/>
                    <a:pt x="5147" y="20241"/>
                    <a:pt x="5147" y="20241"/>
                  </a:cubicBezTo>
                  <a:cubicBezTo>
                    <a:pt x="5142" y="20288"/>
                    <a:pt x="5142" y="20288"/>
                    <a:pt x="5142" y="20288"/>
                  </a:cubicBezTo>
                  <a:lnTo>
                    <a:pt x="5464" y="20333"/>
                  </a:lnTo>
                  <a:close/>
                  <a:moveTo>
                    <a:pt x="5129" y="20224"/>
                  </a:moveTo>
                  <a:cubicBezTo>
                    <a:pt x="5138" y="20164"/>
                    <a:pt x="5138" y="20164"/>
                    <a:pt x="5138" y="20164"/>
                  </a:cubicBezTo>
                  <a:cubicBezTo>
                    <a:pt x="5173" y="20167"/>
                    <a:pt x="5173" y="20167"/>
                    <a:pt x="5173" y="20167"/>
                  </a:cubicBezTo>
                  <a:cubicBezTo>
                    <a:pt x="5182" y="20105"/>
                    <a:pt x="5182" y="20105"/>
                    <a:pt x="5182" y="20105"/>
                  </a:cubicBezTo>
                  <a:cubicBezTo>
                    <a:pt x="5477" y="20148"/>
                    <a:pt x="5477" y="20148"/>
                    <a:pt x="5477" y="20148"/>
                  </a:cubicBezTo>
                  <a:cubicBezTo>
                    <a:pt x="5453" y="20318"/>
                    <a:pt x="5453" y="20318"/>
                    <a:pt x="5453" y="20318"/>
                  </a:cubicBezTo>
                  <a:cubicBezTo>
                    <a:pt x="5156" y="20277"/>
                    <a:pt x="5156" y="20277"/>
                    <a:pt x="5156" y="20277"/>
                  </a:cubicBezTo>
                  <a:cubicBezTo>
                    <a:pt x="5161" y="20230"/>
                    <a:pt x="5161" y="20230"/>
                    <a:pt x="5161" y="20230"/>
                  </a:cubicBezTo>
                  <a:lnTo>
                    <a:pt x="5129" y="20224"/>
                  </a:lnTo>
                  <a:close/>
                  <a:moveTo>
                    <a:pt x="219" y="19986"/>
                  </a:moveTo>
                  <a:cubicBezTo>
                    <a:pt x="200" y="19955"/>
                    <a:pt x="200" y="19955"/>
                    <a:pt x="200" y="19955"/>
                  </a:cubicBezTo>
                  <a:cubicBezTo>
                    <a:pt x="125" y="19990"/>
                    <a:pt x="125" y="19990"/>
                    <a:pt x="125" y="19990"/>
                  </a:cubicBezTo>
                  <a:cubicBezTo>
                    <a:pt x="142" y="20026"/>
                    <a:pt x="142" y="20026"/>
                    <a:pt x="142" y="20026"/>
                  </a:cubicBezTo>
                  <a:cubicBezTo>
                    <a:pt x="88" y="20049"/>
                    <a:pt x="88" y="20049"/>
                    <a:pt x="88" y="20049"/>
                  </a:cubicBezTo>
                  <a:cubicBezTo>
                    <a:pt x="109" y="20093"/>
                    <a:pt x="109" y="20093"/>
                    <a:pt x="109" y="20093"/>
                  </a:cubicBezTo>
                  <a:cubicBezTo>
                    <a:pt x="92" y="20099"/>
                    <a:pt x="92" y="20099"/>
                    <a:pt x="92" y="20099"/>
                  </a:cubicBezTo>
                  <a:cubicBezTo>
                    <a:pt x="135" y="20201"/>
                    <a:pt x="135" y="20201"/>
                    <a:pt x="135" y="20201"/>
                  </a:cubicBezTo>
                  <a:cubicBezTo>
                    <a:pt x="162" y="20191"/>
                    <a:pt x="162" y="20191"/>
                    <a:pt x="162" y="20191"/>
                  </a:cubicBezTo>
                  <a:cubicBezTo>
                    <a:pt x="240" y="20366"/>
                    <a:pt x="240" y="20366"/>
                    <a:pt x="240" y="20366"/>
                  </a:cubicBezTo>
                  <a:cubicBezTo>
                    <a:pt x="408" y="20288"/>
                    <a:pt x="408" y="20288"/>
                    <a:pt x="408" y="20288"/>
                  </a:cubicBezTo>
                  <a:cubicBezTo>
                    <a:pt x="414" y="20286"/>
                    <a:pt x="414" y="20286"/>
                    <a:pt x="414" y="20286"/>
                  </a:cubicBezTo>
                  <a:cubicBezTo>
                    <a:pt x="271" y="19964"/>
                    <a:pt x="271" y="19964"/>
                    <a:pt x="271" y="19964"/>
                  </a:cubicBezTo>
                  <a:lnTo>
                    <a:pt x="219" y="19986"/>
                  </a:lnTo>
                  <a:close/>
                  <a:moveTo>
                    <a:pt x="247" y="20348"/>
                  </a:moveTo>
                  <a:cubicBezTo>
                    <a:pt x="169" y="20174"/>
                    <a:pt x="169" y="20174"/>
                    <a:pt x="169" y="20174"/>
                  </a:cubicBezTo>
                  <a:cubicBezTo>
                    <a:pt x="142" y="20184"/>
                    <a:pt x="142" y="20184"/>
                    <a:pt x="142" y="20184"/>
                  </a:cubicBezTo>
                  <a:cubicBezTo>
                    <a:pt x="109" y="20107"/>
                    <a:pt x="109" y="20107"/>
                    <a:pt x="109" y="20107"/>
                  </a:cubicBezTo>
                  <a:cubicBezTo>
                    <a:pt x="126" y="20100"/>
                    <a:pt x="126" y="20100"/>
                    <a:pt x="126" y="20100"/>
                  </a:cubicBezTo>
                  <a:cubicBezTo>
                    <a:pt x="106" y="20056"/>
                    <a:pt x="106" y="20056"/>
                    <a:pt x="106" y="20056"/>
                  </a:cubicBezTo>
                  <a:cubicBezTo>
                    <a:pt x="159" y="20033"/>
                    <a:pt x="159" y="20033"/>
                    <a:pt x="159" y="20033"/>
                  </a:cubicBezTo>
                  <a:cubicBezTo>
                    <a:pt x="143" y="19996"/>
                    <a:pt x="143" y="19996"/>
                    <a:pt x="143" y="19996"/>
                  </a:cubicBezTo>
                  <a:cubicBezTo>
                    <a:pt x="195" y="19972"/>
                    <a:pt x="195" y="19972"/>
                    <a:pt x="195" y="19972"/>
                  </a:cubicBezTo>
                  <a:cubicBezTo>
                    <a:pt x="213" y="20002"/>
                    <a:pt x="213" y="20002"/>
                    <a:pt x="213" y="20002"/>
                  </a:cubicBezTo>
                  <a:cubicBezTo>
                    <a:pt x="264" y="19981"/>
                    <a:pt x="264" y="19981"/>
                    <a:pt x="264" y="19981"/>
                  </a:cubicBezTo>
                  <a:cubicBezTo>
                    <a:pt x="397" y="20279"/>
                    <a:pt x="397" y="20279"/>
                    <a:pt x="397" y="20279"/>
                  </a:cubicBezTo>
                  <a:lnTo>
                    <a:pt x="247" y="20348"/>
                  </a:lnTo>
                  <a:close/>
                  <a:moveTo>
                    <a:pt x="5041" y="20921"/>
                  </a:moveTo>
                  <a:cubicBezTo>
                    <a:pt x="5081" y="20925"/>
                    <a:pt x="5081" y="20925"/>
                    <a:pt x="5081" y="20925"/>
                  </a:cubicBezTo>
                  <a:cubicBezTo>
                    <a:pt x="5072" y="20982"/>
                    <a:pt x="5072" y="20982"/>
                    <a:pt x="5072" y="20982"/>
                  </a:cubicBezTo>
                  <a:cubicBezTo>
                    <a:pt x="5115" y="20986"/>
                    <a:pt x="5115" y="20986"/>
                    <a:pt x="5115" y="20986"/>
                  </a:cubicBezTo>
                  <a:cubicBezTo>
                    <a:pt x="5113" y="21006"/>
                    <a:pt x="5113" y="21006"/>
                    <a:pt x="5113" y="21006"/>
                  </a:cubicBezTo>
                  <a:cubicBezTo>
                    <a:pt x="5219" y="21020"/>
                    <a:pt x="5219" y="21020"/>
                    <a:pt x="5219" y="21020"/>
                  </a:cubicBezTo>
                  <a:cubicBezTo>
                    <a:pt x="5220" y="21015"/>
                    <a:pt x="5220" y="21015"/>
                    <a:pt x="5220" y="21015"/>
                  </a:cubicBezTo>
                  <a:cubicBezTo>
                    <a:pt x="5224" y="21002"/>
                    <a:pt x="5224" y="21002"/>
                    <a:pt x="5224" y="21002"/>
                  </a:cubicBezTo>
                  <a:cubicBezTo>
                    <a:pt x="5419" y="21027"/>
                    <a:pt x="5419" y="21027"/>
                    <a:pt x="5419" y="21027"/>
                  </a:cubicBezTo>
                  <a:cubicBezTo>
                    <a:pt x="5448" y="20834"/>
                    <a:pt x="5448" y="20834"/>
                    <a:pt x="5448" y="20834"/>
                  </a:cubicBezTo>
                  <a:cubicBezTo>
                    <a:pt x="5449" y="20827"/>
                    <a:pt x="5449" y="20827"/>
                    <a:pt x="5449" y="20827"/>
                  </a:cubicBezTo>
                  <a:cubicBezTo>
                    <a:pt x="5095" y="20782"/>
                    <a:pt x="5095" y="20782"/>
                    <a:pt x="5095" y="20782"/>
                  </a:cubicBezTo>
                  <a:cubicBezTo>
                    <a:pt x="5086" y="20837"/>
                    <a:pt x="5086" y="20837"/>
                    <a:pt x="5086" y="20837"/>
                  </a:cubicBezTo>
                  <a:cubicBezTo>
                    <a:pt x="5053" y="20833"/>
                    <a:pt x="5053" y="20833"/>
                    <a:pt x="5053" y="20833"/>
                  </a:cubicBezTo>
                  <a:lnTo>
                    <a:pt x="5041" y="20921"/>
                  </a:lnTo>
                  <a:close/>
                  <a:moveTo>
                    <a:pt x="5064" y="20848"/>
                  </a:moveTo>
                  <a:cubicBezTo>
                    <a:pt x="5097" y="20851"/>
                    <a:pt x="5097" y="20851"/>
                    <a:pt x="5097" y="20851"/>
                  </a:cubicBezTo>
                  <a:cubicBezTo>
                    <a:pt x="5106" y="20796"/>
                    <a:pt x="5106" y="20796"/>
                    <a:pt x="5106" y="20796"/>
                  </a:cubicBezTo>
                  <a:cubicBezTo>
                    <a:pt x="5434" y="20838"/>
                    <a:pt x="5434" y="20838"/>
                    <a:pt x="5434" y="20838"/>
                  </a:cubicBezTo>
                  <a:cubicBezTo>
                    <a:pt x="5408" y="21013"/>
                    <a:pt x="5408" y="21013"/>
                    <a:pt x="5408" y="21013"/>
                  </a:cubicBezTo>
                  <a:cubicBezTo>
                    <a:pt x="5215" y="20988"/>
                    <a:pt x="5215" y="20988"/>
                    <a:pt x="5215" y="20988"/>
                  </a:cubicBezTo>
                  <a:cubicBezTo>
                    <a:pt x="5213" y="20993"/>
                    <a:pt x="5213" y="20993"/>
                    <a:pt x="5213" y="20993"/>
                  </a:cubicBezTo>
                  <a:cubicBezTo>
                    <a:pt x="5209" y="21006"/>
                    <a:pt x="5209" y="21006"/>
                    <a:pt x="5209" y="21006"/>
                  </a:cubicBezTo>
                  <a:cubicBezTo>
                    <a:pt x="5127" y="20995"/>
                    <a:pt x="5127" y="20995"/>
                    <a:pt x="5127" y="20995"/>
                  </a:cubicBezTo>
                  <a:cubicBezTo>
                    <a:pt x="5130" y="20974"/>
                    <a:pt x="5130" y="20974"/>
                    <a:pt x="5130" y="20974"/>
                  </a:cubicBezTo>
                  <a:cubicBezTo>
                    <a:pt x="5087" y="20970"/>
                    <a:pt x="5087" y="20970"/>
                    <a:pt x="5087" y="20970"/>
                  </a:cubicBezTo>
                  <a:cubicBezTo>
                    <a:pt x="5096" y="20913"/>
                    <a:pt x="5096" y="20913"/>
                    <a:pt x="5096" y="20913"/>
                  </a:cubicBezTo>
                  <a:cubicBezTo>
                    <a:pt x="5056" y="20909"/>
                    <a:pt x="5056" y="20909"/>
                    <a:pt x="5056" y="20909"/>
                  </a:cubicBezTo>
                  <a:lnTo>
                    <a:pt x="5064" y="20848"/>
                  </a:lnTo>
                  <a:close/>
                  <a:moveTo>
                    <a:pt x="4499" y="18020"/>
                  </a:moveTo>
                  <a:cubicBezTo>
                    <a:pt x="4351" y="18009"/>
                    <a:pt x="4351" y="18009"/>
                    <a:pt x="4351" y="18009"/>
                  </a:cubicBezTo>
                  <a:cubicBezTo>
                    <a:pt x="4352" y="18002"/>
                    <a:pt x="4352" y="18002"/>
                    <a:pt x="4352" y="18002"/>
                  </a:cubicBezTo>
                  <a:cubicBezTo>
                    <a:pt x="4352" y="18000"/>
                    <a:pt x="4352" y="18000"/>
                    <a:pt x="4352" y="18000"/>
                  </a:cubicBezTo>
                  <a:cubicBezTo>
                    <a:pt x="4409" y="18000"/>
                    <a:pt x="4409" y="18000"/>
                    <a:pt x="4409" y="18000"/>
                  </a:cubicBezTo>
                  <a:cubicBezTo>
                    <a:pt x="4487" y="18006"/>
                    <a:pt x="4487" y="18006"/>
                    <a:pt x="4487" y="18006"/>
                  </a:cubicBezTo>
                  <a:cubicBezTo>
                    <a:pt x="4487" y="18000"/>
                    <a:pt x="4487" y="18000"/>
                    <a:pt x="4487" y="18000"/>
                  </a:cubicBezTo>
                  <a:cubicBezTo>
                    <a:pt x="4500" y="18000"/>
                    <a:pt x="4500" y="18000"/>
                    <a:pt x="4500" y="18000"/>
                  </a:cubicBezTo>
                  <a:lnTo>
                    <a:pt x="4499" y="18020"/>
                  </a:lnTo>
                  <a:close/>
                  <a:moveTo>
                    <a:pt x="489" y="18380"/>
                  </a:moveTo>
                  <a:cubicBezTo>
                    <a:pt x="388" y="18676"/>
                    <a:pt x="388" y="18676"/>
                    <a:pt x="388" y="18676"/>
                  </a:cubicBezTo>
                  <a:cubicBezTo>
                    <a:pt x="1264" y="18967"/>
                    <a:pt x="1264" y="18967"/>
                    <a:pt x="1264" y="18967"/>
                  </a:cubicBezTo>
                  <a:cubicBezTo>
                    <a:pt x="1346" y="18718"/>
                    <a:pt x="1346" y="18718"/>
                    <a:pt x="1346" y="18718"/>
                  </a:cubicBezTo>
                  <a:cubicBezTo>
                    <a:pt x="1562" y="18787"/>
                    <a:pt x="1562" y="18787"/>
                    <a:pt x="1562" y="18787"/>
                  </a:cubicBezTo>
                  <a:cubicBezTo>
                    <a:pt x="1598" y="18678"/>
                    <a:pt x="1598" y="18678"/>
                    <a:pt x="1598" y="18678"/>
                  </a:cubicBezTo>
                  <a:cubicBezTo>
                    <a:pt x="1778" y="18739"/>
                    <a:pt x="1778" y="18739"/>
                    <a:pt x="1778" y="18739"/>
                  </a:cubicBezTo>
                  <a:cubicBezTo>
                    <a:pt x="1870" y="18453"/>
                    <a:pt x="1870" y="18453"/>
                    <a:pt x="1870" y="18453"/>
                  </a:cubicBezTo>
                  <a:cubicBezTo>
                    <a:pt x="1872" y="18446"/>
                    <a:pt x="1872" y="18446"/>
                    <a:pt x="1872" y="18446"/>
                  </a:cubicBezTo>
                  <a:cubicBezTo>
                    <a:pt x="1000" y="18154"/>
                    <a:pt x="1000" y="18154"/>
                    <a:pt x="1000" y="18154"/>
                  </a:cubicBezTo>
                  <a:cubicBezTo>
                    <a:pt x="907" y="18449"/>
                    <a:pt x="907" y="18449"/>
                    <a:pt x="907" y="18449"/>
                  </a:cubicBezTo>
                  <a:cubicBezTo>
                    <a:pt x="1133" y="18525"/>
                    <a:pt x="1133" y="18525"/>
                    <a:pt x="1133" y="18525"/>
                  </a:cubicBezTo>
                  <a:cubicBezTo>
                    <a:pt x="1110" y="18589"/>
                    <a:pt x="1110" y="18589"/>
                    <a:pt x="1110" y="18589"/>
                  </a:cubicBezTo>
                  <a:lnTo>
                    <a:pt x="489" y="18380"/>
                  </a:lnTo>
                  <a:close/>
                  <a:moveTo>
                    <a:pt x="1152" y="18516"/>
                  </a:moveTo>
                  <a:cubicBezTo>
                    <a:pt x="926" y="18440"/>
                    <a:pt x="926" y="18440"/>
                    <a:pt x="926" y="18440"/>
                  </a:cubicBezTo>
                  <a:cubicBezTo>
                    <a:pt x="1009" y="18173"/>
                    <a:pt x="1009" y="18173"/>
                    <a:pt x="1009" y="18173"/>
                  </a:cubicBezTo>
                  <a:cubicBezTo>
                    <a:pt x="1854" y="18455"/>
                    <a:pt x="1854" y="18455"/>
                    <a:pt x="1854" y="18455"/>
                  </a:cubicBezTo>
                  <a:cubicBezTo>
                    <a:pt x="1768" y="18720"/>
                    <a:pt x="1768" y="18720"/>
                    <a:pt x="1768" y="18720"/>
                  </a:cubicBezTo>
                  <a:cubicBezTo>
                    <a:pt x="1589" y="18660"/>
                    <a:pt x="1589" y="18660"/>
                    <a:pt x="1589" y="18660"/>
                  </a:cubicBezTo>
                  <a:cubicBezTo>
                    <a:pt x="1553" y="18769"/>
                    <a:pt x="1553" y="18769"/>
                    <a:pt x="1553" y="18769"/>
                  </a:cubicBezTo>
                  <a:cubicBezTo>
                    <a:pt x="1336" y="18699"/>
                    <a:pt x="1336" y="18699"/>
                    <a:pt x="1336" y="18699"/>
                  </a:cubicBezTo>
                  <a:cubicBezTo>
                    <a:pt x="1255" y="18948"/>
                    <a:pt x="1255" y="18948"/>
                    <a:pt x="1255" y="18948"/>
                  </a:cubicBezTo>
                  <a:cubicBezTo>
                    <a:pt x="407" y="18667"/>
                    <a:pt x="407" y="18667"/>
                    <a:pt x="407" y="18667"/>
                  </a:cubicBezTo>
                  <a:cubicBezTo>
                    <a:pt x="499" y="18399"/>
                    <a:pt x="499" y="18399"/>
                    <a:pt x="499" y="18399"/>
                  </a:cubicBezTo>
                  <a:cubicBezTo>
                    <a:pt x="1119" y="18608"/>
                    <a:pt x="1119" y="18608"/>
                    <a:pt x="1119" y="18608"/>
                  </a:cubicBezTo>
                  <a:lnTo>
                    <a:pt x="1152" y="18516"/>
                  </a:lnTo>
                  <a:close/>
                  <a:moveTo>
                    <a:pt x="3008" y="18922"/>
                  </a:moveTo>
                  <a:cubicBezTo>
                    <a:pt x="3146" y="18921"/>
                    <a:pt x="3146" y="18921"/>
                    <a:pt x="3146" y="18921"/>
                  </a:cubicBezTo>
                  <a:cubicBezTo>
                    <a:pt x="3146" y="18827"/>
                    <a:pt x="3146" y="18827"/>
                    <a:pt x="3146" y="18827"/>
                  </a:cubicBezTo>
                  <a:cubicBezTo>
                    <a:pt x="3146" y="18819"/>
                    <a:pt x="3146" y="18819"/>
                    <a:pt x="3146" y="18819"/>
                  </a:cubicBezTo>
                  <a:cubicBezTo>
                    <a:pt x="2993" y="18817"/>
                    <a:pt x="2993" y="18817"/>
                    <a:pt x="2993" y="18817"/>
                  </a:cubicBezTo>
                  <a:cubicBezTo>
                    <a:pt x="2993" y="18761"/>
                    <a:pt x="2993" y="18761"/>
                    <a:pt x="2993" y="18761"/>
                  </a:cubicBezTo>
                  <a:cubicBezTo>
                    <a:pt x="2845" y="18763"/>
                    <a:pt x="2845" y="18763"/>
                    <a:pt x="2845" y="18763"/>
                  </a:cubicBezTo>
                  <a:cubicBezTo>
                    <a:pt x="2844" y="18770"/>
                    <a:pt x="2844" y="18770"/>
                    <a:pt x="2844" y="18770"/>
                  </a:cubicBezTo>
                  <a:cubicBezTo>
                    <a:pt x="2843" y="18784"/>
                    <a:pt x="2843" y="18784"/>
                    <a:pt x="2843" y="18784"/>
                  </a:cubicBezTo>
                  <a:cubicBezTo>
                    <a:pt x="2491" y="18784"/>
                    <a:pt x="2491" y="18784"/>
                    <a:pt x="2491" y="18784"/>
                  </a:cubicBezTo>
                  <a:cubicBezTo>
                    <a:pt x="2490" y="19056"/>
                    <a:pt x="2490" y="19056"/>
                    <a:pt x="2490" y="19056"/>
                  </a:cubicBezTo>
                  <a:cubicBezTo>
                    <a:pt x="3003" y="18975"/>
                    <a:pt x="3003" y="18975"/>
                    <a:pt x="3003" y="18975"/>
                  </a:cubicBezTo>
                  <a:lnTo>
                    <a:pt x="3008" y="18922"/>
                  </a:lnTo>
                  <a:close/>
                  <a:moveTo>
                    <a:pt x="2990" y="18962"/>
                  </a:moveTo>
                  <a:cubicBezTo>
                    <a:pt x="2505" y="19038"/>
                    <a:pt x="2505" y="19038"/>
                    <a:pt x="2505" y="19038"/>
                  </a:cubicBezTo>
                  <a:cubicBezTo>
                    <a:pt x="2506" y="18798"/>
                    <a:pt x="2506" y="18798"/>
                    <a:pt x="2506" y="18798"/>
                  </a:cubicBezTo>
                  <a:cubicBezTo>
                    <a:pt x="2857" y="18799"/>
                    <a:pt x="2857" y="18799"/>
                    <a:pt x="2857" y="18799"/>
                  </a:cubicBezTo>
                  <a:cubicBezTo>
                    <a:pt x="2857" y="18792"/>
                    <a:pt x="2857" y="18792"/>
                    <a:pt x="2857" y="18792"/>
                  </a:cubicBezTo>
                  <a:cubicBezTo>
                    <a:pt x="2858" y="18778"/>
                    <a:pt x="2858" y="18778"/>
                    <a:pt x="2858" y="18778"/>
                  </a:cubicBezTo>
                  <a:cubicBezTo>
                    <a:pt x="2978" y="18776"/>
                    <a:pt x="2978" y="18776"/>
                    <a:pt x="2978" y="18776"/>
                  </a:cubicBezTo>
                  <a:cubicBezTo>
                    <a:pt x="2978" y="18832"/>
                    <a:pt x="2978" y="18832"/>
                    <a:pt x="2978" y="18832"/>
                  </a:cubicBezTo>
                  <a:cubicBezTo>
                    <a:pt x="3131" y="18834"/>
                    <a:pt x="3131" y="18834"/>
                    <a:pt x="3131" y="18834"/>
                  </a:cubicBezTo>
                  <a:cubicBezTo>
                    <a:pt x="3132" y="18906"/>
                    <a:pt x="3132" y="18906"/>
                    <a:pt x="3132" y="18906"/>
                  </a:cubicBezTo>
                  <a:cubicBezTo>
                    <a:pt x="2995" y="18908"/>
                    <a:pt x="2995" y="18908"/>
                    <a:pt x="2995" y="18908"/>
                  </a:cubicBezTo>
                  <a:lnTo>
                    <a:pt x="2990" y="18962"/>
                  </a:lnTo>
                  <a:close/>
                  <a:moveTo>
                    <a:pt x="18008" y="19864"/>
                  </a:moveTo>
                  <a:cubicBezTo>
                    <a:pt x="17948" y="19913"/>
                    <a:pt x="17886" y="19964"/>
                    <a:pt x="17827" y="20012"/>
                  </a:cubicBezTo>
                  <a:cubicBezTo>
                    <a:pt x="17658" y="20149"/>
                    <a:pt x="17506" y="20272"/>
                    <a:pt x="17434" y="20329"/>
                  </a:cubicBezTo>
                  <a:cubicBezTo>
                    <a:pt x="17384" y="20277"/>
                    <a:pt x="17344" y="20230"/>
                    <a:pt x="17310" y="20195"/>
                  </a:cubicBezTo>
                  <a:cubicBezTo>
                    <a:pt x="17292" y="20173"/>
                    <a:pt x="16827" y="19638"/>
                    <a:pt x="16205" y="19271"/>
                  </a:cubicBezTo>
                  <a:cubicBezTo>
                    <a:pt x="16015" y="19158"/>
                    <a:pt x="15776" y="19016"/>
                    <a:pt x="15536" y="18888"/>
                  </a:cubicBezTo>
                  <a:cubicBezTo>
                    <a:pt x="15411" y="18822"/>
                    <a:pt x="15286" y="18757"/>
                    <a:pt x="15167" y="18696"/>
                  </a:cubicBezTo>
                  <a:cubicBezTo>
                    <a:pt x="15182" y="18694"/>
                    <a:pt x="15182" y="18694"/>
                    <a:pt x="15182" y="18694"/>
                  </a:cubicBezTo>
                  <a:cubicBezTo>
                    <a:pt x="15178" y="18672"/>
                    <a:pt x="15164" y="18617"/>
                    <a:pt x="15142" y="18533"/>
                  </a:cubicBezTo>
                  <a:cubicBezTo>
                    <a:pt x="15120" y="18450"/>
                    <a:pt x="15090" y="18342"/>
                    <a:pt x="15058" y="18223"/>
                  </a:cubicBezTo>
                  <a:cubicBezTo>
                    <a:pt x="15038" y="18152"/>
                    <a:pt x="15017" y="18076"/>
                    <a:pt x="14996" y="18000"/>
                  </a:cubicBezTo>
                  <a:cubicBezTo>
                    <a:pt x="14928" y="18000"/>
                    <a:pt x="14928" y="18000"/>
                    <a:pt x="14928" y="18000"/>
                  </a:cubicBezTo>
                  <a:cubicBezTo>
                    <a:pt x="14985" y="18207"/>
                    <a:pt x="15042" y="18413"/>
                    <a:pt x="15079" y="18550"/>
                  </a:cubicBezTo>
                  <a:cubicBezTo>
                    <a:pt x="15092" y="18598"/>
                    <a:pt x="15102" y="18639"/>
                    <a:pt x="15109" y="18666"/>
                  </a:cubicBezTo>
                  <a:cubicBezTo>
                    <a:pt x="14878" y="18549"/>
                    <a:pt x="14676" y="18449"/>
                    <a:pt x="14556" y="18390"/>
                  </a:cubicBezTo>
                  <a:cubicBezTo>
                    <a:pt x="14498" y="18361"/>
                    <a:pt x="14458" y="18341"/>
                    <a:pt x="14446" y="18335"/>
                  </a:cubicBezTo>
                  <a:cubicBezTo>
                    <a:pt x="14439" y="18329"/>
                    <a:pt x="14431" y="18328"/>
                    <a:pt x="14427" y="18327"/>
                  </a:cubicBezTo>
                  <a:cubicBezTo>
                    <a:pt x="13990" y="18280"/>
                    <a:pt x="13990" y="18280"/>
                    <a:pt x="13990" y="18280"/>
                  </a:cubicBezTo>
                  <a:cubicBezTo>
                    <a:pt x="13988" y="18254"/>
                    <a:pt x="13978" y="18150"/>
                    <a:pt x="13963" y="18000"/>
                  </a:cubicBezTo>
                  <a:cubicBezTo>
                    <a:pt x="13810" y="18000"/>
                    <a:pt x="13810" y="18000"/>
                    <a:pt x="13810" y="18000"/>
                  </a:cubicBezTo>
                  <a:cubicBezTo>
                    <a:pt x="13822" y="18121"/>
                    <a:pt x="13831" y="18215"/>
                    <a:pt x="13835" y="18263"/>
                  </a:cubicBezTo>
                  <a:cubicBezTo>
                    <a:pt x="13383" y="18214"/>
                    <a:pt x="13383" y="18214"/>
                    <a:pt x="13383" y="18214"/>
                  </a:cubicBezTo>
                  <a:cubicBezTo>
                    <a:pt x="13002" y="18000"/>
                    <a:pt x="13002" y="18000"/>
                    <a:pt x="13002" y="18000"/>
                  </a:cubicBezTo>
                  <a:cubicBezTo>
                    <a:pt x="12867" y="18000"/>
                    <a:pt x="12867" y="18000"/>
                    <a:pt x="12867" y="18000"/>
                  </a:cubicBezTo>
                  <a:cubicBezTo>
                    <a:pt x="13363" y="18278"/>
                    <a:pt x="13363" y="18278"/>
                    <a:pt x="13363" y="18278"/>
                  </a:cubicBezTo>
                  <a:cubicBezTo>
                    <a:pt x="13822" y="18328"/>
                    <a:pt x="13822" y="18328"/>
                    <a:pt x="13822" y="18328"/>
                  </a:cubicBezTo>
                  <a:cubicBezTo>
                    <a:pt x="13138" y="20295"/>
                    <a:pt x="13138" y="20295"/>
                    <a:pt x="13138" y="20295"/>
                  </a:cubicBezTo>
                  <a:cubicBezTo>
                    <a:pt x="12170" y="19912"/>
                    <a:pt x="12170" y="19912"/>
                    <a:pt x="12170" y="19912"/>
                  </a:cubicBezTo>
                  <a:cubicBezTo>
                    <a:pt x="11977" y="18640"/>
                    <a:pt x="11977" y="18640"/>
                    <a:pt x="11977" y="18640"/>
                  </a:cubicBezTo>
                  <a:cubicBezTo>
                    <a:pt x="11847" y="18036"/>
                    <a:pt x="11847" y="18036"/>
                    <a:pt x="11847" y="18036"/>
                  </a:cubicBezTo>
                  <a:cubicBezTo>
                    <a:pt x="11834" y="18029"/>
                    <a:pt x="11834" y="18029"/>
                    <a:pt x="11834" y="18029"/>
                  </a:cubicBezTo>
                  <a:cubicBezTo>
                    <a:pt x="11834" y="18029"/>
                    <a:pt x="11834" y="18029"/>
                    <a:pt x="11834" y="18029"/>
                  </a:cubicBezTo>
                  <a:cubicBezTo>
                    <a:pt x="11834" y="18029"/>
                    <a:pt x="11833" y="18029"/>
                    <a:pt x="11833" y="18029"/>
                  </a:cubicBezTo>
                  <a:cubicBezTo>
                    <a:pt x="11853" y="18000"/>
                    <a:pt x="11853" y="18000"/>
                    <a:pt x="11853" y="18000"/>
                  </a:cubicBezTo>
                  <a:cubicBezTo>
                    <a:pt x="11720" y="18000"/>
                    <a:pt x="11720" y="18000"/>
                    <a:pt x="11720" y="18000"/>
                  </a:cubicBezTo>
                  <a:cubicBezTo>
                    <a:pt x="11752" y="18044"/>
                    <a:pt x="11775" y="18066"/>
                    <a:pt x="11788" y="18077"/>
                  </a:cubicBezTo>
                  <a:cubicBezTo>
                    <a:pt x="11903" y="18610"/>
                    <a:pt x="11903" y="18610"/>
                    <a:pt x="11903" y="18610"/>
                  </a:cubicBezTo>
                  <a:cubicBezTo>
                    <a:pt x="11006" y="18771"/>
                    <a:pt x="11006" y="18771"/>
                    <a:pt x="11006" y="18771"/>
                  </a:cubicBezTo>
                  <a:cubicBezTo>
                    <a:pt x="10984" y="18642"/>
                    <a:pt x="10984" y="18642"/>
                    <a:pt x="10984" y="18642"/>
                  </a:cubicBezTo>
                  <a:cubicBezTo>
                    <a:pt x="11213" y="18603"/>
                    <a:pt x="11213" y="18603"/>
                    <a:pt x="11213" y="18603"/>
                  </a:cubicBezTo>
                  <a:cubicBezTo>
                    <a:pt x="11205" y="18553"/>
                    <a:pt x="11205" y="18553"/>
                    <a:pt x="11205" y="18553"/>
                  </a:cubicBezTo>
                  <a:cubicBezTo>
                    <a:pt x="11299" y="18537"/>
                    <a:pt x="11299" y="18537"/>
                    <a:pt x="11299" y="18537"/>
                  </a:cubicBezTo>
                  <a:cubicBezTo>
                    <a:pt x="11277" y="18406"/>
                    <a:pt x="11277" y="18406"/>
                    <a:pt x="11277" y="18406"/>
                  </a:cubicBezTo>
                  <a:cubicBezTo>
                    <a:pt x="11182" y="18422"/>
                    <a:pt x="11182" y="18422"/>
                    <a:pt x="11182" y="18422"/>
                  </a:cubicBezTo>
                  <a:cubicBezTo>
                    <a:pt x="11153" y="18254"/>
                    <a:pt x="11153" y="18254"/>
                    <a:pt x="11153" y="18254"/>
                  </a:cubicBezTo>
                  <a:cubicBezTo>
                    <a:pt x="11112" y="18261"/>
                    <a:pt x="11112" y="18261"/>
                    <a:pt x="11112" y="18261"/>
                  </a:cubicBezTo>
                  <a:cubicBezTo>
                    <a:pt x="11094" y="18170"/>
                    <a:pt x="11094" y="18170"/>
                    <a:pt x="11094" y="18170"/>
                  </a:cubicBezTo>
                  <a:cubicBezTo>
                    <a:pt x="11093" y="18163"/>
                    <a:pt x="11093" y="18163"/>
                    <a:pt x="11093" y="18163"/>
                  </a:cubicBezTo>
                  <a:cubicBezTo>
                    <a:pt x="11009" y="18177"/>
                    <a:pt x="11009" y="18177"/>
                    <a:pt x="11009" y="18177"/>
                  </a:cubicBezTo>
                  <a:cubicBezTo>
                    <a:pt x="11026" y="18275"/>
                    <a:pt x="11026" y="18275"/>
                    <a:pt x="11026" y="18275"/>
                  </a:cubicBezTo>
                  <a:cubicBezTo>
                    <a:pt x="10876" y="18300"/>
                    <a:pt x="10876" y="18300"/>
                    <a:pt x="10876" y="18300"/>
                  </a:cubicBezTo>
                  <a:cubicBezTo>
                    <a:pt x="10884" y="18348"/>
                    <a:pt x="10884" y="18348"/>
                    <a:pt x="10884" y="18348"/>
                  </a:cubicBezTo>
                  <a:cubicBezTo>
                    <a:pt x="10725" y="18375"/>
                    <a:pt x="10725" y="18375"/>
                    <a:pt x="10725" y="18375"/>
                  </a:cubicBezTo>
                  <a:cubicBezTo>
                    <a:pt x="10744" y="18484"/>
                    <a:pt x="10744" y="18484"/>
                    <a:pt x="10744" y="18484"/>
                  </a:cubicBezTo>
                  <a:cubicBezTo>
                    <a:pt x="10899" y="18458"/>
                    <a:pt x="10899" y="18458"/>
                    <a:pt x="10899" y="18458"/>
                  </a:cubicBezTo>
                  <a:cubicBezTo>
                    <a:pt x="10919" y="18574"/>
                    <a:pt x="10919" y="18574"/>
                    <a:pt x="10919" y="18574"/>
                  </a:cubicBezTo>
                  <a:cubicBezTo>
                    <a:pt x="10804" y="18594"/>
                    <a:pt x="10804" y="18594"/>
                    <a:pt x="10804" y="18594"/>
                  </a:cubicBezTo>
                  <a:cubicBezTo>
                    <a:pt x="10839" y="18801"/>
                    <a:pt x="10839" y="18801"/>
                    <a:pt x="10839" y="18801"/>
                  </a:cubicBezTo>
                  <a:cubicBezTo>
                    <a:pt x="10317" y="18894"/>
                    <a:pt x="10317" y="18894"/>
                    <a:pt x="10317" y="18894"/>
                  </a:cubicBezTo>
                  <a:cubicBezTo>
                    <a:pt x="10315" y="18878"/>
                    <a:pt x="10313" y="18856"/>
                    <a:pt x="10311" y="18831"/>
                  </a:cubicBezTo>
                  <a:cubicBezTo>
                    <a:pt x="10305" y="18773"/>
                    <a:pt x="10298" y="18697"/>
                    <a:pt x="10290" y="18620"/>
                  </a:cubicBezTo>
                  <a:cubicBezTo>
                    <a:pt x="10278" y="18498"/>
                    <a:pt x="10266" y="18376"/>
                    <a:pt x="10261" y="18332"/>
                  </a:cubicBezTo>
                  <a:cubicBezTo>
                    <a:pt x="10300" y="18298"/>
                    <a:pt x="10395" y="18195"/>
                    <a:pt x="10396" y="18014"/>
                  </a:cubicBezTo>
                  <a:cubicBezTo>
                    <a:pt x="10396" y="18009"/>
                    <a:pt x="10395" y="18005"/>
                    <a:pt x="10395" y="18000"/>
                  </a:cubicBezTo>
                  <a:cubicBezTo>
                    <a:pt x="10329" y="18000"/>
                    <a:pt x="10329" y="18000"/>
                    <a:pt x="10329" y="18000"/>
                  </a:cubicBezTo>
                  <a:cubicBezTo>
                    <a:pt x="10329" y="18005"/>
                    <a:pt x="10330" y="18010"/>
                    <a:pt x="10330" y="18014"/>
                  </a:cubicBezTo>
                  <a:cubicBezTo>
                    <a:pt x="10330" y="18174"/>
                    <a:pt x="10242" y="18262"/>
                    <a:pt x="10216" y="18285"/>
                  </a:cubicBezTo>
                  <a:cubicBezTo>
                    <a:pt x="9255" y="18271"/>
                    <a:pt x="9255" y="18271"/>
                    <a:pt x="9255" y="18271"/>
                  </a:cubicBezTo>
                  <a:cubicBezTo>
                    <a:pt x="9239" y="18000"/>
                    <a:pt x="9239" y="18000"/>
                    <a:pt x="9239" y="18000"/>
                  </a:cubicBezTo>
                  <a:cubicBezTo>
                    <a:pt x="9173" y="18000"/>
                    <a:pt x="9173" y="18000"/>
                    <a:pt x="9173" y="18000"/>
                  </a:cubicBezTo>
                  <a:cubicBezTo>
                    <a:pt x="9189" y="18270"/>
                    <a:pt x="9189" y="18270"/>
                    <a:pt x="9189" y="18270"/>
                  </a:cubicBezTo>
                  <a:cubicBezTo>
                    <a:pt x="9164" y="18270"/>
                    <a:pt x="9164" y="18270"/>
                    <a:pt x="9164" y="18270"/>
                  </a:cubicBezTo>
                  <a:cubicBezTo>
                    <a:pt x="9154" y="18285"/>
                    <a:pt x="9154" y="18285"/>
                    <a:pt x="9154" y="18285"/>
                  </a:cubicBezTo>
                  <a:cubicBezTo>
                    <a:pt x="9154" y="18285"/>
                    <a:pt x="9106" y="18360"/>
                    <a:pt x="9049" y="18446"/>
                  </a:cubicBezTo>
                  <a:cubicBezTo>
                    <a:pt x="8993" y="18533"/>
                    <a:pt x="8928" y="18631"/>
                    <a:pt x="8895" y="18677"/>
                  </a:cubicBezTo>
                  <a:cubicBezTo>
                    <a:pt x="8895" y="18677"/>
                    <a:pt x="8895" y="18678"/>
                    <a:pt x="8894" y="18678"/>
                  </a:cubicBezTo>
                  <a:cubicBezTo>
                    <a:pt x="7753" y="18000"/>
                    <a:pt x="7753" y="18000"/>
                    <a:pt x="7753" y="18000"/>
                  </a:cubicBezTo>
                  <a:cubicBezTo>
                    <a:pt x="7599" y="18000"/>
                    <a:pt x="7599" y="18000"/>
                    <a:pt x="7599" y="18000"/>
                  </a:cubicBezTo>
                  <a:cubicBezTo>
                    <a:pt x="7532" y="18121"/>
                    <a:pt x="7532" y="18121"/>
                    <a:pt x="7532" y="18121"/>
                  </a:cubicBezTo>
                  <a:cubicBezTo>
                    <a:pt x="7532" y="18123"/>
                    <a:pt x="7532" y="18123"/>
                    <a:pt x="7532" y="18123"/>
                  </a:cubicBezTo>
                  <a:cubicBezTo>
                    <a:pt x="7530" y="18126"/>
                    <a:pt x="7507" y="18181"/>
                    <a:pt x="7507" y="18275"/>
                  </a:cubicBezTo>
                  <a:cubicBezTo>
                    <a:pt x="7507" y="18343"/>
                    <a:pt x="7519" y="18430"/>
                    <a:pt x="7560" y="18532"/>
                  </a:cubicBezTo>
                  <a:cubicBezTo>
                    <a:pt x="7646" y="18746"/>
                    <a:pt x="7756" y="18965"/>
                    <a:pt x="7775" y="19002"/>
                  </a:cubicBezTo>
                  <a:cubicBezTo>
                    <a:pt x="7851" y="19703"/>
                    <a:pt x="7851" y="19703"/>
                    <a:pt x="7851" y="19703"/>
                  </a:cubicBezTo>
                  <a:cubicBezTo>
                    <a:pt x="7763" y="19945"/>
                    <a:pt x="7763" y="19945"/>
                    <a:pt x="7763" y="19945"/>
                  </a:cubicBezTo>
                  <a:cubicBezTo>
                    <a:pt x="7726" y="19943"/>
                    <a:pt x="7698" y="19942"/>
                    <a:pt x="7688" y="19941"/>
                  </a:cubicBezTo>
                  <a:cubicBezTo>
                    <a:pt x="7687" y="19941"/>
                    <a:pt x="7686" y="19941"/>
                    <a:pt x="7685" y="19941"/>
                  </a:cubicBezTo>
                  <a:cubicBezTo>
                    <a:pt x="7685" y="19941"/>
                    <a:pt x="7561" y="19936"/>
                    <a:pt x="7377" y="19930"/>
                  </a:cubicBezTo>
                  <a:cubicBezTo>
                    <a:pt x="7335" y="19928"/>
                    <a:pt x="7290" y="19927"/>
                    <a:pt x="7243" y="19925"/>
                  </a:cubicBezTo>
                  <a:cubicBezTo>
                    <a:pt x="6722" y="18439"/>
                    <a:pt x="6722" y="18439"/>
                    <a:pt x="6722" y="18439"/>
                  </a:cubicBezTo>
                  <a:cubicBezTo>
                    <a:pt x="6729" y="18395"/>
                    <a:pt x="6763" y="18187"/>
                    <a:pt x="6794" y="18000"/>
                  </a:cubicBezTo>
                  <a:cubicBezTo>
                    <a:pt x="6727" y="18000"/>
                    <a:pt x="6727" y="18000"/>
                    <a:pt x="6727" y="18000"/>
                  </a:cubicBezTo>
                  <a:cubicBezTo>
                    <a:pt x="6724" y="18020"/>
                    <a:pt x="6721" y="18039"/>
                    <a:pt x="6718" y="18059"/>
                  </a:cubicBezTo>
                  <a:cubicBezTo>
                    <a:pt x="6693" y="18209"/>
                    <a:pt x="6668" y="18359"/>
                    <a:pt x="6659" y="18414"/>
                  </a:cubicBezTo>
                  <a:cubicBezTo>
                    <a:pt x="6566" y="18433"/>
                    <a:pt x="6485" y="18441"/>
                    <a:pt x="6415" y="18441"/>
                  </a:cubicBezTo>
                  <a:cubicBezTo>
                    <a:pt x="6263" y="18441"/>
                    <a:pt x="6155" y="18408"/>
                    <a:pt x="6055" y="18385"/>
                  </a:cubicBezTo>
                  <a:cubicBezTo>
                    <a:pt x="5983" y="18369"/>
                    <a:pt x="5740" y="18306"/>
                    <a:pt x="5516" y="18247"/>
                  </a:cubicBezTo>
                  <a:cubicBezTo>
                    <a:pt x="5320" y="18195"/>
                    <a:pt x="5139" y="18147"/>
                    <a:pt x="5095" y="18135"/>
                  </a:cubicBezTo>
                  <a:cubicBezTo>
                    <a:pt x="5096" y="18092"/>
                    <a:pt x="5097" y="18047"/>
                    <a:pt x="5098" y="18000"/>
                  </a:cubicBezTo>
                  <a:cubicBezTo>
                    <a:pt x="5033" y="18000"/>
                    <a:pt x="5033" y="18000"/>
                    <a:pt x="5033" y="18000"/>
                  </a:cubicBezTo>
                  <a:cubicBezTo>
                    <a:pt x="5031" y="18079"/>
                    <a:pt x="5029" y="18154"/>
                    <a:pt x="5027" y="18219"/>
                  </a:cubicBezTo>
                  <a:cubicBezTo>
                    <a:pt x="5024" y="18325"/>
                    <a:pt x="5021" y="18406"/>
                    <a:pt x="5020" y="18440"/>
                  </a:cubicBezTo>
                  <a:cubicBezTo>
                    <a:pt x="4602" y="18162"/>
                    <a:pt x="4602" y="18162"/>
                    <a:pt x="4602" y="18162"/>
                  </a:cubicBezTo>
                  <a:cubicBezTo>
                    <a:pt x="4595" y="18174"/>
                    <a:pt x="4595" y="18174"/>
                    <a:pt x="4595" y="18174"/>
                  </a:cubicBezTo>
                  <a:cubicBezTo>
                    <a:pt x="5020" y="18456"/>
                    <a:pt x="5020" y="18456"/>
                    <a:pt x="5020" y="18456"/>
                  </a:cubicBezTo>
                  <a:cubicBezTo>
                    <a:pt x="5020" y="18456"/>
                    <a:pt x="5020" y="18457"/>
                    <a:pt x="5020" y="18457"/>
                  </a:cubicBezTo>
                  <a:cubicBezTo>
                    <a:pt x="5019" y="18459"/>
                    <a:pt x="5019" y="18459"/>
                    <a:pt x="5019" y="18459"/>
                  </a:cubicBezTo>
                  <a:cubicBezTo>
                    <a:pt x="5084" y="19026"/>
                    <a:pt x="5084" y="19026"/>
                    <a:pt x="5084" y="19026"/>
                  </a:cubicBezTo>
                  <a:cubicBezTo>
                    <a:pt x="4612" y="18716"/>
                    <a:pt x="4612" y="18716"/>
                    <a:pt x="4612" y="18716"/>
                  </a:cubicBezTo>
                  <a:cubicBezTo>
                    <a:pt x="4358" y="18244"/>
                    <a:pt x="4358" y="18244"/>
                    <a:pt x="4358" y="18244"/>
                  </a:cubicBezTo>
                  <a:cubicBezTo>
                    <a:pt x="4385" y="18237"/>
                    <a:pt x="4423" y="18225"/>
                    <a:pt x="4461" y="18213"/>
                  </a:cubicBezTo>
                  <a:cubicBezTo>
                    <a:pt x="4527" y="18193"/>
                    <a:pt x="4592" y="18172"/>
                    <a:pt x="4592" y="18172"/>
                  </a:cubicBezTo>
                  <a:cubicBezTo>
                    <a:pt x="4596" y="18171"/>
                    <a:pt x="4596" y="18171"/>
                    <a:pt x="4596" y="18171"/>
                  </a:cubicBezTo>
                  <a:cubicBezTo>
                    <a:pt x="4650" y="18000"/>
                    <a:pt x="4650" y="18000"/>
                    <a:pt x="4650" y="18000"/>
                  </a:cubicBezTo>
                  <a:cubicBezTo>
                    <a:pt x="4636" y="18000"/>
                    <a:pt x="4636" y="18000"/>
                    <a:pt x="4636" y="18000"/>
                  </a:cubicBezTo>
                  <a:cubicBezTo>
                    <a:pt x="4585" y="18160"/>
                    <a:pt x="4585" y="18160"/>
                    <a:pt x="4585" y="18160"/>
                  </a:cubicBezTo>
                  <a:cubicBezTo>
                    <a:pt x="4570" y="18165"/>
                    <a:pt x="4514" y="18182"/>
                    <a:pt x="4457" y="18200"/>
                  </a:cubicBezTo>
                  <a:cubicBezTo>
                    <a:pt x="4418" y="18212"/>
                    <a:pt x="4378" y="18224"/>
                    <a:pt x="4351" y="18232"/>
                  </a:cubicBezTo>
                  <a:cubicBezTo>
                    <a:pt x="4298" y="18132"/>
                    <a:pt x="4298" y="18132"/>
                    <a:pt x="4298" y="18132"/>
                  </a:cubicBezTo>
                  <a:cubicBezTo>
                    <a:pt x="4311" y="18000"/>
                    <a:pt x="4311" y="18000"/>
                    <a:pt x="4311" y="18000"/>
                  </a:cubicBezTo>
                  <a:cubicBezTo>
                    <a:pt x="4266" y="18000"/>
                    <a:pt x="4266" y="18000"/>
                    <a:pt x="4266" y="18000"/>
                  </a:cubicBezTo>
                  <a:cubicBezTo>
                    <a:pt x="4252" y="18142"/>
                    <a:pt x="4252" y="18142"/>
                    <a:pt x="4252" y="18142"/>
                  </a:cubicBezTo>
                  <a:cubicBezTo>
                    <a:pt x="4394" y="18407"/>
                    <a:pt x="4394" y="18407"/>
                    <a:pt x="4394" y="18407"/>
                  </a:cubicBezTo>
                  <a:cubicBezTo>
                    <a:pt x="4378" y="18417"/>
                    <a:pt x="4350" y="18435"/>
                    <a:pt x="4321" y="18453"/>
                  </a:cubicBezTo>
                  <a:cubicBezTo>
                    <a:pt x="4282" y="18479"/>
                    <a:pt x="4243" y="18504"/>
                    <a:pt x="4229" y="18515"/>
                  </a:cubicBezTo>
                  <a:cubicBezTo>
                    <a:pt x="4228" y="18514"/>
                    <a:pt x="4227" y="18514"/>
                    <a:pt x="4226" y="18513"/>
                  </a:cubicBezTo>
                  <a:cubicBezTo>
                    <a:pt x="4221" y="18509"/>
                    <a:pt x="4214" y="18504"/>
                    <a:pt x="4205" y="18498"/>
                  </a:cubicBezTo>
                  <a:cubicBezTo>
                    <a:pt x="4186" y="18485"/>
                    <a:pt x="4160" y="18467"/>
                    <a:pt x="4128" y="18446"/>
                  </a:cubicBezTo>
                  <a:cubicBezTo>
                    <a:pt x="4065" y="18403"/>
                    <a:pt x="3981" y="18346"/>
                    <a:pt x="3895" y="18289"/>
                  </a:cubicBezTo>
                  <a:cubicBezTo>
                    <a:pt x="3863" y="18267"/>
                    <a:pt x="3830" y="18245"/>
                    <a:pt x="3799" y="18224"/>
                  </a:cubicBezTo>
                  <a:cubicBezTo>
                    <a:pt x="3898" y="18000"/>
                    <a:pt x="3898" y="18000"/>
                    <a:pt x="3898" y="18000"/>
                  </a:cubicBezTo>
                  <a:cubicBezTo>
                    <a:pt x="3882" y="18000"/>
                    <a:pt x="3882" y="18000"/>
                    <a:pt x="3882" y="18000"/>
                  </a:cubicBezTo>
                  <a:cubicBezTo>
                    <a:pt x="3787" y="18216"/>
                    <a:pt x="3787" y="18216"/>
                    <a:pt x="3787" y="18216"/>
                  </a:cubicBezTo>
                  <a:cubicBezTo>
                    <a:pt x="3667" y="18135"/>
                    <a:pt x="3563" y="18066"/>
                    <a:pt x="3541" y="18050"/>
                  </a:cubicBezTo>
                  <a:cubicBezTo>
                    <a:pt x="3541" y="18049"/>
                    <a:pt x="3541" y="18048"/>
                    <a:pt x="3542" y="18046"/>
                  </a:cubicBezTo>
                  <a:cubicBezTo>
                    <a:pt x="3542" y="18040"/>
                    <a:pt x="3543" y="18033"/>
                    <a:pt x="3543" y="18024"/>
                  </a:cubicBezTo>
                  <a:cubicBezTo>
                    <a:pt x="3544" y="18017"/>
                    <a:pt x="3544" y="18009"/>
                    <a:pt x="3544" y="18000"/>
                  </a:cubicBezTo>
                  <a:cubicBezTo>
                    <a:pt x="3530" y="18000"/>
                    <a:pt x="3530" y="18000"/>
                    <a:pt x="3530" y="18000"/>
                  </a:cubicBezTo>
                  <a:cubicBezTo>
                    <a:pt x="3529" y="18024"/>
                    <a:pt x="3528" y="18043"/>
                    <a:pt x="3527" y="18049"/>
                  </a:cubicBezTo>
                  <a:cubicBezTo>
                    <a:pt x="3526" y="18050"/>
                    <a:pt x="3526" y="18051"/>
                    <a:pt x="3526" y="18052"/>
                  </a:cubicBezTo>
                  <a:cubicBezTo>
                    <a:pt x="3524" y="18060"/>
                    <a:pt x="3524" y="18060"/>
                    <a:pt x="3524" y="18060"/>
                  </a:cubicBezTo>
                  <a:cubicBezTo>
                    <a:pt x="3530" y="18060"/>
                    <a:pt x="3530" y="18060"/>
                    <a:pt x="3530" y="18060"/>
                  </a:cubicBezTo>
                  <a:cubicBezTo>
                    <a:pt x="3530" y="18060"/>
                    <a:pt x="3530" y="18060"/>
                    <a:pt x="3530" y="18060"/>
                  </a:cubicBezTo>
                  <a:cubicBezTo>
                    <a:pt x="3532" y="18061"/>
                    <a:pt x="3534" y="18062"/>
                    <a:pt x="3536" y="18064"/>
                  </a:cubicBezTo>
                  <a:cubicBezTo>
                    <a:pt x="3541" y="18067"/>
                    <a:pt x="3548" y="18072"/>
                    <a:pt x="3557" y="18078"/>
                  </a:cubicBezTo>
                  <a:cubicBezTo>
                    <a:pt x="3576" y="18091"/>
                    <a:pt x="3602" y="18108"/>
                    <a:pt x="3633" y="18130"/>
                  </a:cubicBezTo>
                  <a:cubicBezTo>
                    <a:pt x="3696" y="18172"/>
                    <a:pt x="3780" y="18228"/>
                    <a:pt x="3865" y="18285"/>
                  </a:cubicBezTo>
                  <a:cubicBezTo>
                    <a:pt x="4033" y="18398"/>
                    <a:pt x="4206" y="18514"/>
                    <a:pt x="4224" y="18528"/>
                  </a:cubicBezTo>
                  <a:cubicBezTo>
                    <a:pt x="4225" y="18531"/>
                    <a:pt x="4228" y="18531"/>
                    <a:pt x="4230" y="18531"/>
                  </a:cubicBezTo>
                  <a:cubicBezTo>
                    <a:pt x="4230" y="18531"/>
                    <a:pt x="4234" y="18532"/>
                    <a:pt x="4236" y="18528"/>
                  </a:cubicBezTo>
                  <a:cubicBezTo>
                    <a:pt x="4236" y="18528"/>
                    <a:pt x="4236" y="18528"/>
                    <a:pt x="4236" y="18527"/>
                  </a:cubicBezTo>
                  <a:cubicBezTo>
                    <a:pt x="4237" y="18527"/>
                    <a:pt x="4239" y="18525"/>
                    <a:pt x="4241" y="18523"/>
                  </a:cubicBezTo>
                  <a:cubicBezTo>
                    <a:pt x="4246" y="18520"/>
                    <a:pt x="4253" y="18515"/>
                    <a:pt x="4262" y="18509"/>
                  </a:cubicBezTo>
                  <a:cubicBezTo>
                    <a:pt x="4279" y="18498"/>
                    <a:pt x="4302" y="18483"/>
                    <a:pt x="4324" y="18468"/>
                  </a:cubicBezTo>
                  <a:cubicBezTo>
                    <a:pt x="4354" y="18449"/>
                    <a:pt x="4384" y="18430"/>
                    <a:pt x="4401" y="18419"/>
                  </a:cubicBezTo>
                  <a:cubicBezTo>
                    <a:pt x="4570" y="18734"/>
                    <a:pt x="4570" y="18734"/>
                    <a:pt x="4570" y="18734"/>
                  </a:cubicBezTo>
                  <a:cubicBezTo>
                    <a:pt x="4210" y="19801"/>
                    <a:pt x="4210" y="19801"/>
                    <a:pt x="4210" y="19801"/>
                  </a:cubicBezTo>
                  <a:cubicBezTo>
                    <a:pt x="4192" y="19802"/>
                    <a:pt x="4171" y="19803"/>
                    <a:pt x="4148" y="19803"/>
                  </a:cubicBezTo>
                  <a:cubicBezTo>
                    <a:pt x="4117" y="19803"/>
                    <a:pt x="4084" y="19801"/>
                    <a:pt x="4057" y="19798"/>
                  </a:cubicBezTo>
                  <a:cubicBezTo>
                    <a:pt x="4029" y="19794"/>
                    <a:pt x="4007" y="19787"/>
                    <a:pt x="4001" y="19784"/>
                  </a:cubicBezTo>
                  <a:cubicBezTo>
                    <a:pt x="3993" y="19781"/>
                    <a:pt x="3963" y="19752"/>
                    <a:pt x="3936" y="19715"/>
                  </a:cubicBezTo>
                  <a:cubicBezTo>
                    <a:pt x="3909" y="19677"/>
                    <a:pt x="3882" y="19631"/>
                    <a:pt x="3859" y="19592"/>
                  </a:cubicBezTo>
                  <a:cubicBezTo>
                    <a:pt x="3852" y="19579"/>
                    <a:pt x="3830" y="19534"/>
                    <a:pt x="3806" y="19479"/>
                  </a:cubicBezTo>
                  <a:cubicBezTo>
                    <a:pt x="3787" y="19433"/>
                    <a:pt x="3764" y="19379"/>
                    <a:pt x="3741" y="19324"/>
                  </a:cubicBezTo>
                  <a:cubicBezTo>
                    <a:pt x="3743" y="19289"/>
                    <a:pt x="3753" y="19110"/>
                    <a:pt x="3759" y="19038"/>
                  </a:cubicBezTo>
                  <a:cubicBezTo>
                    <a:pt x="3760" y="19026"/>
                    <a:pt x="3760" y="19014"/>
                    <a:pt x="3760" y="19000"/>
                  </a:cubicBezTo>
                  <a:cubicBezTo>
                    <a:pt x="3760" y="18945"/>
                    <a:pt x="3754" y="18864"/>
                    <a:pt x="3737" y="18777"/>
                  </a:cubicBezTo>
                  <a:cubicBezTo>
                    <a:pt x="3720" y="18691"/>
                    <a:pt x="3694" y="18600"/>
                    <a:pt x="3645" y="18525"/>
                  </a:cubicBezTo>
                  <a:cubicBezTo>
                    <a:pt x="3611" y="18475"/>
                    <a:pt x="3558" y="18432"/>
                    <a:pt x="3494" y="18384"/>
                  </a:cubicBezTo>
                  <a:cubicBezTo>
                    <a:pt x="3430" y="18337"/>
                    <a:pt x="3355" y="18289"/>
                    <a:pt x="3284" y="18244"/>
                  </a:cubicBezTo>
                  <a:cubicBezTo>
                    <a:pt x="3154" y="18164"/>
                    <a:pt x="3034" y="18099"/>
                    <a:pt x="3013" y="18088"/>
                  </a:cubicBezTo>
                  <a:cubicBezTo>
                    <a:pt x="3013" y="18086"/>
                    <a:pt x="3013" y="18085"/>
                    <a:pt x="3013" y="18083"/>
                  </a:cubicBezTo>
                  <a:cubicBezTo>
                    <a:pt x="3013" y="18055"/>
                    <a:pt x="3009" y="18027"/>
                    <a:pt x="3003" y="18000"/>
                  </a:cubicBezTo>
                  <a:cubicBezTo>
                    <a:pt x="2838" y="18000"/>
                    <a:pt x="2838" y="18000"/>
                    <a:pt x="2838" y="18000"/>
                  </a:cubicBezTo>
                  <a:cubicBezTo>
                    <a:pt x="2849" y="18026"/>
                    <a:pt x="2855" y="18054"/>
                    <a:pt x="2855" y="18083"/>
                  </a:cubicBezTo>
                  <a:cubicBezTo>
                    <a:pt x="2855" y="18198"/>
                    <a:pt x="2762" y="18291"/>
                    <a:pt x="2648" y="18291"/>
                  </a:cubicBezTo>
                  <a:cubicBezTo>
                    <a:pt x="2533" y="18291"/>
                    <a:pt x="2440" y="18198"/>
                    <a:pt x="2440" y="18083"/>
                  </a:cubicBezTo>
                  <a:cubicBezTo>
                    <a:pt x="2440" y="18054"/>
                    <a:pt x="2446" y="18026"/>
                    <a:pt x="2458" y="18000"/>
                  </a:cubicBezTo>
                  <a:cubicBezTo>
                    <a:pt x="2293" y="18000"/>
                    <a:pt x="2293" y="18000"/>
                    <a:pt x="2293" y="18000"/>
                  </a:cubicBezTo>
                  <a:cubicBezTo>
                    <a:pt x="2287" y="18027"/>
                    <a:pt x="2282" y="18055"/>
                    <a:pt x="2282" y="18083"/>
                  </a:cubicBezTo>
                  <a:cubicBezTo>
                    <a:pt x="2282" y="18095"/>
                    <a:pt x="2283" y="18106"/>
                    <a:pt x="2284" y="18118"/>
                  </a:cubicBezTo>
                  <a:cubicBezTo>
                    <a:pt x="2231" y="18110"/>
                    <a:pt x="2157" y="18098"/>
                    <a:pt x="2077" y="18086"/>
                  </a:cubicBezTo>
                  <a:cubicBezTo>
                    <a:pt x="1923" y="18061"/>
                    <a:pt x="1745" y="18031"/>
                    <a:pt x="1660" y="18011"/>
                  </a:cubicBezTo>
                  <a:cubicBezTo>
                    <a:pt x="1647" y="18008"/>
                    <a:pt x="1635" y="18004"/>
                    <a:pt x="1623" y="18000"/>
                  </a:cubicBezTo>
                  <a:cubicBezTo>
                    <a:pt x="1262" y="18000"/>
                    <a:pt x="1262" y="18000"/>
                    <a:pt x="1262" y="18000"/>
                  </a:cubicBezTo>
                  <a:cubicBezTo>
                    <a:pt x="1373" y="18066"/>
                    <a:pt x="1481" y="18125"/>
                    <a:pt x="1625" y="18159"/>
                  </a:cubicBezTo>
                  <a:cubicBezTo>
                    <a:pt x="1721" y="18181"/>
                    <a:pt x="1897" y="18211"/>
                    <a:pt x="2053" y="18236"/>
                  </a:cubicBezTo>
                  <a:cubicBezTo>
                    <a:pt x="2174" y="18255"/>
                    <a:pt x="2294" y="18274"/>
                    <a:pt x="2341" y="18281"/>
                  </a:cubicBezTo>
                  <a:cubicBezTo>
                    <a:pt x="2355" y="18304"/>
                    <a:pt x="2372" y="18325"/>
                    <a:pt x="2391" y="18343"/>
                  </a:cubicBezTo>
                  <a:cubicBezTo>
                    <a:pt x="2371" y="18370"/>
                    <a:pt x="2329" y="18424"/>
                    <a:pt x="2278" y="18490"/>
                  </a:cubicBezTo>
                  <a:cubicBezTo>
                    <a:pt x="2204" y="18584"/>
                    <a:pt x="2112" y="18701"/>
                    <a:pt x="2035" y="18788"/>
                  </a:cubicBezTo>
                  <a:cubicBezTo>
                    <a:pt x="1986" y="18846"/>
                    <a:pt x="1939" y="18894"/>
                    <a:pt x="1923" y="18906"/>
                  </a:cubicBezTo>
                  <a:cubicBezTo>
                    <a:pt x="1916" y="18911"/>
                    <a:pt x="1895" y="18923"/>
                    <a:pt x="1868" y="18937"/>
                  </a:cubicBezTo>
                  <a:cubicBezTo>
                    <a:pt x="1840" y="18952"/>
                    <a:pt x="1805" y="18968"/>
                    <a:pt x="1764" y="18987"/>
                  </a:cubicBezTo>
                  <a:cubicBezTo>
                    <a:pt x="1683" y="19023"/>
                    <a:pt x="1581" y="19066"/>
                    <a:pt x="1476" y="19109"/>
                  </a:cubicBezTo>
                  <a:cubicBezTo>
                    <a:pt x="1265" y="19195"/>
                    <a:pt x="1038" y="19282"/>
                    <a:pt x="921" y="19329"/>
                  </a:cubicBezTo>
                  <a:cubicBezTo>
                    <a:pt x="684" y="19422"/>
                    <a:pt x="346" y="19579"/>
                    <a:pt x="344" y="19580"/>
                  </a:cubicBezTo>
                  <a:cubicBezTo>
                    <a:pt x="344" y="19580"/>
                    <a:pt x="208" y="19645"/>
                    <a:pt x="4" y="19743"/>
                  </a:cubicBezTo>
                  <a:cubicBezTo>
                    <a:pt x="4" y="19913"/>
                    <a:pt x="4" y="19913"/>
                    <a:pt x="4" y="19913"/>
                  </a:cubicBezTo>
                  <a:cubicBezTo>
                    <a:pt x="28" y="19901"/>
                    <a:pt x="51" y="19890"/>
                    <a:pt x="73" y="19880"/>
                  </a:cubicBezTo>
                  <a:cubicBezTo>
                    <a:pt x="275" y="19782"/>
                    <a:pt x="409" y="19718"/>
                    <a:pt x="409" y="19718"/>
                  </a:cubicBezTo>
                  <a:cubicBezTo>
                    <a:pt x="410" y="19718"/>
                    <a:pt x="445" y="19701"/>
                    <a:pt x="500" y="19676"/>
                  </a:cubicBezTo>
                  <a:cubicBezTo>
                    <a:pt x="517" y="19711"/>
                    <a:pt x="546" y="19775"/>
                    <a:pt x="583" y="19857"/>
                  </a:cubicBezTo>
                  <a:cubicBezTo>
                    <a:pt x="641" y="19984"/>
                    <a:pt x="719" y="20155"/>
                    <a:pt x="797" y="20329"/>
                  </a:cubicBezTo>
                  <a:cubicBezTo>
                    <a:pt x="955" y="20675"/>
                    <a:pt x="1117" y="21033"/>
                    <a:pt x="1132" y="21071"/>
                  </a:cubicBezTo>
                  <a:cubicBezTo>
                    <a:pt x="1146" y="21105"/>
                    <a:pt x="1191" y="21265"/>
                    <a:pt x="1235" y="21438"/>
                  </a:cubicBezTo>
                  <a:cubicBezTo>
                    <a:pt x="1248" y="21491"/>
                    <a:pt x="1261" y="21546"/>
                    <a:pt x="1274" y="21600"/>
                  </a:cubicBezTo>
                  <a:cubicBezTo>
                    <a:pt x="1341" y="21600"/>
                    <a:pt x="1341" y="21600"/>
                    <a:pt x="1341" y="21600"/>
                  </a:cubicBezTo>
                  <a:cubicBezTo>
                    <a:pt x="1328" y="21541"/>
                    <a:pt x="1313" y="21481"/>
                    <a:pt x="1298" y="21422"/>
                  </a:cubicBezTo>
                  <a:cubicBezTo>
                    <a:pt x="1254" y="21246"/>
                    <a:pt x="1210" y="21091"/>
                    <a:pt x="1193" y="21046"/>
                  </a:cubicBezTo>
                  <a:cubicBezTo>
                    <a:pt x="1176" y="21004"/>
                    <a:pt x="1015" y="20649"/>
                    <a:pt x="857" y="20301"/>
                  </a:cubicBezTo>
                  <a:cubicBezTo>
                    <a:pt x="835" y="20252"/>
                    <a:pt x="813" y="20204"/>
                    <a:pt x="791" y="20156"/>
                  </a:cubicBezTo>
                  <a:cubicBezTo>
                    <a:pt x="2318" y="19770"/>
                    <a:pt x="2318" y="19770"/>
                    <a:pt x="2318" y="19770"/>
                  </a:cubicBezTo>
                  <a:cubicBezTo>
                    <a:pt x="2326" y="19811"/>
                    <a:pt x="2335" y="19847"/>
                    <a:pt x="2346" y="19872"/>
                  </a:cubicBezTo>
                  <a:cubicBezTo>
                    <a:pt x="2377" y="19937"/>
                    <a:pt x="2450" y="19969"/>
                    <a:pt x="2534" y="19969"/>
                  </a:cubicBezTo>
                  <a:cubicBezTo>
                    <a:pt x="2534" y="19969"/>
                    <a:pt x="2535" y="19969"/>
                    <a:pt x="2535" y="19969"/>
                  </a:cubicBezTo>
                  <a:cubicBezTo>
                    <a:pt x="2541" y="19969"/>
                    <a:pt x="2546" y="19968"/>
                    <a:pt x="2552" y="19968"/>
                  </a:cubicBezTo>
                  <a:cubicBezTo>
                    <a:pt x="2590" y="19966"/>
                    <a:pt x="2652" y="19965"/>
                    <a:pt x="2719" y="19962"/>
                  </a:cubicBezTo>
                  <a:cubicBezTo>
                    <a:pt x="2824" y="20460"/>
                    <a:pt x="2824" y="20460"/>
                    <a:pt x="2824" y="20460"/>
                  </a:cubicBezTo>
                  <a:cubicBezTo>
                    <a:pt x="2824" y="20461"/>
                    <a:pt x="2824" y="20461"/>
                    <a:pt x="2824" y="20462"/>
                  </a:cubicBezTo>
                  <a:cubicBezTo>
                    <a:pt x="2824" y="20468"/>
                    <a:pt x="2825" y="20473"/>
                    <a:pt x="2828" y="20477"/>
                  </a:cubicBezTo>
                  <a:cubicBezTo>
                    <a:pt x="3048" y="21519"/>
                    <a:pt x="3048" y="21519"/>
                    <a:pt x="3048" y="21519"/>
                  </a:cubicBezTo>
                  <a:cubicBezTo>
                    <a:pt x="1526" y="21600"/>
                    <a:pt x="1526" y="21600"/>
                    <a:pt x="1526" y="21600"/>
                  </a:cubicBezTo>
                  <a:cubicBezTo>
                    <a:pt x="2371" y="21600"/>
                    <a:pt x="2371" y="21600"/>
                    <a:pt x="2371" y="21600"/>
                  </a:cubicBezTo>
                  <a:cubicBezTo>
                    <a:pt x="3057" y="21564"/>
                    <a:pt x="3057" y="21564"/>
                    <a:pt x="3057" y="21564"/>
                  </a:cubicBezTo>
                  <a:cubicBezTo>
                    <a:pt x="3065" y="21600"/>
                    <a:pt x="3065" y="21600"/>
                    <a:pt x="3065" y="21600"/>
                  </a:cubicBezTo>
                  <a:cubicBezTo>
                    <a:pt x="3132" y="21600"/>
                    <a:pt x="3132" y="21600"/>
                    <a:pt x="3132" y="21600"/>
                  </a:cubicBezTo>
                  <a:cubicBezTo>
                    <a:pt x="3127" y="21577"/>
                    <a:pt x="3127" y="21577"/>
                    <a:pt x="3127" y="21577"/>
                  </a:cubicBezTo>
                  <a:cubicBezTo>
                    <a:pt x="3174" y="21578"/>
                    <a:pt x="3260" y="21579"/>
                    <a:pt x="3347" y="21580"/>
                  </a:cubicBezTo>
                  <a:cubicBezTo>
                    <a:pt x="3476" y="21581"/>
                    <a:pt x="3609" y="21583"/>
                    <a:pt x="3620" y="21585"/>
                  </a:cubicBezTo>
                  <a:cubicBezTo>
                    <a:pt x="3624" y="21586"/>
                    <a:pt x="3648" y="21592"/>
                    <a:pt x="3680" y="21600"/>
                  </a:cubicBezTo>
                  <a:cubicBezTo>
                    <a:pt x="3738" y="21600"/>
                    <a:pt x="3738" y="21600"/>
                    <a:pt x="3738" y="21600"/>
                  </a:cubicBezTo>
                  <a:cubicBezTo>
                    <a:pt x="3677" y="21585"/>
                    <a:pt x="3626" y="21572"/>
                    <a:pt x="3624" y="21571"/>
                  </a:cubicBezTo>
                  <a:cubicBezTo>
                    <a:pt x="3619" y="21570"/>
                    <a:pt x="3612" y="21570"/>
                    <a:pt x="3597" y="21570"/>
                  </a:cubicBezTo>
                  <a:cubicBezTo>
                    <a:pt x="3581" y="21569"/>
                    <a:pt x="3560" y="21569"/>
                    <a:pt x="3535" y="21569"/>
                  </a:cubicBezTo>
                  <a:cubicBezTo>
                    <a:pt x="3485" y="21568"/>
                    <a:pt x="3419" y="21567"/>
                    <a:pt x="3353" y="21566"/>
                  </a:cubicBezTo>
                  <a:cubicBezTo>
                    <a:pt x="3262" y="21565"/>
                    <a:pt x="3171" y="21564"/>
                    <a:pt x="3124" y="21563"/>
                  </a:cubicBezTo>
                  <a:cubicBezTo>
                    <a:pt x="3084" y="21374"/>
                    <a:pt x="3084" y="21374"/>
                    <a:pt x="3084" y="21374"/>
                  </a:cubicBezTo>
                  <a:cubicBezTo>
                    <a:pt x="3585" y="21366"/>
                    <a:pt x="3585" y="21366"/>
                    <a:pt x="3585" y="21366"/>
                  </a:cubicBezTo>
                  <a:cubicBezTo>
                    <a:pt x="3608" y="21376"/>
                    <a:pt x="3933" y="21505"/>
                    <a:pt x="3973" y="21520"/>
                  </a:cubicBezTo>
                  <a:cubicBezTo>
                    <a:pt x="3973" y="21539"/>
                    <a:pt x="3973" y="21552"/>
                    <a:pt x="3973" y="21555"/>
                  </a:cubicBezTo>
                  <a:cubicBezTo>
                    <a:pt x="3962" y="21600"/>
                    <a:pt x="3962" y="21600"/>
                    <a:pt x="3962" y="21600"/>
                  </a:cubicBezTo>
                  <a:cubicBezTo>
                    <a:pt x="3976" y="21600"/>
                    <a:pt x="3976" y="21600"/>
                    <a:pt x="3976" y="21600"/>
                  </a:cubicBezTo>
                  <a:cubicBezTo>
                    <a:pt x="3986" y="21557"/>
                    <a:pt x="3986" y="21557"/>
                    <a:pt x="3986" y="21557"/>
                  </a:cubicBezTo>
                  <a:cubicBezTo>
                    <a:pt x="3986" y="21556"/>
                    <a:pt x="3986" y="21556"/>
                    <a:pt x="3986" y="21556"/>
                  </a:cubicBezTo>
                  <a:cubicBezTo>
                    <a:pt x="3986" y="21556"/>
                    <a:pt x="3987" y="21544"/>
                    <a:pt x="3987" y="21523"/>
                  </a:cubicBezTo>
                  <a:cubicBezTo>
                    <a:pt x="4022" y="21529"/>
                    <a:pt x="4150" y="21546"/>
                    <a:pt x="4278" y="21563"/>
                  </a:cubicBezTo>
                  <a:cubicBezTo>
                    <a:pt x="4398" y="21578"/>
                    <a:pt x="4518" y="21594"/>
                    <a:pt x="4558" y="21599"/>
                  </a:cubicBezTo>
                  <a:cubicBezTo>
                    <a:pt x="4558" y="21600"/>
                    <a:pt x="4558" y="21600"/>
                    <a:pt x="4558" y="21600"/>
                  </a:cubicBezTo>
                  <a:cubicBezTo>
                    <a:pt x="4711" y="21600"/>
                    <a:pt x="4711" y="21600"/>
                    <a:pt x="4711" y="21600"/>
                  </a:cubicBezTo>
                  <a:cubicBezTo>
                    <a:pt x="4927" y="19907"/>
                    <a:pt x="4927" y="19907"/>
                    <a:pt x="4927" y="19907"/>
                  </a:cubicBezTo>
                  <a:cubicBezTo>
                    <a:pt x="4991" y="19895"/>
                    <a:pt x="4991" y="19895"/>
                    <a:pt x="4991" y="19895"/>
                  </a:cubicBezTo>
                  <a:cubicBezTo>
                    <a:pt x="4980" y="19986"/>
                    <a:pt x="4959" y="20149"/>
                    <a:pt x="4932" y="20362"/>
                  </a:cubicBezTo>
                  <a:cubicBezTo>
                    <a:pt x="4891" y="20688"/>
                    <a:pt x="4835" y="21129"/>
                    <a:pt x="4775" y="21600"/>
                  </a:cubicBezTo>
                  <a:cubicBezTo>
                    <a:pt x="4929" y="21600"/>
                    <a:pt x="4929" y="21600"/>
                    <a:pt x="4929" y="21600"/>
                  </a:cubicBezTo>
                  <a:cubicBezTo>
                    <a:pt x="4936" y="21547"/>
                    <a:pt x="4942" y="21495"/>
                    <a:pt x="4949" y="21443"/>
                  </a:cubicBezTo>
                  <a:cubicBezTo>
                    <a:pt x="5519" y="21527"/>
                    <a:pt x="5519" y="21527"/>
                    <a:pt x="5519" y="21527"/>
                  </a:cubicBezTo>
                  <a:cubicBezTo>
                    <a:pt x="5511" y="21600"/>
                    <a:pt x="5511" y="21600"/>
                    <a:pt x="5511" y="21600"/>
                  </a:cubicBezTo>
                  <a:cubicBezTo>
                    <a:pt x="5577" y="21600"/>
                    <a:pt x="5577" y="21600"/>
                    <a:pt x="5577" y="21600"/>
                  </a:cubicBezTo>
                  <a:cubicBezTo>
                    <a:pt x="5579" y="21579"/>
                    <a:pt x="5579" y="21579"/>
                    <a:pt x="5579" y="21579"/>
                  </a:cubicBezTo>
                  <a:cubicBezTo>
                    <a:pt x="5583" y="21580"/>
                    <a:pt x="5586" y="21580"/>
                    <a:pt x="5590" y="21581"/>
                  </a:cubicBezTo>
                  <a:cubicBezTo>
                    <a:pt x="5611" y="21584"/>
                    <a:pt x="5640" y="21589"/>
                    <a:pt x="5674" y="21594"/>
                  </a:cubicBezTo>
                  <a:cubicBezTo>
                    <a:pt x="5688" y="21596"/>
                    <a:pt x="5704" y="21598"/>
                    <a:pt x="5719" y="21600"/>
                  </a:cubicBezTo>
                  <a:cubicBezTo>
                    <a:pt x="6047" y="21600"/>
                    <a:pt x="6047" y="21600"/>
                    <a:pt x="6047" y="21600"/>
                  </a:cubicBezTo>
                  <a:cubicBezTo>
                    <a:pt x="5929" y="21584"/>
                    <a:pt x="5790" y="21565"/>
                    <a:pt x="5690" y="21551"/>
                  </a:cubicBezTo>
                  <a:cubicBezTo>
                    <a:pt x="5644" y="21544"/>
                    <a:pt x="5606" y="21538"/>
                    <a:pt x="5584" y="21534"/>
                  </a:cubicBezTo>
                  <a:cubicBezTo>
                    <a:pt x="5737" y="20024"/>
                    <a:pt x="5737" y="20024"/>
                    <a:pt x="5737" y="20024"/>
                  </a:cubicBezTo>
                  <a:cubicBezTo>
                    <a:pt x="5864" y="20028"/>
                    <a:pt x="6370" y="20046"/>
                    <a:pt x="6834" y="20063"/>
                  </a:cubicBezTo>
                  <a:cubicBezTo>
                    <a:pt x="6295" y="21600"/>
                    <a:pt x="6295" y="21600"/>
                    <a:pt x="6295" y="21600"/>
                  </a:cubicBezTo>
                  <a:cubicBezTo>
                    <a:pt x="6343" y="21600"/>
                    <a:pt x="6343" y="21600"/>
                    <a:pt x="6343" y="21600"/>
                  </a:cubicBezTo>
                  <a:cubicBezTo>
                    <a:pt x="6882" y="20065"/>
                    <a:pt x="6882" y="20065"/>
                    <a:pt x="6882" y="20065"/>
                  </a:cubicBezTo>
                  <a:cubicBezTo>
                    <a:pt x="7280" y="20079"/>
                    <a:pt x="7636" y="20092"/>
                    <a:pt x="7676" y="20093"/>
                  </a:cubicBezTo>
                  <a:cubicBezTo>
                    <a:pt x="7676" y="20093"/>
                    <a:pt x="7677" y="20093"/>
                    <a:pt x="7677" y="20093"/>
                  </a:cubicBezTo>
                  <a:cubicBezTo>
                    <a:pt x="7678" y="20093"/>
                    <a:pt x="7679" y="20093"/>
                    <a:pt x="7679" y="20093"/>
                  </a:cubicBezTo>
                  <a:cubicBezTo>
                    <a:pt x="7680" y="20094"/>
                    <a:pt x="7682" y="20094"/>
                    <a:pt x="7683" y="20094"/>
                  </a:cubicBezTo>
                  <a:cubicBezTo>
                    <a:pt x="7687" y="20094"/>
                    <a:pt x="7691" y="20094"/>
                    <a:pt x="7697" y="20094"/>
                  </a:cubicBezTo>
                  <a:cubicBezTo>
                    <a:pt x="7702" y="20094"/>
                    <a:pt x="7708" y="20095"/>
                    <a:pt x="7714" y="20095"/>
                  </a:cubicBezTo>
                  <a:cubicBezTo>
                    <a:pt x="7416" y="21445"/>
                    <a:pt x="7416" y="21445"/>
                    <a:pt x="7416" y="21445"/>
                  </a:cubicBezTo>
                  <a:cubicBezTo>
                    <a:pt x="7415" y="21447"/>
                    <a:pt x="7412" y="21460"/>
                    <a:pt x="7412" y="21479"/>
                  </a:cubicBezTo>
                  <a:cubicBezTo>
                    <a:pt x="7412" y="21508"/>
                    <a:pt x="7420" y="21555"/>
                    <a:pt x="7455" y="21600"/>
                  </a:cubicBezTo>
                  <a:cubicBezTo>
                    <a:pt x="7550" y="21600"/>
                    <a:pt x="7550" y="21600"/>
                    <a:pt x="7550" y="21600"/>
                  </a:cubicBezTo>
                  <a:cubicBezTo>
                    <a:pt x="7536" y="21591"/>
                    <a:pt x="7525" y="21581"/>
                    <a:pt x="7516" y="21571"/>
                  </a:cubicBezTo>
                  <a:cubicBezTo>
                    <a:pt x="7483" y="21535"/>
                    <a:pt x="7478" y="21500"/>
                    <a:pt x="7478" y="21479"/>
                  </a:cubicBezTo>
                  <a:cubicBezTo>
                    <a:pt x="7478" y="21470"/>
                    <a:pt x="7479" y="21463"/>
                    <a:pt x="7479" y="21462"/>
                  </a:cubicBezTo>
                  <a:cubicBezTo>
                    <a:pt x="7479" y="21462"/>
                    <a:pt x="7479" y="21461"/>
                    <a:pt x="7480" y="21460"/>
                  </a:cubicBezTo>
                  <a:cubicBezTo>
                    <a:pt x="7780" y="20099"/>
                    <a:pt x="7780" y="20099"/>
                    <a:pt x="7780" y="20099"/>
                  </a:cubicBezTo>
                  <a:cubicBezTo>
                    <a:pt x="7810" y="20101"/>
                    <a:pt x="7841" y="20104"/>
                    <a:pt x="7868" y="20108"/>
                  </a:cubicBezTo>
                  <a:cubicBezTo>
                    <a:pt x="7933" y="20117"/>
                    <a:pt x="9332" y="20325"/>
                    <a:pt x="10026" y="20429"/>
                  </a:cubicBezTo>
                  <a:cubicBezTo>
                    <a:pt x="10258" y="20463"/>
                    <a:pt x="10411" y="20486"/>
                    <a:pt x="10411" y="20486"/>
                  </a:cubicBezTo>
                  <a:cubicBezTo>
                    <a:pt x="10412" y="20486"/>
                    <a:pt x="10412" y="20486"/>
                    <a:pt x="10412" y="20486"/>
                  </a:cubicBezTo>
                  <a:cubicBezTo>
                    <a:pt x="10414" y="20486"/>
                    <a:pt x="10414" y="20486"/>
                    <a:pt x="10414" y="20486"/>
                  </a:cubicBezTo>
                  <a:cubicBezTo>
                    <a:pt x="10414" y="20486"/>
                    <a:pt x="10415" y="20486"/>
                    <a:pt x="10420" y="20487"/>
                  </a:cubicBezTo>
                  <a:cubicBezTo>
                    <a:pt x="10424" y="20488"/>
                    <a:pt x="10430" y="20488"/>
                    <a:pt x="10439" y="20490"/>
                  </a:cubicBezTo>
                  <a:cubicBezTo>
                    <a:pt x="10455" y="20492"/>
                    <a:pt x="10480" y="20497"/>
                    <a:pt x="10508" y="20503"/>
                  </a:cubicBezTo>
                  <a:cubicBezTo>
                    <a:pt x="10566" y="20516"/>
                    <a:pt x="10642" y="20537"/>
                    <a:pt x="10713" y="20569"/>
                  </a:cubicBezTo>
                  <a:cubicBezTo>
                    <a:pt x="10786" y="20602"/>
                    <a:pt x="10969" y="20699"/>
                    <a:pt x="11148" y="20799"/>
                  </a:cubicBezTo>
                  <a:cubicBezTo>
                    <a:pt x="11327" y="20899"/>
                    <a:pt x="11507" y="21002"/>
                    <a:pt x="11579" y="21047"/>
                  </a:cubicBezTo>
                  <a:cubicBezTo>
                    <a:pt x="12441" y="21600"/>
                    <a:pt x="12441" y="21600"/>
                    <a:pt x="12441" y="21600"/>
                  </a:cubicBezTo>
                  <a:cubicBezTo>
                    <a:pt x="12718" y="21600"/>
                    <a:pt x="12718" y="21600"/>
                    <a:pt x="12718" y="21600"/>
                  </a:cubicBezTo>
                  <a:cubicBezTo>
                    <a:pt x="12699" y="21587"/>
                    <a:pt x="12699" y="21587"/>
                    <a:pt x="12699" y="21587"/>
                  </a:cubicBezTo>
                  <a:cubicBezTo>
                    <a:pt x="12960" y="21043"/>
                    <a:pt x="13191" y="20549"/>
                    <a:pt x="13252" y="20418"/>
                  </a:cubicBezTo>
                  <a:cubicBezTo>
                    <a:pt x="13257" y="20421"/>
                    <a:pt x="13262" y="20424"/>
                    <a:pt x="13266" y="20427"/>
                  </a:cubicBezTo>
                  <a:cubicBezTo>
                    <a:pt x="13326" y="20464"/>
                    <a:pt x="13397" y="20523"/>
                    <a:pt x="13446" y="20609"/>
                  </a:cubicBezTo>
                  <a:cubicBezTo>
                    <a:pt x="13499" y="20701"/>
                    <a:pt x="13538" y="20766"/>
                    <a:pt x="13592" y="20822"/>
                  </a:cubicBezTo>
                  <a:cubicBezTo>
                    <a:pt x="13647" y="20878"/>
                    <a:pt x="13714" y="20921"/>
                    <a:pt x="13820" y="20969"/>
                  </a:cubicBezTo>
                  <a:cubicBezTo>
                    <a:pt x="14027" y="21062"/>
                    <a:pt x="15218" y="21563"/>
                    <a:pt x="15273" y="21585"/>
                  </a:cubicBezTo>
                  <a:cubicBezTo>
                    <a:pt x="15273" y="21585"/>
                    <a:pt x="15274" y="21586"/>
                    <a:pt x="15275" y="21587"/>
                  </a:cubicBezTo>
                  <a:cubicBezTo>
                    <a:pt x="15278" y="21588"/>
                    <a:pt x="15281" y="21591"/>
                    <a:pt x="15286" y="21594"/>
                  </a:cubicBezTo>
                  <a:cubicBezTo>
                    <a:pt x="15289" y="21596"/>
                    <a:pt x="15292" y="21598"/>
                    <a:pt x="15295" y="21600"/>
                  </a:cubicBezTo>
                  <a:cubicBezTo>
                    <a:pt x="15408" y="21600"/>
                    <a:pt x="15408" y="21600"/>
                    <a:pt x="15408" y="21600"/>
                  </a:cubicBezTo>
                  <a:cubicBezTo>
                    <a:pt x="15364" y="21568"/>
                    <a:pt x="15329" y="21543"/>
                    <a:pt x="15312" y="21532"/>
                  </a:cubicBezTo>
                  <a:cubicBezTo>
                    <a:pt x="15307" y="21529"/>
                    <a:pt x="15305" y="21528"/>
                    <a:pt x="15299" y="21525"/>
                  </a:cubicBezTo>
                  <a:cubicBezTo>
                    <a:pt x="15280" y="21517"/>
                    <a:pt x="14054" y="21002"/>
                    <a:pt x="13847" y="20909"/>
                  </a:cubicBezTo>
                  <a:cubicBezTo>
                    <a:pt x="13745" y="20863"/>
                    <a:pt x="13686" y="20825"/>
                    <a:pt x="13639" y="20777"/>
                  </a:cubicBezTo>
                  <a:cubicBezTo>
                    <a:pt x="13593" y="20729"/>
                    <a:pt x="13556" y="20668"/>
                    <a:pt x="13503" y="20576"/>
                  </a:cubicBezTo>
                  <a:cubicBezTo>
                    <a:pt x="13439" y="20466"/>
                    <a:pt x="13347" y="20397"/>
                    <a:pt x="13278" y="20357"/>
                  </a:cubicBezTo>
                  <a:cubicBezTo>
                    <a:pt x="13978" y="18345"/>
                    <a:pt x="13978" y="18345"/>
                    <a:pt x="13978" y="18345"/>
                  </a:cubicBezTo>
                  <a:cubicBezTo>
                    <a:pt x="14414" y="18392"/>
                    <a:pt x="14414" y="18392"/>
                    <a:pt x="14414" y="18392"/>
                  </a:cubicBezTo>
                  <a:cubicBezTo>
                    <a:pt x="14414" y="18392"/>
                    <a:pt x="14415" y="18393"/>
                    <a:pt x="14416" y="18393"/>
                  </a:cubicBezTo>
                  <a:cubicBezTo>
                    <a:pt x="14420" y="18396"/>
                    <a:pt x="14427" y="18399"/>
                    <a:pt x="14435" y="18403"/>
                  </a:cubicBezTo>
                  <a:cubicBezTo>
                    <a:pt x="14451" y="18411"/>
                    <a:pt x="14475" y="18423"/>
                    <a:pt x="14505" y="18438"/>
                  </a:cubicBezTo>
                  <a:cubicBezTo>
                    <a:pt x="14565" y="18468"/>
                    <a:pt x="14651" y="18510"/>
                    <a:pt x="14754" y="18561"/>
                  </a:cubicBezTo>
                  <a:cubicBezTo>
                    <a:pt x="14960" y="18664"/>
                    <a:pt x="15233" y="18801"/>
                    <a:pt x="15505" y="18946"/>
                  </a:cubicBezTo>
                  <a:cubicBezTo>
                    <a:pt x="15744" y="19073"/>
                    <a:pt x="15982" y="19215"/>
                    <a:pt x="16172" y="19327"/>
                  </a:cubicBezTo>
                  <a:cubicBezTo>
                    <a:pt x="16639" y="19603"/>
                    <a:pt x="17019" y="19978"/>
                    <a:pt x="17179" y="20148"/>
                  </a:cubicBezTo>
                  <a:cubicBezTo>
                    <a:pt x="17232" y="20205"/>
                    <a:pt x="17261" y="20238"/>
                    <a:pt x="17261" y="20238"/>
                  </a:cubicBezTo>
                  <a:cubicBezTo>
                    <a:pt x="17262" y="20239"/>
                    <a:pt x="17262" y="20239"/>
                    <a:pt x="17262" y="20239"/>
                  </a:cubicBezTo>
                  <a:cubicBezTo>
                    <a:pt x="17262" y="20239"/>
                    <a:pt x="17262" y="20239"/>
                    <a:pt x="17262" y="20239"/>
                  </a:cubicBezTo>
                  <a:cubicBezTo>
                    <a:pt x="17294" y="20273"/>
                    <a:pt x="17334" y="20319"/>
                    <a:pt x="17383" y="20370"/>
                  </a:cubicBezTo>
                  <a:cubicBezTo>
                    <a:pt x="17357" y="20394"/>
                    <a:pt x="17264" y="20479"/>
                    <a:pt x="17164" y="20592"/>
                  </a:cubicBezTo>
                  <a:cubicBezTo>
                    <a:pt x="17046" y="20726"/>
                    <a:pt x="16917" y="20896"/>
                    <a:pt x="16875" y="21058"/>
                  </a:cubicBezTo>
                  <a:cubicBezTo>
                    <a:pt x="16835" y="21214"/>
                    <a:pt x="16840" y="21342"/>
                    <a:pt x="16810" y="21455"/>
                  </a:cubicBezTo>
                  <a:cubicBezTo>
                    <a:pt x="16797" y="21505"/>
                    <a:pt x="16779" y="21552"/>
                    <a:pt x="16747" y="21600"/>
                  </a:cubicBezTo>
                  <a:cubicBezTo>
                    <a:pt x="16823" y="21600"/>
                    <a:pt x="16823" y="21600"/>
                    <a:pt x="16823" y="21600"/>
                  </a:cubicBezTo>
                  <a:cubicBezTo>
                    <a:pt x="16847" y="21558"/>
                    <a:pt x="16863" y="21515"/>
                    <a:pt x="16874" y="21471"/>
                  </a:cubicBezTo>
                  <a:cubicBezTo>
                    <a:pt x="16906" y="21345"/>
                    <a:pt x="16901" y="21220"/>
                    <a:pt x="16938" y="21074"/>
                  </a:cubicBezTo>
                  <a:cubicBezTo>
                    <a:pt x="16991" y="20862"/>
                    <a:pt x="17244" y="20593"/>
                    <a:pt x="17367" y="20475"/>
                  </a:cubicBezTo>
                  <a:cubicBezTo>
                    <a:pt x="17399" y="20445"/>
                    <a:pt x="17421" y="20425"/>
                    <a:pt x="17429" y="20417"/>
                  </a:cubicBezTo>
                  <a:cubicBezTo>
                    <a:pt x="17559" y="20545"/>
                    <a:pt x="17744" y="20698"/>
                    <a:pt x="18008" y="20813"/>
                  </a:cubicBezTo>
                  <a:cubicBezTo>
                    <a:pt x="18008" y="20741"/>
                    <a:pt x="18008" y="20741"/>
                    <a:pt x="18008" y="20741"/>
                  </a:cubicBezTo>
                  <a:cubicBezTo>
                    <a:pt x="17771" y="20633"/>
                    <a:pt x="17602" y="20495"/>
                    <a:pt x="17481" y="20376"/>
                  </a:cubicBezTo>
                  <a:cubicBezTo>
                    <a:pt x="17575" y="20300"/>
                    <a:pt x="17793" y="20125"/>
                    <a:pt x="18008" y="19949"/>
                  </a:cubicBezTo>
                  <a:lnTo>
                    <a:pt x="18008" y="19864"/>
                  </a:lnTo>
                  <a:close/>
                  <a:moveTo>
                    <a:pt x="2977" y="18242"/>
                  </a:moveTo>
                  <a:cubicBezTo>
                    <a:pt x="2979" y="18243"/>
                    <a:pt x="2982" y="18244"/>
                    <a:pt x="2984" y="18246"/>
                  </a:cubicBezTo>
                  <a:cubicBezTo>
                    <a:pt x="3014" y="18263"/>
                    <a:pt x="3056" y="18286"/>
                    <a:pt x="3103" y="18314"/>
                  </a:cubicBezTo>
                  <a:cubicBezTo>
                    <a:pt x="3198" y="18370"/>
                    <a:pt x="3316" y="18442"/>
                    <a:pt x="3403" y="18507"/>
                  </a:cubicBezTo>
                  <a:cubicBezTo>
                    <a:pt x="3461" y="18549"/>
                    <a:pt x="3507" y="18592"/>
                    <a:pt x="3518" y="18609"/>
                  </a:cubicBezTo>
                  <a:cubicBezTo>
                    <a:pt x="3548" y="18655"/>
                    <a:pt x="3573" y="18731"/>
                    <a:pt x="3587" y="18806"/>
                  </a:cubicBezTo>
                  <a:cubicBezTo>
                    <a:pt x="3601" y="18876"/>
                    <a:pt x="3607" y="18946"/>
                    <a:pt x="3607" y="18991"/>
                  </a:cubicBezTo>
                  <a:cubicBezTo>
                    <a:pt x="3606" y="18987"/>
                    <a:pt x="3605" y="18984"/>
                    <a:pt x="3604" y="18982"/>
                  </a:cubicBezTo>
                  <a:cubicBezTo>
                    <a:pt x="3591" y="18945"/>
                    <a:pt x="3567" y="18880"/>
                    <a:pt x="3542" y="18815"/>
                  </a:cubicBezTo>
                  <a:cubicBezTo>
                    <a:pt x="3516" y="18749"/>
                    <a:pt x="3489" y="18685"/>
                    <a:pt x="3467" y="18645"/>
                  </a:cubicBezTo>
                  <a:cubicBezTo>
                    <a:pt x="3427" y="18571"/>
                    <a:pt x="3377" y="18504"/>
                    <a:pt x="3307" y="18458"/>
                  </a:cubicBezTo>
                  <a:cubicBezTo>
                    <a:pt x="3286" y="18444"/>
                    <a:pt x="3256" y="18428"/>
                    <a:pt x="3215" y="18408"/>
                  </a:cubicBezTo>
                  <a:cubicBezTo>
                    <a:pt x="3175" y="18387"/>
                    <a:pt x="3128" y="18364"/>
                    <a:pt x="3082" y="18342"/>
                  </a:cubicBezTo>
                  <a:cubicBezTo>
                    <a:pt x="3034" y="18319"/>
                    <a:pt x="2987" y="18297"/>
                    <a:pt x="2955" y="18281"/>
                  </a:cubicBezTo>
                  <a:cubicBezTo>
                    <a:pt x="2963" y="18268"/>
                    <a:pt x="2970" y="18255"/>
                    <a:pt x="2977" y="18242"/>
                  </a:cubicBezTo>
                  <a:close/>
                  <a:moveTo>
                    <a:pt x="2289" y="19567"/>
                  </a:moveTo>
                  <a:cubicBezTo>
                    <a:pt x="2289" y="19570"/>
                    <a:pt x="2289" y="19575"/>
                    <a:pt x="2290" y="19579"/>
                  </a:cubicBezTo>
                  <a:cubicBezTo>
                    <a:pt x="2292" y="19604"/>
                    <a:pt x="2298" y="19654"/>
                    <a:pt x="2306" y="19706"/>
                  </a:cubicBezTo>
                  <a:cubicBezTo>
                    <a:pt x="763" y="20095"/>
                    <a:pt x="763" y="20095"/>
                    <a:pt x="763" y="20095"/>
                  </a:cubicBezTo>
                  <a:cubicBezTo>
                    <a:pt x="671" y="19892"/>
                    <a:pt x="592" y="19718"/>
                    <a:pt x="560" y="19649"/>
                  </a:cubicBezTo>
                  <a:cubicBezTo>
                    <a:pt x="575" y="19642"/>
                    <a:pt x="590" y="19635"/>
                    <a:pt x="607" y="19628"/>
                  </a:cubicBezTo>
                  <a:cubicBezTo>
                    <a:pt x="720" y="19578"/>
                    <a:pt x="862" y="19516"/>
                    <a:pt x="977" y="19471"/>
                  </a:cubicBezTo>
                  <a:cubicBezTo>
                    <a:pt x="1078" y="19430"/>
                    <a:pt x="1266" y="19358"/>
                    <a:pt x="1453" y="19283"/>
                  </a:cubicBezTo>
                  <a:cubicBezTo>
                    <a:pt x="1641" y="19207"/>
                    <a:pt x="1829" y="19129"/>
                    <a:pt x="1937" y="19073"/>
                  </a:cubicBezTo>
                  <a:cubicBezTo>
                    <a:pt x="1969" y="19057"/>
                    <a:pt x="1993" y="19043"/>
                    <a:pt x="2014" y="19028"/>
                  </a:cubicBezTo>
                  <a:cubicBezTo>
                    <a:pt x="2053" y="18998"/>
                    <a:pt x="2097" y="18950"/>
                    <a:pt x="2151" y="18888"/>
                  </a:cubicBezTo>
                  <a:cubicBezTo>
                    <a:pt x="2204" y="18827"/>
                    <a:pt x="2263" y="18755"/>
                    <a:pt x="2318" y="18685"/>
                  </a:cubicBezTo>
                  <a:cubicBezTo>
                    <a:pt x="2413" y="18567"/>
                    <a:pt x="2497" y="18456"/>
                    <a:pt x="2520" y="18425"/>
                  </a:cubicBezTo>
                  <a:cubicBezTo>
                    <a:pt x="2560" y="18440"/>
                    <a:pt x="2603" y="18449"/>
                    <a:pt x="2648" y="18449"/>
                  </a:cubicBezTo>
                  <a:cubicBezTo>
                    <a:pt x="2718" y="18449"/>
                    <a:pt x="2783" y="18429"/>
                    <a:pt x="2838" y="18395"/>
                  </a:cubicBezTo>
                  <a:cubicBezTo>
                    <a:pt x="2859" y="18405"/>
                    <a:pt x="2908" y="18428"/>
                    <a:pt x="2951" y="18448"/>
                  </a:cubicBezTo>
                  <a:cubicBezTo>
                    <a:pt x="3012" y="18477"/>
                    <a:pt x="3088" y="18514"/>
                    <a:pt x="3146" y="18544"/>
                  </a:cubicBezTo>
                  <a:cubicBezTo>
                    <a:pt x="3184" y="18563"/>
                    <a:pt x="3216" y="18580"/>
                    <a:pt x="3223" y="18585"/>
                  </a:cubicBezTo>
                  <a:cubicBezTo>
                    <a:pt x="3264" y="18612"/>
                    <a:pt x="3300" y="18656"/>
                    <a:pt x="3333" y="18718"/>
                  </a:cubicBezTo>
                  <a:cubicBezTo>
                    <a:pt x="3348" y="18744"/>
                    <a:pt x="3375" y="18808"/>
                    <a:pt x="3400" y="18871"/>
                  </a:cubicBezTo>
                  <a:cubicBezTo>
                    <a:pt x="3425" y="18934"/>
                    <a:pt x="3448" y="18998"/>
                    <a:pt x="3460" y="19032"/>
                  </a:cubicBezTo>
                  <a:cubicBezTo>
                    <a:pt x="3471" y="19062"/>
                    <a:pt x="3503" y="19144"/>
                    <a:pt x="3543" y="19243"/>
                  </a:cubicBezTo>
                  <a:cubicBezTo>
                    <a:pt x="3582" y="19341"/>
                    <a:pt x="3629" y="19453"/>
                    <a:pt x="3667" y="19540"/>
                  </a:cubicBezTo>
                  <a:cubicBezTo>
                    <a:pt x="3692" y="19598"/>
                    <a:pt x="3712" y="19641"/>
                    <a:pt x="3727" y="19668"/>
                  </a:cubicBezTo>
                  <a:cubicBezTo>
                    <a:pt x="3746" y="19700"/>
                    <a:pt x="3768" y="19737"/>
                    <a:pt x="3792" y="19774"/>
                  </a:cubicBezTo>
                  <a:cubicBezTo>
                    <a:pt x="3762" y="19783"/>
                    <a:pt x="3722" y="19796"/>
                    <a:pt x="3677" y="19808"/>
                  </a:cubicBezTo>
                  <a:cubicBezTo>
                    <a:pt x="3587" y="19834"/>
                    <a:pt x="3479" y="19859"/>
                    <a:pt x="3423" y="19859"/>
                  </a:cubicBezTo>
                  <a:cubicBezTo>
                    <a:pt x="3417" y="19859"/>
                    <a:pt x="3412" y="19858"/>
                    <a:pt x="3407" y="19858"/>
                  </a:cubicBezTo>
                  <a:cubicBezTo>
                    <a:pt x="3361" y="19853"/>
                    <a:pt x="3291" y="19835"/>
                    <a:pt x="3231" y="19817"/>
                  </a:cubicBezTo>
                  <a:cubicBezTo>
                    <a:pt x="3187" y="19803"/>
                    <a:pt x="3145" y="19788"/>
                    <a:pt x="3124" y="19780"/>
                  </a:cubicBezTo>
                  <a:cubicBezTo>
                    <a:pt x="3131" y="19767"/>
                    <a:pt x="3136" y="19753"/>
                    <a:pt x="3138" y="19740"/>
                  </a:cubicBezTo>
                  <a:cubicBezTo>
                    <a:pt x="3141" y="19723"/>
                    <a:pt x="3142" y="19703"/>
                    <a:pt x="3142" y="19682"/>
                  </a:cubicBezTo>
                  <a:cubicBezTo>
                    <a:pt x="3141" y="19615"/>
                    <a:pt x="3133" y="19533"/>
                    <a:pt x="3107" y="19480"/>
                  </a:cubicBezTo>
                  <a:cubicBezTo>
                    <a:pt x="3077" y="19418"/>
                    <a:pt x="3017" y="19351"/>
                    <a:pt x="2900" y="19344"/>
                  </a:cubicBezTo>
                  <a:cubicBezTo>
                    <a:pt x="2887" y="19343"/>
                    <a:pt x="2871" y="19342"/>
                    <a:pt x="2855" y="19342"/>
                  </a:cubicBezTo>
                  <a:cubicBezTo>
                    <a:pt x="2732" y="19342"/>
                    <a:pt x="2535" y="19367"/>
                    <a:pt x="2440" y="19394"/>
                  </a:cubicBezTo>
                  <a:cubicBezTo>
                    <a:pt x="2332" y="19422"/>
                    <a:pt x="2288" y="19502"/>
                    <a:pt x="2289" y="19567"/>
                  </a:cubicBezTo>
                  <a:close/>
                  <a:moveTo>
                    <a:pt x="2549" y="19903"/>
                  </a:moveTo>
                  <a:cubicBezTo>
                    <a:pt x="2544" y="19903"/>
                    <a:pt x="2540" y="19903"/>
                    <a:pt x="2535" y="19903"/>
                  </a:cubicBezTo>
                  <a:cubicBezTo>
                    <a:pt x="2464" y="19903"/>
                    <a:pt x="2420" y="19878"/>
                    <a:pt x="2405" y="19844"/>
                  </a:cubicBezTo>
                  <a:cubicBezTo>
                    <a:pt x="2396" y="19825"/>
                    <a:pt x="2383" y="19767"/>
                    <a:pt x="2374" y="19712"/>
                  </a:cubicBezTo>
                  <a:cubicBezTo>
                    <a:pt x="2364" y="19655"/>
                    <a:pt x="2357" y="19598"/>
                    <a:pt x="2355" y="19574"/>
                  </a:cubicBezTo>
                  <a:cubicBezTo>
                    <a:pt x="2355" y="19572"/>
                    <a:pt x="2355" y="19569"/>
                    <a:pt x="2355" y="19567"/>
                  </a:cubicBezTo>
                  <a:cubicBezTo>
                    <a:pt x="2356" y="19528"/>
                    <a:pt x="2374" y="19482"/>
                    <a:pt x="2458" y="19457"/>
                  </a:cubicBezTo>
                  <a:cubicBezTo>
                    <a:pt x="2542" y="19433"/>
                    <a:pt x="2741" y="19407"/>
                    <a:pt x="2855" y="19408"/>
                  </a:cubicBezTo>
                  <a:cubicBezTo>
                    <a:pt x="2870" y="19408"/>
                    <a:pt x="2884" y="19408"/>
                    <a:pt x="2895" y="19409"/>
                  </a:cubicBezTo>
                  <a:cubicBezTo>
                    <a:pt x="2990" y="19418"/>
                    <a:pt x="3020" y="19457"/>
                    <a:pt x="3048" y="19509"/>
                  </a:cubicBezTo>
                  <a:cubicBezTo>
                    <a:pt x="3065" y="19542"/>
                    <a:pt x="3077" y="19622"/>
                    <a:pt x="3076" y="19682"/>
                  </a:cubicBezTo>
                  <a:cubicBezTo>
                    <a:pt x="3076" y="19701"/>
                    <a:pt x="3075" y="19718"/>
                    <a:pt x="3073" y="19731"/>
                  </a:cubicBezTo>
                  <a:cubicBezTo>
                    <a:pt x="3106" y="19735"/>
                    <a:pt x="3106" y="19735"/>
                    <a:pt x="3106" y="19735"/>
                  </a:cubicBezTo>
                  <a:cubicBezTo>
                    <a:pt x="3073" y="19731"/>
                    <a:pt x="3073" y="19731"/>
                    <a:pt x="3073" y="19731"/>
                  </a:cubicBezTo>
                  <a:cubicBezTo>
                    <a:pt x="3073" y="19741"/>
                    <a:pt x="3058" y="19772"/>
                    <a:pt x="3031" y="19799"/>
                  </a:cubicBezTo>
                  <a:cubicBezTo>
                    <a:pt x="3005" y="19827"/>
                    <a:pt x="2969" y="19854"/>
                    <a:pt x="2928" y="19868"/>
                  </a:cubicBezTo>
                  <a:cubicBezTo>
                    <a:pt x="2887" y="19882"/>
                    <a:pt x="2813" y="19891"/>
                    <a:pt x="2740" y="19895"/>
                  </a:cubicBezTo>
                  <a:cubicBezTo>
                    <a:pt x="2666" y="19900"/>
                    <a:pt x="2593" y="19900"/>
                    <a:pt x="2549" y="19903"/>
                  </a:cubicBezTo>
                  <a:close/>
                  <a:moveTo>
                    <a:pt x="3103" y="19832"/>
                  </a:moveTo>
                  <a:cubicBezTo>
                    <a:pt x="3099" y="19820"/>
                    <a:pt x="3099" y="19820"/>
                    <a:pt x="3099" y="19820"/>
                  </a:cubicBezTo>
                  <a:cubicBezTo>
                    <a:pt x="3099" y="19820"/>
                    <a:pt x="3099" y="19820"/>
                    <a:pt x="3099" y="19820"/>
                  </a:cubicBezTo>
                  <a:lnTo>
                    <a:pt x="3103" y="19832"/>
                  </a:lnTo>
                  <a:close/>
                  <a:moveTo>
                    <a:pt x="2785" y="19957"/>
                  </a:moveTo>
                  <a:cubicBezTo>
                    <a:pt x="2846" y="19952"/>
                    <a:pt x="2905" y="19945"/>
                    <a:pt x="2949" y="19930"/>
                  </a:cubicBezTo>
                  <a:cubicBezTo>
                    <a:pt x="3002" y="19911"/>
                    <a:pt x="3047" y="19878"/>
                    <a:pt x="3079" y="19844"/>
                  </a:cubicBezTo>
                  <a:cubicBezTo>
                    <a:pt x="3082" y="19841"/>
                    <a:pt x="3084" y="19838"/>
                    <a:pt x="3087" y="19835"/>
                  </a:cubicBezTo>
                  <a:cubicBezTo>
                    <a:pt x="3087" y="19835"/>
                    <a:pt x="3088" y="19836"/>
                    <a:pt x="3088" y="19836"/>
                  </a:cubicBezTo>
                  <a:cubicBezTo>
                    <a:pt x="3095" y="19839"/>
                    <a:pt x="3104" y="19842"/>
                    <a:pt x="3114" y="19846"/>
                  </a:cubicBezTo>
                  <a:cubicBezTo>
                    <a:pt x="3136" y="19854"/>
                    <a:pt x="3165" y="19864"/>
                    <a:pt x="3197" y="19875"/>
                  </a:cubicBezTo>
                  <a:cubicBezTo>
                    <a:pt x="3262" y="19895"/>
                    <a:pt x="3341" y="19917"/>
                    <a:pt x="3400" y="19923"/>
                  </a:cubicBezTo>
                  <a:cubicBezTo>
                    <a:pt x="3407" y="19924"/>
                    <a:pt x="3415" y="19924"/>
                    <a:pt x="3423" y="19924"/>
                  </a:cubicBezTo>
                  <a:cubicBezTo>
                    <a:pt x="3495" y="19924"/>
                    <a:pt x="3602" y="19897"/>
                    <a:pt x="3695" y="19871"/>
                  </a:cubicBezTo>
                  <a:cubicBezTo>
                    <a:pt x="3752" y="19855"/>
                    <a:pt x="3802" y="19840"/>
                    <a:pt x="3833" y="19830"/>
                  </a:cubicBezTo>
                  <a:cubicBezTo>
                    <a:pt x="3860" y="19865"/>
                    <a:pt x="3889" y="19896"/>
                    <a:pt x="3930" y="19919"/>
                  </a:cubicBezTo>
                  <a:cubicBezTo>
                    <a:pt x="3964" y="19937"/>
                    <a:pt x="3999" y="19944"/>
                    <a:pt x="4037" y="19949"/>
                  </a:cubicBezTo>
                  <a:cubicBezTo>
                    <a:pt x="4074" y="19954"/>
                    <a:pt x="4112" y="19955"/>
                    <a:pt x="4148" y="19955"/>
                  </a:cubicBezTo>
                  <a:cubicBezTo>
                    <a:pt x="4181" y="19955"/>
                    <a:pt x="4211" y="19954"/>
                    <a:pt x="4236" y="19952"/>
                  </a:cubicBezTo>
                  <a:cubicBezTo>
                    <a:pt x="4259" y="19950"/>
                    <a:pt x="4342" y="19946"/>
                    <a:pt x="4439" y="19941"/>
                  </a:cubicBezTo>
                  <a:cubicBezTo>
                    <a:pt x="4404" y="19976"/>
                    <a:pt x="4358" y="20021"/>
                    <a:pt x="4302" y="20068"/>
                  </a:cubicBezTo>
                  <a:cubicBezTo>
                    <a:pt x="4176" y="20175"/>
                    <a:pt x="4006" y="20291"/>
                    <a:pt x="3833" y="20332"/>
                  </a:cubicBezTo>
                  <a:cubicBezTo>
                    <a:pt x="3708" y="20361"/>
                    <a:pt x="3643" y="20361"/>
                    <a:pt x="3486" y="20376"/>
                  </a:cubicBezTo>
                  <a:cubicBezTo>
                    <a:pt x="3349" y="20389"/>
                    <a:pt x="3194" y="20402"/>
                    <a:pt x="3073" y="20411"/>
                  </a:cubicBezTo>
                  <a:cubicBezTo>
                    <a:pt x="2988" y="20418"/>
                    <a:pt x="2921" y="20423"/>
                    <a:pt x="2884" y="20426"/>
                  </a:cubicBezTo>
                  <a:lnTo>
                    <a:pt x="2785" y="19957"/>
                  </a:lnTo>
                  <a:close/>
                  <a:moveTo>
                    <a:pt x="2898" y="20491"/>
                  </a:moveTo>
                  <a:cubicBezTo>
                    <a:pt x="2904" y="20491"/>
                    <a:pt x="2911" y="20490"/>
                    <a:pt x="2918" y="20489"/>
                  </a:cubicBezTo>
                  <a:cubicBezTo>
                    <a:pt x="2956" y="20487"/>
                    <a:pt x="3008" y="20482"/>
                    <a:pt x="3070" y="20478"/>
                  </a:cubicBezTo>
                  <a:cubicBezTo>
                    <a:pt x="3193" y="20468"/>
                    <a:pt x="3351" y="20455"/>
                    <a:pt x="3492" y="20441"/>
                  </a:cubicBezTo>
                  <a:cubicBezTo>
                    <a:pt x="3600" y="20431"/>
                    <a:pt x="3667" y="20428"/>
                    <a:pt x="3743" y="20416"/>
                  </a:cubicBezTo>
                  <a:cubicBezTo>
                    <a:pt x="3825" y="20784"/>
                    <a:pt x="3825" y="20784"/>
                    <a:pt x="3825" y="20784"/>
                  </a:cubicBezTo>
                  <a:cubicBezTo>
                    <a:pt x="3823" y="20784"/>
                    <a:pt x="3820" y="20784"/>
                    <a:pt x="3818" y="20784"/>
                  </a:cubicBezTo>
                  <a:cubicBezTo>
                    <a:pt x="3450" y="20804"/>
                    <a:pt x="3310" y="20825"/>
                    <a:pt x="3309" y="20825"/>
                  </a:cubicBezTo>
                  <a:cubicBezTo>
                    <a:pt x="3295" y="20827"/>
                    <a:pt x="3295" y="20827"/>
                    <a:pt x="3295" y="20827"/>
                  </a:cubicBezTo>
                  <a:cubicBezTo>
                    <a:pt x="3299" y="20854"/>
                    <a:pt x="3299" y="20854"/>
                    <a:pt x="3299" y="20854"/>
                  </a:cubicBezTo>
                  <a:cubicBezTo>
                    <a:pt x="3289" y="20855"/>
                    <a:pt x="3274" y="20856"/>
                    <a:pt x="3257" y="20858"/>
                  </a:cubicBezTo>
                  <a:cubicBezTo>
                    <a:pt x="3223" y="20861"/>
                    <a:pt x="3176" y="20866"/>
                    <a:pt x="3130" y="20870"/>
                  </a:cubicBezTo>
                  <a:cubicBezTo>
                    <a:pt x="3073" y="20876"/>
                    <a:pt x="3016" y="20881"/>
                    <a:pt x="2981" y="20884"/>
                  </a:cubicBezTo>
                  <a:lnTo>
                    <a:pt x="2898" y="20491"/>
                  </a:lnTo>
                  <a:close/>
                  <a:moveTo>
                    <a:pt x="2984" y="20898"/>
                  </a:moveTo>
                  <a:cubicBezTo>
                    <a:pt x="3062" y="20891"/>
                    <a:pt x="3246" y="20873"/>
                    <a:pt x="3301" y="20868"/>
                  </a:cubicBezTo>
                  <a:cubicBezTo>
                    <a:pt x="3304" y="20892"/>
                    <a:pt x="3304" y="20892"/>
                    <a:pt x="3304" y="20892"/>
                  </a:cubicBezTo>
                  <a:cubicBezTo>
                    <a:pt x="3319" y="20890"/>
                    <a:pt x="3352" y="20885"/>
                    <a:pt x="3432" y="20877"/>
                  </a:cubicBezTo>
                  <a:cubicBezTo>
                    <a:pt x="3512" y="20870"/>
                    <a:pt x="3638" y="20860"/>
                    <a:pt x="3822" y="20850"/>
                  </a:cubicBezTo>
                  <a:cubicBezTo>
                    <a:pt x="3835" y="20849"/>
                    <a:pt x="3849" y="20848"/>
                    <a:pt x="3863" y="20848"/>
                  </a:cubicBezTo>
                  <a:cubicBezTo>
                    <a:pt x="3899" y="20848"/>
                    <a:pt x="3936" y="20851"/>
                    <a:pt x="3973" y="20855"/>
                  </a:cubicBezTo>
                  <a:cubicBezTo>
                    <a:pt x="3974" y="20867"/>
                    <a:pt x="3974" y="20881"/>
                    <a:pt x="3974" y="20899"/>
                  </a:cubicBezTo>
                  <a:cubicBezTo>
                    <a:pt x="3975" y="20941"/>
                    <a:pt x="3975" y="20998"/>
                    <a:pt x="3975" y="21060"/>
                  </a:cubicBezTo>
                  <a:cubicBezTo>
                    <a:pt x="3932" y="21058"/>
                    <a:pt x="3548" y="21046"/>
                    <a:pt x="3537" y="21046"/>
                  </a:cubicBezTo>
                  <a:cubicBezTo>
                    <a:pt x="3525" y="21046"/>
                    <a:pt x="3195" y="21054"/>
                    <a:pt x="3195" y="21054"/>
                  </a:cubicBezTo>
                  <a:cubicBezTo>
                    <a:pt x="3019" y="21064"/>
                    <a:pt x="3019" y="21064"/>
                    <a:pt x="3019" y="21064"/>
                  </a:cubicBezTo>
                  <a:lnTo>
                    <a:pt x="2984" y="20898"/>
                  </a:lnTo>
                  <a:close/>
                  <a:moveTo>
                    <a:pt x="3973" y="21505"/>
                  </a:moveTo>
                  <a:cubicBezTo>
                    <a:pt x="3917" y="21483"/>
                    <a:pt x="3589" y="21353"/>
                    <a:pt x="3589" y="21353"/>
                  </a:cubicBezTo>
                  <a:cubicBezTo>
                    <a:pt x="3587" y="21352"/>
                    <a:pt x="3587" y="21352"/>
                    <a:pt x="3587" y="21352"/>
                  </a:cubicBezTo>
                  <a:cubicBezTo>
                    <a:pt x="3081" y="21360"/>
                    <a:pt x="3081" y="21360"/>
                    <a:pt x="3081" y="21360"/>
                  </a:cubicBezTo>
                  <a:cubicBezTo>
                    <a:pt x="3055" y="21235"/>
                    <a:pt x="3055" y="21235"/>
                    <a:pt x="3055" y="21235"/>
                  </a:cubicBezTo>
                  <a:cubicBezTo>
                    <a:pt x="3604" y="21238"/>
                    <a:pt x="3604" y="21238"/>
                    <a:pt x="3604" y="21238"/>
                  </a:cubicBezTo>
                  <a:cubicBezTo>
                    <a:pt x="3975" y="21305"/>
                    <a:pt x="3975" y="21305"/>
                    <a:pt x="3975" y="21305"/>
                  </a:cubicBezTo>
                  <a:cubicBezTo>
                    <a:pt x="3974" y="21387"/>
                    <a:pt x="3974" y="21459"/>
                    <a:pt x="3973" y="21505"/>
                  </a:cubicBezTo>
                  <a:close/>
                  <a:moveTo>
                    <a:pt x="3975" y="21291"/>
                  </a:moveTo>
                  <a:cubicBezTo>
                    <a:pt x="3606" y="21224"/>
                    <a:pt x="3606" y="21224"/>
                    <a:pt x="3606" y="21224"/>
                  </a:cubicBezTo>
                  <a:cubicBezTo>
                    <a:pt x="3052" y="21221"/>
                    <a:pt x="3052" y="21221"/>
                    <a:pt x="3052" y="21221"/>
                  </a:cubicBezTo>
                  <a:cubicBezTo>
                    <a:pt x="3022" y="21078"/>
                    <a:pt x="3022" y="21078"/>
                    <a:pt x="3022" y="21078"/>
                  </a:cubicBezTo>
                  <a:cubicBezTo>
                    <a:pt x="3195" y="21068"/>
                    <a:pt x="3195" y="21068"/>
                    <a:pt x="3195" y="21068"/>
                  </a:cubicBezTo>
                  <a:cubicBezTo>
                    <a:pt x="3196" y="21068"/>
                    <a:pt x="3526" y="21060"/>
                    <a:pt x="3537" y="21060"/>
                  </a:cubicBezTo>
                  <a:cubicBezTo>
                    <a:pt x="3547" y="21060"/>
                    <a:pt x="3939" y="21073"/>
                    <a:pt x="3975" y="21074"/>
                  </a:cubicBezTo>
                  <a:cubicBezTo>
                    <a:pt x="3975" y="21075"/>
                    <a:pt x="3976" y="21077"/>
                    <a:pt x="3976" y="21079"/>
                  </a:cubicBezTo>
                  <a:cubicBezTo>
                    <a:pt x="3976" y="21148"/>
                    <a:pt x="3975" y="21222"/>
                    <a:pt x="3975" y="21291"/>
                  </a:cubicBezTo>
                  <a:close/>
                  <a:moveTo>
                    <a:pt x="4559" y="21586"/>
                  </a:moveTo>
                  <a:cubicBezTo>
                    <a:pt x="4520" y="21580"/>
                    <a:pt x="4400" y="21565"/>
                    <a:pt x="4280" y="21549"/>
                  </a:cubicBezTo>
                  <a:cubicBezTo>
                    <a:pt x="4148" y="21531"/>
                    <a:pt x="4014" y="21513"/>
                    <a:pt x="3987" y="21509"/>
                  </a:cubicBezTo>
                  <a:cubicBezTo>
                    <a:pt x="3987" y="21464"/>
                    <a:pt x="3988" y="21390"/>
                    <a:pt x="3989" y="21307"/>
                  </a:cubicBezTo>
                  <a:cubicBezTo>
                    <a:pt x="4058" y="21317"/>
                    <a:pt x="4475" y="21376"/>
                    <a:pt x="4584" y="21390"/>
                  </a:cubicBezTo>
                  <a:lnTo>
                    <a:pt x="4559" y="21586"/>
                  </a:lnTo>
                  <a:close/>
                  <a:moveTo>
                    <a:pt x="4586" y="21376"/>
                  </a:moveTo>
                  <a:cubicBezTo>
                    <a:pt x="4535" y="21370"/>
                    <a:pt x="4413" y="21353"/>
                    <a:pt x="4293" y="21336"/>
                  </a:cubicBezTo>
                  <a:cubicBezTo>
                    <a:pt x="4157" y="21317"/>
                    <a:pt x="4022" y="21298"/>
                    <a:pt x="3989" y="21293"/>
                  </a:cubicBezTo>
                  <a:cubicBezTo>
                    <a:pt x="3989" y="21224"/>
                    <a:pt x="3989" y="21148"/>
                    <a:pt x="3989" y="21079"/>
                  </a:cubicBezTo>
                  <a:cubicBezTo>
                    <a:pt x="3989" y="21078"/>
                    <a:pt x="3989" y="21077"/>
                    <a:pt x="3989" y="21075"/>
                  </a:cubicBezTo>
                  <a:cubicBezTo>
                    <a:pt x="4613" y="21169"/>
                    <a:pt x="4613" y="21169"/>
                    <a:pt x="4613" y="21169"/>
                  </a:cubicBezTo>
                  <a:lnTo>
                    <a:pt x="4586" y="21376"/>
                  </a:lnTo>
                  <a:close/>
                  <a:moveTo>
                    <a:pt x="4614" y="21156"/>
                  </a:moveTo>
                  <a:cubicBezTo>
                    <a:pt x="3989" y="21061"/>
                    <a:pt x="3989" y="21061"/>
                    <a:pt x="3989" y="21061"/>
                  </a:cubicBezTo>
                  <a:cubicBezTo>
                    <a:pt x="3989" y="20974"/>
                    <a:pt x="3989" y="20899"/>
                    <a:pt x="3987" y="20857"/>
                  </a:cubicBezTo>
                  <a:cubicBezTo>
                    <a:pt x="4216" y="20887"/>
                    <a:pt x="4456" y="20988"/>
                    <a:pt x="4573" y="21043"/>
                  </a:cubicBezTo>
                  <a:cubicBezTo>
                    <a:pt x="4595" y="21053"/>
                    <a:pt x="4613" y="21062"/>
                    <a:pt x="4625" y="21068"/>
                  </a:cubicBezTo>
                  <a:lnTo>
                    <a:pt x="4614" y="21156"/>
                  </a:lnTo>
                  <a:close/>
                  <a:moveTo>
                    <a:pt x="4634" y="20999"/>
                  </a:moveTo>
                  <a:cubicBezTo>
                    <a:pt x="4520" y="20943"/>
                    <a:pt x="4190" y="20793"/>
                    <a:pt x="3892" y="20783"/>
                  </a:cubicBezTo>
                  <a:cubicBezTo>
                    <a:pt x="3807" y="20405"/>
                    <a:pt x="3807" y="20405"/>
                    <a:pt x="3807" y="20405"/>
                  </a:cubicBezTo>
                  <a:cubicBezTo>
                    <a:pt x="3820" y="20402"/>
                    <a:pt x="3834" y="20399"/>
                    <a:pt x="3848" y="20396"/>
                  </a:cubicBezTo>
                  <a:cubicBezTo>
                    <a:pt x="4166" y="20319"/>
                    <a:pt x="4449" y="20029"/>
                    <a:pt x="4534" y="19936"/>
                  </a:cubicBezTo>
                  <a:cubicBezTo>
                    <a:pt x="4545" y="19936"/>
                    <a:pt x="4555" y="19935"/>
                    <a:pt x="4566" y="19934"/>
                  </a:cubicBezTo>
                  <a:cubicBezTo>
                    <a:pt x="4644" y="19931"/>
                    <a:pt x="4719" y="19927"/>
                    <a:pt x="4771" y="19925"/>
                  </a:cubicBezTo>
                  <a:lnTo>
                    <a:pt x="4634" y="20999"/>
                  </a:lnTo>
                  <a:close/>
                  <a:moveTo>
                    <a:pt x="4832" y="19769"/>
                  </a:moveTo>
                  <a:cubicBezTo>
                    <a:pt x="4807" y="19770"/>
                    <a:pt x="4687" y="19776"/>
                    <a:pt x="4559" y="19782"/>
                  </a:cubicBezTo>
                  <a:cubicBezTo>
                    <a:pt x="4443" y="19788"/>
                    <a:pt x="4323" y="19794"/>
                    <a:pt x="4259" y="19798"/>
                  </a:cubicBezTo>
                  <a:cubicBezTo>
                    <a:pt x="4606" y="18766"/>
                    <a:pt x="4606" y="18766"/>
                    <a:pt x="4606" y="18766"/>
                  </a:cubicBezTo>
                  <a:cubicBezTo>
                    <a:pt x="5091" y="19084"/>
                    <a:pt x="5091" y="19084"/>
                    <a:pt x="5091" y="19084"/>
                  </a:cubicBezTo>
                  <a:cubicBezTo>
                    <a:pt x="5097" y="19136"/>
                    <a:pt x="5097" y="19136"/>
                    <a:pt x="5097" y="19136"/>
                  </a:cubicBezTo>
                  <a:cubicBezTo>
                    <a:pt x="5058" y="19728"/>
                    <a:pt x="5058" y="19728"/>
                    <a:pt x="5058" y="19728"/>
                  </a:cubicBezTo>
                  <a:lnTo>
                    <a:pt x="4832" y="19769"/>
                  </a:lnTo>
                  <a:close/>
                  <a:moveTo>
                    <a:pt x="5520" y="21513"/>
                  </a:moveTo>
                  <a:cubicBezTo>
                    <a:pt x="4951" y="21429"/>
                    <a:pt x="4951" y="21429"/>
                    <a:pt x="4951" y="21429"/>
                  </a:cubicBezTo>
                  <a:cubicBezTo>
                    <a:pt x="4960" y="21357"/>
                    <a:pt x="4969" y="21287"/>
                    <a:pt x="4978" y="21218"/>
                  </a:cubicBezTo>
                  <a:cubicBezTo>
                    <a:pt x="5542" y="21302"/>
                    <a:pt x="5542" y="21302"/>
                    <a:pt x="5542" y="21302"/>
                  </a:cubicBezTo>
                  <a:lnTo>
                    <a:pt x="5520" y="21513"/>
                  </a:lnTo>
                  <a:close/>
                  <a:moveTo>
                    <a:pt x="5543" y="21288"/>
                  </a:moveTo>
                  <a:cubicBezTo>
                    <a:pt x="4979" y="21204"/>
                    <a:pt x="4979" y="21204"/>
                    <a:pt x="4979" y="21204"/>
                  </a:cubicBezTo>
                  <a:cubicBezTo>
                    <a:pt x="5009" y="20972"/>
                    <a:pt x="5036" y="20755"/>
                    <a:pt x="5060" y="20566"/>
                  </a:cubicBezTo>
                  <a:cubicBezTo>
                    <a:pt x="5607" y="20656"/>
                    <a:pt x="5607" y="20656"/>
                    <a:pt x="5607" y="20656"/>
                  </a:cubicBezTo>
                  <a:lnTo>
                    <a:pt x="5543" y="21288"/>
                  </a:lnTo>
                  <a:close/>
                  <a:moveTo>
                    <a:pt x="5609" y="20642"/>
                  </a:moveTo>
                  <a:cubicBezTo>
                    <a:pt x="5062" y="20552"/>
                    <a:pt x="5062" y="20552"/>
                    <a:pt x="5062" y="20552"/>
                  </a:cubicBezTo>
                  <a:cubicBezTo>
                    <a:pt x="5102" y="20239"/>
                    <a:pt x="5131" y="20003"/>
                    <a:pt x="5145" y="19896"/>
                  </a:cubicBezTo>
                  <a:cubicBezTo>
                    <a:pt x="5206" y="19910"/>
                    <a:pt x="5292" y="19929"/>
                    <a:pt x="5378" y="19948"/>
                  </a:cubicBezTo>
                  <a:cubicBezTo>
                    <a:pt x="5501" y="19976"/>
                    <a:pt x="5625" y="20004"/>
                    <a:pt x="5671" y="20015"/>
                  </a:cubicBezTo>
                  <a:cubicBezTo>
                    <a:pt x="5672" y="20017"/>
                    <a:pt x="5672" y="20017"/>
                    <a:pt x="5672" y="20017"/>
                  </a:cubicBezTo>
                  <a:lnTo>
                    <a:pt x="5609" y="20642"/>
                  </a:lnTo>
                  <a:close/>
                  <a:moveTo>
                    <a:pt x="6699" y="19906"/>
                  </a:moveTo>
                  <a:cubicBezTo>
                    <a:pt x="6245" y="19889"/>
                    <a:pt x="5791" y="19873"/>
                    <a:pt x="5722" y="19871"/>
                  </a:cubicBezTo>
                  <a:cubicBezTo>
                    <a:pt x="5717" y="19870"/>
                    <a:pt x="5710" y="19868"/>
                    <a:pt x="5702" y="19866"/>
                  </a:cubicBezTo>
                  <a:cubicBezTo>
                    <a:pt x="5686" y="19862"/>
                    <a:pt x="5663" y="19857"/>
                    <a:pt x="5636" y="19851"/>
                  </a:cubicBezTo>
                  <a:cubicBezTo>
                    <a:pt x="5581" y="19838"/>
                    <a:pt x="5509" y="19822"/>
                    <a:pt x="5434" y="19805"/>
                  </a:cubicBezTo>
                  <a:cubicBezTo>
                    <a:pt x="5310" y="19777"/>
                    <a:pt x="5182" y="19748"/>
                    <a:pt x="5123" y="19735"/>
                  </a:cubicBezTo>
                  <a:cubicBezTo>
                    <a:pt x="5163" y="19135"/>
                    <a:pt x="5163" y="19135"/>
                    <a:pt x="5163" y="19135"/>
                  </a:cubicBezTo>
                  <a:cubicBezTo>
                    <a:pt x="5085" y="18457"/>
                    <a:pt x="5085" y="18457"/>
                    <a:pt x="5085" y="18457"/>
                  </a:cubicBezTo>
                  <a:cubicBezTo>
                    <a:pt x="5086" y="18440"/>
                    <a:pt x="5090" y="18339"/>
                    <a:pt x="5094" y="18203"/>
                  </a:cubicBezTo>
                  <a:cubicBezTo>
                    <a:pt x="5232" y="18240"/>
                    <a:pt x="5907" y="18420"/>
                    <a:pt x="6041" y="18449"/>
                  </a:cubicBezTo>
                  <a:cubicBezTo>
                    <a:pt x="6137" y="18471"/>
                    <a:pt x="6253" y="18506"/>
                    <a:pt x="6414" y="18506"/>
                  </a:cubicBezTo>
                  <a:cubicBezTo>
                    <a:pt x="6415" y="18506"/>
                    <a:pt x="6415" y="18506"/>
                    <a:pt x="6415" y="18506"/>
                  </a:cubicBezTo>
                  <a:cubicBezTo>
                    <a:pt x="6488" y="18506"/>
                    <a:pt x="6572" y="18498"/>
                    <a:pt x="6666" y="18479"/>
                  </a:cubicBezTo>
                  <a:cubicBezTo>
                    <a:pt x="7173" y="19923"/>
                    <a:pt x="7173" y="19923"/>
                    <a:pt x="7173" y="19923"/>
                  </a:cubicBezTo>
                  <a:cubicBezTo>
                    <a:pt x="7027" y="19917"/>
                    <a:pt x="6863" y="19911"/>
                    <a:pt x="6699" y="19906"/>
                  </a:cubicBezTo>
                  <a:close/>
                  <a:moveTo>
                    <a:pt x="10821" y="18606"/>
                  </a:moveTo>
                  <a:cubicBezTo>
                    <a:pt x="10936" y="18586"/>
                    <a:pt x="10936" y="18586"/>
                    <a:pt x="10936" y="18586"/>
                  </a:cubicBezTo>
                  <a:cubicBezTo>
                    <a:pt x="10911" y="18441"/>
                    <a:pt x="10911" y="18441"/>
                    <a:pt x="10911" y="18441"/>
                  </a:cubicBezTo>
                  <a:cubicBezTo>
                    <a:pt x="10756" y="18467"/>
                    <a:pt x="10756" y="18467"/>
                    <a:pt x="10756" y="18467"/>
                  </a:cubicBezTo>
                  <a:cubicBezTo>
                    <a:pt x="10742" y="18387"/>
                    <a:pt x="10742" y="18387"/>
                    <a:pt x="10742" y="18387"/>
                  </a:cubicBezTo>
                  <a:cubicBezTo>
                    <a:pt x="10901" y="18360"/>
                    <a:pt x="10901" y="18360"/>
                    <a:pt x="10901" y="18360"/>
                  </a:cubicBezTo>
                  <a:cubicBezTo>
                    <a:pt x="10893" y="18313"/>
                    <a:pt x="10893" y="18313"/>
                    <a:pt x="10893" y="18313"/>
                  </a:cubicBezTo>
                  <a:cubicBezTo>
                    <a:pt x="11043" y="18287"/>
                    <a:pt x="11043" y="18287"/>
                    <a:pt x="11043" y="18287"/>
                  </a:cubicBezTo>
                  <a:cubicBezTo>
                    <a:pt x="11026" y="18189"/>
                    <a:pt x="11026" y="18189"/>
                    <a:pt x="11026" y="18189"/>
                  </a:cubicBezTo>
                  <a:cubicBezTo>
                    <a:pt x="11081" y="18180"/>
                    <a:pt x="11081" y="18180"/>
                    <a:pt x="11081" y="18180"/>
                  </a:cubicBezTo>
                  <a:cubicBezTo>
                    <a:pt x="11100" y="18278"/>
                    <a:pt x="11100" y="18278"/>
                    <a:pt x="11100" y="18278"/>
                  </a:cubicBezTo>
                  <a:cubicBezTo>
                    <a:pt x="11141" y="18271"/>
                    <a:pt x="11141" y="18271"/>
                    <a:pt x="11141" y="18271"/>
                  </a:cubicBezTo>
                  <a:cubicBezTo>
                    <a:pt x="11169" y="18439"/>
                    <a:pt x="11169" y="18439"/>
                    <a:pt x="11169" y="18439"/>
                  </a:cubicBezTo>
                  <a:cubicBezTo>
                    <a:pt x="11264" y="18423"/>
                    <a:pt x="11264" y="18423"/>
                    <a:pt x="11264" y="18423"/>
                  </a:cubicBezTo>
                  <a:cubicBezTo>
                    <a:pt x="11282" y="18525"/>
                    <a:pt x="11282" y="18525"/>
                    <a:pt x="11282" y="18525"/>
                  </a:cubicBezTo>
                  <a:cubicBezTo>
                    <a:pt x="11188" y="18541"/>
                    <a:pt x="11188" y="18541"/>
                    <a:pt x="11188" y="18541"/>
                  </a:cubicBezTo>
                  <a:cubicBezTo>
                    <a:pt x="11196" y="18591"/>
                    <a:pt x="11196" y="18591"/>
                    <a:pt x="11196" y="18591"/>
                  </a:cubicBezTo>
                  <a:cubicBezTo>
                    <a:pt x="10967" y="18630"/>
                    <a:pt x="10967" y="18630"/>
                    <a:pt x="10967" y="18630"/>
                  </a:cubicBezTo>
                  <a:cubicBezTo>
                    <a:pt x="10990" y="18764"/>
                    <a:pt x="10990" y="18764"/>
                    <a:pt x="10990" y="18764"/>
                  </a:cubicBezTo>
                  <a:cubicBezTo>
                    <a:pt x="10851" y="18788"/>
                    <a:pt x="10851" y="18788"/>
                    <a:pt x="10851" y="18788"/>
                  </a:cubicBezTo>
                  <a:lnTo>
                    <a:pt x="10821" y="18606"/>
                  </a:lnTo>
                  <a:close/>
                  <a:moveTo>
                    <a:pt x="7763" y="18829"/>
                  </a:moveTo>
                  <a:cubicBezTo>
                    <a:pt x="7721" y="18740"/>
                    <a:pt x="7667" y="18622"/>
                    <a:pt x="7621" y="18507"/>
                  </a:cubicBezTo>
                  <a:cubicBezTo>
                    <a:pt x="7583" y="18414"/>
                    <a:pt x="7573" y="18335"/>
                    <a:pt x="7573" y="18275"/>
                  </a:cubicBezTo>
                  <a:cubicBezTo>
                    <a:pt x="7573" y="18203"/>
                    <a:pt x="7588" y="18158"/>
                    <a:pt x="7591" y="18150"/>
                  </a:cubicBezTo>
                  <a:cubicBezTo>
                    <a:pt x="7662" y="18022"/>
                    <a:pt x="7662" y="18022"/>
                    <a:pt x="7662" y="18022"/>
                  </a:cubicBezTo>
                  <a:cubicBezTo>
                    <a:pt x="8875" y="18743"/>
                    <a:pt x="8875" y="18743"/>
                    <a:pt x="8875" y="18743"/>
                  </a:cubicBezTo>
                  <a:cubicBezTo>
                    <a:pt x="8878" y="18765"/>
                    <a:pt x="8883" y="18807"/>
                    <a:pt x="8890" y="18863"/>
                  </a:cubicBezTo>
                  <a:cubicBezTo>
                    <a:pt x="8854" y="18865"/>
                    <a:pt x="8792" y="18870"/>
                    <a:pt x="8713" y="18877"/>
                  </a:cubicBezTo>
                  <a:cubicBezTo>
                    <a:pt x="8605" y="18886"/>
                    <a:pt x="8468" y="18899"/>
                    <a:pt x="8333" y="18911"/>
                  </a:cubicBezTo>
                  <a:cubicBezTo>
                    <a:pt x="8110" y="18931"/>
                    <a:pt x="7894" y="18952"/>
                    <a:pt x="7826" y="18958"/>
                  </a:cubicBezTo>
                  <a:cubicBezTo>
                    <a:pt x="7814" y="18934"/>
                    <a:pt x="7791" y="18888"/>
                    <a:pt x="7763" y="18829"/>
                  </a:cubicBezTo>
                  <a:close/>
                  <a:moveTo>
                    <a:pt x="7889" y="19957"/>
                  </a:moveTo>
                  <a:cubicBezTo>
                    <a:pt x="7870" y="19954"/>
                    <a:pt x="7850" y="19952"/>
                    <a:pt x="7831" y="19950"/>
                  </a:cubicBezTo>
                  <a:cubicBezTo>
                    <a:pt x="7918" y="19711"/>
                    <a:pt x="7918" y="19711"/>
                    <a:pt x="7918" y="19711"/>
                  </a:cubicBezTo>
                  <a:cubicBezTo>
                    <a:pt x="7843" y="19022"/>
                    <a:pt x="7843" y="19022"/>
                    <a:pt x="7843" y="19022"/>
                  </a:cubicBezTo>
                  <a:cubicBezTo>
                    <a:pt x="7896" y="19017"/>
                    <a:pt x="8009" y="19007"/>
                    <a:pt x="8143" y="18994"/>
                  </a:cubicBezTo>
                  <a:cubicBezTo>
                    <a:pt x="8330" y="18977"/>
                    <a:pt x="8557" y="18956"/>
                    <a:pt x="8718" y="18942"/>
                  </a:cubicBezTo>
                  <a:cubicBezTo>
                    <a:pt x="8799" y="18935"/>
                    <a:pt x="8865" y="18930"/>
                    <a:pt x="8899" y="18928"/>
                  </a:cubicBezTo>
                  <a:cubicBezTo>
                    <a:pt x="8904" y="18969"/>
                    <a:pt x="8909" y="19013"/>
                    <a:pt x="8915" y="19060"/>
                  </a:cubicBezTo>
                  <a:cubicBezTo>
                    <a:pt x="8938" y="19245"/>
                    <a:pt x="8966" y="19466"/>
                    <a:pt x="8982" y="19613"/>
                  </a:cubicBezTo>
                  <a:cubicBezTo>
                    <a:pt x="8985" y="19641"/>
                    <a:pt x="8987" y="19668"/>
                    <a:pt x="8987" y="19695"/>
                  </a:cubicBezTo>
                  <a:cubicBezTo>
                    <a:pt x="8987" y="19901"/>
                    <a:pt x="8902" y="20064"/>
                    <a:pt x="8879" y="20104"/>
                  </a:cubicBezTo>
                  <a:cubicBezTo>
                    <a:pt x="8371" y="20028"/>
                    <a:pt x="7927" y="19962"/>
                    <a:pt x="7889" y="19957"/>
                  </a:cubicBezTo>
                  <a:close/>
                  <a:moveTo>
                    <a:pt x="8948" y="20114"/>
                  </a:moveTo>
                  <a:cubicBezTo>
                    <a:pt x="8983" y="20047"/>
                    <a:pt x="9052" y="19891"/>
                    <a:pt x="9052" y="19695"/>
                  </a:cubicBezTo>
                  <a:cubicBezTo>
                    <a:pt x="9052" y="19666"/>
                    <a:pt x="9051" y="19636"/>
                    <a:pt x="9047" y="19605"/>
                  </a:cubicBezTo>
                  <a:cubicBezTo>
                    <a:pt x="9017" y="19332"/>
                    <a:pt x="8949" y="18802"/>
                    <a:pt x="8939" y="18728"/>
                  </a:cubicBezTo>
                  <a:cubicBezTo>
                    <a:pt x="8940" y="18726"/>
                    <a:pt x="8941" y="18725"/>
                    <a:pt x="8942" y="18723"/>
                  </a:cubicBezTo>
                  <a:cubicBezTo>
                    <a:pt x="8951" y="18711"/>
                    <a:pt x="8963" y="18694"/>
                    <a:pt x="8977" y="18674"/>
                  </a:cubicBezTo>
                  <a:cubicBezTo>
                    <a:pt x="9004" y="18635"/>
                    <a:pt x="9039" y="18582"/>
                    <a:pt x="9073" y="18530"/>
                  </a:cubicBezTo>
                  <a:cubicBezTo>
                    <a:pt x="9126" y="18449"/>
                    <a:pt x="9178" y="18369"/>
                    <a:pt x="9200" y="18336"/>
                  </a:cubicBezTo>
                  <a:cubicBezTo>
                    <a:pt x="10197" y="18350"/>
                    <a:pt x="10197" y="18350"/>
                    <a:pt x="10197" y="18350"/>
                  </a:cubicBezTo>
                  <a:cubicBezTo>
                    <a:pt x="10202" y="18400"/>
                    <a:pt x="10213" y="18509"/>
                    <a:pt x="10224" y="18619"/>
                  </a:cubicBezTo>
                  <a:cubicBezTo>
                    <a:pt x="10237" y="18749"/>
                    <a:pt x="10250" y="18882"/>
                    <a:pt x="10254" y="18923"/>
                  </a:cubicBezTo>
                  <a:cubicBezTo>
                    <a:pt x="10120" y="19096"/>
                    <a:pt x="10120" y="19096"/>
                    <a:pt x="10120" y="19096"/>
                  </a:cubicBezTo>
                  <a:cubicBezTo>
                    <a:pt x="10144" y="19765"/>
                    <a:pt x="10144" y="19765"/>
                    <a:pt x="10144" y="19765"/>
                  </a:cubicBezTo>
                  <a:cubicBezTo>
                    <a:pt x="9990" y="19891"/>
                    <a:pt x="9990" y="19891"/>
                    <a:pt x="9990" y="19891"/>
                  </a:cubicBezTo>
                  <a:cubicBezTo>
                    <a:pt x="9868" y="20251"/>
                    <a:pt x="9868" y="20251"/>
                    <a:pt x="9868" y="20251"/>
                  </a:cubicBezTo>
                  <a:cubicBezTo>
                    <a:pt x="9597" y="20210"/>
                    <a:pt x="9264" y="20161"/>
                    <a:pt x="8948" y="20114"/>
                  </a:cubicBezTo>
                  <a:close/>
                  <a:moveTo>
                    <a:pt x="12943" y="20718"/>
                  </a:moveTo>
                  <a:cubicBezTo>
                    <a:pt x="12842" y="20931"/>
                    <a:pt x="12711" y="21209"/>
                    <a:pt x="12570" y="21502"/>
                  </a:cubicBezTo>
                  <a:cubicBezTo>
                    <a:pt x="11661" y="20919"/>
                    <a:pt x="11661" y="20919"/>
                    <a:pt x="11661" y="20919"/>
                  </a:cubicBezTo>
                  <a:cubicBezTo>
                    <a:pt x="11582" y="20869"/>
                    <a:pt x="11403" y="20766"/>
                    <a:pt x="11222" y="20666"/>
                  </a:cubicBezTo>
                  <a:cubicBezTo>
                    <a:pt x="11040" y="20565"/>
                    <a:pt x="10860" y="20468"/>
                    <a:pt x="10776" y="20430"/>
                  </a:cubicBezTo>
                  <a:cubicBezTo>
                    <a:pt x="10616" y="20358"/>
                    <a:pt x="10456" y="20338"/>
                    <a:pt x="10433" y="20335"/>
                  </a:cubicBezTo>
                  <a:cubicBezTo>
                    <a:pt x="10428" y="20334"/>
                    <a:pt x="10224" y="20304"/>
                    <a:pt x="9934" y="20261"/>
                  </a:cubicBezTo>
                  <a:cubicBezTo>
                    <a:pt x="10046" y="19930"/>
                    <a:pt x="10046" y="19930"/>
                    <a:pt x="10046" y="19930"/>
                  </a:cubicBezTo>
                  <a:cubicBezTo>
                    <a:pt x="10211" y="19795"/>
                    <a:pt x="10211" y="19795"/>
                    <a:pt x="10211" y="19795"/>
                  </a:cubicBezTo>
                  <a:cubicBezTo>
                    <a:pt x="10186" y="19118"/>
                    <a:pt x="10186" y="19118"/>
                    <a:pt x="10186" y="19118"/>
                  </a:cubicBezTo>
                  <a:cubicBezTo>
                    <a:pt x="10306" y="18963"/>
                    <a:pt x="10306" y="18963"/>
                    <a:pt x="10306" y="18963"/>
                  </a:cubicBezTo>
                  <a:cubicBezTo>
                    <a:pt x="11916" y="18675"/>
                    <a:pt x="11916" y="18675"/>
                    <a:pt x="11916" y="18675"/>
                  </a:cubicBezTo>
                  <a:cubicBezTo>
                    <a:pt x="12111" y="19959"/>
                    <a:pt x="12111" y="19959"/>
                    <a:pt x="12111" y="19959"/>
                  </a:cubicBezTo>
                  <a:cubicBezTo>
                    <a:pt x="13113" y="20355"/>
                    <a:pt x="13113" y="20355"/>
                    <a:pt x="13113" y="20355"/>
                  </a:cubicBezTo>
                  <a:cubicBezTo>
                    <a:pt x="13086" y="20414"/>
                    <a:pt x="13025" y="20544"/>
                    <a:pt x="12943" y="20718"/>
                  </a:cubicBezTo>
                  <a:close/>
                  <a:moveTo>
                    <a:pt x="105" y="18552"/>
                  </a:moveTo>
                  <a:cubicBezTo>
                    <a:pt x="70" y="18564"/>
                    <a:pt x="37" y="18576"/>
                    <a:pt x="4" y="18587"/>
                  </a:cubicBezTo>
                  <a:cubicBezTo>
                    <a:pt x="4" y="18539"/>
                    <a:pt x="4" y="18539"/>
                    <a:pt x="4" y="18539"/>
                  </a:cubicBezTo>
                  <a:cubicBezTo>
                    <a:pt x="32" y="18529"/>
                    <a:pt x="61" y="18519"/>
                    <a:pt x="90" y="18509"/>
                  </a:cubicBezTo>
                  <a:cubicBezTo>
                    <a:pt x="215" y="18466"/>
                    <a:pt x="287" y="18418"/>
                    <a:pt x="329" y="18361"/>
                  </a:cubicBezTo>
                  <a:cubicBezTo>
                    <a:pt x="370" y="18305"/>
                    <a:pt x="384" y="18236"/>
                    <a:pt x="384" y="18146"/>
                  </a:cubicBezTo>
                  <a:cubicBezTo>
                    <a:pt x="384" y="18102"/>
                    <a:pt x="380" y="18054"/>
                    <a:pt x="376" y="18000"/>
                  </a:cubicBezTo>
                  <a:cubicBezTo>
                    <a:pt x="421" y="18000"/>
                    <a:pt x="421" y="18000"/>
                    <a:pt x="421" y="18000"/>
                  </a:cubicBezTo>
                  <a:cubicBezTo>
                    <a:pt x="426" y="18053"/>
                    <a:pt x="429" y="18101"/>
                    <a:pt x="429" y="18146"/>
                  </a:cubicBezTo>
                  <a:cubicBezTo>
                    <a:pt x="429" y="18240"/>
                    <a:pt x="415" y="18320"/>
                    <a:pt x="365" y="18388"/>
                  </a:cubicBezTo>
                  <a:cubicBezTo>
                    <a:pt x="316" y="18456"/>
                    <a:pt x="234" y="18508"/>
                    <a:pt x="105" y="18552"/>
                  </a:cubicBezTo>
                  <a:close/>
                  <a:moveTo>
                    <a:pt x="0" y="13274"/>
                  </a:moveTo>
                  <a:cubicBezTo>
                    <a:pt x="4" y="13275"/>
                    <a:pt x="4" y="13275"/>
                    <a:pt x="4" y="13275"/>
                  </a:cubicBezTo>
                  <a:cubicBezTo>
                    <a:pt x="108" y="13294"/>
                    <a:pt x="108" y="13294"/>
                    <a:pt x="108" y="13294"/>
                  </a:cubicBezTo>
                  <a:cubicBezTo>
                    <a:pt x="122" y="13222"/>
                    <a:pt x="122" y="13222"/>
                    <a:pt x="122" y="13222"/>
                  </a:cubicBezTo>
                  <a:cubicBezTo>
                    <a:pt x="172" y="13231"/>
                    <a:pt x="172" y="13231"/>
                    <a:pt x="172" y="13231"/>
                  </a:cubicBezTo>
                  <a:cubicBezTo>
                    <a:pt x="178" y="13233"/>
                    <a:pt x="178" y="13233"/>
                    <a:pt x="178" y="13233"/>
                  </a:cubicBezTo>
                  <a:cubicBezTo>
                    <a:pt x="203" y="13113"/>
                    <a:pt x="203" y="13113"/>
                    <a:pt x="203" y="13113"/>
                  </a:cubicBezTo>
                  <a:cubicBezTo>
                    <a:pt x="88" y="13091"/>
                    <a:pt x="88" y="13091"/>
                    <a:pt x="88" y="13091"/>
                  </a:cubicBezTo>
                  <a:cubicBezTo>
                    <a:pt x="87" y="13097"/>
                    <a:pt x="87" y="13097"/>
                    <a:pt x="87" y="13097"/>
                  </a:cubicBezTo>
                  <a:cubicBezTo>
                    <a:pt x="86" y="13101"/>
                    <a:pt x="86" y="13101"/>
                    <a:pt x="86" y="13101"/>
                  </a:cubicBezTo>
                  <a:cubicBezTo>
                    <a:pt x="35" y="13092"/>
                    <a:pt x="35" y="13092"/>
                    <a:pt x="35" y="13092"/>
                  </a:cubicBezTo>
                  <a:cubicBezTo>
                    <a:pt x="4" y="13253"/>
                    <a:pt x="4" y="13253"/>
                    <a:pt x="4" y="13253"/>
                  </a:cubicBezTo>
                  <a:lnTo>
                    <a:pt x="0" y="13274"/>
                  </a:lnTo>
                  <a:close/>
                  <a:moveTo>
                    <a:pt x="45" y="13107"/>
                  </a:moveTo>
                  <a:cubicBezTo>
                    <a:pt x="96" y="13116"/>
                    <a:pt x="96" y="13116"/>
                    <a:pt x="96" y="13116"/>
                  </a:cubicBezTo>
                  <a:cubicBezTo>
                    <a:pt x="98" y="13110"/>
                    <a:pt x="98" y="13110"/>
                    <a:pt x="98" y="13110"/>
                  </a:cubicBezTo>
                  <a:cubicBezTo>
                    <a:pt x="98" y="13106"/>
                    <a:pt x="98" y="13106"/>
                    <a:pt x="98" y="13106"/>
                  </a:cubicBezTo>
                  <a:cubicBezTo>
                    <a:pt x="188" y="13123"/>
                    <a:pt x="188" y="13123"/>
                    <a:pt x="188" y="13123"/>
                  </a:cubicBezTo>
                  <a:cubicBezTo>
                    <a:pt x="168" y="13217"/>
                    <a:pt x="168" y="13217"/>
                    <a:pt x="168" y="13217"/>
                  </a:cubicBezTo>
                  <a:cubicBezTo>
                    <a:pt x="111" y="13207"/>
                    <a:pt x="111" y="13207"/>
                    <a:pt x="111" y="13207"/>
                  </a:cubicBezTo>
                  <a:cubicBezTo>
                    <a:pt x="98" y="13279"/>
                    <a:pt x="98" y="13279"/>
                    <a:pt x="98" y="13279"/>
                  </a:cubicBezTo>
                  <a:cubicBezTo>
                    <a:pt x="16" y="13263"/>
                    <a:pt x="16" y="13263"/>
                    <a:pt x="16" y="13263"/>
                  </a:cubicBezTo>
                  <a:lnTo>
                    <a:pt x="45" y="13107"/>
                  </a:lnTo>
                  <a:close/>
                  <a:moveTo>
                    <a:pt x="9360" y="13139"/>
                  </a:moveTo>
                  <a:cubicBezTo>
                    <a:pt x="9360" y="13139"/>
                    <a:pt x="9360" y="13139"/>
                    <a:pt x="9360" y="13139"/>
                  </a:cubicBezTo>
                  <a:cubicBezTo>
                    <a:pt x="9360" y="13139"/>
                    <a:pt x="9360" y="13139"/>
                    <a:pt x="9360" y="13139"/>
                  </a:cubicBezTo>
                  <a:close/>
                  <a:moveTo>
                    <a:pt x="3412" y="5065"/>
                  </a:moveTo>
                  <a:cubicBezTo>
                    <a:pt x="3412" y="5065"/>
                    <a:pt x="3412" y="5065"/>
                    <a:pt x="3412" y="5065"/>
                  </a:cubicBezTo>
                  <a:cubicBezTo>
                    <a:pt x="3412" y="5065"/>
                    <a:pt x="3412" y="5065"/>
                    <a:pt x="3412" y="5065"/>
                  </a:cubicBezTo>
                  <a:close/>
                  <a:moveTo>
                    <a:pt x="3935" y="9746"/>
                  </a:moveTo>
                  <a:cubicBezTo>
                    <a:pt x="3935" y="9746"/>
                    <a:pt x="3935" y="9746"/>
                    <a:pt x="3935" y="9746"/>
                  </a:cubicBezTo>
                  <a:cubicBezTo>
                    <a:pt x="3935" y="9746"/>
                    <a:pt x="3935" y="9746"/>
                    <a:pt x="3935" y="9746"/>
                  </a:cubicBezTo>
                  <a:close/>
                  <a:moveTo>
                    <a:pt x="2792" y="14933"/>
                  </a:moveTo>
                  <a:cubicBezTo>
                    <a:pt x="2816" y="14931"/>
                    <a:pt x="2833" y="14882"/>
                    <a:pt x="2834" y="14845"/>
                  </a:cubicBezTo>
                  <a:cubicBezTo>
                    <a:pt x="2834" y="14827"/>
                    <a:pt x="2829" y="14810"/>
                    <a:pt x="2813" y="14805"/>
                  </a:cubicBezTo>
                  <a:cubicBezTo>
                    <a:pt x="2775" y="14795"/>
                    <a:pt x="2672" y="14795"/>
                    <a:pt x="2640" y="14773"/>
                  </a:cubicBezTo>
                  <a:cubicBezTo>
                    <a:pt x="2607" y="14753"/>
                    <a:pt x="2522" y="14585"/>
                    <a:pt x="2449" y="14558"/>
                  </a:cubicBezTo>
                  <a:cubicBezTo>
                    <a:pt x="2379" y="14533"/>
                    <a:pt x="2224" y="14496"/>
                    <a:pt x="2178" y="14469"/>
                  </a:cubicBezTo>
                  <a:cubicBezTo>
                    <a:pt x="2132" y="14442"/>
                    <a:pt x="2002" y="14315"/>
                    <a:pt x="2002" y="14315"/>
                  </a:cubicBezTo>
                  <a:cubicBezTo>
                    <a:pt x="1995" y="14320"/>
                    <a:pt x="1995" y="14320"/>
                    <a:pt x="1995" y="14320"/>
                  </a:cubicBezTo>
                  <a:cubicBezTo>
                    <a:pt x="1995" y="14320"/>
                    <a:pt x="2082" y="14470"/>
                    <a:pt x="2156" y="14511"/>
                  </a:cubicBezTo>
                  <a:cubicBezTo>
                    <a:pt x="2229" y="14551"/>
                    <a:pt x="2370" y="14589"/>
                    <a:pt x="2406" y="14615"/>
                  </a:cubicBezTo>
                  <a:cubicBezTo>
                    <a:pt x="2442" y="14641"/>
                    <a:pt x="2517" y="14774"/>
                    <a:pt x="2565" y="14810"/>
                  </a:cubicBezTo>
                  <a:cubicBezTo>
                    <a:pt x="2613" y="14845"/>
                    <a:pt x="2672" y="14861"/>
                    <a:pt x="2690" y="14877"/>
                  </a:cubicBezTo>
                  <a:cubicBezTo>
                    <a:pt x="2710" y="14895"/>
                    <a:pt x="2762" y="14933"/>
                    <a:pt x="2792" y="14933"/>
                  </a:cubicBezTo>
                  <a:close/>
                  <a:moveTo>
                    <a:pt x="2410" y="14609"/>
                  </a:moveTo>
                  <a:cubicBezTo>
                    <a:pt x="2371" y="14580"/>
                    <a:pt x="2232" y="14543"/>
                    <a:pt x="2160" y="14504"/>
                  </a:cubicBezTo>
                  <a:cubicBezTo>
                    <a:pt x="2109" y="14476"/>
                    <a:pt x="2048" y="14388"/>
                    <a:pt x="2019" y="14343"/>
                  </a:cubicBezTo>
                  <a:cubicBezTo>
                    <a:pt x="2059" y="14381"/>
                    <a:pt x="2138" y="14455"/>
                    <a:pt x="2174" y="14476"/>
                  </a:cubicBezTo>
                  <a:cubicBezTo>
                    <a:pt x="2223" y="14504"/>
                    <a:pt x="2377" y="14541"/>
                    <a:pt x="2446" y="14566"/>
                  </a:cubicBezTo>
                  <a:cubicBezTo>
                    <a:pt x="2514" y="14589"/>
                    <a:pt x="2598" y="14756"/>
                    <a:pt x="2635" y="14780"/>
                  </a:cubicBezTo>
                  <a:cubicBezTo>
                    <a:pt x="2672" y="14804"/>
                    <a:pt x="2775" y="14803"/>
                    <a:pt x="2811" y="14813"/>
                  </a:cubicBezTo>
                  <a:cubicBezTo>
                    <a:pt x="2821" y="14815"/>
                    <a:pt x="2826" y="14828"/>
                    <a:pt x="2826" y="14845"/>
                  </a:cubicBezTo>
                  <a:cubicBezTo>
                    <a:pt x="2826" y="14862"/>
                    <a:pt x="2821" y="14883"/>
                    <a:pt x="2814" y="14899"/>
                  </a:cubicBezTo>
                  <a:cubicBezTo>
                    <a:pt x="2807" y="14915"/>
                    <a:pt x="2798" y="14926"/>
                    <a:pt x="2792" y="14925"/>
                  </a:cubicBezTo>
                  <a:cubicBezTo>
                    <a:pt x="2768" y="14925"/>
                    <a:pt x="2714" y="14888"/>
                    <a:pt x="2695" y="14871"/>
                  </a:cubicBezTo>
                  <a:cubicBezTo>
                    <a:pt x="2673" y="14852"/>
                    <a:pt x="2617" y="14838"/>
                    <a:pt x="2570" y="14803"/>
                  </a:cubicBezTo>
                  <a:cubicBezTo>
                    <a:pt x="2524" y="14770"/>
                    <a:pt x="2449" y="14638"/>
                    <a:pt x="2410" y="14609"/>
                  </a:cubicBezTo>
                  <a:close/>
                  <a:moveTo>
                    <a:pt x="593" y="13868"/>
                  </a:moveTo>
                  <a:cubicBezTo>
                    <a:pt x="593" y="13865"/>
                    <a:pt x="592" y="13863"/>
                    <a:pt x="591" y="13860"/>
                  </a:cubicBezTo>
                  <a:cubicBezTo>
                    <a:pt x="587" y="13853"/>
                    <a:pt x="586" y="13834"/>
                    <a:pt x="585" y="13829"/>
                  </a:cubicBezTo>
                  <a:cubicBezTo>
                    <a:pt x="584" y="13828"/>
                    <a:pt x="586" y="13826"/>
                    <a:pt x="581" y="13824"/>
                  </a:cubicBezTo>
                  <a:cubicBezTo>
                    <a:pt x="579" y="13825"/>
                    <a:pt x="578" y="13825"/>
                    <a:pt x="578" y="13826"/>
                  </a:cubicBezTo>
                  <a:cubicBezTo>
                    <a:pt x="571" y="13829"/>
                    <a:pt x="510" y="13861"/>
                    <a:pt x="473" y="13867"/>
                  </a:cubicBezTo>
                  <a:cubicBezTo>
                    <a:pt x="462" y="13869"/>
                    <a:pt x="452" y="13869"/>
                    <a:pt x="442" y="13869"/>
                  </a:cubicBezTo>
                  <a:cubicBezTo>
                    <a:pt x="416" y="13869"/>
                    <a:pt x="393" y="13864"/>
                    <a:pt x="378" y="13862"/>
                  </a:cubicBezTo>
                  <a:cubicBezTo>
                    <a:pt x="364" y="13859"/>
                    <a:pt x="336" y="13856"/>
                    <a:pt x="314" y="13856"/>
                  </a:cubicBezTo>
                  <a:cubicBezTo>
                    <a:pt x="302" y="13856"/>
                    <a:pt x="293" y="13856"/>
                    <a:pt x="287" y="13861"/>
                  </a:cubicBezTo>
                  <a:cubicBezTo>
                    <a:pt x="283" y="13864"/>
                    <a:pt x="281" y="13867"/>
                    <a:pt x="281" y="13871"/>
                  </a:cubicBezTo>
                  <a:cubicBezTo>
                    <a:pt x="282" y="13881"/>
                    <a:pt x="291" y="13886"/>
                    <a:pt x="301" y="13889"/>
                  </a:cubicBezTo>
                  <a:cubicBezTo>
                    <a:pt x="314" y="13893"/>
                    <a:pt x="368" y="13895"/>
                    <a:pt x="384" y="13903"/>
                  </a:cubicBezTo>
                  <a:cubicBezTo>
                    <a:pt x="401" y="13911"/>
                    <a:pt x="441" y="13940"/>
                    <a:pt x="475" y="13942"/>
                  </a:cubicBezTo>
                  <a:cubicBezTo>
                    <a:pt x="477" y="13942"/>
                    <a:pt x="479" y="13942"/>
                    <a:pt x="481" y="13942"/>
                  </a:cubicBezTo>
                  <a:cubicBezTo>
                    <a:pt x="513" y="13942"/>
                    <a:pt x="548" y="13930"/>
                    <a:pt x="566" y="13914"/>
                  </a:cubicBezTo>
                  <a:cubicBezTo>
                    <a:pt x="581" y="13900"/>
                    <a:pt x="592" y="13882"/>
                    <a:pt x="593" y="13868"/>
                  </a:cubicBezTo>
                  <a:close/>
                  <a:moveTo>
                    <a:pt x="481" y="13934"/>
                  </a:moveTo>
                  <a:cubicBezTo>
                    <a:pt x="479" y="13934"/>
                    <a:pt x="477" y="13933"/>
                    <a:pt x="475" y="13933"/>
                  </a:cubicBezTo>
                  <a:cubicBezTo>
                    <a:pt x="446" y="13932"/>
                    <a:pt x="406" y="13904"/>
                    <a:pt x="388" y="13895"/>
                  </a:cubicBezTo>
                  <a:cubicBezTo>
                    <a:pt x="368" y="13886"/>
                    <a:pt x="314" y="13884"/>
                    <a:pt x="303" y="13881"/>
                  </a:cubicBezTo>
                  <a:cubicBezTo>
                    <a:pt x="295" y="13879"/>
                    <a:pt x="289" y="13873"/>
                    <a:pt x="289" y="13871"/>
                  </a:cubicBezTo>
                  <a:cubicBezTo>
                    <a:pt x="289" y="13870"/>
                    <a:pt x="290" y="13869"/>
                    <a:pt x="292" y="13867"/>
                  </a:cubicBezTo>
                  <a:cubicBezTo>
                    <a:pt x="294" y="13865"/>
                    <a:pt x="303" y="13864"/>
                    <a:pt x="314" y="13864"/>
                  </a:cubicBezTo>
                  <a:cubicBezTo>
                    <a:pt x="335" y="13864"/>
                    <a:pt x="363" y="13867"/>
                    <a:pt x="376" y="13870"/>
                  </a:cubicBezTo>
                  <a:cubicBezTo>
                    <a:pt x="391" y="13872"/>
                    <a:pt x="415" y="13878"/>
                    <a:pt x="442" y="13878"/>
                  </a:cubicBezTo>
                  <a:cubicBezTo>
                    <a:pt x="452" y="13878"/>
                    <a:pt x="463" y="13877"/>
                    <a:pt x="474" y="13875"/>
                  </a:cubicBezTo>
                  <a:cubicBezTo>
                    <a:pt x="509" y="13869"/>
                    <a:pt x="562" y="13843"/>
                    <a:pt x="578" y="13835"/>
                  </a:cubicBezTo>
                  <a:cubicBezTo>
                    <a:pt x="578" y="13837"/>
                    <a:pt x="578" y="13839"/>
                    <a:pt x="579" y="13842"/>
                  </a:cubicBezTo>
                  <a:cubicBezTo>
                    <a:pt x="579" y="13849"/>
                    <a:pt x="581" y="13858"/>
                    <a:pt x="584" y="13864"/>
                  </a:cubicBezTo>
                  <a:cubicBezTo>
                    <a:pt x="584" y="13865"/>
                    <a:pt x="584" y="13866"/>
                    <a:pt x="584" y="13868"/>
                  </a:cubicBezTo>
                  <a:cubicBezTo>
                    <a:pt x="585" y="13877"/>
                    <a:pt x="574" y="13896"/>
                    <a:pt x="560" y="13908"/>
                  </a:cubicBezTo>
                  <a:cubicBezTo>
                    <a:pt x="545" y="13922"/>
                    <a:pt x="510" y="13934"/>
                    <a:pt x="481" y="13934"/>
                  </a:cubicBezTo>
                  <a:close/>
                  <a:moveTo>
                    <a:pt x="1229" y="9829"/>
                  </a:moveTo>
                  <a:cubicBezTo>
                    <a:pt x="1228" y="9829"/>
                    <a:pt x="1228" y="9829"/>
                    <a:pt x="1228" y="9829"/>
                  </a:cubicBezTo>
                  <a:cubicBezTo>
                    <a:pt x="1228" y="9829"/>
                    <a:pt x="1228" y="9829"/>
                    <a:pt x="1228" y="9829"/>
                  </a:cubicBezTo>
                  <a:lnTo>
                    <a:pt x="1229" y="9829"/>
                  </a:lnTo>
                  <a:close/>
                  <a:moveTo>
                    <a:pt x="1231" y="9831"/>
                  </a:moveTo>
                  <a:cubicBezTo>
                    <a:pt x="1231" y="9831"/>
                    <a:pt x="1231" y="9831"/>
                    <a:pt x="1231" y="9831"/>
                  </a:cubicBezTo>
                  <a:cubicBezTo>
                    <a:pt x="1231" y="9831"/>
                    <a:pt x="1231" y="9831"/>
                    <a:pt x="1231" y="9831"/>
                  </a:cubicBezTo>
                  <a:cubicBezTo>
                    <a:pt x="1231" y="9831"/>
                    <a:pt x="1231" y="9831"/>
                    <a:pt x="1231" y="9831"/>
                  </a:cubicBezTo>
                  <a:close/>
                  <a:moveTo>
                    <a:pt x="1228" y="9828"/>
                  </a:moveTo>
                  <a:cubicBezTo>
                    <a:pt x="1228" y="9828"/>
                    <a:pt x="1228" y="9828"/>
                    <a:pt x="1227" y="9828"/>
                  </a:cubicBezTo>
                  <a:cubicBezTo>
                    <a:pt x="1227" y="9828"/>
                    <a:pt x="1227" y="9828"/>
                    <a:pt x="1227" y="9828"/>
                  </a:cubicBezTo>
                  <a:cubicBezTo>
                    <a:pt x="1227" y="9828"/>
                    <a:pt x="1227" y="9828"/>
                    <a:pt x="1228" y="9828"/>
                  </a:cubicBezTo>
                  <a:close/>
                  <a:moveTo>
                    <a:pt x="1227" y="9828"/>
                  </a:moveTo>
                  <a:cubicBezTo>
                    <a:pt x="1227" y="9828"/>
                    <a:pt x="1227" y="9828"/>
                    <a:pt x="1227" y="9828"/>
                  </a:cubicBezTo>
                  <a:cubicBezTo>
                    <a:pt x="1227" y="9828"/>
                    <a:pt x="1227" y="9828"/>
                    <a:pt x="1227" y="9828"/>
                  </a:cubicBezTo>
                  <a:cubicBezTo>
                    <a:pt x="1227" y="9828"/>
                    <a:pt x="1227" y="9828"/>
                    <a:pt x="1227" y="9828"/>
                  </a:cubicBezTo>
                  <a:close/>
                  <a:moveTo>
                    <a:pt x="1229" y="9829"/>
                  </a:moveTo>
                  <a:cubicBezTo>
                    <a:pt x="1229" y="9829"/>
                    <a:pt x="1229" y="9829"/>
                    <a:pt x="1229" y="9829"/>
                  </a:cubicBezTo>
                  <a:cubicBezTo>
                    <a:pt x="1229" y="9829"/>
                    <a:pt x="1229" y="9829"/>
                    <a:pt x="1229" y="9829"/>
                  </a:cubicBezTo>
                  <a:cubicBezTo>
                    <a:pt x="1229" y="9829"/>
                    <a:pt x="1229" y="9829"/>
                    <a:pt x="1229" y="9829"/>
                  </a:cubicBezTo>
                  <a:close/>
                  <a:moveTo>
                    <a:pt x="14985" y="700"/>
                  </a:moveTo>
                  <a:cubicBezTo>
                    <a:pt x="14985" y="700"/>
                    <a:pt x="14985" y="700"/>
                    <a:pt x="14985" y="700"/>
                  </a:cubicBezTo>
                  <a:cubicBezTo>
                    <a:pt x="14985" y="700"/>
                    <a:pt x="14985" y="700"/>
                    <a:pt x="14985" y="700"/>
                  </a:cubicBezTo>
                  <a:cubicBezTo>
                    <a:pt x="14985" y="700"/>
                    <a:pt x="14985" y="700"/>
                    <a:pt x="14985" y="700"/>
                  </a:cubicBezTo>
                  <a:close/>
                  <a:moveTo>
                    <a:pt x="14985" y="700"/>
                  </a:moveTo>
                  <a:cubicBezTo>
                    <a:pt x="14985" y="700"/>
                    <a:pt x="14985" y="700"/>
                    <a:pt x="14985" y="700"/>
                  </a:cubicBezTo>
                  <a:cubicBezTo>
                    <a:pt x="14985" y="700"/>
                    <a:pt x="14985" y="700"/>
                    <a:pt x="14985" y="700"/>
                  </a:cubicBezTo>
                  <a:cubicBezTo>
                    <a:pt x="14985" y="700"/>
                    <a:pt x="14985" y="700"/>
                    <a:pt x="14985" y="700"/>
                  </a:cubicBezTo>
                  <a:close/>
                  <a:moveTo>
                    <a:pt x="14985" y="700"/>
                  </a:moveTo>
                  <a:cubicBezTo>
                    <a:pt x="14985" y="700"/>
                    <a:pt x="14985" y="700"/>
                    <a:pt x="14985" y="700"/>
                  </a:cubicBezTo>
                  <a:cubicBezTo>
                    <a:pt x="14985" y="700"/>
                    <a:pt x="14985" y="700"/>
                    <a:pt x="14984" y="701"/>
                  </a:cubicBezTo>
                  <a:cubicBezTo>
                    <a:pt x="14984" y="701"/>
                    <a:pt x="14984" y="701"/>
                    <a:pt x="14984" y="701"/>
                  </a:cubicBezTo>
                  <a:cubicBezTo>
                    <a:pt x="14984" y="700"/>
                    <a:pt x="14985" y="700"/>
                    <a:pt x="14985" y="700"/>
                  </a:cubicBezTo>
                  <a:close/>
                  <a:moveTo>
                    <a:pt x="4088" y="12929"/>
                  </a:moveTo>
                  <a:cubicBezTo>
                    <a:pt x="4114" y="12911"/>
                    <a:pt x="4137" y="12896"/>
                    <a:pt x="4142" y="12891"/>
                  </a:cubicBezTo>
                  <a:cubicBezTo>
                    <a:pt x="4146" y="12884"/>
                    <a:pt x="4156" y="12864"/>
                    <a:pt x="4156" y="12846"/>
                  </a:cubicBezTo>
                  <a:cubicBezTo>
                    <a:pt x="4156" y="12839"/>
                    <a:pt x="4155" y="12833"/>
                    <a:pt x="4151" y="12828"/>
                  </a:cubicBezTo>
                  <a:cubicBezTo>
                    <a:pt x="4148" y="12831"/>
                    <a:pt x="4148" y="12831"/>
                    <a:pt x="4148" y="12831"/>
                  </a:cubicBezTo>
                  <a:cubicBezTo>
                    <a:pt x="4150" y="12828"/>
                    <a:pt x="4150" y="12828"/>
                    <a:pt x="4150" y="12828"/>
                  </a:cubicBezTo>
                  <a:cubicBezTo>
                    <a:pt x="4150" y="12827"/>
                    <a:pt x="4124" y="12808"/>
                    <a:pt x="4081" y="12807"/>
                  </a:cubicBezTo>
                  <a:cubicBezTo>
                    <a:pt x="4077" y="12807"/>
                    <a:pt x="4071" y="12807"/>
                    <a:pt x="4065" y="12807"/>
                  </a:cubicBezTo>
                  <a:cubicBezTo>
                    <a:pt x="4007" y="12807"/>
                    <a:pt x="3862" y="12812"/>
                    <a:pt x="3848" y="12812"/>
                  </a:cubicBezTo>
                  <a:cubicBezTo>
                    <a:pt x="3844" y="12810"/>
                    <a:pt x="3829" y="12802"/>
                    <a:pt x="3818" y="12802"/>
                  </a:cubicBezTo>
                  <a:cubicBezTo>
                    <a:pt x="3814" y="12802"/>
                    <a:pt x="3809" y="12803"/>
                    <a:pt x="3806" y="12807"/>
                  </a:cubicBezTo>
                  <a:cubicBezTo>
                    <a:pt x="3804" y="12810"/>
                    <a:pt x="3804" y="12814"/>
                    <a:pt x="3804" y="12817"/>
                  </a:cubicBezTo>
                  <a:cubicBezTo>
                    <a:pt x="3804" y="12831"/>
                    <a:pt x="3817" y="12848"/>
                    <a:pt x="3841" y="12853"/>
                  </a:cubicBezTo>
                  <a:cubicBezTo>
                    <a:pt x="3864" y="12857"/>
                    <a:pt x="3987" y="12866"/>
                    <a:pt x="4016" y="12881"/>
                  </a:cubicBezTo>
                  <a:cubicBezTo>
                    <a:pt x="4020" y="12883"/>
                    <a:pt x="4020" y="12885"/>
                    <a:pt x="4020" y="12885"/>
                  </a:cubicBezTo>
                  <a:cubicBezTo>
                    <a:pt x="4020" y="12885"/>
                    <a:pt x="4020" y="12886"/>
                    <a:pt x="4020" y="12886"/>
                  </a:cubicBezTo>
                  <a:cubicBezTo>
                    <a:pt x="4012" y="12906"/>
                    <a:pt x="3970" y="12915"/>
                    <a:pt x="3940" y="12918"/>
                  </a:cubicBezTo>
                  <a:cubicBezTo>
                    <a:pt x="3911" y="12920"/>
                    <a:pt x="3876" y="12922"/>
                    <a:pt x="3852" y="12935"/>
                  </a:cubicBezTo>
                  <a:cubicBezTo>
                    <a:pt x="3835" y="12943"/>
                    <a:pt x="3820" y="12961"/>
                    <a:pt x="3820" y="12979"/>
                  </a:cubicBezTo>
                  <a:cubicBezTo>
                    <a:pt x="3820" y="12987"/>
                    <a:pt x="3823" y="12995"/>
                    <a:pt x="3831" y="13000"/>
                  </a:cubicBezTo>
                  <a:cubicBezTo>
                    <a:pt x="3840" y="13008"/>
                    <a:pt x="3850" y="13012"/>
                    <a:pt x="3859" y="13012"/>
                  </a:cubicBezTo>
                  <a:cubicBezTo>
                    <a:pt x="3870" y="13012"/>
                    <a:pt x="3880" y="13007"/>
                    <a:pt x="3889" y="13001"/>
                  </a:cubicBezTo>
                  <a:cubicBezTo>
                    <a:pt x="3902" y="12993"/>
                    <a:pt x="3930" y="12980"/>
                    <a:pt x="3939" y="12979"/>
                  </a:cubicBezTo>
                  <a:cubicBezTo>
                    <a:pt x="3939" y="12983"/>
                    <a:pt x="3938" y="12987"/>
                    <a:pt x="3938" y="12991"/>
                  </a:cubicBezTo>
                  <a:cubicBezTo>
                    <a:pt x="3939" y="13022"/>
                    <a:pt x="3950" y="13065"/>
                    <a:pt x="3970" y="13071"/>
                  </a:cubicBezTo>
                  <a:cubicBezTo>
                    <a:pt x="3977" y="13072"/>
                    <a:pt x="3984" y="13073"/>
                    <a:pt x="3989" y="13073"/>
                  </a:cubicBezTo>
                  <a:cubicBezTo>
                    <a:pt x="3990" y="13073"/>
                    <a:pt x="3990" y="13073"/>
                    <a:pt x="3990" y="13073"/>
                  </a:cubicBezTo>
                  <a:cubicBezTo>
                    <a:pt x="3999" y="13073"/>
                    <a:pt x="4007" y="13069"/>
                    <a:pt x="4009" y="13059"/>
                  </a:cubicBezTo>
                  <a:cubicBezTo>
                    <a:pt x="4013" y="13043"/>
                    <a:pt x="4011" y="12990"/>
                    <a:pt x="4026" y="12975"/>
                  </a:cubicBezTo>
                  <a:cubicBezTo>
                    <a:pt x="4034" y="12966"/>
                    <a:pt x="4062" y="12947"/>
                    <a:pt x="4088" y="12929"/>
                  </a:cubicBezTo>
                  <a:close/>
                  <a:moveTo>
                    <a:pt x="4001" y="13057"/>
                  </a:moveTo>
                  <a:cubicBezTo>
                    <a:pt x="3999" y="13064"/>
                    <a:pt x="3997" y="13065"/>
                    <a:pt x="3989" y="13065"/>
                  </a:cubicBezTo>
                  <a:cubicBezTo>
                    <a:pt x="3985" y="13065"/>
                    <a:pt x="3979" y="13064"/>
                    <a:pt x="3972" y="13063"/>
                  </a:cubicBezTo>
                  <a:cubicBezTo>
                    <a:pt x="3961" y="13063"/>
                    <a:pt x="3946" y="13020"/>
                    <a:pt x="3947" y="12991"/>
                  </a:cubicBezTo>
                  <a:cubicBezTo>
                    <a:pt x="3947" y="12986"/>
                    <a:pt x="3947" y="12982"/>
                    <a:pt x="3948" y="12978"/>
                  </a:cubicBezTo>
                  <a:cubicBezTo>
                    <a:pt x="3948" y="12978"/>
                    <a:pt x="3948" y="12977"/>
                    <a:pt x="3948" y="12976"/>
                  </a:cubicBezTo>
                  <a:cubicBezTo>
                    <a:pt x="3948" y="12972"/>
                    <a:pt x="3943" y="12970"/>
                    <a:pt x="3941" y="12970"/>
                  </a:cubicBezTo>
                  <a:cubicBezTo>
                    <a:pt x="3928" y="12971"/>
                    <a:pt x="3900" y="12985"/>
                    <a:pt x="3885" y="12994"/>
                  </a:cubicBezTo>
                  <a:cubicBezTo>
                    <a:pt x="3876" y="12999"/>
                    <a:pt x="3867" y="13003"/>
                    <a:pt x="3859" y="13003"/>
                  </a:cubicBezTo>
                  <a:cubicBezTo>
                    <a:pt x="3852" y="13003"/>
                    <a:pt x="3844" y="13001"/>
                    <a:pt x="3836" y="12994"/>
                  </a:cubicBezTo>
                  <a:cubicBezTo>
                    <a:pt x="3830" y="12990"/>
                    <a:pt x="3828" y="12985"/>
                    <a:pt x="3828" y="12979"/>
                  </a:cubicBezTo>
                  <a:cubicBezTo>
                    <a:pt x="3828" y="12966"/>
                    <a:pt x="3841" y="12949"/>
                    <a:pt x="3856" y="12942"/>
                  </a:cubicBezTo>
                  <a:cubicBezTo>
                    <a:pt x="3878" y="12931"/>
                    <a:pt x="3912" y="12929"/>
                    <a:pt x="3941" y="12926"/>
                  </a:cubicBezTo>
                  <a:cubicBezTo>
                    <a:pt x="3971" y="12922"/>
                    <a:pt x="4015" y="12916"/>
                    <a:pt x="4028" y="12889"/>
                  </a:cubicBezTo>
                  <a:cubicBezTo>
                    <a:pt x="4028" y="12888"/>
                    <a:pt x="4028" y="12887"/>
                    <a:pt x="4028" y="12885"/>
                  </a:cubicBezTo>
                  <a:cubicBezTo>
                    <a:pt x="4027" y="12875"/>
                    <a:pt x="4016" y="12872"/>
                    <a:pt x="4000" y="12867"/>
                  </a:cubicBezTo>
                  <a:cubicBezTo>
                    <a:pt x="3985" y="12863"/>
                    <a:pt x="3965" y="12860"/>
                    <a:pt x="3943" y="12857"/>
                  </a:cubicBezTo>
                  <a:cubicBezTo>
                    <a:pt x="3901" y="12851"/>
                    <a:pt x="3855" y="12847"/>
                    <a:pt x="3842" y="12845"/>
                  </a:cubicBezTo>
                  <a:cubicBezTo>
                    <a:pt x="3822" y="12841"/>
                    <a:pt x="3812" y="12826"/>
                    <a:pt x="3812" y="12817"/>
                  </a:cubicBezTo>
                  <a:cubicBezTo>
                    <a:pt x="3812" y="12815"/>
                    <a:pt x="3812" y="12813"/>
                    <a:pt x="3813" y="12812"/>
                  </a:cubicBezTo>
                  <a:cubicBezTo>
                    <a:pt x="3814" y="12811"/>
                    <a:pt x="3815" y="12810"/>
                    <a:pt x="3818" y="12810"/>
                  </a:cubicBezTo>
                  <a:cubicBezTo>
                    <a:pt x="3827" y="12810"/>
                    <a:pt x="3845" y="12820"/>
                    <a:pt x="3845" y="12820"/>
                  </a:cubicBezTo>
                  <a:cubicBezTo>
                    <a:pt x="3846" y="12820"/>
                    <a:pt x="3846" y="12820"/>
                    <a:pt x="3846" y="12820"/>
                  </a:cubicBezTo>
                  <a:cubicBezTo>
                    <a:pt x="3847" y="12820"/>
                    <a:pt x="3847" y="12820"/>
                    <a:pt x="3847" y="12820"/>
                  </a:cubicBezTo>
                  <a:cubicBezTo>
                    <a:pt x="3847" y="12820"/>
                    <a:pt x="4004" y="12815"/>
                    <a:pt x="4065" y="12815"/>
                  </a:cubicBezTo>
                  <a:cubicBezTo>
                    <a:pt x="4071" y="12815"/>
                    <a:pt x="4077" y="12815"/>
                    <a:pt x="4081" y="12815"/>
                  </a:cubicBezTo>
                  <a:cubicBezTo>
                    <a:pt x="4119" y="12816"/>
                    <a:pt x="4142" y="12832"/>
                    <a:pt x="4145" y="12834"/>
                  </a:cubicBezTo>
                  <a:cubicBezTo>
                    <a:pt x="4147" y="12837"/>
                    <a:pt x="4148" y="12841"/>
                    <a:pt x="4148" y="12846"/>
                  </a:cubicBezTo>
                  <a:cubicBezTo>
                    <a:pt x="4148" y="12860"/>
                    <a:pt x="4138" y="12882"/>
                    <a:pt x="4135" y="12886"/>
                  </a:cubicBezTo>
                  <a:cubicBezTo>
                    <a:pt x="4134" y="12888"/>
                    <a:pt x="4109" y="12905"/>
                    <a:pt x="4083" y="12923"/>
                  </a:cubicBezTo>
                  <a:cubicBezTo>
                    <a:pt x="4057" y="12940"/>
                    <a:pt x="4030" y="12959"/>
                    <a:pt x="4020" y="12969"/>
                  </a:cubicBezTo>
                  <a:cubicBezTo>
                    <a:pt x="4001" y="12990"/>
                    <a:pt x="4005" y="13044"/>
                    <a:pt x="4001" y="13057"/>
                  </a:cubicBezTo>
                  <a:close/>
                  <a:moveTo>
                    <a:pt x="2614" y="11344"/>
                  </a:moveTo>
                  <a:cubicBezTo>
                    <a:pt x="2614" y="11369"/>
                    <a:pt x="2621" y="11392"/>
                    <a:pt x="2621" y="11403"/>
                  </a:cubicBezTo>
                  <a:cubicBezTo>
                    <a:pt x="2621" y="11405"/>
                    <a:pt x="2620" y="11407"/>
                    <a:pt x="2620" y="11408"/>
                  </a:cubicBezTo>
                  <a:cubicBezTo>
                    <a:pt x="2615" y="11426"/>
                    <a:pt x="2625" y="11514"/>
                    <a:pt x="2572" y="11564"/>
                  </a:cubicBezTo>
                  <a:cubicBezTo>
                    <a:pt x="2543" y="11591"/>
                    <a:pt x="2539" y="11598"/>
                    <a:pt x="2539" y="11599"/>
                  </a:cubicBezTo>
                  <a:cubicBezTo>
                    <a:pt x="2536" y="11605"/>
                    <a:pt x="2536" y="11605"/>
                    <a:pt x="2536" y="11605"/>
                  </a:cubicBezTo>
                  <a:cubicBezTo>
                    <a:pt x="2543" y="11605"/>
                    <a:pt x="2543" y="11605"/>
                    <a:pt x="2543" y="11605"/>
                  </a:cubicBezTo>
                  <a:cubicBezTo>
                    <a:pt x="2543" y="11605"/>
                    <a:pt x="2595" y="11602"/>
                    <a:pt x="2653" y="11577"/>
                  </a:cubicBezTo>
                  <a:cubicBezTo>
                    <a:pt x="2710" y="11553"/>
                    <a:pt x="2778" y="11531"/>
                    <a:pt x="2790" y="11457"/>
                  </a:cubicBezTo>
                  <a:cubicBezTo>
                    <a:pt x="2790" y="11457"/>
                    <a:pt x="2789" y="11437"/>
                    <a:pt x="2789" y="11411"/>
                  </a:cubicBezTo>
                  <a:cubicBezTo>
                    <a:pt x="2789" y="11387"/>
                    <a:pt x="2790" y="11359"/>
                    <a:pt x="2795" y="11341"/>
                  </a:cubicBezTo>
                  <a:cubicBezTo>
                    <a:pt x="2806" y="11302"/>
                    <a:pt x="2849" y="11266"/>
                    <a:pt x="2849" y="11224"/>
                  </a:cubicBezTo>
                  <a:cubicBezTo>
                    <a:pt x="2849" y="11223"/>
                    <a:pt x="2849" y="11223"/>
                    <a:pt x="2849" y="11222"/>
                  </a:cubicBezTo>
                  <a:cubicBezTo>
                    <a:pt x="2848" y="11182"/>
                    <a:pt x="2840" y="11172"/>
                    <a:pt x="2827" y="11163"/>
                  </a:cubicBezTo>
                  <a:cubicBezTo>
                    <a:pt x="2820" y="11159"/>
                    <a:pt x="2812" y="11157"/>
                    <a:pt x="2801" y="11157"/>
                  </a:cubicBezTo>
                  <a:cubicBezTo>
                    <a:pt x="2760" y="11157"/>
                    <a:pt x="2689" y="11189"/>
                    <a:pt x="2621" y="11306"/>
                  </a:cubicBezTo>
                  <a:cubicBezTo>
                    <a:pt x="2616" y="11318"/>
                    <a:pt x="2614" y="11332"/>
                    <a:pt x="2614" y="11344"/>
                  </a:cubicBezTo>
                  <a:close/>
                  <a:moveTo>
                    <a:pt x="2628" y="11309"/>
                  </a:moveTo>
                  <a:cubicBezTo>
                    <a:pt x="2695" y="11195"/>
                    <a:pt x="2764" y="11165"/>
                    <a:pt x="2801" y="11165"/>
                  </a:cubicBezTo>
                  <a:cubicBezTo>
                    <a:pt x="2810" y="11165"/>
                    <a:pt x="2818" y="11167"/>
                    <a:pt x="2822" y="11170"/>
                  </a:cubicBezTo>
                  <a:cubicBezTo>
                    <a:pt x="2834" y="11178"/>
                    <a:pt x="2839" y="11183"/>
                    <a:pt x="2841" y="11223"/>
                  </a:cubicBezTo>
                  <a:cubicBezTo>
                    <a:pt x="2841" y="11223"/>
                    <a:pt x="2841" y="11223"/>
                    <a:pt x="2841" y="11224"/>
                  </a:cubicBezTo>
                  <a:cubicBezTo>
                    <a:pt x="2842" y="11260"/>
                    <a:pt x="2799" y="11297"/>
                    <a:pt x="2787" y="11338"/>
                  </a:cubicBezTo>
                  <a:cubicBezTo>
                    <a:pt x="2782" y="11359"/>
                    <a:pt x="2781" y="11387"/>
                    <a:pt x="2781" y="11411"/>
                  </a:cubicBezTo>
                  <a:cubicBezTo>
                    <a:pt x="2781" y="11436"/>
                    <a:pt x="2782" y="11457"/>
                    <a:pt x="2782" y="11457"/>
                  </a:cubicBezTo>
                  <a:cubicBezTo>
                    <a:pt x="2771" y="11524"/>
                    <a:pt x="2708" y="11545"/>
                    <a:pt x="2650" y="11570"/>
                  </a:cubicBezTo>
                  <a:cubicBezTo>
                    <a:pt x="2607" y="11588"/>
                    <a:pt x="2568" y="11594"/>
                    <a:pt x="2551" y="11596"/>
                  </a:cubicBezTo>
                  <a:cubicBezTo>
                    <a:pt x="2556" y="11591"/>
                    <a:pt x="2563" y="11583"/>
                    <a:pt x="2577" y="11570"/>
                  </a:cubicBezTo>
                  <a:cubicBezTo>
                    <a:pt x="2635" y="11517"/>
                    <a:pt x="2624" y="11423"/>
                    <a:pt x="2628" y="11410"/>
                  </a:cubicBezTo>
                  <a:cubicBezTo>
                    <a:pt x="2629" y="11408"/>
                    <a:pt x="2629" y="11406"/>
                    <a:pt x="2629" y="11403"/>
                  </a:cubicBezTo>
                  <a:cubicBezTo>
                    <a:pt x="2629" y="11389"/>
                    <a:pt x="2622" y="11368"/>
                    <a:pt x="2622" y="11344"/>
                  </a:cubicBezTo>
                  <a:cubicBezTo>
                    <a:pt x="2622" y="11332"/>
                    <a:pt x="2624" y="11320"/>
                    <a:pt x="2628" y="11309"/>
                  </a:cubicBezTo>
                  <a:close/>
                  <a:moveTo>
                    <a:pt x="550" y="9452"/>
                  </a:moveTo>
                  <a:cubicBezTo>
                    <a:pt x="583" y="9477"/>
                    <a:pt x="634" y="9504"/>
                    <a:pt x="644" y="9551"/>
                  </a:cubicBezTo>
                  <a:cubicBezTo>
                    <a:pt x="645" y="9556"/>
                    <a:pt x="646" y="9562"/>
                    <a:pt x="646" y="9567"/>
                  </a:cubicBezTo>
                  <a:cubicBezTo>
                    <a:pt x="646" y="9608"/>
                    <a:pt x="615" y="9644"/>
                    <a:pt x="615" y="9644"/>
                  </a:cubicBezTo>
                  <a:cubicBezTo>
                    <a:pt x="611" y="9649"/>
                    <a:pt x="611" y="9649"/>
                    <a:pt x="611" y="9649"/>
                  </a:cubicBezTo>
                  <a:cubicBezTo>
                    <a:pt x="616" y="9651"/>
                    <a:pt x="616" y="9651"/>
                    <a:pt x="616" y="9651"/>
                  </a:cubicBezTo>
                  <a:cubicBezTo>
                    <a:pt x="616" y="9651"/>
                    <a:pt x="676" y="9678"/>
                    <a:pt x="697" y="9686"/>
                  </a:cubicBezTo>
                  <a:cubicBezTo>
                    <a:pt x="705" y="9690"/>
                    <a:pt x="718" y="9692"/>
                    <a:pt x="734" y="9692"/>
                  </a:cubicBezTo>
                  <a:cubicBezTo>
                    <a:pt x="760" y="9692"/>
                    <a:pt x="794" y="9686"/>
                    <a:pt x="822" y="9667"/>
                  </a:cubicBezTo>
                  <a:cubicBezTo>
                    <a:pt x="866" y="9638"/>
                    <a:pt x="898" y="9608"/>
                    <a:pt x="913" y="9582"/>
                  </a:cubicBezTo>
                  <a:cubicBezTo>
                    <a:pt x="926" y="9558"/>
                    <a:pt x="940" y="9532"/>
                    <a:pt x="945" y="9530"/>
                  </a:cubicBezTo>
                  <a:cubicBezTo>
                    <a:pt x="948" y="9529"/>
                    <a:pt x="948" y="9529"/>
                    <a:pt x="948" y="9529"/>
                  </a:cubicBezTo>
                  <a:cubicBezTo>
                    <a:pt x="947" y="9526"/>
                    <a:pt x="947" y="9526"/>
                    <a:pt x="947" y="9526"/>
                  </a:cubicBezTo>
                  <a:cubicBezTo>
                    <a:pt x="947" y="9525"/>
                    <a:pt x="941" y="9509"/>
                    <a:pt x="919" y="9509"/>
                  </a:cubicBezTo>
                  <a:cubicBezTo>
                    <a:pt x="910" y="9509"/>
                    <a:pt x="899" y="9511"/>
                    <a:pt x="884" y="9519"/>
                  </a:cubicBezTo>
                  <a:cubicBezTo>
                    <a:pt x="847" y="9538"/>
                    <a:pt x="813" y="9556"/>
                    <a:pt x="791" y="9556"/>
                  </a:cubicBezTo>
                  <a:cubicBezTo>
                    <a:pt x="785" y="9556"/>
                    <a:pt x="780" y="9555"/>
                    <a:pt x="776" y="9552"/>
                  </a:cubicBezTo>
                  <a:cubicBezTo>
                    <a:pt x="752" y="9537"/>
                    <a:pt x="744" y="9533"/>
                    <a:pt x="738" y="9504"/>
                  </a:cubicBezTo>
                  <a:cubicBezTo>
                    <a:pt x="733" y="9474"/>
                    <a:pt x="722" y="9443"/>
                    <a:pt x="685" y="9433"/>
                  </a:cubicBezTo>
                  <a:cubicBezTo>
                    <a:pt x="649" y="9423"/>
                    <a:pt x="608" y="9420"/>
                    <a:pt x="599" y="9415"/>
                  </a:cubicBezTo>
                  <a:cubicBezTo>
                    <a:pt x="591" y="9411"/>
                    <a:pt x="557" y="9394"/>
                    <a:pt x="549" y="9389"/>
                  </a:cubicBezTo>
                  <a:cubicBezTo>
                    <a:pt x="548" y="9389"/>
                    <a:pt x="548" y="9388"/>
                    <a:pt x="548" y="9388"/>
                  </a:cubicBezTo>
                  <a:cubicBezTo>
                    <a:pt x="547" y="9386"/>
                    <a:pt x="545" y="9386"/>
                    <a:pt x="544" y="9386"/>
                  </a:cubicBezTo>
                  <a:cubicBezTo>
                    <a:pt x="544" y="9386"/>
                    <a:pt x="540" y="9386"/>
                    <a:pt x="540" y="9390"/>
                  </a:cubicBezTo>
                  <a:cubicBezTo>
                    <a:pt x="540" y="9391"/>
                    <a:pt x="540" y="9392"/>
                    <a:pt x="540" y="9392"/>
                  </a:cubicBezTo>
                  <a:cubicBezTo>
                    <a:pt x="539" y="9396"/>
                    <a:pt x="533" y="9408"/>
                    <a:pt x="533" y="9420"/>
                  </a:cubicBezTo>
                  <a:cubicBezTo>
                    <a:pt x="533" y="9431"/>
                    <a:pt x="537" y="9443"/>
                    <a:pt x="550" y="9452"/>
                  </a:cubicBezTo>
                  <a:close/>
                  <a:moveTo>
                    <a:pt x="547" y="9398"/>
                  </a:moveTo>
                  <a:cubicBezTo>
                    <a:pt x="547" y="9398"/>
                    <a:pt x="548" y="9398"/>
                    <a:pt x="549" y="9399"/>
                  </a:cubicBezTo>
                  <a:cubicBezTo>
                    <a:pt x="553" y="9401"/>
                    <a:pt x="559" y="9404"/>
                    <a:pt x="565" y="9407"/>
                  </a:cubicBezTo>
                  <a:cubicBezTo>
                    <a:pt x="577" y="9413"/>
                    <a:pt x="590" y="9420"/>
                    <a:pt x="596" y="9423"/>
                  </a:cubicBezTo>
                  <a:cubicBezTo>
                    <a:pt x="609" y="9429"/>
                    <a:pt x="647" y="9431"/>
                    <a:pt x="682" y="9441"/>
                  </a:cubicBezTo>
                  <a:cubicBezTo>
                    <a:pt x="716" y="9450"/>
                    <a:pt x="724" y="9476"/>
                    <a:pt x="730" y="9506"/>
                  </a:cubicBezTo>
                  <a:cubicBezTo>
                    <a:pt x="735" y="9537"/>
                    <a:pt x="749" y="9544"/>
                    <a:pt x="771" y="9559"/>
                  </a:cubicBezTo>
                  <a:cubicBezTo>
                    <a:pt x="777" y="9563"/>
                    <a:pt x="784" y="9564"/>
                    <a:pt x="791" y="9564"/>
                  </a:cubicBezTo>
                  <a:cubicBezTo>
                    <a:pt x="817" y="9564"/>
                    <a:pt x="850" y="9545"/>
                    <a:pt x="888" y="9526"/>
                  </a:cubicBezTo>
                  <a:cubicBezTo>
                    <a:pt x="902" y="9519"/>
                    <a:pt x="912" y="9517"/>
                    <a:pt x="919" y="9517"/>
                  </a:cubicBezTo>
                  <a:cubicBezTo>
                    <a:pt x="931" y="9517"/>
                    <a:pt x="936" y="9522"/>
                    <a:pt x="938" y="9526"/>
                  </a:cubicBezTo>
                  <a:cubicBezTo>
                    <a:pt x="928" y="9534"/>
                    <a:pt x="918" y="9556"/>
                    <a:pt x="905" y="9578"/>
                  </a:cubicBezTo>
                  <a:cubicBezTo>
                    <a:pt x="892" y="9602"/>
                    <a:pt x="861" y="9632"/>
                    <a:pt x="818" y="9660"/>
                  </a:cubicBezTo>
                  <a:cubicBezTo>
                    <a:pt x="791" y="9678"/>
                    <a:pt x="759" y="9684"/>
                    <a:pt x="734" y="9684"/>
                  </a:cubicBezTo>
                  <a:cubicBezTo>
                    <a:pt x="719" y="9684"/>
                    <a:pt x="707" y="9682"/>
                    <a:pt x="700" y="9679"/>
                  </a:cubicBezTo>
                  <a:cubicBezTo>
                    <a:pt x="683" y="9672"/>
                    <a:pt x="639" y="9652"/>
                    <a:pt x="624" y="9645"/>
                  </a:cubicBezTo>
                  <a:cubicBezTo>
                    <a:pt x="633" y="9634"/>
                    <a:pt x="654" y="9603"/>
                    <a:pt x="654" y="9567"/>
                  </a:cubicBezTo>
                  <a:cubicBezTo>
                    <a:pt x="654" y="9561"/>
                    <a:pt x="653" y="9555"/>
                    <a:pt x="652" y="9549"/>
                  </a:cubicBezTo>
                  <a:cubicBezTo>
                    <a:pt x="640" y="9497"/>
                    <a:pt x="587" y="9470"/>
                    <a:pt x="555" y="9446"/>
                  </a:cubicBezTo>
                  <a:cubicBezTo>
                    <a:pt x="544" y="9437"/>
                    <a:pt x="541" y="9429"/>
                    <a:pt x="541" y="9420"/>
                  </a:cubicBezTo>
                  <a:cubicBezTo>
                    <a:pt x="541" y="9411"/>
                    <a:pt x="544" y="9403"/>
                    <a:pt x="547" y="9398"/>
                  </a:cubicBezTo>
                  <a:close/>
                  <a:moveTo>
                    <a:pt x="1653" y="8749"/>
                  </a:moveTo>
                  <a:cubicBezTo>
                    <a:pt x="1654" y="8750"/>
                    <a:pt x="1654" y="8750"/>
                    <a:pt x="1654" y="8750"/>
                  </a:cubicBezTo>
                  <a:cubicBezTo>
                    <a:pt x="1656" y="8749"/>
                    <a:pt x="1656" y="8749"/>
                    <a:pt x="1656" y="8749"/>
                  </a:cubicBezTo>
                  <a:cubicBezTo>
                    <a:pt x="1656" y="8748"/>
                    <a:pt x="1684" y="8730"/>
                    <a:pt x="1696" y="8702"/>
                  </a:cubicBezTo>
                  <a:cubicBezTo>
                    <a:pt x="1707" y="8675"/>
                    <a:pt x="1717" y="8667"/>
                    <a:pt x="1740" y="8659"/>
                  </a:cubicBezTo>
                  <a:cubicBezTo>
                    <a:pt x="1762" y="8651"/>
                    <a:pt x="1811" y="8648"/>
                    <a:pt x="1855" y="8624"/>
                  </a:cubicBezTo>
                  <a:cubicBezTo>
                    <a:pt x="1883" y="8609"/>
                    <a:pt x="1898" y="8596"/>
                    <a:pt x="1899" y="8581"/>
                  </a:cubicBezTo>
                  <a:cubicBezTo>
                    <a:pt x="1899" y="8572"/>
                    <a:pt x="1893" y="8565"/>
                    <a:pt x="1882" y="8560"/>
                  </a:cubicBezTo>
                  <a:cubicBezTo>
                    <a:pt x="1855" y="8545"/>
                    <a:pt x="1798" y="8550"/>
                    <a:pt x="1782" y="8543"/>
                  </a:cubicBezTo>
                  <a:cubicBezTo>
                    <a:pt x="1772" y="8539"/>
                    <a:pt x="1760" y="8524"/>
                    <a:pt x="1760" y="8512"/>
                  </a:cubicBezTo>
                  <a:cubicBezTo>
                    <a:pt x="1760" y="8506"/>
                    <a:pt x="1762" y="8501"/>
                    <a:pt x="1768" y="8497"/>
                  </a:cubicBezTo>
                  <a:cubicBezTo>
                    <a:pt x="1788" y="8482"/>
                    <a:pt x="1835" y="8485"/>
                    <a:pt x="1842" y="8462"/>
                  </a:cubicBezTo>
                  <a:cubicBezTo>
                    <a:pt x="1843" y="8458"/>
                    <a:pt x="1844" y="8452"/>
                    <a:pt x="1844" y="8445"/>
                  </a:cubicBezTo>
                  <a:cubicBezTo>
                    <a:pt x="1844" y="8421"/>
                    <a:pt x="1836" y="8381"/>
                    <a:pt x="1802" y="8380"/>
                  </a:cubicBezTo>
                  <a:cubicBezTo>
                    <a:pt x="1801" y="8380"/>
                    <a:pt x="1800" y="8380"/>
                    <a:pt x="1798" y="8380"/>
                  </a:cubicBezTo>
                  <a:cubicBezTo>
                    <a:pt x="1754" y="8385"/>
                    <a:pt x="1749" y="8423"/>
                    <a:pt x="1744" y="8439"/>
                  </a:cubicBezTo>
                  <a:cubicBezTo>
                    <a:pt x="1741" y="8454"/>
                    <a:pt x="1703" y="8468"/>
                    <a:pt x="1689" y="8484"/>
                  </a:cubicBezTo>
                  <a:cubicBezTo>
                    <a:pt x="1680" y="8495"/>
                    <a:pt x="1671" y="8505"/>
                    <a:pt x="1671" y="8517"/>
                  </a:cubicBezTo>
                  <a:cubicBezTo>
                    <a:pt x="1670" y="8522"/>
                    <a:pt x="1673" y="8527"/>
                    <a:pt x="1677" y="8532"/>
                  </a:cubicBezTo>
                  <a:cubicBezTo>
                    <a:pt x="1685" y="8542"/>
                    <a:pt x="1694" y="8558"/>
                    <a:pt x="1694" y="8572"/>
                  </a:cubicBezTo>
                  <a:cubicBezTo>
                    <a:pt x="1694" y="8576"/>
                    <a:pt x="1693" y="8581"/>
                    <a:pt x="1691" y="8585"/>
                  </a:cubicBezTo>
                  <a:cubicBezTo>
                    <a:pt x="1683" y="8602"/>
                    <a:pt x="1657" y="8610"/>
                    <a:pt x="1643" y="8647"/>
                  </a:cubicBezTo>
                  <a:cubicBezTo>
                    <a:pt x="1636" y="8665"/>
                    <a:pt x="1631" y="8688"/>
                    <a:pt x="1631" y="8707"/>
                  </a:cubicBezTo>
                  <a:cubicBezTo>
                    <a:pt x="1631" y="8727"/>
                    <a:pt x="1636" y="8745"/>
                    <a:pt x="1653" y="8749"/>
                  </a:cubicBezTo>
                  <a:close/>
                  <a:moveTo>
                    <a:pt x="1651" y="8650"/>
                  </a:moveTo>
                  <a:cubicBezTo>
                    <a:pt x="1664" y="8616"/>
                    <a:pt x="1687" y="8610"/>
                    <a:pt x="1698" y="8588"/>
                  </a:cubicBezTo>
                  <a:cubicBezTo>
                    <a:pt x="1701" y="8583"/>
                    <a:pt x="1702" y="8577"/>
                    <a:pt x="1702" y="8572"/>
                  </a:cubicBezTo>
                  <a:cubicBezTo>
                    <a:pt x="1702" y="8554"/>
                    <a:pt x="1692" y="8537"/>
                    <a:pt x="1683" y="8527"/>
                  </a:cubicBezTo>
                  <a:cubicBezTo>
                    <a:pt x="1680" y="8523"/>
                    <a:pt x="1679" y="8520"/>
                    <a:pt x="1679" y="8517"/>
                  </a:cubicBezTo>
                  <a:cubicBezTo>
                    <a:pt x="1678" y="8510"/>
                    <a:pt x="1686" y="8500"/>
                    <a:pt x="1695" y="8489"/>
                  </a:cubicBezTo>
                  <a:cubicBezTo>
                    <a:pt x="1706" y="8476"/>
                    <a:pt x="1744" y="8463"/>
                    <a:pt x="1752" y="8442"/>
                  </a:cubicBezTo>
                  <a:cubicBezTo>
                    <a:pt x="1758" y="8423"/>
                    <a:pt x="1761" y="8392"/>
                    <a:pt x="1799" y="8388"/>
                  </a:cubicBezTo>
                  <a:cubicBezTo>
                    <a:pt x="1800" y="8388"/>
                    <a:pt x="1801" y="8388"/>
                    <a:pt x="1802" y="8388"/>
                  </a:cubicBezTo>
                  <a:cubicBezTo>
                    <a:pt x="1815" y="8388"/>
                    <a:pt x="1823" y="8396"/>
                    <a:pt x="1828" y="8407"/>
                  </a:cubicBezTo>
                  <a:cubicBezTo>
                    <a:pt x="1834" y="8419"/>
                    <a:pt x="1836" y="8434"/>
                    <a:pt x="1836" y="8445"/>
                  </a:cubicBezTo>
                  <a:cubicBezTo>
                    <a:pt x="1836" y="8452"/>
                    <a:pt x="1835" y="8457"/>
                    <a:pt x="1834" y="8460"/>
                  </a:cubicBezTo>
                  <a:cubicBezTo>
                    <a:pt x="1834" y="8473"/>
                    <a:pt x="1787" y="8475"/>
                    <a:pt x="1763" y="8490"/>
                  </a:cubicBezTo>
                  <a:cubicBezTo>
                    <a:pt x="1755" y="8496"/>
                    <a:pt x="1752" y="8504"/>
                    <a:pt x="1752" y="8512"/>
                  </a:cubicBezTo>
                  <a:cubicBezTo>
                    <a:pt x="1752" y="8529"/>
                    <a:pt x="1765" y="8545"/>
                    <a:pt x="1779" y="8551"/>
                  </a:cubicBezTo>
                  <a:cubicBezTo>
                    <a:pt x="1799" y="8558"/>
                    <a:pt x="1855" y="8554"/>
                    <a:pt x="1879" y="8567"/>
                  </a:cubicBezTo>
                  <a:cubicBezTo>
                    <a:pt x="1888" y="8572"/>
                    <a:pt x="1891" y="8577"/>
                    <a:pt x="1891" y="8581"/>
                  </a:cubicBezTo>
                  <a:cubicBezTo>
                    <a:pt x="1891" y="8589"/>
                    <a:pt x="1879" y="8603"/>
                    <a:pt x="1851" y="8617"/>
                  </a:cubicBezTo>
                  <a:cubicBezTo>
                    <a:pt x="1808" y="8640"/>
                    <a:pt x="1761" y="8643"/>
                    <a:pt x="1737" y="8651"/>
                  </a:cubicBezTo>
                  <a:cubicBezTo>
                    <a:pt x="1713" y="8659"/>
                    <a:pt x="1699" y="8671"/>
                    <a:pt x="1688" y="8699"/>
                  </a:cubicBezTo>
                  <a:cubicBezTo>
                    <a:pt x="1679" y="8721"/>
                    <a:pt x="1659" y="8737"/>
                    <a:pt x="1653" y="8741"/>
                  </a:cubicBezTo>
                  <a:cubicBezTo>
                    <a:pt x="1644" y="8737"/>
                    <a:pt x="1639" y="8725"/>
                    <a:pt x="1639" y="8707"/>
                  </a:cubicBezTo>
                  <a:cubicBezTo>
                    <a:pt x="1639" y="8689"/>
                    <a:pt x="1644" y="8667"/>
                    <a:pt x="1651" y="8650"/>
                  </a:cubicBezTo>
                  <a:close/>
                  <a:moveTo>
                    <a:pt x="3423" y="7980"/>
                  </a:moveTo>
                  <a:cubicBezTo>
                    <a:pt x="3470" y="7980"/>
                    <a:pt x="3514" y="7964"/>
                    <a:pt x="3524" y="7930"/>
                  </a:cubicBezTo>
                  <a:cubicBezTo>
                    <a:pt x="3526" y="7925"/>
                    <a:pt x="3527" y="7919"/>
                    <a:pt x="3527" y="7913"/>
                  </a:cubicBezTo>
                  <a:cubicBezTo>
                    <a:pt x="3527" y="7871"/>
                    <a:pt x="3488" y="7829"/>
                    <a:pt x="3431" y="7811"/>
                  </a:cubicBezTo>
                  <a:cubicBezTo>
                    <a:pt x="3404" y="7802"/>
                    <a:pt x="3378" y="7798"/>
                    <a:pt x="3356" y="7798"/>
                  </a:cubicBezTo>
                  <a:cubicBezTo>
                    <a:pt x="3311" y="7798"/>
                    <a:pt x="3278" y="7814"/>
                    <a:pt x="3267" y="7844"/>
                  </a:cubicBezTo>
                  <a:cubicBezTo>
                    <a:pt x="3264" y="7850"/>
                    <a:pt x="3263" y="7856"/>
                    <a:pt x="3263" y="7863"/>
                  </a:cubicBezTo>
                  <a:cubicBezTo>
                    <a:pt x="3263" y="7905"/>
                    <a:pt x="3309" y="7956"/>
                    <a:pt x="3366" y="7972"/>
                  </a:cubicBezTo>
                  <a:cubicBezTo>
                    <a:pt x="3384" y="7978"/>
                    <a:pt x="3404" y="7980"/>
                    <a:pt x="3423" y="7980"/>
                  </a:cubicBezTo>
                  <a:close/>
                  <a:moveTo>
                    <a:pt x="3271" y="7863"/>
                  </a:moveTo>
                  <a:cubicBezTo>
                    <a:pt x="3271" y="7857"/>
                    <a:pt x="3272" y="7852"/>
                    <a:pt x="3274" y="7847"/>
                  </a:cubicBezTo>
                  <a:cubicBezTo>
                    <a:pt x="3284" y="7822"/>
                    <a:pt x="3313" y="7806"/>
                    <a:pt x="3356" y="7806"/>
                  </a:cubicBezTo>
                  <a:cubicBezTo>
                    <a:pt x="3377" y="7806"/>
                    <a:pt x="3402" y="7810"/>
                    <a:pt x="3429" y="7819"/>
                  </a:cubicBezTo>
                  <a:cubicBezTo>
                    <a:pt x="3483" y="7836"/>
                    <a:pt x="3519" y="7877"/>
                    <a:pt x="3519" y="7913"/>
                  </a:cubicBezTo>
                  <a:cubicBezTo>
                    <a:pt x="3519" y="7918"/>
                    <a:pt x="3518" y="7923"/>
                    <a:pt x="3516" y="7928"/>
                  </a:cubicBezTo>
                  <a:cubicBezTo>
                    <a:pt x="3509" y="7956"/>
                    <a:pt x="3469" y="7972"/>
                    <a:pt x="3423" y="7972"/>
                  </a:cubicBezTo>
                  <a:cubicBezTo>
                    <a:pt x="3405" y="7972"/>
                    <a:pt x="3386" y="7970"/>
                    <a:pt x="3368" y="7964"/>
                  </a:cubicBezTo>
                  <a:cubicBezTo>
                    <a:pt x="3314" y="7949"/>
                    <a:pt x="3271" y="7899"/>
                    <a:pt x="3271" y="7863"/>
                  </a:cubicBezTo>
                  <a:close/>
                  <a:moveTo>
                    <a:pt x="589" y="15150"/>
                  </a:moveTo>
                  <a:cubicBezTo>
                    <a:pt x="557" y="15150"/>
                    <a:pt x="524" y="15161"/>
                    <a:pt x="503" y="15176"/>
                  </a:cubicBezTo>
                  <a:cubicBezTo>
                    <a:pt x="476" y="15195"/>
                    <a:pt x="441" y="15240"/>
                    <a:pt x="441" y="15276"/>
                  </a:cubicBezTo>
                  <a:cubicBezTo>
                    <a:pt x="441" y="15288"/>
                    <a:pt x="445" y="15300"/>
                    <a:pt x="456" y="15308"/>
                  </a:cubicBezTo>
                  <a:cubicBezTo>
                    <a:pt x="472" y="15320"/>
                    <a:pt x="494" y="15326"/>
                    <a:pt x="517" y="15326"/>
                  </a:cubicBezTo>
                  <a:cubicBezTo>
                    <a:pt x="552" y="15326"/>
                    <a:pt x="590" y="15313"/>
                    <a:pt x="621" y="15285"/>
                  </a:cubicBezTo>
                  <a:cubicBezTo>
                    <a:pt x="652" y="15256"/>
                    <a:pt x="664" y="15233"/>
                    <a:pt x="664" y="15212"/>
                  </a:cubicBezTo>
                  <a:cubicBezTo>
                    <a:pt x="664" y="15198"/>
                    <a:pt x="659" y="15186"/>
                    <a:pt x="650" y="15175"/>
                  </a:cubicBezTo>
                  <a:cubicBezTo>
                    <a:pt x="636" y="15157"/>
                    <a:pt x="613" y="15150"/>
                    <a:pt x="589" y="15150"/>
                  </a:cubicBezTo>
                  <a:close/>
                  <a:moveTo>
                    <a:pt x="615" y="15279"/>
                  </a:moveTo>
                  <a:cubicBezTo>
                    <a:pt x="586" y="15306"/>
                    <a:pt x="549" y="15318"/>
                    <a:pt x="517" y="15318"/>
                  </a:cubicBezTo>
                  <a:cubicBezTo>
                    <a:pt x="495" y="15318"/>
                    <a:pt x="475" y="15312"/>
                    <a:pt x="461" y="15301"/>
                  </a:cubicBezTo>
                  <a:cubicBezTo>
                    <a:pt x="452" y="15295"/>
                    <a:pt x="449" y="15286"/>
                    <a:pt x="449" y="15276"/>
                  </a:cubicBezTo>
                  <a:cubicBezTo>
                    <a:pt x="449" y="15245"/>
                    <a:pt x="482" y="15200"/>
                    <a:pt x="508" y="15183"/>
                  </a:cubicBezTo>
                  <a:cubicBezTo>
                    <a:pt x="526" y="15169"/>
                    <a:pt x="559" y="15158"/>
                    <a:pt x="589" y="15158"/>
                  </a:cubicBezTo>
                  <a:cubicBezTo>
                    <a:pt x="612" y="15158"/>
                    <a:pt x="632" y="15165"/>
                    <a:pt x="643" y="15180"/>
                  </a:cubicBezTo>
                  <a:cubicBezTo>
                    <a:pt x="647" y="15177"/>
                    <a:pt x="647" y="15177"/>
                    <a:pt x="647" y="15177"/>
                  </a:cubicBezTo>
                  <a:cubicBezTo>
                    <a:pt x="643" y="15180"/>
                    <a:pt x="643" y="15180"/>
                    <a:pt x="643" y="15180"/>
                  </a:cubicBezTo>
                  <a:cubicBezTo>
                    <a:pt x="651" y="15190"/>
                    <a:pt x="656" y="15200"/>
                    <a:pt x="656" y="15212"/>
                  </a:cubicBezTo>
                  <a:cubicBezTo>
                    <a:pt x="656" y="15229"/>
                    <a:pt x="645" y="15251"/>
                    <a:pt x="615" y="15279"/>
                  </a:cubicBezTo>
                  <a:close/>
                  <a:moveTo>
                    <a:pt x="2029" y="15610"/>
                  </a:moveTo>
                  <a:cubicBezTo>
                    <a:pt x="2023" y="15604"/>
                    <a:pt x="2023" y="15604"/>
                    <a:pt x="2023" y="15604"/>
                  </a:cubicBezTo>
                  <a:cubicBezTo>
                    <a:pt x="1899" y="15811"/>
                    <a:pt x="1899" y="15811"/>
                    <a:pt x="1899" y="15811"/>
                  </a:cubicBezTo>
                  <a:cubicBezTo>
                    <a:pt x="1799" y="15744"/>
                    <a:pt x="1799" y="15744"/>
                    <a:pt x="1799" y="15744"/>
                  </a:cubicBezTo>
                  <a:cubicBezTo>
                    <a:pt x="1610" y="16025"/>
                    <a:pt x="1610" y="16025"/>
                    <a:pt x="1610" y="16025"/>
                  </a:cubicBezTo>
                  <a:cubicBezTo>
                    <a:pt x="1781" y="16185"/>
                    <a:pt x="1781" y="16185"/>
                    <a:pt x="1781" y="16185"/>
                  </a:cubicBezTo>
                  <a:cubicBezTo>
                    <a:pt x="1878" y="16094"/>
                    <a:pt x="1878" y="16094"/>
                    <a:pt x="1878" y="16094"/>
                  </a:cubicBezTo>
                  <a:cubicBezTo>
                    <a:pt x="1756" y="15985"/>
                    <a:pt x="1756" y="15985"/>
                    <a:pt x="1756" y="15985"/>
                  </a:cubicBezTo>
                  <a:cubicBezTo>
                    <a:pt x="1833" y="15891"/>
                    <a:pt x="1833" y="15891"/>
                    <a:pt x="1833" y="15891"/>
                  </a:cubicBezTo>
                  <a:cubicBezTo>
                    <a:pt x="1956" y="15906"/>
                    <a:pt x="1956" y="15906"/>
                    <a:pt x="1956" y="15906"/>
                  </a:cubicBezTo>
                  <a:cubicBezTo>
                    <a:pt x="2241" y="15826"/>
                    <a:pt x="2241" y="15826"/>
                    <a:pt x="2241" y="15826"/>
                  </a:cubicBezTo>
                  <a:cubicBezTo>
                    <a:pt x="2150" y="15725"/>
                    <a:pt x="2150" y="15725"/>
                    <a:pt x="2150" y="15725"/>
                  </a:cubicBezTo>
                  <a:lnTo>
                    <a:pt x="2029" y="15610"/>
                  </a:lnTo>
                  <a:close/>
                  <a:moveTo>
                    <a:pt x="1954" y="15891"/>
                  </a:moveTo>
                  <a:cubicBezTo>
                    <a:pt x="1827" y="15875"/>
                    <a:pt x="1827" y="15875"/>
                    <a:pt x="1827" y="15875"/>
                  </a:cubicBezTo>
                  <a:cubicBezTo>
                    <a:pt x="1735" y="15987"/>
                    <a:pt x="1735" y="15987"/>
                    <a:pt x="1735" y="15987"/>
                  </a:cubicBezTo>
                  <a:cubicBezTo>
                    <a:pt x="1856" y="16094"/>
                    <a:pt x="1856" y="16094"/>
                    <a:pt x="1856" y="16094"/>
                  </a:cubicBezTo>
                  <a:cubicBezTo>
                    <a:pt x="1781" y="16165"/>
                    <a:pt x="1781" y="16165"/>
                    <a:pt x="1781" y="16165"/>
                  </a:cubicBezTo>
                  <a:cubicBezTo>
                    <a:pt x="1629" y="16023"/>
                    <a:pt x="1629" y="16023"/>
                    <a:pt x="1629" y="16023"/>
                  </a:cubicBezTo>
                  <a:cubicBezTo>
                    <a:pt x="1803" y="15765"/>
                    <a:pt x="1803" y="15765"/>
                    <a:pt x="1803" y="15765"/>
                  </a:cubicBezTo>
                  <a:cubicBezTo>
                    <a:pt x="1904" y="15832"/>
                    <a:pt x="1904" y="15832"/>
                    <a:pt x="1904" y="15832"/>
                  </a:cubicBezTo>
                  <a:cubicBezTo>
                    <a:pt x="2026" y="15627"/>
                    <a:pt x="2026" y="15627"/>
                    <a:pt x="2026" y="15627"/>
                  </a:cubicBezTo>
                  <a:cubicBezTo>
                    <a:pt x="2140" y="15735"/>
                    <a:pt x="2140" y="15735"/>
                    <a:pt x="2140" y="15735"/>
                  </a:cubicBezTo>
                  <a:cubicBezTo>
                    <a:pt x="2214" y="15818"/>
                    <a:pt x="2214" y="15818"/>
                    <a:pt x="2214" y="15818"/>
                  </a:cubicBezTo>
                  <a:lnTo>
                    <a:pt x="1954" y="15891"/>
                  </a:lnTo>
                  <a:close/>
                  <a:moveTo>
                    <a:pt x="1111" y="16410"/>
                  </a:moveTo>
                  <a:cubicBezTo>
                    <a:pt x="1216" y="16244"/>
                    <a:pt x="1216" y="16244"/>
                    <a:pt x="1216" y="16244"/>
                  </a:cubicBezTo>
                  <a:cubicBezTo>
                    <a:pt x="1313" y="16299"/>
                    <a:pt x="1313" y="16299"/>
                    <a:pt x="1313" y="16299"/>
                  </a:cubicBezTo>
                  <a:cubicBezTo>
                    <a:pt x="1476" y="16091"/>
                    <a:pt x="1476" y="16091"/>
                    <a:pt x="1476" y="16091"/>
                  </a:cubicBezTo>
                  <a:cubicBezTo>
                    <a:pt x="1480" y="16085"/>
                    <a:pt x="1480" y="16085"/>
                    <a:pt x="1480" y="16085"/>
                  </a:cubicBezTo>
                  <a:cubicBezTo>
                    <a:pt x="1385" y="16003"/>
                    <a:pt x="1385" y="16003"/>
                    <a:pt x="1385" y="16003"/>
                  </a:cubicBezTo>
                  <a:cubicBezTo>
                    <a:pt x="1332" y="16071"/>
                    <a:pt x="1332" y="16071"/>
                    <a:pt x="1332" y="16071"/>
                  </a:cubicBezTo>
                  <a:cubicBezTo>
                    <a:pt x="1243" y="16030"/>
                    <a:pt x="1243" y="16030"/>
                    <a:pt x="1243" y="16030"/>
                  </a:cubicBezTo>
                  <a:cubicBezTo>
                    <a:pt x="1139" y="16154"/>
                    <a:pt x="1139" y="16154"/>
                    <a:pt x="1139" y="16154"/>
                  </a:cubicBezTo>
                  <a:cubicBezTo>
                    <a:pt x="1068" y="16104"/>
                    <a:pt x="1068" y="16104"/>
                    <a:pt x="1068" y="16104"/>
                  </a:cubicBezTo>
                  <a:cubicBezTo>
                    <a:pt x="1099" y="15948"/>
                    <a:pt x="1099" y="15948"/>
                    <a:pt x="1099" y="15948"/>
                  </a:cubicBezTo>
                  <a:cubicBezTo>
                    <a:pt x="940" y="15919"/>
                    <a:pt x="940" y="15919"/>
                    <a:pt x="940" y="15919"/>
                  </a:cubicBezTo>
                  <a:cubicBezTo>
                    <a:pt x="873" y="16179"/>
                    <a:pt x="873" y="16179"/>
                    <a:pt x="873" y="16179"/>
                  </a:cubicBezTo>
                  <a:cubicBezTo>
                    <a:pt x="916" y="16423"/>
                    <a:pt x="916" y="16423"/>
                    <a:pt x="916" y="16423"/>
                  </a:cubicBezTo>
                  <a:lnTo>
                    <a:pt x="1111" y="16410"/>
                  </a:lnTo>
                  <a:close/>
                  <a:moveTo>
                    <a:pt x="951" y="15936"/>
                  </a:moveTo>
                  <a:cubicBezTo>
                    <a:pt x="1082" y="15959"/>
                    <a:pt x="1082" y="15959"/>
                    <a:pt x="1082" y="15959"/>
                  </a:cubicBezTo>
                  <a:cubicBezTo>
                    <a:pt x="1052" y="16111"/>
                    <a:pt x="1052" y="16111"/>
                    <a:pt x="1052" y="16111"/>
                  </a:cubicBezTo>
                  <a:cubicBezTo>
                    <a:pt x="1142" y="16174"/>
                    <a:pt x="1142" y="16174"/>
                    <a:pt x="1142" y="16174"/>
                  </a:cubicBezTo>
                  <a:cubicBezTo>
                    <a:pt x="1247" y="16048"/>
                    <a:pt x="1247" y="16048"/>
                    <a:pt x="1247" y="16048"/>
                  </a:cubicBezTo>
                  <a:cubicBezTo>
                    <a:pt x="1336" y="16090"/>
                    <a:pt x="1336" y="16090"/>
                    <a:pt x="1336" y="16090"/>
                  </a:cubicBezTo>
                  <a:cubicBezTo>
                    <a:pt x="1387" y="16025"/>
                    <a:pt x="1387" y="16025"/>
                    <a:pt x="1387" y="16025"/>
                  </a:cubicBezTo>
                  <a:cubicBezTo>
                    <a:pt x="1460" y="16087"/>
                    <a:pt x="1460" y="16087"/>
                    <a:pt x="1460" y="16087"/>
                  </a:cubicBezTo>
                  <a:cubicBezTo>
                    <a:pt x="1310" y="16280"/>
                    <a:pt x="1310" y="16280"/>
                    <a:pt x="1310" y="16280"/>
                  </a:cubicBezTo>
                  <a:cubicBezTo>
                    <a:pt x="1211" y="16225"/>
                    <a:pt x="1211" y="16225"/>
                    <a:pt x="1211" y="16225"/>
                  </a:cubicBezTo>
                  <a:cubicBezTo>
                    <a:pt x="1103" y="16396"/>
                    <a:pt x="1103" y="16396"/>
                    <a:pt x="1103" y="16396"/>
                  </a:cubicBezTo>
                  <a:cubicBezTo>
                    <a:pt x="928" y="16408"/>
                    <a:pt x="928" y="16408"/>
                    <a:pt x="928" y="16408"/>
                  </a:cubicBezTo>
                  <a:cubicBezTo>
                    <a:pt x="888" y="16179"/>
                    <a:pt x="888" y="16179"/>
                    <a:pt x="888" y="16179"/>
                  </a:cubicBezTo>
                  <a:lnTo>
                    <a:pt x="951" y="15936"/>
                  </a:lnTo>
                  <a:close/>
                  <a:moveTo>
                    <a:pt x="1089" y="16250"/>
                  </a:moveTo>
                  <a:cubicBezTo>
                    <a:pt x="1018" y="16187"/>
                    <a:pt x="1018" y="16187"/>
                    <a:pt x="1018" y="16187"/>
                  </a:cubicBezTo>
                  <a:cubicBezTo>
                    <a:pt x="972" y="16328"/>
                    <a:pt x="972" y="16328"/>
                    <a:pt x="972" y="16328"/>
                  </a:cubicBezTo>
                  <a:cubicBezTo>
                    <a:pt x="1081" y="16255"/>
                    <a:pt x="1081" y="16255"/>
                    <a:pt x="1081" y="16255"/>
                  </a:cubicBezTo>
                  <a:lnTo>
                    <a:pt x="1089" y="16250"/>
                  </a:lnTo>
                  <a:close/>
                  <a:moveTo>
                    <a:pt x="999" y="16292"/>
                  </a:moveTo>
                  <a:cubicBezTo>
                    <a:pt x="1025" y="16213"/>
                    <a:pt x="1025" y="16213"/>
                    <a:pt x="1025" y="16213"/>
                  </a:cubicBezTo>
                  <a:cubicBezTo>
                    <a:pt x="1065" y="16248"/>
                    <a:pt x="1065" y="16248"/>
                    <a:pt x="1065" y="16248"/>
                  </a:cubicBezTo>
                  <a:lnTo>
                    <a:pt x="999" y="16292"/>
                  </a:lnTo>
                  <a:close/>
                  <a:moveTo>
                    <a:pt x="834" y="15897"/>
                  </a:moveTo>
                  <a:cubicBezTo>
                    <a:pt x="646" y="15854"/>
                    <a:pt x="646" y="15854"/>
                    <a:pt x="646" y="15854"/>
                  </a:cubicBezTo>
                  <a:cubicBezTo>
                    <a:pt x="512" y="15721"/>
                    <a:pt x="512" y="15721"/>
                    <a:pt x="512" y="15721"/>
                  </a:cubicBezTo>
                  <a:cubicBezTo>
                    <a:pt x="388" y="15903"/>
                    <a:pt x="388" y="15903"/>
                    <a:pt x="388" y="15903"/>
                  </a:cubicBezTo>
                  <a:cubicBezTo>
                    <a:pt x="797" y="16093"/>
                    <a:pt x="797" y="16093"/>
                    <a:pt x="797" y="16093"/>
                  </a:cubicBezTo>
                  <a:cubicBezTo>
                    <a:pt x="833" y="15904"/>
                    <a:pt x="833" y="15904"/>
                    <a:pt x="833" y="15904"/>
                  </a:cubicBezTo>
                  <a:lnTo>
                    <a:pt x="834" y="15897"/>
                  </a:lnTo>
                  <a:close/>
                  <a:moveTo>
                    <a:pt x="786" y="16072"/>
                  </a:moveTo>
                  <a:cubicBezTo>
                    <a:pt x="410" y="15897"/>
                    <a:pt x="410" y="15897"/>
                    <a:pt x="410" y="15897"/>
                  </a:cubicBezTo>
                  <a:cubicBezTo>
                    <a:pt x="514" y="15744"/>
                    <a:pt x="514" y="15744"/>
                    <a:pt x="514" y="15744"/>
                  </a:cubicBezTo>
                  <a:cubicBezTo>
                    <a:pt x="639" y="15868"/>
                    <a:pt x="639" y="15868"/>
                    <a:pt x="639" y="15868"/>
                  </a:cubicBezTo>
                  <a:cubicBezTo>
                    <a:pt x="817" y="15908"/>
                    <a:pt x="817" y="15908"/>
                    <a:pt x="817" y="15908"/>
                  </a:cubicBezTo>
                  <a:lnTo>
                    <a:pt x="786" y="16072"/>
                  </a:lnTo>
                  <a:close/>
                  <a:moveTo>
                    <a:pt x="802" y="16408"/>
                  </a:moveTo>
                  <a:cubicBezTo>
                    <a:pt x="783" y="16205"/>
                    <a:pt x="783" y="16205"/>
                    <a:pt x="783" y="16205"/>
                  </a:cubicBezTo>
                  <a:cubicBezTo>
                    <a:pt x="432" y="16028"/>
                    <a:pt x="432" y="16028"/>
                    <a:pt x="432" y="16028"/>
                  </a:cubicBezTo>
                  <a:cubicBezTo>
                    <a:pt x="418" y="16111"/>
                    <a:pt x="418" y="16111"/>
                    <a:pt x="418" y="16111"/>
                  </a:cubicBezTo>
                  <a:cubicBezTo>
                    <a:pt x="682" y="16418"/>
                    <a:pt x="682" y="16418"/>
                    <a:pt x="682" y="16418"/>
                  </a:cubicBezTo>
                  <a:cubicBezTo>
                    <a:pt x="794" y="16409"/>
                    <a:pt x="794" y="16409"/>
                    <a:pt x="794" y="16409"/>
                  </a:cubicBezTo>
                  <a:lnTo>
                    <a:pt x="802" y="16408"/>
                  </a:lnTo>
                  <a:close/>
                  <a:moveTo>
                    <a:pt x="688" y="16403"/>
                  </a:moveTo>
                  <a:cubicBezTo>
                    <a:pt x="434" y="16107"/>
                    <a:pt x="434" y="16107"/>
                    <a:pt x="434" y="16107"/>
                  </a:cubicBezTo>
                  <a:cubicBezTo>
                    <a:pt x="444" y="16050"/>
                    <a:pt x="444" y="16050"/>
                    <a:pt x="444" y="16050"/>
                  </a:cubicBezTo>
                  <a:cubicBezTo>
                    <a:pt x="769" y="16215"/>
                    <a:pt x="769" y="16215"/>
                    <a:pt x="769" y="16215"/>
                  </a:cubicBezTo>
                  <a:cubicBezTo>
                    <a:pt x="786" y="16395"/>
                    <a:pt x="786" y="16395"/>
                    <a:pt x="786" y="16395"/>
                  </a:cubicBezTo>
                  <a:lnTo>
                    <a:pt x="688" y="16403"/>
                  </a:lnTo>
                  <a:close/>
                  <a:moveTo>
                    <a:pt x="4" y="15532"/>
                  </a:moveTo>
                  <a:cubicBezTo>
                    <a:pt x="123" y="15386"/>
                    <a:pt x="123" y="15386"/>
                    <a:pt x="123" y="15386"/>
                  </a:cubicBezTo>
                  <a:cubicBezTo>
                    <a:pt x="4" y="15283"/>
                    <a:pt x="4" y="15283"/>
                    <a:pt x="4" y="15283"/>
                  </a:cubicBezTo>
                  <a:cubicBezTo>
                    <a:pt x="4" y="15264"/>
                    <a:pt x="4" y="15264"/>
                    <a:pt x="4" y="15264"/>
                  </a:cubicBezTo>
                  <a:cubicBezTo>
                    <a:pt x="144" y="15384"/>
                    <a:pt x="144" y="15384"/>
                    <a:pt x="144" y="15384"/>
                  </a:cubicBezTo>
                  <a:cubicBezTo>
                    <a:pt x="139" y="15390"/>
                    <a:pt x="139" y="15390"/>
                    <a:pt x="139" y="15390"/>
                  </a:cubicBezTo>
                  <a:cubicBezTo>
                    <a:pt x="4" y="15555"/>
                    <a:pt x="4" y="15555"/>
                    <a:pt x="4" y="15555"/>
                  </a:cubicBezTo>
                  <a:lnTo>
                    <a:pt x="4" y="15532"/>
                  </a:lnTo>
                  <a:close/>
                  <a:moveTo>
                    <a:pt x="925" y="12943"/>
                  </a:moveTo>
                  <a:cubicBezTo>
                    <a:pt x="926" y="12898"/>
                    <a:pt x="926" y="12898"/>
                    <a:pt x="926" y="12898"/>
                  </a:cubicBezTo>
                  <a:cubicBezTo>
                    <a:pt x="926" y="12889"/>
                    <a:pt x="926" y="12889"/>
                    <a:pt x="926" y="12889"/>
                  </a:cubicBezTo>
                  <a:cubicBezTo>
                    <a:pt x="709" y="12935"/>
                    <a:pt x="709" y="12935"/>
                    <a:pt x="709" y="12935"/>
                  </a:cubicBezTo>
                  <a:cubicBezTo>
                    <a:pt x="697" y="13178"/>
                    <a:pt x="697" y="13178"/>
                    <a:pt x="697" y="13178"/>
                  </a:cubicBezTo>
                  <a:cubicBezTo>
                    <a:pt x="1011" y="13175"/>
                    <a:pt x="1011" y="13175"/>
                    <a:pt x="1011" y="13175"/>
                  </a:cubicBezTo>
                  <a:cubicBezTo>
                    <a:pt x="1016" y="13072"/>
                    <a:pt x="1016" y="13072"/>
                    <a:pt x="1016" y="13072"/>
                  </a:cubicBezTo>
                  <a:cubicBezTo>
                    <a:pt x="864" y="12995"/>
                    <a:pt x="864" y="12995"/>
                    <a:pt x="864" y="12995"/>
                  </a:cubicBezTo>
                  <a:lnTo>
                    <a:pt x="925" y="12943"/>
                  </a:lnTo>
                  <a:close/>
                  <a:moveTo>
                    <a:pt x="1000" y="13081"/>
                  </a:moveTo>
                  <a:cubicBezTo>
                    <a:pt x="997" y="13160"/>
                    <a:pt x="997" y="13160"/>
                    <a:pt x="997" y="13160"/>
                  </a:cubicBezTo>
                  <a:cubicBezTo>
                    <a:pt x="713" y="13163"/>
                    <a:pt x="713" y="13163"/>
                    <a:pt x="713" y="13163"/>
                  </a:cubicBezTo>
                  <a:cubicBezTo>
                    <a:pt x="723" y="12947"/>
                    <a:pt x="723" y="12947"/>
                    <a:pt x="723" y="12947"/>
                  </a:cubicBezTo>
                  <a:cubicBezTo>
                    <a:pt x="911" y="12907"/>
                    <a:pt x="911" y="12907"/>
                    <a:pt x="911" y="12907"/>
                  </a:cubicBezTo>
                  <a:cubicBezTo>
                    <a:pt x="910" y="12936"/>
                    <a:pt x="910" y="12936"/>
                    <a:pt x="910" y="12936"/>
                  </a:cubicBezTo>
                  <a:cubicBezTo>
                    <a:pt x="838" y="12998"/>
                    <a:pt x="838" y="12998"/>
                    <a:pt x="838" y="12998"/>
                  </a:cubicBezTo>
                  <a:lnTo>
                    <a:pt x="1000" y="13081"/>
                  </a:lnTo>
                  <a:close/>
                  <a:moveTo>
                    <a:pt x="814" y="13761"/>
                  </a:moveTo>
                  <a:cubicBezTo>
                    <a:pt x="908" y="13604"/>
                    <a:pt x="908" y="13604"/>
                    <a:pt x="908" y="13604"/>
                  </a:cubicBezTo>
                  <a:cubicBezTo>
                    <a:pt x="831" y="13562"/>
                    <a:pt x="831" y="13562"/>
                    <a:pt x="831" y="13562"/>
                  </a:cubicBezTo>
                  <a:cubicBezTo>
                    <a:pt x="833" y="13551"/>
                    <a:pt x="833" y="13551"/>
                    <a:pt x="833" y="13551"/>
                  </a:cubicBezTo>
                  <a:cubicBezTo>
                    <a:pt x="981" y="13503"/>
                    <a:pt x="981" y="13503"/>
                    <a:pt x="981" y="13503"/>
                  </a:cubicBezTo>
                  <a:cubicBezTo>
                    <a:pt x="1048" y="13352"/>
                    <a:pt x="1048" y="13352"/>
                    <a:pt x="1048" y="13352"/>
                  </a:cubicBezTo>
                  <a:cubicBezTo>
                    <a:pt x="1050" y="13347"/>
                    <a:pt x="1050" y="13347"/>
                    <a:pt x="1050" y="13347"/>
                  </a:cubicBezTo>
                  <a:cubicBezTo>
                    <a:pt x="987" y="13275"/>
                    <a:pt x="987" y="13275"/>
                    <a:pt x="987" y="13275"/>
                  </a:cubicBezTo>
                  <a:cubicBezTo>
                    <a:pt x="707" y="13279"/>
                    <a:pt x="707" y="13279"/>
                    <a:pt x="707" y="13279"/>
                  </a:cubicBezTo>
                  <a:cubicBezTo>
                    <a:pt x="692" y="13388"/>
                    <a:pt x="692" y="13388"/>
                    <a:pt x="692" y="13388"/>
                  </a:cubicBezTo>
                  <a:cubicBezTo>
                    <a:pt x="845" y="13393"/>
                    <a:pt x="845" y="13393"/>
                    <a:pt x="845" y="13393"/>
                  </a:cubicBezTo>
                  <a:cubicBezTo>
                    <a:pt x="839" y="13466"/>
                    <a:pt x="839" y="13466"/>
                    <a:pt x="839" y="13466"/>
                  </a:cubicBezTo>
                  <a:cubicBezTo>
                    <a:pt x="718" y="13435"/>
                    <a:pt x="718" y="13435"/>
                    <a:pt x="718" y="13435"/>
                  </a:cubicBezTo>
                  <a:cubicBezTo>
                    <a:pt x="657" y="13583"/>
                    <a:pt x="657" y="13583"/>
                    <a:pt x="657" y="13583"/>
                  </a:cubicBezTo>
                  <a:cubicBezTo>
                    <a:pt x="683" y="13679"/>
                    <a:pt x="683" y="13679"/>
                    <a:pt x="683" y="13679"/>
                  </a:cubicBezTo>
                  <a:lnTo>
                    <a:pt x="814" y="13761"/>
                  </a:lnTo>
                  <a:close/>
                  <a:moveTo>
                    <a:pt x="727" y="13453"/>
                  </a:moveTo>
                  <a:cubicBezTo>
                    <a:pt x="852" y="13484"/>
                    <a:pt x="852" y="13484"/>
                    <a:pt x="852" y="13484"/>
                  </a:cubicBezTo>
                  <a:cubicBezTo>
                    <a:pt x="861" y="13379"/>
                    <a:pt x="861" y="13379"/>
                    <a:pt x="861" y="13379"/>
                  </a:cubicBezTo>
                  <a:cubicBezTo>
                    <a:pt x="709" y="13374"/>
                    <a:pt x="709" y="13374"/>
                    <a:pt x="709" y="13374"/>
                  </a:cubicBezTo>
                  <a:cubicBezTo>
                    <a:pt x="720" y="13294"/>
                    <a:pt x="720" y="13294"/>
                    <a:pt x="720" y="13294"/>
                  </a:cubicBezTo>
                  <a:cubicBezTo>
                    <a:pt x="980" y="13290"/>
                    <a:pt x="980" y="13290"/>
                    <a:pt x="980" y="13290"/>
                  </a:cubicBezTo>
                  <a:cubicBezTo>
                    <a:pt x="1033" y="13350"/>
                    <a:pt x="1033" y="13350"/>
                    <a:pt x="1033" y="13350"/>
                  </a:cubicBezTo>
                  <a:cubicBezTo>
                    <a:pt x="970" y="13491"/>
                    <a:pt x="970" y="13491"/>
                    <a:pt x="970" y="13491"/>
                  </a:cubicBezTo>
                  <a:cubicBezTo>
                    <a:pt x="821" y="13540"/>
                    <a:pt x="821" y="13540"/>
                    <a:pt x="821" y="13540"/>
                  </a:cubicBezTo>
                  <a:cubicBezTo>
                    <a:pt x="814" y="13570"/>
                    <a:pt x="814" y="13570"/>
                    <a:pt x="814" y="13570"/>
                  </a:cubicBezTo>
                  <a:cubicBezTo>
                    <a:pt x="887" y="13609"/>
                    <a:pt x="887" y="13609"/>
                    <a:pt x="887" y="13609"/>
                  </a:cubicBezTo>
                  <a:cubicBezTo>
                    <a:pt x="809" y="13740"/>
                    <a:pt x="809" y="13740"/>
                    <a:pt x="809" y="13740"/>
                  </a:cubicBezTo>
                  <a:cubicBezTo>
                    <a:pt x="695" y="13669"/>
                    <a:pt x="695" y="13669"/>
                    <a:pt x="695" y="13669"/>
                  </a:cubicBezTo>
                  <a:cubicBezTo>
                    <a:pt x="673" y="13585"/>
                    <a:pt x="673" y="13585"/>
                    <a:pt x="673" y="13585"/>
                  </a:cubicBezTo>
                  <a:lnTo>
                    <a:pt x="727" y="13453"/>
                  </a:lnTo>
                  <a:close/>
                  <a:moveTo>
                    <a:pt x="73" y="14159"/>
                  </a:moveTo>
                  <a:cubicBezTo>
                    <a:pt x="182" y="14231"/>
                    <a:pt x="182" y="14231"/>
                    <a:pt x="182" y="14231"/>
                  </a:cubicBezTo>
                  <a:cubicBezTo>
                    <a:pt x="217" y="14206"/>
                    <a:pt x="217" y="14206"/>
                    <a:pt x="217" y="14206"/>
                  </a:cubicBezTo>
                  <a:cubicBezTo>
                    <a:pt x="157" y="14123"/>
                    <a:pt x="157" y="14123"/>
                    <a:pt x="157" y="14123"/>
                  </a:cubicBezTo>
                  <a:cubicBezTo>
                    <a:pt x="231" y="14065"/>
                    <a:pt x="231" y="14065"/>
                    <a:pt x="231" y="14065"/>
                  </a:cubicBezTo>
                  <a:cubicBezTo>
                    <a:pt x="352" y="14130"/>
                    <a:pt x="352" y="14130"/>
                    <a:pt x="352" y="14130"/>
                  </a:cubicBezTo>
                  <a:cubicBezTo>
                    <a:pt x="411" y="14093"/>
                    <a:pt x="411" y="14093"/>
                    <a:pt x="411" y="14093"/>
                  </a:cubicBezTo>
                  <a:cubicBezTo>
                    <a:pt x="422" y="14086"/>
                    <a:pt x="422" y="14086"/>
                    <a:pt x="422" y="14086"/>
                  </a:cubicBezTo>
                  <a:cubicBezTo>
                    <a:pt x="161" y="13925"/>
                    <a:pt x="161" y="13925"/>
                    <a:pt x="161" y="13925"/>
                  </a:cubicBezTo>
                  <a:lnTo>
                    <a:pt x="73" y="14159"/>
                  </a:lnTo>
                  <a:close/>
                  <a:moveTo>
                    <a:pt x="394" y="14086"/>
                  </a:moveTo>
                  <a:cubicBezTo>
                    <a:pt x="351" y="14113"/>
                    <a:pt x="351" y="14113"/>
                    <a:pt x="351" y="14113"/>
                  </a:cubicBezTo>
                  <a:cubicBezTo>
                    <a:pt x="230" y="14048"/>
                    <a:pt x="230" y="14048"/>
                    <a:pt x="230" y="14048"/>
                  </a:cubicBezTo>
                  <a:cubicBezTo>
                    <a:pt x="137" y="14120"/>
                    <a:pt x="137" y="14120"/>
                    <a:pt x="137" y="14120"/>
                  </a:cubicBezTo>
                  <a:cubicBezTo>
                    <a:pt x="196" y="14203"/>
                    <a:pt x="196" y="14203"/>
                    <a:pt x="196" y="14203"/>
                  </a:cubicBezTo>
                  <a:cubicBezTo>
                    <a:pt x="182" y="14213"/>
                    <a:pt x="182" y="14213"/>
                    <a:pt x="182" y="14213"/>
                  </a:cubicBezTo>
                  <a:cubicBezTo>
                    <a:pt x="91" y="14154"/>
                    <a:pt x="91" y="14154"/>
                    <a:pt x="91" y="14154"/>
                  </a:cubicBezTo>
                  <a:cubicBezTo>
                    <a:pt x="169" y="13947"/>
                    <a:pt x="169" y="13947"/>
                    <a:pt x="169" y="13947"/>
                  </a:cubicBezTo>
                  <a:lnTo>
                    <a:pt x="394" y="14086"/>
                  </a:lnTo>
                  <a:close/>
                  <a:moveTo>
                    <a:pt x="601" y="11800"/>
                  </a:moveTo>
                  <a:cubicBezTo>
                    <a:pt x="598" y="11795"/>
                    <a:pt x="598" y="11795"/>
                    <a:pt x="598" y="11795"/>
                  </a:cubicBezTo>
                  <a:cubicBezTo>
                    <a:pt x="165" y="12002"/>
                    <a:pt x="165" y="12002"/>
                    <a:pt x="165" y="12002"/>
                  </a:cubicBezTo>
                  <a:cubicBezTo>
                    <a:pt x="140" y="12104"/>
                    <a:pt x="140" y="12104"/>
                    <a:pt x="140" y="12104"/>
                  </a:cubicBezTo>
                  <a:cubicBezTo>
                    <a:pt x="255" y="12153"/>
                    <a:pt x="255" y="12153"/>
                    <a:pt x="255" y="12153"/>
                  </a:cubicBezTo>
                  <a:cubicBezTo>
                    <a:pt x="274" y="12058"/>
                    <a:pt x="274" y="12058"/>
                    <a:pt x="274" y="12058"/>
                  </a:cubicBezTo>
                  <a:cubicBezTo>
                    <a:pt x="656" y="11878"/>
                    <a:pt x="656" y="11878"/>
                    <a:pt x="656" y="11878"/>
                  </a:cubicBezTo>
                  <a:lnTo>
                    <a:pt x="601" y="11800"/>
                  </a:lnTo>
                  <a:close/>
                  <a:moveTo>
                    <a:pt x="261" y="12047"/>
                  </a:moveTo>
                  <a:cubicBezTo>
                    <a:pt x="244" y="12132"/>
                    <a:pt x="244" y="12132"/>
                    <a:pt x="244" y="12132"/>
                  </a:cubicBezTo>
                  <a:cubicBezTo>
                    <a:pt x="158" y="12096"/>
                    <a:pt x="158" y="12096"/>
                    <a:pt x="158" y="12096"/>
                  </a:cubicBezTo>
                  <a:cubicBezTo>
                    <a:pt x="178" y="12012"/>
                    <a:pt x="178" y="12012"/>
                    <a:pt x="178" y="12012"/>
                  </a:cubicBezTo>
                  <a:cubicBezTo>
                    <a:pt x="593" y="11814"/>
                    <a:pt x="593" y="11814"/>
                    <a:pt x="593" y="11814"/>
                  </a:cubicBezTo>
                  <a:cubicBezTo>
                    <a:pt x="633" y="11872"/>
                    <a:pt x="633" y="11872"/>
                    <a:pt x="633" y="11872"/>
                  </a:cubicBezTo>
                  <a:lnTo>
                    <a:pt x="261" y="12047"/>
                  </a:lnTo>
                  <a:close/>
                  <a:moveTo>
                    <a:pt x="4" y="11977"/>
                  </a:moveTo>
                  <a:cubicBezTo>
                    <a:pt x="37" y="11988"/>
                    <a:pt x="37" y="11988"/>
                    <a:pt x="37" y="11988"/>
                  </a:cubicBezTo>
                  <a:cubicBezTo>
                    <a:pt x="4" y="11970"/>
                    <a:pt x="4" y="11970"/>
                    <a:pt x="4" y="11970"/>
                  </a:cubicBezTo>
                  <a:cubicBezTo>
                    <a:pt x="4" y="11953"/>
                    <a:pt x="4" y="11953"/>
                    <a:pt x="4" y="11953"/>
                  </a:cubicBezTo>
                  <a:cubicBezTo>
                    <a:pt x="75" y="11992"/>
                    <a:pt x="75" y="11992"/>
                    <a:pt x="75" y="11992"/>
                  </a:cubicBezTo>
                  <a:cubicBezTo>
                    <a:pt x="61" y="11998"/>
                    <a:pt x="61" y="11998"/>
                    <a:pt x="61" y="11998"/>
                  </a:cubicBezTo>
                  <a:cubicBezTo>
                    <a:pt x="46" y="12004"/>
                    <a:pt x="46" y="12004"/>
                    <a:pt x="46" y="12004"/>
                  </a:cubicBezTo>
                  <a:cubicBezTo>
                    <a:pt x="43" y="12005"/>
                    <a:pt x="43" y="12005"/>
                    <a:pt x="43" y="12005"/>
                  </a:cubicBezTo>
                  <a:cubicBezTo>
                    <a:pt x="4" y="11993"/>
                    <a:pt x="4" y="11993"/>
                    <a:pt x="4" y="11993"/>
                  </a:cubicBezTo>
                  <a:lnTo>
                    <a:pt x="4" y="11977"/>
                  </a:lnTo>
                  <a:close/>
                  <a:moveTo>
                    <a:pt x="4" y="12044"/>
                  </a:moveTo>
                  <a:cubicBezTo>
                    <a:pt x="20" y="12035"/>
                    <a:pt x="20" y="12035"/>
                    <a:pt x="20" y="12035"/>
                  </a:cubicBezTo>
                  <a:cubicBezTo>
                    <a:pt x="4" y="12031"/>
                    <a:pt x="4" y="12031"/>
                    <a:pt x="4" y="12031"/>
                  </a:cubicBezTo>
                  <a:cubicBezTo>
                    <a:pt x="4" y="12015"/>
                    <a:pt x="4" y="12015"/>
                    <a:pt x="4" y="12015"/>
                  </a:cubicBezTo>
                  <a:cubicBezTo>
                    <a:pt x="56" y="12029"/>
                    <a:pt x="56" y="12029"/>
                    <a:pt x="56" y="12029"/>
                  </a:cubicBezTo>
                  <a:cubicBezTo>
                    <a:pt x="42" y="12038"/>
                    <a:pt x="42" y="12038"/>
                    <a:pt x="42" y="12038"/>
                  </a:cubicBezTo>
                  <a:cubicBezTo>
                    <a:pt x="4" y="12062"/>
                    <a:pt x="4" y="12062"/>
                    <a:pt x="4" y="12062"/>
                  </a:cubicBezTo>
                  <a:lnTo>
                    <a:pt x="4" y="12044"/>
                  </a:lnTo>
                  <a:close/>
                  <a:moveTo>
                    <a:pt x="10" y="11820"/>
                  </a:moveTo>
                  <a:cubicBezTo>
                    <a:pt x="130" y="11741"/>
                    <a:pt x="130" y="11741"/>
                    <a:pt x="130" y="11741"/>
                  </a:cubicBezTo>
                  <a:cubicBezTo>
                    <a:pt x="105" y="11705"/>
                    <a:pt x="105" y="11705"/>
                    <a:pt x="105" y="11705"/>
                  </a:cubicBezTo>
                  <a:cubicBezTo>
                    <a:pt x="270" y="11592"/>
                    <a:pt x="270" y="11592"/>
                    <a:pt x="270" y="11592"/>
                  </a:cubicBezTo>
                  <a:cubicBezTo>
                    <a:pt x="312" y="11647"/>
                    <a:pt x="312" y="11647"/>
                    <a:pt x="312" y="11647"/>
                  </a:cubicBezTo>
                  <a:cubicBezTo>
                    <a:pt x="263" y="11690"/>
                    <a:pt x="263" y="11690"/>
                    <a:pt x="263" y="11690"/>
                  </a:cubicBezTo>
                  <a:cubicBezTo>
                    <a:pt x="319" y="11754"/>
                    <a:pt x="319" y="11754"/>
                    <a:pt x="319" y="11754"/>
                  </a:cubicBezTo>
                  <a:cubicBezTo>
                    <a:pt x="437" y="11700"/>
                    <a:pt x="437" y="11700"/>
                    <a:pt x="437" y="11700"/>
                  </a:cubicBezTo>
                  <a:cubicBezTo>
                    <a:pt x="467" y="11745"/>
                    <a:pt x="467" y="11745"/>
                    <a:pt x="467" y="11745"/>
                  </a:cubicBezTo>
                  <a:cubicBezTo>
                    <a:pt x="531" y="11726"/>
                    <a:pt x="531" y="11726"/>
                    <a:pt x="531" y="11726"/>
                  </a:cubicBezTo>
                  <a:cubicBezTo>
                    <a:pt x="336" y="11461"/>
                    <a:pt x="336" y="11461"/>
                    <a:pt x="336" y="11461"/>
                  </a:cubicBezTo>
                  <a:cubicBezTo>
                    <a:pt x="4" y="11683"/>
                    <a:pt x="4" y="11683"/>
                    <a:pt x="4" y="11683"/>
                  </a:cubicBezTo>
                  <a:cubicBezTo>
                    <a:pt x="4" y="11665"/>
                    <a:pt x="4" y="11665"/>
                    <a:pt x="4" y="11665"/>
                  </a:cubicBezTo>
                  <a:cubicBezTo>
                    <a:pt x="340" y="11441"/>
                    <a:pt x="340" y="11441"/>
                    <a:pt x="340" y="11441"/>
                  </a:cubicBezTo>
                  <a:cubicBezTo>
                    <a:pt x="555" y="11734"/>
                    <a:pt x="555" y="11734"/>
                    <a:pt x="555" y="11734"/>
                  </a:cubicBezTo>
                  <a:cubicBezTo>
                    <a:pt x="545" y="11737"/>
                    <a:pt x="545" y="11737"/>
                    <a:pt x="545" y="11737"/>
                  </a:cubicBezTo>
                  <a:cubicBezTo>
                    <a:pt x="461" y="11762"/>
                    <a:pt x="461" y="11762"/>
                    <a:pt x="461" y="11762"/>
                  </a:cubicBezTo>
                  <a:cubicBezTo>
                    <a:pt x="432" y="11719"/>
                    <a:pt x="432" y="11719"/>
                    <a:pt x="432" y="11719"/>
                  </a:cubicBezTo>
                  <a:cubicBezTo>
                    <a:pt x="315" y="11772"/>
                    <a:pt x="315" y="11772"/>
                    <a:pt x="315" y="11772"/>
                  </a:cubicBezTo>
                  <a:cubicBezTo>
                    <a:pt x="242" y="11689"/>
                    <a:pt x="242" y="11689"/>
                    <a:pt x="242" y="11689"/>
                  </a:cubicBezTo>
                  <a:cubicBezTo>
                    <a:pt x="292" y="11645"/>
                    <a:pt x="292" y="11645"/>
                    <a:pt x="292" y="11645"/>
                  </a:cubicBezTo>
                  <a:cubicBezTo>
                    <a:pt x="267" y="11612"/>
                    <a:pt x="267" y="11612"/>
                    <a:pt x="267" y="11612"/>
                  </a:cubicBezTo>
                  <a:cubicBezTo>
                    <a:pt x="126" y="11709"/>
                    <a:pt x="126" y="11709"/>
                    <a:pt x="126" y="11709"/>
                  </a:cubicBezTo>
                  <a:cubicBezTo>
                    <a:pt x="151" y="11744"/>
                    <a:pt x="151" y="11744"/>
                    <a:pt x="151" y="11744"/>
                  </a:cubicBezTo>
                  <a:cubicBezTo>
                    <a:pt x="11" y="11837"/>
                    <a:pt x="11" y="11837"/>
                    <a:pt x="11" y="11837"/>
                  </a:cubicBezTo>
                  <a:cubicBezTo>
                    <a:pt x="4" y="11834"/>
                    <a:pt x="4" y="11834"/>
                    <a:pt x="4" y="11834"/>
                  </a:cubicBezTo>
                  <a:cubicBezTo>
                    <a:pt x="4" y="11817"/>
                    <a:pt x="4" y="11817"/>
                    <a:pt x="4" y="11817"/>
                  </a:cubicBezTo>
                  <a:lnTo>
                    <a:pt x="10" y="11820"/>
                  </a:lnTo>
                  <a:close/>
                  <a:moveTo>
                    <a:pt x="646" y="11644"/>
                  </a:moveTo>
                  <a:cubicBezTo>
                    <a:pt x="649" y="11652"/>
                    <a:pt x="649" y="11652"/>
                    <a:pt x="649" y="11652"/>
                  </a:cubicBezTo>
                  <a:cubicBezTo>
                    <a:pt x="747" y="11583"/>
                    <a:pt x="747" y="11583"/>
                    <a:pt x="747" y="11583"/>
                  </a:cubicBezTo>
                  <a:cubicBezTo>
                    <a:pt x="675" y="11347"/>
                    <a:pt x="675" y="11347"/>
                    <a:pt x="675" y="11347"/>
                  </a:cubicBezTo>
                  <a:cubicBezTo>
                    <a:pt x="540" y="11450"/>
                    <a:pt x="540" y="11450"/>
                    <a:pt x="540" y="11450"/>
                  </a:cubicBezTo>
                  <a:cubicBezTo>
                    <a:pt x="584" y="11504"/>
                    <a:pt x="584" y="11504"/>
                    <a:pt x="584" y="11504"/>
                  </a:cubicBezTo>
                  <a:cubicBezTo>
                    <a:pt x="631" y="11508"/>
                    <a:pt x="631" y="11508"/>
                    <a:pt x="631" y="11508"/>
                  </a:cubicBezTo>
                  <a:cubicBezTo>
                    <a:pt x="614" y="11569"/>
                    <a:pt x="614" y="11569"/>
                    <a:pt x="614" y="11569"/>
                  </a:cubicBezTo>
                  <a:lnTo>
                    <a:pt x="646" y="11644"/>
                  </a:lnTo>
                  <a:close/>
                  <a:moveTo>
                    <a:pt x="591" y="11490"/>
                  </a:moveTo>
                  <a:cubicBezTo>
                    <a:pt x="561" y="11453"/>
                    <a:pt x="561" y="11453"/>
                    <a:pt x="561" y="11453"/>
                  </a:cubicBezTo>
                  <a:cubicBezTo>
                    <a:pt x="667" y="11372"/>
                    <a:pt x="667" y="11372"/>
                    <a:pt x="667" y="11372"/>
                  </a:cubicBezTo>
                  <a:cubicBezTo>
                    <a:pt x="730" y="11577"/>
                    <a:pt x="730" y="11577"/>
                    <a:pt x="730" y="11577"/>
                  </a:cubicBezTo>
                  <a:cubicBezTo>
                    <a:pt x="656" y="11630"/>
                    <a:pt x="656" y="11630"/>
                    <a:pt x="656" y="11630"/>
                  </a:cubicBezTo>
                  <a:cubicBezTo>
                    <a:pt x="630" y="11568"/>
                    <a:pt x="630" y="11568"/>
                    <a:pt x="630" y="11568"/>
                  </a:cubicBezTo>
                  <a:cubicBezTo>
                    <a:pt x="650" y="11494"/>
                    <a:pt x="650" y="11494"/>
                    <a:pt x="650" y="11494"/>
                  </a:cubicBezTo>
                  <a:lnTo>
                    <a:pt x="591" y="11490"/>
                  </a:lnTo>
                  <a:close/>
                  <a:moveTo>
                    <a:pt x="4" y="11481"/>
                  </a:moveTo>
                  <a:cubicBezTo>
                    <a:pt x="22" y="11469"/>
                    <a:pt x="22" y="11469"/>
                    <a:pt x="22" y="11469"/>
                  </a:cubicBezTo>
                  <a:cubicBezTo>
                    <a:pt x="4" y="11425"/>
                    <a:pt x="4" y="11425"/>
                    <a:pt x="4" y="11425"/>
                  </a:cubicBezTo>
                  <a:cubicBezTo>
                    <a:pt x="4" y="11402"/>
                    <a:pt x="4" y="11402"/>
                    <a:pt x="4" y="11402"/>
                  </a:cubicBezTo>
                  <a:cubicBezTo>
                    <a:pt x="10" y="11399"/>
                    <a:pt x="10" y="11399"/>
                    <a:pt x="10" y="11399"/>
                  </a:cubicBezTo>
                  <a:cubicBezTo>
                    <a:pt x="13" y="11406"/>
                    <a:pt x="13" y="11406"/>
                    <a:pt x="13" y="11406"/>
                  </a:cubicBezTo>
                  <a:cubicBezTo>
                    <a:pt x="40" y="11475"/>
                    <a:pt x="40" y="11475"/>
                    <a:pt x="40" y="11475"/>
                  </a:cubicBezTo>
                  <a:cubicBezTo>
                    <a:pt x="4" y="11498"/>
                    <a:pt x="4" y="11498"/>
                    <a:pt x="4" y="11498"/>
                  </a:cubicBezTo>
                  <a:lnTo>
                    <a:pt x="4" y="11481"/>
                  </a:lnTo>
                  <a:close/>
                  <a:moveTo>
                    <a:pt x="472" y="11262"/>
                  </a:moveTo>
                  <a:cubicBezTo>
                    <a:pt x="444" y="11233"/>
                    <a:pt x="444" y="11233"/>
                    <a:pt x="444" y="11233"/>
                  </a:cubicBezTo>
                  <a:cubicBezTo>
                    <a:pt x="552" y="11167"/>
                    <a:pt x="552" y="11167"/>
                    <a:pt x="552" y="11167"/>
                  </a:cubicBezTo>
                  <a:cubicBezTo>
                    <a:pt x="510" y="11113"/>
                    <a:pt x="510" y="11113"/>
                    <a:pt x="510" y="11113"/>
                  </a:cubicBezTo>
                  <a:cubicBezTo>
                    <a:pt x="447" y="11139"/>
                    <a:pt x="447" y="11139"/>
                    <a:pt x="447" y="11139"/>
                  </a:cubicBezTo>
                  <a:cubicBezTo>
                    <a:pt x="386" y="11044"/>
                    <a:pt x="386" y="11044"/>
                    <a:pt x="386" y="11044"/>
                  </a:cubicBezTo>
                  <a:cubicBezTo>
                    <a:pt x="337" y="11067"/>
                    <a:pt x="337" y="11067"/>
                    <a:pt x="337" y="11067"/>
                  </a:cubicBezTo>
                  <a:cubicBezTo>
                    <a:pt x="268" y="10959"/>
                    <a:pt x="268" y="10959"/>
                    <a:pt x="268" y="10959"/>
                  </a:cubicBezTo>
                  <a:cubicBezTo>
                    <a:pt x="172" y="10988"/>
                    <a:pt x="172" y="10988"/>
                    <a:pt x="172" y="10988"/>
                  </a:cubicBezTo>
                  <a:cubicBezTo>
                    <a:pt x="458" y="11385"/>
                    <a:pt x="458" y="11385"/>
                    <a:pt x="458" y="11385"/>
                  </a:cubicBezTo>
                  <a:cubicBezTo>
                    <a:pt x="640" y="11257"/>
                    <a:pt x="640" y="11257"/>
                    <a:pt x="640" y="11257"/>
                  </a:cubicBezTo>
                  <a:cubicBezTo>
                    <a:pt x="648" y="11251"/>
                    <a:pt x="648" y="11251"/>
                    <a:pt x="648" y="11251"/>
                  </a:cubicBezTo>
                  <a:cubicBezTo>
                    <a:pt x="583" y="11202"/>
                    <a:pt x="583" y="11202"/>
                    <a:pt x="583" y="11202"/>
                  </a:cubicBezTo>
                  <a:lnTo>
                    <a:pt x="472" y="11262"/>
                  </a:lnTo>
                  <a:close/>
                  <a:moveTo>
                    <a:pt x="461" y="11365"/>
                  </a:moveTo>
                  <a:cubicBezTo>
                    <a:pt x="196" y="10996"/>
                    <a:pt x="196" y="10996"/>
                    <a:pt x="196" y="10996"/>
                  </a:cubicBezTo>
                  <a:cubicBezTo>
                    <a:pt x="262" y="10977"/>
                    <a:pt x="262" y="10977"/>
                    <a:pt x="262" y="10977"/>
                  </a:cubicBezTo>
                  <a:cubicBezTo>
                    <a:pt x="331" y="11086"/>
                    <a:pt x="331" y="11086"/>
                    <a:pt x="331" y="11086"/>
                  </a:cubicBezTo>
                  <a:cubicBezTo>
                    <a:pt x="381" y="11063"/>
                    <a:pt x="381" y="11063"/>
                    <a:pt x="381" y="11063"/>
                  </a:cubicBezTo>
                  <a:cubicBezTo>
                    <a:pt x="441" y="11157"/>
                    <a:pt x="441" y="11157"/>
                    <a:pt x="441" y="11157"/>
                  </a:cubicBezTo>
                  <a:cubicBezTo>
                    <a:pt x="505" y="11131"/>
                    <a:pt x="505" y="11131"/>
                    <a:pt x="505" y="11131"/>
                  </a:cubicBezTo>
                  <a:cubicBezTo>
                    <a:pt x="531" y="11163"/>
                    <a:pt x="531" y="11163"/>
                    <a:pt x="531" y="11163"/>
                  </a:cubicBezTo>
                  <a:cubicBezTo>
                    <a:pt x="420" y="11231"/>
                    <a:pt x="420" y="11231"/>
                    <a:pt x="420" y="11231"/>
                  </a:cubicBezTo>
                  <a:cubicBezTo>
                    <a:pt x="470" y="11280"/>
                    <a:pt x="470" y="11280"/>
                    <a:pt x="470" y="11280"/>
                  </a:cubicBezTo>
                  <a:cubicBezTo>
                    <a:pt x="582" y="11219"/>
                    <a:pt x="582" y="11219"/>
                    <a:pt x="582" y="11219"/>
                  </a:cubicBezTo>
                  <a:cubicBezTo>
                    <a:pt x="623" y="11250"/>
                    <a:pt x="623" y="11250"/>
                    <a:pt x="623" y="11250"/>
                  </a:cubicBezTo>
                  <a:lnTo>
                    <a:pt x="461" y="11365"/>
                  </a:lnTo>
                  <a:close/>
                  <a:moveTo>
                    <a:pt x="594" y="10761"/>
                  </a:moveTo>
                  <a:cubicBezTo>
                    <a:pt x="602" y="10758"/>
                    <a:pt x="602" y="10758"/>
                    <a:pt x="602" y="10758"/>
                  </a:cubicBezTo>
                  <a:cubicBezTo>
                    <a:pt x="482" y="10513"/>
                    <a:pt x="482" y="10513"/>
                    <a:pt x="482" y="10513"/>
                  </a:cubicBezTo>
                  <a:cubicBezTo>
                    <a:pt x="408" y="10536"/>
                    <a:pt x="408" y="10536"/>
                    <a:pt x="408" y="10536"/>
                  </a:cubicBezTo>
                  <a:cubicBezTo>
                    <a:pt x="501" y="10799"/>
                    <a:pt x="501" y="10799"/>
                    <a:pt x="501" y="10799"/>
                  </a:cubicBezTo>
                  <a:lnTo>
                    <a:pt x="594" y="10761"/>
                  </a:lnTo>
                  <a:close/>
                  <a:moveTo>
                    <a:pt x="474" y="10531"/>
                  </a:moveTo>
                  <a:cubicBezTo>
                    <a:pt x="581" y="10751"/>
                    <a:pt x="581" y="10751"/>
                    <a:pt x="581" y="10751"/>
                  </a:cubicBezTo>
                  <a:cubicBezTo>
                    <a:pt x="509" y="10779"/>
                    <a:pt x="509" y="10779"/>
                    <a:pt x="509" y="10779"/>
                  </a:cubicBezTo>
                  <a:cubicBezTo>
                    <a:pt x="427" y="10546"/>
                    <a:pt x="427" y="10546"/>
                    <a:pt x="427" y="10546"/>
                  </a:cubicBezTo>
                  <a:lnTo>
                    <a:pt x="474" y="10531"/>
                  </a:lnTo>
                  <a:close/>
                  <a:moveTo>
                    <a:pt x="4" y="11306"/>
                  </a:moveTo>
                  <a:cubicBezTo>
                    <a:pt x="162" y="11222"/>
                    <a:pt x="162" y="11222"/>
                    <a:pt x="162" y="11222"/>
                  </a:cubicBezTo>
                  <a:cubicBezTo>
                    <a:pt x="50" y="11030"/>
                    <a:pt x="50" y="11030"/>
                    <a:pt x="50" y="11030"/>
                  </a:cubicBezTo>
                  <a:cubicBezTo>
                    <a:pt x="4" y="11071"/>
                    <a:pt x="4" y="11071"/>
                    <a:pt x="4" y="11071"/>
                  </a:cubicBezTo>
                  <a:cubicBezTo>
                    <a:pt x="4" y="11051"/>
                    <a:pt x="4" y="11051"/>
                    <a:pt x="4" y="11051"/>
                  </a:cubicBezTo>
                  <a:cubicBezTo>
                    <a:pt x="54" y="11008"/>
                    <a:pt x="54" y="11008"/>
                    <a:pt x="54" y="11008"/>
                  </a:cubicBezTo>
                  <a:cubicBezTo>
                    <a:pt x="58" y="11015"/>
                    <a:pt x="58" y="11015"/>
                    <a:pt x="58" y="11015"/>
                  </a:cubicBezTo>
                  <a:cubicBezTo>
                    <a:pt x="182" y="11228"/>
                    <a:pt x="182" y="11228"/>
                    <a:pt x="182" y="11228"/>
                  </a:cubicBezTo>
                  <a:cubicBezTo>
                    <a:pt x="4" y="11323"/>
                    <a:pt x="4" y="11323"/>
                    <a:pt x="4" y="11323"/>
                  </a:cubicBezTo>
                  <a:lnTo>
                    <a:pt x="4" y="11306"/>
                  </a:lnTo>
                  <a:close/>
                  <a:moveTo>
                    <a:pt x="23" y="9506"/>
                  </a:moveTo>
                  <a:cubicBezTo>
                    <a:pt x="4" y="9509"/>
                    <a:pt x="4" y="9509"/>
                    <a:pt x="4" y="9509"/>
                  </a:cubicBezTo>
                  <a:cubicBezTo>
                    <a:pt x="4" y="9494"/>
                    <a:pt x="4" y="9494"/>
                    <a:pt x="4" y="9494"/>
                  </a:cubicBezTo>
                  <a:cubicBezTo>
                    <a:pt x="11" y="9493"/>
                    <a:pt x="11" y="9493"/>
                    <a:pt x="11" y="9493"/>
                  </a:cubicBezTo>
                  <a:cubicBezTo>
                    <a:pt x="38" y="9408"/>
                    <a:pt x="38" y="9408"/>
                    <a:pt x="38" y="9408"/>
                  </a:cubicBezTo>
                  <a:cubicBezTo>
                    <a:pt x="4" y="9355"/>
                    <a:pt x="4" y="9355"/>
                    <a:pt x="4" y="9355"/>
                  </a:cubicBezTo>
                  <a:cubicBezTo>
                    <a:pt x="4" y="9327"/>
                    <a:pt x="4" y="9327"/>
                    <a:pt x="4" y="9327"/>
                  </a:cubicBezTo>
                  <a:cubicBezTo>
                    <a:pt x="54" y="9406"/>
                    <a:pt x="54" y="9406"/>
                    <a:pt x="54" y="9406"/>
                  </a:cubicBezTo>
                  <a:lnTo>
                    <a:pt x="23" y="9506"/>
                  </a:lnTo>
                  <a:close/>
                  <a:moveTo>
                    <a:pt x="31" y="8515"/>
                  </a:moveTo>
                  <a:cubicBezTo>
                    <a:pt x="4" y="8546"/>
                    <a:pt x="4" y="8546"/>
                    <a:pt x="4" y="8546"/>
                  </a:cubicBezTo>
                  <a:cubicBezTo>
                    <a:pt x="4" y="8511"/>
                    <a:pt x="4" y="8511"/>
                    <a:pt x="4" y="8511"/>
                  </a:cubicBezTo>
                  <a:cubicBezTo>
                    <a:pt x="16" y="8506"/>
                    <a:pt x="23" y="8504"/>
                    <a:pt x="23" y="8504"/>
                  </a:cubicBezTo>
                  <a:cubicBezTo>
                    <a:pt x="51" y="8492"/>
                    <a:pt x="51" y="8492"/>
                    <a:pt x="51" y="8492"/>
                  </a:cubicBezTo>
                  <a:lnTo>
                    <a:pt x="31" y="8515"/>
                  </a:lnTo>
                  <a:close/>
                  <a:moveTo>
                    <a:pt x="128" y="8752"/>
                  </a:moveTo>
                  <a:cubicBezTo>
                    <a:pt x="4" y="8857"/>
                    <a:pt x="4" y="8857"/>
                    <a:pt x="4" y="8857"/>
                  </a:cubicBezTo>
                  <a:cubicBezTo>
                    <a:pt x="4" y="8838"/>
                    <a:pt x="4" y="8838"/>
                    <a:pt x="4" y="8838"/>
                  </a:cubicBezTo>
                  <a:cubicBezTo>
                    <a:pt x="109" y="8749"/>
                    <a:pt x="109" y="8749"/>
                    <a:pt x="109" y="8749"/>
                  </a:cubicBezTo>
                  <a:cubicBezTo>
                    <a:pt x="62" y="8667"/>
                    <a:pt x="62" y="8667"/>
                    <a:pt x="62" y="8667"/>
                  </a:cubicBezTo>
                  <a:cubicBezTo>
                    <a:pt x="4" y="8684"/>
                    <a:pt x="4" y="8684"/>
                    <a:pt x="4" y="8684"/>
                  </a:cubicBezTo>
                  <a:cubicBezTo>
                    <a:pt x="4" y="8668"/>
                    <a:pt x="4" y="8668"/>
                    <a:pt x="4" y="8668"/>
                  </a:cubicBezTo>
                  <a:cubicBezTo>
                    <a:pt x="69" y="8650"/>
                    <a:pt x="69" y="8650"/>
                    <a:pt x="69" y="8650"/>
                  </a:cubicBezTo>
                  <a:lnTo>
                    <a:pt x="128" y="8752"/>
                  </a:lnTo>
                  <a:close/>
                  <a:moveTo>
                    <a:pt x="28" y="9118"/>
                  </a:moveTo>
                  <a:cubicBezTo>
                    <a:pt x="4" y="9079"/>
                    <a:pt x="4" y="9079"/>
                    <a:pt x="4" y="9079"/>
                  </a:cubicBezTo>
                  <a:cubicBezTo>
                    <a:pt x="4" y="9050"/>
                    <a:pt x="4" y="9050"/>
                    <a:pt x="4" y="9050"/>
                  </a:cubicBezTo>
                  <a:cubicBezTo>
                    <a:pt x="37" y="9104"/>
                    <a:pt x="37" y="9104"/>
                    <a:pt x="37" y="9104"/>
                  </a:cubicBezTo>
                  <a:cubicBezTo>
                    <a:pt x="177" y="9111"/>
                    <a:pt x="177" y="9111"/>
                    <a:pt x="177" y="9111"/>
                  </a:cubicBezTo>
                  <a:cubicBezTo>
                    <a:pt x="277" y="9021"/>
                    <a:pt x="277" y="9021"/>
                    <a:pt x="277" y="9021"/>
                  </a:cubicBezTo>
                  <a:cubicBezTo>
                    <a:pt x="151" y="8906"/>
                    <a:pt x="151" y="8906"/>
                    <a:pt x="151" y="8906"/>
                  </a:cubicBezTo>
                  <a:cubicBezTo>
                    <a:pt x="4" y="9019"/>
                    <a:pt x="4" y="9019"/>
                    <a:pt x="4" y="9019"/>
                  </a:cubicBezTo>
                  <a:cubicBezTo>
                    <a:pt x="4" y="9000"/>
                    <a:pt x="4" y="9000"/>
                    <a:pt x="4" y="9000"/>
                  </a:cubicBezTo>
                  <a:cubicBezTo>
                    <a:pt x="152" y="8887"/>
                    <a:pt x="152" y="8887"/>
                    <a:pt x="152" y="8887"/>
                  </a:cubicBezTo>
                  <a:cubicBezTo>
                    <a:pt x="299" y="9021"/>
                    <a:pt x="299" y="9021"/>
                    <a:pt x="299" y="9021"/>
                  </a:cubicBezTo>
                  <a:cubicBezTo>
                    <a:pt x="293" y="9026"/>
                    <a:pt x="293" y="9026"/>
                    <a:pt x="293" y="9026"/>
                  </a:cubicBezTo>
                  <a:cubicBezTo>
                    <a:pt x="183" y="9126"/>
                    <a:pt x="183" y="9126"/>
                    <a:pt x="183" y="9126"/>
                  </a:cubicBezTo>
                  <a:lnTo>
                    <a:pt x="28" y="9118"/>
                  </a:lnTo>
                  <a:close/>
                  <a:moveTo>
                    <a:pt x="496" y="8894"/>
                  </a:moveTo>
                  <a:cubicBezTo>
                    <a:pt x="511" y="8790"/>
                    <a:pt x="511" y="8790"/>
                    <a:pt x="511" y="8790"/>
                  </a:cubicBezTo>
                  <a:cubicBezTo>
                    <a:pt x="393" y="8687"/>
                    <a:pt x="393" y="8687"/>
                    <a:pt x="393" y="8687"/>
                  </a:cubicBezTo>
                  <a:cubicBezTo>
                    <a:pt x="297" y="8759"/>
                    <a:pt x="297" y="8759"/>
                    <a:pt x="297" y="8759"/>
                  </a:cubicBezTo>
                  <a:cubicBezTo>
                    <a:pt x="321" y="8798"/>
                    <a:pt x="321" y="8798"/>
                    <a:pt x="321" y="8798"/>
                  </a:cubicBezTo>
                  <a:cubicBezTo>
                    <a:pt x="295" y="8812"/>
                    <a:pt x="295" y="8812"/>
                    <a:pt x="295" y="8812"/>
                  </a:cubicBezTo>
                  <a:cubicBezTo>
                    <a:pt x="260" y="8791"/>
                    <a:pt x="260" y="8791"/>
                    <a:pt x="260" y="8791"/>
                  </a:cubicBezTo>
                  <a:cubicBezTo>
                    <a:pt x="191" y="8847"/>
                    <a:pt x="191" y="8847"/>
                    <a:pt x="191" y="8847"/>
                  </a:cubicBezTo>
                  <a:cubicBezTo>
                    <a:pt x="333" y="8986"/>
                    <a:pt x="333" y="8986"/>
                    <a:pt x="333" y="8986"/>
                  </a:cubicBezTo>
                  <a:cubicBezTo>
                    <a:pt x="493" y="8896"/>
                    <a:pt x="493" y="8896"/>
                    <a:pt x="493" y="8896"/>
                  </a:cubicBezTo>
                  <a:lnTo>
                    <a:pt x="496" y="8894"/>
                  </a:lnTo>
                  <a:close/>
                  <a:moveTo>
                    <a:pt x="336" y="8968"/>
                  </a:moveTo>
                  <a:cubicBezTo>
                    <a:pt x="213" y="8848"/>
                    <a:pt x="213" y="8848"/>
                    <a:pt x="213" y="8848"/>
                  </a:cubicBezTo>
                  <a:cubicBezTo>
                    <a:pt x="261" y="8809"/>
                    <a:pt x="261" y="8809"/>
                    <a:pt x="261" y="8809"/>
                  </a:cubicBezTo>
                  <a:cubicBezTo>
                    <a:pt x="295" y="8830"/>
                    <a:pt x="295" y="8830"/>
                    <a:pt x="295" y="8830"/>
                  </a:cubicBezTo>
                  <a:cubicBezTo>
                    <a:pt x="341" y="8803"/>
                    <a:pt x="341" y="8803"/>
                    <a:pt x="341" y="8803"/>
                  </a:cubicBezTo>
                  <a:cubicBezTo>
                    <a:pt x="317" y="8762"/>
                    <a:pt x="317" y="8762"/>
                    <a:pt x="317" y="8762"/>
                  </a:cubicBezTo>
                  <a:cubicBezTo>
                    <a:pt x="392" y="8706"/>
                    <a:pt x="392" y="8706"/>
                    <a:pt x="392" y="8706"/>
                  </a:cubicBezTo>
                  <a:cubicBezTo>
                    <a:pt x="495" y="8796"/>
                    <a:pt x="495" y="8796"/>
                    <a:pt x="495" y="8796"/>
                  </a:cubicBezTo>
                  <a:cubicBezTo>
                    <a:pt x="482" y="8885"/>
                    <a:pt x="482" y="8885"/>
                    <a:pt x="482" y="8885"/>
                  </a:cubicBezTo>
                  <a:lnTo>
                    <a:pt x="336" y="8968"/>
                  </a:lnTo>
                  <a:close/>
                  <a:moveTo>
                    <a:pt x="538" y="8745"/>
                  </a:moveTo>
                  <a:cubicBezTo>
                    <a:pt x="672" y="8652"/>
                    <a:pt x="672" y="8652"/>
                    <a:pt x="672" y="8652"/>
                  </a:cubicBezTo>
                  <a:cubicBezTo>
                    <a:pt x="676" y="8460"/>
                    <a:pt x="676" y="8460"/>
                    <a:pt x="676" y="8460"/>
                  </a:cubicBezTo>
                  <a:cubicBezTo>
                    <a:pt x="676" y="8444"/>
                    <a:pt x="676" y="8444"/>
                    <a:pt x="676" y="8444"/>
                  </a:cubicBezTo>
                  <a:cubicBezTo>
                    <a:pt x="435" y="8638"/>
                    <a:pt x="435" y="8638"/>
                    <a:pt x="435" y="8638"/>
                  </a:cubicBezTo>
                  <a:lnTo>
                    <a:pt x="538" y="8745"/>
                  </a:lnTo>
                  <a:close/>
                  <a:moveTo>
                    <a:pt x="657" y="8644"/>
                  </a:moveTo>
                  <a:cubicBezTo>
                    <a:pt x="540" y="8726"/>
                    <a:pt x="540" y="8726"/>
                    <a:pt x="540" y="8726"/>
                  </a:cubicBezTo>
                  <a:cubicBezTo>
                    <a:pt x="457" y="8640"/>
                    <a:pt x="457" y="8640"/>
                    <a:pt x="457" y="8640"/>
                  </a:cubicBezTo>
                  <a:cubicBezTo>
                    <a:pt x="661" y="8476"/>
                    <a:pt x="661" y="8476"/>
                    <a:pt x="661" y="8476"/>
                  </a:cubicBezTo>
                  <a:lnTo>
                    <a:pt x="657" y="8644"/>
                  </a:lnTo>
                  <a:close/>
                  <a:moveTo>
                    <a:pt x="1018" y="8339"/>
                  </a:moveTo>
                  <a:cubicBezTo>
                    <a:pt x="1020" y="8335"/>
                    <a:pt x="1020" y="8335"/>
                    <a:pt x="1020" y="8335"/>
                  </a:cubicBezTo>
                  <a:cubicBezTo>
                    <a:pt x="943" y="8232"/>
                    <a:pt x="943" y="8232"/>
                    <a:pt x="943" y="8232"/>
                  </a:cubicBezTo>
                  <a:cubicBezTo>
                    <a:pt x="838" y="8318"/>
                    <a:pt x="838" y="8318"/>
                    <a:pt x="838" y="8318"/>
                  </a:cubicBezTo>
                  <a:cubicBezTo>
                    <a:pt x="969" y="8445"/>
                    <a:pt x="969" y="8445"/>
                    <a:pt x="969" y="8445"/>
                  </a:cubicBezTo>
                  <a:lnTo>
                    <a:pt x="1018" y="8339"/>
                  </a:lnTo>
                  <a:close/>
                  <a:moveTo>
                    <a:pt x="860" y="8319"/>
                  </a:moveTo>
                  <a:cubicBezTo>
                    <a:pt x="940" y="8254"/>
                    <a:pt x="940" y="8254"/>
                    <a:pt x="940" y="8254"/>
                  </a:cubicBezTo>
                  <a:cubicBezTo>
                    <a:pt x="1003" y="8337"/>
                    <a:pt x="1003" y="8337"/>
                    <a:pt x="1003" y="8337"/>
                  </a:cubicBezTo>
                  <a:cubicBezTo>
                    <a:pt x="964" y="8420"/>
                    <a:pt x="964" y="8420"/>
                    <a:pt x="964" y="8420"/>
                  </a:cubicBezTo>
                  <a:lnTo>
                    <a:pt x="860" y="8319"/>
                  </a:lnTo>
                  <a:close/>
                  <a:moveTo>
                    <a:pt x="846" y="8545"/>
                  </a:moveTo>
                  <a:cubicBezTo>
                    <a:pt x="903" y="8541"/>
                    <a:pt x="903" y="8541"/>
                    <a:pt x="903" y="8541"/>
                  </a:cubicBezTo>
                  <a:cubicBezTo>
                    <a:pt x="932" y="8486"/>
                    <a:pt x="932" y="8486"/>
                    <a:pt x="932" y="8486"/>
                  </a:cubicBezTo>
                  <a:cubicBezTo>
                    <a:pt x="935" y="8481"/>
                    <a:pt x="935" y="8481"/>
                    <a:pt x="935" y="8481"/>
                  </a:cubicBezTo>
                  <a:cubicBezTo>
                    <a:pt x="804" y="8354"/>
                    <a:pt x="804" y="8354"/>
                    <a:pt x="804" y="8354"/>
                  </a:cubicBezTo>
                  <a:cubicBezTo>
                    <a:pt x="725" y="8400"/>
                    <a:pt x="725" y="8400"/>
                    <a:pt x="725" y="8400"/>
                  </a:cubicBezTo>
                  <a:lnTo>
                    <a:pt x="846" y="8545"/>
                  </a:lnTo>
                  <a:close/>
                  <a:moveTo>
                    <a:pt x="917" y="8484"/>
                  </a:moveTo>
                  <a:cubicBezTo>
                    <a:pt x="894" y="8527"/>
                    <a:pt x="894" y="8527"/>
                    <a:pt x="894" y="8527"/>
                  </a:cubicBezTo>
                  <a:cubicBezTo>
                    <a:pt x="852" y="8530"/>
                    <a:pt x="852" y="8530"/>
                    <a:pt x="852" y="8530"/>
                  </a:cubicBezTo>
                  <a:cubicBezTo>
                    <a:pt x="748" y="8404"/>
                    <a:pt x="748" y="8404"/>
                    <a:pt x="748" y="8404"/>
                  </a:cubicBezTo>
                  <a:cubicBezTo>
                    <a:pt x="802" y="8372"/>
                    <a:pt x="802" y="8372"/>
                    <a:pt x="802" y="8372"/>
                  </a:cubicBezTo>
                  <a:lnTo>
                    <a:pt x="917" y="8484"/>
                  </a:lnTo>
                  <a:close/>
                  <a:moveTo>
                    <a:pt x="461" y="8256"/>
                  </a:moveTo>
                  <a:cubicBezTo>
                    <a:pt x="481" y="8300"/>
                    <a:pt x="481" y="8300"/>
                    <a:pt x="481" y="8300"/>
                  </a:cubicBezTo>
                  <a:cubicBezTo>
                    <a:pt x="385" y="8392"/>
                    <a:pt x="385" y="8392"/>
                    <a:pt x="385" y="8392"/>
                  </a:cubicBezTo>
                  <a:cubicBezTo>
                    <a:pt x="444" y="8483"/>
                    <a:pt x="444" y="8483"/>
                    <a:pt x="444" y="8483"/>
                  </a:cubicBezTo>
                  <a:cubicBezTo>
                    <a:pt x="654" y="8311"/>
                    <a:pt x="654" y="8311"/>
                    <a:pt x="654" y="8311"/>
                  </a:cubicBezTo>
                  <a:cubicBezTo>
                    <a:pt x="660" y="8307"/>
                    <a:pt x="660" y="8307"/>
                    <a:pt x="660" y="8307"/>
                  </a:cubicBezTo>
                  <a:cubicBezTo>
                    <a:pt x="490" y="8086"/>
                    <a:pt x="490" y="8086"/>
                    <a:pt x="490" y="8086"/>
                  </a:cubicBezTo>
                  <a:cubicBezTo>
                    <a:pt x="366" y="8221"/>
                    <a:pt x="366" y="8221"/>
                    <a:pt x="366" y="8221"/>
                  </a:cubicBezTo>
                  <a:cubicBezTo>
                    <a:pt x="414" y="8293"/>
                    <a:pt x="414" y="8293"/>
                    <a:pt x="414" y="8293"/>
                  </a:cubicBezTo>
                  <a:lnTo>
                    <a:pt x="461" y="8256"/>
                  </a:lnTo>
                  <a:close/>
                  <a:moveTo>
                    <a:pt x="489" y="8109"/>
                  </a:moveTo>
                  <a:cubicBezTo>
                    <a:pt x="639" y="8304"/>
                    <a:pt x="639" y="8304"/>
                    <a:pt x="639" y="8304"/>
                  </a:cubicBezTo>
                  <a:cubicBezTo>
                    <a:pt x="447" y="8461"/>
                    <a:pt x="447" y="8461"/>
                    <a:pt x="447" y="8461"/>
                  </a:cubicBezTo>
                  <a:cubicBezTo>
                    <a:pt x="404" y="8394"/>
                    <a:pt x="404" y="8394"/>
                    <a:pt x="404" y="8394"/>
                  </a:cubicBezTo>
                  <a:cubicBezTo>
                    <a:pt x="498" y="8303"/>
                    <a:pt x="498" y="8303"/>
                    <a:pt x="498" y="8303"/>
                  </a:cubicBezTo>
                  <a:cubicBezTo>
                    <a:pt x="467" y="8233"/>
                    <a:pt x="467" y="8233"/>
                    <a:pt x="467" y="8233"/>
                  </a:cubicBezTo>
                  <a:cubicBezTo>
                    <a:pt x="417" y="8272"/>
                    <a:pt x="417" y="8272"/>
                    <a:pt x="417" y="8272"/>
                  </a:cubicBezTo>
                  <a:cubicBezTo>
                    <a:pt x="385" y="8222"/>
                    <a:pt x="385" y="8222"/>
                    <a:pt x="385" y="8222"/>
                  </a:cubicBezTo>
                  <a:lnTo>
                    <a:pt x="489" y="8109"/>
                  </a:lnTo>
                  <a:close/>
                  <a:moveTo>
                    <a:pt x="617" y="8124"/>
                  </a:moveTo>
                  <a:cubicBezTo>
                    <a:pt x="686" y="8024"/>
                    <a:pt x="686" y="8024"/>
                    <a:pt x="686" y="8024"/>
                  </a:cubicBezTo>
                  <a:cubicBezTo>
                    <a:pt x="707" y="8153"/>
                    <a:pt x="707" y="8153"/>
                    <a:pt x="707" y="8153"/>
                  </a:cubicBezTo>
                  <a:cubicBezTo>
                    <a:pt x="722" y="8153"/>
                    <a:pt x="722" y="8153"/>
                    <a:pt x="722" y="8153"/>
                  </a:cubicBezTo>
                  <a:cubicBezTo>
                    <a:pt x="759" y="8032"/>
                    <a:pt x="759" y="8032"/>
                    <a:pt x="759" y="8032"/>
                  </a:cubicBezTo>
                  <a:cubicBezTo>
                    <a:pt x="815" y="8088"/>
                    <a:pt x="815" y="8088"/>
                    <a:pt x="815" y="8088"/>
                  </a:cubicBezTo>
                  <a:cubicBezTo>
                    <a:pt x="863" y="8037"/>
                    <a:pt x="863" y="8037"/>
                    <a:pt x="863" y="8037"/>
                  </a:cubicBezTo>
                  <a:cubicBezTo>
                    <a:pt x="868" y="8032"/>
                    <a:pt x="868" y="8032"/>
                    <a:pt x="868" y="8032"/>
                  </a:cubicBezTo>
                  <a:cubicBezTo>
                    <a:pt x="689" y="7864"/>
                    <a:pt x="689" y="7864"/>
                    <a:pt x="689" y="7864"/>
                  </a:cubicBezTo>
                  <a:cubicBezTo>
                    <a:pt x="536" y="8037"/>
                    <a:pt x="536" y="8037"/>
                    <a:pt x="536" y="8037"/>
                  </a:cubicBezTo>
                  <a:lnTo>
                    <a:pt x="617" y="8124"/>
                  </a:lnTo>
                  <a:close/>
                  <a:moveTo>
                    <a:pt x="690" y="7885"/>
                  </a:moveTo>
                  <a:cubicBezTo>
                    <a:pt x="847" y="8032"/>
                    <a:pt x="847" y="8032"/>
                    <a:pt x="847" y="8032"/>
                  </a:cubicBezTo>
                  <a:cubicBezTo>
                    <a:pt x="814" y="8067"/>
                    <a:pt x="814" y="8067"/>
                    <a:pt x="814" y="8067"/>
                  </a:cubicBezTo>
                  <a:cubicBezTo>
                    <a:pt x="752" y="8004"/>
                    <a:pt x="752" y="8004"/>
                    <a:pt x="752" y="8004"/>
                  </a:cubicBezTo>
                  <a:cubicBezTo>
                    <a:pt x="717" y="8119"/>
                    <a:pt x="717" y="8119"/>
                    <a:pt x="717" y="8119"/>
                  </a:cubicBezTo>
                  <a:cubicBezTo>
                    <a:pt x="695" y="7986"/>
                    <a:pt x="695" y="7986"/>
                    <a:pt x="695" y="7986"/>
                  </a:cubicBezTo>
                  <a:cubicBezTo>
                    <a:pt x="615" y="8100"/>
                    <a:pt x="615" y="8100"/>
                    <a:pt x="615" y="8100"/>
                  </a:cubicBezTo>
                  <a:cubicBezTo>
                    <a:pt x="556" y="8037"/>
                    <a:pt x="556" y="8037"/>
                    <a:pt x="556" y="8037"/>
                  </a:cubicBezTo>
                  <a:lnTo>
                    <a:pt x="690" y="7885"/>
                  </a:lnTo>
                  <a:close/>
                  <a:moveTo>
                    <a:pt x="423" y="7828"/>
                  </a:moveTo>
                  <a:cubicBezTo>
                    <a:pt x="492" y="7873"/>
                    <a:pt x="492" y="7873"/>
                    <a:pt x="492" y="7873"/>
                  </a:cubicBezTo>
                  <a:cubicBezTo>
                    <a:pt x="535" y="7832"/>
                    <a:pt x="535" y="7832"/>
                    <a:pt x="535" y="7832"/>
                  </a:cubicBezTo>
                  <a:cubicBezTo>
                    <a:pt x="540" y="7828"/>
                    <a:pt x="540" y="7828"/>
                    <a:pt x="540" y="7828"/>
                  </a:cubicBezTo>
                  <a:cubicBezTo>
                    <a:pt x="369" y="7600"/>
                    <a:pt x="369" y="7600"/>
                    <a:pt x="369" y="7600"/>
                  </a:cubicBezTo>
                  <a:cubicBezTo>
                    <a:pt x="258" y="7822"/>
                    <a:pt x="258" y="7822"/>
                    <a:pt x="258" y="7822"/>
                  </a:cubicBezTo>
                  <a:cubicBezTo>
                    <a:pt x="345" y="7866"/>
                    <a:pt x="345" y="7866"/>
                    <a:pt x="345" y="7866"/>
                  </a:cubicBezTo>
                  <a:lnTo>
                    <a:pt x="423" y="7828"/>
                  </a:lnTo>
                  <a:close/>
                  <a:moveTo>
                    <a:pt x="372" y="7628"/>
                  </a:moveTo>
                  <a:cubicBezTo>
                    <a:pt x="520" y="7826"/>
                    <a:pt x="520" y="7826"/>
                    <a:pt x="520" y="7826"/>
                  </a:cubicBezTo>
                  <a:cubicBezTo>
                    <a:pt x="490" y="7854"/>
                    <a:pt x="490" y="7854"/>
                    <a:pt x="490" y="7854"/>
                  </a:cubicBezTo>
                  <a:cubicBezTo>
                    <a:pt x="424" y="7811"/>
                    <a:pt x="424" y="7811"/>
                    <a:pt x="424" y="7811"/>
                  </a:cubicBezTo>
                  <a:cubicBezTo>
                    <a:pt x="345" y="7850"/>
                    <a:pt x="345" y="7850"/>
                    <a:pt x="345" y="7850"/>
                  </a:cubicBezTo>
                  <a:cubicBezTo>
                    <a:pt x="278" y="7815"/>
                    <a:pt x="278" y="7815"/>
                    <a:pt x="278" y="7815"/>
                  </a:cubicBezTo>
                  <a:lnTo>
                    <a:pt x="372" y="7628"/>
                  </a:lnTo>
                  <a:close/>
                  <a:moveTo>
                    <a:pt x="214" y="8072"/>
                  </a:moveTo>
                  <a:cubicBezTo>
                    <a:pt x="233" y="8012"/>
                    <a:pt x="233" y="8012"/>
                    <a:pt x="233" y="8012"/>
                  </a:cubicBezTo>
                  <a:cubicBezTo>
                    <a:pt x="150" y="7859"/>
                    <a:pt x="150" y="7859"/>
                    <a:pt x="150" y="7859"/>
                  </a:cubicBezTo>
                  <a:cubicBezTo>
                    <a:pt x="57" y="8040"/>
                    <a:pt x="57" y="8040"/>
                    <a:pt x="57" y="8040"/>
                  </a:cubicBezTo>
                  <a:cubicBezTo>
                    <a:pt x="228" y="8161"/>
                    <a:pt x="228" y="8161"/>
                    <a:pt x="228" y="8161"/>
                  </a:cubicBezTo>
                  <a:cubicBezTo>
                    <a:pt x="236" y="8167"/>
                    <a:pt x="236" y="8167"/>
                    <a:pt x="236" y="8167"/>
                  </a:cubicBezTo>
                  <a:cubicBezTo>
                    <a:pt x="260" y="8091"/>
                    <a:pt x="260" y="8091"/>
                    <a:pt x="260" y="8091"/>
                  </a:cubicBezTo>
                  <a:lnTo>
                    <a:pt x="214" y="8072"/>
                  </a:lnTo>
                  <a:close/>
                  <a:moveTo>
                    <a:pt x="228" y="8143"/>
                  </a:moveTo>
                  <a:cubicBezTo>
                    <a:pt x="76" y="8036"/>
                    <a:pt x="76" y="8036"/>
                    <a:pt x="76" y="8036"/>
                  </a:cubicBezTo>
                  <a:cubicBezTo>
                    <a:pt x="150" y="7891"/>
                    <a:pt x="150" y="7891"/>
                    <a:pt x="150" y="7891"/>
                  </a:cubicBezTo>
                  <a:cubicBezTo>
                    <a:pt x="217" y="8014"/>
                    <a:pt x="217" y="8014"/>
                    <a:pt x="217" y="8014"/>
                  </a:cubicBezTo>
                  <a:cubicBezTo>
                    <a:pt x="196" y="8081"/>
                    <a:pt x="196" y="8081"/>
                    <a:pt x="196" y="8081"/>
                  </a:cubicBezTo>
                  <a:cubicBezTo>
                    <a:pt x="242" y="8099"/>
                    <a:pt x="242" y="8099"/>
                    <a:pt x="242" y="8099"/>
                  </a:cubicBezTo>
                  <a:lnTo>
                    <a:pt x="228" y="8143"/>
                  </a:lnTo>
                  <a:close/>
                  <a:moveTo>
                    <a:pt x="526" y="7443"/>
                  </a:moveTo>
                  <a:cubicBezTo>
                    <a:pt x="507" y="7472"/>
                    <a:pt x="507" y="7472"/>
                    <a:pt x="507" y="7472"/>
                  </a:cubicBezTo>
                  <a:cubicBezTo>
                    <a:pt x="528" y="7498"/>
                    <a:pt x="528" y="7498"/>
                    <a:pt x="528" y="7498"/>
                  </a:cubicBezTo>
                  <a:cubicBezTo>
                    <a:pt x="634" y="7420"/>
                    <a:pt x="634" y="7420"/>
                    <a:pt x="634" y="7420"/>
                  </a:cubicBezTo>
                  <a:cubicBezTo>
                    <a:pt x="654" y="7456"/>
                    <a:pt x="654" y="7456"/>
                    <a:pt x="654" y="7456"/>
                  </a:cubicBezTo>
                  <a:cubicBezTo>
                    <a:pt x="610" y="7498"/>
                    <a:pt x="610" y="7498"/>
                    <a:pt x="610" y="7498"/>
                  </a:cubicBezTo>
                  <a:cubicBezTo>
                    <a:pt x="679" y="7539"/>
                    <a:pt x="679" y="7539"/>
                    <a:pt x="679" y="7539"/>
                  </a:cubicBezTo>
                  <a:cubicBezTo>
                    <a:pt x="753" y="7476"/>
                    <a:pt x="753" y="7476"/>
                    <a:pt x="753" y="7476"/>
                  </a:cubicBezTo>
                  <a:cubicBezTo>
                    <a:pt x="798" y="7519"/>
                    <a:pt x="798" y="7519"/>
                    <a:pt x="798" y="7519"/>
                  </a:cubicBezTo>
                  <a:cubicBezTo>
                    <a:pt x="857" y="7458"/>
                    <a:pt x="857" y="7458"/>
                    <a:pt x="857" y="7458"/>
                  </a:cubicBezTo>
                  <a:cubicBezTo>
                    <a:pt x="862" y="7452"/>
                    <a:pt x="862" y="7452"/>
                    <a:pt x="862" y="7452"/>
                  </a:cubicBezTo>
                  <a:cubicBezTo>
                    <a:pt x="643" y="7249"/>
                    <a:pt x="643" y="7249"/>
                    <a:pt x="643" y="7249"/>
                  </a:cubicBezTo>
                  <a:cubicBezTo>
                    <a:pt x="479" y="7398"/>
                    <a:pt x="479" y="7398"/>
                    <a:pt x="479" y="7398"/>
                  </a:cubicBezTo>
                  <a:lnTo>
                    <a:pt x="526" y="7443"/>
                  </a:lnTo>
                  <a:close/>
                  <a:moveTo>
                    <a:pt x="841" y="7453"/>
                  </a:moveTo>
                  <a:cubicBezTo>
                    <a:pt x="798" y="7498"/>
                    <a:pt x="798" y="7498"/>
                    <a:pt x="798" y="7498"/>
                  </a:cubicBezTo>
                  <a:cubicBezTo>
                    <a:pt x="754" y="7456"/>
                    <a:pt x="754" y="7456"/>
                    <a:pt x="754" y="7456"/>
                  </a:cubicBezTo>
                  <a:cubicBezTo>
                    <a:pt x="677" y="7521"/>
                    <a:pt x="677" y="7521"/>
                    <a:pt x="677" y="7521"/>
                  </a:cubicBezTo>
                  <a:cubicBezTo>
                    <a:pt x="634" y="7495"/>
                    <a:pt x="634" y="7495"/>
                    <a:pt x="634" y="7495"/>
                  </a:cubicBezTo>
                  <a:cubicBezTo>
                    <a:pt x="672" y="7458"/>
                    <a:pt x="672" y="7458"/>
                    <a:pt x="672" y="7458"/>
                  </a:cubicBezTo>
                  <a:cubicBezTo>
                    <a:pt x="639" y="7399"/>
                    <a:pt x="639" y="7399"/>
                    <a:pt x="639" y="7399"/>
                  </a:cubicBezTo>
                  <a:cubicBezTo>
                    <a:pt x="531" y="7478"/>
                    <a:pt x="531" y="7478"/>
                    <a:pt x="531" y="7478"/>
                  </a:cubicBezTo>
                  <a:cubicBezTo>
                    <a:pt x="525" y="7471"/>
                    <a:pt x="525" y="7471"/>
                    <a:pt x="525" y="7471"/>
                  </a:cubicBezTo>
                  <a:cubicBezTo>
                    <a:pt x="545" y="7440"/>
                    <a:pt x="545" y="7440"/>
                    <a:pt x="545" y="7440"/>
                  </a:cubicBezTo>
                  <a:cubicBezTo>
                    <a:pt x="501" y="7398"/>
                    <a:pt x="501" y="7398"/>
                    <a:pt x="501" y="7398"/>
                  </a:cubicBezTo>
                  <a:cubicBezTo>
                    <a:pt x="643" y="7269"/>
                    <a:pt x="643" y="7269"/>
                    <a:pt x="643" y="7269"/>
                  </a:cubicBezTo>
                  <a:lnTo>
                    <a:pt x="841" y="7453"/>
                  </a:lnTo>
                  <a:close/>
                  <a:moveTo>
                    <a:pt x="891" y="6841"/>
                  </a:moveTo>
                  <a:cubicBezTo>
                    <a:pt x="860" y="6862"/>
                    <a:pt x="860" y="6862"/>
                    <a:pt x="860" y="6862"/>
                  </a:cubicBezTo>
                  <a:cubicBezTo>
                    <a:pt x="754" y="6788"/>
                    <a:pt x="754" y="6788"/>
                    <a:pt x="754" y="6788"/>
                  </a:cubicBezTo>
                  <a:cubicBezTo>
                    <a:pt x="712" y="6857"/>
                    <a:pt x="712" y="6857"/>
                    <a:pt x="712" y="6857"/>
                  </a:cubicBezTo>
                  <a:cubicBezTo>
                    <a:pt x="601" y="6765"/>
                    <a:pt x="601" y="6765"/>
                    <a:pt x="601" y="6765"/>
                  </a:cubicBezTo>
                  <a:cubicBezTo>
                    <a:pt x="530" y="6868"/>
                    <a:pt x="530" y="6868"/>
                    <a:pt x="530" y="6868"/>
                  </a:cubicBezTo>
                  <a:cubicBezTo>
                    <a:pt x="746" y="7025"/>
                    <a:pt x="746" y="7025"/>
                    <a:pt x="746" y="7025"/>
                  </a:cubicBezTo>
                  <a:cubicBezTo>
                    <a:pt x="710" y="7079"/>
                    <a:pt x="710" y="7079"/>
                    <a:pt x="710" y="7079"/>
                  </a:cubicBezTo>
                  <a:cubicBezTo>
                    <a:pt x="776" y="7136"/>
                    <a:pt x="776" y="7136"/>
                    <a:pt x="776" y="7136"/>
                  </a:cubicBezTo>
                  <a:cubicBezTo>
                    <a:pt x="749" y="7227"/>
                    <a:pt x="749" y="7227"/>
                    <a:pt x="749" y="7227"/>
                  </a:cubicBezTo>
                  <a:cubicBezTo>
                    <a:pt x="907" y="7341"/>
                    <a:pt x="907" y="7341"/>
                    <a:pt x="907" y="7341"/>
                  </a:cubicBezTo>
                  <a:cubicBezTo>
                    <a:pt x="915" y="7347"/>
                    <a:pt x="915" y="7347"/>
                    <a:pt x="915" y="7347"/>
                  </a:cubicBezTo>
                  <a:cubicBezTo>
                    <a:pt x="1020" y="7055"/>
                    <a:pt x="1020" y="7055"/>
                    <a:pt x="1020" y="7055"/>
                  </a:cubicBezTo>
                  <a:lnTo>
                    <a:pt x="891" y="6841"/>
                  </a:lnTo>
                  <a:close/>
                  <a:moveTo>
                    <a:pt x="908" y="7324"/>
                  </a:moveTo>
                  <a:cubicBezTo>
                    <a:pt x="766" y="7222"/>
                    <a:pt x="766" y="7222"/>
                    <a:pt x="766" y="7222"/>
                  </a:cubicBezTo>
                  <a:cubicBezTo>
                    <a:pt x="793" y="7131"/>
                    <a:pt x="793" y="7131"/>
                    <a:pt x="793" y="7131"/>
                  </a:cubicBezTo>
                  <a:cubicBezTo>
                    <a:pt x="730" y="7077"/>
                    <a:pt x="730" y="7077"/>
                    <a:pt x="730" y="7077"/>
                  </a:cubicBezTo>
                  <a:cubicBezTo>
                    <a:pt x="766" y="7021"/>
                    <a:pt x="766" y="7021"/>
                    <a:pt x="766" y="7021"/>
                  </a:cubicBezTo>
                  <a:cubicBezTo>
                    <a:pt x="550" y="6864"/>
                    <a:pt x="550" y="6864"/>
                    <a:pt x="550" y="6864"/>
                  </a:cubicBezTo>
                  <a:cubicBezTo>
                    <a:pt x="604" y="6787"/>
                    <a:pt x="604" y="6787"/>
                    <a:pt x="604" y="6787"/>
                  </a:cubicBezTo>
                  <a:cubicBezTo>
                    <a:pt x="716" y="6879"/>
                    <a:pt x="716" y="6879"/>
                    <a:pt x="716" y="6879"/>
                  </a:cubicBezTo>
                  <a:cubicBezTo>
                    <a:pt x="758" y="6809"/>
                    <a:pt x="758" y="6809"/>
                    <a:pt x="758" y="6809"/>
                  </a:cubicBezTo>
                  <a:cubicBezTo>
                    <a:pt x="860" y="6880"/>
                    <a:pt x="860" y="6880"/>
                    <a:pt x="860" y="6880"/>
                  </a:cubicBezTo>
                  <a:cubicBezTo>
                    <a:pt x="886" y="6862"/>
                    <a:pt x="886" y="6862"/>
                    <a:pt x="886" y="6862"/>
                  </a:cubicBezTo>
                  <a:cubicBezTo>
                    <a:pt x="1004" y="7057"/>
                    <a:pt x="1004" y="7057"/>
                    <a:pt x="1004" y="7057"/>
                  </a:cubicBezTo>
                  <a:lnTo>
                    <a:pt x="908" y="7324"/>
                  </a:lnTo>
                  <a:close/>
                  <a:moveTo>
                    <a:pt x="140" y="6691"/>
                  </a:moveTo>
                  <a:cubicBezTo>
                    <a:pt x="140" y="6569"/>
                    <a:pt x="140" y="6569"/>
                    <a:pt x="140" y="6569"/>
                  </a:cubicBezTo>
                  <a:cubicBezTo>
                    <a:pt x="229" y="6677"/>
                    <a:pt x="229" y="6677"/>
                    <a:pt x="229" y="6677"/>
                  </a:cubicBezTo>
                  <a:cubicBezTo>
                    <a:pt x="314" y="6613"/>
                    <a:pt x="314" y="6613"/>
                    <a:pt x="314" y="6613"/>
                  </a:cubicBezTo>
                  <a:cubicBezTo>
                    <a:pt x="288" y="6515"/>
                    <a:pt x="288" y="6515"/>
                    <a:pt x="288" y="6515"/>
                  </a:cubicBezTo>
                  <a:cubicBezTo>
                    <a:pt x="412" y="6593"/>
                    <a:pt x="412" y="6593"/>
                    <a:pt x="412" y="6593"/>
                  </a:cubicBezTo>
                  <a:cubicBezTo>
                    <a:pt x="534" y="6541"/>
                    <a:pt x="534" y="6541"/>
                    <a:pt x="534" y="6541"/>
                  </a:cubicBezTo>
                  <a:cubicBezTo>
                    <a:pt x="536" y="6528"/>
                    <a:pt x="536" y="6528"/>
                    <a:pt x="536" y="6528"/>
                  </a:cubicBezTo>
                  <a:cubicBezTo>
                    <a:pt x="536" y="6528"/>
                    <a:pt x="399" y="6429"/>
                    <a:pt x="318" y="6389"/>
                  </a:cubicBezTo>
                  <a:cubicBezTo>
                    <a:pt x="239" y="6349"/>
                    <a:pt x="206" y="6331"/>
                    <a:pt x="206" y="6331"/>
                  </a:cubicBezTo>
                  <a:cubicBezTo>
                    <a:pt x="198" y="6327"/>
                    <a:pt x="198" y="6327"/>
                    <a:pt x="198" y="6327"/>
                  </a:cubicBezTo>
                  <a:cubicBezTo>
                    <a:pt x="196" y="6335"/>
                    <a:pt x="196" y="6335"/>
                    <a:pt x="196" y="6335"/>
                  </a:cubicBezTo>
                  <a:cubicBezTo>
                    <a:pt x="195" y="6335"/>
                    <a:pt x="189" y="6354"/>
                    <a:pt x="175" y="6378"/>
                  </a:cubicBezTo>
                  <a:cubicBezTo>
                    <a:pt x="162" y="6402"/>
                    <a:pt x="143" y="6432"/>
                    <a:pt x="118" y="6452"/>
                  </a:cubicBezTo>
                  <a:cubicBezTo>
                    <a:pt x="76" y="6486"/>
                    <a:pt x="23" y="6515"/>
                    <a:pt x="4" y="6525"/>
                  </a:cubicBezTo>
                  <a:cubicBezTo>
                    <a:pt x="4" y="6604"/>
                    <a:pt x="4" y="6604"/>
                    <a:pt x="4" y="6604"/>
                  </a:cubicBezTo>
                  <a:cubicBezTo>
                    <a:pt x="21" y="6699"/>
                    <a:pt x="21" y="6699"/>
                    <a:pt x="21" y="6699"/>
                  </a:cubicBezTo>
                  <a:lnTo>
                    <a:pt x="140" y="6691"/>
                  </a:lnTo>
                  <a:close/>
                  <a:moveTo>
                    <a:pt x="127" y="6463"/>
                  </a:moveTo>
                  <a:cubicBezTo>
                    <a:pt x="171" y="6427"/>
                    <a:pt x="198" y="6369"/>
                    <a:pt x="206" y="6348"/>
                  </a:cubicBezTo>
                  <a:cubicBezTo>
                    <a:pt x="220" y="6355"/>
                    <a:pt x="253" y="6373"/>
                    <a:pt x="312" y="6402"/>
                  </a:cubicBezTo>
                  <a:cubicBezTo>
                    <a:pt x="377" y="6434"/>
                    <a:pt x="483" y="6508"/>
                    <a:pt x="516" y="6532"/>
                  </a:cubicBezTo>
                  <a:cubicBezTo>
                    <a:pt x="413" y="6577"/>
                    <a:pt x="413" y="6577"/>
                    <a:pt x="413" y="6577"/>
                  </a:cubicBezTo>
                  <a:cubicBezTo>
                    <a:pt x="280" y="6493"/>
                    <a:pt x="280" y="6493"/>
                    <a:pt x="280" y="6493"/>
                  </a:cubicBezTo>
                  <a:cubicBezTo>
                    <a:pt x="269" y="6501"/>
                    <a:pt x="269" y="6501"/>
                    <a:pt x="269" y="6501"/>
                  </a:cubicBezTo>
                  <a:cubicBezTo>
                    <a:pt x="297" y="6607"/>
                    <a:pt x="297" y="6607"/>
                    <a:pt x="297" y="6607"/>
                  </a:cubicBezTo>
                  <a:cubicBezTo>
                    <a:pt x="232" y="6656"/>
                    <a:pt x="232" y="6656"/>
                    <a:pt x="232" y="6656"/>
                  </a:cubicBezTo>
                  <a:cubicBezTo>
                    <a:pt x="139" y="6544"/>
                    <a:pt x="139" y="6544"/>
                    <a:pt x="139" y="6544"/>
                  </a:cubicBezTo>
                  <a:cubicBezTo>
                    <a:pt x="125" y="6549"/>
                    <a:pt x="125" y="6549"/>
                    <a:pt x="125" y="6549"/>
                  </a:cubicBezTo>
                  <a:cubicBezTo>
                    <a:pt x="125" y="6677"/>
                    <a:pt x="125" y="6677"/>
                    <a:pt x="125" y="6677"/>
                  </a:cubicBezTo>
                  <a:cubicBezTo>
                    <a:pt x="33" y="6684"/>
                    <a:pt x="33" y="6684"/>
                    <a:pt x="33" y="6684"/>
                  </a:cubicBezTo>
                  <a:cubicBezTo>
                    <a:pt x="8" y="6540"/>
                    <a:pt x="8" y="6540"/>
                    <a:pt x="8" y="6540"/>
                  </a:cubicBezTo>
                  <a:cubicBezTo>
                    <a:pt x="25" y="6531"/>
                    <a:pt x="82" y="6500"/>
                    <a:pt x="127" y="6463"/>
                  </a:cubicBezTo>
                  <a:close/>
                  <a:moveTo>
                    <a:pt x="1097" y="6711"/>
                  </a:moveTo>
                  <a:cubicBezTo>
                    <a:pt x="1106" y="6728"/>
                    <a:pt x="1109" y="6740"/>
                    <a:pt x="1109" y="6748"/>
                  </a:cubicBezTo>
                  <a:cubicBezTo>
                    <a:pt x="1109" y="6762"/>
                    <a:pt x="1101" y="6763"/>
                    <a:pt x="1088" y="6764"/>
                  </a:cubicBezTo>
                  <a:cubicBezTo>
                    <a:pt x="1078" y="6764"/>
                    <a:pt x="1069" y="6762"/>
                    <a:pt x="1069" y="6762"/>
                  </a:cubicBezTo>
                  <a:cubicBezTo>
                    <a:pt x="1054" y="6757"/>
                    <a:pt x="1054" y="6757"/>
                    <a:pt x="1054" y="6757"/>
                  </a:cubicBezTo>
                  <a:cubicBezTo>
                    <a:pt x="1089" y="6832"/>
                    <a:pt x="1089" y="6832"/>
                    <a:pt x="1089" y="6832"/>
                  </a:cubicBezTo>
                  <a:cubicBezTo>
                    <a:pt x="1091" y="6833"/>
                    <a:pt x="1091" y="6833"/>
                    <a:pt x="1091" y="6833"/>
                  </a:cubicBezTo>
                  <a:cubicBezTo>
                    <a:pt x="1092" y="6833"/>
                    <a:pt x="1135" y="6852"/>
                    <a:pt x="1173" y="6852"/>
                  </a:cubicBezTo>
                  <a:cubicBezTo>
                    <a:pt x="1187" y="6852"/>
                    <a:pt x="1200" y="6850"/>
                    <a:pt x="1211" y="6842"/>
                  </a:cubicBezTo>
                  <a:cubicBezTo>
                    <a:pt x="1226" y="6830"/>
                    <a:pt x="1229" y="6809"/>
                    <a:pt x="1229" y="6789"/>
                  </a:cubicBezTo>
                  <a:cubicBezTo>
                    <a:pt x="1229" y="6767"/>
                    <a:pt x="1225" y="6745"/>
                    <a:pt x="1222" y="6730"/>
                  </a:cubicBezTo>
                  <a:cubicBezTo>
                    <a:pt x="1268" y="6761"/>
                    <a:pt x="1268" y="6761"/>
                    <a:pt x="1268" y="6761"/>
                  </a:cubicBezTo>
                  <a:cubicBezTo>
                    <a:pt x="1337" y="6708"/>
                    <a:pt x="1337" y="6708"/>
                    <a:pt x="1337" y="6708"/>
                  </a:cubicBezTo>
                  <a:cubicBezTo>
                    <a:pt x="1346" y="6701"/>
                    <a:pt x="1346" y="6701"/>
                    <a:pt x="1346" y="6701"/>
                  </a:cubicBezTo>
                  <a:cubicBezTo>
                    <a:pt x="986" y="6494"/>
                    <a:pt x="986" y="6494"/>
                    <a:pt x="986" y="6494"/>
                  </a:cubicBezTo>
                  <a:cubicBezTo>
                    <a:pt x="952" y="6546"/>
                    <a:pt x="952" y="6546"/>
                    <a:pt x="952" y="6546"/>
                  </a:cubicBezTo>
                  <a:cubicBezTo>
                    <a:pt x="957" y="6550"/>
                    <a:pt x="957" y="6550"/>
                    <a:pt x="957" y="6550"/>
                  </a:cubicBezTo>
                  <a:cubicBezTo>
                    <a:pt x="957" y="6550"/>
                    <a:pt x="1054" y="6629"/>
                    <a:pt x="1097" y="6711"/>
                  </a:cubicBezTo>
                  <a:close/>
                  <a:moveTo>
                    <a:pt x="991" y="6514"/>
                  </a:moveTo>
                  <a:cubicBezTo>
                    <a:pt x="1319" y="6703"/>
                    <a:pt x="1319" y="6703"/>
                    <a:pt x="1319" y="6703"/>
                  </a:cubicBezTo>
                  <a:cubicBezTo>
                    <a:pt x="1268" y="6743"/>
                    <a:pt x="1268" y="6743"/>
                    <a:pt x="1268" y="6743"/>
                  </a:cubicBezTo>
                  <a:cubicBezTo>
                    <a:pt x="1197" y="6695"/>
                    <a:pt x="1197" y="6695"/>
                    <a:pt x="1197" y="6695"/>
                  </a:cubicBezTo>
                  <a:cubicBezTo>
                    <a:pt x="1203" y="6715"/>
                    <a:pt x="1203" y="6715"/>
                    <a:pt x="1203" y="6715"/>
                  </a:cubicBezTo>
                  <a:cubicBezTo>
                    <a:pt x="1203" y="6715"/>
                    <a:pt x="1215" y="6754"/>
                    <a:pt x="1215" y="6789"/>
                  </a:cubicBezTo>
                  <a:cubicBezTo>
                    <a:pt x="1215" y="6808"/>
                    <a:pt x="1210" y="6824"/>
                    <a:pt x="1202" y="6830"/>
                  </a:cubicBezTo>
                  <a:cubicBezTo>
                    <a:pt x="1195" y="6835"/>
                    <a:pt x="1185" y="6837"/>
                    <a:pt x="1173" y="6837"/>
                  </a:cubicBezTo>
                  <a:cubicBezTo>
                    <a:pt x="1145" y="6837"/>
                    <a:pt x="1109" y="6824"/>
                    <a:pt x="1100" y="6820"/>
                  </a:cubicBezTo>
                  <a:cubicBezTo>
                    <a:pt x="1080" y="6778"/>
                    <a:pt x="1080" y="6778"/>
                    <a:pt x="1080" y="6778"/>
                  </a:cubicBezTo>
                  <a:cubicBezTo>
                    <a:pt x="1082" y="6779"/>
                    <a:pt x="1085" y="6779"/>
                    <a:pt x="1088" y="6779"/>
                  </a:cubicBezTo>
                  <a:cubicBezTo>
                    <a:pt x="1095" y="6779"/>
                    <a:pt x="1104" y="6778"/>
                    <a:pt x="1111" y="6773"/>
                  </a:cubicBezTo>
                  <a:cubicBezTo>
                    <a:pt x="1119" y="6769"/>
                    <a:pt x="1124" y="6759"/>
                    <a:pt x="1124" y="6748"/>
                  </a:cubicBezTo>
                  <a:cubicBezTo>
                    <a:pt x="1124" y="6736"/>
                    <a:pt x="1119" y="6722"/>
                    <a:pt x="1110" y="6704"/>
                  </a:cubicBezTo>
                  <a:cubicBezTo>
                    <a:pt x="1071" y="6629"/>
                    <a:pt x="992" y="6560"/>
                    <a:pt x="972" y="6543"/>
                  </a:cubicBezTo>
                  <a:lnTo>
                    <a:pt x="991" y="6514"/>
                  </a:lnTo>
                  <a:close/>
                  <a:moveTo>
                    <a:pt x="766" y="6374"/>
                  </a:moveTo>
                  <a:cubicBezTo>
                    <a:pt x="772" y="6367"/>
                    <a:pt x="772" y="6367"/>
                    <a:pt x="772" y="6367"/>
                  </a:cubicBezTo>
                  <a:cubicBezTo>
                    <a:pt x="470" y="6197"/>
                    <a:pt x="470" y="6197"/>
                    <a:pt x="470" y="6197"/>
                  </a:cubicBezTo>
                  <a:cubicBezTo>
                    <a:pt x="444" y="6231"/>
                    <a:pt x="444" y="6231"/>
                    <a:pt x="444" y="6231"/>
                  </a:cubicBezTo>
                  <a:cubicBezTo>
                    <a:pt x="450" y="6236"/>
                    <a:pt x="450" y="6236"/>
                    <a:pt x="450" y="6236"/>
                  </a:cubicBezTo>
                  <a:cubicBezTo>
                    <a:pt x="468" y="6248"/>
                    <a:pt x="519" y="6281"/>
                    <a:pt x="568" y="6317"/>
                  </a:cubicBezTo>
                  <a:cubicBezTo>
                    <a:pt x="617" y="6354"/>
                    <a:pt x="664" y="6395"/>
                    <a:pt x="673" y="6420"/>
                  </a:cubicBezTo>
                  <a:cubicBezTo>
                    <a:pt x="676" y="6428"/>
                    <a:pt x="684" y="6434"/>
                    <a:pt x="691" y="6434"/>
                  </a:cubicBezTo>
                  <a:cubicBezTo>
                    <a:pt x="691" y="6434"/>
                    <a:pt x="692" y="6434"/>
                    <a:pt x="692" y="6434"/>
                  </a:cubicBezTo>
                  <a:cubicBezTo>
                    <a:pt x="709" y="6433"/>
                    <a:pt x="725" y="6417"/>
                    <a:pt x="740" y="6403"/>
                  </a:cubicBezTo>
                  <a:cubicBezTo>
                    <a:pt x="755" y="6388"/>
                    <a:pt x="766" y="6374"/>
                    <a:pt x="766" y="6374"/>
                  </a:cubicBezTo>
                  <a:close/>
                  <a:moveTo>
                    <a:pt x="692" y="6419"/>
                  </a:moveTo>
                  <a:cubicBezTo>
                    <a:pt x="689" y="6418"/>
                    <a:pt x="689" y="6419"/>
                    <a:pt x="687" y="6415"/>
                  </a:cubicBezTo>
                  <a:cubicBezTo>
                    <a:pt x="674" y="6383"/>
                    <a:pt x="626" y="6343"/>
                    <a:pt x="577" y="6306"/>
                  </a:cubicBezTo>
                  <a:cubicBezTo>
                    <a:pt x="532" y="6272"/>
                    <a:pt x="486" y="6242"/>
                    <a:pt x="465" y="6228"/>
                  </a:cubicBezTo>
                  <a:cubicBezTo>
                    <a:pt x="474" y="6216"/>
                    <a:pt x="474" y="6216"/>
                    <a:pt x="474" y="6216"/>
                  </a:cubicBezTo>
                  <a:cubicBezTo>
                    <a:pt x="749" y="6371"/>
                    <a:pt x="749" y="6371"/>
                    <a:pt x="749" y="6371"/>
                  </a:cubicBezTo>
                  <a:cubicBezTo>
                    <a:pt x="745" y="6377"/>
                    <a:pt x="738" y="6385"/>
                    <a:pt x="730" y="6393"/>
                  </a:cubicBezTo>
                  <a:cubicBezTo>
                    <a:pt x="717" y="6407"/>
                    <a:pt x="698" y="6420"/>
                    <a:pt x="692" y="6419"/>
                  </a:cubicBezTo>
                  <a:close/>
                  <a:moveTo>
                    <a:pt x="1474" y="7012"/>
                  </a:moveTo>
                  <a:cubicBezTo>
                    <a:pt x="1521" y="6927"/>
                    <a:pt x="1521" y="6927"/>
                    <a:pt x="1521" y="6927"/>
                  </a:cubicBezTo>
                  <a:cubicBezTo>
                    <a:pt x="1599" y="7013"/>
                    <a:pt x="1599" y="7013"/>
                    <a:pt x="1599" y="7013"/>
                  </a:cubicBezTo>
                  <a:cubicBezTo>
                    <a:pt x="1700" y="7065"/>
                    <a:pt x="1700" y="7065"/>
                    <a:pt x="1700" y="7065"/>
                  </a:cubicBezTo>
                  <a:cubicBezTo>
                    <a:pt x="1809" y="6985"/>
                    <a:pt x="1809" y="6985"/>
                    <a:pt x="1809" y="6985"/>
                  </a:cubicBezTo>
                  <a:cubicBezTo>
                    <a:pt x="1818" y="6978"/>
                    <a:pt x="1818" y="6978"/>
                    <a:pt x="1818" y="6978"/>
                  </a:cubicBezTo>
                  <a:cubicBezTo>
                    <a:pt x="1455" y="6763"/>
                    <a:pt x="1455" y="6763"/>
                    <a:pt x="1455" y="6763"/>
                  </a:cubicBezTo>
                  <a:cubicBezTo>
                    <a:pt x="1373" y="6940"/>
                    <a:pt x="1373" y="6940"/>
                    <a:pt x="1373" y="6940"/>
                  </a:cubicBezTo>
                  <a:cubicBezTo>
                    <a:pt x="1424" y="7046"/>
                    <a:pt x="1424" y="7046"/>
                    <a:pt x="1424" y="7046"/>
                  </a:cubicBezTo>
                  <a:lnTo>
                    <a:pt x="1474" y="7012"/>
                  </a:lnTo>
                  <a:close/>
                  <a:moveTo>
                    <a:pt x="1461" y="6784"/>
                  </a:moveTo>
                  <a:cubicBezTo>
                    <a:pt x="1791" y="6980"/>
                    <a:pt x="1791" y="6980"/>
                    <a:pt x="1791" y="6980"/>
                  </a:cubicBezTo>
                  <a:cubicBezTo>
                    <a:pt x="1699" y="7048"/>
                    <a:pt x="1699" y="7048"/>
                    <a:pt x="1699" y="7048"/>
                  </a:cubicBezTo>
                  <a:cubicBezTo>
                    <a:pt x="1608" y="7001"/>
                    <a:pt x="1608" y="7001"/>
                    <a:pt x="1608" y="7001"/>
                  </a:cubicBezTo>
                  <a:cubicBezTo>
                    <a:pt x="1518" y="6902"/>
                    <a:pt x="1518" y="6902"/>
                    <a:pt x="1518" y="6902"/>
                  </a:cubicBezTo>
                  <a:cubicBezTo>
                    <a:pt x="1462" y="7001"/>
                    <a:pt x="1462" y="7001"/>
                    <a:pt x="1462" y="7001"/>
                  </a:cubicBezTo>
                  <a:cubicBezTo>
                    <a:pt x="1430" y="7024"/>
                    <a:pt x="1430" y="7024"/>
                    <a:pt x="1430" y="7024"/>
                  </a:cubicBezTo>
                  <a:cubicBezTo>
                    <a:pt x="1389" y="6940"/>
                    <a:pt x="1389" y="6940"/>
                    <a:pt x="1389" y="6940"/>
                  </a:cubicBezTo>
                  <a:lnTo>
                    <a:pt x="1461" y="6784"/>
                  </a:lnTo>
                  <a:close/>
                  <a:moveTo>
                    <a:pt x="1927" y="7420"/>
                  </a:moveTo>
                  <a:cubicBezTo>
                    <a:pt x="1920" y="7382"/>
                    <a:pt x="1920" y="7382"/>
                    <a:pt x="1920" y="7382"/>
                  </a:cubicBezTo>
                  <a:cubicBezTo>
                    <a:pt x="1967" y="7313"/>
                    <a:pt x="1967" y="7313"/>
                    <a:pt x="1967" y="7313"/>
                  </a:cubicBezTo>
                  <a:cubicBezTo>
                    <a:pt x="2007" y="7339"/>
                    <a:pt x="2007" y="7339"/>
                    <a:pt x="2007" y="7339"/>
                  </a:cubicBezTo>
                  <a:cubicBezTo>
                    <a:pt x="2168" y="7195"/>
                    <a:pt x="2168" y="7195"/>
                    <a:pt x="2168" y="7195"/>
                  </a:cubicBezTo>
                  <a:cubicBezTo>
                    <a:pt x="2174" y="7189"/>
                    <a:pt x="2174" y="7189"/>
                    <a:pt x="2174" y="7189"/>
                  </a:cubicBezTo>
                  <a:cubicBezTo>
                    <a:pt x="2051" y="7095"/>
                    <a:pt x="2051" y="7095"/>
                    <a:pt x="2051" y="7095"/>
                  </a:cubicBezTo>
                  <a:cubicBezTo>
                    <a:pt x="1861" y="7325"/>
                    <a:pt x="1861" y="7325"/>
                    <a:pt x="1861" y="7325"/>
                  </a:cubicBezTo>
                  <a:cubicBezTo>
                    <a:pt x="1823" y="7304"/>
                    <a:pt x="1823" y="7304"/>
                    <a:pt x="1823" y="7304"/>
                  </a:cubicBezTo>
                  <a:cubicBezTo>
                    <a:pt x="1810" y="7422"/>
                    <a:pt x="1810" y="7422"/>
                    <a:pt x="1810" y="7422"/>
                  </a:cubicBezTo>
                  <a:cubicBezTo>
                    <a:pt x="1873" y="7493"/>
                    <a:pt x="1873" y="7493"/>
                    <a:pt x="1873" y="7493"/>
                  </a:cubicBezTo>
                  <a:lnTo>
                    <a:pt x="1927" y="7420"/>
                  </a:lnTo>
                  <a:close/>
                  <a:moveTo>
                    <a:pt x="1826" y="7417"/>
                  </a:moveTo>
                  <a:cubicBezTo>
                    <a:pt x="1835" y="7327"/>
                    <a:pt x="1835" y="7327"/>
                    <a:pt x="1835" y="7327"/>
                  </a:cubicBezTo>
                  <a:cubicBezTo>
                    <a:pt x="1865" y="7343"/>
                    <a:pt x="1865" y="7343"/>
                    <a:pt x="1865" y="7343"/>
                  </a:cubicBezTo>
                  <a:cubicBezTo>
                    <a:pt x="2054" y="7115"/>
                    <a:pt x="2054" y="7115"/>
                    <a:pt x="2054" y="7115"/>
                  </a:cubicBezTo>
                  <a:cubicBezTo>
                    <a:pt x="2151" y="7190"/>
                    <a:pt x="2151" y="7190"/>
                    <a:pt x="2151" y="7190"/>
                  </a:cubicBezTo>
                  <a:cubicBezTo>
                    <a:pt x="2005" y="7320"/>
                    <a:pt x="2005" y="7320"/>
                    <a:pt x="2005" y="7320"/>
                  </a:cubicBezTo>
                  <a:cubicBezTo>
                    <a:pt x="1963" y="7293"/>
                    <a:pt x="1963" y="7293"/>
                    <a:pt x="1963" y="7293"/>
                  </a:cubicBezTo>
                  <a:cubicBezTo>
                    <a:pt x="1905" y="7378"/>
                    <a:pt x="1905" y="7378"/>
                    <a:pt x="1905" y="7378"/>
                  </a:cubicBezTo>
                  <a:cubicBezTo>
                    <a:pt x="1911" y="7416"/>
                    <a:pt x="1911" y="7416"/>
                    <a:pt x="1911" y="7416"/>
                  </a:cubicBezTo>
                  <a:cubicBezTo>
                    <a:pt x="1872" y="7470"/>
                    <a:pt x="1872" y="7470"/>
                    <a:pt x="1872" y="7470"/>
                  </a:cubicBezTo>
                  <a:lnTo>
                    <a:pt x="1826" y="7417"/>
                  </a:lnTo>
                  <a:close/>
                  <a:moveTo>
                    <a:pt x="2117" y="7651"/>
                  </a:moveTo>
                  <a:cubicBezTo>
                    <a:pt x="2089" y="7601"/>
                    <a:pt x="2089" y="7601"/>
                    <a:pt x="2089" y="7601"/>
                  </a:cubicBezTo>
                  <a:cubicBezTo>
                    <a:pt x="2143" y="7538"/>
                    <a:pt x="2143" y="7538"/>
                    <a:pt x="2143" y="7538"/>
                  </a:cubicBezTo>
                  <a:cubicBezTo>
                    <a:pt x="2192" y="7561"/>
                    <a:pt x="2192" y="7561"/>
                    <a:pt x="2192" y="7561"/>
                  </a:cubicBezTo>
                  <a:cubicBezTo>
                    <a:pt x="2340" y="7329"/>
                    <a:pt x="2340" y="7329"/>
                    <a:pt x="2340" y="7329"/>
                  </a:cubicBezTo>
                  <a:cubicBezTo>
                    <a:pt x="2344" y="7323"/>
                    <a:pt x="2344" y="7323"/>
                    <a:pt x="2344" y="7323"/>
                  </a:cubicBezTo>
                  <a:cubicBezTo>
                    <a:pt x="2229" y="7250"/>
                    <a:pt x="2229" y="7250"/>
                    <a:pt x="2229" y="7250"/>
                  </a:cubicBezTo>
                  <a:cubicBezTo>
                    <a:pt x="2055" y="7455"/>
                    <a:pt x="2055" y="7455"/>
                    <a:pt x="2055" y="7455"/>
                  </a:cubicBezTo>
                  <a:cubicBezTo>
                    <a:pt x="2083" y="7496"/>
                    <a:pt x="2083" y="7496"/>
                    <a:pt x="2083" y="7496"/>
                  </a:cubicBezTo>
                  <a:cubicBezTo>
                    <a:pt x="2004" y="7567"/>
                    <a:pt x="2004" y="7567"/>
                    <a:pt x="2004" y="7567"/>
                  </a:cubicBezTo>
                  <a:cubicBezTo>
                    <a:pt x="1965" y="7538"/>
                    <a:pt x="1965" y="7538"/>
                    <a:pt x="1965" y="7538"/>
                  </a:cubicBezTo>
                  <a:cubicBezTo>
                    <a:pt x="1911" y="7577"/>
                    <a:pt x="1911" y="7577"/>
                    <a:pt x="1911" y="7577"/>
                  </a:cubicBezTo>
                  <a:cubicBezTo>
                    <a:pt x="1891" y="7743"/>
                    <a:pt x="1891" y="7743"/>
                    <a:pt x="1891" y="7743"/>
                  </a:cubicBezTo>
                  <a:cubicBezTo>
                    <a:pt x="1959" y="7772"/>
                    <a:pt x="1959" y="7772"/>
                    <a:pt x="1959" y="7772"/>
                  </a:cubicBezTo>
                  <a:lnTo>
                    <a:pt x="2117" y="7651"/>
                  </a:lnTo>
                  <a:close/>
                  <a:moveTo>
                    <a:pt x="1907" y="7734"/>
                  </a:moveTo>
                  <a:cubicBezTo>
                    <a:pt x="1925" y="7585"/>
                    <a:pt x="1925" y="7585"/>
                    <a:pt x="1925" y="7585"/>
                  </a:cubicBezTo>
                  <a:cubicBezTo>
                    <a:pt x="1965" y="7556"/>
                    <a:pt x="1965" y="7556"/>
                    <a:pt x="1965" y="7556"/>
                  </a:cubicBezTo>
                  <a:cubicBezTo>
                    <a:pt x="2004" y="7586"/>
                    <a:pt x="2004" y="7586"/>
                    <a:pt x="2004" y="7586"/>
                  </a:cubicBezTo>
                  <a:cubicBezTo>
                    <a:pt x="2102" y="7498"/>
                    <a:pt x="2102" y="7498"/>
                    <a:pt x="2102" y="7498"/>
                  </a:cubicBezTo>
                  <a:cubicBezTo>
                    <a:pt x="2073" y="7456"/>
                    <a:pt x="2073" y="7456"/>
                    <a:pt x="2073" y="7456"/>
                  </a:cubicBezTo>
                  <a:cubicBezTo>
                    <a:pt x="2232" y="7270"/>
                    <a:pt x="2232" y="7270"/>
                    <a:pt x="2232" y="7270"/>
                  </a:cubicBezTo>
                  <a:cubicBezTo>
                    <a:pt x="2323" y="7327"/>
                    <a:pt x="2323" y="7327"/>
                    <a:pt x="2323" y="7327"/>
                  </a:cubicBezTo>
                  <a:cubicBezTo>
                    <a:pt x="2187" y="7542"/>
                    <a:pt x="2187" y="7542"/>
                    <a:pt x="2187" y="7542"/>
                  </a:cubicBezTo>
                  <a:cubicBezTo>
                    <a:pt x="2139" y="7520"/>
                    <a:pt x="2139" y="7520"/>
                    <a:pt x="2139" y="7520"/>
                  </a:cubicBezTo>
                  <a:cubicBezTo>
                    <a:pt x="2071" y="7599"/>
                    <a:pt x="2071" y="7599"/>
                    <a:pt x="2071" y="7599"/>
                  </a:cubicBezTo>
                  <a:cubicBezTo>
                    <a:pt x="2098" y="7647"/>
                    <a:pt x="2098" y="7647"/>
                    <a:pt x="2098" y="7647"/>
                  </a:cubicBezTo>
                  <a:cubicBezTo>
                    <a:pt x="1957" y="7755"/>
                    <a:pt x="1957" y="7755"/>
                    <a:pt x="1957" y="7755"/>
                  </a:cubicBezTo>
                  <a:lnTo>
                    <a:pt x="1907" y="7734"/>
                  </a:lnTo>
                  <a:close/>
                  <a:moveTo>
                    <a:pt x="2599" y="7503"/>
                  </a:moveTo>
                  <a:cubicBezTo>
                    <a:pt x="2429" y="7394"/>
                    <a:pt x="2429" y="7394"/>
                    <a:pt x="2429" y="7394"/>
                  </a:cubicBezTo>
                  <a:cubicBezTo>
                    <a:pt x="2356" y="7613"/>
                    <a:pt x="2356" y="7613"/>
                    <a:pt x="2356" y="7613"/>
                  </a:cubicBezTo>
                  <a:cubicBezTo>
                    <a:pt x="2383" y="7642"/>
                    <a:pt x="2383" y="7642"/>
                    <a:pt x="2383" y="7642"/>
                  </a:cubicBezTo>
                  <a:cubicBezTo>
                    <a:pt x="2323" y="7746"/>
                    <a:pt x="2323" y="7746"/>
                    <a:pt x="2323" y="7746"/>
                  </a:cubicBezTo>
                  <a:cubicBezTo>
                    <a:pt x="2287" y="7749"/>
                    <a:pt x="2287" y="7749"/>
                    <a:pt x="2287" y="7749"/>
                  </a:cubicBezTo>
                  <a:cubicBezTo>
                    <a:pt x="2261" y="7847"/>
                    <a:pt x="2261" y="7847"/>
                    <a:pt x="2261" y="7847"/>
                  </a:cubicBezTo>
                  <a:cubicBezTo>
                    <a:pt x="1993" y="7936"/>
                    <a:pt x="1993" y="7936"/>
                    <a:pt x="1993" y="7936"/>
                  </a:cubicBezTo>
                  <a:cubicBezTo>
                    <a:pt x="1956" y="8015"/>
                    <a:pt x="1956" y="8015"/>
                    <a:pt x="1956" y="8015"/>
                  </a:cubicBezTo>
                  <a:cubicBezTo>
                    <a:pt x="2103" y="8073"/>
                    <a:pt x="2103" y="8073"/>
                    <a:pt x="2103" y="8073"/>
                  </a:cubicBezTo>
                  <a:cubicBezTo>
                    <a:pt x="2158" y="7985"/>
                    <a:pt x="2158" y="7985"/>
                    <a:pt x="2158" y="7985"/>
                  </a:cubicBezTo>
                  <a:cubicBezTo>
                    <a:pt x="2187" y="7998"/>
                    <a:pt x="2187" y="7998"/>
                    <a:pt x="2187" y="7998"/>
                  </a:cubicBezTo>
                  <a:cubicBezTo>
                    <a:pt x="2358" y="7917"/>
                    <a:pt x="2358" y="7917"/>
                    <a:pt x="2358" y="7917"/>
                  </a:cubicBezTo>
                  <a:cubicBezTo>
                    <a:pt x="2382" y="7800"/>
                    <a:pt x="2382" y="7800"/>
                    <a:pt x="2382" y="7800"/>
                  </a:cubicBezTo>
                  <a:cubicBezTo>
                    <a:pt x="2427" y="7797"/>
                    <a:pt x="2427" y="7797"/>
                    <a:pt x="2427" y="7797"/>
                  </a:cubicBezTo>
                  <a:cubicBezTo>
                    <a:pt x="2595" y="7509"/>
                    <a:pt x="2595" y="7509"/>
                    <a:pt x="2595" y="7509"/>
                  </a:cubicBezTo>
                  <a:lnTo>
                    <a:pt x="2599" y="7503"/>
                  </a:lnTo>
                  <a:close/>
                  <a:moveTo>
                    <a:pt x="2418" y="7783"/>
                  </a:moveTo>
                  <a:cubicBezTo>
                    <a:pt x="2369" y="7786"/>
                    <a:pt x="2369" y="7786"/>
                    <a:pt x="2369" y="7786"/>
                  </a:cubicBezTo>
                  <a:cubicBezTo>
                    <a:pt x="2345" y="7907"/>
                    <a:pt x="2345" y="7907"/>
                    <a:pt x="2345" y="7907"/>
                  </a:cubicBezTo>
                  <a:cubicBezTo>
                    <a:pt x="2186" y="7982"/>
                    <a:pt x="2186" y="7982"/>
                    <a:pt x="2186" y="7982"/>
                  </a:cubicBezTo>
                  <a:cubicBezTo>
                    <a:pt x="2152" y="7966"/>
                    <a:pt x="2152" y="7966"/>
                    <a:pt x="2152" y="7966"/>
                  </a:cubicBezTo>
                  <a:cubicBezTo>
                    <a:pt x="2097" y="8055"/>
                    <a:pt x="2097" y="8055"/>
                    <a:pt x="2097" y="8055"/>
                  </a:cubicBezTo>
                  <a:cubicBezTo>
                    <a:pt x="1976" y="8007"/>
                    <a:pt x="1976" y="8007"/>
                    <a:pt x="1976" y="8007"/>
                  </a:cubicBezTo>
                  <a:cubicBezTo>
                    <a:pt x="2004" y="7948"/>
                    <a:pt x="2004" y="7948"/>
                    <a:pt x="2004" y="7948"/>
                  </a:cubicBezTo>
                  <a:cubicBezTo>
                    <a:pt x="2273" y="7859"/>
                    <a:pt x="2273" y="7859"/>
                    <a:pt x="2273" y="7859"/>
                  </a:cubicBezTo>
                  <a:cubicBezTo>
                    <a:pt x="2298" y="7763"/>
                    <a:pt x="2298" y="7763"/>
                    <a:pt x="2298" y="7763"/>
                  </a:cubicBezTo>
                  <a:cubicBezTo>
                    <a:pt x="2332" y="7760"/>
                    <a:pt x="2332" y="7760"/>
                    <a:pt x="2332" y="7760"/>
                  </a:cubicBezTo>
                  <a:cubicBezTo>
                    <a:pt x="2401" y="7639"/>
                    <a:pt x="2401" y="7639"/>
                    <a:pt x="2401" y="7639"/>
                  </a:cubicBezTo>
                  <a:cubicBezTo>
                    <a:pt x="2373" y="7609"/>
                    <a:pt x="2373" y="7609"/>
                    <a:pt x="2373" y="7609"/>
                  </a:cubicBezTo>
                  <a:cubicBezTo>
                    <a:pt x="2437" y="7417"/>
                    <a:pt x="2437" y="7417"/>
                    <a:pt x="2437" y="7417"/>
                  </a:cubicBezTo>
                  <a:cubicBezTo>
                    <a:pt x="2579" y="7508"/>
                    <a:pt x="2579" y="7508"/>
                    <a:pt x="2579" y="7508"/>
                  </a:cubicBezTo>
                  <a:lnTo>
                    <a:pt x="2418" y="7783"/>
                  </a:lnTo>
                  <a:close/>
                  <a:moveTo>
                    <a:pt x="2860" y="7654"/>
                  </a:moveTo>
                  <a:cubicBezTo>
                    <a:pt x="2832" y="7564"/>
                    <a:pt x="2832" y="7564"/>
                    <a:pt x="2832" y="7564"/>
                  </a:cubicBezTo>
                  <a:cubicBezTo>
                    <a:pt x="2831" y="7560"/>
                    <a:pt x="2831" y="7560"/>
                    <a:pt x="2831" y="7560"/>
                  </a:cubicBezTo>
                  <a:cubicBezTo>
                    <a:pt x="2727" y="7538"/>
                    <a:pt x="2727" y="7538"/>
                    <a:pt x="2727" y="7538"/>
                  </a:cubicBezTo>
                  <a:cubicBezTo>
                    <a:pt x="2540" y="7946"/>
                    <a:pt x="2540" y="7946"/>
                    <a:pt x="2540" y="7946"/>
                  </a:cubicBezTo>
                  <a:cubicBezTo>
                    <a:pt x="2606" y="7934"/>
                    <a:pt x="2606" y="7934"/>
                    <a:pt x="2606" y="7934"/>
                  </a:cubicBezTo>
                  <a:lnTo>
                    <a:pt x="2860" y="7654"/>
                  </a:lnTo>
                  <a:close/>
                  <a:moveTo>
                    <a:pt x="2565" y="7926"/>
                  </a:moveTo>
                  <a:cubicBezTo>
                    <a:pt x="2735" y="7555"/>
                    <a:pt x="2735" y="7555"/>
                    <a:pt x="2735" y="7555"/>
                  </a:cubicBezTo>
                  <a:cubicBezTo>
                    <a:pt x="2819" y="7573"/>
                    <a:pt x="2819" y="7573"/>
                    <a:pt x="2819" y="7573"/>
                  </a:cubicBezTo>
                  <a:cubicBezTo>
                    <a:pt x="2844" y="7650"/>
                    <a:pt x="2844" y="7650"/>
                    <a:pt x="2844" y="7650"/>
                  </a:cubicBezTo>
                  <a:cubicBezTo>
                    <a:pt x="2598" y="7920"/>
                    <a:pt x="2598" y="7920"/>
                    <a:pt x="2598" y="7920"/>
                  </a:cubicBezTo>
                  <a:lnTo>
                    <a:pt x="2565" y="7926"/>
                  </a:lnTo>
                  <a:close/>
                  <a:moveTo>
                    <a:pt x="3018" y="7636"/>
                  </a:moveTo>
                  <a:cubicBezTo>
                    <a:pt x="3018" y="7636"/>
                    <a:pt x="3124" y="7635"/>
                    <a:pt x="3176" y="7618"/>
                  </a:cubicBezTo>
                  <a:cubicBezTo>
                    <a:pt x="3217" y="7604"/>
                    <a:pt x="3249" y="7554"/>
                    <a:pt x="3263" y="7529"/>
                  </a:cubicBezTo>
                  <a:cubicBezTo>
                    <a:pt x="3283" y="7584"/>
                    <a:pt x="3283" y="7584"/>
                    <a:pt x="3283" y="7584"/>
                  </a:cubicBezTo>
                  <a:cubicBezTo>
                    <a:pt x="3358" y="7534"/>
                    <a:pt x="3358" y="7534"/>
                    <a:pt x="3358" y="7534"/>
                  </a:cubicBezTo>
                  <a:cubicBezTo>
                    <a:pt x="3364" y="7529"/>
                    <a:pt x="3364" y="7529"/>
                    <a:pt x="3364" y="7529"/>
                  </a:cubicBezTo>
                  <a:cubicBezTo>
                    <a:pt x="3245" y="7375"/>
                    <a:pt x="3245" y="7375"/>
                    <a:pt x="3245" y="7375"/>
                  </a:cubicBezTo>
                  <a:cubicBezTo>
                    <a:pt x="3102" y="7495"/>
                    <a:pt x="3102" y="7495"/>
                    <a:pt x="3102" y="7495"/>
                  </a:cubicBezTo>
                  <a:cubicBezTo>
                    <a:pt x="3053" y="7518"/>
                    <a:pt x="3004" y="7518"/>
                    <a:pt x="3001" y="7518"/>
                  </a:cubicBezTo>
                  <a:cubicBezTo>
                    <a:pt x="3001" y="7518"/>
                    <a:pt x="3001" y="7518"/>
                    <a:pt x="3000" y="7519"/>
                  </a:cubicBezTo>
                  <a:cubicBezTo>
                    <a:pt x="2993" y="7519"/>
                    <a:pt x="2993" y="7519"/>
                    <a:pt x="2993" y="7519"/>
                  </a:cubicBezTo>
                  <a:cubicBezTo>
                    <a:pt x="3011" y="7636"/>
                    <a:pt x="3011" y="7636"/>
                    <a:pt x="3011" y="7636"/>
                  </a:cubicBezTo>
                  <a:lnTo>
                    <a:pt x="3018" y="7636"/>
                  </a:lnTo>
                  <a:close/>
                  <a:moveTo>
                    <a:pt x="3110" y="7508"/>
                  </a:moveTo>
                  <a:cubicBezTo>
                    <a:pt x="3110" y="7507"/>
                    <a:pt x="3110" y="7507"/>
                    <a:pt x="3110" y="7507"/>
                  </a:cubicBezTo>
                  <a:cubicBezTo>
                    <a:pt x="3243" y="7396"/>
                    <a:pt x="3243" y="7396"/>
                    <a:pt x="3243" y="7396"/>
                  </a:cubicBezTo>
                  <a:cubicBezTo>
                    <a:pt x="3343" y="7526"/>
                    <a:pt x="3343" y="7526"/>
                    <a:pt x="3343" y="7526"/>
                  </a:cubicBezTo>
                  <a:cubicBezTo>
                    <a:pt x="3290" y="7561"/>
                    <a:pt x="3290" y="7561"/>
                    <a:pt x="3290" y="7561"/>
                  </a:cubicBezTo>
                  <a:cubicBezTo>
                    <a:pt x="3264" y="7493"/>
                    <a:pt x="3264" y="7493"/>
                    <a:pt x="3264" y="7493"/>
                  </a:cubicBezTo>
                  <a:cubicBezTo>
                    <a:pt x="3257" y="7508"/>
                    <a:pt x="3257" y="7508"/>
                    <a:pt x="3257" y="7508"/>
                  </a:cubicBezTo>
                  <a:cubicBezTo>
                    <a:pt x="3257" y="7508"/>
                    <a:pt x="3247" y="7528"/>
                    <a:pt x="3231" y="7551"/>
                  </a:cubicBezTo>
                  <a:cubicBezTo>
                    <a:pt x="3216" y="7573"/>
                    <a:pt x="3194" y="7597"/>
                    <a:pt x="3171" y="7604"/>
                  </a:cubicBezTo>
                  <a:cubicBezTo>
                    <a:pt x="3131" y="7618"/>
                    <a:pt x="3047" y="7620"/>
                    <a:pt x="3024" y="7621"/>
                  </a:cubicBezTo>
                  <a:cubicBezTo>
                    <a:pt x="3010" y="7533"/>
                    <a:pt x="3010" y="7533"/>
                    <a:pt x="3010" y="7533"/>
                  </a:cubicBezTo>
                  <a:cubicBezTo>
                    <a:pt x="3027" y="7532"/>
                    <a:pt x="3068" y="7528"/>
                    <a:pt x="3110" y="7508"/>
                  </a:cubicBezTo>
                  <a:close/>
                  <a:moveTo>
                    <a:pt x="3503" y="7312"/>
                  </a:moveTo>
                  <a:cubicBezTo>
                    <a:pt x="3503" y="7305"/>
                    <a:pt x="3503" y="7305"/>
                    <a:pt x="3503" y="7305"/>
                  </a:cubicBezTo>
                  <a:cubicBezTo>
                    <a:pt x="3317" y="7329"/>
                    <a:pt x="3317" y="7329"/>
                    <a:pt x="3317" y="7329"/>
                  </a:cubicBezTo>
                  <a:cubicBezTo>
                    <a:pt x="3425" y="7456"/>
                    <a:pt x="3425" y="7456"/>
                    <a:pt x="3425" y="7456"/>
                  </a:cubicBezTo>
                  <a:cubicBezTo>
                    <a:pt x="3510" y="7388"/>
                    <a:pt x="3510" y="7388"/>
                    <a:pt x="3510" y="7388"/>
                  </a:cubicBezTo>
                  <a:lnTo>
                    <a:pt x="3503" y="7312"/>
                  </a:lnTo>
                  <a:close/>
                  <a:moveTo>
                    <a:pt x="3427" y="7435"/>
                  </a:moveTo>
                  <a:cubicBezTo>
                    <a:pt x="3346" y="7340"/>
                    <a:pt x="3346" y="7340"/>
                    <a:pt x="3346" y="7340"/>
                  </a:cubicBezTo>
                  <a:cubicBezTo>
                    <a:pt x="3489" y="7321"/>
                    <a:pt x="3489" y="7321"/>
                    <a:pt x="3489" y="7321"/>
                  </a:cubicBezTo>
                  <a:cubicBezTo>
                    <a:pt x="3494" y="7381"/>
                    <a:pt x="3494" y="7381"/>
                    <a:pt x="3494" y="7381"/>
                  </a:cubicBezTo>
                  <a:lnTo>
                    <a:pt x="3427" y="7435"/>
                  </a:lnTo>
                  <a:close/>
                  <a:moveTo>
                    <a:pt x="4449" y="7078"/>
                  </a:moveTo>
                  <a:cubicBezTo>
                    <a:pt x="4510" y="6771"/>
                    <a:pt x="4510" y="6771"/>
                    <a:pt x="4510" y="6771"/>
                  </a:cubicBezTo>
                  <a:cubicBezTo>
                    <a:pt x="4414" y="6714"/>
                    <a:pt x="4414" y="6714"/>
                    <a:pt x="4414" y="6714"/>
                  </a:cubicBezTo>
                  <a:cubicBezTo>
                    <a:pt x="4343" y="6872"/>
                    <a:pt x="4343" y="6872"/>
                    <a:pt x="4343" y="6872"/>
                  </a:cubicBezTo>
                  <a:cubicBezTo>
                    <a:pt x="4337" y="7065"/>
                    <a:pt x="4337" y="7065"/>
                    <a:pt x="4337" y="7065"/>
                  </a:cubicBezTo>
                  <a:cubicBezTo>
                    <a:pt x="4442" y="7077"/>
                    <a:pt x="4442" y="7077"/>
                    <a:pt x="4442" y="7077"/>
                  </a:cubicBezTo>
                  <a:lnTo>
                    <a:pt x="4449" y="7078"/>
                  </a:lnTo>
                  <a:close/>
                  <a:moveTo>
                    <a:pt x="4352" y="7052"/>
                  </a:moveTo>
                  <a:cubicBezTo>
                    <a:pt x="4357" y="6875"/>
                    <a:pt x="4357" y="6875"/>
                    <a:pt x="4357" y="6875"/>
                  </a:cubicBezTo>
                  <a:cubicBezTo>
                    <a:pt x="4420" y="6735"/>
                    <a:pt x="4420" y="6735"/>
                    <a:pt x="4420" y="6735"/>
                  </a:cubicBezTo>
                  <a:cubicBezTo>
                    <a:pt x="4493" y="6778"/>
                    <a:pt x="4493" y="6778"/>
                    <a:pt x="4493" y="6778"/>
                  </a:cubicBezTo>
                  <a:cubicBezTo>
                    <a:pt x="4437" y="7061"/>
                    <a:pt x="4437" y="7061"/>
                    <a:pt x="4437" y="7061"/>
                  </a:cubicBezTo>
                  <a:lnTo>
                    <a:pt x="4352" y="7052"/>
                  </a:lnTo>
                  <a:close/>
                  <a:moveTo>
                    <a:pt x="3899" y="6375"/>
                  </a:moveTo>
                  <a:cubicBezTo>
                    <a:pt x="3843" y="6511"/>
                    <a:pt x="3843" y="6511"/>
                    <a:pt x="3843" y="6511"/>
                  </a:cubicBezTo>
                  <a:cubicBezTo>
                    <a:pt x="3946" y="6571"/>
                    <a:pt x="3946" y="6571"/>
                    <a:pt x="3946" y="6571"/>
                  </a:cubicBezTo>
                  <a:cubicBezTo>
                    <a:pt x="3967" y="6510"/>
                    <a:pt x="3967" y="6510"/>
                    <a:pt x="3967" y="6510"/>
                  </a:cubicBezTo>
                  <a:cubicBezTo>
                    <a:pt x="4068" y="6482"/>
                    <a:pt x="4068" y="6482"/>
                    <a:pt x="4068" y="6482"/>
                  </a:cubicBezTo>
                  <a:cubicBezTo>
                    <a:pt x="4086" y="6477"/>
                    <a:pt x="4086" y="6477"/>
                    <a:pt x="4086" y="6477"/>
                  </a:cubicBezTo>
                  <a:lnTo>
                    <a:pt x="3899" y="6375"/>
                  </a:lnTo>
                  <a:close/>
                  <a:moveTo>
                    <a:pt x="3955" y="6498"/>
                  </a:moveTo>
                  <a:cubicBezTo>
                    <a:pt x="3938" y="6549"/>
                    <a:pt x="3938" y="6549"/>
                    <a:pt x="3938" y="6549"/>
                  </a:cubicBezTo>
                  <a:cubicBezTo>
                    <a:pt x="3861" y="6505"/>
                    <a:pt x="3861" y="6505"/>
                    <a:pt x="3861" y="6505"/>
                  </a:cubicBezTo>
                  <a:cubicBezTo>
                    <a:pt x="3907" y="6396"/>
                    <a:pt x="3907" y="6396"/>
                    <a:pt x="3907" y="6396"/>
                  </a:cubicBezTo>
                  <a:cubicBezTo>
                    <a:pt x="4047" y="6473"/>
                    <a:pt x="4047" y="6473"/>
                    <a:pt x="4047" y="6473"/>
                  </a:cubicBezTo>
                  <a:lnTo>
                    <a:pt x="3955" y="6498"/>
                  </a:lnTo>
                  <a:close/>
                  <a:moveTo>
                    <a:pt x="3758" y="6814"/>
                  </a:moveTo>
                  <a:cubicBezTo>
                    <a:pt x="3760" y="6844"/>
                    <a:pt x="3760" y="6844"/>
                    <a:pt x="3760" y="6844"/>
                  </a:cubicBezTo>
                  <a:cubicBezTo>
                    <a:pt x="3888" y="6864"/>
                    <a:pt x="3888" y="6864"/>
                    <a:pt x="3888" y="6864"/>
                  </a:cubicBezTo>
                  <a:cubicBezTo>
                    <a:pt x="3994" y="6704"/>
                    <a:pt x="3994" y="6704"/>
                    <a:pt x="3994" y="6704"/>
                  </a:cubicBezTo>
                  <a:cubicBezTo>
                    <a:pt x="3998" y="6698"/>
                    <a:pt x="3998" y="6698"/>
                    <a:pt x="3998" y="6698"/>
                  </a:cubicBezTo>
                  <a:cubicBezTo>
                    <a:pt x="3822" y="6573"/>
                    <a:pt x="3822" y="6573"/>
                    <a:pt x="3822" y="6573"/>
                  </a:cubicBezTo>
                  <a:cubicBezTo>
                    <a:pt x="3683" y="6677"/>
                    <a:pt x="3683" y="6677"/>
                    <a:pt x="3683" y="6677"/>
                  </a:cubicBezTo>
                  <a:cubicBezTo>
                    <a:pt x="3809" y="6721"/>
                    <a:pt x="3809" y="6721"/>
                    <a:pt x="3809" y="6721"/>
                  </a:cubicBezTo>
                  <a:lnTo>
                    <a:pt x="3758" y="6814"/>
                  </a:lnTo>
                  <a:close/>
                  <a:moveTo>
                    <a:pt x="3714" y="6672"/>
                  </a:moveTo>
                  <a:cubicBezTo>
                    <a:pt x="3822" y="6591"/>
                    <a:pt x="3822" y="6591"/>
                    <a:pt x="3822" y="6591"/>
                  </a:cubicBezTo>
                  <a:cubicBezTo>
                    <a:pt x="3978" y="6702"/>
                    <a:pt x="3978" y="6702"/>
                    <a:pt x="3978" y="6702"/>
                  </a:cubicBezTo>
                  <a:cubicBezTo>
                    <a:pt x="3881" y="6848"/>
                    <a:pt x="3881" y="6848"/>
                    <a:pt x="3881" y="6848"/>
                  </a:cubicBezTo>
                  <a:cubicBezTo>
                    <a:pt x="3774" y="6831"/>
                    <a:pt x="3774" y="6831"/>
                    <a:pt x="3774" y="6831"/>
                  </a:cubicBezTo>
                  <a:cubicBezTo>
                    <a:pt x="3773" y="6818"/>
                    <a:pt x="3773" y="6818"/>
                    <a:pt x="3773" y="6818"/>
                  </a:cubicBezTo>
                  <a:cubicBezTo>
                    <a:pt x="3830" y="6713"/>
                    <a:pt x="3830" y="6713"/>
                    <a:pt x="3830" y="6713"/>
                  </a:cubicBezTo>
                  <a:lnTo>
                    <a:pt x="3714" y="6672"/>
                  </a:lnTo>
                  <a:close/>
                  <a:moveTo>
                    <a:pt x="3861" y="6945"/>
                  </a:moveTo>
                  <a:cubicBezTo>
                    <a:pt x="3861" y="6945"/>
                    <a:pt x="3861" y="6945"/>
                    <a:pt x="3861" y="6945"/>
                  </a:cubicBezTo>
                  <a:cubicBezTo>
                    <a:pt x="3854" y="6945"/>
                    <a:pt x="3704" y="6918"/>
                    <a:pt x="3704" y="6918"/>
                  </a:cubicBezTo>
                  <a:cubicBezTo>
                    <a:pt x="3699" y="6917"/>
                    <a:pt x="3699" y="6917"/>
                    <a:pt x="3699" y="6917"/>
                  </a:cubicBezTo>
                  <a:cubicBezTo>
                    <a:pt x="3679" y="6949"/>
                    <a:pt x="3679" y="6949"/>
                    <a:pt x="3679" y="6949"/>
                  </a:cubicBezTo>
                  <a:cubicBezTo>
                    <a:pt x="3553" y="6919"/>
                    <a:pt x="3553" y="6919"/>
                    <a:pt x="3553" y="6919"/>
                  </a:cubicBezTo>
                  <a:cubicBezTo>
                    <a:pt x="3500" y="7075"/>
                    <a:pt x="3500" y="7075"/>
                    <a:pt x="3500" y="7075"/>
                  </a:cubicBezTo>
                  <a:cubicBezTo>
                    <a:pt x="3652" y="7152"/>
                    <a:pt x="3652" y="7152"/>
                    <a:pt x="3652" y="7152"/>
                  </a:cubicBezTo>
                  <a:cubicBezTo>
                    <a:pt x="3696" y="7037"/>
                    <a:pt x="3696" y="7037"/>
                    <a:pt x="3696" y="7037"/>
                  </a:cubicBezTo>
                  <a:cubicBezTo>
                    <a:pt x="3846" y="7064"/>
                    <a:pt x="3846" y="7064"/>
                    <a:pt x="3846" y="7064"/>
                  </a:cubicBezTo>
                  <a:cubicBezTo>
                    <a:pt x="3847" y="7057"/>
                    <a:pt x="3847" y="7057"/>
                    <a:pt x="3847" y="7057"/>
                  </a:cubicBezTo>
                  <a:cubicBezTo>
                    <a:pt x="3847" y="7057"/>
                    <a:pt x="3869" y="6981"/>
                    <a:pt x="3869" y="6957"/>
                  </a:cubicBezTo>
                  <a:cubicBezTo>
                    <a:pt x="3869" y="6955"/>
                    <a:pt x="3869" y="6954"/>
                    <a:pt x="3869" y="6952"/>
                  </a:cubicBezTo>
                  <a:cubicBezTo>
                    <a:pt x="3868" y="6950"/>
                    <a:pt x="3866" y="6946"/>
                    <a:pt x="3861" y="6945"/>
                  </a:cubicBezTo>
                  <a:close/>
                  <a:moveTo>
                    <a:pt x="3835" y="7047"/>
                  </a:moveTo>
                  <a:cubicBezTo>
                    <a:pt x="3687" y="7021"/>
                    <a:pt x="3687" y="7021"/>
                    <a:pt x="3687" y="7021"/>
                  </a:cubicBezTo>
                  <a:cubicBezTo>
                    <a:pt x="3644" y="7131"/>
                    <a:pt x="3644" y="7131"/>
                    <a:pt x="3644" y="7131"/>
                  </a:cubicBezTo>
                  <a:cubicBezTo>
                    <a:pt x="3518" y="7068"/>
                    <a:pt x="3518" y="7068"/>
                    <a:pt x="3518" y="7068"/>
                  </a:cubicBezTo>
                  <a:cubicBezTo>
                    <a:pt x="3563" y="6937"/>
                    <a:pt x="3563" y="6937"/>
                    <a:pt x="3563" y="6937"/>
                  </a:cubicBezTo>
                  <a:cubicBezTo>
                    <a:pt x="3686" y="6966"/>
                    <a:pt x="3686" y="6966"/>
                    <a:pt x="3686" y="6966"/>
                  </a:cubicBezTo>
                  <a:cubicBezTo>
                    <a:pt x="3706" y="6934"/>
                    <a:pt x="3706" y="6934"/>
                    <a:pt x="3706" y="6934"/>
                  </a:cubicBezTo>
                  <a:cubicBezTo>
                    <a:pt x="3729" y="6938"/>
                    <a:pt x="3829" y="6955"/>
                    <a:pt x="3855" y="6959"/>
                  </a:cubicBezTo>
                  <a:cubicBezTo>
                    <a:pt x="3854" y="6976"/>
                    <a:pt x="3840" y="7028"/>
                    <a:pt x="3835" y="7047"/>
                  </a:cubicBezTo>
                  <a:close/>
                  <a:moveTo>
                    <a:pt x="3860" y="6954"/>
                  </a:moveTo>
                  <a:cubicBezTo>
                    <a:pt x="3860" y="6954"/>
                    <a:pt x="3860" y="6954"/>
                    <a:pt x="3860" y="6954"/>
                  </a:cubicBezTo>
                  <a:cubicBezTo>
                    <a:pt x="3860" y="6953"/>
                    <a:pt x="3860" y="6953"/>
                    <a:pt x="3860" y="6953"/>
                  </a:cubicBezTo>
                  <a:lnTo>
                    <a:pt x="3860" y="6954"/>
                  </a:lnTo>
                  <a:close/>
                  <a:moveTo>
                    <a:pt x="3701" y="7240"/>
                  </a:moveTo>
                  <a:cubicBezTo>
                    <a:pt x="3743" y="7257"/>
                    <a:pt x="3743" y="7257"/>
                    <a:pt x="3743" y="7257"/>
                  </a:cubicBezTo>
                  <a:cubicBezTo>
                    <a:pt x="3823" y="7182"/>
                    <a:pt x="3823" y="7182"/>
                    <a:pt x="3823" y="7182"/>
                  </a:cubicBezTo>
                  <a:cubicBezTo>
                    <a:pt x="3834" y="7172"/>
                    <a:pt x="3834" y="7172"/>
                    <a:pt x="3834" y="7172"/>
                  </a:cubicBezTo>
                  <a:cubicBezTo>
                    <a:pt x="3729" y="7150"/>
                    <a:pt x="3729" y="7150"/>
                    <a:pt x="3729" y="7150"/>
                  </a:cubicBezTo>
                  <a:lnTo>
                    <a:pt x="3701" y="7240"/>
                  </a:lnTo>
                  <a:close/>
                  <a:moveTo>
                    <a:pt x="3803" y="7181"/>
                  </a:moveTo>
                  <a:cubicBezTo>
                    <a:pt x="3739" y="7240"/>
                    <a:pt x="3739" y="7240"/>
                    <a:pt x="3739" y="7240"/>
                  </a:cubicBezTo>
                  <a:cubicBezTo>
                    <a:pt x="3719" y="7231"/>
                    <a:pt x="3719" y="7231"/>
                    <a:pt x="3719" y="7231"/>
                  </a:cubicBezTo>
                  <a:cubicBezTo>
                    <a:pt x="3739" y="7167"/>
                    <a:pt x="3739" y="7167"/>
                    <a:pt x="3739" y="7167"/>
                  </a:cubicBezTo>
                  <a:lnTo>
                    <a:pt x="3803" y="7181"/>
                  </a:lnTo>
                  <a:close/>
                  <a:moveTo>
                    <a:pt x="3870" y="5794"/>
                  </a:moveTo>
                  <a:cubicBezTo>
                    <a:pt x="3534" y="5717"/>
                    <a:pt x="3534" y="5717"/>
                    <a:pt x="3534" y="5717"/>
                  </a:cubicBezTo>
                  <a:cubicBezTo>
                    <a:pt x="3489" y="5810"/>
                    <a:pt x="3489" y="5810"/>
                    <a:pt x="3489" y="5810"/>
                  </a:cubicBezTo>
                  <a:cubicBezTo>
                    <a:pt x="3732" y="5874"/>
                    <a:pt x="3732" y="5874"/>
                    <a:pt x="3732" y="5874"/>
                  </a:cubicBezTo>
                  <a:cubicBezTo>
                    <a:pt x="3739" y="5845"/>
                    <a:pt x="3739" y="5845"/>
                    <a:pt x="3739" y="5845"/>
                  </a:cubicBezTo>
                  <a:cubicBezTo>
                    <a:pt x="3882" y="5877"/>
                    <a:pt x="3882" y="5877"/>
                    <a:pt x="3882" y="5877"/>
                  </a:cubicBezTo>
                  <a:cubicBezTo>
                    <a:pt x="3871" y="5799"/>
                    <a:pt x="3871" y="5799"/>
                    <a:pt x="3871" y="5799"/>
                  </a:cubicBezTo>
                  <a:lnTo>
                    <a:pt x="3870" y="5794"/>
                  </a:lnTo>
                  <a:close/>
                  <a:moveTo>
                    <a:pt x="3729" y="5827"/>
                  </a:moveTo>
                  <a:cubicBezTo>
                    <a:pt x="3721" y="5856"/>
                    <a:pt x="3721" y="5856"/>
                    <a:pt x="3721" y="5856"/>
                  </a:cubicBezTo>
                  <a:cubicBezTo>
                    <a:pt x="3510" y="5801"/>
                    <a:pt x="3510" y="5801"/>
                    <a:pt x="3510" y="5801"/>
                  </a:cubicBezTo>
                  <a:cubicBezTo>
                    <a:pt x="3542" y="5734"/>
                    <a:pt x="3542" y="5734"/>
                    <a:pt x="3542" y="5734"/>
                  </a:cubicBezTo>
                  <a:cubicBezTo>
                    <a:pt x="3857" y="5806"/>
                    <a:pt x="3857" y="5806"/>
                    <a:pt x="3857" y="5806"/>
                  </a:cubicBezTo>
                  <a:cubicBezTo>
                    <a:pt x="3864" y="5858"/>
                    <a:pt x="3864" y="5858"/>
                    <a:pt x="3864" y="5858"/>
                  </a:cubicBezTo>
                  <a:lnTo>
                    <a:pt x="3729" y="5827"/>
                  </a:lnTo>
                  <a:close/>
                  <a:moveTo>
                    <a:pt x="3850" y="6027"/>
                  </a:moveTo>
                  <a:cubicBezTo>
                    <a:pt x="3854" y="6019"/>
                    <a:pt x="3854" y="6019"/>
                    <a:pt x="3854" y="6019"/>
                  </a:cubicBezTo>
                  <a:cubicBezTo>
                    <a:pt x="3439" y="5904"/>
                    <a:pt x="3439" y="5904"/>
                    <a:pt x="3439" y="5904"/>
                  </a:cubicBezTo>
                  <a:cubicBezTo>
                    <a:pt x="3397" y="6008"/>
                    <a:pt x="3397" y="6008"/>
                    <a:pt x="3397" y="6008"/>
                  </a:cubicBezTo>
                  <a:cubicBezTo>
                    <a:pt x="3371" y="6014"/>
                    <a:pt x="3371" y="6014"/>
                    <a:pt x="3371" y="6014"/>
                  </a:cubicBezTo>
                  <a:cubicBezTo>
                    <a:pt x="3304" y="6129"/>
                    <a:pt x="3304" y="6129"/>
                    <a:pt x="3304" y="6129"/>
                  </a:cubicBezTo>
                  <a:cubicBezTo>
                    <a:pt x="3347" y="6144"/>
                    <a:pt x="3347" y="6144"/>
                    <a:pt x="3347" y="6144"/>
                  </a:cubicBezTo>
                  <a:cubicBezTo>
                    <a:pt x="3343" y="6171"/>
                    <a:pt x="3343" y="6171"/>
                    <a:pt x="3343" y="6171"/>
                  </a:cubicBezTo>
                  <a:cubicBezTo>
                    <a:pt x="3768" y="6362"/>
                    <a:pt x="3768" y="6362"/>
                    <a:pt x="3768" y="6362"/>
                  </a:cubicBezTo>
                  <a:cubicBezTo>
                    <a:pt x="3806" y="6263"/>
                    <a:pt x="3806" y="6263"/>
                    <a:pt x="3806" y="6263"/>
                  </a:cubicBezTo>
                  <a:cubicBezTo>
                    <a:pt x="3728" y="6163"/>
                    <a:pt x="3728" y="6163"/>
                    <a:pt x="3728" y="6163"/>
                  </a:cubicBezTo>
                  <a:cubicBezTo>
                    <a:pt x="3804" y="6125"/>
                    <a:pt x="3804" y="6125"/>
                    <a:pt x="3804" y="6125"/>
                  </a:cubicBezTo>
                  <a:lnTo>
                    <a:pt x="3850" y="6027"/>
                  </a:lnTo>
                  <a:close/>
                  <a:moveTo>
                    <a:pt x="3705" y="6158"/>
                  </a:moveTo>
                  <a:cubicBezTo>
                    <a:pt x="3789" y="6266"/>
                    <a:pt x="3789" y="6266"/>
                    <a:pt x="3789" y="6266"/>
                  </a:cubicBezTo>
                  <a:cubicBezTo>
                    <a:pt x="3760" y="6342"/>
                    <a:pt x="3760" y="6342"/>
                    <a:pt x="3760" y="6342"/>
                  </a:cubicBezTo>
                  <a:cubicBezTo>
                    <a:pt x="3359" y="6162"/>
                    <a:pt x="3359" y="6162"/>
                    <a:pt x="3359" y="6162"/>
                  </a:cubicBezTo>
                  <a:cubicBezTo>
                    <a:pt x="3364" y="6134"/>
                    <a:pt x="3364" y="6134"/>
                    <a:pt x="3364" y="6134"/>
                  </a:cubicBezTo>
                  <a:cubicBezTo>
                    <a:pt x="3326" y="6121"/>
                    <a:pt x="3326" y="6121"/>
                    <a:pt x="3326" y="6121"/>
                  </a:cubicBezTo>
                  <a:cubicBezTo>
                    <a:pt x="3381" y="6027"/>
                    <a:pt x="3381" y="6027"/>
                    <a:pt x="3381" y="6027"/>
                  </a:cubicBezTo>
                  <a:cubicBezTo>
                    <a:pt x="3407" y="6021"/>
                    <a:pt x="3407" y="6021"/>
                    <a:pt x="3407" y="6021"/>
                  </a:cubicBezTo>
                  <a:cubicBezTo>
                    <a:pt x="3448" y="5922"/>
                    <a:pt x="3448" y="5922"/>
                    <a:pt x="3448" y="5922"/>
                  </a:cubicBezTo>
                  <a:cubicBezTo>
                    <a:pt x="3833" y="6029"/>
                    <a:pt x="3833" y="6029"/>
                    <a:pt x="3833" y="6029"/>
                  </a:cubicBezTo>
                  <a:cubicBezTo>
                    <a:pt x="3793" y="6114"/>
                    <a:pt x="3793" y="6114"/>
                    <a:pt x="3793" y="6114"/>
                  </a:cubicBezTo>
                  <a:lnTo>
                    <a:pt x="3705" y="6158"/>
                  </a:lnTo>
                  <a:close/>
                  <a:moveTo>
                    <a:pt x="3422" y="6145"/>
                  </a:moveTo>
                  <a:cubicBezTo>
                    <a:pt x="3576" y="6194"/>
                    <a:pt x="3576" y="6194"/>
                    <a:pt x="3576" y="6194"/>
                  </a:cubicBezTo>
                  <a:cubicBezTo>
                    <a:pt x="3632" y="6053"/>
                    <a:pt x="3632" y="6053"/>
                    <a:pt x="3632" y="6053"/>
                  </a:cubicBezTo>
                  <a:cubicBezTo>
                    <a:pt x="3635" y="6045"/>
                    <a:pt x="3635" y="6045"/>
                    <a:pt x="3635" y="6045"/>
                  </a:cubicBezTo>
                  <a:cubicBezTo>
                    <a:pt x="3492" y="6003"/>
                    <a:pt x="3492" y="6003"/>
                    <a:pt x="3492" y="6003"/>
                  </a:cubicBezTo>
                  <a:lnTo>
                    <a:pt x="3422" y="6145"/>
                  </a:lnTo>
                  <a:close/>
                  <a:moveTo>
                    <a:pt x="3615" y="6055"/>
                  </a:moveTo>
                  <a:cubicBezTo>
                    <a:pt x="3568" y="6176"/>
                    <a:pt x="3568" y="6176"/>
                    <a:pt x="3568" y="6176"/>
                  </a:cubicBezTo>
                  <a:cubicBezTo>
                    <a:pt x="3443" y="6136"/>
                    <a:pt x="3443" y="6136"/>
                    <a:pt x="3443" y="6136"/>
                  </a:cubicBezTo>
                  <a:cubicBezTo>
                    <a:pt x="3499" y="6020"/>
                    <a:pt x="3499" y="6020"/>
                    <a:pt x="3499" y="6020"/>
                  </a:cubicBezTo>
                  <a:lnTo>
                    <a:pt x="3615" y="6055"/>
                  </a:lnTo>
                  <a:close/>
                  <a:moveTo>
                    <a:pt x="3653" y="6526"/>
                  </a:moveTo>
                  <a:cubicBezTo>
                    <a:pt x="3284" y="6257"/>
                    <a:pt x="3284" y="6257"/>
                    <a:pt x="3284" y="6257"/>
                  </a:cubicBezTo>
                  <a:cubicBezTo>
                    <a:pt x="3158" y="6496"/>
                    <a:pt x="3158" y="6496"/>
                    <a:pt x="3158" y="6496"/>
                  </a:cubicBezTo>
                  <a:cubicBezTo>
                    <a:pt x="3488" y="6614"/>
                    <a:pt x="3488" y="6614"/>
                    <a:pt x="3488" y="6614"/>
                  </a:cubicBezTo>
                  <a:cubicBezTo>
                    <a:pt x="3643" y="6531"/>
                    <a:pt x="3643" y="6531"/>
                    <a:pt x="3643" y="6531"/>
                  </a:cubicBezTo>
                  <a:lnTo>
                    <a:pt x="3653" y="6526"/>
                  </a:lnTo>
                  <a:close/>
                  <a:moveTo>
                    <a:pt x="3487" y="6598"/>
                  </a:moveTo>
                  <a:cubicBezTo>
                    <a:pt x="3179" y="6487"/>
                    <a:pt x="3179" y="6487"/>
                    <a:pt x="3179" y="6487"/>
                  </a:cubicBezTo>
                  <a:cubicBezTo>
                    <a:pt x="3289" y="6279"/>
                    <a:pt x="3289" y="6279"/>
                    <a:pt x="3289" y="6279"/>
                  </a:cubicBezTo>
                  <a:cubicBezTo>
                    <a:pt x="3625" y="6524"/>
                    <a:pt x="3625" y="6524"/>
                    <a:pt x="3625" y="6524"/>
                  </a:cubicBezTo>
                  <a:lnTo>
                    <a:pt x="3487" y="6598"/>
                  </a:lnTo>
                  <a:close/>
                  <a:moveTo>
                    <a:pt x="3433" y="6496"/>
                  </a:moveTo>
                  <a:cubicBezTo>
                    <a:pt x="3467" y="6504"/>
                    <a:pt x="3467" y="6504"/>
                    <a:pt x="3467" y="6504"/>
                  </a:cubicBezTo>
                  <a:cubicBezTo>
                    <a:pt x="3295" y="6365"/>
                    <a:pt x="3295" y="6365"/>
                    <a:pt x="3295" y="6365"/>
                  </a:cubicBezTo>
                  <a:cubicBezTo>
                    <a:pt x="3245" y="6446"/>
                    <a:pt x="3245" y="6446"/>
                    <a:pt x="3245" y="6446"/>
                  </a:cubicBezTo>
                  <a:lnTo>
                    <a:pt x="3433" y="6496"/>
                  </a:lnTo>
                  <a:close/>
                  <a:moveTo>
                    <a:pt x="3299" y="6387"/>
                  </a:moveTo>
                  <a:cubicBezTo>
                    <a:pt x="3404" y="6473"/>
                    <a:pt x="3404" y="6473"/>
                    <a:pt x="3404" y="6473"/>
                  </a:cubicBezTo>
                  <a:cubicBezTo>
                    <a:pt x="3268" y="6436"/>
                    <a:pt x="3268" y="6436"/>
                    <a:pt x="3268" y="6436"/>
                  </a:cubicBezTo>
                  <a:lnTo>
                    <a:pt x="3299" y="6387"/>
                  </a:lnTo>
                  <a:close/>
                  <a:moveTo>
                    <a:pt x="3194" y="6645"/>
                  </a:moveTo>
                  <a:cubicBezTo>
                    <a:pt x="3163" y="6746"/>
                    <a:pt x="3163" y="6746"/>
                    <a:pt x="3163" y="6746"/>
                  </a:cubicBezTo>
                  <a:cubicBezTo>
                    <a:pt x="3164" y="6748"/>
                    <a:pt x="3164" y="6748"/>
                    <a:pt x="3164" y="6748"/>
                  </a:cubicBezTo>
                  <a:cubicBezTo>
                    <a:pt x="3164" y="6749"/>
                    <a:pt x="3193" y="6845"/>
                    <a:pt x="3256" y="6893"/>
                  </a:cubicBezTo>
                  <a:cubicBezTo>
                    <a:pt x="3316" y="6938"/>
                    <a:pt x="3346" y="6962"/>
                    <a:pt x="3346" y="6962"/>
                  </a:cubicBezTo>
                  <a:cubicBezTo>
                    <a:pt x="3355" y="6969"/>
                    <a:pt x="3355" y="6969"/>
                    <a:pt x="3355" y="6969"/>
                  </a:cubicBezTo>
                  <a:cubicBezTo>
                    <a:pt x="3385" y="6876"/>
                    <a:pt x="3385" y="6876"/>
                    <a:pt x="3385" y="6876"/>
                  </a:cubicBezTo>
                  <a:cubicBezTo>
                    <a:pt x="3424" y="6887"/>
                    <a:pt x="3424" y="6887"/>
                    <a:pt x="3424" y="6887"/>
                  </a:cubicBezTo>
                  <a:cubicBezTo>
                    <a:pt x="3447" y="6779"/>
                    <a:pt x="3447" y="6779"/>
                    <a:pt x="3447" y="6779"/>
                  </a:cubicBezTo>
                  <a:cubicBezTo>
                    <a:pt x="3448" y="6773"/>
                    <a:pt x="3448" y="6773"/>
                    <a:pt x="3448" y="6773"/>
                  </a:cubicBezTo>
                  <a:lnTo>
                    <a:pt x="3194" y="6645"/>
                  </a:lnTo>
                  <a:close/>
                  <a:moveTo>
                    <a:pt x="3413" y="6869"/>
                  </a:moveTo>
                  <a:cubicBezTo>
                    <a:pt x="3375" y="6857"/>
                    <a:pt x="3375" y="6857"/>
                    <a:pt x="3375" y="6857"/>
                  </a:cubicBezTo>
                  <a:cubicBezTo>
                    <a:pt x="3347" y="6944"/>
                    <a:pt x="3347" y="6944"/>
                    <a:pt x="3347" y="6944"/>
                  </a:cubicBezTo>
                  <a:cubicBezTo>
                    <a:pt x="3334" y="6934"/>
                    <a:pt x="3307" y="6912"/>
                    <a:pt x="3265" y="6881"/>
                  </a:cubicBezTo>
                  <a:cubicBezTo>
                    <a:pt x="3236" y="6859"/>
                    <a:pt x="3214" y="6825"/>
                    <a:pt x="3199" y="6796"/>
                  </a:cubicBezTo>
                  <a:cubicBezTo>
                    <a:pt x="3187" y="6772"/>
                    <a:pt x="3181" y="6753"/>
                    <a:pt x="3178" y="6746"/>
                  </a:cubicBezTo>
                  <a:cubicBezTo>
                    <a:pt x="3203" y="6666"/>
                    <a:pt x="3203" y="6666"/>
                    <a:pt x="3203" y="6666"/>
                  </a:cubicBezTo>
                  <a:cubicBezTo>
                    <a:pt x="3432" y="6781"/>
                    <a:pt x="3432" y="6781"/>
                    <a:pt x="3432" y="6781"/>
                  </a:cubicBezTo>
                  <a:lnTo>
                    <a:pt x="3413" y="6869"/>
                  </a:lnTo>
                  <a:close/>
                  <a:moveTo>
                    <a:pt x="3114" y="7266"/>
                  </a:moveTo>
                  <a:cubicBezTo>
                    <a:pt x="3199" y="7226"/>
                    <a:pt x="3199" y="7226"/>
                    <a:pt x="3199" y="7226"/>
                  </a:cubicBezTo>
                  <a:cubicBezTo>
                    <a:pt x="3198" y="7220"/>
                    <a:pt x="3198" y="7220"/>
                    <a:pt x="3198" y="7220"/>
                  </a:cubicBezTo>
                  <a:cubicBezTo>
                    <a:pt x="3198" y="7220"/>
                    <a:pt x="3198" y="7219"/>
                    <a:pt x="3198" y="7216"/>
                  </a:cubicBezTo>
                  <a:cubicBezTo>
                    <a:pt x="3199" y="7206"/>
                    <a:pt x="3201" y="7171"/>
                    <a:pt x="3301" y="7170"/>
                  </a:cubicBezTo>
                  <a:cubicBezTo>
                    <a:pt x="3310" y="7170"/>
                    <a:pt x="3320" y="7170"/>
                    <a:pt x="3331" y="7171"/>
                  </a:cubicBezTo>
                  <a:cubicBezTo>
                    <a:pt x="3355" y="7173"/>
                    <a:pt x="3355" y="7173"/>
                    <a:pt x="3355" y="7173"/>
                  </a:cubicBezTo>
                  <a:cubicBezTo>
                    <a:pt x="3336" y="7158"/>
                    <a:pt x="3336" y="7158"/>
                    <a:pt x="3336" y="7158"/>
                  </a:cubicBezTo>
                  <a:cubicBezTo>
                    <a:pt x="3336" y="7158"/>
                    <a:pt x="3230" y="7076"/>
                    <a:pt x="3158" y="7032"/>
                  </a:cubicBezTo>
                  <a:cubicBezTo>
                    <a:pt x="3124" y="7011"/>
                    <a:pt x="3084" y="6968"/>
                    <a:pt x="3054" y="6932"/>
                  </a:cubicBezTo>
                  <a:cubicBezTo>
                    <a:pt x="3023" y="6895"/>
                    <a:pt x="3001" y="6864"/>
                    <a:pt x="3001" y="6863"/>
                  </a:cubicBezTo>
                  <a:cubicBezTo>
                    <a:pt x="2998" y="6859"/>
                    <a:pt x="2998" y="6859"/>
                    <a:pt x="2998" y="6859"/>
                  </a:cubicBezTo>
                  <a:cubicBezTo>
                    <a:pt x="2936" y="6876"/>
                    <a:pt x="2936" y="6876"/>
                    <a:pt x="2936" y="6876"/>
                  </a:cubicBezTo>
                  <a:cubicBezTo>
                    <a:pt x="2985" y="6993"/>
                    <a:pt x="2985" y="6993"/>
                    <a:pt x="2985" y="6993"/>
                  </a:cubicBezTo>
                  <a:cubicBezTo>
                    <a:pt x="2948" y="7005"/>
                    <a:pt x="2948" y="7005"/>
                    <a:pt x="2948" y="7005"/>
                  </a:cubicBezTo>
                  <a:cubicBezTo>
                    <a:pt x="3054" y="7260"/>
                    <a:pt x="3054" y="7260"/>
                    <a:pt x="3054" y="7260"/>
                  </a:cubicBezTo>
                  <a:cubicBezTo>
                    <a:pt x="3093" y="7240"/>
                    <a:pt x="3093" y="7240"/>
                    <a:pt x="3093" y="7240"/>
                  </a:cubicBezTo>
                  <a:lnTo>
                    <a:pt x="3114" y="7266"/>
                  </a:lnTo>
                  <a:close/>
                  <a:moveTo>
                    <a:pt x="2968" y="7014"/>
                  </a:moveTo>
                  <a:cubicBezTo>
                    <a:pt x="3005" y="7002"/>
                    <a:pt x="3005" y="7002"/>
                    <a:pt x="3005" y="7002"/>
                  </a:cubicBezTo>
                  <a:cubicBezTo>
                    <a:pt x="2956" y="6886"/>
                    <a:pt x="2956" y="6886"/>
                    <a:pt x="2956" y="6886"/>
                  </a:cubicBezTo>
                  <a:cubicBezTo>
                    <a:pt x="2992" y="6876"/>
                    <a:pt x="2992" y="6876"/>
                    <a:pt x="2992" y="6876"/>
                  </a:cubicBezTo>
                  <a:cubicBezTo>
                    <a:pt x="3008" y="6898"/>
                    <a:pt x="3085" y="7004"/>
                    <a:pt x="3150" y="7044"/>
                  </a:cubicBezTo>
                  <a:cubicBezTo>
                    <a:pt x="3203" y="7076"/>
                    <a:pt x="3275" y="7130"/>
                    <a:pt x="3308" y="7155"/>
                  </a:cubicBezTo>
                  <a:cubicBezTo>
                    <a:pt x="3306" y="7155"/>
                    <a:pt x="3303" y="7155"/>
                    <a:pt x="3301" y="7155"/>
                  </a:cubicBezTo>
                  <a:cubicBezTo>
                    <a:pt x="3250" y="7155"/>
                    <a:pt x="3220" y="7165"/>
                    <a:pt x="3203" y="7178"/>
                  </a:cubicBezTo>
                  <a:cubicBezTo>
                    <a:pt x="3186" y="7191"/>
                    <a:pt x="3183" y="7208"/>
                    <a:pt x="3183" y="7216"/>
                  </a:cubicBezTo>
                  <a:cubicBezTo>
                    <a:pt x="3183" y="7217"/>
                    <a:pt x="3183" y="7217"/>
                    <a:pt x="3183" y="7217"/>
                  </a:cubicBezTo>
                  <a:cubicBezTo>
                    <a:pt x="3118" y="7248"/>
                    <a:pt x="3118" y="7248"/>
                    <a:pt x="3118" y="7248"/>
                  </a:cubicBezTo>
                  <a:cubicBezTo>
                    <a:pt x="3097" y="7222"/>
                    <a:pt x="3097" y="7222"/>
                    <a:pt x="3097" y="7222"/>
                  </a:cubicBezTo>
                  <a:cubicBezTo>
                    <a:pt x="3061" y="7240"/>
                    <a:pt x="3061" y="7240"/>
                    <a:pt x="3061" y="7240"/>
                  </a:cubicBezTo>
                  <a:lnTo>
                    <a:pt x="2968" y="7014"/>
                  </a:lnTo>
                  <a:close/>
                  <a:moveTo>
                    <a:pt x="2626" y="7333"/>
                  </a:moveTo>
                  <a:cubicBezTo>
                    <a:pt x="2645" y="7234"/>
                    <a:pt x="2645" y="7234"/>
                    <a:pt x="2645" y="7234"/>
                  </a:cubicBezTo>
                  <a:cubicBezTo>
                    <a:pt x="2770" y="7275"/>
                    <a:pt x="2770" y="7275"/>
                    <a:pt x="2770" y="7275"/>
                  </a:cubicBezTo>
                  <a:cubicBezTo>
                    <a:pt x="2779" y="7143"/>
                    <a:pt x="2779" y="7143"/>
                    <a:pt x="2779" y="7143"/>
                  </a:cubicBezTo>
                  <a:cubicBezTo>
                    <a:pt x="2667" y="7093"/>
                    <a:pt x="2667" y="7093"/>
                    <a:pt x="2667" y="7093"/>
                  </a:cubicBezTo>
                  <a:cubicBezTo>
                    <a:pt x="2687" y="7033"/>
                    <a:pt x="2687" y="7033"/>
                    <a:pt x="2687" y="7033"/>
                  </a:cubicBezTo>
                  <a:cubicBezTo>
                    <a:pt x="2798" y="7020"/>
                    <a:pt x="2798" y="7020"/>
                    <a:pt x="2798" y="7020"/>
                  </a:cubicBezTo>
                  <a:cubicBezTo>
                    <a:pt x="2773" y="6879"/>
                    <a:pt x="2773" y="6879"/>
                    <a:pt x="2773" y="6879"/>
                  </a:cubicBezTo>
                  <a:cubicBezTo>
                    <a:pt x="2772" y="6875"/>
                    <a:pt x="2772" y="6875"/>
                    <a:pt x="2772" y="6875"/>
                  </a:cubicBezTo>
                  <a:cubicBezTo>
                    <a:pt x="2617" y="6812"/>
                    <a:pt x="2617" y="6812"/>
                    <a:pt x="2617" y="6812"/>
                  </a:cubicBezTo>
                  <a:cubicBezTo>
                    <a:pt x="2514" y="7262"/>
                    <a:pt x="2514" y="7262"/>
                    <a:pt x="2514" y="7262"/>
                  </a:cubicBezTo>
                  <a:lnTo>
                    <a:pt x="2626" y="7333"/>
                  </a:lnTo>
                  <a:close/>
                  <a:moveTo>
                    <a:pt x="2627" y="6832"/>
                  </a:moveTo>
                  <a:cubicBezTo>
                    <a:pt x="2759" y="6885"/>
                    <a:pt x="2759" y="6885"/>
                    <a:pt x="2759" y="6885"/>
                  </a:cubicBezTo>
                  <a:cubicBezTo>
                    <a:pt x="2780" y="7007"/>
                    <a:pt x="2780" y="7007"/>
                    <a:pt x="2780" y="7007"/>
                  </a:cubicBezTo>
                  <a:cubicBezTo>
                    <a:pt x="2675" y="7020"/>
                    <a:pt x="2675" y="7020"/>
                    <a:pt x="2675" y="7020"/>
                  </a:cubicBezTo>
                  <a:cubicBezTo>
                    <a:pt x="2649" y="7101"/>
                    <a:pt x="2649" y="7101"/>
                    <a:pt x="2649" y="7101"/>
                  </a:cubicBezTo>
                  <a:cubicBezTo>
                    <a:pt x="2763" y="7152"/>
                    <a:pt x="2763" y="7152"/>
                    <a:pt x="2763" y="7152"/>
                  </a:cubicBezTo>
                  <a:cubicBezTo>
                    <a:pt x="2756" y="7255"/>
                    <a:pt x="2756" y="7255"/>
                    <a:pt x="2756" y="7255"/>
                  </a:cubicBezTo>
                  <a:cubicBezTo>
                    <a:pt x="2634" y="7215"/>
                    <a:pt x="2634" y="7215"/>
                    <a:pt x="2634" y="7215"/>
                  </a:cubicBezTo>
                  <a:cubicBezTo>
                    <a:pt x="2616" y="7309"/>
                    <a:pt x="2616" y="7309"/>
                    <a:pt x="2616" y="7309"/>
                  </a:cubicBezTo>
                  <a:cubicBezTo>
                    <a:pt x="2531" y="7255"/>
                    <a:pt x="2531" y="7255"/>
                    <a:pt x="2531" y="7255"/>
                  </a:cubicBezTo>
                  <a:lnTo>
                    <a:pt x="2627" y="6832"/>
                  </a:lnTo>
                  <a:close/>
                  <a:moveTo>
                    <a:pt x="2996" y="7372"/>
                  </a:moveTo>
                  <a:cubicBezTo>
                    <a:pt x="2903" y="7155"/>
                    <a:pt x="2903" y="7155"/>
                    <a:pt x="2903" y="7155"/>
                  </a:cubicBezTo>
                  <a:cubicBezTo>
                    <a:pt x="2900" y="7149"/>
                    <a:pt x="2900" y="7149"/>
                    <a:pt x="2900" y="7149"/>
                  </a:cubicBezTo>
                  <a:cubicBezTo>
                    <a:pt x="2849" y="7163"/>
                    <a:pt x="2849" y="7163"/>
                    <a:pt x="2849" y="7163"/>
                  </a:cubicBezTo>
                  <a:cubicBezTo>
                    <a:pt x="2860" y="7406"/>
                    <a:pt x="2860" y="7406"/>
                    <a:pt x="2860" y="7406"/>
                  </a:cubicBezTo>
                  <a:lnTo>
                    <a:pt x="2996" y="7372"/>
                  </a:lnTo>
                  <a:close/>
                  <a:moveTo>
                    <a:pt x="2892" y="7166"/>
                  </a:moveTo>
                  <a:cubicBezTo>
                    <a:pt x="2976" y="7362"/>
                    <a:pt x="2976" y="7362"/>
                    <a:pt x="2976" y="7362"/>
                  </a:cubicBezTo>
                  <a:cubicBezTo>
                    <a:pt x="2874" y="7387"/>
                    <a:pt x="2874" y="7387"/>
                    <a:pt x="2874" y="7387"/>
                  </a:cubicBezTo>
                  <a:cubicBezTo>
                    <a:pt x="2865" y="7174"/>
                    <a:pt x="2865" y="7174"/>
                    <a:pt x="2865" y="7174"/>
                  </a:cubicBezTo>
                  <a:lnTo>
                    <a:pt x="2892" y="7166"/>
                  </a:lnTo>
                  <a:close/>
                  <a:moveTo>
                    <a:pt x="2046" y="6959"/>
                  </a:moveTo>
                  <a:cubicBezTo>
                    <a:pt x="2213" y="7044"/>
                    <a:pt x="2213" y="7044"/>
                    <a:pt x="2213" y="7044"/>
                  </a:cubicBezTo>
                  <a:cubicBezTo>
                    <a:pt x="2261" y="6936"/>
                    <a:pt x="2261" y="6936"/>
                    <a:pt x="2261" y="6936"/>
                  </a:cubicBezTo>
                  <a:cubicBezTo>
                    <a:pt x="2219" y="6912"/>
                    <a:pt x="2219" y="6912"/>
                    <a:pt x="2219" y="6912"/>
                  </a:cubicBezTo>
                  <a:cubicBezTo>
                    <a:pt x="2318" y="6772"/>
                    <a:pt x="2318" y="6772"/>
                    <a:pt x="2318" y="6772"/>
                  </a:cubicBezTo>
                  <a:cubicBezTo>
                    <a:pt x="2422" y="6832"/>
                    <a:pt x="2422" y="6832"/>
                    <a:pt x="2422" y="6832"/>
                  </a:cubicBezTo>
                  <a:cubicBezTo>
                    <a:pt x="2375" y="7000"/>
                    <a:pt x="2375" y="7000"/>
                    <a:pt x="2375" y="7000"/>
                  </a:cubicBezTo>
                  <a:cubicBezTo>
                    <a:pt x="2307" y="6959"/>
                    <a:pt x="2307" y="6959"/>
                    <a:pt x="2307" y="6959"/>
                  </a:cubicBezTo>
                  <a:cubicBezTo>
                    <a:pt x="2255" y="7069"/>
                    <a:pt x="2255" y="7069"/>
                    <a:pt x="2255" y="7069"/>
                  </a:cubicBezTo>
                  <a:cubicBezTo>
                    <a:pt x="2438" y="7198"/>
                    <a:pt x="2438" y="7198"/>
                    <a:pt x="2438" y="7198"/>
                  </a:cubicBezTo>
                  <a:cubicBezTo>
                    <a:pt x="2558" y="6756"/>
                    <a:pt x="2558" y="6756"/>
                    <a:pt x="2558" y="6756"/>
                  </a:cubicBezTo>
                  <a:cubicBezTo>
                    <a:pt x="2560" y="6751"/>
                    <a:pt x="2560" y="6751"/>
                    <a:pt x="2560" y="6751"/>
                  </a:cubicBezTo>
                  <a:cubicBezTo>
                    <a:pt x="2286" y="6587"/>
                    <a:pt x="2286" y="6587"/>
                    <a:pt x="2286" y="6587"/>
                  </a:cubicBezTo>
                  <a:lnTo>
                    <a:pt x="2046" y="6959"/>
                  </a:lnTo>
                  <a:close/>
                  <a:moveTo>
                    <a:pt x="2543" y="6758"/>
                  </a:moveTo>
                  <a:cubicBezTo>
                    <a:pt x="2429" y="7174"/>
                    <a:pt x="2429" y="7174"/>
                    <a:pt x="2429" y="7174"/>
                  </a:cubicBezTo>
                  <a:cubicBezTo>
                    <a:pt x="2273" y="7064"/>
                    <a:pt x="2273" y="7064"/>
                    <a:pt x="2273" y="7064"/>
                  </a:cubicBezTo>
                  <a:cubicBezTo>
                    <a:pt x="2313" y="6980"/>
                    <a:pt x="2313" y="6980"/>
                    <a:pt x="2313" y="6980"/>
                  </a:cubicBezTo>
                  <a:cubicBezTo>
                    <a:pt x="2384" y="7022"/>
                    <a:pt x="2384" y="7022"/>
                    <a:pt x="2384" y="7022"/>
                  </a:cubicBezTo>
                  <a:cubicBezTo>
                    <a:pt x="2440" y="6825"/>
                    <a:pt x="2440" y="6825"/>
                    <a:pt x="2440" y="6825"/>
                  </a:cubicBezTo>
                  <a:cubicBezTo>
                    <a:pt x="2314" y="6753"/>
                    <a:pt x="2314" y="6753"/>
                    <a:pt x="2314" y="6753"/>
                  </a:cubicBezTo>
                  <a:cubicBezTo>
                    <a:pt x="2198" y="6917"/>
                    <a:pt x="2198" y="6917"/>
                    <a:pt x="2198" y="6917"/>
                  </a:cubicBezTo>
                  <a:cubicBezTo>
                    <a:pt x="2242" y="6942"/>
                    <a:pt x="2242" y="6942"/>
                    <a:pt x="2242" y="6942"/>
                  </a:cubicBezTo>
                  <a:cubicBezTo>
                    <a:pt x="2206" y="7023"/>
                    <a:pt x="2206" y="7023"/>
                    <a:pt x="2206" y="7023"/>
                  </a:cubicBezTo>
                  <a:cubicBezTo>
                    <a:pt x="2067" y="6953"/>
                    <a:pt x="2067" y="6953"/>
                    <a:pt x="2067" y="6953"/>
                  </a:cubicBezTo>
                  <a:cubicBezTo>
                    <a:pt x="2291" y="6607"/>
                    <a:pt x="2291" y="6607"/>
                    <a:pt x="2291" y="6607"/>
                  </a:cubicBezTo>
                  <a:lnTo>
                    <a:pt x="2543" y="6758"/>
                  </a:lnTo>
                  <a:close/>
                  <a:moveTo>
                    <a:pt x="1992" y="6921"/>
                  </a:moveTo>
                  <a:cubicBezTo>
                    <a:pt x="2215" y="6562"/>
                    <a:pt x="2215" y="6562"/>
                    <a:pt x="2215" y="6562"/>
                  </a:cubicBezTo>
                  <a:cubicBezTo>
                    <a:pt x="2219" y="6556"/>
                    <a:pt x="2219" y="6556"/>
                    <a:pt x="2219" y="6556"/>
                  </a:cubicBezTo>
                  <a:cubicBezTo>
                    <a:pt x="2074" y="6473"/>
                    <a:pt x="2074" y="6473"/>
                    <a:pt x="2074" y="6473"/>
                  </a:cubicBezTo>
                  <a:cubicBezTo>
                    <a:pt x="1842" y="6820"/>
                    <a:pt x="1842" y="6820"/>
                    <a:pt x="1842" y="6820"/>
                  </a:cubicBezTo>
                  <a:lnTo>
                    <a:pt x="1992" y="6921"/>
                  </a:lnTo>
                  <a:close/>
                  <a:moveTo>
                    <a:pt x="2079" y="6492"/>
                  </a:moveTo>
                  <a:cubicBezTo>
                    <a:pt x="2199" y="6561"/>
                    <a:pt x="2199" y="6561"/>
                    <a:pt x="2199" y="6561"/>
                  </a:cubicBezTo>
                  <a:cubicBezTo>
                    <a:pt x="1988" y="6900"/>
                    <a:pt x="1988" y="6900"/>
                    <a:pt x="1988" y="6900"/>
                  </a:cubicBezTo>
                  <a:cubicBezTo>
                    <a:pt x="1863" y="6816"/>
                    <a:pt x="1863" y="6816"/>
                    <a:pt x="1863" y="6816"/>
                  </a:cubicBezTo>
                  <a:lnTo>
                    <a:pt x="2079" y="6492"/>
                  </a:lnTo>
                  <a:close/>
                  <a:moveTo>
                    <a:pt x="1674" y="6741"/>
                  </a:moveTo>
                  <a:cubicBezTo>
                    <a:pt x="1712" y="6675"/>
                    <a:pt x="1712" y="6675"/>
                    <a:pt x="1712" y="6675"/>
                  </a:cubicBezTo>
                  <a:cubicBezTo>
                    <a:pt x="1800" y="6701"/>
                    <a:pt x="1800" y="6701"/>
                    <a:pt x="1800" y="6701"/>
                  </a:cubicBezTo>
                  <a:cubicBezTo>
                    <a:pt x="1956" y="6536"/>
                    <a:pt x="1956" y="6536"/>
                    <a:pt x="1956" y="6536"/>
                  </a:cubicBezTo>
                  <a:cubicBezTo>
                    <a:pt x="1873" y="6473"/>
                    <a:pt x="1873" y="6473"/>
                    <a:pt x="1873" y="6473"/>
                  </a:cubicBezTo>
                  <a:cubicBezTo>
                    <a:pt x="1867" y="6368"/>
                    <a:pt x="1867" y="6368"/>
                    <a:pt x="1867" y="6368"/>
                  </a:cubicBezTo>
                  <a:cubicBezTo>
                    <a:pt x="1867" y="6364"/>
                    <a:pt x="1867" y="6364"/>
                    <a:pt x="1867" y="6364"/>
                  </a:cubicBezTo>
                  <a:cubicBezTo>
                    <a:pt x="1723" y="6272"/>
                    <a:pt x="1723" y="6272"/>
                    <a:pt x="1723" y="6272"/>
                  </a:cubicBezTo>
                  <a:cubicBezTo>
                    <a:pt x="1510" y="6648"/>
                    <a:pt x="1510" y="6648"/>
                    <a:pt x="1510" y="6648"/>
                  </a:cubicBezTo>
                  <a:lnTo>
                    <a:pt x="1674" y="6741"/>
                  </a:lnTo>
                  <a:close/>
                  <a:moveTo>
                    <a:pt x="1728" y="6293"/>
                  </a:moveTo>
                  <a:cubicBezTo>
                    <a:pt x="1853" y="6373"/>
                    <a:pt x="1853" y="6373"/>
                    <a:pt x="1853" y="6373"/>
                  </a:cubicBezTo>
                  <a:cubicBezTo>
                    <a:pt x="1859" y="6481"/>
                    <a:pt x="1859" y="6481"/>
                    <a:pt x="1859" y="6481"/>
                  </a:cubicBezTo>
                  <a:cubicBezTo>
                    <a:pt x="1934" y="6538"/>
                    <a:pt x="1934" y="6538"/>
                    <a:pt x="1934" y="6538"/>
                  </a:cubicBezTo>
                  <a:cubicBezTo>
                    <a:pt x="1796" y="6684"/>
                    <a:pt x="1796" y="6684"/>
                    <a:pt x="1796" y="6684"/>
                  </a:cubicBezTo>
                  <a:cubicBezTo>
                    <a:pt x="1705" y="6657"/>
                    <a:pt x="1705" y="6657"/>
                    <a:pt x="1705" y="6657"/>
                  </a:cubicBezTo>
                  <a:cubicBezTo>
                    <a:pt x="1668" y="6721"/>
                    <a:pt x="1668" y="6721"/>
                    <a:pt x="1668" y="6721"/>
                  </a:cubicBezTo>
                  <a:cubicBezTo>
                    <a:pt x="1530" y="6643"/>
                    <a:pt x="1530" y="6643"/>
                    <a:pt x="1530" y="6643"/>
                  </a:cubicBezTo>
                  <a:lnTo>
                    <a:pt x="1728" y="6293"/>
                  </a:lnTo>
                  <a:close/>
                  <a:moveTo>
                    <a:pt x="6124" y="14196"/>
                  </a:moveTo>
                  <a:cubicBezTo>
                    <a:pt x="6173" y="13970"/>
                    <a:pt x="6173" y="13970"/>
                    <a:pt x="6173" y="13970"/>
                  </a:cubicBezTo>
                  <a:cubicBezTo>
                    <a:pt x="6174" y="13961"/>
                    <a:pt x="6174" y="13961"/>
                    <a:pt x="6174" y="13961"/>
                  </a:cubicBezTo>
                  <a:cubicBezTo>
                    <a:pt x="5801" y="13959"/>
                    <a:pt x="5801" y="13959"/>
                    <a:pt x="5801" y="13959"/>
                  </a:cubicBezTo>
                  <a:cubicBezTo>
                    <a:pt x="5720" y="14008"/>
                    <a:pt x="5720" y="14008"/>
                    <a:pt x="5720" y="14008"/>
                  </a:cubicBezTo>
                  <a:cubicBezTo>
                    <a:pt x="5631" y="14187"/>
                    <a:pt x="5631" y="14187"/>
                    <a:pt x="5631" y="14187"/>
                  </a:cubicBezTo>
                  <a:cubicBezTo>
                    <a:pt x="5787" y="14307"/>
                    <a:pt x="5787" y="14307"/>
                    <a:pt x="5787" y="14307"/>
                  </a:cubicBezTo>
                  <a:cubicBezTo>
                    <a:pt x="5868" y="14086"/>
                    <a:pt x="5868" y="14086"/>
                    <a:pt x="5868" y="14086"/>
                  </a:cubicBezTo>
                  <a:lnTo>
                    <a:pt x="6124" y="14196"/>
                  </a:lnTo>
                  <a:close/>
                  <a:moveTo>
                    <a:pt x="5780" y="14283"/>
                  </a:moveTo>
                  <a:cubicBezTo>
                    <a:pt x="5649" y="14183"/>
                    <a:pt x="5649" y="14183"/>
                    <a:pt x="5649" y="14183"/>
                  </a:cubicBezTo>
                  <a:cubicBezTo>
                    <a:pt x="5731" y="14018"/>
                    <a:pt x="5731" y="14018"/>
                    <a:pt x="5731" y="14018"/>
                  </a:cubicBezTo>
                  <a:cubicBezTo>
                    <a:pt x="5805" y="13974"/>
                    <a:pt x="5805" y="13974"/>
                    <a:pt x="5805" y="13974"/>
                  </a:cubicBezTo>
                  <a:cubicBezTo>
                    <a:pt x="6156" y="13976"/>
                    <a:pt x="6156" y="13976"/>
                    <a:pt x="6156" y="13976"/>
                  </a:cubicBezTo>
                  <a:cubicBezTo>
                    <a:pt x="6113" y="14175"/>
                    <a:pt x="6113" y="14175"/>
                    <a:pt x="6113" y="14175"/>
                  </a:cubicBezTo>
                  <a:cubicBezTo>
                    <a:pt x="5859" y="14067"/>
                    <a:pt x="5859" y="14067"/>
                    <a:pt x="5859" y="14067"/>
                  </a:cubicBezTo>
                  <a:lnTo>
                    <a:pt x="5780" y="14283"/>
                  </a:lnTo>
                  <a:close/>
                  <a:moveTo>
                    <a:pt x="6107" y="14240"/>
                  </a:moveTo>
                  <a:cubicBezTo>
                    <a:pt x="5886" y="14130"/>
                    <a:pt x="5886" y="14130"/>
                    <a:pt x="5886" y="14130"/>
                  </a:cubicBezTo>
                  <a:cubicBezTo>
                    <a:pt x="5812" y="14329"/>
                    <a:pt x="5812" y="14329"/>
                    <a:pt x="5812" y="14329"/>
                  </a:cubicBezTo>
                  <a:cubicBezTo>
                    <a:pt x="6025" y="14503"/>
                    <a:pt x="6025" y="14503"/>
                    <a:pt x="6025" y="14503"/>
                  </a:cubicBezTo>
                  <a:cubicBezTo>
                    <a:pt x="6105" y="14246"/>
                    <a:pt x="6105" y="14246"/>
                    <a:pt x="6105" y="14246"/>
                  </a:cubicBezTo>
                  <a:lnTo>
                    <a:pt x="6107" y="14240"/>
                  </a:lnTo>
                  <a:close/>
                  <a:moveTo>
                    <a:pt x="6017" y="14477"/>
                  </a:moveTo>
                  <a:cubicBezTo>
                    <a:pt x="5830" y="14324"/>
                    <a:pt x="5830" y="14324"/>
                    <a:pt x="5830" y="14324"/>
                  </a:cubicBezTo>
                  <a:cubicBezTo>
                    <a:pt x="5894" y="14150"/>
                    <a:pt x="5894" y="14150"/>
                    <a:pt x="5894" y="14150"/>
                  </a:cubicBezTo>
                  <a:cubicBezTo>
                    <a:pt x="6089" y="14247"/>
                    <a:pt x="6089" y="14247"/>
                    <a:pt x="6089" y="14247"/>
                  </a:cubicBezTo>
                  <a:lnTo>
                    <a:pt x="6017" y="14477"/>
                  </a:lnTo>
                  <a:close/>
                  <a:moveTo>
                    <a:pt x="5996" y="14353"/>
                  </a:moveTo>
                  <a:cubicBezTo>
                    <a:pt x="6030" y="14279"/>
                    <a:pt x="6030" y="14279"/>
                    <a:pt x="6030" y="14279"/>
                  </a:cubicBezTo>
                  <a:cubicBezTo>
                    <a:pt x="6033" y="14273"/>
                    <a:pt x="6033" y="14273"/>
                    <a:pt x="6033" y="14273"/>
                  </a:cubicBezTo>
                  <a:cubicBezTo>
                    <a:pt x="5914" y="14207"/>
                    <a:pt x="5914" y="14207"/>
                    <a:pt x="5914" y="14207"/>
                  </a:cubicBezTo>
                  <a:cubicBezTo>
                    <a:pt x="5878" y="14312"/>
                    <a:pt x="5878" y="14312"/>
                    <a:pt x="5878" y="14312"/>
                  </a:cubicBezTo>
                  <a:lnTo>
                    <a:pt x="5996" y="14353"/>
                  </a:lnTo>
                  <a:close/>
                  <a:moveTo>
                    <a:pt x="5922" y="14229"/>
                  </a:moveTo>
                  <a:cubicBezTo>
                    <a:pt x="6014" y="14279"/>
                    <a:pt x="6014" y="14279"/>
                    <a:pt x="6014" y="14279"/>
                  </a:cubicBezTo>
                  <a:cubicBezTo>
                    <a:pt x="5988" y="14335"/>
                    <a:pt x="5988" y="14335"/>
                    <a:pt x="5988" y="14335"/>
                  </a:cubicBezTo>
                  <a:cubicBezTo>
                    <a:pt x="5897" y="14303"/>
                    <a:pt x="5897" y="14303"/>
                    <a:pt x="5897" y="14303"/>
                  </a:cubicBezTo>
                  <a:lnTo>
                    <a:pt x="5922" y="14229"/>
                  </a:lnTo>
                  <a:close/>
                  <a:moveTo>
                    <a:pt x="5798" y="14495"/>
                  </a:moveTo>
                  <a:cubicBezTo>
                    <a:pt x="5805" y="14489"/>
                    <a:pt x="5805" y="14489"/>
                    <a:pt x="5805" y="14489"/>
                  </a:cubicBezTo>
                  <a:cubicBezTo>
                    <a:pt x="5511" y="14230"/>
                    <a:pt x="5511" y="14230"/>
                    <a:pt x="5511" y="14230"/>
                  </a:cubicBezTo>
                  <a:cubicBezTo>
                    <a:pt x="5484" y="14189"/>
                    <a:pt x="5484" y="14189"/>
                    <a:pt x="5484" y="14189"/>
                  </a:cubicBezTo>
                  <a:cubicBezTo>
                    <a:pt x="5195" y="14380"/>
                    <a:pt x="5195" y="14380"/>
                    <a:pt x="5195" y="14380"/>
                  </a:cubicBezTo>
                  <a:cubicBezTo>
                    <a:pt x="5456" y="14771"/>
                    <a:pt x="5456" y="14771"/>
                    <a:pt x="5456" y="14771"/>
                  </a:cubicBezTo>
                  <a:lnTo>
                    <a:pt x="5798" y="14495"/>
                  </a:lnTo>
                  <a:close/>
                  <a:moveTo>
                    <a:pt x="5480" y="14210"/>
                  </a:moveTo>
                  <a:cubicBezTo>
                    <a:pt x="5499" y="14240"/>
                    <a:pt x="5499" y="14240"/>
                    <a:pt x="5499" y="14240"/>
                  </a:cubicBezTo>
                  <a:cubicBezTo>
                    <a:pt x="5782" y="14489"/>
                    <a:pt x="5782" y="14489"/>
                    <a:pt x="5782" y="14489"/>
                  </a:cubicBezTo>
                  <a:cubicBezTo>
                    <a:pt x="5459" y="14749"/>
                    <a:pt x="5459" y="14749"/>
                    <a:pt x="5459" y="14749"/>
                  </a:cubicBezTo>
                  <a:cubicBezTo>
                    <a:pt x="5215" y="14385"/>
                    <a:pt x="5215" y="14385"/>
                    <a:pt x="5215" y="14385"/>
                  </a:cubicBezTo>
                  <a:lnTo>
                    <a:pt x="5480" y="14210"/>
                  </a:lnTo>
                  <a:close/>
                  <a:moveTo>
                    <a:pt x="5641" y="14500"/>
                  </a:moveTo>
                  <a:cubicBezTo>
                    <a:pt x="5648" y="14495"/>
                    <a:pt x="5648" y="14495"/>
                    <a:pt x="5648" y="14495"/>
                  </a:cubicBezTo>
                  <a:cubicBezTo>
                    <a:pt x="5457" y="14311"/>
                    <a:pt x="5457" y="14311"/>
                    <a:pt x="5457" y="14311"/>
                  </a:cubicBezTo>
                  <a:cubicBezTo>
                    <a:pt x="5324" y="14407"/>
                    <a:pt x="5324" y="14407"/>
                    <a:pt x="5324" y="14407"/>
                  </a:cubicBezTo>
                  <a:cubicBezTo>
                    <a:pt x="5487" y="14616"/>
                    <a:pt x="5487" y="14616"/>
                    <a:pt x="5487" y="14616"/>
                  </a:cubicBezTo>
                  <a:lnTo>
                    <a:pt x="5641" y="14500"/>
                  </a:lnTo>
                  <a:close/>
                  <a:moveTo>
                    <a:pt x="5456" y="14330"/>
                  </a:moveTo>
                  <a:cubicBezTo>
                    <a:pt x="5626" y="14493"/>
                    <a:pt x="5626" y="14493"/>
                    <a:pt x="5626" y="14493"/>
                  </a:cubicBezTo>
                  <a:cubicBezTo>
                    <a:pt x="5490" y="14595"/>
                    <a:pt x="5490" y="14595"/>
                    <a:pt x="5490" y="14595"/>
                  </a:cubicBezTo>
                  <a:cubicBezTo>
                    <a:pt x="5345" y="14410"/>
                    <a:pt x="5345" y="14410"/>
                    <a:pt x="5345" y="14410"/>
                  </a:cubicBezTo>
                  <a:lnTo>
                    <a:pt x="5456" y="14330"/>
                  </a:lnTo>
                  <a:close/>
                  <a:moveTo>
                    <a:pt x="5398" y="14813"/>
                  </a:moveTo>
                  <a:cubicBezTo>
                    <a:pt x="5404" y="14809"/>
                    <a:pt x="5404" y="14809"/>
                    <a:pt x="5404" y="14809"/>
                  </a:cubicBezTo>
                  <a:cubicBezTo>
                    <a:pt x="5161" y="14428"/>
                    <a:pt x="5161" y="14428"/>
                    <a:pt x="5161" y="14428"/>
                  </a:cubicBezTo>
                  <a:cubicBezTo>
                    <a:pt x="4758" y="14641"/>
                    <a:pt x="4758" y="14641"/>
                    <a:pt x="4758" y="14641"/>
                  </a:cubicBezTo>
                  <a:cubicBezTo>
                    <a:pt x="5057" y="15070"/>
                    <a:pt x="5057" y="15070"/>
                    <a:pt x="5057" y="15070"/>
                  </a:cubicBezTo>
                  <a:lnTo>
                    <a:pt x="5398" y="14813"/>
                  </a:lnTo>
                  <a:close/>
                  <a:moveTo>
                    <a:pt x="5156" y="14447"/>
                  </a:moveTo>
                  <a:cubicBezTo>
                    <a:pt x="5384" y="14806"/>
                    <a:pt x="5384" y="14806"/>
                    <a:pt x="5384" y="14806"/>
                  </a:cubicBezTo>
                  <a:cubicBezTo>
                    <a:pt x="5060" y="15049"/>
                    <a:pt x="5060" y="15049"/>
                    <a:pt x="5060" y="15049"/>
                  </a:cubicBezTo>
                  <a:cubicBezTo>
                    <a:pt x="4779" y="14646"/>
                    <a:pt x="4779" y="14646"/>
                    <a:pt x="4779" y="14646"/>
                  </a:cubicBezTo>
                  <a:lnTo>
                    <a:pt x="5156" y="14447"/>
                  </a:lnTo>
                  <a:close/>
                  <a:moveTo>
                    <a:pt x="5244" y="14797"/>
                  </a:moveTo>
                  <a:cubicBezTo>
                    <a:pt x="5108" y="14576"/>
                    <a:pt x="5108" y="14576"/>
                    <a:pt x="5108" y="14576"/>
                  </a:cubicBezTo>
                  <a:cubicBezTo>
                    <a:pt x="5104" y="14571"/>
                    <a:pt x="5104" y="14571"/>
                    <a:pt x="5104" y="14571"/>
                  </a:cubicBezTo>
                  <a:cubicBezTo>
                    <a:pt x="4930" y="14660"/>
                    <a:pt x="4930" y="14660"/>
                    <a:pt x="4930" y="14660"/>
                  </a:cubicBezTo>
                  <a:cubicBezTo>
                    <a:pt x="5089" y="14898"/>
                    <a:pt x="5089" y="14898"/>
                    <a:pt x="5089" y="14898"/>
                  </a:cubicBezTo>
                  <a:lnTo>
                    <a:pt x="5244" y="14797"/>
                  </a:lnTo>
                  <a:close/>
                  <a:moveTo>
                    <a:pt x="5099" y="14590"/>
                  </a:moveTo>
                  <a:cubicBezTo>
                    <a:pt x="5224" y="14793"/>
                    <a:pt x="5224" y="14793"/>
                    <a:pt x="5224" y="14793"/>
                  </a:cubicBezTo>
                  <a:cubicBezTo>
                    <a:pt x="5093" y="14878"/>
                    <a:pt x="5093" y="14878"/>
                    <a:pt x="5093" y="14878"/>
                  </a:cubicBezTo>
                  <a:cubicBezTo>
                    <a:pt x="4951" y="14666"/>
                    <a:pt x="4951" y="14666"/>
                    <a:pt x="4951" y="14666"/>
                  </a:cubicBezTo>
                  <a:lnTo>
                    <a:pt x="5099" y="14590"/>
                  </a:lnTo>
                  <a:close/>
                  <a:moveTo>
                    <a:pt x="4713" y="14673"/>
                  </a:moveTo>
                  <a:cubicBezTo>
                    <a:pt x="4327" y="14890"/>
                    <a:pt x="4327" y="14890"/>
                    <a:pt x="4327" y="14890"/>
                  </a:cubicBezTo>
                  <a:cubicBezTo>
                    <a:pt x="4581" y="15332"/>
                    <a:pt x="4581" y="15332"/>
                    <a:pt x="4581" y="15332"/>
                  </a:cubicBezTo>
                  <a:cubicBezTo>
                    <a:pt x="4988" y="15101"/>
                    <a:pt x="4988" y="15101"/>
                    <a:pt x="4988" y="15101"/>
                  </a:cubicBezTo>
                  <a:cubicBezTo>
                    <a:pt x="4995" y="15097"/>
                    <a:pt x="4995" y="15097"/>
                    <a:pt x="4995" y="15097"/>
                  </a:cubicBezTo>
                  <a:lnTo>
                    <a:pt x="4713" y="14673"/>
                  </a:lnTo>
                  <a:close/>
                  <a:moveTo>
                    <a:pt x="4586" y="15312"/>
                  </a:moveTo>
                  <a:cubicBezTo>
                    <a:pt x="4347" y="14895"/>
                    <a:pt x="4347" y="14895"/>
                    <a:pt x="4347" y="14895"/>
                  </a:cubicBezTo>
                  <a:cubicBezTo>
                    <a:pt x="4708" y="14693"/>
                    <a:pt x="4708" y="14693"/>
                    <a:pt x="4708" y="14693"/>
                  </a:cubicBezTo>
                  <a:cubicBezTo>
                    <a:pt x="4974" y="15092"/>
                    <a:pt x="4974" y="15092"/>
                    <a:pt x="4974" y="15092"/>
                  </a:cubicBezTo>
                  <a:lnTo>
                    <a:pt x="4586" y="15312"/>
                  </a:lnTo>
                  <a:close/>
                  <a:moveTo>
                    <a:pt x="4669" y="14832"/>
                  </a:moveTo>
                  <a:cubicBezTo>
                    <a:pt x="4494" y="14922"/>
                    <a:pt x="4494" y="14922"/>
                    <a:pt x="4494" y="14922"/>
                  </a:cubicBezTo>
                  <a:cubicBezTo>
                    <a:pt x="4633" y="15154"/>
                    <a:pt x="4633" y="15154"/>
                    <a:pt x="4633" y="15154"/>
                  </a:cubicBezTo>
                  <a:cubicBezTo>
                    <a:pt x="4810" y="15060"/>
                    <a:pt x="4810" y="15060"/>
                    <a:pt x="4810" y="15060"/>
                  </a:cubicBezTo>
                  <a:cubicBezTo>
                    <a:pt x="4673" y="14838"/>
                    <a:pt x="4673" y="14838"/>
                    <a:pt x="4673" y="14838"/>
                  </a:cubicBezTo>
                  <a:lnTo>
                    <a:pt x="4669" y="14832"/>
                  </a:lnTo>
                  <a:close/>
                  <a:moveTo>
                    <a:pt x="4639" y="15134"/>
                  </a:moveTo>
                  <a:cubicBezTo>
                    <a:pt x="4515" y="14928"/>
                    <a:pt x="4515" y="14928"/>
                    <a:pt x="4515" y="14928"/>
                  </a:cubicBezTo>
                  <a:cubicBezTo>
                    <a:pt x="4664" y="14851"/>
                    <a:pt x="4664" y="14851"/>
                    <a:pt x="4664" y="14851"/>
                  </a:cubicBezTo>
                  <a:cubicBezTo>
                    <a:pt x="4789" y="15055"/>
                    <a:pt x="4789" y="15055"/>
                    <a:pt x="4789" y="15055"/>
                  </a:cubicBezTo>
                  <a:lnTo>
                    <a:pt x="4639" y="15134"/>
                  </a:lnTo>
                  <a:close/>
                  <a:moveTo>
                    <a:pt x="4088" y="15024"/>
                  </a:moveTo>
                  <a:cubicBezTo>
                    <a:pt x="4158" y="15130"/>
                    <a:pt x="4158" y="15130"/>
                    <a:pt x="4158" y="15130"/>
                  </a:cubicBezTo>
                  <a:cubicBezTo>
                    <a:pt x="4242" y="15090"/>
                    <a:pt x="4242" y="15090"/>
                    <a:pt x="4242" y="15090"/>
                  </a:cubicBezTo>
                  <a:cubicBezTo>
                    <a:pt x="4287" y="15162"/>
                    <a:pt x="4287" y="15162"/>
                    <a:pt x="4287" y="15162"/>
                  </a:cubicBezTo>
                  <a:cubicBezTo>
                    <a:pt x="4362" y="15115"/>
                    <a:pt x="4362" y="15115"/>
                    <a:pt x="4362" y="15115"/>
                  </a:cubicBezTo>
                  <a:cubicBezTo>
                    <a:pt x="4368" y="15111"/>
                    <a:pt x="4368" y="15111"/>
                    <a:pt x="4368" y="15111"/>
                  </a:cubicBezTo>
                  <a:cubicBezTo>
                    <a:pt x="4267" y="14933"/>
                    <a:pt x="4267" y="14933"/>
                    <a:pt x="4267" y="14933"/>
                  </a:cubicBezTo>
                  <a:lnTo>
                    <a:pt x="4088" y="15024"/>
                  </a:lnTo>
                  <a:close/>
                  <a:moveTo>
                    <a:pt x="4292" y="15142"/>
                  </a:moveTo>
                  <a:cubicBezTo>
                    <a:pt x="4248" y="15071"/>
                    <a:pt x="4248" y="15071"/>
                    <a:pt x="4248" y="15071"/>
                  </a:cubicBezTo>
                  <a:cubicBezTo>
                    <a:pt x="4163" y="15111"/>
                    <a:pt x="4163" y="15111"/>
                    <a:pt x="4163" y="15111"/>
                  </a:cubicBezTo>
                  <a:cubicBezTo>
                    <a:pt x="4109" y="15030"/>
                    <a:pt x="4109" y="15030"/>
                    <a:pt x="4109" y="15030"/>
                  </a:cubicBezTo>
                  <a:cubicBezTo>
                    <a:pt x="4262" y="14953"/>
                    <a:pt x="4262" y="14953"/>
                    <a:pt x="4262" y="14953"/>
                  </a:cubicBezTo>
                  <a:cubicBezTo>
                    <a:pt x="4348" y="15106"/>
                    <a:pt x="4348" y="15106"/>
                    <a:pt x="4348" y="15106"/>
                  </a:cubicBezTo>
                  <a:lnTo>
                    <a:pt x="4292" y="15142"/>
                  </a:lnTo>
                  <a:close/>
                  <a:moveTo>
                    <a:pt x="5119" y="15478"/>
                  </a:moveTo>
                  <a:cubicBezTo>
                    <a:pt x="5120" y="15598"/>
                    <a:pt x="5120" y="15598"/>
                    <a:pt x="5120" y="15598"/>
                  </a:cubicBezTo>
                  <a:cubicBezTo>
                    <a:pt x="5433" y="15508"/>
                    <a:pt x="5433" y="15508"/>
                    <a:pt x="5433" y="15508"/>
                  </a:cubicBezTo>
                  <a:cubicBezTo>
                    <a:pt x="5368" y="15150"/>
                    <a:pt x="5368" y="15150"/>
                    <a:pt x="5368" y="15150"/>
                  </a:cubicBezTo>
                  <a:cubicBezTo>
                    <a:pt x="5367" y="15144"/>
                    <a:pt x="5367" y="15144"/>
                    <a:pt x="5367" y="15144"/>
                  </a:cubicBezTo>
                  <a:cubicBezTo>
                    <a:pt x="5094" y="15156"/>
                    <a:pt x="5094" y="15156"/>
                    <a:pt x="5094" y="15156"/>
                  </a:cubicBezTo>
                  <a:cubicBezTo>
                    <a:pt x="4997" y="15286"/>
                    <a:pt x="4997" y="15286"/>
                    <a:pt x="4997" y="15286"/>
                  </a:cubicBezTo>
                  <a:cubicBezTo>
                    <a:pt x="5003" y="15506"/>
                    <a:pt x="5003" y="15506"/>
                    <a:pt x="5003" y="15506"/>
                  </a:cubicBezTo>
                  <a:lnTo>
                    <a:pt x="5119" y="15478"/>
                  </a:lnTo>
                  <a:close/>
                  <a:moveTo>
                    <a:pt x="5102" y="15170"/>
                  </a:moveTo>
                  <a:cubicBezTo>
                    <a:pt x="5355" y="15159"/>
                    <a:pt x="5355" y="15159"/>
                    <a:pt x="5355" y="15159"/>
                  </a:cubicBezTo>
                  <a:cubicBezTo>
                    <a:pt x="5416" y="15498"/>
                    <a:pt x="5416" y="15498"/>
                    <a:pt x="5416" y="15498"/>
                  </a:cubicBezTo>
                  <a:cubicBezTo>
                    <a:pt x="5135" y="15578"/>
                    <a:pt x="5135" y="15578"/>
                    <a:pt x="5135" y="15578"/>
                  </a:cubicBezTo>
                  <a:cubicBezTo>
                    <a:pt x="5134" y="15460"/>
                    <a:pt x="5134" y="15460"/>
                    <a:pt x="5134" y="15460"/>
                  </a:cubicBezTo>
                  <a:cubicBezTo>
                    <a:pt x="5017" y="15487"/>
                    <a:pt x="5017" y="15487"/>
                    <a:pt x="5017" y="15487"/>
                  </a:cubicBezTo>
                  <a:cubicBezTo>
                    <a:pt x="5012" y="15290"/>
                    <a:pt x="5012" y="15290"/>
                    <a:pt x="5012" y="15290"/>
                  </a:cubicBezTo>
                  <a:lnTo>
                    <a:pt x="5102" y="15170"/>
                  </a:lnTo>
                  <a:close/>
                  <a:moveTo>
                    <a:pt x="4875" y="16039"/>
                  </a:moveTo>
                  <a:cubicBezTo>
                    <a:pt x="5052" y="16037"/>
                    <a:pt x="5052" y="16037"/>
                    <a:pt x="5052" y="16037"/>
                  </a:cubicBezTo>
                  <a:cubicBezTo>
                    <a:pt x="5075" y="15546"/>
                    <a:pt x="5075" y="15546"/>
                    <a:pt x="5075" y="15546"/>
                  </a:cubicBezTo>
                  <a:cubicBezTo>
                    <a:pt x="5076" y="15536"/>
                    <a:pt x="5076" y="15536"/>
                    <a:pt x="5076" y="15536"/>
                  </a:cubicBezTo>
                  <a:cubicBezTo>
                    <a:pt x="4963" y="15562"/>
                    <a:pt x="4963" y="15562"/>
                    <a:pt x="4963" y="15562"/>
                  </a:cubicBezTo>
                  <a:cubicBezTo>
                    <a:pt x="4932" y="15434"/>
                    <a:pt x="4932" y="15434"/>
                    <a:pt x="4932" y="15434"/>
                  </a:cubicBezTo>
                  <a:cubicBezTo>
                    <a:pt x="4726" y="15529"/>
                    <a:pt x="4726" y="15529"/>
                    <a:pt x="4726" y="15529"/>
                  </a:cubicBezTo>
                  <a:cubicBezTo>
                    <a:pt x="4766" y="15752"/>
                    <a:pt x="4766" y="15752"/>
                    <a:pt x="4766" y="15752"/>
                  </a:cubicBezTo>
                  <a:cubicBezTo>
                    <a:pt x="4873" y="15767"/>
                    <a:pt x="4873" y="15767"/>
                    <a:pt x="4873" y="15767"/>
                  </a:cubicBezTo>
                  <a:lnTo>
                    <a:pt x="4875" y="16039"/>
                  </a:lnTo>
                  <a:close/>
                  <a:moveTo>
                    <a:pt x="4742" y="15538"/>
                  </a:moveTo>
                  <a:cubicBezTo>
                    <a:pt x="4922" y="15455"/>
                    <a:pt x="4922" y="15455"/>
                    <a:pt x="4922" y="15455"/>
                  </a:cubicBezTo>
                  <a:cubicBezTo>
                    <a:pt x="4952" y="15580"/>
                    <a:pt x="4952" y="15580"/>
                    <a:pt x="4952" y="15580"/>
                  </a:cubicBezTo>
                  <a:cubicBezTo>
                    <a:pt x="5060" y="15555"/>
                    <a:pt x="5060" y="15555"/>
                    <a:pt x="5060" y="15555"/>
                  </a:cubicBezTo>
                  <a:cubicBezTo>
                    <a:pt x="5038" y="16022"/>
                    <a:pt x="5038" y="16022"/>
                    <a:pt x="5038" y="16022"/>
                  </a:cubicBezTo>
                  <a:cubicBezTo>
                    <a:pt x="4890" y="16024"/>
                    <a:pt x="4890" y="16024"/>
                    <a:pt x="4890" y="16024"/>
                  </a:cubicBezTo>
                  <a:cubicBezTo>
                    <a:pt x="4888" y="15755"/>
                    <a:pt x="4888" y="15755"/>
                    <a:pt x="4888" y="15755"/>
                  </a:cubicBezTo>
                  <a:cubicBezTo>
                    <a:pt x="4779" y="15739"/>
                    <a:pt x="4779" y="15739"/>
                    <a:pt x="4779" y="15739"/>
                  </a:cubicBezTo>
                  <a:lnTo>
                    <a:pt x="4742" y="15538"/>
                  </a:lnTo>
                  <a:close/>
                  <a:moveTo>
                    <a:pt x="5600" y="13950"/>
                  </a:moveTo>
                  <a:cubicBezTo>
                    <a:pt x="5632" y="13644"/>
                    <a:pt x="5632" y="13644"/>
                    <a:pt x="5632" y="13644"/>
                  </a:cubicBezTo>
                  <a:cubicBezTo>
                    <a:pt x="5633" y="13637"/>
                    <a:pt x="5633" y="13637"/>
                    <a:pt x="5633" y="13637"/>
                  </a:cubicBezTo>
                  <a:cubicBezTo>
                    <a:pt x="5385" y="13593"/>
                    <a:pt x="5385" y="13593"/>
                    <a:pt x="5385" y="13593"/>
                  </a:cubicBezTo>
                  <a:cubicBezTo>
                    <a:pt x="5270" y="13839"/>
                    <a:pt x="5270" y="13839"/>
                    <a:pt x="5270" y="13839"/>
                  </a:cubicBezTo>
                  <a:cubicBezTo>
                    <a:pt x="5031" y="14009"/>
                    <a:pt x="5031" y="14009"/>
                    <a:pt x="5031" y="14009"/>
                  </a:cubicBezTo>
                  <a:cubicBezTo>
                    <a:pt x="5161" y="14274"/>
                    <a:pt x="5161" y="14274"/>
                    <a:pt x="5161" y="14274"/>
                  </a:cubicBezTo>
                  <a:lnTo>
                    <a:pt x="5600" y="13950"/>
                  </a:lnTo>
                  <a:close/>
                  <a:moveTo>
                    <a:pt x="5281" y="13849"/>
                  </a:moveTo>
                  <a:cubicBezTo>
                    <a:pt x="5394" y="13609"/>
                    <a:pt x="5394" y="13609"/>
                    <a:pt x="5394" y="13609"/>
                  </a:cubicBezTo>
                  <a:cubicBezTo>
                    <a:pt x="5617" y="13649"/>
                    <a:pt x="5617" y="13649"/>
                    <a:pt x="5617" y="13649"/>
                  </a:cubicBezTo>
                  <a:cubicBezTo>
                    <a:pt x="5586" y="13942"/>
                    <a:pt x="5586" y="13942"/>
                    <a:pt x="5586" y="13942"/>
                  </a:cubicBezTo>
                  <a:cubicBezTo>
                    <a:pt x="5166" y="14252"/>
                    <a:pt x="5166" y="14252"/>
                    <a:pt x="5166" y="14252"/>
                  </a:cubicBezTo>
                  <a:cubicBezTo>
                    <a:pt x="5050" y="14014"/>
                    <a:pt x="5050" y="14014"/>
                    <a:pt x="5050" y="14014"/>
                  </a:cubicBezTo>
                  <a:lnTo>
                    <a:pt x="5281" y="13849"/>
                  </a:lnTo>
                  <a:close/>
                  <a:moveTo>
                    <a:pt x="5487" y="13776"/>
                  </a:moveTo>
                  <a:cubicBezTo>
                    <a:pt x="5486" y="13771"/>
                    <a:pt x="5486" y="13771"/>
                    <a:pt x="5486" y="13771"/>
                  </a:cubicBezTo>
                  <a:cubicBezTo>
                    <a:pt x="5425" y="13767"/>
                    <a:pt x="5425" y="13767"/>
                    <a:pt x="5425" y="13767"/>
                  </a:cubicBezTo>
                  <a:cubicBezTo>
                    <a:pt x="5370" y="13895"/>
                    <a:pt x="5370" y="13895"/>
                    <a:pt x="5370" y="13895"/>
                  </a:cubicBezTo>
                  <a:cubicBezTo>
                    <a:pt x="5096" y="14014"/>
                    <a:pt x="5096" y="14014"/>
                    <a:pt x="5096" y="14014"/>
                  </a:cubicBezTo>
                  <a:cubicBezTo>
                    <a:pt x="5116" y="14070"/>
                    <a:pt x="5116" y="14070"/>
                    <a:pt x="5116" y="14070"/>
                  </a:cubicBezTo>
                  <a:cubicBezTo>
                    <a:pt x="5529" y="13950"/>
                    <a:pt x="5529" y="13950"/>
                    <a:pt x="5529" y="13950"/>
                  </a:cubicBezTo>
                  <a:lnTo>
                    <a:pt x="5487" y="13776"/>
                  </a:lnTo>
                  <a:close/>
                  <a:moveTo>
                    <a:pt x="5115" y="14023"/>
                  </a:moveTo>
                  <a:cubicBezTo>
                    <a:pt x="5381" y="13906"/>
                    <a:pt x="5381" y="13906"/>
                    <a:pt x="5381" y="13906"/>
                  </a:cubicBezTo>
                  <a:cubicBezTo>
                    <a:pt x="5434" y="13782"/>
                    <a:pt x="5434" y="13782"/>
                    <a:pt x="5434" y="13782"/>
                  </a:cubicBezTo>
                  <a:cubicBezTo>
                    <a:pt x="5474" y="13785"/>
                    <a:pt x="5474" y="13785"/>
                    <a:pt x="5474" y="13785"/>
                  </a:cubicBezTo>
                  <a:cubicBezTo>
                    <a:pt x="5511" y="13940"/>
                    <a:pt x="5511" y="13940"/>
                    <a:pt x="5511" y="13940"/>
                  </a:cubicBezTo>
                  <a:cubicBezTo>
                    <a:pt x="5125" y="14052"/>
                    <a:pt x="5125" y="14052"/>
                    <a:pt x="5125" y="14052"/>
                  </a:cubicBezTo>
                  <a:lnTo>
                    <a:pt x="5115" y="14023"/>
                  </a:lnTo>
                  <a:close/>
                  <a:moveTo>
                    <a:pt x="4964" y="14380"/>
                  </a:moveTo>
                  <a:cubicBezTo>
                    <a:pt x="4963" y="14306"/>
                    <a:pt x="4963" y="14306"/>
                    <a:pt x="4963" y="14306"/>
                  </a:cubicBezTo>
                  <a:cubicBezTo>
                    <a:pt x="5039" y="14266"/>
                    <a:pt x="5039" y="14266"/>
                    <a:pt x="5039" y="14266"/>
                  </a:cubicBezTo>
                  <a:cubicBezTo>
                    <a:pt x="4988" y="14199"/>
                    <a:pt x="4988" y="14199"/>
                    <a:pt x="4988" y="14199"/>
                  </a:cubicBezTo>
                  <a:cubicBezTo>
                    <a:pt x="4984" y="14195"/>
                    <a:pt x="4984" y="14195"/>
                    <a:pt x="4984" y="14195"/>
                  </a:cubicBezTo>
                  <a:cubicBezTo>
                    <a:pt x="4893" y="14228"/>
                    <a:pt x="4893" y="14228"/>
                    <a:pt x="4893" y="14228"/>
                  </a:cubicBezTo>
                  <a:cubicBezTo>
                    <a:pt x="4881" y="14314"/>
                    <a:pt x="4881" y="14314"/>
                    <a:pt x="4881" y="14314"/>
                  </a:cubicBezTo>
                  <a:cubicBezTo>
                    <a:pt x="4593" y="14436"/>
                    <a:pt x="4593" y="14436"/>
                    <a:pt x="4593" y="14436"/>
                  </a:cubicBezTo>
                  <a:cubicBezTo>
                    <a:pt x="4628" y="14583"/>
                    <a:pt x="4628" y="14583"/>
                    <a:pt x="4628" y="14583"/>
                  </a:cubicBezTo>
                  <a:lnTo>
                    <a:pt x="4964" y="14380"/>
                  </a:lnTo>
                  <a:close/>
                  <a:moveTo>
                    <a:pt x="4895" y="14325"/>
                  </a:moveTo>
                  <a:cubicBezTo>
                    <a:pt x="4906" y="14238"/>
                    <a:pt x="4906" y="14238"/>
                    <a:pt x="4906" y="14238"/>
                  </a:cubicBezTo>
                  <a:cubicBezTo>
                    <a:pt x="4979" y="14212"/>
                    <a:pt x="4979" y="14212"/>
                    <a:pt x="4979" y="14212"/>
                  </a:cubicBezTo>
                  <a:cubicBezTo>
                    <a:pt x="5016" y="14261"/>
                    <a:pt x="5016" y="14261"/>
                    <a:pt x="5016" y="14261"/>
                  </a:cubicBezTo>
                  <a:cubicBezTo>
                    <a:pt x="4949" y="14298"/>
                    <a:pt x="4949" y="14298"/>
                    <a:pt x="4949" y="14298"/>
                  </a:cubicBezTo>
                  <a:cubicBezTo>
                    <a:pt x="4949" y="14372"/>
                    <a:pt x="4949" y="14372"/>
                    <a:pt x="4949" y="14372"/>
                  </a:cubicBezTo>
                  <a:cubicBezTo>
                    <a:pt x="4638" y="14560"/>
                    <a:pt x="4638" y="14560"/>
                    <a:pt x="4638" y="14560"/>
                  </a:cubicBezTo>
                  <a:cubicBezTo>
                    <a:pt x="4610" y="14445"/>
                    <a:pt x="4610" y="14445"/>
                    <a:pt x="4610" y="14445"/>
                  </a:cubicBezTo>
                  <a:lnTo>
                    <a:pt x="4895" y="14325"/>
                  </a:lnTo>
                  <a:close/>
                  <a:moveTo>
                    <a:pt x="4472" y="14373"/>
                  </a:moveTo>
                  <a:cubicBezTo>
                    <a:pt x="4358" y="14429"/>
                    <a:pt x="4358" y="14429"/>
                    <a:pt x="4358" y="14429"/>
                  </a:cubicBezTo>
                  <a:cubicBezTo>
                    <a:pt x="4331" y="14417"/>
                    <a:pt x="4331" y="14417"/>
                    <a:pt x="4331" y="14417"/>
                  </a:cubicBezTo>
                  <a:cubicBezTo>
                    <a:pt x="3994" y="14819"/>
                    <a:pt x="3994" y="14819"/>
                    <a:pt x="3994" y="14819"/>
                  </a:cubicBezTo>
                  <a:cubicBezTo>
                    <a:pt x="4029" y="14911"/>
                    <a:pt x="4029" y="14911"/>
                    <a:pt x="4029" y="14911"/>
                  </a:cubicBezTo>
                  <a:cubicBezTo>
                    <a:pt x="4167" y="14825"/>
                    <a:pt x="4167" y="14825"/>
                    <a:pt x="4167" y="14825"/>
                  </a:cubicBezTo>
                  <a:cubicBezTo>
                    <a:pt x="4352" y="14552"/>
                    <a:pt x="4352" y="14552"/>
                    <a:pt x="4352" y="14552"/>
                  </a:cubicBezTo>
                  <a:cubicBezTo>
                    <a:pt x="4376" y="14591"/>
                    <a:pt x="4376" y="14591"/>
                    <a:pt x="4376" y="14591"/>
                  </a:cubicBezTo>
                  <a:cubicBezTo>
                    <a:pt x="4521" y="14527"/>
                    <a:pt x="4521" y="14527"/>
                    <a:pt x="4521" y="14527"/>
                  </a:cubicBezTo>
                  <a:cubicBezTo>
                    <a:pt x="4475" y="14381"/>
                    <a:pt x="4475" y="14381"/>
                    <a:pt x="4475" y="14381"/>
                  </a:cubicBezTo>
                  <a:lnTo>
                    <a:pt x="4472" y="14373"/>
                  </a:lnTo>
                  <a:close/>
                  <a:moveTo>
                    <a:pt x="4382" y="14572"/>
                  </a:moveTo>
                  <a:cubicBezTo>
                    <a:pt x="4352" y="14526"/>
                    <a:pt x="4352" y="14526"/>
                    <a:pt x="4352" y="14526"/>
                  </a:cubicBezTo>
                  <a:cubicBezTo>
                    <a:pt x="4156" y="14815"/>
                    <a:pt x="4156" y="14815"/>
                    <a:pt x="4156" y="14815"/>
                  </a:cubicBezTo>
                  <a:cubicBezTo>
                    <a:pt x="4037" y="14889"/>
                    <a:pt x="4037" y="14889"/>
                    <a:pt x="4037" y="14889"/>
                  </a:cubicBezTo>
                  <a:cubicBezTo>
                    <a:pt x="4011" y="14822"/>
                    <a:pt x="4011" y="14822"/>
                    <a:pt x="4011" y="14822"/>
                  </a:cubicBezTo>
                  <a:cubicBezTo>
                    <a:pt x="4335" y="14435"/>
                    <a:pt x="4335" y="14435"/>
                    <a:pt x="4335" y="14435"/>
                  </a:cubicBezTo>
                  <a:cubicBezTo>
                    <a:pt x="4359" y="14446"/>
                    <a:pt x="4359" y="14446"/>
                    <a:pt x="4359" y="14446"/>
                  </a:cubicBezTo>
                  <a:cubicBezTo>
                    <a:pt x="4463" y="14394"/>
                    <a:pt x="4463" y="14394"/>
                    <a:pt x="4463" y="14394"/>
                  </a:cubicBezTo>
                  <a:cubicBezTo>
                    <a:pt x="4503" y="14519"/>
                    <a:pt x="4503" y="14519"/>
                    <a:pt x="4503" y="14519"/>
                  </a:cubicBezTo>
                  <a:lnTo>
                    <a:pt x="4382" y="14572"/>
                  </a:lnTo>
                  <a:close/>
                  <a:moveTo>
                    <a:pt x="3820" y="14336"/>
                  </a:moveTo>
                  <a:cubicBezTo>
                    <a:pt x="4019" y="14387"/>
                    <a:pt x="4019" y="14387"/>
                    <a:pt x="4019" y="14387"/>
                  </a:cubicBezTo>
                  <a:cubicBezTo>
                    <a:pt x="4155" y="14340"/>
                    <a:pt x="4155" y="14340"/>
                    <a:pt x="4155" y="14340"/>
                  </a:cubicBezTo>
                  <a:cubicBezTo>
                    <a:pt x="4175" y="14333"/>
                    <a:pt x="4175" y="14333"/>
                    <a:pt x="4175" y="14333"/>
                  </a:cubicBezTo>
                  <a:cubicBezTo>
                    <a:pt x="3628" y="14143"/>
                    <a:pt x="3628" y="14143"/>
                    <a:pt x="3628" y="14143"/>
                  </a:cubicBezTo>
                  <a:cubicBezTo>
                    <a:pt x="3617" y="14240"/>
                    <a:pt x="3617" y="14240"/>
                    <a:pt x="3617" y="14240"/>
                  </a:cubicBezTo>
                  <a:cubicBezTo>
                    <a:pt x="3494" y="14202"/>
                    <a:pt x="3494" y="14202"/>
                    <a:pt x="3494" y="14202"/>
                  </a:cubicBezTo>
                  <a:cubicBezTo>
                    <a:pt x="3479" y="14319"/>
                    <a:pt x="3479" y="14319"/>
                    <a:pt x="3479" y="14319"/>
                  </a:cubicBezTo>
                  <a:cubicBezTo>
                    <a:pt x="3655" y="14365"/>
                    <a:pt x="3655" y="14365"/>
                    <a:pt x="3655" y="14365"/>
                  </a:cubicBezTo>
                  <a:lnTo>
                    <a:pt x="3820" y="14336"/>
                  </a:lnTo>
                  <a:close/>
                  <a:moveTo>
                    <a:pt x="3506" y="14222"/>
                  </a:moveTo>
                  <a:cubicBezTo>
                    <a:pt x="3630" y="14259"/>
                    <a:pt x="3630" y="14259"/>
                    <a:pt x="3630" y="14259"/>
                  </a:cubicBezTo>
                  <a:cubicBezTo>
                    <a:pt x="3640" y="14163"/>
                    <a:pt x="3640" y="14163"/>
                    <a:pt x="3640" y="14163"/>
                  </a:cubicBezTo>
                  <a:cubicBezTo>
                    <a:pt x="4130" y="14333"/>
                    <a:pt x="4130" y="14333"/>
                    <a:pt x="4130" y="14333"/>
                  </a:cubicBezTo>
                  <a:cubicBezTo>
                    <a:pt x="4018" y="14372"/>
                    <a:pt x="4018" y="14372"/>
                    <a:pt x="4018" y="14372"/>
                  </a:cubicBezTo>
                  <a:cubicBezTo>
                    <a:pt x="3821" y="14321"/>
                    <a:pt x="3821" y="14321"/>
                    <a:pt x="3821" y="14321"/>
                  </a:cubicBezTo>
                  <a:cubicBezTo>
                    <a:pt x="3656" y="14350"/>
                    <a:pt x="3656" y="14350"/>
                    <a:pt x="3656" y="14350"/>
                  </a:cubicBezTo>
                  <a:cubicBezTo>
                    <a:pt x="3495" y="14308"/>
                    <a:pt x="3495" y="14308"/>
                    <a:pt x="3495" y="14308"/>
                  </a:cubicBezTo>
                  <a:lnTo>
                    <a:pt x="3506" y="14222"/>
                  </a:lnTo>
                  <a:close/>
                  <a:moveTo>
                    <a:pt x="3892" y="14710"/>
                  </a:moveTo>
                  <a:cubicBezTo>
                    <a:pt x="4010" y="14549"/>
                    <a:pt x="4010" y="14549"/>
                    <a:pt x="4010" y="14549"/>
                  </a:cubicBezTo>
                  <a:cubicBezTo>
                    <a:pt x="4016" y="14541"/>
                    <a:pt x="4016" y="14541"/>
                    <a:pt x="4016" y="14541"/>
                  </a:cubicBezTo>
                  <a:cubicBezTo>
                    <a:pt x="3879" y="14503"/>
                    <a:pt x="3879" y="14503"/>
                    <a:pt x="3879" y="14503"/>
                  </a:cubicBezTo>
                  <a:cubicBezTo>
                    <a:pt x="3834" y="14715"/>
                    <a:pt x="3834" y="14715"/>
                    <a:pt x="3834" y="14715"/>
                  </a:cubicBezTo>
                  <a:lnTo>
                    <a:pt x="3892" y="14710"/>
                  </a:lnTo>
                  <a:close/>
                  <a:moveTo>
                    <a:pt x="3890" y="14521"/>
                  </a:moveTo>
                  <a:cubicBezTo>
                    <a:pt x="3991" y="14549"/>
                    <a:pt x="3991" y="14549"/>
                    <a:pt x="3991" y="14549"/>
                  </a:cubicBezTo>
                  <a:cubicBezTo>
                    <a:pt x="3885" y="14696"/>
                    <a:pt x="3885" y="14696"/>
                    <a:pt x="3885" y="14696"/>
                  </a:cubicBezTo>
                  <a:cubicBezTo>
                    <a:pt x="3852" y="14698"/>
                    <a:pt x="3852" y="14698"/>
                    <a:pt x="3852" y="14698"/>
                  </a:cubicBezTo>
                  <a:lnTo>
                    <a:pt x="3890" y="14521"/>
                  </a:lnTo>
                  <a:close/>
                  <a:moveTo>
                    <a:pt x="3576" y="14523"/>
                  </a:moveTo>
                  <a:cubicBezTo>
                    <a:pt x="3768" y="14562"/>
                    <a:pt x="3768" y="14562"/>
                    <a:pt x="3768" y="14562"/>
                  </a:cubicBezTo>
                  <a:cubicBezTo>
                    <a:pt x="3778" y="14493"/>
                    <a:pt x="3778" y="14493"/>
                    <a:pt x="3778" y="14493"/>
                  </a:cubicBezTo>
                  <a:cubicBezTo>
                    <a:pt x="3779" y="14486"/>
                    <a:pt x="3779" y="14486"/>
                    <a:pt x="3779" y="14486"/>
                  </a:cubicBezTo>
                  <a:cubicBezTo>
                    <a:pt x="3449" y="14407"/>
                    <a:pt x="3449" y="14407"/>
                    <a:pt x="3449" y="14407"/>
                  </a:cubicBezTo>
                  <a:cubicBezTo>
                    <a:pt x="3417" y="14690"/>
                    <a:pt x="3417" y="14690"/>
                    <a:pt x="3417" y="14690"/>
                  </a:cubicBezTo>
                  <a:cubicBezTo>
                    <a:pt x="3556" y="14699"/>
                    <a:pt x="3556" y="14699"/>
                    <a:pt x="3556" y="14699"/>
                  </a:cubicBezTo>
                  <a:lnTo>
                    <a:pt x="3576" y="14523"/>
                  </a:lnTo>
                  <a:close/>
                  <a:moveTo>
                    <a:pt x="3434" y="14677"/>
                  </a:moveTo>
                  <a:cubicBezTo>
                    <a:pt x="3462" y="14425"/>
                    <a:pt x="3462" y="14425"/>
                    <a:pt x="3462" y="14425"/>
                  </a:cubicBezTo>
                  <a:cubicBezTo>
                    <a:pt x="3762" y="14497"/>
                    <a:pt x="3762" y="14497"/>
                    <a:pt x="3762" y="14497"/>
                  </a:cubicBezTo>
                  <a:cubicBezTo>
                    <a:pt x="3755" y="14545"/>
                    <a:pt x="3755" y="14545"/>
                    <a:pt x="3755" y="14545"/>
                  </a:cubicBezTo>
                  <a:cubicBezTo>
                    <a:pt x="3564" y="14506"/>
                    <a:pt x="3564" y="14506"/>
                    <a:pt x="3564" y="14506"/>
                  </a:cubicBezTo>
                  <a:cubicBezTo>
                    <a:pt x="3543" y="14684"/>
                    <a:pt x="3543" y="14684"/>
                    <a:pt x="3543" y="14684"/>
                  </a:cubicBezTo>
                  <a:lnTo>
                    <a:pt x="3434" y="14677"/>
                  </a:lnTo>
                  <a:close/>
                  <a:moveTo>
                    <a:pt x="3045" y="12405"/>
                  </a:moveTo>
                  <a:cubicBezTo>
                    <a:pt x="3226" y="12473"/>
                    <a:pt x="3226" y="12473"/>
                    <a:pt x="3226" y="12473"/>
                  </a:cubicBezTo>
                  <a:cubicBezTo>
                    <a:pt x="3293" y="12330"/>
                    <a:pt x="3293" y="12330"/>
                    <a:pt x="3293" y="12330"/>
                  </a:cubicBezTo>
                  <a:cubicBezTo>
                    <a:pt x="3297" y="12319"/>
                    <a:pt x="3297" y="12319"/>
                    <a:pt x="3297" y="12319"/>
                  </a:cubicBezTo>
                  <a:cubicBezTo>
                    <a:pt x="3092" y="12315"/>
                    <a:pt x="3092" y="12315"/>
                    <a:pt x="3092" y="12315"/>
                  </a:cubicBezTo>
                  <a:lnTo>
                    <a:pt x="3045" y="12405"/>
                  </a:lnTo>
                  <a:close/>
                  <a:moveTo>
                    <a:pt x="3274" y="12334"/>
                  </a:moveTo>
                  <a:cubicBezTo>
                    <a:pt x="3219" y="12454"/>
                    <a:pt x="3219" y="12454"/>
                    <a:pt x="3219" y="12454"/>
                  </a:cubicBezTo>
                  <a:cubicBezTo>
                    <a:pt x="3066" y="12397"/>
                    <a:pt x="3066" y="12397"/>
                    <a:pt x="3066" y="12397"/>
                  </a:cubicBezTo>
                  <a:cubicBezTo>
                    <a:pt x="3101" y="12330"/>
                    <a:pt x="3101" y="12330"/>
                    <a:pt x="3101" y="12330"/>
                  </a:cubicBezTo>
                  <a:lnTo>
                    <a:pt x="3274" y="12334"/>
                  </a:lnTo>
                  <a:close/>
                  <a:moveTo>
                    <a:pt x="3209" y="12938"/>
                  </a:moveTo>
                  <a:cubicBezTo>
                    <a:pt x="3209" y="12938"/>
                    <a:pt x="3286" y="12946"/>
                    <a:pt x="3315" y="12948"/>
                  </a:cubicBezTo>
                  <a:cubicBezTo>
                    <a:pt x="3291" y="13006"/>
                    <a:pt x="3233" y="13064"/>
                    <a:pt x="3180" y="13107"/>
                  </a:cubicBezTo>
                  <a:cubicBezTo>
                    <a:pt x="3123" y="13153"/>
                    <a:pt x="3072" y="13182"/>
                    <a:pt x="3072" y="13182"/>
                  </a:cubicBezTo>
                  <a:cubicBezTo>
                    <a:pt x="3069" y="13184"/>
                    <a:pt x="3068" y="13188"/>
                    <a:pt x="3070" y="13192"/>
                  </a:cubicBezTo>
                  <a:cubicBezTo>
                    <a:pt x="3086" y="13221"/>
                    <a:pt x="3086" y="13221"/>
                    <a:pt x="3086" y="13221"/>
                  </a:cubicBezTo>
                  <a:cubicBezTo>
                    <a:pt x="3087" y="13224"/>
                    <a:pt x="3090" y="13225"/>
                    <a:pt x="3092" y="13225"/>
                  </a:cubicBezTo>
                  <a:cubicBezTo>
                    <a:pt x="3093" y="13225"/>
                    <a:pt x="3093" y="13225"/>
                    <a:pt x="3094" y="13225"/>
                  </a:cubicBezTo>
                  <a:cubicBezTo>
                    <a:pt x="3094" y="13224"/>
                    <a:pt x="3391" y="13164"/>
                    <a:pt x="3483" y="13058"/>
                  </a:cubicBezTo>
                  <a:cubicBezTo>
                    <a:pt x="3529" y="13004"/>
                    <a:pt x="3548" y="12953"/>
                    <a:pt x="3548" y="12907"/>
                  </a:cubicBezTo>
                  <a:cubicBezTo>
                    <a:pt x="3548" y="12863"/>
                    <a:pt x="3530" y="12825"/>
                    <a:pt x="3504" y="12794"/>
                  </a:cubicBezTo>
                  <a:cubicBezTo>
                    <a:pt x="3450" y="12731"/>
                    <a:pt x="3346" y="12658"/>
                    <a:pt x="3346" y="12658"/>
                  </a:cubicBezTo>
                  <a:cubicBezTo>
                    <a:pt x="3343" y="12656"/>
                    <a:pt x="3338" y="12656"/>
                    <a:pt x="3336" y="12659"/>
                  </a:cubicBezTo>
                  <a:cubicBezTo>
                    <a:pt x="3284" y="12726"/>
                    <a:pt x="3284" y="12726"/>
                    <a:pt x="3284" y="12726"/>
                  </a:cubicBezTo>
                  <a:cubicBezTo>
                    <a:pt x="3283" y="12730"/>
                    <a:pt x="3283" y="12730"/>
                    <a:pt x="3283" y="12730"/>
                  </a:cubicBezTo>
                  <a:cubicBezTo>
                    <a:pt x="3276" y="12834"/>
                    <a:pt x="3276" y="12834"/>
                    <a:pt x="3276" y="12834"/>
                  </a:cubicBezTo>
                  <a:cubicBezTo>
                    <a:pt x="3219" y="12830"/>
                    <a:pt x="3219" y="12830"/>
                    <a:pt x="3219" y="12830"/>
                  </a:cubicBezTo>
                  <a:cubicBezTo>
                    <a:pt x="3215" y="12830"/>
                    <a:pt x="3211" y="12833"/>
                    <a:pt x="3211" y="12836"/>
                  </a:cubicBezTo>
                  <a:cubicBezTo>
                    <a:pt x="3202" y="12930"/>
                    <a:pt x="3202" y="12930"/>
                    <a:pt x="3202" y="12930"/>
                  </a:cubicBezTo>
                  <a:cubicBezTo>
                    <a:pt x="3202" y="12934"/>
                    <a:pt x="3205" y="12937"/>
                    <a:pt x="3209" y="12938"/>
                  </a:cubicBezTo>
                  <a:close/>
                  <a:moveTo>
                    <a:pt x="3225" y="12845"/>
                  </a:moveTo>
                  <a:cubicBezTo>
                    <a:pt x="3282" y="12849"/>
                    <a:pt x="3282" y="12849"/>
                    <a:pt x="3282" y="12849"/>
                  </a:cubicBezTo>
                  <a:cubicBezTo>
                    <a:pt x="3286" y="12849"/>
                    <a:pt x="3290" y="12846"/>
                    <a:pt x="3290" y="12842"/>
                  </a:cubicBezTo>
                  <a:cubicBezTo>
                    <a:pt x="3297" y="12734"/>
                    <a:pt x="3297" y="12734"/>
                    <a:pt x="3297" y="12734"/>
                  </a:cubicBezTo>
                  <a:cubicBezTo>
                    <a:pt x="3343" y="12674"/>
                    <a:pt x="3343" y="12674"/>
                    <a:pt x="3343" y="12674"/>
                  </a:cubicBezTo>
                  <a:cubicBezTo>
                    <a:pt x="3366" y="12690"/>
                    <a:pt x="3448" y="12751"/>
                    <a:pt x="3493" y="12803"/>
                  </a:cubicBezTo>
                  <a:cubicBezTo>
                    <a:pt x="3517" y="12832"/>
                    <a:pt x="3533" y="12867"/>
                    <a:pt x="3533" y="12907"/>
                  </a:cubicBezTo>
                  <a:cubicBezTo>
                    <a:pt x="3533" y="12948"/>
                    <a:pt x="3516" y="12996"/>
                    <a:pt x="3472" y="13048"/>
                  </a:cubicBezTo>
                  <a:cubicBezTo>
                    <a:pt x="3430" y="13097"/>
                    <a:pt x="3334" y="13139"/>
                    <a:pt x="3250" y="13167"/>
                  </a:cubicBezTo>
                  <a:cubicBezTo>
                    <a:pt x="3178" y="13190"/>
                    <a:pt x="3114" y="13205"/>
                    <a:pt x="3096" y="13209"/>
                  </a:cubicBezTo>
                  <a:cubicBezTo>
                    <a:pt x="3086" y="13191"/>
                    <a:pt x="3086" y="13191"/>
                    <a:pt x="3086" y="13191"/>
                  </a:cubicBezTo>
                  <a:cubicBezTo>
                    <a:pt x="3121" y="13170"/>
                    <a:pt x="3291" y="13063"/>
                    <a:pt x="3332" y="12943"/>
                  </a:cubicBezTo>
                  <a:cubicBezTo>
                    <a:pt x="3332" y="12943"/>
                    <a:pt x="3332" y="12943"/>
                    <a:pt x="3332" y="12943"/>
                  </a:cubicBezTo>
                  <a:cubicBezTo>
                    <a:pt x="3332" y="12942"/>
                    <a:pt x="3332" y="12942"/>
                    <a:pt x="3333" y="12941"/>
                  </a:cubicBezTo>
                  <a:cubicBezTo>
                    <a:pt x="3333" y="12938"/>
                    <a:pt x="3331" y="12934"/>
                    <a:pt x="3327" y="12933"/>
                  </a:cubicBezTo>
                  <a:cubicBezTo>
                    <a:pt x="3326" y="12933"/>
                    <a:pt x="3325" y="12933"/>
                    <a:pt x="3324" y="12933"/>
                  </a:cubicBezTo>
                  <a:cubicBezTo>
                    <a:pt x="3323" y="12933"/>
                    <a:pt x="3323" y="12933"/>
                    <a:pt x="3323" y="12933"/>
                  </a:cubicBezTo>
                  <a:cubicBezTo>
                    <a:pt x="3312" y="12933"/>
                    <a:pt x="3241" y="12926"/>
                    <a:pt x="3218" y="12924"/>
                  </a:cubicBezTo>
                  <a:lnTo>
                    <a:pt x="3225" y="12845"/>
                  </a:lnTo>
                  <a:close/>
                  <a:moveTo>
                    <a:pt x="3225" y="12974"/>
                  </a:moveTo>
                  <a:cubicBezTo>
                    <a:pt x="3147" y="12958"/>
                    <a:pt x="3147" y="12958"/>
                    <a:pt x="3147" y="12958"/>
                  </a:cubicBezTo>
                  <a:cubicBezTo>
                    <a:pt x="3146" y="12892"/>
                    <a:pt x="3146" y="12892"/>
                    <a:pt x="3146" y="12892"/>
                  </a:cubicBezTo>
                  <a:cubicBezTo>
                    <a:pt x="2945" y="13085"/>
                    <a:pt x="2945" y="13085"/>
                    <a:pt x="2945" y="13085"/>
                  </a:cubicBezTo>
                  <a:cubicBezTo>
                    <a:pt x="3029" y="13137"/>
                    <a:pt x="3029" y="13137"/>
                    <a:pt x="3029" y="13137"/>
                  </a:cubicBezTo>
                  <a:cubicBezTo>
                    <a:pt x="3213" y="12984"/>
                    <a:pt x="3213" y="12984"/>
                    <a:pt x="3213" y="12984"/>
                  </a:cubicBezTo>
                  <a:lnTo>
                    <a:pt x="3225" y="12974"/>
                  </a:lnTo>
                  <a:close/>
                  <a:moveTo>
                    <a:pt x="3028" y="13119"/>
                  </a:moveTo>
                  <a:cubicBezTo>
                    <a:pt x="2969" y="13082"/>
                    <a:pt x="2969" y="13082"/>
                    <a:pt x="2969" y="13082"/>
                  </a:cubicBezTo>
                  <a:cubicBezTo>
                    <a:pt x="3132" y="12926"/>
                    <a:pt x="3132" y="12926"/>
                    <a:pt x="3132" y="12926"/>
                  </a:cubicBezTo>
                  <a:cubicBezTo>
                    <a:pt x="3133" y="12970"/>
                    <a:pt x="3133" y="12970"/>
                    <a:pt x="3133" y="12970"/>
                  </a:cubicBezTo>
                  <a:cubicBezTo>
                    <a:pt x="3192" y="12982"/>
                    <a:pt x="3192" y="12982"/>
                    <a:pt x="3192" y="12982"/>
                  </a:cubicBezTo>
                  <a:lnTo>
                    <a:pt x="3028" y="13119"/>
                  </a:lnTo>
                  <a:close/>
                  <a:moveTo>
                    <a:pt x="3401" y="13286"/>
                  </a:moveTo>
                  <a:cubicBezTo>
                    <a:pt x="3403" y="13289"/>
                    <a:pt x="3406" y="13291"/>
                    <a:pt x="3410" y="13293"/>
                  </a:cubicBezTo>
                  <a:cubicBezTo>
                    <a:pt x="3416" y="13298"/>
                    <a:pt x="3422" y="13302"/>
                    <a:pt x="3422" y="13302"/>
                  </a:cubicBezTo>
                  <a:cubicBezTo>
                    <a:pt x="3424" y="13304"/>
                    <a:pt x="3424" y="13304"/>
                    <a:pt x="3424" y="13304"/>
                  </a:cubicBezTo>
                  <a:cubicBezTo>
                    <a:pt x="3747" y="13274"/>
                    <a:pt x="3747" y="13274"/>
                    <a:pt x="3747" y="13274"/>
                  </a:cubicBezTo>
                  <a:cubicBezTo>
                    <a:pt x="3747" y="13133"/>
                    <a:pt x="3747" y="13133"/>
                    <a:pt x="3747" y="13133"/>
                  </a:cubicBezTo>
                  <a:cubicBezTo>
                    <a:pt x="3747" y="13127"/>
                    <a:pt x="3747" y="13127"/>
                    <a:pt x="3747" y="13127"/>
                  </a:cubicBezTo>
                  <a:cubicBezTo>
                    <a:pt x="3623" y="13086"/>
                    <a:pt x="3623" y="13086"/>
                    <a:pt x="3623" y="13086"/>
                  </a:cubicBezTo>
                  <a:cubicBezTo>
                    <a:pt x="3620" y="13091"/>
                    <a:pt x="3620" y="13091"/>
                    <a:pt x="3620" y="13091"/>
                  </a:cubicBezTo>
                  <a:cubicBezTo>
                    <a:pt x="3620" y="13091"/>
                    <a:pt x="3609" y="13113"/>
                    <a:pt x="3590" y="13139"/>
                  </a:cubicBezTo>
                  <a:cubicBezTo>
                    <a:pt x="3571" y="13166"/>
                    <a:pt x="3545" y="13196"/>
                    <a:pt x="3516" y="13214"/>
                  </a:cubicBezTo>
                  <a:cubicBezTo>
                    <a:pt x="3457" y="13251"/>
                    <a:pt x="3405" y="13269"/>
                    <a:pt x="3403" y="13268"/>
                  </a:cubicBezTo>
                  <a:cubicBezTo>
                    <a:pt x="3402" y="13268"/>
                    <a:pt x="3401" y="13268"/>
                    <a:pt x="3398" y="13269"/>
                  </a:cubicBezTo>
                  <a:cubicBezTo>
                    <a:pt x="3396" y="13271"/>
                    <a:pt x="3394" y="13274"/>
                    <a:pt x="3395" y="13276"/>
                  </a:cubicBezTo>
                  <a:cubicBezTo>
                    <a:pt x="3396" y="13284"/>
                    <a:pt x="3398" y="13283"/>
                    <a:pt x="3401" y="13286"/>
                  </a:cubicBezTo>
                  <a:close/>
                  <a:moveTo>
                    <a:pt x="3524" y="13227"/>
                  </a:moveTo>
                  <a:cubicBezTo>
                    <a:pt x="3578" y="13193"/>
                    <a:pt x="3619" y="13124"/>
                    <a:pt x="3630" y="13104"/>
                  </a:cubicBezTo>
                  <a:cubicBezTo>
                    <a:pt x="3732" y="13138"/>
                    <a:pt x="3732" y="13138"/>
                    <a:pt x="3732" y="13138"/>
                  </a:cubicBezTo>
                  <a:cubicBezTo>
                    <a:pt x="3732" y="13261"/>
                    <a:pt x="3732" y="13261"/>
                    <a:pt x="3732" y="13261"/>
                  </a:cubicBezTo>
                  <a:cubicBezTo>
                    <a:pt x="3428" y="13288"/>
                    <a:pt x="3428" y="13288"/>
                    <a:pt x="3428" y="13288"/>
                  </a:cubicBezTo>
                  <a:cubicBezTo>
                    <a:pt x="3425" y="13287"/>
                    <a:pt x="3420" y="13283"/>
                    <a:pt x="3416" y="13280"/>
                  </a:cubicBezTo>
                  <a:cubicBezTo>
                    <a:pt x="3437" y="13273"/>
                    <a:pt x="3476" y="13256"/>
                    <a:pt x="3524" y="13227"/>
                  </a:cubicBezTo>
                  <a:close/>
                  <a:moveTo>
                    <a:pt x="3846" y="13385"/>
                  </a:moveTo>
                  <a:cubicBezTo>
                    <a:pt x="3748" y="13349"/>
                    <a:pt x="3748" y="13349"/>
                    <a:pt x="3748" y="13349"/>
                  </a:cubicBezTo>
                  <a:cubicBezTo>
                    <a:pt x="3746" y="13348"/>
                    <a:pt x="3746" y="13348"/>
                    <a:pt x="3746" y="13348"/>
                  </a:cubicBezTo>
                  <a:cubicBezTo>
                    <a:pt x="3383" y="13361"/>
                    <a:pt x="3383" y="13361"/>
                    <a:pt x="3383" y="13361"/>
                  </a:cubicBezTo>
                  <a:cubicBezTo>
                    <a:pt x="3322" y="13302"/>
                    <a:pt x="3322" y="13302"/>
                    <a:pt x="3322" y="13302"/>
                  </a:cubicBezTo>
                  <a:cubicBezTo>
                    <a:pt x="3130" y="13330"/>
                    <a:pt x="3130" y="13330"/>
                    <a:pt x="3130" y="13330"/>
                  </a:cubicBezTo>
                  <a:cubicBezTo>
                    <a:pt x="3329" y="13464"/>
                    <a:pt x="3329" y="13464"/>
                    <a:pt x="3329" y="13464"/>
                  </a:cubicBezTo>
                  <a:lnTo>
                    <a:pt x="3846" y="13385"/>
                  </a:lnTo>
                  <a:close/>
                  <a:moveTo>
                    <a:pt x="3317" y="13318"/>
                  </a:moveTo>
                  <a:cubicBezTo>
                    <a:pt x="3377" y="13376"/>
                    <a:pt x="3377" y="13376"/>
                    <a:pt x="3377" y="13376"/>
                  </a:cubicBezTo>
                  <a:cubicBezTo>
                    <a:pt x="3744" y="13363"/>
                    <a:pt x="3744" y="13363"/>
                    <a:pt x="3744" y="13363"/>
                  </a:cubicBezTo>
                  <a:cubicBezTo>
                    <a:pt x="3788" y="13379"/>
                    <a:pt x="3788" y="13379"/>
                    <a:pt x="3788" y="13379"/>
                  </a:cubicBezTo>
                  <a:cubicBezTo>
                    <a:pt x="3333" y="13449"/>
                    <a:pt x="3333" y="13449"/>
                    <a:pt x="3333" y="13449"/>
                  </a:cubicBezTo>
                  <a:cubicBezTo>
                    <a:pt x="3170" y="13339"/>
                    <a:pt x="3170" y="13339"/>
                    <a:pt x="3170" y="13339"/>
                  </a:cubicBezTo>
                  <a:lnTo>
                    <a:pt x="3317" y="13318"/>
                  </a:lnTo>
                  <a:close/>
                  <a:moveTo>
                    <a:pt x="4049" y="14073"/>
                  </a:moveTo>
                  <a:cubicBezTo>
                    <a:pt x="4074" y="13978"/>
                    <a:pt x="4074" y="13978"/>
                    <a:pt x="4074" y="13978"/>
                  </a:cubicBezTo>
                  <a:cubicBezTo>
                    <a:pt x="3873" y="13766"/>
                    <a:pt x="3873" y="13766"/>
                    <a:pt x="3873" y="13766"/>
                  </a:cubicBezTo>
                  <a:cubicBezTo>
                    <a:pt x="3883" y="13464"/>
                    <a:pt x="3883" y="13464"/>
                    <a:pt x="3883" y="13464"/>
                  </a:cubicBezTo>
                  <a:cubicBezTo>
                    <a:pt x="3883" y="13455"/>
                    <a:pt x="3883" y="13455"/>
                    <a:pt x="3883" y="13455"/>
                  </a:cubicBezTo>
                  <a:cubicBezTo>
                    <a:pt x="3648" y="13485"/>
                    <a:pt x="3648" y="13485"/>
                    <a:pt x="3648" y="13485"/>
                  </a:cubicBezTo>
                  <a:cubicBezTo>
                    <a:pt x="3612" y="13992"/>
                    <a:pt x="3612" y="13992"/>
                    <a:pt x="3612" y="13992"/>
                  </a:cubicBezTo>
                  <a:cubicBezTo>
                    <a:pt x="4109" y="14183"/>
                    <a:pt x="4109" y="14183"/>
                    <a:pt x="4109" y="14183"/>
                  </a:cubicBezTo>
                  <a:lnTo>
                    <a:pt x="4049" y="14073"/>
                  </a:lnTo>
                  <a:close/>
                  <a:moveTo>
                    <a:pt x="3662" y="13498"/>
                  </a:moveTo>
                  <a:cubicBezTo>
                    <a:pt x="3868" y="13472"/>
                    <a:pt x="3868" y="13472"/>
                    <a:pt x="3868" y="13472"/>
                  </a:cubicBezTo>
                  <a:cubicBezTo>
                    <a:pt x="3858" y="13772"/>
                    <a:pt x="3858" y="13772"/>
                    <a:pt x="3858" y="13772"/>
                  </a:cubicBezTo>
                  <a:cubicBezTo>
                    <a:pt x="4057" y="13982"/>
                    <a:pt x="4057" y="13982"/>
                    <a:pt x="4057" y="13982"/>
                  </a:cubicBezTo>
                  <a:cubicBezTo>
                    <a:pt x="4033" y="14075"/>
                    <a:pt x="4033" y="14075"/>
                    <a:pt x="4033" y="14075"/>
                  </a:cubicBezTo>
                  <a:cubicBezTo>
                    <a:pt x="4077" y="14155"/>
                    <a:pt x="4077" y="14155"/>
                    <a:pt x="4077" y="14155"/>
                  </a:cubicBezTo>
                  <a:cubicBezTo>
                    <a:pt x="3627" y="13983"/>
                    <a:pt x="3627" y="13983"/>
                    <a:pt x="3627" y="13983"/>
                  </a:cubicBezTo>
                  <a:lnTo>
                    <a:pt x="3662" y="13498"/>
                  </a:lnTo>
                  <a:close/>
                  <a:moveTo>
                    <a:pt x="3796" y="13569"/>
                  </a:moveTo>
                  <a:cubicBezTo>
                    <a:pt x="3722" y="13577"/>
                    <a:pt x="3722" y="13577"/>
                    <a:pt x="3722" y="13577"/>
                  </a:cubicBezTo>
                  <a:cubicBezTo>
                    <a:pt x="3706" y="13953"/>
                    <a:pt x="3706" y="13953"/>
                    <a:pt x="3706" y="13953"/>
                  </a:cubicBezTo>
                  <a:cubicBezTo>
                    <a:pt x="3904" y="14030"/>
                    <a:pt x="3904" y="14030"/>
                    <a:pt x="3904" y="14030"/>
                  </a:cubicBezTo>
                  <a:cubicBezTo>
                    <a:pt x="3928" y="13966"/>
                    <a:pt x="3928" y="13966"/>
                    <a:pt x="3928" y="13966"/>
                  </a:cubicBezTo>
                  <a:cubicBezTo>
                    <a:pt x="3929" y="13962"/>
                    <a:pt x="3929" y="13962"/>
                    <a:pt x="3929" y="13962"/>
                  </a:cubicBezTo>
                  <a:cubicBezTo>
                    <a:pt x="3785" y="13809"/>
                    <a:pt x="3785" y="13809"/>
                    <a:pt x="3785" y="13809"/>
                  </a:cubicBezTo>
                  <a:lnTo>
                    <a:pt x="3796" y="13569"/>
                  </a:lnTo>
                  <a:close/>
                  <a:moveTo>
                    <a:pt x="3912" y="13966"/>
                  </a:moveTo>
                  <a:cubicBezTo>
                    <a:pt x="3895" y="14011"/>
                    <a:pt x="3895" y="14011"/>
                    <a:pt x="3895" y="14011"/>
                  </a:cubicBezTo>
                  <a:cubicBezTo>
                    <a:pt x="3722" y="13943"/>
                    <a:pt x="3722" y="13943"/>
                    <a:pt x="3722" y="13943"/>
                  </a:cubicBezTo>
                  <a:cubicBezTo>
                    <a:pt x="3737" y="13591"/>
                    <a:pt x="3737" y="13591"/>
                    <a:pt x="3737" y="13591"/>
                  </a:cubicBezTo>
                  <a:cubicBezTo>
                    <a:pt x="3781" y="13586"/>
                    <a:pt x="3781" y="13586"/>
                    <a:pt x="3781" y="13586"/>
                  </a:cubicBezTo>
                  <a:cubicBezTo>
                    <a:pt x="3770" y="13814"/>
                    <a:pt x="3770" y="13814"/>
                    <a:pt x="3770" y="13814"/>
                  </a:cubicBezTo>
                  <a:lnTo>
                    <a:pt x="3912" y="13966"/>
                  </a:lnTo>
                  <a:close/>
                  <a:moveTo>
                    <a:pt x="3287" y="13643"/>
                  </a:moveTo>
                  <a:cubicBezTo>
                    <a:pt x="3379" y="13642"/>
                    <a:pt x="3379" y="13642"/>
                    <a:pt x="3379" y="13642"/>
                  </a:cubicBezTo>
                  <a:cubicBezTo>
                    <a:pt x="3403" y="13577"/>
                    <a:pt x="3403" y="13577"/>
                    <a:pt x="3403" y="13577"/>
                  </a:cubicBezTo>
                  <a:cubicBezTo>
                    <a:pt x="3472" y="13573"/>
                    <a:pt x="3472" y="13573"/>
                    <a:pt x="3472" y="13573"/>
                  </a:cubicBezTo>
                  <a:cubicBezTo>
                    <a:pt x="3400" y="13836"/>
                    <a:pt x="3400" y="13836"/>
                    <a:pt x="3400" y="13836"/>
                  </a:cubicBezTo>
                  <a:cubicBezTo>
                    <a:pt x="3342" y="13819"/>
                    <a:pt x="3342" y="13819"/>
                    <a:pt x="3342" y="13819"/>
                  </a:cubicBezTo>
                  <a:cubicBezTo>
                    <a:pt x="3352" y="13733"/>
                    <a:pt x="3352" y="13733"/>
                    <a:pt x="3352" y="13733"/>
                  </a:cubicBezTo>
                  <a:cubicBezTo>
                    <a:pt x="3279" y="13693"/>
                    <a:pt x="3279" y="13693"/>
                    <a:pt x="3279" y="13693"/>
                  </a:cubicBezTo>
                  <a:cubicBezTo>
                    <a:pt x="3205" y="13844"/>
                    <a:pt x="3205" y="13844"/>
                    <a:pt x="3205" y="13844"/>
                  </a:cubicBezTo>
                  <a:cubicBezTo>
                    <a:pt x="3542" y="13964"/>
                    <a:pt x="3542" y="13964"/>
                    <a:pt x="3542" y="13964"/>
                  </a:cubicBezTo>
                  <a:cubicBezTo>
                    <a:pt x="3574" y="13501"/>
                    <a:pt x="3574" y="13501"/>
                    <a:pt x="3574" y="13501"/>
                  </a:cubicBezTo>
                  <a:cubicBezTo>
                    <a:pt x="3574" y="13492"/>
                    <a:pt x="3574" y="13492"/>
                    <a:pt x="3574" y="13492"/>
                  </a:cubicBezTo>
                  <a:cubicBezTo>
                    <a:pt x="3346" y="13517"/>
                    <a:pt x="3346" y="13517"/>
                    <a:pt x="3346" y="13517"/>
                  </a:cubicBezTo>
                  <a:lnTo>
                    <a:pt x="3287" y="13643"/>
                  </a:lnTo>
                  <a:close/>
                  <a:moveTo>
                    <a:pt x="3558" y="13509"/>
                  </a:moveTo>
                  <a:cubicBezTo>
                    <a:pt x="3529" y="13944"/>
                    <a:pt x="3529" y="13944"/>
                    <a:pt x="3529" y="13944"/>
                  </a:cubicBezTo>
                  <a:cubicBezTo>
                    <a:pt x="3226" y="13835"/>
                    <a:pt x="3226" y="13835"/>
                    <a:pt x="3226" y="13835"/>
                  </a:cubicBezTo>
                  <a:cubicBezTo>
                    <a:pt x="3286" y="13713"/>
                    <a:pt x="3286" y="13713"/>
                    <a:pt x="3286" y="13713"/>
                  </a:cubicBezTo>
                  <a:cubicBezTo>
                    <a:pt x="3336" y="13741"/>
                    <a:pt x="3336" y="13741"/>
                    <a:pt x="3336" y="13741"/>
                  </a:cubicBezTo>
                  <a:cubicBezTo>
                    <a:pt x="3326" y="13830"/>
                    <a:pt x="3326" y="13830"/>
                    <a:pt x="3326" y="13830"/>
                  </a:cubicBezTo>
                  <a:cubicBezTo>
                    <a:pt x="3410" y="13854"/>
                    <a:pt x="3410" y="13854"/>
                    <a:pt x="3410" y="13854"/>
                  </a:cubicBezTo>
                  <a:cubicBezTo>
                    <a:pt x="3492" y="13557"/>
                    <a:pt x="3492" y="13557"/>
                    <a:pt x="3492" y="13557"/>
                  </a:cubicBezTo>
                  <a:cubicBezTo>
                    <a:pt x="3392" y="13563"/>
                    <a:pt x="3392" y="13563"/>
                    <a:pt x="3392" y="13563"/>
                  </a:cubicBezTo>
                  <a:cubicBezTo>
                    <a:pt x="3369" y="13627"/>
                    <a:pt x="3369" y="13627"/>
                    <a:pt x="3369" y="13627"/>
                  </a:cubicBezTo>
                  <a:cubicBezTo>
                    <a:pt x="3311" y="13628"/>
                    <a:pt x="3311" y="13628"/>
                    <a:pt x="3311" y="13628"/>
                  </a:cubicBezTo>
                  <a:cubicBezTo>
                    <a:pt x="3355" y="13531"/>
                    <a:pt x="3355" y="13531"/>
                    <a:pt x="3355" y="13531"/>
                  </a:cubicBezTo>
                  <a:lnTo>
                    <a:pt x="3558" y="13509"/>
                  </a:lnTo>
                  <a:close/>
                  <a:moveTo>
                    <a:pt x="2895" y="13412"/>
                  </a:moveTo>
                  <a:cubicBezTo>
                    <a:pt x="2896" y="13413"/>
                    <a:pt x="2897" y="13413"/>
                    <a:pt x="2899" y="13414"/>
                  </a:cubicBezTo>
                  <a:cubicBezTo>
                    <a:pt x="2902" y="13417"/>
                    <a:pt x="2906" y="13419"/>
                    <a:pt x="2911" y="13422"/>
                  </a:cubicBezTo>
                  <a:cubicBezTo>
                    <a:pt x="2921" y="13428"/>
                    <a:pt x="2933" y="13436"/>
                    <a:pt x="2946" y="13443"/>
                  </a:cubicBezTo>
                  <a:cubicBezTo>
                    <a:pt x="2972" y="13458"/>
                    <a:pt x="2997" y="13472"/>
                    <a:pt x="2997" y="13472"/>
                  </a:cubicBezTo>
                  <a:cubicBezTo>
                    <a:pt x="3000" y="13474"/>
                    <a:pt x="3000" y="13474"/>
                    <a:pt x="3000" y="13474"/>
                  </a:cubicBezTo>
                  <a:cubicBezTo>
                    <a:pt x="3077" y="13446"/>
                    <a:pt x="3077" y="13446"/>
                    <a:pt x="3077" y="13446"/>
                  </a:cubicBezTo>
                  <a:cubicBezTo>
                    <a:pt x="3225" y="13609"/>
                    <a:pt x="3225" y="13609"/>
                    <a:pt x="3225" y="13609"/>
                  </a:cubicBezTo>
                  <a:cubicBezTo>
                    <a:pt x="3276" y="13502"/>
                    <a:pt x="3276" y="13502"/>
                    <a:pt x="3276" y="13502"/>
                  </a:cubicBezTo>
                  <a:cubicBezTo>
                    <a:pt x="3279" y="13496"/>
                    <a:pt x="3279" y="13496"/>
                    <a:pt x="3279" y="13496"/>
                  </a:cubicBezTo>
                  <a:cubicBezTo>
                    <a:pt x="3061" y="13350"/>
                    <a:pt x="3061" y="13350"/>
                    <a:pt x="3061" y="13350"/>
                  </a:cubicBezTo>
                  <a:cubicBezTo>
                    <a:pt x="3058" y="13350"/>
                    <a:pt x="3058" y="13350"/>
                    <a:pt x="3058" y="13350"/>
                  </a:cubicBezTo>
                  <a:cubicBezTo>
                    <a:pt x="3058" y="13350"/>
                    <a:pt x="2933" y="13369"/>
                    <a:pt x="2894" y="13399"/>
                  </a:cubicBezTo>
                  <a:cubicBezTo>
                    <a:pt x="2889" y="13402"/>
                    <a:pt x="2889" y="13402"/>
                    <a:pt x="2889" y="13402"/>
                  </a:cubicBezTo>
                  <a:cubicBezTo>
                    <a:pt x="2891" y="13407"/>
                    <a:pt x="2891" y="13407"/>
                    <a:pt x="2891" y="13407"/>
                  </a:cubicBezTo>
                  <a:cubicBezTo>
                    <a:pt x="2893" y="13411"/>
                    <a:pt x="2894" y="13411"/>
                    <a:pt x="2895" y="13412"/>
                  </a:cubicBezTo>
                  <a:close/>
                  <a:moveTo>
                    <a:pt x="2994" y="13378"/>
                  </a:moveTo>
                  <a:cubicBezTo>
                    <a:pt x="3023" y="13371"/>
                    <a:pt x="3049" y="13367"/>
                    <a:pt x="3058" y="13365"/>
                  </a:cubicBezTo>
                  <a:cubicBezTo>
                    <a:pt x="3260" y="13501"/>
                    <a:pt x="3260" y="13501"/>
                    <a:pt x="3260" y="13501"/>
                  </a:cubicBezTo>
                  <a:cubicBezTo>
                    <a:pt x="3221" y="13583"/>
                    <a:pt x="3221" y="13583"/>
                    <a:pt x="3221" y="13583"/>
                  </a:cubicBezTo>
                  <a:cubicBezTo>
                    <a:pt x="3081" y="13429"/>
                    <a:pt x="3081" y="13429"/>
                    <a:pt x="3081" y="13429"/>
                  </a:cubicBezTo>
                  <a:cubicBezTo>
                    <a:pt x="3001" y="13458"/>
                    <a:pt x="3001" y="13458"/>
                    <a:pt x="3001" y="13458"/>
                  </a:cubicBezTo>
                  <a:cubicBezTo>
                    <a:pt x="2994" y="13454"/>
                    <a:pt x="2975" y="13443"/>
                    <a:pt x="2956" y="13432"/>
                  </a:cubicBezTo>
                  <a:cubicBezTo>
                    <a:pt x="2939" y="13422"/>
                    <a:pt x="2921" y="13411"/>
                    <a:pt x="2911" y="13405"/>
                  </a:cubicBezTo>
                  <a:cubicBezTo>
                    <a:pt x="2930" y="13395"/>
                    <a:pt x="2964" y="13385"/>
                    <a:pt x="2994" y="13378"/>
                  </a:cubicBezTo>
                  <a:close/>
                  <a:moveTo>
                    <a:pt x="3209" y="13635"/>
                  </a:moveTo>
                  <a:cubicBezTo>
                    <a:pt x="3158" y="13593"/>
                    <a:pt x="3158" y="13593"/>
                    <a:pt x="3158" y="13593"/>
                  </a:cubicBezTo>
                  <a:cubicBezTo>
                    <a:pt x="3050" y="13658"/>
                    <a:pt x="3050" y="13658"/>
                    <a:pt x="3050" y="13658"/>
                  </a:cubicBezTo>
                  <a:cubicBezTo>
                    <a:pt x="2955" y="13612"/>
                    <a:pt x="2955" y="13612"/>
                    <a:pt x="2955" y="13612"/>
                  </a:cubicBezTo>
                  <a:cubicBezTo>
                    <a:pt x="2974" y="13504"/>
                    <a:pt x="2974" y="13504"/>
                    <a:pt x="2974" y="13504"/>
                  </a:cubicBezTo>
                  <a:cubicBezTo>
                    <a:pt x="2866" y="13433"/>
                    <a:pt x="2866" y="13433"/>
                    <a:pt x="2866" y="13433"/>
                  </a:cubicBezTo>
                  <a:cubicBezTo>
                    <a:pt x="2862" y="13438"/>
                    <a:pt x="2862" y="13438"/>
                    <a:pt x="2862" y="13438"/>
                  </a:cubicBezTo>
                  <a:cubicBezTo>
                    <a:pt x="2861" y="13438"/>
                    <a:pt x="2822" y="13484"/>
                    <a:pt x="2808" y="13533"/>
                  </a:cubicBezTo>
                  <a:cubicBezTo>
                    <a:pt x="2793" y="13580"/>
                    <a:pt x="2772" y="13688"/>
                    <a:pt x="2772" y="13688"/>
                  </a:cubicBezTo>
                  <a:cubicBezTo>
                    <a:pt x="2770" y="13694"/>
                    <a:pt x="2770" y="13694"/>
                    <a:pt x="2770" y="13694"/>
                  </a:cubicBezTo>
                  <a:cubicBezTo>
                    <a:pt x="3138" y="13821"/>
                    <a:pt x="3138" y="13821"/>
                    <a:pt x="3138" y="13821"/>
                  </a:cubicBezTo>
                  <a:cubicBezTo>
                    <a:pt x="3207" y="13640"/>
                    <a:pt x="3207" y="13640"/>
                    <a:pt x="3207" y="13640"/>
                  </a:cubicBezTo>
                  <a:lnTo>
                    <a:pt x="3209" y="13635"/>
                  </a:lnTo>
                  <a:close/>
                  <a:moveTo>
                    <a:pt x="3130" y="13802"/>
                  </a:moveTo>
                  <a:cubicBezTo>
                    <a:pt x="2787" y="13684"/>
                    <a:pt x="2787" y="13684"/>
                    <a:pt x="2787" y="13684"/>
                  </a:cubicBezTo>
                  <a:cubicBezTo>
                    <a:pt x="2792" y="13661"/>
                    <a:pt x="2810" y="13576"/>
                    <a:pt x="2822" y="13537"/>
                  </a:cubicBezTo>
                  <a:cubicBezTo>
                    <a:pt x="2832" y="13502"/>
                    <a:pt x="2859" y="13465"/>
                    <a:pt x="2869" y="13452"/>
                  </a:cubicBezTo>
                  <a:cubicBezTo>
                    <a:pt x="2958" y="13511"/>
                    <a:pt x="2958" y="13511"/>
                    <a:pt x="2958" y="13511"/>
                  </a:cubicBezTo>
                  <a:cubicBezTo>
                    <a:pt x="2938" y="13620"/>
                    <a:pt x="2938" y="13620"/>
                    <a:pt x="2938" y="13620"/>
                  </a:cubicBezTo>
                  <a:cubicBezTo>
                    <a:pt x="3051" y="13675"/>
                    <a:pt x="3051" y="13675"/>
                    <a:pt x="3051" y="13675"/>
                  </a:cubicBezTo>
                  <a:cubicBezTo>
                    <a:pt x="3156" y="13611"/>
                    <a:pt x="3156" y="13611"/>
                    <a:pt x="3156" y="13611"/>
                  </a:cubicBezTo>
                  <a:cubicBezTo>
                    <a:pt x="3191" y="13640"/>
                    <a:pt x="3191" y="13640"/>
                    <a:pt x="3191" y="13640"/>
                  </a:cubicBezTo>
                  <a:lnTo>
                    <a:pt x="3130" y="13802"/>
                  </a:lnTo>
                  <a:close/>
                  <a:moveTo>
                    <a:pt x="3007" y="13530"/>
                  </a:moveTo>
                  <a:cubicBezTo>
                    <a:pt x="2994" y="13578"/>
                    <a:pt x="2994" y="13578"/>
                    <a:pt x="2994" y="13578"/>
                  </a:cubicBezTo>
                  <a:cubicBezTo>
                    <a:pt x="3051" y="13604"/>
                    <a:pt x="3051" y="13604"/>
                    <a:pt x="3051" y="13604"/>
                  </a:cubicBezTo>
                  <a:cubicBezTo>
                    <a:pt x="3091" y="13562"/>
                    <a:pt x="3091" y="13562"/>
                    <a:pt x="3091" y="13562"/>
                  </a:cubicBezTo>
                  <a:cubicBezTo>
                    <a:pt x="3096" y="13556"/>
                    <a:pt x="3096" y="13556"/>
                    <a:pt x="3096" y="13556"/>
                  </a:cubicBezTo>
                  <a:cubicBezTo>
                    <a:pt x="3044" y="13511"/>
                    <a:pt x="3044" y="13511"/>
                    <a:pt x="3044" y="13511"/>
                  </a:cubicBezTo>
                  <a:lnTo>
                    <a:pt x="3007" y="13530"/>
                  </a:lnTo>
                  <a:close/>
                  <a:moveTo>
                    <a:pt x="3047" y="13586"/>
                  </a:moveTo>
                  <a:cubicBezTo>
                    <a:pt x="3012" y="13570"/>
                    <a:pt x="3012" y="13570"/>
                    <a:pt x="3012" y="13570"/>
                  </a:cubicBezTo>
                  <a:cubicBezTo>
                    <a:pt x="3020" y="13540"/>
                    <a:pt x="3020" y="13540"/>
                    <a:pt x="3020" y="13540"/>
                  </a:cubicBezTo>
                  <a:cubicBezTo>
                    <a:pt x="3042" y="13529"/>
                    <a:pt x="3042" y="13529"/>
                    <a:pt x="3042" y="13529"/>
                  </a:cubicBezTo>
                  <a:cubicBezTo>
                    <a:pt x="3075" y="13557"/>
                    <a:pt x="3075" y="13557"/>
                    <a:pt x="3075" y="13557"/>
                  </a:cubicBezTo>
                  <a:lnTo>
                    <a:pt x="3047" y="13586"/>
                  </a:lnTo>
                  <a:close/>
                  <a:moveTo>
                    <a:pt x="2623" y="13446"/>
                  </a:moveTo>
                  <a:cubicBezTo>
                    <a:pt x="2593" y="13517"/>
                    <a:pt x="2593" y="13517"/>
                    <a:pt x="2593" y="13517"/>
                  </a:cubicBezTo>
                  <a:cubicBezTo>
                    <a:pt x="2561" y="13506"/>
                    <a:pt x="2561" y="13506"/>
                    <a:pt x="2561" y="13506"/>
                  </a:cubicBezTo>
                  <a:cubicBezTo>
                    <a:pt x="2671" y="13241"/>
                    <a:pt x="2671" y="13241"/>
                    <a:pt x="2671" y="13241"/>
                  </a:cubicBezTo>
                  <a:cubicBezTo>
                    <a:pt x="2728" y="13251"/>
                    <a:pt x="2728" y="13251"/>
                    <a:pt x="2728" y="13251"/>
                  </a:cubicBezTo>
                  <a:cubicBezTo>
                    <a:pt x="2683" y="13359"/>
                    <a:pt x="2683" y="13359"/>
                    <a:pt x="2683" y="13359"/>
                  </a:cubicBezTo>
                  <a:cubicBezTo>
                    <a:pt x="2757" y="13385"/>
                    <a:pt x="2757" y="13385"/>
                    <a:pt x="2757" y="13385"/>
                  </a:cubicBezTo>
                  <a:cubicBezTo>
                    <a:pt x="2759" y="13377"/>
                    <a:pt x="2759" y="13377"/>
                    <a:pt x="2759" y="13377"/>
                  </a:cubicBezTo>
                  <a:cubicBezTo>
                    <a:pt x="2759" y="13377"/>
                    <a:pt x="2760" y="13373"/>
                    <a:pt x="2764" y="13366"/>
                  </a:cubicBezTo>
                  <a:cubicBezTo>
                    <a:pt x="2768" y="13359"/>
                    <a:pt x="2774" y="13350"/>
                    <a:pt x="2784" y="13339"/>
                  </a:cubicBezTo>
                  <a:cubicBezTo>
                    <a:pt x="2805" y="13319"/>
                    <a:pt x="2843" y="13296"/>
                    <a:pt x="2910" y="13289"/>
                  </a:cubicBezTo>
                  <a:cubicBezTo>
                    <a:pt x="2919" y="13288"/>
                    <a:pt x="2919" y="13288"/>
                    <a:pt x="2919" y="13288"/>
                  </a:cubicBezTo>
                  <a:cubicBezTo>
                    <a:pt x="2864" y="13123"/>
                    <a:pt x="2864" y="13123"/>
                    <a:pt x="2864" y="13123"/>
                  </a:cubicBezTo>
                  <a:cubicBezTo>
                    <a:pt x="2648" y="13068"/>
                    <a:pt x="2648" y="13068"/>
                    <a:pt x="2648" y="13068"/>
                  </a:cubicBezTo>
                  <a:cubicBezTo>
                    <a:pt x="2440" y="13559"/>
                    <a:pt x="2440" y="13559"/>
                    <a:pt x="2440" y="13559"/>
                  </a:cubicBezTo>
                  <a:cubicBezTo>
                    <a:pt x="2676" y="13644"/>
                    <a:pt x="2676" y="13644"/>
                    <a:pt x="2676" y="13644"/>
                  </a:cubicBezTo>
                  <a:cubicBezTo>
                    <a:pt x="2719" y="13471"/>
                    <a:pt x="2719" y="13471"/>
                    <a:pt x="2719" y="13471"/>
                  </a:cubicBezTo>
                  <a:lnTo>
                    <a:pt x="2623" y="13446"/>
                  </a:lnTo>
                  <a:close/>
                  <a:moveTo>
                    <a:pt x="2666" y="13624"/>
                  </a:moveTo>
                  <a:cubicBezTo>
                    <a:pt x="2460" y="13550"/>
                    <a:pt x="2460" y="13550"/>
                    <a:pt x="2460" y="13550"/>
                  </a:cubicBezTo>
                  <a:cubicBezTo>
                    <a:pt x="2657" y="13085"/>
                    <a:pt x="2657" y="13085"/>
                    <a:pt x="2657" y="13085"/>
                  </a:cubicBezTo>
                  <a:cubicBezTo>
                    <a:pt x="2853" y="13135"/>
                    <a:pt x="2853" y="13135"/>
                    <a:pt x="2853" y="13135"/>
                  </a:cubicBezTo>
                  <a:cubicBezTo>
                    <a:pt x="2899" y="13275"/>
                    <a:pt x="2899" y="13275"/>
                    <a:pt x="2899" y="13275"/>
                  </a:cubicBezTo>
                  <a:cubicBezTo>
                    <a:pt x="2791" y="13290"/>
                    <a:pt x="2756" y="13346"/>
                    <a:pt x="2748" y="13366"/>
                  </a:cubicBezTo>
                  <a:cubicBezTo>
                    <a:pt x="2703" y="13351"/>
                    <a:pt x="2703" y="13351"/>
                    <a:pt x="2703" y="13351"/>
                  </a:cubicBezTo>
                  <a:cubicBezTo>
                    <a:pt x="2748" y="13240"/>
                    <a:pt x="2748" y="13240"/>
                    <a:pt x="2748" y="13240"/>
                  </a:cubicBezTo>
                  <a:cubicBezTo>
                    <a:pt x="2662" y="13225"/>
                    <a:pt x="2662" y="13225"/>
                    <a:pt x="2662" y="13225"/>
                  </a:cubicBezTo>
                  <a:cubicBezTo>
                    <a:pt x="2541" y="13515"/>
                    <a:pt x="2541" y="13515"/>
                    <a:pt x="2541" y="13515"/>
                  </a:cubicBezTo>
                  <a:cubicBezTo>
                    <a:pt x="2601" y="13535"/>
                    <a:pt x="2601" y="13535"/>
                    <a:pt x="2601" y="13535"/>
                  </a:cubicBezTo>
                  <a:cubicBezTo>
                    <a:pt x="2631" y="13464"/>
                    <a:pt x="2631" y="13464"/>
                    <a:pt x="2631" y="13464"/>
                  </a:cubicBezTo>
                  <a:cubicBezTo>
                    <a:pt x="2701" y="13481"/>
                    <a:pt x="2701" y="13481"/>
                    <a:pt x="2701" y="13481"/>
                  </a:cubicBezTo>
                  <a:lnTo>
                    <a:pt x="2666" y="13624"/>
                  </a:lnTo>
                  <a:close/>
                  <a:moveTo>
                    <a:pt x="2116" y="13001"/>
                  </a:moveTo>
                  <a:cubicBezTo>
                    <a:pt x="2116" y="13001"/>
                    <a:pt x="2139" y="12952"/>
                    <a:pt x="2148" y="12933"/>
                  </a:cubicBezTo>
                  <a:cubicBezTo>
                    <a:pt x="2149" y="12934"/>
                    <a:pt x="2150" y="12934"/>
                    <a:pt x="2151" y="12935"/>
                  </a:cubicBezTo>
                  <a:cubicBezTo>
                    <a:pt x="2154" y="12935"/>
                    <a:pt x="2156" y="12936"/>
                    <a:pt x="2158" y="12937"/>
                  </a:cubicBezTo>
                  <a:cubicBezTo>
                    <a:pt x="2239" y="13067"/>
                    <a:pt x="2239" y="13067"/>
                    <a:pt x="2239" y="13067"/>
                  </a:cubicBezTo>
                  <a:cubicBezTo>
                    <a:pt x="2404" y="13111"/>
                    <a:pt x="2404" y="13111"/>
                    <a:pt x="2404" y="13111"/>
                  </a:cubicBezTo>
                  <a:cubicBezTo>
                    <a:pt x="2390" y="13147"/>
                    <a:pt x="2390" y="13147"/>
                    <a:pt x="2390" y="13147"/>
                  </a:cubicBezTo>
                  <a:cubicBezTo>
                    <a:pt x="2510" y="13183"/>
                    <a:pt x="2510" y="13183"/>
                    <a:pt x="2510" y="13183"/>
                  </a:cubicBezTo>
                  <a:cubicBezTo>
                    <a:pt x="2562" y="13027"/>
                    <a:pt x="2562" y="13027"/>
                    <a:pt x="2562" y="13027"/>
                  </a:cubicBezTo>
                  <a:cubicBezTo>
                    <a:pt x="2565" y="13019"/>
                    <a:pt x="2565" y="13019"/>
                    <a:pt x="2565" y="13019"/>
                  </a:cubicBezTo>
                  <a:cubicBezTo>
                    <a:pt x="2333" y="12953"/>
                    <a:pt x="2333" y="12953"/>
                    <a:pt x="2333" y="12953"/>
                  </a:cubicBezTo>
                  <a:cubicBezTo>
                    <a:pt x="2233" y="12797"/>
                    <a:pt x="2233" y="12797"/>
                    <a:pt x="2233" y="12797"/>
                  </a:cubicBezTo>
                  <a:cubicBezTo>
                    <a:pt x="2087" y="12749"/>
                    <a:pt x="2087" y="12749"/>
                    <a:pt x="2087" y="12749"/>
                  </a:cubicBezTo>
                  <a:cubicBezTo>
                    <a:pt x="1989" y="12972"/>
                    <a:pt x="1989" y="12972"/>
                    <a:pt x="1989" y="12972"/>
                  </a:cubicBezTo>
                  <a:cubicBezTo>
                    <a:pt x="2114" y="13007"/>
                    <a:pt x="2114" y="13007"/>
                    <a:pt x="2114" y="13007"/>
                  </a:cubicBezTo>
                  <a:lnTo>
                    <a:pt x="2116" y="13001"/>
                  </a:lnTo>
                  <a:close/>
                  <a:moveTo>
                    <a:pt x="2010" y="12963"/>
                  </a:moveTo>
                  <a:cubicBezTo>
                    <a:pt x="2095" y="12767"/>
                    <a:pt x="2095" y="12767"/>
                    <a:pt x="2095" y="12767"/>
                  </a:cubicBezTo>
                  <a:cubicBezTo>
                    <a:pt x="2224" y="12809"/>
                    <a:pt x="2224" y="12809"/>
                    <a:pt x="2224" y="12809"/>
                  </a:cubicBezTo>
                  <a:cubicBezTo>
                    <a:pt x="2324" y="12965"/>
                    <a:pt x="2324" y="12965"/>
                    <a:pt x="2324" y="12965"/>
                  </a:cubicBezTo>
                  <a:cubicBezTo>
                    <a:pt x="2546" y="13029"/>
                    <a:pt x="2546" y="13029"/>
                    <a:pt x="2546" y="13029"/>
                  </a:cubicBezTo>
                  <a:cubicBezTo>
                    <a:pt x="2500" y="13165"/>
                    <a:pt x="2500" y="13165"/>
                    <a:pt x="2500" y="13165"/>
                  </a:cubicBezTo>
                  <a:cubicBezTo>
                    <a:pt x="2410" y="13137"/>
                    <a:pt x="2410" y="13137"/>
                    <a:pt x="2410" y="13137"/>
                  </a:cubicBezTo>
                  <a:cubicBezTo>
                    <a:pt x="2424" y="13101"/>
                    <a:pt x="2424" y="13101"/>
                    <a:pt x="2424" y="13101"/>
                  </a:cubicBezTo>
                  <a:cubicBezTo>
                    <a:pt x="2248" y="13054"/>
                    <a:pt x="2248" y="13054"/>
                    <a:pt x="2248" y="13054"/>
                  </a:cubicBezTo>
                  <a:cubicBezTo>
                    <a:pt x="2168" y="12924"/>
                    <a:pt x="2168" y="12924"/>
                    <a:pt x="2168" y="12924"/>
                  </a:cubicBezTo>
                  <a:cubicBezTo>
                    <a:pt x="2165" y="12923"/>
                    <a:pt x="2165" y="12923"/>
                    <a:pt x="2165" y="12923"/>
                  </a:cubicBezTo>
                  <a:cubicBezTo>
                    <a:pt x="2165" y="12923"/>
                    <a:pt x="2151" y="12919"/>
                    <a:pt x="2147" y="12918"/>
                  </a:cubicBezTo>
                  <a:cubicBezTo>
                    <a:pt x="2146" y="12917"/>
                    <a:pt x="2145" y="12917"/>
                    <a:pt x="2143" y="12917"/>
                  </a:cubicBezTo>
                  <a:cubicBezTo>
                    <a:pt x="2142" y="12917"/>
                    <a:pt x="2141" y="12917"/>
                    <a:pt x="2141" y="12917"/>
                  </a:cubicBezTo>
                  <a:cubicBezTo>
                    <a:pt x="2140" y="12918"/>
                    <a:pt x="2139" y="12918"/>
                    <a:pt x="2138" y="12919"/>
                  </a:cubicBezTo>
                  <a:cubicBezTo>
                    <a:pt x="2138" y="12919"/>
                    <a:pt x="2138" y="12919"/>
                    <a:pt x="2138" y="12919"/>
                  </a:cubicBezTo>
                  <a:cubicBezTo>
                    <a:pt x="2138" y="12919"/>
                    <a:pt x="2138" y="12919"/>
                    <a:pt x="2138" y="12919"/>
                  </a:cubicBezTo>
                  <a:cubicBezTo>
                    <a:pt x="2138" y="12919"/>
                    <a:pt x="2138" y="12919"/>
                    <a:pt x="2138" y="12919"/>
                  </a:cubicBezTo>
                  <a:cubicBezTo>
                    <a:pt x="2138" y="12919"/>
                    <a:pt x="2138" y="12920"/>
                    <a:pt x="2138" y="12920"/>
                  </a:cubicBezTo>
                  <a:cubicBezTo>
                    <a:pt x="2137" y="12920"/>
                    <a:pt x="2137" y="12920"/>
                    <a:pt x="2137" y="12920"/>
                  </a:cubicBezTo>
                  <a:cubicBezTo>
                    <a:pt x="2137" y="12920"/>
                    <a:pt x="2137" y="12920"/>
                    <a:pt x="2137" y="12920"/>
                  </a:cubicBezTo>
                  <a:cubicBezTo>
                    <a:pt x="2137" y="12920"/>
                    <a:pt x="2137" y="12920"/>
                    <a:pt x="2137" y="12920"/>
                  </a:cubicBezTo>
                  <a:cubicBezTo>
                    <a:pt x="2137" y="12921"/>
                    <a:pt x="2136" y="12922"/>
                    <a:pt x="2136" y="12922"/>
                  </a:cubicBezTo>
                  <a:cubicBezTo>
                    <a:pt x="2136" y="12922"/>
                    <a:pt x="2136" y="12922"/>
                    <a:pt x="2136" y="12922"/>
                  </a:cubicBezTo>
                  <a:cubicBezTo>
                    <a:pt x="2136" y="12923"/>
                    <a:pt x="2136" y="12924"/>
                    <a:pt x="2135" y="12925"/>
                  </a:cubicBezTo>
                  <a:cubicBezTo>
                    <a:pt x="2134" y="12927"/>
                    <a:pt x="2133" y="12930"/>
                    <a:pt x="2131" y="12933"/>
                  </a:cubicBezTo>
                  <a:cubicBezTo>
                    <a:pt x="2128" y="12940"/>
                    <a:pt x="2124" y="12949"/>
                    <a:pt x="2120" y="12959"/>
                  </a:cubicBezTo>
                  <a:cubicBezTo>
                    <a:pt x="2114" y="12971"/>
                    <a:pt x="2109" y="12982"/>
                    <a:pt x="2106" y="12989"/>
                  </a:cubicBezTo>
                  <a:lnTo>
                    <a:pt x="2010" y="12963"/>
                  </a:lnTo>
                  <a:close/>
                  <a:moveTo>
                    <a:pt x="2337" y="13511"/>
                  </a:moveTo>
                  <a:cubicBezTo>
                    <a:pt x="2364" y="13443"/>
                    <a:pt x="2364" y="13443"/>
                    <a:pt x="2364" y="13443"/>
                  </a:cubicBezTo>
                  <a:cubicBezTo>
                    <a:pt x="2405" y="13457"/>
                    <a:pt x="2405" y="13457"/>
                    <a:pt x="2405" y="13457"/>
                  </a:cubicBezTo>
                  <a:cubicBezTo>
                    <a:pt x="2469" y="13296"/>
                    <a:pt x="2469" y="13296"/>
                    <a:pt x="2469" y="13296"/>
                  </a:cubicBezTo>
                  <a:cubicBezTo>
                    <a:pt x="2472" y="13288"/>
                    <a:pt x="2472" y="13288"/>
                    <a:pt x="2472" y="13288"/>
                  </a:cubicBezTo>
                  <a:cubicBezTo>
                    <a:pt x="2303" y="13233"/>
                    <a:pt x="2303" y="13233"/>
                    <a:pt x="2303" y="13233"/>
                  </a:cubicBezTo>
                  <a:cubicBezTo>
                    <a:pt x="2270" y="13298"/>
                    <a:pt x="2270" y="13298"/>
                    <a:pt x="2270" y="13298"/>
                  </a:cubicBezTo>
                  <a:cubicBezTo>
                    <a:pt x="2178" y="13265"/>
                    <a:pt x="2178" y="13265"/>
                    <a:pt x="2178" y="13265"/>
                  </a:cubicBezTo>
                  <a:cubicBezTo>
                    <a:pt x="2101" y="13109"/>
                    <a:pt x="2101" y="13109"/>
                    <a:pt x="2101" y="13109"/>
                  </a:cubicBezTo>
                  <a:cubicBezTo>
                    <a:pt x="1995" y="13075"/>
                    <a:pt x="1995" y="13075"/>
                    <a:pt x="1995" y="13075"/>
                  </a:cubicBezTo>
                  <a:cubicBezTo>
                    <a:pt x="2156" y="13451"/>
                    <a:pt x="2156" y="13451"/>
                    <a:pt x="2156" y="13451"/>
                  </a:cubicBezTo>
                  <a:lnTo>
                    <a:pt x="2337" y="13511"/>
                  </a:lnTo>
                  <a:close/>
                  <a:moveTo>
                    <a:pt x="2091" y="13121"/>
                  </a:moveTo>
                  <a:cubicBezTo>
                    <a:pt x="2167" y="13277"/>
                    <a:pt x="2167" y="13277"/>
                    <a:pt x="2167" y="13277"/>
                  </a:cubicBezTo>
                  <a:cubicBezTo>
                    <a:pt x="2278" y="13317"/>
                    <a:pt x="2278" y="13317"/>
                    <a:pt x="2278" y="13317"/>
                  </a:cubicBezTo>
                  <a:cubicBezTo>
                    <a:pt x="2310" y="13251"/>
                    <a:pt x="2310" y="13251"/>
                    <a:pt x="2310" y="13251"/>
                  </a:cubicBezTo>
                  <a:cubicBezTo>
                    <a:pt x="2453" y="13298"/>
                    <a:pt x="2453" y="13298"/>
                    <a:pt x="2453" y="13298"/>
                  </a:cubicBezTo>
                  <a:cubicBezTo>
                    <a:pt x="2396" y="13438"/>
                    <a:pt x="2396" y="13438"/>
                    <a:pt x="2396" y="13438"/>
                  </a:cubicBezTo>
                  <a:cubicBezTo>
                    <a:pt x="2356" y="13425"/>
                    <a:pt x="2356" y="13425"/>
                    <a:pt x="2356" y="13425"/>
                  </a:cubicBezTo>
                  <a:cubicBezTo>
                    <a:pt x="2328" y="13493"/>
                    <a:pt x="2328" y="13493"/>
                    <a:pt x="2328" y="13493"/>
                  </a:cubicBezTo>
                  <a:cubicBezTo>
                    <a:pt x="2167" y="13439"/>
                    <a:pt x="2167" y="13439"/>
                    <a:pt x="2167" y="13439"/>
                  </a:cubicBezTo>
                  <a:cubicBezTo>
                    <a:pt x="2021" y="13099"/>
                    <a:pt x="2021" y="13099"/>
                    <a:pt x="2021" y="13099"/>
                  </a:cubicBezTo>
                  <a:lnTo>
                    <a:pt x="2091" y="13121"/>
                  </a:lnTo>
                  <a:close/>
                  <a:moveTo>
                    <a:pt x="2428" y="10248"/>
                  </a:moveTo>
                  <a:cubicBezTo>
                    <a:pt x="2428" y="10239"/>
                    <a:pt x="2428" y="10239"/>
                    <a:pt x="2428" y="10239"/>
                  </a:cubicBezTo>
                  <a:cubicBezTo>
                    <a:pt x="2343" y="10241"/>
                    <a:pt x="2343" y="10241"/>
                    <a:pt x="2343" y="10241"/>
                  </a:cubicBezTo>
                  <a:cubicBezTo>
                    <a:pt x="2304" y="10510"/>
                    <a:pt x="2304" y="10510"/>
                    <a:pt x="2304" y="10510"/>
                  </a:cubicBezTo>
                  <a:cubicBezTo>
                    <a:pt x="2561" y="10517"/>
                    <a:pt x="2561" y="10517"/>
                    <a:pt x="2561" y="10517"/>
                  </a:cubicBezTo>
                  <a:cubicBezTo>
                    <a:pt x="2501" y="10407"/>
                    <a:pt x="2501" y="10407"/>
                    <a:pt x="2501" y="10407"/>
                  </a:cubicBezTo>
                  <a:cubicBezTo>
                    <a:pt x="2420" y="10351"/>
                    <a:pt x="2420" y="10351"/>
                    <a:pt x="2420" y="10351"/>
                  </a:cubicBezTo>
                  <a:lnTo>
                    <a:pt x="2428" y="10248"/>
                  </a:lnTo>
                  <a:close/>
                  <a:moveTo>
                    <a:pt x="2490" y="10417"/>
                  </a:moveTo>
                  <a:cubicBezTo>
                    <a:pt x="2536" y="10502"/>
                    <a:pt x="2536" y="10502"/>
                    <a:pt x="2536" y="10502"/>
                  </a:cubicBezTo>
                  <a:cubicBezTo>
                    <a:pt x="2321" y="10495"/>
                    <a:pt x="2321" y="10495"/>
                    <a:pt x="2321" y="10495"/>
                  </a:cubicBezTo>
                  <a:cubicBezTo>
                    <a:pt x="2356" y="10256"/>
                    <a:pt x="2356" y="10256"/>
                    <a:pt x="2356" y="10256"/>
                  </a:cubicBezTo>
                  <a:cubicBezTo>
                    <a:pt x="2412" y="10254"/>
                    <a:pt x="2412" y="10254"/>
                    <a:pt x="2412" y="10254"/>
                  </a:cubicBezTo>
                  <a:cubicBezTo>
                    <a:pt x="2404" y="10359"/>
                    <a:pt x="2404" y="10359"/>
                    <a:pt x="2404" y="10359"/>
                  </a:cubicBezTo>
                  <a:lnTo>
                    <a:pt x="2490" y="10417"/>
                  </a:lnTo>
                  <a:close/>
                  <a:moveTo>
                    <a:pt x="3082" y="10045"/>
                  </a:moveTo>
                  <a:cubicBezTo>
                    <a:pt x="2911" y="10138"/>
                    <a:pt x="2911" y="10138"/>
                    <a:pt x="2911" y="10138"/>
                  </a:cubicBezTo>
                  <a:cubicBezTo>
                    <a:pt x="2899" y="10241"/>
                    <a:pt x="2899" y="10241"/>
                    <a:pt x="2899" y="10241"/>
                  </a:cubicBezTo>
                  <a:cubicBezTo>
                    <a:pt x="2796" y="10193"/>
                    <a:pt x="2796" y="10193"/>
                    <a:pt x="2796" y="10193"/>
                  </a:cubicBezTo>
                  <a:cubicBezTo>
                    <a:pt x="2651" y="10215"/>
                    <a:pt x="2651" y="10215"/>
                    <a:pt x="2651" y="10215"/>
                  </a:cubicBezTo>
                  <a:cubicBezTo>
                    <a:pt x="2833" y="10430"/>
                    <a:pt x="2833" y="10430"/>
                    <a:pt x="2833" y="10430"/>
                  </a:cubicBezTo>
                  <a:cubicBezTo>
                    <a:pt x="3018" y="10330"/>
                    <a:pt x="3018" y="10330"/>
                    <a:pt x="3018" y="10330"/>
                  </a:cubicBezTo>
                  <a:cubicBezTo>
                    <a:pt x="3027" y="10247"/>
                    <a:pt x="3027" y="10247"/>
                    <a:pt x="3027" y="10247"/>
                  </a:cubicBezTo>
                  <a:cubicBezTo>
                    <a:pt x="3083" y="10297"/>
                    <a:pt x="3083" y="10297"/>
                    <a:pt x="3083" y="10297"/>
                  </a:cubicBezTo>
                  <a:cubicBezTo>
                    <a:pt x="3120" y="10283"/>
                    <a:pt x="3120" y="10283"/>
                    <a:pt x="3120" y="10283"/>
                  </a:cubicBezTo>
                  <a:cubicBezTo>
                    <a:pt x="3084" y="10055"/>
                    <a:pt x="3084" y="10055"/>
                    <a:pt x="3084" y="10055"/>
                  </a:cubicBezTo>
                  <a:lnTo>
                    <a:pt x="3082" y="10045"/>
                  </a:lnTo>
                  <a:close/>
                  <a:moveTo>
                    <a:pt x="3086" y="10280"/>
                  </a:moveTo>
                  <a:cubicBezTo>
                    <a:pt x="3015" y="10217"/>
                    <a:pt x="3015" y="10217"/>
                    <a:pt x="3015" y="10217"/>
                  </a:cubicBezTo>
                  <a:cubicBezTo>
                    <a:pt x="3004" y="10321"/>
                    <a:pt x="3004" y="10321"/>
                    <a:pt x="3004" y="10321"/>
                  </a:cubicBezTo>
                  <a:cubicBezTo>
                    <a:pt x="2836" y="10411"/>
                    <a:pt x="2836" y="10411"/>
                    <a:pt x="2836" y="10411"/>
                  </a:cubicBezTo>
                  <a:cubicBezTo>
                    <a:pt x="2679" y="10226"/>
                    <a:pt x="2679" y="10226"/>
                    <a:pt x="2679" y="10226"/>
                  </a:cubicBezTo>
                  <a:cubicBezTo>
                    <a:pt x="2794" y="10208"/>
                    <a:pt x="2794" y="10208"/>
                    <a:pt x="2794" y="10208"/>
                  </a:cubicBezTo>
                  <a:cubicBezTo>
                    <a:pt x="2912" y="10264"/>
                    <a:pt x="2912" y="10264"/>
                    <a:pt x="2912" y="10264"/>
                  </a:cubicBezTo>
                  <a:cubicBezTo>
                    <a:pt x="2925" y="10148"/>
                    <a:pt x="2925" y="10148"/>
                    <a:pt x="2925" y="10148"/>
                  </a:cubicBezTo>
                  <a:cubicBezTo>
                    <a:pt x="3071" y="10068"/>
                    <a:pt x="3071" y="10068"/>
                    <a:pt x="3071" y="10068"/>
                  </a:cubicBezTo>
                  <a:cubicBezTo>
                    <a:pt x="3104" y="10274"/>
                    <a:pt x="3104" y="10274"/>
                    <a:pt x="3104" y="10274"/>
                  </a:cubicBezTo>
                  <a:lnTo>
                    <a:pt x="3086" y="10280"/>
                  </a:lnTo>
                  <a:close/>
                  <a:moveTo>
                    <a:pt x="2610" y="10011"/>
                  </a:moveTo>
                  <a:cubicBezTo>
                    <a:pt x="2610" y="10011"/>
                    <a:pt x="2610" y="10011"/>
                    <a:pt x="2610" y="10011"/>
                  </a:cubicBezTo>
                  <a:cubicBezTo>
                    <a:pt x="2567" y="10007"/>
                    <a:pt x="2526" y="9989"/>
                    <a:pt x="2497" y="9972"/>
                  </a:cubicBezTo>
                  <a:cubicBezTo>
                    <a:pt x="2472" y="9958"/>
                    <a:pt x="2455" y="9945"/>
                    <a:pt x="2450" y="9941"/>
                  </a:cubicBezTo>
                  <a:cubicBezTo>
                    <a:pt x="2314" y="9529"/>
                    <a:pt x="2314" y="9529"/>
                    <a:pt x="2314" y="9529"/>
                  </a:cubicBezTo>
                  <a:cubicBezTo>
                    <a:pt x="2266" y="9517"/>
                    <a:pt x="2266" y="9517"/>
                    <a:pt x="2266" y="9517"/>
                  </a:cubicBezTo>
                  <a:cubicBezTo>
                    <a:pt x="2219" y="10076"/>
                    <a:pt x="2219" y="10076"/>
                    <a:pt x="2219" y="10076"/>
                  </a:cubicBezTo>
                  <a:cubicBezTo>
                    <a:pt x="2225" y="10078"/>
                    <a:pt x="2225" y="10078"/>
                    <a:pt x="2225" y="10078"/>
                  </a:cubicBezTo>
                  <a:cubicBezTo>
                    <a:pt x="2225" y="10078"/>
                    <a:pt x="2325" y="10106"/>
                    <a:pt x="2448" y="10110"/>
                  </a:cubicBezTo>
                  <a:cubicBezTo>
                    <a:pt x="2454" y="10110"/>
                    <a:pt x="2460" y="10110"/>
                    <a:pt x="2466" y="10110"/>
                  </a:cubicBezTo>
                  <a:cubicBezTo>
                    <a:pt x="2582" y="10110"/>
                    <a:pt x="2686" y="10074"/>
                    <a:pt x="2686" y="10074"/>
                  </a:cubicBezTo>
                  <a:cubicBezTo>
                    <a:pt x="2700" y="10069"/>
                    <a:pt x="2700" y="10069"/>
                    <a:pt x="2700" y="10069"/>
                  </a:cubicBezTo>
                  <a:cubicBezTo>
                    <a:pt x="2688" y="10061"/>
                    <a:pt x="2688" y="10061"/>
                    <a:pt x="2688" y="10061"/>
                  </a:cubicBezTo>
                  <a:cubicBezTo>
                    <a:pt x="2688" y="10061"/>
                    <a:pt x="2616" y="10013"/>
                    <a:pt x="2613" y="10012"/>
                  </a:cubicBezTo>
                  <a:cubicBezTo>
                    <a:pt x="2613" y="10012"/>
                    <a:pt x="2613" y="10012"/>
                    <a:pt x="2610" y="10011"/>
                  </a:cubicBezTo>
                  <a:close/>
                  <a:moveTo>
                    <a:pt x="2643" y="10049"/>
                  </a:moveTo>
                  <a:cubicBezTo>
                    <a:pt x="2652" y="10055"/>
                    <a:pt x="2660" y="10060"/>
                    <a:pt x="2667" y="10065"/>
                  </a:cubicBezTo>
                  <a:cubicBezTo>
                    <a:pt x="2656" y="10068"/>
                    <a:pt x="2638" y="10073"/>
                    <a:pt x="2616" y="10078"/>
                  </a:cubicBezTo>
                  <a:cubicBezTo>
                    <a:pt x="2576" y="10087"/>
                    <a:pt x="2522" y="10096"/>
                    <a:pt x="2466" y="10096"/>
                  </a:cubicBezTo>
                  <a:cubicBezTo>
                    <a:pt x="2460" y="10096"/>
                    <a:pt x="2454" y="10096"/>
                    <a:pt x="2449" y="10095"/>
                  </a:cubicBezTo>
                  <a:cubicBezTo>
                    <a:pt x="2345" y="10092"/>
                    <a:pt x="2258" y="10071"/>
                    <a:pt x="2235" y="10065"/>
                  </a:cubicBezTo>
                  <a:cubicBezTo>
                    <a:pt x="2279" y="9536"/>
                    <a:pt x="2279" y="9536"/>
                    <a:pt x="2279" y="9536"/>
                  </a:cubicBezTo>
                  <a:cubicBezTo>
                    <a:pt x="2303" y="9541"/>
                    <a:pt x="2303" y="9541"/>
                    <a:pt x="2303" y="9541"/>
                  </a:cubicBezTo>
                  <a:cubicBezTo>
                    <a:pt x="2437" y="9949"/>
                    <a:pt x="2437" y="9949"/>
                    <a:pt x="2437" y="9949"/>
                  </a:cubicBezTo>
                  <a:cubicBezTo>
                    <a:pt x="2439" y="9951"/>
                    <a:pt x="2439" y="9951"/>
                    <a:pt x="2439" y="9951"/>
                  </a:cubicBezTo>
                  <a:cubicBezTo>
                    <a:pt x="2439" y="9951"/>
                    <a:pt x="2515" y="10016"/>
                    <a:pt x="2608" y="10026"/>
                  </a:cubicBezTo>
                  <a:cubicBezTo>
                    <a:pt x="2608" y="10026"/>
                    <a:pt x="2609" y="10027"/>
                    <a:pt x="2609" y="10027"/>
                  </a:cubicBezTo>
                  <a:cubicBezTo>
                    <a:pt x="2611" y="10028"/>
                    <a:pt x="2614" y="10030"/>
                    <a:pt x="2618" y="10032"/>
                  </a:cubicBezTo>
                  <a:cubicBezTo>
                    <a:pt x="2625" y="10037"/>
                    <a:pt x="2634" y="10043"/>
                    <a:pt x="2643" y="10049"/>
                  </a:cubicBezTo>
                  <a:close/>
                  <a:moveTo>
                    <a:pt x="2244" y="9345"/>
                  </a:moveTo>
                  <a:cubicBezTo>
                    <a:pt x="2271" y="9442"/>
                    <a:pt x="2271" y="9442"/>
                    <a:pt x="2271" y="9442"/>
                  </a:cubicBezTo>
                  <a:cubicBezTo>
                    <a:pt x="2352" y="9464"/>
                    <a:pt x="2352" y="9464"/>
                    <a:pt x="2352" y="9464"/>
                  </a:cubicBezTo>
                  <a:cubicBezTo>
                    <a:pt x="2365" y="9503"/>
                    <a:pt x="2476" y="9839"/>
                    <a:pt x="2476" y="9841"/>
                  </a:cubicBezTo>
                  <a:cubicBezTo>
                    <a:pt x="2477" y="9842"/>
                    <a:pt x="2477" y="9842"/>
                    <a:pt x="2477" y="9842"/>
                  </a:cubicBezTo>
                  <a:cubicBezTo>
                    <a:pt x="2477" y="9843"/>
                    <a:pt x="2477" y="9843"/>
                    <a:pt x="2477" y="9843"/>
                  </a:cubicBezTo>
                  <a:cubicBezTo>
                    <a:pt x="2518" y="9898"/>
                    <a:pt x="2628" y="9915"/>
                    <a:pt x="2628" y="9915"/>
                  </a:cubicBezTo>
                  <a:cubicBezTo>
                    <a:pt x="2641" y="9917"/>
                    <a:pt x="2641" y="9917"/>
                    <a:pt x="2641" y="9917"/>
                  </a:cubicBezTo>
                  <a:cubicBezTo>
                    <a:pt x="2401" y="9274"/>
                    <a:pt x="2401" y="9274"/>
                    <a:pt x="2401" y="9274"/>
                  </a:cubicBezTo>
                  <a:lnTo>
                    <a:pt x="2244" y="9345"/>
                  </a:lnTo>
                  <a:close/>
                  <a:moveTo>
                    <a:pt x="2573" y="9885"/>
                  </a:moveTo>
                  <a:cubicBezTo>
                    <a:pt x="2542" y="9875"/>
                    <a:pt x="2507" y="9858"/>
                    <a:pt x="2490" y="9835"/>
                  </a:cubicBezTo>
                  <a:cubicBezTo>
                    <a:pt x="2483" y="9814"/>
                    <a:pt x="2365" y="9456"/>
                    <a:pt x="2365" y="9455"/>
                  </a:cubicBezTo>
                  <a:cubicBezTo>
                    <a:pt x="2363" y="9451"/>
                    <a:pt x="2363" y="9451"/>
                    <a:pt x="2363" y="9451"/>
                  </a:cubicBezTo>
                  <a:cubicBezTo>
                    <a:pt x="2283" y="9430"/>
                    <a:pt x="2283" y="9430"/>
                    <a:pt x="2283" y="9430"/>
                  </a:cubicBezTo>
                  <a:cubicBezTo>
                    <a:pt x="2262" y="9353"/>
                    <a:pt x="2262" y="9353"/>
                    <a:pt x="2262" y="9353"/>
                  </a:cubicBezTo>
                  <a:cubicBezTo>
                    <a:pt x="2393" y="9294"/>
                    <a:pt x="2393" y="9294"/>
                    <a:pt x="2393" y="9294"/>
                  </a:cubicBezTo>
                  <a:cubicBezTo>
                    <a:pt x="2618" y="9898"/>
                    <a:pt x="2618" y="9898"/>
                    <a:pt x="2618" y="9898"/>
                  </a:cubicBezTo>
                  <a:cubicBezTo>
                    <a:pt x="2607" y="9896"/>
                    <a:pt x="2591" y="9892"/>
                    <a:pt x="2573" y="9885"/>
                  </a:cubicBezTo>
                  <a:close/>
                  <a:moveTo>
                    <a:pt x="2469" y="9217"/>
                  </a:moveTo>
                  <a:cubicBezTo>
                    <a:pt x="2800" y="10071"/>
                    <a:pt x="2800" y="10071"/>
                    <a:pt x="2800" y="10071"/>
                  </a:cubicBezTo>
                  <a:cubicBezTo>
                    <a:pt x="2942" y="10005"/>
                    <a:pt x="2942" y="10005"/>
                    <a:pt x="2942" y="10005"/>
                  </a:cubicBezTo>
                  <a:cubicBezTo>
                    <a:pt x="2897" y="9851"/>
                    <a:pt x="2897" y="9851"/>
                    <a:pt x="2897" y="9851"/>
                  </a:cubicBezTo>
                  <a:cubicBezTo>
                    <a:pt x="2838" y="9907"/>
                    <a:pt x="2838" y="9907"/>
                    <a:pt x="2838" y="9907"/>
                  </a:cubicBezTo>
                  <a:cubicBezTo>
                    <a:pt x="2642" y="9351"/>
                    <a:pt x="2642" y="9351"/>
                    <a:pt x="2642" y="9351"/>
                  </a:cubicBezTo>
                  <a:cubicBezTo>
                    <a:pt x="2645" y="9349"/>
                    <a:pt x="2645" y="9349"/>
                    <a:pt x="2645" y="9349"/>
                  </a:cubicBezTo>
                  <a:cubicBezTo>
                    <a:pt x="2932" y="9754"/>
                    <a:pt x="2932" y="9754"/>
                    <a:pt x="2932" y="9754"/>
                  </a:cubicBezTo>
                  <a:cubicBezTo>
                    <a:pt x="2874" y="9760"/>
                    <a:pt x="2874" y="9760"/>
                    <a:pt x="2874" y="9760"/>
                  </a:cubicBezTo>
                  <a:cubicBezTo>
                    <a:pt x="3023" y="9961"/>
                    <a:pt x="3023" y="9961"/>
                    <a:pt x="3023" y="9961"/>
                  </a:cubicBezTo>
                  <a:cubicBezTo>
                    <a:pt x="3158" y="9867"/>
                    <a:pt x="3158" y="9867"/>
                    <a:pt x="3158" y="9867"/>
                  </a:cubicBezTo>
                  <a:cubicBezTo>
                    <a:pt x="3164" y="9863"/>
                    <a:pt x="3164" y="9863"/>
                    <a:pt x="3164" y="9863"/>
                  </a:cubicBezTo>
                  <a:cubicBezTo>
                    <a:pt x="2641" y="9117"/>
                    <a:pt x="2641" y="9117"/>
                    <a:pt x="2641" y="9117"/>
                  </a:cubicBezTo>
                  <a:lnTo>
                    <a:pt x="2469" y="9217"/>
                  </a:lnTo>
                  <a:close/>
                  <a:moveTo>
                    <a:pt x="3026" y="9940"/>
                  </a:moveTo>
                  <a:cubicBezTo>
                    <a:pt x="2901" y="9772"/>
                    <a:pt x="2901" y="9772"/>
                    <a:pt x="2901" y="9772"/>
                  </a:cubicBezTo>
                  <a:cubicBezTo>
                    <a:pt x="2958" y="9767"/>
                    <a:pt x="2958" y="9767"/>
                    <a:pt x="2958" y="9767"/>
                  </a:cubicBezTo>
                  <a:cubicBezTo>
                    <a:pt x="2649" y="9328"/>
                    <a:pt x="2649" y="9328"/>
                    <a:pt x="2649" y="9328"/>
                  </a:cubicBezTo>
                  <a:cubicBezTo>
                    <a:pt x="2625" y="9345"/>
                    <a:pt x="2625" y="9345"/>
                    <a:pt x="2625" y="9345"/>
                  </a:cubicBezTo>
                  <a:cubicBezTo>
                    <a:pt x="2831" y="9934"/>
                    <a:pt x="2831" y="9934"/>
                    <a:pt x="2831" y="9934"/>
                  </a:cubicBezTo>
                  <a:cubicBezTo>
                    <a:pt x="2889" y="9878"/>
                    <a:pt x="2889" y="9878"/>
                    <a:pt x="2889" y="9878"/>
                  </a:cubicBezTo>
                  <a:cubicBezTo>
                    <a:pt x="2924" y="9997"/>
                    <a:pt x="2924" y="9997"/>
                    <a:pt x="2924" y="9997"/>
                  </a:cubicBezTo>
                  <a:cubicBezTo>
                    <a:pt x="2808" y="10051"/>
                    <a:pt x="2808" y="10051"/>
                    <a:pt x="2808" y="10051"/>
                  </a:cubicBezTo>
                  <a:cubicBezTo>
                    <a:pt x="2487" y="9224"/>
                    <a:pt x="2487" y="9224"/>
                    <a:pt x="2487" y="9224"/>
                  </a:cubicBezTo>
                  <a:cubicBezTo>
                    <a:pt x="2637" y="9137"/>
                    <a:pt x="2637" y="9137"/>
                    <a:pt x="2637" y="9137"/>
                  </a:cubicBezTo>
                  <a:cubicBezTo>
                    <a:pt x="3144" y="9859"/>
                    <a:pt x="3144" y="9859"/>
                    <a:pt x="3144" y="9859"/>
                  </a:cubicBezTo>
                  <a:lnTo>
                    <a:pt x="3026" y="9940"/>
                  </a:lnTo>
                  <a:close/>
                  <a:moveTo>
                    <a:pt x="2893" y="9010"/>
                  </a:moveTo>
                  <a:cubicBezTo>
                    <a:pt x="2736" y="9094"/>
                    <a:pt x="2736" y="9094"/>
                    <a:pt x="2736" y="9094"/>
                  </a:cubicBezTo>
                  <a:cubicBezTo>
                    <a:pt x="3213" y="9820"/>
                    <a:pt x="3213" y="9820"/>
                    <a:pt x="3213" y="9820"/>
                  </a:cubicBezTo>
                  <a:cubicBezTo>
                    <a:pt x="3256" y="9761"/>
                    <a:pt x="3256" y="9761"/>
                    <a:pt x="3256" y="9761"/>
                  </a:cubicBezTo>
                  <a:cubicBezTo>
                    <a:pt x="3071" y="9493"/>
                    <a:pt x="3071" y="9493"/>
                    <a:pt x="3071" y="9493"/>
                  </a:cubicBezTo>
                  <a:cubicBezTo>
                    <a:pt x="3101" y="9447"/>
                    <a:pt x="3101" y="9447"/>
                    <a:pt x="3101" y="9447"/>
                  </a:cubicBezTo>
                  <a:cubicBezTo>
                    <a:pt x="2988" y="9212"/>
                    <a:pt x="2988" y="9212"/>
                    <a:pt x="2988" y="9212"/>
                  </a:cubicBezTo>
                  <a:cubicBezTo>
                    <a:pt x="3046" y="9180"/>
                    <a:pt x="3046" y="9180"/>
                    <a:pt x="3046" y="9180"/>
                  </a:cubicBezTo>
                  <a:cubicBezTo>
                    <a:pt x="3056" y="9197"/>
                    <a:pt x="3084" y="9248"/>
                    <a:pt x="3112" y="9299"/>
                  </a:cubicBezTo>
                  <a:cubicBezTo>
                    <a:pt x="3145" y="9359"/>
                    <a:pt x="3179" y="9421"/>
                    <a:pt x="3184" y="9431"/>
                  </a:cubicBezTo>
                  <a:cubicBezTo>
                    <a:pt x="3181" y="9457"/>
                    <a:pt x="3157" y="9516"/>
                    <a:pt x="3157" y="9516"/>
                  </a:cubicBezTo>
                  <a:cubicBezTo>
                    <a:pt x="3155" y="9519"/>
                    <a:pt x="3155" y="9519"/>
                    <a:pt x="3155" y="9519"/>
                  </a:cubicBezTo>
                  <a:cubicBezTo>
                    <a:pt x="3157" y="9523"/>
                    <a:pt x="3157" y="9523"/>
                    <a:pt x="3157" y="9523"/>
                  </a:cubicBezTo>
                  <a:cubicBezTo>
                    <a:pt x="3157" y="9523"/>
                    <a:pt x="3183" y="9564"/>
                    <a:pt x="3210" y="9607"/>
                  </a:cubicBezTo>
                  <a:cubicBezTo>
                    <a:pt x="3238" y="9650"/>
                    <a:pt x="3265" y="9692"/>
                    <a:pt x="3273" y="9700"/>
                  </a:cubicBezTo>
                  <a:cubicBezTo>
                    <a:pt x="3274" y="9700"/>
                    <a:pt x="3273" y="9702"/>
                    <a:pt x="3278" y="9702"/>
                  </a:cubicBezTo>
                  <a:cubicBezTo>
                    <a:pt x="3281" y="9702"/>
                    <a:pt x="3284" y="9701"/>
                    <a:pt x="3285" y="9698"/>
                  </a:cubicBezTo>
                  <a:cubicBezTo>
                    <a:pt x="3317" y="9630"/>
                    <a:pt x="3344" y="9474"/>
                    <a:pt x="3344" y="9473"/>
                  </a:cubicBezTo>
                  <a:cubicBezTo>
                    <a:pt x="3345" y="9471"/>
                    <a:pt x="3345" y="9471"/>
                    <a:pt x="3345" y="9471"/>
                  </a:cubicBezTo>
                  <a:cubicBezTo>
                    <a:pt x="3092" y="8986"/>
                    <a:pt x="3092" y="8986"/>
                    <a:pt x="3092" y="8986"/>
                  </a:cubicBezTo>
                  <a:cubicBezTo>
                    <a:pt x="2924" y="9075"/>
                    <a:pt x="2924" y="9075"/>
                    <a:pt x="2924" y="9075"/>
                  </a:cubicBezTo>
                  <a:lnTo>
                    <a:pt x="2893" y="9010"/>
                  </a:lnTo>
                  <a:close/>
                  <a:moveTo>
                    <a:pt x="3329" y="9473"/>
                  </a:moveTo>
                  <a:cubicBezTo>
                    <a:pt x="3326" y="9492"/>
                    <a:pt x="3302" y="9617"/>
                    <a:pt x="3277" y="9681"/>
                  </a:cubicBezTo>
                  <a:cubicBezTo>
                    <a:pt x="3273" y="9676"/>
                    <a:pt x="3269" y="9670"/>
                    <a:pt x="3264" y="9663"/>
                  </a:cubicBezTo>
                  <a:cubicBezTo>
                    <a:pt x="3254" y="9647"/>
                    <a:pt x="3239" y="9625"/>
                    <a:pt x="3225" y="9603"/>
                  </a:cubicBezTo>
                  <a:cubicBezTo>
                    <a:pt x="3202" y="9566"/>
                    <a:pt x="3179" y="9529"/>
                    <a:pt x="3172" y="9518"/>
                  </a:cubicBezTo>
                  <a:cubicBezTo>
                    <a:pt x="3177" y="9504"/>
                    <a:pt x="3196" y="9456"/>
                    <a:pt x="3198" y="9430"/>
                  </a:cubicBezTo>
                  <a:cubicBezTo>
                    <a:pt x="3198" y="9430"/>
                    <a:pt x="3198" y="9430"/>
                    <a:pt x="3198" y="9430"/>
                  </a:cubicBezTo>
                  <a:cubicBezTo>
                    <a:pt x="3198" y="9430"/>
                    <a:pt x="3198" y="9430"/>
                    <a:pt x="3198" y="9430"/>
                  </a:cubicBezTo>
                  <a:cubicBezTo>
                    <a:pt x="3198" y="9425"/>
                    <a:pt x="3198" y="9427"/>
                    <a:pt x="3197" y="9426"/>
                  </a:cubicBezTo>
                  <a:cubicBezTo>
                    <a:pt x="3197" y="9425"/>
                    <a:pt x="3197" y="9424"/>
                    <a:pt x="3196" y="9423"/>
                  </a:cubicBezTo>
                  <a:cubicBezTo>
                    <a:pt x="3195" y="9421"/>
                    <a:pt x="3193" y="9418"/>
                    <a:pt x="3191" y="9414"/>
                  </a:cubicBezTo>
                  <a:cubicBezTo>
                    <a:pt x="3188" y="9407"/>
                    <a:pt x="3182" y="9397"/>
                    <a:pt x="3175" y="9384"/>
                  </a:cubicBezTo>
                  <a:cubicBezTo>
                    <a:pt x="3162" y="9360"/>
                    <a:pt x="3144" y="9328"/>
                    <a:pt x="3126" y="9295"/>
                  </a:cubicBezTo>
                  <a:cubicBezTo>
                    <a:pt x="3091" y="9231"/>
                    <a:pt x="3055" y="9167"/>
                    <a:pt x="3055" y="9167"/>
                  </a:cubicBezTo>
                  <a:cubicBezTo>
                    <a:pt x="3052" y="9160"/>
                    <a:pt x="3052" y="9160"/>
                    <a:pt x="3052" y="9160"/>
                  </a:cubicBezTo>
                  <a:cubicBezTo>
                    <a:pt x="2968" y="9205"/>
                    <a:pt x="2968" y="9205"/>
                    <a:pt x="2968" y="9205"/>
                  </a:cubicBezTo>
                  <a:cubicBezTo>
                    <a:pt x="3084" y="9446"/>
                    <a:pt x="3084" y="9446"/>
                    <a:pt x="3084" y="9446"/>
                  </a:cubicBezTo>
                  <a:cubicBezTo>
                    <a:pt x="3054" y="9493"/>
                    <a:pt x="3054" y="9493"/>
                    <a:pt x="3054" y="9493"/>
                  </a:cubicBezTo>
                  <a:cubicBezTo>
                    <a:pt x="3238" y="9760"/>
                    <a:pt x="3238" y="9760"/>
                    <a:pt x="3238" y="9760"/>
                  </a:cubicBezTo>
                  <a:cubicBezTo>
                    <a:pt x="3213" y="9794"/>
                    <a:pt x="3213" y="9794"/>
                    <a:pt x="3213" y="9794"/>
                  </a:cubicBezTo>
                  <a:cubicBezTo>
                    <a:pt x="2758" y="9100"/>
                    <a:pt x="2758" y="9100"/>
                    <a:pt x="2758" y="9100"/>
                  </a:cubicBezTo>
                  <a:cubicBezTo>
                    <a:pt x="2887" y="9030"/>
                    <a:pt x="2887" y="9030"/>
                    <a:pt x="2887" y="9030"/>
                  </a:cubicBezTo>
                  <a:cubicBezTo>
                    <a:pt x="2917" y="9095"/>
                    <a:pt x="2917" y="9095"/>
                    <a:pt x="2917" y="9095"/>
                  </a:cubicBezTo>
                  <a:cubicBezTo>
                    <a:pt x="3085" y="9006"/>
                    <a:pt x="3085" y="9006"/>
                    <a:pt x="3085" y="9006"/>
                  </a:cubicBezTo>
                  <a:lnTo>
                    <a:pt x="3329" y="9473"/>
                  </a:lnTo>
                  <a:close/>
                  <a:moveTo>
                    <a:pt x="3162" y="8876"/>
                  </a:moveTo>
                  <a:cubicBezTo>
                    <a:pt x="3356" y="9297"/>
                    <a:pt x="3356" y="9297"/>
                    <a:pt x="3356" y="9297"/>
                  </a:cubicBezTo>
                  <a:cubicBezTo>
                    <a:pt x="3370" y="9294"/>
                    <a:pt x="3370" y="9294"/>
                    <a:pt x="3370" y="9294"/>
                  </a:cubicBezTo>
                  <a:cubicBezTo>
                    <a:pt x="3370" y="9293"/>
                    <a:pt x="3370" y="9293"/>
                    <a:pt x="3370" y="9293"/>
                  </a:cubicBezTo>
                  <a:cubicBezTo>
                    <a:pt x="3369" y="9280"/>
                    <a:pt x="3373" y="9148"/>
                    <a:pt x="3436" y="9105"/>
                  </a:cubicBezTo>
                  <a:cubicBezTo>
                    <a:pt x="3484" y="9071"/>
                    <a:pt x="3507" y="9055"/>
                    <a:pt x="3516" y="9047"/>
                  </a:cubicBezTo>
                  <a:cubicBezTo>
                    <a:pt x="3546" y="9093"/>
                    <a:pt x="3546" y="9093"/>
                    <a:pt x="3546" y="9093"/>
                  </a:cubicBezTo>
                  <a:cubicBezTo>
                    <a:pt x="3552" y="9089"/>
                    <a:pt x="3552" y="9089"/>
                    <a:pt x="3552" y="9089"/>
                  </a:cubicBezTo>
                  <a:cubicBezTo>
                    <a:pt x="3552" y="9089"/>
                    <a:pt x="3617" y="9046"/>
                    <a:pt x="3675" y="9020"/>
                  </a:cubicBezTo>
                  <a:cubicBezTo>
                    <a:pt x="3732" y="8994"/>
                    <a:pt x="3816" y="8972"/>
                    <a:pt x="3816" y="8972"/>
                  </a:cubicBezTo>
                  <a:cubicBezTo>
                    <a:pt x="3825" y="8970"/>
                    <a:pt x="3825" y="8970"/>
                    <a:pt x="3825" y="8970"/>
                  </a:cubicBezTo>
                  <a:cubicBezTo>
                    <a:pt x="3803" y="8921"/>
                    <a:pt x="3803" y="8921"/>
                    <a:pt x="3803" y="8921"/>
                  </a:cubicBezTo>
                  <a:cubicBezTo>
                    <a:pt x="3918" y="8878"/>
                    <a:pt x="3918" y="8878"/>
                    <a:pt x="3918" y="8878"/>
                  </a:cubicBezTo>
                  <a:cubicBezTo>
                    <a:pt x="3799" y="8600"/>
                    <a:pt x="3799" y="8600"/>
                    <a:pt x="3799" y="8600"/>
                  </a:cubicBezTo>
                  <a:cubicBezTo>
                    <a:pt x="3796" y="8593"/>
                    <a:pt x="3796" y="8593"/>
                    <a:pt x="3796" y="8593"/>
                  </a:cubicBezTo>
                  <a:cubicBezTo>
                    <a:pt x="3548" y="8708"/>
                    <a:pt x="3548" y="8708"/>
                    <a:pt x="3548" y="8708"/>
                  </a:cubicBezTo>
                  <a:cubicBezTo>
                    <a:pt x="3524" y="8654"/>
                    <a:pt x="3524" y="8654"/>
                    <a:pt x="3524" y="8654"/>
                  </a:cubicBezTo>
                  <a:cubicBezTo>
                    <a:pt x="3244" y="8795"/>
                    <a:pt x="3244" y="8795"/>
                    <a:pt x="3244" y="8795"/>
                  </a:cubicBezTo>
                  <a:cubicBezTo>
                    <a:pt x="3259" y="8827"/>
                    <a:pt x="3259" y="8827"/>
                    <a:pt x="3259" y="8827"/>
                  </a:cubicBezTo>
                  <a:lnTo>
                    <a:pt x="3162" y="8876"/>
                  </a:lnTo>
                  <a:close/>
                  <a:moveTo>
                    <a:pt x="3517" y="8674"/>
                  </a:moveTo>
                  <a:cubicBezTo>
                    <a:pt x="3540" y="8728"/>
                    <a:pt x="3540" y="8728"/>
                    <a:pt x="3540" y="8728"/>
                  </a:cubicBezTo>
                  <a:cubicBezTo>
                    <a:pt x="3788" y="8613"/>
                    <a:pt x="3788" y="8613"/>
                    <a:pt x="3788" y="8613"/>
                  </a:cubicBezTo>
                  <a:cubicBezTo>
                    <a:pt x="3898" y="8869"/>
                    <a:pt x="3898" y="8869"/>
                    <a:pt x="3898" y="8869"/>
                  </a:cubicBezTo>
                  <a:cubicBezTo>
                    <a:pt x="3783" y="8913"/>
                    <a:pt x="3783" y="8913"/>
                    <a:pt x="3783" y="8913"/>
                  </a:cubicBezTo>
                  <a:cubicBezTo>
                    <a:pt x="3804" y="8960"/>
                    <a:pt x="3804" y="8960"/>
                    <a:pt x="3804" y="8960"/>
                  </a:cubicBezTo>
                  <a:cubicBezTo>
                    <a:pt x="3781" y="8966"/>
                    <a:pt x="3716" y="8984"/>
                    <a:pt x="3668" y="9006"/>
                  </a:cubicBezTo>
                  <a:cubicBezTo>
                    <a:pt x="3620" y="9028"/>
                    <a:pt x="3568" y="9061"/>
                    <a:pt x="3550" y="9072"/>
                  </a:cubicBezTo>
                  <a:cubicBezTo>
                    <a:pt x="3520" y="9026"/>
                    <a:pt x="3520" y="9026"/>
                    <a:pt x="3520" y="9026"/>
                  </a:cubicBezTo>
                  <a:cubicBezTo>
                    <a:pt x="3514" y="9031"/>
                    <a:pt x="3514" y="9031"/>
                    <a:pt x="3514" y="9031"/>
                  </a:cubicBezTo>
                  <a:cubicBezTo>
                    <a:pt x="3513" y="9031"/>
                    <a:pt x="3498" y="9043"/>
                    <a:pt x="3427" y="9093"/>
                  </a:cubicBezTo>
                  <a:cubicBezTo>
                    <a:pt x="3373" y="9132"/>
                    <a:pt x="3360" y="9217"/>
                    <a:pt x="3356" y="9264"/>
                  </a:cubicBezTo>
                  <a:cubicBezTo>
                    <a:pt x="3181" y="8883"/>
                    <a:pt x="3181" y="8883"/>
                    <a:pt x="3181" y="8883"/>
                  </a:cubicBezTo>
                  <a:cubicBezTo>
                    <a:pt x="3278" y="8834"/>
                    <a:pt x="3278" y="8834"/>
                    <a:pt x="3278" y="8834"/>
                  </a:cubicBezTo>
                  <a:cubicBezTo>
                    <a:pt x="3263" y="8802"/>
                    <a:pt x="3263" y="8802"/>
                    <a:pt x="3263" y="8802"/>
                  </a:cubicBezTo>
                  <a:lnTo>
                    <a:pt x="3517" y="8674"/>
                  </a:lnTo>
                  <a:close/>
                  <a:moveTo>
                    <a:pt x="3352" y="9001"/>
                  </a:moveTo>
                  <a:cubicBezTo>
                    <a:pt x="3352" y="9001"/>
                    <a:pt x="3382" y="8978"/>
                    <a:pt x="3435" y="8946"/>
                  </a:cubicBezTo>
                  <a:cubicBezTo>
                    <a:pt x="3437" y="8944"/>
                    <a:pt x="3440" y="8944"/>
                    <a:pt x="3443" y="8944"/>
                  </a:cubicBezTo>
                  <a:cubicBezTo>
                    <a:pt x="3454" y="8944"/>
                    <a:pt x="3471" y="8953"/>
                    <a:pt x="3485" y="8964"/>
                  </a:cubicBezTo>
                  <a:cubicBezTo>
                    <a:pt x="3498" y="8974"/>
                    <a:pt x="3508" y="8984"/>
                    <a:pt x="3508" y="8984"/>
                  </a:cubicBezTo>
                  <a:cubicBezTo>
                    <a:pt x="3511" y="8988"/>
                    <a:pt x="3511" y="8988"/>
                    <a:pt x="3511" y="8988"/>
                  </a:cubicBezTo>
                  <a:cubicBezTo>
                    <a:pt x="3637" y="8931"/>
                    <a:pt x="3637" y="8931"/>
                    <a:pt x="3637" y="8931"/>
                  </a:cubicBezTo>
                  <a:cubicBezTo>
                    <a:pt x="3632" y="8924"/>
                    <a:pt x="3632" y="8924"/>
                    <a:pt x="3632" y="8924"/>
                  </a:cubicBezTo>
                  <a:cubicBezTo>
                    <a:pt x="3632" y="8924"/>
                    <a:pt x="3624" y="8911"/>
                    <a:pt x="3616" y="8896"/>
                  </a:cubicBezTo>
                  <a:cubicBezTo>
                    <a:pt x="3608" y="8881"/>
                    <a:pt x="3600" y="8861"/>
                    <a:pt x="3600" y="8851"/>
                  </a:cubicBezTo>
                  <a:cubicBezTo>
                    <a:pt x="3600" y="8845"/>
                    <a:pt x="3601" y="8844"/>
                    <a:pt x="3603" y="8843"/>
                  </a:cubicBezTo>
                  <a:cubicBezTo>
                    <a:pt x="3658" y="8809"/>
                    <a:pt x="3699" y="8784"/>
                    <a:pt x="3699" y="8784"/>
                  </a:cubicBezTo>
                  <a:cubicBezTo>
                    <a:pt x="3704" y="8780"/>
                    <a:pt x="3704" y="8780"/>
                    <a:pt x="3704" y="8780"/>
                  </a:cubicBezTo>
                  <a:cubicBezTo>
                    <a:pt x="3684" y="8738"/>
                    <a:pt x="3684" y="8738"/>
                    <a:pt x="3684" y="8738"/>
                  </a:cubicBezTo>
                  <a:cubicBezTo>
                    <a:pt x="3302" y="8924"/>
                    <a:pt x="3302" y="8924"/>
                    <a:pt x="3302" y="8924"/>
                  </a:cubicBezTo>
                  <a:cubicBezTo>
                    <a:pt x="3345" y="9006"/>
                    <a:pt x="3345" y="9006"/>
                    <a:pt x="3345" y="9006"/>
                  </a:cubicBezTo>
                  <a:lnTo>
                    <a:pt x="3352" y="9001"/>
                  </a:lnTo>
                  <a:close/>
                  <a:moveTo>
                    <a:pt x="3677" y="8758"/>
                  </a:moveTo>
                  <a:cubicBezTo>
                    <a:pt x="3685" y="8775"/>
                    <a:pt x="3685" y="8775"/>
                    <a:pt x="3685" y="8775"/>
                  </a:cubicBezTo>
                  <a:cubicBezTo>
                    <a:pt x="3672" y="8783"/>
                    <a:pt x="3638" y="8804"/>
                    <a:pt x="3595" y="8830"/>
                  </a:cubicBezTo>
                  <a:cubicBezTo>
                    <a:pt x="3588" y="8835"/>
                    <a:pt x="3585" y="8843"/>
                    <a:pt x="3585" y="8851"/>
                  </a:cubicBezTo>
                  <a:cubicBezTo>
                    <a:pt x="3586" y="8875"/>
                    <a:pt x="3606" y="8910"/>
                    <a:pt x="3615" y="8925"/>
                  </a:cubicBezTo>
                  <a:cubicBezTo>
                    <a:pt x="3515" y="8970"/>
                    <a:pt x="3515" y="8970"/>
                    <a:pt x="3515" y="8970"/>
                  </a:cubicBezTo>
                  <a:cubicBezTo>
                    <a:pt x="3504" y="8960"/>
                    <a:pt x="3472" y="8930"/>
                    <a:pt x="3443" y="8929"/>
                  </a:cubicBezTo>
                  <a:cubicBezTo>
                    <a:pt x="3438" y="8929"/>
                    <a:pt x="3432" y="8930"/>
                    <a:pt x="3427" y="8933"/>
                  </a:cubicBezTo>
                  <a:cubicBezTo>
                    <a:pt x="3389" y="8957"/>
                    <a:pt x="3362" y="8976"/>
                    <a:pt x="3350" y="8984"/>
                  </a:cubicBezTo>
                  <a:cubicBezTo>
                    <a:pt x="3322" y="8931"/>
                    <a:pt x="3322" y="8931"/>
                    <a:pt x="3322" y="8931"/>
                  </a:cubicBezTo>
                  <a:lnTo>
                    <a:pt x="3677" y="8758"/>
                  </a:lnTo>
                  <a:close/>
                  <a:moveTo>
                    <a:pt x="3999" y="9637"/>
                  </a:moveTo>
                  <a:cubicBezTo>
                    <a:pt x="4161" y="9519"/>
                    <a:pt x="4161" y="9519"/>
                    <a:pt x="4161" y="9519"/>
                  </a:cubicBezTo>
                  <a:cubicBezTo>
                    <a:pt x="4139" y="9489"/>
                    <a:pt x="4139" y="9489"/>
                    <a:pt x="4139" y="9489"/>
                  </a:cubicBezTo>
                  <a:cubicBezTo>
                    <a:pt x="4153" y="9471"/>
                    <a:pt x="4153" y="9471"/>
                    <a:pt x="4153" y="9471"/>
                  </a:cubicBezTo>
                  <a:cubicBezTo>
                    <a:pt x="4156" y="9468"/>
                    <a:pt x="4156" y="9468"/>
                    <a:pt x="4156" y="9468"/>
                  </a:cubicBezTo>
                  <a:cubicBezTo>
                    <a:pt x="4070" y="9284"/>
                    <a:pt x="4070" y="9284"/>
                    <a:pt x="4070" y="9284"/>
                  </a:cubicBezTo>
                  <a:cubicBezTo>
                    <a:pt x="4109" y="9266"/>
                    <a:pt x="4109" y="9266"/>
                    <a:pt x="4109" y="9266"/>
                  </a:cubicBezTo>
                  <a:cubicBezTo>
                    <a:pt x="4012" y="9046"/>
                    <a:pt x="4012" y="9046"/>
                    <a:pt x="4012" y="9046"/>
                  </a:cubicBezTo>
                  <a:cubicBezTo>
                    <a:pt x="3736" y="9122"/>
                    <a:pt x="3736" y="9122"/>
                    <a:pt x="3736" y="9122"/>
                  </a:cubicBezTo>
                  <a:cubicBezTo>
                    <a:pt x="3758" y="9175"/>
                    <a:pt x="3758" y="9175"/>
                    <a:pt x="3758" y="9175"/>
                  </a:cubicBezTo>
                  <a:cubicBezTo>
                    <a:pt x="3620" y="9229"/>
                    <a:pt x="3620" y="9229"/>
                    <a:pt x="3620" y="9229"/>
                  </a:cubicBezTo>
                  <a:cubicBezTo>
                    <a:pt x="3686" y="9324"/>
                    <a:pt x="3686" y="9324"/>
                    <a:pt x="3686" y="9324"/>
                  </a:cubicBezTo>
                  <a:cubicBezTo>
                    <a:pt x="3732" y="9294"/>
                    <a:pt x="3732" y="9294"/>
                    <a:pt x="3732" y="9294"/>
                  </a:cubicBezTo>
                  <a:cubicBezTo>
                    <a:pt x="3767" y="9343"/>
                    <a:pt x="3767" y="9343"/>
                    <a:pt x="3767" y="9343"/>
                  </a:cubicBezTo>
                  <a:cubicBezTo>
                    <a:pt x="3723" y="9372"/>
                    <a:pt x="3723" y="9372"/>
                    <a:pt x="3723" y="9372"/>
                  </a:cubicBezTo>
                  <a:cubicBezTo>
                    <a:pt x="3813" y="9490"/>
                    <a:pt x="3813" y="9490"/>
                    <a:pt x="3813" y="9490"/>
                  </a:cubicBezTo>
                  <a:cubicBezTo>
                    <a:pt x="3860" y="9453"/>
                    <a:pt x="3860" y="9453"/>
                    <a:pt x="3860" y="9453"/>
                  </a:cubicBezTo>
                  <a:cubicBezTo>
                    <a:pt x="3896" y="9501"/>
                    <a:pt x="3896" y="9501"/>
                    <a:pt x="3896" y="9501"/>
                  </a:cubicBezTo>
                  <a:cubicBezTo>
                    <a:pt x="3849" y="9537"/>
                    <a:pt x="3849" y="9537"/>
                    <a:pt x="3849" y="9537"/>
                  </a:cubicBezTo>
                  <a:cubicBezTo>
                    <a:pt x="3936" y="9651"/>
                    <a:pt x="3936" y="9651"/>
                    <a:pt x="3936" y="9651"/>
                  </a:cubicBezTo>
                  <a:cubicBezTo>
                    <a:pt x="3979" y="9612"/>
                    <a:pt x="3979" y="9612"/>
                    <a:pt x="3979" y="9612"/>
                  </a:cubicBezTo>
                  <a:lnTo>
                    <a:pt x="3999" y="9637"/>
                  </a:lnTo>
                  <a:close/>
                  <a:moveTo>
                    <a:pt x="3870" y="9540"/>
                  </a:moveTo>
                  <a:cubicBezTo>
                    <a:pt x="3916" y="9503"/>
                    <a:pt x="3916" y="9503"/>
                    <a:pt x="3916" y="9503"/>
                  </a:cubicBezTo>
                  <a:cubicBezTo>
                    <a:pt x="3863" y="9432"/>
                    <a:pt x="3863" y="9432"/>
                    <a:pt x="3863" y="9432"/>
                  </a:cubicBezTo>
                  <a:cubicBezTo>
                    <a:pt x="3816" y="9470"/>
                    <a:pt x="3816" y="9470"/>
                    <a:pt x="3816" y="9470"/>
                  </a:cubicBezTo>
                  <a:cubicBezTo>
                    <a:pt x="3745" y="9375"/>
                    <a:pt x="3745" y="9375"/>
                    <a:pt x="3745" y="9375"/>
                  </a:cubicBezTo>
                  <a:cubicBezTo>
                    <a:pt x="3787" y="9347"/>
                    <a:pt x="3787" y="9347"/>
                    <a:pt x="3787" y="9347"/>
                  </a:cubicBezTo>
                  <a:cubicBezTo>
                    <a:pt x="3736" y="9274"/>
                    <a:pt x="3736" y="9274"/>
                    <a:pt x="3736" y="9274"/>
                  </a:cubicBezTo>
                  <a:cubicBezTo>
                    <a:pt x="3690" y="9304"/>
                    <a:pt x="3690" y="9304"/>
                    <a:pt x="3690" y="9304"/>
                  </a:cubicBezTo>
                  <a:cubicBezTo>
                    <a:pt x="3643" y="9236"/>
                    <a:pt x="3643" y="9236"/>
                    <a:pt x="3643" y="9236"/>
                  </a:cubicBezTo>
                  <a:cubicBezTo>
                    <a:pt x="3778" y="9183"/>
                    <a:pt x="3778" y="9183"/>
                    <a:pt x="3778" y="9183"/>
                  </a:cubicBezTo>
                  <a:cubicBezTo>
                    <a:pt x="3756" y="9131"/>
                    <a:pt x="3756" y="9131"/>
                    <a:pt x="3756" y="9131"/>
                  </a:cubicBezTo>
                  <a:cubicBezTo>
                    <a:pt x="4004" y="9064"/>
                    <a:pt x="4004" y="9064"/>
                    <a:pt x="4004" y="9064"/>
                  </a:cubicBezTo>
                  <a:cubicBezTo>
                    <a:pt x="4090" y="9258"/>
                    <a:pt x="4090" y="9258"/>
                    <a:pt x="4090" y="9258"/>
                  </a:cubicBezTo>
                  <a:cubicBezTo>
                    <a:pt x="4050" y="9276"/>
                    <a:pt x="4050" y="9276"/>
                    <a:pt x="4050" y="9276"/>
                  </a:cubicBezTo>
                  <a:cubicBezTo>
                    <a:pt x="4138" y="9466"/>
                    <a:pt x="4138" y="9466"/>
                    <a:pt x="4138" y="9466"/>
                  </a:cubicBezTo>
                  <a:cubicBezTo>
                    <a:pt x="4120" y="9489"/>
                    <a:pt x="4120" y="9489"/>
                    <a:pt x="4120" y="9489"/>
                  </a:cubicBezTo>
                  <a:cubicBezTo>
                    <a:pt x="4140" y="9516"/>
                    <a:pt x="4140" y="9516"/>
                    <a:pt x="4140" y="9516"/>
                  </a:cubicBezTo>
                  <a:cubicBezTo>
                    <a:pt x="4002" y="9617"/>
                    <a:pt x="4002" y="9617"/>
                    <a:pt x="4002" y="9617"/>
                  </a:cubicBezTo>
                  <a:cubicBezTo>
                    <a:pt x="3981" y="9590"/>
                    <a:pt x="3981" y="9590"/>
                    <a:pt x="3981" y="9590"/>
                  </a:cubicBezTo>
                  <a:cubicBezTo>
                    <a:pt x="3938" y="9629"/>
                    <a:pt x="3938" y="9629"/>
                    <a:pt x="3938" y="9629"/>
                  </a:cubicBezTo>
                  <a:lnTo>
                    <a:pt x="3870" y="9540"/>
                  </a:lnTo>
                  <a:close/>
                  <a:moveTo>
                    <a:pt x="4093" y="8911"/>
                  </a:moveTo>
                  <a:cubicBezTo>
                    <a:pt x="4417" y="8707"/>
                    <a:pt x="4417" y="8707"/>
                    <a:pt x="4417" y="8707"/>
                  </a:cubicBezTo>
                  <a:cubicBezTo>
                    <a:pt x="4400" y="8647"/>
                    <a:pt x="4400" y="8647"/>
                    <a:pt x="4400" y="8647"/>
                  </a:cubicBezTo>
                  <a:cubicBezTo>
                    <a:pt x="4357" y="8648"/>
                    <a:pt x="4357" y="8648"/>
                    <a:pt x="4357" y="8648"/>
                  </a:cubicBezTo>
                  <a:cubicBezTo>
                    <a:pt x="4336" y="8450"/>
                    <a:pt x="4336" y="8450"/>
                    <a:pt x="4336" y="8450"/>
                  </a:cubicBezTo>
                  <a:cubicBezTo>
                    <a:pt x="4314" y="8338"/>
                    <a:pt x="4314" y="8338"/>
                    <a:pt x="4314" y="8338"/>
                  </a:cubicBezTo>
                  <a:cubicBezTo>
                    <a:pt x="4313" y="8330"/>
                    <a:pt x="4313" y="8330"/>
                    <a:pt x="4313" y="8330"/>
                  </a:cubicBezTo>
                  <a:cubicBezTo>
                    <a:pt x="4137" y="8369"/>
                    <a:pt x="4137" y="8369"/>
                    <a:pt x="4137" y="8369"/>
                  </a:cubicBezTo>
                  <a:cubicBezTo>
                    <a:pt x="4154" y="8423"/>
                    <a:pt x="4154" y="8423"/>
                    <a:pt x="4154" y="8423"/>
                  </a:cubicBezTo>
                  <a:cubicBezTo>
                    <a:pt x="4123" y="8431"/>
                    <a:pt x="4123" y="8431"/>
                    <a:pt x="4123" y="8431"/>
                  </a:cubicBezTo>
                  <a:cubicBezTo>
                    <a:pt x="4018" y="8403"/>
                    <a:pt x="4018" y="8403"/>
                    <a:pt x="4018" y="8403"/>
                  </a:cubicBezTo>
                  <a:cubicBezTo>
                    <a:pt x="3889" y="8453"/>
                    <a:pt x="3889" y="8453"/>
                    <a:pt x="3889" y="8453"/>
                  </a:cubicBezTo>
                  <a:cubicBezTo>
                    <a:pt x="3981" y="8676"/>
                    <a:pt x="3981" y="8676"/>
                    <a:pt x="3981" y="8676"/>
                  </a:cubicBezTo>
                  <a:cubicBezTo>
                    <a:pt x="4063" y="8696"/>
                    <a:pt x="4063" y="8696"/>
                    <a:pt x="4063" y="8696"/>
                  </a:cubicBezTo>
                  <a:cubicBezTo>
                    <a:pt x="4072" y="8716"/>
                    <a:pt x="4072" y="8716"/>
                    <a:pt x="4072" y="8716"/>
                  </a:cubicBezTo>
                  <a:cubicBezTo>
                    <a:pt x="4015" y="8749"/>
                    <a:pt x="4015" y="8749"/>
                    <a:pt x="4015" y="8749"/>
                  </a:cubicBezTo>
                  <a:lnTo>
                    <a:pt x="4093" y="8911"/>
                  </a:lnTo>
                  <a:close/>
                  <a:moveTo>
                    <a:pt x="4074" y="8683"/>
                  </a:moveTo>
                  <a:cubicBezTo>
                    <a:pt x="3991" y="8664"/>
                    <a:pt x="3991" y="8664"/>
                    <a:pt x="3991" y="8664"/>
                  </a:cubicBezTo>
                  <a:cubicBezTo>
                    <a:pt x="3908" y="8461"/>
                    <a:pt x="3908" y="8461"/>
                    <a:pt x="3908" y="8461"/>
                  </a:cubicBezTo>
                  <a:cubicBezTo>
                    <a:pt x="4018" y="8419"/>
                    <a:pt x="4018" y="8419"/>
                    <a:pt x="4018" y="8419"/>
                  </a:cubicBezTo>
                  <a:cubicBezTo>
                    <a:pt x="4123" y="8447"/>
                    <a:pt x="4123" y="8447"/>
                    <a:pt x="4123" y="8447"/>
                  </a:cubicBezTo>
                  <a:cubicBezTo>
                    <a:pt x="4172" y="8434"/>
                    <a:pt x="4172" y="8434"/>
                    <a:pt x="4172" y="8434"/>
                  </a:cubicBezTo>
                  <a:cubicBezTo>
                    <a:pt x="4156" y="8380"/>
                    <a:pt x="4156" y="8380"/>
                    <a:pt x="4156" y="8380"/>
                  </a:cubicBezTo>
                  <a:cubicBezTo>
                    <a:pt x="4301" y="8348"/>
                    <a:pt x="4301" y="8348"/>
                    <a:pt x="4301" y="8348"/>
                  </a:cubicBezTo>
                  <a:cubicBezTo>
                    <a:pt x="4321" y="8452"/>
                    <a:pt x="4321" y="8452"/>
                    <a:pt x="4321" y="8452"/>
                  </a:cubicBezTo>
                  <a:cubicBezTo>
                    <a:pt x="4344" y="8663"/>
                    <a:pt x="4344" y="8663"/>
                    <a:pt x="4344" y="8663"/>
                  </a:cubicBezTo>
                  <a:cubicBezTo>
                    <a:pt x="4389" y="8662"/>
                    <a:pt x="4389" y="8662"/>
                    <a:pt x="4389" y="8662"/>
                  </a:cubicBezTo>
                  <a:cubicBezTo>
                    <a:pt x="4400" y="8700"/>
                    <a:pt x="4400" y="8700"/>
                    <a:pt x="4400" y="8700"/>
                  </a:cubicBezTo>
                  <a:cubicBezTo>
                    <a:pt x="4099" y="8890"/>
                    <a:pt x="4099" y="8890"/>
                    <a:pt x="4099" y="8890"/>
                  </a:cubicBezTo>
                  <a:cubicBezTo>
                    <a:pt x="4035" y="8755"/>
                    <a:pt x="4035" y="8755"/>
                    <a:pt x="4035" y="8755"/>
                  </a:cubicBezTo>
                  <a:cubicBezTo>
                    <a:pt x="4091" y="8723"/>
                    <a:pt x="4091" y="8723"/>
                    <a:pt x="4091" y="8723"/>
                  </a:cubicBezTo>
                  <a:lnTo>
                    <a:pt x="4074" y="8683"/>
                  </a:lnTo>
                  <a:close/>
                  <a:moveTo>
                    <a:pt x="4222" y="8689"/>
                  </a:moveTo>
                  <a:cubicBezTo>
                    <a:pt x="4181" y="8475"/>
                    <a:pt x="4181" y="8475"/>
                    <a:pt x="4181" y="8475"/>
                  </a:cubicBezTo>
                  <a:cubicBezTo>
                    <a:pt x="4179" y="8466"/>
                    <a:pt x="4179" y="8466"/>
                    <a:pt x="4179" y="8466"/>
                  </a:cubicBezTo>
                  <a:cubicBezTo>
                    <a:pt x="4107" y="8500"/>
                    <a:pt x="4107" y="8500"/>
                    <a:pt x="4107" y="8500"/>
                  </a:cubicBezTo>
                  <a:cubicBezTo>
                    <a:pt x="4190" y="8703"/>
                    <a:pt x="4190" y="8703"/>
                    <a:pt x="4190" y="8703"/>
                  </a:cubicBezTo>
                  <a:lnTo>
                    <a:pt x="4222" y="8689"/>
                  </a:lnTo>
                  <a:close/>
                  <a:moveTo>
                    <a:pt x="4168" y="8487"/>
                  </a:moveTo>
                  <a:cubicBezTo>
                    <a:pt x="4205" y="8681"/>
                    <a:pt x="4205" y="8681"/>
                    <a:pt x="4205" y="8681"/>
                  </a:cubicBezTo>
                  <a:cubicBezTo>
                    <a:pt x="4198" y="8684"/>
                    <a:pt x="4198" y="8684"/>
                    <a:pt x="4198" y="8684"/>
                  </a:cubicBezTo>
                  <a:cubicBezTo>
                    <a:pt x="4126" y="8507"/>
                    <a:pt x="4126" y="8507"/>
                    <a:pt x="4126" y="8507"/>
                  </a:cubicBezTo>
                  <a:lnTo>
                    <a:pt x="4168" y="8487"/>
                  </a:lnTo>
                  <a:close/>
                  <a:moveTo>
                    <a:pt x="3573" y="10791"/>
                  </a:moveTo>
                  <a:cubicBezTo>
                    <a:pt x="3719" y="10675"/>
                    <a:pt x="3719" y="10675"/>
                    <a:pt x="3719" y="10675"/>
                  </a:cubicBezTo>
                  <a:cubicBezTo>
                    <a:pt x="3772" y="10727"/>
                    <a:pt x="3772" y="10727"/>
                    <a:pt x="3772" y="10727"/>
                  </a:cubicBezTo>
                  <a:cubicBezTo>
                    <a:pt x="3986" y="10680"/>
                    <a:pt x="3986" y="10680"/>
                    <a:pt x="3986" y="10680"/>
                  </a:cubicBezTo>
                  <a:cubicBezTo>
                    <a:pt x="3967" y="10584"/>
                    <a:pt x="3967" y="10584"/>
                    <a:pt x="3967" y="10584"/>
                  </a:cubicBezTo>
                  <a:cubicBezTo>
                    <a:pt x="4097" y="10546"/>
                    <a:pt x="4097" y="10546"/>
                    <a:pt x="4097" y="10546"/>
                  </a:cubicBezTo>
                  <a:cubicBezTo>
                    <a:pt x="4098" y="10451"/>
                    <a:pt x="4098" y="10451"/>
                    <a:pt x="4098" y="10451"/>
                  </a:cubicBezTo>
                  <a:cubicBezTo>
                    <a:pt x="4098" y="10441"/>
                    <a:pt x="4098" y="10441"/>
                    <a:pt x="4098" y="10441"/>
                  </a:cubicBezTo>
                  <a:cubicBezTo>
                    <a:pt x="3302" y="10681"/>
                    <a:pt x="3302" y="10681"/>
                    <a:pt x="3302" y="10681"/>
                  </a:cubicBezTo>
                  <a:cubicBezTo>
                    <a:pt x="3455" y="10888"/>
                    <a:pt x="3455" y="10888"/>
                    <a:pt x="3455" y="10888"/>
                  </a:cubicBezTo>
                  <a:cubicBezTo>
                    <a:pt x="3596" y="10837"/>
                    <a:pt x="3596" y="10837"/>
                    <a:pt x="3596" y="10837"/>
                  </a:cubicBezTo>
                  <a:lnTo>
                    <a:pt x="3573" y="10791"/>
                  </a:lnTo>
                  <a:close/>
                  <a:moveTo>
                    <a:pt x="3327" y="10689"/>
                  </a:moveTo>
                  <a:cubicBezTo>
                    <a:pt x="4083" y="10461"/>
                    <a:pt x="4083" y="10461"/>
                    <a:pt x="4083" y="10461"/>
                  </a:cubicBezTo>
                  <a:cubicBezTo>
                    <a:pt x="4082" y="10535"/>
                    <a:pt x="4082" y="10535"/>
                    <a:pt x="4082" y="10535"/>
                  </a:cubicBezTo>
                  <a:cubicBezTo>
                    <a:pt x="3950" y="10573"/>
                    <a:pt x="3950" y="10573"/>
                    <a:pt x="3950" y="10573"/>
                  </a:cubicBezTo>
                  <a:cubicBezTo>
                    <a:pt x="3969" y="10669"/>
                    <a:pt x="3969" y="10669"/>
                    <a:pt x="3969" y="10669"/>
                  </a:cubicBezTo>
                  <a:cubicBezTo>
                    <a:pt x="3777" y="10711"/>
                    <a:pt x="3777" y="10711"/>
                    <a:pt x="3777" y="10711"/>
                  </a:cubicBezTo>
                  <a:cubicBezTo>
                    <a:pt x="3720" y="10655"/>
                    <a:pt x="3720" y="10655"/>
                    <a:pt x="3720" y="10655"/>
                  </a:cubicBezTo>
                  <a:cubicBezTo>
                    <a:pt x="3555" y="10787"/>
                    <a:pt x="3555" y="10787"/>
                    <a:pt x="3555" y="10787"/>
                  </a:cubicBezTo>
                  <a:cubicBezTo>
                    <a:pt x="3576" y="10829"/>
                    <a:pt x="3576" y="10829"/>
                    <a:pt x="3576" y="10829"/>
                  </a:cubicBezTo>
                  <a:cubicBezTo>
                    <a:pt x="3460" y="10871"/>
                    <a:pt x="3460" y="10871"/>
                    <a:pt x="3460" y="10871"/>
                  </a:cubicBezTo>
                  <a:lnTo>
                    <a:pt x="3327" y="10689"/>
                  </a:lnTo>
                  <a:close/>
                  <a:moveTo>
                    <a:pt x="4018" y="10705"/>
                  </a:moveTo>
                  <a:cubicBezTo>
                    <a:pt x="4026" y="10762"/>
                    <a:pt x="4026" y="10762"/>
                    <a:pt x="4026" y="10762"/>
                  </a:cubicBezTo>
                  <a:cubicBezTo>
                    <a:pt x="3802" y="10810"/>
                    <a:pt x="3802" y="10810"/>
                    <a:pt x="3802" y="10810"/>
                  </a:cubicBezTo>
                  <a:cubicBezTo>
                    <a:pt x="3742" y="10773"/>
                    <a:pt x="3742" y="10773"/>
                    <a:pt x="3742" y="10773"/>
                  </a:cubicBezTo>
                  <a:cubicBezTo>
                    <a:pt x="3647" y="10820"/>
                    <a:pt x="3647" y="10820"/>
                    <a:pt x="3647" y="10820"/>
                  </a:cubicBezTo>
                  <a:cubicBezTo>
                    <a:pt x="3676" y="10858"/>
                    <a:pt x="3676" y="10858"/>
                    <a:pt x="3676" y="10858"/>
                  </a:cubicBezTo>
                  <a:cubicBezTo>
                    <a:pt x="3513" y="10935"/>
                    <a:pt x="3513" y="10935"/>
                    <a:pt x="3513" y="10935"/>
                  </a:cubicBezTo>
                  <a:cubicBezTo>
                    <a:pt x="3646" y="11096"/>
                    <a:pt x="3646" y="11096"/>
                    <a:pt x="3646" y="11096"/>
                  </a:cubicBezTo>
                  <a:cubicBezTo>
                    <a:pt x="3821" y="11045"/>
                    <a:pt x="3821" y="11045"/>
                    <a:pt x="3821" y="11045"/>
                  </a:cubicBezTo>
                  <a:cubicBezTo>
                    <a:pt x="3814" y="10968"/>
                    <a:pt x="3814" y="10968"/>
                    <a:pt x="3814" y="10968"/>
                  </a:cubicBezTo>
                  <a:cubicBezTo>
                    <a:pt x="4012" y="10926"/>
                    <a:pt x="4012" y="10926"/>
                    <a:pt x="4012" y="10926"/>
                  </a:cubicBezTo>
                  <a:cubicBezTo>
                    <a:pt x="4022" y="10981"/>
                    <a:pt x="4022" y="10981"/>
                    <a:pt x="4022" y="10981"/>
                  </a:cubicBezTo>
                  <a:cubicBezTo>
                    <a:pt x="4090" y="10965"/>
                    <a:pt x="4090" y="10965"/>
                    <a:pt x="4090" y="10965"/>
                  </a:cubicBezTo>
                  <a:cubicBezTo>
                    <a:pt x="4185" y="10729"/>
                    <a:pt x="4185" y="10729"/>
                    <a:pt x="4185" y="10729"/>
                  </a:cubicBezTo>
                  <a:cubicBezTo>
                    <a:pt x="4186" y="10724"/>
                    <a:pt x="4186" y="10724"/>
                    <a:pt x="4186" y="10724"/>
                  </a:cubicBezTo>
                  <a:cubicBezTo>
                    <a:pt x="4126" y="10666"/>
                    <a:pt x="4126" y="10666"/>
                    <a:pt x="4126" y="10666"/>
                  </a:cubicBezTo>
                  <a:lnTo>
                    <a:pt x="4018" y="10705"/>
                  </a:lnTo>
                  <a:close/>
                  <a:moveTo>
                    <a:pt x="4079" y="10952"/>
                  </a:moveTo>
                  <a:cubicBezTo>
                    <a:pt x="4034" y="10963"/>
                    <a:pt x="4034" y="10963"/>
                    <a:pt x="4034" y="10963"/>
                  </a:cubicBezTo>
                  <a:cubicBezTo>
                    <a:pt x="4023" y="10909"/>
                    <a:pt x="4023" y="10909"/>
                    <a:pt x="4023" y="10909"/>
                  </a:cubicBezTo>
                  <a:cubicBezTo>
                    <a:pt x="3798" y="10957"/>
                    <a:pt x="3798" y="10957"/>
                    <a:pt x="3798" y="10957"/>
                  </a:cubicBezTo>
                  <a:cubicBezTo>
                    <a:pt x="3805" y="11034"/>
                    <a:pt x="3805" y="11034"/>
                    <a:pt x="3805" y="11034"/>
                  </a:cubicBezTo>
                  <a:cubicBezTo>
                    <a:pt x="3652" y="11079"/>
                    <a:pt x="3652" y="11079"/>
                    <a:pt x="3652" y="11079"/>
                  </a:cubicBezTo>
                  <a:cubicBezTo>
                    <a:pt x="3536" y="10940"/>
                    <a:pt x="3536" y="10940"/>
                    <a:pt x="3536" y="10940"/>
                  </a:cubicBezTo>
                  <a:cubicBezTo>
                    <a:pt x="3699" y="10863"/>
                    <a:pt x="3699" y="10863"/>
                    <a:pt x="3699" y="10863"/>
                  </a:cubicBezTo>
                  <a:cubicBezTo>
                    <a:pt x="3670" y="10825"/>
                    <a:pt x="3670" y="10825"/>
                    <a:pt x="3670" y="10825"/>
                  </a:cubicBezTo>
                  <a:cubicBezTo>
                    <a:pt x="3741" y="10790"/>
                    <a:pt x="3741" y="10790"/>
                    <a:pt x="3741" y="10790"/>
                  </a:cubicBezTo>
                  <a:cubicBezTo>
                    <a:pt x="3800" y="10826"/>
                    <a:pt x="3800" y="10826"/>
                    <a:pt x="3800" y="10826"/>
                  </a:cubicBezTo>
                  <a:cubicBezTo>
                    <a:pt x="4043" y="10773"/>
                    <a:pt x="4043" y="10773"/>
                    <a:pt x="4043" y="10773"/>
                  </a:cubicBezTo>
                  <a:cubicBezTo>
                    <a:pt x="4034" y="10715"/>
                    <a:pt x="4034" y="10715"/>
                    <a:pt x="4034" y="10715"/>
                  </a:cubicBezTo>
                  <a:cubicBezTo>
                    <a:pt x="4122" y="10683"/>
                    <a:pt x="4122" y="10683"/>
                    <a:pt x="4122" y="10683"/>
                  </a:cubicBezTo>
                  <a:cubicBezTo>
                    <a:pt x="4169" y="10728"/>
                    <a:pt x="4169" y="10728"/>
                    <a:pt x="4169" y="10728"/>
                  </a:cubicBezTo>
                  <a:lnTo>
                    <a:pt x="4079" y="10952"/>
                  </a:lnTo>
                  <a:close/>
                  <a:moveTo>
                    <a:pt x="4358" y="10716"/>
                  </a:moveTo>
                  <a:cubicBezTo>
                    <a:pt x="4273" y="10775"/>
                    <a:pt x="4273" y="10775"/>
                    <a:pt x="4273" y="10775"/>
                  </a:cubicBezTo>
                  <a:cubicBezTo>
                    <a:pt x="4198" y="10958"/>
                    <a:pt x="4198" y="10958"/>
                    <a:pt x="4198" y="10958"/>
                  </a:cubicBezTo>
                  <a:cubicBezTo>
                    <a:pt x="4484" y="11037"/>
                    <a:pt x="4484" y="11037"/>
                    <a:pt x="4484" y="11037"/>
                  </a:cubicBezTo>
                  <a:cubicBezTo>
                    <a:pt x="4613" y="10963"/>
                    <a:pt x="4613" y="10963"/>
                    <a:pt x="4613" y="10963"/>
                  </a:cubicBezTo>
                  <a:cubicBezTo>
                    <a:pt x="4618" y="10959"/>
                    <a:pt x="4618" y="10959"/>
                    <a:pt x="4618" y="10959"/>
                  </a:cubicBezTo>
                  <a:cubicBezTo>
                    <a:pt x="4527" y="10699"/>
                    <a:pt x="4527" y="10699"/>
                    <a:pt x="4527" y="10699"/>
                  </a:cubicBezTo>
                  <a:lnTo>
                    <a:pt x="4358" y="10716"/>
                  </a:lnTo>
                  <a:close/>
                  <a:moveTo>
                    <a:pt x="4482" y="11022"/>
                  </a:moveTo>
                  <a:cubicBezTo>
                    <a:pt x="4218" y="10948"/>
                    <a:pt x="4218" y="10948"/>
                    <a:pt x="4218" y="10948"/>
                  </a:cubicBezTo>
                  <a:cubicBezTo>
                    <a:pt x="4285" y="10785"/>
                    <a:pt x="4285" y="10785"/>
                    <a:pt x="4285" y="10785"/>
                  </a:cubicBezTo>
                  <a:cubicBezTo>
                    <a:pt x="4363" y="10730"/>
                    <a:pt x="4363" y="10730"/>
                    <a:pt x="4363" y="10730"/>
                  </a:cubicBezTo>
                  <a:cubicBezTo>
                    <a:pt x="4517" y="10715"/>
                    <a:pt x="4517" y="10715"/>
                    <a:pt x="4517" y="10715"/>
                  </a:cubicBezTo>
                  <a:cubicBezTo>
                    <a:pt x="4600" y="10953"/>
                    <a:pt x="4600" y="10953"/>
                    <a:pt x="4600" y="10953"/>
                  </a:cubicBezTo>
                  <a:lnTo>
                    <a:pt x="4482" y="11022"/>
                  </a:lnTo>
                  <a:close/>
                  <a:moveTo>
                    <a:pt x="4409" y="10751"/>
                  </a:moveTo>
                  <a:cubicBezTo>
                    <a:pt x="4284" y="10840"/>
                    <a:pt x="4284" y="10840"/>
                    <a:pt x="4284" y="10840"/>
                  </a:cubicBezTo>
                  <a:cubicBezTo>
                    <a:pt x="4472" y="10955"/>
                    <a:pt x="4472" y="10955"/>
                    <a:pt x="4472" y="10955"/>
                  </a:cubicBezTo>
                  <a:cubicBezTo>
                    <a:pt x="4475" y="10953"/>
                    <a:pt x="4475" y="10953"/>
                    <a:pt x="4475" y="10953"/>
                  </a:cubicBezTo>
                  <a:cubicBezTo>
                    <a:pt x="4476" y="10953"/>
                    <a:pt x="4497" y="10942"/>
                    <a:pt x="4504" y="10937"/>
                  </a:cubicBezTo>
                  <a:cubicBezTo>
                    <a:pt x="4505" y="10935"/>
                    <a:pt x="4506" y="10937"/>
                    <a:pt x="4508" y="10930"/>
                  </a:cubicBezTo>
                  <a:cubicBezTo>
                    <a:pt x="4508" y="10928"/>
                    <a:pt x="4506" y="10925"/>
                    <a:pt x="4505" y="10924"/>
                  </a:cubicBezTo>
                  <a:lnTo>
                    <a:pt x="4409" y="10751"/>
                  </a:lnTo>
                  <a:close/>
                  <a:moveTo>
                    <a:pt x="4483" y="10932"/>
                  </a:moveTo>
                  <a:cubicBezTo>
                    <a:pt x="4479" y="10934"/>
                    <a:pt x="4475" y="10936"/>
                    <a:pt x="4472" y="10938"/>
                  </a:cubicBezTo>
                  <a:cubicBezTo>
                    <a:pt x="4310" y="10839"/>
                    <a:pt x="4310" y="10839"/>
                    <a:pt x="4310" y="10839"/>
                  </a:cubicBezTo>
                  <a:cubicBezTo>
                    <a:pt x="4404" y="10773"/>
                    <a:pt x="4404" y="10773"/>
                    <a:pt x="4404" y="10773"/>
                  </a:cubicBezTo>
                  <a:cubicBezTo>
                    <a:pt x="4490" y="10928"/>
                    <a:pt x="4490" y="10928"/>
                    <a:pt x="4490" y="10928"/>
                  </a:cubicBezTo>
                  <a:cubicBezTo>
                    <a:pt x="4488" y="10929"/>
                    <a:pt x="4485" y="10931"/>
                    <a:pt x="4483" y="10932"/>
                  </a:cubicBezTo>
                  <a:close/>
                  <a:moveTo>
                    <a:pt x="4931" y="12025"/>
                  </a:moveTo>
                  <a:cubicBezTo>
                    <a:pt x="5000" y="11906"/>
                    <a:pt x="5000" y="11906"/>
                    <a:pt x="5000" y="11906"/>
                  </a:cubicBezTo>
                  <a:cubicBezTo>
                    <a:pt x="4489" y="11478"/>
                    <a:pt x="4489" y="11478"/>
                    <a:pt x="4489" y="11478"/>
                  </a:cubicBezTo>
                  <a:cubicBezTo>
                    <a:pt x="4393" y="11231"/>
                    <a:pt x="4393" y="11231"/>
                    <a:pt x="4393" y="11231"/>
                  </a:cubicBezTo>
                  <a:cubicBezTo>
                    <a:pt x="4524" y="11247"/>
                    <a:pt x="4524" y="11247"/>
                    <a:pt x="4524" y="11247"/>
                  </a:cubicBezTo>
                  <a:cubicBezTo>
                    <a:pt x="4484" y="11145"/>
                    <a:pt x="4484" y="11145"/>
                    <a:pt x="4484" y="11145"/>
                  </a:cubicBezTo>
                  <a:cubicBezTo>
                    <a:pt x="4483" y="11141"/>
                    <a:pt x="4483" y="11141"/>
                    <a:pt x="4483" y="11141"/>
                  </a:cubicBezTo>
                  <a:cubicBezTo>
                    <a:pt x="4188" y="11078"/>
                    <a:pt x="4188" y="11078"/>
                    <a:pt x="4188" y="11078"/>
                  </a:cubicBezTo>
                  <a:cubicBezTo>
                    <a:pt x="4438" y="11661"/>
                    <a:pt x="4438" y="11661"/>
                    <a:pt x="4438" y="11661"/>
                  </a:cubicBezTo>
                  <a:lnTo>
                    <a:pt x="4931" y="12025"/>
                  </a:lnTo>
                  <a:close/>
                  <a:moveTo>
                    <a:pt x="4472" y="11154"/>
                  </a:moveTo>
                  <a:cubicBezTo>
                    <a:pt x="4501" y="11229"/>
                    <a:pt x="4501" y="11229"/>
                    <a:pt x="4501" y="11229"/>
                  </a:cubicBezTo>
                  <a:cubicBezTo>
                    <a:pt x="4370" y="11214"/>
                    <a:pt x="4370" y="11214"/>
                    <a:pt x="4370" y="11214"/>
                  </a:cubicBezTo>
                  <a:cubicBezTo>
                    <a:pt x="4476" y="11487"/>
                    <a:pt x="4476" y="11487"/>
                    <a:pt x="4476" y="11487"/>
                  </a:cubicBezTo>
                  <a:cubicBezTo>
                    <a:pt x="4981" y="11909"/>
                    <a:pt x="4981" y="11909"/>
                    <a:pt x="4981" y="11909"/>
                  </a:cubicBezTo>
                  <a:cubicBezTo>
                    <a:pt x="4927" y="12003"/>
                    <a:pt x="4927" y="12003"/>
                    <a:pt x="4927" y="12003"/>
                  </a:cubicBezTo>
                  <a:cubicBezTo>
                    <a:pt x="4450" y="11652"/>
                    <a:pt x="4450" y="11652"/>
                    <a:pt x="4450" y="11652"/>
                  </a:cubicBezTo>
                  <a:cubicBezTo>
                    <a:pt x="4213" y="11099"/>
                    <a:pt x="4213" y="11099"/>
                    <a:pt x="4213" y="11099"/>
                  </a:cubicBezTo>
                  <a:lnTo>
                    <a:pt x="4472" y="11154"/>
                  </a:lnTo>
                  <a:close/>
                  <a:moveTo>
                    <a:pt x="4526" y="11479"/>
                  </a:moveTo>
                  <a:cubicBezTo>
                    <a:pt x="4861" y="11737"/>
                    <a:pt x="4861" y="11737"/>
                    <a:pt x="4861" y="11737"/>
                  </a:cubicBezTo>
                  <a:cubicBezTo>
                    <a:pt x="4890" y="11725"/>
                    <a:pt x="4890" y="11725"/>
                    <a:pt x="4890" y="11725"/>
                  </a:cubicBezTo>
                  <a:cubicBezTo>
                    <a:pt x="4556" y="11291"/>
                    <a:pt x="4556" y="11291"/>
                    <a:pt x="4556" y="11291"/>
                  </a:cubicBezTo>
                  <a:cubicBezTo>
                    <a:pt x="4554" y="11289"/>
                    <a:pt x="4554" y="11289"/>
                    <a:pt x="4554" y="11289"/>
                  </a:cubicBezTo>
                  <a:cubicBezTo>
                    <a:pt x="4437" y="11267"/>
                    <a:pt x="4437" y="11267"/>
                    <a:pt x="4437" y="11267"/>
                  </a:cubicBezTo>
                  <a:lnTo>
                    <a:pt x="4526" y="11479"/>
                  </a:lnTo>
                  <a:close/>
                  <a:moveTo>
                    <a:pt x="4867" y="11719"/>
                  </a:moveTo>
                  <a:cubicBezTo>
                    <a:pt x="4863" y="11720"/>
                    <a:pt x="4863" y="11720"/>
                    <a:pt x="4863" y="11720"/>
                  </a:cubicBezTo>
                  <a:cubicBezTo>
                    <a:pt x="4538" y="11470"/>
                    <a:pt x="4538" y="11470"/>
                    <a:pt x="4538" y="11470"/>
                  </a:cubicBezTo>
                  <a:cubicBezTo>
                    <a:pt x="4462" y="11287"/>
                    <a:pt x="4462" y="11287"/>
                    <a:pt x="4462" y="11287"/>
                  </a:cubicBezTo>
                  <a:cubicBezTo>
                    <a:pt x="4546" y="11302"/>
                    <a:pt x="4546" y="11302"/>
                    <a:pt x="4546" y="11302"/>
                  </a:cubicBezTo>
                  <a:lnTo>
                    <a:pt x="4867" y="11719"/>
                  </a:lnTo>
                  <a:close/>
                  <a:moveTo>
                    <a:pt x="4546" y="12073"/>
                  </a:moveTo>
                  <a:cubicBezTo>
                    <a:pt x="4580" y="12061"/>
                    <a:pt x="4580" y="12061"/>
                    <a:pt x="4580" y="12061"/>
                  </a:cubicBezTo>
                  <a:cubicBezTo>
                    <a:pt x="4767" y="12333"/>
                    <a:pt x="4767" y="12333"/>
                    <a:pt x="4767" y="12333"/>
                  </a:cubicBezTo>
                  <a:cubicBezTo>
                    <a:pt x="4781" y="12328"/>
                    <a:pt x="4781" y="12328"/>
                    <a:pt x="4781" y="12328"/>
                  </a:cubicBezTo>
                  <a:cubicBezTo>
                    <a:pt x="4781" y="12328"/>
                    <a:pt x="4779" y="12318"/>
                    <a:pt x="4779" y="12302"/>
                  </a:cubicBezTo>
                  <a:cubicBezTo>
                    <a:pt x="4779" y="12279"/>
                    <a:pt x="4782" y="12247"/>
                    <a:pt x="4795" y="12222"/>
                  </a:cubicBezTo>
                  <a:cubicBezTo>
                    <a:pt x="4818" y="12175"/>
                    <a:pt x="4858" y="12108"/>
                    <a:pt x="4858" y="12108"/>
                  </a:cubicBezTo>
                  <a:cubicBezTo>
                    <a:pt x="4861" y="12102"/>
                    <a:pt x="4861" y="12102"/>
                    <a:pt x="4861" y="12102"/>
                  </a:cubicBezTo>
                  <a:cubicBezTo>
                    <a:pt x="4442" y="11795"/>
                    <a:pt x="4442" y="11795"/>
                    <a:pt x="4442" y="11795"/>
                  </a:cubicBezTo>
                  <a:cubicBezTo>
                    <a:pt x="4409" y="11967"/>
                    <a:pt x="4409" y="11967"/>
                    <a:pt x="4409" y="11967"/>
                  </a:cubicBezTo>
                  <a:cubicBezTo>
                    <a:pt x="4319" y="12032"/>
                    <a:pt x="4319" y="12032"/>
                    <a:pt x="4319" y="12032"/>
                  </a:cubicBezTo>
                  <a:cubicBezTo>
                    <a:pt x="4522" y="12286"/>
                    <a:pt x="4522" y="12286"/>
                    <a:pt x="4522" y="12286"/>
                  </a:cubicBezTo>
                  <a:cubicBezTo>
                    <a:pt x="4639" y="12208"/>
                    <a:pt x="4639" y="12208"/>
                    <a:pt x="4639" y="12208"/>
                  </a:cubicBezTo>
                  <a:lnTo>
                    <a:pt x="4546" y="12073"/>
                  </a:lnTo>
                  <a:close/>
                  <a:moveTo>
                    <a:pt x="4340" y="12035"/>
                  </a:moveTo>
                  <a:cubicBezTo>
                    <a:pt x="4422" y="11976"/>
                    <a:pt x="4422" y="11976"/>
                    <a:pt x="4422" y="11976"/>
                  </a:cubicBezTo>
                  <a:cubicBezTo>
                    <a:pt x="4452" y="11821"/>
                    <a:pt x="4452" y="11821"/>
                    <a:pt x="4452" y="11821"/>
                  </a:cubicBezTo>
                  <a:cubicBezTo>
                    <a:pt x="4842" y="12106"/>
                    <a:pt x="4842" y="12106"/>
                    <a:pt x="4842" y="12106"/>
                  </a:cubicBezTo>
                  <a:cubicBezTo>
                    <a:pt x="4831" y="12123"/>
                    <a:pt x="4801" y="12176"/>
                    <a:pt x="4782" y="12215"/>
                  </a:cubicBezTo>
                  <a:cubicBezTo>
                    <a:pt x="4767" y="12244"/>
                    <a:pt x="4765" y="12278"/>
                    <a:pt x="4765" y="12302"/>
                  </a:cubicBezTo>
                  <a:cubicBezTo>
                    <a:pt x="4765" y="12303"/>
                    <a:pt x="4765" y="12303"/>
                    <a:pt x="4765" y="12303"/>
                  </a:cubicBezTo>
                  <a:cubicBezTo>
                    <a:pt x="4586" y="12044"/>
                    <a:pt x="4586" y="12044"/>
                    <a:pt x="4586" y="12044"/>
                  </a:cubicBezTo>
                  <a:cubicBezTo>
                    <a:pt x="4523" y="12065"/>
                    <a:pt x="4523" y="12065"/>
                    <a:pt x="4523" y="12065"/>
                  </a:cubicBezTo>
                  <a:cubicBezTo>
                    <a:pt x="4618" y="12204"/>
                    <a:pt x="4618" y="12204"/>
                    <a:pt x="4618" y="12204"/>
                  </a:cubicBezTo>
                  <a:cubicBezTo>
                    <a:pt x="4525" y="12266"/>
                    <a:pt x="4525" y="12266"/>
                    <a:pt x="4525" y="12266"/>
                  </a:cubicBezTo>
                  <a:lnTo>
                    <a:pt x="4340" y="12035"/>
                  </a:lnTo>
                  <a:close/>
                  <a:moveTo>
                    <a:pt x="4878" y="12634"/>
                  </a:moveTo>
                  <a:cubicBezTo>
                    <a:pt x="4650" y="12353"/>
                    <a:pt x="4650" y="12353"/>
                    <a:pt x="4650" y="12353"/>
                  </a:cubicBezTo>
                  <a:cubicBezTo>
                    <a:pt x="4583" y="12410"/>
                    <a:pt x="4583" y="12410"/>
                    <a:pt x="4583" y="12410"/>
                  </a:cubicBezTo>
                  <a:cubicBezTo>
                    <a:pt x="4821" y="12704"/>
                    <a:pt x="4821" y="12704"/>
                    <a:pt x="4821" y="12704"/>
                  </a:cubicBezTo>
                  <a:cubicBezTo>
                    <a:pt x="4875" y="12639"/>
                    <a:pt x="4875" y="12639"/>
                    <a:pt x="4875" y="12639"/>
                  </a:cubicBezTo>
                  <a:lnTo>
                    <a:pt x="4878" y="12634"/>
                  </a:lnTo>
                  <a:close/>
                  <a:moveTo>
                    <a:pt x="4821" y="12681"/>
                  </a:moveTo>
                  <a:cubicBezTo>
                    <a:pt x="4603" y="12412"/>
                    <a:pt x="4603" y="12412"/>
                    <a:pt x="4603" y="12412"/>
                  </a:cubicBezTo>
                  <a:cubicBezTo>
                    <a:pt x="4648" y="12374"/>
                    <a:pt x="4648" y="12374"/>
                    <a:pt x="4648" y="12374"/>
                  </a:cubicBezTo>
                  <a:cubicBezTo>
                    <a:pt x="4859" y="12634"/>
                    <a:pt x="4859" y="12634"/>
                    <a:pt x="4859" y="12634"/>
                  </a:cubicBezTo>
                  <a:lnTo>
                    <a:pt x="4821" y="12681"/>
                  </a:lnTo>
                  <a:close/>
                  <a:moveTo>
                    <a:pt x="4723" y="12817"/>
                  </a:moveTo>
                  <a:cubicBezTo>
                    <a:pt x="4357" y="12301"/>
                    <a:pt x="4357" y="12301"/>
                    <a:pt x="4357" y="12301"/>
                  </a:cubicBezTo>
                  <a:cubicBezTo>
                    <a:pt x="4304" y="12311"/>
                    <a:pt x="4304" y="12311"/>
                    <a:pt x="4304" y="12311"/>
                  </a:cubicBezTo>
                  <a:cubicBezTo>
                    <a:pt x="4311" y="12405"/>
                    <a:pt x="4311" y="12405"/>
                    <a:pt x="4311" y="12405"/>
                  </a:cubicBezTo>
                  <a:cubicBezTo>
                    <a:pt x="4273" y="12440"/>
                    <a:pt x="4273" y="12440"/>
                    <a:pt x="4273" y="12440"/>
                  </a:cubicBezTo>
                  <a:cubicBezTo>
                    <a:pt x="4452" y="12730"/>
                    <a:pt x="4452" y="12730"/>
                    <a:pt x="4452" y="12730"/>
                  </a:cubicBezTo>
                  <a:cubicBezTo>
                    <a:pt x="4442" y="12913"/>
                    <a:pt x="4442" y="12913"/>
                    <a:pt x="4442" y="12913"/>
                  </a:cubicBezTo>
                  <a:cubicBezTo>
                    <a:pt x="4635" y="12965"/>
                    <a:pt x="4635" y="12965"/>
                    <a:pt x="4635" y="12965"/>
                  </a:cubicBezTo>
                  <a:cubicBezTo>
                    <a:pt x="4721" y="12821"/>
                    <a:pt x="4721" y="12821"/>
                    <a:pt x="4721" y="12821"/>
                  </a:cubicBezTo>
                  <a:lnTo>
                    <a:pt x="4723" y="12817"/>
                  </a:lnTo>
                  <a:close/>
                  <a:moveTo>
                    <a:pt x="4628" y="12948"/>
                  </a:moveTo>
                  <a:cubicBezTo>
                    <a:pt x="4457" y="12902"/>
                    <a:pt x="4457" y="12902"/>
                    <a:pt x="4457" y="12902"/>
                  </a:cubicBezTo>
                  <a:cubicBezTo>
                    <a:pt x="4467" y="12727"/>
                    <a:pt x="4467" y="12727"/>
                    <a:pt x="4467" y="12727"/>
                  </a:cubicBezTo>
                  <a:cubicBezTo>
                    <a:pt x="4292" y="12443"/>
                    <a:pt x="4292" y="12443"/>
                    <a:pt x="4292" y="12443"/>
                  </a:cubicBezTo>
                  <a:cubicBezTo>
                    <a:pt x="4327" y="12411"/>
                    <a:pt x="4327" y="12411"/>
                    <a:pt x="4327" y="12411"/>
                  </a:cubicBezTo>
                  <a:cubicBezTo>
                    <a:pt x="4319" y="12323"/>
                    <a:pt x="4319" y="12323"/>
                    <a:pt x="4319" y="12323"/>
                  </a:cubicBezTo>
                  <a:cubicBezTo>
                    <a:pt x="4351" y="12317"/>
                    <a:pt x="4351" y="12317"/>
                    <a:pt x="4351" y="12317"/>
                  </a:cubicBezTo>
                  <a:cubicBezTo>
                    <a:pt x="4706" y="12818"/>
                    <a:pt x="4706" y="12818"/>
                    <a:pt x="4706" y="12818"/>
                  </a:cubicBezTo>
                  <a:lnTo>
                    <a:pt x="4628" y="12948"/>
                  </a:lnTo>
                  <a:close/>
                  <a:moveTo>
                    <a:pt x="4616" y="12750"/>
                  </a:moveTo>
                  <a:cubicBezTo>
                    <a:pt x="4615" y="12745"/>
                    <a:pt x="4615" y="12745"/>
                    <a:pt x="4615" y="12745"/>
                  </a:cubicBezTo>
                  <a:cubicBezTo>
                    <a:pt x="4537" y="12735"/>
                    <a:pt x="4537" y="12735"/>
                    <a:pt x="4537" y="12735"/>
                  </a:cubicBezTo>
                  <a:cubicBezTo>
                    <a:pt x="4487" y="12900"/>
                    <a:pt x="4487" y="12900"/>
                    <a:pt x="4487" y="12900"/>
                  </a:cubicBezTo>
                  <a:cubicBezTo>
                    <a:pt x="4636" y="12877"/>
                    <a:pt x="4636" y="12877"/>
                    <a:pt x="4636" y="12877"/>
                  </a:cubicBezTo>
                  <a:lnTo>
                    <a:pt x="4616" y="12750"/>
                  </a:lnTo>
                  <a:close/>
                  <a:moveTo>
                    <a:pt x="4548" y="12751"/>
                  </a:moveTo>
                  <a:cubicBezTo>
                    <a:pt x="4602" y="12758"/>
                    <a:pt x="4602" y="12758"/>
                    <a:pt x="4602" y="12758"/>
                  </a:cubicBezTo>
                  <a:cubicBezTo>
                    <a:pt x="4619" y="12865"/>
                    <a:pt x="4619" y="12865"/>
                    <a:pt x="4619" y="12865"/>
                  </a:cubicBezTo>
                  <a:cubicBezTo>
                    <a:pt x="4508" y="12881"/>
                    <a:pt x="4508" y="12881"/>
                    <a:pt x="4508" y="12881"/>
                  </a:cubicBezTo>
                  <a:lnTo>
                    <a:pt x="4548" y="12751"/>
                  </a:lnTo>
                  <a:close/>
                  <a:moveTo>
                    <a:pt x="4865" y="12968"/>
                  </a:moveTo>
                  <a:cubicBezTo>
                    <a:pt x="4860" y="12961"/>
                    <a:pt x="4860" y="12961"/>
                    <a:pt x="4860" y="12961"/>
                  </a:cubicBezTo>
                  <a:cubicBezTo>
                    <a:pt x="4738" y="13065"/>
                    <a:pt x="4738" y="13065"/>
                    <a:pt x="4738" y="13065"/>
                  </a:cubicBezTo>
                  <a:cubicBezTo>
                    <a:pt x="4741" y="13070"/>
                    <a:pt x="4741" y="13070"/>
                    <a:pt x="4741" y="13070"/>
                  </a:cubicBezTo>
                  <a:cubicBezTo>
                    <a:pt x="4741" y="13070"/>
                    <a:pt x="4782" y="13156"/>
                    <a:pt x="4786" y="13192"/>
                  </a:cubicBezTo>
                  <a:cubicBezTo>
                    <a:pt x="4786" y="13197"/>
                    <a:pt x="4787" y="13202"/>
                    <a:pt x="4787" y="13207"/>
                  </a:cubicBezTo>
                  <a:cubicBezTo>
                    <a:pt x="4787" y="13230"/>
                    <a:pt x="4782" y="13249"/>
                    <a:pt x="4779" y="13258"/>
                  </a:cubicBezTo>
                  <a:cubicBezTo>
                    <a:pt x="4675" y="13257"/>
                    <a:pt x="4675" y="13257"/>
                    <a:pt x="4675" y="13257"/>
                  </a:cubicBezTo>
                  <a:cubicBezTo>
                    <a:pt x="4634" y="13370"/>
                    <a:pt x="4634" y="13370"/>
                    <a:pt x="4634" y="13370"/>
                  </a:cubicBezTo>
                  <a:cubicBezTo>
                    <a:pt x="4777" y="13502"/>
                    <a:pt x="4777" y="13502"/>
                    <a:pt x="4777" y="13502"/>
                  </a:cubicBezTo>
                  <a:cubicBezTo>
                    <a:pt x="4936" y="13478"/>
                    <a:pt x="4936" y="13478"/>
                    <a:pt x="4936" y="13478"/>
                  </a:cubicBezTo>
                  <a:cubicBezTo>
                    <a:pt x="4937" y="13473"/>
                    <a:pt x="4937" y="13473"/>
                    <a:pt x="4937" y="13473"/>
                  </a:cubicBezTo>
                  <a:cubicBezTo>
                    <a:pt x="4937" y="13473"/>
                    <a:pt x="4959" y="13376"/>
                    <a:pt x="4959" y="13279"/>
                  </a:cubicBezTo>
                  <a:cubicBezTo>
                    <a:pt x="4959" y="13255"/>
                    <a:pt x="4958" y="13232"/>
                    <a:pt x="4955" y="13210"/>
                  </a:cubicBezTo>
                  <a:cubicBezTo>
                    <a:pt x="4939" y="13095"/>
                    <a:pt x="4865" y="12969"/>
                    <a:pt x="4865" y="12968"/>
                  </a:cubicBezTo>
                  <a:close/>
                  <a:moveTo>
                    <a:pt x="4924" y="13465"/>
                  </a:moveTo>
                  <a:cubicBezTo>
                    <a:pt x="4782" y="13486"/>
                    <a:pt x="4782" y="13486"/>
                    <a:pt x="4782" y="13486"/>
                  </a:cubicBezTo>
                  <a:cubicBezTo>
                    <a:pt x="4652" y="13366"/>
                    <a:pt x="4652" y="13366"/>
                    <a:pt x="4652" y="13366"/>
                  </a:cubicBezTo>
                  <a:cubicBezTo>
                    <a:pt x="4686" y="13272"/>
                    <a:pt x="4686" y="13272"/>
                    <a:pt x="4686" y="13272"/>
                  </a:cubicBezTo>
                  <a:cubicBezTo>
                    <a:pt x="4790" y="13273"/>
                    <a:pt x="4790" y="13273"/>
                    <a:pt x="4790" y="13273"/>
                  </a:cubicBezTo>
                  <a:cubicBezTo>
                    <a:pt x="4791" y="13268"/>
                    <a:pt x="4791" y="13268"/>
                    <a:pt x="4791" y="13268"/>
                  </a:cubicBezTo>
                  <a:cubicBezTo>
                    <a:pt x="4791" y="13268"/>
                    <a:pt x="4801" y="13240"/>
                    <a:pt x="4801" y="13207"/>
                  </a:cubicBezTo>
                  <a:cubicBezTo>
                    <a:pt x="4801" y="13202"/>
                    <a:pt x="4801" y="13196"/>
                    <a:pt x="4800" y="13190"/>
                  </a:cubicBezTo>
                  <a:cubicBezTo>
                    <a:pt x="4796" y="13155"/>
                    <a:pt x="4765" y="13088"/>
                    <a:pt x="4756" y="13069"/>
                  </a:cubicBezTo>
                  <a:cubicBezTo>
                    <a:pt x="4856" y="12984"/>
                    <a:pt x="4856" y="12984"/>
                    <a:pt x="4856" y="12984"/>
                  </a:cubicBezTo>
                  <a:cubicBezTo>
                    <a:pt x="4872" y="13013"/>
                    <a:pt x="4927" y="13118"/>
                    <a:pt x="4940" y="13212"/>
                  </a:cubicBezTo>
                  <a:cubicBezTo>
                    <a:pt x="4943" y="13233"/>
                    <a:pt x="4944" y="13256"/>
                    <a:pt x="4944" y="13279"/>
                  </a:cubicBezTo>
                  <a:cubicBezTo>
                    <a:pt x="4945" y="13361"/>
                    <a:pt x="4928" y="13444"/>
                    <a:pt x="4924" y="13465"/>
                  </a:cubicBezTo>
                  <a:close/>
                  <a:moveTo>
                    <a:pt x="5261" y="12857"/>
                  </a:moveTo>
                  <a:cubicBezTo>
                    <a:pt x="5269" y="12858"/>
                    <a:pt x="5269" y="12858"/>
                    <a:pt x="5269" y="12858"/>
                  </a:cubicBezTo>
                  <a:cubicBezTo>
                    <a:pt x="5260" y="12624"/>
                    <a:pt x="5260" y="12624"/>
                    <a:pt x="5260" y="12624"/>
                  </a:cubicBezTo>
                  <a:cubicBezTo>
                    <a:pt x="5196" y="12585"/>
                    <a:pt x="5196" y="12585"/>
                    <a:pt x="5196" y="12585"/>
                  </a:cubicBezTo>
                  <a:cubicBezTo>
                    <a:pt x="5296" y="12470"/>
                    <a:pt x="5296" y="12470"/>
                    <a:pt x="5296" y="12470"/>
                  </a:cubicBezTo>
                  <a:cubicBezTo>
                    <a:pt x="5155" y="12319"/>
                    <a:pt x="5155" y="12319"/>
                    <a:pt x="5155" y="12319"/>
                  </a:cubicBezTo>
                  <a:cubicBezTo>
                    <a:pt x="5323" y="12328"/>
                    <a:pt x="5323" y="12328"/>
                    <a:pt x="5323" y="12328"/>
                  </a:cubicBezTo>
                  <a:cubicBezTo>
                    <a:pt x="5351" y="12217"/>
                    <a:pt x="5351" y="12217"/>
                    <a:pt x="5351" y="12217"/>
                  </a:cubicBezTo>
                  <a:cubicBezTo>
                    <a:pt x="5048" y="12198"/>
                    <a:pt x="5048" y="12198"/>
                    <a:pt x="5048" y="12198"/>
                  </a:cubicBezTo>
                  <a:cubicBezTo>
                    <a:pt x="4976" y="12345"/>
                    <a:pt x="4976" y="12345"/>
                    <a:pt x="4976" y="12345"/>
                  </a:cubicBezTo>
                  <a:cubicBezTo>
                    <a:pt x="4980" y="12348"/>
                    <a:pt x="4980" y="12348"/>
                    <a:pt x="4980" y="12348"/>
                  </a:cubicBezTo>
                  <a:cubicBezTo>
                    <a:pt x="4980" y="12348"/>
                    <a:pt x="4994" y="12362"/>
                    <a:pt x="5010" y="12395"/>
                  </a:cubicBezTo>
                  <a:cubicBezTo>
                    <a:pt x="5027" y="12427"/>
                    <a:pt x="5046" y="12476"/>
                    <a:pt x="5055" y="12546"/>
                  </a:cubicBezTo>
                  <a:cubicBezTo>
                    <a:pt x="5056" y="12557"/>
                    <a:pt x="5057" y="12568"/>
                    <a:pt x="5057" y="12578"/>
                  </a:cubicBezTo>
                  <a:cubicBezTo>
                    <a:pt x="5057" y="12638"/>
                    <a:pt x="5035" y="12691"/>
                    <a:pt x="5012" y="12729"/>
                  </a:cubicBezTo>
                  <a:cubicBezTo>
                    <a:pt x="4990" y="12767"/>
                    <a:pt x="4968" y="12789"/>
                    <a:pt x="4968" y="12789"/>
                  </a:cubicBezTo>
                  <a:cubicBezTo>
                    <a:pt x="4962" y="12794"/>
                    <a:pt x="4962" y="12794"/>
                    <a:pt x="4962" y="12794"/>
                  </a:cubicBezTo>
                  <a:cubicBezTo>
                    <a:pt x="5005" y="12831"/>
                    <a:pt x="5005" y="12831"/>
                    <a:pt x="5005" y="12831"/>
                  </a:cubicBezTo>
                  <a:lnTo>
                    <a:pt x="5261" y="12857"/>
                  </a:lnTo>
                  <a:close/>
                  <a:moveTo>
                    <a:pt x="5072" y="12578"/>
                  </a:moveTo>
                  <a:cubicBezTo>
                    <a:pt x="5072" y="12567"/>
                    <a:pt x="5071" y="12556"/>
                    <a:pt x="5070" y="12544"/>
                  </a:cubicBezTo>
                  <a:cubicBezTo>
                    <a:pt x="5053" y="12421"/>
                    <a:pt x="5007" y="12358"/>
                    <a:pt x="4994" y="12342"/>
                  </a:cubicBezTo>
                  <a:cubicBezTo>
                    <a:pt x="5057" y="12213"/>
                    <a:pt x="5057" y="12213"/>
                    <a:pt x="5057" y="12213"/>
                  </a:cubicBezTo>
                  <a:cubicBezTo>
                    <a:pt x="5333" y="12231"/>
                    <a:pt x="5333" y="12231"/>
                    <a:pt x="5333" y="12231"/>
                  </a:cubicBezTo>
                  <a:cubicBezTo>
                    <a:pt x="5312" y="12312"/>
                    <a:pt x="5312" y="12312"/>
                    <a:pt x="5312" y="12312"/>
                  </a:cubicBezTo>
                  <a:cubicBezTo>
                    <a:pt x="5119" y="12302"/>
                    <a:pt x="5119" y="12302"/>
                    <a:pt x="5119" y="12302"/>
                  </a:cubicBezTo>
                  <a:cubicBezTo>
                    <a:pt x="5276" y="12470"/>
                    <a:pt x="5276" y="12470"/>
                    <a:pt x="5276" y="12470"/>
                  </a:cubicBezTo>
                  <a:cubicBezTo>
                    <a:pt x="5173" y="12589"/>
                    <a:pt x="5173" y="12589"/>
                    <a:pt x="5173" y="12589"/>
                  </a:cubicBezTo>
                  <a:cubicBezTo>
                    <a:pt x="5246" y="12633"/>
                    <a:pt x="5246" y="12633"/>
                    <a:pt x="5246" y="12633"/>
                  </a:cubicBezTo>
                  <a:cubicBezTo>
                    <a:pt x="5254" y="12841"/>
                    <a:pt x="5254" y="12841"/>
                    <a:pt x="5254" y="12841"/>
                  </a:cubicBezTo>
                  <a:cubicBezTo>
                    <a:pt x="5011" y="12817"/>
                    <a:pt x="5011" y="12817"/>
                    <a:pt x="5011" y="12817"/>
                  </a:cubicBezTo>
                  <a:cubicBezTo>
                    <a:pt x="4984" y="12793"/>
                    <a:pt x="4984" y="12793"/>
                    <a:pt x="4984" y="12793"/>
                  </a:cubicBezTo>
                  <a:cubicBezTo>
                    <a:pt x="5004" y="12771"/>
                    <a:pt x="5072" y="12688"/>
                    <a:pt x="5072" y="12578"/>
                  </a:cubicBezTo>
                  <a:close/>
                  <a:moveTo>
                    <a:pt x="1434" y="15547"/>
                  </a:moveTo>
                  <a:cubicBezTo>
                    <a:pt x="1540" y="15412"/>
                    <a:pt x="1540" y="15412"/>
                    <a:pt x="1540" y="15412"/>
                  </a:cubicBezTo>
                  <a:cubicBezTo>
                    <a:pt x="1640" y="15477"/>
                    <a:pt x="1640" y="15477"/>
                    <a:pt x="1640" y="15477"/>
                  </a:cubicBezTo>
                  <a:cubicBezTo>
                    <a:pt x="1604" y="15530"/>
                    <a:pt x="1604" y="15530"/>
                    <a:pt x="1604" y="15530"/>
                  </a:cubicBezTo>
                  <a:cubicBezTo>
                    <a:pt x="1838" y="15661"/>
                    <a:pt x="1838" y="15661"/>
                    <a:pt x="1838" y="15661"/>
                  </a:cubicBezTo>
                  <a:cubicBezTo>
                    <a:pt x="1893" y="15543"/>
                    <a:pt x="1893" y="15543"/>
                    <a:pt x="1893" y="15543"/>
                  </a:cubicBezTo>
                  <a:cubicBezTo>
                    <a:pt x="1895" y="15538"/>
                    <a:pt x="1895" y="15538"/>
                    <a:pt x="1895" y="15538"/>
                  </a:cubicBezTo>
                  <a:cubicBezTo>
                    <a:pt x="1505" y="15239"/>
                    <a:pt x="1505" y="15239"/>
                    <a:pt x="1505" y="15239"/>
                  </a:cubicBezTo>
                  <a:cubicBezTo>
                    <a:pt x="1249" y="15554"/>
                    <a:pt x="1249" y="15554"/>
                    <a:pt x="1249" y="15554"/>
                  </a:cubicBezTo>
                  <a:cubicBezTo>
                    <a:pt x="1443" y="15718"/>
                    <a:pt x="1443" y="15718"/>
                    <a:pt x="1443" y="15718"/>
                  </a:cubicBezTo>
                  <a:cubicBezTo>
                    <a:pt x="1390" y="15807"/>
                    <a:pt x="1390" y="15807"/>
                    <a:pt x="1390" y="15807"/>
                  </a:cubicBezTo>
                  <a:cubicBezTo>
                    <a:pt x="1499" y="15911"/>
                    <a:pt x="1499" y="15911"/>
                    <a:pt x="1499" y="15911"/>
                  </a:cubicBezTo>
                  <a:cubicBezTo>
                    <a:pt x="1602" y="15672"/>
                    <a:pt x="1602" y="15672"/>
                    <a:pt x="1602" y="15672"/>
                  </a:cubicBezTo>
                  <a:lnTo>
                    <a:pt x="1434" y="15547"/>
                  </a:lnTo>
                  <a:close/>
                  <a:moveTo>
                    <a:pt x="1494" y="15885"/>
                  </a:moveTo>
                  <a:cubicBezTo>
                    <a:pt x="1409" y="15804"/>
                    <a:pt x="1409" y="15804"/>
                    <a:pt x="1409" y="15804"/>
                  </a:cubicBezTo>
                  <a:cubicBezTo>
                    <a:pt x="1462" y="15715"/>
                    <a:pt x="1462" y="15715"/>
                    <a:pt x="1462" y="15715"/>
                  </a:cubicBezTo>
                  <a:cubicBezTo>
                    <a:pt x="1269" y="15552"/>
                    <a:pt x="1269" y="15552"/>
                    <a:pt x="1269" y="15552"/>
                  </a:cubicBezTo>
                  <a:cubicBezTo>
                    <a:pt x="1507" y="15260"/>
                    <a:pt x="1507" y="15260"/>
                    <a:pt x="1507" y="15260"/>
                  </a:cubicBezTo>
                  <a:cubicBezTo>
                    <a:pt x="1877" y="15542"/>
                    <a:pt x="1877" y="15542"/>
                    <a:pt x="1877" y="15542"/>
                  </a:cubicBezTo>
                  <a:cubicBezTo>
                    <a:pt x="1831" y="15640"/>
                    <a:pt x="1831" y="15640"/>
                    <a:pt x="1831" y="15640"/>
                  </a:cubicBezTo>
                  <a:cubicBezTo>
                    <a:pt x="1625" y="15524"/>
                    <a:pt x="1625" y="15524"/>
                    <a:pt x="1625" y="15524"/>
                  </a:cubicBezTo>
                  <a:cubicBezTo>
                    <a:pt x="1660" y="15472"/>
                    <a:pt x="1660" y="15472"/>
                    <a:pt x="1660" y="15472"/>
                  </a:cubicBezTo>
                  <a:cubicBezTo>
                    <a:pt x="1536" y="15392"/>
                    <a:pt x="1536" y="15392"/>
                    <a:pt x="1536" y="15392"/>
                  </a:cubicBezTo>
                  <a:cubicBezTo>
                    <a:pt x="1413" y="15549"/>
                    <a:pt x="1413" y="15549"/>
                    <a:pt x="1413" y="15549"/>
                  </a:cubicBezTo>
                  <a:cubicBezTo>
                    <a:pt x="1583" y="15677"/>
                    <a:pt x="1583" y="15677"/>
                    <a:pt x="1583" y="15677"/>
                  </a:cubicBezTo>
                  <a:lnTo>
                    <a:pt x="1494" y="15885"/>
                  </a:lnTo>
                  <a:close/>
                  <a:moveTo>
                    <a:pt x="1058" y="15090"/>
                  </a:moveTo>
                  <a:cubicBezTo>
                    <a:pt x="1029" y="15204"/>
                    <a:pt x="1029" y="15204"/>
                    <a:pt x="1029" y="15204"/>
                  </a:cubicBezTo>
                  <a:cubicBezTo>
                    <a:pt x="1133" y="15286"/>
                    <a:pt x="1133" y="15286"/>
                    <a:pt x="1133" y="15286"/>
                  </a:cubicBezTo>
                  <a:cubicBezTo>
                    <a:pt x="1078" y="15391"/>
                    <a:pt x="1078" y="15391"/>
                    <a:pt x="1078" y="15391"/>
                  </a:cubicBezTo>
                  <a:cubicBezTo>
                    <a:pt x="1194" y="15492"/>
                    <a:pt x="1194" y="15492"/>
                    <a:pt x="1194" y="15492"/>
                  </a:cubicBezTo>
                  <a:cubicBezTo>
                    <a:pt x="1435" y="15177"/>
                    <a:pt x="1435" y="15177"/>
                    <a:pt x="1435" y="15177"/>
                  </a:cubicBezTo>
                  <a:cubicBezTo>
                    <a:pt x="1440" y="15171"/>
                    <a:pt x="1440" y="15171"/>
                    <a:pt x="1440" y="15171"/>
                  </a:cubicBezTo>
                  <a:cubicBezTo>
                    <a:pt x="1059" y="14879"/>
                    <a:pt x="1059" y="14879"/>
                    <a:pt x="1059" y="14879"/>
                  </a:cubicBezTo>
                  <a:cubicBezTo>
                    <a:pt x="993" y="14953"/>
                    <a:pt x="993" y="14953"/>
                    <a:pt x="993" y="14953"/>
                  </a:cubicBezTo>
                  <a:lnTo>
                    <a:pt x="1058" y="15090"/>
                  </a:lnTo>
                  <a:close/>
                  <a:moveTo>
                    <a:pt x="1060" y="14899"/>
                  </a:moveTo>
                  <a:cubicBezTo>
                    <a:pt x="1419" y="15174"/>
                    <a:pt x="1419" y="15174"/>
                    <a:pt x="1419" y="15174"/>
                  </a:cubicBezTo>
                  <a:cubicBezTo>
                    <a:pt x="1192" y="15470"/>
                    <a:pt x="1192" y="15470"/>
                    <a:pt x="1192" y="15470"/>
                  </a:cubicBezTo>
                  <a:cubicBezTo>
                    <a:pt x="1097" y="15388"/>
                    <a:pt x="1097" y="15388"/>
                    <a:pt x="1097" y="15388"/>
                  </a:cubicBezTo>
                  <a:cubicBezTo>
                    <a:pt x="1152" y="15282"/>
                    <a:pt x="1152" y="15282"/>
                    <a:pt x="1152" y="15282"/>
                  </a:cubicBezTo>
                  <a:cubicBezTo>
                    <a:pt x="1046" y="15199"/>
                    <a:pt x="1046" y="15199"/>
                    <a:pt x="1046" y="15199"/>
                  </a:cubicBezTo>
                  <a:cubicBezTo>
                    <a:pt x="1073" y="15088"/>
                    <a:pt x="1073" y="15088"/>
                    <a:pt x="1073" y="15088"/>
                  </a:cubicBezTo>
                  <a:cubicBezTo>
                    <a:pt x="1011" y="14956"/>
                    <a:pt x="1011" y="14956"/>
                    <a:pt x="1011" y="14956"/>
                  </a:cubicBezTo>
                  <a:lnTo>
                    <a:pt x="1060" y="14899"/>
                  </a:lnTo>
                  <a:close/>
                  <a:moveTo>
                    <a:pt x="2907" y="12370"/>
                  </a:moveTo>
                  <a:cubicBezTo>
                    <a:pt x="3019" y="12398"/>
                    <a:pt x="3019" y="12398"/>
                    <a:pt x="3019" y="12398"/>
                  </a:cubicBezTo>
                  <a:cubicBezTo>
                    <a:pt x="3059" y="12309"/>
                    <a:pt x="3059" y="12309"/>
                    <a:pt x="3059" y="12309"/>
                  </a:cubicBezTo>
                  <a:cubicBezTo>
                    <a:pt x="2998" y="12306"/>
                    <a:pt x="2998" y="12306"/>
                    <a:pt x="2998" y="12306"/>
                  </a:cubicBezTo>
                  <a:cubicBezTo>
                    <a:pt x="3001" y="12242"/>
                    <a:pt x="3001" y="12242"/>
                    <a:pt x="3001" y="12242"/>
                  </a:cubicBezTo>
                  <a:cubicBezTo>
                    <a:pt x="3017" y="12200"/>
                    <a:pt x="3017" y="12200"/>
                    <a:pt x="3017" y="12200"/>
                  </a:cubicBezTo>
                  <a:cubicBezTo>
                    <a:pt x="3085" y="12224"/>
                    <a:pt x="3085" y="12224"/>
                    <a:pt x="3085" y="12224"/>
                  </a:cubicBezTo>
                  <a:cubicBezTo>
                    <a:pt x="3141" y="12090"/>
                    <a:pt x="3141" y="12090"/>
                    <a:pt x="3141" y="12090"/>
                  </a:cubicBezTo>
                  <a:cubicBezTo>
                    <a:pt x="2947" y="12030"/>
                    <a:pt x="2947" y="12030"/>
                    <a:pt x="2947" y="12030"/>
                  </a:cubicBezTo>
                  <a:cubicBezTo>
                    <a:pt x="2893" y="12179"/>
                    <a:pt x="2893" y="12179"/>
                    <a:pt x="2893" y="12179"/>
                  </a:cubicBezTo>
                  <a:lnTo>
                    <a:pt x="2907" y="12370"/>
                  </a:lnTo>
                  <a:close/>
                  <a:moveTo>
                    <a:pt x="2956" y="12048"/>
                  </a:moveTo>
                  <a:cubicBezTo>
                    <a:pt x="3121" y="12099"/>
                    <a:pt x="3121" y="12099"/>
                    <a:pt x="3121" y="12099"/>
                  </a:cubicBezTo>
                  <a:cubicBezTo>
                    <a:pt x="3077" y="12205"/>
                    <a:pt x="3077" y="12205"/>
                    <a:pt x="3077" y="12205"/>
                  </a:cubicBezTo>
                  <a:cubicBezTo>
                    <a:pt x="3015" y="12184"/>
                    <a:pt x="3015" y="12184"/>
                    <a:pt x="3015" y="12184"/>
                  </a:cubicBezTo>
                  <a:cubicBezTo>
                    <a:pt x="3009" y="12181"/>
                    <a:pt x="3009" y="12181"/>
                    <a:pt x="3009" y="12181"/>
                  </a:cubicBezTo>
                  <a:cubicBezTo>
                    <a:pt x="2986" y="12239"/>
                    <a:pt x="2986" y="12239"/>
                    <a:pt x="2986" y="12239"/>
                  </a:cubicBezTo>
                  <a:cubicBezTo>
                    <a:pt x="2983" y="12320"/>
                    <a:pt x="2983" y="12320"/>
                    <a:pt x="2983" y="12320"/>
                  </a:cubicBezTo>
                  <a:cubicBezTo>
                    <a:pt x="3037" y="12323"/>
                    <a:pt x="3037" y="12323"/>
                    <a:pt x="3037" y="12323"/>
                  </a:cubicBezTo>
                  <a:cubicBezTo>
                    <a:pt x="3011" y="12381"/>
                    <a:pt x="3011" y="12381"/>
                    <a:pt x="3011" y="12381"/>
                  </a:cubicBezTo>
                  <a:cubicBezTo>
                    <a:pt x="2921" y="12358"/>
                    <a:pt x="2921" y="12358"/>
                    <a:pt x="2921" y="12358"/>
                  </a:cubicBezTo>
                  <a:cubicBezTo>
                    <a:pt x="2908" y="12181"/>
                    <a:pt x="2908" y="12181"/>
                    <a:pt x="2908" y="12181"/>
                  </a:cubicBezTo>
                  <a:lnTo>
                    <a:pt x="2956" y="12048"/>
                  </a:lnTo>
                  <a:close/>
                  <a:moveTo>
                    <a:pt x="2465" y="12255"/>
                  </a:moveTo>
                  <a:cubicBezTo>
                    <a:pt x="2581" y="12289"/>
                    <a:pt x="2581" y="12289"/>
                    <a:pt x="2581" y="12289"/>
                  </a:cubicBezTo>
                  <a:cubicBezTo>
                    <a:pt x="2573" y="12323"/>
                    <a:pt x="2573" y="12323"/>
                    <a:pt x="2573" y="12323"/>
                  </a:cubicBezTo>
                  <a:cubicBezTo>
                    <a:pt x="2839" y="12358"/>
                    <a:pt x="2839" y="12358"/>
                    <a:pt x="2839" y="12358"/>
                  </a:cubicBezTo>
                  <a:cubicBezTo>
                    <a:pt x="2822" y="12204"/>
                    <a:pt x="2822" y="12204"/>
                    <a:pt x="2822" y="12204"/>
                  </a:cubicBezTo>
                  <a:cubicBezTo>
                    <a:pt x="2821" y="12199"/>
                    <a:pt x="2821" y="12199"/>
                    <a:pt x="2821" y="12199"/>
                  </a:cubicBezTo>
                  <a:cubicBezTo>
                    <a:pt x="2542" y="12129"/>
                    <a:pt x="2542" y="12129"/>
                    <a:pt x="2542" y="12129"/>
                  </a:cubicBezTo>
                  <a:cubicBezTo>
                    <a:pt x="2570" y="12024"/>
                    <a:pt x="2570" y="12024"/>
                    <a:pt x="2570" y="12024"/>
                  </a:cubicBezTo>
                  <a:cubicBezTo>
                    <a:pt x="2394" y="12017"/>
                    <a:pt x="2394" y="12017"/>
                    <a:pt x="2394" y="12017"/>
                  </a:cubicBezTo>
                  <a:cubicBezTo>
                    <a:pt x="2357" y="12248"/>
                    <a:pt x="2357" y="12248"/>
                    <a:pt x="2357" y="12248"/>
                  </a:cubicBezTo>
                  <a:lnTo>
                    <a:pt x="2465" y="12255"/>
                  </a:lnTo>
                  <a:close/>
                  <a:moveTo>
                    <a:pt x="2406" y="12032"/>
                  </a:moveTo>
                  <a:cubicBezTo>
                    <a:pt x="2551" y="12038"/>
                    <a:pt x="2551" y="12038"/>
                    <a:pt x="2551" y="12038"/>
                  </a:cubicBezTo>
                  <a:cubicBezTo>
                    <a:pt x="2524" y="12140"/>
                    <a:pt x="2524" y="12140"/>
                    <a:pt x="2524" y="12140"/>
                  </a:cubicBezTo>
                  <a:cubicBezTo>
                    <a:pt x="2808" y="12210"/>
                    <a:pt x="2808" y="12210"/>
                    <a:pt x="2808" y="12210"/>
                  </a:cubicBezTo>
                  <a:cubicBezTo>
                    <a:pt x="2822" y="12341"/>
                    <a:pt x="2822" y="12341"/>
                    <a:pt x="2822" y="12341"/>
                  </a:cubicBezTo>
                  <a:cubicBezTo>
                    <a:pt x="2591" y="12311"/>
                    <a:pt x="2591" y="12311"/>
                    <a:pt x="2591" y="12311"/>
                  </a:cubicBezTo>
                  <a:cubicBezTo>
                    <a:pt x="2599" y="12278"/>
                    <a:pt x="2599" y="12278"/>
                    <a:pt x="2599" y="12278"/>
                  </a:cubicBezTo>
                  <a:cubicBezTo>
                    <a:pt x="2467" y="12240"/>
                    <a:pt x="2467" y="12240"/>
                    <a:pt x="2467" y="12240"/>
                  </a:cubicBezTo>
                  <a:cubicBezTo>
                    <a:pt x="2374" y="12234"/>
                    <a:pt x="2374" y="12234"/>
                    <a:pt x="2374" y="12234"/>
                  </a:cubicBezTo>
                  <a:lnTo>
                    <a:pt x="2406" y="12032"/>
                  </a:lnTo>
                  <a:close/>
                  <a:moveTo>
                    <a:pt x="3289" y="12498"/>
                  </a:moveTo>
                  <a:cubicBezTo>
                    <a:pt x="3397" y="12540"/>
                    <a:pt x="3397" y="12540"/>
                    <a:pt x="3397" y="12540"/>
                  </a:cubicBezTo>
                  <a:cubicBezTo>
                    <a:pt x="3408" y="12514"/>
                    <a:pt x="3408" y="12514"/>
                    <a:pt x="3408" y="12514"/>
                  </a:cubicBezTo>
                  <a:cubicBezTo>
                    <a:pt x="3431" y="12567"/>
                    <a:pt x="3431" y="12567"/>
                    <a:pt x="3431" y="12567"/>
                  </a:cubicBezTo>
                  <a:cubicBezTo>
                    <a:pt x="3517" y="12646"/>
                    <a:pt x="3517" y="12646"/>
                    <a:pt x="3517" y="12646"/>
                  </a:cubicBezTo>
                  <a:cubicBezTo>
                    <a:pt x="3537" y="12665"/>
                    <a:pt x="3537" y="12665"/>
                    <a:pt x="3537" y="12665"/>
                  </a:cubicBezTo>
                  <a:cubicBezTo>
                    <a:pt x="3409" y="12258"/>
                    <a:pt x="3409" y="12258"/>
                    <a:pt x="3409" y="12258"/>
                  </a:cubicBezTo>
                  <a:lnTo>
                    <a:pt x="3289" y="12498"/>
                  </a:lnTo>
                  <a:close/>
                  <a:moveTo>
                    <a:pt x="3443" y="12559"/>
                  </a:moveTo>
                  <a:cubicBezTo>
                    <a:pt x="3409" y="12478"/>
                    <a:pt x="3409" y="12478"/>
                    <a:pt x="3409" y="12478"/>
                  </a:cubicBezTo>
                  <a:cubicBezTo>
                    <a:pt x="3389" y="12521"/>
                    <a:pt x="3389" y="12521"/>
                    <a:pt x="3389" y="12521"/>
                  </a:cubicBezTo>
                  <a:cubicBezTo>
                    <a:pt x="3309" y="12490"/>
                    <a:pt x="3309" y="12490"/>
                    <a:pt x="3309" y="12490"/>
                  </a:cubicBezTo>
                  <a:cubicBezTo>
                    <a:pt x="3406" y="12297"/>
                    <a:pt x="3406" y="12297"/>
                    <a:pt x="3406" y="12297"/>
                  </a:cubicBezTo>
                  <a:cubicBezTo>
                    <a:pt x="3507" y="12617"/>
                    <a:pt x="3507" y="12617"/>
                    <a:pt x="3507" y="12617"/>
                  </a:cubicBezTo>
                  <a:lnTo>
                    <a:pt x="3443" y="12559"/>
                  </a:lnTo>
                  <a:close/>
                  <a:moveTo>
                    <a:pt x="5088" y="13292"/>
                  </a:moveTo>
                  <a:cubicBezTo>
                    <a:pt x="5088" y="13303"/>
                    <a:pt x="5088" y="13309"/>
                    <a:pt x="5088" y="13309"/>
                  </a:cubicBezTo>
                  <a:cubicBezTo>
                    <a:pt x="5087" y="13317"/>
                    <a:pt x="5087" y="13317"/>
                    <a:pt x="5087" y="13317"/>
                  </a:cubicBezTo>
                  <a:cubicBezTo>
                    <a:pt x="5095" y="13317"/>
                    <a:pt x="5095" y="13317"/>
                    <a:pt x="5095" y="13317"/>
                  </a:cubicBezTo>
                  <a:cubicBezTo>
                    <a:pt x="5095" y="13317"/>
                    <a:pt x="5263" y="13323"/>
                    <a:pt x="5277" y="13324"/>
                  </a:cubicBezTo>
                  <a:cubicBezTo>
                    <a:pt x="5278" y="13325"/>
                    <a:pt x="5279" y="13325"/>
                    <a:pt x="5279" y="13325"/>
                  </a:cubicBezTo>
                  <a:cubicBezTo>
                    <a:pt x="5279" y="13325"/>
                    <a:pt x="5279" y="13325"/>
                    <a:pt x="5280" y="13325"/>
                  </a:cubicBezTo>
                  <a:cubicBezTo>
                    <a:pt x="5280" y="13318"/>
                    <a:pt x="5280" y="13318"/>
                    <a:pt x="5280" y="13318"/>
                  </a:cubicBezTo>
                  <a:cubicBezTo>
                    <a:pt x="5286" y="13321"/>
                    <a:pt x="5286" y="13321"/>
                    <a:pt x="5286" y="13321"/>
                  </a:cubicBezTo>
                  <a:cubicBezTo>
                    <a:pt x="5286" y="13320"/>
                    <a:pt x="5287" y="13320"/>
                    <a:pt x="5287" y="13318"/>
                  </a:cubicBezTo>
                  <a:cubicBezTo>
                    <a:pt x="5287" y="13317"/>
                    <a:pt x="5287" y="13317"/>
                    <a:pt x="5287" y="13317"/>
                  </a:cubicBezTo>
                  <a:cubicBezTo>
                    <a:pt x="5287" y="13316"/>
                    <a:pt x="5288" y="13314"/>
                    <a:pt x="5288" y="13312"/>
                  </a:cubicBezTo>
                  <a:cubicBezTo>
                    <a:pt x="5289" y="13308"/>
                    <a:pt x="5290" y="13302"/>
                    <a:pt x="5292" y="13294"/>
                  </a:cubicBezTo>
                  <a:cubicBezTo>
                    <a:pt x="5294" y="13280"/>
                    <a:pt x="5298" y="13261"/>
                    <a:pt x="5302" y="13242"/>
                  </a:cubicBezTo>
                  <a:cubicBezTo>
                    <a:pt x="5310" y="13204"/>
                    <a:pt x="5317" y="13166"/>
                    <a:pt x="5317" y="13166"/>
                  </a:cubicBezTo>
                  <a:cubicBezTo>
                    <a:pt x="5320" y="13155"/>
                    <a:pt x="5320" y="13155"/>
                    <a:pt x="5320" y="13155"/>
                  </a:cubicBezTo>
                  <a:cubicBezTo>
                    <a:pt x="5214" y="13178"/>
                    <a:pt x="5214" y="13178"/>
                    <a:pt x="5214" y="13178"/>
                  </a:cubicBezTo>
                  <a:cubicBezTo>
                    <a:pt x="5244" y="13105"/>
                    <a:pt x="5244" y="13105"/>
                    <a:pt x="5244" y="13105"/>
                  </a:cubicBezTo>
                  <a:cubicBezTo>
                    <a:pt x="5333" y="13117"/>
                    <a:pt x="5333" y="13117"/>
                    <a:pt x="5333" y="13117"/>
                  </a:cubicBezTo>
                  <a:cubicBezTo>
                    <a:pt x="5310" y="12960"/>
                    <a:pt x="5310" y="12960"/>
                    <a:pt x="5310" y="12960"/>
                  </a:cubicBezTo>
                  <a:cubicBezTo>
                    <a:pt x="5309" y="12954"/>
                    <a:pt x="5309" y="12954"/>
                    <a:pt x="5309" y="12954"/>
                  </a:cubicBezTo>
                  <a:cubicBezTo>
                    <a:pt x="4991" y="12915"/>
                    <a:pt x="4991" y="12915"/>
                    <a:pt x="4991" y="12915"/>
                  </a:cubicBezTo>
                  <a:cubicBezTo>
                    <a:pt x="4999" y="12928"/>
                    <a:pt x="4999" y="12928"/>
                    <a:pt x="4999" y="12928"/>
                  </a:cubicBezTo>
                  <a:cubicBezTo>
                    <a:pt x="4999" y="12928"/>
                    <a:pt x="5045" y="13005"/>
                    <a:pt x="5067" y="13092"/>
                  </a:cubicBezTo>
                  <a:cubicBezTo>
                    <a:pt x="5086" y="13165"/>
                    <a:pt x="5088" y="13255"/>
                    <a:pt x="5088" y="13292"/>
                  </a:cubicBezTo>
                  <a:close/>
                  <a:moveTo>
                    <a:pt x="5296" y="12967"/>
                  </a:moveTo>
                  <a:cubicBezTo>
                    <a:pt x="5315" y="13099"/>
                    <a:pt x="5315" y="13099"/>
                    <a:pt x="5315" y="13099"/>
                  </a:cubicBezTo>
                  <a:cubicBezTo>
                    <a:pt x="5234" y="13089"/>
                    <a:pt x="5234" y="13089"/>
                    <a:pt x="5234" y="13089"/>
                  </a:cubicBezTo>
                  <a:cubicBezTo>
                    <a:pt x="5189" y="13198"/>
                    <a:pt x="5189" y="13198"/>
                    <a:pt x="5189" y="13198"/>
                  </a:cubicBezTo>
                  <a:cubicBezTo>
                    <a:pt x="5301" y="13174"/>
                    <a:pt x="5301" y="13174"/>
                    <a:pt x="5301" y="13174"/>
                  </a:cubicBezTo>
                  <a:cubicBezTo>
                    <a:pt x="5298" y="13188"/>
                    <a:pt x="5293" y="13214"/>
                    <a:pt x="5288" y="13239"/>
                  </a:cubicBezTo>
                  <a:cubicBezTo>
                    <a:pt x="5282" y="13268"/>
                    <a:pt x="5276" y="13296"/>
                    <a:pt x="5274" y="13309"/>
                  </a:cubicBezTo>
                  <a:cubicBezTo>
                    <a:pt x="5273" y="13309"/>
                    <a:pt x="5273" y="13309"/>
                    <a:pt x="5272" y="13309"/>
                  </a:cubicBezTo>
                  <a:cubicBezTo>
                    <a:pt x="5267" y="13309"/>
                    <a:pt x="5260" y="13309"/>
                    <a:pt x="5251" y="13308"/>
                  </a:cubicBezTo>
                  <a:cubicBezTo>
                    <a:pt x="5234" y="13307"/>
                    <a:pt x="5211" y="13306"/>
                    <a:pt x="5188" y="13306"/>
                  </a:cubicBezTo>
                  <a:cubicBezTo>
                    <a:pt x="5152" y="13304"/>
                    <a:pt x="5117" y="13303"/>
                    <a:pt x="5103" y="13302"/>
                  </a:cubicBezTo>
                  <a:cubicBezTo>
                    <a:pt x="5103" y="13300"/>
                    <a:pt x="5103" y="13296"/>
                    <a:pt x="5103" y="13292"/>
                  </a:cubicBezTo>
                  <a:cubicBezTo>
                    <a:pt x="5103" y="13254"/>
                    <a:pt x="5100" y="13164"/>
                    <a:pt x="5081" y="13088"/>
                  </a:cubicBezTo>
                  <a:cubicBezTo>
                    <a:pt x="5064" y="13020"/>
                    <a:pt x="5033" y="12959"/>
                    <a:pt x="5019" y="12933"/>
                  </a:cubicBezTo>
                  <a:lnTo>
                    <a:pt x="5296" y="12967"/>
                  </a:lnTo>
                  <a:close/>
                  <a:moveTo>
                    <a:pt x="3161" y="10729"/>
                  </a:moveTo>
                  <a:cubicBezTo>
                    <a:pt x="3155" y="10731"/>
                    <a:pt x="3155" y="10731"/>
                    <a:pt x="3155" y="10731"/>
                  </a:cubicBezTo>
                  <a:cubicBezTo>
                    <a:pt x="3155" y="10731"/>
                    <a:pt x="3045" y="10780"/>
                    <a:pt x="3001" y="10811"/>
                  </a:cubicBezTo>
                  <a:cubicBezTo>
                    <a:pt x="2957" y="10841"/>
                    <a:pt x="2950" y="10858"/>
                    <a:pt x="2949" y="10860"/>
                  </a:cubicBezTo>
                  <a:cubicBezTo>
                    <a:pt x="2947" y="10867"/>
                    <a:pt x="2947" y="10867"/>
                    <a:pt x="2947" y="10867"/>
                  </a:cubicBezTo>
                  <a:cubicBezTo>
                    <a:pt x="3117" y="10936"/>
                    <a:pt x="3117" y="10936"/>
                    <a:pt x="3117" y="10936"/>
                  </a:cubicBezTo>
                  <a:cubicBezTo>
                    <a:pt x="3228" y="11088"/>
                    <a:pt x="3228" y="11088"/>
                    <a:pt x="3228" y="11088"/>
                  </a:cubicBezTo>
                  <a:cubicBezTo>
                    <a:pt x="3335" y="11028"/>
                    <a:pt x="3335" y="11028"/>
                    <a:pt x="3335" y="11028"/>
                  </a:cubicBezTo>
                  <a:cubicBezTo>
                    <a:pt x="3337" y="10951"/>
                    <a:pt x="3337" y="10951"/>
                    <a:pt x="3337" y="10951"/>
                  </a:cubicBezTo>
                  <a:cubicBezTo>
                    <a:pt x="3164" y="10733"/>
                    <a:pt x="3164" y="10733"/>
                    <a:pt x="3164" y="10733"/>
                  </a:cubicBezTo>
                  <a:lnTo>
                    <a:pt x="3161" y="10729"/>
                  </a:lnTo>
                  <a:close/>
                  <a:moveTo>
                    <a:pt x="3321" y="11019"/>
                  </a:moveTo>
                  <a:cubicBezTo>
                    <a:pt x="3232" y="11069"/>
                    <a:pt x="3232" y="11069"/>
                    <a:pt x="3232" y="11069"/>
                  </a:cubicBezTo>
                  <a:cubicBezTo>
                    <a:pt x="3127" y="10924"/>
                    <a:pt x="3127" y="10924"/>
                    <a:pt x="3127" y="10924"/>
                  </a:cubicBezTo>
                  <a:cubicBezTo>
                    <a:pt x="2967" y="10859"/>
                    <a:pt x="2967" y="10859"/>
                    <a:pt x="2967" y="10859"/>
                  </a:cubicBezTo>
                  <a:cubicBezTo>
                    <a:pt x="2968" y="10858"/>
                    <a:pt x="2969" y="10857"/>
                    <a:pt x="2970" y="10856"/>
                  </a:cubicBezTo>
                  <a:cubicBezTo>
                    <a:pt x="2976" y="10848"/>
                    <a:pt x="2988" y="10837"/>
                    <a:pt x="3009" y="10823"/>
                  </a:cubicBezTo>
                  <a:cubicBezTo>
                    <a:pt x="3045" y="10798"/>
                    <a:pt x="3134" y="10757"/>
                    <a:pt x="3156" y="10747"/>
                  </a:cubicBezTo>
                  <a:cubicBezTo>
                    <a:pt x="3322" y="10956"/>
                    <a:pt x="3322" y="10956"/>
                    <a:pt x="3322" y="10956"/>
                  </a:cubicBezTo>
                  <a:lnTo>
                    <a:pt x="3321" y="11019"/>
                  </a:lnTo>
                  <a:close/>
                  <a:moveTo>
                    <a:pt x="1252" y="15168"/>
                  </a:moveTo>
                  <a:cubicBezTo>
                    <a:pt x="1257" y="15163"/>
                    <a:pt x="1257" y="15163"/>
                    <a:pt x="1257" y="15163"/>
                  </a:cubicBezTo>
                  <a:cubicBezTo>
                    <a:pt x="1131" y="15034"/>
                    <a:pt x="1131" y="15034"/>
                    <a:pt x="1131" y="15034"/>
                  </a:cubicBezTo>
                  <a:cubicBezTo>
                    <a:pt x="1124" y="15134"/>
                    <a:pt x="1124" y="15134"/>
                    <a:pt x="1124" y="15134"/>
                  </a:cubicBezTo>
                  <a:cubicBezTo>
                    <a:pt x="1207" y="15215"/>
                    <a:pt x="1207" y="15215"/>
                    <a:pt x="1207" y="15215"/>
                  </a:cubicBezTo>
                  <a:lnTo>
                    <a:pt x="1252" y="15168"/>
                  </a:lnTo>
                  <a:close/>
                  <a:moveTo>
                    <a:pt x="1140" y="15129"/>
                  </a:moveTo>
                  <a:cubicBezTo>
                    <a:pt x="1143" y="15068"/>
                    <a:pt x="1143" y="15068"/>
                    <a:pt x="1143" y="15068"/>
                  </a:cubicBezTo>
                  <a:cubicBezTo>
                    <a:pt x="1236" y="15163"/>
                    <a:pt x="1236" y="15163"/>
                    <a:pt x="1236" y="15163"/>
                  </a:cubicBezTo>
                  <a:cubicBezTo>
                    <a:pt x="1207" y="15194"/>
                    <a:pt x="1207" y="15194"/>
                    <a:pt x="1207" y="15194"/>
                  </a:cubicBezTo>
                  <a:lnTo>
                    <a:pt x="1140" y="15129"/>
                  </a:lnTo>
                  <a:close/>
                  <a:moveTo>
                    <a:pt x="5190" y="15437"/>
                  </a:moveTo>
                  <a:cubicBezTo>
                    <a:pt x="5293" y="15414"/>
                    <a:pt x="5293" y="15414"/>
                    <a:pt x="5293" y="15414"/>
                  </a:cubicBezTo>
                  <a:cubicBezTo>
                    <a:pt x="5278" y="15286"/>
                    <a:pt x="5278" y="15286"/>
                    <a:pt x="5278" y="15286"/>
                  </a:cubicBezTo>
                  <a:cubicBezTo>
                    <a:pt x="5277" y="15279"/>
                    <a:pt x="5277" y="15279"/>
                    <a:pt x="5277" y="15279"/>
                  </a:cubicBezTo>
                  <a:cubicBezTo>
                    <a:pt x="5270" y="15279"/>
                    <a:pt x="5270" y="15279"/>
                    <a:pt x="5270" y="15279"/>
                  </a:cubicBezTo>
                  <a:cubicBezTo>
                    <a:pt x="5270" y="15279"/>
                    <a:pt x="5193" y="15279"/>
                    <a:pt x="5172" y="15280"/>
                  </a:cubicBezTo>
                  <a:cubicBezTo>
                    <a:pt x="5171" y="15280"/>
                    <a:pt x="5170" y="15280"/>
                    <a:pt x="5169" y="15280"/>
                  </a:cubicBezTo>
                  <a:cubicBezTo>
                    <a:pt x="5168" y="15280"/>
                    <a:pt x="5168" y="15280"/>
                    <a:pt x="5165" y="15280"/>
                  </a:cubicBezTo>
                  <a:cubicBezTo>
                    <a:pt x="5165" y="15281"/>
                    <a:pt x="5165" y="15281"/>
                    <a:pt x="5165" y="15281"/>
                  </a:cubicBezTo>
                  <a:cubicBezTo>
                    <a:pt x="5160" y="15282"/>
                    <a:pt x="5160" y="15286"/>
                    <a:pt x="5160" y="15286"/>
                  </a:cubicBezTo>
                  <a:cubicBezTo>
                    <a:pt x="5160" y="15287"/>
                    <a:pt x="5160" y="15287"/>
                    <a:pt x="5160" y="15288"/>
                  </a:cubicBezTo>
                  <a:cubicBezTo>
                    <a:pt x="5160" y="15298"/>
                    <a:pt x="5188" y="15429"/>
                    <a:pt x="5188" y="15430"/>
                  </a:cubicBezTo>
                  <a:lnTo>
                    <a:pt x="5190" y="15437"/>
                  </a:lnTo>
                  <a:close/>
                  <a:moveTo>
                    <a:pt x="5184" y="15294"/>
                  </a:moveTo>
                  <a:cubicBezTo>
                    <a:pt x="5194" y="15294"/>
                    <a:pt x="5207" y="15294"/>
                    <a:pt x="5220" y="15294"/>
                  </a:cubicBezTo>
                  <a:cubicBezTo>
                    <a:pt x="5237" y="15294"/>
                    <a:pt x="5255" y="15294"/>
                    <a:pt x="5264" y="15294"/>
                  </a:cubicBezTo>
                  <a:cubicBezTo>
                    <a:pt x="5277" y="15403"/>
                    <a:pt x="5277" y="15403"/>
                    <a:pt x="5277" y="15403"/>
                  </a:cubicBezTo>
                  <a:cubicBezTo>
                    <a:pt x="5201" y="15419"/>
                    <a:pt x="5201" y="15419"/>
                    <a:pt x="5201" y="15419"/>
                  </a:cubicBezTo>
                  <a:cubicBezTo>
                    <a:pt x="5199" y="15408"/>
                    <a:pt x="5194" y="15384"/>
                    <a:pt x="5189" y="15359"/>
                  </a:cubicBezTo>
                  <a:cubicBezTo>
                    <a:pt x="5183" y="15334"/>
                    <a:pt x="5178" y="15307"/>
                    <a:pt x="5176" y="15295"/>
                  </a:cubicBezTo>
                  <a:cubicBezTo>
                    <a:pt x="5178" y="15295"/>
                    <a:pt x="5181" y="15295"/>
                    <a:pt x="5184" y="15294"/>
                  </a:cubicBezTo>
                  <a:close/>
                  <a:moveTo>
                    <a:pt x="3876" y="9745"/>
                  </a:moveTo>
                  <a:cubicBezTo>
                    <a:pt x="3522" y="9290"/>
                    <a:pt x="3522" y="9290"/>
                    <a:pt x="3522" y="9290"/>
                  </a:cubicBezTo>
                  <a:cubicBezTo>
                    <a:pt x="3405" y="9784"/>
                    <a:pt x="3405" y="9784"/>
                    <a:pt x="3405" y="9784"/>
                  </a:cubicBezTo>
                  <a:cubicBezTo>
                    <a:pt x="3407" y="9786"/>
                    <a:pt x="3407" y="9786"/>
                    <a:pt x="3407" y="9786"/>
                  </a:cubicBezTo>
                  <a:cubicBezTo>
                    <a:pt x="3407" y="9787"/>
                    <a:pt x="3445" y="9851"/>
                    <a:pt x="3483" y="9918"/>
                  </a:cubicBezTo>
                  <a:cubicBezTo>
                    <a:pt x="3519" y="9981"/>
                    <a:pt x="3557" y="10048"/>
                    <a:pt x="3562" y="10059"/>
                  </a:cubicBezTo>
                  <a:cubicBezTo>
                    <a:pt x="3562" y="10060"/>
                    <a:pt x="3562" y="10061"/>
                    <a:pt x="3563" y="10063"/>
                  </a:cubicBezTo>
                  <a:cubicBezTo>
                    <a:pt x="3564" y="10065"/>
                    <a:pt x="3567" y="10066"/>
                    <a:pt x="3569" y="10066"/>
                  </a:cubicBezTo>
                  <a:cubicBezTo>
                    <a:pt x="3569" y="10066"/>
                    <a:pt x="3569" y="10066"/>
                    <a:pt x="3569" y="10066"/>
                  </a:cubicBezTo>
                  <a:cubicBezTo>
                    <a:pt x="3571" y="10067"/>
                    <a:pt x="3575" y="10065"/>
                    <a:pt x="3576" y="10063"/>
                  </a:cubicBezTo>
                  <a:cubicBezTo>
                    <a:pt x="3577" y="10061"/>
                    <a:pt x="3577" y="10060"/>
                    <a:pt x="3577" y="10059"/>
                  </a:cubicBezTo>
                  <a:cubicBezTo>
                    <a:pt x="3577" y="10058"/>
                    <a:pt x="3578" y="10057"/>
                    <a:pt x="3579" y="10054"/>
                  </a:cubicBezTo>
                  <a:cubicBezTo>
                    <a:pt x="3582" y="10050"/>
                    <a:pt x="3585" y="10045"/>
                    <a:pt x="3589" y="10038"/>
                  </a:cubicBezTo>
                  <a:cubicBezTo>
                    <a:pt x="3597" y="10024"/>
                    <a:pt x="3608" y="10005"/>
                    <a:pt x="3620" y="9986"/>
                  </a:cubicBezTo>
                  <a:cubicBezTo>
                    <a:pt x="3643" y="9947"/>
                    <a:pt x="3670" y="9905"/>
                    <a:pt x="3680" y="9886"/>
                  </a:cubicBezTo>
                  <a:cubicBezTo>
                    <a:pt x="3683" y="9881"/>
                    <a:pt x="3684" y="9879"/>
                    <a:pt x="3685" y="9876"/>
                  </a:cubicBezTo>
                  <a:cubicBezTo>
                    <a:pt x="3686" y="9875"/>
                    <a:pt x="3688" y="9874"/>
                    <a:pt x="3691" y="9872"/>
                  </a:cubicBezTo>
                  <a:cubicBezTo>
                    <a:pt x="3696" y="9869"/>
                    <a:pt x="3703" y="9864"/>
                    <a:pt x="3712" y="9858"/>
                  </a:cubicBezTo>
                  <a:cubicBezTo>
                    <a:pt x="3730" y="9847"/>
                    <a:pt x="3755" y="9832"/>
                    <a:pt x="3779" y="9817"/>
                  </a:cubicBezTo>
                  <a:cubicBezTo>
                    <a:pt x="3827" y="9787"/>
                    <a:pt x="3875" y="9758"/>
                    <a:pt x="3876" y="9758"/>
                  </a:cubicBezTo>
                  <a:cubicBezTo>
                    <a:pt x="3883" y="9754"/>
                    <a:pt x="3883" y="9754"/>
                    <a:pt x="3883" y="9754"/>
                  </a:cubicBezTo>
                  <a:cubicBezTo>
                    <a:pt x="3878" y="9747"/>
                    <a:pt x="3878" y="9747"/>
                    <a:pt x="3878" y="9747"/>
                  </a:cubicBezTo>
                  <a:lnTo>
                    <a:pt x="3876" y="9745"/>
                  </a:lnTo>
                  <a:close/>
                  <a:moveTo>
                    <a:pt x="3707" y="9844"/>
                  </a:moveTo>
                  <a:cubicBezTo>
                    <a:pt x="3688" y="9856"/>
                    <a:pt x="3677" y="9863"/>
                    <a:pt x="3673" y="9867"/>
                  </a:cubicBezTo>
                  <a:cubicBezTo>
                    <a:pt x="3673" y="9868"/>
                    <a:pt x="3672" y="9867"/>
                    <a:pt x="3671" y="9872"/>
                  </a:cubicBezTo>
                  <a:cubicBezTo>
                    <a:pt x="3671" y="9872"/>
                    <a:pt x="3671" y="9872"/>
                    <a:pt x="3671" y="9872"/>
                  </a:cubicBezTo>
                  <a:cubicBezTo>
                    <a:pt x="3670" y="9873"/>
                    <a:pt x="3669" y="9874"/>
                    <a:pt x="3668" y="9877"/>
                  </a:cubicBezTo>
                  <a:cubicBezTo>
                    <a:pt x="3666" y="9881"/>
                    <a:pt x="3663" y="9887"/>
                    <a:pt x="3659" y="9893"/>
                  </a:cubicBezTo>
                  <a:cubicBezTo>
                    <a:pt x="3651" y="9907"/>
                    <a:pt x="3639" y="9926"/>
                    <a:pt x="3628" y="9945"/>
                  </a:cubicBezTo>
                  <a:cubicBezTo>
                    <a:pt x="3606" y="9981"/>
                    <a:pt x="3581" y="10021"/>
                    <a:pt x="3570" y="10042"/>
                  </a:cubicBezTo>
                  <a:cubicBezTo>
                    <a:pt x="3569" y="10042"/>
                    <a:pt x="3569" y="10041"/>
                    <a:pt x="3569" y="10041"/>
                  </a:cubicBezTo>
                  <a:cubicBezTo>
                    <a:pt x="3565" y="10033"/>
                    <a:pt x="3559" y="10022"/>
                    <a:pt x="3552" y="10009"/>
                  </a:cubicBezTo>
                  <a:cubicBezTo>
                    <a:pt x="3537" y="9982"/>
                    <a:pt x="3517" y="9948"/>
                    <a:pt x="3498" y="9914"/>
                  </a:cubicBezTo>
                  <a:cubicBezTo>
                    <a:pt x="3463" y="9854"/>
                    <a:pt x="3429" y="9794"/>
                    <a:pt x="3421" y="9782"/>
                  </a:cubicBezTo>
                  <a:cubicBezTo>
                    <a:pt x="3529" y="9323"/>
                    <a:pt x="3529" y="9323"/>
                    <a:pt x="3529" y="9323"/>
                  </a:cubicBezTo>
                  <a:cubicBezTo>
                    <a:pt x="3861" y="9750"/>
                    <a:pt x="3861" y="9750"/>
                    <a:pt x="3861" y="9750"/>
                  </a:cubicBezTo>
                  <a:cubicBezTo>
                    <a:pt x="3836" y="9765"/>
                    <a:pt x="3754" y="9815"/>
                    <a:pt x="3707" y="9844"/>
                  </a:cubicBezTo>
                  <a:close/>
                  <a:moveTo>
                    <a:pt x="3666" y="9759"/>
                  </a:moveTo>
                  <a:cubicBezTo>
                    <a:pt x="3578" y="9498"/>
                    <a:pt x="3578" y="9498"/>
                    <a:pt x="3578" y="9498"/>
                  </a:cubicBezTo>
                  <a:cubicBezTo>
                    <a:pt x="3564" y="9499"/>
                    <a:pt x="3564" y="9499"/>
                    <a:pt x="3564" y="9499"/>
                  </a:cubicBezTo>
                  <a:cubicBezTo>
                    <a:pt x="3542" y="9814"/>
                    <a:pt x="3542" y="9814"/>
                    <a:pt x="3542" y="9814"/>
                  </a:cubicBezTo>
                  <a:cubicBezTo>
                    <a:pt x="3660" y="9762"/>
                    <a:pt x="3660" y="9762"/>
                    <a:pt x="3660" y="9762"/>
                  </a:cubicBezTo>
                  <a:lnTo>
                    <a:pt x="3666" y="9759"/>
                  </a:lnTo>
                  <a:close/>
                  <a:moveTo>
                    <a:pt x="3558" y="9791"/>
                  </a:moveTo>
                  <a:cubicBezTo>
                    <a:pt x="3576" y="9537"/>
                    <a:pt x="3576" y="9537"/>
                    <a:pt x="3576" y="9537"/>
                  </a:cubicBezTo>
                  <a:cubicBezTo>
                    <a:pt x="3648" y="9751"/>
                    <a:pt x="3648" y="9751"/>
                    <a:pt x="3648" y="9751"/>
                  </a:cubicBezTo>
                  <a:lnTo>
                    <a:pt x="3558" y="9791"/>
                  </a:lnTo>
                  <a:close/>
                  <a:moveTo>
                    <a:pt x="3091" y="10481"/>
                  </a:moveTo>
                  <a:cubicBezTo>
                    <a:pt x="2894" y="10506"/>
                    <a:pt x="2894" y="10506"/>
                    <a:pt x="2894" y="10506"/>
                  </a:cubicBezTo>
                  <a:cubicBezTo>
                    <a:pt x="2896" y="10514"/>
                    <a:pt x="2896" y="10514"/>
                    <a:pt x="2896" y="10514"/>
                  </a:cubicBezTo>
                  <a:cubicBezTo>
                    <a:pt x="2896" y="10514"/>
                    <a:pt x="2921" y="10660"/>
                    <a:pt x="2921" y="10680"/>
                  </a:cubicBezTo>
                  <a:cubicBezTo>
                    <a:pt x="2921" y="10681"/>
                    <a:pt x="2921" y="10681"/>
                    <a:pt x="2921" y="10681"/>
                  </a:cubicBezTo>
                  <a:cubicBezTo>
                    <a:pt x="2920" y="10681"/>
                    <a:pt x="2920" y="10682"/>
                    <a:pt x="2920" y="10683"/>
                  </a:cubicBezTo>
                  <a:cubicBezTo>
                    <a:pt x="2920" y="10685"/>
                    <a:pt x="2921" y="10688"/>
                    <a:pt x="2923" y="10689"/>
                  </a:cubicBezTo>
                  <a:cubicBezTo>
                    <a:pt x="2925" y="10691"/>
                    <a:pt x="2927" y="10691"/>
                    <a:pt x="2927" y="10691"/>
                  </a:cubicBezTo>
                  <a:cubicBezTo>
                    <a:pt x="2929" y="10690"/>
                    <a:pt x="2931" y="10690"/>
                    <a:pt x="2932" y="10689"/>
                  </a:cubicBezTo>
                  <a:cubicBezTo>
                    <a:pt x="2932" y="10689"/>
                    <a:pt x="2932" y="10689"/>
                    <a:pt x="2933" y="10689"/>
                  </a:cubicBezTo>
                  <a:cubicBezTo>
                    <a:pt x="2934" y="10688"/>
                    <a:pt x="2936" y="10687"/>
                    <a:pt x="2939" y="10686"/>
                  </a:cubicBezTo>
                  <a:cubicBezTo>
                    <a:pt x="2944" y="10683"/>
                    <a:pt x="2952" y="10680"/>
                    <a:pt x="2961" y="10676"/>
                  </a:cubicBezTo>
                  <a:cubicBezTo>
                    <a:pt x="2979" y="10668"/>
                    <a:pt x="3004" y="10658"/>
                    <a:pt x="3029" y="10647"/>
                  </a:cubicBezTo>
                  <a:cubicBezTo>
                    <a:pt x="3079" y="10626"/>
                    <a:pt x="3128" y="10605"/>
                    <a:pt x="3133" y="10602"/>
                  </a:cubicBezTo>
                  <a:cubicBezTo>
                    <a:pt x="3133" y="10600"/>
                    <a:pt x="3135" y="10603"/>
                    <a:pt x="3137" y="10595"/>
                  </a:cubicBezTo>
                  <a:cubicBezTo>
                    <a:pt x="3136" y="10594"/>
                    <a:pt x="3136" y="10592"/>
                    <a:pt x="3135" y="10591"/>
                  </a:cubicBezTo>
                  <a:cubicBezTo>
                    <a:pt x="3137" y="10587"/>
                    <a:pt x="3141" y="10577"/>
                    <a:pt x="3145" y="10569"/>
                  </a:cubicBezTo>
                  <a:cubicBezTo>
                    <a:pt x="3148" y="10562"/>
                    <a:pt x="3151" y="10556"/>
                    <a:pt x="3153" y="10552"/>
                  </a:cubicBezTo>
                  <a:cubicBezTo>
                    <a:pt x="3384" y="10533"/>
                    <a:pt x="3384" y="10533"/>
                    <a:pt x="3384" y="10533"/>
                  </a:cubicBezTo>
                  <a:cubicBezTo>
                    <a:pt x="3373" y="10522"/>
                    <a:pt x="3373" y="10522"/>
                    <a:pt x="3373" y="10522"/>
                  </a:cubicBezTo>
                  <a:cubicBezTo>
                    <a:pt x="3373" y="10522"/>
                    <a:pt x="3319" y="10467"/>
                    <a:pt x="3298" y="10453"/>
                  </a:cubicBezTo>
                  <a:cubicBezTo>
                    <a:pt x="3298" y="10452"/>
                    <a:pt x="3297" y="10452"/>
                    <a:pt x="3296" y="10451"/>
                  </a:cubicBezTo>
                  <a:cubicBezTo>
                    <a:pt x="3297" y="10449"/>
                    <a:pt x="3299" y="10446"/>
                    <a:pt x="3301" y="10443"/>
                  </a:cubicBezTo>
                  <a:cubicBezTo>
                    <a:pt x="3304" y="10435"/>
                    <a:pt x="3310" y="10425"/>
                    <a:pt x="3315" y="10416"/>
                  </a:cubicBezTo>
                  <a:cubicBezTo>
                    <a:pt x="3325" y="10397"/>
                    <a:pt x="3335" y="10380"/>
                    <a:pt x="3335" y="10380"/>
                  </a:cubicBezTo>
                  <a:cubicBezTo>
                    <a:pt x="3342" y="10369"/>
                    <a:pt x="3342" y="10369"/>
                    <a:pt x="3342" y="10369"/>
                  </a:cubicBezTo>
                  <a:cubicBezTo>
                    <a:pt x="3330" y="10369"/>
                    <a:pt x="3330" y="10369"/>
                    <a:pt x="3330" y="10369"/>
                  </a:cubicBezTo>
                  <a:cubicBezTo>
                    <a:pt x="3330" y="10368"/>
                    <a:pt x="3330" y="10368"/>
                    <a:pt x="3329" y="10368"/>
                  </a:cubicBezTo>
                  <a:cubicBezTo>
                    <a:pt x="3328" y="10366"/>
                    <a:pt x="3326" y="10364"/>
                    <a:pt x="3323" y="10362"/>
                  </a:cubicBezTo>
                  <a:cubicBezTo>
                    <a:pt x="3318" y="10356"/>
                    <a:pt x="3311" y="10349"/>
                    <a:pt x="3305" y="10342"/>
                  </a:cubicBezTo>
                  <a:cubicBezTo>
                    <a:pt x="3293" y="10327"/>
                    <a:pt x="3281" y="10313"/>
                    <a:pt x="3281" y="10313"/>
                  </a:cubicBezTo>
                  <a:cubicBezTo>
                    <a:pt x="3277" y="10308"/>
                    <a:pt x="3277" y="10308"/>
                    <a:pt x="3277" y="10308"/>
                  </a:cubicBezTo>
                  <a:cubicBezTo>
                    <a:pt x="3123" y="10380"/>
                    <a:pt x="3123" y="10380"/>
                    <a:pt x="3123" y="10380"/>
                  </a:cubicBezTo>
                  <a:lnTo>
                    <a:pt x="3091" y="10481"/>
                  </a:lnTo>
                  <a:close/>
                  <a:moveTo>
                    <a:pt x="3273" y="10327"/>
                  </a:moveTo>
                  <a:cubicBezTo>
                    <a:pt x="3282" y="10338"/>
                    <a:pt x="3307" y="10367"/>
                    <a:pt x="3319" y="10378"/>
                  </a:cubicBezTo>
                  <a:cubicBezTo>
                    <a:pt x="3312" y="10390"/>
                    <a:pt x="3296" y="10418"/>
                    <a:pt x="3287" y="10436"/>
                  </a:cubicBezTo>
                  <a:cubicBezTo>
                    <a:pt x="3283" y="10445"/>
                    <a:pt x="3281" y="10449"/>
                    <a:pt x="3280" y="10455"/>
                  </a:cubicBezTo>
                  <a:cubicBezTo>
                    <a:pt x="3280" y="10456"/>
                    <a:pt x="3280" y="10457"/>
                    <a:pt x="3281" y="10459"/>
                  </a:cubicBezTo>
                  <a:cubicBezTo>
                    <a:pt x="3282" y="10461"/>
                    <a:pt x="3285" y="10463"/>
                    <a:pt x="3287" y="10463"/>
                  </a:cubicBezTo>
                  <a:cubicBezTo>
                    <a:pt x="3288" y="10463"/>
                    <a:pt x="3289" y="10464"/>
                    <a:pt x="3290" y="10465"/>
                  </a:cubicBezTo>
                  <a:cubicBezTo>
                    <a:pt x="3292" y="10466"/>
                    <a:pt x="3296" y="10469"/>
                    <a:pt x="3299" y="10472"/>
                  </a:cubicBezTo>
                  <a:cubicBezTo>
                    <a:pt x="3307" y="10479"/>
                    <a:pt x="3317" y="10488"/>
                    <a:pt x="3326" y="10497"/>
                  </a:cubicBezTo>
                  <a:cubicBezTo>
                    <a:pt x="3335" y="10506"/>
                    <a:pt x="3344" y="10514"/>
                    <a:pt x="3351" y="10521"/>
                  </a:cubicBezTo>
                  <a:cubicBezTo>
                    <a:pt x="3144" y="10538"/>
                    <a:pt x="3144" y="10538"/>
                    <a:pt x="3144" y="10538"/>
                  </a:cubicBezTo>
                  <a:cubicBezTo>
                    <a:pt x="3142" y="10542"/>
                    <a:pt x="3142" y="10542"/>
                    <a:pt x="3142" y="10542"/>
                  </a:cubicBezTo>
                  <a:cubicBezTo>
                    <a:pt x="3142" y="10543"/>
                    <a:pt x="3123" y="10576"/>
                    <a:pt x="3120" y="10592"/>
                  </a:cubicBezTo>
                  <a:cubicBezTo>
                    <a:pt x="3117" y="10593"/>
                    <a:pt x="3113" y="10595"/>
                    <a:pt x="3108" y="10597"/>
                  </a:cubicBezTo>
                  <a:cubicBezTo>
                    <a:pt x="3097" y="10602"/>
                    <a:pt x="3081" y="10608"/>
                    <a:pt x="3064" y="10616"/>
                  </a:cubicBezTo>
                  <a:cubicBezTo>
                    <a:pt x="3029" y="10631"/>
                    <a:pt x="2987" y="10648"/>
                    <a:pt x="2959" y="10661"/>
                  </a:cubicBezTo>
                  <a:cubicBezTo>
                    <a:pt x="2949" y="10665"/>
                    <a:pt x="2941" y="10669"/>
                    <a:pt x="2935" y="10671"/>
                  </a:cubicBezTo>
                  <a:cubicBezTo>
                    <a:pt x="2932" y="10638"/>
                    <a:pt x="2916" y="10546"/>
                    <a:pt x="2911" y="10519"/>
                  </a:cubicBezTo>
                  <a:cubicBezTo>
                    <a:pt x="3102" y="10495"/>
                    <a:pt x="3102" y="10495"/>
                    <a:pt x="3102" y="10495"/>
                  </a:cubicBezTo>
                  <a:cubicBezTo>
                    <a:pt x="3135" y="10391"/>
                    <a:pt x="3135" y="10391"/>
                    <a:pt x="3135" y="10391"/>
                  </a:cubicBezTo>
                  <a:lnTo>
                    <a:pt x="3273" y="10327"/>
                  </a:lnTo>
                  <a:close/>
                  <a:moveTo>
                    <a:pt x="390" y="7360"/>
                  </a:moveTo>
                  <a:cubicBezTo>
                    <a:pt x="456" y="7316"/>
                    <a:pt x="456" y="7316"/>
                    <a:pt x="456" y="7316"/>
                  </a:cubicBezTo>
                  <a:cubicBezTo>
                    <a:pt x="462" y="7313"/>
                    <a:pt x="462" y="7313"/>
                    <a:pt x="462" y="7313"/>
                  </a:cubicBezTo>
                  <a:cubicBezTo>
                    <a:pt x="356" y="7154"/>
                    <a:pt x="356" y="7154"/>
                    <a:pt x="356" y="7154"/>
                  </a:cubicBezTo>
                  <a:cubicBezTo>
                    <a:pt x="284" y="7201"/>
                    <a:pt x="284" y="7201"/>
                    <a:pt x="284" y="7201"/>
                  </a:cubicBezTo>
                  <a:cubicBezTo>
                    <a:pt x="310" y="7241"/>
                    <a:pt x="310" y="7241"/>
                    <a:pt x="310" y="7241"/>
                  </a:cubicBezTo>
                  <a:cubicBezTo>
                    <a:pt x="262" y="7272"/>
                    <a:pt x="262" y="7272"/>
                    <a:pt x="262" y="7272"/>
                  </a:cubicBezTo>
                  <a:cubicBezTo>
                    <a:pt x="316" y="7353"/>
                    <a:pt x="316" y="7353"/>
                    <a:pt x="316" y="7353"/>
                  </a:cubicBezTo>
                  <a:cubicBezTo>
                    <a:pt x="364" y="7321"/>
                    <a:pt x="364" y="7321"/>
                    <a:pt x="364" y="7321"/>
                  </a:cubicBezTo>
                  <a:lnTo>
                    <a:pt x="390" y="7360"/>
                  </a:lnTo>
                  <a:close/>
                  <a:moveTo>
                    <a:pt x="281" y="7276"/>
                  </a:moveTo>
                  <a:cubicBezTo>
                    <a:pt x="328" y="7244"/>
                    <a:pt x="328" y="7244"/>
                    <a:pt x="328" y="7244"/>
                  </a:cubicBezTo>
                  <a:cubicBezTo>
                    <a:pt x="303" y="7205"/>
                    <a:pt x="303" y="7205"/>
                    <a:pt x="303" y="7205"/>
                  </a:cubicBezTo>
                  <a:cubicBezTo>
                    <a:pt x="353" y="7172"/>
                    <a:pt x="353" y="7172"/>
                    <a:pt x="353" y="7172"/>
                  </a:cubicBezTo>
                  <a:cubicBezTo>
                    <a:pt x="443" y="7309"/>
                    <a:pt x="443" y="7309"/>
                    <a:pt x="443" y="7309"/>
                  </a:cubicBezTo>
                  <a:cubicBezTo>
                    <a:pt x="393" y="7342"/>
                    <a:pt x="393" y="7342"/>
                    <a:pt x="393" y="7342"/>
                  </a:cubicBezTo>
                  <a:cubicBezTo>
                    <a:pt x="367" y="7303"/>
                    <a:pt x="367" y="7303"/>
                    <a:pt x="367" y="7303"/>
                  </a:cubicBezTo>
                  <a:cubicBezTo>
                    <a:pt x="319" y="7335"/>
                    <a:pt x="319" y="7335"/>
                    <a:pt x="319" y="7335"/>
                  </a:cubicBezTo>
                  <a:lnTo>
                    <a:pt x="281" y="7276"/>
                  </a:lnTo>
                  <a:close/>
                  <a:moveTo>
                    <a:pt x="207" y="7397"/>
                  </a:moveTo>
                  <a:cubicBezTo>
                    <a:pt x="158" y="7426"/>
                    <a:pt x="158" y="7426"/>
                    <a:pt x="158" y="7426"/>
                  </a:cubicBezTo>
                  <a:cubicBezTo>
                    <a:pt x="134" y="7386"/>
                    <a:pt x="134" y="7386"/>
                    <a:pt x="134" y="7386"/>
                  </a:cubicBezTo>
                  <a:cubicBezTo>
                    <a:pt x="65" y="7426"/>
                    <a:pt x="65" y="7426"/>
                    <a:pt x="65" y="7426"/>
                  </a:cubicBezTo>
                  <a:cubicBezTo>
                    <a:pt x="60" y="7429"/>
                    <a:pt x="60" y="7429"/>
                    <a:pt x="60" y="7429"/>
                  </a:cubicBezTo>
                  <a:cubicBezTo>
                    <a:pt x="156" y="7594"/>
                    <a:pt x="156" y="7594"/>
                    <a:pt x="156" y="7594"/>
                  </a:cubicBezTo>
                  <a:cubicBezTo>
                    <a:pt x="230" y="7551"/>
                    <a:pt x="230" y="7551"/>
                    <a:pt x="230" y="7551"/>
                  </a:cubicBezTo>
                  <a:cubicBezTo>
                    <a:pt x="207" y="7510"/>
                    <a:pt x="207" y="7510"/>
                    <a:pt x="207" y="7510"/>
                  </a:cubicBezTo>
                  <a:cubicBezTo>
                    <a:pt x="256" y="7481"/>
                    <a:pt x="256" y="7481"/>
                    <a:pt x="256" y="7481"/>
                  </a:cubicBezTo>
                  <a:lnTo>
                    <a:pt x="207" y="7397"/>
                  </a:lnTo>
                  <a:close/>
                  <a:moveTo>
                    <a:pt x="212" y="7546"/>
                  </a:moveTo>
                  <a:cubicBezTo>
                    <a:pt x="161" y="7576"/>
                    <a:pt x="161" y="7576"/>
                    <a:pt x="161" y="7576"/>
                  </a:cubicBezTo>
                  <a:cubicBezTo>
                    <a:pt x="78" y="7434"/>
                    <a:pt x="78" y="7434"/>
                    <a:pt x="78" y="7434"/>
                  </a:cubicBezTo>
                  <a:cubicBezTo>
                    <a:pt x="129" y="7404"/>
                    <a:pt x="129" y="7404"/>
                    <a:pt x="129" y="7404"/>
                  </a:cubicBezTo>
                  <a:cubicBezTo>
                    <a:pt x="153" y="7444"/>
                    <a:pt x="153" y="7444"/>
                    <a:pt x="153" y="7444"/>
                  </a:cubicBezTo>
                  <a:cubicBezTo>
                    <a:pt x="203" y="7415"/>
                    <a:pt x="203" y="7415"/>
                    <a:pt x="203" y="7415"/>
                  </a:cubicBezTo>
                  <a:cubicBezTo>
                    <a:pt x="238" y="7476"/>
                    <a:pt x="238" y="7476"/>
                    <a:pt x="238" y="7476"/>
                  </a:cubicBezTo>
                  <a:cubicBezTo>
                    <a:pt x="189" y="7505"/>
                    <a:pt x="189" y="7505"/>
                    <a:pt x="189" y="7505"/>
                  </a:cubicBezTo>
                  <a:lnTo>
                    <a:pt x="212" y="7546"/>
                  </a:lnTo>
                  <a:close/>
                  <a:moveTo>
                    <a:pt x="7105" y="11083"/>
                  </a:moveTo>
                  <a:cubicBezTo>
                    <a:pt x="6994" y="11048"/>
                    <a:pt x="6994" y="11048"/>
                    <a:pt x="6994" y="11048"/>
                  </a:cubicBezTo>
                  <a:cubicBezTo>
                    <a:pt x="6981" y="11089"/>
                    <a:pt x="6981" y="11089"/>
                    <a:pt x="6981" y="11089"/>
                  </a:cubicBezTo>
                  <a:cubicBezTo>
                    <a:pt x="6936" y="11074"/>
                    <a:pt x="6936" y="11074"/>
                    <a:pt x="6936" y="11074"/>
                  </a:cubicBezTo>
                  <a:cubicBezTo>
                    <a:pt x="6912" y="11150"/>
                    <a:pt x="6912" y="11150"/>
                    <a:pt x="6912" y="11150"/>
                  </a:cubicBezTo>
                  <a:cubicBezTo>
                    <a:pt x="6910" y="11157"/>
                    <a:pt x="6910" y="11157"/>
                    <a:pt x="6910" y="11157"/>
                  </a:cubicBezTo>
                  <a:cubicBezTo>
                    <a:pt x="7111" y="11220"/>
                    <a:pt x="7111" y="11220"/>
                    <a:pt x="7111" y="11220"/>
                  </a:cubicBezTo>
                  <a:cubicBezTo>
                    <a:pt x="7137" y="11138"/>
                    <a:pt x="7137" y="11138"/>
                    <a:pt x="7137" y="11138"/>
                  </a:cubicBezTo>
                  <a:cubicBezTo>
                    <a:pt x="7092" y="11124"/>
                    <a:pt x="7092" y="11124"/>
                    <a:pt x="7092" y="11124"/>
                  </a:cubicBezTo>
                  <a:lnTo>
                    <a:pt x="7105" y="11083"/>
                  </a:lnTo>
                  <a:close/>
                  <a:moveTo>
                    <a:pt x="7120" y="11146"/>
                  </a:moveTo>
                  <a:cubicBezTo>
                    <a:pt x="7102" y="11204"/>
                    <a:pt x="7102" y="11204"/>
                    <a:pt x="7102" y="11204"/>
                  </a:cubicBezTo>
                  <a:cubicBezTo>
                    <a:pt x="6926" y="11148"/>
                    <a:pt x="6926" y="11148"/>
                    <a:pt x="6926" y="11148"/>
                  </a:cubicBezTo>
                  <a:cubicBezTo>
                    <a:pt x="6945" y="11091"/>
                    <a:pt x="6945" y="11091"/>
                    <a:pt x="6945" y="11091"/>
                  </a:cubicBezTo>
                  <a:cubicBezTo>
                    <a:pt x="6989" y="11105"/>
                    <a:pt x="6989" y="11105"/>
                    <a:pt x="6989" y="11105"/>
                  </a:cubicBezTo>
                  <a:cubicBezTo>
                    <a:pt x="7002" y="11064"/>
                    <a:pt x="7002" y="11064"/>
                    <a:pt x="7002" y="11064"/>
                  </a:cubicBezTo>
                  <a:cubicBezTo>
                    <a:pt x="7088" y="11091"/>
                    <a:pt x="7088" y="11091"/>
                    <a:pt x="7088" y="11091"/>
                  </a:cubicBezTo>
                  <a:cubicBezTo>
                    <a:pt x="7076" y="11132"/>
                    <a:pt x="7076" y="11132"/>
                    <a:pt x="7076" y="11132"/>
                  </a:cubicBezTo>
                  <a:lnTo>
                    <a:pt x="7120" y="11146"/>
                  </a:lnTo>
                  <a:close/>
                  <a:moveTo>
                    <a:pt x="5217" y="9471"/>
                  </a:moveTo>
                  <a:cubicBezTo>
                    <a:pt x="5155" y="9470"/>
                    <a:pt x="5155" y="9470"/>
                    <a:pt x="5155" y="9470"/>
                  </a:cubicBezTo>
                  <a:cubicBezTo>
                    <a:pt x="5154" y="9562"/>
                    <a:pt x="5154" y="9562"/>
                    <a:pt x="5154" y="9562"/>
                  </a:cubicBezTo>
                  <a:cubicBezTo>
                    <a:pt x="5216" y="9562"/>
                    <a:pt x="5216" y="9562"/>
                    <a:pt x="5216" y="9562"/>
                  </a:cubicBezTo>
                  <a:cubicBezTo>
                    <a:pt x="5216" y="9607"/>
                    <a:pt x="5216" y="9607"/>
                    <a:pt x="5216" y="9607"/>
                  </a:cubicBezTo>
                  <a:cubicBezTo>
                    <a:pt x="5303" y="9608"/>
                    <a:pt x="5303" y="9608"/>
                    <a:pt x="5303" y="9608"/>
                  </a:cubicBezTo>
                  <a:cubicBezTo>
                    <a:pt x="5310" y="9608"/>
                    <a:pt x="5310" y="9608"/>
                    <a:pt x="5310" y="9608"/>
                  </a:cubicBezTo>
                  <a:cubicBezTo>
                    <a:pt x="5311" y="9427"/>
                    <a:pt x="5311" y="9427"/>
                    <a:pt x="5311" y="9427"/>
                  </a:cubicBezTo>
                  <a:cubicBezTo>
                    <a:pt x="5217" y="9426"/>
                    <a:pt x="5217" y="9426"/>
                    <a:pt x="5217" y="9426"/>
                  </a:cubicBezTo>
                  <a:lnTo>
                    <a:pt x="5217" y="9471"/>
                  </a:lnTo>
                  <a:close/>
                  <a:moveTo>
                    <a:pt x="5230" y="9439"/>
                  </a:moveTo>
                  <a:cubicBezTo>
                    <a:pt x="5298" y="9440"/>
                    <a:pt x="5298" y="9440"/>
                    <a:pt x="5298" y="9440"/>
                  </a:cubicBezTo>
                  <a:cubicBezTo>
                    <a:pt x="5297" y="9595"/>
                    <a:pt x="5297" y="9595"/>
                    <a:pt x="5297" y="9595"/>
                  </a:cubicBezTo>
                  <a:cubicBezTo>
                    <a:pt x="5229" y="9594"/>
                    <a:pt x="5229" y="9594"/>
                    <a:pt x="5229" y="9594"/>
                  </a:cubicBezTo>
                  <a:cubicBezTo>
                    <a:pt x="5230" y="9549"/>
                    <a:pt x="5230" y="9549"/>
                    <a:pt x="5230" y="9549"/>
                  </a:cubicBezTo>
                  <a:cubicBezTo>
                    <a:pt x="5168" y="9549"/>
                    <a:pt x="5168" y="9549"/>
                    <a:pt x="5168" y="9549"/>
                  </a:cubicBezTo>
                  <a:cubicBezTo>
                    <a:pt x="5168" y="9484"/>
                    <a:pt x="5168" y="9484"/>
                    <a:pt x="5168" y="9484"/>
                  </a:cubicBezTo>
                  <a:cubicBezTo>
                    <a:pt x="5230" y="9484"/>
                    <a:pt x="5230" y="9484"/>
                    <a:pt x="5230" y="9484"/>
                  </a:cubicBezTo>
                  <a:lnTo>
                    <a:pt x="5230" y="9439"/>
                  </a:lnTo>
                  <a:close/>
                  <a:moveTo>
                    <a:pt x="5348" y="10689"/>
                  </a:moveTo>
                  <a:cubicBezTo>
                    <a:pt x="5347" y="10682"/>
                    <a:pt x="5347" y="10682"/>
                    <a:pt x="5347" y="10682"/>
                  </a:cubicBezTo>
                  <a:cubicBezTo>
                    <a:pt x="5140" y="10724"/>
                    <a:pt x="5140" y="10724"/>
                    <a:pt x="5140" y="10724"/>
                  </a:cubicBezTo>
                  <a:cubicBezTo>
                    <a:pt x="5157" y="10808"/>
                    <a:pt x="5157" y="10808"/>
                    <a:pt x="5157" y="10808"/>
                  </a:cubicBezTo>
                  <a:cubicBezTo>
                    <a:pt x="5203" y="10799"/>
                    <a:pt x="5203" y="10799"/>
                    <a:pt x="5203" y="10799"/>
                  </a:cubicBezTo>
                  <a:cubicBezTo>
                    <a:pt x="5212" y="10841"/>
                    <a:pt x="5212" y="10841"/>
                    <a:pt x="5212" y="10841"/>
                  </a:cubicBezTo>
                  <a:cubicBezTo>
                    <a:pt x="5326" y="10818"/>
                    <a:pt x="5326" y="10818"/>
                    <a:pt x="5326" y="10818"/>
                  </a:cubicBezTo>
                  <a:cubicBezTo>
                    <a:pt x="5318" y="10776"/>
                    <a:pt x="5318" y="10776"/>
                    <a:pt x="5318" y="10776"/>
                  </a:cubicBezTo>
                  <a:cubicBezTo>
                    <a:pt x="5364" y="10767"/>
                    <a:pt x="5364" y="10767"/>
                    <a:pt x="5364" y="10767"/>
                  </a:cubicBezTo>
                  <a:lnTo>
                    <a:pt x="5348" y="10689"/>
                  </a:lnTo>
                  <a:close/>
                  <a:moveTo>
                    <a:pt x="5311" y="10808"/>
                  </a:moveTo>
                  <a:cubicBezTo>
                    <a:pt x="5222" y="10826"/>
                    <a:pt x="5222" y="10826"/>
                    <a:pt x="5222" y="10826"/>
                  </a:cubicBezTo>
                  <a:cubicBezTo>
                    <a:pt x="5213" y="10784"/>
                    <a:pt x="5213" y="10784"/>
                    <a:pt x="5213" y="10784"/>
                  </a:cubicBezTo>
                  <a:cubicBezTo>
                    <a:pt x="5167" y="10793"/>
                    <a:pt x="5167" y="10793"/>
                    <a:pt x="5167" y="10793"/>
                  </a:cubicBezTo>
                  <a:cubicBezTo>
                    <a:pt x="5156" y="10734"/>
                    <a:pt x="5156" y="10734"/>
                    <a:pt x="5156" y="10734"/>
                  </a:cubicBezTo>
                  <a:cubicBezTo>
                    <a:pt x="5336" y="10698"/>
                    <a:pt x="5336" y="10698"/>
                    <a:pt x="5336" y="10698"/>
                  </a:cubicBezTo>
                  <a:cubicBezTo>
                    <a:pt x="5348" y="10757"/>
                    <a:pt x="5348" y="10757"/>
                    <a:pt x="5348" y="10757"/>
                  </a:cubicBezTo>
                  <a:cubicBezTo>
                    <a:pt x="5302" y="10766"/>
                    <a:pt x="5302" y="10766"/>
                    <a:pt x="5302" y="10766"/>
                  </a:cubicBezTo>
                  <a:lnTo>
                    <a:pt x="5311" y="10808"/>
                  </a:lnTo>
                  <a:close/>
                  <a:moveTo>
                    <a:pt x="5321" y="11008"/>
                  </a:moveTo>
                  <a:cubicBezTo>
                    <a:pt x="5313" y="10966"/>
                    <a:pt x="5313" y="10966"/>
                    <a:pt x="5313" y="10966"/>
                  </a:cubicBezTo>
                  <a:cubicBezTo>
                    <a:pt x="5198" y="10989"/>
                    <a:pt x="5198" y="10989"/>
                    <a:pt x="5198" y="10989"/>
                  </a:cubicBezTo>
                  <a:cubicBezTo>
                    <a:pt x="5207" y="11031"/>
                    <a:pt x="5207" y="11031"/>
                    <a:pt x="5207" y="11031"/>
                  </a:cubicBezTo>
                  <a:cubicBezTo>
                    <a:pt x="5161" y="11040"/>
                    <a:pt x="5161" y="11040"/>
                    <a:pt x="5161" y="11040"/>
                  </a:cubicBezTo>
                  <a:cubicBezTo>
                    <a:pt x="5176" y="11118"/>
                    <a:pt x="5176" y="11118"/>
                    <a:pt x="5176" y="11118"/>
                  </a:cubicBezTo>
                  <a:cubicBezTo>
                    <a:pt x="5177" y="11125"/>
                    <a:pt x="5177" y="11125"/>
                    <a:pt x="5177" y="11125"/>
                  </a:cubicBezTo>
                  <a:cubicBezTo>
                    <a:pt x="5384" y="11083"/>
                    <a:pt x="5384" y="11083"/>
                    <a:pt x="5384" y="11083"/>
                  </a:cubicBezTo>
                  <a:cubicBezTo>
                    <a:pt x="5367" y="10999"/>
                    <a:pt x="5367" y="10999"/>
                    <a:pt x="5367" y="10999"/>
                  </a:cubicBezTo>
                  <a:lnTo>
                    <a:pt x="5321" y="11008"/>
                  </a:lnTo>
                  <a:close/>
                  <a:moveTo>
                    <a:pt x="5188" y="11109"/>
                  </a:moveTo>
                  <a:cubicBezTo>
                    <a:pt x="5176" y="11050"/>
                    <a:pt x="5176" y="11050"/>
                    <a:pt x="5176" y="11050"/>
                  </a:cubicBezTo>
                  <a:cubicBezTo>
                    <a:pt x="5222" y="11041"/>
                    <a:pt x="5222" y="11041"/>
                    <a:pt x="5222" y="11041"/>
                  </a:cubicBezTo>
                  <a:cubicBezTo>
                    <a:pt x="5214" y="10999"/>
                    <a:pt x="5214" y="10999"/>
                    <a:pt x="5214" y="10999"/>
                  </a:cubicBezTo>
                  <a:cubicBezTo>
                    <a:pt x="5302" y="10981"/>
                    <a:pt x="5302" y="10981"/>
                    <a:pt x="5302" y="10981"/>
                  </a:cubicBezTo>
                  <a:cubicBezTo>
                    <a:pt x="5311" y="11024"/>
                    <a:pt x="5311" y="11024"/>
                    <a:pt x="5311" y="11024"/>
                  </a:cubicBezTo>
                  <a:cubicBezTo>
                    <a:pt x="5357" y="11014"/>
                    <a:pt x="5357" y="11014"/>
                    <a:pt x="5357" y="11014"/>
                  </a:cubicBezTo>
                  <a:cubicBezTo>
                    <a:pt x="5369" y="11073"/>
                    <a:pt x="5369" y="11073"/>
                    <a:pt x="5369" y="11073"/>
                  </a:cubicBezTo>
                  <a:lnTo>
                    <a:pt x="5188" y="11109"/>
                  </a:lnTo>
                  <a:close/>
                  <a:moveTo>
                    <a:pt x="250" y="14622"/>
                  </a:moveTo>
                  <a:cubicBezTo>
                    <a:pt x="275" y="14586"/>
                    <a:pt x="275" y="14586"/>
                    <a:pt x="275" y="14586"/>
                  </a:cubicBezTo>
                  <a:cubicBezTo>
                    <a:pt x="314" y="14613"/>
                    <a:pt x="314" y="14613"/>
                    <a:pt x="314" y="14613"/>
                  </a:cubicBezTo>
                  <a:cubicBezTo>
                    <a:pt x="359" y="14547"/>
                    <a:pt x="359" y="14547"/>
                    <a:pt x="359" y="14547"/>
                  </a:cubicBezTo>
                  <a:cubicBezTo>
                    <a:pt x="363" y="14542"/>
                    <a:pt x="363" y="14542"/>
                    <a:pt x="363" y="14542"/>
                  </a:cubicBezTo>
                  <a:cubicBezTo>
                    <a:pt x="189" y="14422"/>
                    <a:pt x="189" y="14422"/>
                    <a:pt x="189" y="14422"/>
                  </a:cubicBezTo>
                  <a:cubicBezTo>
                    <a:pt x="140" y="14493"/>
                    <a:pt x="140" y="14493"/>
                    <a:pt x="140" y="14493"/>
                  </a:cubicBezTo>
                  <a:cubicBezTo>
                    <a:pt x="179" y="14520"/>
                    <a:pt x="179" y="14520"/>
                    <a:pt x="179" y="14520"/>
                  </a:cubicBezTo>
                  <a:cubicBezTo>
                    <a:pt x="154" y="14555"/>
                    <a:pt x="154" y="14555"/>
                    <a:pt x="154" y="14555"/>
                  </a:cubicBezTo>
                  <a:lnTo>
                    <a:pt x="250" y="14622"/>
                  </a:lnTo>
                  <a:close/>
                  <a:moveTo>
                    <a:pt x="158" y="14490"/>
                  </a:moveTo>
                  <a:cubicBezTo>
                    <a:pt x="192" y="14440"/>
                    <a:pt x="192" y="14440"/>
                    <a:pt x="192" y="14440"/>
                  </a:cubicBezTo>
                  <a:cubicBezTo>
                    <a:pt x="344" y="14545"/>
                    <a:pt x="344" y="14545"/>
                    <a:pt x="344" y="14545"/>
                  </a:cubicBezTo>
                  <a:cubicBezTo>
                    <a:pt x="310" y="14594"/>
                    <a:pt x="310" y="14594"/>
                    <a:pt x="310" y="14594"/>
                  </a:cubicBezTo>
                  <a:cubicBezTo>
                    <a:pt x="272" y="14568"/>
                    <a:pt x="272" y="14568"/>
                    <a:pt x="272" y="14568"/>
                  </a:cubicBezTo>
                  <a:cubicBezTo>
                    <a:pt x="247" y="14603"/>
                    <a:pt x="247" y="14603"/>
                    <a:pt x="247" y="14603"/>
                  </a:cubicBezTo>
                  <a:cubicBezTo>
                    <a:pt x="173" y="14552"/>
                    <a:pt x="173" y="14552"/>
                    <a:pt x="173" y="14552"/>
                  </a:cubicBezTo>
                  <a:cubicBezTo>
                    <a:pt x="197" y="14516"/>
                    <a:pt x="197" y="14516"/>
                    <a:pt x="197" y="14516"/>
                  </a:cubicBezTo>
                  <a:lnTo>
                    <a:pt x="158" y="14490"/>
                  </a:lnTo>
                  <a:close/>
                  <a:moveTo>
                    <a:pt x="15" y="14363"/>
                  </a:moveTo>
                  <a:cubicBezTo>
                    <a:pt x="49" y="14314"/>
                    <a:pt x="49" y="14314"/>
                    <a:pt x="49" y="14314"/>
                  </a:cubicBezTo>
                  <a:cubicBezTo>
                    <a:pt x="4" y="14283"/>
                    <a:pt x="4" y="14283"/>
                    <a:pt x="4" y="14283"/>
                  </a:cubicBezTo>
                  <a:cubicBezTo>
                    <a:pt x="4" y="14267"/>
                    <a:pt x="4" y="14267"/>
                    <a:pt x="4" y="14267"/>
                  </a:cubicBezTo>
                  <a:cubicBezTo>
                    <a:pt x="67" y="14310"/>
                    <a:pt x="67" y="14310"/>
                    <a:pt x="67" y="14310"/>
                  </a:cubicBezTo>
                  <a:cubicBezTo>
                    <a:pt x="63" y="14316"/>
                    <a:pt x="63" y="14316"/>
                    <a:pt x="63" y="14316"/>
                  </a:cubicBezTo>
                  <a:cubicBezTo>
                    <a:pt x="18" y="14382"/>
                    <a:pt x="18" y="14382"/>
                    <a:pt x="18" y="14382"/>
                  </a:cubicBezTo>
                  <a:cubicBezTo>
                    <a:pt x="4" y="14372"/>
                    <a:pt x="4" y="14372"/>
                    <a:pt x="4" y="14372"/>
                  </a:cubicBezTo>
                  <a:cubicBezTo>
                    <a:pt x="4" y="14356"/>
                    <a:pt x="4" y="14356"/>
                    <a:pt x="4" y="14356"/>
                  </a:cubicBezTo>
                  <a:lnTo>
                    <a:pt x="15" y="14363"/>
                  </a:lnTo>
                  <a:close/>
                  <a:moveTo>
                    <a:pt x="5139" y="5530"/>
                  </a:moveTo>
                  <a:cubicBezTo>
                    <a:pt x="5092" y="5526"/>
                    <a:pt x="5092" y="5526"/>
                    <a:pt x="5092" y="5526"/>
                  </a:cubicBezTo>
                  <a:cubicBezTo>
                    <a:pt x="5096" y="5483"/>
                    <a:pt x="5096" y="5483"/>
                    <a:pt x="5096" y="5483"/>
                  </a:cubicBezTo>
                  <a:cubicBezTo>
                    <a:pt x="4979" y="5474"/>
                    <a:pt x="4979" y="5474"/>
                    <a:pt x="4979" y="5474"/>
                  </a:cubicBezTo>
                  <a:cubicBezTo>
                    <a:pt x="4976" y="5517"/>
                    <a:pt x="4976" y="5517"/>
                    <a:pt x="4976" y="5517"/>
                  </a:cubicBezTo>
                  <a:cubicBezTo>
                    <a:pt x="4929" y="5514"/>
                    <a:pt x="4929" y="5514"/>
                    <a:pt x="4929" y="5514"/>
                  </a:cubicBezTo>
                  <a:cubicBezTo>
                    <a:pt x="4923" y="5593"/>
                    <a:pt x="4923" y="5593"/>
                    <a:pt x="4923" y="5593"/>
                  </a:cubicBezTo>
                  <a:cubicBezTo>
                    <a:pt x="4923" y="5600"/>
                    <a:pt x="4923" y="5600"/>
                    <a:pt x="4923" y="5600"/>
                  </a:cubicBezTo>
                  <a:cubicBezTo>
                    <a:pt x="5133" y="5615"/>
                    <a:pt x="5133" y="5615"/>
                    <a:pt x="5133" y="5615"/>
                  </a:cubicBezTo>
                  <a:lnTo>
                    <a:pt x="5139" y="5530"/>
                  </a:lnTo>
                  <a:close/>
                  <a:moveTo>
                    <a:pt x="5121" y="5601"/>
                  </a:moveTo>
                  <a:cubicBezTo>
                    <a:pt x="4937" y="5588"/>
                    <a:pt x="4937" y="5588"/>
                    <a:pt x="4937" y="5588"/>
                  </a:cubicBezTo>
                  <a:cubicBezTo>
                    <a:pt x="4941" y="5528"/>
                    <a:pt x="4941" y="5528"/>
                    <a:pt x="4941" y="5528"/>
                  </a:cubicBezTo>
                  <a:cubicBezTo>
                    <a:pt x="4988" y="5531"/>
                    <a:pt x="4988" y="5531"/>
                    <a:pt x="4988" y="5531"/>
                  </a:cubicBezTo>
                  <a:cubicBezTo>
                    <a:pt x="4991" y="5488"/>
                    <a:pt x="4991" y="5488"/>
                    <a:pt x="4991" y="5488"/>
                  </a:cubicBezTo>
                  <a:cubicBezTo>
                    <a:pt x="5082" y="5495"/>
                    <a:pt x="5082" y="5495"/>
                    <a:pt x="5082" y="5495"/>
                  </a:cubicBezTo>
                  <a:cubicBezTo>
                    <a:pt x="5078" y="5538"/>
                    <a:pt x="5078" y="5538"/>
                    <a:pt x="5078" y="5538"/>
                  </a:cubicBezTo>
                  <a:cubicBezTo>
                    <a:pt x="5125" y="5542"/>
                    <a:pt x="5125" y="5542"/>
                    <a:pt x="5125" y="5542"/>
                  </a:cubicBezTo>
                  <a:lnTo>
                    <a:pt x="5121" y="5601"/>
                  </a:lnTo>
                  <a:close/>
                  <a:moveTo>
                    <a:pt x="4944" y="5039"/>
                  </a:moveTo>
                  <a:cubicBezTo>
                    <a:pt x="4903" y="5052"/>
                    <a:pt x="4903" y="5052"/>
                    <a:pt x="4903" y="5052"/>
                  </a:cubicBezTo>
                  <a:cubicBezTo>
                    <a:pt x="4889" y="5007"/>
                    <a:pt x="4889" y="5007"/>
                    <a:pt x="4889" y="5007"/>
                  </a:cubicBezTo>
                  <a:cubicBezTo>
                    <a:pt x="4813" y="5032"/>
                    <a:pt x="4813" y="5032"/>
                    <a:pt x="4813" y="5032"/>
                  </a:cubicBezTo>
                  <a:cubicBezTo>
                    <a:pt x="4807" y="5034"/>
                    <a:pt x="4807" y="5034"/>
                    <a:pt x="4807" y="5034"/>
                  </a:cubicBezTo>
                  <a:cubicBezTo>
                    <a:pt x="4872" y="5234"/>
                    <a:pt x="4872" y="5234"/>
                    <a:pt x="4872" y="5234"/>
                  </a:cubicBezTo>
                  <a:cubicBezTo>
                    <a:pt x="4954" y="5207"/>
                    <a:pt x="4954" y="5207"/>
                    <a:pt x="4954" y="5207"/>
                  </a:cubicBezTo>
                  <a:cubicBezTo>
                    <a:pt x="4939" y="5163"/>
                    <a:pt x="4939" y="5163"/>
                    <a:pt x="4939" y="5163"/>
                  </a:cubicBezTo>
                  <a:cubicBezTo>
                    <a:pt x="4980" y="5150"/>
                    <a:pt x="4980" y="5150"/>
                    <a:pt x="4980" y="5150"/>
                  </a:cubicBezTo>
                  <a:lnTo>
                    <a:pt x="4944" y="5039"/>
                  </a:lnTo>
                  <a:close/>
                  <a:moveTo>
                    <a:pt x="4937" y="5199"/>
                  </a:moveTo>
                  <a:cubicBezTo>
                    <a:pt x="4880" y="5218"/>
                    <a:pt x="4880" y="5218"/>
                    <a:pt x="4880" y="5218"/>
                  </a:cubicBezTo>
                  <a:cubicBezTo>
                    <a:pt x="4823" y="5042"/>
                    <a:pt x="4823" y="5042"/>
                    <a:pt x="4823" y="5042"/>
                  </a:cubicBezTo>
                  <a:cubicBezTo>
                    <a:pt x="4880" y="5024"/>
                    <a:pt x="4880" y="5024"/>
                    <a:pt x="4880" y="5024"/>
                  </a:cubicBezTo>
                  <a:cubicBezTo>
                    <a:pt x="4895" y="5068"/>
                    <a:pt x="4895" y="5068"/>
                    <a:pt x="4895" y="5068"/>
                  </a:cubicBezTo>
                  <a:cubicBezTo>
                    <a:pt x="4936" y="5055"/>
                    <a:pt x="4936" y="5055"/>
                    <a:pt x="4936" y="5055"/>
                  </a:cubicBezTo>
                  <a:cubicBezTo>
                    <a:pt x="4964" y="5141"/>
                    <a:pt x="4964" y="5141"/>
                    <a:pt x="4964" y="5141"/>
                  </a:cubicBezTo>
                  <a:cubicBezTo>
                    <a:pt x="4923" y="5154"/>
                    <a:pt x="4923" y="5154"/>
                    <a:pt x="4923" y="5154"/>
                  </a:cubicBezTo>
                  <a:lnTo>
                    <a:pt x="4937" y="5199"/>
                  </a:lnTo>
                  <a:close/>
                  <a:moveTo>
                    <a:pt x="4567" y="4708"/>
                  </a:moveTo>
                  <a:cubicBezTo>
                    <a:pt x="4497" y="4670"/>
                    <a:pt x="4497" y="4670"/>
                    <a:pt x="4497" y="4670"/>
                  </a:cubicBezTo>
                  <a:cubicBezTo>
                    <a:pt x="4491" y="4667"/>
                    <a:pt x="4491" y="4667"/>
                    <a:pt x="4491" y="4667"/>
                  </a:cubicBezTo>
                  <a:cubicBezTo>
                    <a:pt x="4390" y="4852"/>
                    <a:pt x="4390" y="4852"/>
                    <a:pt x="4390" y="4852"/>
                  </a:cubicBezTo>
                  <a:cubicBezTo>
                    <a:pt x="4466" y="4893"/>
                    <a:pt x="4466" y="4893"/>
                    <a:pt x="4466" y="4893"/>
                  </a:cubicBezTo>
                  <a:cubicBezTo>
                    <a:pt x="4489" y="4852"/>
                    <a:pt x="4489" y="4852"/>
                    <a:pt x="4489" y="4852"/>
                  </a:cubicBezTo>
                  <a:cubicBezTo>
                    <a:pt x="4526" y="4873"/>
                    <a:pt x="4526" y="4873"/>
                    <a:pt x="4526" y="4873"/>
                  </a:cubicBezTo>
                  <a:cubicBezTo>
                    <a:pt x="4582" y="4770"/>
                    <a:pt x="4582" y="4770"/>
                    <a:pt x="4582" y="4770"/>
                  </a:cubicBezTo>
                  <a:cubicBezTo>
                    <a:pt x="4544" y="4750"/>
                    <a:pt x="4544" y="4750"/>
                    <a:pt x="4544" y="4750"/>
                  </a:cubicBezTo>
                  <a:lnTo>
                    <a:pt x="4567" y="4708"/>
                  </a:lnTo>
                  <a:close/>
                  <a:moveTo>
                    <a:pt x="4564" y="4775"/>
                  </a:moveTo>
                  <a:cubicBezTo>
                    <a:pt x="4521" y="4855"/>
                    <a:pt x="4521" y="4855"/>
                    <a:pt x="4521" y="4855"/>
                  </a:cubicBezTo>
                  <a:cubicBezTo>
                    <a:pt x="4483" y="4834"/>
                    <a:pt x="4483" y="4834"/>
                    <a:pt x="4483" y="4834"/>
                  </a:cubicBezTo>
                  <a:cubicBezTo>
                    <a:pt x="4461" y="4876"/>
                    <a:pt x="4461" y="4876"/>
                    <a:pt x="4461" y="4876"/>
                  </a:cubicBezTo>
                  <a:cubicBezTo>
                    <a:pt x="4408" y="4847"/>
                    <a:pt x="4408" y="4847"/>
                    <a:pt x="4408" y="4847"/>
                  </a:cubicBezTo>
                  <a:cubicBezTo>
                    <a:pt x="4496" y="4685"/>
                    <a:pt x="4496" y="4685"/>
                    <a:pt x="4496" y="4685"/>
                  </a:cubicBezTo>
                  <a:cubicBezTo>
                    <a:pt x="4549" y="4714"/>
                    <a:pt x="4549" y="4714"/>
                    <a:pt x="4549" y="4714"/>
                  </a:cubicBezTo>
                  <a:cubicBezTo>
                    <a:pt x="4526" y="4755"/>
                    <a:pt x="4526" y="4755"/>
                    <a:pt x="4526" y="4755"/>
                  </a:cubicBezTo>
                  <a:lnTo>
                    <a:pt x="4564" y="4775"/>
                  </a:lnTo>
                  <a:close/>
                  <a:moveTo>
                    <a:pt x="3916" y="4715"/>
                  </a:moveTo>
                  <a:cubicBezTo>
                    <a:pt x="3954" y="4736"/>
                    <a:pt x="3954" y="4736"/>
                    <a:pt x="3954" y="4736"/>
                  </a:cubicBezTo>
                  <a:cubicBezTo>
                    <a:pt x="4009" y="4633"/>
                    <a:pt x="4009" y="4633"/>
                    <a:pt x="4009" y="4633"/>
                  </a:cubicBezTo>
                  <a:cubicBezTo>
                    <a:pt x="3972" y="4613"/>
                    <a:pt x="3972" y="4613"/>
                    <a:pt x="3972" y="4613"/>
                  </a:cubicBezTo>
                  <a:cubicBezTo>
                    <a:pt x="3994" y="4572"/>
                    <a:pt x="3994" y="4572"/>
                    <a:pt x="3994" y="4572"/>
                  </a:cubicBezTo>
                  <a:cubicBezTo>
                    <a:pt x="3924" y="4534"/>
                    <a:pt x="3924" y="4534"/>
                    <a:pt x="3924" y="4534"/>
                  </a:cubicBezTo>
                  <a:cubicBezTo>
                    <a:pt x="3918" y="4530"/>
                    <a:pt x="3918" y="4530"/>
                    <a:pt x="3918" y="4530"/>
                  </a:cubicBezTo>
                  <a:cubicBezTo>
                    <a:pt x="3818" y="4716"/>
                    <a:pt x="3818" y="4716"/>
                    <a:pt x="3818" y="4716"/>
                  </a:cubicBezTo>
                  <a:cubicBezTo>
                    <a:pt x="3894" y="4757"/>
                    <a:pt x="3894" y="4757"/>
                    <a:pt x="3894" y="4757"/>
                  </a:cubicBezTo>
                  <a:lnTo>
                    <a:pt x="3916" y="4715"/>
                  </a:lnTo>
                  <a:close/>
                  <a:moveTo>
                    <a:pt x="3836" y="4710"/>
                  </a:moveTo>
                  <a:cubicBezTo>
                    <a:pt x="3923" y="4548"/>
                    <a:pt x="3923" y="4548"/>
                    <a:pt x="3923" y="4548"/>
                  </a:cubicBezTo>
                  <a:cubicBezTo>
                    <a:pt x="3976" y="4577"/>
                    <a:pt x="3976" y="4577"/>
                    <a:pt x="3976" y="4577"/>
                  </a:cubicBezTo>
                  <a:cubicBezTo>
                    <a:pt x="3954" y="4618"/>
                    <a:pt x="3954" y="4618"/>
                    <a:pt x="3954" y="4618"/>
                  </a:cubicBezTo>
                  <a:cubicBezTo>
                    <a:pt x="3992" y="4639"/>
                    <a:pt x="3992" y="4639"/>
                    <a:pt x="3992" y="4639"/>
                  </a:cubicBezTo>
                  <a:cubicBezTo>
                    <a:pt x="3949" y="4718"/>
                    <a:pt x="3949" y="4718"/>
                    <a:pt x="3949" y="4718"/>
                  </a:cubicBezTo>
                  <a:cubicBezTo>
                    <a:pt x="3911" y="4698"/>
                    <a:pt x="3911" y="4698"/>
                    <a:pt x="3911" y="4698"/>
                  </a:cubicBezTo>
                  <a:cubicBezTo>
                    <a:pt x="3888" y="4739"/>
                    <a:pt x="3888" y="4739"/>
                    <a:pt x="3888" y="4739"/>
                  </a:cubicBezTo>
                  <a:lnTo>
                    <a:pt x="3836" y="4710"/>
                  </a:lnTo>
                  <a:close/>
                  <a:moveTo>
                    <a:pt x="4215" y="4805"/>
                  </a:moveTo>
                  <a:cubicBezTo>
                    <a:pt x="4285" y="4843"/>
                    <a:pt x="4285" y="4843"/>
                    <a:pt x="4285" y="4843"/>
                  </a:cubicBezTo>
                  <a:cubicBezTo>
                    <a:pt x="4290" y="4846"/>
                    <a:pt x="4290" y="4846"/>
                    <a:pt x="4290" y="4846"/>
                  </a:cubicBezTo>
                  <a:cubicBezTo>
                    <a:pt x="4391" y="4660"/>
                    <a:pt x="4391" y="4660"/>
                    <a:pt x="4391" y="4660"/>
                  </a:cubicBezTo>
                  <a:cubicBezTo>
                    <a:pt x="4315" y="4619"/>
                    <a:pt x="4315" y="4619"/>
                    <a:pt x="4315" y="4619"/>
                  </a:cubicBezTo>
                  <a:cubicBezTo>
                    <a:pt x="4293" y="4661"/>
                    <a:pt x="4293" y="4661"/>
                    <a:pt x="4293" y="4661"/>
                  </a:cubicBezTo>
                  <a:cubicBezTo>
                    <a:pt x="4255" y="4640"/>
                    <a:pt x="4255" y="4640"/>
                    <a:pt x="4255" y="4640"/>
                  </a:cubicBezTo>
                  <a:cubicBezTo>
                    <a:pt x="4199" y="4743"/>
                    <a:pt x="4199" y="4743"/>
                    <a:pt x="4199" y="4743"/>
                  </a:cubicBezTo>
                  <a:cubicBezTo>
                    <a:pt x="4237" y="4763"/>
                    <a:pt x="4237" y="4763"/>
                    <a:pt x="4237" y="4763"/>
                  </a:cubicBezTo>
                  <a:lnTo>
                    <a:pt x="4215" y="4805"/>
                  </a:lnTo>
                  <a:close/>
                  <a:moveTo>
                    <a:pt x="4217" y="4737"/>
                  </a:moveTo>
                  <a:cubicBezTo>
                    <a:pt x="4260" y="4658"/>
                    <a:pt x="4260" y="4658"/>
                    <a:pt x="4260" y="4658"/>
                  </a:cubicBezTo>
                  <a:cubicBezTo>
                    <a:pt x="4298" y="4678"/>
                    <a:pt x="4298" y="4678"/>
                    <a:pt x="4298" y="4678"/>
                  </a:cubicBezTo>
                  <a:cubicBezTo>
                    <a:pt x="4320" y="4637"/>
                    <a:pt x="4320" y="4637"/>
                    <a:pt x="4320" y="4637"/>
                  </a:cubicBezTo>
                  <a:cubicBezTo>
                    <a:pt x="4373" y="4666"/>
                    <a:pt x="4373" y="4666"/>
                    <a:pt x="4373" y="4666"/>
                  </a:cubicBezTo>
                  <a:cubicBezTo>
                    <a:pt x="4285" y="4828"/>
                    <a:pt x="4285" y="4828"/>
                    <a:pt x="4285" y="4828"/>
                  </a:cubicBezTo>
                  <a:cubicBezTo>
                    <a:pt x="4232" y="4799"/>
                    <a:pt x="4232" y="4799"/>
                    <a:pt x="4232" y="4799"/>
                  </a:cubicBezTo>
                  <a:cubicBezTo>
                    <a:pt x="4255" y="4758"/>
                    <a:pt x="4255" y="4758"/>
                    <a:pt x="4255" y="4758"/>
                  </a:cubicBezTo>
                  <a:lnTo>
                    <a:pt x="4217" y="4737"/>
                  </a:lnTo>
                  <a:close/>
                  <a:moveTo>
                    <a:pt x="4303" y="16468"/>
                  </a:moveTo>
                  <a:cubicBezTo>
                    <a:pt x="4228" y="16468"/>
                    <a:pt x="4228" y="16468"/>
                    <a:pt x="4228" y="16468"/>
                  </a:cubicBezTo>
                  <a:cubicBezTo>
                    <a:pt x="4228" y="16497"/>
                    <a:pt x="4228" y="16497"/>
                    <a:pt x="4228" y="16497"/>
                  </a:cubicBezTo>
                  <a:cubicBezTo>
                    <a:pt x="4165" y="16497"/>
                    <a:pt x="4165" y="16497"/>
                    <a:pt x="4165" y="16497"/>
                  </a:cubicBezTo>
                  <a:cubicBezTo>
                    <a:pt x="4165" y="16531"/>
                    <a:pt x="4165" y="16531"/>
                    <a:pt x="4165" y="16531"/>
                  </a:cubicBezTo>
                  <a:cubicBezTo>
                    <a:pt x="4139" y="16531"/>
                    <a:pt x="4139" y="16531"/>
                    <a:pt x="4139" y="16531"/>
                  </a:cubicBezTo>
                  <a:cubicBezTo>
                    <a:pt x="4139" y="16607"/>
                    <a:pt x="4139" y="16607"/>
                    <a:pt x="4139" y="16607"/>
                  </a:cubicBezTo>
                  <a:cubicBezTo>
                    <a:pt x="4145" y="16607"/>
                    <a:pt x="4145" y="16607"/>
                    <a:pt x="4145" y="16607"/>
                  </a:cubicBezTo>
                  <a:cubicBezTo>
                    <a:pt x="4160" y="16607"/>
                    <a:pt x="4160" y="16607"/>
                    <a:pt x="4160" y="16607"/>
                  </a:cubicBezTo>
                  <a:cubicBezTo>
                    <a:pt x="4160" y="16647"/>
                    <a:pt x="4160" y="16647"/>
                    <a:pt x="4160" y="16647"/>
                  </a:cubicBezTo>
                  <a:cubicBezTo>
                    <a:pt x="4165" y="16648"/>
                    <a:pt x="4165" y="16648"/>
                    <a:pt x="4165" y="16648"/>
                  </a:cubicBezTo>
                  <a:cubicBezTo>
                    <a:pt x="4175" y="16650"/>
                    <a:pt x="4175" y="16650"/>
                    <a:pt x="4175" y="16650"/>
                  </a:cubicBezTo>
                  <a:cubicBezTo>
                    <a:pt x="4175" y="16690"/>
                    <a:pt x="4175" y="16690"/>
                    <a:pt x="4175" y="16690"/>
                  </a:cubicBezTo>
                  <a:cubicBezTo>
                    <a:pt x="4272" y="16690"/>
                    <a:pt x="4272" y="16690"/>
                    <a:pt x="4272" y="16690"/>
                  </a:cubicBezTo>
                  <a:cubicBezTo>
                    <a:pt x="4272" y="16654"/>
                    <a:pt x="4272" y="16654"/>
                    <a:pt x="4272" y="16654"/>
                  </a:cubicBezTo>
                  <a:cubicBezTo>
                    <a:pt x="4350" y="16654"/>
                    <a:pt x="4350" y="16654"/>
                    <a:pt x="4350" y="16654"/>
                  </a:cubicBezTo>
                  <a:cubicBezTo>
                    <a:pt x="4350" y="16497"/>
                    <a:pt x="4350" y="16497"/>
                    <a:pt x="4350" y="16497"/>
                  </a:cubicBezTo>
                  <a:cubicBezTo>
                    <a:pt x="4303" y="16497"/>
                    <a:pt x="4303" y="16497"/>
                    <a:pt x="4303" y="16497"/>
                  </a:cubicBezTo>
                  <a:lnTo>
                    <a:pt x="4303" y="16468"/>
                  </a:lnTo>
                  <a:close/>
                  <a:moveTo>
                    <a:pt x="4337" y="16510"/>
                  </a:moveTo>
                  <a:cubicBezTo>
                    <a:pt x="4337" y="16641"/>
                    <a:pt x="4337" y="16641"/>
                    <a:pt x="4337" y="16641"/>
                  </a:cubicBezTo>
                  <a:cubicBezTo>
                    <a:pt x="4259" y="16641"/>
                    <a:pt x="4259" y="16641"/>
                    <a:pt x="4259" y="16641"/>
                  </a:cubicBezTo>
                  <a:cubicBezTo>
                    <a:pt x="4259" y="16677"/>
                    <a:pt x="4259" y="16677"/>
                    <a:pt x="4259" y="16677"/>
                  </a:cubicBezTo>
                  <a:cubicBezTo>
                    <a:pt x="4188" y="16677"/>
                    <a:pt x="4188" y="16677"/>
                    <a:pt x="4188" y="16677"/>
                  </a:cubicBezTo>
                  <a:cubicBezTo>
                    <a:pt x="4188" y="16645"/>
                    <a:pt x="4188" y="16645"/>
                    <a:pt x="4188" y="16645"/>
                  </a:cubicBezTo>
                  <a:cubicBezTo>
                    <a:pt x="4188" y="16639"/>
                    <a:pt x="4188" y="16639"/>
                    <a:pt x="4188" y="16639"/>
                  </a:cubicBezTo>
                  <a:cubicBezTo>
                    <a:pt x="4183" y="16638"/>
                    <a:pt x="4183" y="16638"/>
                    <a:pt x="4183" y="16638"/>
                  </a:cubicBezTo>
                  <a:cubicBezTo>
                    <a:pt x="4173" y="16636"/>
                    <a:pt x="4173" y="16636"/>
                    <a:pt x="4173" y="16636"/>
                  </a:cubicBezTo>
                  <a:cubicBezTo>
                    <a:pt x="4173" y="16594"/>
                    <a:pt x="4173" y="16594"/>
                    <a:pt x="4173" y="16594"/>
                  </a:cubicBezTo>
                  <a:cubicBezTo>
                    <a:pt x="4166" y="16594"/>
                    <a:pt x="4166" y="16594"/>
                    <a:pt x="4166" y="16594"/>
                  </a:cubicBezTo>
                  <a:cubicBezTo>
                    <a:pt x="4152" y="16594"/>
                    <a:pt x="4152" y="16594"/>
                    <a:pt x="4152" y="16594"/>
                  </a:cubicBezTo>
                  <a:cubicBezTo>
                    <a:pt x="4152" y="16544"/>
                    <a:pt x="4152" y="16544"/>
                    <a:pt x="4152" y="16544"/>
                  </a:cubicBezTo>
                  <a:cubicBezTo>
                    <a:pt x="4178" y="16544"/>
                    <a:pt x="4178" y="16544"/>
                    <a:pt x="4178" y="16544"/>
                  </a:cubicBezTo>
                  <a:cubicBezTo>
                    <a:pt x="4178" y="16510"/>
                    <a:pt x="4178" y="16510"/>
                    <a:pt x="4178" y="16510"/>
                  </a:cubicBezTo>
                  <a:cubicBezTo>
                    <a:pt x="4241" y="16510"/>
                    <a:pt x="4241" y="16510"/>
                    <a:pt x="4241" y="16510"/>
                  </a:cubicBezTo>
                  <a:cubicBezTo>
                    <a:pt x="4241" y="16481"/>
                    <a:pt x="4241" y="16481"/>
                    <a:pt x="4241" y="16481"/>
                  </a:cubicBezTo>
                  <a:cubicBezTo>
                    <a:pt x="4290" y="16481"/>
                    <a:pt x="4290" y="16481"/>
                    <a:pt x="4290" y="16481"/>
                  </a:cubicBezTo>
                  <a:cubicBezTo>
                    <a:pt x="4290" y="16510"/>
                    <a:pt x="4290" y="16510"/>
                    <a:pt x="4290" y="16510"/>
                  </a:cubicBezTo>
                  <a:lnTo>
                    <a:pt x="4337" y="16510"/>
                  </a:lnTo>
                  <a:close/>
                  <a:moveTo>
                    <a:pt x="4980" y="11136"/>
                  </a:moveTo>
                  <a:cubicBezTo>
                    <a:pt x="5005" y="11072"/>
                    <a:pt x="5005" y="11072"/>
                    <a:pt x="5005" y="11072"/>
                  </a:cubicBezTo>
                  <a:cubicBezTo>
                    <a:pt x="4924" y="11040"/>
                    <a:pt x="4924" y="11040"/>
                    <a:pt x="4924" y="11040"/>
                  </a:cubicBezTo>
                  <a:cubicBezTo>
                    <a:pt x="4899" y="11104"/>
                    <a:pt x="4899" y="11104"/>
                    <a:pt x="4899" y="11104"/>
                  </a:cubicBezTo>
                  <a:cubicBezTo>
                    <a:pt x="4974" y="11133"/>
                    <a:pt x="4974" y="11133"/>
                    <a:pt x="4974" y="11133"/>
                  </a:cubicBezTo>
                  <a:lnTo>
                    <a:pt x="4980" y="11136"/>
                  </a:lnTo>
                  <a:close/>
                  <a:moveTo>
                    <a:pt x="4916" y="11096"/>
                  </a:moveTo>
                  <a:cubicBezTo>
                    <a:pt x="4932" y="11057"/>
                    <a:pt x="4932" y="11057"/>
                    <a:pt x="4932" y="11057"/>
                  </a:cubicBezTo>
                  <a:cubicBezTo>
                    <a:pt x="4988" y="11080"/>
                    <a:pt x="4988" y="11080"/>
                    <a:pt x="4988" y="11080"/>
                  </a:cubicBezTo>
                  <a:cubicBezTo>
                    <a:pt x="4972" y="11119"/>
                    <a:pt x="4972" y="11119"/>
                    <a:pt x="4972" y="11119"/>
                  </a:cubicBezTo>
                  <a:lnTo>
                    <a:pt x="4916" y="11096"/>
                  </a:lnTo>
                  <a:close/>
                  <a:moveTo>
                    <a:pt x="4914" y="11251"/>
                  </a:moveTo>
                  <a:cubicBezTo>
                    <a:pt x="4988" y="11281"/>
                    <a:pt x="4988" y="11281"/>
                    <a:pt x="4988" y="11281"/>
                  </a:cubicBezTo>
                  <a:cubicBezTo>
                    <a:pt x="4994" y="11283"/>
                    <a:pt x="4994" y="11283"/>
                    <a:pt x="4994" y="11283"/>
                  </a:cubicBezTo>
                  <a:cubicBezTo>
                    <a:pt x="5020" y="11220"/>
                    <a:pt x="5020" y="11220"/>
                    <a:pt x="5020" y="11220"/>
                  </a:cubicBezTo>
                  <a:cubicBezTo>
                    <a:pt x="4939" y="11188"/>
                    <a:pt x="4939" y="11188"/>
                    <a:pt x="4939" y="11188"/>
                  </a:cubicBezTo>
                  <a:lnTo>
                    <a:pt x="4914" y="11251"/>
                  </a:lnTo>
                  <a:close/>
                  <a:moveTo>
                    <a:pt x="5003" y="11227"/>
                  </a:moveTo>
                  <a:cubicBezTo>
                    <a:pt x="4987" y="11266"/>
                    <a:pt x="4987" y="11266"/>
                    <a:pt x="4987" y="11266"/>
                  </a:cubicBezTo>
                  <a:cubicBezTo>
                    <a:pt x="4931" y="11244"/>
                    <a:pt x="4931" y="11244"/>
                    <a:pt x="4931" y="11244"/>
                  </a:cubicBezTo>
                  <a:cubicBezTo>
                    <a:pt x="4947" y="11205"/>
                    <a:pt x="4947" y="11205"/>
                    <a:pt x="4947" y="11205"/>
                  </a:cubicBezTo>
                  <a:lnTo>
                    <a:pt x="5003" y="11227"/>
                  </a:lnTo>
                  <a:close/>
                  <a:moveTo>
                    <a:pt x="4939" y="11397"/>
                  </a:moveTo>
                  <a:cubicBezTo>
                    <a:pt x="5013" y="11426"/>
                    <a:pt x="5013" y="11426"/>
                    <a:pt x="5013" y="11426"/>
                  </a:cubicBezTo>
                  <a:cubicBezTo>
                    <a:pt x="5019" y="11429"/>
                    <a:pt x="5019" y="11429"/>
                    <a:pt x="5019" y="11429"/>
                  </a:cubicBezTo>
                  <a:cubicBezTo>
                    <a:pt x="5044" y="11365"/>
                    <a:pt x="5044" y="11365"/>
                    <a:pt x="5044" y="11365"/>
                  </a:cubicBezTo>
                  <a:cubicBezTo>
                    <a:pt x="4964" y="11333"/>
                    <a:pt x="4964" y="11333"/>
                    <a:pt x="4964" y="11333"/>
                  </a:cubicBezTo>
                  <a:lnTo>
                    <a:pt x="4939" y="11397"/>
                  </a:lnTo>
                  <a:close/>
                  <a:moveTo>
                    <a:pt x="5027" y="11373"/>
                  </a:moveTo>
                  <a:cubicBezTo>
                    <a:pt x="5012" y="11412"/>
                    <a:pt x="5012" y="11412"/>
                    <a:pt x="5012" y="11412"/>
                  </a:cubicBezTo>
                  <a:cubicBezTo>
                    <a:pt x="4956" y="11390"/>
                    <a:pt x="4956" y="11390"/>
                    <a:pt x="4956" y="11390"/>
                  </a:cubicBezTo>
                  <a:cubicBezTo>
                    <a:pt x="4971" y="11351"/>
                    <a:pt x="4971" y="11351"/>
                    <a:pt x="4971" y="11351"/>
                  </a:cubicBezTo>
                  <a:lnTo>
                    <a:pt x="5027" y="11373"/>
                  </a:lnTo>
                  <a:close/>
                  <a:moveTo>
                    <a:pt x="7336" y="7307"/>
                  </a:moveTo>
                  <a:cubicBezTo>
                    <a:pt x="7367" y="7238"/>
                    <a:pt x="7367" y="7238"/>
                    <a:pt x="7367" y="7238"/>
                  </a:cubicBezTo>
                  <a:cubicBezTo>
                    <a:pt x="7283" y="7201"/>
                    <a:pt x="7283" y="7201"/>
                    <a:pt x="7283" y="7201"/>
                  </a:cubicBezTo>
                  <a:cubicBezTo>
                    <a:pt x="7253" y="7271"/>
                    <a:pt x="7253" y="7271"/>
                    <a:pt x="7253" y="7271"/>
                  </a:cubicBezTo>
                  <a:cubicBezTo>
                    <a:pt x="7330" y="7305"/>
                    <a:pt x="7330" y="7305"/>
                    <a:pt x="7330" y="7305"/>
                  </a:cubicBezTo>
                  <a:lnTo>
                    <a:pt x="7336" y="7307"/>
                  </a:lnTo>
                  <a:close/>
                  <a:moveTo>
                    <a:pt x="7270" y="7264"/>
                  </a:moveTo>
                  <a:cubicBezTo>
                    <a:pt x="7290" y="7219"/>
                    <a:pt x="7290" y="7219"/>
                    <a:pt x="7290" y="7219"/>
                  </a:cubicBezTo>
                  <a:cubicBezTo>
                    <a:pt x="7349" y="7245"/>
                    <a:pt x="7349" y="7245"/>
                    <a:pt x="7349" y="7245"/>
                  </a:cubicBezTo>
                  <a:cubicBezTo>
                    <a:pt x="7330" y="7290"/>
                    <a:pt x="7330" y="7290"/>
                    <a:pt x="7330" y="7290"/>
                  </a:cubicBezTo>
                  <a:lnTo>
                    <a:pt x="7270" y="7264"/>
                  </a:lnTo>
                  <a:close/>
                  <a:moveTo>
                    <a:pt x="7083" y="7254"/>
                  </a:moveTo>
                  <a:cubicBezTo>
                    <a:pt x="7161" y="7288"/>
                    <a:pt x="7161" y="7288"/>
                    <a:pt x="7161" y="7288"/>
                  </a:cubicBezTo>
                  <a:cubicBezTo>
                    <a:pt x="7167" y="7291"/>
                    <a:pt x="7167" y="7291"/>
                    <a:pt x="7167" y="7291"/>
                  </a:cubicBezTo>
                  <a:cubicBezTo>
                    <a:pt x="7197" y="7222"/>
                    <a:pt x="7197" y="7222"/>
                    <a:pt x="7197" y="7222"/>
                  </a:cubicBezTo>
                  <a:cubicBezTo>
                    <a:pt x="7114" y="7185"/>
                    <a:pt x="7114" y="7185"/>
                    <a:pt x="7114" y="7185"/>
                  </a:cubicBezTo>
                  <a:lnTo>
                    <a:pt x="7083" y="7254"/>
                  </a:lnTo>
                  <a:close/>
                  <a:moveTo>
                    <a:pt x="7180" y="7228"/>
                  </a:moveTo>
                  <a:cubicBezTo>
                    <a:pt x="7160" y="7274"/>
                    <a:pt x="7160" y="7274"/>
                    <a:pt x="7160" y="7274"/>
                  </a:cubicBezTo>
                  <a:cubicBezTo>
                    <a:pt x="7101" y="7248"/>
                    <a:pt x="7101" y="7248"/>
                    <a:pt x="7101" y="7248"/>
                  </a:cubicBezTo>
                  <a:cubicBezTo>
                    <a:pt x="7120" y="7202"/>
                    <a:pt x="7120" y="7202"/>
                    <a:pt x="7120" y="7202"/>
                  </a:cubicBezTo>
                  <a:lnTo>
                    <a:pt x="7180" y="7228"/>
                  </a:lnTo>
                  <a:close/>
                  <a:moveTo>
                    <a:pt x="12363" y="11589"/>
                  </a:moveTo>
                  <a:cubicBezTo>
                    <a:pt x="12363" y="11595"/>
                    <a:pt x="12363" y="11595"/>
                    <a:pt x="12363" y="11595"/>
                  </a:cubicBezTo>
                  <a:cubicBezTo>
                    <a:pt x="12439" y="11595"/>
                    <a:pt x="12439" y="11595"/>
                    <a:pt x="12439" y="11595"/>
                  </a:cubicBezTo>
                  <a:cubicBezTo>
                    <a:pt x="12439" y="11504"/>
                    <a:pt x="12439" y="11504"/>
                    <a:pt x="12439" y="11504"/>
                  </a:cubicBezTo>
                  <a:cubicBezTo>
                    <a:pt x="12363" y="11504"/>
                    <a:pt x="12363" y="11504"/>
                    <a:pt x="12363" y="11504"/>
                  </a:cubicBezTo>
                  <a:lnTo>
                    <a:pt x="12363" y="11589"/>
                  </a:lnTo>
                  <a:close/>
                  <a:moveTo>
                    <a:pt x="12376" y="11517"/>
                  </a:moveTo>
                  <a:cubicBezTo>
                    <a:pt x="12426" y="11517"/>
                    <a:pt x="12426" y="11517"/>
                    <a:pt x="12426" y="11517"/>
                  </a:cubicBezTo>
                  <a:cubicBezTo>
                    <a:pt x="12426" y="11582"/>
                    <a:pt x="12426" y="11582"/>
                    <a:pt x="12426" y="11582"/>
                  </a:cubicBezTo>
                  <a:cubicBezTo>
                    <a:pt x="12376" y="11582"/>
                    <a:pt x="12376" y="11582"/>
                    <a:pt x="12376" y="11582"/>
                  </a:cubicBezTo>
                  <a:lnTo>
                    <a:pt x="12376" y="11517"/>
                  </a:lnTo>
                  <a:close/>
                  <a:moveTo>
                    <a:pt x="7933" y="6809"/>
                  </a:moveTo>
                  <a:cubicBezTo>
                    <a:pt x="7889" y="6870"/>
                    <a:pt x="7889" y="6870"/>
                    <a:pt x="7889" y="6870"/>
                  </a:cubicBezTo>
                  <a:cubicBezTo>
                    <a:pt x="8007" y="6955"/>
                    <a:pt x="8007" y="6955"/>
                    <a:pt x="8007" y="6955"/>
                  </a:cubicBezTo>
                  <a:cubicBezTo>
                    <a:pt x="8012" y="6958"/>
                    <a:pt x="8012" y="6958"/>
                    <a:pt x="8012" y="6958"/>
                  </a:cubicBezTo>
                  <a:cubicBezTo>
                    <a:pt x="8057" y="6897"/>
                    <a:pt x="8057" y="6897"/>
                    <a:pt x="8057" y="6897"/>
                  </a:cubicBezTo>
                  <a:lnTo>
                    <a:pt x="7933" y="6809"/>
                  </a:lnTo>
                  <a:close/>
                  <a:moveTo>
                    <a:pt x="8009" y="6940"/>
                  </a:moveTo>
                  <a:cubicBezTo>
                    <a:pt x="7908" y="6867"/>
                    <a:pt x="7908" y="6867"/>
                    <a:pt x="7908" y="6867"/>
                  </a:cubicBezTo>
                  <a:cubicBezTo>
                    <a:pt x="7936" y="6827"/>
                    <a:pt x="7936" y="6827"/>
                    <a:pt x="7936" y="6827"/>
                  </a:cubicBezTo>
                  <a:cubicBezTo>
                    <a:pt x="8038" y="6900"/>
                    <a:pt x="8038" y="6900"/>
                    <a:pt x="8038" y="6900"/>
                  </a:cubicBezTo>
                  <a:lnTo>
                    <a:pt x="8009" y="6940"/>
                  </a:lnTo>
                  <a:close/>
                  <a:moveTo>
                    <a:pt x="7983" y="6757"/>
                  </a:moveTo>
                  <a:cubicBezTo>
                    <a:pt x="8125" y="6787"/>
                    <a:pt x="8125" y="6787"/>
                    <a:pt x="8125" y="6787"/>
                  </a:cubicBezTo>
                  <a:cubicBezTo>
                    <a:pt x="8131" y="6789"/>
                    <a:pt x="8131" y="6789"/>
                    <a:pt x="8131" y="6789"/>
                  </a:cubicBezTo>
                  <a:cubicBezTo>
                    <a:pt x="8147" y="6715"/>
                    <a:pt x="8147" y="6715"/>
                    <a:pt x="8147" y="6715"/>
                  </a:cubicBezTo>
                  <a:cubicBezTo>
                    <a:pt x="7999" y="6683"/>
                    <a:pt x="7999" y="6683"/>
                    <a:pt x="7999" y="6683"/>
                  </a:cubicBezTo>
                  <a:lnTo>
                    <a:pt x="7983" y="6757"/>
                  </a:lnTo>
                  <a:close/>
                  <a:moveTo>
                    <a:pt x="8131" y="6725"/>
                  </a:moveTo>
                  <a:cubicBezTo>
                    <a:pt x="8121" y="6773"/>
                    <a:pt x="8121" y="6773"/>
                    <a:pt x="8121" y="6773"/>
                  </a:cubicBezTo>
                  <a:cubicBezTo>
                    <a:pt x="7999" y="6747"/>
                    <a:pt x="7999" y="6747"/>
                    <a:pt x="7999" y="6747"/>
                  </a:cubicBezTo>
                  <a:cubicBezTo>
                    <a:pt x="8009" y="6699"/>
                    <a:pt x="8009" y="6699"/>
                    <a:pt x="8009" y="6699"/>
                  </a:cubicBezTo>
                  <a:lnTo>
                    <a:pt x="8131" y="6725"/>
                  </a:lnTo>
                  <a:close/>
                  <a:moveTo>
                    <a:pt x="8507" y="6988"/>
                  </a:moveTo>
                  <a:cubicBezTo>
                    <a:pt x="8509" y="6982"/>
                    <a:pt x="8509" y="6982"/>
                    <a:pt x="8509" y="6982"/>
                  </a:cubicBezTo>
                  <a:cubicBezTo>
                    <a:pt x="8440" y="6952"/>
                    <a:pt x="8440" y="6952"/>
                    <a:pt x="8440" y="6952"/>
                  </a:cubicBezTo>
                  <a:cubicBezTo>
                    <a:pt x="8379" y="7090"/>
                    <a:pt x="8379" y="7090"/>
                    <a:pt x="8379" y="7090"/>
                  </a:cubicBezTo>
                  <a:cubicBezTo>
                    <a:pt x="8448" y="7121"/>
                    <a:pt x="8448" y="7121"/>
                    <a:pt x="8448" y="7121"/>
                  </a:cubicBezTo>
                  <a:lnTo>
                    <a:pt x="8507" y="6988"/>
                  </a:lnTo>
                  <a:close/>
                  <a:moveTo>
                    <a:pt x="8396" y="7083"/>
                  </a:moveTo>
                  <a:cubicBezTo>
                    <a:pt x="8447" y="6969"/>
                    <a:pt x="8447" y="6969"/>
                    <a:pt x="8447" y="6969"/>
                  </a:cubicBezTo>
                  <a:cubicBezTo>
                    <a:pt x="8492" y="6989"/>
                    <a:pt x="8492" y="6989"/>
                    <a:pt x="8492" y="6989"/>
                  </a:cubicBezTo>
                  <a:cubicBezTo>
                    <a:pt x="8441" y="7104"/>
                    <a:pt x="8441" y="7104"/>
                    <a:pt x="8441" y="7104"/>
                  </a:cubicBezTo>
                  <a:lnTo>
                    <a:pt x="8396" y="7083"/>
                  </a:lnTo>
                  <a:close/>
                  <a:moveTo>
                    <a:pt x="8398" y="7323"/>
                  </a:moveTo>
                  <a:cubicBezTo>
                    <a:pt x="8440" y="7259"/>
                    <a:pt x="8440" y="7259"/>
                    <a:pt x="8440" y="7259"/>
                  </a:cubicBezTo>
                  <a:cubicBezTo>
                    <a:pt x="8319" y="7180"/>
                    <a:pt x="8319" y="7180"/>
                    <a:pt x="8319" y="7180"/>
                  </a:cubicBezTo>
                  <a:cubicBezTo>
                    <a:pt x="8313" y="7176"/>
                    <a:pt x="8313" y="7176"/>
                    <a:pt x="8313" y="7176"/>
                  </a:cubicBezTo>
                  <a:cubicBezTo>
                    <a:pt x="8272" y="7240"/>
                    <a:pt x="8272" y="7240"/>
                    <a:pt x="8272" y="7240"/>
                  </a:cubicBezTo>
                  <a:lnTo>
                    <a:pt x="8398" y="7323"/>
                  </a:lnTo>
                  <a:close/>
                  <a:moveTo>
                    <a:pt x="8317" y="7194"/>
                  </a:moveTo>
                  <a:cubicBezTo>
                    <a:pt x="8422" y="7263"/>
                    <a:pt x="8422" y="7263"/>
                    <a:pt x="8422" y="7263"/>
                  </a:cubicBezTo>
                  <a:cubicBezTo>
                    <a:pt x="8395" y="7304"/>
                    <a:pt x="8395" y="7304"/>
                    <a:pt x="8395" y="7304"/>
                  </a:cubicBezTo>
                  <a:cubicBezTo>
                    <a:pt x="8290" y="7236"/>
                    <a:pt x="8290" y="7236"/>
                    <a:pt x="8290" y="7236"/>
                  </a:cubicBezTo>
                  <a:lnTo>
                    <a:pt x="8317" y="7194"/>
                  </a:lnTo>
                  <a:close/>
                  <a:moveTo>
                    <a:pt x="8127" y="7307"/>
                  </a:moveTo>
                  <a:cubicBezTo>
                    <a:pt x="8086" y="7370"/>
                    <a:pt x="8086" y="7370"/>
                    <a:pt x="8086" y="7370"/>
                  </a:cubicBezTo>
                  <a:cubicBezTo>
                    <a:pt x="8213" y="7453"/>
                    <a:pt x="8213" y="7453"/>
                    <a:pt x="8213" y="7453"/>
                  </a:cubicBezTo>
                  <a:cubicBezTo>
                    <a:pt x="8254" y="7390"/>
                    <a:pt x="8254" y="7390"/>
                    <a:pt x="8254" y="7390"/>
                  </a:cubicBezTo>
                  <a:cubicBezTo>
                    <a:pt x="8133" y="7310"/>
                    <a:pt x="8133" y="7310"/>
                    <a:pt x="8133" y="7310"/>
                  </a:cubicBezTo>
                  <a:lnTo>
                    <a:pt x="8127" y="7307"/>
                  </a:lnTo>
                  <a:close/>
                  <a:moveTo>
                    <a:pt x="8209" y="7435"/>
                  </a:moveTo>
                  <a:cubicBezTo>
                    <a:pt x="8104" y="7366"/>
                    <a:pt x="8104" y="7366"/>
                    <a:pt x="8104" y="7366"/>
                  </a:cubicBezTo>
                  <a:cubicBezTo>
                    <a:pt x="8131" y="7325"/>
                    <a:pt x="8131" y="7325"/>
                    <a:pt x="8131" y="7325"/>
                  </a:cubicBezTo>
                  <a:cubicBezTo>
                    <a:pt x="8236" y="7393"/>
                    <a:pt x="8236" y="7393"/>
                    <a:pt x="8236" y="7393"/>
                  </a:cubicBezTo>
                  <a:lnTo>
                    <a:pt x="8209" y="7435"/>
                  </a:lnTo>
                  <a:close/>
                  <a:moveTo>
                    <a:pt x="8089" y="7499"/>
                  </a:moveTo>
                  <a:cubicBezTo>
                    <a:pt x="7990" y="7393"/>
                    <a:pt x="7990" y="7393"/>
                    <a:pt x="7990" y="7393"/>
                  </a:cubicBezTo>
                  <a:cubicBezTo>
                    <a:pt x="7986" y="7388"/>
                    <a:pt x="7986" y="7388"/>
                    <a:pt x="7986" y="7388"/>
                  </a:cubicBezTo>
                  <a:cubicBezTo>
                    <a:pt x="7930" y="7439"/>
                    <a:pt x="7930" y="7439"/>
                    <a:pt x="7930" y="7439"/>
                  </a:cubicBezTo>
                  <a:cubicBezTo>
                    <a:pt x="8033" y="7551"/>
                    <a:pt x="8033" y="7551"/>
                    <a:pt x="8033" y="7551"/>
                  </a:cubicBezTo>
                  <a:lnTo>
                    <a:pt x="8089" y="7499"/>
                  </a:lnTo>
                  <a:close/>
                  <a:moveTo>
                    <a:pt x="7985" y="7406"/>
                  </a:moveTo>
                  <a:cubicBezTo>
                    <a:pt x="8071" y="7498"/>
                    <a:pt x="8071" y="7498"/>
                    <a:pt x="8071" y="7498"/>
                  </a:cubicBezTo>
                  <a:cubicBezTo>
                    <a:pt x="8034" y="7532"/>
                    <a:pt x="8034" y="7532"/>
                    <a:pt x="8034" y="7532"/>
                  </a:cubicBezTo>
                  <a:cubicBezTo>
                    <a:pt x="7949" y="7440"/>
                    <a:pt x="7949" y="7440"/>
                    <a:pt x="7949" y="7440"/>
                  </a:cubicBezTo>
                  <a:lnTo>
                    <a:pt x="7985" y="7406"/>
                  </a:lnTo>
                  <a:close/>
                  <a:moveTo>
                    <a:pt x="7812" y="7470"/>
                  </a:moveTo>
                  <a:cubicBezTo>
                    <a:pt x="7756" y="7522"/>
                    <a:pt x="7756" y="7522"/>
                    <a:pt x="7756" y="7522"/>
                  </a:cubicBezTo>
                  <a:cubicBezTo>
                    <a:pt x="7859" y="7633"/>
                    <a:pt x="7859" y="7633"/>
                    <a:pt x="7859" y="7633"/>
                  </a:cubicBezTo>
                  <a:cubicBezTo>
                    <a:pt x="7915" y="7581"/>
                    <a:pt x="7915" y="7581"/>
                    <a:pt x="7915" y="7581"/>
                  </a:cubicBezTo>
                  <a:cubicBezTo>
                    <a:pt x="7816" y="7475"/>
                    <a:pt x="7816" y="7475"/>
                    <a:pt x="7816" y="7475"/>
                  </a:cubicBezTo>
                  <a:lnTo>
                    <a:pt x="7812" y="7470"/>
                  </a:lnTo>
                  <a:close/>
                  <a:moveTo>
                    <a:pt x="7860" y="7614"/>
                  </a:moveTo>
                  <a:cubicBezTo>
                    <a:pt x="7775" y="7522"/>
                    <a:pt x="7775" y="7522"/>
                    <a:pt x="7775" y="7522"/>
                  </a:cubicBezTo>
                  <a:cubicBezTo>
                    <a:pt x="7811" y="7489"/>
                    <a:pt x="7811" y="7489"/>
                    <a:pt x="7811" y="7489"/>
                  </a:cubicBezTo>
                  <a:cubicBezTo>
                    <a:pt x="7896" y="7581"/>
                    <a:pt x="7896" y="7581"/>
                    <a:pt x="7896" y="7581"/>
                  </a:cubicBezTo>
                  <a:lnTo>
                    <a:pt x="7860" y="7614"/>
                  </a:lnTo>
                  <a:close/>
                  <a:moveTo>
                    <a:pt x="8483" y="7859"/>
                  </a:moveTo>
                  <a:cubicBezTo>
                    <a:pt x="8385" y="7753"/>
                    <a:pt x="8385" y="7753"/>
                    <a:pt x="8385" y="7753"/>
                  </a:cubicBezTo>
                  <a:cubicBezTo>
                    <a:pt x="8380" y="7748"/>
                    <a:pt x="8380" y="7748"/>
                    <a:pt x="8380" y="7748"/>
                  </a:cubicBezTo>
                  <a:cubicBezTo>
                    <a:pt x="8325" y="7800"/>
                    <a:pt x="8325" y="7800"/>
                    <a:pt x="8325" y="7800"/>
                  </a:cubicBezTo>
                  <a:cubicBezTo>
                    <a:pt x="8428" y="7911"/>
                    <a:pt x="8428" y="7911"/>
                    <a:pt x="8428" y="7911"/>
                  </a:cubicBezTo>
                  <a:lnTo>
                    <a:pt x="8483" y="7859"/>
                  </a:lnTo>
                  <a:close/>
                  <a:moveTo>
                    <a:pt x="8380" y="7767"/>
                  </a:moveTo>
                  <a:cubicBezTo>
                    <a:pt x="8465" y="7859"/>
                    <a:pt x="8465" y="7859"/>
                    <a:pt x="8465" y="7859"/>
                  </a:cubicBezTo>
                  <a:cubicBezTo>
                    <a:pt x="8428" y="7892"/>
                    <a:pt x="8428" y="7892"/>
                    <a:pt x="8428" y="7892"/>
                  </a:cubicBezTo>
                  <a:cubicBezTo>
                    <a:pt x="8343" y="7800"/>
                    <a:pt x="8343" y="7800"/>
                    <a:pt x="8343" y="7800"/>
                  </a:cubicBezTo>
                  <a:lnTo>
                    <a:pt x="8380" y="7767"/>
                  </a:lnTo>
                  <a:close/>
                  <a:moveTo>
                    <a:pt x="8424" y="7510"/>
                  </a:moveTo>
                  <a:cubicBezTo>
                    <a:pt x="8369" y="7561"/>
                    <a:pt x="8369" y="7561"/>
                    <a:pt x="8369" y="7561"/>
                  </a:cubicBezTo>
                  <a:cubicBezTo>
                    <a:pt x="8472" y="7673"/>
                    <a:pt x="8472" y="7673"/>
                    <a:pt x="8472" y="7673"/>
                  </a:cubicBezTo>
                  <a:cubicBezTo>
                    <a:pt x="8527" y="7621"/>
                    <a:pt x="8527" y="7621"/>
                    <a:pt x="8527" y="7621"/>
                  </a:cubicBezTo>
                  <a:cubicBezTo>
                    <a:pt x="8429" y="7515"/>
                    <a:pt x="8429" y="7515"/>
                    <a:pt x="8429" y="7515"/>
                  </a:cubicBezTo>
                  <a:lnTo>
                    <a:pt x="8424" y="7510"/>
                  </a:lnTo>
                  <a:close/>
                  <a:moveTo>
                    <a:pt x="8472" y="7654"/>
                  </a:moveTo>
                  <a:cubicBezTo>
                    <a:pt x="8387" y="7562"/>
                    <a:pt x="8387" y="7562"/>
                    <a:pt x="8387" y="7562"/>
                  </a:cubicBezTo>
                  <a:cubicBezTo>
                    <a:pt x="8424" y="7528"/>
                    <a:pt x="8424" y="7528"/>
                    <a:pt x="8424" y="7528"/>
                  </a:cubicBezTo>
                  <a:cubicBezTo>
                    <a:pt x="8509" y="7620"/>
                    <a:pt x="8509" y="7620"/>
                    <a:pt x="8509" y="7620"/>
                  </a:cubicBezTo>
                  <a:lnTo>
                    <a:pt x="8472" y="7654"/>
                  </a:lnTo>
                  <a:close/>
                  <a:moveTo>
                    <a:pt x="7626" y="7530"/>
                  </a:moveTo>
                  <a:cubicBezTo>
                    <a:pt x="7564" y="7574"/>
                    <a:pt x="7564" y="7574"/>
                    <a:pt x="7564" y="7574"/>
                  </a:cubicBezTo>
                  <a:cubicBezTo>
                    <a:pt x="7651" y="7698"/>
                    <a:pt x="7651" y="7698"/>
                    <a:pt x="7651" y="7698"/>
                  </a:cubicBezTo>
                  <a:cubicBezTo>
                    <a:pt x="7713" y="7654"/>
                    <a:pt x="7713" y="7654"/>
                    <a:pt x="7713" y="7654"/>
                  </a:cubicBezTo>
                  <a:cubicBezTo>
                    <a:pt x="7629" y="7535"/>
                    <a:pt x="7629" y="7535"/>
                    <a:pt x="7629" y="7535"/>
                  </a:cubicBezTo>
                  <a:lnTo>
                    <a:pt x="7626" y="7530"/>
                  </a:lnTo>
                  <a:close/>
                  <a:moveTo>
                    <a:pt x="7654" y="7679"/>
                  </a:moveTo>
                  <a:cubicBezTo>
                    <a:pt x="7582" y="7577"/>
                    <a:pt x="7582" y="7577"/>
                    <a:pt x="7582" y="7577"/>
                  </a:cubicBezTo>
                  <a:cubicBezTo>
                    <a:pt x="7622" y="7548"/>
                    <a:pt x="7622" y="7548"/>
                    <a:pt x="7622" y="7548"/>
                  </a:cubicBezTo>
                  <a:cubicBezTo>
                    <a:pt x="7694" y="7651"/>
                    <a:pt x="7694" y="7651"/>
                    <a:pt x="7694" y="7651"/>
                  </a:cubicBezTo>
                  <a:lnTo>
                    <a:pt x="7654" y="7679"/>
                  </a:lnTo>
                  <a:close/>
                  <a:moveTo>
                    <a:pt x="7109" y="7051"/>
                  </a:moveTo>
                  <a:cubicBezTo>
                    <a:pt x="7253" y="7068"/>
                    <a:pt x="7253" y="7068"/>
                    <a:pt x="7253" y="7068"/>
                  </a:cubicBezTo>
                  <a:cubicBezTo>
                    <a:pt x="7259" y="7069"/>
                    <a:pt x="7259" y="7069"/>
                    <a:pt x="7259" y="7069"/>
                  </a:cubicBezTo>
                  <a:cubicBezTo>
                    <a:pt x="7268" y="6994"/>
                    <a:pt x="7268" y="6994"/>
                    <a:pt x="7268" y="6994"/>
                  </a:cubicBezTo>
                  <a:cubicBezTo>
                    <a:pt x="7118" y="6976"/>
                    <a:pt x="7118" y="6976"/>
                    <a:pt x="7118" y="6976"/>
                  </a:cubicBezTo>
                  <a:lnTo>
                    <a:pt x="7109" y="7051"/>
                  </a:lnTo>
                  <a:close/>
                  <a:moveTo>
                    <a:pt x="7129" y="6990"/>
                  </a:moveTo>
                  <a:cubicBezTo>
                    <a:pt x="7254" y="7005"/>
                    <a:pt x="7254" y="7005"/>
                    <a:pt x="7254" y="7005"/>
                  </a:cubicBezTo>
                  <a:cubicBezTo>
                    <a:pt x="7248" y="7054"/>
                    <a:pt x="7248" y="7054"/>
                    <a:pt x="7248" y="7054"/>
                  </a:cubicBezTo>
                  <a:cubicBezTo>
                    <a:pt x="7123" y="7040"/>
                    <a:pt x="7123" y="7040"/>
                    <a:pt x="7123" y="7040"/>
                  </a:cubicBezTo>
                  <a:lnTo>
                    <a:pt x="7129" y="6990"/>
                  </a:lnTo>
                  <a:close/>
                  <a:moveTo>
                    <a:pt x="7510" y="7713"/>
                  </a:moveTo>
                  <a:cubicBezTo>
                    <a:pt x="7519" y="7638"/>
                    <a:pt x="7519" y="7638"/>
                    <a:pt x="7519" y="7638"/>
                  </a:cubicBezTo>
                  <a:cubicBezTo>
                    <a:pt x="7369" y="7620"/>
                    <a:pt x="7369" y="7620"/>
                    <a:pt x="7369" y="7620"/>
                  </a:cubicBezTo>
                  <a:cubicBezTo>
                    <a:pt x="7360" y="7695"/>
                    <a:pt x="7360" y="7695"/>
                    <a:pt x="7360" y="7695"/>
                  </a:cubicBezTo>
                  <a:cubicBezTo>
                    <a:pt x="7504" y="7712"/>
                    <a:pt x="7504" y="7712"/>
                    <a:pt x="7504" y="7712"/>
                  </a:cubicBezTo>
                  <a:lnTo>
                    <a:pt x="7510" y="7713"/>
                  </a:lnTo>
                  <a:close/>
                  <a:moveTo>
                    <a:pt x="7374" y="7683"/>
                  </a:moveTo>
                  <a:cubicBezTo>
                    <a:pt x="7380" y="7634"/>
                    <a:pt x="7380" y="7634"/>
                    <a:pt x="7380" y="7634"/>
                  </a:cubicBezTo>
                  <a:cubicBezTo>
                    <a:pt x="7505" y="7649"/>
                    <a:pt x="7505" y="7649"/>
                    <a:pt x="7505" y="7649"/>
                  </a:cubicBezTo>
                  <a:cubicBezTo>
                    <a:pt x="7499" y="7698"/>
                    <a:pt x="7499" y="7698"/>
                    <a:pt x="7499" y="7698"/>
                  </a:cubicBezTo>
                  <a:lnTo>
                    <a:pt x="7374" y="7683"/>
                  </a:lnTo>
                  <a:close/>
                  <a:moveTo>
                    <a:pt x="6568" y="7644"/>
                  </a:moveTo>
                  <a:cubicBezTo>
                    <a:pt x="6582" y="7570"/>
                    <a:pt x="6582" y="7570"/>
                    <a:pt x="6582" y="7570"/>
                  </a:cubicBezTo>
                  <a:cubicBezTo>
                    <a:pt x="6433" y="7541"/>
                    <a:pt x="6433" y="7541"/>
                    <a:pt x="6433" y="7541"/>
                  </a:cubicBezTo>
                  <a:cubicBezTo>
                    <a:pt x="6419" y="7616"/>
                    <a:pt x="6419" y="7616"/>
                    <a:pt x="6419" y="7616"/>
                  </a:cubicBezTo>
                  <a:cubicBezTo>
                    <a:pt x="6561" y="7643"/>
                    <a:pt x="6561" y="7643"/>
                    <a:pt x="6561" y="7643"/>
                  </a:cubicBezTo>
                  <a:lnTo>
                    <a:pt x="6568" y="7644"/>
                  </a:lnTo>
                  <a:close/>
                  <a:moveTo>
                    <a:pt x="6434" y="7605"/>
                  </a:moveTo>
                  <a:cubicBezTo>
                    <a:pt x="6444" y="7556"/>
                    <a:pt x="6444" y="7556"/>
                    <a:pt x="6444" y="7556"/>
                  </a:cubicBezTo>
                  <a:cubicBezTo>
                    <a:pt x="6567" y="7580"/>
                    <a:pt x="6567" y="7580"/>
                    <a:pt x="6567" y="7580"/>
                  </a:cubicBezTo>
                  <a:cubicBezTo>
                    <a:pt x="6557" y="7629"/>
                    <a:pt x="6557" y="7629"/>
                    <a:pt x="6557" y="7629"/>
                  </a:cubicBezTo>
                  <a:lnTo>
                    <a:pt x="6434" y="7605"/>
                  </a:lnTo>
                  <a:close/>
                  <a:moveTo>
                    <a:pt x="5778" y="7289"/>
                  </a:moveTo>
                  <a:cubicBezTo>
                    <a:pt x="5922" y="7307"/>
                    <a:pt x="5922" y="7307"/>
                    <a:pt x="5922" y="7307"/>
                  </a:cubicBezTo>
                  <a:cubicBezTo>
                    <a:pt x="5929" y="7308"/>
                    <a:pt x="5929" y="7308"/>
                    <a:pt x="5929" y="7308"/>
                  </a:cubicBezTo>
                  <a:cubicBezTo>
                    <a:pt x="5938" y="7232"/>
                    <a:pt x="5938" y="7232"/>
                    <a:pt x="5938" y="7232"/>
                  </a:cubicBezTo>
                  <a:cubicBezTo>
                    <a:pt x="5788" y="7214"/>
                    <a:pt x="5788" y="7214"/>
                    <a:pt x="5788" y="7214"/>
                  </a:cubicBezTo>
                  <a:lnTo>
                    <a:pt x="5778" y="7289"/>
                  </a:lnTo>
                  <a:close/>
                  <a:moveTo>
                    <a:pt x="5799" y="7228"/>
                  </a:moveTo>
                  <a:cubicBezTo>
                    <a:pt x="5923" y="7244"/>
                    <a:pt x="5923" y="7244"/>
                    <a:pt x="5923" y="7244"/>
                  </a:cubicBezTo>
                  <a:cubicBezTo>
                    <a:pt x="5917" y="7293"/>
                    <a:pt x="5917" y="7293"/>
                    <a:pt x="5917" y="7293"/>
                  </a:cubicBezTo>
                  <a:cubicBezTo>
                    <a:pt x="5793" y="7278"/>
                    <a:pt x="5793" y="7278"/>
                    <a:pt x="5793" y="7278"/>
                  </a:cubicBezTo>
                  <a:lnTo>
                    <a:pt x="5799" y="7228"/>
                  </a:lnTo>
                  <a:close/>
                  <a:moveTo>
                    <a:pt x="5818" y="7106"/>
                  </a:moveTo>
                  <a:cubicBezTo>
                    <a:pt x="5962" y="7124"/>
                    <a:pt x="5962" y="7124"/>
                    <a:pt x="5962" y="7124"/>
                  </a:cubicBezTo>
                  <a:cubicBezTo>
                    <a:pt x="5968" y="7125"/>
                    <a:pt x="5968" y="7125"/>
                    <a:pt x="5968" y="7125"/>
                  </a:cubicBezTo>
                  <a:cubicBezTo>
                    <a:pt x="5978" y="7049"/>
                    <a:pt x="5978" y="7049"/>
                    <a:pt x="5978" y="7049"/>
                  </a:cubicBezTo>
                  <a:cubicBezTo>
                    <a:pt x="5827" y="7031"/>
                    <a:pt x="5827" y="7031"/>
                    <a:pt x="5827" y="7031"/>
                  </a:cubicBezTo>
                  <a:lnTo>
                    <a:pt x="5818" y="7106"/>
                  </a:lnTo>
                  <a:close/>
                  <a:moveTo>
                    <a:pt x="5839" y="7046"/>
                  </a:moveTo>
                  <a:cubicBezTo>
                    <a:pt x="5963" y="7061"/>
                    <a:pt x="5963" y="7061"/>
                    <a:pt x="5963" y="7061"/>
                  </a:cubicBezTo>
                  <a:cubicBezTo>
                    <a:pt x="5957" y="7110"/>
                    <a:pt x="5957" y="7110"/>
                    <a:pt x="5957" y="7110"/>
                  </a:cubicBezTo>
                  <a:cubicBezTo>
                    <a:pt x="5833" y="7095"/>
                    <a:pt x="5833" y="7095"/>
                    <a:pt x="5833" y="7095"/>
                  </a:cubicBezTo>
                  <a:lnTo>
                    <a:pt x="5839" y="7046"/>
                  </a:lnTo>
                  <a:close/>
                  <a:moveTo>
                    <a:pt x="5848" y="6934"/>
                  </a:moveTo>
                  <a:cubicBezTo>
                    <a:pt x="5992" y="6952"/>
                    <a:pt x="5992" y="6952"/>
                    <a:pt x="5992" y="6952"/>
                  </a:cubicBezTo>
                  <a:cubicBezTo>
                    <a:pt x="5998" y="6953"/>
                    <a:pt x="5998" y="6953"/>
                    <a:pt x="5998" y="6953"/>
                  </a:cubicBezTo>
                  <a:cubicBezTo>
                    <a:pt x="6007" y="6878"/>
                    <a:pt x="6007" y="6878"/>
                    <a:pt x="6007" y="6878"/>
                  </a:cubicBezTo>
                  <a:cubicBezTo>
                    <a:pt x="5857" y="6859"/>
                    <a:pt x="5857" y="6859"/>
                    <a:pt x="5857" y="6859"/>
                  </a:cubicBezTo>
                  <a:lnTo>
                    <a:pt x="5848" y="6934"/>
                  </a:lnTo>
                  <a:close/>
                  <a:moveTo>
                    <a:pt x="5868" y="6874"/>
                  </a:moveTo>
                  <a:cubicBezTo>
                    <a:pt x="5993" y="6889"/>
                    <a:pt x="5993" y="6889"/>
                    <a:pt x="5993" y="6889"/>
                  </a:cubicBezTo>
                  <a:cubicBezTo>
                    <a:pt x="5987" y="6938"/>
                    <a:pt x="5987" y="6938"/>
                    <a:pt x="5987" y="6938"/>
                  </a:cubicBezTo>
                  <a:cubicBezTo>
                    <a:pt x="5862" y="6923"/>
                    <a:pt x="5862" y="6923"/>
                    <a:pt x="5862" y="6923"/>
                  </a:cubicBezTo>
                  <a:lnTo>
                    <a:pt x="5868" y="6874"/>
                  </a:lnTo>
                  <a:close/>
                  <a:moveTo>
                    <a:pt x="5882" y="6752"/>
                  </a:moveTo>
                  <a:cubicBezTo>
                    <a:pt x="6026" y="6769"/>
                    <a:pt x="6026" y="6769"/>
                    <a:pt x="6026" y="6769"/>
                  </a:cubicBezTo>
                  <a:cubicBezTo>
                    <a:pt x="6032" y="6770"/>
                    <a:pt x="6032" y="6770"/>
                    <a:pt x="6032" y="6770"/>
                  </a:cubicBezTo>
                  <a:cubicBezTo>
                    <a:pt x="6041" y="6695"/>
                    <a:pt x="6041" y="6695"/>
                    <a:pt x="6041" y="6695"/>
                  </a:cubicBezTo>
                  <a:cubicBezTo>
                    <a:pt x="5891" y="6676"/>
                    <a:pt x="5891" y="6676"/>
                    <a:pt x="5891" y="6676"/>
                  </a:cubicBezTo>
                  <a:lnTo>
                    <a:pt x="5882" y="6752"/>
                  </a:lnTo>
                  <a:close/>
                  <a:moveTo>
                    <a:pt x="5902" y="6691"/>
                  </a:moveTo>
                  <a:cubicBezTo>
                    <a:pt x="6027" y="6706"/>
                    <a:pt x="6027" y="6706"/>
                    <a:pt x="6027" y="6706"/>
                  </a:cubicBezTo>
                  <a:cubicBezTo>
                    <a:pt x="6021" y="6755"/>
                    <a:pt x="6021" y="6755"/>
                    <a:pt x="6021" y="6755"/>
                  </a:cubicBezTo>
                  <a:cubicBezTo>
                    <a:pt x="5896" y="6740"/>
                    <a:pt x="5896" y="6740"/>
                    <a:pt x="5896" y="6740"/>
                  </a:cubicBezTo>
                  <a:lnTo>
                    <a:pt x="5902" y="6691"/>
                  </a:lnTo>
                  <a:close/>
                  <a:moveTo>
                    <a:pt x="6069" y="6596"/>
                  </a:moveTo>
                  <a:cubicBezTo>
                    <a:pt x="6078" y="6520"/>
                    <a:pt x="6078" y="6520"/>
                    <a:pt x="6078" y="6520"/>
                  </a:cubicBezTo>
                  <a:cubicBezTo>
                    <a:pt x="5928" y="6502"/>
                    <a:pt x="5928" y="6502"/>
                    <a:pt x="5928" y="6502"/>
                  </a:cubicBezTo>
                  <a:cubicBezTo>
                    <a:pt x="5919" y="6577"/>
                    <a:pt x="5919" y="6577"/>
                    <a:pt x="5919" y="6577"/>
                  </a:cubicBezTo>
                  <a:cubicBezTo>
                    <a:pt x="6063" y="6595"/>
                    <a:pt x="6063" y="6595"/>
                    <a:pt x="6063" y="6595"/>
                  </a:cubicBezTo>
                  <a:lnTo>
                    <a:pt x="6069" y="6596"/>
                  </a:lnTo>
                  <a:close/>
                  <a:moveTo>
                    <a:pt x="5933" y="6566"/>
                  </a:moveTo>
                  <a:cubicBezTo>
                    <a:pt x="5939" y="6516"/>
                    <a:pt x="5939" y="6516"/>
                    <a:pt x="5939" y="6516"/>
                  </a:cubicBezTo>
                  <a:cubicBezTo>
                    <a:pt x="6064" y="6532"/>
                    <a:pt x="6064" y="6532"/>
                    <a:pt x="6064" y="6532"/>
                  </a:cubicBezTo>
                  <a:cubicBezTo>
                    <a:pt x="6058" y="6581"/>
                    <a:pt x="6058" y="6581"/>
                    <a:pt x="6058" y="6581"/>
                  </a:cubicBezTo>
                  <a:lnTo>
                    <a:pt x="5933" y="6566"/>
                  </a:lnTo>
                  <a:close/>
                  <a:moveTo>
                    <a:pt x="5502" y="7252"/>
                  </a:moveTo>
                  <a:cubicBezTo>
                    <a:pt x="5646" y="7270"/>
                    <a:pt x="5646" y="7270"/>
                    <a:pt x="5646" y="7270"/>
                  </a:cubicBezTo>
                  <a:cubicBezTo>
                    <a:pt x="5652" y="7271"/>
                    <a:pt x="5652" y="7271"/>
                    <a:pt x="5652" y="7271"/>
                  </a:cubicBezTo>
                  <a:cubicBezTo>
                    <a:pt x="5661" y="7195"/>
                    <a:pt x="5661" y="7195"/>
                    <a:pt x="5661" y="7195"/>
                  </a:cubicBezTo>
                  <a:cubicBezTo>
                    <a:pt x="5511" y="7177"/>
                    <a:pt x="5511" y="7177"/>
                    <a:pt x="5511" y="7177"/>
                  </a:cubicBezTo>
                  <a:lnTo>
                    <a:pt x="5502" y="7252"/>
                  </a:lnTo>
                  <a:close/>
                  <a:moveTo>
                    <a:pt x="5522" y="7192"/>
                  </a:moveTo>
                  <a:cubicBezTo>
                    <a:pt x="5647" y="7207"/>
                    <a:pt x="5647" y="7207"/>
                    <a:pt x="5647" y="7207"/>
                  </a:cubicBezTo>
                  <a:cubicBezTo>
                    <a:pt x="5641" y="7256"/>
                    <a:pt x="5641" y="7256"/>
                    <a:pt x="5641" y="7256"/>
                  </a:cubicBezTo>
                  <a:cubicBezTo>
                    <a:pt x="5516" y="7241"/>
                    <a:pt x="5516" y="7241"/>
                    <a:pt x="5516" y="7241"/>
                  </a:cubicBezTo>
                  <a:lnTo>
                    <a:pt x="5522" y="7192"/>
                  </a:lnTo>
                  <a:close/>
                  <a:moveTo>
                    <a:pt x="5692" y="7088"/>
                  </a:moveTo>
                  <a:cubicBezTo>
                    <a:pt x="5701" y="7013"/>
                    <a:pt x="5701" y="7013"/>
                    <a:pt x="5701" y="7013"/>
                  </a:cubicBezTo>
                  <a:cubicBezTo>
                    <a:pt x="5551" y="6994"/>
                    <a:pt x="5551" y="6994"/>
                    <a:pt x="5551" y="6994"/>
                  </a:cubicBezTo>
                  <a:cubicBezTo>
                    <a:pt x="5541" y="7069"/>
                    <a:pt x="5541" y="7069"/>
                    <a:pt x="5541" y="7069"/>
                  </a:cubicBezTo>
                  <a:cubicBezTo>
                    <a:pt x="5685" y="7087"/>
                    <a:pt x="5685" y="7087"/>
                    <a:pt x="5685" y="7087"/>
                  </a:cubicBezTo>
                  <a:lnTo>
                    <a:pt x="5692" y="7088"/>
                  </a:lnTo>
                  <a:close/>
                  <a:moveTo>
                    <a:pt x="5556" y="7058"/>
                  </a:moveTo>
                  <a:cubicBezTo>
                    <a:pt x="5562" y="7009"/>
                    <a:pt x="5562" y="7009"/>
                    <a:pt x="5562" y="7009"/>
                  </a:cubicBezTo>
                  <a:cubicBezTo>
                    <a:pt x="5686" y="7024"/>
                    <a:pt x="5686" y="7024"/>
                    <a:pt x="5686" y="7024"/>
                  </a:cubicBezTo>
                  <a:cubicBezTo>
                    <a:pt x="5680" y="7073"/>
                    <a:pt x="5680" y="7073"/>
                    <a:pt x="5680" y="7073"/>
                  </a:cubicBezTo>
                  <a:lnTo>
                    <a:pt x="5556" y="7058"/>
                  </a:lnTo>
                  <a:close/>
                  <a:moveTo>
                    <a:pt x="5722" y="6916"/>
                  </a:moveTo>
                  <a:cubicBezTo>
                    <a:pt x="5731" y="6841"/>
                    <a:pt x="5731" y="6841"/>
                    <a:pt x="5731" y="6841"/>
                  </a:cubicBezTo>
                  <a:cubicBezTo>
                    <a:pt x="5580" y="6822"/>
                    <a:pt x="5580" y="6822"/>
                    <a:pt x="5580" y="6822"/>
                  </a:cubicBezTo>
                  <a:cubicBezTo>
                    <a:pt x="5571" y="6898"/>
                    <a:pt x="5571" y="6898"/>
                    <a:pt x="5571" y="6898"/>
                  </a:cubicBezTo>
                  <a:cubicBezTo>
                    <a:pt x="5715" y="6915"/>
                    <a:pt x="5715" y="6915"/>
                    <a:pt x="5715" y="6915"/>
                  </a:cubicBezTo>
                  <a:lnTo>
                    <a:pt x="5722" y="6916"/>
                  </a:lnTo>
                  <a:close/>
                  <a:moveTo>
                    <a:pt x="5586" y="6886"/>
                  </a:moveTo>
                  <a:cubicBezTo>
                    <a:pt x="5592" y="6837"/>
                    <a:pt x="5592" y="6837"/>
                    <a:pt x="5592" y="6837"/>
                  </a:cubicBezTo>
                  <a:cubicBezTo>
                    <a:pt x="5716" y="6852"/>
                    <a:pt x="5716" y="6852"/>
                    <a:pt x="5716" y="6852"/>
                  </a:cubicBezTo>
                  <a:cubicBezTo>
                    <a:pt x="5710" y="6902"/>
                    <a:pt x="5710" y="6902"/>
                    <a:pt x="5710" y="6902"/>
                  </a:cubicBezTo>
                  <a:lnTo>
                    <a:pt x="5586" y="6886"/>
                  </a:lnTo>
                  <a:close/>
                  <a:moveTo>
                    <a:pt x="5756" y="6733"/>
                  </a:moveTo>
                  <a:cubicBezTo>
                    <a:pt x="5765" y="6658"/>
                    <a:pt x="5765" y="6658"/>
                    <a:pt x="5765" y="6658"/>
                  </a:cubicBezTo>
                  <a:cubicBezTo>
                    <a:pt x="5615" y="6639"/>
                    <a:pt x="5615" y="6639"/>
                    <a:pt x="5615" y="6639"/>
                  </a:cubicBezTo>
                  <a:cubicBezTo>
                    <a:pt x="5605" y="6715"/>
                    <a:pt x="5605" y="6715"/>
                    <a:pt x="5605" y="6715"/>
                  </a:cubicBezTo>
                  <a:cubicBezTo>
                    <a:pt x="5749" y="6732"/>
                    <a:pt x="5749" y="6732"/>
                    <a:pt x="5749" y="6732"/>
                  </a:cubicBezTo>
                  <a:lnTo>
                    <a:pt x="5756" y="6733"/>
                  </a:lnTo>
                  <a:close/>
                  <a:moveTo>
                    <a:pt x="5620" y="6703"/>
                  </a:moveTo>
                  <a:cubicBezTo>
                    <a:pt x="5626" y="6654"/>
                    <a:pt x="5626" y="6654"/>
                    <a:pt x="5626" y="6654"/>
                  </a:cubicBezTo>
                  <a:cubicBezTo>
                    <a:pt x="5750" y="6669"/>
                    <a:pt x="5750" y="6669"/>
                    <a:pt x="5750" y="6669"/>
                  </a:cubicBezTo>
                  <a:cubicBezTo>
                    <a:pt x="5744" y="6719"/>
                    <a:pt x="5744" y="6719"/>
                    <a:pt x="5744" y="6719"/>
                  </a:cubicBezTo>
                  <a:lnTo>
                    <a:pt x="5620" y="6703"/>
                  </a:lnTo>
                  <a:close/>
                  <a:moveTo>
                    <a:pt x="5793" y="6559"/>
                  </a:moveTo>
                  <a:cubicBezTo>
                    <a:pt x="5802" y="6483"/>
                    <a:pt x="5802" y="6483"/>
                    <a:pt x="5802" y="6483"/>
                  </a:cubicBezTo>
                  <a:cubicBezTo>
                    <a:pt x="5651" y="6465"/>
                    <a:pt x="5651" y="6465"/>
                    <a:pt x="5651" y="6465"/>
                  </a:cubicBezTo>
                  <a:cubicBezTo>
                    <a:pt x="5642" y="6540"/>
                    <a:pt x="5642" y="6540"/>
                    <a:pt x="5642" y="6540"/>
                  </a:cubicBezTo>
                  <a:cubicBezTo>
                    <a:pt x="5786" y="6558"/>
                    <a:pt x="5786" y="6558"/>
                    <a:pt x="5786" y="6558"/>
                  </a:cubicBezTo>
                  <a:lnTo>
                    <a:pt x="5793" y="6559"/>
                  </a:lnTo>
                  <a:close/>
                  <a:moveTo>
                    <a:pt x="5657" y="6529"/>
                  </a:moveTo>
                  <a:cubicBezTo>
                    <a:pt x="5663" y="6480"/>
                    <a:pt x="5663" y="6480"/>
                    <a:pt x="5663" y="6480"/>
                  </a:cubicBezTo>
                  <a:cubicBezTo>
                    <a:pt x="5787" y="6495"/>
                    <a:pt x="5787" y="6495"/>
                    <a:pt x="5787" y="6495"/>
                  </a:cubicBezTo>
                  <a:cubicBezTo>
                    <a:pt x="5781" y="6544"/>
                    <a:pt x="5781" y="6544"/>
                    <a:pt x="5781" y="6544"/>
                  </a:cubicBezTo>
                  <a:lnTo>
                    <a:pt x="5657" y="6529"/>
                  </a:lnTo>
                  <a:close/>
                  <a:moveTo>
                    <a:pt x="3544" y="4910"/>
                  </a:moveTo>
                  <a:cubicBezTo>
                    <a:pt x="3542" y="4917"/>
                    <a:pt x="3542" y="4917"/>
                    <a:pt x="3542" y="4917"/>
                  </a:cubicBezTo>
                  <a:cubicBezTo>
                    <a:pt x="3615" y="4936"/>
                    <a:pt x="3615" y="4936"/>
                    <a:pt x="3615" y="4936"/>
                  </a:cubicBezTo>
                  <a:cubicBezTo>
                    <a:pt x="3655" y="4790"/>
                    <a:pt x="3655" y="4790"/>
                    <a:pt x="3655" y="4790"/>
                  </a:cubicBezTo>
                  <a:cubicBezTo>
                    <a:pt x="3581" y="4770"/>
                    <a:pt x="3581" y="4770"/>
                    <a:pt x="3581" y="4770"/>
                  </a:cubicBezTo>
                  <a:lnTo>
                    <a:pt x="3544" y="4910"/>
                  </a:lnTo>
                  <a:close/>
                  <a:moveTo>
                    <a:pt x="3639" y="4799"/>
                  </a:moveTo>
                  <a:cubicBezTo>
                    <a:pt x="3606" y="4920"/>
                    <a:pt x="3606" y="4920"/>
                    <a:pt x="3606" y="4920"/>
                  </a:cubicBezTo>
                  <a:cubicBezTo>
                    <a:pt x="3558" y="4907"/>
                    <a:pt x="3558" y="4907"/>
                    <a:pt x="3558" y="4907"/>
                  </a:cubicBezTo>
                  <a:cubicBezTo>
                    <a:pt x="3591" y="4786"/>
                    <a:pt x="3591" y="4786"/>
                    <a:pt x="3591" y="4786"/>
                  </a:cubicBezTo>
                  <a:lnTo>
                    <a:pt x="3639" y="4799"/>
                  </a:lnTo>
                  <a:close/>
                  <a:moveTo>
                    <a:pt x="3191" y="4923"/>
                  </a:moveTo>
                  <a:cubicBezTo>
                    <a:pt x="3189" y="4929"/>
                    <a:pt x="3189" y="4929"/>
                    <a:pt x="3189" y="4929"/>
                  </a:cubicBezTo>
                  <a:cubicBezTo>
                    <a:pt x="3263" y="4949"/>
                    <a:pt x="3263" y="4949"/>
                    <a:pt x="3263" y="4949"/>
                  </a:cubicBezTo>
                  <a:cubicBezTo>
                    <a:pt x="3302" y="4802"/>
                    <a:pt x="3302" y="4802"/>
                    <a:pt x="3302" y="4802"/>
                  </a:cubicBezTo>
                  <a:cubicBezTo>
                    <a:pt x="3229" y="4783"/>
                    <a:pt x="3229" y="4783"/>
                    <a:pt x="3229" y="4783"/>
                  </a:cubicBezTo>
                  <a:lnTo>
                    <a:pt x="3191" y="4923"/>
                  </a:lnTo>
                  <a:close/>
                  <a:moveTo>
                    <a:pt x="3286" y="4812"/>
                  </a:moveTo>
                  <a:cubicBezTo>
                    <a:pt x="3253" y="4933"/>
                    <a:pt x="3253" y="4933"/>
                    <a:pt x="3253" y="4933"/>
                  </a:cubicBezTo>
                  <a:cubicBezTo>
                    <a:pt x="3205" y="4920"/>
                    <a:pt x="3205" y="4920"/>
                    <a:pt x="3205" y="4920"/>
                  </a:cubicBezTo>
                  <a:cubicBezTo>
                    <a:pt x="3238" y="4799"/>
                    <a:pt x="3238" y="4799"/>
                    <a:pt x="3238" y="4799"/>
                  </a:cubicBezTo>
                  <a:lnTo>
                    <a:pt x="3286" y="4812"/>
                  </a:lnTo>
                  <a:close/>
                  <a:moveTo>
                    <a:pt x="3587" y="5506"/>
                  </a:moveTo>
                  <a:cubicBezTo>
                    <a:pt x="3581" y="5506"/>
                    <a:pt x="3581" y="5506"/>
                    <a:pt x="3581" y="5506"/>
                  </a:cubicBezTo>
                  <a:cubicBezTo>
                    <a:pt x="3585" y="5582"/>
                    <a:pt x="3585" y="5582"/>
                    <a:pt x="3585" y="5582"/>
                  </a:cubicBezTo>
                  <a:cubicBezTo>
                    <a:pt x="3736" y="5573"/>
                    <a:pt x="3736" y="5573"/>
                    <a:pt x="3736" y="5573"/>
                  </a:cubicBezTo>
                  <a:cubicBezTo>
                    <a:pt x="3732" y="5497"/>
                    <a:pt x="3732" y="5497"/>
                    <a:pt x="3732" y="5497"/>
                  </a:cubicBezTo>
                  <a:lnTo>
                    <a:pt x="3587" y="5506"/>
                  </a:lnTo>
                  <a:close/>
                  <a:moveTo>
                    <a:pt x="3597" y="5568"/>
                  </a:moveTo>
                  <a:cubicBezTo>
                    <a:pt x="3594" y="5518"/>
                    <a:pt x="3594" y="5518"/>
                    <a:pt x="3594" y="5518"/>
                  </a:cubicBezTo>
                  <a:cubicBezTo>
                    <a:pt x="3719" y="5511"/>
                    <a:pt x="3719" y="5511"/>
                    <a:pt x="3719" y="5511"/>
                  </a:cubicBezTo>
                  <a:cubicBezTo>
                    <a:pt x="3722" y="5560"/>
                    <a:pt x="3722" y="5560"/>
                    <a:pt x="3722" y="5560"/>
                  </a:cubicBezTo>
                  <a:lnTo>
                    <a:pt x="3597" y="5568"/>
                  </a:lnTo>
                  <a:close/>
                  <a:moveTo>
                    <a:pt x="10799" y="12031"/>
                  </a:moveTo>
                  <a:cubicBezTo>
                    <a:pt x="10727" y="12053"/>
                    <a:pt x="10727" y="12053"/>
                    <a:pt x="10727" y="12053"/>
                  </a:cubicBezTo>
                  <a:cubicBezTo>
                    <a:pt x="10770" y="12192"/>
                    <a:pt x="10770" y="12192"/>
                    <a:pt x="10770" y="12192"/>
                  </a:cubicBezTo>
                  <a:cubicBezTo>
                    <a:pt x="10772" y="12198"/>
                    <a:pt x="10772" y="12198"/>
                    <a:pt x="10772" y="12198"/>
                  </a:cubicBezTo>
                  <a:cubicBezTo>
                    <a:pt x="10844" y="12176"/>
                    <a:pt x="10844" y="12176"/>
                    <a:pt x="10844" y="12176"/>
                  </a:cubicBezTo>
                  <a:lnTo>
                    <a:pt x="10799" y="12031"/>
                  </a:lnTo>
                  <a:close/>
                  <a:moveTo>
                    <a:pt x="10743" y="12062"/>
                  </a:moveTo>
                  <a:cubicBezTo>
                    <a:pt x="10791" y="12047"/>
                    <a:pt x="10791" y="12047"/>
                    <a:pt x="10791" y="12047"/>
                  </a:cubicBezTo>
                  <a:cubicBezTo>
                    <a:pt x="10828" y="12167"/>
                    <a:pt x="10828" y="12167"/>
                    <a:pt x="10828" y="12167"/>
                  </a:cubicBezTo>
                  <a:cubicBezTo>
                    <a:pt x="10780" y="12182"/>
                    <a:pt x="10780" y="12182"/>
                    <a:pt x="10780" y="12182"/>
                  </a:cubicBezTo>
                  <a:lnTo>
                    <a:pt x="10743" y="12062"/>
                  </a:lnTo>
                  <a:close/>
                  <a:moveTo>
                    <a:pt x="10695" y="12063"/>
                  </a:moveTo>
                  <a:cubicBezTo>
                    <a:pt x="10623" y="12086"/>
                    <a:pt x="10623" y="12086"/>
                    <a:pt x="10623" y="12086"/>
                  </a:cubicBezTo>
                  <a:cubicBezTo>
                    <a:pt x="10666" y="12224"/>
                    <a:pt x="10666" y="12224"/>
                    <a:pt x="10666" y="12224"/>
                  </a:cubicBezTo>
                  <a:cubicBezTo>
                    <a:pt x="10668" y="12231"/>
                    <a:pt x="10668" y="12231"/>
                    <a:pt x="10668" y="12231"/>
                  </a:cubicBezTo>
                  <a:cubicBezTo>
                    <a:pt x="10740" y="12208"/>
                    <a:pt x="10740" y="12208"/>
                    <a:pt x="10740" y="12208"/>
                  </a:cubicBezTo>
                  <a:lnTo>
                    <a:pt x="10695" y="12063"/>
                  </a:lnTo>
                  <a:close/>
                  <a:moveTo>
                    <a:pt x="10639" y="12095"/>
                  </a:moveTo>
                  <a:cubicBezTo>
                    <a:pt x="10687" y="12080"/>
                    <a:pt x="10687" y="12080"/>
                    <a:pt x="10687" y="12080"/>
                  </a:cubicBezTo>
                  <a:cubicBezTo>
                    <a:pt x="10724" y="12200"/>
                    <a:pt x="10724" y="12200"/>
                    <a:pt x="10724" y="12200"/>
                  </a:cubicBezTo>
                  <a:cubicBezTo>
                    <a:pt x="10676" y="12214"/>
                    <a:pt x="10676" y="12214"/>
                    <a:pt x="10676" y="12214"/>
                  </a:cubicBezTo>
                  <a:lnTo>
                    <a:pt x="10639" y="12095"/>
                  </a:lnTo>
                  <a:close/>
                  <a:moveTo>
                    <a:pt x="10507" y="12129"/>
                  </a:moveTo>
                  <a:cubicBezTo>
                    <a:pt x="10434" y="12151"/>
                    <a:pt x="10434" y="12151"/>
                    <a:pt x="10434" y="12151"/>
                  </a:cubicBezTo>
                  <a:cubicBezTo>
                    <a:pt x="10477" y="12289"/>
                    <a:pt x="10477" y="12289"/>
                    <a:pt x="10477" y="12289"/>
                  </a:cubicBezTo>
                  <a:cubicBezTo>
                    <a:pt x="10479" y="12296"/>
                    <a:pt x="10479" y="12296"/>
                    <a:pt x="10479" y="12296"/>
                  </a:cubicBezTo>
                  <a:cubicBezTo>
                    <a:pt x="10551" y="12273"/>
                    <a:pt x="10551" y="12273"/>
                    <a:pt x="10551" y="12273"/>
                  </a:cubicBezTo>
                  <a:lnTo>
                    <a:pt x="10507" y="12129"/>
                  </a:lnTo>
                  <a:close/>
                  <a:moveTo>
                    <a:pt x="10451" y="12160"/>
                  </a:moveTo>
                  <a:cubicBezTo>
                    <a:pt x="10498" y="12145"/>
                    <a:pt x="10498" y="12145"/>
                    <a:pt x="10498" y="12145"/>
                  </a:cubicBezTo>
                  <a:cubicBezTo>
                    <a:pt x="10535" y="12265"/>
                    <a:pt x="10535" y="12265"/>
                    <a:pt x="10535" y="12265"/>
                  </a:cubicBezTo>
                  <a:cubicBezTo>
                    <a:pt x="10488" y="12279"/>
                    <a:pt x="10488" y="12279"/>
                    <a:pt x="10488" y="12279"/>
                  </a:cubicBezTo>
                  <a:lnTo>
                    <a:pt x="10451" y="12160"/>
                  </a:lnTo>
                  <a:close/>
                  <a:moveTo>
                    <a:pt x="10403" y="12161"/>
                  </a:moveTo>
                  <a:cubicBezTo>
                    <a:pt x="10330" y="12183"/>
                    <a:pt x="10330" y="12183"/>
                    <a:pt x="10330" y="12183"/>
                  </a:cubicBezTo>
                  <a:cubicBezTo>
                    <a:pt x="10373" y="12322"/>
                    <a:pt x="10373" y="12322"/>
                    <a:pt x="10373" y="12322"/>
                  </a:cubicBezTo>
                  <a:cubicBezTo>
                    <a:pt x="10375" y="12328"/>
                    <a:pt x="10375" y="12328"/>
                    <a:pt x="10375" y="12328"/>
                  </a:cubicBezTo>
                  <a:cubicBezTo>
                    <a:pt x="10447" y="12306"/>
                    <a:pt x="10447" y="12306"/>
                    <a:pt x="10447" y="12306"/>
                  </a:cubicBezTo>
                  <a:lnTo>
                    <a:pt x="10403" y="12161"/>
                  </a:lnTo>
                  <a:close/>
                  <a:moveTo>
                    <a:pt x="10346" y="12192"/>
                  </a:moveTo>
                  <a:cubicBezTo>
                    <a:pt x="10394" y="12178"/>
                    <a:pt x="10394" y="12178"/>
                    <a:pt x="10394" y="12178"/>
                  </a:cubicBezTo>
                  <a:cubicBezTo>
                    <a:pt x="10431" y="12297"/>
                    <a:pt x="10431" y="12297"/>
                    <a:pt x="10431" y="12297"/>
                  </a:cubicBezTo>
                  <a:cubicBezTo>
                    <a:pt x="10383" y="12312"/>
                    <a:pt x="10383" y="12312"/>
                    <a:pt x="10383" y="12312"/>
                  </a:cubicBezTo>
                  <a:lnTo>
                    <a:pt x="10346" y="12192"/>
                  </a:lnTo>
                  <a:close/>
                  <a:moveTo>
                    <a:pt x="10145" y="12245"/>
                  </a:moveTo>
                  <a:cubicBezTo>
                    <a:pt x="10188" y="12383"/>
                    <a:pt x="10188" y="12383"/>
                    <a:pt x="10188" y="12383"/>
                  </a:cubicBezTo>
                  <a:cubicBezTo>
                    <a:pt x="10190" y="12389"/>
                    <a:pt x="10190" y="12389"/>
                    <a:pt x="10190" y="12389"/>
                  </a:cubicBezTo>
                  <a:cubicBezTo>
                    <a:pt x="10262" y="12367"/>
                    <a:pt x="10262" y="12367"/>
                    <a:pt x="10262" y="12367"/>
                  </a:cubicBezTo>
                  <a:cubicBezTo>
                    <a:pt x="10218" y="12222"/>
                    <a:pt x="10218" y="12222"/>
                    <a:pt x="10218" y="12222"/>
                  </a:cubicBezTo>
                  <a:lnTo>
                    <a:pt x="10145" y="12245"/>
                  </a:lnTo>
                  <a:close/>
                  <a:moveTo>
                    <a:pt x="10199" y="12373"/>
                  </a:moveTo>
                  <a:cubicBezTo>
                    <a:pt x="10162" y="12253"/>
                    <a:pt x="10162" y="12253"/>
                    <a:pt x="10162" y="12253"/>
                  </a:cubicBezTo>
                  <a:cubicBezTo>
                    <a:pt x="10209" y="12239"/>
                    <a:pt x="10209" y="12239"/>
                    <a:pt x="10209" y="12239"/>
                  </a:cubicBezTo>
                  <a:cubicBezTo>
                    <a:pt x="10246" y="12358"/>
                    <a:pt x="10246" y="12358"/>
                    <a:pt x="10246" y="12358"/>
                  </a:cubicBezTo>
                  <a:lnTo>
                    <a:pt x="10199" y="12373"/>
                  </a:lnTo>
                  <a:close/>
                  <a:moveTo>
                    <a:pt x="10041" y="12277"/>
                  </a:moveTo>
                  <a:cubicBezTo>
                    <a:pt x="10084" y="12416"/>
                    <a:pt x="10084" y="12416"/>
                    <a:pt x="10084" y="12416"/>
                  </a:cubicBezTo>
                  <a:cubicBezTo>
                    <a:pt x="10086" y="12422"/>
                    <a:pt x="10086" y="12422"/>
                    <a:pt x="10086" y="12422"/>
                  </a:cubicBezTo>
                  <a:cubicBezTo>
                    <a:pt x="10158" y="12400"/>
                    <a:pt x="10158" y="12400"/>
                    <a:pt x="10158" y="12400"/>
                  </a:cubicBezTo>
                  <a:cubicBezTo>
                    <a:pt x="10114" y="12255"/>
                    <a:pt x="10114" y="12255"/>
                    <a:pt x="10114" y="12255"/>
                  </a:cubicBezTo>
                  <a:lnTo>
                    <a:pt x="10041" y="12277"/>
                  </a:lnTo>
                  <a:close/>
                  <a:moveTo>
                    <a:pt x="10095" y="12406"/>
                  </a:moveTo>
                  <a:cubicBezTo>
                    <a:pt x="10058" y="12286"/>
                    <a:pt x="10058" y="12286"/>
                    <a:pt x="10058" y="12286"/>
                  </a:cubicBezTo>
                  <a:cubicBezTo>
                    <a:pt x="10105" y="12271"/>
                    <a:pt x="10105" y="12271"/>
                    <a:pt x="10105" y="12271"/>
                  </a:cubicBezTo>
                  <a:cubicBezTo>
                    <a:pt x="10142" y="12391"/>
                    <a:pt x="10142" y="12391"/>
                    <a:pt x="10142" y="12391"/>
                  </a:cubicBezTo>
                  <a:lnTo>
                    <a:pt x="10095" y="12406"/>
                  </a:lnTo>
                  <a:close/>
                  <a:moveTo>
                    <a:pt x="9855" y="12328"/>
                  </a:moveTo>
                  <a:cubicBezTo>
                    <a:pt x="9898" y="12466"/>
                    <a:pt x="9898" y="12466"/>
                    <a:pt x="9898" y="12466"/>
                  </a:cubicBezTo>
                  <a:cubicBezTo>
                    <a:pt x="9900" y="12473"/>
                    <a:pt x="9900" y="12473"/>
                    <a:pt x="9900" y="12473"/>
                  </a:cubicBezTo>
                  <a:cubicBezTo>
                    <a:pt x="9972" y="12450"/>
                    <a:pt x="9972" y="12450"/>
                    <a:pt x="9972" y="12450"/>
                  </a:cubicBezTo>
                  <a:cubicBezTo>
                    <a:pt x="9927" y="12306"/>
                    <a:pt x="9927" y="12306"/>
                    <a:pt x="9927" y="12306"/>
                  </a:cubicBezTo>
                  <a:lnTo>
                    <a:pt x="9855" y="12328"/>
                  </a:lnTo>
                  <a:close/>
                  <a:moveTo>
                    <a:pt x="9908" y="12456"/>
                  </a:moveTo>
                  <a:cubicBezTo>
                    <a:pt x="9871" y="12337"/>
                    <a:pt x="9871" y="12337"/>
                    <a:pt x="9871" y="12337"/>
                  </a:cubicBezTo>
                  <a:cubicBezTo>
                    <a:pt x="9919" y="12322"/>
                    <a:pt x="9919" y="12322"/>
                    <a:pt x="9919" y="12322"/>
                  </a:cubicBezTo>
                  <a:cubicBezTo>
                    <a:pt x="9956" y="12442"/>
                    <a:pt x="9956" y="12442"/>
                    <a:pt x="9956" y="12442"/>
                  </a:cubicBezTo>
                  <a:lnTo>
                    <a:pt x="9908" y="12456"/>
                  </a:lnTo>
                  <a:close/>
                  <a:moveTo>
                    <a:pt x="9794" y="12499"/>
                  </a:moveTo>
                  <a:cubicBezTo>
                    <a:pt x="9796" y="12505"/>
                    <a:pt x="9796" y="12505"/>
                    <a:pt x="9796" y="12505"/>
                  </a:cubicBezTo>
                  <a:cubicBezTo>
                    <a:pt x="9868" y="12483"/>
                    <a:pt x="9868" y="12483"/>
                    <a:pt x="9868" y="12483"/>
                  </a:cubicBezTo>
                  <a:cubicBezTo>
                    <a:pt x="9823" y="12338"/>
                    <a:pt x="9823" y="12338"/>
                    <a:pt x="9823" y="12338"/>
                  </a:cubicBezTo>
                  <a:cubicBezTo>
                    <a:pt x="9751" y="12360"/>
                    <a:pt x="9751" y="12360"/>
                    <a:pt x="9751" y="12360"/>
                  </a:cubicBezTo>
                  <a:lnTo>
                    <a:pt x="9794" y="12499"/>
                  </a:lnTo>
                  <a:close/>
                  <a:moveTo>
                    <a:pt x="9852" y="12474"/>
                  </a:moveTo>
                  <a:cubicBezTo>
                    <a:pt x="9804" y="12489"/>
                    <a:pt x="9804" y="12489"/>
                    <a:pt x="9804" y="12489"/>
                  </a:cubicBezTo>
                  <a:cubicBezTo>
                    <a:pt x="9767" y="12369"/>
                    <a:pt x="9767" y="12369"/>
                    <a:pt x="9767" y="12369"/>
                  </a:cubicBezTo>
                  <a:cubicBezTo>
                    <a:pt x="9815" y="12354"/>
                    <a:pt x="9815" y="12354"/>
                    <a:pt x="9815" y="12354"/>
                  </a:cubicBezTo>
                  <a:lnTo>
                    <a:pt x="9852" y="12474"/>
                  </a:lnTo>
                  <a:close/>
                  <a:moveTo>
                    <a:pt x="9547" y="12368"/>
                  </a:moveTo>
                  <a:cubicBezTo>
                    <a:pt x="9589" y="12507"/>
                    <a:pt x="9589" y="12507"/>
                    <a:pt x="9589" y="12507"/>
                  </a:cubicBezTo>
                  <a:cubicBezTo>
                    <a:pt x="9591" y="12513"/>
                    <a:pt x="9591" y="12513"/>
                    <a:pt x="9591" y="12513"/>
                  </a:cubicBezTo>
                  <a:cubicBezTo>
                    <a:pt x="9664" y="12491"/>
                    <a:pt x="9664" y="12491"/>
                    <a:pt x="9664" y="12491"/>
                  </a:cubicBezTo>
                  <a:cubicBezTo>
                    <a:pt x="9619" y="12346"/>
                    <a:pt x="9619" y="12346"/>
                    <a:pt x="9619" y="12346"/>
                  </a:cubicBezTo>
                  <a:lnTo>
                    <a:pt x="9547" y="12368"/>
                  </a:lnTo>
                  <a:close/>
                  <a:moveTo>
                    <a:pt x="9600" y="12497"/>
                  </a:moveTo>
                  <a:cubicBezTo>
                    <a:pt x="9563" y="12377"/>
                    <a:pt x="9563" y="12377"/>
                    <a:pt x="9563" y="12377"/>
                  </a:cubicBezTo>
                  <a:cubicBezTo>
                    <a:pt x="9610" y="12362"/>
                    <a:pt x="9610" y="12362"/>
                    <a:pt x="9610" y="12362"/>
                  </a:cubicBezTo>
                  <a:cubicBezTo>
                    <a:pt x="9647" y="12482"/>
                    <a:pt x="9647" y="12482"/>
                    <a:pt x="9647" y="12482"/>
                  </a:cubicBezTo>
                  <a:lnTo>
                    <a:pt x="9600" y="12497"/>
                  </a:lnTo>
                  <a:close/>
                  <a:moveTo>
                    <a:pt x="9442" y="12401"/>
                  </a:moveTo>
                  <a:cubicBezTo>
                    <a:pt x="9485" y="12539"/>
                    <a:pt x="9485" y="12539"/>
                    <a:pt x="9485" y="12539"/>
                  </a:cubicBezTo>
                  <a:cubicBezTo>
                    <a:pt x="9487" y="12546"/>
                    <a:pt x="9487" y="12546"/>
                    <a:pt x="9487" y="12546"/>
                  </a:cubicBezTo>
                  <a:cubicBezTo>
                    <a:pt x="9560" y="12523"/>
                    <a:pt x="9560" y="12523"/>
                    <a:pt x="9560" y="12523"/>
                  </a:cubicBezTo>
                  <a:cubicBezTo>
                    <a:pt x="9515" y="12378"/>
                    <a:pt x="9515" y="12378"/>
                    <a:pt x="9515" y="12378"/>
                  </a:cubicBezTo>
                  <a:lnTo>
                    <a:pt x="9442" y="12401"/>
                  </a:lnTo>
                  <a:close/>
                  <a:moveTo>
                    <a:pt x="9496" y="12529"/>
                  </a:moveTo>
                  <a:cubicBezTo>
                    <a:pt x="9459" y="12410"/>
                    <a:pt x="9459" y="12410"/>
                    <a:pt x="9459" y="12410"/>
                  </a:cubicBezTo>
                  <a:cubicBezTo>
                    <a:pt x="9506" y="12395"/>
                    <a:pt x="9506" y="12395"/>
                    <a:pt x="9506" y="12395"/>
                  </a:cubicBezTo>
                  <a:cubicBezTo>
                    <a:pt x="9543" y="12515"/>
                    <a:pt x="9543" y="12515"/>
                    <a:pt x="9543" y="12515"/>
                  </a:cubicBezTo>
                  <a:lnTo>
                    <a:pt x="9496" y="12529"/>
                  </a:lnTo>
                  <a:close/>
                  <a:moveTo>
                    <a:pt x="9385" y="12771"/>
                  </a:moveTo>
                  <a:cubicBezTo>
                    <a:pt x="9387" y="12777"/>
                    <a:pt x="9387" y="12777"/>
                    <a:pt x="9387" y="12777"/>
                  </a:cubicBezTo>
                  <a:cubicBezTo>
                    <a:pt x="9459" y="12755"/>
                    <a:pt x="9459" y="12755"/>
                    <a:pt x="9459" y="12755"/>
                  </a:cubicBezTo>
                  <a:cubicBezTo>
                    <a:pt x="9415" y="12610"/>
                    <a:pt x="9415" y="12610"/>
                    <a:pt x="9415" y="12610"/>
                  </a:cubicBezTo>
                  <a:cubicBezTo>
                    <a:pt x="9342" y="12632"/>
                    <a:pt x="9342" y="12632"/>
                    <a:pt x="9342" y="12632"/>
                  </a:cubicBezTo>
                  <a:lnTo>
                    <a:pt x="9385" y="12771"/>
                  </a:lnTo>
                  <a:close/>
                  <a:moveTo>
                    <a:pt x="9443" y="12746"/>
                  </a:moveTo>
                  <a:cubicBezTo>
                    <a:pt x="9396" y="12761"/>
                    <a:pt x="9396" y="12761"/>
                    <a:pt x="9396" y="12761"/>
                  </a:cubicBezTo>
                  <a:cubicBezTo>
                    <a:pt x="9359" y="12641"/>
                    <a:pt x="9359" y="12641"/>
                    <a:pt x="9359" y="12641"/>
                  </a:cubicBezTo>
                  <a:cubicBezTo>
                    <a:pt x="9406" y="12627"/>
                    <a:pt x="9406" y="12627"/>
                    <a:pt x="9406" y="12627"/>
                  </a:cubicBezTo>
                  <a:lnTo>
                    <a:pt x="9443" y="12746"/>
                  </a:lnTo>
                  <a:close/>
                  <a:moveTo>
                    <a:pt x="7589" y="7234"/>
                  </a:moveTo>
                  <a:cubicBezTo>
                    <a:pt x="7642" y="7179"/>
                    <a:pt x="7642" y="7179"/>
                    <a:pt x="7642" y="7179"/>
                  </a:cubicBezTo>
                  <a:cubicBezTo>
                    <a:pt x="7587" y="7127"/>
                    <a:pt x="7587" y="7127"/>
                    <a:pt x="7587" y="7127"/>
                  </a:cubicBezTo>
                  <a:cubicBezTo>
                    <a:pt x="7638" y="7074"/>
                    <a:pt x="7638" y="7074"/>
                    <a:pt x="7638" y="7074"/>
                  </a:cubicBezTo>
                  <a:cubicBezTo>
                    <a:pt x="7537" y="6976"/>
                    <a:pt x="7537" y="6976"/>
                    <a:pt x="7537" y="6976"/>
                  </a:cubicBezTo>
                  <a:cubicBezTo>
                    <a:pt x="7470" y="7045"/>
                    <a:pt x="7470" y="7045"/>
                    <a:pt x="7470" y="7045"/>
                  </a:cubicBezTo>
                  <a:cubicBezTo>
                    <a:pt x="7474" y="7050"/>
                    <a:pt x="7474" y="7050"/>
                    <a:pt x="7474" y="7050"/>
                  </a:cubicBezTo>
                  <a:cubicBezTo>
                    <a:pt x="7483" y="7058"/>
                    <a:pt x="7483" y="7058"/>
                    <a:pt x="7483" y="7058"/>
                  </a:cubicBezTo>
                  <a:cubicBezTo>
                    <a:pt x="7448" y="7094"/>
                    <a:pt x="7448" y="7094"/>
                    <a:pt x="7448" y="7094"/>
                  </a:cubicBezTo>
                  <a:cubicBezTo>
                    <a:pt x="7584" y="7229"/>
                    <a:pt x="7584" y="7229"/>
                    <a:pt x="7584" y="7229"/>
                  </a:cubicBezTo>
                  <a:lnTo>
                    <a:pt x="7589" y="7234"/>
                  </a:lnTo>
                  <a:close/>
                  <a:moveTo>
                    <a:pt x="7501" y="7058"/>
                  </a:moveTo>
                  <a:cubicBezTo>
                    <a:pt x="7497" y="7053"/>
                    <a:pt x="7497" y="7053"/>
                    <a:pt x="7497" y="7053"/>
                  </a:cubicBezTo>
                  <a:cubicBezTo>
                    <a:pt x="7488" y="7045"/>
                    <a:pt x="7488" y="7045"/>
                    <a:pt x="7488" y="7045"/>
                  </a:cubicBezTo>
                  <a:cubicBezTo>
                    <a:pt x="7537" y="6994"/>
                    <a:pt x="7537" y="6994"/>
                    <a:pt x="7537" y="6994"/>
                  </a:cubicBezTo>
                  <a:cubicBezTo>
                    <a:pt x="7620" y="7074"/>
                    <a:pt x="7620" y="7074"/>
                    <a:pt x="7620" y="7074"/>
                  </a:cubicBezTo>
                  <a:cubicBezTo>
                    <a:pt x="7569" y="7127"/>
                    <a:pt x="7569" y="7127"/>
                    <a:pt x="7569" y="7127"/>
                  </a:cubicBezTo>
                  <a:cubicBezTo>
                    <a:pt x="7623" y="7180"/>
                    <a:pt x="7623" y="7180"/>
                    <a:pt x="7623" y="7180"/>
                  </a:cubicBezTo>
                  <a:cubicBezTo>
                    <a:pt x="7589" y="7215"/>
                    <a:pt x="7589" y="7215"/>
                    <a:pt x="7589" y="7215"/>
                  </a:cubicBezTo>
                  <a:cubicBezTo>
                    <a:pt x="7467" y="7094"/>
                    <a:pt x="7467" y="7094"/>
                    <a:pt x="7467" y="7094"/>
                  </a:cubicBezTo>
                  <a:lnTo>
                    <a:pt x="7501" y="7058"/>
                  </a:lnTo>
                  <a:close/>
                  <a:moveTo>
                    <a:pt x="9491" y="16163"/>
                  </a:moveTo>
                  <a:cubicBezTo>
                    <a:pt x="9399" y="16193"/>
                    <a:pt x="9399" y="16193"/>
                    <a:pt x="9399" y="16193"/>
                  </a:cubicBezTo>
                  <a:cubicBezTo>
                    <a:pt x="9401" y="16199"/>
                    <a:pt x="9401" y="16199"/>
                    <a:pt x="9401" y="16199"/>
                  </a:cubicBezTo>
                  <a:cubicBezTo>
                    <a:pt x="9405" y="16210"/>
                    <a:pt x="9405" y="16210"/>
                    <a:pt x="9405" y="16210"/>
                  </a:cubicBezTo>
                  <a:cubicBezTo>
                    <a:pt x="9358" y="16226"/>
                    <a:pt x="9358" y="16226"/>
                    <a:pt x="9358" y="16226"/>
                  </a:cubicBezTo>
                  <a:cubicBezTo>
                    <a:pt x="9414" y="16409"/>
                    <a:pt x="9414" y="16409"/>
                    <a:pt x="9414" y="16409"/>
                  </a:cubicBezTo>
                  <a:cubicBezTo>
                    <a:pt x="9416" y="16415"/>
                    <a:pt x="9416" y="16415"/>
                    <a:pt x="9416" y="16415"/>
                  </a:cubicBezTo>
                  <a:cubicBezTo>
                    <a:pt x="9488" y="16392"/>
                    <a:pt x="9488" y="16392"/>
                    <a:pt x="9488" y="16392"/>
                  </a:cubicBezTo>
                  <a:cubicBezTo>
                    <a:pt x="9465" y="16320"/>
                    <a:pt x="9465" y="16320"/>
                    <a:pt x="9465" y="16320"/>
                  </a:cubicBezTo>
                  <a:cubicBezTo>
                    <a:pt x="9534" y="16298"/>
                    <a:pt x="9534" y="16298"/>
                    <a:pt x="9534" y="16298"/>
                  </a:cubicBezTo>
                  <a:lnTo>
                    <a:pt x="9491" y="16163"/>
                  </a:lnTo>
                  <a:close/>
                  <a:moveTo>
                    <a:pt x="9471" y="16384"/>
                  </a:moveTo>
                  <a:cubicBezTo>
                    <a:pt x="9424" y="16399"/>
                    <a:pt x="9424" y="16399"/>
                    <a:pt x="9424" y="16399"/>
                  </a:cubicBezTo>
                  <a:cubicBezTo>
                    <a:pt x="9374" y="16234"/>
                    <a:pt x="9374" y="16234"/>
                    <a:pt x="9374" y="16234"/>
                  </a:cubicBezTo>
                  <a:cubicBezTo>
                    <a:pt x="9421" y="16219"/>
                    <a:pt x="9421" y="16219"/>
                    <a:pt x="9421" y="16219"/>
                  </a:cubicBezTo>
                  <a:cubicBezTo>
                    <a:pt x="9419" y="16213"/>
                    <a:pt x="9419" y="16213"/>
                    <a:pt x="9419" y="16213"/>
                  </a:cubicBezTo>
                  <a:cubicBezTo>
                    <a:pt x="9416" y="16202"/>
                    <a:pt x="9416" y="16202"/>
                    <a:pt x="9416" y="16202"/>
                  </a:cubicBezTo>
                  <a:cubicBezTo>
                    <a:pt x="9483" y="16180"/>
                    <a:pt x="9483" y="16180"/>
                    <a:pt x="9483" y="16180"/>
                  </a:cubicBezTo>
                  <a:cubicBezTo>
                    <a:pt x="9518" y="16289"/>
                    <a:pt x="9518" y="16289"/>
                    <a:pt x="9518" y="16289"/>
                  </a:cubicBezTo>
                  <a:cubicBezTo>
                    <a:pt x="9448" y="16312"/>
                    <a:pt x="9448" y="16312"/>
                    <a:pt x="9448" y="16312"/>
                  </a:cubicBezTo>
                  <a:lnTo>
                    <a:pt x="9471" y="16384"/>
                  </a:lnTo>
                  <a:close/>
                  <a:moveTo>
                    <a:pt x="3703" y="15997"/>
                  </a:moveTo>
                  <a:cubicBezTo>
                    <a:pt x="3763" y="16031"/>
                    <a:pt x="3763" y="16031"/>
                    <a:pt x="3763" y="16031"/>
                  </a:cubicBezTo>
                  <a:cubicBezTo>
                    <a:pt x="3769" y="16035"/>
                    <a:pt x="3769" y="16035"/>
                    <a:pt x="3769" y="16035"/>
                  </a:cubicBezTo>
                  <a:cubicBezTo>
                    <a:pt x="3866" y="15861"/>
                    <a:pt x="3866" y="15861"/>
                    <a:pt x="3866" y="15861"/>
                  </a:cubicBezTo>
                  <a:cubicBezTo>
                    <a:pt x="3823" y="15836"/>
                    <a:pt x="3823" y="15836"/>
                    <a:pt x="3823" y="15836"/>
                  </a:cubicBezTo>
                  <a:cubicBezTo>
                    <a:pt x="3832" y="15821"/>
                    <a:pt x="3832" y="15821"/>
                    <a:pt x="3832" y="15821"/>
                  </a:cubicBezTo>
                  <a:cubicBezTo>
                    <a:pt x="3748" y="15772"/>
                    <a:pt x="3748" y="15772"/>
                    <a:pt x="3748" y="15772"/>
                  </a:cubicBezTo>
                  <a:cubicBezTo>
                    <a:pt x="3678" y="15895"/>
                    <a:pt x="3678" y="15895"/>
                    <a:pt x="3678" y="15895"/>
                  </a:cubicBezTo>
                  <a:cubicBezTo>
                    <a:pt x="3741" y="15931"/>
                    <a:pt x="3741" y="15931"/>
                    <a:pt x="3741" y="15931"/>
                  </a:cubicBezTo>
                  <a:lnTo>
                    <a:pt x="3703" y="15997"/>
                  </a:lnTo>
                  <a:close/>
                  <a:moveTo>
                    <a:pt x="3696" y="15890"/>
                  </a:moveTo>
                  <a:cubicBezTo>
                    <a:pt x="3753" y="15790"/>
                    <a:pt x="3753" y="15790"/>
                    <a:pt x="3753" y="15790"/>
                  </a:cubicBezTo>
                  <a:cubicBezTo>
                    <a:pt x="3814" y="15825"/>
                    <a:pt x="3814" y="15825"/>
                    <a:pt x="3814" y="15825"/>
                  </a:cubicBezTo>
                  <a:cubicBezTo>
                    <a:pt x="3805" y="15841"/>
                    <a:pt x="3805" y="15841"/>
                    <a:pt x="3805" y="15841"/>
                  </a:cubicBezTo>
                  <a:cubicBezTo>
                    <a:pt x="3848" y="15866"/>
                    <a:pt x="3848" y="15866"/>
                    <a:pt x="3848" y="15866"/>
                  </a:cubicBezTo>
                  <a:cubicBezTo>
                    <a:pt x="3764" y="16017"/>
                    <a:pt x="3764" y="16017"/>
                    <a:pt x="3764" y="16017"/>
                  </a:cubicBezTo>
                  <a:cubicBezTo>
                    <a:pt x="3721" y="15992"/>
                    <a:pt x="3721" y="15992"/>
                    <a:pt x="3721" y="15992"/>
                  </a:cubicBezTo>
                  <a:cubicBezTo>
                    <a:pt x="3759" y="15926"/>
                    <a:pt x="3759" y="15926"/>
                    <a:pt x="3759" y="15926"/>
                  </a:cubicBezTo>
                  <a:lnTo>
                    <a:pt x="3696" y="15890"/>
                  </a:lnTo>
                  <a:close/>
                  <a:moveTo>
                    <a:pt x="6057" y="13841"/>
                  </a:moveTo>
                  <a:cubicBezTo>
                    <a:pt x="6063" y="13842"/>
                    <a:pt x="6063" y="13842"/>
                    <a:pt x="6063" y="13842"/>
                  </a:cubicBezTo>
                  <a:cubicBezTo>
                    <a:pt x="6065" y="13766"/>
                    <a:pt x="6065" y="13766"/>
                    <a:pt x="6065" y="13766"/>
                  </a:cubicBezTo>
                  <a:cubicBezTo>
                    <a:pt x="5989" y="13764"/>
                    <a:pt x="5989" y="13764"/>
                    <a:pt x="5989" y="13764"/>
                  </a:cubicBezTo>
                  <a:cubicBezTo>
                    <a:pt x="5991" y="13691"/>
                    <a:pt x="5991" y="13691"/>
                    <a:pt x="5991" y="13691"/>
                  </a:cubicBezTo>
                  <a:cubicBezTo>
                    <a:pt x="5850" y="13688"/>
                    <a:pt x="5850" y="13688"/>
                    <a:pt x="5850" y="13688"/>
                  </a:cubicBezTo>
                  <a:cubicBezTo>
                    <a:pt x="5848" y="13784"/>
                    <a:pt x="5848" y="13784"/>
                    <a:pt x="5848" y="13784"/>
                  </a:cubicBezTo>
                  <a:cubicBezTo>
                    <a:pt x="5854" y="13784"/>
                    <a:pt x="5854" y="13784"/>
                    <a:pt x="5854" y="13784"/>
                  </a:cubicBezTo>
                  <a:cubicBezTo>
                    <a:pt x="5866" y="13785"/>
                    <a:pt x="5866" y="13785"/>
                    <a:pt x="5866" y="13785"/>
                  </a:cubicBezTo>
                  <a:cubicBezTo>
                    <a:pt x="5865" y="13834"/>
                    <a:pt x="5865" y="13834"/>
                    <a:pt x="5865" y="13834"/>
                  </a:cubicBezTo>
                  <a:lnTo>
                    <a:pt x="6057" y="13841"/>
                  </a:lnTo>
                  <a:close/>
                  <a:moveTo>
                    <a:pt x="5861" y="13771"/>
                  </a:moveTo>
                  <a:cubicBezTo>
                    <a:pt x="5863" y="13701"/>
                    <a:pt x="5863" y="13701"/>
                    <a:pt x="5863" y="13701"/>
                  </a:cubicBezTo>
                  <a:cubicBezTo>
                    <a:pt x="5978" y="13704"/>
                    <a:pt x="5978" y="13704"/>
                    <a:pt x="5978" y="13704"/>
                  </a:cubicBezTo>
                  <a:cubicBezTo>
                    <a:pt x="5976" y="13777"/>
                    <a:pt x="5976" y="13777"/>
                    <a:pt x="5976" y="13777"/>
                  </a:cubicBezTo>
                  <a:cubicBezTo>
                    <a:pt x="6052" y="13778"/>
                    <a:pt x="6052" y="13778"/>
                    <a:pt x="6052" y="13778"/>
                  </a:cubicBezTo>
                  <a:cubicBezTo>
                    <a:pt x="6050" y="13828"/>
                    <a:pt x="6050" y="13828"/>
                    <a:pt x="6050" y="13828"/>
                  </a:cubicBezTo>
                  <a:cubicBezTo>
                    <a:pt x="5878" y="13822"/>
                    <a:pt x="5878" y="13822"/>
                    <a:pt x="5878" y="13822"/>
                  </a:cubicBezTo>
                  <a:cubicBezTo>
                    <a:pt x="5879" y="13772"/>
                    <a:pt x="5879" y="13772"/>
                    <a:pt x="5879" y="13772"/>
                  </a:cubicBezTo>
                  <a:cubicBezTo>
                    <a:pt x="5873" y="13772"/>
                    <a:pt x="5873" y="13772"/>
                    <a:pt x="5873" y="13772"/>
                  </a:cubicBezTo>
                  <a:lnTo>
                    <a:pt x="5861" y="13771"/>
                  </a:lnTo>
                  <a:close/>
                  <a:moveTo>
                    <a:pt x="6702" y="13067"/>
                  </a:moveTo>
                  <a:cubicBezTo>
                    <a:pt x="6562" y="13058"/>
                    <a:pt x="6562" y="13058"/>
                    <a:pt x="6562" y="13058"/>
                  </a:cubicBezTo>
                  <a:cubicBezTo>
                    <a:pt x="6556" y="13155"/>
                    <a:pt x="6556" y="13155"/>
                    <a:pt x="6556" y="13155"/>
                  </a:cubicBezTo>
                  <a:cubicBezTo>
                    <a:pt x="6562" y="13155"/>
                    <a:pt x="6562" y="13155"/>
                    <a:pt x="6562" y="13155"/>
                  </a:cubicBezTo>
                  <a:cubicBezTo>
                    <a:pt x="6574" y="13156"/>
                    <a:pt x="6574" y="13156"/>
                    <a:pt x="6574" y="13156"/>
                  </a:cubicBezTo>
                  <a:cubicBezTo>
                    <a:pt x="6571" y="13205"/>
                    <a:pt x="6571" y="13205"/>
                    <a:pt x="6571" y="13205"/>
                  </a:cubicBezTo>
                  <a:cubicBezTo>
                    <a:pt x="6762" y="13220"/>
                    <a:pt x="6762" y="13220"/>
                    <a:pt x="6762" y="13220"/>
                  </a:cubicBezTo>
                  <a:cubicBezTo>
                    <a:pt x="6769" y="13220"/>
                    <a:pt x="6769" y="13220"/>
                    <a:pt x="6769" y="13220"/>
                  </a:cubicBezTo>
                  <a:cubicBezTo>
                    <a:pt x="6773" y="13144"/>
                    <a:pt x="6773" y="13144"/>
                    <a:pt x="6773" y="13144"/>
                  </a:cubicBezTo>
                  <a:cubicBezTo>
                    <a:pt x="6698" y="13140"/>
                    <a:pt x="6698" y="13140"/>
                    <a:pt x="6698" y="13140"/>
                  </a:cubicBezTo>
                  <a:lnTo>
                    <a:pt x="6702" y="13067"/>
                  </a:lnTo>
                  <a:close/>
                  <a:moveTo>
                    <a:pt x="6760" y="13157"/>
                  </a:moveTo>
                  <a:cubicBezTo>
                    <a:pt x="6757" y="13206"/>
                    <a:pt x="6757" y="13206"/>
                    <a:pt x="6757" y="13206"/>
                  </a:cubicBezTo>
                  <a:cubicBezTo>
                    <a:pt x="6585" y="13193"/>
                    <a:pt x="6585" y="13193"/>
                    <a:pt x="6585" y="13193"/>
                  </a:cubicBezTo>
                  <a:cubicBezTo>
                    <a:pt x="6588" y="13143"/>
                    <a:pt x="6588" y="13143"/>
                    <a:pt x="6588" y="13143"/>
                  </a:cubicBezTo>
                  <a:cubicBezTo>
                    <a:pt x="6581" y="13143"/>
                    <a:pt x="6581" y="13143"/>
                    <a:pt x="6581" y="13143"/>
                  </a:cubicBezTo>
                  <a:cubicBezTo>
                    <a:pt x="6570" y="13142"/>
                    <a:pt x="6570" y="13142"/>
                    <a:pt x="6570" y="13142"/>
                  </a:cubicBezTo>
                  <a:cubicBezTo>
                    <a:pt x="6574" y="13072"/>
                    <a:pt x="6574" y="13072"/>
                    <a:pt x="6574" y="13072"/>
                  </a:cubicBezTo>
                  <a:cubicBezTo>
                    <a:pt x="6689" y="13079"/>
                    <a:pt x="6689" y="13079"/>
                    <a:pt x="6689" y="13079"/>
                  </a:cubicBezTo>
                  <a:cubicBezTo>
                    <a:pt x="6684" y="13152"/>
                    <a:pt x="6684" y="13152"/>
                    <a:pt x="6684" y="13152"/>
                  </a:cubicBezTo>
                  <a:lnTo>
                    <a:pt x="6760" y="13157"/>
                  </a:lnTo>
                  <a:close/>
                  <a:moveTo>
                    <a:pt x="3662" y="10407"/>
                  </a:moveTo>
                  <a:cubicBezTo>
                    <a:pt x="3664" y="10414"/>
                    <a:pt x="3664" y="10414"/>
                    <a:pt x="3664" y="10414"/>
                  </a:cubicBezTo>
                  <a:cubicBezTo>
                    <a:pt x="3736" y="10390"/>
                    <a:pt x="3736" y="10390"/>
                    <a:pt x="3736" y="10390"/>
                  </a:cubicBezTo>
                  <a:cubicBezTo>
                    <a:pt x="3712" y="10318"/>
                    <a:pt x="3712" y="10318"/>
                    <a:pt x="3712" y="10318"/>
                  </a:cubicBezTo>
                  <a:cubicBezTo>
                    <a:pt x="3782" y="10295"/>
                    <a:pt x="3782" y="10295"/>
                    <a:pt x="3782" y="10295"/>
                  </a:cubicBezTo>
                  <a:cubicBezTo>
                    <a:pt x="3737" y="10161"/>
                    <a:pt x="3737" y="10161"/>
                    <a:pt x="3737" y="10161"/>
                  </a:cubicBezTo>
                  <a:cubicBezTo>
                    <a:pt x="3645" y="10192"/>
                    <a:pt x="3645" y="10192"/>
                    <a:pt x="3645" y="10192"/>
                  </a:cubicBezTo>
                  <a:cubicBezTo>
                    <a:pt x="3648" y="10198"/>
                    <a:pt x="3648" y="10198"/>
                    <a:pt x="3648" y="10198"/>
                  </a:cubicBezTo>
                  <a:cubicBezTo>
                    <a:pt x="3651" y="10209"/>
                    <a:pt x="3651" y="10209"/>
                    <a:pt x="3651" y="10209"/>
                  </a:cubicBezTo>
                  <a:cubicBezTo>
                    <a:pt x="3604" y="10224"/>
                    <a:pt x="3604" y="10224"/>
                    <a:pt x="3604" y="10224"/>
                  </a:cubicBezTo>
                  <a:lnTo>
                    <a:pt x="3662" y="10407"/>
                  </a:lnTo>
                  <a:close/>
                  <a:moveTo>
                    <a:pt x="3666" y="10211"/>
                  </a:moveTo>
                  <a:cubicBezTo>
                    <a:pt x="3662" y="10200"/>
                    <a:pt x="3662" y="10200"/>
                    <a:pt x="3662" y="10200"/>
                  </a:cubicBezTo>
                  <a:cubicBezTo>
                    <a:pt x="3729" y="10178"/>
                    <a:pt x="3729" y="10178"/>
                    <a:pt x="3729" y="10178"/>
                  </a:cubicBezTo>
                  <a:cubicBezTo>
                    <a:pt x="3765" y="10287"/>
                    <a:pt x="3765" y="10287"/>
                    <a:pt x="3765" y="10287"/>
                  </a:cubicBezTo>
                  <a:cubicBezTo>
                    <a:pt x="3696" y="10310"/>
                    <a:pt x="3696" y="10310"/>
                    <a:pt x="3696" y="10310"/>
                  </a:cubicBezTo>
                  <a:cubicBezTo>
                    <a:pt x="3719" y="10382"/>
                    <a:pt x="3719" y="10382"/>
                    <a:pt x="3719" y="10382"/>
                  </a:cubicBezTo>
                  <a:cubicBezTo>
                    <a:pt x="3672" y="10397"/>
                    <a:pt x="3672" y="10397"/>
                    <a:pt x="3672" y="10397"/>
                  </a:cubicBezTo>
                  <a:cubicBezTo>
                    <a:pt x="3621" y="10233"/>
                    <a:pt x="3621" y="10233"/>
                    <a:pt x="3621" y="10233"/>
                  </a:cubicBezTo>
                  <a:cubicBezTo>
                    <a:pt x="3668" y="10217"/>
                    <a:pt x="3668" y="10217"/>
                    <a:pt x="3668" y="10217"/>
                  </a:cubicBezTo>
                  <a:lnTo>
                    <a:pt x="3666" y="10211"/>
                  </a:lnTo>
                  <a:close/>
                  <a:moveTo>
                    <a:pt x="4390" y="9447"/>
                  </a:moveTo>
                  <a:cubicBezTo>
                    <a:pt x="4460" y="9424"/>
                    <a:pt x="4460" y="9424"/>
                    <a:pt x="4460" y="9424"/>
                  </a:cubicBezTo>
                  <a:cubicBezTo>
                    <a:pt x="4415" y="9290"/>
                    <a:pt x="4415" y="9290"/>
                    <a:pt x="4415" y="9290"/>
                  </a:cubicBezTo>
                  <a:cubicBezTo>
                    <a:pt x="4323" y="9321"/>
                    <a:pt x="4323" y="9321"/>
                    <a:pt x="4323" y="9321"/>
                  </a:cubicBezTo>
                  <a:cubicBezTo>
                    <a:pt x="4326" y="9327"/>
                    <a:pt x="4326" y="9327"/>
                    <a:pt x="4326" y="9327"/>
                  </a:cubicBezTo>
                  <a:cubicBezTo>
                    <a:pt x="4329" y="9338"/>
                    <a:pt x="4329" y="9338"/>
                    <a:pt x="4329" y="9338"/>
                  </a:cubicBezTo>
                  <a:cubicBezTo>
                    <a:pt x="4282" y="9354"/>
                    <a:pt x="4282" y="9354"/>
                    <a:pt x="4282" y="9354"/>
                  </a:cubicBezTo>
                  <a:cubicBezTo>
                    <a:pt x="4340" y="9537"/>
                    <a:pt x="4340" y="9537"/>
                    <a:pt x="4340" y="9537"/>
                  </a:cubicBezTo>
                  <a:cubicBezTo>
                    <a:pt x="4342" y="9543"/>
                    <a:pt x="4342" y="9543"/>
                    <a:pt x="4342" y="9543"/>
                  </a:cubicBezTo>
                  <a:cubicBezTo>
                    <a:pt x="4414" y="9519"/>
                    <a:pt x="4414" y="9519"/>
                    <a:pt x="4414" y="9519"/>
                  </a:cubicBezTo>
                  <a:lnTo>
                    <a:pt x="4390" y="9447"/>
                  </a:lnTo>
                  <a:close/>
                  <a:moveTo>
                    <a:pt x="4299" y="9362"/>
                  </a:moveTo>
                  <a:cubicBezTo>
                    <a:pt x="4346" y="9346"/>
                    <a:pt x="4346" y="9346"/>
                    <a:pt x="4346" y="9346"/>
                  </a:cubicBezTo>
                  <a:cubicBezTo>
                    <a:pt x="4344" y="9340"/>
                    <a:pt x="4344" y="9340"/>
                    <a:pt x="4344" y="9340"/>
                  </a:cubicBezTo>
                  <a:cubicBezTo>
                    <a:pt x="4340" y="9329"/>
                    <a:pt x="4340" y="9329"/>
                    <a:pt x="4340" y="9329"/>
                  </a:cubicBezTo>
                  <a:cubicBezTo>
                    <a:pt x="4407" y="9307"/>
                    <a:pt x="4407" y="9307"/>
                    <a:pt x="4407" y="9307"/>
                  </a:cubicBezTo>
                  <a:cubicBezTo>
                    <a:pt x="4443" y="9416"/>
                    <a:pt x="4443" y="9416"/>
                    <a:pt x="4443" y="9416"/>
                  </a:cubicBezTo>
                  <a:cubicBezTo>
                    <a:pt x="4374" y="9439"/>
                    <a:pt x="4374" y="9439"/>
                    <a:pt x="4374" y="9439"/>
                  </a:cubicBezTo>
                  <a:cubicBezTo>
                    <a:pt x="4397" y="9511"/>
                    <a:pt x="4397" y="9511"/>
                    <a:pt x="4397" y="9511"/>
                  </a:cubicBezTo>
                  <a:cubicBezTo>
                    <a:pt x="4350" y="9526"/>
                    <a:pt x="4350" y="9526"/>
                    <a:pt x="4350" y="9526"/>
                  </a:cubicBezTo>
                  <a:lnTo>
                    <a:pt x="4299" y="9362"/>
                  </a:lnTo>
                  <a:close/>
                  <a:moveTo>
                    <a:pt x="7246" y="13129"/>
                  </a:moveTo>
                  <a:cubicBezTo>
                    <a:pt x="7265" y="13131"/>
                    <a:pt x="7265" y="13131"/>
                    <a:pt x="7265" y="13131"/>
                  </a:cubicBezTo>
                  <a:cubicBezTo>
                    <a:pt x="7273" y="13035"/>
                    <a:pt x="7273" y="13035"/>
                    <a:pt x="7273" y="13035"/>
                  </a:cubicBezTo>
                  <a:cubicBezTo>
                    <a:pt x="7132" y="13022"/>
                    <a:pt x="7132" y="13022"/>
                    <a:pt x="7132" y="13022"/>
                  </a:cubicBezTo>
                  <a:cubicBezTo>
                    <a:pt x="7126" y="13095"/>
                    <a:pt x="7126" y="13095"/>
                    <a:pt x="7126" y="13095"/>
                  </a:cubicBezTo>
                  <a:cubicBezTo>
                    <a:pt x="7051" y="13089"/>
                    <a:pt x="7051" y="13089"/>
                    <a:pt x="7051" y="13089"/>
                  </a:cubicBezTo>
                  <a:cubicBezTo>
                    <a:pt x="7045" y="13158"/>
                    <a:pt x="7045" y="13158"/>
                    <a:pt x="7045" y="13158"/>
                  </a:cubicBezTo>
                  <a:cubicBezTo>
                    <a:pt x="7044" y="13164"/>
                    <a:pt x="7044" y="13164"/>
                    <a:pt x="7044" y="13164"/>
                  </a:cubicBezTo>
                  <a:cubicBezTo>
                    <a:pt x="7242" y="13179"/>
                    <a:pt x="7242" y="13179"/>
                    <a:pt x="7242" y="13179"/>
                  </a:cubicBezTo>
                  <a:lnTo>
                    <a:pt x="7246" y="13129"/>
                  </a:lnTo>
                  <a:close/>
                  <a:moveTo>
                    <a:pt x="7230" y="13165"/>
                  </a:moveTo>
                  <a:cubicBezTo>
                    <a:pt x="7058" y="13152"/>
                    <a:pt x="7058" y="13152"/>
                    <a:pt x="7058" y="13152"/>
                  </a:cubicBezTo>
                  <a:cubicBezTo>
                    <a:pt x="7063" y="13103"/>
                    <a:pt x="7063" y="13103"/>
                    <a:pt x="7063" y="13103"/>
                  </a:cubicBezTo>
                  <a:cubicBezTo>
                    <a:pt x="7138" y="13110"/>
                    <a:pt x="7138" y="13110"/>
                    <a:pt x="7138" y="13110"/>
                  </a:cubicBezTo>
                  <a:cubicBezTo>
                    <a:pt x="7144" y="13037"/>
                    <a:pt x="7144" y="13037"/>
                    <a:pt x="7144" y="13037"/>
                  </a:cubicBezTo>
                  <a:cubicBezTo>
                    <a:pt x="7259" y="13047"/>
                    <a:pt x="7259" y="13047"/>
                    <a:pt x="7259" y="13047"/>
                  </a:cubicBezTo>
                  <a:cubicBezTo>
                    <a:pt x="7253" y="13117"/>
                    <a:pt x="7253" y="13117"/>
                    <a:pt x="7253" y="13117"/>
                  </a:cubicBezTo>
                  <a:cubicBezTo>
                    <a:pt x="7234" y="13115"/>
                    <a:pt x="7234" y="13115"/>
                    <a:pt x="7234" y="13115"/>
                  </a:cubicBezTo>
                  <a:lnTo>
                    <a:pt x="7230" y="13165"/>
                  </a:lnTo>
                  <a:close/>
                  <a:moveTo>
                    <a:pt x="6762" y="12620"/>
                  </a:moveTo>
                  <a:cubicBezTo>
                    <a:pt x="6622" y="12607"/>
                    <a:pt x="6622" y="12607"/>
                    <a:pt x="6622" y="12607"/>
                  </a:cubicBezTo>
                  <a:cubicBezTo>
                    <a:pt x="6613" y="12703"/>
                    <a:pt x="6613" y="12703"/>
                    <a:pt x="6613" y="12703"/>
                  </a:cubicBezTo>
                  <a:cubicBezTo>
                    <a:pt x="6619" y="12704"/>
                    <a:pt x="6619" y="12704"/>
                    <a:pt x="6619" y="12704"/>
                  </a:cubicBezTo>
                  <a:cubicBezTo>
                    <a:pt x="6631" y="12705"/>
                    <a:pt x="6631" y="12705"/>
                    <a:pt x="6631" y="12705"/>
                  </a:cubicBezTo>
                  <a:cubicBezTo>
                    <a:pt x="6626" y="12754"/>
                    <a:pt x="6626" y="12754"/>
                    <a:pt x="6626" y="12754"/>
                  </a:cubicBezTo>
                  <a:cubicBezTo>
                    <a:pt x="6817" y="12775"/>
                    <a:pt x="6817" y="12775"/>
                    <a:pt x="6817" y="12775"/>
                  </a:cubicBezTo>
                  <a:cubicBezTo>
                    <a:pt x="6824" y="12775"/>
                    <a:pt x="6824" y="12775"/>
                    <a:pt x="6824" y="12775"/>
                  </a:cubicBezTo>
                  <a:cubicBezTo>
                    <a:pt x="6831" y="12700"/>
                    <a:pt x="6831" y="12700"/>
                    <a:pt x="6831" y="12700"/>
                  </a:cubicBezTo>
                  <a:cubicBezTo>
                    <a:pt x="6755" y="12693"/>
                    <a:pt x="6755" y="12693"/>
                    <a:pt x="6755" y="12693"/>
                  </a:cubicBezTo>
                  <a:lnTo>
                    <a:pt x="6762" y="12620"/>
                  </a:lnTo>
                  <a:close/>
                  <a:moveTo>
                    <a:pt x="6816" y="12712"/>
                  </a:moveTo>
                  <a:cubicBezTo>
                    <a:pt x="6812" y="12761"/>
                    <a:pt x="6812" y="12761"/>
                    <a:pt x="6812" y="12761"/>
                  </a:cubicBezTo>
                  <a:cubicBezTo>
                    <a:pt x="6641" y="12743"/>
                    <a:pt x="6641" y="12743"/>
                    <a:pt x="6641" y="12743"/>
                  </a:cubicBezTo>
                  <a:cubicBezTo>
                    <a:pt x="6645" y="12693"/>
                    <a:pt x="6645" y="12693"/>
                    <a:pt x="6645" y="12693"/>
                  </a:cubicBezTo>
                  <a:cubicBezTo>
                    <a:pt x="6639" y="12693"/>
                    <a:pt x="6639" y="12693"/>
                    <a:pt x="6639" y="12693"/>
                  </a:cubicBezTo>
                  <a:cubicBezTo>
                    <a:pt x="6627" y="12691"/>
                    <a:pt x="6627" y="12691"/>
                    <a:pt x="6627" y="12691"/>
                  </a:cubicBezTo>
                  <a:cubicBezTo>
                    <a:pt x="6633" y="12621"/>
                    <a:pt x="6633" y="12621"/>
                    <a:pt x="6633" y="12621"/>
                  </a:cubicBezTo>
                  <a:cubicBezTo>
                    <a:pt x="6748" y="12632"/>
                    <a:pt x="6748" y="12632"/>
                    <a:pt x="6748" y="12632"/>
                  </a:cubicBezTo>
                  <a:cubicBezTo>
                    <a:pt x="6741" y="12705"/>
                    <a:pt x="6741" y="12705"/>
                    <a:pt x="6741" y="12705"/>
                  </a:cubicBezTo>
                  <a:lnTo>
                    <a:pt x="6816" y="12712"/>
                  </a:lnTo>
                  <a:close/>
                  <a:moveTo>
                    <a:pt x="6864" y="11714"/>
                  </a:moveTo>
                  <a:cubicBezTo>
                    <a:pt x="6724" y="11701"/>
                    <a:pt x="6724" y="11701"/>
                    <a:pt x="6724" y="11701"/>
                  </a:cubicBezTo>
                  <a:cubicBezTo>
                    <a:pt x="6715" y="11797"/>
                    <a:pt x="6715" y="11797"/>
                    <a:pt x="6715" y="11797"/>
                  </a:cubicBezTo>
                  <a:cubicBezTo>
                    <a:pt x="6722" y="11798"/>
                    <a:pt x="6722" y="11798"/>
                    <a:pt x="6722" y="11798"/>
                  </a:cubicBezTo>
                  <a:cubicBezTo>
                    <a:pt x="6733" y="11799"/>
                    <a:pt x="6733" y="11799"/>
                    <a:pt x="6733" y="11799"/>
                  </a:cubicBezTo>
                  <a:cubicBezTo>
                    <a:pt x="6729" y="11848"/>
                    <a:pt x="6729" y="11848"/>
                    <a:pt x="6729" y="11848"/>
                  </a:cubicBezTo>
                  <a:cubicBezTo>
                    <a:pt x="6920" y="11869"/>
                    <a:pt x="6920" y="11869"/>
                    <a:pt x="6920" y="11869"/>
                  </a:cubicBezTo>
                  <a:cubicBezTo>
                    <a:pt x="6926" y="11869"/>
                    <a:pt x="6926" y="11869"/>
                    <a:pt x="6926" y="11869"/>
                  </a:cubicBezTo>
                  <a:cubicBezTo>
                    <a:pt x="6933" y="11794"/>
                    <a:pt x="6933" y="11794"/>
                    <a:pt x="6933" y="11794"/>
                  </a:cubicBezTo>
                  <a:cubicBezTo>
                    <a:pt x="6858" y="11787"/>
                    <a:pt x="6858" y="11787"/>
                    <a:pt x="6858" y="11787"/>
                  </a:cubicBezTo>
                  <a:lnTo>
                    <a:pt x="6864" y="11714"/>
                  </a:lnTo>
                  <a:close/>
                  <a:moveTo>
                    <a:pt x="6919" y="11806"/>
                  </a:moveTo>
                  <a:cubicBezTo>
                    <a:pt x="6914" y="11855"/>
                    <a:pt x="6914" y="11855"/>
                    <a:pt x="6914" y="11855"/>
                  </a:cubicBezTo>
                  <a:cubicBezTo>
                    <a:pt x="6743" y="11837"/>
                    <a:pt x="6743" y="11837"/>
                    <a:pt x="6743" y="11837"/>
                  </a:cubicBezTo>
                  <a:cubicBezTo>
                    <a:pt x="6748" y="11787"/>
                    <a:pt x="6748" y="11787"/>
                    <a:pt x="6748" y="11787"/>
                  </a:cubicBezTo>
                  <a:cubicBezTo>
                    <a:pt x="6741" y="11787"/>
                    <a:pt x="6741" y="11787"/>
                    <a:pt x="6741" y="11787"/>
                  </a:cubicBezTo>
                  <a:cubicBezTo>
                    <a:pt x="6729" y="11785"/>
                    <a:pt x="6729" y="11785"/>
                    <a:pt x="6729" y="11785"/>
                  </a:cubicBezTo>
                  <a:cubicBezTo>
                    <a:pt x="6736" y="11715"/>
                    <a:pt x="6736" y="11715"/>
                    <a:pt x="6736" y="11715"/>
                  </a:cubicBezTo>
                  <a:cubicBezTo>
                    <a:pt x="6850" y="11726"/>
                    <a:pt x="6850" y="11726"/>
                    <a:pt x="6850" y="11726"/>
                  </a:cubicBezTo>
                  <a:cubicBezTo>
                    <a:pt x="6844" y="11799"/>
                    <a:pt x="6844" y="11799"/>
                    <a:pt x="6844" y="11799"/>
                  </a:cubicBezTo>
                  <a:lnTo>
                    <a:pt x="6919" y="11806"/>
                  </a:lnTo>
                  <a:close/>
                  <a:moveTo>
                    <a:pt x="7121" y="10135"/>
                  </a:moveTo>
                  <a:cubicBezTo>
                    <a:pt x="7023" y="10034"/>
                    <a:pt x="7023" y="10034"/>
                    <a:pt x="7023" y="10034"/>
                  </a:cubicBezTo>
                  <a:cubicBezTo>
                    <a:pt x="6953" y="10101"/>
                    <a:pt x="6953" y="10101"/>
                    <a:pt x="6953" y="10101"/>
                  </a:cubicBezTo>
                  <a:cubicBezTo>
                    <a:pt x="6958" y="10106"/>
                    <a:pt x="6958" y="10106"/>
                    <a:pt x="6958" y="10106"/>
                  </a:cubicBezTo>
                  <a:cubicBezTo>
                    <a:pt x="6966" y="10115"/>
                    <a:pt x="6966" y="10115"/>
                    <a:pt x="6966" y="10115"/>
                  </a:cubicBezTo>
                  <a:cubicBezTo>
                    <a:pt x="6931" y="10149"/>
                    <a:pt x="6931" y="10149"/>
                    <a:pt x="6931" y="10149"/>
                  </a:cubicBezTo>
                  <a:cubicBezTo>
                    <a:pt x="7062" y="10289"/>
                    <a:pt x="7062" y="10289"/>
                    <a:pt x="7062" y="10289"/>
                  </a:cubicBezTo>
                  <a:cubicBezTo>
                    <a:pt x="7067" y="10293"/>
                    <a:pt x="7067" y="10293"/>
                    <a:pt x="7067" y="10293"/>
                  </a:cubicBezTo>
                  <a:cubicBezTo>
                    <a:pt x="7121" y="10240"/>
                    <a:pt x="7121" y="10240"/>
                    <a:pt x="7121" y="10240"/>
                  </a:cubicBezTo>
                  <a:cubicBezTo>
                    <a:pt x="7069" y="10186"/>
                    <a:pt x="7069" y="10186"/>
                    <a:pt x="7069" y="10186"/>
                  </a:cubicBezTo>
                  <a:lnTo>
                    <a:pt x="7121" y="10135"/>
                  </a:lnTo>
                  <a:close/>
                  <a:moveTo>
                    <a:pt x="7103" y="10240"/>
                  </a:moveTo>
                  <a:cubicBezTo>
                    <a:pt x="7067" y="10275"/>
                    <a:pt x="7067" y="10275"/>
                    <a:pt x="7067" y="10275"/>
                  </a:cubicBezTo>
                  <a:cubicBezTo>
                    <a:pt x="6949" y="10149"/>
                    <a:pt x="6949" y="10149"/>
                    <a:pt x="6949" y="10149"/>
                  </a:cubicBezTo>
                  <a:cubicBezTo>
                    <a:pt x="6985" y="10115"/>
                    <a:pt x="6985" y="10115"/>
                    <a:pt x="6985" y="10115"/>
                  </a:cubicBezTo>
                  <a:cubicBezTo>
                    <a:pt x="6980" y="10110"/>
                    <a:pt x="6980" y="10110"/>
                    <a:pt x="6980" y="10110"/>
                  </a:cubicBezTo>
                  <a:cubicBezTo>
                    <a:pt x="6972" y="10102"/>
                    <a:pt x="6972" y="10102"/>
                    <a:pt x="6972" y="10102"/>
                  </a:cubicBezTo>
                  <a:cubicBezTo>
                    <a:pt x="7022" y="10053"/>
                    <a:pt x="7022" y="10053"/>
                    <a:pt x="7022" y="10053"/>
                  </a:cubicBezTo>
                  <a:cubicBezTo>
                    <a:pt x="7102" y="10135"/>
                    <a:pt x="7102" y="10135"/>
                    <a:pt x="7102" y="10135"/>
                  </a:cubicBezTo>
                  <a:cubicBezTo>
                    <a:pt x="7050" y="10186"/>
                    <a:pt x="7050" y="10186"/>
                    <a:pt x="7050" y="10186"/>
                  </a:cubicBezTo>
                  <a:lnTo>
                    <a:pt x="7103" y="10240"/>
                  </a:lnTo>
                  <a:close/>
                  <a:moveTo>
                    <a:pt x="7328" y="9916"/>
                  </a:moveTo>
                  <a:cubicBezTo>
                    <a:pt x="7230" y="9815"/>
                    <a:pt x="7230" y="9815"/>
                    <a:pt x="7230" y="9815"/>
                  </a:cubicBezTo>
                  <a:cubicBezTo>
                    <a:pt x="7161" y="9883"/>
                    <a:pt x="7161" y="9883"/>
                    <a:pt x="7161" y="9883"/>
                  </a:cubicBezTo>
                  <a:cubicBezTo>
                    <a:pt x="7165" y="9887"/>
                    <a:pt x="7165" y="9887"/>
                    <a:pt x="7165" y="9887"/>
                  </a:cubicBezTo>
                  <a:cubicBezTo>
                    <a:pt x="7173" y="9896"/>
                    <a:pt x="7173" y="9896"/>
                    <a:pt x="7173" y="9896"/>
                  </a:cubicBezTo>
                  <a:cubicBezTo>
                    <a:pt x="7138" y="9930"/>
                    <a:pt x="7138" y="9930"/>
                    <a:pt x="7138" y="9930"/>
                  </a:cubicBezTo>
                  <a:cubicBezTo>
                    <a:pt x="7270" y="10070"/>
                    <a:pt x="7270" y="10070"/>
                    <a:pt x="7270" y="10070"/>
                  </a:cubicBezTo>
                  <a:cubicBezTo>
                    <a:pt x="7274" y="10074"/>
                    <a:pt x="7274" y="10074"/>
                    <a:pt x="7274" y="10074"/>
                  </a:cubicBezTo>
                  <a:cubicBezTo>
                    <a:pt x="7329" y="10022"/>
                    <a:pt x="7329" y="10022"/>
                    <a:pt x="7329" y="10022"/>
                  </a:cubicBezTo>
                  <a:cubicBezTo>
                    <a:pt x="7276" y="9967"/>
                    <a:pt x="7276" y="9967"/>
                    <a:pt x="7276" y="9967"/>
                  </a:cubicBezTo>
                  <a:lnTo>
                    <a:pt x="7328" y="9916"/>
                  </a:lnTo>
                  <a:close/>
                  <a:moveTo>
                    <a:pt x="7310" y="10021"/>
                  </a:moveTo>
                  <a:cubicBezTo>
                    <a:pt x="7275" y="10056"/>
                    <a:pt x="7275" y="10056"/>
                    <a:pt x="7275" y="10056"/>
                  </a:cubicBezTo>
                  <a:cubicBezTo>
                    <a:pt x="7156" y="9931"/>
                    <a:pt x="7156" y="9931"/>
                    <a:pt x="7156" y="9931"/>
                  </a:cubicBezTo>
                  <a:cubicBezTo>
                    <a:pt x="7192" y="9896"/>
                    <a:pt x="7192" y="9896"/>
                    <a:pt x="7192" y="9896"/>
                  </a:cubicBezTo>
                  <a:cubicBezTo>
                    <a:pt x="7187" y="9891"/>
                    <a:pt x="7187" y="9891"/>
                    <a:pt x="7187" y="9891"/>
                  </a:cubicBezTo>
                  <a:cubicBezTo>
                    <a:pt x="7179" y="9883"/>
                    <a:pt x="7179" y="9883"/>
                    <a:pt x="7179" y="9883"/>
                  </a:cubicBezTo>
                  <a:cubicBezTo>
                    <a:pt x="7230" y="9834"/>
                    <a:pt x="7230" y="9834"/>
                    <a:pt x="7230" y="9834"/>
                  </a:cubicBezTo>
                  <a:cubicBezTo>
                    <a:pt x="7310" y="9916"/>
                    <a:pt x="7310" y="9916"/>
                    <a:pt x="7310" y="9916"/>
                  </a:cubicBezTo>
                  <a:cubicBezTo>
                    <a:pt x="7257" y="9967"/>
                    <a:pt x="7257" y="9967"/>
                    <a:pt x="7257" y="9967"/>
                  </a:cubicBezTo>
                  <a:lnTo>
                    <a:pt x="7310" y="10021"/>
                  </a:lnTo>
                  <a:close/>
                  <a:moveTo>
                    <a:pt x="7506" y="9695"/>
                  </a:moveTo>
                  <a:cubicBezTo>
                    <a:pt x="7407" y="9594"/>
                    <a:pt x="7407" y="9594"/>
                    <a:pt x="7407" y="9594"/>
                  </a:cubicBezTo>
                  <a:cubicBezTo>
                    <a:pt x="7338" y="9661"/>
                    <a:pt x="7338" y="9661"/>
                    <a:pt x="7338" y="9661"/>
                  </a:cubicBezTo>
                  <a:cubicBezTo>
                    <a:pt x="7343" y="9666"/>
                    <a:pt x="7343" y="9666"/>
                    <a:pt x="7343" y="9666"/>
                  </a:cubicBezTo>
                  <a:cubicBezTo>
                    <a:pt x="7351" y="9674"/>
                    <a:pt x="7351" y="9674"/>
                    <a:pt x="7351" y="9674"/>
                  </a:cubicBezTo>
                  <a:cubicBezTo>
                    <a:pt x="7315" y="9709"/>
                    <a:pt x="7315" y="9709"/>
                    <a:pt x="7315" y="9709"/>
                  </a:cubicBezTo>
                  <a:cubicBezTo>
                    <a:pt x="7447" y="9848"/>
                    <a:pt x="7447" y="9848"/>
                    <a:pt x="7447" y="9848"/>
                  </a:cubicBezTo>
                  <a:cubicBezTo>
                    <a:pt x="7452" y="9853"/>
                    <a:pt x="7452" y="9853"/>
                    <a:pt x="7452" y="9853"/>
                  </a:cubicBezTo>
                  <a:cubicBezTo>
                    <a:pt x="7506" y="9800"/>
                    <a:pt x="7506" y="9800"/>
                    <a:pt x="7506" y="9800"/>
                  </a:cubicBezTo>
                  <a:cubicBezTo>
                    <a:pt x="7453" y="9746"/>
                    <a:pt x="7453" y="9746"/>
                    <a:pt x="7453" y="9746"/>
                  </a:cubicBezTo>
                  <a:lnTo>
                    <a:pt x="7506" y="9695"/>
                  </a:lnTo>
                  <a:close/>
                  <a:moveTo>
                    <a:pt x="7488" y="9800"/>
                  </a:moveTo>
                  <a:cubicBezTo>
                    <a:pt x="7452" y="9834"/>
                    <a:pt x="7452" y="9834"/>
                    <a:pt x="7452" y="9834"/>
                  </a:cubicBezTo>
                  <a:cubicBezTo>
                    <a:pt x="7334" y="9709"/>
                    <a:pt x="7334" y="9709"/>
                    <a:pt x="7334" y="9709"/>
                  </a:cubicBezTo>
                  <a:cubicBezTo>
                    <a:pt x="7369" y="9675"/>
                    <a:pt x="7369" y="9675"/>
                    <a:pt x="7369" y="9675"/>
                  </a:cubicBezTo>
                  <a:cubicBezTo>
                    <a:pt x="7365" y="9670"/>
                    <a:pt x="7365" y="9670"/>
                    <a:pt x="7365" y="9670"/>
                  </a:cubicBezTo>
                  <a:cubicBezTo>
                    <a:pt x="7357" y="9661"/>
                    <a:pt x="7357" y="9661"/>
                    <a:pt x="7357" y="9661"/>
                  </a:cubicBezTo>
                  <a:cubicBezTo>
                    <a:pt x="7407" y="9612"/>
                    <a:pt x="7407" y="9612"/>
                    <a:pt x="7407" y="9612"/>
                  </a:cubicBezTo>
                  <a:cubicBezTo>
                    <a:pt x="7487" y="9695"/>
                    <a:pt x="7487" y="9695"/>
                    <a:pt x="7487" y="9695"/>
                  </a:cubicBezTo>
                  <a:cubicBezTo>
                    <a:pt x="7435" y="9746"/>
                    <a:pt x="7435" y="9746"/>
                    <a:pt x="7435" y="9746"/>
                  </a:cubicBezTo>
                  <a:lnTo>
                    <a:pt x="7488" y="9800"/>
                  </a:lnTo>
                  <a:close/>
                  <a:moveTo>
                    <a:pt x="7659" y="9443"/>
                  </a:moveTo>
                  <a:cubicBezTo>
                    <a:pt x="7561" y="9342"/>
                    <a:pt x="7561" y="9342"/>
                    <a:pt x="7561" y="9342"/>
                  </a:cubicBezTo>
                  <a:cubicBezTo>
                    <a:pt x="7491" y="9410"/>
                    <a:pt x="7491" y="9410"/>
                    <a:pt x="7491" y="9410"/>
                  </a:cubicBezTo>
                  <a:cubicBezTo>
                    <a:pt x="7496" y="9414"/>
                    <a:pt x="7496" y="9414"/>
                    <a:pt x="7496" y="9414"/>
                  </a:cubicBezTo>
                  <a:cubicBezTo>
                    <a:pt x="7504" y="9423"/>
                    <a:pt x="7504" y="9423"/>
                    <a:pt x="7504" y="9423"/>
                  </a:cubicBezTo>
                  <a:cubicBezTo>
                    <a:pt x="7468" y="9457"/>
                    <a:pt x="7468" y="9457"/>
                    <a:pt x="7468" y="9457"/>
                  </a:cubicBezTo>
                  <a:cubicBezTo>
                    <a:pt x="7600" y="9597"/>
                    <a:pt x="7600" y="9597"/>
                    <a:pt x="7600" y="9597"/>
                  </a:cubicBezTo>
                  <a:cubicBezTo>
                    <a:pt x="7605" y="9602"/>
                    <a:pt x="7605" y="9602"/>
                    <a:pt x="7605" y="9602"/>
                  </a:cubicBezTo>
                  <a:cubicBezTo>
                    <a:pt x="7659" y="9549"/>
                    <a:pt x="7659" y="9549"/>
                    <a:pt x="7659" y="9549"/>
                  </a:cubicBezTo>
                  <a:cubicBezTo>
                    <a:pt x="7606" y="9494"/>
                    <a:pt x="7606" y="9494"/>
                    <a:pt x="7606" y="9494"/>
                  </a:cubicBezTo>
                  <a:lnTo>
                    <a:pt x="7659" y="9443"/>
                  </a:lnTo>
                  <a:close/>
                  <a:moveTo>
                    <a:pt x="7641" y="9548"/>
                  </a:moveTo>
                  <a:cubicBezTo>
                    <a:pt x="7605" y="9583"/>
                    <a:pt x="7605" y="9583"/>
                    <a:pt x="7605" y="9583"/>
                  </a:cubicBezTo>
                  <a:cubicBezTo>
                    <a:pt x="7487" y="9458"/>
                    <a:pt x="7487" y="9458"/>
                    <a:pt x="7487" y="9458"/>
                  </a:cubicBezTo>
                  <a:cubicBezTo>
                    <a:pt x="7523" y="9423"/>
                    <a:pt x="7523" y="9423"/>
                    <a:pt x="7523" y="9423"/>
                  </a:cubicBezTo>
                  <a:cubicBezTo>
                    <a:pt x="7518" y="9418"/>
                    <a:pt x="7518" y="9418"/>
                    <a:pt x="7518" y="9418"/>
                  </a:cubicBezTo>
                  <a:cubicBezTo>
                    <a:pt x="7510" y="9410"/>
                    <a:pt x="7510" y="9410"/>
                    <a:pt x="7510" y="9410"/>
                  </a:cubicBezTo>
                  <a:cubicBezTo>
                    <a:pt x="7560" y="9361"/>
                    <a:pt x="7560" y="9361"/>
                    <a:pt x="7560" y="9361"/>
                  </a:cubicBezTo>
                  <a:cubicBezTo>
                    <a:pt x="7640" y="9443"/>
                    <a:pt x="7640" y="9443"/>
                    <a:pt x="7640" y="9443"/>
                  </a:cubicBezTo>
                  <a:cubicBezTo>
                    <a:pt x="7588" y="9494"/>
                    <a:pt x="7588" y="9494"/>
                    <a:pt x="7588" y="9494"/>
                  </a:cubicBezTo>
                  <a:lnTo>
                    <a:pt x="7641" y="9548"/>
                  </a:lnTo>
                  <a:close/>
                  <a:moveTo>
                    <a:pt x="7801" y="9189"/>
                  </a:moveTo>
                  <a:cubicBezTo>
                    <a:pt x="7703" y="9088"/>
                    <a:pt x="7703" y="9088"/>
                    <a:pt x="7703" y="9088"/>
                  </a:cubicBezTo>
                  <a:cubicBezTo>
                    <a:pt x="7633" y="9156"/>
                    <a:pt x="7633" y="9156"/>
                    <a:pt x="7633" y="9156"/>
                  </a:cubicBezTo>
                  <a:cubicBezTo>
                    <a:pt x="7638" y="9160"/>
                    <a:pt x="7638" y="9160"/>
                    <a:pt x="7638" y="9160"/>
                  </a:cubicBezTo>
                  <a:cubicBezTo>
                    <a:pt x="7646" y="9169"/>
                    <a:pt x="7646" y="9169"/>
                    <a:pt x="7646" y="9169"/>
                  </a:cubicBezTo>
                  <a:cubicBezTo>
                    <a:pt x="7611" y="9203"/>
                    <a:pt x="7611" y="9203"/>
                    <a:pt x="7611" y="9203"/>
                  </a:cubicBezTo>
                  <a:cubicBezTo>
                    <a:pt x="7742" y="9343"/>
                    <a:pt x="7742" y="9343"/>
                    <a:pt x="7742" y="9343"/>
                  </a:cubicBezTo>
                  <a:cubicBezTo>
                    <a:pt x="7747" y="9347"/>
                    <a:pt x="7747" y="9347"/>
                    <a:pt x="7747" y="9347"/>
                  </a:cubicBezTo>
                  <a:cubicBezTo>
                    <a:pt x="7801" y="9295"/>
                    <a:pt x="7801" y="9295"/>
                    <a:pt x="7801" y="9295"/>
                  </a:cubicBezTo>
                  <a:cubicBezTo>
                    <a:pt x="7749" y="9240"/>
                    <a:pt x="7749" y="9240"/>
                    <a:pt x="7749" y="9240"/>
                  </a:cubicBezTo>
                  <a:lnTo>
                    <a:pt x="7801" y="9189"/>
                  </a:lnTo>
                  <a:close/>
                  <a:moveTo>
                    <a:pt x="7783" y="9294"/>
                  </a:moveTo>
                  <a:cubicBezTo>
                    <a:pt x="7747" y="9329"/>
                    <a:pt x="7747" y="9329"/>
                    <a:pt x="7747" y="9329"/>
                  </a:cubicBezTo>
                  <a:cubicBezTo>
                    <a:pt x="7629" y="9204"/>
                    <a:pt x="7629" y="9204"/>
                    <a:pt x="7629" y="9204"/>
                  </a:cubicBezTo>
                  <a:cubicBezTo>
                    <a:pt x="7665" y="9169"/>
                    <a:pt x="7665" y="9169"/>
                    <a:pt x="7665" y="9169"/>
                  </a:cubicBezTo>
                  <a:cubicBezTo>
                    <a:pt x="7660" y="9164"/>
                    <a:pt x="7660" y="9164"/>
                    <a:pt x="7660" y="9164"/>
                  </a:cubicBezTo>
                  <a:cubicBezTo>
                    <a:pt x="7652" y="9156"/>
                    <a:pt x="7652" y="9156"/>
                    <a:pt x="7652" y="9156"/>
                  </a:cubicBezTo>
                  <a:cubicBezTo>
                    <a:pt x="7702" y="9107"/>
                    <a:pt x="7702" y="9107"/>
                    <a:pt x="7702" y="9107"/>
                  </a:cubicBezTo>
                  <a:cubicBezTo>
                    <a:pt x="7782" y="9189"/>
                    <a:pt x="7782" y="9189"/>
                    <a:pt x="7782" y="9189"/>
                  </a:cubicBezTo>
                  <a:cubicBezTo>
                    <a:pt x="7730" y="9240"/>
                    <a:pt x="7730" y="9240"/>
                    <a:pt x="7730" y="9240"/>
                  </a:cubicBezTo>
                  <a:lnTo>
                    <a:pt x="7783" y="9294"/>
                  </a:lnTo>
                  <a:close/>
                  <a:moveTo>
                    <a:pt x="6891" y="11376"/>
                  </a:moveTo>
                  <a:cubicBezTo>
                    <a:pt x="6751" y="11363"/>
                    <a:pt x="6751" y="11363"/>
                    <a:pt x="6751" y="11363"/>
                  </a:cubicBezTo>
                  <a:cubicBezTo>
                    <a:pt x="6742" y="11459"/>
                    <a:pt x="6742" y="11459"/>
                    <a:pt x="6742" y="11459"/>
                  </a:cubicBezTo>
                  <a:cubicBezTo>
                    <a:pt x="6748" y="11460"/>
                    <a:pt x="6748" y="11460"/>
                    <a:pt x="6748" y="11460"/>
                  </a:cubicBezTo>
                  <a:cubicBezTo>
                    <a:pt x="6760" y="11461"/>
                    <a:pt x="6760" y="11461"/>
                    <a:pt x="6760" y="11461"/>
                  </a:cubicBezTo>
                  <a:cubicBezTo>
                    <a:pt x="6756" y="11510"/>
                    <a:pt x="6756" y="11510"/>
                    <a:pt x="6756" y="11510"/>
                  </a:cubicBezTo>
                  <a:cubicBezTo>
                    <a:pt x="6946" y="11530"/>
                    <a:pt x="6946" y="11530"/>
                    <a:pt x="6946" y="11530"/>
                  </a:cubicBezTo>
                  <a:cubicBezTo>
                    <a:pt x="6953" y="11531"/>
                    <a:pt x="6953" y="11531"/>
                    <a:pt x="6953" y="11531"/>
                  </a:cubicBezTo>
                  <a:cubicBezTo>
                    <a:pt x="6960" y="11456"/>
                    <a:pt x="6960" y="11456"/>
                    <a:pt x="6960" y="11456"/>
                  </a:cubicBezTo>
                  <a:cubicBezTo>
                    <a:pt x="6884" y="11449"/>
                    <a:pt x="6884" y="11449"/>
                    <a:pt x="6884" y="11449"/>
                  </a:cubicBezTo>
                  <a:lnTo>
                    <a:pt x="6891" y="11376"/>
                  </a:lnTo>
                  <a:close/>
                  <a:moveTo>
                    <a:pt x="6946" y="11467"/>
                  </a:moveTo>
                  <a:cubicBezTo>
                    <a:pt x="6941" y="11517"/>
                    <a:pt x="6941" y="11517"/>
                    <a:pt x="6941" y="11517"/>
                  </a:cubicBezTo>
                  <a:cubicBezTo>
                    <a:pt x="6770" y="11498"/>
                    <a:pt x="6770" y="11498"/>
                    <a:pt x="6770" y="11498"/>
                  </a:cubicBezTo>
                  <a:cubicBezTo>
                    <a:pt x="6774" y="11449"/>
                    <a:pt x="6774" y="11449"/>
                    <a:pt x="6774" y="11449"/>
                  </a:cubicBezTo>
                  <a:cubicBezTo>
                    <a:pt x="6768" y="11448"/>
                    <a:pt x="6768" y="11448"/>
                    <a:pt x="6768" y="11448"/>
                  </a:cubicBezTo>
                  <a:cubicBezTo>
                    <a:pt x="6756" y="11447"/>
                    <a:pt x="6756" y="11447"/>
                    <a:pt x="6756" y="11447"/>
                  </a:cubicBezTo>
                  <a:cubicBezTo>
                    <a:pt x="6763" y="11377"/>
                    <a:pt x="6763" y="11377"/>
                    <a:pt x="6763" y="11377"/>
                  </a:cubicBezTo>
                  <a:cubicBezTo>
                    <a:pt x="6877" y="11388"/>
                    <a:pt x="6877" y="11388"/>
                    <a:pt x="6877" y="11388"/>
                  </a:cubicBezTo>
                  <a:cubicBezTo>
                    <a:pt x="6870" y="11460"/>
                    <a:pt x="6870" y="11460"/>
                    <a:pt x="6870" y="11460"/>
                  </a:cubicBezTo>
                  <a:lnTo>
                    <a:pt x="6946" y="11467"/>
                  </a:lnTo>
                  <a:close/>
                  <a:moveTo>
                    <a:pt x="7196" y="12624"/>
                  </a:moveTo>
                  <a:cubicBezTo>
                    <a:pt x="7190" y="12697"/>
                    <a:pt x="7190" y="12697"/>
                    <a:pt x="7190" y="12697"/>
                  </a:cubicBezTo>
                  <a:cubicBezTo>
                    <a:pt x="7114" y="12690"/>
                    <a:pt x="7114" y="12690"/>
                    <a:pt x="7114" y="12690"/>
                  </a:cubicBezTo>
                  <a:cubicBezTo>
                    <a:pt x="7108" y="12759"/>
                    <a:pt x="7108" y="12759"/>
                    <a:pt x="7108" y="12759"/>
                  </a:cubicBezTo>
                  <a:cubicBezTo>
                    <a:pt x="7108" y="12766"/>
                    <a:pt x="7108" y="12766"/>
                    <a:pt x="7108" y="12766"/>
                  </a:cubicBezTo>
                  <a:cubicBezTo>
                    <a:pt x="7306" y="12780"/>
                    <a:pt x="7306" y="12780"/>
                    <a:pt x="7306" y="12780"/>
                  </a:cubicBezTo>
                  <a:cubicBezTo>
                    <a:pt x="7310" y="12731"/>
                    <a:pt x="7310" y="12731"/>
                    <a:pt x="7310" y="12731"/>
                  </a:cubicBezTo>
                  <a:cubicBezTo>
                    <a:pt x="7328" y="12732"/>
                    <a:pt x="7328" y="12732"/>
                    <a:pt x="7328" y="12732"/>
                  </a:cubicBezTo>
                  <a:cubicBezTo>
                    <a:pt x="7337" y="12636"/>
                    <a:pt x="7337" y="12636"/>
                    <a:pt x="7337" y="12636"/>
                  </a:cubicBezTo>
                  <a:lnTo>
                    <a:pt x="7196" y="12624"/>
                  </a:lnTo>
                  <a:close/>
                  <a:moveTo>
                    <a:pt x="7316" y="12718"/>
                  </a:moveTo>
                  <a:cubicBezTo>
                    <a:pt x="7298" y="12716"/>
                    <a:pt x="7298" y="12716"/>
                    <a:pt x="7298" y="12716"/>
                  </a:cubicBezTo>
                  <a:cubicBezTo>
                    <a:pt x="7294" y="12766"/>
                    <a:pt x="7294" y="12766"/>
                    <a:pt x="7294" y="12766"/>
                  </a:cubicBezTo>
                  <a:cubicBezTo>
                    <a:pt x="7122" y="12754"/>
                    <a:pt x="7122" y="12754"/>
                    <a:pt x="7122" y="12754"/>
                  </a:cubicBezTo>
                  <a:cubicBezTo>
                    <a:pt x="7126" y="12704"/>
                    <a:pt x="7126" y="12704"/>
                    <a:pt x="7126" y="12704"/>
                  </a:cubicBezTo>
                  <a:cubicBezTo>
                    <a:pt x="7202" y="12711"/>
                    <a:pt x="7202" y="12711"/>
                    <a:pt x="7202" y="12711"/>
                  </a:cubicBezTo>
                  <a:cubicBezTo>
                    <a:pt x="7208" y="12638"/>
                    <a:pt x="7208" y="12638"/>
                    <a:pt x="7208" y="12638"/>
                  </a:cubicBezTo>
                  <a:cubicBezTo>
                    <a:pt x="7322" y="12648"/>
                    <a:pt x="7322" y="12648"/>
                    <a:pt x="7322" y="12648"/>
                  </a:cubicBezTo>
                  <a:lnTo>
                    <a:pt x="7316" y="12718"/>
                  </a:lnTo>
                  <a:close/>
                  <a:moveTo>
                    <a:pt x="7463" y="12397"/>
                  </a:moveTo>
                  <a:cubicBezTo>
                    <a:pt x="7481" y="12398"/>
                    <a:pt x="7481" y="12398"/>
                    <a:pt x="7481" y="12398"/>
                  </a:cubicBezTo>
                  <a:cubicBezTo>
                    <a:pt x="7489" y="12302"/>
                    <a:pt x="7489" y="12302"/>
                    <a:pt x="7489" y="12302"/>
                  </a:cubicBezTo>
                  <a:cubicBezTo>
                    <a:pt x="7349" y="12290"/>
                    <a:pt x="7349" y="12290"/>
                    <a:pt x="7349" y="12290"/>
                  </a:cubicBezTo>
                  <a:cubicBezTo>
                    <a:pt x="7342" y="12363"/>
                    <a:pt x="7342" y="12363"/>
                    <a:pt x="7342" y="12363"/>
                  </a:cubicBezTo>
                  <a:cubicBezTo>
                    <a:pt x="7267" y="12356"/>
                    <a:pt x="7267" y="12356"/>
                    <a:pt x="7267" y="12356"/>
                  </a:cubicBezTo>
                  <a:cubicBezTo>
                    <a:pt x="7261" y="12425"/>
                    <a:pt x="7261" y="12425"/>
                    <a:pt x="7261" y="12425"/>
                  </a:cubicBezTo>
                  <a:cubicBezTo>
                    <a:pt x="7260" y="12432"/>
                    <a:pt x="7260" y="12432"/>
                    <a:pt x="7260" y="12432"/>
                  </a:cubicBezTo>
                  <a:cubicBezTo>
                    <a:pt x="7458" y="12446"/>
                    <a:pt x="7458" y="12446"/>
                    <a:pt x="7458" y="12446"/>
                  </a:cubicBezTo>
                  <a:lnTo>
                    <a:pt x="7463" y="12397"/>
                  </a:lnTo>
                  <a:close/>
                  <a:moveTo>
                    <a:pt x="7446" y="12432"/>
                  </a:moveTo>
                  <a:cubicBezTo>
                    <a:pt x="7275" y="12419"/>
                    <a:pt x="7275" y="12419"/>
                    <a:pt x="7275" y="12419"/>
                  </a:cubicBezTo>
                  <a:cubicBezTo>
                    <a:pt x="7279" y="12370"/>
                    <a:pt x="7279" y="12370"/>
                    <a:pt x="7279" y="12370"/>
                  </a:cubicBezTo>
                  <a:cubicBezTo>
                    <a:pt x="7354" y="12377"/>
                    <a:pt x="7354" y="12377"/>
                    <a:pt x="7354" y="12377"/>
                  </a:cubicBezTo>
                  <a:cubicBezTo>
                    <a:pt x="7361" y="12304"/>
                    <a:pt x="7361" y="12304"/>
                    <a:pt x="7361" y="12304"/>
                  </a:cubicBezTo>
                  <a:cubicBezTo>
                    <a:pt x="7475" y="12314"/>
                    <a:pt x="7475" y="12314"/>
                    <a:pt x="7475" y="12314"/>
                  </a:cubicBezTo>
                  <a:cubicBezTo>
                    <a:pt x="7469" y="12384"/>
                    <a:pt x="7469" y="12384"/>
                    <a:pt x="7469" y="12384"/>
                  </a:cubicBezTo>
                  <a:cubicBezTo>
                    <a:pt x="7451" y="12382"/>
                    <a:pt x="7451" y="12382"/>
                    <a:pt x="7451" y="12382"/>
                  </a:cubicBezTo>
                  <a:lnTo>
                    <a:pt x="7446" y="12432"/>
                  </a:lnTo>
                  <a:close/>
                  <a:moveTo>
                    <a:pt x="7649" y="12065"/>
                  </a:moveTo>
                  <a:cubicBezTo>
                    <a:pt x="7667" y="12066"/>
                    <a:pt x="7667" y="12066"/>
                    <a:pt x="7667" y="12066"/>
                  </a:cubicBezTo>
                  <a:cubicBezTo>
                    <a:pt x="7676" y="11970"/>
                    <a:pt x="7676" y="11970"/>
                    <a:pt x="7676" y="11970"/>
                  </a:cubicBezTo>
                  <a:cubicBezTo>
                    <a:pt x="7535" y="11958"/>
                    <a:pt x="7535" y="11958"/>
                    <a:pt x="7535" y="11958"/>
                  </a:cubicBezTo>
                  <a:cubicBezTo>
                    <a:pt x="7529" y="12030"/>
                    <a:pt x="7529" y="12030"/>
                    <a:pt x="7529" y="12030"/>
                  </a:cubicBezTo>
                  <a:cubicBezTo>
                    <a:pt x="7453" y="12024"/>
                    <a:pt x="7453" y="12024"/>
                    <a:pt x="7453" y="12024"/>
                  </a:cubicBezTo>
                  <a:cubicBezTo>
                    <a:pt x="7448" y="12093"/>
                    <a:pt x="7448" y="12093"/>
                    <a:pt x="7448" y="12093"/>
                  </a:cubicBezTo>
                  <a:cubicBezTo>
                    <a:pt x="7447" y="12100"/>
                    <a:pt x="7447" y="12100"/>
                    <a:pt x="7447" y="12100"/>
                  </a:cubicBezTo>
                  <a:cubicBezTo>
                    <a:pt x="7645" y="12114"/>
                    <a:pt x="7645" y="12114"/>
                    <a:pt x="7645" y="12114"/>
                  </a:cubicBezTo>
                  <a:lnTo>
                    <a:pt x="7649" y="12065"/>
                  </a:lnTo>
                  <a:close/>
                  <a:moveTo>
                    <a:pt x="7633" y="12100"/>
                  </a:moveTo>
                  <a:cubicBezTo>
                    <a:pt x="7461" y="12087"/>
                    <a:pt x="7461" y="12087"/>
                    <a:pt x="7461" y="12087"/>
                  </a:cubicBezTo>
                  <a:cubicBezTo>
                    <a:pt x="7465" y="12038"/>
                    <a:pt x="7465" y="12038"/>
                    <a:pt x="7465" y="12038"/>
                  </a:cubicBezTo>
                  <a:cubicBezTo>
                    <a:pt x="7541" y="12045"/>
                    <a:pt x="7541" y="12045"/>
                    <a:pt x="7541" y="12045"/>
                  </a:cubicBezTo>
                  <a:cubicBezTo>
                    <a:pt x="7547" y="11972"/>
                    <a:pt x="7547" y="11972"/>
                    <a:pt x="7547" y="11972"/>
                  </a:cubicBezTo>
                  <a:cubicBezTo>
                    <a:pt x="7662" y="11982"/>
                    <a:pt x="7662" y="11982"/>
                    <a:pt x="7662" y="11982"/>
                  </a:cubicBezTo>
                  <a:cubicBezTo>
                    <a:pt x="7655" y="12052"/>
                    <a:pt x="7655" y="12052"/>
                    <a:pt x="7655" y="12052"/>
                  </a:cubicBezTo>
                  <a:cubicBezTo>
                    <a:pt x="7637" y="12050"/>
                    <a:pt x="7637" y="12050"/>
                    <a:pt x="7637" y="12050"/>
                  </a:cubicBezTo>
                  <a:lnTo>
                    <a:pt x="7633" y="12100"/>
                  </a:lnTo>
                  <a:close/>
                  <a:moveTo>
                    <a:pt x="7758" y="11769"/>
                  </a:moveTo>
                  <a:cubicBezTo>
                    <a:pt x="7776" y="11771"/>
                    <a:pt x="7776" y="11771"/>
                    <a:pt x="7776" y="11771"/>
                  </a:cubicBezTo>
                  <a:cubicBezTo>
                    <a:pt x="7784" y="11675"/>
                    <a:pt x="7784" y="11675"/>
                    <a:pt x="7784" y="11675"/>
                  </a:cubicBezTo>
                  <a:cubicBezTo>
                    <a:pt x="7644" y="11662"/>
                    <a:pt x="7644" y="11662"/>
                    <a:pt x="7644" y="11662"/>
                  </a:cubicBezTo>
                  <a:cubicBezTo>
                    <a:pt x="7638" y="11735"/>
                    <a:pt x="7638" y="11735"/>
                    <a:pt x="7638" y="11735"/>
                  </a:cubicBezTo>
                  <a:cubicBezTo>
                    <a:pt x="7562" y="11729"/>
                    <a:pt x="7562" y="11729"/>
                    <a:pt x="7562" y="11729"/>
                  </a:cubicBezTo>
                  <a:cubicBezTo>
                    <a:pt x="7556" y="11798"/>
                    <a:pt x="7556" y="11798"/>
                    <a:pt x="7556" y="11798"/>
                  </a:cubicBezTo>
                  <a:cubicBezTo>
                    <a:pt x="7556" y="11804"/>
                    <a:pt x="7556" y="11804"/>
                    <a:pt x="7556" y="11804"/>
                  </a:cubicBezTo>
                  <a:cubicBezTo>
                    <a:pt x="7754" y="11819"/>
                    <a:pt x="7754" y="11819"/>
                    <a:pt x="7754" y="11819"/>
                  </a:cubicBezTo>
                  <a:lnTo>
                    <a:pt x="7758" y="11769"/>
                  </a:lnTo>
                  <a:close/>
                  <a:moveTo>
                    <a:pt x="7742" y="11805"/>
                  </a:moveTo>
                  <a:cubicBezTo>
                    <a:pt x="7570" y="11792"/>
                    <a:pt x="7570" y="11792"/>
                    <a:pt x="7570" y="11792"/>
                  </a:cubicBezTo>
                  <a:cubicBezTo>
                    <a:pt x="7574" y="11743"/>
                    <a:pt x="7574" y="11743"/>
                    <a:pt x="7574" y="11743"/>
                  </a:cubicBezTo>
                  <a:cubicBezTo>
                    <a:pt x="7649" y="11750"/>
                    <a:pt x="7649" y="11750"/>
                    <a:pt x="7649" y="11750"/>
                  </a:cubicBezTo>
                  <a:cubicBezTo>
                    <a:pt x="7656" y="11677"/>
                    <a:pt x="7656" y="11677"/>
                    <a:pt x="7656" y="11677"/>
                  </a:cubicBezTo>
                  <a:cubicBezTo>
                    <a:pt x="7770" y="11687"/>
                    <a:pt x="7770" y="11687"/>
                    <a:pt x="7770" y="11687"/>
                  </a:cubicBezTo>
                  <a:cubicBezTo>
                    <a:pt x="7764" y="11757"/>
                    <a:pt x="7764" y="11757"/>
                    <a:pt x="7764" y="11757"/>
                  </a:cubicBezTo>
                  <a:cubicBezTo>
                    <a:pt x="7746" y="11755"/>
                    <a:pt x="7746" y="11755"/>
                    <a:pt x="7746" y="11755"/>
                  </a:cubicBezTo>
                  <a:lnTo>
                    <a:pt x="7742" y="11805"/>
                  </a:lnTo>
                  <a:close/>
                  <a:moveTo>
                    <a:pt x="3296" y="17064"/>
                  </a:moveTo>
                  <a:cubicBezTo>
                    <a:pt x="3288" y="17073"/>
                    <a:pt x="3288" y="17073"/>
                    <a:pt x="3288" y="17073"/>
                  </a:cubicBezTo>
                  <a:cubicBezTo>
                    <a:pt x="3252" y="17038"/>
                    <a:pt x="3252" y="17038"/>
                    <a:pt x="3252" y="17038"/>
                  </a:cubicBezTo>
                  <a:cubicBezTo>
                    <a:pt x="3116" y="17173"/>
                    <a:pt x="3116" y="17173"/>
                    <a:pt x="3116" y="17173"/>
                  </a:cubicBezTo>
                  <a:cubicBezTo>
                    <a:pt x="3111" y="17178"/>
                    <a:pt x="3111" y="17178"/>
                    <a:pt x="3111" y="17178"/>
                  </a:cubicBezTo>
                  <a:cubicBezTo>
                    <a:pt x="3166" y="17231"/>
                    <a:pt x="3166" y="17231"/>
                    <a:pt x="3166" y="17231"/>
                  </a:cubicBezTo>
                  <a:cubicBezTo>
                    <a:pt x="3219" y="17177"/>
                    <a:pt x="3219" y="17177"/>
                    <a:pt x="3219" y="17177"/>
                  </a:cubicBezTo>
                  <a:cubicBezTo>
                    <a:pt x="3271" y="17228"/>
                    <a:pt x="3271" y="17228"/>
                    <a:pt x="3271" y="17228"/>
                  </a:cubicBezTo>
                  <a:cubicBezTo>
                    <a:pt x="3370" y="17127"/>
                    <a:pt x="3370" y="17127"/>
                    <a:pt x="3370" y="17127"/>
                  </a:cubicBezTo>
                  <a:cubicBezTo>
                    <a:pt x="3301" y="17060"/>
                    <a:pt x="3301" y="17060"/>
                    <a:pt x="3301" y="17060"/>
                  </a:cubicBezTo>
                  <a:lnTo>
                    <a:pt x="3296" y="17064"/>
                  </a:lnTo>
                  <a:close/>
                  <a:moveTo>
                    <a:pt x="3351" y="17128"/>
                  </a:moveTo>
                  <a:cubicBezTo>
                    <a:pt x="3271" y="17210"/>
                    <a:pt x="3271" y="17210"/>
                    <a:pt x="3271" y="17210"/>
                  </a:cubicBezTo>
                  <a:cubicBezTo>
                    <a:pt x="3218" y="17158"/>
                    <a:pt x="3218" y="17158"/>
                    <a:pt x="3218" y="17158"/>
                  </a:cubicBezTo>
                  <a:cubicBezTo>
                    <a:pt x="3165" y="17212"/>
                    <a:pt x="3165" y="17212"/>
                    <a:pt x="3165" y="17212"/>
                  </a:cubicBezTo>
                  <a:cubicBezTo>
                    <a:pt x="3130" y="17178"/>
                    <a:pt x="3130" y="17178"/>
                    <a:pt x="3130" y="17178"/>
                  </a:cubicBezTo>
                  <a:cubicBezTo>
                    <a:pt x="3253" y="17057"/>
                    <a:pt x="3253" y="17057"/>
                    <a:pt x="3253" y="17057"/>
                  </a:cubicBezTo>
                  <a:cubicBezTo>
                    <a:pt x="3288" y="17091"/>
                    <a:pt x="3288" y="17091"/>
                    <a:pt x="3288" y="17091"/>
                  </a:cubicBezTo>
                  <a:cubicBezTo>
                    <a:pt x="3293" y="17087"/>
                    <a:pt x="3293" y="17087"/>
                    <a:pt x="3293" y="17087"/>
                  </a:cubicBezTo>
                  <a:cubicBezTo>
                    <a:pt x="3301" y="17078"/>
                    <a:pt x="3301" y="17078"/>
                    <a:pt x="3301" y="17078"/>
                  </a:cubicBezTo>
                  <a:lnTo>
                    <a:pt x="3351" y="17128"/>
                  </a:lnTo>
                  <a:close/>
                  <a:moveTo>
                    <a:pt x="4922" y="17299"/>
                  </a:moveTo>
                  <a:cubicBezTo>
                    <a:pt x="4838" y="17251"/>
                    <a:pt x="4838" y="17251"/>
                    <a:pt x="4838" y="17251"/>
                  </a:cubicBezTo>
                  <a:cubicBezTo>
                    <a:pt x="4768" y="17374"/>
                    <a:pt x="4768" y="17374"/>
                    <a:pt x="4768" y="17374"/>
                  </a:cubicBezTo>
                  <a:cubicBezTo>
                    <a:pt x="4831" y="17410"/>
                    <a:pt x="4831" y="17410"/>
                    <a:pt x="4831" y="17410"/>
                  </a:cubicBezTo>
                  <a:cubicBezTo>
                    <a:pt x="4794" y="17476"/>
                    <a:pt x="4794" y="17476"/>
                    <a:pt x="4794" y="17476"/>
                  </a:cubicBezTo>
                  <a:cubicBezTo>
                    <a:pt x="4854" y="17510"/>
                    <a:pt x="4854" y="17510"/>
                    <a:pt x="4854" y="17510"/>
                  </a:cubicBezTo>
                  <a:cubicBezTo>
                    <a:pt x="4860" y="17513"/>
                    <a:pt x="4860" y="17513"/>
                    <a:pt x="4860" y="17513"/>
                  </a:cubicBezTo>
                  <a:cubicBezTo>
                    <a:pt x="4956" y="17340"/>
                    <a:pt x="4956" y="17340"/>
                    <a:pt x="4956" y="17340"/>
                  </a:cubicBezTo>
                  <a:cubicBezTo>
                    <a:pt x="4913" y="17315"/>
                    <a:pt x="4913" y="17315"/>
                    <a:pt x="4913" y="17315"/>
                  </a:cubicBezTo>
                  <a:lnTo>
                    <a:pt x="4922" y="17299"/>
                  </a:lnTo>
                  <a:close/>
                  <a:moveTo>
                    <a:pt x="4938" y="17345"/>
                  </a:moveTo>
                  <a:cubicBezTo>
                    <a:pt x="4854" y="17495"/>
                    <a:pt x="4854" y="17495"/>
                    <a:pt x="4854" y="17495"/>
                  </a:cubicBezTo>
                  <a:cubicBezTo>
                    <a:pt x="4812" y="17471"/>
                    <a:pt x="4812" y="17471"/>
                    <a:pt x="4812" y="17471"/>
                  </a:cubicBezTo>
                  <a:cubicBezTo>
                    <a:pt x="4849" y="17405"/>
                    <a:pt x="4849" y="17405"/>
                    <a:pt x="4849" y="17405"/>
                  </a:cubicBezTo>
                  <a:cubicBezTo>
                    <a:pt x="4786" y="17369"/>
                    <a:pt x="4786" y="17369"/>
                    <a:pt x="4786" y="17369"/>
                  </a:cubicBezTo>
                  <a:cubicBezTo>
                    <a:pt x="4843" y="17269"/>
                    <a:pt x="4843" y="17269"/>
                    <a:pt x="4843" y="17269"/>
                  </a:cubicBezTo>
                  <a:cubicBezTo>
                    <a:pt x="4904" y="17304"/>
                    <a:pt x="4904" y="17304"/>
                    <a:pt x="4904" y="17304"/>
                  </a:cubicBezTo>
                  <a:cubicBezTo>
                    <a:pt x="4895" y="17320"/>
                    <a:pt x="4895" y="17320"/>
                    <a:pt x="4895" y="17320"/>
                  </a:cubicBezTo>
                  <a:lnTo>
                    <a:pt x="4938" y="17345"/>
                  </a:lnTo>
                  <a:close/>
                  <a:moveTo>
                    <a:pt x="53" y="12834"/>
                  </a:moveTo>
                  <a:cubicBezTo>
                    <a:pt x="73" y="12740"/>
                    <a:pt x="73" y="12740"/>
                    <a:pt x="73" y="12740"/>
                  </a:cubicBezTo>
                  <a:cubicBezTo>
                    <a:pt x="4" y="12727"/>
                    <a:pt x="4" y="12727"/>
                    <a:pt x="4" y="12727"/>
                  </a:cubicBezTo>
                  <a:cubicBezTo>
                    <a:pt x="4" y="12714"/>
                    <a:pt x="4" y="12714"/>
                    <a:pt x="4" y="12714"/>
                  </a:cubicBezTo>
                  <a:cubicBezTo>
                    <a:pt x="89" y="12729"/>
                    <a:pt x="89" y="12729"/>
                    <a:pt x="89" y="12729"/>
                  </a:cubicBezTo>
                  <a:cubicBezTo>
                    <a:pt x="63" y="12850"/>
                    <a:pt x="63" y="12850"/>
                    <a:pt x="63" y="12850"/>
                  </a:cubicBezTo>
                  <a:cubicBezTo>
                    <a:pt x="57" y="12848"/>
                    <a:pt x="57" y="12848"/>
                    <a:pt x="57" y="12848"/>
                  </a:cubicBezTo>
                  <a:cubicBezTo>
                    <a:pt x="7" y="12839"/>
                    <a:pt x="7" y="12839"/>
                    <a:pt x="7" y="12839"/>
                  </a:cubicBezTo>
                  <a:cubicBezTo>
                    <a:pt x="4" y="12854"/>
                    <a:pt x="4" y="12854"/>
                    <a:pt x="4" y="12854"/>
                  </a:cubicBezTo>
                  <a:cubicBezTo>
                    <a:pt x="4" y="12825"/>
                    <a:pt x="4" y="12825"/>
                    <a:pt x="4" y="12825"/>
                  </a:cubicBezTo>
                  <a:lnTo>
                    <a:pt x="53" y="12834"/>
                  </a:lnTo>
                  <a:close/>
                  <a:moveTo>
                    <a:pt x="2340" y="15266"/>
                  </a:moveTo>
                  <a:cubicBezTo>
                    <a:pt x="2398" y="15265"/>
                    <a:pt x="2398" y="15265"/>
                    <a:pt x="2398" y="15265"/>
                  </a:cubicBezTo>
                  <a:cubicBezTo>
                    <a:pt x="2398" y="15338"/>
                    <a:pt x="2398" y="15338"/>
                    <a:pt x="2398" y="15338"/>
                  </a:cubicBezTo>
                  <a:cubicBezTo>
                    <a:pt x="2508" y="15338"/>
                    <a:pt x="2508" y="15338"/>
                    <a:pt x="2508" y="15338"/>
                  </a:cubicBezTo>
                  <a:cubicBezTo>
                    <a:pt x="2506" y="15152"/>
                    <a:pt x="2506" y="15152"/>
                    <a:pt x="2506" y="15152"/>
                  </a:cubicBezTo>
                  <a:cubicBezTo>
                    <a:pt x="2454" y="15152"/>
                    <a:pt x="2454" y="15152"/>
                    <a:pt x="2454" y="15152"/>
                  </a:cubicBezTo>
                  <a:cubicBezTo>
                    <a:pt x="2454" y="15142"/>
                    <a:pt x="2454" y="15142"/>
                    <a:pt x="2454" y="15142"/>
                  </a:cubicBezTo>
                  <a:cubicBezTo>
                    <a:pt x="2337" y="15143"/>
                    <a:pt x="2337" y="15143"/>
                    <a:pt x="2337" y="15143"/>
                  </a:cubicBezTo>
                  <a:cubicBezTo>
                    <a:pt x="2340" y="15259"/>
                    <a:pt x="2340" y="15259"/>
                    <a:pt x="2340" y="15259"/>
                  </a:cubicBezTo>
                  <a:lnTo>
                    <a:pt x="2340" y="15266"/>
                  </a:lnTo>
                  <a:close/>
                  <a:moveTo>
                    <a:pt x="2441" y="15155"/>
                  </a:moveTo>
                  <a:cubicBezTo>
                    <a:pt x="2441" y="15166"/>
                    <a:pt x="2441" y="15166"/>
                    <a:pt x="2441" y="15166"/>
                  </a:cubicBezTo>
                  <a:cubicBezTo>
                    <a:pt x="2493" y="15165"/>
                    <a:pt x="2493" y="15165"/>
                    <a:pt x="2493" y="15165"/>
                  </a:cubicBezTo>
                  <a:cubicBezTo>
                    <a:pt x="2495" y="15325"/>
                    <a:pt x="2495" y="15325"/>
                    <a:pt x="2495" y="15325"/>
                  </a:cubicBezTo>
                  <a:cubicBezTo>
                    <a:pt x="2411" y="15325"/>
                    <a:pt x="2411" y="15325"/>
                    <a:pt x="2411" y="15325"/>
                  </a:cubicBezTo>
                  <a:cubicBezTo>
                    <a:pt x="2411" y="15252"/>
                    <a:pt x="2411" y="15252"/>
                    <a:pt x="2411" y="15252"/>
                  </a:cubicBezTo>
                  <a:cubicBezTo>
                    <a:pt x="2353" y="15252"/>
                    <a:pt x="2353" y="15252"/>
                    <a:pt x="2353" y="15252"/>
                  </a:cubicBezTo>
                  <a:cubicBezTo>
                    <a:pt x="2350" y="15156"/>
                    <a:pt x="2350" y="15156"/>
                    <a:pt x="2350" y="15156"/>
                  </a:cubicBezTo>
                  <a:lnTo>
                    <a:pt x="2441" y="15155"/>
                  </a:lnTo>
                  <a:close/>
                  <a:moveTo>
                    <a:pt x="4350" y="15869"/>
                  </a:moveTo>
                  <a:cubicBezTo>
                    <a:pt x="4165" y="15860"/>
                    <a:pt x="4165" y="15860"/>
                    <a:pt x="4165" y="15860"/>
                  </a:cubicBezTo>
                  <a:cubicBezTo>
                    <a:pt x="4163" y="15912"/>
                    <a:pt x="4163" y="15912"/>
                    <a:pt x="4163" y="15912"/>
                  </a:cubicBezTo>
                  <a:cubicBezTo>
                    <a:pt x="4152" y="15911"/>
                    <a:pt x="4152" y="15911"/>
                    <a:pt x="4152" y="15911"/>
                  </a:cubicBezTo>
                  <a:cubicBezTo>
                    <a:pt x="4146" y="16029"/>
                    <a:pt x="4146" y="16029"/>
                    <a:pt x="4146" y="16029"/>
                  </a:cubicBezTo>
                  <a:cubicBezTo>
                    <a:pt x="4263" y="16032"/>
                    <a:pt x="4263" y="16032"/>
                    <a:pt x="4263" y="16032"/>
                  </a:cubicBezTo>
                  <a:cubicBezTo>
                    <a:pt x="4269" y="16032"/>
                    <a:pt x="4269" y="16032"/>
                    <a:pt x="4269" y="16032"/>
                  </a:cubicBezTo>
                  <a:cubicBezTo>
                    <a:pt x="4272" y="15975"/>
                    <a:pt x="4272" y="15975"/>
                    <a:pt x="4272" y="15975"/>
                  </a:cubicBezTo>
                  <a:cubicBezTo>
                    <a:pt x="4345" y="15979"/>
                    <a:pt x="4345" y="15979"/>
                    <a:pt x="4345" y="15979"/>
                  </a:cubicBezTo>
                  <a:lnTo>
                    <a:pt x="4350" y="15869"/>
                  </a:lnTo>
                  <a:close/>
                  <a:moveTo>
                    <a:pt x="4333" y="15965"/>
                  </a:moveTo>
                  <a:cubicBezTo>
                    <a:pt x="4259" y="15961"/>
                    <a:pt x="4259" y="15961"/>
                    <a:pt x="4259" y="15961"/>
                  </a:cubicBezTo>
                  <a:cubicBezTo>
                    <a:pt x="4257" y="16019"/>
                    <a:pt x="4257" y="16019"/>
                    <a:pt x="4257" y="16019"/>
                  </a:cubicBezTo>
                  <a:cubicBezTo>
                    <a:pt x="4160" y="16016"/>
                    <a:pt x="4160" y="16016"/>
                    <a:pt x="4160" y="16016"/>
                  </a:cubicBezTo>
                  <a:cubicBezTo>
                    <a:pt x="4165" y="15925"/>
                    <a:pt x="4165" y="15925"/>
                    <a:pt x="4165" y="15925"/>
                  </a:cubicBezTo>
                  <a:cubicBezTo>
                    <a:pt x="4175" y="15926"/>
                    <a:pt x="4175" y="15926"/>
                    <a:pt x="4175" y="15926"/>
                  </a:cubicBezTo>
                  <a:cubicBezTo>
                    <a:pt x="4178" y="15873"/>
                    <a:pt x="4178" y="15873"/>
                    <a:pt x="4178" y="15873"/>
                  </a:cubicBezTo>
                  <a:cubicBezTo>
                    <a:pt x="4337" y="15881"/>
                    <a:pt x="4337" y="15881"/>
                    <a:pt x="4337" y="15881"/>
                  </a:cubicBezTo>
                  <a:lnTo>
                    <a:pt x="4333" y="15965"/>
                  </a:lnTo>
                  <a:close/>
                  <a:moveTo>
                    <a:pt x="3286" y="16324"/>
                  </a:moveTo>
                  <a:cubicBezTo>
                    <a:pt x="3343" y="16324"/>
                    <a:pt x="3343" y="16324"/>
                    <a:pt x="3343" y="16324"/>
                  </a:cubicBezTo>
                  <a:cubicBezTo>
                    <a:pt x="3343" y="16397"/>
                    <a:pt x="3343" y="16397"/>
                    <a:pt x="3343" y="16397"/>
                  </a:cubicBezTo>
                  <a:cubicBezTo>
                    <a:pt x="3453" y="16396"/>
                    <a:pt x="3453" y="16396"/>
                    <a:pt x="3453" y="16396"/>
                  </a:cubicBezTo>
                  <a:cubicBezTo>
                    <a:pt x="3452" y="16211"/>
                    <a:pt x="3452" y="16211"/>
                    <a:pt x="3452" y="16211"/>
                  </a:cubicBezTo>
                  <a:cubicBezTo>
                    <a:pt x="3400" y="16211"/>
                    <a:pt x="3400" y="16211"/>
                    <a:pt x="3400" y="16211"/>
                  </a:cubicBezTo>
                  <a:cubicBezTo>
                    <a:pt x="3399" y="16201"/>
                    <a:pt x="3399" y="16201"/>
                    <a:pt x="3399" y="16201"/>
                  </a:cubicBezTo>
                  <a:cubicBezTo>
                    <a:pt x="3282" y="16201"/>
                    <a:pt x="3282" y="16201"/>
                    <a:pt x="3282" y="16201"/>
                  </a:cubicBezTo>
                  <a:cubicBezTo>
                    <a:pt x="3285" y="16318"/>
                    <a:pt x="3285" y="16318"/>
                    <a:pt x="3285" y="16318"/>
                  </a:cubicBezTo>
                  <a:lnTo>
                    <a:pt x="3286" y="16324"/>
                  </a:lnTo>
                  <a:close/>
                  <a:moveTo>
                    <a:pt x="3386" y="16214"/>
                  </a:moveTo>
                  <a:cubicBezTo>
                    <a:pt x="3387" y="16224"/>
                    <a:pt x="3387" y="16224"/>
                    <a:pt x="3387" y="16224"/>
                  </a:cubicBezTo>
                  <a:cubicBezTo>
                    <a:pt x="3439" y="16224"/>
                    <a:pt x="3439" y="16224"/>
                    <a:pt x="3439" y="16224"/>
                  </a:cubicBezTo>
                  <a:cubicBezTo>
                    <a:pt x="3440" y="16383"/>
                    <a:pt x="3440" y="16383"/>
                    <a:pt x="3440" y="16383"/>
                  </a:cubicBezTo>
                  <a:cubicBezTo>
                    <a:pt x="3356" y="16384"/>
                    <a:pt x="3356" y="16384"/>
                    <a:pt x="3356" y="16384"/>
                  </a:cubicBezTo>
                  <a:cubicBezTo>
                    <a:pt x="3356" y="16311"/>
                    <a:pt x="3356" y="16311"/>
                    <a:pt x="3356" y="16311"/>
                  </a:cubicBezTo>
                  <a:cubicBezTo>
                    <a:pt x="3298" y="16311"/>
                    <a:pt x="3298" y="16311"/>
                    <a:pt x="3298" y="16311"/>
                  </a:cubicBezTo>
                  <a:cubicBezTo>
                    <a:pt x="3295" y="16214"/>
                    <a:pt x="3295" y="16214"/>
                    <a:pt x="3295" y="16214"/>
                  </a:cubicBezTo>
                  <a:lnTo>
                    <a:pt x="3386" y="16214"/>
                  </a:lnTo>
                  <a:close/>
                  <a:moveTo>
                    <a:pt x="6886" y="16914"/>
                  </a:moveTo>
                  <a:cubicBezTo>
                    <a:pt x="6834" y="16914"/>
                    <a:pt x="6834" y="16914"/>
                    <a:pt x="6834" y="16914"/>
                  </a:cubicBezTo>
                  <a:cubicBezTo>
                    <a:pt x="6834" y="16904"/>
                    <a:pt x="6834" y="16904"/>
                    <a:pt x="6834" y="16904"/>
                  </a:cubicBezTo>
                  <a:cubicBezTo>
                    <a:pt x="6716" y="16904"/>
                    <a:pt x="6716" y="16904"/>
                    <a:pt x="6716" y="16904"/>
                  </a:cubicBezTo>
                  <a:cubicBezTo>
                    <a:pt x="6720" y="17021"/>
                    <a:pt x="6720" y="17021"/>
                    <a:pt x="6720" y="17021"/>
                  </a:cubicBezTo>
                  <a:cubicBezTo>
                    <a:pt x="6720" y="17027"/>
                    <a:pt x="6720" y="17027"/>
                    <a:pt x="6720" y="17027"/>
                  </a:cubicBezTo>
                  <a:cubicBezTo>
                    <a:pt x="6777" y="17027"/>
                    <a:pt x="6777" y="17027"/>
                    <a:pt x="6777" y="17027"/>
                  </a:cubicBezTo>
                  <a:cubicBezTo>
                    <a:pt x="6777" y="17100"/>
                    <a:pt x="6777" y="17100"/>
                    <a:pt x="6777" y="17100"/>
                  </a:cubicBezTo>
                  <a:cubicBezTo>
                    <a:pt x="6887" y="17099"/>
                    <a:pt x="6887" y="17099"/>
                    <a:pt x="6887" y="17099"/>
                  </a:cubicBezTo>
                  <a:lnTo>
                    <a:pt x="6886" y="16914"/>
                  </a:lnTo>
                  <a:close/>
                  <a:moveTo>
                    <a:pt x="6791" y="17087"/>
                  </a:moveTo>
                  <a:cubicBezTo>
                    <a:pt x="6790" y="17014"/>
                    <a:pt x="6790" y="17014"/>
                    <a:pt x="6790" y="17014"/>
                  </a:cubicBezTo>
                  <a:cubicBezTo>
                    <a:pt x="6732" y="17014"/>
                    <a:pt x="6732" y="17014"/>
                    <a:pt x="6732" y="17014"/>
                  </a:cubicBezTo>
                  <a:cubicBezTo>
                    <a:pt x="6729" y="16917"/>
                    <a:pt x="6729" y="16917"/>
                    <a:pt x="6729" y="16917"/>
                  </a:cubicBezTo>
                  <a:cubicBezTo>
                    <a:pt x="6821" y="16917"/>
                    <a:pt x="6821" y="16917"/>
                    <a:pt x="6821" y="16917"/>
                  </a:cubicBezTo>
                  <a:cubicBezTo>
                    <a:pt x="6821" y="16927"/>
                    <a:pt x="6821" y="16927"/>
                    <a:pt x="6821" y="16927"/>
                  </a:cubicBezTo>
                  <a:cubicBezTo>
                    <a:pt x="6873" y="16927"/>
                    <a:pt x="6873" y="16927"/>
                    <a:pt x="6873" y="16927"/>
                  </a:cubicBezTo>
                  <a:cubicBezTo>
                    <a:pt x="6874" y="17086"/>
                    <a:pt x="6874" y="17086"/>
                    <a:pt x="6874" y="17086"/>
                  </a:cubicBezTo>
                  <a:lnTo>
                    <a:pt x="6791" y="17087"/>
                  </a:lnTo>
                  <a:close/>
                  <a:moveTo>
                    <a:pt x="7365" y="16078"/>
                  </a:moveTo>
                  <a:cubicBezTo>
                    <a:pt x="7313" y="16078"/>
                    <a:pt x="7313" y="16078"/>
                    <a:pt x="7313" y="16078"/>
                  </a:cubicBezTo>
                  <a:cubicBezTo>
                    <a:pt x="7313" y="16068"/>
                    <a:pt x="7313" y="16068"/>
                    <a:pt x="7313" y="16068"/>
                  </a:cubicBezTo>
                  <a:cubicBezTo>
                    <a:pt x="7195" y="16069"/>
                    <a:pt x="7195" y="16069"/>
                    <a:pt x="7195" y="16069"/>
                  </a:cubicBezTo>
                  <a:cubicBezTo>
                    <a:pt x="7199" y="16185"/>
                    <a:pt x="7199" y="16185"/>
                    <a:pt x="7199" y="16185"/>
                  </a:cubicBezTo>
                  <a:cubicBezTo>
                    <a:pt x="7199" y="16192"/>
                    <a:pt x="7199" y="16192"/>
                    <a:pt x="7199" y="16192"/>
                  </a:cubicBezTo>
                  <a:cubicBezTo>
                    <a:pt x="7256" y="16191"/>
                    <a:pt x="7256" y="16191"/>
                    <a:pt x="7256" y="16191"/>
                  </a:cubicBezTo>
                  <a:cubicBezTo>
                    <a:pt x="7257" y="16264"/>
                    <a:pt x="7257" y="16264"/>
                    <a:pt x="7257" y="16264"/>
                  </a:cubicBezTo>
                  <a:cubicBezTo>
                    <a:pt x="7366" y="16263"/>
                    <a:pt x="7366" y="16263"/>
                    <a:pt x="7366" y="16263"/>
                  </a:cubicBezTo>
                  <a:lnTo>
                    <a:pt x="7365" y="16078"/>
                  </a:lnTo>
                  <a:close/>
                  <a:moveTo>
                    <a:pt x="7270" y="16251"/>
                  </a:moveTo>
                  <a:cubicBezTo>
                    <a:pt x="7269" y="16178"/>
                    <a:pt x="7269" y="16178"/>
                    <a:pt x="7269" y="16178"/>
                  </a:cubicBezTo>
                  <a:cubicBezTo>
                    <a:pt x="7212" y="16178"/>
                    <a:pt x="7212" y="16178"/>
                    <a:pt x="7212" y="16178"/>
                  </a:cubicBezTo>
                  <a:cubicBezTo>
                    <a:pt x="7209" y="16082"/>
                    <a:pt x="7209" y="16082"/>
                    <a:pt x="7209" y="16082"/>
                  </a:cubicBezTo>
                  <a:cubicBezTo>
                    <a:pt x="7300" y="16081"/>
                    <a:pt x="7300" y="16081"/>
                    <a:pt x="7300" y="16081"/>
                  </a:cubicBezTo>
                  <a:cubicBezTo>
                    <a:pt x="7300" y="16092"/>
                    <a:pt x="7300" y="16092"/>
                    <a:pt x="7300" y="16092"/>
                  </a:cubicBezTo>
                  <a:cubicBezTo>
                    <a:pt x="7352" y="16091"/>
                    <a:pt x="7352" y="16091"/>
                    <a:pt x="7352" y="16091"/>
                  </a:cubicBezTo>
                  <a:cubicBezTo>
                    <a:pt x="7353" y="16250"/>
                    <a:pt x="7353" y="16250"/>
                    <a:pt x="7353" y="16250"/>
                  </a:cubicBezTo>
                  <a:lnTo>
                    <a:pt x="7270" y="16251"/>
                  </a:lnTo>
                  <a:close/>
                  <a:moveTo>
                    <a:pt x="6278" y="17154"/>
                  </a:moveTo>
                  <a:cubicBezTo>
                    <a:pt x="6278" y="17144"/>
                    <a:pt x="6278" y="17144"/>
                    <a:pt x="6278" y="17144"/>
                  </a:cubicBezTo>
                  <a:cubicBezTo>
                    <a:pt x="6161" y="17145"/>
                    <a:pt x="6161" y="17145"/>
                    <a:pt x="6161" y="17145"/>
                  </a:cubicBezTo>
                  <a:cubicBezTo>
                    <a:pt x="6164" y="17261"/>
                    <a:pt x="6164" y="17261"/>
                    <a:pt x="6164" y="17261"/>
                  </a:cubicBezTo>
                  <a:cubicBezTo>
                    <a:pt x="6164" y="17267"/>
                    <a:pt x="6164" y="17267"/>
                    <a:pt x="6164" y="17267"/>
                  </a:cubicBezTo>
                  <a:cubicBezTo>
                    <a:pt x="6222" y="17267"/>
                    <a:pt x="6222" y="17267"/>
                    <a:pt x="6222" y="17267"/>
                  </a:cubicBezTo>
                  <a:cubicBezTo>
                    <a:pt x="6222" y="17340"/>
                    <a:pt x="6222" y="17340"/>
                    <a:pt x="6222" y="17340"/>
                  </a:cubicBezTo>
                  <a:cubicBezTo>
                    <a:pt x="6332" y="17339"/>
                    <a:pt x="6332" y="17339"/>
                    <a:pt x="6332" y="17339"/>
                  </a:cubicBezTo>
                  <a:cubicBezTo>
                    <a:pt x="6331" y="17154"/>
                    <a:pt x="6331" y="17154"/>
                    <a:pt x="6331" y="17154"/>
                  </a:cubicBezTo>
                  <a:lnTo>
                    <a:pt x="6278" y="17154"/>
                  </a:lnTo>
                  <a:close/>
                  <a:moveTo>
                    <a:pt x="6235" y="17327"/>
                  </a:moveTo>
                  <a:cubicBezTo>
                    <a:pt x="6235" y="17254"/>
                    <a:pt x="6235" y="17254"/>
                    <a:pt x="6235" y="17254"/>
                  </a:cubicBezTo>
                  <a:cubicBezTo>
                    <a:pt x="6177" y="17254"/>
                    <a:pt x="6177" y="17254"/>
                    <a:pt x="6177" y="17254"/>
                  </a:cubicBezTo>
                  <a:cubicBezTo>
                    <a:pt x="6174" y="17158"/>
                    <a:pt x="6174" y="17158"/>
                    <a:pt x="6174" y="17158"/>
                  </a:cubicBezTo>
                  <a:cubicBezTo>
                    <a:pt x="6265" y="17157"/>
                    <a:pt x="6265" y="17157"/>
                    <a:pt x="6265" y="17157"/>
                  </a:cubicBezTo>
                  <a:cubicBezTo>
                    <a:pt x="6265" y="17167"/>
                    <a:pt x="6265" y="17167"/>
                    <a:pt x="6265" y="17167"/>
                  </a:cubicBezTo>
                  <a:cubicBezTo>
                    <a:pt x="6318" y="17167"/>
                    <a:pt x="6318" y="17167"/>
                    <a:pt x="6318" y="17167"/>
                  </a:cubicBezTo>
                  <a:cubicBezTo>
                    <a:pt x="6319" y="17326"/>
                    <a:pt x="6319" y="17326"/>
                    <a:pt x="6319" y="17326"/>
                  </a:cubicBezTo>
                  <a:lnTo>
                    <a:pt x="6235" y="17327"/>
                  </a:lnTo>
                  <a:close/>
                  <a:moveTo>
                    <a:pt x="6586" y="17257"/>
                  </a:moveTo>
                  <a:cubicBezTo>
                    <a:pt x="6586" y="17261"/>
                    <a:pt x="6586" y="17261"/>
                    <a:pt x="6586" y="17261"/>
                  </a:cubicBezTo>
                  <a:cubicBezTo>
                    <a:pt x="6534" y="17261"/>
                    <a:pt x="6534" y="17261"/>
                    <a:pt x="6534" y="17261"/>
                  </a:cubicBezTo>
                  <a:cubicBezTo>
                    <a:pt x="6533" y="17446"/>
                    <a:pt x="6533" y="17446"/>
                    <a:pt x="6533" y="17446"/>
                  </a:cubicBezTo>
                  <a:cubicBezTo>
                    <a:pt x="6643" y="17447"/>
                    <a:pt x="6643" y="17447"/>
                    <a:pt x="6643" y="17447"/>
                  </a:cubicBezTo>
                  <a:cubicBezTo>
                    <a:pt x="6643" y="17374"/>
                    <a:pt x="6643" y="17374"/>
                    <a:pt x="6643" y="17374"/>
                  </a:cubicBezTo>
                  <a:cubicBezTo>
                    <a:pt x="6694" y="17374"/>
                    <a:pt x="6694" y="17374"/>
                    <a:pt x="6694" y="17374"/>
                  </a:cubicBezTo>
                  <a:cubicBezTo>
                    <a:pt x="6700" y="17374"/>
                    <a:pt x="6700" y="17374"/>
                    <a:pt x="6700" y="17374"/>
                  </a:cubicBezTo>
                  <a:cubicBezTo>
                    <a:pt x="6704" y="17252"/>
                    <a:pt x="6704" y="17252"/>
                    <a:pt x="6704" y="17252"/>
                  </a:cubicBezTo>
                  <a:cubicBezTo>
                    <a:pt x="6586" y="17251"/>
                    <a:pt x="6586" y="17251"/>
                    <a:pt x="6586" y="17251"/>
                  </a:cubicBezTo>
                  <a:lnTo>
                    <a:pt x="6586" y="17257"/>
                  </a:lnTo>
                  <a:close/>
                  <a:moveTo>
                    <a:pt x="6599" y="17268"/>
                  </a:moveTo>
                  <a:cubicBezTo>
                    <a:pt x="6599" y="17264"/>
                    <a:pt x="6599" y="17264"/>
                    <a:pt x="6599" y="17264"/>
                  </a:cubicBezTo>
                  <a:cubicBezTo>
                    <a:pt x="6690" y="17265"/>
                    <a:pt x="6690" y="17265"/>
                    <a:pt x="6690" y="17265"/>
                  </a:cubicBezTo>
                  <a:cubicBezTo>
                    <a:pt x="6688" y="17361"/>
                    <a:pt x="6688" y="17361"/>
                    <a:pt x="6688" y="17361"/>
                  </a:cubicBezTo>
                  <a:cubicBezTo>
                    <a:pt x="6630" y="17361"/>
                    <a:pt x="6630" y="17361"/>
                    <a:pt x="6630" y="17361"/>
                  </a:cubicBezTo>
                  <a:cubicBezTo>
                    <a:pt x="6629" y="17434"/>
                    <a:pt x="6629" y="17434"/>
                    <a:pt x="6629" y="17434"/>
                  </a:cubicBezTo>
                  <a:cubicBezTo>
                    <a:pt x="6546" y="17433"/>
                    <a:pt x="6546" y="17433"/>
                    <a:pt x="6546" y="17433"/>
                  </a:cubicBezTo>
                  <a:cubicBezTo>
                    <a:pt x="6547" y="17274"/>
                    <a:pt x="6547" y="17274"/>
                    <a:pt x="6547" y="17274"/>
                  </a:cubicBezTo>
                  <a:cubicBezTo>
                    <a:pt x="6599" y="17275"/>
                    <a:pt x="6599" y="17275"/>
                    <a:pt x="6599" y="17275"/>
                  </a:cubicBezTo>
                  <a:lnTo>
                    <a:pt x="6599" y="17268"/>
                  </a:lnTo>
                  <a:close/>
                  <a:moveTo>
                    <a:pt x="6905" y="16532"/>
                  </a:moveTo>
                  <a:cubicBezTo>
                    <a:pt x="6905" y="16536"/>
                    <a:pt x="6905" y="16536"/>
                    <a:pt x="6905" y="16536"/>
                  </a:cubicBezTo>
                  <a:cubicBezTo>
                    <a:pt x="6853" y="16535"/>
                    <a:pt x="6853" y="16535"/>
                    <a:pt x="6853" y="16535"/>
                  </a:cubicBezTo>
                  <a:cubicBezTo>
                    <a:pt x="6852" y="16721"/>
                    <a:pt x="6852" y="16721"/>
                    <a:pt x="6852" y="16721"/>
                  </a:cubicBezTo>
                  <a:cubicBezTo>
                    <a:pt x="6962" y="16721"/>
                    <a:pt x="6962" y="16721"/>
                    <a:pt x="6962" y="16721"/>
                  </a:cubicBezTo>
                  <a:cubicBezTo>
                    <a:pt x="6962" y="16648"/>
                    <a:pt x="6962" y="16648"/>
                    <a:pt x="6962" y="16648"/>
                  </a:cubicBezTo>
                  <a:cubicBezTo>
                    <a:pt x="7013" y="16649"/>
                    <a:pt x="7013" y="16649"/>
                    <a:pt x="7013" y="16649"/>
                  </a:cubicBezTo>
                  <a:cubicBezTo>
                    <a:pt x="7019" y="16649"/>
                    <a:pt x="7019" y="16649"/>
                    <a:pt x="7019" y="16649"/>
                  </a:cubicBezTo>
                  <a:cubicBezTo>
                    <a:pt x="7023" y="16526"/>
                    <a:pt x="7023" y="16526"/>
                    <a:pt x="7023" y="16526"/>
                  </a:cubicBezTo>
                  <a:cubicBezTo>
                    <a:pt x="6905" y="16525"/>
                    <a:pt x="6905" y="16525"/>
                    <a:pt x="6905" y="16525"/>
                  </a:cubicBezTo>
                  <a:lnTo>
                    <a:pt x="6905" y="16532"/>
                  </a:lnTo>
                  <a:close/>
                  <a:moveTo>
                    <a:pt x="6918" y="16542"/>
                  </a:moveTo>
                  <a:cubicBezTo>
                    <a:pt x="6918" y="16538"/>
                    <a:pt x="6918" y="16538"/>
                    <a:pt x="6918" y="16538"/>
                  </a:cubicBezTo>
                  <a:cubicBezTo>
                    <a:pt x="7009" y="16539"/>
                    <a:pt x="7009" y="16539"/>
                    <a:pt x="7009" y="16539"/>
                  </a:cubicBezTo>
                  <a:cubicBezTo>
                    <a:pt x="7007" y="16636"/>
                    <a:pt x="7007" y="16636"/>
                    <a:pt x="7007" y="16636"/>
                  </a:cubicBezTo>
                  <a:cubicBezTo>
                    <a:pt x="6949" y="16635"/>
                    <a:pt x="6949" y="16635"/>
                    <a:pt x="6949" y="16635"/>
                  </a:cubicBezTo>
                  <a:cubicBezTo>
                    <a:pt x="6948" y="16708"/>
                    <a:pt x="6948" y="16708"/>
                    <a:pt x="6948" y="16708"/>
                  </a:cubicBezTo>
                  <a:cubicBezTo>
                    <a:pt x="6865" y="16708"/>
                    <a:pt x="6865" y="16708"/>
                    <a:pt x="6865" y="16708"/>
                  </a:cubicBezTo>
                  <a:cubicBezTo>
                    <a:pt x="6866" y="16548"/>
                    <a:pt x="6866" y="16548"/>
                    <a:pt x="6866" y="16548"/>
                  </a:cubicBezTo>
                  <a:cubicBezTo>
                    <a:pt x="6918" y="16549"/>
                    <a:pt x="6918" y="16549"/>
                    <a:pt x="6918" y="16549"/>
                  </a:cubicBezTo>
                  <a:lnTo>
                    <a:pt x="6918" y="16542"/>
                  </a:lnTo>
                  <a:close/>
                  <a:moveTo>
                    <a:pt x="6996" y="15803"/>
                  </a:moveTo>
                  <a:cubicBezTo>
                    <a:pt x="7053" y="15803"/>
                    <a:pt x="7053" y="15803"/>
                    <a:pt x="7053" y="15803"/>
                  </a:cubicBezTo>
                  <a:cubicBezTo>
                    <a:pt x="7054" y="15876"/>
                    <a:pt x="7054" y="15876"/>
                    <a:pt x="7054" y="15876"/>
                  </a:cubicBezTo>
                  <a:cubicBezTo>
                    <a:pt x="7164" y="15875"/>
                    <a:pt x="7164" y="15875"/>
                    <a:pt x="7164" y="15875"/>
                  </a:cubicBezTo>
                  <a:cubicBezTo>
                    <a:pt x="7162" y="15690"/>
                    <a:pt x="7162" y="15690"/>
                    <a:pt x="7162" y="15690"/>
                  </a:cubicBezTo>
                  <a:cubicBezTo>
                    <a:pt x="7110" y="15690"/>
                    <a:pt x="7110" y="15690"/>
                    <a:pt x="7110" y="15690"/>
                  </a:cubicBezTo>
                  <a:cubicBezTo>
                    <a:pt x="7110" y="15680"/>
                    <a:pt x="7110" y="15680"/>
                    <a:pt x="7110" y="15680"/>
                  </a:cubicBezTo>
                  <a:cubicBezTo>
                    <a:pt x="6992" y="15681"/>
                    <a:pt x="6992" y="15681"/>
                    <a:pt x="6992" y="15681"/>
                  </a:cubicBezTo>
                  <a:cubicBezTo>
                    <a:pt x="6996" y="15797"/>
                    <a:pt x="6996" y="15797"/>
                    <a:pt x="6996" y="15797"/>
                  </a:cubicBezTo>
                  <a:lnTo>
                    <a:pt x="6996" y="15803"/>
                  </a:lnTo>
                  <a:close/>
                  <a:moveTo>
                    <a:pt x="7097" y="15693"/>
                  </a:moveTo>
                  <a:cubicBezTo>
                    <a:pt x="7097" y="15703"/>
                    <a:pt x="7097" y="15703"/>
                    <a:pt x="7097" y="15703"/>
                  </a:cubicBezTo>
                  <a:cubicBezTo>
                    <a:pt x="7149" y="15703"/>
                    <a:pt x="7149" y="15703"/>
                    <a:pt x="7149" y="15703"/>
                  </a:cubicBezTo>
                  <a:cubicBezTo>
                    <a:pt x="7150" y="15862"/>
                    <a:pt x="7150" y="15862"/>
                    <a:pt x="7150" y="15862"/>
                  </a:cubicBezTo>
                  <a:cubicBezTo>
                    <a:pt x="7067" y="15863"/>
                    <a:pt x="7067" y="15863"/>
                    <a:pt x="7067" y="15863"/>
                  </a:cubicBezTo>
                  <a:cubicBezTo>
                    <a:pt x="7066" y="15790"/>
                    <a:pt x="7066" y="15790"/>
                    <a:pt x="7066" y="15790"/>
                  </a:cubicBezTo>
                  <a:cubicBezTo>
                    <a:pt x="7009" y="15790"/>
                    <a:pt x="7009" y="15790"/>
                    <a:pt x="7009" y="15790"/>
                  </a:cubicBezTo>
                  <a:cubicBezTo>
                    <a:pt x="7006" y="15694"/>
                    <a:pt x="7006" y="15694"/>
                    <a:pt x="7006" y="15694"/>
                  </a:cubicBezTo>
                  <a:lnTo>
                    <a:pt x="7097" y="15693"/>
                  </a:lnTo>
                  <a:close/>
                  <a:moveTo>
                    <a:pt x="6769" y="14289"/>
                  </a:moveTo>
                  <a:cubicBezTo>
                    <a:pt x="6769" y="14293"/>
                    <a:pt x="6769" y="14293"/>
                    <a:pt x="6769" y="14293"/>
                  </a:cubicBezTo>
                  <a:cubicBezTo>
                    <a:pt x="6717" y="14288"/>
                    <a:pt x="6717" y="14288"/>
                    <a:pt x="6717" y="14288"/>
                  </a:cubicBezTo>
                  <a:cubicBezTo>
                    <a:pt x="6700" y="14472"/>
                    <a:pt x="6700" y="14472"/>
                    <a:pt x="6700" y="14472"/>
                  </a:cubicBezTo>
                  <a:cubicBezTo>
                    <a:pt x="6809" y="14483"/>
                    <a:pt x="6809" y="14483"/>
                    <a:pt x="6809" y="14483"/>
                  </a:cubicBezTo>
                  <a:cubicBezTo>
                    <a:pt x="6816" y="14410"/>
                    <a:pt x="6816" y="14410"/>
                    <a:pt x="6816" y="14410"/>
                  </a:cubicBezTo>
                  <a:cubicBezTo>
                    <a:pt x="6866" y="14415"/>
                    <a:pt x="6866" y="14415"/>
                    <a:pt x="6866" y="14415"/>
                  </a:cubicBezTo>
                  <a:cubicBezTo>
                    <a:pt x="6873" y="14415"/>
                    <a:pt x="6873" y="14415"/>
                    <a:pt x="6873" y="14415"/>
                  </a:cubicBezTo>
                  <a:cubicBezTo>
                    <a:pt x="6887" y="14293"/>
                    <a:pt x="6887" y="14293"/>
                    <a:pt x="6887" y="14293"/>
                  </a:cubicBezTo>
                  <a:cubicBezTo>
                    <a:pt x="6770" y="14282"/>
                    <a:pt x="6770" y="14282"/>
                    <a:pt x="6770" y="14282"/>
                  </a:cubicBezTo>
                  <a:lnTo>
                    <a:pt x="6769" y="14289"/>
                  </a:lnTo>
                  <a:close/>
                  <a:moveTo>
                    <a:pt x="6781" y="14300"/>
                  </a:moveTo>
                  <a:cubicBezTo>
                    <a:pt x="6782" y="14296"/>
                    <a:pt x="6782" y="14296"/>
                    <a:pt x="6782" y="14296"/>
                  </a:cubicBezTo>
                  <a:cubicBezTo>
                    <a:pt x="6873" y="14305"/>
                    <a:pt x="6873" y="14305"/>
                    <a:pt x="6873" y="14305"/>
                  </a:cubicBezTo>
                  <a:cubicBezTo>
                    <a:pt x="6861" y="14401"/>
                    <a:pt x="6861" y="14401"/>
                    <a:pt x="6861" y="14401"/>
                  </a:cubicBezTo>
                  <a:cubicBezTo>
                    <a:pt x="6804" y="14396"/>
                    <a:pt x="6804" y="14396"/>
                    <a:pt x="6804" y="14396"/>
                  </a:cubicBezTo>
                  <a:cubicBezTo>
                    <a:pt x="6797" y="14468"/>
                    <a:pt x="6797" y="14468"/>
                    <a:pt x="6797" y="14468"/>
                  </a:cubicBezTo>
                  <a:cubicBezTo>
                    <a:pt x="6714" y="14460"/>
                    <a:pt x="6714" y="14460"/>
                    <a:pt x="6714" y="14460"/>
                  </a:cubicBezTo>
                  <a:cubicBezTo>
                    <a:pt x="6729" y="14302"/>
                    <a:pt x="6729" y="14302"/>
                    <a:pt x="6729" y="14302"/>
                  </a:cubicBezTo>
                  <a:cubicBezTo>
                    <a:pt x="6781" y="14307"/>
                    <a:pt x="6781" y="14307"/>
                    <a:pt x="6781" y="14307"/>
                  </a:cubicBezTo>
                  <a:lnTo>
                    <a:pt x="6781" y="14300"/>
                  </a:lnTo>
                  <a:close/>
                  <a:moveTo>
                    <a:pt x="6484" y="14296"/>
                  </a:moveTo>
                  <a:cubicBezTo>
                    <a:pt x="6484" y="14300"/>
                    <a:pt x="6484" y="14300"/>
                    <a:pt x="6484" y="14300"/>
                  </a:cubicBezTo>
                  <a:cubicBezTo>
                    <a:pt x="6432" y="14295"/>
                    <a:pt x="6432" y="14295"/>
                    <a:pt x="6432" y="14295"/>
                  </a:cubicBezTo>
                  <a:cubicBezTo>
                    <a:pt x="6414" y="14480"/>
                    <a:pt x="6414" y="14480"/>
                    <a:pt x="6414" y="14480"/>
                  </a:cubicBezTo>
                  <a:cubicBezTo>
                    <a:pt x="6524" y="14490"/>
                    <a:pt x="6524" y="14490"/>
                    <a:pt x="6524" y="14490"/>
                  </a:cubicBezTo>
                  <a:cubicBezTo>
                    <a:pt x="6530" y="14418"/>
                    <a:pt x="6530" y="14418"/>
                    <a:pt x="6530" y="14418"/>
                  </a:cubicBezTo>
                  <a:cubicBezTo>
                    <a:pt x="6581" y="14422"/>
                    <a:pt x="6581" y="14422"/>
                    <a:pt x="6581" y="14422"/>
                  </a:cubicBezTo>
                  <a:cubicBezTo>
                    <a:pt x="6587" y="14423"/>
                    <a:pt x="6587" y="14423"/>
                    <a:pt x="6587" y="14423"/>
                  </a:cubicBezTo>
                  <a:cubicBezTo>
                    <a:pt x="6602" y="14301"/>
                    <a:pt x="6602" y="14301"/>
                    <a:pt x="6602" y="14301"/>
                  </a:cubicBezTo>
                  <a:cubicBezTo>
                    <a:pt x="6485" y="14290"/>
                    <a:pt x="6485" y="14290"/>
                    <a:pt x="6485" y="14290"/>
                  </a:cubicBezTo>
                  <a:lnTo>
                    <a:pt x="6484" y="14296"/>
                  </a:lnTo>
                  <a:close/>
                  <a:moveTo>
                    <a:pt x="6496" y="14308"/>
                  </a:moveTo>
                  <a:cubicBezTo>
                    <a:pt x="6496" y="14304"/>
                    <a:pt x="6496" y="14304"/>
                    <a:pt x="6496" y="14304"/>
                  </a:cubicBezTo>
                  <a:cubicBezTo>
                    <a:pt x="6587" y="14313"/>
                    <a:pt x="6587" y="14313"/>
                    <a:pt x="6587" y="14313"/>
                  </a:cubicBezTo>
                  <a:cubicBezTo>
                    <a:pt x="6576" y="14409"/>
                    <a:pt x="6576" y="14409"/>
                    <a:pt x="6576" y="14409"/>
                  </a:cubicBezTo>
                  <a:cubicBezTo>
                    <a:pt x="6518" y="14403"/>
                    <a:pt x="6518" y="14403"/>
                    <a:pt x="6518" y="14403"/>
                  </a:cubicBezTo>
                  <a:cubicBezTo>
                    <a:pt x="6512" y="14476"/>
                    <a:pt x="6512" y="14476"/>
                    <a:pt x="6512" y="14476"/>
                  </a:cubicBezTo>
                  <a:cubicBezTo>
                    <a:pt x="6429" y="14468"/>
                    <a:pt x="6429" y="14468"/>
                    <a:pt x="6429" y="14468"/>
                  </a:cubicBezTo>
                  <a:cubicBezTo>
                    <a:pt x="6443" y="14310"/>
                    <a:pt x="6443" y="14310"/>
                    <a:pt x="6443" y="14310"/>
                  </a:cubicBezTo>
                  <a:cubicBezTo>
                    <a:pt x="6495" y="14315"/>
                    <a:pt x="6495" y="14315"/>
                    <a:pt x="6495" y="14315"/>
                  </a:cubicBezTo>
                  <a:lnTo>
                    <a:pt x="6496" y="14308"/>
                  </a:lnTo>
                  <a:close/>
                  <a:moveTo>
                    <a:pt x="6266" y="14425"/>
                  </a:moveTo>
                  <a:cubicBezTo>
                    <a:pt x="6316" y="14430"/>
                    <a:pt x="6316" y="14430"/>
                    <a:pt x="6316" y="14430"/>
                  </a:cubicBezTo>
                  <a:cubicBezTo>
                    <a:pt x="6323" y="14431"/>
                    <a:pt x="6323" y="14431"/>
                    <a:pt x="6323" y="14431"/>
                  </a:cubicBezTo>
                  <a:cubicBezTo>
                    <a:pt x="6337" y="14309"/>
                    <a:pt x="6337" y="14309"/>
                    <a:pt x="6337" y="14309"/>
                  </a:cubicBezTo>
                  <a:cubicBezTo>
                    <a:pt x="6220" y="14298"/>
                    <a:pt x="6220" y="14298"/>
                    <a:pt x="6220" y="14298"/>
                  </a:cubicBezTo>
                  <a:cubicBezTo>
                    <a:pt x="6219" y="14304"/>
                    <a:pt x="6219" y="14304"/>
                    <a:pt x="6219" y="14304"/>
                  </a:cubicBezTo>
                  <a:cubicBezTo>
                    <a:pt x="6219" y="14308"/>
                    <a:pt x="6219" y="14308"/>
                    <a:pt x="6219" y="14308"/>
                  </a:cubicBezTo>
                  <a:cubicBezTo>
                    <a:pt x="6167" y="14303"/>
                    <a:pt x="6167" y="14303"/>
                    <a:pt x="6167" y="14303"/>
                  </a:cubicBezTo>
                  <a:cubicBezTo>
                    <a:pt x="6149" y="14488"/>
                    <a:pt x="6149" y="14488"/>
                    <a:pt x="6149" y="14488"/>
                  </a:cubicBezTo>
                  <a:cubicBezTo>
                    <a:pt x="6259" y="14498"/>
                    <a:pt x="6259" y="14498"/>
                    <a:pt x="6259" y="14498"/>
                  </a:cubicBezTo>
                  <a:lnTo>
                    <a:pt x="6266" y="14425"/>
                  </a:lnTo>
                  <a:close/>
                  <a:moveTo>
                    <a:pt x="6247" y="14484"/>
                  </a:moveTo>
                  <a:cubicBezTo>
                    <a:pt x="6164" y="14476"/>
                    <a:pt x="6164" y="14476"/>
                    <a:pt x="6164" y="14476"/>
                  </a:cubicBezTo>
                  <a:cubicBezTo>
                    <a:pt x="6179" y="14317"/>
                    <a:pt x="6179" y="14317"/>
                    <a:pt x="6179" y="14317"/>
                  </a:cubicBezTo>
                  <a:cubicBezTo>
                    <a:pt x="6231" y="14322"/>
                    <a:pt x="6231" y="14322"/>
                    <a:pt x="6231" y="14322"/>
                  </a:cubicBezTo>
                  <a:cubicBezTo>
                    <a:pt x="6231" y="14316"/>
                    <a:pt x="6231" y="14316"/>
                    <a:pt x="6231" y="14316"/>
                  </a:cubicBezTo>
                  <a:cubicBezTo>
                    <a:pt x="6232" y="14312"/>
                    <a:pt x="6232" y="14312"/>
                    <a:pt x="6232" y="14312"/>
                  </a:cubicBezTo>
                  <a:cubicBezTo>
                    <a:pt x="6322" y="14320"/>
                    <a:pt x="6322" y="14320"/>
                    <a:pt x="6322" y="14320"/>
                  </a:cubicBezTo>
                  <a:cubicBezTo>
                    <a:pt x="6311" y="14416"/>
                    <a:pt x="6311" y="14416"/>
                    <a:pt x="6311" y="14416"/>
                  </a:cubicBezTo>
                  <a:cubicBezTo>
                    <a:pt x="6254" y="14411"/>
                    <a:pt x="6254" y="14411"/>
                    <a:pt x="6254" y="14411"/>
                  </a:cubicBezTo>
                  <a:lnTo>
                    <a:pt x="6247" y="14484"/>
                  </a:lnTo>
                  <a:close/>
                  <a:moveTo>
                    <a:pt x="5382" y="11335"/>
                  </a:moveTo>
                  <a:cubicBezTo>
                    <a:pt x="5378" y="11335"/>
                    <a:pt x="5378" y="11335"/>
                    <a:pt x="5378" y="11335"/>
                  </a:cubicBezTo>
                  <a:cubicBezTo>
                    <a:pt x="5370" y="11284"/>
                    <a:pt x="5370" y="11284"/>
                    <a:pt x="5370" y="11284"/>
                  </a:cubicBezTo>
                  <a:cubicBezTo>
                    <a:pt x="5187" y="11314"/>
                    <a:pt x="5187" y="11314"/>
                    <a:pt x="5187" y="11314"/>
                  </a:cubicBezTo>
                  <a:cubicBezTo>
                    <a:pt x="5205" y="11422"/>
                    <a:pt x="5205" y="11422"/>
                    <a:pt x="5205" y="11422"/>
                  </a:cubicBezTo>
                  <a:cubicBezTo>
                    <a:pt x="5277" y="11410"/>
                    <a:pt x="5277" y="11410"/>
                    <a:pt x="5277" y="11410"/>
                  </a:cubicBezTo>
                  <a:cubicBezTo>
                    <a:pt x="5285" y="11460"/>
                    <a:pt x="5285" y="11460"/>
                    <a:pt x="5285" y="11460"/>
                  </a:cubicBezTo>
                  <a:cubicBezTo>
                    <a:pt x="5286" y="11467"/>
                    <a:pt x="5286" y="11467"/>
                    <a:pt x="5286" y="11467"/>
                  </a:cubicBezTo>
                  <a:cubicBezTo>
                    <a:pt x="5408" y="11450"/>
                    <a:pt x="5408" y="11450"/>
                    <a:pt x="5408" y="11450"/>
                  </a:cubicBezTo>
                  <a:cubicBezTo>
                    <a:pt x="5389" y="11333"/>
                    <a:pt x="5389" y="11333"/>
                    <a:pt x="5389" y="11333"/>
                  </a:cubicBezTo>
                  <a:lnTo>
                    <a:pt x="5382" y="11335"/>
                  </a:lnTo>
                  <a:close/>
                  <a:moveTo>
                    <a:pt x="5297" y="11452"/>
                  </a:moveTo>
                  <a:cubicBezTo>
                    <a:pt x="5288" y="11395"/>
                    <a:pt x="5288" y="11395"/>
                    <a:pt x="5288" y="11395"/>
                  </a:cubicBezTo>
                  <a:cubicBezTo>
                    <a:pt x="5216" y="11407"/>
                    <a:pt x="5216" y="11407"/>
                    <a:pt x="5216" y="11407"/>
                  </a:cubicBezTo>
                  <a:cubicBezTo>
                    <a:pt x="5202" y="11325"/>
                    <a:pt x="5202" y="11325"/>
                    <a:pt x="5202" y="11325"/>
                  </a:cubicBezTo>
                  <a:cubicBezTo>
                    <a:pt x="5359" y="11299"/>
                    <a:pt x="5359" y="11299"/>
                    <a:pt x="5359" y="11299"/>
                  </a:cubicBezTo>
                  <a:cubicBezTo>
                    <a:pt x="5368" y="11350"/>
                    <a:pt x="5368" y="11350"/>
                    <a:pt x="5368" y="11350"/>
                  </a:cubicBezTo>
                  <a:cubicBezTo>
                    <a:pt x="5374" y="11349"/>
                    <a:pt x="5374" y="11349"/>
                    <a:pt x="5374" y="11349"/>
                  </a:cubicBezTo>
                  <a:cubicBezTo>
                    <a:pt x="5378" y="11349"/>
                    <a:pt x="5378" y="11349"/>
                    <a:pt x="5378" y="11349"/>
                  </a:cubicBezTo>
                  <a:cubicBezTo>
                    <a:pt x="5393" y="11438"/>
                    <a:pt x="5393" y="11438"/>
                    <a:pt x="5393" y="11438"/>
                  </a:cubicBezTo>
                  <a:lnTo>
                    <a:pt x="5297" y="11452"/>
                  </a:lnTo>
                  <a:close/>
                  <a:moveTo>
                    <a:pt x="7106" y="10878"/>
                  </a:moveTo>
                  <a:cubicBezTo>
                    <a:pt x="7102" y="10892"/>
                    <a:pt x="7102" y="10892"/>
                    <a:pt x="7102" y="10892"/>
                  </a:cubicBezTo>
                  <a:cubicBezTo>
                    <a:pt x="7212" y="10925"/>
                    <a:pt x="7212" y="10925"/>
                    <a:pt x="7212" y="10925"/>
                  </a:cubicBezTo>
                  <a:cubicBezTo>
                    <a:pt x="7243" y="10813"/>
                    <a:pt x="7243" y="10813"/>
                    <a:pt x="7243" y="10813"/>
                  </a:cubicBezTo>
                  <a:cubicBezTo>
                    <a:pt x="7245" y="10807"/>
                    <a:pt x="7245" y="10807"/>
                    <a:pt x="7245" y="10807"/>
                  </a:cubicBezTo>
                  <a:cubicBezTo>
                    <a:pt x="7190" y="10789"/>
                    <a:pt x="7190" y="10789"/>
                    <a:pt x="7190" y="10789"/>
                  </a:cubicBezTo>
                  <a:cubicBezTo>
                    <a:pt x="7211" y="10715"/>
                    <a:pt x="7211" y="10715"/>
                    <a:pt x="7211" y="10715"/>
                  </a:cubicBezTo>
                  <a:cubicBezTo>
                    <a:pt x="7106" y="10685"/>
                    <a:pt x="7106" y="10685"/>
                    <a:pt x="7106" y="10685"/>
                  </a:cubicBezTo>
                  <a:cubicBezTo>
                    <a:pt x="7056" y="10864"/>
                    <a:pt x="7056" y="10864"/>
                    <a:pt x="7056" y="10864"/>
                  </a:cubicBezTo>
                  <a:lnTo>
                    <a:pt x="7106" y="10878"/>
                  </a:lnTo>
                  <a:close/>
                  <a:moveTo>
                    <a:pt x="7115" y="10702"/>
                  </a:moveTo>
                  <a:cubicBezTo>
                    <a:pt x="7195" y="10724"/>
                    <a:pt x="7195" y="10724"/>
                    <a:pt x="7195" y="10724"/>
                  </a:cubicBezTo>
                  <a:cubicBezTo>
                    <a:pt x="7173" y="10798"/>
                    <a:pt x="7173" y="10798"/>
                    <a:pt x="7173" y="10798"/>
                  </a:cubicBezTo>
                  <a:cubicBezTo>
                    <a:pt x="7229" y="10815"/>
                    <a:pt x="7229" y="10815"/>
                    <a:pt x="7229" y="10815"/>
                  </a:cubicBezTo>
                  <a:cubicBezTo>
                    <a:pt x="7203" y="10908"/>
                    <a:pt x="7203" y="10908"/>
                    <a:pt x="7203" y="10908"/>
                  </a:cubicBezTo>
                  <a:cubicBezTo>
                    <a:pt x="7118" y="10883"/>
                    <a:pt x="7118" y="10883"/>
                    <a:pt x="7118" y="10883"/>
                  </a:cubicBezTo>
                  <a:cubicBezTo>
                    <a:pt x="7123" y="10869"/>
                    <a:pt x="7123" y="10869"/>
                    <a:pt x="7123" y="10869"/>
                  </a:cubicBezTo>
                  <a:cubicBezTo>
                    <a:pt x="7072" y="10855"/>
                    <a:pt x="7072" y="10855"/>
                    <a:pt x="7072" y="10855"/>
                  </a:cubicBezTo>
                  <a:lnTo>
                    <a:pt x="7115" y="10702"/>
                  </a:lnTo>
                  <a:close/>
                  <a:moveTo>
                    <a:pt x="7510" y="10855"/>
                  </a:moveTo>
                  <a:cubicBezTo>
                    <a:pt x="7540" y="10743"/>
                    <a:pt x="7540" y="10743"/>
                    <a:pt x="7540" y="10743"/>
                  </a:cubicBezTo>
                  <a:cubicBezTo>
                    <a:pt x="7542" y="10737"/>
                    <a:pt x="7542" y="10737"/>
                    <a:pt x="7542" y="10737"/>
                  </a:cubicBezTo>
                  <a:cubicBezTo>
                    <a:pt x="7487" y="10720"/>
                    <a:pt x="7487" y="10720"/>
                    <a:pt x="7487" y="10720"/>
                  </a:cubicBezTo>
                  <a:cubicBezTo>
                    <a:pt x="7509" y="10646"/>
                    <a:pt x="7509" y="10646"/>
                    <a:pt x="7509" y="10646"/>
                  </a:cubicBezTo>
                  <a:cubicBezTo>
                    <a:pt x="7403" y="10616"/>
                    <a:pt x="7403" y="10616"/>
                    <a:pt x="7403" y="10616"/>
                  </a:cubicBezTo>
                  <a:cubicBezTo>
                    <a:pt x="7354" y="10795"/>
                    <a:pt x="7354" y="10795"/>
                    <a:pt x="7354" y="10795"/>
                  </a:cubicBezTo>
                  <a:cubicBezTo>
                    <a:pt x="7404" y="10809"/>
                    <a:pt x="7404" y="10809"/>
                    <a:pt x="7404" y="10809"/>
                  </a:cubicBezTo>
                  <a:cubicBezTo>
                    <a:pt x="7399" y="10823"/>
                    <a:pt x="7399" y="10823"/>
                    <a:pt x="7399" y="10823"/>
                  </a:cubicBezTo>
                  <a:lnTo>
                    <a:pt x="7510" y="10855"/>
                  </a:lnTo>
                  <a:close/>
                  <a:moveTo>
                    <a:pt x="7370" y="10786"/>
                  </a:moveTo>
                  <a:cubicBezTo>
                    <a:pt x="7412" y="10632"/>
                    <a:pt x="7412" y="10632"/>
                    <a:pt x="7412" y="10632"/>
                  </a:cubicBezTo>
                  <a:cubicBezTo>
                    <a:pt x="7493" y="10655"/>
                    <a:pt x="7493" y="10655"/>
                    <a:pt x="7493" y="10655"/>
                  </a:cubicBezTo>
                  <a:cubicBezTo>
                    <a:pt x="7471" y="10728"/>
                    <a:pt x="7471" y="10728"/>
                    <a:pt x="7471" y="10728"/>
                  </a:cubicBezTo>
                  <a:cubicBezTo>
                    <a:pt x="7526" y="10746"/>
                    <a:pt x="7526" y="10746"/>
                    <a:pt x="7526" y="10746"/>
                  </a:cubicBezTo>
                  <a:cubicBezTo>
                    <a:pt x="7501" y="10839"/>
                    <a:pt x="7501" y="10839"/>
                    <a:pt x="7501" y="10839"/>
                  </a:cubicBezTo>
                  <a:cubicBezTo>
                    <a:pt x="7416" y="10814"/>
                    <a:pt x="7416" y="10814"/>
                    <a:pt x="7416" y="10814"/>
                  </a:cubicBezTo>
                  <a:cubicBezTo>
                    <a:pt x="7420" y="10800"/>
                    <a:pt x="7420" y="10800"/>
                    <a:pt x="7420" y="10800"/>
                  </a:cubicBezTo>
                  <a:lnTo>
                    <a:pt x="7370" y="10786"/>
                  </a:lnTo>
                  <a:close/>
                  <a:moveTo>
                    <a:pt x="6885" y="10591"/>
                  </a:moveTo>
                  <a:cubicBezTo>
                    <a:pt x="6994" y="10605"/>
                    <a:pt x="6994" y="10605"/>
                    <a:pt x="6994" y="10605"/>
                  </a:cubicBezTo>
                  <a:cubicBezTo>
                    <a:pt x="7019" y="10422"/>
                    <a:pt x="7019" y="10422"/>
                    <a:pt x="7019" y="10422"/>
                  </a:cubicBezTo>
                  <a:cubicBezTo>
                    <a:pt x="6968" y="10415"/>
                    <a:pt x="6968" y="10415"/>
                    <a:pt x="6968" y="10415"/>
                  </a:cubicBezTo>
                  <a:cubicBezTo>
                    <a:pt x="6970" y="10400"/>
                    <a:pt x="6970" y="10400"/>
                    <a:pt x="6970" y="10400"/>
                  </a:cubicBezTo>
                  <a:cubicBezTo>
                    <a:pt x="6856" y="10383"/>
                    <a:pt x="6856" y="10383"/>
                    <a:pt x="6856" y="10383"/>
                  </a:cubicBezTo>
                  <a:cubicBezTo>
                    <a:pt x="6841" y="10498"/>
                    <a:pt x="6841" y="10498"/>
                    <a:pt x="6841" y="10498"/>
                  </a:cubicBezTo>
                  <a:cubicBezTo>
                    <a:pt x="6840" y="10504"/>
                    <a:pt x="6840" y="10504"/>
                    <a:pt x="6840" y="10504"/>
                  </a:cubicBezTo>
                  <a:cubicBezTo>
                    <a:pt x="6897" y="10514"/>
                    <a:pt x="6897" y="10514"/>
                    <a:pt x="6897" y="10514"/>
                  </a:cubicBezTo>
                  <a:lnTo>
                    <a:pt x="6885" y="10591"/>
                  </a:lnTo>
                  <a:close/>
                  <a:moveTo>
                    <a:pt x="6855" y="10493"/>
                  </a:moveTo>
                  <a:cubicBezTo>
                    <a:pt x="6867" y="10398"/>
                    <a:pt x="6867" y="10398"/>
                    <a:pt x="6867" y="10398"/>
                  </a:cubicBezTo>
                  <a:cubicBezTo>
                    <a:pt x="6955" y="10411"/>
                    <a:pt x="6955" y="10411"/>
                    <a:pt x="6955" y="10411"/>
                  </a:cubicBezTo>
                  <a:cubicBezTo>
                    <a:pt x="6952" y="10426"/>
                    <a:pt x="6952" y="10426"/>
                    <a:pt x="6952" y="10426"/>
                  </a:cubicBezTo>
                  <a:cubicBezTo>
                    <a:pt x="7004" y="10433"/>
                    <a:pt x="7004" y="10433"/>
                    <a:pt x="7004" y="10433"/>
                  </a:cubicBezTo>
                  <a:cubicBezTo>
                    <a:pt x="6983" y="10591"/>
                    <a:pt x="6983" y="10591"/>
                    <a:pt x="6983" y="10591"/>
                  </a:cubicBezTo>
                  <a:cubicBezTo>
                    <a:pt x="6900" y="10579"/>
                    <a:pt x="6900" y="10579"/>
                    <a:pt x="6900" y="10579"/>
                  </a:cubicBezTo>
                  <a:cubicBezTo>
                    <a:pt x="6912" y="10503"/>
                    <a:pt x="6912" y="10503"/>
                    <a:pt x="6912" y="10503"/>
                  </a:cubicBezTo>
                  <a:lnTo>
                    <a:pt x="6855" y="10493"/>
                  </a:lnTo>
                  <a:close/>
                  <a:moveTo>
                    <a:pt x="7008" y="14387"/>
                  </a:moveTo>
                  <a:cubicBezTo>
                    <a:pt x="7008" y="14391"/>
                    <a:pt x="7008" y="14391"/>
                    <a:pt x="7008" y="14391"/>
                  </a:cubicBezTo>
                  <a:cubicBezTo>
                    <a:pt x="6956" y="14386"/>
                    <a:pt x="6956" y="14386"/>
                    <a:pt x="6956" y="14386"/>
                  </a:cubicBezTo>
                  <a:cubicBezTo>
                    <a:pt x="6939" y="14571"/>
                    <a:pt x="6939" y="14571"/>
                    <a:pt x="6939" y="14571"/>
                  </a:cubicBezTo>
                  <a:cubicBezTo>
                    <a:pt x="7048" y="14581"/>
                    <a:pt x="7048" y="14581"/>
                    <a:pt x="7048" y="14581"/>
                  </a:cubicBezTo>
                  <a:cubicBezTo>
                    <a:pt x="7055" y="14508"/>
                    <a:pt x="7055" y="14508"/>
                    <a:pt x="7055" y="14508"/>
                  </a:cubicBezTo>
                  <a:cubicBezTo>
                    <a:pt x="7105" y="14513"/>
                    <a:pt x="7105" y="14513"/>
                    <a:pt x="7105" y="14513"/>
                  </a:cubicBezTo>
                  <a:cubicBezTo>
                    <a:pt x="7112" y="14513"/>
                    <a:pt x="7112" y="14513"/>
                    <a:pt x="7112" y="14513"/>
                  </a:cubicBezTo>
                  <a:cubicBezTo>
                    <a:pt x="7126" y="14391"/>
                    <a:pt x="7126" y="14391"/>
                    <a:pt x="7126" y="14391"/>
                  </a:cubicBezTo>
                  <a:cubicBezTo>
                    <a:pt x="7009" y="14380"/>
                    <a:pt x="7009" y="14380"/>
                    <a:pt x="7009" y="14380"/>
                  </a:cubicBezTo>
                  <a:lnTo>
                    <a:pt x="7008" y="14387"/>
                  </a:lnTo>
                  <a:close/>
                  <a:moveTo>
                    <a:pt x="7020" y="14398"/>
                  </a:moveTo>
                  <a:cubicBezTo>
                    <a:pt x="7021" y="14395"/>
                    <a:pt x="7021" y="14395"/>
                    <a:pt x="7021" y="14395"/>
                  </a:cubicBezTo>
                  <a:cubicBezTo>
                    <a:pt x="7111" y="14403"/>
                    <a:pt x="7111" y="14403"/>
                    <a:pt x="7111" y="14403"/>
                  </a:cubicBezTo>
                  <a:cubicBezTo>
                    <a:pt x="7100" y="14499"/>
                    <a:pt x="7100" y="14499"/>
                    <a:pt x="7100" y="14499"/>
                  </a:cubicBezTo>
                  <a:cubicBezTo>
                    <a:pt x="7043" y="14494"/>
                    <a:pt x="7043" y="14494"/>
                    <a:pt x="7043" y="14494"/>
                  </a:cubicBezTo>
                  <a:cubicBezTo>
                    <a:pt x="7036" y="14566"/>
                    <a:pt x="7036" y="14566"/>
                    <a:pt x="7036" y="14566"/>
                  </a:cubicBezTo>
                  <a:cubicBezTo>
                    <a:pt x="6953" y="14559"/>
                    <a:pt x="6953" y="14559"/>
                    <a:pt x="6953" y="14559"/>
                  </a:cubicBezTo>
                  <a:cubicBezTo>
                    <a:pt x="6968" y="14400"/>
                    <a:pt x="6968" y="14400"/>
                    <a:pt x="6968" y="14400"/>
                  </a:cubicBezTo>
                  <a:cubicBezTo>
                    <a:pt x="7020" y="14405"/>
                    <a:pt x="7020" y="14405"/>
                    <a:pt x="7020" y="14405"/>
                  </a:cubicBezTo>
                  <a:lnTo>
                    <a:pt x="7020" y="14398"/>
                  </a:lnTo>
                  <a:close/>
                  <a:moveTo>
                    <a:pt x="7344" y="14384"/>
                  </a:moveTo>
                  <a:cubicBezTo>
                    <a:pt x="7358" y="14262"/>
                    <a:pt x="7358" y="14262"/>
                    <a:pt x="7358" y="14262"/>
                  </a:cubicBezTo>
                  <a:cubicBezTo>
                    <a:pt x="7241" y="14251"/>
                    <a:pt x="7241" y="14251"/>
                    <a:pt x="7241" y="14251"/>
                  </a:cubicBezTo>
                  <a:cubicBezTo>
                    <a:pt x="7241" y="14258"/>
                    <a:pt x="7241" y="14258"/>
                    <a:pt x="7241" y="14258"/>
                  </a:cubicBezTo>
                  <a:cubicBezTo>
                    <a:pt x="7240" y="14262"/>
                    <a:pt x="7240" y="14262"/>
                    <a:pt x="7240" y="14262"/>
                  </a:cubicBezTo>
                  <a:cubicBezTo>
                    <a:pt x="7188" y="14257"/>
                    <a:pt x="7188" y="14257"/>
                    <a:pt x="7188" y="14257"/>
                  </a:cubicBezTo>
                  <a:cubicBezTo>
                    <a:pt x="7171" y="14441"/>
                    <a:pt x="7171" y="14441"/>
                    <a:pt x="7171" y="14441"/>
                  </a:cubicBezTo>
                  <a:cubicBezTo>
                    <a:pt x="7280" y="14452"/>
                    <a:pt x="7280" y="14452"/>
                    <a:pt x="7280" y="14452"/>
                  </a:cubicBezTo>
                  <a:cubicBezTo>
                    <a:pt x="7287" y="14379"/>
                    <a:pt x="7287" y="14379"/>
                    <a:pt x="7287" y="14379"/>
                  </a:cubicBezTo>
                  <a:cubicBezTo>
                    <a:pt x="7338" y="14384"/>
                    <a:pt x="7338" y="14384"/>
                    <a:pt x="7338" y="14384"/>
                  </a:cubicBezTo>
                  <a:lnTo>
                    <a:pt x="7344" y="14384"/>
                  </a:lnTo>
                  <a:close/>
                  <a:moveTo>
                    <a:pt x="7275" y="14365"/>
                  </a:moveTo>
                  <a:cubicBezTo>
                    <a:pt x="7268" y="14437"/>
                    <a:pt x="7268" y="14437"/>
                    <a:pt x="7268" y="14437"/>
                  </a:cubicBezTo>
                  <a:cubicBezTo>
                    <a:pt x="7185" y="14430"/>
                    <a:pt x="7185" y="14430"/>
                    <a:pt x="7185" y="14430"/>
                  </a:cubicBezTo>
                  <a:cubicBezTo>
                    <a:pt x="7200" y="14271"/>
                    <a:pt x="7200" y="14271"/>
                    <a:pt x="7200" y="14271"/>
                  </a:cubicBezTo>
                  <a:cubicBezTo>
                    <a:pt x="7252" y="14276"/>
                    <a:pt x="7252" y="14276"/>
                    <a:pt x="7252" y="14276"/>
                  </a:cubicBezTo>
                  <a:cubicBezTo>
                    <a:pt x="7253" y="14269"/>
                    <a:pt x="7253" y="14269"/>
                    <a:pt x="7253" y="14269"/>
                  </a:cubicBezTo>
                  <a:cubicBezTo>
                    <a:pt x="7253" y="14265"/>
                    <a:pt x="7253" y="14265"/>
                    <a:pt x="7253" y="14265"/>
                  </a:cubicBezTo>
                  <a:cubicBezTo>
                    <a:pt x="7344" y="14274"/>
                    <a:pt x="7344" y="14274"/>
                    <a:pt x="7344" y="14274"/>
                  </a:cubicBezTo>
                  <a:cubicBezTo>
                    <a:pt x="7333" y="14370"/>
                    <a:pt x="7333" y="14370"/>
                    <a:pt x="7333" y="14370"/>
                  </a:cubicBezTo>
                  <a:lnTo>
                    <a:pt x="7275" y="14365"/>
                  </a:lnTo>
                  <a:close/>
                  <a:moveTo>
                    <a:pt x="7597" y="14321"/>
                  </a:moveTo>
                  <a:cubicBezTo>
                    <a:pt x="7648" y="14325"/>
                    <a:pt x="7648" y="14325"/>
                    <a:pt x="7648" y="14325"/>
                  </a:cubicBezTo>
                  <a:cubicBezTo>
                    <a:pt x="7654" y="14326"/>
                    <a:pt x="7654" y="14326"/>
                    <a:pt x="7654" y="14326"/>
                  </a:cubicBezTo>
                  <a:cubicBezTo>
                    <a:pt x="7668" y="14204"/>
                    <a:pt x="7668" y="14204"/>
                    <a:pt x="7668" y="14204"/>
                  </a:cubicBezTo>
                  <a:cubicBezTo>
                    <a:pt x="7551" y="14193"/>
                    <a:pt x="7551" y="14193"/>
                    <a:pt x="7551" y="14193"/>
                  </a:cubicBezTo>
                  <a:cubicBezTo>
                    <a:pt x="7551" y="14200"/>
                    <a:pt x="7551" y="14200"/>
                    <a:pt x="7551" y="14200"/>
                  </a:cubicBezTo>
                  <a:cubicBezTo>
                    <a:pt x="7550" y="14203"/>
                    <a:pt x="7550" y="14203"/>
                    <a:pt x="7550" y="14203"/>
                  </a:cubicBezTo>
                  <a:cubicBezTo>
                    <a:pt x="7498" y="14199"/>
                    <a:pt x="7498" y="14199"/>
                    <a:pt x="7498" y="14199"/>
                  </a:cubicBezTo>
                  <a:cubicBezTo>
                    <a:pt x="7481" y="14383"/>
                    <a:pt x="7481" y="14383"/>
                    <a:pt x="7481" y="14383"/>
                  </a:cubicBezTo>
                  <a:cubicBezTo>
                    <a:pt x="7590" y="14393"/>
                    <a:pt x="7590" y="14393"/>
                    <a:pt x="7590" y="14393"/>
                  </a:cubicBezTo>
                  <a:lnTo>
                    <a:pt x="7597" y="14321"/>
                  </a:lnTo>
                  <a:close/>
                  <a:moveTo>
                    <a:pt x="7578" y="14379"/>
                  </a:moveTo>
                  <a:cubicBezTo>
                    <a:pt x="7495" y="14371"/>
                    <a:pt x="7495" y="14371"/>
                    <a:pt x="7495" y="14371"/>
                  </a:cubicBezTo>
                  <a:cubicBezTo>
                    <a:pt x="7510" y="14213"/>
                    <a:pt x="7510" y="14213"/>
                    <a:pt x="7510" y="14213"/>
                  </a:cubicBezTo>
                  <a:cubicBezTo>
                    <a:pt x="7562" y="14218"/>
                    <a:pt x="7562" y="14218"/>
                    <a:pt x="7562" y="14218"/>
                  </a:cubicBezTo>
                  <a:cubicBezTo>
                    <a:pt x="7563" y="14211"/>
                    <a:pt x="7563" y="14211"/>
                    <a:pt x="7563" y="14211"/>
                  </a:cubicBezTo>
                  <a:cubicBezTo>
                    <a:pt x="7563" y="14207"/>
                    <a:pt x="7563" y="14207"/>
                    <a:pt x="7563" y="14207"/>
                  </a:cubicBezTo>
                  <a:cubicBezTo>
                    <a:pt x="7654" y="14216"/>
                    <a:pt x="7654" y="14216"/>
                    <a:pt x="7654" y="14216"/>
                  </a:cubicBezTo>
                  <a:cubicBezTo>
                    <a:pt x="7643" y="14312"/>
                    <a:pt x="7643" y="14312"/>
                    <a:pt x="7643" y="14312"/>
                  </a:cubicBezTo>
                  <a:cubicBezTo>
                    <a:pt x="7585" y="14306"/>
                    <a:pt x="7585" y="14306"/>
                    <a:pt x="7585" y="14306"/>
                  </a:cubicBezTo>
                  <a:lnTo>
                    <a:pt x="7578" y="14379"/>
                  </a:lnTo>
                  <a:close/>
                  <a:moveTo>
                    <a:pt x="6616" y="13911"/>
                  </a:moveTo>
                  <a:cubicBezTo>
                    <a:pt x="6608" y="13963"/>
                    <a:pt x="6608" y="13963"/>
                    <a:pt x="6608" y="13963"/>
                  </a:cubicBezTo>
                  <a:cubicBezTo>
                    <a:pt x="6598" y="13961"/>
                    <a:pt x="6598" y="13961"/>
                    <a:pt x="6598" y="13961"/>
                  </a:cubicBezTo>
                  <a:cubicBezTo>
                    <a:pt x="6580" y="14078"/>
                    <a:pt x="6580" y="14078"/>
                    <a:pt x="6580" y="14078"/>
                  </a:cubicBezTo>
                  <a:cubicBezTo>
                    <a:pt x="6696" y="14092"/>
                    <a:pt x="6696" y="14092"/>
                    <a:pt x="6696" y="14092"/>
                  </a:cubicBezTo>
                  <a:cubicBezTo>
                    <a:pt x="6702" y="14093"/>
                    <a:pt x="6702" y="14093"/>
                    <a:pt x="6702" y="14093"/>
                  </a:cubicBezTo>
                  <a:cubicBezTo>
                    <a:pt x="6711" y="14036"/>
                    <a:pt x="6711" y="14036"/>
                    <a:pt x="6711" y="14036"/>
                  </a:cubicBezTo>
                  <a:cubicBezTo>
                    <a:pt x="6783" y="14047"/>
                    <a:pt x="6783" y="14047"/>
                    <a:pt x="6783" y="14047"/>
                  </a:cubicBezTo>
                  <a:cubicBezTo>
                    <a:pt x="6799" y="13939"/>
                    <a:pt x="6799" y="13939"/>
                    <a:pt x="6799" y="13939"/>
                  </a:cubicBezTo>
                  <a:lnTo>
                    <a:pt x="6616" y="13911"/>
                  </a:lnTo>
                  <a:close/>
                  <a:moveTo>
                    <a:pt x="6772" y="14032"/>
                  </a:moveTo>
                  <a:cubicBezTo>
                    <a:pt x="6700" y="14022"/>
                    <a:pt x="6700" y="14022"/>
                    <a:pt x="6700" y="14022"/>
                  </a:cubicBezTo>
                  <a:cubicBezTo>
                    <a:pt x="6691" y="14078"/>
                    <a:pt x="6691" y="14078"/>
                    <a:pt x="6691" y="14078"/>
                  </a:cubicBezTo>
                  <a:cubicBezTo>
                    <a:pt x="6595" y="14066"/>
                    <a:pt x="6595" y="14066"/>
                    <a:pt x="6595" y="14066"/>
                  </a:cubicBezTo>
                  <a:cubicBezTo>
                    <a:pt x="6609" y="13976"/>
                    <a:pt x="6609" y="13976"/>
                    <a:pt x="6609" y="13976"/>
                  </a:cubicBezTo>
                  <a:cubicBezTo>
                    <a:pt x="6619" y="13978"/>
                    <a:pt x="6619" y="13978"/>
                    <a:pt x="6619" y="13978"/>
                  </a:cubicBezTo>
                  <a:cubicBezTo>
                    <a:pt x="6627" y="13926"/>
                    <a:pt x="6627" y="13926"/>
                    <a:pt x="6627" y="13926"/>
                  </a:cubicBezTo>
                  <a:cubicBezTo>
                    <a:pt x="6785" y="13950"/>
                    <a:pt x="6785" y="13950"/>
                    <a:pt x="6785" y="13950"/>
                  </a:cubicBezTo>
                  <a:lnTo>
                    <a:pt x="6772" y="14032"/>
                  </a:lnTo>
                  <a:close/>
                  <a:moveTo>
                    <a:pt x="6379" y="14185"/>
                  </a:moveTo>
                  <a:cubicBezTo>
                    <a:pt x="6388" y="14128"/>
                    <a:pt x="6388" y="14128"/>
                    <a:pt x="6388" y="14128"/>
                  </a:cubicBezTo>
                  <a:cubicBezTo>
                    <a:pt x="6460" y="14139"/>
                    <a:pt x="6460" y="14139"/>
                    <a:pt x="6460" y="14139"/>
                  </a:cubicBezTo>
                  <a:cubicBezTo>
                    <a:pt x="6477" y="14031"/>
                    <a:pt x="6477" y="14031"/>
                    <a:pt x="6477" y="14031"/>
                  </a:cubicBezTo>
                  <a:cubicBezTo>
                    <a:pt x="6293" y="14003"/>
                    <a:pt x="6293" y="14003"/>
                    <a:pt x="6293" y="14003"/>
                  </a:cubicBezTo>
                  <a:cubicBezTo>
                    <a:pt x="6285" y="14055"/>
                    <a:pt x="6285" y="14055"/>
                    <a:pt x="6285" y="14055"/>
                  </a:cubicBezTo>
                  <a:cubicBezTo>
                    <a:pt x="6275" y="14053"/>
                    <a:pt x="6275" y="14053"/>
                    <a:pt x="6275" y="14053"/>
                  </a:cubicBezTo>
                  <a:cubicBezTo>
                    <a:pt x="6258" y="14169"/>
                    <a:pt x="6258" y="14169"/>
                    <a:pt x="6258" y="14169"/>
                  </a:cubicBezTo>
                  <a:cubicBezTo>
                    <a:pt x="6373" y="14184"/>
                    <a:pt x="6373" y="14184"/>
                    <a:pt x="6373" y="14184"/>
                  </a:cubicBezTo>
                  <a:lnTo>
                    <a:pt x="6379" y="14185"/>
                  </a:lnTo>
                  <a:close/>
                  <a:moveTo>
                    <a:pt x="6273" y="14158"/>
                  </a:moveTo>
                  <a:cubicBezTo>
                    <a:pt x="6286" y="14068"/>
                    <a:pt x="6286" y="14068"/>
                    <a:pt x="6286" y="14068"/>
                  </a:cubicBezTo>
                  <a:cubicBezTo>
                    <a:pt x="6296" y="14069"/>
                    <a:pt x="6296" y="14069"/>
                    <a:pt x="6296" y="14069"/>
                  </a:cubicBezTo>
                  <a:cubicBezTo>
                    <a:pt x="6304" y="14018"/>
                    <a:pt x="6304" y="14018"/>
                    <a:pt x="6304" y="14018"/>
                  </a:cubicBezTo>
                  <a:cubicBezTo>
                    <a:pt x="6462" y="14042"/>
                    <a:pt x="6462" y="14042"/>
                    <a:pt x="6462" y="14042"/>
                  </a:cubicBezTo>
                  <a:cubicBezTo>
                    <a:pt x="6449" y="14124"/>
                    <a:pt x="6449" y="14124"/>
                    <a:pt x="6449" y="14124"/>
                  </a:cubicBezTo>
                  <a:cubicBezTo>
                    <a:pt x="6377" y="14113"/>
                    <a:pt x="6377" y="14113"/>
                    <a:pt x="6377" y="14113"/>
                  </a:cubicBezTo>
                  <a:cubicBezTo>
                    <a:pt x="6368" y="14170"/>
                    <a:pt x="6368" y="14170"/>
                    <a:pt x="6368" y="14170"/>
                  </a:cubicBezTo>
                  <a:lnTo>
                    <a:pt x="6273" y="14158"/>
                  </a:lnTo>
                  <a:close/>
                  <a:moveTo>
                    <a:pt x="6288" y="13632"/>
                  </a:moveTo>
                  <a:cubicBezTo>
                    <a:pt x="6292" y="13574"/>
                    <a:pt x="6292" y="13574"/>
                    <a:pt x="6292" y="13574"/>
                  </a:cubicBezTo>
                  <a:cubicBezTo>
                    <a:pt x="6364" y="13579"/>
                    <a:pt x="6364" y="13579"/>
                    <a:pt x="6364" y="13579"/>
                  </a:cubicBezTo>
                  <a:cubicBezTo>
                    <a:pt x="6372" y="13470"/>
                    <a:pt x="6372" y="13470"/>
                    <a:pt x="6372" y="13470"/>
                  </a:cubicBezTo>
                  <a:cubicBezTo>
                    <a:pt x="6187" y="13457"/>
                    <a:pt x="6187" y="13457"/>
                    <a:pt x="6187" y="13457"/>
                  </a:cubicBezTo>
                  <a:cubicBezTo>
                    <a:pt x="6183" y="13510"/>
                    <a:pt x="6183" y="13510"/>
                    <a:pt x="6183" y="13510"/>
                  </a:cubicBezTo>
                  <a:cubicBezTo>
                    <a:pt x="6173" y="13509"/>
                    <a:pt x="6173" y="13509"/>
                    <a:pt x="6173" y="13509"/>
                  </a:cubicBezTo>
                  <a:cubicBezTo>
                    <a:pt x="6165" y="13626"/>
                    <a:pt x="6165" y="13626"/>
                    <a:pt x="6165" y="13626"/>
                  </a:cubicBezTo>
                  <a:cubicBezTo>
                    <a:pt x="6281" y="13631"/>
                    <a:pt x="6281" y="13631"/>
                    <a:pt x="6281" y="13631"/>
                  </a:cubicBezTo>
                  <a:lnTo>
                    <a:pt x="6288" y="13632"/>
                  </a:lnTo>
                  <a:close/>
                  <a:moveTo>
                    <a:pt x="6275" y="13618"/>
                  </a:moveTo>
                  <a:cubicBezTo>
                    <a:pt x="6179" y="13614"/>
                    <a:pt x="6179" y="13614"/>
                    <a:pt x="6179" y="13614"/>
                  </a:cubicBezTo>
                  <a:cubicBezTo>
                    <a:pt x="6185" y="13523"/>
                    <a:pt x="6185" y="13523"/>
                    <a:pt x="6185" y="13523"/>
                  </a:cubicBezTo>
                  <a:cubicBezTo>
                    <a:pt x="6196" y="13524"/>
                    <a:pt x="6196" y="13524"/>
                    <a:pt x="6196" y="13524"/>
                  </a:cubicBezTo>
                  <a:cubicBezTo>
                    <a:pt x="6199" y="13471"/>
                    <a:pt x="6199" y="13471"/>
                    <a:pt x="6199" y="13471"/>
                  </a:cubicBezTo>
                  <a:cubicBezTo>
                    <a:pt x="6358" y="13482"/>
                    <a:pt x="6358" y="13482"/>
                    <a:pt x="6358" y="13482"/>
                  </a:cubicBezTo>
                  <a:cubicBezTo>
                    <a:pt x="6352" y="13565"/>
                    <a:pt x="6352" y="13565"/>
                    <a:pt x="6352" y="13565"/>
                  </a:cubicBezTo>
                  <a:cubicBezTo>
                    <a:pt x="6279" y="13560"/>
                    <a:pt x="6279" y="13560"/>
                    <a:pt x="6279" y="13560"/>
                  </a:cubicBezTo>
                  <a:lnTo>
                    <a:pt x="6275" y="13618"/>
                  </a:lnTo>
                  <a:close/>
                  <a:moveTo>
                    <a:pt x="5301" y="10389"/>
                  </a:moveTo>
                  <a:cubicBezTo>
                    <a:pt x="5121" y="10433"/>
                    <a:pt x="5121" y="10433"/>
                    <a:pt x="5121" y="10433"/>
                  </a:cubicBezTo>
                  <a:cubicBezTo>
                    <a:pt x="5133" y="10483"/>
                    <a:pt x="5133" y="10483"/>
                    <a:pt x="5133" y="10483"/>
                  </a:cubicBezTo>
                  <a:cubicBezTo>
                    <a:pt x="5123" y="10486"/>
                    <a:pt x="5123" y="10486"/>
                    <a:pt x="5123" y="10486"/>
                  </a:cubicBezTo>
                  <a:cubicBezTo>
                    <a:pt x="5150" y="10600"/>
                    <a:pt x="5150" y="10600"/>
                    <a:pt x="5150" y="10600"/>
                  </a:cubicBezTo>
                  <a:cubicBezTo>
                    <a:pt x="5263" y="10570"/>
                    <a:pt x="5263" y="10570"/>
                    <a:pt x="5263" y="10570"/>
                  </a:cubicBezTo>
                  <a:cubicBezTo>
                    <a:pt x="5269" y="10569"/>
                    <a:pt x="5269" y="10569"/>
                    <a:pt x="5269" y="10569"/>
                  </a:cubicBezTo>
                  <a:cubicBezTo>
                    <a:pt x="5256" y="10513"/>
                    <a:pt x="5256" y="10513"/>
                    <a:pt x="5256" y="10513"/>
                  </a:cubicBezTo>
                  <a:cubicBezTo>
                    <a:pt x="5327" y="10496"/>
                    <a:pt x="5327" y="10496"/>
                    <a:pt x="5327" y="10496"/>
                  </a:cubicBezTo>
                  <a:lnTo>
                    <a:pt x="5301" y="10389"/>
                  </a:lnTo>
                  <a:close/>
                  <a:moveTo>
                    <a:pt x="5253" y="10559"/>
                  </a:moveTo>
                  <a:cubicBezTo>
                    <a:pt x="5160" y="10584"/>
                    <a:pt x="5160" y="10584"/>
                    <a:pt x="5160" y="10584"/>
                  </a:cubicBezTo>
                  <a:cubicBezTo>
                    <a:pt x="5139" y="10495"/>
                    <a:pt x="5139" y="10495"/>
                    <a:pt x="5139" y="10495"/>
                  </a:cubicBezTo>
                  <a:cubicBezTo>
                    <a:pt x="5149" y="10493"/>
                    <a:pt x="5149" y="10493"/>
                    <a:pt x="5149" y="10493"/>
                  </a:cubicBezTo>
                  <a:cubicBezTo>
                    <a:pt x="5136" y="10442"/>
                    <a:pt x="5136" y="10442"/>
                    <a:pt x="5136" y="10442"/>
                  </a:cubicBezTo>
                  <a:cubicBezTo>
                    <a:pt x="5291" y="10405"/>
                    <a:pt x="5291" y="10405"/>
                    <a:pt x="5291" y="10405"/>
                  </a:cubicBezTo>
                  <a:cubicBezTo>
                    <a:pt x="5311" y="10486"/>
                    <a:pt x="5311" y="10486"/>
                    <a:pt x="5311" y="10486"/>
                  </a:cubicBezTo>
                  <a:cubicBezTo>
                    <a:pt x="5240" y="10503"/>
                    <a:pt x="5240" y="10503"/>
                    <a:pt x="5240" y="10503"/>
                  </a:cubicBezTo>
                  <a:lnTo>
                    <a:pt x="5253" y="10559"/>
                  </a:lnTo>
                  <a:close/>
                  <a:moveTo>
                    <a:pt x="5607" y="11992"/>
                  </a:moveTo>
                  <a:cubicBezTo>
                    <a:pt x="5596" y="11990"/>
                    <a:pt x="5596" y="11990"/>
                    <a:pt x="5596" y="11990"/>
                  </a:cubicBezTo>
                  <a:cubicBezTo>
                    <a:pt x="5577" y="12106"/>
                    <a:pt x="5577" y="12106"/>
                    <a:pt x="5577" y="12106"/>
                  </a:cubicBezTo>
                  <a:cubicBezTo>
                    <a:pt x="5693" y="12122"/>
                    <a:pt x="5693" y="12122"/>
                    <a:pt x="5693" y="12122"/>
                  </a:cubicBezTo>
                  <a:cubicBezTo>
                    <a:pt x="5699" y="12123"/>
                    <a:pt x="5699" y="12123"/>
                    <a:pt x="5699" y="12123"/>
                  </a:cubicBezTo>
                  <a:cubicBezTo>
                    <a:pt x="5708" y="12066"/>
                    <a:pt x="5708" y="12066"/>
                    <a:pt x="5708" y="12066"/>
                  </a:cubicBezTo>
                  <a:cubicBezTo>
                    <a:pt x="5780" y="12078"/>
                    <a:pt x="5780" y="12078"/>
                    <a:pt x="5780" y="12078"/>
                  </a:cubicBezTo>
                  <a:cubicBezTo>
                    <a:pt x="5798" y="11970"/>
                    <a:pt x="5798" y="11970"/>
                    <a:pt x="5798" y="11970"/>
                  </a:cubicBezTo>
                  <a:cubicBezTo>
                    <a:pt x="5615" y="11940"/>
                    <a:pt x="5615" y="11940"/>
                    <a:pt x="5615" y="11940"/>
                  </a:cubicBezTo>
                  <a:lnTo>
                    <a:pt x="5607" y="11992"/>
                  </a:lnTo>
                  <a:close/>
                  <a:moveTo>
                    <a:pt x="5626" y="11955"/>
                  </a:moveTo>
                  <a:cubicBezTo>
                    <a:pt x="5783" y="11980"/>
                    <a:pt x="5783" y="11980"/>
                    <a:pt x="5783" y="11980"/>
                  </a:cubicBezTo>
                  <a:cubicBezTo>
                    <a:pt x="5770" y="12063"/>
                    <a:pt x="5770" y="12063"/>
                    <a:pt x="5770" y="12063"/>
                  </a:cubicBezTo>
                  <a:cubicBezTo>
                    <a:pt x="5697" y="12051"/>
                    <a:pt x="5697" y="12051"/>
                    <a:pt x="5697" y="12051"/>
                  </a:cubicBezTo>
                  <a:cubicBezTo>
                    <a:pt x="5688" y="12108"/>
                    <a:pt x="5688" y="12108"/>
                    <a:pt x="5688" y="12108"/>
                  </a:cubicBezTo>
                  <a:cubicBezTo>
                    <a:pt x="5593" y="12095"/>
                    <a:pt x="5593" y="12095"/>
                    <a:pt x="5593" y="12095"/>
                  </a:cubicBezTo>
                  <a:cubicBezTo>
                    <a:pt x="5607" y="12005"/>
                    <a:pt x="5607" y="12005"/>
                    <a:pt x="5607" y="12005"/>
                  </a:cubicBezTo>
                  <a:cubicBezTo>
                    <a:pt x="5617" y="12007"/>
                    <a:pt x="5617" y="12007"/>
                    <a:pt x="5617" y="12007"/>
                  </a:cubicBezTo>
                  <a:lnTo>
                    <a:pt x="5626" y="11955"/>
                  </a:lnTo>
                  <a:close/>
                  <a:moveTo>
                    <a:pt x="5576" y="12213"/>
                  </a:moveTo>
                  <a:cubicBezTo>
                    <a:pt x="5566" y="12211"/>
                    <a:pt x="5566" y="12211"/>
                    <a:pt x="5566" y="12211"/>
                  </a:cubicBezTo>
                  <a:cubicBezTo>
                    <a:pt x="5547" y="12327"/>
                    <a:pt x="5547" y="12327"/>
                    <a:pt x="5547" y="12327"/>
                  </a:cubicBezTo>
                  <a:cubicBezTo>
                    <a:pt x="5662" y="12343"/>
                    <a:pt x="5662" y="12343"/>
                    <a:pt x="5662" y="12343"/>
                  </a:cubicBezTo>
                  <a:cubicBezTo>
                    <a:pt x="5668" y="12344"/>
                    <a:pt x="5668" y="12344"/>
                    <a:pt x="5668" y="12344"/>
                  </a:cubicBezTo>
                  <a:cubicBezTo>
                    <a:pt x="5678" y="12288"/>
                    <a:pt x="5678" y="12288"/>
                    <a:pt x="5678" y="12288"/>
                  </a:cubicBezTo>
                  <a:cubicBezTo>
                    <a:pt x="5750" y="12299"/>
                    <a:pt x="5750" y="12299"/>
                    <a:pt x="5750" y="12299"/>
                  </a:cubicBezTo>
                  <a:cubicBezTo>
                    <a:pt x="5767" y="12191"/>
                    <a:pt x="5767" y="12191"/>
                    <a:pt x="5767" y="12191"/>
                  </a:cubicBezTo>
                  <a:cubicBezTo>
                    <a:pt x="5584" y="12161"/>
                    <a:pt x="5584" y="12161"/>
                    <a:pt x="5584" y="12161"/>
                  </a:cubicBezTo>
                  <a:lnTo>
                    <a:pt x="5576" y="12213"/>
                  </a:lnTo>
                  <a:close/>
                  <a:moveTo>
                    <a:pt x="5595" y="12176"/>
                  </a:moveTo>
                  <a:cubicBezTo>
                    <a:pt x="5752" y="12202"/>
                    <a:pt x="5752" y="12202"/>
                    <a:pt x="5752" y="12202"/>
                  </a:cubicBezTo>
                  <a:cubicBezTo>
                    <a:pt x="5739" y="12284"/>
                    <a:pt x="5739" y="12284"/>
                    <a:pt x="5739" y="12284"/>
                  </a:cubicBezTo>
                  <a:cubicBezTo>
                    <a:pt x="5667" y="12273"/>
                    <a:pt x="5667" y="12273"/>
                    <a:pt x="5667" y="12273"/>
                  </a:cubicBezTo>
                  <a:cubicBezTo>
                    <a:pt x="5657" y="12329"/>
                    <a:pt x="5657" y="12329"/>
                    <a:pt x="5657" y="12329"/>
                  </a:cubicBezTo>
                  <a:cubicBezTo>
                    <a:pt x="5562" y="12316"/>
                    <a:pt x="5562" y="12316"/>
                    <a:pt x="5562" y="12316"/>
                  </a:cubicBezTo>
                  <a:cubicBezTo>
                    <a:pt x="5576" y="12226"/>
                    <a:pt x="5576" y="12226"/>
                    <a:pt x="5576" y="12226"/>
                  </a:cubicBezTo>
                  <a:cubicBezTo>
                    <a:pt x="5587" y="12228"/>
                    <a:pt x="5587" y="12228"/>
                    <a:pt x="5587" y="12228"/>
                  </a:cubicBezTo>
                  <a:lnTo>
                    <a:pt x="5595" y="12176"/>
                  </a:lnTo>
                  <a:close/>
                  <a:moveTo>
                    <a:pt x="6909" y="13971"/>
                  </a:moveTo>
                  <a:cubicBezTo>
                    <a:pt x="6901" y="14022"/>
                    <a:pt x="6901" y="14022"/>
                    <a:pt x="6901" y="14022"/>
                  </a:cubicBezTo>
                  <a:cubicBezTo>
                    <a:pt x="6891" y="14021"/>
                    <a:pt x="6891" y="14021"/>
                    <a:pt x="6891" y="14021"/>
                  </a:cubicBezTo>
                  <a:cubicBezTo>
                    <a:pt x="6874" y="14137"/>
                    <a:pt x="6874" y="14137"/>
                    <a:pt x="6874" y="14137"/>
                  </a:cubicBezTo>
                  <a:cubicBezTo>
                    <a:pt x="6989" y="14152"/>
                    <a:pt x="6989" y="14152"/>
                    <a:pt x="6989" y="14152"/>
                  </a:cubicBezTo>
                  <a:cubicBezTo>
                    <a:pt x="6995" y="14153"/>
                    <a:pt x="6995" y="14153"/>
                    <a:pt x="6995" y="14153"/>
                  </a:cubicBezTo>
                  <a:cubicBezTo>
                    <a:pt x="7004" y="14096"/>
                    <a:pt x="7004" y="14096"/>
                    <a:pt x="7004" y="14096"/>
                  </a:cubicBezTo>
                  <a:cubicBezTo>
                    <a:pt x="7076" y="14107"/>
                    <a:pt x="7076" y="14107"/>
                    <a:pt x="7076" y="14107"/>
                  </a:cubicBezTo>
                  <a:cubicBezTo>
                    <a:pt x="7093" y="13998"/>
                    <a:pt x="7093" y="13998"/>
                    <a:pt x="7093" y="13998"/>
                  </a:cubicBezTo>
                  <a:lnTo>
                    <a:pt x="6909" y="13971"/>
                  </a:lnTo>
                  <a:close/>
                  <a:moveTo>
                    <a:pt x="7065" y="14092"/>
                  </a:moveTo>
                  <a:cubicBezTo>
                    <a:pt x="6993" y="14081"/>
                    <a:pt x="6993" y="14081"/>
                    <a:pt x="6993" y="14081"/>
                  </a:cubicBezTo>
                  <a:cubicBezTo>
                    <a:pt x="6984" y="14138"/>
                    <a:pt x="6984" y="14138"/>
                    <a:pt x="6984" y="14138"/>
                  </a:cubicBezTo>
                  <a:cubicBezTo>
                    <a:pt x="6889" y="14126"/>
                    <a:pt x="6889" y="14126"/>
                    <a:pt x="6889" y="14126"/>
                  </a:cubicBezTo>
                  <a:cubicBezTo>
                    <a:pt x="6902" y="14036"/>
                    <a:pt x="6902" y="14036"/>
                    <a:pt x="6902" y="14036"/>
                  </a:cubicBezTo>
                  <a:cubicBezTo>
                    <a:pt x="6913" y="14037"/>
                    <a:pt x="6913" y="14037"/>
                    <a:pt x="6913" y="14037"/>
                  </a:cubicBezTo>
                  <a:cubicBezTo>
                    <a:pt x="6920" y="13986"/>
                    <a:pt x="6920" y="13986"/>
                    <a:pt x="6920" y="13986"/>
                  </a:cubicBezTo>
                  <a:cubicBezTo>
                    <a:pt x="7078" y="14009"/>
                    <a:pt x="7078" y="14009"/>
                    <a:pt x="7078" y="14009"/>
                  </a:cubicBezTo>
                  <a:lnTo>
                    <a:pt x="7065" y="14092"/>
                  </a:lnTo>
                  <a:close/>
                  <a:moveTo>
                    <a:pt x="7208" y="13898"/>
                  </a:moveTo>
                  <a:cubicBezTo>
                    <a:pt x="7197" y="13897"/>
                    <a:pt x="7197" y="13897"/>
                    <a:pt x="7197" y="13897"/>
                  </a:cubicBezTo>
                  <a:cubicBezTo>
                    <a:pt x="7180" y="14013"/>
                    <a:pt x="7180" y="14013"/>
                    <a:pt x="7180" y="14013"/>
                  </a:cubicBezTo>
                  <a:cubicBezTo>
                    <a:pt x="7295" y="14028"/>
                    <a:pt x="7295" y="14028"/>
                    <a:pt x="7295" y="14028"/>
                  </a:cubicBezTo>
                  <a:cubicBezTo>
                    <a:pt x="7302" y="14029"/>
                    <a:pt x="7302" y="14029"/>
                    <a:pt x="7302" y="14029"/>
                  </a:cubicBezTo>
                  <a:cubicBezTo>
                    <a:pt x="7310" y="13972"/>
                    <a:pt x="7310" y="13972"/>
                    <a:pt x="7310" y="13972"/>
                  </a:cubicBezTo>
                  <a:cubicBezTo>
                    <a:pt x="7382" y="13983"/>
                    <a:pt x="7382" y="13983"/>
                    <a:pt x="7382" y="13983"/>
                  </a:cubicBezTo>
                  <a:cubicBezTo>
                    <a:pt x="7399" y="13874"/>
                    <a:pt x="7399" y="13874"/>
                    <a:pt x="7399" y="13874"/>
                  </a:cubicBezTo>
                  <a:cubicBezTo>
                    <a:pt x="7215" y="13847"/>
                    <a:pt x="7215" y="13847"/>
                    <a:pt x="7215" y="13847"/>
                  </a:cubicBezTo>
                  <a:lnTo>
                    <a:pt x="7208" y="13898"/>
                  </a:lnTo>
                  <a:close/>
                  <a:moveTo>
                    <a:pt x="7226" y="13862"/>
                  </a:moveTo>
                  <a:cubicBezTo>
                    <a:pt x="7384" y="13885"/>
                    <a:pt x="7384" y="13885"/>
                    <a:pt x="7384" y="13885"/>
                  </a:cubicBezTo>
                  <a:cubicBezTo>
                    <a:pt x="7371" y="13968"/>
                    <a:pt x="7371" y="13968"/>
                    <a:pt x="7371" y="13968"/>
                  </a:cubicBezTo>
                  <a:cubicBezTo>
                    <a:pt x="7299" y="13957"/>
                    <a:pt x="7299" y="13957"/>
                    <a:pt x="7299" y="13957"/>
                  </a:cubicBezTo>
                  <a:cubicBezTo>
                    <a:pt x="7290" y="14014"/>
                    <a:pt x="7290" y="14014"/>
                    <a:pt x="7290" y="14014"/>
                  </a:cubicBezTo>
                  <a:cubicBezTo>
                    <a:pt x="7195" y="14002"/>
                    <a:pt x="7195" y="14002"/>
                    <a:pt x="7195" y="14002"/>
                  </a:cubicBezTo>
                  <a:cubicBezTo>
                    <a:pt x="7208" y="13912"/>
                    <a:pt x="7208" y="13912"/>
                    <a:pt x="7208" y="13912"/>
                  </a:cubicBezTo>
                  <a:cubicBezTo>
                    <a:pt x="7219" y="13913"/>
                    <a:pt x="7219" y="13913"/>
                    <a:pt x="7219" y="13913"/>
                  </a:cubicBezTo>
                  <a:lnTo>
                    <a:pt x="7226" y="13862"/>
                  </a:lnTo>
                  <a:close/>
                  <a:moveTo>
                    <a:pt x="7527" y="13884"/>
                  </a:moveTo>
                  <a:cubicBezTo>
                    <a:pt x="7516" y="13883"/>
                    <a:pt x="7516" y="13883"/>
                    <a:pt x="7516" y="13883"/>
                  </a:cubicBezTo>
                  <a:cubicBezTo>
                    <a:pt x="7499" y="13999"/>
                    <a:pt x="7499" y="13999"/>
                    <a:pt x="7499" y="13999"/>
                  </a:cubicBezTo>
                  <a:cubicBezTo>
                    <a:pt x="7614" y="14014"/>
                    <a:pt x="7614" y="14014"/>
                    <a:pt x="7614" y="14014"/>
                  </a:cubicBezTo>
                  <a:cubicBezTo>
                    <a:pt x="7621" y="14014"/>
                    <a:pt x="7621" y="14014"/>
                    <a:pt x="7621" y="14014"/>
                  </a:cubicBezTo>
                  <a:cubicBezTo>
                    <a:pt x="7629" y="13958"/>
                    <a:pt x="7629" y="13958"/>
                    <a:pt x="7629" y="13958"/>
                  </a:cubicBezTo>
                  <a:cubicBezTo>
                    <a:pt x="7701" y="13969"/>
                    <a:pt x="7701" y="13969"/>
                    <a:pt x="7701" y="13969"/>
                  </a:cubicBezTo>
                  <a:cubicBezTo>
                    <a:pt x="7718" y="13860"/>
                    <a:pt x="7718" y="13860"/>
                    <a:pt x="7718" y="13860"/>
                  </a:cubicBezTo>
                  <a:cubicBezTo>
                    <a:pt x="7534" y="13832"/>
                    <a:pt x="7534" y="13832"/>
                    <a:pt x="7534" y="13832"/>
                  </a:cubicBezTo>
                  <a:lnTo>
                    <a:pt x="7527" y="13884"/>
                  </a:lnTo>
                  <a:close/>
                  <a:moveTo>
                    <a:pt x="7545" y="13847"/>
                  </a:moveTo>
                  <a:cubicBezTo>
                    <a:pt x="7703" y="13871"/>
                    <a:pt x="7703" y="13871"/>
                    <a:pt x="7703" y="13871"/>
                  </a:cubicBezTo>
                  <a:cubicBezTo>
                    <a:pt x="7690" y="13954"/>
                    <a:pt x="7690" y="13954"/>
                    <a:pt x="7690" y="13954"/>
                  </a:cubicBezTo>
                  <a:cubicBezTo>
                    <a:pt x="7618" y="13943"/>
                    <a:pt x="7618" y="13943"/>
                    <a:pt x="7618" y="13943"/>
                  </a:cubicBezTo>
                  <a:cubicBezTo>
                    <a:pt x="7609" y="14000"/>
                    <a:pt x="7609" y="14000"/>
                    <a:pt x="7609" y="14000"/>
                  </a:cubicBezTo>
                  <a:cubicBezTo>
                    <a:pt x="7514" y="13988"/>
                    <a:pt x="7514" y="13988"/>
                    <a:pt x="7514" y="13988"/>
                  </a:cubicBezTo>
                  <a:cubicBezTo>
                    <a:pt x="7527" y="13897"/>
                    <a:pt x="7527" y="13897"/>
                    <a:pt x="7527" y="13897"/>
                  </a:cubicBezTo>
                  <a:cubicBezTo>
                    <a:pt x="7538" y="13899"/>
                    <a:pt x="7538" y="13899"/>
                    <a:pt x="7538" y="13899"/>
                  </a:cubicBezTo>
                  <a:lnTo>
                    <a:pt x="7545" y="13847"/>
                  </a:lnTo>
                  <a:close/>
                  <a:moveTo>
                    <a:pt x="5857" y="15387"/>
                  </a:moveTo>
                  <a:cubicBezTo>
                    <a:pt x="5914" y="15387"/>
                    <a:pt x="5914" y="15387"/>
                    <a:pt x="5914" y="15387"/>
                  </a:cubicBezTo>
                  <a:cubicBezTo>
                    <a:pt x="5915" y="15460"/>
                    <a:pt x="5915" y="15460"/>
                    <a:pt x="5915" y="15460"/>
                  </a:cubicBezTo>
                  <a:cubicBezTo>
                    <a:pt x="6025" y="15459"/>
                    <a:pt x="6025" y="15459"/>
                    <a:pt x="6025" y="15459"/>
                  </a:cubicBezTo>
                  <a:cubicBezTo>
                    <a:pt x="6023" y="15274"/>
                    <a:pt x="6023" y="15274"/>
                    <a:pt x="6023" y="15274"/>
                  </a:cubicBezTo>
                  <a:cubicBezTo>
                    <a:pt x="5971" y="15274"/>
                    <a:pt x="5971" y="15274"/>
                    <a:pt x="5971" y="15274"/>
                  </a:cubicBezTo>
                  <a:cubicBezTo>
                    <a:pt x="5971" y="15264"/>
                    <a:pt x="5971" y="15264"/>
                    <a:pt x="5971" y="15264"/>
                  </a:cubicBezTo>
                  <a:cubicBezTo>
                    <a:pt x="5853" y="15265"/>
                    <a:pt x="5853" y="15265"/>
                    <a:pt x="5853" y="15265"/>
                  </a:cubicBezTo>
                  <a:cubicBezTo>
                    <a:pt x="5857" y="15381"/>
                    <a:pt x="5857" y="15381"/>
                    <a:pt x="5857" y="15381"/>
                  </a:cubicBezTo>
                  <a:lnTo>
                    <a:pt x="5857" y="15387"/>
                  </a:lnTo>
                  <a:close/>
                  <a:moveTo>
                    <a:pt x="5958" y="15277"/>
                  </a:moveTo>
                  <a:cubicBezTo>
                    <a:pt x="5958" y="15288"/>
                    <a:pt x="5958" y="15288"/>
                    <a:pt x="5958" y="15288"/>
                  </a:cubicBezTo>
                  <a:cubicBezTo>
                    <a:pt x="6010" y="15287"/>
                    <a:pt x="6010" y="15287"/>
                    <a:pt x="6010" y="15287"/>
                  </a:cubicBezTo>
                  <a:cubicBezTo>
                    <a:pt x="6011" y="15446"/>
                    <a:pt x="6011" y="15446"/>
                    <a:pt x="6011" y="15446"/>
                  </a:cubicBezTo>
                  <a:cubicBezTo>
                    <a:pt x="5928" y="15447"/>
                    <a:pt x="5928" y="15447"/>
                    <a:pt x="5928" y="15447"/>
                  </a:cubicBezTo>
                  <a:cubicBezTo>
                    <a:pt x="5927" y="15374"/>
                    <a:pt x="5927" y="15374"/>
                    <a:pt x="5927" y="15374"/>
                  </a:cubicBezTo>
                  <a:cubicBezTo>
                    <a:pt x="5870" y="15374"/>
                    <a:pt x="5870" y="15374"/>
                    <a:pt x="5870" y="15374"/>
                  </a:cubicBezTo>
                  <a:cubicBezTo>
                    <a:pt x="5867" y="15278"/>
                    <a:pt x="5867" y="15278"/>
                    <a:pt x="5867" y="15278"/>
                  </a:cubicBezTo>
                  <a:lnTo>
                    <a:pt x="5958" y="15277"/>
                  </a:lnTo>
                  <a:close/>
                  <a:moveTo>
                    <a:pt x="4170" y="17291"/>
                  </a:moveTo>
                  <a:cubicBezTo>
                    <a:pt x="4160" y="17291"/>
                    <a:pt x="4160" y="17291"/>
                    <a:pt x="4160" y="17291"/>
                  </a:cubicBezTo>
                  <a:cubicBezTo>
                    <a:pt x="4156" y="17409"/>
                    <a:pt x="4156" y="17409"/>
                    <a:pt x="4156" y="17409"/>
                  </a:cubicBezTo>
                  <a:cubicBezTo>
                    <a:pt x="4273" y="17409"/>
                    <a:pt x="4273" y="17409"/>
                    <a:pt x="4273" y="17409"/>
                  </a:cubicBezTo>
                  <a:cubicBezTo>
                    <a:pt x="4279" y="17410"/>
                    <a:pt x="4279" y="17410"/>
                    <a:pt x="4279" y="17410"/>
                  </a:cubicBezTo>
                  <a:cubicBezTo>
                    <a:pt x="4281" y="17352"/>
                    <a:pt x="4281" y="17352"/>
                    <a:pt x="4281" y="17352"/>
                  </a:cubicBezTo>
                  <a:cubicBezTo>
                    <a:pt x="4354" y="17355"/>
                    <a:pt x="4354" y="17355"/>
                    <a:pt x="4354" y="17355"/>
                  </a:cubicBezTo>
                  <a:cubicBezTo>
                    <a:pt x="4357" y="17245"/>
                    <a:pt x="4357" y="17245"/>
                    <a:pt x="4357" y="17245"/>
                  </a:cubicBezTo>
                  <a:cubicBezTo>
                    <a:pt x="4172" y="17239"/>
                    <a:pt x="4172" y="17239"/>
                    <a:pt x="4172" y="17239"/>
                  </a:cubicBezTo>
                  <a:lnTo>
                    <a:pt x="4170" y="17291"/>
                  </a:lnTo>
                  <a:close/>
                  <a:moveTo>
                    <a:pt x="4183" y="17305"/>
                  </a:moveTo>
                  <a:cubicBezTo>
                    <a:pt x="4185" y="17253"/>
                    <a:pt x="4185" y="17253"/>
                    <a:pt x="4185" y="17253"/>
                  </a:cubicBezTo>
                  <a:cubicBezTo>
                    <a:pt x="4344" y="17258"/>
                    <a:pt x="4344" y="17258"/>
                    <a:pt x="4344" y="17258"/>
                  </a:cubicBezTo>
                  <a:cubicBezTo>
                    <a:pt x="4341" y="17341"/>
                    <a:pt x="4341" y="17341"/>
                    <a:pt x="4341" y="17341"/>
                  </a:cubicBezTo>
                  <a:cubicBezTo>
                    <a:pt x="4268" y="17339"/>
                    <a:pt x="4268" y="17339"/>
                    <a:pt x="4268" y="17339"/>
                  </a:cubicBezTo>
                  <a:cubicBezTo>
                    <a:pt x="4266" y="17396"/>
                    <a:pt x="4266" y="17396"/>
                    <a:pt x="4266" y="17396"/>
                  </a:cubicBezTo>
                  <a:cubicBezTo>
                    <a:pt x="4170" y="17396"/>
                    <a:pt x="4170" y="17396"/>
                    <a:pt x="4170" y="17396"/>
                  </a:cubicBezTo>
                  <a:cubicBezTo>
                    <a:pt x="4173" y="17304"/>
                    <a:pt x="4173" y="17304"/>
                    <a:pt x="4173" y="17304"/>
                  </a:cubicBezTo>
                  <a:lnTo>
                    <a:pt x="4183" y="17305"/>
                  </a:lnTo>
                  <a:close/>
                  <a:moveTo>
                    <a:pt x="5002" y="17916"/>
                  </a:moveTo>
                  <a:cubicBezTo>
                    <a:pt x="5003" y="18000"/>
                    <a:pt x="5003" y="18000"/>
                    <a:pt x="5003" y="18000"/>
                  </a:cubicBezTo>
                  <a:cubicBezTo>
                    <a:pt x="4989" y="18000"/>
                    <a:pt x="4989" y="18000"/>
                    <a:pt x="4989" y="18000"/>
                  </a:cubicBezTo>
                  <a:cubicBezTo>
                    <a:pt x="4989" y="17929"/>
                    <a:pt x="4989" y="17929"/>
                    <a:pt x="4989" y="17929"/>
                  </a:cubicBezTo>
                  <a:cubicBezTo>
                    <a:pt x="4937" y="17929"/>
                    <a:pt x="4937" y="17929"/>
                    <a:pt x="4937" y="17929"/>
                  </a:cubicBezTo>
                  <a:cubicBezTo>
                    <a:pt x="4937" y="17919"/>
                    <a:pt x="4937" y="17919"/>
                    <a:pt x="4937" y="17919"/>
                  </a:cubicBezTo>
                  <a:cubicBezTo>
                    <a:pt x="4846" y="17919"/>
                    <a:pt x="4846" y="17919"/>
                    <a:pt x="4846" y="17919"/>
                  </a:cubicBezTo>
                  <a:cubicBezTo>
                    <a:pt x="4848" y="18000"/>
                    <a:pt x="4848" y="18000"/>
                    <a:pt x="4848" y="18000"/>
                  </a:cubicBezTo>
                  <a:cubicBezTo>
                    <a:pt x="4835" y="18000"/>
                    <a:pt x="4835" y="18000"/>
                    <a:pt x="4835" y="18000"/>
                  </a:cubicBezTo>
                  <a:cubicBezTo>
                    <a:pt x="4832" y="17906"/>
                    <a:pt x="4832" y="17906"/>
                    <a:pt x="4832" y="17906"/>
                  </a:cubicBezTo>
                  <a:cubicBezTo>
                    <a:pt x="4950" y="17906"/>
                    <a:pt x="4950" y="17906"/>
                    <a:pt x="4950" y="17906"/>
                  </a:cubicBezTo>
                  <a:cubicBezTo>
                    <a:pt x="4950" y="17916"/>
                    <a:pt x="4950" y="17916"/>
                    <a:pt x="4950" y="17916"/>
                  </a:cubicBezTo>
                  <a:lnTo>
                    <a:pt x="5002" y="17916"/>
                  </a:lnTo>
                  <a:close/>
                  <a:moveTo>
                    <a:pt x="5145" y="5937"/>
                  </a:moveTo>
                  <a:cubicBezTo>
                    <a:pt x="5253" y="5958"/>
                    <a:pt x="5253" y="5958"/>
                    <a:pt x="5253" y="5958"/>
                  </a:cubicBezTo>
                  <a:cubicBezTo>
                    <a:pt x="5289" y="5776"/>
                    <a:pt x="5289" y="5776"/>
                    <a:pt x="5289" y="5776"/>
                  </a:cubicBezTo>
                  <a:cubicBezTo>
                    <a:pt x="5238" y="5766"/>
                    <a:pt x="5238" y="5766"/>
                    <a:pt x="5238" y="5766"/>
                  </a:cubicBezTo>
                  <a:cubicBezTo>
                    <a:pt x="5240" y="5756"/>
                    <a:pt x="5240" y="5756"/>
                    <a:pt x="5240" y="5756"/>
                  </a:cubicBezTo>
                  <a:cubicBezTo>
                    <a:pt x="5124" y="5733"/>
                    <a:pt x="5124" y="5733"/>
                    <a:pt x="5124" y="5733"/>
                  </a:cubicBezTo>
                  <a:cubicBezTo>
                    <a:pt x="5105" y="5847"/>
                    <a:pt x="5105" y="5847"/>
                    <a:pt x="5105" y="5847"/>
                  </a:cubicBezTo>
                  <a:cubicBezTo>
                    <a:pt x="5103" y="5854"/>
                    <a:pt x="5103" y="5854"/>
                    <a:pt x="5103" y="5854"/>
                  </a:cubicBezTo>
                  <a:cubicBezTo>
                    <a:pt x="5160" y="5865"/>
                    <a:pt x="5160" y="5865"/>
                    <a:pt x="5160" y="5865"/>
                  </a:cubicBezTo>
                  <a:lnTo>
                    <a:pt x="5145" y="5937"/>
                  </a:lnTo>
                  <a:close/>
                  <a:moveTo>
                    <a:pt x="5119" y="5843"/>
                  </a:moveTo>
                  <a:cubicBezTo>
                    <a:pt x="5135" y="5748"/>
                    <a:pt x="5135" y="5748"/>
                    <a:pt x="5135" y="5748"/>
                  </a:cubicBezTo>
                  <a:cubicBezTo>
                    <a:pt x="5224" y="5766"/>
                    <a:pt x="5224" y="5766"/>
                    <a:pt x="5224" y="5766"/>
                  </a:cubicBezTo>
                  <a:cubicBezTo>
                    <a:pt x="5222" y="5776"/>
                    <a:pt x="5222" y="5776"/>
                    <a:pt x="5222" y="5776"/>
                  </a:cubicBezTo>
                  <a:cubicBezTo>
                    <a:pt x="5274" y="5786"/>
                    <a:pt x="5274" y="5786"/>
                    <a:pt x="5274" y="5786"/>
                  </a:cubicBezTo>
                  <a:cubicBezTo>
                    <a:pt x="5243" y="5942"/>
                    <a:pt x="5243" y="5942"/>
                    <a:pt x="5243" y="5942"/>
                  </a:cubicBezTo>
                  <a:cubicBezTo>
                    <a:pt x="5161" y="5926"/>
                    <a:pt x="5161" y="5926"/>
                    <a:pt x="5161" y="5926"/>
                  </a:cubicBezTo>
                  <a:cubicBezTo>
                    <a:pt x="5175" y="5855"/>
                    <a:pt x="5175" y="5855"/>
                    <a:pt x="5175" y="5855"/>
                  </a:cubicBezTo>
                  <a:lnTo>
                    <a:pt x="5119" y="5843"/>
                  </a:lnTo>
                  <a:close/>
                  <a:moveTo>
                    <a:pt x="2592" y="4265"/>
                  </a:moveTo>
                  <a:cubicBezTo>
                    <a:pt x="2524" y="4360"/>
                    <a:pt x="2524" y="4360"/>
                    <a:pt x="2524" y="4360"/>
                  </a:cubicBezTo>
                  <a:cubicBezTo>
                    <a:pt x="2520" y="4365"/>
                    <a:pt x="2520" y="4365"/>
                    <a:pt x="2520" y="4365"/>
                  </a:cubicBezTo>
                  <a:cubicBezTo>
                    <a:pt x="2566" y="4400"/>
                    <a:pt x="2566" y="4400"/>
                    <a:pt x="2566" y="4400"/>
                  </a:cubicBezTo>
                  <a:cubicBezTo>
                    <a:pt x="2521" y="4458"/>
                    <a:pt x="2521" y="4458"/>
                    <a:pt x="2521" y="4458"/>
                  </a:cubicBezTo>
                  <a:cubicBezTo>
                    <a:pt x="2608" y="4524"/>
                    <a:pt x="2608" y="4524"/>
                    <a:pt x="2608" y="4524"/>
                  </a:cubicBezTo>
                  <a:cubicBezTo>
                    <a:pt x="2721" y="4377"/>
                    <a:pt x="2721" y="4377"/>
                    <a:pt x="2721" y="4377"/>
                  </a:cubicBezTo>
                  <a:cubicBezTo>
                    <a:pt x="2680" y="4345"/>
                    <a:pt x="2680" y="4345"/>
                    <a:pt x="2680" y="4345"/>
                  </a:cubicBezTo>
                  <a:cubicBezTo>
                    <a:pt x="2686" y="4337"/>
                    <a:pt x="2686" y="4337"/>
                    <a:pt x="2686" y="4337"/>
                  </a:cubicBezTo>
                  <a:lnTo>
                    <a:pt x="2592" y="4265"/>
                  </a:lnTo>
                  <a:close/>
                  <a:moveTo>
                    <a:pt x="2703" y="4379"/>
                  </a:moveTo>
                  <a:cubicBezTo>
                    <a:pt x="2606" y="4506"/>
                    <a:pt x="2606" y="4506"/>
                    <a:pt x="2606" y="4506"/>
                  </a:cubicBezTo>
                  <a:cubicBezTo>
                    <a:pt x="2539" y="4455"/>
                    <a:pt x="2539" y="4455"/>
                    <a:pt x="2539" y="4455"/>
                  </a:cubicBezTo>
                  <a:cubicBezTo>
                    <a:pt x="2584" y="4397"/>
                    <a:pt x="2584" y="4397"/>
                    <a:pt x="2584" y="4397"/>
                  </a:cubicBezTo>
                  <a:cubicBezTo>
                    <a:pt x="2538" y="4362"/>
                    <a:pt x="2538" y="4362"/>
                    <a:pt x="2538" y="4362"/>
                  </a:cubicBezTo>
                  <a:cubicBezTo>
                    <a:pt x="2595" y="4284"/>
                    <a:pt x="2595" y="4284"/>
                    <a:pt x="2595" y="4284"/>
                  </a:cubicBezTo>
                  <a:cubicBezTo>
                    <a:pt x="2667" y="4339"/>
                    <a:pt x="2667" y="4339"/>
                    <a:pt x="2667" y="4339"/>
                  </a:cubicBezTo>
                  <a:cubicBezTo>
                    <a:pt x="2661" y="4348"/>
                    <a:pt x="2661" y="4348"/>
                    <a:pt x="2661" y="4348"/>
                  </a:cubicBezTo>
                  <a:lnTo>
                    <a:pt x="2703" y="4379"/>
                  </a:lnTo>
                  <a:close/>
                  <a:moveTo>
                    <a:pt x="3546" y="5168"/>
                  </a:moveTo>
                  <a:cubicBezTo>
                    <a:pt x="3453" y="5096"/>
                    <a:pt x="3453" y="5096"/>
                    <a:pt x="3453" y="5096"/>
                  </a:cubicBezTo>
                  <a:cubicBezTo>
                    <a:pt x="3384" y="5189"/>
                    <a:pt x="3384" y="5189"/>
                    <a:pt x="3384" y="5189"/>
                  </a:cubicBezTo>
                  <a:cubicBezTo>
                    <a:pt x="3380" y="5194"/>
                    <a:pt x="3380" y="5194"/>
                    <a:pt x="3380" y="5194"/>
                  </a:cubicBezTo>
                  <a:cubicBezTo>
                    <a:pt x="3425" y="5230"/>
                    <a:pt x="3425" y="5230"/>
                    <a:pt x="3425" y="5230"/>
                  </a:cubicBezTo>
                  <a:cubicBezTo>
                    <a:pt x="3380" y="5287"/>
                    <a:pt x="3380" y="5287"/>
                    <a:pt x="3380" y="5287"/>
                  </a:cubicBezTo>
                  <a:cubicBezTo>
                    <a:pt x="3467" y="5355"/>
                    <a:pt x="3467" y="5355"/>
                    <a:pt x="3467" y="5355"/>
                  </a:cubicBezTo>
                  <a:cubicBezTo>
                    <a:pt x="3581" y="5208"/>
                    <a:pt x="3581" y="5208"/>
                    <a:pt x="3581" y="5208"/>
                  </a:cubicBezTo>
                  <a:cubicBezTo>
                    <a:pt x="3539" y="5176"/>
                    <a:pt x="3539" y="5176"/>
                    <a:pt x="3539" y="5176"/>
                  </a:cubicBezTo>
                  <a:lnTo>
                    <a:pt x="3546" y="5168"/>
                  </a:lnTo>
                  <a:close/>
                  <a:moveTo>
                    <a:pt x="3562" y="5210"/>
                  </a:moveTo>
                  <a:cubicBezTo>
                    <a:pt x="3465" y="5336"/>
                    <a:pt x="3465" y="5336"/>
                    <a:pt x="3465" y="5336"/>
                  </a:cubicBezTo>
                  <a:cubicBezTo>
                    <a:pt x="3399" y="5285"/>
                    <a:pt x="3399" y="5285"/>
                    <a:pt x="3399" y="5285"/>
                  </a:cubicBezTo>
                  <a:cubicBezTo>
                    <a:pt x="3443" y="5227"/>
                    <a:pt x="3443" y="5227"/>
                    <a:pt x="3443" y="5227"/>
                  </a:cubicBezTo>
                  <a:cubicBezTo>
                    <a:pt x="3398" y="5192"/>
                    <a:pt x="3398" y="5192"/>
                    <a:pt x="3398" y="5192"/>
                  </a:cubicBezTo>
                  <a:cubicBezTo>
                    <a:pt x="3455" y="5114"/>
                    <a:pt x="3455" y="5114"/>
                    <a:pt x="3455" y="5114"/>
                  </a:cubicBezTo>
                  <a:cubicBezTo>
                    <a:pt x="3527" y="5170"/>
                    <a:pt x="3527" y="5170"/>
                    <a:pt x="3527" y="5170"/>
                  </a:cubicBezTo>
                  <a:cubicBezTo>
                    <a:pt x="3521" y="5178"/>
                    <a:pt x="3521" y="5178"/>
                    <a:pt x="3521" y="5178"/>
                  </a:cubicBezTo>
                  <a:lnTo>
                    <a:pt x="3562" y="5210"/>
                  </a:lnTo>
                  <a:close/>
                  <a:moveTo>
                    <a:pt x="12110" y="11947"/>
                  </a:moveTo>
                  <a:cubicBezTo>
                    <a:pt x="12213" y="11892"/>
                    <a:pt x="12213" y="11892"/>
                    <a:pt x="12213" y="11892"/>
                  </a:cubicBezTo>
                  <a:cubicBezTo>
                    <a:pt x="12219" y="11889"/>
                    <a:pt x="12219" y="11889"/>
                    <a:pt x="12219" y="11889"/>
                  </a:cubicBezTo>
                  <a:cubicBezTo>
                    <a:pt x="12193" y="11838"/>
                    <a:pt x="12193" y="11838"/>
                    <a:pt x="12193" y="11838"/>
                  </a:cubicBezTo>
                  <a:cubicBezTo>
                    <a:pt x="12258" y="11805"/>
                    <a:pt x="12258" y="11805"/>
                    <a:pt x="12258" y="11805"/>
                  </a:cubicBezTo>
                  <a:cubicBezTo>
                    <a:pt x="12208" y="11707"/>
                    <a:pt x="12208" y="11707"/>
                    <a:pt x="12208" y="11707"/>
                  </a:cubicBezTo>
                  <a:cubicBezTo>
                    <a:pt x="12043" y="11791"/>
                    <a:pt x="12043" y="11791"/>
                    <a:pt x="12043" y="11791"/>
                  </a:cubicBezTo>
                  <a:cubicBezTo>
                    <a:pt x="12066" y="11837"/>
                    <a:pt x="12066" y="11837"/>
                    <a:pt x="12066" y="11837"/>
                  </a:cubicBezTo>
                  <a:cubicBezTo>
                    <a:pt x="12057" y="11842"/>
                    <a:pt x="12057" y="11842"/>
                    <a:pt x="12057" y="11842"/>
                  </a:cubicBezTo>
                  <a:lnTo>
                    <a:pt x="12110" y="11947"/>
                  </a:lnTo>
                  <a:close/>
                  <a:moveTo>
                    <a:pt x="12060" y="11797"/>
                  </a:moveTo>
                  <a:cubicBezTo>
                    <a:pt x="12202" y="11724"/>
                    <a:pt x="12202" y="11724"/>
                    <a:pt x="12202" y="11724"/>
                  </a:cubicBezTo>
                  <a:cubicBezTo>
                    <a:pt x="12240" y="11799"/>
                    <a:pt x="12240" y="11799"/>
                    <a:pt x="12240" y="11799"/>
                  </a:cubicBezTo>
                  <a:cubicBezTo>
                    <a:pt x="12175" y="11832"/>
                    <a:pt x="12175" y="11832"/>
                    <a:pt x="12175" y="11832"/>
                  </a:cubicBezTo>
                  <a:cubicBezTo>
                    <a:pt x="12201" y="11883"/>
                    <a:pt x="12201" y="11883"/>
                    <a:pt x="12201" y="11883"/>
                  </a:cubicBezTo>
                  <a:cubicBezTo>
                    <a:pt x="12116" y="11929"/>
                    <a:pt x="12116" y="11929"/>
                    <a:pt x="12116" y="11929"/>
                  </a:cubicBezTo>
                  <a:cubicBezTo>
                    <a:pt x="12075" y="11848"/>
                    <a:pt x="12075" y="11848"/>
                    <a:pt x="12075" y="11848"/>
                  </a:cubicBezTo>
                  <a:cubicBezTo>
                    <a:pt x="12084" y="11843"/>
                    <a:pt x="12084" y="11843"/>
                    <a:pt x="12084" y="11843"/>
                  </a:cubicBezTo>
                  <a:lnTo>
                    <a:pt x="12060" y="11797"/>
                  </a:lnTo>
                  <a:close/>
                  <a:moveTo>
                    <a:pt x="11714" y="11956"/>
                  </a:moveTo>
                  <a:cubicBezTo>
                    <a:pt x="11826" y="11992"/>
                    <a:pt x="11826" y="11992"/>
                    <a:pt x="11826" y="11992"/>
                  </a:cubicBezTo>
                  <a:cubicBezTo>
                    <a:pt x="11859" y="11880"/>
                    <a:pt x="11859" y="11880"/>
                    <a:pt x="11859" y="11880"/>
                  </a:cubicBezTo>
                  <a:cubicBezTo>
                    <a:pt x="11861" y="11874"/>
                    <a:pt x="11861" y="11874"/>
                    <a:pt x="11861" y="11874"/>
                  </a:cubicBezTo>
                  <a:cubicBezTo>
                    <a:pt x="11806" y="11857"/>
                    <a:pt x="11806" y="11857"/>
                    <a:pt x="11806" y="11857"/>
                  </a:cubicBezTo>
                  <a:cubicBezTo>
                    <a:pt x="11829" y="11787"/>
                    <a:pt x="11829" y="11787"/>
                    <a:pt x="11829" y="11787"/>
                  </a:cubicBezTo>
                  <a:cubicBezTo>
                    <a:pt x="11725" y="11753"/>
                    <a:pt x="11725" y="11753"/>
                    <a:pt x="11725" y="11753"/>
                  </a:cubicBezTo>
                  <a:cubicBezTo>
                    <a:pt x="11667" y="11930"/>
                    <a:pt x="11667" y="11930"/>
                    <a:pt x="11667" y="11930"/>
                  </a:cubicBezTo>
                  <a:cubicBezTo>
                    <a:pt x="11717" y="11946"/>
                    <a:pt x="11717" y="11946"/>
                    <a:pt x="11717" y="11946"/>
                  </a:cubicBezTo>
                  <a:lnTo>
                    <a:pt x="11714" y="11956"/>
                  </a:lnTo>
                  <a:close/>
                  <a:moveTo>
                    <a:pt x="11684" y="11921"/>
                  </a:moveTo>
                  <a:cubicBezTo>
                    <a:pt x="11733" y="11770"/>
                    <a:pt x="11733" y="11770"/>
                    <a:pt x="11733" y="11770"/>
                  </a:cubicBezTo>
                  <a:cubicBezTo>
                    <a:pt x="11812" y="11795"/>
                    <a:pt x="11812" y="11795"/>
                    <a:pt x="11812" y="11795"/>
                  </a:cubicBezTo>
                  <a:cubicBezTo>
                    <a:pt x="11790" y="11865"/>
                    <a:pt x="11790" y="11865"/>
                    <a:pt x="11790" y="11865"/>
                  </a:cubicBezTo>
                  <a:cubicBezTo>
                    <a:pt x="11845" y="11883"/>
                    <a:pt x="11845" y="11883"/>
                    <a:pt x="11845" y="11883"/>
                  </a:cubicBezTo>
                  <a:cubicBezTo>
                    <a:pt x="11817" y="11975"/>
                    <a:pt x="11817" y="11975"/>
                    <a:pt x="11817" y="11975"/>
                  </a:cubicBezTo>
                  <a:cubicBezTo>
                    <a:pt x="11730" y="11947"/>
                    <a:pt x="11730" y="11947"/>
                    <a:pt x="11730" y="11947"/>
                  </a:cubicBezTo>
                  <a:cubicBezTo>
                    <a:pt x="11734" y="11937"/>
                    <a:pt x="11734" y="11937"/>
                    <a:pt x="11734" y="11937"/>
                  </a:cubicBezTo>
                  <a:lnTo>
                    <a:pt x="11684" y="11921"/>
                  </a:lnTo>
                  <a:close/>
                  <a:moveTo>
                    <a:pt x="11404" y="12068"/>
                  </a:moveTo>
                  <a:cubicBezTo>
                    <a:pt x="11516" y="12104"/>
                    <a:pt x="11516" y="12104"/>
                    <a:pt x="11516" y="12104"/>
                  </a:cubicBezTo>
                  <a:cubicBezTo>
                    <a:pt x="11549" y="11992"/>
                    <a:pt x="11549" y="11992"/>
                    <a:pt x="11549" y="11992"/>
                  </a:cubicBezTo>
                  <a:cubicBezTo>
                    <a:pt x="11551" y="11986"/>
                    <a:pt x="11551" y="11986"/>
                    <a:pt x="11551" y="11986"/>
                  </a:cubicBezTo>
                  <a:cubicBezTo>
                    <a:pt x="11497" y="11968"/>
                    <a:pt x="11497" y="11968"/>
                    <a:pt x="11497" y="11968"/>
                  </a:cubicBezTo>
                  <a:cubicBezTo>
                    <a:pt x="11519" y="11899"/>
                    <a:pt x="11519" y="11899"/>
                    <a:pt x="11519" y="11899"/>
                  </a:cubicBezTo>
                  <a:cubicBezTo>
                    <a:pt x="11415" y="11865"/>
                    <a:pt x="11415" y="11865"/>
                    <a:pt x="11415" y="11865"/>
                  </a:cubicBezTo>
                  <a:cubicBezTo>
                    <a:pt x="11358" y="12042"/>
                    <a:pt x="11358" y="12042"/>
                    <a:pt x="11358" y="12042"/>
                  </a:cubicBezTo>
                  <a:cubicBezTo>
                    <a:pt x="11407" y="12058"/>
                    <a:pt x="11407" y="12058"/>
                    <a:pt x="11407" y="12058"/>
                  </a:cubicBezTo>
                  <a:lnTo>
                    <a:pt x="11404" y="12068"/>
                  </a:lnTo>
                  <a:close/>
                  <a:moveTo>
                    <a:pt x="11374" y="12033"/>
                  </a:moveTo>
                  <a:cubicBezTo>
                    <a:pt x="11423" y="11882"/>
                    <a:pt x="11423" y="11882"/>
                    <a:pt x="11423" y="11882"/>
                  </a:cubicBezTo>
                  <a:cubicBezTo>
                    <a:pt x="11503" y="11907"/>
                    <a:pt x="11503" y="11907"/>
                    <a:pt x="11503" y="11907"/>
                  </a:cubicBezTo>
                  <a:cubicBezTo>
                    <a:pt x="11480" y="11977"/>
                    <a:pt x="11480" y="11977"/>
                    <a:pt x="11480" y="11977"/>
                  </a:cubicBezTo>
                  <a:cubicBezTo>
                    <a:pt x="11535" y="11995"/>
                    <a:pt x="11535" y="11995"/>
                    <a:pt x="11535" y="11995"/>
                  </a:cubicBezTo>
                  <a:cubicBezTo>
                    <a:pt x="11507" y="12087"/>
                    <a:pt x="11507" y="12087"/>
                    <a:pt x="11507" y="12087"/>
                  </a:cubicBezTo>
                  <a:cubicBezTo>
                    <a:pt x="11421" y="12059"/>
                    <a:pt x="11421" y="12059"/>
                    <a:pt x="11421" y="12059"/>
                  </a:cubicBezTo>
                  <a:cubicBezTo>
                    <a:pt x="11424" y="12049"/>
                    <a:pt x="11424" y="12049"/>
                    <a:pt x="11424" y="12049"/>
                  </a:cubicBezTo>
                  <a:lnTo>
                    <a:pt x="11374" y="12033"/>
                  </a:lnTo>
                  <a:close/>
                  <a:moveTo>
                    <a:pt x="11169" y="12071"/>
                  </a:moveTo>
                  <a:cubicBezTo>
                    <a:pt x="11191" y="12002"/>
                    <a:pt x="11191" y="12002"/>
                    <a:pt x="11191" y="12002"/>
                  </a:cubicBezTo>
                  <a:cubicBezTo>
                    <a:pt x="11087" y="11968"/>
                    <a:pt x="11087" y="11968"/>
                    <a:pt x="11087" y="11968"/>
                  </a:cubicBezTo>
                  <a:cubicBezTo>
                    <a:pt x="11030" y="12144"/>
                    <a:pt x="11030" y="12144"/>
                    <a:pt x="11030" y="12144"/>
                  </a:cubicBezTo>
                  <a:cubicBezTo>
                    <a:pt x="11079" y="12160"/>
                    <a:pt x="11079" y="12160"/>
                    <a:pt x="11079" y="12160"/>
                  </a:cubicBezTo>
                  <a:cubicBezTo>
                    <a:pt x="11076" y="12170"/>
                    <a:pt x="11076" y="12170"/>
                    <a:pt x="11076" y="12170"/>
                  </a:cubicBezTo>
                  <a:cubicBezTo>
                    <a:pt x="11188" y="12207"/>
                    <a:pt x="11188" y="12207"/>
                    <a:pt x="11188" y="12207"/>
                  </a:cubicBezTo>
                  <a:cubicBezTo>
                    <a:pt x="11221" y="12095"/>
                    <a:pt x="11221" y="12095"/>
                    <a:pt x="11221" y="12095"/>
                  </a:cubicBezTo>
                  <a:cubicBezTo>
                    <a:pt x="11223" y="12089"/>
                    <a:pt x="11223" y="12089"/>
                    <a:pt x="11223" y="12089"/>
                  </a:cubicBezTo>
                  <a:lnTo>
                    <a:pt x="11169" y="12071"/>
                  </a:lnTo>
                  <a:close/>
                  <a:moveTo>
                    <a:pt x="11179" y="12190"/>
                  </a:moveTo>
                  <a:cubicBezTo>
                    <a:pt x="11093" y="12162"/>
                    <a:pt x="11093" y="12162"/>
                    <a:pt x="11093" y="12162"/>
                  </a:cubicBezTo>
                  <a:cubicBezTo>
                    <a:pt x="11096" y="12152"/>
                    <a:pt x="11096" y="12152"/>
                    <a:pt x="11096" y="12152"/>
                  </a:cubicBezTo>
                  <a:cubicBezTo>
                    <a:pt x="11046" y="12136"/>
                    <a:pt x="11046" y="12136"/>
                    <a:pt x="11046" y="12136"/>
                  </a:cubicBezTo>
                  <a:cubicBezTo>
                    <a:pt x="11095" y="11984"/>
                    <a:pt x="11095" y="11984"/>
                    <a:pt x="11095" y="11984"/>
                  </a:cubicBezTo>
                  <a:cubicBezTo>
                    <a:pt x="11175" y="12010"/>
                    <a:pt x="11175" y="12010"/>
                    <a:pt x="11175" y="12010"/>
                  </a:cubicBezTo>
                  <a:cubicBezTo>
                    <a:pt x="11152" y="12080"/>
                    <a:pt x="11152" y="12080"/>
                    <a:pt x="11152" y="12080"/>
                  </a:cubicBezTo>
                  <a:cubicBezTo>
                    <a:pt x="11207" y="12097"/>
                    <a:pt x="11207" y="12097"/>
                    <a:pt x="11207" y="12097"/>
                  </a:cubicBezTo>
                  <a:lnTo>
                    <a:pt x="11179" y="12190"/>
                  </a:lnTo>
                  <a:close/>
                  <a:moveTo>
                    <a:pt x="10803" y="16178"/>
                  </a:moveTo>
                  <a:cubicBezTo>
                    <a:pt x="10858" y="16282"/>
                    <a:pt x="10858" y="16282"/>
                    <a:pt x="10858" y="16282"/>
                  </a:cubicBezTo>
                  <a:cubicBezTo>
                    <a:pt x="10960" y="16225"/>
                    <a:pt x="10960" y="16225"/>
                    <a:pt x="10960" y="16225"/>
                  </a:cubicBezTo>
                  <a:cubicBezTo>
                    <a:pt x="10965" y="16222"/>
                    <a:pt x="10965" y="16222"/>
                    <a:pt x="10965" y="16222"/>
                  </a:cubicBezTo>
                  <a:cubicBezTo>
                    <a:pt x="10938" y="16172"/>
                    <a:pt x="10938" y="16172"/>
                    <a:pt x="10938" y="16172"/>
                  </a:cubicBezTo>
                  <a:cubicBezTo>
                    <a:pt x="11003" y="16137"/>
                    <a:pt x="11003" y="16137"/>
                    <a:pt x="11003" y="16137"/>
                  </a:cubicBezTo>
                  <a:cubicBezTo>
                    <a:pt x="10952" y="16040"/>
                    <a:pt x="10952" y="16040"/>
                    <a:pt x="10952" y="16040"/>
                  </a:cubicBezTo>
                  <a:cubicBezTo>
                    <a:pt x="10788" y="16127"/>
                    <a:pt x="10788" y="16127"/>
                    <a:pt x="10788" y="16127"/>
                  </a:cubicBezTo>
                  <a:cubicBezTo>
                    <a:pt x="10812" y="16173"/>
                    <a:pt x="10812" y="16173"/>
                    <a:pt x="10812" y="16173"/>
                  </a:cubicBezTo>
                  <a:lnTo>
                    <a:pt x="10803" y="16178"/>
                  </a:lnTo>
                  <a:close/>
                  <a:moveTo>
                    <a:pt x="10806" y="16133"/>
                  </a:moveTo>
                  <a:cubicBezTo>
                    <a:pt x="10946" y="16058"/>
                    <a:pt x="10946" y="16058"/>
                    <a:pt x="10946" y="16058"/>
                  </a:cubicBezTo>
                  <a:cubicBezTo>
                    <a:pt x="10985" y="16132"/>
                    <a:pt x="10985" y="16132"/>
                    <a:pt x="10985" y="16132"/>
                  </a:cubicBezTo>
                  <a:cubicBezTo>
                    <a:pt x="10921" y="16166"/>
                    <a:pt x="10921" y="16166"/>
                    <a:pt x="10921" y="16166"/>
                  </a:cubicBezTo>
                  <a:cubicBezTo>
                    <a:pt x="10948" y="16217"/>
                    <a:pt x="10948" y="16217"/>
                    <a:pt x="10948" y="16217"/>
                  </a:cubicBezTo>
                  <a:cubicBezTo>
                    <a:pt x="10863" y="16264"/>
                    <a:pt x="10863" y="16264"/>
                    <a:pt x="10863" y="16264"/>
                  </a:cubicBezTo>
                  <a:cubicBezTo>
                    <a:pt x="10821" y="16184"/>
                    <a:pt x="10821" y="16184"/>
                    <a:pt x="10821" y="16184"/>
                  </a:cubicBezTo>
                  <a:cubicBezTo>
                    <a:pt x="10830" y="16179"/>
                    <a:pt x="10830" y="16179"/>
                    <a:pt x="10830" y="16179"/>
                  </a:cubicBezTo>
                  <a:lnTo>
                    <a:pt x="10806" y="16133"/>
                  </a:lnTo>
                  <a:close/>
                  <a:moveTo>
                    <a:pt x="10546" y="16058"/>
                  </a:moveTo>
                  <a:cubicBezTo>
                    <a:pt x="10519" y="16007"/>
                    <a:pt x="10519" y="16007"/>
                    <a:pt x="10519" y="16007"/>
                  </a:cubicBezTo>
                  <a:cubicBezTo>
                    <a:pt x="10583" y="15973"/>
                    <a:pt x="10583" y="15973"/>
                    <a:pt x="10583" y="15973"/>
                  </a:cubicBezTo>
                  <a:cubicBezTo>
                    <a:pt x="10532" y="15876"/>
                    <a:pt x="10532" y="15876"/>
                    <a:pt x="10532" y="15876"/>
                  </a:cubicBezTo>
                  <a:cubicBezTo>
                    <a:pt x="10368" y="15963"/>
                    <a:pt x="10368" y="15963"/>
                    <a:pt x="10368" y="15963"/>
                  </a:cubicBezTo>
                  <a:cubicBezTo>
                    <a:pt x="10393" y="16009"/>
                    <a:pt x="10393" y="16009"/>
                    <a:pt x="10393" y="16009"/>
                  </a:cubicBezTo>
                  <a:cubicBezTo>
                    <a:pt x="10383" y="16014"/>
                    <a:pt x="10383" y="16014"/>
                    <a:pt x="10383" y="16014"/>
                  </a:cubicBezTo>
                  <a:cubicBezTo>
                    <a:pt x="10438" y="16118"/>
                    <a:pt x="10438" y="16118"/>
                    <a:pt x="10438" y="16118"/>
                  </a:cubicBezTo>
                  <a:cubicBezTo>
                    <a:pt x="10540" y="16061"/>
                    <a:pt x="10540" y="16061"/>
                    <a:pt x="10540" y="16061"/>
                  </a:cubicBezTo>
                  <a:lnTo>
                    <a:pt x="10546" y="16058"/>
                  </a:lnTo>
                  <a:close/>
                  <a:moveTo>
                    <a:pt x="10444" y="16100"/>
                  </a:moveTo>
                  <a:cubicBezTo>
                    <a:pt x="10401" y="16019"/>
                    <a:pt x="10401" y="16019"/>
                    <a:pt x="10401" y="16019"/>
                  </a:cubicBezTo>
                  <a:cubicBezTo>
                    <a:pt x="10410" y="16015"/>
                    <a:pt x="10410" y="16015"/>
                    <a:pt x="10410" y="16015"/>
                  </a:cubicBezTo>
                  <a:cubicBezTo>
                    <a:pt x="10386" y="15968"/>
                    <a:pt x="10386" y="15968"/>
                    <a:pt x="10386" y="15968"/>
                  </a:cubicBezTo>
                  <a:cubicBezTo>
                    <a:pt x="10526" y="15894"/>
                    <a:pt x="10526" y="15894"/>
                    <a:pt x="10526" y="15894"/>
                  </a:cubicBezTo>
                  <a:cubicBezTo>
                    <a:pt x="10566" y="15968"/>
                    <a:pt x="10566" y="15968"/>
                    <a:pt x="10566" y="15968"/>
                  </a:cubicBezTo>
                  <a:cubicBezTo>
                    <a:pt x="10501" y="16002"/>
                    <a:pt x="10501" y="16002"/>
                    <a:pt x="10501" y="16002"/>
                  </a:cubicBezTo>
                  <a:cubicBezTo>
                    <a:pt x="10528" y="16053"/>
                    <a:pt x="10528" y="16053"/>
                    <a:pt x="10528" y="16053"/>
                  </a:cubicBezTo>
                  <a:lnTo>
                    <a:pt x="10444" y="16100"/>
                  </a:lnTo>
                  <a:close/>
                  <a:moveTo>
                    <a:pt x="2437" y="12615"/>
                  </a:moveTo>
                  <a:cubicBezTo>
                    <a:pt x="2487" y="12624"/>
                    <a:pt x="2487" y="12624"/>
                    <a:pt x="2487" y="12624"/>
                  </a:cubicBezTo>
                  <a:cubicBezTo>
                    <a:pt x="2493" y="12625"/>
                    <a:pt x="2493" y="12625"/>
                    <a:pt x="2493" y="12625"/>
                  </a:cubicBezTo>
                  <a:cubicBezTo>
                    <a:pt x="2518" y="12505"/>
                    <a:pt x="2518" y="12505"/>
                    <a:pt x="2518" y="12505"/>
                  </a:cubicBezTo>
                  <a:cubicBezTo>
                    <a:pt x="2402" y="12484"/>
                    <a:pt x="2402" y="12484"/>
                    <a:pt x="2402" y="12484"/>
                  </a:cubicBezTo>
                  <a:cubicBezTo>
                    <a:pt x="2401" y="12490"/>
                    <a:pt x="2401" y="12490"/>
                    <a:pt x="2401" y="12490"/>
                  </a:cubicBezTo>
                  <a:cubicBezTo>
                    <a:pt x="2400" y="12494"/>
                    <a:pt x="2400" y="12494"/>
                    <a:pt x="2400" y="12494"/>
                  </a:cubicBezTo>
                  <a:cubicBezTo>
                    <a:pt x="2349" y="12485"/>
                    <a:pt x="2349" y="12485"/>
                    <a:pt x="2349" y="12485"/>
                  </a:cubicBezTo>
                  <a:cubicBezTo>
                    <a:pt x="2316" y="12667"/>
                    <a:pt x="2316" y="12667"/>
                    <a:pt x="2316" y="12667"/>
                  </a:cubicBezTo>
                  <a:cubicBezTo>
                    <a:pt x="2423" y="12687"/>
                    <a:pt x="2423" y="12687"/>
                    <a:pt x="2423" y="12687"/>
                  </a:cubicBezTo>
                  <a:lnTo>
                    <a:pt x="2437" y="12615"/>
                  </a:lnTo>
                  <a:close/>
                  <a:moveTo>
                    <a:pt x="2331" y="12657"/>
                  </a:moveTo>
                  <a:cubicBezTo>
                    <a:pt x="2359" y="12500"/>
                    <a:pt x="2359" y="12500"/>
                    <a:pt x="2359" y="12500"/>
                  </a:cubicBezTo>
                  <a:cubicBezTo>
                    <a:pt x="2411" y="12509"/>
                    <a:pt x="2411" y="12509"/>
                    <a:pt x="2411" y="12509"/>
                  </a:cubicBezTo>
                  <a:cubicBezTo>
                    <a:pt x="2412" y="12503"/>
                    <a:pt x="2412" y="12503"/>
                    <a:pt x="2412" y="12503"/>
                  </a:cubicBezTo>
                  <a:cubicBezTo>
                    <a:pt x="2412" y="12499"/>
                    <a:pt x="2412" y="12499"/>
                    <a:pt x="2412" y="12499"/>
                  </a:cubicBezTo>
                  <a:cubicBezTo>
                    <a:pt x="2502" y="12515"/>
                    <a:pt x="2502" y="12515"/>
                    <a:pt x="2502" y="12515"/>
                  </a:cubicBezTo>
                  <a:cubicBezTo>
                    <a:pt x="2483" y="12610"/>
                    <a:pt x="2483" y="12610"/>
                    <a:pt x="2483" y="12610"/>
                  </a:cubicBezTo>
                  <a:cubicBezTo>
                    <a:pt x="2426" y="12600"/>
                    <a:pt x="2426" y="12600"/>
                    <a:pt x="2426" y="12600"/>
                  </a:cubicBezTo>
                  <a:cubicBezTo>
                    <a:pt x="2413" y="12672"/>
                    <a:pt x="2413" y="12672"/>
                    <a:pt x="2413" y="12672"/>
                  </a:cubicBezTo>
                  <a:lnTo>
                    <a:pt x="2331" y="12657"/>
                  </a:lnTo>
                  <a:close/>
                  <a:moveTo>
                    <a:pt x="4126" y="10175"/>
                  </a:moveTo>
                  <a:cubicBezTo>
                    <a:pt x="4280" y="10109"/>
                    <a:pt x="4280" y="10109"/>
                    <a:pt x="4280" y="10109"/>
                  </a:cubicBezTo>
                  <a:cubicBezTo>
                    <a:pt x="4241" y="10018"/>
                    <a:pt x="4241" y="10018"/>
                    <a:pt x="4241" y="10018"/>
                  </a:cubicBezTo>
                  <a:cubicBezTo>
                    <a:pt x="4337" y="9978"/>
                    <a:pt x="4337" y="9978"/>
                    <a:pt x="4337" y="9978"/>
                  </a:cubicBezTo>
                  <a:cubicBezTo>
                    <a:pt x="4276" y="9821"/>
                    <a:pt x="4276" y="9821"/>
                    <a:pt x="4276" y="9821"/>
                  </a:cubicBezTo>
                  <a:cubicBezTo>
                    <a:pt x="4113" y="9889"/>
                    <a:pt x="4113" y="9889"/>
                    <a:pt x="4113" y="9889"/>
                  </a:cubicBezTo>
                  <a:cubicBezTo>
                    <a:pt x="4147" y="9984"/>
                    <a:pt x="4147" y="9984"/>
                    <a:pt x="4147" y="9984"/>
                  </a:cubicBezTo>
                  <a:cubicBezTo>
                    <a:pt x="4061" y="10021"/>
                    <a:pt x="4061" y="10021"/>
                    <a:pt x="4061" y="10021"/>
                  </a:cubicBezTo>
                  <a:lnTo>
                    <a:pt x="4126" y="10175"/>
                  </a:lnTo>
                  <a:close/>
                  <a:moveTo>
                    <a:pt x="4129" y="9897"/>
                  </a:moveTo>
                  <a:cubicBezTo>
                    <a:pt x="4269" y="9838"/>
                    <a:pt x="4269" y="9838"/>
                    <a:pt x="4269" y="9838"/>
                  </a:cubicBezTo>
                  <a:cubicBezTo>
                    <a:pt x="4320" y="9971"/>
                    <a:pt x="4320" y="9971"/>
                    <a:pt x="4320" y="9971"/>
                  </a:cubicBezTo>
                  <a:cubicBezTo>
                    <a:pt x="4230" y="10009"/>
                    <a:pt x="4230" y="10009"/>
                    <a:pt x="4230" y="10009"/>
                  </a:cubicBezTo>
                  <a:cubicBezTo>
                    <a:pt x="4224" y="10011"/>
                    <a:pt x="4224" y="10011"/>
                    <a:pt x="4224" y="10011"/>
                  </a:cubicBezTo>
                  <a:cubicBezTo>
                    <a:pt x="4263" y="10102"/>
                    <a:pt x="4263" y="10102"/>
                    <a:pt x="4263" y="10102"/>
                  </a:cubicBezTo>
                  <a:cubicBezTo>
                    <a:pt x="4133" y="10158"/>
                    <a:pt x="4133" y="10158"/>
                    <a:pt x="4133" y="10158"/>
                  </a:cubicBezTo>
                  <a:cubicBezTo>
                    <a:pt x="4078" y="10028"/>
                    <a:pt x="4078" y="10028"/>
                    <a:pt x="4078" y="10028"/>
                  </a:cubicBezTo>
                  <a:cubicBezTo>
                    <a:pt x="4164" y="9991"/>
                    <a:pt x="4164" y="9991"/>
                    <a:pt x="4164" y="9991"/>
                  </a:cubicBezTo>
                  <a:lnTo>
                    <a:pt x="4129" y="9897"/>
                  </a:lnTo>
                  <a:close/>
                  <a:moveTo>
                    <a:pt x="10002" y="16242"/>
                  </a:moveTo>
                  <a:cubicBezTo>
                    <a:pt x="9922" y="16242"/>
                    <a:pt x="9922" y="16242"/>
                    <a:pt x="9922" y="16242"/>
                  </a:cubicBezTo>
                  <a:cubicBezTo>
                    <a:pt x="9922" y="16425"/>
                    <a:pt x="9922" y="16425"/>
                    <a:pt x="9922" y="16425"/>
                  </a:cubicBezTo>
                  <a:cubicBezTo>
                    <a:pt x="10050" y="16425"/>
                    <a:pt x="10050" y="16425"/>
                    <a:pt x="10050" y="16425"/>
                  </a:cubicBezTo>
                  <a:cubicBezTo>
                    <a:pt x="10050" y="16323"/>
                    <a:pt x="10050" y="16323"/>
                    <a:pt x="10050" y="16323"/>
                  </a:cubicBezTo>
                  <a:cubicBezTo>
                    <a:pt x="10136" y="16323"/>
                    <a:pt x="10136" y="16323"/>
                    <a:pt x="10136" y="16323"/>
                  </a:cubicBezTo>
                  <a:cubicBezTo>
                    <a:pt x="10136" y="16154"/>
                    <a:pt x="10136" y="16154"/>
                    <a:pt x="10136" y="16154"/>
                  </a:cubicBezTo>
                  <a:cubicBezTo>
                    <a:pt x="10002" y="16154"/>
                    <a:pt x="10002" y="16154"/>
                    <a:pt x="10002" y="16154"/>
                  </a:cubicBezTo>
                  <a:lnTo>
                    <a:pt x="10002" y="16242"/>
                  </a:lnTo>
                  <a:close/>
                  <a:moveTo>
                    <a:pt x="10014" y="16166"/>
                  </a:moveTo>
                  <a:cubicBezTo>
                    <a:pt x="10124" y="16166"/>
                    <a:pt x="10124" y="16166"/>
                    <a:pt x="10124" y="16166"/>
                  </a:cubicBezTo>
                  <a:cubicBezTo>
                    <a:pt x="10124" y="16311"/>
                    <a:pt x="10124" y="16311"/>
                    <a:pt x="10124" y="16311"/>
                  </a:cubicBezTo>
                  <a:cubicBezTo>
                    <a:pt x="10044" y="16311"/>
                    <a:pt x="10044" y="16311"/>
                    <a:pt x="10044" y="16311"/>
                  </a:cubicBezTo>
                  <a:cubicBezTo>
                    <a:pt x="10038" y="16311"/>
                    <a:pt x="10038" y="16311"/>
                    <a:pt x="10038" y="16311"/>
                  </a:cubicBezTo>
                  <a:cubicBezTo>
                    <a:pt x="10038" y="16413"/>
                    <a:pt x="10038" y="16413"/>
                    <a:pt x="10038" y="16413"/>
                  </a:cubicBezTo>
                  <a:cubicBezTo>
                    <a:pt x="9934" y="16413"/>
                    <a:pt x="9934" y="16413"/>
                    <a:pt x="9934" y="16413"/>
                  </a:cubicBezTo>
                  <a:cubicBezTo>
                    <a:pt x="9934" y="16254"/>
                    <a:pt x="9934" y="16254"/>
                    <a:pt x="9934" y="16254"/>
                  </a:cubicBezTo>
                  <a:cubicBezTo>
                    <a:pt x="10014" y="16254"/>
                    <a:pt x="10014" y="16254"/>
                    <a:pt x="10014" y="16254"/>
                  </a:cubicBezTo>
                  <a:lnTo>
                    <a:pt x="10014" y="16166"/>
                  </a:lnTo>
                  <a:close/>
                  <a:moveTo>
                    <a:pt x="9861" y="15615"/>
                  </a:moveTo>
                  <a:cubicBezTo>
                    <a:pt x="9989" y="15615"/>
                    <a:pt x="9989" y="15615"/>
                    <a:pt x="9989" y="15615"/>
                  </a:cubicBezTo>
                  <a:cubicBezTo>
                    <a:pt x="9989" y="15433"/>
                    <a:pt x="9989" y="15433"/>
                    <a:pt x="9989" y="15433"/>
                  </a:cubicBezTo>
                  <a:cubicBezTo>
                    <a:pt x="9909" y="15433"/>
                    <a:pt x="9909" y="15433"/>
                    <a:pt x="9909" y="15433"/>
                  </a:cubicBezTo>
                  <a:cubicBezTo>
                    <a:pt x="9909" y="15345"/>
                    <a:pt x="9909" y="15345"/>
                    <a:pt x="9909" y="15345"/>
                  </a:cubicBezTo>
                  <a:cubicBezTo>
                    <a:pt x="9775" y="15345"/>
                    <a:pt x="9775" y="15345"/>
                    <a:pt x="9775" y="15345"/>
                  </a:cubicBezTo>
                  <a:cubicBezTo>
                    <a:pt x="9775" y="15514"/>
                    <a:pt x="9775" y="15514"/>
                    <a:pt x="9775" y="15514"/>
                  </a:cubicBezTo>
                  <a:cubicBezTo>
                    <a:pt x="9861" y="15514"/>
                    <a:pt x="9861" y="15514"/>
                    <a:pt x="9861" y="15514"/>
                  </a:cubicBezTo>
                  <a:lnTo>
                    <a:pt x="9861" y="15615"/>
                  </a:lnTo>
                  <a:close/>
                  <a:moveTo>
                    <a:pt x="9787" y="15502"/>
                  </a:moveTo>
                  <a:cubicBezTo>
                    <a:pt x="9787" y="15357"/>
                    <a:pt x="9787" y="15357"/>
                    <a:pt x="9787" y="15357"/>
                  </a:cubicBezTo>
                  <a:cubicBezTo>
                    <a:pt x="9897" y="15357"/>
                    <a:pt x="9897" y="15357"/>
                    <a:pt x="9897" y="15357"/>
                  </a:cubicBezTo>
                  <a:cubicBezTo>
                    <a:pt x="9897" y="15445"/>
                    <a:pt x="9897" y="15445"/>
                    <a:pt x="9897" y="15445"/>
                  </a:cubicBezTo>
                  <a:cubicBezTo>
                    <a:pt x="9977" y="15445"/>
                    <a:pt x="9977" y="15445"/>
                    <a:pt x="9977" y="15445"/>
                  </a:cubicBezTo>
                  <a:cubicBezTo>
                    <a:pt x="9977" y="15603"/>
                    <a:pt x="9977" y="15603"/>
                    <a:pt x="9977" y="15603"/>
                  </a:cubicBezTo>
                  <a:cubicBezTo>
                    <a:pt x="9873" y="15603"/>
                    <a:pt x="9873" y="15603"/>
                    <a:pt x="9873" y="15603"/>
                  </a:cubicBezTo>
                  <a:cubicBezTo>
                    <a:pt x="9873" y="15508"/>
                    <a:pt x="9873" y="15508"/>
                    <a:pt x="9873" y="15508"/>
                  </a:cubicBezTo>
                  <a:cubicBezTo>
                    <a:pt x="9873" y="15502"/>
                    <a:pt x="9873" y="15502"/>
                    <a:pt x="9873" y="15502"/>
                  </a:cubicBezTo>
                  <a:lnTo>
                    <a:pt x="9787" y="15502"/>
                  </a:lnTo>
                  <a:close/>
                  <a:moveTo>
                    <a:pt x="5688" y="15835"/>
                  </a:moveTo>
                  <a:cubicBezTo>
                    <a:pt x="5689" y="15932"/>
                    <a:pt x="5689" y="15932"/>
                    <a:pt x="5689" y="15932"/>
                  </a:cubicBezTo>
                  <a:cubicBezTo>
                    <a:pt x="5812" y="15932"/>
                    <a:pt x="5812" y="15932"/>
                    <a:pt x="5812" y="15932"/>
                  </a:cubicBezTo>
                  <a:cubicBezTo>
                    <a:pt x="5814" y="15750"/>
                    <a:pt x="5814" y="15750"/>
                    <a:pt x="5814" y="15750"/>
                  </a:cubicBezTo>
                  <a:cubicBezTo>
                    <a:pt x="5730" y="15749"/>
                    <a:pt x="5730" y="15749"/>
                    <a:pt x="5730" y="15749"/>
                  </a:cubicBezTo>
                  <a:cubicBezTo>
                    <a:pt x="5733" y="15665"/>
                    <a:pt x="5733" y="15665"/>
                    <a:pt x="5733" y="15665"/>
                  </a:cubicBezTo>
                  <a:cubicBezTo>
                    <a:pt x="5603" y="15664"/>
                    <a:pt x="5603" y="15664"/>
                    <a:pt x="5603" y="15664"/>
                  </a:cubicBezTo>
                  <a:cubicBezTo>
                    <a:pt x="5604" y="15834"/>
                    <a:pt x="5604" y="15834"/>
                    <a:pt x="5604" y="15834"/>
                  </a:cubicBezTo>
                  <a:lnTo>
                    <a:pt x="5688" y="15835"/>
                  </a:lnTo>
                  <a:close/>
                  <a:moveTo>
                    <a:pt x="5720" y="15678"/>
                  </a:moveTo>
                  <a:cubicBezTo>
                    <a:pt x="5717" y="15762"/>
                    <a:pt x="5717" y="15762"/>
                    <a:pt x="5717" y="15762"/>
                  </a:cubicBezTo>
                  <a:cubicBezTo>
                    <a:pt x="5801" y="15763"/>
                    <a:pt x="5801" y="15763"/>
                    <a:pt x="5801" y="15763"/>
                  </a:cubicBezTo>
                  <a:cubicBezTo>
                    <a:pt x="5799" y="15919"/>
                    <a:pt x="5799" y="15919"/>
                    <a:pt x="5799" y="15919"/>
                  </a:cubicBezTo>
                  <a:cubicBezTo>
                    <a:pt x="5702" y="15919"/>
                    <a:pt x="5702" y="15919"/>
                    <a:pt x="5702" y="15919"/>
                  </a:cubicBezTo>
                  <a:cubicBezTo>
                    <a:pt x="5701" y="15829"/>
                    <a:pt x="5701" y="15829"/>
                    <a:pt x="5701" y="15829"/>
                  </a:cubicBezTo>
                  <a:cubicBezTo>
                    <a:pt x="5701" y="15822"/>
                    <a:pt x="5701" y="15822"/>
                    <a:pt x="5701" y="15822"/>
                  </a:cubicBezTo>
                  <a:cubicBezTo>
                    <a:pt x="5617" y="15821"/>
                    <a:pt x="5617" y="15821"/>
                    <a:pt x="5617" y="15821"/>
                  </a:cubicBezTo>
                  <a:cubicBezTo>
                    <a:pt x="5616" y="15677"/>
                    <a:pt x="5616" y="15677"/>
                    <a:pt x="5616" y="15677"/>
                  </a:cubicBezTo>
                  <a:lnTo>
                    <a:pt x="5720" y="15678"/>
                  </a:lnTo>
                  <a:close/>
                  <a:moveTo>
                    <a:pt x="4557" y="5236"/>
                  </a:moveTo>
                  <a:cubicBezTo>
                    <a:pt x="4552" y="5240"/>
                    <a:pt x="4552" y="5240"/>
                    <a:pt x="4552" y="5240"/>
                  </a:cubicBezTo>
                  <a:cubicBezTo>
                    <a:pt x="4629" y="5310"/>
                    <a:pt x="4629" y="5310"/>
                    <a:pt x="4629" y="5310"/>
                  </a:cubicBezTo>
                  <a:cubicBezTo>
                    <a:pt x="4728" y="5199"/>
                    <a:pt x="4728" y="5199"/>
                    <a:pt x="4728" y="5199"/>
                  </a:cubicBezTo>
                  <a:cubicBezTo>
                    <a:pt x="4652" y="5130"/>
                    <a:pt x="4652" y="5130"/>
                    <a:pt x="4652" y="5130"/>
                  </a:cubicBezTo>
                  <a:lnTo>
                    <a:pt x="4557" y="5236"/>
                  </a:lnTo>
                  <a:close/>
                  <a:moveTo>
                    <a:pt x="4710" y="5200"/>
                  </a:moveTo>
                  <a:cubicBezTo>
                    <a:pt x="4628" y="5291"/>
                    <a:pt x="4628" y="5291"/>
                    <a:pt x="4628" y="5291"/>
                  </a:cubicBezTo>
                  <a:cubicBezTo>
                    <a:pt x="4571" y="5239"/>
                    <a:pt x="4571" y="5239"/>
                    <a:pt x="4571" y="5239"/>
                  </a:cubicBezTo>
                  <a:cubicBezTo>
                    <a:pt x="4653" y="5149"/>
                    <a:pt x="4653" y="5149"/>
                    <a:pt x="4653" y="5149"/>
                  </a:cubicBezTo>
                  <a:lnTo>
                    <a:pt x="4710" y="5200"/>
                  </a:lnTo>
                  <a:close/>
                  <a:moveTo>
                    <a:pt x="4377" y="5114"/>
                  </a:moveTo>
                  <a:cubicBezTo>
                    <a:pt x="4373" y="5119"/>
                    <a:pt x="4373" y="5119"/>
                    <a:pt x="4373" y="5119"/>
                  </a:cubicBezTo>
                  <a:cubicBezTo>
                    <a:pt x="4449" y="5188"/>
                    <a:pt x="4449" y="5188"/>
                    <a:pt x="4449" y="5188"/>
                  </a:cubicBezTo>
                  <a:cubicBezTo>
                    <a:pt x="4548" y="5077"/>
                    <a:pt x="4548" y="5077"/>
                    <a:pt x="4548" y="5077"/>
                  </a:cubicBezTo>
                  <a:cubicBezTo>
                    <a:pt x="4472" y="5008"/>
                    <a:pt x="4472" y="5008"/>
                    <a:pt x="4472" y="5008"/>
                  </a:cubicBezTo>
                  <a:lnTo>
                    <a:pt x="4377" y="5114"/>
                  </a:lnTo>
                  <a:close/>
                  <a:moveTo>
                    <a:pt x="4530" y="5078"/>
                  </a:moveTo>
                  <a:cubicBezTo>
                    <a:pt x="4448" y="5169"/>
                    <a:pt x="4448" y="5169"/>
                    <a:pt x="4448" y="5169"/>
                  </a:cubicBezTo>
                  <a:cubicBezTo>
                    <a:pt x="4391" y="5118"/>
                    <a:pt x="4391" y="5118"/>
                    <a:pt x="4391" y="5118"/>
                  </a:cubicBezTo>
                  <a:cubicBezTo>
                    <a:pt x="4473" y="5027"/>
                    <a:pt x="4473" y="5027"/>
                    <a:pt x="4473" y="5027"/>
                  </a:cubicBezTo>
                  <a:lnTo>
                    <a:pt x="4530" y="5078"/>
                  </a:lnTo>
                  <a:close/>
                  <a:moveTo>
                    <a:pt x="141" y="7050"/>
                  </a:moveTo>
                  <a:cubicBezTo>
                    <a:pt x="46" y="7009"/>
                    <a:pt x="46" y="7009"/>
                    <a:pt x="46" y="7009"/>
                  </a:cubicBezTo>
                  <a:cubicBezTo>
                    <a:pt x="4" y="7106"/>
                    <a:pt x="4" y="7106"/>
                    <a:pt x="4" y="7106"/>
                  </a:cubicBezTo>
                  <a:cubicBezTo>
                    <a:pt x="4" y="7152"/>
                    <a:pt x="4" y="7152"/>
                    <a:pt x="4" y="7152"/>
                  </a:cubicBezTo>
                  <a:cubicBezTo>
                    <a:pt x="82" y="7186"/>
                    <a:pt x="82" y="7186"/>
                    <a:pt x="82" y="7186"/>
                  </a:cubicBezTo>
                  <a:lnTo>
                    <a:pt x="141" y="7050"/>
                  </a:lnTo>
                  <a:close/>
                  <a:moveTo>
                    <a:pt x="4" y="7138"/>
                  </a:moveTo>
                  <a:cubicBezTo>
                    <a:pt x="53" y="7026"/>
                    <a:pt x="53" y="7026"/>
                    <a:pt x="53" y="7026"/>
                  </a:cubicBezTo>
                  <a:cubicBezTo>
                    <a:pt x="124" y="7057"/>
                    <a:pt x="124" y="7057"/>
                    <a:pt x="124" y="7057"/>
                  </a:cubicBezTo>
                  <a:cubicBezTo>
                    <a:pt x="75" y="7169"/>
                    <a:pt x="75" y="7169"/>
                    <a:pt x="75" y="7169"/>
                  </a:cubicBezTo>
                  <a:lnTo>
                    <a:pt x="4" y="7138"/>
                  </a:lnTo>
                  <a:close/>
                  <a:moveTo>
                    <a:pt x="3791" y="4981"/>
                  </a:moveTo>
                  <a:cubicBezTo>
                    <a:pt x="3790" y="4988"/>
                    <a:pt x="3790" y="4988"/>
                    <a:pt x="3790" y="4988"/>
                  </a:cubicBezTo>
                  <a:cubicBezTo>
                    <a:pt x="3921" y="5015"/>
                    <a:pt x="3921" y="5015"/>
                    <a:pt x="3921" y="5015"/>
                  </a:cubicBezTo>
                  <a:cubicBezTo>
                    <a:pt x="3950" y="4879"/>
                    <a:pt x="3950" y="4879"/>
                    <a:pt x="3950" y="4879"/>
                  </a:cubicBezTo>
                  <a:cubicBezTo>
                    <a:pt x="3819" y="4851"/>
                    <a:pt x="3819" y="4851"/>
                    <a:pt x="3819" y="4851"/>
                  </a:cubicBezTo>
                  <a:lnTo>
                    <a:pt x="3791" y="4981"/>
                  </a:lnTo>
                  <a:close/>
                  <a:moveTo>
                    <a:pt x="3934" y="4889"/>
                  </a:moveTo>
                  <a:cubicBezTo>
                    <a:pt x="3911" y="5000"/>
                    <a:pt x="3911" y="5000"/>
                    <a:pt x="3911" y="5000"/>
                  </a:cubicBezTo>
                  <a:cubicBezTo>
                    <a:pt x="3806" y="4978"/>
                    <a:pt x="3806" y="4978"/>
                    <a:pt x="3806" y="4978"/>
                  </a:cubicBezTo>
                  <a:cubicBezTo>
                    <a:pt x="3829" y="4867"/>
                    <a:pt x="3829" y="4867"/>
                    <a:pt x="3829" y="4867"/>
                  </a:cubicBezTo>
                  <a:lnTo>
                    <a:pt x="3934" y="4889"/>
                  </a:lnTo>
                  <a:close/>
                  <a:moveTo>
                    <a:pt x="4259" y="4200"/>
                  </a:moveTo>
                  <a:cubicBezTo>
                    <a:pt x="4159" y="4197"/>
                    <a:pt x="4159" y="4197"/>
                    <a:pt x="4159" y="4197"/>
                  </a:cubicBezTo>
                  <a:cubicBezTo>
                    <a:pt x="4155" y="4330"/>
                    <a:pt x="4155" y="4330"/>
                    <a:pt x="4155" y="4330"/>
                  </a:cubicBezTo>
                  <a:cubicBezTo>
                    <a:pt x="4155" y="4337"/>
                    <a:pt x="4155" y="4337"/>
                    <a:pt x="4155" y="4337"/>
                  </a:cubicBezTo>
                  <a:cubicBezTo>
                    <a:pt x="4256" y="4339"/>
                    <a:pt x="4256" y="4339"/>
                    <a:pt x="4256" y="4339"/>
                  </a:cubicBezTo>
                  <a:lnTo>
                    <a:pt x="4259" y="4200"/>
                  </a:lnTo>
                  <a:close/>
                  <a:moveTo>
                    <a:pt x="4243" y="4326"/>
                  </a:moveTo>
                  <a:cubicBezTo>
                    <a:pt x="4169" y="4324"/>
                    <a:pt x="4169" y="4324"/>
                    <a:pt x="4169" y="4324"/>
                  </a:cubicBezTo>
                  <a:cubicBezTo>
                    <a:pt x="4171" y="4211"/>
                    <a:pt x="4171" y="4211"/>
                    <a:pt x="4171" y="4211"/>
                  </a:cubicBezTo>
                  <a:cubicBezTo>
                    <a:pt x="4246" y="4213"/>
                    <a:pt x="4246" y="4213"/>
                    <a:pt x="4246" y="4213"/>
                  </a:cubicBezTo>
                  <a:lnTo>
                    <a:pt x="4243" y="4326"/>
                  </a:lnTo>
                  <a:close/>
                  <a:moveTo>
                    <a:pt x="3977" y="4326"/>
                  </a:moveTo>
                  <a:cubicBezTo>
                    <a:pt x="3977" y="4333"/>
                    <a:pt x="3977" y="4333"/>
                    <a:pt x="3977" y="4333"/>
                  </a:cubicBezTo>
                  <a:cubicBezTo>
                    <a:pt x="4078" y="4335"/>
                    <a:pt x="4078" y="4335"/>
                    <a:pt x="4078" y="4335"/>
                  </a:cubicBezTo>
                  <a:cubicBezTo>
                    <a:pt x="4081" y="4196"/>
                    <a:pt x="4081" y="4196"/>
                    <a:pt x="4081" y="4196"/>
                  </a:cubicBezTo>
                  <a:cubicBezTo>
                    <a:pt x="3980" y="4194"/>
                    <a:pt x="3980" y="4194"/>
                    <a:pt x="3980" y="4194"/>
                  </a:cubicBezTo>
                  <a:lnTo>
                    <a:pt x="3977" y="4326"/>
                  </a:lnTo>
                  <a:close/>
                  <a:moveTo>
                    <a:pt x="3993" y="4207"/>
                  </a:moveTo>
                  <a:cubicBezTo>
                    <a:pt x="4067" y="4209"/>
                    <a:pt x="4067" y="4209"/>
                    <a:pt x="4067" y="4209"/>
                  </a:cubicBezTo>
                  <a:cubicBezTo>
                    <a:pt x="4065" y="4322"/>
                    <a:pt x="4065" y="4322"/>
                    <a:pt x="4065" y="4322"/>
                  </a:cubicBezTo>
                  <a:cubicBezTo>
                    <a:pt x="3990" y="4320"/>
                    <a:pt x="3990" y="4320"/>
                    <a:pt x="3990" y="4320"/>
                  </a:cubicBezTo>
                  <a:lnTo>
                    <a:pt x="3993" y="4207"/>
                  </a:lnTo>
                  <a:close/>
                  <a:moveTo>
                    <a:pt x="11662" y="17103"/>
                  </a:moveTo>
                  <a:cubicBezTo>
                    <a:pt x="11656" y="17107"/>
                    <a:pt x="11656" y="17107"/>
                    <a:pt x="11656" y="17107"/>
                  </a:cubicBezTo>
                  <a:cubicBezTo>
                    <a:pt x="11722" y="17197"/>
                    <a:pt x="11722" y="17197"/>
                    <a:pt x="11722" y="17197"/>
                  </a:cubicBezTo>
                  <a:cubicBezTo>
                    <a:pt x="11847" y="17106"/>
                    <a:pt x="11847" y="17106"/>
                    <a:pt x="11847" y="17106"/>
                  </a:cubicBezTo>
                  <a:cubicBezTo>
                    <a:pt x="11782" y="17016"/>
                    <a:pt x="11782" y="17016"/>
                    <a:pt x="11782" y="17016"/>
                  </a:cubicBezTo>
                  <a:lnTo>
                    <a:pt x="11662" y="17103"/>
                  </a:lnTo>
                  <a:close/>
                  <a:moveTo>
                    <a:pt x="11725" y="17179"/>
                  </a:moveTo>
                  <a:cubicBezTo>
                    <a:pt x="11675" y="17110"/>
                    <a:pt x="11675" y="17110"/>
                    <a:pt x="11675" y="17110"/>
                  </a:cubicBezTo>
                  <a:cubicBezTo>
                    <a:pt x="11779" y="17034"/>
                    <a:pt x="11779" y="17034"/>
                    <a:pt x="11779" y="17034"/>
                  </a:cubicBezTo>
                  <a:cubicBezTo>
                    <a:pt x="11829" y="17103"/>
                    <a:pt x="11829" y="17103"/>
                    <a:pt x="11829" y="17103"/>
                  </a:cubicBezTo>
                  <a:lnTo>
                    <a:pt x="11725" y="17179"/>
                  </a:lnTo>
                  <a:close/>
                  <a:moveTo>
                    <a:pt x="11426" y="16804"/>
                  </a:moveTo>
                  <a:cubicBezTo>
                    <a:pt x="11422" y="16809"/>
                    <a:pt x="11422" y="16809"/>
                    <a:pt x="11422" y="16809"/>
                  </a:cubicBezTo>
                  <a:cubicBezTo>
                    <a:pt x="11505" y="16882"/>
                    <a:pt x="11505" y="16882"/>
                    <a:pt x="11505" y="16882"/>
                  </a:cubicBezTo>
                  <a:cubicBezTo>
                    <a:pt x="11608" y="16766"/>
                    <a:pt x="11608" y="16766"/>
                    <a:pt x="11608" y="16766"/>
                  </a:cubicBezTo>
                  <a:cubicBezTo>
                    <a:pt x="11524" y="16693"/>
                    <a:pt x="11524" y="16693"/>
                    <a:pt x="11524" y="16693"/>
                  </a:cubicBezTo>
                  <a:lnTo>
                    <a:pt x="11426" y="16804"/>
                  </a:lnTo>
                  <a:close/>
                  <a:moveTo>
                    <a:pt x="11589" y="16767"/>
                  </a:moveTo>
                  <a:cubicBezTo>
                    <a:pt x="11504" y="16864"/>
                    <a:pt x="11504" y="16864"/>
                    <a:pt x="11504" y="16864"/>
                  </a:cubicBezTo>
                  <a:cubicBezTo>
                    <a:pt x="11440" y="16808"/>
                    <a:pt x="11440" y="16808"/>
                    <a:pt x="11440" y="16808"/>
                  </a:cubicBezTo>
                  <a:cubicBezTo>
                    <a:pt x="11525" y="16711"/>
                    <a:pt x="11525" y="16711"/>
                    <a:pt x="11525" y="16711"/>
                  </a:cubicBezTo>
                  <a:lnTo>
                    <a:pt x="11589" y="16767"/>
                  </a:lnTo>
                  <a:close/>
                  <a:moveTo>
                    <a:pt x="10799" y="16716"/>
                  </a:moveTo>
                  <a:cubicBezTo>
                    <a:pt x="10794" y="16720"/>
                    <a:pt x="10794" y="16720"/>
                    <a:pt x="10794" y="16720"/>
                  </a:cubicBezTo>
                  <a:cubicBezTo>
                    <a:pt x="10860" y="16809"/>
                    <a:pt x="10860" y="16809"/>
                    <a:pt x="10860" y="16809"/>
                  </a:cubicBezTo>
                  <a:cubicBezTo>
                    <a:pt x="10984" y="16716"/>
                    <a:pt x="10984" y="16716"/>
                    <a:pt x="10984" y="16716"/>
                  </a:cubicBezTo>
                  <a:cubicBezTo>
                    <a:pt x="10918" y="16627"/>
                    <a:pt x="10918" y="16627"/>
                    <a:pt x="10918" y="16627"/>
                  </a:cubicBezTo>
                  <a:lnTo>
                    <a:pt x="10799" y="16716"/>
                  </a:lnTo>
                  <a:close/>
                  <a:moveTo>
                    <a:pt x="10863" y="16791"/>
                  </a:moveTo>
                  <a:cubicBezTo>
                    <a:pt x="10812" y="16723"/>
                    <a:pt x="10812" y="16723"/>
                    <a:pt x="10812" y="16723"/>
                  </a:cubicBezTo>
                  <a:cubicBezTo>
                    <a:pt x="10915" y="16645"/>
                    <a:pt x="10915" y="16645"/>
                    <a:pt x="10915" y="16645"/>
                  </a:cubicBezTo>
                  <a:cubicBezTo>
                    <a:pt x="10966" y="16713"/>
                    <a:pt x="10966" y="16713"/>
                    <a:pt x="10966" y="16713"/>
                  </a:cubicBezTo>
                  <a:lnTo>
                    <a:pt x="10863" y="16791"/>
                  </a:lnTo>
                  <a:close/>
                  <a:moveTo>
                    <a:pt x="10403" y="16593"/>
                  </a:moveTo>
                  <a:cubicBezTo>
                    <a:pt x="10396" y="16593"/>
                    <a:pt x="10396" y="16593"/>
                    <a:pt x="10396" y="16593"/>
                  </a:cubicBezTo>
                  <a:cubicBezTo>
                    <a:pt x="10397" y="16704"/>
                    <a:pt x="10397" y="16704"/>
                    <a:pt x="10397" y="16704"/>
                  </a:cubicBezTo>
                  <a:cubicBezTo>
                    <a:pt x="10552" y="16704"/>
                    <a:pt x="10552" y="16704"/>
                    <a:pt x="10552" y="16704"/>
                  </a:cubicBezTo>
                  <a:cubicBezTo>
                    <a:pt x="10551" y="16592"/>
                    <a:pt x="10551" y="16592"/>
                    <a:pt x="10551" y="16592"/>
                  </a:cubicBezTo>
                  <a:lnTo>
                    <a:pt x="10403" y="16593"/>
                  </a:lnTo>
                  <a:close/>
                  <a:moveTo>
                    <a:pt x="10410" y="16691"/>
                  </a:moveTo>
                  <a:cubicBezTo>
                    <a:pt x="10409" y="16606"/>
                    <a:pt x="10409" y="16606"/>
                    <a:pt x="10409" y="16606"/>
                  </a:cubicBezTo>
                  <a:cubicBezTo>
                    <a:pt x="10538" y="16606"/>
                    <a:pt x="10538" y="16606"/>
                    <a:pt x="10538" y="16606"/>
                  </a:cubicBezTo>
                  <a:cubicBezTo>
                    <a:pt x="10539" y="16690"/>
                    <a:pt x="10539" y="16690"/>
                    <a:pt x="10539" y="16690"/>
                  </a:cubicBezTo>
                  <a:lnTo>
                    <a:pt x="10410" y="16691"/>
                  </a:lnTo>
                  <a:close/>
                  <a:moveTo>
                    <a:pt x="4" y="12476"/>
                  </a:moveTo>
                  <a:cubicBezTo>
                    <a:pt x="83" y="12461"/>
                    <a:pt x="83" y="12461"/>
                    <a:pt x="83" y="12461"/>
                  </a:cubicBezTo>
                  <a:cubicBezTo>
                    <a:pt x="73" y="12407"/>
                    <a:pt x="73" y="12407"/>
                    <a:pt x="73" y="12407"/>
                  </a:cubicBezTo>
                  <a:cubicBezTo>
                    <a:pt x="86" y="12405"/>
                    <a:pt x="86" y="12405"/>
                    <a:pt x="86" y="12405"/>
                  </a:cubicBezTo>
                  <a:cubicBezTo>
                    <a:pt x="72" y="12333"/>
                    <a:pt x="72" y="12333"/>
                    <a:pt x="72" y="12333"/>
                  </a:cubicBezTo>
                  <a:cubicBezTo>
                    <a:pt x="4" y="12346"/>
                    <a:pt x="4" y="12346"/>
                    <a:pt x="4" y="12346"/>
                  </a:cubicBezTo>
                  <a:cubicBezTo>
                    <a:pt x="4" y="12332"/>
                    <a:pt x="4" y="12332"/>
                    <a:pt x="4" y="12332"/>
                  </a:cubicBezTo>
                  <a:cubicBezTo>
                    <a:pt x="83" y="12318"/>
                    <a:pt x="83" y="12318"/>
                    <a:pt x="83" y="12318"/>
                  </a:cubicBezTo>
                  <a:cubicBezTo>
                    <a:pt x="84" y="12324"/>
                    <a:pt x="84" y="12324"/>
                    <a:pt x="84" y="12324"/>
                  </a:cubicBezTo>
                  <a:cubicBezTo>
                    <a:pt x="101" y="12415"/>
                    <a:pt x="101" y="12415"/>
                    <a:pt x="101" y="12415"/>
                  </a:cubicBezTo>
                  <a:cubicBezTo>
                    <a:pt x="88" y="12417"/>
                    <a:pt x="88" y="12417"/>
                    <a:pt x="88" y="12417"/>
                  </a:cubicBezTo>
                  <a:cubicBezTo>
                    <a:pt x="98" y="12471"/>
                    <a:pt x="98" y="12471"/>
                    <a:pt x="98" y="12471"/>
                  </a:cubicBezTo>
                  <a:cubicBezTo>
                    <a:pt x="4" y="12489"/>
                    <a:pt x="4" y="12489"/>
                    <a:pt x="4" y="12489"/>
                  </a:cubicBezTo>
                  <a:lnTo>
                    <a:pt x="4" y="12476"/>
                  </a:lnTo>
                  <a:close/>
                  <a:moveTo>
                    <a:pt x="9278" y="15560"/>
                  </a:moveTo>
                  <a:cubicBezTo>
                    <a:pt x="9199" y="15586"/>
                    <a:pt x="9199" y="15586"/>
                    <a:pt x="9199" y="15586"/>
                  </a:cubicBezTo>
                  <a:cubicBezTo>
                    <a:pt x="9194" y="15571"/>
                    <a:pt x="9194" y="15571"/>
                    <a:pt x="9194" y="15571"/>
                  </a:cubicBezTo>
                  <a:cubicBezTo>
                    <a:pt x="9368" y="15515"/>
                    <a:pt x="9368" y="15515"/>
                    <a:pt x="9368" y="15515"/>
                  </a:cubicBezTo>
                  <a:cubicBezTo>
                    <a:pt x="9345" y="15443"/>
                    <a:pt x="9345" y="15443"/>
                    <a:pt x="9345" y="15443"/>
                  </a:cubicBezTo>
                  <a:cubicBezTo>
                    <a:pt x="9280" y="15464"/>
                    <a:pt x="9280" y="15464"/>
                    <a:pt x="9280" y="15464"/>
                  </a:cubicBezTo>
                  <a:cubicBezTo>
                    <a:pt x="9257" y="15392"/>
                    <a:pt x="9257" y="15392"/>
                    <a:pt x="9257" y="15392"/>
                  </a:cubicBezTo>
                  <a:cubicBezTo>
                    <a:pt x="9120" y="15436"/>
                    <a:pt x="9120" y="15436"/>
                    <a:pt x="9120" y="15436"/>
                  </a:cubicBezTo>
                  <a:cubicBezTo>
                    <a:pt x="9148" y="15523"/>
                    <a:pt x="9148" y="15523"/>
                    <a:pt x="9148" y="15523"/>
                  </a:cubicBezTo>
                  <a:cubicBezTo>
                    <a:pt x="9055" y="15553"/>
                    <a:pt x="9055" y="15553"/>
                    <a:pt x="9055" y="15553"/>
                  </a:cubicBezTo>
                  <a:cubicBezTo>
                    <a:pt x="9049" y="15555"/>
                    <a:pt x="9049" y="15555"/>
                    <a:pt x="9049" y="15555"/>
                  </a:cubicBezTo>
                  <a:cubicBezTo>
                    <a:pt x="9079" y="15649"/>
                    <a:pt x="9079" y="15649"/>
                    <a:pt x="9079" y="15649"/>
                  </a:cubicBezTo>
                  <a:cubicBezTo>
                    <a:pt x="9085" y="15647"/>
                    <a:pt x="9085" y="15647"/>
                    <a:pt x="9085" y="15647"/>
                  </a:cubicBezTo>
                  <a:cubicBezTo>
                    <a:pt x="9092" y="15646"/>
                    <a:pt x="9092" y="15646"/>
                    <a:pt x="9092" y="15646"/>
                  </a:cubicBezTo>
                  <a:cubicBezTo>
                    <a:pt x="9108" y="15698"/>
                    <a:pt x="9108" y="15698"/>
                    <a:pt x="9108" y="15698"/>
                  </a:cubicBezTo>
                  <a:cubicBezTo>
                    <a:pt x="9302" y="15635"/>
                    <a:pt x="9302" y="15635"/>
                    <a:pt x="9302" y="15635"/>
                  </a:cubicBezTo>
                  <a:lnTo>
                    <a:pt x="9278" y="15560"/>
                  </a:lnTo>
                  <a:close/>
                  <a:moveTo>
                    <a:pt x="9100" y="15629"/>
                  </a:moveTo>
                  <a:cubicBezTo>
                    <a:pt x="9094" y="15631"/>
                    <a:pt x="9094" y="15631"/>
                    <a:pt x="9094" y="15631"/>
                  </a:cubicBezTo>
                  <a:cubicBezTo>
                    <a:pt x="9088" y="15633"/>
                    <a:pt x="9088" y="15633"/>
                    <a:pt x="9088" y="15633"/>
                  </a:cubicBezTo>
                  <a:cubicBezTo>
                    <a:pt x="9065" y="15563"/>
                    <a:pt x="9065" y="15563"/>
                    <a:pt x="9065" y="15563"/>
                  </a:cubicBezTo>
                  <a:cubicBezTo>
                    <a:pt x="9165" y="15531"/>
                    <a:pt x="9165" y="15531"/>
                    <a:pt x="9165" y="15531"/>
                  </a:cubicBezTo>
                  <a:cubicBezTo>
                    <a:pt x="9136" y="15444"/>
                    <a:pt x="9136" y="15444"/>
                    <a:pt x="9136" y="15444"/>
                  </a:cubicBezTo>
                  <a:cubicBezTo>
                    <a:pt x="9248" y="15408"/>
                    <a:pt x="9248" y="15408"/>
                    <a:pt x="9248" y="15408"/>
                  </a:cubicBezTo>
                  <a:cubicBezTo>
                    <a:pt x="9271" y="15480"/>
                    <a:pt x="9271" y="15480"/>
                    <a:pt x="9271" y="15480"/>
                  </a:cubicBezTo>
                  <a:cubicBezTo>
                    <a:pt x="9336" y="15460"/>
                    <a:pt x="9336" y="15460"/>
                    <a:pt x="9336" y="15460"/>
                  </a:cubicBezTo>
                  <a:cubicBezTo>
                    <a:pt x="9351" y="15507"/>
                    <a:pt x="9351" y="15507"/>
                    <a:pt x="9351" y="15507"/>
                  </a:cubicBezTo>
                  <a:cubicBezTo>
                    <a:pt x="9177" y="15563"/>
                    <a:pt x="9177" y="15563"/>
                    <a:pt x="9177" y="15563"/>
                  </a:cubicBezTo>
                  <a:cubicBezTo>
                    <a:pt x="9190" y="15603"/>
                    <a:pt x="9190" y="15603"/>
                    <a:pt x="9190" y="15603"/>
                  </a:cubicBezTo>
                  <a:cubicBezTo>
                    <a:pt x="9270" y="15577"/>
                    <a:pt x="9270" y="15577"/>
                    <a:pt x="9270" y="15577"/>
                  </a:cubicBezTo>
                  <a:cubicBezTo>
                    <a:pt x="9286" y="15627"/>
                    <a:pt x="9286" y="15627"/>
                    <a:pt x="9286" y="15627"/>
                  </a:cubicBezTo>
                  <a:cubicBezTo>
                    <a:pt x="9117" y="15681"/>
                    <a:pt x="9117" y="15681"/>
                    <a:pt x="9117" y="15681"/>
                  </a:cubicBezTo>
                  <a:lnTo>
                    <a:pt x="9100" y="15629"/>
                  </a:lnTo>
                  <a:close/>
                  <a:moveTo>
                    <a:pt x="3685" y="17502"/>
                  </a:moveTo>
                  <a:cubicBezTo>
                    <a:pt x="3684" y="17495"/>
                    <a:pt x="3684" y="17495"/>
                    <a:pt x="3684" y="17495"/>
                  </a:cubicBezTo>
                  <a:cubicBezTo>
                    <a:pt x="3577" y="17513"/>
                    <a:pt x="3577" y="17513"/>
                    <a:pt x="3577" y="17513"/>
                  </a:cubicBezTo>
                  <a:cubicBezTo>
                    <a:pt x="3562" y="17423"/>
                    <a:pt x="3562" y="17423"/>
                    <a:pt x="3562" y="17423"/>
                  </a:cubicBezTo>
                  <a:cubicBezTo>
                    <a:pt x="3415" y="17448"/>
                    <a:pt x="3415" y="17448"/>
                    <a:pt x="3415" y="17448"/>
                  </a:cubicBezTo>
                  <a:cubicBezTo>
                    <a:pt x="3428" y="17523"/>
                    <a:pt x="3428" y="17523"/>
                    <a:pt x="3428" y="17523"/>
                  </a:cubicBezTo>
                  <a:cubicBezTo>
                    <a:pt x="3359" y="17535"/>
                    <a:pt x="3359" y="17535"/>
                    <a:pt x="3359" y="17535"/>
                  </a:cubicBezTo>
                  <a:cubicBezTo>
                    <a:pt x="3371" y="17610"/>
                    <a:pt x="3371" y="17610"/>
                    <a:pt x="3371" y="17610"/>
                  </a:cubicBezTo>
                  <a:cubicBezTo>
                    <a:pt x="3558" y="17578"/>
                    <a:pt x="3558" y="17578"/>
                    <a:pt x="3558" y="17578"/>
                  </a:cubicBezTo>
                  <a:cubicBezTo>
                    <a:pt x="3561" y="17593"/>
                    <a:pt x="3561" y="17593"/>
                    <a:pt x="3561" y="17593"/>
                  </a:cubicBezTo>
                  <a:cubicBezTo>
                    <a:pt x="3475" y="17608"/>
                    <a:pt x="3475" y="17608"/>
                    <a:pt x="3475" y="17608"/>
                  </a:cubicBezTo>
                  <a:cubicBezTo>
                    <a:pt x="3489" y="17685"/>
                    <a:pt x="3489" y="17685"/>
                    <a:pt x="3489" y="17685"/>
                  </a:cubicBezTo>
                  <a:cubicBezTo>
                    <a:pt x="3697" y="17649"/>
                    <a:pt x="3697" y="17649"/>
                    <a:pt x="3697" y="17649"/>
                  </a:cubicBezTo>
                  <a:cubicBezTo>
                    <a:pt x="3688" y="17595"/>
                    <a:pt x="3688" y="17595"/>
                    <a:pt x="3688" y="17595"/>
                  </a:cubicBezTo>
                  <a:cubicBezTo>
                    <a:pt x="3701" y="17593"/>
                    <a:pt x="3701" y="17593"/>
                    <a:pt x="3701" y="17593"/>
                  </a:cubicBezTo>
                  <a:lnTo>
                    <a:pt x="3685" y="17502"/>
                  </a:lnTo>
                  <a:close/>
                  <a:moveTo>
                    <a:pt x="3681" y="17638"/>
                  </a:moveTo>
                  <a:cubicBezTo>
                    <a:pt x="3500" y="17670"/>
                    <a:pt x="3500" y="17670"/>
                    <a:pt x="3500" y="17670"/>
                  </a:cubicBezTo>
                  <a:cubicBezTo>
                    <a:pt x="3491" y="17619"/>
                    <a:pt x="3491" y="17619"/>
                    <a:pt x="3491" y="17619"/>
                  </a:cubicBezTo>
                  <a:cubicBezTo>
                    <a:pt x="3576" y="17604"/>
                    <a:pt x="3576" y="17604"/>
                    <a:pt x="3576" y="17604"/>
                  </a:cubicBezTo>
                  <a:cubicBezTo>
                    <a:pt x="3569" y="17562"/>
                    <a:pt x="3569" y="17562"/>
                    <a:pt x="3569" y="17562"/>
                  </a:cubicBezTo>
                  <a:cubicBezTo>
                    <a:pt x="3382" y="17595"/>
                    <a:pt x="3382" y="17595"/>
                    <a:pt x="3382" y="17595"/>
                  </a:cubicBezTo>
                  <a:cubicBezTo>
                    <a:pt x="3374" y="17546"/>
                    <a:pt x="3374" y="17546"/>
                    <a:pt x="3374" y="17546"/>
                  </a:cubicBezTo>
                  <a:cubicBezTo>
                    <a:pt x="3443" y="17534"/>
                    <a:pt x="3443" y="17534"/>
                    <a:pt x="3443" y="17534"/>
                  </a:cubicBezTo>
                  <a:cubicBezTo>
                    <a:pt x="3430" y="17459"/>
                    <a:pt x="3430" y="17459"/>
                    <a:pt x="3430" y="17459"/>
                  </a:cubicBezTo>
                  <a:cubicBezTo>
                    <a:pt x="3551" y="17439"/>
                    <a:pt x="3551" y="17439"/>
                    <a:pt x="3551" y="17439"/>
                  </a:cubicBezTo>
                  <a:cubicBezTo>
                    <a:pt x="3566" y="17529"/>
                    <a:pt x="3566" y="17529"/>
                    <a:pt x="3566" y="17529"/>
                  </a:cubicBezTo>
                  <a:cubicBezTo>
                    <a:pt x="3673" y="17510"/>
                    <a:pt x="3673" y="17510"/>
                    <a:pt x="3673" y="17510"/>
                  </a:cubicBezTo>
                  <a:cubicBezTo>
                    <a:pt x="3685" y="17582"/>
                    <a:pt x="3685" y="17582"/>
                    <a:pt x="3685" y="17582"/>
                  </a:cubicBezTo>
                  <a:cubicBezTo>
                    <a:pt x="3672" y="17584"/>
                    <a:pt x="3672" y="17584"/>
                    <a:pt x="3672" y="17584"/>
                  </a:cubicBezTo>
                  <a:lnTo>
                    <a:pt x="3681" y="17638"/>
                  </a:lnTo>
                  <a:close/>
                  <a:moveTo>
                    <a:pt x="2760" y="12652"/>
                  </a:moveTo>
                  <a:cubicBezTo>
                    <a:pt x="2774" y="12657"/>
                    <a:pt x="2774" y="12657"/>
                    <a:pt x="2774" y="12657"/>
                  </a:cubicBezTo>
                  <a:cubicBezTo>
                    <a:pt x="2707" y="12835"/>
                    <a:pt x="2707" y="12835"/>
                    <a:pt x="2707" y="12835"/>
                  </a:cubicBezTo>
                  <a:cubicBezTo>
                    <a:pt x="2778" y="12862"/>
                    <a:pt x="2778" y="12862"/>
                    <a:pt x="2778" y="12862"/>
                  </a:cubicBezTo>
                  <a:cubicBezTo>
                    <a:pt x="2803" y="12796"/>
                    <a:pt x="2803" y="12796"/>
                    <a:pt x="2803" y="12796"/>
                  </a:cubicBezTo>
                  <a:cubicBezTo>
                    <a:pt x="2874" y="12823"/>
                    <a:pt x="2874" y="12823"/>
                    <a:pt x="2874" y="12823"/>
                  </a:cubicBezTo>
                  <a:cubicBezTo>
                    <a:pt x="2927" y="12683"/>
                    <a:pt x="2927" y="12683"/>
                    <a:pt x="2927" y="12683"/>
                  </a:cubicBezTo>
                  <a:cubicBezTo>
                    <a:pt x="2841" y="12651"/>
                    <a:pt x="2841" y="12651"/>
                    <a:pt x="2841" y="12651"/>
                  </a:cubicBezTo>
                  <a:cubicBezTo>
                    <a:pt x="2877" y="12556"/>
                    <a:pt x="2877" y="12556"/>
                    <a:pt x="2877" y="12556"/>
                  </a:cubicBezTo>
                  <a:cubicBezTo>
                    <a:pt x="2880" y="12550"/>
                    <a:pt x="2880" y="12550"/>
                    <a:pt x="2880" y="12550"/>
                  </a:cubicBezTo>
                  <a:cubicBezTo>
                    <a:pt x="2787" y="12515"/>
                    <a:pt x="2787" y="12515"/>
                    <a:pt x="2787" y="12515"/>
                  </a:cubicBezTo>
                  <a:cubicBezTo>
                    <a:pt x="2784" y="12521"/>
                    <a:pt x="2784" y="12521"/>
                    <a:pt x="2784" y="12521"/>
                  </a:cubicBezTo>
                  <a:cubicBezTo>
                    <a:pt x="2782" y="12527"/>
                    <a:pt x="2782" y="12527"/>
                    <a:pt x="2782" y="12527"/>
                  </a:cubicBezTo>
                  <a:cubicBezTo>
                    <a:pt x="2731" y="12508"/>
                    <a:pt x="2731" y="12508"/>
                    <a:pt x="2731" y="12508"/>
                  </a:cubicBezTo>
                  <a:cubicBezTo>
                    <a:pt x="2656" y="12705"/>
                    <a:pt x="2656" y="12705"/>
                    <a:pt x="2656" y="12705"/>
                  </a:cubicBezTo>
                  <a:cubicBezTo>
                    <a:pt x="2729" y="12733"/>
                    <a:pt x="2729" y="12733"/>
                    <a:pt x="2729" y="12733"/>
                  </a:cubicBezTo>
                  <a:lnTo>
                    <a:pt x="2760" y="12652"/>
                  </a:lnTo>
                  <a:close/>
                  <a:moveTo>
                    <a:pt x="2673" y="12697"/>
                  </a:moveTo>
                  <a:cubicBezTo>
                    <a:pt x="2738" y="12525"/>
                    <a:pt x="2738" y="12525"/>
                    <a:pt x="2738" y="12525"/>
                  </a:cubicBezTo>
                  <a:cubicBezTo>
                    <a:pt x="2790" y="12544"/>
                    <a:pt x="2790" y="12544"/>
                    <a:pt x="2790" y="12544"/>
                  </a:cubicBezTo>
                  <a:cubicBezTo>
                    <a:pt x="2792" y="12538"/>
                    <a:pt x="2792" y="12538"/>
                    <a:pt x="2792" y="12538"/>
                  </a:cubicBezTo>
                  <a:cubicBezTo>
                    <a:pt x="2794" y="12532"/>
                    <a:pt x="2794" y="12532"/>
                    <a:pt x="2794" y="12532"/>
                  </a:cubicBezTo>
                  <a:cubicBezTo>
                    <a:pt x="2863" y="12558"/>
                    <a:pt x="2863" y="12558"/>
                    <a:pt x="2863" y="12558"/>
                  </a:cubicBezTo>
                  <a:cubicBezTo>
                    <a:pt x="2824" y="12659"/>
                    <a:pt x="2824" y="12659"/>
                    <a:pt x="2824" y="12659"/>
                  </a:cubicBezTo>
                  <a:cubicBezTo>
                    <a:pt x="2910" y="12691"/>
                    <a:pt x="2910" y="12691"/>
                    <a:pt x="2910" y="12691"/>
                  </a:cubicBezTo>
                  <a:cubicBezTo>
                    <a:pt x="2866" y="12805"/>
                    <a:pt x="2866" y="12805"/>
                    <a:pt x="2866" y="12805"/>
                  </a:cubicBezTo>
                  <a:cubicBezTo>
                    <a:pt x="2796" y="12779"/>
                    <a:pt x="2796" y="12779"/>
                    <a:pt x="2796" y="12779"/>
                  </a:cubicBezTo>
                  <a:cubicBezTo>
                    <a:pt x="2771" y="12844"/>
                    <a:pt x="2771" y="12844"/>
                    <a:pt x="2771" y="12844"/>
                  </a:cubicBezTo>
                  <a:cubicBezTo>
                    <a:pt x="2725" y="12827"/>
                    <a:pt x="2725" y="12827"/>
                    <a:pt x="2725" y="12827"/>
                  </a:cubicBezTo>
                  <a:cubicBezTo>
                    <a:pt x="2792" y="12650"/>
                    <a:pt x="2792" y="12650"/>
                    <a:pt x="2792" y="12650"/>
                  </a:cubicBezTo>
                  <a:cubicBezTo>
                    <a:pt x="2752" y="12635"/>
                    <a:pt x="2752" y="12635"/>
                    <a:pt x="2752" y="12635"/>
                  </a:cubicBezTo>
                  <a:cubicBezTo>
                    <a:pt x="2722" y="12716"/>
                    <a:pt x="2722" y="12716"/>
                    <a:pt x="2722" y="12716"/>
                  </a:cubicBezTo>
                  <a:lnTo>
                    <a:pt x="2673" y="12697"/>
                  </a:lnTo>
                  <a:close/>
                  <a:moveTo>
                    <a:pt x="8133" y="17724"/>
                  </a:moveTo>
                  <a:cubicBezTo>
                    <a:pt x="8131" y="17695"/>
                    <a:pt x="8131" y="17695"/>
                    <a:pt x="8131" y="17695"/>
                  </a:cubicBezTo>
                  <a:cubicBezTo>
                    <a:pt x="8030" y="17699"/>
                    <a:pt x="8030" y="17699"/>
                    <a:pt x="8030" y="17699"/>
                  </a:cubicBezTo>
                  <a:cubicBezTo>
                    <a:pt x="8030" y="17705"/>
                    <a:pt x="8030" y="17705"/>
                    <a:pt x="8030" y="17705"/>
                  </a:cubicBezTo>
                  <a:cubicBezTo>
                    <a:pt x="8031" y="17724"/>
                    <a:pt x="8031" y="17724"/>
                    <a:pt x="8031" y="17724"/>
                  </a:cubicBezTo>
                  <a:cubicBezTo>
                    <a:pt x="7956" y="17725"/>
                    <a:pt x="7956" y="17725"/>
                    <a:pt x="7956" y="17725"/>
                  </a:cubicBezTo>
                  <a:cubicBezTo>
                    <a:pt x="7959" y="17790"/>
                    <a:pt x="7959" y="17790"/>
                    <a:pt x="7959" y="17790"/>
                  </a:cubicBezTo>
                  <a:cubicBezTo>
                    <a:pt x="7926" y="17793"/>
                    <a:pt x="7926" y="17793"/>
                    <a:pt x="7926" y="17793"/>
                  </a:cubicBezTo>
                  <a:cubicBezTo>
                    <a:pt x="7928" y="17860"/>
                    <a:pt x="7928" y="17860"/>
                    <a:pt x="7928" y="17860"/>
                  </a:cubicBezTo>
                  <a:cubicBezTo>
                    <a:pt x="7934" y="17861"/>
                    <a:pt x="7934" y="17861"/>
                    <a:pt x="7934" y="17861"/>
                  </a:cubicBezTo>
                  <a:cubicBezTo>
                    <a:pt x="7954" y="17862"/>
                    <a:pt x="7954" y="17862"/>
                    <a:pt x="7954" y="17862"/>
                  </a:cubicBezTo>
                  <a:cubicBezTo>
                    <a:pt x="7956" y="17918"/>
                    <a:pt x="7956" y="17918"/>
                    <a:pt x="7956" y="17918"/>
                  </a:cubicBezTo>
                  <a:cubicBezTo>
                    <a:pt x="8091" y="17917"/>
                    <a:pt x="8091" y="17917"/>
                    <a:pt x="8091" y="17917"/>
                  </a:cubicBezTo>
                  <a:cubicBezTo>
                    <a:pt x="8096" y="17959"/>
                    <a:pt x="8096" y="17959"/>
                    <a:pt x="8096" y="17959"/>
                  </a:cubicBezTo>
                  <a:cubicBezTo>
                    <a:pt x="8179" y="17961"/>
                    <a:pt x="8179" y="17961"/>
                    <a:pt x="8179" y="17961"/>
                  </a:cubicBezTo>
                  <a:cubicBezTo>
                    <a:pt x="8179" y="17918"/>
                    <a:pt x="8179" y="17918"/>
                    <a:pt x="8179" y="17918"/>
                  </a:cubicBezTo>
                  <a:cubicBezTo>
                    <a:pt x="8262" y="17916"/>
                    <a:pt x="8262" y="17916"/>
                    <a:pt x="8262" y="17916"/>
                  </a:cubicBezTo>
                  <a:cubicBezTo>
                    <a:pt x="8269" y="17915"/>
                    <a:pt x="8269" y="17915"/>
                    <a:pt x="8269" y="17915"/>
                  </a:cubicBezTo>
                  <a:cubicBezTo>
                    <a:pt x="8268" y="17724"/>
                    <a:pt x="8268" y="17724"/>
                    <a:pt x="8268" y="17724"/>
                  </a:cubicBezTo>
                  <a:lnTo>
                    <a:pt x="8133" y="17724"/>
                  </a:lnTo>
                  <a:close/>
                  <a:moveTo>
                    <a:pt x="8166" y="17905"/>
                  </a:moveTo>
                  <a:cubicBezTo>
                    <a:pt x="8166" y="17947"/>
                    <a:pt x="8166" y="17947"/>
                    <a:pt x="8166" y="17947"/>
                  </a:cubicBezTo>
                  <a:cubicBezTo>
                    <a:pt x="8108" y="17946"/>
                    <a:pt x="8108" y="17946"/>
                    <a:pt x="8108" y="17946"/>
                  </a:cubicBezTo>
                  <a:cubicBezTo>
                    <a:pt x="8103" y="17903"/>
                    <a:pt x="8103" y="17903"/>
                    <a:pt x="8103" y="17903"/>
                  </a:cubicBezTo>
                  <a:cubicBezTo>
                    <a:pt x="7969" y="17904"/>
                    <a:pt x="7969" y="17904"/>
                    <a:pt x="7969" y="17904"/>
                  </a:cubicBezTo>
                  <a:cubicBezTo>
                    <a:pt x="7966" y="17849"/>
                    <a:pt x="7966" y="17849"/>
                    <a:pt x="7966" y="17849"/>
                  </a:cubicBezTo>
                  <a:cubicBezTo>
                    <a:pt x="7960" y="17849"/>
                    <a:pt x="7960" y="17849"/>
                    <a:pt x="7960" y="17849"/>
                  </a:cubicBezTo>
                  <a:cubicBezTo>
                    <a:pt x="7941" y="17848"/>
                    <a:pt x="7941" y="17848"/>
                    <a:pt x="7941" y="17848"/>
                  </a:cubicBezTo>
                  <a:cubicBezTo>
                    <a:pt x="7940" y="17805"/>
                    <a:pt x="7940" y="17805"/>
                    <a:pt x="7940" y="17805"/>
                  </a:cubicBezTo>
                  <a:cubicBezTo>
                    <a:pt x="7973" y="17802"/>
                    <a:pt x="7973" y="17802"/>
                    <a:pt x="7973" y="17802"/>
                  </a:cubicBezTo>
                  <a:cubicBezTo>
                    <a:pt x="7970" y="17738"/>
                    <a:pt x="7970" y="17738"/>
                    <a:pt x="7970" y="17738"/>
                  </a:cubicBezTo>
                  <a:cubicBezTo>
                    <a:pt x="8045" y="17737"/>
                    <a:pt x="8045" y="17737"/>
                    <a:pt x="8045" y="17737"/>
                  </a:cubicBezTo>
                  <a:cubicBezTo>
                    <a:pt x="8045" y="17730"/>
                    <a:pt x="8045" y="17730"/>
                    <a:pt x="8045" y="17730"/>
                  </a:cubicBezTo>
                  <a:cubicBezTo>
                    <a:pt x="8044" y="17711"/>
                    <a:pt x="8044" y="17711"/>
                    <a:pt x="8044" y="17711"/>
                  </a:cubicBezTo>
                  <a:cubicBezTo>
                    <a:pt x="8119" y="17708"/>
                    <a:pt x="8119" y="17708"/>
                    <a:pt x="8119" y="17708"/>
                  </a:cubicBezTo>
                  <a:cubicBezTo>
                    <a:pt x="8121" y="17737"/>
                    <a:pt x="8121" y="17737"/>
                    <a:pt x="8121" y="17737"/>
                  </a:cubicBezTo>
                  <a:cubicBezTo>
                    <a:pt x="8255" y="17737"/>
                    <a:pt x="8255" y="17737"/>
                    <a:pt x="8255" y="17737"/>
                  </a:cubicBezTo>
                  <a:cubicBezTo>
                    <a:pt x="8256" y="17903"/>
                    <a:pt x="8256" y="17903"/>
                    <a:pt x="8256" y="17903"/>
                  </a:cubicBezTo>
                  <a:lnTo>
                    <a:pt x="8166" y="17905"/>
                  </a:lnTo>
                  <a:close/>
                  <a:moveTo>
                    <a:pt x="8366" y="17800"/>
                  </a:moveTo>
                  <a:cubicBezTo>
                    <a:pt x="8454" y="17801"/>
                    <a:pt x="8454" y="17801"/>
                    <a:pt x="8454" y="17801"/>
                  </a:cubicBezTo>
                  <a:cubicBezTo>
                    <a:pt x="8461" y="17801"/>
                    <a:pt x="8461" y="17801"/>
                    <a:pt x="8461" y="17801"/>
                  </a:cubicBezTo>
                  <a:cubicBezTo>
                    <a:pt x="8461" y="17706"/>
                    <a:pt x="8461" y="17706"/>
                    <a:pt x="8461" y="17706"/>
                  </a:cubicBezTo>
                  <a:cubicBezTo>
                    <a:pt x="8366" y="17705"/>
                    <a:pt x="8366" y="17705"/>
                    <a:pt x="8366" y="17705"/>
                  </a:cubicBezTo>
                  <a:lnTo>
                    <a:pt x="8366" y="17800"/>
                  </a:lnTo>
                  <a:close/>
                  <a:moveTo>
                    <a:pt x="8379" y="17719"/>
                  </a:moveTo>
                  <a:cubicBezTo>
                    <a:pt x="8448" y="17719"/>
                    <a:pt x="8448" y="17719"/>
                    <a:pt x="8448" y="17719"/>
                  </a:cubicBezTo>
                  <a:cubicBezTo>
                    <a:pt x="8448" y="17788"/>
                    <a:pt x="8448" y="17788"/>
                    <a:pt x="8448" y="17788"/>
                  </a:cubicBezTo>
                  <a:cubicBezTo>
                    <a:pt x="8379" y="17787"/>
                    <a:pt x="8379" y="17787"/>
                    <a:pt x="8379" y="17787"/>
                  </a:cubicBezTo>
                  <a:lnTo>
                    <a:pt x="8379" y="17719"/>
                  </a:lnTo>
                  <a:close/>
                  <a:moveTo>
                    <a:pt x="12657" y="9117"/>
                  </a:moveTo>
                  <a:cubicBezTo>
                    <a:pt x="12555" y="9120"/>
                    <a:pt x="12555" y="9120"/>
                    <a:pt x="12555" y="9120"/>
                  </a:cubicBezTo>
                  <a:cubicBezTo>
                    <a:pt x="12556" y="9127"/>
                    <a:pt x="12556" y="9127"/>
                    <a:pt x="12556" y="9127"/>
                  </a:cubicBezTo>
                  <a:cubicBezTo>
                    <a:pt x="12557" y="9145"/>
                    <a:pt x="12557" y="9145"/>
                    <a:pt x="12557" y="9145"/>
                  </a:cubicBezTo>
                  <a:cubicBezTo>
                    <a:pt x="12481" y="9145"/>
                    <a:pt x="12481" y="9145"/>
                    <a:pt x="12481" y="9145"/>
                  </a:cubicBezTo>
                  <a:cubicBezTo>
                    <a:pt x="12483" y="9211"/>
                    <a:pt x="12483" y="9211"/>
                    <a:pt x="12483" y="9211"/>
                  </a:cubicBezTo>
                  <a:cubicBezTo>
                    <a:pt x="12451" y="9213"/>
                    <a:pt x="12451" y="9213"/>
                    <a:pt x="12451" y="9213"/>
                  </a:cubicBezTo>
                  <a:cubicBezTo>
                    <a:pt x="12452" y="9280"/>
                    <a:pt x="12452" y="9280"/>
                    <a:pt x="12452" y="9280"/>
                  </a:cubicBezTo>
                  <a:cubicBezTo>
                    <a:pt x="12458" y="9281"/>
                    <a:pt x="12458" y="9281"/>
                    <a:pt x="12458" y="9281"/>
                  </a:cubicBezTo>
                  <a:cubicBezTo>
                    <a:pt x="12477" y="9282"/>
                    <a:pt x="12477" y="9282"/>
                    <a:pt x="12477" y="9282"/>
                  </a:cubicBezTo>
                  <a:cubicBezTo>
                    <a:pt x="12479" y="9338"/>
                    <a:pt x="12479" y="9338"/>
                    <a:pt x="12479" y="9338"/>
                  </a:cubicBezTo>
                  <a:cubicBezTo>
                    <a:pt x="12614" y="9339"/>
                    <a:pt x="12614" y="9339"/>
                    <a:pt x="12614" y="9339"/>
                  </a:cubicBezTo>
                  <a:cubicBezTo>
                    <a:pt x="12618" y="9382"/>
                    <a:pt x="12618" y="9382"/>
                    <a:pt x="12618" y="9382"/>
                  </a:cubicBezTo>
                  <a:cubicBezTo>
                    <a:pt x="12701" y="9384"/>
                    <a:pt x="12701" y="9384"/>
                    <a:pt x="12701" y="9384"/>
                  </a:cubicBezTo>
                  <a:cubicBezTo>
                    <a:pt x="12702" y="9341"/>
                    <a:pt x="12702" y="9341"/>
                    <a:pt x="12702" y="9341"/>
                  </a:cubicBezTo>
                  <a:cubicBezTo>
                    <a:pt x="12785" y="9340"/>
                    <a:pt x="12785" y="9340"/>
                    <a:pt x="12785" y="9340"/>
                  </a:cubicBezTo>
                  <a:cubicBezTo>
                    <a:pt x="12792" y="9340"/>
                    <a:pt x="12792" y="9340"/>
                    <a:pt x="12792" y="9340"/>
                  </a:cubicBezTo>
                  <a:cubicBezTo>
                    <a:pt x="12793" y="9148"/>
                    <a:pt x="12793" y="9148"/>
                    <a:pt x="12793" y="9148"/>
                  </a:cubicBezTo>
                  <a:cubicBezTo>
                    <a:pt x="12658" y="9146"/>
                    <a:pt x="12658" y="9146"/>
                    <a:pt x="12658" y="9146"/>
                  </a:cubicBezTo>
                  <a:lnTo>
                    <a:pt x="12657" y="9117"/>
                  </a:lnTo>
                  <a:close/>
                  <a:moveTo>
                    <a:pt x="12779" y="9327"/>
                  </a:moveTo>
                  <a:cubicBezTo>
                    <a:pt x="12689" y="9328"/>
                    <a:pt x="12689" y="9328"/>
                    <a:pt x="12689" y="9328"/>
                  </a:cubicBezTo>
                  <a:cubicBezTo>
                    <a:pt x="12688" y="9370"/>
                    <a:pt x="12688" y="9370"/>
                    <a:pt x="12688" y="9370"/>
                  </a:cubicBezTo>
                  <a:cubicBezTo>
                    <a:pt x="12630" y="9369"/>
                    <a:pt x="12630" y="9369"/>
                    <a:pt x="12630" y="9369"/>
                  </a:cubicBezTo>
                  <a:cubicBezTo>
                    <a:pt x="12625" y="9326"/>
                    <a:pt x="12625" y="9326"/>
                    <a:pt x="12625" y="9326"/>
                  </a:cubicBezTo>
                  <a:cubicBezTo>
                    <a:pt x="12492" y="9325"/>
                    <a:pt x="12492" y="9325"/>
                    <a:pt x="12492" y="9325"/>
                  </a:cubicBezTo>
                  <a:cubicBezTo>
                    <a:pt x="12490" y="9269"/>
                    <a:pt x="12490" y="9269"/>
                    <a:pt x="12490" y="9269"/>
                  </a:cubicBezTo>
                  <a:cubicBezTo>
                    <a:pt x="12484" y="9269"/>
                    <a:pt x="12484" y="9269"/>
                    <a:pt x="12484" y="9269"/>
                  </a:cubicBezTo>
                  <a:cubicBezTo>
                    <a:pt x="12464" y="9268"/>
                    <a:pt x="12464" y="9268"/>
                    <a:pt x="12464" y="9268"/>
                  </a:cubicBezTo>
                  <a:cubicBezTo>
                    <a:pt x="12464" y="9225"/>
                    <a:pt x="12464" y="9225"/>
                    <a:pt x="12464" y="9225"/>
                  </a:cubicBezTo>
                  <a:cubicBezTo>
                    <a:pt x="12497" y="9223"/>
                    <a:pt x="12497" y="9223"/>
                    <a:pt x="12497" y="9223"/>
                  </a:cubicBezTo>
                  <a:cubicBezTo>
                    <a:pt x="12495" y="9158"/>
                    <a:pt x="12495" y="9158"/>
                    <a:pt x="12495" y="9158"/>
                  </a:cubicBezTo>
                  <a:cubicBezTo>
                    <a:pt x="12570" y="9158"/>
                    <a:pt x="12570" y="9158"/>
                    <a:pt x="12570" y="9158"/>
                  </a:cubicBezTo>
                  <a:cubicBezTo>
                    <a:pt x="12570" y="9151"/>
                    <a:pt x="12570" y="9151"/>
                    <a:pt x="12570" y="9151"/>
                  </a:cubicBezTo>
                  <a:cubicBezTo>
                    <a:pt x="12569" y="9133"/>
                    <a:pt x="12569" y="9133"/>
                    <a:pt x="12569" y="9133"/>
                  </a:cubicBezTo>
                  <a:cubicBezTo>
                    <a:pt x="12644" y="9131"/>
                    <a:pt x="12644" y="9131"/>
                    <a:pt x="12644" y="9131"/>
                  </a:cubicBezTo>
                  <a:cubicBezTo>
                    <a:pt x="12646" y="9159"/>
                    <a:pt x="12646" y="9159"/>
                    <a:pt x="12646" y="9159"/>
                  </a:cubicBezTo>
                  <a:cubicBezTo>
                    <a:pt x="12780" y="9161"/>
                    <a:pt x="12780" y="9161"/>
                    <a:pt x="12780" y="9161"/>
                  </a:cubicBezTo>
                  <a:lnTo>
                    <a:pt x="12779" y="9327"/>
                  </a:lnTo>
                  <a:close/>
                  <a:moveTo>
                    <a:pt x="3295" y="16916"/>
                  </a:moveTo>
                  <a:cubicBezTo>
                    <a:pt x="3295" y="16916"/>
                    <a:pt x="3295" y="16916"/>
                    <a:pt x="3295" y="16916"/>
                  </a:cubicBezTo>
                  <a:cubicBezTo>
                    <a:pt x="3295" y="16916"/>
                    <a:pt x="3295" y="16916"/>
                    <a:pt x="3295" y="16916"/>
                  </a:cubicBezTo>
                  <a:close/>
                  <a:moveTo>
                    <a:pt x="4727" y="9557"/>
                  </a:moveTo>
                  <a:cubicBezTo>
                    <a:pt x="4811" y="9553"/>
                    <a:pt x="4811" y="9553"/>
                    <a:pt x="4811" y="9553"/>
                  </a:cubicBezTo>
                  <a:cubicBezTo>
                    <a:pt x="4800" y="9293"/>
                    <a:pt x="4800" y="9293"/>
                    <a:pt x="4800" y="9293"/>
                  </a:cubicBezTo>
                  <a:cubicBezTo>
                    <a:pt x="4716" y="9297"/>
                    <a:pt x="4716" y="9297"/>
                    <a:pt x="4716" y="9297"/>
                  </a:cubicBezTo>
                  <a:cubicBezTo>
                    <a:pt x="4727" y="9550"/>
                    <a:pt x="4727" y="9550"/>
                    <a:pt x="4727" y="9550"/>
                  </a:cubicBezTo>
                  <a:lnTo>
                    <a:pt x="4727" y="9557"/>
                  </a:lnTo>
                  <a:close/>
                  <a:moveTo>
                    <a:pt x="4787" y="9307"/>
                  </a:moveTo>
                  <a:cubicBezTo>
                    <a:pt x="4798" y="9540"/>
                    <a:pt x="4798" y="9540"/>
                    <a:pt x="4798" y="9540"/>
                  </a:cubicBezTo>
                  <a:cubicBezTo>
                    <a:pt x="4740" y="9543"/>
                    <a:pt x="4740" y="9543"/>
                    <a:pt x="4740" y="9543"/>
                  </a:cubicBezTo>
                  <a:cubicBezTo>
                    <a:pt x="4729" y="9309"/>
                    <a:pt x="4729" y="9309"/>
                    <a:pt x="4729" y="9309"/>
                  </a:cubicBezTo>
                  <a:lnTo>
                    <a:pt x="4787" y="9307"/>
                  </a:lnTo>
                  <a:close/>
                  <a:moveTo>
                    <a:pt x="4748" y="9853"/>
                  </a:moveTo>
                  <a:cubicBezTo>
                    <a:pt x="4760" y="10106"/>
                    <a:pt x="4760" y="10106"/>
                    <a:pt x="4760" y="10106"/>
                  </a:cubicBezTo>
                  <a:cubicBezTo>
                    <a:pt x="4760" y="10113"/>
                    <a:pt x="4760" y="10113"/>
                    <a:pt x="4760" y="10113"/>
                  </a:cubicBezTo>
                  <a:cubicBezTo>
                    <a:pt x="4844" y="10109"/>
                    <a:pt x="4844" y="10109"/>
                    <a:pt x="4844" y="10109"/>
                  </a:cubicBezTo>
                  <a:cubicBezTo>
                    <a:pt x="4832" y="9849"/>
                    <a:pt x="4832" y="9849"/>
                    <a:pt x="4832" y="9849"/>
                  </a:cubicBezTo>
                  <a:lnTo>
                    <a:pt x="4748" y="9853"/>
                  </a:lnTo>
                  <a:close/>
                  <a:moveTo>
                    <a:pt x="4773" y="10099"/>
                  </a:moveTo>
                  <a:cubicBezTo>
                    <a:pt x="4762" y="9865"/>
                    <a:pt x="4762" y="9865"/>
                    <a:pt x="4762" y="9865"/>
                  </a:cubicBezTo>
                  <a:cubicBezTo>
                    <a:pt x="4820" y="9863"/>
                    <a:pt x="4820" y="9863"/>
                    <a:pt x="4820" y="9863"/>
                  </a:cubicBezTo>
                  <a:cubicBezTo>
                    <a:pt x="4830" y="10096"/>
                    <a:pt x="4830" y="10096"/>
                    <a:pt x="4830" y="10096"/>
                  </a:cubicBezTo>
                  <a:lnTo>
                    <a:pt x="4773" y="10099"/>
                  </a:lnTo>
                  <a:close/>
                  <a:moveTo>
                    <a:pt x="4968" y="10086"/>
                  </a:moveTo>
                  <a:cubicBezTo>
                    <a:pt x="5052" y="10082"/>
                    <a:pt x="5052" y="10082"/>
                    <a:pt x="5052" y="10082"/>
                  </a:cubicBezTo>
                  <a:cubicBezTo>
                    <a:pt x="5041" y="9823"/>
                    <a:pt x="5041" y="9823"/>
                    <a:pt x="5041" y="9823"/>
                  </a:cubicBezTo>
                  <a:cubicBezTo>
                    <a:pt x="4957" y="9827"/>
                    <a:pt x="4957" y="9827"/>
                    <a:pt x="4957" y="9827"/>
                  </a:cubicBezTo>
                  <a:cubicBezTo>
                    <a:pt x="4968" y="10080"/>
                    <a:pt x="4968" y="10080"/>
                    <a:pt x="4968" y="10080"/>
                  </a:cubicBezTo>
                  <a:lnTo>
                    <a:pt x="4968" y="10086"/>
                  </a:lnTo>
                  <a:close/>
                  <a:moveTo>
                    <a:pt x="5028" y="9836"/>
                  </a:moveTo>
                  <a:cubicBezTo>
                    <a:pt x="5039" y="10070"/>
                    <a:pt x="5039" y="10070"/>
                    <a:pt x="5039" y="10070"/>
                  </a:cubicBezTo>
                  <a:cubicBezTo>
                    <a:pt x="4981" y="10073"/>
                    <a:pt x="4981" y="10073"/>
                    <a:pt x="4981" y="10073"/>
                  </a:cubicBezTo>
                  <a:cubicBezTo>
                    <a:pt x="4970" y="9839"/>
                    <a:pt x="4970" y="9839"/>
                    <a:pt x="4970" y="9839"/>
                  </a:cubicBezTo>
                  <a:lnTo>
                    <a:pt x="5028" y="9836"/>
                  </a:lnTo>
                  <a:close/>
                  <a:moveTo>
                    <a:pt x="5226" y="9774"/>
                  </a:moveTo>
                  <a:cubicBezTo>
                    <a:pt x="5237" y="10027"/>
                    <a:pt x="5237" y="10027"/>
                    <a:pt x="5237" y="10027"/>
                  </a:cubicBezTo>
                  <a:cubicBezTo>
                    <a:pt x="5237" y="10034"/>
                    <a:pt x="5237" y="10034"/>
                    <a:pt x="5237" y="10034"/>
                  </a:cubicBezTo>
                  <a:cubicBezTo>
                    <a:pt x="5321" y="10030"/>
                    <a:pt x="5321" y="10030"/>
                    <a:pt x="5321" y="10030"/>
                  </a:cubicBezTo>
                  <a:cubicBezTo>
                    <a:pt x="5310" y="9770"/>
                    <a:pt x="5310" y="9770"/>
                    <a:pt x="5310" y="9770"/>
                  </a:cubicBezTo>
                  <a:lnTo>
                    <a:pt x="5226" y="9774"/>
                  </a:lnTo>
                  <a:close/>
                  <a:moveTo>
                    <a:pt x="5250" y="10020"/>
                  </a:moveTo>
                  <a:cubicBezTo>
                    <a:pt x="5239" y="9787"/>
                    <a:pt x="5239" y="9787"/>
                    <a:pt x="5239" y="9787"/>
                  </a:cubicBezTo>
                  <a:cubicBezTo>
                    <a:pt x="5297" y="9784"/>
                    <a:pt x="5297" y="9784"/>
                    <a:pt x="5297" y="9784"/>
                  </a:cubicBezTo>
                  <a:cubicBezTo>
                    <a:pt x="5308" y="10018"/>
                    <a:pt x="5308" y="10018"/>
                    <a:pt x="5308" y="10018"/>
                  </a:cubicBezTo>
                  <a:lnTo>
                    <a:pt x="5250" y="10020"/>
                  </a:lnTo>
                  <a:close/>
                  <a:moveTo>
                    <a:pt x="47" y="13597"/>
                  </a:moveTo>
                  <a:cubicBezTo>
                    <a:pt x="69" y="13553"/>
                    <a:pt x="69" y="13553"/>
                    <a:pt x="69" y="13553"/>
                  </a:cubicBezTo>
                  <a:cubicBezTo>
                    <a:pt x="4" y="13521"/>
                    <a:pt x="4" y="13521"/>
                    <a:pt x="4" y="13521"/>
                  </a:cubicBezTo>
                  <a:cubicBezTo>
                    <a:pt x="4" y="13506"/>
                    <a:pt x="4" y="13506"/>
                    <a:pt x="4" y="13506"/>
                  </a:cubicBezTo>
                  <a:cubicBezTo>
                    <a:pt x="86" y="13547"/>
                    <a:pt x="86" y="13547"/>
                    <a:pt x="86" y="13547"/>
                  </a:cubicBezTo>
                  <a:cubicBezTo>
                    <a:pt x="52" y="13615"/>
                    <a:pt x="52" y="13615"/>
                    <a:pt x="52" y="13615"/>
                  </a:cubicBezTo>
                  <a:cubicBezTo>
                    <a:pt x="47" y="13612"/>
                    <a:pt x="47" y="13612"/>
                    <a:pt x="47" y="13612"/>
                  </a:cubicBezTo>
                  <a:cubicBezTo>
                    <a:pt x="4" y="13591"/>
                    <a:pt x="4" y="13591"/>
                    <a:pt x="4" y="13591"/>
                  </a:cubicBezTo>
                  <a:cubicBezTo>
                    <a:pt x="4" y="13576"/>
                    <a:pt x="4" y="13576"/>
                    <a:pt x="4" y="13576"/>
                  </a:cubicBezTo>
                  <a:lnTo>
                    <a:pt x="47" y="13597"/>
                  </a:lnTo>
                  <a:close/>
                  <a:moveTo>
                    <a:pt x="2459" y="16158"/>
                  </a:moveTo>
                  <a:cubicBezTo>
                    <a:pt x="2315" y="16144"/>
                    <a:pt x="2315" y="16144"/>
                    <a:pt x="2315" y="16144"/>
                  </a:cubicBezTo>
                  <a:cubicBezTo>
                    <a:pt x="2308" y="16143"/>
                    <a:pt x="2308" y="16143"/>
                    <a:pt x="2308" y="16143"/>
                  </a:cubicBezTo>
                  <a:cubicBezTo>
                    <a:pt x="2301" y="16219"/>
                    <a:pt x="2301" y="16219"/>
                    <a:pt x="2301" y="16219"/>
                  </a:cubicBezTo>
                  <a:cubicBezTo>
                    <a:pt x="2452" y="16233"/>
                    <a:pt x="2452" y="16233"/>
                    <a:pt x="2452" y="16233"/>
                  </a:cubicBezTo>
                  <a:lnTo>
                    <a:pt x="2459" y="16158"/>
                  </a:lnTo>
                  <a:close/>
                  <a:moveTo>
                    <a:pt x="2440" y="16219"/>
                  </a:moveTo>
                  <a:cubicBezTo>
                    <a:pt x="2315" y="16207"/>
                    <a:pt x="2315" y="16207"/>
                    <a:pt x="2315" y="16207"/>
                  </a:cubicBezTo>
                  <a:cubicBezTo>
                    <a:pt x="2320" y="16158"/>
                    <a:pt x="2320" y="16158"/>
                    <a:pt x="2320" y="16158"/>
                  </a:cubicBezTo>
                  <a:cubicBezTo>
                    <a:pt x="2445" y="16170"/>
                    <a:pt x="2445" y="16170"/>
                    <a:pt x="2445" y="16170"/>
                  </a:cubicBezTo>
                  <a:lnTo>
                    <a:pt x="2440" y="16219"/>
                  </a:lnTo>
                  <a:close/>
                  <a:moveTo>
                    <a:pt x="2140" y="15945"/>
                  </a:moveTo>
                  <a:cubicBezTo>
                    <a:pt x="2132" y="16020"/>
                    <a:pt x="2132" y="16020"/>
                    <a:pt x="2132" y="16020"/>
                  </a:cubicBezTo>
                  <a:cubicBezTo>
                    <a:pt x="2283" y="16035"/>
                    <a:pt x="2283" y="16035"/>
                    <a:pt x="2283" y="16035"/>
                  </a:cubicBezTo>
                  <a:cubicBezTo>
                    <a:pt x="2291" y="15959"/>
                    <a:pt x="2291" y="15959"/>
                    <a:pt x="2291" y="15959"/>
                  </a:cubicBezTo>
                  <a:cubicBezTo>
                    <a:pt x="2146" y="15945"/>
                    <a:pt x="2146" y="15945"/>
                    <a:pt x="2146" y="15945"/>
                  </a:cubicBezTo>
                  <a:lnTo>
                    <a:pt x="2140" y="15945"/>
                  </a:lnTo>
                  <a:close/>
                  <a:moveTo>
                    <a:pt x="2152" y="15959"/>
                  </a:moveTo>
                  <a:cubicBezTo>
                    <a:pt x="2276" y="15971"/>
                    <a:pt x="2276" y="15971"/>
                    <a:pt x="2276" y="15971"/>
                  </a:cubicBezTo>
                  <a:cubicBezTo>
                    <a:pt x="2272" y="16020"/>
                    <a:pt x="2272" y="16020"/>
                    <a:pt x="2272" y="16020"/>
                  </a:cubicBezTo>
                  <a:cubicBezTo>
                    <a:pt x="2147" y="16008"/>
                    <a:pt x="2147" y="16008"/>
                    <a:pt x="2147" y="16008"/>
                  </a:cubicBezTo>
                  <a:lnTo>
                    <a:pt x="2152" y="15959"/>
                  </a:lnTo>
                  <a:close/>
                  <a:moveTo>
                    <a:pt x="3112" y="15856"/>
                  </a:moveTo>
                  <a:cubicBezTo>
                    <a:pt x="2968" y="15842"/>
                    <a:pt x="2968" y="15842"/>
                    <a:pt x="2968" y="15842"/>
                  </a:cubicBezTo>
                  <a:cubicBezTo>
                    <a:pt x="2962" y="15842"/>
                    <a:pt x="2962" y="15842"/>
                    <a:pt x="2962" y="15842"/>
                  </a:cubicBezTo>
                  <a:cubicBezTo>
                    <a:pt x="2954" y="15917"/>
                    <a:pt x="2954" y="15917"/>
                    <a:pt x="2954" y="15917"/>
                  </a:cubicBezTo>
                  <a:cubicBezTo>
                    <a:pt x="3105" y="15931"/>
                    <a:pt x="3105" y="15931"/>
                    <a:pt x="3105" y="15931"/>
                  </a:cubicBezTo>
                  <a:lnTo>
                    <a:pt x="3112" y="15856"/>
                  </a:lnTo>
                  <a:close/>
                  <a:moveTo>
                    <a:pt x="3093" y="15917"/>
                  </a:moveTo>
                  <a:cubicBezTo>
                    <a:pt x="2969" y="15905"/>
                    <a:pt x="2969" y="15905"/>
                    <a:pt x="2969" y="15905"/>
                  </a:cubicBezTo>
                  <a:cubicBezTo>
                    <a:pt x="2973" y="15856"/>
                    <a:pt x="2973" y="15856"/>
                    <a:pt x="2973" y="15856"/>
                  </a:cubicBezTo>
                  <a:cubicBezTo>
                    <a:pt x="3098" y="15868"/>
                    <a:pt x="3098" y="15868"/>
                    <a:pt x="3098" y="15868"/>
                  </a:cubicBezTo>
                  <a:lnTo>
                    <a:pt x="3093" y="15917"/>
                  </a:lnTo>
                  <a:close/>
                  <a:moveTo>
                    <a:pt x="4058" y="16034"/>
                  </a:moveTo>
                  <a:cubicBezTo>
                    <a:pt x="3914" y="16020"/>
                    <a:pt x="3914" y="16020"/>
                    <a:pt x="3914" y="16020"/>
                  </a:cubicBezTo>
                  <a:cubicBezTo>
                    <a:pt x="3907" y="16019"/>
                    <a:pt x="3907" y="16019"/>
                    <a:pt x="3907" y="16019"/>
                  </a:cubicBezTo>
                  <a:cubicBezTo>
                    <a:pt x="3900" y="16094"/>
                    <a:pt x="3900" y="16094"/>
                    <a:pt x="3900" y="16094"/>
                  </a:cubicBezTo>
                  <a:cubicBezTo>
                    <a:pt x="4051" y="16109"/>
                    <a:pt x="4051" y="16109"/>
                    <a:pt x="4051" y="16109"/>
                  </a:cubicBezTo>
                  <a:lnTo>
                    <a:pt x="4058" y="16034"/>
                  </a:lnTo>
                  <a:close/>
                  <a:moveTo>
                    <a:pt x="4039" y="16095"/>
                  </a:moveTo>
                  <a:cubicBezTo>
                    <a:pt x="3914" y="16083"/>
                    <a:pt x="3914" y="16083"/>
                    <a:pt x="3914" y="16083"/>
                  </a:cubicBezTo>
                  <a:cubicBezTo>
                    <a:pt x="3919" y="16033"/>
                    <a:pt x="3919" y="16033"/>
                    <a:pt x="3919" y="16033"/>
                  </a:cubicBezTo>
                  <a:cubicBezTo>
                    <a:pt x="4044" y="16045"/>
                    <a:pt x="4044" y="16045"/>
                    <a:pt x="4044" y="16045"/>
                  </a:cubicBezTo>
                  <a:lnTo>
                    <a:pt x="4039" y="16095"/>
                  </a:lnTo>
                  <a:close/>
                  <a:moveTo>
                    <a:pt x="3735" y="16171"/>
                  </a:moveTo>
                  <a:cubicBezTo>
                    <a:pt x="3727" y="16246"/>
                    <a:pt x="3727" y="16246"/>
                    <a:pt x="3727" y="16246"/>
                  </a:cubicBezTo>
                  <a:cubicBezTo>
                    <a:pt x="3878" y="16261"/>
                    <a:pt x="3878" y="16261"/>
                    <a:pt x="3878" y="16261"/>
                  </a:cubicBezTo>
                  <a:cubicBezTo>
                    <a:pt x="3885" y="16185"/>
                    <a:pt x="3885" y="16185"/>
                    <a:pt x="3885" y="16185"/>
                  </a:cubicBezTo>
                  <a:cubicBezTo>
                    <a:pt x="3741" y="16171"/>
                    <a:pt x="3741" y="16171"/>
                    <a:pt x="3741" y="16171"/>
                  </a:cubicBezTo>
                  <a:lnTo>
                    <a:pt x="3735" y="16171"/>
                  </a:lnTo>
                  <a:close/>
                  <a:moveTo>
                    <a:pt x="3746" y="16185"/>
                  </a:moveTo>
                  <a:cubicBezTo>
                    <a:pt x="3871" y="16197"/>
                    <a:pt x="3871" y="16197"/>
                    <a:pt x="3871" y="16197"/>
                  </a:cubicBezTo>
                  <a:cubicBezTo>
                    <a:pt x="3866" y="16246"/>
                    <a:pt x="3866" y="16246"/>
                    <a:pt x="3866" y="16246"/>
                  </a:cubicBezTo>
                  <a:cubicBezTo>
                    <a:pt x="3742" y="16234"/>
                    <a:pt x="3742" y="16234"/>
                    <a:pt x="3742" y="16234"/>
                  </a:cubicBezTo>
                  <a:lnTo>
                    <a:pt x="3746" y="16185"/>
                  </a:lnTo>
                  <a:close/>
                  <a:moveTo>
                    <a:pt x="2732" y="15983"/>
                  </a:moveTo>
                  <a:cubicBezTo>
                    <a:pt x="2725" y="16058"/>
                    <a:pt x="2725" y="16058"/>
                    <a:pt x="2725" y="16058"/>
                  </a:cubicBezTo>
                  <a:cubicBezTo>
                    <a:pt x="2876" y="16073"/>
                    <a:pt x="2876" y="16073"/>
                    <a:pt x="2876" y="16073"/>
                  </a:cubicBezTo>
                  <a:cubicBezTo>
                    <a:pt x="2883" y="15997"/>
                    <a:pt x="2883" y="15997"/>
                    <a:pt x="2883" y="15997"/>
                  </a:cubicBezTo>
                  <a:cubicBezTo>
                    <a:pt x="2739" y="15983"/>
                    <a:pt x="2739" y="15983"/>
                    <a:pt x="2739" y="15983"/>
                  </a:cubicBezTo>
                  <a:lnTo>
                    <a:pt x="2732" y="15983"/>
                  </a:lnTo>
                  <a:close/>
                  <a:moveTo>
                    <a:pt x="2744" y="15997"/>
                  </a:moveTo>
                  <a:cubicBezTo>
                    <a:pt x="2869" y="16009"/>
                    <a:pt x="2869" y="16009"/>
                    <a:pt x="2869" y="16009"/>
                  </a:cubicBezTo>
                  <a:cubicBezTo>
                    <a:pt x="2864" y="16058"/>
                    <a:pt x="2864" y="16058"/>
                    <a:pt x="2864" y="16058"/>
                  </a:cubicBezTo>
                  <a:cubicBezTo>
                    <a:pt x="2739" y="16046"/>
                    <a:pt x="2739" y="16046"/>
                    <a:pt x="2739" y="16046"/>
                  </a:cubicBezTo>
                  <a:lnTo>
                    <a:pt x="2744" y="15997"/>
                  </a:lnTo>
                  <a:close/>
                  <a:moveTo>
                    <a:pt x="6341" y="16008"/>
                  </a:moveTo>
                  <a:cubicBezTo>
                    <a:pt x="6334" y="16008"/>
                    <a:pt x="6334" y="16008"/>
                    <a:pt x="6334" y="16008"/>
                  </a:cubicBezTo>
                  <a:cubicBezTo>
                    <a:pt x="6335" y="16084"/>
                    <a:pt x="6335" y="16084"/>
                    <a:pt x="6335" y="16084"/>
                  </a:cubicBezTo>
                  <a:cubicBezTo>
                    <a:pt x="6486" y="16083"/>
                    <a:pt x="6486" y="16083"/>
                    <a:pt x="6486" y="16083"/>
                  </a:cubicBezTo>
                  <a:cubicBezTo>
                    <a:pt x="6486" y="16007"/>
                    <a:pt x="6486" y="16007"/>
                    <a:pt x="6486" y="16007"/>
                  </a:cubicBezTo>
                  <a:lnTo>
                    <a:pt x="6341" y="16008"/>
                  </a:lnTo>
                  <a:close/>
                  <a:moveTo>
                    <a:pt x="6348" y="16071"/>
                  </a:moveTo>
                  <a:cubicBezTo>
                    <a:pt x="6347" y="16021"/>
                    <a:pt x="6347" y="16021"/>
                    <a:pt x="6347" y="16021"/>
                  </a:cubicBezTo>
                  <a:cubicBezTo>
                    <a:pt x="6472" y="16020"/>
                    <a:pt x="6472" y="16020"/>
                    <a:pt x="6472" y="16020"/>
                  </a:cubicBezTo>
                  <a:cubicBezTo>
                    <a:pt x="6473" y="16070"/>
                    <a:pt x="6473" y="16070"/>
                    <a:pt x="6473" y="16070"/>
                  </a:cubicBezTo>
                  <a:lnTo>
                    <a:pt x="6348" y="16071"/>
                  </a:lnTo>
                  <a:close/>
                  <a:moveTo>
                    <a:pt x="6588" y="15726"/>
                  </a:moveTo>
                  <a:cubicBezTo>
                    <a:pt x="6518" y="15727"/>
                    <a:pt x="6518" y="15727"/>
                    <a:pt x="6518" y="15727"/>
                  </a:cubicBezTo>
                  <a:cubicBezTo>
                    <a:pt x="6519" y="15878"/>
                    <a:pt x="6519" y="15878"/>
                    <a:pt x="6519" y="15878"/>
                  </a:cubicBezTo>
                  <a:cubicBezTo>
                    <a:pt x="6590" y="15878"/>
                    <a:pt x="6590" y="15878"/>
                    <a:pt x="6590" y="15878"/>
                  </a:cubicBezTo>
                  <a:cubicBezTo>
                    <a:pt x="6588" y="15733"/>
                    <a:pt x="6588" y="15733"/>
                    <a:pt x="6588" y="15733"/>
                  </a:cubicBezTo>
                  <a:lnTo>
                    <a:pt x="6588" y="15726"/>
                  </a:lnTo>
                  <a:close/>
                  <a:moveTo>
                    <a:pt x="6532" y="15865"/>
                  </a:moveTo>
                  <a:cubicBezTo>
                    <a:pt x="6531" y="15740"/>
                    <a:pt x="6531" y="15740"/>
                    <a:pt x="6531" y="15740"/>
                  </a:cubicBezTo>
                  <a:cubicBezTo>
                    <a:pt x="6575" y="15740"/>
                    <a:pt x="6575" y="15740"/>
                    <a:pt x="6575" y="15740"/>
                  </a:cubicBezTo>
                  <a:cubicBezTo>
                    <a:pt x="6576" y="15865"/>
                    <a:pt x="6576" y="15865"/>
                    <a:pt x="6576" y="15865"/>
                  </a:cubicBezTo>
                  <a:lnTo>
                    <a:pt x="6532" y="15865"/>
                  </a:lnTo>
                  <a:close/>
                  <a:moveTo>
                    <a:pt x="6295" y="15833"/>
                  </a:moveTo>
                  <a:cubicBezTo>
                    <a:pt x="6294" y="15688"/>
                    <a:pt x="6294" y="15688"/>
                    <a:pt x="6294" y="15688"/>
                  </a:cubicBezTo>
                  <a:cubicBezTo>
                    <a:pt x="6294" y="15681"/>
                    <a:pt x="6294" y="15681"/>
                    <a:pt x="6294" y="15681"/>
                  </a:cubicBezTo>
                  <a:cubicBezTo>
                    <a:pt x="6223" y="15682"/>
                    <a:pt x="6223" y="15682"/>
                    <a:pt x="6223" y="15682"/>
                  </a:cubicBezTo>
                  <a:cubicBezTo>
                    <a:pt x="6224" y="15833"/>
                    <a:pt x="6224" y="15833"/>
                    <a:pt x="6224" y="15833"/>
                  </a:cubicBezTo>
                  <a:lnTo>
                    <a:pt x="6295" y="15833"/>
                  </a:lnTo>
                  <a:close/>
                  <a:moveTo>
                    <a:pt x="6281" y="15694"/>
                  </a:moveTo>
                  <a:cubicBezTo>
                    <a:pt x="6282" y="15820"/>
                    <a:pt x="6282" y="15820"/>
                    <a:pt x="6282" y="15820"/>
                  </a:cubicBezTo>
                  <a:cubicBezTo>
                    <a:pt x="6237" y="15820"/>
                    <a:pt x="6237" y="15820"/>
                    <a:pt x="6237" y="15820"/>
                  </a:cubicBezTo>
                  <a:cubicBezTo>
                    <a:pt x="6237" y="15695"/>
                    <a:pt x="6237" y="15695"/>
                    <a:pt x="6237" y="15695"/>
                  </a:cubicBezTo>
                  <a:lnTo>
                    <a:pt x="6281" y="15694"/>
                  </a:lnTo>
                  <a:close/>
                  <a:moveTo>
                    <a:pt x="5873" y="15076"/>
                  </a:moveTo>
                  <a:cubicBezTo>
                    <a:pt x="5944" y="15076"/>
                    <a:pt x="5944" y="15076"/>
                    <a:pt x="5944" y="15076"/>
                  </a:cubicBezTo>
                  <a:cubicBezTo>
                    <a:pt x="5943" y="14946"/>
                    <a:pt x="5943" y="14946"/>
                    <a:pt x="5943" y="14946"/>
                  </a:cubicBezTo>
                  <a:cubicBezTo>
                    <a:pt x="6002" y="14945"/>
                    <a:pt x="6002" y="14945"/>
                    <a:pt x="6002" y="14945"/>
                  </a:cubicBezTo>
                  <a:cubicBezTo>
                    <a:pt x="6001" y="14800"/>
                    <a:pt x="6001" y="14800"/>
                    <a:pt x="6001" y="14800"/>
                  </a:cubicBezTo>
                  <a:cubicBezTo>
                    <a:pt x="6001" y="14794"/>
                    <a:pt x="6001" y="14794"/>
                    <a:pt x="6001" y="14794"/>
                  </a:cubicBezTo>
                  <a:cubicBezTo>
                    <a:pt x="5930" y="14794"/>
                    <a:pt x="5930" y="14794"/>
                    <a:pt x="5930" y="14794"/>
                  </a:cubicBezTo>
                  <a:cubicBezTo>
                    <a:pt x="5931" y="14924"/>
                    <a:pt x="5931" y="14924"/>
                    <a:pt x="5931" y="14924"/>
                  </a:cubicBezTo>
                  <a:cubicBezTo>
                    <a:pt x="5872" y="14925"/>
                    <a:pt x="5872" y="14925"/>
                    <a:pt x="5872" y="14925"/>
                  </a:cubicBezTo>
                  <a:lnTo>
                    <a:pt x="5873" y="15076"/>
                  </a:lnTo>
                  <a:close/>
                  <a:moveTo>
                    <a:pt x="5988" y="14807"/>
                  </a:moveTo>
                  <a:cubicBezTo>
                    <a:pt x="5989" y="14932"/>
                    <a:pt x="5989" y="14932"/>
                    <a:pt x="5989" y="14932"/>
                  </a:cubicBezTo>
                  <a:cubicBezTo>
                    <a:pt x="5944" y="14933"/>
                    <a:pt x="5944" y="14933"/>
                    <a:pt x="5944" y="14933"/>
                  </a:cubicBezTo>
                  <a:cubicBezTo>
                    <a:pt x="5943" y="14807"/>
                    <a:pt x="5943" y="14807"/>
                    <a:pt x="5943" y="14807"/>
                  </a:cubicBezTo>
                  <a:lnTo>
                    <a:pt x="5988" y="14807"/>
                  </a:lnTo>
                  <a:close/>
                  <a:moveTo>
                    <a:pt x="5930" y="14938"/>
                  </a:moveTo>
                  <a:cubicBezTo>
                    <a:pt x="5931" y="15063"/>
                    <a:pt x="5931" y="15063"/>
                    <a:pt x="5931" y="15063"/>
                  </a:cubicBezTo>
                  <a:cubicBezTo>
                    <a:pt x="5886" y="15063"/>
                    <a:pt x="5886" y="15063"/>
                    <a:pt x="5886" y="15063"/>
                  </a:cubicBezTo>
                  <a:cubicBezTo>
                    <a:pt x="5885" y="14938"/>
                    <a:pt x="5885" y="14938"/>
                    <a:pt x="5885" y="14938"/>
                  </a:cubicBezTo>
                  <a:lnTo>
                    <a:pt x="5930" y="14938"/>
                  </a:lnTo>
                  <a:close/>
                  <a:moveTo>
                    <a:pt x="6723" y="14855"/>
                  </a:moveTo>
                  <a:cubicBezTo>
                    <a:pt x="6721" y="14710"/>
                    <a:pt x="6721" y="14710"/>
                    <a:pt x="6721" y="14710"/>
                  </a:cubicBezTo>
                  <a:cubicBezTo>
                    <a:pt x="6721" y="14704"/>
                    <a:pt x="6721" y="14704"/>
                    <a:pt x="6721" y="14704"/>
                  </a:cubicBezTo>
                  <a:cubicBezTo>
                    <a:pt x="6651" y="14704"/>
                    <a:pt x="6651" y="14704"/>
                    <a:pt x="6651" y="14704"/>
                  </a:cubicBezTo>
                  <a:cubicBezTo>
                    <a:pt x="6652" y="14856"/>
                    <a:pt x="6652" y="14856"/>
                    <a:pt x="6652" y="14856"/>
                  </a:cubicBezTo>
                  <a:lnTo>
                    <a:pt x="6723" y="14855"/>
                  </a:lnTo>
                  <a:close/>
                  <a:moveTo>
                    <a:pt x="6708" y="14717"/>
                  </a:moveTo>
                  <a:cubicBezTo>
                    <a:pt x="6709" y="14842"/>
                    <a:pt x="6709" y="14842"/>
                    <a:pt x="6709" y="14842"/>
                  </a:cubicBezTo>
                  <a:cubicBezTo>
                    <a:pt x="6665" y="14842"/>
                    <a:pt x="6665" y="14842"/>
                    <a:pt x="6665" y="14842"/>
                  </a:cubicBezTo>
                  <a:cubicBezTo>
                    <a:pt x="6664" y="14717"/>
                    <a:pt x="6664" y="14717"/>
                    <a:pt x="6664" y="14717"/>
                  </a:cubicBezTo>
                  <a:lnTo>
                    <a:pt x="6708" y="14717"/>
                  </a:lnTo>
                  <a:close/>
                  <a:moveTo>
                    <a:pt x="7406" y="13649"/>
                  </a:moveTo>
                  <a:cubicBezTo>
                    <a:pt x="7399" y="13649"/>
                    <a:pt x="7399" y="13649"/>
                    <a:pt x="7399" y="13649"/>
                  </a:cubicBezTo>
                  <a:cubicBezTo>
                    <a:pt x="7401" y="13720"/>
                    <a:pt x="7401" y="13720"/>
                    <a:pt x="7401" y="13720"/>
                  </a:cubicBezTo>
                  <a:cubicBezTo>
                    <a:pt x="7552" y="13717"/>
                    <a:pt x="7552" y="13717"/>
                    <a:pt x="7552" y="13717"/>
                  </a:cubicBezTo>
                  <a:cubicBezTo>
                    <a:pt x="7551" y="13646"/>
                    <a:pt x="7551" y="13646"/>
                    <a:pt x="7551" y="13646"/>
                  </a:cubicBezTo>
                  <a:lnTo>
                    <a:pt x="7406" y="13649"/>
                  </a:lnTo>
                  <a:close/>
                  <a:moveTo>
                    <a:pt x="7414" y="13706"/>
                  </a:moveTo>
                  <a:cubicBezTo>
                    <a:pt x="7413" y="13662"/>
                    <a:pt x="7413" y="13662"/>
                    <a:pt x="7413" y="13662"/>
                  </a:cubicBezTo>
                  <a:cubicBezTo>
                    <a:pt x="7538" y="13659"/>
                    <a:pt x="7538" y="13659"/>
                    <a:pt x="7538" y="13659"/>
                  </a:cubicBezTo>
                  <a:cubicBezTo>
                    <a:pt x="7539" y="13704"/>
                    <a:pt x="7539" y="13704"/>
                    <a:pt x="7539" y="13704"/>
                  </a:cubicBezTo>
                  <a:lnTo>
                    <a:pt x="7414" y="13706"/>
                  </a:lnTo>
                  <a:close/>
                  <a:moveTo>
                    <a:pt x="5416" y="11921"/>
                  </a:moveTo>
                  <a:cubicBezTo>
                    <a:pt x="5271" y="11911"/>
                    <a:pt x="5271" y="11911"/>
                    <a:pt x="5271" y="11911"/>
                  </a:cubicBezTo>
                  <a:cubicBezTo>
                    <a:pt x="5265" y="11911"/>
                    <a:pt x="5265" y="11911"/>
                    <a:pt x="5265" y="11911"/>
                  </a:cubicBezTo>
                  <a:cubicBezTo>
                    <a:pt x="5260" y="11981"/>
                    <a:pt x="5260" y="11981"/>
                    <a:pt x="5260" y="11981"/>
                  </a:cubicBezTo>
                  <a:cubicBezTo>
                    <a:pt x="5411" y="11991"/>
                    <a:pt x="5411" y="11991"/>
                    <a:pt x="5411" y="11991"/>
                  </a:cubicBezTo>
                  <a:lnTo>
                    <a:pt x="5416" y="11921"/>
                  </a:lnTo>
                  <a:close/>
                  <a:moveTo>
                    <a:pt x="5399" y="11977"/>
                  </a:moveTo>
                  <a:cubicBezTo>
                    <a:pt x="5274" y="11969"/>
                    <a:pt x="5274" y="11969"/>
                    <a:pt x="5274" y="11969"/>
                  </a:cubicBezTo>
                  <a:cubicBezTo>
                    <a:pt x="5277" y="11925"/>
                    <a:pt x="5277" y="11925"/>
                    <a:pt x="5277" y="11925"/>
                  </a:cubicBezTo>
                  <a:cubicBezTo>
                    <a:pt x="5402" y="11933"/>
                    <a:pt x="5402" y="11933"/>
                    <a:pt x="5402" y="11933"/>
                  </a:cubicBezTo>
                  <a:lnTo>
                    <a:pt x="5399" y="11977"/>
                  </a:lnTo>
                  <a:close/>
                  <a:moveTo>
                    <a:pt x="5184" y="11817"/>
                  </a:moveTo>
                  <a:cubicBezTo>
                    <a:pt x="5183" y="11823"/>
                    <a:pt x="5183" y="11823"/>
                    <a:pt x="5183" y="11823"/>
                  </a:cubicBezTo>
                  <a:cubicBezTo>
                    <a:pt x="5254" y="11828"/>
                    <a:pt x="5254" y="11828"/>
                    <a:pt x="5254" y="11828"/>
                  </a:cubicBezTo>
                  <a:cubicBezTo>
                    <a:pt x="5264" y="11677"/>
                    <a:pt x="5264" y="11677"/>
                    <a:pt x="5264" y="11677"/>
                  </a:cubicBezTo>
                  <a:cubicBezTo>
                    <a:pt x="5194" y="11672"/>
                    <a:pt x="5194" y="11672"/>
                    <a:pt x="5194" y="11672"/>
                  </a:cubicBezTo>
                  <a:lnTo>
                    <a:pt x="5184" y="11817"/>
                  </a:lnTo>
                  <a:close/>
                  <a:moveTo>
                    <a:pt x="5206" y="11686"/>
                  </a:moveTo>
                  <a:cubicBezTo>
                    <a:pt x="5250" y="11689"/>
                    <a:pt x="5250" y="11689"/>
                    <a:pt x="5250" y="11689"/>
                  </a:cubicBezTo>
                  <a:cubicBezTo>
                    <a:pt x="5242" y="11814"/>
                    <a:pt x="5242" y="11814"/>
                    <a:pt x="5242" y="11814"/>
                  </a:cubicBezTo>
                  <a:cubicBezTo>
                    <a:pt x="5197" y="11811"/>
                    <a:pt x="5197" y="11811"/>
                    <a:pt x="5197" y="11811"/>
                  </a:cubicBezTo>
                  <a:lnTo>
                    <a:pt x="5206" y="11686"/>
                  </a:lnTo>
                  <a:close/>
                  <a:moveTo>
                    <a:pt x="5440" y="11687"/>
                  </a:moveTo>
                  <a:cubicBezTo>
                    <a:pt x="5370" y="11682"/>
                    <a:pt x="5370" y="11682"/>
                    <a:pt x="5370" y="11682"/>
                  </a:cubicBezTo>
                  <a:cubicBezTo>
                    <a:pt x="5360" y="11827"/>
                    <a:pt x="5360" y="11827"/>
                    <a:pt x="5360" y="11827"/>
                  </a:cubicBezTo>
                  <a:cubicBezTo>
                    <a:pt x="5359" y="11833"/>
                    <a:pt x="5359" y="11833"/>
                    <a:pt x="5359" y="11833"/>
                  </a:cubicBezTo>
                  <a:cubicBezTo>
                    <a:pt x="5430" y="11838"/>
                    <a:pt x="5430" y="11838"/>
                    <a:pt x="5430" y="11838"/>
                  </a:cubicBezTo>
                  <a:lnTo>
                    <a:pt x="5440" y="11687"/>
                  </a:lnTo>
                  <a:close/>
                  <a:moveTo>
                    <a:pt x="5418" y="11824"/>
                  </a:moveTo>
                  <a:cubicBezTo>
                    <a:pt x="5373" y="11821"/>
                    <a:pt x="5373" y="11821"/>
                    <a:pt x="5373" y="11821"/>
                  </a:cubicBezTo>
                  <a:cubicBezTo>
                    <a:pt x="5382" y="11696"/>
                    <a:pt x="5382" y="11696"/>
                    <a:pt x="5382" y="11696"/>
                  </a:cubicBezTo>
                  <a:cubicBezTo>
                    <a:pt x="5427" y="11699"/>
                    <a:pt x="5427" y="11699"/>
                    <a:pt x="5427" y="11699"/>
                  </a:cubicBezTo>
                  <a:lnTo>
                    <a:pt x="5418" y="11824"/>
                  </a:lnTo>
                  <a:close/>
                  <a:moveTo>
                    <a:pt x="5756" y="11847"/>
                  </a:moveTo>
                  <a:cubicBezTo>
                    <a:pt x="5755" y="11854"/>
                    <a:pt x="5755" y="11854"/>
                    <a:pt x="5755" y="11854"/>
                  </a:cubicBezTo>
                  <a:cubicBezTo>
                    <a:pt x="5826" y="11859"/>
                    <a:pt x="5826" y="11859"/>
                    <a:pt x="5826" y="11859"/>
                  </a:cubicBezTo>
                  <a:cubicBezTo>
                    <a:pt x="5836" y="11708"/>
                    <a:pt x="5836" y="11708"/>
                    <a:pt x="5836" y="11708"/>
                  </a:cubicBezTo>
                  <a:cubicBezTo>
                    <a:pt x="5766" y="11703"/>
                    <a:pt x="5766" y="11703"/>
                    <a:pt x="5766" y="11703"/>
                  </a:cubicBezTo>
                  <a:lnTo>
                    <a:pt x="5756" y="11847"/>
                  </a:lnTo>
                  <a:close/>
                  <a:moveTo>
                    <a:pt x="5778" y="11717"/>
                  </a:moveTo>
                  <a:cubicBezTo>
                    <a:pt x="5822" y="11720"/>
                    <a:pt x="5822" y="11720"/>
                    <a:pt x="5822" y="11720"/>
                  </a:cubicBezTo>
                  <a:cubicBezTo>
                    <a:pt x="5813" y="11845"/>
                    <a:pt x="5813" y="11845"/>
                    <a:pt x="5813" y="11845"/>
                  </a:cubicBezTo>
                  <a:cubicBezTo>
                    <a:pt x="5769" y="11842"/>
                    <a:pt x="5769" y="11842"/>
                    <a:pt x="5769" y="11842"/>
                  </a:cubicBezTo>
                  <a:lnTo>
                    <a:pt x="5778" y="11717"/>
                  </a:lnTo>
                  <a:close/>
                  <a:moveTo>
                    <a:pt x="7585" y="13647"/>
                  </a:moveTo>
                  <a:cubicBezTo>
                    <a:pt x="7579" y="13647"/>
                    <a:pt x="7579" y="13647"/>
                    <a:pt x="7579" y="13647"/>
                  </a:cubicBezTo>
                  <a:cubicBezTo>
                    <a:pt x="7580" y="13718"/>
                    <a:pt x="7580" y="13718"/>
                    <a:pt x="7580" y="13718"/>
                  </a:cubicBezTo>
                  <a:cubicBezTo>
                    <a:pt x="7732" y="13715"/>
                    <a:pt x="7732" y="13715"/>
                    <a:pt x="7732" y="13715"/>
                  </a:cubicBezTo>
                  <a:cubicBezTo>
                    <a:pt x="7730" y="13644"/>
                    <a:pt x="7730" y="13644"/>
                    <a:pt x="7730" y="13644"/>
                  </a:cubicBezTo>
                  <a:lnTo>
                    <a:pt x="7585" y="13647"/>
                  </a:lnTo>
                  <a:close/>
                  <a:moveTo>
                    <a:pt x="7593" y="13704"/>
                  </a:moveTo>
                  <a:cubicBezTo>
                    <a:pt x="7592" y="13660"/>
                    <a:pt x="7592" y="13660"/>
                    <a:pt x="7592" y="13660"/>
                  </a:cubicBezTo>
                  <a:cubicBezTo>
                    <a:pt x="7717" y="13657"/>
                    <a:pt x="7717" y="13657"/>
                    <a:pt x="7717" y="13657"/>
                  </a:cubicBezTo>
                  <a:cubicBezTo>
                    <a:pt x="7718" y="13702"/>
                    <a:pt x="7718" y="13702"/>
                    <a:pt x="7718" y="13702"/>
                  </a:cubicBezTo>
                  <a:lnTo>
                    <a:pt x="7593" y="13704"/>
                  </a:lnTo>
                  <a:close/>
                  <a:moveTo>
                    <a:pt x="7772" y="13640"/>
                  </a:moveTo>
                  <a:cubicBezTo>
                    <a:pt x="7765" y="13640"/>
                    <a:pt x="7765" y="13640"/>
                    <a:pt x="7765" y="13640"/>
                  </a:cubicBezTo>
                  <a:cubicBezTo>
                    <a:pt x="7767" y="13711"/>
                    <a:pt x="7767" y="13711"/>
                    <a:pt x="7767" y="13711"/>
                  </a:cubicBezTo>
                  <a:cubicBezTo>
                    <a:pt x="7918" y="13707"/>
                    <a:pt x="7918" y="13707"/>
                    <a:pt x="7918" y="13707"/>
                  </a:cubicBezTo>
                  <a:cubicBezTo>
                    <a:pt x="7917" y="13637"/>
                    <a:pt x="7917" y="13637"/>
                    <a:pt x="7917" y="13637"/>
                  </a:cubicBezTo>
                  <a:lnTo>
                    <a:pt x="7772" y="13640"/>
                  </a:lnTo>
                  <a:close/>
                  <a:moveTo>
                    <a:pt x="7780" y="13697"/>
                  </a:moveTo>
                  <a:cubicBezTo>
                    <a:pt x="7779" y="13653"/>
                    <a:pt x="7779" y="13653"/>
                    <a:pt x="7779" y="13653"/>
                  </a:cubicBezTo>
                  <a:cubicBezTo>
                    <a:pt x="7904" y="13650"/>
                    <a:pt x="7904" y="13650"/>
                    <a:pt x="7904" y="13650"/>
                  </a:cubicBezTo>
                  <a:cubicBezTo>
                    <a:pt x="7905" y="13695"/>
                    <a:pt x="7905" y="13695"/>
                    <a:pt x="7905" y="13695"/>
                  </a:cubicBezTo>
                  <a:lnTo>
                    <a:pt x="7780" y="13697"/>
                  </a:lnTo>
                  <a:close/>
                  <a:moveTo>
                    <a:pt x="8094" y="13698"/>
                  </a:moveTo>
                  <a:cubicBezTo>
                    <a:pt x="8093" y="13628"/>
                    <a:pt x="8093" y="13628"/>
                    <a:pt x="8093" y="13628"/>
                  </a:cubicBezTo>
                  <a:cubicBezTo>
                    <a:pt x="7948" y="13631"/>
                    <a:pt x="7948" y="13631"/>
                    <a:pt x="7948" y="13631"/>
                  </a:cubicBezTo>
                  <a:cubicBezTo>
                    <a:pt x="7941" y="13631"/>
                    <a:pt x="7941" y="13631"/>
                    <a:pt x="7941" y="13631"/>
                  </a:cubicBezTo>
                  <a:cubicBezTo>
                    <a:pt x="7943" y="13701"/>
                    <a:pt x="7943" y="13701"/>
                    <a:pt x="7943" y="13701"/>
                  </a:cubicBezTo>
                  <a:lnTo>
                    <a:pt x="8094" y="13698"/>
                  </a:lnTo>
                  <a:close/>
                  <a:moveTo>
                    <a:pt x="8080" y="13641"/>
                  </a:moveTo>
                  <a:cubicBezTo>
                    <a:pt x="8081" y="13685"/>
                    <a:pt x="8081" y="13685"/>
                    <a:pt x="8081" y="13685"/>
                  </a:cubicBezTo>
                  <a:cubicBezTo>
                    <a:pt x="7956" y="13688"/>
                    <a:pt x="7956" y="13688"/>
                    <a:pt x="7956" y="13688"/>
                  </a:cubicBezTo>
                  <a:cubicBezTo>
                    <a:pt x="7955" y="13644"/>
                    <a:pt x="7955" y="13644"/>
                    <a:pt x="7955" y="13644"/>
                  </a:cubicBezTo>
                  <a:lnTo>
                    <a:pt x="8080" y="13641"/>
                  </a:lnTo>
                  <a:close/>
                  <a:moveTo>
                    <a:pt x="8291" y="13612"/>
                  </a:moveTo>
                  <a:cubicBezTo>
                    <a:pt x="8285" y="13612"/>
                    <a:pt x="8285" y="13612"/>
                    <a:pt x="8285" y="13612"/>
                  </a:cubicBezTo>
                  <a:cubicBezTo>
                    <a:pt x="8286" y="13683"/>
                    <a:pt x="8286" y="13683"/>
                    <a:pt x="8286" y="13683"/>
                  </a:cubicBezTo>
                  <a:cubicBezTo>
                    <a:pt x="8438" y="13680"/>
                    <a:pt x="8438" y="13680"/>
                    <a:pt x="8438" y="13680"/>
                  </a:cubicBezTo>
                  <a:cubicBezTo>
                    <a:pt x="8436" y="13609"/>
                    <a:pt x="8436" y="13609"/>
                    <a:pt x="8436" y="13609"/>
                  </a:cubicBezTo>
                  <a:lnTo>
                    <a:pt x="8291" y="13612"/>
                  </a:lnTo>
                  <a:close/>
                  <a:moveTo>
                    <a:pt x="8299" y="13670"/>
                  </a:moveTo>
                  <a:cubicBezTo>
                    <a:pt x="8298" y="13625"/>
                    <a:pt x="8298" y="13625"/>
                    <a:pt x="8298" y="13625"/>
                  </a:cubicBezTo>
                  <a:cubicBezTo>
                    <a:pt x="8423" y="13623"/>
                    <a:pt x="8423" y="13623"/>
                    <a:pt x="8423" y="13623"/>
                  </a:cubicBezTo>
                  <a:cubicBezTo>
                    <a:pt x="8424" y="13667"/>
                    <a:pt x="8424" y="13667"/>
                    <a:pt x="8424" y="13667"/>
                  </a:cubicBezTo>
                  <a:lnTo>
                    <a:pt x="8299" y="13670"/>
                  </a:lnTo>
                  <a:close/>
                  <a:moveTo>
                    <a:pt x="6560" y="15577"/>
                  </a:moveTo>
                  <a:cubicBezTo>
                    <a:pt x="6560" y="15506"/>
                    <a:pt x="6560" y="15506"/>
                    <a:pt x="6560" y="15506"/>
                  </a:cubicBezTo>
                  <a:cubicBezTo>
                    <a:pt x="6415" y="15506"/>
                    <a:pt x="6415" y="15506"/>
                    <a:pt x="6415" y="15506"/>
                  </a:cubicBezTo>
                  <a:cubicBezTo>
                    <a:pt x="6408" y="15506"/>
                    <a:pt x="6408" y="15506"/>
                    <a:pt x="6408" y="15506"/>
                  </a:cubicBezTo>
                  <a:cubicBezTo>
                    <a:pt x="6408" y="15577"/>
                    <a:pt x="6408" y="15577"/>
                    <a:pt x="6408" y="15577"/>
                  </a:cubicBezTo>
                  <a:lnTo>
                    <a:pt x="6560" y="15577"/>
                  </a:lnTo>
                  <a:close/>
                  <a:moveTo>
                    <a:pt x="6546" y="15519"/>
                  </a:moveTo>
                  <a:cubicBezTo>
                    <a:pt x="6547" y="15564"/>
                    <a:pt x="6547" y="15564"/>
                    <a:pt x="6547" y="15564"/>
                  </a:cubicBezTo>
                  <a:cubicBezTo>
                    <a:pt x="6421" y="15564"/>
                    <a:pt x="6421" y="15564"/>
                    <a:pt x="6421" y="15564"/>
                  </a:cubicBezTo>
                  <a:cubicBezTo>
                    <a:pt x="6421" y="15519"/>
                    <a:pt x="6421" y="15519"/>
                    <a:pt x="6421" y="15519"/>
                  </a:cubicBezTo>
                  <a:lnTo>
                    <a:pt x="6546" y="15519"/>
                  </a:lnTo>
                  <a:close/>
                  <a:moveTo>
                    <a:pt x="6328" y="16221"/>
                  </a:moveTo>
                  <a:cubicBezTo>
                    <a:pt x="6321" y="16221"/>
                    <a:pt x="6321" y="16221"/>
                    <a:pt x="6321" y="16221"/>
                  </a:cubicBezTo>
                  <a:cubicBezTo>
                    <a:pt x="6322" y="16297"/>
                    <a:pt x="6322" y="16297"/>
                    <a:pt x="6322" y="16297"/>
                  </a:cubicBezTo>
                  <a:cubicBezTo>
                    <a:pt x="6473" y="16295"/>
                    <a:pt x="6473" y="16295"/>
                    <a:pt x="6473" y="16295"/>
                  </a:cubicBezTo>
                  <a:cubicBezTo>
                    <a:pt x="6473" y="16220"/>
                    <a:pt x="6473" y="16220"/>
                    <a:pt x="6473" y="16220"/>
                  </a:cubicBezTo>
                  <a:lnTo>
                    <a:pt x="6328" y="16221"/>
                  </a:lnTo>
                  <a:close/>
                  <a:moveTo>
                    <a:pt x="6335" y="16283"/>
                  </a:moveTo>
                  <a:cubicBezTo>
                    <a:pt x="6335" y="16234"/>
                    <a:pt x="6335" y="16234"/>
                    <a:pt x="6335" y="16234"/>
                  </a:cubicBezTo>
                  <a:cubicBezTo>
                    <a:pt x="6460" y="16233"/>
                    <a:pt x="6460" y="16233"/>
                    <a:pt x="6460" y="16233"/>
                  </a:cubicBezTo>
                  <a:cubicBezTo>
                    <a:pt x="6460" y="16283"/>
                    <a:pt x="6460" y="16283"/>
                    <a:pt x="6460" y="16283"/>
                  </a:cubicBezTo>
                  <a:lnTo>
                    <a:pt x="6335" y="16283"/>
                  </a:lnTo>
                  <a:close/>
                  <a:moveTo>
                    <a:pt x="6323" y="16439"/>
                  </a:moveTo>
                  <a:cubicBezTo>
                    <a:pt x="6316" y="16439"/>
                    <a:pt x="6316" y="16439"/>
                    <a:pt x="6316" y="16439"/>
                  </a:cubicBezTo>
                  <a:cubicBezTo>
                    <a:pt x="6317" y="16515"/>
                    <a:pt x="6317" y="16515"/>
                    <a:pt x="6317" y="16515"/>
                  </a:cubicBezTo>
                  <a:cubicBezTo>
                    <a:pt x="6468" y="16514"/>
                    <a:pt x="6468" y="16514"/>
                    <a:pt x="6468" y="16514"/>
                  </a:cubicBezTo>
                  <a:cubicBezTo>
                    <a:pt x="6468" y="16438"/>
                    <a:pt x="6468" y="16438"/>
                    <a:pt x="6468" y="16438"/>
                  </a:cubicBezTo>
                  <a:lnTo>
                    <a:pt x="6323" y="16439"/>
                  </a:lnTo>
                  <a:close/>
                  <a:moveTo>
                    <a:pt x="6330" y="16502"/>
                  </a:moveTo>
                  <a:cubicBezTo>
                    <a:pt x="6329" y="16452"/>
                    <a:pt x="6329" y="16452"/>
                    <a:pt x="6329" y="16452"/>
                  </a:cubicBezTo>
                  <a:cubicBezTo>
                    <a:pt x="6455" y="16451"/>
                    <a:pt x="6455" y="16451"/>
                    <a:pt x="6455" y="16451"/>
                  </a:cubicBezTo>
                  <a:cubicBezTo>
                    <a:pt x="6455" y="16501"/>
                    <a:pt x="6455" y="16501"/>
                    <a:pt x="6455" y="16501"/>
                  </a:cubicBezTo>
                  <a:lnTo>
                    <a:pt x="6330" y="16502"/>
                  </a:lnTo>
                  <a:close/>
                  <a:moveTo>
                    <a:pt x="6185" y="16720"/>
                  </a:moveTo>
                  <a:cubicBezTo>
                    <a:pt x="6140" y="16780"/>
                    <a:pt x="6140" y="16780"/>
                    <a:pt x="6140" y="16780"/>
                  </a:cubicBezTo>
                  <a:cubicBezTo>
                    <a:pt x="6261" y="16871"/>
                    <a:pt x="6261" y="16871"/>
                    <a:pt x="6261" y="16871"/>
                  </a:cubicBezTo>
                  <a:cubicBezTo>
                    <a:pt x="6306" y="16811"/>
                    <a:pt x="6306" y="16811"/>
                    <a:pt x="6306" y="16811"/>
                  </a:cubicBezTo>
                  <a:cubicBezTo>
                    <a:pt x="6190" y="16724"/>
                    <a:pt x="6190" y="16724"/>
                    <a:pt x="6190" y="16724"/>
                  </a:cubicBezTo>
                  <a:lnTo>
                    <a:pt x="6185" y="16720"/>
                  </a:lnTo>
                  <a:close/>
                  <a:moveTo>
                    <a:pt x="6258" y="16853"/>
                  </a:moveTo>
                  <a:cubicBezTo>
                    <a:pt x="6158" y="16778"/>
                    <a:pt x="6158" y="16778"/>
                    <a:pt x="6158" y="16778"/>
                  </a:cubicBezTo>
                  <a:cubicBezTo>
                    <a:pt x="6188" y="16738"/>
                    <a:pt x="6188" y="16738"/>
                    <a:pt x="6188" y="16738"/>
                  </a:cubicBezTo>
                  <a:cubicBezTo>
                    <a:pt x="6288" y="16813"/>
                    <a:pt x="6288" y="16813"/>
                    <a:pt x="6288" y="16813"/>
                  </a:cubicBezTo>
                  <a:lnTo>
                    <a:pt x="6258" y="16853"/>
                  </a:lnTo>
                  <a:close/>
                  <a:moveTo>
                    <a:pt x="15" y="8378"/>
                  </a:moveTo>
                  <a:cubicBezTo>
                    <a:pt x="4" y="8363"/>
                    <a:pt x="4" y="8363"/>
                    <a:pt x="4" y="8363"/>
                  </a:cubicBezTo>
                  <a:cubicBezTo>
                    <a:pt x="4" y="8340"/>
                    <a:pt x="4" y="8340"/>
                    <a:pt x="4" y="8340"/>
                  </a:cubicBezTo>
                  <a:cubicBezTo>
                    <a:pt x="18" y="8360"/>
                    <a:pt x="18" y="8360"/>
                    <a:pt x="18" y="8360"/>
                  </a:cubicBezTo>
                  <a:cubicBezTo>
                    <a:pt x="59" y="8332"/>
                    <a:pt x="59" y="8332"/>
                    <a:pt x="59" y="8332"/>
                  </a:cubicBezTo>
                  <a:cubicBezTo>
                    <a:pt x="4" y="8253"/>
                    <a:pt x="4" y="8253"/>
                    <a:pt x="4" y="8253"/>
                  </a:cubicBezTo>
                  <a:cubicBezTo>
                    <a:pt x="4" y="8230"/>
                    <a:pt x="4" y="8230"/>
                    <a:pt x="4" y="8230"/>
                  </a:cubicBezTo>
                  <a:cubicBezTo>
                    <a:pt x="77" y="8335"/>
                    <a:pt x="77" y="8335"/>
                    <a:pt x="77" y="8335"/>
                  </a:cubicBezTo>
                  <a:lnTo>
                    <a:pt x="15" y="8378"/>
                  </a:lnTo>
                  <a:close/>
                  <a:moveTo>
                    <a:pt x="1161" y="16892"/>
                  </a:moveTo>
                  <a:cubicBezTo>
                    <a:pt x="1144" y="16756"/>
                    <a:pt x="1144" y="16756"/>
                    <a:pt x="1144" y="16756"/>
                  </a:cubicBezTo>
                  <a:cubicBezTo>
                    <a:pt x="1013" y="16772"/>
                    <a:pt x="1013" y="16772"/>
                    <a:pt x="1013" y="16772"/>
                  </a:cubicBezTo>
                  <a:cubicBezTo>
                    <a:pt x="1007" y="16773"/>
                    <a:pt x="1007" y="16773"/>
                    <a:pt x="1007" y="16773"/>
                  </a:cubicBezTo>
                  <a:cubicBezTo>
                    <a:pt x="1024" y="16910"/>
                    <a:pt x="1024" y="16910"/>
                    <a:pt x="1024" y="16910"/>
                  </a:cubicBezTo>
                  <a:lnTo>
                    <a:pt x="1161" y="16892"/>
                  </a:lnTo>
                  <a:close/>
                  <a:moveTo>
                    <a:pt x="1132" y="16770"/>
                  </a:moveTo>
                  <a:cubicBezTo>
                    <a:pt x="1147" y="16881"/>
                    <a:pt x="1147" y="16881"/>
                    <a:pt x="1147" y="16881"/>
                  </a:cubicBezTo>
                  <a:cubicBezTo>
                    <a:pt x="1036" y="16895"/>
                    <a:pt x="1036" y="16895"/>
                    <a:pt x="1036" y="16895"/>
                  </a:cubicBezTo>
                  <a:cubicBezTo>
                    <a:pt x="1022" y="16784"/>
                    <a:pt x="1022" y="16784"/>
                    <a:pt x="1022" y="16784"/>
                  </a:cubicBezTo>
                  <a:lnTo>
                    <a:pt x="1132" y="16770"/>
                  </a:lnTo>
                  <a:close/>
                  <a:moveTo>
                    <a:pt x="1040" y="16508"/>
                  </a:moveTo>
                  <a:cubicBezTo>
                    <a:pt x="1023" y="16645"/>
                    <a:pt x="1023" y="16645"/>
                    <a:pt x="1023" y="16645"/>
                  </a:cubicBezTo>
                  <a:cubicBezTo>
                    <a:pt x="1160" y="16662"/>
                    <a:pt x="1160" y="16662"/>
                    <a:pt x="1160" y="16662"/>
                  </a:cubicBezTo>
                  <a:cubicBezTo>
                    <a:pt x="1177" y="16525"/>
                    <a:pt x="1177" y="16525"/>
                    <a:pt x="1177" y="16525"/>
                  </a:cubicBezTo>
                  <a:cubicBezTo>
                    <a:pt x="1047" y="16509"/>
                    <a:pt x="1047" y="16509"/>
                    <a:pt x="1047" y="16509"/>
                  </a:cubicBezTo>
                  <a:lnTo>
                    <a:pt x="1040" y="16508"/>
                  </a:lnTo>
                  <a:close/>
                  <a:moveTo>
                    <a:pt x="1162" y="16537"/>
                  </a:moveTo>
                  <a:cubicBezTo>
                    <a:pt x="1149" y="16647"/>
                    <a:pt x="1149" y="16647"/>
                    <a:pt x="1149" y="16647"/>
                  </a:cubicBezTo>
                  <a:cubicBezTo>
                    <a:pt x="1038" y="16634"/>
                    <a:pt x="1038" y="16634"/>
                    <a:pt x="1038" y="16634"/>
                  </a:cubicBezTo>
                  <a:cubicBezTo>
                    <a:pt x="1052" y="16523"/>
                    <a:pt x="1052" y="16523"/>
                    <a:pt x="1052" y="16523"/>
                  </a:cubicBezTo>
                  <a:lnTo>
                    <a:pt x="1162" y="16537"/>
                  </a:lnTo>
                  <a:close/>
                  <a:moveTo>
                    <a:pt x="1454" y="16479"/>
                  </a:moveTo>
                  <a:cubicBezTo>
                    <a:pt x="1356" y="16392"/>
                    <a:pt x="1356" y="16392"/>
                    <a:pt x="1356" y="16392"/>
                  </a:cubicBezTo>
                  <a:cubicBezTo>
                    <a:pt x="1351" y="16387"/>
                    <a:pt x="1351" y="16387"/>
                    <a:pt x="1351" y="16387"/>
                  </a:cubicBezTo>
                  <a:cubicBezTo>
                    <a:pt x="1260" y="16490"/>
                    <a:pt x="1260" y="16490"/>
                    <a:pt x="1260" y="16490"/>
                  </a:cubicBezTo>
                  <a:cubicBezTo>
                    <a:pt x="1363" y="16582"/>
                    <a:pt x="1363" y="16582"/>
                    <a:pt x="1363" y="16582"/>
                  </a:cubicBezTo>
                  <a:lnTo>
                    <a:pt x="1454" y="16479"/>
                  </a:lnTo>
                  <a:close/>
                  <a:moveTo>
                    <a:pt x="1278" y="16489"/>
                  </a:moveTo>
                  <a:cubicBezTo>
                    <a:pt x="1352" y="16406"/>
                    <a:pt x="1352" y="16406"/>
                    <a:pt x="1352" y="16406"/>
                  </a:cubicBezTo>
                  <a:cubicBezTo>
                    <a:pt x="1436" y="16480"/>
                    <a:pt x="1436" y="16480"/>
                    <a:pt x="1436" y="16480"/>
                  </a:cubicBezTo>
                  <a:cubicBezTo>
                    <a:pt x="1362" y="16563"/>
                    <a:pt x="1362" y="16563"/>
                    <a:pt x="1362" y="16563"/>
                  </a:cubicBezTo>
                  <a:lnTo>
                    <a:pt x="1278" y="16489"/>
                  </a:lnTo>
                  <a:close/>
                  <a:moveTo>
                    <a:pt x="1586" y="17052"/>
                  </a:moveTo>
                  <a:cubicBezTo>
                    <a:pt x="1472" y="16986"/>
                    <a:pt x="1472" y="16986"/>
                    <a:pt x="1472" y="16986"/>
                  </a:cubicBezTo>
                  <a:cubicBezTo>
                    <a:pt x="1467" y="16983"/>
                    <a:pt x="1467" y="16983"/>
                    <a:pt x="1467" y="16983"/>
                  </a:cubicBezTo>
                  <a:cubicBezTo>
                    <a:pt x="1397" y="17102"/>
                    <a:pt x="1397" y="17102"/>
                    <a:pt x="1397" y="17102"/>
                  </a:cubicBezTo>
                  <a:cubicBezTo>
                    <a:pt x="1516" y="17171"/>
                    <a:pt x="1516" y="17171"/>
                    <a:pt x="1516" y="17171"/>
                  </a:cubicBezTo>
                  <a:lnTo>
                    <a:pt x="1586" y="17052"/>
                  </a:lnTo>
                  <a:close/>
                  <a:moveTo>
                    <a:pt x="1415" y="17097"/>
                  </a:moveTo>
                  <a:cubicBezTo>
                    <a:pt x="1471" y="17001"/>
                    <a:pt x="1471" y="17001"/>
                    <a:pt x="1471" y="17001"/>
                  </a:cubicBezTo>
                  <a:cubicBezTo>
                    <a:pt x="1568" y="17057"/>
                    <a:pt x="1568" y="17057"/>
                    <a:pt x="1568" y="17057"/>
                  </a:cubicBezTo>
                  <a:cubicBezTo>
                    <a:pt x="1512" y="17153"/>
                    <a:pt x="1512" y="17153"/>
                    <a:pt x="1512" y="17153"/>
                  </a:cubicBezTo>
                  <a:lnTo>
                    <a:pt x="1415" y="17097"/>
                  </a:lnTo>
                  <a:close/>
                  <a:moveTo>
                    <a:pt x="1668" y="17123"/>
                  </a:moveTo>
                  <a:cubicBezTo>
                    <a:pt x="1598" y="17242"/>
                    <a:pt x="1598" y="17242"/>
                    <a:pt x="1598" y="17242"/>
                  </a:cubicBezTo>
                  <a:cubicBezTo>
                    <a:pt x="1717" y="17311"/>
                    <a:pt x="1717" y="17311"/>
                    <a:pt x="1717" y="17311"/>
                  </a:cubicBezTo>
                  <a:cubicBezTo>
                    <a:pt x="1787" y="17192"/>
                    <a:pt x="1787" y="17192"/>
                    <a:pt x="1787" y="17192"/>
                  </a:cubicBezTo>
                  <a:cubicBezTo>
                    <a:pt x="1674" y="17126"/>
                    <a:pt x="1674" y="17126"/>
                    <a:pt x="1674" y="17126"/>
                  </a:cubicBezTo>
                  <a:lnTo>
                    <a:pt x="1668" y="17123"/>
                  </a:lnTo>
                  <a:close/>
                  <a:moveTo>
                    <a:pt x="1713" y="17293"/>
                  </a:moveTo>
                  <a:cubicBezTo>
                    <a:pt x="1616" y="17237"/>
                    <a:pt x="1616" y="17237"/>
                    <a:pt x="1616" y="17237"/>
                  </a:cubicBezTo>
                  <a:cubicBezTo>
                    <a:pt x="1673" y="17141"/>
                    <a:pt x="1673" y="17141"/>
                    <a:pt x="1673" y="17141"/>
                  </a:cubicBezTo>
                  <a:cubicBezTo>
                    <a:pt x="1769" y="17197"/>
                    <a:pt x="1769" y="17197"/>
                    <a:pt x="1769" y="17197"/>
                  </a:cubicBezTo>
                  <a:lnTo>
                    <a:pt x="1713" y="17293"/>
                  </a:lnTo>
                  <a:close/>
                  <a:moveTo>
                    <a:pt x="525" y="13453"/>
                  </a:moveTo>
                  <a:cubicBezTo>
                    <a:pt x="393" y="13451"/>
                    <a:pt x="393" y="13451"/>
                    <a:pt x="393" y="13451"/>
                  </a:cubicBezTo>
                  <a:cubicBezTo>
                    <a:pt x="387" y="13451"/>
                    <a:pt x="387" y="13451"/>
                    <a:pt x="387" y="13451"/>
                  </a:cubicBezTo>
                  <a:cubicBezTo>
                    <a:pt x="384" y="13589"/>
                    <a:pt x="384" y="13589"/>
                    <a:pt x="384" y="13589"/>
                  </a:cubicBezTo>
                  <a:cubicBezTo>
                    <a:pt x="522" y="13591"/>
                    <a:pt x="522" y="13591"/>
                    <a:pt x="522" y="13591"/>
                  </a:cubicBezTo>
                  <a:lnTo>
                    <a:pt x="525" y="13453"/>
                  </a:lnTo>
                  <a:close/>
                  <a:moveTo>
                    <a:pt x="509" y="13578"/>
                  </a:moveTo>
                  <a:cubicBezTo>
                    <a:pt x="398" y="13576"/>
                    <a:pt x="398" y="13576"/>
                    <a:pt x="398" y="13576"/>
                  </a:cubicBezTo>
                  <a:cubicBezTo>
                    <a:pt x="400" y="13464"/>
                    <a:pt x="400" y="13464"/>
                    <a:pt x="400" y="13464"/>
                  </a:cubicBezTo>
                  <a:cubicBezTo>
                    <a:pt x="511" y="13466"/>
                    <a:pt x="511" y="13466"/>
                    <a:pt x="511" y="13466"/>
                  </a:cubicBezTo>
                  <a:lnTo>
                    <a:pt x="509" y="13578"/>
                  </a:lnTo>
                  <a:close/>
                  <a:moveTo>
                    <a:pt x="443" y="12885"/>
                  </a:moveTo>
                  <a:cubicBezTo>
                    <a:pt x="441" y="13023"/>
                    <a:pt x="441" y="13023"/>
                    <a:pt x="441" y="13023"/>
                  </a:cubicBezTo>
                  <a:cubicBezTo>
                    <a:pt x="579" y="13025"/>
                    <a:pt x="579" y="13025"/>
                    <a:pt x="579" y="13025"/>
                  </a:cubicBezTo>
                  <a:cubicBezTo>
                    <a:pt x="581" y="12888"/>
                    <a:pt x="581" y="12888"/>
                    <a:pt x="581" y="12888"/>
                  </a:cubicBezTo>
                  <a:cubicBezTo>
                    <a:pt x="450" y="12885"/>
                    <a:pt x="450" y="12885"/>
                    <a:pt x="450" y="12885"/>
                  </a:cubicBezTo>
                  <a:lnTo>
                    <a:pt x="443" y="12885"/>
                  </a:lnTo>
                  <a:close/>
                  <a:moveTo>
                    <a:pt x="456" y="12898"/>
                  </a:moveTo>
                  <a:cubicBezTo>
                    <a:pt x="568" y="12900"/>
                    <a:pt x="568" y="12900"/>
                    <a:pt x="568" y="12900"/>
                  </a:cubicBezTo>
                  <a:cubicBezTo>
                    <a:pt x="566" y="13012"/>
                    <a:pt x="566" y="13012"/>
                    <a:pt x="566" y="13012"/>
                  </a:cubicBezTo>
                  <a:cubicBezTo>
                    <a:pt x="454" y="13010"/>
                    <a:pt x="454" y="13010"/>
                    <a:pt x="454" y="13010"/>
                  </a:cubicBezTo>
                  <a:lnTo>
                    <a:pt x="456" y="12898"/>
                  </a:lnTo>
                  <a:close/>
                  <a:moveTo>
                    <a:pt x="494" y="13165"/>
                  </a:moveTo>
                  <a:cubicBezTo>
                    <a:pt x="366" y="13137"/>
                    <a:pt x="366" y="13137"/>
                    <a:pt x="366" y="13137"/>
                  </a:cubicBezTo>
                  <a:cubicBezTo>
                    <a:pt x="360" y="13136"/>
                    <a:pt x="360" y="13136"/>
                    <a:pt x="360" y="13136"/>
                  </a:cubicBezTo>
                  <a:cubicBezTo>
                    <a:pt x="330" y="13270"/>
                    <a:pt x="330" y="13270"/>
                    <a:pt x="330" y="13270"/>
                  </a:cubicBezTo>
                  <a:cubicBezTo>
                    <a:pt x="465" y="13300"/>
                    <a:pt x="465" y="13300"/>
                    <a:pt x="465" y="13300"/>
                  </a:cubicBezTo>
                  <a:lnTo>
                    <a:pt x="494" y="13165"/>
                  </a:lnTo>
                  <a:close/>
                  <a:moveTo>
                    <a:pt x="346" y="13260"/>
                  </a:moveTo>
                  <a:cubicBezTo>
                    <a:pt x="370" y="13151"/>
                    <a:pt x="370" y="13151"/>
                    <a:pt x="370" y="13151"/>
                  </a:cubicBezTo>
                  <a:cubicBezTo>
                    <a:pt x="479" y="13175"/>
                    <a:pt x="479" y="13175"/>
                    <a:pt x="479" y="13175"/>
                  </a:cubicBezTo>
                  <a:cubicBezTo>
                    <a:pt x="455" y="13284"/>
                    <a:pt x="455" y="13284"/>
                    <a:pt x="455" y="13284"/>
                  </a:cubicBezTo>
                  <a:lnTo>
                    <a:pt x="346" y="13260"/>
                  </a:lnTo>
                  <a:close/>
                  <a:moveTo>
                    <a:pt x="414" y="12666"/>
                  </a:moveTo>
                  <a:cubicBezTo>
                    <a:pt x="347" y="12553"/>
                    <a:pt x="347" y="12553"/>
                    <a:pt x="347" y="12553"/>
                  </a:cubicBezTo>
                  <a:cubicBezTo>
                    <a:pt x="344" y="12547"/>
                    <a:pt x="344" y="12547"/>
                    <a:pt x="344" y="12547"/>
                  </a:cubicBezTo>
                  <a:cubicBezTo>
                    <a:pt x="225" y="12617"/>
                    <a:pt x="225" y="12617"/>
                    <a:pt x="225" y="12617"/>
                  </a:cubicBezTo>
                  <a:cubicBezTo>
                    <a:pt x="295" y="12736"/>
                    <a:pt x="295" y="12736"/>
                    <a:pt x="295" y="12736"/>
                  </a:cubicBezTo>
                  <a:lnTo>
                    <a:pt x="414" y="12666"/>
                  </a:lnTo>
                  <a:close/>
                  <a:moveTo>
                    <a:pt x="339" y="12565"/>
                  </a:moveTo>
                  <a:cubicBezTo>
                    <a:pt x="396" y="12661"/>
                    <a:pt x="396" y="12661"/>
                    <a:pt x="396" y="12661"/>
                  </a:cubicBezTo>
                  <a:cubicBezTo>
                    <a:pt x="300" y="12718"/>
                    <a:pt x="300" y="12718"/>
                    <a:pt x="300" y="12718"/>
                  </a:cubicBezTo>
                  <a:cubicBezTo>
                    <a:pt x="243" y="12622"/>
                    <a:pt x="243" y="12622"/>
                    <a:pt x="243" y="12622"/>
                  </a:cubicBezTo>
                  <a:lnTo>
                    <a:pt x="339" y="12565"/>
                  </a:lnTo>
                  <a:close/>
                  <a:moveTo>
                    <a:pt x="2131" y="16292"/>
                  </a:moveTo>
                  <a:cubicBezTo>
                    <a:pt x="2045" y="16412"/>
                    <a:pt x="2045" y="16412"/>
                    <a:pt x="2045" y="16412"/>
                  </a:cubicBezTo>
                  <a:cubicBezTo>
                    <a:pt x="2125" y="16469"/>
                    <a:pt x="2125" y="16469"/>
                    <a:pt x="2125" y="16469"/>
                  </a:cubicBezTo>
                  <a:cubicBezTo>
                    <a:pt x="2130" y="16473"/>
                    <a:pt x="2130" y="16473"/>
                    <a:pt x="2130" y="16473"/>
                  </a:cubicBezTo>
                  <a:cubicBezTo>
                    <a:pt x="2216" y="16353"/>
                    <a:pt x="2216" y="16353"/>
                    <a:pt x="2216" y="16353"/>
                  </a:cubicBezTo>
                  <a:lnTo>
                    <a:pt x="2131" y="16292"/>
                  </a:lnTo>
                  <a:close/>
                  <a:moveTo>
                    <a:pt x="2127" y="16455"/>
                  </a:moveTo>
                  <a:cubicBezTo>
                    <a:pt x="2063" y="16409"/>
                    <a:pt x="2063" y="16409"/>
                    <a:pt x="2063" y="16409"/>
                  </a:cubicBezTo>
                  <a:cubicBezTo>
                    <a:pt x="2134" y="16310"/>
                    <a:pt x="2134" y="16310"/>
                    <a:pt x="2134" y="16310"/>
                  </a:cubicBezTo>
                  <a:cubicBezTo>
                    <a:pt x="2198" y="16356"/>
                    <a:pt x="2198" y="16356"/>
                    <a:pt x="2198" y="16356"/>
                  </a:cubicBezTo>
                  <a:lnTo>
                    <a:pt x="2127" y="16455"/>
                  </a:lnTo>
                  <a:close/>
                  <a:moveTo>
                    <a:pt x="1947" y="16351"/>
                  </a:moveTo>
                  <a:cubicBezTo>
                    <a:pt x="1952" y="16355"/>
                    <a:pt x="1952" y="16355"/>
                    <a:pt x="1952" y="16355"/>
                  </a:cubicBezTo>
                  <a:cubicBezTo>
                    <a:pt x="2038" y="16234"/>
                    <a:pt x="2038" y="16234"/>
                    <a:pt x="2038" y="16234"/>
                  </a:cubicBezTo>
                  <a:cubicBezTo>
                    <a:pt x="1953" y="16174"/>
                    <a:pt x="1953" y="16174"/>
                    <a:pt x="1953" y="16174"/>
                  </a:cubicBezTo>
                  <a:cubicBezTo>
                    <a:pt x="1867" y="16294"/>
                    <a:pt x="1867" y="16294"/>
                    <a:pt x="1867" y="16294"/>
                  </a:cubicBezTo>
                  <a:lnTo>
                    <a:pt x="1947" y="16351"/>
                  </a:lnTo>
                  <a:close/>
                  <a:moveTo>
                    <a:pt x="1956" y="16192"/>
                  </a:moveTo>
                  <a:cubicBezTo>
                    <a:pt x="2020" y="16237"/>
                    <a:pt x="2020" y="16237"/>
                    <a:pt x="2020" y="16237"/>
                  </a:cubicBezTo>
                  <a:cubicBezTo>
                    <a:pt x="1949" y="16337"/>
                    <a:pt x="1949" y="16337"/>
                    <a:pt x="1949" y="16337"/>
                  </a:cubicBezTo>
                  <a:cubicBezTo>
                    <a:pt x="1885" y="16291"/>
                    <a:pt x="1885" y="16291"/>
                    <a:pt x="1885" y="16291"/>
                  </a:cubicBezTo>
                  <a:lnTo>
                    <a:pt x="1956" y="16192"/>
                  </a:lnTo>
                  <a:close/>
                  <a:moveTo>
                    <a:pt x="2357" y="16391"/>
                  </a:moveTo>
                  <a:cubicBezTo>
                    <a:pt x="2369" y="16488"/>
                    <a:pt x="2369" y="16488"/>
                    <a:pt x="2369" y="16488"/>
                  </a:cubicBezTo>
                  <a:cubicBezTo>
                    <a:pt x="2370" y="16495"/>
                    <a:pt x="2370" y="16495"/>
                    <a:pt x="2370" y="16495"/>
                  </a:cubicBezTo>
                  <a:cubicBezTo>
                    <a:pt x="2516" y="16477"/>
                    <a:pt x="2516" y="16477"/>
                    <a:pt x="2516" y="16477"/>
                  </a:cubicBezTo>
                  <a:cubicBezTo>
                    <a:pt x="2504" y="16373"/>
                    <a:pt x="2504" y="16373"/>
                    <a:pt x="2504" y="16373"/>
                  </a:cubicBezTo>
                  <a:lnTo>
                    <a:pt x="2357" y="16391"/>
                  </a:lnTo>
                  <a:close/>
                  <a:moveTo>
                    <a:pt x="2381" y="16480"/>
                  </a:moveTo>
                  <a:cubicBezTo>
                    <a:pt x="2371" y="16402"/>
                    <a:pt x="2371" y="16402"/>
                    <a:pt x="2371" y="16402"/>
                  </a:cubicBezTo>
                  <a:cubicBezTo>
                    <a:pt x="2492" y="16387"/>
                    <a:pt x="2492" y="16387"/>
                    <a:pt x="2492" y="16387"/>
                  </a:cubicBezTo>
                  <a:cubicBezTo>
                    <a:pt x="2502" y="16465"/>
                    <a:pt x="2502" y="16465"/>
                    <a:pt x="2502" y="16465"/>
                  </a:cubicBezTo>
                  <a:lnTo>
                    <a:pt x="2381" y="16480"/>
                  </a:lnTo>
                  <a:close/>
                  <a:moveTo>
                    <a:pt x="2051" y="15208"/>
                  </a:moveTo>
                  <a:cubicBezTo>
                    <a:pt x="1954" y="15320"/>
                    <a:pt x="1954" y="15320"/>
                    <a:pt x="1954" y="15320"/>
                  </a:cubicBezTo>
                  <a:cubicBezTo>
                    <a:pt x="2028" y="15384"/>
                    <a:pt x="2028" y="15384"/>
                    <a:pt x="2028" y="15384"/>
                  </a:cubicBezTo>
                  <a:cubicBezTo>
                    <a:pt x="2033" y="15388"/>
                    <a:pt x="2033" y="15388"/>
                    <a:pt x="2033" y="15388"/>
                  </a:cubicBezTo>
                  <a:cubicBezTo>
                    <a:pt x="2130" y="15277"/>
                    <a:pt x="2130" y="15277"/>
                    <a:pt x="2130" y="15277"/>
                  </a:cubicBezTo>
                  <a:lnTo>
                    <a:pt x="2051" y="15208"/>
                  </a:lnTo>
                  <a:close/>
                  <a:moveTo>
                    <a:pt x="2032" y="15370"/>
                  </a:moveTo>
                  <a:cubicBezTo>
                    <a:pt x="1973" y="15319"/>
                    <a:pt x="1973" y="15319"/>
                    <a:pt x="1973" y="15319"/>
                  </a:cubicBezTo>
                  <a:cubicBezTo>
                    <a:pt x="2053" y="15227"/>
                    <a:pt x="2053" y="15227"/>
                    <a:pt x="2053" y="15227"/>
                  </a:cubicBezTo>
                  <a:cubicBezTo>
                    <a:pt x="2112" y="15278"/>
                    <a:pt x="2112" y="15278"/>
                    <a:pt x="2112" y="15278"/>
                  </a:cubicBezTo>
                  <a:lnTo>
                    <a:pt x="2032" y="15370"/>
                  </a:lnTo>
                  <a:close/>
                  <a:moveTo>
                    <a:pt x="5645" y="13445"/>
                  </a:moveTo>
                  <a:cubicBezTo>
                    <a:pt x="5500" y="13419"/>
                    <a:pt x="5500" y="13419"/>
                    <a:pt x="5500" y="13419"/>
                  </a:cubicBezTo>
                  <a:cubicBezTo>
                    <a:pt x="5482" y="13515"/>
                    <a:pt x="5482" y="13515"/>
                    <a:pt x="5482" y="13515"/>
                  </a:cubicBezTo>
                  <a:cubicBezTo>
                    <a:pt x="5481" y="13521"/>
                    <a:pt x="5481" y="13521"/>
                    <a:pt x="5481" y="13521"/>
                  </a:cubicBezTo>
                  <a:cubicBezTo>
                    <a:pt x="5627" y="13548"/>
                    <a:pt x="5627" y="13548"/>
                    <a:pt x="5627" y="13548"/>
                  </a:cubicBezTo>
                  <a:lnTo>
                    <a:pt x="5645" y="13445"/>
                  </a:lnTo>
                  <a:close/>
                  <a:moveTo>
                    <a:pt x="5496" y="13511"/>
                  </a:moveTo>
                  <a:cubicBezTo>
                    <a:pt x="5510" y="13434"/>
                    <a:pt x="5510" y="13434"/>
                    <a:pt x="5510" y="13434"/>
                  </a:cubicBezTo>
                  <a:cubicBezTo>
                    <a:pt x="5630" y="13455"/>
                    <a:pt x="5630" y="13455"/>
                    <a:pt x="5630" y="13455"/>
                  </a:cubicBezTo>
                  <a:cubicBezTo>
                    <a:pt x="5616" y="13533"/>
                    <a:pt x="5616" y="13533"/>
                    <a:pt x="5616" y="13533"/>
                  </a:cubicBezTo>
                  <a:lnTo>
                    <a:pt x="5496" y="13511"/>
                  </a:lnTo>
                  <a:close/>
                  <a:moveTo>
                    <a:pt x="5508" y="13226"/>
                  </a:moveTo>
                  <a:cubicBezTo>
                    <a:pt x="5507" y="13233"/>
                    <a:pt x="5507" y="13233"/>
                    <a:pt x="5507" y="13233"/>
                  </a:cubicBezTo>
                  <a:cubicBezTo>
                    <a:pt x="5653" y="13259"/>
                    <a:pt x="5653" y="13259"/>
                    <a:pt x="5653" y="13259"/>
                  </a:cubicBezTo>
                  <a:cubicBezTo>
                    <a:pt x="5671" y="13157"/>
                    <a:pt x="5671" y="13157"/>
                    <a:pt x="5671" y="13157"/>
                  </a:cubicBezTo>
                  <a:cubicBezTo>
                    <a:pt x="5526" y="13130"/>
                    <a:pt x="5526" y="13130"/>
                    <a:pt x="5526" y="13130"/>
                  </a:cubicBezTo>
                  <a:lnTo>
                    <a:pt x="5508" y="13226"/>
                  </a:lnTo>
                  <a:close/>
                  <a:moveTo>
                    <a:pt x="5656" y="13167"/>
                  </a:moveTo>
                  <a:cubicBezTo>
                    <a:pt x="5642" y="13244"/>
                    <a:pt x="5642" y="13244"/>
                    <a:pt x="5642" y="13244"/>
                  </a:cubicBezTo>
                  <a:cubicBezTo>
                    <a:pt x="5522" y="13222"/>
                    <a:pt x="5522" y="13222"/>
                    <a:pt x="5522" y="13222"/>
                  </a:cubicBezTo>
                  <a:cubicBezTo>
                    <a:pt x="5536" y="13145"/>
                    <a:pt x="5536" y="13145"/>
                    <a:pt x="5536" y="13145"/>
                  </a:cubicBezTo>
                  <a:lnTo>
                    <a:pt x="5656" y="13167"/>
                  </a:lnTo>
                  <a:close/>
                  <a:moveTo>
                    <a:pt x="5657" y="13006"/>
                  </a:moveTo>
                  <a:cubicBezTo>
                    <a:pt x="5511" y="12980"/>
                    <a:pt x="5511" y="12980"/>
                    <a:pt x="5511" y="12980"/>
                  </a:cubicBezTo>
                  <a:cubicBezTo>
                    <a:pt x="5494" y="13076"/>
                    <a:pt x="5494" y="13076"/>
                    <a:pt x="5494" y="13076"/>
                  </a:cubicBezTo>
                  <a:cubicBezTo>
                    <a:pt x="5492" y="13082"/>
                    <a:pt x="5492" y="13082"/>
                    <a:pt x="5492" y="13082"/>
                  </a:cubicBezTo>
                  <a:cubicBezTo>
                    <a:pt x="5638" y="13109"/>
                    <a:pt x="5638" y="13109"/>
                    <a:pt x="5638" y="13109"/>
                  </a:cubicBezTo>
                  <a:lnTo>
                    <a:pt x="5657" y="13006"/>
                  </a:lnTo>
                  <a:close/>
                  <a:moveTo>
                    <a:pt x="5508" y="13072"/>
                  </a:moveTo>
                  <a:cubicBezTo>
                    <a:pt x="5522" y="12995"/>
                    <a:pt x="5522" y="12995"/>
                    <a:pt x="5522" y="12995"/>
                  </a:cubicBezTo>
                  <a:cubicBezTo>
                    <a:pt x="5642" y="13016"/>
                    <a:pt x="5642" y="13016"/>
                    <a:pt x="5642" y="13016"/>
                  </a:cubicBezTo>
                  <a:cubicBezTo>
                    <a:pt x="5628" y="13094"/>
                    <a:pt x="5628" y="13094"/>
                    <a:pt x="5628" y="13094"/>
                  </a:cubicBezTo>
                  <a:lnTo>
                    <a:pt x="5508" y="13072"/>
                  </a:lnTo>
                  <a:close/>
                  <a:moveTo>
                    <a:pt x="5417" y="12900"/>
                  </a:moveTo>
                  <a:cubicBezTo>
                    <a:pt x="5415" y="12907"/>
                    <a:pt x="5415" y="12907"/>
                    <a:pt x="5415" y="12907"/>
                  </a:cubicBezTo>
                  <a:cubicBezTo>
                    <a:pt x="5561" y="12933"/>
                    <a:pt x="5561" y="12933"/>
                    <a:pt x="5561" y="12933"/>
                  </a:cubicBezTo>
                  <a:cubicBezTo>
                    <a:pt x="5580" y="12831"/>
                    <a:pt x="5580" y="12831"/>
                    <a:pt x="5580" y="12831"/>
                  </a:cubicBezTo>
                  <a:cubicBezTo>
                    <a:pt x="5434" y="12804"/>
                    <a:pt x="5434" y="12804"/>
                    <a:pt x="5434" y="12804"/>
                  </a:cubicBezTo>
                  <a:lnTo>
                    <a:pt x="5417" y="12900"/>
                  </a:lnTo>
                  <a:close/>
                  <a:moveTo>
                    <a:pt x="5565" y="12841"/>
                  </a:moveTo>
                  <a:cubicBezTo>
                    <a:pt x="5551" y="12918"/>
                    <a:pt x="5551" y="12918"/>
                    <a:pt x="5551" y="12918"/>
                  </a:cubicBezTo>
                  <a:cubicBezTo>
                    <a:pt x="5431" y="12896"/>
                    <a:pt x="5431" y="12896"/>
                    <a:pt x="5431" y="12896"/>
                  </a:cubicBezTo>
                  <a:cubicBezTo>
                    <a:pt x="5445" y="12819"/>
                    <a:pt x="5445" y="12819"/>
                    <a:pt x="5445" y="12819"/>
                  </a:cubicBezTo>
                  <a:lnTo>
                    <a:pt x="5565" y="12841"/>
                  </a:lnTo>
                  <a:close/>
                  <a:moveTo>
                    <a:pt x="5549" y="12776"/>
                  </a:moveTo>
                  <a:cubicBezTo>
                    <a:pt x="5548" y="12782"/>
                    <a:pt x="5548" y="12782"/>
                    <a:pt x="5548" y="12782"/>
                  </a:cubicBezTo>
                  <a:cubicBezTo>
                    <a:pt x="5694" y="12809"/>
                    <a:pt x="5694" y="12809"/>
                    <a:pt x="5694" y="12809"/>
                  </a:cubicBezTo>
                  <a:cubicBezTo>
                    <a:pt x="5712" y="12706"/>
                    <a:pt x="5712" y="12706"/>
                    <a:pt x="5712" y="12706"/>
                  </a:cubicBezTo>
                  <a:cubicBezTo>
                    <a:pt x="5567" y="12680"/>
                    <a:pt x="5567" y="12680"/>
                    <a:pt x="5567" y="12680"/>
                  </a:cubicBezTo>
                  <a:lnTo>
                    <a:pt x="5549" y="12776"/>
                  </a:lnTo>
                  <a:close/>
                  <a:moveTo>
                    <a:pt x="5697" y="12717"/>
                  </a:moveTo>
                  <a:cubicBezTo>
                    <a:pt x="5683" y="12794"/>
                    <a:pt x="5683" y="12794"/>
                    <a:pt x="5683" y="12794"/>
                  </a:cubicBezTo>
                  <a:cubicBezTo>
                    <a:pt x="5563" y="12772"/>
                    <a:pt x="5563" y="12772"/>
                    <a:pt x="5563" y="12772"/>
                  </a:cubicBezTo>
                  <a:cubicBezTo>
                    <a:pt x="5577" y="12695"/>
                    <a:pt x="5577" y="12695"/>
                    <a:pt x="5577" y="12695"/>
                  </a:cubicBezTo>
                  <a:lnTo>
                    <a:pt x="5697" y="12717"/>
                  </a:lnTo>
                  <a:close/>
                  <a:moveTo>
                    <a:pt x="5621" y="12544"/>
                  </a:moveTo>
                  <a:cubicBezTo>
                    <a:pt x="5475" y="12517"/>
                    <a:pt x="5475" y="12517"/>
                    <a:pt x="5475" y="12517"/>
                  </a:cubicBezTo>
                  <a:cubicBezTo>
                    <a:pt x="5458" y="12614"/>
                    <a:pt x="5458" y="12614"/>
                    <a:pt x="5458" y="12614"/>
                  </a:cubicBezTo>
                  <a:cubicBezTo>
                    <a:pt x="5456" y="12620"/>
                    <a:pt x="5456" y="12620"/>
                    <a:pt x="5456" y="12620"/>
                  </a:cubicBezTo>
                  <a:cubicBezTo>
                    <a:pt x="5602" y="12647"/>
                    <a:pt x="5602" y="12647"/>
                    <a:pt x="5602" y="12647"/>
                  </a:cubicBezTo>
                  <a:lnTo>
                    <a:pt x="5621" y="12544"/>
                  </a:lnTo>
                  <a:close/>
                  <a:moveTo>
                    <a:pt x="5471" y="12610"/>
                  </a:moveTo>
                  <a:cubicBezTo>
                    <a:pt x="5485" y="12532"/>
                    <a:pt x="5485" y="12532"/>
                    <a:pt x="5485" y="12532"/>
                  </a:cubicBezTo>
                  <a:cubicBezTo>
                    <a:pt x="5606" y="12554"/>
                    <a:pt x="5606" y="12554"/>
                    <a:pt x="5606" y="12554"/>
                  </a:cubicBezTo>
                  <a:cubicBezTo>
                    <a:pt x="5592" y="12632"/>
                    <a:pt x="5592" y="12632"/>
                    <a:pt x="5592" y="12632"/>
                  </a:cubicBezTo>
                  <a:lnTo>
                    <a:pt x="5471" y="12610"/>
                  </a:lnTo>
                  <a:close/>
                  <a:moveTo>
                    <a:pt x="2781" y="15634"/>
                  </a:moveTo>
                  <a:cubicBezTo>
                    <a:pt x="2909" y="15560"/>
                    <a:pt x="2909" y="15560"/>
                    <a:pt x="2909" y="15560"/>
                  </a:cubicBezTo>
                  <a:cubicBezTo>
                    <a:pt x="2857" y="15470"/>
                    <a:pt x="2857" y="15470"/>
                    <a:pt x="2857" y="15470"/>
                  </a:cubicBezTo>
                  <a:cubicBezTo>
                    <a:pt x="2729" y="15544"/>
                    <a:pt x="2729" y="15544"/>
                    <a:pt x="2729" y="15544"/>
                  </a:cubicBezTo>
                  <a:cubicBezTo>
                    <a:pt x="2778" y="15629"/>
                    <a:pt x="2778" y="15629"/>
                    <a:pt x="2778" y="15629"/>
                  </a:cubicBezTo>
                  <a:lnTo>
                    <a:pt x="2781" y="15634"/>
                  </a:lnTo>
                  <a:close/>
                  <a:moveTo>
                    <a:pt x="2852" y="15487"/>
                  </a:moveTo>
                  <a:cubicBezTo>
                    <a:pt x="2892" y="15555"/>
                    <a:pt x="2892" y="15555"/>
                    <a:pt x="2892" y="15555"/>
                  </a:cubicBezTo>
                  <a:cubicBezTo>
                    <a:pt x="2786" y="15616"/>
                    <a:pt x="2786" y="15616"/>
                    <a:pt x="2786" y="15616"/>
                  </a:cubicBezTo>
                  <a:cubicBezTo>
                    <a:pt x="2747" y="15549"/>
                    <a:pt x="2747" y="15549"/>
                    <a:pt x="2747" y="15549"/>
                  </a:cubicBezTo>
                  <a:lnTo>
                    <a:pt x="2852" y="15487"/>
                  </a:lnTo>
                  <a:close/>
                  <a:moveTo>
                    <a:pt x="3148" y="15408"/>
                  </a:moveTo>
                  <a:cubicBezTo>
                    <a:pt x="3276" y="15334"/>
                    <a:pt x="3276" y="15334"/>
                    <a:pt x="3276" y="15334"/>
                  </a:cubicBezTo>
                  <a:cubicBezTo>
                    <a:pt x="3224" y="15244"/>
                    <a:pt x="3224" y="15244"/>
                    <a:pt x="3224" y="15244"/>
                  </a:cubicBezTo>
                  <a:cubicBezTo>
                    <a:pt x="3096" y="15318"/>
                    <a:pt x="3096" y="15318"/>
                    <a:pt x="3096" y="15318"/>
                  </a:cubicBezTo>
                  <a:cubicBezTo>
                    <a:pt x="3145" y="15403"/>
                    <a:pt x="3145" y="15403"/>
                    <a:pt x="3145" y="15403"/>
                  </a:cubicBezTo>
                  <a:lnTo>
                    <a:pt x="3148" y="15408"/>
                  </a:lnTo>
                  <a:close/>
                  <a:moveTo>
                    <a:pt x="3219" y="15262"/>
                  </a:moveTo>
                  <a:cubicBezTo>
                    <a:pt x="3258" y="15330"/>
                    <a:pt x="3258" y="15330"/>
                    <a:pt x="3258" y="15330"/>
                  </a:cubicBezTo>
                  <a:cubicBezTo>
                    <a:pt x="3153" y="15391"/>
                    <a:pt x="3153" y="15391"/>
                    <a:pt x="3153" y="15391"/>
                  </a:cubicBezTo>
                  <a:cubicBezTo>
                    <a:pt x="3113" y="15323"/>
                    <a:pt x="3113" y="15323"/>
                    <a:pt x="3113" y="15323"/>
                  </a:cubicBezTo>
                  <a:lnTo>
                    <a:pt x="3219" y="15262"/>
                  </a:lnTo>
                  <a:close/>
                  <a:moveTo>
                    <a:pt x="3044" y="15641"/>
                  </a:moveTo>
                  <a:cubicBezTo>
                    <a:pt x="3093" y="15726"/>
                    <a:pt x="3093" y="15726"/>
                    <a:pt x="3093" y="15726"/>
                  </a:cubicBezTo>
                  <a:cubicBezTo>
                    <a:pt x="3096" y="15731"/>
                    <a:pt x="3096" y="15731"/>
                    <a:pt x="3096" y="15731"/>
                  </a:cubicBezTo>
                  <a:cubicBezTo>
                    <a:pt x="3224" y="15657"/>
                    <a:pt x="3224" y="15657"/>
                    <a:pt x="3224" y="15657"/>
                  </a:cubicBezTo>
                  <a:cubicBezTo>
                    <a:pt x="3172" y="15567"/>
                    <a:pt x="3172" y="15567"/>
                    <a:pt x="3172" y="15567"/>
                  </a:cubicBezTo>
                  <a:lnTo>
                    <a:pt x="3044" y="15641"/>
                  </a:lnTo>
                  <a:close/>
                  <a:moveTo>
                    <a:pt x="3101" y="15713"/>
                  </a:moveTo>
                  <a:cubicBezTo>
                    <a:pt x="3061" y="15646"/>
                    <a:pt x="3061" y="15646"/>
                    <a:pt x="3061" y="15646"/>
                  </a:cubicBezTo>
                  <a:cubicBezTo>
                    <a:pt x="3167" y="15584"/>
                    <a:pt x="3167" y="15584"/>
                    <a:pt x="3167" y="15584"/>
                  </a:cubicBezTo>
                  <a:cubicBezTo>
                    <a:pt x="3206" y="15652"/>
                    <a:pt x="3206" y="15652"/>
                    <a:pt x="3206" y="15652"/>
                  </a:cubicBezTo>
                  <a:lnTo>
                    <a:pt x="3101" y="15713"/>
                  </a:lnTo>
                  <a:close/>
                  <a:moveTo>
                    <a:pt x="3037" y="16276"/>
                  </a:moveTo>
                  <a:cubicBezTo>
                    <a:pt x="2917" y="16362"/>
                    <a:pt x="2917" y="16362"/>
                    <a:pt x="2917" y="16362"/>
                  </a:cubicBezTo>
                  <a:cubicBezTo>
                    <a:pt x="2974" y="16442"/>
                    <a:pt x="2974" y="16442"/>
                    <a:pt x="2974" y="16442"/>
                  </a:cubicBezTo>
                  <a:cubicBezTo>
                    <a:pt x="2977" y="16447"/>
                    <a:pt x="2977" y="16447"/>
                    <a:pt x="2977" y="16447"/>
                  </a:cubicBezTo>
                  <a:cubicBezTo>
                    <a:pt x="3098" y="16361"/>
                    <a:pt x="3098" y="16361"/>
                    <a:pt x="3098" y="16361"/>
                  </a:cubicBezTo>
                  <a:lnTo>
                    <a:pt x="3037" y="16276"/>
                  </a:lnTo>
                  <a:close/>
                  <a:moveTo>
                    <a:pt x="2935" y="16365"/>
                  </a:moveTo>
                  <a:cubicBezTo>
                    <a:pt x="3034" y="16294"/>
                    <a:pt x="3034" y="16294"/>
                    <a:pt x="3034" y="16294"/>
                  </a:cubicBezTo>
                  <a:cubicBezTo>
                    <a:pt x="3080" y="16358"/>
                    <a:pt x="3080" y="16358"/>
                    <a:pt x="3080" y="16358"/>
                  </a:cubicBezTo>
                  <a:cubicBezTo>
                    <a:pt x="2980" y="16429"/>
                    <a:pt x="2980" y="16429"/>
                    <a:pt x="2980" y="16429"/>
                  </a:cubicBezTo>
                  <a:lnTo>
                    <a:pt x="2935" y="16365"/>
                  </a:lnTo>
                  <a:close/>
                  <a:moveTo>
                    <a:pt x="3919" y="16415"/>
                  </a:moveTo>
                  <a:cubicBezTo>
                    <a:pt x="3798" y="16501"/>
                    <a:pt x="3798" y="16501"/>
                    <a:pt x="3798" y="16501"/>
                  </a:cubicBezTo>
                  <a:cubicBezTo>
                    <a:pt x="3855" y="16580"/>
                    <a:pt x="3855" y="16580"/>
                    <a:pt x="3855" y="16580"/>
                  </a:cubicBezTo>
                  <a:cubicBezTo>
                    <a:pt x="3858" y="16586"/>
                    <a:pt x="3858" y="16586"/>
                    <a:pt x="3858" y="16586"/>
                  </a:cubicBezTo>
                  <a:cubicBezTo>
                    <a:pt x="3979" y="16500"/>
                    <a:pt x="3979" y="16500"/>
                    <a:pt x="3979" y="16500"/>
                  </a:cubicBezTo>
                  <a:lnTo>
                    <a:pt x="3919" y="16415"/>
                  </a:lnTo>
                  <a:close/>
                  <a:moveTo>
                    <a:pt x="3816" y="16504"/>
                  </a:moveTo>
                  <a:cubicBezTo>
                    <a:pt x="3916" y="16433"/>
                    <a:pt x="3916" y="16433"/>
                    <a:pt x="3916" y="16433"/>
                  </a:cubicBezTo>
                  <a:cubicBezTo>
                    <a:pt x="3961" y="16497"/>
                    <a:pt x="3961" y="16497"/>
                    <a:pt x="3961" y="16497"/>
                  </a:cubicBezTo>
                  <a:cubicBezTo>
                    <a:pt x="3861" y="16568"/>
                    <a:pt x="3861" y="16568"/>
                    <a:pt x="3861" y="16568"/>
                  </a:cubicBezTo>
                  <a:lnTo>
                    <a:pt x="3816" y="16504"/>
                  </a:lnTo>
                  <a:close/>
                  <a:moveTo>
                    <a:pt x="6737" y="15651"/>
                  </a:moveTo>
                  <a:cubicBezTo>
                    <a:pt x="6794" y="15731"/>
                    <a:pt x="6794" y="15731"/>
                    <a:pt x="6794" y="15731"/>
                  </a:cubicBezTo>
                  <a:cubicBezTo>
                    <a:pt x="6798" y="15736"/>
                    <a:pt x="6798" y="15736"/>
                    <a:pt x="6798" y="15736"/>
                  </a:cubicBezTo>
                  <a:cubicBezTo>
                    <a:pt x="6918" y="15650"/>
                    <a:pt x="6918" y="15650"/>
                    <a:pt x="6918" y="15650"/>
                  </a:cubicBezTo>
                  <a:cubicBezTo>
                    <a:pt x="6858" y="15565"/>
                    <a:pt x="6858" y="15565"/>
                    <a:pt x="6858" y="15565"/>
                  </a:cubicBezTo>
                  <a:lnTo>
                    <a:pt x="6737" y="15651"/>
                  </a:lnTo>
                  <a:close/>
                  <a:moveTo>
                    <a:pt x="6801" y="15718"/>
                  </a:moveTo>
                  <a:cubicBezTo>
                    <a:pt x="6755" y="15654"/>
                    <a:pt x="6755" y="15654"/>
                    <a:pt x="6755" y="15654"/>
                  </a:cubicBezTo>
                  <a:cubicBezTo>
                    <a:pt x="6855" y="15583"/>
                    <a:pt x="6855" y="15583"/>
                    <a:pt x="6855" y="15583"/>
                  </a:cubicBezTo>
                  <a:cubicBezTo>
                    <a:pt x="6900" y="15647"/>
                    <a:pt x="6900" y="15647"/>
                    <a:pt x="6900" y="15647"/>
                  </a:cubicBezTo>
                  <a:lnTo>
                    <a:pt x="6801" y="15718"/>
                  </a:lnTo>
                  <a:close/>
                  <a:moveTo>
                    <a:pt x="4809" y="10937"/>
                  </a:moveTo>
                  <a:cubicBezTo>
                    <a:pt x="4815" y="10937"/>
                    <a:pt x="4815" y="10937"/>
                    <a:pt x="4815" y="10937"/>
                  </a:cubicBezTo>
                  <a:cubicBezTo>
                    <a:pt x="4794" y="10790"/>
                    <a:pt x="4794" y="10790"/>
                    <a:pt x="4794" y="10790"/>
                  </a:cubicBezTo>
                  <a:cubicBezTo>
                    <a:pt x="4691" y="10805"/>
                    <a:pt x="4691" y="10805"/>
                    <a:pt x="4691" y="10805"/>
                  </a:cubicBezTo>
                  <a:cubicBezTo>
                    <a:pt x="4712" y="10951"/>
                    <a:pt x="4712" y="10951"/>
                    <a:pt x="4712" y="10951"/>
                  </a:cubicBezTo>
                  <a:lnTo>
                    <a:pt x="4809" y="10937"/>
                  </a:lnTo>
                  <a:close/>
                  <a:moveTo>
                    <a:pt x="4783" y="10805"/>
                  </a:moveTo>
                  <a:cubicBezTo>
                    <a:pt x="4800" y="10926"/>
                    <a:pt x="4800" y="10926"/>
                    <a:pt x="4800" y="10926"/>
                  </a:cubicBezTo>
                  <a:cubicBezTo>
                    <a:pt x="4723" y="10937"/>
                    <a:pt x="4723" y="10937"/>
                    <a:pt x="4723" y="10937"/>
                  </a:cubicBezTo>
                  <a:cubicBezTo>
                    <a:pt x="4706" y="10816"/>
                    <a:pt x="4706" y="10816"/>
                    <a:pt x="4706" y="10816"/>
                  </a:cubicBezTo>
                  <a:lnTo>
                    <a:pt x="4783" y="10805"/>
                  </a:lnTo>
                  <a:close/>
                  <a:moveTo>
                    <a:pt x="4263" y="9086"/>
                  </a:moveTo>
                  <a:cubicBezTo>
                    <a:pt x="4361" y="9086"/>
                    <a:pt x="4361" y="9086"/>
                    <a:pt x="4361" y="9086"/>
                  </a:cubicBezTo>
                  <a:cubicBezTo>
                    <a:pt x="4367" y="9087"/>
                    <a:pt x="4367" y="9087"/>
                    <a:pt x="4367" y="9087"/>
                  </a:cubicBezTo>
                  <a:cubicBezTo>
                    <a:pt x="4368" y="8939"/>
                    <a:pt x="4368" y="8939"/>
                    <a:pt x="4368" y="8939"/>
                  </a:cubicBezTo>
                  <a:cubicBezTo>
                    <a:pt x="4264" y="8938"/>
                    <a:pt x="4264" y="8938"/>
                    <a:pt x="4264" y="8938"/>
                  </a:cubicBezTo>
                  <a:lnTo>
                    <a:pt x="4263" y="9086"/>
                  </a:lnTo>
                  <a:close/>
                  <a:moveTo>
                    <a:pt x="4277" y="8951"/>
                  </a:moveTo>
                  <a:cubicBezTo>
                    <a:pt x="4355" y="8951"/>
                    <a:pt x="4355" y="8951"/>
                    <a:pt x="4355" y="8951"/>
                  </a:cubicBezTo>
                  <a:cubicBezTo>
                    <a:pt x="4354" y="9074"/>
                    <a:pt x="4354" y="9074"/>
                    <a:pt x="4354" y="9074"/>
                  </a:cubicBezTo>
                  <a:cubicBezTo>
                    <a:pt x="4276" y="9073"/>
                    <a:pt x="4276" y="9073"/>
                    <a:pt x="4276" y="9073"/>
                  </a:cubicBezTo>
                  <a:lnTo>
                    <a:pt x="4277" y="8951"/>
                  </a:lnTo>
                  <a:close/>
                  <a:moveTo>
                    <a:pt x="4788" y="8905"/>
                  </a:moveTo>
                  <a:cubicBezTo>
                    <a:pt x="4886" y="8905"/>
                    <a:pt x="4886" y="8905"/>
                    <a:pt x="4886" y="8905"/>
                  </a:cubicBezTo>
                  <a:cubicBezTo>
                    <a:pt x="4892" y="8905"/>
                    <a:pt x="4892" y="8905"/>
                    <a:pt x="4892" y="8905"/>
                  </a:cubicBezTo>
                  <a:cubicBezTo>
                    <a:pt x="4893" y="8758"/>
                    <a:pt x="4893" y="8758"/>
                    <a:pt x="4893" y="8758"/>
                  </a:cubicBezTo>
                  <a:cubicBezTo>
                    <a:pt x="4789" y="8757"/>
                    <a:pt x="4789" y="8757"/>
                    <a:pt x="4789" y="8757"/>
                  </a:cubicBezTo>
                  <a:lnTo>
                    <a:pt x="4788" y="8905"/>
                  </a:lnTo>
                  <a:close/>
                  <a:moveTo>
                    <a:pt x="4802" y="8770"/>
                  </a:moveTo>
                  <a:cubicBezTo>
                    <a:pt x="4880" y="8770"/>
                    <a:pt x="4880" y="8770"/>
                    <a:pt x="4880" y="8770"/>
                  </a:cubicBezTo>
                  <a:cubicBezTo>
                    <a:pt x="4879" y="8892"/>
                    <a:pt x="4879" y="8892"/>
                    <a:pt x="4879" y="8892"/>
                  </a:cubicBezTo>
                  <a:cubicBezTo>
                    <a:pt x="4801" y="8892"/>
                    <a:pt x="4801" y="8892"/>
                    <a:pt x="4801" y="8892"/>
                  </a:cubicBezTo>
                  <a:lnTo>
                    <a:pt x="4802" y="8770"/>
                  </a:lnTo>
                  <a:close/>
                  <a:moveTo>
                    <a:pt x="5227" y="8461"/>
                  </a:moveTo>
                  <a:cubicBezTo>
                    <a:pt x="5325" y="8462"/>
                    <a:pt x="5325" y="8462"/>
                    <a:pt x="5325" y="8462"/>
                  </a:cubicBezTo>
                  <a:cubicBezTo>
                    <a:pt x="5332" y="8462"/>
                    <a:pt x="5332" y="8462"/>
                    <a:pt x="5332" y="8462"/>
                  </a:cubicBezTo>
                  <a:cubicBezTo>
                    <a:pt x="5333" y="8314"/>
                    <a:pt x="5333" y="8314"/>
                    <a:pt x="5333" y="8314"/>
                  </a:cubicBezTo>
                  <a:cubicBezTo>
                    <a:pt x="5229" y="8313"/>
                    <a:pt x="5229" y="8313"/>
                    <a:pt x="5229" y="8313"/>
                  </a:cubicBezTo>
                  <a:lnTo>
                    <a:pt x="5227" y="8461"/>
                  </a:lnTo>
                  <a:close/>
                  <a:moveTo>
                    <a:pt x="5241" y="8326"/>
                  </a:moveTo>
                  <a:cubicBezTo>
                    <a:pt x="5320" y="8327"/>
                    <a:pt x="5320" y="8327"/>
                    <a:pt x="5320" y="8327"/>
                  </a:cubicBezTo>
                  <a:cubicBezTo>
                    <a:pt x="5319" y="8449"/>
                    <a:pt x="5319" y="8449"/>
                    <a:pt x="5319" y="8449"/>
                  </a:cubicBezTo>
                  <a:cubicBezTo>
                    <a:pt x="5240" y="8448"/>
                    <a:pt x="5240" y="8448"/>
                    <a:pt x="5240" y="8448"/>
                  </a:cubicBezTo>
                  <a:lnTo>
                    <a:pt x="5241" y="8326"/>
                  </a:lnTo>
                  <a:close/>
                  <a:moveTo>
                    <a:pt x="5046" y="8452"/>
                  </a:moveTo>
                  <a:cubicBezTo>
                    <a:pt x="5047" y="8304"/>
                    <a:pt x="5047" y="8304"/>
                    <a:pt x="5047" y="8304"/>
                  </a:cubicBezTo>
                  <a:cubicBezTo>
                    <a:pt x="4942" y="8303"/>
                    <a:pt x="4942" y="8303"/>
                    <a:pt x="4942" y="8303"/>
                  </a:cubicBezTo>
                  <a:cubicBezTo>
                    <a:pt x="4941" y="8451"/>
                    <a:pt x="4941" y="8451"/>
                    <a:pt x="4941" y="8451"/>
                  </a:cubicBezTo>
                  <a:cubicBezTo>
                    <a:pt x="5039" y="8452"/>
                    <a:pt x="5039" y="8452"/>
                    <a:pt x="5039" y="8452"/>
                  </a:cubicBezTo>
                  <a:lnTo>
                    <a:pt x="5046" y="8452"/>
                  </a:lnTo>
                  <a:close/>
                  <a:moveTo>
                    <a:pt x="5033" y="8439"/>
                  </a:moveTo>
                  <a:cubicBezTo>
                    <a:pt x="4954" y="8438"/>
                    <a:pt x="4954" y="8438"/>
                    <a:pt x="4954" y="8438"/>
                  </a:cubicBezTo>
                  <a:cubicBezTo>
                    <a:pt x="4955" y="8316"/>
                    <a:pt x="4955" y="8316"/>
                    <a:pt x="4955" y="8316"/>
                  </a:cubicBezTo>
                  <a:cubicBezTo>
                    <a:pt x="5034" y="8316"/>
                    <a:pt x="5034" y="8316"/>
                    <a:pt x="5034" y="8316"/>
                  </a:cubicBezTo>
                  <a:lnTo>
                    <a:pt x="5033" y="8439"/>
                  </a:lnTo>
                  <a:close/>
                  <a:moveTo>
                    <a:pt x="4516" y="8451"/>
                  </a:moveTo>
                  <a:cubicBezTo>
                    <a:pt x="4502" y="8304"/>
                    <a:pt x="4502" y="8304"/>
                    <a:pt x="4502" y="8304"/>
                  </a:cubicBezTo>
                  <a:cubicBezTo>
                    <a:pt x="4398" y="8314"/>
                    <a:pt x="4398" y="8314"/>
                    <a:pt x="4398" y="8314"/>
                  </a:cubicBezTo>
                  <a:cubicBezTo>
                    <a:pt x="4412" y="8461"/>
                    <a:pt x="4412" y="8461"/>
                    <a:pt x="4412" y="8461"/>
                  </a:cubicBezTo>
                  <a:cubicBezTo>
                    <a:pt x="4509" y="8452"/>
                    <a:pt x="4509" y="8452"/>
                    <a:pt x="4509" y="8452"/>
                  </a:cubicBezTo>
                  <a:lnTo>
                    <a:pt x="4516" y="8451"/>
                  </a:lnTo>
                  <a:close/>
                  <a:moveTo>
                    <a:pt x="4423" y="8447"/>
                  </a:moveTo>
                  <a:cubicBezTo>
                    <a:pt x="4412" y="8325"/>
                    <a:pt x="4412" y="8325"/>
                    <a:pt x="4412" y="8325"/>
                  </a:cubicBezTo>
                  <a:cubicBezTo>
                    <a:pt x="4490" y="8318"/>
                    <a:pt x="4490" y="8318"/>
                    <a:pt x="4490" y="8318"/>
                  </a:cubicBezTo>
                  <a:cubicBezTo>
                    <a:pt x="4502" y="8439"/>
                    <a:pt x="4502" y="8439"/>
                    <a:pt x="4502" y="8439"/>
                  </a:cubicBezTo>
                  <a:lnTo>
                    <a:pt x="4423" y="8447"/>
                  </a:lnTo>
                  <a:close/>
                  <a:moveTo>
                    <a:pt x="4548" y="9137"/>
                  </a:moveTo>
                  <a:cubicBezTo>
                    <a:pt x="4549" y="9143"/>
                    <a:pt x="4549" y="9143"/>
                    <a:pt x="4549" y="9143"/>
                  </a:cubicBezTo>
                  <a:cubicBezTo>
                    <a:pt x="4693" y="9109"/>
                    <a:pt x="4693" y="9109"/>
                    <a:pt x="4693" y="9109"/>
                  </a:cubicBezTo>
                  <a:cubicBezTo>
                    <a:pt x="4669" y="9008"/>
                    <a:pt x="4669" y="9008"/>
                    <a:pt x="4669" y="9008"/>
                  </a:cubicBezTo>
                  <a:cubicBezTo>
                    <a:pt x="4525" y="9042"/>
                    <a:pt x="4525" y="9042"/>
                    <a:pt x="4525" y="9042"/>
                  </a:cubicBezTo>
                  <a:lnTo>
                    <a:pt x="4548" y="9137"/>
                  </a:lnTo>
                  <a:close/>
                  <a:moveTo>
                    <a:pt x="4678" y="9100"/>
                  </a:moveTo>
                  <a:cubicBezTo>
                    <a:pt x="4559" y="9128"/>
                    <a:pt x="4559" y="9128"/>
                    <a:pt x="4559" y="9128"/>
                  </a:cubicBezTo>
                  <a:cubicBezTo>
                    <a:pt x="4541" y="9051"/>
                    <a:pt x="4541" y="9051"/>
                    <a:pt x="4541" y="9051"/>
                  </a:cubicBezTo>
                  <a:cubicBezTo>
                    <a:pt x="4659" y="9023"/>
                    <a:pt x="4659" y="9023"/>
                    <a:pt x="4659" y="9023"/>
                  </a:cubicBezTo>
                  <a:lnTo>
                    <a:pt x="4678" y="9100"/>
                  </a:lnTo>
                  <a:close/>
                  <a:moveTo>
                    <a:pt x="5063" y="8894"/>
                  </a:moveTo>
                  <a:cubicBezTo>
                    <a:pt x="5086" y="8989"/>
                    <a:pt x="5086" y="8989"/>
                    <a:pt x="5086" y="8989"/>
                  </a:cubicBezTo>
                  <a:cubicBezTo>
                    <a:pt x="5087" y="8996"/>
                    <a:pt x="5087" y="8996"/>
                    <a:pt x="5087" y="8996"/>
                  </a:cubicBezTo>
                  <a:cubicBezTo>
                    <a:pt x="5231" y="8962"/>
                    <a:pt x="5231" y="8962"/>
                    <a:pt x="5231" y="8962"/>
                  </a:cubicBezTo>
                  <a:cubicBezTo>
                    <a:pt x="5207" y="8860"/>
                    <a:pt x="5207" y="8860"/>
                    <a:pt x="5207" y="8860"/>
                  </a:cubicBezTo>
                  <a:lnTo>
                    <a:pt x="5063" y="8894"/>
                  </a:lnTo>
                  <a:close/>
                  <a:moveTo>
                    <a:pt x="5097" y="8980"/>
                  </a:moveTo>
                  <a:cubicBezTo>
                    <a:pt x="5079" y="8904"/>
                    <a:pt x="5079" y="8904"/>
                    <a:pt x="5079" y="8904"/>
                  </a:cubicBezTo>
                  <a:cubicBezTo>
                    <a:pt x="5197" y="8876"/>
                    <a:pt x="5197" y="8876"/>
                    <a:pt x="5197" y="8876"/>
                  </a:cubicBezTo>
                  <a:cubicBezTo>
                    <a:pt x="5216" y="8952"/>
                    <a:pt x="5216" y="8952"/>
                    <a:pt x="5216" y="8952"/>
                  </a:cubicBezTo>
                  <a:lnTo>
                    <a:pt x="5097" y="8980"/>
                  </a:lnTo>
                  <a:close/>
                  <a:moveTo>
                    <a:pt x="4861" y="10783"/>
                  </a:moveTo>
                  <a:cubicBezTo>
                    <a:pt x="4881" y="10929"/>
                    <a:pt x="4881" y="10929"/>
                    <a:pt x="4881" y="10929"/>
                  </a:cubicBezTo>
                  <a:cubicBezTo>
                    <a:pt x="4978" y="10916"/>
                    <a:pt x="4978" y="10916"/>
                    <a:pt x="4978" y="10916"/>
                  </a:cubicBezTo>
                  <a:cubicBezTo>
                    <a:pt x="4984" y="10915"/>
                    <a:pt x="4984" y="10915"/>
                    <a:pt x="4984" y="10915"/>
                  </a:cubicBezTo>
                  <a:cubicBezTo>
                    <a:pt x="4964" y="10768"/>
                    <a:pt x="4964" y="10768"/>
                    <a:pt x="4964" y="10768"/>
                  </a:cubicBezTo>
                  <a:lnTo>
                    <a:pt x="4861" y="10783"/>
                  </a:lnTo>
                  <a:close/>
                  <a:moveTo>
                    <a:pt x="4892" y="10915"/>
                  </a:moveTo>
                  <a:cubicBezTo>
                    <a:pt x="4875" y="10794"/>
                    <a:pt x="4875" y="10794"/>
                    <a:pt x="4875" y="10794"/>
                  </a:cubicBezTo>
                  <a:cubicBezTo>
                    <a:pt x="4953" y="10783"/>
                    <a:pt x="4953" y="10783"/>
                    <a:pt x="4953" y="10783"/>
                  </a:cubicBezTo>
                  <a:cubicBezTo>
                    <a:pt x="4970" y="10904"/>
                    <a:pt x="4970" y="10904"/>
                    <a:pt x="4970" y="10904"/>
                  </a:cubicBezTo>
                  <a:lnTo>
                    <a:pt x="4892" y="10915"/>
                  </a:lnTo>
                  <a:close/>
                  <a:moveTo>
                    <a:pt x="5815" y="14728"/>
                  </a:moveTo>
                  <a:cubicBezTo>
                    <a:pt x="5935" y="14643"/>
                    <a:pt x="5935" y="14643"/>
                    <a:pt x="5935" y="14643"/>
                  </a:cubicBezTo>
                  <a:cubicBezTo>
                    <a:pt x="5875" y="14558"/>
                    <a:pt x="5875" y="14558"/>
                    <a:pt x="5875" y="14558"/>
                  </a:cubicBezTo>
                  <a:cubicBezTo>
                    <a:pt x="5754" y="14643"/>
                    <a:pt x="5754" y="14643"/>
                    <a:pt x="5754" y="14643"/>
                  </a:cubicBezTo>
                  <a:cubicBezTo>
                    <a:pt x="5811" y="14723"/>
                    <a:pt x="5811" y="14723"/>
                    <a:pt x="5811" y="14723"/>
                  </a:cubicBezTo>
                  <a:lnTo>
                    <a:pt x="5815" y="14728"/>
                  </a:lnTo>
                  <a:close/>
                  <a:moveTo>
                    <a:pt x="5872" y="14576"/>
                  </a:moveTo>
                  <a:cubicBezTo>
                    <a:pt x="5917" y="14640"/>
                    <a:pt x="5917" y="14640"/>
                    <a:pt x="5917" y="14640"/>
                  </a:cubicBezTo>
                  <a:cubicBezTo>
                    <a:pt x="5818" y="14710"/>
                    <a:pt x="5818" y="14710"/>
                    <a:pt x="5818" y="14710"/>
                  </a:cubicBezTo>
                  <a:cubicBezTo>
                    <a:pt x="5772" y="14646"/>
                    <a:pt x="5772" y="14646"/>
                    <a:pt x="5772" y="14646"/>
                  </a:cubicBezTo>
                  <a:lnTo>
                    <a:pt x="5872" y="14576"/>
                  </a:lnTo>
                  <a:close/>
                  <a:moveTo>
                    <a:pt x="4188" y="10406"/>
                  </a:moveTo>
                  <a:cubicBezTo>
                    <a:pt x="4211" y="10501"/>
                    <a:pt x="4211" y="10501"/>
                    <a:pt x="4211" y="10501"/>
                  </a:cubicBezTo>
                  <a:cubicBezTo>
                    <a:pt x="4213" y="10508"/>
                    <a:pt x="4213" y="10508"/>
                    <a:pt x="4213" y="10508"/>
                  </a:cubicBezTo>
                  <a:cubicBezTo>
                    <a:pt x="4356" y="10473"/>
                    <a:pt x="4356" y="10473"/>
                    <a:pt x="4356" y="10473"/>
                  </a:cubicBezTo>
                  <a:cubicBezTo>
                    <a:pt x="4332" y="10372"/>
                    <a:pt x="4332" y="10372"/>
                    <a:pt x="4332" y="10372"/>
                  </a:cubicBezTo>
                  <a:lnTo>
                    <a:pt x="4188" y="10406"/>
                  </a:lnTo>
                  <a:close/>
                  <a:moveTo>
                    <a:pt x="4222" y="10492"/>
                  </a:moveTo>
                  <a:cubicBezTo>
                    <a:pt x="4204" y="10416"/>
                    <a:pt x="4204" y="10416"/>
                    <a:pt x="4204" y="10416"/>
                  </a:cubicBezTo>
                  <a:cubicBezTo>
                    <a:pt x="4322" y="10387"/>
                    <a:pt x="4322" y="10387"/>
                    <a:pt x="4322" y="10387"/>
                  </a:cubicBezTo>
                  <a:cubicBezTo>
                    <a:pt x="4341" y="10463"/>
                    <a:pt x="4341" y="10463"/>
                    <a:pt x="4341" y="10463"/>
                  </a:cubicBezTo>
                  <a:lnTo>
                    <a:pt x="4222" y="10492"/>
                  </a:lnTo>
                  <a:close/>
                  <a:moveTo>
                    <a:pt x="4375" y="10352"/>
                  </a:moveTo>
                  <a:cubicBezTo>
                    <a:pt x="4398" y="10447"/>
                    <a:pt x="4398" y="10447"/>
                    <a:pt x="4398" y="10447"/>
                  </a:cubicBezTo>
                  <a:cubicBezTo>
                    <a:pt x="4399" y="10453"/>
                    <a:pt x="4399" y="10453"/>
                    <a:pt x="4399" y="10453"/>
                  </a:cubicBezTo>
                  <a:cubicBezTo>
                    <a:pt x="4543" y="10419"/>
                    <a:pt x="4543" y="10419"/>
                    <a:pt x="4543" y="10419"/>
                  </a:cubicBezTo>
                  <a:cubicBezTo>
                    <a:pt x="4519" y="10317"/>
                    <a:pt x="4519" y="10317"/>
                    <a:pt x="4519" y="10317"/>
                  </a:cubicBezTo>
                  <a:lnTo>
                    <a:pt x="4375" y="10352"/>
                  </a:lnTo>
                  <a:close/>
                  <a:moveTo>
                    <a:pt x="4409" y="10438"/>
                  </a:moveTo>
                  <a:cubicBezTo>
                    <a:pt x="4390" y="10361"/>
                    <a:pt x="4390" y="10361"/>
                    <a:pt x="4390" y="10361"/>
                  </a:cubicBezTo>
                  <a:cubicBezTo>
                    <a:pt x="4509" y="10333"/>
                    <a:pt x="4509" y="10333"/>
                    <a:pt x="4509" y="10333"/>
                  </a:cubicBezTo>
                  <a:cubicBezTo>
                    <a:pt x="4527" y="10409"/>
                    <a:pt x="4527" y="10409"/>
                    <a:pt x="4527" y="10409"/>
                  </a:cubicBezTo>
                  <a:lnTo>
                    <a:pt x="4409" y="10438"/>
                  </a:lnTo>
                  <a:close/>
                  <a:moveTo>
                    <a:pt x="4583" y="10399"/>
                  </a:moveTo>
                  <a:cubicBezTo>
                    <a:pt x="4584" y="10406"/>
                    <a:pt x="4584" y="10406"/>
                    <a:pt x="4584" y="10406"/>
                  </a:cubicBezTo>
                  <a:cubicBezTo>
                    <a:pt x="4728" y="10371"/>
                    <a:pt x="4728" y="10371"/>
                    <a:pt x="4728" y="10371"/>
                  </a:cubicBezTo>
                  <a:cubicBezTo>
                    <a:pt x="4704" y="10270"/>
                    <a:pt x="4704" y="10270"/>
                    <a:pt x="4704" y="10270"/>
                  </a:cubicBezTo>
                  <a:cubicBezTo>
                    <a:pt x="4560" y="10304"/>
                    <a:pt x="4560" y="10304"/>
                    <a:pt x="4560" y="10304"/>
                  </a:cubicBezTo>
                  <a:lnTo>
                    <a:pt x="4583" y="10399"/>
                  </a:lnTo>
                  <a:close/>
                  <a:moveTo>
                    <a:pt x="4713" y="10361"/>
                  </a:moveTo>
                  <a:cubicBezTo>
                    <a:pt x="4594" y="10390"/>
                    <a:pt x="4594" y="10390"/>
                    <a:pt x="4594" y="10390"/>
                  </a:cubicBezTo>
                  <a:cubicBezTo>
                    <a:pt x="4575" y="10314"/>
                    <a:pt x="4575" y="10314"/>
                    <a:pt x="4575" y="10314"/>
                  </a:cubicBezTo>
                  <a:cubicBezTo>
                    <a:pt x="4694" y="10285"/>
                    <a:pt x="4694" y="10285"/>
                    <a:pt x="4694" y="10285"/>
                  </a:cubicBezTo>
                  <a:lnTo>
                    <a:pt x="4713" y="10361"/>
                  </a:lnTo>
                  <a:close/>
                  <a:moveTo>
                    <a:pt x="4784" y="10357"/>
                  </a:moveTo>
                  <a:cubicBezTo>
                    <a:pt x="4786" y="10363"/>
                    <a:pt x="4786" y="10363"/>
                    <a:pt x="4786" y="10363"/>
                  </a:cubicBezTo>
                  <a:cubicBezTo>
                    <a:pt x="4930" y="10328"/>
                    <a:pt x="4930" y="10328"/>
                    <a:pt x="4930" y="10328"/>
                  </a:cubicBezTo>
                  <a:cubicBezTo>
                    <a:pt x="4905" y="10227"/>
                    <a:pt x="4905" y="10227"/>
                    <a:pt x="4905" y="10227"/>
                  </a:cubicBezTo>
                  <a:cubicBezTo>
                    <a:pt x="4761" y="10262"/>
                    <a:pt x="4761" y="10262"/>
                    <a:pt x="4761" y="10262"/>
                  </a:cubicBezTo>
                  <a:lnTo>
                    <a:pt x="4784" y="10357"/>
                  </a:lnTo>
                  <a:close/>
                  <a:moveTo>
                    <a:pt x="4914" y="10319"/>
                  </a:moveTo>
                  <a:cubicBezTo>
                    <a:pt x="4795" y="10347"/>
                    <a:pt x="4795" y="10347"/>
                    <a:pt x="4795" y="10347"/>
                  </a:cubicBezTo>
                  <a:cubicBezTo>
                    <a:pt x="4777" y="10271"/>
                    <a:pt x="4777" y="10271"/>
                    <a:pt x="4777" y="10271"/>
                  </a:cubicBezTo>
                  <a:cubicBezTo>
                    <a:pt x="4896" y="10243"/>
                    <a:pt x="4896" y="10243"/>
                    <a:pt x="4896" y="10243"/>
                  </a:cubicBezTo>
                  <a:lnTo>
                    <a:pt x="4914" y="10319"/>
                  </a:lnTo>
                  <a:close/>
                  <a:moveTo>
                    <a:pt x="5046" y="10206"/>
                  </a:moveTo>
                  <a:cubicBezTo>
                    <a:pt x="5061" y="10303"/>
                    <a:pt x="5061" y="10303"/>
                    <a:pt x="5061" y="10303"/>
                  </a:cubicBezTo>
                  <a:cubicBezTo>
                    <a:pt x="5063" y="10309"/>
                    <a:pt x="5063" y="10309"/>
                    <a:pt x="5063" y="10309"/>
                  </a:cubicBezTo>
                  <a:cubicBezTo>
                    <a:pt x="5209" y="10286"/>
                    <a:pt x="5209" y="10286"/>
                    <a:pt x="5209" y="10286"/>
                  </a:cubicBezTo>
                  <a:cubicBezTo>
                    <a:pt x="5192" y="10183"/>
                    <a:pt x="5192" y="10183"/>
                    <a:pt x="5192" y="10183"/>
                  </a:cubicBezTo>
                  <a:lnTo>
                    <a:pt x="5046" y="10206"/>
                  </a:lnTo>
                  <a:close/>
                  <a:moveTo>
                    <a:pt x="5073" y="10294"/>
                  </a:moveTo>
                  <a:cubicBezTo>
                    <a:pt x="5061" y="10217"/>
                    <a:pt x="5061" y="10217"/>
                    <a:pt x="5061" y="10217"/>
                  </a:cubicBezTo>
                  <a:cubicBezTo>
                    <a:pt x="5181" y="10197"/>
                    <a:pt x="5181" y="10197"/>
                    <a:pt x="5181" y="10197"/>
                  </a:cubicBezTo>
                  <a:cubicBezTo>
                    <a:pt x="5194" y="10275"/>
                    <a:pt x="5194" y="10275"/>
                    <a:pt x="5194" y="10275"/>
                  </a:cubicBezTo>
                  <a:lnTo>
                    <a:pt x="5073" y="10294"/>
                  </a:lnTo>
                  <a:close/>
                  <a:moveTo>
                    <a:pt x="5752" y="10212"/>
                  </a:moveTo>
                  <a:cubicBezTo>
                    <a:pt x="5752" y="10218"/>
                    <a:pt x="5752" y="10218"/>
                    <a:pt x="5752" y="10218"/>
                  </a:cubicBezTo>
                  <a:cubicBezTo>
                    <a:pt x="5899" y="10227"/>
                    <a:pt x="5899" y="10227"/>
                    <a:pt x="5899" y="10227"/>
                  </a:cubicBezTo>
                  <a:cubicBezTo>
                    <a:pt x="5906" y="10123"/>
                    <a:pt x="5906" y="10123"/>
                    <a:pt x="5906" y="10123"/>
                  </a:cubicBezTo>
                  <a:cubicBezTo>
                    <a:pt x="5758" y="10114"/>
                    <a:pt x="5758" y="10114"/>
                    <a:pt x="5758" y="10114"/>
                  </a:cubicBezTo>
                  <a:lnTo>
                    <a:pt x="5752" y="10212"/>
                  </a:lnTo>
                  <a:close/>
                  <a:moveTo>
                    <a:pt x="5770" y="10128"/>
                  </a:moveTo>
                  <a:cubicBezTo>
                    <a:pt x="5892" y="10135"/>
                    <a:pt x="5892" y="10135"/>
                    <a:pt x="5892" y="10135"/>
                  </a:cubicBezTo>
                  <a:cubicBezTo>
                    <a:pt x="5887" y="10213"/>
                    <a:pt x="5887" y="10213"/>
                    <a:pt x="5887" y="10213"/>
                  </a:cubicBezTo>
                  <a:cubicBezTo>
                    <a:pt x="5765" y="10206"/>
                    <a:pt x="5765" y="10206"/>
                    <a:pt x="5765" y="10206"/>
                  </a:cubicBezTo>
                  <a:lnTo>
                    <a:pt x="5770" y="10128"/>
                  </a:lnTo>
                  <a:close/>
                  <a:moveTo>
                    <a:pt x="5436" y="9892"/>
                  </a:moveTo>
                  <a:cubicBezTo>
                    <a:pt x="5448" y="9989"/>
                    <a:pt x="5448" y="9989"/>
                    <a:pt x="5448" y="9989"/>
                  </a:cubicBezTo>
                  <a:cubicBezTo>
                    <a:pt x="5449" y="9996"/>
                    <a:pt x="5449" y="9996"/>
                    <a:pt x="5449" y="9996"/>
                  </a:cubicBezTo>
                  <a:cubicBezTo>
                    <a:pt x="5596" y="9977"/>
                    <a:pt x="5596" y="9977"/>
                    <a:pt x="5596" y="9977"/>
                  </a:cubicBezTo>
                  <a:cubicBezTo>
                    <a:pt x="5582" y="9873"/>
                    <a:pt x="5582" y="9873"/>
                    <a:pt x="5582" y="9873"/>
                  </a:cubicBezTo>
                  <a:lnTo>
                    <a:pt x="5436" y="9892"/>
                  </a:lnTo>
                  <a:close/>
                  <a:moveTo>
                    <a:pt x="5460" y="9981"/>
                  </a:moveTo>
                  <a:cubicBezTo>
                    <a:pt x="5450" y="9903"/>
                    <a:pt x="5450" y="9903"/>
                    <a:pt x="5450" y="9903"/>
                  </a:cubicBezTo>
                  <a:cubicBezTo>
                    <a:pt x="5571" y="9888"/>
                    <a:pt x="5571" y="9888"/>
                    <a:pt x="5571" y="9888"/>
                  </a:cubicBezTo>
                  <a:cubicBezTo>
                    <a:pt x="5581" y="9966"/>
                    <a:pt x="5581" y="9966"/>
                    <a:pt x="5581" y="9966"/>
                  </a:cubicBezTo>
                  <a:lnTo>
                    <a:pt x="5460" y="9981"/>
                  </a:lnTo>
                  <a:close/>
                  <a:moveTo>
                    <a:pt x="3795" y="17019"/>
                  </a:moveTo>
                  <a:cubicBezTo>
                    <a:pt x="3851" y="17098"/>
                    <a:pt x="3851" y="17098"/>
                    <a:pt x="3851" y="17098"/>
                  </a:cubicBezTo>
                  <a:cubicBezTo>
                    <a:pt x="3855" y="17104"/>
                    <a:pt x="3855" y="17104"/>
                    <a:pt x="3855" y="17104"/>
                  </a:cubicBezTo>
                  <a:cubicBezTo>
                    <a:pt x="3976" y="17018"/>
                    <a:pt x="3976" y="17018"/>
                    <a:pt x="3976" y="17018"/>
                  </a:cubicBezTo>
                  <a:cubicBezTo>
                    <a:pt x="3915" y="16933"/>
                    <a:pt x="3915" y="16933"/>
                    <a:pt x="3915" y="16933"/>
                  </a:cubicBezTo>
                  <a:lnTo>
                    <a:pt x="3795" y="17019"/>
                  </a:lnTo>
                  <a:close/>
                  <a:moveTo>
                    <a:pt x="3858" y="17086"/>
                  </a:moveTo>
                  <a:cubicBezTo>
                    <a:pt x="3813" y="17022"/>
                    <a:pt x="3813" y="17022"/>
                    <a:pt x="3813" y="17022"/>
                  </a:cubicBezTo>
                  <a:cubicBezTo>
                    <a:pt x="3912" y="16951"/>
                    <a:pt x="3912" y="16951"/>
                    <a:pt x="3912" y="16951"/>
                  </a:cubicBezTo>
                  <a:cubicBezTo>
                    <a:pt x="3958" y="17015"/>
                    <a:pt x="3958" y="17015"/>
                    <a:pt x="3958" y="17015"/>
                  </a:cubicBezTo>
                  <a:lnTo>
                    <a:pt x="3858" y="17086"/>
                  </a:lnTo>
                  <a:close/>
                  <a:moveTo>
                    <a:pt x="3858" y="17629"/>
                  </a:moveTo>
                  <a:cubicBezTo>
                    <a:pt x="3914" y="17708"/>
                    <a:pt x="3914" y="17708"/>
                    <a:pt x="3914" y="17708"/>
                  </a:cubicBezTo>
                  <a:cubicBezTo>
                    <a:pt x="3918" y="17714"/>
                    <a:pt x="3918" y="17714"/>
                    <a:pt x="3918" y="17714"/>
                  </a:cubicBezTo>
                  <a:cubicBezTo>
                    <a:pt x="4039" y="17628"/>
                    <a:pt x="4039" y="17628"/>
                    <a:pt x="4039" y="17628"/>
                  </a:cubicBezTo>
                  <a:cubicBezTo>
                    <a:pt x="3978" y="17543"/>
                    <a:pt x="3978" y="17543"/>
                    <a:pt x="3978" y="17543"/>
                  </a:cubicBezTo>
                  <a:lnTo>
                    <a:pt x="3858" y="17629"/>
                  </a:lnTo>
                  <a:close/>
                  <a:moveTo>
                    <a:pt x="3921" y="17696"/>
                  </a:moveTo>
                  <a:cubicBezTo>
                    <a:pt x="3876" y="17632"/>
                    <a:pt x="3876" y="17632"/>
                    <a:pt x="3876" y="17632"/>
                  </a:cubicBezTo>
                  <a:cubicBezTo>
                    <a:pt x="3975" y="17561"/>
                    <a:pt x="3975" y="17561"/>
                    <a:pt x="3975" y="17561"/>
                  </a:cubicBezTo>
                  <a:cubicBezTo>
                    <a:pt x="4021" y="17625"/>
                    <a:pt x="4021" y="17625"/>
                    <a:pt x="4021" y="17625"/>
                  </a:cubicBezTo>
                  <a:lnTo>
                    <a:pt x="3921" y="17696"/>
                  </a:lnTo>
                  <a:close/>
                  <a:moveTo>
                    <a:pt x="4352" y="18000"/>
                  </a:moveTo>
                  <a:cubicBezTo>
                    <a:pt x="4352" y="18002"/>
                    <a:pt x="4352" y="18002"/>
                    <a:pt x="4352" y="18002"/>
                  </a:cubicBezTo>
                  <a:cubicBezTo>
                    <a:pt x="4351" y="18009"/>
                    <a:pt x="4351" y="18009"/>
                    <a:pt x="4351" y="18009"/>
                  </a:cubicBezTo>
                  <a:cubicBezTo>
                    <a:pt x="4499" y="18020"/>
                    <a:pt x="4499" y="18020"/>
                    <a:pt x="4499" y="18020"/>
                  </a:cubicBezTo>
                  <a:cubicBezTo>
                    <a:pt x="4500" y="18000"/>
                    <a:pt x="4500" y="18000"/>
                    <a:pt x="4500" y="18000"/>
                  </a:cubicBezTo>
                  <a:cubicBezTo>
                    <a:pt x="4507" y="17916"/>
                    <a:pt x="4507" y="17916"/>
                    <a:pt x="4507" y="17916"/>
                  </a:cubicBezTo>
                  <a:cubicBezTo>
                    <a:pt x="4359" y="17905"/>
                    <a:pt x="4359" y="17905"/>
                    <a:pt x="4359" y="17905"/>
                  </a:cubicBezTo>
                  <a:lnTo>
                    <a:pt x="4352" y="18000"/>
                  </a:lnTo>
                  <a:close/>
                  <a:moveTo>
                    <a:pt x="4371" y="17919"/>
                  </a:moveTo>
                  <a:cubicBezTo>
                    <a:pt x="4493" y="17928"/>
                    <a:pt x="4493" y="17928"/>
                    <a:pt x="4493" y="17928"/>
                  </a:cubicBezTo>
                  <a:cubicBezTo>
                    <a:pt x="4487" y="18000"/>
                    <a:pt x="4487" y="18000"/>
                    <a:pt x="4487" y="18000"/>
                  </a:cubicBezTo>
                  <a:cubicBezTo>
                    <a:pt x="4487" y="18006"/>
                    <a:pt x="4487" y="18006"/>
                    <a:pt x="4487" y="18006"/>
                  </a:cubicBezTo>
                  <a:cubicBezTo>
                    <a:pt x="4409" y="18000"/>
                    <a:pt x="4409" y="18000"/>
                    <a:pt x="4409" y="18000"/>
                  </a:cubicBezTo>
                  <a:cubicBezTo>
                    <a:pt x="4365" y="17997"/>
                    <a:pt x="4365" y="17997"/>
                    <a:pt x="4365" y="17997"/>
                  </a:cubicBezTo>
                  <a:lnTo>
                    <a:pt x="4371" y="17919"/>
                  </a:lnTo>
                  <a:close/>
                  <a:moveTo>
                    <a:pt x="3865" y="15186"/>
                  </a:moveTo>
                  <a:cubicBezTo>
                    <a:pt x="3915" y="15270"/>
                    <a:pt x="3915" y="15270"/>
                    <a:pt x="3915" y="15270"/>
                  </a:cubicBezTo>
                  <a:cubicBezTo>
                    <a:pt x="3918" y="15276"/>
                    <a:pt x="3918" y="15276"/>
                    <a:pt x="3918" y="15276"/>
                  </a:cubicBezTo>
                  <a:cubicBezTo>
                    <a:pt x="4046" y="15202"/>
                    <a:pt x="4046" y="15202"/>
                    <a:pt x="4046" y="15202"/>
                  </a:cubicBezTo>
                  <a:cubicBezTo>
                    <a:pt x="3993" y="15112"/>
                    <a:pt x="3993" y="15112"/>
                    <a:pt x="3993" y="15112"/>
                  </a:cubicBezTo>
                  <a:lnTo>
                    <a:pt x="3865" y="15186"/>
                  </a:lnTo>
                  <a:close/>
                  <a:moveTo>
                    <a:pt x="3922" y="15258"/>
                  </a:moveTo>
                  <a:cubicBezTo>
                    <a:pt x="3883" y="15190"/>
                    <a:pt x="3883" y="15190"/>
                    <a:pt x="3883" y="15190"/>
                  </a:cubicBezTo>
                  <a:cubicBezTo>
                    <a:pt x="3989" y="15129"/>
                    <a:pt x="3989" y="15129"/>
                    <a:pt x="3989" y="15129"/>
                  </a:cubicBezTo>
                  <a:cubicBezTo>
                    <a:pt x="4028" y="15197"/>
                    <a:pt x="4028" y="15197"/>
                    <a:pt x="4028" y="15197"/>
                  </a:cubicBezTo>
                  <a:lnTo>
                    <a:pt x="3922" y="15258"/>
                  </a:lnTo>
                  <a:close/>
                  <a:moveTo>
                    <a:pt x="4409" y="15530"/>
                  </a:moveTo>
                  <a:cubicBezTo>
                    <a:pt x="4465" y="15610"/>
                    <a:pt x="4465" y="15610"/>
                    <a:pt x="4465" y="15610"/>
                  </a:cubicBezTo>
                  <a:cubicBezTo>
                    <a:pt x="4469" y="15615"/>
                    <a:pt x="4469" y="15615"/>
                    <a:pt x="4469" y="15615"/>
                  </a:cubicBezTo>
                  <a:cubicBezTo>
                    <a:pt x="4590" y="15530"/>
                    <a:pt x="4590" y="15530"/>
                    <a:pt x="4590" y="15530"/>
                  </a:cubicBezTo>
                  <a:cubicBezTo>
                    <a:pt x="4530" y="15445"/>
                    <a:pt x="4530" y="15445"/>
                    <a:pt x="4530" y="15445"/>
                  </a:cubicBezTo>
                  <a:lnTo>
                    <a:pt x="4409" y="15530"/>
                  </a:lnTo>
                  <a:close/>
                  <a:moveTo>
                    <a:pt x="4472" y="15597"/>
                  </a:moveTo>
                  <a:cubicBezTo>
                    <a:pt x="4427" y="15533"/>
                    <a:pt x="4427" y="15533"/>
                    <a:pt x="4427" y="15533"/>
                  </a:cubicBezTo>
                  <a:cubicBezTo>
                    <a:pt x="4527" y="15463"/>
                    <a:pt x="4527" y="15463"/>
                    <a:pt x="4527" y="15463"/>
                  </a:cubicBezTo>
                  <a:cubicBezTo>
                    <a:pt x="4572" y="15527"/>
                    <a:pt x="4572" y="15527"/>
                    <a:pt x="4572" y="15527"/>
                  </a:cubicBezTo>
                  <a:lnTo>
                    <a:pt x="4472" y="15597"/>
                  </a:lnTo>
                  <a:close/>
                  <a:moveTo>
                    <a:pt x="2212" y="14962"/>
                  </a:moveTo>
                  <a:cubicBezTo>
                    <a:pt x="2309" y="14850"/>
                    <a:pt x="2309" y="14850"/>
                    <a:pt x="2309" y="14850"/>
                  </a:cubicBezTo>
                  <a:cubicBezTo>
                    <a:pt x="2231" y="14782"/>
                    <a:pt x="2231" y="14782"/>
                    <a:pt x="2231" y="14782"/>
                  </a:cubicBezTo>
                  <a:cubicBezTo>
                    <a:pt x="2134" y="14894"/>
                    <a:pt x="2134" y="14894"/>
                    <a:pt x="2134" y="14894"/>
                  </a:cubicBezTo>
                  <a:cubicBezTo>
                    <a:pt x="2208" y="14958"/>
                    <a:pt x="2208" y="14958"/>
                    <a:pt x="2208" y="14958"/>
                  </a:cubicBezTo>
                  <a:lnTo>
                    <a:pt x="2212" y="14962"/>
                  </a:lnTo>
                  <a:close/>
                  <a:moveTo>
                    <a:pt x="2232" y="14800"/>
                  </a:moveTo>
                  <a:cubicBezTo>
                    <a:pt x="2291" y="14852"/>
                    <a:pt x="2291" y="14852"/>
                    <a:pt x="2291" y="14852"/>
                  </a:cubicBezTo>
                  <a:cubicBezTo>
                    <a:pt x="2211" y="14944"/>
                    <a:pt x="2211" y="14944"/>
                    <a:pt x="2211" y="14944"/>
                  </a:cubicBezTo>
                  <a:cubicBezTo>
                    <a:pt x="2152" y="14892"/>
                    <a:pt x="2152" y="14892"/>
                    <a:pt x="2152" y="14892"/>
                  </a:cubicBezTo>
                  <a:lnTo>
                    <a:pt x="2232" y="14800"/>
                  </a:lnTo>
                  <a:close/>
                  <a:moveTo>
                    <a:pt x="4369" y="15395"/>
                  </a:moveTo>
                  <a:cubicBezTo>
                    <a:pt x="4369" y="15401"/>
                    <a:pt x="4369" y="15401"/>
                    <a:pt x="4369" y="15401"/>
                  </a:cubicBezTo>
                  <a:cubicBezTo>
                    <a:pt x="4445" y="15401"/>
                    <a:pt x="4445" y="15401"/>
                    <a:pt x="4445" y="15401"/>
                  </a:cubicBezTo>
                  <a:cubicBezTo>
                    <a:pt x="4445" y="15310"/>
                    <a:pt x="4445" y="15310"/>
                    <a:pt x="4445" y="15310"/>
                  </a:cubicBezTo>
                  <a:cubicBezTo>
                    <a:pt x="4384" y="15310"/>
                    <a:pt x="4384" y="15310"/>
                    <a:pt x="4384" y="15310"/>
                  </a:cubicBezTo>
                  <a:cubicBezTo>
                    <a:pt x="4384" y="15294"/>
                    <a:pt x="4384" y="15294"/>
                    <a:pt x="4384" y="15294"/>
                  </a:cubicBezTo>
                  <a:cubicBezTo>
                    <a:pt x="4429" y="15294"/>
                    <a:pt x="4429" y="15294"/>
                    <a:pt x="4429" y="15294"/>
                  </a:cubicBezTo>
                  <a:cubicBezTo>
                    <a:pt x="4429" y="15203"/>
                    <a:pt x="4429" y="15203"/>
                    <a:pt x="4429" y="15203"/>
                  </a:cubicBezTo>
                  <a:cubicBezTo>
                    <a:pt x="4353" y="15203"/>
                    <a:pt x="4353" y="15203"/>
                    <a:pt x="4353" y="15203"/>
                  </a:cubicBezTo>
                  <a:cubicBezTo>
                    <a:pt x="4353" y="15270"/>
                    <a:pt x="4353" y="15270"/>
                    <a:pt x="4353" y="15270"/>
                  </a:cubicBezTo>
                  <a:cubicBezTo>
                    <a:pt x="4308" y="15270"/>
                    <a:pt x="4308" y="15270"/>
                    <a:pt x="4308" y="15270"/>
                  </a:cubicBezTo>
                  <a:cubicBezTo>
                    <a:pt x="4308" y="15355"/>
                    <a:pt x="4308" y="15355"/>
                    <a:pt x="4308" y="15355"/>
                  </a:cubicBezTo>
                  <a:cubicBezTo>
                    <a:pt x="4308" y="15362"/>
                    <a:pt x="4308" y="15362"/>
                    <a:pt x="4308" y="15362"/>
                  </a:cubicBezTo>
                  <a:cubicBezTo>
                    <a:pt x="4369" y="15362"/>
                    <a:pt x="4369" y="15362"/>
                    <a:pt x="4369" y="15362"/>
                  </a:cubicBezTo>
                  <a:lnTo>
                    <a:pt x="4369" y="15395"/>
                  </a:lnTo>
                  <a:close/>
                  <a:moveTo>
                    <a:pt x="4432" y="15323"/>
                  </a:moveTo>
                  <a:cubicBezTo>
                    <a:pt x="4432" y="15388"/>
                    <a:pt x="4432" y="15388"/>
                    <a:pt x="4432" y="15388"/>
                  </a:cubicBezTo>
                  <a:cubicBezTo>
                    <a:pt x="4382" y="15388"/>
                    <a:pt x="4382" y="15388"/>
                    <a:pt x="4382" y="15388"/>
                  </a:cubicBezTo>
                  <a:cubicBezTo>
                    <a:pt x="4382" y="15362"/>
                    <a:pt x="4382" y="15362"/>
                    <a:pt x="4382" y="15362"/>
                  </a:cubicBezTo>
                  <a:cubicBezTo>
                    <a:pt x="4384" y="15362"/>
                    <a:pt x="4384" y="15362"/>
                    <a:pt x="4384" y="15362"/>
                  </a:cubicBezTo>
                  <a:cubicBezTo>
                    <a:pt x="4384" y="15323"/>
                    <a:pt x="4384" y="15323"/>
                    <a:pt x="4384" y="15323"/>
                  </a:cubicBezTo>
                  <a:lnTo>
                    <a:pt x="4432" y="15323"/>
                  </a:lnTo>
                  <a:close/>
                  <a:moveTo>
                    <a:pt x="4366" y="15216"/>
                  </a:moveTo>
                  <a:cubicBezTo>
                    <a:pt x="4416" y="15216"/>
                    <a:pt x="4416" y="15216"/>
                    <a:pt x="4416" y="15216"/>
                  </a:cubicBezTo>
                  <a:cubicBezTo>
                    <a:pt x="4416" y="15281"/>
                    <a:pt x="4416" y="15281"/>
                    <a:pt x="4416" y="15281"/>
                  </a:cubicBezTo>
                  <a:cubicBezTo>
                    <a:pt x="4384" y="15281"/>
                    <a:pt x="4384" y="15281"/>
                    <a:pt x="4384" y="15281"/>
                  </a:cubicBezTo>
                  <a:cubicBezTo>
                    <a:pt x="4384" y="15270"/>
                    <a:pt x="4384" y="15270"/>
                    <a:pt x="4384" y="15270"/>
                  </a:cubicBezTo>
                  <a:cubicBezTo>
                    <a:pt x="4366" y="15270"/>
                    <a:pt x="4366" y="15270"/>
                    <a:pt x="4366" y="15270"/>
                  </a:cubicBezTo>
                  <a:lnTo>
                    <a:pt x="4366" y="15216"/>
                  </a:lnTo>
                  <a:close/>
                  <a:moveTo>
                    <a:pt x="4322" y="15348"/>
                  </a:moveTo>
                  <a:cubicBezTo>
                    <a:pt x="4322" y="15283"/>
                    <a:pt x="4322" y="15283"/>
                    <a:pt x="4322" y="15283"/>
                  </a:cubicBezTo>
                  <a:cubicBezTo>
                    <a:pt x="4353" y="15283"/>
                    <a:pt x="4353" y="15283"/>
                    <a:pt x="4353" y="15283"/>
                  </a:cubicBezTo>
                  <a:cubicBezTo>
                    <a:pt x="4353" y="15287"/>
                    <a:pt x="4353" y="15287"/>
                    <a:pt x="4353" y="15287"/>
                  </a:cubicBezTo>
                  <a:cubicBezTo>
                    <a:pt x="4353" y="15294"/>
                    <a:pt x="4353" y="15294"/>
                    <a:pt x="4353" y="15294"/>
                  </a:cubicBezTo>
                  <a:cubicBezTo>
                    <a:pt x="4371" y="15294"/>
                    <a:pt x="4371" y="15294"/>
                    <a:pt x="4371" y="15294"/>
                  </a:cubicBezTo>
                  <a:cubicBezTo>
                    <a:pt x="4371" y="15310"/>
                    <a:pt x="4371" y="15310"/>
                    <a:pt x="4371" y="15310"/>
                  </a:cubicBezTo>
                  <a:cubicBezTo>
                    <a:pt x="4369" y="15310"/>
                    <a:pt x="4369" y="15310"/>
                    <a:pt x="4369" y="15310"/>
                  </a:cubicBezTo>
                  <a:cubicBezTo>
                    <a:pt x="4369" y="15348"/>
                    <a:pt x="4369" y="15348"/>
                    <a:pt x="4369" y="15348"/>
                  </a:cubicBezTo>
                  <a:lnTo>
                    <a:pt x="4322" y="15348"/>
                  </a:lnTo>
                  <a:close/>
                  <a:moveTo>
                    <a:pt x="6238" y="14689"/>
                  </a:moveTo>
                  <a:cubicBezTo>
                    <a:pt x="6162" y="14689"/>
                    <a:pt x="6162" y="14689"/>
                    <a:pt x="6162" y="14689"/>
                  </a:cubicBezTo>
                  <a:cubicBezTo>
                    <a:pt x="6162" y="14773"/>
                    <a:pt x="6162" y="14773"/>
                    <a:pt x="6162" y="14773"/>
                  </a:cubicBezTo>
                  <a:cubicBezTo>
                    <a:pt x="6162" y="14780"/>
                    <a:pt x="6162" y="14780"/>
                    <a:pt x="6162" y="14780"/>
                  </a:cubicBezTo>
                  <a:cubicBezTo>
                    <a:pt x="6238" y="14780"/>
                    <a:pt x="6238" y="14780"/>
                    <a:pt x="6238" y="14780"/>
                  </a:cubicBezTo>
                  <a:lnTo>
                    <a:pt x="6238" y="14689"/>
                  </a:lnTo>
                  <a:close/>
                  <a:moveTo>
                    <a:pt x="6225" y="14767"/>
                  </a:moveTo>
                  <a:cubicBezTo>
                    <a:pt x="6175" y="14767"/>
                    <a:pt x="6175" y="14767"/>
                    <a:pt x="6175" y="14767"/>
                  </a:cubicBezTo>
                  <a:cubicBezTo>
                    <a:pt x="6175" y="14702"/>
                    <a:pt x="6175" y="14702"/>
                    <a:pt x="6175" y="14702"/>
                  </a:cubicBezTo>
                  <a:cubicBezTo>
                    <a:pt x="6225" y="14702"/>
                    <a:pt x="6225" y="14702"/>
                    <a:pt x="6225" y="14702"/>
                  </a:cubicBezTo>
                  <a:lnTo>
                    <a:pt x="6225" y="14767"/>
                  </a:lnTo>
                  <a:close/>
                  <a:moveTo>
                    <a:pt x="6475" y="14694"/>
                  </a:moveTo>
                  <a:cubicBezTo>
                    <a:pt x="6400" y="14694"/>
                    <a:pt x="6400" y="14694"/>
                    <a:pt x="6400" y="14694"/>
                  </a:cubicBezTo>
                  <a:cubicBezTo>
                    <a:pt x="6400" y="14779"/>
                    <a:pt x="6400" y="14779"/>
                    <a:pt x="6400" y="14779"/>
                  </a:cubicBezTo>
                  <a:cubicBezTo>
                    <a:pt x="6400" y="14785"/>
                    <a:pt x="6400" y="14785"/>
                    <a:pt x="6400" y="14785"/>
                  </a:cubicBezTo>
                  <a:cubicBezTo>
                    <a:pt x="6475" y="14785"/>
                    <a:pt x="6475" y="14785"/>
                    <a:pt x="6475" y="14785"/>
                  </a:cubicBezTo>
                  <a:lnTo>
                    <a:pt x="6475" y="14694"/>
                  </a:lnTo>
                  <a:close/>
                  <a:moveTo>
                    <a:pt x="6462" y="14772"/>
                  </a:moveTo>
                  <a:cubicBezTo>
                    <a:pt x="6413" y="14772"/>
                    <a:pt x="6413" y="14772"/>
                    <a:pt x="6413" y="14772"/>
                  </a:cubicBezTo>
                  <a:cubicBezTo>
                    <a:pt x="6413" y="14707"/>
                    <a:pt x="6413" y="14707"/>
                    <a:pt x="6413" y="14707"/>
                  </a:cubicBezTo>
                  <a:cubicBezTo>
                    <a:pt x="6462" y="14707"/>
                    <a:pt x="6462" y="14707"/>
                    <a:pt x="6462" y="14707"/>
                  </a:cubicBezTo>
                  <a:lnTo>
                    <a:pt x="6462" y="14772"/>
                  </a:lnTo>
                  <a:close/>
                  <a:moveTo>
                    <a:pt x="6601" y="13574"/>
                  </a:moveTo>
                  <a:cubicBezTo>
                    <a:pt x="6518" y="13576"/>
                    <a:pt x="6518" y="13576"/>
                    <a:pt x="6518" y="13576"/>
                  </a:cubicBezTo>
                  <a:cubicBezTo>
                    <a:pt x="6520" y="13757"/>
                    <a:pt x="6520" y="13757"/>
                    <a:pt x="6520" y="13757"/>
                  </a:cubicBezTo>
                  <a:cubicBezTo>
                    <a:pt x="6643" y="13758"/>
                    <a:pt x="6643" y="13758"/>
                    <a:pt x="6643" y="13758"/>
                  </a:cubicBezTo>
                  <a:cubicBezTo>
                    <a:pt x="6643" y="13660"/>
                    <a:pt x="6643" y="13660"/>
                    <a:pt x="6643" y="13660"/>
                  </a:cubicBezTo>
                  <a:cubicBezTo>
                    <a:pt x="6730" y="13659"/>
                    <a:pt x="6730" y="13659"/>
                    <a:pt x="6730" y="13659"/>
                  </a:cubicBezTo>
                  <a:cubicBezTo>
                    <a:pt x="6731" y="13489"/>
                    <a:pt x="6731" y="13489"/>
                    <a:pt x="6731" y="13489"/>
                  </a:cubicBezTo>
                  <a:cubicBezTo>
                    <a:pt x="6601" y="13490"/>
                    <a:pt x="6601" y="13490"/>
                    <a:pt x="6601" y="13490"/>
                  </a:cubicBezTo>
                  <a:lnTo>
                    <a:pt x="6601" y="13574"/>
                  </a:lnTo>
                  <a:close/>
                  <a:moveTo>
                    <a:pt x="6718" y="13502"/>
                  </a:moveTo>
                  <a:cubicBezTo>
                    <a:pt x="6717" y="13646"/>
                    <a:pt x="6717" y="13646"/>
                    <a:pt x="6717" y="13646"/>
                  </a:cubicBezTo>
                  <a:cubicBezTo>
                    <a:pt x="6637" y="13647"/>
                    <a:pt x="6637" y="13647"/>
                    <a:pt x="6637" y="13647"/>
                  </a:cubicBezTo>
                  <a:cubicBezTo>
                    <a:pt x="6630" y="13647"/>
                    <a:pt x="6630" y="13647"/>
                    <a:pt x="6630" y="13647"/>
                  </a:cubicBezTo>
                  <a:cubicBezTo>
                    <a:pt x="6630" y="13744"/>
                    <a:pt x="6630" y="13744"/>
                    <a:pt x="6630" y="13744"/>
                  </a:cubicBezTo>
                  <a:cubicBezTo>
                    <a:pt x="6533" y="13744"/>
                    <a:pt x="6533" y="13744"/>
                    <a:pt x="6533" y="13744"/>
                  </a:cubicBezTo>
                  <a:cubicBezTo>
                    <a:pt x="6531" y="13588"/>
                    <a:pt x="6531" y="13588"/>
                    <a:pt x="6531" y="13588"/>
                  </a:cubicBezTo>
                  <a:cubicBezTo>
                    <a:pt x="6615" y="13587"/>
                    <a:pt x="6615" y="13587"/>
                    <a:pt x="6615" y="13587"/>
                  </a:cubicBezTo>
                  <a:cubicBezTo>
                    <a:pt x="6614" y="13503"/>
                    <a:pt x="6614" y="13503"/>
                    <a:pt x="6614" y="13503"/>
                  </a:cubicBezTo>
                  <a:lnTo>
                    <a:pt x="6718" y="13502"/>
                  </a:lnTo>
                  <a:close/>
                  <a:moveTo>
                    <a:pt x="7083" y="13508"/>
                  </a:moveTo>
                  <a:cubicBezTo>
                    <a:pt x="7000" y="13509"/>
                    <a:pt x="7000" y="13509"/>
                    <a:pt x="7000" y="13509"/>
                  </a:cubicBezTo>
                  <a:cubicBezTo>
                    <a:pt x="7002" y="13691"/>
                    <a:pt x="7002" y="13691"/>
                    <a:pt x="7002" y="13691"/>
                  </a:cubicBezTo>
                  <a:cubicBezTo>
                    <a:pt x="7125" y="13691"/>
                    <a:pt x="7125" y="13691"/>
                    <a:pt x="7125" y="13691"/>
                  </a:cubicBezTo>
                  <a:cubicBezTo>
                    <a:pt x="7125" y="13594"/>
                    <a:pt x="7125" y="13594"/>
                    <a:pt x="7125" y="13594"/>
                  </a:cubicBezTo>
                  <a:cubicBezTo>
                    <a:pt x="7212" y="13593"/>
                    <a:pt x="7212" y="13593"/>
                    <a:pt x="7212" y="13593"/>
                  </a:cubicBezTo>
                  <a:cubicBezTo>
                    <a:pt x="7213" y="13422"/>
                    <a:pt x="7213" y="13422"/>
                    <a:pt x="7213" y="13422"/>
                  </a:cubicBezTo>
                  <a:cubicBezTo>
                    <a:pt x="7083" y="13423"/>
                    <a:pt x="7083" y="13423"/>
                    <a:pt x="7083" y="13423"/>
                  </a:cubicBezTo>
                  <a:lnTo>
                    <a:pt x="7083" y="13508"/>
                  </a:lnTo>
                  <a:close/>
                  <a:moveTo>
                    <a:pt x="7200" y="13435"/>
                  </a:moveTo>
                  <a:cubicBezTo>
                    <a:pt x="7199" y="13580"/>
                    <a:pt x="7199" y="13580"/>
                    <a:pt x="7199" y="13580"/>
                  </a:cubicBezTo>
                  <a:cubicBezTo>
                    <a:pt x="7119" y="13580"/>
                    <a:pt x="7119" y="13580"/>
                    <a:pt x="7119" y="13580"/>
                  </a:cubicBezTo>
                  <a:cubicBezTo>
                    <a:pt x="7112" y="13581"/>
                    <a:pt x="7112" y="13581"/>
                    <a:pt x="7112" y="13581"/>
                  </a:cubicBezTo>
                  <a:cubicBezTo>
                    <a:pt x="7112" y="13678"/>
                    <a:pt x="7112" y="13678"/>
                    <a:pt x="7112" y="13678"/>
                  </a:cubicBezTo>
                  <a:cubicBezTo>
                    <a:pt x="7015" y="13678"/>
                    <a:pt x="7015" y="13678"/>
                    <a:pt x="7015" y="13678"/>
                  </a:cubicBezTo>
                  <a:cubicBezTo>
                    <a:pt x="7013" y="13522"/>
                    <a:pt x="7013" y="13522"/>
                    <a:pt x="7013" y="13522"/>
                  </a:cubicBezTo>
                  <a:cubicBezTo>
                    <a:pt x="7097" y="13521"/>
                    <a:pt x="7097" y="13521"/>
                    <a:pt x="7097" y="13521"/>
                  </a:cubicBezTo>
                  <a:cubicBezTo>
                    <a:pt x="7096" y="13436"/>
                    <a:pt x="7096" y="13436"/>
                    <a:pt x="7096" y="13436"/>
                  </a:cubicBezTo>
                  <a:lnTo>
                    <a:pt x="7200" y="13435"/>
                  </a:lnTo>
                  <a:close/>
                  <a:moveTo>
                    <a:pt x="6930" y="12189"/>
                  </a:moveTo>
                  <a:cubicBezTo>
                    <a:pt x="6990" y="12107"/>
                    <a:pt x="6990" y="12107"/>
                    <a:pt x="6990" y="12107"/>
                  </a:cubicBezTo>
                  <a:cubicBezTo>
                    <a:pt x="6994" y="12102"/>
                    <a:pt x="6994" y="12102"/>
                    <a:pt x="6994" y="12102"/>
                  </a:cubicBezTo>
                  <a:cubicBezTo>
                    <a:pt x="6914" y="12043"/>
                    <a:pt x="6914" y="12043"/>
                    <a:pt x="6914" y="12043"/>
                  </a:cubicBezTo>
                  <a:cubicBezTo>
                    <a:pt x="6910" y="12048"/>
                    <a:pt x="6910" y="12048"/>
                    <a:pt x="6910" y="12048"/>
                  </a:cubicBezTo>
                  <a:cubicBezTo>
                    <a:pt x="6906" y="12054"/>
                    <a:pt x="6906" y="12054"/>
                    <a:pt x="6906" y="12054"/>
                  </a:cubicBezTo>
                  <a:cubicBezTo>
                    <a:pt x="6862" y="12022"/>
                    <a:pt x="6862" y="12022"/>
                    <a:pt x="6862" y="12022"/>
                  </a:cubicBezTo>
                  <a:cubicBezTo>
                    <a:pt x="6737" y="12192"/>
                    <a:pt x="6737" y="12192"/>
                    <a:pt x="6737" y="12192"/>
                  </a:cubicBezTo>
                  <a:cubicBezTo>
                    <a:pt x="6801" y="12238"/>
                    <a:pt x="6801" y="12238"/>
                    <a:pt x="6801" y="12238"/>
                  </a:cubicBezTo>
                  <a:cubicBezTo>
                    <a:pt x="6852" y="12168"/>
                    <a:pt x="6852" y="12168"/>
                    <a:pt x="6852" y="12168"/>
                  </a:cubicBezTo>
                  <a:cubicBezTo>
                    <a:pt x="6864" y="12178"/>
                    <a:pt x="6864" y="12178"/>
                    <a:pt x="6864" y="12178"/>
                  </a:cubicBezTo>
                  <a:cubicBezTo>
                    <a:pt x="6752" y="12331"/>
                    <a:pt x="6752" y="12331"/>
                    <a:pt x="6752" y="12331"/>
                  </a:cubicBezTo>
                  <a:cubicBezTo>
                    <a:pt x="6814" y="12376"/>
                    <a:pt x="6814" y="12376"/>
                    <a:pt x="6814" y="12376"/>
                  </a:cubicBezTo>
                  <a:cubicBezTo>
                    <a:pt x="6855" y="12319"/>
                    <a:pt x="6855" y="12319"/>
                    <a:pt x="6855" y="12319"/>
                  </a:cubicBezTo>
                  <a:cubicBezTo>
                    <a:pt x="6916" y="12363"/>
                    <a:pt x="6916" y="12363"/>
                    <a:pt x="6916" y="12363"/>
                  </a:cubicBezTo>
                  <a:cubicBezTo>
                    <a:pt x="7004" y="12243"/>
                    <a:pt x="7004" y="12243"/>
                    <a:pt x="7004" y="12243"/>
                  </a:cubicBezTo>
                  <a:lnTo>
                    <a:pt x="6930" y="12189"/>
                  </a:lnTo>
                  <a:close/>
                  <a:moveTo>
                    <a:pt x="6914" y="12345"/>
                  </a:moveTo>
                  <a:cubicBezTo>
                    <a:pt x="6852" y="12300"/>
                    <a:pt x="6852" y="12300"/>
                    <a:pt x="6852" y="12300"/>
                  </a:cubicBezTo>
                  <a:cubicBezTo>
                    <a:pt x="6811" y="12357"/>
                    <a:pt x="6811" y="12357"/>
                    <a:pt x="6811" y="12357"/>
                  </a:cubicBezTo>
                  <a:cubicBezTo>
                    <a:pt x="6771" y="12328"/>
                    <a:pt x="6771" y="12328"/>
                    <a:pt x="6771" y="12328"/>
                  </a:cubicBezTo>
                  <a:cubicBezTo>
                    <a:pt x="6883" y="12175"/>
                    <a:pt x="6883" y="12175"/>
                    <a:pt x="6883" y="12175"/>
                  </a:cubicBezTo>
                  <a:cubicBezTo>
                    <a:pt x="6849" y="12150"/>
                    <a:pt x="6849" y="12150"/>
                    <a:pt x="6849" y="12150"/>
                  </a:cubicBezTo>
                  <a:cubicBezTo>
                    <a:pt x="6798" y="12220"/>
                    <a:pt x="6798" y="12220"/>
                    <a:pt x="6798" y="12220"/>
                  </a:cubicBezTo>
                  <a:cubicBezTo>
                    <a:pt x="6756" y="12189"/>
                    <a:pt x="6756" y="12189"/>
                    <a:pt x="6756" y="12189"/>
                  </a:cubicBezTo>
                  <a:cubicBezTo>
                    <a:pt x="6865" y="12040"/>
                    <a:pt x="6865" y="12040"/>
                    <a:pt x="6865" y="12040"/>
                  </a:cubicBezTo>
                  <a:cubicBezTo>
                    <a:pt x="6909" y="12073"/>
                    <a:pt x="6909" y="12073"/>
                    <a:pt x="6909" y="12073"/>
                  </a:cubicBezTo>
                  <a:cubicBezTo>
                    <a:pt x="6913" y="12067"/>
                    <a:pt x="6913" y="12067"/>
                    <a:pt x="6913" y="12067"/>
                  </a:cubicBezTo>
                  <a:cubicBezTo>
                    <a:pt x="6917" y="12062"/>
                    <a:pt x="6917" y="12062"/>
                    <a:pt x="6917" y="12062"/>
                  </a:cubicBezTo>
                  <a:cubicBezTo>
                    <a:pt x="6976" y="12105"/>
                    <a:pt x="6976" y="12105"/>
                    <a:pt x="6976" y="12105"/>
                  </a:cubicBezTo>
                  <a:cubicBezTo>
                    <a:pt x="6912" y="12192"/>
                    <a:pt x="6912" y="12192"/>
                    <a:pt x="6912" y="12192"/>
                  </a:cubicBezTo>
                  <a:cubicBezTo>
                    <a:pt x="6985" y="12246"/>
                    <a:pt x="6985" y="12246"/>
                    <a:pt x="6985" y="12246"/>
                  </a:cubicBezTo>
                  <a:lnTo>
                    <a:pt x="6914" y="12345"/>
                  </a:lnTo>
                  <a:close/>
                  <a:moveTo>
                    <a:pt x="7523" y="11287"/>
                  </a:moveTo>
                  <a:cubicBezTo>
                    <a:pt x="7503" y="11363"/>
                    <a:pt x="7503" y="11363"/>
                    <a:pt x="7503" y="11363"/>
                  </a:cubicBezTo>
                  <a:cubicBezTo>
                    <a:pt x="7587" y="11385"/>
                    <a:pt x="7587" y="11385"/>
                    <a:pt x="7587" y="11385"/>
                  </a:cubicBezTo>
                  <a:cubicBezTo>
                    <a:pt x="7583" y="11400"/>
                    <a:pt x="7583" y="11400"/>
                    <a:pt x="7583" y="11400"/>
                  </a:cubicBezTo>
                  <a:cubicBezTo>
                    <a:pt x="7399" y="11352"/>
                    <a:pt x="7399" y="11352"/>
                    <a:pt x="7399" y="11352"/>
                  </a:cubicBezTo>
                  <a:cubicBezTo>
                    <a:pt x="7380" y="11426"/>
                    <a:pt x="7380" y="11426"/>
                    <a:pt x="7380" y="11426"/>
                  </a:cubicBezTo>
                  <a:cubicBezTo>
                    <a:pt x="7448" y="11444"/>
                    <a:pt x="7448" y="11444"/>
                    <a:pt x="7448" y="11444"/>
                  </a:cubicBezTo>
                  <a:cubicBezTo>
                    <a:pt x="7429" y="11517"/>
                    <a:pt x="7429" y="11517"/>
                    <a:pt x="7429" y="11517"/>
                  </a:cubicBezTo>
                  <a:cubicBezTo>
                    <a:pt x="7573" y="11555"/>
                    <a:pt x="7573" y="11555"/>
                    <a:pt x="7573" y="11555"/>
                  </a:cubicBezTo>
                  <a:cubicBezTo>
                    <a:pt x="7596" y="11466"/>
                    <a:pt x="7596" y="11466"/>
                    <a:pt x="7596" y="11466"/>
                  </a:cubicBezTo>
                  <a:cubicBezTo>
                    <a:pt x="7695" y="11492"/>
                    <a:pt x="7695" y="11492"/>
                    <a:pt x="7695" y="11492"/>
                  </a:cubicBezTo>
                  <a:cubicBezTo>
                    <a:pt x="7701" y="11493"/>
                    <a:pt x="7701" y="11493"/>
                    <a:pt x="7701" y="11493"/>
                  </a:cubicBezTo>
                  <a:cubicBezTo>
                    <a:pt x="7726" y="11397"/>
                    <a:pt x="7726" y="11397"/>
                    <a:pt x="7726" y="11397"/>
                  </a:cubicBezTo>
                  <a:cubicBezTo>
                    <a:pt x="7720" y="11395"/>
                    <a:pt x="7720" y="11395"/>
                    <a:pt x="7720" y="11395"/>
                  </a:cubicBezTo>
                  <a:cubicBezTo>
                    <a:pt x="7713" y="11394"/>
                    <a:pt x="7713" y="11394"/>
                    <a:pt x="7713" y="11394"/>
                  </a:cubicBezTo>
                  <a:cubicBezTo>
                    <a:pt x="7727" y="11341"/>
                    <a:pt x="7727" y="11341"/>
                    <a:pt x="7727" y="11341"/>
                  </a:cubicBezTo>
                  <a:lnTo>
                    <a:pt x="7523" y="11287"/>
                  </a:lnTo>
                  <a:close/>
                  <a:moveTo>
                    <a:pt x="7703" y="11405"/>
                  </a:moveTo>
                  <a:cubicBezTo>
                    <a:pt x="7710" y="11407"/>
                    <a:pt x="7710" y="11407"/>
                    <a:pt x="7710" y="11407"/>
                  </a:cubicBezTo>
                  <a:cubicBezTo>
                    <a:pt x="7692" y="11477"/>
                    <a:pt x="7692" y="11477"/>
                    <a:pt x="7692" y="11477"/>
                  </a:cubicBezTo>
                  <a:cubicBezTo>
                    <a:pt x="7587" y="11450"/>
                    <a:pt x="7587" y="11450"/>
                    <a:pt x="7587" y="11450"/>
                  </a:cubicBezTo>
                  <a:cubicBezTo>
                    <a:pt x="7564" y="11538"/>
                    <a:pt x="7564" y="11538"/>
                    <a:pt x="7564" y="11538"/>
                  </a:cubicBezTo>
                  <a:cubicBezTo>
                    <a:pt x="7446" y="11507"/>
                    <a:pt x="7446" y="11507"/>
                    <a:pt x="7446" y="11507"/>
                  </a:cubicBezTo>
                  <a:cubicBezTo>
                    <a:pt x="7465" y="11434"/>
                    <a:pt x="7465" y="11434"/>
                    <a:pt x="7465" y="11434"/>
                  </a:cubicBezTo>
                  <a:cubicBezTo>
                    <a:pt x="7396" y="11416"/>
                    <a:pt x="7396" y="11416"/>
                    <a:pt x="7396" y="11416"/>
                  </a:cubicBezTo>
                  <a:cubicBezTo>
                    <a:pt x="7409" y="11369"/>
                    <a:pt x="7409" y="11369"/>
                    <a:pt x="7409" y="11369"/>
                  </a:cubicBezTo>
                  <a:cubicBezTo>
                    <a:pt x="7592" y="11416"/>
                    <a:pt x="7592" y="11416"/>
                    <a:pt x="7592" y="11416"/>
                  </a:cubicBezTo>
                  <a:cubicBezTo>
                    <a:pt x="7603" y="11376"/>
                    <a:pt x="7603" y="11376"/>
                    <a:pt x="7603" y="11376"/>
                  </a:cubicBezTo>
                  <a:cubicBezTo>
                    <a:pt x="7519" y="11354"/>
                    <a:pt x="7519" y="11354"/>
                    <a:pt x="7519" y="11354"/>
                  </a:cubicBezTo>
                  <a:cubicBezTo>
                    <a:pt x="7532" y="11304"/>
                    <a:pt x="7532" y="11304"/>
                    <a:pt x="7532" y="11304"/>
                  </a:cubicBezTo>
                  <a:cubicBezTo>
                    <a:pt x="7711" y="11350"/>
                    <a:pt x="7711" y="11350"/>
                    <a:pt x="7711" y="11350"/>
                  </a:cubicBezTo>
                  <a:cubicBezTo>
                    <a:pt x="7697" y="11403"/>
                    <a:pt x="7697" y="11403"/>
                    <a:pt x="7697" y="11403"/>
                  </a:cubicBezTo>
                  <a:lnTo>
                    <a:pt x="7703" y="11405"/>
                  </a:lnTo>
                  <a:close/>
                  <a:moveTo>
                    <a:pt x="5432" y="9752"/>
                  </a:moveTo>
                  <a:cubicBezTo>
                    <a:pt x="5577" y="9754"/>
                    <a:pt x="5577" y="9754"/>
                    <a:pt x="5577" y="9754"/>
                  </a:cubicBezTo>
                  <a:cubicBezTo>
                    <a:pt x="5583" y="9755"/>
                    <a:pt x="5583" y="9755"/>
                    <a:pt x="5583" y="9755"/>
                  </a:cubicBezTo>
                  <a:cubicBezTo>
                    <a:pt x="5584" y="9683"/>
                    <a:pt x="5584" y="9683"/>
                    <a:pt x="5584" y="9683"/>
                  </a:cubicBezTo>
                  <a:cubicBezTo>
                    <a:pt x="5433" y="9681"/>
                    <a:pt x="5433" y="9681"/>
                    <a:pt x="5433" y="9681"/>
                  </a:cubicBezTo>
                  <a:lnTo>
                    <a:pt x="5432" y="9752"/>
                  </a:lnTo>
                  <a:close/>
                  <a:moveTo>
                    <a:pt x="5446" y="9693"/>
                  </a:moveTo>
                  <a:cubicBezTo>
                    <a:pt x="5571" y="9696"/>
                    <a:pt x="5571" y="9696"/>
                    <a:pt x="5571" y="9696"/>
                  </a:cubicBezTo>
                  <a:cubicBezTo>
                    <a:pt x="5570" y="9742"/>
                    <a:pt x="5570" y="9742"/>
                    <a:pt x="5570" y="9742"/>
                  </a:cubicBezTo>
                  <a:cubicBezTo>
                    <a:pt x="5445" y="9739"/>
                    <a:pt x="5445" y="9739"/>
                    <a:pt x="5445" y="9739"/>
                  </a:cubicBezTo>
                  <a:lnTo>
                    <a:pt x="5446" y="9693"/>
                  </a:lnTo>
                  <a:close/>
                  <a:moveTo>
                    <a:pt x="5435" y="9587"/>
                  </a:moveTo>
                  <a:cubicBezTo>
                    <a:pt x="5578" y="9612"/>
                    <a:pt x="5578" y="9612"/>
                    <a:pt x="5578" y="9612"/>
                  </a:cubicBezTo>
                  <a:cubicBezTo>
                    <a:pt x="5584" y="9613"/>
                    <a:pt x="5584" y="9613"/>
                    <a:pt x="5584" y="9613"/>
                  </a:cubicBezTo>
                  <a:cubicBezTo>
                    <a:pt x="5596" y="9543"/>
                    <a:pt x="5596" y="9543"/>
                    <a:pt x="5596" y="9543"/>
                  </a:cubicBezTo>
                  <a:cubicBezTo>
                    <a:pt x="5447" y="9517"/>
                    <a:pt x="5447" y="9517"/>
                    <a:pt x="5447" y="9517"/>
                  </a:cubicBezTo>
                  <a:lnTo>
                    <a:pt x="5435" y="9587"/>
                  </a:lnTo>
                  <a:close/>
                  <a:moveTo>
                    <a:pt x="5458" y="9531"/>
                  </a:moveTo>
                  <a:cubicBezTo>
                    <a:pt x="5581" y="9553"/>
                    <a:pt x="5581" y="9553"/>
                    <a:pt x="5581" y="9553"/>
                  </a:cubicBezTo>
                  <a:cubicBezTo>
                    <a:pt x="5574" y="9598"/>
                    <a:pt x="5574" y="9598"/>
                    <a:pt x="5574" y="9598"/>
                  </a:cubicBezTo>
                  <a:cubicBezTo>
                    <a:pt x="5450" y="9577"/>
                    <a:pt x="5450" y="9577"/>
                    <a:pt x="5450" y="9577"/>
                  </a:cubicBezTo>
                  <a:lnTo>
                    <a:pt x="5458" y="9531"/>
                  </a:lnTo>
                  <a:close/>
                  <a:moveTo>
                    <a:pt x="5580" y="9449"/>
                  </a:moveTo>
                  <a:cubicBezTo>
                    <a:pt x="5592" y="9379"/>
                    <a:pt x="5592" y="9379"/>
                    <a:pt x="5592" y="9379"/>
                  </a:cubicBezTo>
                  <a:cubicBezTo>
                    <a:pt x="5443" y="9353"/>
                    <a:pt x="5443" y="9353"/>
                    <a:pt x="5443" y="9353"/>
                  </a:cubicBezTo>
                  <a:cubicBezTo>
                    <a:pt x="5431" y="9423"/>
                    <a:pt x="5431" y="9423"/>
                    <a:pt x="5431" y="9423"/>
                  </a:cubicBezTo>
                  <a:cubicBezTo>
                    <a:pt x="5574" y="9448"/>
                    <a:pt x="5574" y="9448"/>
                    <a:pt x="5574" y="9448"/>
                  </a:cubicBezTo>
                  <a:lnTo>
                    <a:pt x="5580" y="9449"/>
                  </a:lnTo>
                  <a:close/>
                  <a:moveTo>
                    <a:pt x="5446" y="9413"/>
                  </a:moveTo>
                  <a:cubicBezTo>
                    <a:pt x="5454" y="9367"/>
                    <a:pt x="5454" y="9367"/>
                    <a:pt x="5454" y="9367"/>
                  </a:cubicBezTo>
                  <a:cubicBezTo>
                    <a:pt x="5578" y="9389"/>
                    <a:pt x="5578" y="9389"/>
                    <a:pt x="5578" y="9389"/>
                  </a:cubicBezTo>
                  <a:cubicBezTo>
                    <a:pt x="5570" y="9434"/>
                    <a:pt x="5570" y="9434"/>
                    <a:pt x="5570" y="9434"/>
                  </a:cubicBezTo>
                  <a:lnTo>
                    <a:pt x="5446" y="9413"/>
                  </a:lnTo>
                  <a:close/>
                  <a:moveTo>
                    <a:pt x="5545" y="9303"/>
                  </a:moveTo>
                  <a:cubicBezTo>
                    <a:pt x="5557" y="9233"/>
                    <a:pt x="5557" y="9233"/>
                    <a:pt x="5557" y="9233"/>
                  </a:cubicBezTo>
                  <a:cubicBezTo>
                    <a:pt x="5408" y="9207"/>
                    <a:pt x="5408" y="9207"/>
                    <a:pt x="5408" y="9207"/>
                  </a:cubicBezTo>
                  <a:cubicBezTo>
                    <a:pt x="5396" y="9277"/>
                    <a:pt x="5396" y="9277"/>
                    <a:pt x="5396" y="9277"/>
                  </a:cubicBezTo>
                  <a:cubicBezTo>
                    <a:pt x="5539" y="9302"/>
                    <a:pt x="5539" y="9302"/>
                    <a:pt x="5539" y="9302"/>
                  </a:cubicBezTo>
                  <a:lnTo>
                    <a:pt x="5545" y="9303"/>
                  </a:lnTo>
                  <a:close/>
                  <a:moveTo>
                    <a:pt x="5411" y="9267"/>
                  </a:moveTo>
                  <a:cubicBezTo>
                    <a:pt x="5419" y="9222"/>
                    <a:pt x="5419" y="9222"/>
                    <a:pt x="5419" y="9222"/>
                  </a:cubicBezTo>
                  <a:cubicBezTo>
                    <a:pt x="5542" y="9243"/>
                    <a:pt x="5542" y="9243"/>
                    <a:pt x="5542" y="9243"/>
                  </a:cubicBezTo>
                  <a:cubicBezTo>
                    <a:pt x="5535" y="9289"/>
                    <a:pt x="5535" y="9289"/>
                    <a:pt x="5535" y="9289"/>
                  </a:cubicBezTo>
                  <a:lnTo>
                    <a:pt x="5411" y="9267"/>
                  </a:lnTo>
                  <a:close/>
                  <a:moveTo>
                    <a:pt x="5472" y="9138"/>
                  </a:moveTo>
                  <a:cubicBezTo>
                    <a:pt x="5484" y="9068"/>
                    <a:pt x="5484" y="9068"/>
                    <a:pt x="5484" y="9068"/>
                  </a:cubicBezTo>
                  <a:cubicBezTo>
                    <a:pt x="5335" y="9042"/>
                    <a:pt x="5335" y="9042"/>
                    <a:pt x="5335" y="9042"/>
                  </a:cubicBezTo>
                  <a:cubicBezTo>
                    <a:pt x="5323" y="9112"/>
                    <a:pt x="5323" y="9112"/>
                    <a:pt x="5323" y="9112"/>
                  </a:cubicBezTo>
                  <a:cubicBezTo>
                    <a:pt x="5466" y="9137"/>
                    <a:pt x="5466" y="9137"/>
                    <a:pt x="5466" y="9137"/>
                  </a:cubicBezTo>
                  <a:lnTo>
                    <a:pt x="5472" y="9138"/>
                  </a:lnTo>
                  <a:close/>
                  <a:moveTo>
                    <a:pt x="5338" y="9102"/>
                  </a:moveTo>
                  <a:cubicBezTo>
                    <a:pt x="5346" y="9057"/>
                    <a:pt x="5346" y="9057"/>
                    <a:pt x="5346" y="9057"/>
                  </a:cubicBezTo>
                  <a:cubicBezTo>
                    <a:pt x="5470" y="9078"/>
                    <a:pt x="5470" y="9078"/>
                    <a:pt x="5470" y="9078"/>
                  </a:cubicBezTo>
                  <a:cubicBezTo>
                    <a:pt x="5462" y="9123"/>
                    <a:pt x="5462" y="9123"/>
                    <a:pt x="5462" y="9123"/>
                  </a:cubicBezTo>
                  <a:lnTo>
                    <a:pt x="5338" y="9102"/>
                  </a:lnTo>
                  <a:close/>
                  <a:moveTo>
                    <a:pt x="5575" y="9018"/>
                  </a:moveTo>
                  <a:cubicBezTo>
                    <a:pt x="5587" y="8948"/>
                    <a:pt x="5587" y="8948"/>
                    <a:pt x="5587" y="8948"/>
                  </a:cubicBezTo>
                  <a:cubicBezTo>
                    <a:pt x="5438" y="8922"/>
                    <a:pt x="5438" y="8922"/>
                    <a:pt x="5438" y="8922"/>
                  </a:cubicBezTo>
                  <a:cubicBezTo>
                    <a:pt x="5426" y="8992"/>
                    <a:pt x="5426" y="8992"/>
                    <a:pt x="5426" y="8992"/>
                  </a:cubicBezTo>
                  <a:cubicBezTo>
                    <a:pt x="5568" y="9017"/>
                    <a:pt x="5568" y="9017"/>
                    <a:pt x="5568" y="9017"/>
                  </a:cubicBezTo>
                  <a:lnTo>
                    <a:pt x="5575" y="9018"/>
                  </a:lnTo>
                  <a:close/>
                  <a:moveTo>
                    <a:pt x="5441" y="8982"/>
                  </a:moveTo>
                  <a:cubicBezTo>
                    <a:pt x="5449" y="8937"/>
                    <a:pt x="5449" y="8937"/>
                    <a:pt x="5449" y="8937"/>
                  </a:cubicBezTo>
                  <a:cubicBezTo>
                    <a:pt x="5572" y="8959"/>
                    <a:pt x="5572" y="8959"/>
                    <a:pt x="5572" y="8959"/>
                  </a:cubicBezTo>
                  <a:cubicBezTo>
                    <a:pt x="5564" y="9004"/>
                    <a:pt x="5564" y="9004"/>
                    <a:pt x="5564" y="9004"/>
                  </a:cubicBezTo>
                  <a:lnTo>
                    <a:pt x="5441" y="8982"/>
                  </a:lnTo>
                  <a:close/>
                  <a:moveTo>
                    <a:pt x="5483" y="8879"/>
                  </a:moveTo>
                  <a:cubicBezTo>
                    <a:pt x="5626" y="8904"/>
                    <a:pt x="5626" y="8904"/>
                    <a:pt x="5626" y="8904"/>
                  </a:cubicBezTo>
                  <a:cubicBezTo>
                    <a:pt x="5632" y="8905"/>
                    <a:pt x="5632" y="8905"/>
                    <a:pt x="5632" y="8905"/>
                  </a:cubicBezTo>
                  <a:cubicBezTo>
                    <a:pt x="5644" y="8835"/>
                    <a:pt x="5644" y="8835"/>
                    <a:pt x="5644" y="8835"/>
                  </a:cubicBezTo>
                  <a:cubicBezTo>
                    <a:pt x="5495" y="8809"/>
                    <a:pt x="5495" y="8809"/>
                    <a:pt x="5495" y="8809"/>
                  </a:cubicBezTo>
                  <a:lnTo>
                    <a:pt x="5483" y="8879"/>
                  </a:lnTo>
                  <a:close/>
                  <a:moveTo>
                    <a:pt x="5506" y="8824"/>
                  </a:moveTo>
                  <a:cubicBezTo>
                    <a:pt x="5630" y="8845"/>
                    <a:pt x="5630" y="8845"/>
                    <a:pt x="5630" y="8845"/>
                  </a:cubicBezTo>
                  <a:cubicBezTo>
                    <a:pt x="5622" y="8891"/>
                    <a:pt x="5622" y="8891"/>
                    <a:pt x="5622" y="8891"/>
                  </a:cubicBezTo>
                  <a:cubicBezTo>
                    <a:pt x="5498" y="8869"/>
                    <a:pt x="5498" y="8869"/>
                    <a:pt x="5498" y="8869"/>
                  </a:cubicBezTo>
                  <a:lnTo>
                    <a:pt x="5506" y="8824"/>
                  </a:lnTo>
                  <a:close/>
                  <a:moveTo>
                    <a:pt x="5635" y="8786"/>
                  </a:moveTo>
                  <a:cubicBezTo>
                    <a:pt x="5647" y="8715"/>
                    <a:pt x="5647" y="8715"/>
                    <a:pt x="5647" y="8715"/>
                  </a:cubicBezTo>
                  <a:cubicBezTo>
                    <a:pt x="5498" y="8689"/>
                    <a:pt x="5498" y="8689"/>
                    <a:pt x="5498" y="8689"/>
                  </a:cubicBezTo>
                  <a:cubicBezTo>
                    <a:pt x="5486" y="8760"/>
                    <a:pt x="5486" y="8760"/>
                    <a:pt x="5486" y="8760"/>
                  </a:cubicBezTo>
                  <a:cubicBezTo>
                    <a:pt x="5628" y="8785"/>
                    <a:pt x="5628" y="8785"/>
                    <a:pt x="5628" y="8785"/>
                  </a:cubicBezTo>
                  <a:lnTo>
                    <a:pt x="5635" y="8786"/>
                  </a:lnTo>
                  <a:close/>
                  <a:moveTo>
                    <a:pt x="5500" y="8749"/>
                  </a:moveTo>
                  <a:cubicBezTo>
                    <a:pt x="5508" y="8704"/>
                    <a:pt x="5508" y="8704"/>
                    <a:pt x="5508" y="8704"/>
                  </a:cubicBezTo>
                  <a:cubicBezTo>
                    <a:pt x="5632" y="8726"/>
                    <a:pt x="5632" y="8726"/>
                    <a:pt x="5632" y="8726"/>
                  </a:cubicBezTo>
                  <a:cubicBezTo>
                    <a:pt x="5624" y="8771"/>
                    <a:pt x="5624" y="8771"/>
                    <a:pt x="5624" y="8771"/>
                  </a:cubicBezTo>
                  <a:lnTo>
                    <a:pt x="5500" y="8749"/>
                  </a:lnTo>
                  <a:close/>
                  <a:moveTo>
                    <a:pt x="5474" y="8643"/>
                  </a:moveTo>
                  <a:cubicBezTo>
                    <a:pt x="5617" y="8667"/>
                    <a:pt x="5617" y="8667"/>
                    <a:pt x="5617" y="8667"/>
                  </a:cubicBezTo>
                  <a:cubicBezTo>
                    <a:pt x="5623" y="8669"/>
                    <a:pt x="5623" y="8669"/>
                    <a:pt x="5623" y="8669"/>
                  </a:cubicBezTo>
                  <a:cubicBezTo>
                    <a:pt x="5635" y="8598"/>
                    <a:pt x="5635" y="8598"/>
                    <a:pt x="5635" y="8598"/>
                  </a:cubicBezTo>
                  <a:cubicBezTo>
                    <a:pt x="5486" y="8572"/>
                    <a:pt x="5486" y="8572"/>
                    <a:pt x="5486" y="8572"/>
                  </a:cubicBezTo>
                  <a:lnTo>
                    <a:pt x="5474" y="8643"/>
                  </a:lnTo>
                  <a:close/>
                  <a:moveTo>
                    <a:pt x="5497" y="8587"/>
                  </a:moveTo>
                  <a:cubicBezTo>
                    <a:pt x="5620" y="8609"/>
                    <a:pt x="5620" y="8609"/>
                    <a:pt x="5620" y="8609"/>
                  </a:cubicBezTo>
                  <a:cubicBezTo>
                    <a:pt x="5613" y="8654"/>
                    <a:pt x="5613" y="8654"/>
                    <a:pt x="5613" y="8654"/>
                  </a:cubicBezTo>
                  <a:cubicBezTo>
                    <a:pt x="5489" y="8632"/>
                    <a:pt x="5489" y="8632"/>
                    <a:pt x="5489" y="8632"/>
                  </a:cubicBezTo>
                  <a:lnTo>
                    <a:pt x="5497" y="8587"/>
                  </a:lnTo>
                  <a:close/>
                  <a:moveTo>
                    <a:pt x="5602" y="8532"/>
                  </a:moveTo>
                  <a:cubicBezTo>
                    <a:pt x="5614" y="8462"/>
                    <a:pt x="5614" y="8462"/>
                    <a:pt x="5614" y="8462"/>
                  </a:cubicBezTo>
                  <a:cubicBezTo>
                    <a:pt x="5465" y="8436"/>
                    <a:pt x="5465" y="8436"/>
                    <a:pt x="5465" y="8436"/>
                  </a:cubicBezTo>
                  <a:cubicBezTo>
                    <a:pt x="5453" y="8506"/>
                    <a:pt x="5453" y="8506"/>
                    <a:pt x="5453" y="8506"/>
                  </a:cubicBezTo>
                  <a:cubicBezTo>
                    <a:pt x="5596" y="8531"/>
                    <a:pt x="5596" y="8531"/>
                    <a:pt x="5596" y="8531"/>
                  </a:cubicBezTo>
                  <a:lnTo>
                    <a:pt x="5602" y="8532"/>
                  </a:lnTo>
                  <a:close/>
                  <a:moveTo>
                    <a:pt x="5468" y="8496"/>
                  </a:moveTo>
                  <a:cubicBezTo>
                    <a:pt x="5476" y="8450"/>
                    <a:pt x="5476" y="8450"/>
                    <a:pt x="5476" y="8450"/>
                  </a:cubicBezTo>
                  <a:cubicBezTo>
                    <a:pt x="5600" y="8472"/>
                    <a:pt x="5600" y="8472"/>
                    <a:pt x="5600" y="8472"/>
                  </a:cubicBezTo>
                  <a:cubicBezTo>
                    <a:pt x="5592" y="8517"/>
                    <a:pt x="5592" y="8517"/>
                    <a:pt x="5592" y="8517"/>
                  </a:cubicBezTo>
                  <a:lnTo>
                    <a:pt x="5468" y="8496"/>
                  </a:lnTo>
                  <a:close/>
                  <a:moveTo>
                    <a:pt x="5579" y="8416"/>
                  </a:moveTo>
                  <a:cubicBezTo>
                    <a:pt x="5591" y="8346"/>
                    <a:pt x="5591" y="8346"/>
                    <a:pt x="5591" y="8346"/>
                  </a:cubicBezTo>
                  <a:cubicBezTo>
                    <a:pt x="5442" y="8320"/>
                    <a:pt x="5442" y="8320"/>
                    <a:pt x="5442" y="8320"/>
                  </a:cubicBezTo>
                  <a:cubicBezTo>
                    <a:pt x="5430" y="8390"/>
                    <a:pt x="5430" y="8390"/>
                    <a:pt x="5430" y="8390"/>
                  </a:cubicBezTo>
                  <a:cubicBezTo>
                    <a:pt x="5572" y="8415"/>
                    <a:pt x="5572" y="8415"/>
                    <a:pt x="5572" y="8415"/>
                  </a:cubicBezTo>
                  <a:lnTo>
                    <a:pt x="5579" y="8416"/>
                  </a:lnTo>
                  <a:close/>
                  <a:moveTo>
                    <a:pt x="5445" y="8380"/>
                  </a:moveTo>
                  <a:cubicBezTo>
                    <a:pt x="5452" y="8335"/>
                    <a:pt x="5452" y="8335"/>
                    <a:pt x="5452" y="8335"/>
                  </a:cubicBezTo>
                  <a:cubicBezTo>
                    <a:pt x="5576" y="8356"/>
                    <a:pt x="5576" y="8356"/>
                    <a:pt x="5576" y="8356"/>
                  </a:cubicBezTo>
                  <a:cubicBezTo>
                    <a:pt x="5568" y="8402"/>
                    <a:pt x="5568" y="8402"/>
                    <a:pt x="5568" y="8402"/>
                  </a:cubicBezTo>
                  <a:lnTo>
                    <a:pt x="5445" y="8380"/>
                  </a:lnTo>
                  <a:close/>
                  <a:moveTo>
                    <a:pt x="5280" y="8644"/>
                  </a:moveTo>
                  <a:cubicBezTo>
                    <a:pt x="5322" y="8783"/>
                    <a:pt x="5322" y="8783"/>
                    <a:pt x="5322" y="8783"/>
                  </a:cubicBezTo>
                  <a:cubicBezTo>
                    <a:pt x="5324" y="8789"/>
                    <a:pt x="5324" y="8789"/>
                    <a:pt x="5324" y="8789"/>
                  </a:cubicBezTo>
                  <a:cubicBezTo>
                    <a:pt x="5392" y="8768"/>
                    <a:pt x="5392" y="8768"/>
                    <a:pt x="5392" y="8768"/>
                  </a:cubicBezTo>
                  <a:cubicBezTo>
                    <a:pt x="5348" y="8624"/>
                    <a:pt x="5348" y="8624"/>
                    <a:pt x="5348" y="8624"/>
                  </a:cubicBezTo>
                  <a:lnTo>
                    <a:pt x="5280" y="8644"/>
                  </a:lnTo>
                  <a:close/>
                  <a:moveTo>
                    <a:pt x="5332" y="8773"/>
                  </a:moveTo>
                  <a:cubicBezTo>
                    <a:pt x="5296" y="8653"/>
                    <a:pt x="5296" y="8653"/>
                    <a:pt x="5296" y="8653"/>
                  </a:cubicBezTo>
                  <a:cubicBezTo>
                    <a:pt x="5340" y="8639"/>
                    <a:pt x="5340" y="8639"/>
                    <a:pt x="5340" y="8639"/>
                  </a:cubicBezTo>
                  <a:cubicBezTo>
                    <a:pt x="5376" y="8760"/>
                    <a:pt x="5376" y="8760"/>
                    <a:pt x="5376" y="8760"/>
                  </a:cubicBezTo>
                  <a:lnTo>
                    <a:pt x="5332" y="8773"/>
                  </a:lnTo>
                  <a:close/>
                  <a:moveTo>
                    <a:pt x="12199" y="1995"/>
                  </a:moveTo>
                  <a:cubicBezTo>
                    <a:pt x="12364" y="1823"/>
                    <a:pt x="12364" y="1823"/>
                    <a:pt x="12364" y="1823"/>
                  </a:cubicBezTo>
                  <a:cubicBezTo>
                    <a:pt x="12146" y="1605"/>
                    <a:pt x="12146" y="1605"/>
                    <a:pt x="12146" y="1605"/>
                  </a:cubicBezTo>
                  <a:cubicBezTo>
                    <a:pt x="11507" y="2266"/>
                    <a:pt x="11507" y="2266"/>
                    <a:pt x="11507" y="2266"/>
                  </a:cubicBezTo>
                  <a:cubicBezTo>
                    <a:pt x="11512" y="2271"/>
                    <a:pt x="11512" y="2271"/>
                    <a:pt x="11512" y="2271"/>
                  </a:cubicBezTo>
                  <a:cubicBezTo>
                    <a:pt x="11726" y="2482"/>
                    <a:pt x="11726" y="2482"/>
                    <a:pt x="11726" y="2482"/>
                  </a:cubicBezTo>
                  <a:cubicBezTo>
                    <a:pt x="11857" y="2346"/>
                    <a:pt x="11857" y="2346"/>
                    <a:pt x="11857" y="2346"/>
                  </a:cubicBezTo>
                  <a:cubicBezTo>
                    <a:pt x="11940" y="2426"/>
                    <a:pt x="11940" y="2426"/>
                    <a:pt x="11940" y="2426"/>
                  </a:cubicBezTo>
                  <a:cubicBezTo>
                    <a:pt x="12099" y="2264"/>
                    <a:pt x="12099" y="2264"/>
                    <a:pt x="12099" y="2264"/>
                  </a:cubicBezTo>
                  <a:cubicBezTo>
                    <a:pt x="12287" y="2447"/>
                    <a:pt x="12287" y="2447"/>
                    <a:pt x="12287" y="2447"/>
                  </a:cubicBezTo>
                  <a:cubicBezTo>
                    <a:pt x="12929" y="1785"/>
                    <a:pt x="12929" y="1785"/>
                    <a:pt x="12929" y="1785"/>
                  </a:cubicBezTo>
                  <a:cubicBezTo>
                    <a:pt x="12703" y="1569"/>
                    <a:pt x="12703" y="1569"/>
                    <a:pt x="12703" y="1569"/>
                  </a:cubicBezTo>
                  <a:cubicBezTo>
                    <a:pt x="12249" y="2041"/>
                    <a:pt x="12249" y="2041"/>
                    <a:pt x="12249" y="2041"/>
                  </a:cubicBezTo>
                  <a:lnTo>
                    <a:pt x="12199" y="1995"/>
                  </a:lnTo>
                  <a:close/>
                  <a:moveTo>
                    <a:pt x="12703" y="1590"/>
                  </a:moveTo>
                  <a:cubicBezTo>
                    <a:pt x="12908" y="1785"/>
                    <a:pt x="12908" y="1785"/>
                    <a:pt x="12908" y="1785"/>
                  </a:cubicBezTo>
                  <a:cubicBezTo>
                    <a:pt x="12286" y="2426"/>
                    <a:pt x="12286" y="2426"/>
                    <a:pt x="12286" y="2426"/>
                  </a:cubicBezTo>
                  <a:cubicBezTo>
                    <a:pt x="12099" y="2243"/>
                    <a:pt x="12099" y="2243"/>
                    <a:pt x="12099" y="2243"/>
                  </a:cubicBezTo>
                  <a:cubicBezTo>
                    <a:pt x="11939" y="2405"/>
                    <a:pt x="11939" y="2405"/>
                    <a:pt x="11939" y="2405"/>
                  </a:cubicBezTo>
                  <a:cubicBezTo>
                    <a:pt x="11857" y="2325"/>
                    <a:pt x="11857" y="2325"/>
                    <a:pt x="11857" y="2325"/>
                  </a:cubicBezTo>
                  <a:cubicBezTo>
                    <a:pt x="11726" y="2461"/>
                    <a:pt x="11726" y="2461"/>
                    <a:pt x="11726" y="2461"/>
                  </a:cubicBezTo>
                  <a:cubicBezTo>
                    <a:pt x="11527" y="2266"/>
                    <a:pt x="11527" y="2266"/>
                    <a:pt x="11527" y="2266"/>
                  </a:cubicBezTo>
                  <a:cubicBezTo>
                    <a:pt x="12146" y="1626"/>
                    <a:pt x="12146" y="1626"/>
                    <a:pt x="12146" y="1626"/>
                  </a:cubicBezTo>
                  <a:cubicBezTo>
                    <a:pt x="12343" y="1823"/>
                    <a:pt x="12343" y="1823"/>
                    <a:pt x="12343" y="1823"/>
                  </a:cubicBezTo>
                  <a:cubicBezTo>
                    <a:pt x="12178" y="1996"/>
                    <a:pt x="12178" y="1996"/>
                    <a:pt x="12178" y="1996"/>
                  </a:cubicBezTo>
                  <a:cubicBezTo>
                    <a:pt x="12249" y="2061"/>
                    <a:pt x="12249" y="2061"/>
                    <a:pt x="12249" y="2061"/>
                  </a:cubicBezTo>
                  <a:lnTo>
                    <a:pt x="12703" y="1590"/>
                  </a:lnTo>
                  <a:close/>
                  <a:moveTo>
                    <a:pt x="13642" y="11548"/>
                  </a:moveTo>
                  <a:cubicBezTo>
                    <a:pt x="13721" y="11639"/>
                    <a:pt x="13721" y="11639"/>
                    <a:pt x="13721" y="11639"/>
                  </a:cubicBezTo>
                  <a:cubicBezTo>
                    <a:pt x="13880" y="11494"/>
                    <a:pt x="13880" y="11494"/>
                    <a:pt x="13880" y="11494"/>
                  </a:cubicBezTo>
                  <a:cubicBezTo>
                    <a:pt x="13804" y="11406"/>
                    <a:pt x="13804" y="11406"/>
                    <a:pt x="13804" y="11406"/>
                  </a:cubicBezTo>
                  <a:cubicBezTo>
                    <a:pt x="14042" y="11191"/>
                    <a:pt x="14042" y="11191"/>
                    <a:pt x="14042" y="11191"/>
                  </a:cubicBezTo>
                  <a:cubicBezTo>
                    <a:pt x="14126" y="11289"/>
                    <a:pt x="14126" y="11289"/>
                    <a:pt x="14126" y="11289"/>
                  </a:cubicBezTo>
                  <a:cubicBezTo>
                    <a:pt x="14073" y="11341"/>
                    <a:pt x="14073" y="11341"/>
                    <a:pt x="14073" y="11341"/>
                  </a:cubicBezTo>
                  <a:cubicBezTo>
                    <a:pt x="14178" y="11459"/>
                    <a:pt x="14178" y="11459"/>
                    <a:pt x="14178" y="11459"/>
                  </a:cubicBezTo>
                  <a:cubicBezTo>
                    <a:pt x="13929" y="11685"/>
                    <a:pt x="13929" y="11685"/>
                    <a:pt x="13929" y="11685"/>
                  </a:cubicBezTo>
                  <a:cubicBezTo>
                    <a:pt x="13990" y="11755"/>
                    <a:pt x="13990" y="11755"/>
                    <a:pt x="13990" y="11755"/>
                  </a:cubicBezTo>
                  <a:cubicBezTo>
                    <a:pt x="14243" y="11533"/>
                    <a:pt x="14243" y="11533"/>
                    <a:pt x="14243" y="11533"/>
                  </a:cubicBezTo>
                  <a:cubicBezTo>
                    <a:pt x="14339" y="11644"/>
                    <a:pt x="14339" y="11644"/>
                    <a:pt x="14339" y="11644"/>
                  </a:cubicBezTo>
                  <a:cubicBezTo>
                    <a:pt x="14516" y="11487"/>
                    <a:pt x="14516" y="11487"/>
                    <a:pt x="14516" y="11487"/>
                  </a:cubicBezTo>
                  <a:cubicBezTo>
                    <a:pt x="14306" y="11249"/>
                    <a:pt x="14306" y="11249"/>
                    <a:pt x="14306" y="11249"/>
                  </a:cubicBezTo>
                  <a:cubicBezTo>
                    <a:pt x="14646" y="10947"/>
                    <a:pt x="14646" y="10947"/>
                    <a:pt x="14646" y="10947"/>
                  </a:cubicBezTo>
                  <a:cubicBezTo>
                    <a:pt x="14463" y="10744"/>
                    <a:pt x="14463" y="10744"/>
                    <a:pt x="14463" y="10744"/>
                  </a:cubicBezTo>
                  <a:cubicBezTo>
                    <a:pt x="14243" y="10938"/>
                    <a:pt x="14243" y="10938"/>
                    <a:pt x="14243" y="10938"/>
                  </a:cubicBezTo>
                  <a:cubicBezTo>
                    <a:pt x="14088" y="10760"/>
                    <a:pt x="14088" y="10760"/>
                    <a:pt x="14088" y="10760"/>
                  </a:cubicBezTo>
                  <a:cubicBezTo>
                    <a:pt x="14082" y="10765"/>
                    <a:pt x="14082" y="10765"/>
                    <a:pt x="14082" y="10765"/>
                  </a:cubicBezTo>
                  <a:cubicBezTo>
                    <a:pt x="13389" y="11381"/>
                    <a:pt x="13389" y="11381"/>
                    <a:pt x="13389" y="11381"/>
                  </a:cubicBezTo>
                  <a:cubicBezTo>
                    <a:pt x="13585" y="11599"/>
                    <a:pt x="13585" y="11599"/>
                    <a:pt x="13585" y="11599"/>
                  </a:cubicBezTo>
                  <a:lnTo>
                    <a:pt x="13642" y="11548"/>
                  </a:lnTo>
                  <a:close/>
                  <a:moveTo>
                    <a:pt x="14086" y="10781"/>
                  </a:moveTo>
                  <a:cubicBezTo>
                    <a:pt x="14242" y="10958"/>
                    <a:pt x="14242" y="10958"/>
                    <a:pt x="14242" y="10958"/>
                  </a:cubicBezTo>
                  <a:cubicBezTo>
                    <a:pt x="14462" y="10765"/>
                    <a:pt x="14462" y="10765"/>
                    <a:pt x="14462" y="10765"/>
                  </a:cubicBezTo>
                  <a:cubicBezTo>
                    <a:pt x="14625" y="10946"/>
                    <a:pt x="14625" y="10946"/>
                    <a:pt x="14625" y="10946"/>
                  </a:cubicBezTo>
                  <a:cubicBezTo>
                    <a:pt x="14285" y="11248"/>
                    <a:pt x="14285" y="11248"/>
                    <a:pt x="14285" y="11248"/>
                  </a:cubicBezTo>
                  <a:cubicBezTo>
                    <a:pt x="14495" y="11485"/>
                    <a:pt x="14495" y="11485"/>
                    <a:pt x="14495" y="11485"/>
                  </a:cubicBezTo>
                  <a:cubicBezTo>
                    <a:pt x="14340" y="11623"/>
                    <a:pt x="14340" y="11623"/>
                    <a:pt x="14340" y="11623"/>
                  </a:cubicBezTo>
                  <a:cubicBezTo>
                    <a:pt x="14244" y="11512"/>
                    <a:pt x="14244" y="11512"/>
                    <a:pt x="14244" y="11512"/>
                  </a:cubicBezTo>
                  <a:cubicBezTo>
                    <a:pt x="13992" y="11734"/>
                    <a:pt x="13992" y="11734"/>
                    <a:pt x="13992" y="11734"/>
                  </a:cubicBezTo>
                  <a:cubicBezTo>
                    <a:pt x="13949" y="11686"/>
                    <a:pt x="13949" y="11686"/>
                    <a:pt x="13949" y="11686"/>
                  </a:cubicBezTo>
                  <a:cubicBezTo>
                    <a:pt x="14198" y="11460"/>
                    <a:pt x="14198" y="11460"/>
                    <a:pt x="14198" y="11460"/>
                  </a:cubicBezTo>
                  <a:cubicBezTo>
                    <a:pt x="14094" y="11342"/>
                    <a:pt x="14094" y="11342"/>
                    <a:pt x="14094" y="11342"/>
                  </a:cubicBezTo>
                  <a:cubicBezTo>
                    <a:pt x="14146" y="11290"/>
                    <a:pt x="14146" y="11290"/>
                    <a:pt x="14146" y="11290"/>
                  </a:cubicBezTo>
                  <a:cubicBezTo>
                    <a:pt x="14044" y="11170"/>
                    <a:pt x="14044" y="11170"/>
                    <a:pt x="14044" y="11170"/>
                  </a:cubicBezTo>
                  <a:cubicBezTo>
                    <a:pt x="13783" y="11405"/>
                    <a:pt x="13783" y="11405"/>
                    <a:pt x="13783" y="11405"/>
                  </a:cubicBezTo>
                  <a:cubicBezTo>
                    <a:pt x="13859" y="11493"/>
                    <a:pt x="13859" y="11493"/>
                    <a:pt x="13859" y="11493"/>
                  </a:cubicBezTo>
                  <a:cubicBezTo>
                    <a:pt x="13722" y="11618"/>
                    <a:pt x="13722" y="11618"/>
                    <a:pt x="13722" y="11618"/>
                  </a:cubicBezTo>
                  <a:cubicBezTo>
                    <a:pt x="13643" y="11526"/>
                    <a:pt x="13643" y="11526"/>
                    <a:pt x="13643" y="11526"/>
                  </a:cubicBezTo>
                  <a:cubicBezTo>
                    <a:pt x="13586" y="11578"/>
                    <a:pt x="13586" y="11578"/>
                    <a:pt x="13586" y="11578"/>
                  </a:cubicBezTo>
                  <a:cubicBezTo>
                    <a:pt x="13410" y="11382"/>
                    <a:pt x="13410" y="11382"/>
                    <a:pt x="13410" y="11382"/>
                  </a:cubicBezTo>
                  <a:lnTo>
                    <a:pt x="14086" y="10781"/>
                  </a:lnTo>
                  <a:close/>
                  <a:moveTo>
                    <a:pt x="6102" y="3566"/>
                  </a:moveTo>
                  <a:cubicBezTo>
                    <a:pt x="6236" y="3597"/>
                    <a:pt x="6236" y="3597"/>
                    <a:pt x="6236" y="3597"/>
                  </a:cubicBezTo>
                  <a:cubicBezTo>
                    <a:pt x="6321" y="3240"/>
                    <a:pt x="6321" y="3240"/>
                    <a:pt x="6321" y="3240"/>
                  </a:cubicBezTo>
                  <a:cubicBezTo>
                    <a:pt x="6630" y="3311"/>
                    <a:pt x="6630" y="3311"/>
                    <a:pt x="6630" y="3311"/>
                  </a:cubicBezTo>
                  <a:cubicBezTo>
                    <a:pt x="6530" y="3742"/>
                    <a:pt x="6530" y="3742"/>
                    <a:pt x="6530" y="3742"/>
                  </a:cubicBezTo>
                  <a:cubicBezTo>
                    <a:pt x="6258" y="3680"/>
                    <a:pt x="6258" y="3680"/>
                    <a:pt x="6258" y="3680"/>
                  </a:cubicBezTo>
                  <a:cubicBezTo>
                    <a:pt x="6224" y="3830"/>
                    <a:pt x="6224" y="3830"/>
                    <a:pt x="6224" y="3830"/>
                  </a:cubicBezTo>
                  <a:cubicBezTo>
                    <a:pt x="6491" y="3894"/>
                    <a:pt x="6491" y="3894"/>
                    <a:pt x="6491" y="3894"/>
                  </a:cubicBezTo>
                  <a:cubicBezTo>
                    <a:pt x="6475" y="3976"/>
                    <a:pt x="6475" y="3976"/>
                    <a:pt x="6475" y="3976"/>
                  </a:cubicBezTo>
                  <a:cubicBezTo>
                    <a:pt x="6790" y="4051"/>
                    <a:pt x="6790" y="4051"/>
                    <a:pt x="6790" y="4051"/>
                  </a:cubicBezTo>
                  <a:cubicBezTo>
                    <a:pt x="6808" y="3957"/>
                    <a:pt x="6808" y="3957"/>
                    <a:pt x="6808" y="3957"/>
                  </a:cubicBezTo>
                  <a:cubicBezTo>
                    <a:pt x="6733" y="3938"/>
                    <a:pt x="6733" y="3938"/>
                    <a:pt x="6733" y="3938"/>
                  </a:cubicBezTo>
                  <a:cubicBezTo>
                    <a:pt x="6795" y="3659"/>
                    <a:pt x="6795" y="3659"/>
                    <a:pt x="6795" y="3659"/>
                  </a:cubicBezTo>
                  <a:cubicBezTo>
                    <a:pt x="6875" y="3679"/>
                    <a:pt x="6875" y="3679"/>
                    <a:pt x="6875" y="3679"/>
                  </a:cubicBezTo>
                  <a:cubicBezTo>
                    <a:pt x="6974" y="3262"/>
                    <a:pt x="6974" y="3262"/>
                    <a:pt x="6974" y="3262"/>
                  </a:cubicBezTo>
                  <a:cubicBezTo>
                    <a:pt x="6661" y="3188"/>
                    <a:pt x="6661" y="3188"/>
                    <a:pt x="6661" y="3188"/>
                  </a:cubicBezTo>
                  <a:cubicBezTo>
                    <a:pt x="6650" y="3241"/>
                    <a:pt x="6650" y="3241"/>
                    <a:pt x="6650" y="3241"/>
                  </a:cubicBezTo>
                  <a:cubicBezTo>
                    <a:pt x="6174" y="3128"/>
                    <a:pt x="6174" y="3128"/>
                    <a:pt x="6174" y="3128"/>
                  </a:cubicBezTo>
                  <a:cubicBezTo>
                    <a:pt x="6167" y="3126"/>
                    <a:pt x="6167" y="3126"/>
                    <a:pt x="6167" y="3126"/>
                  </a:cubicBezTo>
                  <a:cubicBezTo>
                    <a:pt x="6149" y="3198"/>
                    <a:pt x="6149" y="3198"/>
                    <a:pt x="6149" y="3198"/>
                  </a:cubicBezTo>
                  <a:cubicBezTo>
                    <a:pt x="6189" y="3208"/>
                    <a:pt x="6189" y="3208"/>
                    <a:pt x="6189" y="3208"/>
                  </a:cubicBezTo>
                  <a:cubicBezTo>
                    <a:pt x="6140" y="3406"/>
                    <a:pt x="6140" y="3406"/>
                    <a:pt x="6140" y="3406"/>
                  </a:cubicBezTo>
                  <a:cubicBezTo>
                    <a:pt x="5903" y="3351"/>
                    <a:pt x="5903" y="3351"/>
                    <a:pt x="5903" y="3351"/>
                  </a:cubicBezTo>
                  <a:cubicBezTo>
                    <a:pt x="5872" y="3474"/>
                    <a:pt x="5872" y="3474"/>
                    <a:pt x="5872" y="3474"/>
                  </a:cubicBezTo>
                  <a:cubicBezTo>
                    <a:pt x="6110" y="3530"/>
                    <a:pt x="6110" y="3530"/>
                    <a:pt x="6110" y="3530"/>
                  </a:cubicBezTo>
                  <a:lnTo>
                    <a:pt x="6102" y="3566"/>
                  </a:lnTo>
                  <a:close/>
                  <a:moveTo>
                    <a:pt x="5890" y="3463"/>
                  </a:moveTo>
                  <a:cubicBezTo>
                    <a:pt x="5914" y="3369"/>
                    <a:pt x="5914" y="3369"/>
                    <a:pt x="5914" y="3369"/>
                  </a:cubicBezTo>
                  <a:cubicBezTo>
                    <a:pt x="6151" y="3424"/>
                    <a:pt x="6151" y="3424"/>
                    <a:pt x="6151" y="3424"/>
                  </a:cubicBezTo>
                  <a:cubicBezTo>
                    <a:pt x="6206" y="3198"/>
                    <a:pt x="6206" y="3198"/>
                    <a:pt x="6206" y="3198"/>
                  </a:cubicBezTo>
                  <a:cubicBezTo>
                    <a:pt x="6167" y="3188"/>
                    <a:pt x="6167" y="3188"/>
                    <a:pt x="6167" y="3188"/>
                  </a:cubicBezTo>
                  <a:cubicBezTo>
                    <a:pt x="6178" y="3144"/>
                    <a:pt x="6178" y="3144"/>
                    <a:pt x="6178" y="3144"/>
                  </a:cubicBezTo>
                  <a:cubicBezTo>
                    <a:pt x="6661" y="3259"/>
                    <a:pt x="6661" y="3259"/>
                    <a:pt x="6661" y="3259"/>
                  </a:cubicBezTo>
                  <a:cubicBezTo>
                    <a:pt x="6672" y="3206"/>
                    <a:pt x="6672" y="3206"/>
                    <a:pt x="6672" y="3206"/>
                  </a:cubicBezTo>
                  <a:cubicBezTo>
                    <a:pt x="6956" y="3273"/>
                    <a:pt x="6956" y="3273"/>
                    <a:pt x="6956" y="3273"/>
                  </a:cubicBezTo>
                  <a:cubicBezTo>
                    <a:pt x="6864" y="3661"/>
                    <a:pt x="6864" y="3661"/>
                    <a:pt x="6864" y="3661"/>
                  </a:cubicBezTo>
                  <a:cubicBezTo>
                    <a:pt x="6784" y="3641"/>
                    <a:pt x="6784" y="3641"/>
                    <a:pt x="6784" y="3641"/>
                  </a:cubicBezTo>
                  <a:cubicBezTo>
                    <a:pt x="6715" y="3949"/>
                    <a:pt x="6715" y="3949"/>
                    <a:pt x="6715" y="3949"/>
                  </a:cubicBezTo>
                  <a:cubicBezTo>
                    <a:pt x="6791" y="3968"/>
                    <a:pt x="6791" y="3968"/>
                    <a:pt x="6791" y="3968"/>
                  </a:cubicBezTo>
                  <a:cubicBezTo>
                    <a:pt x="6779" y="4033"/>
                    <a:pt x="6779" y="4033"/>
                    <a:pt x="6779" y="4033"/>
                  </a:cubicBezTo>
                  <a:cubicBezTo>
                    <a:pt x="6492" y="3965"/>
                    <a:pt x="6492" y="3965"/>
                    <a:pt x="6492" y="3965"/>
                  </a:cubicBezTo>
                  <a:cubicBezTo>
                    <a:pt x="6508" y="3883"/>
                    <a:pt x="6508" y="3883"/>
                    <a:pt x="6508" y="3883"/>
                  </a:cubicBezTo>
                  <a:cubicBezTo>
                    <a:pt x="6242" y="3819"/>
                    <a:pt x="6242" y="3819"/>
                    <a:pt x="6242" y="3819"/>
                  </a:cubicBezTo>
                  <a:cubicBezTo>
                    <a:pt x="6269" y="3697"/>
                    <a:pt x="6269" y="3697"/>
                    <a:pt x="6269" y="3697"/>
                  </a:cubicBezTo>
                  <a:cubicBezTo>
                    <a:pt x="6541" y="3759"/>
                    <a:pt x="6541" y="3759"/>
                    <a:pt x="6541" y="3759"/>
                  </a:cubicBezTo>
                  <a:cubicBezTo>
                    <a:pt x="6648" y="3300"/>
                    <a:pt x="6648" y="3300"/>
                    <a:pt x="6648" y="3300"/>
                  </a:cubicBezTo>
                  <a:cubicBezTo>
                    <a:pt x="6310" y="3223"/>
                    <a:pt x="6310" y="3223"/>
                    <a:pt x="6310" y="3223"/>
                  </a:cubicBezTo>
                  <a:cubicBezTo>
                    <a:pt x="6225" y="3579"/>
                    <a:pt x="6225" y="3579"/>
                    <a:pt x="6225" y="3579"/>
                  </a:cubicBezTo>
                  <a:cubicBezTo>
                    <a:pt x="6120" y="3555"/>
                    <a:pt x="6120" y="3555"/>
                    <a:pt x="6120" y="3555"/>
                  </a:cubicBezTo>
                  <a:cubicBezTo>
                    <a:pt x="6128" y="3519"/>
                    <a:pt x="6128" y="3519"/>
                    <a:pt x="6128" y="3519"/>
                  </a:cubicBezTo>
                  <a:lnTo>
                    <a:pt x="5890" y="3463"/>
                  </a:lnTo>
                  <a:close/>
                  <a:moveTo>
                    <a:pt x="6539" y="3144"/>
                  </a:moveTo>
                  <a:cubicBezTo>
                    <a:pt x="6580" y="2969"/>
                    <a:pt x="6580" y="2969"/>
                    <a:pt x="6580" y="2969"/>
                  </a:cubicBezTo>
                  <a:cubicBezTo>
                    <a:pt x="6103" y="2856"/>
                    <a:pt x="6103" y="2856"/>
                    <a:pt x="6103" y="2856"/>
                  </a:cubicBezTo>
                  <a:cubicBezTo>
                    <a:pt x="6061" y="3031"/>
                    <a:pt x="6061" y="3031"/>
                    <a:pt x="6061" y="3031"/>
                  </a:cubicBezTo>
                  <a:cubicBezTo>
                    <a:pt x="6532" y="3143"/>
                    <a:pt x="6532" y="3143"/>
                    <a:pt x="6532" y="3143"/>
                  </a:cubicBezTo>
                  <a:lnTo>
                    <a:pt x="6539" y="3144"/>
                  </a:lnTo>
                  <a:close/>
                  <a:moveTo>
                    <a:pt x="6079" y="3020"/>
                  </a:moveTo>
                  <a:cubicBezTo>
                    <a:pt x="6114" y="2874"/>
                    <a:pt x="6114" y="2874"/>
                    <a:pt x="6114" y="2874"/>
                  </a:cubicBezTo>
                  <a:cubicBezTo>
                    <a:pt x="6563" y="2980"/>
                    <a:pt x="6563" y="2980"/>
                    <a:pt x="6563" y="2980"/>
                  </a:cubicBezTo>
                  <a:cubicBezTo>
                    <a:pt x="6528" y="3127"/>
                    <a:pt x="6528" y="3127"/>
                    <a:pt x="6528" y="3127"/>
                  </a:cubicBezTo>
                  <a:lnTo>
                    <a:pt x="6079" y="3020"/>
                  </a:lnTo>
                  <a:close/>
                  <a:moveTo>
                    <a:pt x="6374" y="3358"/>
                  </a:moveTo>
                  <a:cubicBezTo>
                    <a:pt x="6319" y="3589"/>
                    <a:pt x="6319" y="3589"/>
                    <a:pt x="6319" y="3589"/>
                  </a:cubicBezTo>
                  <a:cubicBezTo>
                    <a:pt x="6317" y="3596"/>
                    <a:pt x="6317" y="3596"/>
                    <a:pt x="6317" y="3596"/>
                  </a:cubicBezTo>
                  <a:cubicBezTo>
                    <a:pt x="6464" y="3631"/>
                    <a:pt x="6464" y="3631"/>
                    <a:pt x="6464" y="3631"/>
                  </a:cubicBezTo>
                  <a:cubicBezTo>
                    <a:pt x="6521" y="3392"/>
                    <a:pt x="6521" y="3392"/>
                    <a:pt x="6521" y="3392"/>
                  </a:cubicBezTo>
                  <a:lnTo>
                    <a:pt x="6374" y="3358"/>
                  </a:lnTo>
                  <a:close/>
                  <a:moveTo>
                    <a:pt x="6453" y="3613"/>
                  </a:moveTo>
                  <a:cubicBezTo>
                    <a:pt x="6335" y="3585"/>
                    <a:pt x="6335" y="3585"/>
                    <a:pt x="6335" y="3585"/>
                  </a:cubicBezTo>
                  <a:cubicBezTo>
                    <a:pt x="6385" y="3375"/>
                    <a:pt x="6385" y="3375"/>
                    <a:pt x="6385" y="3375"/>
                  </a:cubicBezTo>
                  <a:cubicBezTo>
                    <a:pt x="6503" y="3403"/>
                    <a:pt x="6503" y="3403"/>
                    <a:pt x="6503" y="3403"/>
                  </a:cubicBezTo>
                  <a:lnTo>
                    <a:pt x="6453" y="3613"/>
                  </a:lnTo>
                  <a:close/>
                  <a:moveTo>
                    <a:pt x="10353" y="11604"/>
                  </a:moveTo>
                  <a:cubicBezTo>
                    <a:pt x="10396" y="11748"/>
                    <a:pt x="10396" y="11748"/>
                    <a:pt x="10396" y="11748"/>
                  </a:cubicBezTo>
                  <a:cubicBezTo>
                    <a:pt x="10043" y="11859"/>
                    <a:pt x="10043" y="11859"/>
                    <a:pt x="10043" y="11859"/>
                  </a:cubicBezTo>
                  <a:cubicBezTo>
                    <a:pt x="10074" y="11957"/>
                    <a:pt x="10074" y="11957"/>
                    <a:pt x="10074" y="11957"/>
                  </a:cubicBezTo>
                  <a:cubicBezTo>
                    <a:pt x="10146" y="11937"/>
                    <a:pt x="10146" y="11937"/>
                    <a:pt x="10146" y="11937"/>
                  </a:cubicBezTo>
                  <a:cubicBezTo>
                    <a:pt x="10179" y="12041"/>
                    <a:pt x="10179" y="12041"/>
                    <a:pt x="10179" y="12041"/>
                  </a:cubicBezTo>
                  <a:cubicBezTo>
                    <a:pt x="10103" y="12066"/>
                    <a:pt x="10103" y="12066"/>
                    <a:pt x="10103" y="12066"/>
                  </a:cubicBezTo>
                  <a:cubicBezTo>
                    <a:pt x="10120" y="12118"/>
                    <a:pt x="10120" y="12118"/>
                    <a:pt x="10120" y="12118"/>
                  </a:cubicBezTo>
                  <a:cubicBezTo>
                    <a:pt x="10322" y="12051"/>
                    <a:pt x="10322" y="12051"/>
                    <a:pt x="10322" y="12051"/>
                  </a:cubicBezTo>
                  <a:cubicBezTo>
                    <a:pt x="10295" y="11961"/>
                    <a:pt x="10295" y="11961"/>
                    <a:pt x="10295" y="11961"/>
                  </a:cubicBezTo>
                  <a:cubicBezTo>
                    <a:pt x="10438" y="11918"/>
                    <a:pt x="10438" y="11918"/>
                    <a:pt x="10438" y="11918"/>
                  </a:cubicBezTo>
                  <a:cubicBezTo>
                    <a:pt x="10466" y="12008"/>
                    <a:pt x="10466" y="12008"/>
                    <a:pt x="10466" y="12008"/>
                  </a:cubicBezTo>
                  <a:cubicBezTo>
                    <a:pt x="10680" y="11941"/>
                    <a:pt x="10680" y="11941"/>
                    <a:pt x="10680" y="11941"/>
                  </a:cubicBezTo>
                  <a:cubicBezTo>
                    <a:pt x="10678" y="11934"/>
                    <a:pt x="10678" y="11934"/>
                    <a:pt x="10678" y="11934"/>
                  </a:cubicBezTo>
                  <a:cubicBezTo>
                    <a:pt x="10601" y="11689"/>
                    <a:pt x="10601" y="11689"/>
                    <a:pt x="10601" y="11689"/>
                  </a:cubicBezTo>
                  <a:cubicBezTo>
                    <a:pt x="10553" y="11701"/>
                    <a:pt x="10553" y="11701"/>
                    <a:pt x="10553" y="11701"/>
                  </a:cubicBezTo>
                  <a:cubicBezTo>
                    <a:pt x="10505" y="11555"/>
                    <a:pt x="10505" y="11555"/>
                    <a:pt x="10505" y="11555"/>
                  </a:cubicBezTo>
                  <a:lnTo>
                    <a:pt x="10353" y="11604"/>
                  </a:lnTo>
                  <a:close/>
                  <a:moveTo>
                    <a:pt x="10591" y="11706"/>
                  </a:moveTo>
                  <a:cubicBezTo>
                    <a:pt x="10661" y="11931"/>
                    <a:pt x="10661" y="11931"/>
                    <a:pt x="10661" y="11931"/>
                  </a:cubicBezTo>
                  <a:cubicBezTo>
                    <a:pt x="10476" y="11989"/>
                    <a:pt x="10476" y="11989"/>
                    <a:pt x="10476" y="11989"/>
                  </a:cubicBezTo>
                  <a:cubicBezTo>
                    <a:pt x="10447" y="11899"/>
                    <a:pt x="10447" y="11899"/>
                    <a:pt x="10447" y="11899"/>
                  </a:cubicBezTo>
                  <a:cubicBezTo>
                    <a:pt x="10276" y="11952"/>
                    <a:pt x="10276" y="11952"/>
                    <a:pt x="10276" y="11952"/>
                  </a:cubicBezTo>
                  <a:cubicBezTo>
                    <a:pt x="10303" y="12041"/>
                    <a:pt x="10303" y="12041"/>
                    <a:pt x="10303" y="12041"/>
                  </a:cubicBezTo>
                  <a:cubicBezTo>
                    <a:pt x="10129" y="12099"/>
                    <a:pt x="10129" y="12099"/>
                    <a:pt x="10129" y="12099"/>
                  </a:cubicBezTo>
                  <a:cubicBezTo>
                    <a:pt x="10122" y="12076"/>
                    <a:pt x="10122" y="12076"/>
                    <a:pt x="10122" y="12076"/>
                  </a:cubicBezTo>
                  <a:cubicBezTo>
                    <a:pt x="10197" y="12051"/>
                    <a:pt x="10197" y="12051"/>
                    <a:pt x="10197" y="12051"/>
                  </a:cubicBezTo>
                  <a:cubicBezTo>
                    <a:pt x="10156" y="11918"/>
                    <a:pt x="10156" y="11918"/>
                    <a:pt x="10156" y="11918"/>
                  </a:cubicBezTo>
                  <a:cubicBezTo>
                    <a:pt x="10084" y="11939"/>
                    <a:pt x="10084" y="11939"/>
                    <a:pt x="10084" y="11939"/>
                  </a:cubicBezTo>
                  <a:cubicBezTo>
                    <a:pt x="10061" y="11868"/>
                    <a:pt x="10061" y="11868"/>
                    <a:pt x="10061" y="11868"/>
                  </a:cubicBezTo>
                  <a:cubicBezTo>
                    <a:pt x="10415" y="11758"/>
                    <a:pt x="10415" y="11758"/>
                    <a:pt x="10415" y="11758"/>
                  </a:cubicBezTo>
                  <a:cubicBezTo>
                    <a:pt x="10372" y="11614"/>
                    <a:pt x="10372" y="11614"/>
                    <a:pt x="10372" y="11614"/>
                  </a:cubicBezTo>
                  <a:cubicBezTo>
                    <a:pt x="10496" y="11574"/>
                    <a:pt x="10496" y="11574"/>
                    <a:pt x="10496" y="11574"/>
                  </a:cubicBezTo>
                  <a:cubicBezTo>
                    <a:pt x="10543" y="11719"/>
                    <a:pt x="10543" y="11719"/>
                    <a:pt x="10543" y="11719"/>
                  </a:cubicBezTo>
                  <a:lnTo>
                    <a:pt x="10591" y="11706"/>
                  </a:lnTo>
                  <a:close/>
                  <a:moveTo>
                    <a:pt x="45" y="4529"/>
                  </a:moveTo>
                  <a:cubicBezTo>
                    <a:pt x="4" y="4481"/>
                    <a:pt x="4" y="4481"/>
                    <a:pt x="4" y="4481"/>
                  </a:cubicBezTo>
                  <a:cubicBezTo>
                    <a:pt x="4" y="4458"/>
                    <a:pt x="4" y="4458"/>
                    <a:pt x="4" y="4458"/>
                  </a:cubicBezTo>
                  <a:cubicBezTo>
                    <a:pt x="46" y="4508"/>
                    <a:pt x="46" y="4508"/>
                    <a:pt x="46" y="4508"/>
                  </a:cubicBezTo>
                  <a:cubicBezTo>
                    <a:pt x="160" y="4411"/>
                    <a:pt x="160" y="4411"/>
                    <a:pt x="160" y="4411"/>
                  </a:cubicBezTo>
                  <a:cubicBezTo>
                    <a:pt x="366" y="4650"/>
                    <a:pt x="366" y="4650"/>
                    <a:pt x="366" y="4650"/>
                  </a:cubicBezTo>
                  <a:cubicBezTo>
                    <a:pt x="885" y="4189"/>
                    <a:pt x="885" y="4189"/>
                    <a:pt x="885" y="4189"/>
                  </a:cubicBezTo>
                  <a:cubicBezTo>
                    <a:pt x="781" y="4068"/>
                    <a:pt x="781" y="4068"/>
                    <a:pt x="781" y="4068"/>
                  </a:cubicBezTo>
                  <a:cubicBezTo>
                    <a:pt x="723" y="4113"/>
                    <a:pt x="723" y="4113"/>
                    <a:pt x="723" y="4113"/>
                  </a:cubicBezTo>
                  <a:cubicBezTo>
                    <a:pt x="570" y="3927"/>
                    <a:pt x="570" y="3927"/>
                    <a:pt x="570" y="3927"/>
                  </a:cubicBezTo>
                  <a:cubicBezTo>
                    <a:pt x="626" y="3874"/>
                    <a:pt x="626" y="3874"/>
                    <a:pt x="626" y="3874"/>
                  </a:cubicBezTo>
                  <a:cubicBezTo>
                    <a:pt x="484" y="3708"/>
                    <a:pt x="484" y="3708"/>
                    <a:pt x="484" y="3708"/>
                  </a:cubicBezTo>
                  <a:cubicBezTo>
                    <a:pt x="248" y="3912"/>
                    <a:pt x="248" y="3912"/>
                    <a:pt x="248" y="3912"/>
                  </a:cubicBezTo>
                  <a:cubicBezTo>
                    <a:pt x="220" y="3879"/>
                    <a:pt x="220" y="3879"/>
                    <a:pt x="220" y="3879"/>
                  </a:cubicBezTo>
                  <a:cubicBezTo>
                    <a:pt x="4" y="4064"/>
                    <a:pt x="4" y="4064"/>
                    <a:pt x="4" y="4064"/>
                  </a:cubicBezTo>
                  <a:cubicBezTo>
                    <a:pt x="4" y="4045"/>
                    <a:pt x="4" y="4045"/>
                    <a:pt x="4" y="4045"/>
                  </a:cubicBezTo>
                  <a:cubicBezTo>
                    <a:pt x="222" y="3858"/>
                    <a:pt x="222" y="3858"/>
                    <a:pt x="222" y="3858"/>
                  </a:cubicBezTo>
                  <a:cubicBezTo>
                    <a:pt x="250" y="3891"/>
                    <a:pt x="250" y="3891"/>
                    <a:pt x="250" y="3891"/>
                  </a:cubicBezTo>
                  <a:cubicBezTo>
                    <a:pt x="479" y="3692"/>
                    <a:pt x="479" y="3692"/>
                    <a:pt x="479" y="3692"/>
                  </a:cubicBezTo>
                  <a:cubicBezTo>
                    <a:pt x="485" y="3687"/>
                    <a:pt x="485" y="3687"/>
                    <a:pt x="485" y="3687"/>
                  </a:cubicBezTo>
                  <a:cubicBezTo>
                    <a:pt x="646" y="3875"/>
                    <a:pt x="646" y="3875"/>
                    <a:pt x="646" y="3875"/>
                  </a:cubicBezTo>
                  <a:cubicBezTo>
                    <a:pt x="590" y="3928"/>
                    <a:pt x="590" y="3928"/>
                    <a:pt x="590" y="3928"/>
                  </a:cubicBezTo>
                  <a:cubicBezTo>
                    <a:pt x="726" y="4093"/>
                    <a:pt x="726" y="4093"/>
                    <a:pt x="726" y="4093"/>
                  </a:cubicBezTo>
                  <a:cubicBezTo>
                    <a:pt x="783" y="4047"/>
                    <a:pt x="783" y="4047"/>
                    <a:pt x="783" y="4047"/>
                  </a:cubicBezTo>
                  <a:cubicBezTo>
                    <a:pt x="906" y="4191"/>
                    <a:pt x="906" y="4191"/>
                    <a:pt x="906" y="4191"/>
                  </a:cubicBezTo>
                  <a:cubicBezTo>
                    <a:pt x="364" y="4671"/>
                    <a:pt x="364" y="4671"/>
                    <a:pt x="364" y="4671"/>
                  </a:cubicBezTo>
                  <a:cubicBezTo>
                    <a:pt x="159" y="4432"/>
                    <a:pt x="159" y="4432"/>
                    <a:pt x="159" y="4432"/>
                  </a:cubicBezTo>
                  <a:lnTo>
                    <a:pt x="45" y="4529"/>
                  </a:lnTo>
                  <a:close/>
                  <a:moveTo>
                    <a:pt x="82" y="5796"/>
                  </a:moveTo>
                  <a:cubicBezTo>
                    <a:pt x="4" y="5706"/>
                    <a:pt x="4" y="5706"/>
                    <a:pt x="4" y="5706"/>
                  </a:cubicBezTo>
                  <a:cubicBezTo>
                    <a:pt x="4" y="5683"/>
                    <a:pt x="4" y="5683"/>
                    <a:pt x="4" y="5683"/>
                  </a:cubicBezTo>
                  <a:cubicBezTo>
                    <a:pt x="83" y="5775"/>
                    <a:pt x="83" y="5775"/>
                    <a:pt x="83" y="5775"/>
                  </a:cubicBezTo>
                  <a:cubicBezTo>
                    <a:pt x="603" y="5314"/>
                    <a:pt x="603" y="5314"/>
                    <a:pt x="603" y="5314"/>
                  </a:cubicBezTo>
                  <a:cubicBezTo>
                    <a:pt x="499" y="5193"/>
                    <a:pt x="499" y="5193"/>
                    <a:pt x="499" y="5193"/>
                  </a:cubicBezTo>
                  <a:cubicBezTo>
                    <a:pt x="441" y="5238"/>
                    <a:pt x="441" y="5238"/>
                    <a:pt x="441" y="5238"/>
                  </a:cubicBezTo>
                  <a:cubicBezTo>
                    <a:pt x="288" y="5052"/>
                    <a:pt x="288" y="5052"/>
                    <a:pt x="288" y="5052"/>
                  </a:cubicBezTo>
                  <a:cubicBezTo>
                    <a:pt x="344" y="4999"/>
                    <a:pt x="344" y="4999"/>
                    <a:pt x="344" y="4999"/>
                  </a:cubicBezTo>
                  <a:cubicBezTo>
                    <a:pt x="201" y="4833"/>
                    <a:pt x="201" y="4833"/>
                    <a:pt x="201" y="4833"/>
                  </a:cubicBezTo>
                  <a:cubicBezTo>
                    <a:pt x="4" y="5004"/>
                    <a:pt x="4" y="5004"/>
                    <a:pt x="4" y="5004"/>
                  </a:cubicBezTo>
                  <a:cubicBezTo>
                    <a:pt x="4" y="4984"/>
                    <a:pt x="4" y="4984"/>
                    <a:pt x="4" y="4984"/>
                  </a:cubicBezTo>
                  <a:cubicBezTo>
                    <a:pt x="197" y="4817"/>
                    <a:pt x="197" y="4817"/>
                    <a:pt x="197" y="4817"/>
                  </a:cubicBezTo>
                  <a:cubicBezTo>
                    <a:pt x="203" y="4813"/>
                    <a:pt x="203" y="4813"/>
                    <a:pt x="203" y="4813"/>
                  </a:cubicBezTo>
                  <a:cubicBezTo>
                    <a:pt x="364" y="5000"/>
                    <a:pt x="364" y="5000"/>
                    <a:pt x="364" y="5000"/>
                  </a:cubicBezTo>
                  <a:cubicBezTo>
                    <a:pt x="308" y="5053"/>
                    <a:pt x="308" y="5053"/>
                    <a:pt x="308" y="5053"/>
                  </a:cubicBezTo>
                  <a:cubicBezTo>
                    <a:pt x="444" y="5218"/>
                    <a:pt x="444" y="5218"/>
                    <a:pt x="444" y="5218"/>
                  </a:cubicBezTo>
                  <a:cubicBezTo>
                    <a:pt x="501" y="5173"/>
                    <a:pt x="501" y="5173"/>
                    <a:pt x="501" y="5173"/>
                  </a:cubicBezTo>
                  <a:cubicBezTo>
                    <a:pt x="624" y="5316"/>
                    <a:pt x="624" y="5316"/>
                    <a:pt x="624" y="5316"/>
                  </a:cubicBezTo>
                  <a:lnTo>
                    <a:pt x="82" y="5796"/>
                  </a:lnTo>
                  <a:close/>
                  <a:moveTo>
                    <a:pt x="9661" y="7294"/>
                  </a:moveTo>
                  <a:cubicBezTo>
                    <a:pt x="9368" y="7374"/>
                    <a:pt x="9368" y="7374"/>
                    <a:pt x="9368" y="7374"/>
                  </a:cubicBezTo>
                  <a:cubicBezTo>
                    <a:pt x="9361" y="7376"/>
                    <a:pt x="9361" y="7376"/>
                    <a:pt x="9361" y="7376"/>
                  </a:cubicBezTo>
                  <a:cubicBezTo>
                    <a:pt x="9426" y="7614"/>
                    <a:pt x="9426" y="7614"/>
                    <a:pt x="9426" y="7614"/>
                  </a:cubicBezTo>
                  <a:cubicBezTo>
                    <a:pt x="9502" y="7597"/>
                    <a:pt x="9502" y="7597"/>
                    <a:pt x="9502" y="7597"/>
                  </a:cubicBezTo>
                  <a:cubicBezTo>
                    <a:pt x="9563" y="7802"/>
                    <a:pt x="9563" y="7802"/>
                    <a:pt x="9563" y="7802"/>
                  </a:cubicBezTo>
                  <a:cubicBezTo>
                    <a:pt x="9493" y="7824"/>
                    <a:pt x="9493" y="7824"/>
                    <a:pt x="9493" y="7824"/>
                  </a:cubicBezTo>
                  <a:cubicBezTo>
                    <a:pt x="9544" y="8006"/>
                    <a:pt x="9544" y="8006"/>
                    <a:pt x="9544" y="8006"/>
                  </a:cubicBezTo>
                  <a:cubicBezTo>
                    <a:pt x="10245" y="7824"/>
                    <a:pt x="10245" y="7824"/>
                    <a:pt x="10245" y="7824"/>
                  </a:cubicBezTo>
                  <a:cubicBezTo>
                    <a:pt x="10161" y="7520"/>
                    <a:pt x="10161" y="7520"/>
                    <a:pt x="10161" y="7520"/>
                  </a:cubicBezTo>
                  <a:cubicBezTo>
                    <a:pt x="10305" y="7479"/>
                    <a:pt x="10305" y="7479"/>
                    <a:pt x="10305" y="7479"/>
                  </a:cubicBezTo>
                  <a:cubicBezTo>
                    <a:pt x="10212" y="7157"/>
                    <a:pt x="10212" y="7157"/>
                    <a:pt x="10212" y="7157"/>
                  </a:cubicBezTo>
                  <a:cubicBezTo>
                    <a:pt x="10017" y="7210"/>
                    <a:pt x="10017" y="7210"/>
                    <a:pt x="10017" y="7210"/>
                  </a:cubicBezTo>
                  <a:cubicBezTo>
                    <a:pt x="10001" y="7156"/>
                    <a:pt x="10001" y="7156"/>
                    <a:pt x="10001" y="7156"/>
                  </a:cubicBezTo>
                  <a:cubicBezTo>
                    <a:pt x="9649" y="7252"/>
                    <a:pt x="9649" y="7252"/>
                    <a:pt x="9649" y="7252"/>
                  </a:cubicBezTo>
                  <a:lnTo>
                    <a:pt x="9661" y="7294"/>
                  </a:lnTo>
                  <a:close/>
                  <a:moveTo>
                    <a:pt x="9991" y="7174"/>
                  </a:moveTo>
                  <a:cubicBezTo>
                    <a:pt x="10007" y="7228"/>
                    <a:pt x="10007" y="7228"/>
                    <a:pt x="10007" y="7228"/>
                  </a:cubicBezTo>
                  <a:cubicBezTo>
                    <a:pt x="10202" y="7175"/>
                    <a:pt x="10202" y="7175"/>
                    <a:pt x="10202" y="7175"/>
                  </a:cubicBezTo>
                  <a:cubicBezTo>
                    <a:pt x="10286" y="7469"/>
                    <a:pt x="10286" y="7469"/>
                    <a:pt x="10286" y="7469"/>
                  </a:cubicBezTo>
                  <a:cubicBezTo>
                    <a:pt x="10142" y="7510"/>
                    <a:pt x="10142" y="7510"/>
                    <a:pt x="10142" y="7510"/>
                  </a:cubicBezTo>
                  <a:cubicBezTo>
                    <a:pt x="10227" y="7814"/>
                    <a:pt x="10227" y="7814"/>
                    <a:pt x="10227" y="7814"/>
                  </a:cubicBezTo>
                  <a:cubicBezTo>
                    <a:pt x="9554" y="7988"/>
                    <a:pt x="9554" y="7988"/>
                    <a:pt x="9554" y="7988"/>
                  </a:cubicBezTo>
                  <a:cubicBezTo>
                    <a:pt x="9511" y="7834"/>
                    <a:pt x="9511" y="7834"/>
                    <a:pt x="9511" y="7834"/>
                  </a:cubicBezTo>
                  <a:cubicBezTo>
                    <a:pt x="9581" y="7811"/>
                    <a:pt x="9581" y="7811"/>
                    <a:pt x="9581" y="7811"/>
                  </a:cubicBezTo>
                  <a:cubicBezTo>
                    <a:pt x="9512" y="7580"/>
                    <a:pt x="9512" y="7580"/>
                    <a:pt x="9512" y="7580"/>
                  </a:cubicBezTo>
                  <a:cubicBezTo>
                    <a:pt x="9437" y="7596"/>
                    <a:pt x="9437" y="7596"/>
                    <a:pt x="9437" y="7596"/>
                  </a:cubicBezTo>
                  <a:cubicBezTo>
                    <a:pt x="9379" y="7386"/>
                    <a:pt x="9379" y="7386"/>
                    <a:pt x="9379" y="7386"/>
                  </a:cubicBezTo>
                  <a:cubicBezTo>
                    <a:pt x="9679" y="7304"/>
                    <a:pt x="9679" y="7304"/>
                    <a:pt x="9679" y="7304"/>
                  </a:cubicBezTo>
                  <a:cubicBezTo>
                    <a:pt x="9667" y="7263"/>
                    <a:pt x="9667" y="7263"/>
                    <a:pt x="9667" y="7263"/>
                  </a:cubicBezTo>
                  <a:lnTo>
                    <a:pt x="9991" y="7174"/>
                  </a:lnTo>
                  <a:close/>
                  <a:moveTo>
                    <a:pt x="8579" y="9870"/>
                  </a:moveTo>
                  <a:cubicBezTo>
                    <a:pt x="8680" y="9679"/>
                    <a:pt x="8680" y="9679"/>
                    <a:pt x="8680" y="9679"/>
                  </a:cubicBezTo>
                  <a:cubicBezTo>
                    <a:pt x="8741" y="9715"/>
                    <a:pt x="8741" y="9715"/>
                    <a:pt x="8741" y="9715"/>
                  </a:cubicBezTo>
                  <a:cubicBezTo>
                    <a:pt x="8797" y="9620"/>
                    <a:pt x="8797" y="9620"/>
                    <a:pt x="8797" y="9620"/>
                  </a:cubicBezTo>
                  <a:cubicBezTo>
                    <a:pt x="8481" y="9437"/>
                    <a:pt x="8481" y="9437"/>
                    <a:pt x="8481" y="9437"/>
                  </a:cubicBezTo>
                  <a:cubicBezTo>
                    <a:pt x="8423" y="9525"/>
                    <a:pt x="8423" y="9525"/>
                    <a:pt x="8423" y="9525"/>
                  </a:cubicBezTo>
                  <a:cubicBezTo>
                    <a:pt x="8247" y="9429"/>
                    <a:pt x="8247" y="9429"/>
                    <a:pt x="8247" y="9429"/>
                  </a:cubicBezTo>
                  <a:cubicBezTo>
                    <a:pt x="8241" y="9425"/>
                    <a:pt x="8241" y="9425"/>
                    <a:pt x="8241" y="9425"/>
                  </a:cubicBezTo>
                  <a:cubicBezTo>
                    <a:pt x="8183" y="9515"/>
                    <a:pt x="8183" y="9515"/>
                    <a:pt x="8183" y="9515"/>
                  </a:cubicBezTo>
                  <a:cubicBezTo>
                    <a:pt x="8241" y="9547"/>
                    <a:pt x="8241" y="9547"/>
                    <a:pt x="8241" y="9547"/>
                  </a:cubicBezTo>
                  <a:cubicBezTo>
                    <a:pt x="8162" y="9690"/>
                    <a:pt x="8162" y="9690"/>
                    <a:pt x="8162" y="9690"/>
                  </a:cubicBezTo>
                  <a:cubicBezTo>
                    <a:pt x="8229" y="9728"/>
                    <a:pt x="8229" y="9728"/>
                    <a:pt x="8229" y="9728"/>
                  </a:cubicBezTo>
                  <a:cubicBezTo>
                    <a:pt x="8309" y="9591"/>
                    <a:pt x="8309" y="9591"/>
                    <a:pt x="8309" y="9591"/>
                  </a:cubicBezTo>
                  <a:cubicBezTo>
                    <a:pt x="8371" y="9626"/>
                    <a:pt x="8371" y="9626"/>
                    <a:pt x="8371" y="9626"/>
                  </a:cubicBezTo>
                  <a:cubicBezTo>
                    <a:pt x="8210" y="9900"/>
                    <a:pt x="8210" y="9900"/>
                    <a:pt x="8210" y="9900"/>
                  </a:cubicBezTo>
                  <a:cubicBezTo>
                    <a:pt x="8288" y="9947"/>
                    <a:pt x="8288" y="9947"/>
                    <a:pt x="8288" y="9947"/>
                  </a:cubicBezTo>
                  <a:cubicBezTo>
                    <a:pt x="8422" y="9714"/>
                    <a:pt x="8422" y="9714"/>
                    <a:pt x="8422" y="9714"/>
                  </a:cubicBezTo>
                  <a:cubicBezTo>
                    <a:pt x="8545" y="9786"/>
                    <a:pt x="8545" y="9786"/>
                    <a:pt x="8545" y="9786"/>
                  </a:cubicBezTo>
                  <a:cubicBezTo>
                    <a:pt x="8411" y="10019"/>
                    <a:pt x="8411" y="10019"/>
                    <a:pt x="8411" y="10019"/>
                  </a:cubicBezTo>
                  <a:cubicBezTo>
                    <a:pt x="8531" y="10086"/>
                    <a:pt x="8531" y="10086"/>
                    <a:pt x="8531" y="10086"/>
                  </a:cubicBezTo>
                  <a:cubicBezTo>
                    <a:pt x="8633" y="9905"/>
                    <a:pt x="8633" y="9905"/>
                    <a:pt x="8633" y="9905"/>
                  </a:cubicBezTo>
                  <a:lnTo>
                    <a:pt x="8579" y="9870"/>
                  </a:lnTo>
                  <a:close/>
                  <a:moveTo>
                    <a:pt x="8525" y="10066"/>
                  </a:moveTo>
                  <a:cubicBezTo>
                    <a:pt x="8431" y="10014"/>
                    <a:pt x="8431" y="10014"/>
                    <a:pt x="8431" y="10014"/>
                  </a:cubicBezTo>
                  <a:cubicBezTo>
                    <a:pt x="8565" y="9780"/>
                    <a:pt x="8565" y="9780"/>
                    <a:pt x="8565" y="9780"/>
                  </a:cubicBezTo>
                  <a:cubicBezTo>
                    <a:pt x="8417" y="9694"/>
                    <a:pt x="8417" y="9694"/>
                    <a:pt x="8417" y="9694"/>
                  </a:cubicBezTo>
                  <a:cubicBezTo>
                    <a:pt x="8282" y="9927"/>
                    <a:pt x="8282" y="9927"/>
                    <a:pt x="8282" y="9927"/>
                  </a:cubicBezTo>
                  <a:cubicBezTo>
                    <a:pt x="8230" y="9895"/>
                    <a:pt x="8230" y="9895"/>
                    <a:pt x="8230" y="9895"/>
                  </a:cubicBezTo>
                  <a:cubicBezTo>
                    <a:pt x="8391" y="9620"/>
                    <a:pt x="8391" y="9620"/>
                    <a:pt x="8391" y="9620"/>
                  </a:cubicBezTo>
                  <a:cubicBezTo>
                    <a:pt x="8304" y="9571"/>
                    <a:pt x="8304" y="9571"/>
                    <a:pt x="8304" y="9571"/>
                  </a:cubicBezTo>
                  <a:cubicBezTo>
                    <a:pt x="8223" y="9708"/>
                    <a:pt x="8223" y="9708"/>
                    <a:pt x="8223" y="9708"/>
                  </a:cubicBezTo>
                  <a:cubicBezTo>
                    <a:pt x="8182" y="9685"/>
                    <a:pt x="8182" y="9685"/>
                    <a:pt x="8182" y="9685"/>
                  </a:cubicBezTo>
                  <a:cubicBezTo>
                    <a:pt x="8261" y="9541"/>
                    <a:pt x="8261" y="9541"/>
                    <a:pt x="8261" y="9541"/>
                  </a:cubicBezTo>
                  <a:cubicBezTo>
                    <a:pt x="8204" y="9510"/>
                    <a:pt x="8204" y="9510"/>
                    <a:pt x="8204" y="9510"/>
                  </a:cubicBezTo>
                  <a:cubicBezTo>
                    <a:pt x="8246" y="9445"/>
                    <a:pt x="8246" y="9445"/>
                    <a:pt x="8246" y="9445"/>
                  </a:cubicBezTo>
                  <a:cubicBezTo>
                    <a:pt x="8428" y="9544"/>
                    <a:pt x="8428" y="9544"/>
                    <a:pt x="8428" y="9544"/>
                  </a:cubicBezTo>
                  <a:cubicBezTo>
                    <a:pt x="8486" y="9456"/>
                    <a:pt x="8486" y="9456"/>
                    <a:pt x="8486" y="9456"/>
                  </a:cubicBezTo>
                  <a:cubicBezTo>
                    <a:pt x="8777" y="9626"/>
                    <a:pt x="8777" y="9626"/>
                    <a:pt x="8777" y="9626"/>
                  </a:cubicBezTo>
                  <a:cubicBezTo>
                    <a:pt x="8736" y="9695"/>
                    <a:pt x="8736" y="9695"/>
                    <a:pt x="8736" y="9695"/>
                  </a:cubicBezTo>
                  <a:cubicBezTo>
                    <a:pt x="8674" y="9659"/>
                    <a:pt x="8674" y="9659"/>
                    <a:pt x="8674" y="9659"/>
                  </a:cubicBezTo>
                  <a:cubicBezTo>
                    <a:pt x="8559" y="9875"/>
                    <a:pt x="8559" y="9875"/>
                    <a:pt x="8559" y="9875"/>
                  </a:cubicBezTo>
                  <a:cubicBezTo>
                    <a:pt x="8613" y="9910"/>
                    <a:pt x="8613" y="9910"/>
                    <a:pt x="8613" y="9910"/>
                  </a:cubicBezTo>
                  <a:lnTo>
                    <a:pt x="8525" y="10066"/>
                  </a:lnTo>
                  <a:close/>
                  <a:moveTo>
                    <a:pt x="8215" y="8478"/>
                  </a:moveTo>
                  <a:cubicBezTo>
                    <a:pt x="8039" y="8382"/>
                    <a:pt x="8039" y="8382"/>
                    <a:pt x="8039" y="8382"/>
                  </a:cubicBezTo>
                  <a:cubicBezTo>
                    <a:pt x="8033" y="8379"/>
                    <a:pt x="8033" y="8379"/>
                    <a:pt x="8033" y="8379"/>
                  </a:cubicBezTo>
                  <a:cubicBezTo>
                    <a:pt x="7975" y="8469"/>
                    <a:pt x="7975" y="8469"/>
                    <a:pt x="7975" y="8469"/>
                  </a:cubicBezTo>
                  <a:cubicBezTo>
                    <a:pt x="8033" y="8500"/>
                    <a:pt x="8033" y="8500"/>
                    <a:pt x="8033" y="8500"/>
                  </a:cubicBezTo>
                  <a:cubicBezTo>
                    <a:pt x="7955" y="8644"/>
                    <a:pt x="7955" y="8644"/>
                    <a:pt x="7955" y="8644"/>
                  </a:cubicBezTo>
                  <a:cubicBezTo>
                    <a:pt x="8021" y="8682"/>
                    <a:pt x="8021" y="8682"/>
                    <a:pt x="8021" y="8682"/>
                  </a:cubicBezTo>
                  <a:cubicBezTo>
                    <a:pt x="8102" y="8545"/>
                    <a:pt x="8102" y="8545"/>
                    <a:pt x="8102" y="8545"/>
                  </a:cubicBezTo>
                  <a:cubicBezTo>
                    <a:pt x="8163" y="8580"/>
                    <a:pt x="8163" y="8580"/>
                    <a:pt x="8163" y="8580"/>
                  </a:cubicBezTo>
                  <a:cubicBezTo>
                    <a:pt x="8002" y="8854"/>
                    <a:pt x="8002" y="8854"/>
                    <a:pt x="8002" y="8854"/>
                  </a:cubicBezTo>
                  <a:cubicBezTo>
                    <a:pt x="8080" y="8901"/>
                    <a:pt x="8080" y="8901"/>
                    <a:pt x="8080" y="8901"/>
                  </a:cubicBezTo>
                  <a:cubicBezTo>
                    <a:pt x="8215" y="8668"/>
                    <a:pt x="8215" y="8668"/>
                    <a:pt x="8215" y="8668"/>
                  </a:cubicBezTo>
                  <a:cubicBezTo>
                    <a:pt x="8337" y="8739"/>
                    <a:pt x="8337" y="8739"/>
                    <a:pt x="8337" y="8739"/>
                  </a:cubicBezTo>
                  <a:cubicBezTo>
                    <a:pt x="8203" y="8973"/>
                    <a:pt x="8203" y="8973"/>
                    <a:pt x="8203" y="8973"/>
                  </a:cubicBezTo>
                  <a:cubicBezTo>
                    <a:pt x="8323" y="9039"/>
                    <a:pt x="8323" y="9039"/>
                    <a:pt x="8323" y="9039"/>
                  </a:cubicBezTo>
                  <a:cubicBezTo>
                    <a:pt x="8425" y="8858"/>
                    <a:pt x="8425" y="8858"/>
                    <a:pt x="8425" y="8858"/>
                  </a:cubicBezTo>
                  <a:cubicBezTo>
                    <a:pt x="8371" y="8823"/>
                    <a:pt x="8371" y="8823"/>
                    <a:pt x="8371" y="8823"/>
                  </a:cubicBezTo>
                  <a:cubicBezTo>
                    <a:pt x="8472" y="8633"/>
                    <a:pt x="8472" y="8633"/>
                    <a:pt x="8472" y="8633"/>
                  </a:cubicBezTo>
                  <a:cubicBezTo>
                    <a:pt x="8533" y="8669"/>
                    <a:pt x="8533" y="8669"/>
                    <a:pt x="8533" y="8669"/>
                  </a:cubicBezTo>
                  <a:cubicBezTo>
                    <a:pt x="8589" y="8574"/>
                    <a:pt x="8589" y="8574"/>
                    <a:pt x="8589" y="8574"/>
                  </a:cubicBezTo>
                  <a:cubicBezTo>
                    <a:pt x="8274" y="8390"/>
                    <a:pt x="8274" y="8390"/>
                    <a:pt x="8274" y="8390"/>
                  </a:cubicBezTo>
                  <a:lnTo>
                    <a:pt x="8215" y="8478"/>
                  </a:lnTo>
                  <a:close/>
                  <a:moveTo>
                    <a:pt x="8569" y="8579"/>
                  </a:moveTo>
                  <a:cubicBezTo>
                    <a:pt x="8528" y="8649"/>
                    <a:pt x="8528" y="8649"/>
                    <a:pt x="8528" y="8649"/>
                  </a:cubicBezTo>
                  <a:cubicBezTo>
                    <a:pt x="8467" y="8612"/>
                    <a:pt x="8467" y="8612"/>
                    <a:pt x="8467" y="8612"/>
                  </a:cubicBezTo>
                  <a:cubicBezTo>
                    <a:pt x="8351" y="8828"/>
                    <a:pt x="8351" y="8828"/>
                    <a:pt x="8351" y="8828"/>
                  </a:cubicBezTo>
                  <a:cubicBezTo>
                    <a:pt x="8405" y="8863"/>
                    <a:pt x="8405" y="8863"/>
                    <a:pt x="8405" y="8863"/>
                  </a:cubicBezTo>
                  <a:cubicBezTo>
                    <a:pt x="8317" y="9019"/>
                    <a:pt x="8317" y="9019"/>
                    <a:pt x="8317" y="9019"/>
                  </a:cubicBezTo>
                  <a:cubicBezTo>
                    <a:pt x="8223" y="8967"/>
                    <a:pt x="8223" y="8967"/>
                    <a:pt x="8223" y="8967"/>
                  </a:cubicBezTo>
                  <a:cubicBezTo>
                    <a:pt x="8357" y="8734"/>
                    <a:pt x="8357" y="8734"/>
                    <a:pt x="8357" y="8734"/>
                  </a:cubicBezTo>
                  <a:cubicBezTo>
                    <a:pt x="8209" y="8647"/>
                    <a:pt x="8209" y="8647"/>
                    <a:pt x="8209" y="8647"/>
                  </a:cubicBezTo>
                  <a:cubicBezTo>
                    <a:pt x="8075" y="8881"/>
                    <a:pt x="8075" y="8881"/>
                    <a:pt x="8075" y="8881"/>
                  </a:cubicBezTo>
                  <a:cubicBezTo>
                    <a:pt x="8022" y="8849"/>
                    <a:pt x="8022" y="8849"/>
                    <a:pt x="8022" y="8849"/>
                  </a:cubicBezTo>
                  <a:cubicBezTo>
                    <a:pt x="8184" y="8574"/>
                    <a:pt x="8184" y="8574"/>
                    <a:pt x="8184" y="8574"/>
                  </a:cubicBezTo>
                  <a:cubicBezTo>
                    <a:pt x="8096" y="8525"/>
                    <a:pt x="8096" y="8525"/>
                    <a:pt x="8096" y="8525"/>
                  </a:cubicBezTo>
                  <a:cubicBezTo>
                    <a:pt x="8016" y="8662"/>
                    <a:pt x="8016" y="8662"/>
                    <a:pt x="8016" y="8662"/>
                  </a:cubicBezTo>
                  <a:cubicBezTo>
                    <a:pt x="7975" y="8638"/>
                    <a:pt x="7975" y="8638"/>
                    <a:pt x="7975" y="8638"/>
                  </a:cubicBezTo>
                  <a:cubicBezTo>
                    <a:pt x="8054" y="8494"/>
                    <a:pt x="8054" y="8494"/>
                    <a:pt x="8054" y="8494"/>
                  </a:cubicBezTo>
                  <a:cubicBezTo>
                    <a:pt x="7996" y="8463"/>
                    <a:pt x="7996" y="8463"/>
                    <a:pt x="7996" y="8463"/>
                  </a:cubicBezTo>
                  <a:cubicBezTo>
                    <a:pt x="8038" y="8399"/>
                    <a:pt x="8038" y="8399"/>
                    <a:pt x="8038" y="8399"/>
                  </a:cubicBezTo>
                  <a:cubicBezTo>
                    <a:pt x="8220" y="8498"/>
                    <a:pt x="8220" y="8498"/>
                    <a:pt x="8220" y="8498"/>
                  </a:cubicBezTo>
                  <a:cubicBezTo>
                    <a:pt x="8278" y="8410"/>
                    <a:pt x="8278" y="8410"/>
                    <a:pt x="8278" y="8410"/>
                  </a:cubicBezTo>
                  <a:lnTo>
                    <a:pt x="8569" y="8579"/>
                  </a:lnTo>
                  <a:close/>
                  <a:moveTo>
                    <a:pt x="5450" y="16293"/>
                  </a:moveTo>
                  <a:cubicBezTo>
                    <a:pt x="5079" y="16293"/>
                    <a:pt x="5079" y="16293"/>
                    <a:pt x="5079" y="16293"/>
                  </a:cubicBezTo>
                  <a:cubicBezTo>
                    <a:pt x="5079" y="16364"/>
                    <a:pt x="5079" y="16364"/>
                    <a:pt x="5079" y="16364"/>
                  </a:cubicBezTo>
                  <a:cubicBezTo>
                    <a:pt x="4944" y="16364"/>
                    <a:pt x="4944" y="16364"/>
                    <a:pt x="4944" y="16364"/>
                  </a:cubicBezTo>
                  <a:cubicBezTo>
                    <a:pt x="4944" y="16585"/>
                    <a:pt x="4944" y="16585"/>
                    <a:pt x="4944" y="16585"/>
                  </a:cubicBezTo>
                  <a:cubicBezTo>
                    <a:pt x="5005" y="16585"/>
                    <a:pt x="5005" y="16585"/>
                    <a:pt x="5005" y="16585"/>
                  </a:cubicBezTo>
                  <a:cubicBezTo>
                    <a:pt x="5005" y="16847"/>
                    <a:pt x="5005" y="16847"/>
                    <a:pt x="5005" y="16847"/>
                  </a:cubicBezTo>
                  <a:cubicBezTo>
                    <a:pt x="5118" y="16847"/>
                    <a:pt x="5118" y="16847"/>
                    <a:pt x="5118" y="16847"/>
                  </a:cubicBezTo>
                  <a:cubicBezTo>
                    <a:pt x="5118" y="16587"/>
                    <a:pt x="5118" y="16587"/>
                    <a:pt x="5118" y="16587"/>
                  </a:cubicBezTo>
                  <a:cubicBezTo>
                    <a:pt x="5393" y="16587"/>
                    <a:pt x="5393" y="16587"/>
                    <a:pt x="5393" y="16587"/>
                  </a:cubicBezTo>
                  <a:cubicBezTo>
                    <a:pt x="5393" y="16689"/>
                    <a:pt x="5393" y="16689"/>
                    <a:pt x="5393" y="16689"/>
                  </a:cubicBezTo>
                  <a:cubicBezTo>
                    <a:pt x="5545" y="16689"/>
                    <a:pt x="5545" y="16689"/>
                    <a:pt x="5545" y="16689"/>
                  </a:cubicBezTo>
                  <a:cubicBezTo>
                    <a:pt x="5545" y="16585"/>
                    <a:pt x="5545" y="16585"/>
                    <a:pt x="5545" y="16585"/>
                  </a:cubicBezTo>
                  <a:cubicBezTo>
                    <a:pt x="5631" y="16585"/>
                    <a:pt x="5631" y="16585"/>
                    <a:pt x="5631" y="16585"/>
                  </a:cubicBezTo>
                  <a:cubicBezTo>
                    <a:pt x="5632" y="16372"/>
                    <a:pt x="5632" y="16372"/>
                    <a:pt x="5632" y="16372"/>
                  </a:cubicBezTo>
                  <a:cubicBezTo>
                    <a:pt x="5632" y="16365"/>
                    <a:pt x="5632" y="16365"/>
                    <a:pt x="5632" y="16365"/>
                  </a:cubicBezTo>
                  <a:cubicBezTo>
                    <a:pt x="5450" y="16365"/>
                    <a:pt x="5450" y="16365"/>
                    <a:pt x="5450" y="16365"/>
                  </a:cubicBezTo>
                  <a:lnTo>
                    <a:pt x="5450" y="16293"/>
                  </a:lnTo>
                  <a:close/>
                  <a:moveTo>
                    <a:pt x="5617" y="16379"/>
                  </a:moveTo>
                  <a:cubicBezTo>
                    <a:pt x="5616" y="16570"/>
                    <a:pt x="5616" y="16570"/>
                    <a:pt x="5616" y="16570"/>
                  </a:cubicBezTo>
                  <a:cubicBezTo>
                    <a:pt x="5531" y="16570"/>
                    <a:pt x="5531" y="16570"/>
                    <a:pt x="5531" y="16570"/>
                  </a:cubicBezTo>
                  <a:cubicBezTo>
                    <a:pt x="5531" y="16674"/>
                    <a:pt x="5531" y="16674"/>
                    <a:pt x="5531" y="16674"/>
                  </a:cubicBezTo>
                  <a:cubicBezTo>
                    <a:pt x="5408" y="16674"/>
                    <a:pt x="5408" y="16674"/>
                    <a:pt x="5408" y="16674"/>
                  </a:cubicBezTo>
                  <a:cubicBezTo>
                    <a:pt x="5408" y="16572"/>
                    <a:pt x="5408" y="16572"/>
                    <a:pt x="5408" y="16572"/>
                  </a:cubicBezTo>
                  <a:cubicBezTo>
                    <a:pt x="5103" y="16572"/>
                    <a:pt x="5103" y="16572"/>
                    <a:pt x="5103" y="16572"/>
                  </a:cubicBezTo>
                  <a:cubicBezTo>
                    <a:pt x="5103" y="16832"/>
                    <a:pt x="5103" y="16832"/>
                    <a:pt x="5103" y="16832"/>
                  </a:cubicBezTo>
                  <a:cubicBezTo>
                    <a:pt x="5020" y="16832"/>
                    <a:pt x="5020" y="16832"/>
                    <a:pt x="5020" y="16832"/>
                  </a:cubicBezTo>
                  <a:cubicBezTo>
                    <a:pt x="5020" y="16570"/>
                    <a:pt x="5020" y="16570"/>
                    <a:pt x="5020" y="16570"/>
                  </a:cubicBezTo>
                  <a:cubicBezTo>
                    <a:pt x="4958" y="16570"/>
                    <a:pt x="4958" y="16570"/>
                    <a:pt x="4958" y="16570"/>
                  </a:cubicBezTo>
                  <a:cubicBezTo>
                    <a:pt x="4958" y="16378"/>
                    <a:pt x="4958" y="16378"/>
                    <a:pt x="4958" y="16378"/>
                  </a:cubicBezTo>
                  <a:cubicBezTo>
                    <a:pt x="5093" y="16378"/>
                    <a:pt x="5093" y="16378"/>
                    <a:pt x="5093" y="16378"/>
                  </a:cubicBezTo>
                  <a:cubicBezTo>
                    <a:pt x="5093" y="16308"/>
                    <a:pt x="5093" y="16308"/>
                    <a:pt x="5093" y="16308"/>
                  </a:cubicBezTo>
                  <a:cubicBezTo>
                    <a:pt x="5435" y="16308"/>
                    <a:pt x="5435" y="16308"/>
                    <a:pt x="5435" y="16308"/>
                  </a:cubicBezTo>
                  <a:cubicBezTo>
                    <a:pt x="5435" y="16379"/>
                    <a:pt x="5435" y="16379"/>
                    <a:pt x="5435" y="16379"/>
                  </a:cubicBezTo>
                  <a:lnTo>
                    <a:pt x="5617" y="16379"/>
                  </a:lnTo>
                  <a:close/>
                  <a:moveTo>
                    <a:pt x="7506" y="6136"/>
                  </a:moveTo>
                  <a:cubicBezTo>
                    <a:pt x="7657" y="6153"/>
                    <a:pt x="7657" y="6153"/>
                    <a:pt x="7657" y="6153"/>
                  </a:cubicBezTo>
                  <a:cubicBezTo>
                    <a:pt x="7669" y="6052"/>
                    <a:pt x="7669" y="6052"/>
                    <a:pt x="7669" y="6052"/>
                  </a:cubicBezTo>
                  <a:cubicBezTo>
                    <a:pt x="7942" y="6083"/>
                    <a:pt x="7942" y="6083"/>
                    <a:pt x="7942" y="6083"/>
                  </a:cubicBezTo>
                  <a:cubicBezTo>
                    <a:pt x="7913" y="6341"/>
                    <a:pt x="7913" y="6341"/>
                    <a:pt x="7913" y="6341"/>
                  </a:cubicBezTo>
                  <a:cubicBezTo>
                    <a:pt x="8025" y="6354"/>
                    <a:pt x="8025" y="6354"/>
                    <a:pt x="8025" y="6354"/>
                  </a:cubicBezTo>
                  <a:cubicBezTo>
                    <a:pt x="8054" y="6094"/>
                    <a:pt x="8054" y="6094"/>
                    <a:pt x="8054" y="6094"/>
                  </a:cubicBezTo>
                  <a:cubicBezTo>
                    <a:pt x="8116" y="6101"/>
                    <a:pt x="8116" y="6101"/>
                    <a:pt x="8116" y="6101"/>
                  </a:cubicBezTo>
                  <a:cubicBezTo>
                    <a:pt x="8141" y="5881"/>
                    <a:pt x="8141" y="5881"/>
                    <a:pt x="8141" y="5881"/>
                  </a:cubicBezTo>
                  <a:cubicBezTo>
                    <a:pt x="8007" y="5866"/>
                    <a:pt x="8007" y="5866"/>
                    <a:pt x="8007" y="5866"/>
                  </a:cubicBezTo>
                  <a:cubicBezTo>
                    <a:pt x="8015" y="5795"/>
                    <a:pt x="8015" y="5795"/>
                    <a:pt x="8015" y="5795"/>
                  </a:cubicBezTo>
                  <a:cubicBezTo>
                    <a:pt x="7646" y="5754"/>
                    <a:pt x="7646" y="5754"/>
                    <a:pt x="7646" y="5754"/>
                  </a:cubicBezTo>
                  <a:cubicBezTo>
                    <a:pt x="7638" y="5825"/>
                    <a:pt x="7638" y="5825"/>
                    <a:pt x="7638" y="5825"/>
                  </a:cubicBezTo>
                  <a:cubicBezTo>
                    <a:pt x="7464" y="5805"/>
                    <a:pt x="7464" y="5805"/>
                    <a:pt x="7464" y="5805"/>
                  </a:cubicBezTo>
                  <a:cubicBezTo>
                    <a:pt x="7457" y="5804"/>
                    <a:pt x="7457" y="5804"/>
                    <a:pt x="7457" y="5804"/>
                  </a:cubicBezTo>
                  <a:cubicBezTo>
                    <a:pt x="7433" y="6024"/>
                    <a:pt x="7433" y="6024"/>
                    <a:pt x="7433" y="6024"/>
                  </a:cubicBezTo>
                  <a:cubicBezTo>
                    <a:pt x="7518" y="6033"/>
                    <a:pt x="7518" y="6033"/>
                    <a:pt x="7518" y="6033"/>
                  </a:cubicBezTo>
                  <a:lnTo>
                    <a:pt x="7506" y="6136"/>
                  </a:lnTo>
                  <a:close/>
                  <a:moveTo>
                    <a:pt x="7449" y="6011"/>
                  </a:moveTo>
                  <a:cubicBezTo>
                    <a:pt x="7470" y="5821"/>
                    <a:pt x="7470" y="5821"/>
                    <a:pt x="7470" y="5821"/>
                  </a:cubicBezTo>
                  <a:cubicBezTo>
                    <a:pt x="7651" y="5841"/>
                    <a:pt x="7651" y="5841"/>
                    <a:pt x="7651" y="5841"/>
                  </a:cubicBezTo>
                  <a:cubicBezTo>
                    <a:pt x="7659" y="5770"/>
                    <a:pt x="7659" y="5770"/>
                    <a:pt x="7659" y="5770"/>
                  </a:cubicBezTo>
                  <a:cubicBezTo>
                    <a:pt x="7998" y="5808"/>
                    <a:pt x="7998" y="5808"/>
                    <a:pt x="7998" y="5808"/>
                  </a:cubicBezTo>
                  <a:cubicBezTo>
                    <a:pt x="7990" y="5879"/>
                    <a:pt x="7990" y="5879"/>
                    <a:pt x="7990" y="5879"/>
                  </a:cubicBezTo>
                  <a:cubicBezTo>
                    <a:pt x="8124" y="5894"/>
                    <a:pt x="8124" y="5894"/>
                    <a:pt x="8124" y="5894"/>
                  </a:cubicBezTo>
                  <a:cubicBezTo>
                    <a:pt x="8103" y="6085"/>
                    <a:pt x="8103" y="6085"/>
                    <a:pt x="8103" y="6085"/>
                  </a:cubicBezTo>
                  <a:cubicBezTo>
                    <a:pt x="8041" y="6078"/>
                    <a:pt x="8041" y="6078"/>
                    <a:pt x="8041" y="6078"/>
                  </a:cubicBezTo>
                  <a:cubicBezTo>
                    <a:pt x="8012" y="6338"/>
                    <a:pt x="8012" y="6338"/>
                    <a:pt x="8012" y="6338"/>
                  </a:cubicBezTo>
                  <a:cubicBezTo>
                    <a:pt x="7929" y="6328"/>
                    <a:pt x="7929" y="6328"/>
                    <a:pt x="7929" y="6328"/>
                  </a:cubicBezTo>
                  <a:cubicBezTo>
                    <a:pt x="7959" y="6070"/>
                    <a:pt x="7959" y="6070"/>
                    <a:pt x="7959" y="6070"/>
                  </a:cubicBezTo>
                  <a:cubicBezTo>
                    <a:pt x="7656" y="6036"/>
                    <a:pt x="7656" y="6036"/>
                    <a:pt x="7656" y="6036"/>
                  </a:cubicBezTo>
                  <a:cubicBezTo>
                    <a:pt x="7644" y="6137"/>
                    <a:pt x="7644" y="6137"/>
                    <a:pt x="7644" y="6137"/>
                  </a:cubicBezTo>
                  <a:cubicBezTo>
                    <a:pt x="7523" y="6123"/>
                    <a:pt x="7523" y="6123"/>
                    <a:pt x="7523" y="6123"/>
                  </a:cubicBezTo>
                  <a:cubicBezTo>
                    <a:pt x="7534" y="6020"/>
                    <a:pt x="7534" y="6020"/>
                    <a:pt x="7534" y="6020"/>
                  </a:cubicBezTo>
                  <a:lnTo>
                    <a:pt x="7449" y="6011"/>
                  </a:lnTo>
                  <a:close/>
                  <a:moveTo>
                    <a:pt x="8337" y="13923"/>
                  </a:moveTo>
                  <a:cubicBezTo>
                    <a:pt x="8327" y="13926"/>
                    <a:pt x="8327" y="13926"/>
                    <a:pt x="8327" y="13926"/>
                  </a:cubicBezTo>
                  <a:cubicBezTo>
                    <a:pt x="8327" y="13927"/>
                    <a:pt x="8213" y="13965"/>
                    <a:pt x="8211" y="14041"/>
                  </a:cubicBezTo>
                  <a:cubicBezTo>
                    <a:pt x="8213" y="14117"/>
                    <a:pt x="8324" y="14144"/>
                    <a:pt x="8324" y="14145"/>
                  </a:cubicBezTo>
                  <a:cubicBezTo>
                    <a:pt x="8333" y="14148"/>
                    <a:pt x="8333" y="14148"/>
                    <a:pt x="8333" y="14148"/>
                  </a:cubicBezTo>
                  <a:cubicBezTo>
                    <a:pt x="8333" y="14108"/>
                    <a:pt x="8333" y="14108"/>
                    <a:pt x="8333" y="14108"/>
                  </a:cubicBezTo>
                  <a:cubicBezTo>
                    <a:pt x="8775" y="14108"/>
                    <a:pt x="8775" y="14108"/>
                    <a:pt x="8775" y="14108"/>
                  </a:cubicBezTo>
                  <a:cubicBezTo>
                    <a:pt x="8775" y="14141"/>
                    <a:pt x="8775" y="14141"/>
                    <a:pt x="8775" y="14141"/>
                  </a:cubicBezTo>
                  <a:cubicBezTo>
                    <a:pt x="8785" y="14136"/>
                    <a:pt x="8785" y="14136"/>
                    <a:pt x="8785" y="14136"/>
                  </a:cubicBezTo>
                  <a:cubicBezTo>
                    <a:pt x="8785" y="14136"/>
                    <a:pt x="8809" y="14125"/>
                    <a:pt x="8832" y="14107"/>
                  </a:cubicBezTo>
                  <a:cubicBezTo>
                    <a:pt x="8856" y="14089"/>
                    <a:pt x="8881" y="14066"/>
                    <a:pt x="8882" y="14037"/>
                  </a:cubicBezTo>
                  <a:cubicBezTo>
                    <a:pt x="8879" y="13980"/>
                    <a:pt x="8787" y="13940"/>
                    <a:pt x="8787" y="13938"/>
                  </a:cubicBezTo>
                  <a:cubicBezTo>
                    <a:pt x="8777" y="13934"/>
                    <a:pt x="8777" y="13934"/>
                    <a:pt x="8777" y="13934"/>
                  </a:cubicBezTo>
                  <a:cubicBezTo>
                    <a:pt x="8775" y="13968"/>
                    <a:pt x="8775" y="13968"/>
                    <a:pt x="8775" y="13968"/>
                  </a:cubicBezTo>
                  <a:cubicBezTo>
                    <a:pt x="8337" y="13968"/>
                    <a:pt x="8337" y="13968"/>
                    <a:pt x="8337" y="13968"/>
                  </a:cubicBezTo>
                  <a:lnTo>
                    <a:pt x="8337" y="13923"/>
                  </a:lnTo>
                  <a:close/>
                  <a:moveTo>
                    <a:pt x="8783" y="13983"/>
                  </a:moveTo>
                  <a:cubicBezTo>
                    <a:pt x="8790" y="13983"/>
                    <a:pt x="8790" y="13983"/>
                    <a:pt x="8790" y="13983"/>
                  </a:cubicBezTo>
                  <a:cubicBezTo>
                    <a:pt x="8791" y="13957"/>
                    <a:pt x="8791" y="13957"/>
                    <a:pt x="8791" y="13957"/>
                  </a:cubicBezTo>
                  <a:cubicBezTo>
                    <a:pt x="8799" y="13962"/>
                    <a:pt x="8812" y="13969"/>
                    <a:pt x="8825" y="13979"/>
                  </a:cubicBezTo>
                  <a:cubicBezTo>
                    <a:pt x="8847" y="13995"/>
                    <a:pt x="8867" y="14017"/>
                    <a:pt x="8867" y="14037"/>
                  </a:cubicBezTo>
                  <a:cubicBezTo>
                    <a:pt x="8867" y="14056"/>
                    <a:pt x="8846" y="14079"/>
                    <a:pt x="8824" y="14095"/>
                  </a:cubicBezTo>
                  <a:cubicBezTo>
                    <a:pt x="8811" y="14105"/>
                    <a:pt x="8798" y="14112"/>
                    <a:pt x="8789" y="14117"/>
                  </a:cubicBezTo>
                  <a:cubicBezTo>
                    <a:pt x="8789" y="14094"/>
                    <a:pt x="8789" y="14094"/>
                    <a:pt x="8789" y="14094"/>
                  </a:cubicBezTo>
                  <a:cubicBezTo>
                    <a:pt x="8319" y="14094"/>
                    <a:pt x="8319" y="14094"/>
                    <a:pt x="8319" y="14094"/>
                  </a:cubicBezTo>
                  <a:cubicBezTo>
                    <a:pt x="8319" y="14128"/>
                    <a:pt x="8319" y="14128"/>
                    <a:pt x="8319" y="14128"/>
                  </a:cubicBezTo>
                  <a:cubicBezTo>
                    <a:pt x="8309" y="14125"/>
                    <a:pt x="8292" y="14118"/>
                    <a:pt x="8276" y="14109"/>
                  </a:cubicBezTo>
                  <a:cubicBezTo>
                    <a:pt x="8250" y="14093"/>
                    <a:pt x="8226" y="14071"/>
                    <a:pt x="8226" y="14041"/>
                  </a:cubicBezTo>
                  <a:cubicBezTo>
                    <a:pt x="8225" y="14012"/>
                    <a:pt x="8251" y="13986"/>
                    <a:pt x="8278" y="13968"/>
                  </a:cubicBezTo>
                  <a:cubicBezTo>
                    <a:pt x="8295" y="13957"/>
                    <a:pt x="8312" y="13949"/>
                    <a:pt x="8322" y="13944"/>
                  </a:cubicBezTo>
                  <a:cubicBezTo>
                    <a:pt x="8322" y="13983"/>
                    <a:pt x="8322" y="13983"/>
                    <a:pt x="8322" y="13983"/>
                  </a:cubicBezTo>
                  <a:lnTo>
                    <a:pt x="8783" y="13983"/>
                  </a:lnTo>
                  <a:close/>
                  <a:moveTo>
                    <a:pt x="8312" y="11791"/>
                  </a:moveTo>
                  <a:cubicBezTo>
                    <a:pt x="8303" y="11789"/>
                    <a:pt x="8295" y="11789"/>
                    <a:pt x="8287" y="11789"/>
                  </a:cubicBezTo>
                  <a:cubicBezTo>
                    <a:pt x="8158" y="11790"/>
                    <a:pt x="8064" y="11919"/>
                    <a:pt x="8039" y="11956"/>
                  </a:cubicBezTo>
                  <a:cubicBezTo>
                    <a:pt x="7966" y="11842"/>
                    <a:pt x="7966" y="11842"/>
                    <a:pt x="7966" y="11842"/>
                  </a:cubicBezTo>
                  <a:cubicBezTo>
                    <a:pt x="7669" y="12452"/>
                    <a:pt x="7669" y="12452"/>
                    <a:pt x="7669" y="12452"/>
                  </a:cubicBezTo>
                  <a:cubicBezTo>
                    <a:pt x="7913" y="12404"/>
                    <a:pt x="7913" y="12404"/>
                    <a:pt x="7913" y="12404"/>
                  </a:cubicBezTo>
                  <a:cubicBezTo>
                    <a:pt x="7914" y="12425"/>
                    <a:pt x="7920" y="12485"/>
                    <a:pt x="7942" y="12546"/>
                  </a:cubicBezTo>
                  <a:cubicBezTo>
                    <a:pt x="7968" y="12621"/>
                    <a:pt x="8020" y="12699"/>
                    <a:pt x="8118" y="12699"/>
                  </a:cubicBezTo>
                  <a:cubicBezTo>
                    <a:pt x="8120" y="12699"/>
                    <a:pt x="8121" y="12699"/>
                    <a:pt x="8123" y="12699"/>
                  </a:cubicBezTo>
                  <a:cubicBezTo>
                    <a:pt x="8295" y="12694"/>
                    <a:pt x="8390" y="12506"/>
                    <a:pt x="8412" y="12455"/>
                  </a:cubicBezTo>
                  <a:cubicBezTo>
                    <a:pt x="8455" y="12516"/>
                    <a:pt x="8455" y="12516"/>
                    <a:pt x="8455" y="12516"/>
                  </a:cubicBezTo>
                  <a:cubicBezTo>
                    <a:pt x="8756" y="11921"/>
                    <a:pt x="8756" y="11921"/>
                    <a:pt x="8756" y="11921"/>
                  </a:cubicBezTo>
                  <a:cubicBezTo>
                    <a:pt x="8763" y="11908"/>
                    <a:pt x="8763" y="11908"/>
                    <a:pt x="8763" y="11908"/>
                  </a:cubicBezTo>
                  <a:cubicBezTo>
                    <a:pt x="8471" y="11964"/>
                    <a:pt x="8471" y="11964"/>
                    <a:pt x="8471" y="11964"/>
                  </a:cubicBezTo>
                  <a:cubicBezTo>
                    <a:pt x="8461" y="11934"/>
                    <a:pt x="8414" y="11805"/>
                    <a:pt x="8312" y="11791"/>
                  </a:cubicBezTo>
                  <a:close/>
                  <a:moveTo>
                    <a:pt x="8453" y="12487"/>
                  </a:moveTo>
                  <a:cubicBezTo>
                    <a:pt x="8409" y="12425"/>
                    <a:pt x="8409" y="12425"/>
                    <a:pt x="8409" y="12425"/>
                  </a:cubicBezTo>
                  <a:cubicBezTo>
                    <a:pt x="8404" y="12438"/>
                    <a:pt x="8404" y="12438"/>
                    <a:pt x="8404" y="12438"/>
                  </a:cubicBezTo>
                  <a:cubicBezTo>
                    <a:pt x="8404" y="12438"/>
                    <a:pt x="8380" y="12498"/>
                    <a:pt x="8333" y="12560"/>
                  </a:cubicBezTo>
                  <a:cubicBezTo>
                    <a:pt x="8285" y="12621"/>
                    <a:pt x="8215" y="12682"/>
                    <a:pt x="8123" y="12685"/>
                  </a:cubicBezTo>
                  <a:cubicBezTo>
                    <a:pt x="8121" y="12685"/>
                    <a:pt x="8120" y="12685"/>
                    <a:pt x="8118" y="12685"/>
                  </a:cubicBezTo>
                  <a:cubicBezTo>
                    <a:pt x="8029" y="12685"/>
                    <a:pt x="7982" y="12614"/>
                    <a:pt x="7956" y="12541"/>
                  </a:cubicBezTo>
                  <a:cubicBezTo>
                    <a:pt x="7930" y="12468"/>
                    <a:pt x="7927" y="12395"/>
                    <a:pt x="7927" y="12395"/>
                  </a:cubicBezTo>
                  <a:cubicBezTo>
                    <a:pt x="7927" y="12386"/>
                    <a:pt x="7927" y="12386"/>
                    <a:pt x="7927" y="12386"/>
                  </a:cubicBezTo>
                  <a:cubicBezTo>
                    <a:pt x="7695" y="12432"/>
                    <a:pt x="7695" y="12432"/>
                    <a:pt x="7695" y="12432"/>
                  </a:cubicBezTo>
                  <a:cubicBezTo>
                    <a:pt x="7967" y="11872"/>
                    <a:pt x="7967" y="11872"/>
                    <a:pt x="7967" y="11872"/>
                  </a:cubicBezTo>
                  <a:cubicBezTo>
                    <a:pt x="8040" y="11984"/>
                    <a:pt x="8040" y="11984"/>
                    <a:pt x="8040" y="11984"/>
                  </a:cubicBezTo>
                  <a:cubicBezTo>
                    <a:pt x="8046" y="11974"/>
                    <a:pt x="8046" y="11974"/>
                    <a:pt x="8046" y="11974"/>
                  </a:cubicBezTo>
                  <a:cubicBezTo>
                    <a:pt x="8046" y="11974"/>
                    <a:pt x="8071" y="11931"/>
                    <a:pt x="8114" y="11888"/>
                  </a:cubicBezTo>
                  <a:cubicBezTo>
                    <a:pt x="8157" y="11846"/>
                    <a:pt x="8218" y="11804"/>
                    <a:pt x="8287" y="11804"/>
                  </a:cubicBezTo>
                  <a:cubicBezTo>
                    <a:pt x="8294" y="11804"/>
                    <a:pt x="8302" y="11804"/>
                    <a:pt x="8310" y="11805"/>
                  </a:cubicBezTo>
                  <a:cubicBezTo>
                    <a:pt x="8361" y="11812"/>
                    <a:pt x="8398" y="11853"/>
                    <a:pt x="8423" y="11894"/>
                  </a:cubicBezTo>
                  <a:cubicBezTo>
                    <a:pt x="8447" y="11935"/>
                    <a:pt x="8459" y="11974"/>
                    <a:pt x="8459" y="11975"/>
                  </a:cubicBezTo>
                  <a:cubicBezTo>
                    <a:pt x="8460" y="11981"/>
                    <a:pt x="8460" y="11981"/>
                    <a:pt x="8460" y="11981"/>
                  </a:cubicBezTo>
                  <a:cubicBezTo>
                    <a:pt x="8736" y="11928"/>
                    <a:pt x="8736" y="11928"/>
                    <a:pt x="8736" y="11928"/>
                  </a:cubicBezTo>
                  <a:lnTo>
                    <a:pt x="8453" y="12487"/>
                  </a:lnTo>
                  <a:close/>
                  <a:moveTo>
                    <a:pt x="8275" y="11933"/>
                  </a:moveTo>
                  <a:cubicBezTo>
                    <a:pt x="8265" y="11930"/>
                    <a:pt x="8254" y="11928"/>
                    <a:pt x="8244" y="11928"/>
                  </a:cubicBezTo>
                  <a:cubicBezTo>
                    <a:pt x="8134" y="11930"/>
                    <a:pt x="8044" y="12089"/>
                    <a:pt x="8018" y="12188"/>
                  </a:cubicBezTo>
                  <a:cubicBezTo>
                    <a:pt x="8009" y="12225"/>
                    <a:pt x="8001" y="12273"/>
                    <a:pt x="8001" y="12322"/>
                  </a:cubicBezTo>
                  <a:cubicBezTo>
                    <a:pt x="8001" y="12420"/>
                    <a:pt x="8030" y="12526"/>
                    <a:pt x="8134" y="12556"/>
                  </a:cubicBezTo>
                  <a:cubicBezTo>
                    <a:pt x="8145" y="12559"/>
                    <a:pt x="8156" y="12560"/>
                    <a:pt x="8167" y="12560"/>
                  </a:cubicBezTo>
                  <a:cubicBezTo>
                    <a:pt x="8237" y="12560"/>
                    <a:pt x="8289" y="12498"/>
                    <a:pt x="8326" y="12435"/>
                  </a:cubicBezTo>
                  <a:cubicBezTo>
                    <a:pt x="8363" y="12371"/>
                    <a:pt x="8384" y="12304"/>
                    <a:pt x="8388" y="12290"/>
                  </a:cubicBezTo>
                  <a:cubicBezTo>
                    <a:pt x="8392" y="12277"/>
                    <a:pt x="8404" y="12221"/>
                    <a:pt x="8404" y="12157"/>
                  </a:cubicBezTo>
                  <a:cubicBezTo>
                    <a:pt x="8404" y="12070"/>
                    <a:pt x="8381" y="11964"/>
                    <a:pt x="8275" y="11933"/>
                  </a:cubicBezTo>
                  <a:close/>
                  <a:moveTo>
                    <a:pt x="8374" y="12286"/>
                  </a:moveTo>
                  <a:cubicBezTo>
                    <a:pt x="8370" y="12299"/>
                    <a:pt x="8349" y="12365"/>
                    <a:pt x="8313" y="12427"/>
                  </a:cubicBezTo>
                  <a:cubicBezTo>
                    <a:pt x="8278" y="12489"/>
                    <a:pt x="8227" y="12546"/>
                    <a:pt x="8167" y="12546"/>
                  </a:cubicBezTo>
                  <a:cubicBezTo>
                    <a:pt x="8157" y="12546"/>
                    <a:pt x="8148" y="12544"/>
                    <a:pt x="8138" y="12542"/>
                  </a:cubicBezTo>
                  <a:cubicBezTo>
                    <a:pt x="8044" y="12515"/>
                    <a:pt x="8016" y="12418"/>
                    <a:pt x="8016" y="12322"/>
                  </a:cubicBezTo>
                  <a:cubicBezTo>
                    <a:pt x="8016" y="12274"/>
                    <a:pt x="8023" y="12227"/>
                    <a:pt x="8032" y="12192"/>
                  </a:cubicBezTo>
                  <a:cubicBezTo>
                    <a:pt x="8056" y="12096"/>
                    <a:pt x="8149" y="11941"/>
                    <a:pt x="8244" y="11943"/>
                  </a:cubicBezTo>
                  <a:cubicBezTo>
                    <a:pt x="8253" y="11943"/>
                    <a:pt x="8262" y="11944"/>
                    <a:pt x="8271" y="11947"/>
                  </a:cubicBezTo>
                  <a:cubicBezTo>
                    <a:pt x="8273" y="11940"/>
                    <a:pt x="8273" y="11940"/>
                    <a:pt x="8273" y="11940"/>
                  </a:cubicBezTo>
                  <a:cubicBezTo>
                    <a:pt x="8271" y="11947"/>
                    <a:pt x="8271" y="11947"/>
                    <a:pt x="8271" y="11947"/>
                  </a:cubicBezTo>
                  <a:cubicBezTo>
                    <a:pt x="8367" y="11975"/>
                    <a:pt x="8389" y="12071"/>
                    <a:pt x="8389" y="12157"/>
                  </a:cubicBezTo>
                  <a:cubicBezTo>
                    <a:pt x="8389" y="12219"/>
                    <a:pt x="8377" y="12274"/>
                    <a:pt x="8374" y="12286"/>
                  </a:cubicBezTo>
                  <a:close/>
                  <a:moveTo>
                    <a:pt x="8862" y="11249"/>
                  </a:moveTo>
                  <a:cubicBezTo>
                    <a:pt x="8860" y="11128"/>
                    <a:pt x="8860" y="11128"/>
                    <a:pt x="8860" y="11128"/>
                  </a:cubicBezTo>
                  <a:cubicBezTo>
                    <a:pt x="8860" y="11121"/>
                    <a:pt x="8860" y="11121"/>
                    <a:pt x="8860" y="11121"/>
                  </a:cubicBezTo>
                  <a:cubicBezTo>
                    <a:pt x="8316" y="11121"/>
                    <a:pt x="8316" y="11121"/>
                    <a:pt x="8316" y="11121"/>
                  </a:cubicBezTo>
                  <a:cubicBezTo>
                    <a:pt x="8316" y="11251"/>
                    <a:pt x="8316" y="11251"/>
                    <a:pt x="8316" y="11251"/>
                  </a:cubicBezTo>
                  <a:cubicBezTo>
                    <a:pt x="8381" y="11251"/>
                    <a:pt x="8381" y="11251"/>
                    <a:pt x="8381" y="11251"/>
                  </a:cubicBezTo>
                  <a:cubicBezTo>
                    <a:pt x="8381" y="11342"/>
                    <a:pt x="8381" y="11342"/>
                    <a:pt x="8381" y="11342"/>
                  </a:cubicBezTo>
                  <a:cubicBezTo>
                    <a:pt x="8318" y="11342"/>
                    <a:pt x="8318" y="11342"/>
                    <a:pt x="8318" y="11342"/>
                  </a:cubicBezTo>
                  <a:cubicBezTo>
                    <a:pt x="8318" y="11473"/>
                    <a:pt x="8318" y="11473"/>
                    <a:pt x="8318" y="11473"/>
                  </a:cubicBezTo>
                  <a:cubicBezTo>
                    <a:pt x="8861" y="11473"/>
                    <a:pt x="8861" y="11473"/>
                    <a:pt x="8861" y="11473"/>
                  </a:cubicBezTo>
                  <a:cubicBezTo>
                    <a:pt x="8861" y="11341"/>
                    <a:pt x="8861" y="11341"/>
                    <a:pt x="8861" y="11341"/>
                  </a:cubicBezTo>
                  <a:cubicBezTo>
                    <a:pt x="8796" y="11341"/>
                    <a:pt x="8796" y="11341"/>
                    <a:pt x="8796" y="11341"/>
                  </a:cubicBezTo>
                  <a:cubicBezTo>
                    <a:pt x="8796" y="11249"/>
                    <a:pt x="8796" y="11249"/>
                    <a:pt x="8796" y="11249"/>
                  </a:cubicBezTo>
                  <a:lnTo>
                    <a:pt x="8862" y="11249"/>
                  </a:lnTo>
                  <a:close/>
                  <a:moveTo>
                    <a:pt x="8847" y="11356"/>
                  </a:moveTo>
                  <a:cubicBezTo>
                    <a:pt x="8847" y="11458"/>
                    <a:pt x="8847" y="11458"/>
                    <a:pt x="8847" y="11458"/>
                  </a:cubicBezTo>
                  <a:cubicBezTo>
                    <a:pt x="8332" y="11458"/>
                    <a:pt x="8332" y="11458"/>
                    <a:pt x="8332" y="11458"/>
                  </a:cubicBezTo>
                  <a:cubicBezTo>
                    <a:pt x="8332" y="11357"/>
                    <a:pt x="8332" y="11357"/>
                    <a:pt x="8332" y="11357"/>
                  </a:cubicBezTo>
                  <a:cubicBezTo>
                    <a:pt x="8396" y="11357"/>
                    <a:pt x="8396" y="11357"/>
                    <a:pt x="8396" y="11357"/>
                  </a:cubicBezTo>
                  <a:cubicBezTo>
                    <a:pt x="8396" y="11237"/>
                    <a:pt x="8396" y="11237"/>
                    <a:pt x="8396" y="11237"/>
                  </a:cubicBezTo>
                  <a:cubicBezTo>
                    <a:pt x="8331" y="11237"/>
                    <a:pt x="8331" y="11237"/>
                    <a:pt x="8331" y="11237"/>
                  </a:cubicBezTo>
                  <a:cubicBezTo>
                    <a:pt x="8331" y="11135"/>
                    <a:pt x="8331" y="11135"/>
                    <a:pt x="8331" y="11135"/>
                  </a:cubicBezTo>
                  <a:cubicBezTo>
                    <a:pt x="8846" y="11135"/>
                    <a:pt x="8846" y="11135"/>
                    <a:pt x="8846" y="11135"/>
                  </a:cubicBezTo>
                  <a:cubicBezTo>
                    <a:pt x="8847" y="11234"/>
                    <a:pt x="8847" y="11234"/>
                    <a:pt x="8847" y="11234"/>
                  </a:cubicBezTo>
                  <a:cubicBezTo>
                    <a:pt x="8782" y="11234"/>
                    <a:pt x="8782" y="11234"/>
                    <a:pt x="8782" y="11234"/>
                  </a:cubicBezTo>
                  <a:cubicBezTo>
                    <a:pt x="8782" y="11356"/>
                    <a:pt x="8782" y="11356"/>
                    <a:pt x="8782" y="11356"/>
                  </a:cubicBezTo>
                  <a:lnTo>
                    <a:pt x="8847" y="11356"/>
                  </a:lnTo>
                  <a:close/>
                  <a:moveTo>
                    <a:pt x="8719" y="11237"/>
                  </a:moveTo>
                  <a:cubicBezTo>
                    <a:pt x="8460" y="11237"/>
                    <a:pt x="8460" y="11237"/>
                    <a:pt x="8460" y="11237"/>
                  </a:cubicBezTo>
                  <a:cubicBezTo>
                    <a:pt x="8460" y="11354"/>
                    <a:pt x="8460" y="11354"/>
                    <a:pt x="8460" y="11354"/>
                  </a:cubicBezTo>
                  <a:cubicBezTo>
                    <a:pt x="8724" y="11354"/>
                    <a:pt x="8724" y="11354"/>
                    <a:pt x="8724" y="11354"/>
                  </a:cubicBezTo>
                  <a:cubicBezTo>
                    <a:pt x="8719" y="11244"/>
                    <a:pt x="8719" y="11244"/>
                    <a:pt x="8719" y="11244"/>
                  </a:cubicBezTo>
                  <a:lnTo>
                    <a:pt x="8719" y="11237"/>
                  </a:lnTo>
                  <a:close/>
                  <a:moveTo>
                    <a:pt x="8474" y="11339"/>
                  </a:moveTo>
                  <a:cubicBezTo>
                    <a:pt x="8474" y="11251"/>
                    <a:pt x="8474" y="11251"/>
                    <a:pt x="8474" y="11251"/>
                  </a:cubicBezTo>
                  <a:cubicBezTo>
                    <a:pt x="8705" y="11251"/>
                    <a:pt x="8705" y="11251"/>
                    <a:pt x="8705" y="11251"/>
                  </a:cubicBezTo>
                  <a:cubicBezTo>
                    <a:pt x="8708" y="11339"/>
                    <a:pt x="8708" y="11339"/>
                    <a:pt x="8708" y="11339"/>
                  </a:cubicBezTo>
                  <a:lnTo>
                    <a:pt x="8474" y="11339"/>
                  </a:lnTo>
                  <a:close/>
                  <a:moveTo>
                    <a:pt x="8162" y="10706"/>
                  </a:moveTo>
                  <a:cubicBezTo>
                    <a:pt x="8133" y="10764"/>
                    <a:pt x="8133" y="10764"/>
                    <a:pt x="8133" y="10764"/>
                  </a:cubicBezTo>
                  <a:cubicBezTo>
                    <a:pt x="8051" y="10721"/>
                    <a:pt x="8051" y="10721"/>
                    <a:pt x="8051" y="10721"/>
                  </a:cubicBezTo>
                  <a:cubicBezTo>
                    <a:pt x="8080" y="10663"/>
                    <a:pt x="8080" y="10663"/>
                    <a:pt x="8080" y="10663"/>
                  </a:cubicBezTo>
                  <a:cubicBezTo>
                    <a:pt x="7972" y="10609"/>
                    <a:pt x="7972" y="10609"/>
                    <a:pt x="7972" y="10609"/>
                  </a:cubicBezTo>
                  <a:cubicBezTo>
                    <a:pt x="7966" y="10606"/>
                    <a:pt x="7966" y="10606"/>
                    <a:pt x="7966" y="10606"/>
                  </a:cubicBezTo>
                  <a:cubicBezTo>
                    <a:pt x="7717" y="11090"/>
                    <a:pt x="7717" y="11090"/>
                    <a:pt x="7717" y="11090"/>
                  </a:cubicBezTo>
                  <a:cubicBezTo>
                    <a:pt x="7833" y="11149"/>
                    <a:pt x="7833" y="11149"/>
                    <a:pt x="7833" y="11149"/>
                  </a:cubicBezTo>
                  <a:cubicBezTo>
                    <a:pt x="7863" y="11092"/>
                    <a:pt x="7863" y="11092"/>
                    <a:pt x="7863" y="11092"/>
                  </a:cubicBezTo>
                  <a:cubicBezTo>
                    <a:pt x="7944" y="11133"/>
                    <a:pt x="7944" y="11133"/>
                    <a:pt x="7944" y="11133"/>
                  </a:cubicBezTo>
                  <a:cubicBezTo>
                    <a:pt x="7915" y="11190"/>
                    <a:pt x="7915" y="11190"/>
                    <a:pt x="7915" y="11190"/>
                  </a:cubicBezTo>
                  <a:cubicBezTo>
                    <a:pt x="8031" y="11250"/>
                    <a:pt x="8031" y="11250"/>
                    <a:pt x="8031" y="11250"/>
                  </a:cubicBezTo>
                  <a:cubicBezTo>
                    <a:pt x="8280" y="10766"/>
                    <a:pt x="8280" y="10766"/>
                    <a:pt x="8280" y="10766"/>
                  </a:cubicBezTo>
                  <a:lnTo>
                    <a:pt x="8162" y="10706"/>
                  </a:lnTo>
                  <a:close/>
                  <a:moveTo>
                    <a:pt x="8024" y="11230"/>
                  </a:moveTo>
                  <a:cubicBezTo>
                    <a:pt x="7934" y="11184"/>
                    <a:pt x="7934" y="11184"/>
                    <a:pt x="7934" y="11184"/>
                  </a:cubicBezTo>
                  <a:cubicBezTo>
                    <a:pt x="7964" y="11127"/>
                    <a:pt x="7964" y="11127"/>
                    <a:pt x="7964" y="11127"/>
                  </a:cubicBezTo>
                  <a:cubicBezTo>
                    <a:pt x="7857" y="11072"/>
                    <a:pt x="7857" y="11072"/>
                    <a:pt x="7857" y="11072"/>
                  </a:cubicBezTo>
                  <a:cubicBezTo>
                    <a:pt x="7827" y="11130"/>
                    <a:pt x="7827" y="11130"/>
                    <a:pt x="7827" y="11130"/>
                  </a:cubicBezTo>
                  <a:cubicBezTo>
                    <a:pt x="7737" y="11083"/>
                    <a:pt x="7737" y="11083"/>
                    <a:pt x="7737" y="11083"/>
                  </a:cubicBezTo>
                  <a:cubicBezTo>
                    <a:pt x="7972" y="10626"/>
                    <a:pt x="7972" y="10626"/>
                    <a:pt x="7972" y="10626"/>
                  </a:cubicBezTo>
                  <a:cubicBezTo>
                    <a:pt x="8061" y="10670"/>
                    <a:pt x="8061" y="10670"/>
                    <a:pt x="8061" y="10670"/>
                  </a:cubicBezTo>
                  <a:cubicBezTo>
                    <a:pt x="8031" y="10728"/>
                    <a:pt x="8031" y="10728"/>
                    <a:pt x="8031" y="10728"/>
                  </a:cubicBezTo>
                  <a:cubicBezTo>
                    <a:pt x="8139" y="10783"/>
                    <a:pt x="8139" y="10783"/>
                    <a:pt x="8139" y="10783"/>
                  </a:cubicBezTo>
                  <a:cubicBezTo>
                    <a:pt x="8169" y="10726"/>
                    <a:pt x="8169" y="10726"/>
                    <a:pt x="8169" y="10726"/>
                  </a:cubicBezTo>
                  <a:cubicBezTo>
                    <a:pt x="8260" y="10772"/>
                    <a:pt x="8260" y="10772"/>
                    <a:pt x="8260" y="10772"/>
                  </a:cubicBezTo>
                  <a:lnTo>
                    <a:pt x="8024" y="11230"/>
                  </a:lnTo>
                  <a:close/>
                  <a:moveTo>
                    <a:pt x="8005" y="10785"/>
                  </a:moveTo>
                  <a:cubicBezTo>
                    <a:pt x="7886" y="11015"/>
                    <a:pt x="7886" y="11015"/>
                    <a:pt x="7886" y="11015"/>
                  </a:cubicBezTo>
                  <a:cubicBezTo>
                    <a:pt x="7990" y="11069"/>
                    <a:pt x="7990" y="11069"/>
                    <a:pt x="7990" y="11069"/>
                  </a:cubicBezTo>
                  <a:cubicBezTo>
                    <a:pt x="8111" y="10834"/>
                    <a:pt x="8111" y="10834"/>
                    <a:pt x="8111" y="10834"/>
                  </a:cubicBezTo>
                  <a:cubicBezTo>
                    <a:pt x="8011" y="10787"/>
                    <a:pt x="8011" y="10787"/>
                    <a:pt x="8011" y="10787"/>
                  </a:cubicBezTo>
                  <a:lnTo>
                    <a:pt x="8005" y="10785"/>
                  </a:lnTo>
                  <a:close/>
                  <a:moveTo>
                    <a:pt x="8091" y="10841"/>
                  </a:moveTo>
                  <a:cubicBezTo>
                    <a:pt x="7984" y="11049"/>
                    <a:pt x="7984" y="11049"/>
                    <a:pt x="7984" y="11049"/>
                  </a:cubicBezTo>
                  <a:cubicBezTo>
                    <a:pt x="7906" y="11009"/>
                    <a:pt x="7906" y="11009"/>
                    <a:pt x="7906" y="11009"/>
                  </a:cubicBezTo>
                  <a:cubicBezTo>
                    <a:pt x="8011" y="10804"/>
                    <a:pt x="8011" y="10804"/>
                    <a:pt x="8011" y="10804"/>
                  </a:cubicBezTo>
                  <a:lnTo>
                    <a:pt x="8091" y="10841"/>
                  </a:lnTo>
                  <a:close/>
                  <a:moveTo>
                    <a:pt x="2594" y="11320"/>
                  </a:moveTo>
                  <a:cubicBezTo>
                    <a:pt x="2594" y="11320"/>
                    <a:pt x="2594" y="11320"/>
                    <a:pt x="2594" y="11320"/>
                  </a:cubicBezTo>
                  <a:cubicBezTo>
                    <a:pt x="2594" y="11320"/>
                    <a:pt x="2594" y="11320"/>
                    <a:pt x="2594" y="11320"/>
                  </a:cubicBezTo>
                  <a:close/>
                  <a:moveTo>
                    <a:pt x="4144" y="6826"/>
                  </a:moveTo>
                  <a:cubicBezTo>
                    <a:pt x="4192" y="6821"/>
                    <a:pt x="4192" y="6821"/>
                    <a:pt x="4192" y="6821"/>
                  </a:cubicBezTo>
                  <a:cubicBezTo>
                    <a:pt x="4218" y="6755"/>
                    <a:pt x="4218" y="6755"/>
                    <a:pt x="4218" y="6755"/>
                  </a:cubicBezTo>
                  <a:cubicBezTo>
                    <a:pt x="4132" y="6715"/>
                    <a:pt x="4132" y="6715"/>
                    <a:pt x="4132" y="6715"/>
                  </a:cubicBezTo>
                  <a:cubicBezTo>
                    <a:pt x="4108" y="6759"/>
                    <a:pt x="4108" y="6759"/>
                    <a:pt x="4108" y="6759"/>
                  </a:cubicBezTo>
                  <a:cubicBezTo>
                    <a:pt x="4064" y="6773"/>
                    <a:pt x="4064" y="6773"/>
                    <a:pt x="4064" y="6773"/>
                  </a:cubicBezTo>
                  <a:cubicBezTo>
                    <a:pt x="4034" y="6838"/>
                    <a:pt x="4034" y="6838"/>
                    <a:pt x="4034" y="6838"/>
                  </a:cubicBezTo>
                  <a:cubicBezTo>
                    <a:pt x="4121" y="6878"/>
                    <a:pt x="4121" y="6878"/>
                    <a:pt x="4121" y="6878"/>
                  </a:cubicBezTo>
                  <a:lnTo>
                    <a:pt x="4144" y="6826"/>
                  </a:lnTo>
                  <a:close/>
                  <a:moveTo>
                    <a:pt x="4052" y="6831"/>
                  </a:moveTo>
                  <a:cubicBezTo>
                    <a:pt x="4074" y="6784"/>
                    <a:pt x="4074" y="6784"/>
                    <a:pt x="4074" y="6784"/>
                  </a:cubicBezTo>
                  <a:cubicBezTo>
                    <a:pt x="4112" y="6773"/>
                    <a:pt x="4112" y="6773"/>
                    <a:pt x="4112" y="6773"/>
                  </a:cubicBezTo>
                  <a:cubicBezTo>
                    <a:pt x="4118" y="6771"/>
                    <a:pt x="4118" y="6771"/>
                    <a:pt x="4118" y="6771"/>
                  </a:cubicBezTo>
                  <a:cubicBezTo>
                    <a:pt x="4121" y="6766"/>
                    <a:pt x="4121" y="6766"/>
                    <a:pt x="4121" y="6766"/>
                  </a:cubicBezTo>
                  <a:cubicBezTo>
                    <a:pt x="4138" y="6733"/>
                    <a:pt x="4138" y="6733"/>
                    <a:pt x="4138" y="6733"/>
                  </a:cubicBezTo>
                  <a:cubicBezTo>
                    <a:pt x="4200" y="6762"/>
                    <a:pt x="4200" y="6762"/>
                    <a:pt x="4200" y="6762"/>
                  </a:cubicBezTo>
                  <a:cubicBezTo>
                    <a:pt x="4182" y="6808"/>
                    <a:pt x="4182" y="6808"/>
                    <a:pt x="4182" y="6808"/>
                  </a:cubicBezTo>
                  <a:cubicBezTo>
                    <a:pt x="4142" y="6812"/>
                    <a:pt x="4142" y="6812"/>
                    <a:pt x="4142" y="6812"/>
                  </a:cubicBezTo>
                  <a:cubicBezTo>
                    <a:pt x="4134" y="6813"/>
                    <a:pt x="4134" y="6813"/>
                    <a:pt x="4134" y="6813"/>
                  </a:cubicBezTo>
                  <a:cubicBezTo>
                    <a:pt x="4131" y="6820"/>
                    <a:pt x="4131" y="6820"/>
                    <a:pt x="4131" y="6820"/>
                  </a:cubicBezTo>
                  <a:cubicBezTo>
                    <a:pt x="4114" y="6860"/>
                    <a:pt x="4114" y="6860"/>
                    <a:pt x="4114" y="6860"/>
                  </a:cubicBezTo>
                  <a:lnTo>
                    <a:pt x="4052" y="6831"/>
                  </a:lnTo>
                  <a:close/>
                  <a:moveTo>
                    <a:pt x="4048" y="7137"/>
                  </a:moveTo>
                  <a:cubicBezTo>
                    <a:pt x="4034" y="7066"/>
                    <a:pt x="4034" y="7066"/>
                    <a:pt x="4034" y="7066"/>
                  </a:cubicBezTo>
                  <a:cubicBezTo>
                    <a:pt x="3941" y="7076"/>
                    <a:pt x="3941" y="7076"/>
                    <a:pt x="3941" y="7076"/>
                  </a:cubicBezTo>
                  <a:cubicBezTo>
                    <a:pt x="3946" y="7130"/>
                    <a:pt x="3946" y="7130"/>
                    <a:pt x="3946" y="7130"/>
                  </a:cubicBezTo>
                  <a:cubicBezTo>
                    <a:pt x="3911" y="7167"/>
                    <a:pt x="3911" y="7167"/>
                    <a:pt x="3911" y="7167"/>
                  </a:cubicBezTo>
                  <a:cubicBezTo>
                    <a:pt x="3926" y="7240"/>
                    <a:pt x="3926" y="7240"/>
                    <a:pt x="3926" y="7240"/>
                  </a:cubicBezTo>
                  <a:cubicBezTo>
                    <a:pt x="4024" y="7225"/>
                    <a:pt x="4024" y="7225"/>
                    <a:pt x="4024" y="7225"/>
                  </a:cubicBezTo>
                  <a:cubicBezTo>
                    <a:pt x="4015" y="7163"/>
                    <a:pt x="4015" y="7163"/>
                    <a:pt x="4015" y="7163"/>
                  </a:cubicBezTo>
                  <a:lnTo>
                    <a:pt x="4048" y="7137"/>
                  </a:lnTo>
                  <a:close/>
                  <a:moveTo>
                    <a:pt x="3937" y="7224"/>
                  </a:moveTo>
                  <a:cubicBezTo>
                    <a:pt x="3926" y="7171"/>
                    <a:pt x="3926" y="7171"/>
                    <a:pt x="3926" y="7171"/>
                  </a:cubicBezTo>
                  <a:cubicBezTo>
                    <a:pt x="3956" y="7140"/>
                    <a:pt x="3956" y="7140"/>
                    <a:pt x="3956" y="7140"/>
                  </a:cubicBezTo>
                  <a:cubicBezTo>
                    <a:pt x="3960" y="7135"/>
                    <a:pt x="3960" y="7135"/>
                    <a:pt x="3960" y="7135"/>
                  </a:cubicBezTo>
                  <a:cubicBezTo>
                    <a:pt x="3960" y="7129"/>
                    <a:pt x="3960" y="7129"/>
                    <a:pt x="3960" y="7129"/>
                  </a:cubicBezTo>
                  <a:cubicBezTo>
                    <a:pt x="3956" y="7089"/>
                    <a:pt x="3956" y="7089"/>
                    <a:pt x="3956" y="7089"/>
                  </a:cubicBezTo>
                  <a:cubicBezTo>
                    <a:pt x="4023" y="7081"/>
                    <a:pt x="4023" y="7081"/>
                    <a:pt x="4023" y="7081"/>
                  </a:cubicBezTo>
                  <a:cubicBezTo>
                    <a:pt x="4032" y="7131"/>
                    <a:pt x="4032" y="7131"/>
                    <a:pt x="4032" y="7131"/>
                  </a:cubicBezTo>
                  <a:cubicBezTo>
                    <a:pt x="4006" y="7152"/>
                    <a:pt x="4006" y="7152"/>
                    <a:pt x="4006" y="7152"/>
                  </a:cubicBezTo>
                  <a:cubicBezTo>
                    <a:pt x="4000" y="7157"/>
                    <a:pt x="4000" y="7157"/>
                    <a:pt x="4000" y="7157"/>
                  </a:cubicBezTo>
                  <a:cubicBezTo>
                    <a:pt x="4001" y="7165"/>
                    <a:pt x="4001" y="7165"/>
                    <a:pt x="4001" y="7165"/>
                  </a:cubicBezTo>
                  <a:cubicBezTo>
                    <a:pt x="4008" y="7213"/>
                    <a:pt x="4008" y="7213"/>
                    <a:pt x="4008" y="7213"/>
                  </a:cubicBezTo>
                  <a:lnTo>
                    <a:pt x="3937" y="7224"/>
                  </a:lnTo>
                  <a:close/>
                  <a:moveTo>
                    <a:pt x="3958" y="7004"/>
                  </a:moveTo>
                  <a:cubicBezTo>
                    <a:pt x="4047" y="7040"/>
                    <a:pt x="4047" y="7040"/>
                    <a:pt x="4047" y="7040"/>
                  </a:cubicBezTo>
                  <a:cubicBezTo>
                    <a:pt x="4069" y="6978"/>
                    <a:pt x="4069" y="6978"/>
                    <a:pt x="4069" y="6978"/>
                  </a:cubicBezTo>
                  <a:cubicBezTo>
                    <a:pt x="4051" y="6938"/>
                    <a:pt x="4051" y="6938"/>
                    <a:pt x="4051" y="6938"/>
                  </a:cubicBezTo>
                  <a:cubicBezTo>
                    <a:pt x="4068" y="6889"/>
                    <a:pt x="4068" y="6889"/>
                    <a:pt x="4068" y="6889"/>
                  </a:cubicBezTo>
                  <a:cubicBezTo>
                    <a:pt x="3980" y="6849"/>
                    <a:pt x="3980" y="6849"/>
                    <a:pt x="3980" y="6849"/>
                  </a:cubicBezTo>
                  <a:cubicBezTo>
                    <a:pt x="3951" y="6914"/>
                    <a:pt x="3951" y="6914"/>
                    <a:pt x="3951" y="6914"/>
                  </a:cubicBezTo>
                  <a:cubicBezTo>
                    <a:pt x="3981" y="6951"/>
                    <a:pt x="3981" y="6951"/>
                    <a:pt x="3981" y="6951"/>
                  </a:cubicBezTo>
                  <a:lnTo>
                    <a:pt x="3958" y="7004"/>
                  </a:lnTo>
                  <a:close/>
                  <a:moveTo>
                    <a:pt x="3967" y="6912"/>
                  </a:moveTo>
                  <a:cubicBezTo>
                    <a:pt x="3987" y="6867"/>
                    <a:pt x="3987" y="6867"/>
                    <a:pt x="3987" y="6867"/>
                  </a:cubicBezTo>
                  <a:cubicBezTo>
                    <a:pt x="4051" y="6896"/>
                    <a:pt x="4051" y="6896"/>
                    <a:pt x="4051" y="6896"/>
                  </a:cubicBezTo>
                  <a:cubicBezTo>
                    <a:pt x="4038" y="6933"/>
                    <a:pt x="4038" y="6933"/>
                    <a:pt x="4038" y="6933"/>
                  </a:cubicBezTo>
                  <a:cubicBezTo>
                    <a:pt x="4036" y="6938"/>
                    <a:pt x="4036" y="6938"/>
                    <a:pt x="4036" y="6938"/>
                  </a:cubicBezTo>
                  <a:cubicBezTo>
                    <a:pt x="4038" y="6944"/>
                    <a:pt x="4038" y="6944"/>
                    <a:pt x="4038" y="6944"/>
                  </a:cubicBezTo>
                  <a:cubicBezTo>
                    <a:pt x="4054" y="6979"/>
                    <a:pt x="4054" y="6979"/>
                    <a:pt x="4054" y="6979"/>
                  </a:cubicBezTo>
                  <a:cubicBezTo>
                    <a:pt x="4039" y="7021"/>
                    <a:pt x="4039" y="7021"/>
                    <a:pt x="4039" y="7021"/>
                  </a:cubicBezTo>
                  <a:cubicBezTo>
                    <a:pt x="3977" y="6997"/>
                    <a:pt x="3977" y="6997"/>
                    <a:pt x="3977" y="6997"/>
                  </a:cubicBezTo>
                  <a:cubicBezTo>
                    <a:pt x="3993" y="6957"/>
                    <a:pt x="3993" y="6957"/>
                    <a:pt x="3993" y="6957"/>
                  </a:cubicBezTo>
                  <a:cubicBezTo>
                    <a:pt x="3997" y="6949"/>
                    <a:pt x="3997" y="6949"/>
                    <a:pt x="3997" y="6949"/>
                  </a:cubicBezTo>
                  <a:cubicBezTo>
                    <a:pt x="3992" y="6943"/>
                    <a:pt x="3992" y="6943"/>
                    <a:pt x="3992" y="6943"/>
                  </a:cubicBezTo>
                  <a:lnTo>
                    <a:pt x="3967" y="6912"/>
                  </a:lnTo>
                  <a:close/>
                  <a:moveTo>
                    <a:pt x="4144" y="7335"/>
                  </a:moveTo>
                  <a:cubicBezTo>
                    <a:pt x="4190" y="7163"/>
                    <a:pt x="4190" y="7163"/>
                    <a:pt x="4190" y="7163"/>
                  </a:cubicBezTo>
                  <a:cubicBezTo>
                    <a:pt x="4234" y="7089"/>
                    <a:pt x="4234" y="7089"/>
                    <a:pt x="4234" y="7089"/>
                  </a:cubicBezTo>
                  <a:cubicBezTo>
                    <a:pt x="4190" y="7063"/>
                    <a:pt x="4190" y="7063"/>
                    <a:pt x="4190" y="7063"/>
                  </a:cubicBezTo>
                  <a:cubicBezTo>
                    <a:pt x="4033" y="7320"/>
                    <a:pt x="4033" y="7320"/>
                    <a:pt x="4033" y="7320"/>
                  </a:cubicBezTo>
                  <a:cubicBezTo>
                    <a:pt x="4076" y="7350"/>
                    <a:pt x="4076" y="7350"/>
                    <a:pt x="4076" y="7350"/>
                  </a:cubicBezTo>
                  <a:cubicBezTo>
                    <a:pt x="4089" y="7329"/>
                    <a:pt x="4089" y="7329"/>
                    <a:pt x="4089" y="7329"/>
                  </a:cubicBezTo>
                  <a:lnTo>
                    <a:pt x="4144" y="7335"/>
                  </a:lnTo>
                  <a:close/>
                  <a:moveTo>
                    <a:pt x="4077" y="7322"/>
                  </a:moveTo>
                  <a:cubicBezTo>
                    <a:pt x="4072" y="7330"/>
                    <a:pt x="4072" y="7330"/>
                    <a:pt x="4072" y="7330"/>
                  </a:cubicBezTo>
                  <a:cubicBezTo>
                    <a:pt x="4052" y="7316"/>
                    <a:pt x="4052" y="7316"/>
                    <a:pt x="4052" y="7316"/>
                  </a:cubicBezTo>
                  <a:cubicBezTo>
                    <a:pt x="4194" y="7082"/>
                    <a:pt x="4194" y="7082"/>
                    <a:pt x="4194" y="7082"/>
                  </a:cubicBezTo>
                  <a:cubicBezTo>
                    <a:pt x="4215" y="7094"/>
                    <a:pt x="4215" y="7094"/>
                    <a:pt x="4215" y="7094"/>
                  </a:cubicBezTo>
                  <a:cubicBezTo>
                    <a:pt x="4178" y="7156"/>
                    <a:pt x="4178" y="7156"/>
                    <a:pt x="4178" y="7156"/>
                  </a:cubicBezTo>
                  <a:cubicBezTo>
                    <a:pt x="4177" y="7158"/>
                    <a:pt x="4177" y="7158"/>
                    <a:pt x="4177" y="7158"/>
                  </a:cubicBezTo>
                  <a:cubicBezTo>
                    <a:pt x="4176" y="7160"/>
                    <a:pt x="4176" y="7160"/>
                    <a:pt x="4176" y="7160"/>
                  </a:cubicBezTo>
                  <a:cubicBezTo>
                    <a:pt x="4133" y="7320"/>
                    <a:pt x="4133" y="7320"/>
                    <a:pt x="4133" y="7320"/>
                  </a:cubicBezTo>
                  <a:cubicBezTo>
                    <a:pt x="4090" y="7315"/>
                    <a:pt x="4090" y="7315"/>
                    <a:pt x="4090" y="7315"/>
                  </a:cubicBezTo>
                  <a:cubicBezTo>
                    <a:pt x="4082" y="7314"/>
                    <a:pt x="4082" y="7314"/>
                    <a:pt x="4082" y="7314"/>
                  </a:cubicBezTo>
                  <a:lnTo>
                    <a:pt x="4077" y="7322"/>
                  </a:lnTo>
                  <a:close/>
                  <a:moveTo>
                    <a:pt x="3953" y="7599"/>
                  </a:moveTo>
                  <a:cubicBezTo>
                    <a:pt x="4001" y="7551"/>
                    <a:pt x="4001" y="7551"/>
                    <a:pt x="4001" y="7551"/>
                  </a:cubicBezTo>
                  <a:cubicBezTo>
                    <a:pt x="3983" y="7529"/>
                    <a:pt x="3983" y="7529"/>
                    <a:pt x="3983" y="7529"/>
                  </a:cubicBezTo>
                  <a:cubicBezTo>
                    <a:pt x="4021" y="7487"/>
                    <a:pt x="4021" y="7487"/>
                    <a:pt x="4021" y="7487"/>
                  </a:cubicBezTo>
                  <a:cubicBezTo>
                    <a:pt x="4046" y="7507"/>
                    <a:pt x="4046" y="7507"/>
                    <a:pt x="4046" y="7507"/>
                  </a:cubicBezTo>
                  <a:cubicBezTo>
                    <a:pt x="4093" y="7461"/>
                    <a:pt x="4093" y="7461"/>
                    <a:pt x="4093" y="7461"/>
                  </a:cubicBezTo>
                  <a:cubicBezTo>
                    <a:pt x="4030" y="7396"/>
                    <a:pt x="4030" y="7396"/>
                    <a:pt x="4030" y="7396"/>
                  </a:cubicBezTo>
                  <a:cubicBezTo>
                    <a:pt x="3984" y="7436"/>
                    <a:pt x="3984" y="7436"/>
                    <a:pt x="3984" y="7436"/>
                  </a:cubicBezTo>
                  <a:cubicBezTo>
                    <a:pt x="3966" y="7420"/>
                    <a:pt x="3966" y="7420"/>
                    <a:pt x="3966" y="7420"/>
                  </a:cubicBezTo>
                  <a:cubicBezTo>
                    <a:pt x="3917" y="7465"/>
                    <a:pt x="3917" y="7465"/>
                    <a:pt x="3917" y="7465"/>
                  </a:cubicBezTo>
                  <a:cubicBezTo>
                    <a:pt x="3936" y="7490"/>
                    <a:pt x="3936" y="7490"/>
                    <a:pt x="3936" y="7490"/>
                  </a:cubicBezTo>
                  <a:cubicBezTo>
                    <a:pt x="3893" y="7535"/>
                    <a:pt x="3893" y="7535"/>
                    <a:pt x="3893" y="7535"/>
                  </a:cubicBezTo>
                  <a:lnTo>
                    <a:pt x="3953" y="7599"/>
                  </a:lnTo>
                  <a:close/>
                  <a:moveTo>
                    <a:pt x="3947" y="7482"/>
                  </a:moveTo>
                  <a:cubicBezTo>
                    <a:pt x="3936" y="7467"/>
                    <a:pt x="3936" y="7467"/>
                    <a:pt x="3936" y="7467"/>
                  </a:cubicBezTo>
                  <a:cubicBezTo>
                    <a:pt x="3966" y="7439"/>
                    <a:pt x="3966" y="7439"/>
                    <a:pt x="3966" y="7439"/>
                  </a:cubicBezTo>
                  <a:cubicBezTo>
                    <a:pt x="3975" y="7447"/>
                    <a:pt x="3975" y="7447"/>
                    <a:pt x="3975" y="7447"/>
                  </a:cubicBezTo>
                  <a:cubicBezTo>
                    <a:pt x="3984" y="7455"/>
                    <a:pt x="3984" y="7455"/>
                    <a:pt x="3984" y="7455"/>
                  </a:cubicBezTo>
                  <a:cubicBezTo>
                    <a:pt x="3993" y="7447"/>
                    <a:pt x="3993" y="7447"/>
                    <a:pt x="3993" y="7447"/>
                  </a:cubicBezTo>
                  <a:cubicBezTo>
                    <a:pt x="4029" y="7416"/>
                    <a:pt x="4029" y="7416"/>
                    <a:pt x="4029" y="7416"/>
                  </a:cubicBezTo>
                  <a:cubicBezTo>
                    <a:pt x="4073" y="7460"/>
                    <a:pt x="4073" y="7460"/>
                    <a:pt x="4073" y="7460"/>
                  </a:cubicBezTo>
                  <a:cubicBezTo>
                    <a:pt x="4045" y="7489"/>
                    <a:pt x="4045" y="7489"/>
                    <a:pt x="4045" y="7489"/>
                  </a:cubicBezTo>
                  <a:cubicBezTo>
                    <a:pt x="4030" y="7476"/>
                    <a:pt x="4030" y="7476"/>
                    <a:pt x="4030" y="7476"/>
                  </a:cubicBezTo>
                  <a:cubicBezTo>
                    <a:pt x="4019" y="7468"/>
                    <a:pt x="4019" y="7468"/>
                    <a:pt x="4019" y="7468"/>
                  </a:cubicBezTo>
                  <a:cubicBezTo>
                    <a:pt x="4010" y="7478"/>
                    <a:pt x="4010" y="7478"/>
                    <a:pt x="4010" y="7478"/>
                  </a:cubicBezTo>
                  <a:cubicBezTo>
                    <a:pt x="3973" y="7520"/>
                    <a:pt x="3973" y="7520"/>
                    <a:pt x="3973" y="7520"/>
                  </a:cubicBezTo>
                  <a:cubicBezTo>
                    <a:pt x="3965" y="7529"/>
                    <a:pt x="3965" y="7529"/>
                    <a:pt x="3965" y="7529"/>
                  </a:cubicBezTo>
                  <a:cubicBezTo>
                    <a:pt x="3972" y="7538"/>
                    <a:pt x="3972" y="7538"/>
                    <a:pt x="3972" y="7538"/>
                  </a:cubicBezTo>
                  <a:cubicBezTo>
                    <a:pt x="3982" y="7550"/>
                    <a:pt x="3982" y="7550"/>
                    <a:pt x="3982" y="7550"/>
                  </a:cubicBezTo>
                  <a:cubicBezTo>
                    <a:pt x="3954" y="7579"/>
                    <a:pt x="3954" y="7579"/>
                    <a:pt x="3954" y="7579"/>
                  </a:cubicBezTo>
                  <a:cubicBezTo>
                    <a:pt x="3912" y="7535"/>
                    <a:pt x="3912" y="7535"/>
                    <a:pt x="3912" y="7535"/>
                  </a:cubicBezTo>
                  <a:cubicBezTo>
                    <a:pt x="3946" y="7500"/>
                    <a:pt x="3946" y="7500"/>
                    <a:pt x="3946" y="7500"/>
                  </a:cubicBezTo>
                  <a:cubicBezTo>
                    <a:pt x="3955" y="7491"/>
                    <a:pt x="3955" y="7491"/>
                    <a:pt x="3955" y="7491"/>
                  </a:cubicBezTo>
                  <a:lnTo>
                    <a:pt x="3947" y="7482"/>
                  </a:lnTo>
                  <a:close/>
                  <a:moveTo>
                    <a:pt x="3914" y="7361"/>
                  </a:moveTo>
                  <a:cubicBezTo>
                    <a:pt x="3958" y="7317"/>
                    <a:pt x="3958" y="7317"/>
                    <a:pt x="3958" y="7317"/>
                  </a:cubicBezTo>
                  <a:cubicBezTo>
                    <a:pt x="3895" y="7251"/>
                    <a:pt x="3895" y="7251"/>
                    <a:pt x="3895" y="7251"/>
                  </a:cubicBezTo>
                  <a:cubicBezTo>
                    <a:pt x="3843" y="7297"/>
                    <a:pt x="3843" y="7297"/>
                    <a:pt x="3843" y="7297"/>
                  </a:cubicBezTo>
                  <a:cubicBezTo>
                    <a:pt x="3867" y="7322"/>
                    <a:pt x="3867" y="7322"/>
                    <a:pt x="3867" y="7322"/>
                  </a:cubicBezTo>
                  <a:cubicBezTo>
                    <a:pt x="3829" y="7363"/>
                    <a:pt x="3829" y="7363"/>
                    <a:pt x="3829" y="7363"/>
                  </a:cubicBezTo>
                  <a:cubicBezTo>
                    <a:pt x="3804" y="7342"/>
                    <a:pt x="3804" y="7342"/>
                    <a:pt x="3804" y="7342"/>
                  </a:cubicBezTo>
                  <a:cubicBezTo>
                    <a:pt x="3756" y="7388"/>
                    <a:pt x="3756" y="7388"/>
                    <a:pt x="3756" y="7388"/>
                  </a:cubicBezTo>
                  <a:cubicBezTo>
                    <a:pt x="3818" y="7454"/>
                    <a:pt x="3818" y="7454"/>
                    <a:pt x="3818" y="7454"/>
                  </a:cubicBezTo>
                  <a:cubicBezTo>
                    <a:pt x="3865" y="7414"/>
                    <a:pt x="3865" y="7414"/>
                    <a:pt x="3865" y="7414"/>
                  </a:cubicBezTo>
                  <a:cubicBezTo>
                    <a:pt x="3883" y="7431"/>
                    <a:pt x="3883" y="7431"/>
                    <a:pt x="3883" y="7431"/>
                  </a:cubicBezTo>
                  <a:cubicBezTo>
                    <a:pt x="3933" y="7387"/>
                    <a:pt x="3933" y="7387"/>
                    <a:pt x="3933" y="7387"/>
                  </a:cubicBezTo>
                  <a:lnTo>
                    <a:pt x="3914" y="7361"/>
                  </a:lnTo>
                  <a:close/>
                  <a:moveTo>
                    <a:pt x="3874" y="7404"/>
                  </a:moveTo>
                  <a:cubicBezTo>
                    <a:pt x="3865" y="7396"/>
                    <a:pt x="3865" y="7396"/>
                    <a:pt x="3865" y="7396"/>
                  </a:cubicBezTo>
                  <a:cubicBezTo>
                    <a:pt x="3856" y="7404"/>
                    <a:pt x="3856" y="7404"/>
                    <a:pt x="3856" y="7404"/>
                  </a:cubicBezTo>
                  <a:cubicBezTo>
                    <a:pt x="3819" y="7434"/>
                    <a:pt x="3819" y="7434"/>
                    <a:pt x="3819" y="7434"/>
                  </a:cubicBezTo>
                  <a:cubicBezTo>
                    <a:pt x="3776" y="7389"/>
                    <a:pt x="3776" y="7389"/>
                    <a:pt x="3776" y="7389"/>
                  </a:cubicBezTo>
                  <a:cubicBezTo>
                    <a:pt x="3805" y="7361"/>
                    <a:pt x="3805" y="7361"/>
                    <a:pt x="3805" y="7361"/>
                  </a:cubicBezTo>
                  <a:cubicBezTo>
                    <a:pt x="3820" y="7374"/>
                    <a:pt x="3820" y="7374"/>
                    <a:pt x="3820" y="7374"/>
                  </a:cubicBezTo>
                  <a:cubicBezTo>
                    <a:pt x="3830" y="7383"/>
                    <a:pt x="3830" y="7383"/>
                    <a:pt x="3830" y="7383"/>
                  </a:cubicBezTo>
                  <a:cubicBezTo>
                    <a:pt x="3839" y="7373"/>
                    <a:pt x="3839" y="7373"/>
                    <a:pt x="3839" y="7373"/>
                  </a:cubicBezTo>
                  <a:cubicBezTo>
                    <a:pt x="3878" y="7331"/>
                    <a:pt x="3878" y="7331"/>
                    <a:pt x="3878" y="7331"/>
                  </a:cubicBezTo>
                  <a:cubicBezTo>
                    <a:pt x="3887" y="7321"/>
                    <a:pt x="3887" y="7321"/>
                    <a:pt x="3887" y="7321"/>
                  </a:cubicBezTo>
                  <a:cubicBezTo>
                    <a:pt x="3877" y="7312"/>
                    <a:pt x="3877" y="7312"/>
                    <a:pt x="3877" y="7312"/>
                  </a:cubicBezTo>
                  <a:cubicBezTo>
                    <a:pt x="3863" y="7298"/>
                    <a:pt x="3863" y="7298"/>
                    <a:pt x="3863" y="7298"/>
                  </a:cubicBezTo>
                  <a:cubicBezTo>
                    <a:pt x="3894" y="7270"/>
                    <a:pt x="3894" y="7270"/>
                    <a:pt x="3894" y="7270"/>
                  </a:cubicBezTo>
                  <a:cubicBezTo>
                    <a:pt x="3938" y="7317"/>
                    <a:pt x="3938" y="7317"/>
                    <a:pt x="3938" y="7317"/>
                  </a:cubicBezTo>
                  <a:cubicBezTo>
                    <a:pt x="3904" y="7351"/>
                    <a:pt x="3904" y="7351"/>
                    <a:pt x="3904" y="7351"/>
                  </a:cubicBezTo>
                  <a:cubicBezTo>
                    <a:pt x="3895" y="7360"/>
                    <a:pt x="3895" y="7360"/>
                    <a:pt x="3895" y="7360"/>
                  </a:cubicBezTo>
                  <a:cubicBezTo>
                    <a:pt x="3903" y="7370"/>
                    <a:pt x="3903" y="7370"/>
                    <a:pt x="3903" y="7370"/>
                  </a:cubicBezTo>
                  <a:cubicBezTo>
                    <a:pt x="3914" y="7385"/>
                    <a:pt x="3914" y="7385"/>
                    <a:pt x="3914" y="7385"/>
                  </a:cubicBezTo>
                  <a:cubicBezTo>
                    <a:pt x="3883" y="7412"/>
                    <a:pt x="3883" y="7412"/>
                    <a:pt x="3883" y="7412"/>
                  </a:cubicBezTo>
                  <a:lnTo>
                    <a:pt x="3874" y="7404"/>
                  </a:lnTo>
                  <a:close/>
                  <a:moveTo>
                    <a:pt x="3589" y="7674"/>
                  </a:moveTo>
                  <a:cubicBezTo>
                    <a:pt x="3765" y="7647"/>
                    <a:pt x="3765" y="7647"/>
                    <a:pt x="3765" y="7647"/>
                  </a:cubicBezTo>
                  <a:cubicBezTo>
                    <a:pt x="3751" y="7563"/>
                    <a:pt x="3751" y="7563"/>
                    <a:pt x="3751" y="7563"/>
                  </a:cubicBezTo>
                  <a:cubicBezTo>
                    <a:pt x="3677" y="7575"/>
                    <a:pt x="3677" y="7575"/>
                    <a:pt x="3677" y="7575"/>
                  </a:cubicBezTo>
                  <a:cubicBezTo>
                    <a:pt x="3660" y="7496"/>
                    <a:pt x="3660" y="7496"/>
                    <a:pt x="3660" y="7496"/>
                  </a:cubicBezTo>
                  <a:cubicBezTo>
                    <a:pt x="3578" y="7512"/>
                    <a:pt x="3578" y="7512"/>
                    <a:pt x="3578" y="7512"/>
                  </a:cubicBezTo>
                  <a:cubicBezTo>
                    <a:pt x="3592" y="7589"/>
                    <a:pt x="3592" y="7589"/>
                    <a:pt x="3592" y="7589"/>
                  </a:cubicBezTo>
                  <a:cubicBezTo>
                    <a:pt x="3592" y="7589"/>
                    <a:pt x="3570" y="7592"/>
                    <a:pt x="3573" y="7594"/>
                  </a:cubicBezTo>
                  <a:cubicBezTo>
                    <a:pt x="3575" y="7595"/>
                    <a:pt x="3589" y="7674"/>
                    <a:pt x="3589" y="7674"/>
                  </a:cubicBezTo>
                  <a:close/>
                  <a:moveTo>
                    <a:pt x="3594" y="7603"/>
                  </a:moveTo>
                  <a:cubicBezTo>
                    <a:pt x="3608" y="7601"/>
                    <a:pt x="3608" y="7601"/>
                    <a:pt x="3608" y="7601"/>
                  </a:cubicBezTo>
                  <a:cubicBezTo>
                    <a:pt x="3606" y="7587"/>
                    <a:pt x="3606" y="7587"/>
                    <a:pt x="3606" y="7587"/>
                  </a:cubicBezTo>
                  <a:cubicBezTo>
                    <a:pt x="3595" y="7523"/>
                    <a:pt x="3595" y="7523"/>
                    <a:pt x="3595" y="7523"/>
                  </a:cubicBezTo>
                  <a:cubicBezTo>
                    <a:pt x="3649" y="7513"/>
                    <a:pt x="3649" y="7513"/>
                    <a:pt x="3649" y="7513"/>
                  </a:cubicBezTo>
                  <a:cubicBezTo>
                    <a:pt x="3663" y="7578"/>
                    <a:pt x="3663" y="7578"/>
                    <a:pt x="3663" y="7578"/>
                  </a:cubicBezTo>
                  <a:cubicBezTo>
                    <a:pt x="3666" y="7591"/>
                    <a:pt x="3666" y="7591"/>
                    <a:pt x="3666" y="7591"/>
                  </a:cubicBezTo>
                  <a:cubicBezTo>
                    <a:pt x="3679" y="7589"/>
                    <a:pt x="3679" y="7589"/>
                    <a:pt x="3679" y="7589"/>
                  </a:cubicBezTo>
                  <a:cubicBezTo>
                    <a:pt x="3740" y="7579"/>
                    <a:pt x="3740" y="7579"/>
                    <a:pt x="3740" y="7579"/>
                  </a:cubicBezTo>
                  <a:cubicBezTo>
                    <a:pt x="3749" y="7636"/>
                    <a:pt x="3749" y="7636"/>
                    <a:pt x="3749" y="7636"/>
                  </a:cubicBezTo>
                  <a:cubicBezTo>
                    <a:pt x="3600" y="7658"/>
                    <a:pt x="3600" y="7658"/>
                    <a:pt x="3600" y="7658"/>
                  </a:cubicBezTo>
                  <a:cubicBezTo>
                    <a:pt x="3595" y="7631"/>
                    <a:pt x="3592" y="7614"/>
                    <a:pt x="3590" y="7604"/>
                  </a:cubicBezTo>
                  <a:cubicBezTo>
                    <a:pt x="3591" y="7603"/>
                    <a:pt x="3593" y="7603"/>
                    <a:pt x="3594" y="7603"/>
                  </a:cubicBezTo>
                  <a:close/>
                  <a:moveTo>
                    <a:pt x="3708" y="7876"/>
                  </a:moveTo>
                  <a:cubicBezTo>
                    <a:pt x="3790" y="7866"/>
                    <a:pt x="3790" y="7866"/>
                    <a:pt x="3790" y="7866"/>
                  </a:cubicBezTo>
                  <a:cubicBezTo>
                    <a:pt x="3775" y="7784"/>
                    <a:pt x="3775" y="7784"/>
                    <a:pt x="3775" y="7784"/>
                  </a:cubicBezTo>
                  <a:cubicBezTo>
                    <a:pt x="3850" y="7773"/>
                    <a:pt x="3850" y="7773"/>
                    <a:pt x="3850" y="7773"/>
                  </a:cubicBezTo>
                  <a:cubicBezTo>
                    <a:pt x="3836" y="7688"/>
                    <a:pt x="3836" y="7688"/>
                    <a:pt x="3836" y="7688"/>
                  </a:cubicBezTo>
                  <a:cubicBezTo>
                    <a:pt x="3656" y="7724"/>
                    <a:pt x="3656" y="7724"/>
                    <a:pt x="3656" y="7724"/>
                  </a:cubicBezTo>
                  <a:cubicBezTo>
                    <a:pt x="3656" y="7724"/>
                    <a:pt x="3672" y="7798"/>
                    <a:pt x="3671" y="7800"/>
                  </a:cubicBezTo>
                  <a:cubicBezTo>
                    <a:pt x="3669" y="7802"/>
                    <a:pt x="3690" y="7798"/>
                    <a:pt x="3690" y="7798"/>
                  </a:cubicBezTo>
                  <a:lnTo>
                    <a:pt x="3708" y="7876"/>
                  </a:lnTo>
                  <a:close/>
                  <a:moveTo>
                    <a:pt x="3683" y="7785"/>
                  </a:moveTo>
                  <a:cubicBezTo>
                    <a:pt x="3681" y="7775"/>
                    <a:pt x="3678" y="7759"/>
                    <a:pt x="3673" y="7735"/>
                  </a:cubicBezTo>
                  <a:cubicBezTo>
                    <a:pt x="3824" y="7704"/>
                    <a:pt x="3824" y="7704"/>
                    <a:pt x="3824" y="7704"/>
                  </a:cubicBezTo>
                  <a:cubicBezTo>
                    <a:pt x="3834" y="7761"/>
                    <a:pt x="3834" y="7761"/>
                    <a:pt x="3834" y="7761"/>
                  </a:cubicBezTo>
                  <a:cubicBezTo>
                    <a:pt x="3773" y="7770"/>
                    <a:pt x="3773" y="7770"/>
                    <a:pt x="3773" y="7770"/>
                  </a:cubicBezTo>
                  <a:cubicBezTo>
                    <a:pt x="3759" y="7773"/>
                    <a:pt x="3759" y="7773"/>
                    <a:pt x="3759" y="7773"/>
                  </a:cubicBezTo>
                  <a:cubicBezTo>
                    <a:pt x="3761" y="7787"/>
                    <a:pt x="3761" y="7787"/>
                    <a:pt x="3761" y="7787"/>
                  </a:cubicBezTo>
                  <a:cubicBezTo>
                    <a:pt x="3773" y="7854"/>
                    <a:pt x="3773" y="7854"/>
                    <a:pt x="3773" y="7854"/>
                  </a:cubicBezTo>
                  <a:cubicBezTo>
                    <a:pt x="3718" y="7861"/>
                    <a:pt x="3718" y="7861"/>
                    <a:pt x="3718" y="7861"/>
                  </a:cubicBezTo>
                  <a:cubicBezTo>
                    <a:pt x="3704" y="7795"/>
                    <a:pt x="3704" y="7795"/>
                    <a:pt x="3704" y="7795"/>
                  </a:cubicBezTo>
                  <a:cubicBezTo>
                    <a:pt x="3701" y="7782"/>
                    <a:pt x="3701" y="7782"/>
                    <a:pt x="3701" y="7782"/>
                  </a:cubicBezTo>
                  <a:cubicBezTo>
                    <a:pt x="3688" y="7784"/>
                    <a:pt x="3688" y="7784"/>
                    <a:pt x="3688" y="7784"/>
                  </a:cubicBezTo>
                  <a:cubicBezTo>
                    <a:pt x="3686" y="7785"/>
                    <a:pt x="3685" y="7785"/>
                    <a:pt x="3683" y="7785"/>
                  </a:cubicBezTo>
                  <a:close/>
                  <a:moveTo>
                    <a:pt x="1052" y="9215"/>
                  </a:moveTo>
                  <a:cubicBezTo>
                    <a:pt x="1542" y="8889"/>
                    <a:pt x="1542" y="8889"/>
                    <a:pt x="1542" y="8889"/>
                  </a:cubicBezTo>
                  <a:cubicBezTo>
                    <a:pt x="1479" y="8756"/>
                    <a:pt x="1479" y="8756"/>
                    <a:pt x="1479" y="8756"/>
                  </a:cubicBezTo>
                  <a:cubicBezTo>
                    <a:pt x="1063" y="9152"/>
                    <a:pt x="1063" y="9152"/>
                    <a:pt x="1063" y="9152"/>
                  </a:cubicBezTo>
                  <a:lnTo>
                    <a:pt x="1052" y="9215"/>
                  </a:lnTo>
                  <a:close/>
                  <a:moveTo>
                    <a:pt x="1076" y="9159"/>
                  </a:moveTo>
                  <a:cubicBezTo>
                    <a:pt x="1475" y="8779"/>
                    <a:pt x="1475" y="8779"/>
                    <a:pt x="1475" y="8779"/>
                  </a:cubicBezTo>
                  <a:cubicBezTo>
                    <a:pt x="1524" y="8884"/>
                    <a:pt x="1524" y="8884"/>
                    <a:pt x="1524" y="8884"/>
                  </a:cubicBezTo>
                  <a:cubicBezTo>
                    <a:pt x="1071" y="9186"/>
                    <a:pt x="1071" y="9186"/>
                    <a:pt x="1071" y="9186"/>
                  </a:cubicBezTo>
                  <a:lnTo>
                    <a:pt x="1076" y="9159"/>
                  </a:lnTo>
                  <a:close/>
                  <a:moveTo>
                    <a:pt x="1701" y="7730"/>
                  </a:moveTo>
                  <a:cubicBezTo>
                    <a:pt x="1710" y="7667"/>
                    <a:pt x="1710" y="7667"/>
                    <a:pt x="1710" y="7667"/>
                  </a:cubicBezTo>
                  <a:cubicBezTo>
                    <a:pt x="1675" y="7632"/>
                    <a:pt x="1675" y="7632"/>
                    <a:pt x="1675" y="7632"/>
                  </a:cubicBezTo>
                  <a:cubicBezTo>
                    <a:pt x="1730" y="7473"/>
                    <a:pt x="1730" y="7473"/>
                    <a:pt x="1730" y="7473"/>
                  </a:cubicBezTo>
                  <a:cubicBezTo>
                    <a:pt x="1691" y="7431"/>
                    <a:pt x="1691" y="7431"/>
                    <a:pt x="1691" y="7431"/>
                  </a:cubicBezTo>
                  <a:cubicBezTo>
                    <a:pt x="1546" y="7647"/>
                    <a:pt x="1546" y="7647"/>
                    <a:pt x="1546" y="7647"/>
                  </a:cubicBezTo>
                  <a:cubicBezTo>
                    <a:pt x="1606" y="7724"/>
                    <a:pt x="1606" y="7724"/>
                    <a:pt x="1606" y="7724"/>
                  </a:cubicBezTo>
                  <a:lnTo>
                    <a:pt x="1701" y="7730"/>
                  </a:lnTo>
                  <a:close/>
                  <a:moveTo>
                    <a:pt x="1693" y="7454"/>
                  </a:moveTo>
                  <a:cubicBezTo>
                    <a:pt x="1714" y="7477"/>
                    <a:pt x="1714" y="7477"/>
                    <a:pt x="1714" y="7477"/>
                  </a:cubicBezTo>
                  <a:cubicBezTo>
                    <a:pt x="1661" y="7628"/>
                    <a:pt x="1661" y="7628"/>
                    <a:pt x="1661" y="7628"/>
                  </a:cubicBezTo>
                  <a:cubicBezTo>
                    <a:pt x="1658" y="7636"/>
                    <a:pt x="1658" y="7636"/>
                    <a:pt x="1658" y="7636"/>
                  </a:cubicBezTo>
                  <a:cubicBezTo>
                    <a:pt x="1665" y="7642"/>
                    <a:pt x="1665" y="7642"/>
                    <a:pt x="1665" y="7642"/>
                  </a:cubicBezTo>
                  <a:cubicBezTo>
                    <a:pt x="1696" y="7672"/>
                    <a:pt x="1696" y="7672"/>
                    <a:pt x="1696" y="7672"/>
                  </a:cubicBezTo>
                  <a:cubicBezTo>
                    <a:pt x="1689" y="7715"/>
                    <a:pt x="1689" y="7715"/>
                    <a:pt x="1689" y="7715"/>
                  </a:cubicBezTo>
                  <a:cubicBezTo>
                    <a:pt x="1613" y="7711"/>
                    <a:pt x="1613" y="7711"/>
                    <a:pt x="1613" y="7711"/>
                  </a:cubicBezTo>
                  <a:cubicBezTo>
                    <a:pt x="1564" y="7646"/>
                    <a:pt x="1564" y="7646"/>
                    <a:pt x="1564" y="7646"/>
                  </a:cubicBezTo>
                  <a:lnTo>
                    <a:pt x="1693" y="7454"/>
                  </a:lnTo>
                  <a:close/>
                  <a:moveTo>
                    <a:pt x="1600" y="8107"/>
                  </a:moveTo>
                  <a:cubicBezTo>
                    <a:pt x="1600" y="8107"/>
                    <a:pt x="1693" y="8230"/>
                    <a:pt x="1695" y="8230"/>
                  </a:cubicBezTo>
                  <a:cubicBezTo>
                    <a:pt x="1697" y="8230"/>
                    <a:pt x="1942" y="8221"/>
                    <a:pt x="1945" y="8221"/>
                  </a:cubicBezTo>
                  <a:cubicBezTo>
                    <a:pt x="1948" y="8221"/>
                    <a:pt x="2014" y="8174"/>
                    <a:pt x="2014" y="8174"/>
                  </a:cubicBezTo>
                  <a:cubicBezTo>
                    <a:pt x="2014" y="8174"/>
                    <a:pt x="1826" y="8083"/>
                    <a:pt x="1829" y="8083"/>
                  </a:cubicBezTo>
                  <a:cubicBezTo>
                    <a:pt x="1832" y="8083"/>
                    <a:pt x="1846" y="8033"/>
                    <a:pt x="1846" y="8033"/>
                  </a:cubicBezTo>
                  <a:cubicBezTo>
                    <a:pt x="1744" y="7983"/>
                    <a:pt x="1744" y="7983"/>
                    <a:pt x="1744" y="7983"/>
                  </a:cubicBezTo>
                  <a:lnTo>
                    <a:pt x="1600" y="8107"/>
                  </a:lnTo>
                  <a:close/>
                  <a:moveTo>
                    <a:pt x="1829" y="8040"/>
                  </a:moveTo>
                  <a:cubicBezTo>
                    <a:pt x="1826" y="8051"/>
                    <a:pt x="1823" y="8062"/>
                    <a:pt x="1821" y="8069"/>
                  </a:cubicBezTo>
                  <a:cubicBezTo>
                    <a:pt x="1818" y="8069"/>
                    <a:pt x="1818" y="8069"/>
                    <a:pt x="1818" y="8069"/>
                  </a:cubicBezTo>
                  <a:cubicBezTo>
                    <a:pt x="1816" y="8080"/>
                    <a:pt x="1816" y="8080"/>
                    <a:pt x="1816" y="8080"/>
                  </a:cubicBezTo>
                  <a:cubicBezTo>
                    <a:pt x="1813" y="8092"/>
                    <a:pt x="1813" y="8092"/>
                    <a:pt x="1915" y="8142"/>
                  </a:cubicBezTo>
                  <a:cubicBezTo>
                    <a:pt x="1942" y="8155"/>
                    <a:pt x="1969" y="8168"/>
                    <a:pt x="1987" y="8177"/>
                  </a:cubicBezTo>
                  <a:cubicBezTo>
                    <a:pt x="1967" y="8191"/>
                    <a:pt x="1948" y="8204"/>
                    <a:pt x="1942" y="8208"/>
                  </a:cubicBezTo>
                  <a:cubicBezTo>
                    <a:pt x="1930" y="8208"/>
                    <a:pt x="1889" y="8209"/>
                    <a:pt x="1801" y="8212"/>
                  </a:cubicBezTo>
                  <a:cubicBezTo>
                    <a:pt x="1757" y="8214"/>
                    <a:pt x="1716" y="8215"/>
                    <a:pt x="1701" y="8216"/>
                  </a:cubicBezTo>
                  <a:cubicBezTo>
                    <a:pt x="1689" y="8200"/>
                    <a:pt x="1648" y="8148"/>
                    <a:pt x="1619" y="8109"/>
                  </a:cubicBezTo>
                  <a:cubicBezTo>
                    <a:pt x="1746" y="7999"/>
                    <a:pt x="1746" y="7999"/>
                    <a:pt x="1746" y="7999"/>
                  </a:cubicBezTo>
                  <a:lnTo>
                    <a:pt x="1829" y="8040"/>
                  </a:lnTo>
                  <a:close/>
                  <a:moveTo>
                    <a:pt x="968" y="7880"/>
                  </a:moveTo>
                  <a:cubicBezTo>
                    <a:pt x="1000" y="7871"/>
                    <a:pt x="1000" y="7871"/>
                    <a:pt x="1000" y="7871"/>
                  </a:cubicBezTo>
                  <a:cubicBezTo>
                    <a:pt x="1006" y="7889"/>
                    <a:pt x="1006" y="7889"/>
                    <a:pt x="1006" y="7889"/>
                  </a:cubicBezTo>
                  <a:cubicBezTo>
                    <a:pt x="950" y="7915"/>
                    <a:pt x="950" y="7915"/>
                    <a:pt x="950" y="7915"/>
                  </a:cubicBezTo>
                  <a:cubicBezTo>
                    <a:pt x="985" y="8009"/>
                    <a:pt x="985" y="8009"/>
                    <a:pt x="985" y="8009"/>
                  </a:cubicBezTo>
                  <a:cubicBezTo>
                    <a:pt x="1073" y="7974"/>
                    <a:pt x="1073" y="7974"/>
                    <a:pt x="1073" y="7974"/>
                  </a:cubicBezTo>
                  <a:cubicBezTo>
                    <a:pt x="1060" y="7932"/>
                    <a:pt x="1060" y="7932"/>
                    <a:pt x="1060" y="7932"/>
                  </a:cubicBezTo>
                  <a:cubicBezTo>
                    <a:pt x="1117" y="7908"/>
                    <a:pt x="1117" y="7908"/>
                    <a:pt x="1117" y="7908"/>
                  </a:cubicBezTo>
                  <a:cubicBezTo>
                    <a:pt x="1084" y="7809"/>
                    <a:pt x="1084" y="7809"/>
                    <a:pt x="1084" y="7809"/>
                  </a:cubicBezTo>
                  <a:cubicBezTo>
                    <a:pt x="1053" y="7820"/>
                    <a:pt x="1053" y="7820"/>
                    <a:pt x="1053" y="7820"/>
                  </a:cubicBezTo>
                  <a:cubicBezTo>
                    <a:pt x="1046" y="7800"/>
                    <a:pt x="1046" y="7800"/>
                    <a:pt x="1046" y="7800"/>
                  </a:cubicBezTo>
                  <a:cubicBezTo>
                    <a:pt x="1102" y="7778"/>
                    <a:pt x="1102" y="7778"/>
                    <a:pt x="1102" y="7778"/>
                  </a:cubicBezTo>
                  <a:cubicBezTo>
                    <a:pt x="1068" y="7679"/>
                    <a:pt x="1068" y="7679"/>
                    <a:pt x="1068" y="7679"/>
                  </a:cubicBezTo>
                  <a:cubicBezTo>
                    <a:pt x="977" y="7716"/>
                    <a:pt x="977" y="7716"/>
                    <a:pt x="977" y="7716"/>
                  </a:cubicBezTo>
                  <a:cubicBezTo>
                    <a:pt x="992" y="7759"/>
                    <a:pt x="992" y="7759"/>
                    <a:pt x="992" y="7759"/>
                  </a:cubicBezTo>
                  <a:cubicBezTo>
                    <a:pt x="937" y="7785"/>
                    <a:pt x="937" y="7785"/>
                    <a:pt x="937" y="7785"/>
                  </a:cubicBezTo>
                  <a:lnTo>
                    <a:pt x="968" y="7880"/>
                  </a:lnTo>
                  <a:close/>
                  <a:moveTo>
                    <a:pt x="1005" y="7755"/>
                  </a:moveTo>
                  <a:cubicBezTo>
                    <a:pt x="994" y="7724"/>
                    <a:pt x="994" y="7724"/>
                    <a:pt x="994" y="7724"/>
                  </a:cubicBezTo>
                  <a:cubicBezTo>
                    <a:pt x="1059" y="7698"/>
                    <a:pt x="1059" y="7698"/>
                    <a:pt x="1059" y="7698"/>
                  </a:cubicBezTo>
                  <a:cubicBezTo>
                    <a:pt x="1084" y="7770"/>
                    <a:pt x="1084" y="7770"/>
                    <a:pt x="1084" y="7770"/>
                  </a:cubicBezTo>
                  <a:cubicBezTo>
                    <a:pt x="1041" y="7787"/>
                    <a:pt x="1041" y="7787"/>
                    <a:pt x="1041" y="7787"/>
                  </a:cubicBezTo>
                  <a:cubicBezTo>
                    <a:pt x="1029" y="7792"/>
                    <a:pt x="1029" y="7792"/>
                    <a:pt x="1029" y="7792"/>
                  </a:cubicBezTo>
                  <a:cubicBezTo>
                    <a:pt x="1033" y="7805"/>
                    <a:pt x="1033" y="7805"/>
                    <a:pt x="1033" y="7805"/>
                  </a:cubicBezTo>
                  <a:cubicBezTo>
                    <a:pt x="1040" y="7825"/>
                    <a:pt x="1040" y="7825"/>
                    <a:pt x="1040" y="7825"/>
                  </a:cubicBezTo>
                  <a:cubicBezTo>
                    <a:pt x="1045" y="7837"/>
                    <a:pt x="1045" y="7837"/>
                    <a:pt x="1045" y="7837"/>
                  </a:cubicBezTo>
                  <a:cubicBezTo>
                    <a:pt x="1058" y="7833"/>
                    <a:pt x="1058" y="7833"/>
                    <a:pt x="1058" y="7833"/>
                  </a:cubicBezTo>
                  <a:cubicBezTo>
                    <a:pt x="1075" y="7827"/>
                    <a:pt x="1075" y="7827"/>
                    <a:pt x="1075" y="7827"/>
                  </a:cubicBezTo>
                  <a:cubicBezTo>
                    <a:pt x="1100" y="7900"/>
                    <a:pt x="1100" y="7900"/>
                    <a:pt x="1100" y="7900"/>
                  </a:cubicBezTo>
                  <a:cubicBezTo>
                    <a:pt x="1054" y="7920"/>
                    <a:pt x="1054" y="7920"/>
                    <a:pt x="1054" y="7920"/>
                  </a:cubicBezTo>
                  <a:cubicBezTo>
                    <a:pt x="1043" y="7925"/>
                    <a:pt x="1043" y="7925"/>
                    <a:pt x="1043" y="7925"/>
                  </a:cubicBezTo>
                  <a:cubicBezTo>
                    <a:pt x="1046" y="7937"/>
                    <a:pt x="1046" y="7937"/>
                    <a:pt x="1046" y="7937"/>
                  </a:cubicBezTo>
                  <a:cubicBezTo>
                    <a:pt x="1056" y="7966"/>
                    <a:pt x="1056" y="7966"/>
                    <a:pt x="1056" y="7966"/>
                  </a:cubicBezTo>
                  <a:cubicBezTo>
                    <a:pt x="993" y="7991"/>
                    <a:pt x="993" y="7991"/>
                    <a:pt x="993" y="7991"/>
                  </a:cubicBezTo>
                  <a:cubicBezTo>
                    <a:pt x="968" y="7922"/>
                    <a:pt x="968" y="7922"/>
                    <a:pt x="968" y="7922"/>
                  </a:cubicBezTo>
                  <a:cubicBezTo>
                    <a:pt x="1012" y="7902"/>
                    <a:pt x="1012" y="7902"/>
                    <a:pt x="1012" y="7902"/>
                  </a:cubicBezTo>
                  <a:cubicBezTo>
                    <a:pt x="1024" y="7897"/>
                    <a:pt x="1024" y="7897"/>
                    <a:pt x="1024" y="7897"/>
                  </a:cubicBezTo>
                  <a:cubicBezTo>
                    <a:pt x="1020" y="7885"/>
                    <a:pt x="1020" y="7885"/>
                    <a:pt x="1020" y="7885"/>
                  </a:cubicBezTo>
                  <a:cubicBezTo>
                    <a:pt x="1013" y="7867"/>
                    <a:pt x="1013" y="7867"/>
                    <a:pt x="1013" y="7867"/>
                  </a:cubicBezTo>
                  <a:cubicBezTo>
                    <a:pt x="1009" y="7854"/>
                    <a:pt x="1009" y="7854"/>
                    <a:pt x="1009" y="7854"/>
                  </a:cubicBezTo>
                  <a:cubicBezTo>
                    <a:pt x="996" y="7858"/>
                    <a:pt x="996" y="7858"/>
                    <a:pt x="996" y="7858"/>
                  </a:cubicBezTo>
                  <a:cubicBezTo>
                    <a:pt x="977" y="7863"/>
                    <a:pt x="977" y="7863"/>
                    <a:pt x="977" y="7863"/>
                  </a:cubicBezTo>
                  <a:cubicBezTo>
                    <a:pt x="954" y="7792"/>
                    <a:pt x="954" y="7792"/>
                    <a:pt x="954" y="7792"/>
                  </a:cubicBezTo>
                  <a:cubicBezTo>
                    <a:pt x="998" y="7772"/>
                    <a:pt x="998" y="7772"/>
                    <a:pt x="998" y="7772"/>
                  </a:cubicBezTo>
                  <a:cubicBezTo>
                    <a:pt x="1009" y="7767"/>
                    <a:pt x="1009" y="7767"/>
                    <a:pt x="1009" y="7767"/>
                  </a:cubicBezTo>
                  <a:lnTo>
                    <a:pt x="1005" y="7755"/>
                  </a:lnTo>
                  <a:close/>
                  <a:moveTo>
                    <a:pt x="1124" y="7661"/>
                  </a:moveTo>
                  <a:cubicBezTo>
                    <a:pt x="1198" y="7865"/>
                    <a:pt x="1198" y="7865"/>
                    <a:pt x="1198" y="7865"/>
                  </a:cubicBezTo>
                  <a:cubicBezTo>
                    <a:pt x="1263" y="7819"/>
                    <a:pt x="1263" y="7819"/>
                    <a:pt x="1263" y="7819"/>
                  </a:cubicBezTo>
                  <a:cubicBezTo>
                    <a:pt x="1326" y="7724"/>
                    <a:pt x="1326" y="7724"/>
                    <a:pt x="1326" y="7724"/>
                  </a:cubicBezTo>
                  <a:cubicBezTo>
                    <a:pt x="1313" y="7649"/>
                    <a:pt x="1313" y="7649"/>
                    <a:pt x="1313" y="7649"/>
                  </a:cubicBezTo>
                  <a:cubicBezTo>
                    <a:pt x="1345" y="7604"/>
                    <a:pt x="1345" y="7604"/>
                    <a:pt x="1345" y="7604"/>
                  </a:cubicBezTo>
                  <a:cubicBezTo>
                    <a:pt x="1419" y="7604"/>
                    <a:pt x="1419" y="7604"/>
                    <a:pt x="1419" y="7604"/>
                  </a:cubicBezTo>
                  <a:cubicBezTo>
                    <a:pt x="1506" y="7478"/>
                    <a:pt x="1506" y="7478"/>
                    <a:pt x="1506" y="7478"/>
                  </a:cubicBezTo>
                  <a:cubicBezTo>
                    <a:pt x="1363" y="7385"/>
                    <a:pt x="1363" y="7385"/>
                    <a:pt x="1363" y="7385"/>
                  </a:cubicBezTo>
                  <a:cubicBezTo>
                    <a:pt x="1245" y="7524"/>
                    <a:pt x="1245" y="7524"/>
                    <a:pt x="1245" y="7524"/>
                  </a:cubicBezTo>
                  <a:cubicBezTo>
                    <a:pt x="1042" y="7350"/>
                    <a:pt x="1042" y="7350"/>
                    <a:pt x="1042" y="7350"/>
                  </a:cubicBezTo>
                  <a:cubicBezTo>
                    <a:pt x="976" y="7531"/>
                    <a:pt x="976" y="7531"/>
                    <a:pt x="976" y="7531"/>
                  </a:cubicBezTo>
                  <a:lnTo>
                    <a:pt x="1124" y="7661"/>
                  </a:lnTo>
                  <a:close/>
                  <a:moveTo>
                    <a:pt x="1048" y="7374"/>
                  </a:moveTo>
                  <a:cubicBezTo>
                    <a:pt x="1236" y="7534"/>
                    <a:pt x="1236" y="7534"/>
                    <a:pt x="1236" y="7534"/>
                  </a:cubicBezTo>
                  <a:cubicBezTo>
                    <a:pt x="1247" y="7543"/>
                    <a:pt x="1247" y="7543"/>
                    <a:pt x="1247" y="7543"/>
                  </a:cubicBezTo>
                  <a:cubicBezTo>
                    <a:pt x="1256" y="7533"/>
                    <a:pt x="1256" y="7533"/>
                    <a:pt x="1256" y="7533"/>
                  </a:cubicBezTo>
                  <a:cubicBezTo>
                    <a:pt x="1366" y="7403"/>
                    <a:pt x="1366" y="7403"/>
                    <a:pt x="1366" y="7403"/>
                  </a:cubicBezTo>
                  <a:cubicBezTo>
                    <a:pt x="1487" y="7482"/>
                    <a:pt x="1487" y="7482"/>
                    <a:pt x="1487" y="7482"/>
                  </a:cubicBezTo>
                  <a:cubicBezTo>
                    <a:pt x="1412" y="7590"/>
                    <a:pt x="1412" y="7590"/>
                    <a:pt x="1412" y="7590"/>
                  </a:cubicBezTo>
                  <a:cubicBezTo>
                    <a:pt x="1345" y="7590"/>
                    <a:pt x="1345" y="7590"/>
                    <a:pt x="1345" y="7590"/>
                  </a:cubicBezTo>
                  <a:cubicBezTo>
                    <a:pt x="1337" y="7590"/>
                    <a:pt x="1337" y="7590"/>
                    <a:pt x="1337" y="7590"/>
                  </a:cubicBezTo>
                  <a:cubicBezTo>
                    <a:pt x="1333" y="7596"/>
                    <a:pt x="1333" y="7596"/>
                    <a:pt x="1333" y="7596"/>
                  </a:cubicBezTo>
                  <a:cubicBezTo>
                    <a:pt x="1301" y="7641"/>
                    <a:pt x="1301" y="7641"/>
                    <a:pt x="1301" y="7641"/>
                  </a:cubicBezTo>
                  <a:cubicBezTo>
                    <a:pt x="1298" y="7645"/>
                    <a:pt x="1298" y="7645"/>
                    <a:pt x="1298" y="7645"/>
                  </a:cubicBezTo>
                  <a:cubicBezTo>
                    <a:pt x="1299" y="7651"/>
                    <a:pt x="1299" y="7651"/>
                    <a:pt x="1299" y="7651"/>
                  </a:cubicBezTo>
                  <a:cubicBezTo>
                    <a:pt x="1311" y="7721"/>
                    <a:pt x="1311" y="7721"/>
                    <a:pt x="1311" y="7721"/>
                  </a:cubicBezTo>
                  <a:cubicBezTo>
                    <a:pt x="1253" y="7809"/>
                    <a:pt x="1253" y="7809"/>
                    <a:pt x="1253" y="7809"/>
                  </a:cubicBezTo>
                  <a:cubicBezTo>
                    <a:pt x="1205" y="7843"/>
                    <a:pt x="1205" y="7843"/>
                    <a:pt x="1205" y="7843"/>
                  </a:cubicBezTo>
                  <a:cubicBezTo>
                    <a:pt x="1137" y="7657"/>
                    <a:pt x="1137" y="7657"/>
                    <a:pt x="1137" y="7657"/>
                  </a:cubicBezTo>
                  <a:cubicBezTo>
                    <a:pt x="1136" y="7653"/>
                    <a:pt x="1136" y="7653"/>
                    <a:pt x="1136" y="7653"/>
                  </a:cubicBezTo>
                  <a:cubicBezTo>
                    <a:pt x="1133" y="7651"/>
                    <a:pt x="1133" y="7651"/>
                    <a:pt x="1133" y="7651"/>
                  </a:cubicBezTo>
                  <a:cubicBezTo>
                    <a:pt x="992" y="7527"/>
                    <a:pt x="992" y="7527"/>
                    <a:pt x="992" y="7527"/>
                  </a:cubicBezTo>
                  <a:lnTo>
                    <a:pt x="1048" y="7374"/>
                  </a:lnTo>
                  <a:close/>
                  <a:moveTo>
                    <a:pt x="1298" y="7387"/>
                  </a:moveTo>
                  <a:cubicBezTo>
                    <a:pt x="1165" y="7268"/>
                    <a:pt x="1165" y="7268"/>
                    <a:pt x="1165" y="7268"/>
                  </a:cubicBezTo>
                  <a:cubicBezTo>
                    <a:pt x="1110" y="7335"/>
                    <a:pt x="1110" y="7335"/>
                    <a:pt x="1110" y="7335"/>
                  </a:cubicBezTo>
                  <a:cubicBezTo>
                    <a:pt x="1110" y="7335"/>
                    <a:pt x="1239" y="7451"/>
                    <a:pt x="1241" y="7451"/>
                  </a:cubicBezTo>
                  <a:lnTo>
                    <a:pt x="1298" y="7387"/>
                  </a:lnTo>
                  <a:close/>
                  <a:moveTo>
                    <a:pt x="1129" y="7334"/>
                  </a:moveTo>
                  <a:cubicBezTo>
                    <a:pt x="1167" y="7288"/>
                    <a:pt x="1167" y="7288"/>
                    <a:pt x="1167" y="7288"/>
                  </a:cubicBezTo>
                  <a:cubicBezTo>
                    <a:pt x="1279" y="7388"/>
                    <a:pt x="1279" y="7388"/>
                    <a:pt x="1279" y="7388"/>
                  </a:cubicBezTo>
                  <a:cubicBezTo>
                    <a:pt x="1240" y="7432"/>
                    <a:pt x="1240" y="7432"/>
                    <a:pt x="1240" y="7432"/>
                  </a:cubicBezTo>
                  <a:cubicBezTo>
                    <a:pt x="1219" y="7413"/>
                    <a:pt x="1167" y="7368"/>
                    <a:pt x="1129" y="7334"/>
                  </a:cubicBezTo>
                  <a:close/>
                  <a:moveTo>
                    <a:pt x="1762" y="7627"/>
                  </a:moveTo>
                  <a:cubicBezTo>
                    <a:pt x="1765" y="7627"/>
                    <a:pt x="1741" y="7667"/>
                    <a:pt x="1741" y="7667"/>
                  </a:cubicBezTo>
                  <a:cubicBezTo>
                    <a:pt x="1733" y="7730"/>
                    <a:pt x="1733" y="7730"/>
                    <a:pt x="1733" y="7730"/>
                  </a:cubicBezTo>
                  <a:cubicBezTo>
                    <a:pt x="1813" y="7736"/>
                    <a:pt x="1813" y="7736"/>
                    <a:pt x="1813" y="7736"/>
                  </a:cubicBezTo>
                  <a:cubicBezTo>
                    <a:pt x="1825" y="7570"/>
                    <a:pt x="1825" y="7570"/>
                    <a:pt x="1825" y="7570"/>
                  </a:cubicBezTo>
                  <a:cubicBezTo>
                    <a:pt x="1764" y="7498"/>
                    <a:pt x="1764" y="7498"/>
                    <a:pt x="1764" y="7498"/>
                  </a:cubicBezTo>
                  <a:cubicBezTo>
                    <a:pt x="1764" y="7498"/>
                    <a:pt x="1730" y="7596"/>
                    <a:pt x="1733" y="7596"/>
                  </a:cubicBezTo>
                  <a:cubicBezTo>
                    <a:pt x="1736" y="7596"/>
                    <a:pt x="1759" y="7627"/>
                    <a:pt x="1762" y="7627"/>
                  </a:cubicBezTo>
                  <a:close/>
                  <a:moveTo>
                    <a:pt x="1769" y="7526"/>
                  </a:moveTo>
                  <a:cubicBezTo>
                    <a:pt x="1811" y="7574"/>
                    <a:pt x="1811" y="7574"/>
                    <a:pt x="1811" y="7574"/>
                  </a:cubicBezTo>
                  <a:cubicBezTo>
                    <a:pt x="1800" y="7721"/>
                    <a:pt x="1800" y="7721"/>
                    <a:pt x="1800" y="7721"/>
                  </a:cubicBezTo>
                  <a:cubicBezTo>
                    <a:pt x="1749" y="7717"/>
                    <a:pt x="1749" y="7717"/>
                    <a:pt x="1749" y="7717"/>
                  </a:cubicBezTo>
                  <a:cubicBezTo>
                    <a:pt x="1755" y="7672"/>
                    <a:pt x="1755" y="7672"/>
                    <a:pt x="1755" y="7672"/>
                  </a:cubicBezTo>
                  <a:cubicBezTo>
                    <a:pt x="1779" y="7630"/>
                    <a:pt x="1778" y="7627"/>
                    <a:pt x="1774" y="7620"/>
                  </a:cubicBezTo>
                  <a:cubicBezTo>
                    <a:pt x="1770" y="7613"/>
                    <a:pt x="1770" y="7613"/>
                    <a:pt x="1770" y="7613"/>
                  </a:cubicBezTo>
                  <a:cubicBezTo>
                    <a:pt x="1767" y="7613"/>
                    <a:pt x="1767" y="7613"/>
                    <a:pt x="1767" y="7613"/>
                  </a:cubicBezTo>
                  <a:cubicBezTo>
                    <a:pt x="1764" y="7610"/>
                    <a:pt x="1761" y="7606"/>
                    <a:pt x="1758" y="7603"/>
                  </a:cubicBezTo>
                  <a:cubicBezTo>
                    <a:pt x="1754" y="7598"/>
                    <a:pt x="1751" y="7594"/>
                    <a:pt x="1748" y="7591"/>
                  </a:cubicBezTo>
                  <a:cubicBezTo>
                    <a:pt x="1751" y="7579"/>
                    <a:pt x="1760" y="7553"/>
                    <a:pt x="1769" y="7526"/>
                  </a:cubicBezTo>
                  <a:close/>
                  <a:moveTo>
                    <a:pt x="2964" y="7817"/>
                  </a:moveTo>
                  <a:cubicBezTo>
                    <a:pt x="2705" y="8001"/>
                    <a:pt x="2705" y="8001"/>
                    <a:pt x="2705" y="8001"/>
                  </a:cubicBezTo>
                  <a:cubicBezTo>
                    <a:pt x="2705" y="8001"/>
                    <a:pt x="3038" y="8436"/>
                    <a:pt x="3037" y="8436"/>
                  </a:cubicBezTo>
                  <a:cubicBezTo>
                    <a:pt x="3036" y="8436"/>
                    <a:pt x="3160" y="8352"/>
                    <a:pt x="3160" y="8352"/>
                  </a:cubicBezTo>
                  <a:cubicBezTo>
                    <a:pt x="3089" y="8219"/>
                    <a:pt x="3089" y="8219"/>
                    <a:pt x="3089" y="8219"/>
                  </a:cubicBezTo>
                  <a:cubicBezTo>
                    <a:pt x="3050" y="8286"/>
                    <a:pt x="3050" y="8286"/>
                    <a:pt x="3050" y="8286"/>
                  </a:cubicBezTo>
                  <a:cubicBezTo>
                    <a:pt x="2842" y="8028"/>
                    <a:pt x="2842" y="8028"/>
                    <a:pt x="2842" y="8028"/>
                  </a:cubicBezTo>
                  <a:cubicBezTo>
                    <a:pt x="2972" y="7931"/>
                    <a:pt x="2972" y="7931"/>
                    <a:pt x="2972" y="7931"/>
                  </a:cubicBezTo>
                  <a:cubicBezTo>
                    <a:pt x="3203" y="8161"/>
                    <a:pt x="3203" y="8161"/>
                    <a:pt x="3203" y="8161"/>
                  </a:cubicBezTo>
                  <a:cubicBezTo>
                    <a:pt x="3149" y="8187"/>
                    <a:pt x="3149" y="8187"/>
                    <a:pt x="3149" y="8187"/>
                  </a:cubicBezTo>
                  <a:cubicBezTo>
                    <a:pt x="3214" y="8306"/>
                    <a:pt x="3214" y="8306"/>
                    <a:pt x="3214" y="8306"/>
                  </a:cubicBezTo>
                  <a:cubicBezTo>
                    <a:pt x="3319" y="8152"/>
                    <a:pt x="3319" y="8152"/>
                    <a:pt x="3319" y="8152"/>
                  </a:cubicBezTo>
                  <a:cubicBezTo>
                    <a:pt x="3317" y="8151"/>
                    <a:pt x="2964" y="7817"/>
                    <a:pt x="2964" y="7817"/>
                  </a:cubicBezTo>
                  <a:close/>
                  <a:moveTo>
                    <a:pt x="3169" y="8193"/>
                  </a:moveTo>
                  <a:cubicBezTo>
                    <a:pt x="3209" y="8174"/>
                    <a:pt x="3209" y="8174"/>
                    <a:pt x="3209" y="8174"/>
                  </a:cubicBezTo>
                  <a:cubicBezTo>
                    <a:pt x="3226" y="8165"/>
                    <a:pt x="3226" y="8165"/>
                    <a:pt x="3226" y="8165"/>
                  </a:cubicBezTo>
                  <a:cubicBezTo>
                    <a:pt x="3212" y="8151"/>
                    <a:pt x="3212" y="8151"/>
                    <a:pt x="3212" y="8151"/>
                  </a:cubicBezTo>
                  <a:cubicBezTo>
                    <a:pt x="2982" y="7922"/>
                    <a:pt x="2982" y="7922"/>
                    <a:pt x="2982" y="7922"/>
                  </a:cubicBezTo>
                  <a:cubicBezTo>
                    <a:pt x="2973" y="7913"/>
                    <a:pt x="2973" y="7913"/>
                    <a:pt x="2973" y="7913"/>
                  </a:cubicBezTo>
                  <a:cubicBezTo>
                    <a:pt x="2964" y="7920"/>
                    <a:pt x="2964" y="7920"/>
                    <a:pt x="2964" y="7920"/>
                  </a:cubicBezTo>
                  <a:cubicBezTo>
                    <a:pt x="2834" y="8017"/>
                    <a:pt x="2834" y="8017"/>
                    <a:pt x="2834" y="8017"/>
                  </a:cubicBezTo>
                  <a:cubicBezTo>
                    <a:pt x="2822" y="8025"/>
                    <a:pt x="2822" y="8025"/>
                    <a:pt x="2822" y="8025"/>
                  </a:cubicBezTo>
                  <a:cubicBezTo>
                    <a:pt x="2831" y="8036"/>
                    <a:pt x="2831" y="8036"/>
                    <a:pt x="2831" y="8036"/>
                  </a:cubicBezTo>
                  <a:cubicBezTo>
                    <a:pt x="3039" y="8295"/>
                    <a:pt x="3039" y="8295"/>
                    <a:pt x="3039" y="8295"/>
                  </a:cubicBezTo>
                  <a:cubicBezTo>
                    <a:pt x="3052" y="8311"/>
                    <a:pt x="3052" y="8311"/>
                    <a:pt x="3052" y="8311"/>
                  </a:cubicBezTo>
                  <a:cubicBezTo>
                    <a:pt x="3062" y="8293"/>
                    <a:pt x="3062" y="8293"/>
                    <a:pt x="3062" y="8293"/>
                  </a:cubicBezTo>
                  <a:cubicBezTo>
                    <a:pt x="3088" y="8248"/>
                    <a:pt x="3088" y="8248"/>
                    <a:pt x="3088" y="8248"/>
                  </a:cubicBezTo>
                  <a:cubicBezTo>
                    <a:pt x="3141" y="8347"/>
                    <a:pt x="3141" y="8347"/>
                    <a:pt x="3141" y="8347"/>
                  </a:cubicBezTo>
                  <a:cubicBezTo>
                    <a:pt x="3082" y="8387"/>
                    <a:pt x="3054" y="8407"/>
                    <a:pt x="3040" y="8416"/>
                  </a:cubicBezTo>
                  <a:cubicBezTo>
                    <a:pt x="3018" y="8388"/>
                    <a:pt x="2949" y="8297"/>
                    <a:pt x="2724" y="8004"/>
                  </a:cubicBezTo>
                  <a:cubicBezTo>
                    <a:pt x="2963" y="7835"/>
                    <a:pt x="2963" y="7835"/>
                    <a:pt x="2963" y="7835"/>
                  </a:cubicBezTo>
                  <a:cubicBezTo>
                    <a:pt x="3203" y="8062"/>
                    <a:pt x="3277" y="8132"/>
                    <a:pt x="3301" y="8154"/>
                  </a:cubicBezTo>
                  <a:cubicBezTo>
                    <a:pt x="3215" y="8279"/>
                    <a:pt x="3215" y="8279"/>
                    <a:pt x="3215" y="8279"/>
                  </a:cubicBezTo>
                  <a:lnTo>
                    <a:pt x="3169" y="8193"/>
                  </a:lnTo>
                  <a:close/>
                  <a:moveTo>
                    <a:pt x="2511" y="8239"/>
                  </a:moveTo>
                  <a:cubicBezTo>
                    <a:pt x="2369" y="8061"/>
                    <a:pt x="2369" y="8061"/>
                    <a:pt x="2369" y="8061"/>
                  </a:cubicBezTo>
                  <a:cubicBezTo>
                    <a:pt x="2310" y="8104"/>
                    <a:pt x="2310" y="8104"/>
                    <a:pt x="2310" y="8104"/>
                  </a:cubicBezTo>
                  <a:cubicBezTo>
                    <a:pt x="2443" y="8365"/>
                    <a:pt x="2443" y="8365"/>
                    <a:pt x="2443" y="8365"/>
                  </a:cubicBezTo>
                  <a:cubicBezTo>
                    <a:pt x="2621" y="8295"/>
                    <a:pt x="2621" y="8295"/>
                    <a:pt x="2621" y="8295"/>
                  </a:cubicBezTo>
                  <a:cubicBezTo>
                    <a:pt x="2595" y="8214"/>
                    <a:pt x="2595" y="8214"/>
                    <a:pt x="2595" y="8214"/>
                  </a:cubicBezTo>
                  <a:lnTo>
                    <a:pt x="2511" y="8239"/>
                  </a:lnTo>
                  <a:close/>
                  <a:moveTo>
                    <a:pt x="2450" y="8347"/>
                  </a:moveTo>
                  <a:cubicBezTo>
                    <a:pt x="2328" y="8108"/>
                    <a:pt x="2328" y="8108"/>
                    <a:pt x="2328" y="8108"/>
                  </a:cubicBezTo>
                  <a:cubicBezTo>
                    <a:pt x="2367" y="8080"/>
                    <a:pt x="2367" y="8080"/>
                    <a:pt x="2367" y="8080"/>
                  </a:cubicBezTo>
                  <a:cubicBezTo>
                    <a:pt x="2500" y="8248"/>
                    <a:pt x="2500" y="8248"/>
                    <a:pt x="2500" y="8248"/>
                  </a:cubicBezTo>
                  <a:cubicBezTo>
                    <a:pt x="2506" y="8255"/>
                    <a:pt x="2506" y="8255"/>
                    <a:pt x="2506" y="8255"/>
                  </a:cubicBezTo>
                  <a:cubicBezTo>
                    <a:pt x="2515" y="8252"/>
                    <a:pt x="2515" y="8252"/>
                    <a:pt x="2515" y="8252"/>
                  </a:cubicBezTo>
                  <a:cubicBezTo>
                    <a:pt x="2586" y="8232"/>
                    <a:pt x="2586" y="8232"/>
                    <a:pt x="2586" y="8232"/>
                  </a:cubicBezTo>
                  <a:cubicBezTo>
                    <a:pt x="2603" y="8287"/>
                    <a:pt x="2603" y="8287"/>
                    <a:pt x="2603" y="8287"/>
                  </a:cubicBezTo>
                  <a:lnTo>
                    <a:pt x="2450" y="8347"/>
                  </a:lnTo>
                  <a:close/>
                  <a:moveTo>
                    <a:pt x="1046" y="7515"/>
                  </a:moveTo>
                  <a:cubicBezTo>
                    <a:pt x="1167" y="7623"/>
                    <a:pt x="1167" y="7623"/>
                    <a:pt x="1167" y="7623"/>
                  </a:cubicBezTo>
                  <a:cubicBezTo>
                    <a:pt x="1182" y="7636"/>
                    <a:pt x="1182" y="7636"/>
                    <a:pt x="1182" y="7636"/>
                  </a:cubicBezTo>
                  <a:cubicBezTo>
                    <a:pt x="1189" y="7618"/>
                    <a:pt x="1189" y="7618"/>
                    <a:pt x="1189" y="7618"/>
                  </a:cubicBezTo>
                  <a:cubicBezTo>
                    <a:pt x="1208" y="7569"/>
                    <a:pt x="1208" y="7569"/>
                    <a:pt x="1208" y="7569"/>
                  </a:cubicBezTo>
                  <a:cubicBezTo>
                    <a:pt x="1212" y="7559"/>
                    <a:pt x="1212" y="7559"/>
                    <a:pt x="1212" y="7559"/>
                  </a:cubicBezTo>
                  <a:cubicBezTo>
                    <a:pt x="1204" y="7553"/>
                    <a:pt x="1204" y="7553"/>
                    <a:pt x="1204" y="7553"/>
                  </a:cubicBezTo>
                  <a:cubicBezTo>
                    <a:pt x="1080" y="7444"/>
                    <a:pt x="1080" y="7444"/>
                    <a:pt x="1080" y="7444"/>
                  </a:cubicBezTo>
                  <a:cubicBezTo>
                    <a:pt x="1064" y="7430"/>
                    <a:pt x="1064" y="7430"/>
                    <a:pt x="1064" y="7430"/>
                  </a:cubicBezTo>
                  <a:cubicBezTo>
                    <a:pt x="1058" y="7451"/>
                    <a:pt x="1058" y="7451"/>
                    <a:pt x="1058" y="7451"/>
                  </a:cubicBezTo>
                  <a:cubicBezTo>
                    <a:pt x="1042" y="7500"/>
                    <a:pt x="1042" y="7500"/>
                    <a:pt x="1042" y="7500"/>
                  </a:cubicBezTo>
                  <a:cubicBezTo>
                    <a:pt x="1039" y="7509"/>
                    <a:pt x="1039" y="7509"/>
                    <a:pt x="1039" y="7509"/>
                  </a:cubicBezTo>
                  <a:lnTo>
                    <a:pt x="1046" y="7515"/>
                  </a:lnTo>
                  <a:close/>
                  <a:moveTo>
                    <a:pt x="1071" y="7455"/>
                  </a:moveTo>
                  <a:cubicBezTo>
                    <a:pt x="1195" y="7563"/>
                    <a:pt x="1195" y="7563"/>
                    <a:pt x="1195" y="7563"/>
                  </a:cubicBezTo>
                  <a:cubicBezTo>
                    <a:pt x="1176" y="7613"/>
                    <a:pt x="1176" y="7613"/>
                    <a:pt x="1176" y="7613"/>
                  </a:cubicBezTo>
                  <a:cubicBezTo>
                    <a:pt x="1055" y="7505"/>
                    <a:pt x="1055" y="7505"/>
                    <a:pt x="1055" y="7505"/>
                  </a:cubicBezTo>
                  <a:lnTo>
                    <a:pt x="1071" y="7455"/>
                  </a:lnTo>
                  <a:close/>
                  <a:moveTo>
                    <a:pt x="2662" y="8055"/>
                  </a:moveTo>
                  <a:cubicBezTo>
                    <a:pt x="2476" y="8107"/>
                    <a:pt x="2476" y="8107"/>
                    <a:pt x="2476" y="8107"/>
                  </a:cubicBezTo>
                  <a:cubicBezTo>
                    <a:pt x="2542" y="8188"/>
                    <a:pt x="2542" y="8188"/>
                    <a:pt x="2542" y="8188"/>
                  </a:cubicBezTo>
                  <a:cubicBezTo>
                    <a:pt x="2630" y="8166"/>
                    <a:pt x="2630" y="8166"/>
                    <a:pt x="2630" y="8166"/>
                  </a:cubicBezTo>
                  <a:cubicBezTo>
                    <a:pt x="2711" y="8389"/>
                    <a:pt x="2711" y="8389"/>
                    <a:pt x="2711" y="8389"/>
                  </a:cubicBezTo>
                  <a:cubicBezTo>
                    <a:pt x="2711" y="8389"/>
                    <a:pt x="2928" y="8431"/>
                    <a:pt x="2927" y="8431"/>
                  </a:cubicBezTo>
                  <a:lnTo>
                    <a:pt x="2662" y="8055"/>
                  </a:lnTo>
                  <a:close/>
                  <a:moveTo>
                    <a:pt x="2643" y="8161"/>
                  </a:moveTo>
                  <a:cubicBezTo>
                    <a:pt x="2639" y="8150"/>
                    <a:pt x="2639" y="8150"/>
                    <a:pt x="2639" y="8150"/>
                  </a:cubicBezTo>
                  <a:cubicBezTo>
                    <a:pt x="2626" y="8153"/>
                    <a:pt x="2626" y="8153"/>
                    <a:pt x="2626" y="8153"/>
                  </a:cubicBezTo>
                  <a:cubicBezTo>
                    <a:pt x="2547" y="8172"/>
                    <a:pt x="2547" y="8172"/>
                    <a:pt x="2547" y="8172"/>
                  </a:cubicBezTo>
                  <a:cubicBezTo>
                    <a:pt x="2500" y="8114"/>
                    <a:pt x="2500" y="8114"/>
                    <a:pt x="2500" y="8114"/>
                  </a:cubicBezTo>
                  <a:cubicBezTo>
                    <a:pt x="2656" y="8072"/>
                    <a:pt x="2656" y="8072"/>
                    <a:pt x="2656" y="8072"/>
                  </a:cubicBezTo>
                  <a:cubicBezTo>
                    <a:pt x="2895" y="8410"/>
                    <a:pt x="2895" y="8410"/>
                    <a:pt x="2895" y="8410"/>
                  </a:cubicBezTo>
                  <a:cubicBezTo>
                    <a:pt x="2867" y="8405"/>
                    <a:pt x="2815" y="8394"/>
                    <a:pt x="2721" y="8376"/>
                  </a:cubicBezTo>
                  <a:lnTo>
                    <a:pt x="2643" y="8161"/>
                  </a:lnTo>
                  <a:close/>
                  <a:moveTo>
                    <a:pt x="2163" y="8301"/>
                  </a:moveTo>
                  <a:cubicBezTo>
                    <a:pt x="2147" y="8267"/>
                    <a:pt x="2147" y="8267"/>
                    <a:pt x="2147" y="8267"/>
                  </a:cubicBezTo>
                  <a:cubicBezTo>
                    <a:pt x="2117" y="8285"/>
                    <a:pt x="2117" y="8285"/>
                    <a:pt x="2117" y="8285"/>
                  </a:cubicBezTo>
                  <a:cubicBezTo>
                    <a:pt x="2143" y="8333"/>
                    <a:pt x="2143" y="8333"/>
                    <a:pt x="2143" y="8333"/>
                  </a:cubicBezTo>
                  <a:cubicBezTo>
                    <a:pt x="2129" y="8343"/>
                    <a:pt x="2129" y="8343"/>
                    <a:pt x="2129" y="8343"/>
                  </a:cubicBezTo>
                  <a:cubicBezTo>
                    <a:pt x="2136" y="8372"/>
                    <a:pt x="2136" y="8372"/>
                    <a:pt x="2136" y="8372"/>
                  </a:cubicBezTo>
                  <a:cubicBezTo>
                    <a:pt x="2019" y="8426"/>
                    <a:pt x="2019" y="8426"/>
                    <a:pt x="2019" y="8426"/>
                  </a:cubicBezTo>
                  <a:cubicBezTo>
                    <a:pt x="2072" y="8538"/>
                    <a:pt x="2072" y="8538"/>
                    <a:pt x="2072" y="8538"/>
                  </a:cubicBezTo>
                  <a:cubicBezTo>
                    <a:pt x="2347" y="8404"/>
                    <a:pt x="2347" y="8404"/>
                    <a:pt x="2347" y="8404"/>
                  </a:cubicBezTo>
                  <a:cubicBezTo>
                    <a:pt x="2294" y="8297"/>
                    <a:pt x="2294" y="8297"/>
                    <a:pt x="2294" y="8297"/>
                  </a:cubicBezTo>
                  <a:cubicBezTo>
                    <a:pt x="2270" y="8307"/>
                    <a:pt x="2270" y="8307"/>
                    <a:pt x="2270" y="8307"/>
                  </a:cubicBezTo>
                  <a:cubicBezTo>
                    <a:pt x="2247" y="8262"/>
                    <a:pt x="2247" y="8262"/>
                    <a:pt x="2247" y="8262"/>
                  </a:cubicBezTo>
                  <a:lnTo>
                    <a:pt x="2163" y="8301"/>
                  </a:lnTo>
                  <a:close/>
                  <a:moveTo>
                    <a:pt x="2263" y="8324"/>
                  </a:moveTo>
                  <a:cubicBezTo>
                    <a:pt x="2275" y="8320"/>
                    <a:pt x="2275" y="8320"/>
                    <a:pt x="2275" y="8320"/>
                  </a:cubicBezTo>
                  <a:cubicBezTo>
                    <a:pt x="2287" y="8315"/>
                    <a:pt x="2287" y="8315"/>
                    <a:pt x="2287" y="8315"/>
                  </a:cubicBezTo>
                  <a:cubicBezTo>
                    <a:pt x="2328" y="8397"/>
                    <a:pt x="2328" y="8397"/>
                    <a:pt x="2328" y="8397"/>
                  </a:cubicBezTo>
                  <a:cubicBezTo>
                    <a:pt x="2079" y="8519"/>
                    <a:pt x="2079" y="8519"/>
                    <a:pt x="2079" y="8519"/>
                  </a:cubicBezTo>
                  <a:cubicBezTo>
                    <a:pt x="2038" y="8433"/>
                    <a:pt x="2038" y="8433"/>
                    <a:pt x="2038" y="8433"/>
                  </a:cubicBezTo>
                  <a:cubicBezTo>
                    <a:pt x="2142" y="8385"/>
                    <a:pt x="2142" y="8385"/>
                    <a:pt x="2142" y="8385"/>
                  </a:cubicBezTo>
                  <a:cubicBezTo>
                    <a:pt x="2152" y="8380"/>
                    <a:pt x="2152" y="8380"/>
                    <a:pt x="2152" y="8380"/>
                  </a:cubicBezTo>
                  <a:cubicBezTo>
                    <a:pt x="2149" y="8369"/>
                    <a:pt x="2149" y="8369"/>
                    <a:pt x="2149" y="8369"/>
                  </a:cubicBezTo>
                  <a:cubicBezTo>
                    <a:pt x="2144" y="8349"/>
                    <a:pt x="2144" y="8349"/>
                    <a:pt x="2144" y="8349"/>
                  </a:cubicBezTo>
                  <a:cubicBezTo>
                    <a:pt x="2151" y="8345"/>
                    <a:pt x="2151" y="8345"/>
                    <a:pt x="2151" y="8345"/>
                  </a:cubicBezTo>
                  <a:cubicBezTo>
                    <a:pt x="2161" y="8337"/>
                    <a:pt x="2161" y="8337"/>
                    <a:pt x="2161" y="8337"/>
                  </a:cubicBezTo>
                  <a:cubicBezTo>
                    <a:pt x="2155" y="8327"/>
                    <a:pt x="2155" y="8327"/>
                    <a:pt x="2155" y="8327"/>
                  </a:cubicBezTo>
                  <a:cubicBezTo>
                    <a:pt x="2136" y="8290"/>
                    <a:pt x="2136" y="8290"/>
                    <a:pt x="2136" y="8290"/>
                  </a:cubicBezTo>
                  <a:cubicBezTo>
                    <a:pt x="2141" y="8287"/>
                    <a:pt x="2141" y="8287"/>
                    <a:pt x="2141" y="8287"/>
                  </a:cubicBezTo>
                  <a:cubicBezTo>
                    <a:pt x="2151" y="8307"/>
                    <a:pt x="2151" y="8307"/>
                    <a:pt x="2151" y="8307"/>
                  </a:cubicBezTo>
                  <a:cubicBezTo>
                    <a:pt x="2157" y="8320"/>
                    <a:pt x="2157" y="8320"/>
                    <a:pt x="2157" y="8320"/>
                  </a:cubicBezTo>
                  <a:cubicBezTo>
                    <a:pt x="2169" y="8314"/>
                    <a:pt x="2169" y="8314"/>
                    <a:pt x="2169" y="8314"/>
                  </a:cubicBezTo>
                  <a:cubicBezTo>
                    <a:pt x="2241" y="8281"/>
                    <a:pt x="2241" y="8281"/>
                    <a:pt x="2241" y="8281"/>
                  </a:cubicBezTo>
                  <a:cubicBezTo>
                    <a:pt x="2258" y="8313"/>
                    <a:pt x="2258" y="8313"/>
                    <a:pt x="2258" y="8313"/>
                  </a:cubicBezTo>
                  <a:lnTo>
                    <a:pt x="2263" y="8324"/>
                  </a:lnTo>
                  <a:close/>
                  <a:moveTo>
                    <a:pt x="1241" y="8861"/>
                  </a:moveTo>
                  <a:cubicBezTo>
                    <a:pt x="1295" y="8793"/>
                    <a:pt x="1295" y="8793"/>
                    <a:pt x="1295" y="8793"/>
                  </a:cubicBezTo>
                  <a:cubicBezTo>
                    <a:pt x="1155" y="8683"/>
                    <a:pt x="1155" y="8683"/>
                    <a:pt x="1155" y="8683"/>
                  </a:cubicBezTo>
                  <a:cubicBezTo>
                    <a:pt x="1103" y="8750"/>
                    <a:pt x="1103" y="8750"/>
                    <a:pt x="1103" y="8750"/>
                  </a:cubicBezTo>
                  <a:lnTo>
                    <a:pt x="1241" y="8861"/>
                  </a:lnTo>
                  <a:close/>
                  <a:moveTo>
                    <a:pt x="1157" y="8702"/>
                  </a:moveTo>
                  <a:cubicBezTo>
                    <a:pt x="1275" y="8795"/>
                    <a:pt x="1275" y="8795"/>
                    <a:pt x="1275" y="8795"/>
                  </a:cubicBezTo>
                  <a:cubicBezTo>
                    <a:pt x="1238" y="8841"/>
                    <a:pt x="1238" y="8841"/>
                    <a:pt x="1238" y="8841"/>
                  </a:cubicBezTo>
                  <a:cubicBezTo>
                    <a:pt x="1123" y="8748"/>
                    <a:pt x="1123" y="8748"/>
                    <a:pt x="1123" y="8748"/>
                  </a:cubicBezTo>
                  <a:lnTo>
                    <a:pt x="1157" y="8702"/>
                  </a:lnTo>
                  <a:close/>
                  <a:moveTo>
                    <a:pt x="1092" y="8693"/>
                  </a:moveTo>
                  <a:cubicBezTo>
                    <a:pt x="1147" y="8625"/>
                    <a:pt x="1147" y="8625"/>
                    <a:pt x="1147" y="8625"/>
                  </a:cubicBezTo>
                  <a:cubicBezTo>
                    <a:pt x="1007" y="8515"/>
                    <a:pt x="1007" y="8515"/>
                    <a:pt x="1007" y="8515"/>
                  </a:cubicBezTo>
                  <a:cubicBezTo>
                    <a:pt x="955" y="8582"/>
                    <a:pt x="955" y="8582"/>
                    <a:pt x="955" y="8582"/>
                  </a:cubicBezTo>
                  <a:lnTo>
                    <a:pt x="1092" y="8693"/>
                  </a:lnTo>
                  <a:close/>
                  <a:moveTo>
                    <a:pt x="1009" y="8534"/>
                  </a:moveTo>
                  <a:cubicBezTo>
                    <a:pt x="1127" y="8627"/>
                    <a:pt x="1127" y="8627"/>
                    <a:pt x="1127" y="8627"/>
                  </a:cubicBezTo>
                  <a:cubicBezTo>
                    <a:pt x="1090" y="8674"/>
                    <a:pt x="1090" y="8674"/>
                    <a:pt x="1090" y="8674"/>
                  </a:cubicBezTo>
                  <a:cubicBezTo>
                    <a:pt x="975" y="8580"/>
                    <a:pt x="975" y="8580"/>
                    <a:pt x="975" y="8580"/>
                  </a:cubicBezTo>
                  <a:lnTo>
                    <a:pt x="1009" y="8534"/>
                  </a:lnTo>
                  <a:close/>
                  <a:moveTo>
                    <a:pt x="1534" y="8065"/>
                  </a:moveTo>
                  <a:cubicBezTo>
                    <a:pt x="1632" y="7980"/>
                    <a:pt x="1632" y="7980"/>
                    <a:pt x="1632" y="7980"/>
                  </a:cubicBezTo>
                  <a:cubicBezTo>
                    <a:pt x="1584" y="7923"/>
                    <a:pt x="1584" y="7923"/>
                    <a:pt x="1584" y="7923"/>
                  </a:cubicBezTo>
                  <a:cubicBezTo>
                    <a:pt x="1616" y="7901"/>
                    <a:pt x="1616" y="7901"/>
                    <a:pt x="1616" y="7901"/>
                  </a:cubicBezTo>
                  <a:cubicBezTo>
                    <a:pt x="1616" y="7901"/>
                    <a:pt x="1726" y="7904"/>
                    <a:pt x="1723" y="7904"/>
                  </a:cubicBezTo>
                  <a:cubicBezTo>
                    <a:pt x="1720" y="7904"/>
                    <a:pt x="1767" y="7865"/>
                    <a:pt x="1767" y="7865"/>
                  </a:cubicBezTo>
                  <a:cubicBezTo>
                    <a:pt x="1773" y="7813"/>
                    <a:pt x="1773" y="7813"/>
                    <a:pt x="1773" y="7813"/>
                  </a:cubicBezTo>
                  <a:cubicBezTo>
                    <a:pt x="1769" y="7813"/>
                    <a:pt x="1567" y="7799"/>
                    <a:pt x="1567" y="7799"/>
                  </a:cubicBezTo>
                  <a:cubicBezTo>
                    <a:pt x="1491" y="7711"/>
                    <a:pt x="1491" y="7711"/>
                    <a:pt x="1491" y="7711"/>
                  </a:cubicBezTo>
                  <a:cubicBezTo>
                    <a:pt x="1376" y="7878"/>
                    <a:pt x="1376" y="7878"/>
                    <a:pt x="1376" y="7878"/>
                  </a:cubicBezTo>
                  <a:lnTo>
                    <a:pt x="1534" y="8065"/>
                  </a:lnTo>
                  <a:close/>
                  <a:moveTo>
                    <a:pt x="1492" y="7734"/>
                  </a:moveTo>
                  <a:cubicBezTo>
                    <a:pt x="1556" y="7808"/>
                    <a:pt x="1556" y="7808"/>
                    <a:pt x="1556" y="7808"/>
                  </a:cubicBezTo>
                  <a:cubicBezTo>
                    <a:pt x="1560" y="7813"/>
                    <a:pt x="1560" y="7813"/>
                    <a:pt x="1560" y="7813"/>
                  </a:cubicBezTo>
                  <a:cubicBezTo>
                    <a:pt x="1566" y="7813"/>
                    <a:pt x="1566" y="7813"/>
                    <a:pt x="1566" y="7813"/>
                  </a:cubicBezTo>
                  <a:cubicBezTo>
                    <a:pt x="1615" y="7816"/>
                    <a:pt x="1718" y="7823"/>
                    <a:pt x="1757" y="7826"/>
                  </a:cubicBezTo>
                  <a:cubicBezTo>
                    <a:pt x="1754" y="7858"/>
                    <a:pt x="1754" y="7858"/>
                    <a:pt x="1754" y="7858"/>
                  </a:cubicBezTo>
                  <a:cubicBezTo>
                    <a:pt x="1734" y="7874"/>
                    <a:pt x="1723" y="7883"/>
                    <a:pt x="1716" y="7890"/>
                  </a:cubicBezTo>
                  <a:cubicBezTo>
                    <a:pt x="1693" y="7889"/>
                    <a:pt x="1617" y="7887"/>
                    <a:pt x="1617" y="7887"/>
                  </a:cubicBezTo>
                  <a:cubicBezTo>
                    <a:pt x="1612" y="7887"/>
                    <a:pt x="1612" y="7887"/>
                    <a:pt x="1612" y="7887"/>
                  </a:cubicBezTo>
                  <a:cubicBezTo>
                    <a:pt x="1608" y="7889"/>
                    <a:pt x="1608" y="7889"/>
                    <a:pt x="1608" y="7889"/>
                  </a:cubicBezTo>
                  <a:cubicBezTo>
                    <a:pt x="1576" y="7912"/>
                    <a:pt x="1576" y="7912"/>
                    <a:pt x="1576" y="7912"/>
                  </a:cubicBezTo>
                  <a:cubicBezTo>
                    <a:pt x="1564" y="7921"/>
                    <a:pt x="1564" y="7921"/>
                    <a:pt x="1564" y="7921"/>
                  </a:cubicBezTo>
                  <a:cubicBezTo>
                    <a:pt x="1574" y="7932"/>
                    <a:pt x="1574" y="7932"/>
                    <a:pt x="1574" y="7932"/>
                  </a:cubicBezTo>
                  <a:cubicBezTo>
                    <a:pt x="1612" y="7978"/>
                    <a:pt x="1612" y="7978"/>
                    <a:pt x="1612" y="7978"/>
                  </a:cubicBezTo>
                  <a:cubicBezTo>
                    <a:pt x="1536" y="8045"/>
                    <a:pt x="1536" y="8045"/>
                    <a:pt x="1536" y="8045"/>
                  </a:cubicBezTo>
                  <a:cubicBezTo>
                    <a:pt x="1394" y="7877"/>
                    <a:pt x="1394" y="7877"/>
                    <a:pt x="1394" y="7877"/>
                  </a:cubicBezTo>
                  <a:lnTo>
                    <a:pt x="1492" y="7734"/>
                  </a:lnTo>
                  <a:close/>
                  <a:moveTo>
                    <a:pt x="1128" y="8083"/>
                  </a:moveTo>
                  <a:cubicBezTo>
                    <a:pt x="1120" y="8277"/>
                    <a:pt x="1120" y="8277"/>
                    <a:pt x="1120" y="8277"/>
                  </a:cubicBezTo>
                  <a:cubicBezTo>
                    <a:pt x="1275" y="8276"/>
                    <a:pt x="1275" y="8276"/>
                    <a:pt x="1275" y="8276"/>
                  </a:cubicBezTo>
                  <a:cubicBezTo>
                    <a:pt x="1292" y="8164"/>
                    <a:pt x="1292" y="8164"/>
                    <a:pt x="1292" y="8164"/>
                  </a:cubicBezTo>
                  <a:cubicBezTo>
                    <a:pt x="1197" y="8025"/>
                    <a:pt x="1197" y="8025"/>
                    <a:pt x="1197" y="8025"/>
                  </a:cubicBezTo>
                  <a:lnTo>
                    <a:pt x="1128" y="8083"/>
                  </a:lnTo>
                  <a:close/>
                  <a:moveTo>
                    <a:pt x="1263" y="8262"/>
                  </a:moveTo>
                  <a:cubicBezTo>
                    <a:pt x="1134" y="8263"/>
                    <a:pt x="1134" y="8263"/>
                    <a:pt x="1134" y="8263"/>
                  </a:cubicBezTo>
                  <a:cubicBezTo>
                    <a:pt x="1142" y="8090"/>
                    <a:pt x="1142" y="8090"/>
                    <a:pt x="1142" y="8090"/>
                  </a:cubicBezTo>
                  <a:cubicBezTo>
                    <a:pt x="1195" y="8046"/>
                    <a:pt x="1195" y="8046"/>
                    <a:pt x="1195" y="8046"/>
                  </a:cubicBezTo>
                  <a:cubicBezTo>
                    <a:pt x="1278" y="8167"/>
                    <a:pt x="1278" y="8167"/>
                    <a:pt x="1278" y="8167"/>
                  </a:cubicBezTo>
                  <a:lnTo>
                    <a:pt x="1263" y="8262"/>
                  </a:lnTo>
                  <a:close/>
                  <a:moveTo>
                    <a:pt x="1346" y="8478"/>
                  </a:moveTo>
                  <a:cubicBezTo>
                    <a:pt x="1448" y="8551"/>
                    <a:pt x="1448" y="8551"/>
                    <a:pt x="1448" y="8551"/>
                  </a:cubicBezTo>
                  <a:cubicBezTo>
                    <a:pt x="1488" y="8483"/>
                    <a:pt x="1488" y="8483"/>
                    <a:pt x="1488" y="8483"/>
                  </a:cubicBezTo>
                  <a:cubicBezTo>
                    <a:pt x="1336" y="8370"/>
                    <a:pt x="1336" y="8370"/>
                    <a:pt x="1336" y="8370"/>
                  </a:cubicBezTo>
                  <a:cubicBezTo>
                    <a:pt x="1206" y="8451"/>
                    <a:pt x="1206" y="8451"/>
                    <a:pt x="1206" y="8451"/>
                  </a:cubicBezTo>
                  <a:cubicBezTo>
                    <a:pt x="1292" y="8512"/>
                    <a:pt x="1292" y="8512"/>
                    <a:pt x="1292" y="8512"/>
                  </a:cubicBezTo>
                  <a:lnTo>
                    <a:pt x="1346" y="8478"/>
                  </a:lnTo>
                  <a:close/>
                  <a:moveTo>
                    <a:pt x="1335" y="8386"/>
                  </a:moveTo>
                  <a:cubicBezTo>
                    <a:pt x="1470" y="8487"/>
                    <a:pt x="1470" y="8487"/>
                    <a:pt x="1470" y="8487"/>
                  </a:cubicBezTo>
                  <a:cubicBezTo>
                    <a:pt x="1443" y="8531"/>
                    <a:pt x="1443" y="8531"/>
                    <a:pt x="1443" y="8531"/>
                  </a:cubicBezTo>
                  <a:cubicBezTo>
                    <a:pt x="1354" y="8467"/>
                    <a:pt x="1354" y="8467"/>
                    <a:pt x="1354" y="8467"/>
                  </a:cubicBezTo>
                  <a:cubicBezTo>
                    <a:pt x="1346" y="8461"/>
                    <a:pt x="1346" y="8461"/>
                    <a:pt x="1346" y="8461"/>
                  </a:cubicBezTo>
                  <a:cubicBezTo>
                    <a:pt x="1338" y="8466"/>
                    <a:pt x="1338" y="8466"/>
                    <a:pt x="1338" y="8466"/>
                  </a:cubicBezTo>
                  <a:cubicBezTo>
                    <a:pt x="1292" y="8495"/>
                    <a:pt x="1292" y="8495"/>
                    <a:pt x="1292" y="8495"/>
                  </a:cubicBezTo>
                  <a:cubicBezTo>
                    <a:pt x="1231" y="8451"/>
                    <a:pt x="1231" y="8451"/>
                    <a:pt x="1231" y="8451"/>
                  </a:cubicBezTo>
                  <a:lnTo>
                    <a:pt x="1335" y="8386"/>
                  </a:lnTo>
                  <a:close/>
                  <a:moveTo>
                    <a:pt x="1041" y="8457"/>
                  </a:moveTo>
                  <a:cubicBezTo>
                    <a:pt x="1363" y="8699"/>
                    <a:pt x="1363" y="8699"/>
                    <a:pt x="1363" y="8699"/>
                  </a:cubicBezTo>
                  <a:cubicBezTo>
                    <a:pt x="1428" y="8593"/>
                    <a:pt x="1428" y="8593"/>
                    <a:pt x="1428" y="8593"/>
                  </a:cubicBezTo>
                  <a:cubicBezTo>
                    <a:pt x="1341" y="8533"/>
                    <a:pt x="1341" y="8533"/>
                    <a:pt x="1341" y="8533"/>
                  </a:cubicBezTo>
                  <a:cubicBezTo>
                    <a:pt x="1316" y="8573"/>
                    <a:pt x="1316" y="8573"/>
                    <a:pt x="1316" y="8573"/>
                  </a:cubicBezTo>
                  <a:cubicBezTo>
                    <a:pt x="1079" y="8395"/>
                    <a:pt x="1079" y="8395"/>
                    <a:pt x="1079" y="8395"/>
                  </a:cubicBezTo>
                  <a:lnTo>
                    <a:pt x="1041" y="8457"/>
                  </a:lnTo>
                  <a:close/>
                  <a:moveTo>
                    <a:pt x="1308" y="8584"/>
                  </a:moveTo>
                  <a:cubicBezTo>
                    <a:pt x="1320" y="8593"/>
                    <a:pt x="1320" y="8593"/>
                    <a:pt x="1320" y="8593"/>
                  </a:cubicBezTo>
                  <a:cubicBezTo>
                    <a:pt x="1328" y="8580"/>
                    <a:pt x="1328" y="8580"/>
                    <a:pt x="1328" y="8580"/>
                  </a:cubicBezTo>
                  <a:cubicBezTo>
                    <a:pt x="1345" y="8553"/>
                    <a:pt x="1345" y="8553"/>
                    <a:pt x="1345" y="8553"/>
                  </a:cubicBezTo>
                  <a:cubicBezTo>
                    <a:pt x="1409" y="8597"/>
                    <a:pt x="1409" y="8597"/>
                    <a:pt x="1409" y="8597"/>
                  </a:cubicBezTo>
                  <a:cubicBezTo>
                    <a:pt x="1359" y="8678"/>
                    <a:pt x="1359" y="8678"/>
                    <a:pt x="1359" y="8678"/>
                  </a:cubicBezTo>
                  <a:cubicBezTo>
                    <a:pt x="1060" y="8454"/>
                    <a:pt x="1060" y="8454"/>
                    <a:pt x="1060" y="8454"/>
                  </a:cubicBezTo>
                  <a:cubicBezTo>
                    <a:pt x="1083" y="8416"/>
                    <a:pt x="1083" y="8416"/>
                    <a:pt x="1083" y="8416"/>
                  </a:cubicBezTo>
                  <a:lnTo>
                    <a:pt x="1308" y="8584"/>
                  </a:lnTo>
                  <a:close/>
                  <a:moveTo>
                    <a:pt x="486" y="9095"/>
                  </a:moveTo>
                  <a:cubicBezTo>
                    <a:pt x="541" y="9107"/>
                    <a:pt x="541" y="9107"/>
                    <a:pt x="541" y="9107"/>
                  </a:cubicBezTo>
                  <a:cubicBezTo>
                    <a:pt x="566" y="9019"/>
                    <a:pt x="566" y="9019"/>
                    <a:pt x="566" y="9019"/>
                  </a:cubicBezTo>
                  <a:cubicBezTo>
                    <a:pt x="522" y="8979"/>
                    <a:pt x="522" y="8979"/>
                    <a:pt x="522" y="8979"/>
                  </a:cubicBezTo>
                  <a:cubicBezTo>
                    <a:pt x="369" y="9048"/>
                    <a:pt x="369" y="9048"/>
                    <a:pt x="369" y="9048"/>
                  </a:cubicBezTo>
                  <a:cubicBezTo>
                    <a:pt x="319" y="9183"/>
                    <a:pt x="319" y="9183"/>
                    <a:pt x="319" y="9183"/>
                  </a:cubicBezTo>
                  <a:cubicBezTo>
                    <a:pt x="449" y="9213"/>
                    <a:pt x="449" y="9213"/>
                    <a:pt x="449" y="9213"/>
                  </a:cubicBezTo>
                  <a:lnTo>
                    <a:pt x="486" y="9095"/>
                  </a:lnTo>
                  <a:close/>
                  <a:moveTo>
                    <a:pt x="337" y="9173"/>
                  </a:moveTo>
                  <a:cubicBezTo>
                    <a:pt x="380" y="9059"/>
                    <a:pt x="380" y="9059"/>
                    <a:pt x="380" y="9059"/>
                  </a:cubicBezTo>
                  <a:cubicBezTo>
                    <a:pt x="520" y="8995"/>
                    <a:pt x="520" y="8995"/>
                    <a:pt x="520" y="8995"/>
                  </a:cubicBezTo>
                  <a:cubicBezTo>
                    <a:pt x="551" y="9023"/>
                    <a:pt x="551" y="9023"/>
                    <a:pt x="551" y="9023"/>
                  </a:cubicBezTo>
                  <a:cubicBezTo>
                    <a:pt x="532" y="9091"/>
                    <a:pt x="532" y="9091"/>
                    <a:pt x="532" y="9091"/>
                  </a:cubicBezTo>
                  <a:cubicBezTo>
                    <a:pt x="489" y="9081"/>
                    <a:pt x="489" y="9081"/>
                    <a:pt x="489" y="9081"/>
                  </a:cubicBezTo>
                  <a:cubicBezTo>
                    <a:pt x="476" y="9079"/>
                    <a:pt x="476" y="9079"/>
                    <a:pt x="476" y="9079"/>
                  </a:cubicBezTo>
                  <a:cubicBezTo>
                    <a:pt x="473" y="9091"/>
                    <a:pt x="473" y="9091"/>
                    <a:pt x="473" y="9091"/>
                  </a:cubicBezTo>
                  <a:cubicBezTo>
                    <a:pt x="439" y="9197"/>
                    <a:pt x="439" y="9197"/>
                    <a:pt x="439" y="9197"/>
                  </a:cubicBezTo>
                  <a:lnTo>
                    <a:pt x="337" y="9173"/>
                  </a:lnTo>
                  <a:close/>
                  <a:moveTo>
                    <a:pt x="445" y="9869"/>
                  </a:moveTo>
                  <a:cubicBezTo>
                    <a:pt x="513" y="9839"/>
                    <a:pt x="513" y="9839"/>
                    <a:pt x="513" y="9839"/>
                  </a:cubicBezTo>
                  <a:cubicBezTo>
                    <a:pt x="383" y="9566"/>
                    <a:pt x="383" y="9566"/>
                    <a:pt x="383" y="9566"/>
                  </a:cubicBezTo>
                  <a:cubicBezTo>
                    <a:pt x="396" y="9457"/>
                    <a:pt x="396" y="9457"/>
                    <a:pt x="396" y="9457"/>
                  </a:cubicBezTo>
                  <a:cubicBezTo>
                    <a:pt x="292" y="9456"/>
                    <a:pt x="292" y="9456"/>
                    <a:pt x="292" y="9456"/>
                  </a:cubicBezTo>
                  <a:cubicBezTo>
                    <a:pt x="299" y="9388"/>
                    <a:pt x="299" y="9388"/>
                    <a:pt x="299" y="9388"/>
                  </a:cubicBezTo>
                  <a:cubicBezTo>
                    <a:pt x="398" y="9387"/>
                    <a:pt x="398" y="9387"/>
                    <a:pt x="398" y="9387"/>
                  </a:cubicBezTo>
                  <a:cubicBezTo>
                    <a:pt x="358" y="9316"/>
                    <a:pt x="358" y="9316"/>
                    <a:pt x="358" y="9316"/>
                  </a:cubicBezTo>
                  <a:cubicBezTo>
                    <a:pt x="225" y="9364"/>
                    <a:pt x="225" y="9364"/>
                    <a:pt x="225" y="9364"/>
                  </a:cubicBezTo>
                  <a:cubicBezTo>
                    <a:pt x="213" y="9450"/>
                    <a:pt x="213" y="9450"/>
                    <a:pt x="213" y="9450"/>
                  </a:cubicBezTo>
                  <a:cubicBezTo>
                    <a:pt x="260" y="9537"/>
                    <a:pt x="260" y="9537"/>
                    <a:pt x="260" y="9537"/>
                  </a:cubicBezTo>
                  <a:cubicBezTo>
                    <a:pt x="302" y="9538"/>
                    <a:pt x="302" y="9538"/>
                    <a:pt x="302" y="9538"/>
                  </a:cubicBezTo>
                  <a:cubicBezTo>
                    <a:pt x="299" y="9592"/>
                    <a:pt x="299" y="9592"/>
                    <a:pt x="299" y="9592"/>
                  </a:cubicBezTo>
                  <a:lnTo>
                    <a:pt x="445" y="9869"/>
                  </a:lnTo>
                  <a:close/>
                  <a:moveTo>
                    <a:pt x="269" y="9523"/>
                  </a:moveTo>
                  <a:cubicBezTo>
                    <a:pt x="227" y="9448"/>
                    <a:pt x="227" y="9448"/>
                    <a:pt x="227" y="9448"/>
                  </a:cubicBezTo>
                  <a:cubicBezTo>
                    <a:pt x="238" y="9375"/>
                    <a:pt x="238" y="9375"/>
                    <a:pt x="238" y="9375"/>
                  </a:cubicBezTo>
                  <a:cubicBezTo>
                    <a:pt x="352" y="9333"/>
                    <a:pt x="352" y="9333"/>
                    <a:pt x="352" y="9333"/>
                  </a:cubicBezTo>
                  <a:cubicBezTo>
                    <a:pt x="375" y="9374"/>
                    <a:pt x="375" y="9374"/>
                    <a:pt x="375" y="9374"/>
                  </a:cubicBezTo>
                  <a:cubicBezTo>
                    <a:pt x="299" y="9374"/>
                    <a:pt x="299" y="9374"/>
                    <a:pt x="299" y="9374"/>
                  </a:cubicBezTo>
                  <a:cubicBezTo>
                    <a:pt x="286" y="9375"/>
                    <a:pt x="286" y="9375"/>
                    <a:pt x="286" y="9375"/>
                  </a:cubicBezTo>
                  <a:cubicBezTo>
                    <a:pt x="285" y="9387"/>
                    <a:pt x="285" y="9387"/>
                    <a:pt x="285" y="9387"/>
                  </a:cubicBezTo>
                  <a:cubicBezTo>
                    <a:pt x="278" y="9455"/>
                    <a:pt x="278" y="9455"/>
                    <a:pt x="278" y="9455"/>
                  </a:cubicBezTo>
                  <a:cubicBezTo>
                    <a:pt x="276" y="9470"/>
                    <a:pt x="276" y="9470"/>
                    <a:pt x="276" y="9470"/>
                  </a:cubicBezTo>
                  <a:cubicBezTo>
                    <a:pt x="292" y="9470"/>
                    <a:pt x="292" y="9470"/>
                    <a:pt x="292" y="9470"/>
                  </a:cubicBezTo>
                  <a:cubicBezTo>
                    <a:pt x="380" y="9470"/>
                    <a:pt x="380" y="9470"/>
                    <a:pt x="380" y="9470"/>
                  </a:cubicBezTo>
                  <a:cubicBezTo>
                    <a:pt x="369" y="9565"/>
                    <a:pt x="369" y="9565"/>
                    <a:pt x="369" y="9565"/>
                  </a:cubicBezTo>
                  <a:cubicBezTo>
                    <a:pt x="368" y="9569"/>
                    <a:pt x="368" y="9569"/>
                    <a:pt x="368" y="9569"/>
                  </a:cubicBezTo>
                  <a:cubicBezTo>
                    <a:pt x="370" y="9572"/>
                    <a:pt x="370" y="9572"/>
                    <a:pt x="370" y="9572"/>
                  </a:cubicBezTo>
                  <a:cubicBezTo>
                    <a:pt x="494" y="9832"/>
                    <a:pt x="494" y="9832"/>
                    <a:pt x="494" y="9832"/>
                  </a:cubicBezTo>
                  <a:cubicBezTo>
                    <a:pt x="451" y="9851"/>
                    <a:pt x="451" y="9851"/>
                    <a:pt x="451" y="9851"/>
                  </a:cubicBezTo>
                  <a:cubicBezTo>
                    <a:pt x="313" y="9589"/>
                    <a:pt x="313" y="9589"/>
                    <a:pt x="313" y="9589"/>
                  </a:cubicBezTo>
                  <a:cubicBezTo>
                    <a:pt x="316" y="9539"/>
                    <a:pt x="316" y="9539"/>
                    <a:pt x="316" y="9539"/>
                  </a:cubicBezTo>
                  <a:cubicBezTo>
                    <a:pt x="317" y="9525"/>
                    <a:pt x="317" y="9525"/>
                    <a:pt x="317" y="9525"/>
                  </a:cubicBezTo>
                  <a:cubicBezTo>
                    <a:pt x="303" y="9524"/>
                    <a:pt x="303" y="9524"/>
                    <a:pt x="303" y="9524"/>
                  </a:cubicBezTo>
                  <a:lnTo>
                    <a:pt x="269" y="9523"/>
                  </a:lnTo>
                  <a:close/>
                  <a:moveTo>
                    <a:pt x="57" y="9583"/>
                  </a:moveTo>
                  <a:cubicBezTo>
                    <a:pt x="140" y="9741"/>
                    <a:pt x="140" y="9741"/>
                    <a:pt x="140" y="9741"/>
                  </a:cubicBezTo>
                  <a:cubicBezTo>
                    <a:pt x="215" y="9702"/>
                    <a:pt x="215" y="9702"/>
                    <a:pt x="215" y="9702"/>
                  </a:cubicBezTo>
                  <a:cubicBezTo>
                    <a:pt x="131" y="9543"/>
                    <a:pt x="131" y="9543"/>
                    <a:pt x="131" y="9543"/>
                  </a:cubicBezTo>
                  <a:lnTo>
                    <a:pt x="57" y="9583"/>
                  </a:lnTo>
                  <a:close/>
                  <a:moveTo>
                    <a:pt x="146" y="9722"/>
                  </a:moveTo>
                  <a:cubicBezTo>
                    <a:pt x="76" y="9588"/>
                    <a:pt x="76" y="9588"/>
                    <a:pt x="76" y="9588"/>
                  </a:cubicBezTo>
                  <a:cubicBezTo>
                    <a:pt x="126" y="9562"/>
                    <a:pt x="126" y="9562"/>
                    <a:pt x="126" y="9562"/>
                  </a:cubicBezTo>
                  <a:cubicBezTo>
                    <a:pt x="196" y="9696"/>
                    <a:pt x="196" y="9696"/>
                    <a:pt x="196" y="9696"/>
                  </a:cubicBezTo>
                  <a:lnTo>
                    <a:pt x="146" y="9722"/>
                  </a:lnTo>
                  <a:close/>
                  <a:moveTo>
                    <a:pt x="766" y="8917"/>
                  </a:moveTo>
                  <a:cubicBezTo>
                    <a:pt x="696" y="8852"/>
                    <a:pt x="696" y="8852"/>
                    <a:pt x="696" y="8852"/>
                  </a:cubicBezTo>
                  <a:cubicBezTo>
                    <a:pt x="591" y="8917"/>
                    <a:pt x="591" y="8917"/>
                    <a:pt x="591" y="8917"/>
                  </a:cubicBezTo>
                  <a:cubicBezTo>
                    <a:pt x="659" y="8980"/>
                    <a:pt x="659" y="8980"/>
                    <a:pt x="659" y="8980"/>
                  </a:cubicBezTo>
                  <a:lnTo>
                    <a:pt x="766" y="8917"/>
                  </a:lnTo>
                  <a:close/>
                  <a:moveTo>
                    <a:pt x="694" y="8869"/>
                  </a:moveTo>
                  <a:cubicBezTo>
                    <a:pt x="743" y="8914"/>
                    <a:pt x="743" y="8914"/>
                    <a:pt x="743" y="8914"/>
                  </a:cubicBezTo>
                  <a:cubicBezTo>
                    <a:pt x="660" y="8962"/>
                    <a:pt x="660" y="8962"/>
                    <a:pt x="660" y="8962"/>
                  </a:cubicBezTo>
                  <a:cubicBezTo>
                    <a:pt x="614" y="8919"/>
                    <a:pt x="614" y="8919"/>
                    <a:pt x="614" y="8919"/>
                  </a:cubicBezTo>
                  <a:lnTo>
                    <a:pt x="694" y="8869"/>
                  </a:lnTo>
                  <a:close/>
                  <a:moveTo>
                    <a:pt x="804" y="9234"/>
                  </a:moveTo>
                  <a:cubicBezTo>
                    <a:pt x="643" y="9072"/>
                    <a:pt x="643" y="9072"/>
                    <a:pt x="643" y="9072"/>
                  </a:cubicBezTo>
                  <a:cubicBezTo>
                    <a:pt x="597" y="9247"/>
                    <a:pt x="597" y="9247"/>
                    <a:pt x="597" y="9247"/>
                  </a:cubicBezTo>
                  <a:lnTo>
                    <a:pt x="804" y="9234"/>
                  </a:lnTo>
                  <a:close/>
                  <a:moveTo>
                    <a:pt x="651" y="9099"/>
                  </a:moveTo>
                  <a:cubicBezTo>
                    <a:pt x="772" y="9222"/>
                    <a:pt x="772" y="9222"/>
                    <a:pt x="772" y="9222"/>
                  </a:cubicBezTo>
                  <a:cubicBezTo>
                    <a:pt x="616" y="9232"/>
                    <a:pt x="616" y="9232"/>
                    <a:pt x="616" y="9232"/>
                  </a:cubicBezTo>
                  <a:lnTo>
                    <a:pt x="651" y="9099"/>
                  </a:lnTo>
                  <a:close/>
                  <a:moveTo>
                    <a:pt x="878" y="9194"/>
                  </a:moveTo>
                  <a:cubicBezTo>
                    <a:pt x="1029" y="9051"/>
                    <a:pt x="1029" y="9051"/>
                    <a:pt x="1029" y="9051"/>
                  </a:cubicBezTo>
                  <a:cubicBezTo>
                    <a:pt x="966" y="8970"/>
                    <a:pt x="966" y="8970"/>
                    <a:pt x="966" y="8970"/>
                  </a:cubicBezTo>
                  <a:cubicBezTo>
                    <a:pt x="890" y="9035"/>
                    <a:pt x="890" y="9035"/>
                    <a:pt x="890" y="9035"/>
                  </a:cubicBezTo>
                  <a:cubicBezTo>
                    <a:pt x="817" y="8967"/>
                    <a:pt x="817" y="8967"/>
                    <a:pt x="817" y="8967"/>
                  </a:cubicBezTo>
                  <a:cubicBezTo>
                    <a:pt x="716" y="9037"/>
                    <a:pt x="716" y="9037"/>
                    <a:pt x="716" y="9037"/>
                  </a:cubicBezTo>
                  <a:lnTo>
                    <a:pt x="878" y="9194"/>
                  </a:lnTo>
                  <a:close/>
                  <a:moveTo>
                    <a:pt x="881" y="9045"/>
                  </a:moveTo>
                  <a:cubicBezTo>
                    <a:pt x="890" y="9054"/>
                    <a:pt x="890" y="9054"/>
                    <a:pt x="890" y="9054"/>
                  </a:cubicBezTo>
                  <a:cubicBezTo>
                    <a:pt x="899" y="9046"/>
                    <a:pt x="899" y="9046"/>
                    <a:pt x="899" y="9046"/>
                  </a:cubicBezTo>
                  <a:cubicBezTo>
                    <a:pt x="964" y="8990"/>
                    <a:pt x="964" y="8990"/>
                    <a:pt x="964" y="8990"/>
                  </a:cubicBezTo>
                  <a:cubicBezTo>
                    <a:pt x="1010" y="9050"/>
                    <a:pt x="1010" y="9050"/>
                    <a:pt x="1010" y="9050"/>
                  </a:cubicBezTo>
                  <a:cubicBezTo>
                    <a:pt x="878" y="9175"/>
                    <a:pt x="878" y="9175"/>
                    <a:pt x="878" y="9175"/>
                  </a:cubicBezTo>
                  <a:cubicBezTo>
                    <a:pt x="738" y="9039"/>
                    <a:pt x="738" y="9039"/>
                    <a:pt x="738" y="9039"/>
                  </a:cubicBezTo>
                  <a:cubicBezTo>
                    <a:pt x="815" y="8985"/>
                    <a:pt x="815" y="8985"/>
                    <a:pt x="815" y="8985"/>
                  </a:cubicBezTo>
                  <a:lnTo>
                    <a:pt x="881" y="9045"/>
                  </a:lnTo>
                  <a:close/>
                  <a:moveTo>
                    <a:pt x="936" y="10035"/>
                  </a:moveTo>
                  <a:cubicBezTo>
                    <a:pt x="1002" y="10140"/>
                    <a:pt x="1002" y="10140"/>
                    <a:pt x="1002" y="10140"/>
                  </a:cubicBezTo>
                  <a:cubicBezTo>
                    <a:pt x="1128" y="10080"/>
                    <a:pt x="1128" y="10080"/>
                    <a:pt x="1128" y="10080"/>
                  </a:cubicBezTo>
                  <a:cubicBezTo>
                    <a:pt x="1108" y="10044"/>
                    <a:pt x="1108" y="10044"/>
                    <a:pt x="1108" y="10044"/>
                  </a:cubicBezTo>
                  <a:cubicBezTo>
                    <a:pt x="1157" y="10017"/>
                    <a:pt x="1157" y="10017"/>
                    <a:pt x="1157" y="10017"/>
                  </a:cubicBezTo>
                  <a:cubicBezTo>
                    <a:pt x="1328" y="10182"/>
                    <a:pt x="1328" y="10182"/>
                    <a:pt x="1328" y="10182"/>
                  </a:cubicBezTo>
                  <a:cubicBezTo>
                    <a:pt x="1308" y="10198"/>
                    <a:pt x="1308" y="10198"/>
                    <a:pt x="1308" y="10198"/>
                  </a:cubicBezTo>
                  <a:cubicBezTo>
                    <a:pt x="1415" y="10303"/>
                    <a:pt x="1415" y="10303"/>
                    <a:pt x="1415" y="10303"/>
                  </a:cubicBezTo>
                  <a:cubicBezTo>
                    <a:pt x="1562" y="10316"/>
                    <a:pt x="1562" y="10316"/>
                    <a:pt x="1562" y="10316"/>
                  </a:cubicBezTo>
                  <a:cubicBezTo>
                    <a:pt x="1572" y="10193"/>
                    <a:pt x="1572" y="10193"/>
                    <a:pt x="1572" y="10193"/>
                  </a:cubicBezTo>
                  <a:cubicBezTo>
                    <a:pt x="1216" y="9886"/>
                    <a:pt x="1216" y="9886"/>
                    <a:pt x="1216" y="9886"/>
                  </a:cubicBezTo>
                  <a:lnTo>
                    <a:pt x="936" y="10035"/>
                  </a:lnTo>
                  <a:close/>
                  <a:moveTo>
                    <a:pt x="1549" y="10301"/>
                  </a:moveTo>
                  <a:cubicBezTo>
                    <a:pt x="1421" y="10290"/>
                    <a:pt x="1421" y="10290"/>
                    <a:pt x="1421" y="10290"/>
                  </a:cubicBezTo>
                  <a:cubicBezTo>
                    <a:pt x="1329" y="10200"/>
                    <a:pt x="1329" y="10200"/>
                    <a:pt x="1329" y="10200"/>
                  </a:cubicBezTo>
                  <a:cubicBezTo>
                    <a:pt x="1337" y="10193"/>
                    <a:pt x="1337" y="10193"/>
                    <a:pt x="1337" y="10193"/>
                  </a:cubicBezTo>
                  <a:cubicBezTo>
                    <a:pt x="1350" y="10183"/>
                    <a:pt x="1350" y="10183"/>
                    <a:pt x="1350" y="10183"/>
                  </a:cubicBezTo>
                  <a:cubicBezTo>
                    <a:pt x="1338" y="10172"/>
                    <a:pt x="1338" y="10172"/>
                    <a:pt x="1338" y="10172"/>
                  </a:cubicBezTo>
                  <a:cubicBezTo>
                    <a:pt x="1167" y="10007"/>
                    <a:pt x="1167" y="10007"/>
                    <a:pt x="1167" y="10007"/>
                  </a:cubicBezTo>
                  <a:cubicBezTo>
                    <a:pt x="1159" y="10000"/>
                    <a:pt x="1159" y="10000"/>
                    <a:pt x="1159" y="10000"/>
                  </a:cubicBezTo>
                  <a:cubicBezTo>
                    <a:pt x="1150" y="10005"/>
                    <a:pt x="1150" y="10005"/>
                    <a:pt x="1150" y="10005"/>
                  </a:cubicBezTo>
                  <a:cubicBezTo>
                    <a:pt x="1102" y="10032"/>
                    <a:pt x="1102" y="10032"/>
                    <a:pt x="1102" y="10032"/>
                  </a:cubicBezTo>
                  <a:cubicBezTo>
                    <a:pt x="1089" y="10039"/>
                    <a:pt x="1089" y="10039"/>
                    <a:pt x="1089" y="10039"/>
                  </a:cubicBezTo>
                  <a:cubicBezTo>
                    <a:pt x="1096" y="10051"/>
                    <a:pt x="1096" y="10051"/>
                    <a:pt x="1096" y="10051"/>
                  </a:cubicBezTo>
                  <a:cubicBezTo>
                    <a:pt x="1109" y="10073"/>
                    <a:pt x="1109" y="10073"/>
                    <a:pt x="1109" y="10073"/>
                  </a:cubicBezTo>
                  <a:cubicBezTo>
                    <a:pt x="1007" y="10122"/>
                    <a:pt x="1007" y="10122"/>
                    <a:pt x="1007" y="10122"/>
                  </a:cubicBezTo>
                  <a:cubicBezTo>
                    <a:pt x="956" y="10040"/>
                    <a:pt x="956" y="10040"/>
                    <a:pt x="956" y="10040"/>
                  </a:cubicBezTo>
                  <a:cubicBezTo>
                    <a:pt x="1215" y="9902"/>
                    <a:pt x="1215" y="9902"/>
                    <a:pt x="1215" y="9902"/>
                  </a:cubicBezTo>
                  <a:cubicBezTo>
                    <a:pt x="1557" y="10199"/>
                    <a:pt x="1557" y="10199"/>
                    <a:pt x="1557" y="10199"/>
                  </a:cubicBezTo>
                  <a:lnTo>
                    <a:pt x="1549" y="10301"/>
                  </a:lnTo>
                  <a:close/>
                  <a:moveTo>
                    <a:pt x="817" y="10720"/>
                  </a:moveTo>
                  <a:cubicBezTo>
                    <a:pt x="694" y="10497"/>
                    <a:pt x="694" y="10497"/>
                    <a:pt x="694" y="10497"/>
                  </a:cubicBezTo>
                  <a:cubicBezTo>
                    <a:pt x="636" y="10529"/>
                    <a:pt x="636" y="10529"/>
                    <a:pt x="636" y="10529"/>
                  </a:cubicBezTo>
                  <a:cubicBezTo>
                    <a:pt x="758" y="10751"/>
                    <a:pt x="758" y="10751"/>
                    <a:pt x="758" y="10751"/>
                  </a:cubicBezTo>
                  <a:lnTo>
                    <a:pt x="817" y="10720"/>
                  </a:lnTo>
                  <a:close/>
                  <a:moveTo>
                    <a:pt x="688" y="10516"/>
                  </a:moveTo>
                  <a:cubicBezTo>
                    <a:pt x="798" y="10714"/>
                    <a:pt x="798" y="10714"/>
                    <a:pt x="798" y="10714"/>
                  </a:cubicBezTo>
                  <a:cubicBezTo>
                    <a:pt x="763" y="10733"/>
                    <a:pt x="763" y="10733"/>
                    <a:pt x="763" y="10733"/>
                  </a:cubicBezTo>
                  <a:cubicBezTo>
                    <a:pt x="654" y="10535"/>
                    <a:pt x="654" y="10535"/>
                    <a:pt x="654" y="10535"/>
                  </a:cubicBezTo>
                  <a:lnTo>
                    <a:pt x="688" y="10516"/>
                  </a:lnTo>
                  <a:close/>
                  <a:moveTo>
                    <a:pt x="1872" y="9598"/>
                  </a:moveTo>
                  <a:cubicBezTo>
                    <a:pt x="1935" y="9568"/>
                    <a:pt x="1935" y="9568"/>
                    <a:pt x="1935" y="9568"/>
                  </a:cubicBezTo>
                  <a:cubicBezTo>
                    <a:pt x="1903" y="9842"/>
                    <a:pt x="1903" y="9842"/>
                    <a:pt x="1903" y="9842"/>
                  </a:cubicBezTo>
                  <a:cubicBezTo>
                    <a:pt x="1827" y="9875"/>
                    <a:pt x="1827" y="9875"/>
                    <a:pt x="1827" y="9875"/>
                  </a:cubicBezTo>
                  <a:cubicBezTo>
                    <a:pt x="2008" y="9948"/>
                    <a:pt x="2008" y="9948"/>
                    <a:pt x="2008" y="9948"/>
                  </a:cubicBezTo>
                  <a:cubicBezTo>
                    <a:pt x="2066" y="9923"/>
                    <a:pt x="2066" y="9923"/>
                    <a:pt x="2066" y="9923"/>
                  </a:cubicBezTo>
                  <a:cubicBezTo>
                    <a:pt x="2127" y="9406"/>
                    <a:pt x="2127" y="9406"/>
                    <a:pt x="2127" y="9406"/>
                  </a:cubicBezTo>
                  <a:cubicBezTo>
                    <a:pt x="1848" y="9554"/>
                    <a:pt x="1848" y="9554"/>
                    <a:pt x="1848" y="9554"/>
                  </a:cubicBezTo>
                  <a:lnTo>
                    <a:pt x="1872" y="9598"/>
                  </a:lnTo>
                  <a:close/>
                  <a:moveTo>
                    <a:pt x="2053" y="9913"/>
                  </a:moveTo>
                  <a:cubicBezTo>
                    <a:pt x="2007" y="9933"/>
                    <a:pt x="2007" y="9933"/>
                    <a:pt x="2007" y="9933"/>
                  </a:cubicBezTo>
                  <a:cubicBezTo>
                    <a:pt x="1863" y="9875"/>
                    <a:pt x="1863" y="9875"/>
                    <a:pt x="1863" y="9875"/>
                  </a:cubicBezTo>
                  <a:cubicBezTo>
                    <a:pt x="1908" y="9855"/>
                    <a:pt x="1908" y="9855"/>
                    <a:pt x="1908" y="9855"/>
                  </a:cubicBezTo>
                  <a:cubicBezTo>
                    <a:pt x="1916" y="9852"/>
                    <a:pt x="1916" y="9852"/>
                    <a:pt x="1916" y="9852"/>
                  </a:cubicBezTo>
                  <a:cubicBezTo>
                    <a:pt x="1917" y="9844"/>
                    <a:pt x="1917" y="9844"/>
                    <a:pt x="1917" y="9844"/>
                  </a:cubicBezTo>
                  <a:cubicBezTo>
                    <a:pt x="1949" y="9569"/>
                    <a:pt x="1949" y="9569"/>
                    <a:pt x="1949" y="9569"/>
                  </a:cubicBezTo>
                  <a:cubicBezTo>
                    <a:pt x="1952" y="9544"/>
                    <a:pt x="1952" y="9544"/>
                    <a:pt x="1952" y="9544"/>
                  </a:cubicBezTo>
                  <a:cubicBezTo>
                    <a:pt x="1929" y="9555"/>
                    <a:pt x="1929" y="9555"/>
                    <a:pt x="1929" y="9555"/>
                  </a:cubicBezTo>
                  <a:cubicBezTo>
                    <a:pt x="1878" y="9580"/>
                    <a:pt x="1878" y="9580"/>
                    <a:pt x="1878" y="9580"/>
                  </a:cubicBezTo>
                  <a:cubicBezTo>
                    <a:pt x="1867" y="9560"/>
                    <a:pt x="1867" y="9560"/>
                    <a:pt x="1867" y="9560"/>
                  </a:cubicBezTo>
                  <a:cubicBezTo>
                    <a:pt x="2110" y="9431"/>
                    <a:pt x="2110" y="9431"/>
                    <a:pt x="2110" y="9431"/>
                  </a:cubicBezTo>
                  <a:lnTo>
                    <a:pt x="2053" y="9913"/>
                  </a:lnTo>
                  <a:close/>
                  <a:moveTo>
                    <a:pt x="851" y="10771"/>
                  </a:moveTo>
                  <a:cubicBezTo>
                    <a:pt x="791" y="10806"/>
                    <a:pt x="791" y="10806"/>
                    <a:pt x="791" y="10806"/>
                  </a:cubicBezTo>
                  <a:cubicBezTo>
                    <a:pt x="820" y="10864"/>
                    <a:pt x="820" y="10864"/>
                    <a:pt x="820" y="10864"/>
                  </a:cubicBezTo>
                  <a:cubicBezTo>
                    <a:pt x="754" y="10902"/>
                    <a:pt x="754" y="10902"/>
                    <a:pt x="754" y="10902"/>
                  </a:cubicBezTo>
                  <a:cubicBezTo>
                    <a:pt x="789" y="10960"/>
                    <a:pt x="789" y="10960"/>
                    <a:pt x="789" y="10960"/>
                  </a:cubicBezTo>
                  <a:cubicBezTo>
                    <a:pt x="682" y="11095"/>
                    <a:pt x="682" y="11095"/>
                    <a:pt x="682" y="11095"/>
                  </a:cubicBezTo>
                  <a:cubicBezTo>
                    <a:pt x="743" y="11163"/>
                    <a:pt x="743" y="11163"/>
                    <a:pt x="743" y="11163"/>
                  </a:cubicBezTo>
                  <a:cubicBezTo>
                    <a:pt x="884" y="10964"/>
                    <a:pt x="884" y="10964"/>
                    <a:pt x="884" y="10964"/>
                  </a:cubicBezTo>
                  <a:cubicBezTo>
                    <a:pt x="947" y="10924"/>
                    <a:pt x="947" y="10924"/>
                    <a:pt x="947" y="10924"/>
                  </a:cubicBezTo>
                  <a:lnTo>
                    <a:pt x="851" y="10771"/>
                  </a:lnTo>
                  <a:close/>
                  <a:moveTo>
                    <a:pt x="876" y="10952"/>
                  </a:moveTo>
                  <a:cubicBezTo>
                    <a:pt x="874" y="10954"/>
                    <a:pt x="874" y="10954"/>
                    <a:pt x="874" y="10954"/>
                  </a:cubicBezTo>
                  <a:cubicBezTo>
                    <a:pt x="873" y="10956"/>
                    <a:pt x="873" y="10956"/>
                    <a:pt x="873" y="10956"/>
                  </a:cubicBezTo>
                  <a:cubicBezTo>
                    <a:pt x="741" y="11140"/>
                    <a:pt x="741" y="11140"/>
                    <a:pt x="741" y="11140"/>
                  </a:cubicBezTo>
                  <a:cubicBezTo>
                    <a:pt x="700" y="11094"/>
                    <a:pt x="700" y="11094"/>
                    <a:pt x="700" y="11094"/>
                  </a:cubicBezTo>
                  <a:cubicBezTo>
                    <a:pt x="800" y="10968"/>
                    <a:pt x="800" y="10968"/>
                    <a:pt x="800" y="10968"/>
                  </a:cubicBezTo>
                  <a:cubicBezTo>
                    <a:pt x="806" y="10961"/>
                    <a:pt x="806" y="10961"/>
                    <a:pt x="806" y="10961"/>
                  </a:cubicBezTo>
                  <a:cubicBezTo>
                    <a:pt x="801" y="10952"/>
                    <a:pt x="801" y="10952"/>
                    <a:pt x="801" y="10952"/>
                  </a:cubicBezTo>
                  <a:cubicBezTo>
                    <a:pt x="773" y="10907"/>
                    <a:pt x="773" y="10907"/>
                    <a:pt x="773" y="10907"/>
                  </a:cubicBezTo>
                  <a:cubicBezTo>
                    <a:pt x="827" y="10876"/>
                    <a:pt x="827" y="10876"/>
                    <a:pt x="827" y="10876"/>
                  </a:cubicBezTo>
                  <a:cubicBezTo>
                    <a:pt x="839" y="10869"/>
                    <a:pt x="839" y="10869"/>
                    <a:pt x="839" y="10869"/>
                  </a:cubicBezTo>
                  <a:cubicBezTo>
                    <a:pt x="833" y="10857"/>
                    <a:pt x="833" y="10857"/>
                    <a:pt x="833" y="10857"/>
                  </a:cubicBezTo>
                  <a:cubicBezTo>
                    <a:pt x="809" y="10811"/>
                    <a:pt x="809" y="10811"/>
                    <a:pt x="809" y="10811"/>
                  </a:cubicBezTo>
                  <a:cubicBezTo>
                    <a:pt x="846" y="10790"/>
                    <a:pt x="846" y="10790"/>
                    <a:pt x="846" y="10790"/>
                  </a:cubicBezTo>
                  <a:cubicBezTo>
                    <a:pt x="928" y="10920"/>
                    <a:pt x="928" y="10920"/>
                    <a:pt x="928" y="10920"/>
                  </a:cubicBezTo>
                  <a:lnTo>
                    <a:pt x="876" y="10952"/>
                  </a:lnTo>
                  <a:close/>
                  <a:moveTo>
                    <a:pt x="1824" y="9684"/>
                  </a:moveTo>
                  <a:cubicBezTo>
                    <a:pt x="1831" y="9619"/>
                    <a:pt x="1831" y="9619"/>
                    <a:pt x="1831" y="9619"/>
                  </a:cubicBezTo>
                  <a:cubicBezTo>
                    <a:pt x="1807" y="9576"/>
                    <a:pt x="1807" y="9576"/>
                    <a:pt x="1807" y="9576"/>
                  </a:cubicBezTo>
                  <a:cubicBezTo>
                    <a:pt x="1585" y="9696"/>
                    <a:pt x="1585" y="9696"/>
                    <a:pt x="1585" y="9696"/>
                  </a:cubicBezTo>
                  <a:cubicBezTo>
                    <a:pt x="1582" y="9755"/>
                    <a:pt x="1582" y="9755"/>
                    <a:pt x="1582" y="9755"/>
                  </a:cubicBezTo>
                  <a:cubicBezTo>
                    <a:pt x="1613" y="9796"/>
                    <a:pt x="1613" y="9796"/>
                    <a:pt x="1613" y="9796"/>
                  </a:cubicBezTo>
                  <a:lnTo>
                    <a:pt x="1824" y="9684"/>
                  </a:lnTo>
                  <a:close/>
                  <a:moveTo>
                    <a:pt x="1598" y="9705"/>
                  </a:moveTo>
                  <a:cubicBezTo>
                    <a:pt x="1802" y="9595"/>
                    <a:pt x="1802" y="9595"/>
                    <a:pt x="1802" y="9595"/>
                  </a:cubicBezTo>
                  <a:cubicBezTo>
                    <a:pt x="1817" y="9622"/>
                    <a:pt x="1817" y="9622"/>
                    <a:pt x="1817" y="9622"/>
                  </a:cubicBezTo>
                  <a:cubicBezTo>
                    <a:pt x="1811" y="9675"/>
                    <a:pt x="1811" y="9675"/>
                    <a:pt x="1811" y="9675"/>
                  </a:cubicBezTo>
                  <a:cubicBezTo>
                    <a:pt x="1617" y="9778"/>
                    <a:pt x="1617" y="9778"/>
                    <a:pt x="1617" y="9778"/>
                  </a:cubicBezTo>
                  <a:cubicBezTo>
                    <a:pt x="1596" y="9751"/>
                    <a:pt x="1596" y="9751"/>
                    <a:pt x="1596" y="9751"/>
                  </a:cubicBezTo>
                  <a:lnTo>
                    <a:pt x="1598" y="9705"/>
                  </a:lnTo>
                  <a:close/>
                  <a:moveTo>
                    <a:pt x="1799" y="10288"/>
                  </a:moveTo>
                  <a:cubicBezTo>
                    <a:pt x="1811" y="10146"/>
                    <a:pt x="1811" y="10146"/>
                    <a:pt x="1811" y="10146"/>
                  </a:cubicBezTo>
                  <a:cubicBezTo>
                    <a:pt x="1669" y="10203"/>
                    <a:pt x="1669" y="10203"/>
                    <a:pt x="1669" y="10203"/>
                  </a:cubicBezTo>
                  <a:cubicBezTo>
                    <a:pt x="1654" y="10433"/>
                    <a:pt x="1654" y="10433"/>
                    <a:pt x="1654" y="10433"/>
                  </a:cubicBezTo>
                  <a:cubicBezTo>
                    <a:pt x="1779" y="10506"/>
                    <a:pt x="1779" y="10506"/>
                    <a:pt x="1779" y="10506"/>
                  </a:cubicBezTo>
                  <a:cubicBezTo>
                    <a:pt x="1915" y="10369"/>
                    <a:pt x="1915" y="10369"/>
                    <a:pt x="1915" y="10369"/>
                  </a:cubicBezTo>
                  <a:cubicBezTo>
                    <a:pt x="2042" y="10323"/>
                    <a:pt x="2042" y="10323"/>
                    <a:pt x="2042" y="10323"/>
                  </a:cubicBezTo>
                  <a:cubicBezTo>
                    <a:pt x="2074" y="10156"/>
                    <a:pt x="2074" y="10156"/>
                    <a:pt x="2074" y="10156"/>
                  </a:cubicBezTo>
                  <a:cubicBezTo>
                    <a:pt x="1913" y="10206"/>
                    <a:pt x="1913" y="10206"/>
                    <a:pt x="1913" y="10206"/>
                  </a:cubicBezTo>
                  <a:lnTo>
                    <a:pt x="1799" y="10288"/>
                  </a:lnTo>
                  <a:close/>
                  <a:moveTo>
                    <a:pt x="2056" y="10176"/>
                  </a:moveTo>
                  <a:cubicBezTo>
                    <a:pt x="2029" y="10313"/>
                    <a:pt x="2029" y="10313"/>
                    <a:pt x="2029" y="10313"/>
                  </a:cubicBezTo>
                  <a:cubicBezTo>
                    <a:pt x="1910" y="10356"/>
                    <a:pt x="1910" y="10356"/>
                    <a:pt x="1910" y="10356"/>
                  </a:cubicBezTo>
                  <a:cubicBezTo>
                    <a:pt x="1907" y="10357"/>
                    <a:pt x="1907" y="10357"/>
                    <a:pt x="1907" y="10357"/>
                  </a:cubicBezTo>
                  <a:cubicBezTo>
                    <a:pt x="1905" y="10359"/>
                    <a:pt x="1905" y="10359"/>
                    <a:pt x="1905" y="10359"/>
                  </a:cubicBezTo>
                  <a:cubicBezTo>
                    <a:pt x="1777" y="10489"/>
                    <a:pt x="1777" y="10489"/>
                    <a:pt x="1777" y="10489"/>
                  </a:cubicBezTo>
                  <a:cubicBezTo>
                    <a:pt x="1669" y="10425"/>
                    <a:pt x="1669" y="10425"/>
                    <a:pt x="1669" y="10425"/>
                  </a:cubicBezTo>
                  <a:cubicBezTo>
                    <a:pt x="1682" y="10212"/>
                    <a:pt x="1682" y="10212"/>
                    <a:pt x="1682" y="10212"/>
                  </a:cubicBezTo>
                  <a:cubicBezTo>
                    <a:pt x="1795" y="10167"/>
                    <a:pt x="1795" y="10167"/>
                    <a:pt x="1795" y="10167"/>
                  </a:cubicBezTo>
                  <a:cubicBezTo>
                    <a:pt x="1785" y="10287"/>
                    <a:pt x="1785" y="10287"/>
                    <a:pt x="1785" y="10287"/>
                  </a:cubicBezTo>
                  <a:cubicBezTo>
                    <a:pt x="1782" y="10317"/>
                    <a:pt x="1782" y="10317"/>
                    <a:pt x="1782" y="10317"/>
                  </a:cubicBezTo>
                  <a:cubicBezTo>
                    <a:pt x="1807" y="10299"/>
                    <a:pt x="1807" y="10299"/>
                    <a:pt x="1807" y="10299"/>
                  </a:cubicBezTo>
                  <a:cubicBezTo>
                    <a:pt x="1919" y="10219"/>
                    <a:pt x="1919" y="10219"/>
                    <a:pt x="1919" y="10219"/>
                  </a:cubicBezTo>
                  <a:lnTo>
                    <a:pt x="2056" y="10176"/>
                  </a:lnTo>
                  <a:close/>
                  <a:moveTo>
                    <a:pt x="1279" y="10216"/>
                  </a:moveTo>
                  <a:cubicBezTo>
                    <a:pt x="1240" y="10233"/>
                    <a:pt x="1240" y="10233"/>
                    <a:pt x="1240" y="10233"/>
                  </a:cubicBezTo>
                  <a:cubicBezTo>
                    <a:pt x="1133" y="10122"/>
                    <a:pt x="1133" y="10122"/>
                    <a:pt x="1133" y="10122"/>
                  </a:cubicBezTo>
                  <a:cubicBezTo>
                    <a:pt x="1020" y="10180"/>
                    <a:pt x="1020" y="10180"/>
                    <a:pt x="1020" y="10180"/>
                  </a:cubicBezTo>
                  <a:cubicBezTo>
                    <a:pt x="1223" y="10537"/>
                    <a:pt x="1223" y="10537"/>
                    <a:pt x="1223" y="10537"/>
                  </a:cubicBezTo>
                  <a:cubicBezTo>
                    <a:pt x="1275" y="10509"/>
                    <a:pt x="1275" y="10509"/>
                    <a:pt x="1275" y="10509"/>
                  </a:cubicBezTo>
                  <a:cubicBezTo>
                    <a:pt x="1306" y="10559"/>
                    <a:pt x="1306" y="10559"/>
                    <a:pt x="1306" y="10559"/>
                  </a:cubicBezTo>
                  <a:cubicBezTo>
                    <a:pt x="1546" y="10438"/>
                    <a:pt x="1546" y="10438"/>
                    <a:pt x="1546" y="10438"/>
                  </a:cubicBezTo>
                  <a:cubicBezTo>
                    <a:pt x="1551" y="10358"/>
                    <a:pt x="1551" y="10358"/>
                    <a:pt x="1551" y="10358"/>
                  </a:cubicBezTo>
                  <a:cubicBezTo>
                    <a:pt x="1413" y="10347"/>
                    <a:pt x="1413" y="10347"/>
                    <a:pt x="1413" y="10347"/>
                  </a:cubicBezTo>
                  <a:lnTo>
                    <a:pt x="1279" y="10216"/>
                  </a:lnTo>
                  <a:close/>
                  <a:moveTo>
                    <a:pt x="1533" y="10429"/>
                  </a:moveTo>
                  <a:cubicBezTo>
                    <a:pt x="1311" y="10540"/>
                    <a:pt x="1311" y="10540"/>
                    <a:pt x="1311" y="10540"/>
                  </a:cubicBezTo>
                  <a:cubicBezTo>
                    <a:pt x="1286" y="10502"/>
                    <a:pt x="1286" y="10502"/>
                    <a:pt x="1286" y="10502"/>
                  </a:cubicBezTo>
                  <a:cubicBezTo>
                    <a:pt x="1279" y="10491"/>
                    <a:pt x="1279" y="10491"/>
                    <a:pt x="1279" y="10491"/>
                  </a:cubicBezTo>
                  <a:cubicBezTo>
                    <a:pt x="1268" y="10497"/>
                    <a:pt x="1268" y="10497"/>
                    <a:pt x="1268" y="10497"/>
                  </a:cubicBezTo>
                  <a:cubicBezTo>
                    <a:pt x="1229" y="10519"/>
                    <a:pt x="1229" y="10519"/>
                    <a:pt x="1229" y="10519"/>
                  </a:cubicBezTo>
                  <a:cubicBezTo>
                    <a:pt x="1039" y="10186"/>
                    <a:pt x="1039" y="10186"/>
                    <a:pt x="1039" y="10186"/>
                  </a:cubicBezTo>
                  <a:cubicBezTo>
                    <a:pt x="1130" y="10139"/>
                    <a:pt x="1130" y="10139"/>
                    <a:pt x="1130" y="10139"/>
                  </a:cubicBezTo>
                  <a:cubicBezTo>
                    <a:pt x="1230" y="10242"/>
                    <a:pt x="1230" y="10242"/>
                    <a:pt x="1230" y="10242"/>
                  </a:cubicBezTo>
                  <a:cubicBezTo>
                    <a:pt x="1236" y="10249"/>
                    <a:pt x="1236" y="10249"/>
                    <a:pt x="1236" y="10249"/>
                  </a:cubicBezTo>
                  <a:cubicBezTo>
                    <a:pt x="1245" y="10245"/>
                    <a:pt x="1245" y="10245"/>
                    <a:pt x="1245" y="10245"/>
                  </a:cubicBezTo>
                  <a:cubicBezTo>
                    <a:pt x="1276" y="10232"/>
                    <a:pt x="1276" y="10232"/>
                    <a:pt x="1276" y="10232"/>
                  </a:cubicBezTo>
                  <a:cubicBezTo>
                    <a:pt x="1403" y="10357"/>
                    <a:pt x="1403" y="10357"/>
                    <a:pt x="1403" y="10357"/>
                  </a:cubicBezTo>
                  <a:cubicBezTo>
                    <a:pt x="1407" y="10360"/>
                    <a:pt x="1407" y="10360"/>
                    <a:pt x="1407" y="10360"/>
                  </a:cubicBezTo>
                  <a:cubicBezTo>
                    <a:pt x="1412" y="10361"/>
                    <a:pt x="1412" y="10361"/>
                    <a:pt x="1412" y="10361"/>
                  </a:cubicBezTo>
                  <a:cubicBezTo>
                    <a:pt x="1536" y="10371"/>
                    <a:pt x="1536" y="10371"/>
                    <a:pt x="1536" y="10371"/>
                  </a:cubicBezTo>
                  <a:lnTo>
                    <a:pt x="1533" y="10429"/>
                  </a:lnTo>
                  <a:close/>
                  <a:moveTo>
                    <a:pt x="1672" y="9937"/>
                  </a:moveTo>
                  <a:cubicBezTo>
                    <a:pt x="1497" y="9799"/>
                    <a:pt x="1497" y="9799"/>
                    <a:pt x="1497" y="9799"/>
                  </a:cubicBezTo>
                  <a:cubicBezTo>
                    <a:pt x="1541" y="9773"/>
                    <a:pt x="1541" y="9773"/>
                    <a:pt x="1541" y="9773"/>
                  </a:cubicBezTo>
                  <a:cubicBezTo>
                    <a:pt x="1519" y="9728"/>
                    <a:pt x="1519" y="9728"/>
                    <a:pt x="1519" y="9728"/>
                  </a:cubicBezTo>
                  <a:cubicBezTo>
                    <a:pt x="1302" y="9845"/>
                    <a:pt x="1302" y="9845"/>
                    <a:pt x="1302" y="9845"/>
                  </a:cubicBezTo>
                  <a:cubicBezTo>
                    <a:pt x="1641" y="10101"/>
                    <a:pt x="1641" y="10101"/>
                    <a:pt x="1641" y="10101"/>
                  </a:cubicBezTo>
                  <a:cubicBezTo>
                    <a:pt x="1952" y="9971"/>
                    <a:pt x="1952" y="9971"/>
                    <a:pt x="1952" y="9971"/>
                  </a:cubicBezTo>
                  <a:cubicBezTo>
                    <a:pt x="1717" y="9920"/>
                    <a:pt x="1717" y="9920"/>
                    <a:pt x="1717" y="9920"/>
                  </a:cubicBezTo>
                  <a:lnTo>
                    <a:pt x="1672" y="9937"/>
                  </a:lnTo>
                  <a:close/>
                  <a:moveTo>
                    <a:pt x="1906" y="9975"/>
                  </a:moveTo>
                  <a:cubicBezTo>
                    <a:pt x="1643" y="10085"/>
                    <a:pt x="1643" y="10085"/>
                    <a:pt x="1643" y="10085"/>
                  </a:cubicBezTo>
                  <a:cubicBezTo>
                    <a:pt x="1328" y="9847"/>
                    <a:pt x="1328" y="9847"/>
                    <a:pt x="1328" y="9847"/>
                  </a:cubicBezTo>
                  <a:cubicBezTo>
                    <a:pt x="1513" y="9747"/>
                    <a:pt x="1513" y="9747"/>
                    <a:pt x="1513" y="9747"/>
                  </a:cubicBezTo>
                  <a:cubicBezTo>
                    <a:pt x="1522" y="9768"/>
                    <a:pt x="1522" y="9768"/>
                    <a:pt x="1522" y="9768"/>
                  </a:cubicBezTo>
                  <a:cubicBezTo>
                    <a:pt x="1490" y="9787"/>
                    <a:pt x="1490" y="9787"/>
                    <a:pt x="1490" y="9787"/>
                  </a:cubicBezTo>
                  <a:cubicBezTo>
                    <a:pt x="1473" y="9797"/>
                    <a:pt x="1473" y="9797"/>
                    <a:pt x="1473" y="9797"/>
                  </a:cubicBezTo>
                  <a:cubicBezTo>
                    <a:pt x="1489" y="9810"/>
                    <a:pt x="1489" y="9810"/>
                    <a:pt x="1489" y="9810"/>
                  </a:cubicBezTo>
                  <a:cubicBezTo>
                    <a:pt x="1664" y="9948"/>
                    <a:pt x="1664" y="9948"/>
                    <a:pt x="1664" y="9948"/>
                  </a:cubicBezTo>
                  <a:cubicBezTo>
                    <a:pt x="1670" y="9953"/>
                    <a:pt x="1670" y="9953"/>
                    <a:pt x="1670" y="9953"/>
                  </a:cubicBezTo>
                  <a:cubicBezTo>
                    <a:pt x="1677" y="9950"/>
                    <a:pt x="1677" y="9950"/>
                    <a:pt x="1677" y="9950"/>
                  </a:cubicBezTo>
                  <a:cubicBezTo>
                    <a:pt x="1719" y="9935"/>
                    <a:pt x="1719" y="9935"/>
                    <a:pt x="1719" y="9935"/>
                  </a:cubicBezTo>
                  <a:lnTo>
                    <a:pt x="1906" y="9975"/>
                  </a:lnTo>
                  <a:close/>
                  <a:moveTo>
                    <a:pt x="1749" y="11007"/>
                  </a:moveTo>
                  <a:cubicBezTo>
                    <a:pt x="1848" y="10973"/>
                    <a:pt x="1848" y="10973"/>
                    <a:pt x="1848" y="10973"/>
                  </a:cubicBezTo>
                  <a:cubicBezTo>
                    <a:pt x="1869" y="10992"/>
                    <a:pt x="1869" y="10992"/>
                    <a:pt x="1869" y="10992"/>
                  </a:cubicBezTo>
                  <a:cubicBezTo>
                    <a:pt x="1977" y="10957"/>
                    <a:pt x="1977" y="10957"/>
                    <a:pt x="1977" y="10957"/>
                  </a:cubicBezTo>
                  <a:cubicBezTo>
                    <a:pt x="1933" y="10838"/>
                    <a:pt x="1933" y="10838"/>
                    <a:pt x="1933" y="10838"/>
                  </a:cubicBezTo>
                  <a:cubicBezTo>
                    <a:pt x="1751" y="10898"/>
                    <a:pt x="1751" y="10898"/>
                    <a:pt x="1751" y="10898"/>
                  </a:cubicBezTo>
                  <a:cubicBezTo>
                    <a:pt x="1577" y="10971"/>
                    <a:pt x="1577" y="10971"/>
                    <a:pt x="1577" y="10971"/>
                  </a:cubicBezTo>
                  <a:cubicBezTo>
                    <a:pt x="1672" y="11066"/>
                    <a:pt x="1672" y="11066"/>
                    <a:pt x="1672" y="11066"/>
                  </a:cubicBezTo>
                  <a:cubicBezTo>
                    <a:pt x="1770" y="11033"/>
                    <a:pt x="1770" y="11033"/>
                    <a:pt x="1770" y="11033"/>
                  </a:cubicBezTo>
                  <a:lnTo>
                    <a:pt x="1749" y="11007"/>
                  </a:lnTo>
                  <a:close/>
                  <a:moveTo>
                    <a:pt x="1675" y="11050"/>
                  </a:moveTo>
                  <a:cubicBezTo>
                    <a:pt x="1601" y="10976"/>
                    <a:pt x="1601" y="10976"/>
                    <a:pt x="1601" y="10976"/>
                  </a:cubicBezTo>
                  <a:cubicBezTo>
                    <a:pt x="1755" y="10911"/>
                    <a:pt x="1755" y="10911"/>
                    <a:pt x="1755" y="10911"/>
                  </a:cubicBezTo>
                  <a:cubicBezTo>
                    <a:pt x="1924" y="10855"/>
                    <a:pt x="1924" y="10855"/>
                    <a:pt x="1924" y="10855"/>
                  </a:cubicBezTo>
                  <a:cubicBezTo>
                    <a:pt x="1959" y="10948"/>
                    <a:pt x="1959" y="10948"/>
                    <a:pt x="1959" y="10948"/>
                  </a:cubicBezTo>
                  <a:cubicBezTo>
                    <a:pt x="1873" y="10976"/>
                    <a:pt x="1873" y="10976"/>
                    <a:pt x="1873" y="10976"/>
                  </a:cubicBezTo>
                  <a:cubicBezTo>
                    <a:pt x="1858" y="10962"/>
                    <a:pt x="1858" y="10962"/>
                    <a:pt x="1858" y="10962"/>
                  </a:cubicBezTo>
                  <a:cubicBezTo>
                    <a:pt x="1852" y="10957"/>
                    <a:pt x="1852" y="10957"/>
                    <a:pt x="1852" y="10957"/>
                  </a:cubicBezTo>
                  <a:cubicBezTo>
                    <a:pt x="1844" y="10959"/>
                    <a:pt x="1844" y="10959"/>
                    <a:pt x="1844" y="10959"/>
                  </a:cubicBezTo>
                  <a:cubicBezTo>
                    <a:pt x="1744" y="10994"/>
                    <a:pt x="1744" y="10994"/>
                    <a:pt x="1744" y="10994"/>
                  </a:cubicBezTo>
                  <a:cubicBezTo>
                    <a:pt x="1725" y="11000"/>
                    <a:pt x="1725" y="11000"/>
                    <a:pt x="1725" y="11000"/>
                  </a:cubicBezTo>
                  <a:cubicBezTo>
                    <a:pt x="1738" y="11016"/>
                    <a:pt x="1738" y="11016"/>
                    <a:pt x="1738" y="11016"/>
                  </a:cubicBezTo>
                  <a:cubicBezTo>
                    <a:pt x="1746" y="11026"/>
                    <a:pt x="1746" y="11026"/>
                    <a:pt x="1746" y="11026"/>
                  </a:cubicBezTo>
                  <a:lnTo>
                    <a:pt x="1675" y="11050"/>
                  </a:lnTo>
                  <a:close/>
                  <a:moveTo>
                    <a:pt x="1862" y="12340"/>
                  </a:moveTo>
                  <a:cubicBezTo>
                    <a:pt x="1603" y="12266"/>
                    <a:pt x="1603" y="12266"/>
                    <a:pt x="1603" y="12266"/>
                  </a:cubicBezTo>
                  <a:cubicBezTo>
                    <a:pt x="1586" y="12495"/>
                    <a:pt x="1586" y="12495"/>
                    <a:pt x="1586" y="12495"/>
                  </a:cubicBezTo>
                  <a:cubicBezTo>
                    <a:pt x="1707" y="12533"/>
                    <a:pt x="1707" y="12533"/>
                    <a:pt x="1707" y="12533"/>
                  </a:cubicBezTo>
                  <a:lnTo>
                    <a:pt x="1862" y="12340"/>
                  </a:lnTo>
                  <a:close/>
                  <a:moveTo>
                    <a:pt x="1601" y="12485"/>
                  </a:moveTo>
                  <a:cubicBezTo>
                    <a:pt x="1616" y="12284"/>
                    <a:pt x="1616" y="12284"/>
                    <a:pt x="1616" y="12284"/>
                  </a:cubicBezTo>
                  <a:cubicBezTo>
                    <a:pt x="1838" y="12348"/>
                    <a:pt x="1838" y="12348"/>
                    <a:pt x="1838" y="12348"/>
                  </a:cubicBezTo>
                  <a:cubicBezTo>
                    <a:pt x="1702" y="12517"/>
                    <a:pt x="1702" y="12517"/>
                    <a:pt x="1702" y="12517"/>
                  </a:cubicBezTo>
                  <a:lnTo>
                    <a:pt x="1601" y="12485"/>
                  </a:lnTo>
                  <a:close/>
                  <a:moveTo>
                    <a:pt x="1705" y="11134"/>
                  </a:moveTo>
                  <a:cubicBezTo>
                    <a:pt x="1863" y="11301"/>
                    <a:pt x="1863" y="11301"/>
                    <a:pt x="1863" y="11301"/>
                  </a:cubicBezTo>
                  <a:cubicBezTo>
                    <a:pt x="1947" y="11224"/>
                    <a:pt x="1947" y="11224"/>
                    <a:pt x="1947" y="11224"/>
                  </a:cubicBezTo>
                  <a:cubicBezTo>
                    <a:pt x="1821" y="11093"/>
                    <a:pt x="1821" y="11093"/>
                    <a:pt x="1821" y="11093"/>
                  </a:cubicBezTo>
                  <a:lnTo>
                    <a:pt x="1705" y="11134"/>
                  </a:lnTo>
                  <a:close/>
                  <a:moveTo>
                    <a:pt x="1863" y="11282"/>
                  </a:moveTo>
                  <a:cubicBezTo>
                    <a:pt x="1730" y="11140"/>
                    <a:pt x="1730" y="11140"/>
                    <a:pt x="1730" y="11140"/>
                  </a:cubicBezTo>
                  <a:cubicBezTo>
                    <a:pt x="1817" y="11109"/>
                    <a:pt x="1817" y="11109"/>
                    <a:pt x="1817" y="11109"/>
                  </a:cubicBezTo>
                  <a:cubicBezTo>
                    <a:pt x="1927" y="11223"/>
                    <a:pt x="1927" y="11223"/>
                    <a:pt x="1927" y="11223"/>
                  </a:cubicBezTo>
                  <a:lnTo>
                    <a:pt x="1863" y="11282"/>
                  </a:lnTo>
                  <a:close/>
                  <a:moveTo>
                    <a:pt x="3065" y="11929"/>
                  </a:moveTo>
                  <a:cubicBezTo>
                    <a:pt x="3227" y="11987"/>
                    <a:pt x="3227" y="11987"/>
                    <a:pt x="3227" y="11987"/>
                  </a:cubicBezTo>
                  <a:cubicBezTo>
                    <a:pt x="3210" y="12036"/>
                    <a:pt x="3210" y="12036"/>
                    <a:pt x="3210" y="12036"/>
                  </a:cubicBezTo>
                  <a:cubicBezTo>
                    <a:pt x="3244" y="12081"/>
                    <a:pt x="3244" y="12081"/>
                    <a:pt x="3244" y="12081"/>
                  </a:cubicBezTo>
                  <a:cubicBezTo>
                    <a:pt x="3382" y="12085"/>
                    <a:pt x="3382" y="12085"/>
                    <a:pt x="3382" y="12085"/>
                  </a:cubicBezTo>
                  <a:cubicBezTo>
                    <a:pt x="3393" y="12060"/>
                    <a:pt x="3393" y="12060"/>
                    <a:pt x="3393" y="12060"/>
                  </a:cubicBezTo>
                  <a:cubicBezTo>
                    <a:pt x="3355" y="11946"/>
                    <a:pt x="3355" y="11946"/>
                    <a:pt x="3355" y="11946"/>
                  </a:cubicBezTo>
                  <a:cubicBezTo>
                    <a:pt x="3095" y="11850"/>
                    <a:pt x="3095" y="11850"/>
                    <a:pt x="3095" y="11850"/>
                  </a:cubicBezTo>
                  <a:lnTo>
                    <a:pt x="3065" y="11929"/>
                  </a:lnTo>
                  <a:close/>
                  <a:moveTo>
                    <a:pt x="3344" y="11956"/>
                  </a:moveTo>
                  <a:cubicBezTo>
                    <a:pt x="3378" y="12060"/>
                    <a:pt x="3378" y="12060"/>
                    <a:pt x="3378" y="12060"/>
                  </a:cubicBezTo>
                  <a:cubicBezTo>
                    <a:pt x="3373" y="12071"/>
                    <a:pt x="3373" y="12071"/>
                    <a:pt x="3373" y="12071"/>
                  </a:cubicBezTo>
                  <a:cubicBezTo>
                    <a:pt x="3251" y="12067"/>
                    <a:pt x="3251" y="12067"/>
                    <a:pt x="3251" y="12067"/>
                  </a:cubicBezTo>
                  <a:cubicBezTo>
                    <a:pt x="3226" y="12033"/>
                    <a:pt x="3226" y="12033"/>
                    <a:pt x="3226" y="12033"/>
                  </a:cubicBezTo>
                  <a:cubicBezTo>
                    <a:pt x="3240" y="11991"/>
                    <a:pt x="3240" y="11991"/>
                    <a:pt x="3240" y="11991"/>
                  </a:cubicBezTo>
                  <a:cubicBezTo>
                    <a:pt x="3244" y="11978"/>
                    <a:pt x="3244" y="11978"/>
                    <a:pt x="3244" y="11978"/>
                  </a:cubicBezTo>
                  <a:cubicBezTo>
                    <a:pt x="3231" y="11973"/>
                    <a:pt x="3231" y="11973"/>
                    <a:pt x="3231" y="11973"/>
                  </a:cubicBezTo>
                  <a:cubicBezTo>
                    <a:pt x="3083" y="11921"/>
                    <a:pt x="3083" y="11921"/>
                    <a:pt x="3083" y="11921"/>
                  </a:cubicBezTo>
                  <a:cubicBezTo>
                    <a:pt x="3104" y="11868"/>
                    <a:pt x="3104" y="11868"/>
                    <a:pt x="3104" y="11868"/>
                  </a:cubicBezTo>
                  <a:lnTo>
                    <a:pt x="3344" y="11956"/>
                  </a:lnTo>
                  <a:close/>
                  <a:moveTo>
                    <a:pt x="1722" y="11758"/>
                  </a:moveTo>
                  <a:cubicBezTo>
                    <a:pt x="1722" y="11758"/>
                    <a:pt x="1766" y="11823"/>
                    <a:pt x="1808" y="11850"/>
                  </a:cubicBezTo>
                  <a:cubicBezTo>
                    <a:pt x="1851" y="11877"/>
                    <a:pt x="1948" y="11903"/>
                    <a:pt x="1948" y="11903"/>
                  </a:cubicBezTo>
                  <a:cubicBezTo>
                    <a:pt x="1876" y="12171"/>
                    <a:pt x="1876" y="12171"/>
                    <a:pt x="1876" y="12171"/>
                  </a:cubicBezTo>
                  <a:cubicBezTo>
                    <a:pt x="1952" y="12193"/>
                    <a:pt x="1952" y="12193"/>
                    <a:pt x="1952" y="12193"/>
                  </a:cubicBezTo>
                  <a:cubicBezTo>
                    <a:pt x="2060" y="12063"/>
                    <a:pt x="2060" y="12063"/>
                    <a:pt x="2060" y="12063"/>
                  </a:cubicBezTo>
                  <a:cubicBezTo>
                    <a:pt x="2120" y="11803"/>
                    <a:pt x="2120" y="11803"/>
                    <a:pt x="2120" y="11803"/>
                  </a:cubicBezTo>
                  <a:cubicBezTo>
                    <a:pt x="2120" y="11803"/>
                    <a:pt x="1991" y="11769"/>
                    <a:pt x="1916" y="11727"/>
                  </a:cubicBezTo>
                  <a:cubicBezTo>
                    <a:pt x="1841" y="11685"/>
                    <a:pt x="1781" y="11619"/>
                    <a:pt x="1781" y="11619"/>
                  </a:cubicBezTo>
                  <a:cubicBezTo>
                    <a:pt x="1394" y="11669"/>
                    <a:pt x="1394" y="11669"/>
                    <a:pt x="1394" y="11669"/>
                  </a:cubicBezTo>
                  <a:cubicBezTo>
                    <a:pt x="1431" y="11790"/>
                    <a:pt x="1431" y="11790"/>
                    <a:pt x="1431" y="11790"/>
                  </a:cubicBezTo>
                  <a:lnTo>
                    <a:pt x="1722" y="11758"/>
                  </a:lnTo>
                  <a:close/>
                  <a:moveTo>
                    <a:pt x="1776" y="11634"/>
                  </a:moveTo>
                  <a:cubicBezTo>
                    <a:pt x="1792" y="11650"/>
                    <a:pt x="1845" y="11703"/>
                    <a:pt x="1909" y="11739"/>
                  </a:cubicBezTo>
                  <a:cubicBezTo>
                    <a:pt x="1972" y="11774"/>
                    <a:pt x="2068" y="11803"/>
                    <a:pt x="2103" y="11813"/>
                  </a:cubicBezTo>
                  <a:cubicBezTo>
                    <a:pt x="2047" y="12057"/>
                    <a:pt x="2047" y="12057"/>
                    <a:pt x="2047" y="12057"/>
                  </a:cubicBezTo>
                  <a:cubicBezTo>
                    <a:pt x="1947" y="12177"/>
                    <a:pt x="1947" y="12177"/>
                    <a:pt x="1947" y="12177"/>
                  </a:cubicBezTo>
                  <a:cubicBezTo>
                    <a:pt x="1893" y="12161"/>
                    <a:pt x="1893" y="12161"/>
                    <a:pt x="1893" y="12161"/>
                  </a:cubicBezTo>
                  <a:cubicBezTo>
                    <a:pt x="1961" y="11907"/>
                    <a:pt x="1961" y="11907"/>
                    <a:pt x="1961" y="11907"/>
                  </a:cubicBezTo>
                  <a:cubicBezTo>
                    <a:pt x="1965" y="11893"/>
                    <a:pt x="1965" y="11893"/>
                    <a:pt x="1965" y="11893"/>
                  </a:cubicBezTo>
                  <a:cubicBezTo>
                    <a:pt x="1951" y="11890"/>
                    <a:pt x="1951" y="11890"/>
                    <a:pt x="1951" y="11890"/>
                  </a:cubicBezTo>
                  <a:cubicBezTo>
                    <a:pt x="1950" y="11889"/>
                    <a:pt x="1856" y="11864"/>
                    <a:pt x="1816" y="11838"/>
                  </a:cubicBezTo>
                  <a:cubicBezTo>
                    <a:pt x="1776" y="11813"/>
                    <a:pt x="1734" y="11751"/>
                    <a:pt x="1734" y="11750"/>
                  </a:cubicBezTo>
                  <a:cubicBezTo>
                    <a:pt x="1729" y="11744"/>
                    <a:pt x="1729" y="11744"/>
                    <a:pt x="1729" y="11744"/>
                  </a:cubicBezTo>
                  <a:cubicBezTo>
                    <a:pt x="1721" y="11744"/>
                    <a:pt x="1721" y="11744"/>
                    <a:pt x="1721" y="11744"/>
                  </a:cubicBezTo>
                  <a:cubicBezTo>
                    <a:pt x="1441" y="11775"/>
                    <a:pt x="1441" y="11775"/>
                    <a:pt x="1441" y="11775"/>
                  </a:cubicBezTo>
                  <a:cubicBezTo>
                    <a:pt x="1412" y="11681"/>
                    <a:pt x="1412" y="11681"/>
                    <a:pt x="1412" y="11681"/>
                  </a:cubicBezTo>
                  <a:lnTo>
                    <a:pt x="1776" y="11634"/>
                  </a:lnTo>
                  <a:close/>
                  <a:moveTo>
                    <a:pt x="1160" y="12208"/>
                  </a:moveTo>
                  <a:cubicBezTo>
                    <a:pt x="1170" y="12221"/>
                    <a:pt x="1170" y="12221"/>
                    <a:pt x="1170" y="12221"/>
                  </a:cubicBezTo>
                  <a:cubicBezTo>
                    <a:pt x="1181" y="12210"/>
                    <a:pt x="1181" y="12210"/>
                    <a:pt x="1181" y="12210"/>
                  </a:cubicBezTo>
                  <a:cubicBezTo>
                    <a:pt x="1281" y="12111"/>
                    <a:pt x="1281" y="12111"/>
                    <a:pt x="1281" y="12111"/>
                  </a:cubicBezTo>
                  <a:cubicBezTo>
                    <a:pt x="1314" y="12079"/>
                    <a:pt x="1314" y="12079"/>
                    <a:pt x="1314" y="12079"/>
                  </a:cubicBezTo>
                  <a:cubicBezTo>
                    <a:pt x="1268" y="12088"/>
                    <a:pt x="1268" y="12088"/>
                    <a:pt x="1268" y="12088"/>
                  </a:cubicBezTo>
                  <a:cubicBezTo>
                    <a:pt x="1115" y="12118"/>
                    <a:pt x="1115" y="12118"/>
                    <a:pt x="1115" y="12118"/>
                  </a:cubicBezTo>
                  <a:cubicBezTo>
                    <a:pt x="1093" y="12122"/>
                    <a:pt x="1093" y="12122"/>
                    <a:pt x="1093" y="12122"/>
                  </a:cubicBezTo>
                  <a:cubicBezTo>
                    <a:pt x="1107" y="12140"/>
                    <a:pt x="1107" y="12140"/>
                    <a:pt x="1107" y="12140"/>
                  </a:cubicBezTo>
                  <a:lnTo>
                    <a:pt x="1160" y="12208"/>
                  </a:lnTo>
                  <a:close/>
                  <a:moveTo>
                    <a:pt x="1271" y="12101"/>
                  </a:moveTo>
                  <a:cubicBezTo>
                    <a:pt x="1171" y="12200"/>
                    <a:pt x="1171" y="12200"/>
                    <a:pt x="1171" y="12200"/>
                  </a:cubicBezTo>
                  <a:cubicBezTo>
                    <a:pt x="1118" y="12131"/>
                    <a:pt x="1118" y="12131"/>
                    <a:pt x="1118" y="12131"/>
                  </a:cubicBezTo>
                  <a:lnTo>
                    <a:pt x="1271" y="12101"/>
                  </a:lnTo>
                  <a:close/>
                  <a:moveTo>
                    <a:pt x="1901" y="11066"/>
                  </a:moveTo>
                  <a:cubicBezTo>
                    <a:pt x="1980" y="11150"/>
                    <a:pt x="1980" y="11150"/>
                    <a:pt x="1980" y="11150"/>
                  </a:cubicBezTo>
                  <a:cubicBezTo>
                    <a:pt x="2015" y="11067"/>
                    <a:pt x="2015" y="11067"/>
                    <a:pt x="2015" y="11067"/>
                  </a:cubicBezTo>
                  <a:cubicBezTo>
                    <a:pt x="2001" y="11029"/>
                    <a:pt x="2001" y="11029"/>
                    <a:pt x="2001" y="11029"/>
                  </a:cubicBezTo>
                  <a:lnTo>
                    <a:pt x="1901" y="11066"/>
                  </a:lnTo>
                  <a:close/>
                  <a:moveTo>
                    <a:pt x="1976" y="11125"/>
                  </a:moveTo>
                  <a:cubicBezTo>
                    <a:pt x="1926" y="11072"/>
                    <a:pt x="1926" y="11072"/>
                    <a:pt x="1926" y="11072"/>
                  </a:cubicBezTo>
                  <a:cubicBezTo>
                    <a:pt x="1993" y="11047"/>
                    <a:pt x="1993" y="11047"/>
                    <a:pt x="1993" y="11047"/>
                  </a:cubicBezTo>
                  <a:cubicBezTo>
                    <a:pt x="2000" y="11067"/>
                    <a:pt x="2000" y="11067"/>
                    <a:pt x="2000" y="11067"/>
                  </a:cubicBezTo>
                  <a:lnTo>
                    <a:pt x="1976" y="11125"/>
                  </a:lnTo>
                  <a:close/>
                  <a:moveTo>
                    <a:pt x="1639" y="11847"/>
                  </a:moveTo>
                  <a:cubicBezTo>
                    <a:pt x="1451" y="11873"/>
                    <a:pt x="1451" y="11873"/>
                    <a:pt x="1451" y="11873"/>
                  </a:cubicBezTo>
                  <a:cubicBezTo>
                    <a:pt x="1451" y="11873"/>
                    <a:pt x="1491" y="12011"/>
                    <a:pt x="1550" y="12049"/>
                  </a:cubicBezTo>
                  <a:cubicBezTo>
                    <a:pt x="1609" y="12088"/>
                    <a:pt x="1764" y="12137"/>
                    <a:pt x="1764" y="12137"/>
                  </a:cubicBezTo>
                  <a:cubicBezTo>
                    <a:pt x="1803" y="11988"/>
                    <a:pt x="1803" y="11988"/>
                    <a:pt x="1803" y="11988"/>
                  </a:cubicBezTo>
                  <a:cubicBezTo>
                    <a:pt x="1803" y="11988"/>
                    <a:pt x="1734" y="11973"/>
                    <a:pt x="1695" y="11932"/>
                  </a:cubicBezTo>
                  <a:cubicBezTo>
                    <a:pt x="1655" y="11891"/>
                    <a:pt x="1639" y="11847"/>
                    <a:pt x="1639" y="11847"/>
                  </a:cubicBezTo>
                  <a:close/>
                  <a:moveTo>
                    <a:pt x="1755" y="12119"/>
                  </a:moveTo>
                  <a:cubicBezTo>
                    <a:pt x="1715" y="12106"/>
                    <a:pt x="1604" y="12068"/>
                    <a:pt x="1557" y="12038"/>
                  </a:cubicBezTo>
                  <a:cubicBezTo>
                    <a:pt x="1515" y="12010"/>
                    <a:pt x="1482" y="11921"/>
                    <a:pt x="1470" y="11885"/>
                  </a:cubicBezTo>
                  <a:cubicBezTo>
                    <a:pt x="1630" y="11862"/>
                    <a:pt x="1630" y="11862"/>
                    <a:pt x="1630" y="11862"/>
                  </a:cubicBezTo>
                  <a:cubicBezTo>
                    <a:pt x="1638" y="11878"/>
                    <a:pt x="1655" y="11911"/>
                    <a:pt x="1685" y="11942"/>
                  </a:cubicBezTo>
                  <a:cubicBezTo>
                    <a:pt x="1716" y="11974"/>
                    <a:pt x="1763" y="11991"/>
                    <a:pt x="1786" y="11998"/>
                  </a:cubicBezTo>
                  <a:lnTo>
                    <a:pt x="1755" y="12119"/>
                  </a:lnTo>
                  <a:close/>
                  <a:moveTo>
                    <a:pt x="2218" y="11229"/>
                  </a:moveTo>
                  <a:cubicBezTo>
                    <a:pt x="2240" y="11144"/>
                    <a:pt x="2240" y="11144"/>
                    <a:pt x="2240" y="11144"/>
                  </a:cubicBezTo>
                  <a:cubicBezTo>
                    <a:pt x="2362" y="11147"/>
                    <a:pt x="2362" y="11147"/>
                    <a:pt x="2362" y="11147"/>
                  </a:cubicBezTo>
                  <a:cubicBezTo>
                    <a:pt x="2397" y="11066"/>
                    <a:pt x="2397" y="11066"/>
                    <a:pt x="2397" y="11066"/>
                  </a:cubicBezTo>
                  <a:cubicBezTo>
                    <a:pt x="2118" y="11063"/>
                    <a:pt x="2118" y="11063"/>
                    <a:pt x="2118" y="11063"/>
                  </a:cubicBezTo>
                  <a:cubicBezTo>
                    <a:pt x="2075" y="11191"/>
                    <a:pt x="2075" y="11191"/>
                    <a:pt x="2075" y="11191"/>
                  </a:cubicBezTo>
                  <a:lnTo>
                    <a:pt x="2218" y="11229"/>
                  </a:lnTo>
                  <a:close/>
                  <a:moveTo>
                    <a:pt x="2128" y="11077"/>
                  </a:moveTo>
                  <a:cubicBezTo>
                    <a:pt x="2376" y="11080"/>
                    <a:pt x="2376" y="11080"/>
                    <a:pt x="2376" y="11080"/>
                  </a:cubicBezTo>
                  <a:cubicBezTo>
                    <a:pt x="2353" y="11132"/>
                    <a:pt x="2353" y="11132"/>
                    <a:pt x="2353" y="11132"/>
                  </a:cubicBezTo>
                  <a:cubicBezTo>
                    <a:pt x="2241" y="11130"/>
                    <a:pt x="2241" y="11130"/>
                    <a:pt x="2241" y="11130"/>
                  </a:cubicBezTo>
                  <a:cubicBezTo>
                    <a:pt x="2230" y="11129"/>
                    <a:pt x="2230" y="11129"/>
                    <a:pt x="2230" y="11129"/>
                  </a:cubicBezTo>
                  <a:cubicBezTo>
                    <a:pt x="2227" y="11140"/>
                    <a:pt x="2227" y="11140"/>
                    <a:pt x="2227" y="11140"/>
                  </a:cubicBezTo>
                  <a:cubicBezTo>
                    <a:pt x="2208" y="11212"/>
                    <a:pt x="2208" y="11212"/>
                    <a:pt x="2208" y="11212"/>
                  </a:cubicBezTo>
                  <a:cubicBezTo>
                    <a:pt x="2093" y="11181"/>
                    <a:pt x="2093" y="11181"/>
                    <a:pt x="2093" y="11181"/>
                  </a:cubicBezTo>
                  <a:lnTo>
                    <a:pt x="2128" y="11077"/>
                  </a:lnTo>
                  <a:close/>
                  <a:moveTo>
                    <a:pt x="1518" y="12752"/>
                  </a:moveTo>
                  <a:cubicBezTo>
                    <a:pt x="1659" y="12581"/>
                    <a:pt x="1659" y="12581"/>
                    <a:pt x="1659" y="12581"/>
                  </a:cubicBezTo>
                  <a:cubicBezTo>
                    <a:pt x="1549" y="12540"/>
                    <a:pt x="1549" y="12540"/>
                    <a:pt x="1549" y="12540"/>
                  </a:cubicBezTo>
                  <a:cubicBezTo>
                    <a:pt x="1337" y="12600"/>
                    <a:pt x="1337" y="12600"/>
                    <a:pt x="1337" y="12600"/>
                  </a:cubicBezTo>
                  <a:cubicBezTo>
                    <a:pt x="1379" y="12691"/>
                    <a:pt x="1379" y="12691"/>
                    <a:pt x="1379" y="12691"/>
                  </a:cubicBezTo>
                  <a:lnTo>
                    <a:pt x="1518" y="12752"/>
                  </a:lnTo>
                  <a:close/>
                  <a:moveTo>
                    <a:pt x="1548" y="12555"/>
                  </a:moveTo>
                  <a:cubicBezTo>
                    <a:pt x="1636" y="12588"/>
                    <a:pt x="1636" y="12588"/>
                    <a:pt x="1636" y="12588"/>
                  </a:cubicBezTo>
                  <a:cubicBezTo>
                    <a:pt x="1514" y="12735"/>
                    <a:pt x="1514" y="12735"/>
                    <a:pt x="1514" y="12735"/>
                  </a:cubicBezTo>
                  <a:cubicBezTo>
                    <a:pt x="1390" y="12680"/>
                    <a:pt x="1390" y="12680"/>
                    <a:pt x="1390" y="12680"/>
                  </a:cubicBezTo>
                  <a:cubicBezTo>
                    <a:pt x="1357" y="12609"/>
                    <a:pt x="1357" y="12609"/>
                    <a:pt x="1357" y="12609"/>
                  </a:cubicBezTo>
                  <a:lnTo>
                    <a:pt x="1548" y="12555"/>
                  </a:lnTo>
                  <a:close/>
                  <a:moveTo>
                    <a:pt x="2185" y="11318"/>
                  </a:moveTo>
                  <a:cubicBezTo>
                    <a:pt x="2048" y="11275"/>
                    <a:pt x="2048" y="11275"/>
                    <a:pt x="2048" y="11275"/>
                  </a:cubicBezTo>
                  <a:cubicBezTo>
                    <a:pt x="2001" y="11443"/>
                    <a:pt x="2001" y="11443"/>
                    <a:pt x="2001" y="11443"/>
                  </a:cubicBezTo>
                  <a:cubicBezTo>
                    <a:pt x="2239" y="11500"/>
                    <a:pt x="2239" y="11500"/>
                    <a:pt x="2239" y="11500"/>
                  </a:cubicBezTo>
                  <a:cubicBezTo>
                    <a:pt x="2247" y="11415"/>
                    <a:pt x="2247" y="11415"/>
                    <a:pt x="2247" y="11415"/>
                  </a:cubicBezTo>
                  <a:cubicBezTo>
                    <a:pt x="2177" y="11392"/>
                    <a:pt x="2177" y="11392"/>
                    <a:pt x="2177" y="11392"/>
                  </a:cubicBezTo>
                  <a:lnTo>
                    <a:pt x="2185" y="11318"/>
                  </a:lnTo>
                  <a:close/>
                  <a:moveTo>
                    <a:pt x="2232" y="11425"/>
                  </a:moveTo>
                  <a:cubicBezTo>
                    <a:pt x="2227" y="11482"/>
                    <a:pt x="2227" y="11482"/>
                    <a:pt x="2227" y="11482"/>
                  </a:cubicBezTo>
                  <a:cubicBezTo>
                    <a:pt x="2018" y="11433"/>
                    <a:pt x="2018" y="11433"/>
                    <a:pt x="2018" y="11433"/>
                  </a:cubicBezTo>
                  <a:cubicBezTo>
                    <a:pt x="2057" y="11293"/>
                    <a:pt x="2057" y="11293"/>
                    <a:pt x="2057" y="11293"/>
                  </a:cubicBezTo>
                  <a:cubicBezTo>
                    <a:pt x="2170" y="11328"/>
                    <a:pt x="2170" y="11328"/>
                    <a:pt x="2170" y="11328"/>
                  </a:cubicBezTo>
                  <a:cubicBezTo>
                    <a:pt x="2163" y="11391"/>
                    <a:pt x="2163" y="11391"/>
                    <a:pt x="2163" y="11391"/>
                  </a:cubicBezTo>
                  <a:cubicBezTo>
                    <a:pt x="2162" y="11402"/>
                    <a:pt x="2162" y="11402"/>
                    <a:pt x="2162" y="11402"/>
                  </a:cubicBezTo>
                  <a:cubicBezTo>
                    <a:pt x="2173" y="11406"/>
                    <a:pt x="2173" y="11406"/>
                    <a:pt x="2173" y="11406"/>
                  </a:cubicBezTo>
                  <a:lnTo>
                    <a:pt x="2232" y="11425"/>
                  </a:lnTo>
                  <a:close/>
                  <a:moveTo>
                    <a:pt x="1272" y="13037"/>
                  </a:moveTo>
                  <a:cubicBezTo>
                    <a:pt x="1279" y="13230"/>
                    <a:pt x="1279" y="13230"/>
                    <a:pt x="1279" y="13230"/>
                  </a:cubicBezTo>
                  <a:cubicBezTo>
                    <a:pt x="1279" y="13237"/>
                    <a:pt x="1279" y="13237"/>
                    <a:pt x="1279" y="13237"/>
                  </a:cubicBezTo>
                  <a:cubicBezTo>
                    <a:pt x="1285" y="13241"/>
                    <a:pt x="1285" y="13241"/>
                    <a:pt x="1285" y="13241"/>
                  </a:cubicBezTo>
                  <a:cubicBezTo>
                    <a:pt x="1400" y="13329"/>
                    <a:pt x="1400" y="13329"/>
                    <a:pt x="1400" y="13329"/>
                  </a:cubicBezTo>
                  <a:cubicBezTo>
                    <a:pt x="1412" y="13338"/>
                    <a:pt x="1412" y="13338"/>
                    <a:pt x="1412" y="13338"/>
                  </a:cubicBezTo>
                  <a:cubicBezTo>
                    <a:pt x="1420" y="13326"/>
                    <a:pt x="1420" y="13326"/>
                    <a:pt x="1420" y="13326"/>
                  </a:cubicBezTo>
                  <a:cubicBezTo>
                    <a:pt x="1462" y="13265"/>
                    <a:pt x="1462" y="13265"/>
                    <a:pt x="1462" y="13265"/>
                  </a:cubicBezTo>
                  <a:cubicBezTo>
                    <a:pt x="1465" y="13260"/>
                    <a:pt x="1465" y="13260"/>
                    <a:pt x="1465" y="13260"/>
                  </a:cubicBezTo>
                  <a:cubicBezTo>
                    <a:pt x="1465" y="13255"/>
                    <a:pt x="1465" y="13255"/>
                    <a:pt x="1465" y="13255"/>
                  </a:cubicBezTo>
                  <a:cubicBezTo>
                    <a:pt x="1428" y="12958"/>
                    <a:pt x="1428" y="12958"/>
                    <a:pt x="1428" y="12958"/>
                  </a:cubicBezTo>
                  <a:cubicBezTo>
                    <a:pt x="1428" y="12951"/>
                    <a:pt x="1428" y="12951"/>
                    <a:pt x="1428" y="12951"/>
                  </a:cubicBezTo>
                  <a:cubicBezTo>
                    <a:pt x="1421" y="12948"/>
                    <a:pt x="1421" y="12948"/>
                    <a:pt x="1421" y="12948"/>
                  </a:cubicBezTo>
                  <a:cubicBezTo>
                    <a:pt x="1310" y="12885"/>
                    <a:pt x="1310" y="12885"/>
                    <a:pt x="1310" y="12885"/>
                  </a:cubicBezTo>
                  <a:cubicBezTo>
                    <a:pt x="1306" y="12882"/>
                    <a:pt x="1306" y="12882"/>
                    <a:pt x="1306" y="12882"/>
                  </a:cubicBezTo>
                  <a:cubicBezTo>
                    <a:pt x="1301" y="12883"/>
                    <a:pt x="1301" y="12883"/>
                    <a:pt x="1301" y="12883"/>
                  </a:cubicBezTo>
                  <a:cubicBezTo>
                    <a:pt x="1207" y="12903"/>
                    <a:pt x="1207" y="12903"/>
                    <a:pt x="1207" y="12903"/>
                  </a:cubicBezTo>
                  <a:cubicBezTo>
                    <a:pt x="1187" y="12907"/>
                    <a:pt x="1187" y="12907"/>
                    <a:pt x="1187" y="12907"/>
                  </a:cubicBezTo>
                  <a:cubicBezTo>
                    <a:pt x="1198" y="12924"/>
                    <a:pt x="1198" y="12924"/>
                    <a:pt x="1198" y="12924"/>
                  </a:cubicBezTo>
                  <a:lnTo>
                    <a:pt x="1272" y="13037"/>
                  </a:lnTo>
                  <a:close/>
                  <a:moveTo>
                    <a:pt x="1304" y="12897"/>
                  </a:moveTo>
                  <a:cubicBezTo>
                    <a:pt x="1415" y="12960"/>
                    <a:pt x="1415" y="12960"/>
                    <a:pt x="1415" y="12960"/>
                  </a:cubicBezTo>
                  <a:cubicBezTo>
                    <a:pt x="1451" y="13257"/>
                    <a:pt x="1451" y="13257"/>
                    <a:pt x="1451" y="13257"/>
                  </a:cubicBezTo>
                  <a:cubicBezTo>
                    <a:pt x="1409" y="13318"/>
                    <a:pt x="1409" y="13318"/>
                    <a:pt x="1409" y="13318"/>
                  </a:cubicBezTo>
                  <a:cubicBezTo>
                    <a:pt x="1293" y="13230"/>
                    <a:pt x="1293" y="13230"/>
                    <a:pt x="1293" y="13230"/>
                  </a:cubicBezTo>
                  <a:cubicBezTo>
                    <a:pt x="1285" y="13033"/>
                    <a:pt x="1285" y="13033"/>
                    <a:pt x="1285" y="13033"/>
                  </a:cubicBezTo>
                  <a:cubicBezTo>
                    <a:pt x="1210" y="12917"/>
                    <a:pt x="1210" y="12917"/>
                    <a:pt x="1210" y="12917"/>
                  </a:cubicBezTo>
                  <a:lnTo>
                    <a:pt x="1304" y="12897"/>
                  </a:lnTo>
                  <a:close/>
                  <a:moveTo>
                    <a:pt x="3722" y="12674"/>
                  </a:moveTo>
                  <a:cubicBezTo>
                    <a:pt x="3804" y="12647"/>
                    <a:pt x="3804" y="12647"/>
                    <a:pt x="3804" y="12647"/>
                  </a:cubicBezTo>
                  <a:cubicBezTo>
                    <a:pt x="3797" y="12613"/>
                    <a:pt x="3797" y="12613"/>
                    <a:pt x="3797" y="12613"/>
                  </a:cubicBezTo>
                  <a:cubicBezTo>
                    <a:pt x="3821" y="12610"/>
                    <a:pt x="3821" y="12610"/>
                    <a:pt x="3821" y="12610"/>
                  </a:cubicBezTo>
                  <a:cubicBezTo>
                    <a:pt x="3790" y="12512"/>
                    <a:pt x="3790" y="12512"/>
                    <a:pt x="3790" y="12512"/>
                  </a:cubicBezTo>
                  <a:cubicBezTo>
                    <a:pt x="3762" y="12526"/>
                    <a:pt x="3762" y="12526"/>
                    <a:pt x="3762" y="12526"/>
                  </a:cubicBezTo>
                  <a:cubicBezTo>
                    <a:pt x="3726" y="12421"/>
                    <a:pt x="3726" y="12421"/>
                    <a:pt x="3726" y="12421"/>
                  </a:cubicBezTo>
                  <a:cubicBezTo>
                    <a:pt x="3665" y="12426"/>
                    <a:pt x="3665" y="12426"/>
                    <a:pt x="3665" y="12426"/>
                  </a:cubicBezTo>
                  <a:cubicBezTo>
                    <a:pt x="3630" y="12346"/>
                    <a:pt x="3630" y="12346"/>
                    <a:pt x="3630" y="12346"/>
                  </a:cubicBezTo>
                  <a:cubicBezTo>
                    <a:pt x="3639" y="12313"/>
                    <a:pt x="3639" y="12313"/>
                    <a:pt x="3639" y="12313"/>
                  </a:cubicBezTo>
                  <a:cubicBezTo>
                    <a:pt x="3603" y="12258"/>
                    <a:pt x="3603" y="12258"/>
                    <a:pt x="3603" y="12258"/>
                  </a:cubicBezTo>
                  <a:cubicBezTo>
                    <a:pt x="3518" y="12325"/>
                    <a:pt x="3518" y="12325"/>
                    <a:pt x="3518" y="12325"/>
                  </a:cubicBezTo>
                  <a:cubicBezTo>
                    <a:pt x="3637" y="12623"/>
                    <a:pt x="3637" y="12623"/>
                    <a:pt x="3637" y="12623"/>
                  </a:cubicBezTo>
                  <a:lnTo>
                    <a:pt x="3722" y="12674"/>
                  </a:lnTo>
                  <a:close/>
                  <a:moveTo>
                    <a:pt x="3599" y="12279"/>
                  </a:moveTo>
                  <a:cubicBezTo>
                    <a:pt x="3624" y="12315"/>
                    <a:pt x="3624" y="12315"/>
                    <a:pt x="3624" y="12315"/>
                  </a:cubicBezTo>
                  <a:cubicBezTo>
                    <a:pt x="3616" y="12342"/>
                    <a:pt x="3616" y="12342"/>
                    <a:pt x="3616" y="12342"/>
                  </a:cubicBezTo>
                  <a:cubicBezTo>
                    <a:pt x="3615" y="12347"/>
                    <a:pt x="3615" y="12347"/>
                    <a:pt x="3615" y="12347"/>
                  </a:cubicBezTo>
                  <a:cubicBezTo>
                    <a:pt x="3617" y="12352"/>
                    <a:pt x="3617" y="12352"/>
                    <a:pt x="3617" y="12352"/>
                  </a:cubicBezTo>
                  <a:cubicBezTo>
                    <a:pt x="3652" y="12431"/>
                    <a:pt x="3652" y="12431"/>
                    <a:pt x="3652" y="12431"/>
                  </a:cubicBezTo>
                  <a:cubicBezTo>
                    <a:pt x="3656" y="12440"/>
                    <a:pt x="3656" y="12440"/>
                    <a:pt x="3656" y="12440"/>
                  </a:cubicBezTo>
                  <a:cubicBezTo>
                    <a:pt x="3666" y="12440"/>
                    <a:pt x="3666" y="12440"/>
                    <a:pt x="3666" y="12440"/>
                  </a:cubicBezTo>
                  <a:cubicBezTo>
                    <a:pt x="3716" y="12436"/>
                    <a:pt x="3716" y="12436"/>
                    <a:pt x="3716" y="12436"/>
                  </a:cubicBezTo>
                  <a:cubicBezTo>
                    <a:pt x="3749" y="12531"/>
                    <a:pt x="3749" y="12531"/>
                    <a:pt x="3749" y="12531"/>
                  </a:cubicBezTo>
                  <a:cubicBezTo>
                    <a:pt x="3755" y="12546"/>
                    <a:pt x="3755" y="12546"/>
                    <a:pt x="3755" y="12546"/>
                  </a:cubicBezTo>
                  <a:cubicBezTo>
                    <a:pt x="3769" y="12539"/>
                    <a:pt x="3769" y="12539"/>
                    <a:pt x="3769" y="12539"/>
                  </a:cubicBezTo>
                  <a:cubicBezTo>
                    <a:pt x="3781" y="12532"/>
                    <a:pt x="3781" y="12532"/>
                    <a:pt x="3781" y="12532"/>
                  </a:cubicBezTo>
                  <a:cubicBezTo>
                    <a:pt x="3803" y="12598"/>
                    <a:pt x="3803" y="12598"/>
                    <a:pt x="3803" y="12598"/>
                  </a:cubicBezTo>
                  <a:cubicBezTo>
                    <a:pt x="3795" y="12600"/>
                    <a:pt x="3795" y="12600"/>
                    <a:pt x="3795" y="12600"/>
                  </a:cubicBezTo>
                  <a:cubicBezTo>
                    <a:pt x="3780" y="12602"/>
                    <a:pt x="3780" y="12602"/>
                    <a:pt x="3780" y="12602"/>
                  </a:cubicBezTo>
                  <a:cubicBezTo>
                    <a:pt x="3783" y="12616"/>
                    <a:pt x="3783" y="12616"/>
                    <a:pt x="3783" y="12616"/>
                  </a:cubicBezTo>
                  <a:cubicBezTo>
                    <a:pt x="3787" y="12637"/>
                    <a:pt x="3787" y="12637"/>
                    <a:pt x="3787" y="12637"/>
                  </a:cubicBezTo>
                  <a:cubicBezTo>
                    <a:pt x="3723" y="12659"/>
                    <a:pt x="3723" y="12659"/>
                    <a:pt x="3723" y="12659"/>
                  </a:cubicBezTo>
                  <a:cubicBezTo>
                    <a:pt x="3648" y="12613"/>
                    <a:pt x="3648" y="12613"/>
                    <a:pt x="3648" y="12613"/>
                  </a:cubicBezTo>
                  <a:cubicBezTo>
                    <a:pt x="3534" y="12329"/>
                    <a:pt x="3534" y="12329"/>
                    <a:pt x="3534" y="12329"/>
                  </a:cubicBezTo>
                  <a:lnTo>
                    <a:pt x="3599" y="12279"/>
                  </a:lnTo>
                  <a:close/>
                  <a:moveTo>
                    <a:pt x="2676" y="10949"/>
                  </a:moveTo>
                  <a:cubicBezTo>
                    <a:pt x="2760" y="10855"/>
                    <a:pt x="2760" y="10855"/>
                    <a:pt x="2760" y="10855"/>
                  </a:cubicBezTo>
                  <a:cubicBezTo>
                    <a:pt x="2578" y="10827"/>
                    <a:pt x="2578" y="10827"/>
                    <a:pt x="2578" y="10827"/>
                  </a:cubicBezTo>
                  <a:cubicBezTo>
                    <a:pt x="2579" y="10935"/>
                    <a:pt x="2579" y="10935"/>
                    <a:pt x="2579" y="10935"/>
                  </a:cubicBezTo>
                  <a:lnTo>
                    <a:pt x="2676" y="10949"/>
                  </a:lnTo>
                  <a:close/>
                  <a:moveTo>
                    <a:pt x="2733" y="10865"/>
                  </a:moveTo>
                  <a:cubicBezTo>
                    <a:pt x="2670" y="10934"/>
                    <a:pt x="2670" y="10934"/>
                    <a:pt x="2670" y="10934"/>
                  </a:cubicBezTo>
                  <a:cubicBezTo>
                    <a:pt x="2593" y="10923"/>
                    <a:pt x="2593" y="10923"/>
                    <a:pt x="2593" y="10923"/>
                  </a:cubicBezTo>
                  <a:cubicBezTo>
                    <a:pt x="2592" y="10844"/>
                    <a:pt x="2592" y="10844"/>
                    <a:pt x="2592" y="10844"/>
                  </a:cubicBezTo>
                  <a:lnTo>
                    <a:pt x="2733" y="10865"/>
                  </a:lnTo>
                  <a:close/>
                  <a:moveTo>
                    <a:pt x="3267" y="11138"/>
                  </a:moveTo>
                  <a:cubicBezTo>
                    <a:pt x="3197" y="11274"/>
                    <a:pt x="3197" y="11274"/>
                    <a:pt x="3197" y="11274"/>
                  </a:cubicBezTo>
                  <a:cubicBezTo>
                    <a:pt x="3443" y="11402"/>
                    <a:pt x="3443" y="11402"/>
                    <a:pt x="3443" y="11402"/>
                  </a:cubicBezTo>
                  <a:cubicBezTo>
                    <a:pt x="3481" y="11330"/>
                    <a:pt x="3481" y="11330"/>
                    <a:pt x="3481" y="11330"/>
                  </a:cubicBezTo>
                  <a:cubicBezTo>
                    <a:pt x="3507" y="11344"/>
                    <a:pt x="3507" y="11344"/>
                    <a:pt x="3507" y="11344"/>
                  </a:cubicBezTo>
                  <a:cubicBezTo>
                    <a:pt x="3507" y="11344"/>
                    <a:pt x="3567" y="11227"/>
                    <a:pt x="3565" y="11227"/>
                  </a:cubicBezTo>
                  <a:cubicBezTo>
                    <a:pt x="3563" y="11228"/>
                    <a:pt x="3429" y="11159"/>
                    <a:pt x="3429" y="11159"/>
                  </a:cubicBezTo>
                  <a:cubicBezTo>
                    <a:pt x="3402" y="11207"/>
                    <a:pt x="3402" y="11207"/>
                    <a:pt x="3402" y="11207"/>
                  </a:cubicBezTo>
                  <a:lnTo>
                    <a:pt x="3267" y="11138"/>
                  </a:lnTo>
                  <a:close/>
                  <a:moveTo>
                    <a:pt x="3414" y="11214"/>
                  </a:moveTo>
                  <a:cubicBezTo>
                    <a:pt x="3435" y="11178"/>
                    <a:pt x="3435" y="11178"/>
                    <a:pt x="3435" y="11178"/>
                  </a:cubicBezTo>
                  <a:cubicBezTo>
                    <a:pt x="3500" y="11211"/>
                    <a:pt x="3531" y="11227"/>
                    <a:pt x="3547" y="11234"/>
                  </a:cubicBezTo>
                  <a:cubicBezTo>
                    <a:pt x="3538" y="11252"/>
                    <a:pt x="3520" y="11289"/>
                    <a:pt x="3501" y="11325"/>
                  </a:cubicBezTo>
                  <a:cubicBezTo>
                    <a:pt x="3487" y="11318"/>
                    <a:pt x="3487" y="11318"/>
                    <a:pt x="3487" y="11318"/>
                  </a:cubicBezTo>
                  <a:cubicBezTo>
                    <a:pt x="3475" y="11311"/>
                    <a:pt x="3475" y="11311"/>
                    <a:pt x="3475" y="11311"/>
                  </a:cubicBezTo>
                  <a:cubicBezTo>
                    <a:pt x="3468" y="11323"/>
                    <a:pt x="3468" y="11323"/>
                    <a:pt x="3468" y="11323"/>
                  </a:cubicBezTo>
                  <a:cubicBezTo>
                    <a:pt x="3437" y="11383"/>
                    <a:pt x="3437" y="11383"/>
                    <a:pt x="3437" y="11383"/>
                  </a:cubicBezTo>
                  <a:cubicBezTo>
                    <a:pt x="3216" y="11268"/>
                    <a:pt x="3216" y="11268"/>
                    <a:pt x="3216" y="11268"/>
                  </a:cubicBezTo>
                  <a:cubicBezTo>
                    <a:pt x="3273" y="11157"/>
                    <a:pt x="3273" y="11157"/>
                    <a:pt x="3273" y="11157"/>
                  </a:cubicBezTo>
                  <a:cubicBezTo>
                    <a:pt x="3396" y="11220"/>
                    <a:pt x="3396" y="11220"/>
                    <a:pt x="3396" y="11220"/>
                  </a:cubicBezTo>
                  <a:cubicBezTo>
                    <a:pt x="3408" y="11226"/>
                    <a:pt x="3408" y="11226"/>
                    <a:pt x="3408" y="11226"/>
                  </a:cubicBezTo>
                  <a:lnTo>
                    <a:pt x="3414" y="11214"/>
                  </a:lnTo>
                  <a:close/>
                  <a:moveTo>
                    <a:pt x="2617" y="11833"/>
                  </a:moveTo>
                  <a:cubicBezTo>
                    <a:pt x="2677" y="11833"/>
                    <a:pt x="2677" y="11833"/>
                    <a:pt x="2677" y="11833"/>
                  </a:cubicBezTo>
                  <a:cubicBezTo>
                    <a:pt x="2711" y="11756"/>
                    <a:pt x="2711" y="11756"/>
                    <a:pt x="2711" y="11756"/>
                  </a:cubicBezTo>
                  <a:cubicBezTo>
                    <a:pt x="2541" y="11779"/>
                    <a:pt x="2541" y="11779"/>
                    <a:pt x="2541" y="11779"/>
                  </a:cubicBezTo>
                  <a:cubicBezTo>
                    <a:pt x="2453" y="11911"/>
                    <a:pt x="2453" y="11911"/>
                    <a:pt x="2453" y="11911"/>
                  </a:cubicBezTo>
                  <a:cubicBezTo>
                    <a:pt x="2586" y="11915"/>
                    <a:pt x="2586" y="11915"/>
                    <a:pt x="2586" y="11915"/>
                  </a:cubicBezTo>
                  <a:lnTo>
                    <a:pt x="2617" y="11833"/>
                  </a:lnTo>
                  <a:close/>
                  <a:moveTo>
                    <a:pt x="2479" y="11898"/>
                  </a:moveTo>
                  <a:cubicBezTo>
                    <a:pt x="2549" y="11792"/>
                    <a:pt x="2549" y="11792"/>
                    <a:pt x="2549" y="11792"/>
                  </a:cubicBezTo>
                  <a:cubicBezTo>
                    <a:pt x="2689" y="11773"/>
                    <a:pt x="2689" y="11773"/>
                    <a:pt x="2689" y="11773"/>
                  </a:cubicBezTo>
                  <a:cubicBezTo>
                    <a:pt x="2668" y="11819"/>
                    <a:pt x="2668" y="11819"/>
                    <a:pt x="2668" y="11819"/>
                  </a:cubicBezTo>
                  <a:cubicBezTo>
                    <a:pt x="2617" y="11819"/>
                    <a:pt x="2617" y="11819"/>
                    <a:pt x="2617" y="11819"/>
                  </a:cubicBezTo>
                  <a:cubicBezTo>
                    <a:pt x="2608" y="11819"/>
                    <a:pt x="2608" y="11819"/>
                    <a:pt x="2608" y="11819"/>
                  </a:cubicBezTo>
                  <a:cubicBezTo>
                    <a:pt x="2604" y="11828"/>
                    <a:pt x="2604" y="11828"/>
                    <a:pt x="2604" y="11828"/>
                  </a:cubicBezTo>
                  <a:cubicBezTo>
                    <a:pt x="2576" y="11901"/>
                    <a:pt x="2576" y="11901"/>
                    <a:pt x="2576" y="11901"/>
                  </a:cubicBezTo>
                  <a:lnTo>
                    <a:pt x="2479" y="11898"/>
                  </a:lnTo>
                  <a:close/>
                  <a:moveTo>
                    <a:pt x="4258" y="12577"/>
                  </a:moveTo>
                  <a:cubicBezTo>
                    <a:pt x="4224" y="12510"/>
                    <a:pt x="4224" y="12510"/>
                    <a:pt x="4224" y="12510"/>
                  </a:cubicBezTo>
                  <a:cubicBezTo>
                    <a:pt x="4145" y="12679"/>
                    <a:pt x="4145" y="12679"/>
                    <a:pt x="4145" y="12679"/>
                  </a:cubicBezTo>
                  <a:cubicBezTo>
                    <a:pt x="4251" y="12768"/>
                    <a:pt x="4251" y="12768"/>
                    <a:pt x="4251" y="12768"/>
                  </a:cubicBezTo>
                  <a:cubicBezTo>
                    <a:pt x="4292" y="12678"/>
                    <a:pt x="4292" y="12678"/>
                    <a:pt x="4292" y="12678"/>
                  </a:cubicBezTo>
                  <a:cubicBezTo>
                    <a:pt x="4245" y="12630"/>
                    <a:pt x="4245" y="12630"/>
                    <a:pt x="4245" y="12630"/>
                  </a:cubicBezTo>
                  <a:lnTo>
                    <a:pt x="4258" y="12577"/>
                  </a:lnTo>
                  <a:close/>
                  <a:moveTo>
                    <a:pt x="4276" y="12681"/>
                  </a:moveTo>
                  <a:cubicBezTo>
                    <a:pt x="4246" y="12746"/>
                    <a:pt x="4246" y="12746"/>
                    <a:pt x="4246" y="12746"/>
                  </a:cubicBezTo>
                  <a:cubicBezTo>
                    <a:pt x="4162" y="12675"/>
                    <a:pt x="4162" y="12675"/>
                    <a:pt x="4162" y="12675"/>
                  </a:cubicBezTo>
                  <a:cubicBezTo>
                    <a:pt x="4225" y="12542"/>
                    <a:pt x="4225" y="12542"/>
                    <a:pt x="4225" y="12542"/>
                  </a:cubicBezTo>
                  <a:cubicBezTo>
                    <a:pt x="4243" y="12578"/>
                    <a:pt x="4243" y="12578"/>
                    <a:pt x="4243" y="12578"/>
                  </a:cubicBezTo>
                  <a:cubicBezTo>
                    <a:pt x="4231" y="12627"/>
                    <a:pt x="4231" y="12627"/>
                    <a:pt x="4231" y="12627"/>
                  </a:cubicBezTo>
                  <a:cubicBezTo>
                    <a:pt x="4229" y="12634"/>
                    <a:pt x="4229" y="12634"/>
                    <a:pt x="4229" y="12634"/>
                  </a:cubicBezTo>
                  <a:cubicBezTo>
                    <a:pt x="4235" y="12640"/>
                    <a:pt x="4235" y="12640"/>
                    <a:pt x="4235" y="12640"/>
                  </a:cubicBezTo>
                  <a:lnTo>
                    <a:pt x="4276" y="12681"/>
                  </a:lnTo>
                  <a:close/>
                  <a:moveTo>
                    <a:pt x="4154" y="12418"/>
                  </a:moveTo>
                  <a:cubicBezTo>
                    <a:pt x="4215" y="12366"/>
                    <a:pt x="4215" y="12366"/>
                    <a:pt x="4215" y="12366"/>
                  </a:cubicBezTo>
                  <a:cubicBezTo>
                    <a:pt x="4164" y="12222"/>
                    <a:pt x="4164" y="12222"/>
                    <a:pt x="4164" y="12222"/>
                  </a:cubicBezTo>
                  <a:cubicBezTo>
                    <a:pt x="4164" y="12222"/>
                    <a:pt x="4101" y="12290"/>
                    <a:pt x="4086" y="12347"/>
                  </a:cubicBezTo>
                  <a:cubicBezTo>
                    <a:pt x="4079" y="12375"/>
                    <a:pt x="4072" y="12419"/>
                    <a:pt x="4059" y="12465"/>
                  </a:cubicBezTo>
                  <a:cubicBezTo>
                    <a:pt x="4044" y="12515"/>
                    <a:pt x="4023" y="12566"/>
                    <a:pt x="4023" y="12566"/>
                  </a:cubicBezTo>
                  <a:cubicBezTo>
                    <a:pt x="4115" y="12644"/>
                    <a:pt x="4115" y="12644"/>
                    <a:pt x="4115" y="12644"/>
                  </a:cubicBezTo>
                  <a:cubicBezTo>
                    <a:pt x="4186" y="12474"/>
                    <a:pt x="4186" y="12474"/>
                    <a:pt x="4186" y="12474"/>
                  </a:cubicBezTo>
                  <a:lnTo>
                    <a:pt x="4154" y="12418"/>
                  </a:lnTo>
                  <a:close/>
                  <a:moveTo>
                    <a:pt x="4109" y="12621"/>
                  </a:moveTo>
                  <a:cubicBezTo>
                    <a:pt x="4040" y="12562"/>
                    <a:pt x="4040" y="12562"/>
                    <a:pt x="4040" y="12562"/>
                  </a:cubicBezTo>
                  <a:cubicBezTo>
                    <a:pt x="4047" y="12545"/>
                    <a:pt x="4061" y="12507"/>
                    <a:pt x="4072" y="12469"/>
                  </a:cubicBezTo>
                  <a:cubicBezTo>
                    <a:pt x="4081" y="12440"/>
                    <a:pt x="4086" y="12412"/>
                    <a:pt x="4091" y="12388"/>
                  </a:cubicBezTo>
                  <a:cubicBezTo>
                    <a:pt x="4094" y="12374"/>
                    <a:pt x="4097" y="12361"/>
                    <a:pt x="4100" y="12351"/>
                  </a:cubicBezTo>
                  <a:cubicBezTo>
                    <a:pt x="4109" y="12315"/>
                    <a:pt x="4140" y="12272"/>
                    <a:pt x="4159" y="12249"/>
                  </a:cubicBezTo>
                  <a:cubicBezTo>
                    <a:pt x="4198" y="12362"/>
                    <a:pt x="4198" y="12362"/>
                    <a:pt x="4198" y="12362"/>
                  </a:cubicBezTo>
                  <a:cubicBezTo>
                    <a:pt x="4145" y="12408"/>
                    <a:pt x="4145" y="12408"/>
                    <a:pt x="4145" y="12408"/>
                  </a:cubicBezTo>
                  <a:cubicBezTo>
                    <a:pt x="4137" y="12415"/>
                    <a:pt x="4137" y="12415"/>
                    <a:pt x="4137" y="12415"/>
                  </a:cubicBezTo>
                  <a:cubicBezTo>
                    <a:pt x="4142" y="12425"/>
                    <a:pt x="4142" y="12425"/>
                    <a:pt x="4142" y="12425"/>
                  </a:cubicBezTo>
                  <a:cubicBezTo>
                    <a:pt x="4170" y="12475"/>
                    <a:pt x="4170" y="12475"/>
                    <a:pt x="4170" y="12475"/>
                  </a:cubicBezTo>
                  <a:lnTo>
                    <a:pt x="4109" y="12621"/>
                  </a:lnTo>
                  <a:close/>
                  <a:moveTo>
                    <a:pt x="1933" y="13165"/>
                  </a:moveTo>
                  <a:cubicBezTo>
                    <a:pt x="1916" y="13152"/>
                    <a:pt x="1916" y="13152"/>
                    <a:pt x="1916" y="13152"/>
                  </a:cubicBezTo>
                  <a:cubicBezTo>
                    <a:pt x="1940" y="13107"/>
                    <a:pt x="1940" y="13107"/>
                    <a:pt x="1940" y="13107"/>
                  </a:cubicBezTo>
                  <a:cubicBezTo>
                    <a:pt x="1896" y="13083"/>
                    <a:pt x="1896" y="13083"/>
                    <a:pt x="1896" y="13083"/>
                  </a:cubicBezTo>
                  <a:cubicBezTo>
                    <a:pt x="1934" y="13017"/>
                    <a:pt x="1934" y="13017"/>
                    <a:pt x="1934" y="13017"/>
                  </a:cubicBezTo>
                  <a:cubicBezTo>
                    <a:pt x="1864" y="12979"/>
                    <a:pt x="1864" y="12979"/>
                    <a:pt x="1864" y="12979"/>
                  </a:cubicBezTo>
                  <a:cubicBezTo>
                    <a:pt x="1896" y="12926"/>
                    <a:pt x="1896" y="12926"/>
                    <a:pt x="1896" y="12926"/>
                  </a:cubicBezTo>
                  <a:cubicBezTo>
                    <a:pt x="1918" y="12935"/>
                    <a:pt x="1918" y="12935"/>
                    <a:pt x="1918" y="12935"/>
                  </a:cubicBezTo>
                  <a:cubicBezTo>
                    <a:pt x="1950" y="12873"/>
                    <a:pt x="1950" y="12873"/>
                    <a:pt x="1950" y="12873"/>
                  </a:cubicBezTo>
                  <a:cubicBezTo>
                    <a:pt x="1917" y="12858"/>
                    <a:pt x="1917" y="12858"/>
                    <a:pt x="1917" y="12858"/>
                  </a:cubicBezTo>
                  <a:cubicBezTo>
                    <a:pt x="1956" y="12787"/>
                    <a:pt x="1956" y="12787"/>
                    <a:pt x="1956" y="12787"/>
                  </a:cubicBezTo>
                  <a:cubicBezTo>
                    <a:pt x="1892" y="12752"/>
                    <a:pt x="1892" y="12752"/>
                    <a:pt x="1892" y="12752"/>
                  </a:cubicBezTo>
                  <a:cubicBezTo>
                    <a:pt x="1921" y="12697"/>
                    <a:pt x="1921" y="12697"/>
                    <a:pt x="1921" y="12697"/>
                  </a:cubicBezTo>
                  <a:cubicBezTo>
                    <a:pt x="1941" y="12704"/>
                    <a:pt x="1941" y="12704"/>
                    <a:pt x="1941" y="12704"/>
                  </a:cubicBezTo>
                  <a:cubicBezTo>
                    <a:pt x="1971" y="12651"/>
                    <a:pt x="1971" y="12651"/>
                    <a:pt x="1971" y="12651"/>
                  </a:cubicBezTo>
                  <a:cubicBezTo>
                    <a:pt x="2016" y="12675"/>
                    <a:pt x="2016" y="12675"/>
                    <a:pt x="2016" y="12675"/>
                  </a:cubicBezTo>
                  <a:cubicBezTo>
                    <a:pt x="2053" y="12604"/>
                    <a:pt x="2053" y="12604"/>
                    <a:pt x="2053" y="12604"/>
                  </a:cubicBezTo>
                  <a:cubicBezTo>
                    <a:pt x="1989" y="12567"/>
                    <a:pt x="1989" y="12567"/>
                    <a:pt x="1989" y="12567"/>
                  </a:cubicBezTo>
                  <a:cubicBezTo>
                    <a:pt x="2019" y="12513"/>
                    <a:pt x="2019" y="12513"/>
                    <a:pt x="2019" y="12513"/>
                  </a:cubicBezTo>
                  <a:cubicBezTo>
                    <a:pt x="2038" y="12519"/>
                    <a:pt x="2038" y="12519"/>
                    <a:pt x="2038" y="12519"/>
                  </a:cubicBezTo>
                  <a:cubicBezTo>
                    <a:pt x="2070" y="12460"/>
                    <a:pt x="2070" y="12460"/>
                    <a:pt x="2070" y="12460"/>
                  </a:cubicBezTo>
                  <a:cubicBezTo>
                    <a:pt x="1965" y="12400"/>
                    <a:pt x="1965" y="12400"/>
                    <a:pt x="1965" y="12400"/>
                  </a:cubicBezTo>
                  <a:cubicBezTo>
                    <a:pt x="1939" y="12444"/>
                    <a:pt x="1939" y="12444"/>
                    <a:pt x="1939" y="12444"/>
                  </a:cubicBezTo>
                  <a:cubicBezTo>
                    <a:pt x="1922" y="12438"/>
                    <a:pt x="1922" y="12438"/>
                    <a:pt x="1922" y="12438"/>
                  </a:cubicBezTo>
                  <a:cubicBezTo>
                    <a:pt x="1840" y="12578"/>
                    <a:pt x="1840" y="12578"/>
                    <a:pt x="1840" y="12578"/>
                  </a:cubicBezTo>
                  <a:cubicBezTo>
                    <a:pt x="1862" y="12593"/>
                    <a:pt x="1862" y="12593"/>
                    <a:pt x="1862" y="12593"/>
                  </a:cubicBezTo>
                  <a:cubicBezTo>
                    <a:pt x="1840" y="12629"/>
                    <a:pt x="1840" y="12629"/>
                    <a:pt x="1840" y="12629"/>
                  </a:cubicBezTo>
                  <a:cubicBezTo>
                    <a:pt x="1824" y="12621"/>
                    <a:pt x="1824" y="12621"/>
                    <a:pt x="1824" y="12621"/>
                  </a:cubicBezTo>
                  <a:cubicBezTo>
                    <a:pt x="1742" y="12763"/>
                    <a:pt x="1742" y="12763"/>
                    <a:pt x="1742" y="12763"/>
                  </a:cubicBezTo>
                  <a:cubicBezTo>
                    <a:pt x="1838" y="12818"/>
                    <a:pt x="1838" y="12818"/>
                    <a:pt x="1838" y="12818"/>
                  </a:cubicBezTo>
                  <a:cubicBezTo>
                    <a:pt x="1814" y="12858"/>
                    <a:pt x="1814" y="12858"/>
                    <a:pt x="1814" y="12858"/>
                  </a:cubicBezTo>
                  <a:cubicBezTo>
                    <a:pt x="1795" y="12852"/>
                    <a:pt x="1795" y="12852"/>
                    <a:pt x="1795" y="12852"/>
                  </a:cubicBezTo>
                  <a:cubicBezTo>
                    <a:pt x="1720" y="12992"/>
                    <a:pt x="1720" y="12992"/>
                    <a:pt x="1720" y="12992"/>
                  </a:cubicBezTo>
                  <a:cubicBezTo>
                    <a:pt x="1827" y="13055"/>
                    <a:pt x="1827" y="13055"/>
                    <a:pt x="1827" y="13055"/>
                  </a:cubicBezTo>
                  <a:cubicBezTo>
                    <a:pt x="1801" y="13113"/>
                    <a:pt x="1801" y="13113"/>
                    <a:pt x="1801" y="13113"/>
                  </a:cubicBezTo>
                  <a:cubicBezTo>
                    <a:pt x="1815" y="13121"/>
                    <a:pt x="1815" y="13121"/>
                    <a:pt x="1815" y="13121"/>
                  </a:cubicBezTo>
                  <a:cubicBezTo>
                    <a:pt x="1786" y="13176"/>
                    <a:pt x="1786" y="13176"/>
                    <a:pt x="1786" y="13176"/>
                  </a:cubicBezTo>
                  <a:cubicBezTo>
                    <a:pt x="1719" y="13142"/>
                    <a:pt x="1719" y="13142"/>
                    <a:pt x="1719" y="13142"/>
                  </a:cubicBezTo>
                  <a:cubicBezTo>
                    <a:pt x="1682" y="13212"/>
                    <a:pt x="1682" y="13212"/>
                    <a:pt x="1682" y="13212"/>
                  </a:cubicBezTo>
                  <a:cubicBezTo>
                    <a:pt x="1856" y="13305"/>
                    <a:pt x="1856" y="13305"/>
                    <a:pt x="1856" y="13305"/>
                  </a:cubicBezTo>
                  <a:lnTo>
                    <a:pt x="1933" y="13165"/>
                  </a:lnTo>
                  <a:close/>
                  <a:moveTo>
                    <a:pt x="1701" y="13206"/>
                  </a:moveTo>
                  <a:cubicBezTo>
                    <a:pt x="1725" y="13160"/>
                    <a:pt x="1725" y="13160"/>
                    <a:pt x="1725" y="13160"/>
                  </a:cubicBezTo>
                  <a:cubicBezTo>
                    <a:pt x="1780" y="13188"/>
                    <a:pt x="1780" y="13188"/>
                    <a:pt x="1780" y="13188"/>
                  </a:cubicBezTo>
                  <a:cubicBezTo>
                    <a:pt x="1792" y="13194"/>
                    <a:pt x="1792" y="13194"/>
                    <a:pt x="1792" y="13194"/>
                  </a:cubicBezTo>
                  <a:cubicBezTo>
                    <a:pt x="1799" y="13182"/>
                    <a:pt x="1799" y="13182"/>
                    <a:pt x="1799" y="13182"/>
                  </a:cubicBezTo>
                  <a:cubicBezTo>
                    <a:pt x="1827" y="13128"/>
                    <a:pt x="1827" y="13128"/>
                    <a:pt x="1827" y="13128"/>
                  </a:cubicBezTo>
                  <a:cubicBezTo>
                    <a:pt x="1834" y="13116"/>
                    <a:pt x="1834" y="13116"/>
                    <a:pt x="1834" y="13116"/>
                  </a:cubicBezTo>
                  <a:cubicBezTo>
                    <a:pt x="1822" y="13109"/>
                    <a:pt x="1822" y="13109"/>
                    <a:pt x="1822" y="13109"/>
                  </a:cubicBezTo>
                  <a:cubicBezTo>
                    <a:pt x="1819" y="13107"/>
                    <a:pt x="1819" y="13107"/>
                    <a:pt x="1819" y="13107"/>
                  </a:cubicBezTo>
                  <a:cubicBezTo>
                    <a:pt x="1840" y="13061"/>
                    <a:pt x="1840" y="13061"/>
                    <a:pt x="1840" y="13061"/>
                  </a:cubicBezTo>
                  <a:cubicBezTo>
                    <a:pt x="1845" y="13049"/>
                    <a:pt x="1845" y="13049"/>
                    <a:pt x="1845" y="13049"/>
                  </a:cubicBezTo>
                  <a:cubicBezTo>
                    <a:pt x="1834" y="13043"/>
                    <a:pt x="1834" y="13043"/>
                    <a:pt x="1834" y="13043"/>
                  </a:cubicBezTo>
                  <a:cubicBezTo>
                    <a:pt x="1738" y="12987"/>
                    <a:pt x="1738" y="12987"/>
                    <a:pt x="1738" y="12987"/>
                  </a:cubicBezTo>
                  <a:cubicBezTo>
                    <a:pt x="1802" y="12869"/>
                    <a:pt x="1802" y="12869"/>
                    <a:pt x="1802" y="12869"/>
                  </a:cubicBezTo>
                  <a:cubicBezTo>
                    <a:pt x="1810" y="12871"/>
                    <a:pt x="1810" y="12871"/>
                    <a:pt x="1810" y="12871"/>
                  </a:cubicBezTo>
                  <a:cubicBezTo>
                    <a:pt x="1820" y="12875"/>
                    <a:pt x="1820" y="12875"/>
                    <a:pt x="1820" y="12875"/>
                  </a:cubicBezTo>
                  <a:cubicBezTo>
                    <a:pt x="1826" y="12865"/>
                    <a:pt x="1826" y="12865"/>
                    <a:pt x="1826" y="12865"/>
                  </a:cubicBezTo>
                  <a:cubicBezTo>
                    <a:pt x="1850" y="12825"/>
                    <a:pt x="1850" y="12825"/>
                    <a:pt x="1850" y="12825"/>
                  </a:cubicBezTo>
                  <a:cubicBezTo>
                    <a:pt x="1857" y="12813"/>
                    <a:pt x="1857" y="12813"/>
                    <a:pt x="1857" y="12813"/>
                  </a:cubicBezTo>
                  <a:cubicBezTo>
                    <a:pt x="1845" y="12806"/>
                    <a:pt x="1845" y="12806"/>
                    <a:pt x="1845" y="12806"/>
                  </a:cubicBezTo>
                  <a:cubicBezTo>
                    <a:pt x="1761" y="12758"/>
                    <a:pt x="1761" y="12758"/>
                    <a:pt x="1761" y="12758"/>
                  </a:cubicBezTo>
                  <a:cubicBezTo>
                    <a:pt x="1830" y="12640"/>
                    <a:pt x="1830" y="12640"/>
                    <a:pt x="1830" y="12640"/>
                  </a:cubicBezTo>
                  <a:cubicBezTo>
                    <a:pt x="1833" y="12642"/>
                    <a:pt x="1833" y="12642"/>
                    <a:pt x="1833" y="12642"/>
                  </a:cubicBezTo>
                  <a:cubicBezTo>
                    <a:pt x="1845" y="12648"/>
                    <a:pt x="1845" y="12648"/>
                    <a:pt x="1845" y="12648"/>
                  </a:cubicBezTo>
                  <a:cubicBezTo>
                    <a:pt x="1851" y="12637"/>
                    <a:pt x="1851" y="12637"/>
                    <a:pt x="1851" y="12637"/>
                  </a:cubicBezTo>
                  <a:cubicBezTo>
                    <a:pt x="1874" y="12600"/>
                    <a:pt x="1874" y="12600"/>
                    <a:pt x="1874" y="12600"/>
                  </a:cubicBezTo>
                  <a:cubicBezTo>
                    <a:pt x="1881" y="12588"/>
                    <a:pt x="1881" y="12588"/>
                    <a:pt x="1881" y="12588"/>
                  </a:cubicBezTo>
                  <a:cubicBezTo>
                    <a:pt x="1870" y="12581"/>
                    <a:pt x="1870" y="12581"/>
                    <a:pt x="1870" y="12581"/>
                  </a:cubicBezTo>
                  <a:cubicBezTo>
                    <a:pt x="1858" y="12574"/>
                    <a:pt x="1858" y="12574"/>
                    <a:pt x="1858" y="12574"/>
                  </a:cubicBezTo>
                  <a:cubicBezTo>
                    <a:pt x="1928" y="12455"/>
                    <a:pt x="1928" y="12455"/>
                    <a:pt x="1928" y="12455"/>
                  </a:cubicBezTo>
                  <a:cubicBezTo>
                    <a:pt x="1934" y="12457"/>
                    <a:pt x="1934" y="12457"/>
                    <a:pt x="1934" y="12457"/>
                  </a:cubicBezTo>
                  <a:cubicBezTo>
                    <a:pt x="1945" y="12461"/>
                    <a:pt x="1945" y="12461"/>
                    <a:pt x="1945" y="12461"/>
                  </a:cubicBezTo>
                  <a:cubicBezTo>
                    <a:pt x="1951" y="12451"/>
                    <a:pt x="1951" y="12451"/>
                    <a:pt x="1951" y="12451"/>
                  </a:cubicBezTo>
                  <a:cubicBezTo>
                    <a:pt x="1970" y="12419"/>
                    <a:pt x="1970" y="12419"/>
                    <a:pt x="1970" y="12419"/>
                  </a:cubicBezTo>
                  <a:cubicBezTo>
                    <a:pt x="2051" y="12466"/>
                    <a:pt x="2051" y="12466"/>
                    <a:pt x="2051" y="12466"/>
                  </a:cubicBezTo>
                  <a:cubicBezTo>
                    <a:pt x="2032" y="12502"/>
                    <a:pt x="2032" y="12502"/>
                    <a:pt x="2032" y="12502"/>
                  </a:cubicBezTo>
                  <a:cubicBezTo>
                    <a:pt x="2023" y="12499"/>
                    <a:pt x="2023" y="12499"/>
                    <a:pt x="2023" y="12499"/>
                  </a:cubicBezTo>
                  <a:cubicBezTo>
                    <a:pt x="2012" y="12496"/>
                    <a:pt x="2012" y="12496"/>
                    <a:pt x="2012" y="12496"/>
                  </a:cubicBezTo>
                  <a:cubicBezTo>
                    <a:pt x="2007" y="12506"/>
                    <a:pt x="2007" y="12506"/>
                    <a:pt x="2007" y="12506"/>
                  </a:cubicBezTo>
                  <a:cubicBezTo>
                    <a:pt x="1977" y="12560"/>
                    <a:pt x="1977" y="12560"/>
                    <a:pt x="1977" y="12560"/>
                  </a:cubicBezTo>
                  <a:cubicBezTo>
                    <a:pt x="1970" y="12572"/>
                    <a:pt x="1970" y="12572"/>
                    <a:pt x="1970" y="12572"/>
                  </a:cubicBezTo>
                  <a:cubicBezTo>
                    <a:pt x="1982" y="12579"/>
                    <a:pt x="1982" y="12579"/>
                    <a:pt x="1982" y="12579"/>
                  </a:cubicBezTo>
                  <a:cubicBezTo>
                    <a:pt x="2034" y="12609"/>
                    <a:pt x="2034" y="12609"/>
                    <a:pt x="2034" y="12609"/>
                  </a:cubicBezTo>
                  <a:cubicBezTo>
                    <a:pt x="2010" y="12656"/>
                    <a:pt x="2010" y="12656"/>
                    <a:pt x="2010" y="12656"/>
                  </a:cubicBezTo>
                  <a:cubicBezTo>
                    <a:pt x="1977" y="12639"/>
                    <a:pt x="1977" y="12639"/>
                    <a:pt x="1977" y="12639"/>
                  </a:cubicBezTo>
                  <a:cubicBezTo>
                    <a:pt x="1965" y="12632"/>
                    <a:pt x="1965" y="12632"/>
                    <a:pt x="1965" y="12632"/>
                  </a:cubicBezTo>
                  <a:cubicBezTo>
                    <a:pt x="1959" y="12644"/>
                    <a:pt x="1959" y="12644"/>
                    <a:pt x="1959" y="12644"/>
                  </a:cubicBezTo>
                  <a:cubicBezTo>
                    <a:pt x="1935" y="12687"/>
                    <a:pt x="1935" y="12687"/>
                    <a:pt x="1935" y="12687"/>
                  </a:cubicBezTo>
                  <a:cubicBezTo>
                    <a:pt x="1925" y="12684"/>
                    <a:pt x="1925" y="12684"/>
                    <a:pt x="1925" y="12684"/>
                  </a:cubicBezTo>
                  <a:cubicBezTo>
                    <a:pt x="1914" y="12680"/>
                    <a:pt x="1914" y="12680"/>
                    <a:pt x="1914" y="12680"/>
                  </a:cubicBezTo>
                  <a:cubicBezTo>
                    <a:pt x="1908" y="12691"/>
                    <a:pt x="1908" y="12691"/>
                    <a:pt x="1908" y="12691"/>
                  </a:cubicBezTo>
                  <a:cubicBezTo>
                    <a:pt x="1879" y="12746"/>
                    <a:pt x="1879" y="12746"/>
                    <a:pt x="1879" y="12746"/>
                  </a:cubicBezTo>
                  <a:cubicBezTo>
                    <a:pt x="1873" y="12758"/>
                    <a:pt x="1873" y="12758"/>
                    <a:pt x="1873" y="12758"/>
                  </a:cubicBezTo>
                  <a:cubicBezTo>
                    <a:pt x="1885" y="12765"/>
                    <a:pt x="1885" y="12765"/>
                    <a:pt x="1885" y="12765"/>
                  </a:cubicBezTo>
                  <a:cubicBezTo>
                    <a:pt x="1937" y="12793"/>
                    <a:pt x="1937" y="12793"/>
                    <a:pt x="1937" y="12793"/>
                  </a:cubicBezTo>
                  <a:cubicBezTo>
                    <a:pt x="1905" y="12851"/>
                    <a:pt x="1905" y="12851"/>
                    <a:pt x="1905" y="12851"/>
                  </a:cubicBezTo>
                  <a:cubicBezTo>
                    <a:pt x="1898" y="12864"/>
                    <a:pt x="1898" y="12864"/>
                    <a:pt x="1898" y="12864"/>
                  </a:cubicBezTo>
                  <a:cubicBezTo>
                    <a:pt x="1912" y="12871"/>
                    <a:pt x="1912" y="12871"/>
                    <a:pt x="1912" y="12871"/>
                  </a:cubicBezTo>
                  <a:cubicBezTo>
                    <a:pt x="1931" y="12880"/>
                    <a:pt x="1931" y="12880"/>
                    <a:pt x="1931" y="12880"/>
                  </a:cubicBezTo>
                  <a:cubicBezTo>
                    <a:pt x="1912" y="12917"/>
                    <a:pt x="1912" y="12917"/>
                    <a:pt x="1912" y="12917"/>
                  </a:cubicBezTo>
                  <a:cubicBezTo>
                    <a:pt x="1901" y="12913"/>
                    <a:pt x="1901" y="12913"/>
                    <a:pt x="1901" y="12913"/>
                  </a:cubicBezTo>
                  <a:cubicBezTo>
                    <a:pt x="1890" y="12908"/>
                    <a:pt x="1890" y="12908"/>
                    <a:pt x="1890" y="12908"/>
                  </a:cubicBezTo>
                  <a:cubicBezTo>
                    <a:pt x="1884" y="12918"/>
                    <a:pt x="1884" y="12918"/>
                    <a:pt x="1884" y="12918"/>
                  </a:cubicBezTo>
                  <a:cubicBezTo>
                    <a:pt x="1852" y="12972"/>
                    <a:pt x="1852" y="12972"/>
                    <a:pt x="1852" y="12972"/>
                  </a:cubicBezTo>
                  <a:cubicBezTo>
                    <a:pt x="1845" y="12984"/>
                    <a:pt x="1845" y="12984"/>
                    <a:pt x="1845" y="12984"/>
                  </a:cubicBezTo>
                  <a:cubicBezTo>
                    <a:pt x="1858" y="12991"/>
                    <a:pt x="1858" y="12991"/>
                    <a:pt x="1858" y="12991"/>
                  </a:cubicBezTo>
                  <a:cubicBezTo>
                    <a:pt x="1915" y="13022"/>
                    <a:pt x="1915" y="13022"/>
                    <a:pt x="1915" y="13022"/>
                  </a:cubicBezTo>
                  <a:cubicBezTo>
                    <a:pt x="1884" y="13077"/>
                    <a:pt x="1884" y="13077"/>
                    <a:pt x="1884" y="13077"/>
                  </a:cubicBezTo>
                  <a:cubicBezTo>
                    <a:pt x="1877" y="13089"/>
                    <a:pt x="1877" y="13089"/>
                    <a:pt x="1877" y="13089"/>
                  </a:cubicBezTo>
                  <a:cubicBezTo>
                    <a:pt x="1889" y="13096"/>
                    <a:pt x="1889" y="13096"/>
                    <a:pt x="1889" y="13096"/>
                  </a:cubicBezTo>
                  <a:cubicBezTo>
                    <a:pt x="1921" y="13113"/>
                    <a:pt x="1921" y="13113"/>
                    <a:pt x="1921" y="13113"/>
                  </a:cubicBezTo>
                  <a:cubicBezTo>
                    <a:pt x="1904" y="13146"/>
                    <a:pt x="1904" y="13146"/>
                    <a:pt x="1904" y="13146"/>
                  </a:cubicBezTo>
                  <a:cubicBezTo>
                    <a:pt x="1899" y="13156"/>
                    <a:pt x="1899" y="13156"/>
                    <a:pt x="1899" y="13156"/>
                  </a:cubicBezTo>
                  <a:cubicBezTo>
                    <a:pt x="1908" y="13163"/>
                    <a:pt x="1908" y="13163"/>
                    <a:pt x="1908" y="13163"/>
                  </a:cubicBezTo>
                  <a:cubicBezTo>
                    <a:pt x="1915" y="13169"/>
                    <a:pt x="1915" y="13169"/>
                    <a:pt x="1915" y="13169"/>
                  </a:cubicBezTo>
                  <a:cubicBezTo>
                    <a:pt x="1850" y="13286"/>
                    <a:pt x="1850" y="13286"/>
                    <a:pt x="1850" y="13286"/>
                  </a:cubicBezTo>
                  <a:lnTo>
                    <a:pt x="1701" y="13206"/>
                  </a:lnTo>
                  <a:close/>
                  <a:moveTo>
                    <a:pt x="2972" y="11092"/>
                  </a:moveTo>
                  <a:cubicBezTo>
                    <a:pt x="2977" y="11153"/>
                    <a:pt x="2977" y="11153"/>
                    <a:pt x="2977" y="11153"/>
                  </a:cubicBezTo>
                  <a:cubicBezTo>
                    <a:pt x="3010" y="11167"/>
                    <a:pt x="3010" y="11167"/>
                    <a:pt x="3010" y="11167"/>
                  </a:cubicBezTo>
                  <a:cubicBezTo>
                    <a:pt x="2979" y="11276"/>
                    <a:pt x="2979" y="11276"/>
                    <a:pt x="2979" y="11276"/>
                  </a:cubicBezTo>
                  <a:cubicBezTo>
                    <a:pt x="3034" y="11337"/>
                    <a:pt x="3034" y="11337"/>
                    <a:pt x="3034" y="11337"/>
                  </a:cubicBezTo>
                  <a:cubicBezTo>
                    <a:pt x="3139" y="11197"/>
                    <a:pt x="3139" y="11197"/>
                    <a:pt x="3139" y="11197"/>
                  </a:cubicBezTo>
                  <a:cubicBezTo>
                    <a:pt x="3161" y="11140"/>
                    <a:pt x="3161" y="11140"/>
                    <a:pt x="3161" y="11140"/>
                  </a:cubicBezTo>
                  <a:cubicBezTo>
                    <a:pt x="3094" y="10998"/>
                    <a:pt x="3094" y="10998"/>
                    <a:pt x="3094" y="10998"/>
                  </a:cubicBezTo>
                  <a:cubicBezTo>
                    <a:pt x="2883" y="10916"/>
                    <a:pt x="2883" y="10916"/>
                    <a:pt x="2883" y="10916"/>
                  </a:cubicBezTo>
                  <a:cubicBezTo>
                    <a:pt x="2798" y="11028"/>
                    <a:pt x="2798" y="11028"/>
                    <a:pt x="2798" y="11028"/>
                  </a:cubicBezTo>
                  <a:lnTo>
                    <a:pt x="2972" y="11092"/>
                  </a:lnTo>
                  <a:close/>
                  <a:moveTo>
                    <a:pt x="2888" y="10932"/>
                  </a:moveTo>
                  <a:cubicBezTo>
                    <a:pt x="3083" y="11009"/>
                    <a:pt x="3083" y="11009"/>
                    <a:pt x="3083" y="11009"/>
                  </a:cubicBezTo>
                  <a:cubicBezTo>
                    <a:pt x="3145" y="11141"/>
                    <a:pt x="3145" y="11141"/>
                    <a:pt x="3145" y="11141"/>
                  </a:cubicBezTo>
                  <a:cubicBezTo>
                    <a:pt x="3127" y="11190"/>
                    <a:pt x="3127" y="11190"/>
                    <a:pt x="3127" y="11190"/>
                  </a:cubicBezTo>
                  <a:cubicBezTo>
                    <a:pt x="3033" y="11315"/>
                    <a:pt x="3033" y="11315"/>
                    <a:pt x="3033" y="11315"/>
                  </a:cubicBezTo>
                  <a:cubicBezTo>
                    <a:pt x="2995" y="11272"/>
                    <a:pt x="2995" y="11272"/>
                    <a:pt x="2995" y="11272"/>
                  </a:cubicBezTo>
                  <a:cubicBezTo>
                    <a:pt x="3024" y="11171"/>
                    <a:pt x="3024" y="11171"/>
                    <a:pt x="3024" y="11171"/>
                  </a:cubicBezTo>
                  <a:cubicBezTo>
                    <a:pt x="3027" y="11159"/>
                    <a:pt x="3027" y="11159"/>
                    <a:pt x="3027" y="11159"/>
                  </a:cubicBezTo>
                  <a:cubicBezTo>
                    <a:pt x="3016" y="11154"/>
                    <a:pt x="3016" y="11154"/>
                    <a:pt x="3016" y="11154"/>
                  </a:cubicBezTo>
                  <a:cubicBezTo>
                    <a:pt x="2990" y="11143"/>
                    <a:pt x="2990" y="11143"/>
                    <a:pt x="2990" y="11143"/>
                  </a:cubicBezTo>
                  <a:cubicBezTo>
                    <a:pt x="2986" y="11091"/>
                    <a:pt x="2986" y="11091"/>
                    <a:pt x="2986" y="11091"/>
                  </a:cubicBezTo>
                  <a:cubicBezTo>
                    <a:pt x="2986" y="11082"/>
                    <a:pt x="2986" y="11082"/>
                    <a:pt x="2986" y="11082"/>
                  </a:cubicBezTo>
                  <a:cubicBezTo>
                    <a:pt x="2977" y="11079"/>
                    <a:pt x="2977" y="11079"/>
                    <a:pt x="2977" y="11079"/>
                  </a:cubicBezTo>
                  <a:cubicBezTo>
                    <a:pt x="2820" y="11021"/>
                    <a:pt x="2820" y="11021"/>
                    <a:pt x="2820" y="11021"/>
                  </a:cubicBezTo>
                  <a:lnTo>
                    <a:pt x="2888" y="10932"/>
                  </a:lnTo>
                  <a:close/>
                  <a:moveTo>
                    <a:pt x="2647" y="12029"/>
                  </a:moveTo>
                  <a:cubicBezTo>
                    <a:pt x="2874" y="12041"/>
                    <a:pt x="2874" y="12041"/>
                    <a:pt x="2874" y="12041"/>
                  </a:cubicBezTo>
                  <a:cubicBezTo>
                    <a:pt x="2955" y="11795"/>
                    <a:pt x="2955" y="11795"/>
                    <a:pt x="2955" y="11795"/>
                  </a:cubicBezTo>
                  <a:cubicBezTo>
                    <a:pt x="2830" y="11803"/>
                    <a:pt x="2830" y="11803"/>
                    <a:pt x="2830" y="11803"/>
                  </a:cubicBezTo>
                  <a:cubicBezTo>
                    <a:pt x="2795" y="11909"/>
                    <a:pt x="2795" y="11909"/>
                    <a:pt x="2795" y="11909"/>
                  </a:cubicBezTo>
                  <a:cubicBezTo>
                    <a:pt x="2690" y="11909"/>
                    <a:pt x="2690" y="11909"/>
                    <a:pt x="2690" y="11909"/>
                  </a:cubicBezTo>
                  <a:lnTo>
                    <a:pt x="2647" y="12029"/>
                  </a:lnTo>
                  <a:close/>
                  <a:moveTo>
                    <a:pt x="2795" y="11923"/>
                  </a:moveTo>
                  <a:cubicBezTo>
                    <a:pt x="2805" y="11923"/>
                    <a:pt x="2805" y="11923"/>
                    <a:pt x="2805" y="11923"/>
                  </a:cubicBezTo>
                  <a:cubicBezTo>
                    <a:pt x="2808" y="11913"/>
                    <a:pt x="2808" y="11913"/>
                    <a:pt x="2808" y="11913"/>
                  </a:cubicBezTo>
                  <a:cubicBezTo>
                    <a:pt x="2840" y="11817"/>
                    <a:pt x="2840" y="11817"/>
                    <a:pt x="2840" y="11817"/>
                  </a:cubicBezTo>
                  <a:cubicBezTo>
                    <a:pt x="2935" y="11810"/>
                    <a:pt x="2935" y="11810"/>
                    <a:pt x="2935" y="11810"/>
                  </a:cubicBezTo>
                  <a:cubicBezTo>
                    <a:pt x="2864" y="12027"/>
                    <a:pt x="2864" y="12027"/>
                    <a:pt x="2864" y="12027"/>
                  </a:cubicBezTo>
                  <a:cubicBezTo>
                    <a:pt x="2666" y="12016"/>
                    <a:pt x="2666" y="12016"/>
                    <a:pt x="2666" y="12016"/>
                  </a:cubicBezTo>
                  <a:cubicBezTo>
                    <a:pt x="2699" y="11923"/>
                    <a:pt x="2699" y="11923"/>
                    <a:pt x="2699" y="11923"/>
                  </a:cubicBezTo>
                  <a:lnTo>
                    <a:pt x="2795" y="11923"/>
                  </a:lnTo>
                  <a:close/>
                  <a:moveTo>
                    <a:pt x="4125" y="12015"/>
                  </a:moveTo>
                  <a:cubicBezTo>
                    <a:pt x="4082" y="11943"/>
                    <a:pt x="4082" y="11943"/>
                    <a:pt x="4082" y="11943"/>
                  </a:cubicBezTo>
                  <a:cubicBezTo>
                    <a:pt x="3996" y="11994"/>
                    <a:pt x="3996" y="11994"/>
                    <a:pt x="3996" y="11994"/>
                  </a:cubicBezTo>
                  <a:cubicBezTo>
                    <a:pt x="4012" y="12021"/>
                    <a:pt x="4012" y="12021"/>
                    <a:pt x="4012" y="12021"/>
                  </a:cubicBezTo>
                  <a:cubicBezTo>
                    <a:pt x="3928" y="12074"/>
                    <a:pt x="3928" y="12074"/>
                    <a:pt x="3928" y="12074"/>
                  </a:cubicBezTo>
                  <a:cubicBezTo>
                    <a:pt x="3981" y="12163"/>
                    <a:pt x="3981" y="12163"/>
                    <a:pt x="3981" y="12163"/>
                  </a:cubicBezTo>
                  <a:cubicBezTo>
                    <a:pt x="4136" y="12068"/>
                    <a:pt x="4136" y="12068"/>
                    <a:pt x="4136" y="12068"/>
                  </a:cubicBezTo>
                  <a:cubicBezTo>
                    <a:pt x="4107" y="12026"/>
                    <a:pt x="4107" y="12026"/>
                    <a:pt x="4107" y="12026"/>
                  </a:cubicBezTo>
                  <a:lnTo>
                    <a:pt x="4125" y="12015"/>
                  </a:lnTo>
                  <a:close/>
                  <a:moveTo>
                    <a:pt x="4116" y="12064"/>
                  </a:moveTo>
                  <a:cubicBezTo>
                    <a:pt x="3986" y="12143"/>
                    <a:pt x="3986" y="12143"/>
                    <a:pt x="3986" y="12143"/>
                  </a:cubicBezTo>
                  <a:cubicBezTo>
                    <a:pt x="3947" y="12079"/>
                    <a:pt x="3947" y="12079"/>
                    <a:pt x="3947" y="12079"/>
                  </a:cubicBezTo>
                  <a:cubicBezTo>
                    <a:pt x="4020" y="12033"/>
                    <a:pt x="4020" y="12033"/>
                    <a:pt x="4020" y="12033"/>
                  </a:cubicBezTo>
                  <a:cubicBezTo>
                    <a:pt x="4032" y="12026"/>
                    <a:pt x="4032" y="12026"/>
                    <a:pt x="4032" y="12026"/>
                  </a:cubicBezTo>
                  <a:cubicBezTo>
                    <a:pt x="4024" y="12014"/>
                    <a:pt x="4024" y="12014"/>
                    <a:pt x="4024" y="12014"/>
                  </a:cubicBezTo>
                  <a:cubicBezTo>
                    <a:pt x="4015" y="11999"/>
                    <a:pt x="4015" y="11999"/>
                    <a:pt x="4015" y="11999"/>
                  </a:cubicBezTo>
                  <a:cubicBezTo>
                    <a:pt x="4077" y="11962"/>
                    <a:pt x="4077" y="11962"/>
                    <a:pt x="4077" y="11962"/>
                  </a:cubicBezTo>
                  <a:cubicBezTo>
                    <a:pt x="4106" y="12010"/>
                    <a:pt x="4106" y="12010"/>
                    <a:pt x="4106" y="12010"/>
                  </a:cubicBezTo>
                  <a:cubicBezTo>
                    <a:pt x="4100" y="12014"/>
                    <a:pt x="4100" y="12014"/>
                    <a:pt x="4100" y="12014"/>
                  </a:cubicBezTo>
                  <a:cubicBezTo>
                    <a:pt x="4087" y="12021"/>
                    <a:pt x="4087" y="12021"/>
                    <a:pt x="4087" y="12021"/>
                  </a:cubicBezTo>
                  <a:cubicBezTo>
                    <a:pt x="4095" y="12034"/>
                    <a:pt x="4095" y="12034"/>
                    <a:pt x="4095" y="12034"/>
                  </a:cubicBezTo>
                  <a:lnTo>
                    <a:pt x="4116" y="12064"/>
                  </a:lnTo>
                  <a:close/>
                  <a:moveTo>
                    <a:pt x="1160" y="12347"/>
                  </a:moveTo>
                  <a:cubicBezTo>
                    <a:pt x="1383" y="12127"/>
                    <a:pt x="1383" y="12127"/>
                    <a:pt x="1383" y="12127"/>
                  </a:cubicBezTo>
                  <a:cubicBezTo>
                    <a:pt x="1323" y="12002"/>
                    <a:pt x="1323" y="12002"/>
                    <a:pt x="1323" y="12002"/>
                  </a:cubicBezTo>
                  <a:cubicBezTo>
                    <a:pt x="1152" y="12022"/>
                    <a:pt x="1152" y="12022"/>
                    <a:pt x="1152" y="12022"/>
                  </a:cubicBezTo>
                  <a:cubicBezTo>
                    <a:pt x="1119" y="11987"/>
                    <a:pt x="1119" y="11987"/>
                    <a:pt x="1119" y="11987"/>
                  </a:cubicBezTo>
                  <a:cubicBezTo>
                    <a:pt x="1018" y="12002"/>
                    <a:pt x="1018" y="12002"/>
                    <a:pt x="1018" y="12002"/>
                  </a:cubicBezTo>
                  <a:cubicBezTo>
                    <a:pt x="1048" y="12049"/>
                    <a:pt x="1048" y="12049"/>
                    <a:pt x="1048" y="12049"/>
                  </a:cubicBezTo>
                  <a:cubicBezTo>
                    <a:pt x="983" y="12112"/>
                    <a:pt x="983" y="12112"/>
                    <a:pt x="983" y="12112"/>
                  </a:cubicBezTo>
                  <a:lnTo>
                    <a:pt x="1160" y="12347"/>
                  </a:lnTo>
                  <a:close/>
                  <a:moveTo>
                    <a:pt x="1060" y="12042"/>
                  </a:moveTo>
                  <a:cubicBezTo>
                    <a:pt x="1041" y="12012"/>
                    <a:pt x="1041" y="12012"/>
                    <a:pt x="1041" y="12012"/>
                  </a:cubicBezTo>
                  <a:cubicBezTo>
                    <a:pt x="1114" y="12001"/>
                    <a:pt x="1114" y="12001"/>
                    <a:pt x="1114" y="12001"/>
                  </a:cubicBezTo>
                  <a:cubicBezTo>
                    <a:pt x="1142" y="12031"/>
                    <a:pt x="1142" y="12031"/>
                    <a:pt x="1142" y="12031"/>
                  </a:cubicBezTo>
                  <a:cubicBezTo>
                    <a:pt x="1147" y="12037"/>
                    <a:pt x="1147" y="12037"/>
                    <a:pt x="1147" y="12037"/>
                  </a:cubicBezTo>
                  <a:cubicBezTo>
                    <a:pt x="1154" y="12036"/>
                    <a:pt x="1154" y="12036"/>
                    <a:pt x="1154" y="12036"/>
                  </a:cubicBezTo>
                  <a:cubicBezTo>
                    <a:pt x="1315" y="12017"/>
                    <a:pt x="1315" y="12017"/>
                    <a:pt x="1315" y="12017"/>
                  </a:cubicBezTo>
                  <a:cubicBezTo>
                    <a:pt x="1366" y="12124"/>
                    <a:pt x="1366" y="12124"/>
                    <a:pt x="1366" y="12124"/>
                  </a:cubicBezTo>
                  <a:cubicBezTo>
                    <a:pt x="1162" y="12326"/>
                    <a:pt x="1162" y="12326"/>
                    <a:pt x="1162" y="12326"/>
                  </a:cubicBezTo>
                  <a:cubicBezTo>
                    <a:pt x="1001" y="12114"/>
                    <a:pt x="1001" y="12114"/>
                    <a:pt x="1001" y="12114"/>
                  </a:cubicBezTo>
                  <a:cubicBezTo>
                    <a:pt x="1058" y="12059"/>
                    <a:pt x="1058" y="12059"/>
                    <a:pt x="1058" y="12059"/>
                  </a:cubicBezTo>
                  <a:cubicBezTo>
                    <a:pt x="1066" y="12052"/>
                    <a:pt x="1066" y="12052"/>
                    <a:pt x="1066" y="12052"/>
                  </a:cubicBezTo>
                  <a:lnTo>
                    <a:pt x="1060" y="12042"/>
                  </a:lnTo>
                  <a:close/>
                  <a:moveTo>
                    <a:pt x="2199" y="10813"/>
                  </a:moveTo>
                  <a:cubicBezTo>
                    <a:pt x="2196" y="10814"/>
                    <a:pt x="2196" y="10814"/>
                    <a:pt x="2196" y="10814"/>
                  </a:cubicBezTo>
                  <a:cubicBezTo>
                    <a:pt x="2193" y="10814"/>
                    <a:pt x="2193" y="10814"/>
                    <a:pt x="2193" y="10814"/>
                  </a:cubicBezTo>
                  <a:cubicBezTo>
                    <a:pt x="2044" y="10826"/>
                    <a:pt x="2044" y="10826"/>
                    <a:pt x="2044" y="10826"/>
                  </a:cubicBezTo>
                  <a:cubicBezTo>
                    <a:pt x="2095" y="10989"/>
                    <a:pt x="2095" y="10989"/>
                    <a:pt x="2095" y="10989"/>
                  </a:cubicBezTo>
                  <a:cubicBezTo>
                    <a:pt x="2202" y="10989"/>
                    <a:pt x="2202" y="10989"/>
                    <a:pt x="2202" y="10989"/>
                  </a:cubicBezTo>
                  <a:cubicBezTo>
                    <a:pt x="2202" y="10989"/>
                    <a:pt x="2202" y="10989"/>
                    <a:pt x="2202" y="10989"/>
                  </a:cubicBezTo>
                  <a:cubicBezTo>
                    <a:pt x="2210" y="10989"/>
                    <a:pt x="2210" y="10989"/>
                    <a:pt x="2210" y="10989"/>
                  </a:cubicBezTo>
                  <a:cubicBezTo>
                    <a:pt x="2210" y="10989"/>
                    <a:pt x="2210" y="10989"/>
                    <a:pt x="2210" y="10989"/>
                  </a:cubicBezTo>
                  <a:cubicBezTo>
                    <a:pt x="2391" y="10988"/>
                    <a:pt x="2391" y="10988"/>
                    <a:pt x="2391" y="10988"/>
                  </a:cubicBezTo>
                  <a:cubicBezTo>
                    <a:pt x="2478" y="10817"/>
                    <a:pt x="2478" y="10817"/>
                    <a:pt x="2478" y="10817"/>
                  </a:cubicBezTo>
                  <a:cubicBezTo>
                    <a:pt x="2311" y="10810"/>
                    <a:pt x="2311" y="10810"/>
                    <a:pt x="2311" y="10810"/>
                  </a:cubicBezTo>
                  <a:cubicBezTo>
                    <a:pt x="2309" y="10810"/>
                    <a:pt x="2309" y="10810"/>
                    <a:pt x="2309" y="10810"/>
                  </a:cubicBezTo>
                  <a:cubicBezTo>
                    <a:pt x="2309" y="10810"/>
                    <a:pt x="2309" y="10810"/>
                    <a:pt x="2309" y="10810"/>
                  </a:cubicBezTo>
                  <a:cubicBezTo>
                    <a:pt x="2309" y="10810"/>
                    <a:pt x="2309" y="10810"/>
                    <a:pt x="2309" y="10810"/>
                  </a:cubicBezTo>
                  <a:cubicBezTo>
                    <a:pt x="2199" y="10814"/>
                    <a:pt x="2199" y="10814"/>
                    <a:pt x="2199" y="10814"/>
                  </a:cubicBezTo>
                  <a:cubicBezTo>
                    <a:pt x="2199" y="10814"/>
                    <a:pt x="2199" y="10813"/>
                    <a:pt x="2199" y="10813"/>
                  </a:cubicBezTo>
                  <a:close/>
                  <a:moveTo>
                    <a:pt x="2105" y="10975"/>
                  </a:moveTo>
                  <a:cubicBezTo>
                    <a:pt x="2062" y="10839"/>
                    <a:pt x="2062" y="10839"/>
                    <a:pt x="2062" y="10839"/>
                  </a:cubicBezTo>
                  <a:cubicBezTo>
                    <a:pt x="2192" y="10828"/>
                    <a:pt x="2192" y="10828"/>
                    <a:pt x="2192" y="10828"/>
                  </a:cubicBezTo>
                  <a:cubicBezTo>
                    <a:pt x="2192" y="10835"/>
                    <a:pt x="2192" y="10839"/>
                    <a:pt x="2193" y="10843"/>
                  </a:cubicBezTo>
                  <a:cubicBezTo>
                    <a:pt x="2194" y="10860"/>
                    <a:pt x="2196" y="10881"/>
                    <a:pt x="2197" y="10903"/>
                  </a:cubicBezTo>
                  <a:cubicBezTo>
                    <a:pt x="2199" y="10931"/>
                    <a:pt x="2200" y="10959"/>
                    <a:pt x="2201" y="10975"/>
                  </a:cubicBezTo>
                  <a:lnTo>
                    <a:pt x="2105" y="10975"/>
                  </a:lnTo>
                  <a:close/>
                  <a:moveTo>
                    <a:pt x="2317" y="10824"/>
                  </a:moveTo>
                  <a:cubicBezTo>
                    <a:pt x="2456" y="10830"/>
                    <a:pt x="2456" y="10830"/>
                    <a:pt x="2456" y="10830"/>
                  </a:cubicBezTo>
                  <a:cubicBezTo>
                    <a:pt x="2383" y="10975"/>
                    <a:pt x="2383" y="10975"/>
                    <a:pt x="2383" y="10975"/>
                  </a:cubicBezTo>
                  <a:cubicBezTo>
                    <a:pt x="2308" y="10975"/>
                    <a:pt x="2308" y="10975"/>
                    <a:pt x="2308" y="10975"/>
                  </a:cubicBezTo>
                  <a:lnTo>
                    <a:pt x="2317" y="10824"/>
                  </a:lnTo>
                  <a:close/>
                  <a:moveTo>
                    <a:pt x="2308" y="10824"/>
                  </a:moveTo>
                  <a:cubicBezTo>
                    <a:pt x="2309" y="10824"/>
                    <a:pt x="2309" y="10824"/>
                    <a:pt x="2309" y="10824"/>
                  </a:cubicBezTo>
                  <a:cubicBezTo>
                    <a:pt x="2300" y="10975"/>
                    <a:pt x="2300" y="10975"/>
                    <a:pt x="2300" y="10975"/>
                  </a:cubicBezTo>
                  <a:cubicBezTo>
                    <a:pt x="2209" y="10975"/>
                    <a:pt x="2209" y="10975"/>
                    <a:pt x="2209" y="10975"/>
                  </a:cubicBezTo>
                  <a:cubicBezTo>
                    <a:pt x="2208" y="10945"/>
                    <a:pt x="2204" y="10872"/>
                    <a:pt x="2200" y="10828"/>
                  </a:cubicBezTo>
                  <a:lnTo>
                    <a:pt x="2308" y="10824"/>
                  </a:lnTo>
                  <a:close/>
                  <a:moveTo>
                    <a:pt x="1801" y="13466"/>
                  </a:moveTo>
                  <a:cubicBezTo>
                    <a:pt x="1694" y="13425"/>
                    <a:pt x="1694" y="13425"/>
                    <a:pt x="1694" y="13425"/>
                  </a:cubicBezTo>
                  <a:cubicBezTo>
                    <a:pt x="1581" y="13598"/>
                    <a:pt x="1581" y="13598"/>
                    <a:pt x="1581" y="13598"/>
                  </a:cubicBezTo>
                  <a:cubicBezTo>
                    <a:pt x="1696" y="13637"/>
                    <a:pt x="1696" y="13637"/>
                    <a:pt x="1696" y="13637"/>
                  </a:cubicBezTo>
                  <a:lnTo>
                    <a:pt x="1801" y="13466"/>
                  </a:lnTo>
                  <a:close/>
                  <a:moveTo>
                    <a:pt x="1603" y="13590"/>
                  </a:moveTo>
                  <a:cubicBezTo>
                    <a:pt x="1700" y="13442"/>
                    <a:pt x="1700" y="13442"/>
                    <a:pt x="1700" y="13442"/>
                  </a:cubicBezTo>
                  <a:cubicBezTo>
                    <a:pt x="1780" y="13473"/>
                    <a:pt x="1780" y="13473"/>
                    <a:pt x="1780" y="13473"/>
                  </a:cubicBezTo>
                  <a:cubicBezTo>
                    <a:pt x="1690" y="13620"/>
                    <a:pt x="1690" y="13620"/>
                    <a:pt x="1690" y="13620"/>
                  </a:cubicBezTo>
                  <a:lnTo>
                    <a:pt x="1603" y="13590"/>
                  </a:lnTo>
                  <a:close/>
                  <a:moveTo>
                    <a:pt x="5129" y="13802"/>
                  </a:moveTo>
                  <a:cubicBezTo>
                    <a:pt x="5150" y="13704"/>
                    <a:pt x="5150" y="13704"/>
                    <a:pt x="5150" y="13704"/>
                  </a:cubicBezTo>
                  <a:cubicBezTo>
                    <a:pt x="5201" y="13708"/>
                    <a:pt x="5201" y="13708"/>
                    <a:pt x="5201" y="13708"/>
                  </a:cubicBezTo>
                  <a:cubicBezTo>
                    <a:pt x="5243" y="13629"/>
                    <a:pt x="5243" y="13629"/>
                    <a:pt x="5243" y="13629"/>
                  </a:cubicBezTo>
                  <a:cubicBezTo>
                    <a:pt x="5174" y="13599"/>
                    <a:pt x="5174" y="13599"/>
                    <a:pt x="5174" y="13599"/>
                  </a:cubicBezTo>
                  <a:cubicBezTo>
                    <a:pt x="5180" y="13532"/>
                    <a:pt x="5180" y="13532"/>
                    <a:pt x="5180" y="13532"/>
                  </a:cubicBezTo>
                  <a:cubicBezTo>
                    <a:pt x="5252" y="13474"/>
                    <a:pt x="5252" y="13474"/>
                    <a:pt x="5252" y="13474"/>
                  </a:cubicBezTo>
                  <a:cubicBezTo>
                    <a:pt x="5288" y="13577"/>
                    <a:pt x="5288" y="13577"/>
                    <a:pt x="5288" y="13577"/>
                  </a:cubicBezTo>
                  <a:cubicBezTo>
                    <a:pt x="5328" y="13405"/>
                    <a:pt x="5328" y="13405"/>
                    <a:pt x="5328" y="13405"/>
                  </a:cubicBezTo>
                  <a:cubicBezTo>
                    <a:pt x="5263" y="13386"/>
                    <a:pt x="5263" y="13386"/>
                    <a:pt x="5263" y="13386"/>
                  </a:cubicBezTo>
                  <a:cubicBezTo>
                    <a:pt x="5071" y="13476"/>
                    <a:pt x="5071" y="13476"/>
                    <a:pt x="5071" y="13476"/>
                  </a:cubicBezTo>
                  <a:cubicBezTo>
                    <a:pt x="5009" y="13834"/>
                    <a:pt x="5009" y="13834"/>
                    <a:pt x="5009" y="13834"/>
                  </a:cubicBezTo>
                  <a:cubicBezTo>
                    <a:pt x="5012" y="13894"/>
                    <a:pt x="5012" y="13894"/>
                    <a:pt x="5012" y="13894"/>
                  </a:cubicBezTo>
                  <a:lnTo>
                    <a:pt x="5129" y="13802"/>
                  </a:lnTo>
                  <a:close/>
                  <a:moveTo>
                    <a:pt x="5083" y="13485"/>
                  </a:moveTo>
                  <a:cubicBezTo>
                    <a:pt x="5264" y="13401"/>
                    <a:pt x="5264" y="13401"/>
                    <a:pt x="5264" y="13401"/>
                  </a:cubicBezTo>
                  <a:cubicBezTo>
                    <a:pt x="5311" y="13415"/>
                    <a:pt x="5311" y="13415"/>
                    <a:pt x="5311" y="13415"/>
                  </a:cubicBezTo>
                  <a:cubicBezTo>
                    <a:pt x="5285" y="13527"/>
                    <a:pt x="5285" y="13527"/>
                    <a:pt x="5285" y="13527"/>
                  </a:cubicBezTo>
                  <a:cubicBezTo>
                    <a:pt x="5265" y="13469"/>
                    <a:pt x="5265" y="13469"/>
                    <a:pt x="5265" y="13469"/>
                  </a:cubicBezTo>
                  <a:cubicBezTo>
                    <a:pt x="5258" y="13450"/>
                    <a:pt x="5258" y="13450"/>
                    <a:pt x="5258" y="13450"/>
                  </a:cubicBezTo>
                  <a:cubicBezTo>
                    <a:pt x="5243" y="13463"/>
                    <a:pt x="5243" y="13463"/>
                    <a:pt x="5243" y="13463"/>
                  </a:cubicBezTo>
                  <a:cubicBezTo>
                    <a:pt x="5172" y="13521"/>
                    <a:pt x="5172" y="13521"/>
                    <a:pt x="5172" y="13521"/>
                  </a:cubicBezTo>
                  <a:cubicBezTo>
                    <a:pt x="5167" y="13524"/>
                    <a:pt x="5167" y="13524"/>
                    <a:pt x="5167" y="13524"/>
                  </a:cubicBezTo>
                  <a:cubicBezTo>
                    <a:pt x="5166" y="13530"/>
                    <a:pt x="5166" y="13530"/>
                    <a:pt x="5166" y="13530"/>
                  </a:cubicBezTo>
                  <a:cubicBezTo>
                    <a:pt x="5160" y="13598"/>
                    <a:pt x="5160" y="13598"/>
                    <a:pt x="5160" y="13598"/>
                  </a:cubicBezTo>
                  <a:cubicBezTo>
                    <a:pt x="5160" y="13608"/>
                    <a:pt x="5160" y="13608"/>
                    <a:pt x="5160" y="13608"/>
                  </a:cubicBezTo>
                  <a:cubicBezTo>
                    <a:pt x="5169" y="13612"/>
                    <a:pt x="5169" y="13612"/>
                    <a:pt x="5169" y="13612"/>
                  </a:cubicBezTo>
                  <a:cubicBezTo>
                    <a:pt x="5223" y="13636"/>
                    <a:pt x="5223" y="13636"/>
                    <a:pt x="5223" y="13636"/>
                  </a:cubicBezTo>
                  <a:cubicBezTo>
                    <a:pt x="5193" y="13693"/>
                    <a:pt x="5193" y="13693"/>
                    <a:pt x="5193" y="13693"/>
                  </a:cubicBezTo>
                  <a:cubicBezTo>
                    <a:pt x="5151" y="13690"/>
                    <a:pt x="5151" y="13690"/>
                    <a:pt x="5151" y="13690"/>
                  </a:cubicBezTo>
                  <a:cubicBezTo>
                    <a:pt x="5138" y="13689"/>
                    <a:pt x="5138" y="13689"/>
                    <a:pt x="5138" y="13689"/>
                  </a:cubicBezTo>
                  <a:cubicBezTo>
                    <a:pt x="5136" y="13701"/>
                    <a:pt x="5136" y="13701"/>
                    <a:pt x="5136" y="13701"/>
                  </a:cubicBezTo>
                  <a:cubicBezTo>
                    <a:pt x="5117" y="13794"/>
                    <a:pt x="5117" y="13794"/>
                    <a:pt x="5117" y="13794"/>
                  </a:cubicBezTo>
                  <a:cubicBezTo>
                    <a:pt x="5025" y="13866"/>
                    <a:pt x="5025" y="13866"/>
                    <a:pt x="5025" y="13866"/>
                  </a:cubicBezTo>
                  <a:cubicBezTo>
                    <a:pt x="5023" y="13834"/>
                    <a:pt x="5023" y="13834"/>
                    <a:pt x="5023" y="13834"/>
                  </a:cubicBezTo>
                  <a:lnTo>
                    <a:pt x="5083" y="13485"/>
                  </a:lnTo>
                  <a:close/>
                  <a:moveTo>
                    <a:pt x="4169" y="13918"/>
                  </a:moveTo>
                  <a:cubicBezTo>
                    <a:pt x="4363" y="13919"/>
                    <a:pt x="4363" y="13919"/>
                    <a:pt x="4363" y="13919"/>
                  </a:cubicBezTo>
                  <a:cubicBezTo>
                    <a:pt x="4365" y="13839"/>
                    <a:pt x="4365" y="13839"/>
                    <a:pt x="4365" y="13839"/>
                  </a:cubicBezTo>
                  <a:cubicBezTo>
                    <a:pt x="4365" y="13839"/>
                    <a:pt x="4410" y="13794"/>
                    <a:pt x="4419" y="13740"/>
                  </a:cubicBezTo>
                  <a:cubicBezTo>
                    <a:pt x="4427" y="13686"/>
                    <a:pt x="4474" y="13344"/>
                    <a:pt x="4474" y="13344"/>
                  </a:cubicBezTo>
                  <a:cubicBezTo>
                    <a:pt x="4474" y="13344"/>
                    <a:pt x="4483" y="13287"/>
                    <a:pt x="4452" y="13245"/>
                  </a:cubicBezTo>
                  <a:cubicBezTo>
                    <a:pt x="4452" y="13243"/>
                    <a:pt x="4472" y="13221"/>
                    <a:pt x="4472" y="13221"/>
                  </a:cubicBezTo>
                  <a:cubicBezTo>
                    <a:pt x="4361" y="13095"/>
                    <a:pt x="4361" y="13095"/>
                    <a:pt x="4361" y="13095"/>
                  </a:cubicBezTo>
                  <a:cubicBezTo>
                    <a:pt x="4302" y="13145"/>
                    <a:pt x="4302" y="13145"/>
                    <a:pt x="4302" y="13145"/>
                  </a:cubicBezTo>
                  <a:cubicBezTo>
                    <a:pt x="4302" y="13145"/>
                    <a:pt x="4227" y="13144"/>
                    <a:pt x="4188" y="13170"/>
                  </a:cubicBezTo>
                  <a:cubicBezTo>
                    <a:pt x="4171" y="13181"/>
                    <a:pt x="4150" y="13198"/>
                    <a:pt x="4136" y="13215"/>
                  </a:cubicBezTo>
                  <a:cubicBezTo>
                    <a:pt x="4118" y="13237"/>
                    <a:pt x="4109" y="13258"/>
                    <a:pt x="4109" y="13258"/>
                  </a:cubicBezTo>
                  <a:cubicBezTo>
                    <a:pt x="4022" y="13259"/>
                    <a:pt x="4022" y="13259"/>
                    <a:pt x="4022" y="13259"/>
                  </a:cubicBezTo>
                  <a:cubicBezTo>
                    <a:pt x="4023" y="13713"/>
                    <a:pt x="4023" y="13713"/>
                    <a:pt x="4023" y="13713"/>
                  </a:cubicBezTo>
                  <a:cubicBezTo>
                    <a:pt x="4042" y="13715"/>
                    <a:pt x="4042" y="13715"/>
                    <a:pt x="4042" y="13715"/>
                  </a:cubicBezTo>
                  <a:cubicBezTo>
                    <a:pt x="4042" y="13715"/>
                    <a:pt x="4045" y="13777"/>
                    <a:pt x="4082" y="13819"/>
                  </a:cubicBezTo>
                  <a:cubicBezTo>
                    <a:pt x="4120" y="13860"/>
                    <a:pt x="4169" y="13878"/>
                    <a:pt x="4169" y="13878"/>
                  </a:cubicBezTo>
                  <a:lnTo>
                    <a:pt x="4169" y="13918"/>
                  </a:lnTo>
                  <a:close/>
                  <a:moveTo>
                    <a:pt x="4092" y="13809"/>
                  </a:moveTo>
                  <a:cubicBezTo>
                    <a:pt x="4059" y="13772"/>
                    <a:pt x="4056" y="13715"/>
                    <a:pt x="4056" y="13714"/>
                  </a:cubicBezTo>
                  <a:cubicBezTo>
                    <a:pt x="4056" y="13702"/>
                    <a:pt x="4056" y="13702"/>
                    <a:pt x="4056" y="13702"/>
                  </a:cubicBezTo>
                  <a:cubicBezTo>
                    <a:pt x="4043" y="13701"/>
                    <a:pt x="4043" y="13701"/>
                    <a:pt x="4043" y="13701"/>
                  </a:cubicBezTo>
                  <a:cubicBezTo>
                    <a:pt x="4037" y="13700"/>
                    <a:pt x="4037" y="13700"/>
                    <a:pt x="4037" y="13700"/>
                  </a:cubicBezTo>
                  <a:cubicBezTo>
                    <a:pt x="4036" y="13273"/>
                    <a:pt x="4036" y="13273"/>
                    <a:pt x="4036" y="13273"/>
                  </a:cubicBezTo>
                  <a:cubicBezTo>
                    <a:pt x="4109" y="13272"/>
                    <a:pt x="4109" y="13272"/>
                    <a:pt x="4109" y="13272"/>
                  </a:cubicBezTo>
                  <a:cubicBezTo>
                    <a:pt x="4119" y="13272"/>
                    <a:pt x="4119" y="13272"/>
                    <a:pt x="4119" y="13272"/>
                  </a:cubicBezTo>
                  <a:cubicBezTo>
                    <a:pt x="4122" y="13263"/>
                    <a:pt x="4122" y="13263"/>
                    <a:pt x="4122" y="13263"/>
                  </a:cubicBezTo>
                  <a:cubicBezTo>
                    <a:pt x="4122" y="13263"/>
                    <a:pt x="4130" y="13244"/>
                    <a:pt x="4147" y="13223"/>
                  </a:cubicBezTo>
                  <a:cubicBezTo>
                    <a:pt x="4162" y="13205"/>
                    <a:pt x="4186" y="13188"/>
                    <a:pt x="4196" y="13182"/>
                  </a:cubicBezTo>
                  <a:cubicBezTo>
                    <a:pt x="4223" y="13163"/>
                    <a:pt x="4275" y="13159"/>
                    <a:pt x="4302" y="13159"/>
                  </a:cubicBezTo>
                  <a:cubicBezTo>
                    <a:pt x="4307" y="13159"/>
                    <a:pt x="4307" y="13159"/>
                    <a:pt x="4307" y="13159"/>
                  </a:cubicBezTo>
                  <a:cubicBezTo>
                    <a:pt x="4311" y="13155"/>
                    <a:pt x="4311" y="13155"/>
                    <a:pt x="4311" y="13155"/>
                  </a:cubicBezTo>
                  <a:cubicBezTo>
                    <a:pt x="4359" y="13115"/>
                    <a:pt x="4359" y="13115"/>
                    <a:pt x="4359" y="13115"/>
                  </a:cubicBezTo>
                  <a:cubicBezTo>
                    <a:pt x="4454" y="13221"/>
                    <a:pt x="4454" y="13221"/>
                    <a:pt x="4454" y="13221"/>
                  </a:cubicBezTo>
                  <a:cubicBezTo>
                    <a:pt x="4439" y="13238"/>
                    <a:pt x="4439" y="13240"/>
                    <a:pt x="4439" y="13245"/>
                  </a:cubicBezTo>
                  <a:cubicBezTo>
                    <a:pt x="4439" y="13249"/>
                    <a:pt x="4439" y="13249"/>
                    <a:pt x="4439" y="13249"/>
                  </a:cubicBezTo>
                  <a:cubicBezTo>
                    <a:pt x="4441" y="13253"/>
                    <a:pt x="4441" y="13253"/>
                    <a:pt x="4441" y="13253"/>
                  </a:cubicBezTo>
                  <a:cubicBezTo>
                    <a:pt x="4467" y="13290"/>
                    <a:pt x="4461" y="13341"/>
                    <a:pt x="4460" y="13342"/>
                  </a:cubicBezTo>
                  <a:cubicBezTo>
                    <a:pt x="4460" y="13345"/>
                    <a:pt x="4413" y="13685"/>
                    <a:pt x="4405" y="13738"/>
                  </a:cubicBezTo>
                  <a:cubicBezTo>
                    <a:pt x="4397" y="13787"/>
                    <a:pt x="4355" y="13828"/>
                    <a:pt x="4355" y="13829"/>
                  </a:cubicBezTo>
                  <a:cubicBezTo>
                    <a:pt x="4351" y="13833"/>
                    <a:pt x="4351" y="13833"/>
                    <a:pt x="4351" y="13833"/>
                  </a:cubicBezTo>
                  <a:cubicBezTo>
                    <a:pt x="4351" y="13839"/>
                    <a:pt x="4351" y="13839"/>
                    <a:pt x="4351" y="13839"/>
                  </a:cubicBezTo>
                  <a:cubicBezTo>
                    <a:pt x="4349" y="13905"/>
                    <a:pt x="4349" y="13905"/>
                    <a:pt x="4349" y="13905"/>
                  </a:cubicBezTo>
                  <a:cubicBezTo>
                    <a:pt x="4183" y="13905"/>
                    <a:pt x="4183" y="13905"/>
                    <a:pt x="4183" y="13905"/>
                  </a:cubicBezTo>
                  <a:cubicBezTo>
                    <a:pt x="4183" y="13878"/>
                    <a:pt x="4183" y="13878"/>
                    <a:pt x="4183" y="13878"/>
                  </a:cubicBezTo>
                  <a:cubicBezTo>
                    <a:pt x="4183" y="13868"/>
                    <a:pt x="4183" y="13868"/>
                    <a:pt x="4183" y="13868"/>
                  </a:cubicBezTo>
                  <a:cubicBezTo>
                    <a:pt x="4174" y="13865"/>
                    <a:pt x="4174" y="13865"/>
                    <a:pt x="4174" y="13865"/>
                  </a:cubicBezTo>
                  <a:cubicBezTo>
                    <a:pt x="4174" y="13865"/>
                    <a:pt x="4127" y="13847"/>
                    <a:pt x="4092" y="13809"/>
                  </a:cubicBezTo>
                  <a:close/>
                  <a:moveTo>
                    <a:pt x="654" y="14906"/>
                  </a:moveTo>
                  <a:cubicBezTo>
                    <a:pt x="884" y="15062"/>
                    <a:pt x="884" y="15062"/>
                    <a:pt x="884" y="15062"/>
                  </a:cubicBezTo>
                  <a:cubicBezTo>
                    <a:pt x="895" y="14909"/>
                    <a:pt x="895" y="14909"/>
                    <a:pt x="895" y="14909"/>
                  </a:cubicBezTo>
                  <a:cubicBezTo>
                    <a:pt x="993" y="14816"/>
                    <a:pt x="993" y="14816"/>
                    <a:pt x="993" y="14816"/>
                  </a:cubicBezTo>
                  <a:cubicBezTo>
                    <a:pt x="746" y="14636"/>
                    <a:pt x="746" y="14636"/>
                    <a:pt x="746" y="14636"/>
                  </a:cubicBezTo>
                  <a:cubicBezTo>
                    <a:pt x="746" y="14636"/>
                    <a:pt x="737" y="14725"/>
                    <a:pt x="713" y="14785"/>
                  </a:cubicBezTo>
                  <a:cubicBezTo>
                    <a:pt x="690" y="14844"/>
                    <a:pt x="654" y="14906"/>
                    <a:pt x="654" y="14906"/>
                  </a:cubicBezTo>
                  <a:close/>
                  <a:moveTo>
                    <a:pt x="757" y="14661"/>
                  </a:moveTo>
                  <a:cubicBezTo>
                    <a:pt x="971" y="14818"/>
                    <a:pt x="971" y="14818"/>
                    <a:pt x="971" y="14818"/>
                  </a:cubicBezTo>
                  <a:cubicBezTo>
                    <a:pt x="885" y="14899"/>
                    <a:pt x="885" y="14899"/>
                    <a:pt x="885" y="14899"/>
                  </a:cubicBezTo>
                  <a:cubicBezTo>
                    <a:pt x="881" y="14902"/>
                    <a:pt x="881" y="14902"/>
                    <a:pt x="881" y="14902"/>
                  </a:cubicBezTo>
                  <a:cubicBezTo>
                    <a:pt x="881" y="14908"/>
                    <a:pt x="881" y="14908"/>
                    <a:pt x="881" y="14908"/>
                  </a:cubicBezTo>
                  <a:cubicBezTo>
                    <a:pt x="872" y="15037"/>
                    <a:pt x="872" y="15037"/>
                    <a:pt x="872" y="15037"/>
                  </a:cubicBezTo>
                  <a:cubicBezTo>
                    <a:pt x="672" y="14901"/>
                    <a:pt x="672" y="14901"/>
                    <a:pt x="672" y="14901"/>
                  </a:cubicBezTo>
                  <a:cubicBezTo>
                    <a:pt x="684" y="14881"/>
                    <a:pt x="708" y="14835"/>
                    <a:pt x="726" y="14790"/>
                  </a:cubicBezTo>
                  <a:cubicBezTo>
                    <a:pt x="743" y="14748"/>
                    <a:pt x="752" y="14692"/>
                    <a:pt x="757" y="14661"/>
                  </a:cubicBezTo>
                  <a:close/>
                  <a:moveTo>
                    <a:pt x="1187" y="13668"/>
                  </a:moveTo>
                  <a:cubicBezTo>
                    <a:pt x="1069" y="13845"/>
                    <a:pt x="1069" y="13845"/>
                    <a:pt x="1069" y="13845"/>
                  </a:cubicBezTo>
                  <a:cubicBezTo>
                    <a:pt x="1021" y="13812"/>
                    <a:pt x="1021" y="13812"/>
                    <a:pt x="1021" y="13812"/>
                  </a:cubicBezTo>
                  <a:cubicBezTo>
                    <a:pt x="1135" y="13639"/>
                    <a:pt x="1135" y="13639"/>
                    <a:pt x="1135" y="13639"/>
                  </a:cubicBezTo>
                  <a:cubicBezTo>
                    <a:pt x="1252" y="13620"/>
                    <a:pt x="1252" y="13620"/>
                    <a:pt x="1252" y="13620"/>
                  </a:cubicBezTo>
                  <a:cubicBezTo>
                    <a:pt x="1332" y="13665"/>
                    <a:pt x="1332" y="13665"/>
                    <a:pt x="1332" y="13665"/>
                  </a:cubicBezTo>
                  <a:cubicBezTo>
                    <a:pt x="1399" y="13597"/>
                    <a:pt x="1399" y="13597"/>
                    <a:pt x="1399" y="13597"/>
                  </a:cubicBezTo>
                  <a:cubicBezTo>
                    <a:pt x="1178" y="13414"/>
                    <a:pt x="1178" y="13414"/>
                    <a:pt x="1178" y="13414"/>
                  </a:cubicBezTo>
                  <a:cubicBezTo>
                    <a:pt x="1122" y="13536"/>
                    <a:pt x="1122" y="13536"/>
                    <a:pt x="1122" y="13536"/>
                  </a:cubicBezTo>
                  <a:cubicBezTo>
                    <a:pt x="1060" y="13575"/>
                    <a:pt x="1060" y="13575"/>
                    <a:pt x="1060" y="13575"/>
                  </a:cubicBezTo>
                  <a:cubicBezTo>
                    <a:pt x="885" y="13842"/>
                    <a:pt x="885" y="13842"/>
                    <a:pt x="885" y="13842"/>
                  </a:cubicBezTo>
                  <a:cubicBezTo>
                    <a:pt x="1112" y="13983"/>
                    <a:pt x="1112" y="13983"/>
                    <a:pt x="1112" y="13983"/>
                  </a:cubicBezTo>
                  <a:cubicBezTo>
                    <a:pt x="1283" y="13729"/>
                    <a:pt x="1283" y="13729"/>
                    <a:pt x="1283" y="13729"/>
                  </a:cubicBezTo>
                  <a:lnTo>
                    <a:pt x="1187" y="13668"/>
                  </a:lnTo>
                  <a:close/>
                  <a:moveTo>
                    <a:pt x="1108" y="13964"/>
                  </a:moveTo>
                  <a:cubicBezTo>
                    <a:pt x="905" y="13838"/>
                    <a:pt x="905" y="13838"/>
                    <a:pt x="905" y="13838"/>
                  </a:cubicBezTo>
                  <a:cubicBezTo>
                    <a:pt x="1070" y="13586"/>
                    <a:pt x="1070" y="13586"/>
                    <a:pt x="1070" y="13586"/>
                  </a:cubicBezTo>
                  <a:cubicBezTo>
                    <a:pt x="1130" y="13548"/>
                    <a:pt x="1130" y="13548"/>
                    <a:pt x="1130" y="13548"/>
                  </a:cubicBezTo>
                  <a:cubicBezTo>
                    <a:pt x="1133" y="13546"/>
                    <a:pt x="1133" y="13546"/>
                    <a:pt x="1133" y="13546"/>
                  </a:cubicBezTo>
                  <a:cubicBezTo>
                    <a:pt x="1135" y="13542"/>
                    <a:pt x="1135" y="13542"/>
                    <a:pt x="1135" y="13542"/>
                  </a:cubicBezTo>
                  <a:cubicBezTo>
                    <a:pt x="1183" y="13437"/>
                    <a:pt x="1183" y="13437"/>
                    <a:pt x="1183" y="13437"/>
                  </a:cubicBezTo>
                  <a:cubicBezTo>
                    <a:pt x="1378" y="13598"/>
                    <a:pt x="1378" y="13598"/>
                    <a:pt x="1378" y="13598"/>
                  </a:cubicBezTo>
                  <a:cubicBezTo>
                    <a:pt x="1330" y="13647"/>
                    <a:pt x="1330" y="13647"/>
                    <a:pt x="1330" y="13647"/>
                  </a:cubicBezTo>
                  <a:cubicBezTo>
                    <a:pt x="1259" y="13608"/>
                    <a:pt x="1259" y="13608"/>
                    <a:pt x="1259" y="13608"/>
                  </a:cubicBezTo>
                  <a:cubicBezTo>
                    <a:pt x="1255" y="13606"/>
                    <a:pt x="1255" y="13606"/>
                    <a:pt x="1255" y="13606"/>
                  </a:cubicBezTo>
                  <a:cubicBezTo>
                    <a:pt x="1250" y="13607"/>
                    <a:pt x="1250" y="13607"/>
                    <a:pt x="1250" y="13607"/>
                  </a:cubicBezTo>
                  <a:cubicBezTo>
                    <a:pt x="1133" y="13625"/>
                    <a:pt x="1133" y="13625"/>
                    <a:pt x="1133" y="13625"/>
                  </a:cubicBezTo>
                  <a:cubicBezTo>
                    <a:pt x="1127" y="13626"/>
                    <a:pt x="1127" y="13626"/>
                    <a:pt x="1127" y="13626"/>
                  </a:cubicBezTo>
                  <a:cubicBezTo>
                    <a:pt x="1124" y="13631"/>
                    <a:pt x="1124" y="13631"/>
                    <a:pt x="1124" y="13631"/>
                  </a:cubicBezTo>
                  <a:cubicBezTo>
                    <a:pt x="1009" y="13804"/>
                    <a:pt x="1009" y="13804"/>
                    <a:pt x="1009" y="13804"/>
                  </a:cubicBezTo>
                  <a:cubicBezTo>
                    <a:pt x="1001" y="13816"/>
                    <a:pt x="1001" y="13816"/>
                    <a:pt x="1001" y="13816"/>
                  </a:cubicBezTo>
                  <a:cubicBezTo>
                    <a:pt x="1013" y="13824"/>
                    <a:pt x="1013" y="13824"/>
                    <a:pt x="1013" y="13824"/>
                  </a:cubicBezTo>
                  <a:cubicBezTo>
                    <a:pt x="1061" y="13856"/>
                    <a:pt x="1061" y="13856"/>
                    <a:pt x="1061" y="13856"/>
                  </a:cubicBezTo>
                  <a:cubicBezTo>
                    <a:pt x="1073" y="13864"/>
                    <a:pt x="1073" y="13864"/>
                    <a:pt x="1073" y="13864"/>
                  </a:cubicBezTo>
                  <a:cubicBezTo>
                    <a:pt x="1080" y="13853"/>
                    <a:pt x="1080" y="13853"/>
                    <a:pt x="1080" y="13853"/>
                  </a:cubicBezTo>
                  <a:cubicBezTo>
                    <a:pt x="1191" y="13687"/>
                    <a:pt x="1191" y="13687"/>
                    <a:pt x="1191" y="13687"/>
                  </a:cubicBezTo>
                  <a:cubicBezTo>
                    <a:pt x="1264" y="13733"/>
                    <a:pt x="1264" y="13733"/>
                    <a:pt x="1264" y="13733"/>
                  </a:cubicBezTo>
                  <a:lnTo>
                    <a:pt x="1108" y="13964"/>
                  </a:lnTo>
                  <a:close/>
                  <a:moveTo>
                    <a:pt x="910" y="14046"/>
                  </a:moveTo>
                  <a:cubicBezTo>
                    <a:pt x="832" y="13999"/>
                    <a:pt x="832" y="13999"/>
                    <a:pt x="832" y="13999"/>
                  </a:cubicBezTo>
                  <a:cubicBezTo>
                    <a:pt x="820" y="13992"/>
                    <a:pt x="820" y="13992"/>
                    <a:pt x="820" y="13992"/>
                  </a:cubicBezTo>
                  <a:cubicBezTo>
                    <a:pt x="813" y="14004"/>
                    <a:pt x="813" y="14004"/>
                    <a:pt x="813" y="14004"/>
                  </a:cubicBezTo>
                  <a:cubicBezTo>
                    <a:pt x="738" y="14130"/>
                    <a:pt x="738" y="14130"/>
                    <a:pt x="738" y="14130"/>
                  </a:cubicBezTo>
                  <a:cubicBezTo>
                    <a:pt x="728" y="14147"/>
                    <a:pt x="728" y="14147"/>
                    <a:pt x="728" y="14147"/>
                  </a:cubicBezTo>
                  <a:cubicBezTo>
                    <a:pt x="747" y="14151"/>
                    <a:pt x="747" y="14151"/>
                    <a:pt x="747" y="14151"/>
                  </a:cubicBezTo>
                  <a:cubicBezTo>
                    <a:pt x="774" y="14156"/>
                    <a:pt x="774" y="14156"/>
                    <a:pt x="774" y="14156"/>
                  </a:cubicBezTo>
                  <a:cubicBezTo>
                    <a:pt x="780" y="14157"/>
                    <a:pt x="780" y="14157"/>
                    <a:pt x="780" y="14157"/>
                  </a:cubicBezTo>
                  <a:cubicBezTo>
                    <a:pt x="785" y="14154"/>
                    <a:pt x="785" y="14154"/>
                    <a:pt x="785" y="14154"/>
                  </a:cubicBezTo>
                  <a:cubicBezTo>
                    <a:pt x="911" y="14070"/>
                    <a:pt x="911" y="14070"/>
                    <a:pt x="911" y="14070"/>
                  </a:cubicBezTo>
                  <a:cubicBezTo>
                    <a:pt x="929" y="14058"/>
                    <a:pt x="929" y="14058"/>
                    <a:pt x="929" y="14058"/>
                  </a:cubicBezTo>
                  <a:lnTo>
                    <a:pt x="910" y="14046"/>
                  </a:lnTo>
                  <a:close/>
                  <a:moveTo>
                    <a:pt x="777" y="14142"/>
                  </a:moveTo>
                  <a:cubicBezTo>
                    <a:pt x="750" y="14137"/>
                    <a:pt x="750" y="14137"/>
                    <a:pt x="750" y="14137"/>
                  </a:cubicBezTo>
                  <a:cubicBezTo>
                    <a:pt x="825" y="14011"/>
                    <a:pt x="825" y="14011"/>
                    <a:pt x="825" y="14011"/>
                  </a:cubicBezTo>
                  <a:cubicBezTo>
                    <a:pt x="903" y="14058"/>
                    <a:pt x="903" y="14058"/>
                    <a:pt x="903" y="14058"/>
                  </a:cubicBezTo>
                  <a:lnTo>
                    <a:pt x="777" y="14142"/>
                  </a:lnTo>
                  <a:close/>
                  <a:moveTo>
                    <a:pt x="1036" y="14045"/>
                  </a:moveTo>
                  <a:cubicBezTo>
                    <a:pt x="799" y="13897"/>
                    <a:pt x="799" y="13897"/>
                    <a:pt x="799" y="13897"/>
                  </a:cubicBezTo>
                  <a:cubicBezTo>
                    <a:pt x="663" y="14145"/>
                    <a:pt x="663" y="14145"/>
                    <a:pt x="663" y="14145"/>
                  </a:cubicBezTo>
                  <a:cubicBezTo>
                    <a:pt x="831" y="14252"/>
                    <a:pt x="831" y="14252"/>
                    <a:pt x="831" y="14252"/>
                  </a:cubicBezTo>
                  <a:lnTo>
                    <a:pt x="1036" y="14045"/>
                  </a:lnTo>
                  <a:close/>
                  <a:moveTo>
                    <a:pt x="682" y="14140"/>
                  </a:moveTo>
                  <a:cubicBezTo>
                    <a:pt x="804" y="13917"/>
                    <a:pt x="804" y="13917"/>
                    <a:pt x="804" y="13917"/>
                  </a:cubicBezTo>
                  <a:cubicBezTo>
                    <a:pt x="1014" y="14047"/>
                    <a:pt x="1014" y="14047"/>
                    <a:pt x="1014" y="14047"/>
                  </a:cubicBezTo>
                  <a:cubicBezTo>
                    <a:pt x="829" y="14234"/>
                    <a:pt x="829" y="14234"/>
                    <a:pt x="829" y="14234"/>
                  </a:cubicBezTo>
                  <a:lnTo>
                    <a:pt x="682" y="14140"/>
                  </a:lnTo>
                  <a:close/>
                  <a:moveTo>
                    <a:pt x="4238" y="13828"/>
                  </a:moveTo>
                  <a:cubicBezTo>
                    <a:pt x="4318" y="13828"/>
                    <a:pt x="4356" y="13751"/>
                    <a:pt x="4365" y="13710"/>
                  </a:cubicBezTo>
                  <a:cubicBezTo>
                    <a:pt x="4414" y="13361"/>
                    <a:pt x="4414" y="13361"/>
                    <a:pt x="4414" y="13361"/>
                  </a:cubicBezTo>
                  <a:cubicBezTo>
                    <a:pt x="4414" y="13360"/>
                    <a:pt x="4414" y="13360"/>
                    <a:pt x="4414" y="13360"/>
                  </a:cubicBezTo>
                  <a:cubicBezTo>
                    <a:pt x="4414" y="13360"/>
                    <a:pt x="4414" y="13360"/>
                    <a:pt x="4414" y="13360"/>
                  </a:cubicBezTo>
                  <a:cubicBezTo>
                    <a:pt x="4414" y="13313"/>
                    <a:pt x="4391" y="13223"/>
                    <a:pt x="4299" y="13212"/>
                  </a:cubicBezTo>
                  <a:cubicBezTo>
                    <a:pt x="4294" y="13211"/>
                    <a:pt x="4288" y="13211"/>
                    <a:pt x="4283" y="13211"/>
                  </a:cubicBezTo>
                  <a:cubicBezTo>
                    <a:pt x="4211" y="13211"/>
                    <a:pt x="4166" y="13268"/>
                    <a:pt x="4155" y="13321"/>
                  </a:cubicBezTo>
                  <a:cubicBezTo>
                    <a:pt x="4144" y="13375"/>
                    <a:pt x="4107" y="13660"/>
                    <a:pt x="4105" y="13673"/>
                  </a:cubicBezTo>
                  <a:cubicBezTo>
                    <a:pt x="4102" y="13720"/>
                    <a:pt x="4122" y="13812"/>
                    <a:pt x="4217" y="13826"/>
                  </a:cubicBezTo>
                  <a:cubicBezTo>
                    <a:pt x="4224" y="13827"/>
                    <a:pt x="4231" y="13828"/>
                    <a:pt x="4238" y="13828"/>
                  </a:cubicBezTo>
                  <a:close/>
                  <a:moveTo>
                    <a:pt x="4119" y="13673"/>
                  </a:moveTo>
                  <a:cubicBezTo>
                    <a:pt x="4119" y="13673"/>
                    <a:pt x="4157" y="13378"/>
                    <a:pt x="4169" y="13324"/>
                  </a:cubicBezTo>
                  <a:cubicBezTo>
                    <a:pt x="4180" y="13270"/>
                    <a:pt x="4227" y="13217"/>
                    <a:pt x="4298" y="13226"/>
                  </a:cubicBezTo>
                  <a:cubicBezTo>
                    <a:pt x="4401" y="13238"/>
                    <a:pt x="4400" y="13359"/>
                    <a:pt x="4400" y="13359"/>
                  </a:cubicBezTo>
                  <a:cubicBezTo>
                    <a:pt x="4351" y="13708"/>
                    <a:pt x="4351" y="13708"/>
                    <a:pt x="4351" y="13708"/>
                  </a:cubicBezTo>
                  <a:cubicBezTo>
                    <a:pt x="4351" y="13708"/>
                    <a:pt x="4326" y="13828"/>
                    <a:pt x="4219" y="13812"/>
                  </a:cubicBezTo>
                  <a:cubicBezTo>
                    <a:pt x="4112" y="13797"/>
                    <a:pt x="4119" y="13673"/>
                    <a:pt x="4119" y="13673"/>
                  </a:cubicBezTo>
                  <a:close/>
                  <a:moveTo>
                    <a:pt x="1390" y="14153"/>
                  </a:moveTo>
                  <a:cubicBezTo>
                    <a:pt x="1384" y="14159"/>
                    <a:pt x="1384" y="14159"/>
                    <a:pt x="1384" y="14159"/>
                  </a:cubicBezTo>
                  <a:cubicBezTo>
                    <a:pt x="1387" y="14161"/>
                    <a:pt x="1387" y="14161"/>
                    <a:pt x="1387" y="14161"/>
                  </a:cubicBezTo>
                  <a:cubicBezTo>
                    <a:pt x="1337" y="14266"/>
                    <a:pt x="1337" y="14266"/>
                    <a:pt x="1337" y="14266"/>
                  </a:cubicBezTo>
                  <a:cubicBezTo>
                    <a:pt x="1336" y="14265"/>
                    <a:pt x="1336" y="14265"/>
                    <a:pt x="1336" y="14265"/>
                  </a:cubicBezTo>
                  <a:cubicBezTo>
                    <a:pt x="1330" y="14271"/>
                    <a:pt x="1330" y="14271"/>
                    <a:pt x="1330" y="14271"/>
                  </a:cubicBezTo>
                  <a:cubicBezTo>
                    <a:pt x="1333" y="14274"/>
                    <a:pt x="1333" y="14274"/>
                    <a:pt x="1333" y="14274"/>
                  </a:cubicBezTo>
                  <a:cubicBezTo>
                    <a:pt x="1283" y="14380"/>
                    <a:pt x="1283" y="14380"/>
                    <a:pt x="1283" y="14380"/>
                  </a:cubicBezTo>
                  <a:cubicBezTo>
                    <a:pt x="1281" y="14378"/>
                    <a:pt x="1281" y="14378"/>
                    <a:pt x="1281" y="14378"/>
                  </a:cubicBezTo>
                  <a:cubicBezTo>
                    <a:pt x="1276" y="14385"/>
                    <a:pt x="1276" y="14385"/>
                    <a:pt x="1276" y="14385"/>
                  </a:cubicBezTo>
                  <a:cubicBezTo>
                    <a:pt x="1279" y="14387"/>
                    <a:pt x="1279" y="14387"/>
                    <a:pt x="1279" y="14387"/>
                  </a:cubicBezTo>
                  <a:cubicBezTo>
                    <a:pt x="1224" y="14504"/>
                    <a:pt x="1224" y="14504"/>
                    <a:pt x="1224" y="14504"/>
                  </a:cubicBezTo>
                  <a:cubicBezTo>
                    <a:pt x="1222" y="14502"/>
                    <a:pt x="1222" y="14502"/>
                    <a:pt x="1222" y="14502"/>
                  </a:cubicBezTo>
                  <a:cubicBezTo>
                    <a:pt x="1216" y="14508"/>
                    <a:pt x="1216" y="14508"/>
                    <a:pt x="1216" y="14508"/>
                  </a:cubicBezTo>
                  <a:cubicBezTo>
                    <a:pt x="1220" y="14512"/>
                    <a:pt x="1220" y="14512"/>
                    <a:pt x="1220" y="14512"/>
                  </a:cubicBezTo>
                  <a:cubicBezTo>
                    <a:pt x="1166" y="14626"/>
                    <a:pt x="1166" y="14626"/>
                    <a:pt x="1166" y="14626"/>
                  </a:cubicBezTo>
                  <a:cubicBezTo>
                    <a:pt x="1164" y="14625"/>
                    <a:pt x="1164" y="14625"/>
                    <a:pt x="1164" y="14625"/>
                  </a:cubicBezTo>
                  <a:cubicBezTo>
                    <a:pt x="1159" y="14631"/>
                    <a:pt x="1159" y="14631"/>
                    <a:pt x="1159" y="14631"/>
                  </a:cubicBezTo>
                  <a:cubicBezTo>
                    <a:pt x="1162" y="14634"/>
                    <a:pt x="1162" y="14634"/>
                    <a:pt x="1162" y="14634"/>
                  </a:cubicBezTo>
                  <a:cubicBezTo>
                    <a:pt x="1104" y="14756"/>
                    <a:pt x="1104" y="14756"/>
                    <a:pt x="1104" y="14756"/>
                  </a:cubicBezTo>
                  <a:cubicBezTo>
                    <a:pt x="1168" y="14801"/>
                    <a:pt x="1168" y="14801"/>
                    <a:pt x="1168" y="14801"/>
                  </a:cubicBezTo>
                  <a:cubicBezTo>
                    <a:pt x="1223" y="14685"/>
                    <a:pt x="1223" y="14685"/>
                    <a:pt x="1223" y="14685"/>
                  </a:cubicBezTo>
                  <a:cubicBezTo>
                    <a:pt x="1225" y="14687"/>
                    <a:pt x="1225" y="14687"/>
                    <a:pt x="1225" y="14687"/>
                  </a:cubicBezTo>
                  <a:cubicBezTo>
                    <a:pt x="1230" y="14681"/>
                    <a:pt x="1230" y="14681"/>
                    <a:pt x="1230" y="14681"/>
                  </a:cubicBezTo>
                  <a:cubicBezTo>
                    <a:pt x="1227" y="14678"/>
                    <a:pt x="1227" y="14678"/>
                    <a:pt x="1227" y="14678"/>
                  </a:cubicBezTo>
                  <a:cubicBezTo>
                    <a:pt x="1281" y="14564"/>
                    <a:pt x="1281" y="14564"/>
                    <a:pt x="1281" y="14564"/>
                  </a:cubicBezTo>
                  <a:cubicBezTo>
                    <a:pt x="1282" y="14564"/>
                    <a:pt x="1282" y="14564"/>
                    <a:pt x="1282" y="14564"/>
                  </a:cubicBezTo>
                  <a:cubicBezTo>
                    <a:pt x="1287" y="14558"/>
                    <a:pt x="1287" y="14558"/>
                    <a:pt x="1287" y="14558"/>
                  </a:cubicBezTo>
                  <a:cubicBezTo>
                    <a:pt x="1285" y="14556"/>
                    <a:pt x="1285" y="14556"/>
                    <a:pt x="1285" y="14556"/>
                  </a:cubicBezTo>
                  <a:cubicBezTo>
                    <a:pt x="1341" y="14440"/>
                    <a:pt x="1341" y="14440"/>
                    <a:pt x="1341" y="14440"/>
                  </a:cubicBezTo>
                  <a:cubicBezTo>
                    <a:pt x="1342" y="14441"/>
                    <a:pt x="1342" y="14441"/>
                    <a:pt x="1342" y="14441"/>
                  </a:cubicBezTo>
                  <a:cubicBezTo>
                    <a:pt x="1347" y="14434"/>
                    <a:pt x="1347" y="14434"/>
                    <a:pt x="1347" y="14434"/>
                  </a:cubicBezTo>
                  <a:cubicBezTo>
                    <a:pt x="1344" y="14432"/>
                    <a:pt x="1344" y="14432"/>
                    <a:pt x="1344" y="14432"/>
                  </a:cubicBezTo>
                  <a:cubicBezTo>
                    <a:pt x="1395" y="14327"/>
                    <a:pt x="1395" y="14327"/>
                    <a:pt x="1395" y="14327"/>
                  </a:cubicBezTo>
                  <a:cubicBezTo>
                    <a:pt x="1396" y="14327"/>
                    <a:pt x="1396" y="14327"/>
                    <a:pt x="1396" y="14327"/>
                  </a:cubicBezTo>
                  <a:cubicBezTo>
                    <a:pt x="1401" y="14321"/>
                    <a:pt x="1401" y="14321"/>
                    <a:pt x="1401" y="14321"/>
                  </a:cubicBezTo>
                  <a:cubicBezTo>
                    <a:pt x="1399" y="14319"/>
                    <a:pt x="1399" y="14319"/>
                    <a:pt x="1399" y="14319"/>
                  </a:cubicBezTo>
                  <a:cubicBezTo>
                    <a:pt x="1449" y="14214"/>
                    <a:pt x="1449" y="14214"/>
                    <a:pt x="1449" y="14214"/>
                  </a:cubicBezTo>
                  <a:cubicBezTo>
                    <a:pt x="1450" y="14215"/>
                    <a:pt x="1450" y="14215"/>
                    <a:pt x="1450" y="14215"/>
                  </a:cubicBezTo>
                  <a:cubicBezTo>
                    <a:pt x="1456" y="14209"/>
                    <a:pt x="1456" y="14209"/>
                    <a:pt x="1456" y="14209"/>
                  </a:cubicBezTo>
                  <a:cubicBezTo>
                    <a:pt x="1453" y="14207"/>
                    <a:pt x="1453" y="14207"/>
                    <a:pt x="1453" y="14207"/>
                  </a:cubicBezTo>
                  <a:cubicBezTo>
                    <a:pt x="1504" y="14100"/>
                    <a:pt x="1504" y="14100"/>
                    <a:pt x="1504" y="14100"/>
                  </a:cubicBezTo>
                  <a:cubicBezTo>
                    <a:pt x="1443" y="14044"/>
                    <a:pt x="1443" y="14044"/>
                    <a:pt x="1443" y="14044"/>
                  </a:cubicBezTo>
                  <a:cubicBezTo>
                    <a:pt x="1391" y="14154"/>
                    <a:pt x="1391" y="14154"/>
                    <a:pt x="1391" y="14154"/>
                  </a:cubicBezTo>
                  <a:lnTo>
                    <a:pt x="1390" y="14153"/>
                  </a:lnTo>
                  <a:close/>
                  <a:moveTo>
                    <a:pt x="1162" y="14780"/>
                  </a:moveTo>
                  <a:cubicBezTo>
                    <a:pt x="1121" y="14751"/>
                    <a:pt x="1121" y="14751"/>
                    <a:pt x="1121" y="14751"/>
                  </a:cubicBezTo>
                  <a:cubicBezTo>
                    <a:pt x="1173" y="14643"/>
                    <a:pt x="1173" y="14643"/>
                    <a:pt x="1173" y="14643"/>
                  </a:cubicBezTo>
                  <a:cubicBezTo>
                    <a:pt x="1212" y="14676"/>
                    <a:pt x="1212" y="14676"/>
                    <a:pt x="1212" y="14676"/>
                  </a:cubicBezTo>
                  <a:lnTo>
                    <a:pt x="1162" y="14780"/>
                  </a:lnTo>
                  <a:close/>
                  <a:moveTo>
                    <a:pt x="1216" y="14668"/>
                  </a:moveTo>
                  <a:cubicBezTo>
                    <a:pt x="1177" y="14635"/>
                    <a:pt x="1177" y="14635"/>
                    <a:pt x="1177" y="14635"/>
                  </a:cubicBezTo>
                  <a:cubicBezTo>
                    <a:pt x="1231" y="14521"/>
                    <a:pt x="1231" y="14521"/>
                    <a:pt x="1231" y="14521"/>
                  </a:cubicBezTo>
                  <a:cubicBezTo>
                    <a:pt x="1270" y="14554"/>
                    <a:pt x="1270" y="14554"/>
                    <a:pt x="1270" y="14554"/>
                  </a:cubicBezTo>
                  <a:lnTo>
                    <a:pt x="1216" y="14668"/>
                  </a:lnTo>
                  <a:close/>
                  <a:moveTo>
                    <a:pt x="1274" y="14547"/>
                  </a:moveTo>
                  <a:cubicBezTo>
                    <a:pt x="1235" y="14513"/>
                    <a:pt x="1235" y="14513"/>
                    <a:pt x="1235" y="14513"/>
                  </a:cubicBezTo>
                  <a:cubicBezTo>
                    <a:pt x="1290" y="14397"/>
                    <a:pt x="1290" y="14397"/>
                    <a:pt x="1290" y="14397"/>
                  </a:cubicBezTo>
                  <a:cubicBezTo>
                    <a:pt x="1330" y="14430"/>
                    <a:pt x="1330" y="14430"/>
                    <a:pt x="1330" y="14430"/>
                  </a:cubicBezTo>
                  <a:lnTo>
                    <a:pt x="1274" y="14547"/>
                  </a:lnTo>
                  <a:close/>
                  <a:moveTo>
                    <a:pt x="1334" y="14423"/>
                  </a:moveTo>
                  <a:cubicBezTo>
                    <a:pt x="1294" y="14389"/>
                    <a:pt x="1294" y="14389"/>
                    <a:pt x="1294" y="14389"/>
                  </a:cubicBezTo>
                  <a:cubicBezTo>
                    <a:pt x="1344" y="14283"/>
                    <a:pt x="1344" y="14283"/>
                    <a:pt x="1344" y="14283"/>
                  </a:cubicBezTo>
                  <a:cubicBezTo>
                    <a:pt x="1384" y="14317"/>
                    <a:pt x="1384" y="14317"/>
                    <a:pt x="1384" y="14317"/>
                  </a:cubicBezTo>
                  <a:lnTo>
                    <a:pt x="1334" y="14423"/>
                  </a:lnTo>
                  <a:close/>
                  <a:moveTo>
                    <a:pt x="1448" y="14067"/>
                  </a:moveTo>
                  <a:cubicBezTo>
                    <a:pt x="1487" y="14103"/>
                    <a:pt x="1487" y="14103"/>
                    <a:pt x="1487" y="14103"/>
                  </a:cubicBezTo>
                  <a:cubicBezTo>
                    <a:pt x="1442" y="14197"/>
                    <a:pt x="1442" y="14197"/>
                    <a:pt x="1442" y="14197"/>
                  </a:cubicBezTo>
                  <a:cubicBezTo>
                    <a:pt x="1402" y="14163"/>
                    <a:pt x="1402" y="14163"/>
                    <a:pt x="1402" y="14163"/>
                  </a:cubicBezTo>
                  <a:lnTo>
                    <a:pt x="1448" y="14067"/>
                  </a:lnTo>
                  <a:close/>
                  <a:moveTo>
                    <a:pt x="1438" y="14205"/>
                  </a:moveTo>
                  <a:cubicBezTo>
                    <a:pt x="1388" y="14310"/>
                    <a:pt x="1388" y="14310"/>
                    <a:pt x="1388" y="14310"/>
                  </a:cubicBezTo>
                  <a:cubicBezTo>
                    <a:pt x="1348" y="14276"/>
                    <a:pt x="1348" y="14276"/>
                    <a:pt x="1348" y="14276"/>
                  </a:cubicBezTo>
                  <a:cubicBezTo>
                    <a:pt x="1398" y="14171"/>
                    <a:pt x="1398" y="14171"/>
                    <a:pt x="1398" y="14171"/>
                  </a:cubicBezTo>
                  <a:lnTo>
                    <a:pt x="1438" y="14205"/>
                  </a:lnTo>
                  <a:close/>
                  <a:moveTo>
                    <a:pt x="1256" y="14152"/>
                  </a:moveTo>
                  <a:cubicBezTo>
                    <a:pt x="1193" y="14102"/>
                    <a:pt x="1193" y="14102"/>
                    <a:pt x="1193" y="14102"/>
                  </a:cubicBezTo>
                  <a:cubicBezTo>
                    <a:pt x="1125" y="14124"/>
                    <a:pt x="1125" y="14124"/>
                    <a:pt x="1125" y="14124"/>
                  </a:cubicBezTo>
                  <a:cubicBezTo>
                    <a:pt x="1044" y="14221"/>
                    <a:pt x="1044" y="14221"/>
                    <a:pt x="1044" y="14221"/>
                  </a:cubicBezTo>
                  <a:cubicBezTo>
                    <a:pt x="1183" y="14297"/>
                    <a:pt x="1183" y="14297"/>
                    <a:pt x="1183" y="14297"/>
                  </a:cubicBezTo>
                  <a:lnTo>
                    <a:pt x="1256" y="14152"/>
                  </a:lnTo>
                  <a:close/>
                  <a:moveTo>
                    <a:pt x="1066" y="14217"/>
                  </a:moveTo>
                  <a:cubicBezTo>
                    <a:pt x="1133" y="14136"/>
                    <a:pt x="1133" y="14136"/>
                    <a:pt x="1133" y="14136"/>
                  </a:cubicBezTo>
                  <a:cubicBezTo>
                    <a:pt x="1190" y="14118"/>
                    <a:pt x="1190" y="14118"/>
                    <a:pt x="1190" y="14118"/>
                  </a:cubicBezTo>
                  <a:cubicBezTo>
                    <a:pt x="1239" y="14156"/>
                    <a:pt x="1239" y="14156"/>
                    <a:pt x="1239" y="14156"/>
                  </a:cubicBezTo>
                  <a:cubicBezTo>
                    <a:pt x="1177" y="14278"/>
                    <a:pt x="1177" y="14278"/>
                    <a:pt x="1177" y="14278"/>
                  </a:cubicBezTo>
                  <a:lnTo>
                    <a:pt x="1066" y="14217"/>
                  </a:lnTo>
                  <a:close/>
                  <a:moveTo>
                    <a:pt x="4211" y="14183"/>
                  </a:moveTo>
                  <a:cubicBezTo>
                    <a:pt x="4303" y="14171"/>
                    <a:pt x="4303" y="14171"/>
                    <a:pt x="4303" y="14171"/>
                  </a:cubicBezTo>
                  <a:cubicBezTo>
                    <a:pt x="4314" y="14100"/>
                    <a:pt x="4314" y="14100"/>
                    <a:pt x="4314" y="14100"/>
                  </a:cubicBezTo>
                  <a:cubicBezTo>
                    <a:pt x="4378" y="14111"/>
                    <a:pt x="4378" y="14111"/>
                    <a:pt x="4378" y="14111"/>
                  </a:cubicBezTo>
                  <a:cubicBezTo>
                    <a:pt x="4395" y="14054"/>
                    <a:pt x="4395" y="14054"/>
                    <a:pt x="4395" y="14054"/>
                  </a:cubicBezTo>
                  <a:cubicBezTo>
                    <a:pt x="4151" y="14016"/>
                    <a:pt x="4151" y="14016"/>
                    <a:pt x="4151" y="14016"/>
                  </a:cubicBezTo>
                  <a:cubicBezTo>
                    <a:pt x="4141" y="14078"/>
                    <a:pt x="4141" y="14078"/>
                    <a:pt x="4141" y="14078"/>
                  </a:cubicBezTo>
                  <a:cubicBezTo>
                    <a:pt x="4213" y="14110"/>
                    <a:pt x="4213" y="14110"/>
                    <a:pt x="4213" y="14110"/>
                  </a:cubicBezTo>
                  <a:lnTo>
                    <a:pt x="4211" y="14183"/>
                  </a:lnTo>
                  <a:close/>
                  <a:moveTo>
                    <a:pt x="4156" y="14070"/>
                  </a:moveTo>
                  <a:cubicBezTo>
                    <a:pt x="4163" y="14032"/>
                    <a:pt x="4163" y="14032"/>
                    <a:pt x="4163" y="14032"/>
                  </a:cubicBezTo>
                  <a:cubicBezTo>
                    <a:pt x="4377" y="14065"/>
                    <a:pt x="4377" y="14065"/>
                    <a:pt x="4377" y="14065"/>
                  </a:cubicBezTo>
                  <a:cubicBezTo>
                    <a:pt x="4368" y="14096"/>
                    <a:pt x="4368" y="14096"/>
                    <a:pt x="4368" y="14096"/>
                  </a:cubicBezTo>
                  <a:cubicBezTo>
                    <a:pt x="4317" y="14086"/>
                    <a:pt x="4317" y="14086"/>
                    <a:pt x="4317" y="14086"/>
                  </a:cubicBezTo>
                  <a:cubicBezTo>
                    <a:pt x="4303" y="14084"/>
                    <a:pt x="4303" y="14084"/>
                    <a:pt x="4303" y="14084"/>
                  </a:cubicBezTo>
                  <a:cubicBezTo>
                    <a:pt x="4300" y="14098"/>
                    <a:pt x="4300" y="14098"/>
                    <a:pt x="4300" y="14098"/>
                  </a:cubicBezTo>
                  <a:cubicBezTo>
                    <a:pt x="4291" y="14158"/>
                    <a:pt x="4291" y="14158"/>
                    <a:pt x="4291" y="14158"/>
                  </a:cubicBezTo>
                  <a:cubicBezTo>
                    <a:pt x="4225" y="14167"/>
                    <a:pt x="4225" y="14167"/>
                    <a:pt x="4225" y="14167"/>
                  </a:cubicBezTo>
                  <a:cubicBezTo>
                    <a:pt x="4227" y="14110"/>
                    <a:pt x="4227" y="14110"/>
                    <a:pt x="4227" y="14110"/>
                  </a:cubicBezTo>
                  <a:cubicBezTo>
                    <a:pt x="4227" y="14101"/>
                    <a:pt x="4227" y="14101"/>
                    <a:pt x="4227" y="14101"/>
                  </a:cubicBezTo>
                  <a:cubicBezTo>
                    <a:pt x="4218" y="14097"/>
                    <a:pt x="4218" y="14097"/>
                    <a:pt x="4218" y="14097"/>
                  </a:cubicBezTo>
                  <a:lnTo>
                    <a:pt x="4156" y="14070"/>
                  </a:lnTo>
                  <a:close/>
                  <a:moveTo>
                    <a:pt x="866" y="14821"/>
                  </a:moveTo>
                  <a:cubicBezTo>
                    <a:pt x="875" y="14811"/>
                    <a:pt x="875" y="14811"/>
                    <a:pt x="875" y="14811"/>
                  </a:cubicBezTo>
                  <a:cubicBezTo>
                    <a:pt x="865" y="14802"/>
                    <a:pt x="865" y="14802"/>
                    <a:pt x="865" y="14802"/>
                  </a:cubicBezTo>
                  <a:cubicBezTo>
                    <a:pt x="821" y="14765"/>
                    <a:pt x="821" y="14765"/>
                    <a:pt x="821" y="14765"/>
                  </a:cubicBezTo>
                  <a:cubicBezTo>
                    <a:pt x="803" y="14750"/>
                    <a:pt x="803" y="14750"/>
                    <a:pt x="803" y="14750"/>
                  </a:cubicBezTo>
                  <a:cubicBezTo>
                    <a:pt x="798" y="14772"/>
                    <a:pt x="798" y="14772"/>
                    <a:pt x="798" y="14772"/>
                  </a:cubicBezTo>
                  <a:cubicBezTo>
                    <a:pt x="767" y="14897"/>
                    <a:pt x="767" y="14897"/>
                    <a:pt x="767" y="14897"/>
                  </a:cubicBezTo>
                  <a:cubicBezTo>
                    <a:pt x="792" y="14910"/>
                    <a:pt x="792" y="14910"/>
                    <a:pt x="792" y="14910"/>
                  </a:cubicBezTo>
                  <a:lnTo>
                    <a:pt x="866" y="14821"/>
                  </a:lnTo>
                  <a:close/>
                  <a:moveTo>
                    <a:pt x="812" y="14776"/>
                  </a:moveTo>
                  <a:cubicBezTo>
                    <a:pt x="856" y="14812"/>
                    <a:pt x="856" y="14812"/>
                    <a:pt x="856" y="14812"/>
                  </a:cubicBezTo>
                  <a:cubicBezTo>
                    <a:pt x="781" y="14901"/>
                    <a:pt x="781" y="14901"/>
                    <a:pt x="781" y="14901"/>
                  </a:cubicBezTo>
                  <a:lnTo>
                    <a:pt x="812" y="14776"/>
                  </a:lnTo>
                  <a:close/>
                  <a:moveTo>
                    <a:pt x="537" y="15475"/>
                  </a:moveTo>
                  <a:cubicBezTo>
                    <a:pt x="416" y="15452"/>
                    <a:pt x="299" y="15473"/>
                    <a:pt x="299" y="15473"/>
                  </a:cubicBezTo>
                  <a:cubicBezTo>
                    <a:pt x="307" y="15559"/>
                    <a:pt x="307" y="15559"/>
                    <a:pt x="307" y="15559"/>
                  </a:cubicBezTo>
                  <a:cubicBezTo>
                    <a:pt x="307" y="15559"/>
                    <a:pt x="421" y="15542"/>
                    <a:pt x="422" y="15589"/>
                  </a:cubicBezTo>
                  <a:cubicBezTo>
                    <a:pt x="422" y="15590"/>
                    <a:pt x="505" y="15597"/>
                    <a:pt x="505" y="15597"/>
                  </a:cubicBezTo>
                  <a:cubicBezTo>
                    <a:pt x="574" y="15630"/>
                    <a:pt x="574" y="15630"/>
                    <a:pt x="574" y="15630"/>
                  </a:cubicBezTo>
                  <a:cubicBezTo>
                    <a:pt x="574" y="15630"/>
                    <a:pt x="584" y="15602"/>
                    <a:pt x="613" y="15615"/>
                  </a:cubicBezTo>
                  <a:cubicBezTo>
                    <a:pt x="642" y="15629"/>
                    <a:pt x="675" y="15645"/>
                    <a:pt x="675" y="15645"/>
                  </a:cubicBezTo>
                  <a:cubicBezTo>
                    <a:pt x="730" y="15574"/>
                    <a:pt x="730" y="15574"/>
                    <a:pt x="730" y="15574"/>
                  </a:cubicBezTo>
                  <a:cubicBezTo>
                    <a:pt x="730" y="15574"/>
                    <a:pt x="656" y="15497"/>
                    <a:pt x="537" y="15475"/>
                  </a:cubicBezTo>
                  <a:close/>
                  <a:moveTo>
                    <a:pt x="671" y="15628"/>
                  </a:moveTo>
                  <a:cubicBezTo>
                    <a:pt x="659" y="15622"/>
                    <a:pt x="638" y="15612"/>
                    <a:pt x="619" y="15603"/>
                  </a:cubicBezTo>
                  <a:cubicBezTo>
                    <a:pt x="612" y="15599"/>
                    <a:pt x="605" y="15598"/>
                    <a:pt x="598" y="15598"/>
                  </a:cubicBezTo>
                  <a:cubicBezTo>
                    <a:pt x="585" y="15598"/>
                    <a:pt x="575" y="15604"/>
                    <a:pt x="569" y="15612"/>
                  </a:cubicBezTo>
                  <a:cubicBezTo>
                    <a:pt x="511" y="15584"/>
                    <a:pt x="511" y="15584"/>
                    <a:pt x="511" y="15584"/>
                  </a:cubicBezTo>
                  <a:cubicBezTo>
                    <a:pt x="509" y="15583"/>
                    <a:pt x="509" y="15583"/>
                    <a:pt x="509" y="15583"/>
                  </a:cubicBezTo>
                  <a:cubicBezTo>
                    <a:pt x="506" y="15583"/>
                    <a:pt x="506" y="15583"/>
                    <a:pt x="506" y="15583"/>
                  </a:cubicBezTo>
                  <a:cubicBezTo>
                    <a:pt x="478" y="15581"/>
                    <a:pt x="448" y="15578"/>
                    <a:pt x="434" y="15576"/>
                  </a:cubicBezTo>
                  <a:cubicBezTo>
                    <a:pt x="428" y="15559"/>
                    <a:pt x="408" y="15542"/>
                    <a:pt x="352" y="15542"/>
                  </a:cubicBezTo>
                  <a:cubicBezTo>
                    <a:pt x="339" y="15542"/>
                    <a:pt x="328" y="15543"/>
                    <a:pt x="320" y="15544"/>
                  </a:cubicBezTo>
                  <a:cubicBezTo>
                    <a:pt x="314" y="15485"/>
                    <a:pt x="314" y="15485"/>
                    <a:pt x="314" y="15485"/>
                  </a:cubicBezTo>
                  <a:cubicBezTo>
                    <a:pt x="333" y="15482"/>
                    <a:pt x="370" y="15478"/>
                    <a:pt x="416" y="15478"/>
                  </a:cubicBezTo>
                  <a:cubicBezTo>
                    <a:pt x="458" y="15478"/>
                    <a:pt x="498" y="15482"/>
                    <a:pt x="535" y="15488"/>
                  </a:cubicBezTo>
                  <a:cubicBezTo>
                    <a:pt x="625" y="15506"/>
                    <a:pt x="689" y="15556"/>
                    <a:pt x="711" y="15576"/>
                  </a:cubicBezTo>
                  <a:lnTo>
                    <a:pt x="671" y="15628"/>
                  </a:lnTo>
                  <a:close/>
                  <a:moveTo>
                    <a:pt x="1018" y="14419"/>
                  </a:moveTo>
                  <a:cubicBezTo>
                    <a:pt x="956" y="14545"/>
                    <a:pt x="956" y="14545"/>
                    <a:pt x="956" y="14545"/>
                  </a:cubicBezTo>
                  <a:cubicBezTo>
                    <a:pt x="886" y="14411"/>
                    <a:pt x="886" y="14411"/>
                    <a:pt x="886" y="14411"/>
                  </a:cubicBezTo>
                  <a:cubicBezTo>
                    <a:pt x="787" y="14515"/>
                    <a:pt x="787" y="14515"/>
                    <a:pt x="787" y="14515"/>
                  </a:cubicBezTo>
                  <a:cubicBezTo>
                    <a:pt x="1000" y="14668"/>
                    <a:pt x="1000" y="14668"/>
                    <a:pt x="1000" y="14668"/>
                  </a:cubicBezTo>
                  <a:cubicBezTo>
                    <a:pt x="1151" y="14362"/>
                    <a:pt x="1151" y="14362"/>
                    <a:pt x="1151" y="14362"/>
                  </a:cubicBezTo>
                  <a:cubicBezTo>
                    <a:pt x="998" y="14278"/>
                    <a:pt x="998" y="14278"/>
                    <a:pt x="998" y="14278"/>
                  </a:cubicBezTo>
                  <a:cubicBezTo>
                    <a:pt x="924" y="14357"/>
                    <a:pt x="924" y="14357"/>
                    <a:pt x="924" y="14357"/>
                  </a:cubicBezTo>
                  <a:lnTo>
                    <a:pt x="1018" y="14419"/>
                  </a:lnTo>
                  <a:close/>
                  <a:moveTo>
                    <a:pt x="1001" y="14296"/>
                  </a:moveTo>
                  <a:cubicBezTo>
                    <a:pt x="1132" y="14368"/>
                    <a:pt x="1132" y="14368"/>
                    <a:pt x="1132" y="14368"/>
                  </a:cubicBezTo>
                  <a:cubicBezTo>
                    <a:pt x="995" y="14647"/>
                    <a:pt x="995" y="14647"/>
                    <a:pt x="995" y="14647"/>
                  </a:cubicBezTo>
                  <a:cubicBezTo>
                    <a:pt x="808" y="14513"/>
                    <a:pt x="808" y="14513"/>
                    <a:pt x="808" y="14513"/>
                  </a:cubicBezTo>
                  <a:cubicBezTo>
                    <a:pt x="883" y="14434"/>
                    <a:pt x="883" y="14434"/>
                    <a:pt x="883" y="14434"/>
                  </a:cubicBezTo>
                  <a:cubicBezTo>
                    <a:pt x="944" y="14551"/>
                    <a:pt x="944" y="14551"/>
                    <a:pt x="944" y="14551"/>
                  </a:cubicBezTo>
                  <a:cubicBezTo>
                    <a:pt x="957" y="14576"/>
                    <a:pt x="957" y="14576"/>
                    <a:pt x="957" y="14576"/>
                  </a:cubicBezTo>
                  <a:cubicBezTo>
                    <a:pt x="969" y="14551"/>
                    <a:pt x="969" y="14551"/>
                    <a:pt x="969" y="14551"/>
                  </a:cubicBezTo>
                  <a:cubicBezTo>
                    <a:pt x="1030" y="14425"/>
                    <a:pt x="1030" y="14425"/>
                    <a:pt x="1030" y="14425"/>
                  </a:cubicBezTo>
                  <a:cubicBezTo>
                    <a:pt x="1036" y="14414"/>
                    <a:pt x="1036" y="14414"/>
                    <a:pt x="1036" y="14414"/>
                  </a:cubicBezTo>
                  <a:cubicBezTo>
                    <a:pt x="1025" y="14407"/>
                    <a:pt x="1025" y="14407"/>
                    <a:pt x="1025" y="14407"/>
                  </a:cubicBezTo>
                  <a:cubicBezTo>
                    <a:pt x="946" y="14355"/>
                    <a:pt x="946" y="14355"/>
                    <a:pt x="946" y="14355"/>
                  </a:cubicBezTo>
                  <a:lnTo>
                    <a:pt x="1001" y="14296"/>
                  </a:lnTo>
                  <a:close/>
                  <a:moveTo>
                    <a:pt x="1532" y="13833"/>
                  </a:moveTo>
                  <a:cubicBezTo>
                    <a:pt x="1637" y="13661"/>
                    <a:pt x="1637" y="13661"/>
                    <a:pt x="1637" y="13661"/>
                  </a:cubicBezTo>
                  <a:cubicBezTo>
                    <a:pt x="1522" y="13616"/>
                    <a:pt x="1522" y="13616"/>
                    <a:pt x="1522" y="13616"/>
                  </a:cubicBezTo>
                  <a:cubicBezTo>
                    <a:pt x="1409" y="13790"/>
                    <a:pt x="1409" y="13790"/>
                    <a:pt x="1409" y="13790"/>
                  </a:cubicBezTo>
                  <a:lnTo>
                    <a:pt x="1532" y="13833"/>
                  </a:lnTo>
                  <a:close/>
                  <a:moveTo>
                    <a:pt x="1527" y="13634"/>
                  </a:moveTo>
                  <a:cubicBezTo>
                    <a:pt x="1616" y="13668"/>
                    <a:pt x="1616" y="13668"/>
                    <a:pt x="1616" y="13668"/>
                  </a:cubicBezTo>
                  <a:cubicBezTo>
                    <a:pt x="1526" y="13816"/>
                    <a:pt x="1526" y="13816"/>
                    <a:pt x="1526" y="13816"/>
                  </a:cubicBezTo>
                  <a:cubicBezTo>
                    <a:pt x="1431" y="13782"/>
                    <a:pt x="1431" y="13782"/>
                    <a:pt x="1431" y="13782"/>
                  </a:cubicBezTo>
                  <a:lnTo>
                    <a:pt x="1527" y="13634"/>
                  </a:lnTo>
                  <a:close/>
                  <a:moveTo>
                    <a:pt x="3579" y="11655"/>
                  </a:moveTo>
                  <a:cubicBezTo>
                    <a:pt x="3580" y="11660"/>
                    <a:pt x="3580" y="11660"/>
                    <a:pt x="3580" y="11660"/>
                  </a:cubicBezTo>
                  <a:cubicBezTo>
                    <a:pt x="3580" y="11660"/>
                    <a:pt x="3581" y="11660"/>
                    <a:pt x="3582" y="11660"/>
                  </a:cubicBezTo>
                  <a:cubicBezTo>
                    <a:pt x="3769" y="11757"/>
                    <a:pt x="3769" y="11757"/>
                    <a:pt x="3769" y="11757"/>
                  </a:cubicBezTo>
                  <a:cubicBezTo>
                    <a:pt x="3834" y="11922"/>
                    <a:pt x="3834" y="11922"/>
                    <a:pt x="3834" y="11922"/>
                  </a:cubicBezTo>
                  <a:cubicBezTo>
                    <a:pt x="4038" y="11857"/>
                    <a:pt x="4038" y="11857"/>
                    <a:pt x="4038" y="11857"/>
                  </a:cubicBezTo>
                  <a:cubicBezTo>
                    <a:pt x="3923" y="11696"/>
                    <a:pt x="3923" y="11696"/>
                    <a:pt x="3923" y="11696"/>
                  </a:cubicBezTo>
                  <a:cubicBezTo>
                    <a:pt x="3792" y="11607"/>
                    <a:pt x="3792" y="11607"/>
                    <a:pt x="3792" y="11607"/>
                  </a:cubicBezTo>
                  <a:cubicBezTo>
                    <a:pt x="3791" y="11603"/>
                    <a:pt x="3791" y="11603"/>
                    <a:pt x="3791" y="11603"/>
                  </a:cubicBezTo>
                  <a:cubicBezTo>
                    <a:pt x="3791" y="11603"/>
                    <a:pt x="3791" y="11603"/>
                    <a:pt x="3791" y="11603"/>
                  </a:cubicBezTo>
                  <a:cubicBezTo>
                    <a:pt x="3764" y="11497"/>
                    <a:pt x="3764" y="11497"/>
                    <a:pt x="3764" y="11497"/>
                  </a:cubicBezTo>
                  <a:cubicBezTo>
                    <a:pt x="3498" y="11448"/>
                    <a:pt x="3498" y="11448"/>
                    <a:pt x="3498" y="11448"/>
                  </a:cubicBezTo>
                  <a:lnTo>
                    <a:pt x="3579" y="11655"/>
                  </a:lnTo>
                  <a:close/>
                  <a:moveTo>
                    <a:pt x="3913" y="11706"/>
                  </a:moveTo>
                  <a:cubicBezTo>
                    <a:pt x="4015" y="11850"/>
                    <a:pt x="4015" y="11850"/>
                    <a:pt x="4015" y="11850"/>
                  </a:cubicBezTo>
                  <a:cubicBezTo>
                    <a:pt x="3842" y="11905"/>
                    <a:pt x="3842" y="11905"/>
                    <a:pt x="3842" y="11905"/>
                  </a:cubicBezTo>
                  <a:cubicBezTo>
                    <a:pt x="3783" y="11754"/>
                    <a:pt x="3783" y="11754"/>
                    <a:pt x="3783" y="11754"/>
                  </a:cubicBezTo>
                  <a:cubicBezTo>
                    <a:pt x="3909" y="11703"/>
                    <a:pt x="3909" y="11703"/>
                    <a:pt x="3909" y="11703"/>
                  </a:cubicBezTo>
                  <a:lnTo>
                    <a:pt x="3913" y="11706"/>
                  </a:lnTo>
                  <a:close/>
                  <a:moveTo>
                    <a:pt x="3779" y="11615"/>
                  </a:moveTo>
                  <a:cubicBezTo>
                    <a:pt x="3784" y="11618"/>
                    <a:pt x="3784" y="11618"/>
                    <a:pt x="3784" y="11618"/>
                  </a:cubicBezTo>
                  <a:cubicBezTo>
                    <a:pt x="3901" y="11698"/>
                    <a:pt x="3901" y="11698"/>
                    <a:pt x="3901" y="11698"/>
                  </a:cubicBezTo>
                  <a:cubicBezTo>
                    <a:pt x="3779" y="11747"/>
                    <a:pt x="3779" y="11747"/>
                    <a:pt x="3779" y="11747"/>
                  </a:cubicBezTo>
                  <a:cubicBezTo>
                    <a:pt x="3775" y="11744"/>
                    <a:pt x="3775" y="11744"/>
                    <a:pt x="3775" y="11744"/>
                  </a:cubicBezTo>
                  <a:cubicBezTo>
                    <a:pt x="3603" y="11655"/>
                    <a:pt x="3603" y="11655"/>
                    <a:pt x="3603" y="11655"/>
                  </a:cubicBezTo>
                  <a:cubicBezTo>
                    <a:pt x="3647" y="11645"/>
                    <a:pt x="3743" y="11623"/>
                    <a:pt x="3779" y="11614"/>
                  </a:cubicBezTo>
                  <a:lnTo>
                    <a:pt x="3779" y="11615"/>
                  </a:lnTo>
                  <a:close/>
                  <a:moveTo>
                    <a:pt x="3777" y="11606"/>
                  </a:moveTo>
                  <a:cubicBezTo>
                    <a:pt x="3739" y="11615"/>
                    <a:pt x="3630" y="11641"/>
                    <a:pt x="3592" y="11649"/>
                  </a:cubicBezTo>
                  <a:cubicBezTo>
                    <a:pt x="3520" y="11467"/>
                    <a:pt x="3520" y="11467"/>
                    <a:pt x="3520" y="11467"/>
                  </a:cubicBezTo>
                  <a:cubicBezTo>
                    <a:pt x="3753" y="11509"/>
                    <a:pt x="3753" y="11509"/>
                    <a:pt x="3753" y="11509"/>
                  </a:cubicBezTo>
                  <a:lnTo>
                    <a:pt x="3777" y="11606"/>
                  </a:lnTo>
                  <a:close/>
                  <a:moveTo>
                    <a:pt x="4282" y="6665"/>
                  </a:moveTo>
                  <a:cubicBezTo>
                    <a:pt x="4289" y="6663"/>
                    <a:pt x="4289" y="6663"/>
                    <a:pt x="4289" y="6663"/>
                  </a:cubicBezTo>
                  <a:cubicBezTo>
                    <a:pt x="4262" y="6604"/>
                    <a:pt x="4262" y="6604"/>
                    <a:pt x="4262" y="6604"/>
                  </a:cubicBezTo>
                  <a:cubicBezTo>
                    <a:pt x="4176" y="6640"/>
                    <a:pt x="4176" y="6640"/>
                    <a:pt x="4176" y="6640"/>
                  </a:cubicBezTo>
                  <a:cubicBezTo>
                    <a:pt x="4207" y="6696"/>
                    <a:pt x="4207" y="6696"/>
                    <a:pt x="4207" y="6696"/>
                  </a:cubicBezTo>
                  <a:lnTo>
                    <a:pt x="4282" y="6665"/>
                  </a:lnTo>
                  <a:close/>
                  <a:moveTo>
                    <a:pt x="4255" y="6621"/>
                  </a:moveTo>
                  <a:cubicBezTo>
                    <a:pt x="4271" y="6656"/>
                    <a:pt x="4271" y="6656"/>
                    <a:pt x="4271" y="6656"/>
                  </a:cubicBezTo>
                  <a:cubicBezTo>
                    <a:pt x="4213" y="6679"/>
                    <a:pt x="4213" y="6679"/>
                    <a:pt x="4213" y="6679"/>
                  </a:cubicBezTo>
                  <a:cubicBezTo>
                    <a:pt x="4195" y="6646"/>
                    <a:pt x="4195" y="6646"/>
                    <a:pt x="4195" y="6646"/>
                  </a:cubicBezTo>
                  <a:lnTo>
                    <a:pt x="4255" y="6621"/>
                  </a:lnTo>
                  <a:close/>
                  <a:moveTo>
                    <a:pt x="10359" y="217"/>
                  </a:moveTo>
                  <a:cubicBezTo>
                    <a:pt x="10350" y="0"/>
                    <a:pt x="10350" y="0"/>
                    <a:pt x="10350" y="0"/>
                  </a:cubicBezTo>
                  <a:cubicBezTo>
                    <a:pt x="10364" y="0"/>
                    <a:pt x="10364" y="0"/>
                    <a:pt x="10364" y="0"/>
                  </a:cubicBezTo>
                  <a:cubicBezTo>
                    <a:pt x="10372" y="216"/>
                    <a:pt x="10372" y="216"/>
                    <a:pt x="10372" y="216"/>
                  </a:cubicBezTo>
                  <a:lnTo>
                    <a:pt x="10359" y="217"/>
                  </a:lnTo>
                  <a:close/>
                  <a:moveTo>
                    <a:pt x="180" y="16051"/>
                  </a:moveTo>
                  <a:cubicBezTo>
                    <a:pt x="4" y="16296"/>
                    <a:pt x="4" y="16296"/>
                    <a:pt x="4" y="16296"/>
                  </a:cubicBezTo>
                  <a:cubicBezTo>
                    <a:pt x="4" y="16272"/>
                    <a:pt x="4" y="16272"/>
                    <a:pt x="4" y="16272"/>
                  </a:cubicBezTo>
                  <a:cubicBezTo>
                    <a:pt x="75" y="16174"/>
                    <a:pt x="75" y="16174"/>
                    <a:pt x="75" y="16174"/>
                  </a:cubicBezTo>
                  <a:cubicBezTo>
                    <a:pt x="4" y="16124"/>
                    <a:pt x="4" y="16124"/>
                    <a:pt x="4" y="16124"/>
                  </a:cubicBezTo>
                  <a:cubicBezTo>
                    <a:pt x="4" y="16106"/>
                    <a:pt x="4" y="16106"/>
                    <a:pt x="4" y="16106"/>
                  </a:cubicBezTo>
                  <a:cubicBezTo>
                    <a:pt x="83" y="16163"/>
                    <a:pt x="83" y="16163"/>
                    <a:pt x="83" y="16163"/>
                  </a:cubicBezTo>
                  <a:cubicBezTo>
                    <a:pt x="169" y="16043"/>
                    <a:pt x="169" y="16043"/>
                    <a:pt x="169" y="16043"/>
                  </a:cubicBezTo>
                  <a:lnTo>
                    <a:pt x="180" y="16051"/>
                  </a:lnTo>
                  <a:close/>
                  <a:moveTo>
                    <a:pt x="4" y="13086"/>
                  </a:moveTo>
                  <a:cubicBezTo>
                    <a:pt x="6" y="13097"/>
                    <a:pt x="7" y="13109"/>
                    <a:pt x="7" y="13120"/>
                  </a:cubicBezTo>
                  <a:cubicBezTo>
                    <a:pt x="7" y="13132"/>
                    <a:pt x="6" y="13145"/>
                    <a:pt x="4" y="13157"/>
                  </a:cubicBezTo>
                  <a:lnTo>
                    <a:pt x="4" y="13086"/>
                  </a:lnTo>
                  <a:close/>
                  <a:moveTo>
                    <a:pt x="18008" y="610"/>
                  </a:moveTo>
                  <a:cubicBezTo>
                    <a:pt x="17968" y="639"/>
                    <a:pt x="17928" y="667"/>
                    <a:pt x="17890" y="692"/>
                  </a:cubicBezTo>
                  <a:cubicBezTo>
                    <a:pt x="17885" y="685"/>
                    <a:pt x="17880" y="678"/>
                    <a:pt x="17874" y="671"/>
                  </a:cubicBezTo>
                  <a:cubicBezTo>
                    <a:pt x="17749" y="516"/>
                    <a:pt x="17540" y="284"/>
                    <a:pt x="17114" y="0"/>
                  </a:cubicBezTo>
                  <a:cubicBezTo>
                    <a:pt x="16994" y="0"/>
                    <a:pt x="16994" y="0"/>
                    <a:pt x="16994" y="0"/>
                  </a:cubicBezTo>
                  <a:cubicBezTo>
                    <a:pt x="17472" y="306"/>
                    <a:pt x="17692" y="551"/>
                    <a:pt x="17823" y="712"/>
                  </a:cubicBezTo>
                  <a:cubicBezTo>
                    <a:pt x="17828" y="717"/>
                    <a:pt x="17832" y="723"/>
                    <a:pt x="17836" y="728"/>
                  </a:cubicBezTo>
                  <a:cubicBezTo>
                    <a:pt x="17388" y="1024"/>
                    <a:pt x="16683" y="1548"/>
                    <a:pt x="16196" y="1676"/>
                  </a:cubicBezTo>
                  <a:cubicBezTo>
                    <a:pt x="15695" y="1809"/>
                    <a:pt x="15118" y="1853"/>
                    <a:pt x="14939" y="1885"/>
                  </a:cubicBezTo>
                  <a:cubicBezTo>
                    <a:pt x="14888" y="1894"/>
                    <a:pt x="14691" y="1898"/>
                    <a:pt x="14459" y="1898"/>
                  </a:cubicBezTo>
                  <a:cubicBezTo>
                    <a:pt x="14225" y="1898"/>
                    <a:pt x="13953" y="1895"/>
                    <a:pt x="13739" y="1891"/>
                  </a:cubicBezTo>
                  <a:cubicBezTo>
                    <a:pt x="13525" y="1888"/>
                    <a:pt x="13370" y="1884"/>
                    <a:pt x="13370" y="1884"/>
                  </a:cubicBezTo>
                  <a:cubicBezTo>
                    <a:pt x="13369" y="1884"/>
                    <a:pt x="13369" y="1884"/>
                    <a:pt x="13369" y="1884"/>
                  </a:cubicBezTo>
                  <a:cubicBezTo>
                    <a:pt x="13368" y="1884"/>
                    <a:pt x="13368" y="1884"/>
                    <a:pt x="13368" y="1884"/>
                  </a:cubicBezTo>
                  <a:cubicBezTo>
                    <a:pt x="13324" y="1886"/>
                    <a:pt x="13264" y="1887"/>
                    <a:pt x="13202" y="1909"/>
                  </a:cubicBezTo>
                  <a:cubicBezTo>
                    <a:pt x="13193" y="1855"/>
                    <a:pt x="13173" y="1739"/>
                    <a:pt x="13151" y="1652"/>
                  </a:cubicBezTo>
                  <a:cubicBezTo>
                    <a:pt x="13123" y="1545"/>
                    <a:pt x="13019" y="1248"/>
                    <a:pt x="12955" y="1080"/>
                  </a:cubicBezTo>
                  <a:cubicBezTo>
                    <a:pt x="13096" y="1051"/>
                    <a:pt x="13214" y="1024"/>
                    <a:pt x="13268" y="1024"/>
                  </a:cubicBezTo>
                  <a:cubicBezTo>
                    <a:pt x="13268" y="1024"/>
                    <a:pt x="13268" y="1024"/>
                    <a:pt x="13268" y="1024"/>
                  </a:cubicBezTo>
                  <a:cubicBezTo>
                    <a:pt x="13268" y="1022"/>
                    <a:pt x="13268" y="1022"/>
                    <a:pt x="13268" y="1022"/>
                  </a:cubicBezTo>
                  <a:cubicBezTo>
                    <a:pt x="13476" y="1023"/>
                    <a:pt x="13702" y="1027"/>
                    <a:pt x="13931" y="1027"/>
                  </a:cubicBezTo>
                  <a:cubicBezTo>
                    <a:pt x="13954" y="1027"/>
                    <a:pt x="13976" y="1027"/>
                    <a:pt x="13999" y="1027"/>
                  </a:cubicBezTo>
                  <a:cubicBezTo>
                    <a:pt x="14335" y="1025"/>
                    <a:pt x="14552" y="1004"/>
                    <a:pt x="14712" y="967"/>
                  </a:cubicBezTo>
                  <a:cubicBezTo>
                    <a:pt x="14871" y="930"/>
                    <a:pt x="14973" y="875"/>
                    <a:pt x="15061" y="817"/>
                  </a:cubicBezTo>
                  <a:cubicBezTo>
                    <a:pt x="15083" y="802"/>
                    <a:pt x="15099" y="784"/>
                    <a:pt x="15117" y="763"/>
                  </a:cubicBezTo>
                  <a:cubicBezTo>
                    <a:pt x="15134" y="742"/>
                    <a:pt x="15152" y="717"/>
                    <a:pt x="15172" y="688"/>
                  </a:cubicBezTo>
                  <a:cubicBezTo>
                    <a:pt x="15210" y="630"/>
                    <a:pt x="15254" y="556"/>
                    <a:pt x="15302" y="471"/>
                  </a:cubicBezTo>
                  <a:cubicBezTo>
                    <a:pt x="15378" y="334"/>
                    <a:pt x="15464" y="169"/>
                    <a:pt x="15549" y="0"/>
                  </a:cubicBezTo>
                  <a:cubicBezTo>
                    <a:pt x="15531" y="0"/>
                    <a:pt x="15531" y="0"/>
                    <a:pt x="15531" y="0"/>
                  </a:cubicBezTo>
                  <a:cubicBezTo>
                    <a:pt x="15447" y="166"/>
                    <a:pt x="15363" y="328"/>
                    <a:pt x="15288" y="463"/>
                  </a:cubicBezTo>
                  <a:cubicBezTo>
                    <a:pt x="15240" y="548"/>
                    <a:pt x="15196" y="622"/>
                    <a:pt x="15158" y="679"/>
                  </a:cubicBezTo>
                  <a:cubicBezTo>
                    <a:pt x="15139" y="708"/>
                    <a:pt x="15121" y="732"/>
                    <a:pt x="15104" y="753"/>
                  </a:cubicBezTo>
                  <a:cubicBezTo>
                    <a:pt x="15087" y="774"/>
                    <a:pt x="15072" y="789"/>
                    <a:pt x="15052" y="803"/>
                  </a:cubicBezTo>
                  <a:cubicBezTo>
                    <a:pt x="14965" y="860"/>
                    <a:pt x="14866" y="914"/>
                    <a:pt x="14708" y="951"/>
                  </a:cubicBezTo>
                  <a:cubicBezTo>
                    <a:pt x="14551" y="987"/>
                    <a:pt x="14334" y="1009"/>
                    <a:pt x="13999" y="1010"/>
                  </a:cubicBezTo>
                  <a:cubicBezTo>
                    <a:pt x="13976" y="1010"/>
                    <a:pt x="13954" y="1010"/>
                    <a:pt x="13931" y="1010"/>
                  </a:cubicBezTo>
                  <a:cubicBezTo>
                    <a:pt x="13684" y="1010"/>
                    <a:pt x="13440" y="1006"/>
                    <a:pt x="13218" y="1006"/>
                  </a:cubicBezTo>
                  <a:cubicBezTo>
                    <a:pt x="13218" y="1006"/>
                    <a:pt x="13218" y="1006"/>
                    <a:pt x="13218" y="1006"/>
                  </a:cubicBezTo>
                  <a:cubicBezTo>
                    <a:pt x="13218" y="1012"/>
                    <a:pt x="13218" y="1012"/>
                    <a:pt x="13218" y="1012"/>
                  </a:cubicBezTo>
                  <a:cubicBezTo>
                    <a:pt x="13153" y="1021"/>
                    <a:pt x="13058" y="1042"/>
                    <a:pt x="12949" y="1065"/>
                  </a:cubicBezTo>
                  <a:cubicBezTo>
                    <a:pt x="12945" y="1054"/>
                    <a:pt x="12941" y="1044"/>
                    <a:pt x="12937" y="1034"/>
                  </a:cubicBezTo>
                  <a:cubicBezTo>
                    <a:pt x="12917" y="982"/>
                    <a:pt x="12902" y="932"/>
                    <a:pt x="12891" y="888"/>
                  </a:cubicBezTo>
                  <a:cubicBezTo>
                    <a:pt x="12993" y="884"/>
                    <a:pt x="13102" y="883"/>
                    <a:pt x="13218" y="883"/>
                  </a:cubicBezTo>
                  <a:cubicBezTo>
                    <a:pt x="13441" y="883"/>
                    <a:pt x="13685" y="887"/>
                    <a:pt x="13931" y="887"/>
                  </a:cubicBezTo>
                  <a:cubicBezTo>
                    <a:pt x="13953" y="887"/>
                    <a:pt x="13976" y="887"/>
                    <a:pt x="13999" y="887"/>
                  </a:cubicBezTo>
                  <a:cubicBezTo>
                    <a:pt x="14329" y="886"/>
                    <a:pt x="14537" y="865"/>
                    <a:pt x="14680" y="831"/>
                  </a:cubicBezTo>
                  <a:cubicBezTo>
                    <a:pt x="14823" y="797"/>
                    <a:pt x="14902" y="754"/>
                    <a:pt x="14984" y="701"/>
                  </a:cubicBezTo>
                  <a:cubicBezTo>
                    <a:pt x="14984" y="701"/>
                    <a:pt x="14984" y="701"/>
                    <a:pt x="14984" y="701"/>
                  </a:cubicBezTo>
                  <a:cubicBezTo>
                    <a:pt x="14984" y="701"/>
                    <a:pt x="14984" y="701"/>
                    <a:pt x="14984" y="701"/>
                  </a:cubicBezTo>
                  <a:cubicBezTo>
                    <a:pt x="14984" y="701"/>
                    <a:pt x="14984" y="701"/>
                    <a:pt x="14984" y="701"/>
                  </a:cubicBezTo>
                  <a:cubicBezTo>
                    <a:pt x="14984" y="700"/>
                    <a:pt x="14984" y="700"/>
                    <a:pt x="14985" y="700"/>
                  </a:cubicBezTo>
                  <a:cubicBezTo>
                    <a:pt x="14985" y="700"/>
                    <a:pt x="14985" y="700"/>
                    <a:pt x="14985" y="700"/>
                  </a:cubicBezTo>
                  <a:cubicBezTo>
                    <a:pt x="14985" y="700"/>
                    <a:pt x="14985" y="700"/>
                    <a:pt x="14985" y="700"/>
                  </a:cubicBezTo>
                  <a:cubicBezTo>
                    <a:pt x="14985" y="700"/>
                    <a:pt x="14986" y="700"/>
                    <a:pt x="14986" y="700"/>
                  </a:cubicBezTo>
                  <a:cubicBezTo>
                    <a:pt x="14986" y="700"/>
                    <a:pt x="14986" y="700"/>
                    <a:pt x="14985" y="700"/>
                  </a:cubicBezTo>
                  <a:cubicBezTo>
                    <a:pt x="14987" y="699"/>
                    <a:pt x="14987" y="699"/>
                    <a:pt x="14987" y="699"/>
                  </a:cubicBezTo>
                  <a:cubicBezTo>
                    <a:pt x="14987" y="699"/>
                    <a:pt x="14987" y="699"/>
                    <a:pt x="14987" y="699"/>
                  </a:cubicBezTo>
                  <a:cubicBezTo>
                    <a:pt x="14987" y="698"/>
                    <a:pt x="14987" y="698"/>
                    <a:pt x="14987" y="698"/>
                  </a:cubicBezTo>
                  <a:cubicBezTo>
                    <a:pt x="14989" y="697"/>
                    <a:pt x="14991" y="695"/>
                    <a:pt x="14993" y="693"/>
                  </a:cubicBezTo>
                  <a:cubicBezTo>
                    <a:pt x="15011" y="676"/>
                    <a:pt x="15043" y="632"/>
                    <a:pt x="15080" y="573"/>
                  </a:cubicBezTo>
                  <a:cubicBezTo>
                    <a:pt x="15164" y="440"/>
                    <a:pt x="15278" y="227"/>
                    <a:pt x="15393" y="0"/>
                  </a:cubicBezTo>
                  <a:cubicBezTo>
                    <a:pt x="15375" y="0"/>
                    <a:pt x="15375" y="0"/>
                    <a:pt x="15375" y="0"/>
                  </a:cubicBezTo>
                  <a:cubicBezTo>
                    <a:pt x="15261" y="224"/>
                    <a:pt x="15149" y="434"/>
                    <a:pt x="15066" y="565"/>
                  </a:cubicBezTo>
                  <a:cubicBezTo>
                    <a:pt x="15030" y="623"/>
                    <a:pt x="14997" y="666"/>
                    <a:pt x="14981" y="682"/>
                  </a:cubicBezTo>
                  <a:cubicBezTo>
                    <a:pt x="14979" y="684"/>
                    <a:pt x="14977" y="686"/>
                    <a:pt x="14976" y="686"/>
                  </a:cubicBezTo>
                  <a:cubicBezTo>
                    <a:pt x="14976" y="686"/>
                    <a:pt x="14976" y="687"/>
                    <a:pt x="14976" y="687"/>
                  </a:cubicBezTo>
                  <a:cubicBezTo>
                    <a:pt x="14894" y="740"/>
                    <a:pt x="14818" y="782"/>
                    <a:pt x="14677" y="815"/>
                  </a:cubicBezTo>
                  <a:cubicBezTo>
                    <a:pt x="14535" y="848"/>
                    <a:pt x="14328" y="870"/>
                    <a:pt x="13999" y="871"/>
                  </a:cubicBezTo>
                  <a:cubicBezTo>
                    <a:pt x="13976" y="871"/>
                    <a:pt x="13953" y="871"/>
                    <a:pt x="13931" y="871"/>
                  </a:cubicBezTo>
                  <a:cubicBezTo>
                    <a:pt x="13685" y="871"/>
                    <a:pt x="13441" y="867"/>
                    <a:pt x="13218" y="867"/>
                  </a:cubicBezTo>
                  <a:cubicBezTo>
                    <a:pt x="13101" y="867"/>
                    <a:pt x="12990" y="868"/>
                    <a:pt x="12887" y="872"/>
                  </a:cubicBezTo>
                  <a:cubicBezTo>
                    <a:pt x="12879" y="838"/>
                    <a:pt x="12873" y="809"/>
                    <a:pt x="12869" y="789"/>
                  </a:cubicBezTo>
                  <a:cubicBezTo>
                    <a:pt x="12924" y="788"/>
                    <a:pt x="12982" y="788"/>
                    <a:pt x="13041" y="788"/>
                  </a:cubicBezTo>
                  <a:cubicBezTo>
                    <a:pt x="13355" y="786"/>
                    <a:pt x="13723" y="784"/>
                    <a:pt x="13984" y="782"/>
                  </a:cubicBezTo>
                  <a:cubicBezTo>
                    <a:pt x="14160" y="780"/>
                    <a:pt x="14283" y="778"/>
                    <a:pt x="14322" y="775"/>
                  </a:cubicBezTo>
                  <a:cubicBezTo>
                    <a:pt x="14386" y="770"/>
                    <a:pt x="14472" y="764"/>
                    <a:pt x="14556" y="748"/>
                  </a:cubicBezTo>
                  <a:cubicBezTo>
                    <a:pt x="14640" y="731"/>
                    <a:pt x="14722" y="708"/>
                    <a:pt x="14786" y="653"/>
                  </a:cubicBezTo>
                  <a:cubicBezTo>
                    <a:pt x="14888" y="563"/>
                    <a:pt x="14947" y="439"/>
                    <a:pt x="14965" y="402"/>
                  </a:cubicBezTo>
                  <a:cubicBezTo>
                    <a:pt x="14970" y="391"/>
                    <a:pt x="15051" y="216"/>
                    <a:pt x="15150" y="0"/>
                  </a:cubicBezTo>
                  <a:cubicBezTo>
                    <a:pt x="14983" y="0"/>
                    <a:pt x="14983" y="0"/>
                    <a:pt x="14983" y="0"/>
                  </a:cubicBezTo>
                  <a:cubicBezTo>
                    <a:pt x="14897" y="185"/>
                    <a:pt x="14831" y="328"/>
                    <a:pt x="14826" y="338"/>
                  </a:cubicBezTo>
                  <a:cubicBezTo>
                    <a:pt x="14815" y="365"/>
                    <a:pt x="14756" y="478"/>
                    <a:pt x="14685" y="539"/>
                  </a:cubicBezTo>
                  <a:cubicBezTo>
                    <a:pt x="14664" y="560"/>
                    <a:pt x="14600" y="585"/>
                    <a:pt x="14527" y="598"/>
                  </a:cubicBezTo>
                  <a:cubicBezTo>
                    <a:pt x="14455" y="612"/>
                    <a:pt x="14374" y="619"/>
                    <a:pt x="14310" y="623"/>
                  </a:cubicBezTo>
                  <a:cubicBezTo>
                    <a:pt x="14290" y="625"/>
                    <a:pt x="14198" y="627"/>
                    <a:pt x="14070" y="628"/>
                  </a:cubicBezTo>
                  <a:cubicBezTo>
                    <a:pt x="14075" y="617"/>
                    <a:pt x="14079" y="604"/>
                    <a:pt x="14085" y="589"/>
                  </a:cubicBezTo>
                  <a:cubicBezTo>
                    <a:pt x="14102" y="541"/>
                    <a:pt x="14123" y="477"/>
                    <a:pt x="14144" y="412"/>
                  </a:cubicBezTo>
                  <a:cubicBezTo>
                    <a:pt x="14150" y="395"/>
                    <a:pt x="14155" y="378"/>
                    <a:pt x="14161" y="361"/>
                  </a:cubicBezTo>
                  <a:cubicBezTo>
                    <a:pt x="14195" y="257"/>
                    <a:pt x="14224" y="166"/>
                    <a:pt x="14224" y="166"/>
                  </a:cubicBezTo>
                  <a:cubicBezTo>
                    <a:pt x="14230" y="148"/>
                    <a:pt x="14230" y="148"/>
                    <a:pt x="14230" y="148"/>
                  </a:cubicBezTo>
                  <a:cubicBezTo>
                    <a:pt x="14228" y="145"/>
                    <a:pt x="14228" y="145"/>
                    <a:pt x="14228" y="145"/>
                  </a:cubicBezTo>
                  <a:cubicBezTo>
                    <a:pt x="14229" y="143"/>
                    <a:pt x="14229" y="143"/>
                    <a:pt x="14229" y="143"/>
                  </a:cubicBezTo>
                  <a:cubicBezTo>
                    <a:pt x="14099" y="12"/>
                    <a:pt x="14099" y="12"/>
                    <a:pt x="14099" y="12"/>
                  </a:cubicBezTo>
                  <a:cubicBezTo>
                    <a:pt x="14088" y="0"/>
                    <a:pt x="14088" y="0"/>
                    <a:pt x="14088" y="0"/>
                  </a:cubicBezTo>
                  <a:cubicBezTo>
                    <a:pt x="13996" y="0"/>
                    <a:pt x="13996" y="0"/>
                    <a:pt x="13996" y="0"/>
                  </a:cubicBezTo>
                  <a:cubicBezTo>
                    <a:pt x="14156" y="165"/>
                    <a:pt x="14156" y="165"/>
                    <a:pt x="14156" y="165"/>
                  </a:cubicBezTo>
                  <a:cubicBezTo>
                    <a:pt x="14136" y="226"/>
                    <a:pt x="14071" y="424"/>
                    <a:pt x="14029" y="546"/>
                  </a:cubicBezTo>
                  <a:cubicBezTo>
                    <a:pt x="14016" y="583"/>
                    <a:pt x="14005" y="614"/>
                    <a:pt x="13999" y="629"/>
                  </a:cubicBezTo>
                  <a:cubicBezTo>
                    <a:pt x="13993" y="629"/>
                    <a:pt x="13988" y="629"/>
                    <a:pt x="13983" y="629"/>
                  </a:cubicBezTo>
                  <a:cubicBezTo>
                    <a:pt x="13809" y="631"/>
                    <a:pt x="13588" y="632"/>
                    <a:pt x="13366" y="634"/>
                  </a:cubicBezTo>
                  <a:cubicBezTo>
                    <a:pt x="12923" y="636"/>
                    <a:pt x="12484" y="638"/>
                    <a:pt x="12418" y="640"/>
                  </a:cubicBezTo>
                  <a:cubicBezTo>
                    <a:pt x="12297" y="646"/>
                    <a:pt x="12176" y="646"/>
                    <a:pt x="12058" y="699"/>
                  </a:cubicBezTo>
                  <a:cubicBezTo>
                    <a:pt x="11995" y="727"/>
                    <a:pt x="11939" y="774"/>
                    <a:pt x="11890" y="821"/>
                  </a:cubicBezTo>
                  <a:cubicBezTo>
                    <a:pt x="11847" y="863"/>
                    <a:pt x="11812" y="904"/>
                    <a:pt x="11788" y="936"/>
                  </a:cubicBezTo>
                  <a:cubicBezTo>
                    <a:pt x="11787" y="933"/>
                    <a:pt x="11785" y="931"/>
                    <a:pt x="11784" y="928"/>
                  </a:cubicBezTo>
                  <a:cubicBezTo>
                    <a:pt x="11767" y="898"/>
                    <a:pt x="11745" y="853"/>
                    <a:pt x="11723" y="793"/>
                  </a:cubicBezTo>
                  <a:cubicBezTo>
                    <a:pt x="11678" y="672"/>
                    <a:pt x="11632" y="492"/>
                    <a:pt x="11631" y="252"/>
                  </a:cubicBezTo>
                  <a:cubicBezTo>
                    <a:pt x="11630" y="163"/>
                    <a:pt x="11629" y="80"/>
                    <a:pt x="11627" y="4"/>
                  </a:cubicBezTo>
                  <a:cubicBezTo>
                    <a:pt x="11663" y="0"/>
                    <a:pt x="11663" y="0"/>
                    <a:pt x="11663" y="0"/>
                  </a:cubicBezTo>
                  <a:cubicBezTo>
                    <a:pt x="11562" y="0"/>
                    <a:pt x="11562" y="0"/>
                    <a:pt x="11562" y="0"/>
                  </a:cubicBezTo>
                  <a:cubicBezTo>
                    <a:pt x="11563" y="53"/>
                    <a:pt x="11564" y="108"/>
                    <a:pt x="11564" y="167"/>
                  </a:cubicBezTo>
                  <a:cubicBezTo>
                    <a:pt x="11408" y="165"/>
                    <a:pt x="11408" y="165"/>
                    <a:pt x="11408" y="165"/>
                  </a:cubicBezTo>
                  <a:cubicBezTo>
                    <a:pt x="11399" y="0"/>
                    <a:pt x="11399" y="0"/>
                    <a:pt x="11399" y="0"/>
                  </a:cubicBezTo>
                  <a:cubicBezTo>
                    <a:pt x="11385" y="0"/>
                    <a:pt x="11385" y="0"/>
                    <a:pt x="11385" y="0"/>
                  </a:cubicBezTo>
                  <a:cubicBezTo>
                    <a:pt x="11394" y="165"/>
                    <a:pt x="11394" y="165"/>
                    <a:pt x="11394" y="165"/>
                  </a:cubicBezTo>
                  <a:cubicBezTo>
                    <a:pt x="11232" y="163"/>
                    <a:pt x="11232" y="163"/>
                    <a:pt x="11232" y="163"/>
                  </a:cubicBezTo>
                  <a:cubicBezTo>
                    <a:pt x="11221" y="0"/>
                    <a:pt x="11221" y="0"/>
                    <a:pt x="11221" y="0"/>
                  </a:cubicBezTo>
                  <a:cubicBezTo>
                    <a:pt x="11207" y="0"/>
                    <a:pt x="11207" y="0"/>
                    <a:pt x="11207" y="0"/>
                  </a:cubicBezTo>
                  <a:cubicBezTo>
                    <a:pt x="11218" y="162"/>
                    <a:pt x="11218" y="162"/>
                    <a:pt x="11218" y="162"/>
                  </a:cubicBezTo>
                  <a:cubicBezTo>
                    <a:pt x="11090" y="161"/>
                    <a:pt x="11090" y="161"/>
                    <a:pt x="11090" y="161"/>
                  </a:cubicBezTo>
                  <a:cubicBezTo>
                    <a:pt x="11078" y="0"/>
                    <a:pt x="11078" y="0"/>
                    <a:pt x="11078" y="0"/>
                  </a:cubicBezTo>
                  <a:cubicBezTo>
                    <a:pt x="11064" y="0"/>
                    <a:pt x="11064" y="0"/>
                    <a:pt x="11064" y="0"/>
                  </a:cubicBezTo>
                  <a:cubicBezTo>
                    <a:pt x="11076" y="160"/>
                    <a:pt x="11076" y="160"/>
                    <a:pt x="11076" y="160"/>
                  </a:cubicBezTo>
                  <a:cubicBezTo>
                    <a:pt x="10901" y="158"/>
                    <a:pt x="10901" y="158"/>
                    <a:pt x="10901" y="158"/>
                  </a:cubicBezTo>
                  <a:cubicBezTo>
                    <a:pt x="10892" y="0"/>
                    <a:pt x="10892" y="0"/>
                    <a:pt x="10892" y="0"/>
                  </a:cubicBezTo>
                  <a:cubicBezTo>
                    <a:pt x="10878" y="0"/>
                    <a:pt x="10878" y="0"/>
                    <a:pt x="10878" y="0"/>
                  </a:cubicBezTo>
                  <a:cubicBezTo>
                    <a:pt x="10887" y="158"/>
                    <a:pt x="10887" y="158"/>
                    <a:pt x="10887" y="158"/>
                  </a:cubicBezTo>
                  <a:cubicBezTo>
                    <a:pt x="10754" y="156"/>
                    <a:pt x="10754" y="156"/>
                    <a:pt x="10754" y="156"/>
                  </a:cubicBezTo>
                  <a:cubicBezTo>
                    <a:pt x="10729" y="0"/>
                    <a:pt x="10729" y="0"/>
                    <a:pt x="10729" y="0"/>
                  </a:cubicBezTo>
                  <a:cubicBezTo>
                    <a:pt x="10715" y="0"/>
                    <a:pt x="10715" y="0"/>
                    <a:pt x="10715" y="0"/>
                  </a:cubicBezTo>
                  <a:cubicBezTo>
                    <a:pt x="10740" y="158"/>
                    <a:pt x="10740" y="158"/>
                    <a:pt x="10740" y="158"/>
                  </a:cubicBezTo>
                  <a:cubicBezTo>
                    <a:pt x="10716" y="167"/>
                    <a:pt x="10603" y="208"/>
                    <a:pt x="10592" y="212"/>
                  </a:cubicBezTo>
                  <a:cubicBezTo>
                    <a:pt x="10211" y="220"/>
                    <a:pt x="10211" y="220"/>
                    <a:pt x="10211" y="220"/>
                  </a:cubicBezTo>
                  <a:cubicBezTo>
                    <a:pt x="10196" y="0"/>
                    <a:pt x="10196" y="0"/>
                    <a:pt x="10196" y="0"/>
                  </a:cubicBezTo>
                  <a:cubicBezTo>
                    <a:pt x="10182" y="0"/>
                    <a:pt x="10182" y="0"/>
                    <a:pt x="10182" y="0"/>
                  </a:cubicBezTo>
                  <a:cubicBezTo>
                    <a:pt x="10197" y="220"/>
                    <a:pt x="10197" y="220"/>
                    <a:pt x="10197" y="220"/>
                  </a:cubicBezTo>
                  <a:cubicBezTo>
                    <a:pt x="10008" y="225"/>
                    <a:pt x="10008" y="225"/>
                    <a:pt x="10008" y="225"/>
                  </a:cubicBezTo>
                  <a:cubicBezTo>
                    <a:pt x="9995" y="0"/>
                    <a:pt x="9995" y="0"/>
                    <a:pt x="9995" y="0"/>
                  </a:cubicBezTo>
                  <a:cubicBezTo>
                    <a:pt x="9981" y="0"/>
                    <a:pt x="9981" y="0"/>
                    <a:pt x="9981" y="0"/>
                  </a:cubicBezTo>
                  <a:cubicBezTo>
                    <a:pt x="9994" y="225"/>
                    <a:pt x="9994" y="225"/>
                    <a:pt x="9994" y="225"/>
                  </a:cubicBezTo>
                  <a:cubicBezTo>
                    <a:pt x="9839" y="228"/>
                    <a:pt x="9839" y="228"/>
                    <a:pt x="9839" y="228"/>
                  </a:cubicBezTo>
                  <a:cubicBezTo>
                    <a:pt x="9835" y="149"/>
                    <a:pt x="9832" y="71"/>
                    <a:pt x="9829" y="0"/>
                  </a:cubicBezTo>
                  <a:cubicBezTo>
                    <a:pt x="9763" y="0"/>
                    <a:pt x="9763" y="0"/>
                    <a:pt x="9763" y="0"/>
                  </a:cubicBezTo>
                  <a:cubicBezTo>
                    <a:pt x="9767" y="75"/>
                    <a:pt x="9770" y="158"/>
                    <a:pt x="9774" y="242"/>
                  </a:cubicBezTo>
                  <a:cubicBezTo>
                    <a:pt x="9785" y="510"/>
                    <a:pt x="9796" y="793"/>
                    <a:pt x="9798" y="885"/>
                  </a:cubicBezTo>
                  <a:cubicBezTo>
                    <a:pt x="9710" y="885"/>
                    <a:pt x="9710" y="885"/>
                    <a:pt x="9710" y="885"/>
                  </a:cubicBezTo>
                  <a:cubicBezTo>
                    <a:pt x="9697" y="886"/>
                    <a:pt x="9697" y="889"/>
                    <a:pt x="9694" y="889"/>
                  </a:cubicBezTo>
                  <a:cubicBezTo>
                    <a:pt x="9692" y="890"/>
                    <a:pt x="9690" y="891"/>
                    <a:pt x="9689" y="892"/>
                  </a:cubicBezTo>
                  <a:cubicBezTo>
                    <a:pt x="9685" y="894"/>
                    <a:pt x="9681" y="897"/>
                    <a:pt x="9677" y="900"/>
                  </a:cubicBezTo>
                  <a:cubicBezTo>
                    <a:pt x="9668" y="906"/>
                    <a:pt x="9656" y="914"/>
                    <a:pt x="9641" y="924"/>
                  </a:cubicBezTo>
                  <a:cubicBezTo>
                    <a:pt x="9613" y="944"/>
                    <a:pt x="9575" y="970"/>
                    <a:pt x="9536" y="997"/>
                  </a:cubicBezTo>
                  <a:cubicBezTo>
                    <a:pt x="9464" y="1049"/>
                    <a:pt x="9384" y="1105"/>
                    <a:pt x="9361" y="1119"/>
                  </a:cubicBezTo>
                  <a:cubicBezTo>
                    <a:pt x="9359" y="1119"/>
                    <a:pt x="9357" y="1119"/>
                    <a:pt x="9356" y="1119"/>
                  </a:cubicBezTo>
                  <a:cubicBezTo>
                    <a:pt x="9275" y="1119"/>
                    <a:pt x="8801" y="1134"/>
                    <a:pt x="8556" y="1134"/>
                  </a:cubicBezTo>
                  <a:cubicBezTo>
                    <a:pt x="8518" y="1134"/>
                    <a:pt x="8486" y="1134"/>
                    <a:pt x="8462" y="1133"/>
                  </a:cubicBezTo>
                  <a:cubicBezTo>
                    <a:pt x="8281" y="1126"/>
                    <a:pt x="7924" y="1105"/>
                    <a:pt x="7807" y="1105"/>
                  </a:cubicBezTo>
                  <a:cubicBezTo>
                    <a:pt x="7817" y="578"/>
                    <a:pt x="7817" y="578"/>
                    <a:pt x="7817" y="578"/>
                  </a:cubicBezTo>
                  <a:cubicBezTo>
                    <a:pt x="7647" y="243"/>
                    <a:pt x="7647" y="243"/>
                    <a:pt x="7647" y="243"/>
                  </a:cubicBezTo>
                  <a:cubicBezTo>
                    <a:pt x="7646" y="242"/>
                    <a:pt x="7646" y="242"/>
                    <a:pt x="7646" y="242"/>
                  </a:cubicBezTo>
                  <a:cubicBezTo>
                    <a:pt x="7646" y="242"/>
                    <a:pt x="7575" y="122"/>
                    <a:pt x="7502" y="0"/>
                  </a:cubicBezTo>
                  <a:cubicBezTo>
                    <a:pt x="7426" y="0"/>
                    <a:pt x="7426" y="0"/>
                    <a:pt x="7426" y="0"/>
                  </a:cubicBezTo>
                  <a:cubicBezTo>
                    <a:pt x="7431" y="10"/>
                    <a:pt x="7437" y="19"/>
                    <a:pt x="7442" y="28"/>
                  </a:cubicBezTo>
                  <a:cubicBezTo>
                    <a:pt x="7512" y="146"/>
                    <a:pt x="7582" y="263"/>
                    <a:pt x="7589" y="275"/>
                  </a:cubicBezTo>
                  <a:cubicBezTo>
                    <a:pt x="7751" y="593"/>
                    <a:pt x="7751" y="593"/>
                    <a:pt x="7751" y="593"/>
                  </a:cubicBezTo>
                  <a:cubicBezTo>
                    <a:pt x="7741" y="1109"/>
                    <a:pt x="7741" y="1109"/>
                    <a:pt x="7741" y="1109"/>
                  </a:cubicBezTo>
                  <a:cubicBezTo>
                    <a:pt x="7642" y="1121"/>
                    <a:pt x="7480" y="1157"/>
                    <a:pt x="7422" y="1180"/>
                  </a:cubicBezTo>
                  <a:cubicBezTo>
                    <a:pt x="7398" y="1190"/>
                    <a:pt x="7335" y="1205"/>
                    <a:pt x="7275" y="1217"/>
                  </a:cubicBezTo>
                  <a:cubicBezTo>
                    <a:pt x="7215" y="1229"/>
                    <a:pt x="7157" y="1240"/>
                    <a:pt x="7137" y="1243"/>
                  </a:cubicBezTo>
                  <a:cubicBezTo>
                    <a:pt x="7107" y="1248"/>
                    <a:pt x="7089" y="1269"/>
                    <a:pt x="7079" y="1287"/>
                  </a:cubicBezTo>
                  <a:cubicBezTo>
                    <a:pt x="7070" y="1306"/>
                    <a:pt x="7066" y="1323"/>
                    <a:pt x="7066" y="1338"/>
                  </a:cubicBezTo>
                  <a:cubicBezTo>
                    <a:pt x="7066" y="1341"/>
                    <a:pt x="7066" y="1344"/>
                    <a:pt x="7067" y="1347"/>
                  </a:cubicBezTo>
                  <a:cubicBezTo>
                    <a:pt x="7067" y="1349"/>
                    <a:pt x="7068" y="1351"/>
                    <a:pt x="7069" y="1354"/>
                  </a:cubicBezTo>
                  <a:cubicBezTo>
                    <a:pt x="7068" y="1359"/>
                    <a:pt x="7067" y="1368"/>
                    <a:pt x="7065" y="1377"/>
                  </a:cubicBezTo>
                  <a:cubicBezTo>
                    <a:pt x="7062" y="1393"/>
                    <a:pt x="7059" y="1413"/>
                    <a:pt x="7055" y="1432"/>
                  </a:cubicBezTo>
                  <a:cubicBezTo>
                    <a:pt x="7054" y="1440"/>
                    <a:pt x="7052" y="1447"/>
                    <a:pt x="7051" y="1455"/>
                  </a:cubicBezTo>
                  <a:cubicBezTo>
                    <a:pt x="7026" y="1438"/>
                    <a:pt x="7003" y="1423"/>
                    <a:pt x="6987" y="1407"/>
                  </a:cubicBezTo>
                  <a:cubicBezTo>
                    <a:pt x="6950" y="1369"/>
                    <a:pt x="6923" y="1327"/>
                    <a:pt x="6912" y="1310"/>
                  </a:cubicBezTo>
                  <a:cubicBezTo>
                    <a:pt x="6908" y="1304"/>
                    <a:pt x="6907" y="1301"/>
                    <a:pt x="6907" y="1301"/>
                  </a:cubicBezTo>
                  <a:cubicBezTo>
                    <a:pt x="6628" y="798"/>
                    <a:pt x="6628" y="798"/>
                    <a:pt x="6628" y="798"/>
                  </a:cubicBezTo>
                  <a:cubicBezTo>
                    <a:pt x="6563" y="684"/>
                    <a:pt x="6466" y="651"/>
                    <a:pt x="6392" y="652"/>
                  </a:cubicBezTo>
                  <a:cubicBezTo>
                    <a:pt x="6321" y="652"/>
                    <a:pt x="6269" y="678"/>
                    <a:pt x="6266" y="680"/>
                  </a:cubicBezTo>
                  <a:cubicBezTo>
                    <a:pt x="6265" y="680"/>
                    <a:pt x="6265" y="680"/>
                    <a:pt x="6265" y="680"/>
                  </a:cubicBezTo>
                  <a:cubicBezTo>
                    <a:pt x="6264" y="681"/>
                    <a:pt x="6264" y="681"/>
                    <a:pt x="6264" y="681"/>
                  </a:cubicBezTo>
                  <a:cubicBezTo>
                    <a:pt x="6264" y="681"/>
                    <a:pt x="6034" y="814"/>
                    <a:pt x="5922" y="876"/>
                  </a:cubicBezTo>
                  <a:cubicBezTo>
                    <a:pt x="5820" y="931"/>
                    <a:pt x="5766" y="955"/>
                    <a:pt x="5671" y="955"/>
                  </a:cubicBezTo>
                  <a:cubicBezTo>
                    <a:pt x="5660" y="955"/>
                    <a:pt x="5649" y="955"/>
                    <a:pt x="5637" y="954"/>
                  </a:cubicBezTo>
                  <a:cubicBezTo>
                    <a:pt x="5596" y="952"/>
                    <a:pt x="5531" y="939"/>
                    <a:pt x="5452" y="920"/>
                  </a:cubicBezTo>
                  <a:cubicBezTo>
                    <a:pt x="5459" y="896"/>
                    <a:pt x="5469" y="861"/>
                    <a:pt x="5479" y="822"/>
                  </a:cubicBezTo>
                  <a:cubicBezTo>
                    <a:pt x="5496" y="754"/>
                    <a:pt x="5515" y="680"/>
                    <a:pt x="5517" y="638"/>
                  </a:cubicBezTo>
                  <a:cubicBezTo>
                    <a:pt x="5521" y="575"/>
                    <a:pt x="5531" y="563"/>
                    <a:pt x="5552" y="505"/>
                  </a:cubicBezTo>
                  <a:cubicBezTo>
                    <a:pt x="5553" y="505"/>
                    <a:pt x="5554" y="504"/>
                    <a:pt x="5555" y="502"/>
                  </a:cubicBezTo>
                  <a:cubicBezTo>
                    <a:pt x="5557" y="499"/>
                    <a:pt x="5562" y="495"/>
                    <a:pt x="5567" y="490"/>
                  </a:cubicBezTo>
                  <a:cubicBezTo>
                    <a:pt x="5578" y="480"/>
                    <a:pt x="5594" y="467"/>
                    <a:pt x="5613" y="453"/>
                  </a:cubicBezTo>
                  <a:cubicBezTo>
                    <a:pt x="5651" y="425"/>
                    <a:pt x="5701" y="391"/>
                    <a:pt x="5751" y="358"/>
                  </a:cubicBezTo>
                  <a:cubicBezTo>
                    <a:pt x="5836" y="304"/>
                    <a:pt x="5924" y="251"/>
                    <a:pt x="5990" y="212"/>
                  </a:cubicBezTo>
                  <a:cubicBezTo>
                    <a:pt x="5955" y="156"/>
                    <a:pt x="5955" y="156"/>
                    <a:pt x="5955" y="156"/>
                  </a:cubicBezTo>
                  <a:cubicBezTo>
                    <a:pt x="5917" y="179"/>
                    <a:pt x="5906" y="186"/>
                    <a:pt x="5893" y="193"/>
                  </a:cubicBezTo>
                  <a:cubicBezTo>
                    <a:pt x="5861" y="212"/>
                    <a:pt x="5818" y="239"/>
                    <a:pt x="5771" y="268"/>
                  </a:cubicBezTo>
                  <a:cubicBezTo>
                    <a:pt x="5678" y="326"/>
                    <a:pt x="5575" y="394"/>
                    <a:pt x="5525" y="440"/>
                  </a:cubicBezTo>
                  <a:cubicBezTo>
                    <a:pt x="5510" y="454"/>
                    <a:pt x="5499" y="463"/>
                    <a:pt x="5491" y="481"/>
                  </a:cubicBezTo>
                  <a:cubicBezTo>
                    <a:pt x="5472" y="532"/>
                    <a:pt x="5455" y="562"/>
                    <a:pt x="5452" y="635"/>
                  </a:cubicBezTo>
                  <a:cubicBezTo>
                    <a:pt x="5451" y="662"/>
                    <a:pt x="5433" y="740"/>
                    <a:pt x="5415" y="805"/>
                  </a:cubicBezTo>
                  <a:cubicBezTo>
                    <a:pt x="5405" y="844"/>
                    <a:pt x="5395" y="880"/>
                    <a:pt x="5388" y="903"/>
                  </a:cubicBezTo>
                  <a:cubicBezTo>
                    <a:pt x="5256" y="869"/>
                    <a:pt x="5095" y="821"/>
                    <a:pt x="4938" y="774"/>
                  </a:cubicBezTo>
                  <a:cubicBezTo>
                    <a:pt x="4724" y="710"/>
                    <a:pt x="4569" y="639"/>
                    <a:pt x="4505" y="607"/>
                  </a:cubicBezTo>
                  <a:cubicBezTo>
                    <a:pt x="4493" y="601"/>
                    <a:pt x="4484" y="596"/>
                    <a:pt x="4479" y="594"/>
                  </a:cubicBezTo>
                  <a:cubicBezTo>
                    <a:pt x="4458" y="78"/>
                    <a:pt x="4458" y="78"/>
                    <a:pt x="4458" y="78"/>
                  </a:cubicBezTo>
                  <a:cubicBezTo>
                    <a:pt x="4755" y="64"/>
                    <a:pt x="4941" y="23"/>
                    <a:pt x="5024" y="0"/>
                  </a:cubicBezTo>
                  <a:cubicBezTo>
                    <a:pt x="4624" y="0"/>
                    <a:pt x="4624" y="0"/>
                    <a:pt x="4624" y="0"/>
                  </a:cubicBezTo>
                  <a:cubicBezTo>
                    <a:pt x="4567" y="5"/>
                    <a:pt x="4506" y="10"/>
                    <a:pt x="4438" y="13"/>
                  </a:cubicBezTo>
                  <a:cubicBezTo>
                    <a:pt x="4427" y="0"/>
                    <a:pt x="4427" y="0"/>
                    <a:pt x="4427" y="0"/>
                  </a:cubicBezTo>
                  <a:cubicBezTo>
                    <a:pt x="4339" y="0"/>
                    <a:pt x="4339" y="0"/>
                    <a:pt x="4339" y="0"/>
                  </a:cubicBezTo>
                  <a:cubicBezTo>
                    <a:pt x="4391" y="59"/>
                    <a:pt x="4391" y="59"/>
                    <a:pt x="4391" y="59"/>
                  </a:cubicBezTo>
                  <a:cubicBezTo>
                    <a:pt x="4415" y="616"/>
                    <a:pt x="4415" y="616"/>
                    <a:pt x="4415" y="616"/>
                  </a:cubicBezTo>
                  <a:cubicBezTo>
                    <a:pt x="4176" y="1078"/>
                    <a:pt x="4176" y="1078"/>
                    <a:pt x="4176" y="1078"/>
                  </a:cubicBezTo>
                  <a:cubicBezTo>
                    <a:pt x="4176" y="1082"/>
                    <a:pt x="4176" y="1082"/>
                    <a:pt x="4176" y="1082"/>
                  </a:cubicBezTo>
                  <a:cubicBezTo>
                    <a:pt x="4176" y="1082"/>
                    <a:pt x="4167" y="1115"/>
                    <a:pt x="4154" y="1157"/>
                  </a:cubicBezTo>
                  <a:cubicBezTo>
                    <a:pt x="4141" y="1199"/>
                    <a:pt x="4122" y="1249"/>
                    <a:pt x="4104" y="1279"/>
                  </a:cubicBezTo>
                  <a:cubicBezTo>
                    <a:pt x="4062" y="1348"/>
                    <a:pt x="4034" y="1400"/>
                    <a:pt x="4034" y="1401"/>
                  </a:cubicBezTo>
                  <a:cubicBezTo>
                    <a:pt x="4032" y="1405"/>
                    <a:pt x="4032" y="1405"/>
                    <a:pt x="4032" y="1405"/>
                  </a:cubicBezTo>
                  <a:cubicBezTo>
                    <a:pt x="3965" y="1739"/>
                    <a:pt x="3965" y="1739"/>
                    <a:pt x="3965" y="1739"/>
                  </a:cubicBezTo>
                  <a:cubicBezTo>
                    <a:pt x="3944" y="1731"/>
                    <a:pt x="3924" y="1724"/>
                    <a:pt x="3903" y="1717"/>
                  </a:cubicBezTo>
                  <a:cubicBezTo>
                    <a:pt x="3626" y="1625"/>
                    <a:pt x="2857" y="1348"/>
                    <a:pt x="2800" y="1327"/>
                  </a:cubicBezTo>
                  <a:cubicBezTo>
                    <a:pt x="2771" y="1317"/>
                    <a:pt x="2738" y="1304"/>
                    <a:pt x="2709" y="1287"/>
                  </a:cubicBezTo>
                  <a:cubicBezTo>
                    <a:pt x="2681" y="1270"/>
                    <a:pt x="2661" y="1250"/>
                    <a:pt x="2652" y="1231"/>
                  </a:cubicBezTo>
                  <a:cubicBezTo>
                    <a:pt x="2642" y="1212"/>
                    <a:pt x="2629" y="1170"/>
                    <a:pt x="2619" y="1130"/>
                  </a:cubicBezTo>
                  <a:cubicBezTo>
                    <a:pt x="2609" y="1089"/>
                    <a:pt x="2601" y="1047"/>
                    <a:pt x="2596" y="1021"/>
                  </a:cubicBezTo>
                  <a:cubicBezTo>
                    <a:pt x="2592" y="1003"/>
                    <a:pt x="2591" y="993"/>
                    <a:pt x="2591" y="993"/>
                  </a:cubicBezTo>
                  <a:cubicBezTo>
                    <a:pt x="2590" y="991"/>
                    <a:pt x="2590" y="991"/>
                    <a:pt x="2590" y="991"/>
                  </a:cubicBezTo>
                  <a:cubicBezTo>
                    <a:pt x="2387" y="0"/>
                    <a:pt x="2387" y="0"/>
                    <a:pt x="2387" y="0"/>
                  </a:cubicBezTo>
                  <a:cubicBezTo>
                    <a:pt x="2231" y="0"/>
                    <a:pt x="2231" y="0"/>
                    <a:pt x="2231" y="0"/>
                  </a:cubicBezTo>
                  <a:cubicBezTo>
                    <a:pt x="2440" y="1020"/>
                    <a:pt x="2440" y="1020"/>
                    <a:pt x="2440" y="1020"/>
                  </a:cubicBezTo>
                  <a:cubicBezTo>
                    <a:pt x="2442" y="1029"/>
                    <a:pt x="2449" y="1071"/>
                    <a:pt x="2461" y="1123"/>
                  </a:cubicBezTo>
                  <a:cubicBezTo>
                    <a:pt x="2474" y="1180"/>
                    <a:pt x="2490" y="1246"/>
                    <a:pt x="2514" y="1297"/>
                  </a:cubicBezTo>
                  <a:cubicBezTo>
                    <a:pt x="2516" y="1301"/>
                    <a:pt x="2519" y="1304"/>
                    <a:pt x="2521" y="1308"/>
                  </a:cubicBezTo>
                  <a:cubicBezTo>
                    <a:pt x="2519" y="1309"/>
                    <a:pt x="2517" y="1310"/>
                    <a:pt x="2515" y="1312"/>
                  </a:cubicBezTo>
                  <a:cubicBezTo>
                    <a:pt x="2504" y="1321"/>
                    <a:pt x="2490" y="1333"/>
                    <a:pt x="2472" y="1348"/>
                  </a:cubicBezTo>
                  <a:cubicBezTo>
                    <a:pt x="2436" y="1378"/>
                    <a:pt x="2385" y="1422"/>
                    <a:pt x="2324" y="1474"/>
                  </a:cubicBezTo>
                  <a:cubicBezTo>
                    <a:pt x="2202" y="1578"/>
                    <a:pt x="2042" y="1716"/>
                    <a:pt x="1881" y="1855"/>
                  </a:cubicBezTo>
                  <a:cubicBezTo>
                    <a:pt x="1623" y="2079"/>
                    <a:pt x="1365" y="2302"/>
                    <a:pt x="1276" y="2380"/>
                  </a:cubicBezTo>
                  <a:cubicBezTo>
                    <a:pt x="845" y="2048"/>
                    <a:pt x="845" y="2048"/>
                    <a:pt x="845" y="2048"/>
                  </a:cubicBezTo>
                  <a:cubicBezTo>
                    <a:pt x="843" y="2045"/>
                    <a:pt x="841" y="2041"/>
                    <a:pt x="838" y="2037"/>
                  </a:cubicBezTo>
                  <a:cubicBezTo>
                    <a:pt x="831" y="2027"/>
                    <a:pt x="822" y="2013"/>
                    <a:pt x="813" y="1996"/>
                  </a:cubicBezTo>
                  <a:cubicBezTo>
                    <a:pt x="793" y="1962"/>
                    <a:pt x="770" y="1917"/>
                    <a:pt x="756" y="1872"/>
                  </a:cubicBezTo>
                  <a:cubicBezTo>
                    <a:pt x="755" y="1871"/>
                    <a:pt x="755" y="1871"/>
                    <a:pt x="755" y="1871"/>
                  </a:cubicBezTo>
                  <a:cubicBezTo>
                    <a:pt x="755" y="1870"/>
                    <a:pt x="755" y="1870"/>
                    <a:pt x="755" y="1870"/>
                  </a:cubicBezTo>
                  <a:cubicBezTo>
                    <a:pt x="750" y="1860"/>
                    <a:pt x="749" y="1861"/>
                    <a:pt x="747" y="1858"/>
                  </a:cubicBezTo>
                  <a:cubicBezTo>
                    <a:pt x="746" y="1856"/>
                    <a:pt x="744" y="1855"/>
                    <a:pt x="742" y="1853"/>
                  </a:cubicBezTo>
                  <a:cubicBezTo>
                    <a:pt x="739" y="1850"/>
                    <a:pt x="735" y="1846"/>
                    <a:pt x="729" y="1841"/>
                  </a:cubicBezTo>
                  <a:cubicBezTo>
                    <a:pt x="718" y="1831"/>
                    <a:pt x="703" y="1818"/>
                    <a:pt x="683" y="1802"/>
                  </a:cubicBezTo>
                  <a:cubicBezTo>
                    <a:pt x="645" y="1769"/>
                    <a:pt x="590" y="1723"/>
                    <a:pt x="525" y="1669"/>
                  </a:cubicBezTo>
                  <a:cubicBezTo>
                    <a:pt x="394" y="1561"/>
                    <a:pt x="220" y="1420"/>
                    <a:pt x="47" y="1279"/>
                  </a:cubicBezTo>
                  <a:cubicBezTo>
                    <a:pt x="33" y="1267"/>
                    <a:pt x="19" y="1255"/>
                    <a:pt x="4" y="1244"/>
                  </a:cubicBezTo>
                  <a:cubicBezTo>
                    <a:pt x="4" y="1328"/>
                    <a:pt x="4" y="1328"/>
                    <a:pt x="4" y="1328"/>
                  </a:cubicBezTo>
                  <a:cubicBezTo>
                    <a:pt x="255" y="1532"/>
                    <a:pt x="506" y="1738"/>
                    <a:pt x="628" y="1841"/>
                  </a:cubicBezTo>
                  <a:cubicBezTo>
                    <a:pt x="662" y="1869"/>
                    <a:pt x="687" y="1891"/>
                    <a:pt x="696" y="1899"/>
                  </a:cubicBezTo>
                  <a:cubicBezTo>
                    <a:pt x="729" y="1999"/>
                    <a:pt x="793" y="2088"/>
                    <a:pt x="794" y="2089"/>
                  </a:cubicBezTo>
                  <a:cubicBezTo>
                    <a:pt x="797" y="2093"/>
                    <a:pt x="797" y="2093"/>
                    <a:pt x="797" y="2093"/>
                  </a:cubicBezTo>
                  <a:cubicBezTo>
                    <a:pt x="1227" y="2425"/>
                    <a:pt x="1227" y="2425"/>
                    <a:pt x="1227" y="2425"/>
                  </a:cubicBezTo>
                  <a:cubicBezTo>
                    <a:pt x="4" y="3733"/>
                    <a:pt x="4" y="3733"/>
                    <a:pt x="4" y="3733"/>
                  </a:cubicBezTo>
                  <a:cubicBezTo>
                    <a:pt x="4" y="3829"/>
                    <a:pt x="4" y="3829"/>
                    <a:pt x="4" y="3829"/>
                  </a:cubicBezTo>
                  <a:cubicBezTo>
                    <a:pt x="536" y="3260"/>
                    <a:pt x="536" y="3260"/>
                    <a:pt x="536" y="3260"/>
                  </a:cubicBezTo>
                  <a:cubicBezTo>
                    <a:pt x="626" y="3378"/>
                    <a:pt x="925" y="3768"/>
                    <a:pt x="1110" y="4003"/>
                  </a:cubicBezTo>
                  <a:cubicBezTo>
                    <a:pt x="1183" y="4096"/>
                    <a:pt x="1237" y="4163"/>
                    <a:pt x="1257" y="4184"/>
                  </a:cubicBezTo>
                  <a:cubicBezTo>
                    <a:pt x="1258" y="4185"/>
                    <a:pt x="1258" y="4185"/>
                    <a:pt x="1259" y="4186"/>
                  </a:cubicBezTo>
                  <a:cubicBezTo>
                    <a:pt x="160" y="6197"/>
                    <a:pt x="160" y="6197"/>
                    <a:pt x="160" y="6197"/>
                  </a:cubicBezTo>
                  <a:cubicBezTo>
                    <a:pt x="145" y="6190"/>
                    <a:pt x="130" y="6185"/>
                    <a:pt x="116" y="6181"/>
                  </a:cubicBezTo>
                  <a:cubicBezTo>
                    <a:pt x="84" y="6171"/>
                    <a:pt x="46" y="6161"/>
                    <a:pt x="4" y="6151"/>
                  </a:cubicBezTo>
                  <a:cubicBezTo>
                    <a:pt x="4" y="6218"/>
                    <a:pt x="4" y="6218"/>
                    <a:pt x="4" y="6218"/>
                  </a:cubicBezTo>
                  <a:cubicBezTo>
                    <a:pt x="39" y="6227"/>
                    <a:pt x="70" y="6235"/>
                    <a:pt x="97" y="6243"/>
                  </a:cubicBezTo>
                  <a:cubicBezTo>
                    <a:pt x="106" y="6246"/>
                    <a:pt x="115" y="6249"/>
                    <a:pt x="124" y="6253"/>
                  </a:cubicBezTo>
                  <a:cubicBezTo>
                    <a:pt x="96" y="6290"/>
                    <a:pt x="66" y="6335"/>
                    <a:pt x="4" y="6378"/>
                  </a:cubicBezTo>
                  <a:cubicBezTo>
                    <a:pt x="4" y="6456"/>
                    <a:pt x="4" y="6456"/>
                    <a:pt x="4" y="6456"/>
                  </a:cubicBezTo>
                  <a:cubicBezTo>
                    <a:pt x="7" y="6454"/>
                    <a:pt x="11" y="6452"/>
                    <a:pt x="14" y="6450"/>
                  </a:cubicBezTo>
                  <a:cubicBezTo>
                    <a:pt x="117" y="6388"/>
                    <a:pt x="159" y="6312"/>
                    <a:pt x="187" y="6279"/>
                  </a:cubicBezTo>
                  <a:cubicBezTo>
                    <a:pt x="316" y="6338"/>
                    <a:pt x="500" y="6451"/>
                    <a:pt x="659" y="6582"/>
                  </a:cubicBezTo>
                  <a:cubicBezTo>
                    <a:pt x="578" y="6672"/>
                    <a:pt x="486" y="6775"/>
                    <a:pt x="419" y="6847"/>
                  </a:cubicBezTo>
                  <a:cubicBezTo>
                    <a:pt x="386" y="6884"/>
                    <a:pt x="358" y="6914"/>
                    <a:pt x="342" y="6929"/>
                  </a:cubicBezTo>
                  <a:cubicBezTo>
                    <a:pt x="342" y="6929"/>
                    <a:pt x="342" y="6929"/>
                    <a:pt x="341" y="6929"/>
                  </a:cubicBezTo>
                  <a:cubicBezTo>
                    <a:pt x="341" y="6929"/>
                    <a:pt x="341" y="6929"/>
                    <a:pt x="341" y="6929"/>
                  </a:cubicBezTo>
                  <a:cubicBezTo>
                    <a:pt x="341" y="6929"/>
                    <a:pt x="341" y="6929"/>
                    <a:pt x="341" y="6929"/>
                  </a:cubicBezTo>
                  <a:cubicBezTo>
                    <a:pt x="341" y="6929"/>
                    <a:pt x="341" y="6929"/>
                    <a:pt x="341" y="6929"/>
                  </a:cubicBezTo>
                  <a:cubicBezTo>
                    <a:pt x="340" y="6929"/>
                    <a:pt x="340" y="6928"/>
                    <a:pt x="338" y="6928"/>
                  </a:cubicBezTo>
                  <a:cubicBezTo>
                    <a:pt x="336" y="6927"/>
                    <a:pt x="333" y="6926"/>
                    <a:pt x="329" y="6924"/>
                  </a:cubicBezTo>
                  <a:cubicBezTo>
                    <a:pt x="322" y="6921"/>
                    <a:pt x="311" y="6916"/>
                    <a:pt x="298" y="6911"/>
                  </a:cubicBezTo>
                  <a:cubicBezTo>
                    <a:pt x="273" y="6899"/>
                    <a:pt x="239" y="6883"/>
                    <a:pt x="203" y="6867"/>
                  </a:cubicBezTo>
                  <a:cubicBezTo>
                    <a:pt x="131" y="6834"/>
                    <a:pt x="52" y="6797"/>
                    <a:pt x="17" y="6782"/>
                  </a:cubicBezTo>
                  <a:cubicBezTo>
                    <a:pt x="11" y="6780"/>
                    <a:pt x="7" y="6778"/>
                    <a:pt x="4" y="6777"/>
                  </a:cubicBezTo>
                  <a:cubicBezTo>
                    <a:pt x="4" y="6838"/>
                    <a:pt x="4" y="6838"/>
                    <a:pt x="4" y="6838"/>
                  </a:cubicBezTo>
                  <a:cubicBezTo>
                    <a:pt x="5" y="6820"/>
                    <a:pt x="6" y="6804"/>
                    <a:pt x="6" y="6794"/>
                  </a:cubicBezTo>
                  <a:cubicBezTo>
                    <a:pt x="6" y="6794"/>
                    <a:pt x="6" y="6793"/>
                    <a:pt x="6" y="6793"/>
                  </a:cubicBezTo>
                  <a:cubicBezTo>
                    <a:pt x="7" y="6793"/>
                    <a:pt x="8" y="6793"/>
                    <a:pt x="9" y="6794"/>
                  </a:cubicBezTo>
                  <a:cubicBezTo>
                    <a:pt x="16" y="6797"/>
                    <a:pt x="27" y="6802"/>
                    <a:pt x="39" y="6807"/>
                  </a:cubicBezTo>
                  <a:cubicBezTo>
                    <a:pt x="65" y="6819"/>
                    <a:pt x="99" y="6834"/>
                    <a:pt x="135" y="6851"/>
                  </a:cubicBezTo>
                  <a:cubicBezTo>
                    <a:pt x="207" y="6884"/>
                    <a:pt x="286" y="6921"/>
                    <a:pt x="321" y="6936"/>
                  </a:cubicBezTo>
                  <a:cubicBezTo>
                    <a:pt x="325" y="6937"/>
                    <a:pt x="328" y="6939"/>
                    <a:pt x="331" y="6940"/>
                  </a:cubicBezTo>
                  <a:cubicBezTo>
                    <a:pt x="330" y="6940"/>
                    <a:pt x="330" y="6941"/>
                    <a:pt x="329" y="6941"/>
                  </a:cubicBezTo>
                  <a:cubicBezTo>
                    <a:pt x="324" y="6942"/>
                    <a:pt x="324" y="6945"/>
                    <a:pt x="322" y="6947"/>
                  </a:cubicBezTo>
                  <a:cubicBezTo>
                    <a:pt x="320" y="6949"/>
                    <a:pt x="318" y="6953"/>
                    <a:pt x="316" y="6957"/>
                  </a:cubicBezTo>
                  <a:cubicBezTo>
                    <a:pt x="311" y="6965"/>
                    <a:pt x="306" y="6977"/>
                    <a:pt x="299" y="6991"/>
                  </a:cubicBezTo>
                  <a:cubicBezTo>
                    <a:pt x="286" y="7019"/>
                    <a:pt x="270" y="7057"/>
                    <a:pt x="254" y="7095"/>
                  </a:cubicBezTo>
                  <a:cubicBezTo>
                    <a:pt x="230" y="7152"/>
                    <a:pt x="205" y="7211"/>
                    <a:pt x="192" y="7240"/>
                  </a:cubicBezTo>
                  <a:cubicBezTo>
                    <a:pt x="4" y="7170"/>
                    <a:pt x="4" y="7170"/>
                    <a:pt x="4" y="7170"/>
                  </a:cubicBezTo>
                  <a:cubicBezTo>
                    <a:pt x="4" y="7218"/>
                    <a:pt x="4" y="7218"/>
                    <a:pt x="4" y="7218"/>
                  </a:cubicBezTo>
                  <a:cubicBezTo>
                    <a:pt x="154" y="7274"/>
                    <a:pt x="154" y="7274"/>
                    <a:pt x="154" y="7274"/>
                  </a:cubicBezTo>
                  <a:cubicBezTo>
                    <a:pt x="151" y="7276"/>
                    <a:pt x="147" y="7279"/>
                    <a:pt x="144" y="7281"/>
                  </a:cubicBezTo>
                  <a:cubicBezTo>
                    <a:pt x="122" y="7295"/>
                    <a:pt x="94" y="7314"/>
                    <a:pt x="66" y="7333"/>
                  </a:cubicBezTo>
                  <a:cubicBezTo>
                    <a:pt x="44" y="7348"/>
                    <a:pt x="23" y="7362"/>
                    <a:pt x="4" y="7375"/>
                  </a:cubicBezTo>
                  <a:cubicBezTo>
                    <a:pt x="4" y="7391"/>
                    <a:pt x="4" y="7391"/>
                    <a:pt x="4" y="7391"/>
                  </a:cubicBezTo>
                  <a:cubicBezTo>
                    <a:pt x="23" y="7379"/>
                    <a:pt x="45" y="7364"/>
                    <a:pt x="68" y="7348"/>
                  </a:cubicBezTo>
                  <a:cubicBezTo>
                    <a:pt x="107" y="7322"/>
                    <a:pt x="148" y="7295"/>
                    <a:pt x="170" y="7280"/>
                  </a:cubicBezTo>
                  <a:cubicBezTo>
                    <a:pt x="171" y="7281"/>
                    <a:pt x="171" y="7281"/>
                    <a:pt x="171" y="7281"/>
                  </a:cubicBezTo>
                  <a:cubicBezTo>
                    <a:pt x="332" y="7505"/>
                    <a:pt x="332" y="7505"/>
                    <a:pt x="332" y="7505"/>
                  </a:cubicBezTo>
                  <a:cubicBezTo>
                    <a:pt x="322" y="7532"/>
                    <a:pt x="302" y="7585"/>
                    <a:pt x="281" y="7640"/>
                  </a:cubicBezTo>
                  <a:cubicBezTo>
                    <a:pt x="253" y="7713"/>
                    <a:pt x="221" y="7791"/>
                    <a:pt x="213" y="7805"/>
                  </a:cubicBezTo>
                  <a:cubicBezTo>
                    <a:pt x="197" y="7804"/>
                    <a:pt x="137" y="7796"/>
                    <a:pt x="128" y="7796"/>
                  </a:cubicBezTo>
                  <a:cubicBezTo>
                    <a:pt x="120" y="7798"/>
                    <a:pt x="122" y="7800"/>
                    <a:pt x="119" y="7802"/>
                  </a:cubicBezTo>
                  <a:cubicBezTo>
                    <a:pt x="118" y="7804"/>
                    <a:pt x="116" y="7807"/>
                    <a:pt x="114" y="7811"/>
                  </a:cubicBezTo>
                  <a:cubicBezTo>
                    <a:pt x="110" y="7818"/>
                    <a:pt x="104" y="7827"/>
                    <a:pt x="98" y="7839"/>
                  </a:cubicBezTo>
                  <a:cubicBezTo>
                    <a:pt x="86" y="7862"/>
                    <a:pt x="71" y="7893"/>
                    <a:pt x="56" y="7924"/>
                  </a:cubicBezTo>
                  <a:cubicBezTo>
                    <a:pt x="36" y="7966"/>
                    <a:pt x="17" y="8007"/>
                    <a:pt x="6" y="8030"/>
                  </a:cubicBezTo>
                  <a:cubicBezTo>
                    <a:pt x="5" y="8030"/>
                    <a:pt x="5" y="8030"/>
                    <a:pt x="4" y="8029"/>
                  </a:cubicBezTo>
                  <a:cubicBezTo>
                    <a:pt x="4" y="8106"/>
                    <a:pt x="4" y="8106"/>
                    <a:pt x="4" y="8106"/>
                  </a:cubicBezTo>
                  <a:cubicBezTo>
                    <a:pt x="73" y="8148"/>
                    <a:pt x="131" y="8192"/>
                    <a:pt x="171" y="8224"/>
                  </a:cubicBezTo>
                  <a:cubicBezTo>
                    <a:pt x="185" y="8236"/>
                    <a:pt x="197" y="8245"/>
                    <a:pt x="206" y="8253"/>
                  </a:cubicBezTo>
                  <a:cubicBezTo>
                    <a:pt x="160" y="8300"/>
                    <a:pt x="100" y="8355"/>
                    <a:pt x="4" y="8399"/>
                  </a:cubicBezTo>
                  <a:cubicBezTo>
                    <a:pt x="4" y="8470"/>
                    <a:pt x="4" y="8470"/>
                    <a:pt x="4" y="8470"/>
                  </a:cubicBezTo>
                  <a:cubicBezTo>
                    <a:pt x="64" y="8445"/>
                    <a:pt x="114" y="8416"/>
                    <a:pt x="154" y="8386"/>
                  </a:cubicBezTo>
                  <a:cubicBezTo>
                    <a:pt x="225" y="8462"/>
                    <a:pt x="225" y="8462"/>
                    <a:pt x="225" y="8462"/>
                  </a:cubicBezTo>
                  <a:cubicBezTo>
                    <a:pt x="186" y="8502"/>
                    <a:pt x="186" y="8502"/>
                    <a:pt x="186" y="8502"/>
                  </a:cubicBezTo>
                  <a:cubicBezTo>
                    <a:pt x="186" y="8502"/>
                    <a:pt x="186" y="8502"/>
                    <a:pt x="186" y="8502"/>
                  </a:cubicBezTo>
                  <a:cubicBezTo>
                    <a:pt x="197" y="8511"/>
                    <a:pt x="197" y="8511"/>
                    <a:pt x="197" y="8511"/>
                  </a:cubicBezTo>
                  <a:cubicBezTo>
                    <a:pt x="197" y="8511"/>
                    <a:pt x="197" y="8511"/>
                    <a:pt x="197" y="8511"/>
                  </a:cubicBezTo>
                  <a:cubicBezTo>
                    <a:pt x="319" y="8636"/>
                    <a:pt x="319" y="8636"/>
                    <a:pt x="319" y="8636"/>
                  </a:cubicBezTo>
                  <a:cubicBezTo>
                    <a:pt x="4" y="8898"/>
                    <a:pt x="4" y="8898"/>
                    <a:pt x="4" y="8898"/>
                  </a:cubicBezTo>
                  <a:cubicBezTo>
                    <a:pt x="4" y="8983"/>
                    <a:pt x="4" y="8983"/>
                    <a:pt x="4" y="8983"/>
                  </a:cubicBezTo>
                  <a:cubicBezTo>
                    <a:pt x="145" y="8866"/>
                    <a:pt x="145" y="8866"/>
                    <a:pt x="145" y="8866"/>
                  </a:cubicBezTo>
                  <a:cubicBezTo>
                    <a:pt x="331" y="9021"/>
                    <a:pt x="331" y="9021"/>
                    <a:pt x="331" y="9021"/>
                  </a:cubicBezTo>
                  <a:cubicBezTo>
                    <a:pt x="236" y="9248"/>
                    <a:pt x="236" y="9248"/>
                    <a:pt x="236" y="9248"/>
                  </a:cubicBezTo>
                  <a:cubicBezTo>
                    <a:pt x="233" y="9250"/>
                    <a:pt x="230" y="9251"/>
                    <a:pt x="227" y="9252"/>
                  </a:cubicBezTo>
                  <a:cubicBezTo>
                    <a:pt x="211" y="9258"/>
                    <a:pt x="175" y="9274"/>
                    <a:pt x="140" y="9290"/>
                  </a:cubicBezTo>
                  <a:cubicBezTo>
                    <a:pt x="125" y="9297"/>
                    <a:pt x="110" y="9304"/>
                    <a:pt x="98" y="9310"/>
                  </a:cubicBezTo>
                  <a:cubicBezTo>
                    <a:pt x="4" y="9125"/>
                    <a:pt x="4" y="9125"/>
                    <a:pt x="4" y="9125"/>
                  </a:cubicBezTo>
                  <a:cubicBezTo>
                    <a:pt x="4" y="9268"/>
                    <a:pt x="4" y="9268"/>
                    <a:pt x="4" y="9268"/>
                  </a:cubicBezTo>
                  <a:cubicBezTo>
                    <a:pt x="39" y="9337"/>
                    <a:pt x="39" y="9337"/>
                    <a:pt x="39" y="9337"/>
                  </a:cubicBezTo>
                  <a:cubicBezTo>
                    <a:pt x="39" y="9337"/>
                    <a:pt x="39" y="9337"/>
                    <a:pt x="39" y="9337"/>
                  </a:cubicBezTo>
                  <a:cubicBezTo>
                    <a:pt x="131" y="9508"/>
                    <a:pt x="131" y="9508"/>
                    <a:pt x="131" y="9508"/>
                  </a:cubicBezTo>
                  <a:cubicBezTo>
                    <a:pt x="34" y="9534"/>
                    <a:pt x="34" y="9534"/>
                    <a:pt x="34" y="9534"/>
                  </a:cubicBezTo>
                  <a:cubicBezTo>
                    <a:pt x="34" y="9535"/>
                    <a:pt x="34" y="9535"/>
                    <a:pt x="34" y="9535"/>
                  </a:cubicBezTo>
                  <a:cubicBezTo>
                    <a:pt x="4" y="9543"/>
                    <a:pt x="4" y="9543"/>
                    <a:pt x="4" y="9543"/>
                  </a:cubicBezTo>
                  <a:cubicBezTo>
                    <a:pt x="4" y="9557"/>
                    <a:pt x="4" y="9557"/>
                    <a:pt x="4" y="9557"/>
                  </a:cubicBezTo>
                  <a:cubicBezTo>
                    <a:pt x="31" y="9550"/>
                    <a:pt x="31" y="9550"/>
                    <a:pt x="31" y="9550"/>
                  </a:cubicBezTo>
                  <a:cubicBezTo>
                    <a:pt x="26" y="9578"/>
                    <a:pt x="11" y="9655"/>
                    <a:pt x="4" y="9699"/>
                  </a:cubicBezTo>
                  <a:cubicBezTo>
                    <a:pt x="2" y="9714"/>
                    <a:pt x="1" y="9724"/>
                    <a:pt x="1" y="9729"/>
                  </a:cubicBezTo>
                  <a:cubicBezTo>
                    <a:pt x="1" y="9730"/>
                    <a:pt x="1" y="9730"/>
                    <a:pt x="1" y="9732"/>
                  </a:cubicBezTo>
                  <a:cubicBezTo>
                    <a:pt x="1" y="9732"/>
                    <a:pt x="1" y="9734"/>
                    <a:pt x="4" y="9737"/>
                  </a:cubicBezTo>
                  <a:cubicBezTo>
                    <a:pt x="5" y="9737"/>
                    <a:pt x="5" y="9737"/>
                    <a:pt x="5" y="9737"/>
                  </a:cubicBezTo>
                  <a:cubicBezTo>
                    <a:pt x="5" y="9738"/>
                    <a:pt x="5" y="9738"/>
                    <a:pt x="5" y="9738"/>
                  </a:cubicBezTo>
                  <a:cubicBezTo>
                    <a:pt x="5" y="9738"/>
                    <a:pt x="6" y="9738"/>
                    <a:pt x="6" y="9738"/>
                  </a:cubicBezTo>
                  <a:cubicBezTo>
                    <a:pt x="7" y="9739"/>
                    <a:pt x="8" y="9740"/>
                    <a:pt x="10" y="9741"/>
                  </a:cubicBezTo>
                  <a:cubicBezTo>
                    <a:pt x="13" y="9744"/>
                    <a:pt x="18" y="9748"/>
                    <a:pt x="23" y="9753"/>
                  </a:cubicBezTo>
                  <a:cubicBezTo>
                    <a:pt x="35" y="9764"/>
                    <a:pt x="50" y="9778"/>
                    <a:pt x="65" y="9792"/>
                  </a:cubicBezTo>
                  <a:cubicBezTo>
                    <a:pt x="73" y="9800"/>
                    <a:pt x="82" y="9808"/>
                    <a:pt x="90" y="9815"/>
                  </a:cubicBezTo>
                  <a:cubicBezTo>
                    <a:pt x="78" y="9835"/>
                    <a:pt x="43" y="9889"/>
                    <a:pt x="4" y="9950"/>
                  </a:cubicBezTo>
                  <a:cubicBezTo>
                    <a:pt x="4" y="9980"/>
                    <a:pt x="4" y="9980"/>
                    <a:pt x="4" y="9980"/>
                  </a:cubicBezTo>
                  <a:cubicBezTo>
                    <a:pt x="46" y="9914"/>
                    <a:pt x="87" y="9851"/>
                    <a:pt x="102" y="9827"/>
                  </a:cubicBezTo>
                  <a:cubicBezTo>
                    <a:pt x="118" y="9842"/>
                    <a:pt x="131" y="9854"/>
                    <a:pt x="136" y="9859"/>
                  </a:cubicBezTo>
                  <a:cubicBezTo>
                    <a:pt x="138" y="9860"/>
                    <a:pt x="138" y="9860"/>
                    <a:pt x="141" y="9862"/>
                  </a:cubicBezTo>
                  <a:cubicBezTo>
                    <a:pt x="142" y="9862"/>
                    <a:pt x="142" y="9862"/>
                    <a:pt x="142" y="9862"/>
                  </a:cubicBezTo>
                  <a:cubicBezTo>
                    <a:pt x="143" y="9862"/>
                    <a:pt x="143" y="9862"/>
                    <a:pt x="143" y="9862"/>
                  </a:cubicBezTo>
                  <a:cubicBezTo>
                    <a:pt x="143" y="9862"/>
                    <a:pt x="144" y="9862"/>
                    <a:pt x="144" y="9862"/>
                  </a:cubicBezTo>
                  <a:cubicBezTo>
                    <a:pt x="144" y="9862"/>
                    <a:pt x="144" y="9862"/>
                    <a:pt x="144" y="9862"/>
                  </a:cubicBezTo>
                  <a:cubicBezTo>
                    <a:pt x="150" y="9861"/>
                    <a:pt x="150" y="9860"/>
                    <a:pt x="156" y="9858"/>
                  </a:cubicBezTo>
                  <a:cubicBezTo>
                    <a:pt x="160" y="9856"/>
                    <a:pt x="166" y="9853"/>
                    <a:pt x="173" y="9849"/>
                  </a:cubicBezTo>
                  <a:cubicBezTo>
                    <a:pt x="186" y="9842"/>
                    <a:pt x="204" y="9832"/>
                    <a:pt x="221" y="9822"/>
                  </a:cubicBezTo>
                  <a:cubicBezTo>
                    <a:pt x="245" y="9809"/>
                    <a:pt x="269" y="9795"/>
                    <a:pt x="281" y="9788"/>
                  </a:cubicBezTo>
                  <a:cubicBezTo>
                    <a:pt x="371" y="9957"/>
                    <a:pt x="371" y="9957"/>
                    <a:pt x="371" y="9957"/>
                  </a:cubicBezTo>
                  <a:cubicBezTo>
                    <a:pt x="356" y="9968"/>
                    <a:pt x="337" y="9984"/>
                    <a:pt x="325" y="9996"/>
                  </a:cubicBezTo>
                  <a:cubicBezTo>
                    <a:pt x="320" y="10001"/>
                    <a:pt x="303" y="10019"/>
                    <a:pt x="278" y="10046"/>
                  </a:cubicBezTo>
                  <a:cubicBezTo>
                    <a:pt x="234" y="10039"/>
                    <a:pt x="189" y="10034"/>
                    <a:pt x="149" y="10034"/>
                  </a:cubicBezTo>
                  <a:cubicBezTo>
                    <a:pt x="137" y="10034"/>
                    <a:pt x="126" y="10035"/>
                    <a:pt x="115" y="10036"/>
                  </a:cubicBezTo>
                  <a:cubicBezTo>
                    <a:pt x="74" y="10039"/>
                    <a:pt x="36" y="10054"/>
                    <a:pt x="4" y="10071"/>
                  </a:cubicBezTo>
                  <a:cubicBezTo>
                    <a:pt x="4" y="10089"/>
                    <a:pt x="4" y="10089"/>
                    <a:pt x="4" y="10089"/>
                  </a:cubicBezTo>
                  <a:cubicBezTo>
                    <a:pt x="36" y="10072"/>
                    <a:pt x="75" y="10055"/>
                    <a:pt x="117" y="10052"/>
                  </a:cubicBezTo>
                  <a:cubicBezTo>
                    <a:pt x="127" y="10051"/>
                    <a:pt x="137" y="10051"/>
                    <a:pt x="149" y="10051"/>
                  </a:cubicBezTo>
                  <a:cubicBezTo>
                    <a:pt x="185" y="10051"/>
                    <a:pt x="225" y="10055"/>
                    <a:pt x="265" y="10061"/>
                  </a:cubicBezTo>
                  <a:cubicBezTo>
                    <a:pt x="205" y="10126"/>
                    <a:pt x="108" y="10230"/>
                    <a:pt x="10" y="10336"/>
                  </a:cubicBezTo>
                  <a:cubicBezTo>
                    <a:pt x="8" y="10336"/>
                    <a:pt x="6" y="10336"/>
                    <a:pt x="4" y="10336"/>
                  </a:cubicBezTo>
                  <a:cubicBezTo>
                    <a:pt x="4" y="10566"/>
                    <a:pt x="4" y="10566"/>
                    <a:pt x="4" y="10566"/>
                  </a:cubicBezTo>
                  <a:cubicBezTo>
                    <a:pt x="35" y="10533"/>
                    <a:pt x="67" y="10498"/>
                    <a:pt x="100" y="10463"/>
                  </a:cubicBezTo>
                  <a:cubicBezTo>
                    <a:pt x="141" y="10418"/>
                    <a:pt x="183" y="10374"/>
                    <a:pt x="222" y="10331"/>
                  </a:cubicBezTo>
                  <a:cubicBezTo>
                    <a:pt x="251" y="10328"/>
                    <a:pt x="279" y="10324"/>
                    <a:pt x="304" y="10321"/>
                  </a:cubicBezTo>
                  <a:cubicBezTo>
                    <a:pt x="389" y="10305"/>
                    <a:pt x="389" y="10305"/>
                    <a:pt x="389" y="10305"/>
                  </a:cubicBezTo>
                  <a:cubicBezTo>
                    <a:pt x="406" y="10304"/>
                    <a:pt x="475" y="10281"/>
                    <a:pt x="476" y="10281"/>
                  </a:cubicBezTo>
                  <a:cubicBezTo>
                    <a:pt x="477" y="10281"/>
                    <a:pt x="477" y="10281"/>
                    <a:pt x="477" y="10281"/>
                  </a:cubicBezTo>
                  <a:cubicBezTo>
                    <a:pt x="478" y="10280"/>
                    <a:pt x="478" y="10280"/>
                    <a:pt x="478" y="10280"/>
                  </a:cubicBezTo>
                  <a:cubicBezTo>
                    <a:pt x="515" y="10256"/>
                    <a:pt x="545" y="10237"/>
                    <a:pt x="582" y="10214"/>
                  </a:cubicBezTo>
                  <a:cubicBezTo>
                    <a:pt x="588" y="10222"/>
                    <a:pt x="595" y="10230"/>
                    <a:pt x="602" y="10238"/>
                  </a:cubicBezTo>
                  <a:cubicBezTo>
                    <a:pt x="608" y="10245"/>
                    <a:pt x="615" y="10253"/>
                    <a:pt x="621" y="10260"/>
                  </a:cubicBezTo>
                  <a:cubicBezTo>
                    <a:pt x="553" y="10290"/>
                    <a:pt x="482" y="10324"/>
                    <a:pt x="437" y="10349"/>
                  </a:cubicBezTo>
                  <a:cubicBezTo>
                    <a:pt x="342" y="10400"/>
                    <a:pt x="221" y="10449"/>
                    <a:pt x="140" y="10538"/>
                  </a:cubicBezTo>
                  <a:cubicBezTo>
                    <a:pt x="93" y="10589"/>
                    <a:pt x="40" y="10654"/>
                    <a:pt x="4" y="10698"/>
                  </a:cubicBezTo>
                  <a:cubicBezTo>
                    <a:pt x="4" y="10738"/>
                    <a:pt x="4" y="10738"/>
                    <a:pt x="4" y="10738"/>
                  </a:cubicBezTo>
                  <a:cubicBezTo>
                    <a:pt x="38" y="10696"/>
                    <a:pt x="103" y="10615"/>
                    <a:pt x="158" y="10554"/>
                  </a:cubicBezTo>
                  <a:cubicBezTo>
                    <a:pt x="198" y="10511"/>
                    <a:pt x="249" y="10477"/>
                    <a:pt x="303" y="10446"/>
                  </a:cubicBezTo>
                  <a:cubicBezTo>
                    <a:pt x="338" y="10521"/>
                    <a:pt x="338" y="10521"/>
                    <a:pt x="338" y="10521"/>
                  </a:cubicBezTo>
                  <a:cubicBezTo>
                    <a:pt x="346" y="10516"/>
                    <a:pt x="346" y="10516"/>
                    <a:pt x="346" y="10516"/>
                  </a:cubicBezTo>
                  <a:cubicBezTo>
                    <a:pt x="314" y="10537"/>
                    <a:pt x="314" y="10537"/>
                    <a:pt x="314" y="10537"/>
                  </a:cubicBezTo>
                  <a:cubicBezTo>
                    <a:pt x="314" y="10537"/>
                    <a:pt x="325" y="10563"/>
                    <a:pt x="341" y="10602"/>
                  </a:cubicBezTo>
                  <a:cubicBezTo>
                    <a:pt x="337" y="10606"/>
                    <a:pt x="167" y="10723"/>
                    <a:pt x="79" y="10786"/>
                  </a:cubicBezTo>
                  <a:cubicBezTo>
                    <a:pt x="66" y="10796"/>
                    <a:pt x="54" y="10804"/>
                    <a:pt x="25" y="10826"/>
                  </a:cubicBezTo>
                  <a:cubicBezTo>
                    <a:pt x="4" y="10794"/>
                    <a:pt x="4" y="10794"/>
                    <a:pt x="4" y="10794"/>
                  </a:cubicBezTo>
                  <a:cubicBezTo>
                    <a:pt x="4" y="10909"/>
                    <a:pt x="4" y="10909"/>
                    <a:pt x="4" y="10909"/>
                  </a:cubicBezTo>
                  <a:cubicBezTo>
                    <a:pt x="7" y="10913"/>
                    <a:pt x="10" y="10918"/>
                    <a:pt x="14" y="10925"/>
                  </a:cubicBezTo>
                  <a:cubicBezTo>
                    <a:pt x="18" y="10929"/>
                    <a:pt x="18" y="10929"/>
                    <a:pt x="18" y="10929"/>
                  </a:cubicBezTo>
                  <a:cubicBezTo>
                    <a:pt x="21" y="10934"/>
                    <a:pt x="25" y="10940"/>
                    <a:pt x="29" y="10945"/>
                  </a:cubicBezTo>
                  <a:cubicBezTo>
                    <a:pt x="9" y="10962"/>
                    <a:pt x="9" y="10962"/>
                    <a:pt x="9" y="10962"/>
                  </a:cubicBezTo>
                  <a:cubicBezTo>
                    <a:pt x="8" y="10963"/>
                    <a:pt x="6" y="10965"/>
                    <a:pt x="4" y="10966"/>
                  </a:cubicBezTo>
                  <a:cubicBezTo>
                    <a:pt x="4" y="10987"/>
                    <a:pt x="4" y="10987"/>
                    <a:pt x="4" y="10987"/>
                  </a:cubicBezTo>
                  <a:cubicBezTo>
                    <a:pt x="16" y="10976"/>
                    <a:pt x="27" y="10967"/>
                    <a:pt x="37" y="10958"/>
                  </a:cubicBezTo>
                  <a:cubicBezTo>
                    <a:pt x="37" y="10957"/>
                    <a:pt x="37" y="10957"/>
                    <a:pt x="37" y="10957"/>
                  </a:cubicBezTo>
                  <a:cubicBezTo>
                    <a:pt x="38" y="10958"/>
                    <a:pt x="38" y="10958"/>
                    <a:pt x="38" y="10958"/>
                  </a:cubicBezTo>
                  <a:cubicBezTo>
                    <a:pt x="38" y="10958"/>
                    <a:pt x="38" y="10958"/>
                    <a:pt x="38" y="10958"/>
                  </a:cubicBezTo>
                  <a:cubicBezTo>
                    <a:pt x="56" y="10984"/>
                    <a:pt x="80" y="11015"/>
                    <a:pt x="104" y="11051"/>
                  </a:cubicBezTo>
                  <a:cubicBezTo>
                    <a:pt x="142" y="11107"/>
                    <a:pt x="188" y="11174"/>
                    <a:pt x="237" y="11247"/>
                  </a:cubicBezTo>
                  <a:cubicBezTo>
                    <a:pt x="206" y="11262"/>
                    <a:pt x="111" y="11309"/>
                    <a:pt x="4" y="11363"/>
                  </a:cubicBezTo>
                  <a:cubicBezTo>
                    <a:pt x="4" y="11379"/>
                    <a:pt x="4" y="11379"/>
                    <a:pt x="4" y="11379"/>
                  </a:cubicBezTo>
                  <a:cubicBezTo>
                    <a:pt x="116" y="11323"/>
                    <a:pt x="215" y="11273"/>
                    <a:pt x="245" y="11258"/>
                  </a:cubicBezTo>
                  <a:cubicBezTo>
                    <a:pt x="276" y="11303"/>
                    <a:pt x="309" y="11351"/>
                    <a:pt x="342" y="11398"/>
                  </a:cubicBezTo>
                  <a:cubicBezTo>
                    <a:pt x="339" y="11401"/>
                    <a:pt x="335" y="11403"/>
                    <a:pt x="330" y="11406"/>
                  </a:cubicBezTo>
                  <a:cubicBezTo>
                    <a:pt x="313" y="11417"/>
                    <a:pt x="289" y="11432"/>
                    <a:pt x="262" y="11451"/>
                  </a:cubicBezTo>
                  <a:cubicBezTo>
                    <a:pt x="206" y="11487"/>
                    <a:pt x="132" y="11536"/>
                    <a:pt x="59" y="11584"/>
                  </a:cubicBezTo>
                  <a:cubicBezTo>
                    <a:pt x="41" y="11596"/>
                    <a:pt x="22" y="11608"/>
                    <a:pt x="4" y="11620"/>
                  </a:cubicBezTo>
                  <a:cubicBezTo>
                    <a:pt x="4" y="11637"/>
                    <a:pt x="4" y="11637"/>
                    <a:pt x="4" y="11637"/>
                  </a:cubicBezTo>
                  <a:cubicBezTo>
                    <a:pt x="24" y="11624"/>
                    <a:pt x="43" y="11611"/>
                    <a:pt x="63" y="11598"/>
                  </a:cubicBezTo>
                  <a:cubicBezTo>
                    <a:pt x="185" y="11517"/>
                    <a:pt x="310" y="11436"/>
                    <a:pt x="350" y="11410"/>
                  </a:cubicBezTo>
                  <a:cubicBezTo>
                    <a:pt x="354" y="11415"/>
                    <a:pt x="357" y="11419"/>
                    <a:pt x="360" y="11424"/>
                  </a:cubicBezTo>
                  <a:cubicBezTo>
                    <a:pt x="435" y="11531"/>
                    <a:pt x="512" y="11639"/>
                    <a:pt x="581" y="11737"/>
                  </a:cubicBezTo>
                  <a:cubicBezTo>
                    <a:pt x="131" y="11954"/>
                    <a:pt x="131" y="11954"/>
                    <a:pt x="131" y="11954"/>
                  </a:cubicBezTo>
                  <a:cubicBezTo>
                    <a:pt x="4" y="11880"/>
                    <a:pt x="4" y="11880"/>
                    <a:pt x="4" y="11880"/>
                  </a:cubicBezTo>
                  <a:cubicBezTo>
                    <a:pt x="4" y="11932"/>
                    <a:pt x="4" y="11932"/>
                    <a:pt x="4" y="11932"/>
                  </a:cubicBezTo>
                  <a:cubicBezTo>
                    <a:pt x="104" y="11991"/>
                    <a:pt x="104" y="11991"/>
                    <a:pt x="104" y="11991"/>
                  </a:cubicBezTo>
                  <a:cubicBezTo>
                    <a:pt x="71" y="12130"/>
                    <a:pt x="71" y="12130"/>
                    <a:pt x="71" y="12130"/>
                  </a:cubicBezTo>
                  <a:cubicBezTo>
                    <a:pt x="48" y="12126"/>
                    <a:pt x="26" y="12124"/>
                    <a:pt x="4" y="12122"/>
                  </a:cubicBezTo>
                  <a:cubicBezTo>
                    <a:pt x="4" y="12188"/>
                    <a:pt x="4" y="12188"/>
                    <a:pt x="4" y="12188"/>
                  </a:cubicBezTo>
                  <a:cubicBezTo>
                    <a:pt x="59" y="12193"/>
                    <a:pt x="125" y="12205"/>
                    <a:pt x="152" y="12222"/>
                  </a:cubicBezTo>
                  <a:cubicBezTo>
                    <a:pt x="171" y="12233"/>
                    <a:pt x="215" y="12279"/>
                    <a:pt x="254" y="12327"/>
                  </a:cubicBezTo>
                  <a:cubicBezTo>
                    <a:pt x="272" y="12349"/>
                    <a:pt x="289" y="12371"/>
                    <a:pt x="305" y="12392"/>
                  </a:cubicBezTo>
                  <a:cubicBezTo>
                    <a:pt x="115" y="12621"/>
                    <a:pt x="115" y="12621"/>
                    <a:pt x="115" y="12621"/>
                  </a:cubicBezTo>
                  <a:cubicBezTo>
                    <a:pt x="106" y="12617"/>
                    <a:pt x="100" y="12614"/>
                    <a:pt x="90" y="12613"/>
                  </a:cubicBezTo>
                  <a:cubicBezTo>
                    <a:pt x="90" y="12613"/>
                    <a:pt x="90" y="12613"/>
                    <a:pt x="90" y="12613"/>
                  </a:cubicBezTo>
                  <a:cubicBezTo>
                    <a:pt x="90" y="12613"/>
                    <a:pt x="90" y="12613"/>
                    <a:pt x="90" y="12613"/>
                  </a:cubicBezTo>
                  <a:cubicBezTo>
                    <a:pt x="89" y="12613"/>
                    <a:pt x="88" y="12613"/>
                    <a:pt x="87" y="12613"/>
                  </a:cubicBezTo>
                  <a:cubicBezTo>
                    <a:pt x="84" y="12612"/>
                    <a:pt x="81" y="12612"/>
                    <a:pt x="76" y="12611"/>
                  </a:cubicBezTo>
                  <a:cubicBezTo>
                    <a:pt x="68" y="12610"/>
                    <a:pt x="56" y="12608"/>
                    <a:pt x="42" y="12606"/>
                  </a:cubicBezTo>
                  <a:cubicBezTo>
                    <a:pt x="31" y="12604"/>
                    <a:pt x="18" y="12602"/>
                    <a:pt x="4" y="12599"/>
                  </a:cubicBezTo>
                  <a:cubicBezTo>
                    <a:pt x="4" y="12645"/>
                    <a:pt x="4" y="12645"/>
                    <a:pt x="4" y="12645"/>
                  </a:cubicBezTo>
                  <a:cubicBezTo>
                    <a:pt x="31" y="12650"/>
                    <a:pt x="55" y="12654"/>
                    <a:pt x="70" y="12656"/>
                  </a:cubicBezTo>
                  <a:cubicBezTo>
                    <a:pt x="78" y="12657"/>
                    <a:pt x="82" y="12658"/>
                    <a:pt x="88" y="12658"/>
                  </a:cubicBezTo>
                  <a:cubicBezTo>
                    <a:pt x="88" y="12658"/>
                    <a:pt x="88" y="12658"/>
                    <a:pt x="88" y="12658"/>
                  </a:cubicBezTo>
                  <a:cubicBezTo>
                    <a:pt x="90" y="12659"/>
                    <a:pt x="92" y="12660"/>
                    <a:pt x="95" y="12661"/>
                  </a:cubicBezTo>
                  <a:cubicBezTo>
                    <a:pt x="101" y="12664"/>
                    <a:pt x="110" y="12669"/>
                    <a:pt x="119" y="12675"/>
                  </a:cubicBezTo>
                  <a:cubicBezTo>
                    <a:pt x="137" y="12688"/>
                    <a:pt x="159" y="12707"/>
                    <a:pt x="178" y="12731"/>
                  </a:cubicBezTo>
                  <a:cubicBezTo>
                    <a:pt x="202" y="12762"/>
                    <a:pt x="234" y="12817"/>
                    <a:pt x="249" y="12884"/>
                  </a:cubicBezTo>
                  <a:cubicBezTo>
                    <a:pt x="241" y="12888"/>
                    <a:pt x="231" y="12892"/>
                    <a:pt x="219" y="12897"/>
                  </a:cubicBezTo>
                  <a:cubicBezTo>
                    <a:pt x="188" y="12910"/>
                    <a:pt x="147" y="12927"/>
                    <a:pt x="107" y="12945"/>
                  </a:cubicBezTo>
                  <a:cubicBezTo>
                    <a:pt x="69" y="12961"/>
                    <a:pt x="33" y="12976"/>
                    <a:pt x="4" y="12989"/>
                  </a:cubicBezTo>
                  <a:cubicBezTo>
                    <a:pt x="4" y="13004"/>
                    <a:pt x="4" y="13004"/>
                    <a:pt x="4" y="13004"/>
                  </a:cubicBezTo>
                  <a:cubicBezTo>
                    <a:pt x="33" y="12992"/>
                    <a:pt x="70" y="12976"/>
                    <a:pt x="108" y="12959"/>
                  </a:cubicBezTo>
                  <a:cubicBezTo>
                    <a:pt x="163" y="12935"/>
                    <a:pt x="220" y="12911"/>
                    <a:pt x="252" y="12898"/>
                  </a:cubicBezTo>
                  <a:cubicBezTo>
                    <a:pt x="255" y="12918"/>
                    <a:pt x="258" y="12938"/>
                    <a:pt x="258" y="12959"/>
                  </a:cubicBezTo>
                  <a:cubicBezTo>
                    <a:pt x="258" y="12978"/>
                    <a:pt x="256" y="12997"/>
                    <a:pt x="253" y="13017"/>
                  </a:cubicBezTo>
                  <a:cubicBezTo>
                    <a:pt x="231" y="13138"/>
                    <a:pt x="229" y="13266"/>
                    <a:pt x="229" y="13297"/>
                  </a:cubicBezTo>
                  <a:cubicBezTo>
                    <a:pt x="117" y="13470"/>
                    <a:pt x="117" y="13470"/>
                    <a:pt x="117" y="13470"/>
                  </a:cubicBezTo>
                  <a:cubicBezTo>
                    <a:pt x="4" y="13444"/>
                    <a:pt x="4" y="13444"/>
                    <a:pt x="4" y="13444"/>
                  </a:cubicBezTo>
                  <a:cubicBezTo>
                    <a:pt x="4" y="13459"/>
                    <a:pt x="4" y="13459"/>
                    <a:pt x="4" y="13459"/>
                  </a:cubicBezTo>
                  <a:cubicBezTo>
                    <a:pt x="108" y="13482"/>
                    <a:pt x="108" y="13482"/>
                    <a:pt x="108" y="13482"/>
                  </a:cubicBezTo>
                  <a:cubicBezTo>
                    <a:pt x="108" y="13483"/>
                    <a:pt x="108" y="13483"/>
                    <a:pt x="108" y="13483"/>
                  </a:cubicBezTo>
                  <a:cubicBezTo>
                    <a:pt x="197" y="13644"/>
                    <a:pt x="197" y="13644"/>
                    <a:pt x="197" y="13644"/>
                  </a:cubicBezTo>
                  <a:cubicBezTo>
                    <a:pt x="178" y="13693"/>
                    <a:pt x="178" y="13693"/>
                    <a:pt x="178" y="13693"/>
                  </a:cubicBezTo>
                  <a:cubicBezTo>
                    <a:pt x="4" y="13617"/>
                    <a:pt x="4" y="13617"/>
                    <a:pt x="4" y="13617"/>
                  </a:cubicBezTo>
                  <a:cubicBezTo>
                    <a:pt x="4" y="13632"/>
                    <a:pt x="4" y="13632"/>
                    <a:pt x="4" y="13632"/>
                  </a:cubicBezTo>
                  <a:cubicBezTo>
                    <a:pt x="173" y="13706"/>
                    <a:pt x="173" y="13706"/>
                    <a:pt x="173" y="13706"/>
                  </a:cubicBezTo>
                  <a:cubicBezTo>
                    <a:pt x="119" y="13844"/>
                    <a:pt x="119" y="13844"/>
                    <a:pt x="119" y="13844"/>
                  </a:cubicBezTo>
                  <a:cubicBezTo>
                    <a:pt x="116" y="13842"/>
                    <a:pt x="112" y="13841"/>
                    <a:pt x="107" y="13838"/>
                  </a:cubicBezTo>
                  <a:cubicBezTo>
                    <a:pt x="94" y="13832"/>
                    <a:pt x="76" y="13823"/>
                    <a:pt x="54" y="13812"/>
                  </a:cubicBezTo>
                  <a:cubicBezTo>
                    <a:pt x="39" y="13804"/>
                    <a:pt x="22" y="13795"/>
                    <a:pt x="4" y="13786"/>
                  </a:cubicBezTo>
                  <a:cubicBezTo>
                    <a:pt x="4" y="13801"/>
                    <a:pt x="4" y="13801"/>
                    <a:pt x="4" y="13801"/>
                  </a:cubicBezTo>
                  <a:cubicBezTo>
                    <a:pt x="55" y="13828"/>
                    <a:pt x="96" y="13849"/>
                    <a:pt x="114" y="13857"/>
                  </a:cubicBezTo>
                  <a:cubicBezTo>
                    <a:pt x="50" y="14021"/>
                    <a:pt x="50" y="14021"/>
                    <a:pt x="50" y="14021"/>
                  </a:cubicBezTo>
                  <a:cubicBezTo>
                    <a:pt x="4" y="13986"/>
                    <a:pt x="4" y="13986"/>
                    <a:pt x="4" y="13986"/>
                  </a:cubicBezTo>
                  <a:cubicBezTo>
                    <a:pt x="4" y="14003"/>
                    <a:pt x="4" y="14003"/>
                    <a:pt x="4" y="14003"/>
                  </a:cubicBezTo>
                  <a:cubicBezTo>
                    <a:pt x="44" y="14034"/>
                    <a:pt x="44" y="14034"/>
                    <a:pt x="44" y="14034"/>
                  </a:cubicBezTo>
                  <a:cubicBezTo>
                    <a:pt x="4" y="14136"/>
                    <a:pt x="4" y="14136"/>
                    <a:pt x="4" y="14136"/>
                  </a:cubicBezTo>
                  <a:cubicBezTo>
                    <a:pt x="4" y="14225"/>
                    <a:pt x="4" y="14225"/>
                    <a:pt x="4" y="14225"/>
                  </a:cubicBezTo>
                  <a:cubicBezTo>
                    <a:pt x="137" y="14330"/>
                    <a:pt x="137" y="14330"/>
                    <a:pt x="137" y="14330"/>
                  </a:cubicBezTo>
                  <a:cubicBezTo>
                    <a:pt x="109" y="14372"/>
                    <a:pt x="50" y="14460"/>
                    <a:pt x="32" y="14492"/>
                  </a:cubicBezTo>
                  <a:cubicBezTo>
                    <a:pt x="30" y="14497"/>
                    <a:pt x="28" y="14499"/>
                    <a:pt x="27" y="14502"/>
                  </a:cubicBezTo>
                  <a:cubicBezTo>
                    <a:pt x="22" y="14504"/>
                    <a:pt x="14" y="14506"/>
                    <a:pt x="4" y="14510"/>
                  </a:cubicBezTo>
                  <a:cubicBezTo>
                    <a:pt x="4" y="14524"/>
                    <a:pt x="4" y="14524"/>
                    <a:pt x="4" y="14524"/>
                  </a:cubicBezTo>
                  <a:cubicBezTo>
                    <a:pt x="23" y="14518"/>
                    <a:pt x="35" y="14514"/>
                    <a:pt x="35" y="14514"/>
                  </a:cubicBezTo>
                  <a:cubicBezTo>
                    <a:pt x="34" y="14507"/>
                    <a:pt x="34" y="14507"/>
                    <a:pt x="34" y="14507"/>
                  </a:cubicBezTo>
                  <a:cubicBezTo>
                    <a:pt x="37" y="14507"/>
                    <a:pt x="37" y="14507"/>
                    <a:pt x="37" y="14507"/>
                  </a:cubicBezTo>
                  <a:cubicBezTo>
                    <a:pt x="40" y="14508"/>
                    <a:pt x="40" y="14508"/>
                    <a:pt x="40" y="14508"/>
                  </a:cubicBezTo>
                  <a:cubicBezTo>
                    <a:pt x="40" y="14508"/>
                    <a:pt x="40" y="14508"/>
                    <a:pt x="40" y="14508"/>
                  </a:cubicBezTo>
                  <a:cubicBezTo>
                    <a:pt x="40" y="14507"/>
                    <a:pt x="40" y="14507"/>
                    <a:pt x="40" y="14506"/>
                  </a:cubicBezTo>
                  <a:cubicBezTo>
                    <a:pt x="41" y="14504"/>
                    <a:pt x="43" y="14502"/>
                    <a:pt x="44" y="14499"/>
                  </a:cubicBezTo>
                  <a:cubicBezTo>
                    <a:pt x="48" y="14493"/>
                    <a:pt x="52" y="14485"/>
                    <a:pt x="58" y="14476"/>
                  </a:cubicBezTo>
                  <a:cubicBezTo>
                    <a:pt x="70" y="14457"/>
                    <a:pt x="86" y="14433"/>
                    <a:pt x="102" y="14409"/>
                  </a:cubicBezTo>
                  <a:cubicBezTo>
                    <a:pt x="119" y="14382"/>
                    <a:pt x="136" y="14357"/>
                    <a:pt x="148" y="14339"/>
                  </a:cubicBezTo>
                  <a:cubicBezTo>
                    <a:pt x="470" y="14593"/>
                    <a:pt x="470" y="14593"/>
                    <a:pt x="470" y="14593"/>
                  </a:cubicBezTo>
                  <a:cubicBezTo>
                    <a:pt x="470" y="14593"/>
                    <a:pt x="470" y="14593"/>
                    <a:pt x="470" y="14593"/>
                  </a:cubicBezTo>
                  <a:cubicBezTo>
                    <a:pt x="470" y="14593"/>
                    <a:pt x="471" y="14594"/>
                    <a:pt x="472" y="14595"/>
                  </a:cubicBezTo>
                  <a:cubicBezTo>
                    <a:pt x="481" y="14602"/>
                    <a:pt x="481" y="14602"/>
                    <a:pt x="481" y="14602"/>
                  </a:cubicBezTo>
                  <a:cubicBezTo>
                    <a:pt x="481" y="14602"/>
                    <a:pt x="481" y="14602"/>
                    <a:pt x="481" y="14602"/>
                  </a:cubicBezTo>
                  <a:cubicBezTo>
                    <a:pt x="485" y="14605"/>
                    <a:pt x="490" y="14609"/>
                    <a:pt x="496" y="14613"/>
                  </a:cubicBezTo>
                  <a:cubicBezTo>
                    <a:pt x="385" y="14874"/>
                    <a:pt x="385" y="14874"/>
                    <a:pt x="385" y="14874"/>
                  </a:cubicBezTo>
                  <a:cubicBezTo>
                    <a:pt x="282" y="14832"/>
                    <a:pt x="282" y="14832"/>
                    <a:pt x="282" y="14832"/>
                  </a:cubicBezTo>
                  <a:cubicBezTo>
                    <a:pt x="281" y="14835"/>
                    <a:pt x="281" y="14835"/>
                    <a:pt x="281" y="14835"/>
                  </a:cubicBezTo>
                  <a:cubicBezTo>
                    <a:pt x="282" y="14833"/>
                    <a:pt x="282" y="14833"/>
                    <a:pt x="282" y="14833"/>
                  </a:cubicBezTo>
                  <a:cubicBezTo>
                    <a:pt x="31" y="14726"/>
                    <a:pt x="31" y="14726"/>
                    <a:pt x="31" y="14726"/>
                  </a:cubicBezTo>
                  <a:cubicBezTo>
                    <a:pt x="4" y="14701"/>
                    <a:pt x="4" y="14701"/>
                    <a:pt x="4" y="14701"/>
                  </a:cubicBezTo>
                  <a:cubicBezTo>
                    <a:pt x="4" y="14720"/>
                    <a:pt x="4" y="14720"/>
                    <a:pt x="4" y="14720"/>
                  </a:cubicBezTo>
                  <a:cubicBezTo>
                    <a:pt x="24" y="14738"/>
                    <a:pt x="24" y="14738"/>
                    <a:pt x="24" y="14738"/>
                  </a:cubicBezTo>
                  <a:cubicBezTo>
                    <a:pt x="28" y="14740"/>
                    <a:pt x="28" y="14740"/>
                    <a:pt x="28" y="14740"/>
                  </a:cubicBezTo>
                  <a:cubicBezTo>
                    <a:pt x="4" y="14770"/>
                    <a:pt x="4" y="14770"/>
                    <a:pt x="4" y="14770"/>
                  </a:cubicBezTo>
                  <a:cubicBezTo>
                    <a:pt x="4" y="14793"/>
                    <a:pt x="4" y="14793"/>
                    <a:pt x="4" y="14793"/>
                  </a:cubicBezTo>
                  <a:cubicBezTo>
                    <a:pt x="42" y="14745"/>
                    <a:pt x="42" y="14745"/>
                    <a:pt x="42" y="14745"/>
                  </a:cubicBezTo>
                  <a:cubicBezTo>
                    <a:pt x="275" y="14845"/>
                    <a:pt x="275" y="14845"/>
                    <a:pt x="275" y="14845"/>
                  </a:cubicBezTo>
                  <a:cubicBezTo>
                    <a:pt x="70" y="15199"/>
                    <a:pt x="70" y="15199"/>
                    <a:pt x="70" y="15199"/>
                  </a:cubicBezTo>
                  <a:cubicBezTo>
                    <a:pt x="73" y="15201"/>
                    <a:pt x="73" y="15201"/>
                    <a:pt x="73" y="15201"/>
                  </a:cubicBezTo>
                  <a:cubicBezTo>
                    <a:pt x="52" y="15183"/>
                    <a:pt x="28" y="15163"/>
                    <a:pt x="4" y="15142"/>
                  </a:cubicBezTo>
                  <a:cubicBezTo>
                    <a:pt x="4" y="15229"/>
                    <a:pt x="4" y="15229"/>
                    <a:pt x="4" y="15229"/>
                  </a:cubicBezTo>
                  <a:cubicBezTo>
                    <a:pt x="87" y="15300"/>
                    <a:pt x="151" y="15355"/>
                    <a:pt x="181" y="15381"/>
                  </a:cubicBezTo>
                  <a:cubicBezTo>
                    <a:pt x="124" y="15455"/>
                    <a:pt x="76" y="15519"/>
                    <a:pt x="54" y="15547"/>
                  </a:cubicBezTo>
                  <a:cubicBezTo>
                    <a:pt x="4" y="15611"/>
                    <a:pt x="4" y="15611"/>
                    <a:pt x="4" y="15611"/>
                  </a:cubicBezTo>
                  <a:cubicBezTo>
                    <a:pt x="4" y="15718"/>
                    <a:pt x="4" y="15718"/>
                    <a:pt x="4" y="15718"/>
                  </a:cubicBezTo>
                  <a:cubicBezTo>
                    <a:pt x="110" y="15581"/>
                    <a:pt x="110" y="15581"/>
                    <a:pt x="110" y="15581"/>
                  </a:cubicBezTo>
                  <a:cubicBezTo>
                    <a:pt x="707" y="15746"/>
                    <a:pt x="707" y="15746"/>
                    <a:pt x="707" y="15746"/>
                  </a:cubicBezTo>
                  <a:cubicBezTo>
                    <a:pt x="672" y="15827"/>
                    <a:pt x="672" y="15827"/>
                    <a:pt x="672" y="15827"/>
                  </a:cubicBezTo>
                  <a:cubicBezTo>
                    <a:pt x="900" y="15862"/>
                    <a:pt x="900" y="15862"/>
                    <a:pt x="900" y="15862"/>
                  </a:cubicBezTo>
                  <a:cubicBezTo>
                    <a:pt x="832" y="16181"/>
                    <a:pt x="832" y="16181"/>
                    <a:pt x="832" y="16181"/>
                  </a:cubicBezTo>
                  <a:cubicBezTo>
                    <a:pt x="129" y="15814"/>
                    <a:pt x="129" y="15814"/>
                    <a:pt x="129" y="15814"/>
                  </a:cubicBezTo>
                  <a:cubicBezTo>
                    <a:pt x="197" y="15723"/>
                    <a:pt x="197" y="15723"/>
                    <a:pt x="197" y="15723"/>
                  </a:cubicBezTo>
                  <a:cubicBezTo>
                    <a:pt x="201" y="15718"/>
                    <a:pt x="201" y="15718"/>
                    <a:pt x="201" y="15718"/>
                  </a:cubicBezTo>
                  <a:cubicBezTo>
                    <a:pt x="92" y="15638"/>
                    <a:pt x="92" y="15638"/>
                    <a:pt x="92" y="15638"/>
                  </a:cubicBezTo>
                  <a:cubicBezTo>
                    <a:pt x="8" y="15751"/>
                    <a:pt x="8" y="15751"/>
                    <a:pt x="8" y="15751"/>
                  </a:cubicBezTo>
                  <a:cubicBezTo>
                    <a:pt x="4" y="15749"/>
                    <a:pt x="4" y="15749"/>
                    <a:pt x="4" y="15749"/>
                  </a:cubicBezTo>
                  <a:cubicBezTo>
                    <a:pt x="4" y="15777"/>
                    <a:pt x="4" y="15777"/>
                    <a:pt x="4" y="15777"/>
                  </a:cubicBezTo>
                  <a:cubicBezTo>
                    <a:pt x="11" y="15768"/>
                    <a:pt x="11" y="15768"/>
                    <a:pt x="11" y="15768"/>
                  </a:cubicBezTo>
                  <a:cubicBezTo>
                    <a:pt x="109" y="15819"/>
                    <a:pt x="109" y="15819"/>
                    <a:pt x="109" y="15819"/>
                  </a:cubicBezTo>
                  <a:cubicBezTo>
                    <a:pt x="16" y="15943"/>
                    <a:pt x="16" y="15943"/>
                    <a:pt x="16" y="15943"/>
                  </a:cubicBezTo>
                  <a:cubicBezTo>
                    <a:pt x="4" y="15936"/>
                    <a:pt x="4" y="15936"/>
                    <a:pt x="4" y="15936"/>
                  </a:cubicBezTo>
                  <a:cubicBezTo>
                    <a:pt x="4" y="15952"/>
                    <a:pt x="4" y="15952"/>
                    <a:pt x="4" y="15952"/>
                  </a:cubicBezTo>
                  <a:cubicBezTo>
                    <a:pt x="8" y="15954"/>
                    <a:pt x="8" y="15954"/>
                    <a:pt x="8" y="15954"/>
                  </a:cubicBezTo>
                  <a:cubicBezTo>
                    <a:pt x="4" y="15958"/>
                    <a:pt x="4" y="15958"/>
                    <a:pt x="4" y="15958"/>
                  </a:cubicBezTo>
                  <a:cubicBezTo>
                    <a:pt x="4" y="15980"/>
                    <a:pt x="4" y="15980"/>
                    <a:pt x="4" y="15980"/>
                  </a:cubicBezTo>
                  <a:cubicBezTo>
                    <a:pt x="19" y="15960"/>
                    <a:pt x="19" y="15960"/>
                    <a:pt x="19" y="15960"/>
                  </a:cubicBezTo>
                  <a:cubicBezTo>
                    <a:pt x="371" y="16145"/>
                    <a:pt x="371" y="16145"/>
                    <a:pt x="371" y="16145"/>
                  </a:cubicBezTo>
                  <a:cubicBezTo>
                    <a:pt x="295" y="16526"/>
                    <a:pt x="295" y="16526"/>
                    <a:pt x="295" y="16526"/>
                  </a:cubicBezTo>
                  <a:cubicBezTo>
                    <a:pt x="214" y="16632"/>
                    <a:pt x="214" y="16632"/>
                    <a:pt x="214" y="16632"/>
                  </a:cubicBezTo>
                  <a:cubicBezTo>
                    <a:pt x="176" y="16601"/>
                    <a:pt x="176" y="16601"/>
                    <a:pt x="176" y="16601"/>
                  </a:cubicBezTo>
                  <a:cubicBezTo>
                    <a:pt x="149" y="16635"/>
                    <a:pt x="149" y="16635"/>
                    <a:pt x="149" y="16635"/>
                  </a:cubicBezTo>
                  <a:cubicBezTo>
                    <a:pt x="112" y="16605"/>
                    <a:pt x="112" y="16605"/>
                    <a:pt x="112" y="16605"/>
                  </a:cubicBezTo>
                  <a:cubicBezTo>
                    <a:pt x="62" y="16668"/>
                    <a:pt x="62" y="16668"/>
                    <a:pt x="62" y="16668"/>
                  </a:cubicBezTo>
                  <a:cubicBezTo>
                    <a:pt x="58" y="16673"/>
                    <a:pt x="58" y="16673"/>
                    <a:pt x="58" y="16673"/>
                  </a:cubicBezTo>
                  <a:cubicBezTo>
                    <a:pt x="135" y="16734"/>
                    <a:pt x="135" y="16734"/>
                    <a:pt x="135" y="16734"/>
                  </a:cubicBezTo>
                  <a:cubicBezTo>
                    <a:pt x="117" y="16759"/>
                    <a:pt x="117" y="16759"/>
                    <a:pt x="117" y="16759"/>
                  </a:cubicBezTo>
                  <a:cubicBezTo>
                    <a:pt x="128" y="16767"/>
                    <a:pt x="128" y="16767"/>
                    <a:pt x="128" y="16767"/>
                  </a:cubicBezTo>
                  <a:cubicBezTo>
                    <a:pt x="146" y="16743"/>
                    <a:pt x="146" y="16743"/>
                    <a:pt x="146" y="16743"/>
                  </a:cubicBezTo>
                  <a:cubicBezTo>
                    <a:pt x="223" y="16804"/>
                    <a:pt x="223" y="16804"/>
                    <a:pt x="223" y="16804"/>
                  </a:cubicBezTo>
                  <a:cubicBezTo>
                    <a:pt x="277" y="16737"/>
                    <a:pt x="277" y="16737"/>
                    <a:pt x="277" y="16737"/>
                  </a:cubicBezTo>
                  <a:cubicBezTo>
                    <a:pt x="240" y="16707"/>
                    <a:pt x="240" y="16707"/>
                    <a:pt x="240" y="16707"/>
                  </a:cubicBezTo>
                  <a:cubicBezTo>
                    <a:pt x="267" y="16674"/>
                    <a:pt x="267" y="16674"/>
                    <a:pt x="267" y="16674"/>
                  </a:cubicBezTo>
                  <a:cubicBezTo>
                    <a:pt x="225" y="16640"/>
                    <a:pt x="225" y="16640"/>
                    <a:pt x="225" y="16640"/>
                  </a:cubicBezTo>
                  <a:cubicBezTo>
                    <a:pt x="308" y="16531"/>
                    <a:pt x="308" y="16531"/>
                    <a:pt x="308" y="16531"/>
                  </a:cubicBezTo>
                  <a:cubicBezTo>
                    <a:pt x="383" y="16157"/>
                    <a:pt x="383" y="16157"/>
                    <a:pt x="383" y="16157"/>
                  </a:cubicBezTo>
                  <a:cubicBezTo>
                    <a:pt x="430" y="16210"/>
                    <a:pt x="650" y="16457"/>
                    <a:pt x="688" y="16496"/>
                  </a:cubicBezTo>
                  <a:cubicBezTo>
                    <a:pt x="688" y="16496"/>
                    <a:pt x="688" y="16496"/>
                    <a:pt x="687" y="16497"/>
                  </a:cubicBezTo>
                  <a:cubicBezTo>
                    <a:pt x="684" y="16501"/>
                    <a:pt x="679" y="16506"/>
                    <a:pt x="674" y="16512"/>
                  </a:cubicBezTo>
                  <a:cubicBezTo>
                    <a:pt x="663" y="16526"/>
                    <a:pt x="648" y="16545"/>
                    <a:pt x="631" y="16568"/>
                  </a:cubicBezTo>
                  <a:cubicBezTo>
                    <a:pt x="596" y="16613"/>
                    <a:pt x="551" y="16673"/>
                    <a:pt x="506" y="16734"/>
                  </a:cubicBezTo>
                  <a:cubicBezTo>
                    <a:pt x="429" y="16839"/>
                    <a:pt x="353" y="16943"/>
                    <a:pt x="333" y="16969"/>
                  </a:cubicBezTo>
                  <a:cubicBezTo>
                    <a:pt x="4" y="16656"/>
                    <a:pt x="4" y="16656"/>
                    <a:pt x="4" y="16656"/>
                  </a:cubicBezTo>
                  <a:cubicBezTo>
                    <a:pt x="4" y="16675"/>
                    <a:pt x="4" y="16675"/>
                    <a:pt x="4" y="16675"/>
                  </a:cubicBezTo>
                  <a:cubicBezTo>
                    <a:pt x="484" y="17132"/>
                    <a:pt x="484" y="17132"/>
                    <a:pt x="484" y="17132"/>
                  </a:cubicBezTo>
                  <a:cubicBezTo>
                    <a:pt x="484" y="17132"/>
                    <a:pt x="483" y="17133"/>
                    <a:pt x="483" y="17133"/>
                  </a:cubicBezTo>
                  <a:cubicBezTo>
                    <a:pt x="491" y="17139"/>
                    <a:pt x="491" y="17139"/>
                    <a:pt x="491" y="17139"/>
                  </a:cubicBezTo>
                  <a:cubicBezTo>
                    <a:pt x="692" y="17330"/>
                    <a:pt x="692" y="17330"/>
                    <a:pt x="692" y="17330"/>
                  </a:cubicBezTo>
                  <a:cubicBezTo>
                    <a:pt x="925" y="17432"/>
                    <a:pt x="925" y="17432"/>
                    <a:pt x="925" y="17432"/>
                  </a:cubicBezTo>
                  <a:cubicBezTo>
                    <a:pt x="924" y="17436"/>
                    <a:pt x="924" y="17436"/>
                    <a:pt x="924" y="17436"/>
                  </a:cubicBezTo>
                  <a:cubicBezTo>
                    <a:pt x="924" y="17436"/>
                    <a:pt x="924" y="17436"/>
                    <a:pt x="924" y="17436"/>
                  </a:cubicBezTo>
                  <a:cubicBezTo>
                    <a:pt x="924" y="17436"/>
                    <a:pt x="924" y="17436"/>
                    <a:pt x="925" y="17436"/>
                  </a:cubicBezTo>
                  <a:cubicBezTo>
                    <a:pt x="925" y="17436"/>
                    <a:pt x="926" y="17436"/>
                    <a:pt x="926" y="17436"/>
                  </a:cubicBezTo>
                  <a:cubicBezTo>
                    <a:pt x="927" y="17436"/>
                    <a:pt x="928" y="17436"/>
                    <a:pt x="929" y="17435"/>
                  </a:cubicBezTo>
                  <a:cubicBezTo>
                    <a:pt x="930" y="17435"/>
                    <a:pt x="930" y="17435"/>
                    <a:pt x="931" y="17434"/>
                  </a:cubicBezTo>
                  <a:cubicBezTo>
                    <a:pt x="1250" y="17573"/>
                    <a:pt x="1250" y="17573"/>
                    <a:pt x="1250" y="17573"/>
                  </a:cubicBezTo>
                  <a:cubicBezTo>
                    <a:pt x="1251" y="17573"/>
                    <a:pt x="1251" y="17573"/>
                    <a:pt x="1251" y="17573"/>
                  </a:cubicBezTo>
                  <a:cubicBezTo>
                    <a:pt x="1252" y="17574"/>
                    <a:pt x="2310" y="17788"/>
                    <a:pt x="2325" y="17788"/>
                  </a:cubicBezTo>
                  <a:cubicBezTo>
                    <a:pt x="2326" y="17788"/>
                    <a:pt x="2326" y="17788"/>
                    <a:pt x="2326" y="17788"/>
                  </a:cubicBezTo>
                  <a:cubicBezTo>
                    <a:pt x="2329" y="17788"/>
                    <a:pt x="2329" y="17788"/>
                    <a:pt x="2329" y="17788"/>
                  </a:cubicBezTo>
                  <a:cubicBezTo>
                    <a:pt x="2331" y="17786"/>
                    <a:pt x="2331" y="17786"/>
                    <a:pt x="2331" y="17786"/>
                  </a:cubicBezTo>
                  <a:cubicBezTo>
                    <a:pt x="2370" y="17738"/>
                    <a:pt x="2419" y="17707"/>
                    <a:pt x="2458" y="17689"/>
                  </a:cubicBezTo>
                  <a:cubicBezTo>
                    <a:pt x="2498" y="17670"/>
                    <a:pt x="2527" y="17663"/>
                    <a:pt x="2527" y="17663"/>
                  </a:cubicBezTo>
                  <a:cubicBezTo>
                    <a:pt x="2532" y="17662"/>
                    <a:pt x="2532" y="17662"/>
                    <a:pt x="2532" y="17662"/>
                  </a:cubicBezTo>
                  <a:cubicBezTo>
                    <a:pt x="2535" y="17398"/>
                    <a:pt x="2535" y="17398"/>
                    <a:pt x="2535" y="17398"/>
                  </a:cubicBezTo>
                  <a:cubicBezTo>
                    <a:pt x="2582" y="17406"/>
                    <a:pt x="2582" y="17406"/>
                    <a:pt x="2582" y="17406"/>
                  </a:cubicBezTo>
                  <a:cubicBezTo>
                    <a:pt x="2585" y="17555"/>
                    <a:pt x="2589" y="17670"/>
                    <a:pt x="2591" y="17723"/>
                  </a:cubicBezTo>
                  <a:cubicBezTo>
                    <a:pt x="2503" y="17736"/>
                    <a:pt x="2426" y="17781"/>
                    <a:pt x="2371" y="17845"/>
                  </a:cubicBezTo>
                  <a:cubicBezTo>
                    <a:pt x="2325" y="17830"/>
                    <a:pt x="2247" y="17808"/>
                    <a:pt x="2142" y="17786"/>
                  </a:cubicBezTo>
                  <a:cubicBezTo>
                    <a:pt x="1965" y="17750"/>
                    <a:pt x="1792" y="17737"/>
                    <a:pt x="1630" y="17706"/>
                  </a:cubicBezTo>
                  <a:cubicBezTo>
                    <a:pt x="1463" y="17673"/>
                    <a:pt x="1230" y="17597"/>
                    <a:pt x="954" y="17491"/>
                  </a:cubicBezTo>
                  <a:cubicBezTo>
                    <a:pt x="878" y="17463"/>
                    <a:pt x="763" y="17391"/>
                    <a:pt x="639" y="17299"/>
                  </a:cubicBezTo>
                  <a:cubicBezTo>
                    <a:pt x="515" y="17208"/>
                    <a:pt x="380" y="17095"/>
                    <a:pt x="252" y="16984"/>
                  </a:cubicBezTo>
                  <a:cubicBezTo>
                    <a:pt x="164" y="16907"/>
                    <a:pt x="79" y="16830"/>
                    <a:pt x="4" y="16761"/>
                  </a:cubicBezTo>
                  <a:cubicBezTo>
                    <a:pt x="4" y="17052"/>
                    <a:pt x="4" y="17052"/>
                    <a:pt x="4" y="17052"/>
                  </a:cubicBezTo>
                  <a:cubicBezTo>
                    <a:pt x="13" y="17061"/>
                    <a:pt x="21" y="17069"/>
                    <a:pt x="28" y="17076"/>
                  </a:cubicBezTo>
                  <a:cubicBezTo>
                    <a:pt x="89" y="17137"/>
                    <a:pt x="189" y="17250"/>
                    <a:pt x="293" y="17342"/>
                  </a:cubicBezTo>
                  <a:cubicBezTo>
                    <a:pt x="299" y="17371"/>
                    <a:pt x="307" y="17408"/>
                    <a:pt x="314" y="17451"/>
                  </a:cubicBezTo>
                  <a:cubicBezTo>
                    <a:pt x="332" y="17548"/>
                    <a:pt x="352" y="17671"/>
                    <a:pt x="358" y="17769"/>
                  </a:cubicBezTo>
                  <a:cubicBezTo>
                    <a:pt x="363" y="17856"/>
                    <a:pt x="370" y="17932"/>
                    <a:pt x="376" y="18000"/>
                  </a:cubicBezTo>
                  <a:cubicBezTo>
                    <a:pt x="421" y="18000"/>
                    <a:pt x="421" y="18000"/>
                    <a:pt x="421" y="18000"/>
                  </a:cubicBezTo>
                  <a:cubicBezTo>
                    <a:pt x="416" y="17930"/>
                    <a:pt x="408" y="17853"/>
                    <a:pt x="403" y="17767"/>
                  </a:cubicBezTo>
                  <a:cubicBezTo>
                    <a:pt x="395" y="17645"/>
                    <a:pt x="369" y="17493"/>
                    <a:pt x="349" y="17389"/>
                  </a:cubicBezTo>
                  <a:cubicBezTo>
                    <a:pt x="392" y="17425"/>
                    <a:pt x="432" y="17455"/>
                    <a:pt x="467" y="17480"/>
                  </a:cubicBezTo>
                  <a:cubicBezTo>
                    <a:pt x="514" y="17514"/>
                    <a:pt x="551" y="17540"/>
                    <a:pt x="558" y="17546"/>
                  </a:cubicBezTo>
                  <a:cubicBezTo>
                    <a:pt x="598" y="17577"/>
                    <a:pt x="698" y="17646"/>
                    <a:pt x="813" y="17722"/>
                  </a:cubicBezTo>
                  <a:cubicBezTo>
                    <a:pt x="928" y="17798"/>
                    <a:pt x="1053" y="17879"/>
                    <a:pt x="1139" y="17928"/>
                  </a:cubicBezTo>
                  <a:cubicBezTo>
                    <a:pt x="1181" y="17952"/>
                    <a:pt x="1222" y="17977"/>
                    <a:pt x="1262" y="18000"/>
                  </a:cubicBezTo>
                  <a:cubicBezTo>
                    <a:pt x="1623" y="18000"/>
                    <a:pt x="1623" y="18000"/>
                    <a:pt x="1623" y="18000"/>
                  </a:cubicBezTo>
                  <a:cubicBezTo>
                    <a:pt x="1478" y="17959"/>
                    <a:pt x="1371" y="17886"/>
                    <a:pt x="1215" y="17796"/>
                  </a:cubicBezTo>
                  <a:cubicBezTo>
                    <a:pt x="1166" y="17768"/>
                    <a:pt x="1101" y="17727"/>
                    <a:pt x="1032" y="17683"/>
                  </a:cubicBezTo>
                  <a:cubicBezTo>
                    <a:pt x="1255" y="17765"/>
                    <a:pt x="1446" y="17825"/>
                    <a:pt x="1601" y="17855"/>
                  </a:cubicBezTo>
                  <a:cubicBezTo>
                    <a:pt x="1775" y="17889"/>
                    <a:pt x="1947" y="17901"/>
                    <a:pt x="2111" y="17935"/>
                  </a:cubicBezTo>
                  <a:cubicBezTo>
                    <a:pt x="2192" y="17952"/>
                    <a:pt x="2254" y="17969"/>
                    <a:pt x="2297" y="17982"/>
                  </a:cubicBezTo>
                  <a:cubicBezTo>
                    <a:pt x="2295" y="17988"/>
                    <a:pt x="2294" y="17994"/>
                    <a:pt x="2293" y="18000"/>
                  </a:cubicBezTo>
                  <a:cubicBezTo>
                    <a:pt x="2458" y="18000"/>
                    <a:pt x="2458" y="18000"/>
                    <a:pt x="2458" y="18000"/>
                  </a:cubicBezTo>
                  <a:cubicBezTo>
                    <a:pt x="2490" y="17927"/>
                    <a:pt x="2563" y="17876"/>
                    <a:pt x="2648" y="17876"/>
                  </a:cubicBezTo>
                  <a:cubicBezTo>
                    <a:pt x="2733" y="17876"/>
                    <a:pt x="2806" y="17927"/>
                    <a:pt x="2838" y="18000"/>
                  </a:cubicBezTo>
                  <a:cubicBezTo>
                    <a:pt x="3003" y="18000"/>
                    <a:pt x="3003" y="18000"/>
                    <a:pt x="3003" y="18000"/>
                  </a:cubicBezTo>
                  <a:cubicBezTo>
                    <a:pt x="2966" y="17841"/>
                    <a:pt x="2826" y="17722"/>
                    <a:pt x="2656" y="17718"/>
                  </a:cubicBezTo>
                  <a:cubicBezTo>
                    <a:pt x="2655" y="17677"/>
                    <a:pt x="2652" y="17598"/>
                    <a:pt x="2650" y="17495"/>
                  </a:cubicBezTo>
                  <a:cubicBezTo>
                    <a:pt x="2647" y="17388"/>
                    <a:pt x="2644" y="17256"/>
                    <a:pt x="2642" y="17115"/>
                  </a:cubicBezTo>
                  <a:cubicBezTo>
                    <a:pt x="3006" y="17053"/>
                    <a:pt x="3006" y="17053"/>
                    <a:pt x="3006" y="17053"/>
                  </a:cubicBezTo>
                  <a:cubicBezTo>
                    <a:pt x="3061" y="17268"/>
                    <a:pt x="3061" y="17268"/>
                    <a:pt x="3061" y="17268"/>
                  </a:cubicBezTo>
                  <a:cubicBezTo>
                    <a:pt x="3181" y="17520"/>
                    <a:pt x="3181" y="17520"/>
                    <a:pt x="3181" y="17520"/>
                  </a:cubicBezTo>
                  <a:cubicBezTo>
                    <a:pt x="3532" y="17869"/>
                    <a:pt x="3532" y="17869"/>
                    <a:pt x="3532" y="17869"/>
                  </a:cubicBezTo>
                  <a:cubicBezTo>
                    <a:pt x="3532" y="17880"/>
                    <a:pt x="3532" y="17914"/>
                    <a:pt x="3531" y="17951"/>
                  </a:cubicBezTo>
                  <a:cubicBezTo>
                    <a:pt x="3531" y="17968"/>
                    <a:pt x="3531" y="17985"/>
                    <a:pt x="3530" y="18000"/>
                  </a:cubicBezTo>
                  <a:cubicBezTo>
                    <a:pt x="3544" y="18000"/>
                    <a:pt x="3544" y="18000"/>
                    <a:pt x="3544" y="18000"/>
                  </a:cubicBezTo>
                  <a:cubicBezTo>
                    <a:pt x="3544" y="17987"/>
                    <a:pt x="3545" y="17974"/>
                    <a:pt x="3545" y="17960"/>
                  </a:cubicBezTo>
                  <a:cubicBezTo>
                    <a:pt x="3546" y="17913"/>
                    <a:pt x="3546" y="17867"/>
                    <a:pt x="3546" y="17866"/>
                  </a:cubicBezTo>
                  <a:cubicBezTo>
                    <a:pt x="3546" y="17864"/>
                    <a:pt x="3546" y="17864"/>
                    <a:pt x="3546" y="17864"/>
                  </a:cubicBezTo>
                  <a:cubicBezTo>
                    <a:pt x="3209" y="17529"/>
                    <a:pt x="3209" y="17529"/>
                    <a:pt x="3209" y="17529"/>
                  </a:cubicBezTo>
                  <a:cubicBezTo>
                    <a:pt x="3210" y="17529"/>
                    <a:pt x="3211" y="17528"/>
                    <a:pt x="3212" y="17527"/>
                  </a:cubicBezTo>
                  <a:cubicBezTo>
                    <a:pt x="3216" y="17525"/>
                    <a:pt x="3221" y="17521"/>
                    <a:pt x="3228" y="17517"/>
                  </a:cubicBezTo>
                  <a:cubicBezTo>
                    <a:pt x="3243" y="17509"/>
                    <a:pt x="3263" y="17497"/>
                    <a:pt x="3287" y="17484"/>
                  </a:cubicBezTo>
                  <a:cubicBezTo>
                    <a:pt x="3336" y="17456"/>
                    <a:pt x="3400" y="17420"/>
                    <a:pt x="3465" y="17385"/>
                  </a:cubicBezTo>
                  <a:cubicBezTo>
                    <a:pt x="3576" y="17324"/>
                    <a:pt x="3686" y="17264"/>
                    <a:pt x="3716" y="17248"/>
                  </a:cubicBezTo>
                  <a:cubicBezTo>
                    <a:pt x="3809" y="17772"/>
                    <a:pt x="3809" y="17772"/>
                    <a:pt x="3809" y="17772"/>
                  </a:cubicBezTo>
                  <a:cubicBezTo>
                    <a:pt x="4166" y="17812"/>
                    <a:pt x="4166" y="17812"/>
                    <a:pt x="4166" y="17812"/>
                  </a:cubicBezTo>
                  <a:cubicBezTo>
                    <a:pt x="3898" y="17964"/>
                    <a:pt x="3898" y="17964"/>
                    <a:pt x="3898" y="17964"/>
                  </a:cubicBezTo>
                  <a:cubicBezTo>
                    <a:pt x="3882" y="18000"/>
                    <a:pt x="3882" y="18000"/>
                    <a:pt x="3882" y="18000"/>
                  </a:cubicBezTo>
                  <a:cubicBezTo>
                    <a:pt x="3898" y="18000"/>
                    <a:pt x="3898" y="18000"/>
                    <a:pt x="3898" y="18000"/>
                  </a:cubicBezTo>
                  <a:cubicBezTo>
                    <a:pt x="3909" y="17974"/>
                    <a:pt x="3909" y="17974"/>
                    <a:pt x="3909" y="17974"/>
                  </a:cubicBezTo>
                  <a:cubicBezTo>
                    <a:pt x="4190" y="17815"/>
                    <a:pt x="4190" y="17815"/>
                    <a:pt x="4190" y="17815"/>
                  </a:cubicBezTo>
                  <a:cubicBezTo>
                    <a:pt x="4283" y="17825"/>
                    <a:pt x="4283" y="17825"/>
                    <a:pt x="4283" y="17825"/>
                  </a:cubicBezTo>
                  <a:cubicBezTo>
                    <a:pt x="4266" y="18000"/>
                    <a:pt x="4266" y="18000"/>
                    <a:pt x="4266" y="18000"/>
                  </a:cubicBezTo>
                  <a:cubicBezTo>
                    <a:pt x="4311" y="18000"/>
                    <a:pt x="4311" y="18000"/>
                    <a:pt x="4311" y="18000"/>
                  </a:cubicBezTo>
                  <a:cubicBezTo>
                    <a:pt x="4332" y="17785"/>
                    <a:pt x="4332" y="17785"/>
                    <a:pt x="4332" y="17785"/>
                  </a:cubicBezTo>
                  <a:cubicBezTo>
                    <a:pt x="4184" y="17769"/>
                    <a:pt x="4184" y="17769"/>
                    <a:pt x="4184" y="17769"/>
                  </a:cubicBezTo>
                  <a:cubicBezTo>
                    <a:pt x="4195" y="17743"/>
                    <a:pt x="4237" y="17651"/>
                    <a:pt x="4260" y="17596"/>
                  </a:cubicBezTo>
                  <a:cubicBezTo>
                    <a:pt x="4268" y="17577"/>
                    <a:pt x="4274" y="17565"/>
                    <a:pt x="4275" y="17557"/>
                  </a:cubicBezTo>
                  <a:cubicBezTo>
                    <a:pt x="4277" y="17556"/>
                    <a:pt x="4279" y="17556"/>
                    <a:pt x="4281" y="17555"/>
                  </a:cubicBezTo>
                  <a:cubicBezTo>
                    <a:pt x="4288" y="17552"/>
                    <a:pt x="4297" y="17549"/>
                    <a:pt x="4308" y="17545"/>
                  </a:cubicBezTo>
                  <a:cubicBezTo>
                    <a:pt x="4331" y="17537"/>
                    <a:pt x="4361" y="17527"/>
                    <a:pt x="4392" y="17517"/>
                  </a:cubicBezTo>
                  <a:cubicBezTo>
                    <a:pt x="4442" y="17500"/>
                    <a:pt x="4492" y="17484"/>
                    <a:pt x="4508" y="17479"/>
                  </a:cubicBezTo>
                  <a:cubicBezTo>
                    <a:pt x="4710" y="17767"/>
                    <a:pt x="4710" y="17767"/>
                    <a:pt x="4710" y="17767"/>
                  </a:cubicBezTo>
                  <a:cubicBezTo>
                    <a:pt x="4636" y="18000"/>
                    <a:pt x="4636" y="18000"/>
                    <a:pt x="4636" y="18000"/>
                  </a:cubicBezTo>
                  <a:cubicBezTo>
                    <a:pt x="4650" y="18000"/>
                    <a:pt x="4650" y="18000"/>
                    <a:pt x="4650" y="18000"/>
                  </a:cubicBezTo>
                  <a:cubicBezTo>
                    <a:pt x="4723" y="17772"/>
                    <a:pt x="4723" y="17772"/>
                    <a:pt x="4723" y="17772"/>
                  </a:cubicBezTo>
                  <a:cubicBezTo>
                    <a:pt x="5035" y="17736"/>
                    <a:pt x="5035" y="17736"/>
                    <a:pt x="5035" y="17736"/>
                  </a:cubicBezTo>
                  <a:cubicBezTo>
                    <a:pt x="5035" y="17823"/>
                    <a:pt x="5034" y="17913"/>
                    <a:pt x="5033" y="18000"/>
                  </a:cubicBezTo>
                  <a:cubicBezTo>
                    <a:pt x="5098" y="18000"/>
                    <a:pt x="5098" y="18000"/>
                    <a:pt x="5098" y="18000"/>
                  </a:cubicBezTo>
                  <a:cubicBezTo>
                    <a:pt x="5100" y="17912"/>
                    <a:pt x="5101" y="17820"/>
                    <a:pt x="5101" y="17732"/>
                  </a:cubicBezTo>
                  <a:cubicBezTo>
                    <a:pt x="5101" y="17632"/>
                    <a:pt x="5100" y="17536"/>
                    <a:pt x="5096" y="17458"/>
                  </a:cubicBezTo>
                  <a:cubicBezTo>
                    <a:pt x="5094" y="17423"/>
                    <a:pt x="5092" y="17392"/>
                    <a:pt x="5089" y="17365"/>
                  </a:cubicBezTo>
                  <a:cubicBezTo>
                    <a:pt x="5134" y="17372"/>
                    <a:pt x="5223" y="17387"/>
                    <a:pt x="5322" y="17403"/>
                  </a:cubicBezTo>
                  <a:cubicBezTo>
                    <a:pt x="5463" y="17426"/>
                    <a:pt x="5624" y="17454"/>
                    <a:pt x="5703" y="17470"/>
                  </a:cubicBezTo>
                  <a:cubicBezTo>
                    <a:pt x="5861" y="17503"/>
                    <a:pt x="6069" y="17555"/>
                    <a:pt x="6178" y="17584"/>
                  </a:cubicBezTo>
                  <a:cubicBezTo>
                    <a:pt x="6283" y="17611"/>
                    <a:pt x="6374" y="17667"/>
                    <a:pt x="6755" y="17703"/>
                  </a:cubicBezTo>
                  <a:cubicBezTo>
                    <a:pt x="6762" y="17704"/>
                    <a:pt x="6770" y="17705"/>
                    <a:pt x="6777" y="17706"/>
                  </a:cubicBezTo>
                  <a:cubicBezTo>
                    <a:pt x="6777" y="17708"/>
                    <a:pt x="6777" y="17709"/>
                    <a:pt x="6776" y="17711"/>
                  </a:cubicBezTo>
                  <a:cubicBezTo>
                    <a:pt x="6772" y="17732"/>
                    <a:pt x="6767" y="17762"/>
                    <a:pt x="6761" y="17798"/>
                  </a:cubicBezTo>
                  <a:cubicBezTo>
                    <a:pt x="6752" y="17854"/>
                    <a:pt x="6740" y="17926"/>
                    <a:pt x="6727" y="18000"/>
                  </a:cubicBezTo>
                  <a:cubicBezTo>
                    <a:pt x="6794" y="18000"/>
                    <a:pt x="6794" y="18000"/>
                    <a:pt x="6794" y="18000"/>
                  </a:cubicBezTo>
                  <a:cubicBezTo>
                    <a:pt x="6804" y="17936"/>
                    <a:pt x="6815" y="17875"/>
                    <a:pt x="6823" y="17824"/>
                  </a:cubicBezTo>
                  <a:cubicBezTo>
                    <a:pt x="6831" y="17777"/>
                    <a:pt x="6838" y="17739"/>
                    <a:pt x="6842" y="17715"/>
                  </a:cubicBezTo>
                  <a:cubicBezTo>
                    <a:pt x="7099" y="17759"/>
                    <a:pt x="7386" y="17883"/>
                    <a:pt x="7520" y="17946"/>
                  </a:cubicBezTo>
                  <a:cubicBezTo>
                    <a:pt x="7566" y="17968"/>
                    <a:pt x="7595" y="17983"/>
                    <a:pt x="7599" y="17985"/>
                  </a:cubicBezTo>
                  <a:cubicBezTo>
                    <a:pt x="7605" y="17989"/>
                    <a:pt x="7605" y="17989"/>
                    <a:pt x="7605" y="17989"/>
                  </a:cubicBezTo>
                  <a:cubicBezTo>
                    <a:pt x="7599" y="18000"/>
                    <a:pt x="7599" y="18000"/>
                    <a:pt x="7599" y="18000"/>
                  </a:cubicBezTo>
                  <a:cubicBezTo>
                    <a:pt x="7753" y="18000"/>
                    <a:pt x="7753" y="18000"/>
                    <a:pt x="7753" y="18000"/>
                  </a:cubicBezTo>
                  <a:cubicBezTo>
                    <a:pt x="7694" y="17965"/>
                    <a:pt x="7694" y="17965"/>
                    <a:pt x="7694" y="17965"/>
                  </a:cubicBezTo>
                  <a:cubicBezTo>
                    <a:pt x="8586" y="16345"/>
                    <a:pt x="8586" y="16345"/>
                    <a:pt x="8586" y="16345"/>
                  </a:cubicBezTo>
                  <a:cubicBezTo>
                    <a:pt x="8629" y="16371"/>
                    <a:pt x="8712" y="16421"/>
                    <a:pt x="8806" y="16474"/>
                  </a:cubicBezTo>
                  <a:cubicBezTo>
                    <a:pt x="8940" y="16551"/>
                    <a:pt x="9092" y="16633"/>
                    <a:pt x="9177" y="16657"/>
                  </a:cubicBezTo>
                  <a:cubicBezTo>
                    <a:pt x="9333" y="16703"/>
                    <a:pt x="9520" y="16744"/>
                    <a:pt x="9663" y="16803"/>
                  </a:cubicBezTo>
                  <a:cubicBezTo>
                    <a:pt x="9700" y="16819"/>
                    <a:pt x="9746" y="16843"/>
                    <a:pt x="9794" y="16872"/>
                  </a:cubicBezTo>
                  <a:cubicBezTo>
                    <a:pt x="9794" y="16872"/>
                    <a:pt x="9794" y="16872"/>
                    <a:pt x="9794" y="16873"/>
                  </a:cubicBezTo>
                  <a:cubicBezTo>
                    <a:pt x="9786" y="16885"/>
                    <a:pt x="9775" y="16903"/>
                    <a:pt x="9761" y="16926"/>
                  </a:cubicBezTo>
                  <a:cubicBezTo>
                    <a:pt x="9733" y="16971"/>
                    <a:pt x="9694" y="17034"/>
                    <a:pt x="9650" y="17105"/>
                  </a:cubicBezTo>
                  <a:cubicBezTo>
                    <a:pt x="9560" y="17246"/>
                    <a:pt x="9448" y="17419"/>
                    <a:pt x="9352" y="17545"/>
                  </a:cubicBezTo>
                  <a:cubicBezTo>
                    <a:pt x="9187" y="17761"/>
                    <a:pt x="9169" y="17883"/>
                    <a:pt x="9169" y="17925"/>
                  </a:cubicBezTo>
                  <a:cubicBezTo>
                    <a:pt x="9169" y="17932"/>
                    <a:pt x="9169" y="17936"/>
                    <a:pt x="9170" y="17939"/>
                  </a:cubicBezTo>
                  <a:cubicBezTo>
                    <a:pt x="9173" y="18000"/>
                    <a:pt x="9173" y="18000"/>
                    <a:pt x="9173" y="18000"/>
                  </a:cubicBezTo>
                  <a:cubicBezTo>
                    <a:pt x="9239" y="18000"/>
                    <a:pt x="9239" y="18000"/>
                    <a:pt x="9239" y="18000"/>
                  </a:cubicBezTo>
                  <a:cubicBezTo>
                    <a:pt x="9235" y="17932"/>
                    <a:pt x="9235" y="17932"/>
                    <a:pt x="9235" y="17932"/>
                  </a:cubicBezTo>
                  <a:cubicBezTo>
                    <a:pt x="9235" y="17930"/>
                    <a:pt x="9235" y="17930"/>
                    <a:pt x="9235" y="17930"/>
                  </a:cubicBezTo>
                  <a:cubicBezTo>
                    <a:pt x="9235" y="17930"/>
                    <a:pt x="9235" y="17930"/>
                    <a:pt x="9235" y="17930"/>
                  </a:cubicBezTo>
                  <a:cubicBezTo>
                    <a:pt x="9235" y="17930"/>
                    <a:pt x="9234" y="17928"/>
                    <a:pt x="9234" y="17925"/>
                  </a:cubicBezTo>
                  <a:cubicBezTo>
                    <a:pt x="9234" y="17902"/>
                    <a:pt x="9245" y="17793"/>
                    <a:pt x="9404" y="17584"/>
                  </a:cubicBezTo>
                  <a:cubicBezTo>
                    <a:pt x="9545" y="17399"/>
                    <a:pt x="9719" y="17119"/>
                    <a:pt x="9806" y="16977"/>
                  </a:cubicBezTo>
                  <a:cubicBezTo>
                    <a:pt x="9825" y="16947"/>
                    <a:pt x="9840" y="16922"/>
                    <a:pt x="9850" y="16907"/>
                  </a:cubicBezTo>
                  <a:cubicBezTo>
                    <a:pt x="9873" y="16922"/>
                    <a:pt x="9896" y="16938"/>
                    <a:pt x="9918" y="16953"/>
                  </a:cubicBezTo>
                  <a:cubicBezTo>
                    <a:pt x="10004" y="17013"/>
                    <a:pt x="10080" y="17077"/>
                    <a:pt x="10098" y="17103"/>
                  </a:cubicBezTo>
                  <a:cubicBezTo>
                    <a:pt x="10105" y="17110"/>
                    <a:pt x="10123" y="17152"/>
                    <a:pt x="10140" y="17207"/>
                  </a:cubicBezTo>
                  <a:cubicBezTo>
                    <a:pt x="10158" y="17262"/>
                    <a:pt x="10178" y="17334"/>
                    <a:pt x="10199" y="17413"/>
                  </a:cubicBezTo>
                  <a:cubicBezTo>
                    <a:pt x="10241" y="17571"/>
                    <a:pt x="10284" y="17758"/>
                    <a:pt x="10317" y="17902"/>
                  </a:cubicBezTo>
                  <a:cubicBezTo>
                    <a:pt x="10325" y="17938"/>
                    <a:pt x="10328" y="17970"/>
                    <a:pt x="10329" y="18000"/>
                  </a:cubicBezTo>
                  <a:cubicBezTo>
                    <a:pt x="10395" y="18000"/>
                    <a:pt x="10395" y="18000"/>
                    <a:pt x="10395" y="18000"/>
                  </a:cubicBezTo>
                  <a:cubicBezTo>
                    <a:pt x="10394" y="17965"/>
                    <a:pt x="10390" y="17928"/>
                    <a:pt x="10381" y="17888"/>
                  </a:cubicBezTo>
                  <a:cubicBezTo>
                    <a:pt x="10332" y="17670"/>
                    <a:pt x="10258" y="17359"/>
                    <a:pt x="10202" y="17187"/>
                  </a:cubicBezTo>
                  <a:cubicBezTo>
                    <a:pt x="10195" y="17163"/>
                    <a:pt x="10188" y="17143"/>
                    <a:pt x="10181" y="17126"/>
                  </a:cubicBezTo>
                  <a:cubicBezTo>
                    <a:pt x="10207" y="17105"/>
                    <a:pt x="10267" y="17058"/>
                    <a:pt x="10349" y="16994"/>
                  </a:cubicBezTo>
                  <a:cubicBezTo>
                    <a:pt x="10380" y="16970"/>
                    <a:pt x="10414" y="16943"/>
                    <a:pt x="10451" y="16914"/>
                  </a:cubicBezTo>
                  <a:cubicBezTo>
                    <a:pt x="10840" y="17257"/>
                    <a:pt x="10840" y="17257"/>
                    <a:pt x="10840" y="17257"/>
                  </a:cubicBezTo>
                  <a:cubicBezTo>
                    <a:pt x="11491" y="17109"/>
                    <a:pt x="11491" y="17109"/>
                    <a:pt x="11491" y="17109"/>
                  </a:cubicBezTo>
                  <a:cubicBezTo>
                    <a:pt x="11495" y="17197"/>
                    <a:pt x="11503" y="17306"/>
                    <a:pt x="11519" y="17422"/>
                  </a:cubicBezTo>
                  <a:cubicBezTo>
                    <a:pt x="11539" y="17575"/>
                    <a:pt x="11570" y="17737"/>
                    <a:pt x="11622" y="17837"/>
                  </a:cubicBezTo>
                  <a:cubicBezTo>
                    <a:pt x="11660" y="17911"/>
                    <a:pt x="11693" y="17963"/>
                    <a:pt x="11720" y="18000"/>
                  </a:cubicBezTo>
                  <a:cubicBezTo>
                    <a:pt x="11853" y="18000"/>
                    <a:pt x="11853" y="18000"/>
                    <a:pt x="11853" y="18000"/>
                  </a:cubicBezTo>
                  <a:cubicBezTo>
                    <a:pt x="12138" y="17591"/>
                    <a:pt x="12138" y="17591"/>
                    <a:pt x="12138" y="17591"/>
                  </a:cubicBezTo>
                  <a:cubicBezTo>
                    <a:pt x="12867" y="18000"/>
                    <a:pt x="12867" y="18000"/>
                    <a:pt x="12867" y="18000"/>
                  </a:cubicBezTo>
                  <a:cubicBezTo>
                    <a:pt x="13002" y="18000"/>
                    <a:pt x="13002" y="18000"/>
                    <a:pt x="13002" y="18000"/>
                  </a:cubicBezTo>
                  <a:cubicBezTo>
                    <a:pt x="12157" y="17527"/>
                    <a:pt x="12157" y="17527"/>
                    <a:pt x="12157" y="17527"/>
                  </a:cubicBezTo>
                  <a:cubicBezTo>
                    <a:pt x="12166" y="17523"/>
                    <a:pt x="12166" y="17523"/>
                    <a:pt x="12166" y="17523"/>
                  </a:cubicBezTo>
                  <a:cubicBezTo>
                    <a:pt x="11827" y="16731"/>
                    <a:pt x="11827" y="16731"/>
                    <a:pt x="11827" y="16731"/>
                  </a:cubicBezTo>
                  <a:cubicBezTo>
                    <a:pt x="11894" y="16705"/>
                    <a:pt x="12243" y="16572"/>
                    <a:pt x="12358" y="16514"/>
                  </a:cubicBezTo>
                  <a:cubicBezTo>
                    <a:pt x="12415" y="16486"/>
                    <a:pt x="12454" y="16467"/>
                    <a:pt x="12483" y="16434"/>
                  </a:cubicBezTo>
                  <a:cubicBezTo>
                    <a:pt x="12513" y="16400"/>
                    <a:pt x="12521" y="16356"/>
                    <a:pt x="12521" y="16297"/>
                  </a:cubicBezTo>
                  <a:cubicBezTo>
                    <a:pt x="12521" y="16288"/>
                    <a:pt x="12521" y="16279"/>
                    <a:pt x="12520" y="16270"/>
                  </a:cubicBezTo>
                  <a:cubicBezTo>
                    <a:pt x="12520" y="16267"/>
                    <a:pt x="12520" y="16266"/>
                    <a:pt x="12520" y="16264"/>
                  </a:cubicBezTo>
                  <a:cubicBezTo>
                    <a:pt x="12521" y="16216"/>
                    <a:pt x="12541" y="16187"/>
                    <a:pt x="12566" y="16166"/>
                  </a:cubicBezTo>
                  <a:cubicBezTo>
                    <a:pt x="12590" y="16146"/>
                    <a:pt x="12620" y="16136"/>
                    <a:pt x="12631" y="16133"/>
                  </a:cubicBezTo>
                  <a:cubicBezTo>
                    <a:pt x="12631" y="16132"/>
                    <a:pt x="12632" y="16132"/>
                    <a:pt x="12632" y="16132"/>
                  </a:cubicBezTo>
                  <a:cubicBezTo>
                    <a:pt x="13635" y="16099"/>
                    <a:pt x="13635" y="16099"/>
                    <a:pt x="13635" y="16099"/>
                  </a:cubicBezTo>
                  <a:cubicBezTo>
                    <a:pt x="13637" y="16116"/>
                    <a:pt x="13638" y="16135"/>
                    <a:pt x="13640" y="16157"/>
                  </a:cubicBezTo>
                  <a:cubicBezTo>
                    <a:pt x="13646" y="16225"/>
                    <a:pt x="13654" y="16318"/>
                    <a:pt x="13664" y="16426"/>
                  </a:cubicBezTo>
                  <a:cubicBezTo>
                    <a:pt x="13683" y="16642"/>
                    <a:pt x="13709" y="16923"/>
                    <a:pt x="13735" y="17201"/>
                  </a:cubicBezTo>
                  <a:cubicBezTo>
                    <a:pt x="13763" y="17497"/>
                    <a:pt x="13790" y="17791"/>
                    <a:pt x="13810" y="18000"/>
                  </a:cubicBezTo>
                  <a:cubicBezTo>
                    <a:pt x="13963" y="18000"/>
                    <a:pt x="13963" y="18000"/>
                    <a:pt x="13963" y="18000"/>
                  </a:cubicBezTo>
                  <a:cubicBezTo>
                    <a:pt x="13963" y="17994"/>
                    <a:pt x="13962" y="17989"/>
                    <a:pt x="13962" y="17983"/>
                  </a:cubicBezTo>
                  <a:cubicBezTo>
                    <a:pt x="13944" y="17798"/>
                    <a:pt x="13921" y="17549"/>
                    <a:pt x="13897" y="17290"/>
                  </a:cubicBezTo>
                  <a:cubicBezTo>
                    <a:pt x="13864" y="16943"/>
                    <a:pt x="13830" y="16577"/>
                    <a:pt x="13808" y="16329"/>
                  </a:cubicBezTo>
                  <a:cubicBezTo>
                    <a:pt x="13863" y="16328"/>
                    <a:pt x="14010" y="16325"/>
                    <a:pt x="14210" y="16322"/>
                  </a:cubicBezTo>
                  <a:cubicBezTo>
                    <a:pt x="14297" y="16321"/>
                    <a:pt x="14395" y="16319"/>
                    <a:pt x="14498" y="16318"/>
                  </a:cubicBezTo>
                  <a:cubicBezTo>
                    <a:pt x="14534" y="16468"/>
                    <a:pt x="14673" y="17049"/>
                    <a:pt x="14801" y="17530"/>
                  </a:cubicBezTo>
                  <a:cubicBezTo>
                    <a:pt x="14836" y="17663"/>
                    <a:pt x="14882" y="17832"/>
                    <a:pt x="14928" y="18000"/>
                  </a:cubicBezTo>
                  <a:cubicBezTo>
                    <a:pt x="14996" y="18000"/>
                    <a:pt x="14996" y="18000"/>
                    <a:pt x="14996" y="18000"/>
                  </a:cubicBezTo>
                  <a:cubicBezTo>
                    <a:pt x="14948" y="17826"/>
                    <a:pt x="14900" y="17650"/>
                    <a:pt x="14864" y="17514"/>
                  </a:cubicBezTo>
                  <a:cubicBezTo>
                    <a:pt x="14790" y="17236"/>
                    <a:pt x="14713" y="16923"/>
                    <a:pt x="14653" y="16681"/>
                  </a:cubicBezTo>
                  <a:cubicBezTo>
                    <a:pt x="14613" y="16517"/>
                    <a:pt x="14582" y="16385"/>
                    <a:pt x="14566" y="16317"/>
                  </a:cubicBezTo>
                  <a:cubicBezTo>
                    <a:pt x="14752" y="16314"/>
                    <a:pt x="14956" y="16311"/>
                    <a:pt x="15163" y="16308"/>
                  </a:cubicBezTo>
                  <a:cubicBezTo>
                    <a:pt x="15864" y="16297"/>
                    <a:pt x="16588" y="16286"/>
                    <a:pt x="16677" y="16286"/>
                  </a:cubicBezTo>
                  <a:cubicBezTo>
                    <a:pt x="16678" y="16286"/>
                    <a:pt x="16680" y="16286"/>
                    <a:pt x="16681" y="16286"/>
                  </a:cubicBezTo>
                  <a:cubicBezTo>
                    <a:pt x="16681" y="16286"/>
                    <a:pt x="16681" y="16286"/>
                    <a:pt x="16681" y="16286"/>
                  </a:cubicBezTo>
                  <a:cubicBezTo>
                    <a:pt x="16684" y="16287"/>
                    <a:pt x="16684" y="16287"/>
                    <a:pt x="16685" y="16287"/>
                  </a:cubicBezTo>
                  <a:cubicBezTo>
                    <a:pt x="16687" y="16287"/>
                    <a:pt x="16688" y="16287"/>
                    <a:pt x="16689" y="16287"/>
                  </a:cubicBezTo>
                  <a:cubicBezTo>
                    <a:pt x="16693" y="16287"/>
                    <a:pt x="16699" y="16287"/>
                    <a:pt x="16708" y="16287"/>
                  </a:cubicBezTo>
                  <a:cubicBezTo>
                    <a:pt x="16794" y="16286"/>
                    <a:pt x="17136" y="16296"/>
                    <a:pt x="17465" y="16519"/>
                  </a:cubicBezTo>
                  <a:cubicBezTo>
                    <a:pt x="17679" y="16665"/>
                    <a:pt x="17847" y="16797"/>
                    <a:pt x="18008" y="16921"/>
                  </a:cubicBezTo>
                  <a:cubicBezTo>
                    <a:pt x="18008" y="16838"/>
                    <a:pt x="18008" y="16838"/>
                    <a:pt x="18008" y="16838"/>
                  </a:cubicBezTo>
                  <a:cubicBezTo>
                    <a:pt x="17860" y="16724"/>
                    <a:pt x="17701" y="16600"/>
                    <a:pt x="17502" y="16465"/>
                  </a:cubicBezTo>
                  <a:cubicBezTo>
                    <a:pt x="17375" y="16379"/>
                    <a:pt x="17247" y="16324"/>
                    <a:pt x="17131" y="16288"/>
                  </a:cubicBezTo>
                  <a:cubicBezTo>
                    <a:pt x="17178" y="16204"/>
                    <a:pt x="17319" y="15925"/>
                    <a:pt x="17319" y="15543"/>
                  </a:cubicBezTo>
                  <a:cubicBezTo>
                    <a:pt x="17319" y="15401"/>
                    <a:pt x="17299" y="15244"/>
                    <a:pt x="17247" y="15079"/>
                  </a:cubicBezTo>
                  <a:cubicBezTo>
                    <a:pt x="17238" y="15032"/>
                    <a:pt x="17089" y="14301"/>
                    <a:pt x="16509" y="13729"/>
                  </a:cubicBezTo>
                  <a:cubicBezTo>
                    <a:pt x="16143" y="13368"/>
                    <a:pt x="15690" y="13226"/>
                    <a:pt x="15490" y="13176"/>
                  </a:cubicBezTo>
                  <a:cubicBezTo>
                    <a:pt x="15541" y="12904"/>
                    <a:pt x="15694" y="12588"/>
                    <a:pt x="16224" y="12441"/>
                  </a:cubicBezTo>
                  <a:cubicBezTo>
                    <a:pt x="16628" y="12329"/>
                    <a:pt x="17136" y="12299"/>
                    <a:pt x="17397" y="12283"/>
                  </a:cubicBezTo>
                  <a:cubicBezTo>
                    <a:pt x="17485" y="12277"/>
                    <a:pt x="17542" y="12274"/>
                    <a:pt x="17570" y="12268"/>
                  </a:cubicBezTo>
                  <a:cubicBezTo>
                    <a:pt x="17623" y="12254"/>
                    <a:pt x="17799" y="12201"/>
                    <a:pt x="18008" y="12086"/>
                  </a:cubicBezTo>
                  <a:cubicBezTo>
                    <a:pt x="18008" y="12011"/>
                    <a:pt x="18008" y="12011"/>
                    <a:pt x="18008" y="12011"/>
                  </a:cubicBezTo>
                  <a:cubicBezTo>
                    <a:pt x="17792" y="12134"/>
                    <a:pt x="17605" y="12192"/>
                    <a:pt x="17554" y="12204"/>
                  </a:cubicBezTo>
                  <a:cubicBezTo>
                    <a:pt x="17542" y="12208"/>
                    <a:pt x="17479" y="12212"/>
                    <a:pt x="17393" y="12217"/>
                  </a:cubicBezTo>
                  <a:cubicBezTo>
                    <a:pt x="17306" y="12223"/>
                    <a:pt x="17191" y="12230"/>
                    <a:pt x="17061" y="12241"/>
                  </a:cubicBezTo>
                  <a:cubicBezTo>
                    <a:pt x="16801" y="12263"/>
                    <a:pt x="16483" y="12301"/>
                    <a:pt x="16206" y="12378"/>
                  </a:cubicBezTo>
                  <a:cubicBezTo>
                    <a:pt x="15656" y="12528"/>
                    <a:pt x="15478" y="12874"/>
                    <a:pt x="15426" y="13161"/>
                  </a:cubicBezTo>
                  <a:cubicBezTo>
                    <a:pt x="15414" y="13158"/>
                    <a:pt x="15404" y="13156"/>
                    <a:pt x="15398" y="13155"/>
                  </a:cubicBezTo>
                  <a:cubicBezTo>
                    <a:pt x="14203" y="12920"/>
                    <a:pt x="14203" y="12920"/>
                    <a:pt x="14203" y="12920"/>
                  </a:cubicBezTo>
                  <a:cubicBezTo>
                    <a:pt x="14228" y="12765"/>
                    <a:pt x="14252" y="12623"/>
                    <a:pt x="14272" y="12501"/>
                  </a:cubicBezTo>
                  <a:cubicBezTo>
                    <a:pt x="14303" y="12315"/>
                    <a:pt x="14325" y="12179"/>
                    <a:pt x="14335" y="12120"/>
                  </a:cubicBezTo>
                  <a:cubicBezTo>
                    <a:pt x="14393" y="12078"/>
                    <a:pt x="14533" y="11969"/>
                    <a:pt x="14637" y="11826"/>
                  </a:cubicBezTo>
                  <a:cubicBezTo>
                    <a:pt x="14751" y="11669"/>
                    <a:pt x="14820" y="11492"/>
                    <a:pt x="14837" y="11446"/>
                  </a:cubicBezTo>
                  <a:cubicBezTo>
                    <a:pt x="15135" y="11037"/>
                    <a:pt x="15135" y="11037"/>
                    <a:pt x="15135" y="11037"/>
                  </a:cubicBezTo>
                  <a:cubicBezTo>
                    <a:pt x="15328" y="11082"/>
                    <a:pt x="15766" y="11182"/>
                    <a:pt x="16044" y="11239"/>
                  </a:cubicBezTo>
                  <a:cubicBezTo>
                    <a:pt x="16220" y="11275"/>
                    <a:pt x="16763" y="11412"/>
                    <a:pt x="17258" y="11540"/>
                  </a:cubicBezTo>
                  <a:cubicBezTo>
                    <a:pt x="17552" y="11616"/>
                    <a:pt x="17830" y="11689"/>
                    <a:pt x="18008" y="11736"/>
                  </a:cubicBezTo>
                  <a:cubicBezTo>
                    <a:pt x="18008" y="11578"/>
                    <a:pt x="18008" y="11578"/>
                    <a:pt x="18008" y="11578"/>
                  </a:cubicBezTo>
                  <a:cubicBezTo>
                    <a:pt x="17830" y="11531"/>
                    <a:pt x="17570" y="11464"/>
                    <a:pt x="17296" y="11393"/>
                  </a:cubicBezTo>
                  <a:cubicBezTo>
                    <a:pt x="16799" y="11264"/>
                    <a:pt x="16259" y="11127"/>
                    <a:pt x="16074" y="11090"/>
                  </a:cubicBezTo>
                  <a:cubicBezTo>
                    <a:pt x="15894" y="11053"/>
                    <a:pt x="15643" y="10997"/>
                    <a:pt x="15438" y="10950"/>
                  </a:cubicBezTo>
                  <a:cubicBezTo>
                    <a:pt x="15262" y="10910"/>
                    <a:pt x="15120" y="10877"/>
                    <a:pt x="15082" y="10868"/>
                  </a:cubicBezTo>
                  <a:cubicBezTo>
                    <a:pt x="15080" y="10867"/>
                    <a:pt x="15076" y="10864"/>
                    <a:pt x="15072" y="10862"/>
                  </a:cubicBezTo>
                  <a:cubicBezTo>
                    <a:pt x="15058" y="10852"/>
                    <a:pt x="15036" y="10835"/>
                    <a:pt x="15004" y="10807"/>
                  </a:cubicBezTo>
                  <a:cubicBezTo>
                    <a:pt x="15000" y="10803"/>
                    <a:pt x="14986" y="10789"/>
                    <a:pt x="14970" y="10770"/>
                  </a:cubicBezTo>
                  <a:cubicBezTo>
                    <a:pt x="14953" y="10752"/>
                    <a:pt x="14931" y="10728"/>
                    <a:pt x="14908" y="10700"/>
                  </a:cubicBezTo>
                  <a:cubicBezTo>
                    <a:pt x="14860" y="10646"/>
                    <a:pt x="14803" y="10579"/>
                    <a:pt x="14748" y="10513"/>
                  </a:cubicBezTo>
                  <a:cubicBezTo>
                    <a:pt x="14651" y="10398"/>
                    <a:pt x="14561" y="10290"/>
                    <a:pt x="14540" y="10264"/>
                  </a:cubicBezTo>
                  <a:cubicBezTo>
                    <a:pt x="14520" y="10226"/>
                    <a:pt x="14438" y="10082"/>
                    <a:pt x="14287" y="9985"/>
                  </a:cubicBezTo>
                  <a:cubicBezTo>
                    <a:pt x="14201" y="9930"/>
                    <a:pt x="14106" y="9901"/>
                    <a:pt x="14020" y="9880"/>
                  </a:cubicBezTo>
                  <a:cubicBezTo>
                    <a:pt x="13935" y="9858"/>
                    <a:pt x="13856" y="9844"/>
                    <a:pt x="13807" y="9827"/>
                  </a:cubicBezTo>
                  <a:cubicBezTo>
                    <a:pt x="13763" y="9813"/>
                    <a:pt x="13683" y="9766"/>
                    <a:pt x="13612" y="9710"/>
                  </a:cubicBezTo>
                  <a:cubicBezTo>
                    <a:pt x="13553" y="9665"/>
                    <a:pt x="13499" y="9611"/>
                    <a:pt x="13470" y="9569"/>
                  </a:cubicBezTo>
                  <a:cubicBezTo>
                    <a:pt x="13472" y="9557"/>
                    <a:pt x="13475" y="9543"/>
                    <a:pt x="13478" y="9527"/>
                  </a:cubicBezTo>
                  <a:cubicBezTo>
                    <a:pt x="13484" y="9484"/>
                    <a:pt x="13490" y="9427"/>
                    <a:pt x="13490" y="9366"/>
                  </a:cubicBezTo>
                  <a:cubicBezTo>
                    <a:pt x="13490" y="9335"/>
                    <a:pt x="13489" y="9302"/>
                    <a:pt x="13484" y="9270"/>
                  </a:cubicBezTo>
                  <a:cubicBezTo>
                    <a:pt x="13602" y="9241"/>
                    <a:pt x="13862" y="9178"/>
                    <a:pt x="14026" y="9139"/>
                  </a:cubicBezTo>
                  <a:cubicBezTo>
                    <a:pt x="14094" y="9123"/>
                    <a:pt x="14148" y="9111"/>
                    <a:pt x="14160" y="9108"/>
                  </a:cubicBezTo>
                  <a:cubicBezTo>
                    <a:pt x="14166" y="9108"/>
                    <a:pt x="14168" y="9107"/>
                    <a:pt x="14172" y="9106"/>
                  </a:cubicBezTo>
                  <a:cubicBezTo>
                    <a:pt x="14176" y="9105"/>
                    <a:pt x="14180" y="9104"/>
                    <a:pt x="14185" y="9103"/>
                  </a:cubicBezTo>
                  <a:cubicBezTo>
                    <a:pt x="14194" y="9101"/>
                    <a:pt x="14206" y="9098"/>
                    <a:pt x="14219" y="9094"/>
                  </a:cubicBezTo>
                  <a:cubicBezTo>
                    <a:pt x="14247" y="9086"/>
                    <a:pt x="14284" y="9074"/>
                    <a:pt x="14328" y="9060"/>
                  </a:cubicBezTo>
                  <a:cubicBezTo>
                    <a:pt x="14416" y="9032"/>
                    <a:pt x="14533" y="8992"/>
                    <a:pt x="14656" y="8947"/>
                  </a:cubicBezTo>
                  <a:cubicBezTo>
                    <a:pt x="14754" y="8912"/>
                    <a:pt x="14897" y="8841"/>
                    <a:pt x="15047" y="8762"/>
                  </a:cubicBezTo>
                  <a:cubicBezTo>
                    <a:pt x="15196" y="8684"/>
                    <a:pt x="15349" y="8599"/>
                    <a:pt x="15456" y="8539"/>
                  </a:cubicBezTo>
                  <a:cubicBezTo>
                    <a:pt x="15527" y="8500"/>
                    <a:pt x="15579" y="8470"/>
                    <a:pt x="15592" y="8463"/>
                  </a:cubicBezTo>
                  <a:cubicBezTo>
                    <a:pt x="15592" y="8463"/>
                    <a:pt x="15592" y="8463"/>
                    <a:pt x="15592" y="8463"/>
                  </a:cubicBezTo>
                  <a:cubicBezTo>
                    <a:pt x="15615" y="8453"/>
                    <a:pt x="15714" y="8411"/>
                    <a:pt x="15741" y="8399"/>
                  </a:cubicBezTo>
                  <a:cubicBezTo>
                    <a:pt x="17155" y="8109"/>
                    <a:pt x="17155" y="8109"/>
                    <a:pt x="17155" y="8109"/>
                  </a:cubicBezTo>
                  <a:cubicBezTo>
                    <a:pt x="17185" y="8106"/>
                    <a:pt x="17408" y="8080"/>
                    <a:pt x="17636" y="8053"/>
                  </a:cubicBezTo>
                  <a:cubicBezTo>
                    <a:pt x="17772" y="8037"/>
                    <a:pt x="17910" y="8021"/>
                    <a:pt x="18008" y="8009"/>
                  </a:cubicBezTo>
                  <a:cubicBezTo>
                    <a:pt x="18008" y="7856"/>
                    <a:pt x="18008" y="7856"/>
                    <a:pt x="18008" y="7856"/>
                  </a:cubicBezTo>
                  <a:cubicBezTo>
                    <a:pt x="17997" y="7857"/>
                    <a:pt x="17985" y="7858"/>
                    <a:pt x="17973" y="7860"/>
                  </a:cubicBezTo>
                  <a:cubicBezTo>
                    <a:pt x="17879" y="7871"/>
                    <a:pt x="17754" y="7885"/>
                    <a:pt x="17630" y="7900"/>
                  </a:cubicBezTo>
                  <a:cubicBezTo>
                    <a:pt x="17382" y="7929"/>
                    <a:pt x="17134" y="7958"/>
                    <a:pt x="17134" y="7958"/>
                  </a:cubicBezTo>
                  <a:cubicBezTo>
                    <a:pt x="17131" y="7959"/>
                    <a:pt x="17131" y="7959"/>
                    <a:pt x="17131" y="7959"/>
                  </a:cubicBezTo>
                  <a:cubicBezTo>
                    <a:pt x="15695" y="8253"/>
                    <a:pt x="15695" y="8253"/>
                    <a:pt x="15695" y="8253"/>
                  </a:cubicBezTo>
                  <a:cubicBezTo>
                    <a:pt x="15688" y="8256"/>
                    <a:pt x="15688" y="8256"/>
                    <a:pt x="15688" y="8256"/>
                  </a:cubicBezTo>
                  <a:cubicBezTo>
                    <a:pt x="15688" y="8256"/>
                    <a:pt x="15682" y="8258"/>
                    <a:pt x="15673" y="8262"/>
                  </a:cubicBezTo>
                  <a:cubicBezTo>
                    <a:pt x="15643" y="8024"/>
                    <a:pt x="15549" y="7264"/>
                    <a:pt x="15502" y="6900"/>
                  </a:cubicBezTo>
                  <a:cubicBezTo>
                    <a:pt x="15489" y="6799"/>
                    <a:pt x="15484" y="6714"/>
                    <a:pt x="15484" y="6641"/>
                  </a:cubicBezTo>
                  <a:cubicBezTo>
                    <a:pt x="15484" y="6405"/>
                    <a:pt x="15542" y="6290"/>
                    <a:pt x="15618" y="6106"/>
                  </a:cubicBezTo>
                  <a:cubicBezTo>
                    <a:pt x="15709" y="5879"/>
                    <a:pt x="15978" y="5659"/>
                    <a:pt x="16064" y="5300"/>
                  </a:cubicBezTo>
                  <a:cubicBezTo>
                    <a:pt x="16087" y="5204"/>
                    <a:pt x="16095" y="5115"/>
                    <a:pt x="16095" y="5035"/>
                  </a:cubicBezTo>
                  <a:cubicBezTo>
                    <a:pt x="16095" y="4893"/>
                    <a:pt x="16069" y="4782"/>
                    <a:pt x="16050" y="4722"/>
                  </a:cubicBezTo>
                  <a:cubicBezTo>
                    <a:pt x="16111" y="4709"/>
                    <a:pt x="16111" y="4709"/>
                    <a:pt x="16111" y="4709"/>
                  </a:cubicBezTo>
                  <a:cubicBezTo>
                    <a:pt x="16111" y="4709"/>
                    <a:pt x="16228" y="4687"/>
                    <a:pt x="16394" y="4665"/>
                  </a:cubicBezTo>
                  <a:cubicBezTo>
                    <a:pt x="16560" y="4643"/>
                    <a:pt x="16776" y="4621"/>
                    <a:pt x="16971" y="4621"/>
                  </a:cubicBezTo>
                  <a:cubicBezTo>
                    <a:pt x="17009" y="4621"/>
                    <a:pt x="17046" y="4622"/>
                    <a:pt x="17082" y="4624"/>
                  </a:cubicBezTo>
                  <a:cubicBezTo>
                    <a:pt x="17428" y="4641"/>
                    <a:pt x="17814" y="4690"/>
                    <a:pt x="18008" y="4718"/>
                  </a:cubicBezTo>
                  <a:cubicBezTo>
                    <a:pt x="18008" y="4651"/>
                    <a:pt x="18008" y="4651"/>
                    <a:pt x="18008" y="4651"/>
                  </a:cubicBezTo>
                  <a:cubicBezTo>
                    <a:pt x="17810" y="4624"/>
                    <a:pt x="17430" y="4576"/>
                    <a:pt x="17085" y="4558"/>
                  </a:cubicBezTo>
                  <a:cubicBezTo>
                    <a:pt x="17048" y="4557"/>
                    <a:pt x="17010" y="4556"/>
                    <a:pt x="16971" y="4556"/>
                  </a:cubicBezTo>
                  <a:cubicBezTo>
                    <a:pt x="16571" y="4556"/>
                    <a:pt x="16100" y="4645"/>
                    <a:pt x="16098" y="4645"/>
                  </a:cubicBezTo>
                  <a:cubicBezTo>
                    <a:pt x="16024" y="4660"/>
                    <a:pt x="16024" y="4660"/>
                    <a:pt x="16024" y="4660"/>
                  </a:cubicBezTo>
                  <a:cubicBezTo>
                    <a:pt x="16023" y="4655"/>
                    <a:pt x="16021" y="4648"/>
                    <a:pt x="16019" y="4640"/>
                  </a:cubicBezTo>
                  <a:cubicBezTo>
                    <a:pt x="16013" y="4619"/>
                    <a:pt x="16004" y="4590"/>
                    <a:pt x="15994" y="4554"/>
                  </a:cubicBezTo>
                  <a:cubicBezTo>
                    <a:pt x="15973" y="4483"/>
                    <a:pt x="15944" y="4385"/>
                    <a:pt x="15912" y="4273"/>
                  </a:cubicBezTo>
                  <a:cubicBezTo>
                    <a:pt x="15848" y="4048"/>
                    <a:pt x="15771" y="3765"/>
                    <a:pt x="15720" y="3523"/>
                  </a:cubicBezTo>
                  <a:cubicBezTo>
                    <a:pt x="15677" y="3320"/>
                    <a:pt x="15661" y="3115"/>
                    <a:pt x="15661" y="2932"/>
                  </a:cubicBezTo>
                  <a:cubicBezTo>
                    <a:pt x="15661" y="2677"/>
                    <a:pt x="15692" y="2462"/>
                    <a:pt x="15724" y="2346"/>
                  </a:cubicBezTo>
                  <a:cubicBezTo>
                    <a:pt x="15759" y="2211"/>
                    <a:pt x="15951" y="1964"/>
                    <a:pt x="16057" y="1842"/>
                  </a:cubicBezTo>
                  <a:cubicBezTo>
                    <a:pt x="16092" y="1801"/>
                    <a:pt x="16119" y="1772"/>
                    <a:pt x="16124" y="1768"/>
                  </a:cubicBezTo>
                  <a:cubicBezTo>
                    <a:pt x="16120" y="1764"/>
                    <a:pt x="16120" y="1764"/>
                    <a:pt x="16120" y="1764"/>
                  </a:cubicBezTo>
                  <a:cubicBezTo>
                    <a:pt x="16119" y="1763"/>
                    <a:pt x="16119" y="1763"/>
                    <a:pt x="16119" y="1763"/>
                  </a:cubicBezTo>
                  <a:cubicBezTo>
                    <a:pt x="16151" y="1756"/>
                    <a:pt x="16182" y="1748"/>
                    <a:pt x="16213" y="1739"/>
                  </a:cubicBezTo>
                  <a:cubicBezTo>
                    <a:pt x="16723" y="1603"/>
                    <a:pt x="17428" y="1074"/>
                    <a:pt x="17875" y="781"/>
                  </a:cubicBezTo>
                  <a:cubicBezTo>
                    <a:pt x="17921" y="846"/>
                    <a:pt x="17966" y="924"/>
                    <a:pt x="18008" y="1016"/>
                  </a:cubicBezTo>
                  <a:cubicBezTo>
                    <a:pt x="18008" y="871"/>
                    <a:pt x="18008" y="871"/>
                    <a:pt x="18008" y="871"/>
                  </a:cubicBezTo>
                  <a:cubicBezTo>
                    <a:pt x="17982" y="825"/>
                    <a:pt x="17956" y="783"/>
                    <a:pt x="17930" y="745"/>
                  </a:cubicBezTo>
                  <a:cubicBezTo>
                    <a:pt x="17955" y="728"/>
                    <a:pt x="17981" y="709"/>
                    <a:pt x="18008" y="691"/>
                  </a:cubicBezTo>
                  <a:lnTo>
                    <a:pt x="18008" y="610"/>
                  </a:lnTo>
                  <a:close/>
                  <a:moveTo>
                    <a:pt x="14972" y="695"/>
                  </a:moveTo>
                  <a:cubicBezTo>
                    <a:pt x="14972" y="695"/>
                    <a:pt x="14972" y="695"/>
                    <a:pt x="14972" y="695"/>
                  </a:cubicBezTo>
                  <a:cubicBezTo>
                    <a:pt x="14972" y="695"/>
                    <a:pt x="14972" y="695"/>
                    <a:pt x="14972" y="695"/>
                  </a:cubicBezTo>
                  <a:close/>
                  <a:moveTo>
                    <a:pt x="34" y="14507"/>
                  </a:moveTo>
                  <a:cubicBezTo>
                    <a:pt x="34" y="14507"/>
                    <a:pt x="34" y="14507"/>
                    <a:pt x="34" y="14507"/>
                  </a:cubicBezTo>
                  <a:cubicBezTo>
                    <a:pt x="39" y="14504"/>
                    <a:pt x="39" y="14504"/>
                    <a:pt x="39" y="14504"/>
                  </a:cubicBezTo>
                  <a:lnTo>
                    <a:pt x="34" y="14507"/>
                  </a:lnTo>
                  <a:close/>
                  <a:moveTo>
                    <a:pt x="143" y="16724"/>
                  </a:moveTo>
                  <a:cubicBezTo>
                    <a:pt x="77" y="16671"/>
                    <a:pt x="77" y="16671"/>
                    <a:pt x="77" y="16671"/>
                  </a:cubicBezTo>
                  <a:cubicBezTo>
                    <a:pt x="114" y="16624"/>
                    <a:pt x="114" y="16624"/>
                    <a:pt x="114" y="16624"/>
                  </a:cubicBezTo>
                  <a:cubicBezTo>
                    <a:pt x="151" y="16653"/>
                    <a:pt x="151" y="16653"/>
                    <a:pt x="151" y="16653"/>
                  </a:cubicBezTo>
                  <a:cubicBezTo>
                    <a:pt x="178" y="16619"/>
                    <a:pt x="178" y="16619"/>
                    <a:pt x="178" y="16619"/>
                  </a:cubicBezTo>
                  <a:cubicBezTo>
                    <a:pt x="206" y="16642"/>
                    <a:pt x="206" y="16642"/>
                    <a:pt x="206" y="16642"/>
                  </a:cubicBezTo>
                  <a:lnTo>
                    <a:pt x="143" y="16724"/>
                  </a:lnTo>
                  <a:close/>
                  <a:moveTo>
                    <a:pt x="248" y="16676"/>
                  </a:moveTo>
                  <a:cubicBezTo>
                    <a:pt x="222" y="16709"/>
                    <a:pt x="222" y="16709"/>
                    <a:pt x="222" y="16709"/>
                  </a:cubicBezTo>
                  <a:cubicBezTo>
                    <a:pt x="258" y="16739"/>
                    <a:pt x="258" y="16739"/>
                    <a:pt x="258" y="16739"/>
                  </a:cubicBezTo>
                  <a:cubicBezTo>
                    <a:pt x="221" y="16786"/>
                    <a:pt x="221" y="16786"/>
                    <a:pt x="221" y="16786"/>
                  </a:cubicBezTo>
                  <a:cubicBezTo>
                    <a:pt x="154" y="16733"/>
                    <a:pt x="154" y="16733"/>
                    <a:pt x="154" y="16733"/>
                  </a:cubicBezTo>
                  <a:cubicBezTo>
                    <a:pt x="217" y="16651"/>
                    <a:pt x="217" y="16651"/>
                    <a:pt x="217" y="16651"/>
                  </a:cubicBezTo>
                  <a:lnTo>
                    <a:pt x="248" y="16676"/>
                  </a:lnTo>
                  <a:close/>
                  <a:moveTo>
                    <a:pt x="12890" y="1094"/>
                  </a:moveTo>
                  <a:cubicBezTo>
                    <a:pt x="12952" y="1257"/>
                    <a:pt x="13061" y="1566"/>
                    <a:pt x="13087" y="1669"/>
                  </a:cubicBezTo>
                  <a:cubicBezTo>
                    <a:pt x="13102" y="1724"/>
                    <a:pt x="13116" y="1795"/>
                    <a:pt x="13126" y="1851"/>
                  </a:cubicBezTo>
                  <a:cubicBezTo>
                    <a:pt x="13133" y="1891"/>
                    <a:pt x="13138" y="1924"/>
                    <a:pt x="13141" y="1940"/>
                  </a:cubicBezTo>
                  <a:cubicBezTo>
                    <a:pt x="13120" y="1953"/>
                    <a:pt x="13099" y="1970"/>
                    <a:pt x="13080" y="1992"/>
                  </a:cubicBezTo>
                  <a:cubicBezTo>
                    <a:pt x="13000" y="2082"/>
                    <a:pt x="12897" y="2235"/>
                    <a:pt x="12886" y="2251"/>
                  </a:cubicBezTo>
                  <a:cubicBezTo>
                    <a:pt x="12868" y="2274"/>
                    <a:pt x="12590" y="2614"/>
                    <a:pt x="12504" y="2731"/>
                  </a:cubicBezTo>
                  <a:cubicBezTo>
                    <a:pt x="12491" y="2750"/>
                    <a:pt x="12483" y="2760"/>
                    <a:pt x="12478" y="2772"/>
                  </a:cubicBezTo>
                  <a:cubicBezTo>
                    <a:pt x="12462" y="2806"/>
                    <a:pt x="12427" y="2887"/>
                    <a:pt x="12411" y="2924"/>
                  </a:cubicBezTo>
                  <a:cubicBezTo>
                    <a:pt x="12359" y="2909"/>
                    <a:pt x="12314" y="2907"/>
                    <a:pt x="12295" y="2907"/>
                  </a:cubicBezTo>
                  <a:cubicBezTo>
                    <a:pt x="12291" y="2907"/>
                    <a:pt x="12289" y="2907"/>
                    <a:pt x="12287" y="2907"/>
                  </a:cubicBezTo>
                  <a:cubicBezTo>
                    <a:pt x="12287" y="2907"/>
                    <a:pt x="12287" y="2907"/>
                    <a:pt x="12287" y="2907"/>
                  </a:cubicBezTo>
                  <a:cubicBezTo>
                    <a:pt x="12287" y="2907"/>
                    <a:pt x="11890" y="2916"/>
                    <a:pt x="11493" y="2924"/>
                  </a:cubicBezTo>
                  <a:cubicBezTo>
                    <a:pt x="11123" y="2932"/>
                    <a:pt x="10755" y="2940"/>
                    <a:pt x="10704" y="2942"/>
                  </a:cubicBezTo>
                  <a:cubicBezTo>
                    <a:pt x="10667" y="2794"/>
                    <a:pt x="10628" y="2650"/>
                    <a:pt x="10597" y="2534"/>
                  </a:cubicBezTo>
                  <a:cubicBezTo>
                    <a:pt x="10671" y="2511"/>
                    <a:pt x="10732" y="2491"/>
                    <a:pt x="10776" y="2475"/>
                  </a:cubicBezTo>
                  <a:cubicBezTo>
                    <a:pt x="10808" y="2463"/>
                    <a:pt x="10830" y="2454"/>
                    <a:pt x="10851" y="2442"/>
                  </a:cubicBezTo>
                  <a:cubicBezTo>
                    <a:pt x="10878" y="2426"/>
                    <a:pt x="10909" y="2401"/>
                    <a:pt x="10949" y="2366"/>
                  </a:cubicBezTo>
                  <a:cubicBezTo>
                    <a:pt x="10990" y="2331"/>
                    <a:pt x="11039" y="2287"/>
                    <a:pt x="11094" y="2236"/>
                  </a:cubicBezTo>
                  <a:cubicBezTo>
                    <a:pt x="11205" y="2134"/>
                    <a:pt x="11343" y="2003"/>
                    <a:pt x="11488" y="1867"/>
                  </a:cubicBezTo>
                  <a:cubicBezTo>
                    <a:pt x="11534" y="1824"/>
                    <a:pt x="11581" y="1781"/>
                    <a:pt x="11627" y="1738"/>
                  </a:cubicBezTo>
                  <a:cubicBezTo>
                    <a:pt x="11807" y="1612"/>
                    <a:pt x="12174" y="1316"/>
                    <a:pt x="12242" y="1278"/>
                  </a:cubicBezTo>
                  <a:cubicBezTo>
                    <a:pt x="12269" y="1262"/>
                    <a:pt x="12381" y="1208"/>
                    <a:pt x="12554" y="1161"/>
                  </a:cubicBezTo>
                  <a:cubicBezTo>
                    <a:pt x="12654" y="1133"/>
                    <a:pt x="12779" y="1116"/>
                    <a:pt x="12890" y="1094"/>
                  </a:cubicBezTo>
                  <a:close/>
                  <a:moveTo>
                    <a:pt x="9441" y="13331"/>
                  </a:moveTo>
                  <a:cubicBezTo>
                    <a:pt x="9440" y="13330"/>
                    <a:pt x="9440" y="13329"/>
                    <a:pt x="9439" y="13327"/>
                  </a:cubicBezTo>
                  <a:cubicBezTo>
                    <a:pt x="9438" y="13323"/>
                    <a:pt x="9436" y="13318"/>
                    <a:pt x="9433" y="13310"/>
                  </a:cubicBezTo>
                  <a:cubicBezTo>
                    <a:pt x="9429" y="13296"/>
                    <a:pt x="9422" y="13275"/>
                    <a:pt x="9414" y="13250"/>
                  </a:cubicBezTo>
                  <a:cubicBezTo>
                    <a:pt x="9398" y="13199"/>
                    <a:pt x="9377" y="13133"/>
                    <a:pt x="9356" y="13066"/>
                  </a:cubicBezTo>
                  <a:cubicBezTo>
                    <a:pt x="9320" y="12952"/>
                    <a:pt x="9285" y="12838"/>
                    <a:pt x="9275" y="12806"/>
                  </a:cubicBezTo>
                  <a:cubicBezTo>
                    <a:pt x="9278" y="12806"/>
                    <a:pt x="9282" y="12806"/>
                    <a:pt x="9286" y="12806"/>
                  </a:cubicBezTo>
                  <a:cubicBezTo>
                    <a:pt x="9298" y="12805"/>
                    <a:pt x="9316" y="12805"/>
                    <a:pt x="9337" y="12804"/>
                  </a:cubicBezTo>
                  <a:cubicBezTo>
                    <a:pt x="9358" y="12803"/>
                    <a:pt x="9383" y="12803"/>
                    <a:pt x="9409" y="12802"/>
                  </a:cubicBezTo>
                  <a:cubicBezTo>
                    <a:pt x="9519" y="13124"/>
                    <a:pt x="9519" y="13124"/>
                    <a:pt x="9519" y="13124"/>
                  </a:cubicBezTo>
                  <a:cubicBezTo>
                    <a:pt x="9403" y="13161"/>
                    <a:pt x="9403" y="13161"/>
                    <a:pt x="9403" y="13161"/>
                  </a:cubicBezTo>
                  <a:cubicBezTo>
                    <a:pt x="9447" y="13307"/>
                    <a:pt x="9447" y="13307"/>
                    <a:pt x="9447" y="13307"/>
                  </a:cubicBezTo>
                  <a:cubicBezTo>
                    <a:pt x="9569" y="13269"/>
                    <a:pt x="9569" y="13269"/>
                    <a:pt x="9569" y="13269"/>
                  </a:cubicBezTo>
                  <a:cubicBezTo>
                    <a:pt x="9576" y="13291"/>
                    <a:pt x="9576" y="13291"/>
                    <a:pt x="9576" y="13291"/>
                  </a:cubicBezTo>
                  <a:cubicBezTo>
                    <a:pt x="9527" y="13307"/>
                    <a:pt x="9480" y="13322"/>
                    <a:pt x="9435" y="13337"/>
                  </a:cubicBezTo>
                  <a:cubicBezTo>
                    <a:pt x="9435" y="13335"/>
                    <a:pt x="9435" y="13335"/>
                    <a:pt x="9435" y="13335"/>
                  </a:cubicBezTo>
                  <a:cubicBezTo>
                    <a:pt x="9437" y="13334"/>
                    <a:pt x="9437" y="13334"/>
                    <a:pt x="9437" y="13334"/>
                  </a:cubicBezTo>
                  <a:cubicBezTo>
                    <a:pt x="9441" y="13332"/>
                    <a:pt x="9441" y="13332"/>
                    <a:pt x="9441" y="13332"/>
                  </a:cubicBezTo>
                  <a:cubicBezTo>
                    <a:pt x="9441" y="13332"/>
                    <a:pt x="9441" y="13332"/>
                    <a:pt x="9441" y="13331"/>
                  </a:cubicBezTo>
                  <a:close/>
                  <a:moveTo>
                    <a:pt x="9356" y="13126"/>
                  </a:moveTo>
                  <a:cubicBezTo>
                    <a:pt x="9207" y="13174"/>
                    <a:pt x="9207" y="13174"/>
                    <a:pt x="9207" y="13174"/>
                  </a:cubicBezTo>
                  <a:cubicBezTo>
                    <a:pt x="9084" y="13153"/>
                    <a:pt x="9084" y="13153"/>
                    <a:pt x="9084" y="13153"/>
                  </a:cubicBezTo>
                  <a:cubicBezTo>
                    <a:pt x="9143" y="13028"/>
                    <a:pt x="9205" y="12900"/>
                    <a:pt x="9236" y="12840"/>
                  </a:cubicBezTo>
                  <a:cubicBezTo>
                    <a:pt x="9245" y="12824"/>
                    <a:pt x="9252" y="12812"/>
                    <a:pt x="9254" y="12809"/>
                  </a:cubicBezTo>
                  <a:cubicBezTo>
                    <a:pt x="9257" y="12808"/>
                    <a:pt x="9257" y="12806"/>
                    <a:pt x="9258" y="12805"/>
                  </a:cubicBezTo>
                  <a:cubicBezTo>
                    <a:pt x="9259" y="12805"/>
                    <a:pt x="9259" y="12804"/>
                    <a:pt x="9260" y="12803"/>
                  </a:cubicBezTo>
                  <a:cubicBezTo>
                    <a:pt x="9260" y="12803"/>
                    <a:pt x="9260" y="12803"/>
                    <a:pt x="9260" y="12803"/>
                  </a:cubicBezTo>
                  <a:cubicBezTo>
                    <a:pt x="9268" y="12829"/>
                    <a:pt x="9403" y="13267"/>
                    <a:pt x="9426" y="13330"/>
                  </a:cubicBezTo>
                  <a:cubicBezTo>
                    <a:pt x="9427" y="13335"/>
                    <a:pt x="9428" y="13336"/>
                    <a:pt x="9429" y="13339"/>
                  </a:cubicBezTo>
                  <a:cubicBezTo>
                    <a:pt x="9345" y="13366"/>
                    <a:pt x="9269" y="13391"/>
                    <a:pt x="9205" y="13412"/>
                  </a:cubicBezTo>
                  <a:cubicBezTo>
                    <a:pt x="9206" y="13384"/>
                    <a:pt x="9213" y="13215"/>
                    <a:pt x="9214" y="13187"/>
                  </a:cubicBezTo>
                  <a:cubicBezTo>
                    <a:pt x="9360" y="13139"/>
                    <a:pt x="9360" y="13139"/>
                    <a:pt x="9360" y="13139"/>
                  </a:cubicBezTo>
                  <a:lnTo>
                    <a:pt x="9356" y="13126"/>
                  </a:lnTo>
                  <a:close/>
                  <a:moveTo>
                    <a:pt x="9194" y="13415"/>
                  </a:moveTo>
                  <a:cubicBezTo>
                    <a:pt x="9113" y="13442"/>
                    <a:pt x="9052" y="13462"/>
                    <a:pt x="9019" y="13473"/>
                  </a:cubicBezTo>
                  <a:cubicBezTo>
                    <a:pt x="9007" y="13477"/>
                    <a:pt x="9000" y="13480"/>
                    <a:pt x="8995" y="13482"/>
                  </a:cubicBezTo>
                  <a:cubicBezTo>
                    <a:pt x="8993" y="13481"/>
                    <a:pt x="8991" y="13480"/>
                    <a:pt x="8988" y="13479"/>
                  </a:cubicBezTo>
                  <a:cubicBezTo>
                    <a:pt x="8982" y="13476"/>
                    <a:pt x="8974" y="13472"/>
                    <a:pt x="8966" y="13469"/>
                  </a:cubicBezTo>
                  <a:cubicBezTo>
                    <a:pt x="8956" y="13465"/>
                    <a:pt x="8946" y="13461"/>
                    <a:pt x="8940" y="13458"/>
                  </a:cubicBezTo>
                  <a:cubicBezTo>
                    <a:pt x="8952" y="13431"/>
                    <a:pt x="9003" y="13324"/>
                    <a:pt x="9060" y="13203"/>
                  </a:cubicBezTo>
                  <a:cubicBezTo>
                    <a:pt x="9067" y="13188"/>
                    <a:pt x="9074" y="13173"/>
                    <a:pt x="9082" y="13157"/>
                  </a:cubicBezTo>
                  <a:cubicBezTo>
                    <a:pt x="9080" y="13167"/>
                    <a:pt x="9080" y="13167"/>
                    <a:pt x="9080" y="13167"/>
                  </a:cubicBezTo>
                  <a:cubicBezTo>
                    <a:pt x="9200" y="13187"/>
                    <a:pt x="9200" y="13187"/>
                    <a:pt x="9200" y="13187"/>
                  </a:cubicBezTo>
                  <a:cubicBezTo>
                    <a:pt x="9200" y="13189"/>
                    <a:pt x="9200" y="13190"/>
                    <a:pt x="9200" y="13191"/>
                  </a:cubicBezTo>
                  <a:cubicBezTo>
                    <a:pt x="9200" y="13198"/>
                    <a:pt x="9199" y="13207"/>
                    <a:pt x="9199" y="13218"/>
                  </a:cubicBezTo>
                  <a:cubicBezTo>
                    <a:pt x="9198" y="13240"/>
                    <a:pt x="9197" y="13269"/>
                    <a:pt x="9196" y="13298"/>
                  </a:cubicBezTo>
                  <a:cubicBezTo>
                    <a:pt x="9193" y="13357"/>
                    <a:pt x="9191" y="13415"/>
                    <a:pt x="9191" y="13415"/>
                  </a:cubicBezTo>
                  <a:cubicBezTo>
                    <a:pt x="9191" y="13415"/>
                    <a:pt x="9191" y="13415"/>
                    <a:pt x="9191" y="13415"/>
                  </a:cubicBezTo>
                  <a:lnTo>
                    <a:pt x="9194" y="13415"/>
                  </a:lnTo>
                  <a:close/>
                  <a:moveTo>
                    <a:pt x="9497" y="12274"/>
                  </a:moveTo>
                  <a:cubicBezTo>
                    <a:pt x="9507" y="12252"/>
                    <a:pt x="9515" y="12234"/>
                    <a:pt x="9520" y="12220"/>
                  </a:cubicBezTo>
                  <a:cubicBezTo>
                    <a:pt x="9557" y="12237"/>
                    <a:pt x="9603" y="12254"/>
                    <a:pt x="9655" y="12268"/>
                  </a:cubicBezTo>
                  <a:cubicBezTo>
                    <a:pt x="9818" y="12747"/>
                    <a:pt x="9818" y="12747"/>
                    <a:pt x="9818" y="12747"/>
                  </a:cubicBezTo>
                  <a:cubicBezTo>
                    <a:pt x="9720" y="12777"/>
                    <a:pt x="9720" y="12777"/>
                    <a:pt x="9720" y="12777"/>
                  </a:cubicBezTo>
                  <a:cubicBezTo>
                    <a:pt x="9710" y="12778"/>
                    <a:pt x="9614" y="12781"/>
                    <a:pt x="9512" y="12784"/>
                  </a:cubicBezTo>
                  <a:cubicBezTo>
                    <a:pt x="9407" y="12481"/>
                    <a:pt x="9407" y="12481"/>
                    <a:pt x="9407" y="12481"/>
                  </a:cubicBezTo>
                  <a:cubicBezTo>
                    <a:pt x="9437" y="12412"/>
                    <a:pt x="9466" y="12345"/>
                    <a:pt x="9489" y="12293"/>
                  </a:cubicBezTo>
                  <a:cubicBezTo>
                    <a:pt x="9653" y="12777"/>
                    <a:pt x="9653" y="12777"/>
                    <a:pt x="9653" y="12777"/>
                  </a:cubicBezTo>
                  <a:cubicBezTo>
                    <a:pt x="9667" y="12773"/>
                    <a:pt x="9667" y="12773"/>
                    <a:pt x="9667" y="12773"/>
                  </a:cubicBezTo>
                  <a:lnTo>
                    <a:pt x="9497" y="12274"/>
                  </a:lnTo>
                  <a:close/>
                  <a:moveTo>
                    <a:pt x="10535" y="11518"/>
                  </a:moveTo>
                  <a:cubicBezTo>
                    <a:pt x="10540" y="11528"/>
                    <a:pt x="10546" y="11540"/>
                    <a:pt x="10551" y="11552"/>
                  </a:cubicBezTo>
                  <a:cubicBezTo>
                    <a:pt x="10563" y="11577"/>
                    <a:pt x="10575" y="11602"/>
                    <a:pt x="10575" y="11602"/>
                  </a:cubicBezTo>
                  <a:cubicBezTo>
                    <a:pt x="10577" y="11607"/>
                    <a:pt x="10577" y="11607"/>
                    <a:pt x="10577" y="11607"/>
                  </a:cubicBezTo>
                  <a:cubicBezTo>
                    <a:pt x="10736" y="11576"/>
                    <a:pt x="10736" y="11576"/>
                    <a:pt x="10736" y="11576"/>
                  </a:cubicBezTo>
                  <a:cubicBezTo>
                    <a:pt x="10847" y="11933"/>
                    <a:pt x="10847" y="11933"/>
                    <a:pt x="10847" y="11933"/>
                  </a:cubicBezTo>
                  <a:cubicBezTo>
                    <a:pt x="10475" y="12055"/>
                    <a:pt x="10115" y="12171"/>
                    <a:pt x="9997" y="12208"/>
                  </a:cubicBezTo>
                  <a:cubicBezTo>
                    <a:pt x="9947" y="12223"/>
                    <a:pt x="9896" y="12230"/>
                    <a:pt x="9847" y="12230"/>
                  </a:cubicBezTo>
                  <a:cubicBezTo>
                    <a:pt x="9828" y="12230"/>
                    <a:pt x="9809" y="12229"/>
                    <a:pt x="9790" y="12227"/>
                  </a:cubicBezTo>
                  <a:cubicBezTo>
                    <a:pt x="9792" y="12211"/>
                    <a:pt x="9799" y="12186"/>
                    <a:pt x="9806" y="12163"/>
                  </a:cubicBezTo>
                  <a:cubicBezTo>
                    <a:pt x="9813" y="12141"/>
                    <a:pt x="9820" y="12122"/>
                    <a:pt x="9823" y="12115"/>
                  </a:cubicBezTo>
                  <a:cubicBezTo>
                    <a:pt x="9992" y="12040"/>
                    <a:pt x="9992" y="12040"/>
                    <a:pt x="9992" y="12040"/>
                  </a:cubicBezTo>
                  <a:cubicBezTo>
                    <a:pt x="9897" y="11720"/>
                    <a:pt x="9897" y="11720"/>
                    <a:pt x="9897" y="11720"/>
                  </a:cubicBezTo>
                  <a:cubicBezTo>
                    <a:pt x="9945" y="11705"/>
                    <a:pt x="10257" y="11604"/>
                    <a:pt x="10427" y="11546"/>
                  </a:cubicBezTo>
                  <a:cubicBezTo>
                    <a:pt x="10479" y="11529"/>
                    <a:pt x="10516" y="11516"/>
                    <a:pt x="10531" y="11510"/>
                  </a:cubicBezTo>
                  <a:cubicBezTo>
                    <a:pt x="10532" y="11512"/>
                    <a:pt x="10534" y="11515"/>
                    <a:pt x="10535" y="11518"/>
                  </a:cubicBezTo>
                  <a:close/>
                  <a:moveTo>
                    <a:pt x="10535" y="11507"/>
                  </a:moveTo>
                  <a:cubicBezTo>
                    <a:pt x="10535" y="11507"/>
                    <a:pt x="10535" y="11507"/>
                    <a:pt x="10536" y="11507"/>
                  </a:cubicBezTo>
                  <a:cubicBezTo>
                    <a:pt x="10535" y="11507"/>
                    <a:pt x="10535" y="11507"/>
                    <a:pt x="10535" y="11507"/>
                  </a:cubicBezTo>
                  <a:close/>
                  <a:moveTo>
                    <a:pt x="10691" y="12473"/>
                  </a:moveTo>
                  <a:cubicBezTo>
                    <a:pt x="10568" y="12093"/>
                    <a:pt x="10568" y="12093"/>
                    <a:pt x="10568" y="12093"/>
                  </a:cubicBezTo>
                  <a:cubicBezTo>
                    <a:pt x="10611" y="12079"/>
                    <a:pt x="10655" y="12065"/>
                    <a:pt x="10699" y="12050"/>
                  </a:cubicBezTo>
                  <a:cubicBezTo>
                    <a:pt x="10822" y="12432"/>
                    <a:pt x="10822" y="12432"/>
                    <a:pt x="10822" y="12432"/>
                  </a:cubicBezTo>
                  <a:lnTo>
                    <a:pt x="10691" y="12473"/>
                  </a:lnTo>
                  <a:close/>
                  <a:moveTo>
                    <a:pt x="10751" y="12473"/>
                  </a:moveTo>
                  <a:cubicBezTo>
                    <a:pt x="10749" y="12475"/>
                    <a:pt x="10743" y="12474"/>
                    <a:pt x="10742" y="12472"/>
                  </a:cubicBezTo>
                  <a:cubicBezTo>
                    <a:pt x="10743" y="12471"/>
                    <a:pt x="10743" y="12471"/>
                    <a:pt x="10743" y="12471"/>
                  </a:cubicBezTo>
                  <a:cubicBezTo>
                    <a:pt x="10749" y="12470"/>
                    <a:pt x="10749" y="12470"/>
                    <a:pt x="10749" y="12470"/>
                  </a:cubicBezTo>
                  <a:lnTo>
                    <a:pt x="10751" y="12473"/>
                  </a:lnTo>
                  <a:close/>
                  <a:moveTo>
                    <a:pt x="9424" y="12801"/>
                  </a:moveTo>
                  <a:cubicBezTo>
                    <a:pt x="9446" y="12800"/>
                    <a:pt x="9470" y="12800"/>
                    <a:pt x="9494" y="12799"/>
                  </a:cubicBezTo>
                  <a:cubicBezTo>
                    <a:pt x="9520" y="12798"/>
                    <a:pt x="9546" y="12797"/>
                    <a:pt x="9570" y="12796"/>
                  </a:cubicBezTo>
                  <a:cubicBezTo>
                    <a:pt x="9664" y="13078"/>
                    <a:pt x="9664" y="13078"/>
                    <a:pt x="9664" y="13078"/>
                  </a:cubicBezTo>
                  <a:cubicBezTo>
                    <a:pt x="9532" y="13120"/>
                    <a:pt x="9532" y="13120"/>
                    <a:pt x="9532" y="13120"/>
                  </a:cubicBezTo>
                  <a:lnTo>
                    <a:pt x="9424" y="12801"/>
                  </a:lnTo>
                  <a:close/>
                  <a:moveTo>
                    <a:pt x="9564" y="13256"/>
                  </a:moveTo>
                  <a:cubicBezTo>
                    <a:pt x="9456" y="13291"/>
                    <a:pt x="9456" y="13291"/>
                    <a:pt x="9456" y="13291"/>
                  </a:cubicBezTo>
                  <a:cubicBezTo>
                    <a:pt x="9419" y="13169"/>
                    <a:pt x="9419" y="13169"/>
                    <a:pt x="9419" y="13169"/>
                  </a:cubicBezTo>
                  <a:cubicBezTo>
                    <a:pt x="9523" y="13136"/>
                    <a:pt x="9523" y="13136"/>
                    <a:pt x="9523" y="13136"/>
                  </a:cubicBezTo>
                  <a:lnTo>
                    <a:pt x="9564" y="13256"/>
                  </a:lnTo>
                  <a:close/>
                  <a:moveTo>
                    <a:pt x="9585" y="12796"/>
                  </a:moveTo>
                  <a:cubicBezTo>
                    <a:pt x="9662" y="12793"/>
                    <a:pt x="9722" y="12791"/>
                    <a:pt x="9722" y="12791"/>
                  </a:cubicBezTo>
                  <a:cubicBezTo>
                    <a:pt x="9723" y="12791"/>
                    <a:pt x="9723" y="12791"/>
                    <a:pt x="9723" y="12791"/>
                  </a:cubicBezTo>
                  <a:cubicBezTo>
                    <a:pt x="9727" y="12790"/>
                    <a:pt x="9727" y="12790"/>
                    <a:pt x="9727" y="12790"/>
                  </a:cubicBezTo>
                  <a:cubicBezTo>
                    <a:pt x="9727" y="12790"/>
                    <a:pt x="9727" y="12790"/>
                    <a:pt x="9727" y="12791"/>
                  </a:cubicBezTo>
                  <a:cubicBezTo>
                    <a:pt x="9727" y="12798"/>
                    <a:pt x="9736" y="12822"/>
                    <a:pt x="9748" y="12861"/>
                  </a:cubicBezTo>
                  <a:cubicBezTo>
                    <a:pt x="9761" y="12900"/>
                    <a:pt x="9778" y="12950"/>
                    <a:pt x="9795" y="13000"/>
                  </a:cubicBezTo>
                  <a:cubicBezTo>
                    <a:pt x="9799" y="13011"/>
                    <a:pt x="9802" y="13022"/>
                    <a:pt x="9806" y="13033"/>
                  </a:cubicBezTo>
                  <a:cubicBezTo>
                    <a:pt x="9677" y="13074"/>
                    <a:pt x="9677" y="13074"/>
                    <a:pt x="9677" y="13074"/>
                  </a:cubicBezTo>
                  <a:lnTo>
                    <a:pt x="9585" y="12796"/>
                  </a:lnTo>
                  <a:close/>
                  <a:moveTo>
                    <a:pt x="9741" y="12790"/>
                  </a:moveTo>
                  <a:cubicBezTo>
                    <a:pt x="9739" y="12791"/>
                    <a:pt x="9739" y="12791"/>
                    <a:pt x="9739" y="12791"/>
                  </a:cubicBezTo>
                  <a:cubicBezTo>
                    <a:pt x="9735" y="12791"/>
                    <a:pt x="9735" y="12791"/>
                    <a:pt x="9735" y="12791"/>
                  </a:cubicBezTo>
                  <a:cubicBezTo>
                    <a:pt x="9734" y="12791"/>
                    <a:pt x="9734" y="12791"/>
                    <a:pt x="9734" y="12791"/>
                  </a:cubicBezTo>
                  <a:cubicBezTo>
                    <a:pt x="9738" y="12796"/>
                    <a:pt x="9738" y="12796"/>
                    <a:pt x="9738" y="12796"/>
                  </a:cubicBezTo>
                  <a:cubicBezTo>
                    <a:pt x="9734" y="12790"/>
                    <a:pt x="9734" y="12790"/>
                    <a:pt x="9734" y="12790"/>
                  </a:cubicBezTo>
                  <a:cubicBezTo>
                    <a:pt x="9732" y="12792"/>
                    <a:pt x="9732" y="12792"/>
                    <a:pt x="9732" y="12792"/>
                  </a:cubicBezTo>
                  <a:cubicBezTo>
                    <a:pt x="9738" y="12786"/>
                    <a:pt x="9738" y="12786"/>
                    <a:pt x="9738" y="12786"/>
                  </a:cubicBezTo>
                  <a:cubicBezTo>
                    <a:pt x="9882" y="12741"/>
                    <a:pt x="9882" y="12741"/>
                    <a:pt x="9882" y="12741"/>
                  </a:cubicBezTo>
                  <a:cubicBezTo>
                    <a:pt x="9883" y="12751"/>
                    <a:pt x="9891" y="12773"/>
                    <a:pt x="9902" y="12809"/>
                  </a:cubicBezTo>
                  <a:cubicBezTo>
                    <a:pt x="9915" y="12848"/>
                    <a:pt x="9932" y="12898"/>
                    <a:pt x="9949" y="12948"/>
                  </a:cubicBezTo>
                  <a:cubicBezTo>
                    <a:pt x="9953" y="12960"/>
                    <a:pt x="9957" y="12972"/>
                    <a:pt x="9961" y="12984"/>
                  </a:cubicBezTo>
                  <a:cubicBezTo>
                    <a:pt x="9819" y="13029"/>
                    <a:pt x="9819" y="13029"/>
                    <a:pt x="9819" y="13029"/>
                  </a:cubicBezTo>
                  <a:cubicBezTo>
                    <a:pt x="9816" y="13019"/>
                    <a:pt x="9813" y="13010"/>
                    <a:pt x="9810" y="13001"/>
                  </a:cubicBezTo>
                  <a:cubicBezTo>
                    <a:pt x="9777" y="12903"/>
                    <a:pt x="9742" y="12800"/>
                    <a:pt x="9741" y="12790"/>
                  </a:cubicBezTo>
                  <a:close/>
                  <a:moveTo>
                    <a:pt x="9892" y="12744"/>
                  </a:moveTo>
                  <a:cubicBezTo>
                    <a:pt x="9890" y="12746"/>
                    <a:pt x="9884" y="12745"/>
                    <a:pt x="9883" y="12743"/>
                  </a:cubicBezTo>
                  <a:cubicBezTo>
                    <a:pt x="9886" y="12740"/>
                    <a:pt x="9886" y="12740"/>
                    <a:pt x="9886" y="12740"/>
                  </a:cubicBezTo>
                  <a:cubicBezTo>
                    <a:pt x="9889" y="12739"/>
                    <a:pt x="9889" y="12739"/>
                    <a:pt x="9889" y="12739"/>
                  </a:cubicBezTo>
                  <a:lnTo>
                    <a:pt x="9892" y="12744"/>
                  </a:lnTo>
                  <a:close/>
                  <a:moveTo>
                    <a:pt x="9891" y="12739"/>
                  </a:moveTo>
                  <a:cubicBezTo>
                    <a:pt x="9891" y="12739"/>
                    <a:pt x="9891" y="12739"/>
                    <a:pt x="9891" y="12739"/>
                  </a:cubicBezTo>
                  <a:cubicBezTo>
                    <a:pt x="9895" y="12739"/>
                    <a:pt x="9895" y="12739"/>
                    <a:pt x="9895" y="12739"/>
                  </a:cubicBezTo>
                  <a:lnTo>
                    <a:pt x="9891" y="12739"/>
                  </a:lnTo>
                  <a:close/>
                  <a:moveTo>
                    <a:pt x="9895" y="12738"/>
                  </a:moveTo>
                  <a:cubicBezTo>
                    <a:pt x="9893" y="12738"/>
                    <a:pt x="9893" y="12738"/>
                    <a:pt x="9893" y="12738"/>
                  </a:cubicBezTo>
                  <a:cubicBezTo>
                    <a:pt x="9891" y="12738"/>
                    <a:pt x="9891" y="12738"/>
                    <a:pt x="9891" y="12738"/>
                  </a:cubicBezTo>
                  <a:cubicBezTo>
                    <a:pt x="10024" y="12697"/>
                    <a:pt x="10024" y="12697"/>
                    <a:pt x="10024" y="12697"/>
                  </a:cubicBezTo>
                  <a:cubicBezTo>
                    <a:pt x="10027" y="12708"/>
                    <a:pt x="10034" y="12729"/>
                    <a:pt x="10044" y="12760"/>
                  </a:cubicBezTo>
                  <a:cubicBezTo>
                    <a:pt x="10057" y="12798"/>
                    <a:pt x="10074" y="12849"/>
                    <a:pt x="10091" y="12899"/>
                  </a:cubicBezTo>
                  <a:cubicBezTo>
                    <a:pt x="10095" y="12912"/>
                    <a:pt x="10100" y="12925"/>
                    <a:pt x="10104" y="12938"/>
                  </a:cubicBezTo>
                  <a:cubicBezTo>
                    <a:pt x="9974" y="12979"/>
                    <a:pt x="9974" y="12979"/>
                    <a:pt x="9974" y="12979"/>
                  </a:cubicBezTo>
                  <a:cubicBezTo>
                    <a:pt x="9971" y="12969"/>
                    <a:pt x="9967" y="12959"/>
                    <a:pt x="9964" y="12948"/>
                  </a:cubicBezTo>
                  <a:cubicBezTo>
                    <a:pt x="9931" y="12850"/>
                    <a:pt x="9896" y="12748"/>
                    <a:pt x="9895" y="12738"/>
                  </a:cubicBezTo>
                  <a:close/>
                  <a:moveTo>
                    <a:pt x="10028" y="12695"/>
                  </a:moveTo>
                  <a:cubicBezTo>
                    <a:pt x="10033" y="12694"/>
                    <a:pt x="10033" y="12694"/>
                    <a:pt x="10033" y="12694"/>
                  </a:cubicBezTo>
                  <a:cubicBezTo>
                    <a:pt x="10033" y="12695"/>
                    <a:pt x="10033" y="12695"/>
                    <a:pt x="10033" y="12695"/>
                  </a:cubicBezTo>
                  <a:cubicBezTo>
                    <a:pt x="10032" y="12696"/>
                    <a:pt x="10030" y="12696"/>
                    <a:pt x="10028" y="12695"/>
                  </a:cubicBezTo>
                  <a:close/>
                  <a:moveTo>
                    <a:pt x="10180" y="12723"/>
                  </a:moveTo>
                  <a:cubicBezTo>
                    <a:pt x="10192" y="12761"/>
                    <a:pt x="10209" y="12812"/>
                    <a:pt x="10226" y="12862"/>
                  </a:cubicBezTo>
                  <a:cubicBezTo>
                    <a:pt x="10230" y="12873"/>
                    <a:pt x="10234" y="12885"/>
                    <a:pt x="10238" y="12896"/>
                  </a:cubicBezTo>
                  <a:cubicBezTo>
                    <a:pt x="10117" y="12934"/>
                    <a:pt x="10117" y="12934"/>
                    <a:pt x="10117" y="12934"/>
                  </a:cubicBezTo>
                  <a:cubicBezTo>
                    <a:pt x="10113" y="12923"/>
                    <a:pt x="10109" y="12911"/>
                    <a:pt x="10106" y="12899"/>
                  </a:cubicBezTo>
                  <a:cubicBezTo>
                    <a:pt x="10074" y="12807"/>
                    <a:pt x="10043" y="12712"/>
                    <a:pt x="10038" y="12693"/>
                  </a:cubicBezTo>
                  <a:cubicBezTo>
                    <a:pt x="10159" y="12655"/>
                    <a:pt x="10159" y="12655"/>
                    <a:pt x="10159" y="12655"/>
                  </a:cubicBezTo>
                  <a:cubicBezTo>
                    <a:pt x="10160" y="12663"/>
                    <a:pt x="10168" y="12686"/>
                    <a:pt x="10180" y="12723"/>
                  </a:cubicBezTo>
                  <a:close/>
                  <a:moveTo>
                    <a:pt x="10160" y="12657"/>
                  </a:moveTo>
                  <a:cubicBezTo>
                    <a:pt x="10164" y="12653"/>
                    <a:pt x="10164" y="12653"/>
                    <a:pt x="10164" y="12653"/>
                  </a:cubicBezTo>
                  <a:cubicBezTo>
                    <a:pt x="10164" y="12653"/>
                    <a:pt x="10164" y="12653"/>
                    <a:pt x="10164" y="12653"/>
                  </a:cubicBezTo>
                  <a:lnTo>
                    <a:pt x="10160" y="12657"/>
                  </a:lnTo>
                  <a:close/>
                  <a:moveTo>
                    <a:pt x="10169" y="12658"/>
                  </a:moveTo>
                  <a:cubicBezTo>
                    <a:pt x="10165" y="12652"/>
                    <a:pt x="10165" y="12652"/>
                    <a:pt x="10165" y="12652"/>
                  </a:cubicBezTo>
                  <a:cubicBezTo>
                    <a:pt x="10165" y="12652"/>
                    <a:pt x="10165" y="12652"/>
                    <a:pt x="10165" y="12652"/>
                  </a:cubicBezTo>
                  <a:lnTo>
                    <a:pt x="10169" y="12658"/>
                  </a:lnTo>
                  <a:close/>
                  <a:moveTo>
                    <a:pt x="10166" y="12652"/>
                  </a:moveTo>
                  <a:cubicBezTo>
                    <a:pt x="10166" y="12652"/>
                    <a:pt x="10166" y="12652"/>
                    <a:pt x="10166" y="12652"/>
                  </a:cubicBezTo>
                  <a:cubicBezTo>
                    <a:pt x="10172" y="12653"/>
                    <a:pt x="10172" y="12653"/>
                    <a:pt x="10172" y="12653"/>
                  </a:cubicBezTo>
                  <a:lnTo>
                    <a:pt x="10166" y="12652"/>
                  </a:lnTo>
                  <a:close/>
                  <a:moveTo>
                    <a:pt x="10108" y="12951"/>
                  </a:moveTo>
                  <a:cubicBezTo>
                    <a:pt x="10125" y="13001"/>
                    <a:pt x="10141" y="13046"/>
                    <a:pt x="10150" y="13072"/>
                  </a:cubicBezTo>
                  <a:cubicBezTo>
                    <a:pt x="10020" y="13113"/>
                    <a:pt x="10020" y="13113"/>
                    <a:pt x="10020" y="13113"/>
                  </a:cubicBezTo>
                  <a:cubicBezTo>
                    <a:pt x="10011" y="13085"/>
                    <a:pt x="9995" y="13041"/>
                    <a:pt x="9979" y="12992"/>
                  </a:cubicBezTo>
                  <a:lnTo>
                    <a:pt x="10108" y="12951"/>
                  </a:lnTo>
                  <a:close/>
                  <a:moveTo>
                    <a:pt x="10122" y="12947"/>
                  </a:moveTo>
                  <a:cubicBezTo>
                    <a:pt x="10242" y="12908"/>
                    <a:pt x="10242" y="12908"/>
                    <a:pt x="10242" y="12908"/>
                  </a:cubicBezTo>
                  <a:cubicBezTo>
                    <a:pt x="10259" y="12957"/>
                    <a:pt x="10274" y="13002"/>
                    <a:pt x="10284" y="13030"/>
                  </a:cubicBezTo>
                  <a:cubicBezTo>
                    <a:pt x="10163" y="13068"/>
                    <a:pt x="10163" y="13068"/>
                    <a:pt x="10163" y="13068"/>
                  </a:cubicBezTo>
                  <a:cubicBezTo>
                    <a:pt x="10154" y="13042"/>
                    <a:pt x="10139" y="12997"/>
                    <a:pt x="10122" y="12947"/>
                  </a:cubicBezTo>
                  <a:close/>
                  <a:moveTo>
                    <a:pt x="10241" y="12862"/>
                  </a:moveTo>
                  <a:cubicBezTo>
                    <a:pt x="10208" y="12764"/>
                    <a:pt x="10174" y="12661"/>
                    <a:pt x="10172" y="12652"/>
                  </a:cubicBezTo>
                  <a:cubicBezTo>
                    <a:pt x="10170" y="12652"/>
                    <a:pt x="10170" y="12652"/>
                    <a:pt x="10170" y="12652"/>
                  </a:cubicBezTo>
                  <a:cubicBezTo>
                    <a:pt x="10167" y="12652"/>
                    <a:pt x="10167" y="12652"/>
                    <a:pt x="10167" y="12652"/>
                  </a:cubicBezTo>
                  <a:cubicBezTo>
                    <a:pt x="10319" y="12604"/>
                    <a:pt x="10319" y="12604"/>
                    <a:pt x="10319" y="12604"/>
                  </a:cubicBezTo>
                  <a:cubicBezTo>
                    <a:pt x="10320" y="12613"/>
                    <a:pt x="10328" y="12636"/>
                    <a:pt x="10340" y="12673"/>
                  </a:cubicBezTo>
                  <a:cubicBezTo>
                    <a:pt x="10352" y="12712"/>
                    <a:pt x="10369" y="12763"/>
                    <a:pt x="10386" y="12813"/>
                  </a:cubicBezTo>
                  <a:cubicBezTo>
                    <a:pt x="10390" y="12824"/>
                    <a:pt x="10394" y="12835"/>
                    <a:pt x="10397" y="12845"/>
                  </a:cubicBezTo>
                  <a:cubicBezTo>
                    <a:pt x="10251" y="12892"/>
                    <a:pt x="10251" y="12892"/>
                    <a:pt x="10251" y="12892"/>
                  </a:cubicBezTo>
                  <a:cubicBezTo>
                    <a:pt x="10248" y="12882"/>
                    <a:pt x="10244" y="12872"/>
                    <a:pt x="10241" y="12862"/>
                  </a:cubicBezTo>
                  <a:close/>
                  <a:moveTo>
                    <a:pt x="9971" y="12699"/>
                  </a:moveTo>
                  <a:cubicBezTo>
                    <a:pt x="9840" y="12295"/>
                    <a:pt x="9840" y="12295"/>
                    <a:pt x="9840" y="12295"/>
                  </a:cubicBezTo>
                  <a:cubicBezTo>
                    <a:pt x="9842" y="12295"/>
                    <a:pt x="9845" y="12295"/>
                    <a:pt x="9847" y="12295"/>
                  </a:cubicBezTo>
                  <a:cubicBezTo>
                    <a:pt x="9888" y="12295"/>
                    <a:pt x="9930" y="12291"/>
                    <a:pt x="9972" y="12282"/>
                  </a:cubicBezTo>
                  <a:cubicBezTo>
                    <a:pt x="10094" y="12660"/>
                    <a:pt x="10094" y="12660"/>
                    <a:pt x="10094" y="12660"/>
                  </a:cubicBezTo>
                  <a:cubicBezTo>
                    <a:pt x="10107" y="12656"/>
                    <a:pt x="10107" y="12656"/>
                    <a:pt x="10107" y="12656"/>
                  </a:cubicBezTo>
                  <a:cubicBezTo>
                    <a:pt x="9985" y="12279"/>
                    <a:pt x="9985" y="12279"/>
                    <a:pt x="9985" y="12279"/>
                  </a:cubicBezTo>
                  <a:cubicBezTo>
                    <a:pt x="9995" y="12276"/>
                    <a:pt x="10006" y="12274"/>
                    <a:pt x="10016" y="12271"/>
                  </a:cubicBezTo>
                  <a:cubicBezTo>
                    <a:pt x="10040" y="12263"/>
                    <a:pt x="10075" y="12252"/>
                    <a:pt x="10117" y="12239"/>
                  </a:cubicBezTo>
                  <a:cubicBezTo>
                    <a:pt x="10239" y="12614"/>
                    <a:pt x="10239" y="12614"/>
                    <a:pt x="10239" y="12614"/>
                  </a:cubicBezTo>
                  <a:cubicBezTo>
                    <a:pt x="10252" y="12610"/>
                    <a:pt x="10252" y="12610"/>
                    <a:pt x="10252" y="12610"/>
                  </a:cubicBezTo>
                  <a:cubicBezTo>
                    <a:pt x="10130" y="12234"/>
                    <a:pt x="10130" y="12234"/>
                    <a:pt x="10130" y="12234"/>
                  </a:cubicBezTo>
                  <a:cubicBezTo>
                    <a:pt x="10171" y="12222"/>
                    <a:pt x="10217" y="12207"/>
                    <a:pt x="10269" y="12190"/>
                  </a:cubicBezTo>
                  <a:cubicBezTo>
                    <a:pt x="10391" y="12567"/>
                    <a:pt x="10391" y="12567"/>
                    <a:pt x="10391" y="12567"/>
                  </a:cubicBezTo>
                  <a:lnTo>
                    <a:pt x="9971" y="12699"/>
                  </a:lnTo>
                  <a:close/>
                  <a:moveTo>
                    <a:pt x="10283" y="12186"/>
                  </a:moveTo>
                  <a:cubicBezTo>
                    <a:pt x="10322" y="12173"/>
                    <a:pt x="10365" y="12159"/>
                    <a:pt x="10410" y="12144"/>
                  </a:cubicBezTo>
                  <a:cubicBezTo>
                    <a:pt x="10533" y="12523"/>
                    <a:pt x="10533" y="12523"/>
                    <a:pt x="10533" y="12523"/>
                  </a:cubicBezTo>
                  <a:cubicBezTo>
                    <a:pt x="10405" y="12563"/>
                    <a:pt x="10405" y="12563"/>
                    <a:pt x="10405" y="12563"/>
                  </a:cubicBezTo>
                  <a:lnTo>
                    <a:pt x="10283" y="12186"/>
                  </a:lnTo>
                  <a:close/>
                  <a:moveTo>
                    <a:pt x="10423" y="12140"/>
                  </a:moveTo>
                  <a:cubicBezTo>
                    <a:pt x="10466" y="12126"/>
                    <a:pt x="10509" y="12112"/>
                    <a:pt x="10555" y="12097"/>
                  </a:cubicBezTo>
                  <a:cubicBezTo>
                    <a:pt x="10677" y="12477"/>
                    <a:pt x="10677" y="12477"/>
                    <a:pt x="10677" y="12477"/>
                  </a:cubicBezTo>
                  <a:cubicBezTo>
                    <a:pt x="10546" y="12519"/>
                    <a:pt x="10546" y="12519"/>
                    <a:pt x="10546" y="12519"/>
                  </a:cubicBezTo>
                  <a:lnTo>
                    <a:pt x="10423" y="12140"/>
                  </a:lnTo>
                  <a:close/>
                  <a:moveTo>
                    <a:pt x="10712" y="12046"/>
                  </a:moveTo>
                  <a:cubicBezTo>
                    <a:pt x="10755" y="12032"/>
                    <a:pt x="10797" y="12018"/>
                    <a:pt x="10840" y="12004"/>
                  </a:cubicBezTo>
                  <a:cubicBezTo>
                    <a:pt x="10973" y="12385"/>
                    <a:pt x="10973" y="12385"/>
                    <a:pt x="10973" y="12385"/>
                  </a:cubicBezTo>
                  <a:cubicBezTo>
                    <a:pt x="10836" y="12428"/>
                    <a:pt x="10836" y="12428"/>
                    <a:pt x="10836" y="12428"/>
                  </a:cubicBezTo>
                  <a:lnTo>
                    <a:pt x="10712" y="12046"/>
                  </a:lnTo>
                  <a:close/>
                  <a:moveTo>
                    <a:pt x="9832" y="12295"/>
                  </a:moveTo>
                  <a:cubicBezTo>
                    <a:pt x="9826" y="12297"/>
                    <a:pt x="9826" y="12297"/>
                    <a:pt x="9826" y="12297"/>
                  </a:cubicBezTo>
                  <a:cubicBezTo>
                    <a:pt x="9957" y="12703"/>
                    <a:pt x="9957" y="12703"/>
                    <a:pt x="9957" y="12703"/>
                  </a:cubicBezTo>
                  <a:cubicBezTo>
                    <a:pt x="9831" y="12743"/>
                    <a:pt x="9831" y="12743"/>
                    <a:pt x="9831" y="12743"/>
                  </a:cubicBezTo>
                  <a:cubicBezTo>
                    <a:pt x="9672" y="12272"/>
                    <a:pt x="9672" y="12272"/>
                    <a:pt x="9672" y="12272"/>
                  </a:cubicBezTo>
                  <a:cubicBezTo>
                    <a:pt x="9721" y="12285"/>
                    <a:pt x="9775" y="12293"/>
                    <a:pt x="9832" y="12295"/>
                  </a:cubicBezTo>
                  <a:close/>
                  <a:moveTo>
                    <a:pt x="9498" y="12785"/>
                  </a:moveTo>
                  <a:cubicBezTo>
                    <a:pt x="9385" y="12789"/>
                    <a:pt x="9270" y="12792"/>
                    <a:pt x="9265" y="12793"/>
                  </a:cubicBezTo>
                  <a:cubicBezTo>
                    <a:pt x="9267" y="12789"/>
                    <a:pt x="9270" y="12785"/>
                    <a:pt x="9272" y="12780"/>
                  </a:cubicBezTo>
                  <a:cubicBezTo>
                    <a:pt x="9280" y="12763"/>
                    <a:pt x="9292" y="12739"/>
                    <a:pt x="9305" y="12710"/>
                  </a:cubicBezTo>
                  <a:cubicBezTo>
                    <a:pt x="9331" y="12653"/>
                    <a:pt x="9365" y="12577"/>
                    <a:pt x="9398" y="12501"/>
                  </a:cubicBezTo>
                  <a:cubicBezTo>
                    <a:pt x="9398" y="12501"/>
                    <a:pt x="9399" y="12500"/>
                    <a:pt x="9399" y="12500"/>
                  </a:cubicBezTo>
                  <a:lnTo>
                    <a:pt x="9498" y="12785"/>
                  </a:lnTo>
                  <a:close/>
                  <a:moveTo>
                    <a:pt x="9537" y="13132"/>
                  </a:moveTo>
                  <a:cubicBezTo>
                    <a:pt x="9668" y="13090"/>
                    <a:pt x="9668" y="13090"/>
                    <a:pt x="9668" y="13090"/>
                  </a:cubicBezTo>
                  <a:cubicBezTo>
                    <a:pt x="9708" y="13211"/>
                    <a:pt x="9708" y="13211"/>
                    <a:pt x="9708" y="13211"/>
                  </a:cubicBezTo>
                  <a:cubicBezTo>
                    <a:pt x="9578" y="13252"/>
                    <a:pt x="9578" y="13252"/>
                    <a:pt x="9578" y="13252"/>
                  </a:cubicBezTo>
                  <a:lnTo>
                    <a:pt x="9537" y="13132"/>
                  </a:lnTo>
                  <a:close/>
                  <a:moveTo>
                    <a:pt x="9712" y="13224"/>
                  </a:moveTo>
                  <a:cubicBezTo>
                    <a:pt x="9719" y="13245"/>
                    <a:pt x="9719" y="13245"/>
                    <a:pt x="9719" y="13245"/>
                  </a:cubicBezTo>
                  <a:cubicBezTo>
                    <a:pt x="9675" y="13259"/>
                    <a:pt x="9632" y="13273"/>
                    <a:pt x="9590" y="13287"/>
                  </a:cubicBezTo>
                  <a:cubicBezTo>
                    <a:pt x="9582" y="13265"/>
                    <a:pt x="9582" y="13265"/>
                    <a:pt x="9582" y="13265"/>
                  </a:cubicBezTo>
                  <a:lnTo>
                    <a:pt x="9712" y="13224"/>
                  </a:lnTo>
                  <a:close/>
                  <a:moveTo>
                    <a:pt x="9681" y="13086"/>
                  </a:moveTo>
                  <a:cubicBezTo>
                    <a:pt x="9810" y="13045"/>
                    <a:pt x="9810" y="13045"/>
                    <a:pt x="9810" y="13045"/>
                  </a:cubicBezTo>
                  <a:cubicBezTo>
                    <a:pt x="9827" y="13093"/>
                    <a:pt x="9842" y="13138"/>
                    <a:pt x="9852" y="13166"/>
                  </a:cubicBezTo>
                  <a:cubicBezTo>
                    <a:pt x="9721" y="13207"/>
                    <a:pt x="9721" y="13207"/>
                    <a:pt x="9721" y="13207"/>
                  </a:cubicBezTo>
                  <a:lnTo>
                    <a:pt x="9681" y="13086"/>
                  </a:lnTo>
                  <a:close/>
                  <a:moveTo>
                    <a:pt x="9856" y="13179"/>
                  </a:moveTo>
                  <a:cubicBezTo>
                    <a:pt x="9859" y="13189"/>
                    <a:pt x="9862" y="13196"/>
                    <a:pt x="9863" y="13198"/>
                  </a:cubicBezTo>
                  <a:cubicBezTo>
                    <a:pt x="9819" y="13213"/>
                    <a:pt x="9775" y="13227"/>
                    <a:pt x="9732" y="13240"/>
                  </a:cubicBezTo>
                  <a:cubicBezTo>
                    <a:pt x="9725" y="13220"/>
                    <a:pt x="9725" y="13220"/>
                    <a:pt x="9725" y="13220"/>
                  </a:cubicBezTo>
                  <a:lnTo>
                    <a:pt x="9856" y="13179"/>
                  </a:lnTo>
                  <a:close/>
                  <a:moveTo>
                    <a:pt x="9824" y="13041"/>
                  </a:moveTo>
                  <a:cubicBezTo>
                    <a:pt x="9965" y="12996"/>
                    <a:pt x="9965" y="12996"/>
                    <a:pt x="9965" y="12996"/>
                  </a:cubicBezTo>
                  <a:cubicBezTo>
                    <a:pt x="9982" y="13045"/>
                    <a:pt x="9997" y="13090"/>
                    <a:pt x="10007" y="13117"/>
                  </a:cubicBezTo>
                  <a:cubicBezTo>
                    <a:pt x="9865" y="13162"/>
                    <a:pt x="9865" y="13162"/>
                    <a:pt x="9865" y="13162"/>
                  </a:cubicBezTo>
                  <a:cubicBezTo>
                    <a:pt x="9855" y="13133"/>
                    <a:pt x="9840" y="13089"/>
                    <a:pt x="9824" y="13041"/>
                  </a:cubicBezTo>
                  <a:close/>
                  <a:moveTo>
                    <a:pt x="10011" y="13130"/>
                  </a:moveTo>
                  <a:cubicBezTo>
                    <a:pt x="10015" y="13141"/>
                    <a:pt x="10017" y="13147"/>
                    <a:pt x="10017" y="13147"/>
                  </a:cubicBezTo>
                  <a:cubicBezTo>
                    <a:pt x="10017" y="13147"/>
                    <a:pt x="10017" y="13147"/>
                    <a:pt x="10017" y="13147"/>
                  </a:cubicBezTo>
                  <a:cubicBezTo>
                    <a:pt x="10030" y="13142"/>
                    <a:pt x="10030" y="13142"/>
                    <a:pt x="10030" y="13142"/>
                  </a:cubicBezTo>
                  <a:cubicBezTo>
                    <a:pt x="10030" y="13142"/>
                    <a:pt x="10028" y="13136"/>
                    <a:pt x="10024" y="13126"/>
                  </a:cubicBezTo>
                  <a:cubicBezTo>
                    <a:pt x="10154" y="13085"/>
                    <a:pt x="10154" y="13085"/>
                    <a:pt x="10154" y="13085"/>
                  </a:cubicBezTo>
                  <a:cubicBezTo>
                    <a:pt x="10157" y="13093"/>
                    <a:pt x="10158" y="13098"/>
                    <a:pt x="10158" y="13098"/>
                  </a:cubicBezTo>
                  <a:cubicBezTo>
                    <a:pt x="10158" y="13098"/>
                    <a:pt x="10158" y="13098"/>
                    <a:pt x="10158" y="13098"/>
                  </a:cubicBezTo>
                  <a:cubicBezTo>
                    <a:pt x="10172" y="13093"/>
                    <a:pt x="10172" y="13093"/>
                    <a:pt x="10172" y="13093"/>
                  </a:cubicBezTo>
                  <a:cubicBezTo>
                    <a:pt x="10172" y="13093"/>
                    <a:pt x="10170" y="13088"/>
                    <a:pt x="10167" y="13080"/>
                  </a:cubicBezTo>
                  <a:cubicBezTo>
                    <a:pt x="10288" y="13043"/>
                    <a:pt x="10288" y="13043"/>
                    <a:pt x="10288" y="13043"/>
                  </a:cubicBezTo>
                  <a:cubicBezTo>
                    <a:pt x="10291" y="13051"/>
                    <a:pt x="10293" y="13057"/>
                    <a:pt x="10294" y="13059"/>
                  </a:cubicBezTo>
                  <a:cubicBezTo>
                    <a:pt x="10157" y="13103"/>
                    <a:pt x="10014" y="13149"/>
                    <a:pt x="9876" y="13194"/>
                  </a:cubicBezTo>
                  <a:cubicBezTo>
                    <a:pt x="9875" y="13193"/>
                    <a:pt x="9873" y="13186"/>
                    <a:pt x="9869" y="13174"/>
                  </a:cubicBezTo>
                  <a:lnTo>
                    <a:pt x="10011" y="13130"/>
                  </a:lnTo>
                  <a:close/>
                  <a:moveTo>
                    <a:pt x="10255" y="12904"/>
                  </a:moveTo>
                  <a:cubicBezTo>
                    <a:pt x="10402" y="12858"/>
                    <a:pt x="10402" y="12858"/>
                    <a:pt x="10402" y="12858"/>
                  </a:cubicBezTo>
                  <a:cubicBezTo>
                    <a:pt x="10418" y="12907"/>
                    <a:pt x="10434" y="12951"/>
                    <a:pt x="10443" y="12980"/>
                  </a:cubicBezTo>
                  <a:cubicBezTo>
                    <a:pt x="10297" y="13026"/>
                    <a:pt x="10297" y="13026"/>
                    <a:pt x="10297" y="13026"/>
                  </a:cubicBezTo>
                  <a:cubicBezTo>
                    <a:pt x="10287" y="12998"/>
                    <a:pt x="10272" y="12954"/>
                    <a:pt x="10255" y="12904"/>
                  </a:cubicBezTo>
                  <a:close/>
                  <a:moveTo>
                    <a:pt x="10448" y="12992"/>
                  </a:moveTo>
                  <a:cubicBezTo>
                    <a:pt x="10450" y="12999"/>
                    <a:pt x="10452" y="13005"/>
                    <a:pt x="10453" y="13008"/>
                  </a:cubicBezTo>
                  <a:cubicBezTo>
                    <a:pt x="10405" y="13023"/>
                    <a:pt x="10356" y="13039"/>
                    <a:pt x="10307" y="13055"/>
                  </a:cubicBezTo>
                  <a:cubicBezTo>
                    <a:pt x="10306" y="13054"/>
                    <a:pt x="10304" y="13048"/>
                    <a:pt x="10301" y="13038"/>
                  </a:cubicBezTo>
                  <a:lnTo>
                    <a:pt x="10448" y="12992"/>
                  </a:lnTo>
                  <a:close/>
                  <a:moveTo>
                    <a:pt x="10415" y="12854"/>
                  </a:moveTo>
                  <a:cubicBezTo>
                    <a:pt x="10542" y="12813"/>
                    <a:pt x="10542" y="12813"/>
                    <a:pt x="10542" y="12813"/>
                  </a:cubicBezTo>
                  <a:cubicBezTo>
                    <a:pt x="10558" y="12860"/>
                    <a:pt x="10573" y="12905"/>
                    <a:pt x="10583" y="12936"/>
                  </a:cubicBezTo>
                  <a:cubicBezTo>
                    <a:pt x="10457" y="12976"/>
                    <a:pt x="10457" y="12976"/>
                    <a:pt x="10457" y="12976"/>
                  </a:cubicBezTo>
                  <a:cubicBezTo>
                    <a:pt x="10447" y="12947"/>
                    <a:pt x="10432" y="12903"/>
                    <a:pt x="10415" y="12854"/>
                  </a:cubicBezTo>
                  <a:close/>
                  <a:moveTo>
                    <a:pt x="10588" y="12948"/>
                  </a:moveTo>
                  <a:cubicBezTo>
                    <a:pt x="10590" y="12954"/>
                    <a:pt x="10591" y="12959"/>
                    <a:pt x="10593" y="12963"/>
                  </a:cubicBezTo>
                  <a:cubicBezTo>
                    <a:pt x="10552" y="12976"/>
                    <a:pt x="10510" y="12990"/>
                    <a:pt x="10466" y="13004"/>
                  </a:cubicBezTo>
                  <a:cubicBezTo>
                    <a:pt x="10465" y="13001"/>
                    <a:pt x="10464" y="12996"/>
                    <a:pt x="10461" y="12988"/>
                  </a:cubicBezTo>
                  <a:lnTo>
                    <a:pt x="10588" y="12948"/>
                  </a:lnTo>
                  <a:close/>
                  <a:moveTo>
                    <a:pt x="10555" y="12809"/>
                  </a:moveTo>
                  <a:cubicBezTo>
                    <a:pt x="10679" y="12770"/>
                    <a:pt x="10679" y="12770"/>
                    <a:pt x="10679" y="12770"/>
                  </a:cubicBezTo>
                  <a:cubicBezTo>
                    <a:pt x="10696" y="12818"/>
                    <a:pt x="10711" y="12862"/>
                    <a:pt x="10721" y="12892"/>
                  </a:cubicBezTo>
                  <a:cubicBezTo>
                    <a:pt x="10597" y="12932"/>
                    <a:pt x="10597" y="12932"/>
                    <a:pt x="10597" y="12932"/>
                  </a:cubicBezTo>
                  <a:cubicBezTo>
                    <a:pt x="10586" y="12900"/>
                    <a:pt x="10571" y="12856"/>
                    <a:pt x="10555" y="12809"/>
                  </a:cubicBezTo>
                  <a:close/>
                  <a:moveTo>
                    <a:pt x="10725" y="12905"/>
                  </a:moveTo>
                  <a:cubicBezTo>
                    <a:pt x="10727" y="12910"/>
                    <a:pt x="10729" y="12915"/>
                    <a:pt x="10730" y="12919"/>
                  </a:cubicBezTo>
                  <a:cubicBezTo>
                    <a:pt x="10691" y="12931"/>
                    <a:pt x="10649" y="12945"/>
                    <a:pt x="10606" y="12959"/>
                  </a:cubicBezTo>
                  <a:cubicBezTo>
                    <a:pt x="10605" y="12954"/>
                    <a:pt x="10603" y="12949"/>
                    <a:pt x="10601" y="12944"/>
                  </a:cubicBezTo>
                  <a:lnTo>
                    <a:pt x="10725" y="12905"/>
                  </a:lnTo>
                  <a:close/>
                  <a:moveTo>
                    <a:pt x="10693" y="12766"/>
                  </a:moveTo>
                  <a:cubicBezTo>
                    <a:pt x="10807" y="12729"/>
                    <a:pt x="10807" y="12729"/>
                    <a:pt x="10807" y="12729"/>
                  </a:cubicBezTo>
                  <a:cubicBezTo>
                    <a:pt x="10845" y="12853"/>
                    <a:pt x="10845" y="12853"/>
                    <a:pt x="10845" y="12853"/>
                  </a:cubicBezTo>
                  <a:cubicBezTo>
                    <a:pt x="10734" y="12888"/>
                    <a:pt x="10734" y="12888"/>
                    <a:pt x="10734" y="12888"/>
                  </a:cubicBezTo>
                  <a:cubicBezTo>
                    <a:pt x="10724" y="12858"/>
                    <a:pt x="10709" y="12814"/>
                    <a:pt x="10693" y="12766"/>
                  </a:cubicBezTo>
                  <a:close/>
                  <a:moveTo>
                    <a:pt x="10861" y="12862"/>
                  </a:moveTo>
                  <a:cubicBezTo>
                    <a:pt x="10818" y="12719"/>
                    <a:pt x="10818" y="12719"/>
                    <a:pt x="10818" y="12719"/>
                  </a:cubicBezTo>
                  <a:cubicBezTo>
                    <a:pt x="10816" y="12713"/>
                    <a:pt x="10816" y="12713"/>
                    <a:pt x="10816" y="12713"/>
                  </a:cubicBezTo>
                  <a:cubicBezTo>
                    <a:pt x="10688" y="12753"/>
                    <a:pt x="10688" y="12753"/>
                    <a:pt x="10688" y="12753"/>
                  </a:cubicBezTo>
                  <a:cubicBezTo>
                    <a:pt x="10686" y="12746"/>
                    <a:pt x="10684" y="12740"/>
                    <a:pt x="10681" y="12733"/>
                  </a:cubicBezTo>
                  <a:cubicBezTo>
                    <a:pt x="10648" y="12635"/>
                    <a:pt x="10614" y="12532"/>
                    <a:pt x="10612" y="12522"/>
                  </a:cubicBezTo>
                  <a:cubicBezTo>
                    <a:pt x="10610" y="12523"/>
                    <a:pt x="10610" y="12523"/>
                    <a:pt x="10610" y="12523"/>
                  </a:cubicBezTo>
                  <a:cubicBezTo>
                    <a:pt x="10606" y="12523"/>
                    <a:pt x="10606" y="12523"/>
                    <a:pt x="10606" y="12523"/>
                  </a:cubicBezTo>
                  <a:cubicBezTo>
                    <a:pt x="10612" y="12524"/>
                    <a:pt x="10612" y="12524"/>
                    <a:pt x="10612" y="12524"/>
                  </a:cubicBezTo>
                  <a:cubicBezTo>
                    <a:pt x="10606" y="12523"/>
                    <a:pt x="10606" y="12523"/>
                    <a:pt x="10606" y="12523"/>
                  </a:cubicBezTo>
                  <a:cubicBezTo>
                    <a:pt x="10609" y="12528"/>
                    <a:pt x="10609" y="12528"/>
                    <a:pt x="10609" y="12528"/>
                  </a:cubicBezTo>
                  <a:cubicBezTo>
                    <a:pt x="10605" y="12523"/>
                    <a:pt x="10605" y="12523"/>
                    <a:pt x="10605" y="12523"/>
                  </a:cubicBezTo>
                  <a:cubicBezTo>
                    <a:pt x="10601" y="12527"/>
                    <a:pt x="10601" y="12527"/>
                    <a:pt x="10601" y="12527"/>
                  </a:cubicBezTo>
                  <a:cubicBezTo>
                    <a:pt x="10610" y="12518"/>
                    <a:pt x="10610" y="12518"/>
                    <a:pt x="10610" y="12518"/>
                  </a:cubicBezTo>
                  <a:cubicBezTo>
                    <a:pt x="10609" y="12516"/>
                    <a:pt x="10604" y="12515"/>
                    <a:pt x="10602" y="12517"/>
                  </a:cubicBezTo>
                  <a:cubicBezTo>
                    <a:pt x="10600" y="12518"/>
                    <a:pt x="10600" y="12519"/>
                    <a:pt x="10599" y="12519"/>
                  </a:cubicBezTo>
                  <a:cubicBezTo>
                    <a:pt x="10599" y="12521"/>
                    <a:pt x="10599" y="12521"/>
                    <a:pt x="10599" y="12521"/>
                  </a:cubicBezTo>
                  <a:cubicBezTo>
                    <a:pt x="10598" y="12522"/>
                    <a:pt x="10598" y="12522"/>
                    <a:pt x="10598" y="12523"/>
                  </a:cubicBezTo>
                  <a:cubicBezTo>
                    <a:pt x="10599" y="12530"/>
                    <a:pt x="10607" y="12554"/>
                    <a:pt x="10620" y="12593"/>
                  </a:cubicBezTo>
                  <a:cubicBezTo>
                    <a:pt x="10633" y="12632"/>
                    <a:pt x="10650" y="12682"/>
                    <a:pt x="10667" y="12732"/>
                  </a:cubicBezTo>
                  <a:cubicBezTo>
                    <a:pt x="10669" y="12741"/>
                    <a:pt x="10672" y="12749"/>
                    <a:pt x="10675" y="12757"/>
                  </a:cubicBezTo>
                  <a:cubicBezTo>
                    <a:pt x="10551" y="12797"/>
                    <a:pt x="10551" y="12797"/>
                    <a:pt x="10551" y="12797"/>
                  </a:cubicBezTo>
                  <a:cubicBezTo>
                    <a:pt x="10549" y="12792"/>
                    <a:pt x="10548" y="12787"/>
                    <a:pt x="10546" y="12782"/>
                  </a:cubicBezTo>
                  <a:cubicBezTo>
                    <a:pt x="10513" y="12684"/>
                    <a:pt x="10479" y="12581"/>
                    <a:pt x="10477" y="12572"/>
                  </a:cubicBezTo>
                  <a:cubicBezTo>
                    <a:pt x="10475" y="12572"/>
                    <a:pt x="10475" y="12572"/>
                    <a:pt x="10475" y="12572"/>
                  </a:cubicBezTo>
                  <a:cubicBezTo>
                    <a:pt x="10471" y="12572"/>
                    <a:pt x="10471" y="12572"/>
                    <a:pt x="10471" y="12572"/>
                  </a:cubicBezTo>
                  <a:cubicBezTo>
                    <a:pt x="10477" y="12573"/>
                    <a:pt x="10477" y="12573"/>
                    <a:pt x="10477" y="12573"/>
                  </a:cubicBezTo>
                  <a:cubicBezTo>
                    <a:pt x="10470" y="12572"/>
                    <a:pt x="10470" y="12572"/>
                    <a:pt x="10470" y="12572"/>
                  </a:cubicBezTo>
                  <a:cubicBezTo>
                    <a:pt x="10470" y="12572"/>
                    <a:pt x="10470" y="12572"/>
                    <a:pt x="10470" y="12572"/>
                  </a:cubicBezTo>
                  <a:cubicBezTo>
                    <a:pt x="10475" y="12567"/>
                    <a:pt x="10475" y="12567"/>
                    <a:pt x="10475" y="12567"/>
                  </a:cubicBezTo>
                  <a:cubicBezTo>
                    <a:pt x="10474" y="12565"/>
                    <a:pt x="10468" y="12564"/>
                    <a:pt x="10466" y="12566"/>
                  </a:cubicBezTo>
                  <a:cubicBezTo>
                    <a:pt x="10464" y="12567"/>
                    <a:pt x="10464" y="12568"/>
                    <a:pt x="10464" y="12569"/>
                  </a:cubicBezTo>
                  <a:cubicBezTo>
                    <a:pt x="10463" y="12570"/>
                    <a:pt x="10463" y="12570"/>
                    <a:pt x="10463" y="12570"/>
                  </a:cubicBezTo>
                  <a:cubicBezTo>
                    <a:pt x="10463" y="12571"/>
                    <a:pt x="10463" y="12572"/>
                    <a:pt x="10463" y="12572"/>
                  </a:cubicBezTo>
                  <a:cubicBezTo>
                    <a:pt x="10463" y="12579"/>
                    <a:pt x="10472" y="12603"/>
                    <a:pt x="10484" y="12643"/>
                  </a:cubicBezTo>
                  <a:cubicBezTo>
                    <a:pt x="10497" y="12681"/>
                    <a:pt x="10514" y="12732"/>
                    <a:pt x="10531" y="12782"/>
                  </a:cubicBezTo>
                  <a:cubicBezTo>
                    <a:pt x="10533" y="12788"/>
                    <a:pt x="10535" y="12795"/>
                    <a:pt x="10538" y="12801"/>
                  </a:cubicBezTo>
                  <a:cubicBezTo>
                    <a:pt x="10411" y="12841"/>
                    <a:pt x="10411" y="12841"/>
                    <a:pt x="10411" y="12841"/>
                  </a:cubicBezTo>
                  <a:cubicBezTo>
                    <a:pt x="10408" y="12832"/>
                    <a:pt x="10404" y="12822"/>
                    <a:pt x="10401" y="12813"/>
                  </a:cubicBezTo>
                  <a:cubicBezTo>
                    <a:pt x="10368" y="12715"/>
                    <a:pt x="10334" y="12612"/>
                    <a:pt x="10332" y="12602"/>
                  </a:cubicBezTo>
                  <a:cubicBezTo>
                    <a:pt x="10330" y="12603"/>
                    <a:pt x="10330" y="12603"/>
                    <a:pt x="10330" y="12603"/>
                  </a:cubicBezTo>
                  <a:cubicBezTo>
                    <a:pt x="10326" y="12603"/>
                    <a:pt x="10326" y="12603"/>
                    <a:pt x="10326" y="12603"/>
                  </a:cubicBezTo>
                  <a:cubicBezTo>
                    <a:pt x="10332" y="12604"/>
                    <a:pt x="10332" y="12604"/>
                    <a:pt x="10332" y="12604"/>
                  </a:cubicBezTo>
                  <a:cubicBezTo>
                    <a:pt x="10325" y="12603"/>
                    <a:pt x="10325" y="12603"/>
                    <a:pt x="10325" y="12603"/>
                  </a:cubicBezTo>
                  <a:cubicBezTo>
                    <a:pt x="10329" y="12609"/>
                    <a:pt x="10329" y="12609"/>
                    <a:pt x="10329" y="12609"/>
                  </a:cubicBezTo>
                  <a:cubicBezTo>
                    <a:pt x="10325" y="12603"/>
                    <a:pt x="10325" y="12603"/>
                    <a:pt x="10325" y="12603"/>
                  </a:cubicBezTo>
                  <a:cubicBezTo>
                    <a:pt x="10326" y="12602"/>
                    <a:pt x="10326" y="12602"/>
                    <a:pt x="10326" y="12602"/>
                  </a:cubicBezTo>
                  <a:cubicBezTo>
                    <a:pt x="10741" y="12472"/>
                    <a:pt x="10741" y="12472"/>
                    <a:pt x="10741" y="12472"/>
                  </a:cubicBezTo>
                  <a:cubicBezTo>
                    <a:pt x="10743" y="12482"/>
                    <a:pt x="10751" y="12504"/>
                    <a:pt x="10762" y="12538"/>
                  </a:cubicBezTo>
                  <a:cubicBezTo>
                    <a:pt x="10774" y="12577"/>
                    <a:pt x="10791" y="12627"/>
                    <a:pt x="10808" y="12677"/>
                  </a:cubicBezTo>
                  <a:cubicBezTo>
                    <a:pt x="10838" y="12766"/>
                    <a:pt x="10868" y="12854"/>
                    <a:pt x="10875" y="12872"/>
                  </a:cubicBezTo>
                  <a:cubicBezTo>
                    <a:pt x="10835" y="12885"/>
                    <a:pt x="10791" y="12899"/>
                    <a:pt x="10743" y="12914"/>
                  </a:cubicBezTo>
                  <a:cubicBezTo>
                    <a:pt x="10742" y="12911"/>
                    <a:pt x="10740" y="12906"/>
                    <a:pt x="10739" y="12901"/>
                  </a:cubicBezTo>
                  <a:lnTo>
                    <a:pt x="10861" y="12862"/>
                  </a:lnTo>
                  <a:close/>
                  <a:moveTo>
                    <a:pt x="10823" y="12677"/>
                  </a:moveTo>
                  <a:cubicBezTo>
                    <a:pt x="10790" y="12581"/>
                    <a:pt x="10757" y="12480"/>
                    <a:pt x="10754" y="12468"/>
                  </a:cubicBezTo>
                  <a:cubicBezTo>
                    <a:pt x="10977" y="12398"/>
                    <a:pt x="10977" y="12398"/>
                    <a:pt x="10977" y="12398"/>
                  </a:cubicBezTo>
                  <a:cubicBezTo>
                    <a:pt x="11115" y="12795"/>
                    <a:pt x="11115" y="12795"/>
                    <a:pt x="11115" y="12795"/>
                  </a:cubicBezTo>
                  <a:cubicBezTo>
                    <a:pt x="11094" y="12802"/>
                    <a:pt x="11010" y="12829"/>
                    <a:pt x="10888" y="12868"/>
                  </a:cubicBezTo>
                  <a:cubicBezTo>
                    <a:pt x="10882" y="12851"/>
                    <a:pt x="10853" y="12766"/>
                    <a:pt x="10823" y="12677"/>
                  </a:cubicBezTo>
                  <a:close/>
                  <a:moveTo>
                    <a:pt x="10903" y="11984"/>
                  </a:moveTo>
                  <a:cubicBezTo>
                    <a:pt x="11006" y="11950"/>
                    <a:pt x="11109" y="11917"/>
                    <a:pt x="11208" y="11884"/>
                  </a:cubicBezTo>
                  <a:cubicBezTo>
                    <a:pt x="11353" y="12264"/>
                    <a:pt x="11353" y="12264"/>
                    <a:pt x="11353" y="12264"/>
                  </a:cubicBezTo>
                  <a:cubicBezTo>
                    <a:pt x="11035" y="12365"/>
                    <a:pt x="11035" y="12365"/>
                    <a:pt x="11035" y="12365"/>
                  </a:cubicBezTo>
                  <a:lnTo>
                    <a:pt x="10903" y="11984"/>
                  </a:lnTo>
                  <a:close/>
                  <a:moveTo>
                    <a:pt x="11221" y="11880"/>
                  </a:moveTo>
                  <a:cubicBezTo>
                    <a:pt x="11342" y="11840"/>
                    <a:pt x="11456" y="11803"/>
                    <a:pt x="11554" y="11771"/>
                  </a:cubicBezTo>
                  <a:cubicBezTo>
                    <a:pt x="11700" y="12153"/>
                    <a:pt x="11700" y="12153"/>
                    <a:pt x="11700" y="12153"/>
                  </a:cubicBezTo>
                  <a:cubicBezTo>
                    <a:pt x="11366" y="12260"/>
                    <a:pt x="11366" y="12260"/>
                    <a:pt x="11366" y="12260"/>
                  </a:cubicBezTo>
                  <a:lnTo>
                    <a:pt x="11221" y="11880"/>
                  </a:lnTo>
                  <a:close/>
                  <a:moveTo>
                    <a:pt x="11567" y="11767"/>
                  </a:moveTo>
                  <a:cubicBezTo>
                    <a:pt x="11699" y="11724"/>
                    <a:pt x="11800" y="11691"/>
                    <a:pt x="11846" y="11676"/>
                  </a:cubicBezTo>
                  <a:cubicBezTo>
                    <a:pt x="11873" y="11733"/>
                    <a:pt x="11942" y="11880"/>
                    <a:pt x="12015" y="12032"/>
                  </a:cubicBezTo>
                  <a:cubicBezTo>
                    <a:pt x="12018" y="12038"/>
                    <a:pt x="12020" y="12044"/>
                    <a:pt x="12023" y="12050"/>
                  </a:cubicBezTo>
                  <a:cubicBezTo>
                    <a:pt x="11714" y="12149"/>
                    <a:pt x="11714" y="12149"/>
                    <a:pt x="11714" y="12149"/>
                  </a:cubicBezTo>
                  <a:lnTo>
                    <a:pt x="11567" y="11767"/>
                  </a:lnTo>
                  <a:close/>
                  <a:moveTo>
                    <a:pt x="11907" y="11652"/>
                  </a:moveTo>
                  <a:cubicBezTo>
                    <a:pt x="11936" y="11638"/>
                    <a:pt x="11981" y="11612"/>
                    <a:pt x="12038" y="11567"/>
                  </a:cubicBezTo>
                  <a:cubicBezTo>
                    <a:pt x="12053" y="11556"/>
                    <a:pt x="12078" y="11534"/>
                    <a:pt x="12109" y="11505"/>
                  </a:cubicBezTo>
                  <a:cubicBezTo>
                    <a:pt x="12120" y="11510"/>
                    <a:pt x="12134" y="11518"/>
                    <a:pt x="12151" y="11528"/>
                  </a:cubicBezTo>
                  <a:cubicBezTo>
                    <a:pt x="12187" y="11548"/>
                    <a:pt x="12235" y="11576"/>
                    <a:pt x="12282" y="11603"/>
                  </a:cubicBezTo>
                  <a:cubicBezTo>
                    <a:pt x="12358" y="11647"/>
                    <a:pt x="12432" y="11691"/>
                    <a:pt x="12458" y="11706"/>
                  </a:cubicBezTo>
                  <a:cubicBezTo>
                    <a:pt x="12407" y="11831"/>
                    <a:pt x="12407" y="11831"/>
                    <a:pt x="12407" y="11831"/>
                  </a:cubicBezTo>
                  <a:cubicBezTo>
                    <a:pt x="12084" y="12024"/>
                    <a:pt x="12084" y="12024"/>
                    <a:pt x="12084" y="12024"/>
                  </a:cubicBezTo>
                  <a:cubicBezTo>
                    <a:pt x="12010" y="11869"/>
                    <a:pt x="11937" y="11715"/>
                    <a:pt x="11907" y="11652"/>
                  </a:cubicBezTo>
                  <a:close/>
                  <a:moveTo>
                    <a:pt x="12120" y="11495"/>
                  </a:moveTo>
                  <a:cubicBezTo>
                    <a:pt x="12179" y="11440"/>
                    <a:pt x="12258" y="11363"/>
                    <a:pt x="12340" y="11284"/>
                  </a:cubicBezTo>
                  <a:cubicBezTo>
                    <a:pt x="12345" y="11291"/>
                    <a:pt x="12351" y="11299"/>
                    <a:pt x="12358" y="11308"/>
                  </a:cubicBezTo>
                  <a:cubicBezTo>
                    <a:pt x="12377" y="11336"/>
                    <a:pt x="12401" y="11373"/>
                    <a:pt x="12426" y="11410"/>
                  </a:cubicBezTo>
                  <a:cubicBezTo>
                    <a:pt x="12468" y="11474"/>
                    <a:pt x="12510" y="11539"/>
                    <a:pt x="12519" y="11553"/>
                  </a:cubicBezTo>
                  <a:cubicBezTo>
                    <a:pt x="12463" y="11693"/>
                    <a:pt x="12463" y="11693"/>
                    <a:pt x="12463" y="11693"/>
                  </a:cubicBezTo>
                  <a:cubicBezTo>
                    <a:pt x="12409" y="11662"/>
                    <a:pt x="12196" y="11536"/>
                    <a:pt x="12120" y="11495"/>
                  </a:cubicBezTo>
                  <a:close/>
                  <a:moveTo>
                    <a:pt x="12334" y="11199"/>
                  </a:moveTo>
                  <a:cubicBezTo>
                    <a:pt x="11729" y="10439"/>
                    <a:pt x="11729" y="10439"/>
                    <a:pt x="11729" y="10439"/>
                  </a:cubicBezTo>
                  <a:cubicBezTo>
                    <a:pt x="11748" y="10426"/>
                    <a:pt x="11775" y="10405"/>
                    <a:pt x="11819" y="10367"/>
                  </a:cubicBezTo>
                  <a:cubicBezTo>
                    <a:pt x="11854" y="10336"/>
                    <a:pt x="11885" y="10329"/>
                    <a:pt x="11912" y="10329"/>
                  </a:cubicBezTo>
                  <a:cubicBezTo>
                    <a:pt x="11943" y="10329"/>
                    <a:pt x="11968" y="10341"/>
                    <a:pt x="11975" y="10344"/>
                  </a:cubicBezTo>
                  <a:cubicBezTo>
                    <a:pt x="12636" y="10902"/>
                    <a:pt x="12636" y="10902"/>
                    <a:pt x="12636" y="10902"/>
                  </a:cubicBezTo>
                  <a:cubicBezTo>
                    <a:pt x="12595" y="10942"/>
                    <a:pt x="12481" y="11055"/>
                    <a:pt x="12359" y="11174"/>
                  </a:cubicBezTo>
                  <a:cubicBezTo>
                    <a:pt x="12350" y="11182"/>
                    <a:pt x="12342" y="11191"/>
                    <a:pt x="12334" y="11199"/>
                  </a:cubicBezTo>
                  <a:close/>
                  <a:moveTo>
                    <a:pt x="12286" y="11245"/>
                  </a:moveTo>
                  <a:cubicBezTo>
                    <a:pt x="12158" y="11370"/>
                    <a:pt x="12034" y="11487"/>
                    <a:pt x="11998" y="11516"/>
                  </a:cubicBezTo>
                  <a:cubicBezTo>
                    <a:pt x="11918" y="11578"/>
                    <a:pt x="11864" y="11600"/>
                    <a:pt x="11854" y="11604"/>
                  </a:cubicBezTo>
                  <a:cubicBezTo>
                    <a:pt x="11853" y="11604"/>
                    <a:pt x="11852" y="11604"/>
                    <a:pt x="11853" y="11604"/>
                  </a:cubicBezTo>
                  <a:cubicBezTo>
                    <a:pt x="11852" y="11604"/>
                    <a:pt x="11754" y="11637"/>
                    <a:pt x="11602" y="11687"/>
                  </a:cubicBezTo>
                  <a:cubicBezTo>
                    <a:pt x="11449" y="11736"/>
                    <a:pt x="11243" y="11804"/>
                    <a:pt x="11028" y="11874"/>
                  </a:cubicBezTo>
                  <a:cubicBezTo>
                    <a:pt x="10973" y="11892"/>
                    <a:pt x="10916" y="11911"/>
                    <a:pt x="10860" y="11929"/>
                  </a:cubicBezTo>
                  <a:cubicBezTo>
                    <a:pt x="10746" y="11560"/>
                    <a:pt x="10746" y="11560"/>
                    <a:pt x="10746" y="11560"/>
                  </a:cubicBezTo>
                  <a:cubicBezTo>
                    <a:pt x="10585" y="11591"/>
                    <a:pt x="10585" y="11591"/>
                    <a:pt x="10585" y="11591"/>
                  </a:cubicBezTo>
                  <a:cubicBezTo>
                    <a:pt x="10576" y="11572"/>
                    <a:pt x="10545" y="11506"/>
                    <a:pt x="10541" y="11498"/>
                  </a:cubicBezTo>
                  <a:cubicBezTo>
                    <a:pt x="10541" y="11498"/>
                    <a:pt x="10541" y="11498"/>
                    <a:pt x="10541" y="11498"/>
                  </a:cubicBezTo>
                  <a:cubicBezTo>
                    <a:pt x="10541" y="11497"/>
                    <a:pt x="10540" y="11496"/>
                    <a:pt x="10539" y="11495"/>
                  </a:cubicBezTo>
                  <a:cubicBezTo>
                    <a:pt x="10538" y="11494"/>
                    <a:pt x="10536" y="11493"/>
                    <a:pt x="10535" y="11493"/>
                  </a:cubicBezTo>
                  <a:cubicBezTo>
                    <a:pt x="10534" y="11493"/>
                    <a:pt x="10533" y="11493"/>
                    <a:pt x="10532" y="11493"/>
                  </a:cubicBezTo>
                  <a:cubicBezTo>
                    <a:pt x="10532" y="11493"/>
                    <a:pt x="10532" y="11493"/>
                    <a:pt x="10532" y="11493"/>
                  </a:cubicBezTo>
                  <a:cubicBezTo>
                    <a:pt x="10531" y="11494"/>
                    <a:pt x="10531" y="11494"/>
                    <a:pt x="10530" y="11494"/>
                  </a:cubicBezTo>
                  <a:cubicBezTo>
                    <a:pt x="10530" y="11495"/>
                    <a:pt x="10529" y="11495"/>
                    <a:pt x="10529" y="11496"/>
                  </a:cubicBezTo>
                  <a:cubicBezTo>
                    <a:pt x="10528" y="11496"/>
                    <a:pt x="10527" y="11497"/>
                    <a:pt x="10525" y="11497"/>
                  </a:cubicBezTo>
                  <a:cubicBezTo>
                    <a:pt x="10520" y="11499"/>
                    <a:pt x="10513" y="11502"/>
                    <a:pt x="10504" y="11505"/>
                  </a:cubicBezTo>
                  <a:cubicBezTo>
                    <a:pt x="10487" y="11511"/>
                    <a:pt x="10462" y="11520"/>
                    <a:pt x="10431" y="11530"/>
                  </a:cubicBezTo>
                  <a:cubicBezTo>
                    <a:pt x="10371" y="11551"/>
                    <a:pt x="10290" y="11578"/>
                    <a:pt x="10209" y="11604"/>
                  </a:cubicBezTo>
                  <a:cubicBezTo>
                    <a:pt x="10047" y="11657"/>
                    <a:pt x="9886" y="11709"/>
                    <a:pt x="9886" y="11709"/>
                  </a:cubicBezTo>
                  <a:cubicBezTo>
                    <a:pt x="9879" y="11711"/>
                    <a:pt x="9879" y="11711"/>
                    <a:pt x="9879" y="11711"/>
                  </a:cubicBezTo>
                  <a:cubicBezTo>
                    <a:pt x="9975" y="12032"/>
                    <a:pt x="9975" y="12032"/>
                    <a:pt x="9975" y="12032"/>
                  </a:cubicBezTo>
                  <a:cubicBezTo>
                    <a:pt x="9812" y="12105"/>
                    <a:pt x="9812" y="12105"/>
                    <a:pt x="9812" y="12105"/>
                  </a:cubicBezTo>
                  <a:cubicBezTo>
                    <a:pt x="9811" y="12107"/>
                    <a:pt x="9811" y="12107"/>
                    <a:pt x="9811" y="12107"/>
                  </a:cubicBezTo>
                  <a:cubicBezTo>
                    <a:pt x="9811" y="12108"/>
                    <a:pt x="9781" y="12186"/>
                    <a:pt x="9776" y="12225"/>
                  </a:cubicBezTo>
                  <a:cubicBezTo>
                    <a:pt x="9643" y="12210"/>
                    <a:pt x="9529" y="12154"/>
                    <a:pt x="9485" y="12130"/>
                  </a:cubicBezTo>
                  <a:cubicBezTo>
                    <a:pt x="10675" y="9608"/>
                    <a:pt x="10675" y="9608"/>
                    <a:pt x="10675" y="9608"/>
                  </a:cubicBezTo>
                  <a:cubicBezTo>
                    <a:pt x="10742" y="9653"/>
                    <a:pt x="10898" y="9756"/>
                    <a:pt x="11049" y="9855"/>
                  </a:cubicBezTo>
                  <a:cubicBezTo>
                    <a:pt x="11148" y="9920"/>
                    <a:pt x="11228" y="9979"/>
                    <a:pt x="11283" y="10021"/>
                  </a:cubicBezTo>
                  <a:cubicBezTo>
                    <a:pt x="11329" y="10057"/>
                    <a:pt x="11358" y="10080"/>
                    <a:pt x="11366" y="10087"/>
                  </a:cubicBezTo>
                  <a:lnTo>
                    <a:pt x="12286" y="11245"/>
                  </a:lnTo>
                  <a:close/>
                  <a:moveTo>
                    <a:pt x="12572" y="14349"/>
                  </a:moveTo>
                  <a:cubicBezTo>
                    <a:pt x="12426" y="14322"/>
                    <a:pt x="11990" y="14243"/>
                    <a:pt x="11822" y="14218"/>
                  </a:cubicBezTo>
                  <a:cubicBezTo>
                    <a:pt x="11810" y="14216"/>
                    <a:pt x="11798" y="14215"/>
                    <a:pt x="11787" y="14215"/>
                  </a:cubicBezTo>
                  <a:cubicBezTo>
                    <a:pt x="11736" y="14215"/>
                    <a:pt x="11693" y="14234"/>
                    <a:pt x="11663" y="14262"/>
                  </a:cubicBezTo>
                  <a:cubicBezTo>
                    <a:pt x="11632" y="14290"/>
                    <a:pt x="11613" y="14325"/>
                    <a:pt x="11599" y="14359"/>
                  </a:cubicBezTo>
                  <a:cubicBezTo>
                    <a:pt x="11572" y="14427"/>
                    <a:pt x="11570" y="14492"/>
                    <a:pt x="11570" y="14494"/>
                  </a:cubicBezTo>
                  <a:cubicBezTo>
                    <a:pt x="11569" y="14495"/>
                    <a:pt x="11569" y="14495"/>
                    <a:pt x="11569" y="14495"/>
                  </a:cubicBezTo>
                  <a:cubicBezTo>
                    <a:pt x="11593" y="14911"/>
                    <a:pt x="11593" y="14911"/>
                    <a:pt x="11593" y="14911"/>
                  </a:cubicBezTo>
                  <a:cubicBezTo>
                    <a:pt x="11611" y="14920"/>
                    <a:pt x="11611" y="14920"/>
                    <a:pt x="11611" y="14920"/>
                  </a:cubicBezTo>
                  <a:cubicBezTo>
                    <a:pt x="11787" y="15001"/>
                    <a:pt x="11822" y="15106"/>
                    <a:pt x="11824" y="15195"/>
                  </a:cubicBezTo>
                  <a:cubicBezTo>
                    <a:pt x="11824" y="15271"/>
                    <a:pt x="11793" y="15336"/>
                    <a:pt x="11786" y="15349"/>
                  </a:cubicBezTo>
                  <a:cubicBezTo>
                    <a:pt x="11785" y="15351"/>
                    <a:pt x="11784" y="15351"/>
                    <a:pt x="11784" y="15351"/>
                  </a:cubicBezTo>
                  <a:cubicBezTo>
                    <a:pt x="11784" y="15352"/>
                    <a:pt x="11784" y="15352"/>
                    <a:pt x="11784" y="15352"/>
                  </a:cubicBezTo>
                  <a:cubicBezTo>
                    <a:pt x="11378" y="16129"/>
                    <a:pt x="11378" y="16129"/>
                    <a:pt x="11378" y="16129"/>
                  </a:cubicBezTo>
                  <a:cubicBezTo>
                    <a:pt x="11368" y="16121"/>
                    <a:pt x="11358" y="16113"/>
                    <a:pt x="11348" y="16106"/>
                  </a:cubicBezTo>
                  <a:cubicBezTo>
                    <a:pt x="11053" y="15893"/>
                    <a:pt x="10710" y="15656"/>
                    <a:pt x="10553" y="15535"/>
                  </a:cubicBezTo>
                  <a:cubicBezTo>
                    <a:pt x="10422" y="15435"/>
                    <a:pt x="10216" y="15277"/>
                    <a:pt x="10145" y="15223"/>
                  </a:cubicBezTo>
                  <a:cubicBezTo>
                    <a:pt x="10145" y="15221"/>
                    <a:pt x="10146" y="15219"/>
                    <a:pt x="10146" y="15218"/>
                  </a:cubicBezTo>
                  <a:cubicBezTo>
                    <a:pt x="10146" y="15214"/>
                    <a:pt x="10146" y="15210"/>
                    <a:pt x="10146" y="15206"/>
                  </a:cubicBezTo>
                  <a:cubicBezTo>
                    <a:pt x="10147" y="15196"/>
                    <a:pt x="10147" y="15183"/>
                    <a:pt x="10147" y="15166"/>
                  </a:cubicBezTo>
                  <a:cubicBezTo>
                    <a:pt x="10148" y="15132"/>
                    <a:pt x="10148" y="15084"/>
                    <a:pt x="10148" y="15026"/>
                  </a:cubicBezTo>
                  <a:cubicBezTo>
                    <a:pt x="10148" y="14678"/>
                    <a:pt x="10141" y="13977"/>
                    <a:pt x="10141" y="13977"/>
                  </a:cubicBezTo>
                  <a:cubicBezTo>
                    <a:pt x="10141" y="13976"/>
                    <a:pt x="10141" y="13976"/>
                    <a:pt x="10141" y="13976"/>
                  </a:cubicBezTo>
                  <a:cubicBezTo>
                    <a:pt x="10141" y="13975"/>
                    <a:pt x="10141" y="13975"/>
                    <a:pt x="10141" y="13975"/>
                  </a:cubicBezTo>
                  <a:cubicBezTo>
                    <a:pt x="10141" y="13972"/>
                    <a:pt x="10135" y="13903"/>
                    <a:pt x="10085" y="13832"/>
                  </a:cubicBezTo>
                  <a:cubicBezTo>
                    <a:pt x="10035" y="13761"/>
                    <a:pt x="9937" y="13691"/>
                    <a:pt x="9768" y="13692"/>
                  </a:cubicBezTo>
                  <a:cubicBezTo>
                    <a:pt x="9763" y="13692"/>
                    <a:pt x="9758" y="13692"/>
                    <a:pt x="9752" y="13692"/>
                  </a:cubicBezTo>
                  <a:cubicBezTo>
                    <a:pt x="9705" y="13693"/>
                    <a:pt x="9651" y="13694"/>
                    <a:pt x="9593" y="13693"/>
                  </a:cubicBezTo>
                  <a:cubicBezTo>
                    <a:pt x="9419" y="13694"/>
                    <a:pt x="9210" y="13689"/>
                    <a:pt x="9045" y="13685"/>
                  </a:cubicBezTo>
                  <a:cubicBezTo>
                    <a:pt x="9017" y="13684"/>
                    <a:pt x="8990" y="13683"/>
                    <a:pt x="8965" y="13682"/>
                  </a:cubicBezTo>
                  <a:cubicBezTo>
                    <a:pt x="9698" y="13433"/>
                    <a:pt x="9698" y="13433"/>
                    <a:pt x="9698" y="13433"/>
                  </a:cubicBezTo>
                  <a:cubicBezTo>
                    <a:pt x="11003" y="13005"/>
                    <a:pt x="11003" y="13005"/>
                    <a:pt x="11003" y="13005"/>
                  </a:cubicBezTo>
                  <a:cubicBezTo>
                    <a:pt x="11660" y="12821"/>
                    <a:pt x="11660" y="12821"/>
                    <a:pt x="11660" y="12821"/>
                  </a:cubicBezTo>
                  <a:cubicBezTo>
                    <a:pt x="11768" y="12945"/>
                    <a:pt x="12004" y="13169"/>
                    <a:pt x="12005" y="13169"/>
                  </a:cubicBezTo>
                  <a:cubicBezTo>
                    <a:pt x="12007" y="13172"/>
                    <a:pt x="12007" y="13172"/>
                    <a:pt x="12007" y="13172"/>
                  </a:cubicBezTo>
                  <a:cubicBezTo>
                    <a:pt x="12010" y="13173"/>
                    <a:pt x="12010" y="13173"/>
                    <a:pt x="12010" y="13173"/>
                  </a:cubicBezTo>
                  <a:cubicBezTo>
                    <a:pt x="12010" y="13173"/>
                    <a:pt x="12162" y="13269"/>
                    <a:pt x="12329" y="13370"/>
                  </a:cubicBezTo>
                  <a:cubicBezTo>
                    <a:pt x="12496" y="13472"/>
                    <a:pt x="12673" y="13578"/>
                    <a:pt x="12733" y="13605"/>
                  </a:cubicBezTo>
                  <a:cubicBezTo>
                    <a:pt x="12797" y="13634"/>
                    <a:pt x="12795" y="13655"/>
                    <a:pt x="12796" y="13661"/>
                  </a:cubicBezTo>
                  <a:cubicBezTo>
                    <a:pt x="12796" y="13663"/>
                    <a:pt x="12796" y="13665"/>
                    <a:pt x="12796" y="13666"/>
                  </a:cubicBezTo>
                  <a:cubicBezTo>
                    <a:pt x="12795" y="13667"/>
                    <a:pt x="12795" y="13667"/>
                    <a:pt x="12795" y="13667"/>
                  </a:cubicBezTo>
                  <a:cubicBezTo>
                    <a:pt x="12725" y="13867"/>
                    <a:pt x="12725" y="13867"/>
                    <a:pt x="12725" y="13867"/>
                  </a:cubicBezTo>
                  <a:cubicBezTo>
                    <a:pt x="12531" y="14165"/>
                    <a:pt x="12531" y="14165"/>
                    <a:pt x="12531" y="14165"/>
                  </a:cubicBezTo>
                  <a:lnTo>
                    <a:pt x="12572" y="14349"/>
                  </a:lnTo>
                  <a:close/>
                  <a:moveTo>
                    <a:pt x="9141" y="15967"/>
                  </a:moveTo>
                  <a:cubicBezTo>
                    <a:pt x="9135" y="15970"/>
                    <a:pt x="9135" y="15970"/>
                    <a:pt x="9135" y="15970"/>
                  </a:cubicBezTo>
                  <a:cubicBezTo>
                    <a:pt x="9116" y="15965"/>
                    <a:pt x="8992" y="15934"/>
                    <a:pt x="8866" y="15903"/>
                  </a:cubicBezTo>
                  <a:cubicBezTo>
                    <a:pt x="8765" y="15878"/>
                    <a:pt x="8665" y="15854"/>
                    <a:pt x="8616" y="15842"/>
                  </a:cubicBezTo>
                  <a:cubicBezTo>
                    <a:pt x="8620" y="15633"/>
                    <a:pt x="8625" y="15426"/>
                    <a:pt x="8627" y="15405"/>
                  </a:cubicBezTo>
                  <a:cubicBezTo>
                    <a:pt x="8640" y="15292"/>
                    <a:pt x="8699" y="15241"/>
                    <a:pt x="8759" y="15211"/>
                  </a:cubicBezTo>
                  <a:cubicBezTo>
                    <a:pt x="8819" y="15183"/>
                    <a:pt x="8879" y="15182"/>
                    <a:pt x="8887" y="15182"/>
                  </a:cubicBezTo>
                  <a:cubicBezTo>
                    <a:pt x="9482" y="15222"/>
                    <a:pt x="9482" y="15222"/>
                    <a:pt x="9482" y="15222"/>
                  </a:cubicBezTo>
                  <a:cubicBezTo>
                    <a:pt x="9512" y="15788"/>
                    <a:pt x="9512" y="15788"/>
                    <a:pt x="9512" y="15788"/>
                  </a:cubicBezTo>
                  <a:cubicBezTo>
                    <a:pt x="9148" y="15963"/>
                    <a:pt x="9148" y="15963"/>
                    <a:pt x="9148" y="15963"/>
                  </a:cubicBezTo>
                  <a:cubicBezTo>
                    <a:pt x="9147" y="15963"/>
                    <a:pt x="9147" y="15963"/>
                    <a:pt x="9145" y="15962"/>
                  </a:cubicBezTo>
                  <a:cubicBezTo>
                    <a:pt x="9144" y="15962"/>
                    <a:pt x="9141" y="15964"/>
                    <a:pt x="9140" y="15965"/>
                  </a:cubicBezTo>
                  <a:cubicBezTo>
                    <a:pt x="9140" y="15966"/>
                    <a:pt x="9139" y="15966"/>
                    <a:pt x="9139" y="15966"/>
                  </a:cubicBezTo>
                  <a:lnTo>
                    <a:pt x="9141" y="15967"/>
                  </a:lnTo>
                  <a:close/>
                  <a:moveTo>
                    <a:pt x="9496" y="15223"/>
                  </a:moveTo>
                  <a:cubicBezTo>
                    <a:pt x="10088" y="15262"/>
                    <a:pt x="10088" y="15262"/>
                    <a:pt x="10088" y="15262"/>
                  </a:cubicBezTo>
                  <a:cubicBezTo>
                    <a:pt x="10124" y="15290"/>
                    <a:pt x="10278" y="15407"/>
                    <a:pt x="10412" y="15510"/>
                  </a:cubicBezTo>
                  <a:cubicBezTo>
                    <a:pt x="10404" y="15523"/>
                    <a:pt x="10394" y="15540"/>
                    <a:pt x="10381" y="15560"/>
                  </a:cubicBezTo>
                  <a:cubicBezTo>
                    <a:pt x="10352" y="15608"/>
                    <a:pt x="10315" y="15671"/>
                    <a:pt x="10277" y="15733"/>
                  </a:cubicBezTo>
                  <a:cubicBezTo>
                    <a:pt x="10210" y="15845"/>
                    <a:pt x="10144" y="15955"/>
                    <a:pt x="10130" y="15979"/>
                  </a:cubicBezTo>
                  <a:cubicBezTo>
                    <a:pt x="9526" y="15787"/>
                    <a:pt x="9526" y="15787"/>
                    <a:pt x="9526" y="15787"/>
                  </a:cubicBezTo>
                  <a:lnTo>
                    <a:pt x="9496" y="15223"/>
                  </a:lnTo>
                  <a:close/>
                  <a:moveTo>
                    <a:pt x="10285" y="15746"/>
                  </a:moveTo>
                  <a:cubicBezTo>
                    <a:pt x="10339" y="15656"/>
                    <a:pt x="10395" y="15565"/>
                    <a:pt x="10423" y="15518"/>
                  </a:cubicBezTo>
                  <a:cubicBezTo>
                    <a:pt x="10455" y="15543"/>
                    <a:pt x="10485" y="15566"/>
                    <a:pt x="10513" y="15587"/>
                  </a:cubicBezTo>
                  <a:cubicBezTo>
                    <a:pt x="10673" y="15710"/>
                    <a:pt x="11016" y="15947"/>
                    <a:pt x="11309" y="16159"/>
                  </a:cubicBezTo>
                  <a:cubicBezTo>
                    <a:pt x="11316" y="16164"/>
                    <a:pt x="11322" y="16168"/>
                    <a:pt x="11328" y="16173"/>
                  </a:cubicBezTo>
                  <a:cubicBezTo>
                    <a:pt x="11322" y="16178"/>
                    <a:pt x="11315" y="16184"/>
                    <a:pt x="11307" y="16190"/>
                  </a:cubicBezTo>
                  <a:cubicBezTo>
                    <a:pt x="11273" y="16216"/>
                    <a:pt x="11224" y="16254"/>
                    <a:pt x="11166" y="16298"/>
                  </a:cubicBezTo>
                  <a:cubicBezTo>
                    <a:pt x="11084" y="16362"/>
                    <a:pt x="10982" y="16442"/>
                    <a:pt x="10875" y="16525"/>
                  </a:cubicBezTo>
                  <a:cubicBezTo>
                    <a:pt x="10494" y="16363"/>
                    <a:pt x="10494" y="16363"/>
                    <a:pt x="10494" y="16363"/>
                  </a:cubicBezTo>
                  <a:cubicBezTo>
                    <a:pt x="10142" y="15986"/>
                    <a:pt x="10142" y="15986"/>
                    <a:pt x="10142" y="15986"/>
                  </a:cubicBezTo>
                  <a:cubicBezTo>
                    <a:pt x="10156" y="15964"/>
                    <a:pt x="10220" y="15856"/>
                    <a:pt x="10285" y="15746"/>
                  </a:cubicBezTo>
                  <a:close/>
                  <a:moveTo>
                    <a:pt x="9593" y="13759"/>
                  </a:moveTo>
                  <a:cubicBezTo>
                    <a:pt x="9651" y="13759"/>
                    <a:pt x="9706" y="13759"/>
                    <a:pt x="9754" y="13757"/>
                  </a:cubicBezTo>
                  <a:cubicBezTo>
                    <a:pt x="9759" y="13757"/>
                    <a:pt x="9764" y="13757"/>
                    <a:pt x="9768" y="13757"/>
                  </a:cubicBezTo>
                  <a:cubicBezTo>
                    <a:pt x="9901" y="13758"/>
                    <a:pt x="9972" y="13802"/>
                    <a:pt x="10015" y="13849"/>
                  </a:cubicBezTo>
                  <a:cubicBezTo>
                    <a:pt x="10058" y="13897"/>
                    <a:pt x="10071" y="13952"/>
                    <a:pt x="10074" y="13972"/>
                  </a:cubicBezTo>
                  <a:cubicBezTo>
                    <a:pt x="10075" y="13976"/>
                    <a:pt x="10075" y="13978"/>
                    <a:pt x="10075" y="13979"/>
                  </a:cubicBezTo>
                  <a:cubicBezTo>
                    <a:pt x="10076" y="13995"/>
                    <a:pt x="10077" y="14164"/>
                    <a:pt x="10079" y="14372"/>
                  </a:cubicBezTo>
                  <a:cubicBezTo>
                    <a:pt x="10081" y="14590"/>
                    <a:pt x="10082" y="14852"/>
                    <a:pt x="10082" y="15026"/>
                  </a:cubicBezTo>
                  <a:cubicBezTo>
                    <a:pt x="10082" y="15106"/>
                    <a:pt x="10082" y="15168"/>
                    <a:pt x="10081" y="15196"/>
                  </a:cubicBezTo>
                  <a:cubicBezTo>
                    <a:pt x="8890" y="15116"/>
                    <a:pt x="8890" y="15116"/>
                    <a:pt x="8890" y="15116"/>
                  </a:cubicBezTo>
                  <a:cubicBezTo>
                    <a:pt x="8890" y="15116"/>
                    <a:pt x="8889" y="15116"/>
                    <a:pt x="8887" y="15116"/>
                  </a:cubicBezTo>
                  <a:cubicBezTo>
                    <a:pt x="8880" y="15116"/>
                    <a:pt x="8842" y="15117"/>
                    <a:pt x="8794" y="15130"/>
                  </a:cubicBezTo>
                  <a:cubicBezTo>
                    <a:pt x="8797" y="15126"/>
                    <a:pt x="8797" y="15126"/>
                    <a:pt x="8797" y="15126"/>
                  </a:cubicBezTo>
                  <a:cubicBezTo>
                    <a:pt x="8796" y="15126"/>
                    <a:pt x="8606" y="14994"/>
                    <a:pt x="8388" y="14842"/>
                  </a:cubicBezTo>
                  <a:cubicBezTo>
                    <a:pt x="8170" y="14690"/>
                    <a:pt x="7925" y="14519"/>
                    <a:pt x="7817" y="14442"/>
                  </a:cubicBezTo>
                  <a:cubicBezTo>
                    <a:pt x="7802" y="14431"/>
                    <a:pt x="7788" y="14421"/>
                    <a:pt x="7779" y="14414"/>
                  </a:cubicBezTo>
                  <a:cubicBezTo>
                    <a:pt x="7779" y="14413"/>
                    <a:pt x="7780" y="14411"/>
                    <a:pt x="7780" y="14409"/>
                  </a:cubicBezTo>
                  <a:cubicBezTo>
                    <a:pt x="7782" y="14394"/>
                    <a:pt x="7783" y="14374"/>
                    <a:pt x="7785" y="14349"/>
                  </a:cubicBezTo>
                  <a:cubicBezTo>
                    <a:pt x="7788" y="14300"/>
                    <a:pt x="7791" y="14233"/>
                    <a:pt x="7795" y="14161"/>
                  </a:cubicBezTo>
                  <a:cubicBezTo>
                    <a:pt x="7802" y="14023"/>
                    <a:pt x="7813" y="13866"/>
                    <a:pt x="7829" y="13787"/>
                  </a:cubicBezTo>
                  <a:cubicBezTo>
                    <a:pt x="8671" y="13753"/>
                    <a:pt x="8671" y="13753"/>
                    <a:pt x="8671" y="13753"/>
                  </a:cubicBezTo>
                  <a:cubicBezTo>
                    <a:pt x="8759" y="13741"/>
                    <a:pt x="8759" y="13741"/>
                    <a:pt x="8759" y="13741"/>
                  </a:cubicBezTo>
                  <a:cubicBezTo>
                    <a:pt x="8801" y="13743"/>
                    <a:pt x="9258" y="13759"/>
                    <a:pt x="9593" y="13759"/>
                  </a:cubicBezTo>
                  <a:close/>
                  <a:moveTo>
                    <a:pt x="7226" y="15935"/>
                  </a:moveTo>
                  <a:cubicBezTo>
                    <a:pt x="7181" y="15575"/>
                    <a:pt x="7181" y="15575"/>
                    <a:pt x="7181" y="15575"/>
                  </a:cubicBezTo>
                  <a:cubicBezTo>
                    <a:pt x="7185" y="15574"/>
                    <a:pt x="7274" y="15554"/>
                    <a:pt x="7297" y="15548"/>
                  </a:cubicBezTo>
                  <a:cubicBezTo>
                    <a:pt x="7307" y="15564"/>
                    <a:pt x="7346" y="15624"/>
                    <a:pt x="7391" y="15693"/>
                  </a:cubicBezTo>
                  <a:cubicBezTo>
                    <a:pt x="7327" y="15694"/>
                    <a:pt x="7327" y="15694"/>
                    <a:pt x="7327" y="15694"/>
                  </a:cubicBezTo>
                  <a:cubicBezTo>
                    <a:pt x="7329" y="15876"/>
                    <a:pt x="7329" y="15876"/>
                    <a:pt x="7329" y="15876"/>
                  </a:cubicBezTo>
                  <a:cubicBezTo>
                    <a:pt x="7451" y="15876"/>
                    <a:pt x="7451" y="15876"/>
                    <a:pt x="7451" y="15876"/>
                  </a:cubicBezTo>
                  <a:cubicBezTo>
                    <a:pt x="7452" y="15786"/>
                    <a:pt x="7452" y="15786"/>
                    <a:pt x="7452" y="15786"/>
                  </a:cubicBezTo>
                  <a:cubicBezTo>
                    <a:pt x="7499" y="15857"/>
                    <a:pt x="7540" y="15919"/>
                    <a:pt x="7551" y="15931"/>
                  </a:cubicBezTo>
                  <a:cubicBezTo>
                    <a:pt x="7548" y="15937"/>
                    <a:pt x="7545" y="15943"/>
                    <a:pt x="7542" y="15950"/>
                  </a:cubicBezTo>
                  <a:cubicBezTo>
                    <a:pt x="7542" y="15944"/>
                    <a:pt x="7542" y="15944"/>
                    <a:pt x="7542" y="15944"/>
                  </a:cubicBezTo>
                  <a:lnTo>
                    <a:pt x="7226" y="15935"/>
                  </a:lnTo>
                  <a:close/>
                  <a:moveTo>
                    <a:pt x="6502" y="17054"/>
                  </a:moveTo>
                  <a:cubicBezTo>
                    <a:pt x="6497" y="17054"/>
                    <a:pt x="6448" y="17042"/>
                    <a:pt x="6402" y="17031"/>
                  </a:cubicBezTo>
                  <a:cubicBezTo>
                    <a:pt x="6355" y="17019"/>
                    <a:pt x="6311" y="17007"/>
                    <a:pt x="6302" y="17007"/>
                  </a:cubicBezTo>
                  <a:cubicBezTo>
                    <a:pt x="6302" y="17007"/>
                    <a:pt x="6302" y="17007"/>
                    <a:pt x="6302" y="17007"/>
                  </a:cubicBezTo>
                  <a:cubicBezTo>
                    <a:pt x="6302" y="17007"/>
                    <a:pt x="6300" y="17007"/>
                    <a:pt x="6299" y="17008"/>
                  </a:cubicBezTo>
                  <a:cubicBezTo>
                    <a:pt x="6294" y="17010"/>
                    <a:pt x="6250" y="17036"/>
                    <a:pt x="6241" y="17042"/>
                  </a:cubicBezTo>
                  <a:cubicBezTo>
                    <a:pt x="6053" y="17031"/>
                    <a:pt x="6053" y="17031"/>
                    <a:pt x="6053" y="17031"/>
                  </a:cubicBezTo>
                  <a:cubicBezTo>
                    <a:pt x="6054" y="16986"/>
                    <a:pt x="6054" y="16942"/>
                    <a:pt x="6054" y="16900"/>
                  </a:cubicBezTo>
                  <a:cubicBezTo>
                    <a:pt x="6054" y="16830"/>
                    <a:pt x="6053" y="16769"/>
                    <a:pt x="6052" y="16728"/>
                  </a:cubicBezTo>
                  <a:cubicBezTo>
                    <a:pt x="6054" y="16728"/>
                    <a:pt x="6056" y="16728"/>
                    <a:pt x="6058" y="16728"/>
                  </a:cubicBezTo>
                  <a:cubicBezTo>
                    <a:pt x="6100" y="16728"/>
                    <a:pt x="6164" y="16721"/>
                    <a:pt x="6220" y="16685"/>
                  </a:cubicBezTo>
                  <a:cubicBezTo>
                    <a:pt x="6523" y="16954"/>
                    <a:pt x="6523" y="16954"/>
                    <a:pt x="6523" y="16954"/>
                  </a:cubicBezTo>
                  <a:cubicBezTo>
                    <a:pt x="6523" y="16955"/>
                    <a:pt x="6523" y="16955"/>
                    <a:pt x="6523" y="16955"/>
                  </a:cubicBezTo>
                  <a:cubicBezTo>
                    <a:pt x="6523" y="16958"/>
                    <a:pt x="6522" y="16962"/>
                    <a:pt x="6521" y="16966"/>
                  </a:cubicBezTo>
                  <a:cubicBezTo>
                    <a:pt x="6519" y="16976"/>
                    <a:pt x="6516" y="16990"/>
                    <a:pt x="6513" y="17006"/>
                  </a:cubicBezTo>
                  <a:cubicBezTo>
                    <a:pt x="6510" y="17023"/>
                    <a:pt x="6506" y="17041"/>
                    <a:pt x="6503" y="17061"/>
                  </a:cubicBezTo>
                  <a:cubicBezTo>
                    <a:pt x="6501" y="17054"/>
                    <a:pt x="6501" y="17054"/>
                    <a:pt x="6501" y="17054"/>
                  </a:cubicBezTo>
                  <a:cubicBezTo>
                    <a:pt x="6502" y="17058"/>
                    <a:pt x="6502" y="17058"/>
                    <a:pt x="6502" y="17058"/>
                  </a:cubicBezTo>
                  <a:cubicBezTo>
                    <a:pt x="6502" y="17054"/>
                    <a:pt x="6502" y="17054"/>
                    <a:pt x="6502" y="17054"/>
                  </a:cubicBezTo>
                  <a:cubicBezTo>
                    <a:pt x="6502" y="17054"/>
                    <a:pt x="6502" y="17054"/>
                    <a:pt x="6502" y="17054"/>
                  </a:cubicBezTo>
                  <a:close/>
                  <a:moveTo>
                    <a:pt x="4730" y="15817"/>
                  </a:moveTo>
                  <a:cubicBezTo>
                    <a:pt x="4674" y="15519"/>
                    <a:pt x="4674" y="15519"/>
                    <a:pt x="4674" y="15519"/>
                  </a:cubicBezTo>
                  <a:cubicBezTo>
                    <a:pt x="4701" y="15503"/>
                    <a:pt x="4847" y="15413"/>
                    <a:pt x="4859" y="15402"/>
                  </a:cubicBezTo>
                  <a:cubicBezTo>
                    <a:pt x="4860" y="15401"/>
                    <a:pt x="4861" y="15403"/>
                    <a:pt x="4862" y="15397"/>
                  </a:cubicBezTo>
                  <a:cubicBezTo>
                    <a:pt x="4862" y="15395"/>
                    <a:pt x="4861" y="15392"/>
                    <a:pt x="4859" y="15391"/>
                  </a:cubicBezTo>
                  <a:cubicBezTo>
                    <a:pt x="4859" y="15390"/>
                    <a:pt x="4858" y="15389"/>
                    <a:pt x="4858" y="15387"/>
                  </a:cubicBezTo>
                  <a:cubicBezTo>
                    <a:pt x="4856" y="15384"/>
                    <a:pt x="4854" y="15378"/>
                    <a:pt x="4852" y="15371"/>
                  </a:cubicBezTo>
                  <a:cubicBezTo>
                    <a:pt x="4848" y="15356"/>
                    <a:pt x="4843" y="15337"/>
                    <a:pt x="4838" y="15318"/>
                  </a:cubicBezTo>
                  <a:cubicBezTo>
                    <a:pt x="4828" y="15281"/>
                    <a:pt x="4819" y="15244"/>
                    <a:pt x="4819" y="15242"/>
                  </a:cubicBezTo>
                  <a:cubicBezTo>
                    <a:pt x="4948" y="15169"/>
                    <a:pt x="5053" y="15112"/>
                    <a:pt x="5054" y="15111"/>
                  </a:cubicBezTo>
                  <a:cubicBezTo>
                    <a:pt x="5442" y="14833"/>
                    <a:pt x="5442" y="14833"/>
                    <a:pt x="5442" y="14833"/>
                  </a:cubicBezTo>
                  <a:cubicBezTo>
                    <a:pt x="5491" y="15177"/>
                    <a:pt x="5491" y="15177"/>
                    <a:pt x="5491" y="15177"/>
                  </a:cubicBezTo>
                  <a:cubicBezTo>
                    <a:pt x="5491" y="15549"/>
                    <a:pt x="5491" y="15549"/>
                    <a:pt x="5491" y="15549"/>
                  </a:cubicBezTo>
                  <a:cubicBezTo>
                    <a:pt x="5318" y="15601"/>
                    <a:pt x="5134" y="15656"/>
                    <a:pt x="5134" y="15656"/>
                  </a:cubicBezTo>
                  <a:cubicBezTo>
                    <a:pt x="5129" y="15658"/>
                    <a:pt x="5129" y="15658"/>
                    <a:pt x="5129" y="15658"/>
                  </a:cubicBezTo>
                  <a:cubicBezTo>
                    <a:pt x="5106" y="16094"/>
                    <a:pt x="5106" y="16094"/>
                    <a:pt x="5106" y="16094"/>
                  </a:cubicBezTo>
                  <a:cubicBezTo>
                    <a:pt x="4820" y="16096"/>
                    <a:pt x="4820" y="16096"/>
                    <a:pt x="4820" y="16096"/>
                  </a:cubicBezTo>
                  <a:cubicBezTo>
                    <a:pt x="4829" y="15838"/>
                    <a:pt x="4829" y="15838"/>
                    <a:pt x="4829" y="15838"/>
                  </a:cubicBezTo>
                  <a:lnTo>
                    <a:pt x="4730" y="15817"/>
                  </a:lnTo>
                  <a:close/>
                  <a:moveTo>
                    <a:pt x="4427" y="16959"/>
                  </a:moveTo>
                  <a:cubicBezTo>
                    <a:pt x="4430" y="16993"/>
                    <a:pt x="4430" y="17034"/>
                    <a:pt x="4432" y="17071"/>
                  </a:cubicBezTo>
                  <a:cubicBezTo>
                    <a:pt x="4432" y="17093"/>
                    <a:pt x="4433" y="17112"/>
                    <a:pt x="4435" y="17129"/>
                  </a:cubicBezTo>
                  <a:cubicBezTo>
                    <a:pt x="4378" y="17128"/>
                    <a:pt x="4324" y="17124"/>
                    <a:pt x="4279" y="17116"/>
                  </a:cubicBezTo>
                  <a:cubicBezTo>
                    <a:pt x="4211" y="17104"/>
                    <a:pt x="4149" y="17089"/>
                    <a:pt x="4105" y="17047"/>
                  </a:cubicBezTo>
                  <a:cubicBezTo>
                    <a:pt x="4062" y="17006"/>
                    <a:pt x="4028" y="16934"/>
                    <a:pt x="4028" y="16794"/>
                  </a:cubicBezTo>
                  <a:cubicBezTo>
                    <a:pt x="4028" y="16790"/>
                    <a:pt x="4028" y="16786"/>
                    <a:pt x="4028" y="16781"/>
                  </a:cubicBezTo>
                  <a:cubicBezTo>
                    <a:pt x="4030" y="16652"/>
                    <a:pt x="4044" y="16570"/>
                    <a:pt x="4059" y="16520"/>
                  </a:cubicBezTo>
                  <a:cubicBezTo>
                    <a:pt x="4074" y="16469"/>
                    <a:pt x="4088" y="16452"/>
                    <a:pt x="4094" y="16444"/>
                  </a:cubicBezTo>
                  <a:cubicBezTo>
                    <a:pt x="4095" y="16442"/>
                    <a:pt x="4096" y="16442"/>
                    <a:pt x="4098" y="16440"/>
                  </a:cubicBezTo>
                  <a:cubicBezTo>
                    <a:pt x="4098" y="16439"/>
                    <a:pt x="4098" y="16439"/>
                    <a:pt x="4098" y="16439"/>
                  </a:cubicBezTo>
                  <a:cubicBezTo>
                    <a:pt x="4101" y="16437"/>
                    <a:pt x="4105" y="16434"/>
                    <a:pt x="4111" y="16430"/>
                  </a:cubicBezTo>
                  <a:cubicBezTo>
                    <a:pt x="4122" y="16421"/>
                    <a:pt x="4138" y="16410"/>
                    <a:pt x="4156" y="16396"/>
                  </a:cubicBezTo>
                  <a:cubicBezTo>
                    <a:pt x="4194" y="16369"/>
                    <a:pt x="4244" y="16334"/>
                    <a:pt x="4293" y="16299"/>
                  </a:cubicBezTo>
                  <a:cubicBezTo>
                    <a:pt x="4355" y="16255"/>
                    <a:pt x="4416" y="16212"/>
                    <a:pt x="4454" y="16185"/>
                  </a:cubicBezTo>
                  <a:cubicBezTo>
                    <a:pt x="4460" y="16194"/>
                    <a:pt x="4467" y="16205"/>
                    <a:pt x="4474" y="16219"/>
                  </a:cubicBezTo>
                  <a:cubicBezTo>
                    <a:pt x="4493" y="16257"/>
                    <a:pt x="4513" y="16314"/>
                    <a:pt x="4513" y="16392"/>
                  </a:cubicBezTo>
                  <a:cubicBezTo>
                    <a:pt x="4513" y="16432"/>
                    <a:pt x="4508" y="16477"/>
                    <a:pt x="4494" y="16528"/>
                  </a:cubicBezTo>
                  <a:cubicBezTo>
                    <a:pt x="4439" y="16735"/>
                    <a:pt x="4424" y="16827"/>
                    <a:pt x="4424" y="16902"/>
                  </a:cubicBezTo>
                  <a:cubicBezTo>
                    <a:pt x="4424" y="16922"/>
                    <a:pt x="4425" y="16941"/>
                    <a:pt x="4427" y="16959"/>
                  </a:cubicBezTo>
                  <a:close/>
                  <a:moveTo>
                    <a:pt x="3964" y="16842"/>
                  </a:moveTo>
                  <a:cubicBezTo>
                    <a:pt x="3707" y="16886"/>
                    <a:pt x="3707" y="16886"/>
                    <a:pt x="3707" y="16886"/>
                  </a:cubicBezTo>
                  <a:cubicBezTo>
                    <a:pt x="3689" y="16555"/>
                    <a:pt x="3689" y="16555"/>
                    <a:pt x="3689" y="16555"/>
                  </a:cubicBezTo>
                  <a:cubicBezTo>
                    <a:pt x="3491" y="16428"/>
                    <a:pt x="3491" y="16428"/>
                    <a:pt x="3491" y="16428"/>
                  </a:cubicBezTo>
                  <a:cubicBezTo>
                    <a:pt x="3484" y="16440"/>
                    <a:pt x="3484" y="16440"/>
                    <a:pt x="3484" y="16440"/>
                  </a:cubicBezTo>
                  <a:cubicBezTo>
                    <a:pt x="3676" y="16563"/>
                    <a:pt x="3676" y="16563"/>
                    <a:pt x="3676" y="16563"/>
                  </a:cubicBezTo>
                  <a:cubicBezTo>
                    <a:pt x="3693" y="16889"/>
                    <a:pt x="3693" y="16889"/>
                    <a:pt x="3693" y="16889"/>
                  </a:cubicBezTo>
                  <a:cubicBezTo>
                    <a:pt x="3435" y="16933"/>
                    <a:pt x="3435" y="16933"/>
                    <a:pt x="3435" y="16933"/>
                  </a:cubicBezTo>
                  <a:cubicBezTo>
                    <a:pt x="3432" y="16913"/>
                    <a:pt x="3422" y="16851"/>
                    <a:pt x="3413" y="16785"/>
                  </a:cubicBezTo>
                  <a:cubicBezTo>
                    <a:pt x="3401" y="16708"/>
                    <a:pt x="3389" y="16625"/>
                    <a:pt x="3387" y="16609"/>
                  </a:cubicBezTo>
                  <a:cubicBezTo>
                    <a:pt x="3387" y="16609"/>
                    <a:pt x="3387" y="16608"/>
                    <a:pt x="3387" y="16608"/>
                  </a:cubicBezTo>
                  <a:cubicBezTo>
                    <a:pt x="3387" y="16607"/>
                    <a:pt x="3387" y="16606"/>
                    <a:pt x="3387" y="16605"/>
                  </a:cubicBezTo>
                  <a:cubicBezTo>
                    <a:pt x="3387" y="16605"/>
                    <a:pt x="3387" y="16605"/>
                    <a:pt x="3387" y="16605"/>
                  </a:cubicBezTo>
                  <a:cubicBezTo>
                    <a:pt x="3386" y="16603"/>
                    <a:pt x="3387" y="16602"/>
                    <a:pt x="3385" y="16599"/>
                  </a:cubicBezTo>
                  <a:cubicBezTo>
                    <a:pt x="3385" y="16598"/>
                    <a:pt x="3385" y="16597"/>
                    <a:pt x="3384" y="16597"/>
                  </a:cubicBezTo>
                  <a:cubicBezTo>
                    <a:pt x="3581" y="16270"/>
                    <a:pt x="3581" y="16270"/>
                    <a:pt x="3581" y="16270"/>
                  </a:cubicBezTo>
                  <a:cubicBezTo>
                    <a:pt x="3581" y="16270"/>
                    <a:pt x="3581" y="16270"/>
                    <a:pt x="3581" y="16270"/>
                  </a:cubicBezTo>
                  <a:cubicBezTo>
                    <a:pt x="3584" y="16272"/>
                    <a:pt x="3589" y="16274"/>
                    <a:pt x="3596" y="16276"/>
                  </a:cubicBezTo>
                  <a:cubicBezTo>
                    <a:pt x="3609" y="16280"/>
                    <a:pt x="3627" y="16286"/>
                    <a:pt x="3650" y="16293"/>
                  </a:cubicBezTo>
                  <a:cubicBezTo>
                    <a:pt x="3694" y="16307"/>
                    <a:pt x="3753" y="16326"/>
                    <a:pt x="3812" y="16344"/>
                  </a:cubicBezTo>
                  <a:cubicBezTo>
                    <a:pt x="3907" y="16374"/>
                    <a:pt x="4001" y="16403"/>
                    <a:pt x="4035" y="16413"/>
                  </a:cubicBezTo>
                  <a:cubicBezTo>
                    <a:pt x="4034" y="16415"/>
                    <a:pt x="4033" y="16416"/>
                    <a:pt x="4032" y="16418"/>
                  </a:cubicBezTo>
                  <a:cubicBezTo>
                    <a:pt x="4024" y="16431"/>
                    <a:pt x="4013" y="16450"/>
                    <a:pt x="4003" y="16478"/>
                  </a:cubicBezTo>
                  <a:cubicBezTo>
                    <a:pt x="3983" y="16535"/>
                    <a:pt x="3965" y="16627"/>
                    <a:pt x="3963" y="16781"/>
                  </a:cubicBezTo>
                  <a:cubicBezTo>
                    <a:pt x="3963" y="16785"/>
                    <a:pt x="3963" y="16789"/>
                    <a:pt x="3963" y="16794"/>
                  </a:cubicBezTo>
                  <a:cubicBezTo>
                    <a:pt x="3962" y="16811"/>
                    <a:pt x="3963" y="16827"/>
                    <a:pt x="3964" y="16842"/>
                  </a:cubicBezTo>
                  <a:close/>
                  <a:moveTo>
                    <a:pt x="3177" y="16812"/>
                  </a:moveTo>
                  <a:cubicBezTo>
                    <a:pt x="3274" y="16799"/>
                    <a:pt x="3274" y="16799"/>
                    <a:pt x="3274" y="16799"/>
                  </a:cubicBezTo>
                  <a:cubicBezTo>
                    <a:pt x="3276" y="16816"/>
                    <a:pt x="3280" y="16861"/>
                    <a:pt x="3283" y="16889"/>
                  </a:cubicBezTo>
                  <a:cubicBezTo>
                    <a:pt x="3284" y="16895"/>
                    <a:pt x="3284" y="16900"/>
                    <a:pt x="3285" y="16904"/>
                  </a:cubicBezTo>
                  <a:cubicBezTo>
                    <a:pt x="3282" y="16905"/>
                    <a:pt x="3278" y="16905"/>
                    <a:pt x="3273" y="16906"/>
                  </a:cubicBezTo>
                  <a:cubicBezTo>
                    <a:pt x="3262" y="16907"/>
                    <a:pt x="3245" y="16910"/>
                    <a:pt x="3224" y="16913"/>
                  </a:cubicBezTo>
                  <a:cubicBezTo>
                    <a:pt x="3210" y="16915"/>
                    <a:pt x="3194" y="16917"/>
                    <a:pt x="3177" y="16919"/>
                  </a:cubicBezTo>
                  <a:cubicBezTo>
                    <a:pt x="3177" y="16905"/>
                    <a:pt x="3177" y="16890"/>
                    <a:pt x="3177" y="16874"/>
                  </a:cubicBezTo>
                  <a:cubicBezTo>
                    <a:pt x="3177" y="16854"/>
                    <a:pt x="3177" y="16833"/>
                    <a:pt x="3177" y="16812"/>
                  </a:cubicBezTo>
                  <a:close/>
                  <a:moveTo>
                    <a:pt x="3177" y="16932"/>
                  </a:moveTo>
                  <a:cubicBezTo>
                    <a:pt x="3239" y="16924"/>
                    <a:pt x="3287" y="16917"/>
                    <a:pt x="3294" y="16916"/>
                  </a:cubicBezTo>
                  <a:cubicBezTo>
                    <a:pt x="3294" y="16916"/>
                    <a:pt x="3294" y="16916"/>
                    <a:pt x="3295" y="16916"/>
                  </a:cubicBezTo>
                  <a:cubicBezTo>
                    <a:pt x="3295" y="16916"/>
                    <a:pt x="3295" y="16916"/>
                    <a:pt x="3294" y="16916"/>
                  </a:cubicBezTo>
                  <a:cubicBezTo>
                    <a:pt x="3295" y="16916"/>
                    <a:pt x="3295" y="16916"/>
                    <a:pt x="3295" y="16916"/>
                  </a:cubicBezTo>
                  <a:cubicBezTo>
                    <a:pt x="3295" y="16916"/>
                    <a:pt x="3295" y="16916"/>
                    <a:pt x="3295" y="16916"/>
                  </a:cubicBezTo>
                  <a:cubicBezTo>
                    <a:pt x="3295" y="16916"/>
                    <a:pt x="3295" y="16916"/>
                    <a:pt x="3295" y="16916"/>
                  </a:cubicBezTo>
                  <a:cubicBezTo>
                    <a:pt x="3295" y="16916"/>
                    <a:pt x="3295" y="16916"/>
                    <a:pt x="3295" y="16916"/>
                  </a:cubicBezTo>
                  <a:cubicBezTo>
                    <a:pt x="3296" y="16915"/>
                    <a:pt x="3297" y="16915"/>
                    <a:pt x="3297" y="16915"/>
                  </a:cubicBezTo>
                  <a:cubicBezTo>
                    <a:pt x="3298" y="16914"/>
                    <a:pt x="3298" y="16914"/>
                    <a:pt x="3299" y="16913"/>
                  </a:cubicBezTo>
                  <a:cubicBezTo>
                    <a:pt x="3299" y="16912"/>
                    <a:pt x="3300" y="16911"/>
                    <a:pt x="3299" y="16911"/>
                  </a:cubicBezTo>
                  <a:cubicBezTo>
                    <a:pt x="3300" y="16910"/>
                    <a:pt x="3300" y="16908"/>
                    <a:pt x="3299" y="16906"/>
                  </a:cubicBezTo>
                  <a:cubicBezTo>
                    <a:pt x="3299" y="16906"/>
                    <a:pt x="3299" y="16906"/>
                    <a:pt x="3298" y="16906"/>
                  </a:cubicBezTo>
                  <a:cubicBezTo>
                    <a:pt x="3298" y="16905"/>
                    <a:pt x="3298" y="16904"/>
                    <a:pt x="3298" y="16903"/>
                  </a:cubicBezTo>
                  <a:cubicBezTo>
                    <a:pt x="3297" y="16900"/>
                    <a:pt x="3297" y="16896"/>
                    <a:pt x="3296" y="16890"/>
                  </a:cubicBezTo>
                  <a:cubicBezTo>
                    <a:pt x="3295" y="16879"/>
                    <a:pt x="3293" y="16865"/>
                    <a:pt x="3292" y="16850"/>
                  </a:cubicBezTo>
                  <a:cubicBezTo>
                    <a:pt x="3289" y="16821"/>
                    <a:pt x="3287" y="16791"/>
                    <a:pt x="3287" y="16791"/>
                  </a:cubicBezTo>
                  <a:cubicBezTo>
                    <a:pt x="3286" y="16784"/>
                    <a:pt x="3286" y="16784"/>
                    <a:pt x="3286" y="16784"/>
                  </a:cubicBezTo>
                  <a:cubicBezTo>
                    <a:pt x="3177" y="16799"/>
                    <a:pt x="3177" y="16799"/>
                    <a:pt x="3177" y="16799"/>
                  </a:cubicBezTo>
                  <a:cubicBezTo>
                    <a:pt x="3177" y="16741"/>
                    <a:pt x="3176" y="16686"/>
                    <a:pt x="3175" y="16660"/>
                  </a:cubicBezTo>
                  <a:cubicBezTo>
                    <a:pt x="3250" y="16651"/>
                    <a:pt x="3312" y="16642"/>
                    <a:pt x="3345" y="16636"/>
                  </a:cubicBezTo>
                  <a:cubicBezTo>
                    <a:pt x="3346" y="16645"/>
                    <a:pt x="3348" y="16657"/>
                    <a:pt x="3350" y="16669"/>
                  </a:cubicBezTo>
                  <a:cubicBezTo>
                    <a:pt x="3354" y="16701"/>
                    <a:pt x="3361" y="16743"/>
                    <a:pt x="3367" y="16784"/>
                  </a:cubicBezTo>
                  <a:cubicBezTo>
                    <a:pt x="3377" y="16853"/>
                    <a:pt x="3387" y="16921"/>
                    <a:pt x="3390" y="16941"/>
                  </a:cubicBezTo>
                  <a:cubicBezTo>
                    <a:pt x="3177" y="16978"/>
                    <a:pt x="3177" y="16978"/>
                    <a:pt x="3177" y="16978"/>
                  </a:cubicBezTo>
                  <a:cubicBezTo>
                    <a:pt x="3177" y="16966"/>
                    <a:pt x="3177" y="16951"/>
                    <a:pt x="3177" y="16932"/>
                  </a:cubicBezTo>
                  <a:close/>
                  <a:moveTo>
                    <a:pt x="2556" y="16817"/>
                  </a:moveTo>
                  <a:cubicBezTo>
                    <a:pt x="2557" y="16921"/>
                    <a:pt x="2557" y="16921"/>
                    <a:pt x="2557" y="16921"/>
                  </a:cubicBezTo>
                  <a:cubicBezTo>
                    <a:pt x="2452" y="16910"/>
                    <a:pt x="2452" y="16910"/>
                    <a:pt x="2452" y="16910"/>
                  </a:cubicBezTo>
                  <a:cubicBezTo>
                    <a:pt x="2451" y="16809"/>
                    <a:pt x="2451" y="16809"/>
                    <a:pt x="2451" y="16809"/>
                  </a:cubicBezTo>
                  <a:cubicBezTo>
                    <a:pt x="2492" y="16812"/>
                    <a:pt x="2530" y="16815"/>
                    <a:pt x="2556" y="16817"/>
                  </a:cubicBezTo>
                  <a:close/>
                  <a:moveTo>
                    <a:pt x="2451" y="16795"/>
                  </a:moveTo>
                  <a:cubicBezTo>
                    <a:pt x="2451" y="16768"/>
                    <a:pt x="2451" y="16768"/>
                    <a:pt x="2451" y="16768"/>
                  </a:cubicBezTo>
                  <a:cubicBezTo>
                    <a:pt x="2555" y="16766"/>
                    <a:pt x="2555" y="16766"/>
                    <a:pt x="2555" y="16766"/>
                  </a:cubicBezTo>
                  <a:cubicBezTo>
                    <a:pt x="2556" y="16803"/>
                    <a:pt x="2556" y="16803"/>
                    <a:pt x="2556" y="16803"/>
                  </a:cubicBezTo>
                  <a:cubicBezTo>
                    <a:pt x="2530" y="16801"/>
                    <a:pt x="2492" y="16799"/>
                    <a:pt x="2451" y="16795"/>
                  </a:cubicBezTo>
                  <a:close/>
                  <a:moveTo>
                    <a:pt x="2557" y="16935"/>
                  </a:moveTo>
                  <a:cubicBezTo>
                    <a:pt x="2559" y="17038"/>
                    <a:pt x="2559" y="17038"/>
                    <a:pt x="2559" y="17038"/>
                  </a:cubicBezTo>
                  <a:cubicBezTo>
                    <a:pt x="2452" y="17031"/>
                    <a:pt x="2452" y="17031"/>
                    <a:pt x="2452" y="17031"/>
                  </a:cubicBezTo>
                  <a:cubicBezTo>
                    <a:pt x="2452" y="16924"/>
                    <a:pt x="2452" y="16924"/>
                    <a:pt x="2452" y="16924"/>
                  </a:cubicBezTo>
                  <a:lnTo>
                    <a:pt x="2557" y="16935"/>
                  </a:lnTo>
                  <a:close/>
                  <a:moveTo>
                    <a:pt x="2559" y="17052"/>
                  </a:moveTo>
                  <a:cubicBezTo>
                    <a:pt x="2561" y="17222"/>
                    <a:pt x="2561" y="17222"/>
                    <a:pt x="2561" y="17222"/>
                  </a:cubicBezTo>
                  <a:cubicBezTo>
                    <a:pt x="2453" y="17205"/>
                    <a:pt x="2453" y="17205"/>
                    <a:pt x="2453" y="17205"/>
                  </a:cubicBezTo>
                  <a:cubicBezTo>
                    <a:pt x="2452" y="17045"/>
                    <a:pt x="2452" y="17045"/>
                    <a:pt x="2452" y="17045"/>
                  </a:cubicBezTo>
                  <a:lnTo>
                    <a:pt x="2559" y="17052"/>
                  </a:lnTo>
                  <a:close/>
                  <a:moveTo>
                    <a:pt x="2561" y="17237"/>
                  </a:moveTo>
                  <a:cubicBezTo>
                    <a:pt x="2562" y="17328"/>
                    <a:pt x="2562" y="17328"/>
                    <a:pt x="2562" y="17328"/>
                  </a:cubicBezTo>
                  <a:cubicBezTo>
                    <a:pt x="2454" y="17332"/>
                    <a:pt x="2454" y="17332"/>
                    <a:pt x="2454" y="17332"/>
                  </a:cubicBezTo>
                  <a:cubicBezTo>
                    <a:pt x="2453" y="17219"/>
                    <a:pt x="2453" y="17219"/>
                    <a:pt x="2453" y="17219"/>
                  </a:cubicBezTo>
                  <a:lnTo>
                    <a:pt x="2561" y="17237"/>
                  </a:lnTo>
                  <a:close/>
                  <a:moveTo>
                    <a:pt x="2438" y="16755"/>
                  </a:moveTo>
                  <a:cubicBezTo>
                    <a:pt x="2438" y="16794"/>
                    <a:pt x="2438" y="16794"/>
                    <a:pt x="2438" y="16794"/>
                  </a:cubicBezTo>
                  <a:cubicBezTo>
                    <a:pt x="2348" y="16787"/>
                    <a:pt x="2250" y="16780"/>
                    <a:pt x="2232" y="16779"/>
                  </a:cubicBezTo>
                  <a:cubicBezTo>
                    <a:pt x="2238" y="16702"/>
                    <a:pt x="2238" y="16702"/>
                    <a:pt x="2238" y="16702"/>
                  </a:cubicBezTo>
                  <a:cubicBezTo>
                    <a:pt x="2294" y="16723"/>
                    <a:pt x="2379" y="16731"/>
                    <a:pt x="2457" y="16737"/>
                  </a:cubicBezTo>
                  <a:cubicBezTo>
                    <a:pt x="2503" y="16740"/>
                    <a:pt x="2545" y="16741"/>
                    <a:pt x="2572" y="16741"/>
                  </a:cubicBezTo>
                  <a:cubicBezTo>
                    <a:pt x="2572" y="16763"/>
                    <a:pt x="2573" y="16783"/>
                    <a:pt x="2573" y="16805"/>
                  </a:cubicBezTo>
                  <a:cubicBezTo>
                    <a:pt x="2572" y="16805"/>
                    <a:pt x="2570" y="16804"/>
                    <a:pt x="2569" y="16804"/>
                  </a:cubicBezTo>
                  <a:cubicBezTo>
                    <a:pt x="2569" y="16759"/>
                    <a:pt x="2569" y="16759"/>
                    <a:pt x="2569" y="16759"/>
                  </a:cubicBezTo>
                  <a:cubicBezTo>
                    <a:pt x="2568" y="16753"/>
                    <a:pt x="2568" y="16753"/>
                    <a:pt x="2568" y="16753"/>
                  </a:cubicBezTo>
                  <a:lnTo>
                    <a:pt x="2438" y="16755"/>
                  </a:lnTo>
                  <a:close/>
                  <a:moveTo>
                    <a:pt x="2186" y="17174"/>
                  </a:moveTo>
                  <a:cubicBezTo>
                    <a:pt x="2174" y="17317"/>
                    <a:pt x="2174" y="17317"/>
                    <a:pt x="2174" y="17317"/>
                  </a:cubicBezTo>
                  <a:cubicBezTo>
                    <a:pt x="1913" y="17270"/>
                    <a:pt x="1913" y="17270"/>
                    <a:pt x="1913" y="17270"/>
                  </a:cubicBezTo>
                  <a:cubicBezTo>
                    <a:pt x="1913" y="17269"/>
                    <a:pt x="1912" y="17268"/>
                    <a:pt x="1911" y="17266"/>
                  </a:cubicBezTo>
                  <a:cubicBezTo>
                    <a:pt x="1909" y="17260"/>
                    <a:pt x="1906" y="17250"/>
                    <a:pt x="1903" y="17238"/>
                  </a:cubicBezTo>
                  <a:cubicBezTo>
                    <a:pt x="1895" y="17215"/>
                    <a:pt x="1885" y="17183"/>
                    <a:pt x="1870" y="17153"/>
                  </a:cubicBezTo>
                  <a:cubicBezTo>
                    <a:pt x="1861" y="17135"/>
                    <a:pt x="1850" y="17120"/>
                    <a:pt x="1838" y="17106"/>
                  </a:cubicBezTo>
                  <a:cubicBezTo>
                    <a:pt x="1849" y="17095"/>
                    <a:pt x="1867" y="17077"/>
                    <a:pt x="1886" y="17058"/>
                  </a:cubicBezTo>
                  <a:cubicBezTo>
                    <a:pt x="1913" y="17031"/>
                    <a:pt x="1943" y="17002"/>
                    <a:pt x="1952" y="16995"/>
                  </a:cubicBezTo>
                  <a:cubicBezTo>
                    <a:pt x="1954" y="16994"/>
                    <a:pt x="1954" y="16994"/>
                    <a:pt x="1954" y="16994"/>
                  </a:cubicBezTo>
                  <a:cubicBezTo>
                    <a:pt x="1957" y="16993"/>
                    <a:pt x="1957" y="16992"/>
                    <a:pt x="1957" y="16991"/>
                  </a:cubicBezTo>
                  <a:cubicBezTo>
                    <a:pt x="1958" y="16991"/>
                    <a:pt x="1958" y="16990"/>
                    <a:pt x="1958" y="16990"/>
                  </a:cubicBezTo>
                  <a:cubicBezTo>
                    <a:pt x="1959" y="16989"/>
                    <a:pt x="1959" y="16987"/>
                    <a:pt x="1960" y="16986"/>
                  </a:cubicBezTo>
                  <a:cubicBezTo>
                    <a:pt x="1961" y="16983"/>
                    <a:pt x="1963" y="16978"/>
                    <a:pt x="1965" y="16973"/>
                  </a:cubicBezTo>
                  <a:cubicBezTo>
                    <a:pt x="1969" y="16962"/>
                    <a:pt x="1974" y="16946"/>
                    <a:pt x="1980" y="16927"/>
                  </a:cubicBezTo>
                  <a:cubicBezTo>
                    <a:pt x="1992" y="16889"/>
                    <a:pt x="2007" y="16838"/>
                    <a:pt x="2023" y="16787"/>
                  </a:cubicBezTo>
                  <a:cubicBezTo>
                    <a:pt x="2046" y="16711"/>
                    <a:pt x="2070" y="16633"/>
                    <a:pt x="2082" y="16595"/>
                  </a:cubicBezTo>
                  <a:cubicBezTo>
                    <a:pt x="2130" y="16636"/>
                    <a:pt x="2180" y="16674"/>
                    <a:pt x="2224" y="16696"/>
                  </a:cubicBezTo>
                  <a:cubicBezTo>
                    <a:pt x="2187" y="17161"/>
                    <a:pt x="2187" y="17161"/>
                    <a:pt x="2187" y="17161"/>
                  </a:cubicBezTo>
                  <a:cubicBezTo>
                    <a:pt x="2187" y="17160"/>
                    <a:pt x="2187" y="17160"/>
                    <a:pt x="2187" y="17160"/>
                  </a:cubicBezTo>
                  <a:cubicBezTo>
                    <a:pt x="2185" y="17174"/>
                    <a:pt x="2185" y="17174"/>
                    <a:pt x="2185" y="17174"/>
                  </a:cubicBezTo>
                  <a:lnTo>
                    <a:pt x="2186" y="17174"/>
                  </a:lnTo>
                  <a:close/>
                  <a:moveTo>
                    <a:pt x="1354" y="16635"/>
                  </a:moveTo>
                  <a:cubicBezTo>
                    <a:pt x="1354" y="16635"/>
                    <a:pt x="1304" y="16596"/>
                    <a:pt x="1252" y="16554"/>
                  </a:cubicBezTo>
                  <a:cubicBezTo>
                    <a:pt x="1205" y="16516"/>
                    <a:pt x="1155" y="16475"/>
                    <a:pt x="1144" y="16463"/>
                  </a:cubicBezTo>
                  <a:cubicBezTo>
                    <a:pt x="1145" y="16461"/>
                    <a:pt x="1146" y="16460"/>
                    <a:pt x="1147" y="16458"/>
                  </a:cubicBezTo>
                  <a:cubicBezTo>
                    <a:pt x="1151" y="16454"/>
                    <a:pt x="1155" y="16448"/>
                    <a:pt x="1159" y="16441"/>
                  </a:cubicBezTo>
                  <a:cubicBezTo>
                    <a:pt x="1169" y="16426"/>
                    <a:pt x="1181" y="16408"/>
                    <a:pt x="1193" y="16389"/>
                  </a:cubicBezTo>
                  <a:cubicBezTo>
                    <a:pt x="1211" y="16360"/>
                    <a:pt x="1228" y="16332"/>
                    <a:pt x="1235" y="16320"/>
                  </a:cubicBezTo>
                  <a:cubicBezTo>
                    <a:pt x="1317" y="16357"/>
                    <a:pt x="1317" y="16357"/>
                    <a:pt x="1317" y="16357"/>
                  </a:cubicBezTo>
                  <a:cubicBezTo>
                    <a:pt x="1320" y="16353"/>
                    <a:pt x="1320" y="16353"/>
                    <a:pt x="1320" y="16353"/>
                  </a:cubicBezTo>
                  <a:cubicBezTo>
                    <a:pt x="1320" y="16353"/>
                    <a:pt x="1497" y="16144"/>
                    <a:pt x="1537" y="16089"/>
                  </a:cubicBezTo>
                  <a:cubicBezTo>
                    <a:pt x="1570" y="16120"/>
                    <a:pt x="1626" y="16173"/>
                    <a:pt x="1686" y="16230"/>
                  </a:cubicBezTo>
                  <a:cubicBezTo>
                    <a:pt x="1318" y="16682"/>
                    <a:pt x="1318" y="16682"/>
                    <a:pt x="1318" y="16682"/>
                  </a:cubicBezTo>
                  <a:cubicBezTo>
                    <a:pt x="1312" y="16688"/>
                    <a:pt x="1298" y="16702"/>
                    <a:pt x="1289" y="16724"/>
                  </a:cubicBezTo>
                  <a:cubicBezTo>
                    <a:pt x="978" y="16692"/>
                    <a:pt x="978" y="16692"/>
                    <a:pt x="978" y="16692"/>
                  </a:cubicBezTo>
                  <a:cubicBezTo>
                    <a:pt x="980" y="16692"/>
                    <a:pt x="980" y="16692"/>
                    <a:pt x="980" y="16692"/>
                  </a:cubicBezTo>
                  <a:cubicBezTo>
                    <a:pt x="944" y="16485"/>
                    <a:pt x="944" y="16485"/>
                    <a:pt x="944" y="16485"/>
                  </a:cubicBezTo>
                  <a:cubicBezTo>
                    <a:pt x="990" y="16481"/>
                    <a:pt x="1035" y="16478"/>
                    <a:pt x="1070" y="16475"/>
                  </a:cubicBezTo>
                  <a:cubicBezTo>
                    <a:pt x="1100" y="16472"/>
                    <a:pt x="1121" y="16470"/>
                    <a:pt x="1131" y="16469"/>
                  </a:cubicBezTo>
                  <a:cubicBezTo>
                    <a:pt x="1131" y="16469"/>
                    <a:pt x="1132" y="16470"/>
                    <a:pt x="1132" y="16470"/>
                  </a:cubicBezTo>
                  <a:cubicBezTo>
                    <a:pt x="1134" y="16472"/>
                    <a:pt x="1136" y="16475"/>
                    <a:pt x="1139" y="16478"/>
                  </a:cubicBezTo>
                  <a:cubicBezTo>
                    <a:pt x="1145" y="16484"/>
                    <a:pt x="1154" y="16491"/>
                    <a:pt x="1164" y="16500"/>
                  </a:cubicBezTo>
                  <a:cubicBezTo>
                    <a:pt x="1184" y="16517"/>
                    <a:pt x="1211" y="16539"/>
                    <a:pt x="1238" y="16561"/>
                  </a:cubicBezTo>
                  <a:cubicBezTo>
                    <a:pt x="1292" y="16604"/>
                    <a:pt x="1346" y="16646"/>
                    <a:pt x="1346" y="16646"/>
                  </a:cubicBezTo>
                  <a:cubicBezTo>
                    <a:pt x="1346" y="16646"/>
                    <a:pt x="1346" y="16646"/>
                    <a:pt x="1346" y="16646"/>
                  </a:cubicBezTo>
                  <a:lnTo>
                    <a:pt x="1354" y="16635"/>
                  </a:lnTo>
                  <a:close/>
                  <a:moveTo>
                    <a:pt x="1048" y="15537"/>
                  </a:moveTo>
                  <a:cubicBezTo>
                    <a:pt x="982" y="15487"/>
                    <a:pt x="906" y="15448"/>
                    <a:pt x="864" y="15429"/>
                  </a:cubicBezTo>
                  <a:cubicBezTo>
                    <a:pt x="759" y="15383"/>
                    <a:pt x="494" y="15351"/>
                    <a:pt x="403" y="15324"/>
                  </a:cubicBezTo>
                  <a:cubicBezTo>
                    <a:pt x="383" y="15318"/>
                    <a:pt x="372" y="15292"/>
                    <a:pt x="372" y="15248"/>
                  </a:cubicBezTo>
                  <a:cubicBezTo>
                    <a:pt x="372" y="15246"/>
                    <a:pt x="372" y="15244"/>
                    <a:pt x="372" y="15242"/>
                  </a:cubicBezTo>
                  <a:cubicBezTo>
                    <a:pt x="470" y="15114"/>
                    <a:pt x="562" y="14993"/>
                    <a:pt x="583" y="14963"/>
                  </a:cubicBezTo>
                  <a:cubicBezTo>
                    <a:pt x="590" y="14953"/>
                    <a:pt x="597" y="14941"/>
                    <a:pt x="604" y="14929"/>
                  </a:cubicBezTo>
                  <a:cubicBezTo>
                    <a:pt x="760" y="15034"/>
                    <a:pt x="760" y="15034"/>
                    <a:pt x="760" y="15034"/>
                  </a:cubicBezTo>
                  <a:cubicBezTo>
                    <a:pt x="692" y="15304"/>
                    <a:pt x="692" y="15304"/>
                    <a:pt x="692" y="15304"/>
                  </a:cubicBezTo>
                  <a:cubicBezTo>
                    <a:pt x="905" y="15389"/>
                    <a:pt x="905" y="15389"/>
                    <a:pt x="905" y="15389"/>
                  </a:cubicBezTo>
                  <a:cubicBezTo>
                    <a:pt x="923" y="15321"/>
                    <a:pt x="923" y="15321"/>
                    <a:pt x="923" y="15321"/>
                  </a:cubicBezTo>
                  <a:cubicBezTo>
                    <a:pt x="1374" y="15720"/>
                    <a:pt x="1374" y="15720"/>
                    <a:pt x="1374" y="15720"/>
                  </a:cubicBezTo>
                  <a:cubicBezTo>
                    <a:pt x="1310" y="15798"/>
                    <a:pt x="1310" y="15798"/>
                    <a:pt x="1310" y="15798"/>
                  </a:cubicBezTo>
                  <a:cubicBezTo>
                    <a:pt x="1308" y="15796"/>
                    <a:pt x="1306" y="15795"/>
                    <a:pt x="1305" y="15793"/>
                  </a:cubicBezTo>
                  <a:cubicBezTo>
                    <a:pt x="1276" y="15769"/>
                    <a:pt x="1269" y="15755"/>
                    <a:pt x="1269" y="15755"/>
                  </a:cubicBezTo>
                  <a:cubicBezTo>
                    <a:pt x="1261" y="15753"/>
                    <a:pt x="1261" y="15753"/>
                    <a:pt x="1261" y="15753"/>
                  </a:cubicBezTo>
                  <a:cubicBezTo>
                    <a:pt x="1248" y="15741"/>
                    <a:pt x="1218" y="15714"/>
                    <a:pt x="1182" y="15684"/>
                  </a:cubicBezTo>
                  <a:cubicBezTo>
                    <a:pt x="1177" y="15679"/>
                    <a:pt x="1171" y="15675"/>
                    <a:pt x="1165" y="15670"/>
                  </a:cubicBezTo>
                  <a:cubicBezTo>
                    <a:pt x="1148" y="15622"/>
                    <a:pt x="1101" y="15577"/>
                    <a:pt x="1048" y="15537"/>
                  </a:cubicBezTo>
                  <a:close/>
                  <a:moveTo>
                    <a:pt x="1110" y="15626"/>
                  </a:moveTo>
                  <a:cubicBezTo>
                    <a:pt x="1081" y="15604"/>
                    <a:pt x="1052" y="15584"/>
                    <a:pt x="1026" y="15571"/>
                  </a:cubicBezTo>
                  <a:cubicBezTo>
                    <a:pt x="944" y="15528"/>
                    <a:pt x="875" y="15490"/>
                    <a:pt x="763" y="15459"/>
                  </a:cubicBezTo>
                  <a:cubicBezTo>
                    <a:pt x="655" y="15429"/>
                    <a:pt x="513" y="15394"/>
                    <a:pt x="395" y="15378"/>
                  </a:cubicBezTo>
                  <a:cubicBezTo>
                    <a:pt x="346" y="15371"/>
                    <a:pt x="307" y="15366"/>
                    <a:pt x="279" y="15362"/>
                  </a:cubicBezTo>
                  <a:cubicBezTo>
                    <a:pt x="302" y="15333"/>
                    <a:pt x="325" y="15303"/>
                    <a:pt x="349" y="15272"/>
                  </a:cubicBezTo>
                  <a:cubicBezTo>
                    <a:pt x="352" y="15308"/>
                    <a:pt x="365" y="15337"/>
                    <a:pt x="396" y="15347"/>
                  </a:cubicBezTo>
                  <a:cubicBezTo>
                    <a:pt x="491" y="15375"/>
                    <a:pt x="756" y="15408"/>
                    <a:pt x="854" y="15451"/>
                  </a:cubicBezTo>
                  <a:cubicBezTo>
                    <a:pt x="894" y="15469"/>
                    <a:pt x="969" y="15509"/>
                    <a:pt x="1033" y="15556"/>
                  </a:cubicBezTo>
                  <a:cubicBezTo>
                    <a:pt x="1063" y="15578"/>
                    <a:pt x="1090" y="15602"/>
                    <a:pt x="1110" y="15626"/>
                  </a:cubicBezTo>
                  <a:close/>
                  <a:moveTo>
                    <a:pt x="292" y="13052"/>
                  </a:moveTo>
                  <a:cubicBezTo>
                    <a:pt x="294" y="13043"/>
                    <a:pt x="295" y="13034"/>
                    <a:pt x="297" y="13025"/>
                  </a:cubicBezTo>
                  <a:cubicBezTo>
                    <a:pt x="301" y="13002"/>
                    <a:pt x="303" y="12980"/>
                    <a:pt x="303" y="12959"/>
                  </a:cubicBezTo>
                  <a:cubicBezTo>
                    <a:pt x="303" y="12897"/>
                    <a:pt x="287" y="12841"/>
                    <a:pt x="267" y="12795"/>
                  </a:cubicBezTo>
                  <a:cubicBezTo>
                    <a:pt x="297" y="12789"/>
                    <a:pt x="341" y="12778"/>
                    <a:pt x="385" y="12768"/>
                  </a:cubicBezTo>
                  <a:cubicBezTo>
                    <a:pt x="448" y="12754"/>
                    <a:pt x="513" y="12739"/>
                    <a:pt x="535" y="12734"/>
                  </a:cubicBezTo>
                  <a:cubicBezTo>
                    <a:pt x="546" y="12753"/>
                    <a:pt x="555" y="12769"/>
                    <a:pt x="563" y="12783"/>
                  </a:cubicBezTo>
                  <a:cubicBezTo>
                    <a:pt x="606" y="12869"/>
                    <a:pt x="614" y="12915"/>
                    <a:pt x="617" y="12959"/>
                  </a:cubicBezTo>
                  <a:cubicBezTo>
                    <a:pt x="617" y="12964"/>
                    <a:pt x="617" y="12973"/>
                    <a:pt x="617" y="12986"/>
                  </a:cubicBezTo>
                  <a:cubicBezTo>
                    <a:pt x="617" y="13020"/>
                    <a:pt x="616" y="13078"/>
                    <a:pt x="614" y="13139"/>
                  </a:cubicBezTo>
                  <a:lnTo>
                    <a:pt x="292" y="13052"/>
                  </a:lnTo>
                  <a:close/>
                  <a:moveTo>
                    <a:pt x="613" y="13153"/>
                  </a:moveTo>
                  <a:cubicBezTo>
                    <a:pt x="613" y="13163"/>
                    <a:pt x="612" y="13174"/>
                    <a:pt x="612" y="13185"/>
                  </a:cubicBezTo>
                  <a:cubicBezTo>
                    <a:pt x="608" y="13260"/>
                    <a:pt x="602" y="13335"/>
                    <a:pt x="595" y="13363"/>
                  </a:cubicBezTo>
                  <a:cubicBezTo>
                    <a:pt x="592" y="13378"/>
                    <a:pt x="588" y="13395"/>
                    <a:pt x="584" y="13414"/>
                  </a:cubicBezTo>
                  <a:cubicBezTo>
                    <a:pt x="575" y="13411"/>
                    <a:pt x="565" y="13407"/>
                    <a:pt x="553" y="13403"/>
                  </a:cubicBezTo>
                  <a:cubicBezTo>
                    <a:pt x="520" y="13391"/>
                    <a:pt x="478" y="13376"/>
                    <a:pt x="436" y="13361"/>
                  </a:cubicBezTo>
                  <a:cubicBezTo>
                    <a:pt x="369" y="13337"/>
                    <a:pt x="303" y="13312"/>
                    <a:pt x="274" y="13302"/>
                  </a:cubicBezTo>
                  <a:cubicBezTo>
                    <a:pt x="274" y="13298"/>
                    <a:pt x="274" y="13298"/>
                    <a:pt x="274" y="13298"/>
                  </a:cubicBezTo>
                  <a:cubicBezTo>
                    <a:pt x="274" y="13273"/>
                    <a:pt x="275" y="13170"/>
                    <a:pt x="290" y="13066"/>
                  </a:cubicBezTo>
                  <a:lnTo>
                    <a:pt x="613" y="13153"/>
                  </a:lnTo>
                  <a:close/>
                  <a:moveTo>
                    <a:pt x="636" y="7199"/>
                  </a:moveTo>
                  <a:cubicBezTo>
                    <a:pt x="637" y="7199"/>
                    <a:pt x="638" y="7200"/>
                    <a:pt x="638" y="7201"/>
                  </a:cubicBezTo>
                  <a:cubicBezTo>
                    <a:pt x="760" y="7307"/>
                    <a:pt x="881" y="7413"/>
                    <a:pt x="921" y="7448"/>
                  </a:cubicBezTo>
                  <a:cubicBezTo>
                    <a:pt x="885" y="7535"/>
                    <a:pt x="885" y="7535"/>
                    <a:pt x="885" y="7535"/>
                  </a:cubicBezTo>
                  <a:cubicBezTo>
                    <a:pt x="857" y="7561"/>
                    <a:pt x="857" y="7561"/>
                    <a:pt x="857" y="7561"/>
                  </a:cubicBezTo>
                  <a:cubicBezTo>
                    <a:pt x="857" y="7560"/>
                    <a:pt x="857" y="7560"/>
                    <a:pt x="857" y="7560"/>
                  </a:cubicBezTo>
                  <a:cubicBezTo>
                    <a:pt x="855" y="7563"/>
                    <a:pt x="855" y="7563"/>
                    <a:pt x="855" y="7563"/>
                  </a:cubicBezTo>
                  <a:cubicBezTo>
                    <a:pt x="852" y="7565"/>
                    <a:pt x="852" y="7565"/>
                    <a:pt x="852" y="7565"/>
                  </a:cubicBezTo>
                  <a:cubicBezTo>
                    <a:pt x="852" y="7566"/>
                    <a:pt x="852" y="7566"/>
                    <a:pt x="852" y="7566"/>
                  </a:cubicBezTo>
                  <a:cubicBezTo>
                    <a:pt x="614" y="7819"/>
                    <a:pt x="614" y="7819"/>
                    <a:pt x="614" y="7819"/>
                  </a:cubicBezTo>
                  <a:cubicBezTo>
                    <a:pt x="367" y="7476"/>
                    <a:pt x="367" y="7476"/>
                    <a:pt x="367" y="7476"/>
                  </a:cubicBezTo>
                  <a:cubicBezTo>
                    <a:pt x="408" y="7433"/>
                    <a:pt x="520" y="7317"/>
                    <a:pt x="587" y="7250"/>
                  </a:cubicBezTo>
                  <a:cubicBezTo>
                    <a:pt x="615" y="7222"/>
                    <a:pt x="636" y="7202"/>
                    <a:pt x="638" y="7202"/>
                  </a:cubicBezTo>
                  <a:lnTo>
                    <a:pt x="636" y="7199"/>
                  </a:lnTo>
                  <a:close/>
                  <a:moveTo>
                    <a:pt x="424" y="5978"/>
                  </a:moveTo>
                  <a:cubicBezTo>
                    <a:pt x="476" y="5882"/>
                    <a:pt x="476" y="5882"/>
                    <a:pt x="476" y="5882"/>
                  </a:cubicBezTo>
                  <a:cubicBezTo>
                    <a:pt x="590" y="5947"/>
                    <a:pt x="590" y="5947"/>
                    <a:pt x="590" y="5947"/>
                  </a:cubicBezTo>
                  <a:cubicBezTo>
                    <a:pt x="538" y="6043"/>
                    <a:pt x="538" y="6043"/>
                    <a:pt x="538" y="6043"/>
                  </a:cubicBezTo>
                  <a:lnTo>
                    <a:pt x="424" y="5978"/>
                  </a:lnTo>
                  <a:close/>
                  <a:moveTo>
                    <a:pt x="531" y="6055"/>
                  </a:moveTo>
                  <a:cubicBezTo>
                    <a:pt x="496" y="6119"/>
                    <a:pt x="496" y="6119"/>
                    <a:pt x="496" y="6119"/>
                  </a:cubicBezTo>
                  <a:cubicBezTo>
                    <a:pt x="381" y="6056"/>
                    <a:pt x="381" y="6056"/>
                    <a:pt x="381" y="6056"/>
                  </a:cubicBezTo>
                  <a:cubicBezTo>
                    <a:pt x="417" y="5990"/>
                    <a:pt x="417" y="5990"/>
                    <a:pt x="417" y="5990"/>
                  </a:cubicBezTo>
                  <a:lnTo>
                    <a:pt x="531" y="6055"/>
                  </a:lnTo>
                  <a:close/>
                  <a:moveTo>
                    <a:pt x="5201" y="2991"/>
                  </a:moveTo>
                  <a:cubicBezTo>
                    <a:pt x="5215" y="2949"/>
                    <a:pt x="5304" y="2676"/>
                    <a:pt x="5339" y="2549"/>
                  </a:cubicBezTo>
                  <a:cubicBezTo>
                    <a:pt x="5392" y="2565"/>
                    <a:pt x="5483" y="2592"/>
                    <a:pt x="5583" y="2621"/>
                  </a:cubicBezTo>
                  <a:cubicBezTo>
                    <a:pt x="5739" y="2668"/>
                    <a:pt x="5917" y="2721"/>
                    <a:pt x="6005" y="2747"/>
                  </a:cubicBezTo>
                  <a:cubicBezTo>
                    <a:pt x="6184" y="2800"/>
                    <a:pt x="6746" y="2944"/>
                    <a:pt x="6857" y="2969"/>
                  </a:cubicBezTo>
                  <a:cubicBezTo>
                    <a:pt x="6969" y="2994"/>
                    <a:pt x="7090" y="3016"/>
                    <a:pt x="7181" y="3087"/>
                  </a:cubicBezTo>
                  <a:cubicBezTo>
                    <a:pt x="7213" y="3111"/>
                    <a:pt x="7260" y="3176"/>
                    <a:pt x="7294" y="3240"/>
                  </a:cubicBezTo>
                  <a:cubicBezTo>
                    <a:pt x="7308" y="3264"/>
                    <a:pt x="7320" y="3287"/>
                    <a:pt x="7330" y="3308"/>
                  </a:cubicBezTo>
                  <a:cubicBezTo>
                    <a:pt x="7257" y="3346"/>
                    <a:pt x="7183" y="3395"/>
                    <a:pt x="7121" y="3462"/>
                  </a:cubicBezTo>
                  <a:cubicBezTo>
                    <a:pt x="7056" y="3533"/>
                    <a:pt x="7005" y="3626"/>
                    <a:pt x="6989" y="3738"/>
                  </a:cubicBezTo>
                  <a:cubicBezTo>
                    <a:pt x="6986" y="3756"/>
                    <a:pt x="6985" y="3774"/>
                    <a:pt x="6985" y="3792"/>
                  </a:cubicBezTo>
                  <a:cubicBezTo>
                    <a:pt x="6985" y="3911"/>
                    <a:pt x="7039" y="4022"/>
                    <a:pt x="7114" y="4132"/>
                  </a:cubicBezTo>
                  <a:cubicBezTo>
                    <a:pt x="7189" y="4242"/>
                    <a:pt x="7288" y="4354"/>
                    <a:pt x="7394" y="4471"/>
                  </a:cubicBezTo>
                  <a:cubicBezTo>
                    <a:pt x="7515" y="4605"/>
                    <a:pt x="7645" y="4747"/>
                    <a:pt x="7757" y="4896"/>
                  </a:cubicBezTo>
                  <a:cubicBezTo>
                    <a:pt x="6174" y="4827"/>
                    <a:pt x="6174" y="4827"/>
                    <a:pt x="6174" y="4827"/>
                  </a:cubicBezTo>
                  <a:cubicBezTo>
                    <a:pt x="6177" y="4800"/>
                    <a:pt x="6179" y="4761"/>
                    <a:pt x="6179" y="4714"/>
                  </a:cubicBezTo>
                  <a:cubicBezTo>
                    <a:pt x="6179" y="4636"/>
                    <a:pt x="6172" y="4539"/>
                    <a:pt x="6141" y="4446"/>
                  </a:cubicBezTo>
                  <a:cubicBezTo>
                    <a:pt x="6110" y="4353"/>
                    <a:pt x="6055" y="4264"/>
                    <a:pt x="5960" y="4211"/>
                  </a:cubicBezTo>
                  <a:cubicBezTo>
                    <a:pt x="5697" y="4065"/>
                    <a:pt x="5589" y="3938"/>
                    <a:pt x="5396" y="3855"/>
                  </a:cubicBezTo>
                  <a:cubicBezTo>
                    <a:pt x="5293" y="3810"/>
                    <a:pt x="5173" y="3771"/>
                    <a:pt x="5052" y="3735"/>
                  </a:cubicBezTo>
                  <a:cubicBezTo>
                    <a:pt x="5210" y="3370"/>
                    <a:pt x="5210" y="3370"/>
                    <a:pt x="5210" y="3370"/>
                  </a:cubicBezTo>
                  <a:lnTo>
                    <a:pt x="5201" y="2991"/>
                  </a:lnTo>
                  <a:close/>
                  <a:moveTo>
                    <a:pt x="10819" y="3687"/>
                  </a:moveTo>
                  <a:cubicBezTo>
                    <a:pt x="10821" y="3694"/>
                    <a:pt x="10822" y="3699"/>
                    <a:pt x="10823" y="3705"/>
                  </a:cubicBezTo>
                  <a:cubicBezTo>
                    <a:pt x="8005" y="4518"/>
                    <a:pt x="8005" y="4518"/>
                    <a:pt x="8005" y="4518"/>
                  </a:cubicBezTo>
                  <a:cubicBezTo>
                    <a:pt x="7935" y="4397"/>
                    <a:pt x="7935" y="4397"/>
                    <a:pt x="7935" y="4397"/>
                  </a:cubicBezTo>
                  <a:cubicBezTo>
                    <a:pt x="7533" y="3391"/>
                    <a:pt x="7533" y="3391"/>
                    <a:pt x="7533" y="3391"/>
                  </a:cubicBezTo>
                  <a:cubicBezTo>
                    <a:pt x="7590" y="3371"/>
                    <a:pt x="7642" y="3357"/>
                    <a:pt x="7681" y="3346"/>
                  </a:cubicBezTo>
                  <a:cubicBezTo>
                    <a:pt x="7704" y="3340"/>
                    <a:pt x="7722" y="3335"/>
                    <a:pt x="7739" y="3327"/>
                  </a:cubicBezTo>
                  <a:cubicBezTo>
                    <a:pt x="7740" y="3327"/>
                    <a:pt x="7741" y="3327"/>
                    <a:pt x="7743" y="3326"/>
                  </a:cubicBezTo>
                  <a:cubicBezTo>
                    <a:pt x="7747" y="3325"/>
                    <a:pt x="7752" y="3323"/>
                    <a:pt x="7759" y="3321"/>
                  </a:cubicBezTo>
                  <a:cubicBezTo>
                    <a:pt x="7772" y="3317"/>
                    <a:pt x="7790" y="3312"/>
                    <a:pt x="7813" y="3306"/>
                  </a:cubicBezTo>
                  <a:cubicBezTo>
                    <a:pt x="7859" y="3293"/>
                    <a:pt x="7923" y="3275"/>
                    <a:pt x="8001" y="3254"/>
                  </a:cubicBezTo>
                  <a:cubicBezTo>
                    <a:pt x="8157" y="3211"/>
                    <a:pt x="8369" y="3154"/>
                    <a:pt x="8607" y="3090"/>
                  </a:cubicBezTo>
                  <a:cubicBezTo>
                    <a:pt x="9083" y="2961"/>
                    <a:pt x="9664" y="2803"/>
                    <a:pt x="10115" y="2675"/>
                  </a:cubicBezTo>
                  <a:cubicBezTo>
                    <a:pt x="10275" y="2630"/>
                    <a:pt x="10418" y="2588"/>
                    <a:pt x="10534" y="2553"/>
                  </a:cubicBezTo>
                  <a:cubicBezTo>
                    <a:pt x="10567" y="2673"/>
                    <a:pt x="10606" y="2824"/>
                    <a:pt x="10645" y="2976"/>
                  </a:cubicBezTo>
                  <a:cubicBezTo>
                    <a:pt x="10716" y="3256"/>
                    <a:pt x="10784" y="3544"/>
                    <a:pt x="10819" y="3687"/>
                  </a:cubicBezTo>
                  <a:close/>
                  <a:moveTo>
                    <a:pt x="10709" y="2959"/>
                  </a:moveTo>
                  <a:cubicBezTo>
                    <a:pt x="10717" y="2947"/>
                    <a:pt x="10717" y="2947"/>
                    <a:pt x="10717" y="2947"/>
                  </a:cubicBezTo>
                  <a:cubicBezTo>
                    <a:pt x="10709" y="2960"/>
                    <a:pt x="10709" y="2960"/>
                    <a:pt x="10709" y="2960"/>
                  </a:cubicBezTo>
                  <a:cubicBezTo>
                    <a:pt x="10709" y="2959"/>
                    <a:pt x="10709" y="2959"/>
                    <a:pt x="10709" y="2959"/>
                  </a:cubicBezTo>
                  <a:close/>
                  <a:moveTo>
                    <a:pt x="10001" y="6739"/>
                  </a:moveTo>
                  <a:cubicBezTo>
                    <a:pt x="10010" y="6749"/>
                    <a:pt x="10015" y="6757"/>
                    <a:pt x="10030" y="6763"/>
                  </a:cubicBezTo>
                  <a:cubicBezTo>
                    <a:pt x="10030" y="6764"/>
                    <a:pt x="10030" y="6764"/>
                    <a:pt x="10030" y="6764"/>
                  </a:cubicBezTo>
                  <a:cubicBezTo>
                    <a:pt x="10030" y="6764"/>
                    <a:pt x="10030" y="6764"/>
                    <a:pt x="10031" y="6764"/>
                  </a:cubicBezTo>
                  <a:cubicBezTo>
                    <a:pt x="10032" y="6764"/>
                    <a:pt x="10033" y="6765"/>
                    <a:pt x="10035" y="6766"/>
                  </a:cubicBezTo>
                  <a:cubicBezTo>
                    <a:pt x="10039" y="6768"/>
                    <a:pt x="10045" y="6772"/>
                    <a:pt x="10053" y="6776"/>
                  </a:cubicBezTo>
                  <a:cubicBezTo>
                    <a:pt x="10068" y="6785"/>
                    <a:pt x="10089" y="6797"/>
                    <a:pt x="10115" y="6812"/>
                  </a:cubicBezTo>
                  <a:cubicBezTo>
                    <a:pt x="10167" y="6842"/>
                    <a:pt x="10237" y="6883"/>
                    <a:pt x="10310" y="6926"/>
                  </a:cubicBezTo>
                  <a:cubicBezTo>
                    <a:pt x="10437" y="7001"/>
                    <a:pt x="10576" y="7084"/>
                    <a:pt x="10659" y="7135"/>
                  </a:cubicBezTo>
                  <a:cubicBezTo>
                    <a:pt x="10216" y="8388"/>
                    <a:pt x="10216" y="8388"/>
                    <a:pt x="10216" y="8388"/>
                  </a:cubicBezTo>
                  <a:cubicBezTo>
                    <a:pt x="9735" y="8222"/>
                    <a:pt x="9183" y="7973"/>
                    <a:pt x="9027" y="7906"/>
                  </a:cubicBezTo>
                  <a:cubicBezTo>
                    <a:pt x="8881" y="7844"/>
                    <a:pt x="8740" y="7714"/>
                    <a:pt x="8695" y="7607"/>
                  </a:cubicBezTo>
                  <a:cubicBezTo>
                    <a:pt x="8667" y="7544"/>
                    <a:pt x="8658" y="7465"/>
                    <a:pt x="8658" y="7384"/>
                  </a:cubicBezTo>
                  <a:cubicBezTo>
                    <a:pt x="8658" y="7328"/>
                    <a:pt x="8662" y="7273"/>
                    <a:pt x="8664" y="7221"/>
                  </a:cubicBezTo>
                  <a:cubicBezTo>
                    <a:pt x="8669" y="7133"/>
                    <a:pt x="8678" y="6823"/>
                    <a:pt x="8678" y="6528"/>
                  </a:cubicBezTo>
                  <a:cubicBezTo>
                    <a:pt x="8678" y="6386"/>
                    <a:pt x="8676" y="6248"/>
                    <a:pt x="8670" y="6141"/>
                  </a:cubicBezTo>
                  <a:cubicBezTo>
                    <a:pt x="8649" y="5796"/>
                    <a:pt x="8470" y="5339"/>
                    <a:pt x="8349" y="5108"/>
                  </a:cubicBezTo>
                  <a:cubicBezTo>
                    <a:pt x="8349" y="5106"/>
                    <a:pt x="8349" y="5106"/>
                    <a:pt x="8349" y="5106"/>
                  </a:cubicBezTo>
                  <a:cubicBezTo>
                    <a:pt x="8040" y="4576"/>
                    <a:pt x="8040" y="4576"/>
                    <a:pt x="8040" y="4576"/>
                  </a:cubicBezTo>
                  <a:cubicBezTo>
                    <a:pt x="9616" y="4121"/>
                    <a:pt x="9616" y="4121"/>
                    <a:pt x="9616" y="4121"/>
                  </a:cubicBezTo>
                  <a:cubicBezTo>
                    <a:pt x="9632" y="4180"/>
                    <a:pt x="9701" y="4436"/>
                    <a:pt x="9774" y="4715"/>
                  </a:cubicBezTo>
                  <a:cubicBezTo>
                    <a:pt x="9857" y="5033"/>
                    <a:pt x="9944" y="5383"/>
                    <a:pt x="9962" y="5499"/>
                  </a:cubicBezTo>
                  <a:cubicBezTo>
                    <a:pt x="9973" y="5566"/>
                    <a:pt x="9977" y="5661"/>
                    <a:pt x="9977" y="5766"/>
                  </a:cubicBezTo>
                  <a:cubicBezTo>
                    <a:pt x="9977" y="6022"/>
                    <a:pt x="9953" y="6336"/>
                    <a:pt x="9948" y="6471"/>
                  </a:cubicBezTo>
                  <a:cubicBezTo>
                    <a:pt x="9948" y="6483"/>
                    <a:pt x="9948" y="6494"/>
                    <a:pt x="9948" y="6504"/>
                  </a:cubicBezTo>
                  <a:cubicBezTo>
                    <a:pt x="9948" y="6633"/>
                    <a:pt x="9976" y="6704"/>
                    <a:pt x="10001" y="6739"/>
                  </a:cubicBezTo>
                  <a:close/>
                  <a:moveTo>
                    <a:pt x="8251" y="7923"/>
                  </a:moveTo>
                  <a:cubicBezTo>
                    <a:pt x="8152" y="7817"/>
                    <a:pt x="8152" y="7817"/>
                    <a:pt x="8152" y="7817"/>
                  </a:cubicBezTo>
                  <a:cubicBezTo>
                    <a:pt x="8148" y="7812"/>
                    <a:pt x="8148" y="7812"/>
                    <a:pt x="8148" y="7812"/>
                  </a:cubicBezTo>
                  <a:cubicBezTo>
                    <a:pt x="8092" y="7863"/>
                    <a:pt x="8092" y="7863"/>
                    <a:pt x="8092" y="7863"/>
                  </a:cubicBezTo>
                  <a:cubicBezTo>
                    <a:pt x="8189" y="7968"/>
                    <a:pt x="8189" y="7968"/>
                    <a:pt x="8189" y="7968"/>
                  </a:cubicBezTo>
                  <a:cubicBezTo>
                    <a:pt x="8185" y="7969"/>
                    <a:pt x="8180" y="7970"/>
                    <a:pt x="8175" y="7970"/>
                  </a:cubicBezTo>
                  <a:cubicBezTo>
                    <a:pt x="8161" y="7972"/>
                    <a:pt x="8147" y="7974"/>
                    <a:pt x="8134" y="7975"/>
                  </a:cubicBezTo>
                  <a:cubicBezTo>
                    <a:pt x="7910" y="7737"/>
                    <a:pt x="7910" y="7737"/>
                    <a:pt x="7910" y="7737"/>
                  </a:cubicBezTo>
                  <a:cubicBezTo>
                    <a:pt x="7934" y="7728"/>
                    <a:pt x="8007" y="7701"/>
                    <a:pt x="8084" y="7672"/>
                  </a:cubicBezTo>
                  <a:cubicBezTo>
                    <a:pt x="8198" y="7788"/>
                    <a:pt x="8319" y="7909"/>
                    <a:pt x="8357" y="7943"/>
                  </a:cubicBezTo>
                  <a:cubicBezTo>
                    <a:pt x="8307" y="7952"/>
                    <a:pt x="8253" y="7960"/>
                    <a:pt x="8204" y="7967"/>
                  </a:cubicBezTo>
                  <a:lnTo>
                    <a:pt x="8251" y="7923"/>
                  </a:lnTo>
                  <a:close/>
                  <a:moveTo>
                    <a:pt x="8196" y="7956"/>
                  </a:moveTo>
                  <a:cubicBezTo>
                    <a:pt x="8111" y="7864"/>
                    <a:pt x="8111" y="7864"/>
                    <a:pt x="8111" y="7864"/>
                  </a:cubicBezTo>
                  <a:cubicBezTo>
                    <a:pt x="8147" y="7831"/>
                    <a:pt x="8147" y="7831"/>
                    <a:pt x="8147" y="7831"/>
                  </a:cubicBezTo>
                  <a:cubicBezTo>
                    <a:pt x="8232" y="7922"/>
                    <a:pt x="8232" y="7922"/>
                    <a:pt x="8232" y="7922"/>
                  </a:cubicBezTo>
                  <a:lnTo>
                    <a:pt x="8196" y="7956"/>
                  </a:lnTo>
                  <a:close/>
                  <a:moveTo>
                    <a:pt x="7431" y="11784"/>
                  </a:moveTo>
                  <a:cubicBezTo>
                    <a:pt x="7763" y="11954"/>
                    <a:pt x="7763" y="11954"/>
                    <a:pt x="7763" y="11954"/>
                  </a:cubicBezTo>
                  <a:cubicBezTo>
                    <a:pt x="7593" y="12302"/>
                    <a:pt x="7593" y="12302"/>
                    <a:pt x="7593" y="12302"/>
                  </a:cubicBezTo>
                  <a:cubicBezTo>
                    <a:pt x="7586" y="12297"/>
                    <a:pt x="7578" y="12291"/>
                    <a:pt x="7568" y="12283"/>
                  </a:cubicBezTo>
                  <a:cubicBezTo>
                    <a:pt x="7546" y="12267"/>
                    <a:pt x="7518" y="12245"/>
                    <a:pt x="7490" y="12223"/>
                  </a:cubicBezTo>
                  <a:cubicBezTo>
                    <a:pt x="7434" y="12179"/>
                    <a:pt x="7380" y="12135"/>
                    <a:pt x="7379" y="12135"/>
                  </a:cubicBezTo>
                  <a:cubicBezTo>
                    <a:pt x="7378" y="12134"/>
                    <a:pt x="7378" y="12134"/>
                    <a:pt x="7378" y="12134"/>
                  </a:cubicBezTo>
                  <a:cubicBezTo>
                    <a:pt x="7377" y="12134"/>
                    <a:pt x="7377" y="12134"/>
                    <a:pt x="7377" y="12134"/>
                  </a:cubicBezTo>
                  <a:cubicBezTo>
                    <a:pt x="7377" y="12134"/>
                    <a:pt x="7240" y="12098"/>
                    <a:pt x="7169" y="12079"/>
                  </a:cubicBezTo>
                  <a:cubicBezTo>
                    <a:pt x="7145" y="12073"/>
                    <a:pt x="7130" y="12069"/>
                    <a:pt x="7126" y="12069"/>
                  </a:cubicBezTo>
                  <a:cubicBezTo>
                    <a:pt x="7126" y="12083"/>
                    <a:pt x="7126" y="12083"/>
                    <a:pt x="7126" y="12083"/>
                  </a:cubicBezTo>
                  <a:cubicBezTo>
                    <a:pt x="7126" y="12083"/>
                    <a:pt x="7126" y="12083"/>
                    <a:pt x="7126" y="12083"/>
                  </a:cubicBezTo>
                  <a:cubicBezTo>
                    <a:pt x="7126" y="12083"/>
                    <a:pt x="7127" y="12083"/>
                    <a:pt x="7128" y="12084"/>
                  </a:cubicBezTo>
                  <a:cubicBezTo>
                    <a:pt x="7130" y="12084"/>
                    <a:pt x="7133" y="12085"/>
                    <a:pt x="7137" y="12086"/>
                  </a:cubicBezTo>
                  <a:cubicBezTo>
                    <a:pt x="7144" y="12087"/>
                    <a:pt x="7154" y="12090"/>
                    <a:pt x="7166" y="12093"/>
                  </a:cubicBezTo>
                  <a:cubicBezTo>
                    <a:pt x="7189" y="12099"/>
                    <a:pt x="7220" y="12107"/>
                    <a:pt x="7251" y="12115"/>
                  </a:cubicBezTo>
                  <a:cubicBezTo>
                    <a:pt x="7307" y="12130"/>
                    <a:pt x="7363" y="12145"/>
                    <a:pt x="7372" y="12147"/>
                  </a:cubicBezTo>
                  <a:cubicBezTo>
                    <a:pt x="7387" y="12159"/>
                    <a:pt x="7540" y="12282"/>
                    <a:pt x="7587" y="12314"/>
                  </a:cubicBezTo>
                  <a:cubicBezTo>
                    <a:pt x="7587" y="12314"/>
                    <a:pt x="7587" y="12314"/>
                    <a:pt x="7587" y="12315"/>
                  </a:cubicBezTo>
                  <a:cubicBezTo>
                    <a:pt x="7463" y="12568"/>
                    <a:pt x="7463" y="12568"/>
                    <a:pt x="7463" y="12568"/>
                  </a:cubicBezTo>
                  <a:cubicBezTo>
                    <a:pt x="7040" y="12433"/>
                    <a:pt x="7040" y="12433"/>
                    <a:pt x="7040" y="12433"/>
                  </a:cubicBezTo>
                  <a:cubicBezTo>
                    <a:pt x="7123" y="12293"/>
                    <a:pt x="7123" y="12293"/>
                    <a:pt x="7123" y="12293"/>
                  </a:cubicBezTo>
                  <a:cubicBezTo>
                    <a:pt x="7120" y="11966"/>
                    <a:pt x="7120" y="11966"/>
                    <a:pt x="7120" y="11966"/>
                  </a:cubicBezTo>
                  <a:cubicBezTo>
                    <a:pt x="7128" y="11946"/>
                    <a:pt x="7227" y="11661"/>
                    <a:pt x="7308" y="11427"/>
                  </a:cubicBezTo>
                  <a:cubicBezTo>
                    <a:pt x="7471" y="11584"/>
                    <a:pt x="7471" y="11584"/>
                    <a:pt x="7471" y="11584"/>
                  </a:cubicBezTo>
                  <a:cubicBezTo>
                    <a:pt x="7776" y="11602"/>
                    <a:pt x="7776" y="11602"/>
                    <a:pt x="7776" y="11602"/>
                  </a:cubicBezTo>
                  <a:cubicBezTo>
                    <a:pt x="7886" y="11700"/>
                    <a:pt x="7886" y="11700"/>
                    <a:pt x="7886" y="11700"/>
                  </a:cubicBezTo>
                  <a:cubicBezTo>
                    <a:pt x="7769" y="11941"/>
                    <a:pt x="7769" y="11941"/>
                    <a:pt x="7769" y="11941"/>
                  </a:cubicBezTo>
                  <a:cubicBezTo>
                    <a:pt x="7436" y="11771"/>
                    <a:pt x="7436" y="11771"/>
                    <a:pt x="7436" y="11771"/>
                  </a:cubicBezTo>
                  <a:cubicBezTo>
                    <a:pt x="7211" y="11709"/>
                    <a:pt x="7211" y="11709"/>
                    <a:pt x="7211" y="11709"/>
                  </a:cubicBezTo>
                  <a:cubicBezTo>
                    <a:pt x="7207" y="11722"/>
                    <a:pt x="7207" y="11722"/>
                    <a:pt x="7207" y="11722"/>
                  </a:cubicBezTo>
                  <a:lnTo>
                    <a:pt x="7431" y="11784"/>
                  </a:lnTo>
                  <a:close/>
                  <a:moveTo>
                    <a:pt x="7925" y="13425"/>
                  </a:moveTo>
                  <a:cubicBezTo>
                    <a:pt x="7925" y="13717"/>
                    <a:pt x="7925" y="13717"/>
                    <a:pt x="7925" y="13717"/>
                  </a:cubicBezTo>
                  <a:cubicBezTo>
                    <a:pt x="7757" y="13724"/>
                    <a:pt x="7757" y="13724"/>
                    <a:pt x="7757" y="13724"/>
                  </a:cubicBezTo>
                  <a:cubicBezTo>
                    <a:pt x="7757" y="13434"/>
                    <a:pt x="7757" y="13434"/>
                    <a:pt x="7757" y="13434"/>
                  </a:cubicBezTo>
                  <a:cubicBezTo>
                    <a:pt x="7743" y="13434"/>
                    <a:pt x="7743" y="13434"/>
                    <a:pt x="7743" y="13434"/>
                  </a:cubicBezTo>
                  <a:cubicBezTo>
                    <a:pt x="7743" y="13725"/>
                    <a:pt x="7743" y="13725"/>
                    <a:pt x="7743" y="13725"/>
                  </a:cubicBezTo>
                  <a:cubicBezTo>
                    <a:pt x="7575" y="13731"/>
                    <a:pt x="7575" y="13731"/>
                    <a:pt x="7575" y="13731"/>
                  </a:cubicBezTo>
                  <a:cubicBezTo>
                    <a:pt x="7575" y="13434"/>
                    <a:pt x="7575" y="13434"/>
                    <a:pt x="7575" y="13434"/>
                  </a:cubicBezTo>
                  <a:cubicBezTo>
                    <a:pt x="7561" y="13434"/>
                    <a:pt x="7561" y="13434"/>
                    <a:pt x="7561" y="13434"/>
                  </a:cubicBezTo>
                  <a:cubicBezTo>
                    <a:pt x="7561" y="13732"/>
                    <a:pt x="7561" y="13732"/>
                    <a:pt x="7561" y="13732"/>
                  </a:cubicBezTo>
                  <a:cubicBezTo>
                    <a:pt x="7374" y="13739"/>
                    <a:pt x="7374" y="13739"/>
                    <a:pt x="7374" y="13739"/>
                  </a:cubicBezTo>
                  <a:cubicBezTo>
                    <a:pt x="7358" y="13654"/>
                    <a:pt x="7350" y="13578"/>
                    <a:pt x="7346" y="13522"/>
                  </a:cubicBezTo>
                  <a:cubicBezTo>
                    <a:pt x="7343" y="13483"/>
                    <a:pt x="7342" y="13455"/>
                    <a:pt x="7342" y="13441"/>
                  </a:cubicBezTo>
                  <a:cubicBezTo>
                    <a:pt x="7345" y="13441"/>
                    <a:pt x="7348" y="13441"/>
                    <a:pt x="7351" y="13441"/>
                  </a:cubicBezTo>
                  <a:cubicBezTo>
                    <a:pt x="7383" y="13439"/>
                    <a:pt x="7428" y="13437"/>
                    <a:pt x="7483" y="13435"/>
                  </a:cubicBezTo>
                  <a:cubicBezTo>
                    <a:pt x="7592" y="13431"/>
                    <a:pt x="7737" y="13426"/>
                    <a:pt x="7882" y="13422"/>
                  </a:cubicBezTo>
                  <a:cubicBezTo>
                    <a:pt x="7956" y="13419"/>
                    <a:pt x="8031" y="13417"/>
                    <a:pt x="8100" y="13415"/>
                  </a:cubicBezTo>
                  <a:cubicBezTo>
                    <a:pt x="8100" y="13710"/>
                    <a:pt x="8100" y="13710"/>
                    <a:pt x="8100" y="13710"/>
                  </a:cubicBezTo>
                  <a:cubicBezTo>
                    <a:pt x="7939" y="13717"/>
                    <a:pt x="7939" y="13717"/>
                    <a:pt x="7939" y="13717"/>
                  </a:cubicBezTo>
                  <a:cubicBezTo>
                    <a:pt x="7939" y="13425"/>
                    <a:pt x="7939" y="13425"/>
                    <a:pt x="7939" y="13425"/>
                  </a:cubicBezTo>
                  <a:lnTo>
                    <a:pt x="7925" y="13425"/>
                  </a:lnTo>
                  <a:close/>
                  <a:moveTo>
                    <a:pt x="7679" y="14966"/>
                  </a:moveTo>
                  <a:cubicBezTo>
                    <a:pt x="7674" y="14997"/>
                    <a:pt x="7674" y="14997"/>
                    <a:pt x="7674" y="14997"/>
                  </a:cubicBezTo>
                  <a:cubicBezTo>
                    <a:pt x="7573" y="14977"/>
                    <a:pt x="7573" y="14977"/>
                    <a:pt x="7573" y="14977"/>
                  </a:cubicBezTo>
                  <a:cubicBezTo>
                    <a:pt x="7584" y="14904"/>
                    <a:pt x="7584" y="14904"/>
                    <a:pt x="7584" y="14904"/>
                  </a:cubicBezTo>
                  <a:cubicBezTo>
                    <a:pt x="7643" y="14913"/>
                    <a:pt x="7643" y="14913"/>
                    <a:pt x="7643" y="14913"/>
                  </a:cubicBezTo>
                  <a:cubicBezTo>
                    <a:pt x="7636" y="14959"/>
                    <a:pt x="7636" y="14959"/>
                    <a:pt x="7636" y="14959"/>
                  </a:cubicBezTo>
                  <a:lnTo>
                    <a:pt x="7679" y="14966"/>
                  </a:lnTo>
                  <a:close/>
                  <a:moveTo>
                    <a:pt x="7672" y="15011"/>
                  </a:moveTo>
                  <a:cubicBezTo>
                    <a:pt x="7665" y="15055"/>
                    <a:pt x="7665" y="15055"/>
                    <a:pt x="7665" y="15055"/>
                  </a:cubicBezTo>
                  <a:cubicBezTo>
                    <a:pt x="7622" y="15049"/>
                    <a:pt x="7622" y="15049"/>
                    <a:pt x="7622" y="15049"/>
                  </a:cubicBezTo>
                  <a:cubicBezTo>
                    <a:pt x="7615" y="15095"/>
                    <a:pt x="7615" y="15095"/>
                    <a:pt x="7615" y="15095"/>
                  </a:cubicBezTo>
                  <a:cubicBezTo>
                    <a:pt x="7556" y="15086"/>
                    <a:pt x="7556" y="15086"/>
                    <a:pt x="7556" y="15086"/>
                  </a:cubicBezTo>
                  <a:cubicBezTo>
                    <a:pt x="7570" y="14991"/>
                    <a:pt x="7570" y="14991"/>
                    <a:pt x="7570" y="14991"/>
                  </a:cubicBezTo>
                  <a:lnTo>
                    <a:pt x="7672" y="15011"/>
                  </a:lnTo>
                  <a:close/>
                  <a:moveTo>
                    <a:pt x="7573" y="14889"/>
                  </a:moveTo>
                  <a:cubicBezTo>
                    <a:pt x="7560" y="14974"/>
                    <a:pt x="7560" y="14974"/>
                    <a:pt x="7560" y="14974"/>
                  </a:cubicBezTo>
                  <a:cubicBezTo>
                    <a:pt x="7192" y="14903"/>
                    <a:pt x="7192" y="14903"/>
                    <a:pt x="7192" y="14903"/>
                  </a:cubicBezTo>
                  <a:cubicBezTo>
                    <a:pt x="7192" y="14869"/>
                    <a:pt x="7192" y="14836"/>
                    <a:pt x="7193" y="14806"/>
                  </a:cubicBezTo>
                  <a:cubicBezTo>
                    <a:pt x="7217" y="14811"/>
                    <a:pt x="7340" y="14838"/>
                    <a:pt x="7464" y="14865"/>
                  </a:cubicBezTo>
                  <a:cubicBezTo>
                    <a:pt x="7502" y="14873"/>
                    <a:pt x="7539" y="14881"/>
                    <a:pt x="7575" y="14889"/>
                  </a:cubicBezTo>
                  <a:lnTo>
                    <a:pt x="7573" y="14889"/>
                  </a:lnTo>
                  <a:close/>
                  <a:moveTo>
                    <a:pt x="7192" y="14607"/>
                  </a:moveTo>
                  <a:cubicBezTo>
                    <a:pt x="7180" y="14552"/>
                    <a:pt x="7139" y="14370"/>
                    <a:pt x="7115" y="14267"/>
                  </a:cubicBezTo>
                  <a:cubicBezTo>
                    <a:pt x="7107" y="14236"/>
                    <a:pt x="7102" y="14213"/>
                    <a:pt x="7098" y="14201"/>
                  </a:cubicBezTo>
                  <a:cubicBezTo>
                    <a:pt x="7243" y="14196"/>
                    <a:pt x="7360" y="14191"/>
                    <a:pt x="7389" y="14190"/>
                  </a:cubicBezTo>
                  <a:cubicBezTo>
                    <a:pt x="7387" y="14218"/>
                    <a:pt x="7382" y="14315"/>
                    <a:pt x="7382" y="14359"/>
                  </a:cubicBezTo>
                  <a:cubicBezTo>
                    <a:pt x="7382" y="14368"/>
                    <a:pt x="7382" y="14375"/>
                    <a:pt x="7383" y="14380"/>
                  </a:cubicBezTo>
                  <a:cubicBezTo>
                    <a:pt x="7384" y="14381"/>
                    <a:pt x="7382" y="14383"/>
                    <a:pt x="7388" y="14386"/>
                  </a:cubicBezTo>
                  <a:cubicBezTo>
                    <a:pt x="7395" y="14389"/>
                    <a:pt x="7424" y="14393"/>
                    <a:pt x="7436" y="14394"/>
                  </a:cubicBezTo>
                  <a:cubicBezTo>
                    <a:pt x="7473" y="14575"/>
                    <a:pt x="7473" y="14575"/>
                    <a:pt x="7473" y="14575"/>
                  </a:cubicBezTo>
                  <a:cubicBezTo>
                    <a:pt x="7425" y="14593"/>
                    <a:pt x="7371" y="14605"/>
                    <a:pt x="7312" y="14606"/>
                  </a:cubicBezTo>
                  <a:cubicBezTo>
                    <a:pt x="7282" y="14606"/>
                    <a:pt x="7240" y="14607"/>
                    <a:pt x="7192" y="14607"/>
                  </a:cubicBezTo>
                  <a:close/>
                  <a:moveTo>
                    <a:pt x="6938" y="15926"/>
                  </a:moveTo>
                  <a:cubicBezTo>
                    <a:pt x="6699" y="15919"/>
                    <a:pt x="6699" y="15919"/>
                    <a:pt x="6699" y="15919"/>
                  </a:cubicBezTo>
                  <a:cubicBezTo>
                    <a:pt x="6708" y="15325"/>
                    <a:pt x="6708" y="15325"/>
                    <a:pt x="6708" y="15325"/>
                  </a:cubicBezTo>
                  <a:cubicBezTo>
                    <a:pt x="6733" y="15323"/>
                    <a:pt x="6733" y="15323"/>
                    <a:pt x="6733" y="15323"/>
                  </a:cubicBezTo>
                  <a:cubicBezTo>
                    <a:pt x="6729" y="15172"/>
                    <a:pt x="6729" y="15172"/>
                    <a:pt x="6729" y="15172"/>
                  </a:cubicBezTo>
                  <a:cubicBezTo>
                    <a:pt x="6869" y="15204"/>
                    <a:pt x="6869" y="15204"/>
                    <a:pt x="6869" y="15204"/>
                  </a:cubicBezTo>
                  <a:cubicBezTo>
                    <a:pt x="6856" y="15501"/>
                    <a:pt x="6856" y="15501"/>
                    <a:pt x="6856" y="15501"/>
                  </a:cubicBezTo>
                  <a:cubicBezTo>
                    <a:pt x="6963" y="15519"/>
                    <a:pt x="6963" y="15519"/>
                    <a:pt x="6963" y="15519"/>
                  </a:cubicBezTo>
                  <a:cubicBezTo>
                    <a:pt x="6959" y="15567"/>
                    <a:pt x="6938" y="15867"/>
                    <a:pt x="6938" y="15926"/>
                  </a:cubicBezTo>
                  <a:cubicBezTo>
                    <a:pt x="6938" y="15926"/>
                    <a:pt x="6938" y="15926"/>
                    <a:pt x="6938" y="15926"/>
                  </a:cubicBezTo>
                  <a:close/>
                  <a:moveTo>
                    <a:pt x="6395" y="16809"/>
                  </a:moveTo>
                  <a:cubicBezTo>
                    <a:pt x="6441" y="16749"/>
                    <a:pt x="6441" y="16749"/>
                    <a:pt x="6441" y="16749"/>
                  </a:cubicBezTo>
                  <a:cubicBezTo>
                    <a:pt x="6325" y="16662"/>
                    <a:pt x="6325" y="16662"/>
                    <a:pt x="6325" y="16662"/>
                  </a:cubicBezTo>
                  <a:cubicBezTo>
                    <a:pt x="6320" y="16658"/>
                    <a:pt x="6320" y="16658"/>
                    <a:pt x="6320" y="16658"/>
                  </a:cubicBezTo>
                  <a:cubicBezTo>
                    <a:pt x="6276" y="16716"/>
                    <a:pt x="6276" y="16716"/>
                    <a:pt x="6276" y="16716"/>
                  </a:cubicBezTo>
                  <a:cubicBezTo>
                    <a:pt x="6232" y="16676"/>
                    <a:pt x="6232" y="16676"/>
                    <a:pt x="6232" y="16676"/>
                  </a:cubicBezTo>
                  <a:cubicBezTo>
                    <a:pt x="6238" y="16671"/>
                    <a:pt x="6245" y="16666"/>
                    <a:pt x="6251" y="16660"/>
                  </a:cubicBezTo>
                  <a:cubicBezTo>
                    <a:pt x="6264" y="16648"/>
                    <a:pt x="6275" y="16633"/>
                    <a:pt x="6283" y="16617"/>
                  </a:cubicBezTo>
                  <a:cubicBezTo>
                    <a:pt x="6720" y="16717"/>
                    <a:pt x="6720" y="16717"/>
                    <a:pt x="6720" y="16717"/>
                  </a:cubicBezTo>
                  <a:cubicBezTo>
                    <a:pt x="6733" y="16812"/>
                    <a:pt x="6733" y="16812"/>
                    <a:pt x="6733" y="16812"/>
                  </a:cubicBezTo>
                  <a:cubicBezTo>
                    <a:pt x="6720" y="16820"/>
                    <a:pt x="6677" y="16848"/>
                    <a:pt x="6634" y="16877"/>
                  </a:cubicBezTo>
                  <a:cubicBezTo>
                    <a:pt x="6590" y="16906"/>
                    <a:pt x="6545" y="16935"/>
                    <a:pt x="6532" y="16944"/>
                  </a:cubicBezTo>
                  <a:cubicBezTo>
                    <a:pt x="6304" y="16741"/>
                    <a:pt x="6304" y="16741"/>
                    <a:pt x="6304" y="16741"/>
                  </a:cubicBezTo>
                  <a:lnTo>
                    <a:pt x="6395" y="16809"/>
                  </a:lnTo>
                  <a:close/>
                  <a:moveTo>
                    <a:pt x="6292" y="16716"/>
                  </a:moveTo>
                  <a:cubicBezTo>
                    <a:pt x="6322" y="16676"/>
                    <a:pt x="6322" y="16676"/>
                    <a:pt x="6322" y="16676"/>
                  </a:cubicBezTo>
                  <a:cubicBezTo>
                    <a:pt x="6422" y="16751"/>
                    <a:pt x="6422" y="16751"/>
                    <a:pt x="6422" y="16751"/>
                  </a:cubicBezTo>
                  <a:cubicBezTo>
                    <a:pt x="6393" y="16791"/>
                    <a:pt x="6393" y="16791"/>
                    <a:pt x="6393" y="16791"/>
                  </a:cubicBezTo>
                  <a:lnTo>
                    <a:pt x="6292" y="16716"/>
                  </a:lnTo>
                  <a:close/>
                  <a:moveTo>
                    <a:pt x="6689" y="15441"/>
                  </a:moveTo>
                  <a:cubicBezTo>
                    <a:pt x="6171" y="15476"/>
                    <a:pt x="6171" y="15476"/>
                    <a:pt x="6171" y="15476"/>
                  </a:cubicBezTo>
                  <a:cubicBezTo>
                    <a:pt x="6162" y="15361"/>
                    <a:pt x="6162" y="15361"/>
                    <a:pt x="6162" y="15361"/>
                  </a:cubicBezTo>
                  <a:cubicBezTo>
                    <a:pt x="6206" y="15358"/>
                    <a:pt x="6206" y="15358"/>
                    <a:pt x="6206" y="15358"/>
                  </a:cubicBezTo>
                  <a:cubicBezTo>
                    <a:pt x="6205" y="15404"/>
                    <a:pt x="6205" y="15404"/>
                    <a:pt x="6205" y="15404"/>
                  </a:cubicBezTo>
                  <a:cubicBezTo>
                    <a:pt x="6248" y="15404"/>
                    <a:pt x="6248" y="15404"/>
                    <a:pt x="6248" y="15404"/>
                  </a:cubicBezTo>
                  <a:cubicBezTo>
                    <a:pt x="6247" y="15451"/>
                    <a:pt x="6247" y="15451"/>
                    <a:pt x="6247" y="15451"/>
                  </a:cubicBezTo>
                  <a:cubicBezTo>
                    <a:pt x="6327" y="15453"/>
                    <a:pt x="6327" y="15453"/>
                    <a:pt x="6327" y="15453"/>
                  </a:cubicBezTo>
                  <a:cubicBezTo>
                    <a:pt x="6333" y="15453"/>
                    <a:pt x="6333" y="15453"/>
                    <a:pt x="6333" y="15453"/>
                  </a:cubicBezTo>
                  <a:cubicBezTo>
                    <a:pt x="6335" y="15350"/>
                    <a:pt x="6335" y="15350"/>
                    <a:pt x="6335" y="15350"/>
                  </a:cubicBezTo>
                  <a:cubicBezTo>
                    <a:pt x="6694" y="15326"/>
                    <a:pt x="6694" y="15326"/>
                    <a:pt x="6694" y="15326"/>
                  </a:cubicBezTo>
                  <a:cubicBezTo>
                    <a:pt x="6685" y="15919"/>
                    <a:pt x="6685" y="15919"/>
                    <a:pt x="6685" y="15919"/>
                  </a:cubicBezTo>
                  <a:cubicBezTo>
                    <a:pt x="6420" y="15911"/>
                    <a:pt x="6420" y="15911"/>
                    <a:pt x="6420" y="15911"/>
                  </a:cubicBezTo>
                  <a:cubicBezTo>
                    <a:pt x="6425" y="15644"/>
                    <a:pt x="6425" y="15644"/>
                    <a:pt x="6425" y="15644"/>
                  </a:cubicBezTo>
                  <a:cubicBezTo>
                    <a:pt x="6688" y="15629"/>
                    <a:pt x="6688" y="15629"/>
                    <a:pt x="6688" y="15629"/>
                  </a:cubicBezTo>
                  <a:cubicBezTo>
                    <a:pt x="6687" y="15615"/>
                    <a:pt x="6687" y="15615"/>
                    <a:pt x="6687" y="15615"/>
                  </a:cubicBezTo>
                  <a:cubicBezTo>
                    <a:pt x="6184" y="15644"/>
                    <a:pt x="6184" y="15644"/>
                    <a:pt x="6184" y="15644"/>
                  </a:cubicBezTo>
                  <a:cubicBezTo>
                    <a:pt x="6172" y="15490"/>
                    <a:pt x="6172" y="15490"/>
                    <a:pt x="6172" y="15490"/>
                  </a:cubicBezTo>
                  <a:cubicBezTo>
                    <a:pt x="6690" y="15455"/>
                    <a:pt x="6690" y="15455"/>
                    <a:pt x="6690" y="15455"/>
                  </a:cubicBezTo>
                  <a:lnTo>
                    <a:pt x="6689" y="15441"/>
                  </a:lnTo>
                  <a:close/>
                  <a:moveTo>
                    <a:pt x="5796" y="15459"/>
                  </a:moveTo>
                  <a:cubicBezTo>
                    <a:pt x="5796" y="15459"/>
                    <a:pt x="5796" y="15459"/>
                    <a:pt x="5796" y="15459"/>
                  </a:cubicBezTo>
                  <a:cubicBezTo>
                    <a:pt x="5796" y="15459"/>
                    <a:pt x="5795" y="15459"/>
                    <a:pt x="5795" y="15459"/>
                  </a:cubicBezTo>
                  <a:cubicBezTo>
                    <a:pt x="5795" y="15459"/>
                    <a:pt x="5794" y="15459"/>
                    <a:pt x="5794" y="15460"/>
                  </a:cubicBezTo>
                  <a:cubicBezTo>
                    <a:pt x="5784" y="15462"/>
                    <a:pt x="5650" y="15502"/>
                    <a:pt x="5505" y="15545"/>
                  </a:cubicBezTo>
                  <a:cubicBezTo>
                    <a:pt x="5505" y="15176"/>
                    <a:pt x="5505" y="15176"/>
                    <a:pt x="5505" y="15176"/>
                  </a:cubicBezTo>
                  <a:cubicBezTo>
                    <a:pt x="5504" y="15166"/>
                    <a:pt x="5504" y="15166"/>
                    <a:pt x="5504" y="15166"/>
                  </a:cubicBezTo>
                  <a:cubicBezTo>
                    <a:pt x="5826" y="15178"/>
                    <a:pt x="5826" y="15178"/>
                    <a:pt x="5826" y="15178"/>
                  </a:cubicBezTo>
                  <a:cubicBezTo>
                    <a:pt x="5827" y="15178"/>
                    <a:pt x="6021" y="15175"/>
                    <a:pt x="6082" y="15174"/>
                  </a:cubicBezTo>
                  <a:cubicBezTo>
                    <a:pt x="6127" y="15752"/>
                    <a:pt x="6127" y="15752"/>
                    <a:pt x="6127" y="15752"/>
                  </a:cubicBezTo>
                  <a:cubicBezTo>
                    <a:pt x="5839" y="15684"/>
                    <a:pt x="5839" y="15684"/>
                    <a:pt x="5839" y="15684"/>
                  </a:cubicBezTo>
                  <a:cubicBezTo>
                    <a:pt x="5835" y="15654"/>
                    <a:pt x="5816" y="15491"/>
                    <a:pt x="5804" y="15466"/>
                  </a:cubicBezTo>
                  <a:cubicBezTo>
                    <a:pt x="5803" y="15464"/>
                    <a:pt x="5803" y="15461"/>
                    <a:pt x="5796" y="15459"/>
                  </a:cubicBezTo>
                  <a:cubicBezTo>
                    <a:pt x="5796" y="15459"/>
                    <a:pt x="5796" y="15459"/>
                    <a:pt x="5796" y="15459"/>
                  </a:cubicBezTo>
                  <a:close/>
                  <a:moveTo>
                    <a:pt x="4715" y="15817"/>
                  </a:moveTo>
                  <a:cubicBezTo>
                    <a:pt x="4694" y="15822"/>
                    <a:pt x="4635" y="15837"/>
                    <a:pt x="4573" y="15852"/>
                  </a:cubicBezTo>
                  <a:cubicBezTo>
                    <a:pt x="4521" y="15865"/>
                    <a:pt x="4470" y="15878"/>
                    <a:pt x="4445" y="15884"/>
                  </a:cubicBezTo>
                  <a:cubicBezTo>
                    <a:pt x="4424" y="15775"/>
                    <a:pt x="4399" y="15661"/>
                    <a:pt x="4381" y="15607"/>
                  </a:cubicBezTo>
                  <a:cubicBezTo>
                    <a:pt x="4374" y="15585"/>
                    <a:pt x="4358" y="15552"/>
                    <a:pt x="4336" y="15511"/>
                  </a:cubicBezTo>
                  <a:cubicBezTo>
                    <a:pt x="4340" y="15509"/>
                    <a:pt x="4345" y="15506"/>
                    <a:pt x="4351" y="15503"/>
                  </a:cubicBezTo>
                  <a:cubicBezTo>
                    <a:pt x="4371" y="15492"/>
                    <a:pt x="4399" y="15475"/>
                    <a:pt x="4434" y="15456"/>
                  </a:cubicBezTo>
                  <a:cubicBezTo>
                    <a:pt x="4503" y="15418"/>
                    <a:pt x="4594" y="15366"/>
                    <a:pt x="4686" y="15315"/>
                  </a:cubicBezTo>
                  <a:cubicBezTo>
                    <a:pt x="4727" y="15293"/>
                    <a:pt x="4767" y="15270"/>
                    <a:pt x="4806" y="15249"/>
                  </a:cubicBezTo>
                  <a:cubicBezTo>
                    <a:pt x="4811" y="15270"/>
                    <a:pt x="4835" y="15370"/>
                    <a:pt x="4846" y="15395"/>
                  </a:cubicBezTo>
                  <a:cubicBezTo>
                    <a:pt x="4845" y="15396"/>
                    <a:pt x="4844" y="15396"/>
                    <a:pt x="4843" y="15397"/>
                  </a:cubicBezTo>
                  <a:cubicBezTo>
                    <a:pt x="4838" y="15400"/>
                    <a:pt x="4830" y="15405"/>
                    <a:pt x="4822" y="15411"/>
                  </a:cubicBezTo>
                  <a:cubicBezTo>
                    <a:pt x="4804" y="15422"/>
                    <a:pt x="4780" y="15437"/>
                    <a:pt x="4757" y="15451"/>
                  </a:cubicBezTo>
                  <a:cubicBezTo>
                    <a:pt x="4710" y="15481"/>
                    <a:pt x="4663" y="15509"/>
                    <a:pt x="4663" y="15509"/>
                  </a:cubicBezTo>
                  <a:cubicBezTo>
                    <a:pt x="4658" y="15512"/>
                    <a:pt x="4658" y="15512"/>
                    <a:pt x="4658" y="15512"/>
                  </a:cubicBezTo>
                  <a:lnTo>
                    <a:pt x="4715" y="15817"/>
                  </a:lnTo>
                  <a:close/>
                  <a:moveTo>
                    <a:pt x="4155" y="16317"/>
                  </a:moveTo>
                  <a:cubicBezTo>
                    <a:pt x="4111" y="16348"/>
                    <a:pt x="4076" y="16374"/>
                    <a:pt x="4060" y="16386"/>
                  </a:cubicBezTo>
                  <a:cubicBezTo>
                    <a:pt x="4056" y="16389"/>
                    <a:pt x="4054" y="16390"/>
                    <a:pt x="4050" y="16394"/>
                  </a:cubicBezTo>
                  <a:cubicBezTo>
                    <a:pt x="4049" y="16396"/>
                    <a:pt x="4048" y="16396"/>
                    <a:pt x="4046" y="16400"/>
                  </a:cubicBezTo>
                  <a:cubicBezTo>
                    <a:pt x="4045" y="16400"/>
                    <a:pt x="4045" y="16401"/>
                    <a:pt x="4044" y="16402"/>
                  </a:cubicBezTo>
                  <a:cubicBezTo>
                    <a:pt x="4016" y="16393"/>
                    <a:pt x="3925" y="16365"/>
                    <a:pt x="3830" y="16335"/>
                  </a:cubicBezTo>
                  <a:cubicBezTo>
                    <a:pt x="3729" y="16304"/>
                    <a:pt x="3623" y="16271"/>
                    <a:pt x="3591" y="16259"/>
                  </a:cubicBezTo>
                  <a:cubicBezTo>
                    <a:pt x="3615" y="16238"/>
                    <a:pt x="3693" y="16171"/>
                    <a:pt x="3772" y="16102"/>
                  </a:cubicBezTo>
                  <a:cubicBezTo>
                    <a:pt x="3858" y="16027"/>
                    <a:pt x="3944" y="15952"/>
                    <a:pt x="3965" y="15931"/>
                  </a:cubicBezTo>
                  <a:cubicBezTo>
                    <a:pt x="3999" y="15965"/>
                    <a:pt x="4211" y="16172"/>
                    <a:pt x="4276" y="16231"/>
                  </a:cubicBezTo>
                  <a:cubicBezTo>
                    <a:pt x="4239" y="16257"/>
                    <a:pt x="4201" y="16284"/>
                    <a:pt x="4167" y="16308"/>
                  </a:cubicBezTo>
                  <a:cubicBezTo>
                    <a:pt x="3815" y="16065"/>
                    <a:pt x="3815" y="16065"/>
                    <a:pt x="3815" y="16065"/>
                  </a:cubicBezTo>
                  <a:cubicBezTo>
                    <a:pt x="3807" y="16077"/>
                    <a:pt x="3807" y="16077"/>
                    <a:pt x="3807" y="16077"/>
                  </a:cubicBezTo>
                  <a:lnTo>
                    <a:pt x="4155" y="16317"/>
                  </a:lnTo>
                  <a:close/>
                  <a:moveTo>
                    <a:pt x="3313" y="15945"/>
                  </a:moveTo>
                  <a:cubicBezTo>
                    <a:pt x="3313" y="15946"/>
                    <a:pt x="3313" y="15946"/>
                    <a:pt x="3313" y="15946"/>
                  </a:cubicBezTo>
                  <a:cubicBezTo>
                    <a:pt x="3178" y="15889"/>
                    <a:pt x="3178" y="15889"/>
                    <a:pt x="3178" y="15889"/>
                  </a:cubicBezTo>
                  <a:cubicBezTo>
                    <a:pt x="3164" y="15875"/>
                    <a:pt x="2978" y="15692"/>
                    <a:pt x="2932" y="15645"/>
                  </a:cubicBezTo>
                  <a:cubicBezTo>
                    <a:pt x="3201" y="15495"/>
                    <a:pt x="3201" y="15495"/>
                    <a:pt x="3201" y="15495"/>
                  </a:cubicBezTo>
                  <a:cubicBezTo>
                    <a:pt x="3205" y="15503"/>
                    <a:pt x="3209" y="15511"/>
                    <a:pt x="3214" y="15521"/>
                  </a:cubicBezTo>
                  <a:cubicBezTo>
                    <a:pt x="3230" y="15552"/>
                    <a:pt x="3250" y="15592"/>
                    <a:pt x="3271" y="15632"/>
                  </a:cubicBezTo>
                  <a:cubicBezTo>
                    <a:pt x="3309" y="15704"/>
                    <a:pt x="3346" y="15775"/>
                    <a:pt x="3353" y="15789"/>
                  </a:cubicBezTo>
                  <a:cubicBezTo>
                    <a:pt x="3351" y="15798"/>
                    <a:pt x="3343" y="15827"/>
                    <a:pt x="3335" y="15858"/>
                  </a:cubicBezTo>
                  <a:cubicBezTo>
                    <a:pt x="3325" y="15894"/>
                    <a:pt x="3313" y="15934"/>
                    <a:pt x="3309" y="15941"/>
                  </a:cubicBezTo>
                  <a:cubicBezTo>
                    <a:pt x="3309" y="15941"/>
                    <a:pt x="3309" y="15941"/>
                    <a:pt x="3309" y="15941"/>
                  </a:cubicBezTo>
                  <a:lnTo>
                    <a:pt x="3313" y="15945"/>
                  </a:lnTo>
                  <a:close/>
                  <a:moveTo>
                    <a:pt x="1989" y="14709"/>
                  </a:moveTo>
                  <a:cubicBezTo>
                    <a:pt x="1888" y="14637"/>
                    <a:pt x="1888" y="14637"/>
                    <a:pt x="1888" y="14637"/>
                  </a:cubicBezTo>
                  <a:cubicBezTo>
                    <a:pt x="1906" y="14599"/>
                    <a:pt x="1922" y="14565"/>
                    <a:pt x="1935" y="14539"/>
                  </a:cubicBezTo>
                  <a:cubicBezTo>
                    <a:pt x="2036" y="14611"/>
                    <a:pt x="2036" y="14611"/>
                    <a:pt x="2036" y="14611"/>
                  </a:cubicBezTo>
                  <a:cubicBezTo>
                    <a:pt x="2024" y="14636"/>
                    <a:pt x="2008" y="14670"/>
                    <a:pt x="1989" y="14709"/>
                  </a:cubicBezTo>
                  <a:close/>
                  <a:moveTo>
                    <a:pt x="2047" y="14619"/>
                  </a:moveTo>
                  <a:cubicBezTo>
                    <a:pt x="2117" y="14670"/>
                    <a:pt x="2117" y="14670"/>
                    <a:pt x="2117" y="14670"/>
                  </a:cubicBezTo>
                  <a:cubicBezTo>
                    <a:pt x="2057" y="14757"/>
                    <a:pt x="2057" y="14757"/>
                    <a:pt x="2057" y="14757"/>
                  </a:cubicBezTo>
                  <a:cubicBezTo>
                    <a:pt x="2001" y="14717"/>
                    <a:pt x="2001" y="14717"/>
                    <a:pt x="2001" y="14717"/>
                  </a:cubicBezTo>
                  <a:cubicBezTo>
                    <a:pt x="2019" y="14678"/>
                    <a:pt x="2035" y="14645"/>
                    <a:pt x="2047" y="14619"/>
                  </a:cubicBezTo>
                  <a:close/>
                  <a:moveTo>
                    <a:pt x="1876" y="14629"/>
                  </a:moveTo>
                  <a:cubicBezTo>
                    <a:pt x="1781" y="14561"/>
                    <a:pt x="1781" y="14561"/>
                    <a:pt x="1781" y="14561"/>
                  </a:cubicBezTo>
                  <a:cubicBezTo>
                    <a:pt x="1799" y="14523"/>
                    <a:pt x="1815" y="14489"/>
                    <a:pt x="1828" y="14462"/>
                  </a:cubicBezTo>
                  <a:cubicBezTo>
                    <a:pt x="1924" y="14530"/>
                    <a:pt x="1924" y="14530"/>
                    <a:pt x="1924" y="14530"/>
                  </a:cubicBezTo>
                  <a:cubicBezTo>
                    <a:pt x="1911" y="14557"/>
                    <a:pt x="1895" y="14591"/>
                    <a:pt x="1876" y="14629"/>
                  </a:cubicBezTo>
                  <a:close/>
                  <a:moveTo>
                    <a:pt x="1769" y="14553"/>
                  </a:moveTo>
                  <a:cubicBezTo>
                    <a:pt x="1709" y="14510"/>
                    <a:pt x="1709" y="14510"/>
                    <a:pt x="1709" y="14510"/>
                  </a:cubicBezTo>
                  <a:cubicBezTo>
                    <a:pt x="1774" y="14422"/>
                    <a:pt x="1774" y="14422"/>
                    <a:pt x="1774" y="14422"/>
                  </a:cubicBezTo>
                  <a:cubicBezTo>
                    <a:pt x="1817" y="14453"/>
                    <a:pt x="1817" y="14453"/>
                    <a:pt x="1817" y="14453"/>
                  </a:cubicBezTo>
                  <a:cubicBezTo>
                    <a:pt x="1804" y="14481"/>
                    <a:pt x="1787" y="14515"/>
                    <a:pt x="1769" y="14553"/>
                  </a:cubicBezTo>
                  <a:close/>
                  <a:moveTo>
                    <a:pt x="1775" y="14573"/>
                  </a:moveTo>
                  <a:cubicBezTo>
                    <a:pt x="1871" y="14641"/>
                    <a:pt x="1871" y="14641"/>
                    <a:pt x="1871" y="14641"/>
                  </a:cubicBezTo>
                  <a:cubicBezTo>
                    <a:pt x="1856" y="14671"/>
                    <a:pt x="1841" y="14703"/>
                    <a:pt x="1825" y="14737"/>
                  </a:cubicBezTo>
                  <a:cubicBezTo>
                    <a:pt x="1744" y="14638"/>
                    <a:pt x="1744" y="14638"/>
                    <a:pt x="1744" y="14638"/>
                  </a:cubicBezTo>
                  <a:cubicBezTo>
                    <a:pt x="1754" y="14616"/>
                    <a:pt x="1765" y="14594"/>
                    <a:pt x="1775" y="14573"/>
                  </a:cubicBezTo>
                  <a:close/>
                  <a:moveTo>
                    <a:pt x="1818" y="14751"/>
                  </a:moveTo>
                  <a:cubicBezTo>
                    <a:pt x="1774" y="14843"/>
                    <a:pt x="1726" y="14943"/>
                    <a:pt x="1688" y="15025"/>
                  </a:cubicBezTo>
                  <a:cubicBezTo>
                    <a:pt x="1593" y="14956"/>
                    <a:pt x="1593" y="14956"/>
                    <a:pt x="1593" y="14956"/>
                  </a:cubicBezTo>
                  <a:cubicBezTo>
                    <a:pt x="1622" y="14894"/>
                    <a:pt x="1657" y="14820"/>
                    <a:pt x="1692" y="14746"/>
                  </a:cubicBezTo>
                  <a:cubicBezTo>
                    <a:pt x="1707" y="14715"/>
                    <a:pt x="1722" y="14683"/>
                    <a:pt x="1737" y="14652"/>
                  </a:cubicBezTo>
                  <a:lnTo>
                    <a:pt x="1818" y="14751"/>
                  </a:lnTo>
                  <a:close/>
                  <a:moveTo>
                    <a:pt x="1694" y="15045"/>
                  </a:moveTo>
                  <a:cubicBezTo>
                    <a:pt x="1794" y="15118"/>
                    <a:pt x="1794" y="15118"/>
                    <a:pt x="1794" y="15118"/>
                  </a:cubicBezTo>
                  <a:cubicBezTo>
                    <a:pt x="1777" y="15155"/>
                    <a:pt x="1761" y="15189"/>
                    <a:pt x="1748" y="15216"/>
                  </a:cubicBezTo>
                  <a:cubicBezTo>
                    <a:pt x="1648" y="15144"/>
                    <a:pt x="1648" y="15144"/>
                    <a:pt x="1648" y="15144"/>
                  </a:cubicBezTo>
                  <a:cubicBezTo>
                    <a:pt x="1656" y="15126"/>
                    <a:pt x="1666" y="15104"/>
                    <a:pt x="1678" y="15080"/>
                  </a:cubicBezTo>
                  <a:cubicBezTo>
                    <a:pt x="1683" y="15069"/>
                    <a:pt x="1688" y="15057"/>
                    <a:pt x="1694" y="15045"/>
                  </a:cubicBezTo>
                  <a:close/>
                  <a:moveTo>
                    <a:pt x="1784" y="15172"/>
                  </a:moveTo>
                  <a:cubicBezTo>
                    <a:pt x="1791" y="15158"/>
                    <a:pt x="1798" y="15142"/>
                    <a:pt x="1806" y="15126"/>
                  </a:cubicBezTo>
                  <a:cubicBezTo>
                    <a:pt x="1874" y="15175"/>
                    <a:pt x="1874" y="15175"/>
                    <a:pt x="1874" y="15175"/>
                  </a:cubicBezTo>
                  <a:cubicBezTo>
                    <a:pt x="1813" y="15262"/>
                    <a:pt x="1813" y="15262"/>
                    <a:pt x="1813" y="15262"/>
                  </a:cubicBezTo>
                  <a:cubicBezTo>
                    <a:pt x="1760" y="15224"/>
                    <a:pt x="1760" y="15224"/>
                    <a:pt x="1760" y="15224"/>
                  </a:cubicBezTo>
                  <a:cubicBezTo>
                    <a:pt x="1767" y="15209"/>
                    <a:pt x="1775" y="15191"/>
                    <a:pt x="1784" y="15172"/>
                  </a:cubicBezTo>
                  <a:close/>
                  <a:moveTo>
                    <a:pt x="1800" y="15105"/>
                  </a:moveTo>
                  <a:cubicBezTo>
                    <a:pt x="1699" y="15033"/>
                    <a:pt x="1699" y="15033"/>
                    <a:pt x="1699" y="15033"/>
                  </a:cubicBezTo>
                  <a:cubicBezTo>
                    <a:pt x="1728" y="14973"/>
                    <a:pt x="1761" y="14903"/>
                    <a:pt x="1795" y="14832"/>
                  </a:cubicBezTo>
                  <a:cubicBezTo>
                    <a:pt x="1795" y="14832"/>
                    <a:pt x="1795" y="14832"/>
                    <a:pt x="1795" y="14832"/>
                  </a:cubicBezTo>
                  <a:cubicBezTo>
                    <a:pt x="1915" y="14863"/>
                    <a:pt x="1915" y="14863"/>
                    <a:pt x="1915" y="14863"/>
                  </a:cubicBezTo>
                  <a:cubicBezTo>
                    <a:pt x="1876" y="14945"/>
                    <a:pt x="1835" y="15032"/>
                    <a:pt x="1800" y="15105"/>
                  </a:cubicBezTo>
                  <a:close/>
                  <a:moveTo>
                    <a:pt x="1801" y="14819"/>
                  </a:moveTo>
                  <a:cubicBezTo>
                    <a:pt x="1829" y="14759"/>
                    <a:pt x="1858" y="14701"/>
                    <a:pt x="1882" y="14649"/>
                  </a:cubicBezTo>
                  <a:cubicBezTo>
                    <a:pt x="1983" y="14721"/>
                    <a:pt x="1983" y="14721"/>
                    <a:pt x="1983" y="14721"/>
                  </a:cubicBezTo>
                  <a:cubicBezTo>
                    <a:pt x="1964" y="14760"/>
                    <a:pt x="1943" y="14804"/>
                    <a:pt x="1921" y="14850"/>
                  </a:cubicBezTo>
                  <a:lnTo>
                    <a:pt x="1801" y="14819"/>
                  </a:lnTo>
                  <a:close/>
                  <a:moveTo>
                    <a:pt x="1995" y="14729"/>
                  </a:moveTo>
                  <a:cubicBezTo>
                    <a:pt x="2060" y="14775"/>
                    <a:pt x="2060" y="14775"/>
                    <a:pt x="2060" y="14775"/>
                  </a:cubicBezTo>
                  <a:cubicBezTo>
                    <a:pt x="2132" y="14672"/>
                    <a:pt x="2132" y="14672"/>
                    <a:pt x="2132" y="14672"/>
                  </a:cubicBezTo>
                  <a:cubicBezTo>
                    <a:pt x="2135" y="14667"/>
                    <a:pt x="2135" y="14667"/>
                    <a:pt x="2135" y="14667"/>
                  </a:cubicBezTo>
                  <a:cubicBezTo>
                    <a:pt x="2053" y="14607"/>
                    <a:pt x="2053" y="14607"/>
                    <a:pt x="2053" y="14607"/>
                  </a:cubicBezTo>
                  <a:cubicBezTo>
                    <a:pt x="2060" y="14594"/>
                    <a:pt x="2065" y="14583"/>
                    <a:pt x="2068" y="14577"/>
                  </a:cubicBezTo>
                  <a:cubicBezTo>
                    <a:pt x="2157" y="14654"/>
                    <a:pt x="2157" y="14654"/>
                    <a:pt x="2157" y="14654"/>
                  </a:cubicBezTo>
                  <a:cubicBezTo>
                    <a:pt x="2151" y="14652"/>
                    <a:pt x="2151" y="14652"/>
                    <a:pt x="2151" y="14652"/>
                  </a:cubicBezTo>
                  <a:cubicBezTo>
                    <a:pt x="2151" y="14652"/>
                    <a:pt x="2102" y="14754"/>
                    <a:pt x="2041" y="14882"/>
                  </a:cubicBezTo>
                  <a:cubicBezTo>
                    <a:pt x="1935" y="14854"/>
                    <a:pt x="1935" y="14854"/>
                    <a:pt x="1935" y="14854"/>
                  </a:cubicBezTo>
                  <a:cubicBezTo>
                    <a:pt x="1956" y="14810"/>
                    <a:pt x="1976" y="14767"/>
                    <a:pt x="1995" y="14729"/>
                  </a:cubicBezTo>
                  <a:close/>
                  <a:moveTo>
                    <a:pt x="2042" y="14599"/>
                  </a:moveTo>
                  <a:cubicBezTo>
                    <a:pt x="1941" y="14527"/>
                    <a:pt x="1941" y="14527"/>
                    <a:pt x="1941" y="14527"/>
                  </a:cubicBezTo>
                  <a:cubicBezTo>
                    <a:pt x="1951" y="14507"/>
                    <a:pt x="1958" y="14492"/>
                    <a:pt x="1961" y="14484"/>
                  </a:cubicBezTo>
                  <a:cubicBezTo>
                    <a:pt x="2057" y="14567"/>
                    <a:pt x="2057" y="14567"/>
                    <a:pt x="2057" y="14567"/>
                  </a:cubicBezTo>
                  <a:cubicBezTo>
                    <a:pt x="2054" y="14573"/>
                    <a:pt x="2049" y="14584"/>
                    <a:pt x="2042" y="14599"/>
                  </a:cubicBezTo>
                  <a:close/>
                  <a:moveTo>
                    <a:pt x="1929" y="14518"/>
                  </a:moveTo>
                  <a:cubicBezTo>
                    <a:pt x="1834" y="14450"/>
                    <a:pt x="1834" y="14450"/>
                    <a:pt x="1834" y="14450"/>
                  </a:cubicBezTo>
                  <a:cubicBezTo>
                    <a:pt x="1847" y="14423"/>
                    <a:pt x="1856" y="14404"/>
                    <a:pt x="1860" y="14396"/>
                  </a:cubicBezTo>
                  <a:cubicBezTo>
                    <a:pt x="1950" y="14475"/>
                    <a:pt x="1950" y="14475"/>
                    <a:pt x="1950" y="14475"/>
                  </a:cubicBezTo>
                  <a:cubicBezTo>
                    <a:pt x="1947" y="14481"/>
                    <a:pt x="1940" y="14496"/>
                    <a:pt x="1929" y="14518"/>
                  </a:cubicBezTo>
                  <a:close/>
                  <a:moveTo>
                    <a:pt x="1823" y="14441"/>
                  </a:moveTo>
                  <a:cubicBezTo>
                    <a:pt x="1771" y="14404"/>
                    <a:pt x="1771" y="14404"/>
                    <a:pt x="1771" y="14404"/>
                  </a:cubicBezTo>
                  <a:cubicBezTo>
                    <a:pt x="1690" y="14513"/>
                    <a:pt x="1690" y="14513"/>
                    <a:pt x="1690" y="14513"/>
                  </a:cubicBezTo>
                  <a:cubicBezTo>
                    <a:pt x="1763" y="14565"/>
                    <a:pt x="1763" y="14565"/>
                    <a:pt x="1763" y="14565"/>
                  </a:cubicBezTo>
                  <a:cubicBezTo>
                    <a:pt x="1754" y="14585"/>
                    <a:pt x="1744" y="14605"/>
                    <a:pt x="1734" y="14627"/>
                  </a:cubicBezTo>
                  <a:cubicBezTo>
                    <a:pt x="1665" y="14543"/>
                    <a:pt x="1665" y="14543"/>
                    <a:pt x="1665" y="14543"/>
                  </a:cubicBezTo>
                  <a:cubicBezTo>
                    <a:pt x="1716" y="14438"/>
                    <a:pt x="1758" y="14350"/>
                    <a:pt x="1773" y="14320"/>
                  </a:cubicBezTo>
                  <a:cubicBezTo>
                    <a:pt x="1849" y="14386"/>
                    <a:pt x="1849" y="14386"/>
                    <a:pt x="1849" y="14386"/>
                  </a:cubicBezTo>
                  <a:cubicBezTo>
                    <a:pt x="1847" y="14391"/>
                    <a:pt x="1837" y="14411"/>
                    <a:pt x="1823" y="14441"/>
                  </a:cubicBezTo>
                  <a:close/>
                  <a:moveTo>
                    <a:pt x="1618" y="14607"/>
                  </a:moveTo>
                  <a:cubicBezTo>
                    <a:pt x="1606" y="14599"/>
                    <a:pt x="1565" y="14572"/>
                    <a:pt x="1521" y="14543"/>
                  </a:cubicBezTo>
                  <a:cubicBezTo>
                    <a:pt x="1546" y="14491"/>
                    <a:pt x="1571" y="14440"/>
                    <a:pt x="1593" y="14394"/>
                  </a:cubicBezTo>
                  <a:cubicBezTo>
                    <a:pt x="1667" y="14446"/>
                    <a:pt x="1667" y="14446"/>
                    <a:pt x="1667" y="14446"/>
                  </a:cubicBezTo>
                  <a:cubicBezTo>
                    <a:pt x="1739" y="14343"/>
                    <a:pt x="1739" y="14343"/>
                    <a:pt x="1739" y="14343"/>
                  </a:cubicBezTo>
                  <a:cubicBezTo>
                    <a:pt x="1742" y="14338"/>
                    <a:pt x="1742" y="14338"/>
                    <a:pt x="1742" y="14338"/>
                  </a:cubicBezTo>
                  <a:cubicBezTo>
                    <a:pt x="1652" y="14272"/>
                    <a:pt x="1652" y="14272"/>
                    <a:pt x="1652" y="14272"/>
                  </a:cubicBezTo>
                  <a:cubicBezTo>
                    <a:pt x="1661" y="14254"/>
                    <a:pt x="1667" y="14240"/>
                    <a:pt x="1671" y="14232"/>
                  </a:cubicBezTo>
                  <a:cubicBezTo>
                    <a:pt x="1762" y="14311"/>
                    <a:pt x="1762" y="14311"/>
                    <a:pt x="1762" y="14311"/>
                  </a:cubicBezTo>
                  <a:cubicBezTo>
                    <a:pt x="1747" y="14342"/>
                    <a:pt x="1685" y="14468"/>
                    <a:pt x="1618" y="14607"/>
                  </a:cubicBezTo>
                  <a:close/>
                  <a:moveTo>
                    <a:pt x="1382" y="14802"/>
                  </a:moveTo>
                  <a:cubicBezTo>
                    <a:pt x="1316" y="14755"/>
                    <a:pt x="1316" y="14755"/>
                    <a:pt x="1316" y="14755"/>
                  </a:cubicBezTo>
                  <a:cubicBezTo>
                    <a:pt x="1235" y="14863"/>
                    <a:pt x="1235" y="14863"/>
                    <a:pt x="1235" y="14863"/>
                  </a:cubicBezTo>
                  <a:cubicBezTo>
                    <a:pt x="1324" y="14926"/>
                    <a:pt x="1324" y="14926"/>
                    <a:pt x="1324" y="14926"/>
                  </a:cubicBezTo>
                  <a:cubicBezTo>
                    <a:pt x="1321" y="14933"/>
                    <a:pt x="1318" y="14940"/>
                    <a:pt x="1316" y="14945"/>
                  </a:cubicBezTo>
                  <a:cubicBezTo>
                    <a:pt x="1280" y="14919"/>
                    <a:pt x="1248" y="14894"/>
                    <a:pt x="1220" y="14873"/>
                  </a:cubicBezTo>
                  <a:cubicBezTo>
                    <a:pt x="1405" y="14486"/>
                    <a:pt x="1405" y="14486"/>
                    <a:pt x="1405" y="14486"/>
                  </a:cubicBezTo>
                  <a:cubicBezTo>
                    <a:pt x="1412" y="14490"/>
                    <a:pt x="1421" y="14495"/>
                    <a:pt x="1431" y="14502"/>
                  </a:cubicBezTo>
                  <a:cubicBezTo>
                    <a:pt x="1451" y="14515"/>
                    <a:pt x="1477" y="14531"/>
                    <a:pt x="1503" y="14548"/>
                  </a:cubicBezTo>
                  <a:cubicBezTo>
                    <a:pt x="1461" y="14637"/>
                    <a:pt x="1417" y="14728"/>
                    <a:pt x="1382" y="14802"/>
                  </a:cubicBezTo>
                  <a:close/>
                  <a:moveTo>
                    <a:pt x="1388" y="14823"/>
                  </a:moveTo>
                  <a:cubicBezTo>
                    <a:pt x="1462" y="14877"/>
                    <a:pt x="1462" y="14877"/>
                    <a:pt x="1462" y="14877"/>
                  </a:cubicBezTo>
                  <a:cubicBezTo>
                    <a:pt x="1401" y="14964"/>
                    <a:pt x="1401" y="14964"/>
                    <a:pt x="1401" y="14964"/>
                  </a:cubicBezTo>
                  <a:cubicBezTo>
                    <a:pt x="1341" y="14922"/>
                    <a:pt x="1341" y="14922"/>
                    <a:pt x="1341" y="14922"/>
                  </a:cubicBezTo>
                  <a:cubicBezTo>
                    <a:pt x="1351" y="14902"/>
                    <a:pt x="1362" y="14876"/>
                    <a:pt x="1377" y="14846"/>
                  </a:cubicBezTo>
                  <a:cubicBezTo>
                    <a:pt x="1380" y="14839"/>
                    <a:pt x="1384" y="14831"/>
                    <a:pt x="1388" y="14823"/>
                  </a:cubicBezTo>
                  <a:close/>
                  <a:moveTo>
                    <a:pt x="1254" y="14860"/>
                  </a:moveTo>
                  <a:cubicBezTo>
                    <a:pt x="1319" y="14773"/>
                    <a:pt x="1319" y="14773"/>
                    <a:pt x="1319" y="14773"/>
                  </a:cubicBezTo>
                  <a:cubicBezTo>
                    <a:pt x="1376" y="14815"/>
                    <a:pt x="1376" y="14815"/>
                    <a:pt x="1376" y="14815"/>
                  </a:cubicBezTo>
                  <a:cubicBezTo>
                    <a:pt x="1357" y="14854"/>
                    <a:pt x="1341" y="14888"/>
                    <a:pt x="1330" y="14914"/>
                  </a:cubicBezTo>
                  <a:lnTo>
                    <a:pt x="1254" y="14860"/>
                  </a:lnTo>
                  <a:close/>
                  <a:moveTo>
                    <a:pt x="1336" y="14934"/>
                  </a:moveTo>
                  <a:cubicBezTo>
                    <a:pt x="1404" y="14983"/>
                    <a:pt x="1404" y="14983"/>
                    <a:pt x="1404" y="14983"/>
                  </a:cubicBezTo>
                  <a:cubicBezTo>
                    <a:pt x="1476" y="14879"/>
                    <a:pt x="1476" y="14879"/>
                    <a:pt x="1476" y="14879"/>
                  </a:cubicBezTo>
                  <a:cubicBezTo>
                    <a:pt x="1480" y="14874"/>
                    <a:pt x="1480" y="14874"/>
                    <a:pt x="1480" y="14874"/>
                  </a:cubicBezTo>
                  <a:cubicBezTo>
                    <a:pt x="1393" y="14811"/>
                    <a:pt x="1393" y="14811"/>
                    <a:pt x="1393" y="14811"/>
                  </a:cubicBezTo>
                  <a:cubicBezTo>
                    <a:pt x="1424" y="14746"/>
                    <a:pt x="1461" y="14669"/>
                    <a:pt x="1498" y="14591"/>
                  </a:cubicBezTo>
                  <a:cubicBezTo>
                    <a:pt x="1504" y="14579"/>
                    <a:pt x="1509" y="14568"/>
                    <a:pt x="1515" y="14556"/>
                  </a:cubicBezTo>
                  <a:cubicBezTo>
                    <a:pt x="1560" y="14585"/>
                    <a:pt x="1602" y="14613"/>
                    <a:pt x="1612" y="14620"/>
                  </a:cubicBezTo>
                  <a:cubicBezTo>
                    <a:pt x="1530" y="14790"/>
                    <a:pt x="1442" y="14974"/>
                    <a:pt x="1420" y="15024"/>
                  </a:cubicBezTo>
                  <a:cubicBezTo>
                    <a:pt x="1387" y="14999"/>
                    <a:pt x="1356" y="14976"/>
                    <a:pt x="1327" y="14954"/>
                  </a:cubicBezTo>
                  <a:cubicBezTo>
                    <a:pt x="1329" y="14948"/>
                    <a:pt x="1332" y="14942"/>
                    <a:pt x="1336" y="14934"/>
                  </a:cubicBezTo>
                  <a:close/>
                  <a:moveTo>
                    <a:pt x="1587" y="14374"/>
                  </a:moveTo>
                  <a:cubicBezTo>
                    <a:pt x="1526" y="14331"/>
                    <a:pt x="1526" y="14331"/>
                    <a:pt x="1526" y="14331"/>
                  </a:cubicBezTo>
                  <a:cubicBezTo>
                    <a:pt x="1591" y="14244"/>
                    <a:pt x="1591" y="14244"/>
                    <a:pt x="1591" y="14244"/>
                  </a:cubicBezTo>
                  <a:cubicBezTo>
                    <a:pt x="1635" y="14276"/>
                    <a:pt x="1635" y="14276"/>
                    <a:pt x="1635" y="14276"/>
                  </a:cubicBezTo>
                  <a:cubicBezTo>
                    <a:pt x="1622" y="14302"/>
                    <a:pt x="1606" y="14336"/>
                    <a:pt x="1587" y="14374"/>
                  </a:cubicBezTo>
                  <a:close/>
                  <a:moveTo>
                    <a:pt x="1646" y="14284"/>
                  </a:moveTo>
                  <a:cubicBezTo>
                    <a:pt x="1724" y="14341"/>
                    <a:pt x="1724" y="14341"/>
                    <a:pt x="1724" y="14341"/>
                  </a:cubicBezTo>
                  <a:cubicBezTo>
                    <a:pt x="1664" y="14428"/>
                    <a:pt x="1664" y="14428"/>
                    <a:pt x="1664" y="14428"/>
                  </a:cubicBezTo>
                  <a:cubicBezTo>
                    <a:pt x="1599" y="14382"/>
                    <a:pt x="1599" y="14382"/>
                    <a:pt x="1599" y="14382"/>
                  </a:cubicBezTo>
                  <a:cubicBezTo>
                    <a:pt x="1617" y="14344"/>
                    <a:pt x="1633" y="14310"/>
                    <a:pt x="1646" y="14284"/>
                  </a:cubicBezTo>
                  <a:close/>
                  <a:moveTo>
                    <a:pt x="1641" y="14264"/>
                  </a:moveTo>
                  <a:cubicBezTo>
                    <a:pt x="1589" y="14226"/>
                    <a:pt x="1589" y="14226"/>
                    <a:pt x="1589" y="14226"/>
                  </a:cubicBezTo>
                  <a:cubicBezTo>
                    <a:pt x="1508" y="14334"/>
                    <a:pt x="1508" y="14334"/>
                    <a:pt x="1508" y="14334"/>
                  </a:cubicBezTo>
                  <a:cubicBezTo>
                    <a:pt x="1581" y="14386"/>
                    <a:pt x="1581" y="14386"/>
                    <a:pt x="1581" y="14386"/>
                  </a:cubicBezTo>
                  <a:cubicBezTo>
                    <a:pt x="1559" y="14432"/>
                    <a:pt x="1535" y="14483"/>
                    <a:pt x="1509" y="14536"/>
                  </a:cubicBezTo>
                  <a:cubicBezTo>
                    <a:pt x="1470" y="14510"/>
                    <a:pt x="1431" y="14485"/>
                    <a:pt x="1412" y="14474"/>
                  </a:cubicBezTo>
                  <a:cubicBezTo>
                    <a:pt x="1412" y="14474"/>
                    <a:pt x="1412" y="14474"/>
                    <a:pt x="1411" y="14474"/>
                  </a:cubicBezTo>
                  <a:cubicBezTo>
                    <a:pt x="1570" y="14143"/>
                    <a:pt x="1570" y="14143"/>
                    <a:pt x="1570" y="14143"/>
                  </a:cubicBezTo>
                  <a:cubicBezTo>
                    <a:pt x="1661" y="14222"/>
                    <a:pt x="1661" y="14222"/>
                    <a:pt x="1661" y="14222"/>
                  </a:cubicBezTo>
                  <a:cubicBezTo>
                    <a:pt x="1657" y="14230"/>
                    <a:pt x="1650" y="14244"/>
                    <a:pt x="1641" y="14264"/>
                  </a:cubicBezTo>
                  <a:close/>
                  <a:moveTo>
                    <a:pt x="1396" y="14467"/>
                  </a:moveTo>
                  <a:cubicBezTo>
                    <a:pt x="1396" y="14467"/>
                    <a:pt x="1395" y="14467"/>
                    <a:pt x="1395" y="14467"/>
                  </a:cubicBezTo>
                  <a:cubicBezTo>
                    <a:pt x="1393" y="14468"/>
                    <a:pt x="1392" y="14469"/>
                    <a:pt x="1391" y="14470"/>
                  </a:cubicBezTo>
                  <a:cubicBezTo>
                    <a:pt x="1394" y="14472"/>
                    <a:pt x="1394" y="14472"/>
                    <a:pt x="1394" y="14472"/>
                  </a:cubicBezTo>
                  <a:cubicBezTo>
                    <a:pt x="1206" y="14863"/>
                    <a:pt x="1206" y="14863"/>
                    <a:pt x="1206" y="14863"/>
                  </a:cubicBezTo>
                  <a:cubicBezTo>
                    <a:pt x="1138" y="14811"/>
                    <a:pt x="1095" y="14779"/>
                    <a:pt x="1095" y="14779"/>
                  </a:cubicBezTo>
                  <a:cubicBezTo>
                    <a:pt x="1093" y="14781"/>
                    <a:pt x="1093" y="14781"/>
                    <a:pt x="1093" y="14781"/>
                  </a:cubicBezTo>
                  <a:cubicBezTo>
                    <a:pt x="1057" y="14754"/>
                    <a:pt x="1057" y="14754"/>
                    <a:pt x="1057" y="14754"/>
                  </a:cubicBezTo>
                  <a:cubicBezTo>
                    <a:pt x="1416" y="14002"/>
                    <a:pt x="1416" y="14002"/>
                    <a:pt x="1416" y="14002"/>
                  </a:cubicBezTo>
                  <a:cubicBezTo>
                    <a:pt x="1556" y="14135"/>
                    <a:pt x="1556" y="14135"/>
                    <a:pt x="1556" y="14135"/>
                  </a:cubicBezTo>
                  <a:lnTo>
                    <a:pt x="1396" y="14467"/>
                  </a:lnTo>
                  <a:close/>
                  <a:moveTo>
                    <a:pt x="1503" y="15171"/>
                  </a:moveTo>
                  <a:cubicBezTo>
                    <a:pt x="1198" y="15542"/>
                    <a:pt x="1198" y="15542"/>
                    <a:pt x="1198" y="15542"/>
                  </a:cubicBezTo>
                  <a:cubicBezTo>
                    <a:pt x="930" y="15306"/>
                    <a:pt x="930" y="15306"/>
                    <a:pt x="930" y="15306"/>
                  </a:cubicBezTo>
                  <a:cubicBezTo>
                    <a:pt x="930" y="15306"/>
                    <a:pt x="930" y="15306"/>
                    <a:pt x="930" y="15306"/>
                  </a:cubicBezTo>
                  <a:cubicBezTo>
                    <a:pt x="926" y="15311"/>
                    <a:pt x="926" y="15311"/>
                    <a:pt x="926" y="15311"/>
                  </a:cubicBezTo>
                  <a:cubicBezTo>
                    <a:pt x="991" y="15066"/>
                    <a:pt x="991" y="15066"/>
                    <a:pt x="991" y="15066"/>
                  </a:cubicBezTo>
                  <a:cubicBezTo>
                    <a:pt x="946" y="14944"/>
                    <a:pt x="946" y="14944"/>
                    <a:pt x="946" y="14944"/>
                  </a:cubicBezTo>
                  <a:cubicBezTo>
                    <a:pt x="1042" y="14827"/>
                    <a:pt x="1042" y="14827"/>
                    <a:pt x="1042" y="14827"/>
                  </a:cubicBezTo>
                  <a:cubicBezTo>
                    <a:pt x="1045" y="14829"/>
                    <a:pt x="1262" y="14991"/>
                    <a:pt x="1503" y="15171"/>
                  </a:cubicBezTo>
                  <a:close/>
                  <a:moveTo>
                    <a:pt x="1431" y="15032"/>
                  </a:moveTo>
                  <a:cubicBezTo>
                    <a:pt x="1432" y="15032"/>
                    <a:pt x="1432" y="15032"/>
                    <a:pt x="1432" y="15032"/>
                  </a:cubicBezTo>
                  <a:cubicBezTo>
                    <a:pt x="1434" y="15026"/>
                    <a:pt x="1438" y="15017"/>
                    <a:pt x="1443" y="15007"/>
                  </a:cubicBezTo>
                  <a:cubicBezTo>
                    <a:pt x="1452" y="14986"/>
                    <a:pt x="1466" y="14957"/>
                    <a:pt x="1482" y="14922"/>
                  </a:cubicBezTo>
                  <a:cubicBezTo>
                    <a:pt x="1515" y="14853"/>
                    <a:pt x="1559" y="14761"/>
                    <a:pt x="1603" y="14671"/>
                  </a:cubicBezTo>
                  <a:cubicBezTo>
                    <a:pt x="1622" y="14632"/>
                    <a:pt x="1640" y="14593"/>
                    <a:pt x="1658" y="14556"/>
                  </a:cubicBezTo>
                  <a:cubicBezTo>
                    <a:pt x="1727" y="14640"/>
                    <a:pt x="1727" y="14640"/>
                    <a:pt x="1727" y="14640"/>
                  </a:cubicBezTo>
                  <a:cubicBezTo>
                    <a:pt x="1678" y="14743"/>
                    <a:pt x="1624" y="14858"/>
                    <a:pt x="1581" y="14948"/>
                  </a:cubicBezTo>
                  <a:cubicBezTo>
                    <a:pt x="1527" y="14909"/>
                    <a:pt x="1527" y="14909"/>
                    <a:pt x="1527" y="14909"/>
                  </a:cubicBezTo>
                  <a:cubicBezTo>
                    <a:pt x="1446" y="15018"/>
                    <a:pt x="1446" y="15018"/>
                    <a:pt x="1446" y="15018"/>
                  </a:cubicBezTo>
                  <a:cubicBezTo>
                    <a:pt x="1524" y="15072"/>
                    <a:pt x="1524" y="15072"/>
                    <a:pt x="1524" y="15072"/>
                  </a:cubicBezTo>
                  <a:cubicBezTo>
                    <a:pt x="1519" y="15081"/>
                    <a:pt x="1516" y="15089"/>
                    <a:pt x="1514" y="15094"/>
                  </a:cubicBezTo>
                  <a:cubicBezTo>
                    <a:pt x="1486" y="15073"/>
                    <a:pt x="1458" y="15053"/>
                    <a:pt x="1431" y="15032"/>
                  </a:cubicBezTo>
                  <a:close/>
                  <a:moveTo>
                    <a:pt x="1465" y="15015"/>
                  </a:moveTo>
                  <a:cubicBezTo>
                    <a:pt x="1530" y="14927"/>
                    <a:pt x="1530" y="14927"/>
                    <a:pt x="1530" y="14927"/>
                  </a:cubicBezTo>
                  <a:cubicBezTo>
                    <a:pt x="1575" y="14960"/>
                    <a:pt x="1575" y="14960"/>
                    <a:pt x="1575" y="14960"/>
                  </a:cubicBezTo>
                  <a:cubicBezTo>
                    <a:pt x="1557" y="15000"/>
                    <a:pt x="1541" y="15035"/>
                    <a:pt x="1529" y="15060"/>
                  </a:cubicBezTo>
                  <a:lnTo>
                    <a:pt x="1465" y="15015"/>
                  </a:lnTo>
                  <a:close/>
                  <a:moveTo>
                    <a:pt x="1526" y="15102"/>
                  </a:moveTo>
                  <a:cubicBezTo>
                    <a:pt x="1528" y="15096"/>
                    <a:pt x="1531" y="15089"/>
                    <a:pt x="1535" y="15081"/>
                  </a:cubicBezTo>
                  <a:cubicBezTo>
                    <a:pt x="1631" y="15148"/>
                    <a:pt x="1631" y="15148"/>
                    <a:pt x="1631" y="15148"/>
                  </a:cubicBezTo>
                  <a:cubicBezTo>
                    <a:pt x="1626" y="15158"/>
                    <a:pt x="1622" y="15167"/>
                    <a:pt x="1619" y="15174"/>
                  </a:cubicBezTo>
                  <a:cubicBezTo>
                    <a:pt x="1599" y="15159"/>
                    <a:pt x="1580" y="15144"/>
                    <a:pt x="1560" y="15129"/>
                  </a:cubicBezTo>
                  <a:cubicBezTo>
                    <a:pt x="1548" y="15120"/>
                    <a:pt x="1537" y="15112"/>
                    <a:pt x="1525" y="15103"/>
                  </a:cubicBezTo>
                  <a:cubicBezTo>
                    <a:pt x="1526" y="15102"/>
                    <a:pt x="1526" y="15102"/>
                    <a:pt x="1526" y="15102"/>
                  </a:cubicBezTo>
                  <a:close/>
                  <a:moveTo>
                    <a:pt x="1541" y="15068"/>
                  </a:moveTo>
                  <a:cubicBezTo>
                    <a:pt x="1550" y="15049"/>
                    <a:pt x="1561" y="15023"/>
                    <a:pt x="1575" y="14994"/>
                  </a:cubicBezTo>
                  <a:cubicBezTo>
                    <a:pt x="1579" y="14986"/>
                    <a:pt x="1583" y="14977"/>
                    <a:pt x="1587" y="14968"/>
                  </a:cubicBezTo>
                  <a:cubicBezTo>
                    <a:pt x="1682" y="15037"/>
                    <a:pt x="1682" y="15037"/>
                    <a:pt x="1682" y="15037"/>
                  </a:cubicBezTo>
                  <a:cubicBezTo>
                    <a:pt x="1664" y="15076"/>
                    <a:pt x="1648" y="15110"/>
                    <a:pt x="1636" y="15136"/>
                  </a:cubicBezTo>
                  <a:lnTo>
                    <a:pt x="1541" y="15068"/>
                  </a:lnTo>
                  <a:close/>
                  <a:moveTo>
                    <a:pt x="1639" y="15163"/>
                  </a:moveTo>
                  <a:cubicBezTo>
                    <a:pt x="1640" y="15161"/>
                    <a:pt x="1641" y="15159"/>
                    <a:pt x="1642" y="15157"/>
                  </a:cubicBezTo>
                  <a:cubicBezTo>
                    <a:pt x="1743" y="15228"/>
                    <a:pt x="1743" y="15228"/>
                    <a:pt x="1743" y="15228"/>
                  </a:cubicBezTo>
                  <a:cubicBezTo>
                    <a:pt x="1738" y="15239"/>
                    <a:pt x="1733" y="15249"/>
                    <a:pt x="1730" y="15257"/>
                  </a:cubicBezTo>
                  <a:cubicBezTo>
                    <a:pt x="1697" y="15232"/>
                    <a:pt x="1664" y="15207"/>
                    <a:pt x="1631" y="15182"/>
                  </a:cubicBezTo>
                  <a:cubicBezTo>
                    <a:pt x="1633" y="15177"/>
                    <a:pt x="1636" y="15171"/>
                    <a:pt x="1639" y="15163"/>
                  </a:cubicBezTo>
                  <a:close/>
                  <a:moveTo>
                    <a:pt x="1746" y="15255"/>
                  </a:moveTo>
                  <a:cubicBezTo>
                    <a:pt x="1748" y="15250"/>
                    <a:pt x="1751" y="15243"/>
                    <a:pt x="1754" y="15236"/>
                  </a:cubicBezTo>
                  <a:cubicBezTo>
                    <a:pt x="1816" y="15280"/>
                    <a:pt x="1816" y="15280"/>
                    <a:pt x="1816" y="15280"/>
                  </a:cubicBezTo>
                  <a:cubicBezTo>
                    <a:pt x="1888" y="15177"/>
                    <a:pt x="1888" y="15177"/>
                    <a:pt x="1888" y="15177"/>
                  </a:cubicBezTo>
                  <a:cubicBezTo>
                    <a:pt x="1892" y="15172"/>
                    <a:pt x="1892" y="15172"/>
                    <a:pt x="1892" y="15172"/>
                  </a:cubicBezTo>
                  <a:cubicBezTo>
                    <a:pt x="1811" y="15114"/>
                    <a:pt x="1811" y="15114"/>
                    <a:pt x="1811" y="15114"/>
                  </a:cubicBezTo>
                  <a:cubicBezTo>
                    <a:pt x="1839" y="15056"/>
                    <a:pt x="1870" y="14990"/>
                    <a:pt x="1901" y="14925"/>
                  </a:cubicBezTo>
                  <a:cubicBezTo>
                    <a:pt x="1910" y="14905"/>
                    <a:pt x="1920" y="14886"/>
                    <a:pt x="1929" y="14867"/>
                  </a:cubicBezTo>
                  <a:cubicBezTo>
                    <a:pt x="2035" y="14894"/>
                    <a:pt x="2035" y="14894"/>
                    <a:pt x="2035" y="14894"/>
                  </a:cubicBezTo>
                  <a:cubicBezTo>
                    <a:pt x="1958" y="15054"/>
                    <a:pt x="1866" y="15247"/>
                    <a:pt x="1828" y="15331"/>
                  </a:cubicBezTo>
                  <a:cubicBezTo>
                    <a:pt x="1800" y="15309"/>
                    <a:pt x="1771" y="15288"/>
                    <a:pt x="1741" y="15265"/>
                  </a:cubicBezTo>
                  <a:cubicBezTo>
                    <a:pt x="1743" y="15262"/>
                    <a:pt x="1744" y="15259"/>
                    <a:pt x="1746" y="15255"/>
                  </a:cubicBezTo>
                  <a:close/>
                  <a:moveTo>
                    <a:pt x="1876" y="15260"/>
                  </a:moveTo>
                  <a:cubicBezTo>
                    <a:pt x="1908" y="15192"/>
                    <a:pt x="1951" y="15102"/>
                    <a:pt x="1993" y="15013"/>
                  </a:cubicBezTo>
                  <a:cubicBezTo>
                    <a:pt x="2074" y="14845"/>
                    <a:pt x="2154" y="14678"/>
                    <a:pt x="2163" y="14659"/>
                  </a:cubicBezTo>
                  <a:cubicBezTo>
                    <a:pt x="2210" y="14700"/>
                    <a:pt x="2210" y="14700"/>
                    <a:pt x="2210" y="14700"/>
                  </a:cubicBezTo>
                  <a:cubicBezTo>
                    <a:pt x="2378" y="14873"/>
                    <a:pt x="2378" y="14873"/>
                    <a:pt x="2378" y="14873"/>
                  </a:cubicBezTo>
                  <a:cubicBezTo>
                    <a:pt x="2374" y="14882"/>
                    <a:pt x="2315" y="14993"/>
                    <a:pt x="2246" y="15124"/>
                  </a:cubicBezTo>
                  <a:cubicBezTo>
                    <a:pt x="2175" y="15257"/>
                    <a:pt x="2094" y="15411"/>
                    <a:pt x="2047" y="15495"/>
                  </a:cubicBezTo>
                  <a:cubicBezTo>
                    <a:pt x="1989" y="15452"/>
                    <a:pt x="1918" y="15398"/>
                    <a:pt x="1840" y="15339"/>
                  </a:cubicBezTo>
                  <a:cubicBezTo>
                    <a:pt x="1849" y="15319"/>
                    <a:pt x="1861" y="15292"/>
                    <a:pt x="1876" y="15260"/>
                  </a:cubicBezTo>
                  <a:close/>
                  <a:moveTo>
                    <a:pt x="2219" y="14690"/>
                  </a:moveTo>
                  <a:cubicBezTo>
                    <a:pt x="1572" y="14126"/>
                    <a:pt x="1572" y="14126"/>
                    <a:pt x="1572" y="14126"/>
                  </a:cubicBezTo>
                  <a:cubicBezTo>
                    <a:pt x="1571" y="14127"/>
                    <a:pt x="1571" y="14127"/>
                    <a:pt x="1571" y="14127"/>
                  </a:cubicBezTo>
                  <a:cubicBezTo>
                    <a:pt x="1307" y="13877"/>
                    <a:pt x="1307" y="13877"/>
                    <a:pt x="1307" y="13877"/>
                  </a:cubicBezTo>
                  <a:cubicBezTo>
                    <a:pt x="1348" y="13822"/>
                    <a:pt x="1348" y="13822"/>
                    <a:pt x="1348" y="13822"/>
                  </a:cubicBezTo>
                  <a:cubicBezTo>
                    <a:pt x="1525" y="13882"/>
                    <a:pt x="1525" y="13882"/>
                    <a:pt x="1525" y="13882"/>
                  </a:cubicBezTo>
                  <a:cubicBezTo>
                    <a:pt x="1600" y="13928"/>
                    <a:pt x="1600" y="13928"/>
                    <a:pt x="1600" y="13928"/>
                  </a:cubicBezTo>
                  <a:cubicBezTo>
                    <a:pt x="1601" y="13925"/>
                    <a:pt x="1601" y="13925"/>
                    <a:pt x="1601" y="13925"/>
                  </a:cubicBezTo>
                  <a:cubicBezTo>
                    <a:pt x="2408" y="14414"/>
                    <a:pt x="2408" y="14414"/>
                    <a:pt x="2408" y="14414"/>
                  </a:cubicBezTo>
                  <a:cubicBezTo>
                    <a:pt x="2697" y="14612"/>
                    <a:pt x="2697" y="14612"/>
                    <a:pt x="2697" y="14612"/>
                  </a:cubicBezTo>
                  <a:cubicBezTo>
                    <a:pt x="2851" y="14666"/>
                    <a:pt x="2851" y="14666"/>
                    <a:pt x="2851" y="14666"/>
                  </a:cubicBezTo>
                  <a:cubicBezTo>
                    <a:pt x="2852" y="14666"/>
                    <a:pt x="2852" y="14666"/>
                    <a:pt x="2852" y="14666"/>
                  </a:cubicBezTo>
                  <a:cubicBezTo>
                    <a:pt x="2852" y="14666"/>
                    <a:pt x="3296" y="14701"/>
                    <a:pt x="3364" y="14706"/>
                  </a:cubicBezTo>
                  <a:cubicBezTo>
                    <a:pt x="3350" y="14813"/>
                    <a:pt x="3350" y="14813"/>
                    <a:pt x="3350" y="14813"/>
                  </a:cubicBezTo>
                  <a:cubicBezTo>
                    <a:pt x="3295" y="14826"/>
                    <a:pt x="3197" y="14859"/>
                    <a:pt x="3098" y="14947"/>
                  </a:cubicBezTo>
                  <a:cubicBezTo>
                    <a:pt x="3047" y="14993"/>
                    <a:pt x="2950" y="15062"/>
                    <a:pt x="2857" y="15143"/>
                  </a:cubicBezTo>
                  <a:cubicBezTo>
                    <a:pt x="2782" y="15209"/>
                    <a:pt x="2708" y="15278"/>
                    <a:pt x="2651" y="15332"/>
                  </a:cubicBezTo>
                  <a:cubicBezTo>
                    <a:pt x="2600" y="15082"/>
                    <a:pt x="2600" y="15082"/>
                    <a:pt x="2600" y="15082"/>
                  </a:cubicBezTo>
                  <a:lnTo>
                    <a:pt x="2219" y="14690"/>
                  </a:lnTo>
                  <a:close/>
                  <a:moveTo>
                    <a:pt x="1127" y="13073"/>
                  </a:moveTo>
                  <a:cubicBezTo>
                    <a:pt x="989" y="12849"/>
                    <a:pt x="989" y="12849"/>
                    <a:pt x="989" y="12849"/>
                  </a:cubicBezTo>
                  <a:cubicBezTo>
                    <a:pt x="1002" y="12846"/>
                    <a:pt x="1018" y="12842"/>
                    <a:pt x="1027" y="12840"/>
                  </a:cubicBezTo>
                  <a:cubicBezTo>
                    <a:pt x="1062" y="12832"/>
                    <a:pt x="1108" y="12822"/>
                    <a:pt x="1153" y="12812"/>
                  </a:cubicBezTo>
                  <a:cubicBezTo>
                    <a:pt x="1192" y="12804"/>
                    <a:pt x="1230" y="12795"/>
                    <a:pt x="1262" y="12788"/>
                  </a:cubicBezTo>
                  <a:cubicBezTo>
                    <a:pt x="1018" y="12845"/>
                    <a:pt x="1018" y="12845"/>
                    <a:pt x="1018" y="12845"/>
                  </a:cubicBezTo>
                  <a:cubicBezTo>
                    <a:pt x="1150" y="13059"/>
                    <a:pt x="1150" y="13059"/>
                    <a:pt x="1150" y="13059"/>
                  </a:cubicBezTo>
                  <a:cubicBezTo>
                    <a:pt x="1154" y="13279"/>
                    <a:pt x="1154" y="13279"/>
                    <a:pt x="1154" y="13279"/>
                  </a:cubicBezTo>
                  <a:cubicBezTo>
                    <a:pt x="1436" y="13513"/>
                    <a:pt x="1436" y="13513"/>
                    <a:pt x="1436" y="13513"/>
                  </a:cubicBezTo>
                  <a:cubicBezTo>
                    <a:pt x="1581" y="13292"/>
                    <a:pt x="1581" y="13292"/>
                    <a:pt x="1581" y="13292"/>
                  </a:cubicBezTo>
                  <a:cubicBezTo>
                    <a:pt x="1529" y="12879"/>
                    <a:pt x="1529" y="12879"/>
                    <a:pt x="1529" y="12879"/>
                  </a:cubicBezTo>
                  <a:cubicBezTo>
                    <a:pt x="1322" y="12775"/>
                    <a:pt x="1322" y="12775"/>
                    <a:pt x="1322" y="12775"/>
                  </a:cubicBezTo>
                  <a:cubicBezTo>
                    <a:pt x="1323" y="12775"/>
                    <a:pt x="1323" y="12775"/>
                    <a:pt x="1324" y="12774"/>
                  </a:cubicBezTo>
                  <a:cubicBezTo>
                    <a:pt x="1543" y="12882"/>
                    <a:pt x="1543" y="12882"/>
                    <a:pt x="1543" y="12882"/>
                  </a:cubicBezTo>
                  <a:cubicBezTo>
                    <a:pt x="1609" y="13325"/>
                    <a:pt x="1609" y="13325"/>
                    <a:pt x="1609" y="13325"/>
                  </a:cubicBezTo>
                  <a:cubicBezTo>
                    <a:pt x="1608" y="13325"/>
                    <a:pt x="1608" y="13326"/>
                    <a:pt x="1607" y="13326"/>
                  </a:cubicBezTo>
                  <a:cubicBezTo>
                    <a:pt x="1604" y="13332"/>
                    <a:pt x="1599" y="13340"/>
                    <a:pt x="1593" y="13349"/>
                  </a:cubicBezTo>
                  <a:cubicBezTo>
                    <a:pt x="1580" y="13368"/>
                    <a:pt x="1565" y="13392"/>
                    <a:pt x="1549" y="13416"/>
                  </a:cubicBezTo>
                  <a:cubicBezTo>
                    <a:pt x="1520" y="13461"/>
                    <a:pt x="1492" y="13506"/>
                    <a:pt x="1487" y="13513"/>
                  </a:cubicBezTo>
                  <a:cubicBezTo>
                    <a:pt x="1447" y="13568"/>
                    <a:pt x="1447" y="13568"/>
                    <a:pt x="1447" y="13568"/>
                  </a:cubicBezTo>
                  <a:cubicBezTo>
                    <a:pt x="1128" y="13290"/>
                    <a:pt x="1128" y="13290"/>
                    <a:pt x="1128" y="13290"/>
                  </a:cubicBezTo>
                  <a:cubicBezTo>
                    <a:pt x="1129" y="13285"/>
                    <a:pt x="1129" y="13285"/>
                    <a:pt x="1129" y="13285"/>
                  </a:cubicBezTo>
                  <a:lnTo>
                    <a:pt x="1127" y="13073"/>
                  </a:lnTo>
                  <a:close/>
                  <a:moveTo>
                    <a:pt x="452" y="12223"/>
                  </a:moveTo>
                  <a:cubicBezTo>
                    <a:pt x="823" y="12077"/>
                    <a:pt x="823" y="12077"/>
                    <a:pt x="823" y="12077"/>
                  </a:cubicBezTo>
                  <a:cubicBezTo>
                    <a:pt x="896" y="12182"/>
                    <a:pt x="896" y="12182"/>
                    <a:pt x="896" y="12182"/>
                  </a:cubicBezTo>
                  <a:cubicBezTo>
                    <a:pt x="403" y="12352"/>
                    <a:pt x="403" y="12352"/>
                    <a:pt x="403" y="12352"/>
                  </a:cubicBezTo>
                  <a:cubicBezTo>
                    <a:pt x="462" y="12308"/>
                    <a:pt x="462" y="12308"/>
                    <a:pt x="462" y="12308"/>
                  </a:cubicBezTo>
                  <a:cubicBezTo>
                    <a:pt x="434" y="12270"/>
                    <a:pt x="434" y="12270"/>
                    <a:pt x="434" y="12270"/>
                  </a:cubicBezTo>
                  <a:cubicBezTo>
                    <a:pt x="469" y="12245"/>
                    <a:pt x="469" y="12245"/>
                    <a:pt x="469" y="12245"/>
                  </a:cubicBezTo>
                  <a:lnTo>
                    <a:pt x="452" y="12223"/>
                  </a:lnTo>
                  <a:close/>
                  <a:moveTo>
                    <a:pt x="825" y="12049"/>
                  </a:moveTo>
                  <a:cubicBezTo>
                    <a:pt x="833" y="12053"/>
                    <a:pt x="833" y="12053"/>
                    <a:pt x="833" y="12053"/>
                  </a:cubicBezTo>
                  <a:cubicBezTo>
                    <a:pt x="833" y="12053"/>
                    <a:pt x="833" y="12053"/>
                    <a:pt x="833" y="12053"/>
                  </a:cubicBezTo>
                  <a:lnTo>
                    <a:pt x="825" y="12049"/>
                  </a:lnTo>
                  <a:close/>
                  <a:moveTo>
                    <a:pt x="886" y="12053"/>
                  </a:moveTo>
                  <a:cubicBezTo>
                    <a:pt x="885" y="12052"/>
                    <a:pt x="885" y="12052"/>
                    <a:pt x="885" y="12051"/>
                  </a:cubicBezTo>
                  <a:cubicBezTo>
                    <a:pt x="884" y="12049"/>
                    <a:pt x="884" y="12049"/>
                    <a:pt x="883" y="12048"/>
                  </a:cubicBezTo>
                  <a:cubicBezTo>
                    <a:pt x="883" y="12047"/>
                    <a:pt x="883" y="12047"/>
                    <a:pt x="882" y="12046"/>
                  </a:cubicBezTo>
                  <a:cubicBezTo>
                    <a:pt x="882" y="12045"/>
                    <a:pt x="882" y="12045"/>
                    <a:pt x="881" y="12044"/>
                  </a:cubicBezTo>
                  <a:cubicBezTo>
                    <a:pt x="880" y="12043"/>
                    <a:pt x="880" y="12042"/>
                    <a:pt x="879" y="12041"/>
                  </a:cubicBezTo>
                  <a:cubicBezTo>
                    <a:pt x="877" y="12038"/>
                    <a:pt x="874" y="12034"/>
                    <a:pt x="870" y="12029"/>
                  </a:cubicBezTo>
                  <a:cubicBezTo>
                    <a:pt x="870" y="12029"/>
                    <a:pt x="869" y="12028"/>
                    <a:pt x="869" y="12027"/>
                  </a:cubicBezTo>
                  <a:cubicBezTo>
                    <a:pt x="1334" y="11914"/>
                    <a:pt x="1334" y="11914"/>
                    <a:pt x="1334" y="11914"/>
                  </a:cubicBezTo>
                  <a:cubicBezTo>
                    <a:pt x="1343" y="11948"/>
                    <a:pt x="1351" y="11979"/>
                    <a:pt x="1356" y="11995"/>
                  </a:cubicBezTo>
                  <a:cubicBezTo>
                    <a:pt x="1363" y="12022"/>
                    <a:pt x="1377" y="12079"/>
                    <a:pt x="1444" y="12140"/>
                  </a:cubicBezTo>
                  <a:cubicBezTo>
                    <a:pt x="1154" y="12433"/>
                    <a:pt x="1154" y="12433"/>
                    <a:pt x="1154" y="12433"/>
                  </a:cubicBezTo>
                  <a:lnTo>
                    <a:pt x="886" y="12053"/>
                  </a:lnTo>
                  <a:close/>
                  <a:moveTo>
                    <a:pt x="1033" y="11454"/>
                  </a:moveTo>
                  <a:cubicBezTo>
                    <a:pt x="1084" y="11494"/>
                    <a:pt x="1143" y="11546"/>
                    <a:pt x="1175" y="11580"/>
                  </a:cubicBezTo>
                  <a:cubicBezTo>
                    <a:pt x="1224" y="11633"/>
                    <a:pt x="1286" y="11733"/>
                    <a:pt x="1301" y="11791"/>
                  </a:cubicBezTo>
                  <a:cubicBezTo>
                    <a:pt x="1310" y="11821"/>
                    <a:pt x="1320" y="11861"/>
                    <a:pt x="1330" y="11899"/>
                  </a:cubicBezTo>
                  <a:cubicBezTo>
                    <a:pt x="1146" y="11943"/>
                    <a:pt x="1146" y="11943"/>
                    <a:pt x="1146" y="11943"/>
                  </a:cubicBezTo>
                  <a:cubicBezTo>
                    <a:pt x="1091" y="11706"/>
                    <a:pt x="1091" y="11706"/>
                    <a:pt x="1091" y="11706"/>
                  </a:cubicBezTo>
                  <a:cubicBezTo>
                    <a:pt x="968" y="11594"/>
                    <a:pt x="968" y="11594"/>
                    <a:pt x="968" y="11594"/>
                  </a:cubicBezTo>
                  <a:cubicBezTo>
                    <a:pt x="985" y="11581"/>
                    <a:pt x="1002" y="11563"/>
                    <a:pt x="1017" y="11538"/>
                  </a:cubicBezTo>
                  <a:cubicBezTo>
                    <a:pt x="1030" y="11517"/>
                    <a:pt x="1035" y="11493"/>
                    <a:pt x="1035" y="11468"/>
                  </a:cubicBezTo>
                  <a:cubicBezTo>
                    <a:pt x="1035" y="11463"/>
                    <a:pt x="1034" y="11458"/>
                    <a:pt x="1033" y="11454"/>
                  </a:cubicBezTo>
                  <a:close/>
                  <a:moveTo>
                    <a:pt x="1315" y="11276"/>
                  </a:moveTo>
                  <a:cubicBezTo>
                    <a:pt x="1337" y="11300"/>
                    <a:pt x="1344" y="11319"/>
                    <a:pt x="1344" y="11337"/>
                  </a:cubicBezTo>
                  <a:cubicBezTo>
                    <a:pt x="1344" y="11354"/>
                    <a:pt x="1338" y="11371"/>
                    <a:pt x="1329" y="11388"/>
                  </a:cubicBezTo>
                  <a:cubicBezTo>
                    <a:pt x="1318" y="11413"/>
                    <a:pt x="1281" y="11445"/>
                    <a:pt x="1280" y="11486"/>
                  </a:cubicBezTo>
                  <a:cubicBezTo>
                    <a:pt x="1279" y="11501"/>
                    <a:pt x="1286" y="11516"/>
                    <a:pt x="1299" y="11530"/>
                  </a:cubicBezTo>
                  <a:cubicBezTo>
                    <a:pt x="1336" y="11564"/>
                    <a:pt x="1410" y="11577"/>
                    <a:pt x="1464" y="11577"/>
                  </a:cubicBezTo>
                  <a:cubicBezTo>
                    <a:pt x="1489" y="11577"/>
                    <a:pt x="1509" y="11575"/>
                    <a:pt x="1522" y="11568"/>
                  </a:cubicBezTo>
                  <a:cubicBezTo>
                    <a:pt x="1539" y="11558"/>
                    <a:pt x="1610" y="11514"/>
                    <a:pt x="1673" y="11474"/>
                  </a:cubicBezTo>
                  <a:cubicBezTo>
                    <a:pt x="1773" y="11588"/>
                    <a:pt x="1773" y="11588"/>
                    <a:pt x="1773" y="11588"/>
                  </a:cubicBezTo>
                  <a:cubicBezTo>
                    <a:pt x="1285" y="11653"/>
                    <a:pt x="1285" y="11653"/>
                    <a:pt x="1285" y="11653"/>
                  </a:cubicBezTo>
                  <a:cubicBezTo>
                    <a:pt x="1261" y="11615"/>
                    <a:pt x="1234" y="11577"/>
                    <a:pt x="1208" y="11549"/>
                  </a:cubicBezTo>
                  <a:cubicBezTo>
                    <a:pt x="1172" y="11510"/>
                    <a:pt x="1109" y="11455"/>
                    <a:pt x="1055" y="11413"/>
                  </a:cubicBezTo>
                  <a:cubicBezTo>
                    <a:pt x="1057" y="11409"/>
                    <a:pt x="1058" y="11404"/>
                    <a:pt x="1061" y="11397"/>
                  </a:cubicBezTo>
                  <a:cubicBezTo>
                    <a:pt x="1068" y="11378"/>
                    <a:pt x="1078" y="11352"/>
                    <a:pt x="1092" y="11326"/>
                  </a:cubicBezTo>
                  <a:cubicBezTo>
                    <a:pt x="1113" y="11287"/>
                    <a:pt x="1142" y="11246"/>
                    <a:pt x="1167" y="11216"/>
                  </a:cubicBezTo>
                  <a:cubicBezTo>
                    <a:pt x="1186" y="11194"/>
                    <a:pt x="1208" y="11169"/>
                    <a:pt x="1231" y="11149"/>
                  </a:cubicBezTo>
                  <a:cubicBezTo>
                    <a:pt x="1240" y="11141"/>
                    <a:pt x="1249" y="11134"/>
                    <a:pt x="1258" y="11127"/>
                  </a:cubicBezTo>
                  <a:cubicBezTo>
                    <a:pt x="1267" y="11145"/>
                    <a:pt x="1272" y="11160"/>
                    <a:pt x="1274" y="11166"/>
                  </a:cubicBezTo>
                  <a:cubicBezTo>
                    <a:pt x="1274" y="11168"/>
                    <a:pt x="1274" y="11172"/>
                    <a:pt x="1274" y="11177"/>
                  </a:cubicBezTo>
                  <a:cubicBezTo>
                    <a:pt x="1273" y="11198"/>
                    <a:pt x="1279" y="11239"/>
                    <a:pt x="1315" y="11276"/>
                  </a:cubicBezTo>
                  <a:close/>
                  <a:moveTo>
                    <a:pt x="3530" y="9199"/>
                  </a:moveTo>
                  <a:cubicBezTo>
                    <a:pt x="3572" y="9160"/>
                    <a:pt x="3638" y="9121"/>
                    <a:pt x="3749" y="9086"/>
                  </a:cubicBezTo>
                  <a:cubicBezTo>
                    <a:pt x="3861" y="9051"/>
                    <a:pt x="3978" y="9020"/>
                    <a:pt x="4026" y="9007"/>
                  </a:cubicBezTo>
                  <a:cubicBezTo>
                    <a:pt x="4139" y="9280"/>
                    <a:pt x="4139" y="9280"/>
                    <a:pt x="4139" y="9280"/>
                  </a:cubicBezTo>
                  <a:cubicBezTo>
                    <a:pt x="4258" y="9540"/>
                    <a:pt x="4258" y="9540"/>
                    <a:pt x="4258" y="9540"/>
                  </a:cubicBezTo>
                  <a:cubicBezTo>
                    <a:pt x="4167" y="9598"/>
                    <a:pt x="3697" y="9903"/>
                    <a:pt x="3697" y="9904"/>
                  </a:cubicBezTo>
                  <a:cubicBezTo>
                    <a:pt x="3696" y="9904"/>
                    <a:pt x="3696" y="9904"/>
                    <a:pt x="3696" y="9904"/>
                  </a:cubicBezTo>
                  <a:cubicBezTo>
                    <a:pt x="3560" y="10125"/>
                    <a:pt x="3560" y="10125"/>
                    <a:pt x="3560" y="10125"/>
                  </a:cubicBezTo>
                  <a:cubicBezTo>
                    <a:pt x="3560" y="10125"/>
                    <a:pt x="3559" y="10124"/>
                    <a:pt x="3558" y="10123"/>
                  </a:cubicBezTo>
                  <a:cubicBezTo>
                    <a:pt x="3557" y="10121"/>
                    <a:pt x="3555" y="10118"/>
                    <a:pt x="3552" y="10113"/>
                  </a:cubicBezTo>
                  <a:cubicBezTo>
                    <a:pt x="3546" y="10104"/>
                    <a:pt x="3538" y="10092"/>
                    <a:pt x="3528" y="10077"/>
                  </a:cubicBezTo>
                  <a:cubicBezTo>
                    <a:pt x="3509" y="10046"/>
                    <a:pt x="3483" y="10005"/>
                    <a:pt x="3457" y="9964"/>
                  </a:cubicBezTo>
                  <a:cubicBezTo>
                    <a:pt x="3407" y="9886"/>
                    <a:pt x="3357" y="9807"/>
                    <a:pt x="3343" y="9788"/>
                  </a:cubicBezTo>
                  <a:cubicBezTo>
                    <a:pt x="3405" y="9657"/>
                    <a:pt x="3415" y="9476"/>
                    <a:pt x="3439" y="9387"/>
                  </a:cubicBezTo>
                  <a:cubicBezTo>
                    <a:pt x="3454" y="9333"/>
                    <a:pt x="3464" y="9280"/>
                    <a:pt x="3502" y="9230"/>
                  </a:cubicBezTo>
                  <a:cubicBezTo>
                    <a:pt x="3507" y="9223"/>
                    <a:pt x="3513" y="9216"/>
                    <a:pt x="3520" y="9209"/>
                  </a:cubicBezTo>
                  <a:cubicBezTo>
                    <a:pt x="3521" y="9210"/>
                    <a:pt x="3522" y="9211"/>
                    <a:pt x="3523" y="9212"/>
                  </a:cubicBezTo>
                  <a:cubicBezTo>
                    <a:pt x="3535" y="9227"/>
                    <a:pt x="3552" y="9249"/>
                    <a:pt x="3572" y="9275"/>
                  </a:cubicBezTo>
                  <a:cubicBezTo>
                    <a:pt x="3613" y="9327"/>
                    <a:pt x="3667" y="9397"/>
                    <a:pt x="3721" y="9467"/>
                  </a:cubicBezTo>
                  <a:cubicBezTo>
                    <a:pt x="3828" y="9605"/>
                    <a:pt x="3934" y="9744"/>
                    <a:pt x="3935" y="9746"/>
                  </a:cubicBezTo>
                  <a:cubicBezTo>
                    <a:pt x="3946" y="9737"/>
                    <a:pt x="3946" y="9737"/>
                    <a:pt x="3946" y="9737"/>
                  </a:cubicBezTo>
                  <a:cubicBezTo>
                    <a:pt x="3946" y="9737"/>
                    <a:pt x="3611" y="9300"/>
                    <a:pt x="3530" y="9199"/>
                  </a:cubicBezTo>
                  <a:close/>
                  <a:moveTo>
                    <a:pt x="3951" y="7899"/>
                  </a:moveTo>
                  <a:cubicBezTo>
                    <a:pt x="3950" y="7898"/>
                    <a:pt x="3950" y="7898"/>
                    <a:pt x="3950" y="7898"/>
                  </a:cubicBezTo>
                  <a:cubicBezTo>
                    <a:pt x="3948" y="7886"/>
                    <a:pt x="3944" y="7859"/>
                    <a:pt x="3939" y="7827"/>
                  </a:cubicBezTo>
                  <a:cubicBezTo>
                    <a:pt x="3933" y="7788"/>
                    <a:pt x="3928" y="7742"/>
                    <a:pt x="3927" y="7711"/>
                  </a:cubicBezTo>
                  <a:cubicBezTo>
                    <a:pt x="4003" y="7678"/>
                    <a:pt x="4003" y="7678"/>
                    <a:pt x="4003" y="7678"/>
                  </a:cubicBezTo>
                  <a:cubicBezTo>
                    <a:pt x="4087" y="8020"/>
                    <a:pt x="4087" y="8020"/>
                    <a:pt x="4087" y="8020"/>
                  </a:cubicBezTo>
                  <a:cubicBezTo>
                    <a:pt x="4080" y="8020"/>
                    <a:pt x="4073" y="8019"/>
                    <a:pt x="4066" y="8019"/>
                  </a:cubicBezTo>
                  <a:cubicBezTo>
                    <a:pt x="4041" y="8019"/>
                    <a:pt x="4016" y="8021"/>
                    <a:pt x="3991" y="8024"/>
                  </a:cubicBezTo>
                  <a:cubicBezTo>
                    <a:pt x="3991" y="8024"/>
                    <a:pt x="3991" y="8023"/>
                    <a:pt x="3990" y="8023"/>
                  </a:cubicBezTo>
                  <a:cubicBezTo>
                    <a:pt x="3990" y="8021"/>
                    <a:pt x="3989" y="8020"/>
                    <a:pt x="3989" y="8019"/>
                  </a:cubicBezTo>
                  <a:cubicBezTo>
                    <a:pt x="3987" y="8016"/>
                    <a:pt x="3986" y="8013"/>
                    <a:pt x="3984" y="8009"/>
                  </a:cubicBezTo>
                  <a:cubicBezTo>
                    <a:pt x="3980" y="8001"/>
                    <a:pt x="3976" y="7990"/>
                    <a:pt x="3971" y="7978"/>
                  </a:cubicBezTo>
                  <a:cubicBezTo>
                    <a:pt x="3961" y="7954"/>
                    <a:pt x="3954" y="7927"/>
                    <a:pt x="3951" y="7899"/>
                  </a:cubicBezTo>
                  <a:close/>
                  <a:moveTo>
                    <a:pt x="3951" y="8031"/>
                  </a:moveTo>
                  <a:cubicBezTo>
                    <a:pt x="3951" y="8031"/>
                    <a:pt x="3951" y="8031"/>
                    <a:pt x="3951" y="8031"/>
                  </a:cubicBezTo>
                  <a:cubicBezTo>
                    <a:pt x="3932" y="8020"/>
                    <a:pt x="3932" y="8020"/>
                    <a:pt x="3932" y="8020"/>
                  </a:cubicBezTo>
                  <a:lnTo>
                    <a:pt x="3951" y="8031"/>
                  </a:lnTo>
                  <a:close/>
                  <a:moveTo>
                    <a:pt x="3239" y="8424"/>
                  </a:moveTo>
                  <a:cubicBezTo>
                    <a:pt x="3208" y="8441"/>
                    <a:pt x="3175" y="8458"/>
                    <a:pt x="3142" y="8476"/>
                  </a:cubicBezTo>
                  <a:cubicBezTo>
                    <a:pt x="3111" y="8492"/>
                    <a:pt x="3079" y="8509"/>
                    <a:pt x="3047" y="8526"/>
                  </a:cubicBezTo>
                  <a:cubicBezTo>
                    <a:pt x="2677" y="8006"/>
                    <a:pt x="2677" y="8006"/>
                    <a:pt x="2677" y="8006"/>
                  </a:cubicBezTo>
                  <a:cubicBezTo>
                    <a:pt x="2973" y="7786"/>
                    <a:pt x="2973" y="7786"/>
                    <a:pt x="2973" y="7786"/>
                  </a:cubicBezTo>
                  <a:cubicBezTo>
                    <a:pt x="3015" y="7827"/>
                    <a:pt x="3308" y="8116"/>
                    <a:pt x="3343" y="8150"/>
                  </a:cubicBezTo>
                  <a:cubicBezTo>
                    <a:pt x="3231" y="8421"/>
                    <a:pt x="3231" y="8421"/>
                    <a:pt x="3231" y="8421"/>
                  </a:cubicBezTo>
                  <a:lnTo>
                    <a:pt x="3239" y="8424"/>
                  </a:lnTo>
                  <a:close/>
                  <a:moveTo>
                    <a:pt x="2605" y="8350"/>
                  </a:moveTo>
                  <a:cubicBezTo>
                    <a:pt x="2600" y="8351"/>
                    <a:pt x="2600" y="8351"/>
                    <a:pt x="2600" y="8351"/>
                  </a:cubicBezTo>
                  <a:cubicBezTo>
                    <a:pt x="2600" y="8351"/>
                    <a:pt x="2560" y="8366"/>
                    <a:pt x="2519" y="8381"/>
                  </a:cubicBezTo>
                  <a:cubicBezTo>
                    <a:pt x="2484" y="8394"/>
                    <a:pt x="2450" y="8407"/>
                    <a:pt x="2436" y="8413"/>
                  </a:cubicBezTo>
                  <a:cubicBezTo>
                    <a:pt x="2288" y="8106"/>
                    <a:pt x="2288" y="8106"/>
                    <a:pt x="2288" y="8106"/>
                  </a:cubicBezTo>
                  <a:cubicBezTo>
                    <a:pt x="2493" y="7967"/>
                    <a:pt x="2493" y="7967"/>
                    <a:pt x="2493" y="7967"/>
                  </a:cubicBezTo>
                  <a:cubicBezTo>
                    <a:pt x="2495" y="7968"/>
                    <a:pt x="2497" y="7968"/>
                    <a:pt x="2499" y="7969"/>
                  </a:cubicBezTo>
                  <a:cubicBezTo>
                    <a:pt x="2515" y="7973"/>
                    <a:pt x="2642" y="8006"/>
                    <a:pt x="2661" y="8011"/>
                  </a:cubicBezTo>
                  <a:cubicBezTo>
                    <a:pt x="3032" y="8534"/>
                    <a:pt x="3032" y="8534"/>
                    <a:pt x="3032" y="8534"/>
                  </a:cubicBezTo>
                  <a:cubicBezTo>
                    <a:pt x="2979" y="8562"/>
                    <a:pt x="2925" y="8591"/>
                    <a:pt x="2871" y="8620"/>
                  </a:cubicBezTo>
                  <a:cubicBezTo>
                    <a:pt x="2873" y="8618"/>
                    <a:pt x="2873" y="8618"/>
                    <a:pt x="2873" y="8618"/>
                  </a:cubicBezTo>
                  <a:lnTo>
                    <a:pt x="2605" y="8350"/>
                  </a:lnTo>
                  <a:close/>
                  <a:moveTo>
                    <a:pt x="2163" y="8991"/>
                  </a:moveTo>
                  <a:cubicBezTo>
                    <a:pt x="2102" y="9023"/>
                    <a:pt x="2102" y="9023"/>
                    <a:pt x="2102" y="9023"/>
                  </a:cubicBezTo>
                  <a:cubicBezTo>
                    <a:pt x="2075" y="8966"/>
                    <a:pt x="2075" y="8966"/>
                    <a:pt x="2075" y="8966"/>
                  </a:cubicBezTo>
                  <a:cubicBezTo>
                    <a:pt x="2155" y="8926"/>
                    <a:pt x="2155" y="8926"/>
                    <a:pt x="2155" y="8926"/>
                  </a:cubicBezTo>
                  <a:cubicBezTo>
                    <a:pt x="2180" y="8982"/>
                    <a:pt x="2180" y="8982"/>
                    <a:pt x="2180" y="8982"/>
                  </a:cubicBezTo>
                  <a:cubicBezTo>
                    <a:pt x="2169" y="8987"/>
                    <a:pt x="2162" y="8990"/>
                    <a:pt x="2162" y="8990"/>
                  </a:cubicBezTo>
                  <a:lnTo>
                    <a:pt x="2163" y="8991"/>
                  </a:lnTo>
                  <a:close/>
                  <a:moveTo>
                    <a:pt x="1091" y="8331"/>
                  </a:moveTo>
                  <a:cubicBezTo>
                    <a:pt x="1316" y="8318"/>
                    <a:pt x="1316" y="8318"/>
                    <a:pt x="1316" y="8318"/>
                  </a:cubicBezTo>
                  <a:cubicBezTo>
                    <a:pt x="1529" y="8476"/>
                    <a:pt x="1529" y="8476"/>
                    <a:pt x="1529" y="8476"/>
                  </a:cubicBezTo>
                  <a:cubicBezTo>
                    <a:pt x="1518" y="8495"/>
                    <a:pt x="1506" y="8514"/>
                    <a:pt x="1495" y="8534"/>
                  </a:cubicBezTo>
                  <a:cubicBezTo>
                    <a:pt x="1443" y="8623"/>
                    <a:pt x="1392" y="8711"/>
                    <a:pt x="1366" y="8755"/>
                  </a:cubicBezTo>
                  <a:cubicBezTo>
                    <a:pt x="1340" y="8735"/>
                    <a:pt x="1327" y="8725"/>
                    <a:pt x="1312" y="8714"/>
                  </a:cubicBezTo>
                  <a:cubicBezTo>
                    <a:pt x="1277" y="8687"/>
                    <a:pt x="1230" y="8651"/>
                    <a:pt x="1183" y="8615"/>
                  </a:cubicBezTo>
                  <a:cubicBezTo>
                    <a:pt x="1101" y="8552"/>
                    <a:pt x="1019" y="8490"/>
                    <a:pt x="1000" y="8475"/>
                  </a:cubicBezTo>
                  <a:cubicBezTo>
                    <a:pt x="1040" y="8414"/>
                    <a:pt x="1084" y="8346"/>
                    <a:pt x="1089" y="8336"/>
                  </a:cubicBezTo>
                  <a:cubicBezTo>
                    <a:pt x="1090" y="8335"/>
                    <a:pt x="1090" y="8336"/>
                    <a:pt x="1091" y="8331"/>
                  </a:cubicBezTo>
                  <a:cubicBezTo>
                    <a:pt x="1091" y="8331"/>
                    <a:pt x="1091" y="8331"/>
                    <a:pt x="1091" y="8331"/>
                  </a:cubicBezTo>
                  <a:close/>
                  <a:moveTo>
                    <a:pt x="1298" y="6988"/>
                  </a:moveTo>
                  <a:cubicBezTo>
                    <a:pt x="1311" y="6974"/>
                    <a:pt x="1323" y="6958"/>
                    <a:pt x="1335" y="6940"/>
                  </a:cubicBezTo>
                  <a:cubicBezTo>
                    <a:pt x="1357" y="6906"/>
                    <a:pt x="1380" y="6867"/>
                    <a:pt x="1399" y="6829"/>
                  </a:cubicBezTo>
                  <a:cubicBezTo>
                    <a:pt x="1422" y="6787"/>
                    <a:pt x="1441" y="6746"/>
                    <a:pt x="1454" y="6719"/>
                  </a:cubicBezTo>
                  <a:cubicBezTo>
                    <a:pt x="1533" y="6766"/>
                    <a:pt x="1745" y="6892"/>
                    <a:pt x="1887" y="6974"/>
                  </a:cubicBezTo>
                  <a:cubicBezTo>
                    <a:pt x="1885" y="6978"/>
                    <a:pt x="1882" y="6981"/>
                    <a:pt x="1879" y="6986"/>
                  </a:cubicBezTo>
                  <a:cubicBezTo>
                    <a:pt x="1863" y="7007"/>
                    <a:pt x="1844" y="7036"/>
                    <a:pt x="1822" y="7068"/>
                  </a:cubicBezTo>
                  <a:cubicBezTo>
                    <a:pt x="1790" y="7115"/>
                    <a:pt x="1754" y="7169"/>
                    <a:pt x="1722" y="7218"/>
                  </a:cubicBezTo>
                  <a:cubicBezTo>
                    <a:pt x="1722" y="7216"/>
                    <a:pt x="1722" y="7216"/>
                    <a:pt x="1722" y="7216"/>
                  </a:cubicBezTo>
                  <a:cubicBezTo>
                    <a:pt x="1693" y="7204"/>
                    <a:pt x="1690" y="7203"/>
                    <a:pt x="1687" y="7202"/>
                  </a:cubicBezTo>
                  <a:cubicBezTo>
                    <a:pt x="1671" y="7196"/>
                    <a:pt x="1649" y="7187"/>
                    <a:pt x="1627" y="7179"/>
                  </a:cubicBezTo>
                  <a:cubicBezTo>
                    <a:pt x="1583" y="7163"/>
                    <a:pt x="1539" y="7146"/>
                    <a:pt x="1539" y="7146"/>
                  </a:cubicBezTo>
                  <a:cubicBezTo>
                    <a:pt x="1538" y="7146"/>
                    <a:pt x="1538" y="7146"/>
                    <a:pt x="1538" y="7146"/>
                  </a:cubicBezTo>
                  <a:cubicBezTo>
                    <a:pt x="1403" y="7149"/>
                    <a:pt x="1403" y="7149"/>
                    <a:pt x="1403" y="7149"/>
                  </a:cubicBezTo>
                  <a:lnTo>
                    <a:pt x="1298" y="6988"/>
                  </a:lnTo>
                  <a:close/>
                  <a:moveTo>
                    <a:pt x="1352" y="7151"/>
                  </a:moveTo>
                  <a:cubicBezTo>
                    <a:pt x="1321" y="7158"/>
                    <a:pt x="1150" y="7197"/>
                    <a:pt x="1087" y="7212"/>
                  </a:cubicBezTo>
                  <a:cubicBezTo>
                    <a:pt x="1139" y="7071"/>
                    <a:pt x="1139" y="7071"/>
                    <a:pt x="1139" y="7071"/>
                  </a:cubicBezTo>
                  <a:cubicBezTo>
                    <a:pt x="1171" y="7064"/>
                    <a:pt x="1216" y="7050"/>
                    <a:pt x="1264" y="7020"/>
                  </a:cubicBezTo>
                  <a:cubicBezTo>
                    <a:pt x="1264" y="7019"/>
                    <a:pt x="1265" y="7019"/>
                    <a:pt x="1265" y="7019"/>
                  </a:cubicBezTo>
                  <a:lnTo>
                    <a:pt x="1352" y="7151"/>
                  </a:lnTo>
                  <a:close/>
                  <a:moveTo>
                    <a:pt x="2199" y="4743"/>
                  </a:moveTo>
                  <a:cubicBezTo>
                    <a:pt x="2400" y="4889"/>
                    <a:pt x="2400" y="4889"/>
                    <a:pt x="2400" y="4889"/>
                  </a:cubicBezTo>
                  <a:cubicBezTo>
                    <a:pt x="2345" y="4987"/>
                    <a:pt x="2345" y="4987"/>
                    <a:pt x="2345" y="4987"/>
                  </a:cubicBezTo>
                  <a:cubicBezTo>
                    <a:pt x="2088" y="4841"/>
                    <a:pt x="2088" y="4841"/>
                    <a:pt x="2088" y="4841"/>
                  </a:cubicBezTo>
                  <a:lnTo>
                    <a:pt x="2199" y="4743"/>
                  </a:lnTo>
                  <a:close/>
                  <a:moveTo>
                    <a:pt x="2076" y="4834"/>
                  </a:moveTo>
                  <a:cubicBezTo>
                    <a:pt x="1797" y="4674"/>
                    <a:pt x="1797" y="4674"/>
                    <a:pt x="1797" y="4674"/>
                  </a:cubicBezTo>
                  <a:cubicBezTo>
                    <a:pt x="1922" y="4542"/>
                    <a:pt x="1922" y="4542"/>
                    <a:pt x="1922" y="4542"/>
                  </a:cubicBezTo>
                  <a:cubicBezTo>
                    <a:pt x="2187" y="4735"/>
                    <a:pt x="2187" y="4735"/>
                    <a:pt x="2187" y="4735"/>
                  </a:cubicBezTo>
                  <a:lnTo>
                    <a:pt x="2076" y="4834"/>
                  </a:lnTo>
                  <a:close/>
                  <a:moveTo>
                    <a:pt x="4152" y="4111"/>
                  </a:moveTo>
                  <a:cubicBezTo>
                    <a:pt x="4648" y="4219"/>
                    <a:pt x="4648" y="4219"/>
                    <a:pt x="4648" y="4219"/>
                  </a:cubicBezTo>
                  <a:cubicBezTo>
                    <a:pt x="4487" y="4547"/>
                    <a:pt x="4487" y="4547"/>
                    <a:pt x="4487" y="4547"/>
                  </a:cubicBezTo>
                  <a:cubicBezTo>
                    <a:pt x="4485" y="4538"/>
                    <a:pt x="4485" y="4538"/>
                    <a:pt x="4485" y="4538"/>
                  </a:cubicBezTo>
                  <a:cubicBezTo>
                    <a:pt x="4486" y="4543"/>
                    <a:pt x="4486" y="4543"/>
                    <a:pt x="4486" y="4543"/>
                  </a:cubicBezTo>
                  <a:cubicBezTo>
                    <a:pt x="4486" y="4538"/>
                    <a:pt x="4486" y="4538"/>
                    <a:pt x="4486" y="4538"/>
                  </a:cubicBezTo>
                  <a:cubicBezTo>
                    <a:pt x="4486" y="4538"/>
                    <a:pt x="4486" y="4538"/>
                    <a:pt x="4486" y="4538"/>
                  </a:cubicBezTo>
                  <a:cubicBezTo>
                    <a:pt x="4486" y="4538"/>
                    <a:pt x="4486" y="4538"/>
                    <a:pt x="4486" y="4538"/>
                  </a:cubicBezTo>
                  <a:cubicBezTo>
                    <a:pt x="4473" y="4538"/>
                    <a:pt x="4304" y="4506"/>
                    <a:pt x="4137" y="4474"/>
                  </a:cubicBezTo>
                  <a:cubicBezTo>
                    <a:pt x="4138" y="4468"/>
                    <a:pt x="4139" y="4462"/>
                    <a:pt x="4140" y="4456"/>
                  </a:cubicBezTo>
                  <a:cubicBezTo>
                    <a:pt x="4151" y="4397"/>
                    <a:pt x="4154" y="4317"/>
                    <a:pt x="4154" y="4235"/>
                  </a:cubicBezTo>
                  <a:cubicBezTo>
                    <a:pt x="4154" y="4193"/>
                    <a:pt x="4153" y="4151"/>
                    <a:pt x="4152" y="4111"/>
                  </a:cubicBezTo>
                  <a:close/>
                  <a:moveTo>
                    <a:pt x="8512" y="7211"/>
                  </a:moveTo>
                  <a:cubicBezTo>
                    <a:pt x="8512" y="7212"/>
                    <a:pt x="8512" y="7213"/>
                    <a:pt x="8512" y="7213"/>
                  </a:cubicBezTo>
                  <a:cubicBezTo>
                    <a:pt x="8510" y="7263"/>
                    <a:pt x="8506" y="7322"/>
                    <a:pt x="8506" y="7384"/>
                  </a:cubicBezTo>
                  <a:cubicBezTo>
                    <a:pt x="8506" y="7416"/>
                    <a:pt x="8507" y="7450"/>
                    <a:pt x="8510" y="7483"/>
                  </a:cubicBezTo>
                  <a:cubicBezTo>
                    <a:pt x="8500" y="7477"/>
                    <a:pt x="8486" y="7468"/>
                    <a:pt x="8470" y="7457"/>
                  </a:cubicBezTo>
                  <a:cubicBezTo>
                    <a:pt x="8435" y="7432"/>
                    <a:pt x="8390" y="7399"/>
                    <a:pt x="8344" y="7367"/>
                  </a:cubicBezTo>
                  <a:cubicBezTo>
                    <a:pt x="8265" y="7309"/>
                    <a:pt x="8187" y="7252"/>
                    <a:pt x="8169" y="7239"/>
                  </a:cubicBezTo>
                  <a:cubicBezTo>
                    <a:pt x="8373" y="7057"/>
                    <a:pt x="8457" y="6835"/>
                    <a:pt x="8470" y="6799"/>
                  </a:cubicBezTo>
                  <a:cubicBezTo>
                    <a:pt x="8480" y="6800"/>
                    <a:pt x="8503" y="6801"/>
                    <a:pt x="8523" y="6802"/>
                  </a:cubicBezTo>
                  <a:cubicBezTo>
                    <a:pt x="8520" y="6977"/>
                    <a:pt x="8516" y="7129"/>
                    <a:pt x="8513" y="7197"/>
                  </a:cubicBezTo>
                  <a:cubicBezTo>
                    <a:pt x="8286" y="7118"/>
                    <a:pt x="8286" y="7118"/>
                    <a:pt x="8286" y="7118"/>
                  </a:cubicBezTo>
                  <a:cubicBezTo>
                    <a:pt x="8281" y="7131"/>
                    <a:pt x="8281" y="7131"/>
                    <a:pt x="8281" y="7131"/>
                  </a:cubicBezTo>
                  <a:lnTo>
                    <a:pt x="8512" y="7211"/>
                  </a:lnTo>
                  <a:close/>
                  <a:moveTo>
                    <a:pt x="8074" y="7661"/>
                  </a:moveTo>
                  <a:cubicBezTo>
                    <a:pt x="7992" y="7691"/>
                    <a:pt x="7916" y="7720"/>
                    <a:pt x="7900" y="7726"/>
                  </a:cubicBezTo>
                  <a:cubicBezTo>
                    <a:pt x="7685" y="7498"/>
                    <a:pt x="7685" y="7498"/>
                    <a:pt x="7685" y="7498"/>
                  </a:cubicBezTo>
                  <a:cubicBezTo>
                    <a:pt x="7675" y="7508"/>
                    <a:pt x="7675" y="7508"/>
                    <a:pt x="7675" y="7508"/>
                  </a:cubicBezTo>
                  <a:cubicBezTo>
                    <a:pt x="8117" y="7977"/>
                    <a:pt x="8117" y="7977"/>
                    <a:pt x="8117" y="7977"/>
                  </a:cubicBezTo>
                  <a:cubicBezTo>
                    <a:pt x="8101" y="7979"/>
                    <a:pt x="8087" y="7980"/>
                    <a:pt x="8077" y="7981"/>
                  </a:cubicBezTo>
                  <a:cubicBezTo>
                    <a:pt x="8047" y="7961"/>
                    <a:pt x="7990" y="7926"/>
                    <a:pt x="7921" y="7887"/>
                  </a:cubicBezTo>
                  <a:cubicBezTo>
                    <a:pt x="7832" y="7837"/>
                    <a:pt x="7723" y="7782"/>
                    <a:pt x="7616" y="7748"/>
                  </a:cubicBezTo>
                  <a:cubicBezTo>
                    <a:pt x="7519" y="7551"/>
                    <a:pt x="7519" y="7551"/>
                    <a:pt x="7519" y="7551"/>
                  </a:cubicBezTo>
                  <a:cubicBezTo>
                    <a:pt x="7646" y="7513"/>
                    <a:pt x="7792" y="7462"/>
                    <a:pt x="7939" y="7392"/>
                  </a:cubicBezTo>
                  <a:cubicBezTo>
                    <a:pt x="7964" y="7381"/>
                    <a:pt x="7987" y="7368"/>
                    <a:pt x="8010" y="7354"/>
                  </a:cubicBezTo>
                  <a:cubicBezTo>
                    <a:pt x="8005" y="7361"/>
                    <a:pt x="8005" y="7361"/>
                    <a:pt x="8005" y="7361"/>
                  </a:cubicBezTo>
                  <a:cubicBezTo>
                    <a:pt x="8272" y="7588"/>
                    <a:pt x="8272" y="7588"/>
                    <a:pt x="8272" y="7588"/>
                  </a:cubicBezTo>
                  <a:cubicBezTo>
                    <a:pt x="8272" y="7589"/>
                    <a:pt x="8271" y="7589"/>
                    <a:pt x="8271" y="7589"/>
                  </a:cubicBezTo>
                  <a:cubicBezTo>
                    <a:pt x="8259" y="7593"/>
                    <a:pt x="8244" y="7599"/>
                    <a:pt x="8225" y="7605"/>
                  </a:cubicBezTo>
                  <a:cubicBezTo>
                    <a:pt x="8188" y="7619"/>
                    <a:pt x="8139" y="7637"/>
                    <a:pt x="8090" y="7655"/>
                  </a:cubicBezTo>
                  <a:cubicBezTo>
                    <a:pt x="8089" y="7655"/>
                    <a:pt x="8089" y="7656"/>
                    <a:pt x="8088" y="7656"/>
                  </a:cubicBezTo>
                  <a:cubicBezTo>
                    <a:pt x="7971" y="7538"/>
                    <a:pt x="7864" y="7428"/>
                    <a:pt x="7864" y="7427"/>
                  </a:cubicBezTo>
                  <a:cubicBezTo>
                    <a:pt x="7854" y="7437"/>
                    <a:pt x="7854" y="7437"/>
                    <a:pt x="7854" y="7437"/>
                  </a:cubicBezTo>
                  <a:cubicBezTo>
                    <a:pt x="7854" y="7437"/>
                    <a:pt x="7959" y="7545"/>
                    <a:pt x="8074" y="7661"/>
                  </a:cubicBezTo>
                  <a:close/>
                  <a:moveTo>
                    <a:pt x="7455" y="14081"/>
                  </a:moveTo>
                  <a:cubicBezTo>
                    <a:pt x="7393" y="14176"/>
                    <a:pt x="7393" y="14176"/>
                    <a:pt x="7393" y="14176"/>
                  </a:cubicBezTo>
                  <a:cubicBezTo>
                    <a:pt x="7375" y="14177"/>
                    <a:pt x="7291" y="14180"/>
                    <a:pt x="7179" y="14184"/>
                  </a:cubicBezTo>
                  <a:cubicBezTo>
                    <a:pt x="7096" y="13821"/>
                    <a:pt x="7096" y="13821"/>
                    <a:pt x="7096" y="13821"/>
                  </a:cubicBezTo>
                  <a:cubicBezTo>
                    <a:pt x="7116" y="13819"/>
                    <a:pt x="7137" y="13818"/>
                    <a:pt x="7157" y="13817"/>
                  </a:cubicBezTo>
                  <a:cubicBezTo>
                    <a:pt x="7260" y="13809"/>
                    <a:pt x="7343" y="13806"/>
                    <a:pt x="7343" y="13806"/>
                  </a:cubicBezTo>
                  <a:cubicBezTo>
                    <a:pt x="7447" y="13802"/>
                    <a:pt x="7447" y="13802"/>
                    <a:pt x="7447" y="13802"/>
                  </a:cubicBezTo>
                  <a:cubicBezTo>
                    <a:pt x="7447" y="13806"/>
                    <a:pt x="7447" y="13809"/>
                    <a:pt x="7447" y="13814"/>
                  </a:cubicBezTo>
                  <a:cubicBezTo>
                    <a:pt x="7447" y="13885"/>
                    <a:pt x="7454" y="14059"/>
                    <a:pt x="7455" y="14081"/>
                  </a:cubicBezTo>
                  <a:close/>
                  <a:moveTo>
                    <a:pt x="7018" y="15224"/>
                  </a:moveTo>
                  <a:cubicBezTo>
                    <a:pt x="6790" y="15171"/>
                    <a:pt x="6790" y="15171"/>
                    <a:pt x="6790" y="15171"/>
                  </a:cubicBezTo>
                  <a:cubicBezTo>
                    <a:pt x="6790" y="15166"/>
                    <a:pt x="6790" y="15166"/>
                    <a:pt x="6790" y="15166"/>
                  </a:cubicBezTo>
                  <a:cubicBezTo>
                    <a:pt x="6795" y="15163"/>
                    <a:pt x="6795" y="15163"/>
                    <a:pt x="6795" y="15163"/>
                  </a:cubicBezTo>
                  <a:cubicBezTo>
                    <a:pt x="6794" y="15164"/>
                    <a:pt x="6794" y="15164"/>
                    <a:pt x="6794" y="15164"/>
                  </a:cubicBezTo>
                  <a:cubicBezTo>
                    <a:pt x="6796" y="15164"/>
                    <a:pt x="6796" y="15164"/>
                    <a:pt x="6796" y="15164"/>
                  </a:cubicBezTo>
                  <a:cubicBezTo>
                    <a:pt x="6796" y="15164"/>
                    <a:pt x="6796" y="15164"/>
                    <a:pt x="6796" y="15164"/>
                  </a:cubicBezTo>
                  <a:cubicBezTo>
                    <a:pt x="6796" y="15163"/>
                    <a:pt x="6795" y="15162"/>
                    <a:pt x="6795" y="15160"/>
                  </a:cubicBezTo>
                  <a:cubicBezTo>
                    <a:pt x="6795" y="15157"/>
                    <a:pt x="6794" y="15151"/>
                    <a:pt x="6794" y="15144"/>
                  </a:cubicBezTo>
                  <a:cubicBezTo>
                    <a:pt x="6793" y="15131"/>
                    <a:pt x="6792" y="15111"/>
                    <a:pt x="6792" y="15086"/>
                  </a:cubicBezTo>
                  <a:cubicBezTo>
                    <a:pt x="6791" y="15038"/>
                    <a:pt x="6790" y="14974"/>
                    <a:pt x="6789" y="14910"/>
                  </a:cubicBezTo>
                  <a:cubicBezTo>
                    <a:pt x="6789" y="14813"/>
                    <a:pt x="6789" y="14717"/>
                    <a:pt x="6788" y="14675"/>
                  </a:cubicBezTo>
                  <a:cubicBezTo>
                    <a:pt x="6859" y="14674"/>
                    <a:pt x="6928" y="14674"/>
                    <a:pt x="6993" y="14674"/>
                  </a:cubicBezTo>
                  <a:cubicBezTo>
                    <a:pt x="6995" y="14702"/>
                    <a:pt x="6995" y="14702"/>
                    <a:pt x="6995" y="14702"/>
                  </a:cubicBezTo>
                  <a:cubicBezTo>
                    <a:pt x="6948" y="14703"/>
                    <a:pt x="6948" y="14703"/>
                    <a:pt x="6948" y="14703"/>
                  </a:cubicBezTo>
                  <a:cubicBezTo>
                    <a:pt x="6949" y="14746"/>
                    <a:pt x="6949" y="14746"/>
                    <a:pt x="6949" y="14746"/>
                  </a:cubicBezTo>
                  <a:cubicBezTo>
                    <a:pt x="6903" y="14748"/>
                    <a:pt x="6903" y="14748"/>
                    <a:pt x="6903" y="14748"/>
                  </a:cubicBezTo>
                  <a:cubicBezTo>
                    <a:pt x="6905" y="14827"/>
                    <a:pt x="6905" y="14827"/>
                    <a:pt x="6905" y="14827"/>
                  </a:cubicBezTo>
                  <a:cubicBezTo>
                    <a:pt x="6905" y="14834"/>
                    <a:pt x="6905" y="14834"/>
                    <a:pt x="6905" y="14834"/>
                  </a:cubicBezTo>
                  <a:cubicBezTo>
                    <a:pt x="7000" y="14831"/>
                    <a:pt x="7000" y="14831"/>
                    <a:pt x="7000" y="14831"/>
                  </a:cubicBezTo>
                  <a:lnTo>
                    <a:pt x="7018" y="15224"/>
                  </a:lnTo>
                  <a:close/>
                  <a:moveTo>
                    <a:pt x="7009" y="14715"/>
                  </a:moveTo>
                  <a:cubicBezTo>
                    <a:pt x="7052" y="14714"/>
                    <a:pt x="7052" y="14714"/>
                    <a:pt x="7052" y="14714"/>
                  </a:cubicBezTo>
                  <a:cubicBezTo>
                    <a:pt x="7053" y="14757"/>
                    <a:pt x="7053" y="14757"/>
                    <a:pt x="7053" y="14757"/>
                  </a:cubicBezTo>
                  <a:cubicBezTo>
                    <a:pt x="7100" y="14756"/>
                    <a:pt x="7100" y="14756"/>
                    <a:pt x="7100" y="14756"/>
                  </a:cubicBezTo>
                  <a:cubicBezTo>
                    <a:pt x="7102" y="14816"/>
                    <a:pt x="7102" y="14816"/>
                    <a:pt x="7102" y="14816"/>
                  </a:cubicBezTo>
                  <a:cubicBezTo>
                    <a:pt x="7014" y="14818"/>
                    <a:pt x="7014" y="14818"/>
                    <a:pt x="7014" y="14818"/>
                  </a:cubicBezTo>
                  <a:lnTo>
                    <a:pt x="7009" y="14715"/>
                  </a:lnTo>
                  <a:close/>
                  <a:moveTo>
                    <a:pt x="6911" y="14596"/>
                  </a:moveTo>
                  <a:cubicBezTo>
                    <a:pt x="6912" y="14601"/>
                    <a:pt x="6912" y="14605"/>
                    <a:pt x="6912" y="14609"/>
                  </a:cubicBezTo>
                  <a:cubicBezTo>
                    <a:pt x="6827" y="14609"/>
                    <a:pt x="6738" y="14609"/>
                    <a:pt x="6651" y="14609"/>
                  </a:cubicBezTo>
                  <a:cubicBezTo>
                    <a:pt x="6653" y="14217"/>
                    <a:pt x="6653" y="14217"/>
                    <a:pt x="6653" y="14217"/>
                  </a:cubicBezTo>
                  <a:cubicBezTo>
                    <a:pt x="6729" y="14214"/>
                    <a:pt x="6815" y="14211"/>
                    <a:pt x="6902" y="14208"/>
                  </a:cubicBezTo>
                  <a:cubicBezTo>
                    <a:pt x="6906" y="14208"/>
                    <a:pt x="6911" y="14207"/>
                    <a:pt x="6916" y="14207"/>
                  </a:cubicBezTo>
                  <a:cubicBezTo>
                    <a:pt x="6915" y="14246"/>
                    <a:pt x="6911" y="14428"/>
                    <a:pt x="6911" y="14538"/>
                  </a:cubicBezTo>
                  <a:cubicBezTo>
                    <a:pt x="6911" y="14561"/>
                    <a:pt x="6911" y="14581"/>
                    <a:pt x="6911" y="14596"/>
                  </a:cubicBezTo>
                  <a:close/>
                  <a:moveTo>
                    <a:pt x="6962" y="14716"/>
                  </a:moveTo>
                  <a:cubicBezTo>
                    <a:pt x="6995" y="14715"/>
                    <a:pt x="6995" y="14715"/>
                    <a:pt x="6995" y="14715"/>
                  </a:cubicBezTo>
                  <a:cubicBezTo>
                    <a:pt x="7000" y="14818"/>
                    <a:pt x="7000" y="14818"/>
                    <a:pt x="7000" y="14818"/>
                  </a:cubicBezTo>
                  <a:cubicBezTo>
                    <a:pt x="6917" y="14820"/>
                    <a:pt x="6917" y="14820"/>
                    <a:pt x="6917" y="14820"/>
                  </a:cubicBezTo>
                  <a:cubicBezTo>
                    <a:pt x="6916" y="14760"/>
                    <a:pt x="6916" y="14760"/>
                    <a:pt x="6916" y="14760"/>
                  </a:cubicBezTo>
                  <a:cubicBezTo>
                    <a:pt x="6963" y="14759"/>
                    <a:pt x="6963" y="14759"/>
                    <a:pt x="6963" y="14759"/>
                  </a:cubicBezTo>
                  <a:lnTo>
                    <a:pt x="6962" y="14716"/>
                  </a:lnTo>
                  <a:close/>
                  <a:moveTo>
                    <a:pt x="6926" y="14609"/>
                  </a:moveTo>
                  <a:cubicBezTo>
                    <a:pt x="6926" y="14606"/>
                    <a:pt x="6926" y="14602"/>
                    <a:pt x="6925" y="14598"/>
                  </a:cubicBezTo>
                  <a:cubicBezTo>
                    <a:pt x="6925" y="14583"/>
                    <a:pt x="6925" y="14563"/>
                    <a:pt x="6925" y="14538"/>
                  </a:cubicBezTo>
                  <a:cubicBezTo>
                    <a:pt x="6925" y="14428"/>
                    <a:pt x="6929" y="14244"/>
                    <a:pt x="6930" y="14207"/>
                  </a:cubicBezTo>
                  <a:cubicBezTo>
                    <a:pt x="6982" y="14205"/>
                    <a:pt x="7034" y="14203"/>
                    <a:pt x="7084" y="14201"/>
                  </a:cubicBezTo>
                  <a:cubicBezTo>
                    <a:pt x="7084" y="14202"/>
                    <a:pt x="7084" y="14202"/>
                    <a:pt x="7084" y="14202"/>
                  </a:cubicBezTo>
                  <a:cubicBezTo>
                    <a:pt x="7085" y="14205"/>
                    <a:pt x="7086" y="14210"/>
                    <a:pt x="7088" y="14216"/>
                  </a:cubicBezTo>
                  <a:cubicBezTo>
                    <a:pt x="7091" y="14227"/>
                    <a:pt x="7095" y="14244"/>
                    <a:pt x="7100" y="14264"/>
                  </a:cubicBezTo>
                  <a:cubicBezTo>
                    <a:pt x="7109" y="14305"/>
                    <a:pt x="7122" y="14358"/>
                    <a:pt x="7134" y="14412"/>
                  </a:cubicBezTo>
                  <a:cubicBezTo>
                    <a:pt x="7152" y="14492"/>
                    <a:pt x="7170" y="14571"/>
                    <a:pt x="7178" y="14607"/>
                  </a:cubicBezTo>
                  <a:cubicBezTo>
                    <a:pt x="7106" y="14608"/>
                    <a:pt x="7019" y="14608"/>
                    <a:pt x="6926" y="14609"/>
                  </a:cubicBezTo>
                  <a:close/>
                  <a:moveTo>
                    <a:pt x="6559" y="14206"/>
                  </a:moveTo>
                  <a:cubicBezTo>
                    <a:pt x="6550" y="14207"/>
                    <a:pt x="6541" y="14207"/>
                    <a:pt x="6532" y="14207"/>
                  </a:cubicBezTo>
                  <a:cubicBezTo>
                    <a:pt x="6532" y="13902"/>
                    <a:pt x="6532" y="13902"/>
                    <a:pt x="6532" y="13902"/>
                  </a:cubicBezTo>
                  <a:cubicBezTo>
                    <a:pt x="6631" y="13890"/>
                    <a:pt x="6730" y="13875"/>
                    <a:pt x="6827" y="13856"/>
                  </a:cubicBezTo>
                  <a:cubicBezTo>
                    <a:pt x="6791" y="14193"/>
                    <a:pt x="6791" y="14193"/>
                    <a:pt x="6791" y="14193"/>
                  </a:cubicBezTo>
                  <a:cubicBezTo>
                    <a:pt x="6805" y="14194"/>
                    <a:pt x="6805" y="14194"/>
                    <a:pt x="6805" y="14194"/>
                  </a:cubicBezTo>
                  <a:cubicBezTo>
                    <a:pt x="6841" y="13853"/>
                    <a:pt x="6841" y="13853"/>
                    <a:pt x="6841" y="13853"/>
                  </a:cubicBezTo>
                  <a:cubicBezTo>
                    <a:pt x="6846" y="13852"/>
                    <a:pt x="6850" y="13852"/>
                    <a:pt x="6854" y="13851"/>
                  </a:cubicBezTo>
                  <a:cubicBezTo>
                    <a:pt x="6913" y="13839"/>
                    <a:pt x="6999" y="13829"/>
                    <a:pt x="7082" y="13822"/>
                  </a:cubicBezTo>
                  <a:cubicBezTo>
                    <a:pt x="7165" y="14184"/>
                    <a:pt x="7165" y="14184"/>
                    <a:pt x="7165" y="14184"/>
                  </a:cubicBezTo>
                  <a:cubicBezTo>
                    <a:pt x="6979" y="14191"/>
                    <a:pt x="6723" y="14200"/>
                    <a:pt x="6559" y="14206"/>
                  </a:cubicBezTo>
                  <a:close/>
                  <a:moveTo>
                    <a:pt x="6322" y="14610"/>
                  </a:moveTo>
                  <a:cubicBezTo>
                    <a:pt x="6406" y="14227"/>
                    <a:pt x="6406" y="14227"/>
                    <a:pt x="6406" y="14227"/>
                  </a:cubicBezTo>
                  <a:cubicBezTo>
                    <a:pt x="6408" y="14226"/>
                    <a:pt x="6410" y="14226"/>
                    <a:pt x="6413" y="14226"/>
                  </a:cubicBezTo>
                  <a:cubicBezTo>
                    <a:pt x="6421" y="14226"/>
                    <a:pt x="6432" y="14225"/>
                    <a:pt x="6446" y="14225"/>
                  </a:cubicBezTo>
                  <a:cubicBezTo>
                    <a:pt x="6473" y="14224"/>
                    <a:pt x="6513" y="14222"/>
                    <a:pt x="6560" y="14220"/>
                  </a:cubicBezTo>
                  <a:cubicBezTo>
                    <a:pt x="6584" y="14219"/>
                    <a:pt x="6611" y="14218"/>
                    <a:pt x="6639" y="14217"/>
                  </a:cubicBezTo>
                  <a:cubicBezTo>
                    <a:pt x="6637" y="14609"/>
                    <a:pt x="6637" y="14609"/>
                    <a:pt x="6637" y="14609"/>
                  </a:cubicBezTo>
                  <a:cubicBezTo>
                    <a:pt x="6626" y="14609"/>
                    <a:pt x="6616" y="14609"/>
                    <a:pt x="6605" y="14609"/>
                  </a:cubicBezTo>
                  <a:cubicBezTo>
                    <a:pt x="6502" y="14610"/>
                    <a:pt x="6404" y="14610"/>
                    <a:pt x="6322" y="14610"/>
                  </a:cubicBezTo>
                  <a:close/>
                  <a:moveTo>
                    <a:pt x="6591" y="14873"/>
                  </a:moveTo>
                  <a:cubicBezTo>
                    <a:pt x="6360" y="14860"/>
                    <a:pt x="6360" y="14860"/>
                    <a:pt x="6360" y="14860"/>
                  </a:cubicBezTo>
                  <a:cubicBezTo>
                    <a:pt x="6349" y="14675"/>
                    <a:pt x="6349" y="14675"/>
                    <a:pt x="6349" y="14675"/>
                  </a:cubicBezTo>
                  <a:cubicBezTo>
                    <a:pt x="6419" y="14675"/>
                    <a:pt x="6499" y="14675"/>
                    <a:pt x="6583" y="14675"/>
                  </a:cubicBezTo>
                  <a:lnTo>
                    <a:pt x="6591" y="14873"/>
                  </a:lnTo>
                  <a:close/>
                  <a:moveTo>
                    <a:pt x="3808" y="15156"/>
                  </a:moveTo>
                  <a:cubicBezTo>
                    <a:pt x="3995" y="15052"/>
                    <a:pt x="3995" y="15052"/>
                    <a:pt x="3995" y="15052"/>
                  </a:cubicBezTo>
                  <a:cubicBezTo>
                    <a:pt x="3995" y="15052"/>
                    <a:pt x="3995" y="15052"/>
                    <a:pt x="3995" y="15052"/>
                  </a:cubicBezTo>
                  <a:cubicBezTo>
                    <a:pt x="4005" y="15069"/>
                    <a:pt x="4042" y="15130"/>
                    <a:pt x="4088" y="15207"/>
                  </a:cubicBezTo>
                  <a:cubicBezTo>
                    <a:pt x="4142" y="15299"/>
                    <a:pt x="4208" y="15412"/>
                    <a:pt x="4256" y="15501"/>
                  </a:cubicBezTo>
                  <a:cubicBezTo>
                    <a:pt x="4259" y="15506"/>
                    <a:pt x="4262" y="15512"/>
                    <a:pt x="4265" y="15517"/>
                  </a:cubicBezTo>
                  <a:cubicBezTo>
                    <a:pt x="4264" y="15517"/>
                    <a:pt x="4264" y="15517"/>
                    <a:pt x="4264" y="15517"/>
                  </a:cubicBezTo>
                  <a:cubicBezTo>
                    <a:pt x="4098" y="15619"/>
                    <a:pt x="4098" y="15619"/>
                    <a:pt x="4098" y="15619"/>
                  </a:cubicBezTo>
                  <a:cubicBezTo>
                    <a:pt x="4102" y="15616"/>
                    <a:pt x="4102" y="15616"/>
                    <a:pt x="4102" y="15616"/>
                  </a:cubicBezTo>
                  <a:lnTo>
                    <a:pt x="3808" y="15156"/>
                  </a:lnTo>
                  <a:close/>
                  <a:moveTo>
                    <a:pt x="3559" y="15444"/>
                  </a:moveTo>
                  <a:cubicBezTo>
                    <a:pt x="3670" y="15380"/>
                    <a:pt x="3670" y="15380"/>
                    <a:pt x="3670" y="15380"/>
                  </a:cubicBezTo>
                  <a:cubicBezTo>
                    <a:pt x="3618" y="15290"/>
                    <a:pt x="3618" y="15290"/>
                    <a:pt x="3618" y="15290"/>
                  </a:cubicBezTo>
                  <a:cubicBezTo>
                    <a:pt x="3493" y="15362"/>
                    <a:pt x="3493" y="15362"/>
                    <a:pt x="3493" y="15362"/>
                  </a:cubicBezTo>
                  <a:cubicBezTo>
                    <a:pt x="3479" y="15339"/>
                    <a:pt x="3479" y="15339"/>
                    <a:pt x="3479" y="15339"/>
                  </a:cubicBezTo>
                  <a:cubicBezTo>
                    <a:pt x="3796" y="15163"/>
                    <a:pt x="3796" y="15163"/>
                    <a:pt x="3796" y="15163"/>
                  </a:cubicBezTo>
                  <a:cubicBezTo>
                    <a:pt x="4090" y="15624"/>
                    <a:pt x="4090" y="15624"/>
                    <a:pt x="4090" y="15624"/>
                  </a:cubicBezTo>
                  <a:cubicBezTo>
                    <a:pt x="3861" y="15764"/>
                    <a:pt x="3861" y="15764"/>
                    <a:pt x="3861" y="15764"/>
                  </a:cubicBezTo>
                  <a:cubicBezTo>
                    <a:pt x="3715" y="15733"/>
                    <a:pt x="3715" y="15733"/>
                    <a:pt x="3715" y="15733"/>
                  </a:cubicBezTo>
                  <a:cubicBezTo>
                    <a:pt x="3585" y="15515"/>
                    <a:pt x="3585" y="15515"/>
                    <a:pt x="3585" y="15515"/>
                  </a:cubicBezTo>
                  <a:cubicBezTo>
                    <a:pt x="3597" y="15509"/>
                    <a:pt x="3597" y="15509"/>
                    <a:pt x="3597" y="15509"/>
                  </a:cubicBezTo>
                  <a:lnTo>
                    <a:pt x="3559" y="15444"/>
                  </a:lnTo>
                  <a:close/>
                  <a:moveTo>
                    <a:pt x="3566" y="15511"/>
                  </a:moveTo>
                  <a:cubicBezTo>
                    <a:pt x="3473" y="15565"/>
                    <a:pt x="3473" y="15565"/>
                    <a:pt x="3473" y="15565"/>
                  </a:cubicBezTo>
                  <a:cubicBezTo>
                    <a:pt x="3434" y="15497"/>
                    <a:pt x="3434" y="15497"/>
                    <a:pt x="3434" y="15497"/>
                  </a:cubicBezTo>
                  <a:cubicBezTo>
                    <a:pt x="3526" y="15444"/>
                    <a:pt x="3526" y="15444"/>
                    <a:pt x="3526" y="15444"/>
                  </a:cubicBezTo>
                  <a:lnTo>
                    <a:pt x="3566" y="15511"/>
                  </a:lnTo>
                  <a:close/>
                  <a:moveTo>
                    <a:pt x="3507" y="15369"/>
                  </a:moveTo>
                  <a:cubicBezTo>
                    <a:pt x="3613" y="15308"/>
                    <a:pt x="3613" y="15308"/>
                    <a:pt x="3613" y="15308"/>
                  </a:cubicBezTo>
                  <a:cubicBezTo>
                    <a:pt x="3652" y="15376"/>
                    <a:pt x="3652" y="15376"/>
                    <a:pt x="3652" y="15376"/>
                  </a:cubicBezTo>
                  <a:cubicBezTo>
                    <a:pt x="3553" y="15433"/>
                    <a:pt x="3553" y="15433"/>
                    <a:pt x="3553" y="15433"/>
                  </a:cubicBezTo>
                  <a:cubicBezTo>
                    <a:pt x="3544" y="15418"/>
                    <a:pt x="3544" y="15418"/>
                    <a:pt x="3544" y="15418"/>
                  </a:cubicBezTo>
                  <a:cubicBezTo>
                    <a:pt x="3538" y="15422"/>
                    <a:pt x="3538" y="15422"/>
                    <a:pt x="3538" y="15422"/>
                  </a:cubicBezTo>
                  <a:lnTo>
                    <a:pt x="3507" y="15369"/>
                  </a:lnTo>
                  <a:close/>
                  <a:moveTo>
                    <a:pt x="3547" y="15452"/>
                  </a:moveTo>
                  <a:cubicBezTo>
                    <a:pt x="3548" y="15451"/>
                    <a:pt x="3548" y="15451"/>
                    <a:pt x="3548" y="15451"/>
                  </a:cubicBezTo>
                  <a:cubicBezTo>
                    <a:pt x="3579" y="15504"/>
                    <a:pt x="3579" y="15504"/>
                    <a:pt x="3579" y="15504"/>
                  </a:cubicBezTo>
                  <a:cubicBezTo>
                    <a:pt x="3578" y="15504"/>
                    <a:pt x="3578" y="15504"/>
                    <a:pt x="3578" y="15504"/>
                  </a:cubicBezTo>
                  <a:lnTo>
                    <a:pt x="3547" y="15452"/>
                  </a:lnTo>
                  <a:close/>
                  <a:moveTo>
                    <a:pt x="3226" y="14681"/>
                  </a:moveTo>
                  <a:cubicBezTo>
                    <a:pt x="3194" y="14679"/>
                    <a:pt x="3158" y="14676"/>
                    <a:pt x="3122" y="14673"/>
                  </a:cubicBezTo>
                  <a:cubicBezTo>
                    <a:pt x="3132" y="14606"/>
                    <a:pt x="3210" y="14036"/>
                    <a:pt x="3219" y="13942"/>
                  </a:cubicBezTo>
                  <a:cubicBezTo>
                    <a:pt x="3324" y="13980"/>
                    <a:pt x="3324" y="13980"/>
                    <a:pt x="3324" y="13980"/>
                  </a:cubicBezTo>
                  <a:cubicBezTo>
                    <a:pt x="3323" y="13988"/>
                    <a:pt x="3320" y="14005"/>
                    <a:pt x="3317" y="14029"/>
                  </a:cubicBezTo>
                  <a:cubicBezTo>
                    <a:pt x="3268" y="14023"/>
                    <a:pt x="3268" y="14023"/>
                    <a:pt x="3268" y="14023"/>
                  </a:cubicBezTo>
                  <a:cubicBezTo>
                    <a:pt x="3262" y="14065"/>
                    <a:pt x="3262" y="14065"/>
                    <a:pt x="3262" y="14065"/>
                  </a:cubicBezTo>
                  <a:cubicBezTo>
                    <a:pt x="3216" y="14059"/>
                    <a:pt x="3216" y="14059"/>
                    <a:pt x="3216" y="14059"/>
                  </a:cubicBezTo>
                  <a:cubicBezTo>
                    <a:pt x="3205" y="14138"/>
                    <a:pt x="3205" y="14138"/>
                    <a:pt x="3205" y="14138"/>
                  </a:cubicBezTo>
                  <a:cubicBezTo>
                    <a:pt x="3204" y="14144"/>
                    <a:pt x="3204" y="14144"/>
                    <a:pt x="3204" y="14144"/>
                  </a:cubicBezTo>
                  <a:cubicBezTo>
                    <a:pt x="3298" y="14157"/>
                    <a:pt x="3298" y="14157"/>
                    <a:pt x="3298" y="14157"/>
                  </a:cubicBezTo>
                  <a:cubicBezTo>
                    <a:pt x="3269" y="14355"/>
                    <a:pt x="3228" y="14646"/>
                    <a:pt x="3226" y="14681"/>
                  </a:cubicBezTo>
                  <a:close/>
                  <a:moveTo>
                    <a:pt x="3237" y="14679"/>
                  </a:moveTo>
                  <a:cubicBezTo>
                    <a:pt x="3235" y="14682"/>
                    <a:pt x="3235" y="14682"/>
                    <a:pt x="3235" y="14682"/>
                  </a:cubicBezTo>
                  <a:cubicBezTo>
                    <a:pt x="3235" y="14682"/>
                    <a:pt x="3235" y="14682"/>
                    <a:pt x="3235" y="14682"/>
                  </a:cubicBezTo>
                  <a:lnTo>
                    <a:pt x="3237" y="14679"/>
                  </a:lnTo>
                  <a:close/>
                  <a:moveTo>
                    <a:pt x="2927" y="14133"/>
                  </a:moveTo>
                  <a:cubicBezTo>
                    <a:pt x="2865" y="14653"/>
                    <a:pt x="2865" y="14653"/>
                    <a:pt x="2865" y="14653"/>
                  </a:cubicBezTo>
                  <a:cubicBezTo>
                    <a:pt x="2859" y="14652"/>
                    <a:pt x="2855" y="14652"/>
                    <a:pt x="2854" y="14652"/>
                  </a:cubicBezTo>
                  <a:cubicBezTo>
                    <a:pt x="2704" y="14599"/>
                    <a:pt x="2704" y="14599"/>
                    <a:pt x="2704" y="14599"/>
                  </a:cubicBezTo>
                  <a:cubicBezTo>
                    <a:pt x="2422" y="14408"/>
                    <a:pt x="2422" y="14408"/>
                    <a:pt x="2422" y="14408"/>
                  </a:cubicBezTo>
                  <a:cubicBezTo>
                    <a:pt x="2488" y="14343"/>
                    <a:pt x="2488" y="14343"/>
                    <a:pt x="2488" y="14343"/>
                  </a:cubicBezTo>
                  <a:cubicBezTo>
                    <a:pt x="2648" y="14441"/>
                    <a:pt x="2648" y="14441"/>
                    <a:pt x="2648" y="14441"/>
                  </a:cubicBezTo>
                  <a:cubicBezTo>
                    <a:pt x="2654" y="14445"/>
                    <a:pt x="2654" y="14445"/>
                    <a:pt x="2654" y="14445"/>
                  </a:cubicBezTo>
                  <a:cubicBezTo>
                    <a:pt x="2736" y="14309"/>
                    <a:pt x="2736" y="14309"/>
                    <a:pt x="2736" y="14309"/>
                  </a:cubicBezTo>
                  <a:cubicBezTo>
                    <a:pt x="2604" y="14228"/>
                    <a:pt x="2604" y="14228"/>
                    <a:pt x="2604" y="14228"/>
                  </a:cubicBezTo>
                  <a:cubicBezTo>
                    <a:pt x="2982" y="13856"/>
                    <a:pt x="2982" y="13856"/>
                    <a:pt x="2982" y="13856"/>
                  </a:cubicBezTo>
                  <a:cubicBezTo>
                    <a:pt x="3093" y="13896"/>
                    <a:pt x="3093" y="13896"/>
                    <a:pt x="3093" y="13896"/>
                  </a:cubicBezTo>
                  <a:cubicBezTo>
                    <a:pt x="3087" y="13941"/>
                    <a:pt x="3087" y="13941"/>
                    <a:pt x="3087" y="13941"/>
                  </a:cubicBezTo>
                  <a:cubicBezTo>
                    <a:pt x="3027" y="13933"/>
                    <a:pt x="3027" y="13933"/>
                    <a:pt x="3027" y="13933"/>
                  </a:cubicBezTo>
                  <a:cubicBezTo>
                    <a:pt x="3021" y="13976"/>
                    <a:pt x="3021" y="13976"/>
                    <a:pt x="3021" y="13976"/>
                  </a:cubicBezTo>
                  <a:cubicBezTo>
                    <a:pt x="2974" y="13969"/>
                    <a:pt x="2974" y="13969"/>
                    <a:pt x="2974" y="13969"/>
                  </a:cubicBezTo>
                  <a:cubicBezTo>
                    <a:pt x="2963" y="14048"/>
                    <a:pt x="2963" y="14048"/>
                    <a:pt x="2963" y="14048"/>
                  </a:cubicBezTo>
                  <a:cubicBezTo>
                    <a:pt x="2963" y="14055"/>
                    <a:pt x="2963" y="14055"/>
                    <a:pt x="2963" y="14055"/>
                  </a:cubicBezTo>
                  <a:cubicBezTo>
                    <a:pt x="3069" y="14070"/>
                    <a:pt x="3069" y="14070"/>
                    <a:pt x="3069" y="14070"/>
                  </a:cubicBezTo>
                  <a:cubicBezTo>
                    <a:pt x="2989" y="14663"/>
                    <a:pt x="2989" y="14663"/>
                    <a:pt x="2989" y="14663"/>
                  </a:cubicBezTo>
                  <a:cubicBezTo>
                    <a:pt x="2942" y="14659"/>
                    <a:pt x="2903" y="14656"/>
                    <a:pt x="2878" y="14654"/>
                  </a:cubicBezTo>
                  <a:cubicBezTo>
                    <a:pt x="2942" y="14126"/>
                    <a:pt x="2942" y="14126"/>
                    <a:pt x="2942" y="14126"/>
                  </a:cubicBezTo>
                  <a:cubicBezTo>
                    <a:pt x="2798" y="14038"/>
                    <a:pt x="2798" y="14038"/>
                    <a:pt x="2798" y="14038"/>
                  </a:cubicBezTo>
                  <a:cubicBezTo>
                    <a:pt x="2791" y="14050"/>
                    <a:pt x="2791" y="14050"/>
                    <a:pt x="2791" y="14050"/>
                  </a:cubicBezTo>
                  <a:lnTo>
                    <a:pt x="2927" y="14133"/>
                  </a:lnTo>
                  <a:close/>
                  <a:moveTo>
                    <a:pt x="1968" y="14132"/>
                  </a:moveTo>
                  <a:cubicBezTo>
                    <a:pt x="1747" y="13997"/>
                    <a:pt x="1747" y="13997"/>
                    <a:pt x="1747" y="13997"/>
                  </a:cubicBezTo>
                  <a:cubicBezTo>
                    <a:pt x="1747" y="13997"/>
                    <a:pt x="1747" y="13997"/>
                    <a:pt x="1747" y="13997"/>
                  </a:cubicBezTo>
                  <a:cubicBezTo>
                    <a:pt x="1751" y="13993"/>
                    <a:pt x="1755" y="13988"/>
                    <a:pt x="1762" y="13982"/>
                  </a:cubicBezTo>
                  <a:cubicBezTo>
                    <a:pt x="1774" y="13969"/>
                    <a:pt x="1791" y="13952"/>
                    <a:pt x="1813" y="13931"/>
                  </a:cubicBezTo>
                  <a:cubicBezTo>
                    <a:pt x="1813" y="13930"/>
                    <a:pt x="1814" y="13930"/>
                    <a:pt x="1814" y="13930"/>
                  </a:cubicBezTo>
                  <a:cubicBezTo>
                    <a:pt x="2033" y="14064"/>
                    <a:pt x="2033" y="14064"/>
                    <a:pt x="2033" y="14064"/>
                  </a:cubicBezTo>
                  <a:cubicBezTo>
                    <a:pt x="1966" y="14129"/>
                    <a:pt x="1966" y="14129"/>
                    <a:pt x="1966" y="14129"/>
                  </a:cubicBezTo>
                  <a:lnTo>
                    <a:pt x="1968" y="14132"/>
                  </a:lnTo>
                  <a:close/>
                  <a:moveTo>
                    <a:pt x="2167" y="10558"/>
                  </a:moveTo>
                  <a:cubicBezTo>
                    <a:pt x="2167" y="10562"/>
                    <a:pt x="2166" y="10565"/>
                    <a:pt x="2165" y="10568"/>
                  </a:cubicBezTo>
                  <a:cubicBezTo>
                    <a:pt x="2163" y="10574"/>
                    <a:pt x="2158" y="10576"/>
                    <a:pt x="2147" y="10576"/>
                  </a:cubicBezTo>
                  <a:cubicBezTo>
                    <a:pt x="2130" y="10576"/>
                    <a:pt x="2103" y="10569"/>
                    <a:pt x="2072" y="10569"/>
                  </a:cubicBezTo>
                  <a:cubicBezTo>
                    <a:pt x="2020" y="10570"/>
                    <a:pt x="2004" y="10612"/>
                    <a:pt x="1981" y="10652"/>
                  </a:cubicBezTo>
                  <a:cubicBezTo>
                    <a:pt x="1959" y="10691"/>
                    <a:pt x="1929" y="10692"/>
                    <a:pt x="1891" y="10706"/>
                  </a:cubicBezTo>
                  <a:cubicBezTo>
                    <a:pt x="1854" y="10720"/>
                    <a:pt x="1796" y="10743"/>
                    <a:pt x="1754" y="10770"/>
                  </a:cubicBezTo>
                  <a:cubicBezTo>
                    <a:pt x="1726" y="10788"/>
                    <a:pt x="1690" y="10796"/>
                    <a:pt x="1672" y="10796"/>
                  </a:cubicBezTo>
                  <a:cubicBezTo>
                    <a:pt x="1668" y="10796"/>
                    <a:pt x="1666" y="10796"/>
                    <a:pt x="1664" y="10795"/>
                  </a:cubicBezTo>
                  <a:cubicBezTo>
                    <a:pt x="1665" y="10795"/>
                    <a:pt x="1665" y="10794"/>
                    <a:pt x="1666" y="10793"/>
                  </a:cubicBezTo>
                  <a:cubicBezTo>
                    <a:pt x="1669" y="10791"/>
                    <a:pt x="1672" y="10788"/>
                    <a:pt x="1677" y="10784"/>
                  </a:cubicBezTo>
                  <a:cubicBezTo>
                    <a:pt x="1687" y="10777"/>
                    <a:pt x="1700" y="10769"/>
                    <a:pt x="1715" y="10760"/>
                  </a:cubicBezTo>
                  <a:cubicBezTo>
                    <a:pt x="1745" y="10742"/>
                    <a:pt x="1781" y="10723"/>
                    <a:pt x="1806" y="10713"/>
                  </a:cubicBezTo>
                  <a:cubicBezTo>
                    <a:pt x="1857" y="10692"/>
                    <a:pt x="1917" y="10650"/>
                    <a:pt x="1978" y="10582"/>
                  </a:cubicBezTo>
                  <a:cubicBezTo>
                    <a:pt x="2028" y="10525"/>
                    <a:pt x="2079" y="10501"/>
                    <a:pt x="2108" y="10501"/>
                  </a:cubicBezTo>
                  <a:cubicBezTo>
                    <a:pt x="2114" y="10501"/>
                    <a:pt x="2118" y="10502"/>
                    <a:pt x="2122" y="10504"/>
                  </a:cubicBezTo>
                  <a:cubicBezTo>
                    <a:pt x="2124" y="10500"/>
                    <a:pt x="2124" y="10500"/>
                    <a:pt x="2124" y="10500"/>
                  </a:cubicBezTo>
                  <a:cubicBezTo>
                    <a:pt x="2122" y="10504"/>
                    <a:pt x="2122" y="10504"/>
                    <a:pt x="2122" y="10504"/>
                  </a:cubicBezTo>
                  <a:cubicBezTo>
                    <a:pt x="2151" y="10516"/>
                    <a:pt x="2167" y="10540"/>
                    <a:pt x="2167" y="10558"/>
                  </a:cubicBezTo>
                  <a:close/>
                  <a:moveTo>
                    <a:pt x="1972" y="10576"/>
                  </a:moveTo>
                  <a:cubicBezTo>
                    <a:pt x="1912" y="10644"/>
                    <a:pt x="1852" y="10685"/>
                    <a:pt x="1802" y="10705"/>
                  </a:cubicBezTo>
                  <a:cubicBezTo>
                    <a:pt x="1764" y="10721"/>
                    <a:pt x="1702" y="10756"/>
                    <a:pt x="1672" y="10778"/>
                  </a:cubicBezTo>
                  <a:cubicBezTo>
                    <a:pt x="1663" y="10785"/>
                    <a:pt x="1657" y="10789"/>
                    <a:pt x="1655" y="10796"/>
                  </a:cubicBezTo>
                  <a:cubicBezTo>
                    <a:pt x="1655" y="10796"/>
                    <a:pt x="1655" y="10796"/>
                    <a:pt x="1655" y="10796"/>
                  </a:cubicBezTo>
                  <a:cubicBezTo>
                    <a:pt x="1655" y="10796"/>
                    <a:pt x="1655" y="10796"/>
                    <a:pt x="1655" y="10796"/>
                  </a:cubicBezTo>
                  <a:cubicBezTo>
                    <a:pt x="1655" y="10796"/>
                    <a:pt x="1655" y="10796"/>
                    <a:pt x="1655" y="10796"/>
                  </a:cubicBezTo>
                  <a:cubicBezTo>
                    <a:pt x="1655" y="10797"/>
                    <a:pt x="1655" y="10797"/>
                    <a:pt x="1655" y="10797"/>
                  </a:cubicBezTo>
                  <a:cubicBezTo>
                    <a:pt x="1658" y="10804"/>
                    <a:pt x="1664" y="10804"/>
                    <a:pt x="1672" y="10804"/>
                  </a:cubicBezTo>
                  <a:cubicBezTo>
                    <a:pt x="1692" y="10804"/>
                    <a:pt x="1728" y="10796"/>
                    <a:pt x="1758" y="10777"/>
                  </a:cubicBezTo>
                  <a:cubicBezTo>
                    <a:pt x="1799" y="10751"/>
                    <a:pt x="1858" y="10728"/>
                    <a:pt x="1894" y="10714"/>
                  </a:cubicBezTo>
                  <a:cubicBezTo>
                    <a:pt x="1930" y="10701"/>
                    <a:pt x="1964" y="10699"/>
                    <a:pt x="1988" y="10656"/>
                  </a:cubicBezTo>
                  <a:cubicBezTo>
                    <a:pt x="2012" y="10614"/>
                    <a:pt x="2026" y="10578"/>
                    <a:pt x="2072" y="10578"/>
                  </a:cubicBezTo>
                  <a:cubicBezTo>
                    <a:pt x="2102" y="10578"/>
                    <a:pt x="2128" y="10584"/>
                    <a:pt x="2147" y="10584"/>
                  </a:cubicBezTo>
                  <a:cubicBezTo>
                    <a:pt x="2158" y="10585"/>
                    <a:pt x="2169" y="10581"/>
                    <a:pt x="2173" y="10571"/>
                  </a:cubicBezTo>
                  <a:cubicBezTo>
                    <a:pt x="2174" y="10567"/>
                    <a:pt x="2175" y="10563"/>
                    <a:pt x="2175" y="10558"/>
                  </a:cubicBezTo>
                  <a:cubicBezTo>
                    <a:pt x="2175" y="10535"/>
                    <a:pt x="2156" y="10509"/>
                    <a:pt x="2125" y="10496"/>
                  </a:cubicBezTo>
                  <a:cubicBezTo>
                    <a:pt x="2125" y="10496"/>
                    <a:pt x="2123" y="10496"/>
                    <a:pt x="2122" y="10495"/>
                  </a:cubicBezTo>
                  <a:cubicBezTo>
                    <a:pt x="2142" y="10497"/>
                    <a:pt x="2163" y="10503"/>
                    <a:pt x="2184" y="10516"/>
                  </a:cubicBezTo>
                  <a:cubicBezTo>
                    <a:pt x="2189" y="10547"/>
                    <a:pt x="2199" y="10572"/>
                    <a:pt x="2213" y="10590"/>
                  </a:cubicBezTo>
                  <a:cubicBezTo>
                    <a:pt x="2186" y="10725"/>
                    <a:pt x="2186" y="10725"/>
                    <a:pt x="2186" y="10725"/>
                  </a:cubicBezTo>
                  <a:cubicBezTo>
                    <a:pt x="2187" y="10725"/>
                    <a:pt x="2187" y="10725"/>
                    <a:pt x="2187" y="10725"/>
                  </a:cubicBezTo>
                  <a:cubicBezTo>
                    <a:pt x="2094" y="10726"/>
                    <a:pt x="2020" y="10732"/>
                    <a:pt x="1960" y="10745"/>
                  </a:cubicBezTo>
                  <a:cubicBezTo>
                    <a:pt x="1851" y="10770"/>
                    <a:pt x="1617" y="10865"/>
                    <a:pt x="1533" y="10901"/>
                  </a:cubicBezTo>
                  <a:cubicBezTo>
                    <a:pt x="1521" y="10907"/>
                    <a:pt x="1507" y="10913"/>
                    <a:pt x="1494" y="10920"/>
                  </a:cubicBezTo>
                  <a:cubicBezTo>
                    <a:pt x="1476" y="10901"/>
                    <a:pt x="1441" y="10862"/>
                    <a:pt x="1403" y="10821"/>
                  </a:cubicBezTo>
                  <a:cubicBezTo>
                    <a:pt x="1436" y="10806"/>
                    <a:pt x="1464" y="10792"/>
                    <a:pt x="1480" y="10783"/>
                  </a:cubicBezTo>
                  <a:cubicBezTo>
                    <a:pt x="1504" y="10769"/>
                    <a:pt x="1562" y="10758"/>
                    <a:pt x="1620" y="10750"/>
                  </a:cubicBezTo>
                  <a:cubicBezTo>
                    <a:pt x="1677" y="10740"/>
                    <a:pt x="1733" y="10733"/>
                    <a:pt x="1761" y="10721"/>
                  </a:cubicBezTo>
                  <a:cubicBezTo>
                    <a:pt x="1812" y="10697"/>
                    <a:pt x="1893" y="10635"/>
                    <a:pt x="1937" y="10590"/>
                  </a:cubicBezTo>
                  <a:cubicBezTo>
                    <a:pt x="1963" y="10563"/>
                    <a:pt x="2016" y="10514"/>
                    <a:pt x="2076" y="10499"/>
                  </a:cubicBezTo>
                  <a:cubicBezTo>
                    <a:pt x="2046" y="10510"/>
                    <a:pt x="2008" y="10535"/>
                    <a:pt x="1972" y="10576"/>
                  </a:cubicBezTo>
                  <a:close/>
                  <a:moveTo>
                    <a:pt x="2717" y="10670"/>
                  </a:moveTo>
                  <a:cubicBezTo>
                    <a:pt x="2750" y="10732"/>
                    <a:pt x="2750" y="10732"/>
                    <a:pt x="2750" y="10732"/>
                  </a:cubicBezTo>
                  <a:cubicBezTo>
                    <a:pt x="2828" y="10745"/>
                    <a:pt x="2828" y="10745"/>
                    <a:pt x="2828" y="10745"/>
                  </a:cubicBezTo>
                  <a:cubicBezTo>
                    <a:pt x="2785" y="10565"/>
                    <a:pt x="2785" y="10565"/>
                    <a:pt x="2785" y="10565"/>
                  </a:cubicBezTo>
                  <a:cubicBezTo>
                    <a:pt x="2783" y="10559"/>
                    <a:pt x="2783" y="10559"/>
                    <a:pt x="2783" y="10559"/>
                  </a:cubicBezTo>
                  <a:cubicBezTo>
                    <a:pt x="2622" y="10560"/>
                    <a:pt x="2622" y="10560"/>
                    <a:pt x="2622" y="10560"/>
                  </a:cubicBezTo>
                  <a:cubicBezTo>
                    <a:pt x="2812" y="10510"/>
                    <a:pt x="2812" y="10510"/>
                    <a:pt x="2812" y="10510"/>
                  </a:cubicBezTo>
                  <a:cubicBezTo>
                    <a:pt x="2871" y="10791"/>
                    <a:pt x="2871" y="10791"/>
                    <a:pt x="2871" y="10791"/>
                  </a:cubicBezTo>
                  <a:cubicBezTo>
                    <a:pt x="2840" y="10784"/>
                    <a:pt x="2736" y="10760"/>
                    <a:pt x="2593" y="10744"/>
                  </a:cubicBezTo>
                  <a:cubicBezTo>
                    <a:pt x="2591" y="10726"/>
                    <a:pt x="2584" y="10686"/>
                    <a:pt x="2542" y="10663"/>
                  </a:cubicBezTo>
                  <a:cubicBezTo>
                    <a:pt x="2489" y="10635"/>
                    <a:pt x="2371" y="10628"/>
                    <a:pt x="2339" y="10624"/>
                  </a:cubicBezTo>
                  <a:cubicBezTo>
                    <a:pt x="2321" y="10622"/>
                    <a:pt x="2286" y="10621"/>
                    <a:pt x="2257" y="10600"/>
                  </a:cubicBezTo>
                  <a:cubicBezTo>
                    <a:pt x="2266" y="10552"/>
                    <a:pt x="2266" y="10552"/>
                    <a:pt x="2266" y="10552"/>
                  </a:cubicBezTo>
                  <a:cubicBezTo>
                    <a:pt x="2495" y="10593"/>
                    <a:pt x="2495" y="10593"/>
                    <a:pt x="2495" y="10593"/>
                  </a:cubicBezTo>
                  <a:cubicBezTo>
                    <a:pt x="2561" y="10576"/>
                    <a:pt x="2561" y="10576"/>
                    <a:pt x="2561" y="10576"/>
                  </a:cubicBezTo>
                  <a:lnTo>
                    <a:pt x="2717" y="10670"/>
                  </a:lnTo>
                  <a:close/>
                  <a:moveTo>
                    <a:pt x="2588" y="10575"/>
                  </a:moveTo>
                  <a:cubicBezTo>
                    <a:pt x="2772" y="10574"/>
                    <a:pt x="2772" y="10574"/>
                    <a:pt x="2772" y="10574"/>
                  </a:cubicBezTo>
                  <a:cubicBezTo>
                    <a:pt x="2809" y="10727"/>
                    <a:pt x="2809" y="10727"/>
                    <a:pt x="2809" y="10727"/>
                  </a:cubicBezTo>
                  <a:cubicBezTo>
                    <a:pt x="2759" y="10719"/>
                    <a:pt x="2759" y="10719"/>
                    <a:pt x="2759" y="10719"/>
                  </a:cubicBezTo>
                  <a:cubicBezTo>
                    <a:pt x="2728" y="10659"/>
                    <a:pt x="2728" y="10659"/>
                    <a:pt x="2728" y="10659"/>
                  </a:cubicBezTo>
                  <a:lnTo>
                    <a:pt x="2588" y="10575"/>
                  </a:lnTo>
                  <a:close/>
                  <a:moveTo>
                    <a:pt x="3559" y="10128"/>
                  </a:moveTo>
                  <a:cubicBezTo>
                    <a:pt x="3555" y="10133"/>
                    <a:pt x="3555" y="10133"/>
                    <a:pt x="3555" y="10133"/>
                  </a:cubicBezTo>
                  <a:cubicBezTo>
                    <a:pt x="3555" y="10131"/>
                    <a:pt x="3555" y="10131"/>
                    <a:pt x="3555" y="10131"/>
                  </a:cubicBezTo>
                  <a:cubicBezTo>
                    <a:pt x="3559" y="10127"/>
                    <a:pt x="3559" y="10127"/>
                    <a:pt x="3559" y="10127"/>
                  </a:cubicBezTo>
                  <a:cubicBezTo>
                    <a:pt x="3559" y="10127"/>
                    <a:pt x="3559" y="10127"/>
                    <a:pt x="3559" y="10127"/>
                  </a:cubicBezTo>
                  <a:cubicBezTo>
                    <a:pt x="3557" y="10129"/>
                    <a:pt x="3557" y="10129"/>
                    <a:pt x="3557" y="10129"/>
                  </a:cubicBezTo>
                  <a:lnTo>
                    <a:pt x="3559" y="10128"/>
                  </a:lnTo>
                  <a:close/>
                  <a:moveTo>
                    <a:pt x="3560" y="10150"/>
                  </a:moveTo>
                  <a:cubicBezTo>
                    <a:pt x="3562" y="10149"/>
                    <a:pt x="3562" y="10149"/>
                    <a:pt x="3562" y="10149"/>
                  </a:cubicBezTo>
                  <a:cubicBezTo>
                    <a:pt x="3706" y="9914"/>
                    <a:pt x="3706" y="9914"/>
                    <a:pt x="3706" y="9914"/>
                  </a:cubicBezTo>
                  <a:cubicBezTo>
                    <a:pt x="3706" y="9914"/>
                    <a:pt x="3707" y="9914"/>
                    <a:pt x="3708" y="9913"/>
                  </a:cubicBezTo>
                  <a:cubicBezTo>
                    <a:pt x="3808" y="10195"/>
                    <a:pt x="3808" y="10195"/>
                    <a:pt x="3808" y="10195"/>
                  </a:cubicBezTo>
                  <a:cubicBezTo>
                    <a:pt x="4047" y="10350"/>
                    <a:pt x="4047" y="10350"/>
                    <a:pt x="4047" y="10350"/>
                  </a:cubicBezTo>
                  <a:cubicBezTo>
                    <a:pt x="3838" y="10412"/>
                    <a:pt x="3641" y="10473"/>
                    <a:pt x="3487" y="10523"/>
                  </a:cubicBezTo>
                  <a:cubicBezTo>
                    <a:pt x="3288" y="10260"/>
                    <a:pt x="3288" y="10260"/>
                    <a:pt x="3288" y="10260"/>
                  </a:cubicBezTo>
                  <a:cubicBezTo>
                    <a:pt x="3277" y="10268"/>
                    <a:pt x="3277" y="10268"/>
                    <a:pt x="3277" y="10268"/>
                  </a:cubicBezTo>
                  <a:cubicBezTo>
                    <a:pt x="3473" y="10528"/>
                    <a:pt x="3473" y="10528"/>
                    <a:pt x="3473" y="10528"/>
                  </a:cubicBezTo>
                  <a:cubicBezTo>
                    <a:pt x="3334" y="10572"/>
                    <a:pt x="3232" y="10607"/>
                    <a:pt x="3191" y="10622"/>
                  </a:cubicBezTo>
                  <a:cubicBezTo>
                    <a:pt x="3181" y="10626"/>
                    <a:pt x="3175" y="10627"/>
                    <a:pt x="3169" y="10630"/>
                  </a:cubicBezTo>
                  <a:cubicBezTo>
                    <a:pt x="3168" y="10632"/>
                    <a:pt x="3167" y="10631"/>
                    <a:pt x="3162" y="10635"/>
                  </a:cubicBezTo>
                  <a:cubicBezTo>
                    <a:pt x="3158" y="10637"/>
                    <a:pt x="3149" y="10640"/>
                    <a:pt x="3139" y="10644"/>
                  </a:cubicBezTo>
                  <a:cubicBezTo>
                    <a:pt x="3119" y="10651"/>
                    <a:pt x="3090" y="10663"/>
                    <a:pt x="3057" y="10677"/>
                  </a:cubicBezTo>
                  <a:cubicBezTo>
                    <a:pt x="3000" y="10702"/>
                    <a:pt x="2943" y="10738"/>
                    <a:pt x="2887" y="10786"/>
                  </a:cubicBezTo>
                  <a:cubicBezTo>
                    <a:pt x="2827" y="10500"/>
                    <a:pt x="2827" y="10500"/>
                    <a:pt x="2827" y="10500"/>
                  </a:cubicBezTo>
                  <a:cubicBezTo>
                    <a:pt x="2851" y="10486"/>
                    <a:pt x="2915" y="10449"/>
                    <a:pt x="2981" y="10411"/>
                  </a:cubicBezTo>
                  <a:cubicBezTo>
                    <a:pt x="3063" y="10363"/>
                    <a:pt x="3149" y="10314"/>
                    <a:pt x="3155" y="10312"/>
                  </a:cubicBezTo>
                  <a:cubicBezTo>
                    <a:pt x="3158" y="10311"/>
                    <a:pt x="3158" y="10311"/>
                    <a:pt x="3161" y="10310"/>
                  </a:cubicBezTo>
                  <a:cubicBezTo>
                    <a:pt x="3165" y="10309"/>
                    <a:pt x="3169" y="10307"/>
                    <a:pt x="3175" y="10305"/>
                  </a:cubicBezTo>
                  <a:cubicBezTo>
                    <a:pt x="3187" y="10300"/>
                    <a:pt x="3203" y="10294"/>
                    <a:pt x="3222" y="10286"/>
                  </a:cubicBezTo>
                  <a:cubicBezTo>
                    <a:pt x="3260" y="10271"/>
                    <a:pt x="3310" y="10251"/>
                    <a:pt x="3360" y="10231"/>
                  </a:cubicBezTo>
                  <a:cubicBezTo>
                    <a:pt x="3460" y="10190"/>
                    <a:pt x="3560" y="10150"/>
                    <a:pt x="3560" y="10150"/>
                  </a:cubicBezTo>
                  <a:close/>
                  <a:moveTo>
                    <a:pt x="4618" y="9257"/>
                  </a:moveTo>
                  <a:cubicBezTo>
                    <a:pt x="4640" y="9684"/>
                    <a:pt x="4640" y="9684"/>
                    <a:pt x="4640" y="9684"/>
                  </a:cubicBezTo>
                  <a:cubicBezTo>
                    <a:pt x="4541" y="9686"/>
                    <a:pt x="4455" y="9688"/>
                    <a:pt x="4399" y="9689"/>
                  </a:cubicBezTo>
                  <a:cubicBezTo>
                    <a:pt x="4214" y="9285"/>
                    <a:pt x="4214" y="9285"/>
                    <a:pt x="4214" y="9285"/>
                  </a:cubicBezTo>
                  <a:cubicBezTo>
                    <a:pt x="4296" y="9281"/>
                    <a:pt x="4456" y="9271"/>
                    <a:pt x="4618" y="9257"/>
                  </a:cubicBezTo>
                  <a:close/>
                  <a:moveTo>
                    <a:pt x="4194" y="9241"/>
                  </a:moveTo>
                  <a:cubicBezTo>
                    <a:pt x="4083" y="8973"/>
                    <a:pt x="4083" y="8973"/>
                    <a:pt x="4083" y="8973"/>
                  </a:cubicBezTo>
                  <a:cubicBezTo>
                    <a:pt x="4481" y="8702"/>
                    <a:pt x="4481" y="8702"/>
                    <a:pt x="4481" y="8702"/>
                  </a:cubicBezTo>
                  <a:cubicBezTo>
                    <a:pt x="4472" y="9223"/>
                    <a:pt x="4472" y="9223"/>
                    <a:pt x="4472" y="9223"/>
                  </a:cubicBezTo>
                  <a:cubicBezTo>
                    <a:pt x="4352" y="9232"/>
                    <a:pt x="4247" y="9238"/>
                    <a:pt x="4194" y="9241"/>
                  </a:cubicBezTo>
                  <a:close/>
                  <a:moveTo>
                    <a:pt x="4658" y="8296"/>
                  </a:moveTo>
                  <a:cubicBezTo>
                    <a:pt x="4656" y="8444"/>
                    <a:pt x="4656" y="8444"/>
                    <a:pt x="4656" y="8444"/>
                  </a:cubicBezTo>
                  <a:cubicBezTo>
                    <a:pt x="4754" y="8445"/>
                    <a:pt x="4754" y="8445"/>
                    <a:pt x="4754" y="8445"/>
                  </a:cubicBezTo>
                  <a:cubicBezTo>
                    <a:pt x="4761" y="8445"/>
                    <a:pt x="4761" y="8445"/>
                    <a:pt x="4761" y="8445"/>
                  </a:cubicBezTo>
                  <a:cubicBezTo>
                    <a:pt x="4762" y="8328"/>
                    <a:pt x="4762" y="8328"/>
                    <a:pt x="4762" y="8328"/>
                  </a:cubicBezTo>
                  <a:cubicBezTo>
                    <a:pt x="4822" y="8669"/>
                    <a:pt x="4822" y="8669"/>
                    <a:pt x="4822" y="8669"/>
                  </a:cubicBezTo>
                  <a:cubicBezTo>
                    <a:pt x="4817" y="8668"/>
                    <a:pt x="4812" y="8668"/>
                    <a:pt x="4807" y="8667"/>
                  </a:cubicBezTo>
                  <a:cubicBezTo>
                    <a:pt x="4706" y="8647"/>
                    <a:pt x="4607" y="8628"/>
                    <a:pt x="4583" y="8623"/>
                  </a:cubicBezTo>
                  <a:cubicBezTo>
                    <a:pt x="4583" y="8585"/>
                    <a:pt x="4587" y="8360"/>
                    <a:pt x="4588" y="8292"/>
                  </a:cubicBezTo>
                  <a:cubicBezTo>
                    <a:pt x="4644" y="8289"/>
                    <a:pt x="4700" y="8287"/>
                    <a:pt x="4754" y="8285"/>
                  </a:cubicBezTo>
                  <a:cubicBezTo>
                    <a:pt x="4756" y="8297"/>
                    <a:pt x="4756" y="8297"/>
                    <a:pt x="4756" y="8297"/>
                  </a:cubicBezTo>
                  <a:lnTo>
                    <a:pt x="4658" y="8296"/>
                  </a:lnTo>
                  <a:close/>
                  <a:moveTo>
                    <a:pt x="4749" y="8310"/>
                  </a:moveTo>
                  <a:cubicBezTo>
                    <a:pt x="4748" y="8432"/>
                    <a:pt x="4748" y="8432"/>
                    <a:pt x="4748" y="8432"/>
                  </a:cubicBezTo>
                  <a:cubicBezTo>
                    <a:pt x="4669" y="8431"/>
                    <a:pt x="4669" y="8431"/>
                    <a:pt x="4669" y="8431"/>
                  </a:cubicBezTo>
                  <a:cubicBezTo>
                    <a:pt x="4670" y="8309"/>
                    <a:pt x="4670" y="8309"/>
                    <a:pt x="4670" y="8309"/>
                  </a:cubicBezTo>
                  <a:lnTo>
                    <a:pt x="4749" y="8310"/>
                  </a:lnTo>
                  <a:close/>
                  <a:moveTo>
                    <a:pt x="4453" y="7943"/>
                  </a:moveTo>
                  <a:cubicBezTo>
                    <a:pt x="4689" y="7910"/>
                    <a:pt x="4689" y="7910"/>
                    <a:pt x="4689" y="7910"/>
                  </a:cubicBezTo>
                  <a:cubicBezTo>
                    <a:pt x="4703" y="7992"/>
                    <a:pt x="4703" y="7992"/>
                    <a:pt x="4703" y="7992"/>
                  </a:cubicBezTo>
                  <a:cubicBezTo>
                    <a:pt x="4612" y="8008"/>
                    <a:pt x="4524" y="8021"/>
                    <a:pt x="4457" y="8028"/>
                  </a:cubicBezTo>
                  <a:cubicBezTo>
                    <a:pt x="4471" y="8025"/>
                    <a:pt x="4471" y="8025"/>
                    <a:pt x="4471" y="8025"/>
                  </a:cubicBezTo>
                  <a:lnTo>
                    <a:pt x="4453" y="7943"/>
                  </a:lnTo>
                  <a:close/>
                  <a:moveTo>
                    <a:pt x="3906" y="7233"/>
                  </a:moveTo>
                  <a:cubicBezTo>
                    <a:pt x="3906" y="7233"/>
                    <a:pt x="3905" y="7232"/>
                    <a:pt x="3905" y="7232"/>
                  </a:cubicBezTo>
                  <a:cubicBezTo>
                    <a:pt x="3904" y="7232"/>
                    <a:pt x="3903" y="7232"/>
                    <a:pt x="3903" y="7231"/>
                  </a:cubicBezTo>
                  <a:cubicBezTo>
                    <a:pt x="3890" y="7077"/>
                    <a:pt x="3890" y="7077"/>
                    <a:pt x="3890" y="7077"/>
                  </a:cubicBezTo>
                  <a:cubicBezTo>
                    <a:pt x="3917" y="6913"/>
                    <a:pt x="3917" y="6913"/>
                    <a:pt x="3917" y="6913"/>
                  </a:cubicBezTo>
                  <a:cubicBezTo>
                    <a:pt x="4223" y="6513"/>
                    <a:pt x="4223" y="6513"/>
                    <a:pt x="4223" y="6513"/>
                  </a:cubicBezTo>
                  <a:cubicBezTo>
                    <a:pt x="4320" y="6556"/>
                    <a:pt x="4320" y="6556"/>
                    <a:pt x="4320" y="6556"/>
                  </a:cubicBezTo>
                  <a:cubicBezTo>
                    <a:pt x="4358" y="6630"/>
                    <a:pt x="4358" y="6630"/>
                    <a:pt x="4358" y="6630"/>
                  </a:cubicBezTo>
                  <a:cubicBezTo>
                    <a:pt x="4182" y="6998"/>
                    <a:pt x="4182" y="6998"/>
                    <a:pt x="4182" y="6998"/>
                  </a:cubicBezTo>
                  <a:cubicBezTo>
                    <a:pt x="4247" y="7099"/>
                    <a:pt x="4247" y="7099"/>
                    <a:pt x="4247" y="7099"/>
                  </a:cubicBezTo>
                  <a:cubicBezTo>
                    <a:pt x="4246" y="7107"/>
                    <a:pt x="4246" y="7107"/>
                    <a:pt x="4246" y="7107"/>
                  </a:cubicBezTo>
                  <a:cubicBezTo>
                    <a:pt x="4251" y="7107"/>
                    <a:pt x="4251" y="7107"/>
                    <a:pt x="4251" y="7107"/>
                  </a:cubicBezTo>
                  <a:cubicBezTo>
                    <a:pt x="4170" y="7347"/>
                    <a:pt x="4170" y="7347"/>
                    <a:pt x="4170" y="7347"/>
                  </a:cubicBezTo>
                  <a:cubicBezTo>
                    <a:pt x="4159" y="7355"/>
                    <a:pt x="4105" y="7391"/>
                    <a:pt x="4087" y="7403"/>
                  </a:cubicBezTo>
                  <a:cubicBezTo>
                    <a:pt x="4009" y="7330"/>
                    <a:pt x="3917" y="7244"/>
                    <a:pt x="3906" y="7233"/>
                  </a:cubicBezTo>
                  <a:close/>
                  <a:moveTo>
                    <a:pt x="3907" y="7239"/>
                  </a:moveTo>
                  <a:cubicBezTo>
                    <a:pt x="3907" y="7239"/>
                    <a:pt x="3907" y="7239"/>
                    <a:pt x="3907" y="7239"/>
                  </a:cubicBezTo>
                  <a:cubicBezTo>
                    <a:pt x="3907" y="7239"/>
                    <a:pt x="3907" y="7239"/>
                    <a:pt x="3907" y="7239"/>
                  </a:cubicBezTo>
                  <a:cubicBezTo>
                    <a:pt x="3907" y="7239"/>
                    <a:pt x="3907" y="7239"/>
                    <a:pt x="3907" y="7239"/>
                  </a:cubicBezTo>
                  <a:close/>
                  <a:moveTo>
                    <a:pt x="3904" y="7245"/>
                  </a:moveTo>
                  <a:cubicBezTo>
                    <a:pt x="3904" y="7245"/>
                    <a:pt x="3904" y="7245"/>
                    <a:pt x="3904" y="7245"/>
                  </a:cubicBezTo>
                  <a:cubicBezTo>
                    <a:pt x="3903" y="7245"/>
                    <a:pt x="3903" y="7245"/>
                    <a:pt x="3903" y="7245"/>
                  </a:cubicBezTo>
                  <a:cubicBezTo>
                    <a:pt x="3903" y="7245"/>
                    <a:pt x="3903" y="7245"/>
                    <a:pt x="3903" y="7245"/>
                  </a:cubicBezTo>
                  <a:cubicBezTo>
                    <a:pt x="3903" y="7245"/>
                    <a:pt x="3904" y="7245"/>
                    <a:pt x="3904" y="7245"/>
                  </a:cubicBezTo>
                  <a:close/>
                  <a:moveTo>
                    <a:pt x="3886" y="7229"/>
                  </a:moveTo>
                  <a:cubicBezTo>
                    <a:pt x="3874" y="7227"/>
                    <a:pt x="3858" y="7224"/>
                    <a:pt x="3858" y="7224"/>
                  </a:cubicBezTo>
                  <a:cubicBezTo>
                    <a:pt x="3855" y="7224"/>
                    <a:pt x="3855" y="7224"/>
                    <a:pt x="3855" y="7224"/>
                  </a:cubicBezTo>
                  <a:cubicBezTo>
                    <a:pt x="3700" y="7349"/>
                    <a:pt x="3700" y="7349"/>
                    <a:pt x="3700" y="7349"/>
                  </a:cubicBezTo>
                  <a:cubicBezTo>
                    <a:pt x="3692" y="7340"/>
                    <a:pt x="3560" y="7185"/>
                    <a:pt x="3442" y="7096"/>
                  </a:cubicBezTo>
                  <a:cubicBezTo>
                    <a:pt x="3536" y="6810"/>
                    <a:pt x="3536" y="6810"/>
                    <a:pt x="3536" y="6810"/>
                  </a:cubicBezTo>
                  <a:cubicBezTo>
                    <a:pt x="3536" y="6810"/>
                    <a:pt x="3536" y="6810"/>
                    <a:pt x="3537" y="6810"/>
                  </a:cubicBezTo>
                  <a:cubicBezTo>
                    <a:pt x="3541" y="6811"/>
                    <a:pt x="3548" y="6813"/>
                    <a:pt x="3555" y="6814"/>
                  </a:cubicBezTo>
                  <a:cubicBezTo>
                    <a:pt x="3571" y="6817"/>
                    <a:pt x="3592" y="6821"/>
                    <a:pt x="3613" y="6825"/>
                  </a:cubicBezTo>
                  <a:cubicBezTo>
                    <a:pt x="3648" y="6832"/>
                    <a:pt x="3682" y="6839"/>
                    <a:pt x="3696" y="6841"/>
                  </a:cubicBezTo>
                  <a:cubicBezTo>
                    <a:pt x="3696" y="6841"/>
                    <a:pt x="3696" y="6841"/>
                    <a:pt x="3696" y="6842"/>
                  </a:cubicBezTo>
                  <a:cubicBezTo>
                    <a:pt x="3697" y="6845"/>
                    <a:pt x="3698" y="6851"/>
                    <a:pt x="3699" y="6856"/>
                  </a:cubicBezTo>
                  <a:cubicBezTo>
                    <a:pt x="3700" y="6867"/>
                    <a:pt x="3701" y="6878"/>
                    <a:pt x="3701" y="6878"/>
                  </a:cubicBezTo>
                  <a:cubicBezTo>
                    <a:pt x="3702" y="6884"/>
                    <a:pt x="3702" y="6884"/>
                    <a:pt x="3702" y="6884"/>
                  </a:cubicBezTo>
                  <a:cubicBezTo>
                    <a:pt x="3899" y="6921"/>
                    <a:pt x="3899" y="6921"/>
                    <a:pt x="3899" y="6921"/>
                  </a:cubicBezTo>
                  <a:cubicBezTo>
                    <a:pt x="3874" y="7076"/>
                    <a:pt x="3874" y="7076"/>
                    <a:pt x="3874" y="7076"/>
                  </a:cubicBezTo>
                  <a:lnTo>
                    <a:pt x="3886" y="7229"/>
                  </a:lnTo>
                  <a:close/>
                  <a:moveTo>
                    <a:pt x="2511" y="7954"/>
                  </a:moveTo>
                  <a:cubicBezTo>
                    <a:pt x="2714" y="7495"/>
                    <a:pt x="2714" y="7495"/>
                    <a:pt x="2714" y="7495"/>
                  </a:cubicBezTo>
                  <a:cubicBezTo>
                    <a:pt x="2743" y="7504"/>
                    <a:pt x="2773" y="7511"/>
                    <a:pt x="2807" y="7516"/>
                  </a:cubicBezTo>
                  <a:cubicBezTo>
                    <a:pt x="2821" y="7517"/>
                    <a:pt x="2835" y="7518"/>
                    <a:pt x="2849" y="7518"/>
                  </a:cubicBezTo>
                  <a:cubicBezTo>
                    <a:pt x="2858" y="7518"/>
                    <a:pt x="2867" y="7518"/>
                    <a:pt x="2876" y="7517"/>
                  </a:cubicBezTo>
                  <a:cubicBezTo>
                    <a:pt x="2962" y="7773"/>
                    <a:pt x="2962" y="7773"/>
                    <a:pt x="2962" y="7773"/>
                  </a:cubicBezTo>
                  <a:cubicBezTo>
                    <a:pt x="2664" y="7995"/>
                    <a:pt x="2664" y="7995"/>
                    <a:pt x="2664" y="7995"/>
                  </a:cubicBezTo>
                  <a:cubicBezTo>
                    <a:pt x="2646" y="7989"/>
                    <a:pt x="2562" y="7968"/>
                    <a:pt x="2512" y="7955"/>
                  </a:cubicBezTo>
                  <a:cubicBezTo>
                    <a:pt x="2513" y="7954"/>
                    <a:pt x="2513" y="7954"/>
                    <a:pt x="2513" y="7954"/>
                  </a:cubicBezTo>
                  <a:lnTo>
                    <a:pt x="2511" y="7954"/>
                  </a:lnTo>
                  <a:close/>
                  <a:moveTo>
                    <a:pt x="1190" y="9306"/>
                  </a:moveTo>
                  <a:cubicBezTo>
                    <a:pt x="1103" y="9349"/>
                    <a:pt x="1103" y="9349"/>
                    <a:pt x="1103" y="9349"/>
                  </a:cubicBezTo>
                  <a:cubicBezTo>
                    <a:pt x="1086" y="9311"/>
                    <a:pt x="1072" y="9279"/>
                    <a:pt x="1066" y="9266"/>
                  </a:cubicBezTo>
                  <a:cubicBezTo>
                    <a:pt x="1147" y="9215"/>
                    <a:pt x="1147" y="9215"/>
                    <a:pt x="1147" y="9215"/>
                  </a:cubicBezTo>
                  <a:cubicBezTo>
                    <a:pt x="1191" y="9306"/>
                    <a:pt x="1191" y="9306"/>
                    <a:pt x="1191" y="9306"/>
                  </a:cubicBezTo>
                  <a:cubicBezTo>
                    <a:pt x="1190" y="9306"/>
                    <a:pt x="1190" y="9306"/>
                    <a:pt x="1190" y="9306"/>
                  </a:cubicBezTo>
                  <a:close/>
                  <a:moveTo>
                    <a:pt x="1161" y="9207"/>
                  </a:moveTo>
                  <a:cubicBezTo>
                    <a:pt x="1260" y="9145"/>
                    <a:pt x="1260" y="9145"/>
                    <a:pt x="1260" y="9145"/>
                  </a:cubicBezTo>
                  <a:cubicBezTo>
                    <a:pt x="1295" y="9222"/>
                    <a:pt x="1295" y="9222"/>
                    <a:pt x="1295" y="9222"/>
                  </a:cubicBezTo>
                  <a:cubicBezTo>
                    <a:pt x="1293" y="9223"/>
                    <a:pt x="1293" y="9223"/>
                    <a:pt x="1293" y="9223"/>
                  </a:cubicBezTo>
                  <a:cubicBezTo>
                    <a:pt x="1299" y="9236"/>
                    <a:pt x="1299" y="9236"/>
                    <a:pt x="1299" y="9236"/>
                  </a:cubicBezTo>
                  <a:cubicBezTo>
                    <a:pt x="1294" y="9238"/>
                    <a:pt x="1294" y="9238"/>
                    <a:pt x="1294" y="9238"/>
                  </a:cubicBezTo>
                  <a:cubicBezTo>
                    <a:pt x="1294" y="9239"/>
                    <a:pt x="1294" y="9239"/>
                    <a:pt x="1294" y="9239"/>
                  </a:cubicBezTo>
                  <a:cubicBezTo>
                    <a:pt x="1199" y="9287"/>
                    <a:pt x="1199" y="9287"/>
                    <a:pt x="1199" y="9287"/>
                  </a:cubicBezTo>
                  <a:lnTo>
                    <a:pt x="1161" y="9207"/>
                  </a:lnTo>
                  <a:close/>
                  <a:moveTo>
                    <a:pt x="2445" y="5224"/>
                  </a:moveTo>
                  <a:cubicBezTo>
                    <a:pt x="2694" y="5342"/>
                    <a:pt x="2694" y="5342"/>
                    <a:pt x="2694" y="5342"/>
                  </a:cubicBezTo>
                  <a:cubicBezTo>
                    <a:pt x="2682" y="5371"/>
                    <a:pt x="2669" y="5400"/>
                    <a:pt x="2656" y="5429"/>
                  </a:cubicBezTo>
                  <a:cubicBezTo>
                    <a:pt x="2653" y="5437"/>
                    <a:pt x="2649" y="5445"/>
                    <a:pt x="2646" y="5453"/>
                  </a:cubicBezTo>
                  <a:cubicBezTo>
                    <a:pt x="2643" y="5451"/>
                    <a:pt x="2639" y="5450"/>
                    <a:pt x="2634" y="5447"/>
                  </a:cubicBezTo>
                  <a:cubicBezTo>
                    <a:pt x="2623" y="5441"/>
                    <a:pt x="2606" y="5432"/>
                    <a:pt x="2587" y="5422"/>
                  </a:cubicBezTo>
                  <a:cubicBezTo>
                    <a:pt x="2548" y="5401"/>
                    <a:pt x="2498" y="5373"/>
                    <a:pt x="2448" y="5345"/>
                  </a:cubicBezTo>
                  <a:cubicBezTo>
                    <a:pt x="2431" y="5335"/>
                    <a:pt x="2414" y="5326"/>
                    <a:pt x="2398" y="5317"/>
                  </a:cubicBezTo>
                  <a:lnTo>
                    <a:pt x="2445" y="5224"/>
                  </a:lnTo>
                  <a:close/>
                  <a:moveTo>
                    <a:pt x="2440" y="5206"/>
                  </a:moveTo>
                  <a:cubicBezTo>
                    <a:pt x="2344" y="5160"/>
                    <a:pt x="2344" y="5160"/>
                    <a:pt x="2344" y="5160"/>
                  </a:cubicBezTo>
                  <a:cubicBezTo>
                    <a:pt x="2355" y="5138"/>
                    <a:pt x="2355" y="5138"/>
                    <a:pt x="2355" y="5138"/>
                  </a:cubicBezTo>
                  <a:cubicBezTo>
                    <a:pt x="2451" y="5185"/>
                    <a:pt x="2451" y="5185"/>
                    <a:pt x="2451" y="5185"/>
                  </a:cubicBezTo>
                  <a:lnTo>
                    <a:pt x="2440" y="5206"/>
                  </a:lnTo>
                  <a:close/>
                  <a:moveTo>
                    <a:pt x="2443" y="5024"/>
                  </a:moveTo>
                  <a:cubicBezTo>
                    <a:pt x="2468" y="4978"/>
                    <a:pt x="2468" y="4978"/>
                    <a:pt x="2468" y="4978"/>
                  </a:cubicBezTo>
                  <a:cubicBezTo>
                    <a:pt x="2564" y="5025"/>
                    <a:pt x="2564" y="5025"/>
                    <a:pt x="2564" y="5025"/>
                  </a:cubicBezTo>
                  <a:cubicBezTo>
                    <a:pt x="2541" y="5066"/>
                    <a:pt x="2541" y="5066"/>
                    <a:pt x="2541" y="5066"/>
                  </a:cubicBezTo>
                  <a:lnTo>
                    <a:pt x="2443" y="5024"/>
                  </a:lnTo>
                  <a:close/>
                  <a:moveTo>
                    <a:pt x="2534" y="5079"/>
                  </a:moveTo>
                  <a:cubicBezTo>
                    <a:pt x="2509" y="5124"/>
                    <a:pt x="2509" y="5124"/>
                    <a:pt x="2509" y="5124"/>
                  </a:cubicBezTo>
                  <a:cubicBezTo>
                    <a:pt x="2415" y="5078"/>
                    <a:pt x="2415" y="5078"/>
                    <a:pt x="2415" y="5078"/>
                  </a:cubicBezTo>
                  <a:cubicBezTo>
                    <a:pt x="2437" y="5037"/>
                    <a:pt x="2437" y="5037"/>
                    <a:pt x="2437" y="5037"/>
                  </a:cubicBezTo>
                  <a:lnTo>
                    <a:pt x="2534" y="5079"/>
                  </a:lnTo>
                  <a:close/>
                  <a:moveTo>
                    <a:pt x="2579" y="5025"/>
                  </a:moveTo>
                  <a:cubicBezTo>
                    <a:pt x="2582" y="5019"/>
                    <a:pt x="2582" y="5019"/>
                    <a:pt x="2582" y="5019"/>
                  </a:cubicBezTo>
                  <a:cubicBezTo>
                    <a:pt x="2462" y="4961"/>
                    <a:pt x="2462" y="4961"/>
                    <a:pt x="2462" y="4961"/>
                  </a:cubicBezTo>
                  <a:cubicBezTo>
                    <a:pt x="2431" y="5019"/>
                    <a:pt x="2431" y="5019"/>
                    <a:pt x="2431" y="5019"/>
                  </a:cubicBezTo>
                  <a:cubicBezTo>
                    <a:pt x="2408" y="5009"/>
                    <a:pt x="2408" y="5009"/>
                    <a:pt x="2408" y="5009"/>
                  </a:cubicBezTo>
                  <a:cubicBezTo>
                    <a:pt x="2458" y="4919"/>
                    <a:pt x="2458" y="4919"/>
                    <a:pt x="2458" y="4919"/>
                  </a:cubicBezTo>
                  <a:cubicBezTo>
                    <a:pt x="2832" y="5037"/>
                    <a:pt x="2832" y="5037"/>
                    <a:pt x="2832" y="5037"/>
                  </a:cubicBezTo>
                  <a:cubicBezTo>
                    <a:pt x="2829" y="5042"/>
                    <a:pt x="2827" y="5047"/>
                    <a:pt x="2824" y="5053"/>
                  </a:cubicBezTo>
                  <a:cubicBezTo>
                    <a:pt x="2814" y="5075"/>
                    <a:pt x="2799" y="5107"/>
                    <a:pt x="2782" y="5146"/>
                  </a:cubicBezTo>
                  <a:cubicBezTo>
                    <a:pt x="2779" y="5153"/>
                    <a:pt x="2776" y="5159"/>
                    <a:pt x="2772" y="5166"/>
                  </a:cubicBezTo>
                  <a:cubicBezTo>
                    <a:pt x="2553" y="5072"/>
                    <a:pt x="2553" y="5072"/>
                    <a:pt x="2553" y="5072"/>
                  </a:cubicBezTo>
                  <a:lnTo>
                    <a:pt x="2579" y="5025"/>
                  </a:lnTo>
                  <a:close/>
                  <a:moveTo>
                    <a:pt x="3040" y="4704"/>
                  </a:moveTo>
                  <a:cubicBezTo>
                    <a:pt x="2961" y="4759"/>
                    <a:pt x="2961" y="4759"/>
                    <a:pt x="2961" y="4759"/>
                  </a:cubicBezTo>
                  <a:cubicBezTo>
                    <a:pt x="2927" y="4710"/>
                    <a:pt x="2927" y="4710"/>
                    <a:pt x="2927" y="4710"/>
                  </a:cubicBezTo>
                  <a:cubicBezTo>
                    <a:pt x="2965" y="4683"/>
                    <a:pt x="2965" y="4683"/>
                    <a:pt x="2965" y="4683"/>
                  </a:cubicBezTo>
                  <a:cubicBezTo>
                    <a:pt x="2941" y="4648"/>
                    <a:pt x="2941" y="4648"/>
                    <a:pt x="2941" y="4648"/>
                  </a:cubicBezTo>
                  <a:cubicBezTo>
                    <a:pt x="2977" y="4623"/>
                    <a:pt x="2977" y="4623"/>
                    <a:pt x="2977" y="4623"/>
                  </a:cubicBezTo>
                  <a:lnTo>
                    <a:pt x="3040" y="4704"/>
                  </a:lnTo>
                  <a:close/>
                  <a:moveTo>
                    <a:pt x="2988" y="4615"/>
                  </a:moveTo>
                  <a:cubicBezTo>
                    <a:pt x="3015" y="4596"/>
                    <a:pt x="3015" y="4596"/>
                    <a:pt x="3015" y="4596"/>
                  </a:cubicBezTo>
                  <a:cubicBezTo>
                    <a:pt x="3040" y="4632"/>
                    <a:pt x="3040" y="4632"/>
                    <a:pt x="3040" y="4632"/>
                  </a:cubicBezTo>
                  <a:cubicBezTo>
                    <a:pt x="3078" y="4605"/>
                    <a:pt x="3078" y="4605"/>
                    <a:pt x="3078" y="4605"/>
                  </a:cubicBezTo>
                  <a:cubicBezTo>
                    <a:pt x="3113" y="4655"/>
                    <a:pt x="3113" y="4655"/>
                    <a:pt x="3113" y="4655"/>
                  </a:cubicBezTo>
                  <a:cubicBezTo>
                    <a:pt x="3052" y="4697"/>
                    <a:pt x="3052" y="4697"/>
                    <a:pt x="3052" y="4697"/>
                  </a:cubicBezTo>
                  <a:lnTo>
                    <a:pt x="2988" y="4615"/>
                  </a:lnTo>
                  <a:close/>
                  <a:moveTo>
                    <a:pt x="2923" y="4645"/>
                  </a:moveTo>
                  <a:cubicBezTo>
                    <a:pt x="2947" y="4680"/>
                    <a:pt x="2947" y="4680"/>
                    <a:pt x="2947" y="4680"/>
                  </a:cubicBezTo>
                  <a:cubicBezTo>
                    <a:pt x="2909" y="4707"/>
                    <a:pt x="2909" y="4707"/>
                    <a:pt x="2909" y="4707"/>
                  </a:cubicBezTo>
                  <a:cubicBezTo>
                    <a:pt x="2954" y="4772"/>
                    <a:pt x="2954" y="4772"/>
                    <a:pt x="2954" y="4772"/>
                  </a:cubicBezTo>
                  <a:cubicBezTo>
                    <a:pt x="2958" y="4778"/>
                    <a:pt x="2958" y="4778"/>
                    <a:pt x="2958" y="4778"/>
                  </a:cubicBezTo>
                  <a:cubicBezTo>
                    <a:pt x="3048" y="4715"/>
                    <a:pt x="3048" y="4715"/>
                    <a:pt x="3048" y="4715"/>
                  </a:cubicBezTo>
                  <a:cubicBezTo>
                    <a:pt x="3060" y="4730"/>
                    <a:pt x="3060" y="4730"/>
                    <a:pt x="3060" y="4730"/>
                  </a:cubicBezTo>
                  <a:cubicBezTo>
                    <a:pt x="2997" y="4782"/>
                    <a:pt x="2968" y="4840"/>
                    <a:pt x="2951" y="4880"/>
                  </a:cubicBezTo>
                  <a:cubicBezTo>
                    <a:pt x="2935" y="4918"/>
                    <a:pt x="2915" y="4967"/>
                    <a:pt x="2905" y="4992"/>
                  </a:cubicBezTo>
                  <a:cubicBezTo>
                    <a:pt x="2515" y="4868"/>
                    <a:pt x="2515" y="4868"/>
                    <a:pt x="2515" y="4868"/>
                  </a:cubicBezTo>
                  <a:cubicBezTo>
                    <a:pt x="2516" y="4867"/>
                    <a:pt x="2517" y="4867"/>
                    <a:pt x="2518" y="4865"/>
                  </a:cubicBezTo>
                  <a:cubicBezTo>
                    <a:pt x="2529" y="4854"/>
                    <a:pt x="2543" y="4838"/>
                    <a:pt x="2560" y="4818"/>
                  </a:cubicBezTo>
                  <a:cubicBezTo>
                    <a:pt x="2595" y="4779"/>
                    <a:pt x="2640" y="4727"/>
                    <a:pt x="2685" y="4675"/>
                  </a:cubicBezTo>
                  <a:cubicBezTo>
                    <a:pt x="2764" y="4584"/>
                    <a:pt x="2841" y="4492"/>
                    <a:pt x="2859" y="4472"/>
                  </a:cubicBezTo>
                  <a:cubicBezTo>
                    <a:pt x="2969" y="4613"/>
                    <a:pt x="2969" y="4613"/>
                    <a:pt x="2969" y="4613"/>
                  </a:cubicBezTo>
                  <a:lnTo>
                    <a:pt x="2923" y="4645"/>
                  </a:lnTo>
                  <a:close/>
                  <a:moveTo>
                    <a:pt x="3432" y="4876"/>
                  </a:moveTo>
                  <a:cubicBezTo>
                    <a:pt x="3430" y="4882"/>
                    <a:pt x="3430" y="4882"/>
                    <a:pt x="3430" y="4882"/>
                  </a:cubicBezTo>
                  <a:cubicBezTo>
                    <a:pt x="3503" y="4902"/>
                    <a:pt x="3503" y="4902"/>
                    <a:pt x="3503" y="4902"/>
                  </a:cubicBezTo>
                  <a:cubicBezTo>
                    <a:pt x="3543" y="4756"/>
                    <a:pt x="3543" y="4756"/>
                    <a:pt x="3543" y="4756"/>
                  </a:cubicBezTo>
                  <a:cubicBezTo>
                    <a:pt x="3471" y="4737"/>
                    <a:pt x="3471" y="4737"/>
                    <a:pt x="3471" y="4737"/>
                  </a:cubicBezTo>
                  <a:cubicBezTo>
                    <a:pt x="3498" y="4742"/>
                    <a:pt x="3527" y="4748"/>
                    <a:pt x="3559" y="4755"/>
                  </a:cubicBezTo>
                  <a:cubicBezTo>
                    <a:pt x="3463" y="5011"/>
                    <a:pt x="3463" y="5011"/>
                    <a:pt x="3463" y="5011"/>
                  </a:cubicBezTo>
                  <a:cubicBezTo>
                    <a:pt x="3263" y="5237"/>
                    <a:pt x="3263" y="5237"/>
                    <a:pt x="3263" y="5237"/>
                  </a:cubicBezTo>
                  <a:cubicBezTo>
                    <a:pt x="2971" y="5012"/>
                    <a:pt x="2971" y="5012"/>
                    <a:pt x="2971" y="5012"/>
                  </a:cubicBezTo>
                  <a:cubicBezTo>
                    <a:pt x="2968" y="5011"/>
                    <a:pt x="2968" y="5011"/>
                    <a:pt x="2968" y="5011"/>
                  </a:cubicBezTo>
                  <a:cubicBezTo>
                    <a:pt x="2979" y="4986"/>
                    <a:pt x="2997" y="4941"/>
                    <a:pt x="3012" y="4905"/>
                  </a:cubicBezTo>
                  <a:cubicBezTo>
                    <a:pt x="3013" y="4903"/>
                    <a:pt x="3014" y="4900"/>
                    <a:pt x="3015" y="4897"/>
                  </a:cubicBezTo>
                  <a:cubicBezTo>
                    <a:pt x="3259" y="4979"/>
                    <a:pt x="3259" y="4979"/>
                    <a:pt x="3259" y="4979"/>
                  </a:cubicBezTo>
                  <a:cubicBezTo>
                    <a:pt x="3412" y="5065"/>
                    <a:pt x="3412" y="5065"/>
                    <a:pt x="3412" y="5065"/>
                  </a:cubicBezTo>
                  <a:cubicBezTo>
                    <a:pt x="3419" y="5053"/>
                    <a:pt x="3419" y="5053"/>
                    <a:pt x="3419" y="5053"/>
                  </a:cubicBezTo>
                  <a:cubicBezTo>
                    <a:pt x="3265" y="4967"/>
                    <a:pt x="3265" y="4967"/>
                    <a:pt x="3265" y="4967"/>
                  </a:cubicBezTo>
                  <a:cubicBezTo>
                    <a:pt x="3021" y="4885"/>
                    <a:pt x="3021" y="4885"/>
                    <a:pt x="3021" y="4885"/>
                  </a:cubicBezTo>
                  <a:cubicBezTo>
                    <a:pt x="3043" y="4838"/>
                    <a:pt x="3080" y="4780"/>
                    <a:pt x="3175" y="4734"/>
                  </a:cubicBezTo>
                  <a:cubicBezTo>
                    <a:pt x="3211" y="4717"/>
                    <a:pt x="3245" y="4710"/>
                    <a:pt x="3286" y="4710"/>
                  </a:cubicBezTo>
                  <a:cubicBezTo>
                    <a:pt x="3335" y="4710"/>
                    <a:pt x="3394" y="4721"/>
                    <a:pt x="3469" y="4736"/>
                  </a:cubicBezTo>
                  <a:lnTo>
                    <a:pt x="3432" y="4876"/>
                  </a:lnTo>
                  <a:close/>
                  <a:moveTo>
                    <a:pt x="3479" y="4752"/>
                  </a:moveTo>
                  <a:cubicBezTo>
                    <a:pt x="3526" y="4765"/>
                    <a:pt x="3526" y="4765"/>
                    <a:pt x="3526" y="4765"/>
                  </a:cubicBezTo>
                  <a:cubicBezTo>
                    <a:pt x="3494" y="4886"/>
                    <a:pt x="3494" y="4886"/>
                    <a:pt x="3494" y="4886"/>
                  </a:cubicBezTo>
                  <a:cubicBezTo>
                    <a:pt x="3446" y="4873"/>
                    <a:pt x="3446" y="4873"/>
                    <a:pt x="3446" y="4873"/>
                  </a:cubicBezTo>
                  <a:lnTo>
                    <a:pt x="3479" y="4752"/>
                  </a:lnTo>
                  <a:close/>
                  <a:moveTo>
                    <a:pt x="3624" y="4595"/>
                  </a:moveTo>
                  <a:cubicBezTo>
                    <a:pt x="3612" y="4654"/>
                    <a:pt x="3612" y="4654"/>
                    <a:pt x="3612" y="4654"/>
                  </a:cubicBezTo>
                  <a:cubicBezTo>
                    <a:pt x="3534" y="4639"/>
                    <a:pt x="3534" y="4639"/>
                    <a:pt x="3534" y="4639"/>
                  </a:cubicBezTo>
                  <a:cubicBezTo>
                    <a:pt x="3524" y="4532"/>
                    <a:pt x="3524" y="4532"/>
                    <a:pt x="3524" y="4532"/>
                  </a:cubicBezTo>
                  <a:cubicBezTo>
                    <a:pt x="3586" y="4544"/>
                    <a:pt x="3586" y="4544"/>
                    <a:pt x="3586" y="4544"/>
                  </a:cubicBezTo>
                  <a:cubicBezTo>
                    <a:pt x="3577" y="4586"/>
                    <a:pt x="3577" y="4586"/>
                    <a:pt x="3577" y="4586"/>
                  </a:cubicBezTo>
                  <a:lnTo>
                    <a:pt x="3624" y="4595"/>
                  </a:lnTo>
                  <a:close/>
                  <a:moveTo>
                    <a:pt x="4845" y="5330"/>
                  </a:moveTo>
                  <a:cubicBezTo>
                    <a:pt x="5424" y="5230"/>
                    <a:pt x="5424" y="5230"/>
                    <a:pt x="5424" y="5230"/>
                  </a:cubicBezTo>
                  <a:cubicBezTo>
                    <a:pt x="5373" y="5661"/>
                    <a:pt x="5373" y="5661"/>
                    <a:pt x="5373" y="5661"/>
                  </a:cubicBezTo>
                  <a:cubicBezTo>
                    <a:pt x="4820" y="5643"/>
                    <a:pt x="4820" y="5643"/>
                    <a:pt x="4820" y="5643"/>
                  </a:cubicBezTo>
                  <a:cubicBezTo>
                    <a:pt x="4836" y="5568"/>
                    <a:pt x="4846" y="5522"/>
                    <a:pt x="4846" y="5522"/>
                  </a:cubicBezTo>
                  <a:cubicBezTo>
                    <a:pt x="4846" y="5521"/>
                    <a:pt x="4846" y="5521"/>
                    <a:pt x="4846" y="5521"/>
                  </a:cubicBezTo>
                  <a:cubicBezTo>
                    <a:pt x="4846" y="5519"/>
                    <a:pt x="4846" y="5519"/>
                    <a:pt x="4846" y="5519"/>
                  </a:cubicBezTo>
                  <a:cubicBezTo>
                    <a:pt x="4846" y="5518"/>
                    <a:pt x="4851" y="5484"/>
                    <a:pt x="4851" y="5431"/>
                  </a:cubicBezTo>
                  <a:cubicBezTo>
                    <a:pt x="4851" y="5402"/>
                    <a:pt x="4849" y="5367"/>
                    <a:pt x="4845" y="5330"/>
                  </a:cubicBezTo>
                  <a:close/>
                  <a:moveTo>
                    <a:pt x="5739" y="5720"/>
                  </a:moveTo>
                  <a:cubicBezTo>
                    <a:pt x="5810" y="5729"/>
                    <a:pt x="5810" y="5729"/>
                    <a:pt x="5810" y="5729"/>
                  </a:cubicBezTo>
                  <a:cubicBezTo>
                    <a:pt x="5868" y="5794"/>
                    <a:pt x="5868" y="5794"/>
                    <a:pt x="5868" y="5794"/>
                  </a:cubicBezTo>
                  <a:cubicBezTo>
                    <a:pt x="5763" y="5888"/>
                    <a:pt x="5763" y="5888"/>
                    <a:pt x="5763" y="5888"/>
                  </a:cubicBezTo>
                  <a:cubicBezTo>
                    <a:pt x="5669" y="5783"/>
                    <a:pt x="5669" y="5783"/>
                    <a:pt x="5669" y="5783"/>
                  </a:cubicBezTo>
                  <a:cubicBezTo>
                    <a:pt x="5739" y="5720"/>
                    <a:pt x="5739" y="5720"/>
                    <a:pt x="5739" y="5720"/>
                  </a:cubicBezTo>
                  <a:close/>
                  <a:moveTo>
                    <a:pt x="5808" y="5714"/>
                  </a:moveTo>
                  <a:cubicBezTo>
                    <a:pt x="5726" y="5704"/>
                    <a:pt x="5726" y="5704"/>
                    <a:pt x="5726" y="5704"/>
                  </a:cubicBezTo>
                  <a:cubicBezTo>
                    <a:pt x="5676" y="5641"/>
                    <a:pt x="5676" y="5641"/>
                    <a:pt x="5676" y="5641"/>
                  </a:cubicBezTo>
                  <a:cubicBezTo>
                    <a:pt x="5790" y="5541"/>
                    <a:pt x="5790" y="5541"/>
                    <a:pt x="5790" y="5541"/>
                  </a:cubicBezTo>
                  <a:cubicBezTo>
                    <a:pt x="5881" y="5651"/>
                    <a:pt x="5881" y="5651"/>
                    <a:pt x="5881" y="5651"/>
                  </a:cubicBezTo>
                  <a:lnTo>
                    <a:pt x="5808" y="5714"/>
                  </a:lnTo>
                  <a:close/>
                  <a:moveTo>
                    <a:pt x="5721" y="5719"/>
                  </a:moveTo>
                  <a:cubicBezTo>
                    <a:pt x="5651" y="5782"/>
                    <a:pt x="5651" y="5782"/>
                    <a:pt x="5651" y="5782"/>
                  </a:cubicBezTo>
                  <a:cubicBezTo>
                    <a:pt x="5762" y="5906"/>
                    <a:pt x="5762" y="5906"/>
                    <a:pt x="5762" y="5906"/>
                  </a:cubicBezTo>
                  <a:cubicBezTo>
                    <a:pt x="5887" y="5795"/>
                    <a:pt x="5887" y="5795"/>
                    <a:pt x="5887" y="5795"/>
                  </a:cubicBezTo>
                  <a:cubicBezTo>
                    <a:pt x="5830" y="5731"/>
                    <a:pt x="5830" y="5731"/>
                    <a:pt x="5830" y="5731"/>
                  </a:cubicBezTo>
                  <a:cubicBezTo>
                    <a:pt x="5956" y="5747"/>
                    <a:pt x="5956" y="5747"/>
                    <a:pt x="5956" y="5747"/>
                  </a:cubicBezTo>
                  <a:cubicBezTo>
                    <a:pt x="5891" y="6134"/>
                    <a:pt x="5891" y="6134"/>
                    <a:pt x="5891" y="6134"/>
                  </a:cubicBezTo>
                  <a:cubicBezTo>
                    <a:pt x="5344" y="6032"/>
                    <a:pt x="5344" y="6032"/>
                    <a:pt x="5344" y="6032"/>
                  </a:cubicBezTo>
                  <a:cubicBezTo>
                    <a:pt x="5386" y="5676"/>
                    <a:pt x="5386" y="5676"/>
                    <a:pt x="5386" y="5676"/>
                  </a:cubicBezTo>
                  <a:cubicBezTo>
                    <a:pt x="5720" y="5717"/>
                    <a:pt x="5720" y="5717"/>
                    <a:pt x="5720" y="5717"/>
                  </a:cubicBezTo>
                  <a:lnTo>
                    <a:pt x="5721" y="5719"/>
                  </a:lnTo>
                  <a:close/>
                  <a:moveTo>
                    <a:pt x="7813" y="6601"/>
                  </a:moveTo>
                  <a:cubicBezTo>
                    <a:pt x="7813" y="6601"/>
                    <a:pt x="7870" y="6476"/>
                    <a:pt x="7889" y="6435"/>
                  </a:cubicBezTo>
                  <a:cubicBezTo>
                    <a:pt x="7993" y="6447"/>
                    <a:pt x="8095" y="6459"/>
                    <a:pt x="8188" y="6469"/>
                  </a:cubicBezTo>
                  <a:cubicBezTo>
                    <a:pt x="8172" y="6658"/>
                    <a:pt x="8172" y="6658"/>
                    <a:pt x="8172" y="6658"/>
                  </a:cubicBezTo>
                  <a:cubicBezTo>
                    <a:pt x="8136" y="6818"/>
                    <a:pt x="8136" y="6818"/>
                    <a:pt x="8136" y="6818"/>
                  </a:cubicBezTo>
                  <a:cubicBezTo>
                    <a:pt x="7781" y="6741"/>
                    <a:pt x="7781" y="6741"/>
                    <a:pt x="7781" y="6741"/>
                  </a:cubicBezTo>
                  <a:cubicBezTo>
                    <a:pt x="7703" y="6859"/>
                    <a:pt x="7703" y="6859"/>
                    <a:pt x="7703" y="6859"/>
                  </a:cubicBezTo>
                  <a:cubicBezTo>
                    <a:pt x="8012" y="6995"/>
                    <a:pt x="8012" y="6995"/>
                    <a:pt x="8012" y="6995"/>
                  </a:cubicBezTo>
                  <a:cubicBezTo>
                    <a:pt x="7887" y="7079"/>
                    <a:pt x="7887" y="7079"/>
                    <a:pt x="7887" y="7079"/>
                  </a:cubicBezTo>
                  <a:cubicBezTo>
                    <a:pt x="7929" y="7019"/>
                    <a:pt x="7929" y="7019"/>
                    <a:pt x="7929" y="7019"/>
                  </a:cubicBezTo>
                  <a:cubicBezTo>
                    <a:pt x="7805" y="6932"/>
                    <a:pt x="7805" y="6932"/>
                    <a:pt x="7805" y="6932"/>
                  </a:cubicBezTo>
                  <a:cubicBezTo>
                    <a:pt x="7761" y="6994"/>
                    <a:pt x="7761" y="6994"/>
                    <a:pt x="7761" y="6994"/>
                  </a:cubicBezTo>
                  <a:cubicBezTo>
                    <a:pt x="7880" y="7078"/>
                    <a:pt x="7880" y="7078"/>
                    <a:pt x="7880" y="7078"/>
                  </a:cubicBezTo>
                  <a:cubicBezTo>
                    <a:pt x="7885" y="7081"/>
                    <a:pt x="7885" y="7081"/>
                    <a:pt x="7885" y="7081"/>
                  </a:cubicBezTo>
                  <a:cubicBezTo>
                    <a:pt x="7820" y="7124"/>
                    <a:pt x="7820" y="7124"/>
                    <a:pt x="7820" y="7124"/>
                  </a:cubicBezTo>
                  <a:cubicBezTo>
                    <a:pt x="7781" y="7094"/>
                    <a:pt x="7516" y="6897"/>
                    <a:pt x="7458" y="6858"/>
                  </a:cubicBezTo>
                  <a:cubicBezTo>
                    <a:pt x="7489" y="6706"/>
                    <a:pt x="7489" y="6706"/>
                    <a:pt x="7489" y="6706"/>
                  </a:cubicBezTo>
                  <a:cubicBezTo>
                    <a:pt x="7512" y="6704"/>
                    <a:pt x="7606" y="6697"/>
                    <a:pt x="7615" y="6697"/>
                  </a:cubicBezTo>
                  <a:cubicBezTo>
                    <a:pt x="7744" y="6791"/>
                    <a:pt x="7744" y="6791"/>
                    <a:pt x="7744" y="6791"/>
                  </a:cubicBezTo>
                  <a:cubicBezTo>
                    <a:pt x="7752" y="6780"/>
                    <a:pt x="7752" y="6780"/>
                    <a:pt x="7752" y="6780"/>
                  </a:cubicBezTo>
                  <a:cubicBezTo>
                    <a:pt x="7622" y="6686"/>
                    <a:pt x="7622" y="6686"/>
                    <a:pt x="7622" y="6686"/>
                  </a:cubicBezTo>
                  <a:cubicBezTo>
                    <a:pt x="7621" y="6673"/>
                    <a:pt x="7614" y="6636"/>
                    <a:pt x="7604" y="6591"/>
                  </a:cubicBezTo>
                  <a:cubicBezTo>
                    <a:pt x="7605" y="6595"/>
                    <a:pt x="7605" y="6595"/>
                    <a:pt x="7605" y="6595"/>
                  </a:cubicBezTo>
                  <a:cubicBezTo>
                    <a:pt x="7605" y="6595"/>
                    <a:pt x="7605" y="6595"/>
                    <a:pt x="7605" y="6595"/>
                  </a:cubicBezTo>
                  <a:cubicBezTo>
                    <a:pt x="7606" y="6595"/>
                    <a:pt x="7607" y="6595"/>
                    <a:pt x="7608" y="6595"/>
                  </a:cubicBezTo>
                  <a:cubicBezTo>
                    <a:pt x="7637" y="6595"/>
                    <a:pt x="7781" y="6610"/>
                    <a:pt x="7790" y="6611"/>
                  </a:cubicBezTo>
                  <a:cubicBezTo>
                    <a:pt x="7996" y="6663"/>
                    <a:pt x="7996" y="6663"/>
                    <a:pt x="7996" y="6663"/>
                  </a:cubicBezTo>
                  <a:cubicBezTo>
                    <a:pt x="8163" y="6669"/>
                    <a:pt x="8163" y="6669"/>
                    <a:pt x="8163" y="6669"/>
                  </a:cubicBezTo>
                  <a:cubicBezTo>
                    <a:pt x="8164" y="6655"/>
                    <a:pt x="8164" y="6655"/>
                    <a:pt x="8164" y="6655"/>
                  </a:cubicBezTo>
                  <a:cubicBezTo>
                    <a:pt x="8006" y="6650"/>
                    <a:pt x="8006" y="6650"/>
                    <a:pt x="8006" y="6650"/>
                  </a:cubicBezTo>
                  <a:cubicBezTo>
                    <a:pt x="8018" y="6590"/>
                    <a:pt x="8018" y="6590"/>
                    <a:pt x="8018" y="6590"/>
                  </a:cubicBezTo>
                  <a:cubicBezTo>
                    <a:pt x="8122" y="6598"/>
                    <a:pt x="8122" y="6598"/>
                    <a:pt x="8122" y="6598"/>
                  </a:cubicBezTo>
                  <a:cubicBezTo>
                    <a:pt x="8128" y="6512"/>
                    <a:pt x="8128" y="6512"/>
                    <a:pt x="8128" y="6512"/>
                  </a:cubicBezTo>
                  <a:cubicBezTo>
                    <a:pt x="8081" y="6508"/>
                    <a:pt x="8081" y="6508"/>
                    <a:pt x="8081" y="6508"/>
                  </a:cubicBezTo>
                  <a:cubicBezTo>
                    <a:pt x="8084" y="6466"/>
                    <a:pt x="8084" y="6466"/>
                    <a:pt x="8084" y="6466"/>
                  </a:cubicBezTo>
                  <a:cubicBezTo>
                    <a:pt x="8046" y="6463"/>
                    <a:pt x="8046" y="6463"/>
                    <a:pt x="8046" y="6463"/>
                  </a:cubicBezTo>
                  <a:cubicBezTo>
                    <a:pt x="8047" y="6458"/>
                    <a:pt x="8047" y="6458"/>
                    <a:pt x="8047" y="6458"/>
                  </a:cubicBezTo>
                  <a:cubicBezTo>
                    <a:pt x="8033" y="6455"/>
                    <a:pt x="8033" y="6455"/>
                    <a:pt x="8033" y="6455"/>
                  </a:cubicBezTo>
                  <a:cubicBezTo>
                    <a:pt x="8032" y="6462"/>
                    <a:pt x="8032" y="6462"/>
                    <a:pt x="8032" y="6462"/>
                  </a:cubicBezTo>
                  <a:cubicBezTo>
                    <a:pt x="7968" y="6457"/>
                    <a:pt x="7968" y="6457"/>
                    <a:pt x="7968" y="6457"/>
                  </a:cubicBezTo>
                  <a:cubicBezTo>
                    <a:pt x="7965" y="6500"/>
                    <a:pt x="7965" y="6500"/>
                    <a:pt x="7965" y="6500"/>
                  </a:cubicBezTo>
                  <a:cubicBezTo>
                    <a:pt x="7918" y="6497"/>
                    <a:pt x="7918" y="6497"/>
                    <a:pt x="7918" y="6497"/>
                  </a:cubicBezTo>
                  <a:cubicBezTo>
                    <a:pt x="7912" y="6576"/>
                    <a:pt x="7912" y="6576"/>
                    <a:pt x="7912" y="6576"/>
                  </a:cubicBezTo>
                  <a:cubicBezTo>
                    <a:pt x="7912" y="6583"/>
                    <a:pt x="7912" y="6583"/>
                    <a:pt x="7912" y="6583"/>
                  </a:cubicBezTo>
                  <a:cubicBezTo>
                    <a:pt x="8004" y="6589"/>
                    <a:pt x="8004" y="6589"/>
                    <a:pt x="8004" y="6589"/>
                  </a:cubicBezTo>
                  <a:cubicBezTo>
                    <a:pt x="7992" y="6648"/>
                    <a:pt x="7992" y="6648"/>
                    <a:pt x="7992" y="6648"/>
                  </a:cubicBezTo>
                  <a:cubicBezTo>
                    <a:pt x="7792" y="6597"/>
                    <a:pt x="7792" y="6597"/>
                    <a:pt x="7792" y="6597"/>
                  </a:cubicBezTo>
                  <a:cubicBezTo>
                    <a:pt x="7792" y="6597"/>
                    <a:pt x="7792" y="6597"/>
                    <a:pt x="7792" y="6597"/>
                  </a:cubicBezTo>
                  <a:cubicBezTo>
                    <a:pt x="7791" y="6597"/>
                    <a:pt x="7640" y="6581"/>
                    <a:pt x="7608" y="6581"/>
                  </a:cubicBezTo>
                  <a:cubicBezTo>
                    <a:pt x="7606" y="6581"/>
                    <a:pt x="7604" y="6581"/>
                    <a:pt x="7602" y="6582"/>
                  </a:cubicBezTo>
                  <a:cubicBezTo>
                    <a:pt x="7599" y="6569"/>
                    <a:pt x="7596" y="6556"/>
                    <a:pt x="7593" y="6543"/>
                  </a:cubicBezTo>
                  <a:cubicBezTo>
                    <a:pt x="7667" y="6548"/>
                    <a:pt x="7667" y="6548"/>
                    <a:pt x="7667" y="6548"/>
                  </a:cubicBezTo>
                  <a:cubicBezTo>
                    <a:pt x="7673" y="6462"/>
                    <a:pt x="7673" y="6462"/>
                    <a:pt x="7673" y="6462"/>
                  </a:cubicBezTo>
                  <a:cubicBezTo>
                    <a:pt x="7626" y="6459"/>
                    <a:pt x="7626" y="6459"/>
                    <a:pt x="7626" y="6459"/>
                  </a:cubicBezTo>
                  <a:cubicBezTo>
                    <a:pt x="7629" y="6416"/>
                    <a:pt x="7629" y="6416"/>
                    <a:pt x="7629" y="6416"/>
                  </a:cubicBezTo>
                  <a:cubicBezTo>
                    <a:pt x="7563" y="6411"/>
                    <a:pt x="7563" y="6411"/>
                    <a:pt x="7563" y="6411"/>
                  </a:cubicBezTo>
                  <a:cubicBezTo>
                    <a:pt x="7562" y="6406"/>
                    <a:pt x="7561" y="6402"/>
                    <a:pt x="7560" y="6399"/>
                  </a:cubicBezTo>
                  <a:cubicBezTo>
                    <a:pt x="7610" y="6404"/>
                    <a:pt x="7662" y="6410"/>
                    <a:pt x="7715" y="6416"/>
                  </a:cubicBezTo>
                  <a:cubicBezTo>
                    <a:pt x="7767" y="6422"/>
                    <a:pt x="7821" y="6428"/>
                    <a:pt x="7875" y="6434"/>
                  </a:cubicBezTo>
                  <a:cubicBezTo>
                    <a:pt x="7854" y="6479"/>
                    <a:pt x="7800" y="6595"/>
                    <a:pt x="7800" y="6595"/>
                  </a:cubicBezTo>
                  <a:lnTo>
                    <a:pt x="7813" y="6601"/>
                  </a:lnTo>
                  <a:close/>
                  <a:moveTo>
                    <a:pt x="8252" y="6534"/>
                  </a:moveTo>
                  <a:cubicBezTo>
                    <a:pt x="8252" y="6537"/>
                    <a:pt x="8252" y="6537"/>
                    <a:pt x="8252" y="6537"/>
                  </a:cubicBezTo>
                  <a:cubicBezTo>
                    <a:pt x="8252" y="6540"/>
                    <a:pt x="8252" y="6543"/>
                    <a:pt x="8252" y="6547"/>
                  </a:cubicBezTo>
                  <a:cubicBezTo>
                    <a:pt x="8253" y="6689"/>
                    <a:pt x="8230" y="6800"/>
                    <a:pt x="8206" y="6840"/>
                  </a:cubicBezTo>
                  <a:cubicBezTo>
                    <a:pt x="8091" y="7037"/>
                    <a:pt x="7806" y="7300"/>
                    <a:pt x="7259" y="7406"/>
                  </a:cubicBezTo>
                  <a:cubicBezTo>
                    <a:pt x="7046" y="7447"/>
                    <a:pt x="6910" y="7474"/>
                    <a:pt x="6812" y="7503"/>
                  </a:cubicBezTo>
                  <a:cubicBezTo>
                    <a:pt x="6746" y="7522"/>
                    <a:pt x="6694" y="7544"/>
                    <a:pt x="6652" y="7571"/>
                  </a:cubicBezTo>
                  <a:cubicBezTo>
                    <a:pt x="6651" y="7568"/>
                    <a:pt x="6650" y="7569"/>
                    <a:pt x="6650" y="7568"/>
                  </a:cubicBezTo>
                  <a:cubicBezTo>
                    <a:pt x="6649" y="7568"/>
                    <a:pt x="6648" y="7567"/>
                    <a:pt x="6648" y="7567"/>
                  </a:cubicBezTo>
                  <a:cubicBezTo>
                    <a:pt x="6646" y="7565"/>
                    <a:pt x="6644" y="7564"/>
                    <a:pt x="6642" y="7562"/>
                  </a:cubicBezTo>
                  <a:cubicBezTo>
                    <a:pt x="6637" y="7559"/>
                    <a:pt x="6630" y="7555"/>
                    <a:pt x="6622" y="7550"/>
                  </a:cubicBezTo>
                  <a:cubicBezTo>
                    <a:pt x="6606" y="7539"/>
                    <a:pt x="6584" y="7525"/>
                    <a:pt x="6562" y="7511"/>
                  </a:cubicBezTo>
                  <a:cubicBezTo>
                    <a:pt x="6522" y="7486"/>
                    <a:pt x="6479" y="7458"/>
                    <a:pt x="6470" y="7451"/>
                  </a:cubicBezTo>
                  <a:cubicBezTo>
                    <a:pt x="6469" y="7447"/>
                    <a:pt x="6467" y="7448"/>
                    <a:pt x="6467" y="7447"/>
                  </a:cubicBezTo>
                  <a:cubicBezTo>
                    <a:pt x="6467" y="7447"/>
                    <a:pt x="6466" y="7447"/>
                    <a:pt x="6466" y="7447"/>
                  </a:cubicBezTo>
                  <a:cubicBezTo>
                    <a:pt x="6465" y="7447"/>
                    <a:pt x="6465" y="7446"/>
                    <a:pt x="6464" y="7446"/>
                  </a:cubicBezTo>
                  <a:cubicBezTo>
                    <a:pt x="6462" y="7446"/>
                    <a:pt x="6460" y="7445"/>
                    <a:pt x="6458" y="7445"/>
                  </a:cubicBezTo>
                  <a:cubicBezTo>
                    <a:pt x="6452" y="7443"/>
                    <a:pt x="6445" y="7442"/>
                    <a:pt x="6436" y="7439"/>
                  </a:cubicBezTo>
                  <a:cubicBezTo>
                    <a:pt x="6418" y="7435"/>
                    <a:pt x="6395" y="7430"/>
                    <a:pt x="6371" y="7425"/>
                  </a:cubicBezTo>
                  <a:cubicBezTo>
                    <a:pt x="6324" y="7414"/>
                    <a:pt x="6277" y="7404"/>
                    <a:pt x="6277" y="7404"/>
                  </a:cubicBezTo>
                  <a:cubicBezTo>
                    <a:pt x="6274" y="7418"/>
                    <a:pt x="6274" y="7418"/>
                    <a:pt x="6274" y="7418"/>
                  </a:cubicBezTo>
                  <a:cubicBezTo>
                    <a:pt x="6274" y="7418"/>
                    <a:pt x="6433" y="7452"/>
                    <a:pt x="6458" y="7459"/>
                  </a:cubicBezTo>
                  <a:cubicBezTo>
                    <a:pt x="6459" y="7460"/>
                    <a:pt x="6460" y="7460"/>
                    <a:pt x="6461" y="7461"/>
                  </a:cubicBezTo>
                  <a:cubicBezTo>
                    <a:pt x="6462" y="7463"/>
                    <a:pt x="6464" y="7464"/>
                    <a:pt x="6466" y="7466"/>
                  </a:cubicBezTo>
                  <a:cubicBezTo>
                    <a:pt x="6471" y="7469"/>
                    <a:pt x="6478" y="7473"/>
                    <a:pt x="6486" y="7479"/>
                  </a:cubicBezTo>
                  <a:cubicBezTo>
                    <a:pt x="6501" y="7489"/>
                    <a:pt x="6523" y="7503"/>
                    <a:pt x="6544" y="7516"/>
                  </a:cubicBezTo>
                  <a:cubicBezTo>
                    <a:pt x="6588" y="7544"/>
                    <a:pt x="6633" y="7573"/>
                    <a:pt x="6640" y="7578"/>
                  </a:cubicBezTo>
                  <a:cubicBezTo>
                    <a:pt x="6640" y="7578"/>
                    <a:pt x="6640" y="7578"/>
                    <a:pt x="6640" y="7578"/>
                  </a:cubicBezTo>
                  <a:cubicBezTo>
                    <a:pt x="6645" y="7574"/>
                    <a:pt x="6645" y="7574"/>
                    <a:pt x="6645" y="7574"/>
                  </a:cubicBezTo>
                  <a:cubicBezTo>
                    <a:pt x="6645" y="7574"/>
                    <a:pt x="6645" y="7574"/>
                    <a:pt x="6645" y="7574"/>
                  </a:cubicBezTo>
                  <a:cubicBezTo>
                    <a:pt x="6645" y="7575"/>
                    <a:pt x="6645" y="7575"/>
                    <a:pt x="6645" y="7575"/>
                  </a:cubicBezTo>
                  <a:cubicBezTo>
                    <a:pt x="6628" y="7587"/>
                    <a:pt x="6613" y="7599"/>
                    <a:pt x="6599" y="7612"/>
                  </a:cubicBezTo>
                  <a:cubicBezTo>
                    <a:pt x="6565" y="7645"/>
                    <a:pt x="6539" y="7679"/>
                    <a:pt x="6510" y="7719"/>
                  </a:cubicBezTo>
                  <a:cubicBezTo>
                    <a:pt x="6507" y="7723"/>
                    <a:pt x="6505" y="7727"/>
                    <a:pt x="6503" y="7730"/>
                  </a:cubicBezTo>
                  <a:cubicBezTo>
                    <a:pt x="6263" y="7555"/>
                    <a:pt x="6263" y="7555"/>
                    <a:pt x="6263" y="7555"/>
                  </a:cubicBezTo>
                  <a:cubicBezTo>
                    <a:pt x="6256" y="7548"/>
                    <a:pt x="6256" y="7548"/>
                    <a:pt x="6256" y="7548"/>
                  </a:cubicBezTo>
                  <a:cubicBezTo>
                    <a:pt x="6257" y="7533"/>
                    <a:pt x="6263" y="7487"/>
                    <a:pt x="6269" y="7440"/>
                  </a:cubicBezTo>
                  <a:cubicBezTo>
                    <a:pt x="6275" y="7388"/>
                    <a:pt x="6282" y="7334"/>
                    <a:pt x="6285" y="7321"/>
                  </a:cubicBezTo>
                  <a:cubicBezTo>
                    <a:pt x="6362" y="7298"/>
                    <a:pt x="6362" y="7298"/>
                    <a:pt x="6362" y="7298"/>
                  </a:cubicBezTo>
                  <a:cubicBezTo>
                    <a:pt x="6372" y="7300"/>
                    <a:pt x="6416" y="7312"/>
                    <a:pt x="6462" y="7324"/>
                  </a:cubicBezTo>
                  <a:cubicBezTo>
                    <a:pt x="6513" y="7337"/>
                    <a:pt x="6562" y="7350"/>
                    <a:pt x="6568" y="7350"/>
                  </a:cubicBezTo>
                  <a:cubicBezTo>
                    <a:pt x="6568" y="7350"/>
                    <a:pt x="6568" y="7350"/>
                    <a:pt x="6569" y="7350"/>
                  </a:cubicBezTo>
                  <a:cubicBezTo>
                    <a:pt x="6569" y="7350"/>
                    <a:pt x="6569" y="7350"/>
                    <a:pt x="6573" y="7349"/>
                  </a:cubicBezTo>
                  <a:cubicBezTo>
                    <a:pt x="6574" y="7348"/>
                    <a:pt x="6576" y="7345"/>
                    <a:pt x="6575" y="7343"/>
                  </a:cubicBezTo>
                  <a:cubicBezTo>
                    <a:pt x="6575" y="7343"/>
                    <a:pt x="6575" y="7342"/>
                    <a:pt x="6575" y="7342"/>
                  </a:cubicBezTo>
                  <a:cubicBezTo>
                    <a:pt x="6576" y="7341"/>
                    <a:pt x="6577" y="7340"/>
                    <a:pt x="6579" y="7338"/>
                  </a:cubicBezTo>
                  <a:cubicBezTo>
                    <a:pt x="6582" y="7335"/>
                    <a:pt x="6586" y="7331"/>
                    <a:pt x="6591" y="7327"/>
                  </a:cubicBezTo>
                  <a:cubicBezTo>
                    <a:pt x="6597" y="7321"/>
                    <a:pt x="6604" y="7316"/>
                    <a:pt x="6607" y="7314"/>
                  </a:cubicBezTo>
                  <a:cubicBezTo>
                    <a:pt x="6736" y="7340"/>
                    <a:pt x="6736" y="7340"/>
                    <a:pt x="6736" y="7340"/>
                  </a:cubicBezTo>
                  <a:cubicBezTo>
                    <a:pt x="6724" y="7407"/>
                    <a:pt x="6724" y="7407"/>
                    <a:pt x="6724" y="7407"/>
                  </a:cubicBezTo>
                  <a:cubicBezTo>
                    <a:pt x="6878" y="7432"/>
                    <a:pt x="6878" y="7432"/>
                    <a:pt x="6878" y="7432"/>
                  </a:cubicBezTo>
                  <a:cubicBezTo>
                    <a:pt x="6889" y="7372"/>
                    <a:pt x="6889" y="7372"/>
                    <a:pt x="6889" y="7372"/>
                  </a:cubicBezTo>
                  <a:cubicBezTo>
                    <a:pt x="6974" y="7389"/>
                    <a:pt x="6974" y="7389"/>
                    <a:pt x="6974" y="7389"/>
                  </a:cubicBezTo>
                  <a:cubicBezTo>
                    <a:pt x="6966" y="7440"/>
                    <a:pt x="6966" y="7440"/>
                    <a:pt x="6966" y="7440"/>
                  </a:cubicBezTo>
                  <a:cubicBezTo>
                    <a:pt x="7031" y="7450"/>
                    <a:pt x="7031" y="7450"/>
                    <a:pt x="7031" y="7450"/>
                  </a:cubicBezTo>
                  <a:cubicBezTo>
                    <a:pt x="7039" y="7396"/>
                    <a:pt x="7039" y="7396"/>
                    <a:pt x="7039" y="7396"/>
                  </a:cubicBezTo>
                  <a:cubicBezTo>
                    <a:pt x="7550" y="7279"/>
                    <a:pt x="7550" y="7279"/>
                    <a:pt x="7550" y="7279"/>
                  </a:cubicBezTo>
                  <a:cubicBezTo>
                    <a:pt x="7813" y="7145"/>
                    <a:pt x="7813" y="7145"/>
                    <a:pt x="7813" y="7145"/>
                  </a:cubicBezTo>
                  <a:cubicBezTo>
                    <a:pt x="8067" y="6975"/>
                    <a:pt x="8067" y="6975"/>
                    <a:pt x="8067" y="6975"/>
                  </a:cubicBezTo>
                  <a:cubicBezTo>
                    <a:pt x="8145" y="6840"/>
                    <a:pt x="8145" y="6840"/>
                    <a:pt x="8145" y="6840"/>
                  </a:cubicBezTo>
                  <a:cubicBezTo>
                    <a:pt x="8186" y="6660"/>
                    <a:pt x="8186" y="6660"/>
                    <a:pt x="8186" y="6660"/>
                  </a:cubicBezTo>
                  <a:cubicBezTo>
                    <a:pt x="8202" y="6471"/>
                    <a:pt x="8202" y="6471"/>
                    <a:pt x="8202" y="6471"/>
                  </a:cubicBezTo>
                  <a:cubicBezTo>
                    <a:pt x="8219" y="6473"/>
                    <a:pt x="8235" y="6475"/>
                    <a:pt x="8251" y="6477"/>
                  </a:cubicBezTo>
                  <a:cubicBezTo>
                    <a:pt x="8252" y="6496"/>
                    <a:pt x="8252" y="6515"/>
                    <a:pt x="8252" y="6534"/>
                  </a:cubicBezTo>
                  <a:close/>
                  <a:moveTo>
                    <a:pt x="7982" y="5236"/>
                  </a:moveTo>
                  <a:cubicBezTo>
                    <a:pt x="7941" y="5143"/>
                    <a:pt x="7887" y="5053"/>
                    <a:pt x="7827" y="4965"/>
                  </a:cubicBezTo>
                  <a:cubicBezTo>
                    <a:pt x="7978" y="4972"/>
                    <a:pt x="7978" y="4972"/>
                    <a:pt x="7978" y="4972"/>
                  </a:cubicBezTo>
                  <a:cubicBezTo>
                    <a:pt x="8022" y="5041"/>
                    <a:pt x="8062" y="5112"/>
                    <a:pt x="8094" y="5186"/>
                  </a:cubicBezTo>
                  <a:cubicBezTo>
                    <a:pt x="8271" y="5587"/>
                    <a:pt x="8371" y="6066"/>
                    <a:pt x="8388" y="6426"/>
                  </a:cubicBezTo>
                  <a:cubicBezTo>
                    <a:pt x="8376" y="6425"/>
                    <a:pt x="8364" y="6424"/>
                    <a:pt x="8352" y="6422"/>
                  </a:cubicBezTo>
                  <a:cubicBezTo>
                    <a:pt x="8324" y="6419"/>
                    <a:pt x="8295" y="6416"/>
                    <a:pt x="8265" y="6412"/>
                  </a:cubicBezTo>
                  <a:cubicBezTo>
                    <a:pt x="8245" y="6070"/>
                    <a:pt x="8148" y="5611"/>
                    <a:pt x="7982" y="5236"/>
                  </a:cubicBezTo>
                  <a:close/>
                  <a:moveTo>
                    <a:pt x="6297" y="7993"/>
                  </a:moveTo>
                  <a:cubicBezTo>
                    <a:pt x="6301" y="7997"/>
                    <a:pt x="6301" y="7997"/>
                    <a:pt x="6301" y="7997"/>
                  </a:cubicBezTo>
                  <a:cubicBezTo>
                    <a:pt x="6301" y="7998"/>
                    <a:pt x="6301" y="7998"/>
                    <a:pt x="6301" y="7998"/>
                  </a:cubicBezTo>
                  <a:cubicBezTo>
                    <a:pt x="6302" y="7992"/>
                    <a:pt x="6302" y="7992"/>
                    <a:pt x="6302" y="7992"/>
                  </a:cubicBezTo>
                  <a:cubicBezTo>
                    <a:pt x="6300" y="7999"/>
                    <a:pt x="6300" y="7999"/>
                    <a:pt x="6300" y="7999"/>
                  </a:cubicBezTo>
                  <a:cubicBezTo>
                    <a:pt x="6259" y="7996"/>
                    <a:pt x="6215" y="7993"/>
                    <a:pt x="6169" y="7990"/>
                  </a:cubicBezTo>
                  <a:cubicBezTo>
                    <a:pt x="6172" y="7953"/>
                    <a:pt x="6172" y="7953"/>
                    <a:pt x="6172" y="7953"/>
                  </a:cubicBezTo>
                  <a:cubicBezTo>
                    <a:pt x="6240" y="7959"/>
                    <a:pt x="6240" y="7959"/>
                    <a:pt x="6240" y="7959"/>
                  </a:cubicBezTo>
                  <a:cubicBezTo>
                    <a:pt x="6247" y="7959"/>
                    <a:pt x="6247" y="7959"/>
                    <a:pt x="6247" y="7959"/>
                  </a:cubicBezTo>
                  <a:cubicBezTo>
                    <a:pt x="6257" y="7802"/>
                    <a:pt x="6257" y="7802"/>
                    <a:pt x="6257" y="7802"/>
                  </a:cubicBezTo>
                  <a:cubicBezTo>
                    <a:pt x="6187" y="7796"/>
                    <a:pt x="6187" y="7796"/>
                    <a:pt x="6187" y="7796"/>
                  </a:cubicBezTo>
                  <a:cubicBezTo>
                    <a:pt x="6192" y="7742"/>
                    <a:pt x="6192" y="7742"/>
                    <a:pt x="6192" y="7742"/>
                  </a:cubicBezTo>
                  <a:cubicBezTo>
                    <a:pt x="6321" y="7812"/>
                    <a:pt x="6321" y="7812"/>
                    <a:pt x="6321" y="7812"/>
                  </a:cubicBezTo>
                  <a:cubicBezTo>
                    <a:pt x="6320" y="7824"/>
                    <a:pt x="6317" y="7858"/>
                    <a:pt x="6313" y="7894"/>
                  </a:cubicBezTo>
                  <a:cubicBezTo>
                    <a:pt x="6309" y="7938"/>
                    <a:pt x="6301" y="7987"/>
                    <a:pt x="6297" y="7993"/>
                  </a:cubicBezTo>
                  <a:cubicBezTo>
                    <a:pt x="6298" y="7994"/>
                    <a:pt x="6298" y="7994"/>
                    <a:pt x="6298" y="7994"/>
                  </a:cubicBezTo>
                  <a:lnTo>
                    <a:pt x="6297" y="7993"/>
                  </a:lnTo>
                  <a:close/>
                  <a:moveTo>
                    <a:pt x="5966" y="7922"/>
                  </a:moveTo>
                  <a:cubicBezTo>
                    <a:pt x="5957" y="7882"/>
                    <a:pt x="5944" y="7830"/>
                    <a:pt x="5934" y="7788"/>
                  </a:cubicBezTo>
                  <a:cubicBezTo>
                    <a:pt x="6172" y="7808"/>
                    <a:pt x="6172" y="7808"/>
                    <a:pt x="6172" y="7808"/>
                  </a:cubicBezTo>
                  <a:cubicBezTo>
                    <a:pt x="6159" y="7939"/>
                    <a:pt x="6159" y="7939"/>
                    <a:pt x="6159" y="7939"/>
                  </a:cubicBezTo>
                  <a:lnTo>
                    <a:pt x="5966" y="7922"/>
                  </a:lnTo>
                  <a:close/>
                  <a:moveTo>
                    <a:pt x="6158" y="7952"/>
                  </a:moveTo>
                  <a:cubicBezTo>
                    <a:pt x="6155" y="7989"/>
                    <a:pt x="6155" y="7989"/>
                    <a:pt x="6155" y="7989"/>
                  </a:cubicBezTo>
                  <a:cubicBezTo>
                    <a:pt x="6097" y="7985"/>
                    <a:pt x="6037" y="7981"/>
                    <a:pt x="5975" y="7976"/>
                  </a:cubicBezTo>
                  <a:cubicBezTo>
                    <a:pt x="5974" y="7967"/>
                    <a:pt x="5972" y="7953"/>
                    <a:pt x="5968" y="7936"/>
                  </a:cubicBezTo>
                  <a:lnTo>
                    <a:pt x="6158" y="7952"/>
                  </a:lnTo>
                  <a:close/>
                  <a:moveTo>
                    <a:pt x="5300" y="7722"/>
                  </a:moveTo>
                  <a:cubicBezTo>
                    <a:pt x="5289" y="7878"/>
                    <a:pt x="5289" y="7878"/>
                    <a:pt x="5289" y="7878"/>
                  </a:cubicBezTo>
                  <a:cubicBezTo>
                    <a:pt x="5386" y="7886"/>
                    <a:pt x="5386" y="7886"/>
                    <a:pt x="5386" y="7886"/>
                  </a:cubicBezTo>
                  <a:cubicBezTo>
                    <a:pt x="5385" y="7934"/>
                    <a:pt x="5385" y="7934"/>
                    <a:pt x="5385" y="7934"/>
                  </a:cubicBezTo>
                  <a:cubicBezTo>
                    <a:pt x="5331" y="7930"/>
                    <a:pt x="5283" y="7927"/>
                    <a:pt x="5243" y="7924"/>
                  </a:cubicBezTo>
                  <a:cubicBezTo>
                    <a:pt x="5183" y="7412"/>
                    <a:pt x="5183" y="7412"/>
                    <a:pt x="5183" y="7412"/>
                  </a:cubicBezTo>
                  <a:cubicBezTo>
                    <a:pt x="5181" y="7407"/>
                    <a:pt x="5181" y="7407"/>
                    <a:pt x="5181" y="7407"/>
                  </a:cubicBezTo>
                  <a:cubicBezTo>
                    <a:pt x="5258" y="7359"/>
                    <a:pt x="5258" y="7359"/>
                    <a:pt x="5258" y="7359"/>
                  </a:cubicBezTo>
                  <a:cubicBezTo>
                    <a:pt x="5585" y="7364"/>
                    <a:pt x="5585" y="7364"/>
                    <a:pt x="5585" y="7364"/>
                  </a:cubicBezTo>
                  <a:cubicBezTo>
                    <a:pt x="5589" y="7746"/>
                    <a:pt x="5589" y="7746"/>
                    <a:pt x="5589" y="7746"/>
                  </a:cubicBezTo>
                  <a:cubicBezTo>
                    <a:pt x="5401" y="7730"/>
                    <a:pt x="5401" y="7730"/>
                    <a:pt x="5401" y="7730"/>
                  </a:cubicBezTo>
                  <a:cubicBezTo>
                    <a:pt x="5405" y="7368"/>
                    <a:pt x="5405" y="7368"/>
                    <a:pt x="5405" y="7368"/>
                  </a:cubicBezTo>
                  <a:cubicBezTo>
                    <a:pt x="5391" y="7368"/>
                    <a:pt x="5391" y="7368"/>
                    <a:pt x="5391" y="7368"/>
                  </a:cubicBezTo>
                  <a:cubicBezTo>
                    <a:pt x="5387" y="7729"/>
                    <a:pt x="5387" y="7729"/>
                    <a:pt x="5387" y="7729"/>
                  </a:cubicBezTo>
                  <a:lnTo>
                    <a:pt x="5300" y="7722"/>
                  </a:lnTo>
                  <a:close/>
                  <a:moveTo>
                    <a:pt x="5387" y="7742"/>
                  </a:moveTo>
                  <a:cubicBezTo>
                    <a:pt x="5386" y="7873"/>
                    <a:pt x="5386" y="7873"/>
                    <a:pt x="5386" y="7873"/>
                  </a:cubicBezTo>
                  <a:cubicBezTo>
                    <a:pt x="5303" y="7866"/>
                    <a:pt x="5303" y="7866"/>
                    <a:pt x="5303" y="7866"/>
                  </a:cubicBezTo>
                  <a:cubicBezTo>
                    <a:pt x="5312" y="7736"/>
                    <a:pt x="5312" y="7736"/>
                    <a:pt x="5312" y="7736"/>
                  </a:cubicBezTo>
                  <a:lnTo>
                    <a:pt x="5387" y="7742"/>
                  </a:lnTo>
                  <a:close/>
                  <a:moveTo>
                    <a:pt x="4355" y="7492"/>
                  </a:moveTo>
                  <a:cubicBezTo>
                    <a:pt x="4366" y="7484"/>
                    <a:pt x="4376" y="7476"/>
                    <a:pt x="4384" y="7468"/>
                  </a:cubicBezTo>
                  <a:cubicBezTo>
                    <a:pt x="4425" y="7429"/>
                    <a:pt x="4459" y="7364"/>
                    <a:pt x="4489" y="7278"/>
                  </a:cubicBezTo>
                  <a:cubicBezTo>
                    <a:pt x="4505" y="7233"/>
                    <a:pt x="4519" y="7184"/>
                    <a:pt x="4532" y="7130"/>
                  </a:cubicBezTo>
                  <a:cubicBezTo>
                    <a:pt x="4566" y="7137"/>
                    <a:pt x="4566" y="7137"/>
                    <a:pt x="4566" y="7137"/>
                  </a:cubicBezTo>
                  <a:cubicBezTo>
                    <a:pt x="4547" y="7240"/>
                    <a:pt x="4547" y="7240"/>
                    <a:pt x="4547" y="7240"/>
                  </a:cubicBezTo>
                  <a:cubicBezTo>
                    <a:pt x="4701" y="7266"/>
                    <a:pt x="4701" y="7266"/>
                    <a:pt x="4701" y="7266"/>
                  </a:cubicBezTo>
                  <a:cubicBezTo>
                    <a:pt x="4719" y="7168"/>
                    <a:pt x="4719" y="7168"/>
                    <a:pt x="4719" y="7168"/>
                  </a:cubicBezTo>
                  <a:cubicBezTo>
                    <a:pt x="5092" y="7242"/>
                    <a:pt x="5092" y="7242"/>
                    <a:pt x="5092" y="7242"/>
                  </a:cubicBezTo>
                  <a:cubicBezTo>
                    <a:pt x="5092" y="7240"/>
                    <a:pt x="5092" y="7240"/>
                    <a:pt x="5092" y="7240"/>
                  </a:cubicBezTo>
                  <a:cubicBezTo>
                    <a:pt x="5092" y="7249"/>
                    <a:pt x="5092" y="7254"/>
                    <a:pt x="5092" y="7254"/>
                  </a:cubicBezTo>
                  <a:cubicBezTo>
                    <a:pt x="5093" y="7255"/>
                    <a:pt x="5093" y="7255"/>
                    <a:pt x="5093" y="7255"/>
                  </a:cubicBezTo>
                  <a:cubicBezTo>
                    <a:pt x="5163" y="7402"/>
                    <a:pt x="5163" y="7402"/>
                    <a:pt x="5163" y="7402"/>
                  </a:cubicBezTo>
                  <a:cubicBezTo>
                    <a:pt x="4895" y="7569"/>
                    <a:pt x="4895" y="7569"/>
                    <a:pt x="4895" y="7569"/>
                  </a:cubicBezTo>
                  <a:cubicBezTo>
                    <a:pt x="4754" y="7517"/>
                    <a:pt x="4754" y="7517"/>
                    <a:pt x="4754" y="7517"/>
                  </a:cubicBezTo>
                  <a:cubicBezTo>
                    <a:pt x="4408" y="7735"/>
                    <a:pt x="4408" y="7735"/>
                    <a:pt x="4408" y="7735"/>
                  </a:cubicBezTo>
                  <a:lnTo>
                    <a:pt x="4355" y="7492"/>
                  </a:lnTo>
                  <a:close/>
                  <a:moveTo>
                    <a:pt x="4404" y="7792"/>
                  </a:moveTo>
                  <a:cubicBezTo>
                    <a:pt x="4308" y="7805"/>
                    <a:pt x="4308" y="7805"/>
                    <a:pt x="4308" y="7805"/>
                  </a:cubicBezTo>
                  <a:cubicBezTo>
                    <a:pt x="4256" y="7554"/>
                    <a:pt x="4256" y="7554"/>
                    <a:pt x="4256" y="7554"/>
                  </a:cubicBezTo>
                  <a:cubicBezTo>
                    <a:pt x="4283" y="7539"/>
                    <a:pt x="4313" y="7522"/>
                    <a:pt x="4341" y="7502"/>
                  </a:cubicBezTo>
                  <a:lnTo>
                    <a:pt x="4404" y="7792"/>
                  </a:lnTo>
                  <a:close/>
                  <a:moveTo>
                    <a:pt x="3702" y="6825"/>
                  </a:moveTo>
                  <a:cubicBezTo>
                    <a:pt x="3702" y="6825"/>
                    <a:pt x="3702" y="6825"/>
                    <a:pt x="3702" y="6825"/>
                  </a:cubicBezTo>
                  <a:cubicBezTo>
                    <a:pt x="3696" y="6825"/>
                    <a:pt x="3604" y="6807"/>
                    <a:pt x="3559" y="6798"/>
                  </a:cubicBezTo>
                  <a:cubicBezTo>
                    <a:pt x="3551" y="6797"/>
                    <a:pt x="3545" y="6795"/>
                    <a:pt x="3541" y="6795"/>
                  </a:cubicBezTo>
                  <a:cubicBezTo>
                    <a:pt x="3553" y="6756"/>
                    <a:pt x="3553" y="6756"/>
                    <a:pt x="3553" y="6756"/>
                  </a:cubicBezTo>
                  <a:cubicBezTo>
                    <a:pt x="3798" y="6542"/>
                    <a:pt x="3798" y="6542"/>
                    <a:pt x="3798" y="6542"/>
                  </a:cubicBezTo>
                  <a:cubicBezTo>
                    <a:pt x="4063" y="6695"/>
                    <a:pt x="4063" y="6695"/>
                    <a:pt x="4063" y="6695"/>
                  </a:cubicBezTo>
                  <a:cubicBezTo>
                    <a:pt x="3902" y="6904"/>
                    <a:pt x="3902" y="6904"/>
                    <a:pt x="3902" y="6904"/>
                  </a:cubicBezTo>
                  <a:cubicBezTo>
                    <a:pt x="3717" y="6870"/>
                    <a:pt x="3717" y="6870"/>
                    <a:pt x="3717" y="6870"/>
                  </a:cubicBezTo>
                  <a:cubicBezTo>
                    <a:pt x="3716" y="6866"/>
                    <a:pt x="3716" y="6861"/>
                    <a:pt x="3715" y="6856"/>
                  </a:cubicBezTo>
                  <a:cubicBezTo>
                    <a:pt x="3713" y="6845"/>
                    <a:pt x="3713" y="6836"/>
                    <a:pt x="3710" y="6830"/>
                  </a:cubicBezTo>
                  <a:cubicBezTo>
                    <a:pt x="3709" y="6829"/>
                    <a:pt x="3709" y="6826"/>
                    <a:pt x="3703" y="6825"/>
                  </a:cubicBezTo>
                  <a:cubicBezTo>
                    <a:pt x="3703" y="6825"/>
                    <a:pt x="3703" y="6825"/>
                    <a:pt x="3703" y="6825"/>
                  </a:cubicBezTo>
                  <a:cubicBezTo>
                    <a:pt x="3703" y="6825"/>
                    <a:pt x="3702" y="6825"/>
                    <a:pt x="3702" y="6825"/>
                  </a:cubicBezTo>
                  <a:close/>
                  <a:moveTo>
                    <a:pt x="2579" y="6728"/>
                  </a:moveTo>
                  <a:cubicBezTo>
                    <a:pt x="2457" y="7276"/>
                    <a:pt x="2457" y="7276"/>
                    <a:pt x="2457" y="7276"/>
                  </a:cubicBezTo>
                  <a:cubicBezTo>
                    <a:pt x="2413" y="7246"/>
                    <a:pt x="2330" y="7185"/>
                    <a:pt x="2248" y="7126"/>
                  </a:cubicBezTo>
                  <a:cubicBezTo>
                    <a:pt x="2166" y="7067"/>
                    <a:pt x="2087" y="7012"/>
                    <a:pt x="2046" y="6989"/>
                  </a:cubicBezTo>
                  <a:cubicBezTo>
                    <a:pt x="2038" y="6985"/>
                    <a:pt x="2025" y="6978"/>
                    <a:pt x="2008" y="6969"/>
                  </a:cubicBezTo>
                  <a:cubicBezTo>
                    <a:pt x="2021" y="6950"/>
                    <a:pt x="2038" y="6925"/>
                    <a:pt x="2058" y="6894"/>
                  </a:cubicBezTo>
                  <a:cubicBezTo>
                    <a:pt x="2099" y="6832"/>
                    <a:pt x="2152" y="6749"/>
                    <a:pt x="2206" y="6667"/>
                  </a:cubicBezTo>
                  <a:cubicBezTo>
                    <a:pt x="2230" y="6629"/>
                    <a:pt x="2255" y="6591"/>
                    <a:pt x="2278" y="6555"/>
                  </a:cubicBezTo>
                  <a:cubicBezTo>
                    <a:pt x="2569" y="6721"/>
                    <a:pt x="2569" y="6721"/>
                    <a:pt x="2569" y="6721"/>
                  </a:cubicBezTo>
                  <a:cubicBezTo>
                    <a:pt x="2802" y="6806"/>
                    <a:pt x="2802" y="6806"/>
                    <a:pt x="2802" y="6806"/>
                  </a:cubicBezTo>
                  <a:cubicBezTo>
                    <a:pt x="2803" y="6806"/>
                    <a:pt x="2803" y="6806"/>
                    <a:pt x="2803" y="6807"/>
                  </a:cubicBezTo>
                  <a:cubicBezTo>
                    <a:pt x="2804" y="6809"/>
                    <a:pt x="2806" y="6813"/>
                    <a:pt x="2808" y="6818"/>
                  </a:cubicBezTo>
                  <a:cubicBezTo>
                    <a:pt x="2812" y="6827"/>
                    <a:pt x="2818" y="6841"/>
                    <a:pt x="2825" y="6858"/>
                  </a:cubicBezTo>
                  <a:cubicBezTo>
                    <a:pt x="2840" y="6891"/>
                    <a:pt x="2860" y="6937"/>
                    <a:pt x="2882" y="6989"/>
                  </a:cubicBezTo>
                  <a:cubicBezTo>
                    <a:pt x="2926" y="7092"/>
                    <a:pt x="2980" y="7216"/>
                    <a:pt x="3018" y="7301"/>
                  </a:cubicBezTo>
                  <a:cubicBezTo>
                    <a:pt x="3036" y="7341"/>
                    <a:pt x="3050" y="7371"/>
                    <a:pt x="3059" y="7388"/>
                  </a:cubicBezTo>
                  <a:cubicBezTo>
                    <a:pt x="2995" y="7424"/>
                    <a:pt x="2922" y="7453"/>
                    <a:pt x="2849" y="7453"/>
                  </a:cubicBezTo>
                  <a:cubicBezTo>
                    <a:pt x="2838" y="7453"/>
                    <a:pt x="2826" y="7452"/>
                    <a:pt x="2815" y="7450"/>
                  </a:cubicBezTo>
                  <a:cubicBezTo>
                    <a:pt x="2661" y="7431"/>
                    <a:pt x="2556" y="7347"/>
                    <a:pt x="2469" y="7285"/>
                  </a:cubicBezTo>
                  <a:cubicBezTo>
                    <a:pt x="2593" y="6731"/>
                    <a:pt x="2593" y="6731"/>
                    <a:pt x="2593" y="6731"/>
                  </a:cubicBezTo>
                  <a:lnTo>
                    <a:pt x="2579" y="6728"/>
                  </a:lnTo>
                  <a:close/>
                  <a:moveTo>
                    <a:pt x="2185" y="5689"/>
                  </a:moveTo>
                  <a:cubicBezTo>
                    <a:pt x="2185" y="5689"/>
                    <a:pt x="2185" y="5689"/>
                    <a:pt x="2185" y="5689"/>
                  </a:cubicBezTo>
                  <a:cubicBezTo>
                    <a:pt x="2185" y="5689"/>
                    <a:pt x="2185" y="5689"/>
                    <a:pt x="2184" y="5689"/>
                  </a:cubicBezTo>
                  <a:cubicBezTo>
                    <a:pt x="2183" y="5688"/>
                    <a:pt x="2181" y="5688"/>
                    <a:pt x="2179" y="5687"/>
                  </a:cubicBezTo>
                  <a:cubicBezTo>
                    <a:pt x="2174" y="5685"/>
                    <a:pt x="2168" y="5682"/>
                    <a:pt x="2162" y="5678"/>
                  </a:cubicBezTo>
                  <a:cubicBezTo>
                    <a:pt x="2148" y="5671"/>
                    <a:pt x="2130" y="5662"/>
                    <a:pt x="2112" y="5653"/>
                  </a:cubicBezTo>
                  <a:cubicBezTo>
                    <a:pt x="2107" y="5650"/>
                    <a:pt x="2101" y="5647"/>
                    <a:pt x="2096" y="5644"/>
                  </a:cubicBezTo>
                  <a:cubicBezTo>
                    <a:pt x="2152" y="5531"/>
                    <a:pt x="2152" y="5531"/>
                    <a:pt x="2152" y="5531"/>
                  </a:cubicBezTo>
                  <a:cubicBezTo>
                    <a:pt x="2248" y="5578"/>
                    <a:pt x="2248" y="5578"/>
                    <a:pt x="2248" y="5578"/>
                  </a:cubicBezTo>
                  <a:cubicBezTo>
                    <a:pt x="2190" y="5691"/>
                    <a:pt x="2190" y="5691"/>
                    <a:pt x="2190" y="5691"/>
                  </a:cubicBezTo>
                  <a:cubicBezTo>
                    <a:pt x="2189" y="5690"/>
                    <a:pt x="2188" y="5690"/>
                    <a:pt x="2185" y="5689"/>
                  </a:cubicBezTo>
                  <a:cubicBezTo>
                    <a:pt x="2185" y="5689"/>
                    <a:pt x="2185" y="5689"/>
                    <a:pt x="2185" y="5689"/>
                  </a:cubicBezTo>
                  <a:cubicBezTo>
                    <a:pt x="2185" y="5689"/>
                    <a:pt x="2185" y="5689"/>
                    <a:pt x="2185" y="5689"/>
                  </a:cubicBezTo>
                  <a:close/>
                  <a:moveTo>
                    <a:pt x="2155" y="5691"/>
                  </a:moveTo>
                  <a:cubicBezTo>
                    <a:pt x="2169" y="5697"/>
                    <a:pt x="2176" y="5701"/>
                    <a:pt x="2183" y="5703"/>
                  </a:cubicBezTo>
                  <a:cubicBezTo>
                    <a:pt x="2183" y="5703"/>
                    <a:pt x="2183" y="5704"/>
                    <a:pt x="2184" y="5704"/>
                  </a:cubicBezTo>
                  <a:cubicBezTo>
                    <a:pt x="2104" y="5861"/>
                    <a:pt x="2104" y="5861"/>
                    <a:pt x="2104" y="5861"/>
                  </a:cubicBezTo>
                  <a:cubicBezTo>
                    <a:pt x="2010" y="5815"/>
                    <a:pt x="2010" y="5815"/>
                    <a:pt x="2010" y="5815"/>
                  </a:cubicBezTo>
                  <a:cubicBezTo>
                    <a:pt x="2089" y="5657"/>
                    <a:pt x="2089" y="5657"/>
                    <a:pt x="2089" y="5657"/>
                  </a:cubicBezTo>
                  <a:cubicBezTo>
                    <a:pt x="2112" y="5669"/>
                    <a:pt x="2137" y="5682"/>
                    <a:pt x="2155" y="5691"/>
                  </a:cubicBezTo>
                  <a:close/>
                  <a:moveTo>
                    <a:pt x="1993" y="5821"/>
                  </a:moveTo>
                  <a:cubicBezTo>
                    <a:pt x="2110" y="5878"/>
                    <a:pt x="2110" y="5878"/>
                    <a:pt x="2110" y="5878"/>
                  </a:cubicBezTo>
                  <a:cubicBezTo>
                    <a:pt x="2193" y="5716"/>
                    <a:pt x="2193" y="5716"/>
                    <a:pt x="2193" y="5716"/>
                  </a:cubicBezTo>
                  <a:cubicBezTo>
                    <a:pt x="2193" y="5716"/>
                    <a:pt x="2193" y="5716"/>
                    <a:pt x="2194" y="5717"/>
                  </a:cubicBezTo>
                  <a:cubicBezTo>
                    <a:pt x="2201" y="5727"/>
                    <a:pt x="2209" y="5741"/>
                    <a:pt x="2218" y="5754"/>
                  </a:cubicBezTo>
                  <a:cubicBezTo>
                    <a:pt x="2234" y="5782"/>
                    <a:pt x="2249" y="5809"/>
                    <a:pt x="2250" y="5809"/>
                  </a:cubicBezTo>
                  <a:cubicBezTo>
                    <a:pt x="2251" y="5812"/>
                    <a:pt x="2251" y="5812"/>
                    <a:pt x="2251" y="5812"/>
                  </a:cubicBezTo>
                  <a:cubicBezTo>
                    <a:pt x="2255" y="5812"/>
                    <a:pt x="2255" y="5812"/>
                    <a:pt x="2255" y="5812"/>
                  </a:cubicBezTo>
                  <a:cubicBezTo>
                    <a:pt x="2255" y="5812"/>
                    <a:pt x="2307" y="5820"/>
                    <a:pt x="2362" y="5828"/>
                  </a:cubicBezTo>
                  <a:cubicBezTo>
                    <a:pt x="2413" y="5836"/>
                    <a:pt x="2468" y="5846"/>
                    <a:pt x="2478" y="5849"/>
                  </a:cubicBezTo>
                  <a:cubicBezTo>
                    <a:pt x="2529" y="5938"/>
                    <a:pt x="2529" y="5938"/>
                    <a:pt x="2529" y="5938"/>
                  </a:cubicBezTo>
                  <a:cubicBezTo>
                    <a:pt x="2527" y="5941"/>
                    <a:pt x="2525" y="5943"/>
                    <a:pt x="2521" y="5947"/>
                  </a:cubicBezTo>
                  <a:cubicBezTo>
                    <a:pt x="2515" y="5953"/>
                    <a:pt x="2508" y="5963"/>
                    <a:pt x="2499" y="5974"/>
                  </a:cubicBezTo>
                  <a:cubicBezTo>
                    <a:pt x="2486" y="5991"/>
                    <a:pt x="2471" y="6012"/>
                    <a:pt x="2455" y="6034"/>
                  </a:cubicBezTo>
                  <a:cubicBezTo>
                    <a:pt x="2427" y="6030"/>
                    <a:pt x="2152" y="6001"/>
                    <a:pt x="2130" y="5999"/>
                  </a:cubicBezTo>
                  <a:cubicBezTo>
                    <a:pt x="2129" y="5999"/>
                    <a:pt x="2129" y="5999"/>
                    <a:pt x="2128" y="5998"/>
                  </a:cubicBezTo>
                  <a:cubicBezTo>
                    <a:pt x="2126" y="5997"/>
                    <a:pt x="2124" y="5996"/>
                    <a:pt x="2120" y="5994"/>
                  </a:cubicBezTo>
                  <a:cubicBezTo>
                    <a:pt x="2114" y="5990"/>
                    <a:pt x="2105" y="5984"/>
                    <a:pt x="2094" y="5977"/>
                  </a:cubicBezTo>
                  <a:cubicBezTo>
                    <a:pt x="2073" y="5963"/>
                    <a:pt x="2046" y="5944"/>
                    <a:pt x="2019" y="5925"/>
                  </a:cubicBezTo>
                  <a:cubicBezTo>
                    <a:pt x="1984" y="5901"/>
                    <a:pt x="1950" y="5877"/>
                    <a:pt x="1930" y="5863"/>
                  </a:cubicBezTo>
                  <a:cubicBezTo>
                    <a:pt x="2055" y="5638"/>
                    <a:pt x="2055" y="5638"/>
                    <a:pt x="2055" y="5638"/>
                  </a:cubicBezTo>
                  <a:cubicBezTo>
                    <a:pt x="2062" y="5642"/>
                    <a:pt x="2069" y="5646"/>
                    <a:pt x="2078" y="5650"/>
                  </a:cubicBezTo>
                  <a:lnTo>
                    <a:pt x="1993" y="5821"/>
                  </a:lnTo>
                  <a:close/>
                  <a:moveTo>
                    <a:pt x="6160" y="6304"/>
                  </a:moveTo>
                  <a:cubicBezTo>
                    <a:pt x="6156" y="6364"/>
                    <a:pt x="6156" y="6364"/>
                    <a:pt x="6156" y="6364"/>
                  </a:cubicBezTo>
                  <a:cubicBezTo>
                    <a:pt x="6045" y="6355"/>
                    <a:pt x="6045" y="6355"/>
                    <a:pt x="6045" y="6355"/>
                  </a:cubicBezTo>
                  <a:cubicBezTo>
                    <a:pt x="6066" y="6253"/>
                    <a:pt x="6066" y="6253"/>
                    <a:pt x="6066" y="6253"/>
                  </a:cubicBezTo>
                  <a:cubicBezTo>
                    <a:pt x="6117" y="6257"/>
                    <a:pt x="6117" y="6257"/>
                    <a:pt x="6117" y="6257"/>
                  </a:cubicBezTo>
                  <a:cubicBezTo>
                    <a:pt x="6114" y="6300"/>
                    <a:pt x="6114" y="6300"/>
                    <a:pt x="6114" y="6300"/>
                  </a:cubicBezTo>
                  <a:lnTo>
                    <a:pt x="6160" y="6304"/>
                  </a:lnTo>
                  <a:close/>
                  <a:moveTo>
                    <a:pt x="6031" y="6354"/>
                  </a:moveTo>
                  <a:cubicBezTo>
                    <a:pt x="5972" y="6349"/>
                    <a:pt x="5972" y="6349"/>
                    <a:pt x="5972" y="6349"/>
                  </a:cubicBezTo>
                  <a:cubicBezTo>
                    <a:pt x="5977" y="6289"/>
                    <a:pt x="5977" y="6289"/>
                    <a:pt x="5977" y="6289"/>
                  </a:cubicBezTo>
                  <a:cubicBezTo>
                    <a:pt x="6023" y="6293"/>
                    <a:pt x="6023" y="6293"/>
                    <a:pt x="6023" y="6293"/>
                  </a:cubicBezTo>
                  <a:cubicBezTo>
                    <a:pt x="6027" y="6250"/>
                    <a:pt x="6027" y="6250"/>
                    <a:pt x="6027" y="6250"/>
                  </a:cubicBezTo>
                  <a:cubicBezTo>
                    <a:pt x="6052" y="6252"/>
                    <a:pt x="6052" y="6252"/>
                    <a:pt x="6052" y="6252"/>
                  </a:cubicBezTo>
                  <a:lnTo>
                    <a:pt x="6031" y="6354"/>
                  </a:lnTo>
                  <a:close/>
                  <a:moveTo>
                    <a:pt x="6043" y="6368"/>
                  </a:moveTo>
                  <a:cubicBezTo>
                    <a:pt x="6168" y="6378"/>
                    <a:pt x="6168" y="6378"/>
                    <a:pt x="6168" y="6378"/>
                  </a:cubicBezTo>
                  <a:cubicBezTo>
                    <a:pt x="6175" y="6292"/>
                    <a:pt x="6175" y="6292"/>
                    <a:pt x="6175" y="6292"/>
                  </a:cubicBezTo>
                  <a:cubicBezTo>
                    <a:pt x="6128" y="6288"/>
                    <a:pt x="6128" y="6288"/>
                    <a:pt x="6128" y="6288"/>
                  </a:cubicBezTo>
                  <a:cubicBezTo>
                    <a:pt x="6131" y="6245"/>
                    <a:pt x="6131" y="6245"/>
                    <a:pt x="6131" y="6245"/>
                  </a:cubicBezTo>
                  <a:cubicBezTo>
                    <a:pt x="6068" y="6240"/>
                    <a:pt x="6068" y="6240"/>
                    <a:pt x="6068" y="6240"/>
                  </a:cubicBezTo>
                  <a:cubicBezTo>
                    <a:pt x="6072" y="6224"/>
                    <a:pt x="6072" y="6224"/>
                    <a:pt x="6072" y="6224"/>
                  </a:cubicBezTo>
                  <a:cubicBezTo>
                    <a:pt x="6207" y="6240"/>
                    <a:pt x="6207" y="6240"/>
                    <a:pt x="6207" y="6240"/>
                  </a:cubicBezTo>
                  <a:cubicBezTo>
                    <a:pt x="6206" y="6286"/>
                    <a:pt x="6205" y="6394"/>
                    <a:pt x="6201" y="6460"/>
                  </a:cubicBezTo>
                  <a:cubicBezTo>
                    <a:pt x="6200" y="6488"/>
                    <a:pt x="6197" y="6510"/>
                    <a:pt x="6197" y="6511"/>
                  </a:cubicBezTo>
                  <a:cubicBezTo>
                    <a:pt x="6202" y="6513"/>
                    <a:pt x="6202" y="6513"/>
                    <a:pt x="6202" y="6513"/>
                  </a:cubicBezTo>
                  <a:cubicBezTo>
                    <a:pt x="6152" y="6508"/>
                    <a:pt x="6152" y="6508"/>
                    <a:pt x="6152" y="6508"/>
                  </a:cubicBezTo>
                  <a:cubicBezTo>
                    <a:pt x="6146" y="6471"/>
                    <a:pt x="6146" y="6471"/>
                    <a:pt x="6146" y="6471"/>
                  </a:cubicBezTo>
                  <a:cubicBezTo>
                    <a:pt x="6025" y="6457"/>
                    <a:pt x="6025" y="6457"/>
                    <a:pt x="6025" y="6457"/>
                  </a:cubicBezTo>
                  <a:lnTo>
                    <a:pt x="6043" y="6368"/>
                  </a:lnTo>
                  <a:close/>
                  <a:moveTo>
                    <a:pt x="7088" y="6405"/>
                  </a:moveTo>
                  <a:cubicBezTo>
                    <a:pt x="7083" y="6464"/>
                    <a:pt x="7083" y="6464"/>
                    <a:pt x="7083" y="6464"/>
                  </a:cubicBezTo>
                  <a:cubicBezTo>
                    <a:pt x="6998" y="6458"/>
                    <a:pt x="6998" y="6458"/>
                    <a:pt x="6998" y="6458"/>
                  </a:cubicBezTo>
                  <a:cubicBezTo>
                    <a:pt x="7015" y="6356"/>
                    <a:pt x="7015" y="6356"/>
                    <a:pt x="7015" y="6356"/>
                  </a:cubicBezTo>
                  <a:cubicBezTo>
                    <a:pt x="7045" y="6358"/>
                    <a:pt x="7045" y="6358"/>
                    <a:pt x="7045" y="6358"/>
                  </a:cubicBezTo>
                  <a:cubicBezTo>
                    <a:pt x="7041" y="6401"/>
                    <a:pt x="7041" y="6401"/>
                    <a:pt x="7041" y="6401"/>
                  </a:cubicBezTo>
                  <a:lnTo>
                    <a:pt x="7088" y="6405"/>
                  </a:lnTo>
                  <a:close/>
                  <a:moveTo>
                    <a:pt x="6984" y="6457"/>
                  </a:moveTo>
                  <a:cubicBezTo>
                    <a:pt x="6900" y="6450"/>
                    <a:pt x="6900" y="6450"/>
                    <a:pt x="6900" y="6450"/>
                  </a:cubicBezTo>
                  <a:cubicBezTo>
                    <a:pt x="6904" y="6390"/>
                    <a:pt x="6904" y="6390"/>
                    <a:pt x="6904" y="6390"/>
                  </a:cubicBezTo>
                  <a:cubicBezTo>
                    <a:pt x="6951" y="6394"/>
                    <a:pt x="6951" y="6394"/>
                    <a:pt x="6951" y="6394"/>
                  </a:cubicBezTo>
                  <a:cubicBezTo>
                    <a:pt x="6954" y="6351"/>
                    <a:pt x="6954" y="6351"/>
                    <a:pt x="6954" y="6351"/>
                  </a:cubicBezTo>
                  <a:cubicBezTo>
                    <a:pt x="7001" y="6355"/>
                    <a:pt x="7001" y="6355"/>
                    <a:pt x="7001" y="6355"/>
                  </a:cubicBezTo>
                  <a:lnTo>
                    <a:pt x="6984" y="6457"/>
                  </a:lnTo>
                  <a:close/>
                  <a:moveTo>
                    <a:pt x="7004" y="6342"/>
                  </a:moveTo>
                  <a:cubicBezTo>
                    <a:pt x="6942" y="6337"/>
                    <a:pt x="6942" y="6337"/>
                    <a:pt x="6942" y="6337"/>
                  </a:cubicBezTo>
                  <a:cubicBezTo>
                    <a:pt x="6939" y="6380"/>
                    <a:pt x="6939" y="6380"/>
                    <a:pt x="6939" y="6380"/>
                  </a:cubicBezTo>
                  <a:cubicBezTo>
                    <a:pt x="6892" y="6376"/>
                    <a:pt x="6892" y="6376"/>
                    <a:pt x="6892" y="6376"/>
                  </a:cubicBezTo>
                  <a:cubicBezTo>
                    <a:pt x="6886" y="6456"/>
                    <a:pt x="6886" y="6456"/>
                    <a:pt x="6886" y="6456"/>
                  </a:cubicBezTo>
                  <a:cubicBezTo>
                    <a:pt x="6885" y="6462"/>
                    <a:pt x="6885" y="6462"/>
                    <a:pt x="6885" y="6462"/>
                  </a:cubicBezTo>
                  <a:cubicBezTo>
                    <a:pt x="6981" y="6470"/>
                    <a:pt x="6981" y="6470"/>
                    <a:pt x="6981" y="6470"/>
                  </a:cubicBezTo>
                  <a:cubicBezTo>
                    <a:pt x="6971" y="6529"/>
                    <a:pt x="6971" y="6529"/>
                    <a:pt x="6971" y="6529"/>
                  </a:cubicBezTo>
                  <a:cubicBezTo>
                    <a:pt x="6985" y="6531"/>
                    <a:pt x="6985" y="6531"/>
                    <a:pt x="6985" y="6531"/>
                  </a:cubicBezTo>
                  <a:cubicBezTo>
                    <a:pt x="6995" y="6471"/>
                    <a:pt x="6995" y="6471"/>
                    <a:pt x="6995" y="6471"/>
                  </a:cubicBezTo>
                  <a:cubicBezTo>
                    <a:pt x="7095" y="6479"/>
                    <a:pt x="7095" y="6479"/>
                    <a:pt x="7095" y="6479"/>
                  </a:cubicBezTo>
                  <a:cubicBezTo>
                    <a:pt x="7102" y="6393"/>
                    <a:pt x="7102" y="6393"/>
                    <a:pt x="7102" y="6393"/>
                  </a:cubicBezTo>
                  <a:cubicBezTo>
                    <a:pt x="7055" y="6389"/>
                    <a:pt x="7055" y="6389"/>
                    <a:pt x="7055" y="6389"/>
                  </a:cubicBezTo>
                  <a:cubicBezTo>
                    <a:pt x="7059" y="6346"/>
                    <a:pt x="7059" y="6346"/>
                    <a:pt x="7059" y="6346"/>
                  </a:cubicBezTo>
                  <a:cubicBezTo>
                    <a:pt x="7018" y="6343"/>
                    <a:pt x="7018" y="6343"/>
                    <a:pt x="7018" y="6343"/>
                  </a:cubicBezTo>
                  <a:cubicBezTo>
                    <a:pt x="7018" y="6337"/>
                    <a:pt x="7018" y="6337"/>
                    <a:pt x="7018" y="6337"/>
                  </a:cubicBezTo>
                  <a:cubicBezTo>
                    <a:pt x="7125" y="6350"/>
                    <a:pt x="7125" y="6350"/>
                    <a:pt x="7125" y="6350"/>
                  </a:cubicBezTo>
                  <a:cubicBezTo>
                    <a:pt x="7096" y="6554"/>
                    <a:pt x="7096" y="6554"/>
                    <a:pt x="7096" y="6554"/>
                  </a:cubicBezTo>
                  <a:cubicBezTo>
                    <a:pt x="7093" y="6553"/>
                    <a:pt x="7089" y="6553"/>
                    <a:pt x="7086" y="6552"/>
                  </a:cubicBezTo>
                  <a:cubicBezTo>
                    <a:pt x="7069" y="6550"/>
                    <a:pt x="7046" y="6546"/>
                    <a:pt x="7018" y="6541"/>
                  </a:cubicBezTo>
                  <a:cubicBezTo>
                    <a:pt x="6965" y="6533"/>
                    <a:pt x="6896" y="6522"/>
                    <a:pt x="6826" y="6511"/>
                  </a:cubicBezTo>
                  <a:cubicBezTo>
                    <a:pt x="6828" y="6509"/>
                    <a:pt x="6829" y="6508"/>
                    <a:pt x="6830" y="6506"/>
                  </a:cubicBezTo>
                  <a:cubicBezTo>
                    <a:pt x="6831" y="6504"/>
                    <a:pt x="6832" y="6502"/>
                    <a:pt x="6833" y="6499"/>
                  </a:cubicBezTo>
                  <a:cubicBezTo>
                    <a:pt x="6835" y="6493"/>
                    <a:pt x="6837" y="6485"/>
                    <a:pt x="6839" y="6475"/>
                  </a:cubicBezTo>
                  <a:cubicBezTo>
                    <a:pt x="6844" y="6455"/>
                    <a:pt x="6850" y="6429"/>
                    <a:pt x="6855" y="6404"/>
                  </a:cubicBezTo>
                  <a:cubicBezTo>
                    <a:pt x="6861" y="6371"/>
                    <a:pt x="6867" y="6339"/>
                    <a:pt x="6870" y="6320"/>
                  </a:cubicBezTo>
                  <a:cubicBezTo>
                    <a:pt x="7005" y="6336"/>
                    <a:pt x="7005" y="6336"/>
                    <a:pt x="7005" y="6336"/>
                  </a:cubicBezTo>
                  <a:lnTo>
                    <a:pt x="7004" y="6342"/>
                  </a:lnTo>
                  <a:close/>
                  <a:moveTo>
                    <a:pt x="7202" y="6797"/>
                  </a:moveTo>
                  <a:cubicBezTo>
                    <a:pt x="7192" y="6843"/>
                    <a:pt x="7192" y="6843"/>
                    <a:pt x="7192" y="6843"/>
                  </a:cubicBezTo>
                  <a:cubicBezTo>
                    <a:pt x="7271" y="6859"/>
                    <a:pt x="7271" y="6859"/>
                    <a:pt x="7271" y="6859"/>
                  </a:cubicBezTo>
                  <a:cubicBezTo>
                    <a:pt x="7277" y="6860"/>
                    <a:pt x="7277" y="6860"/>
                    <a:pt x="7277" y="6860"/>
                  </a:cubicBezTo>
                  <a:cubicBezTo>
                    <a:pt x="7295" y="6769"/>
                    <a:pt x="7295" y="6769"/>
                    <a:pt x="7295" y="6769"/>
                  </a:cubicBezTo>
                  <a:cubicBezTo>
                    <a:pt x="7298" y="6770"/>
                    <a:pt x="7298" y="6770"/>
                    <a:pt x="7298" y="6770"/>
                  </a:cubicBezTo>
                  <a:cubicBezTo>
                    <a:pt x="7308" y="6777"/>
                    <a:pt x="7401" y="6841"/>
                    <a:pt x="7431" y="6859"/>
                  </a:cubicBezTo>
                  <a:cubicBezTo>
                    <a:pt x="7436" y="6861"/>
                    <a:pt x="7437" y="6862"/>
                    <a:pt x="7441" y="6863"/>
                  </a:cubicBezTo>
                  <a:cubicBezTo>
                    <a:pt x="7442" y="6863"/>
                    <a:pt x="7442" y="6864"/>
                    <a:pt x="7443" y="6864"/>
                  </a:cubicBezTo>
                  <a:cubicBezTo>
                    <a:pt x="7419" y="6984"/>
                    <a:pt x="7419" y="6984"/>
                    <a:pt x="7419" y="6984"/>
                  </a:cubicBezTo>
                  <a:cubicBezTo>
                    <a:pt x="7381" y="6977"/>
                    <a:pt x="7183" y="6941"/>
                    <a:pt x="7108" y="6926"/>
                  </a:cubicBezTo>
                  <a:cubicBezTo>
                    <a:pt x="7138" y="6719"/>
                    <a:pt x="7138" y="6719"/>
                    <a:pt x="7138" y="6719"/>
                  </a:cubicBezTo>
                  <a:cubicBezTo>
                    <a:pt x="7171" y="6729"/>
                    <a:pt x="7171" y="6729"/>
                    <a:pt x="7171" y="6729"/>
                  </a:cubicBezTo>
                  <a:cubicBezTo>
                    <a:pt x="7159" y="6789"/>
                    <a:pt x="7159" y="6789"/>
                    <a:pt x="7159" y="6789"/>
                  </a:cubicBezTo>
                  <a:lnTo>
                    <a:pt x="7202" y="6797"/>
                  </a:lnTo>
                  <a:close/>
                  <a:moveTo>
                    <a:pt x="7282" y="6765"/>
                  </a:moveTo>
                  <a:cubicBezTo>
                    <a:pt x="7267" y="6845"/>
                    <a:pt x="7267" y="6845"/>
                    <a:pt x="7267" y="6845"/>
                  </a:cubicBezTo>
                  <a:cubicBezTo>
                    <a:pt x="7208" y="6833"/>
                    <a:pt x="7208" y="6833"/>
                    <a:pt x="7208" y="6833"/>
                  </a:cubicBezTo>
                  <a:cubicBezTo>
                    <a:pt x="7217" y="6787"/>
                    <a:pt x="7217" y="6787"/>
                    <a:pt x="7217" y="6787"/>
                  </a:cubicBezTo>
                  <a:cubicBezTo>
                    <a:pt x="7175" y="6779"/>
                    <a:pt x="7175" y="6779"/>
                    <a:pt x="7175" y="6779"/>
                  </a:cubicBezTo>
                  <a:cubicBezTo>
                    <a:pt x="7184" y="6733"/>
                    <a:pt x="7184" y="6733"/>
                    <a:pt x="7184" y="6733"/>
                  </a:cubicBezTo>
                  <a:lnTo>
                    <a:pt x="7282" y="6765"/>
                  </a:lnTo>
                  <a:close/>
                  <a:moveTo>
                    <a:pt x="7186" y="6720"/>
                  </a:moveTo>
                  <a:cubicBezTo>
                    <a:pt x="7192" y="6690"/>
                    <a:pt x="7192" y="6690"/>
                    <a:pt x="7192" y="6690"/>
                  </a:cubicBezTo>
                  <a:cubicBezTo>
                    <a:pt x="7235" y="6698"/>
                    <a:pt x="7235" y="6698"/>
                    <a:pt x="7235" y="6698"/>
                  </a:cubicBezTo>
                  <a:cubicBezTo>
                    <a:pt x="7244" y="6652"/>
                    <a:pt x="7244" y="6652"/>
                    <a:pt x="7244" y="6652"/>
                  </a:cubicBezTo>
                  <a:cubicBezTo>
                    <a:pt x="7303" y="6664"/>
                    <a:pt x="7303" y="6664"/>
                    <a:pt x="7303" y="6664"/>
                  </a:cubicBezTo>
                  <a:cubicBezTo>
                    <a:pt x="7285" y="6752"/>
                    <a:pt x="7285" y="6752"/>
                    <a:pt x="7285" y="6752"/>
                  </a:cubicBezTo>
                  <a:lnTo>
                    <a:pt x="7186" y="6720"/>
                  </a:lnTo>
                  <a:close/>
                  <a:moveTo>
                    <a:pt x="6245" y="7559"/>
                  </a:moveTo>
                  <a:cubicBezTo>
                    <a:pt x="6201" y="7609"/>
                    <a:pt x="6201" y="7609"/>
                    <a:pt x="6201" y="7609"/>
                  </a:cubicBezTo>
                  <a:cubicBezTo>
                    <a:pt x="6201" y="7609"/>
                    <a:pt x="6201" y="7609"/>
                    <a:pt x="6201" y="7609"/>
                  </a:cubicBezTo>
                  <a:cubicBezTo>
                    <a:pt x="6201" y="7609"/>
                    <a:pt x="6200" y="7609"/>
                    <a:pt x="6200" y="7608"/>
                  </a:cubicBezTo>
                  <a:cubicBezTo>
                    <a:pt x="6200" y="7608"/>
                    <a:pt x="6199" y="7607"/>
                    <a:pt x="6198" y="7607"/>
                  </a:cubicBezTo>
                  <a:cubicBezTo>
                    <a:pt x="6197" y="7605"/>
                    <a:pt x="6195" y="7603"/>
                    <a:pt x="6192" y="7601"/>
                  </a:cubicBezTo>
                  <a:cubicBezTo>
                    <a:pt x="6187" y="7596"/>
                    <a:pt x="6179" y="7590"/>
                    <a:pt x="6170" y="7582"/>
                  </a:cubicBezTo>
                  <a:cubicBezTo>
                    <a:pt x="6152" y="7567"/>
                    <a:pt x="6128" y="7547"/>
                    <a:pt x="6103" y="7526"/>
                  </a:cubicBezTo>
                  <a:cubicBezTo>
                    <a:pt x="6055" y="7486"/>
                    <a:pt x="6006" y="7445"/>
                    <a:pt x="6006" y="7445"/>
                  </a:cubicBezTo>
                  <a:cubicBezTo>
                    <a:pt x="6001" y="7441"/>
                    <a:pt x="6001" y="7441"/>
                    <a:pt x="6001" y="7441"/>
                  </a:cubicBezTo>
                  <a:cubicBezTo>
                    <a:pt x="5954" y="7488"/>
                    <a:pt x="5954" y="7488"/>
                    <a:pt x="5954" y="7488"/>
                  </a:cubicBezTo>
                  <a:cubicBezTo>
                    <a:pt x="5743" y="7366"/>
                    <a:pt x="5743" y="7366"/>
                    <a:pt x="5743" y="7366"/>
                  </a:cubicBezTo>
                  <a:cubicBezTo>
                    <a:pt x="5778" y="7165"/>
                    <a:pt x="5778" y="7165"/>
                    <a:pt x="5778" y="7165"/>
                  </a:cubicBezTo>
                  <a:cubicBezTo>
                    <a:pt x="5782" y="7167"/>
                    <a:pt x="5786" y="7168"/>
                    <a:pt x="5790" y="7169"/>
                  </a:cubicBezTo>
                  <a:cubicBezTo>
                    <a:pt x="5804" y="7174"/>
                    <a:pt x="5824" y="7180"/>
                    <a:pt x="5848" y="7188"/>
                  </a:cubicBezTo>
                  <a:cubicBezTo>
                    <a:pt x="5896" y="7203"/>
                    <a:pt x="5959" y="7223"/>
                    <a:pt x="6023" y="7243"/>
                  </a:cubicBezTo>
                  <a:cubicBezTo>
                    <a:pt x="6133" y="7278"/>
                    <a:pt x="6244" y="7312"/>
                    <a:pt x="6271" y="7320"/>
                  </a:cubicBezTo>
                  <a:cubicBezTo>
                    <a:pt x="6270" y="7322"/>
                    <a:pt x="6270" y="7323"/>
                    <a:pt x="6270" y="7326"/>
                  </a:cubicBezTo>
                  <a:cubicBezTo>
                    <a:pt x="6269" y="7333"/>
                    <a:pt x="6267" y="7343"/>
                    <a:pt x="6266" y="7354"/>
                  </a:cubicBezTo>
                  <a:cubicBezTo>
                    <a:pt x="6263" y="7377"/>
                    <a:pt x="6259" y="7406"/>
                    <a:pt x="6255" y="7435"/>
                  </a:cubicBezTo>
                  <a:cubicBezTo>
                    <a:pt x="6248" y="7494"/>
                    <a:pt x="6241" y="7552"/>
                    <a:pt x="6241" y="7552"/>
                  </a:cubicBezTo>
                  <a:cubicBezTo>
                    <a:pt x="6241" y="7556"/>
                    <a:pt x="6241" y="7556"/>
                    <a:pt x="6241" y="7556"/>
                  </a:cubicBezTo>
                  <a:lnTo>
                    <a:pt x="6245" y="7559"/>
                  </a:lnTo>
                  <a:close/>
                  <a:moveTo>
                    <a:pt x="6173" y="7795"/>
                  </a:moveTo>
                  <a:cubicBezTo>
                    <a:pt x="5931" y="7775"/>
                    <a:pt x="5931" y="7775"/>
                    <a:pt x="5931" y="7775"/>
                  </a:cubicBezTo>
                  <a:cubicBezTo>
                    <a:pt x="5924" y="7746"/>
                    <a:pt x="5918" y="7724"/>
                    <a:pt x="5916" y="7718"/>
                  </a:cubicBezTo>
                  <a:cubicBezTo>
                    <a:pt x="5962" y="7500"/>
                    <a:pt x="5962" y="7500"/>
                    <a:pt x="5962" y="7500"/>
                  </a:cubicBezTo>
                  <a:cubicBezTo>
                    <a:pt x="6002" y="7460"/>
                    <a:pt x="6002" y="7460"/>
                    <a:pt x="6002" y="7460"/>
                  </a:cubicBezTo>
                  <a:cubicBezTo>
                    <a:pt x="6015" y="7471"/>
                    <a:pt x="6053" y="7503"/>
                    <a:pt x="6092" y="7535"/>
                  </a:cubicBezTo>
                  <a:cubicBezTo>
                    <a:pt x="6137" y="7573"/>
                    <a:pt x="6185" y="7613"/>
                    <a:pt x="6190" y="7618"/>
                  </a:cubicBezTo>
                  <a:cubicBezTo>
                    <a:pt x="6190" y="7618"/>
                    <a:pt x="6190" y="7618"/>
                    <a:pt x="6190" y="7618"/>
                  </a:cubicBezTo>
                  <a:cubicBezTo>
                    <a:pt x="6190" y="7618"/>
                    <a:pt x="6190" y="7618"/>
                    <a:pt x="6191" y="7618"/>
                  </a:cubicBezTo>
                  <a:cubicBezTo>
                    <a:pt x="6196" y="7614"/>
                    <a:pt x="6196" y="7614"/>
                    <a:pt x="6196" y="7614"/>
                  </a:cubicBezTo>
                  <a:cubicBezTo>
                    <a:pt x="6196" y="7614"/>
                    <a:pt x="6196" y="7614"/>
                    <a:pt x="6196" y="7614"/>
                  </a:cubicBezTo>
                  <a:cubicBezTo>
                    <a:pt x="6195" y="7617"/>
                    <a:pt x="6195" y="7617"/>
                    <a:pt x="6195" y="7617"/>
                  </a:cubicBezTo>
                  <a:cubicBezTo>
                    <a:pt x="6189" y="7623"/>
                    <a:pt x="6189" y="7623"/>
                    <a:pt x="6189" y="7623"/>
                  </a:cubicBezTo>
                  <a:lnTo>
                    <a:pt x="6173" y="7795"/>
                  </a:lnTo>
                  <a:close/>
                  <a:moveTo>
                    <a:pt x="6186" y="7809"/>
                  </a:moveTo>
                  <a:cubicBezTo>
                    <a:pt x="6244" y="7814"/>
                    <a:pt x="6244" y="7814"/>
                    <a:pt x="6244" y="7814"/>
                  </a:cubicBezTo>
                  <a:cubicBezTo>
                    <a:pt x="6235" y="7945"/>
                    <a:pt x="6235" y="7945"/>
                    <a:pt x="6235" y="7945"/>
                  </a:cubicBezTo>
                  <a:cubicBezTo>
                    <a:pt x="6173" y="7940"/>
                    <a:pt x="6173" y="7940"/>
                    <a:pt x="6173" y="7940"/>
                  </a:cubicBezTo>
                  <a:lnTo>
                    <a:pt x="6186" y="7809"/>
                  </a:lnTo>
                  <a:close/>
                  <a:moveTo>
                    <a:pt x="5903" y="7720"/>
                  </a:moveTo>
                  <a:cubicBezTo>
                    <a:pt x="5903" y="7720"/>
                    <a:pt x="5908" y="7742"/>
                    <a:pt x="5916" y="7773"/>
                  </a:cubicBezTo>
                  <a:cubicBezTo>
                    <a:pt x="5807" y="7764"/>
                    <a:pt x="5807" y="7764"/>
                    <a:pt x="5807" y="7764"/>
                  </a:cubicBezTo>
                  <a:cubicBezTo>
                    <a:pt x="5793" y="7645"/>
                    <a:pt x="5793" y="7645"/>
                    <a:pt x="5793" y="7645"/>
                  </a:cubicBezTo>
                  <a:cubicBezTo>
                    <a:pt x="5829" y="7432"/>
                    <a:pt x="5829" y="7432"/>
                    <a:pt x="5829" y="7432"/>
                  </a:cubicBezTo>
                  <a:cubicBezTo>
                    <a:pt x="5948" y="7500"/>
                    <a:pt x="5948" y="7500"/>
                    <a:pt x="5948" y="7500"/>
                  </a:cubicBezTo>
                  <a:cubicBezTo>
                    <a:pt x="5902" y="7719"/>
                    <a:pt x="5902" y="7719"/>
                    <a:pt x="5902" y="7719"/>
                  </a:cubicBezTo>
                  <a:lnTo>
                    <a:pt x="5903" y="7720"/>
                  </a:lnTo>
                  <a:close/>
                  <a:moveTo>
                    <a:pt x="5741" y="7001"/>
                  </a:moveTo>
                  <a:cubicBezTo>
                    <a:pt x="5717" y="7142"/>
                    <a:pt x="5717" y="7142"/>
                    <a:pt x="5717" y="7142"/>
                  </a:cubicBezTo>
                  <a:cubicBezTo>
                    <a:pt x="5703" y="7140"/>
                    <a:pt x="5687" y="7139"/>
                    <a:pt x="5670" y="7137"/>
                  </a:cubicBezTo>
                  <a:cubicBezTo>
                    <a:pt x="5609" y="7130"/>
                    <a:pt x="5527" y="7121"/>
                    <a:pt x="5444" y="7112"/>
                  </a:cubicBezTo>
                  <a:cubicBezTo>
                    <a:pt x="5279" y="7095"/>
                    <a:pt x="5113" y="7077"/>
                    <a:pt x="5103" y="7077"/>
                  </a:cubicBezTo>
                  <a:cubicBezTo>
                    <a:pt x="5103" y="7077"/>
                    <a:pt x="5103" y="7077"/>
                    <a:pt x="5103" y="7077"/>
                  </a:cubicBezTo>
                  <a:cubicBezTo>
                    <a:pt x="5103" y="7077"/>
                    <a:pt x="5102" y="7077"/>
                    <a:pt x="5102" y="7077"/>
                  </a:cubicBezTo>
                  <a:cubicBezTo>
                    <a:pt x="5100" y="7006"/>
                    <a:pt x="5098" y="6937"/>
                    <a:pt x="5095" y="6916"/>
                  </a:cubicBezTo>
                  <a:cubicBezTo>
                    <a:pt x="5095" y="6913"/>
                    <a:pt x="5095" y="6912"/>
                    <a:pt x="5094" y="6910"/>
                  </a:cubicBezTo>
                  <a:cubicBezTo>
                    <a:pt x="5094" y="6901"/>
                    <a:pt x="5112" y="6849"/>
                    <a:pt x="5130" y="6802"/>
                  </a:cubicBezTo>
                  <a:cubicBezTo>
                    <a:pt x="5146" y="6762"/>
                    <a:pt x="5161" y="6723"/>
                    <a:pt x="5166" y="6712"/>
                  </a:cubicBezTo>
                  <a:cubicBezTo>
                    <a:pt x="5212" y="6704"/>
                    <a:pt x="5212" y="6704"/>
                    <a:pt x="5212" y="6704"/>
                  </a:cubicBezTo>
                  <a:cubicBezTo>
                    <a:pt x="5773" y="6818"/>
                    <a:pt x="5773" y="6818"/>
                    <a:pt x="5773" y="6818"/>
                  </a:cubicBezTo>
                  <a:cubicBezTo>
                    <a:pt x="5743" y="6988"/>
                    <a:pt x="5743" y="6988"/>
                    <a:pt x="5743" y="6988"/>
                  </a:cubicBezTo>
                  <a:cubicBezTo>
                    <a:pt x="5123" y="6825"/>
                    <a:pt x="5123" y="6825"/>
                    <a:pt x="5123" y="6825"/>
                  </a:cubicBezTo>
                  <a:cubicBezTo>
                    <a:pt x="5119" y="6838"/>
                    <a:pt x="5119" y="6838"/>
                    <a:pt x="5119" y="6838"/>
                  </a:cubicBezTo>
                  <a:lnTo>
                    <a:pt x="5741" y="7001"/>
                  </a:lnTo>
                  <a:close/>
                  <a:moveTo>
                    <a:pt x="5107" y="7079"/>
                  </a:moveTo>
                  <a:cubicBezTo>
                    <a:pt x="5103" y="7084"/>
                    <a:pt x="5103" y="7084"/>
                    <a:pt x="5103" y="7084"/>
                  </a:cubicBezTo>
                  <a:cubicBezTo>
                    <a:pt x="5103" y="7084"/>
                    <a:pt x="5103" y="7084"/>
                    <a:pt x="5103" y="7084"/>
                  </a:cubicBezTo>
                  <a:lnTo>
                    <a:pt x="5107" y="7079"/>
                  </a:lnTo>
                  <a:close/>
                  <a:moveTo>
                    <a:pt x="5081" y="6915"/>
                  </a:moveTo>
                  <a:cubicBezTo>
                    <a:pt x="5081" y="6915"/>
                    <a:pt x="5081" y="6915"/>
                    <a:pt x="5081" y="6915"/>
                  </a:cubicBezTo>
                  <a:cubicBezTo>
                    <a:pt x="5081" y="6915"/>
                    <a:pt x="5081" y="6915"/>
                    <a:pt x="5081" y="6915"/>
                  </a:cubicBezTo>
                  <a:cubicBezTo>
                    <a:pt x="5081" y="6916"/>
                    <a:pt x="5081" y="6917"/>
                    <a:pt x="5081" y="6918"/>
                  </a:cubicBezTo>
                  <a:cubicBezTo>
                    <a:pt x="5082" y="6921"/>
                    <a:pt x="5082" y="6925"/>
                    <a:pt x="5082" y="6930"/>
                  </a:cubicBezTo>
                  <a:cubicBezTo>
                    <a:pt x="5083" y="6940"/>
                    <a:pt x="5084" y="6953"/>
                    <a:pt x="5085" y="6969"/>
                  </a:cubicBezTo>
                  <a:cubicBezTo>
                    <a:pt x="5086" y="7002"/>
                    <a:pt x="5087" y="7044"/>
                    <a:pt x="5089" y="7086"/>
                  </a:cubicBezTo>
                  <a:cubicBezTo>
                    <a:pt x="5090" y="7142"/>
                    <a:pt x="5091" y="7197"/>
                    <a:pt x="5092" y="7228"/>
                  </a:cubicBezTo>
                  <a:cubicBezTo>
                    <a:pt x="4722" y="7154"/>
                    <a:pt x="4722" y="7154"/>
                    <a:pt x="4722" y="7154"/>
                  </a:cubicBezTo>
                  <a:cubicBezTo>
                    <a:pt x="4809" y="6685"/>
                    <a:pt x="4809" y="6685"/>
                    <a:pt x="4809" y="6685"/>
                  </a:cubicBezTo>
                  <a:cubicBezTo>
                    <a:pt x="5132" y="6755"/>
                    <a:pt x="5132" y="6755"/>
                    <a:pt x="5132" y="6755"/>
                  </a:cubicBezTo>
                  <a:cubicBezTo>
                    <a:pt x="5135" y="6742"/>
                    <a:pt x="5135" y="6742"/>
                    <a:pt x="5135" y="6742"/>
                  </a:cubicBezTo>
                  <a:cubicBezTo>
                    <a:pt x="4811" y="6671"/>
                    <a:pt x="4811" y="6671"/>
                    <a:pt x="4811" y="6671"/>
                  </a:cubicBezTo>
                  <a:cubicBezTo>
                    <a:pt x="4861" y="6404"/>
                    <a:pt x="4861" y="6404"/>
                    <a:pt x="4861" y="6404"/>
                  </a:cubicBezTo>
                  <a:cubicBezTo>
                    <a:pt x="5244" y="6456"/>
                    <a:pt x="5244" y="6456"/>
                    <a:pt x="5244" y="6456"/>
                  </a:cubicBezTo>
                  <a:cubicBezTo>
                    <a:pt x="5234" y="6563"/>
                    <a:pt x="5225" y="6659"/>
                    <a:pt x="5221" y="6688"/>
                  </a:cubicBezTo>
                  <a:cubicBezTo>
                    <a:pt x="5156" y="6699"/>
                    <a:pt x="5156" y="6699"/>
                    <a:pt x="5156" y="6699"/>
                  </a:cubicBezTo>
                  <a:cubicBezTo>
                    <a:pt x="5155" y="6703"/>
                    <a:pt x="5155" y="6703"/>
                    <a:pt x="5155" y="6703"/>
                  </a:cubicBezTo>
                  <a:cubicBezTo>
                    <a:pt x="5155" y="6703"/>
                    <a:pt x="5136" y="6749"/>
                    <a:pt x="5117" y="6797"/>
                  </a:cubicBezTo>
                  <a:cubicBezTo>
                    <a:pt x="5099" y="6846"/>
                    <a:pt x="5080" y="6895"/>
                    <a:pt x="5080" y="6910"/>
                  </a:cubicBezTo>
                  <a:cubicBezTo>
                    <a:pt x="5080" y="6911"/>
                    <a:pt x="5080" y="6913"/>
                    <a:pt x="5081" y="6915"/>
                  </a:cubicBezTo>
                  <a:close/>
                  <a:moveTo>
                    <a:pt x="5264" y="6382"/>
                  </a:moveTo>
                  <a:cubicBezTo>
                    <a:pt x="5267" y="6347"/>
                    <a:pt x="5270" y="6311"/>
                    <a:pt x="5273" y="6278"/>
                  </a:cubicBezTo>
                  <a:cubicBezTo>
                    <a:pt x="5385" y="6297"/>
                    <a:pt x="5385" y="6297"/>
                    <a:pt x="5385" y="6297"/>
                  </a:cubicBezTo>
                  <a:cubicBezTo>
                    <a:pt x="5384" y="6305"/>
                    <a:pt x="5383" y="6312"/>
                    <a:pt x="5382" y="6318"/>
                  </a:cubicBezTo>
                  <a:cubicBezTo>
                    <a:pt x="5379" y="6334"/>
                    <a:pt x="5376" y="6348"/>
                    <a:pt x="5374" y="6356"/>
                  </a:cubicBezTo>
                  <a:cubicBezTo>
                    <a:pt x="5270" y="6338"/>
                    <a:pt x="5270" y="6338"/>
                    <a:pt x="5270" y="6338"/>
                  </a:cubicBezTo>
                  <a:cubicBezTo>
                    <a:pt x="5268" y="6352"/>
                    <a:pt x="5268" y="6352"/>
                    <a:pt x="5268" y="6352"/>
                  </a:cubicBezTo>
                  <a:cubicBezTo>
                    <a:pt x="5376" y="6370"/>
                    <a:pt x="5376" y="6370"/>
                    <a:pt x="5376" y="6370"/>
                  </a:cubicBezTo>
                  <a:cubicBezTo>
                    <a:pt x="5375" y="6373"/>
                    <a:pt x="5375" y="6373"/>
                    <a:pt x="5375" y="6373"/>
                  </a:cubicBezTo>
                  <a:cubicBezTo>
                    <a:pt x="5376" y="6374"/>
                    <a:pt x="5376" y="6374"/>
                    <a:pt x="5377" y="6374"/>
                  </a:cubicBezTo>
                  <a:cubicBezTo>
                    <a:pt x="5377" y="6374"/>
                    <a:pt x="5377" y="6374"/>
                    <a:pt x="5377" y="6374"/>
                  </a:cubicBezTo>
                  <a:cubicBezTo>
                    <a:pt x="5380" y="6373"/>
                    <a:pt x="5381" y="6372"/>
                    <a:pt x="5382" y="6371"/>
                  </a:cubicBezTo>
                  <a:cubicBezTo>
                    <a:pt x="5496" y="6390"/>
                    <a:pt x="5496" y="6390"/>
                    <a:pt x="5496" y="6390"/>
                  </a:cubicBezTo>
                  <a:cubicBezTo>
                    <a:pt x="5495" y="6395"/>
                    <a:pt x="5495" y="6395"/>
                    <a:pt x="5495" y="6395"/>
                  </a:cubicBezTo>
                  <a:cubicBezTo>
                    <a:pt x="5496" y="6395"/>
                    <a:pt x="5497" y="6395"/>
                    <a:pt x="5497" y="6395"/>
                  </a:cubicBezTo>
                  <a:cubicBezTo>
                    <a:pt x="5501" y="6394"/>
                    <a:pt x="5503" y="6393"/>
                    <a:pt x="5504" y="6392"/>
                  </a:cubicBezTo>
                  <a:cubicBezTo>
                    <a:pt x="5613" y="6410"/>
                    <a:pt x="5613" y="6410"/>
                    <a:pt x="5613" y="6410"/>
                  </a:cubicBezTo>
                  <a:cubicBezTo>
                    <a:pt x="5612" y="6414"/>
                    <a:pt x="5612" y="6414"/>
                    <a:pt x="5612" y="6414"/>
                  </a:cubicBezTo>
                  <a:cubicBezTo>
                    <a:pt x="5613" y="6414"/>
                    <a:pt x="5613" y="6414"/>
                    <a:pt x="5614" y="6414"/>
                  </a:cubicBezTo>
                  <a:cubicBezTo>
                    <a:pt x="5614" y="6414"/>
                    <a:pt x="5614" y="6414"/>
                    <a:pt x="5614" y="6414"/>
                  </a:cubicBezTo>
                  <a:cubicBezTo>
                    <a:pt x="5617" y="6413"/>
                    <a:pt x="5619" y="6412"/>
                    <a:pt x="5620" y="6411"/>
                  </a:cubicBezTo>
                  <a:cubicBezTo>
                    <a:pt x="5837" y="6447"/>
                    <a:pt x="5837" y="6447"/>
                    <a:pt x="5837" y="6447"/>
                  </a:cubicBezTo>
                  <a:cubicBezTo>
                    <a:pt x="5810" y="6606"/>
                    <a:pt x="5810" y="6606"/>
                    <a:pt x="5810" y="6606"/>
                  </a:cubicBezTo>
                  <a:cubicBezTo>
                    <a:pt x="5251" y="6524"/>
                    <a:pt x="5251" y="6524"/>
                    <a:pt x="5251" y="6524"/>
                  </a:cubicBezTo>
                  <a:cubicBezTo>
                    <a:pt x="5256" y="6479"/>
                    <a:pt x="5260" y="6431"/>
                    <a:pt x="5264" y="6382"/>
                  </a:cubicBezTo>
                  <a:close/>
                  <a:moveTo>
                    <a:pt x="5261" y="6262"/>
                  </a:moveTo>
                  <a:cubicBezTo>
                    <a:pt x="4878" y="6195"/>
                    <a:pt x="4878" y="6195"/>
                    <a:pt x="4878" y="6195"/>
                  </a:cubicBezTo>
                  <a:cubicBezTo>
                    <a:pt x="4900" y="6065"/>
                    <a:pt x="4900" y="6065"/>
                    <a:pt x="4900" y="6065"/>
                  </a:cubicBezTo>
                  <a:cubicBezTo>
                    <a:pt x="5272" y="6131"/>
                    <a:pt x="5272" y="6131"/>
                    <a:pt x="5272" y="6131"/>
                  </a:cubicBezTo>
                  <a:cubicBezTo>
                    <a:pt x="5269" y="6166"/>
                    <a:pt x="5265" y="6211"/>
                    <a:pt x="5261" y="6262"/>
                  </a:cubicBezTo>
                  <a:close/>
                  <a:moveTo>
                    <a:pt x="5388" y="6358"/>
                  </a:moveTo>
                  <a:cubicBezTo>
                    <a:pt x="5388" y="6358"/>
                    <a:pt x="5388" y="6358"/>
                    <a:pt x="5388" y="6357"/>
                  </a:cubicBezTo>
                  <a:cubicBezTo>
                    <a:pt x="5390" y="6350"/>
                    <a:pt x="5392" y="6340"/>
                    <a:pt x="5394" y="6328"/>
                  </a:cubicBezTo>
                  <a:cubicBezTo>
                    <a:pt x="5396" y="6319"/>
                    <a:pt x="5398" y="6310"/>
                    <a:pt x="5399" y="6300"/>
                  </a:cubicBezTo>
                  <a:cubicBezTo>
                    <a:pt x="5506" y="6319"/>
                    <a:pt x="5506" y="6319"/>
                    <a:pt x="5506" y="6319"/>
                  </a:cubicBezTo>
                  <a:cubicBezTo>
                    <a:pt x="5504" y="6326"/>
                    <a:pt x="5503" y="6333"/>
                    <a:pt x="5502" y="6340"/>
                  </a:cubicBezTo>
                  <a:cubicBezTo>
                    <a:pt x="5499" y="6355"/>
                    <a:pt x="5497" y="6368"/>
                    <a:pt x="5494" y="6376"/>
                  </a:cubicBezTo>
                  <a:lnTo>
                    <a:pt x="5388" y="6358"/>
                  </a:lnTo>
                  <a:close/>
                  <a:moveTo>
                    <a:pt x="5508" y="6378"/>
                  </a:moveTo>
                  <a:cubicBezTo>
                    <a:pt x="5510" y="6371"/>
                    <a:pt x="5512" y="6361"/>
                    <a:pt x="5514" y="6349"/>
                  </a:cubicBezTo>
                  <a:cubicBezTo>
                    <a:pt x="5516" y="6341"/>
                    <a:pt x="5518" y="6331"/>
                    <a:pt x="5519" y="6321"/>
                  </a:cubicBezTo>
                  <a:cubicBezTo>
                    <a:pt x="5622" y="6339"/>
                    <a:pt x="5622" y="6339"/>
                    <a:pt x="5622" y="6339"/>
                  </a:cubicBezTo>
                  <a:cubicBezTo>
                    <a:pt x="5621" y="6346"/>
                    <a:pt x="5620" y="6352"/>
                    <a:pt x="5619" y="6358"/>
                  </a:cubicBezTo>
                  <a:cubicBezTo>
                    <a:pt x="5616" y="6374"/>
                    <a:pt x="5613" y="6388"/>
                    <a:pt x="5611" y="6396"/>
                  </a:cubicBezTo>
                  <a:lnTo>
                    <a:pt x="5508" y="6378"/>
                  </a:lnTo>
                  <a:close/>
                  <a:moveTo>
                    <a:pt x="5731" y="6416"/>
                  </a:moveTo>
                  <a:cubicBezTo>
                    <a:pt x="5625" y="6398"/>
                    <a:pt x="5625" y="6398"/>
                    <a:pt x="5625" y="6398"/>
                  </a:cubicBezTo>
                  <a:cubicBezTo>
                    <a:pt x="5625" y="6398"/>
                    <a:pt x="5625" y="6398"/>
                    <a:pt x="5625" y="6397"/>
                  </a:cubicBezTo>
                  <a:cubicBezTo>
                    <a:pt x="5627" y="6390"/>
                    <a:pt x="5629" y="6380"/>
                    <a:pt x="5631" y="6368"/>
                  </a:cubicBezTo>
                  <a:cubicBezTo>
                    <a:pt x="5633" y="6360"/>
                    <a:pt x="5634" y="6351"/>
                    <a:pt x="5636" y="6342"/>
                  </a:cubicBezTo>
                  <a:cubicBezTo>
                    <a:pt x="5741" y="6360"/>
                    <a:pt x="5741" y="6360"/>
                    <a:pt x="5741" y="6360"/>
                  </a:cubicBezTo>
                  <a:cubicBezTo>
                    <a:pt x="5740" y="6364"/>
                    <a:pt x="5740" y="6367"/>
                    <a:pt x="5739" y="6370"/>
                  </a:cubicBezTo>
                  <a:cubicBezTo>
                    <a:pt x="5735" y="6394"/>
                    <a:pt x="5730" y="6412"/>
                    <a:pt x="5729" y="6414"/>
                  </a:cubicBezTo>
                  <a:cubicBezTo>
                    <a:pt x="5729" y="6414"/>
                    <a:pt x="5729" y="6414"/>
                    <a:pt x="5729" y="6414"/>
                  </a:cubicBezTo>
                  <a:cubicBezTo>
                    <a:pt x="5729" y="6414"/>
                    <a:pt x="5729" y="6414"/>
                    <a:pt x="5729" y="6414"/>
                  </a:cubicBezTo>
                  <a:lnTo>
                    <a:pt x="5731" y="6416"/>
                  </a:lnTo>
                  <a:close/>
                  <a:moveTo>
                    <a:pt x="6419" y="7115"/>
                  </a:moveTo>
                  <a:cubicBezTo>
                    <a:pt x="6418" y="7121"/>
                    <a:pt x="6418" y="7121"/>
                    <a:pt x="6418" y="7121"/>
                  </a:cubicBezTo>
                  <a:cubicBezTo>
                    <a:pt x="6413" y="7121"/>
                    <a:pt x="6413" y="7121"/>
                    <a:pt x="6413" y="7121"/>
                  </a:cubicBezTo>
                  <a:cubicBezTo>
                    <a:pt x="6098" y="7022"/>
                    <a:pt x="6098" y="7022"/>
                    <a:pt x="6098" y="7022"/>
                  </a:cubicBezTo>
                  <a:cubicBezTo>
                    <a:pt x="5808" y="6996"/>
                    <a:pt x="5808" y="6996"/>
                    <a:pt x="5808" y="6996"/>
                  </a:cubicBezTo>
                  <a:cubicBezTo>
                    <a:pt x="5836" y="6832"/>
                    <a:pt x="5836" y="6832"/>
                    <a:pt x="5836" y="6832"/>
                  </a:cubicBezTo>
                  <a:cubicBezTo>
                    <a:pt x="5918" y="6847"/>
                    <a:pt x="6323" y="6919"/>
                    <a:pt x="6340" y="6919"/>
                  </a:cubicBezTo>
                  <a:cubicBezTo>
                    <a:pt x="6340" y="6919"/>
                    <a:pt x="6341" y="6919"/>
                    <a:pt x="6341" y="6919"/>
                  </a:cubicBezTo>
                  <a:cubicBezTo>
                    <a:pt x="6341" y="6919"/>
                    <a:pt x="6341" y="6919"/>
                    <a:pt x="6341" y="6919"/>
                  </a:cubicBezTo>
                  <a:cubicBezTo>
                    <a:pt x="6343" y="6919"/>
                    <a:pt x="6348" y="6919"/>
                    <a:pt x="6356" y="6920"/>
                  </a:cubicBezTo>
                  <a:cubicBezTo>
                    <a:pt x="6355" y="6924"/>
                    <a:pt x="6355" y="6924"/>
                    <a:pt x="6355" y="6924"/>
                  </a:cubicBezTo>
                  <a:lnTo>
                    <a:pt x="6419" y="7115"/>
                  </a:lnTo>
                  <a:close/>
                  <a:moveTo>
                    <a:pt x="6471" y="6339"/>
                  </a:moveTo>
                  <a:cubicBezTo>
                    <a:pt x="6466" y="6399"/>
                    <a:pt x="6466" y="6399"/>
                    <a:pt x="6466" y="6399"/>
                  </a:cubicBezTo>
                  <a:cubicBezTo>
                    <a:pt x="6370" y="6392"/>
                    <a:pt x="6370" y="6392"/>
                    <a:pt x="6370" y="6392"/>
                  </a:cubicBezTo>
                  <a:cubicBezTo>
                    <a:pt x="6375" y="6289"/>
                    <a:pt x="6375" y="6289"/>
                    <a:pt x="6375" y="6289"/>
                  </a:cubicBezTo>
                  <a:cubicBezTo>
                    <a:pt x="6428" y="6293"/>
                    <a:pt x="6428" y="6293"/>
                    <a:pt x="6428" y="6293"/>
                  </a:cubicBezTo>
                  <a:cubicBezTo>
                    <a:pt x="6424" y="6336"/>
                    <a:pt x="6424" y="6336"/>
                    <a:pt x="6424" y="6336"/>
                  </a:cubicBezTo>
                  <a:lnTo>
                    <a:pt x="6471" y="6339"/>
                  </a:lnTo>
                  <a:close/>
                  <a:moveTo>
                    <a:pt x="6478" y="6413"/>
                  </a:moveTo>
                  <a:cubicBezTo>
                    <a:pt x="6485" y="6327"/>
                    <a:pt x="6485" y="6327"/>
                    <a:pt x="6485" y="6327"/>
                  </a:cubicBezTo>
                  <a:cubicBezTo>
                    <a:pt x="6438" y="6324"/>
                    <a:pt x="6438" y="6324"/>
                    <a:pt x="6438" y="6324"/>
                  </a:cubicBezTo>
                  <a:cubicBezTo>
                    <a:pt x="6442" y="6281"/>
                    <a:pt x="6442" y="6281"/>
                    <a:pt x="6442" y="6281"/>
                  </a:cubicBezTo>
                  <a:cubicBezTo>
                    <a:pt x="6376" y="6276"/>
                    <a:pt x="6376" y="6276"/>
                    <a:pt x="6376" y="6276"/>
                  </a:cubicBezTo>
                  <a:cubicBezTo>
                    <a:pt x="6376" y="6261"/>
                    <a:pt x="6376" y="6261"/>
                    <a:pt x="6376" y="6261"/>
                  </a:cubicBezTo>
                  <a:cubicBezTo>
                    <a:pt x="6529" y="6279"/>
                    <a:pt x="6529" y="6279"/>
                    <a:pt x="6529" y="6279"/>
                  </a:cubicBezTo>
                  <a:cubicBezTo>
                    <a:pt x="6499" y="6544"/>
                    <a:pt x="6499" y="6544"/>
                    <a:pt x="6499" y="6544"/>
                  </a:cubicBezTo>
                  <a:cubicBezTo>
                    <a:pt x="6363" y="6530"/>
                    <a:pt x="6363" y="6530"/>
                    <a:pt x="6363" y="6530"/>
                  </a:cubicBezTo>
                  <a:cubicBezTo>
                    <a:pt x="6369" y="6405"/>
                    <a:pt x="6369" y="6405"/>
                    <a:pt x="6369" y="6405"/>
                  </a:cubicBezTo>
                  <a:lnTo>
                    <a:pt x="6478" y="6413"/>
                  </a:lnTo>
                  <a:close/>
                  <a:moveTo>
                    <a:pt x="6793" y="6375"/>
                  </a:moveTo>
                  <a:cubicBezTo>
                    <a:pt x="6788" y="6435"/>
                    <a:pt x="6788" y="6435"/>
                    <a:pt x="6788" y="6435"/>
                  </a:cubicBezTo>
                  <a:cubicBezTo>
                    <a:pt x="6697" y="6427"/>
                    <a:pt x="6697" y="6427"/>
                    <a:pt x="6697" y="6427"/>
                  </a:cubicBezTo>
                  <a:cubicBezTo>
                    <a:pt x="6710" y="6325"/>
                    <a:pt x="6710" y="6325"/>
                    <a:pt x="6710" y="6325"/>
                  </a:cubicBezTo>
                  <a:cubicBezTo>
                    <a:pt x="6750" y="6328"/>
                    <a:pt x="6750" y="6328"/>
                    <a:pt x="6750" y="6328"/>
                  </a:cubicBezTo>
                  <a:cubicBezTo>
                    <a:pt x="6746" y="6371"/>
                    <a:pt x="6746" y="6371"/>
                    <a:pt x="6746" y="6371"/>
                  </a:cubicBezTo>
                  <a:lnTo>
                    <a:pt x="6793" y="6375"/>
                  </a:lnTo>
                  <a:close/>
                  <a:moveTo>
                    <a:pt x="6698" y="6311"/>
                  </a:moveTo>
                  <a:cubicBezTo>
                    <a:pt x="6647" y="6307"/>
                    <a:pt x="6647" y="6307"/>
                    <a:pt x="6647" y="6307"/>
                  </a:cubicBezTo>
                  <a:cubicBezTo>
                    <a:pt x="6644" y="6350"/>
                    <a:pt x="6644" y="6350"/>
                    <a:pt x="6644" y="6350"/>
                  </a:cubicBezTo>
                  <a:cubicBezTo>
                    <a:pt x="6597" y="6346"/>
                    <a:pt x="6597" y="6346"/>
                    <a:pt x="6597" y="6346"/>
                  </a:cubicBezTo>
                  <a:cubicBezTo>
                    <a:pt x="6591" y="6426"/>
                    <a:pt x="6591" y="6426"/>
                    <a:pt x="6591" y="6426"/>
                  </a:cubicBezTo>
                  <a:cubicBezTo>
                    <a:pt x="6590" y="6432"/>
                    <a:pt x="6590" y="6432"/>
                    <a:pt x="6590" y="6432"/>
                  </a:cubicBezTo>
                  <a:cubicBezTo>
                    <a:pt x="6681" y="6439"/>
                    <a:pt x="6681" y="6439"/>
                    <a:pt x="6681" y="6439"/>
                  </a:cubicBezTo>
                  <a:cubicBezTo>
                    <a:pt x="6675" y="6483"/>
                    <a:pt x="6675" y="6483"/>
                    <a:pt x="6675" y="6483"/>
                  </a:cubicBezTo>
                  <a:cubicBezTo>
                    <a:pt x="6689" y="6485"/>
                    <a:pt x="6689" y="6485"/>
                    <a:pt x="6689" y="6485"/>
                  </a:cubicBezTo>
                  <a:cubicBezTo>
                    <a:pt x="6695" y="6440"/>
                    <a:pt x="6695" y="6440"/>
                    <a:pt x="6695" y="6440"/>
                  </a:cubicBezTo>
                  <a:cubicBezTo>
                    <a:pt x="6800" y="6449"/>
                    <a:pt x="6800" y="6449"/>
                    <a:pt x="6800" y="6449"/>
                  </a:cubicBezTo>
                  <a:cubicBezTo>
                    <a:pt x="6807" y="6363"/>
                    <a:pt x="6807" y="6363"/>
                    <a:pt x="6807" y="6363"/>
                  </a:cubicBezTo>
                  <a:cubicBezTo>
                    <a:pt x="6760" y="6359"/>
                    <a:pt x="6760" y="6359"/>
                    <a:pt x="6760" y="6359"/>
                  </a:cubicBezTo>
                  <a:cubicBezTo>
                    <a:pt x="6764" y="6316"/>
                    <a:pt x="6764" y="6316"/>
                    <a:pt x="6764" y="6316"/>
                  </a:cubicBezTo>
                  <a:cubicBezTo>
                    <a:pt x="6712" y="6312"/>
                    <a:pt x="6712" y="6312"/>
                    <a:pt x="6712" y="6312"/>
                  </a:cubicBezTo>
                  <a:cubicBezTo>
                    <a:pt x="6714" y="6301"/>
                    <a:pt x="6714" y="6301"/>
                    <a:pt x="6714" y="6301"/>
                  </a:cubicBezTo>
                  <a:cubicBezTo>
                    <a:pt x="6857" y="6318"/>
                    <a:pt x="6857" y="6318"/>
                    <a:pt x="6857" y="6318"/>
                  </a:cubicBezTo>
                  <a:cubicBezTo>
                    <a:pt x="6853" y="6336"/>
                    <a:pt x="6848" y="6363"/>
                    <a:pt x="6843" y="6391"/>
                  </a:cubicBezTo>
                  <a:cubicBezTo>
                    <a:pt x="6834" y="6439"/>
                    <a:pt x="6822" y="6491"/>
                    <a:pt x="6817" y="6500"/>
                  </a:cubicBezTo>
                  <a:cubicBezTo>
                    <a:pt x="6817" y="6500"/>
                    <a:pt x="6817" y="6500"/>
                    <a:pt x="6817" y="6500"/>
                  </a:cubicBezTo>
                  <a:cubicBezTo>
                    <a:pt x="6821" y="6504"/>
                    <a:pt x="6821" y="6504"/>
                    <a:pt x="6821" y="6504"/>
                  </a:cubicBezTo>
                  <a:cubicBezTo>
                    <a:pt x="6821" y="6498"/>
                    <a:pt x="6821" y="6498"/>
                    <a:pt x="6821" y="6498"/>
                  </a:cubicBezTo>
                  <a:cubicBezTo>
                    <a:pt x="6821" y="6505"/>
                    <a:pt x="6821" y="6505"/>
                    <a:pt x="6821" y="6505"/>
                  </a:cubicBezTo>
                  <a:cubicBezTo>
                    <a:pt x="6818" y="6510"/>
                    <a:pt x="6818" y="6510"/>
                    <a:pt x="6818" y="6510"/>
                  </a:cubicBezTo>
                  <a:cubicBezTo>
                    <a:pt x="6816" y="6509"/>
                    <a:pt x="6814" y="6509"/>
                    <a:pt x="6811" y="6509"/>
                  </a:cubicBezTo>
                  <a:cubicBezTo>
                    <a:pt x="6685" y="6489"/>
                    <a:pt x="6559" y="6469"/>
                    <a:pt x="6522" y="6463"/>
                  </a:cubicBezTo>
                  <a:cubicBezTo>
                    <a:pt x="6543" y="6280"/>
                    <a:pt x="6543" y="6280"/>
                    <a:pt x="6543" y="6280"/>
                  </a:cubicBezTo>
                  <a:cubicBezTo>
                    <a:pt x="6700" y="6299"/>
                    <a:pt x="6700" y="6299"/>
                    <a:pt x="6700" y="6299"/>
                  </a:cubicBezTo>
                  <a:lnTo>
                    <a:pt x="6698" y="6311"/>
                  </a:lnTo>
                  <a:close/>
                  <a:moveTo>
                    <a:pt x="6696" y="6324"/>
                  </a:moveTo>
                  <a:cubicBezTo>
                    <a:pt x="6683" y="6426"/>
                    <a:pt x="6683" y="6426"/>
                    <a:pt x="6683" y="6426"/>
                  </a:cubicBezTo>
                  <a:cubicBezTo>
                    <a:pt x="6605" y="6420"/>
                    <a:pt x="6605" y="6420"/>
                    <a:pt x="6605" y="6420"/>
                  </a:cubicBezTo>
                  <a:cubicBezTo>
                    <a:pt x="6609" y="6360"/>
                    <a:pt x="6609" y="6360"/>
                    <a:pt x="6609" y="6360"/>
                  </a:cubicBezTo>
                  <a:cubicBezTo>
                    <a:pt x="6656" y="6364"/>
                    <a:pt x="6656" y="6364"/>
                    <a:pt x="6656" y="6364"/>
                  </a:cubicBezTo>
                  <a:cubicBezTo>
                    <a:pt x="6659" y="6321"/>
                    <a:pt x="6659" y="6321"/>
                    <a:pt x="6659" y="6321"/>
                  </a:cubicBezTo>
                  <a:lnTo>
                    <a:pt x="6696" y="6324"/>
                  </a:lnTo>
                  <a:close/>
                  <a:moveTo>
                    <a:pt x="7205" y="7110"/>
                  </a:moveTo>
                  <a:cubicBezTo>
                    <a:pt x="7205" y="7110"/>
                    <a:pt x="7207" y="7131"/>
                    <a:pt x="7210" y="7160"/>
                  </a:cubicBezTo>
                  <a:cubicBezTo>
                    <a:pt x="7076" y="7141"/>
                    <a:pt x="7076" y="7141"/>
                    <a:pt x="7076" y="7141"/>
                  </a:cubicBezTo>
                  <a:cubicBezTo>
                    <a:pt x="7106" y="6940"/>
                    <a:pt x="7106" y="6940"/>
                    <a:pt x="7106" y="6940"/>
                  </a:cubicBezTo>
                  <a:cubicBezTo>
                    <a:pt x="7180" y="6954"/>
                    <a:pt x="7367" y="6988"/>
                    <a:pt x="7412" y="6997"/>
                  </a:cubicBezTo>
                  <a:cubicBezTo>
                    <a:pt x="7350" y="7084"/>
                    <a:pt x="7350" y="7084"/>
                    <a:pt x="7350" y="7084"/>
                  </a:cubicBezTo>
                  <a:cubicBezTo>
                    <a:pt x="7204" y="7103"/>
                    <a:pt x="7204" y="7103"/>
                    <a:pt x="7204" y="7103"/>
                  </a:cubicBezTo>
                  <a:lnTo>
                    <a:pt x="7205" y="7110"/>
                  </a:lnTo>
                  <a:close/>
                  <a:moveTo>
                    <a:pt x="7072" y="6713"/>
                  </a:moveTo>
                  <a:cubicBezTo>
                    <a:pt x="7012" y="6703"/>
                    <a:pt x="7012" y="6703"/>
                    <a:pt x="7012" y="6703"/>
                  </a:cubicBezTo>
                  <a:cubicBezTo>
                    <a:pt x="7021" y="6654"/>
                    <a:pt x="7021" y="6654"/>
                    <a:pt x="7021" y="6654"/>
                  </a:cubicBezTo>
                  <a:cubicBezTo>
                    <a:pt x="7022" y="6647"/>
                    <a:pt x="7022" y="6647"/>
                    <a:pt x="7022" y="6647"/>
                  </a:cubicBezTo>
                  <a:cubicBezTo>
                    <a:pt x="6866" y="6621"/>
                    <a:pt x="6866" y="6621"/>
                    <a:pt x="6866" y="6621"/>
                  </a:cubicBezTo>
                  <a:cubicBezTo>
                    <a:pt x="6856" y="6677"/>
                    <a:pt x="6856" y="6677"/>
                    <a:pt x="6856" y="6677"/>
                  </a:cubicBezTo>
                  <a:cubicBezTo>
                    <a:pt x="6504" y="6618"/>
                    <a:pt x="6504" y="6618"/>
                    <a:pt x="6504" y="6618"/>
                  </a:cubicBezTo>
                  <a:cubicBezTo>
                    <a:pt x="6520" y="6477"/>
                    <a:pt x="6520" y="6477"/>
                    <a:pt x="6520" y="6477"/>
                  </a:cubicBezTo>
                  <a:cubicBezTo>
                    <a:pt x="6594" y="6489"/>
                    <a:pt x="7008" y="6553"/>
                    <a:pt x="7094" y="6568"/>
                  </a:cubicBezTo>
                  <a:lnTo>
                    <a:pt x="7072" y="6713"/>
                  </a:lnTo>
                  <a:close/>
                  <a:moveTo>
                    <a:pt x="6816" y="6973"/>
                  </a:moveTo>
                  <a:cubicBezTo>
                    <a:pt x="6840" y="6841"/>
                    <a:pt x="6840" y="6841"/>
                    <a:pt x="6840" y="6841"/>
                  </a:cubicBezTo>
                  <a:cubicBezTo>
                    <a:pt x="6969" y="6862"/>
                    <a:pt x="6969" y="6862"/>
                    <a:pt x="6969" y="6862"/>
                  </a:cubicBezTo>
                  <a:cubicBezTo>
                    <a:pt x="6945" y="6992"/>
                    <a:pt x="6945" y="6992"/>
                    <a:pt x="6945" y="6992"/>
                  </a:cubicBezTo>
                  <a:cubicBezTo>
                    <a:pt x="6908" y="6987"/>
                    <a:pt x="6863" y="6980"/>
                    <a:pt x="6816" y="6973"/>
                  </a:cubicBezTo>
                  <a:close/>
                  <a:moveTo>
                    <a:pt x="6943" y="7006"/>
                  </a:moveTo>
                  <a:cubicBezTo>
                    <a:pt x="6910" y="7185"/>
                    <a:pt x="6910" y="7185"/>
                    <a:pt x="6910" y="7185"/>
                  </a:cubicBezTo>
                  <a:cubicBezTo>
                    <a:pt x="6780" y="7168"/>
                    <a:pt x="6780" y="7168"/>
                    <a:pt x="6780" y="7168"/>
                  </a:cubicBezTo>
                  <a:cubicBezTo>
                    <a:pt x="6813" y="6987"/>
                    <a:pt x="6813" y="6987"/>
                    <a:pt x="6813" y="6987"/>
                  </a:cubicBezTo>
                  <a:cubicBezTo>
                    <a:pt x="6861" y="6994"/>
                    <a:pt x="6905" y="7000"/>
                    <a:pt x="6943" y="7006"/>
                  </a:cubicBezTo>
                  <a:close/>
                  <a:moveTo>
                    <a:pt x="6842" y="6827"/>
                  </a:moveTo>
                  <a:cubicBezTo>
                    <a:pt x="6867" y="6693"/>
                    <a:pt x="6867" y="6693"/>
                    <a:pt x="6867" y="6693"/>
                  </a:cubicBezTo>
                  <a:cubicBezTo>
                    <a:pt x="6996" y="6715"/>
                    <a:pt x="6996" y="6715"/>
                    <a:pt x="6996" y="6715"/>
                  </a:cubicBezTo>
                  <a:cubicBezTo>
                    <a:pt x="6972" y="6849"/>
                    <a:pt x="6972" y="6849"/>
                    <a:pt x="6972" y="6849"/>
                  </a:cubicBezTo>
                  <a:lnTo>
                    <a:pt x="6842" y="6827"/>
                  </a:lnTo>
                  <a:close/>
                  <a:moveTo>
                    <a:pt x="6869" y="6679"/>
                  </a:moveTo>
                  <a:cubicBezTo>
                    <a:pt x="6877" y="6636"/>
                    <a:pt x="6877" y="6636"/>
                    <a:pt x="6877" y="6636"/>
                  </a:cubicBezTo>
                  <a:cubicBezTo>
                    <a:pt x="7006" y="6658"/>
                    <a:pt x="7006" y="6658"/>
                    <a:pt x="7006" y="6658"/>
                  </a:cubicBezTo>
                  <a:cubicBezTo>
                    <a:pt x="6999" y="6701"/>
                    <a:pt x="6999" y="6701"/>
                    <a:pt x="6999" y="6701"/>
                  </a:cubicBezTo>
                  <a:lnTo>
                    <a:pt x="6869" y="6679"/>
                  </a:lnTo>
                  <a:close/>
                  <a:moveTo>
                    <a:pt x="7009" y="6717"/>
                  </a:moveTo>
                  <a:cubicBezTo>
                    <a:pt x="7070" y="6727"/>
                    <a:pt x="7070" y="6727"/>
                    <a:pt x="7070" y="6727"/>
                  </a:cubicBezTo>
                  <a:cubicBezTo>
                    <a:pt x="7051" y="6862"/>
                    <a:pt x="7051" y="6862"/>
                    <a:pt x="7051" y="6862"/>
                  </a:cubicBezTo>
                  <a:cubicBezTo>
                    <a:pt x="6985" y="6851"/>
                    <a:pt x="6985" y="6851"/>
                    <a:pt x="6985" y="6851"/>
                  </a:cubicBezTo>
                  <a:lnTo>
                    <a:pt x="7009" y="6717"/>
                  </a:lnTo>
                  <a:close/>
                  <a:moveTo>
                    <a:pt x="6502" y="6632"/>
                  </a:moveTo>
                  <a:cubicBezTo>
                    <a:pt x="6854" y="6691"/>
                    <a:pt x="6854" y="6691"/>
                    <a:pt x="6854" y="6691"/>
                  </a:cubicBezTo>
                  <a:cubicBezTo>
                    <a:pt x="6829" y="6825"/>
                    <a:pt x="6829" y="6825"/>
                    <a:pt x="6829" y="6825"/>
                  </a:cubicBezTo>
                  <a:cubicBezTo>
                    <a:pt x="6487" y="6769"/>
                    <a:pt x="6487" y="6769"/>
                    <a:pt x="6487" y="6769"/>
                  </a:cubicBezTo>
                  <a:lnTo>
                    <a:pt x="6502" y="6632"/>
                  </a:lnTo>
                  <a:close/>
                  <a:moveTo>
                    <a:pt x="6827" y="6839"/>
                  </a:moveTo>
                  <a:cubicBezTo>
                    <a:pt x="6803" y="6971"/>
                    <a:pt x="6803" y="6971"/>
                    <a:pt x="6803" y="6971"/>
                  </a:cubicBezTo>
                  <a:cubicBezTo>
                    <a:pt x="6640" y="6947"/>
                    <a:pt x="6449" y="6919"/>
                    <a:pt x="6373" y="6909"/>
                  </a:cubicBezTo>
                  <a:cubicBezTo>
                    <a:pt x="6405" y="6789"/>
                    <a:pt x="6405" y="6789"/>
                    <a:pt x="6405" y="6789"/>
                  </a:cubicBezTo>
                  <a:cubicBezTo>
                    <a:pt x="6470" y="6780"/>
                    <a:pt x="6470" y="6780"/>
                    <a:pt x="6470" y="6780"/>
                  </a:cubicBezTo>
                  <a:lnTo>
                    <a:pt x="6827" y="6839"/>
                  </a:lnTo>
                  <a:close/>
                  <a:moveTo>
                    <a:pt x="6707" y="6971"/>
                  </a:moveTo>
                  <a:cubicBezTo>
                    <a:pt x="6739" y="6976"/>
                    <a:pt x="6770" y="6980"/>
                    <a:pt x="6800" y="6985"/>
                  </a:cubicBezTo>
                  <a:cubicBezTo>
                    <a:pt x="6767" y="7167"/>
                    <a:pt x="6767" y="7167"/>
                    <a:pt x="6767" y="7167"/>
                  </a:cubicBezTo>
                  <a:cubicBezTo>
                    <a:pt x="6432" y="7123"/>
                    <a:pt x="6432" y="7123"/>
                    <a:pt x="6432" y="7123"/>
                  </a:cubicBezTo>
                  <a:cubicBezTo>
                    <a:pt x="6434" y="7115"/>
                    <a:pt x="6434" y="7115"/>
                    <a:pt x="6434" y="7115"/>
                  </a:cubicBezTo>
                  <a:cubicBezTo>
                    <a:pt x="6369" y="6924"/>
                    <a:pt x="6369" y="6924"/>
                    <a:pt x="6369" y="6924"/>
                  </a:cubicBezTo>
                  <a:cubicBezTo>
                    <a:pt x="6370" y="6922"/>
                    <a:pt x="6370" y="6922"/>
                    <a:pt x="6370" y="6922"/>
                  </a:cubicBezTo>
                  <a:cubicBezTo>
                    <a:pt x="6429" y="6930"/>
                    <a:pt x="6569" y="6951"/>
                    <a:pt x="6707" y="6971"/>
                  </a:cubicBezTo>
                  <a:close/>
                  <a:moveTo>
                    <a:pt x="5807" y="6620"/>
                  </a:moveTo>
                  <a:cubicBezTo>
                    <a:pt x="5775" y="6804"/>
                    <a:pt x="5775" y="6804"/>
                    <a:pt x="5775" y="6804"/>
                  </a:cubicBezTo>
                  <a:cubicBezTo>
                    <a:pt x="5234" y="6694"/>
                    <a:pt x="5234" y="6694"/>
                    <a:pt x="5234" y="6694"/>
                  </a:cubicBezTo>
                  <a:cubicBezTo>
                    <a:pt x="5234" y="6693"/>
                    <a:pt x="5234" y="6693"/>
                    <a:pt x="5234" y="6692"/>
                  </a:cubicBezTo>
                  <a:cubicBezTo>
                    <a:pt x="5235" y="6687"/>
                    <a:pt x="5236" y="6680"/>
                    <a:pt x="5237" y="6671"/>
                  </a:cubicBezTo>
                  <a:cubicBezTo>
                    <a:pt x="5239" y="6654"/>
                    <a:pt x="5241" y="6629"/>
                    <a:pt x="5244" y="6599"/>
                  </a:cubicBezTo>
                  <a:cubicBezTo>
                    <a:pt x="5246" y="6580"/>
                    <a:pt x="5248" y="6559"/>
                    <a:pt x="5250" y="6537"/>
                  </a:cubicBezTo>
                  <a:lnTo>
                    <a:pt x="5807" y="6620"/>
                  </a:lnTo>
                  <a:close/>
                  <a:moveTo>
                    <a:pt x="5251" y="6373"/>
                  </a:moveTo>
                  <a:cubicBezTo>
                    <a:pt x="5249" y="6396"/>
                    <a:pt x="5247" y="6419"/>
                    <a:pt x="5245" y="6442"/>
                  </a:cubicBezTo>
                  <a:cubicBezTo>
                    <a:pt x="4863" y="6390"/>
                    <a:pt x="4863" y="6390"/>
                    <a:pt x="4863" y="6390"/>
                  </a:cubicBezTo>
                  <a:cubicBezTo>
                    <a:pt x="4875" y="6327"/>
                    <a:pt x="4875" y="6327"/>
                    <a:pt x="4875" y="6327"/>
                  </a:cubicBezTo>
                  <a:cubicBezTo>
                    <a:pt x="4876" y="6320"/>
                    <a:pt x="4876" y="6320"/>
                    <a:pt x="4876" y="6320"/>
                  </a:cubicBezTo>
                  <a:cubicBezTo>
                    <a:pt x="4721" y="6295"/>
                    <a:pt x="4721" y="6295"/>
                    <a:pt x="4721" y="6295"/>
                  </a:cubicBezTo>
                  <a:cubicBezTo>
                    <a:pt x="4707" y="6369"/>
                    <a:pt x="4707" y="6369"/>
                    <a:pt x="4707" y="6369"/>
                  </a:cubicBezTo>
                  <a:cubicBezTo>
                    <a:pt x="4673" y="6365"/>
                    <a:pt x="4673" y="6365"/>
                    <a:pt x="4673" y="6365"/>
                  </a:cubicBezTo>
                  <a:cubicBezTo>
                    <a:pt x="4682" y="6320"/>
                    <a:pt x="4691" y="6276"/>
                    <a:pt x="4700" y="6231"/>
                  </a:cubicBezTo>
                  <a:cubicBezTo>
                    <a:pt x="5256" y="6320"/>
                    <a:pt x="5256" y="6320"/>
                    <a:pt x="5256" y="6320"/>
                  </a:cubicBezTo>
                  <a:cubicBezTo>
                    <a:pt x="5254" y="6338"/>
                    <a:pt x="5253" y="6356"/>
                    <a:pt x="5251" y="6373"/>
                  </a:cubicBezTo>
                  <a:close/>
                  <a:moveTo>
                    <a:pt x="4718" y="6385"/>
                  </a:moveTo>
                  <a:cubicBezTo>
                    <a:pt x="4848" y="6402"/>
                    <a:pt x="4848" y="6402"/>
                    <a:pt x="4848" y="6402"/>
                  </a:cubicBezTo>
                  <a:cubicBezTo>
                    <a:pt x="4799" y="6668"/>
                    <a:pt x="4799" y="6668"/>
                    <a:pt x="4799" y="6668"/>
                  </a:cubicBezTo>
                  <a:cubicBezTo>
                    <a:pt x="4671" y="6640"/>
                    <a:pt x="4671" y="6640"/>
                    <a:pt x="4671" y="6640"/>
                  </a:cubicBezTo>
                  <a:lnTo>
                    <a:pt x="4718" y="6385"/>
                  </a:lnTo>
                  <a:close/>
                  <a:moveTo>
                    <a:pt x="4658" y="6637"/>
                  </a:moveTo>
                  <a:cubicBezTo>
                    <a:pt x="4621" y="6629"/>
                    <a:pt x="4621" y="6629"/>
                    <a:pt x="4621" y="6629"/>
                  </a:cubicBezTo>
                  <a:cubicBezTo>
                    <a:pt x="4636" y="6551"/>
                    <a:pt x="4653" y="6466"/>
                    <a:pt x="4670" y="6378"/>
                  </a:cubicBezTo>
                  <a:cubicBezTo>
                    <a:pt x="4705" y="6383"/>
                    <a:pt x="4705" y="6383"/>
                    <a:pt x="4705" y="6383"/>
                  </a:cubicBezTo>
                  <a:lnTo>
                    <a:pt x="4658" y="6637"/>
                  </a:lnTo>
                  <a:close/>
                  <a:moveTo>
                    <a:pt x="4720" y="6371"/>
                  </a:moveTo>
                  <a:cubicBezTo>
                    <a:pt x="4731" y="6310"/>
                    <a:pt x="4731" y="6310"/>
                    <a:pt x="4731" y="6310"/>
                  </a:cubicBezTo>
                  <a:cubicBezTo>
                    <a:pt x="4861" y="6331"/>
                    <a:pt x="4861" y="6331"/>
                    <a:pt x="4861" y="6331"/>
                  </a:cubicBezTo>
                  <a:cubicBezTo>
                    <a:pt x="4850" y="6389"/>
                    <a:pt x="4850" y="6389"/>
                    <a:pt x="4850" y="6389"/>
                  </a:cubicBezTo>
                  <a:lnTo>
                    <a:pt x="4720" y="6371"/>
                  </a:lnTo>
                  <a:close/>
                  <a:moveTo>
                    <a:pt x="4681" y="5997"/>
                  </a:moveTo>
                  <a:cubicBezTo>
                    <a:pt x="4627" y="5986"/>
                    <a:pt x="4627" y="5986"/>
                    <a:pt x="4627" y="5986"/>
                  </a:cubicBezTo>
                  <a:cubicBezTo>
                    <a:pt x="4680" y="5700"/>
                    <a:pt x="4680" y="5700"/>
                    <a:pt x="4680" y="5700"/>
                  </a:cubicBezTo>
                  <a:cubicBezTo>
                    <a:pt x="4741" y="5705"/>
                    <a:pt x="4741" y="5705"/>
                    <a:pt x="4741" y="5705"/>
                  </a:cubicBezTo>
                  <a:cubicBezTo>
                    <a:pt x="4724" y="5786"/>
                    <a:pt x="4703" y="5887"/>
                    <a:pt x="4681" y="5997"/>
                  </a:cubicBezTo>
                  <a:close/>
                  <a:moveTo>
                    <a:pt x="4669" y="5685"/>
                  </a:moveTo>
                  <a:cubicBezTo>
                    <a:pt x="4538" y="5673"/>
                    <a:pt x="4538" y="5673"/>
                    <a:pt x="4538" y="5673"/>
                  </a:cubicBezTo>
                  <a:cubicBezTo>
                    <a:pt x="4571" y="5493"/>
                    <a:pt x="4571" y="5493"/>
                    <a:pt x="4571" y="5493"/>
                  </a:cubicBezTo>
                  <a:cubicBezTo>
                    <a:pt x="4701" y="5514"/>
                    <a:pt x="4701" y="5514"/>
                    <a:pt x="4701" y="5514"/>
                  </a:cubicBezTo>
                  <a:lnTo>
                    <a:pt x="4669" y="5685"/>
                  </a:lnTo>
                  <a:close/>
                  <a:moveTo>
                    <a:pt x="4667" y="5699"/>
                  </a:moveTo>
                  <a:cubicBezTo>
                    <a:pt x="4614" y="5984"/>
                    <a:pt x="4614" y="5984"/>
                    <a:pt x="4614" y="5984"/>
                  </a:cubicBezTo>
                  <a:cubicBezTo>
                    <a:pt x="4485" y="5960"/>
                    <a:pt x="4485" y="5960"/>
                    <a:pt x="4485" y="5960"/>
                  </a:cubicBezTo>
                  <a:cubicBezTo>
                    <a:pt x="4535" y="5687"/>
                    <a:pt x="4535" y="5687"/>
                    <a:pt x="4535" y="5687"/>
                  </a:cubicBezTo>
                  <a:lnTo>
                    <a:pt x="4667" y="5699"/>
                  </a:lnTo>
                  <a:close/>
                  <a:moveTo>
                    <a:pt x="4472" y="5958"/>
                  </a:moveTo>
                  <a:cubicBezTo>
                    <a:pt x="4004" y="5870"/>
                    <a:pt x="4004" y="5870"/>
                    <a:pt x="4004" y="5870"/>
                  </a:cubicBezTo>
                  <a:cubicBezTo>
                    <a:pt x="4002" y="5884"/>
                    <a:pt x="4002" y="5884"/>
                    <a:pt x="4002" y="5884"/>
                  </a:cubicBezTo>
                  <a:cubicBezTo>
                    <a:pt x="4470" y="5971"/>
                    <a:pt x="4470" y="5971"/>
                    <a:pt x="4470" y="5971"/>
                  </a:cubicBezTo>
                  <a:cubicBezTo>
                    <a:pt x="4405" y="6325"/>
                    <a:pt x="4405" y="6325"/>
                    <a:pt x="4405" y="6325"/>
                  </a:cubicBezTo>
                  <a:cubicBezTo>
                    <a:pt x="4245" y="6301"/>
                    <a:pt x="4245" y="6301"/>
                    <a:pt x="4245" y="6301"/>
                  </a:cubicBezTo>
                  <a:cubicBezTo>
                    <a:pt x="3887" y="6187"/>
                    <a:pt x="3887" y="6187"/>
                    <a:pt x="3887" y="6187"/>
                  </a:cubicBezTo>
                  <a:cubicBezTo>
                    <a:pt x="3992" y="5999"/>
                    <a:pt x="3992" y="5999"/>
                    <a:pt x="3992" y="5999"/>
                  </a:cubicBezTo>
                  <a:cubicBezTo>
                    <a:pt x="4020" y="5641"/>
                    <a:pt x="4020" y="5641"/>
                    <a:pt x="4020" y="5641"/>
                  </a:cubicBezTo>
                  <a:cubicBezTo>
                    <a:pt x="4522" y="5686"/>
                    <a:pt x="4522" y="5686"/>
                    <a:pt x="4522" y="5686"/>
                  </a:cubicBezTo>
                  <a:lnTo>
                    <a:pt x="4472" y="5958"/>
                  </a:lnTo>
                  <a:close/>
                  <a:moveTo>
                    <a:pt x="4415" y="6341"/>
                  </a:moveTo>
                  <a:cubicBezTo>
                    <a:pt x="4544" y="6360"/>
                    <a:pt x="4544" y="6360"/>
                    <a:pt x="4544" y="6360"/>
                  </a:cubicBezTo>
                  <a:cubicBezTo>
                    <a:pt x="4530" y="6433"/>
                    <a:pt x="4530" y="6433"/>
                    <a:pt x="4530" y="6433"/>
                  </a:cubicBezTo>
                  <a:cubicBezTo>
                    <a:pt x="4402" y="6412"/>
                    <a:pt x="4402" y="6412"/>
                    <a:pt x="4402" y="6412"/>
                  </a:cubicBezTo>
                  <a:lnTo>
                    <a:pt x="4415" y="6341"/>
                  </a:lnTo>
                  <a:close/>
                  <a:moveTo>
                    <a:pt x="4418" y="6327"/>
                  </a:moveTo>
                  <a:cubicBezTo>
                    <a:pt x="4483" y="5974"/>
                    <a:pt x="4483" y="5974"/>
                    <a:pt x="4483" y="5974"/>
                  </a:cubicBezTo>
                  <a:cubicBezTo>
                    <a:pt x="4611" y="5998"/>
                    <a:pt x="4611" y="5998"/>
                    <a:pt x="4611" y="5998"/>
                  </a:cubicBezTo>
                  <a:cubicBezTo>
                    <a:pt x="4546" y="6346"/>
                    <a:pt x="4546" y="6346"/>
                    <a:pt x="4546" y="6346"/>
                  </a:cubicBezTo>
                  <a:lnTo>
                    <a:pt x="4418" y="6327"/>
                  </a:lnTo>
                  <a:close/>
                  <a:moveTo>
                    <a:pt x="4624" y="6000"/>
                  </a:moveTo>
                  <a:cubicBezTo>
                    <a:pt x="4678" y="6010"/>
                    <a:pt x="4678" y="6010"/>
                    <a:pt x="4678" y="6010"/>
                  </a:cubicBezTo>
                  <a:cubicBezTo>
                    <a:pt x="4655" y="6121"/>
                    <a:pt x="4631" y="6240"/>
                    <a:pt x="4608" y="6355"/>
                  </a:cubicBezTo>
                  <a:cubicBezTo>
                    <a:pt x="4559" y="6348"/>
                    <a:pt x="4559" y="6348"/>
                    <a:pt x="4559" y="6348"/>
                  </a:cubicBezTo>
                  <a:lnTo>
                    <a:pt x="4624" y="6000"/>
                  </a:lnTo>
                  <a:close/>
                  <a:moveTo>
                    <a:pt x="4618" y="6643"/>
                  </a:moveTo>
                  <a:cubicBezTo>
                    <a:pt x="4655" y="6651"/>
                    <a:pt x="4655" y="6651"/>
                    <a:pt x="4655" y="6651"/>
                  </a:cubicBezTo>
                  <a:cubicBezTo>
                    <a:pt x="4568" y="7123"/>
                    <a:pt x="4568" y="7123"/>
                    <a:pt x="4568" y="7123"/>
                  </a:cubicBezTo>
                  <a:cubicBezTo>
                    <a:pt x="4534" y="7116"/>
                    <a:pt x="4534" y="7116"/>
                    <a:pt x="4534" y="7116"/>
                  </a:cubicBezTo>
                  <a:cubicBezTo>
                    <a:pt x="4545" y="7069"/>
                    <a:pt x="4554" y="7019"/>
                    <a:pt x="4561" y="6966"/>
                  </a:cubicBezTo>
                  <a:cubicBezTo>
                    <a:pt x="4569" y="6909"/>
                    <a:pt x="4590" y="6790"/>
                    <a:pt x="4618" y="6643"/>
                  </a:cubicBezTo>
                  <a:close/>
                  <a:moveTo>
                    <a:pt x="4579" y="7139"/>
                  </a:moveTo>
                  <a:cubicBezTo>
                    <a:pt x="4707" y="7165"/>
                    <a:pt x="4707" y="7165"/>
                    <a:pt x="4707" y="7165"/>
                  </a:cubicBezTo>
                  <a:cubicBezTo>
                    <a:pt x="4691" y="7250"/>
                    <a:pt x="4691" y="7250"/>
                    <a:pt x="4691" y="7250"/>
                  </a:cubicBezTo>
                  <a:cubicBezTo>
                    <a:pt x="4562" y="7229"/>
                    <a:pt x="4562" y="7229"/>
                    <a:pt x="4562" y="7229"/>
                  </a:cubicBezTo>
                  <a:lnTo>
                    <a:pt x="4579" y="7139"/>
                  </a:lnTo>
                  <a:close/>
                  <a:moveTo>
                    <a:pt x="4581" y="7126"/>
                  </a:moveTo>
                  <a:cubicBezTo>
                    <a:pt x="4668" y="6654"/>
                    <a:pt x="4668" y="6654"/>
                    <a:pt x="4668" y="6654"/>
                  </a:cubicBezTo>
                  <a:cubicBezTo>
                    <a:pt x="4796" y="6682"/>
                    <a:pt x="4796" y="6682"/>
                    <a:pt x="4796" y="6682"/>
                  </a:cubicBezTo>
                  <a:cubicBezTo>
                    <a:pt x="4709" y="7151"/>
                    <a:pt x="4709" y="7151"/>
                    <a:pt x="4709" y="7151"/>
                  </a:cubicBezTo>
                  <a:lnTo>
                    <a:pt x="4581" y="7126"/>
                  </a:lnTo>
                  <a:close/>
                  <a:moveTo>
                    <a:pt x="6036" y="7232"/>
                  </a:moveTo>
                  <a:cubicBezTo>
                    <a:pt x="5924" y="7198"/>
                    <a:pt x="5810" y="7162"/>
                    <a:pt x="5781" y="7152"/>
                  </a:cubicBezTo>
                  <a:cubicBezTo>
                    <a:pt x="5805" y="7010"/>
                    <a:pt x="5805" y="7010"/>
                    <a:pt x="5805" y="7010"/>
                  </a:cubicBezTo>
                  <a:cubicBezTo>
                    <a:pt x="6096" y="7036"/>
                    <a:pt x="6096" y="7036"/>
                    <a:pt x="6096" y="7036"/>
                  </a:cubicBezTo>
                  <a:cubicBezTo>
                    <a:pt x="6410" y="7134"/>
                    <a:pt x="6410" y="7134"/>
                    <a:pt x="6410" y="7134"/>
                  </a:cubicBezTo>
                  <a:cubicBezTo>
                    <a:pt x="6414" y="7135"/>
                    <a:pt x="6414" y="7135"/>
                    <a:pt x="6414" y="7135"/>
                  </a:cubicBezTo>
                  <a:cubicBezTo>
                    <a:pt x="6377" y="7283"/>
                    <a:pt x="6377" y="7283"/>
                    <a:pt x="6377" y="7283"/>
                  </a:cubicBezTo>
                  <a:cubicBezTo>
                    <a:pt x="6390" y="7286"/>
                    <a:pt x="6390" y="7286"/>
                    <a:pt x="6390" y="7286"/>
                  </a:cubicBezTo>
                  <a:cubicBezTo>
                    <a:pt x="6428" y="7137"/>
                    <a:pt x="6428" y="7137"/>
                    <a:pt x="6428" y="7137"/>
                  </a:cubicBezTo>
                  <a:cubicBezTo>
                    <a:pt x="6765" y="7180"/>
                    <a:pt x="6765" y="7180"/>
                    <a:pt x="6765" y="7180"/>
                  </a:cubicBezTo>
                  <a:cubicBezTo>
                    <a:pt x="6738" y="7326"/>
                    <a:pt x="6738" y="7326"/>
                    <a:pt x="6738" y="7326"/>
                  </a:cubicBezTo>
                  <a:cubicBezTo>
                    <a:pt x="6604" y="7299"/>
                    <a:pt x="6604" y="7299"/>
                    <a:pt x="6604" y="7299"/>
                  </a:cubicBezTo>
                  <a:cubicBezTo>
                    <a:pt x="6601" y="7301"/>
                    <a:pt x="6601" y="7301"/>
                    <a:pt x="6601" y="7301"/>
                  </a:cubicBezTo>
                  <a:cubicBezTo>
                    <a:pt x="6601" y="7301"/>
                    <a:pt x="6580" y="7317"/>
                    <a:pt x="6569" y="7329"/>
                  </a:cubicBezTo>
                  <a:cubicBezTo>
                    <a:pt x="6567" y="7331"/>
                    <a:pt x="6565" y="7333"/>
                    <a:pt x="6563" y="7335"/>
                  </a:cubicBezTo>
                  <a:cubicBezTo>
                    <a:pt x="6562" y="7335"/>
                    <a:pt x="6561" y="7334"/>
                    <a:pt x="6560" y="7334"/>
                  </a:cubicBezTo>
                  <a:cubicBezTo>
                    <a:pt x="6554" y="7333"/>
                    <a:pt x="6545" y="7331"/>
                    <a:pt x="6536" y="7328"/>
                  </a:cubicBezTo>
                  <a:cubicBezTo>
                    <a:pt x="6516" y="7323"/>
                    <a:pt x="6490" y="7317"/>
                    <a:pt x="6465" y="7310"/>
                  </a:cubicBezTo>
                  <a:cubicBezTo>
                    <a:pt x="6414" y="7297"/>
                    <a:pt x="6364" y="7284"/>
                    <a:pt x="6364" y="7284"/>
                  </a:cubicBezTo>
                  <a:cubicBezTo>
                    <a:pt x="6362" y="7283"/>
                    <a:pt x="6362" y="7283"/>
                    <a:pt x="6362" y="7283"/>
                  </a:cubicBezTo>
                  <a:cubicBezTo>
                    <a:pt x="6279" y="7308"/>
                    <a:pt x="6279" y="7308"/>
                    <a:pt x="6279" y="7308"/>
                  </a:cubicBezTo>
                  <a:cubicBezTo>
                    <a:pt x="6263" y="7303"/>
                    <a:pt x="6150" y="7268"/>
                    <a:pt x="6036" y="7232"/>
                  </a:cubicBezTo>
                  <a:close/>
                  <a:moveTo>
                    <a:pt x="6749" y="7343"/>
                  </a:moveTo>
                  <a:cubicBezTo>
                    <a:pt x="6876" y="7369"/>
                    <a:pt x="6876" y="7369"/>
                    <a:pt x="6876" y="7369"/>
                  </a:cubicBezTo>
                  <a:cubicBezTo>
                    <a:pt x="6868" y="7417"/>
                    <a:pt x="6868" y="7417"/>
                    <a:pt x="6868" y="7417"/>
                  </a:cubicBezTo>
                  <a:cubicBezTo>
                    <a:pt x="6739" y="7396"/>
                    <a:pt x="6739" y="7396"/>
                    <a:pt x="6739" y="7396"/>
                  </a:cubicBezTo>
                  <a:lnTo>
                    <a:pt x="6749" y="7343"/>
                  </a:lnTo>
                  <a:close/>
                  <a:moveTo>
                    <a:pt x="6751" y="7329"/>
                  </a:moveTo>
                  <a:cubicBezTo>
                    <a:pt x="6778" y="7182"/>
                    <a:pt x="6778" y="7182"/>
                    <a:pt x="6778" y="7182"/>
                  </a:cubicBezTo>
                  <a:cubicBezTo>
                    <a:pt x="6907" y="7199"/>
                    <a:pt x="6907" y="7199"/>
                    <a:pt x="6907" y="7199"/>
                  </a:cubicBezTo>
                  <a:cubicBezTo>
                    <a:pt x="6879" y="7355"/>
                    <a:pt x="6879" y="7355"/>
                    <a:pt x="6879" y="7355"/>
                  </a:cubicBezTo>
                  <a:lnTo>
                    <a:pt x="6751" y="7329"/>
                  </a:lnTo>
                  <a:close/>
                  <a:moveTo>
                    <a:pt x="6921" y="7201"/>
                  </a:moveTo>
                  <a:cubicBezTo>
                    <a:pt x="7000" y="7211"/>
                    <a:pt x="7000" y="7211"/>
                    <a:pt x="7000" y="7211"/>
                  </a:cubicBezTo>
                  <a:cubicBezTo>
                    <a:pt x="6976" y="7375"/>
                    <a:pt x="6976" y="7375"/>
                    <a:pt x="6976" y="7375"/>
                  </a:cubicBezTo>
                  <a:cubicBezTo>
                    <a:pt x="6892" y="7358"/>
                    <a:pt x="6892" y="7358"/>
                    <a:pt x="6892" y="7358"/>
                  </a:cubicBezTo>
                  <a:lnTo>
                    <a:pt x="6921" y="7201"/>
                  </a:lnTo>
                  <a:close/>
                  <a:moveTo>
                    <a:pt x="6923" y="7187"/>
                  </a:moveTo>
                  <a:cubicBezTo>
                    <a:pt x="6956" y="7008"/>
                    <a:pt x="6956" y="7008"/>
                    <a:pt x="6956" y="7008"/>
                  </a:cubicBezTo>
                  <a:cubicBezTo>
                    <a:pt x="6985" y="7012"/>
                    <a:pt x="7010" y="7016"/>
                    <a:pt x="7028" y="7019"/>
                  </a:cubicBezTo>
                  <a:cubicBezTo>
                    <a:pt x="7002" y="7197"/>
                    <a:pt x="7002" y="7197"/>
                    <a:pt x="7002" y="7197"/>
                  </a:cubicBezTo>
                  <a:lnTo>
                    <a:pt x="6923" y="7187"/>
                  </a:lnTo>
                  <a:close/>
                  <a:moveTo>
                    <a:pt x="6958" y="6994"/>
                  </a:moveTo>
                  <a:cubicBezTo>
                    <a:pt x="6982" y="6864"/>
                    <a:pt x="6982" y="6864"/>
                    <a:pt x="6982" y="6864"/>
                  </a:cubicBezTo>
                  <a:cubicBezTo>
                    <a:pt x="7049" y="6875"/>
                    <a:pt x="7049" y="6875"/>
                    <a:pt x="7049" y="6875"/>
                  </a:cubicBezTo>
                  <a:cubicBezTo>
                    <a:pt x="7030" y="7005"/>
                    <a:pt x="7030" y="7005"/>
                    <a:pt x="7030" y="7005"/>
                  </a:cubicBezTo>
                  <a:cubicBezTo>
                    <a:pt x="7012" y="7002"/>
                    <a:pt x="6987" y="6999"/>
                    <a:pt x="6958" y="6994"/>
                  </a:cubicBezTo>
                  <a:close/>
                  <a:moveTo>
                    <a:pt x="7074" y="7154"/>
                  </a:moveTo>
                  <a:cubicBezTo>
                    <a:pt x="7211" y="7174"/>
                    <a:pt x="7211" y="7174"/>
                    <a:pt x="7211" y="7174"/>
                  </a:cubicBezTo>
                  <a:cubicBezTo>
                    <a:pt x="7218" y="7233"/>
                    <a:pt x="7227" y="7315"/>
                    <a:pt x="7234" y="7337"/>
                  </a:cubicBezTo>
                  <a:cubicBezTo>
                    <a:pt x="7041" y="7381"/>
                    <a:pt x="7041" y="7381"/>
                    <a:pt x="7041" y="7381"/>
                  </a:cubicBezTo>
                  <a:lnTo>
                    <a:pt x="7074" y="7154"/>
                  </a:lnTo>
                  <a:close/>
                  <a:moveTo>
                    <a:pt x="7231" y="7224"/>
                  </a:moveTo>
                  <a:cubicBezTo>
                    <a:pt x="7226" y="7178"/>
                    <a:pt x="7221" y="7132"/>
                    <a:pt x="7219" y="7115"/>
                  </a:cubicBezTo>
                  <a:cubicBezTo>
                    <a:pt x="7357" y="7097"/>
                    <a:pt x="7357" y="7097"/>
                    <a:pt x="7357" y="7097"/>
                  </a:cubicBezTo>
                  <a:cubicBezTo>
                    <a:pt x="7361" y="7092"/>
                    <a:pt x="7361" y="7092"/>
                    <a:pt x="7361" y="7092"/>
                  </a:cubicBezTo>
                  <a:cubicBezTo>
                    <a:pt x="7377" y="7106"/>
                    <a:pt x="7409" y="7137"/>
                    <a:pt x="7443" y="7170"/>
                  </a:cubicBezTo>
                  <a:cubicBezTo>
                    <a:pt x="7483" y="7209"/>
                    <a:pt x="7525" y="7251"/>
                    <a:pt x="7537" y="7267"/>
                  </a:cubicBezTo>
                  <a:cubicBezTo>
                    <a:pt x="7247" y="7334"/>
                    <a:pt x="7247" y="7334"/>
                    <a:pt x="7247" y="7334"/>
                  </a:cubicBezTo>
                  <a:cubicBezTo>
                    <a:pt x="7247" y="7333"/>
                    <a:pt x="7246" y="7331"/>
                    <a:pt x="7246" y="7328"/>
                  </a:cubicBezTo>
                  <a:cubicBezTo>
                    <a:pt x="7244" y="7322"/>
                    <a:pt x="7243" y="7313"/>
                    <a:pt x="7241" y="7303"/>
                  </a:cubicBezTo>
                  <a:cubicBezTo>
                    <a:pt x="7238" y="7281"/>
                    <a:pt x="7234" y="7252"/>
                    <a:pt x="7231" y="7224"/>
                  </a:cubicBezTo>
                  <a:close/>
                  <a:moveTo>
                    <a:pt x="7523" y="7231"/>
                  </a:moveTo>
                  <a:cubicBezTo>
                    <a:pt x="7505" y="7212"/>
                    <a:pt x="7481" y="7188"/>
                    <a:pt x="7457" y="7165"/>
                  </a:cubicBezTo>
                  <a:cubicBezTo>
                    <a:pt x="7421" y="7129"/>
                    <a:pt x="7385" y="7095"/>
                    <a:pt x="7369" y="7080"/>
                  </a:cubicBezTo>
                  <a:cubicBezTo>
                    <a:pt x="7431" y="6995"/>
                    <a:pt x="7431" y="6995"/>
                    <a:pt x="7431" y="6995"/>
                  </a:cubicBezTo>
                  <a:cubicBezTo>
                    <a:pt x="7455" y="6873"/>
                    <a:pt x="7455" y="6873"/>
                    <a:pt x="7455" y="6873"/>
                  </a:cubicBezTo>
                  <a:cubicBezTo>
                    <a:pt x="7456" y="6873"/>
                    <a:pt x="7456" y="6873"/>
                    <a:pt x="7457" y="6874"/>
                  </a:cubicBezTo>
                  <a:cubicBezTo>
                    <a:pt x="7468" y="6882"/>
                    <a:pt x="7483" y="6892"/>
                    <a:pt x="7501" y="6905"/>
                  </a:cubicBezTo>
                  <a:cubicBezTo>
                    <a:pt x="7537" y="6931"/>
                    <a:pt x="7584" y="6966"/>
                    <a:pt x="7631" y="7001"/>
                  </a:cubicBezTo>
                  <a:cubicBezTo>
                    <a:pt x="7708" y="7057"/>
                    <a:pt x="7783" y="7114"/>
                    <a:pt x="7808" y="7132"/>
                  </a:cubicBezTo>
                  <a:cubicBezTo>
                    <a:pt x="7806" y="7134"/>
                    <a:pt x="7806" y="7134"/>
                    <a:pt x="7806" y="7134"/>
                  </a:cubicBezTo>
                  <a:cubicBezTo>
                    <a:pt x="7551" y="7262"/>
                    <a:pt x="7551" y="7262"/>
                    <a:pt x="7551" y="7262"/>
                  </a:cubicBezTo>
                  <a:cubicBezTo>
                    <a:pt x="7550" y="7260"/>
                    <a:pt x="7548" y="7258"/>
                    <a:pt x="7545" y="7255"/>
                  </a:cubicBezTo>
                  <a:cubicBezTo>
                    <a:pt x="7540" y="7248"/>
                    <a:pt x="7532" y="7240"/>
                    <a:pt x="7523" y="7231"/>
                  </a:cubicBezTo>
                  <a:close/>
                  <a:moveTo>
                    <a:pt x="7001" y="6230"/>
                  </a:moveTo>
                  <a:cubicBezTo>
                    <a:pt x="6870" y="6216"/>
                    <a:pt x="6870" y="6216"/>
                    <a:pt x="6870" y="6216"/>
                  </a:cubicBezTo>
                  <a:cubicBezTo>
                    <a:pt x="6883" y="6090"/>
                    <a:pt x="6883" y="6090"/>
                    <a:pt x="6883" y="6090"/>
                  </a:cubicBezTo>
                  <a:cubicBezTo>
                    <a:pt x="7014" y="6104"/>
                    <a:pt x="7014" y="6104"/>
                    <a:pt x="7014" y="6104"/>
                  </a:cubicBezTo>
                  <a:lnTo>
                    <a:pt x="7001" y="6230"/>
                  </a:lnTo>
                  <a:close/>
                  <a:moveTo>
                    <a:pt x="7000" y="6244"/>
                  </a:moveTo>
                  <a:cubicBezTo>
                    <a:pt x="6998" y="6269"/>
                    <a:pt x="6998" y="6269"/>
                    <a:pt x="6998" y="6269"/>
                  </a:cubicBezTo>
                  <a:cubicBezTo>
                    <a:pt x="6867" y="6253"/>
                    <a:pt x="6867" y="6253"/>
                    <a:pt x="6867" y="6253"/>
                  </a:cubicBezTo>
                  <a:cubicBezTo>
                    <a:pt x="6869" y="6229"/>
                    <a:pt x="6869" y="6229"/>
                    <a:pt x="6869" y="6229"/>
                  </a:cubicBezTo>
                  <a:lnTo>
                    <a:pt x="7000" y="6244"/>
                  </a:lnTo>
                  <a:close/>
                  <a:moveTo>
                    <a:pt x="6856" y="6215"/>
                  </a:moveTo>
                  <a:cubicBezTo>
                    <a:pt x="6714" y="6200"/>
                    <a:pt x="6714" y="6200"/>
                    <a:pt x="6714" y="6200"/>
                  </a:cubicBezTo>
                  <a:cubicBezTo>
                    <a:pt x="6726" y="6074"/>
                    <a:pt x="6726" y="6074"/>
                    <a:pt x="6726" y="6074"/>
                  </a:cubicBezTo>
                  <a:cubicBezTo>
                    <a:pt x="6869" y="6089"/>
                    <a:pt x="6869" y="6089"/>
                    <a:pt x="6869" y="6089"/>
                  </a:cubicBezTo>
                  <a:lnTo>
                    <a:pt x="6856" y="6215"/>
                  </a:lnTo>
                  <a:close/>
                  <a:moveTo>
                    <a:pt x="6855" y="6228"/>
                  </a:moveTo>
                  <a:cubicBezTo>
                    <a:pt x="6853" y="6251"/>
                    <a:pt x="6853" y="6251"/>
                    <a:pt x="6853" y="6251"/>
                  </a:cubicBezTo>
                  <a:cubicBezTo>
                    <a:pt x="6710" y="6234"/>
                    <a:pt x="6710" y="6234"/>
                    <a:pt x="6710" y="6234"/>
                  </a:cubicBezTo>
                  <a:cubicBezTo>
                    <a:pt x="6712" y="6213"/>
                    <a:pt x="6712" y="6213"/>
                    <a:pt x="6712" y="6213"/>
                  </a:cubicBezTo>
                  <a:lnTo>
                    <a:pt x="6855" y="6228"/>
                  </a:lnTo>
                  <a:close/>
                  <a:moveTo>
                    <a:pt x="6700" y="6198"/>
                  </a:moveTo>
                  <a:cubicBezTo>
                    <a:pt x="6560" y="6183"/>
                    <a:pt x="6560" y="6183"/>
                    <a:pt x="6560" y="6183"/>
                  </a:cubicBezTo>
                  <a:cubicBezTo>
                    <a:pt x="6573" y="6057"/>
                    <a:pt x="6573" y="6057"/>
                    <a:pt x="6573" y="6057"/>
                  </a:cubicBezTo>
                  <a:cubicBezTo>
                    <a:pt x="6712" y="6072"/>
                    <a:pt x="6712" y="6072"/>
                    <a:pt x="6712" y="6072"/>
                  </a:cubicBezTo>
                  <a:lnTo>
                    <a:pt x="6700" y="6198"/>
                  </a:lnTo>
                  <a:close/>
                  <a:moveTo>
                    <a:pt x="6698" y="6211"/>
                  </a:moveTo>
                  <a:cubicBezTo>
                    <a:pt x="6696" y="6233"/>
                    <a:pt x="6696" y="6233"/>
                    <a:pt x="6696" y="6233"/>
                  </a:cubicBezTo>
                  <a:cubicBezTo>
                    <a:pt x="6557" y="6216"/>
                    <a:pt x="6557" y="6216"/>
                    <a:pt x="6557" y="6216"/>
                  </a:cubicBezTo>
                  <a:cubicBezTo>
                    <a:pt x="6559" y="6196"/>
                    <a:pt x="6559" y="6196"/>
                    <a:pt x="6559" y="6196"/>
                  </a:cubicBezTo>
                  <a:lnTo>
                    <a:pt x="6698" y="6211"/>
                  </a:lnTo>
                  <a:close/>
                  <a:moveTo>
                    <a:pt x="6546" y="6182"/>
                  </a:moveTo>
                  <a:cubicBezTo>
                    <a:pt x="6415" y="6168"/>
                    <a:pt x="6415" y="6168"/>
                    <a:pt x="6415" y="6168"/>
                  </a:cubicBezTo>
                  <a:cubicBezTo>
                    <a:pt x="6428" y="6042"/>
                    <a:pt x="6428" y="6042"/>
                    <a:pt x="6428" y="6042"/>
                  </a:cubicBezTo>
                  <a:cubicBezTo>
                    <a:pt x="6559" y="6056"/>
                    <a:pt x="6559" y="6056"/>
                    <a:pt x="6559" y="6056"/>
                  </a:cubicBezTo>
                  <a:lnTo>
                    <a:pt x="6546" y="6182"/>
                  </a:lnTo>
                  <a:close/>
                  <a:moveTo>
                    <a:pt x="6545" y="6195"/>
                  </a:moveTo>
                  <a:cubicBezTo>
                    <a:pt x="6543" y="6214"/>
                    <a:pt x="6543" y="6214"/>
                    <a:pt x="6543" y="6214"/>
                  </a:cubicBezTo>
                  <a:cubicBezTo>
                    <a:pt x="6412" y="6199"/>
                    <a:pt x="6412" y="6199"/>
                    <a:pt x="6412" y="6199"/>
                  </a:cubicBezTo>
                  <a:cubicBezTo>
                    <a:pt x="6414" y="6181"/>
                    <a:pt x="6414" y="6181"/>
                    <a:pt x="6414" y="6181"/>
                  </a:cubicBezTo>
                  <a:lnTo>
                    <a:pt x="6545" y="6195"/>
                  </a:lnTo>
                  <a:close/>
                  <a:moveTo>
                    <a:pt x="6401" y="6166"/>
                  </a:moveTo>
                  <a:cubicBezTo>
                    <a:pt x="6271" y="6152"/>
                    <a:pt x="6271" y="6152"/>
                    <a:pt x="6271" y="6152"/>
                  </a:cubicBezTo>
                  <a:cubicBezTo>
                    <a:pt x="6283" y="6026"/>
                    <a:pt x="6283" y="6026"/>
                    <a:pt x="6283" y="6026"/>
                  </a:cubicBezTo>
                  <a:cubicBezTo>
                    <a:pt x="6414" y="6040"/>
                    <a:pt x="6414" y="6040"/>
                    <a:pt x="6414" y="6040"/>
                  </a:cubicBezTo>
                  <a:lnTo>
                    <a:pt x="6401" y="6166"/>
                  </a:lnTo>
                  <a:close/>
                  <a:moveTo>
                    <a:pt x="6400" y="6179"/>
                  </a:moveTo>
                  <a:cubicBezTo>
                    <a:pt x="6398" y="6197"/>
                    <a:pt x="6398" y="6197"/>
                    <a:pt x="6398" y="6197"/>
                  </a:cubicBezTo>
                  <a:cubicBezTo>
                    <a:pt x="6268" y="6181"/>
                    <a:pt x="6268" y="6181"/>
                    <a:pt x="6268" y="6181"/>
                  </a:cubicBezTo>
                  <a:cubicBezTo>
                    <a:pt x="6269" y="6165"/>
                    <a:pt x="6269" y="6165"/>
                    <a:pt x="6269" y="6165"/>
                  </a:cubicBezTo>
                  <a:lnTo>
                    <a:pt x="6400" y="6179"/>
                  </a:lnTo>
                  <a:close/>
                  <a:moveTo>
                    <a:pt x="6325" y="6272"/>
                  </a:moveTo>
                  <a:cubicBezTo>
                    <a:pt x="6322" y="6314"/>
                    <a:pt x="6322" y="6314"/>
                    <a:pt x="6322" y="6314"/>
                  </a:cubicBezTo>
                  <a:cubicBezTo>
                    <a:pt x="6275" y="6311"/>
                    <a:pt x="6275" y="6311"/>
                    <a:pt x="6275" y="6311"/>
                  </a:cubicBezTo>
                  <a:cubicBezTo>
                    <a:pt x="6269" y="6390"/>
                    <a:pt x="6269" y="6390"/>
                    <a:pt x="6269" y="6390"/>
                  </a:cubicBezTo>
                  <a:cubicBezTo>
                    <a:pt x="6268" y="6397"/>
                    <a:pt x="6268" y="6397"/>
                    <a:pt x="6268" y="6397"/>
                  </a:cubicBezTo>
                  <a:cubicBezTo>
                    <a:pt x="6355" y="6404"/>
                    <a:pt x="6355" y="6404"/>
                    <a:pt x="6355" y="6404"/>
                  </a:cubicBezTo>
                  <a:cubicBezTo>
                    <a:pt x="6349" y="6528"/>
                    <a:pt x="6349" y="6528"/>
                    <a:pt x="6349" y="6528"/>
                  </a:cubicBezTo>
                  <a:cubicBezTo>
                    <a:pt x="6210" y="6514"/>
                    <a:pt x="6210" y="6514"/>
                    <a:pt x="6210" y="6514"/>
                  </a:cubicBezTo>
                  <a:cubicBezTo>
                    <a:pt x="6210" y="6514"/>
                    <a:pt x="6210" y="6513"/>
                    <a:pt x="6210" y="6513"/>
                  </a:cubicBezTo>
                  <a:cubicBezTo>
                    <a:pt x="6211" y="6510"/>
                    <a:pt x="6212" y="6507"/>
                    <a:pt x="6212" y="6503"/>
                  </a:cubicBezTo>
                  <a:cubicBezTo>
                    <a:pt x="6213" y="6494"/>
                    <a:pt x="6214" y="6483"/>
                    <a:pt x="6215" y="6469"/>
                  </a:cubicBezTo>
                  <a:cubicBezTo>
                    <a:pt x="6216" y="6441"/>
                    <a:pt x="6218" y="6404"/>
                    <a:pt x="6219" y="6367"/>
                  </a:cubicBezTo>
                  <a:cubicBezTo>
                    <a:pt x="6220" y="6318"/>
                    <a:pt x="6220" y="6269"/>
                    <a:pt x="6221" y="6242"/>
                  </a:cubicBezTo>
                  <a:cubicBezTo>
                    <a:pt x="6363" y="6259"/>
                    <a:pt x="6363" y="6259"/>
                    <a:pt x="6363" y="6259"/>
                  </a:cubicBezTo>
                  <a:cubicBezTo>
                    <a:pt x="6362" y="6274"/>
                    <a:pt x="6362" y="6274"/>
                    <a:pt x="6362" y="6274"/>
                  </a:cubicBezTo>
                  <a:lnTo>
                    <a:pt x="6325" y="6272"/>
                  </a:lnTo>
                  <a:close/>
                  <a:moveTo>
                    <a:pt x="6361" y="6288"/>
                  </a:moveTo>
                  <a:cubicBezTo>
                    <a:pt x="6356" y="6390"/>
                    <a:pt x="6356" y="6390"/>
                    <a:pt x="6356" y="6390"/>
                  </a:cubicBezTo>
                  <a:cubicBezTo>
                    <a:pt x="6283" y="6385"/>
                    <a:pt x="6283" y="6385"/>
                    <a:pt x="6283" y="6385"/>
                  </a:cubicBezTo>
                  <a:cubicBezTo>
                    <a:pt x="6287" y="6325"/>
                    <a:pt x="6287" y="6325"/>
                    <a:pt x="6287" y="6325"/>
                  </a:cubicBezTo>
                  <a:cubicBezTo>
                    <a:pt x="6334" y="6329"/>
                    <a:pt x="6334" y="6329"/>
                    <a:pt x="6334" y="6329"/>
                  </a:cubicBezTo>
                  <a:cubicBezTo>
                    <a:pt x="6337" y="6286"/>
                    <a:pt x="6337" y="6286"/>
                    <a:pt x="6337" y="6286"/>
                  </a:cubicBezTo>
                  <a:lnTo>
                    <a:pt x="6361" y="6288"/>
                  </a:lnTo>
                  <a:close/>
                  <a:moveTo>
                    <a:pt x="6257" y="6151"/>
                  </a:moveTo>
                  <a:cubicBezTo>
                    <a:pt x="6120" y="6136"/>
                    <a:pt x="6120" y="6136"/>
                    <a:pt x="6120" y="6136"/>
                  </a:cubicBezTo>
                  <a:cubicBezTo>
                    <a:pt x="6133" y="6010"/>
                    <a:pt x="6133" y="6010"/>
                    <a:pt x="6133" y="6010"/>
                  </a:cubicBezTo>
                  <a:cubicBezTo>
                    <a:pt x="6269" y="6025"/>
                    <a:pt x="6269" y="6025"/>
                    <a:pt x="6269" y="6025"/>
                  </a:cubicBezTo>
                  <a:lnTo>
                    <a:pt x="6257" y="6151"/>
                  </a:lnTo>
                  <a:close/>
                  <a:moveTo>
                    <a:pt x="6255" y="6164"/>
                  </a:moveTo>
                  <a:cubicBezTo>
                    <a:pt x="6254" y="6180"/>
                    <a:pt x="6254" y="6180"/>
                    <a:pt x="6254" y="6180"/>
                  </a:cubicBezTo>
                  <a:cubicBezTo>
                    <a:pt x="6117" y="6163"/>
                    <a:pt x="6117" y="6163"/>
                    <a:pt x="6117" y="6163"/>
                  </a:cubicBezTo>
                  <a:cubicBezTo>
                    <a:pt x="6119" y="6149"/>
                    <a:pt x="6119" y="6149"/>
                    <a:pt x="6119" y="6149"/>
                  </a:cubicBezTo>
                  <a:lnTo>
                    <a:pt x="6255" y="6164"/>
                  </a:lnTo>
                  <a:close/>
                  <a:moveTo>
                    <a:pt x="6106" y="6135"/>
                  </a:moveTo>
                  <a:cubicBezTo>
                    <a:pt x="5991" y="6122"/>
                    <a:pt x="5991" y="6122"/>
                    <a:pt x="5991" y="6122"/>
                  </a:cubicBezTo>
                  <a:cubicBezTo>
                    <a:pt x="6006" y="5996"/>
                    <a:pt x="6006" y="5996"/>
                    <a:pt x="6006" y="5996"/>
                  </a:cubicBezTo>
                  <a:cubicBezTo>
                    <a:pt x="6119" y="6008"/>
                    <a:pt x="6119" y="6008"/>
                    <a:pt x="6119" y="6008"/>
                  </a:cubicBezTo>
                  <a:lnTo>
                    <a:pt x="6106" y="6135"/>
                  </a:lnTo>
                  <a:close/>
                  <a:moveTo>
                    <a:pt x="6203" y="6508"/>
                  </a:moveTo>
                  <a:cubicBezTo>
                    <a:pt x="6203" y="6508"/>
                    <a:pt x="6203" y="6508"/>
                    <a:pt x="6203" y="6508"/>
                  </a:cubicBezTo>
                  <a:cubicBezTo>
                    <a:pt x="6203" y="6511"/>
                    <a:pt x="6203" y="6511"/>
                    <a:pt x="6203" y="6511"/>
                  </a:cubicBezTo>
                  <a:lnTo>
                    <a:pt x="6203" y="6508"/>
                  </a:lnTo>
                  <a:close/>
                  <a:moveTo>
                    <a:pt x="6134" y="6484"/>
                  </a:moveTo>
                  <a:cubicBezTo>
                    <a:pt x="6140" y="6521"/>
                    <a:pt x="6140" y="6521"/>
                    <a:pt x="6140" y="6521"/>
                  </a:cubicBezTo>
                  <a:cubicBezTo>
                    <a:pt x="6497" y="6558"/>
                    <a:pt x="6497" y="6558"/>
                    <a:pt x="6497" y="6558"/>
                  </a:cubicBezTo>
                  <a:cubicBezTo>
                    <a:pt x="6490" y="6616"/>
                    <a:pt x="6490" y="6616"/>
                    <a:pt x="6490" y="6616"/>
                  </a:cubicBezTo>
                  <a:cubicBezTo>
                    <a:pt x="6489" y="6616"/>
                    <a:pt x="6489" y="6616"/>
                    <a:pt x="6489" y="6616"/>
                  </a:cubicBezTo>
                  <a:cubicBezTo>
                    <a:pt x="6487" y="6629"/>
                    <a:pt x="6487" y="6629"/>
                    <a:pt x="6487" y="6629"/>
                  </a:cubicBezTo>
                  <a:cubicBezTo>
                    <a:pt x="6489" y="6630"/>
                    <a:pt x="6489" y="6630"/>
                    <a:pt x="6489" y="6630"/>
                  </a:cubicBezTo>
                  <a:cubicBezTo>
                    <a:pt x="6473" y="6767"/>
                    <a:pt x="6473" y="6767"/>
                    <a:pt x="6473" y="6767"/>
                  </a:cubicBezTo>
                  <a:cubicBezTo>
                    <a:pt x="6470" y="6766"/>
                    <a:pt x="6470" y="6766"/>
                    <a:pt x="6470" y="6766"/>
                  </a:cubicBezTo>
                  <a:cubicBezTo>
                    <a:pt x="6393" y="6776"/>
                    <a:pt x="6393" y="6776"/>
                    <a:pt x="6393" y="6776"/>
                  </a:cubicBezTo>
                  <a:cubicBezTo>
                    <a:pt x="6359" y="6907"/>
                    <a:pt x="6359" y="6907"/>
                    <a:pt x="6359" y="6907"/>
                  </a:cubicBezTo>
                  <a:cubicBezTo>
                    <a:pt x="6349" y="6906"/>
                    <a:pt x="6343" y="6905"/>
                    <a:pt x="6341" y="6905"/>
                  </a:cubicBezTo>
                  <a:cubicBezTo>
                    <a:pt x="6341" y="6905"/>
                    <a:pt x="6341" y="6905"/>
                    <a:pt x="6340" y="6905"/>
                  </a:cubicBezTo>
                  <a:cubicBezTo>
                    <a:pt x="6340" y="6905"/>
                    <a:pt x="6340" y="6905"/>
                    <a:pt x="6339" y="6905"/>
                  </a:cubicBezTo>
                  <a:cubicBezTo>
                    <a:pt x="6327" y="6904"/>
                    <a:pt x="6200" y="6882"/>
                    <a:pt x="6077" y="6860"/>
                  </a:cubicBezTo>
                  <a:cubicBezTo>
                    <a:pt x="5981" y="6844"/>
                    <a:pt x="5887" y="6827"/>
                    <a:pt x="5846" y="6820"/>
                  </a:cubicBezTo>
                  <a:cubicBezTo>
                    <a:pt x="5846" y="6819"/>
                    <a:pt x="5846" y="6819"/>
                    <a:pt x="5846" y="6819"/>
                  </a:cubicBezTo>
                  <a:cubicBezTo>
                    <a:pt x="5839" y="6817"/>
                    <a:pt x="5839" y="6817"/>
                    <a:pt x="5839" y="6817"/>
                  </a:cubicBezTo>
                  <a:cubicBezTo>
                    <a:pt x="5872" y="6629"/>
                    <a:pt x="5872" y="6629"/>
                    <a:pt x="5872" y="6629"/>
                  </a:cubicBezTo>
                  <a:cubicBezTo>
                    <a:pt x="6466" y="6709"/>
                    <a:pt x="6466" y="6709"/>
                    <a:pt x="6466" y="6709"/>
                  </a:cubicBezTo>
                  <a:cubicBezTo>
                    <a:pt x="6468" y="6696"/>
                    <a:pt x="6468" y="6696"/>
                    <a:pt x="6468" y="6696"/>
                  </a:cubicBezTo>
                  <a:cubicBezTo>
                    <a:pt x="5874" y="6615"/>
                    <a:pt x="5874" y="6615"/>
                    <a:pt x="5874" y="6615"/>
                  </a:cubicBezTo>
                  <a:cubicBezTo>
                    <a:pt x="5902" y="6456"/>
                    <a:pt x="5902" y="6456"/>
                    <a:pt x="5902" y="6456"/>
                  </a:cubicBezTo>
                  <a:lnTo>
                    <a:pt x="6134" y="6484"/>
                  </a:lnTo>
                  <a:close/>
                  <a:moveTo>
                    <a:pt x="5839" y="6434"/>
                  </a:moveTo>
                  <a:cubicBezTo>
                    <a:pt x="5743" y="6418"/>
                    <a:pt x="5743" y="6418"/>
                    <a:pt x="5743" y="6418"/>
                  </a:cubicBezTo>
                  <a:cubicBezTo>
                    <a:pt x="5744" y="6415"/>
                    <a:pt x="5744" y="6413"/>
                    <a:pt x="5745" y="6410"/>
                  </a:cubicBezTo>
                  <a:cubicBezTo>
                    <a:pt x="5747" y="6402"/>
                    <a:pt x="5749" y="6392"/>
                    <a:pt x="5752" y="6380"/>
                  </a:cubicBezTo>
                  <a:cubicBezTo>
                    <a:pt x="5753" y="6375"/>
                    <a:pt x="5754" y="6369"/>
                    <a:pt x="5755" y="6363"/>
                  </a:cubicBezTo>
                  <a:cubicBezTo>
                    <a:pt x="5810" y="6372"/>
                    <a:pt x="5810" y="6372"/>
                    <a:pt x="5810" y="6372"/>
                  </a:cubicBezTo>
                  <a:cubicBezTo>
                    <a:pt x="5835" y="6218"/>
                    <a:pt x="5835" y="6218"/>
                    <a:pt x="5835" y="6218"/>
                  </a:cubicBezTo>
                  <a:cubicBezTo>
                    <a:pt x="5778" y="6208"/>
                    <a:pt x="5778" y="6208"/>
                    <a:pt x="5778" y="6208"/>
                  </a:cubicBezTo>
                  <a:cubicBezTo>
                    <a:pt x="5779" y="6197"/>
                    <a:pt x="5780" y="6188"/>
                    <a:pt x="5781" y="6180"/>
                  </a:cubicBezTo>
                  <a:cubicBezTo>
                    <a:pt x="5880" y="6199"/>
                    <a:pt x="5880" y="6199"/>
                    <a:pt x="5880" y="6199"/>
                  </a:cubicBezTo>
                  <a:lnTo>
                    <a:pt x="5839" y="6434"/>
                  </a:lnTo>
                  <a:close/>
                  <a:moveTo>
                    <a:pt x="5820" y="6229"/>
                  </a:moveTo>
                  <a:cubicBezTo>
                    <a:pt x="5799" y="6357"/>
                    <a:pt x="5799" y="6357"/>
                    <a:pt x="5799" y="6357"/>
                  </a:cubicBezTo>
                  <a:cubicBezTo>
                    <a:pt x="5757" y="6350"/>
                    <a:pt x="5757" y="6350"/>
                    <a:pt x="5757" y="6350"/>
                  </a:cubicBezTo>
                  <a:cubicBezTo>
                    <a:pt x="5760" y="6331"/>
                    <a:pt x="5763" y="6311"/>
                    <a:pt x="5766" y="6291"/>
                  </a:cubicBezTo>
                  <a:cubicBezTo>
                    <a:pt x="5770" y="6266"/>
                    <a:pt x="5773" y="6242"/>
                    <a:pt x="5776" y="6221"/>
                  </a:cubicBezTo>
                  <a:lnTo>
                    <a:pt x="5820" y="6229"/>
                  </a:lnTo>
                  <a:close/>
                  <a:moveTo>
                    <a:pt x="5764" y="6205"/>
                  </a:moveTo>
                  <a:cubicBezTo>
                    <a:pt x="5659" y="6187"/>
                    <a:pt x="5659" y="6187"/>
                    <a:pt x="5659" y="6187"/>
                  </a:cubicBezTo>
                  <a:cubicBezTo>
                    <a:pt x="5660" y="6175"/>
                    <a:pt x="5662" y="6165"/>
                    <a:pt x="5663" y="6158"/>
                  </a:cubicBezTo>
                  <a:cubicBezTo>
                    <a:pt x="5768" y="6178"/>
                    <a:pt x="5768" y="6178"/>
                    <a:pt x="5768" y="6178"/>
                  </a:cubicBezTo>
                  <a:cubicBezTo>
                    <a:pt x="5767" y="6185"/>
                    <a:pt x="5765" y="6195"/>
                    <a:pt x="5764" y="6205"/>
                  </a:cubicBezTo>
                  <a:close/>
                  <a:moveTo>
                    <a:pt x="5762" y="6218"/>
                  </a:moveTo>
                  <a:cubicBezTo>
                    <a:pt x="5757" y="6257"/>
                    <a:pt x="5750" y="6307"/>
                    <a:pt x="5743" y="6347"/>
                  </a:cubicBezTo>
                  <a:cubicBezTo>
                    <a:pt x="5638" y="6329"/>
                    <a:pt x="5638" y="6329"/>
                    <a:pt x="5638" y="6329"/>
                  </a:cubicBezTo>
                  <a:cubicBezTo>
                    <a:pt x="5641" y="6313"/>
                    <a:pt x="5643" y="6296"/>
                    <a:pt x="5646" y="6279"/>
                  </a:cubicBezTo>
                  <a:cubicBezTo>
                    <a:pt x="5650" y="6250"/>
                    <a:pt x="5654" y="6222"/>
                    <a:pt x="5657" y="6200"/>
                  </a:cubicBezTo>
                  <a:lnTo>
                    <a:pt x="5762" y="6218"/>
                  </a:lnTo>
                  <a:close/>
                  <a:moveTo>
                    <a:pt x="5645" y="6184"/>
                  </a:moveTo>
                  <a:cubicBezTo>
                    <a:pt x="5542" y="6166"/>
                    <a:pt x="5542" y="6166"/>
                    <a:pt x="5542" y="6166"/>
                  </a:cubicBezTo>
                  <a:cubicBezTo>
                    <a:pt x="5544" y="6153"/>
                    <a:pt x="5545" y="6142"/>
                    <a:pt x="5546" y="6137"/>
                  </a:cubicBezTo>
                  <a:cubicBezTo>
                    <a:pt x="5649" y="6156"/>
                    <a:pt x="5649" y="6156"/>
                    <a:pt x="5649" y="6156"/>
                  </a:cubicBezTo>
                  <a:cubicBezTo>
                    <a:pt x="5648" y="6162"/>
                    <a:pt x="5647" y="6172"/>
                    <a:pt x="5645" y="6184"/>
                  </a:cubicBezTo>
                  <a:close/>
                  <a:moveTo>
                    <a:pt x="5643" y="6197"/>
                  </a:moveTo>
                  <a:cubicBezTo>
                    <a:pt x="5638" y="6234"/>
                    <a:pt x="5631" y="6284"/>
                    <a:pt x="5624" y="6326"/>
                  </a:cubicBezTo>
                  <a:cubicBezTo>
                    <a:pt x="5521" y="6308"/>
                    <a:pt x="5521" y="6308"/>
                    <a:pt x="5521" y="6308"/>
                  </a:cubicBezTo>
                  <a:cubicBezTo>
                    <a:pt x="5524" y="6293"/>
                    <a:pt x="5526" y="6276"/>
                    <a:pt x="5529" y="6260"/>
                  </a:cubicBezTo>
                  <a:cubicBezTo>
                    <a:pt x="5533" y="6231"/>
                    <a:pt x="5537" y="6202"/>
                    <a:pt x="5540" y="6179"/>
                  </a:cubicBezTo>
                  <a:lnTo>
                    <a:pt x="5643" y="6197"/>
                  </a:lnTo>
                  <a:close/>
                  <a:moveTo>
                    <a:pt x="5528" y="6163"/>
                  </a:moveTo>
                  <a:cubicBezTo>
                    <a:pt x="5422" y="6144"/>
                    <a:pt x="5422" y="6144"/>
                    <a:pt x="5422" y="6144"/>
                  </a:cubicBezTo>
                  <a:cubicBezTo>
                    <a:pt x="5424" y="6131"/>
                    <a:pt x="5425" y="6120"/>
                    <a:pt x="5426" y="6114"/>
                  </a:cubicBezTo>
                  <a:cubicBezTo>
                    <a:pt x="5532" y="6134"/>
                    <a:pt x="5532" y="6134"/>
                    <a:pt x="5532" y="6134"/>
                  </a:cubicBezTo>
                  <a:cubicBezTo>
                    <a:pt x="5531" y="6140"/>
                    <a:pt x="5530" y="6150"/>
                    <a:pt x="5528" y="6163"/>
                  </a:cubicBezTo>
                  <a:close/>
                  <a:moveTo>
                    <a:pt x="5527" y="6176"/>
                  </a:moveTo>
                  <a:cubicBezTo>
                    <a:pt x="5522" y="6213"/>
                    <a:pt x="5514" y="6263"/>
                    <a:pt x="5508" y="6306"/>
                  </a:cubicBezTo>
                  <a:cubicBezTo>
                    <a:pt x="5401" y="6287"/>
                    <a:pt x="5401" y="6287"/>
                    <a:pt x="5401" y="6287"/>
                  </a:cubicBezTo>
                  <a:cubicBezTo>
                    <a:pt x="5404" y="6271"/>
                    <a:pt x="5406" y="6255"/>
                    <a:pt x="5409" y="6238"/>
                  </a:cubicBezTo>
                  <a:cubicBezTo>
                    <a:pt x="5413" y="6209"/>
                    <a:pt x="5417" y="6181"/>
                    <a:pt x="5420" y="6157"/>
                  </a:cubicBezTo>
                  <a:lnTo>
                    <a:pt x="5527" y="6176"/>
                  </a:lnTo>
                  <a:close/>
                  <a:moveTo>
                    <a:pt x="5408" y="6142"/>
                  </a:moveTo>
                  <a:cubicBezTo>
                    <a:pt x="5287" y="6120"/>
                    <a:pt x="5287" y="6120"/>
                    <a:pt x="5287" y="6120"/>
                  </a:cubicBezTo>
                  <a:cubicBezTo>
                    <a:pt x="5288" y="6108"/>
                    <a:pt x="5289" y="6097"/>
                    <a:pt x="5289" y="6089"/>
                  </a:cubicBezTo>
                  <a:cubicBezTo>
                    <a:pt x="5412" y="6112"/>
                    <a:pt x="5412" y="6112"/>
                    <a:pt x="5412" y="6112"/>
                  </a:cubicBezTo>
                  <a:cubicBezTo>
                    <a:pt x="5411" y="6117"/>
                    <a:pt x="5410" y="6128"/>
                    <a:pt x="5408" y="6142"/>
                  </a:cubicBezTo>
                  <a:close/>
                  <a:moveTo>
                    <a:pt x="5406" y="6155"/>
                  </a:moveTo>
                  <a:cubicBezTo>
                    <a:pt x="5401" y="6191"/>
                    <a:pt x="5394" y="6242"/>
                    <a:pt x="5388" y="6284"/>
                  </a:cubicBezTo>
                  <a:cubicBezTo>
                    <a:pt x="5274" y="6265"/>
                    <a:pt x="5274" y="6265"/>
                    <a:pt x="5274" y="6265"/>
                  </a:cubicBezTo>
                  <a:cubicBezTo>
                    <a:pt x="5279" y="6214"/>
                    <a:pt x="5283" y="6168"/>
                    <a:pt x="5286" y="6134"/>
                  </a:cubicBezTo>
                  <a:lnTo>
                    <a:pt x="5406" y="6155"/>
                  </a:lnTo>
                  <a:close/>
                  <a:moveTo>
                    <a:pt x="5273" y="6118"/>
                  </a:moveTo>
                  <a:cubicBezTo>
                    <a:pt x="4895" y="6051"/>
                    <a:pt x="4895" y="6051"/>
                    <a:pt x="4895" y="6051"/>
                  </a:cubicBezTo>
                  <a:cubicBezTo>
                    <a:pt x="4889" y="6050"/>
                    <a:pt x="4889" y="6050"/>
                    <a:pt x="4889" y="6050"/>
                  </a:cubicBezTo>
                  <a:cubicBezTo>
                    <a:pt x="4863" y="6205"/>
                    <a:pt x="4863" y="6205"/>
                    <a:pt x="4863" y="6205"/>
                  </a:cubicBezTo>
                  <a:cubicBezTo>
                    <a:pt x="5260" y="6275"/>
                    <a:pt x="5260" y="6275"/>
                    <a:pt x="5260" y="6275"/>
                  </a:cubicBezTo>
                  <a:cubicBezTo>
                    <a:pt x="5259" y="6285"/>
                    <a:pt x="5258" y="6296"/>
                    <a:pt x="5257" y="6306"/>
                  </a:cubicBezTo>
                  <a:cubicBezTo>
                    <a:pt x="4703" y="6217"/>
                    <a:pt x="4703" y="6217"/>
                    <a:pt x="4703" y="6217"/>
                  </a:cubicBezTo>
                  <a:cubicBezTo>
                    <a:pt x="4707" y="6197"/>
                    <a:pt x="4711" y="6178"/>
                    <a:pt x="4715" y="6158"/>
                  </a:cubicBezTo>
                  <a:cubicBezTo>
                    <a:pt x="4726" y="6100"/>
                    <a:pt x="4738" y="6043"/>
                    <a:pt x="4749" y="5988"/>
                  </a:cubicBezTo>
                  <a:cubicBezTo>
                    <a:pt x="5276" y="6086"/>
                    <a:pt x="5276" y="6086"/>
                    <a:pt x="5276" y="6086"/>
                  </a:cubicBezTo>
                  <a:cubicBezTo>
                    <a:pt x="5275" y="6094"/>
                    <a:pt x="5274" y="6105"/>
                    <a:pt x="5273" y="6118"/>
                  </a:cubicBezTo>
                  <a:close/>
                  <a:moveTo>
                    <a:pt x="4743" y="5691"/>
                  </a:moveTo>
                  <a:cubicBezTo>
                    <a:pt x="4682" y="5686"/>
                    <a:pt x="4682" y="5686"/>
                    <a:pt x="4682" y="5686"/>
                  </a:cubicBezTo>
                  <a:cubicBezTo>
                    <a:pt x="4715" y="5510"/>
                    <a:pt x="4715" y="5510"/>
                    <a:pt x="4715" y="5510"/>
                  </a:cubicBezTo>
                  <a:cubicBezTo>
                    <a:pt x="4716" y="5503"/>
                    <a:pt x="4716" y="5503"/>
                    <a:pt x="4716" y="5503"/>
                  </a:cubicBezTo>
                  <a:cubicBezTo>
                    <a:pt x="4561" y="5478"/>
                    <a:pt x="4561" y="5478"/>
                    <a:pt x="4561" y="5478"/>
                  </a:cubicBezTo>
                  <a:cubicBezTo>
                    <a:pt x="4525" y="5672"/>
                    <a:pt x="4525" y="5672"/>
                    <a:pt x="4525" y="5672"/>
                  </a:cubicBezTo>
                  <a:cubicBezTo>
                    <a:pt x="4021" y="5627"/>
                    <a:pt x="4021" y="5627"/>
                    <a:pt x="4021" y="5627"/>
                  </a:cubicBezTo>
                  <a:cubicBezTo>
                    <a:pt x="4037" y="5419"/>
                    <a:pt x="4037" y="5419"/>
                    <a:pt x="4037" y="5419"/>
                  </a:cubicBezTo>
                  <a:cubicBezTo>
                    <a:pt x="4785" y="5455"/>
                    <a:pt x="4785" y="5455"/>
                    <a:pt x="4785" y="5455"/>
                  </a:cubicBezTo>
                  <a:cubicBezTo>
                    <a:pt x="4784" y="5469"/>
                    <a:pt x="4784" y="5481"/>
                    <a:pt x="4783" y="5490"/>
                  </a:cubicBezTo>
                  <a:cubicBezTo>
                    <a:pt x="4782" y="5500"/>
                    <a:pt x="4781" y="5507"/>
                    <a:pt x="4781" y="5510"/>
                  </a:cubicBezTo>
                  <a:cubicBezTo>
                    <a:pt x="4779" y="5520"/>
                    <a:pt x="4765" y="5589"/>
                    <a:pt x="4743" y="5691"/>
                  </a:cubicBezTo>
                  <a:close/>
                  <a:moveTo>
                    <a:pt x="4025" y="5405"/>
                  </a:moveTo>
                  <a:cubicBezTo>
                    <a:pt x="4014" y="5542"/>
                    <a:pt x="4014" y="5542"/>
                    <a:pt x="4014" y="5542"/>
                  </a:cubicBezTo>
                  <a:cubicBezTo>
                    <a:pt x="3978" y="5546"/>
                    <a:pt x="3802" y="5568"/>
                    <a:pt x="3801" y="5568"/>
                  </a:cubicBezTo>
                  <a:cubicBezTo>
                    <a:pt x="3797" y="5569"/>
                    <a:pt x="3797" y="5569"/>
                    <a:pt x="3797" y="5569"/>
                  </a:cubicBezTo>
                  <a:cubicBezTo>
                    <a:pt x="3768" y="5647"/>
                    <a:pt x="3768" y="5647"/>
                    <a:pt x="3768" y="5647"/>
                  </a:cubicBezTo>
                  <a:cubicBezTo>
                    <a:pt x="3737" y="5639"/>
                    <a:pt x="3596" y="5604"/>
                    <a:pt x="3536" y="5591"/>
                  </a:cubicBezTo>
                  <a:cubicBezTo>
                    <a:pt x="3561" y="5542"/>
                    <a:pt x="3576" y="5513"/>
                    <a:pt x="3576" y="5513"/>
                  </a:cubicBezTo>
                  <a:cubicBezTo>
                    <a:pt x="3589" y="5488"/>
                    <a:pt x="3589" y="5488"/>
                    <a:pt x="3589" y="5488"/>
                  </a:cubicBezTo>
                  <a:cubicBezTo>
                    <a:pt x="3587" y="5487"/>
                    <a:pt x="3587" y="5487"/>
                    <a:pt x="3587" y="5487"/>
                  </a:cubicBezTo>
                  <a:cubicBezTo>
                    <a:pt x="3744" y="5457"/>
                    <a:pt x="3744" y="5457"/>
                    <a:pt x="3744" y="5457"/>
                  </a:cubicBezTo>
                  <a:cubicBezTo>
                    <a:pt x="3908" y="5211"/>
                    <a:pt x="3908" y="5211"/>
                    <a:pt x="3908" y="5211"/>
                  </a:cubicBezTo>
                  <a:cubicBezTo>
                    <a:pt x="4023" y="5259"/>
                    <a:pt x="4123" y="5301"/>
                    <a:pt x="4153" y="5313"/>
                  </a:cubicBezTo>
                  <a:cubicBezTo>
                    <a:pt x="4154" y="5313"/>
                    <a:pt x="4154" y="5313"/>
                    <a:pt x="4155" y="5313"/>
                  </a:cubicBezTo>
                  <a:cubicBezTo>
                    <a:pt x="4095" y="5408"/>
                    <a:pt x="4095" y="5408"/>
                    <a:pt x="4095" y="5408"/>
                  </a:cubicBezTo>
                  <a:lnTo>
                    <a:pt x="4025" y="5405"/>
                  </a:lnTo>
                  <a:close/>
                  <a:moveTo>
                    <a:pt x="3736" y="5445"/>
                  </a:moveTo>
                  <a:cubicBezTo>
                    <a:pt x="3624" y="5466"/>
                    <a:pt x="3624" y="5466"/>
                    <a:pt x="3624" y="5466"/>
                  </a:cubicBezTo>
                  <a:cubicBezTo>
                    <a:pt x="3690" y="5341"/>
                    <a:pt x="3690" y="5341"/>
                    <a:pt x="3690" y="5341"/>
                  </a:cubicBezTo>
                  <a:cubicBezTo>
                    <a:pt x="3623" y="5306"/>
                    <a:pt x="3623" y="5306"/>
                    <a:pt x="3623" y="5306"/>
                  </a:cubicBezTo>
                  <a:cubicBezTo>
                    <a:pt x="3556" y="5434"/>
                    <a:pt x="3556" y="5434"/>
                    <a:pt x="3556" y="5434"/>
                  </a:cubicBezTo>
                  <a:cubicBezTo>
                    <a:pt x="3553" y="5440"/>
                    <a:pt x="3553" y="5440"/>
                    <a:pt x="3553" y="5440"/>
                  </a:cubicBezTo>
                  <a:cubicBezTo>
                    <a:pt x="3608" y="5469"/>
                    <a:pt x="3608" y="5469"/>
                    <a:pt x="3608" y="5469"/>
                  </a:cubicBezTo>
                  <a:cubicBezTo>
                    <a:pt x="3572" y="5476"/>
                    <a:pt x="3572" y="5476"/>
                    <a:pt x="3572" y="5476"/>
                  </a:cubicBezTo>
                  <a:cubicBezTo>
                    <a:pt x="3505" y="5424"/>
                    <a:pt x="3505" y="5424"/>
                    <a:pt x="3505" y="5424"/>
                  </a:cubicBezTo>
                  <a:cubicBezTo>
                    <a:pt x="3662" y="5106"/>
                    <a:pt x="3662" y="5106"/>
                    <a:pt x="3662" y="5106"/>
                  </a:cubicBezTo>
                  <a:cubicBezTo>
                    <a:pt x="3699" y="5122"/>
                    <a:pt x="3738" y="5139"/>
                    <a:pt x="3778" y="5156"/>
                  </a:cubicBezTo>
                  <a:cubicBezTo>
                    <a:pt x="3817" y="5173"/>
                    <a:pt x="3857" y="5189"/>
                    <a:pt x="3895" y="5205"/>
                  </a:cubicBezTo>
                  <a:lnTo>
                    <a:pt x="3736" y="5445"/>
                  </a:lnTo>
                  <a:close/>
                  <a:moveTo>
                    <a:pt x="3614" y="5457"/>
                  </a:moveTo>
                  <a:cubicBezTo>
                    <a:pt x="3570" y="5434"/>
                    <a:pt x="3570" y="5434"/>
                    <a:pt x="3570" y="5434"/>
                  </a:cubicBezTo>
                  <a:cubicBezTo>
                    <a:pt x="3629" y="5323"/>
                    <a:pt x="3629" y="5323"/>
                    <a:pt x="3629" y="5323"/>
                  </a:cubicBezTo>
                  <a:cubicBezTo>
                    <a:pt x="3673" y="5347"/>
                    <a:pt x="3673" y="5347"/>
                    <a:pt x="3673" y="5347"/>
                  </a:cubicBezTo>
                  <a:lnTo>
                    <a:pt x="3614" y="5457"/>
                  </a:lnTo>
                  <a:close/>
                  <a:moveTo>
                    <a:pt x="3493" y="5415"/>
                  </a:moveTo>
                  <a:cubicBezTo>
                    <a:pt x="3274" y="5246"/>
                    <a:pt x="3274" y="5246"/>
                    <a:pt x="3274" y="5246"/>
                  </a:cubicBezTo>
                  <a:cubicBezTo>
                    <a:pt x="3470" y="5023"/>
                    <a:pt x="3470" y="5023"/>
                    <a:pt x="3470" y="5023"/>
                  </a:cubicBezTo>
                  <a:cubicBezTo>
                    <a:pt x="3471" y="5024"/>
                    <a:pt x="3471" y="5024"/>
                    <a:pt x="3472" y="5024"/>
                  </a:cubicBezTo>
                  <a:cubicBezTo>
                    <a:pt x="3477" y="5026"/>
                    <a:pt x="3483" y="5029"/>
                    <a:pt x="3492" y="5033"/>
                  </a:cubicBezTo>
                  <a:cubicBezTo>
                    <a:pt x="3509" y="5040"/>
                    <a:pt x="3533" y="5051"/>
                    <a:pt x="3561" y="5063"/>
                  </a:cubicBezTo>
                  <a:cubicBezTo>
                    <a:pt x="3587" y="5074"/>
                    <a:pt x="3617" y="5087"/>
                    <a:pt x="3649" y="5101"/>
                  </a:cubicBezTo>
                  <a:lnTo>
                    <a:pt x="3493" y="5415"/>
                  </a:lnTo>
                  <a:close/>
                  <a:moveTo>
                    <a:pt x="3505" y="5507"/>
                  </a:moveTo>
                  <a:cubicBezTo>
                    <a:pt x="3488" y="5541"/>
                    <a:pt x="3454" y="5607"/>
                    <a:pt x="3411" y="5691"/>
                  </a:cubicBezTo>
                  <a:cubicBezTo>
                    <a:pt x="3408" y="5690"/>
                    <a:pt x="3404" y="5688"/>
                    <a:pt x="3400" y="5685"/>
                  </a:cubicBezTo>
                  <a:cubicBezTo>
                    <a:pt x="3397" y="5684"/>
                    <a:pt x="3394" y="5682"/>
                    <a:pt x="3391" y="5681"/>
                  </a:cubicBezTo>
                  <a:cubicBezTo>
                    <a:pt x="3439" y="5587"/>
                    <a:pt x="3439" y="5587"/>
                    <a:pt x="3439" y="5587"/>
                  </a:cubicBezTo>
                  <a:cubicBezTo>
                    <a:pt x="3453" y="5596"/>
                    <a:pt x="3453" y="5596"/>
                    <a:pt x="3453" y="5596"/>
                  </a:cubicBezTo>
                  <a:cubicBezTo>
                    <a:pt x="3461" y="5584"/>
                    <a:pt x="3461" y="5584"/>
                    <a:pt x="3461" y="5584"/>
                  </a:cubicBezTo>
                  <a:cubicBezTo>
                    <a:pt x="3445" y="5574"/>
                    <a:pt x="3445" y="5574"/>
                    <a:pt x="3445" y="5574"/>
                  </a:cubicBezTo>
                  <a:cubicBezTo>
                    <a:pt x="3470" y="5526"/>
                    <a:pt x="3470" y="5526"/>
                    <a:pt x="3470" y="5526"/>
                  </a:cubicBezTo>
                  <a:cubicBezTo>
                    <a:pt x="3473" y="5520"/>
                    <a:pt x="3473" y="5520"/>
                    <a:pt x="3473" y="5520"/>
                  </a:cubicBezTo>
                  <a:cubicBezTo>
                    <a:pt x="3353" y="5462"/>
                    <a:pt x="3353" y="5462"/>
                    <a:pt x="3353" y="5462"/>
                  </a:cubicBezTo>
                  <a:cubicBezTo>
                    <a:pt x="3333" y="5501"/>
                    <a:pt x="3333" y="5501"/>
                    <a:pt x="3333" y="5501"/>
                  </a:cubicBezTo>
                  <a:cubicBezTo>
                    <a:pt x="3020" y="5298"/>
                    <a:pt x="3020" y="5298"/>
                    <a:pt x="3020" y="5298"/>
                  </a:cubicBezTo>
                  <a:cubicBezTo>
                    <a:pt x="3082" y="5181"/>
                    <a:pt x="3082" y="5181"/>
                    <a:pt x="3082" y="5181"/>
                  </a:cubicBezTo>
                  <a:lnTo>
                    <a:pt x="3505" y="5507"/>
                  </a:lnTo>
                  <a:close/>
                  <a:moveTo>
                    <a:pt x="3234" y="5731"/>
                  </a:moveTo>
                  <a:cubicBezTo>
                    <a:pt x="3280" y="5638"/>
                    <a:pt x="3280" y="5638"/>
                    <a:pt x="3280" y="5638"/>
                  </a:cubicBezTo>
                  <a:cubicBezTo>
                    <a:pt x="3316" y="5657"/>
                    <a:pt x="3349" y="5675"/>
                    <a:pt x="3373" y="5687"/>
                  </a:cubicBezTo>
                  <a:cubicBezTo>
                    <a:pt x="3327" y="5777"/>
                    <a:pt x="3327" y="5777"/>
                    <a:pt x="3327" y="5777"/>
                  </a:cubicBezTo>
                  <a:cubicBezTo>
                    <a:pt x="3302" y="5765"/>
                    <a:pt x="3269" y="5748"/>
                    <a:pt x="3234" y="5731"/>
                  </a:cubicBezTo>
                  <a:close/>
                  <a:moveTo>
                    <a:pt x="3321" y="5790"/>
                  </a:moveTo>
                  <a:cubicBezTo>
                    <a:pt x="3311" y="5809"/>
                    <a:pt x="3311" y="5809"/>
                    <a:pt x="3311" y="5809"/>
                  </a:cubicBezTo>
                  <a:cubicBezTo>
                    <a:pt x="3217" y="5763"/>
                    <a:pt x="3217" y="5763"/>
                    <a:pt x="3217" y="5763"/>
                  </a:cubicBezTo>
                  <a:cubicBezTo>
                    <a:pt x="3227" y="5743"/>
                    <a:pt x="3227" y="5743"/>
                    <a:pt x="3227" y="5743"/>
                  </a:cubicBezTo>
                  <a:cubicBezTo>
                    <a:pt x="3263" y="5761"/>
                    <a:pt x="3295" y="5777"/>
                    <a:pt x="3321" y="5790"/>
                  </a:cubicBezTo>
                  <a:close/>
                  <a:moveTo>
                    <a:pt x="3428" y="5579"/>
                  </a:moveTo>
                  <a:cubicBezTo>
                    <a:pt x="3379" y="5675"/>
                    <a:pt x="3379" y="5675"/>
                    <a:pt x="3379" y="5675"/>
                  </a:cubicBezTo>
                  <a:cubicBezTo>
                    <a:pt x="3370" y="5670"/>
                    <a:pt x="3359" y="5664"/>
                    <a:pt x="3347" y="5658"/>
                  </a:cubicBezTo>
                  <a:cubicBezTo>
                    <a:pt x="3329" y="5648"/>
                    <a:pt x="3308" y="5637"/>
                    <a:pt x="3286" y="5625"/>
                  </a:cubicBezTo>
                  <a:cubicBezTo>
                    <a:pt x="3338" y="5521"/>
                    <a:pt x="3338" y="5521"/>
                    <a:pt x="3338" y="5521"/>
                  </a:cubicBezTo>
                  <a:lnTo>
                    <a:pt x="3428" y="5579"/>
                  </a:lnTo>
                  <a:close/>
                  <a:moveTo>
                    <a:pt x="3344" y="5509"/>
                  </a:moveTo>
                  <a:cubicBezTo>
                    <a:pt x="3359" y="5479"/>
                    <a:pt x="3359" y="5479"/>
                    <a:pt x="3359" y="5479"/>
                  </a:cubicBezTo>
                  <a:cubicBezTo>
                    <a:pt x="3455" y="5526"/>
                    <a:pt x="3455" y="5526"/>
                    <a:pt x="3455" y="5526"/>
                  </a:cubicBezTo>
                  <a:cubicBezTo>
                    <a:pt x="3434" y="5567"/>
                    <a:pt x="3434" y="5567"/>
                    <a:pt x="3434" y="5567"/>
                  </a:cubicBezTo>
                  <a:lnTo>
                    <a:pt x="3344" y="5509"/>
                  </a:lnTo>
                  <a:close/>
                  <a:moveTo>
                    <a:pt x="3385" y="5693"/>
                  </a:moveTo>
                  <a:cubicBezTo>
                    <a:pt x="3393" y="5698"/>
                    <a:pt x="3400" y="5701"/>
                    <a:pt x="3405" y="5703"/>
                  </a:cubicBezTo>
                  <a:cubicBezTo>
                    <a:pt x="3390" y="5732"/>
                    <a:pt x="3375" y="5762"/>
                    <a:pt x="3359" y="5793"/>
                  </a:cubicBezTo>
                  <a:cubicBezTo>
                    <a:pt x="3353" y="5790"/>
                    <a:pt x="3346" y="5787"/>
                    <a:pt x="3339" y="5783"/>
                  </a:cubicBezTo>
                  <a:lnTo>
                    <a:pt x="3385" y="5693"/>
                  </a:lnTo>
                  <a:close/>
                  <a:moveTo>
                    <a:pt x="3327" y="5514"/>
                  </a:moveTo>
                  <a:cubicBezTo>
                    <a:pt x="3274" y="5619"/>
                    <a:pt x="3274" y="5619"/>
                    <a:pt x="3274" y="5619"/>
                  </a:cubicBezTo>
                  <a:cubicBezTo>
                    <a:pt x="3247" y="5605"/>
                    <a:pt x="3219" y="5589"/>
                    <a:pt x="3190" y="5574"/>
                  </a:cubicBezTo>
                  <a:cubicBezTo>
                    <a:pt x="3082" y="5515"/>
                    <a:pt x="2972" y="5456"/>
                    <a:pt x="2944" y="5442"/>
                  </a:cubicBezTo>
                  <a:cubicBezTo>
                    <a:pt x="3013" y="5310"/>
                    <a:pt x="3013" y="5310"/>
                    <a:pt x="3013" y="5310"/>
                  </a:cubicBezTo>
                  <a:lnTo>
                    <a:pt x="3327" y="5514"/>
                  </a:lnTo>
                  <a:close/>
                  <a:moveTo>
                    <a:pt x="2951" y="5461"/>
                  </a:moveTo>
                  <a:cubicBezTo>
                    <a:pt x="2963" y="5467"/>
                    <a:pt x="2979" y="5476"/>
                    <a:pt x="3000" y="5487"/>
                  </a:cubicBezTo>
                  <a:cubicBezTo>
                    <a:pt x="3040" y="5509"/>
                    <a:pt x="3094" y="5538"/>
                    <a:pt x="3150" y="5568"/>
                  </a:cubicBezTo>
                  <a:cubicBezTo>
                    <a:pt x="3190" y="5589"/>
                    <a:pt x="3231" y="5612"/>
                    <a:pt x="3268" y="5632"/>
                  </a:cubicBezTo>
                  <a:cubicBezTo>
                    <a:pt x="3222" y="5725"/>
                    <a:pt x="3222" y="5725"/>
                    <a:pt x="3222" y="5725"/>
                  </a:cubicBezTo>
                  <a:cubicBezTo>
                    <a:pt x="3194" y="5711"/>
                    <a:pt x="3165" y="5696"/>
                    <a:pt x="3136" y="5682"/>
                  </a:cubicBezTo>
                  <a:cubicBezTo>
                    <a:pt x="3019" y="5624"/>
                    <a:pt x="2900" y="5564"/>
                    <a:pt x="2884" y="5556"/>
                  </a:cubicBezTo>
                  <a:cubicBezTo>
                    <a:pt x="2937" y="5454"/>
                    <a:pt x="2937" y="5454"/>
                    <a:pt x="2937" y="5454"/>
                  </a:cubicBezTo>
                  <a:cubicBezTo>
                    <a:pt x="2941" y="5456"/>
                    <a:pt x="2945" y="5458"/>
                    <a:pt x="2951" y="5461"/>
                  </a:cubicBezTo>
                  <a:close/>
                  <a:moveTo>
                    <a:pt x="3216" y="5737"/>
                  </a:moveTo>
                  <a:cubicBezTo>
                    <a:pt x="3200" y="5769"/>
                    <a:pt x="3200" y="5769"/>
                    <a:pt x="3200" y="5769"/>
                  </a:cubicBezTo>
                  <a:cubicBezTo>
                    <a:pt x="3317" y="5826"/>
                    <a:pt x="3317" y="5826"/>
                    <a:pt x="3317" y="5826"/>
                  </a:cubicBezTo>
                  <a:cubicBezTo>
                    <a:pt x="3333" y="5795"/>
                    <a:pt x="3333" y="5795"/>
                    <a:pt x="3333" y="5795"/>
                  </a:cubicBezTo>
                  <a:cubicBezTo>
                    <a:pt x="3340" y="5799"/>
                    <a:pt x="3347" y="5803"/>
                    <a:pt x="3353" y="5805"/>
                  </a:cubicBezTo>
                  <a:cubicBezTo>
                    <a:pt x="3328" y="5853"/>
                    <a:pt x="3303" y="5903"/>
                    <a:pt x="3277" y="5954"/>
                  </a:cubicBezTo>
                  <a:cubicBezTo>
                    <a:pt x="3256" y="5944"/>
                    <a:pt x="3256" y="5944"/>
                    <a:pt x="3256" y="5944"/>
                  </a:cubicBezTo>
                  <a:cubicBezTo>
                    <a:pt x="3274" y="5908"/>
                    <a:pt x="3274" y="5908"/>
                    <a:pt x="3274" y="5908"/>
                  </a:cubicBezTo>
                  <a:cubicBezTo>
                    <a:pt x="3277" y="5902"/>
                    <a:pt x="3277" y="5902"/>
                    <a:pt x="3277" y="5902"/>
                  </a:cubicBezTo>
                  <a:cubicBezTo>
                    <a:pt x="3157" y="5844"/>
                    <a:pt x="3157" y="5844"/>
                    <a:pt x="3157" y="5844"/>
                  </a:cubicBezTo>
                  <a:cubicBezTo>
                    <a:pt x="3137" y="5884"/>
                    <a:pt x="3137" y="5884"/>
                    <a:pt x="3137" y="5884"/>
                  </a:cubicBezTo>
                  <a:cubicBezTo>
                    <a:pt x="3064" y="5848"/>
                    <a:pt x="3064" y="5848"/>
                    <a:pt x="3064" y="5848"/>
                  </a:cubicBezTo>
                  <a:cubicBezTo>
                    <a:pt x="3020" y="5871"/>
                    <a:pt x="3020" y="5871"/>
                    <a:pt x="3020" y="5871"/>
                  </a:cubicBezTo>
                  <a:cubicBezTo>
                    <a:pt x="2781" y="5752"/>
                    <a:pt x="2781" y="5752"/>
                    <a:pt x="2781" y="5752"/>
                  </a:cubicBezTo>
                  <a:cubicBezTo>
                    <a:pt x="2775" y="5764"/>
                    <a:pt x="2775" y="5764"/>
                    <a:pt x="2775" y="5764"/>
                  </a:cubicBezTo>
                  <a:cubicBezTo>
                    <a:pt x="3020" y="5887"/>
                    <a:pt x="3020" y="5887"/>
                    <a:pt x="3020" y="5887"/>
                  </a:cubicBezTo>
                  <a:cubicBezTo>
                    <a:pt x="3064" y="5863"/>
                    <a:pt x="3064" y="5863"/>
                    <a:pt x="3064" y="5863"/>
                  </a:cubicBezTo>
                  <a:cubicBezTo>
                    <a:pt x="3131" y="5897"/>
                    <a:pt x="3131" y="5897"/>
                    <a:pt x="3131" y="5897"/>
                  </a:cubicBezTo>
                  <a:cubicBezTo>
                    <a:pt x="3044" y="6071"/>
                    <a:pt x="3044" y="6071"/>
                    <a:pt x="3044" y="6071"/>
                  </a:cubicBezTo>
                  <a:cubicBezTo>
                    <a:pt x="2988" y="6046"/>
                    <a:pt x="2988" y="6046"/>
                    <a:pt x="2988" y="6046"/>
                  </a:cubicBezTo>
                  <a:cubicBezTo>
                    <a:pt x="2888" y="6075"/>
                    <a:pt x="2888" y="6075"/>
                    <a:pt x="2888" y="6075"/>
                  </a:cubicBezTo>
                  <a:cubicBezTo>
                    <a:pt x="2659" y="5982"/>
                    <a:pt x="2659" y="5982"/>
                    <a:pt x="2659" y="5982"/>
                  </a:cubicBezTo>
                  <a:cubicBezTo>
                    <a:pt x="2878" y="5568"/>
                    <a:pt x="2878" y="5568"/>
                    <a:pt x="2878" y="5568"/>
                  </a:cubicBezTo>
                  <a:cubicBezTo>
                    <a:pt x="2903" y="5581"/>
                    <a:pt x="3079" y="5669"/>
                    <a:pt x="3216" y="5737"/>
                  </a:cubicBezTo>
                  <a:close/>
                  <a:moveTo>
                    <a:pt x="3056" y="6076"/>
                  </a:moveTo>
                  <a:cubicBezTo>
                    <a:pt x="3143" y="5903"/>
                    <a:pt x="3143" y="5903"/>
                    <a:pt x="3143" y="5903"/>
                  </a:cubicBezTo>
                  <a:cubicBezTo>
                    <a:pt x="3238" y="5950"/>
                    <a:pt x="3238" y="5950"/>
                    <a:pt x="3238" y="5950"/>
                  </a:cubicBezTo>
                  <a:cubicBezTo>
                    <a:pt x="3152" y="6119"/>
                    <a:pt x="3152" y="6119"/>
                    <a:pt x="3152" y="6119"/>
                  </a:cubicBezTo>
                  <a:lnTo>
                    <a:pt x="3056" y="6076"/>
                  </a:lnTo>
                  <a:close/>
                  <a:moveTo>
                    <a:pt x="3146" y="6131"/>
                  </a:moveTo>
                  <a:cubicBezTo>
                    <a:pt x="3115" y="6191"/>
                    <a:pt x="3115" y="6191"/>
                    <a:pt x="3115" y="6191"/>
                  </a:cubicBezTo>
                  <a:cubicBezTo>
                    <a:pt x="3022" y="6146"/>
                    <a:pt x="3022" y="6146"/>
                    <a:pt x="3022" y="6146"/>
                  </a:cubicBezTo>
                  <a:cubicBezTo>
                    <a:pt x="3050" y="6089"/>
                    <a:pt x="3050" y="6089"/>
                    <a:pt x="3050" y="6089"/>
                  </a:cubicBezTo>
                  <a:lnTo>
                    <a:pt x="3146" y="6131"/>
                  </a:lnTo>
                  <a:close/>
                  <a:moveTo>
                    <a:pt x="3149" y="5890"/>
                  </a:moveTo>
                  <a:cubicBezTo>
                    <a:pt x="3163" y="5862"/>
                    <a:pt x="3163" y="5862"/>
                    <a:pt x="3163" y="5862"/>
                  </a:cubicBezTo>
                  <a:cubicBezTo>
                    <a:pt x="3259" y="5908"/>
                    <a:pt x="3259" y="5908"/>
                    <a:pt x="3259" y="5908"/>
                  </a:cubicBezTo>
                  <a:cubicBezTo>
                    <a:pt x="3244" y="5938"/>
                    <a:pt x="3244" y="5938"/>
                    <a:pt x="3244" y="5938"/>
                  </a:cubicBezTo>
                  <a:lnTo>
                    <a:pt x="3149" y="5890"/>
                  </a:lnTo>
                  <a:close/>
                  <a:moveTo>
                    <a:pt x="3250" y="5956"/>
                  </a:moveTo>
                  <a:cubicBezTo>
                    <a:pt x="3271" y="5967"/>
                    <a:pt x="3271" y="5967"/>
                    <a:pt x="3271" y="5967"/>
                  </a:cubicBezTo>
                  <a:cubicBezTo>
                    <a:pt x="3243" y="6022"/>
                    <a:pt x="3214" y="6079"/>
                    <a:pt x="3186" y="6134"/>
                  </a:cubicBezTo>
                  <a:cubicBezTo>
                    <a:pt x="3164" y="6124"/>
                    <a:pt x="3164" y="6124"/>
                    <a:pt x="3164" y="6124"/>
                  </a:cubicBezTo>
                  <a:lnTo>
                    <a:pt x="3250" y="5956"/>
                  </a:lnTo>
                  <a:close/>
                  <a:moveTo>
                    <a:pt x="2887" y="6090"/>
                  </a:moveTo>
                  <a:cubicBezTo>
                    <a:pt x="2987" y="6061"/>
                    <a:pt x="2987" y="6061"/>
                    <a:pt x="2987" y="6061"/>
                  </a:cubicBezTo>
                  <a:cubicBezTo>
                    <a:pt x="3038" y="6083"/>
                    <a:pt x="3038" y="6083"/>
                    <a:pt x="3038" y="6083"/>
                  </a:cubicBezTo>
                  <a:cubicBezTo>
                    <a:pt x="3004" y="6152"/>
                    <a:pt x="3004" y="6152"/>
                    <a:pt x="3004" y="6152"/>
                  </a:cubicBezTo>
                  <a:cubicBezTo>
                    <a:pt x="3121" y="6209"/>
                    <a:pt x="3121" y="6209"/>
                    <a:pt x="3121" y="6209"/>
                  </a:cubicBezTo>
                  <a:cubicBezTo>
                    <a:pt x="3158" y="6137"/>
                    <a:pt x="3158" y="6137"/>
                    <a:pt x="3158" y="6137"/>
                  </a:cubicBezTo>
                  <a:cubicBezTo>
                    <a:pt x="3180" y="6146"/>
                    <a:pt x="3180" y="6146"/>
                    <a:pt x="3180" y="6146"/>
                  </a:cubicBezTo>
                  <a:cubicBezTo>
                    <a:pt x="3148" y="6209"/>
                    <a:pt x="3117" y="6271"/>
                    <a:pt x="3090" y="6327"/>
                  </a:cubicBezTo>
                  <a:cubicBezTo>
                    <a:pt x="3049" y="6308"/>
                    <a:pt x="2918" y="6247"/>
                    <a:pt x="2785" y="6185"/>
                  </a:cubicBezTo>
                  <a:cubicBezTo>
                    <a:pt x="2646" y="6121"/>
                    <a:pt x="2509" y="6057"/>
                    <a:pt x="2469" y="6039"/>
                  </a:cubicBezTo>
                  <a:cubicBezTo>
                    <a:pt x="2482" y="6021"/>
                    <a:pt x="2494" y="6003"/>
                    <a:pt x="2505" y="5989"/>
                  </a:cubicBezTo>
                  <a:cubicBezTo>
                    <a:pt x="2521" y="5967"/>
                    <a:pt x="2535" y="5952"/>
                    <a:pt x="2539" y="5949"/>
                  </a:cubicBezTo>
                  <a:lnTo>
                    <a:pt x="2887" y="6090"/>
                  </a:lnTo>
                  <a:close/>
                  <a:moveTo>
                    <a:pt x="2920" y="6591"/>
                  </a:moveTo>
                  <a:cubicBezTo>
                    <a:pt x="2882" y="6667"/>
                    <a:pt x="2882" y="6667"/>
                    <a:pt x="2882" y="6667"/>
                  </a:cubicBezTo>
                  <a:cubicBezTo>
                    <a:pt x="2788" y="6621"/>
                    <a:pt x="2788" y="6621"/>
                    <a:pt x="2788" y="6621"/>
                  </a:cubicBezTo>
                  <a:cubicBezTo>
                    <a:pt x="2826" y="6545"/>
                    <a:pt x="2826" y="6545"/>
                    <a:pt x="2826" y="6545"/>
                  </a:cubicBezTo>
                  <a:lnTo>
                    <a:pt x="2920" y="6591"/>
                  </a:lnTo>
                  <a:close/>
                  <a:moveTo>
                    <a:pt x="2832" y="6533"/>
                  </a:moveTo>
                  <a:cubicBezTo>
                    <a:pt x="2929" y="6337"/>
                    <a:pt x="2929" y="6337"/>
                    <a:pt x="2929" y="6337"/>
                  </a:cubicBezTo>
                  <a:cubicBezTo>
                    <a:pt x="3026" y="6384"/>
                    <a:pt x="3026" y="6384"/>
                    <a:pt x="3026" y="6384"/>
                  </a:cubicBezTo>
                  <a:cubicBezTo>
                    <a:pt x="2926" y="6579"/>
                    <a:pt x="2926" y="6579"/>
                    <a:pt x="2926" y="6579"/>
                  </a:cubicBezTo>
                  <a:lnTo>
                    <a:pt x="2832" y="6533"/>
                  </a:lnTo>
                  <a:close/>
                  <a:moveTo>
                    <a:pt x="2770" y="6627"/>
                  </a:moveTo>
                  <a:cubicBezTo>
                    <a:pt x="2888" y="6684"/>
                    <a:pt x="2888" y="6684"/>
                    <a:pt x="2888" y="6684"/>
                  </a:cubicBezTo>
                  <a:cubicBezTo>
                    <a:pt x="2932" y="6597"/>
                    <a:pt x="2932" y="6597"/>
                    <a:pt x="2932" y="6597"/>
                  </a:cubicBezTo>
                  <a:cubicBezTo>
                    <a:pt x="2958" y="6610"/>
                    <a:pt x="2958" y="6610"/>
                    <a:pt x="2958" y="6610"/>
                  </a:cubicBezTo>
                  <a:cubicBezTo>
                    <a:pt x="2956" y="6620"/>
                    <a:pt x="2955" y="6630"/>
                    <a:pt x="2955" y="6641"/>
                  </a:cubicBezTo>
                  <a:cubicBezTo>
                    <a:pt x="2955" y="6670"/>
                    <a:pt x="2961" y="6702"/>
                    <a:pt x="2972" y="6736"/>
                  </a:cubicBezTo>
                  <a:cubicBezTo>
                    <a:pt x="2808" y="6793"/>
                    <a:pt x="2808" y="6793"/>
                    <a:pt x="2808" y="6793"/>
                  </a:cubicBezTo>
                  <a:cubicBezTo>
                    <a:pt x="2574" y="6708"/>
                    <a:pt x="2574" y="6708"/>
                    <a:pt x="2574" y="6708"/>
                  </a:cubicBezTo>
                  <a:cubicBezTo>
                    <a:pt x="2285" y="6544"/>
                    <a:pt x="2285" y="6544"/>
                    <a:pt x="2285" y="6544"/>
                  </a:cubicBezTo>
                  <a:cubicBezTo>
                    <a:pt x="2349" y="6444"/>
                    <a:pt x="2402" y="6363"/>
                    <a:pt x="2415" y="6343"/>
                  </a:cubicBezTo>
                  <a:cubicBezTo>
                    <a:pt x="2814" y="6539"/>
                    <a:pt x="2814" y="6539"/>
                    <a:pt x="2814" y="6539"/>
                  </a:cubicBezTo>
                  <a:lnTo>
                    <a:pt x="2770" y="6627"/>
                  </a:lnTo>
                  <a:close/>
                  <a:moveTo>
                    <a:pt x="2969" y="6580"/>
                  </a:moveTo>
                  <a:cubicBezTo>
                    <a:pt x="2966" y="6586"/>
                    <a:pt x="2964" y="6592"/>
                    <a:pt x="2962" y="6597"/>
                  </a:cubicBezTo>
                  <a:cubicBezTo>
                    <a:pt x="2938" y="6585"/>
                    <a:pt x="2938" y="6585"/>
                    <a:pt x="2938" y="6585"/>
                  </a:cubicBezTo>
                  <a:cubicBezTo>
                    <a:pt x="3040" y="6384"/>
                    <a:pt x="3040" y="6384"/>
                    <a:pt x="3040" y="6384"/>
                  </a:cubicBezTo>
                  <a:cubicBezTo>
                    <a:pt x="3043" y="6378"/>
                    <a:pt x="3043" y="6378"/>
                    <a:pt x="3043" y="6378"/>
                  </a:cubicBezTo>
                  <a:cubicBezTo>
                    <a:pt x="2924" y="6320"/>
                    <a:pt x="2924" y="6320"/>
                    <a:pt x="2924" y="6320"/>
                  </a:cubicBezTo>
                  <a:cubicBezTo>
                    <a:pt x="2820" y="6527"/>
                    <a:pt x="2820" y="6527"/>
                    <a:pt x="2820" y="6527"/>
                  </a:cubicBezTo>
                  <a:cubicBezTo>
                    <a:pt x="2418" y="6329"/>
                    <a:pt x="2418" y="6329"/>
                    <a:pt x="2418" y="6329"/>
                  </a:cubicBezTo>
                  <a:cubicBezTo>
                    <a:pt x="2375" y="6178"/>
                    <a:pt x="2375" y="6178"/>
                    <a:pt x="2375" y="6178"/>
                  </a:cubicBezTo>
                  <a:cubicBezTo>
                    <a:pt x="2384" y="6165"/>
                    <a:pt x="2423" y="6106"/>
                    <a:pt x="2461" y="6051"/>
                  </a:cubicBezTo>
                  <a:cubicBezTo>
                    <a:pt x="2492" y="6064"/>
                    <a:pt x="2637" y="6132"/>
                    <a:pt x="2779" y="6198"/>
                  </a:cubicBezTo>
                  <a:cubicBezTo>
                    <a:pt x="2912" y="6259"/>
                    <a:pt x="3042" y="6320"/>
                    <a:pt x="3083" y="6340"/>
                  </a:cubicBezTo>
                  <a:cubicBezTo>
                    <a:pt x="3029" y="6449"/>
                    <a:pt x="2986" y="6538"/>
                    <a:pt x="2969" y="6580"/>
                  </a:cubicBezTo>
                  <a:close/>
                  <a:moveTo>
                    <a:pt x="1783" y="5868"/>
                  </a:moveTo>
                  <a:cubicBezTo>
                    <a:pt x="1850" y="5751"/>
                    <a:pt x="1850" y="5751"/>
                    <a:pt x="1850" y="5751"/>
                  </a:cubicBezTo>
                  <a:cubicBezTo>
                    <a:pt x="1901" y="5780"/>
                    <a:pt x="1901" y="5780"/>
                    <a:pt x="1901" y="5780"/>
                  </a:cubicBezTo>
                  <a:cubicBezTo>
                    <a:pt x="1835" y="5897"/>
                    <a:pt x="1835" y="5897"/>
                    <a:pt x="1835" y="5897"/>
                  </a:cubicBezTo>
                  <a:lnTo>
                    <a:pt x="1783" y="5868"/>
                  </a:lnTo>
                  <a:close/>
                  <a:moveTo>
                    <a:pt x="1828" y="5909"/>
                  </a:moveTo>
                  <a:cubicBezTo>
                    <a:pt x="1775" y="6004"/>
                    <a:pt x="1775" y="6004"/>
                    <a:pt x="1775" y="6004"/>
                  </a:cubicBezTo>
                  <a:cubicBezTo>
                    <a:pt x="1723" y="5974"/>
                    <a:pt x="1723" y="5974"/>
                    <a:pt x="1723" y="5974"/>
                  </a:cubicBezTo>
                  <a:cubicBezTo>
                    <a:pt x="1777" y="5880"/>
                    <a:pt x="1777" y="5880"/>
                    <a:pt x="1777" y="5880"/>
                  </a:cubicBezTo>
                  <a:lnTo>
                    <a:pt x="1828" y="5909"/>
                  </a:lnTo>
                  <a:close/>
                  <a:moveTo>
                    <a:pt x="1857" y="5739"/>
                  </a:moveTo>
                  <a:cubicBezTo>
                    <a:pt x="1911" y="5644"/>
                    <a:pt x="1911" y="5644"/>
                    <a:pt x="1911" y="5644"/>
                  </a:cubicBezTo>
                  <a:cubicBezTo>
                    <a:pt x="1961" y="5672"/>
                    <a:pt x="1961" y="5672"/>
                    <a:pt x="1961" y="5672"/>
                  </a:cubicBezTo>
                  <a:cubicBezTo>
                    <a:pt x="1908" y="5768"/>
                    <a:pt x="1908" y="5768"/>
                    <a:pt x="1908" y="5768"/>
                  </a:cubicBezTo>
                  <a:lnTo>
                    <a:pt x="1857" y="5739"/>
                  </a:lnTo>
                  <a:close/>
                  <a:moveTo>
                    <a:pt x="1968" y="5660"/>
                  </a:moveTo>
                  <a:cubicBezTo>
                    <a:pt x="1917" y="5632"/>
                    <a:pt x="1917" y="5632"/>
                    <a:pt x="1917" y="5632"/>
                  </a:cubicBezTo>
                  <a:cubicBezTo>
                    <a:pt x="1976" y="5528"/>
                    <a:pt x="1976" y="5528"/>
                    <a:pt x="1976" y="5528"/>
                  </a:cubicBezTo>
                  <a:cubicBezTo>
                    <a:pt x="2022" y="5555"/>
                    <a:pt x="2022" y="5555"/>
                    <a:pt x="2022" y="5555"/>
                  </a:cubicBezTo>
                  <a:cubicBezTo>
                    <a:pt x="2029" y="5543"/>
                    <a:pt x="2029" y="5543"/>
                    <a:pt x="2029" y="5543"/>
                  </a:cubicBezTo>
                  <a:cubicBezTo>
                    <a:pt x="1983" y="5516"/>
                    <a:pt x="1983" y="5516"/>
                    <a:pt x="1983" y="5516"/>
                  </a:cubicBezTo>
                  <a:cubicBezTo>
                    <a:pt x="2043" y="5410"/>
                    <a:pt x="2043" y="5410"/>
                    <a:pt x="2043" y="5410"/>
                  </a:cubicBezTo>
                  <a:cubicBezTo>
                    <a:pt x="2092" y="5438"/>
                    <a:pt x="2092" y="5438"/>
                    <a:pt x="2092" y="5438"/>
                  </a:cubicBezTo>
                  <a:lnTo>
                    <a:pt x="1968" y="5660"/>
                  </a:lnTo>
                  <a:close/>
                  <a:moveTo>
                    <a:pt x="1971" y="5510"/>
                  </a:moveTo>
                  <a:cubicBezTo>
                    <a:pt x="1857" y="5445"/>
                    <a:pt x="1857" y="5445"/>
                    <a:pt x="1857" y="5445"/>
                  </a:cubicBezTo>
                  <a:cubicBezTo>
                    <a:pt x="1918" y="5338"/>
                    <a:pt x="1918" y="5338"/>
                    <a:pt x="1918" y="5338"/>
                  </a:cubicBezTo>
                  <a:cubicBezTo>
                    <a:pt x="2032" y="5403"/>
                    <a:pt x="2032" y="5403"/>
                    <a:pt x="2032" y="5403"/>
                  </a:cubicBezTo>
                  <a:lnTo>
                    <a:pt x="1971" y="5510"/>
                  </a:lnTo>
                  <a:close/>
                  <a:moveTo>
                    <a:pt x="1965" y="5522"/>
                  </a:moveTo>
                  <a:cubicBezTo>
                    <a:pt x="1906" y="5625"/>
                    <a:pt x="1906" y="5625"/>
                    <a:pt x="1906" y="5625"/>
                  </a:cubicBezTo>
                  <a:cubicBezTo>
                    <a:pt x="1792" y="5560"/>
                    <a:pt x="1792" y="5560"/>
                    <a:pt x="1792" y="5560"/>
                  </a:cubicBezTo>
                  <a:cubicBezTo>
                    <a:pt x="1851" y="5457"/>
                    <a:pt x="1851" y="5457"/>
                    <a:pt x="1851" y="5457"/>
                  </a:cubicBezTo>
                  <a:lnTo>
                    <a:pt x="1965" y="5522"/>
                  </a:lnTo>
                  <a:close/>
                  <a:moveTo>
                    <a:pt x="1899" y="5637"/>
                  </a:moveTo>
                  <a:cubicBezTo>
                    <a:pt x="1845" y="5732"/>
                    <a:pt x="1845" y="5732"/>
                    <a:pt x="1845" y="5732"/>
                  </a:cubicBezTo>
                  <a:cubicBezTo>
                    <a:pt x="1731" y="5667"/>
                    <a:pt x="1731" y="5667"/>
                    <a:pt x="1731" y="5667"/>
                  </a:cubicBezTo>
                  <a:cubicBezTo>
                    <a:pt x="1785" y="5572"/>
                    <a:pt x="1785" y="5572"/>
                    <a:pt x="1785" y="5572"/>
                  </a:cubicBezTo>
                  <a:lnTo>
                    <a:pt x="1899" y="5637"/>
                  </a:lnTo>
                  <a:close/>
                  <a:moveTo>
                    <a:pt x="1838" y="5744"/>
                  </a:moveTo>
                  <a:cubicBezTo>
                    <a:pt x="1772" y="5861"/>
                    <a:pt x="1772" y="5861"/>
                    <a:pt x="1772" y="5861"/>
                  </a:cubicBezTo>
                  <a:cubicBezTo>
                    <a:pt x="1658" y="5796"/>
                    <a:pt x="1658" y="5796"/>
                    <a:pt x="1658" y="5796"/>
                  </a:cubicBezTo>
                  <a:cubicBezTo>
                    <a:pt x="1724" y="5679"/>
                    <a:pt x="1724" y="5679"/>
                    <a:pt x="1724" y="5679"/>
                  </a:cubicBezTo>
                  <a:lnTo>
                    <a:pt x="1838" y="5744"/>
                  </a:lnTo>
                  <a:close/>
                  <a:moveTo>
                    <a:pt x="1765" y="5873"/>
                  </a:moveTo>
                  <a:cubicBezTo>
                    <a:pt x="1711" y="5968"/>
                    <a:pt x="1711" y="5968"/>
                    <a:pt x="1711" y="5968"/>
                  </a:cubicBezTo>
                  <a:cubicBezTo>
                    <a:pt x="1597" y="5903"/>
                    <a:pt x="1597" y="5903"/>
                    <a:pt x="1597" y="5903"/>
                  </a:cubicBezTo>
                  <a:cubicBezTo>
                    <a:pt x="1651" y="5808"/>
                    <a:pt x="1651" y="5808"/>
                    <a:pt x="1651" y="5808"/>
                  </a:cubicBezTo>
                  <a:lnTo>
                    <a:pt x="1765" y="5873"/>
                  </a:lnTo>
                  <a:close/>
                  <a:moveTo>
                    <a:pt x="1705" y="5980"/>
                  </a:moveTo>
                  <a:cubicBezTo>
                    <a:pt x="1645" y="6085"/>
                    <a:pt x="1645" y="6085"/>
                    <a:pt x="1645" y="6085"/>
                  </a:cubicBezTo>
                  <a:cubicBezTo>
                    <a:pt x="1531" y="6020"/>
                    <a:pt x="1531" y="6020"/>
                    <a:pt x="1531" y="6020"/>
                  </a:cubicBezTo>
                  <a:cubicBezTo>
                    <a:pt x="1591" y="5915"/>
                    <a:pt x="1591" y="5915"/>
                    <a:pt x="1591" y="5915"/>
                  </a:cubicBezTo>
                  <a:lnTo>
                    <a:pt x="1705" y="5980"/>
                  </a:lnTo>
                  <a:close/>
                  <a:moveTo>
                    <a:pt x="1638" y="6098"/>
                  </a:moveTo>
                  <a:cubicBezTo>
                    <a:pt x="1586" y="6190"/>
                    <a:pt x="1586" y="6190"/>
                    <a:pt x="1586" y="6190"/>
                  </a:cubicBezTo>
                  <a:cubicBezTo>
                    <a:pt x="1472" y="6124"/>
                    <a:pt x="1472" y="6124"/>
                    <a:pt x="1472" y="6124"/>
                  </a:cubicBezTo>
                  <a:cubicBezTo>
                    <a:pt x="1524" y="6032"/>
                    <a:pt x="1524" y="6032"/>
                    <a:pt x="1524" y="6032"/>
                  </a:cubicBezTo>
                  <a:lnTo>
                    <a:pt x="1638" y="6098"/>
                  </a:lnTo>
                  <a:close/>
                  <a:moveTo>
                    <a:pt x="1579" y="6202"/>
                  </a:moveTo>
                  <a:cubicBezTo>
                    <a:pt x="1519" y="6308"/>
                    <a:pt x="1519" y="6308"/>
                    <a:pt x="1519" y="6308"/>
                  </a:cubicBezTo>
                  <a:cubicBezTo>
                    <a:pt x="1405" y="6243"/>
                    <a:pt x="1405" y="6243"/>
                    <a:pt x="1405" y="6243"/>
                  </a:cubicBezTo>
                  <a:cubicBezTo>
                    <a:pt x="1465" y="6137"/>
                    <a:pt x="1465" y="6137"/>
                    <a:pt x="1465" y="6137"/>
                  </a:cubicBezTo>
                  <a:lnTo>
                    <a:pt x="1579" y="6202"/>
                  </a:lnTo>
                  <a:close/>
                  <a:moveTo>
                    <a:pt x="1590" y="6208"/>
                  </a:moveTo>
                  <a:cubicBezTo>
                    <a:pt x="1644" y="6239"/>
                    <a:pt x="1644" y="6239"/>
                    <a:pt x="1644" y="6239"/>
                  </a:cubicBezTo>
                  <a:cubicBezTo>
                    <a:pt x="1584" y="6345"/>
                    <a:pt x="1584" y="6345"/>
                    <a:pt x="1584" y="6345"/>
                  </a:cubicBezTo>
                  <a:cubicBezTo>
                    <a:pt x="1530" y="6314"/>
                    <a:pt x="1530" y="6314"/>
                    <a:pt x="1530" y="6314"/>
                  </a:cubicBezTo>
                  <a:lnTo>
                    <a:pt x="1590" y="6208"/>
                  </a:lnTo>
                  <a:close/>
                  <a:moveTo>
                    <a:pt x="1597" y="6196"/>
                  </a:moveTo>
                  <a:cubicBezTo>
                    <a:pt x="1649" y="6104"/>
                    <a:pt x="1649" y="6104"/>
                    <a:pt x="1649" y="6104"/>
                  </a:cubicBezTo>
                  <a:cubicBezTo>
                    <a:pt x="1702" y="6134"/>
                    <a:pt x="1702" y="6134"/>
                    <a:pt x="1702" y="6134"/>
                  </a:cubicBezTo>
                  <a:cubicBezTo>
                    <a:pt x="1651" y="6227"/>
                    <a:pt x="1651" y="6227"/>
                    <a:pt x="1651" y="6227"/>
                  </a:cubicBezTo>
                  <a:lnTo>
                    <a:pt x="1597" y="6196"/>
                  </a:lnTo>
                  <a:close/>
                  <a:moveTo>
                    <a:pt x="1656" y="6092"/>
                  </a:moveTo>
                  <a:cubicBezTo>
                    <a:pt x="1716" y="5987"/>
                    <a:pt x="1716" y="5987"/>
                    <a:pt x="1716" y="5987"/>
                  </a:cubicBezTo>
                  <a:cubicBezTo>
                    <a:pt x="1768" y="6016"/>
                    <a:pt x="1768" y="6016"/>
                    <a:pt x="1768" y="6016"/>
                  </a:cubicBezTo>
                  <a:cubicBezTo>
                    <a:pt x="1709" y="6122"/>
                    <a:pt x="1709" y="6122"/>
                    <a:pt x="1709" y="6122"/>
                  </a:cubicBezTo>
                  <a:lnTo>
                    <a:pt x="1656" y="6092"/>
                  </a:lnTo>
                  <a:close/>
                  <a:moveTo>
                    <a:pt x="1819" y="6060"/>
                  </a:moveTo>
                  <a:cubicBezTo>
                    <a:pt x="1830" y="6069"/>
                    <a:pt x="1830" y="6069"/>
                    <a:pt x="1830" y="6069"/>
                  </a:cubicBezTo>
                  <a:cubicBezTo>
                    <a:pt x="1759" y="6212"/>
                    <a:pt x="1759" y="6212"/>
                    <a:pt x="1759" y="6212"/>
                  </a:cubicBezTo>
                  <a:cubicBezTo>
                    <a:pt x="1876" y="6269"/>
                    <a:pt x="1876" y="6269"/>
                    <a:pt x="1876" y="6269"/>
                  </a:cubicBezTo>
                  <a:cubicBezTo>
                    <a:pt x="1938" y="6148"/>
                    <a:pt x="1938" y="6148"/>
                    <a:pt x="1938" y="6148"/>
                  </a:cubicBezTo>
                  <a:cubicBezTo>
                    <a:pt x="2092" y="6263"/>
                    <a:pt x="2092" y="6263"/>
                    <a:pt x="2092" y="6263"/>
                  </a:cubicBezTo>
                  <a:cubicBezTo>
                    <a:pt x="2100" y="6251"/>
                    <a:pt x="2100" y="6251"/>
                    <a:pt x="2100" y="6251"/>
                  </a:cubicBezTo>
                  <a:cubicBezTo>
                    <a:pt x="1944" y="6136"/>
                    <a:pt x="1944" y="6136"/>
                    <a:pt x="1944" y="6136"/>
                  </a:cubicBezTo>
                  <a:cubicBezTo>
                    <a:pt x="2029" y="5968"/>
                    <a:pt x="2029" y="5968"/>
                    <a:pt x="2029" y="5968"/>
                  </a:cubicBezTo>
                  <a:cubicBezTo>
                    <a:pt x="2032" y="5962"/>
                    <a:pt x="2032" y="5962"/>
                    <a:pt x="2032" y="5962"/>
                  </a:cubicBezTo>
                  <a:cubicBezTo>
                    <a:pt x="1912" y="5904"/>
                    <a:pt x="1912" y="5904"/>
                    <a:pt x="1912" y="5904"/>
                  </a:cubicBezTo>
                  <a:cubicBezTo>
                    <a:pt x="1837" y="6056"/>
                    <a:pt x="1837" y="6056"/>
                    <a:pt x="1837" y="6056"/>
                  </a:cubicBezTo>
                  <a:cubicBezTo>
                    <a:pt x="1826" y="6048"/>
                    <a:pt x="1826" y="6048"/>
                    <a:pt x="1826" y="6048"/>
                  </a:cubicBezTo>
                  <a:cubicBezTo>
                    <a:pt x="1923" y="5875"/>
                    <a:pt x="1923" y="5875"/>
                    <a:pt x="1923" y="5875"/>
                  </a:cubicBezTo>
                  <a:cubicBezTo>
                    <a:pt x="1967" y="5906"/>
                    <a:pt x="2076" y="5983"/>
                    <a:pt x="2113" y="6005"/>
                  </a:cubicBezTo>
                  <a:cubicBezTo>
                    <a:pt x="2121" y="6010"/>
                    <a:pt x="2122" y="6012"/>
                    <a:pt x="2129" y="6013"/>
                  </a:cubicBezTo>
                  <a:cubicBezTo>
                    <a:pt x="2135" y="6013"/>
                    <a:pt x="2398" y="6041"/>
                    <a:pt x="2447" y="6047"/>
                  </a:cubicBezTo>
                  <a:cubicBezTo>
                    <a:pt x="2445" y="6050"/>
                    <a:pt x="2443" y="6052"/>
                    <a:pt x="2441" y="6055"/>
                  </a:cubicBezTo>
                  <a:cubicBezTo>
                    <a:pt x="2405" y="6107"/>
                    <a:pt x="2372" y="6159"/>
                    <a:pt x="2364" y="6171"/>
                  </a:cubicBezTo>
                  <a:cubicBezTo>
                    <a:pt x="2341" y="6174"/>
                    <a:pt x="2190" y="6195"/>
                    <a:pt x="2146" y="6203"/>
                  </a:cubicBezTo>
                  <a:cubicBezTo>
                    <a:pt x="2138" y="6204"/>
                    <a:pt x="2135" y="6204"/>
                    <a:pt x="2131" y="6206"/>
                  </a:cubicBezTo>
                  <a:cubicBezTo>
                    <a:pt x="2131" y="6207"/>
                    <a:pt x="2129" y="6207"/>
                    <a:pt x="2128" y="6210"/>
                  </a:cubicBezTo>
                  <a:cubicBezTo>
                    <a:pt x="2128" y="6210"/>
                    <a:pt x="2128" y="6210"/>
                    <a:pt x="2128" y="6210"/>
                  </a:cubicBezTo>
                  <a:cubicBezTo>
                    <a:pt x="2126" y="6215"/>
                    <a:pt x="2126" y="6215"/>
                    <a:pt x="2126" y="6215"/>
                  </a:cubicBezTo>
                  <a:cubicBezTo>
                    <a:pt x="2126" y="6215"/>
                    <a:pt x="2126" y="6215"/>
                    <a:pt x="2126" y="6215"/>
                  </a:cubicBezTo>
                  <a:cubicBezTo>
                    <a:pt x="2125" y="6216"/>
                    <a:pt x="2124" y="6217"/>
                    <a:pt x="2123" y="6219"/>
                  </a:cubicBezTo>
                  <a:cubicBezTo>
                    <a:pt x="2120" y="6225"/>
                    <a:pt x="2114" y="6232"/>
                    <a:pt x="2108" y="6241"/>
                  </a:cubicBezTo>
                  <a:cubicBezTo>
                    <a:pt x="2096" y="6259"/>
                    <a:pt x="2079" y="6282"/>
                    <a:pt x="2063" y="6306"/>
                  </a:cubicBezTo>
                  <a:cubicBezTo>
                    <a:pt x="2040" y="6337"/>
                    <a:pt x="2017" y="6368"/>
                    <a:pt x="2005" y="6385"/>
                  </a:cubicBezTo>
                  <a:cubicBezTo>
                    <a:pt x="1726" y="6226"/>
                    <a:pt x="1726" y="6226"/>
                    <a:pt x="1726" y="6226"/>
                  </a:cubicBezTo>
                  <a:lnTo>
                    <a:pt x="1819" y="6060"/>
                  </a:lnTo>
                  <a:close/>
                  <a:moveTo>
                    <a:pt x="1927" y="6140"/>
                  </a:moveTo>
                  <a:cubicBezTo>
                    <a:pt x="1871" y="6252"/>
                    <a:pt x="1871" y="6252"/>
                    <a:pt x="1871" y="6252"/>
                  </a:cubicBezTo>
                  <a:cubicBezTo>
                    <a:pt x="1777" y="6206"/>
                    <a:pt x="1777" y="6206"/>
                    <a:pt x="1777" y="6206"/>
                  </a:cubicBezTo>
                  <a:cubicBezTo>
                    <a:pt x="1841" y="6077"/>
                    <a:pt x="1841" y="6077"/>
                    <a:pt x="1841" y="6077"/>
                  </a:cubicBezTo>
                  <a:lnTo>
                    <a:pt x="1927" y="6140"/>
                  </a:lnTo>
                  <a:close/>
                  <a:moveTo>
                    <a:pt x="1847" y="6064"/>
                  </a:moveTo>
                  <a:cubicBezTo>
                    <a:pt x="1918" y="5922"/>
                    <a:pt x="1918" y="5922"/>
                    <a:pt x="1918" y="5922"/>
                  </a:cubicBezTo>
                  <a:cubicBezTo>
                    <a:pt x="2014" y="5968"/>
                    <a:pt x="2014" y="5968"/>
                    <a:pt x="2014" y="5968"/>
                  </a:cubicBezTo>
                  <a:cubicBezTo>
                    <a:pt x="1933" y="6128"/>
                    <a:pt x="1933" y="6128"/>
                    <a:pt x="1933" y="6128"/>
                  </a:cubicBezTo>
                  <a:lnTo>
                    <a:pt x="1847" y="6064"/>
                  </a:lnTo>
                  <a:close/>
                  <a:moveTo>
                    <a:pt x="2135" y="6227"/>
                  </a:moveTo>
                  <a:cubicBezTo>
                    <a:pt x="2137" y="6222"/>
                    <a:pt x="2139" y="6221"/>
                    <a:pt x="2140" y="6218"/>
                  </a:cubicBezTo>
                  <a:cubicBezTo>
                    <a:pt x="2142" y="6218"/>
                    <a:pt x="2144" y="6217"/>
                    <a:pt x="2146" y="6217"/>
                  </a:cubicBezTo>
                  <a:cubicBezTo>
                    <a:pt x="2152" y="6216"/>
                    <a:pt x="2161" y="6214"/>
                    <a:pt x="2172" y="6213"/>
                  </a:cubicBezTo>
                  <a:cubicBezTo>
                    <a:pt x="2194" y="6209"/>
                    <a:pt x="2223" y="6205"/>
                    <a:pt x="2252" y="6201"/>
                  </a:cubicBezTo>
                  <a:cubicBezTo>
                    <a:pt x="2300" y="6194"/>
                    <a:pt x="2347" y="6187"/>
                    <a:pt x="2363" y="6185"/>
                  </a:cubicBezTo>
                  <a:cubicBezTo>
                    <a:pt x="2404" y="6333"/>
                    <a:pt x="2404" y="6333"/>
                    <a:pt x="2404" y="6333"/>
                  </a:cubicBezTo>
                  <a:cubicBezTo>
                    <a:pt x="2394" y="6348"/>
                    <a:pt x="2340" y="6433"/>
                    <a:pt x="2273" y="6537"/>
                  </a:cubicBezTo>
                  <a:cubicBezTo>
                    <a:pt x="2018" y="6392"/>
                    <a:pt x="2018" y="6392"/>
                    <a:pt x="2018" y="6392"/>
                  </a:cubicBezTo>
                  <a:cubicBezTo>
                    <a:pt x="2044" y="6356"/>
                    <a:pt x="2114" y="6259"/>
                    <a:pt x="2135" y="6227"/>
                  </a:cubicBezTo>
                  <a:close/>
                  <a:moveTo>
                    <a:pt x="3037" y="7308"/>
                  </a:moveTo>
                  <a:cubicBezTo>
                    <a:pt x="3013" y="7255"/>
                    <a:pt x="2982" y="7184"/>
                    <a:pt x="2951" y="7112"/>
                  </a:cubicBezTo>
                  <a:cubicBezTo>
                    <a:pt x="2892" y="6976"/>
                    <a:pt x="2832" y="6837"/>
                    <a:pt x="2817" y="6804"/>
                  </a:cubicBezTo>
                  <a:cubicBezTo>
                    <a:pt x="2977" y="6749"/>
                    <a:pt x="2977" y="6749"/>
                    <a:pt x="2977" y="6749"/>
                  </a:cubicBezTo>
                  <a:cubicBezTo>
                    <a:pt x="2997" y="6803"/>
                    <a:pt x="3030" y="6859"/>
                    <a:pt x="3077" y="6906"/>
                  </a:cubicBezTo>
                  <a:cubicBezTo>
                    <a:pt x="3164" y="6993"/>
                    <a:pt x="3271" y="7055"/>
                    <a:pt x="3388" y="7137"/>
                  </a:cubicBezTo>
                  <a:cubicBezTo>
                    <a:pt x="3414" y="7156"/>
                    <a:pt x="3444" y="7182"/>
                    <a:pt x="3475" y="7210"/>
                  </a:cubicBezTo>
                  <a:cubicBezTo>
                    <a:pt x="3455" y="7213"/>
                    <a:pt x="3433" y="7217"/>
                    <a:pt x="3410" y="7221"/>
                  </a:cubicBezTo>
                  <a:cubicBezTo>
                    <a:pt x="3339" y="7236"/>
                    <a:pt x="3259" y="7255"/>
                    <a:pt x="3208" y="7289"/>
                  </a:cubicBezTo>
                  <a:cubicBezTo>
                    <a:pt x="3173" y="7314"/>
                    <a:pt x="3125" y="7350"/>
                    <a:pt x="3071" y="7381"/>
                  </a:cubicBezTo>
                  <a:cubicBezTo>
                    <a:pt x="3069" y="7378"/>
                    <a:pt x="3068" y="7375"/>
                    <a:pt x="3066" y="7372"/>
                  </a:cubicBezTo>
                  <a:cubicBezTo>
                    <a:pt x="3059" y="7357"/>
                    <a:pt x="3049" y="7335"/>
                    <a:pt x="3037" y="7308"/>
                  </a:cubicBezTo>
                  <a:close/>
                  <a:moveTo>
                    <a:pt x="3426" y="7084"/>
                  </a:moveTo>
                  <a:cubicBezTo>
                    <a:pt x="3306" y="7000"/>
                    <a:pt x="3202" y="6939"/>
                    <a:pt x="3123" y="6859"/>
                  </a:cubicBezTo>
                  <a:cubicBezTo>
                    <a:pt x="3057" y="6794"/>
                    <a:pt x="3020" y="6695"/>
                    <a:pt x="3021" y="6641"/>
                  </a:cubicBezTo>
                  <a:cubicBezTo>
                    <a:pt x="3021" y="6634"/>
                    <a:pt x="3021" y="6627"/>
                    <a:pt x="3022" y="6622"/>
                  </a:cubicBezTo>
                  <a:cubicBezTo>
                    <a:pt x="3022" y="6622"/>
                    <a:pt x="3022" y="6622"/>
                    <a:pt x="3022" y="6622"/>
                  </a:cubicBezTo>
                  <a:cubicBezTo>
                    <a:pt x="3022" y="6622"/>
                    <a:pt x="3022" y="6622"/>
                    <a:pt x="3023" y="6622"/>
                  </a:cubicBezTo>
                  <a:cubicBezTo>
                    <a:pt x="3023" y="6621"/>
                    <a:pt x="3023" y="6620"/>
                    <a:pt x="3024" y="6618"/>
                  </a:cubicBezTo>
                  <a:cubicBezTo>
                    <a:pt x="3025" y="6615"/>
                    <a:pt x="3027" y="6611"/>
                    <a:pt x="3029" y="6605"/>
                  </a:cubicBezTo>
                  <a:cubicBezTo>
                    <a:pt x="3033" y="6595"/>
                    <a:pt x="3040" y="6581"/>
                    <a:pt x="3048" y="6563"/>
                  </a:cubicBezTo>
                  <a:cubicBezTo>
                    <a:pt x="3053" y="6552"/>
                    <a:pt x="3059" y="6539"/>
                    <a:pt x="3065" y="6526"/>
                  </a:cubicBezTo>
                  <a:cubicBezTo>
                    <a:pt x="3539" y="6755"/>
                    <a:pt x="3539" y="6755"/>
                    <a:pt x="3539" y="6755"/>
                  </a:cubicBezTo>
                  <a:cubicBezTo>
                    <a:pt x="3430" y="7087"/>
                    <a:pt x="3430" y="7087"/>
                    <a:pt x="3430" y="7087"/>
                  </a:cubicBezTo>
                  <a:cubicBezTo>
                    <a:pt x="3429" y="7086"/>
                    <a:pt x="3427" y="7085"/>
                    <a:pt x="3426" y="7084"/>
                  </a:cubicBezTo>
                  <a:close/>
                  <a:moveTo>
                    <a:pt x="3071" y="6513"/>
                  </a:moveTo>
                  <a:cubicBezTo>
                    <a:pt x="3083" y="6488"/>
                    <a:pt x="3097" y="6460"/>
                    <a:pt x="3112" y="6429"/>
                  </a:cubicBezTo>
                  <a:cubicBezTo>
                    <a:pt x="3144" y="6364"/>
                    <a:pt x="3182" y="6288"/>
                    <a:pt x="3223" y="6207"/>
                  </a:cubicBezTo>
                  <a:cubicBezTo>
                    <a:pt x="3823" y="6446"/>
                    <a:pt x="3823" y="6446"/>
                    <a:pt x="3823" y="6446"/>
                  </a:cubicBezTo>
                  <a:cubicBezTo>
                    <a:pt x="3828" y="6433"/>
                    <a:pt x="3828" y="6433"/>
                    <a:pt x="3828" y="6433"/>
                  </a:cubicBezTo>
                  <a:cubicBezTo>
                    <a:pt x="3229" y="6195"/>
                    <a:pt x="3229" y="6195"/>
                    <a:pt x="3229" y="6195"/>
                  </a:cubicBezTo>
                  <a:cubicBezTo>
                    <a:pt x="3253" y="6147"/>
                    <a:pt x="3278" y="6097"/>
                    <a:pt x="3303" y="6048"/>
                  </a:cubicBezTo>
                  <a:cubicBezTo>
                    <a:pt x="3338" y="5979"/>
                    <a:pt x="3373" y="5911"/>
                    <a:pt x="3405" y="5847"/>
                  </a:cubicBezTo>
                  <a:cubicBezTo>
                    <a:pt x="3971" y="6004"/>
                    <a:pt x="3971" y="6004"/>
                    <a:pt x="3971" y="6004"/>
                  </a:cubicBezTo>
                  <a:cubicBezTo>
                    <a:pt x="3975" y="5990"/>
                    <a:pt x="3975" y="5990"/>
                    <a:pt x="3975" y="5990"/>
                  </a:cubicBezTo>
                  <a:cubicBezTo>
                    <a:pt x="3412" y="5834"/>
                    <a:pt x="3412" y="5834"/>
                    <a:pt x="3412" y="5834"/>
                  </a:cubicBezTo>
                  <a:cubicBezTo>
                    <a:pt x="3458" y="5743"/>
                    <a:pt x="3500" y="5662"/>
                    <a:pt x="3529" y="5604"/>
                  </a:cubicBezTo>
                  <a:cubicBezTo>
                    <a:pt x="3554" y="5609"/>
                    <a:pt x="3600" y="5620"/>
                    <a:pt x="3644" y="5631"/>
                  </a:cubicBezTo>
                  <a:cubicBezTo>
                    <a:pt x="3708" y="5646"/>
                    <a:pt x="3771" y="5662"/>
                    <a:pt x="3771" y="5662"/>
                  </a:cubicBezTo>
                  <a:cubicBezTo>
                    <a:pt x="3777" y="5663"/>
                    <a:pt x="3777" y="5663"/>
                    <a:pt x="3777" y="5663"/>
                  </a:cubicBezTo>
                  <a:cubicBezTo>
                    <a:pt x="3807" y="5582"/>
                    <a:pt x="3807" y="5582"/>
                    <a:pt x="3807" y="5582"/>
                  </a:cubicBezTo>
                  <a:cubicBezTo>
                    <a:pt x="3821" y="5580"/>
                    <a:pt x="3866" y="5574"/>
                    <a:pt x="3911" y="5569"/>
                  </a:cubicBezTo>
                  <a:cubicBezTo>
                    <a:pt x="3954" y="5564"/>
                    <a:pt x="3996" y="5558"/>
                    <a:pt x="4013" y="5556"/>
                  </a:cubicBezTo>
                  <a:cubicBezTo>
                    <a:pt x="3978" y="5995"/>
                    <a:pt x="3978" y="5995"/>
                    <a:pt x="3978" y="5995"/>
                  </a:cubicBezTo>
                  <a:cubicBezTo>
                    <a:pt x="3867" y="6195"/>
                    <a:pt x="3867" y="6195"/>
                    <a:pt x="3867" y="6195"/>
                  </a:cubicBezTo>
                  <a:cubicBezTo>
                    <a:pt x="3873" y="6197"/>
                    <a:pt x="3873" y="6197"/>
                    <a:pt x="3873" y="6197"/>
                  </a:cubicBezTo>
                  <a:cubicBezTo>
                    <a:pt x="3873" y="6197"/>
                    <a:pt x="3873" y="6197"/>
                    <a:pt x="3873" y="6198"/>
                  </a:cubicBezTo>
                  <a:cubicBezTo>
                    <a:pt x="3873" y="6199"/>
                    <a:pt x="3874" y="6202"/>
                    <a:pt x="3874" y="6205"/>
                  </a:cubicBezTo>
                  <a:cubicBezTo>
                    <a:pt x="3875" y="6212"/>
                    <a:pt x="3875" y="6221"/>
                    <a:pt x="3875" y="6232"/>
                  </a:cubicBezTo>
                  <a:cubicBezTo>
                    <a:pt x="3875" y="6271"/>
                    <a:pt x="3871" y="6326"/>
                    <a:pt x="3870" y="6334"/>
                  </a:cubicBezTo>
                  <a:cubicBezTo>
                    <a:pt x="3868" y="6339"/>
                    <a:pt x="3868" y="6339"/>
                    <a:pt x="3868" y="6339"/>
                  </a:cubicBezTo>
                  <a:cubicBezTo>
                    <a:pt x="3867" y="6340"/>
                    <a:pt x="3867" y="6340"/>
                    <a:pt x="3867" y="6340"/>
                  </a:cubicBezTo>
                  <a:cubicBezTo>
                    <a:pt x="3867" y="6340"/>
                    <a:pt x="3867" y="6340"/>
                    <a:pt x="3867" y="6340"/>
                  </a:cubicBezTo>
                  <a:cubicBezTo>
                    <a:pt x="3865" y="6333"/>
                    <a:pt x="3865" y="6333"/>
                    <a:pt x="3865" y="6333"/>
                  </a:cubicBezTo>
                  <a:cubicBezTo>
                    <a:pt x="3864" y="6333"/>
                    <a:pt x="3859" y="6336"/>
                    <a:pt x="3859" y="6340"/>
                  </a:cubicBezTo>
                  <a:cubicBezTo>
                    <a:pt x="3860" y="6346"/>
                    <a:pt x="3862" y="6345"/>
                    <a:pt x="3863" y="6346"/>
                  </a:cubicBezTo>
                  <a:cubicBezTo>
                    <a:pt x="3864" y="6347"/>
                    <a:pt x="3864" y="6347"/>
                    <a:pt x="3865" y="6348"/>
                  </a:cubicBezTo>
                  <a:cubicBezTo>
                    <a:pt x="3791" y="6529"/>
                    <a:pt x="3791" y="6529"/>
                    <a:pt x="3791" y="6529"/>
                  </a:cubicBezTo>
                  <a:cubicBezTo>
                    <a:pt x="3546" y="6743"/>
                    <a:pt x="3546" y="6743"/>
                    <a:pt x="3546" y="6743"/>
                  </a:cubicBezTo>
                  <a:lnTo>
                    <a:pt x="3071" y="6513"/>
                  </a:lnTo>
                  <a:close/>
                  <a:moveTo>
                    <a:pt x="3806" y="6530"/>
                  </a:moveTo>
                  <a:cubicBezTo>
                    <a:pt x="3877" y="6354"/>
                    <a:pt x="3877" y="6354"/>
                    <a:pt x="3877" y="6354"/>
                  </a:cubicBezTo>
                  <a:cubicBezTo>
                    <a:pt x="3877" y="6355"/>
                    <a:pt x="3878" y="6355"/>
                    <a:pt x="3878" y="6355"/>
                  </a:cubicBezTo>
                  <a:cubicBezTo>
                    <a:pt x="3888" y="6360"/>
                    <a:pt x="3902" y="6367"/>
                    <a:pt x="3918" y="6375"/>
                  </a:cubicBezTo>
                  <a:cubicBezTo>
                    <a:pt x="3951" y="6391"/>
                    <a:pt x="3995" y="6411"/>
                    <a:pt x="4039" y="6431"/>
                  </a:cubicBezTo>
                  <a:cubicBezTo>
                    <a:pt x="4113" y="6464"/>
                    <a:pt x="4187" y="6497"/>
                    <a:pt x="4208" y="6506"/>
                  </a:cubicBezTo>
                  <a:cubicBezTo>
                    <a:pt x="4072" y="6684"/>
                    <a:pt x="4072" y="6684"/>
                    <a:pt x="4072" y="6684"/>
                  </a:cubicBezTo>
                  <a:lnTo>
                    <a:pt x="3806" y="6530"/>
                  </a:lnTo>
                  <a:close/>
                  <a:moveTo>
                    <a:pt x="4053" y="6422"/>
                  </a:moveTo>
                  <a:cubicBezTo>
                    <a:pt x="3982" y="6390"/>
                    <a:pt x="3909" y="6356"/>
                    <a:pt x="3882" y="6342"/>
                  </a:cubicBezTo>
                  <a:cubicBezTo>
                    <a:pt x="3884" y="6338"/>
                    <a:pt x="3884" y="6338"/>
                    <a:pt x="3884" y="6338"/>
                  </a:cubicBezTo>
                  <a:cubicBezTo>
                    <a:pt x="3884" y="6337"/>
                    <a:pt x="3884" y="6337"/>
                    <a:pt x="3884" y="6337"/>
                  </a:cubicBezTo>
                  <a:cubicBezTo>
                    <a:pt x="3884" y="6337"/>
                    <a:pt x="3889" y="6275"/>
                    <a:pt x="3889" y="6232"/>
                  </a:cubicBezTo>
                  <a:cubicBezTo>
                    <a:pt x="3889" y="6221"/>
                    <a:pt x="3889" y="6211"/>
                    <a:pt x="3888" y="6203"/>
                  </a:cubicBezTo>
                  <a:cubicBezTo>
                    <a:pt x="3888" y="6203"/>
                    <a:pt x="3888" y="6203"/>
                    <a:pt x="3888" y="6202"/>
                  </a:cubicBezTo>
                  <a:cubicBezTo>
                    <a:pt x="4242" y="6315"/>
                    <a:pt x="4242" y="6315"/>
                    <a:pt x="4242" y="6315"/>
                  </a:cubicBezTo>
                  <a:cubicBezTo>
                    <a:pt x="4402" y="6339"/>
                    <a:pt x="4402" y="6339"/>
                    <a:pt x="4402" y="6339"/>
                  </a:cubicBezTo>
                  <a:cubicBezTo>
                    <a:pt x="4387" y="6423"/>
                    <a:pt x="4387" y="6423"/>
                    <a:pt x="4387" y="6423"/>
                  </a:cubicBezTo>
                  <a:cubicBezTo>
                    <a:pt x="4541" y="6448"/>
                    <a:pt x="4541" y="6448"/>
                    <a:pt x="4541" y="6448"/>
                  </a:cubicBezTo>
                  <a:cubicBezTo>
                    <a:pt x="4557" y="6362"/>
                    <a:pt x="4557" y="6362"/>
                    <a:pt x="4557" y="6362"/>
                  </a:cubicBezTo>
                  <a:cubicBezTo>
                    <a:pt x="4605" y="6369"/>
                    <a:pt x="4605" y="6369"/>
                    <a:pt x="4605" y="6369"/>
                  </a:cubicBezTo>
                  <a:cubicBezTo>
                    <a:pt x="4581" y="6492"/>
                    <a:pt x="4558" y="6610"/>
                    <a:pt x="4539" y="6710"/>
                  </a:cubicBezTo>
                  <a:cubicBezTo>
                    <a:pt x="4376" y="6630"/>
                    <a:pt x="4376" y="6630"/>
                    <a:pt x="4376" y="6630"/>
                  </a:cubicBezTo>
                  <a:cubicBezTo>
                    <a:pt x="4376" y="6630"/>
                    <a:pt x="4376" y="6630"/>
                    <a:pt x="4376" y="6630"/>
                  </a:cubicBezTo>
                  <a:cubicBezTo>
                    <a:pt x="4332" y="6543"/>
                    <a:pt x="4332" y="6543"/>
                    <a:pt x="4332" y="6543"/>
                  </a:cubicBezTo>
                  <a:cubicBezTo>
                    <a:pt x="4218" y="6493"/>
                    <a:pt x="4218" y="6493"/>
                    <a:pt x="4218" y="6493"/>
                  </a:cubicBezTo>
                  <a:cubicBezTo>
                    <a:pt x="4217" y="6495"/>
                    <a:pt x="4217" y="6495"/>
                    <a:pt x="4217" y="6495"/>
                  </a:cubicBezTo>
                  <a:cubicBezTo>
                    <a:pt x="4201" y="6488"/>
                    <a:pt x="4128" y="6456"/>
                    <a:pt x="4053" y="6422"/>
                  </a:cubicBezTo>
                  <a:close/>
                  <a:moveTo>
                    <a:pt x="4536" y="6724"/>
                  </a:moveTo>
                  <a:cubicBezTo>
                    <a:pt x="4517" y="6828"/>
                    <a:pt x="4502" y="6911"/>
                    <a:pt x="4496" y="6957"/>
                  </a:cubicBezTo>
                  <a:cubicBezTo>
                    <a:pt x="4489" y="7010"/>
                    <a:pt x="4480" y="7061"/>
                    <a:pt x="4469" y="7108"/>
                  </a:cubicBezTo>
                  <a:cubicBezTo>
                    <a:pt x="4263" y="7094"/>
                    <a:pt x="4263" y="7094"/>
                    <a:pt x="4263" y="7094"/>
                  </a:cubicBezTo>
                  <a:cubicBezTo>
                    <a:pt x="4201" y="6997"/>
                    <a:pt x="4201" y="6997"/>
                    <a:pt x="4201" y="6997"/>
                  </a:cubicBezTo>
                  <a:cubicBezTo>
                    <a:pt x="4370" y="6642"/>
                    <a:pt x="4370" y="6642"/>
                    <a:pt x="4370" y="6642"/>
                  </a:cubicBezTo>
                  <a:lnTo>
                    <a:pt x="4536" y="6724"/>
                  </a:lnTo>
                  <a:close/>
                  <a:moveTo>
                    <a:pt x="4640" y="7605"/>
                  </a:moveTo>
                  <a:cubicBezTo>
                    <a:pt x="4664" y="7755"/>
                    <a:pt x="4664" y="7755"/>
                    <a:pt x="4664" y="7755"/>
                  </a:cubicBezTo>
                  <a:cubicBezTo>
                    <a:pt x="4420" y="7789"/>
                    <a:pt x="4420" y="7789"/>
                    <a:pt x="4420" y="7789"/>
                  </a:cubicBezTo>
                  <a:cubicBezTo>
                    <a:pt x="4411" y="7750"/>
                    <a:pt x="4411" y="7750"/>
                    <a:pt x="4411" y="7750"/>
                  </a:cubicBezTo>
                  <a:lnTo>
                    <a:pt x="4640" y="7605"/>
                  </a:lnTo>
                  <a:close/>
                  <a:moveTo>
                    <a:pt x="4667" y="7768"/>
                  </a:moveTo>
                  <a:cubicBezTo>
                    <a:pt x="4687" y="7897"/>
                    <a:pt x="4687" y="7897"/>
                    <a:pt x="4687" y="7897"/>
                  </a:cubicBezTo>
                  <a:cubicBezTo>
                    <a:pt x="4451" y="7930"/>
                    <a:pt x="4451" y="7930"/>
                    <a:pt x="4451" y="7930"/>
                  </a:cubicBezTo>
                  <a:cubicBezTo>
                    <a:pt x="4423" y="7802"/>
                    <a:pt x="4423" y="7802"/>
                    <a:pt x="4423" y="7802"/>
                  </a:cubicBezTo>
                  <a:lnTo>
                    <a:pt x="4667" y="7768"/>
                  </a:lnTo>
                  <a:close/>
                  <a:moveTo>
                    <a:pt x="4654" y="7601"/>
                  </a:moveTo>
                  <a:cubicBezTo>
                    <a:pt x="4645" y="7602"/>
                    <a:pt x="4645" y="7602"/>
                    <a:pt x="4645" y="7602"/>
                  </a:cubicBezTo>
                  <a:cubicBezTo>
                    <a:pt x="4751" y="7535"/>
                    <a:pt x="4751" y="7535"/>
                    <a:pt x="4751" y="7535"/>
                  </a:cubicBezTo>
                  <a:cubicBezTo>
                    <a:pt x="4751" y="7538"/>
                    <a:pt x="4752" y="7541"/>
                    <a:pt x="4753" y="7546"/>
                  </a:cubicBezTo>
                  <a:cubicBezTo>
                    <a:pt x="4755" y="7558"/>
                    <a:pt x="4759" y="7576"/>
                    <a:pt x="4762" y="7597"/>
                  </a:cubicBezTo>
                  <a:cubicBezTo>
                    <a:pt x="4769" y="7636"/>
                    <a:pt x="4777" y="7686"/>
                    <a:pt x="4785" y="7738"/>
                  </a:cubicBezTo>
                  <a:cubicBezTo>
                    <a:pt x="4678" y="7753"/>
                    <a:pt x="4678" y="7753"/>
                    <a:pt x="4678" y="7753"/>
                  </a:cubicBezTo>
                  <a:lnTo>
                    <a:pt x="4654" y="7601"/>
                  </a:lnTo>
                  <a:close/>
                  <a:moveTo>
                    <a:pt x="4768" y="7547"/>
                  </a:moveTo>
                  <a:cubicBezTo>
                    <a:pt x="4767" y="7543"/>
                    <a:pt x="4766" y="7539"/>
                    <a:pt x="4765" y="7536"/>
                  </a:cubicBezTo>
                  <a:cubicBezTo>
                    <a:pt x="4890" y="7582"/>
                    <a:pt x="4890" y="7582"/>
                    <a:pt x="4890" y="7582"/>
                  </a:cubicBezTo>
                  <a:cubicBezTo>
                    <a:pt x="4912" y="7720"/>
                    <a:pt x="4912" y="7720"/>
                    <a:pt x="4912" y="7720"/>
                  </a:cubicBezTo>
                  <a:cubicBezTo>
                    <a:pt x="4799" y="7736"/>
                    <a:pt x="4799" y="7736"/>
                    <a:pt x="4799" y="7736"/>
                  </a:cubicBezTo>
                  <a:cubicBezTo>
                    <a:pt x="4787" y="7659"/>
                    <a:pt x="4775" y="7584"/>
                    <a:pt x="4768" y="7547"/>
                  </a:cubicBezTo>
                  <a:close/>
                  <a:moveTo>
                    <a:pt x="4914" y="7733"/>
                  </a:moveTo>
                  <a:cubicBezTo>
                    <a:pt x="4936" y="7862"/>
                    <a:pt x="4936" y="7862"/>
                    <a:pt x="4936" y="7862"/>
                  </a:cubicBezTo>
                  <a:cubicBezTo>
                    <a:pt x="4820" y="7878"/>
                    <a:pt x="4820" y="7878"/>
                    <a:pt x="4820" y="7878"/>
                  </a:cubicBezTo>
                  <a:cubicBezTo>
                    <a:pt x="4815" y="7840"/>
                    <a:pt x="4808" y="7794"/>
                    <a:pt x="4801" y="7749"/>
                  </a:cubicBezTo>
                  <a:lnTo>
                    <a:pt x="4914" y="7733"/>
                  </a:lnTo>
                  <a:close/>
                  <a:moveTo>
                    <a:pt x="4938" y="7875"/>
                  </a:moveTo>
                  <a:cubicBezTo>
                    <a:pt x="4949" y="7947"/>
                    <a:pt x="4949" y="7947"/>
                    <a:pt x="4949" y="7947"/>
                  </a:cubicBezTo>
                  <a:cubicBezTo>
                    <a:pt x="4915" y="7953"/>
                    <a:pt x="4877" y="7961"/>
                    <a:pt x="4837" y="7968"/>
                  </a:cubicBezTo>
                  <a:cubicBezTo>
                    <a:pt x="4836" y="7968"/>
                    <a:pt x="4835" y="7969"/>
                    <a:pt x="4834" y="7969"/>
                  </a:cubicBezTo>
                  <a:cubicBezTo>
                    <a:pt x="4832" y="7955"/>
                    <a:pt x="4828" y="7927"/>
                    <a:pt x="4822" y="7891"/>
                  </a:cubicBezTo>
                  <a:lnTo>
                    <a:pt x="4938" y="7875"/>
                  </a:lnTo>
                  <a:close/>
                  <a:moveTo>
                    <a:pt x="4928" y="7731"/>
                  </a:moveTo>
                  <a:cubicBezTo>
                    <a:pt x="5034" y="7716"/>
                    <a:pt x="5034" y="7716"/>
                    <a:pt x="5034" y="7716"/>
                  </a:cubicBezTo>
                  <a:cubicBezTo>
                    <a:pt x="5055" y="7845"/>
                    <a:pt x="5055" y="7845"/>
                    <a:pt x="5055" y="7845"/>
                  </a:cubicBezTo>
                  <a:cubicBezTo>
                    <a:pt x="4949" y="7860"/>
                    <a:pt x="4949" y="7860"/>
                    <a:pt x="4949" y="7860"/>
                  </a:cubicBezTo>
                  <a:lnTo>
                    <a:pt x="4928" y="7731"/>
                  </a:lnTo>
                  <a:close/>
                  <a:moveTo>
                    <a:pt x="5063" y="7858"/>
                  </a:moveTo>
                  <a:cubicBezTo>
                    <a:pt x="5070" y="7857"/>
                    <a:pt x="5070" y="7857"/>
                    <a:pt x="5070" y="7857"/>
                  </a:cubicBezTo>
                  <a:cubicBezTo>
                    <a:pt x="5045" y="7701"/>
                    <a:pt x="5045" y="7701"/>
                    <a:pt x="5045" y="7701"/>
                  </a:cubicBezTo>
                  <a:cubicBezTo>
                    <a:pt x="4926" y="7718"/>
                    <a:pt x="4926" y="7718"/>
                    <a:pt x="4926" y="7718"/>
                  </a:cubicBezTo>
                  <a:cubicBezTo>
                    <a:pt x="4904" y="7580"/>
                    <a:pt x="4904" y="7580"/>
                    <a:pt x="4904" y="7580"/>
                  </a:cubicBezTo>
                  <a:cubicBezTo>
                    <a:pt x="5028" y="7503"/>
                    <a:pt x="5028" y="7503"/>
                    <a:pt x="5028" y="7503"/>
                  </a:cubicBezTo>
                  <a:cubicBezTo>
                    <a:pt x="5091" y="7918"/>
                    <a:pt x="5091" y="7918"/>
                    <a:pt x="5091" y="7918"/>
                  </a:cubicBezTo>
                  <a:cubicBezTo>
                    <a:pt x="5075" y="7921"/>
                    <a:pt x="5027" y="7931"/>
                    <a:pt x="4963" y="7944"/>
                  </a:cubicBezTo>
                  <a:cubicBezTo>
                    <a:pt x="4951" y="7873"/>
                    <a:pt x="4951" y="7873"/>
                    <a:pt x="4951" y="7873"/>
                  </a:cubicBezTo>
                  <a:lnTo>
                    <a:pt x="5063" y="7858"/>
                  </a:lnTo>
                  <a:close/>
                  <a:moveTo>
                    <a:pt x="5042" y="7499"/>
                  </a:moveTo>
                  <a:cubicBezTo>
                    <a:pt x="5032" y="7500"/>
                    <a:pt x="5032" y="7500"/>
                    <a:pt x="5032" y="7500"/>
                  </a:cubicBezTo>
                  <a:cubicBezTo>
                    <a:pt x="5169" y="7415"/>
                    <a:pt x="5169" y="7415"/>
                    <a:pt x="5169" y="7415"/>
                  </a:cubicBezTo>
                  <a:cubicBezTo>
                    <a:pt x="5170" y="7416"/>
                    <a:pt x="5170" y="7416"/>
                    <a:pt x="5170" y="7416"/>
                  </a:cubicBezTo>
                  <a:cubicBezTo>
                    <a:pt x="5229" y="7923"/>
                    <a:pt x="5229" y="7923"/>
                    <a:pt x="5229" y="7923"/>
                  </a:cubicBezTo>
                  <a:cubicBezTo>
                    <a:pt x="5161" y="7918"/>
                    <a:pt x="5120" y="7915"/>
                    <a:pt x="5119" y="7915"/>
                  </a:cubicBezTo>
                  <a:cubicBezTo>
                    <a:pt x="5109" y="7914"/>
                    <a:pt x="5109" y="7914"/>
                    <a:pt x="5109" y="7914"/>
                  </a:cubicBezTo>
                  <a:cubicBezTo>
                    <a:pt x="5105" y="7915"/>
                    <a:pt x="5105" y="7915"/>
                    <a:pt x="5105" y="7915"/>
                  </a:cubicBezTo>
                  <a:lnTo>
                    <a:pt x="5042" y="7499"/>
                  </a:lnTo>
                  <a:close/>
                  <a:moveTo>
                    <a:pt x="5589" y="7759"/>
                  </a:moveTo>
                  <a:cubicBezTo>
                    <a:pt x="5590" y="7890"/>
                    <a:pt x="5590" y="7890"/>
                    <a:pt x="5590" y="7890"/>
                  </a:cubicBezTo>
                  <a:cubicBezTo>
                    <a:pt x="5400" y="7874"/>
                    <a:pt x="5400" y="7874"/>
                    <a:pt x="5400" y="7874"/>
                  </a:cubicBezTo>
                  <a:cubicBezTo>
                    <a:pt x="5401" y="7743"/>
                    <a:pt x="5401" y="7743"/>
                    <a:pt x="5401" y="7743"/>
                  </a:cubicBezTo>
                  <a:lnTo>
                    <a:pt x="5589" y="7759"/>
                  </a:lnTo>
                  <a:close/>
                  <a:moveTo>
                    <a:pt x="5400" y="7887"/>
                  </a:moveTo>
                  <a:cubicBezTo>
                    <a:pt x="5591" y="7903"/>
                    <a:pt x="5591" y="7903"/>
                    <a:pt x="5591" y="7903"/>
                  </a:cubicBezTo>
                  <a:cubicBezTo>
                    <a:pt x="5591" y="7949"/>
                    <a:pt x="5591" y="7949"/>
                    <a:pt x="5591" y="7949"/>
                  </a:cubicBezTo>
                  <a:cubicBezTo>
                    <a:pt x="5523" y="7944"/>
                    <a:pt x="5458" y="7939"/>
                    <a:pt x="5399" y="7935"/>
                  </a:cubicBezTo>
                  <a:lnTo>
                    <a:pt x="5400" y="7887"/>
                  </a:lnTo>
                  <a:close/>
                  <a:moveTo>
                    <a:pt x="5255" y="7345"/>
                  </a:moveTo>
                  <a:cubicBezTo>
                    <a:pt x="5175" y="7395"/>
                    <a:pt x="5175" y="7395"/>
                    <a:pt x="5175" y="7395"/>
                  </a:cubicBezTo>
                  <a:cubicBezTo>
                    <a:pt x="5106" y="7252"/>
                    <a:pt x="5106" y="7252"/>
                    <a:pt x="5106" y="7252"/>
                  </a:cubicBezTo>
                  <a:cubicBezTo>
                    <a:pt x="5106" y="7240"/>
                    <a:pt x="5105" y="7162"/>
                    <a:pt x="5103" y="7084"/>
                  </a:cubicBezTo>
                  <a:cubicBezTo>
                    <a:pt x="5103" y="7084"/>
                    <a:pt x="5103" y="7084"/>
                    <a:pt x="5103" y="7084"/>
                  </a:cubicBezTo>
                  <a:cubicBezTo>
                    <a:pt x="5105" y="7091"/>
                    <a:pt x="5105" y="7091"/>
                    <a:pt x="5105" y="7091"/>
                  </a:cubicBezTo>
                  <a:cubicBezTo>
                    <a:pt x="5103" y="7085"/>
                    <a:pt x="5103" y="7085"/>
                    <a:pt x="5103" y="7085"/>
                  </a:cubicBezTo>
                  <a:cubicBezTo>
                    <a:pt x="5103" y="7091"/>
                    <a:pt x="5103" y="7091"/>
                    <a:pt x="5103" y="7091"/>
                  </a:cubicBezTo>
                  <a:cubicBezTo>
                    <a:pt x="5103" y="7087"/>
                    <a:pt x="5103" y="7087"/>
                    <a:pt x="5103" y="7087"/>
                  </a:cubicBezTo>
                  <a:cubicBezTo>
                    <a:pt x="5103" y="7091"/>
                    <a:pt x="5103" y="7091"/>
                    <a:pt x="5103" y="7091"/>
                  </a:cubicBezTo>
                  <a:cubicBezTo>
                    <a:pt x="5103" y="7091"/>
                    <a:pt x="5103" y="7091"/>
                    <a:pt x="5103" y="7091"/>
                  </a:cubicBezTo>
                  <a:cubicBezTo>
                    <a:pt x="5117" y="7091"/>
                    <a:pt x="5556" y="7138"/>
                    <a:pt x="5714" y="7156"/>
                  </a:cubicBezTo>
                  <a:cubicBezTo>
                    <a:pt x="5680" y="7351"/>
                    <a:pt x="5680" y="7351"/>
                    <a:pt x="5680" y="7351"/>
                  </a:cubicBezTo>
                  <a:lnTo>
                    <a:pt x="5255" y="7345"/>
                  </a:lnTo>
                  <a:close/>
                  <a:moveTo>
                    <a:pt x="5677" y="7365"/>
                  </a:moveTo>
                  <a:cubicBezTo>
                    <a:pt x="5676" y="7372"/>
                    <a:pt x="5676" y="7372"/>
                    <a:pt x="5676" y="7372"/>
                  </a:cubicBezTo>
                  <a:cubicBezTo>
                    <a:pt x="5740" y="7383"/>
                    <a:pt x="5740" y="7383"/>
                    <a:pt x="5740" y="7383"/>
                  </a:cubicBezTo>
                  <a:cubicBezTo>
                    <a:pt x="5741" y="7381"/>
                    <a:pt x="5741" y="7381"/>
                    <a:pt x="5741" y="7381"/>
                  </a:cubicBezTo>
                  <a:cubicBezTo>
                    <a:pt x="5816" y="7424"/>
                    <a:pt x="5816" y="7424"/>
                    <a:pt x="5816" y="7424"/>
                  </a:cubicBezTo>
                  <a:cubicBezTo>
                    <a:pt x="5779" y="7645"/>
                    <a:pt x="5779" y="7645"/>
                    <a:pt x="5779" y="7645"/>
                  </a:cubicBezTo>
                  <a:cubicBezTo>
                    <a:pt x="5793" y="7763"/>
                    <a:pt x="5793" y="7763"/>
                    <a:pt x="5793" y="7763"/>
                  </a:cubicBezTo>
                  <a:cubicBezTo>
                    <a:pt x="5603" y="7747"/>
                    <a:pt x="5603" y="7747"/>
                    <a:pt x="5603" y="7747"/>
                  </a:cubicBezTo>
                  <a:cubicBezTo>
                    <a:pt x="5599" y="7364"/>
                    <a:pt x="5599" y="7364"/>
                    <a:pt x="5599" y="7364"/>
                  </a:cubicBezTo>
                  <a:lnTo>
                    <a:pt x="5677" y="7365"/>
                  </a:lnTo>
                  <a:close/>
                  <a:moveTo>
                    <a:pt x="5795" y="7776"/>
                  </a:moveTo>
                  <a:cubicBezTo>
                    <a:pt x="5810" y="7909"/>
                    <a:pt x="5810" y="7909"/>
                    <a:pt x="5810" y="7909"/>
                  </a:cubicBezTo>
                  <a:cubicBezTo>
                    <a:pt x="5604" y="7891"/>
                    <a:pt x="5604" y="7891"/>
                    <a:pt x="5604" y="7891"/>
                  </a:cubicBezTo>
                  <a:cubicBezTo>
                    <a:pt x="5603" y="7760"/>
                    <a:pt x="5603" y="7760"/>
                    <a:pt x="5603" y="7760"/>
                  </a:cubicBezTo>
                  <a:lnTo>
                    <a:pt x="5795" y="7776"/>
                  </a:lnTo>
                  <a:close/>
                  <a:moveTo>
                    <a:pt x="5812" y="7922"/>
                  </a:moveTo>
                  <a:cubicBezTo>
                    <a:pt x="5817" y="7965"/>
                    <a:pt x="5817" y="7965"/>
                    <a:pt x="5817" y="7965"/>
                  </a:cubicBezTo>
                  <a:cubicBezTo>
                    <a:pt x="5745" y="7960"/>
                    <a:pt x="5673" y="7955"/>
                    <a:pt x="5605" y="7950"/>
                  </a:cubicBezTo>
                  <a:cubicBezTo>
                    <a:pt x="5605" y="7905"/>
                    <a:pt x="5605" y="7905"/>
                    <a:pt x="5605" y="7905"/>
                  </a:cubicBezTo>
                  <a:lnTo>
                    <a:pt x="5812" y="7922"/>
                  </a:lnTo>
                  <a:close/>
                  <a:moveTo>
                    <a:pt x="5809" y="7778"/>
                  </a:moveTo>
                  <a:cubicBezTo>
                    <a:pt x="5919" y="7787"/>
                    <a:pt x="5919" y="7787"/>
                    <a:pt x="5919" y="7787"/>
                  </a:cubicBezTo>
                  <a:cubicBezTo>
                    <a:pt x="5923" y="7803"/>
                    <a:pt x="5928" y="7821"/>
                    <a:pt x="5932" y="7839"/>
                  </a:cubicBezTo>
                  <a:cubicBezTo>
                    <a:pt x="5939" y="7867"/>
                    <a:pt x="5946" y="7896"/>
                    <a:pt x="5951" y="7921"/>
                  </a:cubicBezTo>
                  <a:cubicBezTo>
                    <a:pt x="5825" y="7910"/>
                    <a:pt x="5825" y="7910"/>
                    <a:pt x="5825" y="7910"/>
                  </a:cubicBezTo>
                  <a:lnTo>
                    <a:pt x="5809" y="7778"/>
                  </a:lnTo>
                  <a:close/>
                  <a:moveTo>
                    <a:pt x="5954" y="7934"/>
                  </a:moveTo>
                  <a:cubicBezTo>
                    <a:pt x="5957" y="7952"/>
                    <a:pt x="5960" y="7966"/>
                    <a:pt x="5961" y="7975"/>
                  </a:cubicBezTo>
                  <a:cubicBezTo>
                    <a:pt x="5920" y="7972"/>
                    <a:pt x="5879" y="7969"/>
                    <a:pt x="5838" y="7966"/>
                  </a:cubicBezTo>
                  <a:cubicBezTo>
                    <a:pt x="5836" y="7966"/>
                    <a:pt x="5833" y="7966"/>
                    <a:pt x="5831" y="7966"/>
                  </a:cubicBezTo>
                  <a:cubicBezTo>
                    <a:pt x="5826" y="7923"/>
                    <a:pt x="5826" y="7923"/>
                    <a:pt x="5826" y="7923"/>
                  </a:cubicBezTo>
                  <a:lnTo>
                    <a:pt x="5954" y="7934"/>
                  </a:lnTo>
                  <a:close/>
                  <a:moveTo>
                    <a:pt x="6193" y="7727"/>
                  </a:moveTo>
                  <a:cubicBezTo>
                    <a:pt x="6202" y="7629"/>
                    <a:pt x="6202" y="7629"/>
                    <a:pt x="6202" y="7629"/>
                  </a:cubicBezTo>
                  <a:cubicBezTo>
                    <a:pt x="6257" y="7567"/>
                    <a:pt x="6257" y="7567"/>
                    <a:pt x="6257" y="7567"/>
                  </a:cubicBezTo>
                  <a:cubicBezTo>
                    <a:pt x="6391" y="7666"/>
                    <a:pt x="6391" y="7666"/>
                    <a:pt x="6391" y="7666"/>
                  </a:cubicBezTo>
                  <a:cubicBezTo>
                    <a:pt x="6252" y="7639"/>
                    <a:pt x="6252" y="7639"/>
                    <a:pt x="6252" y="7639"/>
                  </a:cubicBezTo>
                  <a:cubicBezTo>
                    <a:pt x="6238" y="7713"/>
                    <a:pt x="6238" y="7713"/>
                    <a:pt x="6238" y="7713"/>
                  </a:cubicBezTo>
                  <a:cubicBezTo>
                    <a:pt x="6380" y="7741"/>
                    <a:pt x="6380" y="7741"/>
                    <a:pt x="6380" y="7741"/>
                  </a:cubicBezTo>
                  <a:cubicBezTo>
                    <a:pt x="6386" y="7742"/>
                    <a:pt x="6386" y="7742"/>
                    <a:pt x="6386" y="7742"/>
                  </a:cubicBezTo>
                  <a:cubicBezTo>
                    <a:pt x="6400" y="7672"/>
                    <a:pt x="6400" y="7672"/>
                    <a:pt x="6400" y="7672"/>
                  </a:cubicBezTo>
                  <a:cubicBezTo>
                    <a:pt x="6495" y="7742"/>
                    <a:pt x="6495" y="7742"/>
                    <a:pt x="6495" y="7742"/>
                  </a:cubicBezTo>
                  <a:cubicBezTo>
                    <a:pt x="6471" y="7780"/>
                    <a:pt x="6452" y="7820"/>
                    <a:pt x="6438" y="7860"/>
                  </a:cubicBezTo>
                  <a:lnTo>
                    <a:pt x="6193" y="7727"/>
                  </a:lnTo>
                  <a:close/>
                  <a:moveTo>
                    <a:pt x="6385" y="7678"/>
                  </a:moveTo>
                  <a:cubicBezTo>
                    <a:pt x="6376" y="7727"/>
                    <a:pt x="6376" y="7727"/>
                    <a:pt x="6376" y="7727"/>
                  </a:cubicBezTo>
                  <a:cubicBezTo>
                    <a:pt x="6253" y="7703"/>
                    <a:pt x="6253" y="7703"/>
                    <a:pt x="6253" y="7703"/>
                  </a:cubicBezTo>
                  <a:cubicBezTo>
                    <a:pt x="6262" y="7654"/>
                    <a:pt x="6262" y="7654"/>
                    <a:pt x="6262" y="7654"/>
                  </a:cubicBezTo>
                  <a:lnTo>
                    <a:pt x="6385" y="7678"/>
                  </a:lnTo>
                  <a:close/>
                  <a:moveTo>
                    <a:pt x="7724" y="6853"/>
                  </a:moveTo>
                  <a:cubicBezTo>
                    <a:pt x="7788" y="6756"/>
                    <a:pt x="7788" y="6756"/>
                    <a:pt x="7788" y="6756"/>
                  </a:cubicBezTo>
                  <a:cubicBezTo>
                    <a:pt x="8133" y="6832"/>
                    <a:pt x="8133" y="6832"/>
                    <a:pt x="8133" y="6832"/>
                  </a:cubicBezTo>
                  <a:cubicBezTo>
                    <a:pt x="8132" y="6835"/>
                    <a:pt x="8132" y="6835"/>
                    <a:pt x="8132" y="6835"/>
                  </a:cubicBezTo>
                  <a:cubicBezTo>
                    <a:pt x="8057" y="6965"/>
                    <a:pt x="8057" y="6965"/>
                    <a:pt x="8057" y="6965"/>
                  </a:cubicBezTo>
                  <a:cubicBezTo>
                    <a:pt x="8024" y="6988"/>
                    <a:pt x="8024" y="6988"/>
                    <a:pt x="8024" y="6988"/>
                  </a:cubicBezTo>
                  <a:cubicBezTo>
                    <a:pt x="8025" y="6986"/>
                    <a:pt x="8025" y="6986"/>
                    <a:pt x="8025" y="6986"/>
                  </a:cubicBezTo>
                  <a:lnTo>
                    <a:pt x="7724" y="6853"/>
                  </a:lnTo>
                  <a:close/>
                  <a:moveTo>
                    <a:pt x="7882" y="7063"/>
                  </a:moveTo>
                  <a:cubicBezTo>
                    <a:pt x="7780" y="6991"/>
                    <a:pt x="7780" y="6991"/>
                    <a:pt x="7780" y="6991"/>
                  </a:cubicBezTo>
                  <a:cubicBezTo>
                    <a:pt x="7808" y="6950"/>
                    <a:pt x="7808" y="6950"/>
                    <a:pt x="7808" y="6950"/>
                  </a:cubicBezTo>
                  <a:cubicBezTo>
                    <a:pt x="7911" y="7023"/>
                    <a:pt x="7911" y="7023"/>
                    <a:pt x="7911" y="7023"/>
                  </a:cubicBezTo>
                  <a:lnTo>
                    <a:pt x="7882" y="7063"/>
                  </a:lnTo>
                  <a:close/>
                  <a:moveTo>
                    <a:pt x="8114" y="6524"/>
                  </a:moveTo>
                  <a:cubicBezTo>
                    <a:pt x="8110" y="6584"/>
                    <a:pt x="8110" y="6584"/>
                    <a:pt x="8110" y="6584"/>
                  </a:cubicBezTo>
                  <a:cubicBezTo>
                    <a:pt x="8021" y="6578"/>
                    <a:pt x="8021" y="6578"/>
                    <a:pt x="8021" y="6578"/>
                  </a:cubicBezTo>
                  <a:cubicBezTo>
                    <a:pt x="8043" y="6476"/>
                    <a:pt x="8043" y="6476"/>
                    <a:pt x="8043" y="6476"/>
                  </a:cubicBezTo>
                  <a:cubicBezTo>
                    <a:pt x="8070" y="6478"/>
                    <a:pt x="8070" y="6478"/>
                    <a:pt x="8070" y="6478"/>
                  </a:cubicBezTo>
                  <a:cubicBezTo>
                    <a:pt x="8067" y="6521"/>
                    <a:pt x="8067" y="6521"/>
                    <a:pt x="8067" y="6521"/>
                  </a:cubicBezTo>
                  <a:lnTo>
                    <a:pt x="8114" y="6524"/>
                  </a:lnTo>
                  <a:close/>
                  <a:moveTo>
                    <a:pt x="8007" y="6577"/>
                  </a:moveTo>
                  <a:cubicBezTo>
                    <a:pt x="7926" y="6571"/>
                    <a:pt x="7926" y="6571"/>
                    <a:pt x="7926" y="6571"/>
                  </a:cubicBezTo>
                  <a:cubicBezTo>
                    <a:pt x="7930" y="6511"/>
                    <a:pt x="7930" y="6511"/>
                    <a:pt x="7930" y="6511"/>
                  </a:cubicBezTo>
                  <a:cubicBezTo>
                    <a:pt x="7977" y="6514"/>
                    <a:pt x="7977" y="6514"/>
                    <a:pt x="7977" y="6514"/>
                  </a:cubicBezTo>
                  <a:cubicBezTo>
                    <a:pt x="7980" y="6471"/>
                    <a:pt x="7980" y="6471"/>
                    <a:pt x="7980" y="6471"/>
                  </a:cubicBezTo>
                  <a:cubicBezTo>
                    <a:pt x="8029" y="6475"/>
                    <a:pt x="8029" y="6475"/>
                    <a:pt x="8029" y="6475"/>
                  </a:cubicBezTo>
                  <a:lnTo>
                    <a:pt x="8007" y="6577"/>
                  </a:lnTo>
                  <a:close/>
                  <a:moveTo>
                    <a:pt x="7659" y="6474"/>
                  </a:moveTo>
                  <a:cubicBezTo>
                    <a:pt x="7654" y="6534"/>
                    <a:pt x="7654" y="6534"/>
                    <a:pt x="7654" y="6534"/>
                  </a:cubicBezTo>
                  <a:cubicBezTo>
                    <a:pt x="7590" y="6530"/>
                    <a:pt x="7590" y="6530"/>
                    <a:pt x="7590" y="6530"/>
                  </a:cubicBezTo>
                  <a:cubicBezTo>
                    <a:pt x="7581" y="6490"/>
                    <a:pt x="7573" y="6452"/>
                    <a:pt x="7566" y="6425"/>
                  </a:cubicBezTo>
                  <a:cubicBezTo>
                    <a:pt x="7615" y="6428"/>
                    <a:pt x="7615" y="6428"/>
                    <a:pt x="7615" y="6428"/>
                  </a:cubicBezTo>
                  <a:cubicBezTo>
                    <a:pt x="7612" y="6471"/>
                    <a:pt x="7612" y="6471"/>
                    <a:pt x="7612" y="6471"/>
                  </a:cubicBezTo>
                  <a:lnTo>
                    <a:pt x="7659" y="6474"/>
                  </a:lnTo>
                  <a:close/>
                  <a:moveTo>
                    <a:pt x="7576" y="6529"/>
                  </a:moveTo>
                  <a:cubicBezTo>
                    <a:pt x="7470" y="6521"/>
                    <a:pt x="7470" y="6521"/>
                    <a:pt x="7470" y="6521"/>
                  </a:cubicBezTo>
                  <a:cubicBezTo>
                    <a:pt x="7475" y="6461"/>
                    <a:pt x="7475" y="6461"/>
                    <a:pt x="7475" y="6461"/>
                  </a:cubicBezTo>
                  <a:cubicBezTo>
                    <a:pt x="7522" y="6465"/>
                    <a:pt x="7522" y="6465"/>
                    <a:pt x="7522" y="6465"/>
                  </a:cubicBezTo>
                  <a:cubicBezTo>
                    <a:pt x="7525" y="6422"/>
                    <a:pt x="7525" y="6422"/>
                    <a:pt x="7525" y="6422"/>
                  </a:cubicBezTo>
                  <a:cubicBezTo>
                    <a:pt x="7552" y="6424"/>
                    <a:pt x="7552" y="6424"/>
                    <a:pt x="7552" y="6424"/>
                  </a:cubicBezTo>
                  <a:cubicBezTo>
                    <a:pt x="7558" y="6450"/>
                    <a:pt x="7567" y="6488"/>
                    <a:pt x="7576" y="6529"/>
                  </a:cubicBezTo>
                  <a:close/>
                  <a:moveTo>
                    <a:pt x="7513" y="6408"/>
                  </a:moveTo>
                  <a:cubicBezTo>
                    <a:pt x="7509" y="6451"/>
                    <a:pt x="7509" y="6451"/>
                    <a:pt x="7509" y="6451"/>
                  </a:cubicBezTo>
                  <a:cubicBezTo>
                    <a:pt x="7463" y="6447"/>
                    <a:pt x="7463" y="6447"/>
                    <a:pt x="7463" y="6447"/>
                  </a:cubicBezTo>
                  <a:cubicBezTo>
                    <a:pt x="7457" y="6527"/>
                    <a:pt x="7457" y="6527"/>
                    <a:pt x="7457" y="6527"/>
                  </a:cubicBezTo>
                  <a:cubicBezTo>
                    <a:pt x="7456" y="6533"/>
                    <a:pt x="7456" y="6533"/>
                    <a:pt x="7456" y="6533"/>
                  </a:cubicBezTo>
                  <a:cubicBezTo>
                    <a:pt x="7579" y="6542"/>
                    <a:pt x="7579" y="6542"/>
                    <a:pt x="7579" y="6542"/>
                  </a:cubicBezTo>
                  <a:cubicBezTo>
                    <a:pt x="7591" y="6595"/>
                    <a:pt x="7602" y="6649"/>
                    <a:pt x="7607" y="6674"/>
                  </a:cubicBezTo>
                  <a:cubicBezTo>
                    <a:pt x="7604" y="6672"/>
                    <a:pt x="7604" y="6672"/>
                    <a:pt x="7604" y="6672"/>
                  </a:cubicBezTo>
                  <a:cubicBezTo>
                    <a:pt x="7596" y="6683"/>
                    <a:pt x="7596" y="6683"/>
                    <a:pt x="7596" y="6683"/>
                  </a:cubicBezTo>
                  <a:cubicBezTo>
                    <a:pt x="7597" y="6684"/>
                    <a:pt x="7597" y="6684"/>
                    <a:pt x="7597" y="6684"/>
                  </a:cubicBezTo>
                  <a:cubicBezTo>
                    <a:pt x="7565" y="6686"/>
                    <a:pt x="7502" y="6691"/>
                    <a:pt x="7486" y="6692"/>
                  </a:cubicBezTo>
                  <a:cubicBezTo>
                    <a:pt x="7207" y="6360"/>
                    <a:pt x="7207" y="6360"/>
                    <a:pt x="7207" y="6360"/>
                  </a:cubicBezTo>
                  <a:cubicBezTo>
                    <a:pt x="7272" y="6367"/>
                    <a:pt x="7397" y="6380"/>
                    <a:pt x="7546" y="6397"/>
                  </a:cubicBezTo>
                  <a:cubicBezTo>
                    <a:pt x="7546" y="6400"/>
                    <a:pt x="7547" y="6405"/>
                    <a:pt x="7549" y="6410"/>
                  </a:cubicBezTo>
                  <a:lnTo>
                    <a:pt x="7513" y="6408"/>
                  </a:lnTo>
                  <a:close/>
                  <a:moveTo>
                    <a:pt x="7475" y="6701"/>
                  </a:moveTo>
                  <a:cubicBezTo>
                    <a:pt x="7446" y="6850"/>
                    <a:pt x="7446" y="6850"/>
                    <a:pt x="7446" y="6850"/>
                  </a:cubicBezTo>
                  <a:cubicBezTo>
                    <a:pt x="7445" y="6850"/>
                    <a:pt x="7445" y="6850"/>
                    <a:pt x="7444" y="6850"/>
                  </a:cubicBezTo>
                  <a:cubicBezTo>
                    <a:pt x="7444" y="6849"/>
                    <a:pt x="7443" y="6849"/>
                    <a:pt x="7443" y="6849"/>
                  </a:cubicBezTo>
                  <a:cubicBezTo>
                    <a:pt x="7442" y="6849"/>
                    <a:pt x="7440" y="6848"/>
                    <a:pt x="7438" y="6846"/>
                  </a:cubicBezTo>
                  <a:cubicBezTo>
                    <a:pt x="7434" y="6844"/>
                    <a:pt x="7428" y="6840"/>
                    <a:pt x="7421" y="6836"/>
                  </a:cubicBezTo>
                  <a:cubicBezTo>
                    <a:pt x="7408" y="6828"/>
                    <a:pt x="7390" y="6816"/>
                    <a:pt x="7373" y="6804"/>
                  </a:cubicBezTo>
                  <a:cubicBezTo>
                    <a:pt x="7339" y="6781"/>
                    <a:pt x="7305" y="6758"/>
                    <a:pt x="7305" y="6758"/>
                  </a:cubicBezTo>
                  <a:cubicBezTo>
                    <a:pt x="7304" y="6758"/>
                    <a:pt x="7304" y="6758"/>
                    <a:pt x="7304" y="6758"/>
                  </a:cubicBezTo>
                  <a:cubicBezTo>
                    <a:pt x="7298" y="6756"/>
                    <a:pt x="7298" y="6756"/>
                    <a:pt x="7298" y="6756"/>
                  </a:cubicBezTo>
                  <a:cubicBezTo>
                    <a:pt x="7318" y="6654"/>
                    <a:pt x="7318" y="6654"/>
                    <a:pt x="7318" y="6654"/>
                  </a:cubicBezTo>
                  <a:cubicBezTo>
                    <a:pt x="7233" y="6637"/>
                    <a:pt x="7233" y="6637"/>
                    <a:pt x="7233" y="6637"/>
                  </a:cubicBezTo>
                  <a:cubicBezTo>
                    <a:pt x="7224" y="6683"/>
                    <a:pt x="7224" y="6683"/>
                    <a:pt x="7224" y="6683"/>
                  </a:cubicBezTo>
                  <a:cubicBezTo>
                    <a:pt x="7182" y="6674"/>
                    <a:pt x="7182" y="6674"/>
                    <a:pt x="7182" y="6674"/>
                  </a:cubicBezTo>
                  <a:cubicBezTo>
                    <a:pt x="7174" y="6716"/>
                    <a:pt x="7174" y="6716"/>
                    <a:pt x="7174" y="6716"/>
                  </a:cubicBezTo>
                  <a:cubicBezTo>
                    <a:pt x="7140" y="6705"/>
                    <a:pt x="7140" y="6705"/>
                    <a:pt x="7140" y="6705"/>
                  </a:cubicBezTo>
                  <a:cubicBezTo>
                    <a:pt x="7190" y="6361"/>
                    <a:pt x="7190" y="6361"/>
                    <a:pt x="7190" y="6361"/>
                  </a:cubicBezTo>
                  <a:lnTo>
                    <a:pt x="7475" y="6701"/>
                  </a:lnTo>
                  <a:close/>
                  <a:moveTo>
                    <a:pt x="7167" y="6289"/>
                  </a:moveTo>
                  <a:cubicBezTo>
                    <a:pt x="7167" y="6289"/>
                    <a:pt x="7167" y="6289"/>
                    <a:pt x="7167" y="6289"/>
                  </a:cubicBezTo>
                  <a:cubicBezTo>
                    <a:pt x="7011" y="6270"/>
                    <a:pt x="7011" y="6270"/>
                    <a:pt x="7011" y="6270"/>
                  </a:cubicBezTo>
                  <a:cubicBezTo>
                    <a:pt x="7014" y="6245"/>
                    <a:pt x="7014" y="6245"/>
                    <a:pt x="7014" y="6245"/>
                  </a:cubicBezTo>
                  <a:cubicBezTo>
                    <a:pt x="7140" y="6259"/>
                    <a:pt x="7140" y="6259"/>
                    <a:pt x="7140" y="6259"/>
                  </a:cubicBezTo>
                  <a:cubicBezTo>
                    <a:pt x="7146" y="6259"/>
                    <a:pt x="7146" y="6259"/>
                    <a:pt x="7146" y="6259"/>
                  </a:cubicBezTo>
                  <a:cubicBezTo>
                    <a:pt x="7164" y="6107"/>
                    <a:pt x="7164" y="6107"/>
                    <a:pt x="7164" y="6107"/>
                  </a:cubicBezTo>
                  <a:cubicBezTo>
                    <a:pt x="7029" y="6093"/>
                    <a:pt x="7029" y="6093"/>
                    <a:pt x="7029" y="6093"/>
                  </a:cubicBezTo>
                  <a:cubicBezTo>
                    <a:pt x="7068" y="5704"/>
                    <a:pt x="7068" y="5704"/>
                    <a:pt x="7068" y="5704"/>
                  </a:cubicBezTo>
                  <a:cubicBezTo>
                    <a:pt x="7220" y="5720"/>
                    <a:pt x="7220" y="5720"/>
                    <a:pt x="7220" y="5720"/>
                  </a:cubicBezTo>
                  <a:cubicBezTo>
                    <a:pt x="7216" y="5767"/>
                    <a:pt x="7192" y="6045"/>
                    <a:pt x="7177" y="6197"/>
                  </a:cubicBezTo>
                  <a:cubicBezTo>
                    <a:pt x="7173" y="6242"/>
                    <a:pt x="7169" y="6278"/>
                    <a:pt x="7167" y="6289"/>
                  </a:cubicBezTo>
                  <a:close/>
                  <a:moveTo>
                    <a:pt x="7015" y="6232"/>
                  </a:moveTo>
                  <a:cubicBezTo>
                    <a:pt x="7028" y="6106"/>
                    <a:pt x="7028" y="6106"/>
                    <a:pt x="7028" y="6106"/>
                  </a:cubicBezTo>
                  <a:cubicBezTo>
                    <a:pt x="7149" y="6119"/>
                    <a:pt x="7149" y="6119"/>
                    <a:pt x="7149" y="6119"/>
                  </a:cubicBezTo>
                  <a:cubicBezTo>
                    <a:pt x="7135" y="6245"/>
                    <a:pt x="7135" y="6245"/>
                    <a:pt x="7135" y="6245"/>
                  </a:cubicBezTo>
                  <a:lnTo>
                    <a:pt x="7015" y="6232"/>
                  </a:lnTo>
                  <a:close/>
                  <a:moveTo>
                    <a:pt x="7015" y="6091"/>
                  </a:moveTo>
                  <a:cubicBezTo>
                    <a:pt x="6884" y="6077"/>
                    <a:pt x="6884" y="6077"/>
                    <a:pt x="6884" y="6077"/>
                  </a:cubicBezTo>
                  <a:cubicBezTo>
                    <a:pt x="6922" y="5689"/>
                    <a:pt x="6922" y="5689"/>
                    <a:pt x="6922" y="5689"/>
                  </a:cubicBezTo>
                  <a:cubicBezTo>
                    <a:pt x="7054" y="5703"/>
                    <a:pt x="7054" y="5703"/>
                    <a:pt x="7054" y="5703"/>
                  </a:cubicBezTo>
                  <a:lnTo>
                    <a:pt x="7015" y="6091"/>
                  </a:lnTo>
                  <a:close/>
                  <a:moveTo>
                    <a:pt x="6870" y="6076"/>
                  </a:moveTo>
                  <a:cubicBezTo>
                    <a:pt x="6727" y="6061"/>
                    <a:pt x="6727" y="6061"/>
                    <a:pt x="6727" y="6061"/>
                  </a:cubicBezTo>
                  <a:cubicBezTo>
                    <a:pt x="6766" y="5672"/>
                    <a:pt x="6766" y="5672"/>
                    <a:pt x="6766" y="5672"/>
                  </a:cubicBezTo>
                  <a:cubicBezTo>
                    <a:pt x="6909" y="5687"/>
                    <a:pt x="6909" y="5687"/>
                    <a:pt x="6909" y="5687"/>
                  </a:cubicBezTo>
                  <a:lnTo>
                    <a:pt x="6870" y="6076"/>
                  </a:lnTo>
                  <a:close/>
                  <a:moveTo>
                    <a:pt x="6714" y="6059"/>
                  </a:moveTo>
                  <a:cubicBezTo>
                    <a:pt x="6574" y="6044"/>
                    <a:pt x="6574" y="6044"/>
                    <a:pt x="6574" y="6044"/>
                  </a:cubicBezTo>
                  <a:cubicBezTo>
                    <a:pt x="6612" y="5659"/>
                    <a:pt x="6612" y="5659"/>
                    <a:pt x="6612" y="5659"/>
                  </a:cubicBezTo>
                  <a:cubicBezTo>
                    <a:pt x="6598" y="5658"/>
                    <a:pt x="6598" y="5658"/>
                    <a:pt x="6598" y="5658"/>
                  </a:cubicBezTo>
                  <a:cubicBezTo>
                    <a:pt x="6560" y="6043"/>
                    <a:pt x="6560" y="6043"/>
                    <a:pt x="6560" y="6043"/>
                  </a:cubicBezTo>
                  <a:cubicBezTo>
                    <a:pt x="6429" y="6029"/>
                    <a:pt x="6429" y="6029"/>
                    <a:pt x="6429" y="6029"/>
                  </a:cubicBezTo>
                  <a:cubicBezTo>
                    <a:pt x="6467" y="5640"/>
                    <a:pt x="6467" y="5640"/>
                    <a:pt x="6467" y="5640"/>
                  </a:cubicBezTo>
                  <a:cubicBezTo>
                    <a:pt x="6752" y="5670"/>
                    <a:pt x="6752" y="5670"/>
                    <a:pt x="6752" y="5670"/>
                  </a:cubicBezTo>
                  <a:lnTo>
                    <a:pt x="6714" y="6059"/>
                  </a:lnTo>
                  <a:close/>
                  <a:moveTo>
                    <a:pt x="6415" y="6027"/>
                  </a:moveTo>
                  <a:cubicBezTo>
                    <a:pt x="6284" y="6013"/>
                    <a:pt x="6284" y="6013"/>
                    <a:pt x="6284" y="6013"/>
                  </a:cubicBezTo>
                  <a:cubicBezTo>
                    <a:pt x="6323" y="5625"/>
                    <a:pt x="6323" y="5625"/>
                    <a:pt x="6323" y="5625"/>
                  </a:cubicBezTo>
                  <a:cubicBezTo>
                    <a:pt x="6309" y="5624"/>
                    <a:pt x="6309" y="5624"/>
                    <a:pt x="6309" y="5624"/>
                  </a:cubicBezTo>
                  <a:cubicBezTo>
                    <a:pt x="6271" y="6012"/>
                    <a:pt x="6271" y="6012"/>
                    <a:pt x="6271" y="6012"/>
                  </a:cubicBezTo>
                  <a:cubicBezTo>
                    <a:pt x="6134" y="5997"/>
                    <a:pt x="6134" y="5997"/>
                    <a:pt x="6134" y="5997"/>
                  </a:cubicBezTo>
                  <a:cubicBezTo>
                    <a:pt x="6172" y="5613"/>
                    <a:pt x="6172" y="5613"/>
                    <a:pt x="6172" y="5613"/>
                  </a:cubicBezTo>
                  <a:cubicBezTo>
                    <a:pt x="6158" y="5612"/>
                    <a:pt x="6158" y="5612"/>
                    <a:pt x="6158" y="5612"/>
                  </a:cubicBezTo>
                  <a:cubicBezTo>
                    <a:pt x="6120" y="5995"/>
                    <a:pt x="6120" y="5995"/>
                    <a:pt x="6120" y="5995"/>
                  </a:cubicBezTo>
                  <a:cubicBezTo>
                    <a:pt x="5994" y="5982"/>
                    <a:pt x="5994" y="5982"/>
                    <a:pt x="5994" y="5982"/>
                  </a:cubicBezTo>
                  <a:cubicBezTo>
                    <a:pt x="5977" y="6134"/>
                    <a:pt x="5977" y="6134"/>
                    <a:pt x="5977" y="6134"/>
                  </a:cubicBezTo>
                  <a:cubicBezTo>
                    <a:pt x="6105" y="6148"/>
                    <a:pt x="6105" y="6148"/>
                    <a:pt x="6105" y="6148"/>
                  </a:cubicBezTo>
                  <a:cubicBezTo>
                    <a:pt x="6104" y="6162"/>
                    <a:pt x="6104" y="6162"/>
                    <a:pt x="6104" y="6162"/>
                  </a:cubicBezTo>
                  <a:cubicBezTo>
                    <a:pt x="5956" y="6144"/>
                    <a:pt x="5956" y="6144"/>
                    <a:pt x="5956" y="6144"/>
                  </a:cubicBezTo>
                  <a:cubicBezTo>
                    <a:pt x="6047" y="5596"/>
                    <a:pt x="6047" y="5596"/>
                    <a:pt x="6047" y="5596"/>
                  </a:cubicBezTo>
                  <a:cubicBezTo>
                    <a:pt x="6453" y="5639"/>
                    <a:pt x="6453" y="5639"/>
                    <a:pt x="6453" y="5639"/>
                  </a:cubicBezTo>
                  <a:lnTo>
                    <a:pt x="6415" y="6027"/>
                  </a:lnTo>
                  <a:close/>
                  <a:moveTo>
                    <a:pt x="6058" y="6222"/>
                  </a:moveTo>
                  <a:cubicBezTo>
                    <a:pt x="6054" y="6239"/>
                    <a:pt x="6054" y="6239"/>
                    <a:pt x="6054" y="6239"/>
                  </a:cubicBezTo>
                  <a:cubicBezTo>
                    <a:pt x="6015" y="6236"/>
                    <a:pt x="6015" y="6236"/>
                    <a:pt x="6015" y="6236"/>
                  </a:cubicBezTo>
                  <a:cubicBezTo>
                    <a:pt x="6011" y="6279"/>
                    <a:pt x="6011" y="6279"/>
                    <a:pt x="6011" y="6279"/>
                  </a:cubicBezTo>
                  <a:cubicBezTo>
                    <a:pt x="5965" y="6275"/>
                    <a:pt x="5965" y="6275"/>
                    <a:pt x="5965" y="6275"/>
                  </a:cubicBezTo>
                  <a:cubicBezTo>
                    <a:pt x="5958" y="6355"/>
                    <a:pt x="5958" y="6355"/>
                    <a:pt x="5958" y="6355"/>
                  </a:cubicBezTo>
                  <a:cubicBezTo>
                    <a:pt x="5958" y="6361"/>
                    <a:pt x="5958" y="6361"/>
                    <a:pt x="5958" y="6361"/>
                  </a:cubicBezTo>
                  <a:cubicBezTo>
                    <a:pt x="6029" y="6367"/>
                    <a:pt x="6029" y="6367"/>
                    <a:pt x="6029" y="6367"/>
                  </a:cubicBezTo>
                  <a:cubicBezTo>
                    <a:pt x="6011" y="6455"/>
                    <a:pt x="6011" y="6455"/>
                    <a:pt x="6011" y="6455"/>
                  </a:cubicBezTo>
                  <a:cubicBezTo>
                    <a:pt x="5904" y="6442"/>
                    <a:pt x="5904" y="6442"/>
                    <a:pt x="5904" y="6442"/>
                  </a:cubicBezTo>
                  <a:cubicBezTo>
                    <a:pt x="5945" y="6209"/>
                    <a:pt x="5945" y="6209"/>
                    <a:pt x="5945" y="6209"/>
                  </a:cubicBezTo>
                  <a:lnTo>
                    <a:pt x="6058" y="6222"/>
                  </a:lnTo>
                  <a:close/>
                  <a:moveTo>
                    <a:pt x="5372" y="5675"/>
                  </a:moveTo>
                  <a:cubicBezTo>
                    <a:pt x="5330" y="6030"/>
                    <a:pt x="5330" y="6030"/>
                    <a:pt x="5330" y="6030"/>
                  </a:cubicBezTo>
                  <a:cubicBezTo>
                    <a:pt x="4762" y="5924"/>
                    <a:pt x="4762" y="5924"/>
                    <a:pt x="4762" y="5924"/>
                  </a:cubicBezTo>
                  <a:cubicBezTo>
                    <a:pt x="4784" y="5819"/>
                    <a:pt x="4803" y="5727"/>
                    <a:pt x="4818" y="5657"/>
                  </a:cubicBezTo>
                  <a:lnTo>
                    <a:pt x="5372" y="5675"/>
                  </a:lnTo>
                  <a:close/>
                  <a:moveTo>
                    <a:pt x="4785" y="5441"/>
                  </a:moveTo>
                  <a:cubicBezTo>
                    <a:pt x="4111" y="5409"/>
                    <a:pt x="4111" y="5409"/>
                    <a:pt x="4111" y="5409"/>
                  </a:cubicBezTo>
                  <a:cubicBezTo>
                    <a:pt x="4169" y="5316"/>
                    <a:pt x="4169" y="5316"/>
                    <a:pt x="4169" y="5316"/>
                  </a:cubicBezTo>
                  <a:cubicBezTo>
                    <a:pt x="4202" y="5316"/>
                    <a:pt x="4425" y="5311"/>
                    <a:pt x="4425" y="5311"/>
                  </a:cubicBezTo>
                  <a:cubicBezTo>
                    <a:pt x="4428" y="5310"/>
                    <a:pt x="4428" y="5310"/>
                    <a:pt x="4428" y="5310"/>
                  </a:cubicBezTo>
                  <a:cubicBezTo>
                    <a:pt x="4624" y="5041"/>
                    <a:pt x="4624" y="5041"/>
                    <a:pt x="4624" y="5041"/>
                  </a:cubicBezTo>
                  <a:cubicBezTo>
                    <a:pt x="4683" y="5077"/>
                    <a:pt x="4721" y="5132"/>
                    <a:pt x="4746" y="5194"/>
                  </a:cubicBezTo>
                  <a:cubicBezTo>
                    <a:pt x="4778" y="5276"/>
                    <a:pt x="4785" y="5367"/>
                    <a:pt x="4785" y="5431"/>
                  </a:cubicBezTo>
                  <a:cubicBezTo>
                    <a:pt x="4785" y="5434"/>
                    <a:pt x="4785" y="5438"/>
                    <a:pt x="4785" y="5441"/>
                  </a:cubicBezTo>
                  <a:close/>
                  <a:moveTo>
                    <a:pt x="4421" y="5297"/>
                  </a:moveTo>
                  <a:cubicBezTo>
                    <a:pt x="4392" y="5297"/>
                    <a:pt x="4182" y="5302"/>
                    <a:pt x="4166" y="5303"/>
                  </a:cubicBezTo>
                  <a:cubicBezTo>
                    <a:pt x="4166" y="5302"/>
                    <a:pt x="4165" y="5302"/>
                    <a:pt x="4165" y="5302"/>
                  </a:cubicBezTo>
                  <a:cubicBezTo>
                    <a:pt x="4163" y="5302"/>
                    <a:pt x="4161" y="5301"/>
                    <a:pt x="4159" y="5300"/>
                  </a:cubicBezTo>
                  <a:cubicBezTo>
                    <a:pt x="4154" y="5298"/>
                    <a:pt x="4146" y="5295"/>
                    <a:pt x="4137" y="5291"/>
                  </a:cubicBezTo>
                  <a:cubicBezTo>
                    <a:pt x="4118" y="5283"/>
                    <a:pt x="4091" y="5273"/>
                    <a:pt x="4060" y="5259"/>
                  </a:cubicBezTo>
                  <a:cubicBezTo>
                    <a:pt x="3997" y="5233"/>
                    <a:pt x="3913" y="5198"/>
                    <a:pt x="3828" y="5162"/>
                  </a:cubicBezTo>
                  <a:cubicBezTo>
                    <a:pt x="3773" y="5139"/>
                    <a:pt x="3718" y="5115"/>
                    <a:pt x="3668" y="5094"/>
                  </a:cubicBezTo>
                  <a:cubicBezTo>
                    <a:pt x="3765" y="4797"/>
                    <a:pt x="3765" y="4797"/>
                    <a:pt x="3765" y="4797"/>
                  </a:cubicBezTo>
                  <a:cubicBezTo>
                    <a:pt x="4004" y="4849"/>
                    <a:pt x="4312" y="4931"/>
                    <a:pt x="4562" y="5012"/>
                  </a:cubicBezTo>
                  <a:cubicBezTo>
                    <a:pt x="4581" y="5018"/>
                    <a:pt x="4597" y="5025"/>
                    <a:pt x="4612" y="5034"/>
                  </a:cubicBezTo>
                  <a:lnTo>
                    <a:pt x="4421" y="5297"/>
                  </a:lnTo>
                  <a:close/>
                  <a:moveTo>
                    <a:pt x="3655" y="5088"/>
                  </a:moveTo>
                  <a:cubicBezTo>
                    <a:pt x="3567" y="5051"/>
                    <a:pt x="3497" y="5020"/>
                    <a:pt x="3477" y="5011"/>
                  </a:cubicBezTo>
                  <a:cubicBezTo>
                    <a:pt x="3573" y="4758"/>
                    <a:pt x="3573" y="4758"/>
                    <a:pt x="3573" y="4758"/>
                  </a:cubicBezTo>
                  <a:cubicBezTo>
                    <a:pt x="3594" y="4762"/>
                    <a:pt x="3617" y="4767"/>
                    <a:pt x="3641" y="4772"/>
                  </a:cubicBezTo>
                  <a:cubicBezTo>
                    <a:pt x="3676" y="4778"/>
                    <a:pt x="3713" y="4786"/>
                    <a:pt x="3751" y="4794"/>
                  </a:cubicBezTo>
                  <a:lnTo>
                    <a:pt x="3655" y="5088"/>
                  </a:lnTo>
                  <a:close/>
                  <a:moveTo>
                    <a:pt x="2789" y="5163"/>
                  </a:moveTo>
                  <a:cubicBezTo>
                    <a:pt x="2814" y="5108"/>
                    <a:pt x="2834" y="5064"/>
                    <a:pt x="2845" y="5041"/>
                  </a:cubicBezTo>
                  <a:cubicBezTo>
                    <a:pt x="2940" y="5071"/>
                    <a:pt x="2940" y="5071"/>
                    <a:pt x="2940" y="5071"/>
                  </a:cubicBezTo>
                  <a:cubicBezTo>
                    <a:pt x="3070" y="5172"/>
                    <a:pt x="3070" y="5172"/>
                    <a:pt x="3070" y="5172"/>
                  </a:cubicBezTo>
                  <a:cubicBezTo>
                    <a:pt x="2646" y="5977"/>
                    <a:pt x="2646" y="5977"/>
                    <a:pt x="2646" y="5977"/>
                  </a:cubicBezTo>
                  <a:cubicBezTo>
                    <a:pt x="2544" y="5936"/>
                    <a:pt x="2544" y="5936"/>
                    <a:pt x="2544" y="5936"/>
                  </a:cubicBezTo>
                  <a:cubicBezTo>
                    <a:pt x="2491" y="5843"/>
                    <a:pt x="2491" y="5843"/>
                    <a:pt x="2491" y="5843"/>
                  </a:cubicBezTo>
                  <a:cubicBezTo>
                    <a:pt x="2499" y="5824"/>
                    <a:pt x="2544" y="5720"/>
                    <a:pt x="2600" y="5593"/>
                  </a:cubicBezTo>
                  <a:cubicBezTo>
                    <a:pt x="2662" y="5451"/>
                    <a:pt x="2737" y="5280"/>
                    <a:pt x="2789" y="5163"/>
                  </a:cubicBezTo>
                  <a:close/>
                  <a:moveTo>
                    <a:pt x="2640" y="5466"/>
                  </a:moveTo>
                  <a:cubicBezTo>
                    <a:pt x="2612" y="5529"/>
                    <a:pt x="2586" y="5590"/>
                    <a:pt x="2562" y="5645"/>
                  </a:cubicBezTo>
                  <a:cubicBezTo>
                    <a:pt x="2349" y="5536"/>
                    <a:pt x="2349" y="5536"/>
                    <a:pt x="2349" y="5536"/>
                  </a:cubicBezTo>
                  <a:cubicBezTo>
                    <a:pt x="2364" y="5460"/>
                    <a:pt x="2364" y="5460"/>
                    <a:pt x="2364" y="5460"/>
                  </a:cubicBezTo>
                  <a:cubicBezTo>
                    <a:pt x="2336" y="5439"/>
                    <a:pt x="2336" y="5439"/>
                    <a:pt x="2336" y="5439"/>
                  </a:cubicBezTo>
                  <a:cubicBezTo>
                    <a:pt x="2392" y="5330"/>
                    <a:pt x="2392" y="5330"/>
                    <a:pt x="2392" y="5330"/>
                  </a:cubicBezTo>
                  <a:cubicBezTo>
                    <a:pt x="2492" y="5385"/>
                    <a:pt x="2609" y="5450"/>
                    <a:pt x="2640" y="5466"/>
                  </a:cubicBezTo>
                  <a:close/>
                  <a:moveTo>
                    <a:pt x="2325" y="5431"/>
                  </a:moveTo>
                  <a:cubicBezTo>
                    <a:pt x="2241" y="5367"/>
                    <a:pt x="2241" y="5367"/>
                    <a:pt x="2241" y="5367"/>
                  </a:cubicBezTo>
                  <a:cubicBezTo>
                    <a:pt x="2288" y="5272"/>
                    <a:pt x="2288" y="5272"/>
                    <a:pt x="2288" y="5272"/>
                  </a:cubicBezTo>
                  <a:cubicBezTo>
                    <a:pt x="2313" y="5285"/>
                    <a:pt x="2345" y="5303"/>
                    <a:pt x="2380" y="5323"/>
                  </a:cubicBezTo>
                  <a:lnTo>
                    <a:pt x="2325" y="5431"/>
                  </a:lnTo>
                  <a:close/>
                  <a:moveTo>
                    <a:pt x="2319" y="5444"/>
                  </a:moveTo>
                  <a:cubicBezTo>
                    <a:pt x="2307" y="5468"/>
                    <a:pt x="2307" y="5468"/>
                    <a:pt x="2307" y="5468"/>
                  </a:cubicBezTo>
                  <a:cubicBezTo>
                    <a:pt x="2213" y="5422"/>
                    <a:pt x="2213" y="5422"/>
                    <a:pt x="2213" y="5422"/>
                  </a:cubicBezTo>
                  <a:cubicBezTo>
                    <a:pt x="2234" y="5379"/>
                    <a:pt x="2234" y="5379"/>
                    <a:pt x="2234" y="5379"/>
                  </a:cubicBezTo>
                  <a:lnTo>
                    <a:pt x="2319" y="5444"/>
                  </a:lnTo>
                  <a:close/>
                  <a:moveTo>
                    <a:pt x="2195" y="5428"/>
                  </a:moveTo>
                  <a:cubicBezTo>
                    <a:pt x="2313" y="5485"/>
                    <a:pt x="2313" y="5485"/>
                    <a:pt x="2313" y="5485"/>
                  </a:cubicBezTo>
                  <a:cubicBezTo>
                    <a:pt x="2330" y="5452"/>
                    <a:pt x="2330" y="5452"/>
                    <a:pt x="2330" y="5452"/>
                  </a:cubicBezTo>
                  <a:cubicBezTo>
                    <a:pt x="2348" y="5466"/>
                    <a:pt x="2348" y="5466"/>
                    <a:pt x="2348" y="5466"/>
                  </a:cubicBezTo>
                  <a:cubicBezTo>
                    <a:pt x="2333" y="5544"/>
                    <a:pt x="2333" y="5544"/>
                    <a:pt x="2333" y="5544"/>
                  </a:cubicBezTo>
                  <a:cubicBezTo>
                    <a:pt x="2556" y="5658"/>
                    <a:pt x="2556" y="5658"/>
                    <a:pt x="2556" y="5658"/>
                  </a:cubicBezTo>
                  <a:cubicBezTo>
                    <a:pt x="2517" y="5748"/>
                    <a:pt x="2487" y="5816"/>
                    <a:pt x="2479" y="5835"/>
                  </a:cubicBezTo>
                  <a:cubicBezTo>
                    <a:pt x="2459" y="5830"/>
                    <a:pt x="2412" y="5822"/>
                    <a:pt x="2364" y="5814"/>
                  </a:cubicBezTo>
                  <a:cubicBezTo>
                    <a:pt x="2317" y="5807"/>
                    <a:pt x="2272" y="5801"/>
                    <a:pt x="2260" y="5799"/>
                  </a:cubicBezTo>
                  <a:cubicBezTo>
                    <a:pt x="2252" y="5785"/>
                    <a:pt x="2218" y="5726"/>
                    <a:pt x="2200" y="5702"/>
                  </a:cubicBezTo>
                  <a:cubicBezTo>
                    <a:pt x="2263" y="5578"/>
                    <a:pt x="2263" y="5578"/>
                    <a:pt x="2263" y="5578"/>
                  </a:cubicBezTo>
                  <a:cubicBezTo>
                    <a:pt x="2266" y="5572"/>
                    <a:pt x="2266" y="5572"/>
                    <a:pt x="2266" y="5572"/>
                  </a:cubicBezTo>
                  <a:cubicBezTo>
                    <a:pt x="2146" y="5514"/>
                    <a:pt x="2146" y="5514"/>
                    <a:pt x="2146" y="5514"/>
                  </a:cubicBezTo>
                  <a:cubicBezTo>
                    <a:pt x="2084" y="5638"/>
                    <a:pt x="2084" y="5638"/>
                    <a:pt x="2084" y="5638"/>
                  </a:cubicBezTo>
                  <a:cubicBezTo>
                    <a:pt x="2076" y="5634"/>
                    <a:pt x="2068" y="5630"/>
                    <a:pt x="2062" y="5626"/>
                  </a:cubicBezTo>
                  <a:cubicBezTo>
                    <a:pt x="2210" y="5361"/>
                    <a:pt x="2210" y="5361"/>
                    <a:pt x="2210" y="5361"/>
                  </a:cubicBezTo>
                  <a:cubicBezTo>
                    <a:pt x="2224" y="5371"/>
                    <a:pt x="2224" y="5371"/>
                    <a:pt x="2224" y="5371"/>
                  </a:cubicBezTo>
                  <a:lnTo>
                    <a:pt x="2195" y="5428"/>
                  </a:lnTo>
                  <a:close/>
                  <a:moveTo>
                    <a:pt x="2158" y="5321"/>
                  </a:moveTo>
                  <a:cubicBezTo>
                    <a:pt x="2109" y="5294"/>
                    <a:pt x="2109" y="5294"/>
                    <a:pt x="2109" y="5294"/>
                  </a:cubicBezTo>
                  <a:cubicBezTo>
                    <a:pt x="2158" y="5207"/>
                    <a:pt x="2158" y="5207"/>
                    <a:pt x="2158" y="5207"/>
                  </a:cubicBezTo>
                  <a:cubicBezTo>
                    <a:pt x="2206" y="5235"/>
                    <a:pt x="2206" y="5235"/>
                    <a:pt x="2206" y="5235"/>
                  </a:cubicBezTo>
                  <a:lnTo>
                    <a:pt x="2158" y="5321"/>
                  </a:lnTo>
                  <a:close/>
                  <a:moveTo>
                    <a:pt x="2151" y="5334"/>
                  </a:moveTo>
                  <a:cubicBezTo>
                    <a:pt x="2099" y="5426"/>
                    <a:pt x="2099" y="5426"/>
                    <a:pt x="2099" y="5426"/>
                  </a:cubicBezTo>
                  <a:cubicBezTo>
                    <a:pt x="2050" y="5398"/>
                    <a:pt x="2050" y="5398"/>
                    <a:pt x="2050" y="5398"/>
                  </a:cubicBezTo>
                  <a:cubicBezTo>
                    <a:pt x="2102" y="5306"/>
                    <a:pt x="2102" y="5306"/>
                    <a:pt x="2102" y="5306"/>
                  </a:cubicBezTo>
                  <a:lnTo>
                    <a:pt x="2151" y="5334"/>
                  </a:lnTo>
                  <a:close/>
                  <a:moveTo>
                    <a:pt x="2039" y="5391"/>
                  </a:moveTo>
                  <a:cubicBezTo>
                    <a:pt x="1925" y="5326"/>
                    <a:pt x="1925" y="5326"/>
                    <a:pt x="1925" y="5326"/>
                  </a:cubicBezTo>
                  <a:cubicBezTo>
                    <a:pt x="1977" y="5234"/>
                    <a:pt x="1977" y="5234"/>
                    <a:pt x="1977" y="5234"/>
                  </a:cubicBezTo>
                  <a:cubicBezTo>
                    <a:pt x="2091" y="5299"/>
                    <a:pt x="2091" y="5299"/>
                    <a:pt x="2091" y="5299"/>
                  </a:cubicBezTo>
                  <a:lnTo>
                    <a:pt x="2039" y="5391"/>
                  </a:lnTo>
                  <a:close/>
                  <a:moveTo>
                    <a:pt x="1913" y="5320"/>
                  </a:moveTo>
                  <a:cubicBezTo>
                    <a:pt x="1551" y="5113"/>
                    <a:pt x="1551" y="5113"/>
                    <a:pt x="1551" y="5113"/>
                  </a:cubicBezTo>
                  <a:cubicBezTo>
                    <a:pt x="1586" y="5011"/>
                    <a:pt x="1586" y="5011"/>
                    <a:pt x="1586" y="5011"/>
                  </a:cubicBezTo>
                  <a:cubicBezTo>
                    <a:pt x="1965" y="5228"/>
                    <a:pt x="1965" y="5228"/>
                    <a:pt x="1965" y="5228"/>
                  </a:cubicBezTo>
                  <a:lnTo>
                    <a:pt x="1913" y="5320"/>
                  </a:lnTo>
                  <a:close/>
                  <a:moveTo>
                    <a:pt x="1906" y="5332"/>
                  </a:moveTo>
                  <a:cubicBezTo>
                    <a:pt x="1846" y="5438"/>
                    <a:pt x="1846" y="5438"/>
                    <a:pt x="1846" y="5438"/>
                  </a:cubicBezTo>
                  <a:cubicBezTo>
                    <a:pt x="1505" y="5244"/>
                    <a:pt x="1505" y="5244"/>
                    <a:pt x="1505" y="5244"/>
                  </a:cubicBezTo>
                  <a:cubicBezTo>
                    <a:pt x="1546" y="5126"/>
                    <a:pt x="1546" y="5126"/>
                    <a:pt x="1546" y="5126"/>
                  </a:cubicBezTo>
                  <a:lnTo>
                    <a:pt x="1906" y="5332"/>
                  </a:lnTo>
                  <a:close/>
                  <a:moveTo>
                    <a:pt x="1839" y="5450"/>
                  </a:moveTo>
                  <a:cubicBezTo>
                    <a:pt x="1781" y="5554"/>
                    <a:pt x="1781" y="5554"/>
                    <a:pt x="1781" y="5554"/>
                  </a:cubicBezTo>
                  <a:cubicBezTo>
                    <a:pt x="1421" y="5348"/>
                    <a:pt x="1421" y="5348"/>
                    <a:pt x="1421" y="5348"/>
                  </a:cubicBezTo>
                  <a:cubicBezTo>
                    <a:pt x="1500" y="5257"/>
                    <a:pt x="1500" y="5257"/>
                    <a:pt x="1500" y="5257"/>
                  </a:cubicBezTo>
                  <a:cubicBezTo>
                    <a:pt x="1500" y="5257"/>
                    <a:pt x="1500" y="5257"/>
                    <a:pt x="1500" y="5257"/>
                  </a:cubicBezTo>
                  <a:lnTo>
                    <a:pt x="1839" y="5450"/>
                  </a:lnTo>
                  <a:close/>
                  <a:moveTo>
                    <a:pt x="1774" y="5566"/>
                  </a:moveTo>
                  <a:cubicBezTo>
                    <a:pt x="1720" y="5661"/>
                    <a:pt x="1720" y="5661"/>
                    <a:pt x="1720" y="5661"/>
                  </a:cubicBezTo>
                  <a:cubicBezTo>
                    <a:pt x="1387" y="5471"/>
                    <a:pt x="1387" y="5471"/>
                    <a:pt x="1387" y="5471"/>
                  </a:cubicBezTo>
                  <a:cubicBezTo>
                    <a:pt x="1417" y="5362"/>
                    <a:pt x="1417" y="5362"/>
                    <a:pt x="1417" y="5362"/>
                  </a:cubicBezTo>
                  <a:lnTo>
                    <a:pt x="1774" y="5566"/>
                  </a:lnTo>
                  <a:close/>
                  <a:moveTo>
                    <a:pt x="1713" y="5673"/>
                  </a:moveTo>
                  <a:cubicBezTo>
                    <a:pt x="1647" y="5790"/>
                    <a:pt x="1647" y="5790"/>
                    <a:pt x="1647" y="5790"/>
                  </a:cubicBezTo>
                  <a:cubicBezTo>
                    <a:pt x="1345" y="5618"/>
                    <a:pt x="1345" y="5618"/>
                    <a:pt x="1345" y="5618"/>
                  </a:cubicBezTo>
                  <a:cubicBezTo>
                    <a:pt x="1383" y="5484"/>
                    <a:pt x="1383" y="5484"/>
                    <a:pt x="1383" y="5484"/>
                  </a:cubicBezTo>
                  <a:lnTo>
                    <a:pt x="1713" y="5673"/>
                  </a:lnTo>
                  <a:close/>
                  <a:moveTo>
                    <a:pt x="1640" y="5802"/>
                  </a:moveTo>
                  <a:cubicBezTo>
                    <a:pt x="1586" y="5896"/>
                    <a:pt x="1586" y="5896"/>
                    <a:pt x="1586" y="5896"/>
                  </a:cubicBezTo>
                  <a:cubicBezTo>
                    <a:pt x="1226" y="5691"/>
                    <a:pt x="1226" y="5691"/>
                    <a:pt x="1226" y="5691"/>
                  </a:cubicBezTo>
                  <a:cubicBezTo>
                    <a:pt x="1336" y="5628"/>
                    <a:pt x="1336" y="5628"/>
                    <a:pt x="1336" y="5628"/>
                  </a:cubicBezTo>
                  <a:lnTo>
                    <a:pt x="1640" y="5802"/>
                  </a:lnTo>
                  <a:close/>
                  <a:moveTo>
                    <a:pt x="1579" y="5908"/>
                  </a:moveTo>
                  <a:cubicBezTo>
                    <a:pt x="1519" y="6014"/>
                    <a:pt x="1519" y="6014"/>
                    <a:pt x="1519" y="6014"/>
                  </a:cubicBezTo>
                  <a:cubicBezTo>
                    <a:pt x="1165" y="5812"/>
                    <a:pt x="1165" y="5812"/>
                    <a:pt x="1165" y="5812"/>
                  </a:cubicBezTo>
                  <a:cubicBezTo>
                    <a:pt x="1199" y="5707"/>
                    <a:pt x="1199" y="5707"/>
                    <a:pt x="1199" y="5707"/>
                  </a:cubicBezTo>
                  <a:cubicBezTo>
                    <a:pt x="1212" y="5699"/>
                    <a:pt x="1212" y="5699"/>
                    <a:pt x="1212" y="5699"/>
                  </a:cubicBezTo>
                  <a:lnTo>
                    <a:pt x="1579" y="5908"/>
                  </a:lnTo>
                  <a:close/>
                  <a:moveTo>
                    <a:pt x="1513" y="6026"/>
                  </a:moveTo>
                  <a:cubicBezTo>
                    <a:pt x="1460" y="6118"/>
                    <a:pt x="1460" y="6118"/>
                    <a:pt x="1460" y="6118"/>
                  </a:cubicBezTo>
                  <a:cubicBezTo>
                    <a:pt x="1128" y="5928"/>
                    <a:pt x="1128" y="5928"/>
                    <a:pt x="1128" y="5928"/>
                  </a:cubicBezTo>
                  <a:cubicBezTo>
                    <a:pt x="1161" y="5825"/>
                    <a:pt x="1161" y="5825"/>
                    <a:pt x="1161" y="5825"/>
                  </a:cubicBezTo>
                  <a:lnTo>
                    <a:pt x="1513" y="6026"/>
                  </a:lnTo>
                  <a:close/>
                  <a:moveTo>
                    <a:pt x="1453" y="6130"/>
                  </a:moveTo>
                  <a:cubicBezTo>
                    <a:pt x="1393" y="6236"/>
                    <a:pt x="1393" y="6236"/>
                    <a:pt x="1393" y="6236"/>
                  </a:cubicBezTo>
                  <a:cubicBezTo>
                    <a:pt x="1081" y="6058"/>
                    <a:pt x="1081" y="6058"/>
                    <a:pt x="1081" y="6058"/>
                  </a:cubicBezTo>
                  <a:cubicBezTo>
                    <a:pt x="1087" y="6055"/>
                    <a:pt x="1087" y="6055"/>
                    <a:pt x="1087" y="6055"/>
                  </a:cubicBezTo>
                  <a:cubicBezTo>
                    <a:pt x="1123" y="5942"/>
                    <a:pt x="1123" y="5942"/>
                    <a:pt x="1123" y="5942"/>
                  </a:cubicBezTo>
                  <a:lnTo>
                    <a:pt x="1453" y="6130"/>
                  </a:lnTo>
                  <a:close/>
                  <a:moveTo>
                    <a:pt x="1386" y="6249"/>
                  </a:moveTo>
                  <a:cubicBezTo>
                    <a:pt x="1328" y="6352"/>
                    <a:pt x="1328" y="6352"/>
                    <a:pt x="1328" y="6352"/>
                  </a:cubicBezTo>
                  <a:cubicBezTo>
                    <a:pt x="955" y="6139"/>
                    <a:pt x="955" y="6139"/>
                    <a:pt x="955" y="6139"/>
                  </a:cubicBezTo>
                  <a:cubicBezTo>
                    <a:pt x="957" y="6135"/>
                    <a:pt x="957" y="6135"/>
                    <a:pt x="957" y="6135"/>
                  </a:cubicBezTo>
                  <a:cubicBezTo>
                    <a:pt x="1068" y="6067"/>
                    <a:pt x="1068" y="6067"/>
                    <a:pt x="1068" y="6067"/>
                  </a:cubicBezTo>
                  <a:lnTo>
                    <a:pt x="1386" y="6249"/>
                  </a:lnTo>
                  <a:close/>
                  <a:moveTo>
                    <a:pt x="1398" y="6255"/>
                  </a:moveTo>
                  <a:cubicBezTo>
                    <a:pt x="1512" y="6320"/>
                    <a:pt x="1512" y="6320"/>
                    <a:pt x="1512" y="6320"/>
                  </a:cubicBezTo>
                  <a:cubicBezTo>
                    <a:pt x="1453" y="6423"/>
                    <a:pt x="1453" y="6423"/>
                    <a:pt x="1453" y="6423"/>
                  </a:cubicBezTo>
                  <a:cubicBezTo>
                    <a:pt x="1339" y="6358"/>
                    <a:pt x="1339" y="6358"/>
                    <a:pt x="1339" y="6358"/>
                  </a:cubicBezTo>
                  <a:lnTo>
                    <a:pt x="1398" y="6255"/>
                  </a:lnTo>
                  <a:close/>
                  <a:moveTo>
                    <a:pt x="1523" y="6327"/>
                  </a:moveTo>
                  <a:cubicBezTo>
                    <a:pt x="1577" y="6358"/>
                    <a:pt x="1577" y="6358"/>
                    <a:pt x="1577" y="6358"/>
                  </a:cubicBezTo>
                  <a:cubicBezTo>
                    <a:pt x="1519" y="6461"/>
                    <a:pt x="1519" y="6461"/>
                    <a:pt x="1519" y="6461"/>
                  </a:cubicBezTo>
                  <a:cubicBezTo>
                    <a:pt x="1465" y="6430"/>
                    <a:pt x="1465" y="6430"/>
                    <a:pt x="1465" y="6430"/>
                  </a:cubicBezTo>
                  <a:lnTo>
                    <a:pt x="1523" y="6327"/>
                  </a:lnTo>
                  <a:close/>
                  <a:moveTo>
                    <a:pt x="1719" y="6238"/>
                  </a:moveTo>
                  <a:cubicBezTo>
                    <a:pt x="1997" y="6396"/>
                    <a:pt x="1997" y="6396"/>
                    <a:pt x="1997" y="6396"/>
                  </a:cubicBezTo>
                  <a:cubicBezTo>
                    <a:pt x="1997" y="6397"/>
                    <a:pt x="1996" y="6397"/>
                    <a:pt x="1996" y="6397"/>
                  </a:cubicBezTo>
                  <a:cubicBezTo>
                    <a:pt x="2007" y="6406"/>
                    <a:pt x="2007" y="6406"/>
                    <a:pt x="2007" y="6406"/>
                  </a:cubicBezTo>
                  <a:cubicBezTo>
                    <a:pt x="2007" y="6406"/>
                    <a:pt x="2008" y="6405"/>
                    <a:pt x="2009" y="6403"/>
                  </a:cubicBezTo>
                  <a:cubicBezTo>
                    <a:pt x="2265" y="6549"/>
                    <a:pt x="2265" y="6549"/>
                    <a:pt x="2265" y="6549"/>
                  </a:cubicBezTo>
                  <a:cubicBezTo>
                    <a:pt x="2244" y="6582"/>
                    <a:pt x="2222" y="6617"/>
                    <a:pt x="2199" y="6652"/>
                  </a:cubicBezTo>
                  <a:cubicBezTo>
                    <a:pt x="2117" y="6778"/>
                    <a:pt x="2034" y="6906"/>
                    <a:pt x="1996" y="6962"/>
                  </a:cubicBezTo>
                  <a:cubicBezTo>
                    <a:pt x="1933" y="6925"/>
                    <a:pt x="1825" y="6862"/>
                    <a:pt x="1723" y="6802"/>
                  </a:cubicBezTo>
                  <a:cubicBezTo>
                    <a:pt x="1623" y="6743"/>
                    <a:pt x="1528" y="6687"/>
                    <a:pt x="1483" y="6660"/>
                  </a:cubicBezTo>
                  <a:lnTo>
                    <a:pt x="1719" y="6238"/>
                  </a:lnTo>
                  <a:close/>
                  <a:moveTo>
                    <a:pt x="1944" y="7007"/>
                  </a:moveTo>
                  <a:cubicBezTo>
                    <a:pt x="1977" y="7026"/>
                    <a:pt x="2002" y="7041"/>
                    <a:pt x="2015" y="7047"/>
                  </a:cubicBezTo>
                  <a:cubicBezTo>
                    <a:pt x="2048" y="7065"/>
                    <a:pt x="2129" y="7121"/>
                    <a:pt x="2210" y="7179"/>
                  </a:cubicBezTo>
                  <a:cubicBezTo>
                    <a:pt x="2211" y="7180"/>
                    <a:pt x="2211" y="7180"/>
                    <a:pt x="2212" y="7180"/>
                  </a:cubicBezTo>
                  <a:cubicBezTo>
                    <a:pt x="1867" y="7558"/>
                    <a:pt x="1867" y="7558"/>
                    <a:pt x="1867" y="7558"/>
                  </a:cubicBezTo>
                  <a:cubicBezTo>
                    <a:pt x="1854" y="7541"/>
                    <a:pt x="1823" y="7504"/>
                    <a:pt x="1792" y="7465"/>
                  </a:cubicBezTo>
                  <a:cubicBezTo>
                    <a:pt x="1752" y="7417"/>
                    <a:pt x="1711" y="7366"/>
                    <a:pt x="1707" y="7359"/>
                  </a:cubicBezTo>
                  <a:cubicBezTo>
                    <a:pt x="1706" y="7358"/>
                    <a:pt x="1706" y="7357"/>
                    <a:pt x="1705" y="7356"/>
                  </a:cubicBezTo>
                  <a:cubicBezTo>
                    <a:pt x="1705" y="7356"/>
                    <a:pt x="1704" y="7356"/>
                    <a:pt x="1704" y="7356"/>
                  </a:cubicBezTo>
                  <a:cubicBezTo>
                    <a:pt x="1706" y="7354"/>
                    <a:pt x="1707" y="7352"/>
                    <a:pt x="1709" y="7349"/>
                  </a:cubicBezTo>
                  <a:cubicBezTo>
                    <a:pt x="1724" y="7328"/>
                    <a:pt x="1744" y="7299"/>
                    <a:pt x="1766" y="7267"/>
                  </a:cubicBezTo>
                  <a:cubicBezTo>
                    <a:pt x="1810" y="7203"/>
                    <a:pt x="1862" y="7124"/>
                    <a:pt x="1901" y="7068"/>
                  </a:cubicBezTo>
                  <a:cubicBezTo>
                    <a:pt x="1919" y="7042"/>
                    <a:pt x="1935" y="7020"/>
                    <a:pt x="1944" y="7007"/>
                  </a:cubicBezTo>
                  <a:close/>
                  <a:moveTo>
                    <a:pt x="1876" y="7572"/>
                  </a:moveTo>
                  <a:cubicBezTo>
                    <a:pt x="1876" y="7569"/>
                    <a:pt x="1876" y="7569"/>
                    <a:pt x="1876" y="7569"/>
                  </a:cubicBezTo>
                  <a:cubicBezTo>
                    <a:pt x="1876" y="7568"/>
                    <a:pt x="1876" y="7568"/>
                    <a:pt x="1876" y="7568"/>
                  </a:cubicBezTo>
                  <a:cubicBezTo>
                    <a:pt x="2223" y="7189"/>
                    <a:pt x="2223" y="7189"/>
                    <a:pt x="2223" y="7189"/>
                  </a:cubicBezTo>
                  <a:cubicBezTo>
                    <a:pt x="2286" y="7234"/>
                    <a:pt x="2347" y="7279"/>
                    <a:pt x="2391" y="7310"/>
                  </a:cubicBezTo>
                  <a:cubicBezTo>
                    <a:pt x="2391" y="7311"/>
                    <a:pt x="2390" y="7312"/>
                    <a:pt x="2390" y="7313"/>
                  </a:cubicBezTo>
                  <a:cubicBezTo>
                    <a:pt x="2384" y="7326"/>
                    <a:pt x="2377" y="7344"/>
                    <a:pt x="2369" y="7366"/>
                  </a:cubicBezTo>
                  <a:cubicBezTo>
                    <a:pt x="2353" y="7408"/>
                    <a:pt x="2331" y="7465"/>
                    <a:pt x="2311" y="7522"/>
                  </a:cubicBezTo>
                  <a:cubicBezTo>
                    <a:pt x="2273" y="7625"/>
                    <a:pt x="2236" y="7728"/>
                    <a:pt x="2229" y="7745"/>
                  </a:cubicBezTo>
                  <a:cubicBezTo>
                    <a:pt x="2216" y="7753"/>
                    <a:pt x="2146" y="7789"/>
                    <a:pt x="2075" y="7826"/>
                  </a:cubicBezTo>
                  <a:cubicBezTo>
                    <a:pt x="2011" y="7859"/>
                    <a:pt x="1945" y="7894"/>
                    <a:pt x="1918" y="7908"/>
                  </a:cubicBezTo>
                  <a:cubicBezTo>
                    <a:pt x="1911" y="7905"/>
                    <a:pt x="1895" y="7898"/>
                    <a:pt x="1879" y="7891"/>
                  </a:cubicBezTo>
                  <a:cubicBezTo>
                    <a:pt x="1863" y="7884"/>
                    <a:pt x="1846" y="7877"/>
                    <a:pt x="1838" y="7873"/>
                  </a:cubicBezTo>
                  <a:cubicBezTo>
                    <a:pt x="1838" y="7871"/>
                    <a:pt x="1839" y="7869"/>
                    <a:pt x="1839" y="7865"/>
                  </a:cubicBezTo>
                  <a:cubicBezTo>
                    <a:pt x="1841" y="7857"/>
                    <a:pt x="1842" y="7845"/>
                    <a:pt x="1844" y="7831"/>
                  </a:cubicBezTo>
                  <a:cubicBezTo>
                    <a:pt x="1848" y="7802"/>
                    <a:pt x="1853" y="7763"/>
                    <a:pt x="1858" y="7725"/>
                  </a:cubicBezTo>
                  <a:cubicBezTo>
                    <a:pt x="1867" y="7649"/>
                    <a:pt x="1876" y="7572"/>
                    <a:pt x="1876" y="7572"/>
                  </a:cubicBezTo>
                  <a:close/>
                  <a:moveTo>
                    <a:pt x="1839" y="7892"/>
                  </a:moveTo>
                  <a:cubicBezTo>
                    <a:pt x="1847" y="7895"/>
                    <a:pt x="1859" y="7900"/>
                    <a:pt x="1870" y="7905"/>
                  </a:cubicBezTo>
                  <a:cubicBezTo>
                    <a:pt x="1884" y="7911"/>
                    <a:pt x="1897" y="7917"/>
                    <a:pt x="1906" y="7920"/>
                  </a:cubicBezTo>
                  <a:cubicBezTo>
                    <a:pt x="1906" y="7927"/>
                    <a:pt x="1906" y="7927"/>
                    <a:pt x="1906" y="7927"/>
                  </a:cubicBezTo>
                  <a:cubicBezTo>
                    <a:pt x="1906" y="7927"/>
                    <a:pt x="1906" y="7927"/>
                    <a:pt x="1907" y="7927"/>
                  </a:cubicBezTo>
                  <a:cubicBezTo>
                    <a:pt x="1865" y="8067"/>
                    <a:pt x="1865" y="8067"/>
                    <a:pt x="1865" y="8067"/>
                  </a:cubicBezTo>
                  <a:cubicBezTo>
                    <a:pt x="2103" y="8179"/>
                    <a:pt x="2103" y="8179"/>
                    <a:pt x="2103" y="8179"/>
                  </a:cubicBezTo>
                  <a:cubicBezTo>
                    <a:pt x="1990" y="8255"/>
                    <a:pt x="1990" y="8255"/>
                    <a:pt x="1990" y="8255"/>
                  </a:cubicBezTo>
                  <a:cubicBezTo>
                    <a:pt x="1665" y="8280"/>
                    <a:pt x="1665" y="8280"/>
                    <a:pt x="1665" y="8280"/>
                  </a:cubicBezTo>
                  <a:cubicBezTo>
                    <a:pt x="1538" y="8123"/>
                    <a:pt x="1538" y="8123"/>
                    <a:pt x="1538" y="8123"/>
                  </a:cubicBezTo>
                  <a:cubicBezTo>
                    <a:pt x="1547" y="8116"/>
                    <a:pt x="1558" y="8106"/>
                    <a:pt x="1571" y="8095"/>
                  </a:cubicBezTo>
                  <a:cubicBezTo>
                    <a:pt x="1601" y="8071"/>
                    <a:pt x="1639" y="8039"/>
                    <a:pt x="1678" y="8008"/>
                  </a:cubicBezTo>
                  <a:cubicBezTo>
                    <a:pt x="1745" y="7954"/>
                    <a:pt x="1812" y="7901"/>
                    <a:pt x="1829" y="7887"/>
                  </a:cubicBezTo>
                  <a:cubicBezTo>
                    <a:pt x="1832" y="7888"/>
                    <a:pt x="1835" y="7890"/>
                    <a:pt x="1839" y="7892"/>
                  </a:cubicBezTo>
                  <a:close/>
                  <a:moveTo>
                    <a:pt x="1669" y="8325"/>
                  </a:moveTo>
                  <a:cubicBezTo>
                    <a:pt x="1871" y="8309"/>
                    <a:pt x="1871" y="8309"/>
                    <a:pt x="1871" y="8309"/>
                  </a:cubicBezTo>
                  <a:cubicBezTo>
                    <a:pt x="2030" y="8655"/>
                    <a:pt x="2030" y="8655"/>
                    <a:pt x="2030" y="8655"/>
                  </a:cubicBezTo>
                  <a:cubicBezTo>
                    <a:pt x="1695" y="8796"/>
                    <a:pt x="1695" y="8796"/>
                    <a:pt x="1695" y="8796"/>
                  </a:cubicBezTo>
                  <a:cubicBezTo>
                    <a:pt x="1608" y="8903"/>
                    <a:pt x="1608" y="8903"/>
                    <a:pt x="1608" y="8903"/>
                  </a:cubicBezTo>
                  <a:cubicBezTo>
                    <a:pt x="1551" y="8780"/>
                    <a:pt x="1497" y="8662"/>
                    <a:pt x="1487" y="8638"/>
                  </a:cubicBezTo>
                  <a:cubicBezTo>
                    <a:pt x="1501" y="8613"/>
                    <a:pt x="1516" y="8587"/>
                    <a:pt x="1532" y="8561"/>
                  </a:cubicBezTo>
                  <a:cubicBezTo>
                    <a:pt x="1591" y="8459"/>
                    <a:pt x="1650" y="8357"/>
                    <a:pt x="1669" y="8325"/>
                  </a:cubicBezTo>
                  <a:close/>
                  <a:moveTo>
                    <a:pt x="1996" y="8849"/>
                  </a:moveTo>
                  <a:cubicBezTo>
                    <a:pt x="1903" y="8898"/>
                    <a:pt x="1903" y="8898"/>
                    <a:pt x="1903" y="8898"/>
                  </a:cubicBezTo>
                  <a:cubicBezTo>
                    <a:pt x="1870" y="8829"/>
                    <a:pt x="1840" y="8767"/>
                    <a:pt x="1834" y="8756"/>
                  </a:cubicBezTo>
                  <a:cubicBezTo>
                    <a:pt x="1935" y="8713"/>
                    <a:pt x="1935" y="8713"/>
                    <a:pt x="1935" y="8713"/>
                  </a:cubicBezTo>
                  <a:cubicBezTo>
                    <a:pt x="1999" y="8847"/>
                    <a:pt x="1999" y="8847"/>
                    <a:pt x="1999" y="8847"/>
                  </a:cubicBezTo>
                  <a:cubicBezTo>
                    <a:pt x="1996" y="8849"/>
                    <a:pt x="1996" y="8849"/>
                    <a:pt x="1996" y="8849"/>
                  </a:cubicBezTo>
                  <a:close/>
                  <a:moveTo>
                    <a:pt x="1712" y="8807"/>
                  </a:moveTo>
                  <a:cubicBezTo>
                    <a:pt x="1819" y="8762"/>
                    <a:pt x="1819" y="8762"/>
                    <a:pt x="1819" y="8762"/>
                  </a:cubicBezTo>
                  <a:cubicBezTo>
                    <a:pt x="1823" y="8771"/>
                    <a:pt x="1859" y="8844"/>
                    <a:pt x="1896" y="8921"/>
                  </a:cubicBezTo>
                  <a:cubicBezTo>
                    <a:pt x="1789" y="8972"/>
                    <a:pt x="1789" y="8972"/>
                    <a:pt x="1789" y="8972"/>
                  </a:cubicBezTo>
                  <a:lnTo>
                    <a:pt x="1712" y="8807"/>
                  </a:lnTo>
                  <a:close/>
                  <a:moveTo>
                    <a:pt x="1762" y="8952"/>
                  </a:moveTo>
                  <a:cubicBezTo>
                    <a:pt x="1756" y="8943"/>
                    <a:pt x="1756" y="8943"/>
                    <a:pt x="1756" y="8943"/>
                  </a:cubicBezTo>
                  <a:cubicBezTo>
                    <a:pt x="1650" y="8993"/>
                    <a:pt x="1650" y="8993"/>
                    <a:pt x="1650" y="8993"/>
                  </a:cubicBezTo>
                  <a:cubicBezTo>
                    <a:pt x="1641" y="8974"/>
                    <a:pt x="1632" y="8955"/>
                    <a:pt x="1623" y="8935"/>
                  </a:cubicBezTo>
                  <a:cubicBezTo>
                    <a:pt x="1621" y="8930"/>
                    <a:pt x="1618" y="8925"/>
                    <a:pt x="1616" y="8919"/>
                  </a:cubicBezTo>
                  <a:cubicBezTo>
                    <a:pt x="1699" y="8818"/>
                    <a:pt x="1699" y="8818"/>
                    <a:pt x="1699" y="8818"/>
                  </a:cubicBezTo>
                  <a:lnTo>
                    <a:pt x="1762" y="8952"/>
                  </a:lnTo>
                  <a:close/>
                  <a:moveTo>
                    <a:pt x="1950" y="8707"/>
                  </a:moveTo>
                  <a:cubicBezTo>
                    <a:pt x="2037" y="8670"/>
                    <a:pt x="2037" y="8670"/>
                    <a:pt x="2037" y="8670"/>
                  </a:cubicBezTo>
                  <a:cubicBezTo>
                    <a:pt x="2091" y="8788"/>
                    <a:pt x="2091" y="8788"/>
                    <a:pt x="2091" y="8788"/>
                  </a:cubicBezTo>
                  <a:cubicBezTo>
                    <a:pt x="2009" y="8829"/>
                    <a:pt x="2009" y="8829"/>
                    <a:pt x="2009" y="8829"/>
                  </a:cubicBezTo>
                  <a:lnTo>
                    <a:pt x="1950" y="8707"/>
                  </a:lnTo>
                  <a:close/>
                  <a:moveTo>
                    <a:pt x="1605" y="8935"/>
                  </a:moveTo>
                  <a:cubicBezTo>
                    <a:pt x="1618" y="8962"/>
                    <a:pt x="1630" y="8989"/>
                    <a:pt x="1642" y="9015"/>
                  </a:cubicBezTo>
                  <a:cubicBezTo>
                    <a:pt x="1547" y="9063"/>
                    <a:pt x="1547" y="9063"/>
                    <a:pt x="1547" y="9063"/>
                  </a:cubicBezTo>
                  <a:cubicBezTo>
                    <a:pt x="1512" y="8988"/>
                    <a:pt x="1512" y="8988"/>
                    <a:pt x="1512" y="8988"/>
                  </a:cubicBezTo>
                  <a:cubicBezTo>
                    <a:pt x="1603" y="8931"/>
                    <a:pt x="1603" y="8931"/>
                    <a:pt x="1603" y="8931"/>
                  </a:cubicBezTo>
                  <a:cubicBezTo>
                    <a:pt x="1604" y="8932"/>
                    <a:pt x="1605" y="8934"/>
                    <a:pt x="1605" y="8935"/>
                  </a:cubicBezTo>
                  <a:close/>
                  <a:moveTo>
                    <a:pt x="1532" y="9070"/>
                  </a:moveTo>
                  <a:cubicBezTo>
                    <a:pt x="1531" y="9071"/>
                    <a:pt x="1531" y="9071"/>
                    <a:pt x="1531" y="9071"/>
                  </a:cubicBezTo>
                  <a:cubicBezTo>
                    <a:pt x="1536" y="9086"/>
                    <a:pt x="1536" y="9086"/>
                    <a:pt x="1536" y="9086"/>
                  </a:cubicBezTo>
                  <a:cubicBezTo>
                    <a:pt x="1533" y="9088"/>
                    <a:pt x="1533" y="9088"/>
                    <a:pt x="1533" y="9088"/>
                  </a:cubicBezTo>
                  <a:cubicBezTo>
                    <a:pt x="1533" y="9088"/>
                    <a:pt x="1533" y="9088"/>
                    <a:pt x="1533" y="9088"/>
                  </a:cubicBezTo>
                  <a:cubicBezTo>
                    <a:pt x="1427" y="9139"/>
                    <a:pt x="1427" y="9139"/>
                    <a:pt x="1427" y="9139"/>
                  </a:cubicBezTo>
                  <a:cubicBezTo>
                    <a:pt x="1391" y="9063"/>
                    <a:pt x="1391" y="9063"/>
                    <a:pt x="1391" y="9063"/>
                  </a:cubicBezTo>
                  <a:cubicBezTo>
                    <a:pt x="1498" y="8996"/>
                    <a:pt x="1498" y="8996"/>
                    <a:pt x="1498" y="8996"/>
                  </a:cubicBezTo>
                  <a:lnTo>
                    <a:pt x="1532" y="9070"/>
                  </a:lnTo>
                  <a:close/>
                  <a:moveTo>
                    <a:pt x="1419" y="9161"/>
                  </a:moveTo>
                  <a:cubicBezTo>
                    <a:pt x="1310" y="9215"/>
                    <a:pt x="1310" y="9215"/>
                    <a:pt x="1310" y="9215"/>
                  </a:cubicBezTo>
                  <a:cubicBezTo>
                    <a:pt x="1274" y="9136"/>
                    <a:pt x="1274" y="9136"/>
                    <a:pt x="1274" y="9136"/>
                  </a:cubicBezTo>
                  <a:cubicBezTo>
                    <a:pt x="1377" y="9072"/>
                    <a:pt x="1377" y="9072"/>
                    <a:pt x="1377" y="9072"/>
                  </a:cubicBezTo>
                  <a:lnTo>
                    <a:pt x="1419" y="9161"/>
                  </a:lnTo>
                  <a:close/>
                  <a:moveTo>
                    <a:pt x="1301" y="9251"/>
                  </a:moveTo>
                  <a:cubicBezTo>
                    <a:pt x="1341" y="9323"/>
                    <a:pt x="1341" y="9323"/>
                    <a:pt x="1341" y="9323"/>
                  </a:cubicBezTo>
                  <a:cubicBezTo>
                    <a:pt x="1352" y="9348"/>
                    <a:pt x="1352" y="9348"/>
                    <a:pt x="1352" y="9348"/>
                  </a:cubicBezTo>
                  <a:cubicBezTo>
                    <a:pt x="1347" y="9350"/>
                    <a:pt x="1347" y="9350"/>
                    <a:pt x="1347" y="9350"/>
                  </a:cubicBezTo>
                  <a:cubicBezTo>
                    <a:pt x="1353" y="9363"/>
                    <a:pt x="1353" y="9363"/>
                    <a:pt x="1353" y="9363"/>
                  </a:cubicBezTo>
                  <a:cubicBezTo>
                    <a:pt x="1354" y="9364"/>
                    <a:pt x="1354" y="9364"/>
                    <a:pt x="1354" y="9364"/>
                  </a:cubicBezTo>
                  <a:cubicBezTo>
                    <a:pt x="1260" y="9411"/>
                    <a:pt x="1260" y="9411"/>
                    <a:pt x="1260" y="9411"/>
                  </a:cubicBezTo>
                  <a:cubicBezTo>
                    <a:pt x="1206" y="9299"/>
                    <a:pt x="1206" y="9299"/>
                    <a:pt x="1206" y="9299"/>
                  </a:cubicBezTo>
                  <a:lnTo>
                    <a:pt x="1301" y="9251"/>
                  </a:lnTo>
                  <a:close/>
                  <a:moveTo>
                    <a:pt x="1316" y="9227"/>
                  </a:moveTo>
                  <a:cubicBezTo>
                    <a:pt x="1425" y="9174"/>
                    <a:pt x="1425" y="9174"/>
                    <a:pt x="1425" y="9174"/>
                  </a:cubicBezTo>
                  <a:cubicBezTo>
                    <a:pt x="1477" y="9287"/>
                    <a:pt x="1477" y="9287"/>
                    <a:pt x="1477" y="9287"/>
                  </a:cubicBezTo>
                  <a:cubicBezTo>
                    <a:pt x="1367" y="9341"/>
                    <a:pt x="1367" y="9341"/>
                    <a:pt x="1367" y="9341"/>
                  </a:cubicBezTo>
                  <a:lnTo>
                    <a:pt x="1316" y="9227"/>
                  </a:lnTo>
                  <a:close/>
                  <a:moveTo>
                    <a:pt x="1439" y="9167"/>
                  </a:moveTo>
                  <a:cubicBezTo>
                    <a:pt x="1440" y="9166"/>
                    <a:pt x="1440" y="9166"/>
                    <a:pt x="1440" y="9166"/>
                  </a:cubicBezTo>
                  <a:cubicBezTo>
                    <a:pt x="1437" y="9155"/>
                    <a:pt x="1437" y="9155"/>
                    <a:pt x="1437" y="9155"/>
                  </a:cubicBezTo>
                  <a:cubicBezTo>
                    <a:pt x="1436" y="9151"/>
                    <a:pt x="1436" y="9151"/>
                    <a:pt x="1436" y="9151"/>
                  </a:cubicBezTo>
                  <a:cubicBezTo>
                    <a:pt x="1540" y="9100"/>
                    <a:pt x="1540" y="9100"/>
                    <a:pt x="1540" y="9100"/>
                  </a:cubicBezTo>
                  <a:cubicBezTo>
                    <a:pt x="1577" y="9166"/>
                    <a:pt x="1577" y="9166"/>
                    <a:pt x="1577" y="9166"/>
                  </a:cubicBezTo>
                  <a:cubicBezTo>
                    <a:pt x="1591" y="9196"/>
                    <a:pt x="1591" y="9196"/>
                    <a:pt x="1591" y="9196"/>
                  </a:cubicBezTo>
                  <a:cubicBezTo>
                    <a:pt x="1587" y="9198"/>
                    <a:pt x="1587" y="9198"/>
                    <a:pt x="1587" y="9198"/>
                  </a:cubicBezTo>
                  <a:cubicBezTo>
                    <a:pt x="1590" y="9209"/>
                    <a:pt x="1590" y="9209"/>
                    <a:pt x="1590" y="9209"/>
                  </a:cubicBezTo>
                  <a:cubicBezTo>
                    <a:pt x="1592" y="9213"/>
                    <a:pt x="1592" y="9213"/>
                    <a:pt x="1592" y="9213"/>
                  </a:cubicBezTo>
                  <a:cubicBezTo>
                    <a:pt x="1486" y="9265"/>
                    <a:pt x="1486" y="9265"/>
                    <a:pt x="1486" y="9265"/>
                  </a:cubicBezTo>
                  <a:cubicBezTo>
                    <a:pt x="1485" y="9265"/>
                    <a:pt x="1485" y="9265"/>
                    <a:pt x="1485" y="9265"/>
                  </a:cubicBezTo>
                  <a:cubicBezTo>
                    <a:pt x="1484" y="9262"/>
                    <a:pt x="1484" y="9262"/>
                    <a:pt x="1484" y="9262"/>
                  </a:cubicBezTo>
                  <a:lnTo>
                    <a:pt x="1439" y="9167"/>
                  </a:lnTo>
                  <a:close/>
                  <a:moveTo>
                    <a:pt x="1553" y="9075"/>
                  </a:moveTo>
                  <a:cubicBezTo>
                    <a:pt x="1648" y="9028"/>
                    <a:pt x="1648" y="9028"/>
                    <a:pt x="1648" y="9028"/>
                  </a:cubicBezTo>
                  <a:cubicBezTo>
                    <a:pt x="1665" y="9063"/>
                    <a:pt x="1680" y="9096"/>
                    <a:pt x="1694" y="9125"/>
                  </a:cubicBezTo>
                  <a:cubicBezTo>
                    <a:pt x="1691" y="9126"/>
                    <a:pt x="1691" y="9126"/>
                    <a:pt x="1691" y="9126"/>
                  </a:cubicBezTo>
                  <a:cubicBezTo>
                    <a:pt x="1698" y="9139"/>
                    <a:pt x="1698" y="9139"/>
                    <a:pt x="1698" y="9139"/>
                  </a:cubicBezTo>
                  <a:cubicBezTo>
                    <a:pt x="1699" y="9141"/>
                    <a:pt x="1699" y="9141"/>
                    <a:pt x="1699" y="9141"/>
                  </a:cubicBezTo>
                  <a:cubicBezTo>
                    <a:pt x="1605" y="9188"/>
                    <a:pt x="1605" y="9188"/>
                    <a:pt x="1605" y="9188"/>
                  </a:cubicBezTo>
                  <a:lnTo>
                    <a:pt x="1553" y="9075"/>
                  </a:lnTo>
                  <a:close/>
                  <a:moveTo>
                    <a:pt x="1663" y="9020"/>
                  </a:moveTo>
                  <a:cubicBezTo>
                    <a:pt x="1665" y="9019"/>
                    <a:pt x="1665" y="9019"/>
                    <a:pt x="1665" y="9019"/>
                  </a:cubicBezTo>
                  <a:cubicBezTo>
                    <a:pt x="1658" y="9006"/>
                    <a:pt x="1658" y="9006"/>
                    <a:pt x="1658" y="9006"/>
                  </a:cubicBezTo>
                  <a:cubicBezTo>
                    <a:pt x="1657" y="9005"/>
                    <a:pt x="1657" y="9005"/>
                    <a:pt x="1657" y="9005"/>
                  </a:cubicBezTo>
                  <a:cubicBezTo>
                    <a:pt x="1750" y="8961"/>
                    <a:pt x="1750" y="8961"/>
                    <a:pt x="1750" y="8961"/>
                  </a:cubicBezTo>
                  <a:cubicBezTo>
                    <a:pt x="1765" y="8985"/>
                    <a:pt x="1765" y="8985"/>
                    <a:pt x="1765" y="8985"/>
                  </a:cubicBezTo>
                  <a:cubicBezTo>
                    <a:pt x="1771" y="8996"/>
                    <a:pt x="1771" y="8996"/>
                    <a:pt x="1771" y="8996"/>
                  </a:cubicBezTo>
                  <a:cubicBezTo>
                    <a:pt x="1778" y="8993"/>
                    <a:pt x="1778" y="8993"/>
                    <a:pt x="1778" y="8993"/>
                  </a:cubicBezTo>
                  <a:cubicBezTo>
                    <a:pt x="1802" y="9039"/>
                    <a:pt x="1802" y="9039"/>
                    <a:pt x="1802" y="9039"/>
                  </a:cubicBezTo>
                  <a:cubicBezTo>
                    <a:pt x="1816" y="9068"/>
                    <a:pt x="1816" y="9068"/>
                    <a:pt x="1816" y="9068"/>
                  </a:cubicBezTo>
                  <a:cubicBezTo>
                    <a:pt x="1709" y="9118"/>
                    <a:pt x="1709" y="9118"/>
                    <a:pt x="1709" y="9118"/>
                  </a:cubicBezTo>
                  <a:cubicBezTo>
                    <a:pt x="1695" y="9089"/>
                    <a:pt x="1680" y="9056"/>
                    <a:pt x="1663" y="9020"/>
                  </a:cubicBezTo>
                  <a:close/>
                  <a:moveTo>
                    <a:pt x="1795" y="8985"/>
                  </a:moveTo>
                  <a:cubicBezTo>
                    <a:pt x="1902" y="8933"/>
                    <a:pt x="1902" y="8933"/>
                    <a:pt x="1902" y="8933"/>
                  </a:cubicBezTo>
                  <a:cubicBezTo>
                    <a:pt x="1918" y="8968"/>
                    <a:pt x="1935" y="9002"/>
                    <a:pt x="1948" y="9030"/>
                  </a:cubicBezTo>
                  <a:cubicBezTo>
                    <a:pt x="1948" y="9030"/>
                    <a:pt x="1948" y="9030"/>
                    <a:pt x="1948" y="9030"/>
                  </a:cubicBezTo>
                  <a:cubicBezTo>
                    <a:pt x="1950" y="9035"/>
                    <a:pt x="1950" y="9035"/>
                    <a:pt x="1950" y="9035"/>
                  </a:cubicBezTo>
                  <a:cubicBezTo>
                    <a:pt x="1952" y="9039"/>
                    <a:pt x="1954" y="9042"/>
                    <a:pt x="1955" y="9046"/>
                  </a:cubicBezTo>
                  <a:cubicBezTo>
                    <a:pt x="1855" y="9094"/>
                    <a:pt x="1855" y="9094"/>
                    <a:pt x="1855" y="9094"/>
                  </a:cubicBezTo>
                  <a:cubicBezTo>
                    <a:pt x="1841" y="9070"/>
                    <a:pt x="1841" y="9070"/>
                    <a:pt x="1841" y="9070"/>
                  </a:cubicBezTo>
                  <a:cubicBezTo>
                    <a:pt x="1834" y="9059"/>
                    <a:pt x="1834" y="9059"/>
                    <a:pt x="1834" y="9059"/>
                  </a:cubicBezTo>
                  <a:cubicBezTo>
                    <a:pt x="1831" y="9061"/>
                    <a:pt x="1831" y="9061"/>
                    <a:pt x="1831" y="9061"/>
                  </a:cubicBezTo>
                  <a:lnTo>
                    <a:pt x="1795" y="8985"/>
                  </a:lnTo>
                  <a:close/>
                  <a:moveTo>
                    <a:pt x="1953" y="9004"/>
                  </a:moveTo>
                  <a:cubicBezTo>
                    <a:pt x="1942" y="8980"/>
                    <a:pt x="1929" y="8953"/>
                    <a:pt x="1916" y="8926"/>
                  </a:cubicBezTo>
                  <a:cubicBezTo>
                    <a:pt x="1921" y="8924"/>
                    <a:pt x="1921" y="8924"/>
                    <a:pt x="1921" y="8924"/>
                  </a:cubicBezTo>
                  <a:cubicBezTo>
                    <a:pt x="1914" y="8911"/>
                    <a:pt x="1914" y="8911"/>
                    <a:pt x="1914" y="8911"/>
                  </a:cubicBezTo>
                  <a:cubicBezTo>
                    <a:pt x="1913" y="8908"/>
                    <a:pt x="1913" y="8908"/>
                    <a:pt x="1913" y="8908"/>
                  </a:cubicBezTo>
                  <a:cubicBezTo>
                    <a:pt x="2003" y="8861"/>
                    <a:pt x="2003" y="8861"/>
                    <a:pt x="2003" y="8861"/>
                  </a:cubicBezTo>
                  <a:cubicBezTo>
                    <a:pt x="2022" y="8895"/>
                    <a:pt x="2022" y="8895"/>
                    <a:pt x="2022" y="8895"/>
                  </a:cubicBezTo>
                  <a:cubicBezTo>
                    <a:pt x="2054" y="8961"/>
                    <a:pt x="2054" y="8961"/>
                    <a:pt x="2054" y="8961"/>
                  </a:cubicBezTo>
                  <a:cubicBezTo>
                    <a:pt x="2052" y="8962"/>
                    <a:pt x="2052" y="8962"/>
                    <a:pt x="2052" y="8962"/>
                  </a:cubicBezTo>
                  <a:cubicBezTo>
                    <a:pt x="2056" y="8974"/>
                    <a:pt x="2056" y="8974"/>
                    <a:pt x="2056" y="8974"/>
                  </a:cubicBezTo>
                  <a:cubicBezTo>
                    <a:pt x="2056" y="8974"/>
                    <a:pt x="2056" y="8974"/>
                    <a:pt x="2056" y="8974"/>
                  </a:cubicBezTo>
                  <a:cubicBezTo>
                    <a:pt x="1963" y="9022"/>
                    <a:pt x="1963" y="9022"/>
                    <a:pt x="1963" y="9022"/>
                  </a:cubicBezTo>
                  <a:lnTo>
                    <a:pt x="1953" y="9004"/>
                  </a:lnTo>
                  <a:close/>
                  <a:moveTo>
                    <a:pt x="2015" y="8841"/>
                  </a:moveTo>
                  <a:cubicBezTo>
                    <a:pt x="2095" y="8801"/>
                    <a:pt x="2095" y="8801"/>
                    <a:pt x="2095" y="8801"/>
                  </a:cubicBezTo>
                  <a:cubicBezTo>
                    <a:pt x="2110" y="8830"/>
                    <a:pt x="2110" y="8830"/>
                    <a:pt x="2110" y="8830"/>
                  </a:cubicBezTo>
                  <a:cubicBezTo>
                    <a:pt x="2149" y="8914"/>
                    <a:pt x="2149" y="8914"/>
                    <a:pt x="2149" y="8914"/>
                  </a:cubicBezTo>
                  <a:cubicBezTo>
                    <a:pt x="2069" y="8954"/>
                    <a:pt x="2069" y="8954"/>
                    <a:pt x="2069" y="8954"/>
                  </a:cubicBezTo>
                  <a:lnTo>
                    <a:pt x="2015" y="8841"/>
                  </a:lnTo>
                  <a:close/>
                  <a:moveTo>
                    <a:pt x="2141" y="8857"/>
                  </a:moveTo>
                  <a:cubicBezTo>
                    <a:pt x="2022" y="8599"/>
                    <a:pt x="2022" y="8599"/>
                    <a:pt x="2022" y="8599"/>
                  </a:cubicBezTo>
                  <a:cubicBezTo>
                    <a:pt x="2028" y="8596"/>
                    <a:pt x="2035" y="8592"/>
                    <a:pt x="2044" y="8588"/>
                  </a:cubicBezTo>
                  <a:cubicBezTo>
                    <a:pt x="2056" y="8582"/>
                    <a:pt x="2070" y="8575"/>
                    <a:pt x="2085" y="8568"/>
                  </a:cubicBezTo>
                  <a:cubicBezTo>
                    <a:pt x="2134" y="8665"/>
                    <a:pt x="2134" y="8665"/>
                    <a:pt x="2134" y="8665"/>
                  </a:cubicBezTo>
                  <a:cubicBezTo>
                    <a:pt x="2157" y="8656"/>
                    <a:pt x="2157" y="8656"/>
                    <a:pt x="2157" y="8656"/>
                  </a:cubicBezTo>
                  <a:cubicBezTo>
                    <a:pt x="2180" y="8700"/>
                    <a:pt x="2180" y="8700"/>
                    <a:pt x="2180" y="8700"/>
                  </a:cubicBezTo>
                  <a:cubicBezTo>
                    <a:pt x="2264" y="8661"/>
                    <a:pt x="2264" y="8661"/>
                    <a:pt x="2264" y="8661"/>
                  </a:cubicBezTo>
                  <a:cubicBezTo>
                    <a:pt x="2280" y="8696"/>
                    <a:pt x="2280" y="8696"/>
                    <a:pt x="2280" y="8696"/>
                  </a:cubicBezTo>
                  <a:cubicBezTo>
                    <a:pt x="2310" y="8678"/>
                    <a:pt x="2310" y="8678"/>
                    <a:pt x="2310" y="8678"/>
                  </a:cubicBezTo>
                  <a:cubicBezTo>
                    <a:pt x="2284" y="8629"/>
                    <a:pt x="2284" y="8629"/>
                    <a:pt x="2284" y="8629"/>
                  </a:cubicBezTo>
                  <a:cubicBezTo>
                    <a:pt x="2299" y="8619"/>
                    <a:pt x="2299" y="8619"/>
                    <a:pt x="2299" y="8619"/>
                  </a:cubicBezTo>
                  <a:cubicBezTo>
                    <a:pt x="2292" y="8590"/>
                    <a:pt x="2292" y="8590"/>
                    <a:pt x="2292" y="8590"/>
                  </a:cubicBezTo>
                  <a:cubicBezTo>
                    <a:pt x="2408" y="8536"/>
                    <a:pt x="2408" y="8536"/>
                    <a:pt x="2408" y="8536"/>
                  </a:cubicBezTo>
                  <a:cubicBezTo>
                    <a:pt x="2360" y="8435"/>
                    <a:pt x="2360" y="8435"/>
                    <a:pt x="2360" y="8435"/>
                  </a:cubicBezTo>
                  <a:cubicBezTo>
                    <a:pt x="2373" y="8429"/>
                    <a:pt x="2383" y="8424"/>
                    <a:pt x="2388" y="8421"/>
                  </a:cubicBezTo>
                  <a:cubicBezTo>
                    <a:pt x="2388" y="8421"/>
                    <a:pt x="2389" y="8422"/>
                    <a:pt x="2389" y="8422"/>
                  </a:cubicBezTo>
                  <a:cubicBezTo>
                    <a:pt x="2507" y="8666"/>
                    <a:pt x="2507" y="8666"/>
                    <a:pt x="2507" y="8666"/>
                  </a:cubicBezTo>
                  <a:cubicBezTo>
                    <a:pt x="2482" y="8680"/>
                    <a:pt x="2305" y="8781"/>
                    <a:pt x="2209" y="8838"/>
                  </a:cubicBezTo>
                  <a:cubicBezTo>
                    <a:pt x="2179" y="8856"/>
                    <a:pt x="2159" y="8868"/>
                    <a:pt x="2150" y="8874"/>
                  </a:cubicBezTo>
                  <a:lnTo>
                    <a:pt x="2141" y="8857"/>
                  </a:lnTo>
                  <a:close/>
                  <a:moveTo>
                    <a:pt x="2278" y="8594"/>
                  </a:moveTo>
                  <a:cubicBezTo>
                    <a:pt x="2283" y="8613"/>
                    <a:pt x="2283" y="8613"/>
                    <a:pt x="2283" y="8613"/>
                  </a:cubicBezTo>
                  <a:cubicBezTo>
                    <a:pt x="2276" y="8618"/>
                    <a:pt x="2276" y="8618"/>
                    <a:pt x="2276" y="8618"/>
                  </a:cubicBezTo>
                  <a:cubicBezTo>
                    <a:pt x="2266" y="8625"/>
                    <a:pt x="2266" y="8625"/>
                    <a:pt x="2266" y="8625"/>
                  </a:cubicBezTo>
                  <a:cubicBezTo>
                    <a:pt x="2272" y="8636"/>
                    <a:pt x="2272" y="8636"/>
                    <a:pt x="2272" y="8636"/>
                  </a:cubicBezTo>
                  <a:cubicBezTo>
                    <a:pt x="2292" y="8673"/>
                    <a:pt x="2292" y="8673"/>
                    <a:pt x="2292" y="8673"/>
                  </a:cubicBezTo>
                  <a:cubicBezTo>
                    <a:pt x="2286" y="8676"/>
                    <a:pt x="2286" y="8676"/>
                    <a:pt x="2286" y="8676"/>
                  </a:cubicBezTo>
                  <a:cubicBezTo>
                    <a:pt x="2276" y="8655"/>
                    <a:pt x="2276" y="8655"/>
                    <a:pt x="2276" y="8655"/>
                  </a:cubicBezTo>
                  <a:cubicBezTo>
                    <a:pt x="2271" y="8643"/>
                    <a:pt x="2271" y="8643"/>
                    <a:pt x="2271" y="8643"/>
                  </a:cubicBezTo>
                  <a:cubicBezTo>
                    <a:pt x="2258" y="8649"/>
                    <a:pt x="2258" y="8649"/>
                    <a:pt x="2258" y="8649"/>
                  </a:cubicBezTo>
                  <a:cubicBezTo>
                    <a:pt x="2186" y="8682"/>
                    <a:pt x="2186" y="8682"/>
                    <a:pt x="2186" y="8682"/>
                  </a:cubicBezTo>
                  <a:cubicBezTo>
                    <a:pt x="2170" y="8650"/>
                    <a:pt x="2170" y="8650"/>
                    <a:pt x="2170" y="8650"/>
                  </a:cubicBezTo>
                  <a:cubicBezTo>
                    <a:pt x="2164" y="8638"/>
                    <a:pt x="2164" y="8638"/>
                    <a:pt x="2164" y="8638"/>
                  </a:cubicBezTo>
                  <a:cubicBezTo>
                    <a:pt x="2152" y="8643"/>
                    <a:pt x="2152" y="8643"/>
                    <a:pt x="2152" y="8643"/>
                  </a:cubicBezTo>
                  <a:cubicBezTo>
                    <a:pt x="2140" y="8648"/>
                    <a:pt x="2140" y="8648"/>
                    <a:pt x="2140" y="8648"/>
                  </a:cubicBezTo>
                  <a:cubicBezTo>
                    <a:pt x="2099" y="8565"/>
                    <a:pt x="2099" y="8565"/>
                    <a:pt x="2099" y="8565"/>
                  </a:cubicBezTo>
                  <a:cubicBezTo>
                    <a:pt x="2349" y="8443"/>
                    <a:pt x="2349" y="8443"/>
                    <a:pt x="2349" y="8443"/>
                  </a:cubicBezTo>
                  <a:cubicBezTo>
                    <a:pt x="2390" y="8529"/>
                    <a:pt x="2390" y="8529"/>
                    <a:pt x="2390" y="8529"/>
                  </a:cubicBezTo>
                  <a:cubicBezTo>
                    <a:pt x="2286" y="8578"/>
                    <a:pt x="2286" y="8578"/>
                    <a:pt x="2286" y="8578"/>
                  </a:cubicBezTo>
                  <a:cubicBezTo>
                    <a:pt x="2275" y="8583"/>
                    <a:pt x="2275" y="8583"/>
                    <a:pt x="2275" y="8583"/>
                  </a:cubicBezTo>
                  <a:lnTo>
                    <a:pt x="2278" y="8594"/>
                  </a:lnTo>
                  <a:close/>
                  <a:moveTo>
                    <a:pt x="2380" y="8407"/>
                  </a:moveTo>
                  <a:cubicBezTo>
                    <a:pt x="2378" y="8408"/>
                    <a:pt x="2376" y="8409"/>
                    <a:pt x="2373" y="8411"/>
                  </a:cubicBezTo>
                  <a:cubicBezTo>
                    <a:pt x="2368" y="8414"/>
                    <a:pt x="2359" y="8418"/>
                    <a:pt x="2349" y="8423"/>
                  </a:cubicBezTo>
                  <a:cubicBezTo>
                    <a:pt x="2328" y="8433"/>
                    <a:pt x="2298" y="8448"/>
                    <a:pt x="2266" y="8463"/>
                  </a:cubicBezTo>
                  <a:cubicBezTo>
                    <a:pt x="2200" y="8495"/>
                    <a:pt x="2122" y="8532"/>
                    <a:pt x="2068" y="8558"/>
                  </a:cubicBezTo>
                  <a:cubicBezTo>
                    <a:pt x="2044" y="8570"/>
                    <a:pt x="2027" y="8578"/>
                    <a:pt x="2015" y="8584"/>
                  </a:cubicBezTo>
                  <a:cubicBezTo>
                    <a:pt x="1888" y="8308"/>
                    <a:pt x="1888" y="8308"/>
                    <a:pt x="1888" y="8308"/>
                  </a:cubicBezTo>
                  <a:cubicBezTo>
                    <a:pt x="2004" y="8299"/>
                    <a:pt x="2004" y="8299"/>
                    <a:pt x="2004" y="8299"/>
                  </a:cubicBezTo>
                  <a:cubicBezTo>
                    <a:pt x="2250" y="8132"/>
                    <a:pt x="2250" y="8132"/>
                    <a:pt x="2250" y="8132"/>
                  </a:cubicBezTo>
                  <a:cubicBezTo>
                    <a:pt x="2382" y="8406"/>
                    <a:pt x="2382" y="8406"/>
                    <a:pt x="2382" y="8406"/>
                  </a:cubicBezTo>
                  <a:cubicBezTo>
                    <a:pt x="2381" y="8406"/>
                    <a:pt x="2380" y="8406"/>
                    <a:pt x="2380" y="8407"/>
                  </a:cubicBezTo>
                  <a:close/>
                  <a:moveTo>
                    <a:pt x="2119" y="8168"/>
                  </a:moveTo>
                  <a:cubicBezTo>
                    <a:pt x="1885" y="8058"/>
                    <a:pt x="1885" y="8058"/>
                    <a:pt x="1885" y="8058"/>
                  </a:cubicBezTo>
                  <a:cubicBezTo>
                    <a:pt x="1926" y="7919"/>
                    <a:pt x="1926" y="7919"/>
                    <a:pt x="1926" y="7919"/>
                  </a:cubicBezTo>
                  <a:cubicBezTo>
                    <a:pt x="1936" y="7914"/>
                    <a:pt x="1949" y="7908"/>
                    <a:pt x="1964" y="7900"/>
                  </a:cubicBezTo>
                  <a:cubicBezTo>
                    <a:pt x="1995" y="7884"/>
                    <a:pt x="2037" y="7862"/>
                    <a:pt x="2078" y="7841"/>
                  </a:cubicBezTo>
                  <a:cubicBezTo>
                    <a:pt x="2158" y="7798"/>
                    <a:pt x="2238" y="7756"/>
                    <a:pt x="2238" y="7756"/>
                  </a:cubicBezTo>
                  <a:cubicBezTo>
                    <a:pt x="2241" y="7755"/>
                    <a:pt x="2241" y="7755"/>
                    <a:pt x="2241" y="7755"/>
                  </a:cubicBezTo>
                  <a:cubicBezTo>
                    <a:pt x="2242" y="7753"/>
                    <a:pt x="2242" y="7753"/>
                    <a:pt x="2242" y="7753"/>
                  </a:cubicBezTo>
                  <a:cubicBezTo>
                    <a:pt x="2242" y="7752"/>
                    <a:pt x="2330" y="7507"/>
                    <a:pt x="2380" y="7377"/>
                  </a:cubicBezTo>
                  <a:cubicBezTo>
                    <a:pt x="2389" y="7353"/>
                    <a:pt x="2397" y="7332"/>
                    <a:pt x="2403" y="7319"/>
                  </a:cubicBezTo>
                  <a:cubicBezTo>
                    <a:pt x="2409" y="7323"/>
                    <a:pt x="2414" y="7327"/>
                    <a:pt x="2419" y="7330"/>
                  </a:cubicBezTo>
                  <a:cubicBezTo>
                    <a:pt x="2480" y="7373"/>
                    <a:pt x="2559" y="7436"/>
                    <a:pt x="2664" y="7478"/>
                  </a:cubicBezTo>
                  <a:cubicBezTo>
                    <a:pt x="2459" y="7940"/>
                    <a:pt x="2459" y="7940"/>
                    <a:pt x="2459" y="7940"/>
                  </a:cubicBezTo>
                  <a:lnTo>
                    <a:pt x="2119" y="8168"/>
                  </a:lnTo>
                  <a:close/>
                  <a:moveTo>
                    <a:pt x="2890" y="7516"/>
                  </a:moveTo>
                  <a:cubicBezTo>
                    <a:pt x="3045" y="7498"/>
                    <a:pt x="3176" y="7390"/>
                    <a:pt x="3245" y="7344"/>
                  </a:cubicBezTo>
                  <a:cubicBezTo>
                    <a:pt x="3246" y="7343"/>
                    <a:pt x="3247" y="7342"/>
                    <a:pt x="3248" y="7342"/>
                  </a:cubicBezTo>
                  <a:cubicBezTo>
                    <a:pt x="3419" y="7543"/>
                    <a:pt x="3419" y="7543"/>
                    <a:pt x="3419" y="7543"/>
                  </a:cubicBezTo>
                  <a:cubicBezTo>
                    <a:pt x="3045" y="7834"/>
                    <a:pt x="3045" y="7834"/>
                    <a:pt x="3045" y="7834"/>
                  </a:cubicBezTo>
                  <a:cubicBezTo>
                    <a:pt x="3006" y="7796"/>
                    <a:pt x="2979" y="7769"/>
                    <a:pt x="2979" y="7769"/>
                  </a:cubicBezTo>
                  <a:cubicBezTo>
                    <a:pt x="2974" y="7764"/>
                    <a:pt x="2974" y="7764"/>
                    <a:pt x="2974" y="7764"/>
                  </a:cubicBezTo>
                  <a:cubicBezTo>
                    <a:pt x="2974" y="7764"/>
                    <a:pt x="2974" y="7764"/>
                    <a:pt x="2974" y="7764"/>
                  </a:cubicBezTo>
                  <a:lnTo>
                    <a:pt x="2890" y="7516"/>
                  </a:lnTo>
                  <a:close/>
                  <a:moveTo>
                    <a:pt x="3261" y="7335"/>
                  </a:moveTo>
                  <a:cubicBezTo>
                    <a:pt x="3298" y="7315"/>
                    <a:pt x="3365" y="7297"/>
                    <a:pt x="3422" y="7286"/>
                  </a:cubicBezTo>
                  <a:cubicBezTo>
                    <a:pt x="3471" y="7276"/>
                    <a:pt x="3514" y="7270"/>
                    <a:pt x="3534" y="7267"/>
                  </a:cubicBezTo>
                  <a:cubicBezTo>
                    <a:pt x="3546" y="7280"/>
                    <a:pt x="3558" y="7292"/>
                    <a:pt x="3570" y="7304"/>
                  </a:cubicBezTo>
                  <a:cubicBezTo>
                    <a:pt x="3615" y="7352"/>
                    <a:pt x="3632" y="7376"/>
                    <a:pt x="3637" y="7382"/>
                  </a:cubicBezTo>
                  <a:cubicBezTo>
                    <a:pt x="3636" y="7383"/>
                    <a:pt x="3636" y="7383"/>
                    <a:pt x="3636" y="7383"/>
                  </a:cubicBezTo>
                  <a:cubicBezTo>
                    <a:pt x="3636" y="7383"/>
                    <a:pt x="3636" y="7383"/>
                    <a:pt x="3636" y="7383"/>
                  </a:cubicBezTo>
                  <a:cubicBezTo>
                    <a:pt x="3544" y="7428"/>
                    <a:pt x="3544" y="7428"/>
                    <a:pt x="3544" y="7428"/>
                  </a:cubicBezTo>
                  <a:cubicBezTo>
                    <a:pt x="3512" y="7553"/>
                    <a:pt x="3512" y="7553"/>
                    <a:pt x="3512" y="7553"/>
                  </a:cubicBezTo>
                  <a:cubicBezTo>
                    <a:pt x="3431" y="7534"/>
                    <a:pt x="3431" y="7534"/>
                    <a:pt x="3431" y="7534"/>
                  </a:cubicBezTo>
                  <a:cubicBezTo>
                    <a:pt x="3430" y="7534"/>
                    <a:pt x="3430" y="7534"/>
                    <a:pt x="3430" y="7534"/>
                  </a:cubicBezTo>
                  <a:cubicBezTo>
                    <a:pt x="3430" y="7533"/>
                    <a:pt x="3430" y="7533"/>
                    <a:pt x="3430" y="7533"/>
                  </a:cubicBezTo>
                  <a:lnTo>
                    <a:pt x="3261" y="7335"/>
                  </a:lnTo>
                  <a:close/>
                  <a:moveTo>
                    <a:pt x="3558" y="7439"/>
                  </a:moveTo>
                  <a:cubicBezTo>
                    <a:pt x="3648" y="7396"/>
                    <a:pt x="3648" y="7396"/>
                    <a:pt x="3648" y="7396"/>
                  </a:cubicBezTo>
                  <a:cubicBezTo>
                    <a:pt x="3848" y="7627"/>
                    <a:pt x="3848" y="7627"/>
                    <a:pt x="3848" y="7627"/>
                  </a:cubicBezTo>
                  <a:cubicBezTo>
                    <a:pt x="3849" y="7629"/>
                    <a:pt x="3850" y="7633"/>
                    <a:pt x="3851" y="7638"/>
                  </a:cubicBezTo>
                  <a:cubicBezTo>
                    <a:pt x="3853" y="7645"/>
                    <a:pt x="3854" y="7654"/>
                    <a:pt x="3855" y="7662"/>
                  </a:cubicBezTo>
                  <a:cubicBezTo>
                    <a:pt x="3585" y="7717"/>
                    <a:pt x="3585" y="7717"/>
                    <a:pt x="3585" y="7717"/>
                  </a:cubicBezTo>
                  <a:cubicBezTo>
                    <a:pt x="3527" y="7562"/>
                    <a:pt x="3527" y="7562"/>
                    <a:pt x="3527" y="7562"/>
                  </a:cubicBezTo>
                  <a:lnTo>
                    <a:pt x="3558" y="7439"/>
                  </a:lnTo>
                  <a:close/>
                  <a:moveTo>
                    <a:pt x="4105" y="7410"/>
                  </a:moveTo>
                  <a:cubicBezTo>
                    <a:pt x="4114" y="7404"/>
                    <a:pt x="4126" y="7397"/>
                    <a:pt x="4137" y="7389"/>
                  </a:cubicBezTo>
                  <a:cubicBezTo>
                    <a:pt x="4160" y="7374"/>
                    <a:pt x="4182" y="7359"/>
                    <a:pt x="4182" y="7359"/>
                  </a:cubicBezTo>
                  <a:cubicBezTo>
                    <a:pt x="4184" y="7357"/>
                    <a:pt x="4184" y="7357"/>
                    <a:pt x="4184" y="7357"/>
                  </a:cubicBezTo>
                  <a:cubicBezTo>
                    <a:pt x="4268" y="7108"/>
                    <a:pt x="4268" y="7108"/>
                    <a:pt x="4268" y="7108"/>
                  </a:cubicBezTo>
                  <a:cubicBezTo>
                    <a:pt x="4466" y="7122"/>
                    <a:pt x="4466" y="7122"/>
                    <a:pt x="4466" y="7122"/>
                  </a:cubicBezTo>
                  <a:cubicBezTo>
                    <a:pt x="4455" y="7171"/>
                    <a:pt x="4442" y="7216"/>
                    <a:pt x="4428" y="7256"/>
                  </a:cubicBezTo>
                  <a:cubicBezTo>
                    <a:pt x="4399" y="7337"/>
                    <a:pt x="4365" y="7396"/>
                    <a:pt x="4340" y="7420"/>
                  </a:cubicBezTo>
                  <a:cubicBezTo>
                    <a:pt x="4312" y="7446"/>
                    <a:pt x="4262" y="7475"/>
                    <a:pt x="4220" y="7496"/>
                  </a:cubicBezTo>
                  <a:cubicBezTo>
                    <a:pt x="4212" y="7500"/>
                    <a:pt x="4205" y="7504"/>
                    <a:pt x="4199" y="7507"/>
                  </a:cubicBezTo>
                  <a:cubicBezTo>
                    <a:pt x="4192" y="7501"/>
                    <a:pt x="4150" y="7462"/>
                    <a:pt x="4099" y="7414"/>
                  </a:cubicBezTo>
                  <a:cubicBezTo>
                    <a:pt x="4101" y="7413"/>
                    <a:pt x="4103" y="7412"/>
                    <a:pt x="4105" y="7410"/>
                  </a:cubicBezTo>
                  <a:close/>
                  <a:moveTo>
                    <a:pt x="4200" y="7581"/>
                  </a:moveTo>
                  <a:cubicBezTo>
                    <a:pt x="4212" y="7576"/>
                    <a:pt x="4225" y="7569"/>
                    <a:pt x="4241" y="7561"/>
                  </a:cubicBezTo>
                  <a:cubicBezTo>
                    <a:pt x="4292" y="7807"/>
                    <a:pt x="4292" y="7807"/>
                    <a:pt x="4292" y="7807"/>
                  </a:cubicBezTo>
                  <a:cubicBezTo>
                    <a:pt x="4187" y="7822"/>
                    <a:pt x="4187" y="7822"/>
                    <a:pt x="4187" y="7822"/>
                  </a:cubicBezTo>
                  <a:cubicBezTo>
                    <a:pt x="4140" y="7612"/>
                    <a:pt x="4140" y="7612"/>
                    <a:pt x="4140" y="7612"/>
                  </a:cubicBezTo>
                  <a:lnTo>
                    <a:pt x="4200" y="7581"/>
                  </a:lnTo>
                  <a:close/>
                  <a:moveTo>
                    <a:pt x="4202" y="7965"/>
                  </a:moveTo>
                  <a:cubicBezTo>
                    <a:pt x="4129" y="7975"/>
                    <a:pt x="4129" y="7975"/>
                    <a:pt x="4129" y="7975"/>
                  </a:cubicBezTo>
                  <a:cubicBezTo>
                    <a:pt x="4109" y="7847"/>
                    <a:pt x="4109" y="7847"/>
                    <a:pt x="4109" y="7847"/>
                  </a:cubicBezTo>
                  <a:cubicBezTo>
                    <a:pt x="4173" y="7837"/>
                    <a:pt x="4173" y="7837"/>
                    <a:pt x="4173" y="7837"/>
                  </a:cubicBezTo>
                  <a:lnTo>
                    <a:pt x="4202" y="7965"/>
                  </a:lnTo>
                  <a:close/>
                  <a:moveTo>
                    <a:pt x="4190" y="7835"/>
                  </a:moveTo>
                  <a:cubicBezTo>
                    <a:pt x="4294" y="7820"/>
                    <a:pt x="4294" y="7820"/>
                    <a:pt x="4294" y="7820"/>
                  </a:cubicBezTo>
                  <a:cubicBezTo>
                    <a:pt x="4321" y="7948"/>
                    <a:pt x="4321" y="7948"/>
                    <a:pt x="4321" y="7948"/>
                  </a:cubicBezTo>
                  <a:cubicBezTo>
                    <a:pt x="4218" y="7963"/>
                    <a:pt x="4218" y="7963"/>
                    <a:pt x="4218" y="7963"/>
                  </a:cubicBezTo>
                  <a:lnTo>
                    <a:pt x="4190" y="7835"/>
                  </a:lnTo>
                  <a:close/>
                  <a:moveTo>
                    <a:pt x="4323" y="7961"/>
                  </a:moveTo>
                  <a:cubicBezTo>
                    <a:pt x="4338" y="8034"/>
                    <a:pt x="4338" y="8034"/>
                    <a:pt x="4338" y="8034"/>
                  </a:cubicBezTo>
                  <a:cubicBezTo>
                    <a:pt x="4302" y="8034"/>
                    <a:pt x="4267" y="8032"/>
                    <a:pt x="4233" y="8029"/>
                  </a:cubicBezTo>
                  <a:cubicBezTo>
                    <a:pt x="4221" y="7975"/>
                    <a:pt x="4221" y="7975"/>
                    <a:pt x="4221" y="7975"/>
                  </a:cubicBezTo>
                  <a:lnTo>
                    <a:pt x="4323" y="7961"/>
                  </a:lnTo>
                  <a:close/>
                  <a:moveTo>
                    <a:pt x="4337" y="7946"/>
                  </a:moveTo>
                  <a:cubicBezTo>
                    <a:pt x="4311" y="7818"/>
                    <a:pt x="4311" y="7818"/>
                    <a:pt x="4311" y="7818"/>
                  </a:cubicBezTo>
                  <a:cubicBezTo>
                    <a:pt x="4406" y="7804"/>
                    <a:pt x="4406" y="7804"/>
                    <a:pt x="4406" y="7804"/>
                  </a:cubicBezTo>
                  <a:cubicBezTo>
                    <a:pt x="4434" y="7932"/>
                    <a:pt x="4434" y="7932"/>
                    <a:pt x="4434" y="7932"/>
                  </a:cubicBezTo>
                  <a:lnTo>
                    <a:pt x="4337" y="7946"/>
                  </a:lnTo>
                  <a:close/>
                  <a:moveTo>
                    <a:pt x="4437" y="7945"/>
                  </a:moveTo>
                  <a:cubicBezTo>
                    <a:pt x="4455" y="8028"/>
                    <a:pt x="4455" y="8028"/>
                    <a:pt x="4455" y="8028"/>
                  </a:cubicBezTo>
                  <a:cubicBezTo>
                    <a:pt x="4445" y="8029"/>
                    <a:pt x="4435" y="8030"/>
                    <a:pt x="4426" y="8031"/>
                  </a:cubicBezTo>
                  <a:cubicBezTo>
                    <a:pt x="4401" y="8033"/>
                    <a:pt x="4378" y="8033"/>
                    <a:pt x="4355" y="8034"/>
                  </a:cubicBezTo>
                  <a:cubicBezTo>
                    <a:pt x="4340" y="7959"/>
                    <a:pt x="4340" y="7959"/>
                    <a:pt x="4340" y="7959"/>
                  </a:cubicBezTo>
                  <a:lnTo>
                    <a:pt x="4437" y="7945"/>
                  </a:lnTo>
                  <a:close/>
                  <a:moveTo>
                    <a:pt x="4701" y="7895"/>
                  </a:moveTo>
                  <a:cubicBezTo>
                    <a:pt x="4680" y="7766"/>
                    <a:pt x="4680" y="7766"/>
                    <a:pt x="4680" y="7766"/>
                  </a:cubicBezTo>
                  <a:cubicBezTo>
                    <a:pt x="4787" y="7751"/>
                    <a:pt x="4787" y="7751"/>
                    <a:pt x="4787" y="7751"/>
                  </a:cubicBezTo>
                  <a:cubicBezTo>
                    <a:pt x="4787" y="7752"/>
                    <a:pt x="4787" y="7753"/>
                    <a:pt x="4787" y="7754"/>
                  </a:cubicBezTo>
                  <a:cubicBezTo>
                    <a:pt x="4794" y="7798"/>
                    <a:pt x="4801" y="7843"/>
                    <a:pt x="4807" y="7880"/>
                  </a:cubicBezTo>
                  <a:lnTo>
                    <a:pt x="4701" y="7895"/>
                  </a:lnTo>
                  <a:close/>
                  <a:moveTo>
                    <a:pt x="4808" y="7893"/>
                  </a:moveTo>
                  <a:cubicBezTo>
                    <a:pt x="4814" y="7929"/>
                    <a:pt x="4818" y="7957"/>
                    <a:pt x="4820" y="7971"/>
                  </a:cubicBezTo>
                  <a:cubicBezTo>
                    <a:pt x="4786" y="7978"/>
                    <a:pt x="4752" y="7984"/>
                    <a:pt x="4717" y="7990"/>
                  </a:cubicBezTo>
                  <a:cubicBezTo>
                    <a:pt x="4703" y="7908"/>
                    <a:pt x="4703" y="7908"/>
                    <a:pt x="4703" y="7908"/>
                  </a:cubicBezTo>
                  <a:lnTo>
                    <a:pt x="4808" y="7893"/>
                  </a:lnTo>
                  <a:close/>
                  <a:moveTo>
                    <a:pt x="5119" y="8068"/>
                  </a:moveTo>
                  <a:cubicBezTo>
                    <a:pt x="5216" y="8075"/>
                    <a:pt x="5956" y="8128"/>
                    <a:pt x="6345" y="8155"/>
                  </a:cubicBezTo>
                  <a:cubicBezTo>
                    <a:pt x="6333" y="8179"/>
                    <a:pt x="6322" y="8188"/>
                    <a:pt x="6315" y="8191"/>
                  </a:cubicBezTo>
                  <a:cubicBezTo>
                    <a:pt x="6314" y="8191"/>
                    <a:pt x="6314" y="8191"/>
                    <a:pt x="6314" y="8191"/>
                  </a:cubicBezTo>
                  <a:cubicBezTo>
                    <a:pt x="6314" y="8191"/>
                    <a:pt x="6314" y="8191"/>
                    <a:pt x="6314" y="8191"/>
                  </a:cubicBezTo>
                  <a:cubicBezTo>
                    <a:pt x="6313" y="8192"/>
                    <a:pt x="6313" y="8192"/>
                    <a:pt x="6312" y="8192"/>
                  </a:cubicBezTo>
                  <a:cubicBezTo>
                    <a:pt x="6310" y="8193"/>
                    <a:pt x="6306" y="8193"/>
                    <a:pt x="6303" y="8194"/>
                  </a:cubicBezTo>
                  <a:cubicBezTo>
                    <a:pt x="6295" y="8196"/>
                    <a:pt x="6284" y="8198"/>
                    <a:pt x="6271" y="8199"/>
                  </a:cubicBezTo>
                  <a:cubicBezTo>
                    <a:pt x="6245" y="8201"/>
                    <a:pt x="6211" y="8202"/>
                    <a:pt x="6171" y="8202"/>
                  </a:cubicBezTo>
                  <a:cubicBezTo>
                    <a:pt x="6170" y="8202"/>
                    <a:pt x="6170" y="8202"/>
                    <a:pt x="6170" y="8202"/>
                  </a:cubicBezTo>
                  <a:cubicBezTo>
                    <a:pt x="5902" y="8202"/>
                    <a:pt x="5404" y="8147"/>
                    <a:pt x="5156" y="8136"/>
                  </a:cubicBezTo>
                  <a:cubicBezTo>
                    <a:pt x="5076" y="8132"/>
                    <a:pt x="4976" y="8128"/>
                    <a:pt x="4865" y="8128"/>
                  </a:cubicBezTo>
                  <a:cubicBezTo>
                    <a:pt x="4846" y="8128"/>
                    <a:pt x="4826" y="8129"/>
                    <a:pt x="4806" y="8129"/>
                  </a:cubicBezTo>
                  <a:cubicBezTo>
                    <a:pt x="4951" y="8103"/>
                    <a:pt x="5081" y="8076"/>
                    <a:pt x="5119" y="8068"/>
                  </a:cubicBezTo>
                  <a:close/>
                  <a:moveTo>
                    <a:pt x="6309" y="8000"/>
                  </a:moveTo>
                  <a:cubicBezTo>
                    <a:pt x="6310" y="7998"/>
                    <a:pt x="6311" y="7996"/>
                    <a:pt x="6312" y="7993"/>
                  </a:cubicBezTo>
                  <a:cubicBezTo>
                    <a:pt x="6314" y="7987"/>
                    <a:pt x="6315" y="7979"/>
                    <a:pt x="6317" y="7970"/>
                  </a:cubicBezTo>
                  <a:cubicBezTo>
                    <a:pt x="6320" y="7952"/>
                    <a:pt x="6323" y="7928"/>
                    <a:pt x="6326" y="7904"/>
                  </a:cubicBezTo>
                  <a:cubicBezTo>
                    <a:pt x="6330" y="7870"/>
                    <a:pt x="6333" y="7836"/>
                    <a:pt x="6334" y="7820"/>
                  </a:cubicBezTo>
                  <a:cubicBezTo>
                    <a:pt x="6433" y="7874"/>
                    <a:pt x="6433" y="7874"/>
                    <a:pt x="6433" y="7874"/>
                  </a:cubicBezTo>
                  <a:cubicBezTo>
                    <a:pt x="6424" y="7902"/>
                    <a:pt x="6415" y="7930"/>
                    <a:pt x="6408" y="7958"/>
                  </a:cubicBezTo>
                  <a:cubicBezTo>
                    <a:pt x="6403" y="7974"/>
                    <a:pt x="6399" y="7990"/>
                    <a:pt x="6395" y="8006"/>
                  </a:cubicBezTo>
                  <a:cubicBezTo>
                    <a:pt x="6368" y="8004"/>
                    <a:pt x="6339" y="8002"/>
                    <a:pt x="6309" y="8000"/>
                  </a:cubicBezTo>
                  <a:close/>
                  <a:moveTo>
                    <a:pt x="6424" y="7962"/>
                  </a:moveTo>
                  <a:cubicBezTo>
                    <a:pt x="6431" y="7936"/>
                    <a:pt x="6439" y="7909"/>
                    <a:pt x="6448" y="7882"/>
                  </a:cubicBezTo>
                  <a:cubicBezTo>
                    <a:pt x="6448" y="7882"/>
                    <a:pt x="6448" y="7882"/>
                    <a:pt x="6448" y="7882"/>
                  </a:cubicBezTo>
                  <a:cubicBezTo>
                    <a:pt x="6455" y="7870"/>
                    <a:pt x="6455" y="7870"/>
                    <a:pt x="6455" y="7870"/>
                  </a:cubicBezTo>
                  <a:cubicBezTo>
                    <a:pt x="6452" y="7868"/>
                    <a:pt x="6452" y="7868"/>
                    <a:pt x="6452" y="7868"/>
                  </a:cubicBezTo>
                  <a:cubicBezTo>
                    <a:pt x="6467" y="7828"/>
                    <a:pt x="6484" y="7789"/>
                    <a:pt x="6508" y="7751"/>
                  </a:cubicBezTo>
                  <a:cubicBezTo>
                    <a:pt x="6509" y="7752"/>
                    <a:pt x="6509" y="7752"/>
                    <a:pt x="6509" y="7752"/>
                  </a:cubicBezTo>
                  <a:cubicBezTo>
                    <a:pt x="6517" y="7741"/>
                    <a:pt x="6517" y="7741"/>
                    <a:pt x="6517" y="7741"/>
                  </a:cubicBezTo>
                  <a:cubicBezTo>
                    <a:pt x="6516" y="7740"/>
                    <a:pt x="6516" y="7740"/>
                    <a:pt x="6516" y="7740"/>
                  </a:cubicBezTo>
                  <a:cubicBezTo>
                    <a:pt x="6518" y="7736"/>
                    <a:pt x="6521" y="7733"/>
                    <a:pt x="6523" y="7729"/>
                  </a:cubicBezTo>
                  <a:cubicBezTo>
                    <a:pt x="6553" y="7689"/>
                    <a:pt x="6578" y="7655"/>
                    <a:pt x="6610" y="7624"/>
                  </a:cubicBezTo>
                  <a:cubicBezTo>
                    <a:pt x="6659" y="7578"/>
                    <a:pt x="6721" y="7546"/>
                    <a:pt x="6817" y="7518"/>
                  </a:cubicBezTo>
                  <a:cubicBezTo>
                    <a:pt x="6914" y="7490"/>
                    <a:pt x="7050" y="7463"/>
                    <a:pt x="7262" y="7422"/>
                  </a:cubicBezTo>
                  <a:cubicBezTo>
                    <a:pt x="7813" y="7316"/>
                    <a:pt x="8103" y="7050"/>
                    <a:pt x="8220" y="6848"/>
                  </a:cubicBezTo>
                  <a:cubicBezTo>
                    <a:pt x="8248" y="6803"/>
                    <a:pt x="8268" y="6691"/>
                    <a:pt x="8269" y="6547"/>
                  </a:cubicBezTo>
                  <a:cubicBezTo>
                    <a:pt x="8269" y="6543"/>
                    <a:pt x="8269" y="6540"/>
                    <a:pt x="8269" y="6537"/>
                  </a:cubicBezTo>
                  <a:cubicBezTo>
                    <a:pt x="8269" y="6534"/>
                    <a:pt x="8269" y="6534"/>
                    <a:pt x="8269" y="6534"/>
                  </a:cubicBezTo>
                  <a:cubicBezTo>
                    <a:pt x="8269" y="6516"/>
                    <a:pt x="8268" y="6497"/>
                    <a:pt x="8268" y="6478"/>
                  </a:cubicBezTo>
                  <a:cubicBezTo>
                    <a:pt x="8312" y="6484"/>
                    <a:pt x="8354" y="6488"/>
                    <a:pt x="8391" y="6493"/>
                  </a:cubicBezTo>
                  <a:cubicBezTo>
                    <a:pt x="8391" y="6507"/>
                    <a:pt x="8392" y="6522"/>
                    <a:pt x="8392" y="6536"/>
                  </a:cubicBezTo>
                  <a:cubicBezTo>
                    <a:pt x="8391" y="6697"/>
                    <a:pt x="8375" y="6823"/>
                    <a:pt x="8326" y="6909"/>
                  </a:cubicBezTo>
                  <a:cubicBezTo>
                    <a:pt x="8189" y="7147"/>
                    <a:pt x="7866" y="7431"/>
                    <a:pt x="7285" y="7543"/>
                  </a:cubicBezTo>
                  <a:cubicBezTo>
                    <a:pt x="7003" y="7597"/>
                    <a:pt x="6858" y="7628"/>
                    <a:pt x="6779" y="7661"/>
                  </a:cubicBezTo>
                  <a:cubicBezTo>
                    <a:pt x="6739" y="7678"/>
                    <a:pt x="6716" y="7694"/>
                    <a:pt x="6695" y="7714"/>
                  </a:cubicBezTo>
                  <a:cubicBezTo>
                    <a:pt x="6673" y="7734"/>
                    <a:pt x="6652" y="7762"/>
                    <a:pt x="6622" y="7802"/>
                  </a:cubicBezTo>
                  <a:cubicBezTo>
                    <a:pt x="6582" y="7855"/>
                    <a:pt x="6558" y="7934"/>
                    <a:pt x="6536" y="8016"/>
                  </a:cubicBezTo>
                  <a:cubicBezTo>
                    <a:pt x="6506" y="8014"/>
                    <a:pt x="6463" y="8011"/>
                    <a:pt x="6411" y="8007"/>
                  </a:cubicBezTo>
                  <a:cubicBezTo>
                    <a:pt x="6415" y="7992"/>
                    <a:pt x="6419" y="7977"/>
                    <a:pt x="6424" y="7962"/>
                  </a:cubicBezTo>
                  <a:close/>
                  <a:moveTo>
                    <a:pt x="6582" y="8172"/>
                  </a:moveTo>
                  <a:cubicBezTo>
                    <a:pt x="6590" y="8172"/>
                    <a:pt x="6599" y="8172"/>
                    <a:pt x="6607" y="8173"/>
                  </a:cubicBezTo>
                  <a:cubicBezTo>
                    <a:pt x="6481" y="8529"/>
                    <a:pt x="6481" y="8529"/>
                    <a:pt x="6481" y="8529"/>
                  </a:cubicBezTo>
                  <a:cubicBezTo>
                    <a:pt x="6411" y="8528"/>
                    <a:pt x="6411" y="8528"/>
                    <a:pt x="6411" y="8528"/>
                  </a:cubicBezTo>
                  <a:cubicBezTo>
                    <a:pt x="6446" y="8430"/>
                    <a:pt x="6446" y="8430"/>
                    <a:pt x="6446" y="8430"/>
                  </a:cubicBezTo>
                  <a:cubicBezTo>
                    <a:pt x="6304" y="8375"/>
                    <a:pt x="6304" y="8375"/>
                    <a:pt x="6304" y="8375"/>
                  </a:cubicBezTo>
                  <a:cubicBezTo>
                    <a:pt x="6250" y="8526"/>
                    <a:pt x="6250" y="8526"/>
                    <a:pt x="6250" y="8526"/>
                  </a:cubicBezTo>
                  <a:cubicBezTo>
                    <a:pt x="5900" y="8521"/>
                    <a:pt x="5900" y="8521"/>
                    <a:pt x="5900" y="8521"/>
                  </a:cubicBezTo>
                  <a:cubicBezTo>
                    <a:pt x="5907" y="8495"/>
                    <a:pt x="5913" y="8470"/>
                    <a:pt x="5919" y="8447"/>
                  </a:cubicBezTo>
                  <a:cubicBezTo>
                    <a:pt x="5930" y="8402"/>
                    <a:pt x="5939" y="8367"/>
                    <a:pt x="5944" y="8350"/>
                  </a:cubicBezTo>
                  <a:cubicBezTo>
                    <a:pt x="6027" y="8355"/>
                    <a:pt x="6105" y="8358"/>
                    <a:pt x="6171" y="8358"/>
                  </a:cubicBezTo>
                  <a:cubicBezTo>
                    <a:pt x="6214" y="8358"/>
                    <a:pt x="6253" y="8357"/>
                    <a:pt x="6286" y="8354"/>
                  </a:cubicBezTo>
                  <a:cubicBezTo>
                    <a:pt x="6320" y="8350"/>
                    <a:pt x="6348" y="8346"/>
                    <a:pt x="6378" y="8334"/>
                  </a:cubicBezTo>
                  <a:cubicBezTo>
                    <a:pt x="6433" y="8309"/>
                    <a:pt x="6466" y="8263"/>
                    <a:pt x="6488" y="8218"/>
                  </a:cubicBezTo>
                  <a:cubicBezTo>
                    <a:pt x="6497" y="8201"/>
                    <a:pt x="6503" y="8184"/>
                    <a:pt x="6509" y="8167"/>
                  </a:cubicBezTo>
                  <a:cubicBezTo>
                    <a:pt x="6550" y="8170"/>
                    <a:pt x="6576" y="8172"/>
                    <a:pt x="6582" y="8172"/>
                  </a:cubicBezTo>
                  <a:close/>
                  <a:moveTo>
                    <a:pt x="7884" y="8280"/>
                  </a:moveTo>
                  <a:cubicBezTo>
                    <a:pt x="7814" y="8417"/>
                    <a:pt x="7814" y="8417"/>
                    <a:pt x="7814" y="8417"/>
                  </a:cubicBezTo>
                  <a:cubicBezTo>
                    <a:pt x="7700" y="8364"/>
                    <a:pt x="7700" y="8364"/>
                    <a:pt x="7700" y="8364"/>
                  </a:cubicBezTo>
                  <a:cubicBezTo>
                    <a:pt x="7771" y="8224"/>
                    <a:pt x="7771" y="8224"/>
                    <a:pt x="7771" y="8224"/>
                  </a:cubicBezTo>
                  <a:lnTo>
                    <a:pt x="7884" y="8280"/>
                  </a:lnTo>
                  <a:close/>
                  <a:moveTo>
                    <a:pt x="7777" y="8212"/>
                  </a:moveTo>
                  <a:cubicBezTo>
                    <a:pt x="7841" y="8086"/>
                    <a:pt x="7841" y="8086"/>
                    <a:pt x="7841" y="8086"/>
                  </a:cubicBezTo>
                  <a:cubicBezTo>
                    <a:pt x="7953" y="8145"/>
                    <a:pt x="7953" y="8145"/>
                    <a:pt x="7953" y="8145"/>
                  </a:cubicBezTo>
                  <a:cubicBezTo>
                    <a:pt x="7890" y="8267"/>
                    <a:pt x="7890" y="8267"/>
                    <a:pt x="7890" y="8267"/>
                  </a:cubicBezTo>
                  <a:lnTo>
                    <a:pt x="7777" y="8212"/>
                  </a:lnTo>
                  <a:close/>
                  <a:moveTo>
                    <a:pt x="7060" y="10381"/>
                  </a:moveTo>
                  <a:cubicBezTo>
                    <a:pt x="6960" y="10918"/>
                    <a:pt x="6960" y="10918"/>
                    <a:pt x="6960" y="10918"/>
                  </a:cubicBezTo>
                  <a:cubicBezTo>
                    <a:pt x="6868" y="10893"/>
                    <a:pt x="6799" y="10880"/>
                    <a:pt x="6763" y="10873"/>
                  </a:cubicBezTo>
                  <a:cubicBezTo>
                    <a:pt x="6827" y="10275"/>
                    <a:pt x="6827" y="10275"/>
                    <a:pt x="6827" y="10275"/>
                  </a:cubicBezTo>
                  <a:cubicBezTo>
                    <a:pt x="6870" y="10294"/>
                    <a:pt x="6960" y="10335"/>
                    <a:pt x="7065" y="10382"/>
                  </a:cubicBezTo>
                  <a:lnTo>
                    <a:pt x="7060" y="10381"/>
                  </a:lnTo>
                  <a:close/>
                  <a:moveTo>
                    <a:pt x="7074" y="10386"/>
                  </a:moveTo>
                  <a:cubicBezTo>
                    <a:pt x="7158" y="10423"/>
                    <a:pt x="7250" y="10465"/>
                    <a:pt x="7336" y="10503"/>
                  </a:cubicBezTo>
                  <a:cubicBezTo>
                    <a:pt x="7255" y="11015"/>
                    <a:pt x="7255" y="11015"/>
                    <a:pt x="7255" y="11015"/>
                  </a:cubicBezTo>
                  <a:cubicBezTo>
                    <a:pt x="7148" y="10974"/>
                    <a:pt x="7053" y="10944"/>
                    <a:pt x="6974" y="10922"/>
                  </a:cubicBezTo>
                  <a:lnTo>
                    <a:pt x="7074" y="10386"/>
                  </a:lnTo>
                  <a:close/>
                  <a:moveTo>
                    <a:pt x="7308" y="13742"/>
                  </a:moveTo>
                  <a:cubicBezTo>
                    <a:pt x="7234" y="13746"/>
                    <a:pt x="7049" y="13755"/>
                    <a:pt x="6912" y="13775"/>
                  </a:cubicBezTo>
                  <a:cubicBezTo>
                    <a:pt x="6850" y="13390"/>
                    <a:pt x="6850" y="13390"/>
                    <a:pt x="6850" y="13390"/>
                  </a:cubicBezTo>
                  <a:cubicBezTo>
                    <a:pt x="6858" y="13379"/>
                    <a:pt x="6894" y="13332"/>
                    <a:pt x="6914" y="13304"/>
                  </a:cubicBezTo>
                  <a:cubicBezTo>
                    <a:pt x="6918" y="13297"/>
                    <a:pt x="6922" y="13293"/>
                    <a:pt x="6924" y="13289"/>
                  </a:cubicBezTo>
                  <a:cubicBezTo>
                    <a:pt x="6927" y="13290"/>
                    <a:pt x="6930" y="13291"/>
                    <a:pt x="6934" y="13292"/>
                  </a:cubicBezTo>
                  <a:cubicBezTo>
                    <a:pt x="6945" y="13295"/>
                    <a:pt x="6960" y="13299"/>
                    <a:pt x="6978" y="13303"/>
                  </a:cubicBezTo>
                  <a:cubicBezTo>
                    <a:pt x="7014" y="13312"/>
                    <a:pt x="7062" y="13324"/>
                    <a:pt x="7110" y="13336"/>
                  </a:cubicBezTo>
                  <a:cubicBezTo>
                    <a:pt x="7179" y="13352"/>
                    <a:pt x="7246" y="13369"/>
                    <a:pt x="7280" y="13377"/>
                  </a:cubicBezTo>
                  <a:cubicBezTo>
                    <a:pt x="7276" y="13430"/>
                    <a:pt x="7276" y="13430"/>
                    <a:pt x="7276" y="13430"/>
                  </a:cubicBezTo>
                  <a:cubicBezTo>
                    <a:pt x="7276" y="13431"/>
                    <a:pt x="7276" y="13431"/>
                    <a:pt x="7276" y="13431"/>
                  </a:cubicBezTo>
                  <a:cubicBezTo>
                    <a:pt x="7276" y="13432"/>
                    <a:pt x="7276" y="13568"/>
                    <a:pt x="7308" y="13742"/>
                  </a:cubicBezTo>
                  <a:close/>
                  <a:moveTo>
                    <a:pt x="3410" y="14099"/>
                  </a:moveTo>
                  <a:cubicBezTo>
                    <a:pt x="3402" y="14158"/>
                    <a:pt x="3402" y="14158"/>
                    <a:pt x="3402" y="14158"/>
                  </a:cubicBezTo>
                  <a:cubicBezTo>
                    <a:pt x="3314" y="14146"/>
                    <a:pt x="3314" y="14146"/>
                    <a:pt x="3314" y="14146"/>
                  </a:cubicBezTo>
                  <a:cubicBezTo>
                    <a:pt x="3320" y="14107"/>
                    <a:pt x="3325" y="14072"/>
                    <a:pt x="3329" y="14044"/>
                  </a:cubicBezTo>
                  <a:cubicBezTo>
                    <a:pt x="3369" y="14050"/>
                    <a:pt x="3369" y="14050"/>
                    <a:pt x="3369" y="14050"/>
                  </a:cubicBezTo>
                  <a:cubicBezTo>
                    <a:pt x="3363" y="14092"/>
                    <a:pt x="3363" y="14092"/>
                    <a:pt x="3363" y="14092"/>
                  </a:cubicBezTo>
                  <a:lnTo>
                    <a:pt x="3410" y="14099"/>
                  </a:lnTo>
                  <a:close/>
                  <a:moveTo>
                    <a:pt x="3300" y="14144"/>
                  </a:moveTo>
                  <a:cubicBezTo>
                    <a:pt x="3219" y="14133"/>
                    <a:pt x="3219" y="14133"/>
                    <a:pt x="3219" y="14133"/>
                  </a:cubicBezTo>
                  <a:cubicBezTo>
                    <a:pt x="3227" y="14074"/>
                    <a:pt x="3227" y="14074"/>
                    <a:pt x="3227" y="14074"/>
                  </a:cubicBezTo>
                  <a:cubicBezTo>
                    <a:pt x="3274" y="14080"/>
                    <a:pt x="3274" y="14080"/>
                    <a:pt x="3274" y="14080"/>
                  </a:cubicBezTo>
                  <a:cubicBezTo>
                    <a:pt x="3279" y="14037"/>
                    <a:pt x="3279" y="14037"/>
                    <a:pt x="3279" y="14037"/>
                  </a:cubicBezTo>
                  <a:cubicBezTo>
                    <a:pt x="3315" y="14042"/>
                    <a:pt x="3315" y="14042"/>
                    <a:pt x="3315" y="14042"/>
                  </a:cubicBezTo>
                  <a:cubicBezTo>
                    <a:pt x="3311" y="14070"/>
                    <a:pt x="3306" y="14105"/>
                    <a:pt x="3300" y="14144"/>
                  </a:cubicBezTo>
                  <a:close/>
                  <a:moveTo>
                    <a:pt x="3168" y="14009"/>
                  </a:moveTo>
                  <a:cubicBezTo>
                    <a:pt x="3160" y="14069"/>
                    <a:pt x="3160" y="14069"/>
                    <a:pt x="3160" y="14069"/>
                  </a:cubicBezTo>
                  <a:cubicBezTo>
                    <a:pt x="3085" y="14058"/>
                    <a:pt x="3085" y="14058"/>
                    <a:pt x="3085" y="14058"/>
                  </a:cubicBezTo>
                  <a:cubicBezTo>
                    <a:pt x="3099" y="13956"/>
                    <a:pt x="3099" y="13956"/>
                    <a:pt x="3099" y="13956"/>
                  </a:cubicBezTo>
                  <a:cubicBezTo>
                    <a:pt x="3127" y="13960"/>
                    <a:pt x="3127" y="13960"/>
                    <a:pt x="3127" y="13960"/>
                  </a:cubicBezTo>
                  <a:cubicBezTo>
                    <a:pt x="3122" y="14003"/>
                    <a:pt x="3122" y="14003"/>
                    <a:pt x="3122" y="14003"/>
                  </a:cubicBezTo>
                  <a:lnTo>
                    <a:pt x="3168" y="14009"/>
                  </a:lnTo>
                  <a:close/>
                  <a:moveTo>
                    <a:pt x="1924" y="13824"/>
                  </a:moveTo>
                  <a:cubicBezTo>
                    <a:pt x="2141" y="13958"/>
                    <a:pt x="2141" y="13958"/>
                    <a:pt x="2141" y="13958"/>
                  </a:cubicBezTo>
                  <a:cubicBezTo>
                    <a:pt x="2042" y="14054"/>
                    <a:pt x="2042" y="14054"/>
                    <a:pt x="2042" y="14054"/>
                  </a:cubicBezTo>
                  <a:cubicBezTo>
                    <a:pt x="1824" y="13920"/>
                    <a:pt x="1824" y="13920"/>
                    <a:pt x="1824" y="13920"/>
                  </a:cubicBezTo>
                  <a:cubicBezTo>
                    <a:pt x="1853" y="13892"/>
                    <a:pt x="1887" y="13859"/>
                    <a:pt x="1924" y="13824"/>
                  </a:cubicBezTo>
                  <a:close/>
                  <a:moveTo>
                    <a:pt x="1811" y="13913"/>
                  </a:moveTo>
                  <a:cubicBezTo>
                    <a:pt x="1723" y="13858"/>
                    <a:pt x="1723" y="13858"/>
                    <a:pt x="1723" y="13858"/>
                  </a:cubicBezTo>
                  <a:cubicBezTo>
                    <a:pt x="1791" y="13742"/>
                    <a:pt x="1791" y="13742"/>
                    <a:pt x="1791" y="13742"/>
                  </a:cubicBezTo>
                  <a:cubicBezTo>
                    <a:pt x="1911" y="13816"/>
                    <a:pt x="1911" y="13816"/>
                    <a:pt x="1911" y="13816"/>
                  </a:cubicBezTo>
                  <a:cubicBezTo>
                    <a:pt x="1875" y="13851"/>
                    <a:pt x="1840" y="13884"/>
                    <a:pt x="1811" y="13913"/>
                  </a:cubicBezTo>
                  <a:close/>
                  <a:moveTo>
                    <a:pt x="2057" y="13438"/>
                  </a:moveTo>
                  <a:cubicBezTo>
                    <a:pt x="1958" y="12996"/>
                    <a:pt x="1958" y="12996"/>
                    <a:pt x="1958" y="12996"/>
                  </a:cubicBezTo>
                  <a:cubicBezTo>
                    <a:pt x="2083" y="12716"/>
                    <a:pt x="2083" y="12716"/>
                    <a:pt x="2083" y="12716"/>
                  </a:cubicBezTo>
                  <a:cubicBezTo>
                    <a:pt x="2245" y="12773"/>
                    <a:pt x="2245" y="12773"/>
                    <a:pt x="2245" y="12773"/>
                  </a:cubicBezTo>
                  <a:cubicBezTo>
                    <a:pt x="2350" y="12924"/>
                    <a:pt x="2350" y="12924"/>
                    <a:pt x="2350" y="12924"/>
                  </a:cubicBezTo>
                  <a:cubicBezTo>
                    <a:pt x="2352" y="12925"/>
                    <a:pt x="2352" y="12925"/>
                    <a:pt x="2352" y="12925"/>
                  </a:cubicBezTo>
                  <a:cubicBezTo>
                    <a:pt x="2353" y="12925"/>
                    <a:pt x="2479" y="12959"/>
                    <a:pt x="2607" y="12996"/>
                  </a:cubicBezTo>
                  <a:cubicBezTo>
                    <a:pt x="2387" y="13570"/>
                    <a:pt x="2387" y="13570"/>
                    <a:pt x="2387" y="13570"/>
                  </a:cubicBezTo>
                  <a:cubicBezTo>
                    <a:pt x="2055" y="13450"/>
                    <a:pt x="2055" y="13450"/>
                    <a:pt x="2055" y="13450"/>
                  </a:cubicBezTo>
                  <a:cubicBezTo>
                    <a:pt x="2059" y="13451"/>
                    <a:pt x="2059" y="13451"/>
                    <a:pt x="2059" y="13451"/>
                  </a:cubicBezTo>
                  <a:lnTo>
                    <a:pt x="2057" y="13438"/>
                  </a:lnTo>
                  <a:close/>
                  <a:moveTo>
                    <a:pt x="2572" y="11077"/>
                  </a:moveTo>
                  <a:cubicBezTo>
                    <a:pt x="2586" y="11077"/>
                    <a:pt x="2599" y="11077"/>
                    <a:pt x="2612" y="11077"/>
                  </a:cubicBezTo>
                  <a:cubicBezTo>
                    <a:pt x="2581" y="11119"/>
                    <a:pt x="2554" y="11158"/>
                    <a:pt x="2529" y="11198"/>
                  </a:cubicBezTo>
                  <a:cubicBezTo>
                    <a:pt x="2498" y="11247"/>
                    <a:pt x="2467" y="11297"/>
                    <a:pt x="2432" y="11364"/>
                  </a:cubicBezTo>
                  <a:cubicBezTo>
                    <a:pt x="2431" y="11367"/>
                    <a:pt x="2429" y="11369"/>
                    <a:pt x="2428" y="11372"/>
                  </a:cubicBezTo>
                  <a:cubicBezTo>
                    <a:pt x="2337" y="11329"/>
                    <a:pt x="2337" y="11329"/>
                    <a:pt x="2337" y="11329"/>
                  </a:cubicBezTo>
                  <a:cubicBezTo>
                    <a:pt x="2354" y="11254"/>
                    <a:pt x="2354" y="11254"/>
                    <a:pt x="2354" y="11254"/>
                  </a:cubicBezTo>
                  <a:cubicBezTo>
                    <a:pt x="2473" y="11065"/>
                    <a:pt x="2473" y="11065"/>
                    <a:pt x="2473" y="11065"/>
                  </a:cubicBezTo>
                  <a:cubicBezTo>
                    <a:pt x="2473" y="11077"/>
                    <a:pt x="2473" y="11077"/>
                    <a:pt x="2473" y="11077"/>
                  </a:cubicBezTo>
                  <a:cubicBezTo>
                    <a:pt x="2477" y="11077"/>
                    <a:pt x="2524" y="11077"/>
                    <a:pt x="2572" y="11077"/>
                  </a:cubicBezTo>
                  <a:close/>
                  <a:moveTo>
                    <a:pt x="4529" y="9768"/>
                  </a:moveTo>
                  <a:cubicBezTo>
                    <a:pt x="4526" y="9757"/>
                    <a:pt x="4526" y="9757"/>
                    <a:pt x="4526" y="9757"/>
                  </a:cubicBezTo>
                  <a:cubicBezTo>
                    <a:pt x="4593" y="9735"/>
                    <a:pt x="4593" y="9735"/>
                    <a:pt x="4593" y="9735"/>
                  </a:cubicBezTo>
                  <a:cubicBezTo>
                    <a:pt x="4629" y="9844"/>
                    <a:pt x="4629" y="9844"/>
                    <a:pt x="4629" y="9844"/>
                  </a:cubicBezTo>
                  <a:cubicBezTo>
                    <a:pt x="4559" y="9867"/>
                    <a:pt x="4559" y="9867"/>
                    <a:pt x="4559" y="9867"/>
                  </a:cubicBezTo>
                  <a:cubicBezTo>
                    <a:pt x="4583" y="9939"/>
                    <a:pt x="4583" y="9939"/>
                    <a:pt x="4583" y="9939"/>
                  </a:cubicBezTo>
                  <a:cubicBezTo>
                    <a:pt x="4536" y="9954"/>
                    <a:pt x="4536" y="9954"/>
                    <a:pt x="4536" y="9954"/>
                  </a:cubicBezTo>
                  <a:cubicBezTo>
                    <a:pt x="4484" y="9790"/>
                    <a:pt x="4484" y="9790"/>
                    <a:pt x="4484" y="9790"/>
                  </a:cubicBezTo>
                  <a:cubicBezTo>
                    <a:pt x="4531" y="9774"/>
                    <a:pt x="4531" y="9774"/>
                    <a:pt x="4531" y="9774"/>
                  </a:cubicBezTo>
                  <a:lnTo>
                    <a:pt x="4529" y="9768"/>
                  </a:lnTo>
                  <a:close/>
                  <a:moveTo>
                    <a:pt x="4599" y="9947"/>
                  </a:moveTo>
                  <a:cubicBezTo>
                    <a:pt x="4576" y="9875"/>
                    <a:pt x="4576" y="9875"/>
                    <a:pt x="4576" y="9875"/>
                  </a:cubicBezTo>
                  <a:cubicBezTo>
                    <a:pt x="4645" y="9852"/>
                    <a:pt x="4645" y="9852"/>
                    <a:pt x="4645" y="9852"/>
                  </a:cubicBezTo>
                  <a:cubicBezTo>
                    <a:pt x="4601" y="9718"/>
                    <a:pt x="4601" y="9718"/>
                    <a:pt x="4601" y="9718"/>
                  </a:cubicBezTo>
                  <a:cubicBezTo>
                    <a:pt x="4509" y="9749"/>
                    <a:pt x="4509" y="9749"/>
                    <a:pt x="4509" y="9749"/>
                  </a:cubicBezTo>
                  <a:cubicBezTo>
                    <a:pt x="4511" y="9755"/>
                    <a:pt x="4511" y="9755"/>
                    <a:pt x="4511" y="9755"/>
                  </a:cubicBezTo>
                  <a:cubicBezTo>
                    <a:pt x="4515" y="9766"/>
                    <a:pt x="4515" y="9766"/>
                    <a:pt x="4515" y="9766"/>
                  </a:cubicBezTo>
                  <a:cubicBezTo>
                    <a:pt x="4468" y="9782"/>
                    <a:pt x="4468" y="9782"/>
                    <a:pt x="4468" y="9782"/>
                  </a:cubicBezTo>
                  <a:cubicBezTo>
                    <a:pt x="4525" y="9965"/>
                    <a:pt x="4525" y="9965"/>
                    <a:pt x="4525" y="9965"/>
                  </a:cubicBezTo>
                  <a:cubicBezTo>
                    <a:pt x="4406" y="9703"/>
                    <a:pt x="4406" y="9703"/>
                    <a:pt x="4406" y="9703"/>
                  </a:cubicBezTo>
                  <a:cubicBezTo>
                    <a:pt x="4461" y="9702"/>
                    <a:pt x="4546" y="9700"/>
                    <a:pt x="4642" y="9698"/>
                  </a:cubicBezTo>
                  <a:cubicBezTo>
                    <a:pt x="4728" y="10163"/>
                    <a:pt x="4728" y="10163"/>
                    <a:pt x="4728" y="10163"/>
                  </a:cubicBezTo>
                  <a:cubicBezTo>
                    <a:pt x="4695" y="10171"/>
                    <a:pt x="4662" y="10179"/>
                    <a:pt x="4628" y="10188"/>
                  </a:cubicBezTo>
                  <a:cubicBezTo>
                    <a:pt x="4528" y="9971"/>
                    <a:pt x="4528" y="9971"/>
                    <a:pt x="4528" y="9971"/>
                  </a:cubicBezTo>
                  <a:lnTo>
                    <a:pt x="4599" y="9947"/>
                  </a:lnTo>
                  <a:close/>
                  <a:moveTo>
                    <a:pt x="4954" y="9221"/>
                  </a:moveTo>
                  <a:cubicBezTo>
                    <a:pt x="5110" y="9674"/>
                    <a:pt x="5110" y="9674"/>
                    <a:pt x="5110" y="9674"/>
                  </a:cubicBezTo>
                  <a:cubicBezTo>
                    <a:pt x="4969" y="9677"/>
                    <a:pt x="4799" y="9681"/>
                    <a:pt x="4654" y="9684"/>
                  </a:cubicBezTo>
                  <a:cubicBezTo>
                    <a:pt x="4631" y="9256"/>
                    <a:pt x="4631" y="9256"/>
                    <a:pt x="4631" y="9256"/>
                  </a:cubicBezTo>
                  <a:cubicBezTo>
                    <a:pt x="4751" y="9246"/>
                    <a:pt x="4869" y="9234"/>
                    <a:pt x="4954" y="9221"/>
                  </a:cubicBezTo>
                  <a:close/>
                  <a:moveTo>
                    <a:pt x="4783" y="9197"/>
                  </a:moveTo>
                  <a:cubicBezTo>
                    <a:pt x="4683" y="8657"/>
                    <a:pt x="4683" y="8657"/>
                    <a:pt x="4683" y="8657"/>
                  </a:cubicBezTo>
                  <a:cubicBezTo>
                    <a:pt x="4766" y="8673"/>
                    <a:pt x="4881" y="8695"/>
                    <a:pt x="4959" y="8710"/>
                  </a:cubicBezTo>
                  <a:cubicBezTo>
                    <a:pt x="4949" y="9176"/>
                    <a:pt x="4949" y="9176"/>
                    <a:pt x="4949" y="9176"/>
                  </a:cubicBezTo>
                  <a:cubicBezTo>
                    <a:pt x="4903" y="9183"/>
                    <a:pt x="4845" y="9190"/>
                    <a:pt x="4783" y="9197"/>
                  </a:cubicBezTo>
                  <a:close/>
                  <a:moveTo>
                    <a:pt x="5351" y="9005"/>
                  </a:moveTo>
                  <a:cubicBezTo>
                    <a:pt x="5392" y="9012"/>
                    <a:pt x="5474" y="9026"/>
                    <a:pt x="5553" y="9039"/>
                  </a:cubicBezTo>
                  <a:cubicBezTo>
                    <a:pt x="5660" y="9058"/>
                    <a:pt x="5764" y="9076"/>
                    <a:pt x="5783" y="9078"/>
                  </a:cubicBezTo>
                  <a:cubicBezTo>
                    <a:pt x="5785" y="9082"/>
                    <a:pt x="5786" y="9086"/>
                    <a:pt x="5787" y="9090"/>
                  </a:cubicBezTo>
                  <a:cubicBezTo>
                    <a:pt x="5798" y="9122"/>
                    <a:pt x="5809" y="9153"/>
                    <a:pt x="5812" y="9161"/>
                  </a:cubicBezTo>
                  <a:cubicBezTo>
                    <a:pt x="5793" y="9225"/>
                    <a:pt x="5793" y="9225"/>
                    <a:pt x="5793" y="9225"/>
                  </a:cubicBezTo>
                  <a:cubicBezTo>
                    <a:pt x="5793" y="9224"/>
                    <a:pt x="5793" y="9224"/>
                    <a:pt x="5793" y="9224"/>
                  </a:cubicBezTo>
                  <a:cubicBezTo>
                    <a:pt x="5793" y="9224"/>
                    <a:pt x="5793" y="9224"/>
                    <a:pt x="5793" y="9224"/>
                  </a:cubicBezTo>
                  <a:cubicBezTo>
                    <a:pt x="5786" y="9224"/>
                    <a:pt x="5655" y="9199"/>
                    <a:pt x="5529" y="9175"/>
                  </a:cubicBezTo>
                  <a:cubicBezTo>
                    <a:pt x="5441" y="9159"/>
                    <a:pt x="5354" y="9142"/>
                    <a:pt x="5307" y="9133"/>
                  </a:cubicBezTo>
                  <a:cubicBezTo>
                    <a:pt x="5295" y="9112"/>
                    <a:pt x="5280" y="9092"/>
                    <a:pt x="5269" y="9079"/>
                  </a:cubicBezTo>
                  <a:cubicBezTo>
                    <a:pt x="5301" y="9053"/>
                    <a:pt x="5328" y="9028"/>
                    <a:pt x="5351" y="9005"/>
                  </a:cubicBezTo>
                  <a:close/>
                  <a:moveTo>
                    <a:pt x="5330" y="8960"/>
                  </a:moveTo>
                  <a:cubicBezTo>
                    <a:pt x="5330" y="8961"/>
                    <a:pt x="5330" y="8961"/>
                    <a:pt x="5330" y="8961"/>
                  </a:cubicBezTo>
                  <a:cubicBezTo>
                    <a:pt x="5330" y="8961"/>
                    <a:pt x="5330" y="8961"/>
                    <a:pt x="5330" y="8961"/>
                  </a:cubicBezTo>
                  <a:lnTo>
                    <a:pt x="5330" y="8960"/>
                  </a:lnTo>
                  <a:close/>
                  <a:moveTo>
                    <a:pt x="6437" y="10637"/>
                  </a:moveTo>
                  <a:cubicBezTo>
                    <a:pt x="6429" y="10643"/>
                    <a:pt x="6429" y="10643"/>
                    <a:pt x="6429" y="10643"/>
                  </a:cubicBezTo>
                  <a:cubicBezTo>
                    <a:pt x="6367" y="10572"/>
                    <a:pt x="6367" y="10572"/>
                    <a:pt x="6367" y="10572"/>
                  </a:cubicBezTo>
                  <a:cubicBezTo>
                    <a:pt x="6241" y="10682"/>
                    <a:pt x="6241" y="10682"/>
                    <a:pt x="6241" y="10682"/>
                  </a:cubicBezTo>
                  <a:cubicBezTo>
                    <a:pt x="6351" y="10808"/>
                    <a:pt x="6351" y="10808"/>
                    <a:pt x="6351" y="10808"/>
                  </a:cubicBezTo>
                  <a:cubicBezTo>
                    <a:pt x="6420" y="10747"/>
                    <a:pt x="6420" y="10747"/>
                    <a:pt x="6420" y="10747"/>
                  </a:cubicBezTo>
                  <a:cubicBezTo>
                    <a:pt x="6403" y="10864"/>
                    <a:pt x="6403" y="10864"/>
                    <a:pt x="6403" y="10864"/>
                  </a:cubicBezTo>
                  <a:cubicBezTo>
                    <a:pt x="6141" y="10861"/>
                    <a:pt x="6141" y="10861"/>
                    <a:pt x="6141" y="10861"/>
                  </a:cubicBezTo>
                  <a:cubicBezTo>
                    <a:pt x="6211" y="10499"/>
                    <a:pt x="6211" y="10499"/>
                    <a:pt x="6211" y="10499"/>
                  </a:cubicBezTo>
                  <a:cubicBezTo>
                    <a:pt x="6257" y="10503"/>
                    <a:pt x="6355" y="10511"/>
                    <a:pt x="6455" y="10519"/>
                  </a:cubicBezTo>
                  <a:lnTo>
                    <a:pt x="6437" y="10637"/>
                  </a:lnTo>
                  <a:close/>
                  <a:moveTo>
                    <a:pt x="6450" y="10643"/>
                  </a:moveTo>
                  <a:cubicBezTo>
                    <a:pt x="6507" y="10599"/>
                    <a:pt x="6507" y="10599"/>
                    <a:pt x="6507" y="10599"/>
                  </a:cubicBezTo>
                  <a:cubicBezTo>
                    <a:pt x="6606" y="10713"/>
                    <a:pt x="6606" y="10713"/>
                    <a:pt x="6606" y="10713"/>
                  </a:cubicBezTo>
                  <a:cubicBezTo>
                    <a:pt x="6495" y="10803"/>
                    <a:pt x="6495" y="10803"/>
                    <a:pt x="6495" y="10803"/>
                  </a:cubicBezTo>
                  <a:cubicBezTo>
                    <a:pt x="6436" y="10735"/>
                    <a:pt x="6436" y="10735"/>
                    <a:pt x="6436" y="10735"/>
                  </a:cubicBezTo>
                  <a:lnTo>
                    <a:pt x="6450" y="10643"/>
                  </a:lnTo>
                  <a:close/>
                  <a:moveTo>
                    <a:pt x="6434" y="10656"/>
                  </a:moveTo>
                  <a:cubicBezTo>
                    <a:pt x="6424" y="10727"/>
                    <a:pt x="6424" y="10727"/>
                    <a:pt x="6424" y="10727"/>
                  </a:cubicBezTo>
                  <a:cubicBezTo>
                    <a:pt x="6353" y="10790"/>
                    <a:pt x="6353" y="10790"/>
                    <a:pt x="6353" y="10790"/>
                  </a:cubicBezTo>
                  <a:cubicBezTo>
                    <a:pt x="6260" y="10684"/>
                    <a:pt x="6260" y="10684"/>
                    <a:pt x="6260" y="10684"/>
                  </a:cubicBezTo>
                  <a:cubicBezTo>
                    <a:pt x="6366" y="10591"/>
                    <a:pt x="6366" y="10591"/>
                    <a:pt x="6366" y="10591"/>
                  </a:cubicBezTo>
                  <a:cubicBezTo>
                    <a:pt x="6427" y="10661"/>
                    <a:pt x="6427" y="10661"/>
                    <a:pt x="6427" y="10661"/>
                  </a:cubicBezTo>
                  <a:lnTo>
                    <a:pt x="6434" y="10656"/>
                  </a:lnTo>
                  <a:close/>
                  <a:moveTo>
                    <a:pt x="6065" y="10907"/>
                  </a:moveTo>
                  <a:cubicBezTo>
                    <a:pt x="5967" y="11394"/>
                    <a:pt x="5967" y="11394"/>
                    <a:pt x="5967" y="11394"/>
                  </a:cubicBezTo>
                  <a:cubicBezTo>
                    <a:pt x="5917" y="11542"/>
                    <a:pt x="5917" y="11542"/>
                    <a:pt x="5917" y="11542"/>
                  </a:cubicBezTo>
                  <a:cubicBezTo>
                    <a:pt x="5907" y="11519"/>
                    <a:pt x="5907" y="11519"/>
                    <a:pt x="5907" y="11519"/>
                  </a:cubicBezTo>
                  <a:cubicBezTo>
                    <a:pt x="6018" y="10049"/>
                    <a:pt x="6018" y="10049"/>
                    <a:pt x="6018" y="10049"/>
                  </a:cubicBezTo>
                  <a:cubicBezTo>
                    <a:pt x="6059" y="10047"/>
                    <a:pt x="6096" y="10045"/>
                    <a:pt x="6128" y="10044"/>
                  </a:cubicBezTo>
                  <a:cubicBezTo>
                    <a:pt x="6176" y="10042"/>
                    <a:pt x="6212" y="10041"/>
                    <a:pt x="6233" y="10041"/>
                  </a:cubicBezTo>
                  <a:lnTo>
                    <a:pt x="6065" y="10907"/>
                  </a:lnTo>
                  <a:close/>
                  <a:moveTo>
                    <a:pt x="5729" y="12421"/>
                  </a:moveTo>
                  <a:cubicBezTo>
                    <a:pt x="5583" y="12395"/>
                    <a:pt x="5583" y="12395"/>
                    <a:pt x="5583" y="12395"/>
                  </a:cubicBezTo>
                  <a:cubicBezTo>
                    <a:pt x="5566" y="12491"/>
                    <a:pt x="5566" y="12491"/>
                    <a:pt x="5566" y="12491"/>
                  </a:cubicBezTo>
                  <a:cubicBezTo>
                    <a:pt x="5565" y="12496"/>
                    <a:pt x="5565" y="12496"/>
                    <a:pt x="5565" y="12496"/>
                  </a:cubicBezTo>
                  <a:cubicBezTo>
                    <a:pt x="5467" y="12478"/>
                    <a:pt x="5377" y="12461"/>
                    <a:pt x="5377" y="12461"/>
                  </a:cubicBezTo>
                  <a:cubicBezTo>
                    <a:pt x="5374" y="12474"/>
                    <a:pt x="5374" y="12474"/>
                    <a:pt x="5374" y="12474"/>
                  </a:cubicBezTo>
                  <a:cubicBezTo>
                    <a:pt x="5375" y="12474"/>
                    <a:pt x="5704" y="12537"/>
                    <a:pt x="5784" y="12552"/>
                  </a:cubicBezTo>
                  <a:cubicBezTo>
                    <a:pt x="5753" y="12831"/>
                    <a:pt x="5753" y="12831"/>
                    <a:pt x="5753" y="12831"/>
                  </a:cubicBezTo>
                  <a:cubicBezTo>
                    <a:pt x="5719" y="12824"/>
                    <a:pt x="5636" y="12809"/>
                    <a:pt x="5555" y="12794"/>
                  </a:cubicBezTo>
                  <a:cubicBezTo>
                    <a:pt x="5465" y="12777"/>
                    <a:pt x="5376" y="12760"/>
                    <a:pt x="5351" y="12755"/>
                  </a:cubicBezTo>
                  <a:cubicBezTo>
                    <a:pt x="5338" y="12626"/>
                    <a:pt x="5338" y="12626"/>
                    <a:pt x="5338" y="12626"/>
                  </a:cubicBezTo>
                  <a:cubicBezTo>
                    <a:pt x="5347" y="12628"/>
                    <a:pt x="5756" y="12706"/>
                    <a:pt x="5765" y="12706"/>
                  </a:cubicBezTo>
                  <a:cubicBezTo>
                    <a:pt x="5765" y="12692"/>
                    <a:pt x="5765" y="12692"/>
                    <a:pt x="5765" y="12692"/>
                  </a:cubicBezTo>
                  <a:cubicBezTo>
                    <a:pt x="5764" y="12692"/>
                    <a:pt x="5656" y="12672"/>
                    <a:pt x="5551" y="12652"/>
                  </a:cubicBezTo>
                  <a:cubicBezTo>
                    <a:pt x="5445" y="12632"/>
                    <a:pt x="5340" y="12612"/>
                    <a:pt x="5340" y="12612"/>
                  </a:cubicBezTo>
                  <a:cubicBezTo>
                    <a:pt x="5337" y="12625"/>
                    <a:pt x="5337" y="12625"/>
                    <a:pt x="5337" y="12625"/>
                  </a:cubicBezTo>
                  <a:cubicBezTo>
                    <a:pt x="5337" y="12624"/>
                    <a:pt x="5337" y="12624"/>
                    <a:pt x="5337" y="12624"/>
                  </a:cubicBezTo>
                  <a:cubicBezTo>
                    <a:pt x="5394" y="12344"/>
                    <a:pt x="5394" y="12344"/>
                    <a:pt x="5394" y="12344"/>
                  </a:cubicBezTo>
                  <a:cubicBezTo>
                    <a:pt x="5436" y="12352"/>
                    <a:pt x="5726" y="12407"/>
                    <a:pt x="5799" y="12420"/>
                  </a:cubicBezTo>
                  <a:cubicBezTo>
                    <a:pt x="5786" y="12538"/>
                    <a:pt x="5786" y="12538"/>
                    <a:pt x="5786" y="12538"/>
                  </a:cubicBezTo>
                  <a:cubicBezTo>
                    <a:pt x="5770" y="12535"/>
                    <a:pt x="5743" y="12530"/>
                    <a:pt x="5710" y="12524"/>
                  </a:cubicBezTo>
                  <a:lnTo>
                    <a:pt x="5729" y="12421"/>
                  </a:lnTo>
                  <a:close/>
                  <a:moveTo>
                    <a:pt x="5700" y="12509"/>
                  </a:moveTo>
                  <a:cubicBezTo>
                    <a:pt x="5580" y="12487"/>
                    <a:pt x="5580" y="12487"/>
                    <a:pt x="5580" y="12487"/>
                  </a:cubicBezTo>
                  <a:cubicBezTo>
                    <a:pt x="5594" y="12410"/>
                    <a:pt x="5594" y="12410"/>
                    <a:pt x="5594" y="12410"/>
                  </a:cubicBezTo>
                  <a:cubicBezTo>
                    <a:pt x="5714" y="12431"/>
                    <a:pt x="5714" y="12431"/>
                    <a:pt x="5714" y="12431"/>
                  </a:cubicBezTo>
                  <a:lnTo>
                    <a:pt x="5700" y="12509"/>
                  </a:lnTo>
                  <a:close/>
                  <a:moveTo>
                    <a:pt x="4919" y="12874"/>
                  </a:moveTo>
                  <a:cubicBezTo>
                    <a:pt x="4963" y="12881"/>
                    <a:pt x="5034" y="12891"/>
                    <a:pt x="5105" y="12901"/>
                  </a:cubicBezTo>
                  <a:cubicBezTo>
                    <a:pt x="5220" y="12918"/>
                    <a:pt x="5338" y="12935"/>
                    <a:pt x="5341" y="12936"/>
                  </a:cubicBezTo>
                  <a:cubicBezTo>
                    <a:pt x="5341" y="12936"/>
                    <a:pt x="5347" y="12937"/>
                    <a:pt x="5356" y="12938"/>
                  </a:cubicBezTo>
                  <a:cubicBezTo>
                    <a:pt x="5372" y="13098"/>
                    <a:pt x="5372" y="13098"/>
                    <a:pt x="5372" y="13098"/>
                  </a:cubicBezTo>
                  <a:cubicBezTo>
                    <a:pt x="5370" y="13107"/>
                    <a:pt x="5358" y="13161"/>
                    <a:pt x="5345" y="13218"/>
                  </a:cubicBezTo>
                  <a:cubicBezTo>
                    <a:pt x="5331" y="13274"/>
                    <a:pt x="5316" y="13334"/>
                    <a:pt x="5311" y="13346"/>
                  </a:cubicBezTo>
                  <a:cubicBezTo>
                    <a:pt x="5292" y="13342"/>
                    <a:pt x="5292" y="13342"/>
                    <a:pt x="5292" y="13342"/>
                  </a:cubicBezTo>
                  <a:cubicBezTo>
                    <a:pt x="5048" y="13344"/>
                    <a:pt x="5048" y="13344"/>
                    <a:pt x="5048" y="13344"/>
                  </a:cubicBezTo>
                  <a:cubicBezTo>
                    <a:pt x="5049" y="13336"/>
                    <a:pt x="5049" y="13325"/>
                    <a:pt x="5049" y="13312"/>
                  </a:cubicBezTo>
                  <a:cubicBezTo>
                    <a:pt x="5049" y="13225"/>
                    <a:pt x="5037" y="13037"/>
                    <a:pt x="4919" y="12874"/>
                  </a:cubicBezTo>
                  <a:close/>
                  <a:moveTo>
                    <a:pt x="2400" y="13575"/>
                  </a:moveTo>
                  <a:cubicBezTo>
                    <a:pt x="2621" y="13000"/>
                    <a:pt x="2621" y="13000"/>
                    <a:pt x="2621" y="13000"/>
                  </a:cubicBezTo>
                  <a:cubicBezTo>
                    <a:pt x="2683" y="13018"/>
                    <a:pt x="2745" y="13036"/>
                    <a:pt x="2793" y="13052"/>
                  </a:cubicBezTo>
                  <a:cubicBezTo>
                    <a:pt x="2865" y="13076"/>
                    <a:pt x="2930" y="13140"/>
                    <a:pt x="2976" y="13199"/>
                  </a:cubicBezTo>
                  <a:cubicBezTo>
                    <a:pt x="3002" y="13233"/>
                    <a:pt x="3022" y="13265"/>
                    <a:pt x="3034" y="13286"/>
                  </a:cubicBezTo>
                  <a:cubicBezTo>
                    <a:pt x="3003" y="13292"/>
                    <a:pt x="2974" y="13300"/>
                    <a:pt x="2950" y="13308"/>
                  </a:cubicBezTo>
                  <a:cubicBezTo>
                    <a:pt x="2888" y="13330"/>
                    <a:pt x="2833" y="13349"/>
                    <a:pt x="2800" y="13400"/>
                  </a:cubicBezTo>
                  <a:cubicBezTo>
                    <a:pt x="2745" y="13489"/>
                    <a:pt x="2714" y="13618"/>
                    <a:pt x="2700" y="13684"/>
                  </a:cubicBezTo>
                  <a:lnTo>
                    <a:pt x="2400" y="13575"/>
                  </a:lnTo>
                  <a:close/>
                  <a:moveTo>
                    <a:pt x="2689" y="13750"/>
                  </a:moveTo>
                  <a:cubicBezTo>
                    <a:pt x="2640" y="13796"/>
                    <a:pt x="2481" y="13947"/>
                    <a:pt x="2351" y="14072"/>
                  </a:cubicBezTo>
                  <a:cubicBezTo>
                    <a:pt x="2163" y="13956"/>
                    <a:pt x="2163" y="13956"/>
                    <a:pt x="2163" y="13956"/>
                  </a:cubicBezTo>
                  <a:cubicBezTo>
                    <a:pt x="2459" y="13666"/>
                    <a:pt x="2459" y="13666"/>
                    <a:pt x="2459" y="13666"/>
                  </a:cubicBezTo>
                  <a:lnTo>
                    <a:pt x="2689" y="13750"/>
                  </a:lnTo>
                  <a:close/>
                  <a:moveTo>
                    <a:pt x="2512" y="11762"/>
                  </a:moveTo>
                  <a:cubicBezTo>
                    <a:pt x="2696" y="11709"/>
                    <a:pt x="2696" y="11709"/>
                    <a:pt x="2696" y="11709"/>
                  </a:cubicBezTo>
                  <a:cubicBezTo>
                    <a:pt x="2782" y="11625"/>
                    <a:pt x="2782" y="11625"/>
                    <a:pt x="2782" y="11625"/>
                  </a:cubicBezTo>
                  <a:cubicBezTo>
                    <a:pt x="2876" y="11731"/>
                    <a:pt x="2876" y="11731"/>
                    <a:pt x="2876" y="11731"/>
                  </a:cubicBezTo>
                  <a:cubicBezTo>
                    <a:pt x="3003" y="11775"/>
                    <a:pt x="3003" y="11775"/>
                    <a:pt x="3003" y="11775"/>
                  </a:cubicBezTo>
                  <a:cubicBezTo>
                    <a:pt x="2984" y="11829"/>
                    <a:pt x="2891" y="12094"/>
                    <a:pt x="2875" y="12138"/>
                  </a:cubicBezTo>
                  <a:cubicBezTo>
                    <a:pt x="2856" y="12135"/>
                    <a:pt x="2789" y="12125"/>
                    <a:pt x="2725" y="12115"/>
                  </a:cubicBezTo>
                  <a:cubicBezTo>
                    <a:pt x="2664" y="12105"/>
                    <a:pt x="2605" y="12096"/>
                    <a:pt x="2582" y="12093"/>
                  </a:cubicBezTo>
                  <a:cubicBezTo>
                    <a:pt x="2620" y="11970"/>
                    <a:pt x="2620" y="11970"/>
                    <a:pt x="2620" y="11970"/>
                  </a:cubicBezTo>
                  <a:cubicBezTo>
                    <a:pt x="2375" y="11959"/>
                    <a:pt x="2375" y="11959"/>
                    <a:pt x="2375" y="11959"/>
                  </a:cubicBezTo>
                  <a:cubicBezTo>
                    <a:pt x="2391" y="11912"/>
                    <a:pt x="2430" y="11797"/>
                    <a:pt x="2442" y="11767"/>
                  </a:cubicBezTo>
                  <a:lnTo>
                    <a:pt x="2512" y="11762"/>
                  </a:lnTo>
                  <a:close/>
                  <a:moveTo>
                    <a:pt x="2340" y="11730"/>
                  </a:moveTo>
                  <a:cubicBezTo>
                    <a:pt x="2349" y="11706"/>
                    <a:pt x="2360" y="11681"/>
                    <a:pt x="2371" y="11654"/>
                  </a:cubicBezTo>
                  <a:cubicBezTo>
                    <a:pt x="2399" y="11651"/>
                    <a:pt x="2424" y="11644"/>
                    <a:pt x="2442" y="11634"/>
                  </a:cubicBezTo>
                  <a:cubicBezTo>
                    <a:pt x="2443" y="11638"/>
                    <a:pt x="2445" y="11642"/>
                    <a:pt x="2448" y="11646"/>
                  </a:cubicBezTo>
                  <a:cubicBezTo>
                    <a:pt x="2455" y="11658"/>
                    <a:pt x="2471" y="11669"/>
                    <a:pt x="2496" y="11671"/>
                  </a:cubicBezTo>
                  <a:cubicBezTo>
                    <a:pt x="2505" y="11672"/>
                    <a:pt x="2514" y="11672"/>
                    <a:pt x="2524" y="11672"/>
                  </a:cubicBezTo>
                  <a:cubicBezTo>
                    <a:pt x="2574" y="11671"/>
                    <a:pt x="2636" y="11666"/>
                    <a:pt x="2665" y="11644"/>
                  </a:cubicBezTo>
                  <a:cubicBezTo>
                    <a:pt x="2679" y="11633"/>
                    <a:pt x="2700" y="11612"/>
                    <a:pt x="2721" y="11593"/>
                  </a:cubicBezTo>
                  <a:cubicBezTo>
                    <a:pt x="2742" y="11575"/>
                    <a:pt x="2765" y="11558"/>
                    <a:pt x="2772" y="11558"/>
                  </a:cubicBezTo>
                  <a:cubicBezTo>
                    <a:pt x="2772" y="11558"/>
                    <a:pt x="2772" y="11558"/>
                    <a:pt x="2773" y="11558"/>
                  </a:cubicBezTo>
                  <a:cubicBezTo>
                    <a:pt x="2765" y="11578"/>
                    <a:pt x="2765" y="11578"/>
                    <a:pt x="2765" y="11578"/>
                  </a:cubicBezTo>
                  <a:cubicBezTo>
                    <a:pt x="2673" y="11668"/>
                    <a:pt x="2673" y="11668"/>
                    <a:pt x="2673" y="11668"/>
                  </a:cubicBezTo>
                  <a:cubicBezTo>
                    <a:pt x="2504" y="11717"/>
                    <a:pt x="2504" y="11717"/>
                    <a:pt x="2504" y="11717"/>
                  </a:cubicBezTo>
                  <a:lnTo>
                    <a:pt x="2340" y="11730"/>
                  </a:lnTo>
                  <a:close/>
                  <a:moveTo>
                    <a:pt x="3165" y="11656"/>
                  </a:moveTo>
                  <a:cubicBezTo>
                    <a:pt x="3197" y="11681"/>
                    <a:pt x="3244" y="11738"/>
                    <a:pt x="3282" y="11790"/>
                  </a:cubicBezTo>
                  <a:cubicBezTo>
                    <a:pt x="3301" y="11814"/>
                    <a:pt x="3317" y="11837"/>
                    <a:pt x="3329" y="11855"/>
                  </a:cubicBezTo>
                  <a:cubicBezTo>
                    <a:pt x="3243" y="11811"/>
                    <a:pt x="3243" y="11811"/>
                    <a:pt x="3243" y="11811"/>
                  </a:cubicBezTo>
                  <a:cubicBezTo>
                    <a:pt x="3208" y="11799"/>
                    <a:pt x="3208" y="11799"/>
                    <a:pt x="3208" y="11799"/>
                  </a:cubicBezTo>
                  <a:cubicBezTo>
                    <a:pt x="3211" y="11796"/>
                    <a:pt x="3211" y="11796"/>
                    <a:pt x="3211" y="11796"/>
                  </a:cubicBezTo>
                  <a:cubicBezTo>
                    <a:pt x="3211" y="11796"/>
                    <a:pt x="3171" y="11741"/>
                    <a:pt x="3117" y="11685"/>
                  </a:cubicBezTo>
                  <a:cubicBezTo>
                    <a:pt x="3058" y="11626"/>
                    <a:pt x="2988" y="11617"/>
                    <a:pt x="2917" y="11571"/>
                  </a:cubicBezTo>
                  <a:cubicBezTo>
                    <a:pt x="2883" y="11549"/>
                    <a:pt x="2854" y="11538"/>
                    <a:pt x="2830" y="11533"/>
                  </a:cubicBezTo>
                  <a:cubicBezTo>
                    <a:pt x="2873" y="11423"/>
                    <a:pt x="2873" y="11423"/>
                    <a:pt x="2873" y="11423"/>
                  </a:cubicBezTo>
                  <a:cubicBezTo>
                    <a:pt x="2878" y="11432"/>
                    <a:pt x="2884" y="11444"/>
                    <a:pt x="2890" y="11456"/>
                  </a:cubicBezTo>
                  <a:cubicBezTo>
                    <a:pt x="2904" y="11483"/>
                    <a:pt x="2917" y="11509"/>
                    <a:pt x="2922" y="11515"/>
                  </a:cubicBezTo>
                  <a:cubicBezTo>
                    <a:pt x="2923" y="11516"/>
                    <a:pt x="2922" y="11517"/>
                    <a:pt x="2925" y="11518"/>
                  </a:cubicBezTo>
                  <a:cubicBezTo>
                    <a:pt x="2925" y="11518"/>
                    <a:pt x="2925" y="11518"/>
                    <a:pt x="2925" y="11518"/>
                  </a:cubicBezTo>
                  <a:cubicBezTo>
                    <a:pt x="2975" y="11538"/>
                    <a:pt x="3099" y="11605"/>
                    <a:pt x="3165" y="11656"/>
                  </a:cubicBezTo>
                  <a:close/>
                  <a:moveTo>
                    <a:pt x="3255" y="11384"/>
                  </a:moveTo>
                  <a:cubicBezTo>
                    <a:pt x="3222" y="11418"/>
                    <a:pt x="3222" y="11418"/>
                    <a:pt x="3222" y="11418"/>
                  </a:cubicBezTo>
                  <a:cubicBezTo>
                    <a:pt x="3221" y="11417"/>
                    <a:pt x="3221" y="11417"/>
                    <a:pt x="3221" y="11417"/>
                  </a:cubicBezTo>
                  <a:cubicBezTo>
                    <a:pt x="3221" y="11418"/>
                    <a:pt x="3221" y="11418"/>
                    <a:pt x="3221" y="11418"/>
                  </a:cubicBezTo>
                  <a:cubicBezTo>
                    <a:pt x="3122" y="11340"/>
                    <a:pt x="3122" y="11340"/>
                    <a:pt x="3122" y="11340"/>
                  </a:cubicBezTo>
                  <a:cubicBezTo>
                    <a:pt x="3141" y="11316"/>
                    <a:pt x="3141" y="11316"/>
                    <a:pt x="3141" y="11316"/>
                  </a:cubicBezTo>
                  <a:cubicBezTo>
                    <a:pt x="3138" y="11322"/>
                    <a:pt x="3138" y="11322"/>
                    <a:pt x="3138" y="11322"/>
                  </a:cubicBezTo>
                  <a:lnTo>
                    <a:pt x="3255" y="11384"/>
                  </a:lnTo>
                  <a:close/>
                  <a:moveTo>
                    <a:pt x="4307" y="11635"/>
                  </a:moveTo>
                  <a:cubicBezTo>
                    <a:pt x="4296" y="11901"/>
                    <a:pt x="4296" y="11901"/>
                    <a:pt x="4296" y="11901"/>
                  </a:cubicBezTo>
                  <a:cubicBezTo>
                    <a:pt x="4233" y="11989"/>
                    <a:pt x="4233" y="11989"/>
                    <a:pt x="4233" y="11989"/>
                  </a:cubicBezTo>
                  <a:cubicBezTo>
                    <a:pt x="3632" y="11203"/>
                    <a:pt x="3632" y="11203"/>
                    <a:pt x="3632" y="11203"/>
                  </a:cubicBezTo>
                  <a:cubicBezTo>
                    <a:pt x="3951" y="11093"/>
                    <a:pt x="3951" y="11093"/>
                    <a:pt x="3951" y="11093"/>
                  </a:cubicBezTo>
                  <a:cubicBezTo>
                    <a:pt x="3949" y="11095"/>
                    <a:pt x="3949" y="11095"/>
                    <a:pt x="3949" y="11095"/>
                  </a:cubicBezTo>
                  <a:lnTo>
                    <a:pt x="4307" y="11635"/>
                  </a:lnTo>
                  <a:close/>
                  <a:moveTo>
                    <a:pt x="5824" y="9169"/>
                  </a:moveTo>
                  <a:cubicBezTo>
                    <a:pt x="6007" y="9202"/>
                    <a:pt x="6007" y="9202"/>
                    <a:pt x="6007" y="9202"/>
                  </a:cubicBezTo>
                  <a:cubicBezTo>
                    <a:pt x="5964" y="9320"/>
                    <a:pt x="5964" y="9320"/>
                    <a:pt x="5964" y="9320"/>
                  </a:cubicBezTo>
                  <a:cubicBezTo>
                    <a:pt x="5789" y="9290"/>
                    <a:pt x="5789" y="9290"/>
                    <a:pt x="5789" y="9290"/>
                  </a:cubicBezTo>
                  <a:lnTo>
                    <a:pt x="5824" y="9169"/>
                  </a:lnTo>
                  <a:close/>
                  <a:moveTo>
                    <a:pt x="5792" y="9224"/>
                  </a:moveTo>
                  <a:cubicBezTo>
                    <a:pt x="5793" y="9227"/>
                    <a:pt x="5793" y="9227"/>
                    <a:pt x="5793" y="9227"/>
                  </a:cubicBezTo>
                  <a:cubicBezTo>
                    <a:pt x="5793" y="9227"/>
                    <a:pt x="5793" y="9227"/>
                    <a:pt x="5793" y="9227"/>
                  </a:cubicBezTo>
                  <a:lnTo>
                    <a:pt x="5792" y="9224"/>
                  </a:lnTo>
                  <a:close/>
                  <a:moveTo>
                    <a:pt x="5825" y="9745"/>
                  </a:moveTo>
                  <a:cubicBezTo>
                    <a:pt x="5872" y="9616"/>
                    <a:pt x="5872" y="9616"/>
                    <a:pt x="5872" y="9616"/>
                  </a:cubicBezTo>
                  <a:cubicBezTo>
                    <a:pt x="5999" y="9636"/>
                    <a:pt x="5999" y="9636"/>
                    <a:pt x="5999" y="9636"/>
                  </a:cubicBezTo>
                  <a:cubicBezTo>
                    <a:pt x="5958" y="9751"/>
                    <a:pt x="5958" y="9751"/>
                    <a:pt x="5958" y="9751"/>
                  </a:cubicBezTo>
                  <a:cubicBezTo>
                    <a:pt x="5917" y="9749"/>
                    <a:pt x="5870" y="9747"/>
                    <a:pt x="5825" y="9745"/>
                  </a:cubicBezTo>
                  <a:close/>
                  <a:moveTo>
                    <a:pt x="5953" y="9764"/>
                  </a:moveTo>
                  <a:cubicBezTo>
                    <a:pt x="5894" y="9926"/>
                    <a:pt x="5894" y="9926"/>
                    <a:pt x="5894" y="9926"/>
                  </a:cubicBezTo>
                  <a:cubicBezTo>
                    <a:pt x="5776" y="9881"/>
                    <a:pt x="5776" y="9881"/>
                    <a:pt x="5776" y="9881"/>
                  </a:cubicBezTo>
                  <a:cubicBezTo>
                    <a:pt x="5820" y="9759"/>
                    <a:pt x="5820" y="9759"/>
                    <a:pt x="5820" y="9759"/>
                  </a:cubicBezTo>
                  <a:cubicBezTo>
                    <a:pt x="5864" y="9761"/>
                    <a:pt x="5912" y="9763"/>
                    <a:pt x="5953" y="9764"/>
                  </a:cubicBezTo>
                  <a:close/>
                  <a:moveTo>
                    <a:pt x="5169" y="11616"/>
                  </a:moveTo>
                  <a:cubicBezTo>
                    <a:pt x="5169" y="11613"/>
                    <a:pt x="5169" y="11610"/>
                    <a:pt x="5169" y="11607"/>
                  </a:cubicBezTo>
                  <a:cubicBezTo>
                    <a:pt x="5169" y="11578"/>
                    <a:pt x="5167" y="11550"/>
                    <a:pt x="5161" y="11522"/>
                  </a:cubicBezTo>
                  <a:cubicBezTo>
                    <a:pt x="5155" y="11492"/>
                    <a:pt x="5139" y="11366"/>
                    <a:pt x="5119" y="11203"/>
                  </a:cubicBezTo>
                  <a:cubicBezTo>
                    <a:pt x="5589" y="11144"/>
                    <a:pt x="5589" y="11144"/>
                    <a:pt x="5589" y="11144"/>
                  </a:cubicBezTo>
                  <a:cubicBezTo>
                    <a:pt x="5868" y="11166"/>
                    <a:pt x="5868" y="11166"/>
                    <a:pt x="5868" y="11166"/>
                  </a:cubicBezTo>
                  <a:cubicBezTo>
                    <a:pt x="5848" y="11420"/>
                    <a:pt x="5848" y="11420"/>
                    <a:pt x="5848" y="11420"/>
                  </a:cubicBezTo>
                  <a:cubicBezTo>
                    <a:pt x="5809" y="11423"/>
                    <a:pt x="5728" y="11427"/>
                    <a:pt x="5728" y="11427"/>
                  </a:cubicBezTo>
                  <a:cubicBezTo>
                    <a:pt x="5727" y="11428"/>
                    <a:pt x="5727" y="11428"/>
                    <a:pt x="5727" y="11428"/>
                  </a:cubicBezTo>
                  <a:lnTo>
                    <a:pt x="5169" y="11616"/>
                  </a:lnTo>
                  <a:close/>
                  <a:moveTo>
                    <a:pt x="5424" y="11545"/>
                  </a:moveTo>
                  <a:cubicBezTo>
                    <a:pt x="5625" y="11705"/>
                    <a:pt x="5625" y="11705"/>
                    <a:pt x="5625" y="11705"/>
                  </a:cubicBezTo>
                  <a:cubicBezTo>
                    <a:pt x="5628" y="11724"/>
                    <a:pt x="5643" y="11835"/>
                    <a:pt x="5650" y="11880"/>
                  </a:cubicBezTo>
                  <a:cubicBezTo>
                    <a:pt x="5326" y="11851"/>
                    <a:pt x="5326" y="11851"/>
                    <a:pt x="5326" y="11851"/>
                  </a:cubicBezTo>
                  <a:cubicBezTo>
                    <a:pt x="5325" y="11844"/>
                    <a:pt x="5325" y="11834"/>
                    <a:pt x="5325" y="11822"/>
                  </a:cubicBezTo>
                  <a:cubicBezTo>
                    <a:pt x="5323" y="11797"/>
                    <a:pt x="5322" y="11763"/>
                    <a:pt x="5321" y="11729"/>
                  </a:cubicBezTo>
                  <a:cubicBezTo>
                    <a:pt x="5318" y="11666"/>
                    <a:pt x="5315" y="11603"/>
                    <a:pt x="5312" y="11582"/>
                  </a:cubicBezTo>
                  <a:lnTo>
                    <a:pt x="5424" y="11545"/>
                  </a:lnTo>
                  <a:close/>
                  <a:moveTo>
                    <a:pt x="5312" y="11850"/>
                  </a:moveTo>
                  <a:cubicBezTo>
                    <a:pt x="5137" y="11834"/>
                    <a:pt x="5137" y="11834"/>
                    <a:pt x="5137" y="11834"/>
                  </a:cubicBezTo>
                  <a:cubicBezTo>
                    <a:pt x="5151" y="11774"/>
                    <a:pt x="5165" y="11703"/>
                    <a:pt x="5168" y="11631"/>
                  </a:cubicBezTo>
                  <a:cubicBezTo>
                    <a:pt x="5298" y="11587"/>
                    <a:pt x="5298" y="11587"/>
                    <a:pt x="5298" y="11587"/>
                  </a:cubicBezTo>
                  <a:cubicBezTo>
                    <a:pt x="5299" y="11588"/>
                    <a:pt x="5299" y="11589"/>
                    <a:pt x="5299" y="11590"/>
                  </a:cubicBezTo>
                  <a:cubicBezTo>
                    <a:pt x="5300" y="11597"/>
                    <a:pt x="5300" y="11607"/>
                    <a:pt x="5301" y="11618"/>
                  </a:cubicBezTo>
                  <a:cubicBezTo>
                    <a:pt x="5303" y="11642"/>
                    <a:pt x="5304" y="11674"/>
                    <a:pt x="5306" y="11707"/>
                  </a:cubicBezTo>
                  <a:cubicBezTo>
                    <a:pt x="5308" y="11764"/>
                    <a:pt x="5310" y="11823"/>
                    <a:pt x="5312" y="11850"/>
                  </a:cubicBezTo>
                  <a:close/>
                  <a:moveTo>
                    <a:pt x="5126" y="11882"/>
                  </a:moveTo>
                  <a:cubicBezTo>
                    <a:pt x="5126" y="11881"/>
                    <a:pt x="5126" y="11880"/>
                    <a:pt x="5127" y="11879"/>
                  </a:cubicBezTo>
                  <a:cubicBezTo>
                    <a:pt x="5467" y="11909"/>
                    <a:pt x="5467" y="11909"/>
                    <a:pt x="5467" y="11909"/>
                  </a:cubicBezTo>
                  <a:cubicBezTo>
                    <a:pt x="5448" y="12001"/>
                    <a:pt x="5448" y="12001"/>
                    <a:pt x="5448" y="12001"/>
                  </a:cubicBezTo>
                  <a:cubicBezTo>
                    <a:pt x="5410" y="12000"/>
                    <a:pt x="5108" y="11978"/>
                    <a:pt x="5089" y="11977"/>
                  </a:cubicBezTo>
                  <a:cubicBezTo>
                    <a:pt x="5105" y="11945"/>
                    <a:pt x="5118" y="11914"/>
                    <a:pt x="5126" y="11882"/>
                  </a:cubicBezTo>
                  <a:close/>
                  <a:moveTo>
                    <a:pt x="5261" y="12117"/>
                  </a:moveTo>
                  <a:cubicBezTo>
                    <a:pt x="5266" y="12013"/>
                    <a:pt x="5266" y="12013"/>
                    <a:pt x="5266" y="12013"/>
                  </a:cubicBezTo>
                  <a:cubicBezTo>
                    <a:pt x="5118" y="12006"/>
                    <a:pt x="5118" y="12006"/>
                    <a:pt x="5118" y="12006"/>
                  </a:cubicBezTo>
                  <a:cubicBezTo>
                    <a:pt x="5114" y="12103"/>
                    <a:pt x="5114" y="12103"/>
                    <a:pt x="5114" y="12103"/>
                  </a:cubicBezTo>
                  <a:cubicBezTo>
                    <a:pt x="5113" y="12109"/>
                    <a:pt x="5113" y="12109"/>
                    <a:pt x="5113" y="12109"/>
                  </a:cubicBezTo>
                  <a:cubicBezTo>
                    <a:pt x="5072" y="12106"/>
                    <a:pt x="5035" y="12104"/>
                    <a:pt x="5011" y="12102"/>
                  </a:cubicBezTo>
                  <a:cubicBezTo>
                    <a:pt x="5038" y="12063"/>
                    <a:pt x="5065" y="12022"/>
                    <a:pt x="5087" y="11981"/>
                  </a:cubicBezTo>
                  <a:cubicBezTo>
                    <a:pt x="5086" y="11991"/>
                    <a:pt x="5086" y="11991"/>
                    <a:pt x="5086" y="11991"/>
                  </a:cubicBezTo>
                  <a:cubicBezTo>
                    <a:pt x="5086" y="11991"/>
                    <a:pt x="5394" y="12013"/>
                    <a:pt x="5445" y="12015"/>
                  </a:cubicBezTo>
                  <a:cubicBezTo>
                    <a:pt x="5422" y="12130"/>
                    <a:pt x="5422" y="12130"/>
                    <a:pt x="5422" y="12130"/>
                  </a:cubicBezTo>
                  <a:cubicBezTo>
                    <a:pt x="5395" y="12128"/>
                    <a:pt x="5288" y="12120"/>
                    <a:pt x="5185" y="12113"/>
                  </a:cubicBezTo>
                  <a:lnTo>
                    <a:pt x="5261" y="12117"/>
                  </a:lnTo>
                  <a:close/>
                  <a:moveTo>
                    <a:pt x="5127" y="12098"/>
                  </a:moveTo>
                  <a:cubicBezTo>
                    <a:pt x="5130" y="12019"/>
                    <a:pt x="5130" y="12019"/>
                    <a:pt x="5130" y="12019"/>
                  </a:cubicBezTo>
                  <a:cubicBezTo>
                    <a:pt x="5252" y="12025"/>
                    <a:pt x="5252" y="12025"/>
                    <a:pt x="5252" y="12025"/>
                  </a:cubicBezTo>
                  <a:cubicBezTo>
                    <a:pt x="5249" y="12103"/>
                    <a:pt x="5249" y="12103"/>
                    <a:pt x="5249" y="12103"/>
                  </a:cubicBezTo>
                  <a:lnTo>
                    <a:pt x="5127" y="12098"/>
                  </a:lnTo>
                  <a:close/>
                  <a:moveTo>
                    <a:pt x="5077" y="11800"/>
                  </a:moveTo>
                  <a:cubicBezTo>
                    <a:pt x="5034" y="11745"/>
                    <a:pt x="4964" y="11654"/>
                    <a:pt x="4889" y="11558"/>
                  </a:cubicBezTo>
                  <a:cubicBezTo>
                    <a:pt x="4864" y="11526"/>
                    <a:pt x="4839" y="11492"/>
                    <a:pt x="4814" y="11460"/>
                  </a:cubicBezTo>
                  <a:cubicBezTo>
                    <a:pt x="4842" y="11460"/>
                    <a:pt x="4898" y="11460"/>
                    <a:pt x="4954" y="11460"/>
                  </a:cubicBezTo>
                  <a:cubicBezTo>
                    <a:pt x="5005" y="11460"/>
                    <a:pt x="5057" y="11461"/>
                    <a:pt x="5086" y="11461"/>
                  </a:cubicBezTo>
                  <a:cubicBezTo>
                    <a:pt x="5091" y="11496"/>
                    <a:pt x="5094" y="11522"/>
                    <a:pt x="5097" y="11534"/>
                  </a:cubicBezTo>
                  <a:cubicBezTo>
                    <a:pt x="5101" y="11557"/>
                    <a:pt x="5103" y="11582"/>
                    <a:pt x="5103" y="11607"/>
                  </a:cubicBezTo>
                  <a:cubicBezTo>
                    <a:pt x="5103" y="11671"/>
                    <a:pt x="5091" y="11739"/>
                    <a:pt x="5077" y="11800"/>
                  </a:cubicBezTo>
                  <a:close/>
                  <a:moveTo>
                    <a:pt x="4954" y="11446"/>
                  </a:moveTo>
                  <a:cubicBezTo>
                    <a:pt x="4889" y="11446"/>
                    <a:pt x="4824" y="11446"/>
                    <a:pt x="4803" y="11446"/>
                  </a:cubicBezTo>
                  <a:cubicBezTo>
                    <a:pt x="4780" y="11416"/>
                    <a:pt x="4757" y="11386"/>
                    <a:pt x="4736" y="11358"/>
                  </a:cubicBezTo>
                  <a:cubicBezTo>
                    <a:pt x="5066" y="11307"/>
                    <a:pt x="5066" y="11307"/>
                    <a:pt x="5066" y="11307"/>
                  </a:cubicBezTo>
                  <a:cubicBezTo>
                    <a:pt x="5073" y="11362"/>
                    <a:pt x="5079" y="11409"/>
                    <a:pt x="5084" y="11447"/>
                  </a:cubicBezTo>
                  <a:cubicBezTo>
                    <a:pt x="5054" y="11447"/>
                    <a:pt x="5005" y="11446"/>
                    <a:pt x="4954" y="11446"/>
                  </a:cubicBezTo>
                  <a:close/>
                  <a:moveTo>
                    <a:pt x="4726" y="11346"/>
                  </a:moveTo>
                  <a:cubicBezTo>
                    <a:pt x="4684" y="11290"/>
                    <a:pt x="4647" y="11241"/>
                    <a:pt x="4623" y="11209"/>
                  </a:cubicBezTo>
                  <a:cubicBezTo>
                    <a:pt x="4686" y="11202"/>
                    <a:pt x="4960" y="11164"/>
                    <a:pt x="5047" y="11152"/>
                  </a:cubicBezTo>
                  <a:cubicBezTo>
                    <a:pt x="5053" y="11202"/>
                    <a:pt x="5059" y="11250"/>
                    <a:pt x="5064" y="11293"/>
                  </a:cubicBezTo>
                  <a:lnTo>
                    <a:pt x="4726" y="11346"/>
                  </a:lnTo>
                  <a:close/>
                  <a:moveTo>
                    <a:pt x="5027" y="10990"/>
                  </a:moveTo>
                  <a:cubicBezTo>
                    <a:pt x="5033" y="11041"/>
                    <a:pt x="5039" y="11090"/>
                    <a:pt x="5045" y="11138"/>
                  </a:cubicBezTo>
                  <a:cubicBezTo>
                    <a:pt x="5006" y="11143"/>
                    <a:pt x="4927" y="11154"/>
                    <a:pt x="4847" y="11165"/>
                  </a:cubicBezTo>
                  <a:cubicBezTo>
                    <a:pt x="4742" y="11180"/>
                    <a:pt x="4633" y="11194"/>
                    <a:pt x="4614" y="11196"/>
                  </a:cubicBezTo>
                  <a:cubicBezTo>
                    <a:pt x="4610" y="11190"/>
                    <a:pt x="4607" y="11185"/>
                    <a:pt x="4604" y="11181"/>
                  </a:cubicBezTo>
                  <a:cubicBezTo>
                    <a:pt x="4586" y="11155"/>
                    <a:pt x="4581" y="11136"/>
                    <a:pt x="4581" y="11122"/>
                  </a:cubicBezTo>
                  <a:cubicBezTo>
                    <a:pt x="4581" y="11104"/>
                    <a:pt x="4589" y="11091"/>
                    <a:pt x="4602" y="11079"/>
                  </a:cubicBezTo>
                  <a:cubicBezTo>
                    <a:pt x="4614" y="11067"/>
                    <a:pt x="4631" y="11058"/>
                    <a:pt x="4641" y="11055"/>
                  </a:cubicBezTo>
                  <a:cubicBezTo>
                    <a:pt x="4641" y="11055"/>
                    <a:pt x="4651" y="11052"/>
                    <a:pt x="4664" y="11050"/>
                  </a:cubicBezTo>
                  <a:cubicBezTo>
                    <a:pt x="4677" y="11047"/>
                    <a:pt x="4695" y="11044"/>
                    <a:pt x="4715" y="11040"/>
                  </a:cubicBezTo>
                  <a:cubicBezTo>
                    <a:pt x="4755" y="11033"/>
                    <a:pt x="4806" y="11025"/>
                    <a:pt x="4856" y="11017"/>
                  </a:cubicBezTo>
                  <a:cubicBezTo>
                    <a:pt x="4926" y="11005"/>
                    <a:pt x="4993" y="10995"/>
                    <a:pt x="5027" y="10990"/>
                  </a:cubicBezTo>
                  <a:close/>
                  <a:moveTo>
                    <a:pt x="4875" y="10947"/>
                  </a:moveTo>
                  <a:cubicBezTo>
                    <a:pt x="4818" y="10619"/>
                    <a:pt x="4818" y="10619"/>
                    <a:pt x="4818" y="10619"/>
                  </a:cubicBezTo>
                  <a:cubicBezTo>
                    <a:pt x="4891" y="10613"/>
                    <a:pt x="4952" y="10607"/>
                    <a:pt x="4982" y="10605"/>
                  </a:cubicBezTo>
                  <a:cubicBezTo>
                    <a:pt x="4989" y="10669"/>
                    <a:pt x="4997" y="10736"/>
                    <a:pt x="5005" y="10803"/>
                  </a:cubicBezTo>
                  <a:cubicBezTo>
                    <a:pt x="5010" y="10844"/>
                    <a:pt x="5015" y="10885"/>
                    <a:pt x="5019" y="10925"/>
                  </a:cubicBezTo>
                  <a:cubicBezTo>
                    <a:pt x="4991" y="10929"/>
                    <a:pt x="4936" y="10938"/>
                    <a:pt x="4875" y="10947"/>
                  </a:cubicBezTo>
                  <a:close/>
                  <a:moveTo>
                    <a:pt x="5021" y="10379"/>
                  </a:moveTo>
                  <a:cubicBezTo>
                    <a:pt x="5105" y="10361"/>
                    <a:pt x="5387" y="10302"/>
                    <a:pt x="5399" y="10300"/>
                  </a:cubicBezTo>
                  <a:cubicBezTo>
                    <a:pt x="5399" y="10300"/>
                    <a:pt x="5399" y="10300"/>
                    <a:pt x="5399" y="10300"/>
                  </a:cubicBezTo>
                  <a:cubicBezTo>
                    <a:pt x="5400" y="10300"/>
                    <a:pt x="5400" y="10299"/>
                    <a:pt x="5401" y="10299"/>
                  </a:cubicBezTo>
                  <a:cubicBezTo>
                    <a:pt x="5402" y="10299"/>
                    <a:pt x="5404" y="10299"/>
                    <a:pt x="5406" y="10299"/>
                  </a:cubicBezTo>
                  <a:cubicBezTo>
                    <a:pt x="5410" y="10299"/>
                    <a:pt x="5417" y="10299"/>
                    <a:pt x="5424" y="10299"/>
                  </a:cubicBezTo>
                  <a:cubicBezTo>
                    <a:pt x="5440" y="10298"/>
                    <a:pt x="5462" y="10298"/>
                    <a:pt x="5489" y="10297"/>
                  </a:cubicBezTo>
                  <a:cubicBezTo>
                    <a:pt x="5541" y="10296"/>
                    <a:pt x="5611" y="10294"/>
                    <a:pt x="5680" y="10293"/>
                  </a:cubicBezTo>
                  <a:cubicBezTo>
                    <a:pt x="5785" y="10291"/>
                    <a:pt x="5890" y="10289"/>
                    <a:pt x="5934" y="10288"/>
                  </a:cubicBezTo>
                  <a:cubicBezTo>
                    <a:pt x="5912" y="10576"/>
                    <a:pt x="5912" y="10576"/>
                    <a:pt x="5912" y="10576"/>
                  </a:cubicBezTo>
                  <a:cubicBezTo>
                    <a:pt x="5902" y="10576"/>
                    <a:pt x="5890" y="10576"/>
                    <a:pt x="5874" y="10576"/>
                  </a:cubicBezTo>
                  <a:cubicBezTo>
                    <a:pt x="5736" y="10576"/>
                    <a:pt x="5396" y="10579"/>
                    <a:pt x="5396" y="10579"/>
                  </a:cubicBezTo>
                  <a:cubicBezTo>
                    <a:pt x="5395" y="10579"/>
                    <a:pt x="5395" y="10579"/>
                    <a:pt x="5395" y="10579"/>
                  </a:cubicBezTo>
                  <a:cubicBezTo>
                    <a:pt x="5053" y="10647"/>
                    <a:pt x="5053" y="10647"/>
                    <a:pt x="5053" y="10647"/>
                  </a:cubicBezTo>
                  <a:cubicBezTo>
                    <a:pt x="5041" y="10549"/>
                    <a:pt x="5030" y="10457"/>
                    <a:pt x="5021" y="10379"/>
                  </a:cubicBezTo>
                  <a:close/>
                  <a:moveTo>
                    <a:pt x="5488" y="10283"/>
                  </a:moveTo>
                  <a:cubicBezTo>
                    <a:pt x="5435" y="10284"/>
                    <a:pt x="5401" y="10285"/>
                    <a:pt x="5396" y="10286"/>
                  </a:cubicBezTo>
                  <a:cubicBezTo>
                    <a:pt x="5390" y="10288"/>
                    <a:pt x="5106" y="10347"/>
                    <a:pt x="5020" y="10365"/>
                  </a:cubicBezTo>
                  <a:cubicBezTo>
                    <a:pt x="5009" y="10271"/>
                    <a:pt x="5001" y="10200"/>
                    <a:pt x="4997" y="10170"/>
                  </a:cubicBezTo>
                  <a:cubicBezTo>
                    <a:pt x="5347" y="10100"/>
                    <a:pt x="5707" y="10068"/>
                    <a:pt x="5952" y="10053"/>
                  </a:cubicBezTo>
                  <a:cubicBezTo>
                    <a:pt x="5935" y="10274"/>
                    <a:pt x="5935" y="10274"/>
                    <a:pt x="5935" y="10274"/>
                  </a:cubicBezTo>
                  <a:cubicBezTo>
                    <a:pt x="5865" y="10275"/>
                    <a:pt x="5622" y="10280"/>
                    <a:pt x="5488" y="10283"/>
                  </a:cubicBezTo>
                  <a:close/>
                  <a:moveTo>
                    <a:pt x="5172" y="10071"/>
                  </a:moveTo>
                  <a:cubicBezTo>
                    <a:pt x="5185" y="9687"/>
                    <a:pt x="5185" y="9687"/>
                    <a:pt x="5185" y="9687"/>
                  </a:cubicBezTo>
                  <a:cubicBezTo>
                    <a:pt x="5281" y="9685"/>
                    <a:pt x="5354" y="9683"/>
                    <a:pt x="5380" y="9683"/>
                  </a:cubicBezTo>
                  <a:cubicBezTo>
                    <a:pt x="5377" y="9742"/>
                    <a:pt x="5372" y="9806"/>
                    <a:pt x="5368" y="9864"/>
                  </a:cubicBezTo>
                  <a:cubicBezTo>
                    <a:pt x="5362" y="9943"/>
                    <a:pt x="5355" y="10011"/>
                    <a:pt x="5352" y="10045"/>
                  </a:cubicBezTo>
                  <a:cubicBezTo>
                    <a:pt x="5293" y="10053"/>
                    <a:pt x="5233" y="10061"/>
                    <a:pt x="5172" y="10071"/>
                  </a:cubicBezTo>
                  <a:close/>
                  <a:moveTo>
                    <a:pt x="5387" y="9324"/>
                  </a:moveTo>
                  <a:cubicBezTo>
                    <a:pt x="5751" y="9370"/>
                    <a:pt x="5751" y="9370"/>
                    <a:pt x="5751" y="9370"/>
                  </a:cubicBezTo>
                  <a:cubicBezTo>
                    <a:pt x="5713" y="9505"/>
                    <a:pt x="5713" y="9505"/>
                    <a:pt x="5713" y="9505"/>
                  </a:cubicBezTo>
                  <a:cubicBezTo>
                    <a:pt x="5691" y="9503"/>
                    <a:pt x="5624" y="9492"/>
                    <a:pt x="5560" y="9481"/>
                  </a:cubicBezTo>
                  <a:cubicBezTo>
                    <a:pt x="5504" y="9472"/>
                    <a:pt x="5450" y="9463"/>
                    <a:pt x="5424" y="9459"/>
                  </a:cubicBezTo>
                  <a:cubicBezTo>
                    <a:pt x="5417" y="9413"/>
                    <a:pt x="5403" y="9366"/>
                    <a:pt x="5387" y="9324"/>
                  </a:cubicBezTo>
                  <a:close/>
                  <a:moveTo>
                    <a:pt x="5428" y="9633"/>
                  </a:moveTo>
                  <a:cubicBezTo>
                    <a:pt x="5672" y="9654"/>
                    <a:pt x="5672" y="9654"/>
                    <a:pt x="5672" y="9654"/>
                  </a:cubicBezTo>
                  <a:cubicBezTo>
                    <a:pt x="5675" y="9802"/>
                    <a:pt x="5675" y="9802"/>
                    <a:pt x="5675" y="9802"/>
                  </a:cubicBezTo>
                  <a:cubicBezTo>
                    <a:pt x="5415" y="9843"/>
                    <a:pt x="5415" y="9843"/>
                    <a:pt x="5415" y="9843"/>
                  </a:cubicBezTo>
                  <a:cubicBezTo>
                    <a:pt x="5420" y="9773"/>
                    <a:pt x="5425" y="9698"/>
                    <a:pt x="5428" y="9633"/>
                  </a:cubicBezTo>
                  <a:close/>
                  <a:moveTo>
                    <a:pt x="5398" y="10039"/>
                  </a:moveTo>
                  <a:cubicBezTo>
                    <a:pt x="5402" y="10001"/>
                    <a:pt x="5408" y="9933"/>
                    <a:pt x="5414" y="9857"/>
                  </a:cubicBezTo>
                  <a:cubicBezTo>
                    <a:pt x="5675" y="9816"/>
                    <a:pt x="5675" y="9816"/>
                    <a:pt x="5675" y="9816"/>
                  </a:cubicBezTo>
                  <a:cubicBezTo>
                    <a:pt x="5678" y="10008"/>
                    <a:pt x="5678" y="10008"/>
                    <a:pt x="5678" y="10008"/>
                  </a:cubicBezTo>
                  <a:cubicBezTo>
                    <a:pt x="5590" y="10016"/>
                    <a:pt x="5496" y="10026"/>
                    <a:pt x="5398" y="10039"/>
                  </a:cubicBezTo>
                  <a:close/>
                  <a:moveTo>
                    <a:pt x="5674" y="9641"/>
                  </a:moveTo>
                  <a:cubicBezTo>
                    <a:pt x="5429" y="9619"/>
                    <a:pt x="5429" y="9619"/>
                    <a:pt x="5429" y="9619"/>
                  </a:cubicBezTo>
                  <a:cubicBezTo>
                    <a:pt x="5430" y="9590"/>
                    <a:pt x="5431" y="9562"/>
                    <a:pt x="5431" y="9539"/>
                  </a:cubicBezTo>
                  <a:cubicBezTo>
                    <a:pt x="5431" y="9521"/>
                    <a:pt x="5430" y="9504"/>
                    <a:pt x="5429" y="9491"/>
                  </a:cubicBezTo>
                  <a:cubicBezTo>
                    <a:pt x="5429" y="9485"/>
                    <a:pt x="5427" y="9479"/>
                    <a:pt x="5427" y="9473"/>
                  </a:cubicBezTo>
                  <a:cubicBezTo>
                    <a:pt x="5485" y="9483"/>
                    <a:pt x="5663" y="9513"/>
                    <a:pt x="5709" y="9519"/>
                  </a:cubicBezTo>
                  <a:lnTo>
                    <a:pt x="5674" y="9641"/>
                  </a:lnTo>
                  <a:close/>
                  <a:moveTo>
                    <a:pt x="5785" y="9304"/>
                  </a:moveTo>
                  <a:cubicBezTo>
                    <a:pt x="5959" y="9333"/>
                    <a:pt x="5959" y="9333"/>
                    <a:pt x="5959" y="9333"/>
                  </a:cubicBezTo>
                  <a:cubicBezTo>
                    <a:pt x="5913" y="9461"/>
                    <a:pt x="5913" y="9461"/>
                    <a:pt x="5913" y="9461"/>
                  </a:cubicBezTo>
                  <a:cubicBezTo>
                    <a:pt x="5750" y="9436"/>
                    <a:pt x="5750" y="9436"/>
                    <a:pt x="5750" y="9436"/>
                  </a:cubicBezTo>
                  <a:cubicBezTo>
                    <a:pt x="5748" y="9450"/>
                    <a:pt x="5748" y="9450"/>
                    <a:pt x="5748" y="9450"/>
                  </a:cubicBezTo>
                  <a:cubicBezTo>
                    <a:pt x="5909" y="9475"/>
                    <a:pt x="5909" y="9475"/>
                    <a:pt x="5909" y="9475"/>
                  </a:cubicBezTo>
                  <a:cubicBezTo>
                    <a:pt x="5863" y="9600"/>
                    <a:pt x="5863" y="9600"/>
                    <a:pt x="5863" y="9600"/>
                  </a:cubicBezTo>
                  <a:cubicBezTo>
                    <a:pt x="5707" y="9575"/>
                    <a:pt x="5707" y="9575"/>
                    <a:pt x="5707" y="9575"/>
                  </a:cubicBezTo>
                  <a:lnTo>
                    <a:pt x="5785" y="9304"/>
                  </a:lnTo>
                  <a:close/>
                  <a:moveTo>
                    <a:pt x="5877" y="9602"/>
                  </a:moveTo>
                  <a:cubicBezTo>
                    <a:pt x="5922" y="9477"/>
                    <a:pt x="5922" y="9477"/>
                    <a:pt x="5922" y="9477"/>
                  </a:cubicBezTo>
                  <a:cubicBezTo>
                    <a:pt x="6049" y="9497"/>
                    <a:pt x="6049" y="9497"/>
                    <a:pt x="6049" y="9497"/>
                  </a:cubicBezTo>
                  <a:cubicBezTo>
                    <a:pt x="6003" y="9623"/>
                    <a:pt x="6003" y="9623"/>
                    <a:pt x="6003" y="9623"/>
                  </a:cubicBezTo>
                  <a:lnTo>
                    <a:pt x="5877" y="9602"/>
                  </a:lnTo>
                  <a:close/>
                  <a:moveTo>
                    <a:pt x="5927" y="9463"/>
                  </a:moveTo>
                  <a:cubicBezTo>
                    <a:pt x="5973" y="9336"/>
                    <a:pt x="5973" y="9336"/>
                    <a:pt x="5973" y="9336"/>
                  </a:cubicBezTo>
                  <a:cubicBezTo>
                    <a:pt x="6099" y="9357"/>
                    <a:pt x="6099" y="9357"/>
                    <a:pt x="6099" y="9357"/>
                  </a:cubicBezTo>
                  <a:cubicBezTo>
                    <a:pt x="6054" y="9483"/>
                    <a:pt x="6054" y="9483"/>
                    <a:pt x="6054" y="9483"/>
                  </a:cubicBezTo>
                  <a:lnTo>
                    <a:pt x="5927" y="9463"/>
                  </a:lnTo>
                  <a:close/>
                  <a:moveTo>
                    <a:pt x="5977" y="9322"/>
                  </a:moveTo>
                  <a:cubicBezTo>
                    <a:pt x="6020" y="9205"/>
                    <a:pt x="6020" y="9205"/>
                    <a:pt x="6020" y="9205"/>
                  </a:cubicBezTo>
                  <a:cubicBezTo>
                    <a:pt x="6145" y="9228"/>
                    <a:pt x="6145" y="9228"/>
                    <a:pt x="6145" y="9228"/>
                  </a:cubicBezTo>
                  <a:cubicBezTo>
                    <a:pt x="6104" y="9344"/>
                    <a:pt x="6104" y="9344"/>
                    <a:pt x="6104" y="9344"/>
                  </a:cubicBezTo>
                  <a:lnTo>
                    <a:pt x="5977" y="9322"/>
                  </a:lnTo>
                  <a:close/>
                  <a:moveTo>
                    <a:pt x="6024" y="9191"/>
                  </a:moveTo>
                  <a:cubicBezTo>
                    <a:pt x="6065" y="9078"/>
                    <a:pt x="6065" y="9078"/>
                    <a:pt x="6065" y="9078"/>
                  </a:cubicBezTo>
                  <a:cubicBezTo>
                    <a:pt x="6189" y="9106"/>
                    <a:pt x="6189" y="9106"/>
                    <a:pt x="6189" y="9106"/>
                  </a:cubicBezTo>
                  <a:cubicBezTo>
                    <a:pt x="6150" y="9215"/>
                    <a:pt x="6150" y="9215"/>
                    <a:pt x="6150" y="9215"/>
                  </a:cubicBezTo>
                  <a:lnTo>
                    <a:pt x="6024" y="9191"/>
                  </a:lnTo>
                  <a:close/>
                  <a:moveTo>
                    <a:pt x="6070" y="9065"/>
                  </a:moveTo>
                  <a:cubicBezTo>
                    <a:pt x="6112" y="8947"/>
                    <a:pt x="6112" y="8947"/>
                    <a:pt x="6112" y="8947"/>
                  </a:cubicBezTo>
                  <a:cubicBezTo>
                    <a:pt x="6238" y="8969"/>
                    <a:pt x="6238" y="8969"/>
                    <a:pt x="6238" y="8969"/>
                  </a:cubicBezTo>
                  <a:cubicBezTo>
                    <a:pt x="6194" y="9093"/>
                    <a:pt x="6194" y="9093"/>
                    <a:pt x="6194" y="9093"/>
                  </a:cubicBezTo>
                  <a:lnTo>
                    <a:pt x="6070" y="9065"/>
                  </a:lnTo>
                  <a:close/>
                  <a:moveTo>
                    <a:pt x="6117" y="8933"/>
                  </a:moveTo>
                  <a:cubicBezTo>
                    <a:pt x="6154" y="8832"/>
                    <a:pt x="6154" y="8832"/>
                    <a:pt x="6154" y="8832"/>
                  </a:cubicBezTo>
                  <a:cubicBezTo>
                    <a:pt x="6281" y="8851"/>
                    <a:pt x="6281" y="8851"/>
                    <a:pt x="6281" y="8851"/>
                  </a:cubicBezTo>
                  <a:cubicBezTo>
                    <a:pt x="6243" y="8956"/>
                    <a:pt x="6243" y="8956"/>
                    <a:pt x="6243" y="8956"/>
                  </a:cubicBezTo>
                  <a:lnTo>
                    <a:pt x="6117" y="8933"/>
                  </a:lnTo>
                  <a:close/>
                  <a:moveTo>
                    <a:pt x="6158" y="8819"/>
                  </a:moveTo>
                  <a:cubicBezTo>
                    <a:pt x="6205" y="8689"/>
                    <a:pt x="6205" y="8689"/>
                    <a:pt x="6205" y="8689"/>
                  </a:cubicBezTo>
                  <a:cubicBezTo>
                    <a:pt x="6334" y="8703"/>
                    <a:pt x="6334" y="8703"/>
                    <a:pt x="6334" y="8703"/>
                  </a:cubicBezTo>
                  <a:cubicBezTo>
                    <a:pt x="6286" y="8837"/>
                    <a:pt x="6286" y="8837"/>
                    <a:pt x="6286" y="8837"/>
                  </a:cubicBezTo>
                  <a:lnTo>
                    <a:pt x="6158" y="8819"/>
                  </a:lnTo>
                  <a:close/>
                  <a:moveTo>
                    <a:pt x="6145" y="8817"/>
                  </a:moveTo>
                  <a:cubicBezTo>
                    <a:pt x="5838" y="8772"/>
                    <a:pt x="5838" y="8772"/>
                    <a:pt x="5838" y="8772"/>
                  </a:cubicBezTo>
                  <a:cubicBezTo>
                    <a:pt x="5847" y="8734"/>
                    <a:pt x="5857" y="8693"/>
                    <a:pt x="5867" y="8653"/>
                  </a:cubicBezTo>
                  <a:cubicBezTo>
                    <a:pt x="6192" y="8688"/>
                    <a:pt x="6192" y="8688"/>
                    <a:pt x="6192" y="8688"/>
                  </a:cubicBezTo>
                  <a:lnTo>
                    <a:pt x="6145" y="8817"/>
                  </a:lnTo>
                  <a:close/>
                  <a:moveTo>
                    <a:pt x="5837" y="8717"/>
                  </a:moveTo>
                  <a:cubicBezTo>
                    <a:pt x="5460" y="8660"/>
                    <a:pt x="5460" y="8660"/>
                    <a:pt x="5460" y="8660"/>
                  </a:cubicBezTo>
                  <a:cubicBezTo>
                    <a:pt x="5459" y="8652"/>
                    <a:pt x="5459" y="8645"/>
                    <a:pt x="5458" y="8638"/>
                  </a:cubicBezTo>
                  <a:cubicBezTo>
                    <a:pt x="5454" y="8608"/>
                    <a:pt x="5448" y="8568"/>
                    <a:pt x="5441" y="8526"/>
                  </a:cubicBezTo>
                  <a:cubicBezTo>
                    <a:pt x="5474" y="8530"/>
                    <a:pt x="5569" y="8546"/>
                    <a:pt x="5659" y="8562"/>
                  </a:cubicBezTo>
                  <a:cubicBezTo>
                    <a:pt x="5754" y="8579"/>
                    <a:pt x="5847" y="8595"/>
                    <a:pt x="5867" y="8599"/>
                  </a:cubicBezTo>
                  <a:cubicBezTo>
                    <a:pt x="5857" y="8638"/>
                    <a:pt x="5847" y="8678"/>
                    <a:pt x="5837" y="8717"/>
                  </a:cubicBezTo>
                  <a:close/>
                  <a:moveTo>
                    <a:pt x="5834" y="8731"/>
                  </a:moveTo>
                  <a:cubicBezTo>
                    <a:pt x="5826" y="8762"/>
                    <a:pt x="5818" y="8792"/>
                    <a:pt x="5811" y="8820"/>
                  </a:cubicBezTo>
                  <a:cubicBezTo>
                    <a:pt x="5789" y="8816"/>
                    <a:pt x="5494" y="8763"/>
                    <a:pt x="5467" y="8756"/>
                  </a:cubicBezTo>
                  <a:cubicBezTo>
                    <a:pt x="5467" y="8730"/>
                    <a:pt x="5465" y="8702"/>
                    <a:pt x="5462" y="8674"/>
                  </a:cubicBezTo>
                  <a:lnTo>
                    <a:pt x="5834" y="8731"/>
                  </a:lnTo>
                  <a:close/>
                  <a:moveTo>
                    <a:pt x="5467" y="8770"/>
                  </a:moveTo>
                  <a:cubicBezTo>
                    <a:pt x="5470" y="8771"/>
                    <a:pt x="5473" y="8772"/>
                    <a:pt x="5477" y="8772"/>
                  </a:cubicBezTo>
                  <a:cubicBezTo>
                    <a:pt x="5487" y="8774"/>
                    <a:pt x="5500" y="8777"/>
                    <a:pt x="5517" y="8780"/>
                  </a:cubicBezTo>
                  <a:cubicBezTo>
                    <a:pt x="5549" y="8786"/>
                    <a:pt x="5593" y="8794"/>
                    <a:pt x="5636" y="8802"/>
                  </a:cubicBezTo>
                  <a:cubicBezTo>
                    <a:pt x="5715" y="8817"/>
                    <a:pt x="5793" y="8831"/>
                    <a:pt x="5808" y="8834"/>
                  </a:cubicBezTo>
                  <a:cubicBezTo>
                    <a:pt x="5803" y="8852"/>
                    <a:pt x="5798" y="8871"/>
                    <a:pt x="5794" y="8887"/>
                  </a:cubicBezTo>
                  <a:cubicBezTo>
                    <a:pt x="5789" y="8907"/>
                    <a:pt x="5784" y="8925"/>
                    <a:pt x="5780" y="8941"/>
                  </a:cubicBezTo>
                  <a:cubicBezTo>
                    <a:pt x="5781" y="8937"/>
                    <a:pt x="5781" y="8937"/>
                    <a:pt x="5781" y="8937"/>
                  </a:cubicBezTo>
                  <a:cubicBezTo>
                    <a:pt x="5780" y="8937"/>
                    <a:pt x="5521" y="8893"/>
                    <a:pt x="5448" y="8881"/>
                  </a:cubicBezTo>
                  <a:cubicBezTo>
                    <a:pt x="5462" y="8848"/>
                    <a:pt x="5467" y="8810"/>
                    <a:pt x="5467" y="8770"/>
                  </a:cubicBezTo>
                  <a:close/>
                  <a:moveTo>
                    <a:pt x="5782" y="8987"/>
                  </a:moveTo>
                  <a:cubicBezTo>
                    <a:pt x="5785" y="8977"/>
                    <a:pt x="5789" y="8962"/>
                    <a:pt x="5794" y="8943"/>
                  </a:cubicBezTo>
                  <a:cubicBezTo>
                    <a:pt x="5804" y="8906"/>
                    <a:pt x="5817" y="8854"/>
                    <a:pt x="5832" y="8796"/>
                  </a:cubicBezTo>
                  <a:cubicBezTo>
                    <a:pt x="5833" y="8793"/>
                    <a:pt x="5833" y="8789"/>
                    <a:pt x="5834" y="8786"/>
                  </a:cubicBezTo>
                  <a:cubicBezTo>
                    <a:pt x="6140" y="8830"/>
                    <a:pt x="6140" y="8830"/>
                    <a:pt x="6140" y="8830"/>
                  </a:cubicBezTo>
                  <a:cubicBezTo>
                    <a:pt x="6104" y="8931"/>
                    <a:pt x="6104" y="8931"/>
                    <a:pt x="6104" y="8931"/>
                  </a:cubicBezTo>
                  <a:cubicBezTo>
                    <a:pt x="5812" y="8879"/>
                    <a:pt x="5812" y="8879"/>
                    <a:pt x="5812" y="8879"/>
                  </a:cubicBezTo>
                  <a:cubicBezTo>
                    <a:pt x="5809" y="8892"/>
                    <a:pt x="5809" y="8892"/>
                    <a:pt x="5809" y="8892"/>
                  </a:cubicBezTo>
                  <a:cubicBezTo>
                    <a:pt x="6099" y="8944"/>
                    <a:pt x="6099" y="8944"/>
                    <a:pt x="6099" y="8944"/>
                  </a:cubicBezTo>
                  <a:cubicBezTo>
                    <a:pt x="6057" y="9062"/>
                    <a:pt x="6057" y="9062"/>
                    <a:pt x="6057" y="9062"/>
                  </a:cubicBezTo>
                  <a:cubicBezTo>
                    <a:pt x="5779" y="9000"/>
                    <a:pt x="5779" y="9000"/>
                    <a:pt x="5779" y="9000"/>
                  </a:cubicBezTo>
                  <a:cubicBezTo>
                    <a:pt x="5777" y="9010"/>
                    <a:pt x="5777" y="9010"/>
                    <a:pt x="5777" y="9010"/>
                  </a:cubicBezTo>
                  <a:cubicBezTo>
                    <a:pt x="5777" y="9008"/>
                    <a:pt x="5776" y="9006"/>
                    <a:pt x="5776" y="9005"/>
                  </a:cubicBezTo>
                  <a:cubicBezTo>
                    <a:pt x="5776" y="9004"/>
                    <a:pt x="5776" y="9004"/>
                    <a:pt x="5776" y="9004"/>
                  </a:cubicBezTo>
                  <a:cubicBezTo>
                    <a:pt x="5777" y="9002"/>
                    <a:pt x="5777" y="9001"/>
                    <a:pt x="5778" y="9000"/>
                  </a:cubicBezTo>
                  <a:cubicBezTo>
                    <a:pt x="5779" y="8997"/>
                    <a:pt x="5780" y="8993"/>
                    <a:pt x="5782" y="8987"/>
                  </a:cubicBezTo>
                  <a:close/>
                  <a:moveTo>
                    <a:pt x="6052" y="9075"/>
                  </a:moveTo>
                  <a:cubicBezTo>
                    <a:pt x="6011" y="9189"/>
                    <a:pt x="6011" y="9189"/>
                    <a:pt x="6011" y="9189"/>
                  </a:cubicBezTo>
                  <a:cubicBezTo>
                    <a:pt x="5824" y="9155"/>
                    <a:pt x="5824" y="9155"/>
                    <a:pt x="5824" y="9155"/>
                  </a:cubicBezTo>
                  <a:cubicBezTo>
                    <a:pt x="5821" y="9145"/>
                    <a:pt x="5811" y="9116"/>
                    <a:pt x="5801" y="9086"/>
                  </a:cubicBezTo>
                  <a:cubicBezTo>
                    <a:pt x="5791" y="9059"/>
                    <a:pt x="5782" y="9030"/>
                    <a:pt x="5778" y="9014"/>
                  </a:cubicBezTo>
                  <a:lnTo>
                    <a:pt x="6052" y="9075"/>
                  </a:lnTo>
                  <a:close/>
                  <a:moveTo>
                    <a:pt x="5755" y="9357"/>
                  </a:moveTo>
                  <a:cubicBezTo>
                    <a:pt x="5381" y="9309"/>
                    <a:pt x="5381" y="9309"/>
                    <a:pt x="5381" y="9309"/>
                  </a:cubicBezTo>
                  <a:cubicBezTo>
                    <a:pt x="5379" y="9303"/>
                    <a:pt x="5377" y="9297"/>
                    <a:pt x="5374" y="9292"/>
                  </a:cubicBezTo>
                  <a:cubicBezTo>
                    <a:pt x="5350" y="9232"/>
                    <a:pt x="5325" y="9181"/>
                    <a:pt x="5322" y="9168"/>
                  </a:cubicBezTo>
                  <a:cubicBezTo>
                    <a:pt x="5321" y="9162"/>
                    <a:pt x="5318" y="9155"/>
                    <a:pt x="5315" y="9149"/>
                  </a:cubicBezTo>
                  <a:cubicBezTo>
                    <a:pt x="5434" y="9172"/>
                    <a:pt x="5752" y="9232"/>
                    <a:pt x="5790" y="9237"/>
                  </a:cubicBezTo>
                  <a:lnTo>
                    <a:pt x="5755" y="9357"/>
                  </a:lnTo>
                  <a:close/>
                  <a:moveTo>
                    <a:pt x="5333" y="9309"/>
                  </a:moveTo>
                  <a:cubicBezTo>
                    <a:pt x="5356" y="9367"/>
                    <a:pt x="5380" y="9436"/>
                    <a:pt x="5384" y="9494"/>
                  </a:cubicBezTo>
                  <a:cubicBezTo>
                    <a:pt x="5385" y="9506"/>
                    <a:pt x="5385" y="9521"/>
                    <a:pt x="5385" y="9539"/>
                  </a:cubicBezTo>
                  <a:cubicBezTo>
                    <a:pt x="5385" y="9575"/>
                    <a:pt x="5384" y="9620"/>
                    <a:pt x="5381" y="9669"/>
                  </a:cubicBezTo>
                  <a:cubicBezTo>
                    <a:pt x="5350" y="9669"/>
                    <a:pt x="5251" y="9671"/>
                    <a:pt x="5124" y="9674"/>
                  </a:cubicBezTo>
                  <a:cubicBezTo>
                    <a:pt x="4968" y="9218"/>
                    <a:pt x="4968" y="9218"/>
                    <a:pt x="4968" y="9218"/>
                  </a:cubicBezTo>
                  <a:cubicBezTo>
                    <a:pt x="5076" y="9200"/>
                    <a:pt x="5163" y="9155"/>
                    <a:pt x="5233" y="9106"/>
                  </a:cubicBezTo>
                  <a:cubicBezTo>
                    <a:pt x="5237" y="9111"/>
                    <a:pt x="5242" y="9117"/>
                    <a:pt x="5247" y="9124"/>
                  </a:cubicBezTo>
                  <a:cubicBezTo>
                    <a:pt x="5261" y="9142"/>
                    <a:pt x="5276" y="9166"/>
                    <a:pt x="5279" y="9179"/>
                  </a:cubicBezTo>
                  <a:cubicBezTo>
                    <a:pt x="5285" y="9204"/>
                    <a:pt x="5309" y="9250"/>
                    <a:pt x="5333" y="9309"/>
                  </a:cubicBezTo>
                  <a:close/>
                  <a:moveTo>
                    <a:pt x="5171" y="9687"/>
                  </a:moveTo>
                  <a:cubicBezTo>
                    <a:pt x="5158" y="10074"/>
                    <a:pt x="5158" y="10074"/>
                    <a:pt x="5158" y="10074"/>
                  </a:cubicBezTo>
                  <a:cubicBezTo>
                    <a:pt x="5083" y="10086"/>
                    <a:pt x="5009" y="10100"/>
                    <a:pt x="4934" y="10115"/>
                  </a:cubicBezTo>
                  <a:cubicBezTo>
                    <a:pt x="4915" y="9692"/>
                    <a:pt x="4915" y="9692"/>
                    <a:pt x="4915" y="9692"/>
                  </a:cubicBezTo>
                  <a:cubicBezTo>
                    <a:pt x="5006" y="9690"/>
                    <a:pt x="5095" y="9689"/>
                    <a:pt x="5171" y="9687"/>
                  </a:cubicBezTo>
                  <a:close/>
                  <a:moveTo>
                    <a:pt x="4920" y="10118"/>
                  </a:moveTo>
                  <a:cubicBezTo>
                    <a:pt x="4891" y="10124"/>
                    <a:pt x="4862" y="10131"/>
                    <a:pt x="4832" y="10138"/>
                  </a:cubicBezTo>
                  <a:cubicBezTo>
                    <a:pt x="4803" y="10145"/>
                    <a:pt x="4772" y="10152"/>
                    <a:pt x="4741" y="10160"/>
                  </a:cubicBezTo>
                  <a:cubicBezTo>
                    <a:pt x="4656" y="9698"/>
                    <a:pt x="4656" y="9698"/>
                    <a:pt x="4656" y="9698"/>
                  </a:cubicBezTo>
                  <a:cubicBezTo>
                    <a:pt x="4721" y="9696"/>
                    <a:pt x="4790" y="9695"/>
                    <a:pt x="4860" y="9694"/>
                  </a:cubicBezTo>
                  <a:cubicBezTo>
                    <a:pt x="4874" y="9693"/>
                    <a:pt x="4887" y="9693"/>
                    <a:pt x="4901" y="9693"/>
                  </a:cubicBezTo>
                  <a:lnTo>
                    <a:pt x="4920" y="10118"/>
                  </a:lnTo>
                  <a:close/>
                  <a:moveTo>
                    <a:pt x="4847" y="10202"/>
                  </a:moveTo>
                  <a:cubicBezTo>
                    <a:pt x="4875" y="10195"/>
                    <a:pt x="4904" y="10189"/>
                    <a:pt x="4933" y="10183"/>
                  </a:cubicBezTo>
                  <a:cubicBezTo>
                    <a:pt x="4939" y="10239"/>
                    <a:pt x="4958" y="10399"/>
                    <a:pt x="4980" y="10591"/>
                  </a:cubicBezTo>
                  <a:cubicBezTo>
                    <a:pt x="4950" y="10593"/>
                    <a:pt x="4889" y="10599"/>
                    <a:pt x="4815" y="10605"/>
                  </a:cubicBezTo>
                  <a:cubicBezTo>
                    <a:pt x="4722" y="10232"/>
                    <a:pt x="4722" y="10232"/>
                    <a:pt x="4722" y="10232"/>
                  </a:cubicBezTo>
                  <a:cubicBezTo>
                    <a:pt x="4765" y="10221"/>
                    <a:pt x="4807" y="10211"/>
                    <a:pt x="4847" y="10202"/>
                  </a:cubicBezTo>
                  <a:close/>
                  <a:moveTo>
                    <a:pt x="4861" y="10949"/>
                  </a:moveTo>
                  <a:cubicBezTo>
                    <a:pt x="4803" y="10959"/>
                    <a:pt x="4741" y="10969"/>
                    <a:pt x="4695" y="10977"/>
                  </a:cubicBezTo>
                  <a:cubicBezTo>
                    <a:pt x="4581" y="10640"/>
                    <a:pt x="4581" y="10640"/>
                    <a:pt x="4581" y="10640"/>
                  </a:cubicBezTo>
                  <a:cubicBezTo>
                    <a:pt x="4607" y="10638"/>
                    <a:pt x="4634" y="10635"/>
                    <a:pt x="4661" y="10633"/>
                  </a:cubicBezTo>
                  <a:cubicBezTo>
                    <a:pt x="4710" y="10629"/>
                    <a:pt x="4759" y="10624"/>
                    <a:pt x="4804" y="10620"/>
                  </a:cubicBezTo>
                  <a:lnTo>
                    <a:pt x="4861" y="10949"/>
                  </a:lnTo>
                  <a:close/>
                  <a:moveTo>
                    <a:pt x="4681" y="10980"/>
                  </a:moveTo>
                  <a:cubicBezTo>
                    <a:pt x="4670" y="10982"/>
                    <a:pt x="4659" y="10984"/>
                    <a:pt x="4651" y="10985"/>
                  </a:cubicBezTo>
                  <a:cubicBezTo>
                    <a:pt x="4636" y="10988"/>
                    <a:pt x="4627" y="10990"/>
                    <a:pt x="4618" y="10993"/>
                  </a:cubicBezTo>
                  <a:cubicBezTo>
                    <a:pt x="4602" y="11000"/>
                    <a:pt x="4579" y="11011"/>
                    <a:pt x="4557" y="11031"/>
                  </a:cubicBezTo>
                  <a:cubicBezTo>
                    <a:pt x="4547" y="11041"/>
                    <a:pt x="4537" y="11053"/>
                    <a:pt x="4529" y="11067"/>
                  </a:cubicBezTo>
                  <a:cubicBezTo>
                    <a:pt x="4136" y="10994"/>
                    <a:pt x="4136" y="10994"/>
                    <a:pt x="4136" y="10994"/>
                  </a:cubicBezTo>
                  <a:cubicBezTo>
                    <a:pt x="4241" y="10696"/>
                    <a:pt x="4241" y="10696"/>
                    <a:pt x="4241" y="10696"/>
                  </a:cubicBezTo>
                  <a:cubicBezTo>
                    <a:pt x="4255" y="10690"/>
                    <a:pt x="4310" y="10667"/>
                    <a:pt x="4317" y="10664"/>
                  </a:cubicBezTo>
                  <a:cubicBezTo>
                    <a:pt x="4317" y="10664"/>
                    <a:pt x="4317" y="10664"/>
                    <a:pt x="4317" y="10664"/>
                  </a:cubicBezTo>
                  <a:cubicBezTo>
                    <a:pt x="4318" y="10664"/>
                    <a:pt x="4318" y="10664"/>
                    <a:pt x="4319" y="10664"/>
                  </a:cubicBezTo>
                  <a:cubicBezTo>
                    <a:pt x="4320" y="10664"/>
                    <a:pt x="4322" y="10664"/>
                    <a:pt x="4325" y="10663"/>
                  </a:cubicBezTo>
                  <a:cubicBezTo>
                    <a:pt x="4330" y="10663"/>
                    <a:pt x="4338" y="10662"/>
                    <a:pt x="4348" y="10661"/>
                  </a:cubicBezTo>
                  <a:cubicBezTo>
                    <a:pt x="4367" y="10659"/>
                    <a:pt x="4394" y="10657"/>
                    <a:pt x="4426" y="10654"/>
                  </a:cubicBezTo>
                  <a:cubicBezTo>
                    <a:pt x="4466" y="10650"/>
                    <a:pt x="4515" y="10646"/>
                    <a:pt x="4567" y="10641"/>
                  </a:cubicBezTo>
                  <a:lnTo>
                    <a:pt x="4681" y="10980"/>
                  </a:lnTo>
                  <a:close/>
                  <a:moveTo>
                    <a:pt x="4517" y="11111"/>
                  </a:moveTo>
                  <a:cubicBezTo>
                    <a:pt x="4517" y="11115"/>
                    <a:pt x="4516" y="11118"/>
                    <a:pt x="4516" y="11122"/>
                  </a:cubicBezTo>
                  <a:cubicBezTo>
                    <a:pt x="4516" y="11152"/>
                    <a:pt x="4527" y="11184"/>
                    <a:pt x="4550" y="11218"/>
                  </a:cubicBezTo>
                  <a:cubicBezTo>
                    <a:pt x="4619" y="11320"/>
                    <a:pt x="4991" y="11796"/>
                    <a:pt x="5058" y="11881"/>
                  </a:cubicBezTo>
                  <a:cubicBezTo>
                    <a:pt x="5040" y="11942"/>
                    <a:pt x="4993" y="12013"/>
                    <a:pt x="4944" y="12084"/>
                  </a:cubicBezTo>
                  <a:cubicBezTo>
                    <a:pt x="4942" y="12082"/>
                    <a:pt x="4940" y="12081"/>
                    <a:pt x="4938" y="12079"/>
                  </a:cubicBezTo>
                  <a:cubicBezTo>
                    <a:pt x="4922" y="12068"/>
                    <a:pt x="4899" y="12052"/>
                    <a:pt x="4872" y="12032"/>
                  </a:cubicBezTo>
                  <a:cubicBezTo>
                    <a:pt x="4819" y="11993"/>
                    <a:pt x="4747" y="11940"/>
                    <a:pt x="4672" y="11885"/>
                  </a:cubicBezTo>
                  <a:cubicBezTo>
                    <a:pt x="4524" y="11776"/>
                    <a:pt x="4367" y="11660"/>
                    <a:pt x="4330" y="11633"/>
                  </a:cubicBezTo>
                  <a:cubicBezTo>
                    <a:pt x="4325" y="11630"/>
                    <a:pt x="4324" y="11629"/>
                    <a:pt x="4322" y="11628"/>
                  </a:cubicBezTo>
                  <a:cubicBezTo>
                    <a:pt x="3964" y="11089"/>
                    <a:pt x="3964" y="11089"/>
                    <a:pt x="3964" y="11089"/>
                  </a:cubicBezTo>
                  <a:cubicBezTo>
                    <a:pt x="4132" y="11039"/>
                    <a:pt x="4132" y="11039"/>
                    <a:pt x="4132" y="11039"/>
                  </a:cubicBezTo>
                  <a:lnTo>
                    <a:pt x="4517" y="11111"/>
                  </a:lnTo>
                  <a:close/>
                  <a:moveTo>
                    <a:pt x="4395" y="12735"/>
                  </a:moveTo>
                  <a:cubicBezTo>
                    <a:pt x="4395" y="12756"/>
                    <a:pt x="4392" y="12861"/>
                    <a:pt x="4392" y="12921"/>
                  </a:cubicBezTo>
                  <a:cubicBezTo>
                    <a:pt x="4392" y="12932"/>
                    <a:pt x="4392" y="12942"/>
                    <a:pt x="4393" y="12949"/>
                  </a:cubicBezTo>
                  <a:cubicBezTo>
                    <a:pt x="4315" y="12927"/>
                    <a:pt x="4315" y="12927"/>
                    <a:pt x="4315" y="12927"/>
                  </a:cubicBezTo>
                  <a:cubicBezTo>
                    <a:pt x="4315" y="12896"/>
                    <a:pt x="4300" y="12870"/>
                    <a:pt x="4286" y="12848"/>
                  </a:cubicBezTo>
                  <a:cubicBezTo>
                    <a:pt x="4273" y="12829"/>
                    <a:pt x="4260" y="12813"/>
                    <a:pt x="4256" y="12809"/>
                  </a:cubicBezTo>
                  <a:cubicBezTo>
                    <a:pt x="4256" y="12808"/>
                    <a:pt x="4255" y="12808"/>
                    <a:pt x="4255" y="12808"/>
                  </a:cubicBezTo>
                  <a:cubicBezTo>
                    <a:pt x="4255" y="12807"/>
                    <a:pt x="4255" y="12807"/>
                    <a:pt x="4255" y="12807"/>
                  </a:cubicBezTo>
                  <a:cubicBezTo>
                    <a:pt x="4254" y="12805"/>
                    <a:pt x="4253" y="12805"/>
                    <a:pt x="4253" y="12804"/>
                  </a:cubicBezTo>
                  <a:cubicBezTo>
                    <a:pt x="4252" y="12804"/>
                    <a:pt x="4252" y="12803"/>
                    <a:pt x="4251" y="12803"/>
                  </a:cubicBezTo>
                  <a:cubicBezTo>
                    <a:pt x="4251" y="12802"/>
                    <a:pt x="4250" y="12802"/>
                    <a:pt x="4250" y="12802"/>
                  </a:cubicBezTo>
                  <a:cubicBezTo>
                    <a:pt x="4248" y="12800"/>
                    <a:pt x="4247" y="12799"/>
                    <a:pt x="4245" y="12798"/>
                  </a:cubicBezTo>
                  <a:cubicBezTo>
                    <a:pt x="4241" y="12794"/>
                    <a:pt x="4235" y="12790"/>
                    <a:pt x="4228" y="12784"/>
                  </a:cubicBezTo>
                  <a:cubicBezTo>
                    <a:pt x="4214" y="12772"/>
                    <a:pt x="4195" y="12756"/>
                    <a:pt x="4173" y="12736"/>
                  </a:cubicBezTo>
                  <a:cubicBezTo>
                    <a:pt x="4103" y="12674"/>
                    <a:pt x="4007" y="12586"/>
                    <a:pt x="3985" y="12565"/>
                  </a:cubicBezTo>
                  <a:cubicBezTo>
                    <a:pt x="3989" y="12554"/>
                    <a:pt x="3993" y="12544"/>
                    <a:pt x="3996" y="12534"/>
                  </a:cubicBezTo>
                  <a:cubicBezTo>
                    <a:pt x="4011" y="12494"/>
                    <a:pt x="4042" y="12379"/>
                    <a:pt x="4052" y="12349"/>
                  </a:cubicBezTo>
                  <a:cubicBezTo>
                    <a:pt x="4064" y="12315"/>
                    <a:pt x="4076" y="12262"/>
                    <a:pt x="4113" y="12219"/>
                  </a:cubicBezTo>
                  <a:cubicBezTo>
                    <a:pt x="4128" y="12201"/>
                    <a:pt x="4150" y="12178"/>
                    <a:pt x="4171" y="12159"/>
                  </a:cubicBezTo>
                  <a:cubicBezTo>
                    <a:pt x="4172" y="12158"/>
                    <a:pt x="4173" y="12157"/>
                    <a:pt x="4174" y="12156"/>
                  </a:cubicBezTo>
                  <a:cubicBezTo>
                    <a:pt x="4266" y="12374"/>
                    <a:pt x="4266" y="12374"/>
                    <a:pt x="4266" y="12374"/>
                  </a:cubicBezTo>
                  <a:cubicBezTo>
                    <a:pt x="4209" y="12416"/>
                    <a:pt x="4209" y="12416"/>
                    <a:pt x="4209" y="12416"/>
                  </a:cubicBezTo>
                  <a:cubicBezTo>
                    <a:pt x="4301" y="12577"/>
                    <a:pt x="4301" y="12577"/>
                    <a:pt x="4301" y="12577"/>
                  </a:cubicBezTo>
                  <a:cubicBezTo>
                    <a:pt x="4289" y="12642"/>
                    <a:pt x="4289" y="12642"/>
                    <a:pt x="4289" y="12642"/>
                  </a:cubicBezTo>
                  <a:lnTo>
                    <a:pt x="4395" y="12735"/>
                  </a:lnTo>
                  <a:close/>
                  <a:moveTo>
                    <a:pt x="3616" y="12776"/>
                  </a:moveTo>
                  <a:cubicBezTo>
                    <a:pt x="3620" y="12781"/>
                    <a:pt x="3620" y="12781"/>
                    <a:pt x="3620" y="12781"/>
                  </a:cubicBezTo>
                  <a:cubicBezTo>
                    <a:pt x="3620" y="12781"/>
                    <a:pt x="3629" y="12796"/>
                    <a:pt x="3629" y="12796"/>
                  </a:cubicBezTo>
                  <a:cubicBezTo>
                    <a:pt x="3646" y="12792"/>
                    <a:pt x="3682" y="12783"/>
                    <a:pt x="3725" y="12769"/>
                  </a:cubicBezTo>
                  <a:cubicBezTo>
                    <a:pt x="3724" y="12956"/>
                    <a:pt x="3724" y="12956"/>
                    <a:pt x="3724" y="12956"/>
                  </a:cubicBezTo>
                  <a:cubicBezTo>
                    <a:pt x="3684" y="13059"/>
                    <a:pt x="3684" y="13059"/>
                    <a:pt x="3684" y="13059"/>
                  </a:cubicBezTo>
                  <a:cubicBezTo>
                    <a:pt x="3628" y="13037"/>
                    <a:pt x="3628" y="13037"/>
                    <a:pt x="3628" y="13037"/>
                  </a:cubicBezTo>
                  <a:cubicBezTo>
                    <a:pt x="3631" y="13031"/>
                    <a:pt x="3635" y="13024"/>
                    <a:pt x="3637" y="13017"/>
                  </a:cubicBezTo>
                  <a:cubicBezTo>
                    <a:pt x="3651" y="12977"/>
                    <a:pt x="3658" y="12941"/>
                    <a:pt x="3658" y="12907"/>
                  </a:cubicBezTo>
                  <a:cubicBezTo>
                    <a:pt x="3658" y="12856"/>
                    <a:pt x="3642" y="12814"/>
                    <a:pt x="3616" y="12776"/>
                  </a:cubicBezTo>
                  <a:close/>
                  <a:moveTo>
                    <a:pt x="3481" y="12331"/>
                  </a:moveTo>
                  <a:cubicBezTo>
                    <a:pt x="3609" y="12227"/>
                    <a:pt x="3609" y="12227"/>
                    <a:pt x="3609" y="12227"/>
                  </a:cubicBezTo>
                  <a:cubicBezTo>
                    <a:pt x="3777" y="12397"/>
                    <a:pt x="3777" y="12397"/>
                    <a:pt x="3777" y="12397"/>
                  </a:cubicBezTo>
                  <a:cubicBezTo>
                    <a:pt x="3857" y="12661"/>
                    <a:pt x="3857" y="12661"/>
                    <a:pt x="3857" y="12661"/>
                  </a:cubicBezTo>
                  <a:cubicBezTo>
                    <a:pt x="3824" y="12685"/>
                    <a:pt x="3764" y="12709"/>
                    <a:pt x="3712" y="12726"/>
                  </a:cubicBezTo>
                  <a:cubicBezTo>
                    <a:pt x="3654" y="12744"/>
                    <a:pt x="3609" y="12757"/>
                    <a:pt x="3609" y="12757"/>
                  </a:cubicBezTo>
                  <a:cubicBezTo>
                    <a:pt x="3604" y="12759"/>
                    <a:pt x="3604" y="12759"/>
                    <a:pt x="3604" y="12759"/>
                  </a:cubicBezTo>
                  <a:cubicBezTo>
                    <a:pt x="3598" y="12751"/>
                    <a:pt x="3593" y="12744"/>
                    <a:pt x="3587" y="12738"/>
                  </a:cubicBezTo>
                  <a:cubicBezTo>
                    <a:pt x="3589" y="12740"/>
                    <a:pt x="3589" y="12740"/>
                    <a:pt x="3589" y="12740"/>
                  </a:cubicBezTo>
                  <a:lnTo>
                    <a:pt x="3481" y="12331"/>
                  </a:lnTo>
                  <a:close/>
                  <a:moveTo>
                    <a:pt x="3418" y="11630"/>
                  </a:moveTo>
                  <a:cubicBezTo>
                    <a:pt x="3361" y="11699"/>
                    <a:pt x="3361" y="11699"/>
                    <a:pt x="3361" y="11699"/>
                  </a:cubicBezTo>
                  <a:cubicBezTo>
                    <a:pt x="3262" y="11619"/>
                    <a:pt x="3262" y="11619"/>
                    <a:pt x="3262" y="11619"/>
                  </a:cubicBezTo>
                  <a:cubicBezTo>
                    <a:pt x="3276" y="11598"/>
                    <a:pt x="3276" y="11598"/>
                    <a:pt x="3276" y="11598"/>
                  </a:cubicBezTo>
                  <a:cubicBezTo>
                    <a:pt x="3283" y="11589"/>
                    <a:pt x="3283" y="11589"/>
                    <a:pt x="3283" y="11589"/>
                  </a:cubicBezTo>
                  <a:cubicBezTo>
                    <a:pt x="3345" y="11512"/>
                    <a:pt x="3345" y="11512"/>
                    <a:pt x="3345" y="11512"/>
                  </a:cubicBezTo>
                  <a:cubicBezTo>
                    <a:pt x="3439" y="11588"/>
                    <a:pt x="3439" y="11588"/>
                    <a:pt x="3439" y="11588"/>
                  </a:cubicBezTo>
                  <a:cubicBezTo>
                    <a:pt x="3421" y="11617"/>
                    <a:pt x="3421" y="11617"/>
                    <a:pt x="3421" y="11617"/>
                  </a:cubicBezTo>
                  <a:cubicBezTo>
                    <a:pt x="3415" y="11627"/>
                    <a:pt x="3415" y="11627"/>
                    <a:pt x="3415" y="11627"/>
                  </a:cubicBezTo>
                  <a:lnTo>
                    <a:pt x="3418" y="11630"/>
                  </a:lnTo>
                  <a:close/>
                  <a:moveTo>
                    <a:pt x="3433" y="11643"/>
                  </a:moveTo>
                  <a:cubicBezTo>
                    <a:pt x="3530" y="11722"/>
                    <a:pt x="3530" y="11722"/>
                    <a:pt x="3530" y="11722"/>
                  </a:cubicBezTo>
                  <a:cubicBezTo>
                    <a:pt x="3446" y="11827"/>
                    <a:pt x="3446" y="11827"/>
                    <a:pt x="3446" y="11827"/>
                  </a:cubicBezTo>
                  <a:cubicBezTo>
                    <a:pt x="3349" y="11748"/>
                    <a:pt x="3349" y="11748"/>
                    <a:pt x="3349" y="11748"/>
                  </a:cubicBezTo>
                  <a:cubicBezTo>
                    <a:pt x="3349" y="11748"/>
                    <a:pt x="3349" y="11748"/>
                    <a:pt x="3349" y="11748"/>
                  </a:cubicBezTo>
                  <a:lnTo>
                    <a:pt x="3433" y="11643"/>
                  </a:lnTo>
                  <a:close/>
                  <a:moveTo>
                    <a:pt x="3450" y="11849"/>
                  </a:moveTo>
                  <a:cubicBezTo>
                    <a:pt x="3549" y="11930"/>
                    <a:pt x="3549" y="11930"/>
                    <a:pt x="3549" y="11930"/>
                  </a:cubicBezTo>
                  <a:cubicBezTo>
                    <a:pt x="3548" y="11931"/>
                    <a:pt x="3548" y="11931"/>
                    <a:pt x="3548" y="11931"/>
                  </a:cubicBezTo>
                  <a:cubicBezTo>
                    <a:pt x="3553" y="11934"/>
                    <a:pt x="3553" y="11934"/>
                    <a:pt x="3553" y="11934"/>
                  </a:cubicBezTo>
                  <a:cubicBezTo>
                    <a:pt x="3520" y="11974"/>
                    <a:pt x="3520" y="11974"/>
                    <a:pt x="3520" y="11974"/>
                  </a:cubicBezTo>
                  <a:cubicBezTo>
                    <a:pt x="3522" y="11976"/>
                    <a:pt x="3522" y="11976"/>
                    <a:pt x="3522" y="11976"/>
                  </a:cubicBezTo>
                  <a:cubicBezTo>
                    <a:pt x="3493" y="12013"/>
                    <a:pt x="3493" y="12013"/>
                    <a:pt x="3493" y="12013"/>
                  </a:cubicBezTo>
                  <a:cubicBezTo>
                    <a:pt x="3406" y="11903"/>
                    <a:pt x="3406" y="11903"/>
                    <a:pt x="3406" y="11903"/>
                  </a:cubicBezTo>
                  <a:lnTo>
                    <a:pt x="3450" y="11849"/>
                  </a:lnTo>
                  <a:close/>
                  <a:moveTo>
                    <a:pt x="3833" y="12315"/>
                  </a:moveTo>
                  <a:cubicBezTo>
                    <a:pt x="3900" y="12229"/>
                    <a:pt x="3900" y="12229"/>
                    <a:pt x="3900" y="12229"/>
                  </a:cubicBezTo>
                  <a:cubicBezTo>
                    <a:pt x="3993" y="12304"/>
                    <a:pt x="3993" y="12304"/>
                    <a:pt x="3993" y="12304"/>
                  </a:cubicBezTo>
                  <a:cubicBezTo>
                    <a:pt x="3908" y="12410"/>
                    <a:pt x="3908" y="12410"/>
                    <a:pt x="3908" y="12410"/>
                  </a:cubicBezTo>
                  <a:cubicBezTo>
                    <a:pt x="3819" y="12338"/>
                    <a:pt x="3819" y="12338"/>
                    <a:pt x="3819" y="12338"/>
                  </a:cubicBezTo>
                  <a:cubicBezTo>
                    <a:pt x="3827" y="12326"/>
                    <a:pt x="3827" y="12326"/>
                    <a:pt x="3827" y="12326"/>
                  </a:cubicBezTo>
                  <a:cubicBezTo>
                    <a:pt x="3834" y="12316"/>
                    <a:pt x="3834" y="12316"/>
                    <a:pt x="3834" y="12316"/>
                  </a:cubicBezTo>
                  <a:lnTo>
                    <a:pt x="3833" y="12315"/>
                  </a:lnTo>
                  <a:close/>
                  <a:moveTo>
                    <a:pt x="3891" y="12205"/>
                  </a:moveTo>
                  <a:cubicBezTo>
                    <a:pt x="3884" y="12216"/>
                    <a:pt x="3884" y="12216"/>
                    <a:pt x="3884" y="12216"/>
                  </a:cubicBezTo>
                  <a:cubicBezTo>
                    <a:pt x="3887" y="12218"/>
                    <a:pt x="3887" y="12218"/>
                    <a:pt x="3887" y="12218"/>
                  </a:cubicBezTo>
                  <a:cubicBezTo>
                    <a:pt x="3820" y="12304"/>
                    <a:pt x="3820" y="12304"/>
                    <a:pt x="3820" y="12304"/>
                  </a:cubicBezTo>
                  <a:cubicBezTo>
                    <a:pt x="3725" y="12224"/>
                    <a:pt x="3725" y="12224"/>
                    <a:pt x="3725" y="12224"/>
                  </a:cubicBezTo>
                  <a:cubicBezTo>
                    <a:pt x="3734" y="12208"/>
                    <a:pt x="3734" y="12208"/>
                    <a:pt x="3734" y="12208"/>
                  </a:cubicBezTo>
                  <a:cubicBezTo>
                    <a:pt x="3735" y="12204"/>
                    <a:pt x="3735" y="12204"/>
                    <a:pt x="3735" y="12204"/>
                  </a:cubicBezTo>
                  <a:cubicBezTo>
                    <a:pt x="3805" y="12114"/>
                    <a:pt x="3805" y="12114"/>
                    <a:pt x="3805" y="12114"/>
                  </a:cubicBezTo>
                  <a:cubicBezTo>
                    <a:pt x="3899" y="12194"/>
                    <a:pt x="3899" y="12194"/>
                    <a:pt x="3899" y="12194"/>
                  </a:cubicBezTo>
                  <a:lnTo>
                    <a:pt x="3891" y="12205"/>
                  </a:lnTo>
                  <a:close/>
                  <a:moveTo>
                    <a:pt x="3798" y="12093"/>
                  </a:moveTo>
                  <a:cubicBezTo>
                    <a:pt x="3793" y="12102"/>
                    <a:pt x="3793" y="12102"/>
                    <a:pt x="3793" y="12102"/>
                  </a:cubicBezTo>
                  <a:cubicBezTo>
                    <a:pt x="3730" y="12184"/>
                    <a:pt x="3730" y="12184"/>
                    <a:pt x="3730" y="12184"/>
                  </a:cubicBezTo>
                  <a:cubicBezTo>
                    <a:pt x="3727" y="12188"/>
                    <a:pt x="3727" y="12188"/>
                    <a:pt x="3727" y="12188"/>
                  </a:cubicBezTo>
                  <a:cubicBezTo>
                    <a:pt x="3629" y="12104"/>
                    <a:pt x="3629" y="12104"/>
                    <a:pt x="3629" y="12104"/>
                  </a:cubicBezTo>
                  <a:cubicBezTo>
                    <a:pt x="3647" y="12079"/>
                    <a:pt x="3647" y="12079"/>
                    <a:pt x="3647" y="12079"/>
                  </a:cubicBezTo>
                  <a:cubicBezTo>
                    <a:pt x="3654" y="12069"/>
                    <a:pt x="3654" y="12069"/>
                    <a:pt x="3654" y="12069"/>
                  </a:cubicBezTo>
                  <a:cubicBezTo>
                    <a:pt x="3654" y="12069"/>
                    <a:pt x="3654" y="12069"/>
                    <a:pt x="3654" y="12069"/>
                  </a:cubicBezTo>
                  <a:cubicBezTo>
                    <a:pt x="3711" y="11996"/>
                    <a:pt x="3711" y="11996"/>
                    <a:pt x="3711" y="11996"/>
                  </a:cubicBezTo>
                  <a:cubicBezTo>
                    <a:pt x="3806" y="12077"/>
                    <a:pt x="3806" y="12077"/>
                    <a:pt x="3806" y="12077"/>
                  </a:cubicBezTo>
                  <a:lnTo>
                    <a:pt x="3798" y="12093"/>
                  </a:lnTo>
                  <a:close/>
                  <a:moveTo>
                    <a:pt x="3702" y="11972"/>
                  </a:moveTo>
                  <a:cubicBezTo>
                    <a:pt x="3694" y="11982"/>
                    <a:pt x="3694" y="11982"/>
                    <a:pt x="3694" y="11982"/>
                  </a:cubicBezTo>
                  <a:cubicBezTo>
                    <a:pt x="3698" y="11985"/>
                    <a:pt x="3698" y="11985"/>
                    <a:pt x="3698" y="11985"/>
                  </a:cubicBezTo>
                  <a:cubicBezTo>
                    <a:pt x="3640" y="12057"/>
                    <a:pt x="3640" y="12057"/>
                    <a:pt x="3640" y="12057"/>
                  </a:cubicBezTo>
                  <a:cubicBezTo>
                    <a:pt x="3543" y="11975"/>
                    <a:pt x="3543" y="11975"/>
                    <a:pt x="3543" y="11975"/>
                  </a:cubicBezTo>
                  <a:cubicBezTo>
                    <a:pt x="3627" y="11868"/>
                    <a:pt x="3627" y="11868"/>
                    <a:pt x="3627" y="11868"/>
                  </a:cubicBezTo>
                  <a:cubicBezTo>
                    <a:pt x="3719" y="11947"/>
                    <a:pt x="3719" y="11947"/>
                    <a:pt x="3719" y="11947"/>
                  </a:cubicBezTo>
                  <a:lnTo>
                    <a:pt x="3702" y="11972"/>
                  </a:lnTo>
                  <a:close/>
                  <a:moveTo>
                    <a:pt x="3535" y="11986"/>
                  </a:moveTo>
                  <a:cubicBezTo>
                    <a:pt x="3631" y="12068"/>
                    <a:pt x="3631" y="12068"/>
                    <a:pt x="3631" y="12068"/>
                  </a:cubicBezTo>
                  <a:cubicBezTo>
                    <a:pt x="3630" y="12069"/>
                    <a:pt x="3630" y="12069"/>
                    <a:pt x="3630" y="12069"/>
                  </a:cubicBezTo>
                  <a:cubicBezTo>
                    <a:pt x="3632" y="12070"/>
                    <a:pt x="3632" y="12070"/>
                    <a:pt x="3632" y="12070"/>
                  </a:cubicBezTo>
                  <a:cubicBezTo>
                    <a:pt x="3585" y="12130"/>
                    <a:pt x="3585" y="12130"/>
                    <a:pt x="3585" y="12130"/>
                  </a:cubicBezTo>
                  <a:cubicBezTo>
                    <a:pt x="3503" y="12026"/>
                    <a:pt x="3503" y="12026"/>
                    <a:pt x="3503" y="12026"/>
                  </a:cubicBezTo>
                  <a:lnTo>
                    <a:pt x="3535" y="11986"/>
                  </a:lnTo>
                  <a:close/>
                  <a:moveTo>
                    <a:pt x="3619" y="12114"/>
                  </a:moveTo>
                  <a:cubicBezTo>
                    <a:pt x="3718" y="12199"/>
                    <a:pt x="3718" y="12199"/>
                    <a:pt x="3718" y="12199"/>
                  </a:cubicBezTo>
                  <a:cubicBezTo>
                    <a:pt x="3717" y="12200"/>
                    <a:pt x="3717" y="12200"/>
                    <a:pt x="3717" y="12200"/>
                  </a:cubicBezTo>
                  <a:cubicBezTo>
                    <a:pt x="3718" y="12200"/>
                    <a:pt x="3718" y="12200"/>
                    <a:pt x="3718" y="12200"/>
                  </a:cubicBezTo>
                  <a:cubicBezTo>
                    <a:pt x="3687" y="12241"/>
                    <a:pt x="3687" y="12241"/>
                    <a:pt x="3687" y="12241"/>
                  </a:cubicBezTo>
                  <a:cubicBezTo>
                    <a:pt x="3615" y="12169"/>
                    <a:pt x="3615" y="12169"/>
                    <a:pt x="3615" y="12169"/>
                  </a:cubicBezTo>
                  <a:cubicBezTo>
                    <a:pt x="3595" y="12143"/>
                    <a:pt x="3595" y="12143"/>
                    <a:pt x="3595" y="12143"/>
                  </a:cubicBezTo>
                  <a:lnTo>
                    <a:pt x="3619" y="12114"/>
                  </a:lnTo>
                  <a:close/>
                  <a:moveTo>
                    <a:pt x="3714" y="12232"/>
                  </a:moveTo>
                  <a:cubicBezTo>
                    <a:pt x="3812" y="12316"/>
                    <a:pt x="3812" y="12316"/>
                    <a:pt x="3812" y="12316"/>
                  </a:cubicBezTo>
                  <a:cubicBezTo>
                    <a:pt x="3789" y="12345"/>
                    <a:pt x="3789" y="12345"/>
                    <a:pt x="3789" y="12345"/>
                  </a:cubicBezTo>
                  <a:cubicBezTo>
                    <a:pt x="3698" y="12253"/>
                    <a:pt x="3698" y="12253"/>
                    <a:pt x="3698" y="12253"/>
                  </a:cubicBezTo>
                  <a:lnTo>
                    <a:pt x="3714" y="12232"/>
                  </a:lnTo>
                  <a:close/>
                  <a:moveTo>
                    <a:pt x="3809" y="12347"/>
                  </a:moveTo>
                  <a:cubicBezTo>
                    <a:pt x="3910" y="12429"/>
                    <a:pt x="3910" y="12429"/>
                    <a:pt x="3910" y="12429"/>
                  </a:cubicBezTo>
                  <a:cubicBezTo>
                    <a:pt x="4012" y="12302"/>
                    <a:pt x="4012" y="12302"/>
                    <a:pt x="4012" y="12302"/>
                  </a:cubicBezTo>
                  <a:cubicBezTo>
                    <a:pt x="3908" y="12217"/>
                    <a:pt x="3908" y="12217"/>
                    <a:pt x="3908" y="12217"/>
                  </a:cubicBezTo>
                  <a:cubicBezTo>
                    <a:pt x="3934" y="12184"/>
                    <a:pt x="3934" y="12184"/>
                    <a:pt x="3934" y="12184"/>
                  </a:cubicBezTo>
                  <a:cubicBezTo>
                    <a:pt x="3970" y="12216"/>
                    <a:pt x="4012" y="12252"/>
                    <a:pt x="4032" y="12269"/>
                  </a:cubicBezTo>
                  <a:cubicBezTo>
                    <a:pt x="4021" y="12295"/>
                    <a:pt x="4015" y="12319"/>
                    <a:pt x="4010" y="12334"/>
                  </a:cubicBezTo>
                  <a:cubicBezTo>
                    <a:pt x="3998" y="12368"/>
                    <a:pt x="3967" y="12483"/>
                    <a:pt x="3954" y="12519"/>
                  </a:cubicBezTo>
                  <a:cubicBezTo>
                    <a:pt x="3941" y="12552"/>
                    <a:pt x="3934" y="12583"/>
                    <a:pt x="3894" y="12627"/>
                  </a:cubicBezTo>
                  <a:cubicBezTo>
                    <a:pt x="3817" y="12373"/>
                    <a:pt x="3817" y="12373"/>
                    <a:pt x="3817" y="12373"/>
                  </a:cubicBezTo>
                  <a:cubicBezTo>
                    <a:pt x="3801" y="12357"/>
                    <a:pt x="3801" y="12357"/>
                    <a:pt x="3801" y="12357"/>
                  </a:cubicBezTo>
                  <a:lnTo>
                    <a:pt x="3809" y="12347"/>
                  </a:lnTo>
                  <a:close/>
                  <a:moveTo>
                    <a:pt x="3912" y="12186"/>
                  </a:moveTo>
                  <a:cubicBezTo>
                    <a:pt x="3813" y="12103"/>
                    <a:pt x="3813" y="12103"/>
                    <a:pt x="3813" y="12103"/>
                  </a:cubicBezTo>
                  <a:cubicBezTo>
                    <a:pt x="3839" y="12070"/>
                    <a:pt x="3839" y="12070"/>
                    <a:pt x="3839" y="12070"/>
                  </a:cubicBezTo>
                  <a:cubicBezTo>
                    <a:pt x="3864" y="12123"/>
                    <a:pt x="3864" y="12123"/>
                    <a:pt x="3864" y="12123"/>
                  </a:cubicBezTo>
                  <a:cubicBezTo>
                    <a:pt x="3868" y="12127"/>
                    <a:pt x="3868" y="12127"/>
                    <a:pt x="3868" y="12127"/>
                  </a:cubicBezTo>
                  <a:cubicBezTo>
                    <a:pt x="3868" y="12127"/>
                    <a:pt x="3892" y="12147"/>
                    <a:pt x="3921" y="12173"/>
                  </a:cubicBezTo>
                  <a:lnTo>
                    <a:pt x="3912" y="12186"/>
                  </a:lnTo>
                  <a:close/>
                  <a:moveTo>
                    <a:pt x="3818" y="12069"/>
                  </a:moveTo>
                  <a:cubicBezTo>
                    <a:pt x="3719" y="11985"/>
                    <a:pt x="3719" y="11985"/>
                    <a:pt x="3719" y="11985"/>
                  </a:cubicBezTo>
                  <a:cubicBezTo>
                    <a:pt x="3768" y="11922"/>
                    <a:pt x="3768" y="11922"/>
                    <a:pt x="3768" y="11922"/>
                  </a:cubicBezTo>
                  <a:cubicBezTo>
                    <a:pt x="3831" y="12053"/>
                    <a:pt x="3831" y="12053"/>
                    <a:pt x="3831" y="12053"/>
                  </a:cubicBezTo>
                  <a:lnTo>
                    <a:pt x="3818" y="12069"/>
                  </a:lnTo>
                  <a:close/>
                  <a:moveTo>
                    <a:pt x="3759" y="11907"/>
                  </a:moveTo>
                  <a:cubicBezTo>
                    <a:pt x="3733" y="11940"/>
                    <a:pt x="3733" y="11940"/>
                    <a:pt x="3733" y="11940"/>
                  </a:cubicBezTo>
                  <a:cubicBezTo>
                    <a:pt x="3635" y="11857"/>
                    <a:pt x="3635" y="11857"/>
                    <a:pt x="3635" y="11857"/>
                  </a:cubicBezTo>
                  <a:cubicBezTo>
                    <a:pt x="3681" y="11799"/>
                    <a:pt x="3681" y="11799"/>
                    <a:pt x="3681" y="11799"/>
                  </a:cubicBezTo>
                  <a:cubicBezTo>
                    <a:pt x="3701" y="11814"/>
                    <a:pt x="3718" y="11826"/>
                    <a:pt x="3726" y="11831"/>
                  </a:cubicBezTo>
                  <a:cubicBezTo>
                    <a:pt x="3763" y="11910"/>
                    <a:pt x="3763" y="11910"/>
                    <a:pt x="3763" y="11910"/>
                  </a:cubicBezTo>
                  <a:lnTo>
                    <a:pt x="3759" y="11907"/>
                  </a:lnTo>
                  <a:close/>
                  <a:moveTo>
                    <a:pt x="3655" y="11806"/>
                  </a:moveTo>
                  <a:cubicBezTo>
                    <a:pt x="3551" y="11721"/>
                    <a:pt x="3551" y="11721"/>
                    <a:pt x="3551" y="11721"/>
                  </a:cubicBezTo>
                  <a:cubicBezTo>
                    <a:pt x="3560" y="11711"/>
                    <a:pt x="3560" y="11711"/>
                    <a:pt x="3560" y="11711"/>
                  </a:cubicBezTo>
                  <a:cubicBezTo>
                    <a:pt x="3563" y="11713"/>
                    <a:pt x="3567" y="11716"/>
                    <a:pt x="3571" y="11719"/>
                  </a:cubicBezTo>
                  <a:cubicBezTo>
                    <a:pt x="3589" y="11732"/>
                    <a:pt x="3613" y="11749"/>
                    <a:pt x="3636" y="11766"/>
                  </a:cubicBezTo>
                  <a:cubicBezTo>
                    <a:pt x="3647" y="11774"/>
                    <a:pt x="3657" y="11782"/>
                    <a:pt x="3668" y="11789"/>
                  </a:cubicBezTo>
                  <a:lnTo>
                    <a:pt x="3655" y="11806"/>
                  </a:lnTo>
                  <a:close/>
                  <a:moveTo>
                    <a:pt x="3636" y="11808"/>
                  </a:moveTo>
                  <a:cubicBezTo>
                    <a:pt x="3612" y="11838"/>
                    <a:pt x="3612" y="11838"/>
                    <a:pt x="3612" y="11838"/>
                  </a:cubicBezTo>
                  <a:cubicBezTo>
                    <a:pt x="3603" y="11849"/>
                    <a:pt x="3603" y="11849"/>
                    <a:pt x="3603" y="11849"/>
                  </a:cubicBezTo>
                  <a:cubicBezTo>
                    <a:pt x="3610" y="11854"/>
                    <a:pt x="3610" y="11854"/>
                    <a:pt x="3610" y="11854"/>
                  </a:cubicBezTo>
                  <a:cubicBezTo>
                    <a:pt x="3558" y="11919"/>
                    <a:pt x="3558" y="11919"/>
                    <a:pt x="3558" y="11919"/>
                  </a:cubicBezTo>
                  <a:cubicBezTo>
                    <a:pt x="3458" y="11838"/>
                    <a:pt x="3458" y="11838"/>
                    <a:pt x="3458" y="11838"/>
                  </a:cubicBezTo>
                  <a:cubicBezTo>
                    <a:pt x="3543" y="11732"/>
                    <a:pt x="3543" y="11732"/>
                    <a:pt x="3543" y="11732"/>
                  </a:cubicBezTo>
                  <a:lnTo>
                    <a:pt x="3636" y="11808"/>
                  </a:lnTo>
                  <a:close/>
                  <a:moveTo>
                    <a:pt x="3539" y="11711"/>
                  </a:moveTo>
                  <a:cubicBezTo>
                    <a:pt x="3442" y="11632"/>
                    <a:pt x="3442" y="11632"/>
                    <a:pt x="3442" y="11632"/>
                  </a:cubicBezTo>
                  <a:cubicBezTo>
                    <a:pt x="3483" y="11581"/>
                    <a:pt x="3483" y="11581"/>
                    <a:pt x="3483" y="11581"/>
                  </a:cubicBezTo>
                  <a:cubicBezTo>
                    <a:pt x="3506" y="11631"/>
                    <a:pt x="3528" y="11679"/>
                    <a:pt x="3533" y="11689"/>
                  </a:cubicBezTo>
                  <a:cubicBezTo>
                    <a:pt x="3534" y="11691"/>
                    <a:pt x="3533" y="11690"/>
                    <a:pt x="3538" y="11695"/>
                  </a:cubicBezTo>
                  <a:cubicBezTo>
                    <a:pt x="3539" y="11696"/>
                    <a:pt x="3540" y="11698"/>
                    <a:pt x="3543" y="11699"/>
                  </a:cubicBezTo>
                  <a:cubicBezTo>
                    <a:pt x="3543" y="11699"/>
                    <a:pt x="3543" y="11699"/>
                    <a:pt x="3543" y="11699"/>
                  </a:cubicBezTo>
                  <a:cubicBezTo>
                    <a:pt x="3544" y="11700"/>
                    <a:pt x="3545" y="11701"/>
                    <a:pt x="3546" y="11701"/>
                  </a:cubicBezTo>
                  <a:lnTo>
                    <a:pt x="3539" y="11711"/>
                  </a:lnTo>
                  <a:close/>
                  <a:moveTo>
                    <a:pt x="3453" y="11591"/>
                  </a:moveTo>
                  <a:cubicBezTo>
                    <a:pt x="3457" y="11585"/>
                    <a:pt x="3457" y="11585"/>
                    <a:pt x="3457" y="11585"/>
                  </a:cubicBezTo>
                  <a:cubicBezTo>
                    <a:pt x="3353" y="11501"/>
                    <a:pt x="3353" y="11501"/>
                    <a:pt x="3353" y="11501"/>
                  </a:cubicBezTo>
                  <a:cubicBezTo>
                    <a:pt x="3389" y="11456"/>
                    <a:pt x="3389" y="11456"/>
                    <a:pt x="3389" y="11456"/>
                  </a:cubicBezTo>
                  <a:cubicBezTo>
                    <a:pt x="3439" y="11482"/>
                    <a:pt x="3439" y="11482"/>
                    <a:pt x="3439" y="11482"/>
                  </a:cubicBezTo>
                  <a:cubicBezTo>
                    <a:pt x="3445" y="11496"/>
                    <a:pt x="3459" y="11529"/>
                    <a:pt x="3475" y="11564"/>
                  </a:cubicBezTo>
                  <a:lnTo>
                    <a:pt x="3453" y="11591"/>
                  </a:lnTo>
                  <a:close/>
                  <a:moveTo>
                    <a:pt x="3364" y="11461"/>
                  </a:moveTo>
                  <a:cubicBezTo>
                    <a:pt x="3295" y="11406"/>
                    <a:pt x="3295" y="11406"/>
                    <a:pt x="3295" y="11406"/>
                  </a:cubicBezTo>
                  <a:cubicBezTo>
                    <a:pt x="3374" y="11448"/>
                    <a:pt x="3374" y="11448"/>
                    <a:pt x="3374" y="11448"/>
                  </a:cubicBezTo>
                  <a:lnTo>
                    <a:pt x="3364" y="11461"/>
                  </a:lnTo>
                  <a:close/>
                  <a:moveTo>
                    <a:pt x="3348" y="11466"/>
                  </a:moveTo>
                  <a:cubicBezTo>
                    <a:pt x="3334" y="11487"/>
                    <a:pt x="3334" y="11487"/>
                    <a:pt x="3334" y="11487"/>
                  </a:cubicBezTo>
                  <a:cubicBezTo>
                    <a:pt x="3327" y="11497"/>
                    <a:pt x="3327" y="11497"/>
                    <a:pt x="3327" y="11497"/>
                  </a:cubicBezTo>
                  <a:cubicBezTo>
                    <a:pt x="3332" y="11501"/>
                    <a:pt x="3332" y="11501"/>
                    <a:pt x="3332" y="11501"/>
                  </a:cubicBezTo>
                  <a:cubicBezTo>
                    <a:pt x="3271" y="11577"/>
                    <a:pt x="3271" y="11577"/>
                    <a:pt x="3271" y="11577"/>
                  </a:cubicBezTo>
                  <a:cubicBezTo>
                    <a:pt x="3183" y="11508"/>
                    <a:pt x="3183" y="11508"/>
                    <a:pt x="3183" y="11508"/>
                  </a:cubicBezTo>
                  <a:cubicBezTo>
                    <a:pt x="3268" y="11402"/>
                    <a:pt x="3268" y="11402"/>
                    <a:pt x="3268" y="11402"/>
                  </a:cubicBezTo>
                  <a:lnTo>
                    <a:pt x="3348" y="11466"/>
                  </a:lnTo>
                  <a:close/>
                  <a:moveTo>
                    <a:pt x="3171" y="11497"/>
                  </a:moveTo>
                  <a:cubicBezTo>
                    <a:pt x="3169" y="11496"/>
                    <a:pt x="3169" y="11496"/>
                    <a:pt x="3169" y="11496"/>
                  </a:cubicBezTo>
                  <a:cubicBezTo>
                    <a:pt x="3218" y="11434"/>
                    <a:pt x="3218" y="11434"/>
                    <a:pt x="3218" y="11434"/>
                  </a:cubicBezTo>
                  <a:cubicBezTo>
                    <a:pt x="3221" y="11435"/>
                    <a:pt x="3221" y="11435"/>
                    <a:pt x="3221" y="11435"/>
                  </a:cubicBezTo>
                  <a:lnTo>
                    <a:pt x="3171" y="11497"/>
                  </a:lnTo>
                  <a:close/>
                  <a:moveTo>
                    <a:pt x="3175" y="11518"/>
                  </a:moveTo>
                  <a:cubicBezTo>
                    <a:pt x="3262" y="11588"/>
                    <a:pt x="3262" y="11588"/>
                    <a:pt x="3262" y="11588"/>
                  </a:cubicBezTo>
                  <a:cubicBezTo>
                    <a:pt x="3200" y="11666"/>
                    <a:pt x="3200" y="11666"/>
                    <a:pt x="3200" y="11666"/>
                  </a:cubicBezTo>
                  <a:cubicBezTo>
                    <a:pt x="3191" y="11657"/>
                    <a:pt x="3183" y="11649"/>
                    <a:pt x="3175" y="11643"/>
                  </a:cubicBezTo>
                  <a:cubicBezTo>
                    <a:pt x="3157" y="11629"/>
                    <a:pt x="3134" y="11613"/>
                    <a:pt x="3110" y="11598"/>
                  </a:cubicBezTo>
                  <a:lnTo>
                    <a:pt x="3175" y="11518"/>
                  </a:lnTo>
                  <a:close/>
                  <a:moveTo>
                    <a:pt x="3251" y="11628"/>
                  </a:moveTo>
                  <a:cubicBezTo>
                    <a:pt x="3353" y="11710"/>
                    <a:pt x="3353" y="11710"/>
                    <a:pt x="3353" y="11710"/>
                  </a:cubicBezTo>
                  <a:cubicBezTo>
                    <a:pt x="3351" y="11712"/>
                    <a:pt x="3351" y="11712"/>
                    <a:pt x="3351" y="11712"/>
                  </a:cubicBezTo>
                  <a:cubicBezTo>
                    <a:pt x="3354" y="11714"/>
                    <a:pt x="3354" y="11714"/>
                    <a:pt x="3354" y="11714"/>
                  </a:cubicBezTo>
                  <a:cubicBezTo>
                    <a:pt x="3349" y="11722"/>
                    <a:pt x="3349" y="11722"/>
                    <a:pt x="3349" y="11722"/>
                  </a:cubicBezTo>
                  <a:cubicBezTo>
                    <a:pt x="3299" y="11784"/>
                    <a:pt x="3299" y="11784"/>
                    <a:pt x="3299" y="11784"/>
                  </a:cubicBezTo>
                  <a:cubicBezTo>
                    <a:pt x="3272" y="11748"/>
                    <a:pt x="3240" y="11708"/>
                    <a:pt x="3212" y="11677"/>
                  </a:cubicBezTo>
                  <a:lnTo>
                    <a:pt x="3251" y="11628"/>
                  </a:lnTo>
                  <a:close/>
                  <a:moveTo>
                    <a:pt x="3340" y="11759"/>
                  </a:moveTo>
                  <a:cubicBezTo>
                    <a:pt x="3437" y="11838"/>
                    <a:pt x="3437" y="11838"/>
                    <a:pt x="3437" y="11838"/>
                  </a:cubicBezTo>
                  <a:cubicBezTo>
                    <a:pt x="3396" y="11890"/>
                    <a:pt x="3396" y="11890"/>
                    <a:pt x="3396" y="11890"/>
                  </a:cubicBezTo>
                  <a:cubicBezTo>
                    <a:pt x="3395" y="11888"/>
                    <a:pt x="3395" y="11888"/>
                    <a:pt x="3395" y="11888"/>
                  </a:cubicBezTo>
                  <a:cubicBezTo>
                    <a:pt x="3359" y="11870"/>
                    <a:pt x="3359" y="11870"/>
                    <a:pt x="3359" y="11870"/>
                  </a:cubicBezTo>
                  <a:cubicBezTo>
                    <a:pt x="3352" y="11859"/>
                    <a:pt x="3333" y="11831"/>
                    <a:pt x="3309" y="11798"/>
                  </a:cubicBezTo>
                  <a:lnTo>
                    <a:pt x="3340" y="11759"/>
                  </a:lnTo>
                  <a:close/>
                  <a:moveTo>
                    <a:pt x="3365" y="11924"/>
                  </a:moveTo>
                  <a:cubicBezTo>
                    <a:pt x="3467" y="12053"/>
                    <a:pt x="3467" y="12053"/>
                    <a:pt x="3467" y="12053"/>
                  </a:cubicBezTo>
                  <a:cubicBezTo>
                    <a:pt x="3467" y="12054"/>
                    <a:pt x="3466" y="12055"/>
                    <a:pt x="3466" y="12056"/>
                  </a:cubicBezTo>
                  <a:cubicBezTo>
                    <a:pt x="3462" y="12063"/>
                    <a:pt x="3456" y="12073"/>
                    <a:pt x="3450" y="12086"/>
                  </a:cubicBezTo>
                  <a:cubicBezTo>
                    <a:pt x="3437" y="12110"/>
                    <a:pt x="3420" y="12143"/>
                    <a:pt x="3404" y="12176"/>
                  </a:cubicBezTo>
                  <a:cubicBezTo>
                    <a:pt x="3377" y="12229"/>
                    <a:pt x="3351" y="12282"/>
                    <a:pt x="3342" y="12301"/>
                  </a:cubicBezTo>
                  <a:cubicBezTo>
                    <a:pt x="3124" y="12217"/>
                    <a:pt x="3124" y="12217"/>
                    <a:pt x="3124" y="12217"/>
                  </a:cubicBezTo>
                  <a:cubicBezTo>
                    <a:pt x="3184" y="12068"/>
                    <a:pt x="3184" y="12068"/>
                    <a:pt x="3184" y="12068"/>
                  </a:cubicBezTo>
                  <a:cubicBezTo>
                    <a:pt x="2946" y="11987"/>
                    <a:pt x="2946" y="11987"/>
                    <a:pt x="2946" y="11987"/>
                  </a:cubicBezTo>
                  <a:cubicBezTo>
                    <a:pt x="2976" y="11902"/>
                    <a:pt x="3008" y="11810"/>
                    <a:pt x="3018" y="11780"/>
                  </a:cubicBezTo>
                  <a:cubicBezTo>
                    <a:pt x="3225" y="11852"/>
                    <a:pt x="3225" y="11852"/>
                    <a:pt x="3225" y="11852"/>
                  </a:cubicBezTo>
                  <a:lnTo>
                    <a:pt x="3365" y="11924"/>
                  </a:lnTo>
                  <a:close/>
                  <a:moveTo>
                    <a:pt x="3162" y="12078"/>
                  </a:moveTo>
                  <a:cubicBezTo>
                    <a:pt x="3102" y="12226"/>
                    <a:pt x="3102" y="12226"/>
                    <a:pt x="3102" y="12226"/>
                  </a:cubicBezTo>
                  <a:cubicBezTo>
                    <a:pt x="3336" y="12316"/>
                    <a:pt x="3336" y="12316"/>
                    <a:pt x="3336" y="12316"/>
                  </a:cubicBezTo>
                  <a:cubicBezTo>
                    <a:pt x="3243" y="12499"/>
                    <a:pt x="3243" y="12499"/>
                    <a:pt x="3243" y="12499"/>
                  </a:cubicBezTo>
                  <a:cubicBezTo>
                    <a:pt x="3212" y="12485"/>
                    <a:pt x="3182" y="12474"/>
                    <a:pt x="3152" y="12465"/>
                  </a:cubicBezTo>
                  <a:cubicBezTo>
                    <a:pt x="3065" y="12439"/>
                    <a:pt x="2984" y="12413"/>
                    <a:pt x="2882" y="12391"/>
                  </a:cubicBezTo>
                  <a:cubicBezTo>
                    <a:pt x="2858" y="12152"/>
                    <a:pt x="2858" y="12152"/>
                    <a:pt x="2858" y="12152"/>
                  </a:cubicBezTo>
                  <a:cubicBezTo>
                    <a:pt x="2871" y="12154"/>
                    <a:pt x="2879" y="12155"/>
                    <a:pt x="2881" y="12155"/>
                  </a:cubicBezTo>
                  <a:cubicBezTo>
                    <a:pt x="2881" y="12155"/>
                    <a:pt x="2881" y="12155"/>
                    <a:pt x="2881" y="12155"/>
                  </a:cubicBezTo>
                  <a:cubicBezTo>
                    <a:pt x="2886" y="12155"/>
                    <a:pt x="2886" y="12155"/>
                    <a:pt x="2886" y="12155"/>
                  </a:cubicBezTo>
                  <a:cubicBezTo>
                    <a:pt x="2888" y="12150"/>
                    <a:pt x="2888" y="12150"/>
                    <a:pt x="2888" y="12150"/>
                  </a:cubicBezTo>
                  <a:cubicBezTo>
                    <a:pt x="2889" y="12149"/>
                    <a:pt x="2913" y="12081"/>
                    <a:pt x="2940" y="12002"/>
                  </a:cubicBezTo>
                  <a:lnTo>
                    <a:pt x="3162" y="12078"/>
                  </a:lnTo>
                  <a:close/>
                  <a:moveTo>
                    <a:pt x="3349" y="12321"/>
                  </a:moveTo>
                  <a:cubicBezTo>
                    <a:pt x="3350" y="12321"/>
                    <a:pt x="3350" y="12321"/>
                    <a:pt x="3350" y="12321"/>
                  </a:cubicBezTo>
                  <a:cubicBezTo>
                    <a:pt x="3353" y="12315"/>
                    <a:pt x="3353" y="12315"/>
                    <a:pt x="3353" y="12315"/>
                  </a:cubicBezTo>
                  <a:cubicBezTo>
                    <a:pt x="3353" y="12315"/>
                    <a:pt x="3382" y="12255"/>
                    <a:pt x="3414" y="12193"/>
                  </a:cubicBezTo>
                  <a:cubicBezTo>
                    <a:pt x="3439" y="12143"/>
                    <a:pt x="3465" y="12091"/>
                    <a:pt x="3478" y="12067"/>
                  </a:cubicBezTo>
                  <a:cubicBezTo>
                    <a:pt x="3582" y="12198"/>
                    <a:pt x="3582" y="12198"/>
                    <a:pt x="3582" y="12198"/>
                  </a:cubicBezTo>
                  <a:cubicBezTo>
                    <a:pt x="3598" y="12215"/>
                    <a:pt x="3598" y="12215"/>
                    <a:pt x="3598" y="12215"/>
                  </a:cubicBezTo>
                  <a:cubicBezTo>
                    <a:pt x="3463" y="12325"/>
                    <a:pt x="3463" y="12325"/>
                    <a:pt x="3463" y="12325"/>
                  </a:cubicBezTo>
                  <a:cubicBezTo>
                    <a:pt x="3564" y="12714"/>
                    <a:pt x="3564" y="12714"/>
                    <a:pt x="3564" y="12714"/>
                  </a:cubicBezTo>
                  <a:cubicBezTo>
                    <a:pt x="3563" y="12713"/>
                    <a:pt x="3562" y="12712"/>
                    <a:pt x="3561" y="12711"/>
                  </a:cubicBezTo>
                  <a:cubicBezTo>
                    <a:pt x="3500" y="12652"/>
                    <a:pt x="3379" y="12563"/>
                    <a:pt x="3255" y="12505"/>
                  </a:cubicBezTo>
                  <a:lnTo>
                    <a:pt x="3349" y="12321"/>
                  </a:lnTo>
                  <a:close/>
                  <a:moveTo>
                    <a:pt x="3740" y="12959"/>
                  </a:moveTo>
                  <a:cubicBezTo>
                    <a:pt x="3741" y="12763"/>
                    <a:pt x="3741" y="12763"/>
                    <a:pt x="3741" y="12763"/>
                  </a:cubicBezTo>
                  <a:cubicBezTo>
                    <a:pt x="3797" y="12744"/>
                    <a:pt x="3858" y="12720"/>
                    <a:pt x="3895" y="12688"/>
                  </a:cubicBezTo>
                  <a:cubicBezTo>
                    <a:pt x="3929" y="12659"/>
                    <a:pt x="3950" y="12632"/>
                    <a:pt x="3964" y="12608"/>
                  </a:cubicBezTo>
                  <a:cubicBezTo>
                    <a:pt x="3998" y="12638"/>
                    <a:pt x="4080" y="12714"/>
                    <a:pt x="4143" y="12770"/>
                  </a:cubicBezTo>
                  <a:cubicBezTo>
                    <a:pt x="4180" y="12803"/>
                    <a:pt x="4212" y="12828"/>
                    <a:pt x="4219" y="12835"/>
                  </a:cubicBezTo>
                  <a:cubicBezTo>
                    <a:pt x="4220" y="12836"/>
                    <a:pt x="4221" y="12837"/>
                    <a:pt x="4221" y="12838"/>
                  </a:cubicBezTo>
                  <a:cubicBezTo>
                    <a:pt x="4223" y="12840"/>
                    <a:pt x="4225" y="12842"/>
                    <a:pt x="4228" y="12845"/>
                  </a:cubicBezTo>
                  <a:cubicBezTo>
                    <a:pt x="4233" y="12852"/>
                    <a:pt x="4240" y="12860"/>
                    <a:pt x="4246" y="12870"/>
                  </a:cubicBezTo>
                  <a:cubicBezTo>
                    <a:pt x="4259" y="12889"/>
                    <a:pt x="4271" y="12914"/>
                    <a:pt x="4271" y="12928"/>
                  </a:cubicBezTo>
                  <a:cubicBezTo>
                    <a:pt x="4271" y="12930"/>
                    <a:pt x="4270" y="12935"/>
                    <a:pt x="4270" y="12940"/>
                  </a:cubicBezTo>
                  <a:cubicBezTo>
                    <a:pt x="4268" y="12942"/>
                    <a:pt x="4267" y="12943"/>
                    <a:pt x="4265" y="12945"/>
                  </a:cubicBezTo>
                  <a:cubicBezTo>
                    <a:pt x="4258" y="12954"/>
                    <a:pt x="4201" y="13006"/>
                    <a:pt x="4182" y="13023"/>
                  </a:cubicBezTo>
                  <a:cubicBezTo>
                    <a:pt x="4166" y="13037"/>
                    <a:pt x="4116" y="13047"/>
                    <a:pt x="4039" y="13143"/>
                  </a:cubicBezTo>
                  <a:cubicBezTo>
                    <a:pt x="4030" y="13155"/>
                    <a:pt x="4021" y="13167"/>
                    <a:pt x="4013" y="13179"/>
                  </a:cubicBezTo>
                  <a:cubicBezTo>
                    <a:pt x="3700" y="13063"/>
                    <a:pt x="3700" y="13063"/>
                    <a:pt x="3700" y="13063"/>
                  </a:cubicBezTo>
                  <a:lnTo>
                    <a:pt x="3740" y="12959"/>
                  </a:lnTo>
                  <a:close/>
                  <a:moveTo>
                    <a:pt x="4214" y="12820"/>
                  </a:moveTo>
                  <a:cubicBezTo>
                    <a:pt x="4214" y="12820"/>
                    <a:pt x="4214" y="12820"/>
                    <a:pt x="4214" y="12820"/>
                  </a:cubicBezTo>
                  <a:cubicBezTo>
                    <a:pt x="4214" y="12820"/>
                    <a:pt x="4214" y="12820"/>
                    <a:pt x="4214" y="12820"/>
                  </a:cubicBezTo>
                  <a:close/>
                  <a:moveTo>
                    <a:pt x="4214" y="12816"/>
                  </a:moveTo>
                  <a:cubicBezTo>
                    <a:pt x="4214" y="12816"/>
                    <a:pt x="4215" y="12815"/>
                    <a:pt x="4215" y="12815"/>
                  </a:cubicBezTo>
                  <a:cubicBezTo>
                    <a:pt x="4215" y="12815"/>
                    <a:pt x="4215" y="12815"/>
                    <a:pt x="4215" y="12815"/>
                  </a:cubicBezTo>
                  <a:cubicBezTo>
                    <a:pt x="4215" y="12815"/>
                    <a:pt x="4214" y="12816"/>
                    <a:pt x="4214" y="12816"/>
                  </a:cubicBezTo>
                  <a:close/>
                  <a:moveTo>
                    <a:pt x="4141" y="12125"/>
                  </a:moveTo>
                  <a:cubicBezTo>
                    <a:pt x="4118" y="12146"/>
                    <a:pt x="4095" y="12170"/>
                    <a:pt x="4078" y="12190"/>
                  </a:cubicBezTo>
                  <a:cubicBezTo>
                    <a:pt x="4068" y="12202"/>
                    <a:pt x="4060" y="12215"/>
                    <a:pt x="4052" y="12227"/>
                  </a:cubicBezTo>
                  <a:cubicBezTo>
                    <a:pt x="4050" y="12225"/>
                    <a:pt x="4047" y="12222"/>
                    <a:pt x="4043" y="12220"/>
                  </a:cubicBezTo>
                  <a:cubicBezTo>
                    <a:pt x="4027" y="12205"/>
                    <a:pt x="4005" y="12187"/>
                    <a:pt x="3984" y="12168"/>
                  </a:cubicBezTo>
                  <a:cubicBezTo>
                    <a:pt x="3948" y="12137"/>
                    <a:pt x="3912" y="12105"/>
                    <a:pt x="3901" y="12096"/>
                  </a:cubicBezTo>
                  <a:cubicBezTo>
                    <a:pt x="3849" y="11987"/>
                    <a:pt x="3849" y="11987"/>
                    <a:pt x="3849" y="11987"/>
                  </a:cubicBezTo>
                  <a:cubicBezTo>
                    <a:pt x="4090" y="11913"/>
                    <a:pt x="4090" y="11913"/>
                    <a:pt x="4090" y="11913"/>
                  </a:cubicBezTo>
                  <a:cubicBezTo>
                    <a:pt x="4208" y="12068"/>
                    <a:pt x="4208" y="12068"/>
                    <a:pt x="4208" y="12068"/>
                  </a:cubicBezTo>
                  <a:cubicBezTo>
                    <a:pt x="4208" y="12068"/>
                    <a:pt x="4208" y="12068"/>
                    <a:pt x="4208" y="12068"/>
                  </a:cubicBezTo>
                  <a:cubicBezTo>
                    <a:pt x="4208" y="12068"/>
                    <a:pt x="4208" y="12068"/>
                    <a:pt x="4209" y="12069"/>
                  </a:cubicBezTo>
                  <a:cubicBezTo>
                    <a:pt x="4209" y="12069"/>
                    <a:pt x="4209" y="12069"/>
                    <a:pt x="4209" y="12069"/>
                  </a:cubicBezTo>
                  <a:cubicBezTo>
                    <a:pt x="4204" y="12072"/>
                    <a:pt x="4173" y="12096"/>
                    <a:pt x="4141" y="12125"/>
                  </a:cubicBezTo>
                  <a:close/>
                  <a:moveTo>
                    <a:pt x="4079" y="11899"/>
                  </a:moveTo>
                  <a:cubicBezTo>
                    <a:pt x="3842" y="11972"/>
                    <a:pt x="3842" y="11972"/>
                    <a:pt x="3842" y="11972"/>
                  </a:cubicBezTo>
                  <a:cubicBezTo>
                    <a:pt x="3761" y="11802"/>
                    <a:pt x="3761" y="11802"/>
                    <a:pt x="3761" y="11802"/>
                  </a:cubicBezTo>
                  <a:cubicBezTo>
                    <a:pt x="3757" y="11798"/>
                    <a:pt x="3757" y="11798"/>
                    <a:pt x="3757" y="11798"/>
                  </a:cubicBezTo>
                  <a:cubicBezTo>
                    <a:pt x="3757" y="11798"/>
                    <a:pt x="3600" y="11684"/>
                    <a:pt x="3571" y="11663"/>
                  </a:cubicBezTo>
                  <a:cubicBezTo>
                    <a:pt x="3570" y="11662"/>
                    <a:pt x="3570" y="11661"/>
                    <a:pt x="3569" y="11660"/>
                  </a:cubicBezTo>
                  <a:cubicBezTo>
                    <a:pt x="3566" y="11654"/>
                    <a:pt x="3563" y="11646"/>
                    <a:pt x="3558" y="11636"/>
                  </a:cubicBezTo>
                  <a:cubicBezTo>
                    <a:pt x="3549" y="11616"/>
                    <a:pt x="3537" y="11590"/>
                    <a:pt x="3525" y="11563"/>
                  </a:cubicBezTo>
                  <a:cubicBezTo>
                    <a:pt x="3500" y="11510"/>
                    <a:pt x="3477" y="11457"/>
                    <a:pt x="3477" y="11457"/>
                  </a:cubicBezTo>
                  <a:cubicBezTo>
                    <a:pt x="3475" y="11453"/>
                    <a:pt x="3475" y="11453"/>
                    <a:pt x="3475" y="11453"/>
                  </a:cubicBezTo>
                  <a:cubicBezTo>
                    <a:pt x="3614" y="11289"/>
                    <a:pt x="3614" y="11289"/>
                    <a:pt x="3614" y="11289"/>
                  </a:cubicBezTo>
                  <a:lnTo>
                    <a:pt x="4079" y="11899"/>
                  </a:lnTo>
                  <a:close/>
                  <a:moveTo>
                    <a:pt x="3461" y="11443"/>
                  </a:moveTo>
                  <a:cubicBezTo>
                    <a:pt x="3160" y="11282"/>
                    <a:pt x="3160" y="11282"/>
                    <a:pt x="3160" y="11282"/>
                  </a:cubicBezTo>
                  <a:cubicBezTo>
                    <a:pt x="3153" y="11294"/>
                    <a:pt x="3153" y="11294"/>
                    <a:pt x="3153" y="11294"/>
                  </a:cubicBezTo>
                  <a:cubicBezTo>
                    <a:pt x="3228" y="11135"/>
                    <a:pt x="3228" y="11135"/>
                    <a:pt x="3228" y="11135"/>
                  </a:cubicBezTo>
                  <a:cubicBezTo>
                    <a:pt x="3409" y="11021"/>
                    <a:pt x="3409" y="11021"/>
                    <a:pt x="3409" y="11021"/>
                  </a:cubicBezTo>
                  <a:cubicBezTo>
                    <a:pt x="3604" y="11276"/>
                    <a:pt x="3604" y="11276"/>
                    <a:pt x="3604" y="11276"/>
                  </a:cubicBezTo>
                  <a:lnTo>
                    <a:pt x="3461" y="11443"/>
                  </a:lnTo>
                  <a:close/>
                  <a:moveTo>
                    <a:pt x="3212" y="11429"/>
                  </a:moveTo>
                  <a:cubicBezTo>
                    <a:pt x="3163" y="11491"/>
                    <a:pt x="3163" y="11491"/>
                    <a:pt x="3163" y="11491"/>
                  </a:cubicBezTo>
                  <a:cubicBezTo>
                    <a:pt x="3157" y="11487"/>
                    <a:pt x="3157" y="11487"/>
                    <a:pt x="3157" y="11487"/>
                  </a:cubicBezTo>
                  <a:cubicBezTo>
                    <a:pt x="3148" y="11496"/>
                    <a:pt x="3148" y="11496"/>
                    <a:pt x="3148" y="11496"/>
                  </a:cubicBezTo>
                  <a:cubicBezTo>
                    <a:pt x="3118" y="11526"/>
                    <a:pt x="3118" y="11526"/>
                    <a:pt x="3118" y="11526"/>
                  </a:cubicBezTo>
                  <a:cubicBezTo>
                    <a:pt x="3034" y="11461"/>
                    <a:pt x="3034" y="11461"/>
                    <a:pt x="3034" y="11461"/>
                  </a:cubicBezTo>
                  <a:cubicBezTo>
                    <a:pt x="3119" y="11356"/>
                    <a:pt x="3119" y="11356"/>
                    <a:pt x="3119" y="11356"/>
                  </a:cubicBezTo>
                  <a:lnTo>
                    <a:pt x="3212" y="11429"/>
                  </a:lnTo>
                  <a:close/>
                  <a:moveTo>
                    <a:pt x="3119" y="11545"/>
                  </a:moveTo>
                  <a:cubicBezTo>
                    <a:pt x="3157" y="11507"/>
                    <a:pt x="3157" y="11507"/>
                    <a:pt x="3157" y="11507"/>
                  </a:cubicBezTo>
                  <a:cubicBezTo>
                    <a:pt x="3159" y="11509"/>
                    <a:pt x="3159" y="11509"/>
                    <a:pt x="3159" y="11509"/>
                  </a:cubicBezTo>
                  <a:cubicBezTo>
                    <a:pt x="3161" y="11507"/>
                    <a:pt x="3161" y="11507"/>
                    <a:pt x="3161" y="11507"/>
                  </a:cubicBezTo>
                  <a:cubicBezTo>
                    <a:pt x="3162" y="11508"/>
                    <a:pt x="3162" y="11508"/>
                    <a:pt x="3162" y="11508"/>
                  </a:cubicBezTo>
                  <a:cubicBezTo>
                    <a:pt x="3096" y="11590"/>
                    <a:pt x="3096" y="11590"/>
                    <a:pt x="3096" y="11590"/>
                  </a:cubicBezTo>
                  <a:cubicBezTo>
                    <a:pt x="3052" y="11563"/>
                    <a:pt x="3005" y="11538"/>
                    <a:pt x="2969" y="11520"/>
                  </a:cubicBezTo>
                  <a:cubicBezTo>
                    <a:pt x="3016" y="11464"/>
                    <a:pt x="3016" y="11464"/>
                    <a:pt x="3016" y="11464"/>
                  </a:cubicBezTo>
                  <a:lnTo>
                    <a:pt x="3119" y="11545"/>
                  </a:lnTo>
                  <a:close/>
                  <a:moveTo>
                    <a:pt x="2904" y="11592"/>
                  </a:moveTo>
                  <a:cubicBezTo>
                    <a:pt x="2980" y="11641"/>
                    <a:pt x="3049" y="11650"/>
                    <a:pt x="3099" y="11702"/>
                  </a:cubicBezTo>
                  <a:cubicBezTo>
                    <a:pt x="3131" y="11735"/>
                    <a:pt x="3157" y="11766"/>
                    <a:pt x="3173" y="11787"/>
                  </a:cubicBezTo>
                  <a:cubicBezTo>
                    <a:pt x="2902" y="11692"/>
                    <a:pt x="2902" y="11692"/>
                    <a:pt x="2902" y="11692"/>
                  </a:cubicBezTo>
                  <a:cubicBezTo>
                    <a:pt x="2809" y="11588"/>
                    <a:pt x="2809" y="11588"/>
                    <a:pt x="2809" y="11588"/>
                  </a:cubicBezTo>
                  <a:cubicBezTo>
                    <a:pt x="2822" y="11556"/>
                    <a:pt x="2822" y="11556"/>
                    <a:pt x="2822" y="11556"/>
                  </a:cubicBezTo>
                  <a:cubicBezTo>
                    <a:pt x="2842" y="11560"/>
                    <a:pt x="2869" y="11569"/>
                    <a:pt x="2904" y="11592"/>
                  </a:cubicBezTo>
                  <a:close/>
                  <a:moveTo>
                    <a:pt x="2598" y="11986"/>
                  </a:moveTo>
                  <a:cubicBezTo>
                    <a:pt x="2561" y="12106"/>
                    <a:pt x="2561" y="12106"/>
                    <a:pt x="2561" y="12106"/>
                  </a:cubicBezTo>
                  <a:cubicBezTo>
                    <a:pt x="2570" y="12107"/>
                    <a:pt x="2570" y="12107"/>
                    <a:pt x="2570" y="12107"/>
                  </a:cubicBezTo>
                  <a:cubicBezTo>
                    <a:pt x="2571" y="12107"/>
                    <a:pt x="2762" y="12137"/>
                    <a:pt x="2844" y="12150"/>
                  </a:cubicBezTo>
                  <a:cubicBezTo>
                    <a:pt x="2868" y="12387"/>
                    <a:pt x="2868" y="12387"/>
                    <a:pt x="2868" y="12387"/>
                  </a:cubicBezTo>
                  <a:cubicBezTo>
                    <a:pt x="2799" y="12373"/>
                    <a:pt x="2721" y="12360"/>
                    <a:pt x="2626" y="12351"/>
                  </a:cubicBezTo>
                  <a:cubicBezTo>
                    <a:pt x="2462" y="12335"/>
                    <a:pt x="2364" y="12325"/>
                    <a:pt x="2318" y="12320"/>
                  </a:cubicBezTo>
                  <a:cubicBezTo>
                    <a:pt x="2319" y="12317"/>
                    <a:pt x="2319" y="12314"/>
                    <a:pt x="2320" y="12309"/>
                  </a:cubicBezTo>
                  <a:cubicBezTo>
                    <a:pt x="2322" y="12299"/>
                    <a:pt x="2324" y="12285"/>
                    <a:pt x="2326" y="12269"/>
                  </a:cubicBezTo>
                  <a:cubicBezTo>
                    <a:pt x="2331" y="12236"/>
                    <a:pt x="2338" y="12193"/>
                    <a:pt x="2344" y="12150"/>
                  </a:cubicBezTo>
                  <a:cubicBezTo>
                    <a:pt x="2356" y="12068"/>
                    <a:pt x="2368" y="11988"/>
                    <a:pt x="2369" y="11979"/>
                  </a:cubicBezTo>
                  <a:cubicBezTo>
                    <a:pt x="2369" y="11978"/>
                    <a:pt x="2369" y="11977"/>
                    <a:pt x="2370" y="11975"/>
                  </a:cubicBezTo>
                  <a:lnTo>
                    <a:pt x="2598" y="11986"/>
                  </a:lnTo>
                  <a:close/>
                  <a:moveTo>
                    <a:pt x="2621" y="12396"/>
                  </a:moveTo>
                  <a:cubicBezTo>
                    <a:pt x="2861" y="12420"/>
                    <a:pt x="2990" y="12463"/>
                    <a:pt x="3139" y="12508"/>
                  </a:cubicBezTo>
                  <a:cubicBezTo>
                    <a:pt x="3194" y="12524"/>
                    <a:pt x="3254" y="12553"/>
                    <a:pt x="3312" y="12585"/>
                  </a:cubicBezTo>
                  <a:cubicBezTo>
                    <a:pt x="2887" y="13089"/>
                    <a:pt x="2887" y="13089"/>
                    <a:pt x="2887" y="13089"/>
                  </a:cubicBezTo>
                  <a:cubicBezTo>
                    <a:pt x="2859" y="13068"/>
                    <a:pt x="2829" y="13050"/>
                    <a:pt x="2797" y="13039"/>
                  </a:cubicBezTo>
                  <a:cubicBezTo>
                    <a:pt x="2724" y="13015"/>
                    <a:pt x="2617" y="12984"/>
                    <a:pt x="2527" y="12959"/>
                  </a:cubicBezTo>
                  <a:cubicBezTo>
                    <a:pt x="2620" y="12396"/>
                    <a:pt x="2620" y="12396"/>
                    <a:pt x="2620" y="12396"/>
                  </a:cubicBezTo>
                  <a:cubicBezTo>
                    <a:pt x="2621" y="12396"/>
                    <a:pt x="2621" y="12396"/>
                    <a:pt x="2621" y="12396"/>
                  </a:cubicBezTo>
                  <a:close/>
                  <a:moveTo>
                    <a:pt x="2898" y="13098"/>
                  </a:moveTo>
                  <a:cubicBezTo>
                    <a:pt x="3324" y="12592"/>
                    <a:pt x="3324" y="12592"/>
                    <a:pt x="3324" y="12592"/>
                  </a:cubicBezTo>
                  <a:cubicBezTo>
                    <a:pt x="3410" y="12643"/>
                    <a:pt x="3488" y="12702"/>
                    <a:pt x="3530" y="12743"/>
                  </a:cubicBezTo>
                  <a:cubicBezTo>
                    <a:pt x="3582" y="12794"/>
                    <a:pt x="3612" y="12841"/>
                    <a:pt x="3613" y="12907"/>
                  </a:cubicBezTo>
                  <a:cubicBezTo>
                    <a:pt x="3613" y="12935"/>
                    <a:pt x="3607" y="12966"/>
                    <a:pt x="3594" y="13002"/>
                  </a:cubicBezTo>
                  <a:cubicBezTo>
                    <a:pt x="3565" y="13089"/>
                    <a:pt x="3442" y="13172"/>
                    <a:pt x="3382" y="13205"/>
                  </a:cubicBezTo>
                  <a:cubicBezTo>
                    <a:pt x="3365" y="13214"/>
                    <a:pt x="3353" y="13220"/>
                    <a:pt x="3350" y="13221"/>
                  </a:cubicBezTo>
                  <a:cubicBezTo>
                    <a:pt x="3285" y="13246"/>
                    <a:pt x="3156" y="13260"/>
                    <a:pt x="3049" y="13282"/>
                  </a:cubicBezTo>
                  <a:cubicBezTo>
                    <a:pt x="3026" y="13243"/>
                    <a:pt x="2971" y="13159"/>
                    <a:pt x="2898" y="13098"/>
                  </a:cubicBezTo>
                  <a:close/>
                  <a:moveTo>
                    <a:pt x="3367" y="13263"/>
                  </a:moveTo>
                  <a:cubicBezTo>
                    <a:pt x="3368" y="13263"/>
                    <a:pt x="3368" y="13263"/>
                    <a:pt x="3368" y="13263"/>
                  </a:cubicBezTo>
                  <a:cubicBezTo>
                    <a:pt x="3369" y="13263"/>
                    <a:pt x="3369" y="13263"/>
                    <a:pt x="3369" y="13263"/>
                  </a:cubicBezTo>
                  <a:cubicBezTo>
                    <a:pt x="3370" y="13262"/>
                    <a:pt x="3423" y="13236"/>
                    <a:pt x="3483" y="13194"/>
                  </a:cubicBezTo>
                  <a:cubicBezTo>
                    <a:pt x="3534" y="13157"/>
                    <a:pt x="3590" y="13109"/>
                    <a:pt x="3622" y="13050"/>
                  </a:cubicBezTo>
                  <a:cubicBezTo>
                    <a:pt x="3679" y="13072"/>
                    <a:pt x="3679" y="13072"/>
                    <a:pt x="3679" y="13072"/>
                  </a:cubicBezTo>
                  <a:cubicBezTo>
                    <a:pt x="3679" y="13073"/>
                    <a:pt x="3679" y="13073"/>
                    <a:pt x="3679" y="13073"/>
                  </a:cubicBezTo>
                  <a:cubicBezTo>
                    <a:pt x="4004" y="13194"/>
                    <a:pt x="4004" y="13194"/>
                    <a:pt x="4004" y="13194"/>
                  </a:cubicBezTo>
                  <a:cubicBezTo>
                    <a:pt x="3954" y="13275"/>
                    <a:pt x="3923" y="13371"/>
                    <a:pt x="3914" y="13396"/>
                  </a:cubicBezTo>
                  <a:cubicBezTo>
                    <a:pt x="3856" y="13406"/>
                    <a:pt x="3367" y="13479"/>
                    <a:pt x="3330" y="13485"/>
                  </a:cubicBezTo>
                  <a:cubicBezTo>
                    <a:pt x="3330" y="13485"/>
                    <a:pt x="3329" y="13485"/>
                    <a:pt x="3328" y="13484"/>
                  </a:cubicBezTo>
                  <a:cubicBezTo>
                    <a:pt x="3326" y="13483"/>
                    <a:pt x="3322" y="13481"/>
                    <a:pt x="3318" y="13478"/>
                  </a:cubicBezTo>
                  <a:cubicBezTo>
                    <a:pt x="3310" y="13474"/>
                    <a:pt x="3299" y="13466"/>
                    <a:pt x="3286" y="13458"/>
                  </a:cubicBezTo>
                  <a:cubicBezTo>
                    <a:pt x="3260" y="13440"/>
                    <a:pt x="3226" y="13417"/>
                    <a:pt x="3192" y="13394"/>
                  </a:cubicBezTo>
                  <a:cubicBezTo>
                    <a:pt x="3151" y="13366"/>
                    <a:pt x="3112" y="13339"/>
                    <a:pt x="3086" y="13321"/>
                  </a:cubicBezTo>
                  <a:cubicBezTo>
                    <a:pt x="3185" y="13303"/>
                    <a:pt x="3300" y="13288"/>
                    <a:pt x="3367" y="13263"/>
                  </a:cubicBezTo>
                  <a:close/>
                  <a:moveTo>
                    <a:pt x="3928" y="13407"/>
                  </a:moveTo>
                  <a:cubicBezTo>
                    <a:pt x="3931" y="13400"/>
                    <a:pt x="3942" y="13363"/>
                    <a:pt x="3961" y="13316"/>
                  </a:cubicBezTo>
                  <a:cubicBezTo>
                    <a:pt x="3983" y="13264"/>
                    <a:pt x="4014" y="13200"/>
                    <a:pt x="4052" y="13154"/>
                  </a:cubicBezTo>
                  <a:cubicBezTo>
                    <a:pt x="4129" y="13059"/>
                    <a:pt x="4169" y="13054"/>
                    <a:pt x="4192" y="13035"/>
                  </a:cubicBezTo>
                  <a:cubicBezTo>
                    <a:pt x="4210" y="13020"/>
                    <a:pt x="4256" y="12978"/>
                    <a:pt x="4273" y="12961"/>
                  </a:cubicBezTo>
                  <a:cubicBezTo>
                    <a:pt x="4632" y="13064"/>
                    <a:pt x="4632" y="13064"/>
                    <a:pt x="4632" y="13064"/>
                  </a:cubicBezTo>
                  <a:cubicBezTo>
                    <a:pt x="4634" y="13058"/>
                    <a:pt x="4634" y="13058"/>
                    <a:pt x="4634" y="13058"/>
                  </a:cubicBezTo>
                  <a:cubicBezTo>
                    <a:pt x="4633" y="13060"/>
                    <a:pt x="4632" y="13062"/>
                    <a:pt x="4631" y="13065"/>
                  </a:cubicBezTo>
                  <a:cubicBezTo>
                    <a:pt x="4610" y="13119"/>
                    <a:pt x="4573" y="13215"/>
                    <a:pt x="4547" y="13285"/>
                  </a:cubicBezTo>
                  <a:cubicBezTo>
                    <a:pt x="4535" y="13319"/>
                    <a:pt x="4526" y="13345"/>
                    <a:pt x="4522" y="13363"/>
                  </a:cubicBezTo>
                  <a:cubicBezTo>
                    <a:pt x="4513" y="13413"/>
                    <a:pt x="4494" y="13524"/>
                    <a:pt x="4488" y="13576"/>
                  </a:cubicBezTo>
                  <a:cubicBezTo>
                    <a:pt x="4485" y="13599"/>
                    <a:pt x="4470" y="13706"/>
                    <a:pt x="4454" y="13811"/>
                  </a:cubicBezTo>
                  <a:cubicBezTo>
                    <a:pt x="4442" y="13894"/>
                    <a:pt x="4429" y="13978"/>
                    <a:pt x="4421" y="14021"/>
                  </a:cubicBezTo>
                  <a:cubicBezTo>
                    <a:pt x="4394" y="14017"/>
                    <a:pt x="4334" y="14007"/>
                    <a:pt x="4276" y="13998"/>
                  </a:cubicBezTo>
                  <a:cubicBezTo>
                    <a:pt x="4209" y="13987"/>
                    <a:pt x="4145" y="13976"/>
                    <a:pt x="4130" y="13974"/>
                  </a:cubicBezTo>
                  <a:cubicBezTo>
                    <a:pt x="3928" y="13758"/>
                    <a:pt x="3928" y="13758"/>
                    <a:pt x="3928" y="13758"/>
                  </a:cubicBezTo>
                  <a:lnTo>
                    <a:pt x="3928" y="13407"/>
                  </a:lnTo>
                  <a:close/>
                  <a:moveTo>
                    <a:pt x="4409" y="12954"/>
                  </a:moveTo>
                  <a:cubicBezTo>
                    <a:pt x="4409" y="12953"/>
                    <a:pt x="4409" y="12952"/>
                    <a:pt x="4409" y="12951"/>
                  </a:cubicBezTo>
                  <a:cubicBezTo>
                    <a:pt x="4409" y="12944"/>
                    <a:pt x="4409" y="12934"/>
                    <a:pt x="4409" y="12921"/>
                  </a:cubicBezTo>
                  <a:cubicBezTo>
                    <a:pt x="4409" y="12855"/>
                    <a:pt x="4412" y="12731"/>
                    <a:pt x="4412" y="12731"/>
                  </a:cubicBezTo>
                  <a:cubicBezTo>
                    <a:pt x="4412" y="12727"/>
                    <a:pt x="4412" y="12727"/>
                    <a:pt x="4412" y="12727"/>
                  </a:cubicBezTo>
                  <a:cubicBezTo>
                    <a:pt x="4307" y="12635"/>
                    <a:pt x="4307" y="12635"/>
                    <a:pt x="4307" y="12635"/>
                  </a:cubicBezTo>
                  <a:cubicBezTo>
                    <a:pt x="4318" y="12574"/>
                    <a:pt x="4318" y="12574"/>
                    <a:pt x="4318" y="12574"/>
                  </a:cubicBezTo>
                  <a:cubicBezTo>
                    <a:pt x="4230" y="12420"/>
                    <a:pt x="4230" y="12420"/>
                    <a:pt x="4230" y="12420"/>
                  </a:cubicBezTo>
                  <a:cubicBezTo>
                    <a:pt x="4286" y="12380"/>
                    <a:pt x="4286" y="12380"/>
                    <a:pt x="4286" y="12380"/>
                  </a:cubicBezTo>
                  <a:cubicBezTo>
                    <a:pt x="4187" y="12145"/>
                    <a:pt x="4187" y="12145"/>
                    <a:pt x="4187" y="12145"/>
                  </a:cubicBezTo>
                  <a:cubicBezTo>
                    <a:pt x="4212" y="12122"/>
                    <a:pt x="4232" y="12107"/>
                    <a:pt x="4232" y="12106"/>
                  </a:cubicBezTo>
                  <a:cubicBezTo>
                    <a:pt x="4236" y="12103"/>
                    <a:pt x="4236" y="12103"/>
                    <a:pt x="4236" y="12103"/>
                  </a:cubicBezTo>
                  <a:cubicBezTo>
                    <a:pt x="4268" y="12144"/>
                    <a:pt x="4324" y="12216"/>
                    <a:pt x="4389" y="12299"/>
                  </a:cubicBezTo>
                  <a:cubicBezTo>
                    <a:pt x="4490" y="12429"/>
                    <a:pt x="4612" y="12586"/>
                    <a:pt x="4697" y="12697"/>
                  </a:cubicBezTo>
                  <a:cubicBezTo>
                    <a:pt x="4739" y="12751"/>
                    <a:pt x="4773" y="12796"/>
                    <a:pt x="4789" y="12817"/>
                  </a:cubicBezTo>
                  <a:cubicBezTo>
                    <a:pt x="4738" y="12886"/>
                    <a:pt x="4676" y="12984"/>
                    <a:pt x="4652" y="13023"/>
                  </a:cubicBezTo>
                  <a:cubicBezTo>
                    <a:pt x="4648" y="13022"/>
                    <a:pt x="4648" y="13022"/>
                    <a:pt x="4648" y="13022"/>
                  </a:cubicBezTo>
                  <a:cubicBezTo>
                    <a:pt x="4648" y="13022"/>
                    <a:pt x="4648" y="13023"/>
                    <a:pt x="4648" y="13023"/>
                  </a:cubicBezTo>
                  <a:lnTo>
                    <a:pt x="4409" y="12954"/>
                  </a:lnTo>
                  <a:close/>
                  <a:moveTo>
                    <a:pt x="4761" y="12672"/>
                  </a:moveTo>
                  <a:cubicBezTo>
                    <a:pt x="4705" y="12600"/>
                    <a:pt x="4631" y="12504"/>
                    <a:pt x="4557" y="12409"/>
                  </a:cubicBezTo>
                  <a:cubicBezTo>
                    <a:pt x="4422" y="12235"/>
                    <a:pt x="4270" y="12036"/>
                    <a:pt x="4244" y="12002"/>
                  </a:cubicBezTo>
                  <a:cubicBezTo>
                    <a:pt x="4312" y="11906"/>
                    <a:pt x="4312" y="11906"/>
                    <a:pt x="4312" y="11906"/>
                  </a:cubicBezTo>
                  <a:cubicBezTo>
                    <a:pt x="4323" y="11645"/>
                    <a:pt x="4323" y="11645"/>
                    <a:pt x="4323" y="11645"/>
                  </a:cubicBezTo>
                  <a:cubicBezTo>
                    <a:pt x="4327" y="11648"/>
                    <a:pt x="4333" y="11653"/>
                    <a:pt x="4341" y="11658"/>
                  </a:cubicBezTo>
                  <a:cubicBezTo>
                    <a:pt x="4358" y="11671"/>
                    <a:pt x="4382" y="11688"/>
                    <a:pt x="4410" y="11709"/>
                  </a:cubicBezTo>
                  <a:cubicBezTo>
                    <a:pt x="4467" y="11751"/>
                    <a:pt x="4543" y="11807"/>
                    <a:pt x="4619" y="11863"/>
                  </a:cubicBezTo>
                  <a:cubicBezTo>
                    <a:pt x="4752" y="11961"/>
                    <a:pt x="4886" y="12060"/>
                    <a:pt x="4936" y="12095"/>
                  </a:cubicBezTo>
                  <a:cubicBezTo>
                    <a:pt x="4921" y="12117"/>
                    <a:pt x="4906" y="12138"/>
                    <a:pt x="4892" y="12158"/>
                  </a:cubicBezTo>
                  <a:cubicBezTo>
                    <a:pt x="4859" y="12206"/>
                    <a:pt x="4846" y="12253"/>
                    <a:pt x="4846" y="12300"/>
                  </a:cubicBezTo>
                  <a:cubicBezTo>
                    <a:pt x="4846" y="12360"/>
                    <a:pt x="4865" y="12416"/>
                    <a:pt x="4883" y="12480"/>
                  </a:cubicBezTo>
                  <a:cubicBezTo>
                    <a:pt x="4894" y="12522"/>
                    <a:pt x="4899" y="12558"/>
                    <a:pt x="4899" y="12588"/>
                  </a:cubicBezTo>
                  <a:cubicBezTo>
                    <a:pt x="4899" y="12666"/>
                    <a:pt x="4869" y="12715"/>
                    <a:pt x="4831" y="12764"/>
                  </a:cubicBezTo>
                  <a:cubicBezTo>
                    <a:pt x="4830" y="12763"/>
                    <a:pt x="4829" y="12762"/>
                    <a:pt x="4828" y="12760"/>
                  </a:cubicBezTo>
                  <a:cubicBezTo>
                    <a:pt x="4812" y="12739"/>
                    <a:pt x="4789" y="12708"/>
                    <a:pt x="4761" y="12672"/>
                  </a:cubicBezTo>
                  <a:close/>
                  <a:moveTo>
                    <a:pt x="4965" y="12588"/>
                  </a:moveTo>
                  <a:cubicBezTo>
                    <a:pt x="4965" y="12551"/>
                    <a:pt x="4959" y="12509"/>
                    <a:pt x="4946" y="12463"/>
                  </a:cubicBezTo>
                  <a:cubicBezTo>
                    <a:pt x="4927" y="12397"/>
                    <a:pt x="4912" y="12345"/>
                    <a:pt x="4912" y="12300"/>
                  </a:cubicBezTo>
                  <a:cubicBezTo>
                    <a:pt x="4912" y="12265"/>
                    <a:pt x="4920" y="12233"/>
                    <a:pt x="4946" y="12195"/>
                  </a:cubicBezTo>
                  <a:cubicBezTo>
                    <a:pt x="4963" y="12170"/>
                    <a:pt x="4982" y="12143"/>
                    <a:pt x="5001" y="12116"/>
                  </a:cubicBezTo>
                  <a:cubicBezTo>
                    <a:pt x="5085" y="12120"/>
                    <a:pt x="5367" y="12140"/>
                    <a:pt x="5420" y="12144"/>
                  </a:cubicBezTo>
                  <a:cubicBezTo>
                    <a:pt x="5323" y="12623"/>
                    <a:pt x="5323" y="12623"/>
                    <a:pt x="5323" y="12623"/>
                  </a:cubicBezTo>
                  <a:cubicBezTo>
                    <a:pt x="5354" y="12924"/>
                    <a:pt x="5354" y="12924"/>
                    <a:pt x="5354" y="12924"/>
                  </a:cubicBezTo>
                  <a:cubicBezTo>
                    <a:pt x="5348" y="12923"/>
                    <a:pt x="5344" y="12922"/>
                    <a:pt x="5344" y="12922"/>
                  </a:cubicBezTo>
                  <a:cubicBezTo>
                    <a:pt x="5336" y="12920"/>
                    <a:pt x="5011" y="12873"/>
                    <a:pt x="4908" y="12859"/>
                  </a:cubicBezTo>
                  <a:cubicBezTo>
                    <a:pt x="4897" y="12845"/>
                    <a:pt x="4885" y="12831"/>
                    <a:pt x="4872" y="12817"/>
                  </a:cubicBezTo>
                  <a:cubicBezTo>
                    <a:pt x="4917" y="12762"/>
                    <a:pt x="4965" y="12692"/>
                    <a:pt x="4965" y="12588"/>
                  </a:cubicBezTo>
                  <a:close/>
                  <a:moveTo>
                    <a:pt x="5370" y="12941"/>
                  </a:moveTo>
                  <a:cubicBezTo>
                    <a:pt x="5446" y="12955"/>
                    <a:pt x="5649" y="12994"/>
                    <a:pt x="5732" y="13009"/>
                  </a:cubicBezTo>
                  <a:cubicBezTo>
                    <a:pt x="5718" y="13138"/>
                    <a:pt x="5718" y="13138"/>
                    <a:pt x="5718" y="13138"/>
                  </a:cubicBezTo>
                  <a:cubicBezTo>
                    <a:pt x="5384" y="13075"/>
                    <a:pt x="5384" y="13075"/>
                    <a:pt x="5384" y="13075"/>
                  </a:cubicBezTo>
                  <a:lnTo>
                    <a:pt x="5370" y="12941"/>
                  </a:lnTo>
                  <a:close/>
                  <a:moveTo>
                    <a:pt x="5555" y="12962"/>
                  </a:moveTo>
                  <a:cubicBezTo>
                    <a:pt x="5480" y="12948"/>
                    <a:pt x="5406" y="12934"/>
                    <a:pt x="5369" y="12927"/>
                  </a:cubicBezTo>
                  <a:cubicBezTo>
                    <a:pt x="5352" y="12770"/>
                    <a:pt x="5352" y="12770"/>
                    <a:pt x="5352" y="12770"/>
                  </a:cubicBezTo>
                  <a:cubicBezTo>
                    <a:pt x="5411" y="12781"/>
                    <a:pt x="5679" y="12832"/>
                    <a:pt x="5751" y="12845"/>
                  </a:cubicBezTo>
                  <a:cubicBezTo>
                    <a:pt x="5734" y="12995"/>
                    <a:pt x="5734" y="12995"/>
                    <a:pt x="5734" y="12995"/>
                  </a:cubicBezTo>
                  <a:cubicBezTo>
                    <a:pt x="5693" y="12988"/>
                    <a:pt x="5623" y="12975"/>
                    <a:pt x="5555" y="12962"/>
                  </a:cubicBezTo>
                  <a:close/>
                  <a:moveTo>
                    <a:pt x="5602" y="12369"/>
                  </a:moveTo>
                  <a:cubicBezTo>
                    <a:pt x="5510" y="12352"/>
                    <a:pt x="5419" y="12335"/>
                    <a:pt x="5396" y="12330"/>
                  </a:cubicBezTo>
                  <a:cubicBezTo>
                    <a:pt x="5444" y="12093"/>
                    <a:pt x="5444" y="12093"/>
                    <a:pt x="5444" y="12093"/>
                  </a:cubicBezTo>
                  <a:cubicBezTo>
                    <a:pt x="5445" y="12095"/>
                    <a:pt x="5445" y="12095"/>
                    <a:pt x="5445" y="12095"/>
                  </a:cubicBezTo>
                  <a:cubicBezTo>
                    <a:pt x="5445" y="12098"/>
                    <a:pt x="5445" y="12098"/>
                    <a:pt x="5445" y="12098"/>
                  </a:cubicBezTo>
                  <a:cubicBezTo>
                    <a:pt x="5445" y="12101"/>
                    <a:pt x="5445" y="12101"/>
                    <a:pt x="5445" y="12101"/>
                  </a:cubicBezTo>
                  <a:cubicBezTo>
                    <a:pt x="5450" y="12101"/>
                    <a:pt x="5551" y="12120"/>
                    <a:pt x="5647" y="12138"/>
                  </a:cubicBezTo>
                  <a:cubicBezTo>
                    <a:pt x="5724" y="12153"/>
                    <a:pt x="5799" y="12167"/>
                    <a:pt x="5827" y="12173"/>
                  </a:cubicBezTo>
                  <a:cubicBezTo>
                    <a:pt x="5801" y="12407"/>
                    <a:pt x="5801" y="12407"/>
                    <a:pt x="5801" y="12407"/>
                  </a:cubicBezTo>
                  <a:cubicBezTo>
                    <a:pt x="5767" y="12400"/>
                    <a:pt x="5684" y="12385"/>
                    <a:pt x="5602" y="12369"/>
                  </a:cubicBezTo>
                  <a:close/>
                  <a:moveTo>
                    <a:pt x="5445" y="12087"/>
                  </a:moveTo>
                  <a:cubicBezTo>
                    <a:pt x="5445" y="12088"/>
                    <a:pt x="5445" y="12087"/>
                    <a:pt x="5445" y="12087"/>
                  </a:cubicBezTo>
                  <a:cubicBezTo>
                    <a:pt x="5481" y="11910"/>
                    <a:pt x="5481" y="11910"/>
                    <a:pt x="5481" y="11910"/>
                  </a:cubicBezTo>
                  <a:cubicBezTo>
                    <a:pt x="5853" y="11943"/>
                    <a:pt x="5853" y="11943"/>
                    <a:pt x="5853" y="11943"/>
                  </a:cubicBezTo>
                  <a:cubicBezTo>
                    <a:pt x="5829" y="12159"/>
                    <a:pt x="5829" y="12159"/>
                    <a:pt x="5829" y="12159"/>
                  </a:cubicBezTo>
                  <a:cubicBezTo>
                    <a:pt x="5763" y="12146"/>
                    <a:pt x="5460" y="12088"/>
                    <a:pt x="5445" y="12087"/>
                  </a:cubicBezTo>
                  <a:close/>
                  <a:moveTo>
                    <a:pt x="5664" y="11881"/>
                  </a:moveTo>
                  <a:cubicBezTo>
                    <a:pt x="5664" y="11876"/>
                    <a:pt x="5663" y="11871"/>
                    <a:pt x="5662" y="11864"/>
                  </a:cubicBezTo>
                  <a:cubicBezTo>
                    <a:pt x="5659" y="11846"/>
                    <a:pt x="5656" y="11821"/>
                    <a:pt x="5652" y="11797"/>
                  </a:cubicBezTo>
                  <a:cubicBezTo>
                    <a:pt x="5645" y="11748"/>
                    <a:pt x="5639" y="11700"/>
                    <a:pt x="5639" y="11700"/>
                  </a:cubicBezTo>
                  <a:cubicBezTo>
                    <a:pt x="5638" y="11697"/>
                    <a:pt x="5638" y="11697"/>
                    <a:pt x="5638" y="11697"/>
                  </a:cubicBezTo>
                  <a:cubicBezTo>
                    <a:pt x="5439" y="11539"/>
                    <a:pt x="5439" y="11539"/>
                    <a:pt x="5439" y="11539"/>
                  </a:cubicBezTo>
                  <a:cubicBezTo>
                    <a:pt x="5729" y="11441"/>
                    <a:pt x="5729" y="11441"/>
                    <a:pt x="5729" y="11441"/>
                  </a:cubicBezTo>
                  <a:cubicBezTo>
                    <a:pt x="5739" y="11441"/>
                    <a:pt x="5810" y="11436"/>
                    <a:pt x="5847" y="11434"/>
                  </a:cubicBezTo>
                  <a:cubicBezTo>
                    <a:pt x="5840" y="11530"/>
                    <a:pt x="5840" y="11530"/>
                    <a:pt x="5840" y="11530"/>
                  </a:cubicBezTo>
                  <a:cubicBezTo>
                    <a:pt x="5888" y="11637"/>
                    <a:pt x="5888" y="11637"/>
                    <a:pt x="5888" y="11637"/>
                  </a:cubicBezTo>
                  <a:cubicBezTo>
                    <a:pt x="5858" y="11898"/>
                    <a:pt x="5858" y="11898"/>
                    <a:pt x="5858" y="11898"/>
                  </a:cubicBezTo>
                  <a:lnTo>
                    <a:pt x="5664" y="11881"/>
                  </a:lnTo>
                  <a:close/>
                  <a:moveTo>
                    <a:pt x="5869" y="11152"/>
                  </a:moveTo>
                  <a:cubicBezTo>
                    <a:pt x="5588" y="11130"/>
                    <a:pt x="5588" y="11130"/>
                    <a:pt x="5588" y="11130"/>
                  </a:cubicBezTo>
                  <a:cubicBezTo>
                    <a:pt x="5117" y="11189"/>
                    <a:pt x="5117" y="11189"/>
                    <a:pt x="5117" y="11189"/>
                  </a:cubicBezTo>
                  <a:cubicBezTo>
                    <a:pt x="5107" y="11105"/>
                    <a:pt x="5096" y="11011"/>
                    <a:pt x="5084" y="10915"/>
                  </a:cubicBezTo>
                  <a:cubicBezTo>
                    <a:pt x="5127" y="10906"/>
                    <a:pt x="5214" y="10887"/>
                    <a:pt x="5302" y="10868"/>
                  </a:cubicBezTo>
                  <a:cubicBezTo>
                    <a:pt x="5424" y="10842"/>
                    <a:pt x="5551" y="10816"/>
                    <a:pt x="5552" y="10816"/>
                  </a:cubicBezTo>
                  <a:cubicBezTo>
                    <a:pt x="5558" y="10816"/>
                    <a:pt x="5818" y="10836"/>
                    <a:pt x="5892" y="10841"/>
                  </a:cubicBezTo>
                  <a:lnTo>
                    <a:pt x="5869" y="11152"/>
                  </a:lnTo>
                  <a:close/>
                  <a:moveTo>
                    <a:pt x="5552" y="10802"/>
                  </a:moveTo>
                  <a:cubicBezTo>
                    <a:pt x="5542" y="10803"/>
                    <a:pt x="5187" y="10879"/>
                    <a:pt x="5083" y="10901"/>
                  </a:cubicBezTo>
                  <a:cubicBezTo>
                    <a:pt x="5078" y="10866"/>
                    <a:pt x="5074" y="10831"/>
                    <a:pt x="5070" y="10796"/>
                  </a:cubicBezTo>
                  <a:cubicBezTo>
                    <a:pt x="5065" y="10750"/>
                    <a:pt x="5059" y="10705"/>
                    <a:pt x="5054" y="10661"/>
                  </a:cubicBezTo>
                  <a:cubicBezTo>
                    <a:pt x="5397" y="10593"/>
                    <a:pt x="5397" y="10593"/>
                    <a:pt x="5397" y="10593"/>
                  </a:cubicBezTo>
                  <a:cubicBezTo>
                    <a:pt x="5413" y="10593"/>
                    <a:pt x="5739" y="10590"/>
                    <a:pt x="5874" y="10590"/>
                  </a:cubicBezTo>
                  <a:cubicBezTo>
                    <a:pt x="5889" y="10590"/>
                    <a:pt x="5902" y="10590"/>
                    <a:pt x="5911" y="10590"/>
                  </a:cubicBezTo>
                  <a:cubicBezTo>
                    <a:pt x="5893" y="10827"/>
                    <a:pt x="5893" y="10827"/>
                    <a:pt x="5893" y="10827"/>
                  </a:cubicBezTo>
                  <a:cubicBezTo>
                    <a:pt x="5820" y="10822"/>
                    <a:pt x="5560" y="10802"/>
                    <a:pt x="5552" y="10802"/>
                  </a:cubicBezTo>
                  <a:close/>
                  <a:moveTo>
                    <a:pt x="5965" y="9986"/>
                  </a:moveTo>
                  <a:cubicBezTo>
                    <a:pt x="5886" y="9991"/>
                    <a:pt x="5793" y="9998"/>
                    <a:pt x="5692" y="10007"/>
                  </a:cubicBezTo>
                  <a:cubicBezTo>
                    <a:pt x="5686" y="9649"/>
                    <a:pt x="5686" y="9649"/>
                    <a:pt x="5686" y="9649"/>
                  </a:cubicBezTo>
                  <a:cubicBezTo>
                    <a:pt x="5703" y="9589"/>
                    <a:pt x="5703" y="9589"/>
                    <a:pt x="5703" y="9589"/>
                  </a:cubicBezTo>
                  <a:cubicBezTo>
                    <a:pt x="5859" y="9614"/>
                    <a:pt x="5859" y="9614"/>
                    <a:pt x="5859" y="9614"/>
                  </a:cubicBezTo>
                  <a:cubicBezTo>
                    <a:pt x="5811" y="9745"/>
                    <a:pt x="5811" y="9745"/>
                    <a:pt x="5811" y="9745"/>
                  </a:cubicBezTo>
                  <a:cubicBezTo>
                    <a:pt x="5746" y="9742"/>
                    <a:pt x="5692" y="9740"/>
                    <a:pt x="5689" y="9740"/>
                  </a:cubicBezTo>
                  <a:cubicBezTo>
                    <a:pt x="5689" y="9754"/>
                    <a:pt x="5689" y="9754"/>
                    <a:pt x="5689" y="9754"/>
                  </a:cubicBezTo>
                  <a:cubicBezTo>
                    <a:pt x="5691" y="9754"/>
                    <a:pt x="5743" y="9756"/>
                    <a:pt x="5807" y="9759"/>
                  </a:cubicBezTo>
                  <a:cubicBezTo>
                    <a:pt x="5762" y="9883"/>
                    <a:pt x="5762" y="9883"/>
                    <a:pt x="5762" y="9883"/>
                  </a:cubicBezTo>
                  <a:cubicBezTo>
                    <a:pt x="5760" y="9889"/>
                    <a:pt x="5760" y="9889"/>
                    <a:pt x="5760" y="9889"/>
                  </a:cubicBezTo>
                  <a:cubicBezTo>
                    <a:pt x="5902" y="9943"/>
                    <a:pt x="5902" y="9943"/>
                    <a:pt x="5902" y="9943"/>
                  </a:cubicBezTo>
                  <a:cubicBezTo>
                    <a:pt x="5966" y="9765"/>
                    <a:pt x="5966" y="9765"/>
                    <a:pt x="5966" y="9765"/>
                  </a:cubicBezTo>
                  <a:cubicBezTo>
                    <a:pt x="6003" y="9766"/>
                    <a:pt x="6031" y="9767"/>
                    <a:pt x="6043" y="9768"/>
                  </a:cubicBezTo>
                  <a:lnTo>
                    <a:pt x="5965" y="9986"/>
                  </a:lnTo>
                  <a:close/>
                  <a:moveTo>
                    <a:pt x="5971" y="9751"/>
                  </a:moveTo>
                  <a:cubicBezTo>
                    <a:pt x="6012" y="9638"/>
                    <a:pt x="6012" y="9638"/>
                    <a:pt x="6012" y="9638"/>
                  </a:cubicBezTo>
                  <a:cubicBezTo>
                    <a:pt x="6084" y="9650"/>
                    <a:pt x="6084" y="9650"/>
                    <a:pt x="6084" y="9650"/>
                  </a:cubicBezTo>
                  <a:cubicBezTo>
                    <a:pt x="6047" y="9754"/>
                    <a:pt x="6047" y="9754"/>
                    <a:pt x="6047" y="9754"/>
                  </a:cubicBezTo>
                  <a:cubicBezTo>
                    <a:pt x="6044" y="9754"/>
                    <a:pt x="6014" y="9753"/>
                    <a:pt x="5971" y="9751"/>
                  </a:cubicBezTo>
                  <a:close/>
                  <a:moveTo>
                    <a:pt x="6017" y="9625"/>
                  </a:moveTo>
                  <a:cubicBezTo>
                    <a:pt x="6062" y="9499"/>
                    <a:pt x="6062" y="9499"/>
                    <a:pt x="6062" y="9499"/>
                  </a:cubicBezTo>
                  <a:cubicBezTo>
                    <a:pt x="6134" y="9510"/>
                    <a:pt x="6134" y="9510"/>
                    <a:pt x="6134" y="9510"/>
                  </a:cubicBezTo>
                  <a:cubicBezTo>
                    <a:pt x="6089" y="9637"/>
                    <a:pt x="6089" y="9637"/>
                    <a:pt x="6089" y="9637"/>
                  </a:cubicBezTo>
                  <a:lnTo>
                    <a:pt x="6017" y="9625"/>
                  </a:lnTo>
                  <a:close/>
                  <a:moveTo>
                    <a:pt x="6067" y="9485"/>
                  </a:moveTo>
                  <a:cubicBezTo>
                    <a:pt x="6112" y="9359"/>
                    <a:pt x="6112" y="9359"/>
                    <a:pt x="6112" y="9359"/>
                  </a:cubicBezTo>
                  <a:cubicBezTo>
                    <a:pt x="6180" y="9371"/>
                    <a:pt x="6180" y="9371"/>
                    <a:pt x="6180" y="9371"/>
                  </a:cubicBezTo>
                  <a:cubicBezTo>
                    <a:pt x="6183" y="9357"/>
                    <a:pt x="6183" y="9357"/>
                    <a:pt x="6183" y="9357"/>
                  </a:cubicBezTo>
                  <a:cubicBezTo>
                    <a:pt x="6117" y="9346"/>
                    <a:pt x="6117" y="9346"/>
                    <a:pt x="6117" y="9346"/>
                  </a:cubicBezTo>
                  <a:cubicBezTo>
                    <a:pt x="6159" y="9230"/>
                    <a:pt x="6159" y="9230"/>
                    <a:pt x="6159" y="9230"/>
                  </a:cubicBezTo>
                  <a:cubicBezTo>
                    <a:pt x="6226" y="9243"/>
                    <a:pt x="6226" y="9243"/>
                    <a:pt x="6226" y="9243"/>
                  </a:cubicBezTo>
                  <a:cubicBezTo>
                    <a:pt x="6229" y="9229"/>
                    <a:pt x="6229" y="9229"/>
                    <a:pt x="6229" y="9229"/>
                  </a:cubicBezTo>
                  <a:cubicBezTo>
                    <a:pt x="6163" y="9217"/>
                    <a:pt x="6163" y="9217"/>
                    <a:pt x="6163" y="9217"/>
                  </a:cubicBezTo>
                  <a:cubicBezTo>
                    <a:pt x="6202" y="9109"/>
                    <a:pt x="6202" y="9109"/>
                    <a:pt x="6202" y="9109"/>
                  </a:cubicBezTo>
                  <a:cubicBezTo>
                    <a:pt x="6270" y="9124"/>
                    <a:pt x="6270" y="9124"/>
                    <a:pt x="6270" y="9124"/>
                  </a:cubicBezTo>
                  <a:cubicBezTo>
                    <a:pt x="6139" y="9497"/>
                    <a:pt x="6139" y="9497"/>
                    <a:pt x="6139" y="9497"/>
                  </a:cubicBezTo>
                  <a:lnTo>
                    <a:pt x="6067" y="9485"/>
                  </a:lnTo>
                  <a:close/>
                  <a:moveTo>
                    <a:pt x="6207" y="9096"/>
                  </a:moveTo>
                  <a:cubicBezTo>
                    <a:pt x="6251" y="8972"/>
                    <a:pt x="6251" y="8972"/>
                    <a:pt x="6251" y="8972"/>
                  </a:cubicBezTo>
                  <a:cubicBezTo>
                    <a:pt x="6320" y="8984"/>
                    <a:pt x="6320" y="8984"/>
                    <a:pt x="6320" y="8984"/>
                  </a:cubicBezTo>
                  <a:cubicBezTo>
                    <a:pt x="6275" y="9111"/>
                    <a:pt x="6275" y="9111"/>
                    <a:pt x="6275" y="9111"/>
                  </a:cubicBezTo>
                  <a:lnTo>
                    <a:pt x="6207" y="9096"/>
                  </a:lnTo>
                  <a:close/>
                  <a:moveTo>
                    <a:pt x="6256" y="8958"/>
                  </a:moveTo>
                  <a:cubicBezTo>
                    <a:pt x="6294" y="8853"/>
                    <a:pt x="6294" y="8853"/>
                    <a:pt x="6294" y="8853"/>
                  </a:cubicBezTo>
                  <a:cubicBezTo>
                    <a:pt x="6363" y="8863"/>
                    <a:pt x="6363" y="8863"/>
                    <a:pt x="6363" y="8863"/>
                  </a:cubicBezTo>
                  <a:cubicBezTo>
                    <a:pt x="6325" y="8971"/>
                    <a:pt x="6325" y="8971"/>
                    <a:pt x="6325" y="8971"/>
                  </a:cubicBezTo>
                  <a:lnTo>
                    <a:pt x="6256" y="8958"/>
                  </a:lnTo>
                  <a:close/>
                  <a:moveTo>
                    <a:pt x="6299" y="8839"/>
                  </a:moveTo>
                  <a:cubicBezTo>
                    <a:pt x="6348" y="8704"/>
                    <a:pt x="6348" y="8704"/>
                    <a:pt x="6348" y="8704"/>
                  </a:cubicBezTo>
                  <a:cubicBezTo>
                    <a:pt x="6412" y="8711"/>
                    <a:pt x="6412" y="8711"/>
                    <a:pt x="6412" y="8711"/>
                  </a:cubicBezTo>
                  <a:cubicBezTo>
                    <a:pt x="6413" y="8697"/>
                    <a:pt x="6413" y="8697"/>
                    <a:pt x="6413" y="8697"/>
                  </a:cubicBezTo>
                  <a:cubicBezTo>
                    <a:pt x="6352" y="8691"/>
                    <a:pt x="6352" y="8691"/>
                    <a:pt x="6352" y="8691"/>
                  </a:cubicBezTo>
                  <a:cubicBezTo>
                    <a:pt x="6406" y="8542"/>
                    <a:pt x="6406" y="8542"/>
                    <a:pt x="6406" y="8542"/>
                  </a:cubicBezTo>
                  <a:cubicBezTo>
                    <a:pt x="6476" y="8543"/>
                    <a:pt x="6476" y="8543"/>
                    <a:pt x="6476" y="8543"/>
                  </a:cubicBezTo>
                  <a:cubicBezTo>
                    <a:pt x="6368" y="8849"/>
                    <a:pt x="6368" y="8849"/>
                    <a:pt x="6368" y="8849"/>
                  </a:cubicBezTo>
                  <a:lnTo>
                    <a:pt x="6299" y="8839"/>
                  </a:lnTo>
                  <a:close/>
                  <a:moveTo>
                    <a:pt x="6397" y="8528"/>
                  </a:moveTo>
                  <a:cubicBezTo>
                    <a:pt x="6263" y="8526"/>
                    <a:pt x="6263" y="8526"/>
                    <a:pt x="6263" y="8526"/>
                  </a:cubicBezTo>
                  <a:cubicBezTo>
                    <a:pt x="6312" y="8392"/>
                    <a:pt x="6312" y="8392"/>
                    <a:pt x="6312" y="8392"/>
                  </a:cubicBezTo>
                  <a:cubicBezTo>
                    <a:pt x="6430" y="8437"/>
                    <a:pt x="6430" y="8437"/>
                    <a:pt x="6430" y="8437"/>
                  </a:cubicBezTo>
                  <a:lnTo>
                    <a:pt x="6397" y="8528"/>
                  </a:lnTo>
                  <a:close/>
                  <a:moveTo>
                    <a:pt x="6392" y="8542"/>
                  </a:moveTo>
                  <a:cubicBezTo>
                    <a:pt x="6339" y="8689"/>
                    <a:pt x="6339" y="8689"/>
                    <a:pt x="6339" y="8689"/>
                  </a:cubicBezTo>
                  <a:cubicBezTo>
                    <a:pt x="6210" y="8676"/>
                    <a:pt x="6210" y="8676"/>
                    <a:pt x="6210" y="8676"/>
                  </a:cubicBezTo>
                  <a:cubicBezTo>
                    <a:pt x="6258" y="8540"/>
                    <a:pt x="6258" y="8540"/>
                    <a:pt x="6258" y="8540"/>
                  </a:cubicBezTo>
                  <a:lnTo>
                    <a:pt x="6392" y="8542"/>
                  </a:lnTo>
                  <a:close/>
                  <a:moveTo>
                    <a:pt x="6196" y="8674"/>
                  </a:moveTo>
                  <a:cubicBezTo>
                    <a:pt x="5871" y="8640"/>
                    <a:pt x="5871" y="8640"/>
                    <a:pt x="5871" y="8640"/>
                  </a:cubicBezTo>
                  <a:cubicBezTo>
                    <a:pt x="5880" y="8604"/>
                    <a:pt x="5889" y="8568"/>
                    <a:pt x="5897" y="8535"/>
                  </a:cubicBezTo>
                  <a:cubicBezTo>
                    <a:pt x="6245" y="8540"/>
                    <a:pt x="6245" y="8540"/>
                    <a:pt x="6245" y="8540"/>
                  </a:cubicBezTo>
                  <a:lnTo>
                    <a:pt x="6196" y="8674"/>
                  </a:lnTo>
                  <a:close/>
                  <a:moveTo>
                    <a:pt x="5886" y="8521"/>
                  </a:moveTo>
                  <a:cubicBezTo>
                    <a:pt x="5881" y="8521"/>
                    <a:pt x="5881" y="8521"/>
                    <a:pt x="5881" y="8521"/>
                  </a:cubicBezTo>
                  <a:cubicBezTo>
                    <a:pt x="5880" y="8535"/>
                    <a:pt x="5880" y="8535"/>
                    <a:pt x="5880" y="8535"/>
                  </a:cubicBezTo>
                  <a:cubicBezTo>
                    <a:pt x="5883" y="8535"/>
                    <a:pt x="5883" y="8535"/>
                    <a:pt x="5883" y="8535"/>
                  </a:cubicBezTo>
                  <a:cubicBezTo>
                    <a:pt x="5882" y="8537"/>
                    <a:pt x="5882" y="8539"/>
                    <a:pt x="5881" y="8541"/>
                  </a:cubicBezTo>
                  <a:cubicBezTo>
                    <a:pt x="5878" y="8555"/>
                    <a:pt x="5874" y="8570"/>
                    <a:pt x="5870" y="8586"/>
                  </a:cubicBezTo>
                  <a:cubicBezTo>
                    <a:pt x="5835" y="8579"/>
                    <a:pt x="5504" y="8519"/>
                    <a:pt x="5438" y="8512"/>
                  </a:cubicBezTo>
                  <a:cubicBezTo>
                    <a:pt x="5433" y="8478"/>
                    <a:pt x="5426" y="8443"/>
                    <a:pt x="5420" y="8409"/>
                  </a:cubicBezTo>
                  <a:cubicBezTo>
                    <a:pt x="5502" y="8423"/>
                    <a:pt x="5871" y="8484"/>
                    <a:pt x="5895" y="8487"/>
                  </a:cubicBezTo>
                  <a:cubicBezTo>
                    <a:pt x="5892" y="8498"/>
                    <a:pt x="5889" y="8509"/>
                    <a:pt x="5886" y="8521"/>
                  </a:cubicBezTo>
                  <a:close/>
                  <a:moveTo>
                    <a:pt x="5442" y="8894"/>
                  </a:moveTo>
                  <a:cubicBezTo>
                    <a:pt x="5470" y="8899"/>
                    <a:pt x="5538" y="8910"/>
                    <a:pt x="5605" y="8921"/>
                  </a:cubicBezTo>
                  <a:cubicBezTo>
                    <a:pt x="5690" y="8935"/>
                    <a:pt x="5773" y="8949"/>
                    <a:pt x="5778" y="8950"/>
                  </a:cubicBezTo>
                  <a:cubicBezTo>
                    <a:pt x="5771" y="8976"/>
                    <a:pt x="5766" y="8993"/>
                    <a:pt x="5764" y="8997"/>
                  </a:cubicBezTo>
                  <a:cubicBezTo>
                    <a:pt x="5763" y="8998"/>
                    <a:pt x="5763" y="8999"/>
                    <a:pt x="5762" y="9000"/>
                  </a:cubicBezTo>
                  <a:cubicBezTo>
                    <a:pt x="5762" y="9001"/>
                    <a:pt x="5762" y="9002"/>
                    <a:pt x="5762" y="9003"/>
                  </a:cubicBezTo>
                  <a:cubicBezTo>
                    <a:pt x="5762" y="9012"/>
                    <a:pt x="5770" y="9036"/>
                    <a:pt x="5779" y="9064"/>
                  </a:cubicBezTo>
                  <a:cubicBezTo>
                    <a:pt x="5751" y="9059"/>
                    <a:pt x="5653" y="9042"/>
                    <a:pt x="5556" y="9026"/>
                  </a:cubicBezTo>
                  <a:cubicBezTo>
                    <a:pt x="5481" y="9013"/>
                    <a:pt x="5407" y="9000"/>
                    <a:pt x="5362" y="8993"/>
                  </a:cubicBezTo>
                  <a:cubicBezTo>
                    <a:pt x="5384" y="8970"/>
                    <a:pt x="5401" y="8951"/>
                    <a:pt x="5414" y="8937"/>
                  </a:cubicBezTo>
                  <a:cubicBezTo>
                    <a:pt x="5425" y="8924"/>
                    <a:pt x="5435" y="8910"/>
                    <a:pt x="5442" y="8894"/>
                  </a:cubicBezTo>
                  <a:close/>
                  <a:moveTo>
                    <a:pt x="4963" y="9173"/>
                  </a:moveTo>
                  <a:cubicBezTo>
                    <a:pt x="4973" y="8712"/>
                    <a:pt x="4973" y="8712"/>
                    <a:pt x="4973" y="8712"/>
                  </a:cubicBezTo>
                  <a:cubicBezTo>
                    <a:pt x="5013" y="8720"/>
                    <a:pt x="5042" y="8725"/>
                    <a:pt x="5046" y="8725"/>
                  </a:cubicBezTo>
                  <a:cubicBezTo>
                    <a:pt x="5052" y="8724"/>
                    <a:pt x="5057" y="8721"/>
                    <a:pt x="5069" y="8715"/>
                  </a:cubicBezTo>
                  <a:cubicBezTo>
                    <a:pt x="5080" y="8710"/>
                    <a:pt x="5095" y="8702"/>
                    <a:pt x="5112" y="8692"/>
                  </a:cubicBezTo>
                  <a:cubicBezTo>
                    <a:pt x="5137" y="8679"/>
                    <a:pt x="5166" y="8663"/>
                    <a:pt x="5197" y="8645"/>
                  </a:cubicBezTo>
                  <a:cubicBezTo>
                    <a:pt x="5203" y="8661"/>
                    <a:pt x="5229" y="8728"/>
                    <a:pt x="5256" y="8797"/>
                  </a:cubicBezTo>
                  <a:cubicBezTo>
                    <a:pt x="5286" y="8873"/>
                    <a:pt x="5316" y="8949"/>
                    <a:pt x="5325" y="8966"/>
                  </a:cubicBezTo>
                  <a:cubicBezTo>
                    <a:pt x="5253" y="9041"/>
                    <a:pt x="5135" y="9143"/>
                    <a:pt x="4963" y="9173"/>
                  </a:cubicBezTo>
                  <a:close/>
                  <a:moveTo>
                    <a:pt x="4709" y="10235"/>
                  </a:moveTo>
                  <a:cubicBezTo>
                    <a:pt x="4801" y="10607"/>
                    <a:pt x="4801" y="10607"/>
                    <a:pt x="4801" y="10607"/>
                  </a:cubicBezTo>
                  <a:cubicBezTo>
                    <a:pt x="4746" y="10611"/>
                    <a:pt x="4684" y="10617"/>
                    <a:pt x="4624" y="10622"/>
                  </a:cubicBezTo>
                  <a:cubicBezTo>
                    <a:pt x="4535" y="10280"/>
                    <a:pt x="4535" y="10280"/>
                    <a:pt x="4535" y="10280"/>
                  </a:cubicBezTo>
                  <a:cubicBezTo>
                    <a:pt x="4594" y="10265"/>
                    <a:pt x="4652" y="10249"/>
                    <a:pt x="4709" y="10235"/>
                  </a:cubicBezTo>
                  <a:close/>
                  <a:moveTo>
                    <a:pt x="4610" y="10624"/>
                  </a:moveTo>
                  <a:cubicBezTo>
                    <a:pt x="4545" y="10629"/>
                    <a:pt x="4483" y="10635"/>
                    <a:pt x="4433" y="10639"/>
                  </a:cubicBezTo>
                  <a:cubicBezTo>
                    <a:pt x="4347" y="10332"/>
                    <a:pt x="4347" y="10332"/>
                    <a:pt x="4347" y="10332"/>
                  </a:cubicBezTo>
                  <a:cubicBezTo>
                    <a:pt x="4406" y="10315"/>
                    <a:pt x="4464" y="10299"/>
                    <a:pt x="4522" y="10284"/>
                  </a:cubicBezTo>
                  <a:lnTo>
                    <a:pt x="4610" y="10624"/>
                  </a:lnTo>
                  <a:close/>
                  <a:moveTo>
                    <a:pt x="4418" y="10641"/>
                  </a:moveTo>
                  <a:cubicBezTo>
                    <a:pt x="4389" y="10643"/>
                    <a:pt x="4364" y="10646"/>
                    <a:pt x="4346" y="10647"/>
                  </a:cubicBezTo>
                  <a:cubicBezTo>
                    <a:pt x="4326" y="10649"/>
                    <a:pt x="4317" y="10650"/>
                    <a:pt x="4313" y="10651"/>
                  </a:cubicBezTo>
                  <a:cubicBezTo>
                    <a:pt x="4309" y="10652"/>
                    <a:pt x="4282" y="10664"/>
                    <a:pt x="4260" y="10673"/>
                  </a:cubicBezTo>
                  <a:cubicBezTo>
                    <a:pt x="4257" y="10664"/>
                    <a:pt x="4174" y="10452"/>
                    <a:pt x="4152" y="10388"/>
                  </a:cubicBezTo>
                  <a:cubicBezTo>
                    <a:pt x="4212" y="10370"/>
                    <a:pt x="4273" y="10353"/>
                    <a:pt x="4333" y="10336"/>
                  </a:cubicBezTo>
                  <a:lnTo>
                    <a:pt x="4418" y="10641"/>
                  </a:lnTo>
                  <a:close/>
                  <a:moveTo>
                    <a:pt x="4190" y="10530"/>
                  </a:moveTo>
                  <a:cubicBezTo>
                    <a:pt x="4218" y="10603"/>
                    <a:pt x="4246" y="10675"/>
                    <a:pt x="4247" y="10678"/>
                  </a:cubicBezTo>
                  <a:cubicBezTo>
                    <a:pt x="4239" y="10681"/>
                    <a:pt x="4233" y="10684"/>
                    <a:pt x="4233" y="10684"/>
                  </a:cubicBezTo>
                  <a:cubicBezTo>
                    <a:pt x="4230" y="10685"/>
                    <a:pt x="4230" y="10685"/>
                    <a:pt x="4230" y="10685"/>
                  </a:cubicBezTo>
                  <a:cubicBezTo>
                    <a:pt x="4121" y="10996"/>
                    <a:pt x="4121" y="10996"/>
                    <a:pt x="4121" y="10996"/>
                  </a:cubicBezTo>
                  <a:cubicBezTo>
                    <a:pt x="3939" y="11050"/>
                    <a:pt x="3939" y="11050"/>
                    <a:pt x="3939" y="11050"/>
                  </a:cubicBezTo>
                  <a:cubicBezTo>
                    <a:pt x="3939" y="11049"/>
                    <a:pt x="3939" y="11049"/>
                    <a:pt x="3939" y="11049"/>
                  </a:cubicBezTo>
                  <a:cubicBezTo>
                    <a:pt x="3601" y="11162"/>
                    <a:pt x="3601" y="11162"/>
                    <a:pt x="3601" y="11162"/>
                  </a:cubicBezTo>
                  <a:cubicBezTo>
                    <a:pt x="3453" y="10969"/>
                    <a:pt x="3453" y="10969"/>
                    <a:pt x="3453" y="10969"/>
                  </a:cubicBezTo>
                  <a:cubicBezTo>
                    <a:pt x="3453" y="10969"/>
                    <a:pt x="3453" y="10969"/>
                    <a:pt x="3453" y="10969"/>
                  </a:cubicBezTo>
                  <a:cubicBezTo>
                    <a:pt x="3232" y="10677"/>
                    <a:pt x="3232" y="10677"/>
                    <a:pt x="3232" y="10677"/>
                  </a:cubicBezTo>
                  <a:cubicBezTo>
                    <a:pt x="3234" y="10676"/>
                    <a:pt x="3236" y="10675"/>
                    <a:pt x="3238" y="10674"/>
                  </a:cubicBezTo>
                  <a:cubicBezTo>
                    <a:pt x="3267" y="10664"/>
                    <a:pt x="3308" y="10650"/>
                    <a:pt x="3360" y="10633"/>
                  </a:cubicBezTo>
                  <a:cubicBezTo>
                    <a:pt x="3464" y="10599"/>
                    <a:pt x="3610" y="10552"/>
                    <a:pt x="3776" y="10501"/>
                  </a:cubicBezTo>
                  <a:cubicBezTo>
                    <a:pt x="3889" y="10466"/>
                    <a:pt x="4013" y="10429"/>
                    <a:pt x="4138" y="10392"/>
                  </a:cubicBezTo>
                  <a:cubicBezTo>
                    <a:pt x="4141" y="10401"/>
                    <a:pt x="4146" y="10412"/>
                    <a:pt x="4151" y="10426"/>
                  </a:cubicBezTo>
                  <a:cubicBezTo>
                    <a:pt x="4161" y="10455"/>
                    <a:pt x="4176" y="10493"/>
                    <a:pt x="4190" y="10530"/>
                  </a:cubicBezTo>
                  <a:close/>
                  <a:moveTo>
                    <a:pt x="3399" y="11007"/>
                  </a:moveTo>
                  <a:cubicBezTo>
                    <a:pt x="3399" y="11007"/>
                    <a:pt x="3399" y="11007"/>
                    <a:pt x="3399" y="11007"/>
                  </a:cubicBezTo>
                  <a:cubicBezTo>
                    <a:pt x="3399" y="11008"/>
                    <a:pt x="3399" y="11008"/>
                    <a:pt x="3399" y="11008"/>
                  </a:cubicBezTo>
                  <a:cubicBezTo>
                    <a:pt x="3224" y="11118"/>
                    <a:pt x="3224" y="11118"/>
                    <a:pt x="3224" y="11118"/>
                  </a:cubicBezTo>
                  <a:cubicBezTo>
                    <a:pt x="3112" y="10954"/>
                    <a:pt x="3112" y="10954"/>
                    <a:pt x="3112" y="10954"/>
                  </a:cubicBezTo>
                  <a:cubicBezTo>
                    <a:pt x="2891" y="10871"/>
                    <a:pt x="2891" y="10871"/>
                    <a:pt x="2891" y="10871"/>
                  </a:cubicBezTo>
                  <a:cubicBezTo>
                    <a:pt x="2893" y="10870"/>
                    <a:pt x="2895" y="10868"/>
                    <a:pt x="2896" y="10866"/>
                  </a:cubicBezTo>
                  <a:cubicBezTo>
                    <a:pt x="2896" y="10866"/>
                    <a:pt x="2906" y="10857"/>
                    <a:pt x="2912" y="10850"/>
                  </a:cubicBezTo>
                  <a:cubicBezTo>
                    <a:pt x="2961" y="10806"/>
                    <a:pt x="3011" y="10771"/>
                    <a:pt x="3066" y="10745"/>
                  </a:cubicBezTo>
                  <a:cubicBezTo>
                    <a:pt x="3109" y="10725"/>
                    <a:pt x="3145" y="10712"/>
                    <a:pt x="3169" y="10703"/>
                  </a:cubicBezTo>
                  <a:lnTo>
                    <a:pt x="3399" y="11007"/>
                  </a:lnTo>
                  <a:close/>
                  <a:moveTo>
                    <a:pt x="3101" y="10968"/>
                  </a:moveTo>
                  <a:cubicBezTo>
                    <a:pt x="3213" y="11130"/>
                    <a:pt x="3213" y="11130"/>
                    <a:pt x="3213" y="11130"/>
                  </a:cubicBezTo>
                  <a:cubicBezTo>
                    <a:pt x="3131" y="11303"/>
                    <a:pt x="3131" y="11303"/>
                    <a:pt x="3131" y="11303"/>
                  </a:cubicBezTo>
                  <a:cubicBezTo>
                    <a:pt x="2954" y="11513"/>
                    <a:pt x="2954" y="11513"/>
                    <a:pt x="2954" y="11513"/>
                  </a:cubicBezTo>
                  <a:cubicBezTo>
                    <a:pt x="2946" y="11509"/>
                    <a:pt x="2939" y="11506"/>
                    <a:pt x="2933" y="11504"/>
                  </a:cubicBezTo>
                  <a:cubicBezTo>
                    <a:pt x="2933" y="11503"/>
                    <a:pt x="2933" y="11503"/>
                    <a:pt x="2933" y="11503"/>
                  </a:cubicBezTo>
                  <a:cubicBezTo>
                    <a:pt x="2932" y="11502"/>
                    <a:pt x="2931" y="11499"/>
                    <a:pt x="2929" y="11496"/>
                  </a:cubicBezTo>
                  <a:cubicBezTo>
                    <a:pt x="2926" y="11490"/>
                    <a:pt x="2922" y="11482"/>
                    <a:pt x="2917" y="11472"/>
                  </a:cubicBezTo>
                  <a:cubicBezTo>
                    <a:pt x="2907" y="11453"/>
                    <a:pt x="2895" y="11430"/>
                    <a:pt x="2887" y="11414"/>
                  </a:cubicBezTo>
                  <a:cubicBezTo>
                    <a:pt x="2884" y="11408"/>
                    <a:pt x="2881" y="11404"/>
                    <a:pt x="2880" y="11401"/>
                  </a:cubicBezTo>
                  <a:cubicBezTo>
                    <a:pt x="2909" y="11264"/>
                    <a:pt x="2909" y="11264"/>
                    <a:pt x="2909" y="11264"/>
                  </a:cubicBezTo>
                  <a:cubicBezTo>
                    <a:pt x="2909" y="11262"/>
                    <a:pt x="2909" y="11262"/>
                    <a:pt x="2909" y="11262"/>
                  </a:cubicBezTo>
                  <a:cubicBezTo>
                    <a:pt x="2909" y="11262"/>
                    <a:pt x="2911" y="11183"/>
                    <a:pt x="2911" y="11146"/>
                  </a:cubicBezTo>
                  <a:cubicBezTo>
                    <a:pt x="2911" y="11136"/>
                    <a:pt x="2911" y="11131"/>
                    <a:pt x="2910" y="11124"/>
                  </a:cubicBezTo>
                  <a:cubicBezTo>
                    <a:pt x="2909" y="11122"/>
                    <a:pt x="2912" y="11121"/>
                    <a:pt x="2903" y="11111"/>
                  </a:cubicBezTo>
                  <a:cubicBezTo>
                    <a:pt x="2903" y="11111"/>
                    <a:pt x="2903" y="11111"/>
                    <a:pt x="2902" y="11111"/>
                  </a:cubicBezTo>
                  <a:cubicBezTo>
                    <a:pt x="2901" y="11109"/>
                    <a:pt x="2898" y="11106"/>
                    <a:pt x="2895" y="11104"/>
                  </a:cubicBezTo>
                  <a:cubicBezTo>
                    <a:pt x="2887" y="11098"/>
                    <a:pt x="2876" y="11093"/>
                    <a:pt x="2855" y="11086"/>
                  </a:cubicBezTo>
                  <a:cubicBezTo>
                    <a:pt x="2830" y="11078"/>
                    <a:pt x="2768" y="11059"/>
                    <a:pt x="2723" y="11046"/>
                  </a:cubicBezTo>
                  <a:cubicBezTo>
                    <a:pt x="2779" y="10977"/>
                    <a:pt x="2839" y="10919"/>
                    <a:pt x="2877" y="10884"/>
                  </a:cubicBezTo>
                  <a:lnTo>
                    <a:pt x="3101" y="10968"/>
                  </a:lnTo>
                  <a:close/>
                  <a:moveTo>
                    <a:pt x="2739" y="11098"/>
                  </a:moveTo>
                  <a:cubicBezTo>
                    <a:pt x="2778" y="11110"/>
                    <a:pt x="2822" y="11123"/>
                    <a:pt x="2841" y="11129"/>
                  </a:cubicBezTo>
                  <a:cubicBezTo>
                    <a:pt x="2855" y="11133"/>
                    <a:pt x="2862" y="11137"/>
                    <a:pt x="2866" y="11139"/>
                  </a:cubicBezTo>
                  <a:cubicBezTo>
                    <a:pt x="2866" y="11141"/>
                    <a:pt x="2866" y="11143"/>
                    <a:pt x="2866" y="11146"/>
                  </a:cubicBezTo>
                  <a:cubicBezTo>
                    <a:pt x="2866" y="11178"/>
                    <a:pt x="2864" y="11246"/>
                    <a:pt x="2864" y="11259"/>
                  </a:cubicBezTo>
                  <a:cubicBezTo>
                    <a:pt x="2834" y="11397"/>
                    <a:pt x="2834" y="11397"/>
                    <a:pt x="2834" y="11397"/>
                  </a:cubicBezTo>
                  <a:cubicBezTo>
                    <a:pt x="2783" y="11531"/>
                    <a:pt x="2783" y="11531"/>
                    <a:pt x="2783" y="11531"/>
                  </a:cubicBezTo>
                  <a:cubicBezTo>
                    <a:pt x="2777" y="11532"/>
                    <a:pt x="2772" y="11533"/>
                    <a:pt x="2767" y="11534"/>
                  </a:cubicBezTo>
                  <a:cubicBezTo>
                    <a:pt x="2748" y="11538"/>
                    <a:pt x="2728" y="11556"/>
                    <a:pt x="2705" y="11575"/>
                  </a:cubicBezTo>
                  <a:cubicBezTo>
                    <a:pt x="2683" y="11594"/>
                    <a:pt x="2662" y="11615"/>
                    <a:pt x="2649" y="11625"/>
                  </a:cubicBezTo>
                  <a:cubicBezTo>
                    <a:pt x="2635" y="11638"/>
                    <a:pt x="2571" y="11648"/>
                    <a:pt x="2524" y="11648"/>
                  </a:cubicBezTo>
                  <a:cubicBezTo>
                    <a:pt x="2515" y="11648"/>
                    <a:pt x="2506" y="11647"/>
                    <a:pt x="2498" y="11647"/>
                  </a:cubicBezTo>
                  <a:cubicBezTo>
                    <a:pt x="2479" y="11645"/>
                    <a:pt x="2472" y="11638"/>
                    <a:pt x="2468" y="11632"/>
                  </a:cubicBezTo>
                  <a:cubicBezTo>
                    <a:pt x="2464" y="11626"/>
                    <a:pt x="2464" y="11619"/>
                    <a:pt x="2464" y="11618"/>
                  </a:cubicBezTo>
                  <a:cubicBezTo>
                    <a:pt x="2464" y="11617"/>
                    <a:pt x="2464" y="11617"/>
                    <a:pt x="2464" y="11617"/>
                  </a:cubicBezTo>
                  <a:cubicBezTo>
                    <a:pt x="2464" y="11617"/>
                    <a:pt x="2464" y="11617"/>
                    <a:pt x="2464" y="11617"/>
                  </a:cubicBezTo>
                  <a:cubicBezTo>
                    <a:pt x="2463" y="11617"/>
                    <a:pt x="2463" y="11617"/>
                    <a:pt x="2463" y="11617"/>
                  </a:cubicBezTo>
                  <a:cubicBezTo>
                    <a:pt x="2503" y="11575"/>
                    <a:pt x="2534" y="11520"/>
                    <a:pt x="2544" y="11454"/>
                  </a:cubicBezTo>
                  <a:cubicBezTo>
                    <a:pt x="2548" y="11422"/>
                    <a:pt x="2561" y="11388"/>
                    <a:pt x="2572" y="11363"/>
                  </a:cubicBezTo>
                  <a:cubicBezTo>
                    <a:pt x="2584" y="11337"/>
                    <a:pt x="2594" y="11320"/>
                    <a:pt x="2594" y="11320"/>
                  </a:cubicBezTo>
                  <a:cubicBezTo>
                    <a:pt x="2573" y="11308"/>
                    <a:pt x="2573" y="11308"/>
                    <a:pt x="2573" y="11308"/>
                  </a:cubicBezTo>
                  <a:cubicBezTo>
                    <a:pt x="2573" y="11308"/>
                    <a:pt x="2529" y="11379"/>
                    <a:pt x="2519" y="11450"/>
                  </a:cubicBezTo>
                  <a:cubicBezTo>
                    <a:pt x="2510" y="11515"/>
                    <a:pt x="2479" y="11568"/>
                    <a:pt x="2439" y="11607"/>
                  </a:cubicBezTo>
                  <a:cubicBezTo>
                    <a:pt x="2430" y="11616"/>
                    <a:pt x="2409" y="11622"/>
                    <a:pt x="2383" y="11627"/>
                  </a:cubicBezTo>
                  <a:cubicBezTo>
                    <a:pt x="2414" y="11554"/>
                    <a:pt x="2452" y="11473"/>
                    <a:pt x="2493" y="11396"/>
                  </a:cubicBezTo>
                  <a:cubicBezTo>
                    <a:pt x="2527" y="11331"/>
                    <a:pt x="2557" y="11283"/>
                    <a:pt x="2587" y="11235"/>
                  </a:cubicBezTo>
                  <a:cubicBezTo>
                    <a:pt x="2619" y="11185"/>
                    <a:pt x="2652" y="11137"/>
                    <a:pt x="2693" y="11084"/>
                  </a:cubicBezTo>
                  <a:cubicBezTo>
                    <a:pt x="2706" y="11088"/>
                    <a:pt x="2722" y="11093"/>
                    <a:pt x="2739" y="11098"/>
                  </a:cubicBezTo>
                  <a:close/>
                  <a:moveTo>
                    <a:pt x="2339" y="11247"/>
                  </a:moveTo>
                  <a:cubicBezTo>
                    <a:pt x="2322" y="11321"/>
                    <a:pt x="2322" y="11321"/>
                    <a:pt x="2322" y="11321"/>
                  </a:cubicBezTo>
                  <a:cubicBezTo>
                    <a:pt x="2266" y="11295"/>
                    <a:pt x="2266" y="11295"/>
                    <a:pt x="2266" y="11295"/>
                  </a:cubicBezTo>
                  <a:cubicBezTo>
                    <a:pt x="2265" y="11294"/>
                    <a:pt x="2265" y="11294"/>
                    <a:pt x="2265" y="11294"/>
                  </a:cubicBezTo>
                  <a:cubicBezTo>
                    <a:pt x="2265" y="11294"/>
                    <a:pt x="2208" y="11275"/>
                    <a:pt x="2150" y="11256"/>
                  </a:cubicBezTo>
                  <a:cubicBezTo>
                    <a:pt x="2110" y="11243"/>
                    <a:pt x="2072" y="11230"/>
                    <a:pt x="2048" y="11223"/>
                  </a:cubicBezTo>
                  <a:cubicBezTo>
                    <a:pt x="2103" y="11073"/>
                    <a:pt x="2103" y="11073"/>
                    <a:pt x="2103" y="11073"/>
                  </a:cubicBezTo>
                  <a:cubicBezTo>
                    <a:pt x="2105" y="11070"/>
                    <a:pt x="2105" y="11070"/>
                    <a:pt x="2105" y="11070"/>
                  </a:cubicBezTo>
                  <a:cubicBezTo>
                    <a:pt x="2063" y="11054"/>
                    <a:pt x="2063" y="11054"/>
                    <a:pt x="2063" y="11054"/>
                  </a:cubicBezTo>
                  <a:cubicBezTo>
                    <a:pt x="1960" y="11334"/>
                    <a:pt x="1960" y="11334"/>
                    <a:pt x="1960" y="11334"/>
                  </a:cubicBezTo>
                  <a:cubicBezTo>
                    <a:pt x="1891" y="11390"/>
                    <a:pt x="1891" y="11390"/>
                    <a:pt x="1891" y="11390"/>
                  </a:cubicBezTo>
                  <a:cubicBezTo>
                    <a:pt x="1522" y="10983"/>
                    <a:pt x="1522" y="10983"/>
                    <a:pt x="1522" y="10983"/>
                  </a:cubicBezTo>
                  <a:cubicBezTo>
                    <a:pt x="1535" y="10976"/>
                    <a:pt x="1549" y="10970"/>
                    <a:pt x="1561" y="10964"/>
                  </a:cubicBezTo>
                  <a:cubicBezTo>
                    <a:pt x="1641" y="10929"/>
                    <a:pt x="1878" y="10834"/>
                    <a:pt x="1975" y="10813"/>
                  </a:cubicBezTo>
                  <a:cubicBezTo>
                    <a:pt x="1976" y="10812"/>
                    <a:pt x="1978" y="10812"/>
                    <a:pt x="1980" y="10812"/>
                  </a:cubicBezTo>
                  <a:cubicBezTo>
                    <a:pt x="2074" y="11058"/>
                    <a:pt x="2074" y="11058"/>
                    <a:pt x="2074" y="11058"/>
                  </a:cubicBezTo>
                  <a:cubicBezTo>
                    <a:pt x="2457" y="11059"/>
                    <a:pt x="2457" y="11059"/>
                    <a:pt x="2457" y="11059"/>
                  </a:cubicBezTo>
                  <a:lnTo>
                    <a:pt x="2339" y="11247"/>
                  </a:lnTo>
                  <a:close/>
                  <a:moveTo>
                    <a:pt x="2312" y="11367"/>
                  </a:moveTo>
                  <a:cubicBezTo>
                    <a:pt x="2270" y="11551"/>
                    <a:pt x="2270" y="11551"/>
                    <a:pt x="2270" y="11551"/>
                  </a:cubicBezTo>
                  <a:cubicBezTo>
                    <a:pt x="1977" y="11486"/>
                    <a:pt x="1977" y="11486"/>
                    <a:pt x="1977" y="11486"/>
                  </a:cubicBezTo>
                  <a:cubicBezTo>
                    <a:pt x="1921" y="11424"/>
                    <a:pt x="1921" y="11424"/>
                    <a:pt x="1921" y="11424"/>
                  </a:cubicBezTo>
                  <a:cubicBezTo>
                    <a:pt x="1998" y="11361"/>
                    <a:pt x="1998" y="11361"/>
                    <a:pt x="1998" y="11361"/>
                  </a:cubicBezTo>
                  <a:cubicBezTo>
                    <a:pt x="2033" y="11265"/>
                    <a:pt x="2033" y="11265"/>
                    <a:pt x="2033" y="11265"/>
                  </a:cubicBezTo>
                  <a:cubicBezTo>
                    <a:pt x="2038" y="11267"/>
                    <a:pt x="2044" y="11269"/>
                    <a:pt x="2052" y="11271"/>
                  </a:cubicBezTo>
                  <a:cubicBezTo>
                    <a:pt x="2074" y="11279"/>
                    <a:pt x="2103" y="11288"/>
                    <a:pt x="2133" y="11298"/>
                  </a:cubicBezTo>
                  <a:cubicBezTo>
                    <a:pt x="2187" y="11316"/>
                    <a:pt x="2240" y="11334"/>
                    <a:pt x="2250" y="11337"/>
                  </a:cubicBezTo>
                  <a:lnTo>
                    <a:pt x="2312" y="11367"/>
                  </a:lnTo>
                  <a:close/>
                  <a:moveTo>
                    <a:pt x="1908" y="11434"/>
                  </a:moveTo>
                  <a:cubicBezTo>
                    <a:pt x="1969" y="11501"/>
                    <a:pt x="1969" y="11501"/>
                    <a:pt x="1969" y="11501"/>
                  </a:cubicBezTo>
                  <a:cubicBezTo>
                    <a:pt x="2283" y="11571"/>
                    <a:pt x="2283" y="11571"/>
                    <a:pt x="2283" y="11571"/>
                  </a:cubicBezTo>
                  <a:cubicBezTo>
                    <a:pt x="2327" y="11374"/>
                    <a:pt x="2327" y="11374"/>
                    <a:pt x="2327" y="11374"/>
                  </a:cubicBezTo>
                  <a:cubicBezTo>
                    <a:pt x="2407" y="11412"/>
                    <a:pt x="2407" y="11412"/>
                    <a:pt x="2407" y="11412"/>
                  </a:cubicBezTo>
                  <a:cubicBezTo>
                    <a:pt x="2369" y="11489"/>
                    <a:pt x="2333" y="11566"/>
                    <a:pt x="2304" y="11635"/>
                  </a:cubicBezTo>
                  <a:cubicBezTo>
                    <a:pt x="2290" y="11636"/>
                    <a:pt x="2276" y="11636"/>
                    <a:pt x="2262" y="11636"/>
                  </a:cubicBezTo>
                  <a:cubicBezTo>
                    <a:pt x="2220" y="11636"/>
                    <a:pt x="2178" y="11634"/>
                    <a:pt x="2147" y="11632"/>
                  </a:cubicBezTo>
                  <a:cubicBezTo>
                    <a:pt x="2107" y="11630"/>
                    <a:pt x="2054" y="11610"/>
                    <a:pt x="2011" y="11590"/>
                  </a:cubicBezTo>
                  <a:cubicBezTo>
                    <a:pt x="1973" y="11573"/>
                    <a:pt x="1944" y="11556"/>
                    <a:pt x="1937" y="11552"/>
                  </a:cubicBezTo>
                  <a:cubicBezTo>
                    <a:pt x="1861" y="11472"/>
                    <a:pt x="1861" y="11472"/>
                    <a:pt x="1861" y="11472"/>
                  </a:cubicBezTo>
                  <a:lnTo>
                    <a:pt x="1908" y="11434"/>
                  </a:lnTo>
                  <a:close/>
                  <a:moveTo>
                    <a:pt x="1922" y="11572"/>
                  </a:moveTo>
                  <a:cubicBezTo>
                    <a:pt x="1923" y="11573"/>
                    <a:pt x="1923" y="11573"/>
                    <a:pt x="1923" y="11573"/>
                  </a:cubicBezTo>
                  <a:cubicBezTo>
                    <a:pt x="1924" y="11573"/>
                    <a:pt x="2055" y="11650"/>
                    <a:pt x="2146" y="11656"/>
                  </a:cubicBezTo>
                  <a:cubicBezTo>
                    <a:pt x="2177" y="11658"/>
                    <a:pt x="2219" y="11660"/>
                    <a:pt x="2262" y="11660"/>
                  </a:cubicBezTo>
                  <a:cubicBezTo>
                    <a:pt x="2273" y="11660"/>
                    <a:pt x="2283" y="11660"/>
                    <a:pt x="2294" y="11660"/>
                  </a:cubicBezTo>
                  <a:cubicBezTo>
                    <a:pt x="2286" y="11680"/>
                    <a:pt x="2278" y="11699"/>
                    <a:pt x="2271" y="11718"/>
                  </a:cubicBezTo>
                  <a:cubicBezTo>
                    <a:pt x="2251" y="11717"/>
                    <a:pt x="2232" y="11717"/>
                    <a:pt x="2224" y="11717"/>
                  </a:cubicBezTo>
                  <a:cubicBezTo>
                    <a:pt x="2188" y="11717"/>
                    <a:pt x="2097" y="11713"/>
                    <a:pt x="2017" y="11678"/>
                  </a:cubicBezTo>
                  <a:cubicBezTo>
                    <a:pt x="1943" y="11647"/>
                    <a:pt x="1876" y="11592"/>
                    <a:pt x="1848" y="11567"/>
                  </a:cubicBezTo>
                  <a:cubicBezTo>
                    <a:pt x="1841" y="11560"/>
                    <a:pt x="1837" y="11556"/>
                    <a:pt x="1835" y="11555"/>
                  </a:cubicBezTo>
                  <a:cubicBezTo>
                    <a:pt x="1804" y="11519"/>
                    <a:pt x="1804" y="11519"/>
                    <a:pt x="1804" y="11519"/>
                  </a:cubicBezTo>
                  <a:cubicBezTo>
                    <a:pt x="1842" y="11488"/>
                    <a:pt x="1842" y="11488"/>
                    <a:pt x="1842" y="11488"/>
                  </a:cubicBezTo>
                  <a:lnTo>
                    <a:pt x="1922" y="11572"/>
                  </a:lnTo>
                  <a:close/>
                  <a:moveTo>
                    <a:pt x="2224" y="11786"/>
                  </a:moveTo>
                  <a:cubicBezTo>
                    <a:pt x="2231" y="11786"/>
                    <a:pt x="2239" y="11786"/>
                    <a:pt x="2246" y="11786"/>
                  </a:cubicBezTo>
                  <a:cubicBezTo>
                    <a:pt x="2223" y="11853"/>
                    <a:pt x="2215" y="11881"/>
                    <a:pt x="2213" y="11893"/>
                  </a:cubicBezTo>
                  <a:cubicBezTo>
                    <a:pt x="2205" y="11905"/>
                    <a:pt x="2185" y="11939"/>
                    <a:pt x="2155" y="11985"/>
                  </a:cubicBezTo>
                  <a:cubicBezTo>
                    <a:pt x="2148" y="11997"/>
                    <a:pt x="2139" y="12010"/>
                    <a:pt x="2130" y="12023"/>
                  </a:cubicBezTo>
                  <a:cubicBezTo>
                    <a:pt x="2183" y="11784"/>
                    <a:pt x="2183" y="11784"/>
                    <a:pt x="2183" y="11784"/>
                  </a:cubicBezTo>
                  <a:cubicBezTo>
                    <a:pt x="2200" y="11785"/>
                    <a:pt x="2214" y="11785"/>
                    <a:pt x="2224" y="11786"/>
                  </a:cubicBezTo>
                  <a:close/>
                  <a:moveTo>
                    <a:pt x="2275" y="11923"/>
                  </a:moveTo>
                  <a:cubicBezTo>
                    <a:pt x="2279" y="11916"/>
                    <a:pt x="2279" y="11916"/>
                    <a:pt x="2279" y="11916"/>
                  </a:cubicBezTo>
                  <a:cubicBezTo>
                    <a:pt x="2279" y="11910"/>
                    <a:pt x="2279" y="11910"/>
                    <a:pt x="2279" y="11910"/>
                  </a:cubicBezTo>
                  <a:cubicBezTo>
                    <a:pt x="2280" y="11909"/>
                    <a:pt x="2280" y="11909"/>
                    <a:pt x="2280" y="11908"/>
                  </a:cubicBezTo>
                  <a:cubicBezTo>
                    <a:pt x="2280" y="11906"/>
                    <a:pt x="2281" y="11901"/>
                    <a:pt x="2284" y="11893"/>
                  </a:cubicBezTo>
                  <a:cubicBezTo>
                    <a:pt x="2288" y="11877"/>
                    <a:pt x="2297" y="11848"/>
                    <a:pt x="2314" y="11798"/>
                  </a:cubicBezTo>
                  <a:cubicBezTo>
                    <a:pt x="2317" y="11791"/>
                    <a:pt x="2320" y="11784"/>
                    <a:pt x="2322" y="11777"/>
                  </a:cubicBezTo>
                  <a:cubicBezTo>
                    <a:pt x="2424" y="11769"/>
                    <a:pt x="2424" y="11769"/>
                    <a:pt x="2424" y="11769"/>
                  </a:cubicBezTo>
                  <a:cubicBezTo>
                    <a:pt x="2422" y="11774"/>
                    <a:pt x="2419" y="11781"/>
                    <a:pt x="2417" y="11789"/>
                  </a:cubicBezTo>
                  <a:cubicBezTo>
                    <a:pt x="2409" y="11810"/>
                    <a:pt x="2400" y="11837"/>
                    <a:pt x="2390" y="11865"/>
                  </a:cubicBezTo>
                  <a:cubicBezTo>
                    <a:pt x="2371" y="11920"/>
                    <a:pt x="2353" y="11974"/>
                    <a:pt x="2353" y="11974"/>
                  </a:cubicBezTo>
                  <a:cubicBezTo>
                    <a:pt x="2353" y="11975"/>
                    <a:pt x="2353" y="11975"/>
                    <a:pt x="2353" y="11975"/>
                  </a:cubicBezTo>
                  <a:cubicBezTo>
                    <a:pt x="2353" y="11976"/>
                    <a:pt x="2353" y="11976"/>
                    <a:pt x="2353" y="11976"/>
                  </a:cubicBezTo>
                  <a:cubicBezTo>
                    <a:pt x="2353" y="11976"/>
                    <a:pt x="2341" y="12059"/>
                    <a:pt x="2328" y="12143"/>
                  </a:cubicBezTo>
                  <a:cubicBezTo>
                    <a:pt x="2317" y="12221"/>
                    <a:pt x="2305" y="12302"/>
                    <a:pt x="2302" y="12318"/>
                  </a:cubicBezTo>
                  <a:cubicBezTo>
                    <a:pt x="2266" y="12314"/>
                    <a:pt x="2122" y="12300"/>
                    <a:pt x="2024" y="12292"/>
                  </a:cubicBezTo>
                  <a:cubicBezTo>
                    <a:pt x="2038" y="12273"/>
                    <a:pt x="2051" y="12255"/>
                    <a:pt x="2062" y="12240"/>
                  </a:cubicBezTo>
                  <a:cubicBezTo>
                    <a:pt x="2182" y="12081"/>
                    <a:pt x="2275" y="11924"/>
                    <a:pt x="2275" y="11923"/>
                  </a:cubicBezTo>
                  <a:close/>
                  <a:moveTo>
                    <a:pt x="2281" y="12361"/>
                  </a:moveTo>
                  <a:cubicBezTo>
                    <a:pt x="2281" y="12361"/>
                    <a:pt x="2281" y="12361"/>
                    <a:pt x="2281" y="12361"/>
                  </a:cubicBezTo>
                  <a:cubicBezTo>
                    <a:pt x="2281" y="12361"/>
                    <a:pt x="2376" y="12371"/>
                    <a:pt x="2607" y="12394"/>
                  </a:cubicBezTo>
                  <a:cubicBezTo>
                    <a:pt x="2514" y="12955"/>
                    <a:pt x="2514" y="12955"/>
                    <a:pt x="2514" y="12955"/>
                  </a:cubicBezTo>
                  <a:cubicBezTo>
                    <a:pt x="2435" y="12933"/>
                    <a:pt x="2371" y="12916"/>
                    <a:pt x="2358" y="12912"/>
                  </a:cubicBezTo>
                  <a:cubicBezTo>
                    <a:pt x="2254" y="12761"/>
                    <a:pt x="2254" y="12761"/>
                    <a:pt x="2254" y="12761"/>
                  </a:cubicBezTo>
                  <a:cubicBezTo>
                    <a:pt x="2087" y="12703"/>
                    <a:pt x="2087" y="12703"/>
                    <a:pt x="2087" y="12703"/>
                  </a:cubicBezTo>
                  <a:cubicBezTo>
                    <a:pt x="2173" y="12351"/>
                    <a:pt x="2173" y="12351"/>
                    <a:pt x="2173" y="12351"/>
                  </a:cubicBezTo>
                  <a:cubicBezTo>
                    <a:pt x="2216" y="12355"/>
                    <a:pt x="2255" y="12359"/>
                    <a:pt x="2281" y="12361"/>
                  </a:cubicBezTo>
                  <a:close/>
                  <a:moveTo>
                    <a:pt x="2444" y="13661"/>
                  </a:moveTo>
                  <a:cubicBezTo>
                    <a:pt x="2151" y="13948"/>
                    <a:pt x="2151" y="13948"/>
                    <a:pt x="2151" y="13948"/>
                  </a:cubicBezTo>
                  <a:cubicBezTo>
                    <a:pt x="1933" y="13814"/>
                    <a:pt x="1933" y="13814"/>
                    <a:pt x="1933" y="13814"/>
                  </a:cubicBezTo>
                  <a:cubicBezTo>
                    <a:pt x="1945" y="13803"/>
                    <a:pt x="1957" y="13792"/>
                    <a:pt x="1968" y="13781"/>
                  </a:cubicBezTo>
                  <a:cubicBezTo>
                    <a:pt x="2069" y="13684"/>
                    <a:pt x="2170" y="13589"/>
                    <a:pt x="2191" y="13569"/>
                  </a:cubicBezTo>
                  <a:lnTo>
                    <a:pt x="2444" y="13661"/>
                  </a:lnTo>
                  <a:close/>
                  <a:moveTo>
                    <a:pt x="2153" y="13965"/>
                  </a:moveTo>
                  <a:cubicBezTo>
                    <a:pt x="2341" y="14081"/>
                    <a:pt x="2341" y="14081"/>
                    <a:pt x="2341" y="14081"/>
                  </a:cubicBezTo>
                  <a:cubicBezTo>
                    <a:pt x="2305" y="14117"/>
                    <a:pt x="2271" y="14150"/>
                    <a:pt x="2243" y="14177"/>
                  </a:cubicBezTo>
                  <a:cubicBezTo>
                    <a:pt x="2054" y="14062"/>
                    <a:pt x="2054" y="14062"/>
                    <a:pt x="2054" y="14062"/>
                  </a:cubicBezTo>
                  <a:lnTo>
                    <a:pt x="2153" y="13965"/>
                  </a:lnTo>
                  <a:close/>
                  <a:moveTo>
                    <a:pt x="2262" y="14178"/>
                  </a:moveTo>
                  <a:cubicBezTo>
                    <a:pt x="2289" y="14152"/>
                    <a:pt x="2320" y="14121"/>
                    <a:pt x="2354" y="14089"/>
                  </a:cubicBezTo>
                  <a:cubicBezTo>
                    <a:pt x="2583" y="14230"/>
                    <a:pt x="2583" y="14230"/>
                    <a:pt x="2583" y="14230"/>
                  </a:cubicBezTo>
                  <a:cubicBezTo>
                    <a:pt x="2485" y="14326"/>
                    <a:pt x="2485" y="14326"/>
                    <a:pt x="2485" y="14326"/>
                  </a:cubicBezTo>
                  <a:cubicBezTo>
                    <a:pt x="2255" y="14185"/>
                    <a:pt x="2255" y="14185"/>
                    <a:pt x="2255" y="14185"/>
                  </a:cubicBezTo>
                  <a:cubicBezTo>
                    <a:pt x="2257" y="14182"/>
                    <a:pt x="2260" y="14180"/>
                    <a:pt x="2262" y="14178"/>
                  </a:cubicBezTo>
                  <a:close/>
                  <a:moveTo>
                    <a:pt x="2595" y="14238"/>
                  </a:moveTo>
                  <a:cubicBezTo>
                    <a:pt x="2718" y="14314"/>
                    <a:pt x="2718" y="14314"/>
                    <a:pt x="2718" y="14314"/>
                  </a:cubicBezTo>
                  <a:cubicBezTo>
                    <a:pt x="2649" y="14427"/>
                    <a:pt x="2649" y="14427"/>
                    <a:pt x="2649" y="14427"/>
                  </a:cubicBezTo>
                  <a:cubicBezTo>
                    <a:pt x="2497" y="14334"/>
                    <a:pt x="2497" y="14334"/>
                    <a:pt x="2497" y="14334"/>
                  </a:cubicBezTo>
                  <a:lnTo>
                    <a:pt x="2595" y="14238"/>
                  </a:lnTo>
                  <a:close/>
                  <a:moveTo>
                    <a:pt x="2592" y="14221"/>
                  </a:moveTo>
                  <a:cubicBezTo>
                    <a:pt x="2363" y="14080"/>
                    <a:pt x="2363" y="14080"/>
                    <a:pt x="2363" y="14080"/>
                  </a:cubicBezTo>
                  <a:cubicBezTo>
                    <a:pt x="2390" y="14054"/>
                    <a:pt x="2418" y="14027"/>
                    <a:pt x="2446" y="14000"/>
                  </a:cubicBezTo>
                  <a:cubicBezTo>
                    <a:pt x="2558" y="13893"/>
                    <a:pt x="2670" y="13786"/>
                    <a:pt x="2703" y="13755"/>
                  </a:cubicBezTo>
                  <a:cubicBezTo>
                    <a:pt x="2967" y="13851"/>
                    <a:pt x="2967" y="13851"/>
                    <a:pt x="2967" y="13851"/>
                  </a:cubicBezTo>
                  <a:lnTo>
                    <a:pt x="2592" y="14221"/>
                  </a:lnTo>
                  <a:close/>
                  <a:moveTo>
                    <a:pt x="2743" y="13700"/>
                  </a:moveTo>
                  <a:cubicBezTo>
                    <a:pt x="2747" y="13679"/>
                    <a:pt x="2753" y="13651"/>
                    <a:pt x="2761" y="13620"/>
                  </a:cubicBezTo>
                  <a:cubicBezTo>
                    <a:pt x="2778" y="13556"/>
                    <a:pt x="2804" y="13478"/>
                    <a:pt x="2838" y="13424"/>
                  </a:cubicBezTo>
                  <a:cubicBezTo>
                    <a:pt x="2859" y="13390"/>
                    <a:pt x="2902" y="13373"/>
                    <a:pt x="2965" y="13351"/>
                  </a:cubicBezTo>
                  <a:cubicBezTo>
                    <a:pt x="2993" y="13341"/>
                    <a:pt x="3028" y="13332"/>
                    <a:pt x="3067" y="13325"/>
                  </a:cubicBezTo>
                  <a:cubicBezTo>
                    <a:pt x="3115" y="13359"/>
                    <a:pt x="3263" y="13461"/>
                    <a:pt x="3311" y="13490"/>
                  </a:cubicBezTo>
                  <a:cubicBezTo>
                    <a:pt x="3312" y="13491"/>
                    <a:pt x="3312" y="13491"/>
                    <a:pt x="3313" y="13491"/>
                  </a:cubicBezTo>
                  <a:cubicBezTo>
                    <a:pt x="3162" y="13852"/>
                    <a:pt x="3162" y="13852"/>
                    <a:pt x="3162" y="13852"/>
                  </a:cubicBezTo>
                  <a:lnTo>
                    <a:pt x="2743" y="13700"/>
                  </a:lnTo>
                  <a:close/>
                  <a:moveTo>
                    <a:pt x="3325" y="13498"/>
                  </a:moveTo>
                  <a:cubicBezTo>
                    <a:pt x="3326" y="13499"/>
                    <a:pt x="3328" y="13499"/>
                    <a:pt x="3330" y="13499"/>
                  </a:cubicBezTo>
                  <a:cubicBezTo>
                    <a:pt x="3330" y="13499"/>
                    <a:pt x="3330" y="13499"/>
                    <a:pt x="3330" y="13499"/>
                  </a:cubicBezTo>
                  <a:cubicBezTo>
                    <a:pt x="3331" y="13499"/>
                    <a:pt x="3331" y="13499"/>
                    <a:pt x="3331" y="13499"/>
                  </a:cubicBezTo>
                  <a:cubicBezTo>
                    <a:pt x="3331" y="13499"/>
                    <a:pt x="3331" y="13499"/>
                    <a:pt x="3331" y="13499"/>
                  </a:cubicBezTo>
                  <a:cubicBezTo>
                    <a:pt x="3335" y="13498"/>
                    <a:pt x="3469" y="13478"/>
                    <a:pt x="3609" y="13457"/>
                  </a:cubicBezTo>
                  <a:cubicBezTo>
                    <a:pt x="3576" y="14002"/>
                    <a:pt x="3576" y="14002"/>
                    <a:pt x="3576" y="14002"/>
                  </a:cubicBezTo>
                  <a:cubicBezTo>
                    <a:pt x="3175" y="13856"/>
                    <a:pt x="3175" y="13856"/>
                    <a:pt x="3175" y="13856"/>
                  </a:cubicBezTo>
                  <a:lnTo>
                    <a:pt x="3325" y="13498"/>
                  </a:lnTo>
                  <a:close/>
                  <a:moveTo>
                    <a:pt x="3623" y="13455"/>
                  </a:moveTo>
                  <a:cubicBezTo>
                    <a:pt x="3748" y="13436"/>
                    <a:pt x="3874" y="13417"/>
                    <a:pt x="3912" y="13411"/>
                  </a:cubicBezTo>
                  <a:cubicBezTo>
                    <a:pt x="3912" y="13764"/>
                    <a:pt x="3912" y="13764"/>
                    <a:pt x="3912" y="13764"/>
                  </a:cubicBezTo>
                  <a:cubicBezTo>
                    <a:pt x="4116" y="13984"/>
                    <a:pt x="4116" y="13984"/>
                    <a:pt x="4116" y="13984"/>
                  </a:cubicBezTo>
                  <a:cubicBezTo>
                    <a:pt x="4096" y="14080"/>
                    <a:pt x="4096" y="14080"/>
                    <a:pt x="4096" y="14080"/>
                  </a:cubicBezTo>
                  <a:cubicBezTo>
                    <a:pt x="4178" y="14220"/>
                    <a:pt x="4178" y="14220"/>
                    <a:pt x="4178" y="14220"/>
                  </a:cubicBezTo>
                  <a:cubicBezTo>
                    <a:pt x="3589" y="14007"/>
                    <a:pt x="3589" y="14007"/>
                    <a:pt x="3589" y="14007"/>
                  </a:cubicBezTo>
                  <a:lnTo>
                    <a:pt x="3623" y="13455"/>
                  </a:lnTo>
                  <a:close/>
                  <a:moveTo>
                    <a:pt x="4113" y="14077"/>
                  </a:moveTo>
                  <a:cubicBezTo>
                    <a:pt x="4132" y="13991"/>
                    <a:pt x="4132" y="13991"/>
                    <a:pt x="4132" y="13991"/>
                  </a:cubicBezTo>
                  <a:cubicBezTo>
                    <a:pt x="4172" y="13998"/>
                    <a:pt x="4359" y="14029"/>
                    <a:pt x="4418" y="14037"/>
                  </a:cubicBezTo>
                  <a:cubicBezTo>
                    <a:pt x="4417" y="14040"/>
                    <a:pt x="4417" y="14044"/>
                    <a:pt x="4416" y="14046"/>
                  </a:cubicBezTo>
                  <a:cubicBezTo>
                    <a:pt x="4404" y="14095"/>
                    <a:pt x="4392" y="14128"/>
                    <a:pt x="4368" y="14165"/>
                  </a:cubicBezTo>
                  <a:cubicBezTo>
                    <a:pt x="4348" y="14195"/>
                    <a:pt x="4312" y="14243"/>
                    <a:pt x="4296" y="14263"/>
                  </a:cubicBezTo>
                  <a:cubicBezTo>
                    <a:pt x="4202" y="14229"/>
                    <a:pt x="4202" y="14229"/>
                    <a:pt x="4202" y="14229"/>
                  </a:cubicBezTo>
                  <a:lnTo>
                    <a:pt x="4113" y="14077"/>
                  </a:lnTo>
                  <a:close/>
                  <a:moveTo>
                    <a:pt x="4425" y="14203"/>
                  </a:moveTo>
                  <a:cubicBezTo>
                    <a:pt x="4455" y="14158"/>
                    <a:pt x="4470" y="14114"/>
                    <a:pt x="4483" y="14062"/>
                  </a:cubicBezTo>
                  <a:cubicBezTo>
                    <a:pt x="4490" y="14033"/>
                    <a:pt x="4506" y="13928"/>
                    <a:pt x="4522" y="13821"/>
                  </a:cubicBezTo>
                  <a:cubicBezTo>
                    <a:pt x="4538" y="13715"/>
                    <a:pt x="4553" y="13610"/>
                    <a:pt x="4556" y="13584"/>
                  </a:cubicBezTo>
                  <a:cubicBezTo>
                    <a:pt x="4561" y="13545"/>
                    <a:pt x="4574" y="13461"/>
                    <a:pt x="4584" y="13406"/>
                  </a:cubicBezTo>
                  <a:cubicBezTo>
                    <a:pt x="4739" y="13549"/>
                    <a:pt x="4739" y="13549"/>
                    <a:pt x="4739" y="13549"/>
                  </a:cubicBezTo>
                  <a:cubicBezTo>
                    <a:pt x="4738" y="13574"/>
                    <a:pt x="4728" y="13729"/>
                    <a:pt x="4717" y="13889"/>
                  </a:cubicBezTo>
                  <a:cubicBezTo>
                    <a:pt x="4707" y="14050"/>
                    <a:pt x="4696" y="14215"/>
                    <a:pt x="4693" y="14250"/>
                  </a:cubicBezTo>
                  <a:cubicBezTo>
                    <a:pt x="4691" y="14250"/>
                    <a:pt x="4689" y="14250"/>
                    <a:pt x="4687" y="14250"/>
                  </a:cubicBezTo>
                  <a:cubicBezTo>
                    <a:pt x="4640" y="14250"/>
                    <a:pt x="4469" y="14248"/>
                    <a:pt x="4394" y="14246"/>
                  </a:cubicBezTo>
                  <a:cubicBezTo>
                    <a:pt x="4405" y="14231"/>
                    <a:pt x="4416" y="14216"/>
                    <a:pt x="4425" y="14203"/>
                  </a:cubicBezTo>
                  <a:close/>
                  <a:moveTo>
                    <a:pt x="4836" y="13700"/>
                  </a:moveTo>
                  <a:cubicBezTo>
                    <a:pt x="4830" y="13758"/>
                    <a:pt x="4830" y="13758"/>
                    <a:pt x="4830" y="13758"/>
                  </a:cubicBezTo>
                  <a:cubicBezTo>
                    <a:pt x="4817" y="13758"/>
                    <a:pt x="4817" y="13758"/>
                    <a:pt x="4817" y="13758"/>
                  </a:cubicBezTo>
                  <a:cubicBezTo>
                    <a:pt x="4808" y="13806"/>
                    <a:pt x="4808" y="13806"/>
                    <a:pt x="4808" y="13806"/>
                  </a:cubicBezTo>
                  <a:cubicBezTo>
                    <a:pt x="4772" y="13804"/>
                    <a:pt x="4772" y="13804"/>
                    <a:pt x="4772" y="13804"/>
                  </a:cubicBezTo>
                  <a:cubicBezTo>
                    <a:pt x="4766" y="13856"/>
                    <a:pt x="4766" y="13856"/>
                    <a:pt x="4766" y="13856"/>
                  </a:cubicBezTo>
                  <a:cubicBezTo>
                    <a:pt x="4736" y="13854"/>
                    <a:pt x="4736" y="13854"/>
                    <a:pt x="4736" y="13854"/>
                  </a:cubicBezTo>
                  <a:cubicBezTo>
                    <a:pt x="4741" y="13781"/>
                    <a:pt x="4745" y="13712"/>
                    <a:pt x="4749" y="13657"/>
                  </a:cubicBezTo>
                  <a:cubicBezTo>
                    <a:pt x="4753" y="13657"/>
                    <a:pt x="4773" y="13658"/>
                    <a:pt x="4800" y="13660"/>
                  </a:cubicBezTo>
                  <a:cubicBezTo>
                    <a:pt x="4795" y="13698"/>
                    <a:pt x="4795" y="13698"/>
                    <a:pt x="4795" y="13698"/>
                  </a:cubicBezTo>
                  <a:lnTo>
                    <a:pt x="4836" y="13700"/>
                  </a:lnTo>
                  <a:close/>
                  <a:moveTo>
                    <a:pt x="4929" y="13669"/>
                  </a:moveTo>
                  <a:cubicBezTo>
                    <a:pt x="4919" y="13756"/>
                    <a:pt x="4919" y="13756"/>
                    <a:pt x="4919" y="13756"/>
                  </a:cubicBezTo>
                  <a:cubicBezTo>
                    <a:pt x="4907" y="13755"/>
                    <a:pt x="4907" y="13755"/>
                    <a:pt x="4907" y="13755"/>
                  </a:cubicBezTo>
                  <a:cubicBezTo>
                    <a:pt x="4906" y="13768"/>
                    <a:pt x="4906" y="13768"/>
                    <a:pt x="4906" y="13768"/>
                  </a:cubicBezTo>
                  <a:cubicBezTo>
                    <a:pt x="4895" y="13862"/>
                    <a:pt x="4895" y="13862"/>
                    <a:pt x="4895" y="13862"/>
                  </a:cubicBezTo>
                  <a:cubicBezTo>
                    <a:pt x="4780" y="13856"/>
                    <a:pt x="4780" y="13856"/>
                    <a:pt x="4780" y="13856"/>
                  </a:cubicBezTo>
                  <a:cubicBezTo>
                    <a:pt x="4784" y="13819"/>
                    <a:pt x="4784" y="13819"/>
                    <a:pt x="4784" y="13819"/>
                  </a:cubicBezTo>
                  <a:cubicBezTo>
                    <a:pt x="4807" y="13820"/>
                    <a:pt x="4807" y="13820"/>
                    <a:pt x="4807" y="13820"/>
                  </a:cubicBezTo>
                  <a:cubicBezTo>
                    <a:pt x="4820" y="13821"/>
                    <a:pt x="4820" y="13821"/>
                    <a:pt x="4820" y="13821"/>
                  </a:cubicBezTo>
                  <a:cubicBezTo>
                    <a:pt x="4822" y="13809"/>
                    <a:pt x="4822" y="13809"/>
                    <a:pt x="4822" y="13809"/>
                  </a:cubicBezTo>
                  <a:cubicBezTo>
                    <a:pt x="4828" y="13772"/>
                    <a:pt x="4828" y="13772"/>
                    <a:pt x="4828" y="13772"/>
                  </a:cubicBezTo>
                  <a:cubicBezTo>
                    <a:pt x="4830" y="13772"/>
                    <a:pt x="4830" y="13772"/>
                    <a:pt x="4830" y="13772"/>
                  </a:cubicBezTo>
                  <a:cubicBezTo>
                    <a:pt x="4843" y="13772"/>
                    <a:pt x="4843" y="13772"/>
                    <a:pt x="4843" y="13772"/>
                  </a:cubicBezTo>
                  <a:cubicBezTo>
                    <a:pt x="4844" y="13760"/>
                    <a:pt x="4844" y="13760"/>
                    <a:pt x="4844" y="13760"/>
                  </a:cubicBezTo>
                  <a:cubicBezTo>
                    <a:pt x="4850" y="13701"/>
                    <a:pt x="4850" y="13701"/>
                    <a:pt x="4850" y="13701"/>
                  </a:cubicBezTo>
                  <a:cubicBezTo>
                    <a:pt x="4851" y="13686"/>
                    <a:pt x="4851" y="13686"/>
                    <a:pt x="4851" y="13686"/>
                  </a:cubicBezTo>
                  <a:cubicBezTo>
                    <a:pt x="4836" y="13686"/>
                    <a:pt x="4836" y="13686"/>
                    <a:pt x="4836" y="13686"/>
                  </a:cubicBezTo>
                  <a:cubicBezTo>
                    <a:pt x="4811" y="13684"/>
                    <a:pt x="4811" y="13684"/>
                    <a:pt x="4811" y="13684"/>
                  </a:cubicBezTo>
                  <a:cubicBezTo>
                    <a:pt x="4814" y="13661"/>
                    <a:pt x="4814" y="13661"/>
                    <a:pt x="4814" y="13661"/>
                  </a:cubicBezTo>
                  <a:cubicBezTo>
                    <a:pt x="4851" y="13664"/>
                    <a:pt x="4895" y="13667"/>
                    <a:pt x="4929" y="13669"/>
                  </a:cubicBezTo>
                  <a:close/>
                  <a:moveTo>
                    <a:pt x="4816" y="13645"/>
                  </a:moveTo>
                  <a:cubicBezTo>
                    <a:pt x="4820" y="13612"/>
                    <a:pt x="4820" y="13612"/>
                    <a:pt x="4820" y="13612"/>
                  </a:cubicBezTo>
                  <a:cubicBezTo>
                    <a:pt x="4845" y="13613"/>
                    <a:pt x="4845" y="13613"/>
                    <a:pt x="4845" y="13613"/>
                  </a:cubicBezTo>
                  <a:cubicBezTo>
                    <a:pt x="4858" y="13614"/>
                    <a:pt x="4858" y="13614"/>
                    <a:pt x="4858" y="13614"/>
                  </a:cubicBezTo>
                  <a:cubicBezTo>
                    <a:pt x="4860" y="13601"/>
                    <a:pt x="4860" y="13601"/>
                    <a:pt x="4860" y="13601"/>
                  </a:cubicBezTo>
                  <a:cubicBezTo>
                    <a:pt x="4864" y="13564"/>
                    <a:pt x="4864" y="13564"/>
                    <a:pt x="4864" y="13564"/>
                  </a:cubicBezTo>
                  <a:cubicBezTo>
                    <a:pt x="4940" y="13572"/>
                    <a:pt x="4940" y="13572"/>
                    <a:pt x="4940" y="13572"/>
                  </a:cubicBezTo>
                  <a:cubicBezTo>
                    <a:pt x="4931" y="13653"/>
                    <a:pt x="4931" y="13653"/>
                    <a:pt x="4931" y="13653"/>
                  </a:cubicBezTo>
                  <a:cubicBezTo>
                    <a:pt x="4924" y="13653"/>
                    <a:pt x="4916" y="13652"/>
                    <a:pt x="4907" y="13652"/>
                  </a:cubicBezTo>
                  <a:cubicBezTo>
                    <a:pt x="4878" y="13650"/>
                    <a:pt x="4845" y="13647"/>
                    <a:pt x="4816" y="13645"/>
                  </a:cubicBezTo>
                  <a:close/>
                  <a:moveTo>
                    <a:pt x="4800" y="13895"/>
                  </a:moveTo>
                  <a:cubicBezTo>
                    <a:pt x="4776" y="13893"/>
                    <a:pt x="4776" y="13893"/>
                    <a:pt x="4776" y="13893"/>
                  </a:cubicBezTo>
                  <a:cubicBezTo>
                    <a:pt x="4778" y="13873"/>
                    <a:pt x="4778" y="13873"/>
                    <a:pt x="4778" y="13873"/>
                  </a:cubicBezTo>
                  <a:cubicBezTo>
                    <a:pt x="4893" y="13878"/>
                    <a:pt x="4893" y="13878"/>
                    <a:pt x="4893" y="13878"/>
                  </a:cubicBezTo>
                  <a:cubicBezTo>
                    <a:pt x="4883" y="13960"/>
                    <a:pt x="4883" y="13960"/>
                    <a:pt x="4883" y="13960"/>
                  </a:cubicBezTo>
                  <a:cubicBezTo>
                    <a:pt x="4809" y="13950"/>
                    <a:pt x="4809" y="13950"/>
                    <a:pt x="4809" y="13950"/>
                  </a:cubicBezTo>
                  <a:cubicBezTo>
                    <a:pt x="4813" y="13910"/>
                    <a:pt x="4813" y="13910"/>
                    <a:pt x="4813" y="13910"/>
                  </a:cubicBezTo>
                  <a:cubicBezTo>
                    <a:pt x="4814" y="13896"/>
                    <a:pt x="4814" y="13896"/>
                    <a:pt x="4814" y="13896"/>
                  </a:cubicBezTo>
                  <a:lnTo>
                    <a:pt x="4800" y="13895"/>
                  </a:lnTo>
                  <a:close/>
                  <a:moveTo>
                    <a:pt x="4733" y="13902"/>
                  </a:moveTo>
                  <a:cubicBezTo>
                    <a:pt x="4734" y="13892"/>
                    <a:pt x="4734" y="13881"/>
                    <a:pt x="4735" y="13870"/>
                  </a:cubicBezTo>
                  <a:cubicBezTo>
                    <a:pt x="4764" y="13872"/>
                    <a:pt x="4764" y="13872"/>
                    <a:pt x="4764" y="13872"/>
                  </a:cubicBezTo>
                  <a:cubicBezTo>
                    <a:pt x="4760" y="13906"/>
                    <a:pt x="4760" y="13906"/>
                    <a:pt x="4760" y="13906"/>
                  </a:cubicBezTo>
                  <a:cubicBezTo>
                    <a:pt x="4799" y="13909"/>
                    <a:pt x="4799" y="13909"/>
                    <a:pt x="4799" y="13909"/>
                  </a:cubicBezTo>
                  <a:cubicBezTo>
                    <a:pt x="4794" y="13963"/>
                    <a:pt x="4794" y="13963"/>
                    <a:pt x="4794" y="13963"/>
                  </a:cubicBezTo>
                  <a:cubicBezTo>
                    <a:pt x="4895" y="13975"/>
                    <a:pt x="4895" y="13975"/>
                    <a:pt x="4895" y="13975"/>
                  </a:cubicBezTo>
                  <a:cubicBezTo>
                    <a:pt x="4907" y="13879"/>
                    <a:pt x="4907" y="13879"/>
                    <a:pt x="4907" y="13879"/>
                  </a:cubicBezTo>
                  <a:cubicBezTo>
                    <a:pt x="4940" y="13881"/>
                    <a:pt x="4940" y="13881"/>
                    <a:pt x="4940" y="13881"/>
                  </a:cubicBezTo>
                  <a:cubicBezTo>
                    <a:pt x="4940" y="13889"/>
                    <a:pt x="4940" y="13898"/>
                    <a:pt x="4940" y="13908"/>
                  </a:cubicBezTo>
                  <a:cubicBezTo>
                    <a:pt x="4940" y="13929"/>
                    <a:pt x="4939" y="13946"/>
                    <a:pt x="4942" y="13971"/>
                  </a:cubicBezTo>
                  <a:cubicBezTo>
                    <a:pt x="4935" y="13975"/>
                    <a:pt x="4924" y="13981"/>
                    <a:pt x="4910" y="13988"/>
                  </a:cubicBezTo>
                  <a:cubicBezTo>
                    <a:pt x="4887" y="14000"/>
                    <a:pt x="4857" y="14016"/>
                    <a:pt x="4827" y="14032"/>
                  </a:cubicBezTo>
                  <a:cubicBezTo>
                    <a:pt x="4784" y="14055"/>
                    <a:pt x="4742" y="14077"/>
                    <a:pt x="4721" y="14089"/>
                  </a:cubicBezTo>
                  <a:cubicBezTo>
                    <a:pt x="4724" y="14032"/>
                    <a:pt x="4729" y="13967"/>
                    <a:pt x="4733" y="13902"/>
                  </a:cubicBezTo>
                  <a:close/>
                  <a:moveTo>
                    <a:pt x="4942" y="13856"/>
                  </a:moveTo>
                  <a:cubicBezTo>
                    <a:pt x="4941" y="13858"/>
                    <a:pt x="4941" y="13861"/>
                    <a:pt x="4941" y="13864"/>
                  </a:cubicBezTo>
                  <a:cubicBezTo>
                    <a:pt x="4909" y="13863"/>
                    <a:pt x="4909" y="13863"/>
                    <a:pt x="4909" y="13863"/>
                  </a:cubicBezTo>
                  <a:cubicBezTo>
                    <a:pt x="4920" y="13769"/>
                    <a:pt x="4920" y="13769"/>
                    <a:pt x="4920" y="13769"/>
                  </a:cubicBezTo>
                  <a:cubicBezTo>
                    <a:pt x="4932" y="13770"/>
                    <a:pt x="4932" y="13770"/>
                    <a:pt x="4932" y="13770"/>
                  </a:cubicBezTo>
                  <a:cubicBezTo>
                    <a:pt x="4943" y="13670"/>
                    <a:pt x="4943" y="13670"/>
                    <a:pt x="4943" y="13670"/>
                  </a:cubicBezTo>
                  <a:cubicBezTo>
                    <a:pt x="4950" y="13671"/>
                    <a:pt x="4957" y="13671"/>
                    <a:pt x="4963" y="13672"/>
                  </a:cubicBezTo>
                  <a:cubicBezTo>
                    <a:pt x="4956" y="13724"/>
                    <a:pt x="4947" y="13795"/>
                    <a:pt x="4942" y="13856"/>
                  </a:cubicBezTo>
                  <a:close/>
                  <a:moveTo>
                    <a:pt x="4946" y="13654"/>
                  </a:moveTo>
                  <a:cubicBezTo>
                    <a:pt x="4946" y="13654"/>
                    <a:pt x="4946" y="13654"/>
                    <a:pt x="4946" y="13654"/>
                  </a:cubicBezTo>
                  <a:cubicBezTo>
                    <a:pt x="4946" y="13654"/>
                    <a:pt x="4946" y="13654"/>
                    <a:pt x="4945" y="13654"/>
                  </a:cubicBezTo>
                  <a:cubicBezTo>
                    <a:pt x="4955" y="13559"/>
                    <a:pt x="4955" y="13559"/>
                    <a:pt x="4955" y="13559"/>
                  </a:cubicBezTo>
                  <a:cubicBezTo>
                    <a:pt x="4852" y="13549"/>
                    <a:pt x="4852" y="13549"/>
                    <a:pt x="4852" y="13549"/>
                  </a:cubicBezTo>
                  <a:cubicBezTo>
                    <a:pt x="4846" y="13599"/>
                    <a:pt x="4846" y="13599"/>
                    <a:pt x="4846" y="13599"/>
                  </a:cubicBezTo>
                  <a:cubicBezTo>
                    <a:pt x="4808" y="13597"/>
                    <a:pt x="4808" y="13597"/>
                    <a:pt x="4808" y="13597"/>
                  </a:cubicBezTo>
                  <a:cubicBezTo>
                    <a:pt x="4802" y="13644"/>
                    <a:pt x="4802" y="13644"/>
                    <a:pt x="4802" y="13644"/>
                  </a:cubicBezTo>
                  <a:cubicBezTo>
                    <a:pt x="4776" y="13642"/>
                    <a:pt x="4756" y="13641"/>
                    <a:pt x="4750" y="13640"/>
                  </a:cubicBezTo>
                  <a:cubicBezTo>
                    <a:pt x="4753" y="13598"/>
                    <a:pt x="4755" y="13566"/>
                    <a:pt x="4755" y="13553"/>
                  </a:cubicBezTo>
                  <a:cubicBezTo>
                    <a:pt x="4789" y="13550"/>
                    <a:pt x="4934" y="13533"/>
                    <a:pt x="4983" y="13527"/>
                  </a:cubicBezTo>
                  <a:cubicBezTo>
                    <a:pt x="4979" y="13563"/>
                    <a:pt x="4974" y="13594"/>
                    <a:pt x="4972" y="13612"/>
                  </a:cubicBezTo>
                  <a:cubicBezTo>
                    <a:pt x="4970" y="13622"/>
                    <a:pt x="4968" y="13637"/>
                    <a:pt x="4965" y="13655"/>
                  </a:cubicBezTo>
                  <a:cubicBezTo>
                    <a:pt x="4960" y="13655"/>
                    <a:pt x="4954" y="13655"/>
                    <a:pt x="4946" y="13654"/>
                  </a:cubicBezTo>
                  <a:close/>
                  <a:moveTo>
                    <a:pt x="4963" y="13513"/>
                  </a:moveTo>
                  <a:cubicBezTo>
                    <a:pt x="4942" y="13515"/>
                    <a:pt x="4915" y="13519"/>
                    <a:pt x="4886" y="13522"/>
                  </a:cubicBezTo>
                  <a:cubicBezTo>
                    <a:pt x="4829" y="13529"/>
                    <a:pt x="4768" y="13535"/>
                    <a:pt x="4751" y="13537"/>
                  </a:cubicBezTo>
                  <a:cubicBezTo>
                    <a:pt x="4751" y="13537"/>
                    <a:pt x="4751" y="13537"/>
                    <a:pt x="4750" y="13537"/>
                  </a:cubicBezTo>
                  <a:cubicBezTo>
                    <a:pt x="4588" y="13387"/>
                    <a:pt x="4588" y="13387"/>
                    <a:pt x="4588" y="13387"/>
                  </a:cubicBezTo>
                  <a:cubicBezTo>
                    <a:pt x="4589" y="13383"/>
                    <a:pt x="4589" y="13379"/>
                    <a:pt x="4590" y="13376"/>
                  </a:cubicBezTo>
                  <a:cubicBezTo>
                    <a:pt x="4591" y="13369"/>
                    <a:pt x="4600" y="13341"/>
                    <a:pt x="4612" y="13308"/>
                  </a:cubicBezTo>
                  <a:cubicBezTo>
                    <a:pt x="4624" y="13275"/>
                    <a:pt x="4640" y="13235"/>
                    <a:pt x="4655" y="13196"/>
                  </a:cubicBezTo>
                  <a:cubicBezTo>
                    <a:pt x="4684" y="13122"/>
                    <a:pt x="4711" y="13054"/>
                    <a:pt x="4713" y="13049"/>
                  </a:cubicBezTo>
                  <a:cubicBezTo>
                    <a:pt x="4725" y="13030"/>
                    <a:pt x="4742" y="13004"/>
                    <a:pt x="4761" y="12974"/>
                  </a:cubicBezTo>
                  <a:cubicBezTo>
                    <a:pt x="4787" y="12934"/>
                    <a:pt x="4818" y="12888"/>
                    <a:pt x="4844" y="12853"/>
                  </a:cubicBezTo>
                  <a:cubicBezTo>
                    <a:pt x="4990" y="13011"/>
                    <a:pt x="5004" y="13221"/>
                    <a:pt x="5004" y="13312"/>
                  </a:cubicBezTo>
                  <a:cubicBezTo>
                    <a:pt x="5004" y="13326"/>
                    <a:pt x="5003" y="13336"/>
                    <a:pt x="5003" y="13344"/>
                  </a:cubicBezTo>
                  <a:cubicBezTo>
                    <a:pt x="5002" y="13355"/>
                    <a:pt x="4999" y="13397"/>
                    <a:pt x="4994" y="13443"/>
                  </a:cubicBezTo>
                  <a:cubicBezTo>
                    <a:pt x="4991" y="13465"/>
                    <a:pt x="4989" y="13488"/>
                    <a:pt x="4986" y="13510"/>
                  </a:cubicBezTo>
                  <a:cubicBezTo>
                    <a:pt x="4980" y="13511"/>
                    <a:pt x="4972" y="13512"/>
                    <a:pt x="4963" y="13513"/>
                  </a:cubicBezTo>
                  <a:close/>
                  <a:moveTo>
                    <a:pt x="4986" y="13860"/>
                  </a:moveTo>
                  <a:cubicBezTo>
                    <a:pt x="4994" y="13770"/>
                    <a:pt x="5011" y="13654"/>
                    <a:pt x="5016" y="13619"/>
                  </a:cubicBezTo>
                  <a:cubicBezTo>
                    <a:pt x="5021" y="13587"/>
                    <a:pt x="5031" y="13513"/>
                    <a:pt x="5039" y="13448"/>
                  </a:cubicBezTo>
                  <a:cubicBezTo>
                    <a:pt x="5043" y="13413"/>
                    <a:pt x="5045" y="13380"/>
                    <a:pt x="5047" y="13361"/>
                  </a:cubicBezTo>
                  <a:cubicBezTo>
                    <a:pt x="5047" y="13361"/>
                    <a:pt x="5047" y="13361"/>
                    <a:pt x="5047" y="13361"/>
                  </a:cubicBezTo>
                  <a:cubicBezTo>
                    <a:pt x="5047" y="13361"/>
                    <a:pt x="5047" y="13360"/>
                    <a:pt x="5047" y="13360"/>
                  </a:cubicBezTo>
                  <a:cubicBezTo>
                    <a:pt x="5291" y="13359"/>
                    <a:pt x="5291" y="13359"/>
                    <a:pt x="5291" y="13359"/>
                  </a:cubicBezTo>
                  <a:cubicBezTo>
                    <a:pt x="5431" y="13388"/>
                    <a:pt x="5431" y="13388"/>
                    <a:pt x="5431" y="13388"/>
                  </a:cubicBezTo>
                  <a:cubicBezTo>
                    <a:pt x="5407" y="13527"/>
                    <a:pt x="5407" y="13527"/>
                    <a:pt x="5407" y="13527"/>
                  </a:cubicBezTo>
                  <a:cubicBezTo>
                    <a:pt x="5368" y="13522"/>
                    <a:pt x="5368" y="13522"/>
                    <a:pt x="5368" y="13522"/>
                  </a:cubicBezTo>
                  <a:cubicBezTo>
                    <a:pt x="5366" y="13527"/>
                    <a:pt x="5366" y="13527"/>
                    <a:pt x="5366" y="13527"/>
                  </a:cubicBezTo>
                  <a:cubicBezTo>
                    <a:pt x="5365" y="13527"/>
                    <a:pt x="5278" y="13688"/>
                    <a:pt x="5231" y="13773"/>
                  </a:cubicBezTo>
                  <a:cubicBezTo>
                    <a:pt x="5217" y="13798"/>
                    <a:pt x="5206" y="13818"/>
                    <a:pt x="5203" y="13822"/>
                  </a:cubicBezTo>
                  <a:cubicBezTo>
                    <a:pt x="5202" y="13822"/>
                    <a:pt x="5202" y="13823"/>
                    <a:pt x="5200" y="13824"/>
                  </a:cubicBezTo>
                  <a:cubicBezTo>
                    <a:pt x="5199" y="13825"/>
                    <a:pt x="5196" y="13827"/>
                    <a:pt x="5193" y="13829"/>
                  </a:cubicBezTo>
                  <a:cubicBezTo>
                    <a:pt x="5186" y="13834"/>
                    <a:pt x="5177" y="13841"/>
                    <a:pt x="5166" y="13849"/>
                  </a:cubicBezTo>
                  <a:cubicBezTo>
                    <a:pt x="5145" y="13865"/>
                    <a:pt x="5116" y="13887"/>
                    <a:pt x="5088" y="13908"/>
                  </a:cubicBezTo>
                  <a:cubicBezTo>
                    <a:pt x="5049" y="13938"/>
                    <a:pt x="5011" y="13967"/>
                    <a:pt x="4990" y="13982"/>
                  </a:cubicBezTo>
                  <a:cubicBezTo>
                    <a:pt x="4989" y="13977"/>
                    <a:pt x="4988" y="13971"/>
                    <a:pt x="4988" y="13966"/>
                  </a:cubicBezTo>
                  <a:cubicBezTo>
                    <a:pt x="4988" y="13961"/>
                    <a:pt x="4988" y="13961"/>
                    <a:pt x="4988" y="13961"/>
                  </a:cubicBezTo>
                  <a:cubicBezTo>
                    <a:pt x="4986" y="13949"/>
                    <a:pt x="4985" y="13928"/>
                    <a:pt x="4985" y="13908"/>
                  </a:cubicBezTo>
                  <a:cubicBezTo>
                    <a:pt x="4985" y="13887"/>
                    <a:pt x="4986" y="13868"/>
                    <a:pt x="4986" y="13860"/>
                  </a:cubicBezTo>
                  <a:close/>
                  <a:moveTo>
                    <a:pt x="5426" y="13358"/>
                  </a:moveTo>
                  <a:cubicBezTo>
                    <a:pt x="5440" y="13281"/>
                    <a:pt x="5440" y="13281"/>
                    <a:pt x="5440" y="13281"/>
                  </a:cubicBezTo>
                  <a:cubicBezTo>
                    <a:pt x="5560" y="13303"/>
                    <a:pt x="5560" y="13303"/>
                    <a:pt x="5560" y="13303"/>
                  </a:cubicBezTo>
                  <a:cubicBezTo>
                    <a:pt x="5546" y="13380"/>
                    <a:pt x="5546" y="13380"/>
                    <a:pt x="5546" y="13380"/>
                  </a:cubicBezTo>
                  <a:lnTo>
                    <a:pt x="5426" y="13358"/>
                  </a:lnTo>
                  <a:close/>
                  <a:moveTo>
                    <a:pt x="5454" y="13377"/>
                  </a:moveTo>
                  <a:cubicBezTo>
                    <a:pt x="5452" y="13377"/>
                    <a:pt x="5451" y="13376"/>
                    <a:pt x="5450" y="13376"/>
                  </a:cubicBezTo>
                  <a:cubicBezTo>
                    <a:pt x="5450" y="13376"/>
                    <a:pt x="5450" y="13376"/>
                    <a:pt x="5450" y="13376"/>
                  </a:cubicBezTo>
                  <a:lnTo>
                    <a:pt x="5454" y="13377"/>
                  </a:lnTo>
                  <a:close/>
                  <a:moveTo>
                    <a:pt x="5447" y="13390"/>
                  </a:moveTo>
                  <a:cubicBezTo>
                    <a:pt x="5465" y="13393"/>
                    <a:pt x="5519" y="13403"/>
                    <a:pt x="5571" y="13411"/>
                  </a:cubicBezTo>
                  <a:cubicBezTo>
                    <a:pt x="5618" y="13418"/>
                    <a:pt x="5664" y="13425"/>
                    <a:pt x="5685" y="13428"/>
                  </a:cubicBezTo>
                  <a:cubicBezTo>
                    <a:pt x="5668" y="13578"/>
                    <a:pt x="5668" y="13578"/>
                    <a:pt x="5668" y="13578"/>
                  </a:cubicBezTo>
                  <a:cubicBezTo>
                    <a:pt x="5644" y="13575"/>
                    <a:pt x="5590" y="13565"/>
                    <a:pt x="5538" y="13555"/>
                  </a:cubicBezTo>
                  <a:cubicBezTo>
                    <a:pt x="5491" y="13546"/>
                    <a:pt x="5445" y="13537"/>
                    <a:pt x="5423" y="13532"/>
                  </a:cubicBezTo>
                  <a:lnTo>
                    <a:pt x="5447" y="13390"/>
                  </a:lnTo>
                  <a:close/>
                  <a:moveTo>
                    <a:pt x="5557" y="13393"/>
                  </a:moveTo>
                  <a:cubicBezTo>
                    <a:pt x="5575" y="13293"/>
                    <a:pt x="5575" y="13293"/>
                    <a:pt x="5575" y="13293"/>
                  </a:cubicBezTo>
                  <a:cubicBezTo>
                    <a:pt x="5429" y="13266"/>
                    <a:pt x="5429" y="13266"/>
                    <a:pt x="5429" y="13266"/>
                  </a:cubicBezTo>
                  <a:cubicBezTo>
                    <a:pt x="5412" y="13362"/>
                    <a:pt x="5412" y="13362"/>
                    <a:pt x="5412" y="13362"/>
                  </a:cubicBezTo>
                  <a:cubicBezTo>
                    <a:pt x="5411" y="13367"/>
                    <a:pt x="5411" y="13367"/>
                    <a:pt x="5411" y="13367"/>
                  </a:cubicBezTo>
                  <a:cubicBezTo>
                    <a:pt x="5325" y="13349"/>
                    <a:pt x="5325" y="13349"/>
                    <a:pt x="5325" y="13349"/>
                  </a:cubicBezTo>
                  <a:cubicBezTo>
                    <a:pt x="5326" y="13348"/>
                    <a:pt x="5326" y="13346"/>
                    <a:pt x="5327" y="13344"/>
                  </a:cubicBezTo>
                  <a:cubicBezTo>
                    <a:pt x="5329" y="13336"/>
                    <a:pt x="5332" y="13326"/>
                    <a:pt x="5335" y="13314"/>
                  </a:cubicBezTo>
                  <a:cubicBezTo>
                    <a:pt x="5341" y="13290"/>
                    <a:pt x="5349" y="13258"/>
                    <a:pt x="5357" y="13227"/>
                  </a:cubicBezTo>
                  <a:cubicBezTo>
                    <a:pt x="5372" y="13163"/>
                    <a:pt x="5386" y="13100"/>
                    <a:pt x="5386" y="13100"/>
                  </a:cubicBezTo>
                  <a:cubicBezTo>
                    <a:pt x="5387" y="13099"/>
                    <a:pt x="5387" y="13099"/>
                    <a:pt x="5387" y="13099"/>
                  </a:cubicBezTo>
                  <a:cubicBezTo>
                    <a:pt x="5385" y="13089"/>
                    <a:pt x="5385" y="13089"/>
                    <a:pt x="5385" y="13089"/>
                  </a:cubicBezTo>
                  <a:cubicBezTo>
                    <a:pt x="5716" y="13152"/>
                    <a:pt x="5716" y="13152"/>
                    <a:pt x="5716" y="13152"/>
                  </a:cubicBezTo>
                  <a:cubicBezTo>
                    <a:pt x="5687" y="13414"/>
                    <a:pt x="5687" y="13414"/>
                    <a:pt x="5687" y="13414"/>
                  </a:cubicBezTo>
                  <a:cubicBezTo>
                    <a:pt x="5663" y="13410"/>
                    <a:pt x="5609" y="13401"/>
                    <a:pt x="5557" y="13393"/>
                  </a:cubicBezTo>
                  <a:close/>
                  <a:moveTo>
                    <a:pt x="5697" y="13906"/>
                  </a:moveTo>
                  <a:cubicBezTo>
                    <a:pt x="5954" y="11639"/>
                    <a:pt x="5954" y="11639"/>
                    <a:pt x="5954" y="11639"/>
                  </a:cubicBezTo>
                  <a:cubicBezTo>
                    <a:pt x="6031" y="11411"/>
                    <a:pt x="6031" y="11411"/>
                    <a:pt x="6031" y="11411"/>
                  </a:cubicBezTo>
                  <a:cubicBezTo>
                    <a:pt x="6128" y="10926"/>
                    <a:pt x="6128" y="10926"/>
                    <a:pt x="6128" y="10926"/>
                  </a:cubicBezTo>
                  <a:cubicBezTo>
                    <a:pt x="6210" y="10927"/>
                    <a:pt x="6210" y="10927"/>
                    <a:pt x="6210" y="10927"/>
                  </a:cubicBezTo>
                  <a:cubicBezTo>
                    <a:pt x="6200" y="10982"/>
                    <a:pt x="6179" y="11097"/>
                    <a:pt x="6155" y="11224"/>
                  </a:cubicBezTo>
                  <a:cubicBezTo>
                    <a:pt x="6137" y="11319"/>
                    <a:pt x="6117" y="11421"/>
                    <a:pt x="6099" y="11509"/>
                  </a:cubicBezTo>
                  <a:cubicBezTo>
                    <a:pt x="6098" y="11509"/>
                    <a:pt x="6098" y="11509"/>
                    <a:pt x="6098" y="11509"/>
                  </a:cubicBezTo>
                  <a:cubicBezTo>
                    <a:pt x="6097" y="11521"/>
                    <a:pt x="6097" y="11521"/>
                    <a:pt x="6097" y="11521"/>
                  </a:cubicBezTo>
                  <a:cubicBezTo>
                    <a:pt x="6082" y="11590"/>
                    <a:pt x="6070" y="11649"/>
                    <a:pt x="6060" y="11687"/>
                  </a:cubicBezTo>
                  <a:cubicBezTo>
                    <a:pt x="6054" y="11710"/>
                    <a:pt x="6048" y="11726"/>
                    <a:pt x="6047" y="11729"/>
                  </a:cubicBezTo>
                  <a:cubicBezTo>
                    <a:pt x="6047" y="11729"/>
                    <a:pt x="6047" y="11729"/>
                    <a:pt x="6047" y="11729"/>
                  </a:cubicBezTo>
                  <a:cubicBezTo>
                    <a:pt x="6046" y="11729"/>
                    <a:pt x="6046" y="11729"/>
                    <a:pt x="6046" y="11729"/>
                  </a:cubicBezTo>
                  <a:cubicBezTo>
                    <a:pt x="6045" y="11731"/>
                    <a:pt x="6044" y="11732"/>
                    <a:pt x="6044" y="11734"/>
                  </a:cubicBezTo>
                  <a:cubicBezTo>
                    <a:pt x="6044" y="11735"/>
                    <a:pt x="6044" y="11736"/>
                    <a:pt x="6044" y="11736"/>
                  </a:cubicBezTo>
                  <a:cubicBezTo>
                    <a:pt x="6044" y="11749"/>
                    <a:pt x="6035" y="11824"/>
                    <a:pt x="6021" y="11937"/>
                  </a:cubicBezTo>
                  <a:cubicBezTo>
                    <a:pt x="6018" y="11937"/>
                    <a:pt x="6018" y="11937"/>
                    <a:pt x="6018" y="11937"/>
                  </a:cubicBezTo>
                  <a:cubicBezTo>
                    <a:pt x="6017" y="11951"/>
                    <a:pt x="6017" y="11951"/>
                    <a:pt x="6017" y="11951"/>
                  </a:cubicBezTo>
                  <a:cubicBezTo>
                    <a:pt x="6020" y="11951"/>
                    <a:pt x="6020" y="11951"/>
                    <a:pt x="6020" y="11951"/>
                  </a:cubicBezTo>
                  <a:cubicBezTo>
                    <a:pt x="6006" y="12060"/>
                    <a:pt x="5988" y="12203"/>
                    <a:pt x="5968" y="12362"/>
                  </a:cubicBezTo>
                  <a:cubicBezTo>
                    <a:pt x="5965" y="12362"/>
                    <a:pt x="5965" y="12362"/>
                    <a:pt x="5965" y="12362"/>
                  </a:cubicBezTo>
                  <a:cubicBezTo>
                    <a:pt x="5964" y="12376"/>
                    <a:pt x="5964" y="12376"/>
                    <a:pt x="5964" y="12376"/>
                  </a:cubicBezTo>
                  <a:cubicBezTo>
                    <a:pt x="5966" y="12376"/>
                    <a:pt x="5966" y="12376"/>
                    <a:pt x="5966" y="12376"/>
                  </a:cubicBezTo>
                  <a:cubicBezTo>
                    <a:pt x="5915" y="12768"/>
                    <a:pt x="5852" y="13254"/>
                    <a:pt x="5810" y="13570"/>
                  </a:cubicBezTo>
                  <a:cubicBezTo>
                    <a:pt x="5791" y="13715"/>
                    <a:pt x="5777" y="13824"/>
                    <a:pt x="5770" y="13871"/>
                  </a:cubicBezTo>
                  <a:cubicBezTo>
                    <a:pt x="5768" y="13871"/>
                    <a:pt x="5768" y="13871"/>
                    <a:pt x="5768" y="13871"/>
                  </a:cubicBezTo>
                  <a:cubicBezTo>
                    <a:pt x="5692" y="13926"/>
                    <a:pt x="5692" y="13926"/>
                    <a:pt x="5692" y="13926"/>
                  </a:cubicBezTo>
                  <a:lnTo>
                    <a:pt x="5697" y="13906"/>
                  </a:lnTo>
                  <a:close/>
                  <a:moveTo>
                    <a:pt x="6374" y="11159"/>
                  </a:moveTo>
                  <a:cubicBezTo>
                    <a:pt x="6340" y="11327"/>
                    <a:pt x="6340" y="11327"/>
                    <a:pt x="6340" y="11327"/>
                  </a:cubicBezTo>
                  <a:cubicBezTo>
                    <a:pt x="6204" y="11316"/>
                    <a:pt x="6204" y="11316"/>
                    <a:pt x="6204" y="11316"/>
                  </a:cubicBezTo>
                  <a:cubicBezTo>
                    <a:pt x="6239" y="11149"/>
                    <a:pt x="6239" y="11149"/>
                    <a:pt x="6239" y="11149"/>
                  </a:cubicBezTo>
                  <a:cubicBezTo>
                    <a:pt x="6275" y="11151"/>
                    <a:pt x="6323" y="11155"/>
                    <a:pt x="6374" y="11159"/>
                  </a:cubicBezTo>
                  <a:close/>
                  <a:moveTo>
                    <a:pt x="6242" y="11135"/>
                  </a:moveTo>
                  <a:cubicBezTo>
                    <a:pt x="6268" y="11010"/>
                    <a:pt x="6268" y="11010"/>
                    <a:pt x="6268" y="11010"/>
                  </a:cubicBezTo>
                  <a:cubicBezTo>
                    <a:pt x="6398" y="11037"/>
                    <a:pt x="6398" y="11037"/>
                    <a:pt x="6398" y="11037"/>
                  </a:cubicBezTo>
                  <a:cubicBezTo>
                    <a:pt x="6376" y="11145"/>
                    <a:pt x="6376" y="11145"/>
                    <a:pt x="6376" y="11145"/>
                  </a:cubicBezTo>
                  <a:cubicBezTo>
                    <a:pt x="6326" y="11141"/>
                    <a:pt x="6278" y="11138"/>
                    <a:pt x="6242" y="11135"/>
                  </a:cubicBezTo>
                  <a:close/>
                  <a:moveTo>
                    <a:pt x="6147" y="11527"/>
                  </a:moveTo>
                  <a:cubicBezTo>
                    <a:pt x="6105" y="11731"/>
                    <a:pt x="6105" y="11731"/>
                    <a:pt x="6105" y="11731"/>
                  </a:cubicBezTo>
                  <a:cubicBezTo>
                    <a:pt x="6086" y="11730"/>
                    <a:pt x="6071" y="11729"/>
                    <a:pt x="6062" y="11728"/>
                  </a:cubicBezTo>
                  <a:cubicBezTo>
                    <a:pt x="6063" y="11727"/>
                    <a:pt x="6063" y="11727"/>
                    <a:pt x="6063" y="11726"/>
                  </a:cubicBezTo>
                  <a:cubicBezTo>
                    <a:pt x="6065" y="11719"/>
                    <a:pt x="6068" y="11710"/>
                    <a:pt x="6071" y="11698"/>
                  </a:cubicBezTo>
                  <a:cubicBezTo>
                    <a:pt x="6078" y="11675"/>
                    <a:pt x="6085" y="11641"/>
                    <a:pt x="6094" y="11602"/>
                  </a:cubicBezTo>
                  <a:cubicBezTo>
                    <a:pt x="6099" y="11578"/>
                    <a:pt x="6105" y="11552"/>
                    <a:pt x="6110" y="11524"/>
                  </a:cubicBezTo>
                  <a:cubicBezTo>
                    <a:pt x="6119" y="11525"/>
                    <a:pt x="6132" y="11526"/>
                    <a:pt x="6147" y="11527"/>
                  </a:cubicBezTo>
                  <a:close/>
                  <a:moveTo>
                    <a:pt x="6113" y="11510"/>
                  </a:moveTo>
                  <a:cubicBezTo>
                    <a:pt x="6125" y="11453"/>
                    <a:pt x="6137" y="11390"/>
                    <a:pt x="6150" y="11326"/>
                  </a:cubicBezTo>
                  <a:cubicBezTo>
                    <a:pt x="6188" y="11329"/>
                    <a:pt x="6188" y="11329"/>
                    <a:pt x="6188" y="11329"/>
                  </a:cubicBezTo>
                  <a:cubicBezTo>
                    <a:pt x="6150" y="11514"/>
                    <a:pt x="6150" y="11514"/>
                    <a:pt x="6150" y="11514"/>
                  </a:cubicBezTo>
                  <a:cubicBezTo>
                    <a:pt x="6134" y="11512"/>
                    <a:pt x="6122" y="11511"/>
                    <a:pt x="6113" y="11510"/>
                  </a:cubicBezTo>
                  <a:close/>
                  <a:moveTo>
                    <a:pt x="6115" y="11745"/>
                  </a:moveTo>
                  <a:cubicBezTo>
                    <a:pt x="6122" y="11746"/>
                    <a:pt x="6129" y="11746"/>
                    <a:pt x="6137" y="11747"/>
                  </a:cubicBezTo>
                  <a:cubicBezTo>
                    <a:pt x="6170" y="11749"/>
                    <a:pt x="6211" y="11751"/>
                    <a:pt x="6253" y="11754"/>
                  </a:cubicBezTo>
                  <a:cubicBezTo>
                    <a:pt x="6219" y="11920"/>
                    <a:pt x="6219" y="11920"/>
                    <a:pt x="6219" y="11920"/>
                  </a:cubicBezTo>
                  <a:cubicBezTo>
                    <a:pt x="6084" y="11893"/>
                    <a:pt x="6084" y="11893"/>
                    <a:pt x="6084" y="11893"/>
                  </a:cubicBezTo>
                  <a:lnTo>
                    <a:pt x="6115" y="11745"/>
                  </a:lnTo>
                  <a:close/>
                  <a:moveTo>
                    <a:pt x="6118" y="11732"/>
                  </a:moveTo>
                  <a:cubicBezTo>
                    <a:pt x="6160" y="11529"/>
                    <a:pt x="6160" y="11529"/>
                    <a:pt x="6160" y="11529"/>
                  </a:cubicBezTo>
                  <a:cubicBezTo>
                    <a:pt x="6196" y="11532"/>
                    <a:pt x="6244" y="11537"/>
                    <a:pt x="6296" y="11542"/>
                  </a:cubicBezTo>
                  <a:cubicBezTo>
                    <a:pt x="6256" y="11740"/>
                    <a:pt x="6256" y="11740"/>
                    <a:pt x="6256" y="11740"/>
                  </a:cubicBezTo>
                  <a:cubicBezTo>
                    <a:pt x="6203" y="11737"/>
                    <a:pt x="6155" y="11734"/>
                    <a:pt x="6118" y="11732"/>
                  </a:cubicBezTo>
                  <a:close/>
                  <a:moveTo>
                    <a:pt x="6163" y="11515"/>
                  </a:moveTo>
                  <a:cubicBezTo>
                    <a:pt x="6202" y="11330"/>
                    <a:pt x="6202" y="11330"/>
                    <a:pt x="6202" y="11330"/>
                  </a:cubicBezTo>
                  <a:cubicBezTo>
                    <a:pt x="6337" y="11340"/>
                    <a:pt x="6337" y="11340"/>
                    <a:pt x="6337" y="11340"/>
                  </a:cubicBezTo>
                  <a:cubicBezTo>
                    <a:pt x="6299" y="11528"/>
                    <a:pt x="6299" y="11528"/>
                    <a:pt x="6299" y="11528"/>
                  </a:cubicBezTo>
                  <a:cubicBezTo>
                    <a:pt x="6247" y="11523"/>
                    <a:pt x="6199" y="11519"/>
                    <a:pt x="6163" y="11515"/>
                  </a:cubicBezTo>
                  <a:close/>
                  <a:moveTo>
                    <a:pt x="6191" y="11315"/>
                  </a:moveTo>
                  <a:cubicBezTo>
                    <a:pt x="6152" y="11312"/>
                    <a:pt x="6152" y="11312"/>
                    <a:pt x="6152" y="11312"/>
                  </a:cubicBezTo>
                  <a:cubicBezTo>
                    <a:pt x="6163" y="11255"/>
                    <a:pt x="6174" y="11197"/>
                    <a:pt x="6184" y="11144"/>
                  </a:cubicBezTo>
                  <a:cubicBezTo>
                    <a:pt x="6191" y="11145"/>
                    <a:pt x="6206" y="11146"/>
                    <a:pt x="6226" y="11147"/>
                  </a:cubicBezTo>
                  <a:lnTo>
                    <a:pt x="6191" y="11315"/>
                  </a:lnTo>
                  <a:close/>
                  <a:moveTo>
                    <a:pt x="6444" y="13246"/>
                  </a:moveTo>
                  <a:cubicBezTo>
                    <a:pt x="6423" y="13443"/>
                    <a:pt x="6423" y="13443"/>
                    <a:pt x="6423" y="13443"/>
                  </a:cubicBezTo>
                  <a:cubicBezTo>
                    <a:pt x="5847" y="13398"/>
                    <a:pt x="5847" y="13398"/>
                    <a:pt x="5847" y="13398"/>
                  </a:cubicBezTo>
                  <a:cubicBezTo>
                    <a:pt x="5864" y="13271"/>
                    <a:pt x="5882" y="13128"/>
                    <a:pt x="5902" y="12981"/>
                  </a:cubicBezTo>
                  <a:cubicBezTo>
                    <a:pt x="5951" y="12985"/>
                    <a:pt x="5951" y="12985"/>
                    <a:pt x="5951" y="12985"/>
                  </a:cubicBezTo>
                  <a:cubicBezTo>
                    <a:pt x="5935" y="13139"/>
                    <a:pt x="5935" y="13139"/>
                    <a:pt x="5935" y="13139"/>
                  </a:cubicBezTo>
                  <a:cubicBezTo>
                    <a:pt x="6096" y="13159"/>
                    <a:pt x="6096" y="13159"/>
                    <a:pt x="6096" y="13159"/>
                  </a:cubicBezTo>
                  <a:cubicBezTo>
                    <a:pt x="6113" y="12997"/>
                    <a:pt x="6113" y="12997"/>
                    <a:pt x="6113" y="12997"/>
                  </a:cubicBezTo>
                  <a:cubicBezTo>
                    <a:pt x="6468" y="13024"/>
                    <a:pt x="6468" y="13024"/>
                    <a:pt x="6468" y="13024"/>
                  </a:cubicBezTo>
                  <a:cubicBezTo>
                    <a:pt x="6446" y="13232"/>
                    <a:pt x="6446" y="13232"/>
                    <a:pt x="6446" y="13232"/>
                  </a:cubicBezTo>
                  <a:cubicBezTo>
                    <a:pt x="5875" y="13188"/>
                    <a:pt x="5875" y="13188"/>
                    <a:pt x="5875" y="13188"/>
                  </a:cubicBezTo>
                  <a:cubicBezTo>
                    <a:pt x="5874" y="13202"/>
                    <a:pt x="5874" y="13202"/>
                    <a:pt x="5874" y="13202"/>
                  </a:cubicBezTo>
                  <a:lnTo>
                    <a:pt x="6444" y="13246"/>
                  </a:lnTo>
                  <a:close/>
                  <a:moveTo>
                    <a:pt x="6422" y="13457"/>
                  </a:moveTo>
                  <a:cubicBezTo>
                    <a:pt x="6401" y="13655"/>
                    <a:pt x="6401" y="13655"/>
                    <a:pt x="6401" y="13655"/>
                  </a:cubicBezTo>
                  <a:cubicBezTo>
                    <a:pt x="5819" y="13610"/>
                    <a:pt x="5819" y="13610"/>
                    <a:pt x="5819" y="13610"/>
                  </a:cubicBezTo>
                  <a:cubicBezTo>
                    <a:pt x="5827" y="13551"/>
                    <a:pt x="5836" y="13484"/>
                    <a:pt x="5845" y="13412"/>
                  </a:cubicBezTo>
                  <a:lnTo>
                    <a:pt x="6422" y="13457"/>
                  </a:lnTo>
                  <a:close/>
                  <a:moveTo>
                    <a:pt x="5965" y="12972"/>
                  </a:moveTo>
                  <a:cubicBezTo>
                    <a:pt x="5986" y="12773"/>
                    <a:pt x="5986" y="12773"/>
                    <a:pt x="5986" y="12773"/>
                  </a:cubicBezTo>
                  <a:cubicBezTo>
                    <a:pt x="6121" y="12784"/>
                    <a:pt x="6121" y="12784"/>
                    <a:pt x="6121" y="12784"/>
                  </a:cubicBezTo>
                  <a:cubicBezTo>
                    <a:pt x="6101" y="12982"/>
                    <a:pt x="6101" y="12982"/>
                    <a:pt x="6101" y="12982"/>
                  </a:cubicBezTo>
                  <a:lnTo>
                    <a:pt x="5965" y="12972"/>
                  </a:lnTo>
                  <a:close/>
                  <a:moveTo>
                    <a:pt x="6099" y="12996"/>
                  </a:moveTo>
                  <a:cubicBezTo>
                    <a:pt x="6084" y="13144"/>
                    <a:pt x="6084" y="13144"/>
                    <a:pt x="6084" y="13144"/>
                  </a:cubicBezTo>
                  <a:cubicBezTo>
                    <a:pt x="5949" y="13127"/>
                    <a:pt x="5949" y="13127"/>
                    <a:pt x="5949" y="13127"/>
                  </a:cubicBezTo>
                  <a:cubicBezTo>
                    <a:pt x="5964" y="12986"/>
                    <a:pt x="5964" y="12986"/>
                    <a:pt x="5964" y="12986"/>
                  </a:cubicBezTo>
                  <a:lnTo>
                    <a:pt x="6099" y="12996"/>
                  </a:lnTo>
                  <a:close/>
                  <a:moveTo>
                    <a:pt x="5988" y="12760"/>
                  </a:moveTo>
                  <a:cubicBezTo>
                    <a:pt x="6007" y="12571"/>
                    <a:pt x="6007" y="12571"/>
                    <a:pt x="6007" y="12571"/>
                  </a:cubicBezTo>
                  <a:cubicBezTo>
                    <a:pt x="6142" y="12581"/>
                    <a:pt x="6142" y="12581"/>
                    <a:pt x="6142" y="12581"/>
                  </a:cubicBezTo>
                  <a:cubicBezTo>
                    <a:pt x="6122" y="12770"/>
                    <a:pt x="6122" y="12770"/>
                    <a:pt x="6122" y="12770"/>
                  </a:cubicBezTo>
                  <a:lnTo>
                    <a:pt x="5988" y="12760"/>
                  </a:lnTo>
                  <a:close/>
                  <a:moveTo>
                    <a:pt x="5974" y="12759"/>
                  </a:moveTo>
                  <a:cubicBezTo>
                    <a:pt x="5931" y="12755"/>
                    <a:pt x="5931" y="12755"/>
                    <a:pt x="5931" y="12755"/>
                  </a:cubicBezTo>
                  <a:cubicBezTo>
                    <a:pt x="5939" y="12692"/>
                    <a:pt x="5947" y="12629"/>
                    <a:pt x="5955" y="12567"/>
                  </a:cubicBezTo>
                  <a:cubicBezTo>
                    <a:pt x="5994" y="12570"/>
                    <a:pt x="5994" y="12570"/>
                    <a:pt x="5994" y="12570"/>
                  </a:cubicBezTo>
                  <a:lnTo>
                    <a:pt x="5974" y="12759"/>
                  </a:lnTo>
                  <a:close/>
                  <a:moveTo>
                    <a:pt x="5973" y="12772"/>
                  </a:moveTo>
                  <a:cubicBezTo>
                    <a:pt x="5952" y="12971"/>
                    <a:pt x="5952" y="12971"/>
                    <a:pt x="5952" y="12971"/>
                  </a:cubicBezTo>
                  <a:cubicBezTo>
                    <a:pt x="5903" y="12967"/>
                    <a:pt x="5903" y="12967"/>
                    <a:pt x="5903" y="12967"/>
                  </a:cubicBezTo>
                  <a:cubicBezTo>
                    <a:pt x="5912" y="12901"/>
                    <a:pt x="5921" y="12835"/>
                    <a:pt x="5929" y="12769"/>
                  </a:cubicBezTo>
                  <a:lnTo>
                    <a:pt x="5973" y="12772"/>
                  </a:lnTo>
                  <a:close/>
                  <a:moveTo>
                    <a:pt x="6114" y="12983"/>
                  </a:moveTo>
                  <a:cubicBezTo>
                    <a:pt x="6134" y="12785"/>
                    <a:pt x="6134" y="12785"/>
                    <a:pt x="6134" y="12785"/>
                  </a:cubicBezTo>
                  <a:cubicBezTo>
                    <a:pt x="6491" y="12812"/>
                    <a:pt x="6491" y="12812"/>
                    <a:pt x="6491" y="12812"/>
                  </a:cubicBezTo>
                  <a:cubicBezTo>
                    <a:pt x="6469" y="13011"/>
                    <a:pt x="6469" y="13011"/>
                    <a:pt x="6469" y="13011"/>
                  </a:cubicBezTo>
                  <a:lnTo>
                    <a:pt x="6114" y="12983"/>
                  </a:lnTo>
                  <a:close/>
                  <a:moveTo>
                    <a:pt x="6136" y="12771"/>
                  </a:moveTo>
                  <a:cubicBezTo>
                    <a:pt x="6155" y="12582"/>
                    <a:pt x="6155" y="12582"/>
                    <a:pt x="6155" y="12582"/>
                  </a:cubicBezTo>
                  <a:cubicBezTo>
                    <a:pt x="6512" y="12610"/>
                    <a:pt x="6512" y="12610"/>
                    <a:pt x="6512" y="12610"/>
                  </a:cubicBezTo>
                  <a:cubicBezTo>
                    <a:pt x="6492" y="12798"/>
                    <a:pt x="6492" y="12798"/>
                    <a:pt x="6492" y="12798"/>
                  </a:cubicBezTo>
                  <a:lnTo>
                    <a:pt x="6136" y="12771"/>
                  </a:lnTo>
                  <a:close/>
                  <a:moveTo>
                    <a:pt x="6156" y="12568"/>
                  </a:moveTo>
                  <a:cubicBezTo>
                    <a:pt x="6174" y="12392"/>
                    <a:pt x="6174" y="12392"/>
                    <a:pt x="6174" y="12392"/>
                  </a:cubicBezTo>
                  <a:cubicBezTo>
                    <a:pt x="6532" y="12419"/>
                    <a:pt x="6532" y="12419"/>
                    <a:pt x="6532" y="12419"/>
                  </a:cubicBezTo>
                  <a:cubicBezTo>
                    <a:pt x="6514" y="12596"/>
                    <a:pt x="6514" y="12596"/>
                    <a:pt x="6514" y="12596"/>
                  </a:cubicBezTo>
                  <a:lnTo>
                    <a:pt x="6156" y="12568"/>
                  </a:lnTo>
                  <a:close/>
                  <a:moveTo>
                    <a:pt x="6162" y="12377"/>
                  </a:moveTo>
                  <a:cubicBezTo>
                    <a:pt x="6029" y="12366"/>
                    <a:pt x="6029" y="12366"/>
                    <a:pt x="6029" y="12366"/>
                  </a:cubicBezTo>
                  <a:cubicBezTo>
                    <a:pt x="6042" y="12234"/>
                    <a:pt x="6042" y="12234"/>
                    <a:pt x="6042" y="12234"/>
                  </a:cubicBezTo>
                  <a:cubicBezTo>
                    <a:pt x="6175" y="12248"/>
                    <a:pt x="6175" y="12248"/>
                    <a:pt x="6175" y="12248"/>
                  </a:cubicBezTo>
                  <a:lnTo>
                    <a:pt x="6162" y="12377"/>
                  </a:lnTo>
                  <a:close/>
                  <a:moveTo>
                    <a:pt x="6161" y="12391"/>
                  </a:moveTo>
                  <a:cubicBezTo>
                    <a:pt x="6143" y="12567"/>
                    <a:pt x="6143" y="12567"/>
                    <a:pt x="6143" y="12567"/>
                  </a:cubicBezTo>
                  <a:cubicBezTo>
                    <a:pt x="6009" y="12557"/>
                    <a:pt x="6009" y="12557"/>
                    <a:pt x="6009" y="12557"/>
                  </a:cubicBezTo>
                  <a:cubicBezTo>
                    <a:pt x="6027" y="12380"/>
                    <a:pt x="6027" y="12380"/>
                    <a:pt x="6027" y="12380"/>
                  </a:cubicBezTo>
                  <a:lnTo>
                    <a:pt x="6161" y="12391"/>
                  </a:lnTo>
                  <a:close/>
                  <a:moveTo>
                    <a:pt x="5996" y="12556"/>
                  </a:moveTo>
                  <a:cubicBezTo>
                    <a:pt x="5957" y="12553"/>
                    <a:pt x="5957" y="12553"/>
                    <a:pt x="5957" y="12553"/>
                  </a:cubicBezTo>
                  <a:cubicBezTo>
                    <a:pt x="5965" y="12493"/>
                    <a:pt x="5973" y="12434"/>
                    <a:pt x="5980" y="12377"/>
                  </a:cubicBezTo>
                  <a:cubicBezTo>
                    <a:pt x="6014" y="12379"/>
                    <a:pt x="6014" y="12379"/>
                    <a:pt x="6014" y="12379"/>
                  </a:cubicBezTo>
                  <a:lnTo>
                    <a:pt x="5996" y="12556"/>
                  </a:lnTo>
                  <a:close/>
                  <a:moveTo>
                    <a:pt x="5817" y="13624"/>
                  </a:moveTo>
                  <a:cubicBezTo>
                    <a:pt x="6399" y="13669"/>
                    <a:pt x="6399" y="13669"/>
                    <a:pt x="6399" y="13669"/>
                  </a:cubicBezTo>
                  <a:cubicBezTo>
                    <a:pt x="6380" y="13853"/>
                    <a:pt x="6380" y="13853"/>
                    <a:pt x="6380" y="13853"/>
                  </a:cubicBezTo>
                  <a:cubicBezTo>
                    <a:pt x="6373" y="13854"/>
                    <a:pt x="6366" y="13855"/>
                    <a:pt x="6359" y="13855"/>
                  </a:cubicBezTo>
                  <a:cubicBezTo>
                    <a:pt x="6280" y="13863"/>
                    <a:pt x="6134" y="13867"/>
                    <a:pt x="6009" y="13869"/>
                  </a:cubicBezTo>
                  <a:cubicBezTo>
                    <a:pt x="5901" y="13871"/>
                    <a:pt x="5808" y="13871"/>
                    <a:pt x="5785" y="13871"/>
                  </a:cubicBezTo>
                  <a:cubicBezTo>
                    <a:pt x="5790" y="13829"/>
                    <a:pt x="5802" y="13741"/>
                    <a:pt x="5817" y="13624"/>
                  </a:cubicBezTo>
                  <a:close/>
                  <a:moveTo>
                    <a:pt x="6366" y="13920"/>
                  </a:moveTo>
                  <a:cubicBezTo>
                    <a:pt x="6416" y="13915"/>
                    <a:pt x="6467" y="13910"/>
                    <a:pt x="6518" y="13904"/>
                  </a:cubicBezTo>
                  <a:cubicBezTo>
                    <a:pt x="6518" y="14208"/>
                    <a:pt x="6518" y="14208"/>
                    <a:pt x="6518" y="14208"/>
                  </a:cubicBezTo>
                  <a:cubicBezTo>
                    <a:pt x="6447" y="14211"/>
                    <a:pt x="6403" y="14212"/>
                    <a:pt x="6399" y="14213"/>
                  </a:cubicBezTo>
                  <a:cubicBezTo>
                    <a:pt x="6398" y="14213"/>
                    <a:pt x="6398" y="14213"/>
                    <a:pt x="6398" y="14213"/>
                  </a:cubicBezTo>
                  <a:cubicBezTo>
                    <a:pt x="6398" y="14213"/>
                    <a:pt x="6397" y="14213"/>
                    <a:pt x="6396" y="14213"/>
                  </a:cubicBezTo>
                  <a:cubicBezTo>
                    <a:pt x="6371" y="14213"/>
                    <a:pt x="6241" y="14205"/>
                    <a:pt x="6197" y="14202"/>
                  </a:cubicBezTo>
                  <a:cubicBezTo>
                    <a:pt x="6228" y="13929"/>
                    <a:pt x="6228" y="13929"/>
                    <a:pt x="6228" y="13929"/>
                  </a:cubicBezTo>
                  <a:cubicBezTo>
                    <a:pt x="6281" y="13927"/>
                    <a:pt x="6329" y="13924"/>
                    <a:pt x="6366" y="13920"/>
                  </a:cubicBezTo>
                  <a:close/>
                  <a:moveTo>
                    <a:pt x="6446" y="13846"/>
                  </a:moveTo>
                  <a:cubicBezTo>
                    <a:pt x="6500" y="13346"/>
                    <a:pt x="6500" y="13346"/>
                    <a:pt x="6500" y="13346"/>
                  </a:cubicBezTo>
                  <a:cubicBezTo>
                    <a:pt x="6533" y="13351"/>
                    <a:pt x="6592" y="13359"/>
                    <a:pt x="6652" y="13367"/>
                  </a:cubicBezTo>
                  <a:cubicBezTo>
                    <a:pt x="6734" y="13379"/>
                    <a:pt x="6817" y="13391"/>
                    <a:pt x="6836" y="13394"/>
                  </a:cubicBezTo>
                  <a:cubicBezTo>
                    <a:pt x="6898" y="13777"/>
                    <a:pt x="6898" y="13777"/>
                    <a:pt x="6898" y="13777"/>
                  </a:cubicBezTo>
                  <a:cubicBezTo>
                    <a:pt x="6878" y="13780"/>
                    <a:pt x="6858" y="13783"/>
                    <a:pt x="6841" y="13786"/>
                  </a:cubicBezTo>
                  <a:cubicBezTo>
                    <a:pt x="6712" y="13813"/>
                    <a:pt x="6580" y="13831"/>
                    <a:pt x="6446" y="13846"/>
                  </a:cubicBezTo>
                  <a:close/>
                  <a:moveTo>
                    <a:pt x="6911" y="13266"/>
                  </a:moveTo>
                  <a:cubicBezTo>
                    <a:pt x="6911" y="13273"/>
                    <a:pt x="6911" y="13277"/>
                    <a:pt x="6912" y="13281"/>
                  </a:cubicBezTo>
                  <a:cubicBezTo>
                    <a:pt x="6912" y="13281"/>
                    <a:pt x="6912" y="13281"/>
                    <a:pt x="6912" y="13281"/>
                  </a:cubicBezTo>
                  <a:cubicBezTo>
                    <a:pt x="6912" y="13282"/>
                    <a:pt x="6911" y="13283"/>
                    <a:pt x="6911" y="13284"/>
                  </a:cubicBezTo>
                  <a:cubicBezTo>
                    <a:pt x="6909" y="13287"/>
                    <a:pt x="6906" y="13291"/>
                    <a:pt x="6902" y="13296"/>
                  </a:cubicBezTo>
                  <a:cubicBezTo>
                    <a:pt x="6895" y="13307"/>
                    <a:pt x="6885" y="13320"/>
                    <a:pt x="6876" y="13333"/>
                  </a:cubicBezTo>
                  <a:cubicBezTo>
                    <a:pt x="6860" y="13353"/>
                    <a:pt x="6845" y="13373"/>
                    <a:pt x="6839" y="13380"/>
                  </a:cubicBezTo>
                  <a:cubicBezTo>
                    <a:pt x="6805" y="13375"/>
                    <a:pt x="6580" y="13343"/>
                    <a:pt x="6501" y="13332"/>
                  </a:cubicBezTo>
                  <a:cubicBezTo>
                    <a:pt x="6546" y="12907"/>
                    <a:pt x="6546" y="12907"/>
                    <a:pt x="6546" y="12907"/>
                  </a:cubicBezTo>
                  <a:cubicBezTo>
                    <a:pt x="6639" y="12914"/>
                    <a:pt x="6894" y="12931"/>
                    <a:pt x="6928" y="12933"/>
                  </a:cubicBezTo>
                  <a:cubicBezTo>
                    <a:pt x="6919" y="13078"/>
                    <a:pt x="6911" y="13221"/>
                    <a:pt x="6911" y="13266"/>
                  </a:cubicBezTo>
                  <a:close/>
                  <a:moveTo>
                    <a:pt x="6534" y="12405"/>
                  </a:moveTo>
                  <a:cubicBezTo>
                    <a:pt x="6176" y="12378"/>
                    <a:pt x="6176" y="12378"/>
                    <a:pt x="6176" y="12378"/>
                  </a:cubicBezTo>
                  <a:cubicBezTo>
                    <a:pt x="6189" y="12243"/>
                    <a:pt x="6189" y="12243"/>
                    <a:pt x="6189" y="12243"/>
                  </a:cubicBezTo>
                  <a:cubicBezTo>
                    <a:pt x="6190" y="12236"/>
                    <a:pt x="6190" y="12236"/>
                    <a:pt x="6190" y="12236"/>
                  </a:cubicBezTo>
                  <a:cubicBezTo>
                    <a:pt x="6031" y="12220"/>
                    <a:pt x="6031" y="12220"/>
                    <a:pt x="6031" y="12220"/>
                  </a:cubicBezTo>
                  <a:cubicBezTo>
                    <a:pt x="6016" y="12365"/>
                    <a:pt x="6016" y="12365"/>
                    <a:pt x="6016" y="12365"/>
                  </a:cubicBezTo>
                  <a:cubicBezTo>
                    <a:pt x="5982" y="12363"/>
                    <a:pt x="5982" y="12363"/>
                    <a:pt x="5982" y="12363"/>
                  </a:cubicBezTo>
                  <a:cubicBezTo>
                    <a:pt x="5991" y="12292"/>
                    <a:pt x="5999" y="12224"/>
                    <a:pt x="6007" y="12161"/>
                  </a:cubicBezTo>
                  <a:cubicBezTo>
                    <a:pt x="6555" y="12202"/>
                    <a:pt x="6555" y="12202"/>
                    <a:pt x="6555" y="12202"/>
                  </a:cubicBezTo>
                  <a:lnTo>
                    <a:pt x="6534" y="12405"/>
                  </a:lnTo>
                  <a:close/>
                  <a:moveTo>
                    <a:pt x="6009" y="12147"/>
                  </a:moveTo>
                  <a:cubicBezTo>
                    <a:pt x="6018" y="12075"/>
                    <a:pt x="6027" y="12009"/>
                    <a:pt x="6034" y="11952"/>
                  </a:cubicBezTo>
                  <a:cubicBezTo>
                    <a:pt x="6578" y="11993"/>
                    <a:pt x="6578" y="11993"/>
                    <a:pt x="6578" y="11993"/>
                  </a:cubicBezTo>
                  <a:cubicBezTo>
                    <a:pt x="6557" y="12189"/>
                    <a:pt x="6557" y="12189"/>
                    <a:pt x="6557" y="12189"/>
                  </a:cubicBezTo>
                  <a:lnTo>
                    <a:pt x="6009" y="12147"/>
                  </a:lnTo>
                  <a:close/>
                  <a:moveTo>
                    <a:pt x="6035" y="11938"/>
                  </a:moveTo>
                  <a:cubicBezTo>
                    <a:pt x="6048" y="11835"/>
                    <a:pt x="6056" y="11764"/>
                    <a:pt x="6058" y="11742"/>
                  </a:cubicBezTo>
                  <a:cubicBezTo>
                    <a:pt x="6062" y="11742"/>
                    <a:pt x="6067" y="11742"/>
                    <a:pt x="6074" y="11743"/>
                  </a:cubicBezTo>
                  <a:cubicBezTo>
                    <a:pt x="6082" y="11743"/>
                    <a:pt x="6091" y="11744"/>
                    <a:pt x="6102" y="11745"/>
                  </a:cubicBezTo>
                  <a:cubicBezTo>
                    <a:pt x="6069" y="11904"/>
                    <a:pt x="6069" y="11904"/>
                    <a:pt x="6069" y="11904"/>
                  </a:cubicBezTo>
                  <a:cubicBezTo>
                    <a:pt x="6230" y="11935"/>
                    <a:pt x="6230" y="11935"/>
                    <a:pt x="6230" y="11935"/>
                  </a:cubicBezTo>
                  <a:cubicBezTo>
                    <a:pt x="6266" y="11755"/>
                    <a:pt x="6266" y="11755"/>
                    <a:pt x="6266" y="11755"/>
                  </a:cubicBezTo>
                  <a:cubicBezTo>
                    <a:pt x="6287" y="11756"/>
                    <a:pt x="6308" y="11757"/>
                    <a:pt x="6329" y="11758"/>
                  </a:cubicBezTo>
                  <a:cubicBezTo>
                    <a:pt x="6450" y="11766"/>
                    <a:pt x="6571" y="11773"/>
                    <a:pt x="6601" y="11775"/>
                  </a:cubicBezTo>
                  <a:cubicBezTo>
                    <a:pt x="6579" y="11979"/>
                    <a:pt x="6579" y="11979"/>
                    <a:pt x="6579" y="11979"/>
                  </a:cubicBezTo>
                  <a:lnTo>
                    <a:pt x="6035" y="11938"/>
                  </a:lnTo>
                  <a:close/>
                  <a:moveTo>
                    <a:pt x="6269" y="11741"/>
                  </a:moveTo>
                  <a:cubicBezTo>
                    <a:pt x="6309" y="11543"/>
                    <a:pt x="6309" y="11543"/>
                    <a:pt x="6309" y="11543"/>
                  </a:cubicBezTo>
                  <a:cubicBezTo>
                    <a:pt x="6432" y="11555"/>
                    <a:pt x="6572" y="11569"/>
                    <a:pt x="6622" y="11573"/>
                  </a:cubicBezTo>
                  <a:cubicBezTo>
                    <a:pt x="6602" y="11761"/>
                    <a:pt x="6602" y="11761"/>
                    <a:pt x="6602" y="11761"/>
                  </a:cubicBezTo>
                  <a:cubicBezTo>
                    <a:pt x="6569" y="11759"/>
                    <a:pt x="6408" y="11749"/>
                    <a:pt x="6269" y="11741"/>
                  </a:cubicBezTo>
                  <a:close/>
                  <a:moveTo>
                    <a:pt x="6367" y="11535"/>
                  </a:moveTo>
                  <a:cubicBezTo>
                    <a:pt x="6348" y="11533"/>
                    <a:pt x="6330" y="11531"/>
                    <a:pt x="6312" y="11529"/>
                  </a:cubicBezTo>
                  <a:cubicBezTo>
                    <a:pt x="6350" y="11341"/>
                    <a:pt x="6350" y="11341"/>
                    <a:pt x="6350" y="11341"/>
                  </a:cubicBezTo>
                  <a:cubicBezTo>
                    <a:pt x="6645" y="11364"/>
                    <a:pt x="6645" y="11364"/>
                    <a:pt x="6645" y="11364"/>
                  </a:cubicBezTo>
                  <a:cubicBezTo>
                    <a:pt x="6624" y="11559"/>
                    <a:pt x="6624" y="11559"/>
                    <a:pt x="6624" y="11559"/>
                  </a:cubicBezTo>
                  <a:cubicBezTo>
                    <a:pt x="6582" y="11556"/>
                    <a:pt x="6474" y="11545"/>
                    <a:pt x="6367" y="11535"/>
                  </a:cubicBezTo>
                  <a:close/>
                  <a:moveTo>
                    <a:pt x="6353" y="11328"/>
                  </a:moveTo>
                  <a:cubicBezTo>
                    <a:pt x="6387" y="11160"/>
                    <a:pt x="6387" y="11160"/>
                    <a:pt x="6387" y="11160"/>
                  </a:cubicBezTo>
                  <a:cubicBezTo>
                    <a:pt x="6505" y="11169"/>
                    <a:pt x="6635" y="11179"/>
                    <a:pt x="6664" y="11181"/>
                  </a:cubicBezTo>
                  <a:cubicBezTo>
                    <a:pt x="6646" y="11350"/>
                    <a:pt x="6646" y="11350"/>
                    <a:pt x="6646" y="11350"/>
                  </a:cubicBezTo>
                  <a:lnTo>
                    <a:pt x="6353" y="11328"/>
                  </a:lnTo>
                  <a:close/>
                  <a:moveTo>
                    <a:pt x="6663" y="11174"/>
                  </a:moveTo>
                  <a:cubicBezTo>
                    <a:pt x="6665" y="11174"/>
                    <a:pt x="6665" y="11174"/>
                    <a:pt x="6665" y="11174"/>
                  </a:cubicBezTo>
                  <a:cubicBezTo>
                    <a:pt x="6665" y="11174"/>
                    <a:pt x="6665" y="11174"/>
                    <a:pt x="6665" y="11174"/>
                  </a:cubicBezTo>
                  <a:lnTo>
                    <a:pt x="6663" y="11174"/>
                  </a:lnTo>
                  <a:close/>
                  <a:moveTo>
                    <a:pt x="6390" y="11146"/>
                  </a:moveTo>
                  <a:cubicBezTo>
                    <a:pt x="6413" y="11033"/>
                    <a:pt x="6413" y="11033"/>
                    <a:pt x="6413" y="11033"/>
                  </a:cubicBezTo>
                  <a:cubicBezTo>
                    <a:pt x="6414" y="11026"/>
                    <a:pt x="6414" y="11026"/>
                    <a:pt x="6414" y="11026"/>
                  </a:cubicBezTo>
                  <a:cubicBezTo>
                    <a:pt x="6258" y="10995"/>
                    <a:pt x="6258" y="10995"/>
                    <a:pt x="6258" y="10995"/>
                  </a:cubicBezTo>
                  <a:cubicBezTo>
                    <a:pt x="6229" y="11134"/>
                    <a:pt x="6229" y="11134"/>
                    <a:pt x="6229" y="11134"/>
                  </a:cubicBezTo>
                  <a:cubicBezTo>
                    <a:pt x="6209" y="11132"/>
                    <a:pt x="6194" y="11131"/>
                    <a:pt x="6187" y="11130"/>
                  </a:cubicBezTo>
                  <a:cubicBezTo>
                    <a:pt x="6203" y="11042"/>
                    <a:pt x="6217" y="10967"/>
                    <a:pt x="6224" y="10927"/>
                  </a:cubicBezTo>
                  <a:cubicBezTo>
                    <a:pt x="6691" y="10933"/>
                    <a:pt x="6691" y="10933"/>
                    <a:pt x="6691" y="10933"/>
                  </a:cubicBezTo>
                  <a:cubicBezTo>
                    <a:pt x="6666" y="11167"/>
                    <a:pt x="6666" y="11167"/>
                    <a:pt x="6666" y="11167"/>
                  </a:cubicBezTo>
                  <a:cubicBezTo>
                    <a:pt x="6640" y="11166"/>
                    <a:pt x="6509" y="11156"/>
                    <a:pt x="6390" y="11146"/>
                  </a:cubicBezTo>
                  <a:close/>
                  <a:moveTo>
                    <a:pt x="6417" y="10864"/>
                  </a:moveTo>
                  <a:cubicBezTo>
                    <a:pt x="6434" y="10752"/>
                    <a:pt x="6434" y="10752"/>
                    <a:pt x="6434" y="10752"/>
                  </a:cubicBezTo>
                  <a:cubicBezTo>
                    <a:pt x="6494" y="10822"/>
                    <a:pt x="6494" y="10822"/>
                    <a:pt x="6494" y="10822"/>
                  </a:cubicBezTo>
                  <a:cubicBezTo>
                    <a:pt x="6625" y="10715"/>
                    <a:pt x="6625" y="10715"/>
                    <a:pt x="6625" y="10715"/>
                  </a:cubicBezTo>
                  <a:cubicBezTo>
                    <a:pt x="6508" y="10581"/>
                    <a:pt x="6508" y="10581"/>
                    <a:pt x="6508" y="10581"/>
                  </a:cubicBezTo>
                  <a:cubicBezTo>
                    <a:pt x="6453" y="10624"/>
                    <a:pt x="6453" y="10624"/>
                    <a:pt x="6453" y="10624"/>
                  </a:cubicBezTo>
                  <a:cubicBezTo>
                    <a:pt x="6469" y="10520"/>
                    <a:pt x="6469" y="10520"/>
                    <a:pt x="6469" y="10520"/>
                  </a:cubicBezTo>
                  <a:cubicBezTo>
                    <a:pt x="6576" y="10528"/>
                    <a:pt x="6684" y="10536"/>
                    <a:pt x="6732" y="10539"/>
                  </a:cubicBezTo>
                  <a:cubicBezTo>
                    <a:pt x="6697" y="10868"/>
                    <a:pt x="6697" y="10868"/>
                    <a:pt x="6697" y="10868"/>
                  </a:cubicBezTo>
                  <a:lnTo>
                    <a:pt x="6417" y="10864"/>
                  </a:lnTo>
                  <a:close/>
                  <a:moveTo>
                    <a:pt x="6214" y="10486"/>
                  </a:moveTo>
                  <a:cubicBezTo>
                    <a:pt x="6252" y="10287"/>
                    <a:pt x="6252" y="10287"/>
                    <a:pt x="6252" y="10287"/>
                  </a:cubicBezTo>
                  <a:cubicBezTo>
                    <a:pt x="6267" y="10288"/>
                    <a:pt x="6267" y="10288"/>
                    <a:pt x="6267" y="10288"/>
                  </a:cubicBezTo>
                  <a:cubicBezTo>
                    <a:pt x="6239" y="10440"/>
                    <a:pt x="6239" y="10440"/>
                    <a:pt x="6239" y="10440"/>
                  </a:cubicBezTo>
                  <a:cubicBezTo>
                    <a:pt x="6238" y="10446"/>
                    <a:pt x="6238" y="10446"/>
                    <a:pt x="6238" y="10446"/>
                  </a:cubicBezTo>
                  <a:cubicBezTo>
                    <a:pt x="6387" y="10485"/>
                    <a:pt x="6387" y="10485"/>
                    <a:pt x="6387" y="10485"/>
                  </a:cubicBezTo>
                  <a:cubicBezTo>
                    <a:pt x="6426" y="10301"/>
                    <a:pt x="6426" y="10301"/>
                    <a:pt x="6426" y="10301"/>
                  </a:cubicBezTo>
                  <a:cubicBezTo>
                    <a:pt x="6755" y="10328"/>
                    <a:pt x="6755" y="10328"/>
                    <a:pt x="6755" y="10328"/>
                  </a:cubicBezTo>
                  <a:cubicBezTo>
                    <a:pt x="6734" y="10525"/>
                    <a:pt x="6734" y="10525"/>
                    <a:pt x="6734" y="10525"/>
                  </a:cubicBezTo>
                  <a:cubicBezTo>
                    <a:pt x="6640" y="10520"/>
                    <a:pt x="6314" y="10494"/>
                    <a:pt x="6214" y="10486"/>
                  </a:cubicBezTo>
                  <a:close/>
                  <a:moveTo>
                    <a:pt x="6283" y="10275"/>
                  </a:moveTo>
                  <a:cubicBezTo>
                    <a:pt x="6327" y="10044"/>
                    <a:pt x="6327" y="10044"/>
                    <a:pt x="6327" y="10044"/>
                  </a:cubicBezTo>
                  <a:cubicBezTo>
                    <a:pt x="6463" y="10063"/>
                    <a:pt x="6463" y="10063"/>
                    <a:pt x="6463" y="10063"/>
                  </a:cubicBezTo>
                  <a:cubicBezTo>
                    <a:pt x="6415" y="10286"/>
                    <a:pt x="6415" y="10286"/>
                    <a:pt x="6415" y="10286"/>
                  </a:cubicBezTo>
                  <a:lnTo>
                    <a:pt x="6283" y="10275"/>
                  </a:lnTo>
                  <a:close/>
                  <a:moveTo>
                    <a:pt x="6412" y="10300"/>
                  </a:moveTo>
                  <a:cubicBezTo>
                    <a:pt x="6377" y="10468"/>
                    <a:pt x="6377" y="10468"/>
                    <a:pt x="6377" y="10468"/>
                  </a:cubicBezTo>
                  <a:cubicBezTo>
                    <a:pt x="6253" y="10436"/>
                    <a:pt x="6253" y="10436"/>
                    <a:pt x="6253" y="10436"/>
                  </a:cubicBezTo>
                  <a:cubicBezTo>
                    <a:pt x="6281" y="10289"/>
                    <a:pt x="6281" y="10289"/>
                    <a:pt x="6281" y="10289"/>
                  </a:cubicBezTo>
                  <a:lnTo>
                    <a:pt x="6412" y="10300"/>
                  </a:lnTo>
                  <a:close/>
                  <a:moveTo>
                    <a:pt x="6331" y="10031"/>
                  </a:moveTo>
                  <a:cubicBezTo>
                    <a:pt x="6412" y="9793"/>
                    <a:pt x="6412" y="9793"/>
                    <a:pt x="6412" y="9793"/>
                  </a:cubicBezTo>
                  <a:cubicBezTo>
                    <a:pt x="6543" y="9825"/>
                    <a:pt x="6543" y="9825"/>
                    <a:pt x="6543" y="9825"/>
                  </a:cubicBezTo>
                  <a:cubicBezTo>
                    <a:pt x="6467" y="10049"/>
                    <a:pt x="6467" y="10049"/>
                    <a:pt x="6467" y="10049"/>
                  </a:cubicBezTo>
                  <a:lnTo>
                    <a:pt x="6331" y="10031"/>
                  </a:lnTo>
                  <a:close/>
                  <a:moveTo>
                    <a:pt x="6556" y="9828"/>
                  </a:moveTo>
                  <a:cubicBezTo>
                    <a:pt x="6822" y="9892"/>
                    <a:pt x="6822" y="9892"/>
                    <a:pt x="6822" y="9892"/>
                  </a:cubicBezTo>
                  <a:cubicBezTo>
                    <a:pt x="6791" y="9988"/>
                    <a:pt x="6791" y="9988"/>
                    <a:pt x="6791" y="9988"/>
                  </a:cubicBezTo>
                  <a:cubicBezTo>
                    <a:pt x="6780" y="10092"/>
                    <a:pt x="6780" y="10092"/>
                    <a:pt x="6780" y="10092"/>
                  </a:cubicBezTo>
                  <a:cubicBezTo>
                    <a:pt x="6480" y="10051"/>
                    <a:pt x="6480" y="10051"/>
                    <a:pt x="6480" y="10051"/>
                  </a:cubicBezTo>
                  <a:lnTo>
                    <a:pt x="6556" y="9828"/>
                  </a:lnTo>
                  <a:close/>
                  <a:moveTo>
                    <a:pt x="6548" y="9812"/>
                  </a:moveTo>
                  <a:cubicBezTo>
                    <a:pt x="6416" y="9780"/>
                    <a:pt x="6416" y="9780"/>
                    <a:pt x="6416" y="9780"/>
                  </a:cubicBezTo>
                  <a:cubicBezTo>
                    <a:pt x="6484" y="9581"/>
                    <a:pt x="6484" y="9581"/>
                    <a:pt x="6484" y="9581"/>
                  </a:cubicBezTo>
                  <a:cubicBezTo>
                    <a:pt x="6616" y="9610"/>
                    <a:pt x="6616" y="9610"/>
                    <a:pt x="6616" y="9610"/>
                  </a:cubicBezTo>
                  <a:lnTo>
                    <a:pt x="6548" y="9812"/>
                  </a:lnTo>
                  <a:close/>
                  <a:moveTo>
                    <a:pt x="6488" y="9568"/>
                  </a:moveTo>
                  <a:cubicBezTo>
                    <a:pt x="6551" y="9385"/>
                    <a:pt x="6551" y="9385"/>
                    <a:pt x="6551" y="9385"/>
                  </a:cubicBezTo>
                  <a:cubicBezTo>
                    <a:pt x="6682" y="9417"/>
                    <a:pt x="6682" y="9417"/>
                    <a:pt x="6682" y="9417"/>
                  </a:cubicBezTo>
                  <a:cubicBezTo>
                    <a:pt x="6621" y="9597"/>
                    <a:pt x="6621" y="9597"/>
                    <a:pt x="6621" y="9597"/>
                  </a:cubicBezTo>
                  <a:lnTo>
                    <a:pt x="6488" y="9568"/>
                  </a:lnTo>
                  <a:close/>
                  <a:moveTo>
                    <a:pt x="7299" y="8402"/>
                  </a:moveTo>
                  <a:cubicBezTo>
                    <a:pt x="7245" y="8571"/>
                    <a:pt x="7245" y="8571"/>
                    <a:pt x="7245" y="8571"/>
                  </a:cubicBezTo>
                  <a:cubicBezTo>
                    <a:pt x="7194" y="8561"/>
                    <a:pt x="7092" y="8542"/>
                    <a:pt x="6998" y="8524"/>
                  </a:cubicBezTo>
                  <a:cubicBezTo>
                    <a:pt x="7056" y="8354"/>
                    <a:pt x="7056" y="8354"/>
                    <a:pt x="7056" y="8354"/>
                  </a:cubicBezTo>
                  <a:lnTo>
                    <a:pt x="7299" y="8402"/>
                  </a:lnTo>
                  <a:close/>
                  <a:moveTo>
                    <a:pt x="7060" y="8341"/>
                  </a:moveTo>
                  <a:cubicBezTo>
                    <a:pt x="7116" y="8176"/>
                    <a:pt x="7116" y="8176"/>
                    <a:pt x="7116" y="8176"/>
                  </a:cubicBezTo>
                  <a:cubicBezTo>
                    <a:pt x="7132" y="8179"/>
                    <a:pt x="7148" y="8182"/>
                    <a:pt x="7164" y="8186"/>
                  </a:cubicBezTo>
                  <a:cubicBezTo>
                    <a:pt x="7240" y="8202"/>
                    <a:pt x="7314" y="8217"/>
                    <a:pt x="7355" y="8226"/>
                  </a:cubicBezTo>
                  <a:cubicBezTo>
                    <a:pt x="7303" y="8388"/>
                    <a:pt x="7303" y="8388"/>
                    <a:pt x="7303" y="8388"/>
                  </a:cubicBezTo>
                  <a:lnTo>
                    <a:pt x="7060" y="8341"/>
                  </a:lnTo>
                  <a:close/>
                  <a:moveTo>
                    <a:pt x="6977" y="8728"/>
                  </a:moveTo>
                  <a:cubicBezTo>
                    <a:pt x="7056" y="8743"/>
                    <a:pt x="7135" y="8758"/>
                    <a:pt x="7182" y="8767"/>
                  </a:cubicBezTo>
                  <a:cubicBezTo>
                    <a:pt x="7126" y="8940"/>
                    <a:pt x="7126" y="8940"/>
                    <a:pt x="7126" y="8940"/>
                  </a:cubicBezTo>
                  <a:cubicBezTo>
                    <a:pt x="7084" y="8933"/>
                    <a:pt x="6990" y="8915"/>
                    <a:pt x="6900" y="8897"/>
                  </a:cubicBezTo>
                  <a:cubicBezTo>
                    <a:pt x="6891" y="8896"/>
                    <a:pt x="6882" y="8894"/>
                    <a:pt x="6873" y="8892"/>
                  </a:cubicBezTo>
                  <a:cubicBezTo>
                    <a:pt x="6932" y="8719"/>
                    <a:pt x="6932" y="8719"/>
                    <a:pt x="6932" y="8719"/>
                  </a:cubicBezTo>
                  <a:cubicBezTo>
                    <a:pt x="6947" y="8722"/>
                    <a:pt x="6962" y="8725"/>
                    <a:pt x="6977" y="8728"/>
                  </a:cubicBezTo>
                  <a:close/>
                  <a:moveTo>
                    <a:pt x="6936" y="8706"/>
                  </a:moveTo>
                  <a:cubicBezTo>
                    <a:pt x="6993" y="8538"/>
                    <a:pt x="6993" y="8538"/>
                    <a:pt x="6993" y="8538"/>
                  </a:cubicBezTo>
                  <a:cubicBezTo>
                    <a:pt x="7009" y="8540"/>
                    <a:pt x="7024" y="8543"/>
                    <a:pt x="7039" y="8546"/>
                  </a:cubicBezTo>
                  <a:cubicBezTo>
                    <a:pt x="7119" y="8561"/>
                    <a:pt x="7197" y="8576"/>
                    <a:pt x="7240" y="8584"/>
                  </a:cubicBezTo>
                  <a:cubicBezTo>
                    <a:pt x="7186" y="8754"/>
                    <a:pt x="7186" y="8754"/>
                    <a:pt x="7186" y="8754"/>
                  </a:cubicBezTo>
                  <a:cubicBezTo>
                    <a:pt x="7131" y="8743"/>
                    <a:pt x="7030" y="8724"/>
                    <a:pt x="6936" y="8706"/>
                  </a:cubicBezTo>
                  <a:close/>
                  <a:moveTo>
                    <a:pt x="7185" y="8972"/>
                  </a:moveTo>
                  <a:cubicBezTo>
                    <a:pt x="7193" y="8975"/>
                    <a:pt x="7202" y="8979"/>
                    <a:pt x="7212" y="8984"/>
                  </a:cubicBezTo>
                  <a:cubicBezTo>
                    <a:pt x="7246" y="9000"/>
                    <a:pt x="7291" y="9021"/>
                    <a:pt x="7334" y="9043"/>
                  </a:cubicBezTo>
                  <a:cubicBezTo>
                    <a:pt x="7336" y="9043"/>
                    <a:pt x="7337" y="9044"/>
                    <a:pt x="7338" y="9045"/>
                  </a:cubicBezTo>
                  <a:cubicBezTo>
                    <a:pt x="7263" y="9192"/>
                    <a:pt x="7263" y="9192"/>
                    <a:pt x="7263" y="9192"/>
                  </a:cubicBezTo>
                  <a:cubicBezTo>
                    <a:pt x="7135" y="9129"/>
                    <a:pt x="7135" y="9129"/>
                    <a:pt x="7135" y="9129"/>
                  </a:cubicBezTo>
                  <a:lnTo>
                    <a:pt x="7185" y="8972"/>
                  </a:lnTo>
                  <a:close/>
                  <a:moveTo>
                    <a:pt x="7217" y="8971"/>
                  </a:moveTo>
                  <a:cubicBezTo>
                    <a:pt x="7207" y="8966"/>
                    <a:pt x="7198" y="8962"/>
                    <a:pt x="7190" y="8958"/>
                  </a:cubicBezTo>
                  <a:cubicBezTo>
                    <a:pt x="7245" y="8786"/>
                    <a:pt x="7245" y="8786"/>
                    <a:pt x="7245" y="8786"/>
                  </a:cubicBezTo>
                  <a:cubicBezTo>
                    <a:pt x="7423" y="8877"/>
                    <a:pt x="7423" y="8877"/>
                    <a:pt x="7423" y="8877"/>
                  </a:cubicBezTo>
                  <a:cubicBezTo>
                    <a:pt x="7344" y="9032"/>
                    <a:pt x="7344" y="9032"/>
                    <a:pt x="7344" y="9032"/>
                  </a:cubicBezTo>
                  <a:cubicBezTo>
                    <a:pt x="7299" y="9010"/>
                    <a:pt x="7253" y="8988"/>
                    <a:pt x="7217" y="8971"/>
                  </a:cubicBezTo>
                  <a:close/>
                  <a:moveTo>
                    <a:pt x="6985" y="8522"/>
                  </a:moveTo>
                  <a:cubicBezTo>
                    <a:pt x="6935" y="8513"/>
                    <a:pt x="6888" y="8504"/>
                    <a:pt x="6853" y="8498"/>
                  </a:cubicBezTo>
                  <a:cubicBezTo>
                    <a:pt x="6912" y="8326"/>
                    <a:pt x="6912" y="8326"/>
                    <a:pt x="6912" y="8326"/>
                  </a:cubicBezTo>
                  <a:cubicBezTo>
                    <a:pt x="7043" y="8351"/>
                    <a:pt x="7043" y="8351"/>
                    <a:pt x="7043" y="8351"/>
                  </a:cubicBezTo>
                  <a:lnTo>
                    <a:pt x="6985" y="8522"/>
                  </a:lnTo>
                  <a:close/>
                  <a:moveTo>
                    <a:pt x="6980" y="8535"/>
                  </a:moveTo>
                  <a:cubicBezTo>
                    <a:pt x="6923" y="8703"/>
                    <a:pt x="6923" y="8703"/>
                    <a:pt x="6923" y="8703"/>
                  </a:cubicBezTo>
                  <a:cubicBezTo>
                    <a:pt x="6874" y="8694"/>
                    <a:pt x="6827" y="8685"/>
                    <a:pt x="6792" y="8678"/>
                  </a:cubicBezTo>
                  <a:cubicBezTo>
                    <a:pt x="6849" y="8511"/>
                    <a:pt x="6849" y="8511"/>
                    <a:pt x="6849" y="8511"/>
                  </a:cubicBezTo>
                  <a:cubicBezTo>
                    <a:pt x="6883" y="8517"/>
                    <a:pt x="6930" y="8526"/>
                    <a:pt x="6980" y="8535"/>
                  </a:cubicBezTo>
                  <a:close/>
                  <a:moveTo>
                    <a:pt x="6919" y="8717"/>
                  </a:moveTo>
                  <a:cubicBezTo>
                    <a:pt x="6860" y="8890"/>
                    <a:pt x="6860" y="8890"/>
                    <a:pt x="6860" y="8890"/>
                  </a:cubicBezTo>
                  <a:cubicBezTo>
                    <a:pt x="6810" y="8880"/>
                    <a:pt x="6763" y="8870"/>
                    <a:pt x="6728" y="8863"/>
                  </a:cubicBezTo>
                  <a:cubicBezTo>
                    <a:pt x="6787" y="8692"/>
                    <a:pt x="6787" y="8692"/>
                    <a:pt x="6787" y="8692"/>
                  </a:cubicBezTo>
                  <a:cubicBezTo>
                    <a:pt x="6822" y="8698"/>
                    <a:pt x="6869" y="8707"/>
                    <a:pt x="6919" y="8717"/>
                  </a:cubicBezTo>
                  <a:close/>
                  <a:moveTo>
                    <a:pt x="6856" y="8903"/>
                  </a:moveTo>
                  <a:cubicBezTo>
                    <a:pt x="6807" y="9046"/>
                    <a:pt x="6807" y="9046"/>
                    <a:pt x="6807" y="9046"/>
                  </a:cubicBezTo>
                  <a:cubicBezTo>
                    <a:pt x="6676" y="9016"/>
                    <a:pt x="6676" y="9016"/>
                    <a:pt x="6676" y="9016"/>
                  </a:cubicBezTo>
                  <a:cubicBezTo>
                    <a:pt x="6724" y="8877"/>
                    <a:pt x="6724" y="8877"/>
                    <a:pt x="6724" y="8877"/>
                  </a:cubicBezTo>
                  <a:cubicBezTo>
                    <a:pt x="6759" y="8884"/>
                    <a:pt x="6806" y="8893"/>
                    <a:pt x="6856" y="8903"/>
                  </a:cubicBezTo>
                  <a:close/>
                  <a:moveTo>
                    <a:pt x="6803" y="9060"/>
                  </a:moveTo>
                  <a:cubicBezTo>
                    <a:pt x="6747" y="9223"/>
                    <a:pt x="6747" y="9223"/>
                    <a:pt x="6747" y="9223"/>
                  </a:cubicBezTo>
                  <a:cubicBezTo>
                    <a:pt x="6616" y="9192"/>
                    <a:pt x="6616" y="9192"/>
                    <a:pt x="6616" y="9192"/>
                  </a:cubicBezTo>
                  <a:cubicBezTo>
                    <a:pt x="6672" y="9029"/>
                    <a:pt x="6672" y="9029"/>
                    <a:pt x="6672" y="9029"/>
                  </a:cubicBezTo>
                  <a:lnTo>
                    <a:pt x="6803" y="9060"/>
                  </a:lnTo>
                  <a:close/>
                  <a:moveTo>
                    <a:pt x="6743" y="9236"/>
                  </a:moveTo>
                  <a:cubicBezTo>
                    <a:pt x="6686" y="9403"/>
                    <a:pt x="6686" y="9403"/>
                    <a:pt x="6686" y="9403"/>
                  </a:cubicBezTo>
                  <a:cubicBezTo>
                    <a:pt x="6555" y="9371"/>
                    <a:pt x="6555" y="9371"/>
                    <a:pt x="6555" y="9371"/>
                  </a:cubicBezTo>
                  <a:cubicBezTo>
                    <a:pt x="6612" y="9206"/>
                    <a:pt x="6612" y="9206"/>
                    <a:pt x="6612" y="9206"/>
                  </a:cubicBezTo>
                  <a:lnTo>
                    <a:pt x="6743" y="9236"/>
                  </a:lnTo>
                  <a:close/>
                  <a:moveTo>
                    <a:pt x="6694" y="9420"/>
                  </a:moveTo>
                  <a:cubicBezTo>
                    <a:pt x="6953" y="9483"/>
                    <a:pt x="6953" y="9483"/>
                    <a:pt x="6953" y="9483"/>
                  </a:cubicBezTo>
                  <a:cubicBezTo>
                    <a:pt x="6897" y="9658"/>
                    <a:pt x="6897" y="9658"/>
                    <a:pt x="6897" y="9658"/>
                  </a:cubicBezTo>
                  <a:cubicBezTo>
                    <a:pt x="6633" y="9600"/>
                    <a:pt x="6633" y="9600"/>
                    <a:pt x="6633" y="9600"/>
                  </a:cubicBezTo>
                  <a:lnTo>
                    <a:pt x="6694" y="9420"/>
                  </a:lnTo>
                  <a:close/>
                  <a:moveTo>
                    <a:pt x="6699" y="9406"/>
                  </a:moveTo>
                  <a:cubicBezTo>
                    <a:pt x="6756" y="9239"/>
                    <a:pt x="6756" y="9239"/>
                    <a:pt x="6756" y="9239"/>
                  </a:cubicBezTo>
                  <a:cubicBezTo>
                    <a:pt x="7011" y="9300"/>
                    <a:pt x="7011" y="9300"/>
                    <a:pt x="7011" y="9300"/>
                  </a:cubicBezTo>
                  <a:cubicBezTo>
                    <a:pt x="6957" y="9469"/>
                    <a:pt x="6957" y="9469"/>
                    <a:pt x="6957" y="9469"/>
                  </a:cubicBezTo>
                  <a:lnTo>
                    <a:pt x="6699" y="9406"/>
                  </a:lnTo>
                  <a:close/>
                  <a:moveTo>
                    <a:pt x="6760" y="9226"/>
                  </a:moveTo>
                  <a:cubicBezTo>
                    <a:pt x="6815" y="9063"/>
                    <a:pt x="6815" y="9063"/>
                    <a:pt x="6815" y="9063"/>
                  </a:cubicBezTo>
                  <a:cubicBezTo>
                    <a:pt x="7069" y="9121"/>
                    <a:pt x="7069" y="9121"/>
                    <a:pt x="7069" y="9121"/>
                  </a:cubicBezTo>
                  <a:cubicBezTo>
                    <a:pt x="7016" y="9287"/>
                    <a:pt x="7016" y="9287"/>
                    <a:pt x="7016" y="9287"/>
                  </a:cubicBezTo>
                  <a:lnTo>
                    <a:pt x="6760" y="9226"/>
                  </a:lnTo>
                  <a:close/>
                  <a:moveTo>
                    <a:pt x="6820" y="9049"/>
                  </a:moveTo>
                  <a:cubicBezTo>
                    <a:pt x="6869" y="8906"/>
                    <a:pt x="6869" y="8906"/>
                    <a:pt x="6869" y="8906"/>
                  </a:cubicBezTo>
                  <a:cubicBezTo>
                    <a:pt x="6966" y="8925"/>
                    <a:pt x="7073" y="8945"/>
                    <a:pt x="7122" y="8954"/>
                  </a:cubicBezTo>
                  <a:cubicBezTo>
                    <a:pt x="7073" y="9108"/>
                    <a:pt x="7073" y="9108"/>
                    <a:pt x="7073" y="9108"/>
                  </a:cubicBezTo>
                  <a:lnTo>
                    <a:pt x="6820" y="9049"/>
                  </a:lnTo>
                  <a:close/>
                  <a:moveTo>
                    <a:pt x="7131" y="9142"/>
                  </a:moveTo>
                  <a:cubicBezTo>
                    <a:pt x="7256" y="9205"/>
                    <a:pt x="7256" y="9205"/>
                    <a:pt x="7256" y="9205"/>
                  </a:cubicBezTo>
                  <a:cubicBezTo>
                    <a:pt x="7179" y="9356"/>
                    <a:pt x="7179" y="9356"/>
                    <a:pt x="7179" y="9356"/>
                  </a:cubicBezTo>
                  <a:cubicBezTo>
                    <a:pt x="7078" y="9308"/>
                    <a:pt x="7078" y="9308"/>
                    <a:pt x="7078" y="9308"/>
                  </a:cubicBezTo>
                  <a:lnTo>
                    <a:pt x="7131" y="9142"/>
                  </a:lnTo>
                  <a:close/>
                  <a:moveTo>
                    <a:pt x="7185" y="9374"/>
                  </a:moveTo>
                  <a:cubicBezTo>
                    <a:pt x="7299" y="9428"/>
                    <a:pt x="7299" y="9428"/>
                    <a:pt x="7299" y="9428"/>
                  </a:cubicBezTo>
                  <a:cubicBezTo>
                    <a:pt x="7234" y="9555"/>
                    <a:pt x="7234" y="9555"/>
                    <a:pt x="7234" y="9555"/>
                  </a:cubicBezTo>
                  <a:cubicBezTo>
                    <a:pt x="7123" y="9495"/>
                    <a:pt x="7123" y="9495"/>
                    <a:pt x="7123" y="9495"/>
                  </a:cubicBezTo>
                  <a:lnTo>
                    <a:pt x="7185" y="9374"/>
                  </a:lnTo>
                  <a:close/>
                  <a:moveTo>
                    <a:pt x="7191" y="9361"/>
                  </a:moveTo>
                  <a:cubicBezTo>
                    <a:pt x="7268" y="9210"/>
                    <a:pt x="7268" y="9210"/>
                    <a:pt x="7268" y="9210"/>
                  </a:cubicBezTo>
                  <a:cubicBezTo>
                    <a:pt x="7381" y="9266"/>
                    <a:pt x="7381" y="9266"/>
                    <a:pt x="7381" y="9266"/>
                  </a:cubicBezTo>
                  <a:cubicBezTo>
                    <a:pt x="7305" y="9416"/>
                    <a:pt x="7305" y="9416"/>
                    <a:pt x="7305" y="9416"/>
                  </a:cubicBezTo>
                  <a:lnTo>
                    <a:pt x="7191" y="9361"/>
                  </a:lnTo>
                  <a:close/>
                  <a:moveTo>
                    <a:pt x="7275" y="9198"/>
                  </a:moveTo>
                  <a:cubicBezTo>
                    <a:pt x="7350" y="9050"/>
                    <a:pt x="7350" y="9050"/>
                    <a:pt x="7350" y="9050"/>
                  </a:cubicBezTo>
                  <a:cubicBezTo>
                    <a:pt x="7393" y="9072"/>
                    <a:pt x="7433" y="9092"/>
                    <a:pt x="7463" y="9107"/>
                  </a:cubicBezTo>
                  <a:cubicBezTo>
                    <a:pt x="7388" y="9254"/>
                    <a:pt x="7388" y="9254"/>
                    <a:pt x="7388" y="9254"/>
                  </a:cubicBezTo>
                  <a:lnTo>
                    <a:pt x="7275" y="9198"/>
                  </a:lnTo>
                  <a:close/>
                  <a:moveTo>
                    <a:pt x="7356" y="9038"/>
                  </a:moveTo>
                  <a:cubicBezTo>
                    <a:pt x="7435" y="8883"/>
                    <a:pt x="7435" y="8883"/>
                    <a:pt x="7435" y="8883"/>
                  </a:cubicBezTo>
                  <a:cubicBezTo>
                    <a:pt x="7547" y="8941"/>
                    <a:pt x="7547" y="8941"/>
                    <a:pt x="7547" y="8941"/>
                  </a:cubicBezTo>
                  <a:cubicBezTo>
                    <a:pt x="7469" y="9094"/>
                    <a:pt x="7469" y="9094"/>
                    <a:pt x="7469" y="9094"/>
                  </a:cubicBezTo>
                  <a:cubicBezTo>
                    <a:pt x="7440" y="9079"/>
                    <a:pt x="7399" y="9059"/>
                    <a:pt x="7356" y="9038"/>
                  </a:cubicBezTo>
                  <a:close/>
                  <a:moveTo>
                    <a:pt x="7430" y="8865"/>
                  </a:moveTo>
                  <a:cubicBezTo>
                    <a:pt x="7249" y="8772"/>
                    <a:pt x="7249" y="8772"/>
                    <a:pt x="7249" y="8772"/>
                  </a:cubicBezTo>
                  <a:cubicBezTo>
                    <a:pt x="7303" y="8605"/>
                    <a:pt x="7303" y="8605"/>
                    <a:pt x="7303" y="8605"/>
                  </a:cubicBezTo>
                  <a:cubicBezTo>
                    <a:pt x="7511" y="8706"/>
                    <a:pt x="7511" y="8706"/>
                    <a:pt x="7511" y="8706"/>
                  </a:cubicBezTo>
                  <a:lnTo>
                    <a:pt x="7430" y="8865"/>
                  </a:lnTo>
                  <a:close/>
                  <a:moveTo>
                    <a:pt x="7307" y="8591"/>
                  </a:moveTo>
                  <a:cubicBezTo>
                    <a:pt x="7361" y="8421"/>
                    <a:pt x="7361" y="8421"/>
                    <a:pt x="7361" y="8421"/>
                  </a:cubicBezTo>
                  <a:cubicBezTo>
                    <a:pt x="7597" y="8537"/>
                    <a:pt x="7597" y="8537"/>
                    <a:pt x="7597" y="8537"/>
                  </a:cubicBezTo>
                  <a:cubicBezTo>
                    <a:pt x="7517" y="8694"/>
                    <a:pt x="7517" y="8694"/>
                    <a:pt x="7517" y="8694"/>
                  </a:cubicBezTo>
                  <a:lnTo>
                    <a:pt x="7307" y="8591"/>
                  </a:lnTo>
                  <a:close/>
                  <a:moveTo>
                    <a:pt x="7366" y="8408"/>
                  </a:moveTo>
                  <a:cubicBezTo>
                    <a:pt x="7417" y="8247"/>
                    <a:pt x="7417" y="8247"/>
                    <a:pt x="7417" y="8247"/>
                  </a:cubicBezTo>
                  <a:cubicBezTo>
                    <a:pt x="7682" y="8370"/>
                    <a:pt x="7682" y="8370"/>
                    <a:pt x="7682" y="8370"/>
                  </a:cubicBezTo>
                  <a:cubicBezTo>
                    <a:pt x="7603" y="8525"/>
                    <a:pt x="7603" y="8525"/>
                    <a:pt x="7603" y="8525"/>
                  </a:cubicBezTo>
                  <a:lnTo>
                    <a:pt x="7366" y="8408"/>
                  </a:lnTo>
                  <a:close/>
                  <a:moveTo>
                    <a:pt x="7359" y="8213"/>
                  </a:moveTo>
                  <a:cubicBezTo>
                    <a:pt x="7310" y="8202"/>
                    <a:pt x="7211" y="8181"/>
                    <a:pt x="7120" y="8162"/>
                  </a:cubicBezTo>
                  <a:cubicBezTo>
                    <a:pt x="7170" y="8015"/>
                    <a:pt x="7170" y="8015"/>
                    <a:pt x="7170" y="8015"/>
                  </a:cubicBezTo>
                  <a:cubicBezTo>
                    <a:pt x="7408" y="8060"/>
                    <a:pt x="7408" y="8060"/>
                    <a:pt x="7408" y="8060"/>
                  </a:cubicBezTo>
                  <a:lnTo>
                    <a:pt x="7359" y="8213"/>
                  </a:lnTo>
                  <a:close/>
                  <a:moveTo>
                    <a:pt x="7162" y="7999"/>
                  </a:moveTo>
                  <a:cubicBezTo>
                    <a:pt x="7032" y="7974"/>
                    <a:pt x="7032" y="7974"/>
                    <a:pt x="7032" y="7974"/>
                  </a:cubicBezTo>
                  <a:cubicBezTo>
                    <a:pt x="7066" y="7872"/>
                    <a:pt x="7066" y="7872"/>
                    <a:pt x="7066" y="7872"/>
                  </a:cubicBezTo>
                  <a:cubicBezTo>
                    <a:pt x="7191" y="7914"/>
                    <a:pt x="7191" y="7914"/>
                    <a:pt x="7191" y="7914"/>
                  </a:cubicBezTo>
                  <a:lnTo>
                    <a:pt x="7162" y="7999"/>
                  </a:lnTo>
                  <a:close/>
                  <a:moveTo>
                    <a:pt x="7157" y="8012"/>
                  </a:moveTo>
                  <a:cubicBezTo>
                    <a:pt x="7107" y="8160"/>
                    <a:pt x="7107" y="8160"/>
                    <a:pt x="7107" y="8160"/>
                  </a:cubicBezTo>
                  <a:cubicBezTo>
                    <a:pt x="7058" y="8150"/>
                    <a:pt x="7011" y="8140"/>
                    <a:pt x="6977" y="8133"/>
                  </a:cubicBezTo>
                  <a:cubicBezTo>
                    <a:pt x="7027" y="7988"/>
                    <a:pt x="7027" y="7988"/>
                    <a:pt x="7027" y="7988"/>
                  </a:cubicBezTo>
                  <a:lnTo>
                    <a:pt x="7157" y="8012"/>
                  </a:lnTo>
                  <a:close/>
                  <a:moveTo>
                    <a:pt x="7103" y="8173"/>
                  </a:moveTo>
                  <a:cubicBezTo>
                    <a:pt x="7047" y="8338"/>
                    <a:pt x="7047" y="8338"/>
                    <a:pt x="7047" y="8338"/>
                  </a:cubicBezTo>
                  <a:cubicBezTo>
                    <a:pt x="6916" y="8312"/>
                    <a:pt x="6916" y="8312"/>
                    <a:pt x="6916" y="8312"/>
                  </a:cubicBezTo>
                  <a:cubicBezTo>
                    <a:pt x="6973" y="8147"/>
                    <a:pt x="6973" y="8147"/>
                    <a:pt x="6973" y="8147"/>
                  </a:cubicBezTo>
                  <a:cubicBezTo>
                    <a:pt x="7006" y="8153"/>
                    <a:pt x="7053" y="8163"/>
                    <a:pt x="7103" y="8173"/>
                  </a:cubicBezTo>
                  <a:close/>
                  <a:moveTo>
                    <a:pt x="6903" y="8310"/>
                  </a:moveTo>
                  <a:cubicBezTo>
                    <a:pt x="6888" y="8307"/>
                    <a:pt x="6888" y="8307"/>
                    <a:pt x="6888" y="8307"/>
                  </a:cubicBezTo>
                  <a:cubicBezTo>
                    <a:pt x="6908" y="8248"/>
                    <a:pt x="6927" y="8192"/>
                    <a:pt x="6944" y="8141"/>
                  </a:cubicBezTo>
                  <a:cubicBezTo>
                    <a:pt x="6949" y="8142"/>
                    <a:pt x="6954" y="8143"/>
                    <a:pt x="6960" y="8144"/>
                  </a:cubicBezTo>
                  <a:lnTo>
                    <a:pt x="6903" y="8310"/>
                  </a:lnTo>
                  <a:close/>
                  <a:moveTo>
                    <a:pt x="6899" y="8323"/>
                  </a:moveTo>
                  <a:cubicBezTo>
                    <a:pt x="6840" y="8495"/>
                    <a:pt x="6840" y="8495"/>
                    <a:pt x="6840" y="8495"/>
                  </a:cubicBezTo>
                  <a:cubicBezTo>
                    <a:pt x="6835" y="8494"/>
                    <a:pt x="6830" y="8494"/>
                    <a:pt x="6825" y="8493"/>
                  </a:cubicBezTo>
                  <a:cubicBezTo>
                    <a:pt x="6845" y="8433"/>
                    <a:pt x="6865" y="8375"/>
                    <a:pt x="6884" y="8320"/>
                  </a:cubicBezTo>
                  <a:lnTo>
                    <a:pt x="6899" y="8323"/>
                  </a:lnTo>
                  <a:close/>
                  <a:moveTo>
                    <a:pt x="6836" y="8509"/>
                  </a:moveTo>
                  <a:cubicBezTo>
                    <a:pt x="6779" y="8676"/>
                    <a:pt x="6779" y="8676"/>
                    <a:pt x="6779" y="8676"/>
                  </a:cubicBezTo>
                  <a:cubicBezTo>
                    <a:pt x="6773" y="8675"/>
                    <a:pt x="6768" y="8674"/>
                    <a:pt x="6764" y="8673"/>
                  </a:cubicBezTo>
                  <a:cubicBezTo>
                    <a:pt x="6783" y="8616"/>
                    <a:pt x="6802" y="8560"/>
                    <a:pt x="6821" y="8506"/>
                  </a:cubicBezTo>
                  <a:cubicBezTo>
                    <a:pt x="6825" y="8507"/>
                    <a:pt x="6830" y="8508"/>
                    <a:pt x="6836" y="8509"/>
                  </a:cubicBezTo>
                  <a:close/>
                  <a:moveTo>
                    <a:pt x="6774" y="8689"/>
                  </a:moveTo>
                  <a:cubicBezTo>
                    <a:pt x="6716" y="8861"/>
                    <a:pt x="6716" y="8861"/>
                    <a:pt x="6716" y="8861"/>
                  </a:cubicBezTo>
                  <a:cubicBezTo>
                    <a:pt x="6710" y="8860"/>
                    <a:pt x="6706" y="8859"/>
                    <a:pt x="6701" y="8858"/>
                  </a:cubicBezTo>
                  <a:cubicBezTo>
                    <a:pt x="6721" y="8800"/>
                    <a:pt x="6740" y="8743"/>
                    <a:pt x="6759" y="8686"/>
                  </a:cubicBezTo>
                  <a:cubicBezTo>
                    <a:pt x="6764" y="8687"/>
                    <a:pt x="6769" y="8688"/>
                    <a:pt x="6774" y="8689"/>
                  </a:cubicBezTo>
                  <a:close/>
                  <a:moveTo>
                    <a:pt x="6711" y="8874"/>
                  </a:moveTo>
                  <a:cubicBezTo>
                    <a:pt x="6664" y="9013"/>
                    <a:pt x="6664" y="9013"/>
                    <a:pt x="6664" y="9013"/>
                  </a:cubicBezTo>
                  <a:cubicBezTo>
                    <a:pt x="6650" y="9010"/>
                    <a:pt x="6650" y="9010"/>
                    <a:pt x="6650" y="9010"/>
                  </a:cubicBezTo>
                  <a:cubicBezTo>
                    <a:pt x="6665" y="8964"/>
                    <a:pt x="6681" y="8917"/>
                    <a:pt x="6697" y="8871"/>
                  </a:cubicBezTo>
                  <a:cubicBezTo>
                    <a:pt x="6701" y="8872"/>
                    <a:pt x="6706" y="8873"/>
                    <a:pt x="6711" y="8874"/>
                  </a:cubicBezTo>
                  <a:close/>
                  <a:moveTo>
                    <a:pt x="6659" y="9026"/>
                  </a:moveTo>
                  <a:cubicBezTo>
                    <a:pt x="6604" y="9189"/>
                    <a:pt x="6604" y="9189"/>
                    <a:pt x="6604" y="9189"/>
                  </a:cubicBezTo>
                  <a:cubicBezTo>
                    <a:pt x="6590" y="9186"/>
                    <a:pt x="6590" y="9186"/>
                    <a:pt x="6590" y="9186"/>
                  </a:cubicBezTo>
                  <a:cubicBezTo>
                    <a:pt x="6608" y="9132"/>
                    <a:pt x="6627" y="9078"/>
                    <a:pt x="6645" y="9023"/>
                  </a:cubicBezTo>
                  <a:lnTo>
                    <a:pt x="6659" y="9026"/>
                  </a:lnTo>
                  <a:close/>
                  <a:moveTo>
                    <a:pt x="6599" y="9202"/>
                  </a:moveTo>
                  <a:cubicBezTo>
                    <a:pt x="6543" y="9368"/>
                    <a:pt x="6543" y="9368"/>
                    <a:pt x="6543" y="9368"/>
                  </a:cubicBezTo>
                  <a:cubicBezTo>
                    <a:pt x="6529" y="9365"/>
                    <a:pt x="6529" y="9365"/>
                    <a:pt x="6529" y="9365"/>
                  </a:cubicBezTo>
                  <a:cubicBezTo>
                    <a:pt x="6548" y="9311"/>
                    <a:pt x="6566" y="9256"/>
                    <a:pt x="6586" y="9199"/>
                  </a:cubicBezTo>
                  <a:lnTo>
                    <a:pt x="6599" y="9202"/>
                  </a:lnTo>
                  <a:close/>
                  <a:moveTo>
                    <a:pt x="6538" y="9381"/>
                  </a:moveTo>
                  <a:cubicBezTo>
                    <a:pt x="6476" y="9565"/>
                    <a:pt x="6476" y="9565"/>
                    <a:pt x="6476" y="9565"/>
                  </a:cubicBezTo>
                  <a:cubicBezTo>
                    <a:pt x="6462" y="9562"/>
                    <a:pt x="6462" y="9562"/>
                    <a:pt x="6462" y="9562"/>
                  </a:cubicBezTo>
                  <a:cubicBezTo>
                    <a:pt x="6482" y="9504"/>
                    <a:pt x="6503" y="9442"/>
                    <a:pt x="6525" y="9378"/>
                  </a:cubicBezTo>
                  <a:lnTo>
                    <a:pt x="6538" y="9381"/>
                  </a:lnTo>
                  <a:close/>
                  <a:moveTo>
                    <a:pt x="6471" y="9578"/>
                  </a:moveTo>
                  <a:cubicBezTo>
                    <a:pt x="6403" y="9777"/>
                    <a:pt x="6403" y="9777"/>
                    <a:pt x="6403" y="9777"/>
                  </a:cubicBezTo>
                  <a:cubicBezTo>
                    <a:pt x="6391" y="9774"/>
                    <a:pt x="6391" y="9774"/>
                    <a:pt x="6391" y="9774"/>
                  </a:cubicBezTo>
                  <a:cubicBezTo>
                    <a:pt x="6411" y="9715"/>
                    <a:pt x="6433" y="9648"/>
                    <a:pt x="6458" y="9575"/>
                  </a:cubicBezTo>
                  <a:lnTo>
                    <a:pt x="6471" y="9578"/>
                  </a:lnTo>
                  <a:close/>
                  <a:moveTo>
                    <a:pt x="6399" y="9790"/>
                  </a:moveTo>
                  <a:cubicBezTo>
                    <a:pt x="6317" y="10029"/>
                    <a:pt x="6317" y="10029"/>
                    <a:pt x="6317" y="10029"/>
                  </a:cubicBezTo>
                  <a:cubicBezTo>
                    <a:pt x="6305" y="10027"/>
                    <a:pt x="6305" y="10027"/>
                    <a:pt x="6305" y="10027"/>
                  </a:cubicBezTo>
                  <a:cubicBezTo>
                    <a:pt x="6316" y="9994"/>
                    <a:pt x="6345" y="9908"/>
                    <a:pt x="6386" y="9787"/>
                  </a:cubicBezTo>
                  <a:lnTo>
                    <a:pt x="6399" y="9790"/>
                  </a:lnTo>
                  <a:close/>
                  <a:moveTo>
                    <a:pt x="6314" y="10043"/>
                  </a:moveTo>
                  <a:cubicBezTo>
                    <a:pt x="6270" y="10274"/>
                    <a:pt x="6270" y="10274"/>
                    <a:pt x="6270" y="10274"/>
                  </a:cubicBezTo>
                  <a:cubicBezTo>
                    <a:pt x="6255" y="10273"/>
                    <a:pt x="6255" y="10273"/>
                    <a:pt x="6255" y="10273"/>
                  </a:cubicBezTo>
                  <a:cubicBezTo>
                    <a:pt x="6300" y="10041"/>
                    <a:pt x="6300" y="10041"/>
                    <a:pt x="6300" y="10041"/>
                  </a:cubicBezTo>
                  <a:lnTo>
                    <a:pt x="6314" y="10043"/>
                  </a:lnTo>
                  <a:close/>
                  <a:moveTo>
                    <a:pt x="6429" y="10287"/>
                  </a:moveTo>
                  <a:cubicBezTo>
                    <a:pt x="6475" y="10066"/>
                    <a:pt x="6475" y="10066"/>
                    <a:pt x="6475" y="10066"/>
                  </a:cubicBezTo>
                  <a:cubicBezTo>
                    <a:pt x="6476" y="10065"/>
                    <a:pt x="6476" y="10065"/>
                    <a:pt x="6476" y="10065"/>
                  </a:cubicBezTo>
                  <a:cubicBezTo>
                    <a:pt x="6779" y="10106"/>
                    <a:pt x="6779" y="10106"/>
                    <a:pt x="6779" y="10106"/>
                  </a:cubicBezTo>
                  <a:cubicBezTo>
                    <a:pt x="6756" y="10315"/>
                    <a:pt x="6756" y="10315"/>
                    <a:pt x="6756" y="10315"/>
                  </a:cubicBezTo>
                  <a:lnTo>
                    <a:pt x="6429" y="10287"/>
                  </a:lnTo>
                  <a:close/>
                  <a:moveTo>
                    <a:pt x="6826" y="9879"/>
                  </a:moveTo>
                  <a:cubicBezTo>
                    <a:pt x="6561" y="9815"/>
                    <a:pt x="6561" y="9815"/>
                    <a:pt x="6561" y="9815"/>
                  </a:cubicBezTo>
                  <a:cubicBezTo>
                    <a:pt x="6629" y="9613"/>
                    <a:pt x="6629" y="9613"/>
                    <a:pt x="6629" y="9613"/>
                  </a:cubicBezTo>
                  <a:cubicBezTo>
                    <a:pt x="6893" y="9671"/>
                    <a:pt x="6893" y="9671"/>
                    <a:pt x="6893" y="9671"/>
                  </a:cubicBezTo>
                  <a:lnTo>
                    <a:pt x="6826" y="9879"/>
                  </a:lnTo>
                  <a:close/>
                  <a:moveTo>
                    <a:pt x="6955" y="9692"/>
                  </a:moveTo>
                  <a:cubicBezTo>
                    <a:pt x="7096" y="9759"/>
                    <a:pt x="7096" y="9759"/>
                    <a:pt x="7096" y="9759"/>
                  </a:cubicBezTo>
                  <a:cubicBezTo>
                    <a:pt x="6887" y="9903"/>
                    <a:pt x="6887" y="9903"/>
                    <a:pt x="6887" y="9903"/>
                  </a:cubicBezTo>
                  <a:lnTo>
                    <a:pt x="6955" y="9692"/>
                  </a:lnTo>
                  <a:close/>
                  <a:moveTo>
                    <a:pt x="6959" y="9679"/>
                  </a:moveTo>
                  <a:cubicBezTo>
                    <a:pt x="7015" y="9504"/>
                    <a:pt x="7015" y="9504"/>
                    <a:pt x="7015" y="9504"/>
                  </a:cubicBezTo>
                  <a:cubicBezTo>
                    <a:pt x="7245" y="9607"/>
                    <a:pt x="7245" y="9607"/>
                    <a:pt x="7245" y="9607"/>
                  </a:cubicBezTo>
                  <a:cubicBezTo>
                    <a:pt x="7206" y="9683"/>
                    <a:pt x="7206" y="9683"/>
                    <a:pt x="7206" y="9683"/>
                  </a:cubicBezTo>
                  <a:cubicBezTo>
                    <a:pt x="7110" y="9750"/>
                    <a:pt x="7110" y="9750"/>
                    <a:pt x="7110" y="9750"/>
                  </a:cubicBezTo>
                  <a:lnTo>
                    <a:pt x="6959" y="9679"/>
                  </a:lnTo>
                  <a:close/>
                  <a:moveTo>
                    <a:pt x="7019" y="9491"/>
                  </a:moveTo>
                  <a:cubicBezTo>
                    <a:pt x="7073" y="9321"/>
                    <a:pt x="7073" y="9321"/>
                    <a:pt x="7073" y="9321"/>
                  </a:cubicBezTo>
                  <a:cubicBezTo>
                    <a:pt x="7173" y="9368"/>
                    <a:pt x="7173" y="9368"/>
                    <a:pt x="7173" y="9368"/>
                  </a:cubicBezTo>
                  <a:cubicBezTo>
                    <a:pt x="7108" y="9495"/>
                    <a:pt x="7108" y="9495"/>
                    <a:pt x="7108" y="9495"/>
                  </a:cubicBezTo>
                  <a:cubicBezTo>
                    <a:pt x="7105" y="9501"/>
                    <a:pt x="7105" y="9501"/>
                    <a:pt x="7105" y="9501"/>
                  </a:cubicBezTo>
                  <a:cubicBezTo>
                    <a:pt x="7240" y="9573"/>
                    <a:pt x="7240" y="9573"/>
                    <a:pt x="7240" y="9573"/>
                  </a:cubicBezTo>
                  <a:cubicBezTo>
                    <a:pt x="7311" y="9434"/>
                    <a:pt x="7311" y="9434"/>
                    <a:pt x="7311" y="9434"/>
                  </a:cubicBezTo>
                  <a:cubicBezTo>
                    <a:pt x="7328" y="9442"/>
                    <a:pt x="7328" y="9442"/>
                    <a:pt x="7328" y="9442"/>
                  </a:cubicBezTo>
                  <a:cubicBezTo>
                    <a:pt x="7251" y="9594"/>
                    <a:pt x="7251" y="9594"/>
                    <a:pt x="7251" y="9594"/>
                  </a:cubicBezTo>
                  <a:lnTo>
                    <a:pt x="7019" y="9491"/>
                  </a:lnTo>
                  <a:close/>
                  <a:moveTo>
                    <a:pt x="7317" y="9421"/>
                  </a:moveTo>
                  <a:cubicBezTo>
                    <a:pt x="7393" y="9272"/>
                    <a:pt x="7393" y="9272"/>
                    <a:pt x="7393" y="9272"/>
                  </a:cubicBezTo>
                  <a:cubicBezTo>
                    <a:pt x="7410" y="9281"/>
                    <a:pt x="7410" y="9281"/>
                    <a:pt x="7410" y="9281"/>
                  </a:cubicBezTo>
                  <a:cubicBezTo>
                    <a:pt x="7335" y="9430"/>
                    <a:pt x="7335" y="9430"/>
                    <a:pt x="7335" y="9430"/>
                  </a:cubicBezTo>
                  <a:lnTo>
                    <a:pt x="7317" y="9421"/>
                  </a:lnTo>
                  <a:close/>
                  <a:moveTo>
                    <a:pt x="7399" y="9260"/>
                  </a:moveTo>
                  <a:cubicBezTo>
                    <a:pt x="7475" y="9113"/>
                    <a:pt x="7475" y="9113"/>
                    <a:pt x="7475" y="9113"/>
                  </a:cubicBezTo>
                  <a:cubicBezTo>
                    <a:pt x="7481" y="9116"/>
                    <a:pt x="7487" y="9119"/>
                    <a:pt x="7491" y="9121"/>
                  </a:cubicBezTo>
                  <a:cubicBezTo>
                    <a:pt x="7416" y="9268"/>
                    <a:pt x="7416" y="9268"/>
                    <a:pt x="7416" y="9268"/>
                  </a:cubicBezTo>
                  <a:lnTo>
                    <a:pt x="7399" y="9260"/>
                  </a:lnTo>
                  <a:close/>
                  <a:moveTo>
                    <a:pt x="7481" y="9100"/>
                  </a:moveTo>
                  <a:cubicBezTo>
                    <a:pt x="7559" y="8947"/>
                    <a:pt x="7559" y="8947"/>
                    <a:pt x="7559" y="8947"/>
                  </a:cubicBezTo>
                  <a:cubicBezTo>
                    <a:pt x="7575" y="8955"/>
                    <a:pt x="7575" y="8955"/>
                    <a:pt x="7575" y="8955"/>
                  </a:cubicBezTo>
                  <a:cubicBezTo>
                    <a:pt x="7498" y="9108"/>
                    <a:pt x="7498" y="9108"/>
                    <a:pt x="7498" y="9108"/>
                  </a:cubicBezTo>
                  <a:cubicBezTo>
                    <a:pt x="7493" y="9106"/>
                    <a:pt x="7487" y="9103"/>
                    <a:pt x="7481" y="9100"/>
                  </a:cubicBezTo>
                  <a:close/>
                  <a:moveTo>
                    <a:pt x="7554" y="8928"/>
                  </a:moveTo>
                  <a:cubicBezTo>
                    <a:pt x="7441" y="8871"/>
                    <a:pt x="7441" y="8871"/>
                    <a:pt x="7441" y="8871"/>
                  </a:cubicBezTo>
                  <a:cubicBezTo>
                    <a:pt x="7522" y="8712"/>
                    <a:pt x="7522" y="8712"/>
                    <a:pt x="7522" y="8712"/>
                  </a:cubicBezTo>
                  <a:cubicBezTo>
                    <a:pt x="7636" y="8767"/>
                    <a:pt x="7636" y="8767"/>
                    <a:pt x="7636" y="8767"/>
                  </a:cubicBezTo>
                  <a:lnTo>
                    <a:pt x="7554" y="8928"/>
                  </a:lnTo>
                  <a:close/>
                  <a:moveTo>
                    <a:pt x="7529" y="8699"/>
                  </a:moveTo>
                  <a:cubicBezTo>
                    <a:pt x="7608" y="8543"/>
                    <a:pt x="7608" y="8543"/>
                    <a:pt x="7608" y="8543"/>
                  </a:cubicBezTo>
                  <a:cubicBezTo>
                    <a:pt x="7721" y="8599"/>
                    <a:pt x="7721" y="8599"/>
                    <a:pt x="7721" y="8599"/>
                  </a:cubicBezTo>
                  <a:cubicBezTo>
                    <a:pt x="7642" y="8755"/>
                    <a:pt x="7642" y="8755"/>
                    <a:pt x="7642" y="8755"/>
                  </a:cubicBezTo>
                  <a:lnTo>
                    <a:pt x="7529" y="8699"/>
                  </a:lnTo>
                  <a:close/>
                  <a:moveTo>
                    <a:pt x="7615" y="8531"/>
                  </a:moveTo>
                  <a:cubicBezTo>
                    <a:pt x="7693" y="8376"/>
                    <a:pt x="7693" y="8376"/>
                    <a:pt x="7693" y="8376"/>
                  </a:cubicBezTo>
                  <a:cubicBezTo>
                    <a:pt x="7808" y="8429"/>
                    <a:pt x="7808" y="8429"/>
                    <a:pt x="7808" y="8429"/>
                  </a:cubicBezTo>
                  <a:cubicBezTo>
                    <a:pt x="7728" y="8587"/>
                    <a:pt x="7728" y="8587"/>
                    <a:pt x="7728" y="8587"/>
                  </a:cubicBezTo>
                  <a:lnTo>
                    <a:pt x="7615" y="8531"/>
                  </a:lnTo>
                  <a:close/>
                  <a:moveTo>
                    <a:pt x="7688" y="8358"/>
                  </a:moveTo>
                  <a:cubicBezTo>
                    <a:pt x="7422" y="8234"/>
                    <a:pt x="7422" y="8234"/>
                    <a:pt x="7422" y="8234"/>
                  </a:cubicBezTo>
                  <a:cubicBezTo>
                    <a:pt x="7472" y="8076"/>
                    <a:pt x="7472" y="8076"/>
                    <a:pt x="7472" y="8076"/>
                  </a:cubicBezTo>
                  <a:cubicBezTo>
                    <a:pt x="7759" y="8218"/>
                    <a:pt x="7759" y="8218"/>
                    <a:pt x="7759" y="8218"/>
                  </a:cubicBezTo>
                  <a:lnTo>
                    <a:pt x="7688" y="8358"/>
                  </a:lnTo>
                  <a:close/>
                  <a:moveTo>
                    <a:pt x="7215" y="7842"/>
                  </a:moveTo>
                  <a:cubicBezTo>
                    <a:pt x="7293" y="7842"/>
                    <a:pt x="7378" y="7850"/>
                    <a:pt x="7470" y="7869"/>
                  </a:cubicBezTo>
                  <a:cubicBezTo>
                    <a:pt x="7412" y="8047"/>
                    <a:pt x="7412" y="8047"/>
                    <a:pt x="7412" y="8047"/>
                  </a:cubicBezTo>
                  <a:cubicBezTo>
                    <a:pt x="7175" y="8002"/>
                    <a:pt x="7175" y="8002"/>
                    <a:pt x="7175" y="8002"/>
                  </a:cubicBezTo>
                  <a:cubicBezTo>
                    <a:pt x="7207" y="7906"/>
                    <a:pt x="7207" y="7906"/>
                    <a:pt x="7207" y="7906"/>
                  </a:cubicBezTo>
                  <a:cubicBezTo>
                    <a:pt x="7058" y="7855"/>
                    <a:pt x="7058" y="7855"/>
                    <a:pt x="7058" y="7855"/>
                  </a:cubicBezTo>
                  <a:cubicBezTo>
                    <a:pt x="7019" y="7972"/>
                    <a:pt x="7019" y="7972"/>
                    <a:pt x="7019" y="7972"/>
                  </a:cubicBezTo>
                  <a:cubicBezTo>
                    <a:pt x="7003" y="7969"/>
                    <a:pt x="7003" y="7969"/>
                    <a:pt x="7003" y="7969"/>
                  </a:cubicBezTo>
                  <a:cubicBezTo>
                    <a:pt x="7020" y="7918"/>
                    <a:pt x="7033" y="7879"/>
                    <a:pt x="7041" y="7855"/>
                  </a:cubicBezTo>
                  <a:cubicBezTo>
                    <a:pt x="7095" y="7847"/>
                    <a:pt x="7153" y="7842"/>
                    <a:pt x="7215" y="7842"/>
                  </a:cubicBezTo>
                  <a:close/>
                  <a:moveTo>
                    <a:pt x="7144" y="7643"/>
                  </a:moveTo>
                  <a:cubicBezTo>
                    <a:pt x="7144" y="7643"/>
                    <a:pt x="7144" y="7642"/>
                    <a:pt x="7144" y="7641"/>
                  </a:cubicBezTo>
                  <a:cubicBezTo>
                    <a:pt x="7144" y="7641"/>
                    <a:pt x="7144" y="7641"/>
                    <a:pt x="7145" y="7641"/>
                  </a:cubicBezTo>
                  <a:cubicBezTo>
                    <a:pt x="7148" y="7640"/>
                    <a:pt x="7153" y="7640"/>
                    <a:pt x="7159" y="7638"/>
                  </a:cubicBezTo>
                  <a:cubicBezTo>
                    <a:pt x="7171" y="7636"/>
                    <a:pt x="7189" y="7633"/>
                    <a:pt x="7211" y="7628"/>
                  </a:cubicBezTo>
                  <a:cubicBezTo>
                    <a:pt x="7255" y="7620"/>
                    <a:pt x="7317" y="7606"/>
                    <a:pt x="7392" y="7587"/>
                  </a:cubicBezTo>
                  <a:cubicBezTo>
                    <a:pt x="7427" y="7578"/>
                    <a:pt x="7466" y="7567"/>
                    <a:pt x="7506" y="7555"/>
                  </a:cubicBezTo>
                  <a:cubicBezTo>
                    <a:pt x="7598" y="7743"/>
                    <a:pt x="7598" y="7743"/>
                    <a:pt x="7598" y="7743"/>
                  </a:cubicBezTo>
                  <a:cubicBezTo>
                    <a:pt x="7587" y="7739"/>
                    <a:pt x="7575" y="7736"/>
                    <a:pt x="7563" y="7733"/>
                  </a:cubicBezTo>
                  <a:cubicBezTo>
                    <a:pt x="7438" y="7702"/>
                    <a:pt x="7321" y="7689"/>
                    <a:pt x="7215" y="7689"/>
                  </a:cubicBezTo>
                  <a:cubicBezTo>
                    <a:pt x="7193" y="7689"/>
                    <a:pt x="7170" y="7690"/>
                    <a:pt x="7149" y="7691"/>
                  </a:cubicBezTo>
                  <a:cubicBezTo>
                    <a:pt x="7146" y="7673"/>
                    <a:pt x="7144" y="7654"/>
                    <a:pt x="7144" y="7643"/>
                  </a:cubicBezTo>
                  <a:close/>
                  <a:moveTo>
                    <a:pt x="7014" y="7985"/>
                  </a:moveTo>
                  <a:cubicBezTo>
                    <a:pt x="6964" y="8131"/>
                    <a:pt x="6964" y="8131"/>
                    <a:pt x="6964" y="8131"/>
                  </a:cubicBezTo>
                  <a:cubicBezTo>
                    <a:pt x="6959" y="8130"/>
                    <a:pt x="6953" y="8129"/>
                    <a:pt x="6949" y="8128"/>
                  </a:cubicBezTo>
                  <a:cubicBezTo>
                    <a:pt x="6967" y="8073"/>
                    <a:pt x="6984" y="8024"/>
                    <a:pt x="6998" y="7982"/>
                  </a:cubicBezTo>
                  <a:lnTo>
                    <a:pt x="7014" y="7985"/>
                  </a:lnTo>
                  <a:close/>
                  <a:moveTo>
                    <a:pt x="6963" y="7880"/>
                  </a:moveTo>
                  <a:cubicBezTo>
                    <a:pt x="6947" y="7928"/>
                    <a:pt x="6924" y="7996"/>
                    <a:pt x="6896" y="8079"/>
                  </a:cubicBezTo>
                  <a:cubicBezTo>
                    <a:pt x="6840" y="8245"/>
                    <a:pt x="6764" y="8470"/>
                    <a:pt x="6683" y="8708"/>
                  </a:cubicBezTo>
                  <a:cubicBezTo>
                    <a:pt x="6521" y="9185"/>
                    <a:pt x="6341" y="9714"/>
                    <a:pt x="6270" y="9926"/>
                  </a:cubicBezTo>
                  <a:cubicBezTo>
                    <a:pt x="6263" y="9945"/>
                    <a:pt x="6258" y="9961"/>
                    <a:pt x="6253" y="9975"/>
                  </a:cubicBezTo>
                  <a:cubicBezTo>
                    <a:pt x="6241" y="9975"/>
                    <a:pt x="6161" y="9976"/>
                    <a:pt x="6036" y="9982"/>
                  </a:cubicBezTo>
                  <a:cubicBezTo>
                    <a:pt x="6679" y="8168"/>
                    <a:pt x="6679" y="8168"/>
                    <a:pt x="6679" y="8168"/>
                  </a:cubicBezTo>
                  <a:cubicBezTo>
                    <a:pt x="6699" y="8164"/>
                    <a:pt x="6721" y="8156"/>
                    <a:pt x="6742" y="8139"/>
                  </a:cubicBezTo>
                  <a:cubicBezTo>
                    <a:pt x="6757" y="8128"/>
                    <a:pt x="6757" y="8128"/>
                    <a:pt x="6757" y="8128"/>
                  </a:cubicBezTo>
                  <a:cubicBezTo>
                    <a:pt x="6764" y="8111"/>
                    <a:pt x="6764" y="8111"/>
                    <a:pt x="6764" y="8111"/>
                  </a:cubicBezTo>
                  <a:cubicBezTo>
                    <a:pt x="6764" y="8111"/>
                    <a:pt x="6773" y="8090"/>
                    <a:pt x="6788" y="8060"/>
                  </a:cubicBezTo>
                  <a:cubicBezTo>
                    <a:pt x="6802" y="8030"/>
                    <a:pt x="6821" y="7992"/>
                    <a:pt x="6840" y="7957"/>
                  </a:cubicBezTo>
                  <a:cubicBezTo>
                    <a:pt x="6840" y="7957"/>
                    <a:pt x="6840" y="7957"/>
                    <a:pt x="6840" y="7956"/>
                  </a:cubicBezTo>
                  <a:cubicBezTo>
                    <a:pt x="6841" y="7955"/>
                    <a:pt x="6843" y="7952"/>
                    <a:pt x="6846" y="7949"/>
                  </a:cubicBezTo>
                  <a:cubicBezTo>
                    <a:pt x="6851" y="7942"/>
                    <a:pt x="6861" y="7931"/>
                    <a:pt x="6874" y="7920"/>
                  </a:cubicBezTo>
                  <a:cubicBezTo>
                    <a:pt x="6894" y="7902"/>
                    <a:pt x="6925" y="7883"/>
                    <a:pt x="6967" y="7870"/>
                  </a:cubicBezTo>
                  <a:cubicBezTo>
                    <a:pt x="6965" y="7873"/>
                    <a:pt x="6964" y="7876"/>
                    <a:pt x="6963" y="7880"/>
                  </a:cubicBezTo>
                  <a:close/>
                  <a:moveTo>
                    <a:pt x="5929" y="8351"/>
                  </a:moveTo>
                  <a:cubicBezTo>
                    <a:pt x="5926" y="8361"/>
                    <a:pt x="5922" y="8376"/>
                    <a:pt x="5918" y="8395"/>
                  </a:cubicBezTo>
                  <a:cubicBezTo>
                    <a:pt x="5912" y="8419"/>
                    <a:pt x="5904" y="8449"/>
                    <a:pt x="5896" y="8482"/>
                  </a:cubicBezTo>
                  <a:cubicBezTo>
                    <a:pt x="5896" y="8473"/>
                    <a:pt x="5896" y="8473"/>
                    <a:pt x="5896" y="8473"/>
                  </a:cubicBezTo>
                  <a:cubicBezTo>
                    <a:pt x="5895" y="8473"/>
                    <a:pt x="5770" y="8453"/>
                    <a:pt x="5649" y="8433"/>
                  </a:cubicBezTo>
                  <a:cubicBezTo>
                    <a:pt x="5549" y="8417"/>
                    <a:pt x="5450" y="8400"/>
                    <a:pt x="5418" y="8395"/>
                  </a:cubicBezTo>
                  <a:cubicBezTo>
                    <a:pt x="5412" y="8362"/>
                    <a:pt x="5406" y="8333"/>
                    <a:pt x="5401" y="8309"/>
                  </a:cubicBezTo>
                  <a:cubicBezTo>
                    <a:pt x="5566" y="8322"/>
                    <a:pt x="5758" y="8339"/>
                    <a:pt x="5929" y="8349"/>
                  </a:cubicBezTo>
                  <a:cubicBezTo>
                    <a:pt x="5929" y="8350"/>
                    <a:pt x="5929" y="8350"/>
                    <a:pt x="5929" y="8351"/>
                  </a:cubicBezTo>
                  <a:close/>
                  <a:moveTo>
                    <a:pt x="5413" y="8644"/>
                  </a:moveTo>
                  <a:cubicBezTo>
                    <a:pt x="5419" y="8687"/>
                    <a:pt x="5423" y="8727"/>
                    <a:pt x="5423" y="8763"/>
                  </a:cubicBezTo>
                  <a:cubicBezTo>
                    <a:pt x="5423" y="8825"/>
                    <a:pt x="5411" y="8873"/>
                    <a:pt x="5380" y="8906"/>
                  </a:cubicBezTo>
                  <a:cubicBezTo>
                    <a:pt x="5369" y="8919"/>
                    <a:pt x="5354" y="8936"/>
                    <a:pt x="5335" y="8956"/>
                  </a:cubicBezTo>
                  <a:cubicBezTo>
                    <a:pt x="5334" y="8954"/>
                    <a:pt x="5334" y="8952"/>
                    <a:pt x="5332" y="8949"/>
                  </a:cubicBezTo>
                  <a:cubicBezTo>
                    <a:pt x="5328" y="8940"/>
                    <a:pt x="5323" y="8927"/>
                    <a:pt x="5317" y="8912"/>
                  </a:cubicBezTo>
                  <a:cubicBezTo>
                    <a:pt x="5304" y="8882"/>
                    <a:pt x="5288" y="8841"/>
                    <a:pt x="5272" y="8800"/>
                  </a:cubicBezTo>
                  <a:cubicBezTo>
                    <a:pt x="5241" y="8723"/>
                    <a:pt x="5212" y="8647"/>
                    <a:pt x="5209" y="8638"/>
                  </a:cubicBezTo>
                  <a:cubicBezTo>
                    <a:pt x="5218" y="8633"/>
                    <a:pt x="5227" y="8628"/>
                    <a:pt x="5236" y="8623"/>
                  </a:cubicBezTo>
                  <a:cubicBezTo>
                    <a:pt x="5302" y="8585"/>
                    <a:pt x="5368" y="8547"/>
                    <a:pt x="5396" y="8531"/>
                  </a:cubicBezTo>
                  <a:cubicBezTo>
                    <a:pt x="5403" y="8574"/>
                    <a:pt x="5410" y="8614"/>
                    <a:pt x="5413" y="8644"/>
                  </a:cubicBezTo>
                  <a:close/>
                  <a:moveTo>
                    <a:pt x="5237" y="8606"/>
                  </a:moveTo>
                  <a:cubicBezTo>
                    <a:pt x="5166" y="8647"/>
                    <a:pt x="5092" y="8688"/>
                    <a:pt x="5060" y="8704"/>
                  </a:cubicBezTo>
                  <a:cubicBezTo>
                    <a:pt x="5086" y="8289"/>
                    <a:pt x="5086" y="8289"/>
                    <a:pt x="5086" y="8289"/>
                  </a:cubicBezTo>
                  <a:cubicBezTo>
                    <a:pt x="5108" y="8289"/>
                    <a:pt x="5129" y="8290"/>
                    <a:pt x="5149" y="8291"/>
                  </a:cubicBezTo>
                  <a:cubicBezTo>
                    <a:pt x="5205" y="8294"/>
                    <a:pt x="5276" y="8299"/>
                    <a:pt x="5355" y="8305"/>
                  </a:cubicBezTo>
                  <a:cubicBezTo>
                    <a:pt x="5364" y="8355"/>
                    <a:pt x="5380" y="8439"/>
                    <a:pt x="5393" y="8516"/>
                  </a:cubicBezTo>
                  <a:cubicBezTo>
                    <a:pt x="5370" y="8530"/>
                    <a:pt x="5305" y="8567"/>
                    <a:pt x="5237" y="8606"/>
                  </a:cubicBezTo>
                  <a:close/>
                  <a:moveTo>
                    <a:pt x="5046" y="8711"/>
                  </a:moveTo>
                  <a:cubicBezTo>
                    <a:pt x="5046" y="8711"/>
                    <a:pt x="5046" y="8711"/>
                    <a:pt x="5046" y="8711"/>
                  </a:cubicBezTo>
                  <a:cubicBezTo>
                    <a:pt x="5046" y="8711"/>
                    <a:pt x="5046" y="8711"/>
                    <a:pt x="5046" y="8711"/>
                  </a:cubicBezTo>
                  <a:cubicBezTo>
                    <a:pt x="5046" y="8711"/>
                    <a:pt x="5046" y="8711"/>
                    <a:pt x="5046" y="8711"/>
                  </a:cubicBezTo>
                  <a:cubicBezTo>
                    <a:pt x="5041" y="8711"/>
                    <a:pt x="4941" y="8692"/>
                    <a:pt x="4837" y="8672"/>
                  </a:cubicBezTo>
                  <a:cubicBezTo>
                    <a:pt x="4768" y="8285"/>
                    <a:pt x="4768" y="8285"/>
                    <a:pt x="4768" y="8285"/>
                  </a:cubicBezTo>
                  <a:cubicBezTo>
                    <a:pt x="4798" y="8285"/>
                    <a:pt x="4827" y="8284"/>
                    <a:pt x="4855" y="8284"/>
                  </a:cubicBezTo>
                  <a:cubicBezTo>
                    <a:pt x="4858" y="8284"/>
                    <a:pt x="4862" y="8284"/>
                    <a:pt x="4865" y="8284"/>
                  </a:cubicBezTo>
                  <a:cubicBezTo>
                    <a:pt x="4940" y="8284"/>
                    <a:pt x="5010" y="8286"/>
                    <a:pt x="5072" y="8288"/>
                  </a:cubicBezTo>
                  <a:lnTo>
                    <a:pt x="5046" y="8711"/>
                  </a:lnTo>
                  <a:close/>
                  <a:moveTo>
                    <a:pt x="4668" y="8654"/>
                  </a:moveTo>
                  <a:cubicBezTo>
                    <a:pt x="4769" y="9198"/>
                    <a:pt x="4769" y="9198"/>
                    <a:pt x="4769" y="9198"/>
                  </a:cubicBezTo>
                  <a:cubicBezTo>
                    <a:pt x="4678" y="9207"/>
                    <a:pt x="4578" y="9216"/>
                    <a:pt x="4486" y="9222"/>
                  </a:cubicBezTo>
                  <a:cubicBezTo>
                    <a:pt x="4496" y="8692"/>
                    <a:pt x="4496" y="8692"/>
                    <a:pt x="4496" y="8692"/>
                  </a:cubicBezTo>
                  <a:cubicBezTo>
                    <a:pt x="4577" y="8636"/>
                    <a:pt x="4577" y="8636"/>
                    <a:pt x="4577" y="8636"/>
                  </a:cubicBezTo>
                  <a:cubicBezTo>
                    <a:pt x="4587" y="8638"/>
                    <a:pt x="4622" y="8645"/>
                    <a:pt x="4668" y="8654"/>
                  </a:cubicBezTo>
                  <a:close/>
                  <a:moveTo>
                    <a:pt x="4564" y="10205"/>
                  </a:moveTo>
                  <a:cubicBezTo>
                    <a:pt x="4400" y="10248"/>
                    <a:pt x="4228" y="10297"/>
                    <a:pt x="4062" y="10346"/>
                  </a:cubicBezTo>
                  <a:cubicBezTo>
                    <a:pt x="4063" y="10344"/>
                    <a:pt x="4063" y="10344"/>
                    <a:pt x="4063" y="10344"/>
                  </a:cubicBezTo>
                  <a:cubicBezTo>
                    <a:pt x="3819" y="10186"/>
                    <a:pt x="3819" y="10186"/>
                    <a:pt x="3819" y="10186"/>
                  </a:cubicBezTo>
                  <a:cubicBezTo>
                    <a:pt x="3720" y="9905"/>
                    <a:pt x="3720" y="9905"/>
                    <a:pt x="3720" y="9905"/>
                  </a:cubicBezTo>
                  <a:cubicBezTo>
                    <a:pt x="3760" y="9879"/>
                    <a:pt x="3874" y="9805"/>
                    <a:pt x="3989" y="9730"/>
                  </a:cubicBezTo>
                  <a:cubicBezTo>
                    <a:pt x="4105" y="9655"/>
                    <a:pt x="4223" y="9579"/>
                    <a:pt x="4264" y="9552"/>
                  </a:cubicBezTo>
                  <a:lnTo>
                    <a:pt x="4564" y="10205"/>
                  </a:lnTo>
                  <a:close/>
                  <a:moveTo>
                    <a:pt x="2337" y="10649"/>
                  </a:moveTo>
                  <a:cubicBezTo>
                    <a:pt x="2369" y="10652"/>
                    <a:pt x="2488" y="10661"/>
                    <a:pt x="2531" y="10684"/>
                  </a:cubicBezTo>
                  <a:cubicBezTo>
                    <a:pt x="2559" y="10699"/>
                    <a:pt x="2566" y="10727"/>
                    <a:pt x="2568" y="10742"/>
                  </a:cubicBezTo>
                  <a:cubicBezTo>
                    <a:pt x="2534" y="10738"/>
                    <a:pt x="2498" y="10735"/>
                    <a:pt x="2460" y="10733"/>
                  </a:cubicBezTo>
                  <a:cubicBezTo>
                    <a:pt x="2373" y="10728"/>
                    <a:pt x="2298" y="10726"/>
                    <a:pt x="2232" y="10725"/>
                  </a:cubicBezTo>
                  <a:cubicBezTo>
                    <a:pt x="2252" y="10625"/>
                    <a:pt x="2252" y="10625"/>
                    <a:pt x="2252" y="10625"/>
                  </a:cubicBezTo>
                  <a:cubicBezTo>
                    <a:pt x="2285" y="10645"/>
                    <a:pt x="2321" y="10648"/>
                    <a:pt x="2337" y="10649"/>
                  </a:cubicBezTo>
                  <a:close/>
                  <a:moveTo>
                    <a:pt x="2456" y="10802"/>
                  </a:moveTo>
                  <a:cubicBezTo>
                    <a:pt x="2617" y="10811"/>
                    <a:pt x="2747" y="10835"/>
                    <a:pt x="2814" y="10849"/>
                  </a:cubicBezTo>
                  <a:cubicBezTo>
                    <a:pt x="2771" y="10889"/>
                    <a:pt x="2713" y="10948"/>
                    <a:pt x="2660" y="11014"/>
                  </a:cubicBezTo>
                  <a:cubicBezTo>
                    <a:pt x="2655" y="11020"/>
                    <a:pt x="2651" y="11026"/>
                    <a:pt x="2646" y="11032"/>
                  </a:cubicBezTo>
                  <a:cubicBezTo>
                    <a:pt x="2643" y="11032"/>
                    <a:pt x="2640" y="11032"/>
                    <a:pt x="2637" y="11032"/>
                  </a:cubicBezTo>
                  <a:cubicBezTo>
                    <a:pt x="2619" y="11032"/>
                    <a:pt x="2596" y="11032"/>
                    <a:pt x="2572" y="11032"/>
                  </a:cubicBezTo>
                  <a:cubicBezTo>
                    <a:pt x="2524" y="11032"/>
                    <a:pt x="2477" y="11032"/>
                    <a:pt x="2477" y="11032"/>
                  </a:cubicBezTo>
                  <a:cubicBezTo>
                    <a:pt x="2473" y="11032"/>
                    <a:pt x="2473" y="11032"/>
                    <a:pt x="2473" y="11032"/>
                  </a:cubicBezTo>
                  <a:cubicBezTo>
                    <a:pt x="2473" y="11043"/>
                    <a:pt x="2473" y="11043"/>
                    <a:pt x="2473" y="11043"/>
                  </a:cubicBezTo>
                  <a:cubicBezTo>
                    <a:pt x="2086" y="11041"/>
                    <a:pt x="2086" y="11041"/>
                    <a:pt x="2086" y="11041"/>
                  </a:cubicBezTo>
                  <a:cubicBezTo>
                    <a:pt x="1996" y="10808"/>
                    <a:pt x="1996" y="10808"/>
                    <a:pt x="1996" y="10808"/>
                  </a:cubicBezTo>
                  <a:cubicBezTo>
                    <a:pt x="2050" y="10799"/>
                    <a:pt x="2119" y="10794"/>
                    <a:pt x="2208" y="10794"/>
                  </a:cubicBezTo>
                  <a:cubicBezTo>
                    <a:pt x="2278" y="10794"/>
                    <a:pt x="2360" y="10797"/>
                    <a:pt x="2456" y="10802"/>
                  </a:cubicBezTo>
                  <a:close/>
                  <a:moveTo>
                    <a:pt x="1506" y="10990"/>
                  </a:moveTo>
                  <a:cubicBezTo>
                    <a:pt x="1878" y="11400"/>
                    <a:pt x="1878" y="11400"/>
                    <a:pt x="1878" y="11400"/>
                  </a:cubicBezTo>
                  <a:cubicBezTo>
                    <a:pt x="1830" y="11439"/>
                    <a:pt x="1830" y="11439"/>
                    <a:pt x="1830" y="11439"/>
                  </a:cubicBezTo>
                  <a:cubicBezTo>
                    <a:pt x="1774" y="11381"/>
                    <a:pt x="1774" y="11381"/>
                    <a:pt x="1774" y="11381"/>
                  </a:cubicBezTo>
                  <a:cubicBezTo>
                    <a:pt x="1773" y="11382"/>
                    <a:pt x="1773" y="11382"/>
                    <a:pt x="1773" y="11382"/>
                  </a:cubicBezTo>
                  <a:cubicBezTo>
                    <a:pt x="1448" y="11018"/>
                    <a:pt x="1448" y="11018"/>
                    <a:pt x="1448" y="11018"/>
                  </a:cubicBezTo>
                  <a:cubicBezTo>
                    <a:pt x="1467" y="11009"/>
                    <a:pt x="1486" y="10999"/>
                    <a:pt x="1506" y="10990"/>
                  </a:cubicBezTo>
                  <a:close/>
                  <a:moveTo>
                    <a:pt x="1752" y="11395"/>
                  </a:moveTo>
                  <a:cubicBezTo>
                    <a:pt x="1743" y="11401"/>
                    <a:pt x="1731" y="11409"/>
                    <a:pt x="1716" y="11418"/>
                  </a:cubicBezTo>
                  <a:cubicBezTo>
                    <a:pt x="1392" y="11046"/>
                    <a:pt x="1392" y="11046"/>
                    <a:pt x="1392" y="11046"/>
                  </a:cubicBezTo>
                  <a:cubicBezTo>
                    <a:pt x="1402" y="11041"/>
                    <a:pt x="1413" y="11036"/>
                    <a:pt x="1425" y="11029"/>
                  </a:cubicBezTo>
                  <a:lnTo>
                    <a:pt x="1752" y="11395"/>
                  </a:lnTo>
                  <a:close/>
                  <a:moveTo>
                    <a:pt x="1770" y="11413"/>
                  </a:moveTo>
                  <a:cubicBezTo>
                    <a:pt x="1811" y="11455"/>
                    <a:pt x="1811" y="11455"/>
                    <a:pt x="1811" y="11455"/>
                  </a:cubicBezTo>
                  <a:cubicBezTo>
                    <a:pt x="1774" y="11485"/>
                    <a:pt x="1774" y="11485"/>
                    <a:pt x="1774" y="11485"/>
                  </a:cubicBezTo>
                  <a:cubicBezTo>
                    <a:pt x="1732" y="11437"/>
                    <a:pt x="1732" y="11437"/>
                    <a:pt x="1732" y="11437"/>
                  </a:cubicBezTo>
                  <a:cubicBezTo>
                    <a:pt x="1749" y="11426"/>
                    <a:pt x="1762" y="11418"/>
                    <a:pt x="1770" y="11413"/>
                  </a:cubicBezTo>
                  <a:close/>
                  <a:moveTo>
                    <a:pt x="1786" y="11603"/>
                  </a:moveTo>
                  <a:cubicBezTo>
                    <a:pt x="1790" y="11607"/>
                    <a:pt x="1877" y="11693"/>
                    <a:pt x="1990" y="11742"/>
                  </a:cubicBezTo>
                  <a:cubicBezTo>
                    <a:pt x="2053" y="11769"/>
                    <a:pt x="2118" y="11779"/>
                    <a:pt x="2166" y="11783"/>
                  </a:cubicBezTo>
                  <a:cubicBezTo>
                    <a:pt x="2105" y="12060"/>
                    <a:pt x="2105" y="12060"/>
                    <a:pt x="2105" y="12060"/>
                  </a:cubicBezTo>
                  <a:cubicBezTo>
                    <a:pt x="2076" y="12104"/>
                    <a:pt x="2043" y="12151"/>
                    <a:pt x="2007" y="12198"/>
                  </a:cubicBezTo>
                  <a:cubicBezTo>
                    <a:pt x="1986" y="12227"/>
                    <a:pt x="1963" y="12260"/>
                    <a:pt x="1943" y="12285"/>
                  </a:cubicBezTo>
                  <a:cubicBezTo>
                    <a:pt x="1943" y="12285"/>
                    <a:pt x="1942" y="12285"/>
                    <a:pt x="1942" y="12285"/>
                  </a:cubicBezTo>
                  <a:cubicBezTo>
                    <a:pt x="1916" y="12279"/>
                    <a:pt x="1885" y="12274"/>
                    <a:pt x="1846" y="12265"/>
                  </a:cubicBezTo>
                  <a:cubicBezTo>
                    <a:pt x="1742" y="12240"/>
                    <a:pt x="1601" y="12197"/>
                    <a:pt x="1526" y="12146"/>
                  </a:cubicBezTo>
                  <a:cubicBezTo>
                    <a:pt x="1419" y="12074"/>
                    <a:pt x="1410" y="12017"/>
                    <a:pt x="1399" y="11982"/>
                  </a:cubicBezTo>
                  <a:cubicBezTo>
                    <a:pt x="1389" y="11948"/>
                    <a:pt x="1362" y="11843"/>
                    <a:pt x="1345" y="11779"/>
                  </a:cubicBezTo>
                  <a:cubicBezTo>
                    <a:pt x="1335" y="11746"/>
                    <a:pt x="1317" y="11707"/>
                    <a:pt x="1294" y="11669"/>
                  </a:cubicBezTo>
                  <a:lnTo>
                    <a:pt x="1786" y="11603"/>
                  </a:lnTo>
                  <a:close/>
                  <a:moveTo>
                    <a:pt x="1501" y="12184"/>
                  </a:moveTo>
                  <a:cubicBezTo>
                    <a:pt x="1518" y="12195"/>
                    <a:pt x="1538" y="12206"/>
                    <a:pt x="1558" y="12216"/>
                  </a:cubicBezTo>
                  <a:cubicBezTo>
                    <a:pt x="1541" y="12493"/>
                    <a:pt x="1541" y="12493"/>
                    <a:pt x="1541" y="12493"/>
                  </a:cubicBezTo>
                  <a:cubicBezTo>
                    <a:pt x="1258" y="12579"/>
                    <a:pt x="1258" y="12579"/>
                    <a:pt x="1258" y="12579"/>
                  </a:cubicBezTo>
                  <a:cubicBezTo>
                    <a:pt x="1164" y="12446"/>
                    <a:pt x="1164" y="12446"/>
                    <a:pt x="1164" y="12446"/>
                  </a:cubicBezTo>
                  <a:cubicBezTo>
                    <a:pt x="1456" y="12151"/>
                    <a:pt x="1456" y="12151"/>
                    <a:pt x="1456" y="12151"/>
                  </a:cubicBezTo>
                  <a:cubicBezTo>
                    <a:pt x="1470" y="12162"/>
                    <a:pt x="1484" y="12173"/>
                    <a:pt x="1501" y="12184"/>
                  </a:cubicBezTo>
                  <a:close/>
                  <a:moveTo>
                    <a:pt x="1557" y="12505"/>
                  </a:moveTo>
                  <a:cubicBezTo>
                    <a:pt x="1574" y="12224"/>
                    <a:pt x="1574" y="12224"/>
                    <a:pt x="1574" y="12224"/>
                  </a:cubicBezTo>
                  <a:cubicBezTo>
                    <a:pt x="1655" y="12261"/>
                    <a:pt x="1756" y="12289"/>
                    <a:pt x="1835" y="12309"/>
                  </a:cubicBezTo>
                  <a:cubicBezTo>
                    <a:pt x="1865" y="12316"/>
                    <a:pt x="1890" y="12320"/>
                    <a:pt x="1911" y="12324"/>
                  </a:cubicBezTo>
                  <a:cubicBezTo>
                    <a:pt x="1874" y="12370"/>
                    <a:pt x="1833" y="12422"/>
                    <a:pt x="1789" y="12474"/>
                  </a:cubicBezTo>
                  <a:cubicBezTo>
                    <a:pt x="1679" y="12607"/>
                    <a:pt x="1561" y="12746"/>
                    <a:pt x="1520" y="12794"/>
                  </a:cubicBezTo>
                  <a:cubicBezTo>
                    <a:pt x="1351" y="12711"/>
                    <a:pt x="1351" y="12711"/>
                    <a:pt x="1351" y="12711"/>
                  </a:cubicBezTo>
                  <a:cubicBezTo>
                    <a:pt x="1268" y="12593"/>
                    <a:pt x="1268" y="12593"/>
                    <a:pt x="1268" y="12593"/>
                  </a:cubicBezTo>
                  <a:lnTo>
                    <a:pt x="1557" y="12505"/>
                  </a:lnTo>
                  <a:close/>
                  <a:moveTo>
                    <a:pt x="1842" y="12518"/>
                  </a:moveTo>
                  <a:cubicBezTo>
                    <a:pt x="1898" y="12451"/>
                    <a:pt x="1950" y="12384"/>
                    <a:pt x="1992" y="12334"/>
                  </a:cubicBezTo>
                  <a:cubicBezTo>
                    <a:pt x="2036" y="12338"/>
                    <a:pt x="2098" y="12344"/>
                    <a:pt x="2156" y="12349"/>
                  </a:cubicBezTo>
                  <a:cubicBezTo>
                    <a:pt x="2069" y="12707"/>
                    <a:pt x="2069" y="12707"/>
                    <a:pt x="2069" y="12707"/>
                  </a:cubicBezTo>
                  <a:cubicBezTo>
                    <a:pt x="1941" y="12994"/>
                    <a:pt x="1941" y="12994"/>
                    <a:pt x="1941" y="12994"/>
                  </a:cubicBezTo>
                  <a:cubicBezTo>
                    <a:pt x="2041" y="13445"/>
                    <a:pt x="2041" y="13445"/>
                    <a:pt x="2041" y="13445"/>
                  </a:cubicBezTo>
                  <a:cubicBezTo>
                    <a:pt x="1910" y="13397"/>
                    <a:pt x="1910" y="13397"/>
                    <a:pt x="1910" y="13397"/>
                  </a:cubicBezTo>
                  <a:cubicBezTo>
                    <a:pt x="1910" y="13397"/>
                    <a:pt x="1910" y="13397"/>
                    <a:pt x="1910" y="13397"/>
                  </a:cubicBezTo>
                  <a:cubicBezTo>
                    <a:pt x="1673" y="13312"/>
                    <a:pt x="1673" y="13312"/>
                    <a:pt x="1673" y="13312"/>
                  </a:cubicBezTo>
                  <a:cubicBezTo>
                    <a:pt x="1607" y="12837"/>
                    <a:pt x="1607" y="12837"/>
                    <a:pt x="1607" y="12837"/>
                  </a:cubicBezTo>
                  <a:cubicBezTo>
                    <a:pt x="1583" y="12825"/>
                    <a:pt x="1583" y="12825"/>
                    <a:pt x="1583" y="12825"/>
                  </a:cubicBezTo>
                  <a:cubicBezTo>
                    <a:pt x="1632" y="12768"/>
                    <a:pt x="1740" y="12641"/>
                    <a:pt x="1842" y="12518"/>
                  </a:cubicBezTo>
                  <a:close/>
                  <a:moveTo>
                    <a:pt x="1898" y="13463"/>
                  </a:moveTo>
                  <a:cubicBezTo>
                    <a:pt x="1898" y="13463"/>
                    <a:pt x="1898" y="13463"/>
                    <a:pt x="1898" y="13463"/>
                  </a:cubicBezTo>
                  <a:cubicBezTo>
                    <a:pt x="1898" y="13463"/>
                    <a:pt x="1898" y="13463"/>
                    <a:pt x="1898" y="13463"/>
                  </a:cubicBezTo>
                  <a:close/>
                  <a:moveTo>
                    <a:pt x="1898" y="13463"/>
                  </a:moveTo>
                  <a:cubicBezTo>
                    <a:pt x="1898" y="13463"/>
                    <a:pt x="1898" y="13463"/>
                    <a:pt x="1898" y="13463"/>
                  </a:cubicBezTo>
                  <a:cubicBezTo>
                    <a:pt x="1898" y="13463"/>
                    <a:pt x="1898" y="13463"/>
                    <a:pt x="1898" y="13463"/>
                  </a:cubicBezTo>
                  <a:cubicBezTo>
                    <a:pt x="2176" y="13564"/>
                    <a:pt x="2176" y="13564"/>
                    <a:pt x="2176" y="13564"/>
                  </a:cubicBezTo>
                  <a:cubicBezTo>
                    <a:pt x="2143" y="13595"/>
                    <a:pt x="2027" y="13705"/>
                    <a:pt x="1921" y="13807"/>
                  </a:cubicBezTo>
                  <a:cubicBezTo>
                    <a:pt x="1786" y="13723"/>
                    <a:pt x="1786" y="13723"/>
                    <a:pt x="1786" y="13723"/>
                  </a:cubicBezTo>
                  <a:cubicBezTo>
                    <a:pt x="1705" y="13863"/>
                    <a:pt x="1705" y="13863"/>
                    <a:pt x="1705" y="13863"/>
                  </a:cubicBezTo>
                  <a:cubicBezTo>
                    <a:pt x="1802" y="13922"/>
                    <a:pt x="1802" y="13922"/>
                    <a:pt x="1802" y="13922"/>
                  </a:cubicBezTo>
                  <a:cubicBezTo>
                    <a:pt x="1768" y="13955"/>
                    <a:pt x="1743" y="13980"/>
                    <a:pt x="1735" y="13990"/>
                  </a:cubicBezTo>
                  <a:cubicBezTo>
                    <a:pt x="1609" y="13913"/>
                    <a:pt x="1609" y="13913"/>
                    <a:pt x="1609" y="13913"/>
                  </a:cubicBezTo>
                  <a:lnTo>
                    <a:pt x="1898" y="13463"/>
                  </a:lnTo>
                  <a:close/>
                  <a:moveTo>
                    <a:pt x="2045" y="14071"/>
                  </a:moveTo>
                  <a:cubicBezTo>
                    <a:pt x="2233" y="14187"/>
                    <a:pt x="2233" y="14187"/>
                    <a:pt x="2233" y="14187"/>
                  </a:cubicBezTo>
                  <a:cubicBezTo>
                    <a:pt x="2199" y="14220"/>
                    <a:pt x="2176" y="14244"/>
                    <a:pt x="2170" y="14252"/>
                  </a:cubicBezTo>
                  <a:cubicBezTo>
                    <a:pt x="2169" y="14253"/>
                    <a:pt x="2169" y="14253"/>
                    <a:pt x="2169" y="14253"/>
                  </a:cubicBezTo>
                  <a:cubicBezTo>
                    <a:pt x="1978" y="14137"/>
                    <a:pt x="1978" y="14137"/>
                    <a:pt x="1978" y="14137"/>
                  </a:cubicBezTo>
                  <a:lnTo>
                    <a:pt x="2045" y="14071"/>
                  </a:lnTo>
                  <a:close/>
                  <a:moveTo>
                    <a:pt x="2185" y="14256"/>
                  </a:moveTo>
                  <a:cubicBezTo>
                    <a:pt x="2189" y="14251"/>
                    <a:pt x="2194" y="14245"/>
                    <a:pt x="2202" y="14238"/>
                  </a:cubicBezTo>
                  <a:cubicBezTo>
                    <a:pt x="2213" y="14227"/>
                    <a:pt x="2228" y="14212"/>
                    <a:pt x="2245" y="14194"/>
                  </a:cubicBezTo>
                  <a:cubicBezTo>
                    <a:pt x="2476" y="14336"/>
                    <a:pt x="2476" y="14336"/>
                    <a:pt x="2476" y="14336"/>
                  </a:cubicBezTo>
                  <a:cubicBezTo>
                    <a:pt x="2410" y="14400"/>
                    <a:pt x="2410" y="14400"/>
                    <a:pt x="2410" y="14400"/>
                  </a:cubicBezTo>
                  <a:cubicBezTo>
                    <a:pt x="2181" y="14260"/>
                    <a:pt x="2181" y="14260"/>
                    <a:pt x="2181" y="14260"/>
                  </a:cubicBezTo>
                  <a:cubicBezTo>
                    <a:pt x="2182" y="14259"/>
                    <a:pt x="2183" y="14258"/>
                    <a:pt x="2185" y="14256"/>
                  </a:cubicBezTo>
                  <a:close/>
                  <a:moveTo>
                    <a:pt x="3085" y="13954"/>
                  </a:moveTo>
                  <a:cubicBezTo>
                    <a:pt x="3071" y="14057"/>
                    <a:pt x="3071" y="14057"/>
                    <a:pt x="3071" y="14057"/>
                  </a:cubicBezTo>
                  <a:cubicBezTo>
                    <a:pt x="2977" y="14044"/>
                    <a:pt x="2977" y="14044"/>
                    <a:pt x="2977" y="14044"/>
                  </a:cubicBezTo>
                  <a:cubicBezTo>
                    <a:pt x="2985" y="13984"/>
                    <a:pt x="2985" y="13984"/>
                    <a:pt x="2985" y="13984"/>
                  </a:cubicBezTo>
                  <a:cubicBezTo>
                    <a:pt x="3032" y="13991"/>
                    <a:pt x="3032" y="13991"/>
                    <a:pt x="3032" y="13991"/>
                  </a:cubicBezTo>
                  <a:cubicBezTo>
                    <a:pt x="3038" y="13948"/>
                    <a:pt x="3038" y="13948"/>
                    <a:pt x="3038" y="13948"/>
                  </a:cubicBezTo>
                  <a:lnTo>
                    <a:pt x="3085" y="13954"/>
                  </a:lnTo>
                  <a:close/>
                  <a:moveTo>
                    <a:pt x="3083" y="14071"/>
                  </a:moveTo>
                  <a:cubicBezTo>
                    <a:pt x="3171" y="14083"/>
                    <a:pt x="3171" y="14083"/>
                    <a:pt x="3171" y="14083"/>
                  </a:cubicBezTo>
                  <a:cubicBezTo>
                    <a:pt x="3183" y="13998"/>
                    <a:pt x="3183" y="13998"/>
                    <a:pt x="3183" y="13998"/>
                  </a:cubicBezTo>
                  <a:cubicBezTo>
                    <a:pt x="3136" y="13992"/>
                    <a:pt x="3136" y="13992"/>
                    <a:pt x="3136" y="13992"/>
                  </a:cubicBezTo>
                  <a:cubicBezTo>
                    <a:pt x="3142" y="13949"/>
                    <a:pt x="3142" y="13949"/>
                    <a:pt x="3142" y="13949"/>
                  </a:cubicBezTo>
                  <a:cubicBezTo>
                    <a:pt x="3100" y="13943"/>
                    <a:pt x="3100" y="13943"/>
                    <a:pt x="3100" y="13943"/>
                  </a:cubicBezTo>
                  <a:cubicBezTo>
                    <a:pt x="3106" y="13901"/>
                    <a:pt x="3106" y="13901"/>
                    <a:pt x="3106" y="13901"/>
                  </a:cubicBezTo>
                  <a:cubicBezTo>
                    <a:pt x="3206" y="13937"/>
                    <a:pt x="3206" y="13937"/>
                    <a:pt x="3206" y="13937"/>
                  </a:cubicBezTo>
                  <a:cubicBezTo>
                    <a:pt x="3202" y="13975"/>
                    <a:pt x="3179" y="14148"/>
                    <a:pt x="3157" y="14316"/>
                  </a:cubicBezTo>
                  <a:cubicBezTo>
                    <a:pt x="3135" y="14480"/>
                    <a:pt x="3113" y="14640"/>
                    <a:pt x="3108" y="14672"/>
                  </a:cubicBezTo>
                  <a:cubicBezTo>
                    <a:pt x="3072" y="14669"/>
                    <a:pt x="3036" y="14666"/>
                    <a:pt x="3003" y="14664"/>
                  </a:cubicBezTo>
                  <a:lnTo>
                    <a:pt x="3083" y="14071"/>
                  </a:lnTo>
                  <a:close/>
                  <a:moveTo>
                    <a:pt x="3289" y="14316"/>
                  </a:moveTo>
                  <a:cubicBezTo>
                    <a:pt x="3297" y="14261"/>
                    <a:pt x="3305" y="14207"/>
                    <a:pt x="3312" y="14159"/>
                  </a:cubicBezTo>
                  <a:cubicBezTo>
                    <a:pt x="3413" y="14173"/>
                    <a:pt x="3413" y="14173"/>
                    <a:pt x="3413" y="14173"/>
                  </a:cubicBezTo>
                  <a:cubicBezTo>
                    <a:pt x="3425" y="14087"/>
                    <a:pt x="3425" y="14087"/>
                    <a:pt x="3425" y="14087"/>
                  </a:cubicBezTo>
                  <a:cubicBezTo>
                    <a:pt x="3378" y="14081"/>
                    <a:pt x="3378" y="14081"/>
                    <a:pt x="3378" y="14081"/>
                  </a:cubicBezTo>
                  <a:cubicBezTo>
                    <a:pt x="3384" y="14038"/>
                    <a:pt x="3384" y="14038"/>
                    <a:pt x="3384" y="14038"/>
                  </a:cubicBezTo>
                  <a:cubicBezTo>
                    <a:pt x="3331" y="14031"/>
                    <a:pt x="3331" y="14031"/>
                    <a:pt x="3331" y="14031"/>
                  </a:cubicBezTo>
                  <a:cubicBezTo>
                    <a:pt x="3334" y="14010"/>
                    <a:pt x="3336" y="13994"/>
                    <a:pt x="3337" y="13985"/>
                  </a:cubicBezTo>
                  <a:cubicBezTo>
                    <a:pt x="3452" y="14027"/>
                    <a:pt x="3452" y="14027"/>
                    <a:pt x="3452" y="14027"/>
                  </a:cubicBezTo>
                  <a:cubicBezTo>
                    <a:pt x="3366" y="14692"/>
                    <a:pt x="3366" y="14692"/>
                    <a:pt x="3366" y="14692"/>
                  </a:cubicBezTo>
                  <a:cubicBezTo>
                    <a:pt x="3349" y="14691"/>
                    <a:pt x="3301" y="14687"/>
                    <a:pt x="3240" y="14683"/>
                  </a:cubicBezTo>
                  <a:cubicBezTo>
                    <a:pt x="3241" y="14661"/>
                    <a:pt x="3265" y="14485"/>
                    <a:pt x="3289" y="14316"/>
                  </a:cubicBezTo>
                  <a:close/>
                  <a:moveTo>
                    <a:pt x="3465" y="14032"/>
                  </a:moveTo>
                  <a:cubicBezTo>
                    <a:pt x="4259" y="14320"/>
                    <a:pt x="4259" y="14320"/>
                    <a:pt x="4259" y="14320"/>
                  </a:cubicBezTo>
                  <a:cubicBezTo>
                    <a:pt x="4110" y="14514"/>
                    <a:pt x="4110" y="14514"/>
                    <a:pt x="4110" y="14514"/>
                  </a:cubicBezTo>
                  <a:cubicBezTo>
                    <a:pt x="3840" y="14449"/>
                    <a:pt x="3840" y="14449"/>
                    <a:pt x="3840" y="14449"/>
                  </a:cubicBezTo>
                  <a:cubicBezTo>
                    <a:pt x="3840" y="14449"/>
                    <a:pt x="3840" y="14449"/>
                    <a:pt x="3840" y="14449"/>
                  </a:cubicBezTo>
                  <a:cubicBezTo>
                    <a:pt x="3837" y="14446"/>
                    <a:pt x="3834" y="14447"/>
                    <a:pt x="3834" y="14447"/>
                  </a:cubicBezTo>
                  <a:cubicBezTo>
                    <a:pt x="3833" y="14447"/>
                    <a:pt x="3832" y="14447"/>
                    <a:pt x="3831" y="14447"/>
                  </a:cubicBezTo>
                  <a:cubicBezTo>
                    <a:pt x="3426" y="14351"/>
                    <a:pt x="3426" y="14351"/>
                    <a:pt x="3426" y="14351"/>
                  </a:cubicBezTo>
                  <a:cubicBezTo>
                    <a:pt x="3422" y="14364"/>
                    <a:pt x="3422" y="14364"/>
                    <a:pt x="3422" y="14364"/>
                  </a:cubicBezTo>
                  <a:cubicBezTo>
                    <a:pt x="3826" y="14461"/>
                    <a:pt x="3826" y="14461"/>
                    <a:pt x="3826" y="14461"/>
                  </a:cubicBezTo>
                  <a:cubicBezTo>
                    <a:pt x="3826" y="14463"/>
                    <a:pt x="3825" y="14464"/>
                    <a:pt x="3825" y="14467"/>
                  </a:cubicBezTo>
                  <a:cubicBezTo>
                    <a:pt x="3824" y="14476"/>
                    <a:pt x="3822" y="14489"/>
                    <a:pt x="3820" y="14505"/>
                  </a:cubicBezTo>
                  <a:cubicBezTo>
                    <a:pt x="3815" y="14536"/>
                    <a:pt x="3810" y="14577"/>
                    <a:pt x="3804" y="14619"/>
                  </a:cubicBezTo>
                  <a:cubicBezTo>
                    <a:pt x="3794" y="14691"/>
                    <a:pt x="3785" y="14764"/>
                    <a:pt x="3782" y="14781"/>
                  </a:cubicBezTo>
                  <a:cubicBezTo>
                    <a:pt x="3761" y="14781"/>
                    <a:pt x="3738" y="14780"/>
                    <a:pt x="3713" y="14780"/>
                  </a:cubicBezTo>
                  <a:cubicBezTo>
                    <a:pt x="3603" y="14780"/>
                    <a:pt x="3475" y="14785"/>
                    <a:pt x="3391" y="14806"/>
                  </a:cubicBezTo>
                  <a:cubicBezTo>
                    <a:pt x="3387" y="14806"/>
                    <a:pt x="3377" y="14807"/>
                    <a:pt x="3365" y="14810"/>
                  </a:cubicBezTo>
                  <a:lnTo>
                    <a:pt x="3465" y="14032"/>
                  </a:lnTo>
                  <a:close/>
                  <a:moveTo>
                    <a:pt x="4101" y="14526"/>
                  </a:moveTo>
                  <a:cubicBezTo>
                    <a:pt x="3902" y="14785"/>
                    <a:pt x="3902" y="14785"/>
                    <a:pt x="3902" y="14785"/>
                  </a:cubicBezTo>
                  <a:cubicBezTo>
                    <a:pt x="3882" y="14784"/>
                    <a:pt x="3844" y="14782"/>
                    <a:pt x="3797" y="14781"/>
                  </a:cubicBezTo>
                  <a:cubicBezTo>
                    <a:pt x="3802" y="14744"/>
                    <a:pt x="3833" y="14511"/>
                    <a:pt x="3839" y="14464"/>
                  </a:cubicBezTo>
                  <a:lnTo>
                    <a:pt x="4101" y="14526"/>
                  </a:lnTo>
                  <a:close/>
                  <a:moveTo>
                    <a:pt x="3395" y="14871"/>
                  </a:moveTo>
                  <a:cubicBezTo>
                    <a:pt x="3398" y="14871"/>
                    <a:pt x="3399" y="14871"/>
                    <a:pt x="3399" y="14871"/>
                  </a:cubicBezTo>
                  <a:cubicBezTo>
                    <a:pt x="3402" y="14871"/>
                    <a:pt x="3402" y="14871"/>
                    <a:pt x="3402" y="14871"/>
                  </a:cubicBezTo>
                  <a:cubicBezTo>
                    <a:pt x="3405" y="14870"/>
                    <a:pt x="3405" y="14870"/>
                    <a:pt x="3405" y="14870"/>
                  </a:cubicBezTo>
                  <a:cubicBezTo>
                    <a:pt x="3476" y="14851"/>
                    <a:pt x="3605" y="14846"/>
                    <a:pt x="3713" y="14846"/>
                  </a:cubicBezTo>
                  <a:cubicBezTo>
                    <a:pt x="3793" y="14846"/>
                    <a:pt x="3863" y="14849"/>
                    <a:pt x="3896" y="14850"/>
                  </a:cubicBezTo>
                  <a:cubicBezTo>
                    <a:pt x="3957" y="14998"/>
                    <a:pt x="3957" y="14998"/>
                    <a:pt x="3957" y="14998"/>
                  </a:cubicBezTo>
                  <a:cubicBezTo>
                    <a:pt x="3606" y="15194"/>
                    <a:pt x="3606" y="15194"/>
                    <a:pt x="3606" y="15194"/>
                  </a:cubicBezTo>
                  <a:cubicBezTo>
                    <a:pt x="3602" y="15186"/>
                    <a:pt x="3602" y="15186"/>
                    <a:pt x="3602" y="15186"/>
                  </a:cubicBezTo>
                  <a:cubicBezTo>
                    <a:pt x="3604" y="15185"/>
                    <a:pt x="3604" y="15185"/>
                    <a:pt x="3604" y="15185"/>
                  </a:cubicBezTo>
                  <a:cubicBezTo>
                    <a:pt x="3589" y="15159"/>
                    <a:pt x="3589" y="15159"/>
                    <a:pt x="3589" y="15159"/>
                  </a:cubicBezTo>
                  <a:cubicBezTo>
                    <a:pt x="3580" y="15142"/>
                    <a:pt x="3580" y="15142"/>
                    <a:pt x="3580" y="15142"/>
                  </a:cubicBezTo>
                  <a:cubicBezTo>
                    <a:pt x="3699" y="15074"/>
                    <a:pt x="3699" y="15074"/>
                    <a:pt x="3699" y="15074"/>
                  </a:cubicBezTo>
                  <a:cubicBezTo>
                    <a:pt x="3647" y="14983"/>
                    <a:pt x="3647" y="14983"/>
                    <a:pt x="3647" y="14983"/>
                  </a:cubicBezTo>
                  <a:cubicBezTo>
                    <a:pt x="3534" y="15049"/>
                    <a:pt x="3534" y="15049"/>
                    <a:pt x="3534" y="15049"/>
                  </a:cubicBezTo>
                  <a:cubicBezTo>
                    <a:pt x="3523" y="15028"/>
                    <a:pt x="3523" y="15028"/>
                    <a:pt x="3523" y="15028"/>
                  </a:cubicBezTo>
                  <a:cubicBezTo>
                    <a:pt x="3261" y="14915"/>
                    <a:pt x="3261" y="14915"/>
                    <a:pt x="3261" y="14915"/>
                  </a:cubicBezTo>
                  <a:cubicBezTo>
                    <a:pt x="3327" y="14882"/>
                    <a:pt x="3379" y="14873"/>
                    <a:pt x="3395" y="14871"/>
                  </a:cubicBezTo>
                  <a:close/>
                  <a:moveTo>
                    <a:pt x="3569" y="15150"/>
                  </a:moveTo>
                  <a:cubicBezTo>
                    <a:pt x="3584" y="15181"/>
                    <a:pt x="3584" y="15181"/>
                    <a:pt x="3584" y="15181"/>
                  </a:cubicBezTo>
                  <a:cubicBezTo>
                    <a:pt x="3480" y="15241"/>
                    <a:pt x="3480" y="15241"/>
                    <a:pt x="3480" y="15241"/>
                  </a:cubicBezTo>
                  <a:cubicBezTo>
                    <a:pt x="3441" y="15173"/>
                    <a:pt x="3441" y="15173"/>
                    <a:pt x="3441" y="15173"/>
                  </a:cubicBezTo>
                  <a:cubicBezTo>
                    <a:pt x="3547" y="15112"/>
                    <a:pt x="3547" y="15112"/>
                    <a:pt x="3547" y="15112"/>
                  </a:cubicBezTo>
                  <a:lnTo>
                    <a:pt x="3569" y="15150"/>
                  </a:lnTo>
                  <a:close/>
                  <a:moveTo>
                    <a:pt x="3539" y="15060"/>
                  </a:moveTo>
                  <a:cubicBezTo>
                    <a:pt x="3642" y="15001"/>
                    <a:pt x="3642" y="15001"/>
                    <a:pt x="3642" y="15001"/>
                  </a:cubicBezTo>
                  <a:cubicBezTo>
                    <a:pt x="3681" y="15069"/>
                    <a:pt x="3681" y="15069"/>
                    <a:pt x="3681" y="15069"/>
                  </a:cubicBezTo>
                  <a:cubicBezTo>
                    <a:pt x="3576" y="15130"/>
                    <a:pt x="3576" y="15130"/>
                    <a:pt x="3576" y="15130"/>
                  </a:cubicBezTo>
                  <a:cubicBezTo>
                    <a:pt x="3566" y="15113"/>
                    <a:pt x="3566" y="15113"/>
                    <a:pt x="3566" y="15113"/>
                  </a:cubicBezTo>
                  <a:lnTo>
                    <a:pt x="3539" y="15060"/>
                  </a:lnTo>
                  <a:close/>
                  <a:moveTo>
                    <a:pt x="3513" y="15039"/>
                  </a:moveTo>
                  <a:cubicBezTo>
                    <a:pt x="3522" y="15056"/>
                    <a:pt x="3522" y="15056"/>
                    <a:pt x="3522" y="15056"/>
                  </a:cubicBezTo>
                  <a:cubicBezTo>
                    <a:pt x="3519" y="15057"/>
                    <a:pt x="3519" y="15057"/>
                    <a:pt x="3519" y="15057"/>
                  </a:cubicBezTo>
                  <a:cubicBezTo>
                    <a:pt x="3543" y="15099"/>
                    <a:pt x="3543" y="15099"/>
                    <a:pt x="3543" y="15099"/>
                  </a:cubicBezTo>
                  <a:cubicBezTo>
                    <a:pt x="3423" y="15169"/>
                    <a:pt x="3423" y="15169"/>
                    <a:pt x="3423" y="15169"/>
                  </a:cubicBezTo>
                  <a:cubicBezTo>
                    <a:pt x="3472" y="15253"/>
                    <a:pt x="3472" y="15253"/>
                    <a:pt x="3472" y="15253"/>
                  </a:cubicBezTo>
                  <a:cubicBezTo>
                    <a:pt x="3476" y="15259"/>
                    <a:pt x="3476" y="15259"/>
                    <a:pt x="3476" y="15259"/>
                  </a:cubicBezTo>
                  <a:cubicBezTo>
                    <a:pt x="3590" y="15193"/>
                    <a:pt x="3590" y="15193"/>
                    <a:pt x="3590" y="15193"/>
                  </a:cubicBezTo>
                  <a:cubicBezTo>
                    <a:pt x="3594" y="15200"/>
                    <a:pt x="3594" y="15200"/>
                    <a:pt x="3594" y="15200"/>
                  </a:cubicBezTo>
                  <a:cubicBezTo>
                    <a:pt x="3382" y="15319"/>
                    <a:pt x="3382" y="15319"/>
                    <a:pt x="3382" y="15319"/>
                  </a:cubicBezTo>
                  <a:cubicBezTo>
                    <a:pt x="3302" y="15223"/>
                    <a:pt x="3302" y="15223"/>
                    <a:pt x="3302" y="15223"/>
                  </a:cubicBezTo>
                  <a:cubicBezTo>
                    <a:pt x="3301" y="15223"/>
                    <a:pt x="3301" y="15223"/>
                    <a:pt x="3301" y="15223"/>
                  </a:cubicBezTo>
                  <a:cubicBezTo>
                    <a:pt x="3301" y="15223"/>
                    <a:pt x="3240" y="15183"/>
                    <a:pt x="3177" y="15141"/>
                  </a:cubicBezTo>
                  <a:cubicBezTo>
                    <a:pt x="3133" y="15112"/>
                    <a:pt x="3088" y="15081"/>
                    <a:pt x="3061" y="15062"/>
                  </a:cubicBezTo>
                  <a:cubicBezTo>
                    <a:pt x="3092" y="15038"/>
                    <a:pt x="3120" y="15016"/>
                    <a:pt x="3142" y="14996"/>
                  </a:cubicBezTo>
                  <a:cubicBezTo>
                    <a:pt x="3177" y="14964"/>
                    <a:pt x="3212" y="14941"/>
                    <a:pt x="3245" y="14924"/>
                  </a:cubicBezTo>
                  <a:lnTo>
                    <a:pt x="3513" y="15039"/>
                  </a:lnTo>
                  <a:close/>
                  <a:moveTo>
                    <a:pt x="4201" y="15271"/>
                  </a:moveTo>
                  <a:cubicBezTo>
                    <a:pt x="4200" y="15269"/>
                    <a:pt x="4199" y="15266"/>
                    <a:pt x="4197" y="15264"/>
                  </a:cubicBezTo>
                  <a:cubicBezTo>
                    <a:pt x="4417" y="15132"/>
                    <a:pt x="4417" y="15132"/>
                    <a:pt x="4417" y="15132"/>
                  </a:cubicBezTo>
                  <a:cubicBezTo>
                    <a:pt x="4555" y="15372"/>
                    <a:pt x="4555" y="15372"/>
                    <a:pt x="4555" y="15372"/>
                  </a:cubicBezTo>
                  <a:cubicBezTo>
                    <a:pt x="4453" y="15429"/>
                    <a:pt x="4366" y="15478"/>
                    <a:pt x="4330" y="15499"/>
                  </a:cubicBezTo>
                  <a:cubicBezTo>
                    <a:pt x="4325" y="15489"/>
                    <a:pt x="4320" y="15480"/>
                    <a:pt x="4314" y="15469"/>
                  </a:cubicBezTo>
                  <a:cubicBezTo>
                    <a:pt x="4281" y="15409"/>
                    <a:pt x="4241" y="15339"/>
                    <a:pt x="4201" y="15271"/>
                  </a:cubicBezTo>
                  <a:close/>
                  <a:moveTo>
                    <a:pt x="4190" y="15252"/>
                  </a:moveTo>
                  <a:cubicBezTo>
                    <a:pt x="4126" y="15143"/>
                    <a:pt x="4067" y="15045"/>
                    <a:pt x="4052" y="15020"/>
                  </a:cubicBezTo>
                  <a:cubicBezTo>
                    <a:pt x="4076" y="15006"/>
                    <a:pt x="4076" y="15006"/>
                    <a:pt x="4076" y="15006"/>
                  </a:cubicBezTo>
                  <a:cubicBezTo>
                    <a:pt x="4279" y="14891"/>
                    <a:pt x="4279" y="14891"/>
                    <a:pt x="4279" y="14891"/>
                  </a:cubicBezTo>
                  <a:cubicBezTo>
                    <a:pt x="4410" y="15120"/>
                    <a:pt x="4410" y="15120"/>
                    <a:pt x="4410" y="15120"/>
                  </a:cubicBezTo>
                  <a:lnTo>
                    <a:pt x="4190" y="15252"/>
                  </a:lnTo>
                  <a:close/>
                  <a:moveTo>
                    <a:pt x="4044" y="14949"/>
                  </a:moveTo>
                  <a:cubicBezTo>
                    <a:pt x="4015" y="14965"/>
                    <a:pt x="4015" y="14965"/>
                    <a:pt x="4015" y="14965"/>
                  </a:cubicBezTo>
                  <a:cubicBezTo>
                    <a:pt x="3955" y="14823"/>
                    <a:pt x="3955" y="14823"/>
                    <a:pt x="3955" y="14823"/>
                  </a:cubicBezTo>
                  <a:cubicBezTo>
                    <a:pt x="4358" y="14296"/>
                    <a:pt x="4358" y="14296"/>
                    <a:pt x="4358" y="14296"/>
                  </a:cubicBezTo>
                  <a:cubicBezTo>
                    <a:pt x="4358" y="14295"/>
                    <a:pt x="4358" y="14295"/>
                    <a:pt x="4358" y="14295"/>
                  </a:cubicBezTo>
                  <a:cubicBezTo>
                    <a:pt x="4365" y="14286"/>
                    <a:pt x="4373" y="14275"/>
                    <a:pt x="4383" y="14263"/>
                  </a:cubicBezTo>
                  <a:cubicBezTo>
                    <a:pt x="4406" y="14263"/>
                    <a:pt x="4446" y="14264"/>
                    <a:pt x="4488" y="14264"/>
                  </a:cubicBezTo>
                  <a:cubicBezTo>
                    <a:pt x="4496" y="14290"/>
                    <a:pt x="4551" y="14479"/>
                    <a:pt x="4583" y="14581"/>
                  </a:cubicBezTo>
                  <a:cubicBezTo>
                    <a:pt x="4590" y="14604"/>
                    <a:pt x="4595" y="14621"/>
                    <a:pt x="4599" y="14633"/>
                  </a:cubicBezTo>
                  <a:lnTo>
                    <a:pt x="4044" y="14949"/>
                  </a:lnTo>
                  <a:close/>
                  <a:moveTo>
                    <a:pt x="4598" y="14582"/>
                  </a:moveTo>
                  <a:cubicBezTo>
                    <a:pt x="4586" y="14546"/>
                    <a:pt x="4572" y="14498"/>
                    <a:pt x="4558" y="14450"/>
                  </a:cubicBezTo>
                  <a:cubicBezTo>
                    <a:pt x="4533" y="14368"/>
                    <a:pt x="4510" y="14288"/>
                    <a:pt x="4503" y="14264"/>
                  </a:cubicBezTo>
                  <a:cubicBezTo>
                    <a:pt x="4577" y="14266"/>
                    <a:pt x="4657" y="14267"/>
                    <a:pt x="4687" y="14267"/>
                  </a:cubicBezTo>
                  <a:cubicBezTo>
                    <a:pt x="4693" y="14267"/>
                    <a:pt x="4697" y="14267"/>
                    <a:pt x="4699" y="14267"/>
                  </a:cubicBezTo>
                  <a:cubicBezTo>
                    <a:pt x="4700" y="14266"/>
                    <a:pt x="4700" y="14266"/>
                    <a:pt x="4700" y="14266"/>
                  </a:cubicBezTo>
                  <a:cubicBezTo>
                    <a:pt x="4700" y="14267"/>
                    <a:pt x="4701" y="14267"/>
                    <a:pt x="4704" y="14266"/>
                  </a:cubicBezTo>
                  <a:cubicBezTo>
                    <a:pt x="4709" y="14261"/>
                    <a:pt x="4707" y="14261"/>
                    <a:pt x="4708" y="14260"/>
                  </a:cubicBezTo>
                  <a:cubicBezTo>
                    <a:pt x="4708" y="14260"/>
                    <a:pt x="4708" y="14259"/>
                    <a:pt x="4708" y="14259"/>
                  </a:cubicBezTo>
                  <a:cubicBezTo>
                    <a:pt x="4708" y="14258"/>
                    <a:pt x="4708" y="14258"/>
                    <a:pt x="4708" y="14257"/>
                  </a:cubicBezTo>
                  <a:cubicBezTo>
                    <a:pt x="4709" y="14256"/>
                    <a:pt x="4709" y="14253"/>
                    <a:pt x="4709" y="14251"/>
                  </a:cubicBezTo>
                  <a:cubicBezTo>
                    <a:pt x="4710" y="14245"/>
                    <a:pt x="4710" y="14238"/>
                    <a:pt x="4711" y="14228"/>
                  </a:cubicBezTo>
                  <a:cubicBezTo>
                    <a:pt x="4712" y="14208"/>
                    <a:pt x="4714" y="14180"/>
                    <a:pt x="4717" y="14147"/>
                  </a:cubicBezTo>
                  <a:cubicBezTo>
                    <a:pt x="4718" y="14135"/>
                    <a:pt x="4718" y="14121"/>
                    <a:pt x="4719" y="14108"/>
                  </a:cubicBezTo>
                  <a:cubicBezTo>
                    <a:pt x="4749" y="14092"/>
                    <a:pt x="4899" y="14012"/>
                    <a:pt x="4944" y="13989"/>
                  </a:cubicBezTo>
                  <a:cubicBezTo>
                    <a:pt x="4945" y="13991"/>
                    <a:pt x="4945" y="13992"/>
                    <a:pt x="4946" y="13994"/>
                  </a:cubicBezTo>
                  <a:cubicBezTo>
                    <a:pt x="4946" y="13995"/>
                    <a:pt x="4946" y="13996"/>
                    <a:pt x="4946" y="13997"/>
                  </a:cubicBezTo>
                  <a:cubicBezTo>
                    <a:pt x="4946" y="13999"/>
                    <a:pt x="4947" y="14001"/>
                    <a:pt x="4948" y="14003"/>
                  </a:cubicBezTo>
                  <a:cubicBezTo>
                    <a:pt x="4948" y="14006"/>
                    <a:pt x="4949" y="14007"/>
                    <a:pt x="4949" y="14009"/>
                  </a:cubicBezTo>
                  <a:cubicBezTo>
                    <a:pt x="4950" y="14010"/>
                    <a:pt x="4950" y="14010"/>
                    <a:pt x="4950" y="14011"/>
                  </a:cubicBezTo>
                  <a:cubicBezTo>
                    <a:pt x="4950" y="14013"/>
                    <a:pt x="4951" y="14015"/>
                    <a:pt x="4951" y="14016"/>
                  </a:cubicBezTo>
                  <a:cubicBezTo>
                    <a:pt x="4952" y="14017"/>
                    <a:pt x="4952" y="14019"/>
                    <a:pt x="4953" y="14020"/>
                  </a:cubicBezTo>
                  <a:cubicBezTo>
                    <a:pt x="4953" y="14022"/>
                    <a:pt x="4953" y="14022"/>
                    <a:pt x="4953" y="14022"/>
                  </a:cubicBezTo>
                  <a:cubicBezTo>
                    <a:pt x="4953" y="14022"/>
                    <a:pt x="4953" y="14022"/>
                    <a:pt x="4953" y="14022"/>
                  </a:cubicBezTo>
                  <a:cubicBezTo>
                    <a:pt x="4965" y="14058"/>
                    <a:pt x="4987" y="14114"/>
                    <a:pt x="5024" y="14178"/>
                  </a:cubicBezTo>
                  <a:cubicBezTo>
                    <a:pt x="5055" y="14230"/>
                    <a:pt x="5078" y="14279"/>
                    <a:pt x="5092" y="14315"/>
                  </a:cubicBezTo>
                  <a:cubicBezTo>
                    <a:pt x="5098" y="14327"/>
                    <a:pt x="5101" y="14337"/>
                    <a:pt x="5105" y="14345"/>
                  </a:cubicBezTo>
                  <a:cubicBezTo>
                    <a:pt x="4611" y="14626"/>
                    <a:pt x="4611" y="14626"/>
                    <a:pt x="4611" y="14626"/>
                  </a:cubicBezTo>
                  <a:cubicBezTo>
                    <a:pt x="4611" y="14626"/>
                    <a:pt x="4611" y="14626"/>
                    <a:pt x="4611" y="14626"/>
                  </a:cubicBezTo>
                  <a:cubicBezTo>
                    <a:pt x="4608" y="14615"/>
                    <a:pt x="4603" y="14600"/>
                    <a:pt x="4598" y="14582"/>
                  </a:cubicBezTo>
                  <a:close/>
                  <a:moveTo>
                    <a:pt x="5063" y="14155"/>
                  </a:moveTo>
                  <a:cubicBezTo>
                    <a:pt x="5026" y="14093"/>
                    <a:pt x="5005" y="14036"/>
                    <a:pt x="4994" y="14000"/>
                  </a:cubicBezTo>
                  <a:cubicBezTo>
                    <a:pt x="5010" y="13988"/>
                    <a:pt x="5052" y="13956"/>
                    <a:pt x="5095" y="13923"/>
                  </a:cubicBezTo>
                  <a:cubicBezTo>
                    <a:pt x="5149" y="13882"/>
                    <a:pt x="5206" y="13840"/>
                    <a:pt x="5212" y="13836"/>
                  </a:cubicBezTo>
                  <a:cubicBezTo>
                    <a:pt x="5212" y="13836"/>
                    <a:pt x="5212" y="13836"/>
                    <a:pt x="5212" y="13836"/>
                  </a:cubicBezTo>
                  <a:cubicBezTo>
                    <a:pt x="5212" y="13835"/>
                    <a:pt x="5212" y="13835"/>
                    <a:pt x="5212" y="13835"/>
                  </a:cubicBezTo>
                  <a:cubicBezTo>
                    <a:pt x="5216" y="13833"/>
                    <a:pt x="5215" y="13833"/>
                    <a:pt x="5216" y="13832"/>
                  </a:cubicBezTo>
                  <a:cubicBezTo>
                    <a:pt x="5217" y="13831"/>
                    <a:pt x="5217" y="13830"/>
                    <a:pt x="5218" y="13829"/>
                  </a:cubicBezTo>
                  <a:cubicBezTo>
                    <a:pt x="5219" y="13827"/>
                    <a:pt x="5221" y="13823"/>
                    <a:pt x="5224" y="13819"/>
                  </a:cubicBezTo>
                  <a:cubicBezTo>
                    <a:pt x="5229" y="13811"/>
                    <a:pt x="5235" y="13799"/>
                    <a:pt x="5243" y="13785"/>
                  </a:cubicBezTo>
                  <a:cubicBezTo>
                    <a:pt x="5259" y="13757"/>
                    <a:pt x="5279" y="13720"/>
                    <a:pt x="5299" y="13683"/>
                  </a:cubicBezTo>
                  <a:cubicBezTo>
                    <a:pt x="5334" y="13620"/>
                    <a:pt x="5368" y="13557"/>
                    <a:pt x="5377" y="13539"/>
                  </a:cubicBezTo>
                  <a:cubicBezTo>
                    <a:pt x="5417" y="13545"/>
                    <a:pt x="5417" y="13545"/>
                    <a:pt x="5417" y="13545"/>
                  </a:cubicBezTo>
                  <a:cubicBezTo>
                    <a:pt x="5462" y="13554"/>
                    <a:pt x="5618" y="13585"/>
                    <a:pt x="5666" y="13592"/>
                  </a:cubicBezTo>
                  <a:cubicBezTo>
                    <a:pt x="5632" y="13894"/>
                    <a:pt x="5632" y="13894"/>
                    <a:pt x="5632" y="13894"/>
                  </a:cubicBezTo>
                  <a:cubicBezTo>
                    <a:pt x="5610" y="13985"/>
                    <a:pt x="5610" y="13985"/>
                    <a:pt x="5610" y="13985"/>
                  </a:cubicBezTo>
                  <a:cubicBezTo>
                    <a:pt x="5144" y="14322"/>
                    <a:pt x="5144" y="14322"/>
                    <a:pt x="5144" y="14322"/>
                  </a:cubicBezTo>
                  <a:cubicBezTo>
                    <a:pt x="5130" y="14285"/>
                    <a:pt x="5103" y="14223"/>
                    <a:pt x="5063" y="14155"/>
                  </a:cubicBezTo>
                  <a:close/>
                  <a:moveTo>
                    <a:pt x="5667" y="14028"/>
                  </a:moveTo>
                  <a:cubicBezTo>
                    <a:pt x="5668" y="14024"/>
                    <a:pt x="5668" y="14024"/>
                    <a:pt x="5668" y="14024"/>
                  </a:cubicBezTo>
                  <a:cubicBezTo>
                    <a:pt x="5789" y="13937"/>
                    <a:pt x="5789" y="13937"/>
                    <a:pt x="5789" y="13937"/>
                  </a:cubicBezTo>
                  <a:cubicBezTo>
                    <a:pt x="5838" y="13937"/>
                    <a:pt x="6047" y="13936"/>
                    <a:pt x="6214" y="13930"/>
                  </a:cubicBezTo>
                  <a:cubicBezTo>
                    <a:pt x="6183" y="14201"/>
                    <a:pt x="6183" y="14201"/>
                    <a:pt x="6183" y="14201"/>
                  </a:cubicBezTo>
                  <a:cubicBezTo>
                    <a:pt x="6182" y="14201"/>
                    <a:pt x="6181" y="14201"/>
                    <a:pt x="6181" y="14201"/>
                  </a:cubicBezTo>
                  <a:cubicBezTo>
                    <a:pt x="6177" y="14200"/>
                    <a:pt x="6177" y="14200"/>
                    <a:pt x="6177" y="14200"/>
                  </a:cubicBezTo>
                  <a:cubicBezTo>
                    <a:pt x="6119" y="14295"/>
                    <a:pt x="6119" y="14295"/>
                    <a:pt x="6119" y="14295"/>
                  </a:cubicBezTo>
                  <a:cubicBezTo>
                    <a:pt x="6038" y="14569"/>
                    <a:pt x="6038" y="14569"/>
                    <a:pt x="6038" y="14569"/>
                  </a:cubicBezTo>
                  <a:cubicBezTo>
                    <a:pt x="5605" y="14188"/>
                    <a:pt x="5605" y="14188"/>
                    <a:pt x="5605" y="14188"/>
                  </a:cubicBezTo>
                  <a:lnTo>
                    <a:pt x="5667" y="14028"/>
                  </a:lnTo>
                  <a:close/>
                  <a:moveTo>
                    <a:pt x="6132" y="14301"/>
                  </a:moveTo>
                  <a:cubicBezTo>
                    <a:pt x="6185" y="14215"/>
                    <a:pt x="6185" y="14215"/>
                    <a:pt x="6185" y="14215"/>
                  </a:cubicBezTo>
                  <a:cubicBezTo>
                    <a:pt x="6211" y="14217"/>
                    <a:pt x="6354" y="14226"/>
                    <a:pt x="6392" y="14227"/>
                  </a:cubicBezTo>
                  <a:cubicBezTo>
                    <a:pt x="6307" y="14610"/>
                    <a:pt x="6307" y="14610"/>
                    <a:pt x="6307" y="14610"/>
                  </a:cubicBezTo>
                  <a:cubicBezTo>
                    <a:pt x="6180" y="14610"/>
                    <a:pt x="6093" y="14610"/>
                    <a:pt x="6093" y="14610"/>
                  </a:cubicBezTo>
                  <a:cubicBezTo>
                    <a:pt x="6093" y="14617"/>
                    <a:pt x="6093" y="14617"/>
                    <a:pt x="6093" y="14617"/>
                  </a:cubicBezTo>
                  <a:cubicBezTo>
                    <a:pt x="6050" y="14579"/>
                    <a:pt x="6050" y="14579"/>
                    <a:pt x="6050" y="14579"/>
                  </a:cubicBezTo>
                  <a:lnTo>
                    <a:pt x="6132" y="14301"/>
                  </a:lnTo>
                  <a:close/>
                  <a:moveTo>
                    <a:pt x="6335" y="14675"/>
                  </a:moveTo>
                  <a:cubicBezTo>
                    <a:pt x="6346" y="14859"/>
                    <a:pt x="6346" y="14859"/>
                    <a:pt x="6346" y="14859"/>
                  </a:cubicBezTo>
                  <a:cubicBezTo>
                    <a:pt x="6122" y="14847"/>
                    <a:pt x="6122" y="14847"/>
                    <a:pt x="6122" y="14847"/>
                  </a:cubicBezTo>
                  <a:cubicBezTo>
                    <a:pt x="6108" y="14676"/>
                    <a:pt x="6108" y="14676"/>
                    <a:pt x="6108" y="14676"/>
                  </a:cubicBezTo>
                  <a:cubicBezTo>
                    <a:pt x="6140" y="14676"/>
                    <a:pt x="6225" y="14676"/>
                    <a:pt x="6335" y="14675"/>
                  </a:cubicBezTo>
                  <a:close/>
                  <a:moveTo>
                    <a:pt x="7281" y="13363"/>
                  </a:moveTo>
                  <a:cubicBezTo>
                    <a:pt x="7248" y="13355"/>
                    <a:pt x="7185" y="13340"/>
                    <a:pt x="7120" y="13324"/>
                  </a:cubicBezTo>
                  <a:cubicBezTo>
                    <a:pt x="7032" y="13302"/>
                    <a:pt x="6941" y="13280"/>
                    <a:pt x="6925" y="13275"/>
                  </a:cubicBezTo>
                  <a:cubicBezTo>
                    <a:pt x="6925" y="13273"/>
                    <a:pt x="6925" y="13270"/>
                    <a:pt x="6925" y="13266"/>
                  </a:cubicBezTo>
                  <a:cubicBezTo>
                    <a:pt x="6925" y="13213"/>
                    <a:pt x="6937" y="13020"/>
                    <a:pt x="6947" y="12848"/>
                  </a:cubicBezTo>
                  <a:cubicBezTo>
                    <a:pt x="7318" y="12906"/>
                    <a:pt x="7318" y="12906"/>
                    <a:pt x="7318" y="12906"/>
                  </a:cubicBezTo>
                  <a:lnTo>
                    <a:pt x="7281" y="13363"/>
                  </a:lnTo>
                  <a:close/>
                  <a:moveTo>
                    <a:pt x="6929" y="12919"/>
                  </a:moveTo>
                  <a:cubicBezTo>
                    <a:pt x="6899" y="12917"/>
                    <a:pt x="6642" y="12900"/>
                    <a:pt x="6548" y="12894"/>
                  </a:cubicBezTo>
                  <a:cubicBezTo>
                    <a:pt x="6592" y="12481"/>
                    <a:pt x="6592" y="12481"/>
                    <a:pt x="6592" y="12481"/>
                  </a:cubicBezTo>
                  <a:cubicBezTo>
                    <a:pt x="6952" y="12562"/>
                    <a:pt x="6952" y="12562"/>
                    <a:pt x="6952" y="12562"/>
                  </a:cubicBezTo>
                  <a:cubicBezTo>
                    <a:pt x="6950" y="12594"/>
                    <a:pt x="6939" y="12756"/>
                    <a:pt x="6929" y="12919"/>
                  </a:cubicBezTo>
                  <a:close/>
                  <a:moveTo>
                    <a:pt x="6593" y="12467"/>
                  </a:moveTo>
                  <a:cubicBezTo>
                    <a:pt x="6651" y="11922"/>
                    <a:pt x="6651" y="11922"/>
                    <a:pt x="6651" y="11922"/>
                  </a:cubicBezTo>
                  <a:cubicBezTo>
                    <a:pt x="6758" y="11945"/>
                    <a:pt x="7043" y="12005"/>
                    <a:pt x="7107" y="12016"/>
                  </a:cubicBezTo>
                  <a:cubicBezTo>
                    <a:pt x="7109" y="12290"/>
                    <a:pt x="7109" y="12290"/>
                    <a:pt x="7109" y="12290"/>
                  </a:cubicBezTo>
                  <a:cubicBezTo>
                    <a:pt x="6956" y="12549"/>
                    <a:pt x="6956" y="12549"/>
                    <a:pt x="6956" y="12549"/>
                  </a:cubicBezTo>
                  <a:lnTo>
                    <a:pt x="6593" y="12467"/>
                  </a:lnTo>
                  <a:close/>
                  <a:moveTo>
                    <a:pt x="7107" y="11963"/>
                  </a:moveTo>
                  <a:cubicBezTo>
                    <a:pt x="7106" y="11964"/>
                    <a:pt x="7106" y="11964"/>
                    <a:pt x="7106" y="11964"/>
                  </a:cubicBezTo>
                  <a:cubicBezTo>
                    <a:pt x="7107" y="12002"/>
                    <a:pt x="7107" y="12002"/>
                    <a:pt x="7107" y="12002"/>
                  </a:cubicBezTo>
                  <a:cubicBezTo>
                    <a:pt x="7071" y="11996"/>
                    <a:pt x="6965" y="11974"/>
                    <a:pt x="6861" y="11952"/>
                  </a:cubicBezTo>
                  <a:cubicBezTo>
                    <a:pt x="6779" y="11935"/>
                    <a:pt x="6699" y="11918"/>
                    <a:pt x="6653" y="11908"/>
                  </a:cubicBezTo>
                  <a:cubicBezTo>
                    <a:pt x="6684" y="11618"/>
                    <a:pt x="6684" y="11618"/>
                    <a:pt x="6684" y="11618"/>
                  </a:cubicBezTo>
                  <a:cubicBezTo>
                    <a:pt x="6972" y="11652"/>
                    <a:pt x="6972" y="11652"/>
                    <a:pt x="6972" y="11652"/>
                  </a:cubicBezTo>
                  <a:cubicBezTo>
                    <a:pt x="6987" y="11661"/>
                    <a:pt x="7124" y="11746"/>
                    <a:pt x="7166" y="11769"/>
                  </a:cubicBezTo>
                  <a:cubicBezTo>
                    <a:pt x="7169" y="11770"/>
                    <a:pt x="7171" y="11771"/>
                    <a:pt x="7173" y="11772"/>
                  </a:cubicBezTo>
                  <a:cubicBezTo>
                    <a:pt x="7135" y="11883"/>
                    <a:pt x="7107" y="11963"/>
                    <a:pt x="7107" y="11963"/>
                  </a:cubicBezTo>
                  <a:close/>
                  <a:moveTo>
                    <a:pt x="7173" y="11757"/>
                  </a:moveTo>
                  <a:cubicBezTo>
                    <a:pt x="7167" y="11753"/>
                    <a:pt x="7158" y="11749"/>
                    <a:pt x="7148" y="11743"/>
                  </a:cubicBezTo>
                  <a:cubicBezTo>
                    <a:pt x="7129" y="11731"/>
                    <a:pt x="7103" y="11716"/>
                    <a:pt x="7078" y="11701"/>
                  </a:cubicBezTo>
                  <a:cubicBezTo>
                    <a:pt x="7028" y="11670"/>
                    <a:pt x="6979" y="11639"/>
                    <a:pt x="6979" y="11639"/>
                  </a:cubicBezTo>
                  <a:cubicBezTo>
                    <a:pt x="6977" y="11638"/>
                    <a:pt x="6977" y="11638"/>
                    <a:pt x="6977" y="11638"/>
                  </a:cubicBezTo>
                  <a:cubicBezTo>
                    <a:pt x="6685" y="11604"/>
                    <a:pt x="6685" y="11604"/>
                    <a:pt x="6685" y="11604"/>
                  </a:cubicBezTo>
                  <a:cubicBezTo>
                    <a:pt x="6728" y="11204"/>
                    <a:pt x="6728" y="11204"/>
                    <a:pt x="6728" y="11204"/>
                  </a:cubicBezTo>
                  <a:cubicBezTo>
                    <a:pt x="7062" y="11369"/>
                    <a:pt x="7062" y="11369"/>
                    <a:pt x="7062" y="11369"/>
                  </a:cubicBezTo>
                  <a:cubicBezTo>
                    <a:pt x="7311" y="11374"/>
                    <a:pt x="7311" y="11374"/>
                    <a:pt x="7311" y="11374"/>
                  </a:cubicBezTo>
                  <a:cubicBezTo>
                    <a:pt x="7293" y="11428"/>
                    <a:pt x="7273" y="11485"/>
                    <a:pt x="7253" y="11542"/>
                  </a:cubicBezTo>
                  <a:cubicBezTo>
                    <a:pt x="7227" y="11618"/>
                    <a:pt x="7201" y="11693"/>
                    <a:pt x="7178" y="11759"/>
                  </a:cubicBezTo>
                  <a:cubicBezTo>
                    <a:pt x="7176" y="11758"/>
                    <a:pt x="7175" y="11758"/>
                    <a:pt x="7173" y="11757"/>
                  </a:cubicBezTo>
                  <a:close/>
                  <a:moveTo>
                    <a:pt x="7066" y="11355"/>
                  </a:moveTo>
                  <a:cubicBezTo>
                    <a:pt x="6729" y="11189"/>
                    <a:pt x="6729" y="11189"/>
                    <a:pt x="6729" y="11189"/>
                  </a:cubicBezTo>
                  <a:cubicBezTo>
                    <a:pt x="6756" y="10939"/>
                    <a:pt x="6756" y="10939"/>
                    <a:pt x="6756" y="10939"/>
                  </a:cubicBezTo>
                  <a:cubicBezTo>
                    <a:pt x="6763" y="10940"/>
                    <a:pt x="6771" y="10941"/>
                    <a:pt x="6781" y="10943"/>
                  </a:cubicBezTo>
                  <a:cubicBezTo>
                    <a:pt x="6817" y="10950"/>
                    <a:pt x="6870" y="10962"/>
                    <a:pt x="6935" y="10980"/>
                  </a:cubicBezTo>
                  <a:cubicBezTo>
                    <a:pt x="7053" y="11011"/>
                    <a:pt x="7212" y="11063"/>
                    <a:pt x="7389" y="11143"/>
                  </a:cubicBezTo>
                  <a:cubicBezTo>
                    <a:pt x="7388" y="11146"/>
                    <a:pt x="7388" y="11148"/>
                    <a:pt x="7387" y="11151"/>
                  </a:cubicBezTo>
                  <a:cubicBezTo>
                    <a:pt x="7379" y="11175"/>
                    <a:pt x="7367" y="11209"/>
                    <a:pt x="7354" y="11249"/>
                  </a:cubicBezTo>
                  <a:cubicBezTo>
                    <a:pt x="7342" y="11283"/>
                    <a:pt x="7329" y="11320"/>
                    <a:pt x="7316" y="11361"/>
                  </a:cubicBezTo>
                  <a:lnTo>
                    <a:pt x="7066" y="11355"/>
                  </a:lnTo>
                  <a:close/>
                  <a:moveTo>
                    <a:pt x="7268" y="11021"/>
                  </a:moveTo>
                  <a:cubicBezTo>
                    <a:pt x="7349" y="10509"/>
                    <a:pt x="7349" y="10509"/>
                    <a:pt x="7349" y="10509"/>
                  </a:cubicBezTo>
                  <a:cubicBezTo>
                    <a:pt x="7453" y="10555"/>
                    <a:pt x="7545" y="10595"/>
                    <a:pt x="7596" y="10616"/>
                  </a:cubicBezTo>
                  <a:cubicBezTo>
                    <a:pt x="7605" y="10620"/>
                    <a:pt x="7613" y="10623"/>
                    <a:pt x="7619" y="10626"/>
                  </a:cubicBezTo>
                  <a:cubicBezTo>
                    <a:pt x="7556" y="10848"/>
                    <a:pt x="7500" y="11049"/>
                    <a:pt x="7482" y="11114"/>
                  </a:cubicBezTo>
                  <a:cubicBezTo>
                    <a:pt x="7480" y="11113"/>
                    <a:pt x="7479" y="11113"/>
                    <a:pt x="7478" y="11112"/>
                  </a:cubicBezTo>
                  <a:cubicBezTo>
                    <a:pt x="7405" y="11077"/>
                    <a:pt x="7335" y="11047"/>
                    <a:pt x="7268" y="11021"/>
                  </a:cubicBezTo>
                  <a:close/>
                  <a:moveTo>
                    <a:pt x="7601" y="10603"/>
                  </a:moveTo>
                  <a:cubicBezTo>
                    <a:pt x="7577" y="10593"/>
                    <a:pt x="7543" y="10579"/>
                    <a:pt x="7504" y="10562"/>
                  </a:cubicBezTo>
                  <a:cubicBezTo>
                    <a:pt x="7424" y="10527"/>
                    <a:pt x="7320" y="10481"/>
                    <a:pt x="7217" y="10435"/>
                  </a:cubicBezTo>
                  <a:cubicBezTo>
                    <a:pt x="7051" y="10360"/>
                    <a:pt x="6887" y="10287"/>
                    <a:pt x="6828" y="10260"/>
                  </a:cubicBezTo>
                  <a:cubicBezTo>
                    <a:pt x="6855" y="10005"/>
                    <a:pt x="6855" y="10005"/>
                    <a:pt x="6855" y="10005"/>
                  </a:cubicBezTo>
                  <a:cubicBezTo>
                    <a:pt x="6934" y="9950"/>
                    <a:pt x="6934" y="9950"/>
                    <a:pt x="6934" y="9950"/>
                  </a:cubicBezTo>
                  <a:cubicBezTo>
                    <a:pt x="7686" y="10390"/>
                    <a:pt x="7686" y="10390"/>
                    <a:pt x="7686" y="10390"/>
                  </a:cubicBezTo>
                  <a:cubicBezTo>
                    <a:pt x="7676" y="10425"/>
                    <a:pt x="7666" y="10460"/>
                    <a:pt x="7656" y="10495"/>
                  </a:cubicBezTo>
                  <a:cubicBezTo>
                    <a:pt x="7645" y="10535"/>
                    <a:pt x="7634" y="10574"/>
                    <a:pt x="7623" y="10612"/>
                  </a:cubicBezTo>
                  <a:cubicBezTo>
                    <a:pt x="7617" y="10610"/>
                    <a:pt x="7610" y="10607"/>
                    <a:pt x="7601" y="10603"/>
                  </a:cubicBezTo>
                  <a:close/>
                  <a:moveTo>
                    <a:pt x="6947" y="9942"/>
                  </a:moveTo>
                  <a:cubicBezTo>
                    <a:pt x="7209" y="9761"/>
                    <a:pt x="7209" y="9761"/>
                    <a:pt x="7209" y="9761"/>
                  </a:cubicBezTo>
                  <a:cubicBezTo>
                    <a:pt x="7295" y="9819"/>
                    <a:pt x="7645" y="10054"/>
                    <a:pt x="7747" y="10121"/>
                  </a:cubicBezTo>
                  <a:cubicBezTo>
                    <a:pt x="7753" y="10125"/>
                    <a:pt x="7757" y="10128"/>
                    <a:pt x="7761" y="10130"/>
                  </a:cubicBezTo>
                  <a:cubicBezTo>
                    <a:pt x="7739" y="10205"/>
                    <a:pt x="7715" y="10289"/>
                    <a:pt x="7690" y="10376"/>
                  </a:cubicBezTo>
                  <a:lnTo>
                    <a:pt x="6947" y="9942"/>
                  </a:lnTo>
                  <a:close/>
                  <a:moveTo>
                    <a:pt x="7755" y="10109"/>
                  </a:moveTo>
                  <a:cubicBezTo>
                    <a:pt x="7738" y="10099"/>
                    <a:pt x="7715" y="10083"/>
                    <a:pt x="7687" y="10065"/>
                  </a:cubicBezTo>
                  <a:cubicBezTo>
                    <a:pt x="7632" y="10028"/>
                    <a:pt x="7559" y="9979"/>
                    <a:pt x="7486" y="9930"/>
                  </a:cubicBezTo>
                  <a:cubicBezTo>
                    <a:pt x="7377" y="9857"/>
                    <a:pt x="7268" y="9784"/>
                    <a:pt x="7221" y="9752"/>
                  </a:cubicBezTo>
                  <a:cubicBezTo>
                    <a:pt x="7257" y="9728"/>
                    <a:pt x="7257" y="9728"/>
                    <a:pt x="7257" y="9728"/>
                  </a:cubicBezTo>
                  <a:cubicBezTo>
                    <a:pt x="7364" y="9517"/>
                    <a:pt x="7364" y="9517"/>
                    <a:pt x="7364" y="9517"/>
                  </a:cubicBezTo>
                  <a:cubicBezTo>
                    <a:pt x="7859" y="9838"/>
                    <a:pt x="7859" y="9838"/>
                    <a:pt x="7859" y="9838"/>
                  </a:cubicBezTo>
                  <a:cubicBezTo>
                    <a:pt x="7858" y="9839"/>
                    <a:pt x="7856" y="9842"/>
                    <a:pt x="7856" y="9843"/>
                  </a:cubicBezTo>
                  <a:cubicBezTo>
                    <a:pt x="7856" y="9843"/>
                    <a:pt x="7856" y="9843"/>
                    <a:pt x="7856" y="9843"/>
                  </a:cubicBezTo>
                  <a:cubicBezTo>
                    <a:pt x="7855" y="9843"/>
                    <a:pt x="7854" y="9844"/>
                    <a:pt x="7853" y="9845"/>
                  </a:cubicBezTo>
                  <a:cubicBezTo>
                    <a:pt x="7851" y="9847"/>
                    <a:pt x="7850" y="9848"/>
                    <a:pt x="7850" y="9849"/>
                  </a:cubicBezTo>
                  <a:cubicBezTo>
                    <a:pt x="7848" y="9851"/>
                    <a:pt x="7847" y="9853"/>
                    <a:pt x="7847" y="9855"/>
                  </a:cubicBezTo>
                  <a:cubicBezTo>
                    <a:pt x="7845" y="9858"/>
                    <a:pt x="7844" y="9862"/>
                    <a:pt x="7842" y="9867"/>
                  </a:cubicBezTo>
                  <a:cubicBezTo>
                    <a:pt x="7838" y="9877"/>
                    <a:pt x="7833" y="9891"/>
                    <a:pt x="7828" y="9909"/>
                  </a:cubicBezTo>
                  <a:cubicBezTo>
                    <a:pt x="7817" y="9944"/>
                    <a:pt x="7801" y="9994"/>
                    <a:pt x="7784" y="10054"/>
                  </a:cubicBezTo>
                  <a:cubicBezTo>
                    <a:pt x="7778" y="10074"/>
                    <a:pt x="7772" y="10095"/>
                    <a:pt x="7765" y="10116"/>
                  </a:cubicBezTo>
                  <a:cubicBezTo>
                    <a:pt x="7762" y="10114"/>
                    <a:pt x="7759" y="10112"/>
                    <a:pt x="7755" y="10109"/>
                  </a:cubicBezTo>
                  <a:close/>
                  <a:moveTo>
                    <a:pt x="7370" y="9504"/>
                  </a:moveTo>
                  <a:cubicBezTo>
                    <a:pt x="7505" y="9238"/>
                    <a:pt x="7505" y="9238"/>
                    <a:pt x="7505" y="9238"/>
                  </a:cubicBezTo>
                  <a:cubicBezTo>
                    <a:pt x="8026" y="9589"/>
                    <a:pt x="8026" y="9589"/>
                    <a:pt x="8026" y="9589"/>
                  </a:cubicBezTo>
                  <a:cubicBezTo>
                    <a:pt x="8022" y="9595"/>
                    <a:pt x="8017" y="9602"/>
                    <a:pt x="8013" y="9609"/>
                  </a:cubicBezTo>
                  <a:cubicBezTo>
                    <a:pt x="7945" y="9712"/>
                    <a:pt x="7892" y="9793"/>
                    <a:pt x="7867" y="9827"/>
                  </a:cubicBezTo>
                  <a:lnTo>
                    <a:pt x="7370" y="9504"/>
                  </a:lnTo>
                  <a:close/>
                  <a:moveTo>
                    <a:pt x="7512" y="9225"/>
                  </a:moveTo>
                  <a:cubicBezTo>
                    <a:pt x="7625" y="9003"/>
                    <a:pt x="7625" y="9003"/>
                    <a:pt x="7625" y="9003"/>
                  </a:cubicBezTo>
                  <a:cubicBezTo>
                    <a:pt x="8176" y="9359"/>
                    <a:pt x="8176" y="9359"/>
                    <a:pt x="8176" y="9359"/>
                  </a:cubicBezTo>
                  <a:cubicBezTo>
                    <a:pt x="8125" y="9437"/>
                    <a:pt x="8077" y="9511"/>
                    <a:pt x="8034" y="9577"/>
                  </a:cubicBezTo>
                  <a:lnTo>
                    <a:pt x="7512" y="9225"/>
                  </a:lnTo>
                  <a:close/>
                  <a:moveTo>
                    <a:pt x="7582" y="8943"/>
                  </a:moveTo>
                  <a:cubicBezTo>
                    <a:pt x="7565" y="8934"/>
                    <a:pt x="7565" y="8934"/>
                    <a:pt x="7565" y="8934"/>
                  </a:cubicBezTo>
                  <a:cubicBezTo>
                    <a:pt x="7648" y="8773"/>
                    <a:pt x="7648" y="8773"/>
                    <a:pt x="7648" y="8773"/>
                  </a:cubicBezTo>
                  <a:cubicBezTo>
                    <a:pt x="7664" y="8781"/>
                    <a:pt x="7664" y="8781"/>
                    <a:pt x="7664" y="8781"/>
                  </a:cubicBezTo>
                  <a:lnTo>
                    <a:pt x="7582" y="8943"/>
                  </a:lnTo>
                  <a:close/>
                  <a:moveTo>
                    <a:pt x="7654" y="8761"/>
                  </a:moveTo>
                  <a:cubicBezTo>
                    <a:pt x="7733" y="8605"/>
                    <a:pt x="7733" y="8605"/>
                    <a:pt x="7733" y="8605"/>
                  </a:cubicBezTo>
                  <a:cubicBezTo>
                    <a:pt x="7749" y="8613"/>
                    <a:pt x="7749" y="8613"/>
                    <a:pt x="7749" y="8613"/>
                  </a:cubicBezTo>
                  <a:cubicBezTo>
                    <a:pt x="7670" y="8769"/>
                    <a:pt x="7670" y="8769"/>
                    <a:pt x="7670" y="8769"/>
                  </a:cubicBezTo>
                  <a:lnTo>
                    <a:pt x="7654" y="8761"/>
                  </a:lnTo>
                  <a:close/>
                  <a:moveTo>
                    <a:pt x="7740" y="8592"/>
                  </a:moveTo>
                  <a:cubicBezTo>
                    <a:pt x="7820" y="8435"/>
                    <a:pt x="7820" y="8435"/>
                    <a:pt x="7820" y="8435"/>
                  </a:cubicBezTo>
                  <a:cubicBezTo>
                    <a:pt x="7836" y="8442"/>
                    <a:pt x="7836" y="8442"/>
                    <a:pt x="7836" y="8442"/>
                  </a:cubicBezTo>
                  <a:cubicBezTo>
                    <a:pt x="7756" y="8600"/>
                    <a:pt x="7756" y="8600"/>
                    <a:pt x="7756" y="8600"/>
                  </a:cubicBezTo>
                  <a:lnTo>
                    <a:pt x="7740" y="8592"/>
                  </a:lnTo>
                  <a:close/>
                  <a:moveTo>
                    <a:pt x="7826" y="8423"/>
                  </a:moveTo>
                  <a:cubicBezTo>
                    <a:pt x="7896" y="8286"/>
                    <a:pt x="7896" y="8286"/>
                    <a:pt x="7896" y="8286"/>
                  </a:cubicBezTo>
                  <a:cubicBezTo>
                    <a:pt x="7911" y="8293"/>
                    <a:pt x="7911" y="8293"/>
                    <a:pt x="7911" y="8293"/>
                  </a:cubicBezTo>
                  <a:cubicBezTo>
                    <a:pt x="7842" y="8430"/>
                    <a:pt x="7842" y="8430"/>
                    <a:pt x="7842" y="8430"/>
                  </a:cubicBezTo>
                  <a:lnTo>
                    <a:pt x="7826" y="8423"/>
                  </a:lnTo>
                  <a:close/>
                  <a:moveTo>
                    <a:pt x="7902" y="8273"/>
                  </a:moveTo>
                  <a:cubicBezTo>
                    <a:pt x="7970" y="8140"/>
                    <a:pt x="7970" y="8140"/>
                    <a:pt x="7970" y="8140"/>
                  </a:cubicBezTo>
                  <a:cubicBezTo>
                    <a:pt x="7836" y="8068"/>
                    <a:pt x="7836" y="8068"/>
                    <a:pt x="7836" y="8068"/>
                  </a:cubicBezTo>
                  <a:cubicBezTo>
                    <a:pt x="7765" y="8206"/>
                    <a:pt x="7765" y="8206"/>
                    <a:pt x="7765" y="8206"/>
                  </a:cubicBezTo>
                  <a:cubicBezTo>
                    <a:pt x="7476" y="8063"/>
                    <a:pt x="7476" y="8063"/>
                    <a:pt x="7476" y="8063"/>
                  </a:cubicBezTo>
                  <a:cubicBezTo>
                    <a:pt x="7534" y="7883"/>
                    <a:pt x="7534" y="7883"/>
                    <a:pt x="7534" y="7883"/>
                  </a:cubicBezTo>
                  <a:cubicBezTo>
                    <a:pt x="7706" y="7927"/>
                    <a:pt x="7948" y="8078"/>
                    <a:pt x="8002" y="8114"/>
                  </a:cubicBezTo>
                  <a:cubicBezTo>
                    <a:pt x="8002" y="8114"/>
                    <a:pt x="8002" y="8114"/>
                    <a:pt x="8002" y="8114"/>
                  </a:cubicBezTo>
                  <a:cubicBezTo>
                    <a:pt x="7918" y="8281"/>
                    <a:pt x="7918" y="8281"/>
                    <a:pt x="7918" y="8281"/>
                  </a:cubicBezTo>
                  <a:lnTo>
                    <a:pt x="7902" y="8273"/>
                  </a:lnTo>
                  <a:close/>
                  <a:moveTo>
                    <a:pt x="8015" y="7351"/>
                  </a:moveTo>
                  <a:cubicBezTo>
                    <a:pt x="8068" y="7320"/>
                    <a:pt x="8115" y="7285"/>
                    <a:pt x="8158" y="7248"/>
                  </a:cubicBezTo>
                  <a:cubicBezTo>
                    <a:pt x="8168" y="7255"/>
                    <a:pt x="8265" y="7327"/>
                    <a:pt x="8358" y="7394"/>
                  </a:cubicBezTo>
                  <a:cubicBezTo>
                    <a:pt x="8358" y="7394"/>
                    <a:pt x="8358" y="7394"/>
                    <a:pt x="8357" y="7395"/>
                  </a:cubicBezTo>
                  <a:cubicBezTo>
                    <a:pt x="8356" y="7398"/>
                    <a:pt x="8354" y="7403"/>
                    <a:pt x="8352" y="7408"/>
                  </a:cubicBezTo>
                  <a:cubicBezTo>
                    <a:pt x="8348" y="7419"/>
                    <a:pt x="8343" y="7434"/>
                    <a:pt x="8338" y="7451"/>
                  </a:cubicBezTo>
                  <a:cubicBezTo>
                    <a:pt x="8326" y="7484"/>
                    <a:pt x="8313" y="7523"/>
                    <a:pt x="8303" y="7551"/>
                  </a:cubicBezTo>
                  <a:cubicBezTo>
                    <a:pt x="8297" y="7567"/>
                    <a:pt x="8292" y="7579"/>
                    <a:pt x="8290" y="7583"/>
                  </a:cubicBezTo>
                  <a:cubicBezTo>
                    <a:pt x="8289" y="7583"/>
                    <a:pt x="8288" y="7583"/>
                    <a:pt x="8288" y="7583"/>
                  </a:cubicBezTo>
                  <a:lnTo>
                    <a:pt x="8015" y="7351"/>
                  </a:lnTo>
                  <a:close/>
                  <a:moveTo>
                    <a:pt x="8466" y="6785"/>
                  </a:moveTo>
                  <a:cubicBezTo>
                    <a:pt x="8460" y="6784"/>
                    <a:pt x="8460" y="6784"/>
                    <a:pt x="8460" y="6784"/>
                  </a:cubicBezTo>
                  <a:cubicBezTo>
                    <a:pt x="8459" y="6790"/>
                    <a:pt x="8459" y="6790"/>
                    <a:pt x="8459" y="6790"/>
                  </a:cubicBezTo>
                  <a:cubicBezTo>
                    <a:pt x="8458" y="6790"/>
                    <a:pt x="8426" y="6890"/>
                    <a:pt x="8344" y="7015"/>
                  </a:cubicBezTo>
                  <a:cubicBezTo>
                    <a:pt x="8261" y="7139"/>
                    <a:pt x="8130" y="7287"/>
                    <a:pt x="7933" y="7380"/>
                  </a:cubicBezTo>
                  <a:cubicBezTo>
                    <a:pt x="7586" y="7544"/>
                    <a:pt x="7241" y="7609"/>
                    <a:pt x="7156" y="7625"/>
                  </a:cubicBezTo>
                  <a:cubicBezTo>
                    <a:pt x="7144" y="7627"/>
                    <a:pt x="7139" y="7628"/>
                    <a:pt x="7135" y="7629"/>
                  </a:cubicBezTo>
                  <a:cubicBezTo>
                    <a:pt x="7127" y="7636"/>
                    <a:pt x="7131" y="7638"/>
                    <a:pt x="7130" y="7643"/>
                  </a:cubicBezTo>
                  <a:cubicBezTo>
                    <a:pt x="7130" y="7655"/>
                    <a:pt x="7132" y="7674"/>
                    <a:pt x="7135" y="7692"/>
                  </a:cubicBezTo>
                  <a:cubicBezTo>
                    <a:pt x="7077" y="7695"/>
                    <a:pt x="7022" y="7702"/>
                    <a:pt x="6972" y="7711"/>
                  </a:cubicBezTo>
                  <a:cubicBezTo>
                    <a:pt x="6882" y="7728"/>
                    <a:pt x="6816" y="7768"/>
                    <a:pt x="6774" y="7805"/>
                  </a:cubicBezTo>
                  <a:cubicBezTo>
                    <a:pt x="6731" y="7842"/>
                    <a:pt x="6711" y="7874"/>
                    <a:pt x="6708" y="7880"/>
                  </a:cubicBezTo>
                  <a:cubicBezTo>
                    <a:pt x="6708" y="7881"/>
                    <a:pt x="6708" y="7881"/>
                    <a:pt x="6708" y="7881"/>
                  </a:cubicBezTo>
                  <a:cubicBezTo>
                    <a:pt x="6707" y="7882"/>
                    <a:pt x="6707" y="7882"/>
                    <a:pt x="6707" y="7882"/>
                  </a:cubicBezTo>
                  <a:cubicBezTo>
                    <a:pt x="6679" y="7933"/>
                    <a:pt x="6653" y="7987"/>
                    <a:pt x="6638" y="8020"/>
                  </a:cubicBezTo>
                  <a:cubicBezTo>
                    <a:pt x="6633" y="8020"/>
                    <a:pt x="6627" y="8020"/>
                    <a:pt x="6620" y="8020"/>
                  </a:cubicBezTo>
                  <a:cubicBezTo>
                    <a:pt x="6611" y="8020"/>
                    <a:pt x="6600" y="8020"/>
                    <a:pt x="6589" y="8019"/>
                  </a:cubicBezTo>
                  <a:cubicBezTo>
                    <a:pt x="6586" y="8019"/>
                    <a:pt x="6573" y="8018"/>
                    <a:pt x="6553" y="8017"/>
                  </a:cubicBezTo>
                  <a:cubicBezTo>
                    <a:pt x="6575" y="7937"/>
                    <a:pt x="6599" y="7860"/>
                    <a:pt x="6635" y="7812"/>
                  </a:cubicBezTo>
                  <a:cubicBezTo>
                    <a:pt x="6665" y="7772"/>
                    <a:pt x="6685" y="7745"/>
                    <a:pt x="6706" y="7726"/>
                  </a:cubicBezTo>
                  <a:cubicBezTo>
                    <a:pt x="6726" y="7707"/>
                    <a:pt x="6747" y="7693"/>
                    <a:pt x="6785" y="7677"/>
                  </a:cubicBezTo>
                  <a:cubicBezTo>
                    <a:pt x="6861" y="7644"/>
                    <a:pt x="7006" y="7613"/>
                    <a:pt x="7288" y="7559"/>
                  </a:cubicBezTo>
                  <a:cubicBezTo>
                    <a:pt x="7873" y="7446"/>
                    <a:pt x="8201" y="7160"/>
                    <a:pt x="8341" y="6918"/>
                  </a:cubicBezTo>
                  <a:cubicBezTo>
                    <a:pt x="8392" y="6826"/>
                    <a:pt x="8407" y="6698"/>
                    <a:pt x="8408" y="6536"/>
                  </a:cubicBezTo>
                  <a:cubicBezTo>
                    <a:pt x="8408" y="6523"/>
                    <a:pt x="8408" y="6509"/>
                    <a:pt x="8407" y="6495"/>
                  </a:cubicBezTo>
                  <a:cubicBezTo>
                    <a:pt x="8439" y="6499"/>
                    <a:pt x="8468" y="6502"/>
                    <a:pt x="8492" y="6505"/>
                  </a:cubicBezTo>
                  <a:cubicBezTo>
                    <a:pt x="8505" y="6507"/>
                    <a:pt x="8516" y="6508"/>
                    <a:pt x="8526" y="6509"/>
                  </a:cubicBezTo>
                  <a:cubicBezTo>
                    <a:pt x="8526" y="6516"/>
                    <a:pt x="8526" y="6522"/>
                    <a:pt x="8526" y="6528"/>
                  </a:cubicBezTo>
                  <a:cubicBezTo>
                    <a:pt x="8526" y="6615"/>
                    <a:pt x="8525" y="6704"/>
                    <a:pt x="8523" y="6788"/>
                  </a:cubicBezTo>
                  <a:cubicBezTo>
                    <a:pt x="8497" y="6787"/>
                    <a:pt x="8466" y="6785"/>
                    <a:pt x="8466" y="6785"/>
                  </a:cubicBezTo>
                  <a:close/>
                  <a:moveTo>
                    <a:pt x="8514" y="6442"/>
                  </a:moveTo>
                  <a:cubicBezTo>
                    <a:pt x="8485" y="6438"/>
                    <a:pt x="8448" y="6434"/>
                    <a:pt x="8405" y="6428"/>
                  </a:cubicBezTo>
                  <a:cubicBezTo>
                    <a:pt x="8388" y="6065"/>
                    <a:pt x="8288" y="5583"/>
                    <a:pt x="8109" y="5180"/>
                  </a:cubicBezTo>
                  <a:cubicBezTo>
                    <a:pt x="8078" y="5108"/>
                    <a:pt x="8040" y="5039"/>
                    <a:pt x="7998" y="4973"/>
                  </a:cubicBezTo>
                  <a:cubicBezTo>
                    <a:pt x="8097" y="4977"/>
                    <a:pt x="8097" y="4977"/>
                    <a:pt x="8097" y="4977"/>
                  </a:cubicBezTo>
                  <a:cubicBezTo>
                    <a:pt x="8216" y="5181"/>
                    <a:pt x="8216" y="5181"/>
                    <a:pt x="8216" y="5181"/>
                  </a:cubicBezTo>
                  <a:cubicBezTo>
                    <a:pt x="8328" y="5393"/>
                    <a:pt x="8502" y="5849"/>
                    <a:pt x="8517" y="6149"/>
                  </a:cubicBezTo>
                  <a:cubicBezTo>
                    <a:pt x="8522" y="6231"/>
                    <a:pt x="8525" y="6334"/>
                    <a:pt x="8525" y="6443"/>
                  </a:cubicBezTo>
                  <a:cubicBezTo>
                    <a:pt x="8521" y="6443"/>
                    <a:pt x="8518" y="6442"/>
                    <a:pt x="8514" y="6442"/>
                  </a:cubicBezTo>
                  <a:close/>
                  <a:moveTo>
                    <a:pt x="7955" y="4905"/>
                  </a:moveTo>
                  <a:cubicBezTo>
                    <a:pt x="7869" y="4778"/>
                    <a:pt x="7770" y="4659"/>
                    <a:pt x="7672" y="4548"/>
                  </a:cubicBezTo>
                  <a:cubicBezTo>
                    <a:pt x="7507" y="4360"/>
                    <a:pt x="7342" y="4191"/>
                    <a:pt x="7242" y="4044"/>
                  </a:cubicBezTo>
                  <a:cubicBezTo>
                    <a:pt x="7176" y="3947"/>
                    <a:pt x="7140" y="3861"/>
                    <a:pt x="7141" y="3793"/>
                  </a:cubicBezTo>
                  <a:cubicBezTo>
                    <a:pt x="7141" y="3793"/>
                    <a:pt x="7141" y="3792"/>
                    <a:pt x="7141" y="3792"/>
                  </a:cubicBezTo>
                  <a:cubicBezTo>
                    <a:pt x="7141" y="3781"/>
                    <a:pt x="7141" y="3771"/>
                    <a:pt x="7143" y="3761"/>
                  </a:cubicBezTo>
                  <a:cubicBezTo>
                    <a:pt x="7164" y="3623"/>
                    <a:pt x="7251" y="3534"/>
                    <a:pt x="7364" y="3467"/>
                  </a:cubicBezTo>
                  <a:cubicBezTo>
                    <a:pt x="7373" y="3462"/>
                    <a:pt x="7383" y="3457"/>
                    <a:pt x="7393" y="3452"/>
                  </a:cubicBezTo>
                  <a:cubicBezTo>
                    <a:pt x="7798" y="4464"/>
                    <a:pt x="7798" y="4464"/>
                    <a:pt x="7798" y="4464"/>
                  </a:cubicBezTo>
                  <a:cubicBezTo>
                    <a:pt x="8057" y="4910"/>
                    <a:pt x="8057" y="4910"/>
                    <a:pt x="8057" y="4910"/>
                  </a:cubicBezTo>
                  <a:lnTo>
                    <a:pt x="7955" y="4905"/>
                  </a:lnTo>
                  <a:close/>
                  <a:moveTo>
                    <a:pt x="7356" y="3453"/>
                  </a:moveTo>
                  <a:cubicBezTo>
                    <a:pt x="7241" y="3521"/>
                    <a:pt x="7148" y="3614"/>
                    <a:pt x="7127" y="3759"/>
                  </a:cubicBezTo>
                  <a:cubicBezTo>
                    <a:pt x="7125" y="3769"/>
                    <a:pt x="7124" y="3780"/>
                    <a:pt x="7124" y="3792"/>
                  </a:cubicBezTo>
                  <a:cubicBezTo>
                    <a:pt x="7124" y="3793"/>
                    <a:pt x="7124" y="3793"/>
                    <a:pt x="7124" y="3793"/>
                  </a:cubicBezTo>
                  <a:cubicBezTo>
                    <a:pt x="7124" y="3867"/>
                    <a:pt x="7161" y="3955"/>
                    <a:pt x="7229" y="4053"/>
                  </a:cubicBezTo>
                  <a:cubicBezTo>
                    <a:pt x="7330" y="4203"/>
                    <a:pt x="7495" y="4371"/>
                    <a:pt x="7660" y="4559"/>
                  </a:cubicBezTo>
                  <a:cubicBezTo>
                    <a:pt x="7755" y="4667"/>
                    <a:pt x="7850" y="4782"/>
                    <a:pt x="7934" y="4904"/>
                  </a:cubicBezTo>
                  <a:cubicBezTo>
                    <a:pt x="7778" y="4897"/>
                    <a:pt x="7778" y="4897"/>
                    <a:pt x="7778" y="4897"/>
                  </a:cubicBezTo>
                  <a:cubicBezTo>
                    <a:pt x="7664" y="4743"/>
                    <a:pt x="7530" y="4597"/>
                    <a:pt x="7406" y="4460"/>
                  </a:cubicBezTo>
                  <a:cubicBezTo>
                    <a:pt x="7300" y="4343"/>
                    <a:pt x="7201" y="4232"/>
                    <a:pt x="7127" y="4123"/>
                  </a:cubicBezTo>
                  <a:cubicBezTo>
                    <a:pt x="7053" y="4014"/>
                    <a:pt x="7002" y="3906"/>
                    <a:pt x="7001" y="3792"/>
                  </a:cubicBezTo>
                  <a:cubicBezTo>
                    <a:pt x="7001" y="3775"/>
                    <a:pt x="7002" y="3757"/>
                    <a:pt x="7005" y="3740"/>
                  </a:cubicBezTo>
                  <a:cubicBezTo>
                    <a:pt x="7021" y="3632"/>
                    <a:pt x="7070" y="3542"/>
                    <a:pt x="7133" y="3474"/>
                  </a:cubicBezTo>
                  <a:cubicBezTo>
                    <a:pt x="7193" y="3408"/>
                    <a:pt x="7265" y="3360"/>
                    <a:pt x="7337" y="3323"/>
                  </a:cubicBezTo>
                  <a:cubicBezTo>
                    <a:pt x="7352" y="3353"/>
                    <a:pt x="7362" y="3377"/>
                    <a:pt x="7368" y="3390"/>
                  </a:cubicBezTo>
                  <a:cubicBezTo>
                    <a:pt x="7371" y="3396"/>
                    <a:pt x="7372" y="3400"/>
                    <a:pt x="7372" y="3399"/>
                  </a:cubicBezTo>
                  <a:cubicBezTo>
                    <a:pt x="7387" y="3436"/>
                    <a:pt x="7387" y="3436"/>
                    <a:pt x="7387" y="3436"/>
                  </a:cubicBezTo>
                  <a:cubicBezTo>
                    <a:pt x="7376" y="3442"/>
                    <a:pt x="7366" y="3447"/>
                    <a:pt x="7356" y="3453"/>
                  </a:cubicBezTo>
                  <a:close/>
                  <a:moveTo>
                    <a:pt x="7806" y="4964"/>
                  </a:moveTo>
                  <a:cubicBezTo>
                    <a:pt x="7869" y="5054"/>
                    <a:pt x="7925" y="5147"/>
                    <a:pt x="7967" y="5243"/>
                  </a:cubicBezTo>
                  <a:cubicBezTo>
                    <a:pt x="8132" y="5614"/>
                    <a:pt x="8229" y="6071"/>
                    <a:pt x="8248" y="6410"/>
                  </a:cubicBezTo>
                  <a:cubicBezTo>
                    <a:pt x="8134" y="6397"/>
                    <a:pt x="8000" y="6382"/>
                    <a:pt x="7867" y="6367"/>
                  </a:cubicBezTo>
                  <a:cubicBezTo>
                    <a:pt x="7557" y="6332"/>
                    <a:pt x="7248" y="6298"/>
                    <a:pt x="7181" y="6291"/>
                  </a:cubicBezTo>
                  <a:cubicBezTo>
                    <a:pt x="7181" y="6286"/>
                    <a:pt x="7182" y="6280"/>
                    <a:pt x="7183" y="6272"/>
                  </a:cubicBezTo>
                  <a:cubicBezTo>
                    <a:pt x="7185" y="6256"/>
                    <a:pt x="7188" y="6233"/>
                    <a:pt x="7190" y="6206"/>
                  </a:cubicBezTo>
                  <a:cubicBezTo>
                    <a:pt x="7196" y="6151"/>
                    <a:pt x="7203" y="6078"/>
                    <a:pt x="7209" y="6006"/>
                  </a:cubicBezTo>
                  <a:cubicBezTo>
                    <a:pt x="7222" y="5860"/>
                    <a:pt x="7234" y="5715"/>
                    <a:pt x="7234" y="5715"/>
                  </a:cubicBezTo>
                  <a:cubicBezTo>
                    <a:pt x="7235" y="5708"/>
                    <a:pt x="7235" y="5708"/>
                    <a:pt x="7235" y="5708"/>
                  </a:cubicBezTo>
                  <a:cubicBezTo>
                    <a:pt x="6050" y="5582"/>
                    <a:pt x="6050" y="5582"/>
                    <a:pt x="6050" y="5582"/>
                  </a:cubicBezTo>
                  <a:cubicBezTo>
                    <a:pt x="6165" y="4892"/>
                    <a:pt x="6165" y="4892"/>
                    <a:pt x="6165" y="4892"/>
                  </a:cubicBezTo>
                  <a:lnTo>
                    <a:pt x="7806" y="4964"/>
                  </a:lnTo>
                  <a:close/>
                  <a:moveTo>
                    <a:pt x="5958" y="5733"/>
                  </a:moveTo>
                  <a:cubicBezTo>
                    <a:pt x="5826" y="5717"/>
                    <a:pt x="5826" y="5717"/>
                    <a:pt x="5826" y="5717"/>
                  </a:cubicBezTo>
                  <a:cubicBezTo>
                    <a:pt x="5899" y="5652"/>
                    <a:pt x="5899" y="5652"/>
                    <a:pt x="5899" y="5652"/>
                  </a:cubicBezTo>
                  <a:cubicBezTo>
                    <a:pt x="5791" y="5523"/>
                    <a:pt x="5791" y="5523"/>
                    <a:pt x="5791" y="5523"/>
                  </a:cubicBezTo>
                  <a:cubicBezTo>
                    <a:pt x="5658" y="5640"/>
                    <a:pt x="5658" y="5640"/>
                    <a:pt x="5658" y="5640"/>
                  </a:cubicBezTo>
                  <a:cubicBezTo>
                    <a:pt x="5707" y="5702"/>
                    <a:pt x="5707" y="5702"/>
                    <a:pt x="5707" y="5702"/>
                  </a:cubicBezTo>
                  <a:cubicBezTo>
                    <a:pt x="5387" y="5662"/>
                    <a:pt x="5387" y="5662"/>
                    <a:pt x="5387" y="5662"/>
                  </a:cubicBezTo>
                  <a:cubicBezTo>
                    <a:pt x="5438" y="5227"/>
                    <a:pt x="5438" y="5227"/>
                    <a:pt x="5438" y="5227"/>
                  </a:cubicBezTo>
                  <a:cubicBezTo>
                    <a:pt x="6059" y="5124"/>
                    <a:pt x="6059" y="5124"/>
                    <a:pt x="6059" y="5124"/>
                  </a:cubicBezTo>
                  <a:lnTo>
                    <a:pt x="5958" y="5733"/>
                  </a:lnTo>
                  <a:close/>
                  <a:moveTo>
                    <a:pt x="4843" y="5316"/>
                  </a:moveTo>
                  <a:cubicBezTo>
                    <a:pt x="4837" y="5270"/>
                    <a:pt x="4826" y="5219"/>
                    <a:pt x="4807" y="5170"/>
                  </a:cubicBezTo>
                  <a:cubicBezTo>
                    <a:pt x="4781" y="5104"/>
                    <a:pt x="4738" y="5039"/>
                    <a:pt x="4672" y="4994"/>
                  </a:cubicBezTo>
                  <a:cubicBezTo>
                    <a:pt x="4900" y="4821"/>
                    <a:pt x="4900" y="4821"/>
                    <a:pt x="4900" y="4821"/>
                  </a:cubicBezTo>
                  <a:cubicBezTo>
                    <a:pt x="5042" y="4556"/>
                    <a:pt x="5042" y="4556"/>
                    <a:pt x="5042" y="4556"/>
                  </a:cubicBezTo>
                  <a:cubicBezTo>
                    <a:pt x="5086" y="4570"/>
                    <a:pt x="5367" y="4659"/>
                    <a:pt x="5407" y="4671"/>
                  </a:cubicBezTo>
                  <a:cubicBezTo>
                    <a:pt x="5425" y="5215"/>
                    <a:pt x="5425" y="5215"/>
                    <a:pt x="5425" y="5215"/>
                  </a:cubicBezTo>
                  <a:lnTo>
                    <a:pt x="4843" y="5316"/>
                  </a:lnTo>
                  <a:close/>
                  <a:moveTo>
                    <a:pt x="4889" y="4812"/>
                  </a:moveTo>
                  <a:cubicBezTo>
                    <a:pt x="4660" y="4985"/>
                    <a:pt x="4660" y="4985"/>
                    <a:pt x="4660" y="4985"/>
                  </a:cubicBezTo>
                  <a:cubicBezTo>
                    <a:pt x="4637" y="4971"/>
                    <a:pt x="4611" y="4959"/>
                    <a:pt x="4583" y="4949"/>
                  </a:cubicBezTo>
                  <a:cubicBezTo>
                    <a:pt x="4506" y="4925"/>
                    <a:pt x="4425" y="4900"/>
                    <a:pt x="4342" y="4876"/>
                  </a:cubicBezTo>
                  <a:cubicBezTo>
                    <a:pt x="4660" y="4226"/>
                    <a:pt x="4660" y="4226"/>
                    <a:pt x="4660" y="4226"/>
                  </a:cubicBezTo>
                  <a:cubicBezTo>
                    <a:pt x="4706" y="4266"/>
                    <a:pt x="4984" y="4513"/>
                    <a:pt x="5029" y="4549"/>
                  </a:cubicBezTo>
                  <a:cubicBezTo>
                    <a:pt x="5029" y="4550"/>
                    <a:pt x="5029" y="4550"/>
                    <a:pt x="5030" y="4550"/>
                  </a:cubicBezTo>
                  <a:lnTo>
                    <a:pt x="4889" y="4812"/>
                  </a:lnTo>
                  <a:close/>
                  <a:moveTo>
                    <a:pt x="4485" y="4552"/>
                  </a:moveTo>
                  <a:cubicBezTo>
                    <a:pt x="4328" y="4872"/>
                    <a:pt x="4328" y="4872"/>
                    <a:pt x="4328" y="4872"/>
                  </a:cubicBezTo>
                  <a:cubicBezTo>
                    <a:pt x="4232" y="4845"/>
                    <a:pt x="4134" y="4819"/>
                    <a:pt x="4039" y="4795"/>
                  </a:cubicBezTo>
                  <a:cubicBezTo>
                    <a:pt x="4060" y="4740"/>
                    <a:pt x="4107" y="4612"/>
                    <a:pt x="4134" y="4488"/>
                  </a:cubicBezTo>
                  <a:cubicBezTo>
                    <a:pt x="4301" y="4520"/>
                    <a:pt x="4467" y="4551"/>
                    <a:pt x="4485" y="4552"/>
                  </a:cubicBezTo>
                  <a:close/>
                  <a:moveTo>
                    <a:pt x="4076" y="4444"/>
                  </a:moveTo>
                  <a:cubicBezTo>
                    <a:pt x="4075" y="4450"/>
                    <a:pt x="4073" y="4456"/>
                    <a:pt x="4072" y="4461"/>
                  </a:cubicBezTo>
                  <a:cubicBezTo>
                    <a:pt x="3926" y="4433"/>
                    <a:pt x="3796" y="4408"/>
                    <a:pt x="3784" y="4406"/>
                  </a:cubicBezTo>
                  <a:cubicBezTo>
                    <a:pt x="3791" y="4070"/>
                    <a:pt x="3791" y="4070"/>
                    <a:pt x="3791" y="4070"/>
                  </a:cubicBezTo>
                  <a:cubicBezTo>
                    <a:pt x="4086" y="4100"/>
                    <a:pt x="4086" y="4100"/>
                    <a:pt x="4086" y="4100"/>
                  </a:cubicBezTo>
                  <a:cubicBezTo>
                    <a:pt x="4088" y="4143"/>
                    <a:pt x="4089" y="4189"/>
                    <a:pt x="4089" y="4235"/>
                  </a:cubicBezTo>
                  <a:cubicBezTo>
                    <a:pt x="4089" y="4315"/>
                    <a:pt x="4085" y="4393"/>
                    <a:pt x="4076" y="4444"/>
                  </a:cubicBezTo>
                  <a:close/>
                  <a:moveTo>
                    <a:pt x="4069" y="4475"/>
                  </a:moveTo>
                  <a:cubicBezTo>
                    <a:pt x="4054" y="4547"/>
                    <a:pt x="4031" y="4622"/>
                    <a:pt x="4011" y="4682"/>
                  </a:cubicBezTo>
                  <a:cubicBezTo>
                    <a:pt x="3996" y="4724"/>
                    <a:pt x="3983" y="4759"/>
                    <a:pt x="3975" y="4779"/>
                  </a:cubicBezTo>
                  <a:cubicBezTo>
                    <a:pt x="3906" y="4762"/>
                    <a:pt x="3839" y="4746"/>
                    <a:pt x="3777" y="4733"/>
                  </a:cubicBezTo>
                  <a:cubicBezTo>
                    <a:pt x="3784" y="4420"/>
                    <a:pt x="3784" y="4420"/>
                    <a:pt x="3784" y="4420"/>
                  </a:cubicBezTo>
                  <a:cubicBezTo>
                    <a:pt x="3806" y="4424"/>
                    <a:pt x="3930" y="4448"/>
                    <a:pt x="4069" y="4475"/>
                  </a:cubicBezTo>
                  <a:close/>
                  <a:moveTo>
                    <a:pt x="3763" y="4730"/>
                  </a:moveTo>
                  <a:cubicBezTo>
                    <a:pt x="3725" y="4721"/>
                    <a:pt x="3688" y="4714"/>
                    <a:pt x="3654" y="4707"/>
                  </a:cubicBezTo>
                  <a:cubicBezTo>
                    <a:pt x="3612" y="4699"/>
                    <a:pt x="3574" y="4691"/>
                    <a:pt x="3539" y="4684"/>
                  </a:cubicBezTo>
                  <a:cubicBezTo>
                    <a:pt x="3536" y="4653"/>
                    <a:pt x="3536" y="4653"/>
                    <a:pt x="3536" y="4653"/>
                  </a:cubicBezTo>
                  <a:cubicBezTo>
                    <a:pt x="3623" y="4670"/>
                    <a:pt x="3623" y="4670"/>
                    <a:pt x="3623" y="4670"/>
                  </a:cubicBezTo>
                  <a:cubicBezTo>
                    <a:pt x="3639" y="4585"/>
                    <a:pt x="3639" y="4585"/>
                    <a:pt x="3639" y="4585"/>
                  </a:cubicBezTo>
                  <a:cubicBezTo>
                    <a:pt x="3593" y="4576"/>
                    <a:pt x="3593" y="4576"/>
                    <a:pt x="3593" y="4576"/>
                  </a:cubicBezTo>
                  <a:cubicBezTo>
                    <a:pt x="3601" y="4534"/>
                    <a:pt x="3601" y="4534"/>
                    <a:pt x="3601" y="4534"/>
                  </a:cubicBezTo>
                  <a:cubicBezTo>
                    <a:pt x="3523" y="4519"/>
                    <a:pt x="3523" y="4519"/>
                    <a:pt x="3523" y="4519"/>
                  </a:cubicBezTo>
                  <a:cubicBezTo>
                    <a:pt x="3481" y="4093"/>
                    <a:pt x="3481" y="4093"/>
                    <a:pt x="3481" y="4093"/>
                  </a:cubicBezTo>
                  <a:cubicBezTo>
                    <a:pt x="3468" y="4094"/>
                    <a:pt x="3468" y="4094"/>
                    <a:pt x="3468" y="4094"/>
                  </a:cubicBezTo>
                  <a:cubicBezTo>
                    <a:pt x="3508" y="4516"/>
                    <a:pt x="3508" y="4516"/>
                    <a:pt x="3508" y="4516"/>
                  </a:cubicBezTo>
                  <a:cubicBezTo>
                    <a:pt x="3486" y="4512"/>
                    <a:pt x="3486" y="4512"/>
                    <a:pt x="3486" y="4512"/>
                  </a:cubicBezTo>
                  <a:cubicBezTo>
                    <a:pt x="3478" y="4554"/>
                    <a:pt x="3478" y="4554"/>
                    <a:pt x="3478" y="4554"/>
                  </a:cubicBezTo>
                  <a:cubicBezTo>
                    <a:pt x="3432" y="4545"/>
                    <a:pt x="3432" y="4545"/>
                    <a:pt x="3432" y="4545"/>
                  </a:cubicBezTo>
                  <a:cubicBezTo>
                    <a:pt x="3417" y="4623"/>
                    <a:pt x="3417" y="4623"/>
                    <a:pt x="3417" y="4623"/>
                  </a:cubicBezTo>
                  <a:cubicBezTo>
                    <a:pt x="3416" y="4630"/>
                    <a:pt x="3416" y="4630"/>
                    <a:pt x="3416" y="4630"/>
                  </a:cubicBezTo>
                  <a:cubicBezTo>
                    <a:pt x="3521" y="4650"/>
                    <a:pt x="3521" y="4650"/>
                    <a:pt x="3521" y="4650"/>
                  </a:cubicBezTo>
                  <a:cubicBezTo>
                    <a:pt x="3524" y="4681"/>
                    <a:pt x="3524" y="4681"/>
                    <a:pt x="3524" y="4681"/>
                  </a:cubicBezTo>
                  <a:cubicBezTo>
                    <a:pt x="3428" y="4661"/>
                    <a:pt x="3354" y="4645"/>
                    <a:pt x="3286" y="4645"/>
                  </a:cubicBezTo>
                  <a:cubicBezTo>
                    <a:pt x="3281" y="4645"/>
                    <a:pt x="3276" y="4645"/>
                    <a:pt x="3271" y="4645"/>
                  </a:cubicBezTo>
                  <a:cubicBezTo>
                    <a:pt x="3114" y="4135"/>
                    <a:pt x="3114" y="4135"/>
                    <a:pt x="3114" y="4135"/>
                  </a:cubicBezTo>
                  <a:cubicBezTo>
                    <a:pt x="3711" y="4062"/>
                    <a:pt x="3711" y="4062"/>
                    <a:pt x="3711" y="4062"/>
                  </a:cubicBezTo>
                  <a:cubicBezTo>
                    <a:pt x="3777" y="4069"/>
                    <a:pt x="3777" y="4069"/>
                    <a:pt x="3777" y="4069"/>
                  </a:cubicBezTo>
                  <a:lnTo>
                    <a:pt x="3763" y="4730"/>
                  </a:lnTo>
                  <a:close/>
                  <a:moveTo>
                    <a:pt x="3520" y="4637"/>
                  </a:moveTo>
                  <a:cubicBezTo>
                    <a:pt x="3431" y="4619"/>
                    <a:pt x="3431" y="4619"/>
                    <a:pt x="3431" y="4619"/>
                  </a:cubicBezTo>
                  <a:cubicBezTo>
                    <a:pt x="3443" y="4560"/>
                    <a:pt x="3443" y="4560"/>
                    <a:pt x="3443" y="4560"/>
                  </a:cubicBezTo>
                  <a:cubicBezTo>
                    <a:pt x="3489" y="4569"/>
                    <a:pt x="3489" y="4569"/>
                    <a:pt x="3489" y="4569"/>
                  </a:cubicBezTo>
                  <a:cubicBezTo>
                    <a:pt x="3497" y="4527"/>
                    <a:pt x="3497" y="4527"/>
                    <a:pt x="3497" y="4527"/>
                  </a:cubicBezTo>
                  <a:cubicBezTo>
                    <a:pt x="3510" y="4530"/>
                    <a:pt x="3510" y="4530"/>
                    <a:pt x="3510" y="4530"/>
                  </a:cubicBezTo>
                  <a:lnTo>
                    <a:pt x="3520" y="4637"/>
                  </a:lnTo>
                  <a:close/>
                  <a:moveTo>
                    <a:pt x="3256" y="4646"/>
                  </a:moveTo>
                  <a:cubicBezTo>
                    <a:pt x="3219" y="4649"/>
                    <a:pt x="3182" y="4658"/>
                    <a:pt x="3147" y="4675"/>
                  </a:cubicBezTo>
                  <a:cubicBezTo>
                    <a:pt x="3117" y="4689"/>
                    <a:pt x="3093" y="4705"/>
                    <a:pt x="3071" y="4721"/>
                  </a:cubicBezTo>
                  <a:cubicBezTo>
                    <a:pt x="3060" y="4707"/>
                    <a:pt x="3060" y="4707"/>
                    <a:pt x="3060" y="4707"/>
                  </a:cubicBezTo>
                  <a:cubicBezTo>
                    <a:pt x="3131" y="4658"/>
                    <a:pt x="3131" y="4658"/>
                    <a:pt x="3131" y="4658"/>
                  </a:cubicBezTo>
                  <a:cubicBezTo>
                    <a:pt x="3082" y="4587"/>
                    <a:pt x="3082" y="4587"/>
                    <a:pt x="3082" y="4587"/>
                  </a:cubicBezTo>
                  <a:cubicBezTo>
                    <a:pt x="3043" y="4614"/>
                    <a:pt x="3043" y="4614"/>
                    <a:pt x="3043" y="4614"/>
                  </a:cubicBezTo>
                  <a:cubicBezTo>
                    <a:pt x="3019" y="4578"/>
                    <a:pt x="3019" y="4578"/>
                    <a:pt x="3019" y="4578"/>
                  </a:cubicBezTo>
                  <a:cubicBezTo>
                    <a:pt x="2980" y="4605"/>
                    <a:pt x="2980" y="4605"/>
                    <a:pt x="2980" y="4605"/>
                  </a:cubicBezTo>
                  <a:cubicBezTo>
                    <a:pt x="2658" y="4190"/>
                    <a:pt x="2658" y="4190"/>
                    <a:pt x="2658" y="4190"/>
                  </a:cubicBezTo>
                  <a:cubicBezTo>
                    <a:pt x="3100" y="4137"/>
                    <a:pt x="3100" y="4137"/>
                    <a:pt x="3100" y="4137"/>
                  </a:cubicBezTo>
                  <a:lnTo>
                    <a:pt x="3256" y="4646"/>
                  </a:lnTo>
                  <a:close/>
                  <a:moveTo>
                    <a:pt x="2850" y="4460"/>
                  </a:moveTo>
                  <a:cubicBezTo>
                    <a:pt x="2831" y="4483"/>
                    <a:pt x="2654" y="4691"/>
                    <a:pt x="2555" y="4803"/>
                  </a:cubicBezTo>
                  <a:cubicBezTo>
                    <a:pt x="2531" y="4830"/>
                    <a:pt x="2511" y="4852"/>
                    <a:pt x="2500" y="4864"/>
                  </a:cubicBezTo>
                  <a:cubicBezTo>
                    <a:pt x="2457" y="4850"/>
                    <a:pt x="2457" y="4850"/>
                    <a:pt x="2457" y="4850"/>
                  </a:cubicBezTo>
                  <a:cubicBezTo>
                    <a:pt x="2220" y="4678"/>
                    <a:pt x="2220" y="4678"/>
                    <a:pt x="2220" y="4678"/>
                  </a:cubicBezTo>
                  <a:cubicBezTo>
                    <a:pt x="2645" y="4196"/>
                    <a:pt x="2645" y="4196"/>
                    <a:pt x="2645" y="4196"/>
                  </a:cubicBezTo>
                  <a:lnTo>
                    <a:pt x="2850" y="4460"/>
                  </a:lnTo>
                  <a:close/>
                  <a:moveTo>
                    <a:pt x="2401" y="5021"/>
                  </a:moveTo>
                  <a:cubicBezTo>
                    <a:pt x="2425" y="5031"/>
                    <a:pt x="2425" y="5031"/>
                    <a:pt x="2425" y="5031"/>
                  </a:cubicBezTo>
                  <a:cubicBezTo>
                    <a:pt x="2397" y="5084"/>
                    <a:pt x="2397" y="5084"/>
                    <a:pt x="2397" y="5084"/>
                  </a:cubicBezTo>
                  <a:cubicBezTo>
                    <a:pt x="2515" y="5141"/>
                    <a:pt x="2515" y="5141"/>
                    <a:pt x="2515" y="5141"/>
                  </a:cubicBezTo>
                  <a:cubicBezTo>
                    <a:pt x="2546" y="5084"/>
                    <a:pt x="2546" y="5084"/>
                    <a:pt x="2546" y="5084"/>
                  </a:cubicBezTo>
                  <a:cubicBezTo>
                    <a:pt x="2767" y="5179"/>
                    <a:pt x="2767" y="5179"/>
                    <a:pt x="2767" y="5179"/>
                  </a:cubicBezTo>
                  <a:cubicBezTo>
                    <a:pt x="2747" y="5224"/>
                    <a:pt x="2724" y="5275"/>
                    <a:pt x="2700" y="5329"/>
                  </a:cubicBezTo>
                  <a:cubicBezTo>
                    <a:pt x="2452" y="5211"/>
                    <a:pt x="2452" y="5211"/>
                    <a:pt x="2452" y="5211"/>
                  </a:cubicBezTo>
                  <a:cubicBezTo>
                    <a:pt x="2465" y="5185"/>
                    <a:pt x="2465" y="5185"/>
                    <a:pt x="2465" y="5185"/>
                  </a:cubicBezTo>
                  <a:cubicBezTo>
                    <a:pt x="2468" y="5179"/>
                    <a:pt x="2468" y="5179"/>
                    <a:pt x="2468" y="5179"/>
                  </a:cubicBezTo>
                  <a:cubicBezTo>
                    <a:pt x="2349" y="5121"/>
                    <a:pt x="2349" y="5121"/>
                    <a:pt x="2349" y="5121"/>
                  </a:cubicBezTo>
                  <a:cubicBezTo>
                    <a:pt x="2332" y="5154"/>
                    <a:pt x="2332" y="5154"/>
                    <a:pt x="2332" y="5154"/>
                  </a:cubicBezTo>
                  <a:cubicBezTo>
                    <a:pt x="2327" y="5152"/>
                    <a:pt x="2327" y="5152"/>
                    <a:pt x="2327" y="5152"/>
                  </a:cubicBezTo>
                  <a:lnTo>
                    <a:pt x="2401" y="5021"/>
                  </a:lnTo>
                  <a:close/>
                  <a:moveTo>
                    <a:pt x="2337" y="5172"/>
                  </a:moveTo>
                  <a:cubicBezTo>
                    <a:pt x="2434" y="5218"/>
                    <a:pt x="2434" y="5218"/>
                    <a:pt x="2434" y="5218"/>
                  </a:cubicBezTo>
                  <a:cubicBezTo>
                    <a:pt x="2387" y="5311"/>
                    <a:pt x="2387" y="5311"/>
                    <a:pt x="2387" y="5311"/>
                  </a:cubicBezTo>
                  <a:cubicBezTo>
                    <a:pt x="2351" y="5291"/>
                    <a:pt x="2319" y="5273"/>
                    <a:pt x="2294" y="5259"/>
                  </a:cubicBezTo>
                  <a:lnTo>
                    <a:pt x="2337" y="5172"/>
                  </a:lnTo>
                  <a:close/>
                  <a:moveTo>
                    <a:pt x="2283" y="5253"/>
                  </a:moveTo>
                  <a:cubicBezTo>
                    <a:pt x="2280" y="5251"/>
                    <a:pt x="2277" y="5249"/>
                    <a:pt x="2274" y="5248"/>
                  </a:cubicBezTo>
                  <a:cubicBezTo>
                    <a:pt x="2321" y="5164"/>
                    <a:pt x="2321" y="5164"/>
                    <a:pt x="2321" y="5164"/>
                  </a:cubicBezTo>
                  <a:cubicBezTo>
                    <a:pt x="2326" y="5167"/>
                    <a:pt x="2326" y="5167"/>
                    <a:pt x="2326" y="5167"/>
                  </a:cubicBezTo>
                  <a:lnTo>
                    <a:pt x="2283" y="5253"/>
                  </a:lnTo>
                  <a:close/>
                  <a:moveTo>
                    <a:pt x="2277" y="5265"/>
                  </a:moveTo>
                  <a:cubicBezTo>
                    <a:pt x="2230" y="5359"/>
                    <a:pt x="2230" y="5359"/>
                    <a:pt x="2230" y="5359"/>
                  </a:cubicBezTo>
                  <a:cubicBezTo>
                    <a:pt x="2217" y="5349"/>
                    <a:pt x="2217" y="5349"/>
                    <a:pt x="2217" y="5349"/>
                  </a:cubicBezTo>
                  <a:cubicBezTo>
                    <a:pt x="2267" y="5260"/>
                    <a:pt x="2267" y="5260"/>
                    <a:pt x="2267" y="5260"/>
                  </a:cubicBezTo>
                  <a:cubicBezTo>
                    <a:pt x="2270" y="5262"/>
                    <a:pt x="2273" y="5263"/>
                    <a:pt x="2277" y="5265"/>
                  </a:cubicBezTo>
                  <a:close/>
                  <a:moveTo>
                    <a:pt x="2213" y="5222"/>
                  </a:moveTo>
                  <a:cubicBezTo>
                    <a:pt x="2165" y="5195"/>
                    <a:pt x="2165" y="5195"/>
                    <a:pt x="2165" y="5195"/>
                  </a:cubicBezTo>
                  <a:cubicBezTo>
                    <a:pt x="2219" y="5101"/>
                    <a:pt x="2219" y="5101"/>
                    <a:pt x="2219" y="5101"/>
                  </a:cubicBezTo>
                  <a:cubicBezTo>
                    <a:pt x="2266" y="5128"/>
                    <a:pt x="2266" y="5128"/>
                    <a:pt x="2266" y="5128"/>
                  </a:cubicBezTo>
                  <a:lnTo>
                    <a:pt x="2213" y="5222"/>
                  </a:lnTo>
                  <a:close/>
                  <a:moveTo>
                    <a:pt x="2214" y="5082"/>
                  </a:moveTo>
                  <a:cubicBezTo>
                    <a:pt x="2100" y="5017"/>
                    <a:pt x="2100" y="5017"/>
                    <a:pt x="2100" y="5017"/>
                  </a:cubicBezTo>
                  <a:cubicBezTo>
                    <a:pt x="2152" y="4925"/>
                    <a:pt x="2152" y="4925"/>
                    <a:pt x="2152" y="4925"/>
                  </a:cubicBezTo>
                  <a:cubicBezTo>
                    <a:pt x="2267" y="4990"/>
                    <a:pt x="2267" y="4990"/>
                    <a:pt x="2267" y="4990"/>
                  </a:cubicBezTo>
                  <a:lnTo>
                    <a:pt x="2214" y="5082"/>
                  </a:lnTo>
                  <a:close/>
                  <a:moveTo>
                    <a:pt x="2207" y="5094"/>
                  </a:moveTo>
                  <a:cubicBezTo>
                    <a:pt x="2154" y="5189"/>
                    <a:pt x="2154" y="5189"/>
                    <a:pt x="2154" y="5189"/>
                  </a:cubicBezTo>
                  <a:cubicBezTo>
                    <a:pt x="2040" y="5123"/>
                    <a:pt x="2040" y="5123"/>
                    <a:pt x="2040" y="5123"/>
                  </a:cubicBezTo>
                  <a:cubicBezTo>
                    <a:pt x="2093" y="5029"/>
                    <a:pt x="2093" y="5029"/>
                    <a:pt x="2093" y="5029"/>
                  </a:cubicBezTo>
                  <a:lnTo>
                    <a:pt x="2207" y="5094"/>
                  </a:lnTo>
                  <a:close/>
                  <a:moveTo>
                    <a:pt x="2147" y="5201"/>
                  </a:moveTo>
                  <a:cubicBezTo>
                    <a:pt x="2098" y="5287"/>
                    <a:pt x="2098" y="5287"/>
                    <a:pt x="2098" y="5287"/>
                  </a:cubicBezTo>
                  <a:cubicBezTo>
                    <a:pt x="1984" y="5222"/>
                    <a:pt x="1984" y="5222"/>
                    <a:pt x="1984" y="5222"/>
                  </a:cubicBezTo>
                  <a:cubicBezTo>
                    <a:pt x="2033" y="5136"/>
                    <a:pt x="2033" y="5136"/>
                    <a:pt x="2033" y="5136"/>
                  </a:cubicBezTo>
                  <a:lnTo>
                    <a:pt x="2147" y="5201"/>
                  </a:lnTo>
                  <a:close/>
                  <a:moveTo>
                    <a:pt x="1972" y="5216"/>
                  </a:moveTo>
                  <a:cubicBezTo>
                    <a:pt x="1593" y="4999"/>
                    <a:pt x="1593" y="4999"/>
                    <a:pt x="1593" y="4999"/>
                  </a:cubicBezTo>
                  <a:cubicBezTo>
                    <a:pt x="1666" y="4926"/>
                    <a:pt x="1666" y="4926"/>
                    <a:pt x="1666" y="4926"/>
                  </a:cubicBezTo>
                  <a:cubicBezTo>
                    <a:pt x="2022" y="5129"/>
                    <a:pt x="2022" y="5129"/>
                    <a:pt x="2022" y="5129"/>
                  </a:cubicBezTo>
                  <a:lnTo>
                    <a:pt x="1972" y="5216"/>
                  </a:lnTo>
                  <a:close/>
                  <a:moveTo>
                    <a:pt x="1580" y="4992"/>
                  </a:moveTo>
                  <a:cubicBezTo>
                    <a:pt x="1232" y="4793"/>
                    <a:pt x="1232" y="4793"/>
                    <a:pt x="1232" y="4793"/>
                  </a:cubicBezTo>
                  <a:cubicBezTo>
                    <a:pt x="1280" y="4706"/>
                    <a:pt x="1280" y="4706"/>
                    <a:pt x="1280" y="4706"/>
                  </a:cubicBezTo>
                  <a:cubicBezTo>
                    <a:pt x="1653" y="4919"/>
                    <a:pt x="1653" y="4919"/>
                    <a:pt x="1653" y="4919"/>
                  </a:cubicBezTo>
                  <a:lnTo>
                    <a:pt x="1580" y="4992"/>
                  </a:lnTo>
                  <a:close/>
                  <a:moveTo>
                    <a:pt x="1574" y="5004"/>
                  </a:moveTo>
                  <a:cubicBezTo>
                    <a:pt x="1538" y="5106"/>
                    <a:pt x="1538" y="5106"/>
                    <a:pt x="1538" y="5106"/>
                  </a:cubicBezTo>
                  <a:cubicBezTo>
                    <a:pt x="1175" y="4899"/>
                    <a:pt x="1175" y="4899"/>
                    <a:pt x="1175" y="4899"/>
                  </a:cubicBezTo>
                  <a:cubicBezTo>
                    <a:pt x="1226" y="4806"/>
                    <a:pt x="1226" y="4806"/>
                    <a:pt x="1226" y="4806"/>
                  </a:cubicBezTo>
                  <a:lnTo>
                    <a:pt x="1574" y="5004"/>
                  </a:lnTo>
                  <a:close/>
                  <a:moveTo>
                    <a:pt x="1534" y="5119"/>
                  </a:moveTo>
                  <a:cubicBezTo>
                    <a:pt x="1493" y="5237"/>
                    <a:pt x="1493" y="5237"/>
                    <a:pt x="1493" y="5237"/>
                  </a:cubicBezTo>
                  <a:cubicBezTo>
                    <a:pt x="1110" y="5018"/>
                    <a:pt x="1110" y="5018"/>
                    <a:pt x="1110" y="5018"/>
                  </a:cubicBezTo>
                  <a:cubicBezTo>
                    <a:pt x="1169" y="4911"/>
                    <a:pt x="1169" y="4911"/>
                    <a:pt x="1169" y="4911"/>
                  </a:cubicBezTo>
                  <a:lnTo>
                    <a:pt x="1534" y="5119"/>
                  </a:lnTo>
                  <a:close/>
                  <a:moveTo>
                    <a:pt x="1488" y="5250"/>
                  </a:moveTo>
                  <a:cubicBezTo>
                    <a:pt x="1409" y="5341"/>
                    <a:pt x="1409" y="5341"/>
                    <a:pt x="1409" y="5341"/>
                  </a:cubicBezTo>
                  <a:cubicBezTo>
                    <a:pt x="1047" y="5135"/>
                    <a:pt x="1047" y="5135"/>
                    <a:pt x="1047" y="5135"/>
                  </a:cubicBezTo>
                  <a:cubicBezTo>
                    <a:pt x="1103" y="5030"/>
                    <a:pt x="1103" y="5030"/>
                    <a:pt x="1103" y="5030"/>
                  </a:cubicBezTo>
                  <a:lnTo>
                    <a:pt x="1488" y="5250"/>
                  </a:lnTo>
                  <a:close/>
                  <a:moveTo>
                    <a:pt x="1404" y="5355"/>
                  </a:moveTo>
                  <a:cubicBezTo>
                    <a:pt x="1374" y="5463"/>
                    <a:pt x="1374" y="5463"/>
                    <a:pt x="1374" y="5463"/>
                  </a:cubicBezTo>
                  <a:cubicBezTo>
                    <a:pt x="988" y="5243"/>
                    <a:pt x="988" y="5243"/>
                    <a:pt x="988" y="5243"/>
                  </a:cubicBezTo>
                  <a:cubicBezTo>
                    <a:pt x="1040" y="5147"/>
                    <a:pt x="1040" y="5147"/>
                    <a:pt x="1040" y="5147"/>
                  </a:cubicBezTo>
                  <a:lnTo>
                    <a:pt x="1404" y="5355"/>
                  </a:lnTo>
                  <a:close/>
                  <a:moveTo>
                    <a:pt x="1370" y="5477"/>
                  </a:moveTo>
                  <a:cubicBezTo>
                    <a:pt x="1333" y="5611"/>
                    <a:pt x="1333" y="5611"/>
                    <a:pt x="1333" y="5611"/>
                  </a:cubicBezTo>
                  <a:cubicBezTo>
                    <a:pt x="917" y="5373"/>
                    <a:pt x="917" y="5373"/>
                    <a:pt x="917" y="5373"/>
                  </a:cubicBezTo>
                  <a:cubicBezTo>
                    <a:pt x="981" y="5255"/>
                    <a:pt x="981" y="5255"/>
                    <a:pt x="981" y="5255"/>
                  </a:cubicBezTo>
                  <a:lnTo>
                    <a:pt x="1370" y="5477"/>
                  </a:lnTo>
                  <a:close/>
                  <a:moveTo>
                    <a:pt x="1322" y="5620"/>
                  </a:moveTo>
                  <a:cubicBezTo>
                    <a:pt x="1212" y="5683"/>
                    <a:pt x="1212" y="5683"/>
                    <a:pt x="1212" y="5683"/>
                  </a:cubicBezTo>
                  <a:cubicBezTo>
                    <a:pt x="858" y="5481"/>
                    <a:pt x="858" y="5481"/>
                    <a:pt x="858" y="5481"/>
                  </a:cubicBezTo>
                  <a:cubicBezTo>
                    <a:pt x="910" y="5386"/>
                    <a:pt x="910" y="5386"/>
                    <a:pt x="910" y="5386"/>
                  </a:cubicBezTo>
                  <a:lnTo>
                    <a:pt x="1322" y="5620"/>
                  </a:lnTo>
                  <a:close/>
                  <a:moveTo>
                    <a:pt x="1198" y="5691"/>
                  </a:moveTo>
                  <a:cubicBezTo>
                    <a:pt x="1187" y="5697"/>
                    <a:pt x="1187" y="5697"/>
                    <a:pt x="1187" y="5697"/>
                  </a:cubicBezTo>
                  <a:cubicBezTo>
                    <a:pt x="1153" y="5805"/>
                    <a:pt x="1153" y="5805"/>
                    <a:pt x="1153" y="5805"/>
                  </a:cubicBezTo>
                  <a:cubicBezTo>
                    <a:pt x="794" y="5600"/>
                    <a:pt x="794" y="5600"/>
                    <a:pt x="794" y="5600"/>
                  </a:cubicBezTo>
                  <a:cubicBezTo>
                    <a:pt x="852" y="5493"/>
                    <a:pt x="852" y="5493"/>
                    <a:pt x="852" y="5493"/>
                  </a:cubicBezTo>
                  <a:lnTo>
                    <a:pt x="1198" y="5691"/>
                  </a:lnTo>
                  <a:close/>
                  <a:moveTo>
                    <a:pt x="1148" y="5818"/>
                  </a:moveTo>
                  <a:cubicBezTo>
                    <a:pt x="1115" y="5921"/>
                    <a:pt x="1115" y="5921"/>
                    <a:pt x="1115" y="5921"/>
                  </a:cubicBezTo>
                  <a:cubicBezTo>
                    <a:pt x="736" y="5705"/>
                    <a:pt x="736" y="5705"/>
                    <a:pt x="736" y="5705"/>
                  </a:cubicBezTo>
                  <a:cubicBezTo>
                    <a:pt x="787" y="5612"/>
                    <a:pt x="787" y="5612"/>
                    <a:pt x="787" y="5612"/>
                  </a:cubicBezTo>
                  <a:lnTo>
                    <a:pt x="1148" y="5818"/>
                  </a:lnTo>
                  <a:close/>
                  <a:moveTo>
                    <a:pt x="1111" y="5935"/>
                  </a:moveTo>
                  <a:cubicBezTo>
                    <a:pt x="1075" y="6046"/>
                    <a:pt x="1075" y="6046"/>
                    <a:pt x="1075" y="6046"/>
                  </a:cubicBezTo>
                  <a:cubicBezTo>
                    <a:pt x="1067" y="6050"/>
                    <a:pt x="1067" y="6050"/>
                    <a:pt x="1067" y="6050"/>
                  </a:cubicBezTo>
                  <a:cubicBezTo>
                    <a:pt x="671" y="5824"/>
                    <a:pt x="671" y="5824"/>
                    <a:pt x="671" y="5824"/>
                  </a:cubicBezTo>
                  <a:cubicBezTo>
                    <a:pt x="730" y="5717"/>
                    <a:pt x="730" y="5717"/>
                    <a:pt x="730" y="5717"/>
                  </a:cubicBezTo>
                  <a:lnTo>
                    <a:pt x="1111" y="5935"/>
                  </a:lnTo>
                  <a:close/>
                  <a:moveTo>
                    <a:pt x="1054" y="6059"/>
                  </a:moveTo>
                  <a:cubicBezTo>
                    <a:pt x="946" y="6125"/>
                    <a:pt x="946" y="6125"/>
                    <a:pt x="946" y="6125"/>
                  </a:cubicBezTo>
                  <a:cubicBezTo>
                    <a:pt x="943" y="6132"/>
                    <a:pt x="943" y="6132"/>
                    <a:pt x="943" y="6132"/>
                  </a:cubicBezTo>
                  <a:cubicBezTo>
                    <a:pt x="608" y="5941"/>
                    <a:pt x="608" y="5941"/>
                    <a:pt x="608" y="5941"/>
                  </a:cubicBezTo>
                  <a:cubicBezTo>
                    <a:pt x="665" y="5837"/>
                    <a:pt x="665" y="5837"/>
                    <a:pt x="665" y="5837"/>
                  </a:cubicBezTo>
                  <a:lnTo>
                    <a:pt x="1054" y="6059"/>
                  </a:lnTo>
                  <a:close/>
                  <a:moveTo>
                    <a:pt x="950" y="6152"/>
                  </a:moveTo>
                  <a:cubicBezTo>
                    <a:pt x="1321" y="6364"/>
                    <a:pt x="1321" y="6364"/>
                    <a:pt x="1321" y="6364"/>
                  </a:cubicBezTo>
                  <a:cubicBezTo>
                    <a:pt x="1267" y="6459"/>
                    <a:pt x="1267" y="6459"/>
                    <a:pt x="1267" y="6459"/>
                  </a:cubicBezTo>
                  <a:cubicBezTo>
                    <a:pt x="907" y="6253"/>
                    <a:pt x="907" y="6253"/>
                    <a:pt x="907" y="6253"/>
                  </a:cubicBezTo>
                  <a:lnTo>
                    <a:pt x="950" y="6152"/>
                  </a:lnTo>
                  <a:close/>
                  <a:moveTo>
                    <a:pt x="1271" y="6478"/>
                  </a:moveTo>
                  <a:cubicBezTo>
                    <a:pt x="1385" y="6543"/>
                    <a:pt x="1385" y="6543"/>
                    <a:pt x="1385" y="6543"/>
                  </a:cubicBezTo>
                  <a:cubicBezTo>
                    <a:pt x="1353" y="6599"/>
                    <a:pt x="1353" y="6599"/>
                    <a:pt x="1353" y="6599"/>
                  </a:cubicBezTo>
                  <a:cubicBezTo>
                    <a:pt x="1239" y="6534"/>
                    <a:pt x="1239" y="6534"/>
                    <a:pt x="1239" y="6534"/>
                  </a:cubicBezTo>
                  <a:lnTo>
                    <a:pt x="1271" y="6478"/>
                  </a:lnTo>
                  <a:close/>
                  <a:moveTo>
                    <a:pt x="1278" y="6465"/>
                  </a:moveTo>
                  <a:cubicBezTo>
                    <a:pt x="1332" y="6370"/>
                    <a:pt x="1332" y="6370"/>
                    <a:pt x="1332" y="6370"/>
                  </a:cubicBezTo>
                  <a:cubicBezTo>
                    <a:pt x="1446" y="6435"/>
                    <a:pt x="1446" y="6435"/>
                    <a:pt x="1446" y="6435"/>
                  </a:cubicBezTo>
                  <a:cubicBezTo>
                    <a:pt x="1392" y="6530"/>
                    <a:pt x="1392" y="6530"/>
                    <a:pt x="1392" y="6530"/>
                  </a:cubicBezTo>
                  <a:lnTo>
                    <a:pt x="1278" y="6465"/>
                  </a:lnTo>
                  <a:close/>
                  <a:moveTo>
                    <a:pt x="1458" y="6442"/>
                  </a:moveTo>
                  <a:cubicBezTo>
                    <a:pt x="1513" y="6473"/>
                    <a:pt x="1513" y="6473"/>
                    <a:pt x="1513" y="6473"/>
                  </a:cubicBezTo>
                  <a:cubicBezTo>
                    <a:pt x="1459" y="6569"/>
                    <a:pt x="1459" y="6569"/>
                    <a:pt x="1459" y="6569"/>
                  </a:cubicBezTo>
                  <a:cubicBezTo>
                    <a:pt x="1404" y="6537"/>
                    <a:pt x="1404" y="6537"/>
                    <a:pt x="1404" y="6537"/>
                  </a:cubicBezTo>
                  <a:lnTo>
                    <a:pt x="1458" y="6442"/>
                  </a:lnTo>
                  <a:close/>
                  <a:moveTo>
                    <a:pt x="1429" y="7189"/>
                  </a:moveTo>
                  <a:cubicBezTo>
                    <a:pt x="1423" y="7180"/>
                    <a:pt x="1423" y="7180"/>
                    <a:pt x="1423" y="7180"/>
                  </a:cubicBezTo>
                  <a:cubicBezTo>
                    <a:pt x="1424" y="7180"/>
                    <a:pt x="1424" y="7180"/>
                    <a:pt x="1424" y="7180"/>
                  </a:cubicBezTo>
                  <a:cubicBezTo>
                    <a:pt x="1414" y="7165"/>
                    <a:pt x="1414" y="7165"/>
                    <a:pt x="1414" y="7165"/>
                  </a:cubicBezTo>
                  <a:cubicBezTo>
                    <a:pt x="1535" y="7162"/>
                    <a:pt x="1535" y="7162"/>
                    <a:pt x="1535" y="7162"/>
                  </a:cubicBezTo>
                  <a:cubicBezTo>
                    <a:pt x="1548" y="7167"/>
                    <a:pt x="1646" y="7204"/>
                    <a:pt x="1713" y="7230"/>
                  </a:cubicBezTo>
                  <a:cubicBezTo>
                    <a:pt x="1710" y="7235"/>
                    <a:pt x="1707" y="7240"/>
                    <a:pt x="1703" y="7245"/>
                  </a:cubicBezTo>
                  <a:cubicBezTo>
                    <a:pt x="1687" y="7268"/>
                    <a:pt x="1687" y="7268"/>
                    <a:pt x="1687" y="7268"/>
                  </a:cubicBezTo>
                  <a:cubicBezTo>
                    <a:pt x="1687" y="7267"/>
                    <a:pt x="1687" y="7267"/>
                    <a:pt x="1687" y="7267"/>
                  </a:cubicBezTo>
                  <a:cubicBezTo>
                    <a:pt x="1661" y="7304"/>
                    <a:pt x="1639" y="7334"/>
                    <a:pt x="1634" y="7339"/>
                  </a:cubicBezTo>
                  <a:cubicBezTo>
                    <a:pt x="1636" y="7340"/>
                    <a:pt x="1636" y="7340"/>
                    <a:pt x="1636" y="7340"/>
                  </a:cubicBezTo>
                  <a:cubicBezTo>
                    <a:pt x="1636" y="7341"/>
                    <a:pt x="1636" y="7341"/>
                    <a:pt x="1636" y="7341"/>
                  </a:cubicBezTo>
                  <a:cubicBezTo>
                    <a:pt x="1564" y="7444"/>
                    <a:pt x="1564" y="7444"/>
                    <a:pt x="1564" y="7444"/>
                  </a:cubicBezTo>
                  <a:cubicBezTo>
                    <a:pt x="1562" y="7444"/>
                    <a:pt x="1561" y="7443"/>
                    <a:pt x="1559" y="7442"/>
                  </a:cubicBezTo>
                  <a:cubicBezTo>
                    <a:pt x="1554" y="7439"/>
                    <a:pt x="1546" y="7435"/>
                    <a:pt x="1538" y="7429"/>
                  </a:cubicBezTo>
                  <a:cubicBezTo>
                    <a:pt x="1520" y="7419"/>
                    <a:pt x="1497" y="7404"/>
                    <a:pt x="1474" y="7390"/>
                  </a:cubicBezTo>
                  <a:cubicBezTo>
                    <a:pt x="1444" y="7371"/>
                    <a:pt x="1414" y="7351"/>
                    <a:pt x="1398" y="7341"/>
                  </a:cubicBezTo>
                  <a:lnTo>
                    <a:pt x="1429" y="7189"/>
                  </a:lnTo>
                  <a:close/>
                  <a:moveTo>
                    <a:pt x="1694" y="7370"/>
                  </a:moveTo>
                  <a:cubicBezTo>
                    <a:pt x="1696" y="7371"/>
                    <a:pt x="1697" y="7374"/>
                    <a:pt x="1700" y="7377"/>
                  </a:cubicBezTo>
                  <a:cubicBezTo>
                    <a:pt x="1704" y="7383"/>
                    <a:pt x="1711" y="7391"/>
                    <a:pt x="1719" y="7401"/>
                  </a:cubicBezTo>
                  <a:cubicBezTo>
                    <a:pt x="1735" y="7421"/>
                    <a:pt x="1756" y="7447"/>
                    <a:pt x="1777" y="7473"/>
                  </a:cubicBezTo>
                  <a:cubicBezTo>
                    <a:pt x="1813" y="7518"/>
                    <a:pt x="1850" y="7562"/>
                    <a:pt x="1859" y="7574"/>
                  </a:cubicBezTo>
                  <a:cubicBezTo>
                    <a:pt x="1857" y="7588"/>
                    <a:pt x="1850" y="7649"/>
                    <a:pt x="1843" y="7713"/>
                  </a:cubicBezTo>
                  <a:cubicBezTo>
                    <a:pt x="1841" y="7730"/>
                    <a:pt x="1838" y="7748"/>
                    <a:pt x="1836" y="7765"/>
                  </a:cubicBezTo>
                  <a:cubicBezTo>
                    <a:pt x="1814" y="7764"/>
                    <a:pt x="1620" y="7756"/>
                    <a:pt x="1587" y="7755"/>
                  </a:cubicBezTo>
                  <a:cubicBezTo>
                    <a:pt x="1586" y="7754"/>
                    <a:pt x="1586" y="7753"/>
                    <a:pt x="1585" y="7752"/>
                  </a:cubicBezTo>
                  <a:cubicBezTo>
                    <a:pt x="1582" y="7749"/>
                    <a:pt x="1578" y="7744"/>
                    <a:pt x="1573" y="7738"/>
                  </a:cubicBezTo>
                  <a:cubicBezTo>
                    <a:pt x="1564" y="7727"/>
                    <a:pt x="1551" y="7712"/>
                    <a:pt x="1539" y="7697"/>
                  </a:cubicBezTo>
                  <a:cubicBezTo>
                    <a:pt x="1523" y="7678"/>
                    <a:pt x="1507" y="7660"/>
                    <a:pt x="1498" y="7649"/>
                  </a:cubicBezTo>
                  <a:lnTo>
                    <a:pt x="1694" y="7370"/>
                  </a:lnTo>
                  <a:close/>
                  <a:moveTo>
                    <a:pt x="1524" y="7705"/>
                  </a:moveTo>
                  <a:cubicBezTo>
                    <a:pt x="1546" y="7731"/>
                    <a:pt x="1569" y="7758"/>
                    <a:pt x="1574" y="7765"/>
                  </a:cubicBezTo>
                  <a:cubicBezTo>
                    <a:pt x="1574" y="7770"/>
                    <a:pt x="1574" y="7770"/>
                    <a:pt x="1574" y="7770"/>
                  </a:cubicBezTo>
                  <a:cubicBezTo>
                    <a:pt x="1580" y="7772"/>
                    <a:pt x="1580" y="7772"/>
                    <a:pt x="1580" y="7772"/>
                  </a:cubicBezTo>
                  <a:cubicBezTo>
                    <a:pt x="1582" y="7772"/>
                    <a:pt x="1583" y="7772"/>
                    <a:pt x="1583" y="7772"/>
                  </a:cubicBezTo>
                  <a:cubicBezTo>
                    <a:pt x="1583" y="7772"/>
                    <a:pt x="1584" y="7772"/>
                    <a:pt x="1584" y="7772"/>
                  </a:cubicBezTo>
                  <a:cubicBezTo>
                    <a:pt x="1584" y="7772"/>
                    <a:pt x="1584" y="7772"/>
                    <a:pt x="1584" y="7772"/>
                  </a:cubicBezTo>
                  <a:cubicBezTo>
                    <a:pt x="1606" y="7772"/>
                    <a:pt x="1806" y="7780"/>
                    <a:pt x="1834" y="7781"/>
                  </a:cubicBezTo>
                  <a:cubicBezTo>
                    <a:pt x="1829" y="7826"/>
                    <a:pt x="1824" y="7863"/>
                    <a:pt x="1821" y="7872"/>
                  </a:cubicBezTo>
                  <a:cubicBezTo>
                    <a:pt x="1812" y="7880"/>
                    <a:pt x="1745" y="7933"/>
                    <a:pt x="1675" y="7989"/>
                  </a:cubicBezTo>
                  <a:cubicBezTo>
                    <a:pt x="1616" y="8037"/>
                    <a:pt x="1556" y="8085"/>
                    <a:pt x="1528" y="8110"/>
                  </a:cubicBezTo>
                  <a:cubicBezTo>
                    <a:pt x="1338" y="7875"/>
                    <a:pt x="1338" y="7875"/>
                    <a:pt x="1338" y="7875"/>
                  </a:cubicBezTo>
                  <a:cubicBezTo>
                    <a:pt x="1488" y="7663"/>
                    <a:pt x="1488" y="7663"/>
                    <a:pt x="1488" y="7663"/>
                  </a:cubicBezTo>
                  <a:cubicBezTo>
                    <a:pt x="1497" y="7673"/>
                    <a:pt x="1510" y="7689"/>
                    <a:pt x="1524" y="7705"/>
                  </a:cubicBezTo>
                  <a:close/>
                  <a:moveTo>
                    <a:pt x="1628" y="8306"/>
                  </a:moveTo>
                  <a:cubicBezTo>
                    <a:pt x="1613" y="8332"/>
                    <a:pt x="1578" y="8392"/>
                    <a:pt x="1537" y="8461"/>
                  </a:cubicBezTo>
                  <a:cubicBezTo>
                    <a:pt x="1327" y="8306"/>
                    <a:pt x="1327" y="8306"/>
                    <a:pt x="1327" y="8306"/>
                  </a:cubicBezTo>
                  <a:cubicBezTo>
                    <a:pt x="1345" y="8162"/>
                    <a:pt x="1345" y="8162"/>
                    <a:pt x="1345" y="8162"/>
                  </a:cubicBezTo>
                  <a:cubicBezTo>
                    <a:pt x="1222" y="7977"/>
                    <a:pt x="1222" y="7977"/>
                    <a:pt x="1222" y="7977"/>
                  </a:cubicBezTo>
                  <a:cubicBezTo>
                    <a:pt x="1307" y="7908"/>
                    <a:pt x="1307" y="7908"/>
                    <a:pt x="1307" y="7908"/>
                  </a:cubicBezTo>
                  <a:lnTo>
                    <a:pt x="1628" y="8306"/>
                  </a:lnTo>
                  <a:close/>
                  <a:moveTo>
                    <a:pt x="1328" y="8166"/>
                  </a:moveTo>
                  <a:cubicBezTo>
                    <a:pt x="1311" y="8302"/>
                    <a:pt x="1311" y="8302"/>
                    <a:pt x="1311" y="8302"/>
                  </a:cubicBezTo>
                  <a:cubicBezTo>
                    <a:pt x="1091" y="8314"/>
                    <a:pt x="1091" y="8314"/>
                    <a:pt x="1091" y="8314"/>
                  </a:cubicBezTo>
                  <a:cubicBezTo>
                    <a:pt x="1091" y="8263"/>
                    <a:pt x="1097" y="8105"/>
                    <a:pt x="1097" y="8077"/>
                  </a:cubicBezTo>
                  <a:cubicBezTo>
                    <a:pt x="1209" y="7987"/>
                    <a:pt x="1209" y="7987"/>
                    <a:pt x="1209" y="7987"/>
                  </a:cubicBezTo>
                  <a:lnTo>
                    <a:pt x="1328" y="8166"/>
                  </a:lnTo>
                  <a:close/>
                  <a:moveTo>
                    <a:pt x="1167" y="8623"/>
                  </a:moveTo>
                  <a:cubicBezTo>
                    <a:pt x="1235" y="8675"/>
                    <a:pt x="1306" y="8729"/>
                    <a:pt x="1358" y="8769"/>
                  </a:cubicBezTo>
                  <a:cubicBezTo>
                    <a:pt x="1356" y="8772"/>
                    <a:pt x="1354" y="8776"/>
                    <a:pt x="1353" y="8778"/>
                  </a:cubicBezTo>
                  <a:cubicBezTo>
                    <a:pt x="1347" y="8785"/>
                    <a:pt x="1347" y="8785"/>
                    <a:pt x="1347" y="8785"/>
                  </a:cubicBezTo>
                  <a:cubicBezTo>
                    <a:pt x="1343" y="8789"/>
                    <a:pt x="1337" y="8794"/>
                    <a:pt x="1331" y="8800"/>
                  </a:cubicBezTo>
                  <a:cubicBezTo>
                    <a:pt x="1316" y="8813"/>
                    <a:pt x="1296" y="8833"/>
                    <a:pt x="1272" y="8856"/>
                  </a:cubicBezTo>
                  <a:cubicBezTo>
                    <a:pt x="1253" y="8873"/>
                    <a:pt x="1233" y="8893"/>
                    <a:pt x="1211" y="8913"/>
                  </a:cubicBezTo>
                  <a:cubicBezTo>
                    <a:pt x="1195" y="8894"/>
                    <a:pt x="1137" y="8824"/>
                    <a:pt x="1078" y="8751"/>
                  </a:cubicBezTo>
                  <a:cubicBezTo>
                    <a:pt x="1014" y="8673"/>
                    <a:pt x="949" y="8593"/>
                    <a:pt x="935" y="8575"/>
                  </a:cubicBezTo>
                  <a:cubicBezTo>
                    <a:pt x="943" y="8563"/>
                    <a:pt x="965" y="8529"/>
                    <a:pt x="991" y="8489"/>
                  </a:cubicBezTo>
                  <a:cubicBezTo>
                    <a:pt x="1011" y="8504"/>
                    <a:pt x="1088" y="8563"/>
                    <a:pt x="1167" y="8623"/>
                  </a:cubicBezTo>
                  <a:close/>
                  <a:moveTo>
                    <a:pt x="1382" y="8814"/>
                  </a:moveTo>
                  <a:cubicBezTo>
                    <a:pt x="1382" y="8813"/>
                    <a:pt x="1382" y="8813"/>
                    <a:pt x="1382" y="8813"/>
                  </a:cubicBezTo>
                  <a:cubicBezTo>
                    <a:pt x="1383" y="8813"/>
                    <a:pt x="1384" y="8812"/>
                    <a:pt x="1385" y="8811"/>
                  </a:cubicBezTo>
                  <a:cubicBezTo>
                    <a:pt x="1386" y="8810"/>
                    <a:pt x="1386" y="8810"/>
                    <a:pt x="1387" y="8809"/>
                  </a:cubicBezTo>
                  <a:cubicBezTo>
                    <a:pt x="1387" y="8809"/>
                    <a:pt x="1387" y="8808"/>
                    <a:pt x="1388" y="8808"/>
                  </a:cubicBezTo>
                  <a:cubicBezTo>
                    <a:pt x="1388" y="8807"/>
                    <a:pt x="1388" y="8807"/>
                    <a:pt x="1388" y="8807"/>
                  </a:cubicBezTo>
                  <a:cubicBezTo>
                    <a:pt x="1388" y="8807"/>
                    <a:pt x="1388" y="8807"/>
                    <a:pt x="1389" y="8807"/>
                  </a:cubicBezTo>
                  <a:cubicBezTo>
                    <a:pt x="1389" y="8806"/>
                    <a:pt x="1389" y="8806"/>
                    <a:pt x="1389" y="8806"/>
                  </a:cubicBezTo>
                  <a:cubicBezTo>
                    <a:pt x="1389" y="8806"/>
                    <a:pt x="1389" y="8805"/>
                    <a:pt x="1389" y="8805"/>
                  </a:cubicBezTo>
                  <a:cubicBezTo>
                    <a:pt x="1390" y="8804"/>
                    <a:pt x="1391" y="8803"/>
                    <a:pt x="1392" y="8801"/>
                  </a:cubicBezTo>
                  <a:cubicBezTo>
                    <a:pt x="1394" y="8797"/>
                    <a:pt x="1397" y="8792"/>
                    <a:pt x="1401" y="8785"/>
                  </a:cubicBezTo>
                  <a:cubicBezTo>
                    <a:pt x="1409" y="8772"/>
                    <a:pt x="1420" y="8753"/>
                    <a:pt x="1433" y="8730"/>
                  </a:cubicBezTo>
                  <a:cubicBezTo>
                    <a:pt x="1446" y="8708"/>
                    <a:pt x="1461" y="8683"/>
                    <a:pt x="1476" y="8656"/>
                  </a:cubicBezTo>
                  <a:cubicBezTo>
                    <a:pt x="1478" y="8659"/>
                    <a:pt x="1479" y="8663"/>
                    <a:pt x="1481" y="8667"/>
                  </a:cubicBezTo>
                  <a:cubicBezTo>
                    <a:pt x="1489" y="8683"/>
                    <a:pt x="1499" y="8706"/>
                    <a:pt x="1512" y="8734"/>
                  </a:cubicBezTo>
                  <a:cubicBezTo>
                    <a:pt x="1535" y="8784"/>
                    <a:pt x="1565" y="8849"/>
                    <a:pt x="1596" y="8916"/>
                  </a:cubicBezTo>
                  <a:cubicBezTo>
                    <a:pt x="1045" y="9259"/>
                    <a:pt x="1045" y="9259"/>
                    <a:pt x="1045" y="9259"/>
                  </a:cubicBezTo>
                  <a:cubicBezTo>
                    <a:pt x="1048" y="9266"/>
                    <a:pt x="1048" y="9266"/>
                    <a:pt x="1048" y="9266"/>
                  </a:cubicBezTo>
                  <a:cubicBezTo>
                    <a:pt x="1048" y="9266"/>
                    <a:pt x="1066" y="9306"/>
                    <a:pt x="1088" y="9356"/>
                  </a:cubicBezTo>
                  <a:cubicBezTo>
                    <a:pt x="1079" y="9360"/>
                    <a:pt x="1079" y="9360"/>
                    <a:pt x="1079" y="9360"/>
                  </a:cubicBezTo>
                  <a:cubicBezTo>
                    <a:pt x="1150" y="9500"/>
                    <a:pt x="1150" y="9500"/>
                    <a:pt x="1150" y="9500"/>
                  </a:cubicBezTo>
                  <a:cubicBezTo>
                    <a:pt x="1152" y="9499"/>
                    <a:pt x="1152" y="9499"/>
                    <a:pt x="1152" y="9499"/>
                  </a:cubicBezTo>
                  <a:cubicBezTo>
                    <a:pt x="1156" y="9507"/>
                    <a:pt x="1160" y="9515"/>
                    <a:pt x="1163" y="9520"/>
                  </a:cubicBezTo>
                  <a:cubicBezTo>
                    <a:pt x="1164" y="9523"/>
                    <a:pt x="1165" y="9525"/>
                    <a:pt x="1166" y="9528"/>
                  </a:cubicBezTo>
                  <a:cubicBezTo>
                    <a:pt x="1085" y="9571"/>
                    <a:pt x="1085" y="9571"/>
                    <a:pt x="1085" y="9571"/>
                  </a:cubicBezTo>
                  <a:cubicBezTo>
                    <a:pt x="1079" y="9551"/>
                    <a:pt x="1067" y="9514"/>
                    <a:pt x="1050" y="9473"/>
                  </a:cubicBezTo>
                  <a:cubicBezTo>
                    <a:pt x="1024" y="9413"/>
                    <a:pt x="992" y="9345"/>
                    <a:pt x="938" y="9310"/>
                  </a:cubicBezTo>
                  <a:cubicBezTo>
                    <a:pt x="919" y="9299"/>
                    <a:pt x="901" y="9292"/>
                    <a:pt x="883" y="9287"/>
                  </a:cubicBezTo>
                  <a:cubicBezTo>
                    <a:pt x="923" y="9249"/>
                    <a:pt x="1017" y="9159"/>
                    <a:pt x="1114" y="9068"/>
                  </a:cubicBezTo>
                  <a:cubicBezTo>
                    <a:pt x="1237" y="8950"/>
                    <a:pt x="1365" y="8829"/>
                    <a:pt x="1382" y="8814"/>
                  </a:cubicBezTo>
                  <a:close/>
                  <a:moveTo>
                    <a:pt x="1161" y="9478"/>
                  </a:moveTo>
                  <a:cubicBezTo>
                    <a:pt x="1150" y="9454"/>
                    <a:pt x="1136" y="9424"/>
                    <a:pt x="1123" y="9393"/>
                  </a:cubicBezTo>
                  <a:cubicBezTo>
                    <a:pt x="1118" y="9383"/>
                    <a:pt x="1113" y="9372"/>
                    <a:pt x="1108" y="9361"/>
                  </a:cubicBezTo>
                  <a:cubicBezTo>
                    <a:pt x="1197" y="9319"/>
                    <a:pt x="1197" y="9319"/>
                    <a:pt x="1197" y="9319"/>
                  </a:cubicBezTo>
                  <a:cubicBezTo>
                    <a:pt x="1245" y="9419"/>
                    <a:pt x="1245" y="9419"/>
                    <a:pt x="1245" y="9419"/>
                  </a:cubicBezTo>
                  <a:cubicBezTo>
                    <a:pt x="1245" y="9419"/>
                    <a:pt x="1245" y="9419"/>
                    <a:pt x="1245" y="9419"/>
                  </a:cubicBezTo>
                  <a:cubicBezTo>
                    <a:pt x="1248" y="9429"/>
                    <a:pt x="1248" y="9429"/>
                    <a:pt x="1248" y="9429"/>
                  </a:cubicBezTo>
                  <a:cubicBezTo>
                    <a:pt x="1249" y="9432"/>
                    <a:pt x="1249" y="9432"/>
                    <a:pt x="1249" y="9432"/>
                  </a:cubicBezTo>
                  <a:lnTo>
                    <a:pt x="1161" y="9478"/>
                  </a:lnTo>
                  <a:close/>
                  <a:moveTo>
                    <a:pt x="1258" y="9444"/>
                  </a:moveTo>
                  <a:cubicBezTo>
                    <a:pt x="1271" y="9471"/>
                    <a:pt x="1271" y="9471"/>
                    <a:pt x="1271" y="9471"/>
                  </a:cubicBezTo>
                  <a:cubicBezTo>
                    <a:pt x="1181" y="9520"/>
                    <a:pt x="1181" y="9520"/>
                    <a:pt x="1181" y="9520"/>
                  </a:cubicBezTo>
                  <a:cubicBezTo>
                    <a:pt x="1180" y="9518"/>
                    <a:pt x="1180" y="9517"/>
                    <a:pt x="1179" y="9516"/>
                  </a:cubicBezTo>
                  <a:cubicBezTo>
                    <a:pt x="1176" y="9510"/>
                    <a:pt x="1172" y="9501"/>
                    <a:pt x="1167" y="9491"/>
                  </a:cubicBezTo>
                  <a:lnTo>
                    <a:pt x="1258" y="9444"/>
                  </a:lnTo>
                  <a:close/>
                  <a:moveTo>
                    <a:pt x="1266" y="9424"/>
                  </a:moveTo>
                  <a:cubicBezTo>
                    <a:pt x="1364" y="9374"/>
                    <a:pt x="1364" y="9374"/>
                    <a:pt x="1364" y="9374"/>
                  </a:cubicBezTo>
                  <a:cubicBezTo>
                    <a:pt x="1381" y="9412"/>
                    <a:pt x="1381" y="9412"/>
                    <a:pt x="1381" y="9412"/>
                  </a:cubicBezTo>
                  <a:cubicBezTo>
                    <a:pt x="1286" y="9464"/>
                    <a:pt x="1286" y="9464"/>
                    <a:pt x="1286" y="9464"/>
                  </a:cubicBezTo>
                  <a:lnTo>
                    <a:pt x="1266" y="9424"/>
                  </a:lnTo>
                  <a:close/>
                  <a:moveTo>
                    <a:pt x="1373" y="9353"/>
                  </a:moveTo>
                  <a:cubicBezTo>
                    <a:pt x="1483" y="9300"/>
                    <a:pt x="1483" y="9300"/>
                    <a:pt x="1483" y="9300"/>
                  </a:cubicBezTo>
                  <a:cubicBezTo>
                    <a:pt x="1504" y="9346"/>
                    <a:pt x="1504" y="9346"/>
                    <a:pt x="1504" y="9346"/>
                  </a:cubicBezTo>
                  <a:cubicBezTo>
                    <a:pt x="1396" y="9404"/>
                    <a:pt x="1396" y="9404"/>
                    <a:pt x="1396" y="9404"/>
                  </a:cubicBezTo>
                  <a:lnTo>
                    <a:pt x="1373" y="9353"/>
                  </a:lnTo>
                  <a:close/>
                  <a:moveTo>
                    <a:pt x="1493" y="9283"/>
                  </a:moveTo>
                  <a:cubicBezTo>
                    <a:pt x="1492" y="9277"/>
                    <a:pt x="1492" y="9277"/>
                    <a:pt x="1492" y="9277"/>
                  </a:cubicBezTo>
                  <a:cubicBezTo>
                    <a:pt x="1604" y="9223"/>
                    <a:pt x="1604" y="9223"/>
                    <a:pt x="1604" y="9223"/>
                  </a:cubicBezTo>
                  <a:cubicBezTo>
                    <a:pt x="1629" y="9278"/>
                    <a:pt x="1629" y="9278"/>
                    <a:pt x="1629" y="9278"/>
                  </a:cubicBezTo>
                  <a:cubicBezTo>
                    <a:pt x="1519" y="9338"/>
                    <a:pt x="1519" y="9338"/>
                    <a:pt x="1519" y="9338"/>
                  </a:cubicBezTo>
                  <a:lnTo>
                    <a:pt x="1493" y="9283"/>
                  </a:lnTo>
                  <a:close/>
                  <a:moveTo>
                    <a:pt x="1611" y="9201"/>
                  </a:moveTo>
                  <a:cubicBezTo>
                    <a:pt x="1707" y="9153"/>
                    <a:pt x="1707" y="9153"/>
                    <a:pt x="1707" y="9153"/>
                  </a:cubicBezTo>
                  <a:cubicBezTo>
                    <a:pt x="1722" y="9186"/>
                    <a:pt x="1733" y="9209"/>
                    <a:pt x="1738" y="9219"/>
                  </a:cubicBezTo>
                  <a:cubicBezTo>
                    <a:pt x="1644" y="9270"/>
                    <a:pt x="1644" y="9270"/>
                    <a:pt x="1644" y="9270"/>
                  </a:cubicBezTo>
                  <a:lnTo>
                    <a:pt x="1611" y="9201"/>
                  </a:lnTo>
                  <a:close/>
                  <a:moveTo>
                    <a:pt x="1715" y="9131"/>
                  </a:moveTo>
                  <a:cubicBezTo>
                    <a:pt x="1822" y="9080"/>
                    <a:pt x="1822" y="9080"/>
                    <a:pt x="1822" y="9080"/>
                  </a:cubicBezTo>
                  <a:cubicBezTo>
                    <a:pt x="1857" y="9155"/>
                    <a:pt x="1857" y="9155"/>
                    <a:pt x="1857" y="9155"/>
                  </a:cubicBezTo>
                  <a:cubicBezTo>
                    <a:pt x="1753" y="9212"/>
                    <a:pt x="1753" y="9212"/>
                    <a:pt x="1753" y="9212"/>
                  </a:cubicBezTo>
                  <a:cubicBezTo>
                    <a:pt x="1747" y="9199"/>
                    <a:pt x="1733" y="9170"/>
                    <a:pt x="1715" y="9131"/>
                  </a:cubicBezTo>
                  <a:close/>
                  <a:moveTo>
                    <a:pt x="1854" y="9110"/>
                  </a:moveTo>
                  <a:cubicBezTo>
                    <a:pt x="1961" y="9058"/>
                    <a:pt x="1961" y="9058"/>
                    <a:pt x="1961" y="9058"/>
                  </a:cubicBezTo>
                  <a:cubicBezTo>
                    <a:pt x="1968" y="9074"/>
                    <a:pt x="1974" y="9085"/>
                    <a:pt x="1976" y="9091"/>
                  </a:cubicBezTo>
                  <a:cubicBezTo>
                    <a:pt x="1872" y="9148"/>
                    <a:pt x="1872" y="9148"/>
                    <a:pt x="1872" y="9148"/>
                  </a:cubicBezTo>
                  <a:lnTo>
                    <a:pt x="1854" y="9110"/>
                  </a:lnTo>
                  <a:close/>
                  <a:moveTo>
                    <a:pt x="1969" y="9036"/>
                  </a:moveTo>
                  <a:cubicBezTo>
                    <a:pt x="1970" y="9035"/>
                    <a:pt x="1970" y="9035"/>
                    <a:pt x="1970" y="9035"/>
                  </a:cubicBezTo>
                  <a:cubicBezTo>
                    <a:pt x="1970" y="9035"/>
                    <a:pt x="1970" y="9035"/>
                    <a:pt x="1970" y="9035"/>
                  </a:cubicBezTo>
                  <a:cubicBezTo>
                    <a:pt x="2066" y="8985"/>
                    <a:pt x="2066" y="8985"/>
                    <a:pt x="2066" y="8985"/>
                  </a:cubicBezTo>
                  <a:cubicBezTo>
                    <a:pt x="2088" y="9031"/>
                    <a:pt x="2088" y="9031"/>
                    <a:pt x="2088" y="9031"/>
                  </a:cubicBezTo>
                  <a:cubicBezTo>
                    <a:pt x="1991" y="9083"/>
                    <a:pt x="1991" y="9083"/>
                    <a:pt x="1991" y="9083"/>
                  </a:cubicBezTo>
                  <a:cubicBezTo>
                    <a:pt x="1989" y="9081"/>
                    <a:pt x="1988" y="9078"/>
                    <a:pt x="1986" y="9074"/>
                  </a:cubicBezTo>
                  <a:cubicBezTo>
                    <a:pt x="1982" y="9064"/>
                    <a:pt x="1976" y="9051"/>
                    <a:pt x="1969" y="9036"/>
                  </a:cubicBezTo>
                  <a:close/>
                  <a:moveTo>
                    <a:pt x="2169" y="8919"/>
                  </a:moveTo>
                  <a:cubicBezTo>
                    <a:pt x="2173" y="8917"/>
                    <a:pt x="2173" y="8917"/>
                    <a:pt x="2173" y="8917"/>
                  </a:cubicBezTo>
                  <a:cubicBezTo>
                    <a:pt x="2158" y="8888"/>
                    <a:pt x="2158" y="8888"/>
                    <a:pt x="2158" y="8888"/>
                  </a:cubicBezTo>
                  <a:cubicBezTo>
                    <a:pt x="2158" y="8888"/>
                    <a:pt x="2159" y="8888"/>
                    <a:pt x="2160" y="8887"/>
                  </a:cubicBezTo>
                  <a:cubicBezTo>
                    <a:pt x="2163" y="8885"/>
                    <a:pt x="2166" y="8883"/>
                    <a:pt x="2171" y="8880"/>
                  </a:cubicBezTo>
                  <a:cubicBezTo>
                    <a:pt x="2181" y="8874"/>
                    <a:pt x="2195" y="8865"/>
                    <a:pt x="2212" y="8855"/>
                  </a:cubicBezTo>
                  <a:cubicBezTo>
                    <a:pt x="2246" y="8835"/>
                    <a:pt x="2291" y="8809"/>
                    <a:pt x="2337" y="8782"/>
                  </a:cubicBezTo>
                  <a:cubicBezTo>
                    <a:pt x="2420" y="8734"/>
                    <a:pt x="2502" y="8687"/>
                    <a:pt x="2515" y="8680"/>
                  </a:cubicBezTo>
                  <a:cubicBezTo>
                    <a:pt x="2564" y="8783"/>
                    <a:pt x="2564" y="8783"/>
                    <a:pt x="2564" y="8783"/>
                  </a:cubicBezTo>
                  <a:cubicBezTo>
                    <a:pt x="2500" y="8816"/>
                    <a:pt x="2441" y="8848"/>
                    <a:pt x="2388" y="8876"/>
                  </a:cubicBezTo>
                  <a:cubicBezTo>
                    <a:pt x="2302" y="8921"/>
                    <a:pt x="2233" y="8956"/>
                    <a:pt x="2195" y="8974"/>
                  </a:cubicBezTo>
                  <a:lnTo>
                    <a:pt x="2169" y="8919"/>
                  </a:lnTo>
                  <a:close/>
                  <a:moveTo>
                    <a:pt x="2547" y="8641"/>
                  </a:moveTo>
                  <a:cubicBezTo>
                    <a:pt x="2545" y="8642"/>
                    <a:pt x="2545" y="8642"/>
                    <a:pt x="2545" y="8642"/>
                  </a:cubicBezTo>
                  <a:cubicBezTo>
                    <a:pt x="2443" y="8428"/>
                    <a:pt x="2443" y="8428"/>
                    <a:pt x="2443" y="8428"/>
                  </a:cubicBezTo>
                  <a:cubicBezTo>
                    <a:pt x="2443" y="8428"/>
                    <a:pt x="2444" y="8428"/>
                    <a:pt x="2444" y="8428"/>
                  </a:cubicBezTo>
                  <a:cubicBezTo>
                    <a:pt x="2449" y="8426"/>
                    <a:pt x="2455" y="8423"/>
                    <a:pt x="2463" y="8420"/>
                  </a:cubicBezTo>
                  <a:cubicBezTo>
                    <a:pt x="2479" y="8414"/>
                    <a:pt x="2500" y="8406"/>
                    <a:pt x="2521" y="8398"/>
                  </a:cubicBezTo>
                  <a:cubicBezTo>
                    <a:pt x="2541" y="8390"/>
                    <a:pt x="2561" y="8383"/>
                    <a:pt x="2577" y="8377"/>
                  </a:cubicBezTo>
                  <a:cubicBezTo>
                    <a:pt x="2470" y="8419"/>
                    <a:pt x="2470" y="8419"/>
                    <a:pt x="2470" y="8419"/>
                  </a:cubicBezTo>
                  <a:cubicBezTo>
                    <a:pt x="2566" y="8640"/>
                    <a:pt x="2566" y="8640"/>
                    <a:pt x="2566" y="8640"/>
                  </a:cubicBezTo>
                  <a:cubicBezTo>
                    <a:pt x="2643" y="8619"/>
                    <a:pt x="2643" y="8619"/>
                    <a:pt x="2643" y="8619"/>
                  </a:cubicBezTo>
                  <a:cubicBezTo>
                    <a:pt x="2655" y="8501"/>
                    <a:pt x="2655" y="8501"/>
                    <a:pt x="2655" y="8501"/>
                  </a:cubicBezTo>
                  <a:cubicBezTo>
                    <a:pt x="2751" y="8595"/>
                    <a:pt x="2751" y="8595"/>
                    <a:pt x="2751" y="8595"/>
                  </a:cubicBezTo>
                  <a:cubicBezTo>
                    <a:pt x="2796" y="8585"/>
                    <a:pt x="2796" y="8585"/>
                    <a:pt x="2796" y="8585"/>
                  </a:cubicBezTo>
                  <a:cubicBezTo>
                    <a:pt x="2580" y="8376"/>
                    <a:pt x="2580" y="8376"/>
                    <a:pt x="2580" y="8376"/>
                  </a:cubicBezTo>
                  <a:cubicBezTo>
                    <a:pt x="2588" y="8373"/>
                    <a:pt x="2596" y="8370"/>
                    <a:pt x="2600" y="8369"/>
                  </a:cubicBezTo>
                  <a:cubicBezTo>
                    <a:pt x="2858" y="8626"/>
                    <a:pt x="2858" y="8626"/>
                    <a:pt x="2858" y="8626"/>
                  </a:cubicBezTo>
                  <a:cubicBezTo>
                    <a:pt x="2771" y="8673"/>
                    <a:pt x="2685" y="8719"/>
                    <a:pt x="2604" y="8761"/>
                  </a:cubicBezTo>
                  <a:lnTo>
                    <a:pt x="2547" y="8641"/>
                  </a:lnTo>
                  <a:close/>
                  <a:moveTo>
                    <a:pt x="2767" y="8577"/>
                  </a:moveTo>
                  <a:cubicBezTo>
                    <a:pt x="2755" y="8579"/>
                    <a:pt x="2755" y="8579"/>
                    <a:pt x="2755" y="8579"/>
                  </a:cubicBezTo>
                  <a:cubicBezTo>
                    <a:pt x="2665" y="8491"/>
                    <a:pt x="2665" y="8491"/>
                    <a:pt x="2665" y="8491"/>
                  </a:cubicBezTo>
                  <a:cubicBezTo>
                    <a:pt x="2645" y="8471"/>
                    <a:pt x="2645" y="8471"/>
                    <a:pt x="2645" y="8471"/>
                  </a:cubicBezTo>
                  <a:cubicBezTo>
                    <a:pt x="2642" y="8500"/>
                    <a:pt x="2642" y="8500"/>
                    <a:pt x="2642" y="8500"/>
                  </a:cubicBezTo>
                  <a:cubicBezTo>
                    <a:pt x="2630" y="8608"/>
                    <a:pt x="2630" y="8608"/>
                    <a:pt x="2630" y="8608"/>
                  </a:cubicBezTo>
                  <a:cubicBezTo>
                    <a:pt x="2574" y="8623"/>
                    <a:pt x="2574" y="8623"/>
                    <a:pt x="2574" y="8623"/>
                  </a:cubicBezTo>
                  <a:cubicBezTo>
                    <a:pt x="2488" y="8427"/>
                    <a:pt x="2488" y="8427"/>
                    <a:pt x="2488" y="8427"/>
                  </a:cubicBezTo>
                  <a:cubicBezTo>
                    <a:pt x="2576" y="8392"/>
                    <a:pt x="2576" y="8392"/>
                    <a:pt x="2576" y="8392"/>
                  </a:cubicBezTo>
                  <a:lnTo>
                    <a:pt x="2767" y="8577"/>
                  </a:lnTo>
                  <a:close/>
                  <a:moveTo>
                    <a:pt x="3342" y="8127"/>
                  </a:moveTo>
                  <a:cubicBezTo>
                    <a:pt x="3332" y="8116"/>
                    <a:pt x="3317" y="8102"/>
                    <a:pt x="3299" y="8084"/>
                  </a:cubicBezTo>
                  <a:cubicBezTo>
                    <a:pt x="3264" y="8049"/>
                    <a:pt x="3216" y="8002"/>
                    <a:pt x="3169" y="7956"/>
                  </a:cubicBezTo>
                  <a:cubicBezTo>
                    <a:pt x="3129" y="7917"/>
                    <a:pt x="3090" y="7878"/>
                    <a:pt x="3057" y="7846"/>
                  </a:cubicBezTo>
                  <a:cubicBezTo>
                    <a:pt x="3435" y="7552"/>
                    <a:pt x="3435" y="7552"/>
                    <a:pt x="3435" y="7552"/>
                  </a:cubicBezTo>
                  <a:cubicBezTo>
                    <a:pt x="3512" y="7570"/>
                    <a:pt x="3512" y="7570"/>
                    <a:pt x="3512" y="7570"/>
                  </a:cubicBezTo>
                  <a:cubicBezTo>
                    <a:pt x="3656" y="7957"/>
                    <a:pt x="3656" y="7957"/>
                    <a:pt x="3656" y="7957"/>
                  </a:cubicBezTo>
                  <a:cubicBezTo>
                    <a:pt x="3473" y="8176"/>
                    <a:pt x="3473" y="8176"/>
                    <a:pt x="3473" y="8176"/>
                  </a:cubicBezTo>
                  <a:cubicBezTo>
                    <a:pt x="3457" y="8170"/>
                    <a:pt x="3406" y="8155"/>
                    <a:pt x="3377" y="8146"/>
                  </a:cubicBezTo>
                  <a:cubicBezTo>
                    <a:pt x="3367" y="8143"/>
                    <a:pt x="3361" y="8142"/>
                    <a:pt x="3356" y="8141"/>
                  </a:cubicBezTo>
                  <a:cubicBezTo>
                    <a:pt x="3356" y="8140"/>
                    <a:pt x="3355" y="8139"/>
                    <a:pt x="3354" y="8138"/>
                  </a:cubicBezTo>
                  <a:cubicBezTo>
                    <a:pt x="3351" y="8136"/>
                    <a:pt x="3347" y="8132"/>
                    <a:pt x="3342" y="8127"/>
                  </a:cubicBezTo>
                  <a:close/>
                  <a:moveTo>
                    <a:pt x="3590" y="7733"/>
                  </a:moveTo>
                  <a:cubicBezTo>
                    <a:pt x="3856" y="7679"/>
                    <a:pt x="3856" y="7679"/>
                    <a:pt x="3856" y="7679"/>
                  </a:cubicBezTo>
                  <a:cubicBezTo>
                    <a:pt x="3857" y="7682"/>
                    <a:pt x="3857" y="7685"/>
                    <a:pt x="3857" y="7687"/>
                  </a:cubicBezTo>
                  <a:cubicBezTo>
                    <a:pt x="3857" y="7690"/>
                    <a:pt x="3858" y="7691"/>
                    <a:pt x="3858" y="7693"/>
                  </a:cubicBezTo>
                  <a:cubicBezTo>
                    <a:pt x="3858" y="7695"/>
                    <a:pt x="3858" y="7697"/>
                    <a:pt x="3858" y="7700"/>
                  </a:cubicBezTo>
                  <a:cubicBezTo>
                    <a:pt x="3858" y="7761"/>
                    <a:pt x="3875" y="7865"/>
                    <a:pt x="3881" y="7903"/>
                  </a:cubicBezTo>
                  <a:cubicBezTo>
                    <a:pt x="3881" y="7903"/>
                    <a:pt x="3881" y="7903"/>
                    <a:pt x="3881" y="7903"/>
                  </a:cubicBezTo>
                  <a:cubicBezTo>
                    <a:pt x="3881" y="7904"/>
                    <a:pt x="3882" y="7905"/>
                    <a:pt x="3882" y="7907"/>
                  </a:cubicBezTo>
                  <a:cubicBezTo>
                    <a:pt x="3882" y="7907"/>
                    <a:pt x="3882" y="7908"/>
                    <a:pt x="3882" y="7909"/>
                  </a:cubicBezTo>
                  <a:cubicBezTo>
                    <a:pt x="3727" y="7979"/>
                    <a:pt x="3727" y="7979"/>
                    <a:pt x="3727" y="7979"/>
                  </a:cubicBezTo>
                  <a:cubicBezTo>
                    <a:pt x="3675" y="7961"/>
                    <a:pt x="3675" y="7961"/>
                    <a:pt x="3675" y="7961"/>
                  </a:cubicBezTo>
                  <a:lnTo>
                    <a:pt x="3590" y="7733"/>
                  </a:lnTo>
                  <a:close/>
                  <a:moveTo>
                    <a:pt x="3711" y="7361"/>
                  </a:moveTo>
                  <a:cubicBezTo>
                    <a:pt x="3859" y="7241"/>
                    <a:pt x="3859" y="7241"/>
                    <a:pt x="3859" y="7241"/>
                  </a:cubicBezTo>
                  <a:cubicBezTo>
                    <a:pt x="3867" y="7242"/>
                    <a:pt x="3887" y="7245"/>
                    <a:pt x="3896" y="7246"/>
                  </a:cubicBezTo>
                  <a:cubicBezTo>
                    <a:pt x="3896" y="7247"/>
                    <a:pt x="3896" y="7247"/>
                    <a:pt x="3897" y="7247"/>
                  </a:cubicBezTo>
                  <a:cubicBezTo>
                    <a:pt x="3899" y="7249"/>
                    <a:pt x="3902" y="7252"/>
                    <a:pt x="3906" y="7256"/>
                  </a:cubicBezTo>
                  <a:cubicBezTo>
                    <a:pt x="3914" y="7264"/>
                    <a:pt x="3925" y="7274"/>
                    <a:pt x="3939" y="7287"/>
                  </a:cubicBezTo>
                  <a:cubicBezTo>
                    <a:pt x="3966" y="7313"/>
                    <a:pt x="4003" y="7347"/>
                    <a:pt x="4040" y="7382"/>
                  </a:cubicBezTo>
                  <a:cubicBezTo>
                    <a:pt x="4103" y="7441"/>
                    <a:pt x="4167" y="7500"/>
                    <a:pt x="4182" y="7515"/>
                  </a:cubicBezTo>
                  <a:cubicBezTo>
                    <a:pt x="4159" y="7525"/>
                    <a:pt x="4144" y="7532"/>
                    <a:pt x="4144" y="7532"/>
                  </a:cubicBezTo>
                  <a:cubicBezTo>
                    <a:pt x="4144" y="7532"/>
                    <a:pt x="4144" y="7532"/>
                    <a:pt x="4144" y="7532"/>
                  </a:cubicBezTo>
                  <a:cubicBezTo>
                    <a:pt x="4145" y="7534"/>
                    <a:pt x="4145" y="7534"/>
                    <a:pt x="4145" y="7534"/>
                  </a:cubicBezTo>
                  <a:cubicBezTo>
                    <a:pt x="4034" y="7589"/>
                    <a:pt x="4034" y="7589"/>
                    <a:pt x="4034" y="7589"/>
                  </a:cubicBezTo>
                  <a:cubicBezTo>
                    <a:pt x="3921" y="7639"/>
                    <a:pt x="3921" y="7639"/>
                    <a:pt x="3921" y="7639"/>
                  </a:cubicBezTo>
                  <a:cubicBezTo>
                    <a:pt x="3920" y="7635"/>
                    <a:pt x="3920" y="7630"/>
                    <a:pt x="3919" y="7626"/>
                  </a:cubicBezTo>
                  <a:cubicBezTo>
                    <a:pt x="3916" y="7605"/>
                    <a:pt x="3909" y="7593"/>
                    <a:pt x="3907" y="7590"/>
                  </a:cubicBezTo>
                  <a:cubicBezTo>
                    <a:pt x="3905" y="7588"/>
                    <a:pt x="3905" y="7588"/>
                    <a:pt x="3905" y="7588"/>
                  </a:cubicBezTo>
                  <a:lnTo>
                    <a:pt x="3711" y="7361"/>
                  </a:lnTo>
                  <a:close/>
                  <a:moveTo>
                    <a:pt x="4018" y="7671"/>
                  </a:moveTo>
                  <a:cubicBezTo>
                    <a:pt x="4063" y="7651"/>
                    <a:pt x="4063" y="7651"/>
                    <a:pt x="4063" y="7651"/>
                  </a:cubicBezTo>
                  <a:cubicBezTo>
                    <a:pt x="4125" y="7620"/>
                    <a:pt x="4125" y="7620"/>
                    <a:pt x="4125" y="7620"/>
                  </a:cubicBezTo>
                  <a:cubicBezTo>
                    <a:pt x="4171" y="7824"/>
                    <a:pt x="4171" y="7824"/>
                    <a:pt x="4171" y="7824"/>
                  </a:cubicBezTo>
                  <a:cubicBezTo>
                    <a:pt x="4094" y="7835"/>
                    <a:pt x="4094" y="7835"/>
                    <a:pt x="4094" y="7835"/>
                  </a:cubicBezTo>
                  <a:cubicBezTo>
                    <a:pt x="4118" y="7990"/>
                    <a:pt x="4118" y="7990"/>
                    <a:pt x="4118" y="7990"/>
                  </a:cubicBezTo>
                  <a:cubicBezTo>
                    <a:pt x="4205" y="7978"/>
                    <a:pt x="4205" y="7978"/>
                    <a:pt x="4205" y="7978"/>
                  </a:cubicBezTo>
                  <a:cubicBezTo>
                    <a:pt x="4216" y="8028"/>
                    <a:pt x="4216" y="8028"/>
                    <a:pt x="4216" y="8028"/>
                  </a:cubicBezTo>
                  <a:cubicBezTo>
                    <a:pt x="4178" y="8025"/>
                    <a:pt x="4141" y="8022"/>
                    <a:pt x="4104" y="8021"/>
                  </a:cubicBezTo>
                  <a:lnTo>
                    <a:pt x="4018" y="7671"/>
                  </a:lnTo>
                  <a:close/>
                  <a:moveTo>
                    <a:pt x="4280" y="8185"/>
                  </a:moveTo>
                  <a:cubicBezTo>
                    <a:pt x="4301" y="8186"/>
                    <a:pt x="4322" y="8186"/>
                    <a:pt x="4345" y="8186"/>
                  </a:cubicBezTo>
                  <a:cubicBezTo>
                    <a:pt x="4374" y="8186"/>
                    <a:pt x="4405" y="8185"/>
                    <a:pt x="4437" y="8183"/>
                  </a:cubicBezTo>
                  <a:cubicBezTo>
                    <a:pt x="4507" y="8178"/>
                    <a:pt x="4601" y="8164"/>
                    <a:pt x="4697" y="8148"/>
                  </a:cubicBezTo>
                  <a:cubicBezTo>
                    <a:pt x="4755" y="8146"/>
                    <a:pt x="4812" y="8145"/>
                    <a:pt x="4865" y="8145"/>
                  </a:cubicBezTo>
                  <a:cubicBezTo>
                    <a:pt x="4976" y="8145"/>
                    <a:pt x="5076" y="8148"/>
                    <a:pt x="5155" y="8152"/>
                  </a:cubicBezTo>
                  <a:cubicBezTo>
                    <a:pt x="5402" y="8163"/>
                    <a:pt x="5900" y="8219"/>
                    <a:pt x="6170" y="8219"/>
                  </a:cubicBezTo>
                  <a:cubicBezTo>
                    <a:pt x="6170" y="8219"/>
                    <a:pt x="6171" y="8219"/>
                    <a:pt x="6171" y="8219"/>
                  </a:cubicBezTo>
                  <a:cubicBezTo>
                    <a:pt x="6211" y="8219"/>
                    <a:pt x="6246" y="8218"/>
                    <a:pt x="6273" y="8215"/>
                  </a:cubicBezTo>
                  <a:cubicBezTo>
                    <a:pt x="6293" y="8213"/>
                    <a:pt x="6308" y="8210"/>
                    <a:pt x="6316" y="8208"/>
                  </a:cubicBezTo>
                  <a:cubicBezTo>
                    <a:pt x="6318" y="8207"/>
                    <a:pt x="6319" y="8207"/>
                    <a:pt x="6321" y="8206"/>
                  </a:cubicBezTo>
                  <a:cubicBezTo>
                    <a:pt x="6334" y="8200"/>
                    <a:pt x="6348" y="8187"/>
                    <a:pt x="6363" y="8157"/>
                  </a:cubicBezTo>
                  <a:cubicBezTo>
                    <a:pt x="6414" y="8160"/>
                    <a:pt x="6457" y="8163"/>
                    <a:pt x="6493" y="8166"/>
                  </a:cubicBezTo>
                  <a:cubicBezTo>
                    <a:pt x="6487" y="8181"/>
                    <a:pt x="6481" y="8196"/>
                    <a:pt x="6474" y="8211"/>
                  </a:cubicBezTo>
                  <a:cubicBezTo>
                    <a:pt x="6453" y="8254"/>
                    <a:pt x="6421" y="8296"/>
                    <a:pt x="6371" y="8319"/>
                  </a:cubicBezTo>
                  <a:cubicBezTo>
                    <a:pt x="6344" y="8330"/>
                    <a:pt x="6318" y="8334"/>
                    <a:pt x="6285" y="8337"/>
                  </a:cubicBezTo>
                  <a:cubicBezTo>
                    <a:pt x="6252" y="8341"/>
                    <a:pt x="6214" y="8342"/>
                    <a:pt x="6171" y="8342"/>
                  </a:cubicBezTo>
                  <a:cubicBezTo>
                    <a:pt x="6104" y="8342"/>
                    <a:pt x="6024" y="8339"/>
                    <a:pt x="5939" y="8333"/>
                  </a:cubicBezTo>
                  <a:cubicBezTo>
                    <a:pt x="5937" y="8330"/>
                    <a:pt x="5937" y="8330"/>
                    <a:pt x="5937" y="8330"/>
                  </a:cubicBezTo>
                  <a:cubicBezTo>
                    <a:pt x="5935" y="8332"/>
                    <a:pt x="5934" y="8333"/>
                    <a:pt x="5934" y="8333"/>
                  </a:cubicBezTo>
                  <a:cubicBezTo>
                    <a:pt x="5662" y="8317"/>
                    <a:pt x="5331" y="8283"/>
                    <a:pt x="5150" y="8275"/>
                  </a:cubicBezTo>
                  <a:cubicBezTo>
                    <a:pt x="5130" y="8274"/>
                    <a:pt x="5109" y="8273"/>
                    <a:pt x="5087" y="8272"/>
                  </a:cubicBezTo>
                  <a:cubicBezTo>
                    <a:pt x="5087" y="8265"/>
                    <a:pt x="5087" y="8265"/>
                    <a:pt x="5087" y="8265"/>
                  </a:cubicBezTo>
                  <a:cubicBezTo>
                    <a:pt x="5073" y="8264"/>
                    <a:pt x="5073" y="8264"/>
                    <a:pt x="5073" y="8264"/>
                  </a:cubicBezTo>
                  <a:cubicBezTo>
                    <a:pt x="5073" y="8272"/>
                    <a:pt x="5073" y="8272"/>
                    <a:pt x="5073" y="8272"/>
                  </a:cubicBezTo>
                  <a:cubicBezTo>
                    <a:pt x="5011" y="8270"/>
                    <a:pt x="4941" y="8268"/>
                    <a:pt x="4865" y="8268"/>
                  </a:cubicBezTo>
                  <a:cubicBezTo>
                    <a:pt x="4862" y="8268"/>
                    <a:pt x="4858" y="8268"/>
                    <a:pt x="4855" y="8268"/>
                  </a:cubicBezTo>
                  <a:cubicBezTo>
                    <a:pt x="4826" y="8268"/>
                    <a:pt x="4796" y="8268"/>
                    <a:pt x="4765" y="8269"/>
                  </a:cubicBezTo>
                  <a:cubicBezTo>
                    <a:pt x="4764" y="8262"/>
                    <a:pt x="4764" y="8262"/>
                    <a:pt x="4764" y="8262"/>
                  </a:cubicBezTo>
                  <a:cubicBezTo>
                    <a:pt x="4750" y="8264"/>
                    <a:pt x="4750" y="8264"/>
                    <a:pt x="4750" y="8264"/>
                  </a:cubicBezTo>
                  <a:cubicBezTo>
                    <a:pt x="4751" y="8269"/>
                    <a:pt x="4751" y="8269"/>
                    <a:pt x="4751" y="8269"/>
                  </a:cubicBezTo>
                  <a:cubicBezTo>
                    <a:pt x="4698" y="8270"/>
                    <a:pt x="4643" y="8273"/>
                    <a:pt x="4588" y="8276"/>
                  </a:cubicBezTo>
                  <a:cubicBezTo>
                    <a:pt x="4588" y="8275"/>
                    <a:pt x="4588" y="8273"/>
                    <a:pt x="4588" y="8273"/>
                  </a:cubicBezTo>
                  <a:cubicBezTo>
                    <a:pt x="4574" y="8273"/>
                    <a:pt x="4574" y="8273"/>
                    <a:pt x="4574" y="8273"/>
                  </a:cubicBezTo>
                  <a:cubicBezTo>
                    <a:pt x="4574" y="8273"/>
                    <a:pt x="4574" y="8275"/>
                    <a:pt x="4574" y="8277"/>
                  </a:cubicBezTo>
                  <a:cubicBezTo>
                    <a:pt x="4494" y="8282"/>
                    <a:pt x="4413" y="8290"/>
                    <a:pt x="4333" y="8301"/>
                  </a:cubicBezTo>
                  <a:cubicBezTo>
                    <a:pt x="4331" y="8294"/>
                    <a:pt x="4331" y="8294"/>
                    <a:pt x="4331" y="8294"/>
                  </a:cubicBezTo>
                  <a:cubicBezTo>
                    <a:pt x="4318" y="8297"/>
                    <a:pt x="4318" y="8297"/>
                    <a:pt x="4318" y="8297"/>
                  </a:cubicBezTo>
                  <a:cubicBezTo>
                    <a:pt x="4319" y="8303"/>
                    <a:pt x="4319" y="8303"/>
                    <a:pt x="4319" y="8303"/>
                  </a:cubicBezTo>
                  <a:cubicBezTo>
                    <a:pt x="4152" y="8328"/>
                    <a:pt x="3990" y="8368"/>
                    <a:pt x="3857" y="8431"/>
                  </a:cubicBezTo>
                  <a:cubicBezTo>
                    <a:pt x="3810" y="8318"/>
                    <a:pt x="3810" y="8318"/>
                    <a:pt x="3810" y="8318"/>
                  </a:cubicBezTo>
                  <a:cubicBezTo>
                    <a:pt x="3951" y="8252"/>
                    <a:pt x="4114" y="8211"/>
                    <a:pt x="4280" y="8185"/>
                  </a:cubicBezTo>
                  <a:close/>
                  <a:moveTo>
                    <a:pt x="4324" y="8319"/>
                  </a:moveTo>
                  <a:cubicBezTo>
                    <a:pt x="4429" y="8715"/>
                    <a:pt x="4429" y="8715"/>
                    <a:pt x="4429" y="8715"/>
                  </a:cubicBezTo>
                  <a:cubicBezTo>
                    <a:pt x="4442" y="8711"/>
                    <a:pt x="4442" y="8711"/>
                    <a:pt x="4442" y="8711"/>
                  </a:cubicBezTo>
                  <a:cubicBezTo>
                    <a:pt x="4338" y="8317"/>
                    <a:pt x="4338" y="8317"/>
                    <a:pt x="4338" y="8317"/>
                  </a:cubicBezTo>
                  <a:cubicBezTo>
                    <a:pt x="4416" y="8306"/>
                    <a:pt x="4495" y="8299"/>
                    <a:pt x="4574" y="8293"/>
                  </a:cubicBezTo>
                  <a:cubicBezTo>
                    <a:pt x="4573" y="8363"/>
                    <a:pt x="4569" y="8595"/>
                    <a:pt x="4569" y="8625"/>
                  </a:cubicBezTo>
                  <a:cubicBezTo>
                    <a:pt x="4077" y="8960"/>
                    <a:pt x="4077" y="8960"/>
                    <a:pt x="4077" y="8960"/>
                  </a:cubicBezTo>
                  <a:cubicBezTo>
                    <a:pt x="3863" y="8446"/>
                    <a:pt x="3863" y="8446"/>
                    <a:pt x="3863" y="8446"/>
                  </a:cubicBezTo>
                  <a:cubicBezTo>
                    <a:pt x="3995" y="8384"/>
                    <a:pt x="4156" y="8344"/>
                    <a:pt x="4324" y="8319"/>
                  </a:cubicBezTo>
                  <a:close/>
                  <a:moveTo>
                    <a:pt x="3357" y="9834"/>
                  </a:moveTo>
                  <a:cubicBezTo>
                    <a:pt x="3374" y="9859"/>
                    <a:pt x="3396" y="9893"/>
                    <a:pt x="3419" y="9930"/>
                  </a:cubicBezTo>
                  <a:cubicBezTo>
                    <a:pt x="3465" y="10003"/>
                    <a:pt x="3517" y="10084"/>
                    <a:pt x="3538" y="10118"/>
                  </a:cubicBezTo>
                  <a:cubicBezTo>
                    <a:pt x="3545" y="10128"/>
                    <a:pt x="3548" y="10133"/>
                    <a:pt x="3550" y="10136"/>
                  </a:cubicBezTo>
                  <a:cubicBezTo>
                    <a:pt x="3551" y="10136"/>
                    <a:pt x="3550" y="10136"/>
                    <a:pt x="3553" y="10137"/>
                  </a:cubicBezTo>
                  <a:cubicBezTo>
                    <a:pt x="3553" y="10137"/>
                    <a:pt x="3553" y="10137"/>
                    <a:pt x="3553" y="10137"/>
                  </a:cubicBezTo>
                  <a:cubicBezTo>
                    <a:pt x="3538" y="10143"/>
                    <a:pt x="3450" y="10179"/>
                    <a:pt x="3360" y="10216"/>
                  </a:cubicBezTo>
                  <a:cubicBezTo>
                    <a:pt x="3291" y="10244"/>
                    <a:pt x="3221" y="10272"/>
                    <a:pt x="3182" y="10287"/>
                  </a:cubicBezTo>
                  <a:cubicBezTo>
                    <a:pt x="3112" y="9997"/>
                    <a:pt x="3112" y="9997"/>
                    <a:pt x="3112" y="9997"/>
                  </a:cubicBezTo>
                  <a:cubicBezTo>
                    <a:pt x="3145" y="9981"/>
                    <a:pt x="3171" y="9969"/>
                    <a:pt x="3191" y="9957"/>
                  </a:cubicBezTo>
                  <a:cubicBezTo>
                    <a:pt x="3241" y="9931"/>
                    <a:pt x="3267" y="9905"/>
                    <a:pt x="3310" y="9845"/>
                  </a:cubicBezTo>
                  <a:cubicBezTo>
                    <a:pt x="3320" y="9831"/>
                    <a:pt x="3328" y="9817"/>
                    <a:pt x="3336" y="9802"/>
                  </a:cubicBezTo>
                  <a:cubicBezTo>
                    <a:pt x="3336" y="9803"/>
                    <a:pt x="3336" y="9803"/>
                    <a:pt x="3337" y="9804"/>
                  </a:cubicBezTo>
                  <a:cubicBezTo>
                    <a:pt x="3342" y="9811"/>
                    <a:pt x="3349" y="9821"/>
                    <a:pt x="3357" y="9834"/>
                  </a:cubicBezTo>
                  <a:close/>
                  <a:moveTo>
                    <a:pt x="3169" y="10292"/>
                  </a:moveTo>
                  <a:cubicBezTo>
                    <a:pt x="3160" y="10295"/>
                    <a:pt x="3154" y="10298"/>
                    <a:pt x="3152" y="10298"/>
                  </a:cubicBezTo>
                  <a:cubicBezTo>
                    <a:pt x="3152" y="10298"/>
                    <a:pt x="3152" y="10298"/>
                    <a:pt x="3152" y="10298"/>
                  </a:cubicBezTo>
                  <a:cubicBezTo>
                    <a:pt x="3148" y="10299"/>
                    <a:pt x="3149" y="10300"/>
                    <a:pt x="3145" y="10301"/>
                  </a:cubicBezTo>
                  <a:cubicBezTo>
                    <a:pt x="3143" y="10302"/>
                    <a:pt x="3139" y="10305"/>
                    <a:pt x="3134" y="10307"/>
                  </a:cubicBezTo>
                  <a:cubicBezTo>
                    <a:pt x="3124" y="10313"/>
                    <a:pt x="3110" y="10320"/>
                    <a:pt x="3094" y="10329"/>
                  </a:cubicBezTo>
                  <a:cubicBezTo>
                    <a:pt x="3062" y="10348"/>
                    <a:pt x="3020" y="10372"/>
                    <a:pt x="2978" y="10396"/>
                  </a:cubicBezTo>
                  <a:cubicBezTo>
                    <a:pt x="2906" y="10438"/>
                    <a:pt x="2835" y="10479"/>
                    <a:pt x="2815" y="10491"/>
                  </a:cubicBezTo>
                  <a:cubicBezTo>
                    <a:pt x="2596" y="10200"/>
                    <a:pt x="2596" y="10200"/>
                    <a:pt x="2596" y="10200"/>
                  </a:cubicBezTo>
                  <a:cubicBezTo>
                    <a:pt x="2696" y="10187"/>
                    <a:pt x="2810" y="10159"/>
                    <a:pt x="2920" y="10097"/>
                  </a:cubicBezTo>
                  <a:cubicBezTo>
                    <a:pt x="2999" y="10054"/>
                    <a:pt x="3056" y="10025"/>
                    <a:pt x="3099" y="10003"/>
                  </a:cubicBezTo>
                  <a:lnTo>
                    <a:pt x="3169" y="10292"/>
                  </a:lnTo>
                  <a:close/>
                  <a:moveTo>
                    <a:pt x="2802" y="10496"/>
                  </a:moveTo>
                  <a:cubicBezTo>
                    <a:pt x="2747" y="10510"/>
                    <a:pt x="2747" y="10510"/>
                    <a:pt x="2747" y="10510"/>
                  </a:cubicBezTo>
                  <a:cubicBezTo>
                    <a:pt x="2550" y="10236"/>
                    <a:pt x="2550" y="10236"/>
                    <a:pt x="2550" y="10236"/>
                  </a:cubicBezTo>
                  <a:cubicBezTo>
                    <a:pt x="2468" y="10240"/>
                    <a:pt x="2468" y="10240"/>
                    <a:pt x="2468" y="10240"/>
                  </a:cubicBezTo>
                  <a:cubicBezTo>
                    <a:pt x="2653" y="10516"/>
                    <a:pt x="2653" y="10516"/>
                    <a:pt x="2653" y="10516"/>
                  </a:cubicBezTo>
                  <a:cubicBezTo>
                    <a:pt x="2734" y="10512"/>
                    <a:pt x="2734" y="10512"/>
                    <a:pt x="2734" y="10512"/>
                  </a:cubicBezTo>
                  <a:cubicBezTo>
                    <a:pt x="2744" y="10511"/>
                    <a:pt x="2744" y="10511"/>
                    <a:pt x="2744" y="10511"/>
                  </a:cubicBezTo>
                  <a:cubicBezTo>
                    <a:pt x="2556" y="10560"/>
                    <a:pt x="2556" y="10560"/>
                    <a:pt x="2556" y="10560"/>
                  </a:cubicBezTo>
                  <a:cubicBezTo>
                    <a:pt x="2535" y="10560"/>
                    <a:pt x="2535" y="10560"/>
                    <a:pt x="2535" y="10560"/>
                  </a:cubicBezTo>
                  <a:cubicBezTo>
                    <a:pt x="2541" y="10564"/>
                    <a:pt x="2541" y="10564"/>
                    <a:pt x="2541" y="10564"/>
                  </a:cubicBezTo>
                  <a:cubicBezTo>
                    <a:pt x="2494" y="10576"/>
                    <a:pt x="2494" y="10576"/>
                    <a:pt x="2494" y="10576"/>
                  </a:cubicBezTo>
                  <a:cubicBezTo>
                    <a:pt x="2270" y="10536"/>
                    <a:pt x="2270" y="10536"/>
                    <a:pt x="2270" y="10536"/>
                  </a:cubicBezTo>
                  <a:cubicBezTo>
                    <a:pt x="2337" y="10200"/>
                    <a:pt x="2337" y="10200"/>
                    <a:pt x="2337" y="10200"/>
                  </a:cubicBezTo>
                  <a:cubicBezTo>
                    <a:pt x="2362" y="10203"/>
                    <a:pt x="2404" y="10209"/>
                    <a:pt x="2462" y="10209"/>
                  </a:cubicBezTo>
                  <a:cubicBezTo>
                    <a:pt x="2497" y="10209"/>
                    <a:pt x="2537" y="10207"/>
                    <a:pt x="2581" y="10202"/>
                  </a:cubicBezTo>
                  <a:lnTo>
                    <a:pt x="2802" y="10496"/>
                  </a:lnTo>
                  <a:close/>
                  <a:moveTo>
                    <a:pt x="2720" y="10498"/>
                  </a:moveTo>
                  <a:cubicBezTo>
                    <a:pt x="2661" y="10500"/>
                    <a:pt x="2661" y="10500"/>
                    <a:pt x="2661" y="10500"/>
                  </a:cubicBezTo>
                  <a:cubicBezTo>
                    <a:pt x="2495" y="10253"/>
                    <a:pt x="2495" y="10253"/>
                    <a:pt x="2495" y="10253"/>
                  </a:cubicBezTo>
                  <a:cubicBezTo>
                    <a:pt x="2543" y="10251"/>
                    <a:pt x="2543" y="10251"/>
                    <a:pt x="2543" y="10251"/>
                  </a:cubicBezTo>
                  <a:lnTo>
                    <a:pt x="2720" y="10498"/>
                  </a:lnTo>
                  <a:close/>
                  <a:moveTo>
                    <a:pt x="2272" y="10295"/>
                  </a:moveTo>
                  <a:cubicBezTo>
                    <a:pt x="1936" y="10410"/>
                    <a:pt x="1936" y="10410"/>
                    <a:pt x="1936" y="10410"/>
                  </a:cubicBezTo>
                  <a:cubicBezTo>
                    <a:pt x="1766" y="10564"/>
                    <a:pt x="1766" y="10564"/>
                    <a:pt x="1766" y="10564"/>
                  </a:cubicBezTo>
                  <a:cubicBezTo>
                    <a:pt x="1599" y="10457"/>
                    <a:pt x="1599" y="10457"/>
                    <a:pt x="1599" y="10457"/>
                  </a:cubicBezTo>
                  <a:cubicBezTo>
                    <a:pt x="1605" y="10386"/>
                    <a:pt x="1605" y="10386"/>
                    <a:pt x="1605" y="10386"/>
                  </a:cubicBezTo>
                  <a:cubicBezTo>
                    <a:pt x="1623" y="10388"/>
                    <a:pt x="1623" y="10388"/>
                    <a:pt x="1623" y="10388"/>
                  </a:cubicBezTo>
                  <a:cubicBezTo>
                    <a:pt x="1623" y="10384"/>
                    <a:pt x="1628" y="10336"/>
                    <a:pt x="1633" y="10286"/>
                  </a:cubicBezTo>
                  <a:cubicBezTo>
                    <a:pt x="1636" y="10248"/>
                    <a:pt x="1639" y="10210"/>
                    <a:pt x="1641" y="10190"/>
                  </a:cubicBezTo>
                  <a:cubicBezTo>
                    <a:pt x="1994" y="10041"/>
                    <a:pt x="1994" y="10041"/>
                    <a:pt x="1994" y="10041"/>
                  </a:cubicBezTo>
                  <a:cubicBezTo>
                    <a:pt x="2017" y="10065"/>
                    <a:pt x="2073" y="10120"/>
                    <a:pt x="2139" y="10147"/>
                  </a:cubicBezTo>
                  <a:cubicBezTo>
                    <a:pt x="2186" y="10167"/>
                    <a:pt x="2251" y="10182"/>
                    <a:pt x="2293" y="10191"/>
                  </a:cubicBezTo>
                  <a:lnTo>
                    <a:pt x="2272" y="10295"/>
                  </a:lnTo>
                  <a:close/>
                  <a:moveTo>
                    <a:pt x="1767" y="10585"/>
                  </a:moveTo>
                  <a:cubicBezTo>
                    <a:pt x="1945" y="10425"/>
                    <a:pt x="1945" y="10425"/>
                    <a:pt x="1945" y="10425"/>
                  </a:cubicBezTo>
                  <a:cubicBezTo>
                    <a:pt x="2269" y="10313"/>
                    <a:pt x="2269" y="10313"/>
                    <a:pt x="2269" y="10313"/>
                  </a:cubicBezTo>
                  <a:cubicBezTo>
                    <a:pt x="2220" y="10553"/>
                    <a:pt x="2220" y="10553"/>
                    <a:pt x="2220" y="10553"/>
                  </a:cubicBezTo>
                  <a:cubicBezTo>
                    <a:pt x="2215" y="10540"/>
                    <a:pt x="2210" y="10525"/>
                    <a:pt x="2208" y="10507"/>
                  </a:cubicBezTo>
                  <a:cubicBezTo>
                    <a:pt x="2207" y="10501"/>
                    <a:pt x="2207" y="10501"/>
                    <a:pt x="2207" y="10501"/>
                  </a:cubicBezTo>
                  <a:cubicBezTo>
                    <a:pt x="2202" y="10498"/>
                    <a:pt x="2202" y="10498"/>
                    <a:pt x="2202" y="10498"/>
                  </a:cubicBezTo>
                  <a:cubicBezTo>
                    <a:pt x="2171" y="10478"/>
                    <a:pt x="2140" y="10470"/>
                    <a:pt x="2111" y="10470"/>
                  </a:cubicBezTo>
                  <a:cubicBezTo>
                    <a:pt x="2022" y="10471"/>
                    <a:pt x="1952" y="10540"/>
                    <a:pt x="1919" y="10573"/>
                  </a:cubicBezTo>
                  <a:cubicBezTo>
                    <a:pt x="1878" y="10615"/>
                    <a:pt x="1796" y="10678"/>
                    <a:pt x="1751" y="10699"/>
                  </a:cubicBezTo>
                  <a:cubicBezTo>
                    <a:pt x="1730" y="10708"/>
                    <a:pt x="1673" y="10716"/>
                    <a:pt x="1616" y="10725"/>
                  </a:cubicBezTo>
                  <a:cubicBezTo>
                    <a:pt x="1558" y="10734"/>
                    <a:pt x="1500" y="10744"/>
                    <a:pt x="1467" y="10762"/>
                  </a:cubicBezTo>
                  <a:cubicBezTo>
                    <a:pt x="1452" y="10771"/>
                    <a:pt x="1422" y="10785"/>
                    <a:pt x="1386" y="10802"/>
                  </a:cubicBezTo>
                  <a:cubicBezTo>
                    <a:pt x="1357" y="10769"/>
                    <a:pt x="1328" y="10737"/>
                    <a:pt x="1310" y="10715"/>
                  </a:cubicBezTo>
                  <a:cubicBezTo>
                    <a:pt x="1289" y="10690"/>
                    <a:pt x="1273" y="10670"/>
                    <a:pt x="1260" y="10651"/>
                  </a:cubicBezTo>
                  <a:cubicBezTo>
                    <a:pt x="1591" y="10470"/>
                    <a:pt x="1591" y="10470"/>
                    <a:pt x="1591" y="10470"/>
                  </a:cubicBezTo>
                  <a:lnTo>
                    <a:pt x="1767" y="10585"/>
                  </a:lnTo>
                  <a:close/>
                  <a:moveTo>
                    <a:pt x="1429" y="10951"/>
                  </a:moveTo>
                  <a:cubicBezTo>
                    <a:pt x="1419" y="10956"/>
                    <a:pt x="1409" y="10960"/>
                    <a:pt x="1400" y="10965"/>
                  </a:cubicBezTo>
                  <a:cubicBezTo>
                    <a:pt x="1310" y="10863"/>
                    <a:pt x="1310" y="10863"/>
                    <a:pt x="1310" y="10863"/>
                  </a:cubicBezTo>
                  <a:cubicBezTo>
                    <a:pt x="1319" y="10859"/>
                    <a:pt x="1328" y="10855"/>
                    <a:pt x="1338" y="10851"/>
                  </a:cubicBezTo>
                  <a:cubicBezTo>
                    <a:pt x="1372" y="10888"/>
                    <a:pt x="1406" y="10926"/>
                    <a:pt x="1429" y="10951"/>
                  </a:cubicBezTo>
                  <a:close/>
                  <a:moveTo>
                    <a:pt x="1378" y="10976"/>
                  </a:moveTo>
                  <a:cubicBezTo>
                    <a:pt x="1364" y="10983"/>
                    <a:pt x="1353" y="10988"/>
                    <a:pt x="1346" y="10992"/>
                  </a:cubicBezTo>
                  <a:cubicBezTo>
                    <a:pt x="1326" y="10970"/>
                    <a:pt x="1295" y="10934"/>
                    <a:pt x="1256" y="10889"/>
                  </a:cubicBezTo>
                  <a:cubicBezTo>
                    <a:pt x="1266" y="10884"/>
                    <a:pt x="1276" y="10879"/>
                    <a:pt x="1287" y="10874"/>
                  </a:cubicBezTo>
                  <a:lnTo>
                    <a:pt x="1378" y="10976"/>
                  </a:lnTo>
                  <a:close/>
                  <a:moveTo>
                    <a:pt x="1326" y="11075"/>
                  </a:moveTo>
                  <a:cubicBezTo>
                    <a:pt x="1657" y="11455"/>
                    <a:pt x="1657" y="11455"/>
                    <a:pt x="1657" y="11455"/>
                  </a:cubicBezTo>
                  <a:cubicBezTo>
                    <a:pt x="1594" y="11494"/>
                    <a:pt x="1525" y="11538"/>
                    <a:pt x="1510" y="11546"/>
                  </a:cubicBezTo>
                  <a:cubicBezTo>
                    <a:pt x="1505" y="11549"/>
                    <a:pt x="1486" y="11553"/>
                    <a:pt x="1464" y="11553"/>
                  </a:cubicBezTo>
                  <a:cubicBezTo>
                    <a:pt x="1414" y="11553"/>
                    <a:pt x="1342" y="11538"/>
                    <a:pt x="1317" y="11512"/>
                  </a:cubicBezTo>
                  <a:cubicBezTo>
                    <a:pt x="1307" y="11502"/>
                    <a:pt x="1304" y="11494"/>
                    <a:pt x="1304" y="11486"/>
                  </a:cubicBezTo>
                  <a:cubicBezTo>
                    <a:pt x="1303" y="11462"/>
                    <a:pt x="1335" y="11430"/>
                    <a:pt x="1351" y="11399"/>
                  </a:cubicBezTo>
                  <a:cubicBezTo>
                    <a:pt x="1360" y="11380"/>
                    <a:pt x="1369" y="11360"/>
                    <a:pt x="1369" y="11337"/>
                  </a:cubicBezTo>
                  <a:cubicBezTo>
                    <a:pt x="1369" y="11312"/>
                    <a:pt x="1358" y="11286"/>
                    <a:pt x="1333" y="11259"/>
                  </a:cubicBezTo>
                  <a:cubicBezTo>
                    <a:pt x="1302" y="11228"/>
                    <a:pt x="1298" y="11194"/>
                    <a:pt x="1298" y="11177"/>
                  </a:cubicBezTo>
                  <a:cubicBezTo>
                    <a:pt x="1298" y="11170"/>
                    <a:pt x="1299" y="11167"/>
                    <a:pt x="1299" y="11167"/>
                  </a:cubicBezTo>
                  <a:cubicBezTo>
                    <a:pt x="1299" y="11164"/>
                    <a:pt x="1299" y="11164"/>
                    <a:pt x="1299" y="11164"/>
                  </a:cubicBezTo>
                  <a:cubicBezTo>
                    <a:pt x="1298" y="11161"/>
                    <a:pt x="1298" y="11161"/>
                    <a:pt x="1298" y="11161"/>
                  </a:cubicBezTo>
                  <a:cubicBezTo>
                    <a:pt x="1298" y="11161"/>
                    <a:pt x="1291" y="11138"/>
                    <a:pt x="1277" y="11111"/>
                  </a:cubicBezTo>
                  <a:cubicBezTo>
                    <a:pt x="1285" y="11105"/>
                    <a:pt x="1293" y="11099"/>
                    <a:pt x="1300" y="11094"/>
                  </a:cubicBezTo>
                  <a:cubicBezTo>
                    <a:pt x="1312" y="11085"/>
                    <a:pt x="1321" y="11078"/>
                    <a:pt x="1326" y="11075"/>
                  </a:cubicBezTo>
                  <a:close/>
                  <a:moveTo>
                    <a:pt x="1189" y="12600"/>
                  </a:moveTo>
                  <a:cubicBezTo>
                    <a:pt x="771" y="12698"/>
                    <a:pt x="771" y="12698"/>
                    <a:pt x="771" y="12698"/>
                  </a:cubicBezTo>
                  <a:cubicBezTo>
                    <a:pt x="752" y="12643"/>
                    <a:pt x="752" y="12643"/>
                    <a:pt x="752" y="12643"/>
                  </a:cubicBezTo>
                  <a:cubicBezTo>
                    <a:pt x="711" y="12657"/>
                    <a:pt x="711" y="12657"/>
                    <a:pt x="711" y="12657"/>
                  </a:cubicBezTo>
                  <a:cubicBezTo>
                    <a:pt x="696" y="12612"/>
                    <a:pt x="696" y="12612"/>
                    <a:pt x="696" y="12612"/>
                  </a:cubicBezTo>
                  <a:cubicBezTo>
                    <a:pt x="620" y="12638"/>
                    <a:pt x="620" y="12638"/>
                    <a:pt x="620" y="12638"/>
                  </a:cubicBezTo>
                  <a:cubicBezTo>
                    <a:pt x="614" y="12640"/>
                    <a:pt x="614" y="12640"/>
                    <a:pt x="614" y="12640"/>
                  </a:cubicBezTo>
                  <a:cubicBezTo>
                    <a:pt x="644" y="12727"/>
                    <a:pt x="644" y="12727"/>
                    <a:pt x="644" y="12727"/>
                  </a:cubicBezTo>
                  <a:cubicBezTo>
                    <a:pt x="611" y="12735"/>
                    <a:pt x="611" y="12735"/>
                    <a:pt x="611" y="12735"/>
                  </a:cubicBezTo>
                  <a:cubicBezTo>
                    <a:pt x="597" y="12709"/>
                    <a:pt x="578" y="12678"/>
                    <a:pt x="557" y="12645"/>
                  </a:cubicBezTo>
                  <a:cubicBezTo>
                    <a:pt x="575" y="12640"/>
                    <a:pt x="598" y="12632"/>
                    <a:pt x="626" y="12623"/>
                  </a:cubicBezTo>
                  <a:cubicBezTo>
                    <a:pt x="683" y="12606"/>
                    <a:pt x="756" y="12582"/>
                    <a:pt x="829" y="12558"/>
                  </a:cubicBezTo>
                  <a:cubicBezTo>
                    <a:pt x="942" y="12520"/>
                    <a:pt x="1053" y="12483"/>
                    <a:pt x="1097" y="12469"/>
                  </a:cubicBezTo>
                  <a:lnTo>
                    <a:pt x="1189" y="12600"/>
                  </a:lnTo>
                  <a:close/>
                  <a:moveTo>
                    <a:pt x="748" y="12803"/>
                  </a:moveTo>
                  <a:cubicBezTo>
                    <a:pt x="691" y="12823"/>
                    <a:pt x="691" y="12823"/>
                    <a:pt x="691" y="12823"/>
                  </a:cubicBezTo>
                  <a:cubicBezTo>
                    <a:pt x="662" y="12738"/>
                    <a:pt x="662" y="12738"/>
                    <a:pt x="662" y="12738"/>
                  </a:cubicBezTo>
                  <a:cubicBezTo>
                    <a:pt x="763" y="12714"/>
                    <a:pt x="763" y="12714"/>
                    <a:pt x="763" y="12714"/>
                  </a:cubicBezTo>
                  <a:cubicBezTo>
                    <a:pt x="773" y="12745"/>
                    <a:pt x="773" y="12745"/>
                    <a:pt x="773" y="12745"/>
                  </a:cubicBezTo>
                  <a:cubicBezTo>
                    <a:pt x="732" y="12759"/>
                    <a:pt x="732" y="12759"/>
                    <a:pt x="732" y="12759"/>
                  </a:cubicBezTo>
                  <a:lnTo>
                    <a:pt x="748" y="12803"/>
                  </a:lnTo>
                  <a:close/>
                  <a:moveTo>
                    <a:pt x="657" y="12724"/>
                  </a:moveTo>
                  <a:cubicBezTo>
                    <a:pt x="631" y="12649"/>
                    <a:pt x="631" y="12649"/>
                    <a:pt x="631" y="12649"/>
                  </a:cubicBezTo>
                  <a:cubicBezTo>
                    <a:pt x="687" y="12629"/>
                    <a:pt x="687" y="12629"/>
                    <a:pt x="687" y="12629"/>
                  </a:cubicBezTo>
                  <a:cubicBezTo>
                    <a:pt x="703" y="12673"/>
                    <a:pt x="703" y="12673"/>
                    <a:pt x="703" y="12673"/>
                  </a:cubicBezTo>
                  <a:cubicBezTo>
                    <a:pt x="743" y="12659"/>
                    <a:pt x="743" y="12659"/>
                    <a:pt x="743" y="12659"/>
                  </a:cubicBezTo>
                  <a:cubicBezTo>
                    <a:pt x="758" y="12701"/>
                    <a:pt x="758" y="12701"/>
                    <a:pt x="758" y="12701"/>
                  </a:cubicBezTo>
                  <a:lnTo>
                    <a:pt x="657" y="12724"/>
                  </a:lnTo>
                  <a:close/>
                  <a:moveTo>
                    <a:pt x="649" y="12741"/>
                  </a:moveTo>
                  <a:cubicBezTo>
                    <a:pt x="683" y="12840"/>
                    <a:pt x="683" y="12840"/>
                    <a:pt x="683" y="12840"/>
                  </a:cubicBezTo>
                  <a:cubicBezTo>
                    <a:pt x="765" y="12811"/>
                    <a:pt x="765" y="12811"/>
                    <a:pt x="765" y="12811"/>
                  </a:cubicBezTo>
                  <a:cubicBezTo>
                    <a:pt x="749" y="12767"/>
                    <a:pt x="749" y="12767"/>
                    <a:pt x="749" y="12767"/>
                  </a:cubicBezTo>
                  <a:cubicBezTo>
                    <a:pt x="790" y="12753"/>
                    <a:pt x="790" y="12753"/>
                    <a:pt x="790" y="12753"/>
                  </a:cubicBezTo>
                  <a:cubicBezTo>
                    <a:pt x="775" y="12711"/>
                    <a:pt x="775" y="12711"/>
                    <a:pt x="775" y="12711"/>
                  </a:cubicBezTo>
                  <a:cubicBezTo>
                    <a:pt x="1198" y="12613"/>
                    <a:pt x="1198" y="12613"/>
                    <a:pt x="1198" y="12613"/>
                  </a:cubicBezTo>
                  <a:cubicBezTo>
                    <a:pt x="1270" y="12716"/>
                    <a:pt x="1270" y="12716"/>
                    <a:pt x="1270" y="12716"/>
                  </a:cubicBezTo>
                  <a:cubicBezTo>
                    <a:pt x="1168" y="12738"/>
                    <a:pt x="945" y="12788"/>
                    <a:pt x="945" y="12788"/>
                  </a:cubicBezTo>
                  <a:cubicBezTo>
                    <a:pt x="945" y="12788"/>
                    <a:pt x="945" y="12788"/>
                    <a:pt x="945" y="12788"/>
                  </a:cubicBezTo>
                  <a:cubicBezTo>
                    <a:pt x="926" y="12792"/>
                    <a:pt x="903" y="12797"/>
                    <a:pt x="876" y="12803"/>
                  </a:cubicBezTo>
                  <a:cubicBezTo>
                    <a:pt x="816" y="12816"/>
                    <a:pt x="745" y="12832"/>
                    <a:pt x="695" y="12843"/>
                  </a:cubicBezTo>
                  <a:cubicBezTo>
                    <a:pt x="682" y="12846"/>
                    <a:pt x="672" y="12848"/>
                    <a:pt x="663" y="12851"/>
                  </a:cubicBezTo>
                  <a:cubicBezTo>
                    <a:pt x="653" y="12822"/>
                    <a:pt x="640" y="12790"/>
                    <a:pt x="621" y="12753"/>
                  </a:cubicBezTo>
                  <a:cubicBezTo>
                    <a:pt x="620" y="12752"/>
                    <a:pt x="619" y="12750"/>
                    <a:pt x="618" y="12748"/>
                  </a:cubicBezTo>
                  <a:lnTo>
                    <a:pt x="649" y="12741"/>
                  </a:lnTo>
                  <a:close/>
                  <a:moveTo>
                    <a:pt x="1320" y="12789"/>
                  </a:moveTo>
                  <a:cubicBezTo>
                    <a:pt x="1516" y="12888"/>
                    <a:pt x="1516" y="12888"/>
                    <a:pt x="1516" y="12888"/>
                  </a:cubicBezTo>
                  <a:cubicBezTo>
                    <a:pt x="1566" y="13289"/>
                    <a:pt x="1566" y="13289"/>
                    <a:pt x="1566" y="13289"/>
                  </a:cubicBezTo>
                  <a:cubicBezTo>
                    <a:pt x="1433" y="13492"/>
                    <a:pt x="1433" y="13492"/>
                    <a:pt x="1433" y="13492"/>
                  </a:cubicBezTo>
                  <a:cubicBezTo>
                    <a:pt x="1168" y="13272"/>
                    <a:pt x="1168" y="13272"/>
                    <a:pt x="1168" y="13272"/>
                  </a:cubicBezTo>
                  <a:cubicBezTo>
                    <a:pt x="1164" y="13059"/>
                    <a:pt x="1164" y="13059"/>
                    <a:pt x="1164" y="13059"/>
                  </a:cubicBezTo>
                  <a:cubicBezTo>
                    <a:pt x="1164" y="13055"/>
                    <a:pt x="1164" y="13055"/>
                    <a:pt x="1164" y="13055"/>
                  </a:cubicBezTo>
                  <a:cubicBezTo>
                    <a:pt x="1162" y="13052"/>
                    <a:pt x="1162" y="13052"/>
                    <a:pt x="1162" y="13052"/>
                  </a:cubicBezTo>
                  <a:cubicBezTo>
                    <a:pt x="1040" y="12854"/>
                    <a:pt x="1040" y="12854"/>
                    <a:pt x="1040" y="12854"/>
                  </a:cubicBezTo>
                  <a:lnTo>
                    <a:pt x="1320" y="12789"/>
                  </a:lnTo>
                  <a:close/>
                  <a:moveTo>
                    <a:pt x="677" y="13188"/>
                  </a:moveTo>
                  <a:cubicBezTo>
                    <a:pt x="681" y="13110"/>
                    <a:pt x="683" y="13031"/>
                    <a:pt x="683" y="12986"/>
                  </a:cubicBezTo>
                  <a:cubicBezTo>
                    <a:pt x="683" y="12973"/>
                    <a:pt x="683" y="12963"/>
                    <a:pt x="682" y="12955"/>
                  </a:cubicBezTo>
                  <a:cubicBezTo>
                    <a:pt x="682" y="12942"/>
                    <a:pt x="681" y="12929"/>
                    <a:pt x="678" y="12914"/>
                  </a:cubicBezTo>
                  <a:cubicBezTo>
                    <a:pt x="679" y="12914"/>
                    <a:pt x="680" y="12914"/>
                    <a:pt x="680" y="12914"/>
                  </a:cubicBezTo>
                  <a:cubicBezTo>
                    <a:pt x="699" y="12909"/>
                    <a:pt x="726" y="12903"/>
                    <a:pt x="756" y="12897"/>
                  </a:cubicBezTo>
                  <a:cubicBezTo>
                    <a:pt x="815" y="12883"/>
                    <a:pt x="878" y="12872"/>
                    <a:pt x="928" y="12861"/>
                  </a:cubicBezTo>
                  <a:cubicBezTo>
                    <a:pt x="928" y="12861"/>
                    <a:pt x="960" y="12855"/>
                    <a:pt x="972" y="12852"/>
                  </a:cubicBezTo>
                  <a:cubicBezTo>
                    <a:pt x="1111" y="13078"/>
                    <a:pt x="1111" y="13078"/>
                    <a:pt x="1111" y="13078"/>
                  </a:cubicBezTo>
                  <a:cubicBezTo>
                    <a:pt x="1112" y="13276"/>
                    <a:pt x="1112" y="13276"/>
                    <a:pt x="1112" y="13276"/>
                  </a:cubicBezTo>
                  <a:cubicBezTo>
                    <a:pt x="1024" y="13195"/>
                    <a:pt x="1024" y="13195"/>
                    <a:pt x="1024" y="13195"/>
                  </a:cubicBezTo>
                  <a:cubicBezTo>
                    <a:pt x="677" y="13199"/>
                    <a:pt x="677" y="13199"/>
                    <a:pt x="677" y="13199"/>
                  </a:cubicBezTo>
                  <a:cubicBezTo>
                    <a:pt x="677" y="13195"/>
                    <a:pt x="677" y="13192"/>
                    <a:pt x="677" y="13188"/>
                  </a:cubicBezTo>
                  <a:close/>
                  <a:moveTo>
                    <a:pt x="1544" y="13552"/>
                  </a:moveTo>
                  <a:cubicBezTo>
                    <a:pt x="1545" y="13551"/>
                    <a:pt x="1545" y="13551"/>
                    <a:pt x="1545" y="13551"/>
                  </a:cubicBezTo>
                  <a:cubicBezTo>
                    <a:pt x="1545" y="13551"/>
                    <a:pt x="1573" y="13507"/>
                    <a:pt x="1603" y="13460"/>
                  </a:cubicBezTo>
                  <a:cubicBezTo>
                    <a:pt x="1623" y="13428"/>
                    <a:pt x="1645" y="13395"/>
                    <a:pt x="1658" y="13375"/>
                  </a:cubicBezTo>
                  <a:cubicBezTo>
                    <a:pt x="1882" y="13457"/>
                    <a:pt x="1882" y="13457"/>
                    <a:pt x="1882" y="13457"/>
                  </a:cubicBezTo>
                  <a:cubicBezTo>
                    <a:pt x="1595" y="13905"/>
                    <a:pt x="1595" y="13905"/>
                    <a:pt x="1595" y="13905"/>
                  </a:cubicBezTo>
                  <a:cubicBezTo>
                    <a:pt x="1532" y="13867"/>
                    <a:pt x="1532" y="13867"/>
                    <a:pt x="1532" y="13867"/>
                  </a:cubicBezTo>
                  <a:cubicBezTo>
                    <a:pt x="1358" y="13808"/>
                    <a:pt x="1358" y="13808"/>
                    <a:pt x="1358" y="13808"/>
                  </a:cubicBezTo>
                  <a:lnTo>
                    <a:pt x="1544" y="13552"/>
                  </a:lnTo>
                  <a:close/>
                  <a:moveTo>
                    <a:pt x="2900" y="15193"/>
                  </a:moveTo>
                  <a:cubicBezTo>
                    <a:pt x="2951" y="15148"/>
                    <a:pt x="3003" y="15107"/>
                    <a:pt x="3049" y="15071"/>
                  </a:cubicBezTo>
                  <a:cubicBezTo>
                    <a:pt x="3055" y="15075"/>
                    <a:pt x="3061" y="15079"/>
                    <a:pt x="3068" y="15084"/>
                  </a:cubicBezTo>
                  <a:cubicBezTo>
                    <a:pt x="3093" y="15101"/>
                    <a:pt x="3126" y="15124"/>
                    <a:pt x="3160" y="15146"/>
                  </a:cubicBezTo>
                  <a:cubicBezTo>
                    <a:pt x="3222" y="15188"/>
                    <a:pt x="3284" y="15229"/>
                    <a:pt x="3292" y="15234"/>
                  </a:cubicBezTo>
                  <a:cubicBezTo>
                    <a:pt x="3370" y="15325"/>
                    <a:pt x="3370" y="15325"/>
                    <a:pt x="3370" y="15325"/>
                  </a:cubicBezTo>
                  <a:cubicBezTo>
                    <a:pt x="3055" y="15501"/>
                    <a:pt x="3055" y="15501"/>
                    <a:pt x="3055" y="15501"/>
                  </a:cubicBezTo>
                  <a:cubicBezTo>
                    <a:pt x="3055" y="15500"/>
                    <a:pt x="3054" y="15500"/>
                    <a:pt x="3053" y="15499"/>
                  </a:cubicBezTo>
                  <a:cubicBezTo>
                    <a:pt x="3047" y="15490"/>
                    <a:pt x="3038" y="15478"/>
                    <a:pt x="3028" y="15464"/>
                  </a:cubicBezTo>
                  <a:cubicBezTo>
                    <a:pt x="3006" y="15436"/>
                    <a:pt x="2978" y="15400"/>
                    <a:pt x="2950" y="15363"/>
                  </a:cubicBezTo>
                  <a:cubicBezTo>
                    <a:pt x="2912" y="15314"/>
                    <a:pt x="2873" y="15265"/>
                    <a:pt x="2851" y="15236"/>
                  </a:cubicBezTo>
                  <a:cubicBezTo>
                    <a:pt x="2867" y="15222"/>
                    <a:pt x="2883" y="15207"/>
                    <a:pt x="2900" y="15193"/>
                  </a:cubicBezTo>
                  <a:close/>
                  <a:moveTo>
                    <a:pt x="3321" y="15948"/>
                  </a:moveTo>
                  <a:cubicBezTo>
                    <a:pt x="3322" y="15946"/>
                    <a:pt x="3323" y="15944"/>
                    <a:pt x="3324" y="15942"/>
                  </a:cubicBezTo>
                  <a:cubicBezTo>
                    <a:pt x="3326" y="15937"/>
                    <a:pt x="3328" y="15931"/>
                    <a:pt x="3330" y="15923"/>
                  </a:cubicBezTo>
                  <a:cubicBezTo>
                    <a:pt x="3335" y="15908"/>
                    <a:pt x="3341" y="15889"/>
                    <a:pt x="3346" y="15869"/>
                  </a:cubicBezTo>
                  <a:cubicBezTo>
                    <a:pt x="3357" y="15829"/>
                    <a:pt x="3367" y="15790"/>
                    <a:pt x="3367" y="15790"/>
                  </a:cubicBezTo>
                  <a:cubicBezTo>
                    <a:pt x="3368" y="15787"/>
                    <a:pt x="3368" y="15787"/>
                    <a:pt x="3368" y="15787"/>
                  </a:cubicBezTo>
                  <a:cubicBezTo>
                    <a:pt x="3367" y="15785"/>
                    <a:pt x="3367" y="15785"/>
                    <a:pt x="3367" y="15785"/>
                  </a:cubicBezTo>
                  <a:cubicBezTo>
                    <a:pt x="3367" y="15785"/>
                    <a:pt x="3326" y="15708"/>
                    <a:pt x="3286" y="15629"/>
                  </a:cubicBezTo>
                  <a:cubicBezTo>
                    <a:pt x="3257" y="15575"/>
                    <a:pt x="3229" y="15520"/>
                    <a:pt x="3213" y="15488"/>
                  </a:cubicBezTo>
                  <a:cubicBezTo>
                    <a:pt x="3467" y="15346"/>
                    <a:pt x="3467" y="15346"/>
                    <a:pt x="3467" y="15346"/>
                  </a:cubicBezTo>
                  <a:cubicBezTo>
                    <a:pt x="3519" y="15433"/>
                    <a:pt x="3519" y="15433"/>
                    <a:pt x="3519" y="15433"/>
                  </a:cubicBezTo>
                  <a:cubicBezTo>
                    <a:pt x="3416" y="15492"/>
                    <a:pt x="3416" y="15492"/>
                    <a:pt x="3416" y="15492"/>
                  </a:cubicBezTo>
                  <a:cubicBezTo>
                    <a:pt x="3465" y="15577"/>
                    <a:pt x="3465" y="15577"/>
                    <a:pt x="3465" y="15577"/>
                  </a:cubicBezTo>
                  <a:cubicBezTo>
                    <a:pt x="3469" y="15583"/>
                    <a:pt x="3469" y="15583"/>
                    <a:pt x="3469" y="15583"/>
                  </a:cubicBezTo>
                  <a:cubicBezTo>
                    <a:pt x="3573" y="15522"/>
                    <a:pt x="3573" y="15522"/>
                    <a:pt x="3573" y="15522"/>
                  </a:cubicBezTo>
                  <a:cubicBezTo>
                    <a:pt x="3702" y="15738"/>
                    <a:pt x="3702" y="15738"/>
                    <a:pt x="3702" y="15738"/>
                  </a:cubicBezTo>
                  <a:cubicBezTo>
                    <a:pt x="3449" y="16003"/>
                    <a:pt x="3449" y="16003"/>
                    <a:pt x="3449" y="16003"/>
                  </a:cubicBezTo>
                  <a:cubicBezTo>
                    <a:pt x="3320" y="15949"/>
                    <a:pt x="3320" y="15949"/>
                    <a:pt x="3320" y="15949"/>
                  </a:cubicBezTo>
                  <a:cubicBezTo>
                    <a:pt x="3321" y="15948"/>
                    <a:pt x="3321" y="15948"/>
                    <a:pt x="3321" y="15948"/>
                  </a:cubicBezTo>
                  <a:close/>
                  <a:moveTo>
                    <a:pt x="3713" y="15746"/>
                  </a:moveTo>
                  <a:cubicBezTo>
                    <a:pt x="3864" y="15779"/>
                    <a:pt x="3864" y="15779"/>
                    <a:pt x="3864" y="15779"/>
                  </a:cubicBezTo>
                  <a:cubicBezTo>
                    <a:pt x="4269" y="15530"/>
                    <a:pt x="4269" y="15530"/>
                    <a:pt x="4269" y="15530"/>
                  </a:cubicBezTo>
                  <a:cubicBezTo>
                    <a:pt x="4270" y="15530"/>
                    <a:pt x="4271" y="15530"/>
                    <a:pt x="4272" y="15530"/>
                  </a:cubicBezTo>
                  <a:cubicBezTo>
                    <a:pt x="4296" y="15575"/>
                    <a:pt x="4314" y="15612"/>
                    <a:pt x="4319" y="15628"/>
                  </a:cubicBezTo>
                  <a:cubicBezTo>
                    <a:pt x="4326" y="15649"/>
                    <a:pt x="4335" y="15685"/>
                    <a:pt x="4345" y="15728"/>
                  </a:cubicBezTo>
                  <a:cubicBezTo>
                    <a:pt x="4305" y="15748"/>
                    <a:pt x="4124" y="15835"/>
                    <a:pt x="4026" y="15883"/>
                  </a:cubicBezTo>
                  <a:cubicBezTo>
                    <a:pt x="3989" y="15901"/>
                    <a:pt x="3966" y="15912"/>
                    <a:pt x="3961" y="15915"/>
                  </a:cubicBezTo>
                  <a:cubicBezTo>
                    <a:pt x="3961" y="15915"/>
                    <a:pt x="3961" y="15916"/>
                    <a:pt x="3961" y="15916"/>
                  </a:cubicBezTo>
                  <a:cubicBezTo>
                    <a:pt x="3961" y="15916"/>
                    <a:pt x="3961" y="15916"/>
                    <a:pt x="3961" y="15916"/>
                  </a:cubicBezTo>
                  <a:cubicBezTo>
                    <a:pt x="3961" y="15917"/>
                    <a:pt x="3960" y="15915"/>
                    <a:pt x="3959" y="15918"/>
                  </a:cubicBezTo>
                  <a:cubicBezTo>
                    <a:pt x="3958" y="15919"/>
                    <a:pt x="3957" y="15920"/>
                    <a:pt x="3956" y="15921"/>
                  </a:cubicBezTo>
                  <a:cubicBezTo>
                    <a:pt x="3953" y="15924"/>
                    <a:pt x="3949" y="15927"/>
                    <a:pt x="3944" y="15932"/>
                  </a:cubicBezTo>
                  <a:cubicBezTo>
                    <a:pt x="3933" y="15942"/>
                    <a:pt x="3918" y="15955"/>
                    <a:pt x="3900" y="15971"/>
                  </a:cubicBezTo>
                  <a:cubicBezTo>
                    <a:pt x="3864" y="16003"/>
                    <a:pt x="3815" y="16046"/>
                    <a:pt x="3767" y="16088"/>
                  </a:cubicBezTo>
                  <a:cubicBezTo>
                    <a:pt x="3685" y="16159"/>
                    <a:pt x="3603" y="16230"/>
                    <a:pt x="3580" y="16250"/>
                  </a:cubicBezTo>
                  <a:cubicBezTo>
                    <a:pt x="3459" y="16013"/>
                    <a:pt x="3459" y="16013"/>
                    <a:pt x="3459" y="16013"/>
                  </a:cubicBezTo>
                  <a:lnTo>
                    <a:pt x="3713" y="15746"/>
                  </a:lnTo>
                  <a:close/>
                  <a:moveTo>
                    <a:pt x="4248" y="16186"/>
                  </a:moveTo>
                  <a:cubicBezTo>
                    <a:pt x="4217" y="16156"/>
                    <a:pt x="4175" y="16116"/>
                    <a:pt x="4134" y="16076"/>
                  </a:cubicBezTo>
                  <a:cubicBezTo>
                    <a:pt x="4065" y="16009"/>
                    <a:pt x="3997" y="15943"/>
                    <a:pt x="3977" y="15923"/>
                  </a:cubicBezTo>
                  <a:cubicBezTo>
                    <a:pt x="3979" y="15922"/>
                    <a:pt x="3981" y="15921"/>
                    <a:pt x="3985" y="15919"/>
                  </a:cubicBezTo>
                  <a:cubicBezTo>
                    <a:pt x="3996" y="15913"/>
                    <a:pt x="4011" y="15906"/>
                    <a:pt x="4029" y="15897"/>
                  </a:cubicBezTo>
                  <a:cubicBezTo>
                    <a:pt x="4066" y="15879"/>
                    <a:pt x="4115" y="15855"/>
                    <a:pt x="4164" y="15832"/>
                  </a:cubicBezTo>
                  <a:cubicBezTo>
                    <a:pt x="4242" y="15794"/>
                    <a:pt x="4320" y="15756"/>
                    <a:pt x="4348" y="15742"/>
                  </a:cubicBezTo>
                  <a:cubicBezTo>
                    <a:pt x="4361" y="15798"/>
                    <a:pt x="4375" y="15864"/>
                    <a:pt x="4387" y="15926"/>
                  </a:cubicBezTo>
                  <a:cubicBezTo>
                    <a:pt x="4404" y="16012"/>
                    <a:pt x="4418" y="16091"/>
                    <a:pt x="4424" y="16126"/>
                  </a:cubicBezTo>
                  <a:cubicBezTo>
                    <a:pt x="4394" y="16148"/>
                    <a:pt x="4343" y="16184"/>
                    <a:pt x="4288" y="16222"/>
                  </a:cubicBezTo>
                  <a:cubicBezTo>
                    <a:pt x="4287" y="16222"/>
                    <a:pt x="4287" y="16222"/>
                    <a:pt x="4287" y="16222"/>
                  </a:cubicBezTo>
                  <a:cubicBezTo>
                    <a:pt x="4278" y="16213"/>
                    <a:pt x="4264" y="16201"/>
                    <a:pt x="4248" y="16186"/>
                  </a:cubicBezTo>
                  <a:close/>
                  <a:moveTo>
                    <a:pt x="4683" y="15301"/>
                  </a:moveTo>
                  <a:cubicBezTo>
                    <a:pt x="4644" y="15323"/>
                    <a:pt x="4605" y="15344"/>
                    <a:pt x="4568" y="15365"/>
                  </a:cubicBezTo>
                  <a:cubicBezTo>
                    <a:pt x="4291" y="14884"/>
                    <a:pt x="4291" y="14884"/>
                    <a:pt x="4291" y="14884"/>
                  </a:cubicBezTo>
                  <a:cubicBezTo>
                    <a:pt x="4718" y="14641"/>
                    <a:pt x="4718" y="14641"/>
                    <a:pt x="4718" y="14641"/>
                  </a:cubicBezTo>
                  <a:cubicBezTo>
                    <a:pt x="4759" y="14702"/>
                    <a:pt x="4999" y="15052"/>
                    <a:pt x="5039" y="15103"/>
                  </a:cubicBezTo>
                  <a:cubicBezTo>
                    <a:pt x="5004" y="15123"/>
                    <a:pt x="4844" y="15211"/>
                    <a:pt x="4683" y="15301"/>
                  </a:cubicBezTo>
                  <a:close/>
                  <a:moveTo>
                    <a:pt x="5038" y="15080"/>
                  </a:moveTo>
                  <a:cubicBezTo>
                    <a:pt x="5029" y="15066"/>
                    <a:pt x="5016" y="15048"/>
                    <a:pt x="5000" y="15025"/>
                  </a:cubicBezTo>
                  <a:cubicBezTo>
                    <a:pt x="4968" y="14980"/>
                    <a:pt x="4927" y="14921"/>
                    <a:pt x="4886" y="14861"/>
                  </a:cubicBezTo>
                  <a:cubicBezTo>
                    <a:pt x="4818" y="14763"/>
                    <a:pt x="4751" y="14665"/>
                    <a:pt x="4730" y="14634"/>
                  </a:cubicBezTo>
                  <a:cubicBezTo>
                    <a:pt x="5161" y="14389"/>
                    <a:pt x="5161" y="14389"/>
                    <a:pt x="5161" y="14389"/>
                  </a:cubicBezTo>
                  <a:cubicBezTo>
                    <a:pt x="5438" y="14819"/>
                    <a:pt x="5438" y="14819"/>
                    <a:pt x="5438" y="14819"/>
                  </a:cubicBezTo>
                  <a:cubicBezTo>
                    <a:pt x="5051" y="15096"/>
                    <a:pt x="5051" y="15096"/>
                    <a:pt x="5051" y="15096"/>
                  </a:cubicBezTo>
                  <a:cubicBezTo>
                    <a:pt x="5050" y="15096"/>
                    <a:pt x="5050" y="15096"/>
                    <a:pt x="5050" y="15095"/>
                  </a:cubicBezTo>
                  <a:cubicBezTo>
                    <a:pt x="5047" y="15092"/>
                    <a:pt x="5043" y="15086"/>
                    <a:pt x="5038" y="15080"/>
                  </a:cubicBezTo>
                  <a:close/>
                  <a:moveTo>
                    <a:pt x="5173" y="14382"/>
                  </a:moveTo>
                  <a:cubicBezTo>
                    <a:pt x="5571" y="14094"/>
                    <a:pt x="5571" y="14094"/>
                    <a:pt x="5571" y="14094"/>
                  </a:cubicBezTo>
                  <a:cubicBezTo>
                    <a:pt x="5528" y="14208"/>
                    <a:pt x="5528" y="14208"/>
                    <a:pt x="5528" y="14208"/>
                  </a:cubicBezTo>
                  <a:cubicBezTo>
                    <a:pt x="5842" y="14484"/>
                    <a:pt x="5842" y="14484"/>
                    <a:pt x="5842" y="14484"/>
                  </a:cubicBezTo>
                  <a:cubicBezTo>
                    <a:pt x="5449" y="14810"/>
                    <a:pt x="5449" y="14810"/>
                    <a:pt x="5449" y="14810"/>
                  </a:cubicBezTo>
                  <a:lnTo>
                    <a:pt x="5173" y="14382"/>
                  </a:lnTo>
                  <a:close/>
                  <a:moveTo>
                    <a:pt x="5853" y="14493"/>
                  </a:moveTo>
                  <a:cubicBezTo>
                    <a:pt x="6041" y="14659"/>
                    <a:pt x="6041" y="14659"/>
                    <a:pt x="6041" y="14659"/>
                  </a:cubicBezTo>
                  <a:cubicBezTo>
                    <a:pt x="6041" y="14659"/>
                    <a:pt x="6041" y="14659"/>
                    <a:pt x="6041" y="14659"/>
                  </a:cubicBezTo>
                  <a:cubicBezTo>
                    <a:pt x="6040" y="14660"/>
                    <a:pt x="6039" y="14661"/>
                    <a:pt x="6037" y="14662"/>
                  </a:cubicBezTo>
                  <a:cubicBezTo>
                    <a:pt x="6021" y="14672"/>
                    <a:pt x="5998" y="14686"/>
                    <a:pt x="5970" y="14703"/>
                  </a:cubicBezTo>
                  <a:cubicBezTo>
                    <a:pt x="5915" y="14737"/>
                    <a:pt x="5841" y="14781"/>
                    <a:pt x="5767" y="14825"/>
                  </a:cubicBezTo>
                  <a:cubicBezTo>
                    <a:pt x="5639" y="14902"/>
                    <a:pt x="5511" y="14978"/>
                    <a:pt x="5479" y="14997"/>
                  </a:cubicBezTo>
                  <a:cubicBezTo>
                    <a:pt x="5455" y="14823"/>
                    <a:pt x="5455" y="14823"/>
                    <a:pt x="5455" y="14823"/>
                  </a:cubicBezTo>
                  <a:lnTo>
                    <a:pt x="5853" y="14493"/>
                  </a:lnTo>
                  <a:close/>
                  <a:moveTo>
                    <a:pt x="5768" y="14841"/>
                  </a:moveTo>
                  <a:cubicBezTo>
                    <a:pt x="5879" y="14774"/>
                    <a:pt x="5991" y="14707"/>
                    <a:pt x="6042" y="14675"/>
                  </a:cubicBezTo>
                  <a:cubicBezTo>
                    <a:pt x="6080" y="15160"/>
                    <a:pt x="6080" y="15160"/>
                    <a:pt x="6080" y="15160"/>
                  </a:cubicBezTo>
                  <a:cubicBezTo>
                    <a:pt x="6019" y="15161"/>
                    <a:pt x="5826" y="15164"/>
                    <a:pt x="5827" y="15164"/>
                  </a:cubicBezTo>
                  <a:cubicBezTo>
                    <a:pt x="5502" y="15152"/>
                    <a:pt x="5502" y="15152"/>
                    <a:pt x="5502" y="15152"/>
                  </a:cubicBezTo>
                  <a:cubicBezTo>
                    <a:pt x="5482" y="15012"/>
                    <a:pt x="5482" y="15012"/>
                    <a:pt x="5482" y="15012"/>
                  </a:cubicBezTo>
                  <a:cubicBezTo>
                    <a:pt x="5500" y="15001"/>
                    <a:pt x="5633" y="14922"/>
                    <a:pt x="5768" y="14841"/>
                  </a:cubicBezTo>
                  <a:close/>
                  <a:moveTo>
                    <a:pt x="6123" y="14861"/>
                  </a:moveTo>
                  <a:cubicBezTo>
                    <a:pt x="6592" y="14887"/>
                    <a:pt x="6592" y="14887"/>
                    <a:pt x="6592" y="14887"/>
                  </a:cubicBezTo>
                  <a:cubicBezTo>
                    <a:pt x="6597" y="15027"/>
                    <a:pt x="6597" y="15027"/>
                    <a:pt x="6597" y="15027"/>
                  </a:cubicBezTo>
                  <a:cubicBezTo>
                    <a:pt x="6568" y="15026"/>
                    <a:pt x="6465" y="15023"/>
                    <a:pt x="6361" y="15020"/>
                  </a:cubicBezTo>
                  <a:cubicBezTo>
                    <a:pt x="6340" y="15019"/>
                    <a:pt x="6319" y="15018"/>
                    <a:pt x="6299" y="15018"/>
                  </a:cubicBezTo>
                  <a:cubicBezTo>
                    <a:pt x="6301" y="14909"/>
                    <a:pt x="6301" y="14909"/>
                    <a:pt x="6301" y="14909"/>
                  </a:cubicBezTo>
                  <a:cubicBezTo>
                    <a:pt x="6215" y="14907"/>
                    <a:pt x="6215" y="14907"/>
                    <a:pt x="6215" y="14907"/>
                  </a:cubicBezTo>
                  <a:cubicBezTo>
                    <a:pt x="6214" y="14954"/>
                    <a:pt x="6214" y="14954"/>
                    <a:pt x="6214" y="14954"/>
                  </a:cubicBezTo>
                  <a:cubicBezTo>
                    <a:pt x="6171" y="14954"/>
                    <a:pt x="6171" y="14954"/>
                    <a:pt x="6171" y="14954"/>
                  </a:cubicBezTo>
                  <a:cubicBezTo>
                    <a:pt x="6170" y="15013"/>
                    <a:pt x="6170" y="15013"/>
                    <a:pt x="6170" y="15013"/>
                  </a:cubicBezTo>
                  <a:cubicBezTo>
                    <a:pt x="6156" y="15013"/>
                    <a:pt x="6144" y="15012"/>
                    <a:pt x="6135" y="15012"/>
                  </a:cubicBezTo>
                  <a:lnTo>
                    <a:pt x="6123" y="14861"/>
                  </a:lnTo>
                  <a:close/>
                  <a:moveTo>
                    <a:pt x="6182" y="15058"/>
                  </a:moveTo>
                  <a:cubicBezTo>
                    <a:pt x="6183" y="15028"/>
                    <a:pt x="6183" y="15028"/>
                    <a:pt x="6183" y="15028"/>
                  </a:cubicBezTo>
                  <a:cubicBezTo>
                    <a:pt x="6183" y="15028"/>
                    <a:pt x="6184" y="15028"/>
                    <a:pt x="6185" y="15028"/>
                  </a:cubicBezTo>
                  <a:cubicBezTo>
                    <a:pt x="6214" y="15029"/>
                    <a:pt x="6249" y="15030"/>
                    <a:pt x="6286" y="15031"/>
                  </a:cubicBezTo>
                  <a:cubicBezTo>
                    <a:pt x="6284" y="15106"/>
                    <a:pt x="6284" y="15106"/>
                    <a:pt x="6284" y="15106"/>
                  </a:cubicBezTo>
                  <a:cubicBezTo>
                    <a:pt x="6224" y="15105"/>
                    <a:pt x="6224" y="15105"/>
                    <a:pt x="6224" y="15105"/>
                  </a:cubicBezTo>
                  <a:cubicBezTo>
                    <a:pt x="6225" y="15058"/>
                    <a:pt x="6225" y="15058"/>
                    <a:pt x="6225" y="15058"/>
                  </a:cubicBezTo>
                  <a:lnTo>
                    <a:pt x="6182" y="15058"/>
                  </a:lnTo>
                  <a:close/>
                  <a:moveTo>
                    <a:pt x="6183" y="15014"/>
                  </a:moveTo>
                  <a:cubicBezTo>
                    <a:pt x="6184" y="14967"/>
                    <a:pt x="6184" y="14967"/>
                    <a:pt x="6184" y="14967"/>
                  </a:cubicBezTo>
                  <a:cubicBezTo>
                    <a:pt x="6227" y="14968"/>
                    <a:pt x="6227" y="14968"/>
                    <a:pt x="6227" y="14968"/>
                  </a:cubicBezTo>
                  <a:cubicBezTo>
                    <a:pt x="6228" y="14921"/>
                    <a:pt x="6228" y="14921"/>
                    <a:pt x="6228" y="14921"/>
                  </a:cubicBezTo>
                  <a:cubicBezTo>
                    <a:pt x="6288" y="14922"/>
                    <a:pt x="6288" y="14922"/>
                    <a:pt x="6288" y="14922"/>
                  </a:cubicBezTo>
                  <a:cubicBezTo>
                    <a:pt x="6286" y="15017"/>
                    <a:pt x="6286" y="15017"/>
                    <a:pt x="6286" y="15017"/>
                  </a:cubicBezTo>
                  <a:cubicBezTo>
                    <a:pt x="6248" y="15016"/>
                    <a:pt x="6212" y="15015"/>
                    <a:pt x="6183" y="15014"/>
                  </a:cubicBezTo>
                  <a:close/>
                  <a:moveTo>
                    <a:pt x="6169" y="15027"/>
                  </a:moveTo>
                  <a:cubicBezTo>
                    <a:pt x="6169" y="15070"/>
                    <a:pt x="6169" y="15070"/>
                    <a:pt x="6169" y="15070"/>
                  </a:cubicBezTo>
                  <a:cubicBezTo>
                    <a:pt x="6212" y="15071"/>
                    <a:pt x="6212" y="15071"/>
                    <a:pt x="6212" y="15071"/>
                  </a:cubicBezTo>
                  <a:cubicBezTo>
                    <a:pt x="6211" y="15118"/>
                    <a:pt x="6211" y="15118"/>
                    <a:pt x="6211" y="15118"/>
                  </a:cubicBezTo>
                  <a:cubicBezTo>
                    <a:pt x="6291" y="15120"/>
                    <a:pt x="6291" y="15120"/>
                    <a:pt x="6291" y="15120"/>
                  </a:cubicBezTo>
                  <a:cubicBezTo>
                    <a:pt x="6297" y="15120"/>
                    <a:pt x="6297" y="15120"/>
                    <a:pt x="6297" y="15120"/>
                  </a:cubicBezTo>
                  <a:cubicBezTo>
                    <a:pt x="6299" y="15032"/>
                    <a:pt x="6299" y="15032"/>
                    <a:pt x="6299" y="15032"/>
                  </a:cubicBezTo>
                  <a:cubicBezTo>
                    <a:pt x="6318" y="15032"/>
                    <a:pt x="6337" y="15033"/>
                    <a:pt x="6356" y="15033"/>
                  </a:cubicBezTo>
                  <a:cubicBezTo>
                    <a:pt x="6463" y="15037"/>
                    <a:pt x="6569" y="15040"/>
                    <a:pt x="6598" y="15041"/>
                  </a:cubicBezTo>
                  <a:cubicBezTo>
                    <a:pt x="6603" y="15189"/>
                    <a:pt x="6603" y="15189"/>
                    <a:pt x="6603" y="15189"/>
                  </a:cubicBezTo>
                  <a:cubicBezTo>
                    <a:pt x="6601" y="15189"/>
                    <a:pt x="6598" y="15189"/>
                    <a:pt x="6593" y="15189"/>
                  </a:cubicBezTo>
                  <a:cubicBezTo>
                    <a:pt x="6584" y="15189"/>
                    <a:pt x="6571" y="15189"/>
                    <a:pt x="6555" y="15189"/>
                  </a:cubicBezTo>
                  <a:cubicBezTo>
                    <a:pt x="6450" y="15189"/>
                    <a:pt x="6227" y="15188"/>
                    <a:pt x="6148" y="15187"/>
                  </a:cubicBezTo>
                  <a:cubicBezTo>
                    <a:pt x="6136" y="15026"/>
                    <a:pt x="6136" y="15026"/>
                    <a:pt x="6136" y="15026"/>
                  </a:cubicBezTo>
                  <a:cubicBezTo>
                    <a:pt x="6145" y="15026"/>
                    <a:pt x="6156" y="15027"/>
                    <a:pt x="6169" y="15027"/>
                  </a:cubicBezTo>
                  <a:close/>
                  <a:moveTo>
                    <a:pt x="6169" y="15201"/>
                  </a:moveTo>
                  <a:cubicBezTo>
                    <a:pt x="6200" y="15201"/>
                    <a:pt x="6243" y="15202"/>
                    <a:pt x="6289" y="15202"/>
                  </a:cubicBezTo>
                  <a:cubicBezTo>
                    <a:pt x="6382" y="15203"/>
                    <a:pt x="6491" y="15203"/>
                    <a:pt x="6555" y="15203"/>
                  </a:cubicBezTo>
                  <a:cubicBezTo>
                    <a:pt x="6579" y="15203"/>
                    <a:pt x="6595" y="15203"/>
                    <a:pt x="6604" y="15203"/>
                  </a:cubicBezTo>
                  <a:cubicBezTo>
                    <a:pt x="6608" y="15317"/>
                    <a:pt x="6608" y="15317"/>
                    <a:pt x="6608" y="15317"/>
                  </a:cubicBezTo>
                  <a:cubicBezTo>
                    <a:pt x="6622" y="15316"/>
                    <a:pt x="6622" y="15316"/>
                    <a:pt x="6622" y="15316"/>
                  </a:cubicBezTo>
                  <a:cubicBezTo>
                    <a:pt x="6597" y="14675"/>
                    <a:pt x="6597" y="14675"/>
                    <a:pt x="6597" y="14675"/>
                  </a:cubicBezTo>
                  <a:cubicBezTo>
                    <a:pt x="6655" y="14675"/>
                    <a:pt x="6715" y="14675"/>
                    <a:pt x="6775" y="14675"/>
                  </a:cubicBezTo>
                  <a:cubicBezTo>
                    <a:pt x="6775" y="14757"/>
                    <a:pt x="6775" y="15049"/>
                    <a:pt x="6780" y="15140"/>
                  </a:cubicBezTo>
                  <a:cubicBezTo>
                    <a:pt x="6781" y="15156"/>
                    <a:pt x="6781" y="15164"/>
                    <a:pt x="6783" y="15170"/>
                  </a:cubicBezTo>
                  <a:cubicBezTo>
                    <a:pt x="6783" y="15170"/>
                    <a:pt x="6783" y="15170"/>
                    <a:pt x="6783" y="15170"/>
                  </a:cubicBezTo>
                  <a:cubicBezTo>
                    <a:pt x="6715" y="15154"/>
                    <a:pt x="6715" y="15154"/>
                    <a:pt x="6715" y="15154"/>
                  </a:cubicBezTo>
                  <a:cubicBezTo>
                    <a:pt x="6719" y="15310"/>
                    <a:pt x="6719" y="15310"/>
                    <a:pt x="6719" y="15310"/>
                  </a:cubicBezTo>
                  <a:cubicBezTo>
                    <a:pt x="6335" y="15336"/>
                    <a:pt x="6335" y="15336"/>
                    <a:pt x="6335" y="15336"/>
                  </a:cubicBezTo>
                  <a:cubicBezTo>
                    <a:pt x="6337" y="15242"/>
                    <a:pt x="6337" y="15242"/>
                    <a:pt x="6337" y="15242"/>
                  </a:cubicBezTo>
                  <a:cubicBezTo>
                    <a:pt x="6251" y="15241"/>
                    <a:pt x="6251" y="15241"/>
                    <a:pt x="6251" y="15241"/>
                  </a:cubicBezTo>
                  <a:cubicBezTo>
                    <a:pt x="6250" y="15288"/>
                    <a:pt x="6250" y="15288"/>
                    <a:pt x="6250" y="15288"/>
                  </a:cubicBezTo>
                  <a:cubicBezTo>
                    <a:pt x="6207" y="15287"/>
                    <a:pt x="6207" y="15287"/>
                    <a:pt x="6207" y="15287"/>
                  </a:cubicBezTo>
                  <a:cubicBezTo>
                    <a:pt x="6206" y="15344"/>
                    <a:pt x="6206" y="15344"/>
                    <a:pt x="6206" y="15344"/>
                  </a:cubicBezTo>
                  <a:cubicBezTo>
                    <a:pt x="6161" y="15347"/>
                    <a:pt x="6161" y="15347"/>
                    <a:pt x="6161" y="15347"/>
                  </a:cubicBezTo>
                  <a:cubicBezTo>
                    <a:pt x="6149" y="15201"/>
                    <a:pt x="6149" y="15201"/>
                    <a:pt x="6149" y="15201"/>
                  </a:cubicBezTo>
                  <a:cubicBezTo>
                    <a:pt x="6155" y="15201"/>
                    <a:pt x="6162" y="15201"/>
                    <a:pt x="6169" y="15201"/>
                  </a:cubicBezTo>
                  <a:close/>
                  <a:moveTo>
                    <a:pt x="6218" y="15391"/>
                  </a:moveTo>
                  <a:cubicBezTo>
                    <a:pt x="6219" y="15357"/>
                    <a:pt x="6219" y="15357"/>
                    <a:pt x="6219" y="15357"/>
                  </a:cubicBezTo>
                  <a:cubicBezTo>
                    <a:pt x="6322" y="15351"/>
                    <a:pt x="6322" y="15351"/>
                    <a:pt x="6322" y="15351"/>
                  </a:cubicBezTo>
                  <a:cubicBezTo>
                    <a:pt x="6320" y="15439"/>
                    <a:pt x="6320" y="15439"/>
                    <a:pt x="6320" y="15439"/>
                  </a:cubicBezTo>
                  <a:cubicBezTo>
                    <a:pt x="6260" y="15438"/>
                    <a:pt x="6260" y="15438"/>
                    <a:pt x="6260" y="15438"/>
                  </a:cubicBezTo>
                  <a:cubicBezTo>
                    <a:pt x="6261" y="15391"/>
                    <a:pt x="6261" y="15391"/>
                    <a:pt x="6261" y="15391"/>
                  </a:cubicBezTo>
                  <a:lnTo>
                    <a:pt x="6218" y="15391"/>
                  </a:lnTo>
                  <a:close/>
                  <a:moveTo>
                    <a:pt x="6219" y="15343"/>
                  </a:moveTo>
                  <a:cubicBezTo>
                    <a:pt x="6220" y="15300"/>
                    <a:pt x="6220" y="15300"/>
                    <a:pt x="6220" y="15300"/>
                  </a:cubicBezTo>
                  <a:cubicBezTo>
                    <a:pt x="6263" y="15301"/>
                    <a:pt x="6263" y="15301"/>
                    <a:pt x="6263" y="15301"/>
                  </a:cubicBezTo>
                  <a:cubicBezTo>
                    <a:pt x="6264" y="15254"/>
                    <a:pt x="6264" y="15254"/>
                    <a:pt x="6264" y="15254"/>
                  </a:cubicBezTo>
                  <a:cubicBezTo>
                    <a:pt x="6324" y="15255"/>
                    <a:pt x="6324" y="15255"/>
                    <a:pt x="6324" y="15255"/>
                  </a:cubicBezTo>
                  <a:cubicBezTo>
                    <a:pt x="6322" y="15337"/>
                    <a:pt x="6322" y="15337"/>
                    <a:pt x="6322" y="15337"/>
                  </a:cubicBezTo>
                  <a:lnTo>
                    <a:pt x="6219" y="15343"/>
                  </a:lnTo>
                  <a:close/>
                  <a:moveTo>
                    <a:pt x="6412" y="15645"/>
                  </a:moveTo>
                  <a:cubicBezTo>
                    <a:pt x="6406" y="15910"/>
                    <a:pt x="6406" y="15910"/>
                    <a:pt x="6406" y="15910"/>
                  </a:cubicBezTo>
                  <a:cubicBezTo>
                    <a:pt x="6205" y="15904"/>
                    <a:pt x="6205" y="15904"/>
                    <a:pt x="6205" y="15904"/>
                  </a:cubicBezTo>
                  <a:cubicBezTo>
                    <a:pt x="6185" y="15658"/>
                    <a:pt x="6185" y="15658"/>
                    <a:pt x="6185" y="15658"/>
                  </a:cubicBezTo>
                  <a:lnTo>
                    <a:pt x="6412" y="15645"/>
                  </a:lnTo>
                  <a:close/>
                  <a:moveTo>
                    <a:pt x="6290" y="16604"/>
                  </a:moveTo>
                  <a:cubicBezTo>
                    <a:pt x="6304" y="16571"/>
                    <a:pt x="6312" y="16532"/>
                    <a:pt x="6313" y="16488"/>
                  </a:cubicBezTo>
                  <a:cubicBezTo>
                    <a:pt x="6315" y="16449"/>
                    <a:pt x="6316" y="16406"/>
                    <a:pt x="6317" y="16362"/>
                  </a:cubicBezTo>
                  <a:cubicBezTo>
                    <a:pt x="6475" y="16373"/>
                    <a:pt x="6475" y="16373"/>
                    <a:pt x="6475" y="16373"/>
                  </a:cubicBezTo>
                  <a:cubicBezTo>
                    <a:pt x="6475" y="16433"/>
                    <a:pt x="6475" y="16433"/>
                    <a:pt x="6475" y="16433"/>
                  </a:cubicBezTo>
                  <a:cubicBezTo>
                    <a:pt x="6481" y="16434"/>
                    <a:pt x="6481" y="16434"/>
                    <a:pt x="6481" y="16434"/>
                  </a:cubicBezTo>
                  <a:cubicBezTo>
                    <a:pt x="6481" y="16434"/>
                    <a:pt x="6754" y="16501"/>
                    <a:pt x="6813" y="16513"/>
                  </a:cubicBezTo>
                  <a:cubicBezTo>
                    <a:pt x="6700" y="16571"/>
                    <a:pt x="6700" y="16571"/>
                    <a:pt x="6700" y="16571"/>
                  </a:cubicBezTo>
                  <a:cubicBezTo>
                    <a:pt x="6718" y="16703"/>
                    <a:pt x="6718" y="16703"/>
                    <a:pt x="6718" y="16703"/>
                  </a:cubicBezTo>
                  <a:lnTo>
                    <a:pt x="6290" y="16604"/>
                  </a:lnTo>
                  <a:close/>
                  <a:moveTo>
                    <a:pt x="6650" y="16461"/>
                  </a:moveTo>
                  <a:cubicBezTo>
                    <a:pt x="6578" y="16444"/>
                    <a:pt x="6509" y="16427"/>
                    <a:pt x="6489" y="16422"/>
                  </a:cubicBezTo>
                  <a:cubicBezTo>
                    <a:pt x="6489" y="16360"/>
                    <a:pt x="6489" y="16360"/>
                    <a:pt x="6489" y="16360"/>
                  </a:cubicBezTo>
                  <a:cubicBezTo>
                    <a:pt x="6317" y="16348"/>
                    <a:pt x="6317" y="16348"/>
                    <a:pt x="6317" y="16348"/>
                  </a:cubicBezTo>
                  <a:cubicBezTo>
                    <a:pt x="6319" y="16278"/>
                    <a:pt x="6320" y="16207"/>
                    <a:pt x="6320" y="16144"/>
                  </a:cubicBezTo>
                  <a:cubicBezTo>
                    <a:pt x="6499" y="16145"/>
                    <a:pt x="6499" y="16145"/>
                    <a:pt x="6499" y="16145"/>
                  </a:cubicBezTo>
                  <a:cubicBezTo>
                    <a:pt x="6493" y="16208"/>
                    <a:pt x="6493" y="16208"/>
                    <a:pt x="6493" y="16208"/>
                  </a:cubicBezTo>
                  <a:cubicBezTo>
                    <a:pt x="6855" y="16282"/>
                    <a:pt x="6855" y="16282"/>
                    <a:pt x="6855" y="16282"/>
                  </a:cubicBezTo>
                  <a:cubicBezTo>
                    <a:pt x="6839" y="16377"/>
                    <a:pt x="6824" y="16465"/>
                    <a:pt x="6818" y="16500"/>
                  </a:cubicBezTo>
                  <a:cubicBezTo>
                    <a:pt x="6797" y="16495"/>
                    <a:pt x="6722" y="16478"/>
                    <a:pt x="6650" y="16461"/>
                  </a:cubicBezTo>
                  <a:close/>
                  <a:moveTo>
                    <a:pt x="6508" y="16197"/>
                  </a:moveTo>
                  <a:cubicBezTo>
                    <a:pt x="6514" y="16132"/>
                    <a:pt x="6514" y="16132"/>
                    <a:pt x="6514" y="16132"/>
                  </a:cubicBezTo>
                  <a:cubicBezTo>
                    <a:pt x="6321" y="16130"/>
                    <a:pt x="6321" y="16130"/>
                    <a:pt x="6321" y="16130"/>
                  </a:cubicBezTo>
                  <a:cubicBezTo>
                    <a:pt x="6321" y="16061"/>
                    <a:pt x="6321" y="16004"/>
                    <a:pt x="6321" y="15974"/>
                  </a:cubicBezTo>
                  <a:cubicBezTo>
                    <a:pt x="6904" y="15991"/>
                    <a:pt x="6904" y="15991"/>
                    <a:pt x="6904" y="15991"/>
                  </a:cubicBezTo>
                  <a:cubicBezTo>
                    <a:pt x="6904" y="15993"/>
                    <a:pt x="6904" y="15994"/>
                    <a:pt x="6903" y="15996"/>
                  </a:cubicBezTo>
                  <a:cubicBezTo>
                    <a:pt x="6901" y="16011"/>
                    <a:pt x="6897" y="16032"/>
                    <a:pt x="6893" y="16058"/>
                  </a:cubicBezTo>
                  <a:cubicBezTo>
                    <a:pt x="6884" y="16109"/>
                    <a:pt x="6872" y="16177"/>
                    <a:pt x="6861" y="16244"/>
                  </a:cubicBezTo>
                  <a:cubicBezTo>
                    <a:pt x="6860" y="16253"/>
                    <a:pt x="6858" y="16261"/>
                    <a:pt x="6857" y="16269"/>
                  </a:cubicBezTo>
                  <a:lnTo>
                    <a:pt x="6508" y="16197"/>
                  </a:lnTo>
                  <a:close/>
                  <a:moveTo>
                    <a:pt x="6977" y="15514"/>
                  </a:moveTo>
                  <a:cubicBezTo>
                    <a:pt x="6977" y="15508"/>
                    <a:pt x="6977" y="15508"/>
                    <a:pt x="6977" y="15508"/>
                  </a:cubicBezTo>
                  <a:cubicBezTo>
                    <a:pt x="6871" y="15489"/>
                    <a:pt x="6871" y="15489"/>
                    <a:pt x="6871" y="15489"/>
                  </a:cubicBezTo>
                  <a:cubicBezTo>
                    <a:pt x="6883" y="15207"/>
                    <a:pt x="6883" y="15207"/>
                    <a:pt x="6883" y="15207"/>
                  </a:cubicBezTo>
                  <a:cubicBezTo>
                    <a:pt x="7025" y="15240"/>
                    <a:pt x="7025" y="15240"/>
                    <a:pt x="7025" y="15240"/>
                  </a:cubicBezTo>
                  <a:cubicBezTo>
                    <a:pt x="7094" y="15226"/>
                    <a:pt x="7094" y="15226"/>
                    <a:pt x="7094" y="15226"/>
                  </a:cubicBezTo>
                  <a:cubicBezTo>
                    <a:pt x="7098" y="15508"/>
                    <a:pt x="7098" y="15508"/>
                    <a:pt x="7098" y="15508"/>
                  </a:cubicBezTo>
                  <a:cubicBezTo>
                    <a:pt x="7162" y="15539"/>
                    <a:pt x="7162" y="15539"/>
                    <a:pt x="7162" y="15539"/>
                  </a:cubicBezTo>
                  <a:cubicBezTo>
                    <a:pt x="7212" y="15935"/>
                    <a:pt x="7212" y="15935"/>
                    <a:pt x="7212" y="15935"/>
                  </a:cubicBezTo>
                  <a:cubicBezTo>
                    <a:pt x="6952" y="15927"/>
                    <a:pt x="6952" y="15927"/>
                    <a:pt x="6952" y="15927"/>
                  </a:cubicBezTo>
                  <a:cubicBezTo>
                    <a:pt x="6952" y="15926"/>
                    <a:pt x="6952" y="15926"/>
                    <a:pt x="6952" y="15926"/>
                  </a:cubicBezTo>
                  <a:cubicBezTo>
                    <a:pt x="6952" y="15863"/>
                    <a:pt x="6977" y="15514"/>
                    <a:pt x="6977" y="15514"/>
                  </a:cubicBezTo>
                  <a:close/>
                  <a:moveTo>
                    <a:pt x="7032" y="15224"/>
                  </a:moveTo>
                  <a:cubicBezTo>
                    <a:pt x="7014" y="14831"/>
                    <a:pt x="7014" y="14831"/>
                    <a:pt x="7014" y="14831"/>
                  </a:cubicBezTo>
                  <a:cubicBezTo>
                    <a:pt x="7115" y="14829"/>
                    <a:pt x="7115" y="14829"/>
                    <a:pt x="7115" y="14829"/>
                  </a:cubicBezTo>
                  <a:cubicBezTo>
                    <a:pt x="7113" y="14742"/>
                    <a:pt x="7113" y="14742"/>
                    <a:pt x="7113" y="14742"/>
                  </a:cubicBezTo>
                  <a:cubicBezTo>
                    <a:pt x="7066" y="14744"/>
                    <a:pt x="7066" y="14744"/>
                    <a:pt x="7066" y="14744"/>
                  </a:cubicBezTo>
                  <a:cubicBezTo>
                    <a:pt x="7065" y="14701"/>
                    <a:pt x="7065" y="14701"/>
                    <a:pt x="7065" y="14701"/>
                  </a:cubicBezTo>
                  <a:cubicBezTo>
                    <a:pt x="7008" y="14702"/>
                    <a:pt x="7008" y="14702"/>
                    <a:pt x="7008" y="14702"/>
                  </a:cubicBezTo>
                  <a:cubicBezTo>
                    <a:pt x="7007" y="14674"/>
                    <a:pt x="7007" y="14674"/>
                    <a:pt x="7007" y="14674"/>
                  </a:cubicBezTo>
                  <a:cubicBezTo>
                    <a:pt x="7069" y="14674"/>
                    <a:pt x="7127" y="14673"/>
                    <a:pt x="7178" y="14673"/>
                  </a:cubicBezTo>
                  <a:cubicBezTo>
                    <a:pt x="7178" y="14676"/>
                    <a:pt x="7178" y="14676"/>
                    <a:pt x="7178" y="14676"/>
                  </a:cubicBezTo>
                  <a:cubicBezTo>
                    <a:pt x="7178" y="14676"/>
                    <a:pt x="7178" y="14676"/>
                    <a:pt x="7179" y="14676"/>
                  </a:cubicBezTo>
                  <a:cubicBezTo>
                    <a:pt x="7179" y="14684"/>
                    <a:pt x="7179" y="14694"/>
                    <a:pt x="7179" y="14705"/>
                  </a:cubicBezTo>
                  <a:cubicBezTo>
                    <a:pt x="7179" y="14835"/>
                    <a:pt x="7177" y="15151"/>
                    <a:pt x="7176" y="15196"/>
                  </a:cubicBezTo>
                  <a:lnTo>
                    <a:pt x="7032" y="15224"/>
                  </a:lnTo>
                  <a:close/>
                  <a:moveTo>
                    <a:pt x="7447" y="14382"/>
                  </a:moveTo>
                  <a:cubicBezTo>
                    <a:pt x="7442" y="14381"/>
                    <a:pt x="7442" y="14381"/>
                    <a:pt x="7442" y="14381"/>
                  </a:cubicBezTo>
                  <a:cubicBezTo>
                    <a:pt x="7442" y="14381"/>
                    <a:pt x="7408" y="14376"/>
                    <a:pt x="7396" y="14374"/>
                  </a:cubicBezTo>
                  <a:cubicBezTo>
                    <a:pt x="7396" y="14374"/>
                    <a:pt x="7396" y="14374"/>
                    <a:pt x="7396" y="14373"/>
                  </a:cubicBezTo>
                  <a:cubicBezTo>
                    <a:pt x="7396" y="14370"/>
                    <a:pt x="7396" y="14365"/>
                    <a:pt x="7396" y="14359"/>
                  </a:cubicBezTo>
                  <a:cubicBezTo>
                    <a:pt x="7396" y="14312"/>
                    <a:pt x="7402" y="14200"/>
                    <a:pt x="7403" y="14185"/>
                  </a:cubicBezTo>
                  <a:cubicBezTo>
                    <a:pt x="7465" y="14090"/>
                    <a:pt x="7465" y="14090"/>
                    <a:pt x="7465" y="14090"/>
                  </a:cubicBezTo>
                  <a:cubicBezTo>
                    <a:pt x="7496" y="14096"/>
                    <a:pt x="7675" y="14131"/>
                    <a:pt x="7731" y="14140"/>
                  </a:cubicBezTo>
                  <a:cubicBezTo>
                    <a:pt x="7727" y="14205"/>
                    <a:pt x="7724" y="14267"/>
                    <a:pt x="7721" y="14316"/>
                  </a:cubicBezTo>
                  <a:cubicBezTo>
                    <a:pt x="7719" y="14360"/>
                    <a:pt x="7716" y="14396"/>
                    <a:pt x="7714" y="14409"/>
                  </a:cubicBezTo>
                  <a:cubicBezTo>
                    <a:pt x="7713" y="14410"/>
                    <a:pt x="7711" y="14411"/>
                    <a:pt x="7709" y="14414"/>
                  </a:cubicBezTo>
                  <a:cubicBezTo>
                    <a:pt x="7705" y="14419"/>
                    <a:pt x="7698" y="14427"/>
                    <a:pt x="7688" y="14436"/>
                  </a:cubicBezTo>
                  <a:cubicBezTo>
                    <a:pt x="7669" y="14454"/>
                    <a:pt x="7642" y="14479"/>
                    <a:pt x="7606" y="14504"/>
                  </a:cubicBezTo>
                  <a:cubicBezTo>
                    <a:pt x="7573" y="14528"/>
                    <a:pt x="7532" y="14551"/>
                    <a:pt x="7486" y="14570"/>
                  </a:cubicBezTo>
                  <a:lnTo>
                    <a:pt x="7447" y="14382"/>
                  </a:lnTo>
                  <a:close/>
                  <a:moveTo>
                    <a:pt x="7603" y="14102"/>
                  </a:moveTo>
                  <a:cubicBezTo>
                    <a:pt x="7544" y="14091"/>
                    <a:pt x="7486" y="14080"/>
                    <a:pt x="7469" y="14077"/>
                  </a:cubicBezTo>
                  <a:cubicBezTo>
                    <a:pt x="7468" y="14046"/>
                    <a:pt x="7461" y="13882"/>
                    <a:pt x="7461" y="13814"/>
                  </a:cubicBezTo>
                  <a:cubicBezTo>
                    <a:pt x="7461" y="13809"/>
                    <a:pt x="7461" y="13805"/>
                    <a:pt x="7461" y="13802"/>
                  </a:cubicBezTo>
                  <a:cubicBezTo>
                    <a:pt x="7761" y="13790"/>
                    <a:pt x="7761" y="13790"/>
                    <a:pt x="7761" y="13790"/>
                  </a:cubicBezTo>
                  <a:cubicBezTo>
                    <a:pt x="7747" y="13873"/>
                    <a:pt x="7738" y="14005"/>
                    <a:pt x="7731" y="14126"/>
                  </a:cubicBezTo>
                  <a:cubicBezTo>
                    <a:pt x="7706" y="14122"/>
                    <a:pt x="7654" y="14112"/>
                    <a:pt x="7603" y="14102"/>
                  </a:cubicBezTo>
                  <a:close/>
                  <a:moveTo>
                    <a:pt x="7322" y="12859"/>
                  </a:moveTo>
                  <a:cubicBezTo>
                    <a:pt x="7319" y="12892"/>
                    <a:pt x="7319" y="12892"/>
                    <a:pt x="7319" y="12892"/>
                  </a:cubicBezTo>
                  <a:cubicBezTo>
                    <a:pt x="6948" y="12834"/>
                    <a:pt x="6948" y="12834"/>
                    <a:pt x="6948" y="12834"/>
                  </a:cubicBezTo>
                  <a:cubicBezTo>
                    <a:pt x="6957" y="12695"/>
                    <a:pt x="6965" y="12574"/>
                    <a:pt x="6966" y="12559"/>
                  </a:cubicBezTo>
                  <a:cubicBezTo>
                    <a:pt x="7036" y="12441"/>
                    <a:pt x="7036" y="12441"/>
                    <a:pt x="7036" y="12441"/>
                  </a:cubicBezTo>
                  <a:cubicBezTo>
                    <a:pt x="7034" y="12446"/>
                    <a:pt x="7034" y="12446"/>
                    <a:pt x="7034" y="12446"/>
                  </a:cubicBezTo>
                  <a:cubicBezTo>
                    <a:pt x="7457" y="12581"/>
                    <a:pt x="7457" y="12581"/>
                    <a:pt x="7457" y="12581"/>
                  </a:cubicBezTo>
                  <a:lnTo>
                    <a:pt x="7322" y="12859"/>
                  </a:lnTo>
                  <a:close/>
                  <a:moveTo>
                    <a:pt x="7781" y="11589"/>
                  </a:moveTo>
                  <a:cubicBezTo>
                    <a:pt x="7477" y="11570"/>
                    <a:pt x="7477" y="11570"/>
                    <a:pt x="7477" y="11570"/>
                  </a:cubicBezTo>
                  <a:cubicBezTo>
                    <a:pt x="7313" y="11412"/>
                    <a:pt x="7313" y="11412"/>
                    <a:pt x="7313" y="11412"/>
                  </a:cubicBezTo>
                  <a:cubicBezTo>
                    <a:pt x="7317" y="11400"/>
                    <a:pt x="7321" y="11387"/>
                    <a:pt x="7325" y="11375"/>
                  </a:cubicBezTo>
                  <a:cubicBezTo>
                    <a:pt x="7326" y="11375"/>
                    <a:pt x="7326" y="11375"/>
                    <a:pt x="7326" y="11375"/>
                  </a:cubicBezTo>
                  <a:cubicBezTo>
                    <a:pt x="7326" y="11374"/>
                    <a:pt x="7326" y="11374"/>
                    <a:pt x="7326" y="11374"/>
                  </a:cubicBezTo>
                  <a:cubicBezTo>
                    <a:pt x="7358" y="11281"/>
                    <a:pt x="7385" y="11201"/>
                    <a:pt x="7400" y="11155"/>
                  </a:cubicBezTo>
                  <a:cubicBezTo>
                    <a:pt x="7401" y="11153"/>
                    <a:pt x="7401" y="11151"/>
                    <a:pt x="7402" y="11149"/>
                  </a:cubicBezTo>
                  <a:cubicBezTo>
                    <a:pt x="7418" y="11156"/>
                    <a:pt x="7434" y="11163"/>
                    <a:pt x="7450" y="11171"/>
                  </a:cubicBezTo>
                  <a:cubicBezTo>
                    <a:pt x="7654" y="11269"/>
                    <a:pt x="7799" y="11341"/>
                    <a:pt x="7894" y="11389"/>
                  </a:cubicBezTo>
                  <a:cubicBezTo>
                    <a:pt x="7950" y="11417"/>
                    <a:pt x="7987" y="11437"/>
                    <a:pt x="8009" y="11448"/>
                  </a:cubicBezTo>
                  <a:cubicBezTo>
                    <a:pt x="7893" y="11687"/>
                    <a:pt x="7893" y="11687"/>
                    <a:pt x="7893" y="11687"/>
                  </a:cubicBezTo>
                  <a:lnTo>
                    <a:pt x="7781" y="11589"/>
                  </a:lnTo>
                  <a:close/>
                  <a:moveTo>
                    <a:pt x="7523" y="11134"/>
                  </a:moveTo>
                  <a:cubicBezTo>
                    <a:pt x="7538" y="11079"/>
                    <a:pt x="7595" y="10875"/>
                    <a:pt x="7660" y="10647"/>
                  </a:cubicBezTo>
                  <a:cubicBezTo>
                    <a:pt x="7736" y="10378"/>
                    <a:pt x="7823" y="10076"/>
                    <a:pt x="7865" y="9941"/>
                  </a:cubicBezTo>
                  <a:cubicBezTo>
                    <a:pt x="7871" y="9922"/>
                    <a:pt x="7876" y="9906"/>
                    <a:pt x="7880" y="9895"/>
                  </a:cubicBezTo>
                  <a:cubicBezTo>
                    <a:pt x="7984" y="9964"/>
                    <a:pt x="8411" y="10250"/>
                    <a:pt x="8547" y="10338"/>
                  </a:cubicBezTo>
                  <a:cubicBezTo>
                    <a:pt x="8548" y="10338"/>
                    <a:pt x="8548" y="10339"/>
                    <a:pt x="8549" y="10339"/>
                  </a:cubicBezTo>
                  <a:cubicBezTo>
                    <a:pt x="8038" y="11389"/>
                    <a:pt x="8038" y="11389"/>
                    <a:pt x="8038" y="11389"/>
                  </a:cubicBezTo>
                  <a:cubicBezTo>
                    <a:pt x="7979" y="11359"/>
                    <a:pt x="7816" y="11275"/>
                    <a:pt x="7523" y="11134"/>
                  </a:cubicBezTo>
                  <a:close/>
                  <a:moveTo>
                    <a:pt x="8494" y="10250"/>
                  </a:moveTo>
                  <a:cubicBezTo>
                    <a:pt x="8425" y="10205"/>
                    <a:pt x="8334" y="10144"/>
                    <a:pt x="8244" y="10084"/>
                  </a:cubicBezTo>
                  <a:cubicBezTo>
                    <a:pt x="8098" y="9987"/>
                    <a:pt x="7954" y="9890"/>
                    <a:pt x="7902" y="9855"/>
                  </a:cubicBezTo>
                  <a:cubicBezTo>
                    <a:pt x="7909" y="9846"/>
                    <a:pt x="7918" y="9833"/>
                    <a:pt x="7929" y="9817"/>
                  </a:cubicBezTo>
                  <a:cubicBezTo>
                    <a:pt x="7953" y="9781"/>
                    <a:pt x="7987" y="9730"/>
                    <a:pt x="8028" y="9669"/>
                  </a:cubicBezTo>
                  <a:cubicBezTo>
                    <a:pt x="8108" y="9546"/>
                    <a:pt x="8214" y="9383"/>
                    <a:pt x="8320" y="9219"/>
                  </a:cubicBezTo>
                  <a:cubicBezTo>
                    <a:pt x="8499" y="8942"/>
                    <a:pt x="8677" y="8664"/>
                    <a:pt x="8726" y="8588"/>
                  </a:cubicBezTo>
                  <a:cubicBezTo>
                    <a:pt x="8856" y="8667"/>
                    <a:pt x="9104" y="8822"/>
                    <a:pt x="9249" y="8903"/>
                  </a:cubicBezTo>
                  <a:cubicBezTo>
                    <a:pt x="8569" y="10299"/>
                    <a:pt x="8569" y="10299"/>
                    <a:pt x="8569" y="10299"/>
                  </a:cubicBezTo>
                  <a:cubicBezTo>
                    <a:pt x="8549" y="10286"/>
                    <a:pt x="8524" y="10269"/>
                    <a:pt x="8494" y="10250"/>
                  </a:cubicBezTo>
                  <a:close/>
                  <a:moveTo>
                    <a:pt x="8450" y="8934"/>
                  </a:moveTo>
                  <a:cubicBezTo>
                    <a:pt x="8366" y="9064"/>
                    <a:pt x="8272" y="9210"/>
                    <a:pt x="8183" y="9347"/>
                  </a:cubicBezTo>
                  <a:cubicBezTo>
                    <a:pt x="7631" y="8990"/>
                    <a:pt x="7631" y="8990"/>
                    <a:pt x="7631" y="8990"/>
                  </a:cubicBezTo>
                  <a:cubicBezTo>
                    <a:pt x="8065" y="8135"/>
                    <a:pt x="8065" y="8135"/>
                    <a:pt x="8065" y="8135"/>
                  </a:cubicBezTo>
                  <a:cubicBezTo>
                    <a:pt x="8069" y="8135"/>
                    <a:pt x="8076" y="8134"/>
                    <a:pt x="8088" y="8133"/>
                  </a:cubicBezTo>
                  <a:cubicBezTo>
                    <a:pt x="8130" y="8165"/>
                    <a:pt x="8226" y="8236"/>
                    <a:pt x="8329" y="8311"/>
                  </a:cubicBezTo>
                  <a:cubicBezTo>
                    <a:pt x="8467" y="8413"/>
                    <a:pt x="8617" y="8521"/>
                    <a:pt x="8671" y="8554"/>
                  </a:cubicBezTo>
                  <a:cubicBezTo>
                    <a:pt x="8676" y="8557"/>
                    <a:pt x="8682" y="8561"/>
                    <a:pt x="8688" y="8564"/>
                  </a:cubicBezTo>
                  <a:cubicBezTo>
                    <a:pt x="8654" y="8617"/>
                    <a:pt x="8562" y="8761"/>
                    <a:pt x="8450" y="8934"/>
                  </a:cubicBezTo>
                  <a:close/>
                  <a:moveTo>
                    <a:pt x="8352" y="7919"/>
                  </a:moveTo>
                  <a:cubicBezTo>
                    <a:pt x="8337" y="7905"/>
                    <a:pt x="8317" y="7885"/>
                    <a:pt x="8292" y="7861"/>
                  </a:cubicBezTo>
                  <a:cubicBezTo>
                    <a:pt x="8243" y="7813"/>
                    <a:pt x="8180" y="7749"/>
                    <a:pt x="8116" y="7685"/>
                  </a:cubicBezTo>
                  <a:cubicBezTo>
                    <a:pt x="8110" y="7679"/>
                    <a:pt x="8104" y="7673"/>
                    <a:pt x="8099" y="7667"/>
                  </a:cubicBezTo>
                  <a:cubicBezTo>
                    <a:pt x="8178" y="7637"/>
                    <a:pt x="8258" y="7608"/>
                    <a:pt x="8285" y="7599"/>
                  </a:cubicBezTo>
                  <a:cubicBezTo>
                    <a:pt x="8577" y="7848"/>
                    <a:pt x="8577" y="7848"/>
                    <a:pt x="8577" y="7848"/>
                  </a:cubicBezTo>
                  <a:cubicBezTo>
                    <a:pt x="8523" y="7885"/>
                    <a:pt x="8457" y="7921"/>
                    <a:pt x="8406" y="7933"/>
                  </a:cubicBezTo>
                  <a:cubicBezTo>
                    <a:pt x="8396" y="7935"/>
                    <a:pt x="8385" y="7937"/>
                    <a:pt x="8374" y="7939"/>
                  </a:cubicBezTo>
                  <a:cubicBezTo>
                    <a:pt x="8373" y="7938"/>
                    <a:pt x="8372" y="7937"/>
                    <a:pt x="8370" y="7935"/>
                  </a:cubicBezTo>
                  <a:cubicBezTo>
                    <a:pt x="8365" y="7932"/>
                    <a:pt x="8359" y="7926"/>
                    <a:pt x="8352" y="7919"/>
                  </a:cubicBezTo>
                  <a:close/>
                  <a:moveTo>
                    <a:pt x="8299" y="7593"/>
                  </a:moveTo>
                  <a:cubicBezTo>
                    <a:pt x="8300" y="7592"/>
                    <a:pt x="8300" y="7592"/>
                    <a:pt x="8301" y="7591"/>
                  </a:cubicBezTo>
                  <a:cubicBezTo>
                    <a:pt x="8302" y="7589"/>
                    <a:pt x="8303" y="7587"/>
                    <a:pt x="8304" y="7584"/>
                  </a:cubicBezTo>
                  <a:cubicBezTo>
                    <a:pt x="8307" y="7579"/>
                    <a:pt x="8310" y="7572"/>
                    <a:pt x="8313" y="7563"/>
                  </a:cubicBezTo>
                  <a:cubicBezTo>
                    <a:pt x="8320" y="7546"/>
                    <a:pt x="8328" y="7522"/>
                    <a:pt x="8336" y="7499"/>
                  </a:cubicBezTo>
                  <a:cubicBezTo>
                    <a:pt x="8349" y="7459"/>
                    <a:pt x="8364" y="7416"/>
                    <a:pt x="8369" y="7402"/>
                  </a:cubicBezTo>
                  <a:cubicBezTo>
                    <a:pt x="8426" y="7442"/>
                    <a:pt x="8479" y="7480"/>
                    <a:pt x="8506" y="7498"/>
                  </a:cubicBezTo>
                  <a:cubicBezTo>
                    <a:pt x="8509" y="7499"/>
                    <a:pt x="8510" y="7500"/>
                    <a:pt x="8512" y="7501"/>
                  </a:cubicBezTo>
                  <a:cubicBezTo>
                    <a:pt x="8519" y="7557"/>
                    <a:pt x="8531" y="7614"/>
                    <a:pt x="8555" y="7669"/>
                  </a:cubicBezTo>
                  <a:cubicBezTo>
                    <a:pt x="8576" y="7715"/>
                    <a:pt x="8606" y="7759"/>
                    <a:pt x="8640" y="7801"/>
                  </a:cubicBezTo>
                  <a:cubicBezTo>
                    <a:pt x="8626" y="7812"/>
                    <a:pt x="8611" y="7825"/>
                    <a:pt x="8593" y="7837"/>
                  </a:cubicBezTo>
                  <a:cubicBezTo>
                    <a:pt x="8592" y="7838"/>
                    <a:pt x="8590" y="7839"/>
                    <a:pt x="8589" y="7840"/>
                  </a:cubicBezTo>
                  <a:lnTo>
                    <a:pt x="8299" y="7593"/>
                  </a:lnTo>
                  <a:close/>
                  <a:moveTo>
                    <a:pt x="10111" y="2660"/>
                  </a:moveTo>
                  <a:cubicBezTo>
                    <a:pt x="9660" y="2788"/>
                    <a:pt x="9079" y="2945"/>
                    <a:pt x="8602" y="3074"/>
                  </a:cubicBezTo>
                  <a:cubicBezTo>
                    <a:pt x="8364" y="3138"/>
                    <a:pt x="8153" y="3195"/>
                    <a:pt x="7997" y="3238"/>
                  </a:cubicBezTo>
                  <a:cubicBezTo>
                    <a:pt x="7919" y="3259"/>
                    <a:pt x="7855" y="3277"/>
                    <a:pt x="7809" y="3290"/>
                  </a:cubicBezTo>
                  <a:cubicBezTo>
                    <a:pt x="7786" y="3296"/>
                    <a:pt x="7767" y="3302"/>
                    <a:pt x="7754" y="3306"/>
                  </a:cubicBezTo>
                  <a:cubicBezTo>
                    <a:pt x="7749" y="3307"/>
                    <a:pt x="7745" y="3308"/>
                    <a:pt x="7742" y="3309"/>
                  </a:cubicBezTo>
                  <a:cubicBezTo>
                    <a:pt x="7742" y="3309"/>
                    <a:pt x="7742" y="3309"/>
                    <a:pt x="7742" y="3309"/>
                  </a:cubicBezTo>
                  <a:cubicBezTo>
                    <a:pt x="7733" y="3312"/>
                    <a:pt x="7733" y="3312"/>
                    <a:pt x="7733" y="3312"/>
                  </a:cubicBezTo>
                  <a:cubicBezTo>
                    <a:pt x="7717" y="3319"/>
                    <a:pt x="7700" y="3324"/>
                    <a:pt x="7677" y="3330"/>
                  </a:cubicBezTo>
                  <a:cubicBezTo>
                    <a:pt x="7638" y="3341"/>
                    <a:pt x="7584" y="3356"/>
                    <a:pt x="7527" y="3376"/>
                  </a:cubicBezTo>
                  <a:cubicBezTo>
                    <a:pt x="7513" y="3342"/>
                    <a:pt x="7513" y="3342"/>
                    <a:pt x="7513" y="3342"/>
                  </a:cubicBezTo>
                  <a:cubicBezTo>
                    <a:pt x="7513" y="3341"/>
                    <a:pt x="7500" y="3309"/>
                    <a:pt x="7478" y="3263"/>
                  </a:cubicBezTo>
                  <a:cubicBezTo>
                    <a:pt x="7526" y="3245"/>
                    <a:pt x="7571" y="3232"/>
                    <a:pt x="7607" y="3222"/>
                  </a:cubicBezTo>
                  <a:cubicBezTo>
                    <a:pt x="7647" y="3211"/>
                    <a:pt x="7678" y="3202"/>
                    <a:pt x="7686" y="3199"/>
                  </a:cubicBezTo>
                  <a:cubicBezTo>
                    <a:pt x="7694" y="3196"/>
                    <a:pt x="7698" y="3194"/>
                    <a:pt x="7707" y="3191"/>
                  </a:cubicBezTo>
                  <a:cubicBezTo>
                    <a:pt x="7771" y="3172"/>
                    <a:pt x="7983" y="3114"/>
                    <a:pt x="8271" y="3036"/>
                  </a:cubicBezTo>
                  <a:cubicBezTo>
                    <a:pt x="8703" y="2919"/>
                    <a:pt x="9303" y="2758"/>
                    <a:pt x="9810" y="2616"/>
                  </a:cubicBezTo>
                  <a:cubicBezTo>
                    <a:pt x="10063" y="2546"/>
                    <a:pt x="10294" y="2480"/>
                    <a:pt x="10468" y="2428"/>
                  </a:cubicBezTo>
                  <a:cubicBezTo>
                    <a:pt x="10478" y="2424"/>
                    <a:pt x="10488" y="2421"/>
                    <a:pt x="10498" y="2418"/>
                  </a:cubicBezTo>
                  <a:cubicBezTo>
                    <a:pt x="10505" y="2445"/>
                    <a:pt x="10513" y="2474"/>
                    <a:pt x="10522" y="2507"/>
                  </a:cubicBezTo>
                  <a:cubicBezTo>
                    <a:pt x="10525" y="2517"/>
                    <a:pt x="10527" y="2527"/>
                    <a:pt x="10530" y="2537"/>
                  </a:cubicBezTo>
                  <a:cubicBezTo>
                    <a:pt x="10414" y="2573"/>
                    <a:pt x="10271" y="2614"/>
                    <a:pt x="10111" y="2660"/>
                  </a:cubicBezTo>
                  <a:close/>
                  <a:moveTo>
                    <a:pt x="10463" y="2412"/>
                  </a:moveTo>
                  <a:cubicBezTo>
                    <a:pt x="10289" y="2464"/>
                    <a:pt x="10059" y="2530"/>
                    <a:pt x="9805" y="2601"/>
                  </a:cubicBezTo>
                  <a:cubicBezTo>
                    <a:pt x="9298" y="2742"/>
                    <a:pt x="8699" y="2904"/>
                    <a:pt x="8267" y="3020"/>
                  </a:cubicBezTo>
                  <a:cubicBezTo>
                    <a:pt x="7978" y="3098"/>
                    <a:pt x="7767" y="3156"/>
                    <a:pt x="7702" y="3176"/>
                  </a:cubicBezTo>
                  <a:cubicBezTo>
                    <a:pt x="7694" y="3178"/>
                    <a:pt x="7688" y="3180"/>
                    <a:pt x="7680" y="3184"/>
                  </a:cubicBezTo>
                  <a:cubicBezTo>
                    <a:pt x="7675" y="3186"/>
                    <a:pt x="7642" y="3195"/>
                    <a:pt x="7603" y="3206"/>
                  </a:cubicBezTo>
                  <a:cubicBezTo>
                    <a:pt x="7566" y="3216"/>
                    <a:pt x="7520" y="3230"/>
                    <a:pt x="7470" y="3248"/>
                  </a:cubicBezTo>
                  <a:cubicBezTo>
                    <a:pt x="7462" y="3232"/>
                    <a:pt x="7454" y="3214"/>
                    <a:pt x="7444" y="3195"/>
                  </a:cubicBezTo>
                  <a:cubicBezTo>
                    <a:pt x="7440" y="3188"/>
                    <a:pt x="7435" y="3180"/>
                    <a:pt x="7431" y="3172"/>
                  </a:cubicBezTo>
                  <a:cubicBezTo>
                    <a:pt x="7543" y="3137"/>
                    <a:pt x="7752" y="3073"/>
                    <a:pt x="7964" y="3008"/>
                  </a:cubicBezTo>
                  <a:cubicBezTo>
                    <a:pt x="8245" y="2921"/>
                    <a:pt x="8530" y="2833"/>
                    <a:pt x="8588" y="2815"/>
                  </a:cubicBezTo>
                  <a:cubicBezTo>
                    <a:pt x="8589" y="2815"/>
                    <a:pt x="8589" y="2815"/>
                    <a:pt x="8589" y="2815"/>
                  </a:cubicBezTo>
                  <a:cubicBezTo>
                    <a:pt x="8598" y="2813"/>
                    <a:pt x="8598" y="2813"/>
                    <a:pt x="8598" y="2813"/>
                  </a:cubicBezTo>
                  <a:cubicBezTo>
                    <a:pt x="8598" y="2813"/>
                    <a:pt x="8598" y="2813"/>
                    <a:pt x="8599" y="2812"/>
                  </a:cubicBezTo>
                  <a:cubicBezTo>
                    <a:pt x="8601" y="2812"/>
                    <a:pt x="8604" y="2811"/>
                    <a:pt x="8608" y="2810"/>
                  </a:cubicBezTo>
                  <a:cubicBezTo>
                    <a:pt x="8616" y="2808"/>
                    <a:pt x="8628" y="2805"/>
                    <a:pt x="8644" y="2801"/>
                  </a:cubicBezTo>
                  <a:cubicBezTo>
                    <a:pt x="8675" y="2793"/>
                    <a:pt x="8720" y="2782"/>
                    <a:pt x="8775" y="2768"/>
                  </a:cubicBezTo>
                  <a:cubicBezTo>
                    <a:pt x="8886" y="2740"/>
                    <a:pt x="9039" y="2702"/>
                    <a:pt x="9209" y="2659"/>
                  </a:cubicBezTo>
                  <a:cubicBezTo>
                    <a:pt x="9549" y="2573"/>
                    <a:pt x="9956" y="2470"/>
                    <a:pt x="10228" y="2401"/>
                  </a:cubicBezTo>
                  <a:cubicBezTo>
                    <a:pt x="10338" y="2373"/>
                    <a:pt x="10424" y="2352"/>
                    <a:pt x="10476" y="2338"/>
                  </a:cubicBezTo>
                  <a:cubicBezTo>
                    <a:pt x="10481" y="2355"/>
                    <a:pt x="10487" y="2377"/>
                    <a:pt x="10494" y="2403"/>
                  </a:cubicBezTo>
                  <a:cubicBezTo>
                    <a:pt x="10483" y="2406"/>
                    <a:pt x="10474" y="2409"/>
                    <a:pt x="10463" y="2412"/>
                  </a:cubicBezTo>
                  <a:close/>
                  <a:moveTo>
                    <a:pt x="8504" y="2717"/>
                  </a:moveTo>
                  <a:cubicBezTo>
                    <a:pt x="8505" y="2713"/>
                    <a:pt x="8507" y="2708"/>
                    <a:pt x="8510" y="2703"/>
                  </a:cubicBezTo>
                  <a:cubicBezTo>
                    <a:pt x="8510" y="2702"/>
                    <a:pt x="8511" y="2701"/>
                    <a:pt x="8511" y="2701"/>
                  </a:cubicBezTo>
                  <a:cubicBezTo>
                    <a:pt x="8508" y="2706"/>
                    <a:pt x="8506" y="2712"/>
                    <a:pt x="8504" y="2717"/>
                  </a:cubicBezTo>
                  <a:close/>
                  <a:moveTo>
                    <a:pt x="8501" y="2683"/>
                  </a:moveTo>
                  <a:cubicBezTo>
                    <a:pt x="8466" y="2693"/>
                    <a:pt x="8417" y="2709"/>
                    <a:pt x="8359" y="2727"/>
                  </a:cubicBezTo>
                  <a:cubicBezTo>
                    <a:pt x="8241" y="2763"/>
                    <a:pt x="8085" y="2811"/>
                    <a:pt x="7928" y="2859"/>
                  </a:cubicBezTo>
                  <a:cubicBezTo>
                    <a:pt x="7684" y="2934"/>
                    <a:pt x="7439" y="3010"/>
                    <a:pt x="7345" y="3039"/>
                  </a:cubicBezTo>
                  <a:cubicBezTo>
                    <a:pt x="7323" y="3012"/>
                    <a:pt x="7300" y="2987"/>
                    <a:pt x="7274" y="2967"/>
                  </a:cubicBezTo>
                  <a:cubicBezTo>
                    <a:pt x="7144" y="2866"/>
                    <a:pt x="6995" y="2845"/>
                    <a:pt x="6891" y="2821"/>
                  </a:cubicBezTo>
                  <a:cubicBezTo>
                    <a:pt x="6842" y="2809"/>
                    <a:pt x="6688" y="2771"/>
                    <a:pt x="6522" y="2728"/>
                  </a:cubicBezTo>
                  <a:cubicBezTo>
                    <a:pt x="6592" y="2482"/>
                    <a:pt x="6592" y="2482"/>
                    <a:pt x="6592" y="2482"/>
                  </a:cubicBezTo>
                  <a:cubicBezTo>
                    <a:pt x="6610" y="2458"/>
                    <a:pt x="6631" y="2443"/>
                    <a:pt x="6661" y="2432"/>
                  </a:cubicBezTo>
                  <a:cubicBezTo>
                    <a:pt x="6692" y="2421"/>
                    <a:pt x="6732" y="2417"/>
                    <a:pt x="6782" y="2417"/>
                  </a:cubicBezTo>
                  <a:cubicBezTo>
                    <a:pt x="6828" y="2417"/>
                    <a:pt x="6954" y="2433"/>
                    <a:pt x="7065" y="2449"/>
                  </a:cubicBezTo>
                  <a:cubicBezTo>
                    <a:pt x="7176" y="2465"/>
                    <a:pt x="7274" y="2482"/>
                    <a:pt x="7274" y="2482"/>
                  </a:cubicBezTo>
                  <a:cubicBezTo>
                    <a:pt x="7277" y="2482"/>
                    <a:pt x="7277" y="2482"/>
                    <a:pt x="7277" y="2482"/>
                  </a:cubicBezTo>
                  <a:cubicBezTo>
                    <a:pt x="8517" y="2458"/>
                    <a:pt x="8517" y="2458"/>
                    <a:pt x="8517" y="2458"/>
                  </a:cubicBezTo>
                  <a:cubicBezTo>
                    <a:pt x="8520" y="2536"/>
                    <a:pt x="8525" y="2626"/>
                    <a:pt x="8527" y="2675"/>
                  </a:cubicBezTo>
                  <a:cubicBezTo>
                    <a:pt x="8520" y="2677"/>
                    <a:pt x="8511" y="2680"/>
                    <a:pt x="8501" y="2683"/>
                  </a:cubicBezTo>
                  <a:close/>
                  <a:moveTo>
                    <a:pt x="5370" y="3915"/>
                  </a:moveTo>
                  <a:cubicBezTo>
                    <a:pt x="5546" y="3990"/>
                    <a:pt x="5657" y="4117"/>
                    <a:pt x="5928" y="4268"/>
                  </a:cubicBezTo>
                  <a:cubicBezTo>
                    <a:pt x="6005" y="4311"/>
                    <a:pt x="6051" y="4384"/>
                    <a:pt x="6079" y="4466"/>
                  </a:cubicBezTo>
                  <a:cubicBezTo>
                    <a:pt x="6106" y="4549"/>
                    <a:pt x="6114" y="4641"/>
                    <a:pt x="6114" y="4714"/>
                  </a:cubicBezTo>
                  <a:cubicBezTo>
                    <a:pt x="6114" y="4754"/>
                    <a:pt x="6112" y="4789"/>
                    <a:pt x="6109" y="4814"/>
                  </a:cubicBezTo>
                  <a:cubicBezTo>
                    <a:pt x="6107" y="4839"/>
                    <a:pt x="6105" y="4853"/>
                    <a:pt x="6105" y="4852"/>
                  </a:cubicBezTo>
                  <a:cubicBezTo>
                    <a:pt x="6062" y="5110"/>
                    <a:pt x="6062" y="5110"/>
                    <a:pt x="6062" y="5110"/>
                  </a:cubicBezTo>
                  <a:cubicBezTo>
                    <a:pt x="5439" y="5213"/>
                    <a:pt x="5439" y="5213"/>
                    <a:pt x="5439" y="5213"/>
                  </a:cubicBezTo>
                  <a:cubicBezTo>
                    <a:pt x="5420" y="4661"/>
                    <a:pt x="5420" y="4661"/>
                    <a:pt x="5420" y="4661"/>
                  </a:cubicBezTo>
                  <a:cubicBezTo>
                    <a:pt x="5416" y="4659"/>
                    <a:pt x="5416" y="4659"/>
                    <a:pt x="5416" y="4659"/>
                  </a:cubicBezTo>
                  <a:cubicBezTo>
                    <a:pt x="5415" y="4659"/>
                    <a:pt x="5050" y="4544"/>
                    <a:pt x="5041" y="4541"/>
                  </a:cubicBezTo>
                  <a:cubicBezTo>
                    <a:pt x="5041" y="4541"/>
                    <a:pt x="5041" y="4541"/>
                    <a:pt x="5041" y="4541"/>
                  </a:cubicBezTo>
                  <a:cubicBezTo>
                    <a:pt x="5040" y="4541"/>
                    <a:pt x="5039" y="4540"/>
                    <a:pt x="5037" y="4538"/>
                  </a:cubicBezTo>
                  <a:cubicBezTo>
                    <a:pt x="5034" y="4536"/>
                    <a:pt x="5030" y="4532"/>
                    <a:pt x="5024" y="4528"/>
                  </a:cubicBezTo>
                  <a:cubicBezTo>
                    <a:pt x="5013" y="4518"/>
                    <a:pt x="4998" y="4505"/>
                    <a:pt x="4980" y="4489"/>
                  </a:cubicBezTo>
                  <a:cubicBezTo>
                    <a:pt x="4944" y="4458"/>
                    <a:pt x="4897" y="4416"/>
                    <a:pt x="4850" y="4375"/>
                  </a:cubicBezTo>
                  <a:cubicBezTo>
                    <a:pt x="4756" y="4292"/>
                    <a:pt x="4663" y="4210"/>
                    <a:pt x="4663" y="4209"/>
                  </a:cubicBezTo>
                  <a:cubicBezTo>
                    <a:pt x="4661" y="4208"/>
                    <a:pt x="4661" y="4208"/>
                    <a:pt x="4661" y="4208"/>
                  </a:cubicBezTo>
                  <a:cubicBezTo>
                    <a:pt x="4152" y="4097"/>
                    <a:pt x="4152" y="4097"/>
                    <a:pt x="4152" y="4097"/>
                  </a:cubicBezTo>
                  <a:cubicBezTo>
                    <a:pt x="4148" y="4009"/>
                    <a:pt x="4143" y="3936"/>
                    <a:pt x="4141" y="3912"/>
                  </a:cubicBezTo>
                  <a:cubicBezTo>
                    <a:pt x="4150" y="3891"/>
                    <a:pt x="4178" y="3824"/>
                    <a:pt x="4209" y="3754"/>
                  </a:cubicBezTo>
                  <a:cubicBezTo>
                    <a:pt x="4239" y="3683"/>
                    <a:pt x="4273" y="3606"/>
                    <a:pt x="4288" y="3573"/>
                  </a:cubicBezTo>
                  <a:cubicBezTo>
                    <a:pt x="4466" y="3635"/>
                    <a:pt x="4624" y="3687"/>
                    <a:pt x="4748" y="3719"/>
                  </a:cubicBezTo>
                  <a:cubicBezTo>
                    <a:pt x="4949" y="3772"/>
                    <a:pt x="5190" y="3837"/>
                    <a:pt x="5370" y="3915"/>
                  </a:cubicBezTo>
                  <a:close/>
                  <a:moveTo>
                    <a:pt x="4211" y="3585"/>
                  </a:moveTo>
                  <a:cubicBezTo>
                    <a:pt x="4195" y="3620"/>
                    <a:pt x="4175" y="3665"/>
                    <a:pt x="4156" y="3711"/>
                  </a:cubicBezTo>
                  <a:cubicBezTo>
                    <a:pt x="4116" y="3803"/>
                    <a:pt x="4078" y="3894"/>
                    <a:pt x="4078" y="3894"/>
                  </a:cubicBezTo>
                  <a:cubicBezTo>
                    <a:pt x="4075" y="3901"/>
                    <a:pt x="4075" y="3901"/>
                    <a:pt x="4075" y="3901"/>
                  </a:cubicBezTo>
                  <a:cubicBezTo>
                    <a:pt x="4075" y="3909"/>
                    <a:pt x="4075" y="3909"/>
                    <a:pt x="4075" y="3909"/>
                  </a:cubicBezTo>
                  <a:cubicBezTo>
                    <a:pt x="4075" y="3910"/>
                    <a:pt x="4081" y="3987"/>
                    <a:pt x="4085" y="4086"/>
                  </a:cubicBezTo>
                  <a:cubicBezTo>
                    <a:pt x="3710" y="4048"/>
                    <a:pt x="3710" y="4048"/>
                    <a:pt x="3710" y="4048"/>
                  </a:cubicBezTo>
                  <a:cubicBezTo>
                    <a:pt x="2642" y="4178"/>
                    <a:pt x="2642" y="4178"/>
                    <a:pt x="2642" y="4178"/>
                  </a:cubicBezTo>
                  <a:cubicBezTo>
                    <a:pt x="2209" y="4669"/>
                    <a:pt x="2209" y="4669"/>
                    <a:pt x="2209" y="4669"/>
                  </a:cubicBezTo>
                  <a:cubicBezTo>
                    <a:pt x="1634" y="4252"/>
                    <a:pt x="1634" y="4252"/>
                    <a:pt x="1634" y="4252"/>
                  </a:cubicBezTo>
                  <a:cubicBezTo>
                    <a:pt x="1643" y="4242"/>
                    <a:pt x="1653" y="4232"/>
                    <a:pt x="1665" y="4218"/>
                  </a:cubicBezTo>
                  <a:cubicBezTo>
                    <a:pt x="1704" y="4177"/>
                    <a:pt x="1758" y="4118"/>
                    <a:pt x="1822" y="4050"/>
                  </a:cubicBezTo>
                  <a:cubicBezTo>
                    <a:pt x="1949" y="3912"/>
                    <a:pt x="2112" y="3735"/>
                    <a:pt x="2261" y="3574"/>
                  </a:cubicBezTo>
                  <a:cubicBezTo>
                    <a:pt x="2417" y="3405"/>
                    <a:pt x="2532" y="3273"/>
                    <a:pt x="2604" y="3213"/>
                  </a:cubicBezTo>
                  <a:cubicBezTo>
                    <a:pt x="2725" y="3112"/>
                    <a:pt x="2845" y="3086"/>
                    <a:pt x="2944" y="3085"/>
                  </a:cubicBezTo>
                  <a:cubicBezTo>
                    <a:pt x="3016" y="3085"/>
                    <a:pt x="3077" y="3099"/>
                    <a:pt x="3118" y="3110"/>
                  </a:cubicBezTo>
                  <a:cubicBezTo>
                    <a:pt x="3162" y="3121"/>
                    <a:pt x="3287" y="3175"/>
                    <a:pt x="3436" y="3240"/>
                  </a:cubicBezTo>
                  <a:cubicBezTo>
                    <a:pt x="3586" y="3306"/>
                    <a:pt x="3764" y="3383"/>
                    <a:pt x="3926" y="3442"/>
                  </a:cubicBezTo>
                  <a:cubicBezTo>
                    <a:pt x="4029" y="3481"/>
                    <a:pt x="4130" y="3517"/>
                    <a:pt x="4226" y="3551"/>
                  </a:cubicBezTo>
                  <a:cubicBezTo>
                    <a:pt x="4222" y="3561"/>
                    <a:pt x="4217" y="3572"/>
                    <a:pt x="4211" y="3585"/>
                  </a:cubicBezTo>
                  <a:close/>
                  <a:moveTo>
                    <a:pt x="1910" y="4534"/>
                  </a:moveTo>
                  <a:cubicBezTo>
                    <a:pt x="1784" y="4667"/>
                    <a:pt x="1784" y="4667"/>
                    <a:pt x="1784" y="4667"/>
                  </a:cubicBezTo>
                  <a:cubicBezTo>
                    <a:pt x="1510" y="4511"/>
                    <a:pt x="1510" y="4511"/>
                    <a:pt x="1510" y="4511"/>
                  </a:cubicBezTo>
                  <a:cubicBezTo>
                    <a:pt x="1524" y="4474"/>
                    <a:pt x="1560" y="4384"/>
                    <a:pt x="1582" y="4330"/>
                  </a:cubicBezTo>
                  <a:cubicBezTo>
                    <a:pt x="1586" y="4320"/>
                    <a:pt x="1590" y="4311"/>
                    <a:pt x="1593" y="4304"/>
                  </a:cubicBezTo>
                  <a:cubicBezTo>
                    <a:pt x="1593" y="4304"/>
                    <a:pt x="1594" y="4304"/>
                    <a:pt x="1594" y="4304"/>
                  </a:cubicBezTo>
                  <a:lnTo>
                    <a:pt x="1910" y="4534"/>
                  </a:lnTo>
                  <a:close/>
                  <a:moveTo>
                    <a:pt x="1793" y="4688"/>
                  </a:moveTo>
                  <a:cubicBezTo>
                    <a:pt x="2338" y="4999"/>
                    <a:pt x="2338" y="4999"/>
                    <a:pt x="2338" y="4999"/>
                  </a:cubicBezTo>
                  <a:cubicBezTo>
                    <a:pt x="2273" y="5115"/>
                    <a:pt x="2273" y="5115"/>
                    <a:pt x="2273" y="5115"/>
                  </a:cubicBezTo>
                  <a:cubicBezTo>
                    <a:pt x="2226" y="5088"/>
                    <a:pt x="2226" y="5088"/>
                    <a:pt x="2226" y="5088"/>
                  </a:cubicBezTo>
                  <a:cubicBezTo>
                    <a:pt x="2281" y="4991"/>
                    <a:pt x="2281" y="4991"/>
                    <a:pt x="2281" y="4991"/>
                  </a:cubicBezTo>
                  <a:cubicBezTo>
                    <a:pt x="2284" y="4985"/>
                    <a:pt x="2284" y="4985"/>
                    <a:pt x="2284" y="4985"/>
                  </a:cubicBezTo>
                  <a:cubicBezTo>
                    <a:pt x="2147" y="4907"/>
                    <a:pt x="2147" y="4907"/>
                    <a:pt x="2147" y="4907"/>
                  </a:cubicBezTo>
                  <a:cubicBezTo>
                    <a:pt x="2089" y="5010"/>
                    <a:pt x="2089" y="5010"/>
                    <a:pt x="2089" y="5010"/>
                  </a:cubicBezTo>
                  <a:cubicBezTo>
                    <a:pt x="1764" y="4825"/>
                    <a:pt x="1764" y="4825"/>
                    <a:pt x="1764" y="4825"/>
                  </a:cubicBezTo>
                  <a:lnTo>
                    <a:pt x="1793" y="4688"/>
                  </a:lnTo>
                  <a:close/>
                  <a:moveTo>
                    <a:pt x="2082" y="5022"/>
                  </a:moveTo>
                  <a:cubicBezTo>
                    <a:pt x="2028" y="5117"/>
                    <a:pt x="2028" y="5117"/>
                    <a:pt x="2028" y="5117"/>
                  </a:cubicBezTo>
                  <a:cubicBezTo>
                    <a:pt x="1676" y="4916"/>
                    <a:pt x="1676" y="4916"/>
                    <a:pt x="1676" y="4916"/>
                  </a:cubicBezTo>
                  <a:cubicBezTo>
                    <a:pt x="1756" y="4836"/>
                    <a:pt x="1756" y="4836"/>
                    <a:pt x="1756" y="4836"/>
                  </a:cubicBezTo>
                  <a:lnTo>
                    <a:pt x="2082" y="5022"/>
                  </a:lnTo>
                  <a:close/>
                  <a:moveTo>
                    <a:pt x="1664" y="4909"/>
                  </a:moveTo>
                  <a:cubicBezTo>
                    <a:pt x="1287" y="4694"/>
                    <a:pt x="1287" y="4694"/>
                    <a:pt x="1287" y="4694"/>
                  </a:cubicBezTo>
                  <a:cubicBezTo>
                    <a:pt x="1339" y="4598"/>
                    <a:pt x="1339" y="4598"/>
                    <a:pt x="1339" y="4598"/>
                  </a:cubicBezTo>
                  <a:cubicBezTo>
                    <a:pt x="1743" y="4829"/>
                    <a:pt x="1743" y="4829"/>
                    <a:pt x="1743" y="4829"/>
                  </a:cubicBezTo>
                  <a:lnTo>
                    <a:pt x="1664" y="4909"/>
                  </a:lnTo>
                  <a:close/>
                  <a:moveTo>
                    <a:pt x="1334" y="4580"/>
                  </a:moveTo>
                  <a:cubicBezTo>
                    <a:pt x="1220" y="4514"/>
                    <a:pt x="1220" y="4514"/>
                    <a:pt x="1220" y="4514"/>
                  </a:cubicBezTo>
                  <a:cubicBezTo>
                    <a:pt x="1265" y="4431"/>
                    <a:pt x="1265" y="4431"/>
                    <a:pt x="1265" y="4431"/>
                  </a:cubicBezTo>
                  <a:cubicBezTo>
                    <a:pt x="1381" y="4494"/>
                    <a:pt x="1381" y="4494"/>
                    <a:pt x="1381" y="4494"/>
                  </a:cubicBezTo>
                  <a:lnTo>
                    <a:pt x="1334" y="4580"/>
                  </a:lnTo>
                  <a:close/>
                  <a:moveTo>
                    <a:pt x="1327" y="4592"/>
                  </a:moveTo>
                  <a:cubicBezTo>
                    <a:pt x="1275" y="4687"/>
                    <a:pt x="1275" y="4687"/>
                    <a:pt x="1275" y="4687"/>
                  </a:cubicBezTo>
                  <a:cubicBezTo>
                    <a:pt x="1161" y="4622"/>
                    <a:pt x="1161" y="4622"/>
                    <a:pt x="1161" y="4622"/>
                  </a:cubicBezTo>
                  <a:cubicBezTo>
                    <a:pt x="1213" y="4527"/>
                    <a:pt x="1213" y="4527"/>
                    <a:pt x="1213" y="4527"/>
                  </a:cubicBezTo>
                  <a:lnTo>
                    <a:pt x="1327" y="4592"/>
                  </a:lnTo>
                  <a:close/>
                  <a:moveTo>
                    <a:pt x="1269" y="4699"/>
                  </a:moveTo>
                  <a:cubicBezTo>
                    <a:pt x="1221" y="4787"/>
                    <a:pt x="1221" y="4787"/>
                    <a:pt x="1221" y="4787"/>
                  </a:cubicBezTo>
                  <a:cubicBezTo>
                    <a:pt x="1107" y="4722"/>
                    <a:pt x="1107" y="4722"/>
                    <a:pt x="1107" y="4722"/>
                  </a:cubicBezTo>
                  <a:cubicBezTo>
                    <a:pt x="1155" y="4634"/>
                    <a:pt x="1155" y="4634"/>
                    <a:pt x="1155" y="4634"/>
                  </a:cubicBezTo>
                  <a:lnTo>
                    <a:pt x="1269" y="4699"/>
                  </a:lnTo>
                  <a:close/>
                  <a:moveTo>
                    <a:pt x="1214" y="4799"/>
                  </a:moveTo>
                  <a:cubicBezTo>
                    <a:pt x="1164" y="4892"/>
                    <a:pt x="1164" y="4892"/>
                    <a:pt x="1164" y="4892"/>
                  </a:cubicBezTo>
                  <a:cubicBezTo>
                    <a:pt x="1050" y="4827"/>
                    <a:pt x="1050" y="4827"/>
                    <a:pt x="1050" y="4827"/>
                  </a:cubicBezTo>
                  <a:cubicBezTo>
                    <a:pt x="1100" y="4734"/>
                    <a:pt x="1100" y="4734"/>
                    <a:pt x="1100" y="4734"/>
                  </a:cubicBezTo>
                  <a:lnTo>
                    <a:pt x="1214" y="4799"/>
                  </a:lnTo>
                  <a:close/>
                  <a:moveTo>
                    <a:pt x="1157" y="4904"/>
                  </a:moveTo>
                  <a:cubicBezTo>
                    <a:pt x="1099" y="5012"/>
                    <a:pt x="1099" y="5012"/>
                    <a:pt x="1099" y="5012"/>
                  </a:cubicBezTo>
                  <a:cubicBezTo>
                    <a:pt x="985" y="4947"/>
                    <a:pt x="985" y="4947"/>
                    <a:pt x="985" y="4947"/>
                  </a:cubicBezTo>
                  <a:cubicBezTo>
                    <a:pt x="1043" y="4839"/>
                    <a:pt x="1043" y="4839"/>
                    <a:pt x="1043" y="4839"/>
                  </a:cubicBezTo>
                  <a:lnTo>
                    <a:pt x="1157" y="4904"/>
                  </a:lnTo>
                  <a:close/>
                  <a:moveTo>
                    <a:pt x="1092" y="5024"/>
                  </a:moveTo>
                  <a:cubicBezTo>
                    <a:pt x="1035" y="5128"/>
                    <a:pt x="1035" y="5128"/>
                    <a:pt x="1035" y="5128"/>
                  </a:cubicBezTo>
                  <a:cubicBezTo>
                    <a:pt x="921" y="5063"/>
                    <a:pt x="921" y="5063"/>
                    <a:pt x="921" y="5063"/>
                  </a:cubicBezTo>
                  <a:cubicBezTo>
                    <a:pt x="978" y="4959"/>
                    <a:pt x="978" y="4959"/>
                    <a:pt x="978" y="4959"/>
                  </a:cubicBezTo>
                  <a:lnTo>
                    <a:pt x="1092" y="5024"/>
                  </a:lnTo>
                  <a:close/>
                  <a:moveTo>
                    <a:pt x="1029" y="5140"/>
                  </a:moveTo>
                  <a:cubicBezTo>
                    <a:pt x="976" y="5236"/>
                    <a:pt x="976" y="5236"/>
                    <a:pt x="976" y="5236"/>
                  </a:cubicBezTo>
                  <a:cubicBezTo>
                    <a:pt x="862" y="5171"/>
                    <a:pt x="862" y="5171"/>
                    <a:pt x="862" y="5171"/>
                  </a:cubicBezTo>
                  <a:cubicBezTo>
                    <a:pt x="915" y="5075"/>
                    <a:pt x="915" y="5075"/>
                    <a:pt x="915" y="5075"/>
                  </a:cubicBezTo>
                  <a:lnTo>
                    <a:pt x="1029" y="5140"/>
                  </a:lnTo>
                  <a:close/>
                  <a:moveTo>
                    <a:pt x="970" y="5249"/>
                  </a:moveTo>
                  <a:cubicBezTo>
                    <a:pt x="906" y="5367"/>
                    <a:pt x="906" y="5367"/>
                    <a:pt x="906" y="5367"/>
                  </a:cubicBezTo>
                  <a:cubicBezTo>
                    <a:pt x="791" y="5302"/>
                    <a:pt x="791" y="5302"/>
                    <a:pt x="791" y="5302"/>
                  </a:cubicBezTo>
                  <a:cubicBezTo>
                    <a:pt x="856" y="5184"/>
                    <a:pt x="856" y="5184"/>
                    <a:pt x="856" y="5184"/>
                  </a:cubicBezTo>
                  <a:lnTo>
                    <a:pt x="970" y="5249"/>
                  </a:lnTo>
                  <a:close/>
                  <a:moveTo>
                    <a:pt x="899" y="5379"/>
                  </a:moveTo>
                  <a:cubicBezTo>
                    <a:pt x="847" y="5475"/>
                    <a:pt x="847" y="5475"/>
                    <a:pt x="847" y="5475"/>
                  </a:cubicBezTo>
                  <a:cubicBezTo>
                    <a:pt x="733" y="5409"/>
                    <a:pt x="733" y="5409"/>
                    <a:pt x="733" y="5409"/>
                  </a:cubicBezTo>
                  <a:cubicBezTo>
                    <a:pt x="785" y="5314"/>
                    <a:pt x="785" y="5314"/>
                    <a:pt x="785" y="5314"/>
                  </a:cubicBezTo>
                  <a:lnTo>
                    <a:pt x="899" y="5379"/>
                  </a:lnTo>
                  <a:close/>
                  <a:moveTo>
                    <a:pt x="840" y="5487"/>
                  </a:moveTo>
                  <a:cubicBezTo>
                    <a:pt x="782" y="5593"/>
                    <a:pt x="782" y="5593"/>
                    <a:pt x="782" y="5593"/>
                  </a:cubicBezTo>
                  <a:cubicBezTo>
                    <a:pt x="668" y="5528"/>
                    <a:pt x="668" y="5528"/>
                    <a:pt x="668" y="5528"/>
                  </a:cubicBezTo>
                  <a:cubicBezTo>
                    <a:pt x="726" y="5422"/>
                    <a:pt x="726" y="5422"/>
                    <a:pt x="726" y="5422"/>
                  </a:cubicBezTo>
                  <a:lnTo>
                    <a:pt x="840" y="5487"/>
                  </a:lnTo>
                  <a:close/>
                  <a:moveTo>
                    <a:pt x="776" y="5605"/>
                  </a:moveTo>
                  <a:cubicBezTo>
                    <a:pt x="725" y="5698"/>
                    <a:pt x="725" y="5698"/>
                    <a:pt x="725" y="5698"/>
                  </a:cubicBezTo>
                  <a:cubicBezTo>
                    <a:pt x="611" y="5633"/>
                    <a:pt x="611" y="5633"/>
                    <a:pt x="611" y="5633"/>
                  </a:cubicBezTo>
                  <a:cubicBezTo>
                    <a:pt x="662" y="5540"/>
                    <a:pt x="662" y="5540"/>
                    <a:pt x="662" y="5540"/>
                  </a:cubicBezTo>
                  <a:lnTo>
                    <a:pt x="776" y="5605"/>
                  </a:lnTo>
                  <a:close/>
                  <a:moveTo>
                    <a:pt x="718" y="5711"/>
                  </a:moveTo>
                  <a:cubicBezTo>
                    <a:pt x="660" y="5818"/>
                    <a:pt x="660" y="5818"/>
                    <a:pt x="660" y="5818"/>
                  </a:cubicBezTo>
                  <a:cubicBezTo>
                    <a:pt x="546" y="5753"/>
                    <a:pt x="546" y="5753"/>
                    <a:pt x="546" y="5753"/>
                  </a:cubicBezTo>
                  <a:cubicBezTo>
                    <a:pt x="604" y="5646"/>
                    <a:pt x="604" y="5646"/>
                    <a:pt x="604" y="5646"/>
                  </a:cubicBezTo>
                  <a:lnTo>
                    <a:pt x="718" y="5711"/>
                  </a:lnTo>
                  <a:close/>
                  <a:moveTo>
                    <a:pt x="653" y="5830"/>
                  </a:moveTo>
                  <a:cubicBezTo>
                    <a:pt x="597" y="5934"/>
                    <a:pt x="597" y="5934"/>
                    <a:pt x="597" y="5934"/>
                  </a:cubicBezTo>
                  <a:cubicBezTo>
                    <a:pt x="483" y="5869"/>
                    <a:pt x="483" y="5869"/>
                    <a:pt x="483" y="5869"/>
                  </a:cubicBezTo>
                  <a:cubicBezTo>
                    <a:pt x="539" y="5765"/>
                    <a:pt x="539" y="5765"/>
                    <a:pt x="539" y="5765"/>
                  </a:cubicBezTo>
                  <a:lnTo>
                    <a:pt x="653" y="5830"/>
                  </a:lnTo>
                  <a:close/>
                  <a:moveTo>
                    <a:pt x="601" y="5953"/>
                  </a:moveTo>
                  <a:cubicBezTo>
                    <a:pt x="937" y="6145"/>
                    <a:pt x="937" y="6145"/>
                    <a:pt x="937" y="6145"/>
                  </a:cubicBezTo>
                  <a:cubicBezTo>
                    <a:pt x="895" y="6247"/>
                    <a:pt x="895" y="6247"/>
                    <a:pt x="895" y="6247"/>
                  </a:cubicBezTo>
                  <a:cubicBezTo>
                    <a:pt x="549" y="6049"/>
                    <a:pt x="549" y="6049"/>
                    <a:pt x="549" y="6049"/>
                  </a:cubicBezTo>
                  <a:lnTo>
                    <a:pt x="601" y="5953"/>
                  </a:lnTo>
                  <a:close/>
                  <a:moveTo>
                    <a:pt x="902" y="6266"/>
                  </a:moveTo>
                  <a:cubicBezTo>
                    <a:pt x="1260" y="6471"/>
                    <a:pt x="1260" y="6471"/>
                    <a:pt x="1260" y="6471"/>
                  </a:cubicBezTo>
                  <a:cubicBezTo>
                    <a:pt x="1221" y="6539"/>
                    <a:pt x="1221" y="6539"/>
                    <a:pt x="1221" y="6539"/>
                  </a:cubicBezTo>
                  <a:cubicBezTo>
                    <a:pt x="1358" y="6617"/>
                    <a:pt x="1358" y="6617"/>
                    <a:pt x="1358" y="6617"/>
                  </a:cubicBezTo>
                  <a:cubicBezTo>
                    <a:pt x="1397" y="6549"/>
                    <a:pt x="1397" y="6549"/>
                    <a:pt x="1397" y="6549"/>
                  </a:cubicBezTo>
                  <a:cubicBezTo>
                    <a:pt x="1452" y="6581"/>
                    <a:pt x="1452" y="6581"/>
                    <a:pt x="1452" y="6581"/>
                  </a:cubicBezTo>
                  <a:cubicBezTo>
                    <a:pt x="1409" y="6658"/>
                    <a:pt x="1409" y="6658"/>
                    <a:pt x="1409" y="6658"/>
                  </a:cubicBezTo>
                  <a:cubicBezTo>
                    <a:pt x="1409" y="6659"/>
                    <a:pt x="1409" y="6659"/>
                    <a:pt x="1409" y="6659"/>
                  </a:cubicBezTo>
                  <a:cubicBezTo>
                    <a:pt x="1409" y="6659"/>
                    <a:pt x="1406" y="6665"/>
                    <a:pt x="1402" y="6675"/>
                  </a:cubicBezTo>
                  <a:cubicBezTo>
                    <a:pt x="860" y="6366"/>
                    <a:pt x="860" y="6366"/>
                    <a:pt x="860" y="6366"/>
                  </a:cubicBezTo>
                  <a:lnTo>
                    <a:pt x="902" y="6266"/>
                  </a:lnTo>
                  <a:close/>
                  <a:moveTo>
                    <a:pt x="1396" y="6688"/>
                  </a:moveTo>
                  <a:cubicBezTo>
                    <a:pt x="1389" y="6703"/>
                    <a:pt x="1379" y="6723"/>
                    <a:pt x="1368" y="6746"/>
                  </a:cubicBezTo>
                  <a:cubicBezTo>
                    <a:pt x="1344" y="6796"/>
                    <a:pt x="1311" y="6857"/>
                    <a:pt x="1280" y="6904"/>
                  </a:cubicBezTo>
                  <a:cubicBezTo>
                    <a:pt x="1260" y="6934"/>
                    <a:pt x="1239" y="6958"/>
                    <a:pt x="1228" y="6965"/>
                  </a:cubicBezTo>
                  <a:cubicBezTo>
                    <a:pt x="1182" y="6994"/>
                    <a:pt x="1136" y="7006"/>
                    <a:pt x="1112" y="7010"/>
                  </a:cubicBezTo>
                  <a:cubicBezTo>
                    <a:pt x="1067" y="6933"/>
                    <a:pt x="958" y="6763"/>
                    <a:pt x="790" y="6609"/>
                  </a:cubicBezTo>
                  <a:cubicBezTo>
                    <a:pt x="766" y="6586"/>
                    <a:pt x="740" y="6564"/>
                    <a:pt x="714" y="6542"/>
                  </a:cubicBezTo>
                  <a:cubicBezTo>
                    <a:pt x="791" y="6455"/>
                    <a:pt x="850" y="6388"/>
                    <a:pt x="850" y="6388"/>
                  </a:cubicBezTo>
                  <a:cubicBezTo>
                    <a:pt x="851" y="6388"/>
                    <a:pt x="851" y="6388"/>
                    <a:pt x="851" y="6388"/>
                  </a:cubicBezTo>
                  <a:cubicBezTo>
                    <a:pt x="855" y="6379"/>
                    <a:pt x="855" y="6379"/>
                    <a:pt x="855" y="6379"/>
                  </a:cubicBezTo>
                  <a:lnTo>
                    <a:pt x="1396" y="6688"/>
                  </a:lnTo>
                  <a:close/>
                  <a:moveTo>
                    <a:pt x="1080" y="7230"/>
                  </a:moveTo>
                  <a:cubicBezTo>
                    <a:pt x="1088" y="7228"/>
                    <a:pt x="1099" y="7226"/>
                    <a:pt x="1113" y="7223"/>
                  </a:cubicBezTo>
                  <a:cubicBezTo>
                    <a:pt x="1141" y="7216"/>
                    <a:pt x="1177" y="7208"/>
                    <a:pt x="1214" y="7199"/>
                  </a:cubicBezTo>
                  <a:cubicBezTo>
                    <a:pt x="1283" y="7184"/>
                    <a:pt x="1352" y="7168"/>
                    <a:pt x="1360" y="7166"/>
                  </a:cubicBezTo>
                  <a:cubicBezTo>
                    <a:pt x="1362" y="7166"/>
                    <a:pt x="1362" y="7166"/>
                    <a:pt x="1362" y="7166"/>
                  </a:cubicBezTo>
                  <a:cubicBezTo>
                    <a:pt x="1382" y="7197"/>
                    <a:pt x="1382" y="7197"/>
                    <a:pt x="1382" y="7197"/>
                  </a:cubicBezTo>
                  <a:cubicBezTo>
                    <a:pt x="1348" y="7358"/>
                    <a:pt x="1348" y="7358"/>
                    <a:pt x="1348" y="7358"/>
                  </a:cubicBezTo>
                  <a:cubicBezTo>
                    <a:pt x="1243" y="7485"/>
                    <a:pt x="1243" y="7485"/>
                    <a:pt x="1243" y="7485"/>
                  </a:cubicBezTo>
                  <a:cubicBezTo>
                    <a:pt x="1048" y="7310"/>
                    <a:pt x="1048" y="7310"/>
                    <a:pt x="1048" y="7310"/>
                  </a:cubicBezTo>
                  <a:cubicBezTo>
                    <a:pt x="1065" y="7266"/>
                    <a:pt x="1065" y="7266"/>
                    <a:pt x="1065" y="7266"/>
                  </a:cubicBezTo>
                  <a:cubicBezTo>
                    <a:pt x="1066" y="7267"/>
                    <a:pt x="1066" y="7267"/>
                    <a:pt x="1066" y="7267"/>
                  </a:cubicBezTo>
                  <a:cubicBezTo>
                    <a:pt x="1080" y="7230"/>
                    <a:pt x="1080" y="7230"/>
                    <a:pt x="1080" y="7230"/>
                  </a:cubicBezTo>
                  <a:cubicBezTo>
                    <a:pt x="1080" y="7230"/>
                    <a:pt x="1080" y="7230"/>
                    <a:pt x="1080" y="7230"/>
                  </a:cubicBezTo>
                  <a:close/>
                  <a:moveTo>
                    <a:pt x="1245" y="7508"/>
                  </a:moveTo>
                  <a:cubicBezTo>
                    <a:pt x="1360" y="7370"/>
                    <a:pt x="1360" y="7370"/>
                    <a:pt x="1360" y="7370"/>
                  </a:cubicBezTo>
                  <a:cubicBezTo>
                    <a:pt x="1360" y="7370"/>
                    <a:pt x="1360" y="7370"/>
                    <a:pt x="1360" y="7370"/>
                  </a:cubicBezTo>
                  <a:cubicBezTo>
                    <a:pt x="1360" y="7370"/>
                    <a:pt x="1399" y="7396"/>
                    <a:pt x="1442" y="7423"/>
                  </a:cubicBezTo>
                  <a:cubicBezTo>
                    <a:pt x="1479" y="7446"/>
                    <a:pt x="1517" y="7470"/>
                    <a:pt x="1538" y="7481"/>
                  </a:cubicBezTo>
                  <a:cubicBezTo>
                    <a:pt x="1289" y="7837"/>
                    <a:pt x="1289" y="7837"/>
                    <a:pt x="1289" y="7837"/>
                  </a:cubicBezTo>
                  <a:cubicBezTo>
                    <a:pt x="1182" y="7923"/>
                    <a:pt x="1182" y="7923"/>
                    <a:pt x="1182" y="7923"/>
                  </a:cubicBezTo>
                  <a:cubicBezTo>
                    <a:pt x="1091" y="7661"/>
                    <a:pt x="1091" y="7661"/>
                    <a:pt x="1091" y="7661"/>
                  </a:cubicBezTo>
                  <a:cubicBezTo>
                    <a:pt x="946" y="7570"/>
                    <a:pt x="946" y="7570"/>
                    <a:pt x="946" y="7570"/>
                  </a:cubicBezTo>
                  <a:cubicBezTo>
                    <a:pt x="1041" y="7326"/>
                    <a:pt x="1041" y="7326"/>
                    <a:pt x="1041" y="7326"/>
                  </a:cubicBezTo>
                  <a:lnTo>
                    <a:pt x="1245" y="7508"/>
                  </a:lnTo>
                  <a:close/>
                  <a:moveTo>
                    <a:pt x="1077" y="7672"/>
                  </a:moveTo>
                  <a:cubicBezTo>
                    <a:pt x="1169" y="7934"/>
                    <a:pt x="1169" y="7934"/>
                    <a:pt x="1169" y="7934"/>
                  </a:cubicBezTo>
                  <a:cubicBezTo>
                    <a:pt x="940" y="8120"/>
                    <a:pt x="940" y="8120"/>
                    <a:pt x="940" y="8120"/>
                  </a:cubicBezTo>
                  <a:cubicBezTo>
                    <a:pt x="917" y="8019"/>
                    <a:pt x="917" y="8019"/>
                    <a:pt x="917" y="8019"/>
                  </a:cubicBezTo>
                  <a:cubicBezTo>
                    <a:pt x="854" y="7964"/>
                    <a:pt x="854" y="7964"/>
                    <a:pt x="854" y="7964"/>
                  </a:cubicBezTo>
                  <a:cubicBezTo>
                    <a:pt x="872" y="7815"/>
                    <a:pt x="872" y="7815"/>
                    <a:pt x="872" y="7815"/>
                  </a:cubicBezTo>
                  <a:cubicBezTo>
                    <a:pt x="915" y="7792"/>
                    <a:pt x="915" y="7792"/>
                    <a:pt x="915" y="7792"/>
                  </a:cubicBezTo>
                  <a:cubicBezTo>
                    <a:pt x="881" y="7630"/>
                    <a:pt x="881" y="7630"/>
                    <a:pt x="881" y="7630"/>
                  </a:cubicBezTo>
                  <a:cubicBezTo>
                    <a:pt x="935" y="7583"/>
                    <a:pt x="935" y="7583"/>
                    <a:pt x="935" y="7583"/>
                  </a:cubicBezTo>
                  <a:lnTo>
                    <a:pt x="1077" y="7672"/>
                  </a:lnTo>
                  <a:close/>
                  <a:moveTo>
                    <a:pt x="867" y="7643"/>
                  </a:moveTo>
                  <a:cubicBezTo>
                    <a:pt x="896" y="7783"/>
                    <a:pt x="896" y="7783"/>
                    <a:pt x="896" y="7783"/>
                  </a:cubicBezTo>
                  <a:cubicBezTo>
                    <a:pt x="857" y="7805"/>
                    <a:pt x="857" y="7805"/>
                    <a:pt x="857" y="7805"/>
                  </a:cubicBezTo>
                  <a:cubicBezTo>
                    <a:pt x="836" y="7971"/>
                    <a:pt x="836" y="7971"/>
                    <a:pt x="836" y="7971"/>
                  </a:cubicBezTo>
                  <a:cubicBezTo>
                    <a:pt x="902" y="8028"/>
                    <a:pt x="902" y="8028"/>
                    <a:pt x="902" y="8028"/>
                  </a:cubicBezTo>
                  <a:cubicBezTo>
                    <a:pt x="925" y="8131"/>
                    <a:pt x="925" y="8131"/>
                    <a:pt x="925" y="8131"/>
                  </a:cubicBezTo>
                  <a:cubicBezTo>
                    <a:pt x="925" y="8132"/>
                    <a:pt x="925" y="8132"/>
                    <a:pt x="925" y="8132"/>
                  </a:cubicBezTo>
                  <a:cubicBezTo>
                    <a:pt x="925" y="8132"/>
                    <a:pt x="925" y="8132"/>
                    <a:pt x="925" y="8132"/>
                  </a:cubicBezTo>
                  <a:cubicBezTo>
                    <a:pt x="711" y="8310"/>
                    <a:pt x="711" y="8310"/>
                    <a:pt x="711" y="8310"/>
                  </a:cubicBezTo>
                  <a:cubicBezTo>
                    <a:pt x="489" y="8047"/>
                    <a:pt x="489" y="8047"/>
                    <a:pt x="489" y="8047"/>
                  </a:cubicBezTo>
                  <a:lnTo>
                    <a:pt x="867" y="7643"/>
                  </a:lnTo>
                  <a:close/>
                  <a:moveTo>
                    <a:pt x="952" y="8194"/>
                  </a:moveTo>
                  <a:cubicBezTo>
                    <a:pt x="1081" y="8091"/>
                    <a:pt x="1081" y="8091"/>
                    <a:pt x="1081" y="8091"/>
                  </a:cubicBezTo>
                  <a:cubicBezTo>
                    <a:pt x="1079" y="8145"/>
                    <a:pt x="1074" y="8298"/>
                    <a:pt x="1074" y="8326"/>
                  </a:cubicBezTo>
                  <a:cubicBezTo>
                    <a:pt x="1074" y="8328"/>
                    <a:pt x="1074" y="8329"/>
                    <a:pt x="1074" y="8329"/>
                  </a:cubicBezTo>
                  <a:cubicBezTo>
                    <a:pt x="1074" y="8330"/>
                    <a:pt x="1074" y="8330"/>
                    <a:pt x="1074" y="8330"/>
                  </a:cubicBezTo>
                  <a:cubicBezTo>
                    <a:pt x="1072" y="8332"/>
                    <a:pt x="1071" y="8335"/>
                    <a:pt x="1069" y="8338"/>
                  </a:cubicBezTo>
                  <a:cubicBezTo>
                    <a:pt x="1064" y="8345"/>
                    <a:pt x="1058" y="8355"/>
                    <a:pt x="1051" y="8366"/>
                  </a:cubicBezTo>
                  <a:cubicBezTo>
                    <a:pt x="1036" y="8389"/>
                    <a:pt x="1016" y="8420"/>
                    <a:pt x="997" y="8450"/>
                  </a:cubicBezTo>
                  <a:cubicBezTo>
                    <a:pt x="961" y="8505"/>
                    <a:pt x="926" y="8559"/>
                    <a:pt x="919" y="8569"/>
                  </a:cubicBezTo>
                  <a:cubicBezTo>
                    <a:pt x="911" y="8574"/>
                    <a:pt x="875" y="8594"/>
                    <a:pt x="828" y="8620"/>
                  </a:cubicBezTo>
                  <a:cubicBezTo>
                    <a:pt x="680" y="8421"/>
                    <a:pt x="680" y="8421"/>
                    <a:pt x="680" y="8421"/>
                  </a:cubicBezTo>
                  <a:lnTo>
                    <a:pt x="952" y="8194"/>
                  </a:lnTo>
                  <a:close/>
                  <a:moveTo>
                    <a:pt x="816" y="8627"/>
                  </a:moveTo>
                  <a:cubicBezTo>
                    <a:pt x="717" y="8682"/>
                    <a:pt x="579" y="8758"/>
                    <a:pt x="546" y="8778"/>
                  </a:cubicBezTo>
                  <a:cubicBezTo>
                    <a:pt x="541" y="8773"/>
                    <a:pt x="534" y="8767"/>
                    <a:pt x="527" y="8760"/>
                  </a:cubicBezTo>
                  <a:cubicBezTo>
                    <a:pt x="511" y="8744"/>
                    <a:pt x="489" y="8724"/>
                    <a:pt x="469" y="8703"/>
                  </a:cubicBezTo>
                  <a:cubicBezTo>
                    <a:pt x="447" y="8682"/>
                    <a:pt x="426" y="8661"/>
                    <a:pt x="410" y="8645"/>
                  </a:cubicBezTo>
                  <a:cubicBezTo>
                    <a:pt x="669" y="8430"/>
                    <a:pt x="669" y="8430"/>
                    <a:pt x="669" y="8430"/>
                  </a:cubicBezTo>
                  <a:lnTo>
                    <a:pt x="816" y="8627"/>
                  </a:lnTo>
                  <a:close/>
                  <a:moveTo>
                    <a:pt x="921" y="8645"/>
                  </a:moveTo>
                  <a:cubicBezTo>
                    <a:pt x="1146" y="8928"/>
                    <a:pt x="1146" y="8928"/>
                    <a:pt x="1146" y="8928"/>
                  </a:cubicBezTo>
                  <a:cubicBezTo>
                    <a:pt x="1079" y="8992"/>
                    <a:pt x="1079" y="8992"/>
                    <a:pt x="1079" y="8992"/>
                  </a:cubicBezTo>
                  <a:cubicBezTo>
                    <a:pt x="815" y="8656"/>
                    <a:pt x="815" y="8656"/>
                    <a:pt x="815" y="8656"/>
                  </a:cubicBezTo>
                  <a:lnTo>
                    <a:pt x="921" y="8645"/>
                  </a:lnTo>
                  <a:close/>
                  <a:moveTo>
                    <a:pt x="552" y="8793"/>
                  </a:moveTo>
                  <a:cubicBezTo>
                    <a:pt x="555" y="8791"/>
                    <a:pt x="559" y="8789"/>
                    <a:pt x="564" y="8786"/>
                  </a:cubicBezTo>
                  <a:cubicBezTo>
                    <a:pt x="574" y="8780"/>
                    <a:pt x="589" y="8772"/>
                    <a:pt x="607" y="8762"/>
                  </a:cubicBezTo>
                  <a:cubicBezTo>
                    <a:pt x="643" y="8742"/>
                    <a:pt x="691" y="8715"/>
                    <a:pt x="738" y="8688"/>
                  </a:cubicBezTo>
                  <a:cubicBezTo>
                    <a:pt x="758" y="8677"/>
                    <a:pt x="778" y="8666"/>
                    <a:pt x="797" y="8656"/>
                  </a:cubicBezTo>
                  <a:cubicBezTo>
                    <a:pt x="1078" y="9012"/>
                    <a:pt x="1078" y="9012"/>
                    <a:pt x="1078" y="9012"/>
                  </a:cubicBezTo>
                  <a:cubicBezTo>
                    <a:pt x="1165" y="8929"/>
                    <a:pt x="1165" y="8929"/>
                    <a:pt x="1165" y="8929"/>
                  </a:cubicBezTo>
                  <a:cubicBezTo>
                    <a:pt x="927" y="8631"/>
                    <a:pt x="927" y="8631"/>
                    <a:pt x="927" y="8631"/>
                  </a:cubicBezTo>
                  <a:cubicBezTo>
                    <a:pt x="823" y="8641"/>
                    <a:pt x="823" y="8641"/>
                    <a:pt x="823" y="8641"/>
                  </a:cubicBezTo>
                  <a:cubicBezTo>
                    <a:pt x="870" y="8615"/>
                    <a:pt x="909" y="8594"/>
                    <a:pt x="923" y="8586"/>
                  </a:cubicBezTo>
                  <a:cubicBezTo>
                    <a:pt x="925" y="8589"/>
                    <a:pt x="927" y="8592"/>
                    <a:pt x="931" y="8596"/>
                  </a:cubicBezTo>
                  <a:cubicBezTo>
                    <a:pt x="939" y="8606"/>
                    <a:pt x="950" y="8620"/>
                    <a:pt x="963" y="8636"/>
                  </a:cubicBezTo>
                  <a:cubicBezTo>
                    <a:pt x="990" y="8669"/>
                    <a:pt x="1025" y="8712"/>
                    <a:pt x="1061" y="8756"/>
                  </a:cubicBezTo>
                  <a:cubicBezTo>
                    <a:pt x="1122" y="8831"/>
                    <a:pt x="1183" y="8906"/>
                    <a:pt x="1199" y="8925"/>
                  </a:cubicBezTo>
                  <a:cubicBezTo>
                    <a:pt x="1165" y="8957"/>
                    <a:pt x="1129" y="8991"/>
                    <a:pt x="1092" y="9026"/>
                  </a:cubicBezTo>
                  <a:cubicBezTo>
                    <a:pt x="1013" y="9102"/>
                    <a:pt x="930" y="9180"/>
                    <a:pt x="879" y="9229"/>
                  </a:cubicBezTo>
                  <a:cubicBezTo>
                    <a:pt x="878" y="9228"/>
                    <a:pt x="878" y="9228"/>
                    <a:pt x="877" y="9227"/>
                  </a:cubicBezTo>
                  <a:cubicBezTo>
                    <a:pt x="868" y="9218"/>
                    <a:pt x="854" y="9205"/>
                    <a:pt x="838" y="9190"/>
                  </a:cubicBezTo>
                  <a:cubicBezTo>
                    <a:pt x="806" y="9159"/>
                    <a:pt x="764" y="9119"/>
                    <a:pt x="721" y="9078"/>
                  </a:cubicBezTo>
                  <a:cubicBezTo>
                    <a:pt x="643" y="9004"/>
                    <a:pt x="566" y="8930"/>
                    <a:pt x="554" y="8919"/>
                  </a:cubicBezTo>
                  <a:cubicBezTo>
                    <a:pt x="553" y="8903"/>
                    <a:pt x="551" y="8824"/>
                    <a:pt x="551" y="8798"/>
                  </a:cubicBezTo>
                  <a:lnTo>
                    <a:pt x="552" y="8793"/>
                  </a:lnTo>
                  <a:close/>
                  <a:moveTo>
                    <a:pt x="611" y="8996"/>
                  </a:moveTo>
                  <a:cubicBezTo>
                    <a:pt x="694" y="9075"/>
                    <a:pt x="827" y="9201"/>
                    <a:pt x="867" y="9240"/>
                  </a:cubicBezTo>
                  <a:cubicBezTo>
                    <a:pt x="847" y="9259"/>
                    <a:pt x="833" y="9273"/>
                    <a:pt x="828" y="9277"/>
                  </a:cubicBezTo>
                  <a:cubicBezTo>
                    <a:pt x="828" y="9277"/>
                    <a:pt x="827" y="9277"/>
                    <a:pt x="827" y="9277"/>
                  </a:cubicBezTo>
                  <a:cubicBezTo>
                    <a:pt x="819" y="9277"/>
                    <a:pt x="811" y="9276"/>
                    <a:pt x="804" y="9276"/>
                  </a:cubicBezTo>
                  <a:cubicBezTo>
                    <a:pt x="775" y="9276"/>
                    <a:pt x="752" y="9280"/>
                    <a:pt x="735" y="9283"/>
                  </a:cubicBezTo>
                  <a:cubicBezTo>
                    <a:pt x="689" y="9290"/>
                    <a:pt x="664" y="9303"/>
                    <a:pt x="641" y="9302"/>
                  </a:cubicBezTo>
                  <a:cubicBezTo>
                    <a:pt x="621" y="9303"/>
                    <a:pt x="576" y="9286"/>
                    <a:pt x="535" y="9272"/>
                  </a:cubicBezTo>
                  <a:cubicBezTo>
                    <a:pt x="556" y="9199"/>
                    <a:pt x="596" y="9051"/>
                    <a:pt x="609" y="9003"/>
                  </a:cubicBezTo>
                  <a:cubicBezTo>
                    <a:pt x="610" y="9000"/>
                    <a:pt x="610" y="8998"/>
                    <a:pt x="611" y="8996"/>
                  </a:cubicBezTo>
                  <a:close/>
                  <a:moveTo>
                    <a:pt x="641" y="9371"/>
                  </a:moveTo>
                  <a:cubicBezTo>
                    <a:pt x="686" y="9370"/>
                    <a:pt x="712" y="9354"/>
                    <a:pt x="744" y="9351"/>
                  </a:cubicBezTo>
                  <a:cubicBezTo>
                    <a:pt x="763" y="9348"/>
                    <a:pt x="781" y="9345"/>
                    <a:pt x="804" y="9345"/>
                  </a:cubicBezTo>
                  <a:cubicBezTo>
                    <a:pt x="810" y="9345"/>
                    <a:pt x="816" y="9345"/>
                    <a:pt x="822" y="9346"/>
                  </a:cubicBezTo>
                  <a:cubicBezTo>
                    <a:pt x="847" y="9348"/>
                    <a:pt x="873" y="9352"/>
                    <a:pt x="902" y="9369"/>
                  </a:cubicBezTo>
                  <a:cubicBezTo>
                    <a:pt x="921" y="9380"/>
                    <a:pt x="948" y="9417"/>
                    <a:pt x="968" y="9458"/>
                  </a:cubicBezTo>
                  <a:cubicBezTo>
                    <a:pt x="988" y="9499"/>
                    <a:pt x="1004" y="9544"/>
                    <a:pt x="1014" y="9574"/>
                  </a:cubicBezTo>
                  <a:cubicBezTo>
                    <a:pt x="1020" y="9591"/>
                    <a:pt x="1023" y="9602"/>
                    <a:pt x="1023" y="9604"/>
                  </a:cubicBezTo>
                  <a:cubicBezTo>
                    <a:pt x="575" y="9844"/>
                    <a:pt x="575" y="9844"/>
                    <a:pt x="575" y="9844"/>
                  </a:cubicBezTo>
                  <a:cubicBezTo>
                    <a:pt x="565" y="9814"/>
                    <a:pt x="544" y="9755"/>
                    <a:pt x="522" y="9694"/>
                  </a:cubicBezTo>
                  <a:cubicBezTo>
                    <a:pt x="493" y="9612"/>
                    <a:pt x="462" y="9525"/>
                    <a:pt x="459" y="9512"/>
                  </a:cubicBezTo>
                  <a:cubicBezTo>
                    <a:pt x="464" y="9495"/>
                    <a:pt x="500" y="9388"/>
                    <a:pt x="516" y="9339"/>
                  </a:cubicBezTo>
                  <a:cubicBezTo>
                    <a:pt x="554" y="9351"/>
                    <a:pt x="597" y="9370"/>
                    <a:pt x="641" y="9371"/>
                  </a:cubicBezTo>
                  <a:close/>
                  <a:moveTo>
                    <a:pt x="1345" y="9605"/>
                  </a:moveTo>
                  <a:cubicBezTo>
                    <a:pt x="2230" y="9127"/>
                    <a:pt x="2230" y="9127"/>
                    <a:pt x="2230" y="9127"/>
                  </a:cubicBezTo>
                  <a:cubicBezTo>
                    <a:pt x="2233" y="9125"/>
                    <a:pt x="2233" y="9125"/>
                    <a:pt x="2233" y="9125"/>
                  </a:cubicBezTo>
                  <a:cubicBezTo>
                    <a:pt x="2234" y="9125"/>
                    <a:pt x="2234" y="9125"/>
                    <a:pt x="2234" y="9125"/>
                  </a:cubicBezTo>
                  <a:cubicBezTo>
                    <a:pt x="2234" y="9125"/>
                    <a:pt x="2984" y="8734"/>
                    <a:pt x="3408" y="8507"/>
                  </a:cubicBezTo>
                  <a:cubicBezTo>
                    <a:pt x="3549" y="8431"/>
                    <a:pt x="3653" y="8375"/>
                    <a:pt x="3687" y="8355"/>
                  </a:cubicBezTo>
                  <a:cubicBezTo>
                    <a:pt x="3692" y="8352"/>
                    <a:pt x="3694" y="8351"/>
                    <a:pt x="3701" y="8346"/>
                  </a:cubicBezTo>
                  <a:cubicBezTo>
                    <a:pt x="3711" y="8339"/>
                    <a:pt x="3724" y="8328"/>
                    <a:pt x="3738" y="8317"/>
                  </a:cubicBezTo>
                  <a:cubicBezTo>
                    <a:pt x="3744" y="8331"/>
                    <a:pt x="3744" y="8331"/>
                    <a:pt x="3744" y="8331"/>
                  </a:cubicBezTo>
                  <a:cubicBezTo>
                    <a:pt x="3534" y="8439"/>
                    <a:pt x="2900" y="8790"/>
                    <a:pt x="2268" y="9131"/>
                  </a:cubicBezTo>
                  <a:cubicBezTo>
                    <a:pt x="1543" y="9522"/>
                    <a:pt x="811" y="9910"/>
                    <a:pt x="640" y="10001"/>
                  </a:cubicBezTo>
                  <a:cubicBezTo>
                    <a:pt x="615" y="10014"/>
                    <a:pt x="602" y="10021"/>
                    <a:pt x="602" y="10021"/>
                  </a:cubicBezTo>
                  <a:cubicBezTo>
                    <a:pt x="601" y="10022"/>
                    <a:pt x="601" y="10022"/>
                    <a:pt x="601" y="10022"/>
                  </a:cubicBezTo>
                  <a:cubicBezTo>
                    <a:pt x="599" y="10022"/>
                    <a:pt x="599" y="10022"/>
                    <a:pt x="599" y="10022"/>
                  </a:cubicBezTo>
                  <a:cubicBezTo>
                    <a:pt x="593" y="10026"/>
                    <a:pt x="592" y="10027"/>
                    <a:pt x="538" y="10057"/>
                  </a:cubicBezTo>
                  <a:cubicBezTo>
                    <a:pt x="532" y="10051"/>
                    <a:pt x="529" y="10047"/>
                    <a:pt x="526" y="10044"/>
                  </a:cubicBezTo>
                  <a:lnTo>
                    <a:pt x="1345" y="9605"/>
                  </a:lnTo>
                  <a:close/>
                  <a:moveTo>
                    <a:pt x="3726" y="8136"/>
                  </a:moveTo>
                  <a:cubicBezTo>
                    <a:pt x="3672" y="8173"/>
                    <a:pt x="3629" y="8210"/>
                    <a:pt x="3613" y="8222"/>
                  </a:cubicBezTo>
                  <a:cubicBezTo>
                    <a:pt x="3612" y="8222"/>
                    <a:pt x="3612" y="8222"/>
                    <a:pt x="3612" y="8222"/>
                  </a:cubicBezTo>
                  <a:cubicBezTo>
                    <a:pt x="3610" y="8223"/>
                    <a:pt x="3607" y="8225"/>
                    <a:pt x="3604" y="8227"/>
                  </a:cubicBezTo>
                  <a:cubicBezTo>
                    <a:pt x="3597" y="8231"/>
                    <a:pt x="3586" y="8237"/>
                    <a:pt x="3574" y="8244"/>
                  </a:cubicBezTo>
                  <a:cubicBezTo>
                    <a:pt x="3548" y="8258"/>
                    <a:pt x="3513" y="8277"/>
                    <a:pt x="3470" y="8300"/>
                  </a:cubicBezTo>
                  <a:cubicBezTo>
                    <a:pt x="3410" y="8333"/>
                    <a:pt x="3334" y="8373"/>
                    <a:pt x="3250" y="8418"/>
                  </a:cubicBezTo>
                  <a:cubicBezTo>
                    <a:pt x="3358" y="8158"/>
                    <a:pt x="3358" y="8158"/>
                    <a:pt x="3358" y="8158"/>
                  </a:cubicBezTo>
                  <a:cubicBezTo>
                    <a:pt x="3361" y="8159"/>
                    <a:pt x="3366" y="8160"/>
                    <a:pt x="3372" y="8162"/>
                  </a:cubicBezTo>
                  <a:cubicBezTo>
                    <a:pt x="3384" y="8165"/>
                    <a:pt x="3399" y="8170"/>
                    <a:pt x="3414" y="8174"/>
                  </a:cubicBezTo>
                  <a:cubicBezTo>
                    <a:pt x="3444" y="8184"/>
                    <a:pt x="3474" y="8193"/>
                    <a:pt x="3474" y="8193"/>
                  </a:cubicBezTo>
                  <a:cubicBezTo>
                    <a:pt x="3479" y="8194"/>
                    <a:pt x="3479" y="8194"/>
                    <a:pt x="3479" y="8194"/>
                  </a:cubicBezTo>
                  <a:cubicBezTo>
                    <a:pt x="3663" y="7974"/>
                    <a:pt x="3663" y="7974"/>
                    <a:pt x="3663" y="7974"/>
                  </a:cubicBezTo>
                  <a:cubicBezTo>
                    <a:pt x="3728" y="7997"/>
                    <a:pt x="3728" y="7997"/>
                    <a:pt x="3728" y="7997"/>
                  </a:cubicBezTo>
                  <a:cubicBezTo>
                    <a:pt x="3885" y="7926"/>
                    <a:pt x="3885" y="7926"/>
                    <a:pt x="3885" y="7926"/>
                  </a:cubicBezTo>
                  <a:cubicBezTo>
                    <a:pt x="3891" y="7953"/>
                    <a:pt x="3900" y="7977"/>
                    <a:pt x="3908" y="7998"/>
                  </a:cubicBezTo>
                  <a:cubicBezTo>
                    <a:pt x="3915" y="8015"/>
                    <a:pt x="3921" y="8029"/>
                    <a:pt x="3925" y="8038"/>
                  </a:cubicBezTo>
                  <a:cubicBezTo>
                    <a:pt x="3848" y="8060"/>
                    <a:pt x="3780" y="8099"/>
                    <a:pt x="3726" y="8136"/>
                  </a:cubicBezTo>
                  <a:close/>
                  <a:moveTo>
                    <a:pt x="3812" y="8262"/>
                  </a:moveTo>
                  <a:cubicBezTo>
                    <a:pt x="3860" y="8229"/>
                    <a:pt x="3917" y="8197"/>
                    <a:pt x="3972" y="8183"/>
                  </a:cubicBezTo>
                  <a:cubicBezTo>
                    <a:pt x="4001" y="8175"/>
                    <a:pt x="4031" y="8172"/>
                    <a:pt x="4066" y="8172"/>
                  </a:cubicBezTo>
                  <a:cubicBezTo>
                    <a:pt x="4107" y="8172"/>
                    <a:pt x="4154" y="8176"/>
                    <a:pt x="4208" y="8180"/>
                  </a:cubicBezTo>
                  <a:cubicBezTo>
                    <a:pt x="4065" y="8207"/>
                    <a:pt x="3927" y="8246"/>
                    <a:pt x="3803" y="8302"/>
                  </a:cubicBezTo>
                  <a:cubicBezTo>
                    <a:pt x="3792" y="8276"/>
                    <a:pt x="3792" y="8276"/>
                    <a:pt x="3792" y="8276"/>
                  </a:cubicBezTo>
                  <a:cubicBezTo>
                    <a:pt x="3799" y="8272"/>
                    <a:pt x="3805" y="8267"/>
                    <a:pt x="3812" y="8262"/>
                  </a:cubicBezTo>
                  <a:close/>
                  <a:moveTo>
                    <a:pt x="3804" y="8475"/>
                  </a:moveTo>
                  <a:cubicBezTo>
                    <a:pt x="4008" y="8965"/>
                    <a:pt x="4008" y="8965"/>
                    <a:pt x="4008" y="8965"/>
                  </a:cubicBezTo>
                  <a:cubicBezTo>
                    <a:pt x="3957" y="8979"/>
                    <a:pt x="3844" y="9009"/>
                    <a:pt x="3735" y="9043"/>
                  </a:cubicBezTo>
                  <a:cubicBezTo>
                    <a:pt x="3590" y="9088"/>
                    <a:pt x="3511" y="9143"/>
                    <a:pt x="3466" y="9203"/>
                  </a:cubicBezTo>
                  <a:cubicBezTo>
                    <a:pt x="3420" y="9263"/>
                    <a:pt x="3410" y="9324"/>
                    <a:pt x="3396" y="9376"/>
                  </a:cubicBezTo>
                  <a:cubicBezTo>
                    <a:pt x="3391" y="9394"/>
                    <a:pt x="3387" y="9415"/>
                    <a:pt x="3383" y="9437"/>
                  </a:cubicBezTo>
                  <a:cubicBezTo>
                    <a:pt x="3092" y="8849"/>
                    <a:pt x="3092" y="8849"/>
                    <a:pt x="3092" y="8849"/>
                  </a:cubicBezTo>
                  <a:cubicBezTo>
                    <a:pt x="3414" y="8678"/>
                    <a:pt x="3677" y="8540"/>
                    <a:pt x="3804" y="8475"/>
                  </a:cubicBezTo>
                  <a:close/>
                  <a:moveTo>
                    <a:pt x="3378" y="9461"/>
                  </a:moveTo>
                  <a:cubicBezTo>
                    <a:pt x="3371" y="9503"/>
                    <a:pt x="3364" y="9549"/>
                    <a:pt x="3355" y="9597"/>
                  </a:cubicBezTo>
                  <a:cubicBezTo>
                    <a:pt x="3338" y="9679"/>
                    <a:pt x="3314" y="9763"/>
                    <a:pt x="3274" y="9818"/>
                  </a:cubicBezTo>
                  <a:cubicBezTo>
                    <a:pt x="3253" y="9847"/>
                    <a:pt x="3239" y="9865"/>
                    <a:pt x="3224" y="9879"/>
                  </a:cubicBezTo>
                  <a:cubicBezTo>
                    <a:pt x="2655" y="9081"/>
                    <a:pt x="2655" y="9081"/>
                    <a:pt x="2655" y="9081"/>
                  </a:cubicBezTo>
                  <a:cubicBezTo>
                    <a:pt x="2803" y="9002"/>
                    <a:pt x="2946" y="8926"/>
                    <a:pt x="3080" y="8855"/>
                  </a:cubicBezTo>
                  <a:lnTo>
                    <a:pt x="3378" y="9461"/>
                  </a:lnTo>
                  <a:close/>
                  <a:moveTo>
                    <a:pt x="3214" y="9888"/>
                  </a:moveTo>
                  <a:cubicBezTo>
                    <a:pt x="3202" y="9899"/>
                    <a:pt x="3188" y="9908"/>
                    <a:pt x="3170" y="9918"/>
                  </a:cubicBezTo>
                  <a:cubicBezTo>
                    <a:pt x="3124" y="9942"/>
                    <a:pt x="3049" y="9974"/>
                    <a:pt x="2899" y="10058"/>
                  </a:cubicBezTo>
                  <a:cubicBezTo>
                    <a:pt x="2861" y="10079"/>
                    <a:pt x="2823" y="10095"/>
                    <a:pt x="2785" y="10109"/>
                  </a:cubicBezTo>
                  <a:cubicBezTo>
                    <a:pt x="2428" y="9203"/>
                    <a:pt x="2428" y="9203"/>
                    <a:pt x="2428" y="9203"/>
                  </a:cubicBezTo>
                  <a:cubicBezTo>
                    <a:pt x="2500" y="9164"/>
                    <a:pt x="2572" y="9125"/>
                    <a:pt x="2643" y="9088"/>
                  </a:cubicBezTo>
                  <a:lnTo>
                    <a:pt x="3214" y="9888"/>
                  </a:lnTo>
                  <a:close/>
                  <a:moveTo>
                    <a:pt x="2772" y="10114"/>
                  </a:moveTo>
                  <a:cubicBezTo>
                    <a:pt x="2657" y="10153"/>
                    <a:pt x="2545" y="10164"/>
                    <a:pt x="2462" y="10164"/>
                  </a:cubicBezTo>
                  <a:cubicBezTo>
                    <a:pt x="2418" y="10164"/>
                    <a:pt x="2387" y="10159"/>
                    <a:pt x="2362" y="10157"/>
                  </a:cubicBezTo>
                  <a:cubicBezTo>
                    <a:pt x="2354" y="10156"/>
                    <a:pt x="2347" y="10155"/>
                    <a:pt x="2342" y="10154"/>
                  </a:cubicBezTo>
                  <a:cubicBezTo>
                    <a:pt x="2341" y="10154"/>
                    <a:pt x="2312" y="10149"/>
                    <a:pt x="2274" y="10140"/>
                  </a:cubicBezTo>
                  <a:cubicBezTo>
                    <a:pt x="2236" y="10132"/>
                    <a:pt x="2189" y="10119"/>
                    <a:pt x="2156" y="10106"/>
                  </a:cubicBezTo>
                  <a:cubicBezTo>
                    <a:pt x="2150" y="10103"/>
                    <a:pt x="2144" y="10100"/>
                    <a:pt x="2139" y="10097"/>
                  </a:cubicBezTo>
                  <a:cubicBezTo>
                    <a:pt x="2139" y="10096"/>
                    <a:pt x="2139" y="10096"/>
                    <a:pt x="2139" y="10095"/>
                  </a:cubicBezTo>
                  <a:cubicBezTo>
                    <a:pt x="2140" y="10089"/>
                    <a:pt x="2141" y="10080"/>
                    <a:pt x="2143" y="10069"/>
                  </a:cubicBezTo>
                  <a:cubicBezTo>
                    <a:pt x="2145" y="10047"/>
                    <a:pt x="2149" y="10016"/>
                    <a:pt x="2153" y="9978"/>
                  </a:cubicBezTo>
                  <a:cubicBezTo>
                    <a:pt x="2162" y="9903"/>
                    <a:pt x="2172" y="9803"/>
                    <a:pt x="2183" y="9702"/>
                  </a:cubicBezTo>
                  <a:cubicBezTo>
                    <a:pt x="2201" y="9530"/>
                    <a:pt x="2219" y="9357"/>
                    <a:pt x="2223" y="9313"/>
                  </a:cubicBezTo>
                  <a:cubicBezTo>
                    <a:pt x="2287" y="9278"/>
                    <a:pt x="2352" y="9244"/>
                    <a:pt x="2416" y="9209"/>
                  </a:cubicBezTo>
                  <a:lnTo>
                    <a:pt x="2772" y="10114"/>
                  </a:lnTo>
                  <a:close/>
                  <a:moveTo>
                    <a:pt x="2168" y="9687"/>
                  </a:moveTo>
                  <a:cubicBezTo>
                    <a:pt x="2150" y="9862"/>
                    <a:pt x="2130" y="10043"/>
                    <a:pt x="2123" y="10089"/>
                  </a:cubicBezTo>
                  <a:cubicBezTo>
                    <a:pt x="2082" y="10064"/>
                    <a:pt x="2045" y="10029"/>
                    <a:pt x="2028" y="10011"/>
                  </a:cubicBezTo>
                  <a:cubicBezTo>
                    <a:pt x="2021" y="10004"/>
                    <a:pt x="2017" y="9999"/>
                    <a:pt x="2017" y="9999"/>
                  </a:cubicBezTo>
                  <a:cubicBezTo>
                    <a:pt x="2006" y="9987"/>
                    <a:pt x="2006" y="9987"/>
                    <a:pt x="2006" y="9987"/>
                  </a:cubicBezTo>
                  <a:cubicBezTo>
                    <a:pt x="1623" y="10148"/>
                    <a:pt x="1623" y="10148"/>
                    <a:pt x="1623" y="10148"/>
                  </a:cubicBezTo>
                  <a:cubicBezTo>
                    <a:pt x="1366" y="9930"/>
                    <a:pt x="1366" y="9930"/>
                    <a:pt x="1366" y="9930"/>
                  </a:cubicBezTo>
                  <a:cubicBezTo>
                    <a:pt x="1358" y="9940"/>
                    <a:pt x="1358" y="9940"/>
                    <a:pt x="1358" y="9940"/>
                  </a:cubicBezTo>
                  <a:cubicBezTo>
                    <a:pt x="1349" y="9933"/>
                    <a:pt x="1324" y="9912"/>
                    <a:pt x="1299" y="9890"/>
                  </a:cubicBezTo>
                  <a:cubicBezTo>
                    <a:pt x="1281" y="9875"/>
                    <a:pt x="1262" y="9859"/>
                    <a:pt x="1249" y="9848"/>
                  </a:cubicBezTo>
                  <a:cubicBezTo>
                    <a:pt x="1491" y="9716"/>
                    <a:pt x="1781" y="9560"/>
                    <a:pt x="2093" y="9392"/>
                  </a:cubicBezTo>
                  <a:cubicBezTo>
                    <a:pt x="2094" y="9391"/>
                    <a:pt x="2094" y="9391"/>
                    <a:pt x="2094" y="9391"/>
                  </a:cubicBezTo>
                  <a:cubicBezTo>
                    <a:pt x="2116" y="9371"/>
                    <a:pt x="2116" y="9371"/>
                    <a:pt x="2116" y="9371"/>
                  </a:cubicBezTo>
                  <a:cubicBezTo>
                    <a:pt x="2146" y="9355"/>
                    <a:pt x="2176" y="9338"/>
                    <a:pt x="2206" y="9322"/>
                  </a:cubicBezTo>
                  <a:cubicBezTo>
                    <a:pt x="2200" y="9378"/>
                    <a:pt x="2184" y="9531"/>
                    <a:pt x="2168" y="9687"/>
                  </a:cubicBezTo>
                  <a:close/>
                  <a:moveTo>
                    <a:pt x="1285" y="9900"/>
                  </a:moveTo>
                  <a:cubicBezTo>
                    <a:pt x="1311" y="9923"/>
                    <a:pt x="1338" y="9945"/>
                    <a:pt x="1347" y="9953"/>
                  </a:cubicBezTo>
                  <a:cubicBezTo>
                    <a:pt x="1337" y="9965"/>
                    <a:pt x="1337" y="9965"/>
                    <a:pt x="1337" y="9965"/>
                  </a:cubicBezTo>
                  <a:cubicBezTo>
                    <a:pt x="1596" y="10185"/>
                    <a:pt x="1596" y="10185"/>
                    <a:pt x="1596" y="10185"/>
                  </a:cubicBezTo>
                  <a:cubicBezTo>
                    <a:pt x="1595" y="10202"/>
                    <a:pt x="1591" y="10243"/>
                    <a:pt x="1588" y="10282"/>
                  </a:cubicBezTo>
                  <a:cubicBezTo>
                    <a:pt x="1583" y="10332"/>
                    <a:pt x="1578" y="10380"/>
                    <a:pt x="1578" y="10380"/>
                  </a:cubicBezTo>
                  <a:cubicBezTo>
                    <a:pt x="1578" y="10383"/>
                    <a:pt x="1578" y="10383"/>
                    <a:pt x="1578" y="10383"/>
                  </a:cubicBezTo>
                  <a:cubicBezTo>
                    <a:pt x="1589" y="10384"/>
                    <a:pt x="1589" y="10384"/>
                    <a:pt x="1589" y="10384"/>
                  </a:cubicBezTo>
                  <a:cubicBezTo>
                    <a:pt x="1583" y="10456"/>
                    <a:pt x="1583" y="10456"/>
                    <a:pt x="1583" y="10456"/>
                  </a:cubicBezTo>
                  <a:cubicBezTo>
                    <a:pt x="1251" y="10638"/>
                    <a:pt x="1251" y="10638"/>
                    <a:pt x="1251" y="10638"/>
                  </a:cubicBezTo>
                  <a:cubicBezTo>
                    <a:pt x="1235" y="10614"/>
                    <a:pt x="1223" y="10593"/>
                    <a:pt x="1209" y="10568"/>
                  </a:cubicBezTo>
                  <a:cubicBezTo>
                    <a:pt x="1195" y="10544"/>
                    <a:pt x="1121" y="10415"/>
                    <a:pt x="1051" y="10291"/>
                  </a:cubicBezTo>
                  <a:cubicBezTo>
                    <a:pt x="982" y="10168"/>
                    <a:pt x="916" y="10051"/>
                    <a:pt x="915" y="10051"/>
                  </a:cubicBezTo>
                  <a:cubicBezTo>
                    <a:pt x="912" y="10047"/>
                    <a:pt x="912" y="10047"/>
                    <a:pt x="912" y="10047"/>
                  </a:cubicBezTo>
                  <a:cubicBezTo>
                    <a:pt x="852" y="10081"/>
                    <a:pt x="852" y="10081"/>
                    <a:pt x="852" y="10081"/>
                  </a:cubicBezTo>
                  <a:cubicBezTo>
                    <a:pt x="856" y="10085"/>
                    <a:pt x="1120" y="10553"/>
                    <a:pt x="1149" y="10603"/>
                  </a:cubicBezTo>
                  <a:cubicBezTo>
                    <a:pt x="1177" y="10650"/>
                    <a:pt x="1200" y="10693"/>
                    <a:pt x="1257" y="10760"/>
                  </a:cubicBezTo>
                  <a:cubicBezTo>
                    <a:pt x="1273" y="10778"/>
                    <a:pt x="1296" y="10804"/>
                    <a:pt x="1320" y="10831"/>
                  </a:cubicBezTo>
                  <a:cubicBezTo>
                    <a:pt x="1313" y="10835"/>
                    <a:pt x="1306" y="10838"/>
                    <a:pt x="1299" y="10841"/>
                  </a:cubicBezTo>
                  <a:cubicBezTo>
                    <a:pt x="1297" y="10842"/>
                    <a:pt x="1295" y="10843"/>
                    <a:pt x="1293" y="10844"/>
                  </a:cubicBezTo>
                  <a:cubicBezTo>
                    <a:pt x="1279" y="10829"/>
                    <a:pt x="1232" y="10779"/>
                    <a:pt x="1182" y="10721"/>
                  </a:cubicBezTo>
                  <a:cubicBezTo>
                    <a:pt x="1122" y="10652"/>
                    <a:pt x="1057" y="10571"/>
                    <a:pt x="1040" y="10532"/>
                  </a:cubicBezTo>
                  <a:cubicBezTo>
                    <a:pt x="1011" y="10468"/>
                    <a:pt x="933" y="10316"/>
                    <a:pt x="870" y="10241"/>
                  </a:cubicBezTo>
                  <a:cubicBezTo>
                    <a:pt x="849" y="10218"/>
                    <a:pt x="832" y="10200"/>
                    <a:pt x="810" y="10198"/>
                  </a:cubicBezTo>
                  <a:cubicBezTo>
                    <a:pt x="808" y="10198"/>
                    <a:pt x="808" y="10198"/>
                    <a:pt x="808" y="10198"/>
                  </a:cubicBezTo>
                  <a:cubicBezTo>
                    <a:pt x="807" y="10198"/>
                    <a:pt x="807" y="10198"/>
                    <a:pt x="807" y="10198"/>
                  </a:cubicBezTo>
                  <a:cubicBezTo>
                    <a:pt x="782" y="10198"/>
                    <a:pt x="739" y="10212"/>
                    <a:pt x="688" y="10232"/>
                  </a:cubicBezTo>
                  <a:cubicBezTo>
                    <a:pt x="672" y="10213"/>
                    <a:pt x="656" y="10195"/>
                    <a:pt x="642" y="10178"/>
                  </a:cubicBezTo>
                  <a:cubicBezTo>
                    <a:pt x="661" y="10167"/>
                    <a:pt x="674" y="10159"/>
                    <a:pt x="677" y="10157"/>
                  </a:cubicBezTo>
                  <a:cubicBezTo>
                    <a:pt x="691" y="10150"/>
                    <a:pt x="860" y="10058"/>
                    <a:pt x="1115" y="9920"/>
                  </a:cubicBezTo>
                  <a:cubicBezTo>
                    <a:pt x="1153" y="9899"/>
                    <a:pt x="1193" y="9878"/>
                    <a:pt x="1233" y="9856"/>
                  </a:cubicBezTo>
                  <a:cubicBezTo>
                    <a:pt x="1236" y="9858"/>
                    <a:pt x="1237" y="9859"/>
                    <a:pt x="1239" y="9861"/>
                  </a:cubicBezTo>
                  <a:cubicBezTo>
                    <a:pt x="1252" y="9872"/>
                    <a:pt x="1268" y="9886"/>
                    <a:pt x="1285" y="9900"/>
                  </a:cubicBezTo>
                  <a:close/>
                  <a:moveTo>
                    <a:pt x="806" y="10222"/>
                  </a:moveTo>
                  <a:cubicBezTo>
                    <a:pt x="807" y="10222"/>
                    <a:pt x="807" y="10222"/>
                    <a:pt x="807" y="10222"/>
                  </a:cubicBezTo>
                  <a:cubicBezTo>
                    <a:pt x="808" y="10222"/>
                    <a:pt x="808" y="10222"/>
                    <a:pt x="808" y="10222"/>
                  </a:cubicBezTo>
                  <a:cubicBezTo>
                    <a:pt x="808" y="10222"/>
                    <a:pt x="808" y="10222"/>
                    <a:pt x="808" y="10222"/>
                  </a:cubicBezTo>
                  <a:cubicBezTo>
                    <a:pt x="813" y="10221"/>
                    <a:pt x="832" y="10234"/>
                    <a:pt x="851" y="10257"/>
                  </a:cubicBezTo>
                  <a:cubicBezTo>
                    <a:pt x="871" y="10281"/>
                    <a:pt x="893" y="10313"/>
                    <a:pt x="915" y="10348"/>
                  </a:cubicBezTo>
                  <a:cubicBezTo>
                    <a:pt x="958" y="10419"/>
                    <a:pt x="999" y="10500"/>
                    <a:pt x="1017" y="10542"/>
                  </a:cubicBezTo>
                  <a:cubicBezTo>
                    <a:pt x="1053" y="10620"/>
                    <a:pt x="1226" y="10808"/>
                    <a:pt x="1269" y="10855"/>
                  </a:cubicBezTo>
                  <a:cubicBezTo>
                    <a:pt x="1259" y="10860"/>
                    <a:pt x="1249" y="10865"/>
                    <a:pt x="1239" y="10869"/>
                  </a:cubicBezTo>
                  <a:cubicBezTo>
                    <a:pt x="1162" y="10781"/>
                    <a:pt x="1060" y="10662"/>
                    <a:pt x="956" y="10542"/>
                  </a:cubicBezTo>
                  <a:cubicBezTo>
                    <a:pt x="868" y="10441"/>
                    <a:pt x="779" y="10338"/>
                    <a:pt x="705" y="10252"/>
                  </a:cubicBezTo>
                  <a:cubicBezTo>
                    <a:pt x="751" y="10234"/>
                    <a:pt x="789" y="10223"/>
                    <a:pt x="806" y="10222"/>
                  </a:cubicBezTo>
                  <a:close/>
                  <a:moveTo>
                    <a:pt x="1297" y="11041"/>
                  </a:moveTo>
                  <a:cubicBezTo>
                    <a:pt x="1287" y="11047"/>
                    <a:pt x="1271" y="11058"/>
                    <a:pt x="1253" y="11073"/>
                  </a:cubicBezTo>
                  <a:cubicBezTo>
                    <a:pt x="1231" y="11043"/>
                    <a:pt x="1199" y="11017"/>
                    <a:pt x="1155" y="11016"/>
                  </a:cubicBezTo>
                  <a:cubicBezTo>
                    <a:pt x="1154" y="11016"/>
                    <a:pt x="1153" y="11017"/>
                    <a:pt x="1153" y="11017"/>
                  </a:cubicBezTo>
                  <a:cubicBezTo>
                    <a:pt x="1150" y="11009"/>
                    <a:pt x="1148" y="10996"/>
                    <a:pt x="1148" y="10983"/>
                  </a:cubicBezTo>
                  <a:cubicBezTo>
                    <a:pt x="1148" y="10967"/>
                    <a:pt x="1151" y="10952"/>
                    <a:pt x="1161" y="10942"/>
                  </a:cubicBezTo>
                  <a:cubicBezTo>
                    <a:pt x="1165" y="10937"/>
                    <a:pt x="1177" y="10930"/>
                    <a:pt x="1193" y="10921"/>
                  </a:cubicBezTo>
                  <a:cubicBezTo>
                    <a:pt x="1239" y="10974"/>
                    <a:pt x="1276" y="11017"/>
                    <a:pt x="1297" y="11041"/>
                  </a:cubicBezTo>
                  <a:close/>
                  <a:moveTo>
                    <a:pt x="1155" y="11041"/>
                  </a:moveTo>
                  <a:cubicBezTo>
                    <a:pt x="1187" y="11041"/>
                    <a:pt x="1214" y="11062"/>
                    <a:pt x="1234" y="11088"/>
                  </a:cubicBezTo>
                  <a:cubicBezTo>
                    <a:pt x="1223" y="11096"/>
                    <a:pt x="1212" y="11105"/>
                    <a:pt x="1202" y="11115"/>
                  </a:cubicBezTo>
                  <a:cubicBezTo>
                    <a:pt x="1176" y="11138"/>
                    <a:pt x="1152" y="11164"/>
                    <a:pt x="1133" y="11187"/>
                  </a:cubicBezTo>
                  <a:cubicBezTo>
                    <a:pt x="1106" y="11219"/>
                    <a:pt x="1075" y="11262"/>
                    <a:pt x="1052" y="11305"/>
                  </a:cubicBezTo>
                  <a:cubicBezTo>
                    <a:pt x="1037" y="11333"/>
                    <a:pt x="1026" y="11360"/>
                    <a:pt x="1019" y="11381"/>
                  </a:cubicBezTo>
                  <a:cubicBezTo>
                    <a:pt x="1011" y="11357"/>
                    <a:pt x="1001" y="11333"/>
                    <a:pt x="992" y="11311"/>
                  </a:cubicBezTo>
                  <a:cubicBezTo>
                    <a:pt x="970" y="11263"/>
                    <a:pt x="950" y="11220"/>
                    <a:pt x="950" y="11206"/>
                  </a:cubicBezTo>
                  <a:cubicBezTo>
                    <a:pt x="950" y="11205"/>
                    <a:pt x="950" y="11205"/>
                    <a:pt x="950" y="11205"/>
                  </a:cubicBezTo>
                  <a:cubicBezTo>
                    <a:pt x="950" y="11161"/>
                    <a:pt x="988" y="11109"/>
                    <a:pt x="1112" y="11051"/>
                  </a:cubicBezTo>
                  <a:cubicBezTo>
                    <a:pt x="1128" y="11044"/>
                    <a:pt x="1142" y="11041"/>
                    <a:pt x="1155" y="11041"/>
                  </a:cubicBezTo>
                  <a:close/>
                  <a:moveTo>
                    <a:pt x="1007" y="11433"/>
                  </a:moveTo>
                  <a:cubicBezTo>
                    <a:pt x="1009" y="11445"/>
                    <a:pt x="1010" y="11457"/>
                    <a:pt x="1010" y="11468"/>
                  </a:cubicBezTo>
                  <a:cubicBezTo>
                    <a:pt x="1010" y="11489"/>
                    <a:pt x="1006" y="11509"/>
                    <a:pt x="996" y="11525"/>
                  </a:cubicBezTo>
                  <a:cubicBezTo>
                    <a:pt x="963" y="11579"/>
                    <a:pt x="928" y="11593"/>
                    <a:pt x="895" y="11594"/>
                  </a:cubicBezTo>
                  <a:cubicBezTo>
                    <a:pt x="877" y="11594"/>
                    <a:pt x="860" y="11589"/>
                    <a:pt x="844" y="11582"/>
                  </a:cubicBezTo>
                  <a:cubicBezTo>
                    <a:pt x="885" y="11509"/>
                    <a:pt x="905" y="11419"/>
                    <a:pt x="913" y="11373"/>
                  </a:cubicBezTo>
                  <a:cubicBezTo>
                    <a:pt x="933" y="11384"/>
                    <a:pt x="949" y="11394"/>
                    <a:pt x="962" y="11401"/>
                  </a:cubicBezTo>
                  <a:cubicBezTo>
                    <a:pt x="973" y="11408"/>
                    <a:pt x="989" y="11419"/>
                    <a:pt x="1007" y="11433"/>
                  </a:cubicBezTo>
                  <a:close/>
                  <a:moveTo>
                    <a:pt x="895" y="11618"/>
                  </a:moveTo>
                  <a:cubicBezTo>
                    <a:pt x="912" y="11618"/>
                    <a:pt x="929" y="11615"/>
                    <a:pt x="946" y="11607"/>
                  </a:cubicBezTo>
                  <a:cubicBezTo>
                    <a:pt x="1068" y="11719"/>
                    <a:pt x="1068" y="11719"/>
                    <a:pt x="1068" y="11719"/>
                  </a:cubicBezTo>
                  <a:cubicBezTo>
                    <a:pt x="1123" y="11949"/>
                    <a:pt x="1123" y="11949"/>
                    <a:pt x="1123" y="11949"/>
                  </a:cubicBezTo>
                  <a:cubicBezTo>
                    <a:pt x="859" y="12013"/>
                    <a:pt x="859" y="12013"/>
                    <a:pt x="859" y="12013"/>
                  </a:cubicBezTo>
                  <a:cubicBezTo>
                    <a:pt x="860" y="12014"/>
                    <a:pt x="860" y="12014"/>
                    <a:pt x="860" y="12014"/>
                  </a:cubicBezTo>
                  <a:cubicBezTo>
                    <a:pt x="854" y="12006"/>
                    <a:pt x="847" y="11997"/>
                    <a:pt x="840" y="11986"/>
                  </a:cubicBezTo>
                  <a:cubicBezTo>
                    <a:pt x="813" y="11949"/>
                    <a:pt x="776" y="11897"/>
                    <a:pt x="731" y="11835"/>
                  </a:cubicBezTo>
                  <a:cubicBezTo>
                    <a:pt x="711" y="11807"/>
                    <a:pt x="690" y="11776"/>
                    <a:pt x="667" y="11745"/>
                  </a:cubicBezTo>
                  <a:cubicBezTo>
                    <a:pt x="668" y="11746"/>
                    <a:pt x="668" y="11746"/>
                    <a:pt x="668" y="11746"/>
                  </a:cubicBezTo>
                  <a:cubicBezTo>
                    <a:pt x="672" y="11745"/>
                    <a:pt x="674" y="11744"/>
                    <a:pt x="678" y="11742"/>
                  </a:cubicBezTo>
                  <a:cubicBezTo>
                    <a:pt x="687" y="11738"/>
                    <a:pt x="699" y="11732"/>
                    <a:pt x="714" y="11722"/>
                  </a:cubicBezTo>
                  <a:cubicBezTo>
                    <a:pt x="742" y="11703"/>
                    <a:pt x="779" y="11672"/>
                    <a:pt x="818" y="11622"/>
                  </a:cubicBezTo>
                  <a:cubicBezTo>
                    <a:pt x="822" y="11616"/>
                    <a:pt x="827" y="11610"/>
                    <a:pt x="831" y="11603"/>
                  </a:cubicBezTo>
                  <a:cubicBezTo>
                    <a:pt x="850" y="11612"/>
                    <a:pt x="872" y="11618"/>
                    <a:pt x="895" y="11618"/>
                  </a:cubicBezTo>
                  <a:close/>
                  <a:moveTo>
                    <a:pt x="735" y="11952"/>
                  </a:moveTo>
                  <a:cubicBezTo>
                    <a:pt x="753" y="11977"/>
                    <a:pt x="768" y="11999"/>
                    <a:pt x="782" y="12018"/>
                  </a:cubicBezTo>
                  <a:cubicBezTo>
                    <a:pt x="796" y="12038"/>
                    <a:pt x="808" y="12054"/>
                    <a:pt x="816" y="12065"/>
                  </a:cubicBezTo>
                  <a:cubicBezTo>
                    <a:pt x="444" y="12211"/>
                    <a:pt x="444" y="12211"/>
                    <a:pt x="444" y="12211"/>
                  </a:cubicBezTo>
                  <a:cubicBezTo>
                    <a:pt x="399" y="12151"/>
                    <a:pt x="399" y="12151"/>
                    <a:pt x="399" y="12151"/>
                  </a:cubicBezTo>
                  <a:cubicBezTo>
                    <a:pt x="365" y="12177"/>
                    <a:pt x="365" y="12177"/>
                    <a:pt x="365" y="12177"/>
                  </a:cubicBezTo>
                  <a:cubicBezTo>
                    <a:pt x="347" y="12153"/>
                    <a:pt x="347" y="12153"/>
                    <a:pt x="347" y="12153"/>
                  </a:cubicBezTo>
                  <a:lnTo>
                    <a:pt x="735" y="11952"/>
                  </a:lnTo>
                  <a:close/>
                  <a:moveTo>
                    <a:pt x="362" y="12195"/>
                  </a:moveTo>
                  <a:cubicBezTo>
                    <a:pt x="396" y="12169"/>
                    <a:pt x="396" y="12169"/>
                    <a:pt x="396" y="12169"/>
                  </a:cubicBezTo>
                  <a:cubicBezTo>
                    <a:pt x="431" y="12216"/>
                    <a:pt x="431" y="12216"/>
                    <a:pt x="431" y="12216"/>
                  </a:cubicBezTo>
                  <a:cubicBezTo>
                    <a:pt x="332" y="12255"/>
                    <a:pt x="332" y="12255"/>
                    <a:pt x="332" y="12255"/>
                  </a:cubicBezTo>
                  <a:cubicBezTo>
                    <a:pt x="286" y="12193"/>
                    <a:pt x="286" y="12193"/>
                    <a:pt x="286" y="12193"/>
                  </a:cubicBezTo>
                  <a:cubicBezTo>
                    <a:pt x="322" y="12166"/>
                    <a:pt x="322" y="12166"/>
                    <a:pt x="322" y="12166"/>
                  </a:cubicBezTo>
                  <a:cubicBezTo>
                    <a:pt x="335" y="12159"/>
                    <a:pt x="335" y="12159"/>
                    <a:pt x="335" y="12159"/>
                  </a:cubicBezTo>
                  <a:lnTo>
                    <a:pt x="362" y="12195"/>
                  </a:lnTo>
                  <a:close/>
                  <a:moveTo>
                    <a:pt x="440" y="12228"/>
                  </a:moveTo>
                  <a:cubicBezTo>
                    <a:pt x="450" y="12242"/>
                    <a:pt x="450" y="12242"/>
                    <a:pt x="450" y="12242"/>
                  </a:cubicBezTo>
                  <a:cubicBezTo>
                    <a:pt x="416" y="12268"/>
                    <a:pt x="416" y="12268"/>
                    <a:pt x="416" y="12268"/>
                  </a:cubicBezTo>
                  <a:cubicBezTo>
                    <a:pt x="444" y="12306"/>
                    <a:pt x="444" y="12306"/>
                    <a:pt x="444" y="12306"/>
                  </a:cubicBezTo>
                  <a:cubicBezTo>
                    <a:pt x="395" y="12341"/>
                    <a:pt x="395" y="12341"/>
                    <a:pt x="395" y="12341"/>
                  </a:cubicBezTo>
                  <a:cubicBezTo>
                    <a:pt x="340" y="12267"/>
                    <a:pt x="340" y="12267"/>
                    <a:pt x="340" y="12267"/>
                  </a:cubicBezTo>
                  <a:lnTo>
                    <a:pt x="440" y="12228"/>
                  </a:lnTo>
                  <a:close/>
                  <a:moveTo>
                    <a:pt x="905" y="12194"/>
                  </a:moveTo>
                  <a:cubicBezTo>
                    <a:pt x="994" y="12322"/>
                    <a:pt x="994" y="12322"/>
                    <a:pt x="994" y="12322"/>
                  </a:cubicBezTo>
                  <a:cubicBezTo>
                    <a:pt x="947" y="12339"/>
                    <a:pt x="769" y="12403"/>
                    <a:pt x="623" y="12454"/>
                  </a:cubicBezTo>
                  <a:cubicBezTo>
                    <a:pt x="578" y="12392"/>
                    <a:pt x="578" y="12392"/>
                    <a:pt x="578" y="12392"/>
                  </a:cubicBezTo>
                  <a:cubicBezTo>
                    <a:pt x="543" y="12418"/>
                    <a:pt x="543" y="12418"/>
                    <a:pt x="543" y="12418"/>
                  </a:cubicBezTo>
                  <a:cubicBezTo>
                    <a:pt x="515" y="12380"/>
                    <a:pt x="515" y="12380"/>
                    <a:pt x="515" y="12380"/>
                  </a:cubicBezTo>
                  <a:cubicBezTo>
                    <a:pt x="451" y="12427"/>
                    <a:pt x="451" y="12427"/>
                    <a:pt x="451" y="12427"/>
                  </a:cubicBezTo>
                  <a:cubicBezTo>
                    <a:pt x="446" y="12431"/>
                    <a:pt x="446" y="12431"/>
                    <a:pt x="446" y="12431"/>
                  </a:cubicBezTo>
                  <a:cubicBezTo>
                    <a:pt x="495" y="12498"/>
                    <a:pt x="495" y="12498"/>
                    <a:pt x="495" y="12498"/>
                  </a:cubicBezTo>
                  <a:cubicBezTo>
                    <a:pt x="485" y="12501"/>
                    <a:pt x="475" y="12504"/>
                    <a:pt x="467" y="12507"/>
                  </a:cubicBezTo>
                  <a:cubicBezTo>
                    <a:pt x="442" y="12470"/>
                    <a:pt x="421" y="12439"/>
                    <a:pt x="407" y="12420"/>
                  </a:cubicBezTo>
                  <a:cubicBezTo>
                    <a:pt x="399" y="12408"/>
                    <a:pt x="388" y="12393"/>
                    <a:pt x="375" y="12376"/>
                  </a:cubicBezTo>
                  <a:lnTo>
                    <a:pt x="905" y="12194"/>
                  </a:lnTo>
                  <a:close/>
                  <a:moveTo>
                    <a:pt x="528" y="12501"/>
                  </a:moveTo>
                  <a:cubicBezTo>
                    <a:pt x="555" y="12492"/>
                    <a:pt x="586" y="12481"/>
                    <a:pt x="619" y="12470"/>
                  </a:cubicBezTo>
                  <a:cubicBezTo>
                    <a:pt x="629" y="12483"/>
                    <a:pt x="629" y="12483"/>
                    <a:pt x="629" y="12483"/>
                  </a:cubicBezTo>
                  <a:cubicBezTo>
                    <a:pt x="594" y="12509"/>
                    <a:pt x="594" y="12509"/>
                    <a:pt x="594" y="12509"/>
                  </a:cubicBezTo>
                  <a:cubicBezTo>
                    <a:pt x="622" y="12546"/>
                    <a:pt x="622" y="12546"/>
                    <a:pt x="622" y="12546"/>
                  </a:cubicBezTo>
                  <a:cubicBezTo>
                    <a:pt x="574" y="12582"/>
                    <a:pt x="574" y="12582"/>
                    <a:pt x="574" y="12582"/>
                  </a:cubicBezTo>
                  <a:cubicBezTo>
                    <a:pt x="517" y="12505"/>
                    <a:pt x="517" y="12505"/>
                    <a:pt x="517" y="12505"/>
                  </a:cubicBezTo>
                  <a:cubicBezTo>
                    <a:pt x="520" y="12504"/>
                    <a:pt x="524" y="12503"/>
                    <a:pt x="528" y="12501"/>
                  </a:cubicBezTo>
                  <a:close/>
                  <a:moveTo>
                    <a:pt x="508" y="12493"/>
                  </a:moveTo>
                  <a:cubicBezTo>
                    <a:pt x="464" y="12434"/>
                    <a:pt x="464" y="12434"/>
                    <a:pt x="464" y="12434"/>
                  </a:cubicBezTo>
                  <a:cubicBezTo>
                    <a:pt x="512" y="12398"/>
                    <a:pt x="512" y="12398"/>
                    <a:pt x="512" y="12398"/>
                  </a:cubicBezTo>
                  <a:cubicBezTo>
                    <a:pt x="540" y="12436"/>
                    <a:pt x="540" y="12436"/>
                    <a:pt x="540" y="12436"/>
                  </a:cubicBezTo>
                  <a:cubicBezTo>
                    <a:pt x="575" y="12410"/>
                    <a:pt x="575" y="12410"/>
                    <a:pt x="575" y="12410"/>
                  </a:cubicBezTo>
                  <a:cubicBezTo>
                    <a:pt x="610" y="12458"/>
                    <a:pt x="610" y="12458"/>
                    <a:pt x="610" y="12458"/>
                  </a:cubicBezTo>
                  <a:cubicBezTo>
                    <a:pt x="579" y="12469"/>
                    <a:pt x="549" y="12479"/>
                    <a:pt x="523" y="12488"/>
                  </a:cubicBezTo>
                  <a:cubicBezTo>
                    <a:pt x="518" y="12490"/>
                    <a:pt x="513" y="12492"/>
                    <a:pt x="508" y="12493"/>
                  </a:cubicBezTo>
                  <a:close/>
                  <a:moveTo>
                    <a:pt x="504" y="12509"/>
                  </a:moveTo>
                  <a:cubicBezTo>
                    <a:pt x="571" y="12600"/>
                    <a:pt x="571" y="12600"/>
                    <a:pt x="571" y="12600"/>
                  </a:cubicBezTo>
                  <a:cubicBezTo>
                    <a:pt x="640" y="12549"/>
                    <a:pt x="640" y="12549"/>
                    <a:pt x="640" y="12549"/>
                  </a:cubicBezTo>
                  <a:cubicBezTo>
                    <a:pt x="612" y="12511"/>
                    <a:pt x="612" y="12511"/>
                    <a:pt x="612" y="12511"/>
                  </a:cubicBezTo>
                  <a:cubicBezTo>
                    <a:pt x="647" y="12486"/>
                    <a:pt x="647" y="12486"/>
                    <a:pt x="647" y="12486"/>
                  </a:cubicBezTo>
                  <a:cubicBezTo>
                    <a:pt x="632" y="12465"/>
                    <a:pt x="632" y="12465"/>
                    <a:pt x="632" y="12465"/>
                  </a:cubicBezTo>
                  <a:cubicBezTo>
                    <a:pt x="663" y="12454"/>
                    <a:pt x="695" y="12443"/>
                    <a:pt x="727" y="12432"/>
                  </a:cubicBezTo>
                  <a:cubicBezTo>
                    <a:pt x="850" y="12388"/>
                    <a:pt x="970" y="12345"/>
                    <a:pt x="1003" y="12334"/>
                  </a:cubicBezTo>
                  <a:cubicBezTo>
                    <a:pt x="1089" y="12457"/>
                    <a:pt x="1089" y="12457"/>
                    <a:pt x="1089" y="12457"/>
                  </a:cubicBezTo>
                  <a:cubicBezTo>
                    <a:pt x="1011" y="12483"/>
                    <a:pt x="764" y="12565"/>
                    <a:pt x="622" y="12610"/>
                  </a:cubicBezTo>
                  <a:cubicBezTo>
                    <a:pt x="593" y="12620"/>
                    <a:pt x="567" y="12627"/>
                    <a:pt x="550" y="12633"/>
                  </a:cubicBezTo>
                  <a:cubicBezTo>
                    <a:pt x="525" y="12594"/>
                    <a:pt x="499" y="12555"/>
                    <a:pt x="475" y="12519"/>
                  </a:cubicBezTo>
                  <a:cubicBezTo>
                    <a:pt x="484" y="12516"/>
                    <a:pt x="493" y="12513"/>
                    <a:pt x="504" y="12509"/>
                  </a:cubicBezTo>
                  <a:close/>
                  <a:moveTo>
                    <a:pt x="614" y="13612"/>
                  </a:moveTo>
                  <a:cubicBezTo>
                    <a:pt x="619" y="13583"/>
                    <a:pt x="642" y="13451"/>
                    <a:pt x="659" y="13378"/>
                  </a:cubicBezTo>
                  <a:cubicBezTo>
                    <a:pt x="666" y="13348"/>
                    <a:pt x="670" y="13300"/>
                    <a:pt x="674" y="13244"/>
                  </a:cubicBezTo>
                  <a:cubicBezTo>
                    <a:pt x="1007" y="13240"/>
                    <a:pt x="1007" y="13240"/>
                    <a:pt x="1007" y="13240"/>
                  </a:cubicBezTo>
                  <a:cubicBezTo>
                    <a:pt x="1112" y="13337"/>
                    <a:pt x="1112" y="13337"/>
                    <a:pt x="1112" y="13337"/>
                  </a:cubicBezTo>
                  <a:cubicBezTo>
                    <a:pt x="1112" y="13337"/>
                    <a:pt x="1112" y="13337"/>
                    <a:pt x="1112" y="13337"/>
                  </a:cubicBezTo>
                  <a:cubicBezTo>
                    <a:pt x="1126" y="13349"/>
                    <a:pt x="1126" y="13349"/>
                    <a:pt x="1126" y="13349"/>
                  </a:cubicBezTo>
                  <a:cubicBezTo>
                    <a:pt x="1128" y="13351"/>
                    <a:pt x="1128" y="13351"/>
                    <a:pt x="1128" y="13351"/>
                  </a:cubicBezTo>
                  <a:cubicBezTo>
                    <a:pt x="840" y="13837"/>
                    <a:pt x="840" y="13837"/>
                    <a:pt x="840" y="13837"/>
                  </a:cubicBezTo>
                  <a:cubicBezTo>
                    <a:pt x="839" y="13837"/>
                    <a:pt x="839" y="13837"/>
                    <a:pt x="839" y="13837"/>
                  </a:cubicBezTo>
                  <a:cubicBezTo>
                    <a:pt x="838" y="13837"/>
                    <a:pt x="838" y="13837"/>
                    <a:pt x="838" y="13837"/>
                  </a:cubicBezTo>
                  <a:cubicBezTo>
                    <a:pt x="836" y="13836"/>
                    <a:pt x="835" y="13835"/>
                    <a:pt x="833" y="13834"/>
                  </a:cubicBezTo>
                  <a:cubicBezTo>
                    <a:pt x="819" y="13825"/>
                    <a:pt x="800" y="13814"/>
                    <a:pt x="780" y="13801"/>
                  </a:cubicBezTo>
                  <a:cubicBezTo>
                    <a:pt x="741" y="13777"/>
                    <a:pt x="665" y="13724"/>
                    <a:pt x="652" y="13714"/>
                  </a:cubicBezTo>
                  <a:cubicBezTo>
                    <a:pt x="652" y="13713"/>
                    <a:pt x="651" y="13713"/>
                    <a:pt x="651" y="13713"/>
                  </a:cubicBezTo>
                  <a:cubicBezTo>
                    <a:pt x="631" y="13688"/>
                    <a:pt x="613" y="13636"/>
                    <a:pt x="614" y="13616"/>
                  </a:cubicBezTo>
                  <a:cubicBezTo>
                    <a:pt x="614" y="13614"/>
                    <a:pt x="614" y="13613"/>
                    <a:pt x="614" y="13612"/>
                  </a:cubicBezTo>
                  <a:close/>
                  <a:moveTo>
                    <a:pt x="1140" y="13362"/>
                  </a:moveTo>
                  <a:cubicBezTo>
                    <a:pt x="1144" y="13365"/>
                    <a:pt x="1144" y="13365"/>
                    <a:pt x="1144" y="13365"/>
                  </a:cubicBezTo>
                  <a:cubicBezTo>
                    <a:pt x="1144" y="13365"/>
                    <a:pt x="1144" y="13365"/>
                    <a:pt x="1144" y="13365"/>
                  </a:cubicBezTo>
                  <a:cubicBezTo>
                    <a:pt x="1420" y="13605"/>
                    <a:pt x="1420" y="13605"/>
                    <a:pt x="1420" y="13605"/>
                  </a:cubicBezTo>
                  <a:cubicBezTo>
                    <a:pt x="1240" y="13853"/>
                    <a:pt x="1240" y="13853"/>
                    <a:pt x="1240" y="13853"/>
                  </a:cubicBezTo>
                  <a:cubicBezTo>
                    <a:pt x="1240" y="13853"/>
                    <a:pt x="1151" y="13967"/>
                    <a:pt x="1125" y="14001"/>
                  </a:cubicBezTo>
                  <a:cubicBezTo>
                    <a:pt x="1122" y="14005"/>
                    <a:pt x="1121" y="14007"/>
                    <a:pt x="1119" y="14010"/>
                  </a:cubicBezTo>
                  <a:cubicBezTo>
                    <a:pt x="1119" y="14010"/>
                    <a:pt x="1118" y="14011"/>
                    <a:pt x="1118" y="14011"/>
                  </a:cubicBezTo>
                  <a:cubicBezTo>
                    <a:pt x="854" y="13846"/>
                    <a:pt x="854" y="13846"/>
                    <a:pt x="854" y="13846"/>
                  </a:cubicBezTo>
                  <a:lnTo>
                    <a:pt x="1140" y="13362"/>
                  </a:lnTo>
                  <a:close/>
                  <a:moveTo>
                    <a:pt x="1167" y="14060"/>
                  </a:moveTo>
                  <a:cubicBezTo>
                    <a:pt x="1170" y="14056"/>
                    <a:pt x="1170" y="14056"/>
                    <a:pt x="1174" y="14052"/>
                  </a:cubicBezTo>
                  <a:cubicBezTo>
                    <a:pt x="1174" y="14051"/>
                    <a:pt x="1175" y="14051"/>
                    <a:pt x="1176" y="14049"/>
                  </a:cubicBezTo>
                  <a:cubicBezTo>
                    <a:pt x="1177" y="14048"/>
                    <a:pt x="1178" y="14046"/>
                    <a:pt x="1179" y="14044"/>
                  </a:cubicBezTo>
                  <a:cubicBezTo>
                    <a:pt x="1183" y="14040"/>
                    <a:pt x="1187" y="14033"/>
                    <a:pt x="1193" y="14026"/>
                  </a:cubicBezTo>
                  <a:cubicBezTo>
                    <a:pt x="1204" y="14011"/>
                    <a:pt x="1219" y="13992"/>
                    <a:pt x="1234" y="13972"/>
                  </a:cubicBezTo>
                  <a:cubicBezTo>
                    <a:pt x="1264" y="13933"/>
                    <a:pt x="1294" y="13895"/>
                    <a:pt x="1295" y="13894"/>
                  </a:cubicBezTo>
                  <a:cubicBezTo>
                    <a:pt x="1298" y="13890"/>
                    <a:pt x="1298" y="13890"/>
                    <a:pt x="1298" y="13890"/>
                  </a:cubicBezTo>
                  <a:cubicBezTo>
                    <a:pt x="1403" y="13990"/>
                    <a:pt x="1403" y="13990"/>
                    <a:pt x="1403" y="13990"/>
                  </a:cubicBezTo>
                  <a:cubicBezTo>
                    <a:pt x="1221" y="14372"/>
                    <a:pt x="1221" y="14372"/>
                    <a:pt x="1221" y="14372"/>
                  </a:cubicBezTo>
                  <a:cubicBezTo>
                    <a:pt x="988" y="14245"/>
                    <a:pt x="988" y="14245"/>
                    <a:pt x="988" y="14245"/>
                  </a:cubicBezTo>
                  <a:cubicBezTo>
                    <a:pt x="988" y="14245"/>
                    <a:pt x="988" y="14245"/>
                    <a:pt x="988" y="14245"/>
                  </a:cubicBezTo>
                  <a:cubicBezTo>
                    <a:pt x="1065" y="14166"/>
                    <a:pt x="1146" y="14082"/>
                    <a:pt x="1167" y="14060"/>
                  </a:cubicBezTo>
                  <a:close/>
                  <a:moveTo>
                    <a:pt x="1214" y="14387"/>
                  </a:moveTo>
                  <a:cubicBezTo>
                    <a:pt x="1044" y="14744"/>
                    <a:pt x="1044" y="14744"/>
                    <a:pt x="1044" y="14744"/>
                  </a:cubicBezTo>
                  <a:cubicBezTo>
                    <a:pt x="741" y="14514"/>
                    <a:pt x="741" y="14514"/>
                    <a:pt x="741" y="14514"/>
                  </a:cubicBezTo>
                  <a:cubicBezTo>
                    <a:pt x="743" y="14510"/>
                    <a:pt x="747" y="14505"/>
                    <a:pt x="752" y="14499"/>
                  </a:cubicBezTo>
                  <a:cubicBezTo>
                    <a:pt x="761" y="14486"/>
                    <a:pt x="773" y="14472"/>
                    <a:pt x="785" y="14458"/>
                  </a:cubicBezTo>
                  <a:cubicBezTo>
                    <a:pt x="807" y="14432"/>
                    <a:pt x="831" y="14406"/>
                    <a:pt x="836" y="14401"/>
                  </a:cubicBezTo>
                  <a:cubicBezTo>
                    <a:pt x="837" y="14400"/>
                    <a:pt x="836" y="14401"/>
                    <a:pt x="837" y="14400"/>
                  </a:cubicBezTo>
                  <a:cubicBezTo>
                    <a:pt x="838" y="14400"/>
                    <a:pt x="838" y="14399"/>
                    <a:pt x="838" y="14399"/>
                  </a:cubicBezTo>
                  <a:cubicBezTo>
                    <a:pt x="839" y="14398"/>
                    <a:pt x="840" y="14397"/>
                    <a:pt x="841" y="14396"/>
                  </a:cubicBezTo>
                  <a:cubicBezTo>
                    <a:pt x="843" y="14394"/>
                    <a:pt x="847" y="14391"/>
                    <a:pt x="851" y="14386"/>
                  </a:cubicBezTo>
                  <a:cubicBezTo>
                    <a:pt x="859" y="14378"/>
                    <a:pt x="871" y="14366"/>
                    <a:pt x="884" y="14352"/>
                  </a:cubicBezTo>
                  <a:cubicBezTo>
                    <a:pt x="909" y="14326"/>
                    <a:pt x="942" y="14293"/>
                    <a:pt x="976" y="14258"/>
                  </a:cubicBezTo>
                  <a:lnTo>
                    <a:pt x="1214" y="14387"/>
                  </a:lnTo>
                  <a:close/>
                  <a:moveTo>
                    <a:pt x="1028" y="14817"/>
                  </a:moveTo>
                  <a:cubicBezTo>
                    <a:pt x="927" y="14941"/>
                    <a:pt x="927" y="14941"/>
                    <a:pt x="927" y="14941"/>
                  </a:cubicBezTo>
                  <a:cubicBezTo>
                    <a:pt x="974" y="15066"/>
                    <a:pt x="974" y="15066"/>
                    <a:pt x="974" y="15066"/>
                  </a:cubicBezTo>
                  <a:cubicBezTo>
                    <a:pt x="894" y="15367"/>
                    <a:pt x="894" y="15367"/>
                    <a:pt x="894" y="15367"/>
                  </a:cubicBezTo>
                  <a:cubicBezTo>
                    <a:pt x="711" y="15294"/>
                    <a:pt x="711" y="15294"/>
                    <a:pt x="711" y="15294"/>
                  </a:cubicBezTo>
                  <a:cubicBezTo>
                    <a:pt x="778" y="15027"/>
                    <a:pt x="778" y="15027"/>
                    <a:pt x="778" y="15027"/>
                  </a:cubicBezTo>
                  <a:cubicBezTo>
                    <a:pt x="611" y="14914"/>
                    <a:pt x="611" y="14914"/>
                    <a:pt x="611" y="14914"/>
                  </a:cubicBezTo>
                  <a:cubicBezTo>
                    <a:pt x="648" y="14840"/>
                    <a:pt x="678" y="14747"/>
                    <a:pt x="692" y="14705"/>
                  </a:cubicBezTo>
                  <a:cubicBezTo>
                    <a:pt x="706" y="14663"/>
                    <a:pt x="719" y="14616"/>
                    <a:pt x="726" y="14589"/>
                  </a:cubicBezTo>
                  <a:lnTo>
                    <a:pt x="1028" y="14817"/>
                  </a:lnTo>
                  <a:close/>
                  <a:moveTo>
                    <a:pt x="526" y="14924"/>
                  </a:moveTo>
                  <a:cubicBezTo>
                    <a:pt x="513" y="14943"/>
                    <a:pt x="463" y="15010"/>
                    <a:pt x="400" y="15094"/>
                  </a:cubicBezTo>
                  <a:cubicBezTo>
                    <a:pt x="419" y="15032"/>
                    <a:pt x="444" y="14976"/>
                    <a:pt x="462" y="14954"/>
                  </a:cubicBezTo>
                  <a:cubicBezTo>
                    <a:pt x="492" y="14916"/>
                    <a:pt x="514" y="14845"/>
                    <a:pt x="533" y="14772"/>
                  </a:cubicBezTo>
                  <a:cubicBezTo>
                    <a:pt x="542" y="14733"/>
                    <a:pt x="550" y="14694"/>
                    <a:pt x="556" y="14660"/>
                  </a:cubicBezTo>
                  <a:cubicBezTo>
                    <a:pt x="571" y="14671"/>
                    <a:pt x="585" y="14683"/>
                    <a:pt x="599" y="14693"/>
                  </a:cubicBezTo>
                  <a:cubicBezTo>
                    <a:pt x="606" y="14699"/>
                    <a:pt x="613" y="14704"/>
                    <a:pt x="618" y="14709"/>
                  </a:cubicBezTo>
                  <a:cubicBezTo>
                    <a:pt x="598" y="14770"/>
                    <a:pt x="561" y="14875"/>
                    <a:pt x="526" y="14924"/>
                  </a:cubicBezTo>
                  <a:close/>
                  <a:moveTo>
                    <a:pt x="1397" y="15718"/>
                  </a:moveTo>
                  <a:cubicBezTo>
                    <a:pt x="1208" y="15551"/>
                    <a:pt x="1208" y="15551"/>
                    <a:pt x="1208" y="15551"/>
                  </a:cubicBezTo>
                  <a:cubicBezTo>
                    <a:pt x="1515" y="15180"/>
                    <a:pt x="1515" y="15180"/>
                    <a:pt x="1515" y="15180"/>
                  </a:cubicBezTo>
                  <a:cubicBezTo>
                    <a:pt x="1690" y="15311"/>
                    <a:pt x="1876" y="15450"/>
                    <a:pt x="2001" y="15543"/>
                  </a:cubicBezTo>
                  <a:cubicBezTo>
                    <a:pt x="2001" y="15543"/>
                    <a:pt x="1999" y="15544"/>
                    <a:pt x="1999" y="15544"/>
                  </a:cubicBezTo>
                  <a:cubicBezTo>
                    <a:pt x="1997" y="15544"/>
                    <a:pt x="1997" y="15544"/>
                    <a:pt x="1997" y="15544"/>
                  </a:cubicBezTo>
                  <a:cubicBezTo>
                    <a:pt x="1884" y="15737"/>
                    <a:pt x="1884" y="15737"/>
                    <a:pt x="1884" y="15737"/>
                  </a:cubicBezTo>
                  <a:cubicBezTo>
                    <a:pt x="1788" y="15680"/>
                    <a:pt x="1788" y="15680"/>
                    <a:pt x="1788" y="15680"/>
                  </a:cubicBezTo>
                  <a:cubicBezTo>
                    <a:pt x="1559" y="16019"/>
                    <a:pt x="1559" y="16019"/>
                    <a:pt x="1559" y="16019"/>
                  </a:cubicBezTo>
                  <a:cubicBezTo>
                    <a:pt x="1504" y="15966"/>
                    <a:pt x="1393" y="15870"/>
                    <a:pt x="1322" y="15808"/>
                  </a:cubicBezTo>
                  <a:lnTo>
                    <a:pt x="1397" y="15718"/>
                  </a:lnTo>
                  <a:close/>
                  <a:moveTo>
                    <a:pt x="1922" y="16142"/>
                  </a:moveTo>
                  <a:cubicBezTo>
                    <a:pt x="1929" y="16146"/>
                    <a:pt x="1940" y="16151"/>
                    <a:pt x="1952" y="16156"/>
                  </a:cubicBezTo>
                  <a:cubicBezTo>
                    <a:pt x="1978" y="16168"/>
                    <a:pt x="2011" y="16183"/>
                    <a:pt x="2045" y="16198"/>
                  </a:cubicBezTo>
                  <a:cubicBezTo>
                    <a:pt x="2068" y="16208"/>
                    <a:pt x="2092" y="16219"/>
                    <a:pt x="2113" y="16228"/>
                  </a:cubicBezTo>
                  <a:cubicBezTo>
                    <a:pt x="1965" y="16402"/>
                    <a:pt x="1965" y="16402"/>
                    <a:pt x="1965" y="16402"/>
                  </a:cubicBezTo>
                  <a:cubicBezTo>
                    <a:pt x="1941" y="16380"/>
                    <a:pt x="1874" y="16317"/>
                    <a:pt x="1800" y="16247"/>
                  </a:cubicBezTo>
                  <a:cubicBezTo>
                    <a:pt x="1799" y="16246"/>
                    <a:pt x="1799" y="16246"/>
                    <a:pt x="1798" y="16246"/>
                  </a:cubicBezTo>
                  <a:cubicBezTo>
                    <a:pt x="1914" y="16139"/>
                    <a:pt x="1914" y="16139"/>
                    <a:pt x="1914" y="16139"/>
                  </a:cubicBezTo>
                  <a:cubicBezTo>
                    <a:pt x="1916" y="16140"/>
                    <a:pt x="1919" y="16141"/>
                    <a:pt x="1922" y="16142"/>
                  </a:cubicBezTo>
                  <a:close/>
                  <a:moveTo>
                    <a:pt x="1916" y="16137"/>
                  </a:moveTo>
                  <a:cubicBezTo>
                    <a:pt x="1916" y="16137"/>
                    <a:pt x="1916" y="16137"/>
                    <a:pt x="1916" y="16137"/>
                  </a:cubicBezTo>
                  <a:cubicBezTo>
                    <a:pt x="1916" y="16137"/>
                    <a:pt x="1916" y="16137"/>
                    <a:pt x="1916" y="16137"/>
                  </a:cubicBezTo>
                  <a:cubicBezTo>
                    <a:pt x="1916" y="16137"/>
                    <a:pt x="1916" y="16137"/>
                    <a:pt x="1916" y="16137"/>
                  </a:cubicBezTo>
                  <a:close/>
                  <a:moveTo>
                    <a:pt x="2015" y="16042"/>
                  </a:moveTo>
                  <a:cubicBezTo>
                    <a:pt x="2187" y="16100"/>
                    <a:pt x="2187" y="16100"/>
                    <a:pt x="2187" y="16100"/>
                  </a:cubicBezTo>
                  <a:cubicBezTo>
                    <a:pt x="2575" y="16120"/>
                    <a:pt x="2575" y="16120"/>
                    <a:pt x="2575" y="16120"/>
                  </a:cubicBezTo>
                  <a:cubicBezTo>
                    <a:pt x="2574" y="16173"/>
                    <a:pt x="2574" y="16237"/>
                    <a:pt x="2573" y="16308"/>
                  </a:cubicBezTo>
                  <a:cubicBezTo>
                    <a:pt x="2184" y="16245"/>
                    <a:pt x="2184" y="16245"/>
                    <a:pt x="2184" y="16245"/>
                  </a:cubicBezTo>
                  <a:cubicBezTo>
                    <a:pt x="2177" y="16241"/>
                    <a:pt x="2117" y="16215"/>
                    <a:pt x="2055" y="16187"/>
                  </a:cubicBezTo>
                  <a:cubicBezTo>
                    <a:pt x="2001" y="16163"/>
                    <a:pt x="1945" y="16138"/>
                    <a:pt x="1925" y="16128"/>
                  </a:cubicBezTo>
                  <a:cubicBezTo>
                    <a:pt x="2015" y="16045"/>
                    <a:pt x="2015" y="16045"/>
                    <a:pt x="2015" y="16045"/>
                  </a:cubicBezTo>
                  <a:lnTo>
                    <a:pt x="2015" y="16042"/>
                  </a:lnTo>
                  <a:close/>
                  <a:moveTo>
                    <a:pt x="2572" y="16676"/>
                  </a:moveTo>
                  <a:cubicBezTo>
                    <a:pt x="2545" y="16675"/>
                    <a:pt x="2505" y="16674"/>
                    <a:pt x="2461" y="16671"/>
                  </a:cubicBezTo>
                  <a:cubicBezTo>
                    <a:pt x="2429" y="16669"/>
                    <a:pt x="2394" y="16666"/>
                    <a:pt x="2362" y="16662"/>
                  </a:cubicBezTo>
                  <a:cubicBezTo>
                    <a:pt x="2227" y="16457"/>
                    <a:pt x="2227" y="16457"/>
                    <a:pt x="2227" y="16457"/>
                  </a:cubicBezTo>
                  <a:cubicBezTo>
                    <a:pt x="2293" y="16277"/>
                    <a:pt x="2293" y="16277"/>
                    <a:pt x="2293" y="16277"/>
                  </a:cubicBezTo>
                  <a:cubicBezTo>
                    <a:pt x="2573" y="16322"/>
                    <a:pt x="2573" y="16322"/>
                    <a:pt x="2573" y="16322"/>
                  </a:cubicBezTo>
                  <a:cubicBezTo>
                    <a:pt x="2573" y="16415"/>
                    <a:pt x="2572" y="16519"/>
                    <a:pt x="2572" y="16629"/>
                  </a:cubicBezTo>
                  <a:cubicBezTo>
                    <a:pt x="2572" y="16644"/>
                    <a:pt x="2572" y="16660"/>
                    <a:pt x="2572" y="16676"/>
                  </a:cubicBezTo>
                  <a:close/>
                  <a:moveTo>
                    <a:pt x="2343" y="16660"/>
                  </a:moveTo>
                  <a:cubicBezTo>
                    <a:pt x="2306" y="16654"/>
                    <a:pt x="2275" y="16647"/>
                    <a:pt x="2257" y="16639"/>
                  </a:cubicBezTo>
                  <a:cubicBezTo>
                    <a:pt x="2219" y="16622"/>
                    <a:pt x="2158" y="16575"/>
                    <a:pt x="2103" y="16527"/>
                  </a:cubicBezTo>
                  <a:cubicBezTo>
                    <a:pt x="2049" y="16480"/>
                    <a:pt x="2001" y="16434"/>
                    <a:pt x="1975" y="16411"/>
                  </a:cubicBezTo>
                  <a:cubicBezTo>
                    <a:pt x="2126" y="16234"/>
                    <a:pt x="2126" y="16234"/>
                    <a:pt x="2126" y="16234"/>
                  </a:cubicBezTo>
                  <a:cubicBezTo>
                    <a:pt x="2157" y="16248"/>
                    <a:pt x="2179" y="16258"/>
                    <a:pt x="2179" y="16258"/>
                  </a:cubicBezTo>
                  <a:cubicBezTo>
                    <a:pt x="2180" y="16258"/>
                    <a:pt x="2180" y="16258"/>
                    <a:pt x="2180" y="16258"/>
                  </a:cubicBezTo>
                  <a:cubicBezTo>
                    <a:pt x="2279" y="16274"/>
                    <a:pt x="2279" y="16274"/>
                    <a:pt x="2279" y="16274"/>
                  </a:cubicBezTo>
                  <a:cubicBezTo>
                    <a:pt x="2211" y="16459"/>
                    <a:pt x="2211" y="16459"/>
                    <a:pt x="2211" y="16459"/>
                  </a:cubicBezTo>
                  <a:lnTo>
                    <a:pt x="2343" y="16660"/>
                  </a:lnTo>
                  <a:close/>
                  <a:moveTo>
                    <a:pt x="1929" y="16459"/>
                  </a:moveTo>
                  <a:cubicBezTo>
                    <a:pt x="1930" y="16459"/>
                    <a:pt x="1930" y="16459"/>
                    <a:pt x="1930" y="16459"/>
                  </a:cubicBezTo>
                  <a:cubicBezTo>
                    <a:pt x="1930" y="16460"/>
                    <a:pt x="1930" y="16460"/>
                    <a:pt x="1930" y="16460"/>
                  </a:cubicBezTo>
                  <a:cubicBezTo>
                    <a:pt x="1953" y="16478"/>
                    <a:pt x="2004" y="16527"/>
                    <a:pt x="2060" y="16576"/>
                  </a:cubicBezTo>
                  <a:cubicBezTo>
                    <a:pt x="2063" y="16579"/>
                    <a:pt x="2067" y="16582"/>
                    <a:pt x="2070" y="16585"/>
                  </a:cubicBezTo>
                  <a:cubicBezTo>
                    <a:pt x="2067" y="16596"/>
                    <a:pt x="2062" y="16612"/>
                    <a:pt x="2056" y="16630"/>
                  </a:cubicBezTo>
                  <a:cubicBezTo>
                    <a:pt x="2046" y="16662"/>
                    <a:pt x="2034" y="16702"/>
                    <a:pt x="2021" y="16744"/>
                  </a:cubicBezTo>
                  <a:cubicBezTo>
                    <a:pt x="1752" y="16519"/>
                    <a:pt x="1752" y="16519"/>
                    <a:pt x="1752" y="16519"/>
                  </a:cubicBezTo>
                  <a:cubicBezTo>
                    <a:pt x="1821" y="16432"/>
                    <a:pt x="1821" y="16432"/>
                    <a:pt x="1821" y="16432"/>
                  </a:cubicBezTo>
                  <a:cubicBezTo>
                    <a:pt x="1826" y="16426"/>
                    <a:pt x="1826" y="16426"/>
                    <a:pt x="1826" y="16426"/>
                  </a:cubicBezTo>
                  <a:cubicBezTo>
                    <a:pt x="1721" y="16344"/>
                    <a:pt x="1721" y="16344"/>
                    <a:pt x="1721" y="16344"/>
                  </a:cubicBezTo>
                  <a:cubicBezTo>
                    <a:pt x="1650" y="16433"/>
                    <a:pt x="1650" y="16433"/>
                    <a:pt x="1650" y="16433"/>
                  </a:cubicBezTo>
                  <a:cubicBezTo>
                    <a:pt x="1623" y="16411"/>
                    <a:pt x="1623" y="16411"/>
                    <a:pt x="1623" y="16411"/>
                  </a:cubicBezTo>
                  <a:cubicBezTo>
                    <a:pt x="1734" y="16275"/>
                    <a:pt x="1734" y="16275"/>
                    <a:pt x="1734" y="16275"/>
                  </a:cubicBezTo>
                  <a:cubicBezTo>
                    <a:pt x="1834" y="16369"/>
                    <a:pt x="1929" y="16458"/>
                    <a:pt x="1929" y="16459"/>
                  </a:cubicBezTo>
                  <a:close/>
                  <a:moveTo>
                    <a:pt x="1363" y="16730"/>
                  </a:moveTo>
                  <a:cubicBezTo>
                    <a:pt x="1365" y="16727"/>
                    <a:pt x="1365" y="16727"/>
                    <a:pt x="1365" y="16727"/>
                  </a:cubicBezTo>
                  <a:cubicBezTo>
                    <a:pt x="1476" y="16591"/>
                    <a:pt x="1476" y="16591"/>
                    <a:pt x="1476" y="16591"/>
                  </a:cubicBezTo>
                  <a:cubicBezTo>
                    <a:pt x="1477" y="16592"/>
                    <a:pt x="1477" y="16593"/>
                    <a:pt x="1478" y="16593"/>
                  </a:cubicBezTo>
                  <a:cubicBezTo>
                    <a:pt x="1485" y="16600"/>
                    <a:pt x="1494" y="16607"/>
                    <a:pt x="1504" y="16616"/>
                  </a:cubicBezTo>
                  <a:cubicBezTo>
                    <a:pt x="1437" y="16699"/>
                    <a:pt x="1437" y="16699"/>
                    <a:pt x="1437" y="16699"/>
                  </a:cubicBezTo>
                  <a:cubicBezTo>
                    <a:pt x="1542" y="16783"/>
                    <a:pt x="1542" y="16783"/>
                    <a:pt x="1542" y="16783"/>
                  </a:cubicBezTo>
                  <a:cubicBezTo>
                    <a:pt x="1605" y="16704"/>
                    <a:pt x="1605" y="16704"/>
                    <a:pt x="1605" y="16704"/>
                  </a:cubicBezTo>
                  <a:cubicBezTo>
                    <a:pt x="1635" y="16729"/>
                    <a:pt x="1667" y="16757"/>
                    <a:pt x="1700" y="16784"/>
                  </a:cubicBezTo>
                  <a:cubicBezTo>
                    <a:pt x="1805" y="16875"/>
                    <a:pt x="1911" y="16964"/>
                    <a:pt x="1936" y="16986"/>
                  </a:cubicBezTo>
                  <a:cubicBezTo>
                    <a:pt x="1828" y="17096"/>
                    <a:pt x="1828" y="17096"/>
                    <a:pt x="1828" y="17096"/>
                  </a:cubicBezTo>
                  <a:cubicBezTo>
                    <a:pt x="1795" y="17063"/>
                    <a:pt x="1754" y="17038"/>
                    <a:pt x="1712" y="17011"/>
                  </a:cubicBezTo>
                  <a:cubicBezTo>
                    <a:pt x="1646" y="16969"/>
                    <a:pt x="1473" y="16886"/>
                    <a:pt x="1383" y="16814"/>
                  </a:cubicBezTo>
                  <a:cubicBezTo>
                    <a:pt x="1351" y="16788"/>
                    <a:pt x="1347" y="16772"/>
                    <a:pt x="1347" y="16762"/>
                  </a:cubicBezTo>
                  <a:cubicBezTo>
                    <a:pt x="1346" y="16748"/>
                    <a:pt x="1360" y="16732"/>
                    <a:pt x="1363" y="16730"/>
                  </a:cubicBezTo>
                  <a:close/>
                  <a:moveTo>
                    <a:pt x="1734" y="16521"/>
                  </a:moveTo>
                  <a:cubicBezTo>
                    <a:pt x="1604" y="16684"/>
                    <a:pt x="1604" y="16684"/>
                    <a:pt x="1604" y="16684"/>
                  </a:cubicBezTo>
                  <a:cubicBezTo>
                    <a:pt x="1573" y="16658"/>
                    <a:pt x="1545" y="16633"/>
                    <a:pt x="1523" y="16614"/>
                  </a:cubicBezTo>
                  <a:cubicBezTo>
                    <a:pt x="1651" y="16452"/>
                    <a:pt x="1651" y="16452"/>
                    <a:pt x="1651" y="16452"/>
                  </a:cubicBezTo>
                  <a:lnTo>
                    <a:pt x="1734" y="16521"/>
                  </a:lnTo>
                  <a:close/>
                  <a:moveTo>
                    <a:pt x="1660" y="16441"/>
                  </a:moveTo>
                  <a:cubicBezTo>
                    <a:pt x="1723" y="16362"/>
                    <a:pt x="1723" y="16362"/>
                    <a:pt x="1723" y="16362"/>
                  </a:cubicBezTo>
                  <a:cubicBezTo>
                    <a:pt x="1807" y="16429"/>
                    <a:pt x="1807" y="16429"/>
                    <a:pt x="1807" y="16429"/>
                  </a:cubicBezTo>
                  <a:cubicBezTo>
                    <a:pt x="1742" y="16510"/>
                    <a:pt x="1742" y="16510"/>
                    <a:pt x="1742" y="16510"/>
                  </a:cubicBezTo>
                  <a:lnTo>
                    <a:pt x="1660" y="16441"/>
                  </a:lnTo>
                  <a:close/>
                  <a:moveTo>
                    <a:pt x="1595" y="16695"/>
                  </a:moveTo>
                  <a:cubicBezTo>
                    <a:pt x="1540" y="16765"/>
                    <a:pt x="1540" y="16765"/>
                    <a:pt x="1540" y="16765"/>
                  </a:cubicBezTo>
                  <a:cubicBezTo>
                    <a:pt x="1456" y="16697"/>
                    <a:pt x="1456" y="16697"/>
                    <a:pt x="1456" y="16697"/>
                  </a:cubicBezTo>
                  <a:cubicBezTo>
                    <a:pt x="1514" y="16625"/>
                    <a:pt x="1514" y="16625"/>
                    <a:pt x="1514" y="16625"/>
                  </a:cubicBezTo>
                  <a:cubicBezTo>
                    <a:pt x="1520" y="16630"/>
                    <a:pt x="1526" y="16635"/>
                    <a:pt x="1533" y="16642"/>
                  </a:cubicBezTo>
                  <a:cubicBezTo>
                    <a:pt x="1552" y="16658"/>
                    <a:pt x="1573" y="16676"/>
                    <a:pt x="1595" y="16695"/>
                  </a:cubicBezTo>
                  <a:close/>
                  <a:moveTo>
                    <a:pt x="1513" y="16605"/>
                  </a:moveTo>
                  <a:cubicBezTo>
                    <a:pt x="1502" y="16595"/>
                    <a:pt x="1492" y="16587"/>
                    <a:pt x="1485" y="16581"/>
                  </a:cubicBezTo>
                  <a:cubicBezTo>
                    <a:pt x="1614" y="16421"/>
                    <a:pt x="1614" y="16421"/>
                    <a:pt x="1614" y="16421"/>
                  </a:cubicBezTo>
                  <a:cubicBezTo>
                    <a:pt x="1641" y="16444"/>
                    <a:pt x="1641" y="16444"/>
                    <a:pt x="1641" y="16444"/>
                  </a:cubicBezTo>
                  <a:lnTo>
                    <a:pt x="1513" y="16605"/>
                  </a:lnTo>
                  <a:close/>
                  <a:moveTo>
                    <a:pt x="1714" y="16779"/>
                  </a:moveTo>
                  <a:cubicBezTo>
                    <a:pt x="1680" y="16750"/>
                    <a:pt x="1646" y="16720"/>
                    <a:pt x="1614" y="16693"/>
                  </a:cubicBezTo>
                  <a:cubicBezTo>
                    <a:pt x="1744" y="16530"/>
                    <a:pt x="1744" y="16530"/>
                    <a:pt x="1744" y="16530"/>
                  </a:cubicBezTo>
                  <a:cubicBezTo>
                    <a:pt x="2017" y="16758"/>
                    <a:pt x="2017" y="16758"/>
                    <a:pt x="2017" y="16758"/>
                  </a:cubicBezTo>
                  <a:cubicBezTo>
                    <a:pt x="2017" y="16758"/>
                    <a:pt x="2017" y="16758"/>
                    <a:pt x="2017" y="16758"/>
                  </a:cubicBezTo>
                  <a:cubicBezTo>
                    <a:pt x="2016" y="16761"/>
                    <a:pt x="2015" y="16765"/>
                    <a:pt x="2014" y="16768"/>
                  </a:cubicBezTo>
                  <a:cubicBezTo>
                    <a:pt x="1986" y="16859"/>
                    <a:pt x="1958" y="16953"/>
                    <a:pt x="1948" y="16978"/>
                  </a:cubicBezTo>
                  <a:cubicBezTo>
                    <a:pt x="1931" y="16963"/>
                    <a:pt x="1823" y="16872"/>
                    <a:pt x="1714" y="16779"/>
                  </a:cubicBezTo>
                  <a:close/>
                  <a:moveTo>
                    <a:pt x="1285" y="16737"/>
                  </a:moveTo>
                  <a:cubicBezTo>
                    <a:pt x="1283" y="16745"/>
                    <a:pt x="1281" y="16753"/>
                    <a:pt x="1281" y="16762"/>
                  </a:cubicBezTo>
                  <a:cubicBezTo>
                    <a:pt x="1281" y="16782"/>
                    <a:pt x="1289" y="16803"/>
                    <a:pt x="1303" y="16824"/>
                  </a:cubicBezTo>
                  <a:cubicBezTo>
                    <a:pt x="1302" y="16825"/>
                    <a:pt x="1301" y="16826"/>
                    <a:pt x="1299" y="16827"/>
                  </a:cubicBezTo>
                  <a:cubicBezTo>
                    <a:pt x="1292" y="16833"/>
                    <a:pt x="1281" y="16841"/>
                    <a:pt x="1268" y="16850"/>
                  </a:cubicBezTo>
                  <a:cubicBezTo>
                    <a:pt x="1242" y="16869"/>
                    <a:pt x="1207" y="16893"/>
                    <a:pt x="1173" y="16918"/>
                  </a:cubicBezTo>
                  <a:cubicBezTo>
                    <a:pt x="1113" y="16960"/>
                    <a:pt x="1054" y="17001"/>
                    <a:pt x="1038" y="17011"/>
                  </a:cubicBezTo>
                  <a:cubicBezTo>
                    <a:pt x="906" y="16906"/>
                    <a:pt x="906" y="16906"/>
                    <a:pt x="906" y="16906"/>
                  </a:cubicBezTo>
                  <a:cubicBezTo>
                    <a:pt x="911" y="16893"/>
                    <a:pt x="925" y="16854"/>
                    <a:pt x="939" y="16812"/>
                  </a:cubicBezTo>
                  <a:cubicBezTo>
                    <a:pt x="953" y="16768"/>
                    <a:pt x="968" y="16724"/>
                    <a:pt x="972" y="16706"/>
                  </a:cubicBezTo>
                  <a:lnTo>
                    <a:pt x="1285" y="16737"/>
                  </a:lnTo>
                  <a:close/>
                  <a:moveTo>
                    <a:pt x="1270" y="16866"/>
                  </a:moveTo>
                  <a:cubicBezTo>
                    <a:pt x="1207" y="16974"/>
                    <a:pt x="1207" y="16974"/>
                    <a:pt x="1207" y="16974"/>
                  </a:cubicBezTo>
                  <a:cubicBezTo>
                    <a:pt x="1326" y="17044"/>
                    <a:pt x="1326" y="17044"/>
                    <a:pt x="1326" y="17044"/>
                  </a:cubicBezTo>
                  <a:cubicBezTo>
                    <a:pt x="1396" y="16925"/>
                    <a:pt x="1396" y="16925"/>
                    <a:pt x="1396" y="16925"/>
                  </a:cubicBezTo>
                  <a:cubicBezTo>
                    <a:pt x="1282" y="16858"/>
                    <a:pt x="1282" y="16858"/>
                    <a:pt x="1282" y="16858"/>
                  </a:cubicBezTo>
                  <a:cubicBezTo>
                    <a:pt x="1281" y="16858"/>
                    <a:pt x="1281" y="16858"/>
                    <a:pt x="1281" y="16858"/>
                  </a:cubicBezTo>
                  <a:cubicBezTo>
                    <a:pt x="1294" y="16849"/>
                    <a:pt x="1304" y="16841"/>
                    <a:pt x="1311" y="16836"/>
                  </a:cubicBezTo>
                  <a:cubicBezTo>
                    <a:pt x="1320" y="16846"/>
                    <a:pt x="1329" y="16856"/>
                    <a:pt x="1342" y="16866"/>
                  </a:cubicBezTo>
                  <a:cubicBezTo>
                    <a:pt x="1365" y="16884"/>
                    <a:pt x="1393" y="16903"/>
                    <a:pt x="1422" y="16921"/>
                  </a:cubicBezTo>
                  <a:cubicBezTo>
                    <a:pt x="1204" y="17223"/>
                    <a:pt x="1204" y="17223"/>
                    <a:pt x="1204" y="17223"/>
                  </a:cubicBezTo>
                  <a:cubicBezTo>
                    <a:pt x="1216" y="17231"/>
                    <a:pt x="1216" y="17231"/>
                    <a:pt x="1216" y="17231"/>
                  </a:cubicBezTo>
                  <a:cubicBezTo>
                    <a:pt x="1434" y="16929"/>
                    <a:pt x="1434" y="16929"/>
                    <a:pt x="1434" y="16929"/>
                  </a:cubicBezTo>
                  <a:cubicBezTo>
                    <a:pt x="1505" y="16972"/>
                    <a:pt x="1583" y="17013"/>
                    <a:pt x="1636" y="17042"/>
                  </a:cubicBezTo>
                  <a:cubicBezTo>
                    <a:pt x="1514" y="17323"/>
                    <a:pt x="1514" y="17323"/>
                    <a:pt x="1514" y="17323"/>
                  </a:cubicBezTo>
                  <a:cubicBezTo>
                    <a:pt x="1212" y="17236"/>
                    <a:pt x="1212" y="17236"/>
                    <a:pt x="1212" y="17236"/>
                  </a:cubicBezTo>
                  <a:cubicBezTo>
                    <a:pt x="1048" y="17022"/>
                    <a:pt x="1048" y="17022"/>
                    <a:pt x="1048" y="17022"/>
                  </a:cubicBezTo>
                  <a:cubicBezTo>
                    <a:pt x="1075" y="17003"/>
                    <a:pt x="1199" y="16917"/>
                    <a:pt x="1270" y="16866"/>
                  </a:cubicBezTo>
                  <a:close/>
                  <a:moveTo>
                    <a:pt x="1281" y="16873"/>
                  </a:moveTo>
                  <a:cubicBezTo>
                    <a:pt x="1378" y="16929"/>
                    <a:pt x="1378" y="16929"/>
                    <a:pt x="1378" y="16929"/>
                  </a:cubicBezTo>
                  <a:cubicBezTo>
                    <a:pt x="1321" y="17026"/>
                    <a:pt x="1321" y="17026"/>
                    <a:pt x="1321" y="17026"/>
                  </a:cubicBezTo>
                  <a:cubicBezTo>
                    <a:pt x="1225" y="16969"/>
                    <a:pt x="1225" y="16969"/>
                    <a:pt x="1225" y="16969"/>
                  </a:cubicBezTo>
                  <a:lnTo>
                    <a:pt x="1281" y="16873"/>
                  </a:lnTo>
                  <a:close/>
                  <a:moveTo>
                    <a:pt x="1648" y="17049"/>
                  </a:moveTo>
                  <a:cubicBezTo>
                    <a:pt x="1659" y="17056"/>
                    <a:pt x="1669" y="17062"/>
                    <a:pt x="1677" y="17067"/>
                  </a:cubicBezTo>
                  <a:cubicBezTo>
                    <a:pt x="1741" y="17107"/>
                    <a:pt x="1790" y="17138"/>
                    <a:pt x="1811" y="17182"/>
                  </a:cubicBezTo>
                  <a:cubicBezTo>
                    <a:pt x="1822" y="17204"/>
                    <a:pt x="1831" y="17228"/>
                    <a:pt x="1837" y="17249"/>
                  </a:cubicBezTo>
                  <a:cubicBezTo>
                    <a:pt x="1844" y="17269"/>
                    <a:pt x="1848" y="17284"/>
                    <a:pt x="1855" y="17299"/>
                  </a:cubicBezTo>
                  <a:cubicBezTo>
                    <a:pt x="1810" y="17408"/>
                    <a:pt x="1810" y="17408"/>
                    <a:pt x="1810" y="17408"/>
                  </a:cubicBezTo>
                  <a:cubicBezTo>
                    <a:pt x="1527" y="17327"/>
                    <a:pt x="1527" y="17327"/>
                    <a:pt x="1527" y="17327"/>
                  </a:cubicBezTo>
                  <a:lnTo>
                    <a:pt x="1648" y="17049"/>
                  </a:lnTo>
                  <a:close/>
                  <a:moveTo>
                    <a:pt x="2231" y="16793"/>
                  </a:moveTo>
                  <a:cubicBezTo>
                    <a:pt x="2245" y="16793"/>
                    <a:pt x="2346" y="16801"/>
                    <a:pt x="2438" y="16808"/>
                  </a:cubicBezTo>
                  <a:cubicBezTo>
                    <a:pt x="2439" y="16908"/>
                    <a:pt x="2439" y="16908"/>
                    <a:pt x="2439" y="16908"/>
                  </a:cubicBezTo>
                  <a:cubicBezTo>
                    <a:pt x="2224" y="16886"/>
                    <a:pt x="2224" y="16886"/>
                    <a:pt x="2224" y="16886"/>
                  </a:cubicBezTo>
                  <a:cubicBezTo>
                    <a:pt x="2223" y="16900"/>
                    <a:pt x="2223" y="16900"/>
                    <a:pt x="2223" y="16900"/>
                  </a:cubicBezTo>
                  <a:cubicBezTo>
                    <a:pt x="2439" y="16922"/>
                    <a:pt x="2439" y="16922"/>
                    <a:pt x="2439" y="16922"/>
                  </a:cubicBezTo>
                  <a:cubicBezTo>
                    <a:pt x="2439" y="17030"/>
                    <a:pt x="2439" y="17030"/>
                    <a:pt x="2439" y="17030"/>
                  </a:cubicBezTo>
                  <a:cubicBezTo>
                    <a:pt x="2216" y="17016"/>
                    <a:pt x="2216" y="17016"/>
                    <a:pt x="2216" y="17016"/>
                  </a:cubicBezTo>
                  <a:cubicBezTo>
                    <a:pt x="2215" y="17030"/>
                    <a:pt x="2215" y="17030"/>
                    <a:pt x="2215" y="17030"/>
                  </a:cubicBezTo>
                  <a:cubicBezTo>
                    <a:pt x="2439" y="17044"/>
                    <a:pt x="2439" y="17044"/>
                    <a:pt x="2439" y="17044"/>
                  </a:cubicBezTo>
                  <a:cubicBezTo>
                    <a:pt x="2440" y="17202"/>
                    <a:pt x="2440" y="17202"/>
                    <a:pt x="2440" y="17202"/>
                  </a:cubicBezTo>
                  <a:cubicBezTo>
                    <a:pt x="2201" y="17163"/>
                    <a:pt x="2201" y="17163"/>
                    <a:pt x="2201" y="17163"/>
                  </a:cubicBezTo>
                  <a:lnTo>
                    <a:pt x="2231" y="16793"/>
                  </a:lnTo>
                  <a:close/>
                  <a:moveTo>
                    <a:pt x="2573" y="16819"/>
                  </a:moveTo>
                  <a:cubicBezTo>
                    <a:pt x="2573" y="16852"/>
                    <a:pt x="2573" y="16886"/>
                    <a:pt x="2573" y="16920"/>
                  </a:cubicBezTo>
                  <a:cubicBezTo>
                    <a:pt x="2573" y="16921"/>
                    <a:pt x="2574" y="16922"/>
                    <a:pt x="2574" y="16922"/>
                  </a:cubicBezTo>
                  <a:cubicBezTo>
                    <a:pt x="2570" y="16922"/>
                    <a:pt x="2570" y="16922"/>
                    <a:pt x="2570" y="16922"/>
                  </a:cubicBezTo>
                  <a:cubicBezTo>
                    <a:pt x="2569" y="16818"/>
                    <a:pt x="2569" y="16818"/>
                    <a:pt x="2569" y="16818"/>
                  </a:cubicBezTo>
                  <a:cubicBezTo>
                    <a:pt x="2570" y="16818"/>
                    <a:pt x="2572" y="16819"/>
                    <a:pt x="2573" y="16819"/>
                  </a:cubicBezTo>
                  <a:close/>
                  <a:moveTo>
                    <a:pt x="2574" y="16936"/>
                  </a:moveTo>
                  <a:cubicBezTo>
                    <a:pt x="2574" y="16971"/>
                    <a:pt x="2574" y="17005"/>
                    <a:pt x="2575" y="17039"/>
                  </a:cubicBezTo>
                  <a:cubicBezTo>
                    <a:pt x="2572" y="17039"/>
                    <a:pt x="2572" y="17039"/>
                    <a:pt x="2572" y="17039"/>
                  </a:cubicBezTo>
                  <a:cubicBezTo>
                    <a:pt x="2570" y="16936"/>
                    <a:pt x="2570" y="16936"/>
                    <a:pt x="2570" y="16936"/>
                  </a:cubicBezTo>
                  <a:lnTo>
                    <a:pt x="2574" y="16936"/>
                  </a:lnTo>
                  <a:close/>
                  <a:moveTo>
                    <a:pt x="2575" y="17053"/>
                  </a:moveTo>
                  <a:cubicBezTo>
                    <a:pt x="2576" y="17112"/>
                    <a:pt x="2577" y="17170"/>
                    <a:pt x="2578" y="17225"/>
                  </a:cubicBezTo>
                  <a:cubicBezTo>
                    <a:pt x="2574" y="17225"/>
                    <a:pt x="2574" y="17225"/>
                    <a:pt x="2574" y="17225"/>
                  </a:cubicBezTo>
                  <a:cubicBezTo>
                    <a:pt x="2572" y="17053"/>
                    <a:pt x="2572" y="17053"/>
                    <a:pt x="2572" y="17053"/>
                  </a:cubicBezTo>
                  <a:lnTo>
                    <a:pt x="2575" y="17053"/>
                  </a:lnTo>
                  <a:close/>
                  <a:moveTo>
                    <a:pt x="2575" y="16006"/>
                  </a:moveTo>
                  <a:cubicBezTo>
                    <a:pt x="2575" y="16031"/>
                    <a:pt x="2575" y="16065"/>
                    <a:pt x="2575" y="16107"/>
                  </a:cubicBezTo>
                  <a:cubicBezTo>
                    <a:pt x="2189" y="16087"/>
                    <a:pt x="2189" y="16087"/>
                    <a:pt x="2189" y="16087"/>
                  </a:cubicBezTo>
                  <a:cubicBezTo>
                    <a:pt x="2014" y="16027"/>
                    <a:pt x="2014" y="16027"/>
                    <a:pt x="2014" y="16027"/>
                  </a:cubicBezTo>
                  <a:cubicBezTo>
                    <a:pt x="2007" y="15925"/>
                    <a:pt x="2007" y="15925"/>
                    <a:pt x="2007" y="15925"/>
                  </a:cubicBezTo>
                  <a:cubicBezTo>
                    <a:pt x="2050" y="15920"/>
                    <a:pt x="2293" y="15891"/>
                    <a:pt x="2328" y="15886"/>
                  </a:cubicBezTo>
                  <a:cubicBezTo>
                    <a:pt x="2331" y="15885"/>
                    <a:pt x="2331" y="15885"/>
                    <a:pt x="2332" y="15885"/>
                  </a:cubicBezTo>
                  <a:cubicBezTo>
                    <a:pt x="2333" y="15886"/>
                    <a:pt x="2334" y="15888"/>
                    <a:pt x="2334" y="15889"/>
                  </a:cubicBezTo>
                  <a:cubicBezTo>
                    <a:pt x="2336" y="15893"/>
                    <a:pt x="2336" y="15894"/>
                    <a:pt x="2336" y="15894"/>
                  </a:cubicBezTo>
                  <a:cubicBezTo>
                    <a:pt x="2343" y="15913"/>
                    <a:pt x="2343" y="15913"/>
                    <a:pt x="2343" y="15913"/>
                  </a:cubicBezTo>
                  <a:cubicBezTo>
                    <a:pt x="2580" y="15946"/>
                    <a:pt x="2580" y="15946"/>
                    <a:pt x="2580" y="15946"/>
                  </a:cubicBezTo>
                  <a:cubicBezTo>
                    <a:pt x="2577" y="15965"/>
                    <a:pt x="2575" y="15985"/>
                    <a:pt x="2575" y="16006"/>
                  </a:cubicBezTo>
                  <a:close/>
                  <a:moveTo>
                    <a:pt x="2316" y="15873"/>
                  </a:moveTo>
                  <a:cubicBezTo>
                    <a:pt x="2307" y="15874"/>
                    <a:pt x="2294" y="15876"/>
                    <a:pt x="2279" y="15878"/>
                  </a:cubicBezTo>
                  <a:cubicBezTo>
                    <a:pt x="2248" y="15882"/>
                    <a:pt x="2206" y="15887"/>
                    <a:pt x="2165" y="15892"/>
                  </a:cubicBezTo>
                  <a:cubicBezTo>
                    <a:pt x="2082" y="15902"/>
                    <a:pt x="1999" y="15912"/>
                    <a:pt x="1999" y="15912"/>
                  </a:cubicBezTo>
                  <a:cubicBezTo>
                    <a:pt x="1992" y="15913"/>
                    <a:pt x="1992" y="15913"/>
                    <a:pt x="1992" y="15913"/>
                  </a:cubicBezTo>
                  <a:cubicBezTo>
                    <a:pt x="2001" y="16039"/>
                    <a:pt x="2001" y="16039"/>
                    <a:pt x="2001" y="16039"/>
                  </a:cubicBezTo>
                  <a:cubicBezTo>
                    <a:pt x="1788" y="16236"/>
                    <a:pt x="1788" y="16236"/>
                    <a:pt x="1788" y="16236"/>
                  </a:cubicBezTo>
                  <a:cubicBezTo>
                    <a:pt x="1700" y="16153"/>
                    <a:pt x="1606" y="16064"/>
                    <a:pt x="1569" y="16029"/>
                  </a:cubicBezTo>
                  <a:cubicBezTo>
                    <a:pt x="1792" y="15699"/>
                    <a:pt x="1792" y="15699"/>
                    <a:pt x="1792" y="15699"/>
                  </a:cubicBezTo>
                  <a:cubicBezTo>
                    <a:pt x="1889" y="15757"/>
                    <a:pt x="1889" y="15757"/>
                    <a:pt x="1889" y="15757"/>
                  </a:cubicBezTo>
                  <a:cubicBezTo>
                    <a:pt x="2006" y="15556"/>
                    <a:pt x="2006" y="15556"/>
                    <a:pt x="2006" y="15556"/>
                  </a:cubicBezTo>
                  <a:cubicBezTo>
                    <a:pt x="2008" y="15555"/>
                    <a:pt x="2011" y="15554"/>
                    <a:pt x="2014" y="15552"/>
                  </a:cubicBezTo>
                  <a:cubicBezTo>
                    <a:pt x="2059" y="15586"/>
                    <a:pt x="2095" y="15613"/>
                    <a:pt x="2118" y="15630"/>
                  </a:cubicBezTo>
                  <a:cubicBezTo>
                    <a:pt x="2245" y="15724"/>
                    <a:pt x="2305" y="15828"/>
                    <a:pt x="2326" y="15872"/>
                  </a:cubicBezTo>
                  <a:cubicBezTo>
                    <a:pt x="2324" y="15872"/>
                    <a:pt x="2321" y="15873"/>
                    <a:pt x="2316" y="15873"/>
                  </a:cubicBezTo>
                  <a:close/>
                  <a:moveTo>
                    <a:pt x="2144" y="15567"/>
                  </a:moveTo>
                  <a:cubicBezTo>
                    <a:pt x="2122" y="15551"/>
                    <a:pt x="2093" y="15529"/>
                    <a:pt x="2059" y="15503"/>
                  </a:cubicBezTo>
                  <a:cubicBezTo>
                    <a:pt x="2146" y="15344"/>
                    <a:pt x="2363" y="14933"/>
                    <a:pt x="2388" y="14884"/>
                  </a:cubicBezTo>
                  <a:cubicBezTo>
                    <a:pt x="2587" y="15088"/>
                    <a:pt x="2587" y="15088"/>
                    <a:pt x="2587" y="15088"/>
                  </a:cubicBezTo>
                  <a:cubicBezTo>
                    <a:pt x="2639" y="15344"/>
                    <a:pt x="2639" y="15344"/>
                    <a:pt x="2639" y="15344"/>
                  </a:cubicBezTo>
                  <a:cubicBezTo>
                    <a:pt x="2597" y="15384"/>
                    <a:pt x="2566" y="15415"/>
                    <a:pt x="2554" y="15426"/>
                  </a:cubicBezTo>
                  <a:cubicBezTo>
                    <a:pt x="2550" y="15428"/>
                    <a:pt x="2543" y="15432"/>
                    <a:pt x="2534" y="15437"/>
                  </a:cubicBezTo>
                  <a:cubicBezTo>
                    <a:pt x="2519" y="15445"/>
                    <a:pt x="2497" y="15456"/>
                    <a:pt x="2472" y="15468"/>
                  </a:cubicBezTo>
                  <a:cubicBezTo>
                    <a:pt x="2421" y="15491"/>
                    <a:pt x="2354" y="15518"/>
                    <a:pt x="2292" y="15531"/>
                  </a:cubicBezTo>
                  <a:cubicBezTo>
                    <a:pt x="2208" y="15549"/>
                    <a:pt x="2165" y="15561"/>
                    <a:pt x="2144" y="15567"/>
                  </a:cubicBezTo>
                  <a:close/>
                  <a:moveTo>
                    <a:pt x="2590" y="15481"/>
                  </a:moveTo>
                  <a:cubicBezTo>
                    <a:pt x="2593" y="15479"/>
                    <a:pt x="2593" y="15479"/>
                    <a:pt x="2593" y="15479"/>
                  </a:cubicBezTo>
                  <a:cubicBezTo>
                    <a:pt x="2596" y="15477"/>
                    <a:pt x="2596" y="15477"/>
                    <a:pt x="2596" y="15477"/>
                  </a:cubicBezTo>
                  <a:cubicBezTo>
                    <a:pt x="2615" y="15459"/>
                    <a:pt x="2721" y="15354"/>
                    <a:pt x="2840" y="15246"/>
                  </a:cubicBezTo>
                  <a:cubicBezTo>
                    <a:pt x="2845" y="15251"/>
                    <a:pt x="2850" y="15258"/>
                    <a:pt x="2855" y="15265"/>
                  </a:cubicBezTo>
                  <a:cubicBezTo>
                    <a:pt x="2876" y="15292"/>
                    <a:pt x="2905" y="15328"/>
                    <a:pt x="2933" y="15365"/>
                  </a:cubicBezTo>
                  <a:cubicBezTo>
                    <a:pt x="2979" y="15423"/>
                    <a:pt x="3025" y="15484"/>
                    <a:pt x="3043" y="15508"/>
                  </a:cubicBezTo>
                  <a:cubicBezTo>
                    <a:pt x="2892" y="15592"/>
                    <a:pt x="2892" y="15592"/>
                    <a:pt x="2892" y="15592"/>
                  </a:cubicBezTo>
                  <a:cubicBezTo>
                    <a:pt x="2876" y="15598"/>
                    <a:pt x="2807" y="15625"/>
                    <a:pt x="2736" y="15683"/>
                  </a:cubicBezTo>
                  <a:cubicBezTo>
                    <a:pt x="2714" y="15701"/>
                    <a:pt x="2691" y="15723"/>
                    <a:pt x="2670" y="15748"/>
                  </a:cubicBezTo>
                  <a:cubicBezTo>
                    <a:pt x="2670" y="15748"/>
                    <a:pt x="2670" y="15748"/>
                    <a:pt x="2670" y="15747"/>
                  </a:cubicBezTo>
                  <a:cubicBezTo>
                    <a:pt x="2667" y="15743"/>
                    <a:pt x="2663" y="15737"/>
                    <a:pt x="2659" y="15729"/>
                  </a:cubicBezTo>
                  <a:cubicBezTo>
                    <a:pt x="2649" y="15715"/>
                    <a:pt x="2636" y="15695"/>
                    <a:pt x="2622" y="15673"/>
                  </a:cubicBezTo>
                  <a:cubicBezTo>
                    <a:pt x="2593" y="15629"/>
                    <a:pt x="2558" y="15577"/>
                    <a:pt x="2534" y="15540"/>
                  </a:cubicBezTo>
                  <a:cubicBezTo>
                    <a:pt x="2529" y="15531"/>
                    <a:pt x="2524" y="15524"/>
                    <a:pt x="2520" y="15518"/>
                  </a:cubicBezTo>
                  <a:cubicBezTo>
                    <a:pt x="2562" y="15497"/>
                    <a:pt x="2589" y="15481"/>
                    <a:pt x="2590" y="15481"/>
                  </a:cubicBezTo>
                  <a:close/>
                  <a:moveTo>
                    <a:pt x="2752" y="15757"/>
                  </a:moveTo>
                  <a:cubicBezTo>
                    <a:pt x="2811" y="15700"/>
                    <a:pt x="2879" y="15668"/>
                    <a:pt x="2906" y="15657"/>
                  </a:cubicBezTo>
                  <a:cubicBezTo>
                    <a:pt x="2913" y="15654"/>
                    <a:pt x="2917" y="15653"/>
                    <a:pt x="2917" y="15653"/>
                  </a:cubicBezTo>
                  <a:cubicBezTo>
                    <a:pt x="2919" y="15652"/>
                    <a:pt x="2919" y="15652"/>
                    <a:pt x="2919" y="15652"/>
                  </a:cubicBezTo>
                  <a:cubicBezTo>
                    <a:pt x="2920" y="15653"/>
                    <a:pt x="2921" y="15654"/>
                    <a:pt x="2922" y="15655"/>
                  </a:cubicBezTo>
                  <a:cubicBezTo>
                    <a:pt x="2929" y="15662"/>
                    <a:pt x="2939" y="15672"/>
                    <a:pt x="2951" y="15684"/>
                  </a:cubicBezTo>
                  <a:cubicBezTo>
                    <a:pt x="2975" y="15708"/>
                    <a:pt x="3008" y="15740"/>
                    <a:pt x="3040" y="15772"/>
                  </a:cubicBezTo>
                  <a:cubicBezTo>
                    <a:pt x="3089" y="15821"/>
                    <a:pt x="3138" y="15869"/>
                    <a:pt x="3159" y="15890"/>
                  </a:cubicBezTo>
                  <a:cubicBezTo>
                    <a:pt x="3159" y="15890"/>
                    <a:pt x="3159" y="15890"/>
                    <a:pt x="3159" y="15890"/>
                  </a:cubicBezTo>
                  <a:cubicBezTo>
                    <a:pt x="3159" y="15890"/>
                    <a:pt x="3159" y="15890"/>
                    <a:pt x="3159" y="15890"/>
                  </a:cubicBezTo>
                  <a:cubicBezTo>
                    <a:pt x="3159" y="15890"/>
                    <a:pt x="3159" y="15890"/>
                    <a:pt x="3159" y="15890"/>
                  </a:cubicBezTo>
                  <a:cubicBezTo>
                    <a:pt x="3159" y="15896"/>
                    <a:pt x="3156" y="15927"/>
                    <a:pt x="3152" y="15966"/>
                  </a:cubicBezTo>
                  <a:cubicBezTo>
                    <a:pt x="2654" y="15914"/>
                    <a:pt x="2654" y="15914"/>
                    <a:pt x="2654" y="15914"/>
                  </a:cubicBezTo>
                  <a:cubicBezTo>
                    <a:pt x="2672" y="15848"/>
                    <a:pt x="2710" y="15797"/>
                    <a:pt x="2752" y="15757"/>
                  </a:cubicBezTo>
                  <a:close/>
                  <a:moveTo>
                    <a:pt x="3172" y="15901"/>
                  </a:moveTo>
                  <a:cubicBezTo>
                    <a:pt x="3446" y="16017"/>
                    <a:pt x="3446" y="16017"/>
                    <a:pt x="3446" y="16017"/>
                  </a:cubicBezTo>
                  <a:cubicBezTo>
                    <a:pt x="3570" y="16261"/>
                    <a:pt x="3570" y="16261"/>
                    <a:pt x="3570" y="16261"/>
                  </a:cubicBezTo>
                  <a:cubicBezTo>
                    <a:pt x="3374" y="16587"/>
                    <a:pt x="3374" y="16587"/>
                    <a:pt x="3374" y="16587"/>
                  </a:cubicBezTo>
                  <a:cubicBezTo>
                    <a:pt x="3371" y="16586"/>
                    <a:pt x="3369" y="16585"/>
                    <a:pt x="3364" y="16585"/>
                  </a:cubicBezTo>
                  <a:cubicBezTo>
                    <a:pt x="3359" y="16585"/>
                    <a:pt x="3355" y="16587"/>
                    <a:pt x="3352" y="16589"/>
                  </a:cubicBezTo>
                  <a:cubicBezTo>
                    <a:pt x="3351" y="16589"/>
                    <a:pt x="3351" y="16589"/>
                    <a:pt x="3351" y="16589"/>
                  </a:cubicBezTo>
                  <a:cubicBezTo>
                    <a:pt x="3346" y="16590"/>
                    <a:pt x="3338" y="16592"/>
                    <a:pt x="3328" y="16593"/>
                  </a:cubicBezTo>
                  <a:cubicBezTo>
                    <a:pt x="3308" y="16597"/>
                    <a:pt x="3278" y="16601"/>
                    <a:pt x="3243" y="16606"/>
                  </a:cubicBezTo>
                  <a:cubicBezTo>
                    <a:pt x="3199" y="16611"/>
                    <a:pt x="3146" y="16618"/>
                    <a:pt x="3089" y="16625"/>
                  </a:cubicBezTo>
                  <a:cubicBezTo>
                    <a:pt x="3198" y="16266"/>
                    <a:pt x="3198" y="16266"/>
                    <a:pt x="3198" y="16266"/>
                  </a:cubicBezTo>
                  <a:cubicBezTo>
                    <a:pt x="3138" y="16210"/>
                    <a:pt x="3138" y="16210"/>
                    <a:pt x="3138" y="16210"/>
                  </a:cubicBezTo>
                  <a:cubicBezTo>
                    <a:pt x="3142" y="16179"/>
                    <a:pt x="3168" y="15957"/>
                    <a:pt x="3172" y="15901"/>
                  </a:cubicBezTo>
                  <a:close/>
                  <a:moveTo>
                    <a:pt x="4486" y="16099"/>
                  </a:moveTo>
                  <a:cubicBezTo>
                    <a:pt x="4479" y="16059"/>
                    <a:pt x="4466" y="15990"/>
                    <a:pt x="4451" y="15914"/>
                  </a:cubicBezTo>
                  <a:cubicBezTo>
                    <a:pt x="4450" y="15909"/>
                    <a:pt x="4449" y="15903"/>
                    <a:pt x="4448" y="15898"/>
                  </a:cubicBezTo>
                  <a:cubicBezTo>
                    <a:pt x="4472" y="15892"/>
                    <a:pt x="4524" y="15879"/>
                    <a:pt x="4577" y="15866"/>
                  </a:cubicBezTo>
                  <a:cubicBezTo>
                    <a:pt x="4647" y="15848"/>
                    <a:pt x="4720" y="15830"/>
                    <a:pt x="4723" y="15830"/>
                  </a:cubicBezTo>
                  <a:cubicBezTo>
                    <a:pt x="4815" y="15849"/>
                    <a:pt x="4815" y="15849"/>
                    <a:pt x="4815" y="15849"/>
                  </a:cubicBezTo>
                  <a:cubicBezTo>
                    <a:pt x="4806" y="16097"/>
                    <a:pt x="4806" y="16097"/>
                    <a:pt x="4806" y="16097"/>
                  </a:cubicBezTo>
                  <a:lnTo>
                    <a:pt x="4486" y="16099"/>
                  </a:lnTo>
                  <a:close/>
                  <a:moveTo>
                    <a:pt x="5131" y="15873"/>
                  </a:moveTo>
                  <a:cubicBezTo>
                    <a:pt x="5136" y="15885"/>
                    <a:pt x="5136" y="15885"/>
                    <a:pt x="5136" y="15885"/>
                  </a:cubicBezTo>
                  <a:cubicBezTo>
                    <a:pt x="5136" y="15885"/>
                    <a:pt x="5136" y="15885"/>
                    <a:pt x="5136" y="15885"/>
                  </a:cubicBezTo>
                  <a:cubicBezTo>
                    <a:pt x="5137" y="15885"/>
                    <a:pt x="5139" y="15885"/>
                    <a:pt x="5140" y="15884"/>
                  </a:cubicBezTo>
                  <a:cubicBezTo>
                    <a:pt x="5144" y="15884"/>
                    <a:pt x="5149" y="15884"/>
                    <a:pt x="5155" y="15884"/>
                  </a:cubicBezTo>
                  <a:cubicBezTo>
                    <a:pt x="5167" y="15883"/>
                    <a:pt x="5184" y="15883"/>
                    <a:pt x="5205" y="15883"/>
                  </a:cubicBezTo>
                  <a:cubicBezTo>
                    <a:pt x="5245" y="15882"/>
                    <a:pt x="5298" y="15881"/>
                    <a:pt x="5351" y="15881"/>
                  </a:cubicBezTo>
                  <a:cubicBezTo>
                    <a:pt x="5440" y="15880"/>
                    <a:pt x="5529" y="15879"/>
                    <a:pt x="5553" y="15879"/>
                  </a:cubicBezTo>
                  <a:cubicBezTo>
                    <a:pt x="5568" y="16090"/>
                    <a:pt x="5568" y="16090"/>
                    <a:pt x="5568" y="16090"/>
                  </a:cubicBezTo>
                  <a:cubicBezTo>
                    <a:pt x="5120" y="16094"/>
                    <a:pt x="5120" y="16094"/>
                    <a:pt x="5120" y="16094"/>
                  </a:cubicBezTo>
                  <a:lnTo>
                    <a:pt x="5131" y="15873"/>
                  </a:lnTo>
                  <a:close/>
                  <a:moveTo>
                    <a:pt x="5566" y="15865"/>
                  </a:moveTo>
                  <a:cubicBezTo>
                    <a:pt x="5560" y="15865"/>
                    <a:pt x="5560" y="15865"/>
                    <a:pt x="5560" y="15865"/>
                  </a:cubicBezTo>
                  <a:cubicBezTo>
                    <a:pt x="5560" y="15865"/>
                    <a:pt x="5241" y="15867"/>
                    <a:pt x="5155" y="15870"/>
                  </a:cubicBezTo>
                  <a:cubicBezTo>
                    <a:pt x="5142" y="15870"/>
                    <a:pt x="5136" y="15870"/>
                    <a:pt x="5131" y="15872"/>
                  </a:cubicBezTo>
                  <a:cubicBezTo>
                    <a:pt x="5142" y="15668"/>
                    <a:pt x="5142" y="15668"/>
                    <a:pt x="5142" y="15668"/>
                  </a:cubicBezTo>
                  <a:cubicBezTo>
                    <a:pt x="5170" y="15660"/>
                    <a:pt x="5316" y="15616"/>
                    <a:pt x="5464" y="15572"/>
                  </a:cubicBezTo>
                  <a:cubicBezTo>
                    <a:pt x="5613" y="15527"/>
                    <a:pt x="5765" y="15482"/>
                    <a:pt x="5793" y="15474"/>
                  </a:cubicBezTo>
                  <a:cubicBezTo>
                    <a:pt x="5793" y="15475"/>
                    <a:pt x="5793" y="15476"/>
                    <a:pt x="5794" y="15478"/>
                  </a:cubicBezTo>
                  <a:cubicBezTo>
                    <a:pt x="5795" y="15483"/>
                    <a:pt x="5797" y="15492"/>
                    <a:pt x="5799" y="15502"/>
                  </a:cubicBezTo>
                  <a:cubicBezTo>
                    <a:pt x="5803" y="15523"/>
                    <a:pt x="5807" y="15551"/>
                    <a:pt x="5811" y="15579"/>
                  </a:cubicBezTo>
                  <a:cubicBezTo>
                    <a:pt x="5819" y="15635"/>
                    <a:pt x="5826" y="15690"/>
                    <a:pt x="5826" y="15691"/>
                  </a:cubicBezTo>
                  <a:cubicBezTo>
                    <a:pt x="5826" y="15695"/>
                    <a:pt x="5826" y="15695"/>
                    <a:pt x="5826" y="15695"/>
                  </a:cubicBezTo>
                  <a:cubicBezTo>
                    <a:pt x="6128" y="15767"/>
                    <a:pt x="6128" y="15767"/>
                    <a:pt x="6128" y="15767"/>
                  </a:cubicBezTo>
                  <a:cubicBezTo>
                    <a:pt x="6140" y="15921"/>
                    <a:pt x="6140" y="15921"/>
                    <a:pt x="6140" y="15921"/>
                  </a:cubicBezTo>
                  <a:cubicBezTo>
                    <a:pt x="5915" y="16087"/>
                    <a:pt x="5915" y="16087"/>
                    <a:pt x="5915" y="16087"/>
                  </a:cubicBezTo>
                  <a:cubicBezTo>
                    <a:pt x="5582" y="16090"/>
                    <a:pt x="5582" y="16090"/>
                    <a:pt x="5582" y="16090"/>
                  </a:cubicBezTo>
                  <a:lnTo>
                    <a:pt x="5566" y="15865"/>
                  </a:lnTo>
                  <a:close/>
                  <a:moveTo>
                    <a:pt x="6185" y="15969"/>
                  </a:moveTo>
                  <a:cubicBezTo>
                    <a:pt x="6256" y="15972"/>
                    <a:pt x="6256" y="15972"/>
                    <a:pt x="6256" y="15972"/>
                  </a:cubicBezTo>
                  <a:cubicBezTo>
                    <a:pt x="6256" y="16048"/>
                    <a:pt x="6255" y="16304"/>
                    <a:pt x="6248" y="16486"/>
                  </a:cubicBezTo>
                  <a:cubicBezTo>
                    <a:pt x="6246" y="16547"/>
                    <a:pt x="6229" y="16591"/>
                    <a:pt x="6206" y="16613"/>
                  </a:cubicBezTo>
                  <a:cubicBezTo>
                    <a:pt x="6166" y="16652"/>
                    <a:pt x="6099" y="16663"/>
                    <a:pt x="6058" y="16663"/>
                  </a:cubicBezTo>
                  <a:cubicBezTo>
                    <a:pt x="6055" y="16663"/>
                    <a:pt x="6052" y="16663"/>
                    <a:pt x="6049" y="16662"/>
                  </a:cubicBezTo>
                  <a:cubicBezTo>
                    <a:pt x="6035" y="16492"/>
                    <a:pt x="5978" y="16212"/>
                    <a:pt x="5962" y="16134"/>
                  </a:cubicBezTo>
                  <a:lnTo>
                    <a:pt x="6185" y="15969"/>
                  </a:lnTo>
                  <a:close/>
                  <a:moveTo>
                    <a:pt x="6526" y="17014"/>
                  </a:moveTo>
                  <a:cubicBezTo>
                    <a:pt x="6531" y="16985"/>
                    <a:pt x="6536" y="16963"/>
                    <a:pt x="6537" y="16957"/>
                  </a:cubicBezTo>
                  <a:cubicBezTo>
                    <a:pt x="6559" y="16943"/>
                    <a:pt x="6716" y="16839"/>
                    <a:pt x="6741" y="16823"/>
                  </a:cubicBezTo>
                  <a:cubicBezTo>
                    <a:pt x="6740" y="16832"/>
                    <a:pt x="6740" y="16832"/>
                    <a:pt x="6740" y="16832"/>
                  </a:cubicBezTo>
                  <a:cubicBezTo>
                    <a:pt x="7135" y="16877"/>
                    <a:pt x="7135" y="16877"/>
                    <a:pt x="7135" y="16877"/>
                  </a:cubicBezTo>
                  <a:cubicBezTo>
                    <a:pt x="7058" y="17052"/>
                    <a:pt x="6983" y="17223"/>
                    <a:pt x="6922" y="17361"/>
                  </a:cubicBezTo>
                  <a:cubicBezTo>
                    <a:pt x="6825" y="17182"/>
                    <a:pt x="6825" y="17182"/>
                    <a:pt x="6825" y="17182"/>
                  </a:cubicBezTo>
                  <a:cubicBezTo>
                    <a:pt x="6508" y="17112"/>
                    <a:pt x="6508" y="17112"/>
                    <a:pt x="6508" y="17112"/>
                  </a:cubicBezTo>
                  <a:cubicBezTo>
                    <a:pt x="6514" y="17077"/>
                    <a:pt x="6521" y="17042"/>
                    <a:pt x="6526" y="17014"/>
                  </a:cubicBezTo>
                  <a:close/>
                  <a:moveTo>
                    <a:pt x="6747" y="16819"/>
                  </a:moveTo>
                  <a:cubicBezTo>
                    <a:pt x="6748" y="16818"/>
                    <a:pt x="6748" y="16818"/>
                    <a:pt x="6748" y="16818"/>
                  </a:cubicBezTo>
                  <a:cubicBezTo>
                    <a:pt x="6715" y="16579"/>
                    <a:pt x="6715" y="16579"/>
                    <a:pt x="6715" y="16579"/>
                  </a:cubicBezTo>
                  <a:cubicBezTo>
                    <a:pt x="6829" y="16520"/>
                    <a:pt x="6829" y="16520"/>
                    <a:pt x="6829" y="16520"/>
                  </a:cubicBezTo>
                  <a:cubicBezTo>
                    <a:pt x="6829" y="16517"/>
                    <a:pt x="6829" y="16517"/>
                    <a:pt x="6829" y="16517"/>
                  </a:cubicBezTo>
                  <a:cubicBezTo>
                    <a:pt x="6829" y="16517"/>
                    <a:pt x="6834" y="16488"/>
                    <a:pt x="6841" y="16445"/>
                  </a:cubicBezTo>
                  <a:cubicBezTo>
                    <a:pt x="6871" y="16444"/>
                    <a:pt x="6994" y="16441"/>
                    <a:pt x="7033" y="16438"/>
                  </a:cubicBezTo>
                  <a:cubicBezTo>
                    <a:pt x="7040" y="16437"/>
                    <a:pt x="7043" y="16438"/>
                    <a:pt x="7047" y="16436"/>
                  </a:cubicBezTo>
                  <a:cubicBezTo>
                    <a:pt x="7055" y="16432"/>
                    <a:pt x="7157" y="16381"/>
                    <a:pt x="7172" y="16373"/>
                  </a:cubicBezTo>
                  <a:cubicBezTo>
                    <a:pt x="7344" y="16401"/>
                    <a:pt x="7344" y="16401"/>
                    <a:pt x="7344" y="16401"/>
                  </a:cubicBezTo>
                  <a:cubicBezTo>
                    <a:pt x="7296" y="16512"/>
                    <a:pt x="7243" y="16632"/>
                    <a:pt x="7190" y="16753"/>
                  </a:cubicBezTo>
                  <a:cubicBezTo>
                    <a:pt x="7174" y="16790"/>
                    <a:pt x="7157" y="16827"/>
                    <a:pt x="7141" y="16863"/>
                  </a:cubicBezTo>
                  <a:lnTo>
                    <a:pt x="6747" y="16819"/>
                  </a:lnTo>
                  <a:close/>
                  <a:moveTo>
                    <a:pt x="7170" y="16359"/>
                  </a:moveTo>
                  <a:cubicBezTo>
                    <a:pt x="7168" y="16360"/>
                    <a:pt x="7168" y="16360"/>
                    <a:pt x="7168" y="16360"/>
                  </a:cubicBezTo>
                  <a:cubicBezTo>
                    <a:pt x="7168" y="16360"/>
                    <a:pt x="7052" y="16418"/>
                    <a:pt x="7041" y="16423"/>
                  </a:cubicBezTo>
                  <a:cubicBezTo>
                    <a:pt x="7041" y="16423"/>
                    <a:pt x="7041" y="16423"/>
                    <a:pt x="7041" y="16423"/>
                  </a:cubicBezTo>
                  <a:cubicBezTo>
                    <a:pt x="7041" y="16423"/>
                    <a:pt x="7041" y="16423"/>
                    <a:pt x="7041" y="16423"/>
                  </a:cubicBezTo>
                  <a:cubicBezTo>
                    <a:pt x="7041" y="16423"/>
                    <a:pt x="7040" y="16423"/>
                    <a:pt x="7039" y="16423"/>
                  </a:cubicBezTo>
                  <a:cubicBezTo>
                    <a:pt x="7038" y="16424"/>
                    <a:pt x="7035" y="16424"/>
                    <a:pt x="7032" y="16424"/>
                  </a:cubicBezTo>
                  <a:cubicBezTo>
                    <a:pt x="7026" y="16425"/>
                    <a:pt x="7017" y="16425"/>
                    <a:pt x="7007" y="16426"/>
                  </a:cubicBezTo>
                  <a:cubicBezTo>
                    <a:pt x="6987" y="16427"/>
                    <a:pt x="6962" y="16428"/>
                    <a:pt x="6936" y="16428"/>
                  </a:cubicBezTo>
                  <a:cubicBezTo>
                    <a:pt x="6898" y="16429"/>
                    <a:pt x="6861" y="16430"/>
                    <a:pt x="6844" y="16431"/>
                  </a:cubicBezTo>
                  <a:cubicBezTo>
                    <a:pt x="6866" y="16299"/>
                    <a:pt x="6906" y="16058"/>
                    <a:pt x="6918" y="15991"/>
                  </a:cubicBezTo>
                  <a:cubicBezTo>
                    <a:pt x="7516" y="16009"/>
                    <a:pt x="7516" y="16009"/>
                    <a:pt x="7516" y="16009"/>
                  </a:cubicBezTo>
                  <a:cubicBezTo>
                    <a:pt x="7498" y="16050"/>
                    <a:pt x="7476" y="16101"/>
                    <a:pt x="7451" y="16158"/>
                  </a:cubicBezTo>
                  <a:cubicBezTo>
                    <a:pt x="7421" y="16226"/>
                    <a:pt x="7387" y="16304"/>
                    <a:pt x="7350" y="16388"/>
                  </a:cubicBezTo>
                  <a:lnTo>
                    <a:pt x="7170" y="16359"/>
                  </a:lnTo>
                  <a:close/>
                  <a:moveTo>
                    <a:pt x="7421" y="15621"/>
                  </a:moveTo>
                  <a:cubicBezTo>
                    <a:pt x="7525" y="15620"/>
                    <a:pt x="7525" y="15620"/>
                    <a:pt x="7525" y="15620"/>
                  </a:cubicBezTo>
                  <a:cubicBezTo>
                    <a:pt x="7524" y="15764"/>
                    <a:pt x="7524" y="15764"/>
                    <a:pt x="7524" y="15764"/>
                  </a:cubicBezTo>
                  <a:cubicBezTo>
                    <a:pt x="7455" y="15765"/>
                    <a:pt x="7455" y="15765"/>
                    <a:pt x="7455" y="15765"/>
                  </a:cubicBezTo>
                  <a:cubicBezTo>
                    <a:pt x="7447" y="15754"/>
                    <a:pt x="7440" y="15742"/>
                    <a:pt x="7432" y="15730"/>
                  </a:cubicBezTo>
                  <a:cubicBezTo>
                    <a:pt x="7427" y="15722"/>
                    <a:pt x="7421" y="15714"/>
                    <a:pt x="7416" y="15705"/>
                  </a:cubicBezTo>
                  <a:cubicBezTo>
                    <a:pt x="7424" y="15705"/>
                    <a:pt x="7424" y="15705"/>
                    <a:pt x="7424" y="15705"/>
                  </a:cubicBezTo>
                  <a:lnTo>
                    <a:pt x="7421" y="15621"/>
                  </a:lnTo>
                  <a:close/>
                  <a:moveTo>
                    <a:pt x="7439" y="15766"/>
                  </a:moveTo>
                  <a:cubicBezTo>
                    <a:pt x="7438" y="15863"/>
                    <a:pt x="7438" y="15863"/>
                    <a:pt x="7438" y="15863"/>
                  </a:cubicBezTo>
                  <a:cubicBezTo>
                    <a:pt x="7342" y="15862"/>
                    <a:pt x="7342" y="15862"/>
                    <a:pt x="7342" y="15862"/>
                  </a:cubicBezTo>
                  <a:cubicBezTo>
                    <a:pt x="7340" y="15707"/>
                    <a:pt x="7340" y="15707"/>
                    <a:pt x="7340" y="15707"/>
                  </a:cubicBezTo>
                  <a:cubicBezTo>
                    <a:pt x="7399" y="15706"/>
                    <a:pt x="7399" y="15706"/>
                    <a:pt x="7399" y="15706"/>
                  </a:cubicBezTo>
                  <a:cubicBezTo>
                    <a:pt x="7412" y="15726"/>
                    <a:pt x="7426" y="15746"/>
                    <a:pt x="7439" y="15766"/>
                  </a:cubicBezTo>
                  <a:close/>
                  <a:moveTo>
                    <a:pt x="7551" y="15908"/>
                  </a:moveTo>
                  <a:cubicBezTo>
                    <a:pt x="7543" y="15897"/>
                    <a:pt x="7533" y="15882"/>
                    <a:pt x="7520" y="15864"/>
                  </a:cubicBezTo>
                  <a:cubicBezTo>
                    <a:pt x="7504" y="15840"/>
                    <a:pt x="7484" y="15810"/>
                    <a:pt x="7463" y="15778"/>
                  </a:cubicBezTo>
                  <a:cubicBezTo>
                    <a:pt x="7537" y="15777"/>
                    <a:pt x="7537" y="15777"/>
                    <a:pt x="7537" y="15777"/>
                  </a:cubicBezTo>
                  <a:cubicBezTo>
                    <a:pt x="7538" y="15607"/>
                    <a:pt x="7538" y="15607"/>
                    <a:pt x="7538" y="15607"/>
                  </a:cubicBezTo>
                  <a:cubicBezTo>
                    <a:pt x="7407" y="15608"/>
                    <a:pt x="7407" y="15608"/>
                    <a:pt x="7407" y="15608"/>
                  </a:cubicBezTo>
                  <a:cubicBezTo>
                    <a:pt x="7410" y="15692"/>
                    <a:pt x="7410" y="15692"/>
                    <a:pt x="7410" y="15692"/>
                  </a:cubicBezTo>
                  <a:cubicBezTo>
                    <a:pt x="7407" y="15692"/>
                    <a:pt x="7407" y="15692"/>
                    <a:pt x="7407" y="15692"/>
                  </a:cubicBezTo>
                  <a:cubicBezTo>
                    <a:pt x="7361" y="15622"/>
                    <a:pt x="7320" y="15559"/>
                    <a:pt x="7309" y="15541"/>
                  </a:cubicBezTo>
                  <a:cubicBezTo>
                    <a:pt x="7311" y="15539"/>
                    <a:pt x="7313" y="15536"/>
                    <a:pt x="7315" y="15533"/>
                  </a:cubicBezTo>
                  <a:cubicBezTo>
                    <a:pt x="7320" y="15526"/>
                    <a:pt x="7326" y="15518"/>
                    <a:pt x="7331" y="15509"/>
                  </a:cubicBezTo>
                  <a:cubicBezTo>
                    <a:pt x="7338" y="15498"/>
                    <a:pt x="7345" y="15486"/>
                    <a:pt x="7349" y="15480"/>
                  </a:cubicBezTo>
                  <a:cubicBezTo>
                    <a:pt x="7366" y="15484"/>
                    <a:pt x="7427" y="15496"/>
                    <a:pt x="7489" y="15509"/>
                  </a:cubicBezTo>
                  <a:cubicBezTo>
                    <a:pt x="7543" y="15521"/>
                    <a:pt x="7598" y="15533"/>
                    <a:pt x="7625" y="15538"/>
                  </a:cubicBezTo>
                  <a:cubicBezTo>
                    <a:pt x="7567" y="15894"/>
                    <a:pt x="7567" y="15894"/>
                    <a:pt x="7567" y="15894"/>
                  </a:cubicBezTo>
                  <a:cubicBezTo>
                    <a:pt x="7565" y="15898"/>
                    <a:pt x="7562" y="15907"/>
                    <a:pt x="7557" y="15917"/>
                  </a:cubicBezTo>
                  <a:cubicBezTo>
                    <a:pt x="7555" y="15914"/>
                    <a:pt x="7553" y="15912"/>
                    <a:pt x="7551" y="15908"/>
                  </a:cubicBezTo>
                  <a:close/>
                  <a:moveTo>
                    <a:pt x="7598" y="15518"/>
                  </a:moveTo>
                  <a:cubicBezTo>
                    <a:pt x="7570" y="15512"/>
                    <a:pt x="7533" y="15504"/>
                    <a:pt x="7495" y="15497"/>
                  </a:cubicBezTo>
                  <a:cubicBezTo>
                    <a:pt x="7421" y="15481"/>
                    <a:pt x="7347" y="15466"/>
                    <a:pt x="7347" y="15466"/>
                  </a:cubicBezTo>
                  <a:cubicBezTo>
                    <a:pt x="7342" y="15465"/>
                    <a:pt x="7342" y="15465"/>
                    <a:pt x="7342" y="15465"/>
                  </a:cubicBezTo>
                  <a:cubicBezTo>
                    <a:pt x="7339" y="15469"/>
                    <a:pt x="7339" y="15469"/>
                    <a:pt x="7339" y="15469"/>
                  </a:cubicBezTo>
                  <a:cubicBezTo>
                    <a:pt x="7339" y="15469"/>
                    <a:pt x="7330" y="15484"/>
                    <a:pt x="7320" y="15500"/>
                  </a:cubicBezTo>
                  <a:cubicBezTo>
                    <a:pt x="7311" y="15515"/>
                    <a:pt x="7300" y="15531"/>
                    <a:pt x="7297" y="15534"/>
                  </a:cubicBezTo>
                  <a:cubicBezTo>
                    <a:pt x="7287" y="15537"/>
                    <a:pt x="7193" y="15558"/>
                    <a:pt x="7179" y="15562"/>
                  </a:cubicBezTo>
                  <a:cubicBezTo>
                    <a:pt x="7175" y="15529"/>
                    <a:pt x="7175" y="15529"/>
                    <a:pt x="7175" y="15529"/>
                  </a:cubicBezTo>
                  <a:cubicBezTo>
                    <a:pt x="7112" y="15499"/>
                    <a:pt x="7112" y="15499"/>
                    <a:pt x="7112" y="15499"/>
                  </a:cubicBezTo>
                  <a:cubicBezTo>
                    <a:pt x="7108" y="15224"/>
                    <a:pt x="7108" y="15224"/>
                    <a:pt x="7108" y="15224"/>
                  </a:cubicBezTo>
                  <a:cubicBezTo>
                    <a:pt x="7183" y="15209"/>
                    <a:pt x="7183" y="15209"/>
                    <a:pt x="7183" y="15209"/>
                  </a:cubicBezTo>
                  <a:cubicBezTo>
                    <a:pt x="7517" y="15265"/>
                    <a:pt x="7517" y="15265"/>
                    <a:pt x="7517" y="15265"/>
                  </a:cubicBezTo>
                  <a:cubicBezTo>
                    <a:pt x="7501" y="15370"/>
                    <a:pt x="7501" y="15370"/>
                    <a:pt x="7501" y="15370"/>
                  </a:cubicBezTo>
                  <a:cubicBezTo>
                    <a:pt x="7586" y="15382"/>
                    <a:pt x="7586" y="15382"/>
                    <a:pt x="7586" y="15382"/>
                  </a:cubicBezTo>
                  <a:cubicBezTo>
                    <a:pt x="7593" y="15336"/>
                    <a:pt x="7593" y="15336"/>
                    <a:pt x="7593" y="15336"/>
                  </a:cubicBezTo>
                  <a:cubicBezTo>
                    <a:pt x="7636" y="15342"/>
                    <a:pt x="7636" y="15342"/>
                    <a:pt x="7636" y="15342"/>
                  </a:cubicBezTo>
                  <a:cubicBezTo>
                    <a:pt x="7644" y="15287"/>
                    <a:pt x="7644" y="15287"/>
                    <a:pt x="7644" y="15287"/>
                  </a:cubicBezTo>
                  <a:cubicBezTo>
                    <a:pt x="7666" y="15290"/>
                    <a:pt x="7666" y="15290"/>
                    <a:pt x="7666" y="15290"/>
                  </a:cubicBezTo>
                  <a:cubicBezTo>
                    <a:pt x="7627" y="15525"/>
                    <a:pt x="7627" y="15525"/>
                    <a:pt x="7627" y="15525"/>
                  </a:cubicBezTo>
                  <a:cubicBezTo>
                    <a:pt x="7620" y="15523"/>
                    <a:pt x="7610" y="15521"/>
                    <a:pt x="7598" y="15518"/>
                  </a:cubicBezTo>
                  <a:close/>
                  <a:moveTo>
                    <a:pt x="7639" y="15238"/>
                  </a:moveTo>
                  <a:cubicBezTo>
                    <a:pt x="7634" y="15271"/>
                    <a:pt x="7634" y="15271"/>
                    <a:pt x="7634" y="15271"/>
                  </a:cubicBezTo>
                  <a:cubicBezTo>
                    <a:pt x="7532" y="15254"/>
                    <a:pt x="7532" y="15254"/>
                    <a:pt x="7532" y="15254"/>
                  </a:cubicBezTo>
                  <a:cubicBezTo>
                    <a:pt x="7544" y="15176"/>
                    <a:pt x="7544" y="15176"/>
                    <a:pt x="7544" y="15176"/>
                  </a:cubicBezTo>
                  <a:cubicBezTo>
                    <a:pt x="7603" y="15185"/>
                    <a:pt x="7603" y="15185"/>
                    <a:pt x="7603" y="15185"/>
                  </a:cubicBezTo>
                  <a:cubicBezTo>
                    <a:pt x="7596" y="15232"/>
                    <a:pt x="7596" y="15232"/>
                    <a:pt x="7596" y="15232"/>
                  </a:cubicBezTo>
                  <a:lnTo>
                    <a:pt x="7639" y="15238"/>
                  </a:lnTo>
                  <a:close/>
                  <a:moveTo>
                    <a:pt x="7632" y="15285"/>
                  </a:moveTo>
                  <a:cubicBezTo>
                    <a:pt x="7625" y="15327"/>
                    <a:pt x="7625" y="15327"/>
                    <a:pt x="7625" y="15327"/>
                  </a:cubicBezTo>
                  <a:cubicBezTo>
                    <a:pt x="7582" y="15321"/>
                    <a:pt x="7582" y="15321"/>
                    <a:pt x="7582" y="15321"/>
                  </a:cubicBezTo>
                  <a:cubicBezTo>
                    <a:pt x="7575" y="15367"/>
                    <a:pt x="7575" y="15367"/>
                    <a:pt x="7575" y="15367"/>
                  </a:cubicBezTo>
                  <a:cubicBezTo>
                    <a:pt x="7516" y="15359"/>
                    <a:pt x="7516" y="15359"/>
                    <a:pt x="7516" y="15359"/>
                  </a:cubicBezTo>
                  <a:cubicBezTo>
                    <a:pt x="7530" y="15267"/>
                    <a:pt x="7530" y="15267"/>
                    <a:pt x="7530" y="15267"/>
                  </a:cubicBezTo>
                  <a:lnTo>
                    <a:pt x="7632" y="15285"/>
                  </a:lnTo>
                  <a:close/>
                  <a:moveTo>
                    <a:pt x="7647" y="15273"/>
                  </a:moveTo>
                  <a:cubicBezTo>
                    <a:pt x="7653" y="15227"/>
                    <a:pt x="7653" y="15227"/>
                    <a:pt x="7653" y="15227"/>
                  </a:cubicBezTo>
                  <a:cubicBezTo>
                    <a:pt x="7611" y="15221"/>
                    <a:pt x="7611" y="15221"/>
                    <a:pt x="7611" y="15221"/>
                  </a:cubicBezTo>
                  <a:cubicBezTo>
                    <a:pt x="7618" y="15174"/>
                    <a:pt x="7618" y="15174"/>
                    <a:pt x="7618" y="15174"/>
                  </a:cubicBezTo>
                  <a:cubicBezTo>
                    <a:pt x="7539" y="15162"/>
                    <a:pt x="7539" y="15162"/>
                    <a:pt x="7539" y="15162"/>
                  </a:cubicBezTo>
                  <a:cubicBezTo>
                    <a:pt x="7533" y="15161"/>
                    <a:pt x="7533" y="15161"/>
                    <a:pt x="7533" y="15161"/>
                  </a:cubicBezTo>
                  <a:cubicBezTo>
                    <a:pt x="7519" y="15251"/>
                    <a:pt x="7519" y="15251"/>
                    <a:pt x="7519" y="15251"/>
                  </a:cubicBezTo>
                  <a:cubicBezTo>
                    <a:pt x="7190" y="15196"/>
                    <a:pt x="7190" y="15196"/>
                    <a:pt x="7190" y="15196"/>
                  </a:cubicBezTo>
                  <a:cubicBezTo>
                    <a:pt x="7190" y="15178"/>
                    <a:pt x="7191" y="15118"/>
                    <a:pt x="7191" y="15043"/>
                  </a:cubicBezTo>
                  <a:cubicBezTo>
                    <a:pt x="7224" y="15049"/>
                    <a:pt x="7335" y="15073"/>
                    <a:pt x="7443" y="15097"/>
                  </a:cubicBezTo>
                  <a:cubicBezTo>
                    <a:pt x="7549" y="15120"/>
                    <a:pt x="7654" y="15143"/>
                    <a:pt x="7689" y="15151"/>
                  </a:cubicBezTo>
                  <a:cubicBezTo>
                    <a:pt x="7668" y="15277"/>
                    <a:pt x="7668" y="15277"/>
                    <a:pt x="7668" y="15277"/>
                  </a:cubicBezTo>
                  <a:lnTo>
                    <a:pt x="7647" y="15273"/>
                  </a:lnTo>
                  <a:close/>
                  <a:moveTo>
                    <a:pt x="7446" y="15083"/>
                  </a:moveTo>
                  <a:cubicBezTo>
                    <a:pt x="7335" y="15059"/>
                    <a:pt x="7225" y="15035"/>
                    <a:pt x="7191" y="15029"/>
                  </a:cubicBezTo>
                  <a:cubicBezTo>
                    <a:pt x="7192" y="14993"/>
                    <a:pt x="7192" y="14955"/>
                    <a:pt x="7192" y="14917"/>
                  </a:cubicBezTo>
                  <a:cubicBezTo>
                    <a:pt x="7558" y="14988"/>
                    <a:pt x="7558" y="14988"/>
                    <a:pt x="7558" y="14988"/>
                  </a:cubicBezTo>
                  <a:cubicBezTo>
                    <a:pt x="7541" y="15097"/>
                    <a:pt x="7541" y="15097"/>
                    <a:pt x="7541" y="15097"/>
                  </a:cubicBezTo>
                  <a:cubicBezTo>
                    <a:pt x="7626" y="15110"/>
                    <a:pt x="7626" y="15110"/>
                    <a:pt x="7626" y="15110"/>
                  </a:cubicBezTo>
                  <a:cubicBezTo>
                    <a:pt x="7633" y="15063"/>
                    <a:pt x="7633" y="15063"/>
                    <a:pt x="7633" y="15063"/>
                  </a:cubicBezTo>
                  <a:cubicBezTo>
                    <a:pt x="7676" y="15070"/>
                    <a:pt x="7676" y="15070"/>
                    <a:pt x="7676" y="15070"/>
                  </a:cubicBezTo>
                  <a:cubicBezTo>
                    <a:pt x="7685" y="15013"/>
                    <a:pt x="7685" y="15013"/>
                    <a:pt x="7685" y="15013"/>
                  </a:cubicBezTo>
                  <a:cubicBezTo>
                    <a:pt x="7710" y="15018"/>
                    <a:pt x="7710" y="15018"/>
                    <a:pt x="7710" y="15018"/>
                  </a:cubicBezTo>
                  <a:cubicBezTo>
                    <a:pt x="7691" y="15137"/>
                    <a:pt x="7691" y="15137"/>
                    <a:pt x="7691" y="15137"/>
                  </a:cubicBezTo>
                  <a:cubicBezTo>
                    <a:pt x="7656" y="15129"/>
                    <a:pt x="7551" y="15106"/>
                    <a:pt x="7446" y="15083"/>
                  </a:cubicBezTo>
                  <a:close/>
                  <a:moveTo>
                    <a:pt x="7687" y="14999"/>
                  </a:moveTo>
                  <a:cubicBezTo>
                    <a:pt x="7694" y="14954"/>
                    <a:pt x="7694" y="14954"/>
                    <a:pt x="7694" y="14954"/>
                  </a:cubicBezTo>
                  <a:cubicBezTo>
                    <a:pt x="7651" y="14948"/>
                    <a:pt x="7651" y="14948"/>
                    <a:pt x="7651" y="14948"/>
                  </a:cubicBezTo>
                  <a:cubicBezTo>
                    <a:pt x="7657" y="14907"/>
                    <a:pt x="7657" y="14907"/>
                    <a:pt x="7657" y="14907"/>
                  </a:cubicBezTo>
                  <a:cubicBezTo>
                    <a:pt x="7686" y="14913"/>
                    <a:pt x="7710" y="14919"/>
                    <a:pt x="7726" y="14922"/>
                  </a:cubicBezTo>
                  <a:cubicBezTo>
                    <a:pt x="7713" y="15004"/>
                    <a:pt x="7713" y="15004"/>
                    <a:pt x="7713" y="15004"/>
                  </a:cubicBezTo>
                  <a:lnTo>
                    <a:pt x="7687" y="14999"/>
                  </a:lnTo>
                  <a:close/>
                  <a:moveTo>
                    <a:pt x="7663" y="14894"/>
                  </a:moveTo>
                  <a:cubicBezTo>
                    <a:pt x="7610" y="14883"/>
                    <a:pt x="7540" y="14867"/>
                    <a:pt x="7470" y="14852"/>
                  </a:cubicBezTo>
                  <a:cubicBezTo>
                    <a:pt x="7339" y="14823"/>
                    <a:pt x="7209" y="14795"/>
                    <a:pt x="7193" y="14792"/>
                  </a:cubicBezTo>
                  <a:cubicBezTo>
                    <a:pt x="7193" y="14759"/>
                    <a:pt x="7193" y="14729"/>
                    <a:pt x="7193" y="14705"/>
                  </a:cubicBezTo>
                  <a:cubicBezTo>
                    <a:pt x="7193" y="14695"/>
                    <a:pt x="7193" y="14686"/>
                    <a:pt x="7193" y="14679"/>
                  </a:cubicBezTo>
                  <a:cubicBezTo>
                    <a:pt x="7249" y="14689"/>
                    <a:pt x="7450" y="14727"/>
                    <a:pt x="7601" y="14755"/>
                  </a:cubicBezTo>
                  <a:cubicBezTo>
                    <a:pt x="7585" y="14863"/>
                    <a:pt x="7585" y="14863"/>
                    <a:pt x="7585" y="14863"/>
                  </a:cubicBezTo>
                  <a:cubicBezTo>
                    <a:pt x="7670" y="14876"/>
                    <a:pt x="7670" y="14876"/>
                    <a:pt x="7670" y="14876"/>
                  </a:cubicBezTo>
                  <a:cubicBezTo>
                    <a:pt x="7677" y="14830"/>
                    <a:pt x="7677" y="14830"/>
                    <a:pt x="7677" y="14830"/>
                  </a:cubicBezTo>
                  <a:cubicBezTo>
                    <a:pt x="7720" y="14836"/>
                    <a:pt x="7720" y="14836"/>
                    <a:pt x="7720" y="14836"/>
                  </a:cubicBezTo>
                  <a:cubicBezTo>
                    <a:pt x="7729" y="14778"/>
                    <a:pt x="7729" y="14778"/>
                    <a:pt x="7729" y="14778"/>
                  </a:cubicBezTo>
                  <a:cubicBezTo>
                    <a:pt x="7736" y="14779"/>
                    <a:pt x="7743" y="14781"/>
                    <a:pt x="7749" y="14782"/>
                  </a:cubicBezTo>
                  <a:cubicBezTo>
                    <a:pt x="7728" y="14909"/>
                    <a:pt x="7728" y="14909"/>
                    <a:pt x="7728" y="14909"/>
                  </a:cubicBezTo>
                  <a:cubicBezTo>
                    <a:pt x="7728" y="14908"/>
                    <a:pt x="7728" y="14908"/>
                    <a:pt x="7727" y="14908"/>
                  </a:cubicBezTo>
                  <a:cubicBezTo>
                    <a:pt x="7712" y="14905"/>
                    <a:pt x="7689" y="14900"/>
                    <a:pt x="7663" y="14894"/>
                  </a:cubicBezTo>
                  <a:close/>
                  <a:moveTo>
                    <a:pt x="7723" y="14732"/>
                  </a:moveTo>
                  <a:cubicBezTo>
                    <a:pt x="7718" y="14762"/>
                    <a:pt x="7718" y="14762"/>
                    <a:pt x="7718" y="14762"/>
                  </a:cubicBezTo>
                  <a:cubicBezTo>
                    <a:pt x="7691" y="14757"/>
                    <a:pt x="7655" y="14751"/>
                    <a:pt x="7616" y="14743"/>
                  </a:cubicBezTo>
                  <a:cubicBezTo>
                    <a:pt x="7628" y="14670"/>
                    <a:pt x="7628" y="14670"/>
                    <a:pt x="7628" y="14670"/>
                  </a:cubicBezTo>
                  <a:cubicBezTo>
                    <a:pt x="7687" y="14679"/>
                    <a:pt x="7687" y="14679"/>
                    <a:pt x="7687" y="14679"/>
                  </a:cubicBezTo>
                  <a:cubicBezTo>
                    <a:pt x="7680" y="14725"/>
                    <a:pt x="7680" y="14725"/>
                    <a:pt x="7680" y="14725"/>
                  </a:cubicBezTo>
                  <a:lnTo>
                    <a:pt x="7723" y="14732"/>
                  </a:lnTo>
                  <a:close/>
                  <a:moveTo>
                    <a:pt x="7716" y="14776"/>
                  </a:moveTo>
                  <a:cubicBezTo>
                    <a:pt x="7709" y="14821"/>
                    <a:pt x="7709" y="14821"/>
                    <a:pt x="7709" y="14821"/>
                  </a:cubicBezTo>
                  <a:cubicBezTo>
                    <a:pt x="7666" y="14815"/>
                    <a:pt x="7666" y="14815"/>
                    <a:pt x="7666" y="14815"/>
                  </a:cubicBezTo>
                  <a:cubicBezTo>
                    <a:pt x="7659" y="14861"/>
                    <a:pt x="7659" y="14861"/>
                    <a:pt x="7659" y="14861"/>
                  </a:cubicBezTo>
                  <a:cubicBezTo>
                    <a:pt x="7600" y="14852"/>
                    <a:pt x="7600" y="14852"/>
                    <a:pt x="7600" y="14852"/>
                  </a:cubicBezTo>
                  <a:cubicBezTo>
                    <a:pt x="7614" y="14757"/>
                    <a:pt x="7614" y="14757"/>
                    <a:pt x="7614" y="14757"/>
                  </a:cubicBezTo>
                  <a:cubicBezTo>
                    <a:pt x="7653" y="14764"/>
                    <a:pt x="7688" y="14771"/>
                    <a:pt x="7716" y="14776"/>
                  </a:cubicBezTo>
                  <a:close/>
                  <a:moveTo>
                    <a:pt x="7731" y="14764"/>
                  </a:moveTo>
                  <a:cubicBezTo>
                    <a:pt x="7737" y="14721"/>
                    <a:pt x="7737" y="14721"/>
                    <a:pt x="7737" y="14721"/>
                  </a:cubicBezTo>
                  <a:cubicBezTo>
                    <a:pt x="7695" y="14714"/>
                    <a:pt x="7695" y="14714"/>
                    <a:pt x="7695" y="14714"/>
                  </a:cubicBezTo>
                  <a:cubicBezTo>
                    <a:pt x="7702" y="14668"/>
                    <a:pt x="7702" y="14668"/>
                    <a:pt x="7702" y="14668"/>
                  </a:cubicBezTo>
                  <a:cubicBezTo>
                    <a:pt x="7623" y="14656"/>
                    <a:pt x="7623" y="14656"/>
                    <a:pt x="7623" y="14656"/>
                  </a:cubicBezTo>
                  <a:cubicBezTo>
                    <a:pt x="7617" y="14655"/>
                    <a:pt x="7617" y="14655"/>
                    <a:pt x="7617" y="14655"/>
                  </a:cubicBezTo>
                  <a:cubicBezTo>
                    <a:pt x="7604" y="14741"/>
                    <a:pt x="7604" y="14741"/>
                    <a:pt x="7604" y="14741"/>
                  </a:cubicBezTo>
                  <a:cubicBezTo>
                    <a:pt x="7563" y="14734"/>
                    <a:pt x="7520" y="14725"/>
                    <a:pt x="7477" y="14717"/>
                  </a:cubicBezTo>
                  <a:cubicBezTo>
                    <a:pt x="7384" y="14700"/>
                    <a:pt x="7292" y="14683"/>
                    <a:pt x="7236" y="14672"/>
                  </a:cubicBezTo>
                  <a:cubicBezTo>
                    <a:pt x="7266" y="14672"/>
                    <a:pt x="7292" y="14672"/>
                    <a:pt x="7314" y="14672"/>
                  </a:cubicBezTo>
                  <a:cubicBezTo>
                    <a:pt x="7426" y="14669"/>
                    <a:pt x="7521" y="14632"/>
                    <a:pt x="7595" y="14589"/>
                  </a:cubicBezTo>
                  <a:cubicBezTo>
                    <a:pt x="7768" y="14664"/>
                    <a:pt x="7768" y="14664"/>
                    <a:pt x="7768" y="14664"/>
                  </a:cubicBezTo>
                  <a:cubicBezTo>
                    <a:pt x="7751" y="14768"/>
                    <a:pt x="7751" y="14768"/>
                    <a:pt x="7751" y="14768"/>
                  </a:cubicBezTo>
                  <a:cubicBezTo>
                    <a:pt x="7745" y="14767"/>
                    <a:pt x="7738" y="14766"/>
                    <a:pt x="7731" y="14764"/>
                  </a:cubicBezTo>
                  <a:close/>
                  <a:moveTo>
                    <a:pt x="7610" y="14581"/>
                  </a:moveTo>
                  <a:cubicBezTo>
                    <a:pt x="7674" y="14541"/>
                    <a:pt x="7720" y="14497"/>
                    <a:pt x="7745" y="14471"/>
                  </a:cubicBezTo>
                  <a:cubicBezTo>
                    <a:pt x="7752" y="14475"/>
                    <a:pt x="7758" y="14480"/>
                    <a:pt x="7767" y="14486"/>
                  </a:cubicBezTo>
                  <a:cubicBezTo>
                    <a:pt x="7775" y="14492"/>
                    <a:pt x="7784" y="14499"/>
                    <a:pt x="7794" y="14506"/>
                  </a:cubicBezTo>
                  <a:cubicBezTo>
                    <a:pt x="7771" y="14650"/>
                    <a:pt x="7771" y="14650"/>
                    <a:pt x="7771" y="14650"/>
                  </a:cubicBezTo>
                  <a:lnTo>
                    <a:pt x="7610" y="14581"/>
                  </a:lnTo>
                  <a:close/>
                  <a:moveTo>
                    <a:pt x="8266" y="13687"/>
                  </a:moveTo>
                  <a:cubicBezTo>
                    <a:pt x="8264" y="13616"/>
                    <a:pt x="8264" y="13616"/>
                    <a:pt x="8264" y="13616"/>
                  </a:cubicBezTo>
                  <a:cubicBezTo>
                    <a:pt x="8119" y="13619"/>
                    <a:pt x="8119" y="13619"/>
                    <a:pt x="8119" y="13619"/>
                  </a:cubicBezTo>
                  <a:cubicBezTo>
                    <a:pt x="8114" y="13619"/>
                    <a:pt x="8114" y="13619"/>
                    <a:pt x="8114" y="13619"/>
                  </a:cubicBezTo>
                  <a:cubicBezTo>
                    <a:pt x="8114" y="13415"/>
                    <a:pt x="8114" y="13415"/>
                    <a:pt x="8114" y="13415"/>
                  </a:cubicBezTo>
                  <a:cubicBezTo>
                    <a:pt x="8170" y="13413"/>
                    <a:pt x="8223" y="13411"/>
                    <a:pt x="8270" y="13410"/>
                  </a:cubicBezTo>
                  <a:cubicBezTo>
                    <a:pt x="8270" y="13704"/>
                    <a:pt x="8270" y="13704"/>
                    <a:pt x="8270" y="13704"/>
                  </a:cubicBezTo>
                  <a:cubicBezTo>
                    <a:pt x="8114" y="13710"/>
                    <a:pt x="8114" y="13710"/>
                    <a:pt x="8114" y="13710"/>
                  </a:cubicBezTo>
                  <a:cubicBezTo>
                    <a:pt x="8114" y="13690"/>
                    <a:pt x="8114" y="13690"/>
                    <a:pt x="8114" y="13690"/>
                  </a:cubicBezTo>
                  <a:lnTo>
                    <a:pt x="8266" y="13687"/>
                  </a:lnTo>
                  <a:close/>
                  <a:moveTo>
                    <a:pt x="8126" y="13632"/>
                  </a:moveTo>
                  <a:cubicBezTo>
                    <a:pt x="8251" y="13630"/>
                    <a:pt x="8251" y="13630"/>
                    <a:pt x="8251" y="13630"/>
                  </a:cubicBezTo>
                  <a:cubicBezTo>
                    <a:pt x="8252" y="13674"/>
                    <a:pt x="8252" y="13674"/>
                    <a:pt x="8252" y="13674"/>
                  </a:cubicBezTo>
                  <a:cubicBezTo>
                    <a:pt x="8127" y="13677"/>
                    <a:pt x="8127" y="13677"/>
                    <a:pt x="8127" y="13677"/>
                  </a:cubicBezTo>
                  <a:lnTo>
                    <a:pt x="8126" y="13632"/>
                  </a:lnTo>
                  <a:close/>
                  <a:moveTo>
                    <a:pt x="8284" y="13703"/>
                  </a:moveTo>
                  <a:cubicBezTo>
                    <a:pt x="8284" y="13409"/>
                    <a:pt x="8284" y="13409"/>
                    <a:pt x="8284" y="13409"/>
                  </a:cubicBezTo>
                  <a:cubicBezTo>
                    <a:pt x="8371" y="13407"/>
                    <a:pt x="8435" y="13405"/>
                    <a:pt x="8455" y="13404"/>
                  </a:cubicBezTo>
                  <a:cubicBezTo>
                    <a:pt x="8455" y="13696"/>
                    <a:pt x="8455" y="13696"/>
                    <a:pt x="8455" y="13696"/>
                  </a:cubicBezTo>
                  <a:lnTo>
                    <a:pt x="8284" y="13703"/>
                  </a:lnTo>
                  <a:close/>
                  <a:moveTo>
                    <a:pt x="8694" y="13684"/>
                  </a:moveTo>
                  <a:cubicBezTo>
                    <a:pt x="8665" y="13688"/>
                    <a:pt x="8665" y="13688"/>
                    <a:pt x="8665" y="13688"/>
                  </a:cubicBezTo>
                  <a:cubicBezTo>
                    <a:pt x="8469" y="13696"/>
                    <a:pt x="8469" y="13696"/>
                    <a:pt x="8469" y="13696"/>
                  </a:cubicBezTo>
                  <a:cubicBezTo>
                    <a:pt x="8469" y="13390"/>
                    <a:pt x="8469" y="13390"/>
                    <a:pt x="8469" y="13390"/>
                  </a:cubicBezTo>
                  <a:cubicBezTo>
                    <a:pt x="8462" y="13390"/>
                    <a:pt x="8462" y="13390"/>
                    <a:pt x="8462" y="13390"/>
                  </a:cubicBezTo>
                  <a:cubicBezTo>
                    <a:pt x="8462" y="13390"/>
                    <a:pt x="7587" y="13416"/>
                    <a:pt x="7356" y="13426"/>
                  </a:cubicBezTo>
                  <a:cubicBezTo>
                    <a:pt x="7351" y="13427"/>
                    <a:pt x="7347" y="13427"/>
                    <a:pt x="7342" y="13427"/>
                  </a:cubicBezTo>
                  <a:cubicBezTo>
                    <a:pt x="7386" y="12877"/>
                    <a:pt x="7386" y="12877"/>
                    <a:pt x="7386" y="12877"/>
                  </a:cubicBezTo>
                  <a:cubicBezTo>
                    <a:pt x="8067" y="11478"/>
                    <a:pt x="8067" y="11478"/>
                    <a:pt x="8067" y="11478"/>
                  </a:cubicBezTo>
                  <a:cubicBezTo>
                    <a:pt x="9399" y="12158"/>
                    <a:pt x="9399" y="12158"/>
                    <a:pt x="9399" y="12158"/>
                  </a:cubicBezTo>
                  <a:cubicBezTo>
                    <a:pt x="9348" y="12266"/>
                    <a:pt x="9348" y="12266"/>
                    <a:pt x="9348" y="12266"/>
                  </a:cubicBezTo>
                  <a:lnTo>
                    <a:pt x="8694" y="13684"/>
                  </a:lnTo>
                  <a:close/>
                  <a:moveTo>
                    <a:pt x="8096" y="11419"/>
                  </a:moveTo>
                  <a:cubicBezTo>
                    <a:pt x="9307" y="8934"/>
                    <a:pt x="9307" y="8934"/>
                    <a:pt x="9307" y="8934"/>
                  </a:cubicBezTo>
                  <a:cubicBezTo>
                    <a:pt x="9483" y="9030"/>
                    <a:pt x="9865" y="9236"/>
                    <a:pt x="10022" y="9303"/>
                  </a:cubicBezTo>
                  <a:cubicBezTo>
                    <a:pt x="10103" y="9337"/>
                    <a:pt x="10259" y="9409"/>
                    <a:pt x="10394" y="9471"/>
                  </a:cubicBezTo>
                  <a:cubicBezTo>
                    <a:pt x="10491" y="9516"/>
                    <a:pt x="10577" y="9556"/>
                    <a:pt x="10618" y="9575"/>
                  </a:cubicBezTo>
                  <a:cubicBezTo>
                    <a:pt x="9427" y="12098"/>
                    <a:pt x="9427" y="12098"/>
                    <a:pt x="9427" y="12098"/>
                  </a:cubicBezTo>
                  <a:lnTo>
                    <a:pt x="8096" y="11419"/>
                  </a:lnTo>
                  <a:close/>
                  <a:moveTo>
                    <a:pt x="10666" y="9525"/>
                  </a:moveTo>
                  <a:cubicBezTo>
                    <a:pt x="10609" y="9499"/>
                    <a:pt x="10201" y="9308"/>
                    <a:pt x="10048" y="9243"/>
                  </a:cubicBezTo>
                  <a:cubicBezTo>
                    <a:pt x="9888" y="9175"/>
                    <a:pt x="9466" y="8946"/>
                    <a:pt x="9308" y="8860"/>
                  </a:cubicBezTo>
                  <a:cubicBezTo>
                    <a:pt x="9151" y="8776"/>
                    <a:pt x="8808" y="8559"/>
                    <a:pt x="8705" y="8498"/>
                  </a:cubicBezTo>
                  <a:cubicBezTo>
                    <a:pt x="8657" y="8469"/>
                    <a:pt x="8505" y="8359"/>
                    <a:pt x="8367" y="8258"/>
                  </a:cubicBezTo>
                  <a:cubicBezTo>
                    <a:pt x="8298" y="8208"/>
                    <a:pt x="8233" y="8159"/>
                    <a:pt x="8184" y="8123"/>
                  </a:cubicBezTo>
                  <a:cubicBezTo>
                    <a:pt x="8260" y="8114"/>
                    <a:pt x="8358" y="8100"/>
                    <a:pt x="8440" y="8081"/>
                  </a:cubicBezTo>
                  <a:cubicBezTo>
                    <a:pt x="8521" y="8062"/>
                    <a:pt x="8594" y="8020"/>
                    <a:pt x="8656" y="7979"/>
                  </a:cubicBezTo>
                  <a:cubicBezTo>
                    <a:pt x="8693" y="7954"/>
                    <a:pt x="8725" y="7930"/>
                    <a:pt x="8749" y="7910"/>
                  </a:cubicBezTo>
                  <a:cubicBezTo>
                    <a:pt x="8814" y="7964"/>
                    <a:pt x="8888" y="8011"/>
                    <a:pt x="8967" y="8046"/>
                  </a:cubicBezTo>
                  <a:cubicBezTo>
                    <a:pt x="9129" y="8116"/>
                    <a:pt x="9735" y="8390"/>
                    <a:pt x="10245" y="8558"/>
                  </a:cubicBezTo>
                  <a:cubicBezTo>
                    <a:pt x="10689" y="8704"/>
                    <a:pt x="11084" y="8779"/>
                    <a:pt x="11180" y="8797"/>
                  </a:cubicBezTo>
                  <a:cubicBezTo>
                    <a:pt x="11174" y="8878"/>
                    <a:pt x="11149" y="9059"/>
                    <a:pt x="11047" y="9165"/>
                  </a:cubicBezTo>
                  <a:cubicBezTo>
                    <a:pt x="10975" y="9241"/>
                    <a:pt x="10870" y="9340"/>
                    <a:pt x="10784" y="9419"/>
                  </a:cubicBezTo>
                  <a:cubicBezTo>
                    <a:pt x="10736" y="9463"/>
                    <a:pt x="10694" y="9500"/>
                    <a:pt x="10666" y="9525"/>
                  </a:cubicBezTo>
                  <a:close/>
                  <a:moveTo>
                    <a:pt x="11152" y="8636"/>
                  </a:moveTo>
                  <a:cubicBezTo>
                    <a:pt x="11103" y="8627"/>
                    <a:pt x="11033" y="8613"/>
                    <a:pt x="10947" y="8593"/>
                  </a:cubicBezTo>
                  <a:cubicBezTo>
                    <a:pt x="10776" y="8554"/>
                    <a:pt x="10541" y="8495"/>
                    <a:pt x="10292" y="8413"/>
                  </a:cubicBezTo>
                  <a:cubicBezTo>
                    <a:pt x="10288" y="8412"/>
                    <a:pt x="10283" y="8410"/>
                    <a:pt x="10279" y="8409"/>
                  </a:cubicBezTo>
                  <a:cubicBezTo>
                    <a:pt x="10716" y="7170"/>
                    <a:pt x="10716" y="7170"/>
                    <a:pt x="10716" y="7170"/>
                  </a:cubicBezTo>
                  <a:cubicBezTo>
                    <a:pt x="10723" y="7174"/>
                    <a:pt x="10728" y="7177"/>
                    <a:pt x="10730" y="7179"/>
                  </a:cubicBezTo>
                  <a:cubicBezTo>
                    <a:pt x="10732" y="7181"/>
                    <a:pt x="10734" y="7182"/>
                    <a:pt x="10735" y="7182"/>
                  </a:cubicBezTo>
                  <a:cubicBezTo>
                    <a:pt x="10738" y="7185"/>
                    <a:pt x="10740" y="7185"/>
                    <a:pt x="10742" y="7186"/>
                  </a:cubicBezTo>
                  <a:cubicBezTo>
                    <a:pt x="10744" y="7187"/>
                    <a:pt x="10745" y="7187"/>
                    <a:pt x="10746" y="7187"/>
                  </a:cubicBezTo>
                  <a:cubicBezTo>
                    <a:pt x="10748" y="7188"/>
                    <a:pt x="10748" y="7188"/>
                    <a:pt x="10749" y="7188"/>
                  </a:cubicBezTo>
                  <a:cubicBezTo>
                    <a:pt x="10749" y="7188"/>
                    <a:pt x="10750" y="7188"/>
                    <a:pt x="10750" y="7188"/>
                  </a:cubicBezTo>
                  <a:cubicBezTo>
                    <a:pt x="10751" y="7188"/>
                    <a:pt x="10751" y="7188"/>
                    <a:pt x="10752" y="7188"/>
                  </a:cubicBezTo>
                  <a:cubicBezTo>
                    <a:pt x="10753" y="7188"/>
                    <a:pt x="10755" y="7189"/>
                    <a:pt x="10757" y="7189"/>
                  </a:cubicBezTo>
                  <a:cubicBezTo>
                    <a:pt x="10762" y="7189"/>
                    <a:pt x="10769" y="7190"/>
                    <a:pt x="10777" y="7190"/>
                  </a:cubicBezTo>
                  <a:cubicBezTo>
                    <a:pt x="10793" y="7192"/>
                    <a:pt x="10817" y="7193"/>
                    <a:pt x="10845" y="7195"/>
                  </a:cubicBezTo>
                  <a:cubicBezTo>
                    <a:pt x="10902" y="7200"/>
                    <a:pt x="10978" y="7205"/>
                    <a:pt x="11053" y="7211"/>
                  </a:cubicBezTo>
                  <a:cubicBezTo>
                    <a:pt x="11204" y="7222"/>
                    <a:pt x="11355" y="7233"/>
                    <a:pt x="11356" y="7233"/>
                  </a:cubicBezTo>
                  <a:cubicBezTo>
                    <a:pt x="11356" y="7233"/>
                    <a:pt x="11543" y="7243"/>
                    <a:pt x="11643" y="7243"/>
                  </a:cubicBezTo>
                  <a:cubicBezTo>
                    <a:pt x="11658" y="7243"/>
                    <a:pt x="11672" y="7243"/>
                    <a:pt x="11683" y="7242"/>
                  </a:cubicBezTo>
                  <a:cubicBezTo>
                    <a:pt x="11693" y="7241"/>
                    <a:pt x="11699" y="7242"/>
                    <a:pt x="11709" y="7239"/>
                  </a:cubicBezTo>
                  <a:cubicBezTo>
                    <a:pt x="11777" y="7225"/>
                    <a:pt x="11832" y="7182"/>
                    <a:pt x="11874" y="7129"/>
                  </a:cubicBezTo>
                  <a:cubicBezTo>
                    <a:pt x="11883" y="7117"/>
                    <a:pt x="11892" y="7104"/>
                    <a:pt x="11901" y="7091"/>
                  </a:cubicBezTo>
                  <a:cubicBezTo>
                    <a:pt x="11975" y="7125"/>
                    <a:pt x="12008" y="7206"/>
                    <a:pt x="12014" y="7226"/>
                  </a:cubicBezTo>
                  <a:cubicBezTo>
                    <a:pt x="12015" y="7229"/>
                    <a:pt x="12015" y="7230"/>
                    <a:pt x="12015" y="7230"/>
                  </a:cubicBezTo>
                  <a:cubicBezTo>
                    <a:pt x="12015" y="7230"/>
                    <a:pt x="12015" y="7230"/>
                    <a:pt x="12015" y="7230"/>
                  </a:cubicBezTo>
                  <a:cubicBezTo>
                    <a:pt x="12476" y="8728"/>
                    <a:pt x="12476" y="8728"/>
                    <a:pt x="12476" y="8728"/>
                  </a:cubicBezTo>
                  <a:cubicBezTo>
                    <a:pt x="12349" y="8716"/>
                    <a:pt x="12234" y="8712"/>
                    <a:pt x="12133" y="8707"/>
                  </a:cubicBezTo>
                  <a:cubicBezTo>
                    <a:pt x="11938" y="8699"/>
                    <a:pt x="11277" y="8654"/>
                    <a:pt x="11225" y="8650"/>
                  </a:cubicBezTo>
                  <a:cubicBezTo>
                    <a:pt x="11217" y="8648"/>
                    <a:pt x="11192" y="8644"/>
                    <a:pt x="11152" y="8636"/>
                  </a:cubicBezTo>
                  <a:close/>
                  <a:moveTo>
                    <a:pt x="11822" y="7088"/>
                  </a:moveTo>
                  <a:cubicBezTo>
                    <a:pt x="11786" y="7133"/>
                    <a:pt x="11744" y="7165"/>
                    <a:pt x="11694" y="7175"/>
                  </a:cubicBezTo>
                  <a:cubicBezTo>
                    <a:pt x="11692" y="7175"/>
                    <a:pt x="11692" y="7175"/>
                    <a:pt x="11692" y="7175"/>
                  </a:cubicBezTo>
                  <a:cubicBezTo>
                    <a:pt x="11689" y="7176"/>
                    <a:pt x="11689" y="7176"/>
                    <a:pt x="11689" y="7176"/>
                  </a:cubicBezTo>
                  <a:cubicBezTo>
                    <a:pt x="11689" y="7176"/>
                    <a:pt x="11689" y="7176"/>
                    <a:pt x="11689" y="7176"/>
                  </a:cubicBezTo>
                  <a:cubicBezTo>
                    <a:pt x="11687" y="7176"/>
                    <a:pt x="11684" y="7177"/>
                    <a:pt x="11679" y="7177"/>
                  </a:cubicBezTo>
                  <a:cubicBezTo>
                    <a:pt x="11670" y="7177"/>
                    <a:pt x="11658" y="7177"/>
                    <a:pt x="11643" y="7177"/>
                  </a:cubicBezTo>
                  <a:cubicBezTo>
                    <a:pt x="11595" y="7177"/>
                    <a:pt x="11524" y="7175"/>
                    <a:pt x="11465" y="7172"/>
                  </a:cubicBezTo>
                  <a:cubicBezTo>
                    <a:pt x="11406" y="7170"/>
                    <a:pt x="11360" y="7167"/>
                    <a:pt x="11360" y="7167"/>
                  </a:cubicBezTo>
                  <a:cubicBezTo>
                    <a:pt x="11360" y="7167"/>
                    <a:pt x="11217" y="7157"/>
                    <a:pt x="11070" y="7146"/>
                  </a:cubicBezTo>
                  <a:cubicBezTo>
                    <a:pt x="10938" y="7137"/>
                    <a:pt x="10802" y="7127"/>
                    <a:pt x="10766" y="7124"/>
                  </a:cubicBezTo>
                  <a:cubicBezTo>
                    <a:pt x="10765" y="7123"/>
                    <a:pt x="10765" y="7123"/>
                    <a:pt x="10764" y="7123"/>
                  </a:cubicBezTo>
                  <a:cubicBezTo>
                    <a:pt x="10759" y="7119"/>
                    <a:pt x="10752" y="7115"/>
                    <a:pt x="10743" y="7109"/>
                  </a:cubicBezTo>
                  <a:cubicBezTo>
                    <a:pt x="10725" y="7098"/>
                    <a:pt x="10699" y="7082"/>
                    <a:pt x="10668" y="7063"/>
                  </a:cubicBezTo>
                  <a:cubicBezTo>
                    <a:pt x="10605" y="7025"/>
                    <a:pt x="10522" y="6976"/>
                    <a:pt x="10437" y="6925"/>
                  </a:cubicBezTo>
                  <a:cubicBezTo>
                    <a:pt x="10266" y="6824"/>
                    <a:pt x="10091" y="6721"/>
                    <a:pt x="10061" y="6706"/>
                  </a:cubicBezTo>
                  <a:cubicBezTo>
                    <a:pt x="10059" y="6705"/>
                    <a:pt x="10059" y="6704"/>
                    <a:pt x="10057" y="6704"/>
                  </a:cubicBezTo>
                  <a:cubicBezTo>
                    <a:pt x="10056" y="6703"/>
                    <a:pt x="10055" y="6702"/>
                    <a:pt x="10054" y="6700"/>
                  </a:cubicBezTo>
                  <a:cubicBezTo>
                    <a:pt x="10050" y="6694"/>
                    <a:pt x="10044" y="6683"/>
                    <a:pt x="10037" y="6668"/>
                  </a:cubicBezTo>
                  <a:cubicBezTo>
                    <a:pt x="10025" y="6636"/>
                    <a:pt x="10013" y="6583"/>
                    <a:pt x="10013" y="6504"/>
                  </a:cubicBezTo>
                  <a:cubicBezTo>
                    <a:pt x="10013" y="6494"/>
                    <a:pt x="10014" y="6484"/>
                    <a:pt x="10014" y="6474"/>
                  </a:cubicBezTo>
                  <a:cubicBezTo>
                    <a:pt x="10019" y="6341"/>
                    <a:pt x="10043" y="6025"/>
                    <a:pt x="10043" y="5766"/>
                  </a:cubicBezTo>
                  <a:cubicBezTo>
                    <a:pt x="10043" y="5659"/>
                    <a:pt x="10039" y="5562"/>
                    <a:pt x="10027" y="5489"/>
                  </a:cubicBezTo>
                  <a:cubicBezTo>
                    <a:pt x="10008" y="5365"/>
                    <a:pt x="9920" y="5018"/>
                    <a:pt x="9837" y="4699"/>
                  </a:cubicBezTo>
                  <a:cubicBezTo>
                    <a:pt x="9764" y="4417"/>
                    <a:pt x="9695" y="4159"/>
                    <a:pt x="9679" y="4103"/>
                  </a:cubicBezTo>
                  <a:cubicBezTo>
                    <a:pt x="10840" y="3769"/>
                    <a:pt x="10840" y="3769"/>
                    <a:pt x="10840" y="3769"/>
                  </a:cubicBezTo>
                  <a:cubicBezTo>
                    <a:pt x="10841" y="3772"/>
                    <a:pt x="10842" y="3775"/>
                    <a:pt x="10843" y="3778"/>
                  </a:cubicBezTo>
                  <a:cubicBezTo>
                    <a:pt x="10854" y="3812"/>
                    <a:pt x="10897" y="3969"/>
                    <a:pt x="10973" y="4125"/>
                  </a:cubicBezTo>
                  <a:cubicBezTo>
                    <a:pt x="11050" y="4282"/>
                    <a:pt x="11158" y="4445"/>
                    <a:pt x="11318" y="4489"/>
                  </a:cubicBezTo>
                  <a:cubicBezTo>
                    <a:pt x="11453" y="4525"/>
                    <a:pt x="11586" y="4534"/>
                    <a:pt x="11699" y="4534"/>
                  </a:cubicBezTo>
                  <a:cubicBezTo>
                    <a:pt x="11831" y="4534"/>
                    <a:pt x="11938" y="4521"/>
                    <a:pt x="11976" y="4521"/>
                  </a:cubicBezTo>
                  <a:cubicBezTo>
                    <a:pt x="12014" y="4521"/>
                    <a:pt x="12074" y="4522"/>
                    <a:pt x="12126" y="4548"/>
                  </a:cubicBezTo>
                  <a:cubicBezTo>
                    <a:pt x="12176" y="4573"/>
                    <a:pt x="12222" y="4617"/>
                    <a:pt x="12241" y="4718"/>
                  </a:cubicBezTo>
                  <a:cubicBezTo>
                    <a:pt x="12241" y="4718"/>
                    <a:pt x="12241" y="4718"/>
                    <a:pt x="12241" y="4719"/>
                  </a:cubicBezTo>
                  <a:cubicBezTo>
                    <a:pt x="12240" y="4722"/>
                    <a:pt x="12240" y="4725"/>
                    <a:pt x="12240" y="4729"/>
                  </a:cubicBezTo>
                  <a:cubicBezTo>
                    <a:pt x="12240" y="4755"/>
                    <a:pt x="12244" y="4809"/>
                    <a:pt x="12245" y="4823"/>
                  </a:cubicBezTo>
                  <a:cubicBezTo>
                    <a:pt x="11971" y="6701"/>
                    <a:pt x="11971" y="6701"/>
                    <a:pt x="11971" y="6701"/>
                  </a:cubicBezTo>
                  <a:cubicBezTo>
                    <a:pt x="11971" y="6701"/>
                    <a:pt x="11968" y="6716"/>
                    <a:pt x="11963" y="6741"/>
                  </a:cubicBezTo>
                  <a:cubicBezTo>
                    <a:pt x="11958" y="6767"/>
                    <a:pt x="11950" y="6803"/>
                    <a:pt x="11938" y="6843"/>
                  </a:cubicBezTo>
                  <a:cubicBezTo>
                    <a:pt x="11915" y="6922"/>
                    <a:pt x="11877" y="7020"/>
                    <a:pt x="11822" y="7088"/>
                  </a:cubicBezTo>
                  <a:close/>
                  <a:moveTo>
                    <a:pt x="12155" y="4489"/>
                  </a:moveTo>
                  <a:cubicBezTo>
                    <a:pt x="12086" y="4456"/>
                    <a:pt x="12016" y="4456"/>
                    <a:pt x="11976" y="4455"/>
                  </a:cubicBezTo>
                  <a:cubicBezTo>
                    <a:pt x="11928" y="4456"/>
                    <a:pt x="11828" y="4469"/>
                    <a:pt x="11699" y="4469"/>
                  </a:cubicBezTo>
                  <a:cubicBezTo>
                    <a:pt x="11590" y="4469"/>
                    <a:pt x="11462" y="4459"/>
                    <a:pt x="11335" y="4426"/>
                  </a:cubicBezTo>
                  <a:cubicBezTo>
                    <a:pt x="11211" y="4394"/>
                    <a:pt x="11104" y="4248"/>
                    <a:pt x="11032" y="4097"/>
                  </a:cubicBezTo>
                  <a:cubicBezTo>
                    <a:pt x="10959" y="3946"/>
                    <a:pt x="10917" y="3795"/>
                    <a:pt x="10905" y="3757"/>
                  </a:cubicBezTo>
                  <a:cubicBezTo>
                    <a:pt x="10903" y="3751"/>
                    <a:pt x="10894" y="3718"/>
                    <a:pt x="10883" y="3671"/>
                  </a:cubicBezTo>
                  <a:cubicBezTo>
                    <a:pt x="10871" y="3624"/>
                    <a:pt x="10856" y="3560"/>
                    <a:pt x="10838" y="3486"/>
                  </a:cubicBezTo>
                  <a:cubicBezTo>
                    <a:pt x="10805" y="3350"/>
                    <a:pt x="10764" y="3179"/>
                    <a:pt x="10720" y="3007"/>
                  </a:cubicBezTo>
                  <a:cubicBezTo>
                    <a:pt x="10908" y="3003"/>
                    <a:pt x="12289" y="2973"/>
                    <a:pt x="12289" y="2973"/>
                  </a:cubicBezTo>
                  <a:cubicBezTo>
                    <a:pt x="12289" y="2973"/>
                    <a:pt x="12289" y="2973"/>
                    <a:pt x="12289" y="2973"/>
                  </a:cubicBezTo>
                  <a:cubicBezTo>
                    <a:pt x="12290" y="2973"/>
                    <a:pt x="12290" y="2973"/>
                    <a:pt x="12290" y="2973"/>
                  </a:cubicBezTo>
                  <a:cubicBezTo>
                    <a:pt x="12290" y="2973"/>
                    <a:pt x="12291" y="2973"/>
                    <a:pt x="12295" y="2973"/>
                  </a:cubicBezTo>
                  <a:cubicBezTo>
                    <a:pt x="12322" y="2972"/>
                    <a:pt x="12426" y="2979"/>
                    <a:pt x="12494" y="3040"/>
                  </a:cubicBezTo>
                  <a:cubicBezTo>
                    <a:pt x="13232" y="4163"/>
                    <a:pt x="13232" y="4163"/>
                    <a:pt x="13232" y="4163"/>
                  </a:cubicBezTo>
                  <a:cubicBezTo>
                    <a:pt x="13232" y="4163"/>
                    <a:pt x="13232" y="4163"/>
                    <a:pt x="13233" y="4165"/>
                  </a:cubicBezTo>
                  <a:cubicBezTo>
                    <a:pt x="13234" y="4166"/>
                    <a:pt x="13235" y="4168"/>
                    <a:pt x="13237" y="4171"/>
                  </a:cubicBezTo>
                  <a:cubicBezTo>
                    <a:pt x="13240" y="4178"/>
                    <a:pt x="13244" y="4187"/>
                    <a:pt x="13249" y="4200"/>
                  </a:cubicBezTo>
                  <a:cubicBezTo>
                    <a:pt x="13258" y="4225"/>
                    <a:pt x="13267" y="4262"/>
                    <a:pt x="13267" y="4309"/>
                  </a:cubicBezTo>
                  <a:cubicBezTo>
                    <a:pt x="13267" y="4360"/>
                    <a:pt x="13257" y="4423"/>
                    <a:pt x="13223" y="4495"/>
                  </a:cubicBezTo>
                  <a:cubicBezTo>
                    <a:pt x="13146" y="4658"/>
                    <a:pt x="13083" y="4762"/>
                    <a:pt x="13057" y="4803"/>
                  </a:cubicBezTo>
                  <a:cubicBezTo>
                    <a:pt x="13057" y="4803"/>
                    <a:pt x="13056" y="4804"/>
                    <a:pt x="13056" y="4804"/>
                  </a:cubicBezTo>
                  <a:cubicBezTo>
                    <a:pt x="12897" y="4758"/>
                    <a:pt x="12897" y="4758"/>
                    <a:pt x="12897" y="4758"/>
                  </a:cubicBezTo>
                  <a:cubicBezTo>
                    <a:pt x="12717" y="4709"/>
                    <a:pt x="12389" y="4686"/>
                    <a:pt x="12299" y="4680"/>
                  </a:cubicBezTo>
                  <a:cubicBezTo>
                    <a:pt x="12275" y="4579"/>
                    <a:pt x="12217" y="4518"/>
                    <a:pt x="12155" y="4489"/>
                  </a:cubicBezTo>
                  <a:close/>
                  <a:moveTo>
                    <a:pt x="12876" y="1058"/>
                  </a:moveTo>
                  <a:cubicBezTo>
                    <a:pt x="12879" y="1064"/>
                    <a:pt x="12881" y="1071"/>
                    <a:pt x="12884" y="1078"/>
                  </a:cubicBezTo>
                  <a:cubicBezTo>
                    <a:pt x="12774" y="1100"/>
                    <a:pt x="12651" y="1117"/>
                    <a:pt x="12549" y="1145"/>
                  </a:cubicBezTo>
                  <a:cubicBezTo>
                    <a:pt x="12376" y="1193"/>
                    <a:pt x="12263" y="1247"/>
                    <a:pt x="12234" y="1263"/>
                  </a:cubicBezTo>
                  <a:cubicBezTo>
                    <a:pt x="12162" y="1304"/>
                    <a:pt x="11798" y="1599"/>
                    <a:pt x="11616" y="1725"/>
                  </a:cubicBezTo>
                  <a:cubicBezTo>
                    <a:pt x="11569" y="1769"/>
                    <a:pt x="11523" y="1812"/>
                    <a:pt x="11477" y="1855"/>
                  </a:cubicBezTo>
                  <a:cubicBezTo>
                    <a:pt x="11331" y="1992"/>
                    <a:pt x="11194" y="2122"/>
                    <a:pt x="11083" y="2224"/>
                  </a:cubicBezTo>
                  <a:cubicBezTo>
                    <a:pt x="11028" y="2275"/>
                    <a:pt x="10979" y="2319"/>
                    <a:pt x="10939" y="2353"/>
                  </a:cubicBezTo>
                  <a:cubicBezTo>
                    <a:pt x="10898" y="2388"/>
                    <a:pt x="10868" y="2413"/>
                    <a:pt x="10842" y="2428"/>
                  </a:cubicBezTo>
                  <a:cubicBezTo>
                    <a:pt x="10823" y="2439"/>
                    <a:pt x="10802" y="2448"/>
                    <a:pt x="10770" y="2460"/>
                  </a:cubicBezTo>
                  <a:cubicBezTo>
                    <a:pt x="10727" y="2475"/>
                    <a:pt x="10666" y="2495"/>
                    <a:pt x="10593" y="2518"/>
                  </a:cubicBezTo>
                  <a:cubicBezTo>
                    <a:pt x="10581" y="2473"/>
                    <a:pt x="10570" y="2433"/>
                    <a:pt x="10561" y="2399"/>
                  </a:cubicBezTo>
                  <a:cubicBezTo>
                    <a:pt x="10607" y="2385"/>
                    <a:pt x="10649" y="2371"/>
                    <a:pt x="10682" y="2360"/>
                  </a:cubicBezTo>
                  <a:cubicBezTo>
                    <a:pt x="10710" y="2351"/>
                    <a:pt x="10732" y="2343"/>
                    <a:pt x="10749" y="2336"/>
                  </a:cubicBezTo>
                  <a:cubicBezTo>
                    <a:pt x="10757" y="2333"/>
                    <a:pt x="10765" y="2330"/>
                    <a:pt x="10770" y="2327"/>
                  </a:cubicBezTo>
                  <a:cubicBezTo>
                    <a:pt x="10775" y="2325"/>
                    <a:pt x="10777" y="2324"/>
                    <a:pt x="10779" y="2323"/>
                  </a:cubicBezTo>
                  <a:cubicBezTo>
                    <a:pt x="10779" y="2323"/>
                    <a:pt x="10779" y="2323"/>
                    <a:pt x="10779" y="2323"/>
                  </a:cubicBezTo>
                  <a:cubicBezTo>
                    <a:pt x="10793" y="2315"/>
                    <a:pt x="10829" y="2286"/>
                    <a:pt x="10876" y="2245"/>
                  </a:cubicBezTo>
                  <a:cubicBezTo>
                    <a:pt x="11040" y="2101"/>
                    <a:pt x="11349" y="1802"/>
                    <a:pt x="11647" y="1529"/>
                  </a:cubicBezTo>
                  <a:cubicBezTo>
                    <a:pt x="11796" y="1393"/>
                    <a:pt x="11942" y="1262"/>
                    <a:pt x="12068" y="1160"/>
                  </a:cubicBezTo>
                  <a:cubicBezTo>
                    <a:pt x="12130" y="1109"/>
                    <a:pt x="12188" y="1065"/>
                    <a:pt x="12239" y="1030"/>
                  </a:cubicBezTo>
                  <a:cubicBezTo>
                    <a:pt x="12290" y="995"/>
                    <a:pt x="12333" y="969"/>
                    <a:pt x="12374" y="955"/>
                  </a:cubicBezTo>
                  <a:cubicBezTo>
                    <a:pt x="12467" y="923"/>
                    <a:pt x="12587" y="906"/>
                    <a:pt x="12730" y="896"/>
                  </a:cubicBezTo>
                  <a:cubicBezTo>
                    <a:pt x="12760" y="894"/>
                    <a:pt x="12792" y="892"/>
                    <a:pt x="12824" y="891"/>
                  </a:cubicBezTo>
                  <a:cubicBezTo>
                    <a:pt x="12836" y="939"/>
                    <a:pt x="12852" y="997"/>
                    <a:pt x="12876" y="1058"/>
                  </a:cubicBezTo>
                  <a:close/>
                  <a:moveTo>
                    <a:pt x="11851" y="1099"/>
                  </a:moveTo>
                  <a:cubicBezTo>
                    <a:pt x="11873" y="1075"/>
                    <a:pt x="11891" y="1054"/>
                    <a:pt x="11905" y="1034"/>
                  </a:cubicBezTo>
                  <a:cubicBezTo>
                    <a:pt x="11919" y="1014"/>
                    <a:pt x="11954" y="971"/>
                    <a:pt x="11996" y="931"/>
                  </a:cubicBezTo>
                  <a:cubicBezTo>
                    <a:pt x="12037" y="891"/>
                    <a:pt x="12086" y="853"/>
                    <a:pt x="12121" y="838"/>
                  </a:cubicBezTo>
                  <a:cubicBezTo>
                    <a:pt x="12200" y="802"/>
                    <a:pt x="12300" y="797"/>
                    <a:pt x="12424" y="793"/>
                  </a:cubicBezTo>
                  <a:cubicBezTo>
                    <a:pt x="12455" y="791"/>
                    <a:pt x="12603" y="790"/>
                    <a:pt x="12803" y="789"/>
                  </a:cubicBezTo>
                  <a:cubicBezTo>
                    <a:pt x="12806" y="809"/>
                    <a:pt x="12812" y="838"/>
                    <a:pt x="12820" y="874"/>
                  </a:cubicBezTo>
                  <a:cubicBezTo>
                    <a:pt x="12789" y="876"/>
                    <a:pt x="12758" y="877"/>
                    <a:pt x="12729" y="879"/>
                  </a:cubicBezTo>
                  <a:cubicBezTo>
                    <a:pt x="12585" y="890"/>
                    <a:pt x="12464" y="907"/>
                    <a:pt x="12368" y="940"/>
                  </a:cubicBezTo>
                  <a:cubicBezTo>
                    <a:pt x="12325" y="955"/>
                    <a:pt x="12281" y="981"/>
                    <a:pt x="12230" y="1016"/>
                  </a:cubicBezTo>
                  <a:cubicBezTo>
                    <a:pt x="12178" y="1051"/>
                    <a:pt x="12120" y="1096"/>
                    <a:pt x="12057" y="1147"/>
                  </a:cubicBezTo>
                  <a:cubicBezTo>
                    <a:pt x="11931" y="1250"/>
                    <a:pt x="11785" y="1380"/>
                    <a:pt x="11636" y="1517"/>
                  </a:cubicBezTo>
                  <a:cubicBezTo>
                    <a:pt x="11338" y="1791"/>
                    <a:pt x="11029" y="2090"/>
                    <a:pt x="10865" y="2233"/>
                  </a:cubicBezTo>
                  <a:cubicBezTo>
                    <a:pt x="10819" y="2273"/>
                    <a:pt x="10782" y="2303"/>
                    <a:pt x="10771" y="2309"/>
                  </a:cubicBezTo>
                  <a:cubicBezTo>
                    <a:pt x="10770" y="2309"/>
                    <a:pt x="10770" y="2309"/>
                    <a:pt x="10770" y="2309"/>
                  </a:cubicBezTo>
                  <a:cubicBezTo>
                    <a:pt x="10770" y="2309"/>
                    <a:pt x="10769" y="2309"/>
                    <a:pt x="10769" y="2310"/>
                  </a:cubicBezTo>
                  <a:cubicBezTo>
                    <a:pt x="10767" y="2310"/>
                    <a:pt x="10765" y="2311"/>
                    <a:pt x="10763" y="2312"/>
                  </a:cubicBezTo>
                  <a:cubicBezTo>
                    <a:pt x="10758" y="2315"/>
                    <a:pt x="10751" y="2318"/>
                    <a:pt x="10743" y="2321"/>
                  </a:cubicBezTo>
                  <a:cubicBezTo>
                    <a:pt x="10727" y="2327"/>
                    <a:pt x="10704" y="2335"/>
                    <a:pt x="10677" y="2344"/>
                  </a:cubicBezTo>
                  <a:cubicBezTo>
                    <a:pt x="10644" y="2356"/>
                    <a:pt x="10603" y="2369"/>
                    <a:pt x="10556" y="2383"/>
                  </a:cubicBezTo>
                  <a:cubicBezTo>
                    <a:pt x="10550" y="2359"/>
                    <a:pt x="10544" y="2339"/>
                    <a:pt x="10540" y="2322"/>
                  </a:cubicBezTo>
                  <a:cubicBezTo>
                    <a:pt x="10546" y="2321"/>
                    <a:pt x="10546" y="2321"/>
                    <a:pt x="10546" y="2321"/>
                  </a:cubicBezTo>
                  <a:cubicBezTo>
                    <a:pt x="10547" y="2320"/>
                    <a:pt x="10547" y="2320"/>
                    <a:pt x="10547" y="2320"/>
                  </a:cubicBezTo>
                  <a:cubicBezTo>
                    <a:pt x="10554" y="2317"/>
                    <a:pt x="10563" y="2315"/>
                    <a:pt x="10573" y="2311"/>
                  </a:cubicBezTo>
                  <a:cubicBezTo>
                    <a:pt x="10597" y="2302"/>
                    <a:pt x="10625" y="2291"/>
                    <a:pt x="10654" y="2267"/>
                  </a:cubicBezTo>
                  <a:cubicBezTo>
                    <a:pt x="10659" y="2263"/>
                    <a:pt x="10662" y="2260"/>
                    <a:pt x="10670" y="2253"/>
                  </a:cubicBezTo>
                  <a:cubicBezTo>
                    <a:pt x="10677" y="2246"/>
                    <a:pt x="10687" y="2237"/>
                    <a:pt x="10698" y="2226"/>
                  </a:cubicBezTo>
                  <a:cubicBezTo>
                    <a:pt x="10722" y="2204"/>
                    <a:pt x="10754" y="2173"/>
                    <a:pt x="10792" y="2137"/>
                  </a:cubicBezTo>
                  <a:cubicBezTo>
                    <a:pt x="10868" y="2064"/>
                    <a:pt x="10970" y="1967"/>
                    <a:pt x="11077" y="1864"/>
                  </a:cubicBezTo>
                  <a:cubicBezTo>
                    <a:pt x="11291" y="1657"/>
                    <a:pt x="11529" y="1429"/>
                    <a:pt x="11635" y="1325"/>
                  </a:cubicBezTo>
                  <a:cubicBezTo>
                    <a:pt x="11666" y="1295"/>
                    <a:pt x="11684" y="1277"/>
                    <a:pt x="11692" y="1269"/>
                  </a:cubicBezTo>
                  <a:cubicBezTo>
                    <a:pt x="11694" y="1267"/>
                    <a:pt x="11694" y="1267"/>
                    <a:pt x="11699" y="1260"/>
                  </a:cubicBezTo>
                  <a:cubicBezTo>
                    <a:pt x="11700" y="1260"/>
                    <a:pt x="11700" y="1259"/>
                    <a:pt x="11701" y="1258"/>
                  </a:cubicBezTo>
                  <a:cubicBezTo>
                    <a:pt x="11703" y="1256"/>
                    <a:pt x="11706" y="1253"/>
                    <a:pt x="11709" y="1249"/>
                  </a:cubicBezTo>
                  <a:cubicBezTo>
                    <a:pt x="11718" y="1240"/>
                    <a:pt x="11732" y="1225"/>
                    <a:pt x="11748" y="1209"/>
                  </a:cubicBezTo>
                  <a:cubicBezTo>
                    <a:pt x="11779" y="1176"/>
                    <a:pt x="11819" y="1135"/>
                    <a:pt x="11851" y="1099"/>
                  </a:cubicBezTo>
                  <a:close/>
                  <a:moveTo>
                    <a:pt x="11598" y="1280"/>
                  </a:moveTo>
                  <a:cubicBezTo>
                    <a:pt x="11603" y="1283"/>
                    <a:pt x="11608" y="1285"/>
                    <a:pt x="11612" y="1287"/>
                  </a:cubicBezTo>
                  <a:cubicBezTo>
                    <a:pt x="11612" y="1286"/>
                    <a:pt x="11612" y="1286"/>
                    <a:pt x="11612" y="1286"/>
                  </a:cubicBezTo>
                  <a:cubicBezTo>
                    <a:pt x="11608" y="1285"/>
                    <a:pt x="11603" y="1283"/>
                    <a:pt x="11598" y="1280"/>
                  </a:cubicBezTo>
                  <a:close/>
                  <a:moveTo>
                    <a:pt x="10594" y="226"/>
                  </a:moveTo>
                  <a:cubicBezTo>
                    <a:pt x="10595" y="226"/>
                    <a:pt x="10595" y="226"/>
                    <a:pt x="10595" y="226"/>
                  </a:cubicBezTo>
                  <a:cubicBezTo>
                    <a:pt x="10596" y="225"/>
                    <a:pt x="10732" y="176"/>
                    <a:pt x="10749" y="170"/>
                  </a:cubicBezTo>
                  <a:cubicBezTo>
                    <a:pt x="10888" y="172"/>
                    <a:pt x="10888" y="172"/>
                    <a:pt x="10888" y="172"/>
                  </a:cubicBezTo>
                  <a:cubicBezTo>
                    <a:pt x="10888" y="173"/>
                    <a:pt x="10888" y="173"/>
                    <a:pt x="10888" y="173"/>
                  </a:cubicBezTo>
                  <a:cubicBezTo>
                    <a:pt x="10899" y="172"/>
                    <a:pt x="10899" y="172"/>
                    <a:pt x="10899" y="172"/>
                  </a:cubicBezTo>
                  <a:cubicBezTo>
                    <a:pt x="11564" y="181"/>
                    <a:pt x="11564" y="181"/>
                    <a:pt x="11564" y="181"/>
                  </a:cubicBezTo>
                  <a:cubicBezTo>
                    <a:pt x="11565" y="205"/>
                    <a:pt x="11565" y="228"/>
                    <a:pt x="11565" y="253"/>
                  </a:cubicBezTo>
                  <a:cubicBezTo>
                    <a:pt x="11568" y="674"/>
                    <a:pt x="11702" y="923"/>
                    <a:pt x="11744" y="990"/>
                  </a:cubicBezTo>
                  <a:cubicBezTo>
                    <a:pt x="11729" y="1007"/>
                    <a:pt x="11711" y="1026"/>
                    <a:pt x="11693" y="1045"/>
                  </a:cubicBezTo>
                  <a:cubicBezTo>
                    <a:pt x="11654" y="1087"/>
                    <a:pt x="11614" y="1128"/>
                    <a:pt x="11594" y="1149"/>
                  </a:cubicBezTo>
                  <a:cubicBezTo>
                    <a:pt x="11587" y="1156"/>
                    <a:pt x="11584" y="1159"/>
                    <a:pt x="11578" y="1168"/>
                  </a:cubicBezTo>
                  <a:cubicBezTo>
                    <a:pt x="11578" y="1168"/>
                    <a:pt x="11578" y="1168"/>
                    <a:pt x="11578" y="1168"/>
                  </a:cubicBezTo>
                  <a:cubicBezTo>
                    <a:pt x="11577" y="1169"/>
                    <a:pt x="11576" y="1169"/>
                    <a:pt x="11576" y="1170"/>
                  </a:cubicBezTo>
                  <a:cubicBezTo>
                    <a:pt x="11570" y="1175"/>
                    <a:pt x="11562" y="1183"/>
                    <a:pt x="11552" y="1193"/>
                  </a:cubicBezTo>
                  <a:cubicBezTo>
                    <a:pt x="11531" y="1214"/>
                    <a:pt x="11501" y="1243"/>
                    <a:pt x="11464" y="1279"/>
                  </a:cubicBezTo>
                  <a:cubicBezTo>
                    <a:pt x="11427" y="1315"/>
                    <a:pt x="11383" y="1358"/>
                    <a:pt x="11334" y="1404"/>
                  </a:cubicBezTo>
                  <a:cubicBezTo>
                    <a:pt x="11303" y="1377"/>
                    <a:pt x="11230" y="1315"/>
                    <a:pt x="11149" y="1246"/>
                  </a:cubicBezTo>
                  <a:cubicBezTo>
                    <a:pt x="11042" y="1154"/>
                    <a:pt x="10921" y="1048"/>
                    <a:pt x="10869" y="998"/>
                  </a:cubicBezTo>
                  <a:cubicBezTo>
                    <a:pt x="10751" y="885"/>
                    <a:pt x="10603" y="886"/>
                    <a:pt x="10599" y="885"/>
                  </a:cubicBezTo>
                  <a:cubicBezTo>
                    <a:pt x="9863" y="885"/>
                    <a:pt x="9863" y="885"/>
                    <a:pt x="9863" y="885"/>
                  </a:cubicBezTo>
                  <a:cubicBezTo>
                    <a:pt x="9862" y="791"/>
                    <a:pt x="9850" y="510"/>
                    <a:pt x="9839" y="242"/>
                  </a:cubicBezTo>
                  <a:lnTo>
                    <a:pt x="10594" y="226"/>
                  </a:lnTo>
                  <a:close/>
                  <a:moveTo>
                    <a:pt x="9356" y="1184"/>
                  </a:moveTo>
                  <a:cubicBezTo>
                    <a:pt x="9359" y="1184"/>
                    <a:pt x="9361" y="1184"/>
                    <a:pt x="9362" y="1184"/>
                  </a:cubicBezTo>
                  <a:cubicBezTo>
                    <a:pt x="9364" y="1185"/>
                    <a:pt x="9366" y="1185"/>
                    <a:pt x="9367" y="1185"/>
                  </a:cubicBezTo>
                  <a:cubicBezTo>
                    <a:pt x="9377" y="1184"/>
                    <a:pt x="9379" y="1182"/>
                    <a:pt x="9381" y="1182"/>
                  </a:cubicBezTo>
                  <a:cubicBezTo>
                    <a:pt x="9384" y="1181"/>
                    <a:pt x="9386" y="1180"/>
                    <a:pt x="9388" y="1179"/>
                  </a:cubicBezTo>
                  <a:cubicBezTo>
                    <a:pt x="9391" y="1177"/>
                    <a:pt x="9395" y="1174"/>
                    <a:pt x="9400" y="1171"/>
                  </a:cubicBezTo>
                  <a:cubicBezTo>
                    <a:pt x="9409" y="1165"/>
                    <a:pt x="9421" y="1158"/>
                    <a:pt x="9435" y="1148"/>
                  </a:cubicBezTo>
                  <a:cubicBezTo>
                    <a:pt x="9463" y="1129"/>
                    <a:pt x="9499" y="1104"/>
                    <a:pt x="9536" y="1078"/>
                  </a:cubicBezTo>
                  <a:cubicBezTo>
                    <a:pt x="9611" y="1025"/>
                    <a:pt x="9691" y="968"/>
                    <a:pt x="9717" y="952"/>
                  </a:cubicBezTo>
                  <a:cubicBezTo>
                    <a:pt x="9718" y="951"/>
                    <a:pt x="9718" y="951"/>
                    <a:pt x="9718" y="951"/>
                  </a:cubicBezTo>
                  <a:cubicBezTo>
                    <a:pt x="9735" y="951"/>
                    <a:pt x="9775" y="951"/>
                    <a:pt x="9830" y="951"/>
                  </a:cubicBezTo>
                  <a:cubicBezTo>
                    <a:pt x="9830" y="951"/>
                    <a:pt x="9830" y="951"/>
                    <a:pt x="9830" y="951"/>
                  </a:cubicBezTo>
                  <a:cubicBezTo>
                    <a:pt x="9830" y="951"/>
                    <a:pt x="9830" y="951"/>
                    <a:pt x="9830" y="951"/>
                  </a:cubicBezTo>
                  <a:cubicBezTo>
                    <a:pt x="10073" y="951"/>
                    <a:pt x="10599" y="951"/>
                    <a:pt x="10599" y="951"/>
                  </a:cubicBezTo>
                  <a:cubicBezTo>
                    <a:pt x="10600" y="951"/>
                    <a:pt x="10600" y="951"/>
                    <a:pt x="10600" y="951"/>
                  </a:cubicBezTo>
                  <a:cubicBezTo>
                    <a:pt x="10601" y="951"/>
                    <a:pt x="10602" y="951"/>
                    <a:pt x="10604" y="951"/>
                  </a:cubicBezTo>
                  <a:cubicBezTo>
                    <a:pt x="10607" y="951"/>
                    <a:pt x="10612" y="952"/>
                    <a:pt x="10619" y="953"/>
                  </a:cubicBezTo>
                  <a:cubicBezTo>
                    <a:pt x="10633" y="954"/>
                    <a:pt x="10652" y="957"/>
                    <a:pt x="10674" y="963"/>
                  </a:cubicBezTo>
                  <a:cubicBezTo>
                    <a:pt x="10719" y="975"/>
                    <a:pt x="10775" y="998"/>
                    <a:pt x="10823" y="1045"/>
                  </a:cubicBezTo>
                  <a:cubicBezTo>
                    <a:pt x="10916" y="1135"/>
                    <a:pt x="11206" y="1381"/>
                    <a:pt x="11287" y="1450"/>
                  </a:cubicBezTo>
                  <a:cubicBezTo>
                    <a:pt x="11253" y="1483"/>
                    <a:pt x="11217" y="1517"/>
                    <a:pt x="11180" y="1553"/>
                  </a:cubicBezTo>
                  <a:cubicBezTo>
                    <a:pt x="10964" y="1761"/>
                    <a:pt x="10720" y="1994"/>
                    <a:pt x="10611" y="2099"/>
                  </a:cubicBezTo>
                  <a:cubicBezTo>
                    <a:pt x="10580" y="2128"/>
                    <a:pt x="10558" y="2148"/>
                    <a:pt x="10555" y="2151"/>
                  </a:cubicBezTo>
                  <a:cubicBezTo>
                    <a:pt x="10555" y="2151"/>
                    <a:pt x="10555" y="2151"/>
                    <a:pt x="10555" y="2151"/>
                  </a:cubicBezTo>
                  <a:cubicBezTo>
                    <a:pt x="10553" y="2153"/>
                    <a:pt x="10539" y="2161"/>
                    <a:pt x="10526" y="2166"/>
                  </a:cubicBezTo>
                  <a:cubicBezTo>
                    <a:pt x="10512" y="2171"/>
                    <a:pt x="10498" y="2175"/>
                    <a:pt x="10493" y="2177"/>
                  </a:cubicBezTo>
                  <a:cubicBezTo>
                    <a:pt x="10492" y="2177"/>
                    <a:pt x="10492" y="2177"/>
                    <a:pt x="10492" y="2177"/>
                  </a:cubicBezTo>
                  <a:cubicBezTo>
                    <a:pt x="10466" y="2184"/>
                    <a:pt x="10008" y="2299"/>
                    <a:pt x="9545" y="2416"/>
                  </a:cubicBezTo>
                  <a:cubicBezTo>
                    <a:pt x="9131" y="2521"/>
                    <a:pt x="8711" y="2627"/>
                    <a:pt x="8592" y="2657"/>
                  </a:cubicBezTo>
                  <a:cubicBezTo>
                    <a:pt x="8588" y="2565"/>
                    <a:pt x="8578" y="2378"/>
                    <a:pt x="8576" y="2324"/>
                  </a:cubicBezTo>
                  <a:cubicBezTo>
                    <a:pt x="8574" y="2297"/>
                    <a:pt x="8573" y="2263"/>
                    <a:pt x="8573" y="2227"/>
                  </a:cubicBezTo>
                  <a:cubicBezTo>
                    <a:pt x="8573" y="2168"/>
                    <a:pt x="8577" y="2104"/>
                    <a:pt x="8588" y="2063"/>
                  </a:cubicBezTo>
                  <a:cubicBezTo>
                    <a:pt x="8609" y="1986"/>
                    <a:pt x="8691" y="1680"/>
                    <a:pt x="8702" y="1610"/>
                  </a:cubicBezTo>
                  <a:cubicBezTo>
                    <a:pt x="8704" y="1598"/>
                    <a:pt x="8705" y="1583"/>
                    <a:pt x="8705" y="1565"/>
                  </a:cubicBezTo>
                  <a:cubicBezTo>
                    <a:pt x="8705" y="1470"/>
                    <a:pt x="8688" y="1275"/>
                    <a:pt x="8681" y="1199"/>
                  </a:cubicBezTo>
                  <a:cubicBezTo>
                    <a:pt x="8937" y="1195"/>
                    <a:pt x="9290" y="1184"/>
                    <a:pt x="9356" y="1184"/>
                  </a:cubicBezTo>
                  <a:close/>
                  <a:moveTo>
                    <a:pt x="7130" y="1388"/>
                  </a:moveTo>
                  <a:cubicBezTo>
                    <a:pt x="7133" y="1370"/>
                    <a:pt x="7135" y="1358"/>
                    <a:pt x="7135" y="1347"/>
                  </a:cubicBezTo>
                  <a:cubicBezTo>
                    <a:pt x="7135" y="1345"/>
                    <a:pt x="7135" y="1344"/>
                    <a:pt x="7134" y="1341"/>
                  </a:cubicBezTo>
                  <a:cubicBezTo>
                    <a:pt x="7134" y="1339"/>
                    <a:pt x="7134" y="1337"/>
                    <a:pt x="7132" y="1333"/>
                  </a:cubicBezTo>
                  <a:cubicBezTo>
                    <a:pt x="7133" y="1328"/>
                    <a:pt x="7135" y="1322"/>
                    <a:pt x="7137" y="1318"/>
                  </a:cubicBezTo>
                  <a:cubicBezTo>
                    <a:pt x="7142" y="1310"/>
                    <a:pt x="7145" y="1308"/>
                    <a:pt x="7148" y="1308"/>
                  </a:cubicBezTo>
                  <a:cubicBezTo>
                    <a:pt x="7169" y="1304"/>
                    <a:pt x="7227" y="1294"/>
                    <a:pt x="7288" y="1281"/>
                  </a:cubicBezTo>
                  <a:cubicBezTo>
                    <a:pt x="7350" y="1268"/>
                    <a:pt x="7412" y="1254"/>
                    <a:pt x="7447" y="1240"/>
                  </a:cubicBezTo>
                  <a:cubicBezTo>
                    <a:pt x="7496" y="1219"/>
                    <a:pt x="7714" y="1173"/>
                    <a:pt x="7786" y="1171"/>
                  </a:cubicBezTo>
                  <a:cubicBezTo>
                    <a:pt x="7790" y="1171"/>
                    <a:pt x="7796" y="1171"/>
                    <a:pt x="7804" y="1171"/>
                  </a:cubicBezTo>
                  <a:cubicBezTo>
                    <a:pt x="7913" y="1170"/>
                    <a:pt x="8276" y="1192"/>
                    <a:pt x="8459" y="1198"/>
                  </a:cubicBezTo>
                  <a:cubicBezTo>
                    <a:pt x="8485" y="1199"/>
                    <a:pt x="8518" y="1199"/>
                    <a:pt x="8556" y="1199"/>
                  </a:cubicBezTo>
                  <a:cubicBezTo>
                    <a:pt x="8575" y="1199"/>
                    <a:pt x="8595" y="1199"/>
                    <a:pt x="8616" y="1199"/>
                  </a:cubicBezTo>
                  <a:cubicBezTo>
                    <a:pt x="8618" y="1227"/>
                    <a:pt x="8622" y="1274"/>
                    <a:pt x="8626" y="1326"/>
                  </a:cubicBezTo>
                  <a:cubicBezTo>
                    <a:pt x="8633" y="1410"/>
                    <a:pt x="8639" y="1509"/>
                    <a:pt x="8639" y="1565"/>
                  </a:cubicBezTo>
                  <a:cubicBezTo>
                    <a:pt x="8639" y="1582"/>
                    <a:pt x="8638" y="1595"/>
                    <a:pt x="8637" y="1600"/>
                  </a:cubicBezTo>
                  <a:cubicBezTo>
                    <a:pt x="8628" y="1660"/>
                    <a:pt x="8545" y="1972"/>
                    <a:pt x="8525" y="2046"/>
                  </a:cubicBezTo>
                  <a:cubicBezTo>
                    <a:pt x="8511" y="2099"/>
                    <a:pt x="8508" y="2166"/>
                    <a:pt x="8508" y="2227"/>
                  </a:cubicBezTo>
                  <a:cubicBezTo>
                    <a:pt x="8508" y="2265"/>
                    <a:pt x="8509" y="2300"/>
                    <a:pt x="8510" y="2327"/>
                  </a:cubicBezTo>
                  <a:cubicBezTo>
                    <a:pt x="8511" y="2341"/>
                    <a:pt x="8512" y="2365"/>
                    <a:pt x="8513" y="2393"/>
                  </a:cubicBezTo>
                  <a:cubicBezTo>
                    <a:pt x="7282" y="2416"/>
                    <a:pt x="7282" y="2416"/>
                    <a:pt x="7282" y="2416"/>
                  </a:cubicBezTo>
                  <a:cubicBezTo>
                    <a:pt x="7273" y="2415"/>
                    <a:pt x="7243" y="2410"/>
                    <a:pt x="7202" y="2404"/>
                  </a:cubicBezTo>
                  <a:cubicBezTo>
                    <a:pt x="7200" y="2373"/>
                    <a:pt x="7195" y="2318"/>
                    <a:pt x="7188" y="2247"/>
                  </a:cubicBezTo>
                  <a:cubicBezTo>
                    <a:pt x="7179" y="2158"/>
                    <a:pt x="7166" y="2046"/>
                    <a:pt x="7154" y="1937"/>
                  </a:cubicBezTo>
                  <a:cubicBezTo>
                    <a:pt x="7132" y="1737"/>
                    <a:pt x="7110" y="1545"/>
                    <a:pt x="7106" y="1513"/>
                  </a:cubicBezTo>
                  <a:cubicBezTo>
                    <a:pt x="7110" y="1495"/>
                    <a:pt x="7123" y="1431"/>
                    <a:pt x="7130" y="1388"/>
                  </a:cubicBezTo>
                  <a:close/>
                  <a:moveTo>
                    <a:pt x="4094" y="1427"/>
                  </a:moveTo>
                  <a:cubicBezTo>
                    <a:pt x="4102" y="1414"/>
                    <a:pt x="4126" y="1369"/>
                    <a:pt x="4160" y="1313"/>
                  </a:cubicBezTo>
                  <a:cubicBezTo>
                    <a:pt x="4201" y="1243"/>
                    <a:pt x="4232" y="1125"/>
                    <a:pt x="4238" y="1102"/>
                  </a:cubicBezTo>
                  <a:cubicBezTo>
                    <a:pt x="4465" y="660"/>
                    <a:pt x="4465" y="660"/>
                    <a:pt x="4465" y="660"/>
                  </a:cubicBezTo>
                  <a:cubicBezTo>
                    <a:pt x="4523" y="690"/>
                    <a:pt x="4687" y="767"/>
                    <a:pt x="4919" y="836"/>
                  </a:cubicBezTo>
                  <a:cubicBezTo>
                    <a:pt x="5208" y="922"/>
                    <a:pt x="5501" y="1012"/>
                    <a:pt x="5634" y="1020"/>
                  </a:cubicBezTo>
                  <a:cubicBezTo>
                    <a:pt x="5647" y="1020"/>
                    <a:pt x="5659" y="1021"/>
                    <a:pt x="5671" y="1021"/>
                  </a:cubicBezTo>
                  <a:cubicBezTo>
                    <a:pt x="5779" y="1021"/>
                    <a:pt x="5851" y="989"/>
                    <a:pt x="5953" y="933"/>
                  </a:cubicBezTo>
                  <a:cubicBezTo>
                    <a:pt x="6063" y="874"/>
                    <a:pt x="6278" y="748"/>
                    <a:pt x="6296" y="738"/>
                  </a:cubicBezTo>
                  <a:cubicBezTo>
                    <a:pt x="6296" y="738"/>
                    <a:pt x="6296" y="738"/>
                    <a:pt x="6297" y="738"/>
                  </a:cubicBezTo>
                  <a:cubicBezTo>
                    <a:pt x="6298" y="737"/>
                    <a:pt x="6299" y="736"/>
                    <a:pt x="6302" y="735"/>
                  </a:cubicBezTo>
                  <a:cubicBezTo>
                    <a:pt x="6306" y="734"/>
                    <a:pt x="6313" y="731"/>
                    <a:pt x="6322" y="728"/>
                  </a:cubicBezTo>
                  <a:cubicBezTo>
                    <a:pt x="6340" y="723"/>
                    <a:pt x="6365" y="718"/>
                    <a:pt x="6392" y="718"/>
                  </a:cubicBezTo>
                  <a:cubicBezTo>
                    <a:pt x="6449" y="719"/>
                    <a:pt x="6515" y="737"/>
                    <a:pt x="6571" y="830"/>
                  </a:cubicBezTo>
                  <a:cubicBezTo>
                    <a:pt x="6849" y="1332"/>
                    <a:pt x="6849" y="1332"/>
                    <a:pt x="6849" y="1332"/>
                  </a:cubicBezTo>
                  <a:cubicBezTo>
                    <a:pt x="6850" y="1334"/>
                    <a:pt x="6884" y="1395"/>
                    <a:pt x="6940" y="1453"/>
                  </a:cubicBezTo>
                  <a:cubicBezTo>
                    <a:pt x="6974" y="1486"/>
                    <a:pt x="7014" y="1507"/>
                    <a:pt x="7042" y="1529"/>
                  </a:cubicBezTo>
                  <a:cubicBezTo>
                    <a:pt x="7051" y="1606"/>
                    <a:pt x="7098" y="2013"/>
                    <a:pt x="7123" y="2253"/>
                  </a:cubicBezTo>
                  <a:cubicBezTo>
                    <a:pt x="7129" y="2313"/>
                    <a:pt x="7134" y="2363"/>
                    <a:pt x="7136" y="2393"/>
                  </a:cubicBezTo>
                  <a:cubicBezTo>
                    <a:pt x="7116" y="2390"/>
                    <a:pt x="7095" y="2387"/>
                    <a:pt x="7074" y="2384"/>
                  </a:cubicBezTo>
                  <a:cubicBezTo>
                    <a:pt x="6962" y="2368"/>
                    <a:pt x="6839" y="2351"/>
                    <a:pt x="6782" y="2351"/>
                  </a:cubicBezTo>
                  <a:cubicBezTo>
                    <a:pt x="6728" y="2351"/>
                    <a:pt x="6681" y="2356"/>
                    <a:pt x="6639" y="2370"/>
                  </a:cubicBezTo>
                  <a:cubicBezTo>
                    <a:pt x="6597" y="2385"/>
                    <a:pt x="6561" y="2411"/>
                    <a:pt x="6535" y="2449"/>
                  </a:cubicBezTo>
                  <a:cubicBezTo>
                    <a:pt x="6532" y="2454"/>
                    <a:pt x="6532" y="2454"/>
                    <a:pt x="6532" y="2454"/>
                  </a:cubicBezTo>
                  <a:cubicBezTo>
                    <a:pt x="6458" y="2711"/>
                    <a:pt x="6458" y="2711"/>
                    <a:pt x="6458" y="2711"/>
                  </a:cubicBezTo>
                  <a:cubicBezTo>
                    <a:pt x="6293" y="2669"/>
                    <a:pt x="6128" y="2624"/>
                    <a:pt x="6048" y="2601"/>
                  </a:cubicBezTo>
                  <a:cubicBezTo>
                    <a:pt x="5882" y="2551"/>
                    <a:pt x="5390" y="2405"/>
                    <a:pt x="5340" y="2390"/>
                  </a:cubicBezTo>
                  <a:cubicBezTo>
                    <a:pt x="4497" y="2042"/>
                    <a:pt x="4497" y="2042"/>
                    <a:pt x="4497" y="2042"/>
                  </a:cubicBezTo>
                  <a:cubicBezTo>
                    <a:pt x="4454" y="2010"/>
                    <a:pt x="4252" y="1864"/>
                    <a:pt x="4027" y="1765"/>
                  </a:cubicBezTo>
                  <a:lnTo>
                    <a:pt x="4094" y="1427"/>
                  </a:lnTo>
                  <a:close/>
                  <a:moveTo>
                    <a:pt x="3855" y="1861"/>
                  </a:moveTo>
                  <a:cubicBezTo>
                    <a:pt x="4084" y="1936"/>
                    <a:pt x="4343" y="2117"/>
                    <a:pt x="4401" y="2160"/>
                  </a:cubicBezTo>
                  <a:cubicBezTo>
                    <a:pt x="4410" y="2166"/>
                    <a:pt x="4414" y="2169"/>
                    <a:pt x="4414" y="2169"/>
                  </a:cubicBezTo>
                  <a:cubicBezTo>
                    <a:pt x="4422" y="2175"/>
                    <a:pt x="4422" y="2175"/>
                    <a:pt x="4422" y="2175"/>
                  </a:cubicBezTo>
                  <a:cubicBezTo>
                    <a:pt x="5277" y="2529"/>
                    <a:pt x="5277" y="2529"/>
                    <a:pt x="5277" y="2529"/>
                  </a:cubicBezTo>
                  <a:cubicBezTo>
                    <a:pt x="5274" y="2539"/>
                    <a:pt x="5271" y="2551"/>
                    <a:pt x="5267" y="2563"/>
                  </a:cubicBezTo>
                  <a:cubicBezTo>
                    <a:pt x="5253" y="2612"/>
                    <a:pt x="5234" y="2674"/>
                    <a:pt x="5214" y="2735"/>
                  </a:cubicBezTo>
                  <a:cubicBezTo>
                    <a:pt x="5176" y="2858"/>
                    <a:pt x="5137" y="2976"/>
                    <a:pt x="5137" y="2976"/>
                  </a:cubicBezTo>
                  <a:cubicBezTo>
                    <a:pt x="5136" y="2982"/>
                    <a:pt x="5136" y="2982"/>
                    <a:pt x="5136" y="2982"/>
                  </a:cubicBezTo>
                  <a:cubicBezTo>
                    <a:pt x="5144" y="3357"/>
                    <a:pt x="5144" y="3357"/>
                    <a:pt x="5144" y="3357"/>
                  </a:cubicBezTo>
                  <a:cubicBezTo>
                    <a:pt x="4989" y="3717"/>
                    <a:pt x="4989" y="3717"/>
                    <a:pt x="4989" y="3717"/>
                  </a:cubicBezTo>
                  <a:cubicBezTo>
                    <a:pt x="4912" y="3695"/>
                    <a:pt x="4836" y="3674"/>
                    <a:pt x="4765" y="3656"/>
                  </a:cubicBezTo>
                  <a:cubicBezTo>
                    <a:pt x="4566" y="3604"/>
                    <a:pt x="4268" y="3499"/>
                    <a:pt x="3948" y="3381"/>
                  </a:cubicBezTo>
                  <a:cubicBezTo>
                    <a:pt x="3790" y="3322"/>
                    <a:pt x="3612" y="3246"/>
                    <a:pt x="3462" y="3180"/>
                  </a:cubicBezTo>
                  <a:cubicBezTo>
                    <a:pt x="3370" y="3140"/>
                    <a:pt x="3289" y="3105"/>
                    <a:pt x="3227" y="3080"/>
                  </a:cubicBezTo>
                  <a:cubicBezTo>
                    <a:pt x="3645" y="1790"/>
                    <a:pt x="3645" y="1790"/>
                    <a:pt x="3645" y="1790"/>
                  </a:cubicBezTo>
                  <a:cubicBezTo>
                    <a:pt x="3727" y="1818"/>
                    <a:pt x="3801" y="1843"/>
                    <a:pt x="3855" y="1861"/>
                  </a:cubicBezTo>
                  <a:close/>
                  <a:moveTo>
                    <a:pt x="1187" y="3995"/>
                  </a:moveTo>
                  <a:cubicBezTo>
                    <a:pt x="1116" y="3905"/>
                    <a:pt x="1023" y="3785"/>
                    <a:pt x="930" y="3665"/>
                  </a:cubicBezTo>
                  <a:cubicBezTo>
                    <a:pt x="781" y="3472"/>
                    <a:pt x="634" y="3279"/>
                    <a:pt x="582" y="3211"/>
                  </a:cubicBezTo>
                  <a:cubicBezTo>
                    <a:pt x="1286" y="2458"/>
                    <a:pt x="1286" y="2458"/>
                    <a:pt x="1286" y="2458"/>
                  </a:cubicBezTo>
                  <a:cubicBezTo>
                    <a:pt x="1297" y="2449"/>
                    <a:pt x="1361" y="2392"/>
                    <a:pt x="1458" y="2309"/>
                  </a:cubicBezTo>
                  <a:cubicBezTo>
                    <a:pt x="1562" y="2218"/>
                    <a:pt x="1704" y="2096"/>
                    <a:pt x="1850" y="1968"/>
                  </a:cubicBezTo>
                  <a:cubicBezTo>
                    <a:pt x="2144" y="1714"/>
                    <a:pt x="2460" y="1442"/>
                    <a:pt x="2548" y="1369"/>
                  </a:cubicBezTo>
                  <a:cubicBezTo>
                    <a:pt x="2553" y="1366"/>
                    <a:pt x="2556" y="1363"/>
                    <a:pt x="2559" y="1361"/>
                  </a:cubicBezTo>
                  <a:cubicBezTo>
                    <a:pt x="2582" y="1384"/>
                    <a:pt x="2607" y="1403"/>
                    <a:pt x="2631" y="1417"/>
                  </a:cubicBezTo>
                  <a:cubicBezTo>
                    <a:pt x="2674" y="1443"/>
                    <a:pt x="2717" y="1459"/>
                    <a:pt x="2747" y="1470"/>
                  </a:cubicBezTo>
                  <a:cubicBezTo>
                    <a:pt x="2792" y="1487"/>
                    <a:pt x="3244" y="1650"/>
                    <a:pt x="3583" y="1768"/>
                  </a:cubicBezTo>
                  <a:cubicBezTo>
                    <a:pt x="3166" y="3057"/>
                    <a:pt x="3166" y="3057"/>
                    <a:pt x="3166" y="3057"/>
                  </a:cubicBezTo>
                  <a:cubicBezTo>
                    <a:pt x="3154" y="3053"/>
                    <a:pt x="3143" y="3049"/>
                    <a:pt x="3134" y="3047"/>
                  </a:cubicBezTo>
                  <a:cubicBezTo>
                    <a:pt x="3091" y="3035"/>
                    <a:pt x="3024" y="3020"/>
                    <a:pt x="2944" y="3020"/>
                  </a:cubicBezTo>
                  <a:cubicBezTo>
                    <a:pt x="2833" y="3019"/>
                    <a:pt x="2695" y="3051"/>
                    <a:pt x="2562" y="3163"/>
                  </a:cubicBezTo>
                  <a:cubicBezTo>
                    <a:pt x="2482" y="3230"/>
                    <a:pt x="2369" y="3360"/>
                    <a:pt x="2212" y="3530"/>
                  </a:cubicBezTo>
                  <a:cubicBezTo>
                    <a:pt x="1949" y="3815"/>
                    <a:pt x="1636" y="4155"/>
                    <a:pt x="1569" y="4225"/>
                  </a:cubicBezTo>
                  <a:cubicBezTo>
                    <a:pt x="1497" y="4199"/>
                    <a:pt x="1370" y="4154"/>
                    <a:pt x="1316" y="4138"/>
                  </a:cubicBezTo>
                  <a:cubicBezTo>
                    <a:pt x="1309" y="4137"/>
                    <a:pt x="1305" y="4135"/>
                    <a:pt x="1300" y="4134"/>
                  </a:cubicBezTo>
                  <a:cubicBezTo>
                    <a:pt x="1300" y="4134"/>
                    <a:pt x="1299" y="4133"/>
                    <a:pt x="1299" y="4133"/>
                  </a:cubicBezTo>
                  <a:cubicBezTo>
                    <a:pt x="1293" y="4126"/>
                    <a:pt x="1284" y="4116"/>
                    <a:pt x="1274" y="4103"/>
                  </a:cubicBezTo>
                  <a:cubicBezTo>
                    <a:pt x="1252" y="4077"/>
                    <a:pt x="1223" y="4040"/>
                    <a:pt x="1187" y="3995"/>
                  </a:cubicBezTo>
                  <a:close/>
                  <a:moveTo>
                    <a:pt x="1321" y="4209"/>
                  </a:moveTo>
                  <a:cubicBezTo>
                    <a:pt x="1326" y="4210"/>
                    <a:pt x="1331" y="4212"/>
                    <a:pt x="1337" y="4213"/>
                  </a:cubicBezTo>
                  <a:cubicBezTo>
                    <a:pt x="1368" y="4224"/>
                    <a:pt x="1407" y="4237"/>
                    <a:pt x="1446" y="4251"/>
                  </a:cubicBezTo>
                  <a:cubicBezTo>
                    <a:pt x="1501" y="4270"/>
                    <a:pt x="1553" y="4289"/>
                    <a:pt x="1580" y="4299"/>
                  </a:cubicBezTo>
                  <a:cubicBezTo>
                    <a:pt x="1577" y="4305"/>
                    <a:pt x="1574" y="4312"/>
                    <a:pt x="1570" y="4321"/>
                  </a:cubicBezTo>
                  <a:cubicBezTo>
                    <a:pt x="1561" y="4344"/>
                    <a:pt x="1549" y="4374"/>
                    <a:pt x="1537" y="4403"/>
                  </a:cubicBezTo>
                  <a:cubicBezTo>
                    <a:pt x="1521" y="4443"/>
                    <a:pt x="1506" y="4482"/>
                    <a:pt x="1498" y="4504"/>
                  </a:cubicBezTo>
                  <a:cubicBezTo>
                    <a:pt x="1240" y="4357"/>
                    <a:pt x="1240" y="4357"/>
                    <a:pt x="1240" y="4357"/>
                  </a:cubicBezTo>
                  <a:lnTo>
                    <a:pt x="1321" y="4209"/>
                  </a:lnTo>
                  <a:close/>
                  <a:moveTo>
                    <a:pt x="1234" y="4369"/>
                  </a:moveTo>
                  <a:cubicBezTo>
                    <a:pt x="1493" y="4517"/>
                    <a:pt x="1493" y="4517"/>
                    <a:pt x="1493" y="4517"/>
                  </a:cubicBezTo>
                  <a:cubicBezTo>
                    <a:pt x="1491" y="4520"/>
                    <a:pt x="1491" y="4522"/>
                    <a:pt x="1491" y="4522"/>
                  </a:cubicBezTo>
                  <a:cubicBezTo>
                    <a:pt x="1504" y="4527"/>
                    <a:pt x="1504" y="4527"/>
                    <a:pt x="1504" y="4527"/>
                  </a:cubicBezTo>
                  <a:cubicBezTo>
                    <a:pt x="1504" y="4527"/>
                    <a:pt x="1504" y="4526"/>
                    <a:pt x="1505" y="4524"/>
                  </a:cubicBezTo>
                  <a:cubicBezTo>
                    <a:pt x="1780" y="4681"/>
                    <a:pt x="1780" y="4681"/>
                    <a:pt x="1780" y="4681"/>
                  </a:cubicBezTo>
                  <a:cubicBezTo>
                    <a:pt x="1751" y="4818"/>
                    <a:pt x="1751" y="4818"/>
                    <a:pt x="1751" y="4818"/>
                  </a:cubicBezTo>
                  <a:cubicBezTo>
                    <a:pt x="1345" y="4586"/>
                    <a:pt x="1345" y="4586"/>
                    <a:pt x="1345" y="4586"/>
                  </a:cubicBezTo>
                  <a:cubicBezTo>
                    <a:pt x="1395" y="4494"/>
                    <a:pt x="1395" y="4494"/>
                    <a:pt x="1395" y="4494"/>
                  </a:cubicBezTo>
                  <a:cubicBezTo>
                    <a:pt x="1398" y="4488"/>
                    <a:pt x="1398" y="4488"/>
                    <a:pt x="1398" y="4488"/>
                  </a:cubicBezTo>
                  <a:cubicBezTo>
                    <a:pt x="1260" y="4413"/>
                    <a:pt x="1260" y="4413"/>
                    <a:pt x="1260" y="4413"/>
                  </a:cubicBezTo>
                  <a:cubicBezTo>
                    <a:pt x="1209" y="4508"/>
                    <a:pt x="1209" y="4508"/>
                    <a:pt x="1209" y="4508"/>
                  </a:cubicBezTo>
                  <a:cubicBezTo>
                    <a:pt x="1170" y="4486"/>
                    <a:pt x="1170" y="4486"/>
                    <a:pt x="1170" y="4486"/>
                  </a:cubicBezTo>
                  <a:lnTo>
                    <a:pt x="1234" y="4369"/>
                  </a:lnTo>
                  <a:close/>
                  <a:moveTo>
                    <a:pt x="1163" y="4498"/>
                  </a:moveTo>
                  <a:cubicBezTo>
                    <a:pt x="1202" y="4520"/>
                    <a:pt x="1202" y="4520"/>
                    <a:pt x="1202" y="4520"/>
                  </a:cubicBezTo>
                  <a:cubicBezTo>
                    <a:pt x="1150" y="4616"/>
                    <a:pt x="1150" y="4616"/>
                    <a:pt x="1150" y="4616"/>
                  </a:cubicBezTo>
                  <a:cubicBezTo>
                    <a:pt x="1111" y="4594"/>
                    <a:pt x="1111" y="4594"/>
                    <a:pt x="1111" y="4594"/>
                  </a:cubicBezTo>
                  <a:lnTo>
                    <a:pt x="1163" y="4498"/>
                  </a:lnTo>
                  <a:close/>
                  <a:moveTo>
                    <a:pt x="1104" y="4606"/>
                  </a:moveTo>
                  <a:cubicBezTo>
                    <a:pt x="1143" y="4628"/>
                    <a:pt x="1143" y="4628"/>
                    <a:pt x="1143" y="4628"/>
                  </a:cubicBezTo>
                  <a:cubicBezTo>
                    <a:pt x="1096" y="4715"/>
                    <a:pt x="1096" y="4715"/>
                    <a:pt x="1096" y="4715"/>
                  </a:cubicBezTo>
                  <a:cubicBezTo>
                    <a:pt x="1057" y="4693"/>
                    <a:pt x="1057" y="4693"/>
                    <a:pt x="1057" y="4693"/>
                  </a:cubicBezTo>
                  <a:lnTo>
                    <a:pt x="1104" y="4606"/>
                  </a:lnTo>
                  <a:close/>
                  <a:moveTo>
                    <a:pt x="1050" y="4705"/>
                  </a:moveTo>
                  <a:cubicBezTo>
                    <a:pt x="1089" y="4728"/>
                    <a:pt x="1089" y="4728"/>
                    <a:pt x="1089" y="4728"/>
                  </a:cubicBezTo>
                  <a:cubicBezTo>
                    <a:pt x="1038" y="4821"/>
                    <a:pt x="1038" y="4821"/>
                    <a:pt x="1038" y="4821"/>
                  </a:cubicBezTo>
                  <a:cubicBezTo>
                    <a:pt x="999" y="4798"/>
                    <a:pt x="999" y="4798"/>
                    <a:pt x="999" y="4798"/>
                  </a:cubicBezTo>
                  <a:lnTo>
                    <a:pt x="1050" y="4705"/>
                  </a:lnTo>
                  <a:close/>
                  <a:moveTo>
                    <a:pt x="993" y="4810"/>
                  </a:moveTo>
                  <a:cubicBezTo>
                    <a:pt x="1032" y="4833"/>
                    <a:pt x="1032" y="4833"/>
                    <a:pt x="1032" y="4833"/>
                  </a:cubicBezTo>
                  <a:cubicBezTo>
                    <a:pt x="973" y="4940"/>
                    <a:pt x="973" y="4940"/>
                    <a:pt x="973" y="4940"/>
                  </a:cubicBezTo>
                  <a:cubicBezTo>
                    <a:pt x="934" y="4918"/>
                    <a:pt x="934" y="4918"/>
                    <a:pt x="934" y="4918"/>
                  </a:cubicBezTo>
                  <a:lnTo>
                    <a:pt x="993" y="4810"/>
                  </a:lnTo>
                  <a:close/>
                  <a:moveTo>
                    <a:pt x="927" y="4930"/>
                  </a:moveTo>
                  <a:cubicBezTo>
                    <a:pt x="967" y="4952"/>
                    <a:pt x="967" y="4952"/>
                    <a:pt x="967" y="4952"/>
                  </a:cubicBezTo>
                  <a:cubicBezTo>
                    <a:pt x="910" y="5057"/>
                    <a:pt x="910" y="5057"/>
                    <a:pt x="910" y="5057"/>
                  </a:cubicBezTo>
                  <a:cubicBezTo>
                    <a:pt x="870" y="5034"/>
                    <a:pt x="870" y="5034"/>
                    <a:pt x="870" y="5034"/>
                  </a:cubicBezTo>
                  <a:lnTo>
                    <a:pt x="927" y="4930"/>
                  </a:lnTo>
                  <a:close/>
                  <a:moveTo>
                    <a:pt x="864" y="5046"/>
                  </a:moveTo>
                  <a:cubicBezTo>
                    <a:pt x="903" y="5069"/>
                    <a:pt x="903" y="5069"/>
                    <a:pt x="903" y="5069"/>
                  </a:cubicBezTo>
                  <a:cubicBezTo>
                    <a:pt x="851" y="5165"/>
                    <a:pt x="851" y="5165"/>
                    <a:pt x="851" y="5165"/>
                  </a:cubicBezTo>
                  <a:cubicBezTo>
                    <a:pt x="811" y="5142"/>
                    <a:pt x="811" y="5142"/>
                    <a:pt x="811" y="5142"/>
                  </a:cubicBezTo>
                  <a:lnTo>
                    <a:pt x="864" y="5046"/>
                  </a:lnTo>
                  <a:close/>
                  <a:moveTo>
                    <a:pt x="805" y="5155"/>
                  </a:moveTo>
                  <a:cubicBezTo>
                    <a:pt x="844" y="5177"/>
                    <a:pt x="844" y="5177"/>
                    <a:pt x="844" y="5177"/>
                  </a:cubicBezTo>
                  <a:cubicBezTo>
                    <a:pt x="780" y="5295"/>
                    <a:pt x="780" y="5295"/>
                    <a:pt x="780" y="5295"/>
                  </a:cubicBezTo>
                  <a:cubicBezTo>
                    <a:pt x="740" y="5272"/>
                    <a:pt x="740" y="5272"/>
                    <a:pt x="740" y="5272"/>
                  </a:cubicBezTo>
                  <a:lnTo>
                    <a:pt x="805" y="5155"/>
                  </a:lnTo>
                  <a:close/>
                  <a:moveTo>
                    <a:pt x="734" y="5285"/>
                  </a:moveTo>
                  <a:cubicBezTo>
                    <a:pt x="773" y="5307"/>
                    <a:pt x="773" y="5307"/>
                    <a:pt x="773" y="5307"/>
                  </a:cubicBezTo>
                  <a:cubicBezTo>
                    <a:pt x="721" y="5403"/>
                    <a:pt x="721" y="5403"/>
                    <a:pt x="721" y="5403"/>
                  </a:cubicBezTo>
                  <a:cubicBezTo>
                    <a:pt x="681" y="5380"/>
                    <a:pt x="681" y="5380"/>
                    <a:pt x="681" y="5380"/>
                  </a:cubicBezTo>
                  <a:lnTo>
                    <a:pt x="734" y="5285"/>
                  </a:lnTo>
                  <a:close/>
                  <a:moveTo>
                    <a:pt x="675" y="5392"/>
                  </a:moveTo>
                  <a:cubicBezTo>
                    <a:pt x="715" y="5415"/>
                    <a:pt x="715" y="5415"/>
                    <a:pt x="715" y="5415"/>
                  </a:cubicBezTo>
                  <a:cubicBezTo>
                    <a:pt x="657" y="5522"/>
                    <a:pt x="657" y="5522"/>
                    <a:pt x="657" y="5522"/>
                  </a:cubicBezTo>
                  <a:cubicBezTo>
                    <a:pt x="617" y="5499"/>
                    <a:pt x="617" y="5499"/>
                    <a:pt x="617" y="5499"/>
                  </a:cubicBezTo>
                  <a:lnTo>
                    <a:pt x="675" y="5392"/>
                  </a:lnTo>
                  <a:close/>
                  <a:moveTo>
                    <a:pt x="610" y="5511"/>
                  </a:moveTo>
                  <a:cubicBezTo>
                    <a:pt x="650" y="5534"/>
                    <a:pt x="650" y="5534"/>
                    <a:pt x="650" y="5534"/>
                  </a:cubicBezTo>
                  <a:cubicBezTo>
                    <a:pt x="600" y="5627"/>
                    <a:pt x="600" y="5627"/>
                    <a:pt x="600" y="5627"/>
                  </a:cubicBezTo>
                  <a:cubicBezTo>
                    <a:pt x="559" y="5604"/>
                    <a:pt x="559" y="5604"/>
                    <a:pt x="559" y="5604"/>
                  </a:cubicBezTo>
                  <a:lnTo>
                    <a:pt x="610" y="5511"/>
                  </a:lnTo>
                  <a:close/>
                  <a:moveTo>
                    <a:pt x="552" y="5616"/>
                  </a:moveTo>
                  <a:cubicBezTo>
                    <a:pt x="593" y="5639"/>
                    <a:pt x="593" y="5639"/>
                    <a:pt x="593" y="5639"/>
                  </a:cubicBezTo>
                  <a:cubicBezTo>
                    <a:pt x="535" y="5746"/>
                    <a:pt x="535" y="5746"/>
                    <a:pt x="535" y="5746"/>
                  </a:cubicBezTo>
                  <a:cubicBezTo>
                    <a:pt x="494" y="5723"/>
                    <a:pt x="494" y="5723"/>
                    <a:pt x="494" y="5723"/>
                  </a:cubicBezTo>
                  <a:lnTo>
                    <a:pt x="552" y="5616"/>
                  </a:lnTo>
                  <a:close/>
                  <a:moveTo>
                    <a:pt x="487" y="5735"/>
                  </a:moveTo>
                  <a:cubicBezTo>
                    <a:pt x="528" y="5759"/>
                    <a:pt x="528" y="5759"/>
                    <a:pt x="528" y="5759"/>
                  </a:cubicBezTo>
                  <a:cubicBezTo>
                    <a:pt x="471" y="5863"/>
                    <a:pt x="471" y="5863"/>
                    <a:pt x="471" y="5863"/>
                  </a:cubicBezTo>
                  <a:cubicBezTo>
                    <a:pt x="430" y="5840"/>
                    <a:pt x="430" y="5840"/>
                    <a:pt x="430" y="5840"/>
                  </a:cubicBezTo>
                  <a:lnTo>
                    <a:pt x="487" y="5735"/>
                  </a:lnTo>
                  <a:close/>
                  <a:moveTo>
                    <a:pt x="424" y="5852"/>
                  </a:moveTo>
                  <a:cubicBezTo>
                    <a:pt x="464" y="5875"/>
                    <a:pt x="464" y="5875"/>
                    <a:pt x="464" y="5875"/>
                  </a:cubicBezTo>
                  <a:cubicBezTo>
                    <a:pt x="412" y="5971"/>
                    <a:pt x="412" y="5971"/>
                    <a:pt x="412" y="5971"/>
                  </a:cubicBezTo>
                  <a:cubicBezTo>
                    <a:pt x="371" y="5948"/>
                    <a:pt x="371" y="5948"/>
                    <a:pt x="371" y="5948"/>
                  </a:cubicBezTo>
                  <a:lnTo>
                    <a:pt x="424" y="5852"/>
                  </a:lnTo>
                  <a:close/>
                  <a:moveTo>
                    <a:pt x="365" y="5960"/>
                  </a:moveTo>
                  <a:cubicBezTo>
                    <a:pt x="406" y="5983"/>
                    <a:pt x="406" y="5983"/>
                    <a:pt x="406" y="5983"/>
                  </a:cubicBezTo>
                  <a:cubicBezTo>
                    <a:pt x="363" y="6062"/>
                    <a:pt x="363" y="6062"/>
                    <a:pt x="363" y="6062"/>
                  </a:cubicBezTo>
                  <a:cubicBezTo>
                    <a:pt x="501" y="6137"/>
                    <a:pt x="501" y="6137"/>
                    <a:pt x="501" y="6137"/>
                  </a:cubicBezTo>
                  <a:cubicBezTo>
                    <a:pt x="542" y="6061"/>
                    <a:pt x="542" y="6061"/>
                    <a:pt x="542" y="6061"/>
                  </a:cubicBezTo>
                  <a:cubicBezTo>
                    <a:pt x="889" y="6259"/>
                    <a:pt x="889" y="6259"/>
                    <a:pt x="889" y="6259"/>
                  </a:cubicBezTo>
                  <a:cubicBezTo>
                    <a:pt x="848" y="6359"/>
                    <a:pt x="848" y="6359"/>
                    <a:pt x="848" y="6359"/>
                  </a:cubicBezTo>
                  <a:cubicBezTo>
                    <a:pt x="313" y="6054"/>
                    <a:pt x="313" y="6054"/>
                    <a:pt x="313" y="6054"/>
                  </a:cubicBezTo>
                  <a:lnTo>
                    <a:pt x="365" y="5960"/>
                  </a:lnTo>
                  <a:close/>
                  <a:moveTo>
                    <a:pt x="221" y="6222"/>
                  </a:moveTo>
                  <a:cubicBezTo>
                    <a:pt x="307" y="6066"/>
                    <a:pt x="307" y="6066"/>
                    <a:pt x="307" y="6066"/>
                  </a:cubicBezTo>
                  <a:cubicBezTo>
                    <a:pt x="842" y="6372"/>
                    <a:pt x="842" y="6372"/>
                    <a:pt x="842" y="6372"/>
                  </a:cubicBezTo>
                  <a:cubicBezTo>
                    <a:pt x="839" y="6380"/>
                    <a:pt x="839" y="6380"/>
                    <a:pt x="839" y="6380"/>
                  </a:cubicBezTo>
                  <a:cubicBezTo>
                    <a:pt x="832" y="6388"/>
                    <a:pt x="776" y="6451"/>
                    <a:pt x="703" y="6533"/>
                  </a:cubicBezTo>
                  <a:cubicBezTo>
                    <a:pt x="541" y="6400"/>
                    <a:pt x="358" y="6286"/>
                    <a:pt x="221" y="6222"/>
                  </a:cubicBezTo>
                  <a:close/>
                  <a:moveTo>
                    <a:pt x="363" y="6928"/>
                  </a:moveTo>
                  <a:cubicBezTo>
                    <a:pt x="378" y="6913"/>
                    <a:pt x="398" y="6891"/>
                    <a:pt x="423" y="6864"/>
                  </a:cubicBezTo>
                  <a:cubicBezTo>
                    <a:pt x="472" y="6811"/>
                    <a:pt x="535" y="6741"/>
                    <a:pt x="599" y="6670"/>
                  </a:cubicBezTo>
                  <a:cubicBezTo>
                    <a:pt x="623" y="6643"/>
                    <a:pt x="647" y="6617"/>
                    <a:pt x="670" y="6591"/>
                  </a:cubicBezTo>
                  <a:cubicBezTo>
                    <a:pt x="696" y="6612"/>
                    <a:pt x="722" y="6634"/>
                    <a:pt x="746" y="6657"/>
                  </a:cubicBezTo>
                  <a:cubicBezTo>
                    <a:pt x="907" y="6805"/>
                    <a:pt x="1013" y="6971"/>
                    <a:pt x="1056" y="7044"/>
                  </a:cubicBezTo>
                  <a:cubicBezTo>
                    <a:pt x="1062" y="7054"/>
                    <a:pt x="1066" y="7063"/>
                    <a:pt x="1070" y="7069"/>
                  </a:cubicBezTo>
                  <a:cubicBezTo>
                    <a:pt x="1010" y="7231"/>
                    <a:pt x="1010" y="7231"/>
                    <a:pt x="1010" y="7231"/>
                  </a:cubicBezTo>
                  <a:cubicBezTo>
                    <a:pt x="926" y="7435"/>
                    <a:pt x="926" y="7435"/>
                    <a:pt x="926" y="7435"/>
                  </a:cubicBezTo>
                  <a:cubicBezTo>
                    <a:pt x="837" y="7356"/>
                    <a:pt x="423" y="6992"/>
                    <a:pt x="354" y="6937"/>
                  </a:cubicBezTo>
                  <a:cubicBezTo>
                    <a:pt x="357" y="6934"/>
                    <a:pt x="359" y="6931"/>
                    <a:pt x="363" y="6928"/>
                  </a:cubicBezTo>
                  <a:close/>
                  <a:moveTo>
                    <a:pt x="203" y="7248"/>
                  </a:moveTo>
                  <a:cubicBezTo>
                    <a:pt x="205" y="7245"/>
                    <a:pt x="206" y="7242"/>
                    <a:pt x="208" y="7239"/>
                  </a:cubicBezTo>
                  <a:cubicBezTo>
                    <a:pt x="216" y="7222"/>
                    <a:pt x="226" y="7198"/>
                    <a:pt x="237" y="7171"/>
                  </a:cubicBezTo>
                  <a:cubicBezTo>
                    <a:pt x="260" y="7118"/>
                    <a:pt x="287" y="7054"/>
                    <a:pt x="307" y="7008"/>
                  </a:cubicBezTo>
                  <a:cubicBezTo>
                    <a:pt x="319" y="6980"/>
                    <a:pt x="330" y="6958"/>
                    <a:pt x="334" y="6954"/>
                  </a:cubicBezTo>
                  <a:cubicBezTo>
                    <a:pt x="337" y="6953"/>
                    <a:pt x="337" y="6952"/>
                    <a:pt x="338" y="6951"/>
                  </a:cubicBezTo>
                  <a:cubicBezTo>
                    <a:pt x="340" y="6950"/>
                    <a:pt x="342" y="6949"/>
                    <a:pt x="344" y="6947"/>
                  </a:cubicBezTo>
                  <a:cubicBezTo>
                    <a:pt x="344" y="6947"/>
                    <a:pt x="344" y="6947"/>
                    <a:pt x="344" y="6947"/>
                  </a:cubicBezTo>
                  <a:cubicBezTo>
                    <a:pt x="349" y="6951"/>
                    <a:pt x="356" y="6956"/>
                    <a:pt x="364" y="6963"/>
                  </a:cubicBezTo>
                  <a:cubicBezTo>
                    <a:pt x="381" y="6978"/>
                    <a:pt x="405" y="6998"/>
                    <a:pt x="433" y="7022"/>
                  </a:cubicBezTo>
                  <a:cubicBezTo>
                    <a:pt x="487" y="7069"/>
                    <a:pt x="557" y="7130"/>
                    <a:pt x="628" y="7192"/>
                  </a:cubicBezTo>
                  <a:cubicBezTo>
                    <a:pt x="628" y="7192"/>
                    <a:pt x="627" y="7193"/>
                    <a:pt x="626" y="7193"/>
                  </a:cubicBezTo>
                  <a:cubicBezTo>
                    <a:pt x="623" y="7196"/>
                    <a:pt x="620" y="7199"/>
                    <a:pt x="616" y="7203"/>
                  </a:cubicBezTo>
                  <a:cubicBezTo>
                    <a:pt x="607" y="7211"/>
                    <a:pt x="595" y="7222"/>
                    <a:pt x="581" y="7236"/>
                  </a:cubicBezTo>
                  <a:cubicBezTo>
                    <a:pt x="554" y="7264"/>
                    <a:pt x="518" y="7300"/>
                    <a:pt x="482" y="7337"/>
                  </a:cubicBezTo>
                  <a:cubicBezTo>
                    <a:pt x="433" y="7388"/>
                    <a:pt x="384" y="7438"/>
                    <a:pt x="359" y="7464"/>
                  </a:cubicBezTo>
                  <a:lnTo>
                    <a:pt x="203" y="7248"/>
                  </a:lnTo>
                  <a:close/>
                  <a:moveTo>
                    <a:pt x="66" y="8067"/>
                  </a:moveTo>
                  <a:cubicBezTo>
                    <a:pt x="50" y="8057"/>
                    <a:pt x="34" y="8047"/>
                    <a:pt x="18" y="8037"/>
                  </a:cubicBezTo>
                  <a:cubicBezTo>
                    <a:pt x="36" y="7999"/>
                    <a:pt x="79" y="7908"/>
                    <a:pt x="107" y="7852"/>
                  </a:cubicBezTo>
                  <a:cubicBezTo>
                    <a:pt x="118" y="7832"/>
                    <a:pt x="127" y="7815"/>
                    <a:pt x="130" y="7811"/>
                  </a:cubicBezTo>
                  <a:cubicBezTo>
                    <a:pt x="145" y="7812"/>
                    <a:pt x="207" y="7819"/>
                    <a:pt x="216" y="7819"/>
                  </a:cubicBezTo>
                  <a:cubicBezTo>
                    <a:pt x="222" y="7818"/>
                    <a:pt x="222" y="7817"/>
                    <a:pt x="223" y="7816"/>
                  </a:cubicBezTo>
                  <a:cubicBezTo>
                    <a:pt x="224" y="7815"/>
                    <a:pt x="224" y="7813"/>
                    <a:pt x="225" y="7812"/>
                  </a:cubicBezTo>
                  <a:cubicBezTo>
                    <a:pt x="227" y="7809"/>
                    <a:pt x="228" y="7806"/>
                    <a:pt x="231" y="7801"/>
                  </a:cubicBezTo>
                  <a:cubicBezTo>
                    <a:pt x="235" y="7792"/>
                    <a:pt x="240" y="7779"/>
                    <a:pt x="247" y="7764"/>
                  </a:cubicBezTo>
                  <a:cubicBezTo>
                    <a:pt x="259" y="7734"/>
                    <a:pt x="275" y="7693"/>
                    <a:pt x="291" y="7652"/>
                  </a:cubicBezTo>
                  <a:cubicBezTo>
                    <a:pt x="311" y="7600"/>
                    <a:pt x="331" y="7549"/>
                    <a:pt x="342" y="7518"/>
                  </a:cubicBezTo>
                  <a:cubicBezTo>
                    <a:pt x="583" y="7853"/>
                    <a:pt x="583" y="7853"/>
                    <a:pt x="583" y="7853"/>
                  </a:cubicBezTo>
                  <a:cubicBezTo>
                    <a:pt x="252" y="8205"/>
                    <a:pt x="252" y="8205"/>
                    <a:pt x="252" y="8205"/>
                  </a:cubicBezTo>
                  <a:cubicBezTo>
                    <a:pt x="252" y="8205"/>
                    <a:pt x="252" y="8206"/>
                    <a:pt x="251" y="8206"/>
                  </a:cubicBezTo>
                  <a:cubicBezTo>
                    <a:pt x="221" y="8180"/>
                    <a:pt x="153" y="8123"/>
                    <a:pt x="66" y="8067"/>
                  </a:cubicBezTo>
                  <a:close/>
                  <a:moveTo>
                    <a:pt x="206" y="8501"/>
                  </a:moveTo>
                  <a:cubicBezTo>
                    <a:pt x="200" y="8507"/>
                    <a:pt x="200" y="8507"/>
                    <a:pt x="200" y="8507"/>
                  </a:cubicBezTo>
                  <a:cubicBezTo>
                    <a:pt x="243" y="8461"/>
                    <a:pt x="243" y="8461"/>
                    <a:pt x="243" y="8461"/>
                  </a:cubicBezTo>
                  <a:cubicBezTo>
                    <a:pt x="165" y="8378"/>
                    <a:pt x="165" y="8378"/>
                    <a:pt x="165" y="8378"/>
                  </a:cubicBezTo>
                  <a:cubicBezTo>
                    <a:pt x="228" y="8330"/>
                    <a:pt x="269" y="8281"/>
                    <a:pt x="300" y="8250"/>
                  </a:cubicBezTo>
                  <a:cubicBezTo>
                    <a:pt x="480" y="8058"/>
                    <a:pt x="480" y="8058"/>
                    <a:pt x="480" y="8058"/>
                  </a:cubicBezTo>
                  <a:cubicBezTo>
                    <a:pt x="700" y="8319"/>
                    <a:pt x="700" y="8319"/>
                    <a:pt x="700" y="8319"/>
                  </a:cubicBezTo>
                  <a:cubicBezTo>
                    <a:pt x="330" y="8627"/>
                    <a:pt x="330" y="8627"/>
                    <a:pt x="330" y="8627"/>
                  </a:cubicBezTo>
                  <a:lnTo>
                    <a:pt x="206" y="8501"/>
                  </a:lnTo>
                  <a:close/>
                  <a:moveTo>
                    <a:pt x="156" y="8857"/>
                  </a:moveTo>
                  <a:cubicBezTo>
                    <a:pt x="399" y="8654"/>
                    <a:pt x="399" y="8654"/>
                    <a:pt x="399" y="8654"/>
                  </a:cubicBezTo>
                  <a:cubicBezTo>
                    <a:pt x="436" y="8691"/>
                    <a:pt x="506" y="8760"/>
                    <a:pt x="535" y="8787"/>
                  </a:cubicBezTo>
                  <a:cubicBezTo>
                    <a:pt x="534" y="8789"/>
                    <a:pt x="535" y="8789"/>
                    <a:pt x="534" y="8791"/>
                  </a:cubicBezTo>
                  <a:cubicBezTo>
                    <a:pt x="534" y="8793"/>
                    <a:pt x="534" y="8795"/>
                    <a:pt x="534" y="8797"/>
                  </a:cubicBezTo>
                  <a:cubicBezTo>
                    <a:pt x="534" y="8823"/>
                    <a:pt x="537" y="8897"/>
                    <a:pt x="537" y="8917"/>
                  </a:cubicBezTo>
                  <a:cubicBezTo>
                    <a:pt x="342" y="9012"/>
                    <a:pt x="342" y="9012"/>
                    <a:pt x="342" y="9012"/>
                  </a:cubicBezTo>
                  <a:lnTo>
                    <a:pt x="156" y="8857"/>
                  </a:lnTo>
                  <a:close/>
                  <a:moveTo>
                    <a:pt x="346" y="9028"/>
                  </a:moveTo>
                  <a:cubicBezTo>
                    <a:pt x="544" y="8932"/>
                    <a:pt x="544" y="8932"/>
                    <a:pt x="544" y="8932"/>
                  </a:cubicBezTo>
                  <a:cubicBezTo>
                    <a:pt x="552" y="8940"/>
                    <a:pt x="573" y="8960"/>
                    <a:pt x="600" y="8985"/>
                  </a:cubicBezTo>
                  <a:cubicBezTo>
                    <a:pt x="597" y="8985"/>
                    <a:pt x="597" y="8985"/>
                    <a:pt x="597" y="8985"/>
                  </a:cubicBezTo>
                  <a:cubicBezTo>
                    <a:pt x="597" y="8985"/>
                    <a:pt x="597" y="8985"/>
                    <a:pt x="596" y="8985"/>
                  </a:cubicBezTo>
                  <a:cubicBezTo>
                    <a:pt x="596" y="8986"/>
                    <a:pt x="596" y="8987"/>
                    <a:pt x="596" y="8988"/>
                  </a:cubicBezTo>
                  <a:cubicBezTo>
                    <a:pt x="595" y="8991"/>
                    <a:pt x="594" y="8994"/>
                    <a:pt x="593" y="8999"/>
                  </a:cubicBezTo>
                  <a:cubicBezTo>
                    <a:pt x="591" y="9008"/>
                    <a:pt x="587" y="9021"/>
                    <a:pt x="583" y="9036"/>
                  </a:cubicBezTo>
                  <a:cubicBezTo>
                    <a:pt x="575" y="9067"/>
                    <a:pt x="564" y="9108"/>
                    <a:pt x="553" y="9148"/>
                  </a:cubicBezTo>
                  <a:cubicBezTo>
                    <a:pt x="540" y="9193"/>
                    <a:pt x="528" y="9236"/>
                    <a:pt x="520" y="9267"/>
                  </a:cubicBezTo>
                  <a:cubicBezTo>
                    <a:pt x="480" y="9254"/>
                    <a:pt x="409" y="9222"/>
                    <a:pt x="348" y="9221"/>
                  </a:cubicBezTo>
                  <a:cubicBezTo>
                    <a:pt x="346" y="9221"/>
                    <a:pt x="343" y="9221"/>
                    <a:pt x="341" y="9221"/>
                  </a:cubicBezTo>
                  <a:cubicBezTo>
                    <a:pt x="304" y="9223"/>
                    <a:pt x="278" y="9232"/>
                    <a:pt x="258" y="9240"/>
                  </a:cubicBezTo>
                  <a:lnTo>
                    <a:pt x="346" y="9028"/>
                  </a:lnTo>
                  <a:close/>
                  <a:moveTo>
                    <a:pt x="216" y="9806"/>
                  </a:moveTo>
                  <a:cubicBezTo>
                    <a:pt x="187" y="9823"/>
                    <a:pt x="156" y="9840"/>
                    <a:pt x="145" y="9845"/>
                  </a:cubicBezTo>
                  <a:cubicBezTo>
                    <a:pt x="145" y="9844"/>
                    <a:pt x="144" y="9843"/>
                    <a:pt x="143" y="9843"/>
                  </a:cubicBezTo>
                  <a:cubicBezTo>
                    <a:pt x="140" y="9840"/>
                    <a:pt x="135" y="9835"/>
                    <a:pt x="130" y="9830"/>
                  </a:cubicBezTo>
                  <a:cubicBezTo>
                    <a:pt x="118" y="9820"/>
                    <a:pt x="103" y="9806"/>
                    <a:pt x="88" y="9791"/>
                  </a:cubicBezTo>
                  <a:cubicBezTo>
                    <a:pt x="58" y="9763"/>
                    <a:pt x="28" y="9734"/>
                    <a:pt x="17" y="9726"/>
                  </a:cubicBezTo>
                  <a:cubicBezTo>
                    <a:pt x="18" y="9713"/>
                    <a:pt x="26" y="9669"/>
                    <a:pt x="33" y="9629"/>
                  </a:cubicBezTo>
                  <a:cubicBezTo>
                    <a:pt x="40" y="9594"/>
                    <a:pt x="46" y="9560"/>
                    <a:pt x="48" y="9547"/>
                  </a:cubicBezTo>
                  <a:cubicBezTo>
                    <a:pt x="139" y="9523"/>
                    <a:pt x="139" y="9523"/>
                    <a:pt x="139" y="9523"/>
                  </a:cubicBezTo>
                  <a:cubicBezTo>
                    <a:pt x="273" y="9774"/>
                    <a:pt x="273" y="9774"/>
                    <a:pt x="273" y="9774"/>
                  </a:cubicBezTo>
                  <a:cubicBezTo>
                    <a:pt x="262" y="9780"/>
                    <a:pt x="239" y="9793"/>
                    <a:pt x="216" y="9806"/>
                  </a:cubicBezTo>
                  <a:close/>
                  <a:moveTo>
                    <a:pt x="131" y="9370"/>
                  </a:moveTo>
                  <a:cubicBezTo>
                    <a:pt x="142" y="9365"/>
                    <a:pt x="155" y="9359"/>
                    <a:pt x="169" y="9353"/>
                  </a:cubicBezTo>
                  <a:cubicBezTo>
                    <a:pt x="202" y="9337"/>
                    <a:pt x="241" y="9320"/>
                    <a:pt x="250" y="9317"/>
                  </a:cubicBezTo>
                  <a:cubicBezTo>
                    <a:pt x="282" y="9306"/>
                    <a:pt x="299" y="9293"/>
                    <a:pt x="345" y="9290"/>
                  </a:cubicBezTo>
                  <a:cubicBezTo>
                    <a:pt x="346" y="9290"/>
                    <a:pt x="347" y="9290"/>
                    <a:pt x="348" y="9290"/>
                  </a:cubicBezTo>
                  <a:cubicBezTo>
                    <a:pt x="386" y="9289"/>
                    <a:pt x="457" y="9318"/>
                    <a:pt x="500" y="9333"/>
                  </a:cubicBezTo>
                  <a:cubicBezTo>
                    <a:pt x="483" y="9385"/>
                    <a:pt x="443" y="9505"/>
                    <a:pt x="442" y="9509"/>
                  </a:cubicBezTo>
                  <a:cubicBezTo>
                    <a:pt x="442" y="9510"/>
                    <a:pt x="442" y="9510"/>
                    <a:pt x="442" y="9510"/>
                  </a:cubicBezTo>
                  <a:cubicBezTo>
                    <a:pt x="442" y="9511"/>
                    <a:pt x="442" y="9511"/>
                    <a:pt x="442" y="9511"/>
                  </a:cubicBezTo>
                  <a:cubicBezTo>
                    <a:pt x="442" y="9511"/>
                    <a:pt x="442" y="9511"/>
                    <a:pt x="442" y="9511"/>
                  </a:cubicBezTo>
                  <a:cubicBezTo>
                    <a:pt x="442" y="9517"/>
                    <a:pt x="444" y="9520"/>
                    <a:pt x="448" y="9531"/>
                  </a:cubicBezTo>
                  <a:cubicBezTo>
                    <a:pt x="451" y="9542"/>
                    <a:pt x="456" y="9556"/>
                    <a:pt x="462" y="9573"/>
                  </a:cubicBezTo>
                  <a:cubicBezTo>
                    <a:pt x="474" y="9607"/>
                    <a:pt x="489" y="9651"/>
                    <a:pt x="505" y="9695"/>
                  </a:cubicBezTo>
                  <a:cubicBezTo>
                    <a:pt x="528" y="9759"/>
                    <a:pt x="550" y="9822"/>
                    <a:pt x="561" y="9852"/>
                  </a:cubicBezTo>
                  <a:cubicBezTo>
                    <a:pt x="441" y="9917"/>
                    <a:pt x="441" y="9917"/>
                    <a:pt x="441" y="9917"/>
                  </a:cubicBezTo>
                  <a:cubicBezTo>
                    <a:pt x="439" y="9918"/>
                    <a:pt x="435" y="9919"/>
                    <a:pt x="430" y="9921"/>
                  </a:cubicBezTo>
                  <a:lnTo>
                    <a:pt x="131" y="9370"/>
                  </a:lnTo>
                  <a:close/>
                  <a:moveTo>
                    <a:pt x="475" y="10090"/>
                  </a:moveTo>
                  <a:cubicBezTo>
                    <a:pt x="470" y="10088"/>
                    <a:pt x="464" y="10087"/>
                    <a:pt x="456" y="10085"/>
                  </a:cubicBezTo>
                  <a:cubicBezTo>
                    <a:pt x="459" y="10082"/>
                    <a:pt x="462" y="10080"/>
                    <a:pt x="466" y="10078"/>
                  </a:cubicBezTo>
                  <a:cubicBezTo>
                    <a:pt x="466" y="10078"/>
                    <a:pt x="467" y="10079"/>
                    <a:pt x="467" y="10080"/>
                  </a:cubicBezTo>
                  <a:cubicBezTo>
                    <a:pt x="468" y="10081"/>
                    <a:pt x="468" y="10081"/>
                    <a:pt x="468" y="10082"/>
                  </a:cubicBezTo>
                  <a:cubicBezTo>
                    <a:pt x="469" y="10083"/>
                    <a:pt x="469" y="10083"/>
                    <a:pt x="470" y="10084"/>
                  </a:cubicBezTo>
                  <a:cubicBezTo>
                    <a:pt x="471" y="10084"/>
                    <a:pt x="471" y="10085"/>
                    <a:pt x="472" y="10086"/>
                  </a:cubicBezTo>
                  <a:cubicBezTo>
                    <a:pt x="473" y="10087"/>
                    <a:pt x="474" y="10089"/>
                    <a:pt x="475" y="10090"/>
                  </a:cubicBezTo>
                  <a:close/>
                  <a:moveTo>
                    <a:pt x="470" y="10266"/>
                  </a:moveTo>
                  <a:cubicBezTo>
                    <a:pt x="465" y="10267"/>
                    <a:pt x="450" y="10272"/>
                    <a:pt x="433" y="10277"/>
                  </a:cubicBezTo>
                  <a:cubicBezTo>
                    <a:pt x="414" y="10283"/>
                    <a:pt x="391" y="10289"/>
                    <a:pt x="388" y="10289"/>
                  </a:cubicBezTo>
                  <a:cubicBezTo>
                    <a:pt x="387" y="10289"/>
                    <a:pt x="387" y="10289"/>
                    <a:pt x="387" y="10289"/>
                  </a:cubicBezTo>
                  <a:cubicBezTo>
                    <a:pt x="301" y="10304"/>
                    <a:pt x="301" y="10304"/>
                    <a:pt x="301" y="10304"/>
                  </a:cubicBezTo>
                  <a:cubicBezTo>
                    <a:pt x="282" y="10307"/>
                    <a:pt x="261" y="10310"/>
                    <a:pt x="239" y="10313"/>
                  </a:cubicBezTo>
                  <a:cubicBezTo>
                    <a:pt x="343" y="10201"/>
                    <a:pt x="426" y="10111"/>
                    <a:pt x="435" y="10102"/>
                  </a:cubicBezTo>
                  <a:cubicBezTo>
                    <a:pt x="436" y="10101"/>
                    <a:pt x="438" y="10099"/>
                    <a:pt x="440" y="10097"/>
                  </a:cubicBezTo>
                  <a:cubicBezTo>
                    <a:pt x="460" y="10103"/>
                    <a:pt x="474" y="10107"/>
                    <a:pt x="478" y="10108"/>
                  </a:cubicBezTo>
                  <a:cubicBezTo>
                    <a:pt x="481" y="10108"/>
                    <a:pt x="481" y="10108"/>
                    <a:pt x="481" y="10108"/>
                  </a:cubicBezTo>
                  <a:cubicBezTo>
                    <a:pt x="484" y="10107"/>
                    <a:pt x="484" y="10107"/>
                    <a:pt x="484" y="10107"/>
                  </a:cubicBezTo>
                  <a:cubicBezTo>
                    <a:pt x="486" y="10106"/>
                    <a:pt x="487" y="10106"/>
                    <a:pt x="488" y="10105"/>
                  </a:cubicBezTo>
                  <a:cubicBezTo>
                    <a:pt x="493" y="10111"/>
                    <a:pt x="499" y="10118"/>
                    <a:pt x="506" y="10127"/>
                  </a:cubicBezTo>
                  <a:cubicBezTo>
                    <a:pt x="523" y="10146"/>
                    <a:pt x="545" y="10172"/>
                    <a:pt x="571" y="10202"/>
                  </a:cubicBezTo>
                  <a:cubicBezTo>
                    <a:pt x="535" y="10223"/>
                    <a:pt x="506" y="10242"/>
                    <a:pt x="470" y="10266"/>
                  </a:cubicBezTo>
                  <a:close/>
                  <a:moveTo>
                    <a:pt x="549" y="10070"/>
                  </a:moveTo>
                  <a:cubicBezTo>
                    <a:pt x="600" y="10041"/>
                    <a:pt x="601" y="10041"/>
                    <a:pt x="608" y="10036"/>
                  </a:cubicBezTo>
                  <a:cubicBezTo>
                    <a:pt x="609" y="10036"/>
                    <a:pt x="609" y="10036"/>
                    <a:pt x="609" y="10036"/>
                  </a:cubicBezTo>
                  <a:cubicBezTo>
                    <a:pt x="609" y="10035"/>
                    <a:pt x="609" y="10035"/>
                    <a:pt x="609" y="10035"/>
                  </a:cubicBezTo>
                  <a:cubicBezTo>
                    <a:pt x="610" y="10035"/>
                    <a:pt x="1447" y="9593"/>
                    <a:pt x="2276" y="9146"/>
                  </a:cubicBezTo>
                  <a:cubicBezTo>
                    <a:pt x="2907" y="8805"/>
                    <a:pt x="3540" y="8455"/>
                    <a:pt x="3751" y="8346"/>
                  </a:cubicBezTo>
                  <a:cubicBezTo>
                    <a:pt x="3798" y="8460"/>
                    <a:pt x="3798" y="8460"/>
                    <a:pt x="3798" y="8460"/>
                  </a:cubicBezTo>
                  <a:cubicBezTo>
                    <a:pt x="3671" y="8525"/>
                    <a:pt x="3408" y="8663"/>
                    <a:pt x="3085" y="8834"/>
                  </a:cubicBezTo>
                  <a:cubicBezTo>
                    <a:pt x="3084" y="8832"/>
                    <a:pt x="3084" y="8832"/>
                    <a:pt x="3084" y="8832"/>
                  </a:cubicBezTo>
                  <a:cubicBezTo>
                    <a:pt x="3071" y="8838"/>
                    <a:pt x="3071" y="8838"/>
                    <a:pt x="3071" y="8838"/>
                  </a:cubicBezTo>
                  <a:cubicBezTo>
                    <a:pt x="3072" y="8840"/>
                    <a:pt x="3072" y="8840"/>
                    <a:pt x="3072" y="8840"/>
                  </a:cubicBezTo>
                  <a:cubicBezTo>
                    <a:pt x="2938" y="8911"/>
                    <a:pt x="2794" y="8988"/>
                    <a:pt x="2646" y="9067"/>
                  </a:cubicBezTo>
                  <a:cubicBezTo>
                    <a:pt x="2636" y="9055"/>
                    <a:pt x="2636" y="9055"/>
                    <a:pt x="2636" y="9055"/>
                  </a:cubicBezTo>
                  <a:cubicBezTo>
                    <a:pt x="2625" y="9063"/>
                    <a:pt x="2625" y="9063"/>
                    <a:pt x="2625" y="9063"/>
                  </a:cubicBezTo>
                  <a:cubicBezTo>
                    <a:pt x="2633" y="9074"/>
                    <a:pt x="2633" y="9074"/>
                    <a:pt x="2633" y="9074"/>
                  </a:cubicBezTo>
                  <a:cubicBezTo>
                    <a:pt x="2564" y="9111"/>
                    <a:pt x="2493" y="9149"/>
                    <a:pt x="2422" y="9187"/>
                  </a:cubicBezTo>
                  <a:cubicBezTo>
                    <a:pt x="2418" y="9177"/>
                    <a:pt x="2418" y="9177"/>
                    <a:pt x="2418" y="9177"/>
                  </a:cubicBezTo>
                  <a:cubicBezTo>
                    <a:pt x="2405" y="9182"/>
                    <a:pt x="2405" y="9182"/>
                    <a:pt x="2405" y="9182"/>
                  </a:cubicBezTo>
                  <a:cubicBezTo>
                    <a:pt x="2410" y="9194"/>
                    <a:pt x="2410" y="9194"/>
                    <a:pt x="2410" y="9194"/>
                  </a:cubicBezTo>
                  <a:cubicBezTo>
                    <a:pt x="2344" y="9229"/>
                    <a:pt x="2278" y="9265"/>
                    <a:pt x="2212" y="9300"/>
                  </a:cubicBezTo>
                  <a:cubicBezTo>
                    <a:pt x="2208" y="9300"/>
                    <a:pt x="2208" y="9300"/>
                    <a:pt x="2208" y="9300"/>
                  </a:cubicBezTo>
                  <a:cubicBezTo>
                    <a:pt x="2208" y="9300"/>
                    <a:pt x="2208" y="9301"/>
                    <a:pt x="2208" y="9302"/>
                  </a:cubicBezTo>
                  <a:cubicBezTo>
                    <a:pt x="2174" y="9321"/>
                    <a:pt x="2140" y="9339"/>
                    <a:pt x="2107" y="9357"/>
                  </a:cubicBezTo>
                  <a:cubicBezTo>
                    <a:pt x="2106" y="9357"/>
                    <a:pt x="2106" y="9357"/>
                    <a:pt x="2106" y="9357"/>
                  </a:cubicBezTo>
                  <a:cubicBezTo>
                    <a:pt x="2084" y="9378"/>
                    <a:pt x="2084" y="9378"/>
                    <a:pt x="2084" y="9378"/>
                  </a:cubicBezTo>
                  <a:cubicBezTo>
                    <a:pt x="1771" y="9547"/>
                    <a:pt x="1479" y="9704"/>
                    <a:pt x="1236" y="9836"/>
                  </a:cubicBezTo>
                  <a:cubicBezTo>
                    <a:pt x="1234" y="9834"/>
                    <a:pt x="1232" y="9833"/>
                    <a:pt x="1231" y="9832"/>
                  </a:cubicBezTo>
                  <a:cubicBezTo>
                    <a:pt x="1231" y="9832"/>
                    <a:pt x="1231" y="9831"/>
                    <a:pt x="1231" y="9831"/>
                  </a:cubicBezTo>
                  <a:cubicBezTo>
                    <a:pt x="1231" y="9831"/>
                    <a:pt x="1230" y="9830"/>
                    <a:pt x="1230" y="9830"/>
                  </a:cubicBezTo>
                  <a:cubicBezTo>
                    <a:pt x="1230" y="9830"/>
                    <a:pt x="1230" y="9829"/>
                    <a:pt x="1229" y="9829"/>
                  </a:cubicBezTo>
                  <a:cubicBezTo>
                    <a:pt x="1229" y="9829"/>
                    <a:pt x="1228" y="9828"/>
                    <a:pt x="1227" y="9828"/>
                  </a:cubicBezTo>
                  <a:cubicBezTo>
                    <a:pt x="1226" y="9828"/>
                    <a:pt x="1225" y="9827"/>
                    <a:pt x="1224" y="9827"/>
                  </a:cubicBezTo>
                  <a:cubicBezTo>
                    <a:pt x="1224" y="9827"/>
                    <a:pt x="1224" y="9827"/>
                    <a:pt x="1224" y="9827"/>
                  </a:cubicBezTo>
                  <a:cubicBezTo>
                    <a:pt x="1224" y="9827"/>
                    <a:pt x="1224" y="9827"/>
                    <a:pt x="1224" y="9827"/>
                  </a:cubicBezTo>
                  <a:cubicBezTo>
                    <a:pt x="1224" y="9827"/>
                    <a:pt x="1224" y="9827"/>
                    <a:pt x="1224" y="9827"/>
                  </a:cubicBezTo>
                  <a:cubicBezTo>
                    <a:pt x="1224" y="9827"/>
                    <a:pt x="1224" y="9827"/>
                    <a:pt x="1224" y="9827"/>
                  </a:cubicBezTo>
                  <a:cubicBezTo>
                    <a:pt x="1224" y="9827"/>
                    <a:pt x="1224" y="9827"/>
                    <a:pt x="1223" y="9828"/>
                  </a:cubicBezTo>
                  <a:cubicBezTo>
                    <a:pt x="1222" y="9828"/>
                    <a:pt x="1221" y="9828"/>
                    <a:pt x="1220" y="9829"/>
                  </a:cubicBezTo>
                  <a:cubicBezTo>
                    <a:pt x="1218" y="9829"/>
                    <a:pt x="1216" y="9833"/>
                    <a:pt x="1216" y="9836"/>
                  </a:cubicBezTo>
                  <a:cubicBezTo>
                    <a:pt x="1217" y="9842"/>
                    <a:pt x="1218" y="9840"/>
                    <a:pt x="1218" y="9842"/>
                  </a:cubicBezTo>
                  <a:cubicBezTo>
                    <a:pt x="1219" y="9842"/>
                    <a:pt x="1219" y="9843"/>
                    <a:pt x="1220" y="9843"/>
                  </a:cubicBezTo>
                  <a:cubicBezTo>
                    <a:pt x="1220" y="9844"/>
                    <a:pt x="1220" y="9844"/>
                    <a:pt x="1221" y="9844"/>
                  </a:cubicBezTo>
                  <a:cubicBezTo>
                    <a:pt x="1182" y="9865"/>
                    <a:pt x="1143" y="9886"/>
                    <a:pt x="1107" y="9906"/>
                  </a:cubicBezTo>
                  <a:cubicBezTo>
                    <a:pt x="853" y="10043"/>
                    <a:pt x="683" y="10135"/>
                    <a:pt x="669" y="10143"/>
                  </a:cubicBezTo>
                  <a:cubicBezTo>
                    <a:pt x="665" y="10145"/>
                    <a:pt x="651" y="10153"/>
                    <a:pt x="631" y="10166"/>
                  </a:cubicBezTo>
                  <a:cubicBezTo>
                    <a:pt x="596" y="10125"/>
                    <a:pt x="567" y="10092"/>
                    <a:pt x="549" y="10070"/>
                  </a:cubicBezTo>
                  <a:close/>
                  <a:moveTo>
                    <a:pt x="638" y="10279"/>
                  </a:moveTo>
                  <a:cubicBezTo>
                    <a:pt x="712" y="10365"/>
                    <a:pt x="802" y="10470"/>
                    <a:pt x="893" y="10575"/>
                  </a:cubicBezTo>
                  <a:cubicBezTo>
                    <a:pt x="996" y="10693"/>
                    <a:pt x="1098" y="10811"/>
                    <a:pt x="1176" y="10902"/>
                  </a:cubicBezTo>
                  <a:cubicBezTo>
                    <a:pt x="1162" y="10910"/>
                    <a:pt x="1150" y="10918"/>
                    <a:pt x="1143" y="10925"/>
                  </a:cubicBezTo>
                  <a:cubicBezTo>
                    <a:pt x="1127" y="10942"/>
                    <a:pt x="1123" y="10964"/>
                    <a:pt x="1123" y="10983"/>
                  </a:cubicBezTo>
                  <a:cubicBezTo>
                    <a:pt x="1123" y="10997"/>
                    <a:pt x="1126" y="11010"/>
                    <a:pt x="1128" y="11020"/>
                  </a:cubicBezTo>
                  <a:cubicBezTo>
                    <a:pt x="1119" y="11022"/>
                    <a:pt x="1111" y="11025"/>
                    <a:pt x="1102" y="11029"/>
                  </a:cubicBezTo>
                  <a:cubicBezTo>
                    <a:pt x="975" y="11088"/>
                    <a:pt x="927" y="11145"/>
                    <a:pt x="926" y="11205"/>
                  </a:cubicBezTo>
                  <a:cubicBezTo>
                    <a:pt x="926" y="11206"/>
                    <a:pt x="926" y="11206"/>
                    <a:pt x="926" y="11206"/>
                  </a:cubicBezTo>
                  <a:cubicBezTo>
                    <a:pt x="926" y="11233"/>
                    <a:pt x="948" y="11273"/>
                    <a:pt x="969" y="11321"/>
                  </a:cubicBezTo>
                  <a:cubicBezTo>
                    <a:pt x="975" y="11335"/>
                    <a:pt x="981" y="11349"/>
                    <a:pt x="986" y="11363"/>
                  </a:cubicBezTo>
                  <a:cubicBezTo>
                    <a:pt x="986" y="11363"/>
                    <a:pt x="986" y="11363"/>
                    <a:pt x="986" y="11363"/>
                  </a:cubicBezTo>
                  <a:cubicBezTo>
                    <a:pt x="937" y="11333"/>
                    <a:pt x="835" y="11276"/>
                    <a:pt x="759" y="11227"/>
                  </a:cubicBezTo>
                  <a:cubicBezTo>
                    <a:pt x="922" y="11001"/>
                    <a:pt x="922" y="11001"/>
                    <a:pt x="922" y="11001"/>
                  </a:cubicBezTo>
                  <a:cubicBezTo>
                    <a:pt x="927" y="10997"/>
                    <a:pt x="945" y="10985"/>
                    <a:pt x="964" y="10972"/>
                  </a:cubicBezTo>
                  <a:cubicBezTo>
                    <a:pt x="984" y="10958"/>
                    <a:pt x="1007" y="10943"/>
                    <a:pt x="1012" y="10941"/>
                  </a:cubicBezTo>
                  <a:cubicBezTo>
                    <a:pt x="1015" y="10941"/>
                    <a:pt x="1015" y="10941"/>
                    <a:pt x="1016" y="10940"/>
                  </a:cubicBezTo>
                  <a:cubicBezTo>
                    <a:pt x="1017" y="10939"/>
                    <a:pt x="1020" y="10939"/>
                    <a:pt x="1020" y="10933"/>
                  </a:cubicBezTo>
                  <a:cubicBezTo>
                    <a:pt x="1020" y="10928"/>
                    <a:pt x="1020" y="10930"/>
                    <a:pt x="1019" y="10929"/>
                  </a:cubicBezTo>
                  <a:cubicBezTo>
                    <a:pt x="1019" y="10928"/>
                    <a:pt x="1019" y="10928"/>
                    <a:pt x="1018" y="10927"/>
                  </a:cubicBezTo>
                  <a:cubicBezTo>
                    <a:pt x="1018" y="10926"/>
                    <a:pt x="1017" y="10924"/>
                    <a:pt x="1016" y="10923"/>
                  </a:cubicBezTo>
                  <a:cubicBezTo>
                    <a:pt x="1013" y="10919"/>
                    <a:pt x="1010" y="10913"/>
                    <a:pt x="1006" y="10907"/>
                  </a:cubicBezTo>
                  <a:cubicBezTo>
                    <a:pt x="998" y="10893"/>
                    <a:pt x="986" y="10874"/>
                    <a:pt x="971" y="10851"/>
                  </a:cubicBezTo>
                  <a:cubicBezTo>
                    <a:pt x="942" y="10805"/>
                    <a:pt x="904" y="10744"/>
                    <a:pt x="865" y="10683"/>
                  </a:cubicBezTo>
                  <a:cubicBezTo>
                    <a:pt x="788" y="10562"/>
                    <a:pt x="711" y="10441"/>
                    <a:pt x="711" y="10441"/>
                  </a:cubicBezTo>
                  <a:cubicBezTo>
                    <a:pt x="707" y="10434"/>
                    <a:pt x="707" y="10434"/>
                    <a:pt x="707" y="10434"/>
                  </a:cubicBezTo>
                  <a:cubicBezTo>
                    <a:pt x="588" y="10502"/>
                    <a:pt x="588" y="10502"/>
                    <a:pt x="588" y="10502"/>
                  </a:cubicBezTo>
                  <a:cubicBezTo>
                    <a:pt x="499" y="10344"/>
                    <a:pt x="499" y="10344"/>
                    <a:pt x="499" y="10344"/>
                  </a:cubicBezTo>
                  <a:cubicBezTo>
                    <a:pt x="541" y="10323"/>
                    <a:pt x="590" y="10300"/>
                    <a:pt x="638" y="10279"/>
                  </a:cubicBezTo>
                  <a:close/>
                  <a:moveTo>
                    <a:pt x="746" y="11218"/>
                  </a:moveTo>
                  <a:cubicBezTo>
                    <a:pt x="697" y="11183"/>
                    <a:pt x="650" y="11125"/>
                    <a:pt x="632" y="11101"/>
                  </a:cubicBezTo>
                  <a:cubicBezTo>
                    <a:pt x="724" y="10990"/>
                    <a:pt x="724" y="10990"/>
                    <a:pt x="724" y="10990"/>
                  </a:cubicBezTo>
                  <a:cubicBezTo>
                    <a:pt x="630" y="10831"/>
                    <a:pt x="630" y="10831"/>
                    <a:pt x="630" y="10831"/>
                  </a:cubicBezTo>
                  <a:cubicBezTo>
                    <a:pt x="741" y="10776"/>
                    <a:pt x="741" y="10776"/>
                    <a:pt x="741" y="10776"/>
                  </a:cubicBezTo>
                  <a:cubicBezTo>
                    <a:pt x="596" y="10516"/>
                    <a:pt x="596" y="10516"/>
                    <a:pt x="596" y="10516"/>
                  </a:cubicBezTo>
                  <a:cubicBezTo>
                    <a:pt x="702" y="10456"/>
                    <a:pt x="702" y="10456"/>
                    <a:pt x="702" y="10456"/>
                  </a:cubicBezTo>
                  <a:cubicBezTo>
                    <a:pt x="719" y="10483"/>
                    <a:pt x="784" y="10585"/>
                    <a:pt x="850" y="10689"/>
                  </a:cubicBezTo>
                  <a:cubicBezTo>
                    <a:pt x="916" y="10793"/>
                    <a:pt x="983" y="10901"/>
                    <a:pt x="1000" y="10929"/>
                  </a:cubicBezTo>
                  <a:cubicBezTo>
                    <a:pt x="997" y="10931"/>
                    <a:pt x="994" y="10933"/>
                    <a:pt x="989" y="10936"/>
                  </a:cubicBezTo>
                  <a:cubicBezTo>
                    <a:pt x="980" y="10941"/>
                    <a:pt x="968" y="10949"/>
                    <a:pt x="957" y="10957"/>
                  </a:cubicBezTo>
                  <a:cubicBezTo>
                    <a:pt x="934" y="10972"/>
                    <a:pt x="912" y="10988"/>
                    <a:pt x="912" y="10988"/>
                  </a:cubicBezTo>
                  <a:cubicBezTo>
                    <a:pt x="911" y="10989"/>
                    <a:pt x="911" y="10989"/>
                    <a:pt x="911" y="10989"/>
                  </a:cubicBezTo>
                  <a:lnTo>
                    <a:pt x="746" y="11218"/>
                  </a:lnTo>
                  <a:close/>
                  <a:moveTo>
                    <a:pt x="449" y="10370"/>
                  </a:moveTo>
                  <a:cubicBezTo>
                    <a:pt x="461" y="10363"/>
                    <a:pt x="476" y="10356"/>
                    <a:pt x="493" y="10347"/>
                  </a:cubicBezTo>
                  <a:cubicBezTo>
                    <a:pt x="447" y="10371"/>
                    <a:pt x="447" y="10371"/>
                    <a:pt x="447" y="10371"/>
                  </a:cubicBezTo>
                  <a:cubicBezTo>
                    <a:pt x="448" y="10371"/>
                    <a:pt x="448" y="10370"/>
                    <a:pt x="449" y="10370"/>
                  </a:cubicBezTo>
                  <a:close/>
                  <a:moveTo>
                    <a:pt x="325" y="10453"/>
                  </a:moveTo>
                  <a:cubicBezTo>
                    <a:pt x="493" y="10365"/>
                    <a:pt x="493" y="10365"/>
                    <a:pt x="493" y="10365"/>
                  </a:cubicBezTo>
                  <a:cubicBezTo>
                    <a:pt x="718" y="10769"/>
                    <a:pt x="718" y="10769"/>
                    <a:pt x="718" y="10769"/>
                  </a:cubicBezTo>
                  <a:cubicBezTo>
                    <a:pt x="607" y="10824"/>
                    <a:pt x="607" y="10824"/>
                    <a:pt x="607" y="10824"/>
                  </a:cubicBezTo>
                  <a:cubicBezTo>
                    <a:pt x="704" y="10988"/>
                    <a:pt x="704" y="10988"/>
                    <a:pt x="704" y="10988"/>
                  </a:cubicBezTo>
                  <a:cubicBezTo>
                    <a:pt x="622" y="11087"/>
                    <a:pt x="622" y="11087"/>
                    <a:pt x="622" y="11087"/>
                  </a:cubicBezTo>
                  <a:cubicBezTo>
                    <a:pt x="622" y="11087"/>
                    <a:pt x="621" y="11086"/>
                    <a:pt x="621" y="11086"/>
                  </a:cubicBezTo>
                  <a:cubicBezTo>
                    <a:pt x="621" y="11086"/>
                    <a:pt x="621" y="11086"/>
                    <a:pt x="621" y="11086"/>
                  </a:cubicBezTo>
                  <a:cubicBezTo>
                    <a:pt x="591" y="11036"/>
                    <a:pt x="591" y="11036"/>
                    <a:pt x="591" y="11036"/>
                  </a:cubicBezTo>
                  <a:cubicBezTo>
                    <a:pt x="562" y="10988"/>
                    <a:pt x="531" y="10928"/>
                    <a:pt x="503" y="10867"/>
                  </a:cubicBezTo>
                  <a:cubicBezTo>
                    <a:pt x="446" y="10745"/>
                    <a:pt x="358" y="10524"/>
                    <a:pt x="358" y="10524"/>
                  </a:cubicBezTo>
                  <a:cubicBezTo>
                    <a:pt x="352" y="10512"/>
                    <a:pt x="352" y="10512"/>
                    <a:pt x="352" y="10512"/>
                  </a:cubicBezTo>
                  <a:cubicBezTo>
                    <a:pt x="352" y="10512"/>
                    <a:pt x="352" y="10512"/>
                    <a:pt x="352" y="10512"/>
                  </a:cubicBezTo>
                  <a:lnTo>
                    <a:pt x="325" y="10453"/>
                  </a:lnTo>
                  <a:close/>
                  <a:moveTo>
                    <a:pt x="46" y="10856"/>
                  </a:moveTo>
                  <a:cubicBezTo>
                    <a:pt x="34" y="10840"/>
                    <a:pt x="34" y="10840"/>
                    <a:pt x="34" y="10840"/>
                  </a:cubicBezTo>
                  <a:cubicBezTo>
                    <a:pt x="34" y="10839"/>
                    <a:pt x="34" y="10839"/>
                    <a:pt x="34" y="10839"/>
                  </a:cubicBezTo>
                  <a:cubicBezTo>
                    <a:pt x="34" y="10839"/>
                    <a:pt x="34" y="10839"/>
                    <a:pt x="34" y="10839"/>
                  </a:cubicBezTo>
                  <a:cubicBezTo>
                    <a:pt x="63" y="10818"/>
                    <a:pt x="73" y="10810"/>
                    <a:pt x="85" y="10802"/>
                  </a:cubicBezTo>
                  <a:cubicBezTo>
                    <a:pt x="113" y="10782"/>
                    <a:pt x="152" y="10754"/>
                    <a:pt x="191" y="10727"/>
                  </a:cubicBezTo>
                  <a:cubicBezTo>
                    <a:pt x="229" y="10701"/>
                    <a:pt x="266" y="10674"/>
                    <a:pt x="295" y="10654"/>
                  </a:cubicBezTo>
                  <a:cubicBezTo>
                    <a:pt x="170" y="10805"/>
                    <a:pt x="170" y="10805"/>
                    <a:pt x="170" y="10805"/>
                  </a:cubicBezTo>
                  <a:cubicBezTo>
                    <a:pt x="189" y="10874"/>
                    <a:pt x="189" y="10874"/>
                    <a:pt x="189" y="10874"/>
                  </a:cubicBezTo>
                  <a:cubicBezTo>
                    <a:pt x="373" y="10799"/>
                    <a:pt x="373" y="10799"/>
                    <a:pt x="373" y="10799"/>
                  </a:cubicBezTo>
                  <a:cubicBezTo>
                    <a:pt x="380" y="10796"/>
                    <a:pt x="380" y="10796"/>
                    <a:pt x="380" y="10796"/>
                  </a:cubicBezTo>
                  <a:cubicBezTo>
                    <a:pt x="307" y="10646"/>
                    <a:pt x="307" y="10646"/>
                    <a:pt x="307" y="10646"/>
                  </a:cubicBezTo>
                  <a:cubicBezTo>
                    <a:pt x="330" y="10630"/>
                    <a:pt x="345" y="10619"/>
                    <a:pt x="345" y="10619"/>
                  </a:cubicBezTo>
                  <a:cubicBezTo>
                    <a:pt x="347" y="10618"/>
                    <a:pt x="347" y="10618"/>
                    <a:pt x="347" y="10618"/>
                  </a:cubicBezTo>
                  <a:cubicBezTo>
                    <a:pt x="371" y="10675"/>
                    <a:pt x="403" y="10754"/>
                    <a:pt x="433" y="10822"/>
                  </a:cubicBezTo>
                  <a:cubicBezTo>
                    <a:pt x="118" y="10962"/>
                    <a:pt x="118" y="10962"/>
                    <a:pt x="118" y="10962"/>
                  </a:cubicBezTo>
                  <a:cubicBezTo>
                    <a:pt x="79" y="10905"/>
                    <a:pt x="52" y="10866"/>
                    <a:pt x="46" y="10856"/>
                  </a:cubicBezTo>
                  <a:close/>
                  <a:moveTo>
                    <a:pt x="302" y="10669"/>
                  </a:moveTo>
                  <a:cubicBezTo>
                    <a:pt x="360" y="10788"/>
                    <a:pt x="360" y="10788"/>
                    <a:pt x="360" y="10788"/>
                  </a:cubicBezTo>
                  <a:cubicBezTo>
                    <a:pt x="199" y="10854"/>
                    <a:pt x="199" y="10854"/>
                    <a:pt x="199" y="10854"/>
                  </a:cubicBezTo>
                  <a:cubicBezTo>
                    <a:pt x="186" y="10808"/>
                    <a:pt x="186" y="10808"/>
                    <a:pt x="186" y="10808"/>
                  </a:cubicBezTo>
                  <a:lnTo>
                    <a:pt x="302" y="10669"/>
                  </a:lnTo>
                  <a:close/>
                  <a:moveTo>
                    <a:pt x="414" y="11387"/>
                  </a:moveTo>
                  <a:cubicBezTo>
                    <a:pt x="303" y="11228"/>
                    <a:pt x="197" y="11075"/>
                    <a:pt x="126" y="10974"/>
                  </a:cubicBezTo>
                  <a:cubicBezTo>
                    <a:pt x="439" y="10835"/>
                    <a:pt x="439" y="10835"/>
                    <a:pt x="439" y="10835"/>
                  </a:cubicBezTo>
                  <a:cubicBezTo>
                    <a:pt x="447" y="10853"/>
                    <a:pt x="455" y="10871"/>
                    <a:pt x="462" y="10886"/>
                  </a:cubicBezTo>
                  <a:cubicBezTo>
                    <a:pt x="506" y="10980"/>
                    <a:pt x="564" y="11079"/>
                    <a:pt x="593" y="11122"/>
                  </a:cubicBezTo>
                  <a:cubicBezTo>
                    <a:pt x="593" y="11123"/>
                    <a:pt x="593" y="11123"/>
                    <a:pt x="593" y="11123"/>
                  </a:cubicBezTo>
                  <a:cubicBezTo>
                    <a:pt x="594" y="11124"/>
                    <a:pt x="640" y="11194"/>
                    <a:pt x="710" y="11248"/>
                  </a:cubicBezTo>
                  <a:cubicBezTo>
                    <a:pt x="459" y="11451"/>
                    <a:pt x="459" y="11451"/>
                    <a:pt x="459" y="11451"/>
                  </a:cubicBezTo>
                  <a:cubicBezTo>
                    <a:pt x="444" y="11429"/>
                    <a:pt x="429" y="11408"/>
                    <a:pt x="414" y="11387"/>
                  </a:cubicBezTo>
                  <a:close/>
                  <a:moveTo>
                    <a:pt x="467" y="11462"/>
                  </a:moveTo>
                  <a:cubicBezTo>
                    <a:pt x="722" y="11256"/>
                    <a:pt x="722" y="11256"/>
                    <a:pt x="722" y="11256"/>
                  </a:cubicBezTo>
                  <a:cubicBezTo>
                    <a:pt x="725" y="11258"/>
                    <a:pt x="728" y="11261"/>
                    <a:pt x="731" y="11263"/>
                  </a:cubicBezTo>
                  <a:cubicBezTo>
                    <a:pt x="774" y="11291"/>
                    <a:pt x="826" y="11322"/>
                    <a:pt x="872" y="11348"/>
                  </a:cubicBezTo>
                  <a:cubicBezTo>
                    <a:pt x="869" y="11365"/>
                    <a:pt x="864" y="11396"/>
                    <a:pt x="854" y="11432"/>
                  </a:cubicBezTo>
                  <a:cubicBezTo>
                    <a:pt x="840" y="11486"/>
                    <a:pt x="816" y="11552"/>
                    <a:pt x="782" y="11595"/>
                  </a:cubicBezTo>
                  <a:cubicBezTo>
                    <a:pt x="716" y="11680"/>
                    <a:pt x="655" y="11704"/>
                    <a:pt x="650" y="11705"/>
                  </a:cubicBezTo>
                  <a:cubicBezTo>
                    <a:pt x="641" y="11708"/>
                    <a:pt x="641" y="11708"/>
                    <a:pt x="641" y="11708"/>
                  </a:cubicBezTo>
                  <a:cubicBezTo>
                    <a:pt x="586" y="11631"/>
                    <a:pt x="527" y="11547"/>
                    <a:pt x="467" y="11462"/>
                  </a:cubicBezTo>
                  <a:close/>
                  <a:moveTo>
                    <a:pt x="185" y="12166"/>
                  </a:moveTo>
                  <a:cubicBezTo>
                    <a:pt x="166" y="12155"/>
                    <a:pt x="141" y="12146"/>
                    <a:pt x="115" y="12139"/>
                  </a:cubicBezTo>
                  <a:cubicBezTo>
                    <a:pt x="150" y="11995"/>
                    <a:pt x="150" y="11995"/>
                    <a:pt x="150" y="11995"/>
                  </a:cubicBezTo>
                  <a:cubicBezTo>
                    <a:pt x="607" y="11774"/>
                    <a:pt x="607" y="11774"/>
                    <a:pt x="607" y="11774"/>
                  </a:cubicBezTo>
                  <a:cubicBezTo>
                    <a:pt x="652" y="11836"/>
                    <a:pt x="693" y="11894"/>
                    <a:pt x="727" y="11941"/>
                  </a:cubicBezTo>
                  <a:cubicBezTo>
                    <a:pt x="339" y="12142"/>
                    <a:pt x="339" y="12142"/>
                    <a:pt x="339" y="12142"/>
                  </a:cubicBezTo>
                  <a:cubicBezTo>
                    <a:pt x="337" y="12139"/>
                    <a:pt x="337" y="12139"/>
                    <a:pt x="337" y="12139"/>
                  </a:cubicBezTo>
                  <a:cubicBezTo>
                    <a:pt x="319" y="12152"/>
                    <a:pt x="319" y="12152"/>
                    <a:pt x="319" y="12152"/>
                  </a:cubicBezTo>
                  <a:cubicBezTo>
                    <a:pt x="227" y="12200"/>
                    <a:pt x="227" y="12200"/>
                    <a:pt x="227" y="12200"/>
                  </a:cubicBezTo>
                  <a:cubicBezTo>
                    <a:pt x="213" y="12186"/>
                    <a:pt x="199" y="12174"/>
                    <a:pt x="185" y="12166"/>
                  </a:cubicBezTo>
                  <a:close/>
                  <a:moveTo>
                    <a:pt x="237" y="12210"/>
                  </a:moveTo>
                  <a:cubicBezTo>
                    <a:pt x="269" y="12193"/>
                    <a:pt x="269" y="12193"/>
                    <a:pt x="269" y="12193"/>
                  </a:cubicBezTo>
                  <a:cubicBezTo>
                    <a:pt x="319" y="12260"/>
                    <a:pt x="319" y="12260"/>
                    <a:pt x="319" y="12260"/>
                  </a:cubicBezTo>
                  <a:cubicBezTo>
                    <a:pt x="292" y="12271"/>
                    <a:pt x="292" y="12271"/>
                    <a:pt x="292" y="12271"/>
                  </a:cubicBezTo>
                  <a:cubicBezTo>
                    <a:pt x="274" y="12249"/>
                    <a:pt x="255" y="12228"/>
                    <a:pt x="237" y="12210"/>
                  </a:cubicBezTo>
                  <a:close/>
                  <a:moveTo>
                    <a:pt x="305" y="12285"/>
                  </a:moveTo>
                  <a:cubicBezTo>
                    <a:pt x="304" y="12284"/>
                    <a:pt x="303" y="12283"/>
                    <a:pt x="302" y="12282"/>
                  </a:cubicBezTo>
                  <a:cubicBezTo>
                    <a:pt x="328" y="12272"/>
                    <a:pt x="328" y="12272"/>
                    <a:pt x="328" y="12272"/>
                  </a:cubicBezTo>
                  <a:cubicBezTo>
                    <a:pt x="390" y="12356"/>
                    <a:pt x="390" y="12356"/>
                    <a:pt x="390" y="12356"/>
                  </a:cubicBezTo>
                  <a:cubicBezTo>
                    <a:pt x="367" y="12365"/>
                    <a:pt x="367" y="12365"/>
                    <a:pt x="367" y="12365"/>
                  </a:cubicBezTo>
                  <a:cubicBezTo>
                    <a:pt x="348" y="12340"/>
                    <a:pt x="327" y="12312"/>
                    <a:pt x="305" y="12285"/>
                  </a:cubicBezTo>
                  <a:close/>
                  <a:moveTo>
                    <a:pt x="214" y="12704"/>
                  </a:moveTo>
                  <a:cubicBezTo>
                    <a:pt x="185" y="12667"/>
                    <a:pt x="152" y="12642"/>
                    <a:pt x="127" y="12627"/>
                  </a:cubicBezTo>
                  <a:cubicBezTo>
                    <a:pt x="314" y="12403"/>
                    <a:pt x="314" y="12403"/>
                    <a:pt x="314" y="12403"/>
                  </a:cubicBezTo>
                  <a:cubicBezTo>
                    <a:pt x="330" y="12425"/>
                    <a:pt x="344" y="12444"/>
                    <a:pt x="353" y="12457"/>
                  </a:cubicBezTo>
                  <a:cubicBezTo>
                    <a:pt x="387" y="12505"/>
                    <a:pt x="473" y="12630"/>
                    <a:pt x="528" y="12722"/>
                  </a:cubicBezTo>
                  <a:cubicBezTo>
                    <a:pt x="500" y="12728"/>
                    <a:pt x="442" y="12741"/>
                    <a:pt x="382" y="12755"/>
                  </a:cubicBezTo>
                  <a:cubicBezTo>
                    <a:pt x="336" y="12765"/>
                    <a:pt x="291" y="12776"/>
                    <a:pt x="261" y="12782"/>
                  </a:cubicBezTo>
                  <a:cubicBezTo>
                    <a:pt x="246" y="12750"/>
                    <a:pt x="228" y="12723"/>
                    <a:pt x="214" y="12704"/>
                  </a:cubicBezTo>
                  <a:close/>
                  <a:moveTo>
                    <a:pt x="160" y="13485"/>
                  </a:moveTo>
                  <a:cubicBezTo>
                    <a:pt x="271" y="13315"/>
                    <a:pt x="271" y="13315"/>
                    <a:pt x="271" y="13315"/>
                  </a:cubicBezTo>
                  <a:cubicBezTo>
                    <a:pt x="329" y="13337"/>
                    <a:pt x="515" y="13405"/>
                    <a:pt x="581" y="13427"/>
                  </a:cubicBezTo>
                  <a:cubicBezTo>
                    <a:pt x="567" y="13498"/>
                    <a:pt x="553" y="13578"/>
                    <a:pt x="549" y="13602"/>
                  </a:cubicBezTo>
                  <a:cubicBezTo>
                    <a:pt x="549" y="13607"/>
                    <a:pt x="548" y="13611"/>
                    <a:pt x="548" y="13616"/>
                  </a:cubicBezTo>
                  <a:cubicBezTo>
                    <a:pt x="549" y="13630"/>
                    <a:pt x="552" y="13646"/>
                    <a:pt x="556" y="13661"/>
                  </a:cubicBezTo>
                  <a:cubicBezTo>
                    <a:pt x="243" y="13633"/>
                    <a:pt x="243" y="13633"/>
                    <a:pt x="243" y="13633"/>
                  </a:cubicBezTo>
                  <a:lnTo>
                    <a:pt x="160" y="13485"/>
                  </a:lnTo>
                  <a:close/>
                  <a:moveTo>
                    <a:pt x="244" y="13648"/>
                  </a:moveTo>
                  <a:cubicBezTo>
                    <a:pt x="560" y="13675"/>
                    <a:pt x="560" y="13675"/>
                    <a:pt x="560" y="13675"/>
                  </a:cubicBezTo>
                  <a:cubicBezTo>
                    <a:pt x="570" y="13704"/>
                    <a:pt x="584" y="13732"/>
                    <a:pt x="601" y="13756"/>
                  </a:cubicBezTo>
                  <a:cubicBezTo>
                    <a:pt x="602" y="13757"/>
                    <a:pt x="602" y="13757"/>
                    <a:pt x="602" y="13757"/>
                  </a:cubicBezTo>
                  <a:cubicBezTo>
                    <a:pt x="604" y="13759"/>
                    <a:pt x="604" y="13759"/>
                    <a:pt x="604" y="13759"/>
                  </a:cubicBezTo>
                  <a:cubicBezTo>
                    <a:pt x="613" y="13767"/>
                    <a:pt x="624" y="13774"/>
                    <a:pt x="640" y="13786"/>
                  </a:cubicBezTo>
                  <a:cubicBezTo>
                    <a:pt x="656" y="13797"/>
                    <a:pt x="665" y="13803"/>
                    <a:pt x="685" y="13816"/>
                  </a:cubicBezTo>
                  <a:cubicBezTo>
                    <a:pt x="708" y="13831"/>
                    <a:pt x="708" y="13831"/>
                    <a:pt x="708" y="13831"/>
                  </a:cubicBezTo>
                  <a:cubicBezTo>
                    <a:pt x="749" y="13860"/>
                    <a:pt x="749" y="13860"/>
                    <a:pt x="749" y="13860"/>
                  </a:cubicBezTo>
                  <a:cubicBezTo>
                    <a:pt x="748" y="13860"/>
                    <a:pt x="748" y="13860"/>
                    <a:pt x="748" y="13860"/>
                  </a:cubicBezTo>
                  <a:cubicBezTo>
                    <a:pt x="753" y="13863"/>
                    <a:pt x="753" y="13863"/>
                    <a:pt x="753" y="13863"/>
                  </a:cubicBezTo>
                  <a:cubicBezTo>
                    <a:pt x="748" y="13861"/>
                    <a:pt x="748" y="13861"/>
                    <a:pt x="748" y="13861"/>
                  </a:cubicBezTo>
                  <a:cubicBezTo>
                    <a:pt x="560" y="14121"/>
                    <a:pt x="560" y="14121"/>
                    <a:pt x="560" y="14121"/>
                  </a:cubicBezTo>
                  <a:cubicBezTo>
                    <a:pt x="523" y="14097"/>
                    <a:pt x="250" y="13920"/>
                    <a:pt x="159" y="13865"/>
                  </a:cubicBezTo>
                  <a:lnTo>
                    <a:pt x="244" y="13648"/>
                  </a:lnTo>
                  <a:close/>
                  <a:moveTo>
                    <a:pt x="464" y="14505"/>
                  </a:moveTo>
                  <a:cubicBezTo>
                    <a:pt x="40" y="14169"/>
                    <a:pt x="40" y="14169"/>
                    <a:pt x="40" y="14169"/>
                  </a:cubicBezTo>
                  <a:cubicBezTo>
                    <a:pt x="154" y="13878"/>
                    <a:pt x="154" y="13878"/>
                    <a:pt x="154" y="13878"/>
                  </a:cubicBezTo>
                  <a:cubicBezTo>
                    <a:pt x="165" y="13885"/>
                    <a:pt x="178" y="13893"/>
                    <a:pt x="194" y="13903"/>
                  </a:cubicBezTo>
                  <a:cubicBezTo>
                    <a:pt x="235" y="13929"/>
                    <a:pt x="289" y="13964"/>
                    <a:pt x="342" y="13998"/>
                  </a:cubicBezTo>
                  <a:cubicBezTo>
                    <a:pt x="436" y="14059"/>
                    <a:pt x="530" y="14118"/>
                    <a:pt x="552" y="14132"/>
                  </a:cubicBezTo>
                  <a:cubicBezTo>
                    <a:pt x="551" y="14134"/>
                    <a:pt x="551" y="14134"/>
                    <a:pt x="551" y="14134"/>
                  </a:cubicBezTo>
                  <a:cubicBezTo>
                    <a:pt x="648" y="14202"/>
                    <a:pt x="648" y="14202"/>
                    <a:pt x="648" y="14202"/>
                  </a:cubicBezTo>
                  <a:lnTo>
                    <a:pt x="464" y="14505"/>
                  </a:lnTo>
                  <a:close/>
                  <a:moveTo>
                    <a:pt x="477" y="14515"/>
                  </a:moveTo>
                  <a:cubicBezTo>
                    <a:pt x="670" y="14197"/>
                    <a:pt x="670" y="14197"/>
                    <a:pt x="670" y="14197"/>
                  </a:cubicBezTo>
                  <a:cubicBezTo>
                    <a:pt x="574" y="14130"/>
                    <a:pt x="574" y="14130"/>
                    <a:pt x="574" y="14130"/>
                  </a:cubicBezTo>
                  <a:cubicBezTo>
                    <a:pt x="763" y="13869"/>
                    <a:pt x="763" y="13869"/>
                    <a:pt x="763" y="13869"/>
                  </a:cubicBezTo>
                  <a:cubicBezTo>
                    <a:pt x="1069" y="14062"/>
                    <a:pt x="1069" y="14062"/>
                    <a:pt x="1069" y="14062"/>
                  </a:cubicBezTo>
                  <a:cubicBezTo>
                    <a:pt x="1040" y="14093"/>
                    <a:pt x="1001" y="14133"/>
                    <a:pt x="961" y="14174"/>
                  </a:cubicBezTo>
                  <a:cubicBezTo>
                    <a:pt x="881" y="14257"/>
                    <a:pt x="797" y="14343"/>
                    <a:pt x="790" y="14350"/>
                  </a:cubicBezTo>
                  <a:cubicBezTo>
                    <a:pt x="790" y="14350"/>
                    <a:pt x="790" y="14350"/>
                    <a:pt x="790" y="14350"/>
                  </a:cubicBezTo>
                  <a:cubicBezTo>
                    <a:pt x="790" y="14350"/>
                    <a:pt x="789" y="14351"/>
                    <a:pt x="789" y="14351"/>
                  </a:cubicBezTo>
                  <a:cubicBezTo>
                    <a:pt x="789" y="14351"/>
                    <a:pt x="788" y="14352"/>
                    <a:pt x="788" y="14352"/>
                  </a:cubicBezTo>
                  <a:cubicBezTo>
                    <a:pt x="787" y="14353"/>
                    <a:pt x="786" y="14354"/>
                    <a:pt x="785" y="14355"/>
                  </a:cubicBezTo>
                  <a:cubicBezTo>
                    <a:pt x="783" y="14357"/>
                    <a:pt x="781" y="14359"/>
                    <a:pt x="778" y="14363"/>
                  </a:cubicBezTo>
                  <a:cubicBezTo>
                    <a:pt x="772" y="14369"/>
                    <a:pt x="763" y="14378"/>
                    <a:pt x="754" y="14388"/>
                  </a:cubicBezTo>
                  <a:cubicBezTo>
                    <a:pt x="736" y="14409"/>
                    <a:pt x="714" y="14434"/>
                    <a:pt x="698" y="14456"/>
                  </a:cubicBezTo>
                  <a:cubicBezTo>
                    <a:pt x="686" y="14471"/>
                    <a:pt x="678" y="14482"/>
                    <a:pt x="672" y="14499"/>
                  </a:cubicBezTo>
                  <a:cubicBezTo>
                    <a:pt x="662" y="14532"/>
                    <a:pt x="664" y="14553"/>
                    <a:pt x="662" y="14559"/>
                  </a:cubicBezTo>
                  <a:cubicBezTo>
                    <a:pt x="661" y="14566"/>
                    <a:pt x="652" y="14601"/>
                    <a:pt x="641" y="14639"/>
                  </a:cubicBezTo>
                  <a:cubicBezTo>
                    <a:pt x="624" y="14626"/>
                    <a:pt x="605" y="14611"/>
                    <a:pt x="585" y="14595"/>
                  </a:cubicBezTo>
                  <a:cubicBezTo>
                    <a:pt x="580" y="14592"/>
                    <a:pt x="575" y="14588"/>
                    <a:pt x="570" y="14584"/>
                  </a:cubicBezTo>
                  <a:cubicBezTo>
                    <a:pt x="582" y="14515"/>
                    <a:pt x="680" y="14397"/>
                    <a:pt x="705" y="14348"/>
                  </a:cubicBezTo>
                  <a:cubicBezTo>
                    <a:pt x="709" y="14340"/>
                    <a:pt x="711" y="14332"/>
                    <a:pt x="711" y="14325"/>
                  </a:cubicBezTo>
                  <a:cubicBezTo>
                    <a:pt x="710" y="14299"/>
                    <a:pt x="692" y="14280"/>
                    <a:pt x="676" y="14268"/>
                  </a:cubicBezTo>
                  <a:cubicBezTo>
                    <a:pt x="660" y="14255"/>
                    <a:pt x="645" y="14248"/>
                    <a:pt x="644" y="14248"/>
                  </a:cubicBezTo>
                  <a:cubicBezTo>
                    <a:pt x="634" y="14270"/>
                    <a:pt x="634" y="14270"/>
                    <a:pt x="634" y="14270"/>
                  </a:cubicBezTo>
                  <a:cubicBezTo>
                    <a:pt x="634" y="14270"/>
                    <a:pt x="648" y="14276"/>
                    <a:pt x="661" y="14287"/>
                  </a:cubicBezTo>
                  <a:cubicBezTo>
                    <a:pt x="675" y="14298"/>
                    <a:pt x="687" y="14312"/>
                    <a:pt x="686" y="14325"/>
                  </a:cubicBezTo>
                  <a:cubicBezTo>
                    <a:pt x="686" y="14328"/>
                    <a:pt x="685" y="14332"/>
                    <a:pt x="683" y="14337"/>
                  </a:cubicBezTo>
                  <a:cubicBezTo>
                    <a:pt x="662" y="14379"/>
                    <a:pt x="571" y="14488"/>
                    <a:pt x="549" y="14568"/>
                  </a:cubicBezTo>
                  <a:cubicBezTo>
                    <a:pt x="522" y="14548"/>
                    <a:pt x="493" y="14527"/>
                    <a:pt x="477" y="14515"/>
                  </a:cubicBezTo>
                  <a:close/>
                  <a:moveTo>
                    <a:pt x="82" y="15209"/>
                  </a:moveTo>
                  <a:cubicBezTo>
                    <a:pt x="289" y="14853"/>
                    <a:pt x="289" y="14853"/>
                    <a:pt x="289" y="14853"/>
                  </a:cubicBezTo>
                  <a:cubicBezTo>
                    <a:pt x="394" y="14895"/>
                    <a:pt x="394" y="14895"/>
                    <a:pt x="394" y="14895"/>
                  </a:cubicBezTo>
                  <a:cubicBezTo>
                    <a:pt x="509" y="14624"/>
                    <a:pt x="509" y="14624"/>
                    <a:pt x="509" y="14624"/>
                  </a:cubicBezTo>
                  <a:cubicBezTo>
                    <a:pt x="517" y="14630"/>
                    <a:pt x="526" y="14636"/>
                    <a:pt x="535" y="14643"/>
                  </a:cubicBezTo>
                  <a:cubicBezTo>
                    <a:pt x="528" y="14679"/>
                    <a:pt x="519" y="14723"/>
                    <a:pt x="509" y="14766"/>
                  </a:cubicBezTo>
                  <a:cubicBezTo>
                    <a:pt x="491" y="14838"/>
                    <a:pt x="468" y="14909"/>
                    <a:pt x="443" y="14938"/>
                  </a:cubicBezTo>
                  <a:cubicBezTo>
                    <a:pt x="415" y="14974"/>
                    <a:pt x="379" y="15061"/>
                    <a:pt x="360" y="15145"/>
                  </a:cubicBezTo>
                  <a:cubicBezTo>
                    <a:pt x="332" y="15183"/>
                    <a:pt x="302" y="15222"/>
                    <a:pt x="273" y="15260"/>
                  </a:cubicBezTo>
                  <a:cubicBezTo>
                    <a:pt x="256" y="15283"/>
                    <a:pt x="238" y="15306"/>
                    <a:pt x="221" y="15328"/>
                  </a:cubicBezTo>
                  <a:cubicBezTo>
                    <a:pt x="194" y="15306"/>
                    <a:pt x="145" y="15263"/>
                    <a:pt x="82" y="15209"/>
                  </a:cubicBezTo>
                  <a:close/>
                  <a:moveTo>
                    <a:pt x="121" y="15567"/>
                  </a:moveTo>
                  <a:cubicBezTo>
                    <a:pt x="140" y="15543"/>
                    <a:pt x="181" y="15490"/>
                    <a:pt x="231" y="15425"/>
                  </a:cubicBezTo>
                  <a:cubicBezTo>
                    <a:pt x="238" y="15426"/>
                    <a:pt x="247" y="15427"/>
                    <a:pt x="260" y="15429"/>
                  </a:cubicBezTo>
                  <a:cubicBezTo>
                    <a:pt x="288" y="15433"/>
                    <a:pt x="330" y="15438"/>
                    <a:pt x="385" y="15446"/>
                  </a:cubicBezTo>
                  <a:cubicBezTo>
                    <a:pt x="498" y="15462"/>
                    <a:pt x="638" y="15496"/>
                    <a:pt x="745" y="15525"/>
                  </a:cubicBezTo>
                  <a:cubicBezTo>
                    <a:pt x="764" y="15531"/>
                    <a:pt x="780" y="15536"/>
                    <a:pt x="797" y="15542"/>
                  </a:cubicBezTo>
                  <a:cubicBezTo>
                    <a:pt x="714" y="15731"/>
                    <a:pt x="714" y="15731"/>
                    <a:pt x="714" y="15731"/>
                  </a:cubicBezTo>
                  <a:lnTo>
                    <a:pt x="121" y="15567"/>
                  </a:lnTo>
                  <a:close/>
                  <a:moveTo>
                    <a:pt x="695" y="15814"/>
                  </a:moveTo>
                  <a:cubicBezTo>
                    <a:pt x="812" y="15547"/>
                    <a:pt x="812" y="15547"/>
                    <a:pt x="812" y="15547"/>
                  </a:cubicBezTo>
                  <a:cubicBezTo>
                    <a:pt x="879" y="15571"/>
                    <a:pt x="931" y="15599"/>
                    <a:pt x="995" y="15632"/>
                  </a:cubicBezTo>
                  <a:cubicBezTo>
                    <a:pt x="1031" y="15650"/>
                    <a:pt x="1090" y="15696"/>
                    <a:pt x="1137" y="15736"/>
                  </a:cubicBezTo>
                  <a:cubicBezTo>
                    <a:pt x="1138" y="15737"/>
                    <a:pt x="1138" y="15737"/>
                    <a:pt x="1139" y="15737"/>
                  </a:cubicBezTo>
                  <a:cubicBezTo>
                    <a:pt x="1133" y="15747"/>
                    <a:pt x="1125" y="15756"/>
                    <a:pt x="1113" y="15765"/>
                  </a:cubicBezTo>
                  <a:cubicBezTo>
                    <a:pt x="1086" y="15787"/>
                    <a:pt x="1063" y="15794"/>
                    <a:pt x="1042" y="15794"/>
                  </a:cubicBezTo>
                  <a:cubicBezTo>
                    <a:pt x="1009" y="15794"/>
                    <a:pt x="979" y="15774"/>
                    <a:pt x="953" y="15750"/>
                  </a:cubicBezTo>
                  <a:cubicBezTo>
                    <a:pt x="927" y="15726"/>
                    <a:pt x="908" y="15700"/>
                    <a:pt x="884" y="15692"/>
                  </a:cubicBezTo>
                  <a:cubicBezTo>
                    <a:pt x="878" y="15690"/>
                    <a:pt x="871" y="15689"/>
                    <a:pt x="863" y="15689"/>
                  </a:cubicBezTo>
                  <a:cubicBezTo>
                    <a:pt x="816" y="15689"/>
                    <a:pt x="756" y="15728"/>
                    <a:pt x="755" y="15792"/>
                  </a:cubicBezTo>
                  <a:cubicBezTo>
                    <a:pt x="755" y="15795"/>
                    <a:pt x="755" y="15797"/>
                    <a:pt x="755" y="15800"/>
                  </a:cubicBezTo>
                  <a:cubicBezTo>
                    <a:pt x="755" y="15800"/>
                    <a:pt x="781" y="15815"/>
                    <a:pt x="781" y="15815"/>
                  </a:cubicBezTo>
                  <a:cubicBezTo>
                    <a:pt x="781" y="15810"/>
                    <a:pt x="779" y="15796"/>
                    <a:pt x="779" y="15792"/>
                  </a:cubicBezTo>
                  <a:cubicBezTo>
                    <a:pt x="779" y="15769"/>
                    <a:pt x="791" y="15749"/>
                    <a:pt x="808" y="15735"/>
                  </a:cubicBezTo>
                  <a:cubicBezTo>
                    <a:pt x="824" y="15721"/>
                    <a:pt x="846" y="15713"/>
                    <a:pt x="863" y="15713"/>
                  </a:cubicBezTo>
                  <a:cubicBezTo>
                    <a:pt x="868" y="15713"/>
                    <a:pt x="873" y="15714"/>
                    <a:pt x="877" y="15715"/>
                  </a:cubicBezTo>
                  <a:cubicBezTo>
                    <a:pt x="887" y="15717"/>
                    <a:pt x="910" y="15743"/>
                    <a:pt x="937" y="15768"/>
                  </a:cubicBezTo>
                  <a:cubicBezTo>
                    <a:pt x="964" y="15793"/>
                    <a:pt x="999" y="15818"/>
                    <a:pt x="1042" y="15819"/>
                  </a:cubicBezTo>
                  <a:cubicBezTo>
                    <a:pt x="1069" y="15819"/>
                    <a:pt x="1098" y="15809"/>
                    <a:pt x="1128" y="15785"/>
                  </a:cubicBezTo>
                  <a:cubicBezTo>
                    <a:pt x="1141" y="15775"/>
                    <a:pt x="1150" y="15764"/>
                    <a:pt x="1157" y="15753"/>
                  </a:cubicBezTo>
                  <a:cubicBezTo>
                    <a:pt x="1184" y="15776"/>
                    <a:pt x="1204" y="15795"/>
                    <a:pt x="1214" y="15805"/>
                  </a:cubicBezTo>
                  <a:cubicBezTo>
                    <a:pt x="1142" y="15883"/>
                    <a:pt x="1142" y="15883"/>
                    <a:pt x="1142" y="15883"/>
                  </a:cubicBezTo>
                  <a:lnTo>
                    <a:pt x="695" y="15814"/>
                  </a:lnTo>
                  <a:close/>
                  <a:moveTo>
                    <a:pt x="914" y="15864"/>
                  </a:moveTo>
                  <a:cubicBezTo>
                    <a:pt x="1149" y="15901"/>
                    <a:pt x="1149" y="15901"/>
                    <a:pt x="1149" y="15901"/>
                  </a:cubicBezTo>
                  <a:cubicBezTo>
                    <a:pt x="1226" y="15816"/>
                    <a:pt x="1226" y="15816"/>
                    <a:pt x="1226" y="15816"/>
                  </a:cubicBezTo>
                  <a:cubicBezTo>
                    <a:pt x="1246" y="15833"/>
                    <a:pt x="1291" y="15871"/>
                    <a:pt x="1342" y="15915"/>
                  </a:cubicBezTo>
                  <a:cubicBezTo>
                    <a:pt x="1409" y="15973"/>
                    <a:pt x="1487" y="16040"/>
                    <a:pt x="1523" y="16075"/>
                  </a:cubicBezTo>
                  <a:cubicBezTo>
                    <a:pt x="1524" y="16076"/>
                    <a:pt x="1526" y="16078"/>
                    <a:pt x="1527" y="16079"/>
                  </a:cubicBezTo>
                  <a:cubicBezTo>
                    <a:pt x="1526" y="16081"/>
                    <a:pt x="1526" y="16081"/>
                    <a:pt x="1524" y="16083"/>
                  </a:cubicBezTo>
                  <a:cubicBezTo>
                    <a:pt x="1518" y="16091"/>
                    <a:pt x="1510" y="16102"/>
                    <a:pt x="1499" y="16116"/>
                  </a:cubicBezTo>
                  <a:cubicBezTo>
                    <a:pt x="1478" y="16142"/>
                    <a:pt x="1450" y="16176"/>
                    <a:pt x="1422" y="16210"/>
                  </a:cubicBezTo>
                  <a:cubicBezTo>
                    <a:pt x="1374" y="16268"/>
                    <a:pt x="1326" y="16325"/>
                    <a:pt x="1313" y="16340"/>
                  </a:cubicBezTo>
                  <a:cubicBezTo>
                    <a:pt x="1230" y="16303"/>
                    <a:pt x="1230" y="16303"/>
                    <a:pt x="1230" y="16303"/>
                  </a:cubicBezTo>
                  <a:cubicBezTo>
                    <a:pt x="1227" y="16308"/>
                    <a:pt x="1227" y="16308"/>
                    <a:pt x="1227" y="16308"/>
                  </a:cubicBezTo>
                  <a:cubicBezTo>
                    <a:pt x="1227" y="16308"/>
                    <a:pt x="1206" y="16342"/>
                    <a:pt x="1183" y="16378"/>
                  </a:cubicBezTo>
                  <a:cubicBezTo>
                    <a:pt x="1162" y="16412"/>
                    <a:pt x="1138" y="16448"/>
                    <a:pt x="1132" y="16455"/>
                  </a:cubicBezTo>
                  <a:cubicBezTo>
                    <a:pt x="1131" y="16455"/>
                    <a:pt x="1130" y="16455"/>
                    <a:pt x="1129" y="16455"/>
                  </a:cubicBezTo>
                  <a:cubicBezTo>
                    <a:pt x="1126" y="16455"/>
                    <a:pt x="1121" y="16456"/>
                    <a:pt x="1115" y="16456"/>
                  </a:cubicBezTo>
                  <a:cubicBezTo>
                    <a:pt x="1104" y="16458"/>
                    <a:pt x="1088" y="16459"/>
                    <a:pt x="1069" y="16461"/>
                  </a:cubicBezTo>
                  <a:cubicBezTo>
                    <a:pt x="1030" y="16464"/>
                    <a:pt x="979" y="16468"/>
                    <a:pt x="927" y="16473"/>
                  </a:cubicBezTo>
                  <a:cubicBezTo>
                    <a:pt x="914" y="16474"/>
                    <a:pt x="900" y="16475"/>
                    <a:pt x="886" y="16476"/>
                  </a:cubicBezTo>
                  <a:cubicBezTo>
                    <a:pt x="882" y="16427"/>
                    <a:pt x="846" y="16216"/>
                    <a:pt x="843" y="16197"/>
                  </a:cubicBezTo>
                  <a:lnTo>
                    <a:pt x="914" y="15864"/>
                  </a:lnTo>
                  <a:close/>
                  <a:moveTo>
                    <a:pt x="19" y="15757"/>
                  </a:moveTo>
                  <a:cubicBezTo>
                    <a:pt x="95" y="15656"/>
                    <a:pt x="95" y="15656"/>
                    <a:pt x="95" y="15656"/>
                  </a:cubicBezTo>
                  <a:cubicBezTo>
                    <a:pt x="183" y="15721"/>
                    <a:pt x="183" y="15721"/>
                    <a:pt x="183" y="15721"/>
                  </a:cubicBezTo>
                  <a:cubicBezTo>
                    <a:pt x="117" y="15808"/>
                    <a:pt x="117" y="15808"/>
                    <a:pt x="117" y="15808"/>
                  </a:cubicBezTo>
                  <a:lnTo>
                    <a:pt x="19" y="15757"/>
                  </a:lnTo>
                  <a:close/>
                  <a:moveTo>
                    <a:pt x="688" y="16475"/>
                  </a:moveTo>
                  <a:cubicBezTo>
                    <a:pt x="679" y="16466"/>
                    <a:pt x="666" y="16452"/>
                    <a:pt x="651" y="16435"/>
                  </a:cubicBezTo>
                  <a:cubicBezTo>
                    <a:pt x="620" y="16402"/>
                    <a:pt x="581" y="16358"/>
                    <a:pt x="541" y="16313"/>
                  </a:cubicBezTo>
                  <a:cubicBezTo>
                    <a:pt x="462" y="16225"/>
                    <a:pt x="385" y="16137"/>
                    <a:pt x="384" y="16137"/>
                  </a:cubicBezTo>
                  <a:cubicBezTo>
                    <a:pt x="384" y="16136"/>
                    <a:pt x="384" y="16136"/>
                    <a:pt x="384" y="16136"/>
                  </a:cubicBezTo>
                  <a:cubicBezTo>
                    <a:pt x="28" y="15949"/>
                    <a:pt x="28" y="15949"/>
                    <a:pt x="28" y="15949"/>
                  </a:cubicBezTo>
                  <a:cubicBezTo>
                    <a:pt x="121" y="15825"/>
                    <a:pt x="121" y="15825"/>
                    <a:pt x="121" y="15825"/>
                  </a:cubicBezTo>
                  <a:cubicBezTo>
                    <a:pt x="829" y="16195"/>
                    <a:pt x="829" y="16195"/>
                    <a:pt x="829" y="16195"/>
                  </a:cubicBezTo>
                  <a:cubicBezTo>
                    <a:pt x="829" y="16196"/>
                    <a:pt x="829" y="16196"/>
                    <a:pt x="829" y="16196"/>
                  </a:cubicBezTo>
                  <a:cubicBezTo>
                    <a:pt x="829" y="16198"/>
                    <a:pt x="829" y="16198"/>
                    <a:pt x="829" y="16198"/>
                  </a:cubicBezTo>
                  <a:cubicBezTo>
                    <a:pt x="829" y="16198"/>
                    <a:pt x="869" y="16431"/>
                    <a:pt x="872" y="16477"/>
                  </a:cubicBezTo>
                  <a:cubicBezTo>
                    <a:pt x="789" y="16484"/>
                    <a:pt x="715" y="16489"/>
                    <a:pt x="701" y="16489"/>
                  </a:cubicBezTo>
                  <a:cubicBezTo>
                    <a:pt x="701" y="16489"/>
                    <a:pt x="700" y="16488"/>
                    <a:pt x="699" y="16487"/>
                  </a:cubicBezTo>
                  <a:cubicBezTo>
                    <a:pt x="696" y="16484"/>
                    <a:pt x="692" y="16480"/>
                    <a:pt x="688" y="16475"/>
                  </a:cubicBezTo>
                  <a:close/>
                  <a:moveTo>
                    <a:pt x="344" y="16979"/>
                  </a:moveTo>
                  <a:cubicBezTo>
                    <a:pt x="370" y="16943"/>
                    <a:pt x="540" y="16710"/>
                    <a:pt x="637" y="16582"/>
                  </a:cubicBezTo>
                  <a:cubicBezTo>
                    <a:pt x="669" y="16540"/>
                    <a:pt x="695" y="16508"/>
                    <a:pt x="701" y="16503"/>
                  </a:cubicBezTo>
                  <a:cubicBezTo>
                    <a:pt x="701" y="16503"/>
                    <a:pt x="701" y="16503"/>
                    <a:pt x="701" y="16503"/>
                  </a:cubicBezTo>
                  <a:cubicBezTo>
                    <a:pt x="716" y="16503"/>
                    <a:pt x="793" y="16497"/>
                    <a:pt x="878" y="16491"/>
                  </a:cubicBezTo>
                  <a:cubicBezTo>
                    <a:pt x="878" y="16493"/>
                    <a:pt x="878" y="16493"/>
                    <a:pt x="878" y="16493"/>
                  </a:cubicBezTo>
                  <a:cubicBezTo>
                    <a:pt x="881" y="16493"/>
                    <a:pt x="883" y="16491"/>
                    <a:pt x="884" y="16490"/>
                  </a:cubicBezTo>
                  <a:cubicBezTo>
                    <a:pt x="899" y="16489"/>
                    <a:pt x="915" y="16488"/>
                    <a:pt x="930" y="16486"/>
                  </a:cubicBezTo>
                  <a:cubicBezTo>
                    <a:pt x="966" y="16693"/>
                    <a:pt x="966" y="16693"/>
                    <a:pt x="966" y="16693"/>
                  </a:cubicBezTo>
                  <a:cubicBezTo>
                    <a:pt x="964" y="16699"/>
                    <a:pt x="964" y="16699"/>
                    <a:pt x="964" y="16699"/>
                  </a:cubicBezTo>
                  <a:cubicBezTo>
                    <a:pt x="959" y="16699"/>
                    <a:pt x="959" y="16699"/>
                    <a:pt x="959" y="16699"/>
                  </a:cubicBezTo>
                  <a:cubicBezTo>
                    <a:pt x="959" y="16699"/>
                    <a:pt x="959" y="16700"/>
                    <a:pt x="959" y="16700"/>
                  </a:cubicBezTo>
                  <a:cubicBezTo>
                    <a:pt x="959" y="16700"/>
                    <a:pt x="959" y="16700"/>
                    <a:pt x="959" y="16700"/>
                  </a:cubicBezTo>
                  <a:cubicBezTo>
                    <a:pt x="958" y="16708"/>
                    <a:pt x="942" y="16760"/>
                    <a:pt x="925" y="16808"/>
                  </a:cubicBezTo>
                  <a:cubicBezTo>
                    <a:pt x="913" y="16846"/>
                    <a:pt x="900" y="16883"/>
                    <a:pt x="894" y="16898"/>
                  </a:cubicBezTo>
                  <a:cubicBezTo>
                    <a:pt x="873" y="16886"/>
                    <a:pt x="802" y="16849"/>
                    <a:pt x="759" y="16828"/>
                  </a:cubicBezTo>
                  <a:cubicBezTo>
                    <a:pt x="741" y="16820"/>
                    <a:pt x="731" y="16814"/>
                    <a:pt x="724" y="16813"/>
                  </a:cubicBezTo>
                  <a:cubicBezTo>
                    <a:pt x="724" y="16813"/>
                    <a:pt x="724" y="16813"/>
                    <a:pt x="724" y="16813"/>
                  </a:cubicBezTo>
                  <a:cubicBezTo>
                    <a:pt x="723" y="16813"/>
                    <a:pt x="722" y="16813"/>
                    <a:pt x="721" y="16814"/>
                  </a:cubicBezTo>
                  <a:cubicBezTo>
                    <a:pt x="716" y="16816"/>
                    <a:pt x="717" y="16817"/>
                    <a:pt x="714" y="16820"/>
                  </a:cubicBezTo>
                  <a:cubicBezTo>
                    <a:pt x="712" y="16823"/>
                    <a:pt x="709" y="16826"/>
                    <a:pt x="706" y="16831"/>
                  </a:cubicBezTo>
                  <a:cubicBezTo>
                    <a:pt x="699" y="16839"/>
                    <a:pt x="689" y="16852"/>
                    <a:pt x="678" y="16867"/>
                  </a:cubicBezTo>
                  <a:cubicBezTo>
                    <a:pt x="656" y="16897"/>
                    <a:pt x="627" y="16936"/>
                    <a:pt x="598" y="16976"/>
                  </a:cubicBezTo>
                  <a:cubicBezTo>
                    <a:pt x="595" y="16980"/>
                    <a:pt x="591" y="16985"/>
                    <a:pt x="588" y="16989"/>
                  </a:cubicBezTo>
                  <a:cubicBezTo>
                    <a:pt x="549" y="16958"/>
                    <a:pt x="549" y="16958"/>
                    <a:pt x="549" y="16958"/>
                  </a:cubicBezTo>
                  <a:cubicBezTo>
                    <a:pt x="522" y="16991"/>
                    <a:pt x="522" y="16991"/>
                    <a:pt x="522" y="16991"/>
                  </a:cubicBezTo>
                  <a:cubicBezTo>
                    <a:pt x="485" y="16962"/>
                    <a:pt x="485" y="16962"/>
                    <a:pt x="485" y="16962"/>
                  </a:cubicBezTo>
                  <a:cubicBezTo>
                    <a:pt x="435" y="17024"/>
                    <a:pt x="435" y="17024"/>
                    <a:pt x="435" y="17024"/>
                  </a:cubicBezTo>
                  <a:cubicBezTo>
                    <a:pt x="431" y="17030"/>
                    <a:pt x="431" y="17030"/>
                    <a:pt x="431" y="17030"/>
                  </a:cubicBezTo>
                  <a:cubicBezTo>
                    <a:pt x="512" y="17094"/>
                    <a:pt x="512" y="17094"/>
                    <a:pt x="512" y="17094"/>
                  </a:cubicBezTo>
                  <a:cubicBezTo>
                    <a:pt x="504" y="17105"/>
                    <a:pt x="497" y="17114"/>
                    <a:pt x="492" y="17121"/>
                  </a:cubicBezTo>
                  <a:lnTo>
                    <a:pt x="344" y="16979"/>
                  </a:lnTo>
                  <a:close/>
                  <a:moveTo>
                    <a:pt x="591" y="17008"/>
                  </a:moveTo>
                  <a:cubicBezTo>
                    <a:pt x="621" y="17032"/>
                    <a:pt x="621" y="17032"/>
                    <a:pt x="621" y="17032"/>
                  </a:cubicBezTo>
                  <a:cubicBezTo>
                    <a:pt x="595" y="17066"/>
                    <a:pt x="595" y="17066"/>
                    <a:pt x="595" y="17066"/>
                  </a:cubicBezTo>
                  <a:cubicBezTo>
                    <a:pt x="632" y="17095"/>
                    <a:pt x="632" y="17095"/>
                    <a:pt x="632" y="17095"/>
                  </a:cubicBezTo>
                  <a:cubicBezTo>
                    <a:pt x="594" y="17142"/>
                    <a:pt x="594" y="17142"/>
                    <a:pt x="594" y="17142"/>
                  </a:cubicBezTo>
                  <a:cubicBezTo>
                    <a:pt x="531" y="17092"/>
                    <a:pt x="531" y="17092"/>
                    <a:pt x="531" y="17092"/>
                  </a:cubicBezTo>
                  <a:cubicBezTo>
                    <a:pt x="548" y="17068"/>
                    <a:pt x="569" y="17039"/>
                    <a:pt x="591" y="17008"/>
                  </a:cubicBezTo>
                  <a:close/>
                  <a:moveTo>
                    <a:pt x="520" y="17083"/>
                  </a:moveTo>
                  <a:cubicBezTo>
                    <a:pt x="450" y="17028"/>
                    <a:pt x="450" y="17028"/>
                    <a:pt x="450" y="17028"/>
                  </a:cubicBezTo>
                  <a:cubicBezTo>
                    <a:pt x="487" y="16981"/>
                    <a:pt x="487" y="16981"/>
                    <a:pt x="487" y="16981"/>
                  </a:cubicBezTo>
                  <a:cubicBezTo>
                    <a:pt x="524" y="17010"/>
                    <a:pt x="524" y="17010"/>
                    <a:pt x="524" y="17010"/>
                  </a:cubicBezTo>
                  <a:cubicBezTo>
                    <a:pt x="551" y="16976"/>
                    <a:pt x="551" y="16976"/>
                    <a:pt x="551" y="16976"/>
                  </a:cubicBezTo>
                  <a:cubicBezTo>
                    <a:pt x="580" y="17000"/>
                    <a:pt x="580" y="17000"/>
                    <a:pt x="580" y="17000"/>
                  </a:cubicBezTo>
                  <a:cubicBezTo>
                    <a:pt x="558" y="17030"/>
                    <a:pt x="537" y="17060"/>
                    <a:pt x="520" y="17083"/>
                  </a:cubicBezTo>
                  <a:close/>
                  <a:moveTo>
                    <a:pt x="700" y="17319"/>
                  </a:moveTo>
                  <a:cubicBezTo>
                    <a:pt x="503" y="17131"/>
                    <a:pt x="503" y="17131"/>
                    <a:pt x="503" y="17131"/>
                  </a:cubicBezTo>
                  <a:cubicBezTo>
                    <a:pt x="507" y="17124"/>
                    <a:pt x="514" y="17114"/>
                    <a:pt x="523" y="17102"/>
                  </a:cubicBezTo>
                  <a:cubicBezTo>
                    <a:pt x="596" y="17161"/>
                    <a:pt x="596" y="17161"/>
                    <a:pt x="596" y="17161"/>
                  </a:cubicBezTo>
                  <a:cubicBezTo>
                    <a:pt x="650" y="17093"/>
                    <a:pt x="650" y="17093"/>
                    <a:pt x="650" y="17093"/>
                  </a:cubicBezTo>
                  <a:cubicBezTo>
                    <a:pt x="613" y="17064"/>
                    <a:pt x="613" y="17064"/>
                    <a:pt x="613" y="17064"/>
                  </a:cubicBezTo>
                  <a:cubicBezTo>
                    <a:pt x="640" y="17030"/>
                    <a:pt x="640" y="17030"/>
                    <a:pt x="640" y="17030"/>
                  </a:cubicBezTo>
                  <a:cubicBezTo>
                    <a:pt x="599" y="16998"/>
                    <a:pt x="599" y="16998"/>
                    <a:pt x="599" y="16998"/>
                  </a:cubicBezTo>
                  <a:cubicBezTo>
                    <a:pt x="602" y="16994"/>
                    <a:pt x="604" y="16991"/>
                    <a:pt x="606" y="16988"/>
                  </a:cubicBezTo>
                  <a:cubicBezTo>
                    <a:pt x="659" y="16916"/>
                    <a:pt x="714" y="16841"/>
                    <a:pt x="726" y="16828"/>
                  </a:cubicBezTo>
                  <a:cubicBezTo>
                    <a:pt x="727" y="16829"/>
                    <a:pt x="729" y="16829"/>
                    <a:pt x="732" y="16831"/>
                  </a:cubicBezTo>
                  <a:cubicBezTo>
                    <a:pt x="737" y="16833"/>
                    <a:pt x="745" y="16836"/>
                    <a:pt x="753" y="16840"/>
                  </a:cubicBezTo>
                  <a:cubicBezTo>
                    <a:pt x="770" y="16848"/>
                    <a:pt x="791" y="16859"/>
                    <a:pt x="812" y="16870"/>
                  </a:cubicBezTo>
                  <a:cubicBezTo>
                    <a:pt x="852" y="16891"/>
                    <a:pt x="889" y="16911"/>
                    <a:pt x="894" y="16914"/>
                  </a:cubicBezTo>
                  <a:cubicBezTo>
                    <a:pt x="965" y="16971"/>
                    <a:pt x="965" y="16971"/>
                    <a:pt x="965" y="16971"/>
                  </a:cubicBezTo>
                  <a:cubicBezTo>
                    <a:pt x="703" y="17320"/>
                    <a:pt x="703" y="17320"/>
                    <a:pt x="703" y="17320"/>
                  </a:cubicBezTo>
                  <a:lnTo>
                    <a:pt x="700" y="17319"/>
                  </a:lnTo>
                  <a:close/>
                  <a:moveTo>
                    <a:pt x="928" y="17418"/>
                  </a:moveTo>
                  <a:cubicBezTo>
                    <a:pt x="716" y="17326"/>
                    <a:pt x="716" y="17326"/>
                    <a:pt x="716" y="17326"/>
                  </a:cubicBezTo>
                  <a:cubicBezTo>
                    <a:pt x="976" y="16979"/>
                    <a:pt x="976" y="16979"/>
                    <a:pt x="976" y="16979"/>
                  </a:cubicBezTo>
                  <a:cubicBezTo>
                    <a:pt x="1033" y="17025"/>
                    <a:pt x="1033" y="17025"/>
                    <a:pt x="1033" y="17025"/>
                  </a:cubicBezTo>
                  <a:cubicBezTo>
                    <a:pt x="1123" y="17143"/>
                    <a:pt x="1123" y="17143"/>
                    <a:pt x="1123" y="17143"/>
                  </a:cubicBezTo>
                  <a:cubicBezTo>
                    <a:pt x="1121" y="17145"/>
                    <a:pt x="1119" y="17147"/>
                    <a:pt x="1117" y="17150"/>
                  </a:cubicBezTo>
                  <a:cubicBezTo>
                    <a:pt x="1111" y="17157"/>
                    <a:pt x="1104" y="17168"/>
                    <a:pt x="1095" y="17181"/>
                  </a:cubicBezTo>
                  <a:cubicBezTo>
                    <a:pt x="1077" y="17205"/>
                    <a:pt x="1055" y="17238"/>
                    <a:pt x="1032" y="17271"/>
                  </a:cubicBezTo>
                  <a:cubicBezTo>
                    <a:pt x="987" y="17244"/>
                    <a:pt x="987" y="17244"/>
                    <a:pt x="987" y="17244"/>
                  </a:cubicBezTo>
                  <a:cubicBezTo>
                    <a:pt x="965" y="17282"/>
                    <a:pt x="965" y="17282"/>
                    <a:pt x="965" y="17282"/>
                  </a:cubicBezTo>
                  <a:cubicBezTo>
                    <a:pt x="925" y="17258"/>
                    <a:pt x="925" y="17258"/>
                    <a:pt x="925" y="17258"/>
                  </a:cubicBezTo>
                  <a:cubicBezTo>
                    <a:pt x="885" y="17327"/>
                    <a:pt x="885" y="17327"/>
                    <a:pt x="885" y="17327"/>
                  </a:cubicBezTo>
                  <a:cubicBezTo>
                    <a:pt x="881" y="17332"/>
                    <a:pt x="881" y="17332"/>
                    <a:pt x="881" y="17332"/>
                  </a:cubicBezTo>
                  <a:cubicBezTo>
                    <a:pt x="958" y="17377"/>
                    <a:pt x="958" y="17377"/>
                    <a:pt x="958" y="17377"/>
                  </a:cubicBezTo>
                  <a:cubicBezTo>
                    <a:pt x="944" y="17396"/>
                    <a:pt x="934" y="17410"/>
                    <a:pt x="928" y="17418"/>
                  </a:cubicBezTo>
                  <a:close/>
                  <a:moveTo>
                    <a:pt x="1029" y="17300"/>
                  </a:moveTo>
                  <a:cubicBezTo>
                    <a:pt x="1031" y="17296"/>
                    <a:pt x="1034" y="17292"/>
                    <a:pt x="1036" y="17289"/>
                  </a:cubicBezTo>
                  <a:cubicBezTo>
                    <a:pt x="1070" y="17308"/>
                    <a:pt x="1070" y="17308"/>
                    <a:pt x="1070" y="17308"/>
                  </a:cubicBezTo>
                  <a:cubicBezTo>
                    <a:pt x="1048" y="17345"/>
                    <a:pt x="1048" y="17345"/>
                    <a:pt x="1048" y="17345"/>
                  </a:cubicBezTo>
                  <a:cubicBezTo>
                    <a:pt x="1089" y="17369"/>
                    <a:pt x="1089" y="17369"/>
                    <a:pt x="1089" y="17369"/>
                  </a:cubicBezTo>
                  <a:cubicBezTo>
                    <a:pt x="1058" y="17421"/>
                    <a:pt x="1058" y="17421"/>
                    <a:pt x="1058" y="17421"/>
                  </a:cubicBezTo>
                  <a:cubicBezTo>
                    <a:pt x="977" y="17373"/>
                    <a:pt x="977" y="17373"/>
                    <a:pt x="977" y="17373"/>
                  </a:cubicBezTo>
                  <a:cubicBezTo>
                    <a:pt x="993" y="17352"/>
                    <a:pt x="1011" y="17326"/>
                    <a:pt x="1029" y="17300"/>
                  </a:cubicBezTo>
                  <a:close/>
                  <a:moveTo>
                    <a:pt x="965" y="17366"/>
                  </a:moveTo>
                  <a:cubicBezTo>
                    <a:pt x="899" y="17328"/>
                    <a:pt x="899" y="17328"/>
                    <a:pt x="899" y="17328"/>
                  </a:cubicBezTo>
                  <a:cubicBezTo>
                    <a:pt x="930" y="17276"/>
                    <a:pt x="930" y="17276"/>
                    <a:pt x="930" y="17276"/>
                  </a:cubicBezTo>
                  <a:cubicBezTo>
                    <a:pt x="970" y="17300"/>
                    <a:pt x="970" y="17300"/>
                    <a:pt x="970" y="17300"/>
                  </a:cubicBezTo>
                  <a:cubicBezTo>
                    <a:pt x="992" y="17262"/>
                    <a:pt x="992" y="17262"/>
                    <a:pt x="992" y="17262"/>
                  </a:cubicBezTo>
                  <a:cubicBezTo>
                    <a:pt x="1024" y="17282"/>
                    <a:pt x="1024" y="17282"/>
                    <a:pt x="1024" y="17282"/>
                  </a:cubicBezTo>
                  <a:cubicBezTo>
                    <a:pt x="1004" y="17311"/>
                    <a:pt x="983" y="17341"/>
                    <a:pt x="965" y="17366"/>
                  </a:cubicBezTo>
                  <a:close/>
                  <a:moveTo>
                    <a:pt x="1271" y="17563"/>
                  </a:moveTo>
                  <a:cubicBezTo>
                    <a:pt x="1294" y="17509"/>
                    <a:pt x="1294" y="17509"/>
                    <a:pt x="1294" y="17509"/>
                  </a:cubicBezTo>
                  <a:cubicBezTo>
                    <a:pt x="1393" y="17547"/>
                    <a:pt x="1393" y="17547"/>
                    <a:pt x="1393" y="17547"/>
                  </a:cubicBezTo>
                  <a:cubicBezTo>
                    <a:pt x="1424" y="17467"/>
                    <a:pt x="1424" y="17467"/>
                    <a:pt x="1424" y="17467"/>
                  </a:cubicBezTo>
                  <a:cubicBezTo>
                    <a:pt x="1380" y="17450"/>
                    <a:pt x="1380" y="17450"/>
                    <a:pt x="1380" y="17450"/>
                  </a:cubicBezTo>
                  <a:cubicBezTo>
                    <a:pt x="1395" y="17410"/>
                    <a:pt x="1395" y="17410"/>
                    <a:pt x="1395" y="17410"/>
                  </a:cubicBezTo>
                  <a:cubicBezTo>
                    <a:pt x="1346" y="17390"/>
                    <a:pt x="1346" y="17390"/>
                    <a:pt x="1346" y="17390"/>
                  </a:cubicBezTo>
                  <a:cubicBezTo>
                    <a:pt x="1384" y="17302"/>
                    <a:pt x="1384" y="17302"/>
                    <a:pt x="1384" y="17302"/>
                  </a:cubicBezTo>
                  <a:cubicBezTo>
                    <a:pt x="1371" y="17297"/>
                    <a:pt x="1371" y="17297"/>
                    <a:pt x="1371" y="17297"/>
                  </a:cubicBezTo>
                  <a:cubicBezTo>
                    <a:pt x="1332" y="17385"/>
                    <a:pt x="1332" y="17385"/>
                    <a:pt x="1332" y="17385"/>
                  </a:cubicBezTo>
                  <a:cubicBezTo>
                    <a:pt x="1286" y="17368"/>
                    <a:pt x="1286" y="17368"/>
                    <a:pt x="1286" y="17368"/>
                  </a:cubicBezTo>
                  <a:cubicBezTo>
                    <a:pt x="1271" y="17408"/>
                    <a:pt x="1271" y="17408"/>
                    <a:pt x="1271" y="17408"/>
                  </a:cubicBezTo>
                  <a:cubicBezTo>
                    <a:pt x="1227" y="17391"/>
                    <a:pt x="1227" y="17391"/>
                    <a:pt x="1227" y="17391"/>
                  </a:cubicBezTo>
                  <a:cubicBezTo>
                    <a:pt x="1199" y="17466"/>
                    <a:pt x="1199" y="17466"/>
                    <a:pt x="1199" y="17466"/>
                  </a:cubicBezTo>
                  <a:cubicBezTo>
                    <a:pt x="1196" y="17472"/>
                    <a:pt x="1196" y="17472"/>
                    <a:pt x="1196" y="17472"/>
                  </a:cubicBezTo>
                  <a:cubicBezTo>
                    <a:pt x="1281" y="17504"/>
                    <a:pt x="1281" y="17504"/>
                    <a:pt x="1281" y="17504"/>
                  </a:cubicBezTo>
                  <a:cubicBezTo>
                    <a:pt x="1257" y="17560"/>
                    <a:pt x="1257" y="17560"/>
                    <a:pt x="1257" y="17560"/>
                  </a:cubicBezTo>
                  <a:cubicBezTo>
                    <a:pt x="1256" y="17560"/>
                    <a:pt x="1255" y="17560"/>
                    <a:pt x="1255" y="17560"/>
                  </a:cubicBezTo>
                  <a:cubicBezTo>
                    <a:pt x="941" y="17423"/>
                    <a:pt x="941" y="17423"/>
                    <a:pt x="941" y="17423"/>
                  </a:cubicBezTo>
                  <a:cubicBezTo>
                    <a:pt x="941" y="17423"/>
                    <a:pt x="941" y="17423"/>
                    <a:pt x="942" y="17422"/>
                  </a:cubicBezTo>
                  <a:cubicBezTo>
                    <a:pt x="947" y="17415"/>
                    <a:pt x="955" y="17405"/>
                    <a:pt x="964" y="17392"/>
                  </a:cubicBezTo>
                  <a:cubicBezTo>
                    <a:pt x="966" y="17390"/>
                    <a:pt x="968" y="17387"/>
                    <a:pt x="970" y="17384"/>
                  </a:cubicBezTo>
                  <a:cubicBezTo>
                    <a:pt x="1063" y="17439"/>
                    <a:pt x="1063" y="17439"/>
                    <a:pt x="1063" y="17439"/>
                  </a:cubicBezTo>
                  <a:cubicBezTo>
                    <a:pt x="1107" y="17364"/>
                    <a:pt x="1107" y="17364"/>
                    <a:pt x="1107" y="17364"/>
                  </a:cubicBezTo>
                  <a:cubicBezTo>
                    <a:pt x="1066" y="17341"/>
                    <a:pt x="1066" y="17341"/>
                    <a:pt x="1066" y="17341"/>
                  </a:cubicBezTo>
                  <a:cubicBezTo>
                    <a:pt x="1088" y="17303"/>
                    <a:pt x="1088" y="17303"/>
                    <a:pt x="1088" y="17303"/>
                  </a:cubicBezTo>
                  <a:cubicBezTo>
                    <a:pt x="1044" y="17278"/>
                    <a:pt x="1044" y="17278"/>
                    <a:pt x="1044" y="17278"/>
                  </a:cubicBezTo>
                  <a:cubicBezTo>
                    <a:pt x="1082" y="17223"/>
                    <a:pt x="1118" y="17171"/>
                    <a:pt x="1132" y="17154"/>
                  </a:cubicBezTo>
                  <a:cubicBezTo>
                    <a:pt x="1204" y="17248"/>
                    <a:pt x="1204" y="17248"/>
                    <a:pt x="1204" y="17248"/>
                  </a:cubicBezTo>
                  <a:cubicBezTo>
                    <a:pt x="1668" y="17382"/>
                    <a:pt x="1668" y="17382"/>
                    <a:pt x="1668" y="17382"/>
                  </a:cubicBezTo>
                  <a:cubicBezTo>
                    <a:pt x="1580" y="17626"/>
                    <a:pt x="1580" y="17626"/>
                    <a:pt x="1580" y="17626"/>
                  </a:cubicBezTo>
                  <a:cubicBezTo>
                    <a:pt x="1434" y="17596"/>
                    <a:pt x="1313" y="17572"/>
                    <a:pt x="1271" y="17563"/>
                  </a:cubicBezTo>
                  <a:close/>
                  <a:moveTo>
                    <a:pt x="1407" y="17474"/>
                  </a:moveTo>
                  <a:cubicBezTo>
                    <a:pt x="1385" y="17530"/>
                    <a:pt x="1385" y="17530"/>
                    <a:pt x="1385" y="17530"/>
                  </a:cubicBezTo>
                  <a:cubicBezTo>
                    <a:pt x="1299" y="17497"/>
                    <a:pt x="1299" y="17497"/>
                    <a:pt x="1299" y="17497"/>
                  </a:cubicBezTo>
                  <a:cubicBezTo>
                    <a:pt x="1340" y="17403"/>
                    <a:pt x="1340" y="17403"/>
                    <a:pt x="1340" y="17403"/>
                  </a:cubicBezTo>
                  <a:cubicBezTo>
                    <a:pt x="1378" y="17417"/>
                    <a:pt x="1378" y="17417"/>
                    <a:pt x="1378" y="17417"/>
                  </a:cubicBezTo>
                  <a:cubicBezTo>
                    <a:pt x="1363" y="17457"/>
                    <a:pt x="1363" y="17457"/>
                    <a:pt x="1363" y="17457"/>
                  </a:cubicBezTo>
                  <a:lnTo>
                    <a:pt x="1407" y="17474"/>
                  </a:lnTo>
                  <a:close/>
                  <a:moveTo>
                    <a:pt x="1286" y="17492"/>
                  </a:moveTo>
                  <a:cubicBezTo>
                    <a:pt x="1213" y="17464"/>
                    <a:pt x="1213" y="17464"/>
                    <a:pt x="1213" y="17464"/>
                  </a:cubicBezTo>
                  <a:cubicBezTo>
                    <a:pt x="1235" y="17408"/>
                    <a:pt x="1235" y="17408"/>
                    <a:pt x="1235" y="17408"/>
                  </a:cubicBezTo>
                  <a:cubicBezTo>
                    <a:pt x="1279" y="17425"/>
                    <a:pt x="1279" y="17425"/>
                    <a:pt x="1279" y="17425"/>
                  </a:cubicBezTo>
                  <a:cubicBezTo>
                    <a:pt x="1294" y="17385"/>
                    <a:pt x="1294" y="17385"/>
                    <a:pt x="1294" y="17385"/>
                  </a:cubicBezTo>
                  <a:cubicBezTo>
                    <a:pt x="1327" y="17398"/>
                    <a:pt x="1327" y="17398"/>
                    <a:pt x="1327" y="17398"/>
                  </a:cubicBezTo>
                  <a:lnTo>
                    <a:pt x="1286" y="17492"/>
                  </a:lnTo>
                  <a:close/>
                  <a:moveTo>
                    <a:pt x="2518" y="17651"/>
                  </a:moveTo>
                  <a:cubicBezTo>
                    <a:pt x="2494" y="17658"/>
                    <a:pt x="2394" y="17689"/>
                    <a:pt x="2323" y="17774"/>
                  </a:cubicBezTo>
                  <a:cubicBezTo>
                    <a:pt x="2293" y="17769"/>
                    <a:pt x="2037" y="17718"/>
                    <a:pt x="1786" y="17667"/>
                  </a:cubicBezTo>
                  <a:cubicBezTo>
                    <a:pt x="1720" y="17654"/>
                    <a:pt x="1655" y="17641"/>
                    <a:pt x="1594" y="17628"/>
                  </a:cubicBezTo>
                  <a:cubicBezTo>
                    <a:pt x="1682" y="17386"/>
                    <a:pt x="1682" y="17386"/>
                    <a:pt x="1682" y="17386"/>
                  </a:cubicBezTo>
                  <a:cubicBezTo>
                    <a:pt x="1818" y="17425"/>
                    <a:pt x="1818" y="17425"/>
                    <a:pt x="1818" y="17425"/>
                  </a:cubicBezTo>
                  <a:cubicBezTo>
                    <a:pt x="1864" y="17313"/>
                    <a:pt x="1864" y="17313"/>
                    <a:pt x="1864" y="17313"/>
                  </a:cubicBezTo>
                  <a:cubicBezTo>
                    <a:pt x="1866" y="17315"/>
                    <a:pt x="1869" y="17318"/>
                    <a:pt x="1874" y="17320"/>
                  </a:cubicBezTo>
                  <a:cubicBezTo>
                    <a:pt x="1893" y="17282"/>
                    <a:pt x="1893" y="17282"/>
                    <a:pt x="1893" y="17282"/>
                  </a:cubicBezTo>
                  <a:cubicBezTo>
                    <a:pt x="1895" y="17281"/>
                    <a:pt x="1895" y="17281"/>
                    <a:pt x="1895" y="17281"/>
                  </a:cubicBezTo>
                  <a:cubicBezTo>
                    <a:pt x="2521" y="17395"/>
                    <a:pt x="2521" y="17395"/>
                    <a:pt x="2521" y="17395"/>
                  </a:cubicBezTo>
                  <a:lnTo>
                    <a:pt x="2518" y="17651"/>
                  </a:lnTo>
                  <a:close/>
                  <a:moveTo>
                    <a:pt x="2188" y="17320"/>
                  </a:moveTo>
                  <a:cubicBezTo>
                    <a:pt x="2200" y="17177"/>
                    <a:pt x="2200" y="17177"/>
                    <a:pt x="2200" y="17177"/>
                  </a:cubicBezTo>
                  <a:cubicBezTo>
                    <a:pt x="2440" y="17217"/>
                    <a:pt x="2440" y="17217"/>
                    <a:pt x="2440" y="17217"/>
                  </a:cubicBezTo>
                  <a:cubicBezTo>
                    <a:pt x="2441" y="17346"/>
                    <a:pt x="2441" y="17346"/>
                    <a:pt x="2441" y="17346"/>
                  </a:cubicBezTo>
                  <a:cubicBezTo>
                    <a:pt x="2575" y="17340"/>
                    <a:pt x="2575" y="17340"/>
                    <a:pt x="2575" y="17340"/>
                  </a:cubicBezTo>
                  <a:cubicBezTo>
                    <a:pt x="2574" y="17239"/>
                    <a:pt x="2574" y="17239"/>
                    <a:pt x="2574" y="17239"/>
                  </a:cubicBezTo>
                  <a:cubicBezTo>
                    <a:pt x="2578" y="17239"/>
                    <a:pt x="2578" y="17239"/>
                    <a:pt x="2578" y="17239"/>
                  </a:cubicBezTo>
                  <a:cubicBezTo>
                    <a:pt x="2579" y="17293"/>
                    <a:pt x="2580" y="17344"/>
                    <a:pt x="2582" y="17392"/>
                  </a:cubicBezTo>
                  <a:lnTo>
                    <a:pt x="2188" y="17320"/>
                  </a:lnTo>
                  <a:close/>
                  <a:moveTo>
                    <a:pt x="2390" y="15853"/>
                  </a:moveTo>
                  <a:cubicBezTo>
                    <a:pt x="2372" y="15813"/>
                    <a:pt x="2319" y="15715"/>
                    <a:pt x="2208" y="15618"/>
                  </a:cubicBezTo>
                  <a:cubicBezTo>
                    <a:pt x="2231" y="15612"/>
                    <a:pt x="2263" y="15605"/>
                    <a:pt x="2306" y="15595"/>
                  </a:cubicBezTo>
                  <a:cubicBezTo>
                    <a:pt x="2379" y="15580"/>
                    <a:pt x="2453" y="15549"/>
                    <a:pt x="2507" y="15524"/>
                  </a:cubicBezTo>
                  <a:cubicBezTo>
                    <a:pt x="2511" y="15529"/>
                    <a:pt x="2515" y="15535"/>
                    <a:pt x="2519" y="15542"/>
                  </a:cubicBezTo>
                  <a:cubicBezTo>
                    <a:pt x="2535" y="15566"/>
                    <a:pt x="2555" y="15598"/>
                    <a:pt x="2576" y="15629"/>
                  </a:cubicBezTo>
                  <a:cubicBezTo>
                    <a:pt x="2616" y="15689"/>
                    <a:pt x="2658" y="15753"/>
                    <a:pt x="2661" y="15760"/>
                  </a:cubicBezTo>
                  <a:cubicBezTo>
                    <a:pt x="2634" y="15794"/>
                    <a:pt x="2611" y="15835"/>
                    <a:pt x="2595" y="15882"/>
                  </a:cubicBezTo>
                  <a:lnTo>
                    <a:pt x="2390" y="15853"/>
                  </a:lnTo>
                  <a:close/>
                  <a:moveTo>
                    <a:pt x="2638" y="16629"/>
                  </a:moveTo>
                  <a:cubicBezTo>
                    <a:pt x="2638" y="16482"/>
                    <a:pt x="2639" y="16343"/>
                    <a:pt x="2639" y="16231"/>
                  </a:cubicBezTo>
                  <a:cubicBezTo>
                    <a:pt x="3123" y="16217"/>
                    <a:pt x="3123" y="16217"/>
                    <a:pt x="3123" y="16217"/>
                  </a:cubicBezTo>
                  <a:cubicBezTo>
                    <a:pt x="3123" y="16203"/>
                    <a:pt x="3123" y="16203"/>
                    <a:pt x="3123" y="16203"/>
                  </a:cubicBezTo>
                  <a:cubicBezTo>
                    <a:pt x="2640" y="16217"/>
                    <a:pt x="2640" y="16217"/>
                    <a:pt x="2640" y="16217"/>
                  </a:cubicBezTo>
                  <a:cubicBezTo>
                    <a:pt x="2640" y="16124"/>
                    <a:pt x="2641" y="16050"/>
                    <a:pt x="2641" y="16006"/>
                  </a:cubicBezTo>
                  <a:cubicBezTo>
                    <a:pt x="2641" y="15978"/>
                    <a:pt x="2644" y="15952"/>
                    <a:pt x="2650" y="15928"/>
                  </a:cubicBezTo>
                  <a:cubicBezTo>
                    <a:pt x="3150" y="15980"/>
                    <a:pt x="3150" y="15980"/>
                    <a:pt x="3150" y="15980"/>
                  </a:cubicBezTo>
                  <a:cubicBezTo>
                    <a:pt x="3140" y="16076"/>
                    <a:pt x="3124" y="16211"/>
                    <a:pt x="3124" y="16212"/>
                  </a:cubicBezTo>
                  <a:cubicBezTo>
                    <a:pt x="3124" y="16215"/>
                    <a:pt x="3124" y="16215"/>
                    <a:pt x="3124" y="16215"/>
                  </a:cubicBezTo>
                  <a:cubicBezTo>
                    <a:pt x="3182" y="16270"/>
                    <a:pt x="3182" y="16270"/>
                    <a:pt x="3182" y="16270"/>
                  </a:cubicBezTo>
                  <a:cubicBezTo>
                    <a:pt x="3074" y="16627"/>
                    <a:pt x="3074" y="16627"/>
                    <a:pt x="3074" y="16627"/>
                  </a:cubicBezTo>
                  <a:cubicBezTo>
                    <a:pt x="3044" y="16630"/>
                    <a:pt x="3012" y="16634"/>
                    <a:pt x="2981" y="16637"/>
                  </a:cubicBezTo>
                  <a:cubicBezTo>
                    <a:pt x="2842" y="16654"/>
                    <a:pt x="2703" y="16669"/>
                    <a:pt x="2638" y="16676"/>
                  </a:cubicBezTo>
                  <a:cubicBezTo>
                    <a:pt x="2638" y="16660"/>
                    <a:pt x="2638" y="16644"/>
                    <a:pt x="2638" y="16629"/>
                  </a:cubicBezTo>
                  <a:close/>
                  <a:moveTo>
                    <a:pt x="2968" y="16844"/>
                  </a:moveTo>
                  <a:cubicBezTo>
                    <a:pt x="2970" y="16880"/>
                    <a:pt x="2972" y="16916"/>
                    <a:pt x="2974" y="16947"/>
                  </a:cubicBezTo>
                  <a:cubicBezTo>
                    <a:pt x="2922" y="16954"/>
                    <a:pt x="2880" y="16960"/>
                    <a:pt x="2865" y="16962"/>
                  </a:cubicBezTo>
                  <a:cubicBezTo>
                    <a:pt x="2849" y="16855"/>
                    <a:pt x="2849" y="16855"/>
                    <a:pt x="2849" y="16855"/>
                  </a:cubicBezTo>
                  <a:cubicBezTo>
                    <a:pt x="2967" y="16840"/>
                    <a:pt x="2967" y="16840"/>
                    <a:pt x="2967" y="16840"/>
                  </a:cubicBezTo>
                  <a:cubicBezTo>
                    <a:pt x="2967" y="16841"/>
                    <a:pt x="2967" y="16843"/>
                    <a:pt x="2968" y="16844"/>
                  </a:cubicBezTo>
                  <a:close/>
                  <a:moveTo>
                    <a:pt x="2641" y="17070"/>
                  </a:moveTo>
                  <a:cubicBezTo>
                    <a:pt x="2640" y="17020"/>
                    <a:pt x="2640" y="16970"/>
                    <a:pt x="2639" y="16919"/>
                  </a:cubicBezTo>
                  <a:cubicBezTo>
                    <a:pt x="2638" y="16853"/>
                    <a:pt x="2638" y="16787"/>
                    <a:pt x="2638" y="16721"/>
                  </a:cubicBezTo>
                  <a:cubicBezTo>
                    <a:pt x="2696" y="16715"/>
                    <a:pt x="2823" y="16701"/>
                    <a:pt x="2956" y="16686"/>
                  </a:cubicBezTo>
                  <a:cubicBezTo>
                    <a:pt x="2957" y="16695"/>
                    <a:pt x="2958" y="16705"/>
                    <a:pt x="2959" y="16717"/>
                  </a:cubicBezTo>
                  <a:cubicBezTo>
                    <a:pt x="2961" y="16748"/>
                    <a:pt x="2964" y="16787"/>
                    <a:pt x="2966" y="16827"/>
                  </a:cubicBezTo>
                  <a:cubicBezTo>
                    <a:pt x="2834" y="16844"/>
                    <a:pt x="2834" y="16844"/>
                    <a:pt x="2834" y="16844"/>
                  </a:cubicBezTo>
                  <a:cubicBezTo>
                    <a:pt x="2854" y="16977"/>
                    <a:pt x="2854" y="16977"/>
                    <a:pt x="2854" y="16977"/>
                  </a:cubicBezTo>
                  <a:cubicBezTo>
                    <a:pt x="2860" y="16976"/>
                    <a:pt x="2860" y="16976"/>
                    <a:pt x="2860" y="16976"/>
                  </a:cubicBezTo>
                  <a:cubicBezTo>
                    <a:pt x="2860" y="16976"/>
                    <a:pt x="2909" y="16969"/>
                    <a:pt x="2975" y="16960"/>
                  </a:cubicBezTo>
                  <a:cubicBezTo>
                    <a:pt x="2976" y="16982"/>
                    <a:pt x="2977" y="17000"/>
                    <a:pt x="2978" y="17012"/>
                  </a:cubicBezTo>
                  <a:lnTo>
                    <a:pt x="2641" y="17070"/>
                  </a:lnTo>
                  <a:close/>
                  <a:moveTo>
                    <a:pt x="2970" y="16684"/>
                  </a:moveTo>
                  <a:cubicBezTo>
                    <a:pt x="3035" y="16677"/>
                    <a:pt x="3101" y="16669"/>
                    <a:pt x="3161" y="16662"/>
                  </a:cubicBezTo>
                  <a:cubicBezTo>
                    <a:pt x="3161" y="16664"/>
                    <a:pt x="3161" y="16666"/>
                    <a:pt x="3161" y="16668"/>
                  </a:cubicBezTo>
                  <a:cubicBezTo>
                    <a:pt x="3162" y="16682"/>
                    <a:pt x="3162" y="16701"/>
                    <a:pt x="3162" y="16723"/>
                  </a:cubicBezTo>
                  <a:cubicBezTo>
                    <a:pt x="3163" y="16746"/>
                    <a:pt x="3163" y="16773"/>
                    <a:pt x="3163" y="16801"/>
                  </a:cubicBezTo>
                  <a:cubicBezTo>
                    <a:pt x="2980" y="16825"/>
                    <a:pt x="2980" y="16825"/>
                    <a:pt x="2980" y="16825"/>
                  </a:cubicBezTo>
                  <a:cubicBezTo>
                    <a:pt x="2977" y="16768"/>
                    <a:pt x="2973" y="16715"/>
                    <a:pt x="2970" y="16684"/>
                  </a:cubicBezTo>
                  <a:close/>
                  <a:moveTo>
                    <a:pt x="2981" y="16838"/>
                  </a:moveTo>
                  <a:cubicBezTo>
                    <a:pt x="3163" y="16814"/>
                    <a:pt x="3163" y="16814"/>
                    <a:pt x="3163" y="16814"/>
                  </a:cubicBezTo>
                  <a:cubicBezTo>
                    <a:pt x="3163" y="16834"/>
                    <a:pt x="3163" y="16855"/>
                    <a:pt x="3163" y="16874"/>
                  </a:cubicBezTo>
                  <a:cubicBezTo>
                    <a:pt x="3163" y="16891"/>
                    <a:pt x="3163" y="16907"/>
                    <a:pt x="3163" y="16921"/>
                  </a:cubicBezTo>
                  <a:cubicBezTo>
                    <a:pt x="3135" y="16925"/>
                    <a:pt x="3105" y="16929"/>
                    <a:pt x="3075" y="16933"/>
                  </a:cubicBezTo>
                  <a:cubicBezTo>
                    <a:pt x="3045" y="16937"/>
                    <a:pt x="3015" y="16941"/>
                    <a:pt x="2988" y="16945"/>
                  </a:cubicBezTo>
                  <a:cubicBezTo>
                    <a:pt x="2986" y="16913"/>
                    <a:pt x="2983" y="16876"/>
                    <a:pt x="2981" y="16838"/>
                  </a:cubicBezTo>
                  <a:close/>
                  <a:moveTo>
                    <a:pt x="2991" y="17009"/>
                  </a:moveTo>
                  <a:cubicBezTo>
                    <a:pt x="2991" y="16997"/>
                    <a:pt x="2990" y="16980"/>
                    <a:pt x="2988" y="16958"/>
                  </a:cubicBezTo>
                  <a:cubicBezTo>
                    <a:pt x="3043" y="16951"/>
                    <a:pt x="3108" y="16942"/>
                    <a:pt x="3163" y="16934"/>
                  </a:cubicBezTo>
                  <a:cubicBezTo>
                    <a:pt x="3163" y="16953"/>
                    <a:pt x="3163" y="16969"/>
                    <a:pt x="3163" y="16980"/>
                  </a:cubicBezTo>
                  <a:lnTo>
                    <a:pt x="2991" y="17009"/>
                  </a:lnTo>
                  <a:close/>
                  <a:moveTo>
                    <a:pt x="3205" y="17525"/>
                  </a:moveTo>
                  <a:cubicBezTo>
                    <a:pt x="3205" y="17525"/>
                    <a:pt x="3205" y="17525"/>
                    <a:pt x="3205" y="17525"/>
                  </a:cubicBezTo>
                  <a:cubicBezTo>
                    <a:pt x="3208" y="17522"/>
                    <a:pt x="3208" y="17522"/>
                    <a:pt x="3208" y="17522"/>
                  </a:cubicBezTo>
                  <a:lnTo>
                    <a:pt x="3205" y="17525"/>
                  </a:lnTo>
                  <a:close/>
                  <a:moveTo>
                    <a:pt x="3200" y="17519"/>
                  </a:moveTo>
                  <a:cubicBezTo>
                    <a:pt x="3200" y="17519"/>
                    <a:pt x="3200" y="17519"/>
                    <a:pt x="3199" y="17519"/>
                  </a:cubicBezTo>
                  <a:cubicBezTo>
                    <a:pt x="3192" y="17512"/>
                    <a:pt x="3192" y="17512"/>
                    <a:pt x="3192" y="17512"/>
                  </a:cubicBezTo>
                  <a:cubicBezTo>
                    <a:pt x="3074" y="17263"/>
                    <a:pt x="3074" y="17263"/>
                    <a:pt x="3074" y="17263"/>
                  </a:cubicBezTo>
                  <a:cubicBezTo>
                    <a:pt x="3019" y="17050"/>
                    <a:pt x="3019" y="17050"/>
                    <a:pt x="3019" y="17050"/>
                  </a:cubicBezTo>
                  <a:cubicBezTo>
                    <a:pt x="3662" y="16940"/>
                    <a:pt x="3662" y="16940"/>
                    <a:pt x="3662" y="16940"/>
                  </a:cubicBezTo>
                  <a:cubicBezTo>
                    <a:pt x="3713" y="17234"/>
                    <a:pt x="3713" y="17234"/>
                    <a:pt x="3713" y="17234"/>
                  </a:cubicBezTo>
                  <a:cubicBezTo>
                    <a:pt x="3666" y="17259"/>
                    <a:pt x="3230" y="17495"/>
                    <a:pt x="3200" y="17519"/>
                  </a:cubicBezTo>
                  <a:close/>
                  <a:moveTo>
                    <a:pt x="4266" y="17546"/>
                  </a:moveTo>
                  <a:cubicBezTo>
                    <a:pt x="4265" y="17548"/>
                    <a:pt x="4263" y="17545"/>
                    <a:pt x="4261" y="17553"/>
                  </a:cubicBezTo>
                  <a:cubicBezTo>
                    <a:pt x="4261" y="17553"/>
                    <a:pt x="4262" y="17554"/>
                    <a:pt x="4262" y="17554"/>
                  </a:cubicBezTo>
                  <a:cubicBezTo>
                    <a:pt x="4262" y="17555"/>
                    <a:pt x="4261" y="17555"/>
                    <a:pt x="4261" y="17556"/>
                  </a:cubicBezTo>
                  <a:cubicBezTo>
                    <a:pt x="4260" y="17558"/>
                    <a:pt x="4259" y="17561"/>
                    <a:pt x="4258" y="17565"/>
                  </a:cubicBezTo>
                  <a:cubicBezTo>
                    <a:pt x="4256" y="17571"/>
                    <a:pt x="4252" y="17580"/>
                    <a:pt x="4248" y="17591"/>
                  </a:cubicBezTo>
                  <a:cubicBezTo>
                    <a:pt x="4239" y="17612"/>
                    <a:pt x="4227" y="17639"/>
                    <a:pt x="4215" y="17665"/>
                  </a:cubicBezTo>
                  <a:cubicBezTo>
                    <a:pt x="4194" y="17712"/>
                    <a:pt x="4174" y="17756"/>
                    <a:pt x="4169" y="17767"/>
                  </a:cubicBezTo>
                  <a:cubicBezTo>
                    <a:pt x="3847" y="17731"/>
                    <a:pt x="3847" y="17731"/>
                    <a:pt x="3847" y="17731"/>
                  </a:cubicBezTo>
                  <a:cubicBezTo>
                    <a:pt x="3790" y="17407"/>
                    <a:pt x="3790" y="17407"/>
                    <a:pt x="3790" y="17407"/>
                  </a:cubicBezTo>
                  <a:cubicBezTo>
                    <a:pt x="3794" y="17407"/>
                    <a:pt x="3798" y="17407"/>
                    <a:pt x="3803" y="17407"/>
                  </a:cubicBezTo>
                  <a:cubicBezTo>
                    <a:pt x="3826" y="17407"/>
                    <a:pt x="3857" y="17406"/>
                    <a:pt x="3887" y="17405"/>
                  </a:cubicBezTo>
                  <a:cubicBezTo>
                    <a:pt x="3942" y="17404"/>
                    <a:pt x="3997" y="17402"/>
                    <a:pt x="4008" y="17402"/>
                  </a:cubicBezTo>
                  <a:cubicBezTo>
                    <a:pt x="4255" y="17559"/>
                    <a:pt x="4255" y="17559"/>
                    <a:pt x="4255" y="17559"/>
                  </a:cubicBezTo>
                  <a:cubicBezTo>
                    <a:pt x="4255" y="17559"/>
                    <a:pt x="4255" y="17559"/>
                    <a:pt x="4255" y="17559"/>
                  </a:cubicBezTo>
                  <a:cubicBezTo>
                    <a:pt x="4262" y="17547"/>
                    <a:pt x="4262" y="17547"/>
                    <a:pt x="4262" y="17547"/>
                  </a:cubicBezTo>
                  <a:cubicBezTo>
                    <a:pt x="4012" y="17388"/>
                    <a:pt x="4012" y="17388"/>
                    <a:pt x="4012" y="17388"/>
                  </a:cubicBezTo>
                  <a:cubicBezTo>
                    <a:pt x="4010" y="17388"/>
                    <a:pt x="4010" y="17388"/>
                    <a:pt x="4010" y="17388"/>
                  </a:cubicBezTo>
                  <a:cubicBezTo>
                    <a:pt x="4010" y="17388"/>
                    <a:pt x="3850" y="17392"/>
                    <a:pt x="3788" y="17394"/>
                  </a:cubicBezTo>
                  <a:cubicBezTo>
                    <a:pt x="3706" y="16932"/>
                    <a:pt x="3706" y="16932"/>
                    <a:pt x="3706" y="16932"/>
                  </a:cubicBezTo>
                  <a:cubicBezTo>
                    <a:pt x="3968" y="16887"/>
                    <a:pt x="3968" y="16887"/>
                    <a:pt x="3968" y="16887"/>
                  </a:cubicBezTo>
                  <a:cubicBezTo>
                    <a:pt x="3981" y="16984"/>
                    <a:pt x="4013" y="17050"/>
                    <a:pt x="4060" y="17095"/>
                  </a:cubicBezTo>
                  <a:cubicBezTo>
                    <a:pt x="4078" y="17111"/>
                    <a:pt x="4096" y="17124"/>
                    <a:pt x="4116" y="17134"/>
                  </a:cubicBezTo>
                  <a:cubicBezTo>
                    <a:pt x="4006" y="17384"/>
                    <a:pt x="4006" y="17384"/>
                    <a:pt x="4006" y="17384"/>
                  </a:cubicBezTo>
                  <a:cubicBezTo>
                    <a:pt x="4019" y="17390"/>
                    <a:pt x="4019" y="17390"/>
                    <a:pt x="4019" y="17390"/>
                  </a:cubicBezTo>
                  <a:cubicBezTo>
                    <a:pt x="4128" y="17141"/>
                    <a:pt x="4128" y="17141"/>
                    <a:pt x="4128" y="17141"/>
                  </a:cubicBezTo>
                  <a:cubicBezTo>
                    <a:pt x="4173" y="17162"/>
                    <a:pt x="4222" y="17172"/>
                    <a:pt x="4267" y="17181"/>
                  </a:cubicBezTo>
                  <a:cubicBezTo>
                    <a:pt x="4328" y="17191"/>
                    <a:pt x="4399" y="17195"/>
                    <a:pt x="4471" y="17196"/>
                  </a:cubicBezTo>
                  <a:cubicBezTo>
                    <a:pt x="4474" y="17196"/>
                    <a:pt x="4477" y="17197"/>
                    <a:pt x="4481" y="17197"/>
                  </a:cubicBezTo>
                  <a:cubicBezTo>
                    <a:pt x="4481" y="17197"/>
                    <a:pt x="4481" y="17197"/>
                    <a:pt x="4481" y="17197"/>
                  </a:cubicBezTo>
                  <a:cubicBezTo>
                    <a:pt x="4481" y="17196"/>
                    <a:pt x="4481" y="17196"/>
                    <a:pt x="4481" y="17196"/>
                  </a:cubicBezTo>
                  <a:cubicBezTo>
                    <a:pt x="4486" y="17196"/>
                    <a:pt x="4492" y="17196"/>
                    <a:pt x="4497" y="17196"/>
                  </a:cubicBezTo>
                  <a:cubicBezTo>
                    <a:pt x="4503" y="17196"/>
                    <a:pt x="4509" y="17196"/>
                    <a:pt x="4515" y="17196"/>
                  </a:cubicBezTo>
                  <a:cubicBezTo>
                    <a:pt x="4515" y="17202"/>
                    <a:pt x="4514" y="17210"/>
                    <a:pt x="4513" y="17218"/>
                  </a:cubicBezTo>
                  <a:cubicBezTo>
                    <a:pt x="4510" y="17246"/>
                    <a:pt x="4507" y="17282"/>
                    <a:pt x="4504" y="17319"/>
                  </a:cubicBezTo>
                  <a:cubicBezTo>
                    <a:pt x="4498" y="17391"/>
                    <a:pt x="4493" y="17464"/>
                    <a:pt x="4493" y="17464"/>
                  </a:cubicBezTo>
                  <a:cubicBezTo>
                    <a:pt x="4506" y="17465"/>
                    <a:pt x="4506" y="17465"/>
                    <a:pt x="4506" y="17465"/>
                  </a:cubicBezTo>
                  <a:cubicBezTo>
                    <a:pt x="4480" y="17473"/>
                    <a:pt x="4281" y="17537"/>
                    <a:pt x="4266" y="17546"/>
                  </a:cubicBezTo>
                  <a:close/>
                  <a:moveTo>
                    <a:pt x="4721" y="17759"/>
                  </a:moveTo>
                  <a:cubicBezTo>
                    <a:pt x="4513" y="17463"/>
                    <a:pt x="4513" y="17463"/>
                    <a:pt x="4513" y="17463"/>
                  </a:cubicBezTo>
                  <a:cubicBezTo>
                    <a:pt x="4508" y="17464"/>
                    <a:pt x="4508" y="17464"/>
                    <a:pt x="4508" y="17464"/>
                  </a:cubicBezTo>
                  <a:cubicBezTo>
                    <a:pt x="4508" y="17464"/>
                    <a:pt x="4507" y="17465"/>
                    <a:pt x="4507" y="17465"/>
                  </a:cubicBezTo>
                  <a:cubicBezTo>
                    <a:pt x="4507" y="17461"/>
                    <a:pt x="4512" y="17395"/>
                    <a:pt x="4517" y="17327"/>
                  </a:cubicBezTo>
                  <a:cubicBezTo>
                    <a:pt x="4521" y="17276"/>
                    <a:pt x="4526" y="17223"/>
                    <a:pt x="4530" y="17196"/>
                  </a:cubicBezTo>
                  <a:cubicBezTo>
                    <a:pt x="4611" y="17195"/>
                    <a:pt x="4690" y="17191"/>
                    <a:pt x="4751" y="17189"/>
                  </a:cubicBezTo>
                  <a:cubicBezTo>
                    <a:pt x="4787" y="17188"/>
                    <a:pt x="4821" y="17186"/>
                    <a:pt x="4851" y="17186"/>
                  </a:cubicBezTo>
                  <a:cubicBezTo>
                    <a:pt x="4892" y="17185"/>
                    <a:pt x="4925" y="17190"/>
                    <a:pt x="4950" y="17205"/>
                  </a:cubicBezTo>
                  <a:cubicBezTo>
                    <a:pt x="4974" y="17220"/>
                    <a:pt x="4996" y="17246"/>
                    <a:pt x="5013" y="17301"/>
                  </a:cubicBezTo>
                  <a:cubicBezTo>
                    <a:pt x="5020" y="17324"/>
                    <a:pt x="5027" y="17385"/>
                    <a:pt x="5030" y="17461"/>
                  </a:cubicBezTo>
                  <a:cubicBezTo>
                    <a:pt x="5034" y="17535"/>
                    <a:pt x="5035" y="17626"/>
                    <a:pt x="5035" y="17722"/>
                  </a:cubicBezTo>
                  <a:lnTo>
                    <a:pt x="4721" y="17759"/>
                  </a:lnTo>
                  <a:close/>
                  <a:moveTo>
                    <a:pt x="5983" y="17163"/>
                  </a:moveTo>
                  <a:cubicBezTo>
                    <a:pt x="5975" y="17292"/>
                    <a:pt x="5963" y="17408"/>
                    <a:pt x="5958" y="17461"/>
                  </a:cubicBezTo>
                  <a:cubicBezTo>
                    <a:pt x="5876" y="17441"/>
                    <a:pt x="5791" y="17421"/>
                    <a:pt x="5716" y="17406"/>
                  </a:cubicBezTo>
                  <a:cubicBezTo>
                    <a:pt x="5568" y="17376"/>
                    <a:pt x="5146" y="17308"/>
                    <a:pt x="5079" y="17297"/>
                  </a:cubicBezTo>
                  <a:cubicBezTo>
                    <a:pt x="5078" y="17292"/>
                    <a:pt x="5077" y="17286"/>
                    <a:pt x="5076" y="17282"/>
                  </a:cubicBezTo>
                  <a:cubicBezTo>
                    <a:pt x="5056" y="17217"/>
                    <a:pt x="5025" y="17173"/>
                    <a:pt x="4983" y="17149"/>
                  </a:cubicBezTo>
                  <a:cubicBezTo>
                    <a:pt x="4942" y="17125"/>
                    <a:pt x="4897" y="17120"/>
                    <a:pt x="4851" y="17120"/>
                  </a:cubicBezTo>
                  <a:cubicBezTo>
                    <a:pt x="4818" y="17120"/>
                    <a:pt x="4783" y="17123"/>
                    <a:pt x="4749" y="17124"/>
                  </a:cubicBezTo>
                  <a:cubicBezTo>
                    <a:pt x="4680" y="17126"/>
                    <a:pt x="4590" y="17130"/>
                    <a:pt x="4501" y="17130"/>
                  </a:cubicBezTo>
                  <a:cubicBezTo>
                    <a:pt x="4500" y="17120"/>
                    <a:pt x="4499" y="17107"/>
                    <a:pt x="4498" y="17091"/>
                  </a:cubicBezTo>
                  <a:cubicBezTo>
                    <a:pt x="4496" y="17051"/>
                    <a:pt x="4496" y="16999"/>
                    <a:pt x="4492" y="16954"/>
                  </a:cubicBezTo>
                  <a:cubicBezTo>
                    <a:pt x="4491" y="16936"/>
                    <a:pt x="4490" y="16920"/>
                    <a:pt x="4490" y="16902"/>
                  </a:cubicBezTo>
                  <a:cubicBezTo>
                    <a:pt x="4490" y="16837"/>
                    <a:pt x="4503" y="16750"/>
                    <a:pt x="4558" y="16545"/>
                  </a:cubicBezTo>
                  <a:cubicBezTo>
                    <a:pt x="4572" y="16489"/>
                    <a:pt x="4579" y="16438"/>
                    <a:pt x="4579" y="16392"/>
                  </a:cubicBezTo>
                  <a:cubicBezTo>
                    <a:pt x="4578" y="16285"/>
                    <a:pt x="4546" y="16209"/>
                    <a:pt x="4519" y="16165"/>
                  </a:cubicBezTo>
                  <a:cubicBezTo>
                    <a:pt x="5899" y="16153"/>
                    <a:pt x="5899" y="16153"/>
                    <a:pt x="5899" y="16153"/>
                  </a:cubicBezTo>
                  <a:cubicBezTo>
                    <a:pt x="5907" y="16192"/>
                    <a:pt x="5923" y="16269"/>
                    <a:pt x="5939" y="16358"/>
                  </a:cubicBezTo>
                  <a:cubicBezTo>
                    <a:pt x="5962" y="16484"/>
                    <a:pt x="5985" y="16633"/>
                    <a:pt x="5987" y="16717"/>
                  </a:cubicBezTo>
                  <a:cubicBezTo>
                    <a:pt x="5987" y="16756"/>
                    <a:pt x="5989" y="16823"/>
                    <a:pt x="5989" y="16900"/>
                  </a:cubicBezTo>
                  <a:cubicBezTo>
                    <a:pt x="5989" y="16984"/>
                    <a:pt x="5987" y="17081"/>
                    <a:pt x="5983" y="17163"/>
                  </a:cubicBezTo>
                  <a:close/>
                  <a:moveTo>
                    <a:pt x="6195" y="17521"/>
                  </a:moveTo>
                  <a:cubicBezTo>
                    <a:pt x="6150" y="17509"/>
                    <a:pt x="6089" y="17493"/>
                    <a:pt x="6022" y="17477"/>
                  </a:cubicBezTo>
                  <a:cubicBezTo>
                    <a:pt x="6027" y="17428"/>
                    <a:pt x="6040" y="17305"/>
                    <a:pt x="6048" y="17167"/>
                  </a:cubicBezTo>
                  <a:cubicBezTo>
                    <a:pt x="6050" y="17128"/>
                    <a:pt x="6052" y="17087"/>
                    <a:pt x="6053" y="17045"/>
                  </a:cubicBezTo>
                  <a:cubicBezTo>
                    <a:pt x="6244" y="17056"/>
                    <a:pt x="6244" y="17056"/>
                    <a:pt x="6244" y="17056"/>
                  </a:cubicBezTo>
                  <a:cubicBezTo>
                    <a:pt x="6246" y="17055"/>
                    <a:pt x="6246" y="17055"/>
                    <a:pt x="6246" y="17055"/>
                  </a:cubicBezTo>
                  <a:cubicBezTo>
                    <a:pt x="6246" y="17055"/>
                    <a:pt x="6294" y="17026"/>
                    <a:pt x="6304" y="17021"/>
                  </a:cubicBezTo>
                  <a:cubicBezTo>
                    <a:pt x="6312" y="17022"/>
                    <a:pt x="6356" y="17033"/>
                    <a:pt x="6399" y="17044"/>
                  </a:cubicBezTo>
                  <a:cubicBezTo>
                    <a:pt x="6446" y="17056"/>
                    <a:pt x="6491" y="17067"/>
                    <a:pt x="6502" y="17068"/>
                  </a:cubicBezTo>
                  <a:cubicBezTo>
                    <a:pt x="6498" y="17087"/>
                    <a:pt x="6495" y="17106"/>
                    <a:pt x="6491" y="17126"/>
                  </a:cubicBezTo>
                  <a:cubicBezTo>
                    <a:pt x="6478" y="17202"/>
                    <a:pt x="6465" y="17277"/>
                    <a:pt x="6462" y="17296"/>
                  </a:cubicBezTo>
                  <a:cubicBezTo>
                    <a:pt x="6399" y="17318"/>
                    <a:pt x="6399" y="17318"/>
                    <a:pt x="6399" y="17318"/>
                  </a:cubicBezTo>
                  <a:cubicBezTo>
                    <a:pt x="6321" y="17560"/>
                    <a:pt x="6321" y="17560"/>
                    <a:pt x="6321" y="17560"/>
                  </a:cubicBezTo>
                  <a:cubicBezTo>
                    <a:pt x="6274" y="17545"/>
                    <a:pt x="6237" y="17532"/>
                    <a:pt x="6195" y="17521"/>
                  </a:cubicBezTo>
                  <a:close/>
                  <a:moveTo>
                    <a:pt x="6798" y="17642"/>
                  </a:moveTo>
                  <a:cubicBezTo>
                    <a:pt x="6785" y="17641"/>
                    <a:pt x="6773" y="17639"/>
                    <a:pt x="6761" y="17638"/>
                  </a:cubicBezTo>
                  <a:cubicBezTo>
                    <a:pt x="6533" y="17616"/>
                    <a:pt x="6417" y="17589"/>
                    <a:pt x="6335" y="17564"/>
                  </a:cubicBezTo>
                  <a:cubicBezTo>
                    <a:pt x="6410" y="17329"/>
                    <a:pt x="6410" y="17329"/>
                    <a:pt x="6410" y="17329"/>
                  </a:cubicBezTo>
                  <a:cubicBezTo>
                    <a:pt x="6474" y="17306"/>
                    <a:pt x="6474" y="17306"/>
                    <a:pt x="6474" y="17306"/>
                  </a:cubicBezTo>
                  <a:cubicBezTo>
                    <a:pt x="6475" y="17302"/>
                    <a:pt x="6475" y="17302"/>
                    <a:pt x="6475" y="17302"/>
                  </a:cubicBezTo>
                  <a:cubicBezTo>
                    <a:pt x="6475" y="17302"/>
                    <a:pt x="6490" y="17214"/>
                    <a:pt x="6505" y="17126"/>
                  </a:cubicBezTo>
                  <a:cubicBezTo>
                    <a:pt x="6816" y="17194"/>
                    <a:pt x="6816" y="17194"/>
                    <a:pt x="6816" y="17194"/>
                  </a:cubicBezTo>
                  <a:cubicBezTo>
                    <a:pt x="6915" y="17377"/>
                    <a:pt x="6915" y="17377"/>
                    <a:pt x="6915" y="17377"/>
                  </a:cubicBezTo>
                  <a:cubicBezTo>
                    <a:pt x="6860" y="17502"/>
                    <a:pt x="6817" y="17598"/>
                    <a:pt x="6798" y="17642"/>
                  </a:cubicBezTo>
                  <a:close/>
                  <a:moveTo>
                    <a:pt x="8562" y="15399"/>
                  </a:moveTo>
                  <a:cubicBezTo>
                    <a:pt x="8558" y="15450"/>
                    <a:pt x="8543" y="16200"/>
                    <a:pt x="8541" y="16291"/>
                  </a:cubicBezTo>
                  <a:cubicBezTo>
                    <a:pt x="7637" y="17931"/>
                    <a:pt x="7637" y="17931"/>
                    <a:pt x="7637" y="17931"/>
                  </a:cubicBezTo>
                  <a:cubicBezTo>
                    <a:pt x="7631" y="17928"/>
                    <a:pt x="7631" y="17928"/>
                    <a:pt x="7631" y="17928"/>
                  </a:cubicBezTo>
                  <a:cubicBezTo>
                    <a:pt x="7630" y="17927"/>
                    <a:pt x="7630" y="17927"/>
                    <a:pt x="7630" y="17927"/>
                  </a:cubicBezTo>
                  <a:cubicBezTo>
                    <a:pt x="7628" y="17927"/>
                    <a:pt x="7231" y="17718"/>
                    <a:pt x="6865" y="17653"/>
                  </a:cubicBezTo>
                  <a:cubicBezTo>
                    <a:pt x="6869" y="17643"/>
                    <a:pt x="6874" y="17631"/>
                    <a:pt x="6880" y="17619"/>
                  </a:cubicBezTo>
                  <a:cubicBezTo>
                    <a:pt x="6902" y="17570"/>
                    <a:pt x="6932" y="17500"/>
                    <a:pt x="6969" y="17416"/>
                  </a:cubicBezTo>
                  <a:cubicBezTo>
                    <a:pt x="7043" y="17249"/>
                    <a:pt x="7141" y="17027"/>
                    <a:pt x="7238" y="16805"/>
                  </a:cubicBezTo>
                  <a:cubicBezTo>
                    <a:pt x="7434" y="16361"/>
                    <a:pt x="7629" y="15917"/>
                    <a:pt x="7629" y="15917"/>
                  </a:cubicBezTo>
                  <a:cubicBezTo>
                    <a:pt x="7630" y="15913"/>
                    <a:pt x="7630" y="15913"/>
                    <a:pt x="7630" y="15913"/>
                  </a:cubicBezTo>
                  <a:cubicBezTo>
                    <a:pt x="7854" y="14548"/>
                    <a:pt x="7854" y="14548"/>
                    <a:pt x="7854" y="14548"/>
                  </a:cubicBezTo>
                  <a:cubicBezTo>
                    <a:pt x="7864" y="14555"/>
                    <a:pt x="7874" y="14562"/>
                    <a:pt x="7884" y="14570"/>
                  </a:cubicBezTo>
                  <a:cubicBezTo>
                    <a:pt x="7982" y="14638"/>
                    <a:pt x="8111" y="14729"/>
                    <a:pt x="8241" y="14819"/>
                  </a:cubicBezTo>
                  <a:cubicBezTo>
                    <a:pt x="8444" y="14961"/>
                    <a:pt x="8646" y="15101"/>
                    <a:pt x="8725" y="15156"/>
                  </a:cubicBezTo>
                  <a:cubicBezTo>
                    <a:pt x="8652" y="15192"/>
                    <a:pt x="8576" y="15266"/>
                    <a:pt x="8562" y="15399"/>
                  </a:cubicBezTo>
                  <a:close/>
                  <a:moveTo>
                    <a:pt x="8838" y="16417"/>
                  </a:moveTo>
                  <a:cubicBezTo>
                    <a:pt x="8734" y="16358"/>
                    <a:pt x="8643" y="16303"/>
                    <a:pt x="8607" y="16281"/>
                  </a:cubicBezTo>
                  <a:cubicBezTo>
                    <a:pt x="8608" y="16225"/>
                    <a:pt x="8612" y="16041"/>
                    <a:pt x="8616" y="15856"/>
                  </a:cubicBezTo>
                  <a:cubicBezTo>
                    <a:pt x="8665" y="15868"/>
                    <a:pt x="8765" y="15892"/>
                    <a:pt x="8863" y="15916"/>
                  </a:cubicBezTo>
                  <a:cubicBezTo>
                    <a:pt x="8999" y="15950"/>
                    <a:pt x="9133" y="15984"/>
                    <a:pt x="9134" y="15984"/>
                  </a:cubicBezTo>
                  <a:cubicBezTo>
                    <a:pt x="9136" y="15984"/>
                    <a:pt x="9136" y="15984"/>
                    <a:pt x="9136" y="15984"/>
                  </a:cubicBezTo>
                  <a:cubicBezTo>
                    <a:pt x="9138" y="15983"/>
                    <a:pt x="9138" y="15983"/>
                    <a:pt x="9138" y="15983"/>
                  </a:cubicBezTo>
                  <a:cubicBezTo>
                    <a:pt x="9135" y="16059"/>
                    <a:pt x="9105" y="16434"/>
                    <a:pt x="9099" y="16555"/>
                  </a:cubicBezTo>
                  <a:cubicBezTo>
                    <a:pt x="9023" y="16520"/>
                    <a:pt x="8926" y="16467"/>
                    <a:pt x="8838" y="16417"/>
                  </a:cubicBezTo>
                  <a:close/>
                  <a:moveTo>
                    <a:pt x="9195" y="16594"/>
                  </a:moveTo>
                  <a:cubicBezTo>
                    <a:pt x="9174" y="16589"/>
                    <a:pt x="9145" y="16577"/>
                    <a:pt x="9112" y="16562"/>
                  </a:cubicBezTo>
                  <a:cubicBezTo>
                    <a:pt x="9118" y="16445"/>
                    <a:pt x="9151" y="16035"/>
                    <a:pt x="9153" y="15976"/>
                  </a:cubicBezTo>
                  <a:cubicBezTo>
                    <a:pt x="9520" y="15800"/>
                    <a:pt x="9520" y="15800"/>
                    <a:pt x="9520" y="15800"/>
                  </a:cubicBezTo>
                  <a:cubicBezTo>
                    <a:pt x="9852" y="15905"/>
                    <a:pt x="9852" y="15905"/>
                    <a:pt x="9852" y="15905"/>
                  </a:cubicBezTo>
                  <a:cubicBezTo>
                    <a:pt x="9846" y="15935"/>
                    <a:pt x="9755" y="16375"/>
                    <a:pt x="9703" y="16611"/>
                  </a:cubicBezTo>
                  <a:cubicBezTo>
                    <a:pt x="9691" y="16668"/>
                    <a:pt x="9680" y="16714"/>
                    <a:pt x="9674" y="16737"/>
                  </a:cubicBezTo>
                  <a:cubicBezTo>
                    <a:pt x="9525" y="16677"/>
                    <a:pt x="9344" y="16638"/>
                    <a:pt x="9195" y="16594"/>
                  </a:cubicBezTo>
                  <a:close/>
                  <a:moveTo>
                    <a:pt x="9822" y="16901"/>
                  </a:moveTo>
                  <a:cubicBezTo>
                    <a:pt x="9826" y="16892"/>
                    <a:pt x="9826" y="16892"/>
                    <a:pt x="9826" y="16892"/>
                  </a:cubicBezTo>
                  <a:cubicBezTo>
                    <a:pt x="9826" y="16892"/>
                    <a:pt x="9826" y="16892"/>
                    <a:pt x="9826" y="16892"/>
                  </a:cubicBezTo>
                  <a:lnTo>
                    <a:pt x="9822" y="16901"/>
                  </a:lnTo>
                  <a:close/>
                  <a:moveTo>
                    <a:pt x="10162" y="17083"/>
                  </a:moveTo>
                  <a:cubicBezTo>
                    <a:pt x="10159" y="17076"/>
                    <a:pt x="10155" y="17069"/>
                    <a:pt x="10151" y="17063"/>
                  </a:cubicBezTo>
                  <a:cubicBezTo>
                    <a:pt x="10120" y="17023"/>
                    <a:pt x="10045" y="16963"/>
                    <a:pt x="9956" y="16900"/>
                  </a:cubicBezTo>
                  <a:cubicBezTo>
                    <a:pt x="9867" y="16837"/>
                    <a:pt x="9766" y="16775"/>
                    <a:pt x="9688" y="16743"/>
                  </a:cubicBezTo>
                  <a:cubicBezTo>
                    <a:pt x="9688" y="16742"/>
                    <a:pt x="9687" y="16742"/>
                    <a:pt x="9687" y="16742"/>
                  </a:cubicBezTo>
                  <a:cubicBezTo>
                    <a:pt x="9688" y="16737"/>
                    <a:pt x="9690" y="16730"/>
                    <a:pt x="9692" y="16722"/>
                  </a:cubicBezTo>
                  <a:cubicBezTo>
                    <a:pt x="9698" y="16699"/>
                    <a:pt x="9705" y="16665"/>
                    <a:pt x="9714" y="16625"/>
                  </a:cubicBezTo>
                  <a:cubicBezTo>
                    <a:pt x="9732" y="16545"/>
                    <a:pt x="9755" y="16438"/>
                    <a:pt x="9777" y="16332"/>
                  </a:cubicBezTo>
                  <a:cubicBezTo>
                    <a:pt x="9819" y="16134"/>
                    <a:pt x="9860" y="15936"/>
                    <a:pt x="9865" y="15909"/>
                  </a:cubicBezTo>
                  <a:cubicBezTo>
                    <a:pt x="10130" y="15993"/>
                    <a:pt x="10130" y="15993"/>
                    <a:pt x="10130" y="15993"/>
                  </a:cubicBezTo>
                  <a:cubicBezTo>
                    <a:pt x="10481" y="16369"/>
                    <a:pt x="10481" y="16369"/>
                    <a:pt x="10481" y="16369"/>
                  </a:cubicBezTo>
                  <a:cubicBezTo>
                    <a:pt x="10267" y="16653"/>
                    <a:pt x="10267" y="16653"/>
                    <a:pt x="10267" y="16653"/>
                  </a:cubicBezTo>
                  <a:cubicBezTo>
                    <a:pt x="10415" y="16882"/>
                    <a:pt x="10415" y="16882"/>
                    <a:pt x="10415" y="16882"/>
                  </a:cubicBezTo>
                  <a:cubicBezTo>
                    <a:pt x="10417" y="16884"/>
                    <a:pt x="10417" y="16884"/>
                    <a:pt x="10417" y="16884"/>
                  </a:cubicBezTo>
                  <a:cubicBezTo>
                    <a:pt x="10297" y="16977"/>
                    <a:pt x="10203" y="17051"/>
                    <a:pt x="10162" y="17083"/>
                  </a:cubicBezTo>
                  <a:close/>
                  <a:moveTo>
                    <a:pt x="10428" y="16875"/>
                  </a:moveTo>
                  <a:cubicBezTo>
                    <a:pt x="10426" y="16873"/>
                    <a:pt x="10426" y="16873"/>
                    <a:pt x="10426" y="16873"/>
                  </a:cubicBezTo>
                  <a:cubicBezTo>
                    <a:pt x="10284" y="16654"/>
                    <a:pt x="10284" y="16654"/>
                    <a:pt x="10284" y="16654"/>
                  </a:cubicBezTo>
                  <a:cubicBezTo>
                    <a:pt x="10493" y="16377"/>
                    <a:pt x="10493" y="16377"/>
                    <a:pt x="10493" y="16377"/>
                  </a:cubicBezTo>
                  <a:cubicBezTo>
                    <a:pt x="10863" y="16535"/>
                    <a:pt x="10863" y="16535"/>
                    <a:pt x="10863" y="16535"/>
                  </a:cubicBezTo>
                  <a:cubicBezTo>
                    <a:pt x="10824" y="16565"/>
                    <a:pt x="10785" y="16595"/>
                    <a:pt x="10746" y="16626"/>
                  </a:cubicBezTo>
                  <a:cubicBezTo>
                    <a:pt x="10635" y="16713"/>
                    <a:pt x="10524" y="16800"/>
                    <a:pt x="10428" y="16875"/>
                  </a:cubicBezTo>
                  <a:close/>
                  <a:moveTo>
                    <a:pt x="11530" y="17045"/>
                  </a:moveTo>
                  <a:cubicBezTo>
                    <a:pt x="11488" y="17045"/>
                    <a:pt x="11488" y="17045"/>
                    <a:pt x="11488" y="17045"/>
                  </a:cubicBezTo>
                  <a:cubicBezTo>
                    <a:pt x="11489" y="17061"/>
                    <a:pt x="11489" y="17078"/>
                    <a:pt x="11490" y="17095"/>
                  </a:cubicBezTo>
                  <a:cubicBezTo>
                    <a:pt x="10844" y="17242"/>
                    <a:pt x="10844" y="17242"/>
                    <a:pt x="10844" y="17242"/>
                  </a:cubicBezTo>
                  <a:cubicBezTo>
                    <a:pt x="10462" y="16905"/>
                    <a:pt x="10462" y="16905"/>
                    <a:pt x="10462" y="16905"/>
                  </a:cubicBezTo>
                  <a:cubicBezTo>
                    <a:pt x="10551" y="16836"/>
                    <a:pt x="10651" y="16757"/>
                    <a:pt x="10753" y="16678"/>
                  </a:cubicBezTo>
                  <a:cubicBezTo>
                    <a:pt x="10804" y="16638"/>
                    <a:pt x="10856" y="16597"/>
                    <a:pt x="10907" y="16558"/>
                  </a:cubicBezTo>
                  <a:cubicBezTo>
                    <a:pt x="11529" y="16976"/>
                    <a:pt x="11529" y="16976"/>
                    <a:pt x="11529" y="16976"/>
                  </a:cubicBezTo>
                  <a:cubicBezTo>
                    <a:pt x="11529" y="16984"/>
                    <a:pt x="11530" y="17003"/>
                    <a:pt x="11530" y="17022"/>
                  </a:cubicBezTo>
                  <a:cubicBezTo>
                    <a:pt x="11530" y="17030"/>
                    <a:pt x="11530" y="17038"/>
                    <a:pt x="11530" y="17045"/>
                  </a:cubicBezTo>
                  <a:close/>
                  <a:moveTo>
                    <a:pt x="10918" y="16549"/>
                  </a:moveTo>
                  <a:cubicBezTo>
                    <a:pt x="11121" y="16391"/>
                    <a:pt x="11302" y="16250"/>
                    <a:pt x="11366" y="16202"/>
                  </a:cubicBezTo>
                  <a:cubicBezTo>
                    <a:pt x="11576" y="16369"/>
                    <a:pt x="11667" y="16531"/>
                    <a:pt x="11686" y="16570"/>
                  </a:cubicBezTo>
                  <a:cubicBezTo>
                    <a:pt x="11689" y="16576"/>
                    <a:pt x="11690" y="16578"/>
                    <a:pt x="11690" y="16578"/>
                  </a:cubicBezTo>
                  <a:cubicBezTo>
                    <a:pt x="11810" y="16858"/>
                    <a:pt x="11810" y="16858"/>
                    <a:pt x="11810" y="16858"/>
                  </a:cubicBezTo>
                  <a:cubicBezTo>
                    <a:pt x="11803" y="16861"/>
                    <a:pt x="11796" y="16864"/>
                    <a:pt x="11787" y="16867"/>
                  </a:cubicBezTo>
                  <a:cubicBezTo>
                    <a:pt x="11758" y="16879"/>
                    <a:pt x="11720" y="16894"/>
                    <a:pt x="11683" y="16908"/>
                  </a:cubicBezTo>
                  <a:cubicBezTo>
                    <a:pt x="11617" y="16934"/>
                    <a:pt x="11552" y="16959"/>
                    <a:pt x="11537" y="16965"/>
                  </a:cubicBezTo>
                  <a:lnTo>
                    <a:pt x="10918" y="16549"/>
                  </a:lnTo>
                  <a:close/>
                  <a:moveTo>
                    <a:pt x="12099" y="17532"/>
                  </a:moveTo>
                  <a:cubicBezTo>
                    <a:pt x="11787" y="17980"/>
                    <a:pt x="11787" y="17980"/>
                    <a:pt x="11787" y="17980"/>
                  </a:cubicBezTo>
                  <a:cubicBezTo>
                    <a:pt x="11761" y="17947"/>
                    <a:pt x="11724" y="17893"/>
                    <a:pt x="11680" y="17806"/>
                  </a:cubicBezTo>
                  <a:cubicBezTo>
                    <a:pt x="11636" y="17723"/>
                    <a:pt x="11603" y="17563"/>
                    <a:pt x="11584" y="17413"/>
                  </a:cubicBezTo>
                  <a:cubicBezTo>
                    <a:pt x="11565" y="17271"/>
                    <a:pt x="11556" y="17136"/>
                    <a:pt x="11554" y="17045"/>
                  </a:cubicBezTo>
                  <a:cubicBezTo>
                    <a:pt x="11544" y="17045"/>
                    <a:pt x="11544" y="17045"/>
                    <a:pt x="11544" y="17045"/>
                  </a:cubicBezTo>
                  <a:cubicBezTo>
                    <a:pt x="11544" y="17038"/>
                    <a:pt x="11544" y="17030"/>
                    <a:pt x="11544" y="17022"/>
                  </a:cubicBezTo>
                  <a:cubicBezTo>
                    <a:pt x="11544" y="17004"/>
                    <a:pt x="11543" y="16986"/>
                    <a:pt x="11543" y="16977"/>
                  </a:cubicBezTo>
                  <a:cubicBezTo>
                    <a:pt x="11571" y="16967"/>
                    <a:pt x="11714" y="16911"/>
                    <a:pt x="11792" y="16880"/>
                  </a:cubicBezTo>
                  <a:cubicBezTo>
                    <a:pt x="11801" y="16877"/>
                    <a:pt x="11809" y="16874"/>
                    <a:pt x="11816" y="16871"/>
                  </a:cubicBezTo>
                  <a:lnTo>
                    <a:pt x="12099" y="17532"/>
                  </a:lnTo>
                  <a:close/>
                  <a:moveTo>
                    <a:pt x="13616" y="15820"/>
                  </a:moveTo>
                  <a:cubicBezTo>
                    <a:pt x="13616" y="15940"/>
                    <a:pt x="13626" y="16007"/>
                    <a:pt x="13631" y="16033"/>
                  </a:cubicBezTo>
                  <a:cubicBezTo>
                    <a:pt x="12624" y="16067"/>
                    <a:pt x="12624" y="16067"/>
                    <a:pt x="12624" y="16067"/>
                  </a:cubicBezTo>
                  <a:cubicBezTo>
                    <a:pt x="12621" y="16067"/>
                    <a:pt x="12621" y="16067"/>
                    <a:pt x="12621" y="16067"/>
                  </a:cubicBezTo>
                  <a:cubicBezTo>
                    <a:pt x="12619" y="16068"/>
                    <a:pt x="12580" y="16076"/>
                    <a:pt x="12539" y="16104"/>
                  </a:cubicBezTo>
                  <a:cubicBezTo>
                    <a:pt x="12498" y="16132"/>
                    <a:pt x="12454" y="16184"/>
                    <a:pt x="12455" y="16264"/>
                  </a:cubicBezTo>
                  <a:cubicBezTo>
                    <a:pt x="12455" y="16267"/>
                    <a:pt x="12455" y="16269"/>
                    <a:pt x="12455" y="16271"/>
                  </a:cubicBezTo>
                  <a:cubicBezTo>
                    <a:pt x="12455" y="16280"/>
                    <a:pt x="12455" y="16289"/>
                    <a:pt x="12455" y="16297"/>
                  </a:cubicBezTo>
                  <a:cubicBezTo>
                    <a:pt x="12455" y="16353"/>
                    <a:pt x="12448" y="16375"/>
                    <a:pt x="12434" y="16391"/>
                  </a:cubicBezTo>
                  <a:cubicBezTo>
                    <a:pt x="12419" y="16409"/>
                    <a:pt x="12386" y="16427"/>
                    <a:pt x="12328" y="16456"/>
                  </a:cubicBezTo>
                  <a:cubicBezTo>
                    <a:pt x="12270" y="16485"/>
                    <a:pt x="12134" y="16540"/>
                    <a:pt x="12015" y="16587"/>
                  </a:cubicBezTo>
                  <a:cubicBezTo>
                    <a:pt x="11916" y="16626"/>
                    <a:pt x="11828" y="16660"/>
                    <a:pt x="11801" y="16670"/>
                  </a:cubicBezTo>
                  <a:cubicBezTo>
                    <a:pt x="11750" y="16551"/>
                    <a:pt x="11750" y="16551"/>
                    <a:pt x="11750" y="16551"/>
                  </a:cubicBezTo>
                  <a:cubicBezTo>
                    <a:pt x="11749" y="16548"/>
                    <a:pt x="11666" y="16365"/>
                    <a:pt x="11431" y="16170"/>
                  </a:cubicBezTo>
                  <a:cubicBezTo>
                    <a:pt x="11841" y="15383"/>
                    <a:pt x="11841" y="15383"/>
                    <a:pt x="11841" y="15383"/>
                  </a:cubicBezTo>
                  <a:cubicBezTo>
                    <a:pt x="11846" y="15375"/>
                    <a:pt x="11889" y="15297"/>
                    <a:pt x="11889" y="15195"/>
                  </a:cubicBezTo>
                  <a:cubicBezTo>
                    <a:pt x="11891" y="15088"/>
                    <a:pt x="11837" y="14956"/>
                    <a:pt x="11656" y="14868"/>
                  </a:cubicBezTo>
                  <a:cubicBezTo>
                    <a:pt x="11635" y="14496"/>
                    <a:pt x="11635" y="14496"/>
                    <a:pt x="11635" y="14496"/>
                  </a:cubicBezTo>
                  <a:cubicBezTo>
                    <a:pt x="11635" y="14493"/>
                    <a:pt x="11636" y="14487"/>
                    <a:pt x="11637" y="14477"/>
                  </a:cubicBezTo>
                  <a:cubicBezTo>
                    <a:pt x="11639" y="14464"/>
                    <a:pt x="11642" y="14445"/>
                    <a:pt x="11647" y="14425"/>
                  </a:cubicBezTo>
                  <a:cubicBezTo>
                    <a:pt x="11657" y="14385"/>
                    <a:pt x="11677" y="14338"/>
                    <a:pt x="11707" y="14310"/>
                  </a:cubicBezTo>
                  <a:cubicBezTo>
                    <a:pt x="11728" y="14292"/>
                    <a:pt x="11752" y="14281"/>
                    <a:pt x="11787" y="14280"/>
                  </a:cubicBezTo>
                  <a:cubicBezTo>
                    <a:pt x="11795" y="14280"/>
                    <a:pt x="11803" y="14281"/>
                    <a:pt x="11812" y="14282"/>
                  </a:cubicBezTo>
                  <a:cubicBezTo>
                    <a:pt x="11912" y="14298"/>
                    <a:pt x="12112" y="14333"/>
                    <a:pt x="12286" y="14364"/>
                  </a:cubicBezTo>
                  <a:cubicBezTo>
                    <a:pt x="12460" y="14395"/>
                    <a:pt x="12608" y="14422"/>
                    <a:pt x="12609" y="14422"/>
                  </a:cubicBezTo>
                  <a:cubicBezTo>
                    <a:pt x="12657" y="14431"/>
                    <a:pt x="12657" y="14431"/>
                    <a:pt x="12657" y="14431"/>
                  </a:cubicBezTo>
                  <a:cubicBezTo>
                    <a:pt x="12601" y="14177"/>
                    <a:pt x="12601" y="14177"/>
                    <a:pt x="12601" y="14177"/>
                  </a:cubicBezTo>
                  <a:cubicBezTo>
                    <a:pt x="12785" y="13896"/>
                    <a:pt x="12785" y="13896"/>
                    <a:pt x="12785" y="13896"/>
                  </a:cubicBezTo>
                  <a:cubicBezTo>
                    <a:pt x="12855" y="13693"/>
                    <a:pt x="12855" y="13693"/>
                    <a:pt x="12855" y="13693"/>
                  </a:cubicBezTo>
                  <a:cubicBezTo>
                    <a:pt x="12858" y="13687"/>
                    <a:pt x="12862" y="13676"/>
                    <a:pt x="12862" y="13661"/>
                  </a:cubicBezTo>
                  <a:cubicBezTo>
                    <a:pt x="12863" y="13625"/>
                    <a:pt x="12836" y="13577"/>
                    <a:pt x="12759" y="13545"/>
                  </a:cubicBezTo>
                  <a:cubicBezTo>
                    <a:pt x="12710" y="13523"/>
                    <a:pt x="12528" y="13415"/>
                    <a:pt x="12363" y="13314"/>
                  </a:cubicBezTo>
                  <a:cubicBezTo>
                    <a:pt x="12210" y="13221"/>
                    <a:pt x="12069" y="13133"/>
                    <a:pt x="12048" y="13119"/>
                  </a:cubicBezTo>
                  <a:cubicBezTo>
                    <a:pt x="12036" y="13108"/>
                    <a:pt x="11979" y="13054"/>
                    <a:pt x="11913" y="12989"/>
                  </a:cubicBezTo>
                  <a:cubicBezTo>
                    <a:pt x="11851" y="12928"/>
                    <a:pt x="11781" y="12857"/>
                    <a:pt x="11731" y="12802"/>
                  </a:cubicBezTo>
                  <a:cubicBezTo>
                    <a:pt x="14181" y="12117"/>
                    <a:pt x="14181" y="12117"/>
                    <a:pt x="14181" y="12117"/>
                  </a:cubicBezTo>
                  <a:cubicBezTo>
                    <a:pt x="14120" y="12485"/>
                    <a:pt x="13755" y="14693"/>
                    <a:pt x="13671" y="15225"/>
                  </a:cubicBezTo>
                  <a:cubicBezTo>
                    <a:pt x="13627" y="15497"/>
                    <a:pt x="13616" y="15690"/>
                    <a:pt x="13616" y="15820"/>
                  </a:cubicBezTo>
                  <a:close/>
                  <a:moveTo>
                    <a:pt x="13707" y="16103"/>
                  </a:moveTo>
                  <a:cubicBezTo>
                    <a:pt x="13707" y="16103"/>
                    <a:pt x="13707" y="16103"/>
                    <a:pt x="13706" y="16103"/>
                  </a:cubicBezTo>
                  <a:cubicBezTo>
                    <a:pt x="13703" y="16103"/>
                    <a:pt x="13694" y="16103"/>
                    <a:pt x="13680" y="16098"/>
                  </a:cubicBezTo>
                  <a:cubicBezTo>
                    <a:pt x="13680" y="16098"/>
                    <a:pt x="13679" y="16098"/>
                    <a:pt x="13679" y="16097"/>
                  </a:cubicBezTo>
                  <a:cubicBezTo>
                    <a:pt x="13685" y="16097"/>
                    <a:pt x="13685" y="16097"/>
                    <a:pt x="13685" y="16097"/>
                  </a:cubicBezTo>
                  <a:cubicBezTo>
                    <a:pt x="13683" y="16044"/>
                    <a:pt x="13683" y="16044"/>
                    <a:pt x="13683" y="16044"/>
                  </a:cubicBezTo>
                  <a:cubicBezTo>
                    <a:pt x="13707" y="16043"/>
                    <a:pt x="13707" y="16043"/>
                    <a:pt x="13707" y="16043"/>
                  </a:cubicBezTo>
                  <a:lnTo>
                    <a:pt x="13707" y="16103"/>
                  </a:lnTo>
                  <a:close/>
                  <a:moveTo>
                    <a:pt x="13718" y="16042"/>
                  </a:moveTo>
                  <a:cubicBezTo>
                    <a:pt x="13718" y="16042"/>
                    <a:pt x="13718" y="16042"/>
                    <a:pt x="13718" y="16042"/>
                  </a:cubicBezTo>
                  <a:cubicBezTo>
                    <a:pt x="13750" y="16090"/>
                    <a:pt x="13750" y="16090"/>
                    <a:pt x="13750" y="16090"/>
                  </a:cubicBezTo>
                  <a:lnTo>
                    <a:pt x="13718" y="16042"/>
                  </a:lnTo>
                  <a:close/>
                  <a:moveTo>
                    <a:pt x="15453" y="13276"/>
                  </a:moveTo>
                  <a:cubicBezTo>
                    <a:pt x="15456" y="13274"/>
                    <a:pt x="15459" y="13272"/>
                    <a:pt x="15461" y="13270"/>
                  </a:cubicBezTo>
                  <a:cubicBezTo>
                    <a:pt x="15466" y="13264"/>
                    <a:pt x="15469" y="13258"/>
                    <a:pt x="15472" y="13251"/>
                  </a:cubicBezTo>
                  <a:cubicBezTo>
                    <a:pt x="15473" y="13247"/>
                    <a:pt x="15475" y="13244"/>
                    <a:pt x="15476" y="13240"/>
                  </a:cubicBezTo>
                  <a:cubicBezTo>
                    <a:pt x="15671" y="13288"/>
                    <a:pt x="16111" y="13429"/>
                    <a:pt x="16463" y="13776"/>
                  </a:cubicBezTo>
                  <a:cubicBezTo>
                    <a:pt x="16972" y="14277"/>
                    <a:pt x="17143" y="14912"/>
                    <a:pt x="17176" y="15061"/>
                  </a:cubicBezTo>
                  <a:cubicBezTo>
                    <a:pt x="17181" y="15082"/>
                    <a:pt x="17183" y="15093"/>
                    <a:pt x="17183" y="15093"/>
                  </a:cubicBezTo>
                  <a:cubicBezTo>
                    <a:pt x="17184" y="15095"/>
                    <a:pt x="17184" y="15095"/>
                    <a:pt x="17184" y="15095"/>
                  </a:cubicBezTo>
                  <a:cubicBezTo>
                    <a:pt x="17184" y="15097"/>
                    <a:pt x="17184" y="15097"/>
                    <a:pt x="17184" y="15097"/>
                  </a:cubicBezTo>
                  <a:cubicBezTo>
                    <a:pt x="17235" y="15256"/>
                    <a:pt x="17254" y="15406"/>
                    <a:pt x="17254" y="15543"/>
                  </a:cubicBezTo>
                  <a:cubicBezTo>
                    <a:pt x="17254" y="15925"/>
                    <a:pt x="17104" y="16204"/>
                    <a:pt x="17068" y="16265"/>
                  </a:cubicBezTo>
                  <a:cubicBezTo>
                    <a:pt x="17067" y="16267"/>
                    <a:pt x="17067" y="16268"/>
                    <a:pt x="17066" y="16269"/>
                  </a:cubicBezTo>
                  <a:cubicBezTo>
                    <a:pt x="16896" y="16224"/>
                    <a:pt x="16760" y="16221"/>
                    <a:pt x="16708" y="16221"/>
                  </a:cubicBezTo>
                  <a:cubicBezTo>
                    <a:pt x="16700" y="16221"/>
                    <a:pt x="16694" y="16221"/>
                    <a:pt x="16690" y="16221"/>
                  </a:cubicBezTo>
                  <a:cubicBezTo>
                    <a:pt x="16690" y="16221"/>
                    <a:pt x="16689" y="16221"/>
                    <a:pt x="16689" y="16221"/>
                  </a:cubicBezTo>
                  <a:cubicBezTo>
                    <a:pt x="16688" y="16221"/>
                    <a:pt x="16687" y="16221"/>
                    <a:pt x="16687" y="16221"/>
                  </a:cubicBezTo>
                  <a:cubicBezTo>
                    <a:pt x="16686" y="16221"/>
                    <a:pt x="16685" y="16221"/>
                    <a:pt x="16684" y="16221"/>
                  </a:cubicBezTo>
                  <a:cubicBezTo>
                    <a:pt x="16677" y="16221"/>
                    <a:pt x="16677" y="16221"/>
                    <a:pt x="16677" y="16221"/>
                  </a:cubicBezTo>
                  <a:cubicBezTo>
                    <a:pt x="16559" y="16221"/>
                    <a:pt x="15369" y="16239"/>
                    <a:pt x="14552" y="16251"/>
                  </a:cubicBezTo>
                  <a:cubicBezTo>
                    <a:pt x="14550" y="16242"/>
                    <a:pt x="14549" y="16230"/>
                    <a:pt x="14547" y="16215"/>
                  </a:cubicBezTo>
                  <a:cubicBezTo>
                    <a:pt x="14544" y="16181"/>
                    <a:pt x="14540" y="16134"/>
                    <a:pt x="14540" y="16079"/>
                  </a:cubicBezTo>
                  <a:cubicBezTo>
                    <a:pt x="14540" y="15957"/>
                    <a:pt x="14558" y="15800"/>
                    <a:pt x="14626" y="15678"/>
                  </a:cubicBezTo>
                  <a:cubicBezTo>
                    <a:pt x="14766" y="15424"/>
                    <a:pt x="14796" y="15191"/>
                    <a:pt x="14796" y="15189"/>
                  </a:cubicBezTo>
                  <a:cubicBezTo>
                    <a:pt x="14796" y="15188"/>
                    <a:pt x="14796" y="15188"/>
                    <a:pt x="14796" y="15188"/>
                  </a:cubicBezTo>
                  <a:cubicBezTo>
                    <a:pt x="14796" y="15187"/>
                    <a:pt x="14796" y="15187"/>
                    <a:pt x="14796" y="15187"/>
                  </a:cubicBezTo>
                  <a:cubicBezTo>
                    <a:pt x="14796" y="15187"/>
                    <a:pt x="14804" y="15067"/>
                    <a:pt x="14818" y="14903"/>
                  </a:cubicBezTo>
                  <a:cubicBezTo>
                    <a:pt x="14832" y="14739"/>
                    <a:pt x="14852" y="14531"/>
                    <a:pt x="14875" y="14355"/>
                  </a:cubicBezTo>
                  <a:cubicBezTo>
                    <a:pt x="14917" y="14028"/>
                    <a:pt x="14993" y="13933"/>
                    <a:pt x="14997" y="13929"/>
                  </a:cubicBezTo>
                  <a:cubicBezTo>
                    <a:pt x="14997" y="13929"/>
                    <a:pt x="14997" y="13929"/>
                    <a:pt x="14997" y="13929"/>
                  </a:cubicBezTo>
                  <a:cubicBezTo>
                    <a:pt x="15000" y="13926"/>
                    <a:pt x="15000" y="13926"/>
                    <a:pt x="15000" y="13926"/>
                  </a:cubicBezTo>
                  <a:cubicBezTo>
                    <a:pt x="15002" y="13922"/>
                    <a:pt x="15002" y="13922"/>
                    <a:pt x="15002" y="13922"/>
                  </a:cubicBezTo>
                  <a:cubicBezTo>
                    <a:pt x="15057" y="13818"/>
                    <a:pt x="15225" y="13595"/>
                    <a:pt x="15332" y="13456"/>
                  </a:cubicBezTo>
                  <a:cubicBezTo>
                    <a:pt x="15403" y="13364"/>
                    <a:pt x="15440" y="13301"/>
                    <a:pt x="15453" y="13276"/>
                  </a:cubicBezTo>
                  <a:close/>
                  <a:moveTo>
                    <a:pt x="15385" y="13219"/>
                  </a:moveTo>
                  <a:cubicBezTo>
                    <a:pt x="15390" y="13220"/>
                    <a:pt x="15397" y="13222"/>
                    <a:pt x="15407" y="13224"/>
                  </a:cubicBezTo>
                  <a:cubicBezTo>
                    <a:pt x="15401" y="13235"/>
                    <a:pt x="15401" y="13235"/>
                    <a:pt x="15401" y="13235"/>
                  </a:cubicBezTo>
                  <a:cubicBezTo>
                    <a:pt x="15401" y="13235"/>
                    <a:pt x="15399" y="13238"/>
                    <a:pt x="15395" y="13246"/>
                  </a:cubicBezTo>
                  <a:cubicBezTo>
                    <a:pt x="15391" y="13254"/>
                    <a:pt x="15384" y="13265"/>
                    <a:pt x="15374" y="13281"/>
                  </a:cubicBezTo>
                  <a:cubicBezTo>
                    <a:pt x="15355" y="13312"/>
                    <a:pt x="15325" y="13358"/>
                    <a:pt x="15280" y="13416"/>
                  </a:cubicBezTo>
                  <a:cubicBezTo>
                    <a:pt x="15173" y="13556"/>
                    <a:pt x="15008" y="13773"/>
                    <a:pt x="14945" y="13888"/>
                  </a:cubicBezTo>
                  <a:cubicBezTo>
                    <a:pt x="14928" y="13910"/>
                    <a:pt x="14852" y="14020"/>
                    <a:pt x="14810" y="14347"/>
                  </a:cubicBezTo>
                  <a:cubicBezTo>
                    <a:pt x="14765" y="14690"/>
                    <a:pt x="14733" y="15152"/>
                    <a:pt x="14731" y="15181"/>
                  </a:cubicBezTo>
                  <a:cubicBezTo>
                    <a:pt x="14731" y="15184"/>
                    <a:pt x="14729" y="15196"/>
                    <a:pt x="14725" y="15218"/>
                  </a:cubicBezTo>
                  <a:cubicBezTo>
                    <a:pt x="14720" y="15243"/>
                    <a:pt x="14712" y="15278"/>
                    <a:pt x="14700" y="15321"/>
                  </a:cubicBezTo>
                  <a:cubicBezTo>
                    <a:pt x="14676" y="15408"/>
                    <a:pt x="14635" y="15525"/>
                    <a:pt x="14568" y="15646"/>
                  </a:cubicBezTo>
                  <a:cubicBezTo>
                    <a:pt x="14492" y="15785"/>
                    <a:pt x="14475" y="15951"/>
                    <a:pt x="14475" y="16079"/>
                  </a:cubicBezTo>
                  <a:cubicBezTo>
                    <a:pt x="14475" y="16156"/>
                    <a:pt x="14481" y="16219"/>
                    <a:pt x="14486" y="16252"/>
                  </a:cubicBezTo>
                  <a:cubicBezTo>
                    <a:pt x="14141" y="16258"/>
                    <a:pt x="13875" y="16262"/>
                    <a:pt x="13802" y="16263"/>
                  </a:cubicBezTo>
                  <a:cubicBezTo>
                    <a:pt x="13794" y="16173"/>
                    <a:pt x="13788" y="16104"/>
                    <a:pt x="13785" y="16063"/>
                  </a:cubicBezTo>
                  <a:cubicBezTo>
                    <a:pt x="13784" y="16049"/>
                    <a:pt x="13784" y="16037"/>
                    <a:pt x="13783" y="16032"/>
                  </a:cubicBezTo>
                  <a:cubicBezTo>
                    <a:pt x="13784" y="16029"/>
                    <a:pt x="13784" y="16024"/>
                    <a:pt x="13783" y="16018"/>
                  </a:cubicBezTo>
                  <a:cubicBezTo>
                    <a:pt x="13783" y="16015"/>
                    <a:pt x="13782" y="16012"/>
                    <a:pt x="13781" y="16008"/>
                  </a:cubicBezTo>
                  <a:cubicBezTo>
                    <a:pt x="13781" y="16008"/>
                    <a:pt x="13781" y="16008"/>
                    <a:pt x="13781" y="16008"/>
                  </a:cubicBezTo>
                  <a:cubicBezTo>
                    <a:pt x="13781" y="16007"/>
                    <a:pt x="13780" y="16005"/>
                    <a:pt x="13780" y="16001"/>
                  </a:cubicBezTo>
                  <a:cubicBezTo>
                    <a:pt x="13779" y="15995"/>
                    <a:pt x="13777" y="15985"/>
                    <a:pt x="13775" y="15970"/>
                  </a:cubicBezTo>
                  <a:cubicBezTo>
                    <a:pt x="13772" y="15939"/>
                    <a:pt x="13768" y="15891"/>
                    <a:pt x="13768" y="15820"/>
                  </a:cubicBezTo>
                  <a:cubicBezTo>
                    <a:pt x="13768" y="15699"/>
                    <a:pt x="13779" y="15514"/>
                    <a:pt x="13821" y="15249"/>
                  </a:cubicBezTo>
                  <a:cubicBezTo>
                    <a:pt x="13877" y="14894"/>
                    <a:pt x="14060" y="13789"/>
                    <a:pt x="14192" y="12985"/>
                  </a:cubicBezTo>
                  <a:lnTo>
                    <a:pt x="15385" y="13219"/>
                  </a:lnTo>
                  <a:close/>
                  <a:moveTo>
                    <a:pt x="13843" y="9995"/>
                  </a:moveTo>
                  <a:cubicBezTo>
                    <a:pt x="13888" y="10006"/>
                    <a:pt x="13935" y="10015"/>
                    <a:pt x="13984" y="10027"/>
                  </a:cubicBezTo>
                  <a:cubicBezTo>
                    <a:pt x="14063" y="10047"/>
                    <a:pt x="14142" y="10073"/>
                    <a:pt x="14206" y="10114"/>
                  </a:cubicBezTo>
                  <a:cubicBezTo>
                    <a:pt x="14326" y="10188"/>
                    <a:pt x="14402" y="10327"/>
                    <a:pt x="14408" y="10340"/>
                  </a:cubicBezTo>
                  <a:cubicBezTo>
                    <a:pt x="14408" y="10341"/>
                    <a:pt x="14408" y="10341"/>
                    <a:pt x="14408" y="10341"/>
                  </a:cubicBezTo>
                  <a:cubicBezTo>
                    <a:pt x="14412" y="10349"/>
                    <a:pt x="14412" y="10349"/>
                    <a:pt x="14412" y="10349"/>
                  </a:cubicBezTo>
                  <a:cubicBezTo>
                    <a:pt x="14418" y="10356"/>
                    <a:pt x="14418" y="10356"/>
                    <a:pt x="14418" y="10356"/>
                  </a:cubicBezTo>
                  <a:cubicBezTo>
                    <a:pt x="14419" y="10356"/>
                    <a:pt x="14730" y="10734"/>
                    <a:pt x="14857" y="10873"/>
                  </a:cubicBezTo>
                  <a:cubicBezTo>
                    <a:pt x="14875" y="10893"/>
                    <a:pt x="14889" y="10908"/>
                    <a:pt x="14902" y="10920"/>
                  </a:cubicBezTo>
                  <a:cubicBezTo>
                    <a:pt x="14936" y="10951"/>
                    <a:pt x="14964" y="10972"/>
                    <a:pt x="14983" y="10986"/>
                  </a:cubicBezTo>
                  <a:cubicBezTo>
                    <a:pt x="14700" y="11374"/>
                    <a:pt x="14700" y="11374"/>
                    <a:pt x="14700" y="11374"/>
                  </a:cubicBezTo>
                  <a:cubicBezTo>
                    <a:pt x="14697" y="11385"/>
                    <a:pt x="14697" y="11385"/>
                    <a:pt x="14697" y="11385"/>
                  </a:cubicBezTo>
                  <a:cubicBezTo>
                    <a:pt x="14697" y="11385"/>
                    <a:pt x="14696" y="11387"/>
                    <a:pt x="14694" y="11393"/>
                  </a:cubicBezTo>
                  <a:cubicBezTo>
                    <a:pt x="14692" y="11398"/>
                    <a:pt x="14689" y="11406"/>
                    <a:pt x="14685" y="11416"/>
                  </a:cubicBezTo>
                  <a:cubicBezTo>
                    <a:pt x="14677" y="11437"/>
                    <a:pt x="14665" y="11466"/>
                    <a:pt x="14649" y="11501"/>
                  </a:cubicBezTo>
                  <a:cubicBezTo>
                    <a:pt x="14617" y="11569"/>
                    <a:pt x="14571" y="11658"/>
                    <a:pt x="14514" y="11737"/>
                  </a:cubicBezTo>
                  <a:cubicBezTo>
                    <a:pt x="14416" y="11872"/>
                    <a:pt x="14264" y="11985"/>
                    <a:pt x="14229" y="12008"/>
                  </a:cubicBezTo>
                  <a:cubicBezTo>
                    <a:pt x="14224" y="12012"/>
                    <a:pt x="14222" y="12013"/>
                    <a:pt x="14222" y="12013"/>
                  </a:cubicBezTo>
                  <a:cubicBezTo>
                    <a:pt x="14195" y="12032"/>
                    <a:pt x="14195" y="12032"/>
                    <a:pt x="14195" y="12032"/>
                  </a:cubicBezTo>
                  <a:cubicBezTo>
                    <a:pt x="14193" y="12045"/>
                    <a:pt x="14193" y="12045"/>
                    <a:pt x="14193" y="12045"/>
                  </a:cubicBezTo>
                  <a:cubicBezTo>
                    <a:pt x="10984" y="12942"/>
                    <a:pt x="10984" y="12942"/>
                    <a:pt x="10984" y="12942"/>
                  </a:cubicBezTo>
                  <a:cubicBezTo>
                    <a:pt x="9677" y="13371"/>
                    <a:pt x="9677" y="13371"/>
                    <a:pt x="9677" y="13371"/>
                  </a:cubicBezTo>
                  <a:cubicBezTo>
                    <a:pt x="8788" y="13673"/>
                    <a:pt x="8788" y="13673"/>
                    <a:pt x="8788" y="13673"/>
                  </a:cubicBezTo>
                  <a:cubicBezTo>
                    <a:pt x="8788" y="13673"/>
                    <a:pt x="8788" y="13673"/>
                    <a:pt x="8788" y="13673"/>
                  </a:cubicBezTo>
                  <a:cubicBezTo>
                    <a:pt x="8789" y="13677"/>
                    <a:pt x="8789" y="13677"/>
                    <a:pt x="8789" y="13677"/>
                  </a:cubicBezTo>
                  <a:cubicBezTo>
                    <a:pt x="8781" y="13676"/>
                    <a:pt x="8775" y="13676"/>
                    <a:pt x="8770" y="13676"/>
                  </a:cubicBezTo>
                  <a:cubicBezTo>
                    <a:pt x="9407" y="12294"/>
                    <a:pt x="9407" y="12294"/>
                    <a:pt x="9407" y="12294"/>
                  </a:cubicBezTo>
                  <a:cubicBezTo>
                    <a:pt x="9457" y="12189"/>
                    <a:pt x="9457" y="12189"/>
                    <a:pt x="9457" y="12189"/>
                  </a:cubicBezTo>
                  <a:cubicBezTo>
                    <a:pt x="9470" y="12196"/>
                    <a:pt x="9487" y="12205"/>
                    <a:pt x="9508" y="12214"/>
                  </a:cubicBezTo>
                  <a:cubicBezTo>
                    <a:pt x="9502" y="12228"/>
                    <a:pt x="9494" y="12246"/>
                    <a:pt x="9485" y="12268"/>
                  </a:cubicBezTo>
                  <a:cubicBezTo>
                    <a:pt x="9481" y="12269"/>
                    <a:pt x="9481" y="12269"/>
                    <a:pt x="9481" y="12269"/>
                  </a:cubicBezTo>
                  <a:cubicBezTo>
                    <a:pt x="9482" y="12273"/>
                    <a:pt x="9482" y="12273"/>
                    <a:pt x="9482" y="12273"/>
                  </a:cubicBezTo>
                  <a:cubicBezTo>
                    <a:pt x="9464" y="12316"/>
                    <a:pt x="9439" y="12372"/>
                    <a:pt x="9413" y="12432"/>
                  </a:cubicBezTo>
                  <a:cubicBezTo>
                    <a:pt x="9357" y="12561"/>
                    <a:pt x="9293" y="12705"/>
                    <a:pt x="9262" y="12768"/>
                  </a:cubicBezTo>
                  <a:cubicBezTo>
                    <a:pt x="9255" y="12783"/>
                    <a:pt x="9249" y="12794"/>
                    <a:pt x="9247" y="12797"/>
                  </a:cubicBezTo>
                  <a:cubicBezTo>
                    <a:pt x="9244" y="12798"/>
                    <a:pt x="9244" y="12799"/>
                    <a:pt x="9243" y="12800"/>
                  </a:cubicBezTo>
                  <a:cubicBezTo>
                    <a:pt x="9242" y="12802"/>
                    <a:pt x="9240" y="12804"/>
                    <a:pt x="9239" y="12807"/>
                  </a:cubicBezTo>
                  <a:cubicBezTo>
                    <a:pt x="9236" y="12812"/>
                    <a:pt x="9232" y="12819"/>
                    <a:pt x="9227" y="12828"/>
                  </a:cubicBezTo>
                  <a:cubicBezTo>
                    <a:pt x="9217" y="12846"/>
                    <a:pt x="9204" y="12872"/>
                    <a:pt x="9189" y="12903"/>
                  </a:cubicBezTo>
                  <a:cubicBezTo>
                    <a:pt x="9158" y="12964"/>
                    <a:pt x="9119" y="13047"/>
                    <a:pt x="9080" y="13129"/>
                  </a:cubicBezTo>
                  <a:cubicBezTo>
                    <a:pt x="9001" y="13294"/>
                    <a:pt x="8924" y="13459"/>
                    <a:pt x="8924" y="13459"/>
                  </a:cubicBezTo>
                  <a:cubicBezTo>
                    <a:pt x="8921" y="13465"/>
                    <a:pt x="8921" y="13465"/>
                    <a:pt x="8921" y="13465"/>
                  </a:cubicBezTo>
                  <a:cubicBezTo>
                    <a:pt x="8928" y="13468"/>
                    <a:pt x="8928" y="13468"/>
                    <a:pt x="8928" y="13468"/>
                  </a:cubicBezTo>
                  <a:cubicBezTo>
                    <a:pt x="8928" y="13468"/>
                    <a:pt x="8973" y="13487"/>
                    <a:pt x="8988" y="13494"/>
                  </a:cubicBezTo>
                  <a:cubicBezTo>
                    <a:pt x="8988" y="13495"/>
                    <a:pt x="8988" y="13495"/>
                    <a:pt x="8988" y="13495"/>
                  </a:cubicBezTo>
                  <a:cubicBezTo>
                    <a:pt x="8993" y="13496"/>
                    <a:pt x="8993" y="13496"/>
                    <a:pt x="8993" y="13496"/>
                  </a:cubicBezTo>
                  <a:cubicBezTo>
                    <a:pt x="8994" y="13496"/>
                    <a:pt x="8994" y="13497"/>
                    <a:pt x="8996" y="13497"/>
                  </a:cubicBezTo>
                  <a:cubicBezTo>
                    <a:pt x="9000" y="13496"/>
                    <a:pt x="9000" y="13495"/>
                    <a:pt x="9001" y="13494"/>
                  </a:cubicBezTo>
                  <a:cubicBezTo>
                    <a:pt x="9003" y="13494"/>
                    <a:pt x="9006" y="13492"/>
                    <a:pt x="9011" y="13491"/>
                  </a:cubicBezTo>
                  <a:cubicBezTo>
                    <a:pt x="9020" y="13488"/>
                    <a:pt x="9033" y="13483"/>
                    <a:pt x="9050" y="13478"/>
                  </a:cubicBezTo>
                  <a:cubicBezTo>
                    <a:pt x="9084" y="13466"/>
                    <a:pt x="9133" y="13450"/>
                    <a:pt x="9193" y="13430"/>
                  </a:cubicBezTo>
                  <a:cubicBezTo>
                    <a:pt x="9315" y="13390"/>
                    <a:pt x="9483" y="13336"/>
                    <a:pt x="9670" y="13275"/>
                  </a:cubicBezTo>
                  <a:cubicBezTo>
                    <a:pt x="9970" y="13178"/>
                    <a:pt x="10317" y="13066"/>
                    <a:pt x="10597" y="12976"/>
                  </a:cubicBezTo>
                  <a:cubicBezTo>
                    <a:pt x="10598" y="12979"/>
                    <a:pt x="10599" y="12981"/>
                    <a:pt x="10599" y="12981"/>
                  </a:cubicBezTo>
                  <a:cubicBezTo>
                    <a:pt x="10599" y="12981"/>
                    <a:pt x="10599" y="12981"/>
                    <a:pt x="10599" y="12981"/>
                  </a:cubicBezTo>
                  <a:cubicBezTo>
                    <a:pt x="10612" y="12976"/>
                    <a:pt x="10612" y="12976"/>
                    <a:pt x="10612" y="12976"/>
                  </a:cubicBezTo>
                  <a:cubicBezTo>
                    <a:pt x="10612" y="12976"/>
                    <a:pt x="10611" y="12974"/>
                    <a:pt x="10611" y="12972"/>
                  </a:cubicBezTo>
                  <a:cubicBezTo>
                    <a:pt x="10675" y="12951"/>
                    <a:pt x="10737" y="12931"/>
                    <a:pt x="10792" y="12913"/>
                  </a:cubicBezTo>
                  <a:cubicBezTo>
                    <a:pt x="10992" y="12849"/>
                    <a:pt x="11125" y="12806"/>
                    <a:pt x="11125" y="12806"/>
                  </a:cubicBezTo>
                  <a:cubicBezTo>
                    <a:pt x="11125" y="12806"/>
                    <a:pt x="11125" y="12806"/>
                    <a:pt x="11125" y="12806"/>
                  </a:cubicBezTo>
                  <a:cubicBezTo>
                    <a:pt x="11182" y="12786"/>
                    <a:pt x="11182" y="12786"/>
                    <a:pt x="11182" y="12786"/>
                  </a:cubicBezTo>
                  <a:cubicBezTo>
                    <a:pt x="11176" y="12771"/>
                    <a:pt x="11176" y="12771"/>
                    <a:pt x="11176" y="12771"/>
                  </a:cubicBezTo>
                  <a:cubicBezTo>
                    <a:pt x="11039" y="12378"/>
                    <a:pt x="11039" y="12378"/>
                    <a:pt x="11039" y="12378"/>
                  </a:cubicBezTo>
                  <a:cubicBezTo>
                    <a:pt x="12029" y="12063"/>
                    <a:pt x="12029" y="12063"/>
                    <a:pt x="12029" y="12063"/>
                  </a:cubicBezTo>
                  <a:cubicBezTo>
                    <a:pt x="12109" y="12231"/>
                    <a:pt x="12204" y="12432"/>
                    <a:pt x="12234" y="12490"/>
                  </a:cubicBezTo>
                  <a:cubicBezTo>
                    <a:pt x="12295" y="12466"/>
                    <a:pt x="12295" y="12466"/>
                    <a:pt x="12295" y="12466"/>
                  </a:cubicBezTo>
                  <a:cubicBezTo>
                    <a:pt x="12292" y="12460"/>
                    <a:pt x="12269" y="12409"/>
                    <a:pt x="12265" y="12401"/>
                  </a:cubicBezTo>
                  <a:cubicBezTo>
                    <a:pt x="12254" y="12378"/>
                    <a:pt x="12238" y="12346"/>
                    <a:pt x="12219" y="12308"/>
                  </a:cubicBezTo>
                  <a:cubicBezTo>
                    <a:pt x="12184" y="12234"/>
                    <a:pt x="12137" y="12136"/>
                    <a:pt x="12090" y="12037"/>
                  </a:cubicBezTo>
                  <a:cubicBezTo>
                    <a:pt x="12419" y="11841"/>
                    <a:pt x="12419" y="11841"/>
                    <a:pt x="12419" y="11841"/>
                  </a:cubicBezTo>
                  <a:cubicBezTo>
                    <a:pt x="12475" y="11701"/>
                    <a:pt x="12475" y="11701"/>
                    <a:pt x="12475" y="11701"/>
                  </a:cubicBezTo>
                  <a:cubicBezTo>
                    <a:pt x="12475" y="11701"/>
                    <a:pt x="12475" y="11701"/>
                    <a:pt x="12475" y="11701"/>
                  </a:cubicBezTo>
                  <a:cubicBezTo>
                    <a:pt x="12475" y="11701"/>
                    <a:pt x="12475" y="11700"/>
                    <a:pt x="12475" y="11700"/>
                  </a:cubicBezTo>
                  <a:cubicBezTo>
                    <a:pt x="12535" y="11552"/>
                    <a:pt x="12535" y="11552"/>
                    <a:pt x="12535" y="11552"/>
                  </a:cubicBezTo>
                  <a:cubicBezTo>
                    <a:pt x="12533" y="11549"/>
                    <a:pt x="12533" y="11549"/>
                    <a:pt x="12533" y="11549"/>
                  </a:cubicBezTo>
                  <a:cubicBezTo>
                    <a:pt x="12533" y="11548"/>
                    <a:pt x="12400" y="11342"/>
                    <a:pt x="12350" y="11274"/>
                  </a:cubicBezTo>
                  <a:cubicBezTo>
                    <a:pt x="12368" y="11256"/>
                    <a:pt x="12386" y="11239"/>
                    <a:pt x="12405" y="11221"/>
                  </a:cubicBezTo>
                  <a:cubicBezTo>
                    <a:pt x="12550" y="11080"/>
                    <a:pt x="12684" y="10946"/>
                    <a:pt x="12697" y="10933"/>
                  </a:cubicBezTo>
                  <a:lnTo>
                    <a:pt x="13843" y="9995"/>
                  </a:lnTo>
                  <a:close/>
                  <a:moveTo>
                    <a:pt x="13518" y="9830"/>
                  </a:moveTo>
                  <a:cubicBezTo>
                    <a:pt x="13600" y="9894"/>
                    <a:pt x="13686" y="9946"/>
                    <a:pt x="13758" y="9971"/>
                  </a:cubicBezTo>
                  <a:cubicBezTo>
                    <a:pt x="13760" y="9972"/>
                    <a:pt x="13763" y="9973"/>
                    <a:pt x="13766" y="9974"/>
                  </a:cubicBezTo>
                  <a:cubicBezTo>
                    <a:pt x="12685" y="10858"/>
                    <a:pt x="12685" y="10858"/>
                    <a:pt x="12685" y="10858"/>
                  </a:cubicBezTo>
                  <a:cubicBezTo>
                    <a:pt x="12013" y="10291"/>
                    <a:pt x="12013" y="10291"/>
                    <a:pt x="12013" y="10291"/>
                  </a:cubicBezTo>
                  <a:cubicBezTo>
                    <a:pt x="12011" y="10290"/>
                    <a:pt x="12011" y="10290"/>
                    <a:pt x="12011" y="10290"/>
                  </a:cubicBezTo>
                  <a:cubicBezTo>
                    <a:pt x="12008" y="10288"/>
                    <a:pt x="11969" y="10264"/>
                    <a:pt x="11912" y="10263"/>
                  </a:cubicBezTo>
                  <a:cubicBezTo>
                    <a:pt x="11872" y="10263"/>
                    <a:pt x="11822" y="10277"/>
                    <a:pt x="11776" y="10317"/>
                  </a:cubicBezTo>
                  <a:cubicBezTo>
                    <a:pt x="11731" y="10357"/>
                    <a:pt x="11703" y="10378"/>
                    <a:pt x="11688" y="10388"/>
                  </a:cubicBezTo>
                  <a:cubicBezTo>
                    <a:pt x="11413" y="10042"/>
                    <a:pt x="11413" y="10042"/>
                    <a:pt x="11413" y="10042"/>
                  </a:cubicBezTo>
                  <a:cubicBezTo>
                    <a:pt x="11411" y="10040"/>
                    <a:pt x="11411" y="10040"/>
                    <a:pt x="11411" y="10040"/>
                  </a:cubicBezTo>
                  <a:cubicBezTo>
                    <a:pt x="11410" y="10039"/>
                    <a:pt x="11287" y="9932"/>
                    <a:pt x="11085" y="9800"/>
                  </a:cubicBezTo>
                  <a:cubicBezTo>
                    <a:pt x="10942" y="9707"/>
                    <a:pt x="10796" y="9610"/>
                    <a:pt x="10724" y="9562"/>
                  </a:cubicBezTo>
                  <a:cubicBezTo>
                    <a:pt x="10810" y="9485"/>
                    <a:pt x="10986" y="9325"/>
                    <a:pt x="11095" y="9210"/>
                  </a:cubicBezTo>
                  <a:cubicBezTo>
                    <a:pt x="11214" y="9082"/>
                    <a:pt x="11239" y="8893"/>
                    <a:pt x="11245" y="8804"/>
                  </a:cubicBezTo>
                  <a:cubicBezTo>
                    <a:pt x="11264" y="8805"/>
                    <a:pt x="11291" y="8807"/>
                    <a:pt x="11323" y="8809"/>
                  </a:cubicBezTo>
                  <a:cubicBezTo>
                    <a:pt x="11393" y="8814"/>
                    <a:pt x="11488" y="8821"/>
                    <a:pt x="11589" y="8827"/>
                  </a:cubicBezTo>
                  <a:cubicBezTo>
                    <a:pt x="11793" y="8841"/>
                    <a:pt x="12021" y="8855"/>
                    <a:pt x="12127" y="8860"/>
                  </a:cubicBezTo>
                  <a:cubicBezTo>
                    <a:pt x="12336" y="8869"/>
                    <a:pt x="12594" y="8878"/>
                    <a:pt x="12880" y="8947"/>
                  </a:cubicBezTo>
                  <a:cubicBezTo>
                    <a:pt x="13022" y="8981"/>
                    <a:pt x="13125" y="9024"/>
                    <a:pt x="13194" y="9071"/>
                  </a:cubicBezTo>
                  <a:cubicBezTo>
                    <a:pt x="13264" y="9120"/>
                    <a:pt x="13301" y="9170"/>
                    <a:pt x="13320" y="9228"/>
                  </a:cubicBezTo>
                  <a:cubicBezTo>
                    <a:pt x="13333" y="9265"/>
                    <a:pt x="13338" y="9316"/>
                    <a:pt x="13338" y="9366"/>
                  </a:cubicBezTo>
                  <a:cubicBezTo>
                    <a:pt x="13338" y="9409"/>
                    <a:pt x="13334" y="9451"/>
                    <a:pt x="13330" y="9484"/>
                  </a:cubicBezTo>
                  <a:cubicBezTo>
                    <a:pt x="13325" y="9517"/>
                    <a:pt x="13319" y="9544"/>
                    <a:pt x="13318" y="9549"/>
                  </a:cubicBezTo>
                  <a:cubicBezTo>
                    <a:pt x="13318" y="9549"/>
                    <a:pt x="13318" y="9549"/>
                    <a:pt x="13318" y="9549"/>
                  </a:cubicBezTo>
                  <a:cubicBezTo>
                    <a:pt x="13318" y="9548"/>
                    <a:pt x="13318" y="9548"/>
                    <a:pt x="13318" y="9548"/>
                  </a:cubicBezTo>
                  <a:cubicBezTo>
                    <a:pt x="13315" y="9580"/>
                    <a:pt x="13315" y="9580"/>
                    <a:pt x="13315" y="9580"/>
                  </a:cubicBezTo>
                  <a:cubicBezTo>
                    <a:pt x="13319" y="9615"/>
                    <a:pt x="13319" y="9615"/>
                    <a:pt x="13319" y="9615"/>
                  </a:cubicBezTo>
                  <a:cubicBezTo>
                    <a:pt x="13361" y="9694"/>
                    <a:pt x="13437" y="9766"/>
                    <a:pt x="13518" y="9830"/>
                  </a:cubicBezTo>
                  <a:close/>
                  <a:moveTo>
                    <a:pt x="16000" y="4788"/>
                  </a:moveTo>
                  <a:cubicBezTo>
                    <a:pt x="16015" y="4848"/>
                    <a:pt x="16029" y="4933"/>
                    <a:pt x="16029" y="5035"/>
                  </a:cubicBezTo>
                  <a:cubicBezTo>
                    <a:pt x="16029" y="5110"/>
                    <a:pt x="16021" y="5194"/>
                    <a:pt x="16000" y="5285"/>
                  </a:cubicBezTo>
                  <a:cubicBezTo>
                    <a:pt x="15922" y="5619"/>
                    <a:pt x="15662" y="5831"/>
                    <a:pt x="15557" y="6081"/>
                  </a:cubicBezTo>
                  <a:cubicBezTo>
                    <a:pt x="15483" y="6261"/>
                    <a:pt x="15418" y="6393"/>
                    <a:pt x="15418" y="6641"/>
                  </a:cubicBezTo>
                  <a:cubicBezTo>
                    <a:pt x="15418" y="6718"/>
                    <a:pt x="15424" y="6805"/>
                    <a:pt x="15437" y="6908"/>
                  </a:cubicBezTo>
                  <a:cubicBezTo>
                    <a:pt x="15465" y="7126"/>
                    <a:pt x="15510" y="7484"/>
                    <a:pt x="15548" y="7789"/>
                  </a:cubicBezTo>
                  <a:cubicBezTo>
                    <a:pt x="15575" y="8009"/>
                    <a:pt x="15599" y="8200"/>
                    <a:pt x="15610" y="8289"/>
                  </a:cubicBezTo>
                  <a:cubicBezTo>
                    <a:pt x="15577" y="8303"/>
                    <a:pt x="15544" y="8318"/>
                    <a:pt x="15530" y="8324"/>
                  </a:cubicBezTo>
                  <a:cubicBezTo>
                    <a:pt x="15523" y="8327"/>
                    <a:pt x="15520" y="8329"/>
                    <a:pt x="15512" y="8333"/>
                  </a:cubicBezTo>
                  <a:cubicBezTo>
                    <a:pt x="15506" y="8337"/>
                    <a:pt x="15497" y="8342"/>
                    <a:pt x="15486" y="8347"/>
                  </a:cubicBezTo>
                  <a:cubicBezTo>
                    <a:pt x="15465" y="8359"/>
                    <a:pt x="15436" y="8376"/>
                    <a:pt x="15401" y="8395"/>
                  </a:cubicBezTo>
                  <a:cubicBezTo>
                    <a:pt x="15332" y="8434"/>
                    <a:pt x="15240" y="8485"/>
                    <a:pt x="15141" y="8539"/>
                  </a:cubicBezTo>
                  <a:cubicBezTo>
                    <a:pt x="14944" y="8646"/>
                    <a:pt x="14717" y="8763"/>
                    <a:pt x="14605" y="8804"/>
                  </a:cubicBezTo>
                  <a:cubicBezTo>
                    <a:pt x="14433" y="8866"/>
                    <a:pt x="14274" y="8918"/>
                    <a:pt x="14192" y="8943"/>
                  </a:cubicBezTo>
                  <a:cubicBezTo>
                    <a:pt x="14168" y="8950"/>
                    <a:pt x="14149" y="8955"/>
                    <a:pt x="14143" y="8957"/>
                  </a:cubicBezTo>
                  <a:cubicBezTo>
                    <a:pt x="14141" y="8957"/>
                    <a:pt x="14140" y="8957"/>
                    <a:pt x="14139" y="8957"/>
                  </a:cubicBezTo>
                  <a:cubicBezTo>
                    <a:pt x="14137" y="8957"/>
                    <a:pt x="14136" y="8958"/>
                    <a:pt x="14134" y="8958"/>
                  </a:cubicBezTo>
                  <a:cubicBezTo>
                    <a:pt x="14131" y="8958"/>
                    <a:pt x="14128" y="8959"/>
                    <a:pt x="14125" y="8960"/>
                  </a:cubicBezTo>
                  <a:cubicBezTo>
                    <a:pt x="14118" y="8961"/>
                    <a:pt x="14109" y="8963"/>
                    <a:pt x="14098" y="8966"/>
                  </a:cubicBezTo>
                  <a:cubicBezTo>
                    <a:pt x="14076" y="8971"/>
                    <a:pt x="14046" y="8978"/>
                    <a:pt x="14011" y="8986"/>
                  </a:cubicBezTo>
                  <a:cubicBezTo>
                    <a:pt x="13940" y="9003"/>
                    <a:pt x="13847" y="9025"/>
                    <a:pt x="13754" y="9047"/>
                  </a:cubicBezTo>
                  <a:cubicBezTo>
                    <a:pt x="13631" y="9077"/>
                    <a:pt x="13509" y="9107"/>
                    <a:pt x="13441" y="9123"/>
                  </a:cubicBezTo>
                  <a:cubicBezTo>
                    <a:pt x="13407" y="9055"/>
                    <a:pt x="13353" y="8995"/>
                    <a:pt x="13281" y="8946"/>
                  </a:cubicBezTo>
                  <a:cubicBezTo>
                    <a:pt x="13189" y="8883"/>
                    <a:pt x="13069" y="8835"/>
                    <a:pt x="12916" y="8798"/>
                  </a:cubicBezTo>
                  <a:cubicBezTo>
                    <a:pt x="12786" y="8767"/>
                    <a:pt x="12662" y="8748"/>
                    <a:pt x="12546" y="8735"/>
                  </a:cubicBezTo>
                  <a:cubicBezTo>
                    <a:pt x="12078" y="7212"/>
                    <a:pt x="12078" y="7212"/>
                    <a:pt x="12078" y="7212"/>
                  </a:cubicBezTo>
                  <a:cubicBezTo>
                    <a:pt x="12078" y="7212"/>
                    <a:pt x="12078" y="7212"/>
                    <a:pt x="12078" y="7212"/>
                  </a:cubicBezTo>
                  <a:cubicBezTo>
                    <a:pt x="12074" y="7198"/>
                    <a:pt x="12042" y="7088"/>
                    <a:pt x="11934" y="7034"/>
                  </a:cubicBezTo>
                  <a:cubicBezTo>
                    <a:pt x="11948" y="7006"/>
                    <a:pt x="11961" y="6978"/>
                    <a:pt x="11971" y="6950"/>
                  </a:cubicBezTo>
                  <a:cubicBezTo>
                    <a:pt x="12019" y="6827"/>
                    <a:pt x="12035" y="6712"/>
                    <a:pt x="12035" y="6711"/>
                  </a:cubicBezTo>
                  <a:cubicBezTo>
                    <a:pt x="12311" y="4826"/>
                    <a:pt x="12311" y="4826"/>
                    <a:pt x="12311" y="4826"/>
                  </a:cubicBezTo>
                  <a:cubicBezTo>
                    <a:pt x="12310" y="4823"/>
                    <a:pt x="12310" y="4823"/>
                    <a:pt x="12310" y="4823"/>
                  </a:cubicBezTo>
                  <a:cubicBezTo>
                    <a:pt x="12310" y="4823"/>
                    <a:pt x="12308" y="4781"/>
                    <a:pt x="12307" y="4751"/>
                  </a:cubicBezTo>
                  <a:cubicBezTo>
                    <a:pt x="12313" y="4751"/>
                    <a:pt x="12313" y="4751"/>
                    <a:pt x="12313" y="4751"/>
                  </a:cubicBezTo>
                  <a:cubicBezTo>
                    <a:pt x="12312" y="4747"/>
                    <a:pt x="12312" y="4747"/>
                    <a:pt x="12312" y="4747"/>
                  </a:cubicBezTo>
                  <a:cubicBezTo>
                    <a:pt x="12353" y="4749"/>
                    <a:pt x="12423" y="4755"/>
                    <a:pt x="12502" y="4762"/>
                  </a:cubicBezTo>
                  <a:cubicBezTo>
                    <a:pt x="12630" y="4775"/>
                    <a:pt x="12783" y="4795"/>
                    <a:pt x="12879" y="4821"/>
                  </a:cubicBezTo>
                  <a:cubicBezTo>
                    <a:pt x="13567" y="5021"/>
                    <a:pt x="13567" y="5021"/>
                    <a:pt x="13567" y="5021"/>
                  </a:cubicBezTo>
                  <a:cubicBezTo>
                    <a:pt x="14055" y="5138"/>
                    <a:pt x="14055" y="5138"/>
                    <a:pt x="14055" y="5138"/>
                  </a:cubicBezTo>
                  <a:cubicBezTo>
                    <a:pt x="15986" y="4735"/>
                    <a:pt x="15986" y="4735"/>
                    <a:pt x="15986" y="4735"/>
                  </a:cubicBezTo>
                  <a:cubicBezTo>
                    <a:pt x="15990" y="4750"/>
                    <a:pt x="15995" y="4767"/>
                    <a:pt x="16000" y="4788"/>
                  </a:cubicBezTo>
                  <a:close/>
                  <a:moveTo>
                    <a:pt x="15890" y="1942"/>
                  </a:moveTo>
                  <a:cubicBezTo>
                    <a:pt x="15794" y="2067"/>
                    <a:pt x="15692" y="2215"/>
                    <a:pt x="15660" y="2329"/>
                  </a:cubicBezTo>
                  <a:cubicBezTo>
                    <a:pt x="15627" y="2453"/>
                    <a:pt x="15596" y="2671"/>
                    <a:pt x="15595" y="2932"/>
                  </a:cubicBezTo>
                  <a:cubicBezTo>
                    <a:pt x="15595" y="3119"/>
                    <a:pt x="15612" y="3328"/>
                    <a:pt x="15656" y="3537"/>
                  </a:cubicBezTo>
                  <a:cubicBezTo>
                    <a:pt x="15745" y="3958"/>
                    <a:pt x="15910" y="4497"/>
                    <a:pt x="15954" y="4651"/>
                  </a:cubicBezTo>
                  <a:cubicBezTo>
                    <a:pt x="15956" y="4660"/>
                    <a:pt x="15958" y="4668"/>
                    <a:pt x="15960" y="4674"/>
                  </a:cubicBezTo>
                  <a:cubicBezTo>
                    <a:pt x="14056" y="5070"/>
                    <a:pt x="14056" y="5070"/>
                    <a:pt x="14056" y="5070"/>
                  </a:cubicBezTo>
                  <a:cubicBezTo>
                    <a:pt x="13584" y="4958"/>
                    <a:pt x="13584" y="4958"/>
                    <a:pt x="13584" y="4958"/>
                  </a:cubicBezTo>
                  <a:cubicBezTo>
                    <a:pt x="13122" y="4823"/>
                    <a:pt x="13122" y="4823"/>
                    <a:pt x="13122" y="4823"/>
                  </a:cubicBezTo>
                  <a:cubicBezTo>
                    <a:pt x="13153" y="4773"/>
                    <a:pt x="13212" y="4672"/>
                    <a:pt x="13282" y="4523"/>
                  </a:cubicBezTo>
                  <a:cubicBezTo>
                    <a:pt x="13320" y="4442"/>
                    <a:pt x="13333" y="4369"/>
                    <a:pt x="13333" y="4309"/>
                  </a:cubicBezTo>
                  <a:cubicBezTo>
                    <a:pt x="13333" y="4197"/>
                    <a:pt x="13289" y="4130"/>
                    <a:pt x="13287" y="4127"/>
                  </a:cubicBezTo>
                  <a:cubicBezTo>
                    <a:pt x="12544" y="2998"/>
                    <a:pt x="12544" y="2998"/>
                    <a:pt x="12544" y="2998"/>
                  </a:cubicBezTo>
                  <a:cubicBezTo>
                    <a:pt x="12541" y="2995"/>
                    <a:pt x="12541" y="2995"/>
                    <a:pt x="12541" y="2995"/>
                  </a:cubicBezTo>
                  <a:cubicBezTo>
                    <a:pt x="12519" y="2975"/>
                    <a:pt x="12496" y="2960"/>
                    <a:pt x="12472" y="2948"/>
                  </a:cubicBezTo>
                  <a:cubicBezTo>
                    <a:pt x="12489" y="2909"/>
                    <a:pt x="12522" y="2832"/>
                    <a:pt x="12537" y="2799"/>
                  </a:cubicBezTo>
                  <a:cubicBezTo>
                    <a:pt x="12537" y="2799"/>
                    <a:pt x="12538" y="2799"/>
                    <a:pt x="12539" y="2797"/>
                  </a:cubicBezTo>
                  <a:cubicBezTo>
                    <a:pt x="12540" y="2796"/>
                    <a:pt x="12541" y="2793"/>
                    <a:pt x="12543" y="2791"/>
                  </a:cubicBezTo>
                  <a:cubicBezTo>
                    <a:pt x="12546" y="2785"/>
                    <a:pt x="12551" y="2778"/>
                    <a:pt x="12557" y="2770"/>
                  </a:cubicBezTo>
                  <a:cubicBezTo>
                    <a:pt x="12570" y="2753"/>
                    <a:pt x="12586" y="2731"/>
                    <a:pt x="12605" y="2706"/>
                  </a:cubicBezTo>
                  <a:cubicBezTo>
                    <a:pt x="12644" y="2656"/>
                    <a:pt x="12694" y="2593"/>
                    <a:pt x="12743" y="2532"/>
                  </a:cubicBezTo>
                  <a:cubicBezTo>
                    <a:pt x="12842" y="2409"/>
                    <a:pt x="12938" y="2292"/>
                    <a:pt x="12938" y="2292"/>
                  </a:cubicBezTo>
                  <a:cubicBezTo>
                    <a:pt x="12939" y="2290"/>
                    <a:pt x="12939" y="2290"/>
                    <a:pt x="12939" y="2290"/>
                  </a:cubicBezTo>
                  <a:cubicBezTo>
                    <a:pt x="12940" y="2289"/>
                    <a:pt x="12940" y="2289"/>
                    <a:pt x="12940" y="2289"/>
                  </a:cubicBezTo>
                  <a:cubicBezTo>
                    <a:pt x="12940" y="2289"/>
                    <a:pt x="12967" y="2248"/>
                    <a:pt x="13005" y="2196"/>
                  </a:cubicBezTo>
                  <a:cubicBezTo>
                    <a:pt x="13042" y="2144"/>
                    <a:pt x="13090" y="2080"/>
                    <a:pt x="13129" y="2035"/>
                  </a:cubicBezTo>
                  <a:cubicBezTo>
                    <a:pt x="13201" y="1955"/>
                    <a:pt x="13292" y="1953"/>
                    <a:pt x="13369" y="1950"/>
                  </a:cubicBezTo>
                  <a:cubicBezTo>
                    <a:pt x="13398" y="1951"/>
                    <a:pt x="14002" y="1964"/>
                    <a:pt x="14459" y="1964"/>
                  </a:cubicBezTo>
                  <a:cubicBezTo>
                    <a:pt x="14693" y="1964"/>
                    <a:pt x="14885" y="1961"/>
                    <a:pt x="14950" y="1949"/>
                  </a:cubicBezTo>
                  <a:cubicBezTo>
                    <a:pt x="15100" y="1923"/>
                    <a:pt x="15565" y="1885"/>
                    <a:pt x="16019" y="1786"/>
                  </a:cubicBezTo>
                  <a:cubicBezTo>
                    <a:pt x="15984" y="1826"/>
                    <a:pt x="15938" y="1881"/>
                    <a:pt x="15890" y="1942"/>
                  </a:cubicBezTo>
                  <a:close/>
                  <a:moveTo>
                    <a:pt x="16115" y="1764"/>
                  </a:moveTo>
                  <a:cubicBezTo>
                    <a:pt x="16115" y="1764"/>
                    <a:pt x="16115" y="1764"/>
                    <a:pt x="16115" y="1764"/>
                  </a:cubicBezTo>
                  <a:cubicBezTo>
                    <a:pt x="16119" y="1772"/>
                    <a:pt x="16119" y="1772"/>
                    <a:pt x="16119" y="1772"/>
                  </a:cubicBezTo>
                  <a:lnTo>
                    <a:pt x="16115" y="1764"/>
                  </a:lnTo>
                  <a:close/>
                  <a:moveTo>
                    <a:pt x="4" y="16455"/>
                  </a:moveTo>
                  <a:cubicBezTo>
                    <a:pt x="29" y="16428"/>
                    <a:pt x="29" y="16428"/>
                    <a:pt x="29" y="16428"/>
                  </a:cubicBezTo>
                  <a:cubicBezTo>
                    <a:pt x="4" y="16377"/>
                    <a:pt x="4" y="16377"/>
                    <a:pt x="4" y="16377"/>
                  </a:cubicBezTo>
                  <a:cubicBezTo>
                    <a:pt x="4" y="16345"/>
                    <a:pt x="4" y="16345"/>
                    <a:pt x="4" y="16345"/>
                  </a:cubicBezTo>
                  <a:cubicBezTo>
                    <a:pt x="46" y="16430"/>
                    <a:pt x="46" y="16430"/>
                    <a:pt x="46" y="16430"/>
                  </a:cubicBezTo>
                  <a:cubicBezTo>
                    <a:pt x="4" y="16476"/>
                    <a:pt x="4" y="16476"/>
                    <a:pt x="4" y="16476"/>
                  </a:cubicBezTo>
                  <a:lnTo>
                    <a:pt x="4" y="16455"/>
                  </a:lnTo>
                  <a:close/>
                  <a:moveTo>
                    <a:pt x="10539" y="213"/>
                  </a:moveTo>
                  <a:cubicBezTo>
                    <a:pt x="10519" y="0"/>
                    <a:pt x="10519" y="0"/>
                    <a:pt x="10519" y="0"/>
                  </a:cubicBezTo>
                  <a:cubicBezTo>
                    <a:pt x="10533" y="0"/>
                    <a:pt x="10533" y="0"/>
                    <a:pt x="10533" y="0"/>
                  </a:cubicBezTo>
                  <a:cubicBezTo>
                    <a:pt x="10553" y="211"/>
                    <a:pt x="10553" y="211"/>
                    <a:pt x="10553" y="211"/>
                  </a:cubicBezTo>
                  <a:lnTo>
                    <a:pt x="10539" y="213"/>
                  </a:lnTo>
                  <a:close/>
                  <a:moveTo>
                    <a:pt x="4358" y="14296"/>
                  </a:moveTo>
                  <a:cubicBezTo>
                    <a:pt x="4358" y="14296"/>
                    <a:pt x="4358" y="14296"/>
                    <a:pt x="4358" y="14296"/>
                  </a:cubicBezTo>
                  <a:cubicBezTo>
                    <a:pt x="4358" y="14295"/>
                    <a:pt x="4358" y="14295"/>
                    <a:pt x="4358" y="14295"/>
                  </a:cubicBezTo>
                  <a:lnTo>
                    <a:pt x="4358" y="14296"/>
                  </a:lnTo>
                  <a:close/>
                  <a:moveTo>
                    <a:pt x="481" y="14602"/>
                  </a:moveTo>
                  <a:cubicBezTo>
                    <a:pt x="481" y="14602"/>
                    <a:pt x="481" y="14602"/>
                    <a:pt x="481" y="14602"/>
                  </a:cubicBezTo>
                  <a:cubicBezTo>
                    <a:pt x="481" y="14602"/>
                    <a:pt x="481" y="14602"/>
                    <a:pt x="481" y="14602"/>
                  </a:cubicBezTo>
                  <a:close/>
                </a:path>
              </a:pathLst>
            </a:custGeom>
            <a:gradFill>
              <a:gsLst>
                <a:gs pos="40000">
                  <a:srgbClr val="FFFFFF"/>
                </a:gs>
                <a:gs pos="100000">
                  <a:srgbClr val="B0AAB2"/>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15" name="Wit">
              <a:extLst>
                <a:ext uri="{FF2B5EF4-FFF2-40B4-BE49-F238E27FC236}">
                  <a16:creationId xmlns:a16="http://schemas.microsoft.com/office/drawing/2014/main" id="{48D1F9EC-ED9B-4AFB-9AAF-F79802E0F449}"/>
                </a:ext>
              </a:extLst>
            </p:cNvPr>
            <p:cNvSpPr>
              <a:spLocks noSelect="1"/>
            </p:cNvSpPr>
            <p:nvPr userDrawn="1"/>
          </p:nvSpPr>
          <p:spPr bwMode="gray">
            <a:xfrm>
              <a:off x="4079" y="1"/>
              <a:ext cx="3603" cy="4315"/>
            </a:xfrm>
            <a:custGeom>
              <a:avLst/>
              <a:gdLst>
                <a:gd name="T0" fmla="*/ 11592 w 18011"/>
                <a:gd name="T1" fmla="*/ 21032 h 21600"/>
                <a:gd name="T2" fmla="*/ 4580 w 18011"/>
                <a:gd name="T3" fmla="*/ 21600 h 21600"/>
                <a:gd name="T4" fmla="*/ 2355 w 18011"/>
                <a:gd name="T5" fmla="*/ 18261 h 21600"/>
                <a:gd name="T6" fmla="*/ 6418 w 18011"/>
                <a:gd name="T7" fmla="*/ 18456 h 21600"/>
                <a:gd name="T8" fmla="*/ 11965 w 18011"/>
                <a:gd name="T9" fmla="*/ 18643 h 21600"/>
                <a:gd name="T10" fmla="*/ 3130 w 18011"/>
                <a:gd name="T11" fmla="*/ 19682 h 21600"/>
                <a:gd name="T12" fmla="*/ 4466 w 18011"/>
                <a:gd name="T13" fmla="*/ 19921 h 21600"/>
                <a:gd name="T14" fmla="*/ 7193 w 18011"/>
                <a:gd name="T15" fmla="*/ 19942 h 21600"/>
                <a:gd name="T16" fmla="*/ 9923 w 18011"/>
                <a:gd name="T17" fmla="*/ 20256 h 21600"/>
                <a:gd name="T18" fmla="*/ 555 w 18011"/>
                <a:gd name="T19" fmla="*/ 9449 h 21600"/>
                <a:gd name="T20" fmla="*/ 15983 w 18011"/>
                <a:gd name="T21" fmla="*/ 4559 h 21600"/>
                <a:gd name="T22" fmla="*/ 15078 w 18011"/>
                <a:gd name="T23" fmla="*/ 10886 h 21600"/>
                <a:gd name="T24" fmla="*/ 13685 w 18011"/>
                <a:gd name="T25" fmla="*/ 16424 h 21600"/>
                <a:gd name="T26" fmla="*/ 7659 w 18011"/>
                <a:gd name="T27" fmla="*/ 18002 h 21600"/>
                <a:gd name="T28" fmla="*/ 1565 w 18011"/>
                <a:gd name="T29" fmla="*/ 18000 h 21600"/>
                <a:gd name="T30" fmla="*/ 1241 w 18011"/>
                <a:gd name="T31" fmla="*/ 15804 h 21600"/>
                <a:gd name="T32" fmla="*/ 297 w 18011"/>
                <a:gd name="T33" fmla="*/ 12959 h 21600"/>
                <a:gd name="T34" fmla="*/ 32 w 18011"/>
                <a:gd name="T35" fmla="*/ 10923 h 21600"/>
                <a:gd name="T36" fmla="*/ 1999 w 18011"/>
                <a:gd name="T37" fmla="*/ 11727 h 21600"/>
                <a:gd name="T38" fmla="*/ 2504 w 18011"/>
                <a:gd name="T39" fmla="*/ 7951 h 21600"/>
                <a:gd name="T40" fmla="*/ 107 w 18011"/>
                <a:gd name="T41" fmla="*/ 9324 h 21600"/>
                <a:gd name="T42" fmla="*/ 1054 w 18011"/>
                <a:gd name="T43" fmla="*/ 7261 h 21600"/>
                <a:gd name="T44" fmla="*/ 677 w 18011"/>
                <a:gd name="T45" fmla="*/ 1813 h 21600"/>
                <a:gd name="T46" fmla="*/ 5950 w 18011"/>
                <a:gd name="T47" fmla="*/ 180 h 21600"/>
                <a:gd name="T48" fmla="*/ 11347 w 18011"/>
                <a:gd name="T49" fmla="*/ 1421 h 21600"/>
                <a:gd name="T50" fmla="*/ 14990 w 18011"/>
                <a:gd name="T51" fmla="*/ 687 h 21600"/>
                <a:gd name="T52" fmla="*/ 13110 w 18011"/>
                <a:gd name="T53" fmla="*/ 4749 h 21600"/>
                <a:gd name="T54" fmla="*/ 11915 w 18011"/>
                <a:gd name="T55" fmla="*/ 10314 h 21600"/>
                <a:gd name="T56" fmla="*/ 12812 w 18011"/>
                <a:gd name="T57" fmla="*/ 13672 h 21600"/>
                <a:gd name="T58" fmla="*/ 6854 w 18011"/>
                <a:gd name="T59" fmla="*/ 13836 h 21600"/>
                <a:gd name="T60" fmla="*/ 4965 w 18011"/>
                <a:gd name="T61" fmla="*/ 14020 h 21600"/>
                <a:gd name="T62" fmla="*/ 1623 w 18011"/>
                <a:gd name="T63" fmla="*/ 13335 h 21600"/>
                <a:gd name="T64" fmla="*/ 2509 w 18011"/>
                <a:gd name="T65" fmla="*/ 11727 h 21600"/>
                <a:gd name="T66" fmla="*/ 4222 w 18011"/>
                <a:gd name="T67" fmla="*/ 12082 h 21600"/>
                <a:gd name="T68" fmla="*/ 6013 w 18011"/>
                <a:gd name="T69" fmla="*/ 2729 h 21600"/>
                <a:gd name="T70" fmla="*/ 8089 w 18011"/>
                <a:gd name="T71" fmla="*/ 4922 h 21600"/>
                <a:gd name="T72" fmla="*/ 8607 w 18011"/>
                <a:gd name="T73" fmla="*/ 7852 h 21600"/>
                <a:gd name="T74" fmla="*/ 4242 w 18011"/>
                <a:gd name="T75" fmla="*/ 12083 h 21600"/>
                <a:gd name="T76" fmla="*/ 3965 w 18011"/>
                <a:gd name="T77" fmla="*/ 11081 h 21600"/>
                <a:gd name="T78" fmla="*/ 5985 w 18011"/>
                <a:gd name="T79" fmla="*/ 11398 h 21600"/>
                <a:gd name="T80" fmla="*/ 8090 w 18011"/>
                <a:gd name="T81" fmla="*/ 8114 h 21600"/>
                <a:gd name="T82" fmla="*/ 4197 w 18011"/>
                <a:gd name="T83" fmla="*/ 9277 h 21600"/>
                <a:gd name="T84" fmla="*/ 9437 w 18011"/>
                <a:gd name="T85" fmla="*/ 12119 h 21600"/>
                <a:gd name="T86" fmla="*/ 10040 w 18011"/>
                <a:gd name="T87" fmla="*/ 6750 h 21600"/>
                <a:gd name="T88" fmla="*/ 12821 w 18011"/>
                <a:gd name="T89" fmla="*/ 792 h 21600"/>
                <a:gd name="T90" fmla="*/ 7788 w 18011"/>
                <a:gd name="T91" fmla="*/ 1156 h 21600"/>
                <a:gd name="T92" fmla="*/ 4281 w 18011"/>
                <a:gd name="T93" fmla="*/ 3554 h 21600"/>
                <a:gd name="T94" fmla="*/ 1291 w 18011"/>
                <a:gd name="T95" fmla="*/ 4143 h 21600"/>
                <a:gd name="T96" fmla="*/ 3005 w 18011"/>
                <a:gd name="T97" fmla="*/ 6542 h 21600"/>
                <a:gd name="T98" fmla="*/ 4069 w 18011"/>
                <a:gd name="T99" fmla="*/ 8038 h 21600"/>
                <a:gd name="T100" fmla="*/ 4346 w 18011"/>
                <a:gd name="T101" fmla="*/ 8168 h 21600"/>
                <a:gd name="T102" fmla="*/ 2899 w 18011"/>
                <a:gd name="T103" fmla="*/ 10798 h 21600"/>
                <a:gd name="T104" fmla="*/ 1345 w 18011"/>
                <a:gd name="T105" fmla="*/ 11012 h 21600"/>
                <a:gd name="T106" fmla="*/ 861 w 18011"/>
                <a:gd name="T107" fmla="*/ 12038 h 21600"/>
                <a:gd name="T108" fmla="*/ 643 w 18011"/>
                <a:gd name="T109" fmla="*/ 13723 h 21600"/>
                <a:gd name="T110" fmla="*/ 718 w 18011"/>
                <a:gd name="T111" fmla="*/ 14568 h 21600"/>
                <a:gd name="T112" fmla="*/ 3379 w 18011"/>
                <a:gd name="T113" fmla="*/ 16783 h 21600"/>
                <a:gd name="T114" fmla="*/ 6244 w 18011"/>
                <a:gd name="T115" fmla="*/ 16650 h 21600"/>
                <a:gd name="T116" fmla="*/ 14863 w 18011"/>
                <a:gd name="T117" fmla="*/ 14353 h 21600"/>
                <a:gd name="T118" fmla="*/ 11707 w 18011"/>
                <a:gd name="T119" fmla="*/ 12794 h 21600"/>
                <a:gd name="T120" fmla="*/ 8749 w 18011"/>
                <a:gd name="T121" fmla="*/ 13692 h 21600"/>
                <a:gd name="T122" fmla="*/ 13339 w 18011"/>
                <a:gd name="T123" fmla="*/ 9606 h 21600"/>
                <a:gd name="T124" fmla="*/ 12534 w 18011"/>
                <a:gd name="T125" fmla="*/ 3006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11" h="21600">
                  <a:moveTo>
                    <a:pt x="105" y="18543"/>
                  </a:moveTo>
                  <a:cubicBezTo>
                    <a:pt x="71" y="18555"/>
                    <a:pt x="39" y="18566"/>
                    <a:pt x="7" y="18577"/>
                  </a:cubicBezTo>
                  <a:cubicBezTo>
                    <a:pt x="7" y="18549"/>
                    <a:pt x="7" y="18549"/>
                    <a:pt x="7" y="18549"/>
                  </a:cubicBezTo>
                  <a:cubicBezTo>
                    <a:pt x="36" y="18539"/>
                    <a:pt x="65" y="18529"/>
                    <a:pt x="96" y="18518"/>
                  </a:cubicBezTo>
                  <a:cubicBezTo>
                    <a:pt x="347" y="18430"/>
                    <a:pt x="394" y="18327"/>
                    <a:pt x="396" y="18146"/>
                  </a:cubicBezTo>
                  <a:cubicBezTo>
                    <a:pt x="396" y="18102"/>
                    <a:pt x="393" y="18053"/>
                    <a:pt x="389" y="18000"/>
                  </a:cubicBezTo>
                  <a:cubicBezTo>
                    <a:pt x="415" y="18000"/>
                    <a:pt x="415" y="18000"/>
                    <a:pt x="415" y="18000"/>
                  </a:cubicBezTo>
                  <a:cubicBezTo>
                    <a:pt x="419" y="18053"/>
                    <a:pt x="422" y="18101"/>
                    <a:pt x="422" y="18146"/>
                  </a:cubicBezTo>
                  <a:cubicBezTo>
                    <a:pt x="424" y="18333"/>
                    <a:pt x="361" y="18457"/>
                    <a:pt x="105" y="18543"/>
                  </a:cubicBezTo>
                  <a:close/>
                  <a:moveTo>
                    <a:pt x="18011" y="19930"/>
                  </a:moveTo>
                  <a:cubicBezTo>
                    <a:pt x="17783" y="20116"/>
                    <a:pt x="17548" y="20305"/>
                    <a:pt x="17462" y="20374"/>
                  </a:cubicBezTo>
                  <a:cubicBezTo>
                    <a:pt x="17585" y="20498"/>
                    <a:pt x="17760" y="20645"/>
                    <a:pt x="18011" y="20758"/>
                  </a:cubicBezTo>
                  <a:cubicBezTo>
                    <a:pt x="18011" y="20797"/>
                    <a:pt x="18011" y="20797"/>
                    <a:pt x="18011" y="20797"/>
                  </a:cubicBezTo>
                  <a:cubicBezTo>
                    <a:pt x="17746" y="20681"/>
                    <a:pt x="17561" y="20525"/>
                    <a:pt x="17433" y="20397"/>
                  </a:cubicBezTo>
                  <a:cubicBezTo>
                    <a:pt x="17429" y="20400"/>
                    <a:pt x="17427" y="20402"/>
                    <a:pt x="17427" y="20402"/>
                  </a:cubicBezTo>
                  <a:cubicBezTo>
                    <a:pt x="17427" y="20402"/>
                    <a:pt x="17401" y="20425"/>
                    <a:pt x="17360" y="20465"/>
                  </a:cubicBezTo>
                  <a:cubicBezTo>
                    <a:pt x="17236" y="20583"/>
                    <a:pt x="16982" y="20852"/>
                    <a:pt x="16927" y="21070"/>
                  </a:cubicBezTo>
                  <a:cubicBezTo>
                    <a:pt x="16889" y="21218"/>
                    <a:pt x="16894" y="21344"/>
                    <a:pt x="16862" y="21468"/>
                  </a:cubicBezTo>
                  <a:cubicBezTo>
                    <a:pt x="16851" y="21512"/>
                    <a:pt x="16835" y="21556"/>
                    <a:pt x="16810" y="21600"/>
                  </a:cubicBezTo>
                  <a:cubicBezTo>
                    <a:pt x="16768" y="21600"/>
                    <a:pt x="16768" y="21600"/>
                    <a:pt x="16768" y="21600"/>
                  </a:cubicBezTo>
                  <a:cubicBezTo>
                    <a:pt x="16797" y="21553"/>
                    <a:pt x="16815" y="21507"/>
                    <a:pt x="16827" y="21459"/>
                  </a:cubicBezTo>
                  <a:cubicBezTo>
                    <a:pt x="16857" y="21342"/>
                    <a:pt x="16853" y="21215"/>
                    <a:pt x="16892" y="21061"/>
                  </a:cubicBezTo>
                  <a:cubicBezTo>
                    <a:pt x="16973" y="20749"/>
                    <a:pt x="17403" y="20376"/>
                    <a:pt x="17404" y="20375"/>
                  </a:cubicBezTo>
                  <a:cubicBezTo>
                    <a:pt x="17404" y="20375"/>
                    <a:pt x="17405" y="20373"/>
                    <a:pt x="17408" y="20371"/>
                  </a:cubicBezTo>
                  <a:cubicBezTo>
                    <a:pt x="17354" y="20315"/>
                    <a:pt x="17310" y="20266"/>
                    <a:pt x="17276" y="20229"/>
                  </a:cubicBezTo>
                  <a:cubicBezTo>
                    <a:pt x="17275" y="20229"/>
                    <a:pt x="17246" y="20195"/>
                    <a:pt x="17193" y="20138"/>
                  </a:cubicBezTo>
                  <a:cubicBezTo>
                    <a:pt x="17032" y="19968"/>
                    <a:pt x="16651" y="19591"/>
                    <a:pt x="16182" y="19314"/>
                  </a:cubicBezTo>
                  <a:cubicBezTo>
                    <a:pt x="15992" y="19202"/>
                    <a:pt x="15754" y="19060"/>
                    <a:pt x="15515" y="18933"/>
                  </a:cubicBezTo>
                  <a:cubicBezTo>
                    <a:pt x="15243" y="18788"/>
                    <a:pt x="14969" y="18650"/>
                    <a:pt x="14763" y="18548"/>
                  </a:cubicBezTo>
                  <a:cubicBezTo>
                    <a:pt x="14661" y="18497"/>
                    <a:pt x="14575" y="18455"/>
                    <a:pt x="14515" y="18425"/>
                  </a:cubicBezTo>
                  <a:cubicBezTo>
                    <a:pt x="14485" y="18410"/>
                    <a:pt x="14461" y="18398"/>
                    <a:pt x="14445" y="18390"/>
                  </a:cubicBezTo>
                  <a:cubicBezTo>
                    <a:pt x="14437" y="18386"/>
                    <a:pt x="14430" y="18382"/>
                    <a:pt x="14426" y="18380"/>
                  </a:cubicBezTo>
                  <a:cubicBezTo>
                    <a:pt x="14424" y="18379"/>
                    <a:pt x="14423" y="18378"/>
                    <a:pt x="14422" y="18378"/>
                  </a:cubicBezTo>
                  <a:cubicBezTo>
                    <a:pt x="13967" y="18328"/>
                    <a:pt x="13967" y="18328"/>
                    <a:pt x="13967" y="18328"/>
                  </a:cubicBezTo>
                  <a:cubicBezTo>
                    <a:pt x="13261" y="20358"/>
                    <a:pt x="13261" y="20358"/>
                    <a:pt x="13261" y="20358"/>
                  </a:cubicBezTo>
                  <a:cubicBezTo>
                    <a:pt x="13264" y="20361"/>
                    <a:pt x="13267" y="20365"/>
                    <a:pt x="13271" y="20369"/>
                  </a:cubicBezTo>
                  <a:cubicBezTo>
                    <a:pt x="13339" y="20407"/>
                    <a:pt x="13430" y="20475"/>
                    <a:pt x="13493" y="20583"/>
                  </a:cubicBezTo>
                  <a:cubicBezTo>
                    <a:pt x="13600" y="20767"/>
                    <a:pt x="13638" y="20829"/>
                    <a:pt x="13844" y="20923"/>
                  </a:cubicBezTo>
                  <a:cubicBezTo>
                    <a:pt x="14051" y="21016"/>
                    <a:pt x="15276" y="21531"/>
                    <a:pt x="15296" y="21539"/>
                  </a:cubicBezTo>
                  <a:cubicBezTo>
                    <a:pt x="15303" y="21542"/>
                    <a:pt x="15309" y="21546"/>
                    <a:pt x="15323" y="21555"/>
                  </a:cubicBezTo>
                  <a:cubicBezTo>
                    <a:pt x="15338" y="21566"/>
                    <a:pt x="15360" y="21582"/>
                    <a:pt x="15386" y="21600"/>
                  </a:cubicBezTo>
                  <a:cubicBezTo>
                    <a:pt x="15324" y="21600"/>
                    <a:pt x="15324" y="21600"/>
                    <a:pt x="15324" y="21600"/>
                  </a:cubicBezTo>
                  <a:cubicBezTo>
                    <a:pt x="15315" y="21594"/>
                    <a:pt x="15306" y="21588"/>
                    <a:pt x="15300" y="21583"/>
                  </a:cubicBezTo>
                  <a:cubicBezTo>
                    <a:pt x="15295" y="21580"/>
                    <a:pt x="15290" y="21577"/>
                    <a:pt x="15287" y="21575"/>
                  </a:cubicBezTo>
                  <a:cubicBezTo>
                    <a:pt x="15285" y="21574"/>
                    <a:pt x="15284" y="21573"/>
                    <a:pt x="15283" y="21572"/>
                  </a:cubicBezTo>
                  <a:cubicBezTo>
                    <a:pt x="15283" y="21572"/>
                    <a:pt x="15283" y="21572"/>
                    <a:pt x="15282" y="21572"/>
                  </a:cubicBezTo>
                  <a:cubicBezTo>
                    <a:pt x="15252" y="21560"/>
                    <a:pt x="14038" y="21049"/>
                    <a:pt x="13829" y="20956"/>
                  </a:cubicBezTo>
                  <a:cubicBezTo>
                    <a:pt x="13619" y="20862"/>
                    <a:pt x="13567" y="20785"/>
                    <a:pt x="13462" y="20601"/>
                  </a:cubicBezTo>
                  <a:cubicBezTo>
                    <a:pt x="13411" y="20513"/>
                    <a:pt x="13338" y="20452"/>
                    <a:pt x="13277" y="20414"/>
                  </a:cubicBezTo>
                  <a:cubicBezTo>
                    <a:pt x="13269" y="20409"/>
                    <a:pt x="13260" y="20404"/>
                    <a:pt x="13252" y="20399"/>
                  </a:cubicBezTo>
                  <a:cubicBezTo>
                    <a:pt x="13245" y="20397"/>
                    <a:pt x="13245" y="20397"/>
                    <a:pt x="13245" y="20397"/>
                  </a:cubicBezTo>
                  <a:cubicBezTo>
                    <a:pt x="13195" y="20503"/>
                    <a:pt x="12952" y="21022"/>
                    <a:pt x="12678" y="21593"/>
                  </a:cubicBezTo>
                  <a:cubicBezTo>
                    <a:pt x="12688" y="21600"/>
                    <a:pt x="12688" y="21600"/>
                    <a:pt x="12688" y="21600"/>
                  </a:cubicBezTo>
                  <a:cubicBezTo>
                    <a:pt x="12674" y="21600"/>
                    <a:pt x="12674" y="21600"/>
                    <a:pt x="12674" y="21600"/>
                  </a:cubicBezTo>
                  <a:cubicBezTo>
                    <a:pt x="12547" y="21600"/>
                    <a:pt x="12547" y="21600"/>
                    <a:pt x="12547" y="21600"/>
                  </a:cubicBezTo>
                  <a:cubicBezTo>
                    <a:pt x="12479" y="21600"/>
                    <a:pt x="12479" y="21600"/>
                    <a:pt x="12479" y="21600"/>
                  </a:cubicBezTo>
                  <a:cubicBezTo>
                    <a:pt x="11592" y="21032"/>
                    <a:pt x="11592" y="21032"/>
                    <a:pt x="11592" y="21032"/>
                  </a:cubicBezTo>
                  <a:cubicBezTo>
                    <a:pt x="11447" y="20939"/>
                    <a:pt x="10874" y="20619"/>
                    <a:pt x="10724" y="20552"/>
                  </a:cubicBezTo>
                  <a:cubicBezTo>
                    <a:pt x="10651" y="20519"/>
                    <a:pt x="10574" y="20497"/>
                    <a:pt x="10515" y="20485"/>
                  </a:cubicBezTo>
                  <a:cubicBezTo>
                    <a:pt x="10486" y="20478"/>
                    <a:pt x="10462" y="20474"/>
                    <a:pt x="10445" y="20471"/>
                  </a:cubicBezTo>
                  <a:cubicBezTo>
                    <a:pt x="10428" y="20468"/>
                    <a:pt x="10419" y="20468"/>
                    <a:pt x="10419" y="20467"/>
                  </a:cubicBezTo>
                  <a:cubicBezTo>
                    <a:pt x="10418" y="20467"/>
                    <a:pt x="10418" y="20467"/>
                    <a:pt x="10418" y="20467"/>
                  </a:cubicBezTo>
                  <a:cubicBezTo>
                    <a:pt x="10417" y="20467"/>
                    <a:pt x="10417" y="20467"/>
                    <a:pt x="10417" y="20467"/>
                  </a:cubicBezTo>
                  <a:cubicBezTo>
                    <a:pt x="10416" y="20467"/>
                    <a:pt x="10263" y="20444"/>
                    <a:pt x="10032" y="20410"/>
                  </a:cubicBezTo>
                  <a:cubicBezTo>
                    <a:pt x="9338" y="20307"/>
                    <a:pt x="7939" y="20098"/>
                    <a:pt x="7874" y="20089"/>
                  </a:cubicBezTo>
                  <a:cubicBezTo>
                    <a:pt x="7843" y="20085"/>
                    <a:pt x="7807" y="20082"/>
                    <a:pt x="7775" y="20080"/>
                  </a:cubicBezTo>
                  <a:cubicBezTo>
                    <a:pt x="7768" y="20098"/>
                    <a:pt x="7768" y="20098"/>
                    <a:pt x="7768" y="20098"/>
                  </a:cubicBezTo>
                  <a:cubicBezTo>
                    <a:pt x="7468" y="21457"/>
                    <a:pt x="7468" y="21457"/>
                    <a:pt x="7468" y="21457"/>
                  </a:cubicBezTo>
                  <a:cubicBezTo>
                    <a:pt x="7468" y="21458"/>
                    <a:pt x="7468" y="21459"/>
                    <a:pt x="7467" y="21463"/>
                  </a:cubicBezTo>
                  <a:cubicBezTo>
                    <a:pt x="7467" y="21466"/>
                    <a:pt x="7466" y="21472"/>
                    <a:pt x="7466" y="21479"/>
                  </a:cubicBezTo>
                  <a:cubicBezTo>
                    <a:pt x="7466" y="21503"/>
                    <a:pt x="7472" y="21542"/>
                    <a:pt x="7508" y="21581"/>
                  </a:cubicBezTo>
                  <a:cubicBezTo>
                    <a:pt x="7514" y="21588"/>
                    <a:pt x="7521" y="21594"/>
                    <a:pt x="7529" y="21600"/>
                  </a:cubicBezTo>
                  <a:cubicBezTo>
                    <a:pt x="7477" y="21600"/>
                    <a:pt x="7477" y="21600"/>
                    <a:pt x="7477" y="21600"/>
                  </a:cubicBezTo>
                  <a:cubicBezTo>
                    <a:pt x="7438" y="21555"/>
                    <a:pt x="7430" y="21508"/>
                    <a:pt x="7430" y="21479"/>
                  </a:cubicBezTo>
                  <a:cubicBezTo>
                    <a:pt x="7430" y="21461"/>
                    <a:pt x="7433" y="21450"/>
                    <a:pt x="7433" y="21449"/>
                  </a:cubicBezTo>
                  <a:cubicBezTo>
                    <a:pt x="7734" y="20088"/>
                    <a:pt x="7734" y="20088"/>
                    <a:pt x="7734" y="20088"/>
                  </a:cubicBezTo>
                  <a:cubicBezTo>
                    <a:pt x="7734" y="20077"/>
                    <a:pt x="7734" y="20077"/>
                    <a:pt x="7734" y="20077"/>
                  </a:cubicBezTo>
                  <a:cubicBezTo>
                    <a:pt x="7721" y="20076"/>
                    <a:pt x="7709" y="20076"/>
                    <a:pt x="7701" y="20075"/>
                  </a:cubicBezTo>
                  <a:cubicBezTo>
                    <a:pt x="7695" y="20075"/>
                    <a:pt x="7690" y="20075"/>
                    <a:pt x="7687" y="20075"/>
                  </a:cubicBezTo>
                  <a:cubicBezTo>
                    <a:pt x="7686" y="20075"/>
                    <a:pt x="7684" y="20075"/>
                    <a:pt x="7683" y="20075"/>
                  </a:cubicBezTo>
                  <a:cubicBezTo>
                    <a:pt x="7683" y="20075"/>
                    <a:pt x="7682" y="20075"/>
                    <a:pt x="7681" y="20075"/>
                  </a:cubicBezTo>
                  <a:cubicBezTo>
                    <a:pt x="7681" y="20075"/>
                    <a:pt x="7681" y="20075"/>
                    <a:pt x="7680" y="20074"/>
                  </a:cubicBezTo>
                  <a:cubicBezTo>
                    <a:pt x="7642" y="20073"/>
                    <a:pt x="7283" y="20060"/>
                    <a:pt x="6882" y="20046"/>
                  </a:cubicBezTo>
                  <a:cubicBezTo>
                    <a:pt x="6881" y="20048"/>
                    <a:pt x="6880" y="20051"/>
                    <a:pt x="6879" y="20053"/>
                  </a:cubicBezTo>
                  <a:cubicBezTo>
                    <a:pt x="6336" y="21600"/>
                    <a:pt x="6336" y="21600"/>
                    <a:pt x="6336" y="21600"/>
                  </a:cubicBezTo>
                  <a:cubicBezTo>
                    <a:pt x="6308" y="21600"/>
                    <a:pt x="6308" y="21600"/>
                    <a:pt x="6308" y="21600"/>
                  </a:cubicBezTo>
                  <a:cubicBezTo>
                    <a:pt x="6850" y="20057"/>
                    <a:pt x="6850" y="20057"/>
                    <a:pt x="6850" y="20057"/>
                  </a:cubicBezTo>
                  <a:cubicBezTo>
                    <a:pt x="6849" y="20045"/>
                    <a:pt x="6849" y="20045"/>
                    <a:pt x="6849" y="20045"/>
                  </a:cubicBezTo>
                  <a:cubicBezTo>
                    <a:pt x="6365" y="20027"/>
                    <a:pt x="5832" y="20008"/>
                    <a:pt x="5729" y="20005"/>
                  </a:cubicBezTo>
                  <a:cubicBezTo>
                    <a:pt x="5728" y="20008"/>
                    <a:pt x="5727" y="20011"/>
                    <a:pt x="5727" y="20014"/>
                  </a:cubicBezTo>
                  <a:cubicBezTo>
                    <a:pt x="5572" y="21540"/>
                    <a:pt x="5572" y="21540"/>
                    <a:pt x="5572" y="21540"/>
                  </a:cubicBezTo>
                  <a:cubicBezTo>
                    <a:pt x="5579" y="21542"/>
                    <a:pt x="5579" y="21542"/>
                    <a:pt x="5579" y="21542"/>
                  </a:cubicBezTo>
                  <a:cubicBezTo>
                    <a:pt x="5626" y="21551"/>
                    <a:pt x="5785" y="21573"/>
                    <a:pt x="5938" y="21594"/>
                  </a:cubicBezTo>
                  <a:cubicBezTo>
                    <a:pt x="5952" y="21596"/>
                    <a:pt x="5966" y="21598"/>
                    <a:pt x="5980" y="21600"/>
                  </a:cubicBezTo>
                  <a:cubicBezTo>
                    <a:pt x="5790" y="21600"/>
                    <a:pt x="5790" y="21600"/>
                    <a:pt x="5790" y="21600"/>
                  </a:cubicBezTo>
                  <a:cubicBezTo>
                    <a:pt x="5749" y="21595"/>
                    <a:pt x="5711" y="21589"/>
                    <a:pt x="5679" y="21584"/>
                  </a:cubicBezTo>
                  <a:cubicBezTo>
                    <a:pt x="5644" y="21579"/>
                    <a:pt x="5615" y="21575"/>
                    <a:pt x="5594" y="21572"/>
                  </a:cubicBezTo>
                  <a:cubicBezTo>
                    <a:pt x="5587" y="21570"/>
                    <a:pt x="5580" y="21569"/>
                    <a:pt x="5575" y="21568"/>
                  </a:cubicBezTo>
                  <a:cubicBezTo>
                    <a:pt x="5569" y="21568"/>
                    <a:pt x="5569" y="21568"/>
                    <a:pt x="5569" y="21568"/>
                  </a:cubicBezTo>
                  <a:cubicBezTo>
                    <a:pt x="5565" y="21600"/>
                    <a:pt x="5565" y="21600"/>
                    <a:pt x="5565" y="21600"/>
                  </a:cubicBezTo>
                  <a:cubicBezTo>
                    <a:pt x="5529" y="21600"/>
                    <a:pt x="5529" y="21600"/>
                    <a:pt x="5529" y="21600"/>
                  </a:cubicBezTo>
                  <a:cubicBezTo>
                    <a:pt x="5689" y="20029"/>
                    <a:pt x="5689" y="20029"/>
                    <a:pt x="5689" y="20029"/>
                  </a:cubicBezTo>
                  <a:cubicBezTo>
                    <a:pt x="5688" y="20029"/>
                    <a:pt x="5688" y="20029"/>
                    <a:pt x="5688" y="20029"/>
                  </a:cubicBezTo>
                  <a:cubicBezTo>
                    <a:pt x="5687" y="20002"/>
                    <a:pt x="5687" y="20002"/>
                    <a:pt x="5687" y="20002"/>
                  </a:cubicBezTo>
                  <a:cubicBezTo>
                    <a:pt x="5684" y="19998"/>
                    <a:pt x="5684" y="19998"/>
                    <a:pt x="5684" y="19998"/>
                  </a:cubicBezTo>
                  <a:cubicBezTo>
                    <a:pt x="5666" y="19994"/>
                    <a:pt x="5633" y="19986"/>
                    <a:pt x="5592" y="19977"/>
                  </a:cubicBezTo>
                  <a:cubicBezTo>
                    <a:pt x="5460" y="19947"/>
                    <a:pt x="5241" y="19898"/>
                    <a:pt x="5132" y="19873"/>
                  </a:cubicBezTo>
                  <a:cubicBezTo>
                    <a:pt x="5109" y="20051"/>
                    <a:pt x="5018" y="20777"/>
                    <a:pt x="4913" y="21600"/>
                  </a:cubicBezTo>
                  <a:cubicBezTo>
                    <a:pt x="4797" y="21600"/>
                    <a:pt x="4797" y="21600"/>
                    <a:pt x="4797" y="21600"/>
                  </a:cubicBezTo>
                  <a:cubicBezTo>
                    <a:pt x="4852" y="21168"/>
                    <a:pt x="4904" y="20762"/>
                    <a:pt x="4944" y="20447"/>
                  </a:cubicBezTo>
                  <a:cubicBezTo>
                    <a:pt x="4979" y="20170"/>
                    <a:pt x="5005" y="19965"/>
                    <a:pt x="5016" y="19872"/>
                  </a:cubicBezTo>
                  <a:cubicBezTo>
                    <a:pt x="4913" y="19891"/>
                    <a:pt x="4913" y="19891"/>
                    <a:pt x="4913" y="19891"/>
                  </a:cubicBezTo>
                  <a:cubicBezTo>
                    <a:pt x="4695" y="21600"/>
                    <a:pt x="4695" y="21600"/>
                    <a:pt x="4695" y="21600"/>
                  </a:cubicBezTo>
                  <a:cubicBezTo>
                    <a:pt x="4580" y="21600"/>
                    <a:pt x="4580" y="21600"/>
                    <a:pt x="4580" y="21600"/>
                  </a:cubicBezTo>
                  <a:cubicBezTo>
                    <a:pt x="4648" y="21064"/>
                    <a:pt x="4648" y="21064"/>
                    <a:pt x="4648" y="21064"/>
                  </a:cubicBezTo>
                  <a:cubicBezTo>
                    <a:pt x="4644" y="21062"/>
                    <a:pt x="4640" y="21058"/>
                    <a:pt x="4636" y="21055"/>
                  </a:cubicBezTo>
                  <a:cubicBezTo>
                    <a:pt x="4623" y="21049"/>
                    <a:pt x="4605" y="21040"/>
                    <a:pt x="4582" y="21029"/>
                  </a:cubicBezTo>
                  <a:cubicBezTo>
                    <a:pt x="4443" y="20964"/>
                    <a:pt x="4131" y="20833"/>
                    <a:pt x="3866" y="20834"/>
                  </a:cubicBezTo>
                  <a:cubicBezTo>
                    <a:pt x="3852" y="20834"/>
                    <a:pt x="3838" y="20834"/>
                    <a:pt x="3824" y="20835"/>
                  </a:cubicBezTo>
                  <a:cubicBezTo>
                    <a:pt x="3641" y="20845"/>
                    <a:pt x="3514" y="20855"/>
                    <a:pt x="3434" y="20863"/>
                  </a:cubicBezTo>
                  <a:cubicBezTo>
                    <a:pt x="3354" y="20870"/>
                    <a:pt x="3320" y="20875"/>
                    <a:pt x="3320" y="20875"/>
                  </a:cubicBezTo>
                  <a:cubicBezTo>
                    <a:pt x="3314" y="20840"/>
                    <a:pt x="3314" y="20840"/>
                    <a:pt x="3314" y="20840"/>
                  </a:cubicBezTo>
                  <a:cubicBezTo>
                    <a:pt x="3315" y="20840"/>
                    <a:pt x="3454" y="20819"/>
                    <a:pt x="3822" y="20799"/>
                  </a:cubicBezTo>
                  <a:cubicBezTo>
                    <a:pt x="3830" y="20798"/>
                    <a:pt x="3838" y="20798"/>
                    <a:pt x="3846" y="20798"/>
                  </a:cubicBezTo>
                  <a:cubicBezTo>
                    <a:pt x="3757" y="20400"/>
                    <a:pt x="3757" y="20400"/>
                    <a:pt x="3757" y="20400"/>
                  </a:cubicBezTo>
                  <a:cubicBezTo>
                    <a:pt x="3677" y="20413"/>
                    <a:pt x="3609" y="20416"/>
                    <a:pt x="3494" y="20427"/>
                  </a:cubicBezTo>
                  <a:cubicBezTo>
                    <a:pt x="3353" y="20440"/>
                    <a:pt x="3195" y="20453"/>
                    <a:pt x="3072" y="20463"/>
                  </a:cubicBezTo>
                  <a:cubicBezTo>
                    <a:pt x="3010" y="20468"/>
                    <a:pt x="2958" y="20472"/>
                    <a:pt x="2920" y="20475"/>
                  </a:cubicBezTo>
                  <a:cubicBezTo>
                    <a:pt x="2905" y="20476"/>
                    <a:pt x="2892" y="20477"/>
                    <a:pt x="2883" y="20478"/>
                  </a:cubicBezTo>
                  <a:cubicBezTo>
                    <a:pt x="3120" y="21600"/>
                    <a:pt x="3120" y="21600"/>
                    <a:pt x="3120" y="21600"/>
                  </a:cubicBezTo>
                  <a:cubicBezTo>
                    <a:pt x="3083" y="21600"/>
                    <a:pt x="3083" y="21600"/>
                    <a:pt x="3083" y="21600"/>
                  </a:cubicBezTo>
                  <a:cubicBezTo>
                    <a:pt x="3073" y="21554"/>
                    <a:pt x="3073" y="21554"/>
                    <a:pt x="3073" y="21554"/>
                  </a:cubicBezTo>
                  <a:cubicBezTo>
                    <a:pt x="3070" y="21554"/>
                    <a:pt x="3070" y="21554"/>
                    <a:pt x="3070" y="21554"/>
                  </a:cubicBezTo>
                  <a:cubicBezTo>
                    <a:pt x="2197" y="21600"/>
                    <a:pt x="2197" y="21600"/>
                    <a:pt x="2197" y="21600"/>
                  </a:cubicBezTo>
                  <a:cubicBezTo>
                    <a:pt x="1706" y="21600"/>
                    <a:pt x="1706" y="21600"/>
                    <a:pt x="1706" y="21600"/>
                  </a:cubicBezTo>
                  <a:cubicBezTo>
                    <a:pt x="3049" y="21528"/>
                    <a:pt x="3049" y="21528"/>
                    <a:pt x="3049" y="21528"/>
                  </a:cubicBezTo>
                  <a:cubicBezTo>
                    <a:pt x="3067" y="21525"/>
                    <a:pt x="3067" y="21525"/>
                    <a:pt x="3067" y="21525"/>
                  </a:cubicBezTo>
                  <a:cubicBezTo>
                    <a:pt x="2844" y="20471"/>
                    <a:pt x="2844" y="20471"/>
                    <a:pt x="2844" y="20471"/>
                  </a:cubicBezTo>
                  <a:cubicBezTo>
                    <a:pt x="2843" y="20469"/>
                    <a:pt x="2842" y="20466"/>
                    <a:pt x="2842" y="20462"/>
                  </a:cubicBezTo>
                  <a:cubicBezTo>
                    <a:pt x="2842" y="20461"/>
                    <a:pt x="2842" y="20460"/>
                    <a:pt x="2842" y="20459"/>
                  </a:cubicBezTo>
                  <a:cubicBezTo>
                    <a:pt x="2734" y="19946"/>
                    <a:pt x="2734" y="19946"/>
                    <a:pt x="2734" y="19946"/>
                  </a:cubicBezTo>
                  <a:cubicBezTo>
                    <a:pt x="2663" y="19950"/>
                    <a:pt x="2595" y="19951"/>
                    <a:pt x="2555" y="19953"/>
                  </a:cubicBezTo>
                  <a:cubicBezTo>
                    <a:pt x="2549" y="19954"/>
                    <a:pt x="2543" y="19954"/>
                    <a:pt x="2538" y="19954"/>
                  </a:cubicBezTo>
                  <a:cubicBezTo>
                    <a:pt x="2537" y="19954"/>
                    <a:pt x="2537" y="19954"/>
                    <a:pt x="2537" y="19954"/>
                  </a:cubicBezTo>
                  <a:cubicBezTo>
                    <a:pt x="2456" y="19954"/>
                    <a:pt x="2389" y="19924"/>
                    <a:pt x="2362" y="19865"/>
                  </a:cubicBezTo>
                  <a:cubicBezTo>
                    <a:pt x="2351" y="19841"/>
                    <a:pt x="2341" y="19798"/>
                    <a:pt x="2332" y="19752"/>
                  </a:cubicBezTo>
                  <a:cubicBezTo>
                    <a:pt x="773" y="20146"/>
                    <a:pt x="773" y="20146"/>
                    <a:pt x="773" y="20146"/>
                  </a:cubicBezTo>
                  <a:cubicBezTo>
                    <a:pt x="950" y="20534"/>
                    <a:pt x="1163" y="21005"/>
                    <a:pt x="1182" y="21052"/>
                  </a:cubicBezTo>
                  <a:cubicBezTo>
                    <a:pt x="1204" y="21107"/>
                    <a:pt x="1276" y="21369"/>
                    <a:pt x="1329" y="21600"/>
                  </a:cubicBezTo>
                  <a:cubicBezTo>
                    <a:pt x="1292" y="21600"/>
                    <a:pt x="1292" y="21600"/>
                    <a:pt x="1292" y="21600"/>
                  </a:cubicBezTo>
                  <a:cubicBezTo>
                    <a:pt x="1239" y="21372"/>
                    <a:pt x="1169" y="21115"/>
                    <a:pt x="1149" y="21065"/>
                  </a:cubicBezTo>
                  <a:cubicBezTo>
                    <a:pt x="1133" y="21027"/>
                    <a:pt x="971" y="20669"/>
                    <a:pt x="814" y="20322"/>
                  </a:cubicBezTo>
                  <a:cubicBezTo>
                    <a:pt x="735" y="20149"/>
                    <a:pt x="657" y="19978"/>
                    <a:pt x="599" y="19850"/>
                  </a:cubicBezTo>
                  <a:cubicBezTo>
                    <a:pt x="561" y="19766"/>
                    <a:pt x="531" y="19702"/>
                    <a:pt x="516" y="19667"/>
                  </a:cubicBezTo>
                  <a:cubicBezTo>
                    <a:pt x="505" y="19655"/>
                    <a:pt x="505" y="19655"/>
                    <a:pt x="505" y="19655"/>
                  </a:cubicBezTo>
                  <a:cubicBezTo>
                    <a:pt x="444" y="19682"/>
                    <a:pt x="405" y="19701"/>
                    <a:pt x="405" y="19701"/>
                  </a:cubicBezTo>
                  <a:cubicBezTo>
                    <a:pt x="405" y="19700"/>
                    <a:pt x="271" y="19765"/>
                    <a:pt x="68" y="19862"/>
                  </a:cubicBezTo>
                  <a:cubicBezTo>
                    <a:pt x="48" y="19872"/>
                    <a:pt x="28" y="19882"/>
                    <a:pt x="7" y="19892"/>
                  </a:cubicBezTo>
                  <a:cubicBezTo>
                    <a:pt x="7" y="19764"/>
                    <a:pt x="7" y="19764"/>
                    <a:pt x="7" y="19764"/>
                  </a:cubicBezTo>
                  <a:cubicBezTo>
                    <a:pt x="216" y="19664"/>
                    <a:pt x="355" y="19597"/>
                    <a:pt x="356" y="19597"/>
                  </a:cubicBezTo>
                  <a:cubicBezTo>
                    <a:pt x="357" y="19596"/>
                    <a:pt x="695" y="19439"/>
                    <a:pt x="931" y="19346"/>
                  </a:cubicBezTo>
                  <a:cubicBezTo>
                    <a:pt x="1048" y="19300"/>
                    <a:pt x="1275" y="19213"/>
                    <a:pt x="1486" y="19127"/>
                  </a:cubicBezTo>
                  <a:cubicBezTo>
                    <a:pt x="1592" y="19083"/>
                    <a:pt x="1693" y="19041"/>
                    <a:pt x="1775" y="19004"/>
                  </a:cubicBezTo>
                  <a:cubicBezTo>
                    <a:pt x="1856" y="18968"/>
                    <a:pt x="1919" y="18935"/>
                    <a:pt x="1937" y="18921"/>
                  </a:cubicBezTo>
                  <a:cubicBezTo>
                    <a:pt x="1957" y="18907"/>
                    <a:pt x="2002" y="18859"/>
                    <a:pt x="2053" y="18801"/>
                  </a:cubicBezTo>
                  <a:cubicBezTo>
                    <a:pt x="2129" y="18713"/>
                    <a:pt x="2222" y="18596"/>
                    <a:pt x="2296" y="18502"/>
                  </a:cubicBezTo>
                  <a:cubicBezTo>
                    <a:pt x="2346" y="18438"/>
                    <a:pt x="2386" y="18385"/>
                    <a:pt x="2407" y="18357"/>
                  </a:cubicBezTo>
                  <a:cubicBezTo>
                    <a:pt x="2407" y="18357"/>
                    <a:pt x="2407" y="18357"/>
                    <a:pt x="2407" y="18357"/>
                  </a:cubicBezTo>
                  <a:cubicBezTo>
                    <a:pt x="2407" y="18357"/>
                    <a:pt x="2409" y="18355"/>
                    <a:pt x="2412" y="18352"/>
                  </a:cubicBezTo>
                  <a:cubicBezTo>
                    <a:pt x="2415" y="18347"/>
                    <a:pt x="2418" y="18343"/>
                    <a:pt x="2420" y="18340"/>
                  </a:cubicBezTo>
                  <a:cubicBezTo>
                    <a:pt x="2395" y="18317"/>
                    <a:pt x="2373" y="18291"/>
                    <a:pt x="2355" y="18261"/>
                  </a:cubicBezTo>
                  <a:cubicBezTo>
                    <a:pt x="2353" y="18261"/>
                    <a:pt x="2350" y="18261"/>
                    <a:pt x="2347" y="18260"/>
                  </a:cubicBezTo>
                  <a:cubicBezTo>
                    <a:pt x="2346" y="18262"/>
                    <a:pt x="2346" y="18262"/>
                    <a:pt x="2346" y="18262"/>
                  </a:cubicBezTo>
                  <a:cubicBezTo>
                    <a:pt x="2342" y="18261"/>
                    <a:pt x="1818" y="18184"/>
                    <a:pt x="1633" y="18141"/>
                  </a:cubicBezTo>
                  <a:cubicBezTo>
                    <a:pt x="1503" y="18110"/>
                    <a:pt x="1403" y="18059"/>
                    <a:pt x="1302" y="18000"/>
                  </a:cubicBezTo>
                  <a:cubicBezTo>
                    <a:pt x="1565" y="18000"/>
                    <a:pt x="1565" y="18000"/>
                    <a:pt x="1565" y="18000"/>
                  </a:cubicBezTo>
                  <a:cubicBezTo>
                    <a:pt x="1595" y="18011"/>
                    <a:pt x="1626" y="18021"/>
                    <a:pt x="1659" y="18029"/>
                  </a:cubicBezTo>
                  <a:cubicBezTo>
                    <a:pt x="1745" y="18049"/>
                    <a:pt x="1923" y="18080"/>
                    <a:pt x="2077" y="18104"/>
                  </a:cubicBezTo>
                  <a:cubicBezTo>
                    <a:pt x="2161" y="18118"/>
                    <a:pt x="2238" y="18129"/>
                    <a:pt x="2291" y="18137"/>
                  </a:cubicBezTo>
                  <a:cubicBezTo>
                    <a:pt x="2293" y="18138"/>
                    <a:pt x="2302" y="18139"/>
                    <a:pt x="2310" y="18140"/>
                  </a:cubicBezTo>
                  <a:cubicBezTo>
                    <a:pt x="2307" y="18121"/>
                    <a:pt x="2305" y="18103"/>
                    <a:pt x="2305" y="18083"/>
                  </a:cubicBezTo>
                  <a:cubicBezTo>
                    <a:pt x="2305" y="18055"/>
                    <a:pt x="2309" y="18027"/>
                    <a:pt x="2316" y="18000"/>
                  </a:cubicBezTo>
                  <a:cubicBezTo>
                    <a:pt x="2442" y="18000"/>
                    <a:pt x="2442" y="18000"/>
                    <a:pt x="2442" y="18000"/>
                  </a:cubicBezTo>
                  <a:cubicBezTo>
                    <a:pt x="2431" y="18026"/>
                    <a:pt x="2426" y="18054"/>
                    <a:pt x="2426" y="18083"/>
                  </a:cubicBezTo>
                  <a:cubicBezTo>
                    <a:pt x="2426" y="18207"/>
                    <a:pt x="2526" y="18308"/>
                    <a:pt x="2651" y="18308"/>
                  </a:cubicBezTo>
                  <a:cubicBezTo>
                    <a:pt x="2775" y="18308"/>
                    <a:pt x="2876" y="18207"/>
                    <a:pt x="2876" y="18083"/>
                  </a:cubicBezTo>
                  <a:cubicBezTo>
                    <a:pt x="2876" y="18054"/>
                    <a:pt x="2870" y="18026"/>
                    <a:pt x="2860" y="18000"/>
                  </a:cubicBezTo>
                  <a:cubicBezTo>
                    <a:pt x="2986" y="18000"/>
                    <a:pt x="2986" y="18000"/>
                    <a:pt x="2986" y="18000"/>
                  </a:cubicBezTo>
                  <a:cubicBezTo>
                    <a:pt x="2992" y="18027"/>
                    <a:pt x="2996" y="18055"/>
                    <a:pt x="2996" y="18083"/>
                  </a:cubicBezTo>
                  <a:cubicBezTo>
                    <a:pt x="2996" y="18088"/>
                    <a:pt x="2996" y="18093"/>
                    <a:pt x="2995" y="18098"/>
                  </a:cubicBezTo>
                  <a:cubicBezTo>
                    <a:pt x="2998" y="18099"/>
                    <a:pt x="3001" y="18101"/>
                    <a:pt x="3003" y="18102"/>
                  </a:cubicBezTo>
                  <a:cubicBezTo>
                    <a:pt x="3003" y="18102"/>
                    <a:pt x="3003" y="18102"/>
                    <a:pt x="3003" y="18102"/>
                  </a:cubicBezTo>
                  <a:cubicBezTo>
                    <a:pt x="3003" y="18102"/>
                    <a:pt x="3003" y="18102"/>
                    <a:pt x="3003" y="18102"/>
                  </a:cubicBezTo>
                  <a:cubicBezTo>
                    <a:pt x="3003" y="18102"/>
                    <a:pt x="3004" y="18103"/>
                    <a:pt x="3005" y="18103"/>
                  </a:cubicBezTo>
                  <a:cubicBezTo>
                    <a:pt x="3011" y="18106"/>
                    <a:pt x="3016" y="18109"/>
                    <a:pt x="3015" y="18108"/>
                  </a:cubicBezTo>
                  <a:cubicBezTo>
                    <a:pt x="3015" y="18108"/>
                    <a:pt x="3016" y="18109"/>
                    <a:pt x="3016" y="18109"/>
                  </a:cubicBezTo>
                  <a:cubicBezTo>
                    <a:pt x="3052" y="18129"/>
                    <a:pt x="3160" y="18189"/>
                    <a:pt x="3277" y="18260"/>
                  </a:cubicBezTo>
                  <a:cubicBezTo>
                    <a:pt x="3348" y="18304"/>
                    <a:pt x="3423" y="18353"/>
                    <a:pt x="3486" y="18399"/>
                  </a:cubicBezTo>
                  <a:cubicBezTo>
                    <a:pt x="3549" y="18447"/>
                    <a:pt x="3601" y="18490"/>
                    <a:pt x="3632" y="18536"/>
                  </a:cubicBezTo>
                  <a:cubicBezTo>
                    <a:pt x="3723" y="18677"/>
                    <a:pt x="3743" y="18893"/>
                    <a:pt x="3744" y="19000"/>
                  </a:cubicBezTo>
                  <a:cubicBezTo>
                    <a:pt x="3744" y="19013"/>
                    <a:pt x="3744" y="19025"/>
                    <a:pt x="3743" y="19036"/>
                  </a:cubicBezTo>
                  <a:cubicBezTo>
                    <a:pt x="3737" y="19103"/>
                    <a:pt x="3728" y="19280"/>
                    <a:pt x="3726" y="19330"/>
                  </a:cubicBezTo>
                  <a:cubicBezTo>
                    <a:pt x="3749" y="19386"/>
                    <a:pt x="3772" y="19440"/>
                    <a:pt x="3792" y="19486"/>
                  </a:cubicBezTo>
                  <a:cubicBezTo>
                    <a:pt x="3816" y="19542"/>
                    <a:pt x="3837" y="19587"/>
                    <a:pt x="3846" y="19602"/>
                  </a:cubicBezTo>
                  <a:cubicBezTo>
                    <a:pt x="3869" y="19641"/>
                    <a:pt x="3896" y="19687"/>
                    <a:pt x="3924" y="19726"/>
                  </a:cubicBezTo>
                  <a:cubicBezTo>
                    <a:pt x="3951" y="19764"/>
                    <a:pt x="3982" y="19795"/>
                    <a:pt x="3995" y="19801"/>
                  </a:cubicBezTo>
                  <a:cubicBezTo>
                    <a:pt x="4004" y="19806"/>
                    <a:pt x="4029" y="19813"/>
                    <a:pt x="4057" y="19816"/>
                  </a:cubicBezTo>
                  <a:cubicBezTo>
                    <a:pt x="4086" y="19820"/>
                    <a:pt x="4120" y="19822"/>
                    <a:pt x="4151" y="19822"/>
                  </a:cubicBezTo>
                  <a:cubicBezTo>
                    <a:pt x="4174" y="19822"/>
                    <a:pt x="4196" y="19821"/>
                    <a:pt x="4215" y="19820"/>
                  </a:cubicBezTo>
                  <a:cubicBezTo>
                    <a:pt x="4217" y="19816"/>
                    <a:pt x="4218" y="19812"/>
                    <a:pt x="4220" y="19809"/>
                  </a:cubicBezTo>
                  <a:cubicBezTo>
                    <a:pt x="4583" y="18733"/>
                    <a:pt x="4583" y="18733"/>
                    <a:pt x="4583" y="18733"/>
                  </a:cubicBezTo>
                  <a:cubicBezTo>
                    <a:pt x="4264" y="18140"/>
                    <a:pt x="4264" y="18140"/>
                    <a:pt x="4264" y="18140"/>
                  </a:cubicBezTo>
                  <a:cubicBezTo>
                    <a:pt x="4278" y="18000"/>
                    <a:pt x="4278" y="18000"/>
                    <a:pt x="4278" y="18000"/>
                  </a:cubicBezTo>
                  <a:cubicBezTo>
                    <a:pt x="4304" y="18000"/>
                    <a:pt x="4304" y="18000"/>
                    <a:pt x="4304" y="18000"/>
                  </a:cubicBezTo>
                  <a:cubicBezTo>
                    <a:pt x="4291" y="18134"/>
                    <a:pt x="4291" y="18134"/>
                    <a:pt x="4291" y="18134"/>
                  </a:cubicBezTo>
                  <a:cubicBezTo>
                    <a:pt x="4607" y="18722"/>
                    <a:pt x="4607" y="18722"/>
                    <a:pt x="4607" y="18722"/>
                  </a:cubicBezTo>
                  <a:cubicBezTo>
                    <a:pt x="5088" y="19038"/>
                    <a:pt x="5088" y="19038"/>
                    <a:pt x="5088" y="19038"/>
                  </a:cubicBezTo>
                  <a:cubicBezTo>
                    <a:pt x="5093" y="19039"/>
                    <a:pt x="5099" y="19040"/>
                    <a:pt x="5104" y="19041"/>
                  </a:cubicBezTo>
                  <a:cubicBezTo>
                    <a:pt x="5037" y="18459"/>
                    <a:pt x="5037" y="18459"/>
                    <a:pt x="5037" y="18459"/>
                  </a:cubicBezTo>
                  <a:cubicBezTo>
                    <a:pt x="5037" y="18457"/>
                    <a:pt x="5037" y="18457"/>
                    <a:pt x="5037" y="18457"/>
                  </a:cubicBezTo>
                  <a:cubicBezTo>
                    <a:pt x="5037" y="18457"/>
                    <a:pt x="5046" y="18245"/>
                    <a:pt x="5050" y="18000"/>
                  </a:cubicBezTo>
                  <a:cubicBezTo>
                    <a:pt x="5086" y="18000"/>
                    <a:pt x="5086" y="18000"/>
                    <a:pt x="5086" y="18000"/>
                  </a:cubicBezTo>
                  <a:cubicBezTo>
                    <a:pt x="5085" y="18053"/>
                    <a:pt x="5084" y="18104"/>
                    <a:pt x="5083" y="18152"/>
                  </a:cubicBezTo>
                  <a:cubicBezTo>
                    <a:pt x="5084" y="18147"/>
                    <a:pt x="5084" y="18147"/>
                    <a:pt x="5084" y="18147"/>
                  </a:cubicBezTo>
                  <a:cubicBezTo>
                    <a:pt x="5084" y="18147"/>
                    <a:pt x="5084" y="18147"/>
                    <a:pt x="5084" y="18147"/>
                  </a:cubicBezTo>
                  <a:cubicBezTo>
                    <a:pt x="5085" y="18147"/>
                    <a:pt x="5290" y="18202"/>
                    <a:pt x="5515" y="18261"/>
                  </a:cubicBezTo>
                  <a:cubicBezTo>
                    <a:pt x="5739" y="18320"/>
                    <a:pt x="5982" y="18384"/>
                    <a:pt x="6055" y="18400"/>
                  </a:cubicBezTo>
                  <a:cubicBezTo>
                    <a:pt x="6154" y="18422"/>
                    <a:pt x="6263" y="18456"/>
                    <a:pt x="6418" y="18456"/>
                  </a:cubicBezTo>
                  <a:cubicBezTo>
                    <a:pt x="6492" y="18456"/>
                    <a:pt x="6577" y="18447"/>
                    <a:pt x="6675" y="18427"/>
                  </a:cubicBezTo>
                  <a:cubicBezTo>
                    <a:pt x="6682" y="18382"/>
                    <a:pt x="6709" y="18222"/>
                    <a:pt x="6735" y="18061"/>
                  </a:cubicBezTo>
                  <a:cubicBezTo>
                    <a:pt x="6739" y="18041"/>
                    <a:pt x="6742" y="18020"/>
                    <a:pt x="6745" y="18000"/>
                  </a:cubicBezTo>
                  <a:cubicBezTo>
                    <a:pt x="6782" y="18000"/>
                    <a:pt x="6782" y="18000"/>
                    <a:pt x="6782" y="18000"/>
                  </a:cubicBezTo>
                  <a:cubicBezTo>
                    <a:pt x="6777" y="18027"/>
                    <a:pt x="6773" y="18053"/>
                    <a:pt x="6769" y="18080"/>
                  </a:cubicBezTo>
                  <a:cubicBezTo>
                    <a:pt x="6741" y="18248"/>
                    <a:pt x="6714" y="18411"/>
                    <a:pt x="6710" y="18440"/>
                  </a:cubicBezTo>
                  <a:cubicBezTo>
                    <a:pt x="7232" y="19931"/>
                    <a:pt x="7232" y="19931"/>
                    <a:pt x="7232" y="19931"/>
                  </a:cubicBezTo>
                  <a:cubicBezTo>
                    <a:pt x="7239" y="19944"/>
                    <a:pt x="7239" y="19944"/>
                    <a:pt x="7239" y="19944"/>
                  </a:cubicBezTo>
                  <a:cubicBezTo>
                    <a:pt x="7289" y="19945"/>
                    <a:pt x="7336" y="19947"/>
                    <a:pt x="7379" y="19949"/>
                  </a:cubicBezTo>
                  <a:cubicBezTo>
                    <a:pt x="7564" y="19955"/>
                    <a:pt x="7687" y="19960"/>
                    <a:pt x="7687" y="19960"/>
                  </a:cubicBezTo>
                  <a:cubicBezTo>
                    <a:pt x="7688" y="19960"/>
                    <a:pt x="7689" y="19960"/>
                    <a:pt x="7690" y="19960"/>
                  </a:cubicBezTo>
                  <a:cubicBezTo>
                    <a:pt x="7699" y="19960"/>
                    <a:pt x="7732" y="19962"/>
                    <a:pt x="7772" y="19964"/>
                  </a:cubicBezTo>
                  <a:cubicBezTo>
                    <a:pt x="7778" y="19953"/>
                    <a:pt x="7778" y="19953"/>
                    <a:pt x="7778" y="19953"/>
                  </a:cubicBezTo>
                  <a:cubicBezTo>
                    <a:pt x="7869" y="19705"/>
                    <a:pt x="7869" y="19705"/>
                    <a:pt x="7869" y="19705"/>
                  </a:cubicBezTo>
                  <a:cubicBezTo>
                    <a:pt x="7792" y="18998"/>
                    <a:pt x="7792" y="18998"/>
                    <a:pt x="7792" y="18998"/>
                  </a:cubicBezTo>
                  <a:cubicBezTo>
                    <a:pt x="7778" y="18970"/>
                    <a:pt x="7665" y="18745"/>
                    <a:pt x="7577" y="18526"/>
                  </a:cubicBezTo>
                  <a:cubicBezTo>
                    <a:pt x="7537" y="18427"/>
                    <a:pt x="7525" y="18341"/>
                    <a:pt x="7525" y="18275"/>
                  </a:cubicBezTo>
                  <a:cubicBezTo>
                    <a:pt x="7525" y="18184"/>
                    <a:pt x="7548" y="18130"/>
                    <a:pt x="7548" y="18129"/>
                  </a:cubicBezTo>
                  <a:cubicBezTo>
                    <a:pt x="7549" y="18128"/>
                    <a:pt x="7549" y="18128"/>
                    <a:pt x="7549" y="18128"/>
                  </a:cubicBezTo>
                  <a:cubicBezTo>
                    <a:pt x="7619" y="18000"/>
                    <a:pt x="7619" y="18000"/>
                    <a:pt x="7619" y="18000"/>
                  </a:cubicBezTo>
                  <a:cubicBezTo>
                    <a:pt x="7657" y="18000"/>
                    <a:pt x="7657" y="18000"/>
                    <a:pt x="7657" y="18000"/>
                  </a:cubicBezTo>
                  <a:cubicBezTo>
                    <a:pt x="7660" y="18000"/>
                    <a:pt x="7660" y="18000"/>
                    <a:pt x="7660" y="18000"/>
                  </a:cubicBezTo>
                  <a:cubicBezTo>
                    <a:pt x="7727" y="18000"/>
                    <a:pt x="7727" y="18000"/>
                    <a:pt x="7727" y="18000"/>
                  </a:cubicBezTo>
                  <a:cubicBezTo>
                    <a:pt x="8901" y="18698"/>
                    <a:pt x="8901" y="18698"/>
                    <a:pt x="8901" y="18698"/>
                  </a:cubicBezTo>
                  <a:cubicBezTo>
                    <a:pt x="8911" y="18684"/>
                    <a:pt x="8927" y="18662"/>
                    <a:pt x="8945" y="18635"/>
                  </a:cubicBezTo>
                  <a:cubicBezTo>
                    <a:pt x="9027" y="18513"/>
                    <a:pt x="9169" y="18294"/>
                    <a:pt x="9170" y="18293"/>
                  </a:cubicBezTo>
                  <a:cubicBezTo>
                    <a:pt x="9175" y="18285"/>
                    <a:pt x="9175" y="18285"/>
                    <a:pt x="9175" y="18285"/>
                  </a:cubicBezTo>
                  <a:cubicBezTo>
                    <a:pt x="9208" y="18285"/>
                    <a:pt x="9208" y="18285"/>
                    <a:pt x="9208" y="18285"/>
                  </a:cubicBezTo>
                  <a:cubicBezTo>
                    <a:pt x="9191" y="18000"/>
                    <a:pt x="9191" y="18000"/>
                    <a:pt x="9191" y="18000"/>
                  </a:cubicBezTo>
                  <a:cubicBezTo>
                    <a:pt x="9227" y="18000"/>
                    <a:pt x="9227" y="18000"/>
                    <a:pt x="9227" y="18000"/>
                  </a:cubicBezTo>
                  <a:cubicBezTo>
                    <a:pt x="9244" y="18286"/>
                    <a:pt x="9244" y="18286"/>
                    <a:pt x="9244" y="18286"/>
                  </a:cubicBezTo>
                  <a:cubicBezTo>
                    <a:pt x="9242" y="18286"/>
                    <a:pt x="9242" y="18286"/>
                    <a:pt x="9242" y="18286"/>
                  </a:cubicBezTo>
                  <a:cubicBezTo>
                    <a:pt x="10224" y="18300"/>
                    <a:pt x="10224" y="18300"/>
                    <a:pt x="10224" y="18300"/>
                  </a:cubicBezTo>
                  <a:cubicBezTo>
                    <a:pt x="10224" y="18299"/>
                    <a:pt x="10224" y="18299"/>
                    <a:pt x="10224" y="18299"/>
                  </a:cubicBezTo>
                  <a:cubicBezTo>
                    <a:pt x="10248" y="18280"/>
                    <a:pt x="10348" y="18188"/>
                    <a:pt x="10348" y="18014"/>
                  </a:cubicBezTo>
                  <a:cubicBezTo>
                    <a:pt x="10348" y="18010"/>
                    <a:pt x="10347" y="18005"/>
                    <a:pt x="10347" y="18000"/>
                  </a:cubicBezTo>
                  <a:cubicBezTo>
                    <a:pt x="10383" y="18000"/>
                    <a:pt x="10383" y="18000"/>
                    <a:pt x="10383" y="18000"/>
                  </a:cubicBezTo>
                  <a:cubicBezTo>
                    <a:pt x="10383" y="18005"/>
                    <a:pt x="10384" y="18010"/>
                    <a:pt x="10384" y="18014"/>
                  </a:cubicBezTo>
                  <a:cubicBezTo>
                    <a:pt x="10384" y="18200"/>
                    <a:pt x="10280" y="18300"/>
                    <a:pt x="10249" y="18326"/>
                  </a:cubicBezTo>
                  <a:cubicBezTo>
                    <a:pt x="10253" y="18361"/>
                    <a:pt x="10265" y="18491"/>
                    <a:pt x="10278" y="18621"/>
                  </a:cubicBezTo>
                  <a:cubicBezTo>
                    <a:pt x="10286" y="18698"/>
                    <a:pt x="10294" y="18775"/>
                    <a:pt x="10299" y="18833"/>
                  </a:cubicBezTo>
                  <a:cubicBezTo>
                    <a:pt x="10302" y="18862"/>
                    <a:pt x="10304" y="18886"/>
                    <a:pt x="10306" y="18903"/>
                  </a:cubicBezTo>
                  <a:cubicBezTo>
                    <a:pt x="10306" y="18906"/>
                    <a:pt x="10307" y="18909"/>
                    <a:pt x="10307" y="18911"/>
                  </a:cubicBezTo>
                  <a:cubicBezTo>
                    <a:pt x="11924" y="18622"/>
                    <a:pt x="11924" y="18622"/>
                    <a:pt x="11924" y="18622"/>
                  </a:cubicBezTo>
                  <a:cubicBezTo>
                    <a:pt x="11805" y="18069"/>
                    <a:pt x="11805" y="18069"/>
                    <a:pt x="11805" y="18069"/>
                  </a:cubicBezTo>
                  <a:cubicBezTo>
                    <a:pt x="11794" y="18061"/>
                    <a:pt x="11772" y="18042"/>
                    <a:pt x="11741" y="18000"/>
                  </a:cubicBezTo>
                  <a:cubicBezTo>
                    <a:pt x="11787" y="18000"/>
                    <a:pt x="11787" y="18000"/>
                    <a:pt x="11787" y="18000"/>
                  </a:cubicBezTo>
                  <a:cubicBezTo>
                    <a:pt x="11788" y="18002"/>
                    <a:pt x="11790" y="18003"/>
                    <a:pt x="11791" y="18005"/>
                  </a:cubicBezTo>
                  <a:cubicBezTo>
                    <a:pt x="11794" y="18000"/>
                    <a:pt x="11794" y="18000"/>
                    <a:pt x="11794" y="18000"/>
                  </a:cubicBezTo>
                  <a:cubicBezTo>
                    <a:pt x="11838" y="18000"/>
                    <a:pt x="11838" y="18000"/>
                    <a:pt x="11838" y="18000"/>
                  </a:cubicBezTo>
                  <a:cubicBezTo>
                    <a:pt x="11816" y="18031"/>
                    <a:pt x="11816" y="18031"/>
                    <a:pt x="11816" y="18031"/>
                  </a:cubicBezTo>
                  <a:cubicBezTo>
                    <a:pt x="11818" y="18033"/>
                    <a:pt x="11820" y="18035"/>
                    <a:pt x="11821" y="18036"/>
                  </a:cubicBezTo>
                  <a:cubicBezTo>
                    <a:pt x="11825" y="18039"/>
                    <a:pt x="11827" y="18041"/>
                    <a:pt x="11828" y="18042"/>
                  </a:cubicBezTo>
                  <a:cubicBezTo>
                    <a:pt x="11829" y="18042"/>
                    <a:pt x="11829" y="18042"/>
                    <a:pt x="11830" y="18042"/>
                  </a:cubicBezTo>
                  <a:cubicBezTo>
                    <a:pt x="11830" y="18042"/>
                    <a:pt x="11830" y="18042"/>
                    <a:pt x="11830" y="18042"/>
                  </a:cubicBezTo>
                  <a:cubicBezTo>
                    <a:pt x="11837" y="18046"/>
                    <a:pt x="11837" y="18046"/>
                    <a:pt x="11837" y="18046"/>
                  </a:cubicBezTo>
                  <a:cubicBezTo>
                    <a:pt x="11965" y="18643"/>
                    <a:pt x="11965" y="18643"/>
                    <a:pt x="11965" y="18643"/>
                  </a:cubicBezTo>
                  <a:cubicBezTo>
                    <a:pt x="12160" y="19922"/>
                    <a:pt x="12160" y="19922"/>
                    <a:pt x="12160" y="19922"/>
                  </a:cubicBezTo>
                  <a:cubicBezTo>
                    <a:pt x="13154" y="20315"/>
                    <a:pt x="13154" y="20315"/>
                    <a:pt x="13154" y="20315"/>
                  </a:cubicBezTo>
                  <a:cubicBezTo>
                    <a:pt x="13849" y="18315"/>
                    <a:pt x="13849" y="18315"/>
                    <a:pt x="13849" y="18315"/>
                  </a:cubicBezTo>
                  <a:cubicBezTo>
                    <a:pt x="13370" y="18263"/>
                    <a:pt x="13370" y="18263"/>
                    <a:pt x="13370" y="18263"/>
                  </a:cubicBezTo>
                  <a:cubicBezTo>
                    <a:pt x="12901" y="18000"/>
                    <a:pt x="12901" y="18000"/>
                    <a:pt x="12901" y="18000"/>
                  </a:cubicBezTo>
                  <a:cubicBezTo>
                    <a:pt x="12974" y="18000"/>
                    <a:pt x="12974" y="18000"/>
                    <a:pt x="12974" y="18000"/>
                  </a:cubicBezTo>
                  <a:cubicBezTo>
                    <a:pt x="13381" y="18228"/>
                    <a:pt x="13381" y="18228"/>
                    <a:pt x="13381" y="18228"/>
                  </a:cubicBezTo>
                  <a:cubicBezTo>
                    <a:pt x="13849" y="18279"/>
                    <a:pt x="13849" y="18279"/>
                    <a:pt x="13849" y="18279"/>
                  </a:cubicBezTo>
                  <a:cubicBezTo>
                    <a:pt x="13859" y="18280"/>
                    <a:pt x="13859" y="18280"/>
                    <a:pt x="13859" y="18280"/>
                  </a:cubicBezTo>
                  <a:cubicBezTo>
                    <a:pt x="13855" y="18240"/>
                    <a:pt x="13845" y="18139"/>
                    <a:pt x="13832" y="18000"/>
                  </a:cubicBezTo>
                  <a:cubicBezTo>
                    <a:pt x="13948" y="18000"/>
                    <a:pt x="13948" y="18000"/>
                    <a:pt x="13948" y="18000"/>
                  </a:cubicBezTo>
                  <a:cubicBezTo>
                    <a:pt x="13948" y="18007"/>
                    <a:pt x="13949" y="18014"/>
                    <a:pt x="13949" y="18020"/>
                  </a:cubicBezTo>
                  <a:cubicBezTo>
                    <a:pt x="13965" y="18184"/>
                    <a:pt x="13975" y="18288"/>
                    <a:pt x="13975" y="18288"/>
                  </a:cubicBezTo>
                  <a:cubicBezTo>
                    <a:pt x="13975" y="18292"/>
                    <a:pt x="13975" y="18292"/>
                    <a:pt x="13975" y="18292"/>
                  </a:cubicBezTo>
                  <a:cubicBezTo>
                    <a:pt x="13977" y="18292"/>
                    <a:pt x="13980" y="18293"/>
                    <a:pt x="13982" y="18294"/>
                  </a:cubicBezTo>
                  <a:cubicBezTo>
                    <a:pt x="14429" y="18342"/>
                    <a:pt x="14429" y="18342"/>
                    <a:pt x="14429" y="18342"/>
                  </a:cubicBezTo>
                  <a:cubicBezTo>
                    <a:pt x="14430" y="18342"/>
                    <a:pt x="14436" y="18342"/>
                    <a:pt x="14441" y="18347"/>
                  </a:cubicBezTo>
                  <a:cubicBezTo>
                    <a:pt x="14450" y="18352"/>
                    <a:pt x="14488" y="18372"/>
                    <a:pt x="14544" y="18399"/>
                  </a:cubicBezTo>
                  <a:cubicBezTo>
                    <a:pt x="14667" y="18460"/>
                    <a:pt x="14885" y="18567"/>
                    <a:pt x="15133" y="18694"/>
                  </a:cubicBezTo>
                  <a:cubicBezTo>
                    <a:pt x="15123" y="18646"/>
                    <a:pt x="15073" y="18458"/>
                    <a:pt x="15012" y="18237"/>
                  </a:cubicBezTo>
                  <a:cubicBezTo>
                    <a:pt x="14991" y="18161"/>
                    <a:pt x="14969" y="18081"/>
                    <a:pt x="14947" y="18000"/>
                  </a:cubicBezTo>
                  <a:cubicBezTo>
                    <a:pt x="14984" y="18000"/>
                    <a:pt x="14984" y="18000"/>
                    <a:pt x="14984" y="18000"/>
                  </a:cubicBezTo>
                  <a:cubicBezTo>
                    <a:pt x="15005" y="18077"/>
                    <a:pt x="15027" y="18154"/>
                    <a:pt x="15047" y="18227"/>
                  </a:cubicBezTo>
                  <a:cubicBezTo>
                    <a:pt x="15112" y="18465"/>
                    <a:pt x="15165" y="18658"/>
                    <a:pt x="15170" y="18696"/>
                  </a:cubicBezTo>
                  <a:cubicBezTo>
                    <a:pt x="15145" y="18700"/>
                    <a:pt x="15145" y="18700"/>
                    <a:pt x="15145" y="18700"/>
                  </a:cubicBezTo>
                  <a:cubicBezTo>
                    <a:pt x="15269" y="18763"/>
                    <a:pt x="15401" y="18831"/>
                    <a:pt x="15532" y="18901"/>
                  </a:cubicBezTo>
                  <a:cubicBezTo>
                    <a:pt x="15772" y="19029"/>
                    <a:pt x="16011" y="19171"/>
                    <a:pt x="16200" y="19283"/>
                  </a:cubicBezTo>
                  <a:cubicBezTo>
                    <a:pt x="16832" y="19657"/>
                    <a:pt x="17302" y="20204"/>
                    <a:pt x="17303" y="20205"/>
                  </a:cubicBezTo>
                  <a:cubicBezTo>
                    <a:pt x="17338" y="20243"/>
                    <a:pt x="17381" y="20293"/>
                    <a:pt x="17436" y="20349"/>
                  </a:cubicBezTo>
                  <a:cubicBezTo>
                    <a:pt x="17502" y="20296"/>
                    <a:pt x="17662" y="20168"/>
                    <a:pt x="17839" y="20023"/>
                  </a:cubicBezTo>
                  <a:cubicBezTo>
                    <a:pt x="17896" y="19977"/>
                    <a:pt x="17954" y="19930"/>
                    <a:pt x="18011" y="19883"/>
                  </a:cubicBezTo>
                  <a:lnTo>
                    <a:pt x="18011" y="19930"/>
                  </a:lnTo>
                  <a:close/>
                  <a:moveTo>
                    <a:pt x="2929" y="18287"/>
                  </a:moveTo>
                  <a:cubicBezTo>
                    <a:pt x="2948" y="18297"/>
                    <a:pt x="2948" y="18297"/>
                    <a:pt x="2948" y="18297"/>
                  </a:cubicBezTo>
                  <a:cubicBezTo>
                    <a:pt x="2948" y="18297"/>
                    <a:pt x="2948" y="18297"/>
                    <a:pt x="2948" y="18297"/>
                  </a:cubicBezTo>
                  <a:cubicBezTo>
                    <a:pt x="2981" y="18313"/>
                    <a:pt x="3028" y="18335"/>
                    <a:pt x="3077" y="18359"/>
                  </a:cubicBezTo>
                  <a:cubicBezTo>
                    <a:pt x="3123" y="18381"/>
                    <a:pt x="3170" y="18404"/>
                    <a:pt x="3210" y="18424"/>
                  </a:cubicBezTo>
                  <a:cubicBezTo>
                    <a:pt x="3250" y="18445"/>
                    <a:pt x="3280" y="18461"/>
                    <a:pt x="3300" y="18474"/>
                  </a:cubicBezTo>
                  <a:cubicBezTo>
                    <a:pt x="3366" y="18518"/>
                    <a:pt x="3414" y="18581"/>
                    <a:pt x="3453" y="18654"/>
                  </a:cubicBezTo>
                  <a:cubicBezTo>
                    <a:pt x="3475" y="18693"/>
                    <a:pt x="3501" y="18756"/>
                    <a:pt x="3527" y="18822"/>
                  </a:cubicBezTo>
                  <a:cubicBezTo>
                    <a:pt x="3553" y="18887"/>
                    <a:pt x="3577" y="18951"/>
                    <a:pt x="3589" y="18988"/>
                  </a:cubicBezTo>
                  <a:cubicBezTo>
                    <a:pt x="3594" y="19001"/>
                    <a:pt x="3606" y="19033"/>
                    <a:pt x="3623" y="19076"/>
                  </a:cubicBezTo>
                  <a:cubicBezTo>
                    <a:pt x="3625" y="19057"/>
                    <a:pt x="3627" y="19040"/>
                    <a:pt x="3628" y="19026"/>
                  </a:cubicBezTo>
                  <a:cubicBezTo>
                    <a:pt x="3629" y="19020"/>
                    <a:pt x="3629" y="19011"/>
                    <a:pt x="3629" y="19000"/>
                  </a:cubicBezTo>
                  <a:cubicBezTo>
                    <a:pt x="3631" y="18910"/>
                    <a:pt x="3604" y="18697"/>
                    <a:pt x="3536" y="18599"/>
                  </a:cubicBezTo>
                  <a:cubicBezTo>
                    <a:pt x="3523" y="18578"/>
                    <a:pt x="3476" y="18535"/>
                    <a:pt x="3418" y="18492"/>
                  </a:cubicBezTo>
                  <a:cubicBezTo>
                    <a:pt x="3329" y="18426"/>
                    <a:pt x="3211" y="18353"/>
                    <a:pt x="3116" y="18298"/>
                  </a:cubicBezTo>
                  <a:cubicBezTo>
                    <a:pt x="3051" y="18260"/>
                    <a:pt x="2998" y="18230"/>
                    <a:pt x="2970" y="18215"/>
                  </a:cubicBezTo>
                  <a:cubicBezTo>
                    <a:pt x="2959" y="18241"/>
                    <a:pt x="2945" y="18265"/>
                    <a:pt x="2929" y="18287"/>
                  </a:cubicBezTo>
                  <a:close/>
                  <a:moveTo>
                    <a:pt x="2326" y="19717"/>
                  </a:moveTo>
                  <a:cubicBezTo>
                    <a:pt x="2316" y="19660"/>
                    <a:pt x="2310" y="19605"/>
                    <a:pt x="2307" y="19578"/>
                  </a:cubicBezTo>
                  <a:cubicBezTo>
                    <a:pt x="2307" y="19574"/>
                    <a:pt x="2307" y="19570"/>
                    <a:pt x="2307" y="19566"/>
                  </a:cubicBezTo>
                  <a:cubicBezTo>
                    <a:pt x="2306" y="19508"/>
                    <a:pt x="2345" y="19436"/>
                    <a:pt x="2447" y="19408"/>
                  </a:cubicBezTo>
                  <a:cubicBezTo>
                    <a:pt x="2540" y="19382"/>
                    <a:pt x="2737" y="19357"/>
                    <a:pt x="2858" y="19357"/>
                  </a:cubicBezTo>
                  <a:cubicBezTo>
                    <a:pt x="2874" y="19357"/>
                    <a:pt x="2889" y="19357"/>
                    <a:pt x="2902" y="19358"/>
                  </a:cubicBezTo>
                  <a:cubicBezTo>
                    <a:pt x="3014" y="19366"/>
                    <a:pt x="3067" y="19427"/>
                    <a:pt x="3096" y="19487"/>
                  </a:cubicBezTo>
                  <a:cubicBezTo>
                    <a:pt x="3120" y="19535"/>
                    <a:pt x="3130" y="19617"/>
                    <a:pt x="3130" y="19682"/>
                  </a:cubicBezTo>
                  <a:cubicBezTo>
                    <a:pt x="3130" y="19703"/>
                    <a:pt x="3129" y="19722"/>
                    <a:pt x="3127" y="19738"/>
                  </a:cubicBezTo>
                  <a:cubicBezTo>
                    <a:pt x="3124" y="19753"/>
                    <a:pt x="3117" y="19770"/>
                    <a:pt x="3107" y="19787"/>
                  </a:cubicBezTo>
                  <a:cubicBezTo>
                    <a:pt x="3115" y="19792"/>
                    <a:pt x="3167" y="19811"/>
                    <a:pt x="3227" y="19830"/>
                  </a:cubicBezTo>
                  <a:cubicBezTo>
                    <a:pt x="3288" y="19849"/>
                    <a:pt x="3359" y="19867"/>
                    <a:pt x="3409" y="19873"/>
                  </a:cubicBezTo>
                  <a:cubicBezTo>
                    <a:pt x="3414" y="19873"/>
                    <a:pt x="3419" y="19873"/>
                    <a:pt x="3426" y="19873"/>
                  </a:cubicBezTo>
                  <a:cubicBezTo>
                    <a:pt x="3486" y="19874"/>
                    <a:pt x="3593" y="19848"/>
                    <a:pt x="3684" y="19823"/>
                  </a:cubicBezTo>
                  <a:cubicBezTo>
                    <a:pt x="3731" y="19809"/>
                    <a:pt x="3773" y="19796"/>
                    <a:pt x="3803" y="19787"/>
                  </a:cubicBezTo>
                  <a:cubicBezTo>
                    <a:pt x="3819" y="19775"/>
                    <a:pt x="3819" y="19775"/>
                    <a:pt x="3819" y="19775"/>
                  </a:cubicBezTo>
                  <a:cubicBezTo>
                    <a:pt x="3792" y="19736"/>
                    <a:pt x="3767" y="19694"/>
                    <a:pt x="3747" y="19659"/>
                  </a:cubicBezTo>
                  <a:cubicBezTo>
                    <a:pt x="3732" y="19634"/>
                    <a:pt x="3712" y="19590"/>
                    <a:pt x="3687" y="19532"/>
                  </a:cubicBezTo>
                  <a:cubicBezTo>
                    <a:pt x="3612" y="19360"/>
                    <a:pt x="3501" y="19083"/>
                    <a:pt x="3481" y="19026"/>
                  </a:cubicBezTo>
                  <a:cubicBezTo>
                    <a:pt x="3469" y="18991"/>
                    <a:pt x="3445" y="18927"/>
                    <a:pt x="3420" y="18864"/>
                  </a:cubicBezTo>
                  <a:cubicBezTo>
                    <a:pt x="3396" y="18801"/>
                    <a:pt x="3368" y="18737"/>
                    <a:pt x="3353" y="18709"/>
                  </a:cubicBezTo>
                  <a:cubicBezTo>
                    <a:pt x="3318" y="18646"/>
                    <a:pt x="3281" y="18599"/>
                    <a:pt x="3236" y="18569"/>
                  </a:cubicBezTo>
                  <a:cubicBezTo>
                    <a:pt x="3228" y="18563"/>
                    <a:pt x="3196" y="18546"/>
                    <a:pt x="3158" y="18527"/>
                  </a:cubicBezTo>
                  <a:cubicBezTo>
                    <a:pt x="3042" y="18468"/>
                    <a:pt x="2854" y="18380"/>
                    <a:pt x="2853" y="18380"/>
                  </a:cubicBezTo>
                  <a:cubicBezTo>
                    <a:pt x="2854" y="18378"/>
                    <a:pt x="2854" y="18378"/>
                    <a:pt x="2854" y="18378"/>
                  </a:cubicBezTo>
                  <a:cubicBezTo>
                    <a:pt x="2842" y="18372"/>
                    <a:pt x="2842" y="18372"/>
                    <a:pt x="2842" y="18372"/>
                  </a:cubicBezTo>
                  <a:cubicBezTo>
                    <a:pt x="2841" y="18371"/>
                    <a:pt x="2841" y="18371"/>
                    <a:pt x="2841" y="18371"/>
                  </a:cubicBezTo>
                  <a:cubicBezTo>
                    <a:pt x="2787" y="18407"/>
                    <a:pt x="2721" y="18429"/>
                    <a:pt x="2651" y="18429"/>
                  </a:cubicBezTo>
                  <a:cubicBezTo>
                    <a:pt x="2604" y="18429"/>
                    <a:pt x="2559" y="18419"/>
                    <a:pt x="2518" y="18402"/>
                  </a:cubicBezTo>
                  <a:cubicBezTo>
                    <a:pt x="2512" y="18409"/>
                    <a:pt x="2506" y="18418"/>
                    <a:pt x="2506" y="18418"/>
                  </a:cubicBezTo>
                  <a:cubicBezTo>
                    <a:pt x="2506" y="18418"/>
                    <a:pt x="2506" y="18418"/>
                    <a:pt x="2505" y="18418"/>
                  </a:cubicBezTo>
                  <a:cubicBezTo>
                    <a:pt x="2477" y="18455"/>
                    <a:pt x="2397" y="18560"/>
                    <a:pt x="2307" y="18673"/>
                  </a:cubicBezTo>
                  <a:cubicBezTo>
                    <a:pt x="2251" y="18743"/>
                    <a:pt x="2192" y="18815"/>
                    <a:pt x="2139" y="18876"/>
                  </a:cubicBezTo>
                  <a:cubicBezTo>
                    <a:pt x="2086" y="18937"/>
                    <a:pt x="2042" y="18985"/>
                    <a:pt x="2006" y="19012"/>
                  </a:cubicBezTo>
                  <a:cubicBezTo>
                    <a:pt x="1969" y="19040"/>
                    <a:pt x="1906" y="19070"/>
                    <a:pt x="1822" y="19109"/>
                  </a:cubicBezTo>
                  <a:cubicBezTo>
                    <a:pt x="1572" y="19222"/>
                    <a:pt x="1148" y="19384"/>
                    <a:pt x="973" y="19453"/>
                  </a:cubicBezTo>
                  <a:cubicBezTo>
                    <a:pt x="858" y="19499"/>
                    <a:pt x="715" y="19561"/>
                    <a:pt x="602" y="19611"/>
                  </a:cubicBezTo>
                  <a:cubicBezTo>
                    <a:pt x="583" y="19620"/>
                    <a:pt x="565" y="19628"/>
                    <a:pt x="547" y="19635"/>
                  </a:cubicBezTo>
                  <a:cubicBezTo>
                    <a:pt x="549" y="19654"/>
                    <a:pt x="549" y="19654"/>
                    <a:pt x="549" y="19654"/>
                  </a:cubicBezTo>
                  <a:cubicBezTo>
                    <a:pt x="581" y="19723"/>
                    <a:pt x="663" y="19903"/>
                    <a:pt x="758" y="20113"/>
                  </a:cubicBezTo>
                  <a:lnTo>
                    <a:pt x="2326" y="19717"/>
                  </a:lnTo>
                  <a:close/>
                  <a:moveTo>
                    <a:pt x="3097" y="19803"/>
                  </a:moveTo>
                  <a:cubicBezTo>
                    <a:pt x="3097" y="19803"/>
                    <a:pt x="3097" y="19803"/>
                    <a:pt x="3097" y="19803"/>
                  </a:cubicBezTo>
                  <a:cubicBezTo>
                    <a:pt x="3101" y="19818"/>
                    <a:pt x="3101" y="19818"/>
                    <a:pt x="3101" y="19818"/>
                  </a:cubicBezTo>
                  <a:lnTo>
                    <a:pt x="3097" y="19803"/>
                  </a:lnTo>
                  <a:close/>
                  <a:moveTo>
                    <a:pt x="2936" y="19882"/>
                  </a:moveTo>
                  <a:cubicBezTo>
                    <a:pt x="2979" y="19866"/>
                    <a:pt x="3017" y="19839"/>
                    <a:pt x="3045" y="19809"/>
                  </a:cubicBezTo>
                  <a:cubicBezTo>
                    <a:pt x="3073" y="19780"/>
                    <a:pt x="3089" y="19749"/>
                    <a:pt x="3091" y="19733"/>
                  </a:cubicBezTo>
                  <a:cubicBezTo>
                    <a:pt x="3109" y="19735"/>
                    <a:pt x="3109" y="19735"/>
                    <a:pt x="3109" y="19735"/>
                  </a:cubicBezTo>
                  <a:cubicBezTo>
                    <a:pt x="3091" y="19733"/>
                    <a:pt x="3091" y="19733"/>
                    <a:pt x="3091" y="19733"/>
                  </a:cubicBezTo>
                  <a:cubicBezTo>
                    <a:pt x="3093" y="19719"/>
                    <a:pt x="3094" y="19701"/>
                    <a:pt x="3094" y="19682"/>
                  </a:cubicBezTo>
                  <a:cubicBezTo>
                    <a:pt x="3094" y="19621"/>
                    <a:pt x="3083" y="19540"/>
                    <a:pt x="3064" y="19503"/>
                  </a:cubicBezTo>
                  <a:cubicBezTo>
                    <a:pt x="3036" y="19448"/>
                    <a:pt x="2999" y="19403"/>
                    <a:pt x="2899" y="19394"/>
                  </a:cubicBezTo>
                  <a:cubicBezTo>
                    <a:pt x="2887" y="19393"/>
                    <a:pt x="2873" y="19393"/>
                    <a:pt x="2858" y="19393"/>
                  </a:cubicBezTo>
                  <a:cubicBezTo>
                    <a:pt x="2742" y="19393"/>
                    <a:pt x="2544" y="19418"/>
                    <a:pt x="2457" y="19443"/>
                  </a:cubicBezTo>
                  <a:cubicBezTo>
                    <a:pt x="2367" y="19468"/>
                    <a:pt x="2344" y="19522"/>
                    <a:pt x="2343" y="19566"/>
                  </a:cubicBezTo>
                  <a:cubicBezTo>
                    <a:pt x="2343" y="19570"/>
                    <a:pt x="2343" y="19572"/>
                    <a:pt x="2343" y="19575"/>
                  </a:cubicBezTo>
                  <a:cubicBezTo>
                    <a:pt x="2347" y="19626"/>
                    <a:pt x="2373" y="19804"/>
                    <a:pt x="2395" y="19850"/>
                  </a:cubicBezTo>
                  <a:cubicBezTo>
                    <a:pt x="2413" y="19891"/>
                    <a:pt x="2464" y="19918"/>
                    <a:pt x="2538" y="19918"/>
                  </a:cubicBezTo>
                  <a:cubicBezTo>
                    <a:pt x="2543" y="19918"/>
                    <a:pt x="2548" y="19918"/>
                    <a:pt x="2553" y="19917"/>
                  </a:cubicBezTo>
                  <a:cubicBezTo>
                    <a:pt x="2639" y="19913"/>
                    <a:pt x="2848" y="19913"/>
                    <a:pt x="2936" y="19882"/>
                  </a:cubicBezTo>
                  <a:close/>
                  <a:moveTo>
                    <a:pt x="3839" y="20346"/>
                  </a:moveTo>
                  <a:cubicBezTo>
                    <a:pt x="4016" y="20305"/>
                    <a:pt x="4188" y="20187"/>
                    <a:pt x="4315" y="20079"/>
                  </a:cubicBezTo>
                  <a:cubicBezTo>
                    <a:pt x="4377" y="20027"/>
                    <a:pt x="4427" y="19977"/>
                    <a:pt x="4464" y="19939"/>
                  </a:cubicBezTo>
                  <a:cubicBezTo>
                    <a:pt x="4466" y="19921"/>
                    <a:pt x="4466" y="19921"/>
                    <a:pt x="4466" y="19921"/>
                  </a:cubicBezTo>
                  <a:cubicBezTo>
                    <a:pt x="4359" y="19926"/>
                    <a:pt x="4263" y="19931"/>
                    <a:pt x="4237" y="19933"/>
                  </a:cubicBezTo>
                  <a:cubicBezTo>
                    <a:pt x="4213" y="19935"/>
                    <a:pt x="4183" y="19937"/>
                    <a:pt x="4151" y="19937"/>
                  </a:cubicBezTo>
                  <a:cubicBezTo>
                    <a:pt x="4116" y="19937"/>
                    <a:pt x="4078" y="19935"/>
                    <a:pt x="4042" y="19930"/>
                  </a:cubicBezTo>
                  <a:cubicBezTo>
                    <a:pt x="4006" y="19925"/>
                    <a:pt x="3973" y="19918"/>
                    <a:pt x="3942" y="19902"/>
                  </a:cubicBezTo>
                  <a:cubicBezTo>
                    <a:pt x="3903" y="19881"/>
                    <a:pt x="3874" y="19849"/>
                    <a:pt x="3846" y="19813"/>
                  </a:cubicBezTo>
                  <a:cubicBezTo>
                    <a:pt x="3842" y="19813"/>
                    <a:pt x="3838" y="19814"/>
                    <a:pt x="3833" y="19815"/>
                  </a:cubicBezTo>
                  <a:cubicBezTo>
                    <a:pt x="3755" y="19840"/>
                    <a:pt x="3536" y="19909"/>
                    <a:pt x="3426" y="19909"/>
                  </a:cubicBezTo>
                  <a:cubicBezTo>
                    <a:pt x="3418" y="19909"/>
                    <a:pt x="3411" y="19909"/>
                    <a:pt x="3405" y="19908"/>
                  </a:cubicBezTo>
                  <a:cubicBezTo>
                    <a:pt x="3347" y="19902"/>
                    <a:pt x="3269" y="19881"/>
                    <a:pt x="3204" y="19861"/>
                  </a:cubicBezTo>
                  <a:cubicBezTo>
                    <a:pt x="3172" y="19850"/>
                    <a:pt x="3143" y="19840"/>
                    <a:pt x="3122" y="19832"/>
                  </a:cubicBezTo>
                  <a:cubicBezTo>
                    <a:pt x="3112" y="19829"/>
                    <a:pt x="3104" y="19825"/>
                    <a:pt x="3097" y="19822"/>
                  </a:cubicBezTo>
                  <a:cubicBezTo>
                    <a:pt x="3094" y="19821"/>
                    <a:pt x="3092" y="19820"/>
                    <a:pt x="3089" y="19819"/>
                  </a:cubicBezTo>
                  <a:cubicBezTo>
                    <a:pt x="3088" y="19818"/>
                    <a:pt x="3087" y="19817"/>
                    <a:pt x="3086" y="19816"/>
                  </a:cubicBezTo>
                  <a:cubicBezTo>
                    <a:pt x="3081" y="19822"/>
                    <a:pt x="3077" y="19828"/>
                    <a:pt x="3071" y="19834"/>
                  </a:cubicBezTo>
                  <a:cubicBezTo>
                    <a:pt x="3040" y="19867"/>
                    <a:pt x="2998" y="19898"/>
                    <a:pt x="2947" y="19916"/>
                  </a:cubicBezTo>
                  <a:cubicBezTo>
                    <a:pt x="2903" y="19931"/>
                    <a:pt x="2837" y="19939"/>
                    <a:pt x="2770" y="19944"/>
                  </a:cubicBezTo>
                  <a:cubicBezTo>
                    <a:pt x="2875" y="20442"/>
                    <a:pt x="2875" y="20442"/>
                    <a:pt x="2875" y="20442"/>
                  </a:cubicBezTo>
                  <a:cubicBezTo>
                    <a:pt x="2875" y="20442"/>
                    <a:pt x="2876" y="20442"/>
                    <a:pt x="2876" y="20442"/>
                  </a:cubicBezTo>
                  <a:cubicBezTo>
                    <a:pt x="2951" y="20436"/>
                    <a:pt x="3247" y="20414"/>
                    <a:pt x="3491" y="20391"/>
                  </a:cubicBezTo>
                  <a:cubicBezTo>
                    <a:pt x="3647" y="20376"/>
                    <a:pt x="3713" y="20376"/>
                    <a:pt x="3839" y="20346"/>
                  </a:cubicBezTo>
                  <a:close/>
                  <a:moveTo>
                    <a:pt x="4796" y="19905"/>
                  </a:moveTo>
                  <a:cubicBezTo>
                    <a:pt x="4744" y="19907"/>
                    <a:pt x="4658" y="19911"/>
                    <a:pt x="4569" y="19916"/>
                  </a:cubicBezTo>
                  <a:cubicBezTo>
                    <a:pt x="4558" y="19916"/>
                    <a:pt x="4548" y="19917"/>
                    <a:pt x="4537" y="19917"/>
                  </a:cubicBezTo>
                  <a:cubicBezTo>
                    <a:pt x="4523" y="19929"/>
                    <a:pt x="4523" y="19929"/>
                    <a:pt x="4523" y="19929"/>
                  </a:cubicBezTo>
                  <a:cubicBezTo>
                    <a:pt x="4436" y="20023"/>
                    <a:pt x="4157" y="20308"/>
                    <a:pt x="3847" y="20381"/>
                  </a:cubicBezTo>
                  <a:cubicBezTo>
                    <a:pt x="3828" y="20386"/>
                    <a:pt x="3810" y="20390"/>
                    <a:pt x="3793" y="20393"/>
                  </a:cubicBezTo>
                  <a:cubicBezTo>
                    <a:pt x="3883" y="20798"/>
                    <a:pt x="3883" y="20798"/>
                    <a:pt x="3883" y="20798"/>
                  </a:cubicBezTo>
                  <a:cubicBezTo>
                    <a:pt x="4183" y="20804"/>
                    <a:pt x="4524" y="20960"/>
                    <a:pt x="4635" y="21015"/>
                  </a:cubicBezTo>
                  <a:cubicBezTo>
                    <a:pt x="4654" y="21019"/>
                    <a:pt x="4654" y="21019"/>
                    <a:pt x="4654" y="21019"/>
                  </a:cubicBezTo>
                  <a:lnTo>
                    <a:pt x="4796" y="19905"/>
                  </a:lnTo>
                  <a:close/>
                  <a:moveTo>
                    <a:pt x="5071" y="19745"/>
                  </a:moveTo>
                  <a:cubicBezTo>
                    <a:pt x="5073" y="19737"/>
                    <a:pt x="5075" y="19724"/>
                    <a:pt x="5076" y="19718"/>
                  </a:cubicBezTo>
                  <a:cubicBezTo>
                    <a:pt x="5115" y="19136"/>
                    <a:pt x="5115" y="19136"/>
                    <a:pt x="5115" y="19136"/>
                  </a:cubicBezTo>
                  <a:cubicBezTo>
                    <a:pt x="5109" y="19083"/>
                    <a:pt x="5109" y="19083"/>
                    <a:pt x="5109" y="19083"/>
                  </a:cubicBezTo>
                  <a:cubicBezTo>
                    <a:pt x="4604" y="18752"/>
                    <a:pt x="4604" y="18752"/>
                    <a:pt x="4604" y="18752"/>
                  </a:cubicBezTo>
                  <a:cubicBezTo>
                    <a:pt x="4251" y="19801"/>
                    <a:pt x="4251" y="19801"/>
                    <a:pt x="4251" y="19801"/>
                  </a:cubicBezTo>
                  <a:cubicBezTo>
                    <a:pt x="4249" y="19817"/>
                    <a:pt x="4249" y="19817"/>
                    <a:pt x="4249" y="19817"/>
                  </a:cubicBezTo>
                  <a:cubicBezTo>
                    <a:pt x="4367" y="19810"/>
                    <a:pt x="4793" y="19790"/>
                    <a:pt x="4837" y="19788"/>
                  </a:cubicBezTo>
                  <a:lnTo>
                    <a:pt x="5071" y="19745"/>
                  </a:lnTo>
                  <a:close/>
                  <a:moveTo>
                    <a:pt x="7193" y="19942"/>
                  </a:moveTo>
                  <a:cubicBezTo>
                    <a:pt x="7192" y="19926"/>
                    <a:pt x="7192" y="19926"/>
                    <a:pt x="7192" y="19926"/>
                  </a:cubicBezTo>
                  <a:cubicBezTo>
                    <a:pt x="6679" y="18463"/>
                    <a:pt x="6679" y="18463"/>
                    <a:pt x="6679" y="18463"/>
                  </a:cubicBezTo>
                  <a:cubicBezTo>
                    <a:pt x="6580" y="18483"/>
                    <a:pt x="6494" y="18492"/>
                    <a:pt x="6418" y="18492"/>
                  </a:cubicBezTo>
                  <a:cubicBezTo>
                    <a:pt x="6418" y="18492"/>
                    <a:pt x="6418" y="18492"/>
                    <a:pt x="6418" y="18492"/>
                  </a:cubicBezTo>
                  <a:cubicBezTo>
                    <a:pt x="6258" y="18492"/>
                    <a:pt x="6144" y="18456"/>
                    <a:pt x="6047" y="18435"/>
                  </a:cubicBezTo>
                  <a:cubicBezTo>
                    <a:pt x="5907" y="18404"/>
                    <a:pt x="5161" y="18205"/>
                    <a:pt x="5082" y="18184"/>
                  </a:cubicBezTo>
                  <a:cubicBezTo>
                    <a:pt x="5078" y="18333"/>
                    <a:pt x="5074" y="18444"/>
                    <a:pt x="5073" y="18458"/>
                  </a:cubicBezTo>
                  <a:cubicBezTo>
                    <a:pt x="5151" y="19135"/>
                    <a:pt x="5151" y="19135"/>
                    <a:pt x="5151" y="19135"/>
                  </a:cubicBezTo>
                  <a:cubicBezTo>
                    <a:pt x="5112" y="19731"/>
                    <a:pt x="5112" y="19731"/>
                    <a:pt x="5112" y="19731"/>
                  </a:cubicBezTo>
                  <a:cubicBezTo>
                    <a:pt x="5115" y="19752"/>
                    <a:pt x="5115" y="19752"/>
                    <a:pt x="5115" y="19752"/>
                  </a:cubicBezTo>
                  <a:cubicBezTo>
                    <a:pt x="5170" y="19764"/>
                    <a:pt x="5304" y="19794"/>
                    <a:pt x="5433" y="19823"/>
                  </a:cubicBezTo>
                  <a:cubicBezTo>
                    <a:pt x="5507" y="19840"/>
                    <a:pt x="5580" y="19857"/>
                    <a:pt x="5635" y="19869"/>
                  </a:cubicBezTo>
                  <a:cubicBezTo>
                    <a:pt x="5662" y="19875"/>
                    <a:pt x="5685" y="19881"/>
                    <a:pt x="5701" y="19884"/>
                  </a:cubicBezTo>
                  <a:cubicBezTo>
                    <a:pt x="5709" y="19886"/>
                    <a:pt x="5715" y="19888"/>
                    <a:pt x="5720" y="19889"/>
                  </a:cubicBezTo>
                  <a:cubicBezTo>
                    <a:pt x="5721" y="19889"/>
                    <a:pt x="5722" y="19889"/>
                    <a:pt x="5722" y="19890"/>
                  </a:cubicBezTo>
                  <a:cubicBezTo>
                    <a:pt x="5784" y="19892"/>
                    <a:pt x="6242" y="19908"/>
                    <a:pt x="6701" y="19924"/>
                  </a:cubicBezTo>
                  <a:cubicBezTo>
                    <a:pt x="6872" y="19931"/>
                    <a:pt x="7043" y="19937"/>
                    <a:pt x="7193" y="19942"/>
                  </a:cubicBezTo>
                  <a:close/>
                  <a:moveTo>
                    <a:pt x="8911" y="18889"/>
                  </a:moveTo>
                  <a:cubicBezTo>
                    <a:pt x="8912" y="18889"/>
                    <a:pt x="8912" y="18889"/>
                    <a:pt x="8912" y="18889"/>
                  </a:cubicBezTo>
                  <a:cubicBezTo>
                    <a:pt x="8912" y="18889"/>
                    <a:pt x="8912" y="18889"/>
                    <a:pt x="8912" y="18889"/>
                  </a:cubicBezTo>
                  <a:lnTo>
                    <a:pt x="8911" y="18889"/>
                  </a:lnTo>
                  <a:close/>
                  <a:moveTo>
                    <a:pt x="8910" y="18895"/>
                  </a:moveTo>
                  <a:cubicBezTo>
                    <a:pt x="8912" y="18895"/>
                    <a:pt x="8912" y="18895"/>
                    <a:pt x="8912" y="18895"/>
                  </a:cubicBezTo>
                  <a:cubicBezTo>
                    <a:pt x="8912" y="18895"/>
                    <a:pt x="8912" y="18895"/>
                    <a:pt x="8912" y="18895"/>
                  </a:cubicBezTo>
                  <a:lnTo>
                    <a:pt x="8910" y="18895"/>
                  </a:lnTo>
                  <a:close/>
                  <a:moveTo>
                    <a:pt x="7820" y="18974"/>
                  </a:moveTo>
                  <a:cubicBezTo>
                    <a:pt x="7932" y="18963"/>
                    <a:pt x="8777" y="18883"/>
                    <a:pt x="8910" y="18877"/>
                  </a:cubicBezTo>
                  <a:cubicBezTo>
                    <a:pt x="8901" y="18806"/>
                    <a:pt x="8894" y="18754"/>
                    <a:pt x="8892" y="18734"/>
                  </a:cubicBezTo>
                  <a:cubicBezTo>
                    <a:pt x="7659" y="18002"/>
                    <a:pt x="7659" y="18002"/>
                    <a:pt x="7659" y="18002"/>
                  </a:cubicBezTo>
                  <a:cubicBezTo>
                    <a:pt x="7581" y="18144"/>
                    <a:pt x="7581" y="18144"/>
                    <a:pt x="7581" y="18144"/>
                  </a:cubicBezTo>
                  <a:cubicBezTo>
                    <a:pt x="7581" y="18145"/>
                    <a:pt x="7580" y="18147"/>
                    <a:pt x="7578" y="18151"/>
                  </a:cubicBezTo>
                  <a:cubicBezTo>
                    <a:pt x="7573" y="18168"/>
                    <a:pt x="7561" y="18211"/>
                    <a:pt x="7561" y="18275"/>
                  </a:cubicBezTo>
                  <a:cubicBezTo>
                    <a:pt x="7561" y="18337"/>
                    <a:pt x="7572" y="18417"/>
                    <a:pt x="7610" y="18513"/>
                  </a:cubicBezTo>
                  <a:cubicBezTo>
                    <a:pt x="7657" y="18628"/>
                    <a:pt x="7711" y="18746"/>
                    <a:pt x="7753" y="18836"/>
                  </a:cubicBezTo>
                  <a:cubicBezTo>
                    <a:pt x="7785" y="18902"/>
                    <a:pt x="7810" y="18953"/>
                    <a:pt x="7820" y="18974"/>
                  </a:cubicBezTo>
                  <a:close/>
                  <a:moveTo>
                    <a:pt x="7890" y="19976"/>
                  </a:moveTo>
                  <a:cubicBezTo>
                    <a:pt x="7927" y="19981"/>
                    <a:pt x="8374" y="20047"/>
                    <a:pt x="8882" y="20123"/>
                  </a:cubicBezTo>
                  <a:cubicBezTo>
                    <a:pt x="8884" y="20121"/>
                    <a:pt x="8892" y="20110"/>
                    <a:pt x="8898" y="20104"/>
                  </a:cubicBezTo>
                  <a:cubicBezTo>
                    <a:pt x="8901" y="20100"/>
                    <a:pt x="8903" y="20095"/>
                    <a:pt x="8906" y="20090"/>
                  </a:cubicBezTo>
                  <a:cubicBezTo>
                    <a:pt x="8939" y="20028"/>
                    <a:pt x="9004" y="19879"/>
                    <a:pt x="9004" y="19695"/>
                  </a:cubicBezTo>
                  <a:cubicBezTo>
                    <a:pt x="9004" y="19668"/>
                    <a:pt x="9003" y="19640"/>
                    <a:pt x="9000" y="19611"/>
                  </a:cubicBezTo>
                  <a:cubicBezTo>
                    <a:pt x="8983" y="19464"/>
                    <a:pt x="8956" y="19243"/>
                    <a:pt x="8933" y="19058"/>
                  </a:cubicBezTo>
                  <a:cubicBezTo>
                    <a:pt x="8926" y="19006"/>
                    <a:pt x="8920" y="18956"/>
                    <a:pt x="8915" y="18913"/>
                  </a:cubicBezTo>
                  <a:cubicBezTo>
                    <a:pt x="8855" y="18915"/>
                    <a:pt x="8593" y="18938"/>
                    <a:pt x="8341" y="18961"/>
                  </a:cubicBezTo>
                  <a:cubicBezTo>
                    <a:pt x="8113" y="18982"/>
                    <a:pt x="7892" y="19003"/>
                    <a:pt x="7830" y="19009"/>
                  </a:cubicBezTo>
                  <a:cubicBezTo>
                    <a:pt x="7906" y="19709"/>
                    <a:pt x="7906" y="19709"/>
                    <a:pt x="7906" y="19709"/>
                  </a:cubicBezTo>
                  <a:cubicBezTo>
                    <a:pt x="7817" y="19952"/>
                    <a:pt x="7817" y="19952"/>
                    <a:pt x="7817" y="19952"/>
                  </a:cubicBezTo>
                  <a:cubicBezTo>
                    <a:pt x="7818" y="19968"/>
                    <a:pt x="7818" y="19968"/>
                    <a:pt x="7818" y="19968"/>
                  </a:cubicBezTo>
                  <a:cubicBezTo>
                    <a:pt x="7842" y="19970"/>
                    <a:pt x="7866" y="19973"/>
                    <a:pt x="7890" y="19976"/>
                  </a:cubicBezTo>
                  <a:close/>
                  <a:moveTo>
                    <a:pt x="8932" y="20130"/>
                  </a:moveTo>
                  <a:cubicBezTo>
                    <a:pt x="9256" y="20178"/>
                    <a:pt x="9600" y="20230"/>
                    <a:pt x="9877" y="20271"/>
                  </a:cubicBezTo>
                  <a:cubicBezTo>
                    <a:pt x="9884" y="20258"/>
                    <a:pt x="9884" y="20258"/>
                    <a:pt x="9884" y="20258"/>
                  </a:cubicBezTo>
                  <a:cubicBezTo>
                    <a:pt x="10006" y="19900"/>
                    <a:pt x="10006" y="19900"/>
                    <a:pt x="10006" y="19900"/>
                  </a:cubicBezTo>
                  <a:cubicBezTo>
                    <a:pt x="10162" y="19772"/>
                    <a:pt x="10162" y="19772"/>
                    <a:pt x="10162" y="19772"/>
                  </a:cubicBezTo>
                  <a:cubicBezTo>
                    <a:pt x="10138" y="19101"/>
                    <a:pt x="10138" y="19101"/>
                    <a:pt x="10138" y="19101"/>
                  </a:cubicBezTo>
                  <a:cubicBezTo>
                    <a:pt x="10272" y="18927"/>
                    <a:pt x="10272" y="18927"/>
                    <a:pt x="10272" y="18927"/>
                  </a:cubicBezTo>
                  <a:cubicBezTo>
                    <a:pt x="10267" y="18868"/>
                    <a:pt x="10223" y="18426"/>
                    <a:pt x="10214" y="18336"/>
                  </a:cubicBezTo>
                  <a:cubicBezTo>
                    <a:pt x="9195" y="18321"/>
                    <a:pt x="9195" y="18321"/>
                    <a:pt x="9195" y="18321"/>
                  </a:cubicBezTo>
                  <a:cubicBezTo>
                    <a:pt x="9177" y="18348"/>
                    <a:pt x="9121" y="18435"/>
                    <a:pt x="9064" y="18522"/>
                  </a:cubicBezTo>
                  <a:cubicBezTo>
                    <a:pt x="9029" y="18574"/>
                    <a:pt x="8994" y="18626"/>
                    <a:pt x="8967" y="18666"/>
                  </a:cubicBezTo>
                  <a:cubicBezTo>
                    <a:pt x="8954" y="18686"/>
                    <a:pt x="8942" y="18703"/>
                    <a:pt x="8934" y="18715"/>
                  </a:cubicBezTo>
                  <a:cubicBezTo>
                    <a:pt x="8931" y="18718"/>
                    <a:pt x="8929" y="18721"/>
                    <a:pt x="8927" y="18724"/>
                  </a:cubicBezTo>
                  <a:cubicBezTo>
                    <a:pt x="8932" y="18767"/>
                    <a:pt x="9004" y="19324"/>
                    <a:pt x="9035" y="19607"/>
                  </a:cubicBezTo>
                  <a:cubicBezTo>
                    <a:pt x="9039" y="19637"/>
                    <a:pt x="9040" y="19666"/>
                    <a:pt x="9040" y="19695"/>
                  </a:cubicBezTo>
                  <a:cubicBezTo>
                    <a:pt x="9040" y="19887"/>
                    <a:pt x="8972" y="20041"/>
                    <a:pt x="8938" y="20107"/>
                  </a:cubicBezTo>
                  <a:lnTo>
                    <a:pt x="8932" y="20130"/>
                  </a:lnTo>
                  <a:close/>
                  <a:moveTo>
                    <a:pt x="13140" y="20349"/>
                  </a:moveTo>
                  <a:cubicBezTo>
                    <a:pt x="12127" y="19948"/>
                    <a:pt x="12127" y="19948"/>
                    <a:pt x="12127" y="19948"/>
                  </a:cubicBezTo>
                  <a:cubicBezTo>
                    <a:pt x="11931" y="18657"/>
                    <a:pt x="11931" y="18657"/>
                    <a:pt x="11931" y="18657"/>
                  </a:cubicBezTo>
                  <a:cubicBezTo>
                    <a:pt x="10301" y="18949"/>
                    <a:pt x="10301" y="18949"/>
                    <a:pt x="10301" y="18949"/>
                  </a:cubicBezTo>
                  <a:cubicBezTo>
                    <a:pt x="10174" y="19113"/>
                    <a:pt x="10174" y="19113"/>
                    <a:pt x="10174" y="19113"/>
                  </a:cubicBezTo>
                  <a:cubicBezTo>
                    <a:pt x="10199" y="19789"/>
                    <a:pt x="10199" y="19789"/>
                    <a:pt x="10199" y="19789"/>
                  </a:cubicBezTo>
                  <a:cubicBezTo>
                    <a:pt x="10037" y="19922"/>
                    <a:pt x="10037" y="19922"/>
                    <a:pt x="10037" y="19922"/>
                  </a:cubicBezTo>
                  <a:cubicBezTo>
                    <a:pt x="9923" y="20256"/>
                    <a:pt x="9923" y="20256"/>
                    <a:pt x="9923" y="20256"/>
                  </a:cubicBezTo>
                  <a:cubicBezTo>
                    <a:pt x="9921" y="20277"/>
                    <a:pt x="9921" y="20277"/>
                    <a:pt x="9921" y="20277"/>
                  </a:cubicBezTo>
                  <a:cubicBezTo>
                    <a:pt x="10211" y="20321"/>
                    <a:pt x="10418" y="20351"/>
                    <a:pt x="10433" y="20354"/>
                  </a:cubicBezTo>
                  <a:cubicBezTo>
                    <a:pt x="10449" y="20356"/>
                    <a:pt x="10611" y="20375"/>
                    <a:pt x="10771" y="20447"/>
                  </a:cubicBezTo>
                  <a:cubicBezTo>
                    <a:pt x="10935" y="20521"/>
                    <a:pt x="11499" y="20837"/>
                    <a:pt x="11654" y="20935"/>
                  </a:cubicBezTo>
                  <a:cubicBezTo>
                    <a:pt x="12581" y="21529"/>
                    <a:pt x="12581" y="21529"/>
                    <a:pt x="12581" y="21529"/>
                  </a:cubicBezTo>
                  <a:cubicBezTo>
                    <a:pt x="12725" y="21229"/>
                    <a:pt x="12860" y="20944"/>
                    <a:pt x="12963" y="20726"/>
                  </a:cubicBezTo>
                  <a:cubicBezTo>
                    <a:pt x="13052" y="20536"/>
                    <a:pt x="13117" y="20399"/>
                    <a:pt x="13140" y="20349"/>
                  </a:cubicBezTo>
                  <a:close/>
                  <a:moveTo>
                    <a:pt x="4151" y="12831"/>
                  </a:moveTo>
                  <a:cubicBezTo>
                    <a:pt x="4162" y="12845"/>
                    <a:pt x="4147" y="12881"/>
                    <a:pt x="4141" y="12888"/>
                  </a:cubicBezTo>
                  <a:cubicBezTo>
                    <a:pt x="4136" y="12896"/>
                    <a:pt x="4043" y="12953"/>
                    <a:pt x="4026" y="12972"/>
                  </a:cubicBezTo>
                  <a:cubicBezTo>
                    <a:pt x="4009" y="12990"/>
                    <a:pt x="4012" y="13044"/>
                    <a:pt x="4008" y="13058"/>
                  </a:cubicBezTo>
                  <a:cubicBezTo>
                    <a:pt x="4005" y="13072"/>
                    <a:pt x="3993" y="13070"/>
                    <a:pt x="3974" y="13067"/>
                  </a:cubicBezTo>
                  <a:cubicBezTo>
                    <a:pt x="3956" y="13064"/>
                    <a:pt x="3941" y="13004"/>
                    <a:pt x="3947" y="12977"/>
                  </a:cubicBezTo>
                  <a:cubicBezTo>
                    <a:pt x="3949" y="12967"/>
                    <a:pt x="3907" y="12986"/>
                    <a:pt x="3890" y="12997"/>
                  </a:cubicBezTo>
                  <a:cubicBezTo>
                    <a:pt x="3873" y="13008"/>
                    <a:pt x="3857" y="13014"/>
                    <a:pt x="3836" y="12997"/>
                  </a:cubicBezTo>
                  <a:cubicBezTo>
                    <a:pt x="3816" y="12981"/>
                    <a:pt x="3834" y="12950"/>
                    <a:pt x="3857" y="12938"/>
                  </a:cubicBezTo>
                  <a:cubicBezTo>
                    <a:pt x="3880" y="12927"/>
                    <a:pt x="3915" y="12925"/>
                    <a:pt x="3944" y="12922"/>
                  </a:cubicBezTo>
                  <a:cubicBezTo>
                    <a:pt x="3973" y="12919"/>
                    <a:pt x="4017" y="12911"/>
                    <a:pt x="4027" y="12887"/>
                  </a:cubicBezTo>
                  <a:cubicBezTo>
                    <a:pt x="4037" y="12864"/>
                    <a:pt x="3872" y="12854"/>
                    <a:pt x="3844" y="12849"/>
                  </a:cubicBezTo>
                  <a:cubicBezTo>
                    <a:pt x="3817" y="12844"/>
                    <a:pt x="3806" y="12821"/>
                    <a:pt x="3813" y="12809"/>
                  </a:cubicBezTo>
                  <a:cubicBezTo>
                    <a:pt x="3820" y="12798"/>
                    <a:pt x="3850" y="12816"/>
                    <a:pt x="3850" y="12816"/>
                  </a:cubicBezTo>
                  <a:cubicBezTo>
                    <a:pt x="3850" y="12816"/>
                    <a:pt x="4042" y="12809"/>
                    <a:pt x="4084" y="12811"/>
                  </a:cubicBezTo>
                  <a:cubicBezTo>
                    <a:pt x="4126" y="12812"/>
                    <a:pt x="4151" y="12831"/>
                    <a:pt x="4151" y="12831"/>
                  </a:cubicBezTo>
                  <a:close/>
                  <a:moveTo>
                    <a:pt x="2789" y="11458"/>
                  </a:moveTo>
                  <a:cubicBezTo>
                    <a:pt x="2789" y="11458"/>
                    <a:pt x="2783" y="11380"/>
                    <a:pt x="2794" y="11339"/>
                  </a:cubicBezTo>
                  <a:cubicBezTo>
                    <a:pt x="2806" y="11299"/>
                    <a:pt x="2850" y="11262"/>
                    <a:pt x="2848" y="11222"/>
                  </a:cubicBezTo>
                  <a:cubicBezTo>
                    <a:pt x="2847" y="11183"/>
                    <a:pt x="2840" y="11175"/>
                    <a:pt x="2827" y="11167"/>
                  </a:cubicBezTo>
                  <a:cubicBezTo>
                    <a:pt x="2802" y="11151"/>
                    <a:pt x="2713" y="11162"/>
                    <a:pt x="2628" y="11307"/>
                  </a:cubicBezTo>
                  <a:cubicBezTo>
                    <a:pt x="2611" y="11348"/>
                    <a:pt x="2631" y="11393"/>
                    <a:pt x="2627" y="11409"/>
                  </a:cubicBezTo>
                  <a:cubicBezTo>
                    <a:pt x="2623" y="11425"/>
                    <a:pt x="2633" y="11516"/>
                    <a:pt x="2578" y="11567"/>
                  </a:cubicBezTo>
                  <a:cubicBezTo>
                    <a:pt x="2549" y="11594"/>
                    <a:pt x="2546" y="11601"/>
                    <a:pt x="2546" y="11601"/>
                  </a:cubicBezTo>
                  <a:cubicBezTo>
                    <a:pt x="2546" y="11601"/>
                    <a:pt x="2597" y="11598"/>
                    <a:pt x="2655" y="11573"/>
                  </a:cubicBezTo>
                  <a:cubicBezTo>
                    <a:pt x="2712" y="11549"/>
                    <a:pt x="2777" y="11528"/>
                    <a:pt x="2789" y="11458"/>
                  </a:cubicBezTo>
                  <a:close/>
                  <a:moveTo>
                    <a:pt x="1759" y="10773"/>
                  </a:moveTo>
                  <a:cubicBezTo>
                    <a:pt x="1800" y="10747"/>
                    <a:pt x="1859" y="10724"/>
                    <a:pt x="1896" y="10710"/>
                  </a:cubicBezTo>
                  <a:cubicBezTo>
                    <a:pt x="1933" y="10697"/>
                    <a:pt x="1964" y="10695"/>
                    <a:pt x="1987" y="10654"/>
                  </a:cubicBezTo>
                  <a:cubicBezTo>
                    <a:pt x="2011" y="10613"/>
                    <a:pt x="2026" y="10574"/>
                    <a:pt x="2075" y="10574"/>
                  </a:cubicBezTo>
                  <a:cubicBezTo>
                    <a:pt x="2124" y="10574"/>
                    <a:pt x="2164" y="10591"/>
                    <a:pt x="2172" y="10569"/>
                  </a:cubicBezTo>
                  <a:cubicBezTo>
                    <a:pt x="2180" y="10548"/>
                    <a:pt x="2162" y="10515"/>
                    <a:pt x="2127" y="10500"/>
                  </a:cubicBezTo>
                  <a:cubicBezTo>
                    <a:pt x="2100" y="10488"/>
                    <a:pt x="2038" y="10511"/>
                    <a:pt x="1978" y="10579"/>
                  </a:cubicBezTo>
                  <a:cubicBezTo>
                    <a:pt x="1918" y="10647"/>
                    <a:pt x="1858" y="10688"/>
                    <a:pt x="1807" y="10709"/>
                  </a:cubicBezTo>
                  <a:cubicBezTo>
                    <a:pt x="1756" y="10729"/>
                    <a:pt x="1661" y="10787"/>
                    <a:pt x="1662" y="10796"/>
                  </a:cubicBezTo>
                  <a:cubicBezTo>
                    <a:pt x="1664" y="10806"/>
                    <a:pt x="1718" y="10799"/>
                    <a:pt x="1759" y="10773"/>
                  </a:cubicBezTo>
                  <a:close/>
                  <a:moveTo>
                    <a:pt x="555" y="9449"/>
                  </a:moveTo>
                  <a:cubicBezTo>
                    <a:pt x="588" y="9474"/>
                    <a:pt x="640" y="9501"/>
                    <a:pt x="651" y="9550"/>
                  </a:cubicBezTo>
                  <a:cubicBezTo>
                    <a:pt x="662" y="9599"/>
                    <a:pt x="621" y="9647"/>
                    <a:pt x="621" y="9647"/>
                  </a:cubicBezTo>
                  <a:cubicBezTo>
                    <a:pt x="621" y="9647"/>
                    <a:pt x="681" y="9674"/>
                    <a:pt x="702" y="9683"/>
                  </a:cubicBezTo>
                  <a:cubicBezTo>
                    <a:pt x="722" y="9691"/>
                    <a:pt x="779" y="9692"/>
                    <a:pt x="823" y="9663"/>
                  </a:cubicBezTo>
                  <a:cubicBezTo>
                    <a:pt x="867" y="9635"/>
                    <a:pt x="898" y="9605"/>
                    <a:pt x="912" y="9580"/>
                  </a:cubicBezTo>
                  <a:cubicBezTo>
                    <a:pt x="926" y="9556"/>
                    <a:pt x="938" y="9531"/>
                    <a:pt x="946" y="9527"/>
                  </a:cubicBezTo>
                  <a:cubicBezTo>
                    <a:pt x="946" y="9527"/>
                    <a:pt x="937" y="9498"/>
                    <a:pt x="889" y="9523"/>
                  </a:cubicBezTo>
                  <a:cubicBezTo>
                    <a:pt x="841" y="9547"/>
                    <a:pt x="800" y="9571"/>
                    <a:pt x="777" y="9556"/>
                  </a:cubicBezTo>
                  <a:cubicBezTo>
                    <a:pt x="753" y="9540"/>
                    <a:pt x="743" y="9535"/>
                    <a:pt x="737" y="9505"/>
                  </a:cubicBezTo>
                  <a:cubicBezTo>
                    <a:pt x="732" y="9475"/>
                    <a:pt x="722" y="9446"/>
                    <a:pt x="687" y="9437"/>
                  </a:cubicBezTo>
                  <a:cubicBezTo>
                    <a:pt x="651" y="9427"/>
                    <a:pt x="611" y="9424"/>
                    <a:pt x="600" y="9419"/>
                  </a:cubicBezTo>
                  <a:cubicBezTo>
                    <a:pt x="591" y="9414"/>
                    <a:pt x="553" y="9396"/>
                    <a:pt x="548" y="9391"/>
                  </a:cubicBezTo>
                  <a:cubicBezTo>
                    <a:pt x="547" y="9397"/>
                    <a:pt x="526" y="9427"/>
                    <a:pt x="555" y="9449"/>
                  </a:cubicBezTo>
                  <a:close/>
                  <a:moveTo>
                    <a:pt x="1650" y="8648"/>
                  </a:moveTo>
                  <a:cubicBezTo>
                    <a:pt x="1636" y="8684"/>
                    <a:pt x="1629" y="8738"/>
                    <a:pt x="1657" y="8745"/>
                  </a:cubicBezTo>
                  <a:cubicBezTo>
                    <a:pt x="1657" y="8745"/>
                    <a:pt x="1684" y="8727"/>
                    <a:pt x="1695" y="8700"/>
                  </a:cubicBezTo>
                  <a:cubicBezTo>
                    <a:pt x="1706" y="8673"/>
                    <a:pt x="1718" y="8663"/>
                    <a:pt x="1741" y="8655"/>
                  </a:cubicBezTo>
                  <a:cubicBezTo>
                    <a:pt x="1765" y="8647"/>
                    <a:pt x="1812" y="8644"/>
                    <a:pt x="1856" y="8621"/>
                  </a:cubicBezTo>
                  <a:cubicBezTo>
                    <a:pt x="1900" y="8598"/>
                    <a:pt x="1909" y="8577"/>
                    <a:pt x="1884" y="8563"/>
                  </a:cubicBezTo>
                  <a:cubicBezTo>
                    <a:pt x="1858" y="8550"/>
                    <a:pt x="1802" y="8554"/>
                    <a:pt x="1784" y="8547"/>
                  </a:cubicBezTo>
                  <a:cubicBezTo>
                    <a:pt x="1766" y="8540"/>
                    <a:pt x="1747" y="8509"/>
                    <a:pt x="1769" y="8494"/>
                  </a:cubicBezTo>
                  <a:cubicBezTo>
                    <a:pt x="1791" y="8479"/>
                    <a:pt x="1837" y="8479"/>
                    <a:pt x="1841" y="8461"/>
                  </a:cubicBezTo>
                  <a:cubicBezTo>
                    <a:pt x="1845" y="8443"/>
                    <a:pt x="1843" y="8380"/>
                    <a:pt x="1802" y="8384"/>
                  </a:cubicBezTo>
                  <a:cubicBezTo>
                    <a:pt x="1761" y="8389"/>
                    <a:pt x="1756" y="8423"/>
                    <a:pt x="1751" y="8440"/>
                  </a:cubicBezTo>
                  <a:cubicBezTo>
                    <a:pt x="1746" y="8458"/>
                    <a:pt x="1707" y="8472"/>
                    <a:pt x="1695" y="8487"/>
                  </a:cubicBezTo>
                  <a:cubicBezTo>
                    <a:pt x="1683" y="8502"/>
                    <a:pt x="1670" y="8516"/>
                    <a:pt x="1683" y="8529"/>
                  </a:cubicBezTo>
                  <a:cubicBezTo>
                    <a:pt x="1695" y="8543"/>
                    <a:pt x="1707" y="8568"/>
                    <a:pt x="1698" y="8587"/>
                  </a:cubicBezTo>
                  <a:cubicBezTo>
                    <a:pt x="1688" y="8606"/>
                    <a:pt x="1664" y="8613"/>
                    <a:pt x="1650" y="8648"/>
                  </a:cubicBezTo>
                  <a:close/>
                  <a:moveTo>
                    <a:pt x="3523" y="7929"/>
                  </a:moveTo>
                  <a:cubicBezTo>
                    <a:pt x="3536" y="7886"/>
                    <a:pt x="3497" y="7835"/>
                    <a:pt x="3433" y="7815"/>
                  </a:cubicBezTo>
                  <a:cubicBezTo>
                    <a:pt x="3351" y="7788"/>
                    <a:pt x="3290" y="7804"/>
                    <a:pt x="3273" y="7845"/>
                  </a:cubicBezTo>
                  <a:cubicBezTo>
                    <a:pt x="3257" y="7886"/>
                    <a:pt x="3306" y="7950"/>
                    <a:pt x="3370" y="7968"/>
                  </a:cubicBezTo>
                  <a:cubicBezTo>
                    <a:pt x="3433" y="7987"/>
                    <a:pt x="3511" y="7972"/>
                    <a:pt x="3523" y="7929"/>
                  </a:cubicBezTo>
                  <a:close/>
                  <a:moveTo>
                    <a:pt x="508" y="15179"/>
                  </a:moveTo>
                  <a:cubicBezTo>
                    <a:pt x="473" y="15204"/>
                    <a:pt x="424" y="15276"/>
                    <a:pt x="461" y="15304"/>
                  </a:cubicBezTo>
                  <a:cubicBezTo>
                    <a:pt x="498" y="15333"/>
                    <a:pt x="570" y="15329"/>
                    <a:pt x="621" y="15282"/>
                  </a:cubicBezTo>
                  <a:cubicBezTo>
                    <a:pt x="672" y="15235"/>
                    <a:pt x="670" y="15204"/>
                    <a:pt x="650" y="15177"/>
                  </a:cubicBezTo>
                  <a:cubicBezTo>
                    <a:pt x="620" y="15139"/>
                    <a:pt x="543" y="15155"/>
                    <a:pt x="508" y="15179"/>
                  </a:cubicBezTo>
                  <a:close/>
                  <a:moveTo>
                    <a:pt x="2265" y="11304"/>
                  </a:moveTo>
                  <a:cubicBezTo>
                    <a:pt x="2265" y="11304"/>
                    <a:pt x="2083" y="11244"/>
                    <a:pt x="2038" y="11229"/>
                  </a:cubicBezTo>
                  <a:cubicBezTo>
                    <a:pt x="2094" y="11074"/>
                    <a:pt x="2094" y="11074"/>
                    <a:pt x="2094" y="11074"/>
                  </a:cubicBezTo>
                  <a:cubicBezTo>
                    <a:pt x="2071" y="11065"/>
                    <a:pt x="2071" y="11065"/>
                    <a:pt x="2071" y="11065"/>
                  </a:cubicBezTo>
                  <a:cubicBezTo>
                    <a:pt x="1971" y="11340"/>
                    <a:pt x="1971" y="11340"/>
                    <a:pt x="1971" y="11340"/>
                  </a:cubicBezTo>
                  <a:cubicBezTo>
                    <a:pt x="1783" y="11493"/>
                    <a:pt x="1783" y="11493"/>
                    <a:pt x="1783" y="11493"/>
                  </a:cubicBezTo>
                  <a:cubicBezTo>
                    <a:pt x="1800" y="11511"/>
                    <a:pt x="1800" y="11511"/>
                    <a:pt x="1800" y="11511"/>
                  </a:cubicBezTo>
                  <a:cubicBezTo>
                    <a:pt x="1992" y="11355"/>
                    <a:pt x="1992" y="11355"/>
                    <a:pt x="1992" y="11355"/>
                  </a:cubicBezTo>
                  <a:cubicBezTo>
                    <a:pt x="2029" y="11252"/>
                    <a:pt x="2029" y="11252"/>
                    <a:pt x="2029" y="11252"/>
                  </a:cubicBezTo>
                  <a:cubicBezTo>
                    <a:pt x="2030" y="11252"/>
                    <a:pt x="2030" y="11253"/>
                    <a:pt x="2031" y="11253"/>
                  </a:cubicBezTo>
                  <a:cubicBezTo>
                    <a:pt x="2037" y="11255"/>
                    <a:pt x="2047" y="11258"/>
                    <a:pt x="2058" y="11262"/>
                  </a:cubicBezTo>
                  <a:cubicBezTo>
                    <a:pt x="2080" y="11269"/>
                    <a:pt x="2110" y="11279"/>
                    <a:pt x="2139" y="11288"/>
                  </a:cubicBezTo>
                  <a:cubicBezTo>
                    <a:pt x="2194" y="11307"/>
                    <a:pt x="2249" y="11325"/>
                    <a:pt x="2256" y="11327"/>
                  </a:cubicBezTo>
                  <a:cubicBezTo>
                    <a:pt x="2429" y="11409"/>
                    <a:pt x="2429" y="11409"/>
                    <a:pt x="2429" y="11409"/>
                  </a:cubicBezTo>
                  <a:cubicBezTo>
                    <a:pt x="2429" y="11409"/>
                    <a:pt x="2429" y="11409"/>
                    <a:pt x="2429" y="11409"/>
                  </a:cubicBezTo>
                  <a:cubicBezTo>
                    <a:pt x="2439" y="11387"/>
                    <a:pt x="2439" y="11387"/>
                    <a:pt x="2439" y="11387"/>
                  </a:cubicBezTo>
                  <a:cubicBezTo>
                    <a:pt x="2266" y="11304"/>
                    <a:pt x="2266" y="11304"/>
                    <a:pt x="2266" y="11304"/>
                  </a:cubicBezTo>
                  <a:lnTo>
                    <a:pt x="2265" y="11304"/>
                  </a:lnTo>
                  <a:close/>
                  <a:moveTo>
                    <a:pt x="18011" y="673"/>
                  </a:moveTo>
                  <a:cubicBezTo>
                    <a:pt x="17977" y="697"/>
                    <a:pt x="17944" y="720"/>
                    <a:pt x="17912" y="741"/>
                  </a:cubicBezTo>
                  <a:cubicBezTo>
                    <a:pt x="17945" y="788"/>
                    <a:pt x="17979" y="842"/>
                    <a:pt x="18011" y="902"/>
                  </a:cubicBezTo>
                  <a:cubicBezTo>
                    <a:pt x="18011" y="981"/>
                    <a:pt x="18011" y="981"/>
                    <a:pt x="18011" y="981"/>
                  </a:cubicBezTo>
                  <a:cubicBezTo>
                    <a:pt x="17970" y="896"/>
                    <a:pt x="17926" y="823"/>
                    <a:pt x="17882" y="761"/>
                  </a:cubicBezTo>
                  <a:cubicBezTo>
                    <a:pt x="17435" y="1053"/>
                    <a:pt x="16722" y="1590"/>
                    <a:pt x="16212" y="1725"/>
                  </a:cubicBezTo>
                  <a:cubicBezTo>
                    <a:pt x="16179" y="1734"/>
                    <a:pt x="16146" y="1742"/>
                    <a:pt x="16112" y="1750"/>
                  </a:cubicBezTo>
                  <a:cubicBezTo>
                    <a:pt x="16114" y="1753"/>
                    <a:pt x="16114" y="1753"/>
                    <a:pt x="16114" y="1753"/>
                  </a:cubicBezTo>
                  <a:cubicBezTo>
                    <a:pt x="16117" y="1757"/>
                    <a:pt x="16117" y="1757"/>
                    <a:pt x="16117" y="1757"/>
                  </a:cubicBezTo>
                  <a:cubicBezTo>
                    <a:pt x="16094" y="1775"/>
                    <a:pt x="15762" y="2152"/>
                    <a:pt x="15712" y="2342"/>
                  </a:cubicBezTo>
                  <a:cubicBezTo>
                    <a:pt x="15681" y="2459"/>
                    <a:pt x="15649" y="2676"/>
                    <a:pt x="15649" y="2932"/>
                  </a:cubicBezTo>
                  <a:cubicBezTo>
                    <a:pt x="15649" y="3116"/>
                    <a:pt x="15665" y="3322"/>
                    <a:pt x="15709" y="3526"/>
                  </a:cubicBezTo>
                  <a:cubicBezTo>
                    <a:pt x="15760" y="3769"/>
                    <a:pt x="15837" y="4052"/>
                    <a:pt x="15901" y="4277"/>
                  </a:cubicBezTo>
                  <a:cubicBezTo>
                    <a:pt x="15933" y="4390"/>
                    <a:pt x="15962" y="4488"/>
                    <a:pt x="15983" y="4559"/>
                  </a:cubicBezTo>
                  <a:cubicBezTo>
                    <a:pt x="15993" y="4594"/>
                    <a:pt x="16002" y="4623"/>
                    <a:pt x="16008" y="4644"/>
                  </a:cubicBezTo>
                  <a:cubicBezTo>
                    <a:pt x="16010" y="4654"/>
                    <a:pt x="16013" y="4662"/>
                    <a:pt x="16014" y="4669"/>
                  </a:cubicBezTo>
                  <a:cubicBezTo>
                    <a:pt x="16015" y="4673"/>
                    <a:pt x="16016" y="4675"/>
                    <a:pt x="16016" y="4678"/>
                  </a:cubicBezTo>
                  <a:cubicBezTo>
                    <a:pt x="16104" y="4659"/>
                    <a:pt x="16104" y="4659"/>
                    <a:pt x="16104" y="4659"/>
                  </a:cubicBezTo>
                  <a:cubicBezTo>
                    <a:pt x="16105" y="4659"/>
                    <a:pt x="16576" y="4571"/>
                    <a:pt x="16974" y="4571"/>
                  </a:cubicBezTo>
                  <a:cubicBezTo>
                    <a:pt x="17013" y="4571"/>
                    <a:pt x="17051" y="4571"/>
                    <a:pt x="17087" y="4573"/>
                  </a:cubicBezTo>
                  <a:cubicBezTo>
                    <a:pt x="17432" y="4591"/>
                    <a:pt x="17814" y="4639"/>
                    <a:pt x="18011" y="4666"/>
                  </a:cubicBezTo>
                  <a:cubicBezTo>
                    <a:pt x="18011" y="4703"/>
                    <a:pt x="18011" y="4703"/>
                    <a:pt x="18011" y="4703"/>
                  </a:cubicBezTo>
                  <a:cubicBezTo>
                    <a:pt x="17816" y="4675"/>
                    <a:pt x="17431" y="4627"/>
                    <a:pt x="17085" y="4609"/>
                  </a:cubicBezTo>
                  <a:cubicBezTo>
                    <a:pt x="17049" y="4607"/>
                    <a:pt x="17012" y="4607"/>
                    <a:pt x="16974" y="4607"/>
                  </a:cubicBezTo>
                  <a:cubicBezTo>
                    <a:pt x="16778" y="4607"/>
                    <a:pt x="16562" y="4629"/>
                    <a:pt x="16395" y="4651"/>
                  </a:cubicBezTo>
                  <a:cubicBezTo>
                    <a:pt x="16229" y="4673"/>
                    <a:pt x="16112" y="4695"/>
                    <a:pt x="16111" y="4695"/>
                  </a:cubicBezTo>
                  <a:cubicBezTo>
                    <a:pt x="16034" y="4711"/>
                    <a:pt x="16034" y="4711"/>
                    <a:pt x="16034" y="4711"/>
                  </a:cubicBezTo>
                  <a:cubicBezTo>
                    <a:pt x="16052" y="4765"/>
                    <a:pt x="16083" y="4881"/>
                    <a:pt x="16083" y="5035"/>
                  </a:cubicBezTo>
                  <a:cubicBezTo>
                    <a:pt x="16083" y="5114"/>
                    <a:pt x="16075" y="5202"/>
                    <a:pt x="16053" y="5297"/>
                  </a:cubicBezTo>
                  <a:cubicBezTo>
                    <a:pt x="15969" y="5650"/>
                    <a:pt x="15701" y="5868"/>
                    <a:pt x="15607" y="6100"/>
                  </a:cubicBezTo>
                  <a:cubicBezTo>
                    <a:pt x="15532" y="6284"/>
                    <a:pt x="15472" y="6402"/>
                    <a:pt x="15472" y="6641"/>
                  </a:cubicBezTo>
                  <a:cubicBezTo>
                    <a:pt x="15472" y="6715"/>
                    <a:pt x="15478" y="6800"/>
                    <a:pt x="15491" y="6902"/>
                  </a:cubicBezTo>
                  <a:cubicBezTo>
                    <a:pt x="15537" y="7268"/>
                    <a:pt x="15633" y="8033"/>
                    <a:pt x="15662" y="8267"/>
                  </a:cubicBezTo>
                  <a:cubicBezTo>
                    <a:pt x="15662" y="8267"/>
                    <a:pt x="15662" y="8268"/>
                    <a:pt x="15662" y="8268"/>
                  </a:cubicBezTo>
                  <a:cubicBezTo>
                    <a:pt x="15662" y="8268"/>
                    <a:pt x="15665" y="8279"/>
                    <a:pt x="15667" y="8287"/>
                  </a:cubicBezTo>
                  <a:cubicBezTo>
                    <a:pt x="15685" y="8279"/>
                    <a:pt x="15698" y="8273"/>
                    <a:pt x="15698" y="8273"/>
                  </a:cubicBezTo>
                  <a:cubicBezTo>
                    <a:pt x="15704" y="8271"/>
                    <a:pt x="15704" y="8271"/>
                    <a:pt x="15704" y="8271"/>
                  </a:cubicBezTo>
                  <a:cubicBezTo>
                    <a:pt x="17137" y="7977"/>
                    <a:pt x="17137" y="7977"/>
                    <a:pt x="17137" y="7977"/>
                  </a:cubicBezTo>
                  <a:cubicBezTo>
                    <a:pt x="17140" y="7977"/>
                    <a:pt x="17140" y="7977"/>
                    <a:pt x="17140" y="7977"/>
                  </a:cubicBezTo>
                  <a:cubicBezTo>
                    <a:pt x="17140" y="7977"/>
                    <a:pt x="17387" y="7948"/>
                    <a:pt x="17635" y="7919"/>
                  </a:cubicBezTo>
                  <a:cubicBezTo>
                    <a:pt x="17760" y="7904"/>
                    <a:pt x="17884" y="7889"/>
                    <a:pt x="17978" y="7879"/>
                  </a:cubicBezTo>
                  <a:cubicBezTo>
                    <a:pt x="17990" y="7877"/>
                    <a:pt x="18001" y="7876"/>
                    <a:pt x="18011" y="7875"/>
                  </a:cubicBezTo>
                  <a:cubicBezTo>
                    <a:pt x="18011" y="7990"/>
                    <a:pt x="18011" y="7990"/>
                    <a:pt x="18011" y="7990"/>
                  </a:cubicBezTo>
                  <a:cubicBezTo>
                    <a:pt x="17911" y="8002"/>
                    <a:pt x="17770" y="8018"/>
                    <a:pt x="17631" y="8035"/>
                  </a:cubicBezTo>
                  <a:cubicBezTo>
                    <a:pt x="17403" y="8062"/>
                    <a:pt x="17181" y="8088"/>
                    <a:pt x="17155" y="8091"/>
                  </a:cubicBezTo>
                  <a:cubicBezTo>
                    <a:pt x="15738" y="8381"/>
                    <a:pt x="15738" y="8381"/>
                    <a:pt x="15738" y="8381"/>
                  </a:cubicBezTo>
                  <a:cubicBezTo>
                    <a:pt x="15714" y="8391"/>
                    <a:pt x="15613" y="8435"/>
                    <a:pt x="15588" y="8446"/>
                  </a:cubicBezTo>
                  <a:cubicBezTo>
                    <a:pt x="15588" y="8446"/>
                    <a:pt x="15588" y="8446"/>
                    <a:pt x="15588" y="8446"/>
                  </a:cubicBezTo>
                  <a:cubicBezTo>
                    <a:pt x="15580" y="8449"/>
                    <a:pt x="15530" y="8478"/>
                    <a:pt x="15460" y="8517"/>
                  </a:cubicBezTo>
                  <a:cubicBezTo>
                    <a:pt x="15354" y="8576"/>
                    <a:pt x="15200" y="8662"/>
                    <a:pt x="15048" y="8742"/>
                  </a:cubicBezTo>
                  <a:cubicBezTo>
                    <a:pt x="14897" y="8821"/>
                    <a:pt x="14750" y="8894"/>
                    <a:pt x="14653" y="8930"/>
                  </a:cubicBezTo>
                  <a:cubicBezTo>
                    <a:pt x="14529" y="8974"/>
                    <a:pt x="14413" y="9014"/>
                    <a:pt x="14325" y="9042"/>
                  </a:cubicBezTo>
                  <a:cubicBezTo>
                    <a:pt x="14281" y="9056"/>
                    <a:pt x="14244" y="9068"/>
                    <a:pt x="14217" y="9076"/>
                  </a:cubicBezTo>
                  <a:cubicBezTo>
                    <a:pt x="14204" y="9080"/>
                    <a:pt x="14192" y="9083"/>
                    <a:pt x="14183" y="9085"/>
                  </a:cubicBezTo>
                  <a:cubicBezTo>
                    <a:pt x="14179" y="9086"/>
                    <a:pt x="14175" y="9087"/>
                    <a:pt x="14171" y="9088"/>
                  </a:cubicBezTo>
                  <a:cubicBezTo>
                    <a:pt x="14168" y="9088"/>
                    <a:pt x="14166" y="9089"/>
                    <a:pt x="14161" y="9089"/>
                  </a:cubicBezTo>
                  <a:cubicBezTo>
                    <a:pt x="14149" y="9092"/>
                    <a:pt x="14094" y="9104"/>
                    <a:pt x="14024" y="9121"/>
                  </a:cubicBezTo>
                  <a:cubicBezTo>
                    <a:pt x="13852" y="9162"/>
                    <a:pt x="13573" y="9229"/>
                    <a:pt x="13466" y="9255"/>
                  </a:cubicBezTo>
                  <a:cubicBezTo>
                    <a:pt x="13472" y="9293"/>
                    <a:pt x="13475" y="9330"/>
                    <a:pt x="13475" y="9366"/>
                  </a:cubicBezTo>
                  <a:cubicBezTo>
                    <a:pt x="13475" y="9426"/>
                    <a:pt x="13469" y="9482"/>
                    <a:pt x="13462" y="9524"/>
                  </a:cubicBezTo>
                  <a:cubicBezTo>
                    <a:pt x="13459" y="9543"/>
                    <a:pt x="13456" y="9560"/>
                    <a:pt x="13452" y="9573"/>
                  </a:cubicBezTo>
                  <a:cubicBezTo>
                    <a:pt x="13483" y="9619"/>
                    <a:pt x="13540" y="9677"/>
                    <a:pt x="13603" y="9725"/>
                  </a:cubicBezTo>
                  <a:cubicBezTo>
                    <a:pt x="13675" y="9782"/>
                    <a:pt x="13757" y="9829"/>
                    <a:pt x="13804" y="9845"/>
                  </a:cubicBezTo>
                  <a:cubicBezTo>
                    <a:pt x="13856" y="9863"/>
                    <a:pt x="13934" y="9877"/>
                    <a:pt x="14019" y="9898"/>
                  </a:cubicBezTo>
                  <a:cubicBezTo>
                    <a:pt x="14104" y="9919"/>
                    <a:pt x="14196" y="9948"/>
                    <a:pt x="14280" y="10001"/>
                  </a:cubicBezTo>
                  <a:cubicBezTo>
                    <a:pt x="14429" y="10096"/>
                    <a:pt x="14510" y="10241"/>
                    <a:pt x="14528" y="10275"/>
                  </a:cubicBezTo>
                  <a:cubicBezTo>
                    <a:pt x="14547" y="10298"/>
                    <a:pt x="14638" y="10408"/>
                    <a:pt x="14737" y="10525"/>
                  </a:cubicBezTo>
                  <a:cubicBezTo>
                    <a:pt x="14792" y="10591"/>
                    <a:pt x="14849" y="10658"/>
                    <a:pt x="14896" y="10713"/>
                  </a:cubicBezTo>
                  <a:cubicBezTo>
                    <a:pt x="14943" y="10767"/>
                    <a:pt x="14983" y="10810"/>
                    <a:pt x="14995" y="10821"/>
                  </a:cubicBezTo>
                  <a:cubicBezTo>
                    <a:pt x="15027" y="10850"/>
                    <a:pt x="15050" y="10867"/>
                    <a:pt x="15064" y="10877"/>
                  </a:cubicBezTo>
                  <a:cubicBezTo>
                    <a:pt x="15070" y="10881"/>
                    <a:pt x="15075" y="10884"/>
                    <a:pt x="15078" y="10886"/>
                  </a:cubicBezTo>
                  <a:cubicBezTo>
                    <a:pt x="15111" y="10894"/>
                    <a:pt x="15256" y="10928"/>
                    <a:pt x="15436" y="10968"/>
                  </a:cubicBezTo>
                  <a:cubicBezTo>
                    <a:pt x="15642" y="11015"/>
                    <a:pt x="15893" y="11071"/>
                    <a:pt x="16073" y="11108"/>
                  </a:cubicBezTo>
                  <a:cubicBezTo>
                    <a:pt x="16358" y="11166"/>
                    <a:pt x="17513" y="11467"/>
                    <a:pt x="18011" y="11598"/>
                  </a:cubicBezTo>
                  <a:cubicBezTo>
                    <a:pt x="18011" y="11716"/>
                    <a:pt x="18011" y="11716"/>
                    <a:pt x="18011" y="11716"/>
                  </a:cubicBezTo>
                  <a:cubicBezTo>
                    <a:pt x="17833" y="11670"/>
                    <a:pt x="17558" y="11598"/>
                    <a:pt x="17266" y="11522"/>
                  </a:cubicBezTo>
                  <a:cubicBezTo>
                    <a:pt x="16770" y="11394"/>
                    <a:pt x="16228" y="11256"/>
                    <a:pt x="16050" y="11220"/>
                  </a:cubicBezTo>
                  <a:cubicBezTo>
                    <a:pt x="15767" y="11163"/>
                    <a:pt x="15317" y="11059"/>
                    <a:pt x="15130" y="11016"/>
                  </a:cubicBezTo>
                  <a:cubicBezTo>
                    <a:pt x="14823" y="11437"/>
                    <a:pt x="14823" y="11437"/>
                    <a:pt x="14823" y="11437"/>
                  </a:cubicBezTo>
                  <a:cubicBezTo>
                    <a:pt x="14808" y="11478"/>
                    <a:pt x="14739" y="11658"/>
                    <a:pt x="14625" y="11815"/>
                  </a:cubicBezTo>
                  <a:cubicBezTo>
                    <a:pt x="14519" y="11960"/>
                    <a:pt x="14374" y="12071"/>
                    <a:pt x="14321" y="12110"/>
                  </a:cubicBezTo>
                  <a:cubicBezTo>
                    <a:pt x="14312" y="12163"/>
                    <a:pt x="14289" y="12303"/>
                    <a:pt x="14256" y="12498"/>
                  </a:cubicBezTo>
                  <a:cubicBezTo>
                    <a:pt x="14236" y="12622"/>
                    <a:pt x="14212" y="12767"/>
                    <a:pt x="14186" y="12926"/>
                  </a:cubicBezTo>
                  <a:cubicBezTo>
                    <a:pt x="14192" y="12929"/>
                    <a:pt x="14200" y="12932"/>
                    <a:pt x="14206" y="12935"/>
                  </a:cubicBezTo>
                  <a:cubicBezTo>
                    <a:pt x="15398" y="13170"/>
                    <a:pt x="15398" y="13170"/>
                    <a:pt x="15398" y="13170"/>
                  </a:cubicBezTo>
                  <a:cubicBezTo>
                    <a:pt x="15407" y="13171"/>
                    <a:pt x="15422" y="13174"/>
                    <a:pt x="15441" y="13179"/>
                  </a:cubicBezTo>
                  <a:cubicBezTo>
                    <a:pt x="15441" y="13177"/>
                    <a:pt x="15442" y="13176"/>
                    <a:pt x="15442" y="13174"/>
                  </a:cubicBezTo>
                  <a:cubicBezTo>
                    <a:pt x="15491" y="12889"/>
                    <a:pt x="15661" y="12543"/>
                    <a:pt x="16213" y="12392"/>
                  </a:cubicBezTo>
                  <a:cubicBezTo>
                    <a:pt x="16488" y="12316"/>
                    <a:pt x="16806" y="12278"/>
                    <a:pt x="17065" y="12256"/>
                  </a:cubicBezTo>
                  <a:cubicBezTo>
                    <a:pt x="17195" y="12245"/>
                    <a:pt x="17310" y="12238"/>
                    <a:pt x="17397" y="12232"/>
                  </a:cubicBezTo>
                  <a:cubicBezTo>
                    <a:pt x="17484" y="12227"/>
                    <a:pt x="17545" y="12223"/>
                    <a:pt x="17560" y="12218"/>
                  </a:cubicBezTo>
                  <a:cubicBezTo>
                    <a:pt x="17612" y="12206"/>
                    <a:pt x="17796" y="12150"/>
                    <a:pt x="18011" y="12028"/>
                  </a:cubicBezTo>
                  <a:cubicBezTo>
                    <a:pt x="18011" y="12069"/>
                    <a:pt x="18011" y="12069"/>
                    <a:pt x="18011" y="12069"/>
                  </a:cubicBezTo>
                  <a:cubicBezTo>
                    <a:pt x="17801" y="12186"/>
                    <a:pt x="17622" y="12240"/>
                    <a:pt x="17569" y="12253"/>
                  </a:cubicBezTo>
                  <a:cubicBezTo>
                    <a:pt x="17545" y="12259"/>
                    <a:pt x="17487" y="12263"/>
                    <a:pt x="17399" y="12268"/>
                  </a:cubicBezTo>
                  <a:cubicBezTo>
                    <a:pt x="17137" y="12284"/>
                    <a:pt x="16630" y="12314"/>
                    <a:pt x="16223" y="12427"/>
                  </a:cubicBezTo>
                  <a:cubicBezTo>
                    <a:pt x="15683" y="12576"/>
                    <a:pt x="15527" y="12904"/>
                    <a:pt x="15477" y="13181"/>
                  </a:cubicBezTo>
                  <a:cubicBezTo>
                    <a:pt x="15477" y="13183"/>
                    <a:pt x="15477" y="13185"/>
                    <a:pt x="15476" y="13187"/>
                  </a:cubicBezTo>
                  <a:cubicBezTo>
                    <a:pt x="15667" y="13233"/>
                    <a:pt x="16130" y="13373"/>
                    <a:pt x="16502" y="13740"/>
                  </a:cubicBezTo>
                  <a:cubicBezTo>
                    <a:pt x="17083" y="14312"/>
                    <a:pt x="17229" y="15048"/>
                    <a:pt x="17236" y="15083"/>
                  </a:cubicBezTo>
                  <a:cubicBezTo>
                    <a:pt x="17288" y="15246"/>
                    <a:pt x="17308" y="15402"/>
                    <a:pt x="17308" y="15543"/>
                  </a:cubicBezTo>
                  <a:cubicBezTo>
                    <a:pt x="17308" y="15952"/>
                    <a:pt x="17144" y="16243"/>
                    <a:pt x="17112" y="16296"/>
                  </a:cubicBezTo>
                  <a:cubicBezTo>
                    <a:pt x="17231" y="16332"/>
                    <a:pt x="17365" y="16388"/>
                    <a:pt x="17497" y="16477"/>
                  </a:cubicBezTo>
                  <a:cubicBezTo>
                    <a:pt x="17699" y="16614"/>
                    <a:pt x="17860" y="16740"/>
                    <a:pt x="18011" y="16857"/>
                  </a:cubicBezTo>
                  <a:cubicBezTo>
                    <a:pt x="18011" y="16902"/>
                    <a:pt x="18011" y="16902"/>
                    <a:pt x="18011" y="16902"/>
                  </a:cubicBezTo>
                  <a:cubicBezTo>
                    <a:pt x="17853" y="16781"/>
                    <a:pt x="17687" y="16650"/>
                    <a:pt x="17476" y="16507"/>
                  </a:cubicBezTo>
                  <a:cubicBezTo>
                    <a:pt x="17144" y="16282"/>
                    <a:pt x="16799" y="16272"/>
                    <a:pt x="16711" y="16272"/>
                  </a:cubicBezTo>
                  <a:cubicBezTo>
                    <a:pt x="16702" y="16272"/>
                    <a:pt x="16696" y="16272"/>
                    <a:pt x="16692" y="16272"/>
                  </a:cubicBezTo>
                  <a:cubicBezTo>
                    <a:pt x="16691" y="16272"/>
                    <a:pt x="16690" y="16272"/>
                    <a:pt x="16689" y="16272"/>
                  </a:cubicBezTo>
                  <a:cubicBezTo>
                    <a:pt x="16688" y="16272"/>
                    <a:pt x="16688" y="16272"/>
                    <a:pt x="16686" y="16272"/>
                  </a:cubicBezTo>
                  <a:cubicBezTo>
                    <a:pt x="16686" y="16272"/>
                    <a:pt x="16686" y="16272"/>
                    <a:pt x="16685" y="16271"/>
                  </a:cubicBezTo>
                  <a:cubicBezTo>
                    <a:pt x="16684" y="16271"/>
                    <a:pt x="16682" y="16271"/>
                    <a:pt x="16680" y="16271"/>
                  </a:cubicBezTo>
                  <a:cubicBezTo>
                    <a:pt x="16590" y="16271"/>
                    <a:pt x="15867" y="16282"/>
                    <a:pt x="15166" y="16293"/>
                  </a:cubicBezTo>
                  <a:cubicBezTo>
                    <a:pt x="14952" y="16296"/>
                    <a:pt x="14741" y="16299"/>
                    <a:pt x="14550" y="16302"/>
                  </a:cubicBezTo>
                  <a:cubicBezTo>
                    <a:pt x="14565" y="16363"/>
                    <a:pt x="14598" y="16504"/>
                    <a:pt x="14642" y="16685"/>
                  </a:cubicBezTo>
                  <a:cubicBezTo>
                    <a:pt x="14701" y="16927"/>
                    <a:pt x="14779" y="17239"/>
                    <a:pt x="14853" y="17517"/>
                  </a:cubicBezTo>
                  <a:cubicBezTo>
                    <a:pt x="14889" y="17653"/>
                    <a:pt x="14937" y="17827"/>
                    <a:pt x="14984" y="18000"/>
                  </a:cubicBezTo>
                  <a:cubicBezTo>
                    <a:pt x="14947" y="18000"/>
                    <a:pt x="14947" y="18000"/>
                    <a:pt x="14947" y="18000"/>
                  </a:cubicBezTo>
                  <a:cubicBezTo>
                    <a:pt x="14900" y="17831"/>
                    <a:pt x="14853" y="17660"/>
                    <a:pt x="14818" y="17527"/>
                  </a:cubicBezTo>
                  <a:cubicBezTo>
                    <a:pt x="14687" y="17032"/>
                    <a:pt x="14544" y="16432"/>
                    <a:pt x="14513" y="16303"/>
                  </a:cubicBezTo>
                  <a:cubicBezTo>
                    <a:pt x="14405" y="16304"/>
                    <a:pt x="14303" y="16306"/>
                    <a:pt x="14213" y="16307"/>
                  </a:cubicBezTo>
                  <a:cubicBezTo>
                    <a:pt x="14003" y="16311"/>
                    <a:pt x="13851" y="16313"/>
                    <a:pt x="13803" y="16314"/>
                  </a:cubicBezTo>
                  <a:cubicBezTo>
                    <a:pt x="13791" y="16317"/>
                    <a:pt x="13791" y="16317"/>
                    <a:pt x="13791" y="16317"/>
                  </a:cubicBezTo>
                  <a:cubicBezTo>
                    <a:pt x="13815" y="16590"/>
                    <a:pt x="13854" y="17012"/>
                    <a:pt x="13890" y="17395"/>
                  </a:cubicBezTo>
                  <a:cubicBezTo>
                    <a:pt x="13912" y="17624"/>
                    <a:pt x="13932" y="17838"/>
                    <a:pt x="13948" y="18000"/>
                  </a:cubicBezTo>
                  <a:cubicBezTo>
                    <a:pt x="13832" y="18000"/>
                    <a:pt x="13832" y="18000"/>
                    <a:pt x="13832" y="18000"/>
                  </a:cubicBezTo>
                  <a:cubicBezTo>
                    <a:pt x="13812" y="17791"/>
                    <a:pt x="13785" y="17496"/>
                    <a:pt x="13757" y="17199"/>
                  </a:cubicBezTo>
                  <a:cubicBezTo>
                    <a:pt x="13731" y="16921"/>
                    <a:pt x="13705" y="16641"/>
                    <a:pt x="13685" y="16424"/>
                  </a:cubicBezTo>
                  <a:cubicBezTo>
                    <a:pt x="13676" y="16316"/>
                    <a:pt x="13667" y="16224"/>
                    <a:pt x="13662" y="16156"/>
                  </a:cubicBezTo>
                  <a:cubicBezTo>
                    <a:pt x="13660" y="16128"/>
                    <a:pt x="13658" y="16106"/>
                    <a:pt x="13656" y="16087"/>
                  </a:cubicBezTo>
                  <a:cubicBezTo>
                    <a:pt x="13641" y="16084"/>
                    <a:pt x="13641" y="16084"/>
                    <a:pt x="13641" y="16084"/>
                  </a:cubicBezTo>
                  <a:cubicBezTo>
                    <a:pt x="12633" y="16117"/>
                    <a:pt x="12633" y="16117"/>
                    <a:pt x="12633" y="16117"/>
                  </a:cubicBezTo>
                  <a:cubicBezTo>
                    <a:pt x="12630" y="16118"/>
                    <a:pt x="12624" y="16120"/>
                    <a:pt x="12615" y="16123"/>
                  </a:cubicBezTo>
                  <a:cubicBezTo>
                    <a:pt x="12578" y="16137"/>
                    <a:pt x="12508" y="16174"/>
                    <a:pt x="12509" y="16264"/>
                  </a:cubicBezTo>
                  <a:cubicBezTo>
                    <a:pt x="12509" y="16266"/>
                    <a:pt x="12509" y="16268"/>
                    <a:pt x="12509" y="16270"/>
                  </a:cubicBezTo>
                  <a:cubicBezTo>
                    <a:pt x="12509" y="16279"/>
                    <a:pt x="12509" y="16288"/>
                    <a:pt x="12509" y="16297"/>
                  </a:cubicBezTo>
                  <a:cubicBezTo>
                    <a:pt x="12509" y="16356"/>
                    <a:pt x="12501" y="16394"/>
                    <a:pt x="12475" y="16425"/>
                  </a:cubicBezTo>
                  <a:cubicBezTo>
                    <a:pt x="12449" y="16454"/>
                    <a:pt x="12411" y="16472"/>
                    <a:pt x="12354" y="16501"/>
                  </a:cubicBezTo>
                  <a:cubicBezTo>
                    <a:pt x="12236" y="16560"/>
                    <a:pt x="11860" y="16703"/>
                    <a:pt x="11810" y="16722"/>
                  </a:cubicBezTo>
                  <a:cubicBezTo>
                    <a:pt x="12156" y="17529"/>
                    <a:pt x="12156" y="17529"/>
                    <a:pt x="12156" y="17529"/>
                  </a:cubicBezTo>
                  <a:cubicBezTo>
                    <a:pt x="12143" y="17534"/>
                    <a:pt x="12143" y="17534"/>
                    <a:pt x="12143" y="17534"/>
                  </a:cubicBezTo>
                  <a:cubicBezTo>
                    <a:pt x="12974" y="18000"/>
                    <a:pt x="12974" y="18000"/>
                    <a:pt x="12974" y="18000"/>
                  </a:cubicBezTo>
                  <a:cubicBezTo>
                    <a:pt x="12901" y="18000"/>
                    <a:pt x="12901" y="18000"/>
                    <a:pt x="12901" y="18000"/>
                  </a:cubicBezTo>
                  <a:cubicBezTo>
                    <a:pt x="12137" y="17572"/>
                    <a:pt x="12137" y="17572"/>
                    <a:pt x="12137" y="17572"/>
                  </a:cubicBezTo>
                  <a:cubicBezTo>
                    <a:pt x="11838" y="18000"/>
                    <a:pt x="11838" y="18000"/>
                    <a:pt x="11838" y="18000"/>
                  </a:cubicBezTo>
                  <a:cubicBezTo>
                    <a:pt x="11794" y="18000"/>
                    <a:pt x="11794" y="18000"/>
                    <a:pt x="11794" y="18000"/>
                  </a:cubicBezTo>
                  <a:cubicBezTo>
                    <a:pt x="12119" y="17534"/>
                    <a:pt x="12119" y="17534"/>
                    <a:pt x="12119" y="17534"/>
                  </a:cubicBezTo>
                  <a:cubicBezTo>
                    <a:pt x="11706" y="16572"/>
                    <a:pt x="11706" y="16572"/>
                    <a:pt x="11706" y="16572"/>
                  </a:cubicBezTo>
                  <a:cubicBezTo>
                    <a:pt x="11707" y="16572"/>
                    <a:pt x="11701" y="16559"/>
                    <a:pt x="11688" y="16536"/>
                  </a:cubicBezTo>
                  <a:cubicBezTo>
                    <a:pt x="11651" y="16472"/>
                    <a:pt x="11556" y="16331"/>
                    <a:pt x="11373" y="16187"/>
                  </a:cubicBezTo>
                  <a:cubicBezTo>
                    <a:pt x="11345" y="16208"/>
                    <a:pt x="11275" y="16261"/>
                    <a:pt x="11183" y="16333"/>
                  </a:cubicBezTo>
                  <a:cubicBezTo>
                    <a:pt x="11009" y="16468"/>
                    <a:pt x="10754" y="16667"/>
                    <a:pt x="10543" y="16832"/>
                  </a:cubicBezTo>
                  <a:cubicBezTo>
                    <a:pt x="10349" y="16984"/>
                    <a:pt x="10193" y="17106"/>
                    <a:pt x="10168" y="17126"/>
                  </a:cubicBezTo>
                  <a:cubicBezTo>
                    <a:pt x="10175" y="17144"/>
                    <a:pt x="10183" y="17166"/>
                    <a:pt x="10191" y="17191"/>
                  </a:cubicBezTo>
                  <a:cubicBezTo>
                    <a:pt x="10246" y="17362"/>
                    <a:pt x="10320" y="17673"/>
                    <a:pt x="10370" y="17891"/>
                  </a:cubicBezTo>
                  <a:cubicBezTo>
                    <a:pt x="10378" y="17930"/>
                    <a:pt x="10382" y="17966"/>
                    <a:pt x="10383" y="18000"/>
                  </a:cubicBezTo>
                  <a:cubicBezTo>
                    <a:pt x="10347" y="18000"/>
                    <a:pt x="10347" y="18000"/>
                    <a:pt x="10347" y="18000"/>
                  </a:cubicBezTo>
                  <a:cubicBezTo>
                    <a:pt x="10346" y="17969"/>
                    <a:pt x="10343" y="17936"/>
                    <a:pt x="10334" y="17899"/>
                  </a:cubicBezTo>
                  <a:cubicBezTo>
                    <a:pt x="10302" y="17754"/>
                    <a:pt x="10258" y="17568"/>
                    <a:pt x="10216" y="17409"/>
                  </a:cubicBezTo>
                  <a:cubicBezTo>
                    <a:pt x="10195" y="17330"/>
                    <a:pt x="10175" y="17258"/>
                    <a:pt x="10157" y="17202"/>
                  </a:cubicBezTo>
                  <a:cubicBezTo>
                    <a:pt x="10139" y="17147"/>
                    <a:pt x="10122" y="17105"/>
                    <a:pt x="10113" y="17094"/>
                  </a:cubicBezTo>
                  <a:cubicBezTo>
                    <a:pt x="10092" y="17065"/>
                    <a:pt x="10016" y="17002"/>
                    <a:pt x="9929" y="16941"/>
                  </a:cubicBezTo>
                  <a:cubicBezTo>
                    <a:pt x="9903" y="16923"/>
                    <a:pt x="9876" y="16904"/>
                    <a:pt x="9848" y="16887"/>
                  </a:cubicBezTo>
                  <a:cubicBezTo>
                    <a:pt x="9842" y="16897"/>
                    <a:pt x="9824" y="16925"/>
                    <a:pt x="9801" y="16962"/>
                  </a:cubicBezTo>
                  <a:cubicBezTo>
                    <a:pt x="9715" y="17102"/>
                    <a:pt x="9538" y="17388"/>
                    <a:pt x="9395" y="17575"/>
                  </a:cubicBezTo>
                  <a:cubicBezTo>
                    <a:pt x="9235" y="17786"/>
                    <a:pt x="9223" y="17897"/>
                    <a:pt x="9223" y="17926"/>
                  </a:cubicBezTo>
                  <a:cubicBezTo>
                    <a:pt x="9223" y="17928"/>
                    <a:pt x="9223" y="17931"/>
                    <a:pt x="9223" y="17932"/>
                  </a:cubicBezTo>
                  <a:cubicBezTo>
                    <a:pt x="9223" y="17933"/>
                    <a:pt x="9223" y="17933"/>
                    <a:pt x="9223" y="17933"/>
                  </a:cubicBezTo>
                  <a:cubicBezTo>
                    <a:pt x="9223" y="17934"/>
                    <a:pt x="9223" y="17934"/>
                    <a:pt x="9223" y="17934"/>
                  </a:cubicBezTo>
                  <a:cubicBezTo>
                    <a:pt x="9227" y="18000"/>
                    <a:pt x="9227" y="18000"/>
                    <a:pt x="9227" y="18000"/>
                  </a:cubicBezTo>
                  <a:cubicBezTo>
                    <a:pt x="9191" y="18000"/>
                    <a:pt x="9191" y="18000"/>
                    <a:pt x="9191" y="18000"/>
                  </a:cubicBezTo>
                  <a:cubicBezTo>
                    <a:pt x="9187" y="17938"/>
                    <a:pt x="9187" y="17938"/>
                    <a:pt x="9187" y="17938"/>
                  </a:cubicBezTo>
                  <a:cubicBezTo>
                    <a:pt x="9187" y="17936"/>
                    <a:pt x="9187" y="17932"/>
                    <a:pt x="9187" y="17926"/>
                  </a:cubicBezTo>
                  <a:cubicBezTo>
                    <a:pt x="9187" y="17887"/>
                    <a:pt x="9203" y="17768"/>
                    <a:pt x="9366" y="17554"/>
                  </a:cubicBezTo>
                  <a:cubicBezTo>
                    <a:pt x="9463" y="17427"/>
                    <a:pt x="9576" y="17254"/>
                    <a:pt x="9665" y="17112"/>
                  </a:cubicBezTo>
                  <a:cubicBezTo>
                    <a:pt x="9710" y="17042"/>
                    <a:pt x="9748" y="16979"/>
                    <a:pt x="9776" y="16934"/>
                  </a:cubicBezTo>
                  <a:cubicBezTo>
                    <a:pt x="9790" y="16911"/>
                    <a:pt x="9801" y="16893"/>
                    <a:pt x="9809" y="16880"/>
                  </a:cubicBezTo>
                  <a:cubicBezTo>
                    <a:pt x="9813" y="16875"/>
                    <a:pt x="9815" y="16871"/>
                    <a:pt x="9818" y="16868"/>
                  </a:cubicBezTo>
                  <a:cubicBezTo>
                    <a:pt x="9765" y="16835"/>
                    <a:pt x="9713" y="16807"/>
                    <a:pt x="9672" y="16790"/>
                  </a:cubicBezTo>
                  <a:cubicBezTo>
                    <a:pt x="9527" y="16729"/>
                    <a:pt x="9340" y="16688"/>
                    <a:pt x="9184" y="16643"/>
                  </a:cubicBezTo>
                  <a:cubicBezTo>
                    <a:pt x="9041" y="16601"/>
                    <a:pt x="8665" y="16375"/>
                    <a:pt x="8584" y="16325"/>
                  </a:cubicBezTo>
                  <a:cubicBezTo>
                    <a:pt x="7677" y="17970"/>
                    <a:pt x="7677" y="17970"/>
                    <a:pt x="7677" y="17970"/>
                  </a:cubicBezTo>
                  <a:cubicBezTo>
                    <a:pt x="7727" y="18000"/>
                    <a:pt x="7727" y="18000"/>
                    <a:pt x="7727" y="18000"/>
                  </a:cubicBezTo>
                  <a:cubicBezTo>
                    <a:pt x="7660" y="18000"/>
                    <a:pt x="7660" y="18000"/>
                    <a:pt x="7660" y="18000"/>
                  </a:cubicBezTo>
                  <a:cubicBezTo>
                    <a:pt x="7659" y="18002"/>
                    <a:pt x="7659" y="18002"/>
                    <a:pt x="7659" y="18002"/>
                  </a:cubicBezTo>
                  <a:cubicBezTo>
                    <a:pt x="7657" y="18000"/>
                    <a:pt x="7657" y="18000"/>
                    <a:pt x="7657" y="18000"/>
                  </a:cubicBezTo>
                  <a:cubicBezTo>
                    <a:pt x="7619" y="18000"/>
                    <a:pt x="7619" y="18000"/>
                    <a:pt x="7619" y="18000"/>
                  </a:cubicBezTo>
                  <a:cubicBezTo>
                    <a:pt x="7628" y="17983"/>
                    <a:pt x="7628" y="17983"/>
                    <a:pt x="7628" y="17983"/>
                  </a:cubicBezTo>
                  <a:cubicBezTo>
                    <a:pt x="7609" y="17972"/>
                    <a:pt x="7609" y="17972"/>
                    <a:pt x="7609" y="17972"/>
                  </a:cubicBezTo>
                  <a:cubicBezTo>
                    <a:pt x="7608" y="17972"/>
                    <a:pt x="7579" y="17956"/>
                    <a:pt x="7530" y="17933"/>
                  </a:cubicBezTo>
                  <a:cubicBezTo>
                    <a:pt x="7392" y="17868"/>
                    <a:pt x="7097" y="17740"/>
                    <a:pt x="6833" y="17698"/>
                  </a:cubicBezTo>
                  <a:cubicBezTo>
                    <a:pt x="6826" y="17735"/>
                    <a:pt x="6805" y="17862"/>
                    <a:pt x="6782" y="18000"/>
                  </a:cubicBezTo>
                  <a:cubicBezTo>
                    <a:pt x="6745" y="18000"/>
                    <a:pt x="6745" y="18000"/>
                    <a:pt x="6745" y="18000"/>
                  </a:cubicBezTo>
                  <a:cubicBezTo>
                    <a:pt x="6757" y="17927"/>
                    <a:pt x="6769" y="17856"/>
                    <a:pt x="6779" y="17800"/>
                  </a:cubicBezTo>
                  <a:cubicBezTo>
                    <a:pt x="6785" y="17764"/>
                    <a:pt x="6790" y="17735"/>
                    <a:pt x="6794" y="17713"/>
                  </a:cubicBezTo>
                  <a:cubicBezTo>
                    <a:pt x="6795" y="17705"/>
                    <a:pt x="6796" y="17699"/>
                    <a:pt x="6797" y="17693"/>
                  </a:cubicBezTo>
                  <a:cubicBezTo>
                    <a:pt x="6785" y="17691"/>
                    <a:pt x="6772" y="17690"/>
                    <a:pt x="6759" y="17689"/>
                  </a:cubicBezTo>
                  <a:cubicBezTo>
                    <a:pt x="6379" y="17652"/>
                    <a:pt x="6292" y="17597"/>
                    <a:pt x="6185" y="17570"/>
                  </a:cubicBezTo>
                  <a:cubicBezTo>
                    <a:pt x="6075" y="17541"/>
                    <a:pt x="5867" y="17488"/>
                    <a:pt x="5709" y="17456"/>
                  </a:cubicBezTo>
                  <a:cubicBezTo>
                    <a:pt x="5630" y="17440"/>
                    <a:pt x="5468" y="17412"/>
                    <a:pt x="5327" y="17388"/>
                  </a:cubicBezTo>
                  <a:cubicBezTo>
                    <a:pt x="5211" y="17369"/>
                    <a:pt x="5108" y="17353"/>
                    <a:pt x="5076" y="17347"/>
                  </a:cubicBezTo>
                  <a:cubicBezTo>
                    <a:pt x="5086" y="17435"/>
                    <a:pt x="5089" y="17576"/>
                    <a:pt x="5089" y="17732"/>
                  </a:cubicBezTo>
                  <a:cubicBezTo>
                    <a:pt x="5089" y="17820"/>
                    <a:pt x="5088" y="17912"/>
                    <a:pt x="5086" y="18000"/>
                  </a:cubicBezTo>
                  <a:cubicBezTo>
                    <a:pt x="5050" y="18000"/>
                    <a:pt x="5050" y="18000"/>
                    <a:pt x="5050" y="18000"/>
                  </a:cubicBezTo>
                  <a:cubicBezTo>
                    <a:pt x="5052" y="17912"/>
                    <a:pt x="5053" y="17820"/>
                    <a:pt x="5053" y="17732"/>
                  </a:cubicBezTo>
                  <a:cubicBezTo>
                    <a:pt x="5053" y="17533"/>
                    <a:pt x="5047" y="17351"/>
                    <a:pt x="5030" y="17296"/>
                  </a:cubicBezTo>
                  <a:cubicBezTo>
                    <a:pt x="5013" y="17239"/>
                    <a:pt x="4989" y="17210"/>
                    <a:pt x="4960" y="17193"/>
                  </a:cubicBezTo>
                  <a:cubicBezTo>
                    <a:pt x="4932" y="17176"/>
                    <a:pt x="4896" y="17171"/>
                    <a:pt x="4854" y="17171"/>
                  </a:cubicBezTo>
                  <a:cubicBezTo>
                    <a:pt x="4823" y="17171"/>
                    <a:pt x="4790" y="17173"/>
                    <a:pt x="4754" y="17174"/>
                  </a:cubicBezTo>
                  <a:cubicBezTo>
                    <a:pt x="4684" y="17177"/>
                    <a:pt x="4592" y="17181"/>
                    <a:pt x="4500" y="17181"/>
                  </a:cubicBezTo>
                  <a:cubicBezTo>
                    <a:pt x="4495" y="17181"/>
                    <a:pt x="4489" y="17181"/>
                    <a:pt x="4484" y="17181"/>
                  </a:cubicBezTo>
                  <a:cubicBezTo>
                    <a:pt x="4484" y="17183"/>
                    <a:pt x="4484" y="17183"/>
                    <a:pt x="4484" y="17183"/>
                  </a:cubicBezTo>
                  <a:cubicBezTo>
                    <a:pt x="4481" y="17183"/>
                    <a:pt x="4478" y="17182"/>
                    <a:pt x="4475" y="17181"/>
                  </a:cubicBezTo>
                  <a:cubicBezTo>
                    <a:pt x="4403" y="17180"/>
                    <a:pt x="4332" y="17177"/>
                    <a:pt x="4273" y="17166"/>
                  </a:cubicBezTo>
                  <a:cubicBezTo>
                    <a:pt x="4204" y="17154"/>
                    <a:pt x="4130" y="17138"/>
                    <a:pt x="4073" y="17084"/>
                  </a:cubicBezTo>
                  <a:cubicBezTo>
                    <a:pt x="4028" y="17041"/>
                    <a:pt x="3996" y="16976"/>
                    <a:pt x="3985" y="16878"/>
                  </a:cubicBezTo>
                  <a:cubicBezTo>
                    <a:pt x="3973" y="16877"/>
                    <a:pt x="3973" y="16877"/>
                    <a:pt x="3973" y="16877"/>
                  </a:cubicBezTo>
                  <a:cubicBezTo>
                    <a:pt x="3698" y="16925"/>
                    <a:pt x="3698" y="16925"/>
                    <a:pt x="3698" y="16925"/>
                  </a:cubicBezTo>
                  <a:cubicBezTo>
                    <a:pt x="3842" y="17740"/>
                    <a:pt x="3842" y="17740"/>
                    <a:pt x="3842" y="17740"/>
                  </a:cubicBezTo>
                  <a:cubicBezTo>
                    <a:pt x="4325" y="17793"/>
                    <a:pt x="4325" y="17793"/>
                    <a:pt x="4325" y="17793"/>
                  </a:cubicBezTo>
                  <a:cubicBezTo>
                    <a:pt x="4304" y="18000"/>
                    <a:pt x="4304" y="18000"/>
                    <a:pt x="4304" y="18000"/>
                  </a:cubicBezTo>
                  <a:cubicBezTo>
                    <a:pt x="4278" y="18000"/>
                    <a:pt x="4278" y="18000"/>
                    <a:pt x="4278" y="18000"/>
                  </a:cubicBezTo>
                  <a:cubicBezTo>
                    <a:pt x="4296" y="17817"/>
                    <a:pt x="4296" y="17817"/>
                    <a:pt x="4296" y="17817"/>
                  </a:cubicBezTo>
                  <a:cubicBezTo>
                    <a:pt x="3820" y="17764"/>
                    <a:pt x="3820" y="17764"/>
                    <a:pt x="3820" y="17764"/>
                  </a:cubicBezTo>
                  <a:cubicBezTo>
                    <a:pt x="3672" y="16929"/>
                    <a:pt x="3672" y="16929"/>
                    <a:pt x="3672" y="16929"/>
                  </a:cubicBezTo>
                  <a:cubicBezTo>
                    <a:pt x="2630" y="17108"/>
                    <a:pt x="2630" y="17108"/>
                    <a:pt x="2630" y="17108"/>
                  </a:cubicBezTo>
                  <a:cubicBezTo>
                    <a:pt x="2634" y="17397"/>
                    <a:pt x="2642" y="17646"/>
                    <a:pt x="2645" y="17725"/>
                  </a:cubicBezTo>
                  <a:cubicBezTo>
                    <a:pt x="2647" y="17738"/>
                    <a:pt x="2647" y="17738"/>
                    <a:pt x="2647" y="17738"/>
                  </a:cubicBezTo>
                  <a:cubicBezTo>
                    <a:pt x="2648" y="17738"/>
                    <a:pt x="2650" y="17738"/>
                    <a:pt x="2651" y="17738"/>
                  </a:cubicBezTo>
                  <a:cubicBezTo>
                    <a:pt x="2813" y="17738"/>
                    <a:pt x="2949" y="17850"/>
                    <a:pt x="2986" y="18000"/>
                  </a:cubicBezTo>
                  <a:cubicBezTo>
                    <a:pt x="2860" y="18000"/>
                    <a:pt x="2860" y="18000"/>
                    <a:pt x="2860" y="18000"/>
                  </a:cubicBezTo>
                  <a:cubicBezTo>
                    <a:pt x="2827" y="17917"/>
                    <a:pt x="2746" y="17858"/>
                    <a:pt x="2651" y="17858"/>
                  </a:cubicBezTo>
                  <a:cubicBezTo>
                    <a:pt x="2556" y="17858"/>
                    <a:pt x="2475" y="17917"/>
                    <a:pt x="2442" y="18000"/>
                  </a:cubicBezTo>
                  <a:cubicBezTo>
                    <a:pt x="2316" y="18000"/>
                    <a:pt x="2316" y="18000"/>
                    <a:pt x="2316" y="18000"/>
                  </a:cubicBezTo>
                  <a:cubicBezTo>
                    <a:pt x="2318" y="17990"/>
                    <a:pt x="2321" y="17980"/>
                    <a:pt x="2325" y="17970"/>
                  </a:cubicBezTo>
                  <a:cubicBezTo>
                    <a:pt x="2282" y="17956"/>
                    <a:pt x="2211" y="17936"/>
                    <a:pt x="2115" y="17916"/>
                  </a:cubicBezTo>
                  <a:cubicBezTo>
                    <a:pt x="1949" y="17882"/>
                    <a:pt x="1777" y="17869"/>
                    <a:pt x="1604" y="17836"/>
                  </a:cubicBezTo>
                  <a:cubicBezTo>
                    <a:pt x="1422" y="17800"/>
                    <a:pt x="1186" y="17722"/>
                    <a:pt x="906" y="17615"/>
                  </a:cubicBezTo>
                  <a:cubicBezTo>
                    <a:pt x="897" y="17612"/>
                    <a:pt x="889" y="17608"/>
                    <a:pt x="880" y="17604"/>
                  </a:cubicBezTo>
                  <a:cubicBezTo>
                    <a:pt x="883" y="17606"/>
                    <a:pt x="887" y="17609"/>
                    <a:pt x="890" y="17611"/>
                  </a:cubicBezTo>
                  <a:cubicBezTo>
                    <a:pt x="1003" y="17686"/>
                    <a:pt x="1128" y="17766"/>
                    <a:pt x="1208" y="17812"/>
                  </a:cubicBezTo>
                  <a:cubicBezTo>
                    <a:pt x="1343" y="17890"/>
                    <a:pt x="1444" y="17956"/>
                    <a:pt x="1565" y="18000"/>
                  </a:cubicBezTo>
                  <a:cubicBezTo>
                    <a:pt x="1302" y="18000"/>
                    <a:pt x="1302" y="18000"/>
                    <a:pt x="1302" y="18000"/>
                  </a:cubicBezTo>
                  <a:cubicBezTo>
                    <a:pt x="1253" y="17972"/>
                    <a:pt x="1204" y="17942"/>
                    <a:pt x="1151" y="17912"/>
                  </a:cubicBezTo>
                  <a:cubicBezTo>
                    <a:pt x="1066" y="17863"/>
                    <a:pt x="941" y="17782"/>
                    <a:pt x="827" y="17707"/>
                  </a:cubicBezTo>
                  <a:cubicBezTo>
                    <a:pt x="712" y="17631"/>
                    <a:pt x="612" y="17561"/>
                    <a:pt x="573" y="17531"/>
                  </a:cubicBezTo>
                  <a:cubicBezTo>
                    <a:pt x="565" y="17524"/>
                    <a:pt x="528" y="17499"/>
                    <a:pt x="481" y="17465"/>
                  </a:cubicBezTo>
                  <a:cubicBezTo>
                    <a:pt x="442" y="17437"/>
                    <a:pt x="394" y="17401"/>
                    <a:pt x="345" y="17359"/>
                  </a:cubicBezTo>
                  <a:cubicBezTo>
                    <a:pt x="339" y="17375"/>
                    <a:pt x="339" y="17375"/>
                    <a:pt x="339" y="17375"/>
                  </a:cubicBezTo>
                  <a:cubicBezTo>
                    <a:pt x="360" y="17478"/>
                    <a:pt x="388" y="17640"/>
                    <a:pt x="396" y="17767"/>
                  </a:cubicBezTo>
                  <a:cubicBezTo>
                    <a:pt x="402" y="17854"/>
                    <a:pt x="409" y="17931"/>
                    <a:pt x="415" y="18000"/>
                  </a:cubicBezTo>
                  <a:cubicBezTo>
                    <a:pt x="389" y="18000"/>
                    <a:pt x="389" y="18000"/>
                    <a:pt x="389" y="18000"/>
                  </a:cubicBezTo>
                  <a:cubicBezTo>
                    <a:pt x="383" y="17932"/>
                    <a:pt x="375" y="17855"/>
                    <a:pt x="370" y="17769"/>
                  </a:cubicBezTo>
                  <a:cubicBezTo>
                    <a:pt x="361" y="17616"/>
                    <a:pt x="320" y="17409"/>
                    <a:pt x="302" y="17321"/>
                  </a:cubicBezTo>
                  <a:cubicBezTo>
                    <a:pt x="201" y="17231"/>
                    <a:pt x="105" y="17123"/>
                    <a:pt x="44" y="17063"/>
                  </a:cubicBezTo>
                  <a:cubicBezTo>
                    <a:pt x="34" y="17052"/>
                    <a:pt x="21" y="17039"/>
                    <a:pt x="7" y="17024"/>
                  </a:cubicBezTo>
                  <a:cubicBezTo>
                    <a:pt x="7" y="16944"/>
                    <a:pt x="7" y="16944"/>
                    <a:pt x="7" y="16944"/>
                  </a:cubicBezTo>
                  <a:cubicBezTo>
                    <a:pt x="7" y="16854"/>
                    <a:pt x="7" y="16854"/>
                    <a:pt x="7" y="16854"/>
                  </a:cubicBezTo>
                  <a:cubicBezTo>
                    <a:pt x="7" y="16788"/>
                    <a:pt x="7" y="16788"/>
                    <a:pt x="7" y="16788"/>
                  </a:cubicBezTo>
                  <a:cubicBezTo>
                    <a:pt x="78" y="16854"/>
                    <a:pt x="157" y="16925"/>
                    <a:pt x="240" y="16998"/>
                  </a:cubicBezTo>
                  <a:cubicBezTo>
                    <a:pt x="367" y="17109"/>
                    <a:pt x="503" y="17221"/>
                    <a:pt x="628" y="17314"/>
                  </a:cubicBezTo>
                  <a:cubicBezTo>
                    <a:pt x="752" y="17406"/>
                    <a:pt x="868" y="17478"/>
                    <a:pt x="947" y="17508"/>
                  </a:cubicBezTo>
                  <a:cubicBezTo>
                    <a:pt x="1224" y="17613"/>
                    <a:pt x="1457" y="17690"/>
                    <a:pt x="1626" y="17723"/>
                  </a:cubicBezTo>
                  <a:cubicBezTo>
                    <a:pt x="1790" y="17755"/>
                    <a:pt x="1963" y="17768"/>
                    <a:pt x="2138" y="17803"/>
                  </a:cubicBezTo>
                  <a:cubicBezTo>
                    <a:pt x="2257" y="17828"/>
                    <a:pt x="2339" y="17853"/>
                    <a:pt x="2381" y="17868"/>
                  </a:cubicBezTo>
                  <a:cubicBezTo>
                    <a:pt x="2435" y="17800"/>
                    <a:pt x="2514" y="17753"/>
                    <a:pt x="2604" y="17741"/>
                  </a:cubicBezTo>
                  <a:cubicBezTo>
                    <a:pt x="2605" y="17741"/>
                    <a:pt x="2605" y="17740"/>
                    <a:pt x="2605" y="17740"/>
                  </a:cubicBezTo>
                  <a:cubicBezTo>
                    <a:pt x="2605" y="17740"/>
                    <a:pt x="2606" y="17714"/>
                    <a:pt x="2607" y="17714"/>
                  </a:cubicBezTo>
                  <a:cubicBezTo>
                    <a:pt x="2607" y="17714"/>
                    <a:pt x="2608" y="17714"/>
                    <a:pt x="2608" y="17714"/>
                  </a:cubicBezTo>
                  <a:cubicBezTo>
                    <a:pt x="2605" y="17603"/>
                    <a:pt x="2595" y="17268"/>
                    <a:pt x="2591" y="16920"/>
                  </a:cubicBezTo>
                  <a:cubicBezTo>
                    <a:pt x="2591" y="16855"/>
                    <a:pt x="2590" y="16791"/>
                    <a:pt x="2590" y="16727"/>
                  </a:cubicBezTo>
                  <a:cubicBezTo>
                    <a:pt x="2564" y="16727"/>
                    <a:pt x="2516" y="16726"/>
                    <a:pt x="2461" y="16722"/>
                  </a:cubicBezTo>
                  <a:cubicBezTo>
                    <a:pt x="2380" y="16717"/>
                    <a:pt x="2290" y="16707"/>
                    <a:pt x="2239" y="16685"/>
                  </a:cubicBezTo>
                  <a:cubicBezTo>
                    <a:pt x="2143" y="16642"/>
                    <a:pt x="1990" y="16488"/>
                    <a:pt x="1943" y="16448"/>
                  </a:cubicBezTo>
                  <a:cubicBezTo>
                    <a:pt x="1942" y="16448"/>
                    <a:pt x="1839" y="16351"/>
                    <a:pt x="1735" y="16253"/>
                  </a:cubicBezTo>
                  <a:cubicBezTo>
                    <a:pt x="1358" y="16717"/>
                    <a:pt x="1358" y="16717"/>
                    <a:pt x="1358" y="16717"/>
                  </a:cubicBezTo>
                  <a:cubicBezTo>
                    <a:pt x="1356" y="16718"/>
                    <a:pt x="1356" y="16718"/>
                    <a:pt x="1356" y="16718"/>
                  </a:cubicBezTo>
                  <a:cubicBezTo>
                    <a:pt x="1356" y="16718"/>
                    <a:pt x="1356" y="16719"/>
                    <a:pt x="1354" y="16721"/>
                  </a:cubicBezTo>
                  <a:cubicBezTo>
                    <a:pt x="1347" y="16727"/>
                    <a:pt x="1335" y="16743"/>
                    <a:pt x="1335" y="16762"/>
                  </a:cubicBezTo>
                  <a:cubicBezTo>
                    <a:pt x="1335" y="16777"/>
                    <a:pt x="1342" y="16798"/>
                    <a:pt x="1376" y="16826"/>
                  </a:cubicBezTo>
                  <a:cubicBezTo>
                    <a:pt x="1470" y="16900"/>
                    <a:pt x="1642" y="16982"/>
                    <a:pt x="1707" y="17024"/>
                  </a:cubicBezTo>
                  <a:cubicBezTo>
                    <a:pt x="1770" y="17064"/>
                    <a:pt x="1829" y="17098"/>
                    <a:pt x="1860" y="17159"/>
                  </a:cubicBezTo>
                  <a:cubicBezTo>
                    <a:pt x="1874" y="17189"/>
                    <a:pt x="1884" y="17219"/>
                    <a:pt x="1891" y="17243"/>
                  </a:cubicBezTo>
                  <a:cubicBezTo>
                    <a:pt x="1895" y="17254"/>
                    <a:pt x="1898" y="17264"/>
                    <a:pt x="1901" y="17271"/>
                  </a:cubicBezTo>
                  <a:cubicBezTo>
                    <a:pt x="1902" y="17274"/>
                    <a:pt x="1903" y="17277"/>
                    <a:pt x="1903" y="17278"/>
                  </a:cubicBezTo>
                  <a:cubicBezTo>
                    <a:pt x="1903" y="17278"/>
                    <a:pt x="1903" y="17278"/>
                    <a:pt x="1903" y="17278"/>
                  </a:cubicBezTo>
                  <a:cubicBezTo>
                    <a:pt x="1894" y="17285"/>
                    <a:pt x="1894" y="17285"/>
                    <a:pt x="1894" y="17285"/>
                  </a:cubicBezTo>
                  <a:cubicBezTo>
                    <a:pt x="1883" y="17307"/>
                    <a:pt x="1883" y="17307"/>
                    <a:pt x="1883" y="17307"/>
                  </a:cubicBezTo>
                  <a:cubicBezTo>
                    <a:pt x="1870" y="17298"/>
                    <a:pt x="1871" y="17292"/>
                    <a:pt x="1867" y="17284"/>
                  </a:cubicBezTo>
                  <a:cubicBezTo>
                    <a:pt x="1858" y="17259"/>
                    <a:pt x="1847" y="17215"/>
                    <a:pt x="1828" y="17176"/>
                  </a:cubicBezTo>
                  <a:cubicBezTo>
                    <a:pt x="1803" y="17126"/>
                    <a:pt x="1752" y="17095"/>
                    <a:pt x="1688" y="17054"/>
                  </a:cubicBezTo>
                  <a:cubicBezTo>
                    <a:pt x="1627" y="17015"/>
                    <a:pt x="1452" y="16932"/>
                    <a:pt x="1354" y="16854"/>
                  </a:cubicBezTo>
                  <a:cubicBezTo>
                    <a:pt x="1314" y="16823"/>
                    <a:pt x="1299" y="16790"/>
                    <a:pt x="1299" y="16762"/>
                  </a:cubicBezTo>
                  <a:cubicBezTo>
                    <a:pt x="1299" y="16722"/>
                    <a:pt x="1325" y="16698"/>
                    <a:pt x="1332" y="16692"/>
                  </a:cubicBezTo>
                  <a:cubicBezTo>
                    <a:pt x="1709" y="16228"/>
                    <a:pt x="1709" y="16228"/>
                    <a:pt x="1709" y="16228"/>
                  </a:cubicBezTo>
                  <a:cubicBezTo>
                    <a:pt x="1636" y="16159"/>
                    <a:pt x="1566" y="16094"/>
                    <a:pt x="1537" y="16065"/>
                  </a:cubicBezTo>
                  <a:cubicBezTo>
                    <a:pt x="1500" y="16029"/>
                    <a:pt x="1422" y="15962"/>
                    <a:pt x="1354" y="15903"/>
                  </a:cubicBezTo>
                  <a:cubicBezTo>
                    <a:pt x="1306" y="15862"/>
                    <a:pt x="1262" y="15823"/>
                    <a:pt x="1241" y="15804"/>
                  </a:cubicBezTo>
                  <a:cubicBezTo>
                    <a:pt x="1241" y="15804"/>
                    <a:pt x="1241" y="15804"/>
                    <a:pt x="1241" y="15804"/>
                  </a:cubicBezTo>
                  <a:cubicBezTo>
                    <a:pt x="1236" y="15801"/>
                    <a:pt x="1236" y="15801"/>
                    <a:pt x="1236" y="15801"/>
                  </a:cubicBezTo>
                  <a:cubicBezTo>
                    <a:pt x="1236" y="15800"/>
                    <a:pt x="1199" y="15765"/>
                    <a:pt x="1150" y="15725"/>
                  </a:cubicBezTo>
                  <a:cubicBezTo>
                    <a:pt x="1102" y="15684"/>
                    <a:pt x="1043" y="15638"/>
                    <a:pt x="1005" y="15618"/>
                  </a:cubicBezTo>
                  <a:cubicBezTo>
                    <a:pt x="921" y="15575"/>
                    <a:pt x="858" y="15540"/>
                    <a:pt x="752" y="15510"/>
                  </a:cubicBezTo>
                  <a:cubicBezTo>
                    <a:pt x="645" y="15481"/>
                    <a:pt x="504" y="15447"/>
                    <a:pt x="390" y="15431"/>
                  </a:cubicBezTo>
                  <a:cubicBezTo>
                    <a:pt x="335" y="15423"/>
                    <a:pt x="293" y="15417"/>
                    <a:pt x="265" y="15414"/>
                  </a:cubicBezTo>
                  <a:cubicBezTo>
                    <a:pt x="251" y="15412"/>
                    <a:pt x="241" y="15410"/>
                    <a:pt x="234" y="15409"/>
                  </a:cubicBezTo>
                  <a:cubicBezTo>
                    <a:pt x="233" y="15409"/>
                    <a:pt x="232" y="15409"/>
                    <a:pt x="232" y="15409"/>
                  </a:cubicBezTo>
                  <a:cubicBezTo>
                    <a:pt x="230" y="15410"/>
                    <a:pt x="228" y="15410"/>
                    <a:pt x="227" y="15411"/>
                  </a:cubicBezTo>
                  <a:cubicBezTo>
                    <a:pt x="151" y="15511"/>
                    <a:pt x="98" y="15577"/>
                    <a:pt x="98" y="15577"/>
                  </a:cubicBezTo>
                  <a:cubicBezTo>
                    <a:pt x="98" y="15577"/>
                    <a:pt x="98" y="15577"/>
                    <a:pt x="98" y="15577"/>
                  </a:cubicBezTo>
                  <a:cubicBezTo>
                    <a:pt x="7" y="15694"/>
                    <a:pt x="7" y="15694"/>
                    <a:pt x="7" y="15694"/>
                  </a:cubicBezTo>
                  <a:cubicBezTo>
                    <a:pt x="7" y="15635"/>
                    <a:pt x="7" y="15635"/>
                    <a:pt x="7" y="15635"/>
                  </a:cubicBezTo>
                  <a:cubicBezTo>
                    <a:pt x="61" y="15566"/>
                    <a:pt x="61" y="15566"/>
                    <a:pt x="61" y="15566"/>
                  </a:cubicBezTo>
                  <a:cubicBezTo>
                    <a:pt x="60" y="15566"/>
                    <a:pt x="60" y="15566"/>
                    <a:pt x="60" y="15566"/>
                  </a:cubicBezTo>
                  <a:cubicBezTo>
                    <a:pt x="60" y="15566"/>
                    <a:pt x="125" y="15483"/>
                    <a:pt x="205" y="15379"/>
                  </a:cubicBezTo>
                  <a:cubicBezTo>
                    <a:pt x="182" y="15359"/>
                    <a:pt x="108" y="15295"/>
                    <a:pt x="7" y="15209"/>
                  </a:cubicBezTo>
                  <a:cubicBezTo>
                    <a:pt x="7" y="15162"/>
                    <a:pt x="7" y="15162"/>
                    <a:pt x="7" y="15162"/>
                  </a:cubicBezTo>
                  <a:cubicBezTo>
                    <a:pt x="117" y="15256"/>
                    <a:pt x="200" y="15327"/>
                    <a:pt x="227" y="15350"/>
                  </a:cubicBezTo>
                  <a:cubicBezTo>
                    <a:pt x="247" y="15324"/>
                    <a:pt x="268" y="15297"/>
                    <a:pt x="288" y="15270"/>
                  </a:cubicBezTo>
                  <a:cubicBezTo>
                    <a:pt x="401" y="15122"/>
                    <a:pt x="520" y="14965"/>
                    <a:pt x="542" y="14933"/>
                  </a:cubicBezTo>
                  <a:cubicBezTo>
                    <a:pt x="581" y="14877"/>
                    <a:pt x="620" y="14762"/>
                    <a:pt x="640" y="14703"/>
                  </a:cubicBezTo>
                  <a:cubicBezTo>
                    <a:pt x="634" y="14698"/>
                    <a:pt x="625" y="14691"/>
                    <a:pt x="614" y="14683"/>
                  </a:cubicBezTo>
                  <a:cubicBezTo>
                    <a:pt x="560" y="14641"/>
                    <a:pt x="470" y="14574"/>
                    <a:pt x="470" y="14574"/>
                  </a:cubicBezTo>
                  <a:cubicBezTo>
                    <a:pt x="470" y="14572"/>
                    <a:pt x="470" y="14572"/>
                    <a:pt x="470" y="14572"/>
                  </a:cubicBezTo>
                  <a:cubicBezTo>
                    <a:pt x="7" y="14206"/>
                    <a:pt x="7" y="14206"/>
                    <a:pt x="7" y="14206"/>
                  </a:cubicBezTo>
                  <a:cubicBezTo>
                    <a:pt x="7" y="14169"/>
                    <a:pt x="7" y="14169"/>
                    <a:pt x="7" y="14169"/>
                  </a:cubicBezTo>
                  <a:cubicBezTo>
                    <a:pt x="5" y="14168"/>
                    <a:pt x="5" y="14168"/>
                    <a:pt x="5" y="14168"/>
                  </a:cubicBezTo>
                  <a:cubicBezTo>
                    <a:pt x="5" y="14168"/>
                    <a:pt x="5" y="14168"/>
                    <a:pt x="5" y="14168"/>
                  </a:cubicBezTo>
                  <a:cubicBezTo>
                    <a:pt x="6" y="14166"/>
                    <a:pt x="6" y="14166"/>
                    <a:pt x="6" y="14166"/>
                  </a:cubicBezTo>
                  <a:cubicBezTo>
                    <a:pt x="0" y="14159"/>
                    <a:pt x="0" y="14159"/>
                    <a:pt x="0" y="14159"/>
                  </a:cubicBezTo>
                  <a:cubicBezTo>
                    <a:pt x="2" y="14156"/>
                    <a:pt x="2" y="14156"/>
                    <a:pt x="2" y="14156"/>
                  </a:cubicBezTo>
                  <a:cubicBezTo>
                    <a:pt x="7" y="14150"/>
                    <a:pt x="7" y="14150"/>
                    <a:pt x="7" y="14150"/>
                  </a:cubicBezTo>
                  <a:cubicBezTo>
                    <a:pt x="15" y="14142"/>
                    <a:pt x="15" y="14142"/>
                    <a:pt x="15" y="14142"/>
                  </a:cubicBezTo>
                  <a:cubicBezTo>
                    <a:pt x="211" y="13644"/>
                    <a:pt x="211" y="13644"/>
                    <a:pt x="211" y="13644"/>
                  </a:cubicBezTo>
                  <a:cubicBezTo>
                    <a:pt x="122" y="13484"/>
                    <a:pt x="122" y="13484"/>
                    <a:pt x="122" y="13484"/>
                  </a:cubicBezTo>
                  <a:cubicBezTo>
                    <a:pt x="242" y="13300"/>
                    <a:pt x="242" y="13300"/>
                    <a:pt x="242" y="13300"/>
                  </a:cubicBezTo>
                  <a:cubicBezTo>
                    <a:pt x="242" y="13298"/>
                    <a:pt x="242" y="13298"/>
                    <a:pt x="242" y="13298"/>
                  </a:cubicBezTo>
                  <a:cubicBezTo>
                    <a:pt x="242" y="13269"/>
                    <a:pt x="243" y="13139"/>
                    <a:pt x="265" y="13019"/>
                  </a:cubicBezTo>
                  <a:cubicBezTo>
                    <a:pt x="269" y="12998"/>
                    <a:pt x="270" y="12978"/>
                    <a:pt x="270" y="12959"/>
                  </a:cubicBezTo>
                  <a:cubicBezTo>
                    <a:pt x="270" y="12855"/>
                    <a:pt x="222" y="12769"/>
                    <a:pt x="188" y="12726"/>
                  </a:cubicBezTo>
                  <a:cubicBezTo>
                    <a:pt x="169" y="12700"/>
                    <a:pt x="146" y="12680"/>
                    <a:pt x="127" y="12667"/>
                  </a:cubicBezTo>
                  <a:cubicBezTo>
                    <a:pt x="118" y="12661"/>
                    <a:pt x="109" y="12656"/>
                    <a:pt x="103" y="12653"/>
                  </a:cubicBezTo>
                  <a:cubicBezTo>
                    <a:pt x="99" y="12651"/>
                    <a:pt x="96" y="12650"/>
                    <a:pt x="94" y="12649"/>
                  </a:cubicBezTo>
                  <a:cubicBezTo>
                    <a:pt x="93" y="12649"/>
                    <a:pt x="93" y="12649"/>
                    <a:pt x="92" y="12649"/>
                  </a:cubicBezTo>
                  <a:cubicBezTo>
                    <a:pt x="92" y="12649"/>
                    <a:pt x="92" y="12649"/>
                    <a:pt x="92" y="12649"/>
                  </a:cubicBezTo>
                  <a:cubicBezTo>
                    <a:pt x="86" y="12648"/>
                    <a:pt x="68" y="12646"/>
                    <a:pt x="39" y="12641"/>
                  </a:cubicBezTo>
                  <a:cubicBezTo>
                    <a:pt x="30" y="12639"/>
                    <a:pt x="19" y="12638"/>
                    <a:pt x="7" y="12636"/>
                  </a:cubicBezTo>
                  <a:cubicBezTo>
                    <a:pt x="7" y="12609"/>
                    <a:pt x="7" y="12609"/>
                    <a:pt x="7" y="12609"/>
                  </a:cubicBezTo>
                  <a:cubicBezTo>
                    <a:pt x="20" y="12611"/>
                    <a:pt x="33" y="12613"/>
                    <a:pt x="44" y="12615"/>
                  </a:cubicBezTo>
                  <a:cubicBezTo>
                    <a:pt x="57" y="12617"/>
                    <a:pt x="69" y="12619"/>
                    <a:pt x="78" y="12621"/>
                  </a:cubicBezTo>
                  <a:cubicBezTo>
                    <a:pt x="82" y="12621"/>
                    <a:pt x="86" y="12622"/>
                    <a:pt x="89" y="12622"/>
                  </a:cubicBezTo>
                  <a:cubicBezTo>
                    <a:pt x="90" y="12622"/>
                    <a:pt x="91" y="12622"/>
                    <a:pt x="92" y="12622"/>
                  </a:cubicBezTo>
                  <a:cubicBezTo>
                    <a:pt x="92" y="12622"/>
                    <a:pt x="92" y="12622"/>
                    <a:pt x="92" y="12622"/>
                  </a:cubicBezTo>
                  <a:cubicBezTo>
                    <a:pt x="106" y="12623"/>
                    <a:pt x="120" y="12631"/>
                    <a:pt x="142" y="12646"/>
                  </a:cubicBezTo>
                  <a:cubicBezTo>
                    <a:pt x="163" y="12660"/>
                    <a:pt x="188" y="12682"/>
                    <a:pt x="209" y="12710"/>
                  </a:cubicBezTo>
                  <a:cubicBezTo>
                    <a:pt x="245" y="12756"/>
                    <a:pt x="296" y="12847"/>
                    <a:pt x="297" y="12959"/>
                  </a:cubicBezTo>
                  <a:cubicBezTo>
                    <a:pt x="297" y="12980"/>
                    <a:pt x="295" y="13001"/>
                    <a:pt x="291" y="13023"/>
                  </a:cubicBezTo>
                  <a:cubicBezTo>
                    <a:pt x="269" y="13141"/>
                    <a:pt x="268" y="13270"/>
                    <a:pt x="268" y="13298"/>
                  </a:cubicBezTo>
                  <a:cubicBezTo>
                    <a:pt x="268" y="13302"/>
                    <a:pt x="268" y="13304"/>
                    <a:pt x="268" y="13304"/>
                  </a:cubicBezTo>
                  <a:cubicBezTo>
                    <a:pt x="268" y="13308"/>
                    <a:pt x="268" y="13308"/>
                    <a:pt x="268" y="13308"/>
                  </a:cubicBezTo>
                  <a:cubicBezTo>
                    <a:pt x="153" y="13485"/>
                    <a:pt x="153" y="13485"/>
                    <a:pt x="153" y="13485"/>
                  </a:cubicBezTo>
                  <a:cubicBezTo>
                    <a:pt x="240" y="13642"/>
                    <a:pt x="240" y="13642"/>
                    <a:pt x="240" y="13642"/>
                  </a:cubicBezTo>
                  <a:cubicBezTo>
                    <a:pt x="35" y="14163"/>
                    <a:pt x="35" y="14163"/>
                    <a:pt x="35" y="14163"/>
                  </a:cubicBezTo>
                  <a:cubicBezTo>
                    <a:pt x="32" y="14179"/>
                    <a:pt x="32" y="14179"/>
                    <a:pt x="32" y="14179"/>
                  </a:cubicBezTo>
                  <a:cubicBezTo>
                    <a:pt x="474" y="14530"/>
                    <a:pt x="474" y="14530"/>
                    <a:pt x="474" y="14530"/>
                  </a:cubicBezTo>
                  <a:cubicBezTo>
                    <a:pt x="491" y="14542"/>
                    <a:pt x="540" y="14579"/>
                    <a:pt x="578" y="14608"/>
                  </a:cubicBezTo>
                  <a:cubicBezTo>
                    <a:pt x="601" y="14625"/>
                    <a:pt x="625" y="14643"/>
                    <a:pt x="642" y="14657"/>
                  </a:cubicBezTo>
                  <a:cubicBezTo>
                    <a:pt x="646" y="14660"/>
                    <a:pt x="649" y="14663"/>
                    <a:pt x="652" y="14665"/>
                  </a:cubicBezTo>
                  <a:cubicBezTo>
                    <a:pt x="666" y="14620"/>
                    <a:pt x="679" y="14572"/>
                    <a:pt x="681" y="14562"/>
                  </a:cubicBezTo>
                  <a:cubicBezTo>
                    <a:pt x="683" y="14552"/>
                    <a:pt x="680" y="14534"/>
                    <a:pt x="690" y="14503"/>
                  </a:cubicBezTo>
                  <a:cubicBezTo>
                    <a:pt x="694" y="14491"/>
                    <a:pt x="702" y="14480"/>
                    <a:pt x="713" y="14465"/>
                  </a:cubicBezTo>
                  <a:cubicBezTo>
                    <a:pt x="729" y="14444"/>
                    <a:pt x="751" y="14419"/>
                    <a:pt x="769" y="14399"/>
                  </a:cubicBezTo>
                  <a:cubicBezTo>
                    <a:pt x="778" y="14389"/>
                    <a:pt x="786" y="14380"/>
                    <a:pt x="792" y="14373"/>
                  </a:cubicBezTo>
                  <a:cubicBezTo>
                    <a:pt x="795" y="14370"/>
                    <a:pt x="798" y="14367"/>
                    <a:pt x="799" y="14365"/>
                  </a:cubicBezTo>
                  <a:cubicBezTo>
                    <a:pt x="800" y="14365"/>
                    <a:pt x="801" y="14364"/>
                    <a:pt x="802" y="14363"/>
                  </a:cubicBezTo>
                  <a:cubicBezTo>
                    <a:pt x="803" y="14362"/>
                    <a:pt x="802" y="14362"/>
                    <a:pt x="804" y="14361"/>
                  </a:cubicBezTo>
                  <a:cubicBezTo>
                    <a:pt x="804" y="14361"/>
                    <a:pt x="804" y="14361"/>
                    <a:pt x="804" y="14361"/>
                  </a:cubicBezTo>
                  <a:cubicBezTo>
                    <a:pt x="810" y="14355"/>
                    <a:pt x="892" y="14271"/>
                    <a:pt x="972" y="14188"/>
                  </a:cubicBezTo>
                  <a:cubicBezTo>
                    <a:pt x="1013" y="14146"/>
                    <a:pt x="1054" y="14104"/>
                    <a:pt x="1085" y="14072"/>
                  </a:cubicBezTo>
                  <a:cubicBezTo>
                    <a:pt x="1089" y="14067"/>
                    <a:pt x="1093" y="14063"/>
                    <a:pt x="1097" y="14059"/>
                  </a:cubicBezTo>
                  <a:cubicBezTo>
                    <a:pt x="771" y="13854"/>
                    <a:pt x="771" y="13854"/>
                    <a:pt x="771" y="13854"/>
                  </a:cubicBezTo>
                  <a:cubicBezTo>
                    <a:pt x="772" y="13854"/>
                    <a:pt x="772" y="13854"/>
                    <a:pt x="772" y="13854"/>
                  </a:cubicBezTo>
                  <a:cubicBezTo>
                    <a:pt x="757" y="13845"/>
                    <a:pt x="737" y="13831"/>
                    <a:pt x="702" y="13808"/>
                  </a:cubicBezTo>
                  <a:cubicBezTo>
                    <a:pt x="693" y="13802"/>
                    <a:pt x="693" y="13802"/>
                    <a:pt x="693" y="13802"/>
                  </a:cubicBezTo>
                  <a:cubicBezTo>
                    <a:pt x="655" y="13777"/>
                    <a:pt x="629" y="13759"/>
                    <a:pt x="617" y="13748"/>
                  </a:cubicBezTo>
                  <a:cubicBezTo>
                    <a:pt x="617" y="13747"/>
                    <a:pt x="617" y="13747"/>
                    <a:pt x="617" y="13747"/>
                  </a:cubicBezTo>
                  <a:cubicBezTo>
                    <a:pt x="616" y="13746"/>
                    <a:pt x="616" y="13746"/>
                    <a:pt x="616" y="13746"/>
                  </a:cubicBezTo>
                  <a:cubicBezTo>
                    <a:pt x="588" y="13710"/>
                    <a:pt x="567" y="13656"/>
                    <a:pt x="566" y="13616"/>
                  </a:cubicBezTo>
                  <a:cubicBezTo>
                    <a:pt x="566" y="13612"/>
                    <a:pt x="566" y="13608"/>
                    <a:pt x="567" y="13604"/>
                  </a:cubicBezTo>
                  <a:cubicBezTo>
                    <a:pt x="572" y="13573"/>
                    <a:pt x="595" y="13443"/>
                    <a:pt x="612" y="13366"/>
                  </a:cubicBezTo>
                  <a:cubicBezTo>
                    <a:pt x="627" y="13305"/>
                    <a:pt x="635" y="13072"/>
                    <a:pt x="635" y="12986"/>
                  </a:cubicBezTo>
                  <a:cubicBezTo>
                    <a:pt x="635" y="12973"/>
                    <a:pt x="635" y="12964"/>
                    <a:pt x="635" y="12958"/>
                  </a:cubicBezTo>
                  <a:cubicBezTo>
                    <a:pt x="632" y="12912"/>
                    <a:pt x="623" y="12863"/>
                    <a:pt x="579" y="12777"/>
                  </a:cubicBezTo>
                  <a:cubicBezTo>
                    <a:pt x="535" y="12691"/>
                    <a:pt x="411" y="12509"/>
                    <a:pt x="369" y="12449"/>
                  </a:cubicBezTo>
                  <a:cubicBezTo>
                    <a:pt x="347" y="12419"/>
                    <a:pt x="308" y="12366"/>
                    <a:pt x="268" y="12317"/>
                  </a:cubicBezTo>
                  <a:cubicBezTo>
                    <a:pt x="228" y="12269"/>
                    <a:pt x="185" y="12223"/>
                    <a:pt x="163" y="12210"/>
                  </a:cubicBezTo>
                  <a:cubicBezTo>
                    <a:pt x="131" y="12191"/>
                    <a:pt x="63" y="12178"/>
                    <a:pt x="7" y="12173"/>
                  </a:cubicBezTo>
                  <a:cubicBezTo>
                    <a:pt x="7" y="12137"/>
                    <a:pt x="7" y="12137"/>
                    <a:pt x="7" y="12137"/>
                  </a:cubicBezTo>
                  <a:cubicBezTo>
                    <a:pt x="28" y="12139"/>
                    <a:pt x="51" y="12141"/>
                    <a:pt x="73" y="12145"/>
                  </a:cubicBezTo>
                  <a:cubicBezTo>
                    <a:pt x="86" y="12121"/>
                    <a:pt x="86" y="12121"/>
                    <a:pt x="86" y="12121"/>
                  </a:cubicBezTo>
                  <a:cubicBezTo>
                    <a:pt x="118" y="11986"/>
                    <a:pt x="118" y="11986"/>
                    <a:pt x="118" y="11986"/>
                  </a:cubicBezTo>
                  <a:cubicBezTo>
                    <a:pt x="7" y="11921"/>
                    <a:pt x="7" y="11921"/>
                    <a:pt x="7" y="11921"/>
                  </a:cubicBezTo>
                  <a:cubicBezTo>
                    <a:pt x="7" y="11891"/>
                    <a:pt x="7" y="11891"/>
                    <a:pt x="7" y="11891"/>
                  </a:cubicBezTo>
                  <a:cubicBezTo>
                    <a:pt x="134" y="11965"/>
                    <a:pt x="134" y="11965"/>
                    <a:pt x="134" y="11965"/>
                  </a:cubicBezTo>
                  <a:cubicBezTo>
                    <a:pt x="602" y="11738"/>
                    <a:pt x="602" y="11738"/>
                    <a:pt x="602" y="11738"/>
                  </a:cubicBezTo>
                  <a:cubicBezTo>
                    <a:pt x="603" y="11738"/>
                    <a:pt x="603" y="11738"/>
                    <a:pt x="603" y="11738"/>
                  </a:cubicBezTo>
                  <a:cubicBezTo>
                    <a:pt x="532" y="11638"/>
                    <a:pt x="452" y="11526"/>
                    <a:pt x="375" y="11416"/>
                  </a:cubicBezTo>
                  <a:cubicBezTo>
                    <a:pt x="279" y="11278"/>
                    <a:pt x="187" y="11143"/>
                    <a:pt x="119" y="11043"/>
                  </a:cubicBezTo>
                  <a:cubicBezTo>
                    <a:pt x="89" y="10998"/>
                    <a:pt x="60" y="10964"/>
                    <a:pt x="40" y="10936"/>
                  </a:cubicBezTo>
                  <a:cubicBezTo>
                    <a:pt x="40" y="10936"/>
                    <a:pt x="40" y="10936"/>
                    <a:pt x="40" y="10936"/>
                  </a:cubicBezTo>
                  <a:cubicBezTo>
                    <a:pt x="39" y="10934"/>
                    <a:pt x="39" y="10934"/>
                    <a:pt x="39" y="10934"/>
                  </a:cubicBezTo>
                  <a:cubicBezTo>
                    <a:pt x="37" y="10931"/>
                    <a:pt x="35" y="10928"/>
                    <a:pt x="33" y="10926"/>
                  </a:cubicBezTo>
                  <a:cubicBezTo>
                    <a:pt x="32" y="10923"/>
                    <a:pt x="32" y="10923"/>
                    <a:pt x="32" y="10923"/>
                  </a:cubicBezTo>
                  <a:cubicBezTo>
                    <a:pt x="7" y="10885"/>
                    <a:pt x="7" y="10885"/>
                    <a:pt x="7" y="10885"/>
                  </a:cubicBezTo>
                  <a:cubicBezTo>
                    <a:pt x="7" y="10881"/>
                    <a:pt x="7" y="10881"/>
                    <a:pt x="7" y="10881"/>
                  </a:cubicBezTo>
                  <a:cubicBezTo>
                    <a:pt x="6" y="10880"/>
                    <a:pt x="5" y="10878"/>
                    <a:pt x="4" y="10877"/>
                  </a:cubicBezTo>
                  <a:cubicBezTo>
                    <a:pt x="4" y="10876"/>
                    <a:pt x="3" y="10875"/>
                    <a:pt x="3" y="10874"/>
                  </a:cubicBezTo>
                  <a:cubicBezTo>
                    <a:pt x="2" y="10873"/>
                    <a:pt x="2" y="10873"/>
                    <a:pt x="2" y="10872"/>
                  </a:cubicBezTo>
                  <a:cubicBezTo>
                    <a:pt x="1" y="10870"/>
                    <a:pt x="1" y="10872"/>
                    <a:pt x="0" y="10864"/>
                  </a:cubicBezTo>
                  <a:cubicBezTo>
                    <a:pt x="0" y="10860"/>
                    <a:pt x="1" y="10854"/>
                    <a:pt x="6" y="10850"/>
                  </a:cubicBezTo>
                  <a:cubicBezTo>
                    <a:pt x="6" y="10850"/>
                    <a:pt x="7" y="10850"/>
                    <a:pt x="7" y="10849"/>
                  </a:cubicBezTo>
                  <a:cubicBezTo>
                    <a:pt x="7" y="10819"/>
                    <a:pt x="7" y="10819"/>
                    <a:pt x="7" y="10819"/>
                  </a:cubicBezTo>
                  <a:cubicBezTo>
                    <a:pt x="26" y="10848"/>
                    <a:pt x="26" y="10848"/>
                    <a:pt x="26" y="10848"/>
                  </a:cubicBezTo>
                  <a:cubicBezTo>
                    <a:pt x="30" y="10850"/>
                    <a:pt x="33" y="10853"/>
                    <a:pt x="34" y="10857"/>
                  </a:cubicBezTo>
                  <a:cubicBezTo>
                    <a:pt x="32" y="10857"/>
                    <a:pt x="32" y="10857"/>
                    <a:pt x="32" y="10857"/>
                  </a:cubicBezTo>
                  <a:cubicBezTo>
                    <a:pt x="45" y="10879"/>
                    <a:pt x="222" y="11133"/>
                    <a:pt x="405" y="11395"/>
                  </a:cubicBezTo>
                  <a:cubicBezTo>
                    <a:pt x="483" y="11507"/>
                    <a:pt x="563" y="11620"/>
                    <a:pt x="635" y="11721"/>
                  </a:cubicBezTo>
                  <a:cubicBezTo>
                    <a:pt x="637" y="11720"/>
                    <a:pt x="637" y="11720"/>
                    <a:pt x="637" y="11720"/>
                  </a:cubicBezTo>
                  <a:cubicBezTo>
                    <a:pt x="657" y="11714"/>
                    <a:pt x="657" y="11714"/>
                    <a:pt x="657" y="11714"/>
                  </a:cubicBezTo>
                  <a:cubicBezTo>
                    <a:pt x="664" y="11712"/>
                    <a:pt x="726" y="11687"/>
                    <a:pt x="794" y="11600"/>
                  </a:cubicBezTo>
                  <a:cubicBezTo>
                    <a:pt x="829" y="11555"/>
                    <a:pt x="853" y="11489"/>
                    <a:pt x="868" y="11434"/>
                  </a:cubicBezTo>
                  <a:cubicBezTo>
                    <a:pt x="879" y="11392"/>
                    <a:pt x="885" y="11358"/>
                    <a:pt x="887" y="11343"/>
                  </a:cubicBezTo>
                  <a:cubicBezTo>
                    <a:pt x="839" y="11316"/>
                    <a:pt x="785" y="11284"/>
                    <a:pt x="739" y="11254"/>
                  </a:cubicBezTo>
                  <a:cubicBezTo>
                    <a:pt x="660" y="11202"/>
                    <a:pt x="603" y="11115"/>
                    <a:pt x="602" y="11114"/>
                  </a:cubicBezTo>
                  <a:cubicBezTo>
                    <a:pt x="602" y="11114"/>
                    <a:pt x="602" y="11114"/>
                    <a:pt x="602" y="11114"/>
                  </a:cubicBezTo>
                  <a:cubicBezTo>
                    <a:pt x="573" y="11068"/>
                    <a:pt x="515" y="10971"/>
                    <a:pt x="474" y="10882"/>
                  </a:cubicBezTo>
                  <a:cubicBezTo>
                    <a:pt x="416" y="10759"/>
                    <a:pt x="328" y="10539"/>
                    <a:pt x="328" y="10539"/>
                  </a:cubicBezTo>
                  <a:cubicBezTo>
                    <a:pt x="350" y="10524"/>
                    <a:pt x="350" y="10524"/>
                    <a:pt x="350" y="10524"/>
                  </a:cubicBezTo>
                  <a:cubicBezTo>
                    <a:pt x="350" y="10524"/>
                    <a:pt x="440" y="10749"/>
                    <a:pt x="498" y="10871"/>
                  </a:cubicBezTo>
                  <a:cubicBezTo>
                    <a:pt x="535" y="10952"/>
                    <a:pt x="587" y="11047"/>
                    <a:pt x="618" y="11095"/>
                  </a:cubicBezTo>
                  <a:cubicBezTo>
                    <a:pt x="634" y="11119"/>
                    <a:pt x="644" y="11124"/>
                    <a:pt x="644" y="11124"/>
                  </a:cubicBezTo>
                  <a:cubicBezTo>
                    <a:pt x="641" y="11126"/>
                    <a:pt x="641" y="11126"/>
                    <a:pt x="641" y="11126"/>
                  </a:cubicBezTo>
                  <a:cubicBezTo>
                    <a:pt x="647" y="11134"/>
                    <a:pt x="654" y="11142"/>
                    <a:pt x="661" y="11150"/>
                  </a:cubicBezTo>
                  <a:cubicBezTo>
                    <a:pt x="684" y="11177"/>
                    <a:pt x="716" y="11209"/>
                    <a:pt x="753" y="11234"/>
                  </a:cubicBezTo>
                  <a:cubicBezTo>
                    <a:pt x="829" y="11283"/>
                    <a:pt x="934" y="11342"/>
                    <a:pt x="983" y="11372"/>
                  </a:cubicBezTo>
                  <a:cubicBezTo>
                    <a:pt x="994" y="11379"/>
                    <a:pt x="1009" y="11389"/>
                    <a:pt x="1026" y="11401"/>
                  </a:cubicBezTo>
                  <a:cubicBezTo>
                    <a:pt x="1032" y="11381"/>
                    <a:pt x="1045" y="11346"/>
                    <a:pt x="1064" y="11310"/>
                  </a:cubicBezTo>
                  <a:cubicBezTo>
                    <a:pt x="1087" y="11267"/>
                    <a:pt x="1117" y="11225"/>
                    <a:pt x="1144" y="11194"/>
                  </a:cubicBezTo>
                  <a:cubicBezTo>
                    <a:pt x="1163" y="11171"/>
                    <a:pt x="1186" y="11145"/>
                    <a:pt x="1211" y="11123"/>
                  </a:cubicBezTo>
                  <a:cubicBezTo>
                    <a:pt x="1262" y="11077"/>
                    <a:pt x="1314" y="11043"/>
                    <a:pt x="1314" y="11043"/>
                  </a:cubicBezTo>
                  <a:cubicBezTo>
                    <a:pt x="1328" y="11064"/>
                    <a:pt x="1328" y="11064"/>
                    <a:pt x="1328" y="11064"/>
                  </a:cubicBezTo>
                  <a:cubicBezTo>
                    <a:pt x="1328" y="11064"/>
                    <a:pt x="1328" y="11064"/>
                    <a:pt x="1328" y="11064"/>
                  </a:cubicBezTo>
                  <a:cubicBezTo>
                    <a:pt x="1328" y="11064"/>
                    <a:pt x="1277" y="11097"/>
                    <a:pt x="1228" y="11141"/>
                  </a:cubicBezTo>
                  <a:cubicBezTo>
                    <a:pt x="1204" y="11162"/>
                    <a:pt x="1181" y="11187"/>
                    <a:pt x="1162" y="11210"/>
                  </a:cubicBezTo>
                  <a:cubicBezTo>
                    <a:pt x="1137" y="11240"/>
                    <a:pt x="1107" y="11281"/>
                    <a:pt x="1086" y="11321"/>
                  </a:cubicBezTo>
                  <a:cubicBezTo>
                    <a:pt x="1065" y="11361"/>
                    <a:pt x="1052" y="11400"/>
                    <a:pt x="1046" y="11417"/>
                  </a:cubicBezTo>
                  <a:cubicBezTo>
                    <a:pt x="1101" y="11459"/>
                    <a:pt x="1167" y="11517"/>
                    <a:pt x="1203" y="11556"/>
                  </a:cubicBezTo>
                  <a:cubicBezTo>
                    <a:pt x="1257" y="11614"/>
                    <a:pt x="1319" y="11714"/>
                    <a:pt x="1338" y="11782"/>
                  </a:cubicBezTo>
                  <a:cubicBezTo>
                    <a:pt x="1355" y="11845"/>
                    <a:pt x="1382" y="11951"/>
                    <a:pt x="1392" y="11985"/>
                  </a:cubicBezTo>
                  <a:cubicBezTo>
                    <a:pt x="1403" y="12020"/>
                    <a:pt x="1414" y="12081"/>
                    <a:pt x="1523" y="12155"/>
                  </a:cubicBezTo>
                  <a:cubicBezTo>
                    <a:pt x="1601" y="12207"/>
                    <a:pt x="1742" y="12250"/>
                    <a:pt x="1846" y="12275"/>
                  </a:cubicBezTo>
                  <a:cubicBezTo>
                    <a:pt x="1886" y="12284"/>
                    <a:pt x="1918" y="12289"/>
                    <a:pt x="1944" y="12295"/>
                  </a:cubicBezTo>
                  <a:cubicBezTo>
                    <a:pt x="1947" y="12295"/>
                    <a:pt x="1952" y="12295"/>
                    <a:pt x="1957" y="12296"/>
                  </a:cubicBezTo>
                  <a:cubicBezTo>
                    <a:pt x="1978" y="12270"/>
                    <a:pt x="2001" y="12236"/>
                    <a:pt x="2023" y="12208"/>
                  </a:cubicBezTo>
                  <a:cubicBezTo>
                    <a:pt x="2081" y="12130"/>
                    <a:pt x="2134" y="12052"/>
                    <a:pt x="2171" y="11993"/>
                  </a:cubicBezTo>
                  <a:cubicBezTo>
                    <a:pt x="2203" y="11944"/>
                    <a:pt x="2224" y="11909"/>
                    <a:pt x="2230" y="11899"/>
                  </a:cubicBezTo>
                  <a:cubicBezTo>
                    <a:pt x="2232" y="11889"/>
                    <a:pt x="2239" y="11861"/>
                    <a:pt x="2267" y="11781"/>
                  </a:cubicBezTo>
                  <a:cubicBezTo>
                    <a:pt x="2268" y="11778"/>
                    <a:pt x="2270" y="11774"/>
                    <a:pt x="2271" y="11771"/>
                  </a:cubicBezTo>
                  <a:cubicBezTo>
                    <a:pt x="2256" y="11770"/>
                    <a:pt x="2241" y="11770"/>
                    <a:pt x="2227" y="11770"/>
                  </a:cubicBezTo>
                  <a:cubicBezTo>
                    <a:pt x="2188" y="11770"/>
                    <a:pt x="2091" y="11767"/>
                    <a:pt x="1999" y="11727"/>
                  </a:cubicBezTo>
                  <a:cubicBezTo>
                    <a:pt x="1888" y="11679"/>
                    <a:pt x="1800" y="11592"/>
                    <a:pt x="1800" y="11592"/>
                  </a:cubicBezTo>
                  <a:cubicBezTo>
                    <a:pt x="1799" y="11591"/>
                    <a:pt x="1799" y="11591"/>
                    <a:pt x="1799" y="11591"/>
                  </a:cubicBezTo>
                  <a:cubicBezTo>
                    <a:pt x="1331" y="11053"/>
                    <a:pt x="1331" y="11053"/>
                    <a:pt x="1331" y="11053"/>
                  </a:cubicBezTo>
                  <a:cubicBezTo>
                    <a:pt x="1331" y="11053"/>
                    <a:pt x="1119" y="10809"/>
                    <a:pt x="908" y="10564"/>
                  </a:cubicBezTo>
                  <a:cubicBezTo>
                    <a:pt x="802" y="10442"/>
                    <a:pt x="696" y="10320"/>
                    <a:pt x="617" y="10228"/>
                  </a:cubicBezTo>
                  <a:cubicBezTo>
                    <a:pt x="609" y="10218"/>
                    <a:pt x="601" y="10209"/>
                    <a:pt x="593" y="10200"/>
                  </a:cubicBezTo>
                  <a:cubicBezTo>
                    <a:pt x="550" y="10226"/>
                    <a:pt x="518" y="10246"/>
                    <a:pt x="476" y="10273"/>
                  </a:cubicBezTo>
                  <a:cubicBezTo>
                    <a:pt x="476" y="10273"/>
                    <a:pt x="403" y="10297"/>
                    <a:pt x="391" y="10297"/>
                  </a:cubicBezTo>
                  <a:cubicBezTo>
                    <a:pt x="305" y="10312"/>
                    <a:pt x="305" y="10312"/>
                    <a:pt x="305" y="10312"/>
                  </a:cubicBezTo>
                  <a:cubicBezTo>
                    <a:pt x="277" y="10317"/>
                    <a:pt x="244" y="10321"/>
                    <a:pt x="211" y="10325"/>
                  </a:cubicBezTo>
                  <a:cubicBezTo>
                    <a:pt x="173" y="10366"/>
                    <a:pt x="132" y="10410"/>
                    <a:pt x="92" y="10453"/>
                  </a:cubicBezTo>
                  <a:cubicBezTo>
                    <a:pt x="63" y="10484"/>
                    <a:pt x="35" y="10515"/>
                    <a:pt x="7" y="10544"/>
                  </a:cubicBezTo>
                  <a:cubicBezTo>
                    <a:pt x="7" y="10363"/>
                    <a:pt x="7" y="10363"/>
                    <a:pt x="7" y="10363"/>
                  </a:cubicBezTo>
                  <a:cubicBezTo>
                    <a:pt x="14" y="10357"/>
                    <a:pt x="20" y="10350"/>
                    <a:pt x="26" y="10343"/>
                  </a:cubicBezTo>
                  <a:cubicBezTo>
                    <a:pt x="20" y="10343"/>
                    <a:pt x="14" y="10344"/>
                    <a:pt x="7" y="10345"/>
                  </a:cubicBezTo>
                  <a:cubicBezTo>
                    <a:pt x="7" y="10080"/>
                    <a:pt x="7" y="10080"/>
                    <a:pt x="7" y="10080"/>
                  </a:cubicBezTo>
                  <a:cubicBezTo>
                    <a:pt x="39" y="10063"/>
                    <a:pt x="78" y="10047"/>
                    <a:pt x="119" y="10044"/>
                  </a:cubicBezTo>
                  <a:cubicBezTo>
                    <a:pt x="169" y="10040"/>
                    <a:pt x="232" y="10046"/>
                    <a:pt x="292" y="10056"/>
                  </a:cubicBezTo>
                  <a:cubicBezTo>
                    <a:pt x="317" y="10029"/>
                    <a:pt x="334" y="10011"/>
                    <a:pt x="339" y="10006"/>
                  </a:cubicBezTo>
                  <a:cubicBezTo>
                    <a:pt x="358" y="9986"/>
                    <a:pt x="380" y="9971"/>
                    <a:pt x="399" y="9959"/>
                  </a:cubicBezTo>
                  <a:cubicBezTo>
                    <a:pt x="421" y="9944"/>
                    <a:pt x="445" y="9932"/>
                    <a:pt x="451" y="9930"/>
                  </a:cubicBezTo>
                  <a:cubicBezTo>
                    <a:pt x="1283" y="9484"/>
                    <a:pt x="1283" y="9484"/>
                    <a:pt x="1283" y="9484"/>
                  </a:cubicBezTo>
                  <a:cubicBezTo>
                    <a:pt x="2204" y="8993"/>
                    <a:pt x="2204" y="8993"/>
                    <a:pt x="2204" y="8993"/>
                  </a:cubicBezTo>
                  <a:cubicBezTo>
                    <a:pt x="2208" y="8991"/>
                    <a:pt x="2208" y="8991"/>
                    <a:pt x="2208" y="8991"/>
                  </a:cubicBezTo>
                  <a:cubicBezTo>
                    <a:pt x="2208" y="8991"/>
                    <a:pt x="2267" y="8963"/>
                    <a:pt x="2400" y="8892"/>
                  </a:cubicBezTo>
                  <a:cubicBezTo>
                    <a:pt x="2600" y="8787"/>
                    <a:pt x="2900" y="8628"/>
                    <a:pt x="3154" y="8492"/>
                  </a:cubicBezTo>
                  <a:cubicBezTo>
                    <a:pt x="3281" y="8424"/>
                    <a:pt x="3397" y="8363"/>
                    <a:pt x="3482" y="8316"/>
                  </a:cubicBezTo>
                  <a:cubicBezTo>
                    <a:pt x="3525" y="8293"/>
                    <a:pt x="3561" y="8274"/>
                    <a:pt x="3586" y="8260"/>
                  </a:cubicBezTo>
                  <a:cubicBezTo>
                    <a:pt x="3599" y="8253"/>
                    <a:pt x="3609" y="8247"/>
                    <a:pt x="3616" y="8243"/>
                  </a:cubicBezTo>
                  <a:cubicBezTo>
                    <a:pt x="3620" y="8241"/>
                    <a:pt x="3622" y="8240"/>
                    <a:pt x="3624" y="8238"/>
                  </a:cubicBezTo>
                  <a:cubicBezTo>
                    <a:pt x="3625" y="8238"/>
                    <a:pt x="3626" y="8238"/>
                    <a:pt x="3626" y="8237"/>
                  </a:cubicBezTo>
                  <a:cubicBezTo>
                    <a:pt x="3643" y="8225"/>
                    <a:pt x="3686" y="8189"/>
                    <a:pt x="3740" y="8152"/>
                  </a:cubicBezTo>
                  <a:cubicBezTo>
                    <a:pt x="3795" y="8115"/>
                    <a:pt x="3863" y="8075"/>
                    <a:pt x="3940" y="8054"/>
                  </a:cubicBezTo>
                  <a:cubicBezTo>
                    <a:pt x="3943" y="8053"/>
                    <a:pt x="3946" y="8053"/>
                    <a:pt x="3949" y="8052"/>
                  </a:cubicBezTo>
                  <a:cubicBezTo>
                    <a:pt x="3943" y="8035"/>
                    <a:pt x="3943" y="8035"/>
                    <a:pt x="3943" y="8035"/>
                  </a:cubicBezTo>
                  <a:cubicBezTo>
                    <a:pt x="3935" y="8018"/>
                    <a:pt x="3911" y="7973"/>
                    <a:pt x="3901" y="7923"/>
                  </a:cubicBezTo>
                  <a:cubicBezTo>
                    <a:pt x="3900" y="7923"/>
                    <a:pt x="3900" y="7923"/>
                    <a:pt x="3900" y="7923"/>
                  </a:cubicBezTo>
                  <a:cubicBezTo>
                    <a:pt x="3900" y="7917"/>
                    <a:pt x="3900" y="7917"/>
                    <a:pt x="3900" y="7917"/>
                  </a:cubicBezTo>
                  <a:cubicBezTo>
                    <a:pt x="3900" y="7917"/>
                    <a:pt x="3899" y="7915"/>
                    <a:pt x="3899" y="7913"/>
                  </a:cubicBezTo>
                  <a:cubicBezTo>
                    <a:pt x="3899" y="7911"/>
                    <a:pt x="3898" y="7910"/>
                    <a:pt x="3898" y="7908"/>
                  </a:cubicBezTo>
                  <a:cubicBezTo>
                    <a:pt x="3898" y="7908"/>
                    <a:pt x="3898" y="7908"/>
                    <a:pt x="3898" y="7908"/>
                  </a:cubicBezTo>
                  <a:cubicBezTo>
                    <a:pt x="3893" y="7876"/>
                    <a:pt x="3876" y="7761"/>
                    <a:pt x="3876" y="7700"/>
                  </a:cubicBezTo>
                  <a:cubicBezTo>
                    <a:pt x="3876" y="7697"/>
                    <a:pt x="3876" y="7694"/>
                    <a:pt x="3876" y="7692"/>
                  </a:cubicBezTo>
                  <a:cubicBezTo>
                    <a:pt x="3875" y="7684"/>
                    <a:pt x="3873" y="7656"/>
                    <a:pt x="3870" y="7636"/>
                  </a:cubicBezTo>
                  <a:cubicBezTo>
                    <a:pt x="3868" y="7629"/>
                    <a:pt x="3867" y="7624"/>
                    <a:pt x="3866" y="7621"/>
                  </a:cubicBezTo>
                  <a:cubicBezTo>
                    <a:pt x="3865" y="7620"/>
                    <a:pt x="3865" y="7619"/>
                    <a:pt x="3865" y="7619"/>
                  </a:cubicBezTo>
                  <a:cubicBezTo>
                    <a:pt x="3678" y="7401"/>
                    <a:pt x="3678" y="7401"/>
                    <a:pt x="3678" y="7401"/>
                  </a:cubicBezTo>
                  <a:cubicBezTo>
                    <a:pt x="3676" y="7400"/>
                    <a:pt x="3676" y="7400"/>
                    <a:pt x="3676" y="7400"/>
                  </a:cubicBezTo>
                  <a:cubicBezTo>
                    <a:pt x="3676" y="7400"/>
                    <a:pt x="3639" y="7354"/>
                    <a:pt x="3583" y="7294"/>
                  </a:cubicBezTo>
                  <a:cubicBezTo>
                    <a:pt x="3570" y="7281"/>
                    <a:pt x="3556" y="7266"/>
                    <a:pt x="3542" y="7252"/>
                  </a:cubicBezTo>
                  <a:cubicBezTo>
                    <a:pt x="3527" y="7254"/>
                    <a:pt x="3479" y="7260"/>
                    <a:pt x="3423" y="7271"/>
                  </a:cubicBezTo>
                  <a:cubicBezTo>
                    <a:pt x="3355" y="7284"/>
                    <a:pt x="3277" y="7306"/>
                    <a:pt x="3240" y="7331"/>
                  </a:cubicBezTo>
                  <a:cubicBezTo>
                    <a:pt x="3164" y="7383"/>
                    <a:pt x="3018" y="7503"/>
                    <a:pt x="2852" y="7503"/>
                  </a:cubicBezTo>
                  <a:cubicBezTo>
                    <a:pt x="2839" y="7503"/>
                    <a:pt x="2825" y="7503"/>
                    <a:pt x="2811" y="7501"/>
                  </a:cubicBezTo>
                  <a:cubicBezTo>
                    <a:pt x="2777" y="7496"/>
                    <a:pt x="2745" y="7488"/>
                    <a:pt x="2714" y="7479"/>
                  </a:cubicBezTo>
                  <a:cubicBezTo>
                    <a:pt x="2707" y="7492"/>
                    <a:pt x="2707" y="7492"/>
                    <a:pt x="2707" y="7492"/>
                  </a:cubicBezTo>
                  <a:cubicBezTo>
                    <a:pt x="2504" y="7951"/>
                    <a:pt x="2504" y="7951"/>
                    <a:pt x="2504" y="7951"/>
                  </a:cubicBezTo>
                  <a:cubicBezTo>
                    <a:pt x="2504" y="7951"/>
                    <a:pt x="2504" y="7951"/>
                    <a:pt x="2504" y="7951"/>
                  </a:cubicBezTo>
                  <a:cubicBezTo>
                    <a:pt x="2504" y="7951"/>
                    <a:pt x="2504" y="7951"/>
                    <a:pt x="2504" y="7951"/>
                  </a:cubicBezTo>
                  <a:cubicBezTo>
                    <a:pt x="2502" y="7954"/>
                    <a:pt x="2502" y="7954"/>
                    <a:pt x="2502" y="7954"/>
                  </a:cubicBezTo>
                  <a:cubicBezTo>
                    <a:pt x="2500" y="7953"/>
                    <a:pt x="2500" y="7953"/>
                    <a:pt x="2500" y="7953"/>
                  </a:cubicBezTo>
                  <a:cubicBezTo>
                    <a:pt x="2278" y="8104"/>
                    <a:pt x="2278" y="8104"/>
                    <a:pt x="2278" y="8104"/>
                  </a:cubicBezTo>
                  <a:cubicBezTo>
                    <a:pt x="2539" y="8646"/>
                    <a:pt x="2539" y="8646"/>
                    <a:pt x="2539" y="8646"/>
                  </a:cubicBezTo>
                  <a:cubicBezTo>
                    <a:pt x="2541" y="8645"/>
                    <a:pt x="2541" y="8645"/>
                    <a:pt x="2541" y="8645"/>
                  </a:cubicBezTo>
                  <a:cubicBezTo>
                    <a:pt x="2599" y="8768"/>
                    <a:pt x="2599" y="8768"/>
                    <a:pt x="2599" y="8768"/>
                  </a:cubicBezTo>
                  <a:cubicBezTo>
                    <a:pt x="2576" y="8779"/>
                    <a:pt x="2576" y="8779"/>
                    <a:pt x="2576" y="8779"/>
                  </a:cubicBezTo>
                  <a:cubicBezTo>
                    <a:pt x="2527" y="8676"/>
                    <a:pt x="2527" y="8676"/>
                    <a:pt x="2527" y="8676"/>
                  </a:cubicBezTo>
                  <a:cubicBezTo>
                    <a:pt x="2526" y="8677"/>
                    <a:pt x="2526" y="8677"/>
                    <a:pt x="2526" y="8677"/>
                  </a:cubicBezTo>
                  <a:cubicBezTo>
                    <a:pt x="2258" y="8118"/>
                    <a:pt x="2258" y="8118"/>
                    <a:pt x="2258" y="8118"/>
                  </a:cubicBezTo>
                  <a:cubicBezTo>
                    <a:pt x="2005" y="8289"/>
                    <a:pt x="2005" y="8289"/>
                    <a:pt x="2005" y="8289"/>
                  </a:cubicBezTo>
                  <a:cubicBezTo>
                    <a:pt x="1665" y="8315"/>
                    <a:pt x="1665" y="8315"/>
                    <a:pt x="1665" y="8315"/>
                  </a:cubicBezTo>
                  <a:cubicBezTo>
                    <a:pt x="1651" y="8341"/>
                    <a:pt x="1588" y="8448"/>
                    <a:pt x="1526" y="8555"/>
                  </a:cubicBezTo>
                  <a:cubicBezTo>
                    <a:pt x="1490" y="8617"/>
                    <a:pt x="1454" y="8678"/>
                    <a:pt x="1428" y="8724"/>
                  </a:cubicBezTo>
                  <a:cubicBezTo>
                    <a:pt x="1414" y="8747"/>
                    <a:pt x="1403" y="8767"/>
                    <a:pt x="1395" y="8780"/>
                  </a:cubicBezTo>
                  <a:cubicBezTo>
                    <a:pt x="1391" y="8787"/>
                    <a:pt x="1388" y="8792"/>
                    <a:pt x="1386" y="8796"/>
                  </a:cubicBezTo>
                  <a:cubicBezTo>
                    <a:pt x="1385" y="8797"/>
                    <a:pt x="1384" y="8799"/>
                    <a:pt x="1384" y="8800"/>
                  </a:cubicBezTo>
                  <a:cubicBezTo>
                    <a:pt x="1383" y="8800"/>
                    <a:pt x="1383" y="8801"/>
                    <a:pt x="1383" y="8801"/>
                  </a:cubicBezTo>
                  <a:cubicBezTo>
                    <a:pt x="1383" y="8801"/>
                    <a:pt x="1383" y="8801"/>
                    <a:pt x="1383" y="8801"/>
                  </a:cubicBezTo>
                  <a:cubicBezTo>
                    <a:pt x="1383" y="8801"/>
                    <a:pt x="1383" y="8801"/>
                    <a:pt x="1383" y="8801"/>
                  </a:cubicBezTo>
                  <a:cubicBezTo>
                    <a:pt x="1383" y="8801"/>
                    <a:pt x="1383" y="8802"/>
                    <a:pt x="1383" y="8802"/>
                  </a:cubicBezTo>
                  <a:cubicBezTo>
                    <a:pt x="1383" y="8802"/>
                    <a:pt x="1382" y="8802"/>
                    <a:pt x="1382" y="8802"/>
                  </a:cubicBezTo>
                  <a:cubicBezTo>
                    <a:pt x="1382" y="8802"/>
                    <a:pt x="1382" y="8802"/>
                    <a:pt x="1382" y="8803"/>
                  </a:cubicBezTo>
                  <a:cubicBezTo>
                    <a:pt x="1382" y="8803"/>
                    <a:pt x="1381" y="8803"/>
                    <a:pt x="1381" y="8804"/>
                  </a:cubicBezTo>
                  <a:cubicBezTo>
                    <a:pt x="1380" y="8804"/>
                    <a:pt x="1380" y="8805"/>
                    <a:pt x="1379" y="8805"/>
                  </a:cubicBezTo>
                  <a:cubicBezTo>
                    <a:pt x="1379" y="8805"/>
                    <a:pt x="1379" y="8805"/>
                    <a:pt x="1379" y="8805"/>
                  </a:cubicBezTo>
                  <a:cubicBezTo>
                    <a:pt x="1366" y="8817"/>
                    <a:pt x="1239" y="8937"/>
                    <a:pt x="1115" y="9055"/>
                  </a:cubicBezTo>
                  <a:cubicBezTo>
                    <a:pt x="993" y="9171"/>
                    <a:pt x="874" y="9285"/>
                    <a:pt x="861" y="9297"/>
                  </a:cubicBezTo>
                  <a:cubicBezTo>
                    <a:pt x="883" y="9301"/>
                    <a:pt x="907" y="9308"/>
                    <a:pt x="932" y="9323"/>
                  </a:cubicBezTo>
                  <a:cubicBezTo>
                    <a:pt x="980" y="9354"/>
                    <a:pt x="1014" y="9420"/>
                    <a:pt x="1039" y="9479"/>
                  </a:cubicBezTo>
                  <a:cubicBezTo>
                    <a:pt x="1063" y="9538"/>
                    <a:pt x="1078" y="9591"/>
                    <a:pt x="1078" y="9591"/>
                  </a:cubicBezTo>
                  <a:cubicBezTo>
                    <a:pt x="1041" y="9601"/>
                    <a:pt x="1041" y="9601"/>
                    <a:pt x="1041" y="9601"/>
                  </a:cubicBezTo>
                  <a:cubicBezTo>
                    <a:pt x="1041" y="9600"/>
                    <a:pt x="1028" y="9550"/>
                    <a:pt x="1004" y="9494"/>
                  </a:cubicBezTo>
                  <a:cubicBezTo>
                    <a:pt x="981" y="9437"/>
                    <a:pt x="946" y="9375"/>
                    <a:pt x="913" y="9356"/>
                  </a:cubicBezTo>
                  <a:cubicBezTo>
                    <a:pt x="881" y="9337"/>
                    <a:pt x="852" y="9332"/>
                    <a:pt x="826" y="9330"/>
                  </a:cubicBezTo>
                  <a:cubicBezTo>
                    <a:pt x="819" y="9330"/>
                    <a:pt x="813" y="9330"/>
                    <a:pt x="807" y="9330"/>
                  </a:cubicBezTo>
                  <a:cubicBezTo>
                    <a:pt x="783" y="9330"/>
                    <a:pt x="764" y="9333"/>
                    <a:pt x="745" y="9336"/>
                  </a:cubicBezTo>
                  <a:cubicBezTo>
                    <a:pt x="710" y="9340"/>
                    <a:pt x="684" y="9355"/>
                    <a:pt x="644" y="9356"/>
                  </a:cubicBezTo>
                  <a:cubicBezTo>
                    <a:pt x="603" y="9355"/>
                    <a:pt x="555" y="9333"/>
                    <a:pt x="515" y="9321"/>
                  </a:cubicBezTo>
                  <a:cubicBezTo>
                    <a:pt x="474" y="9307"/>
                    <a:pt x="396" y="9274"/>
                    <a:pt x="351" y="9274"/>
                  </a:cubicBezTo>
                  <a:cubicBezTo>
                    <a:pt x="349" y="9274"/>
                    <a:pt x="348" y="9274"/>
                    <a:pt x="347" y="9275"/>
                  </a:cubicBezTo>
                  <a:cubicBezTo>
                    <a:pt x="298" y="9277"/>
                    <a:pt x="277" y="9292"/>
                    <a:pt x="248" y="9302"/>
                  </a:cubicBezTo>
                  <a:cubicBezTo>
                    <a:pt x="237" y="9306"/>
                    <a:pt x="199" y="9323"/>
                    <a:pt x="166" y="9339"/>
                  </a:cubicBezTo>
                  <a:cubicBezTo>
                    <a:pt x="149" y="9346"/>
                    <a:pt x="133" y="9353"/>
                    <a:pt x="122" y="9359"/>
                  </a:cubicBezTo>
                  <a:cubicBezTo>
                    <a:pt x="118" y="9363"/>
                    <a:pt x="117" y="9366"/>
                    <a:pt x="117" y="9369"/>
                  </a:cubicBezTo>
                  <a:cubicBezTo>
                    <a:pt x="422" y="9935"/>
                    <a:pt x="422" y="9935"/>
                    <a:pt x="422" y="9935"/>
                  </a:cubicBezTo>
                  <a:cubicBezTo>
                    <a:pt x="389" y="9952"/>
                    <a:pt x="389" y="9952"/>
                    <a:pt x="389" y="9952"/>
                  </a:cubicBezTo>
                  <a:cubicBezTo>
                    <a:pt x="55" y="9332"/>
                    <a:pt x="55" y="9332"/>
                    <a:pt x="55" y="9332"/>
                  </a:cubicBezTo>
                  <a:cubicBezTo>
                    <a:pt x="55" y="9331"/>
                    <a:pt x="55" y="9331"/>
                    <a:pt x="55" y="9331"/>
                  </a:cubicBezTo>
                  <a:cubicBezTo>
                    <a:pt x="7" y="9237"/>
                    <a:pt x="7" y="9237"/>
                    <a:pt x="7" y="9237"/>
                  </a:cubicBezTo>
                  <a:cubicBezTo>
                    <a:pt x="7" y="9158"/>
                    <a:pt x="7" y="9158"/>
                    <a:pt x="7" y="9158"/>
                  </a:cubicBezTo>
                  <a:cubicBezTo>
                    <a:pt x="88" y="9316"/>
                    <a:pt x="88" y="9316"/>
                    <a:pt x="88" y="9316"/>
                  </a:cubicBezTo>
                  <a:cubicBezTo>
                    <a:pt x="88" y="9316"/>
                    <a:pt x="88" y="9316"/>
                    <a:pt x="88" y="9316"/>
                  </a:cubicBezTo>
                  <a:cubicBezTo>
                    <a:pt x="90" y="9321"/>
                    <a:pt x="90" y="9321"/>
                    <a:pt x="90" y="9321"/>
                  </a:cubicBezTo>
                  <a:cubicBezTo>
                    <a:pt x="95" y="9324"/>
                    <a:pt x="102" y="9324"/>
                    <a:pt x="107" y="9324"/>
                  </a:cubicBezTo>
                  <a:cubicBezTo>
                    <a:pt x="144" y="9307"/>
                    <a:pt x="215" y="9274"/>
                    <a:pt x="236" y="9267"/>
                  </a:cubicBezTo>
                  <a:cubicBezTo>
                    <a:pt x="257" y="9259"/>
                    <a:pt x="288" y="9240"/>
                    <a:pt x="345" y="9237"/>
                  </a:cubicBezTo>
                  <a:cubicBezTo>
                    <a:pt x="347" y="9237"/>
                    <a:pt x="349" y="9237"/>
                    <a:pt x="351" y="9237"/>
                  </a:cubicBezTo>
                  <a:cubicBezTo>
                    <a:pt x="411" y="9237"/>
                    <a:pt x="489" y="9273"/>
                    <a:pt x="527" y="9285"/>
                  </a:cubicBezTo>
                  <a:cubicBezTo>
                    <a:pt x="569" y="9299"/>
                    <a:pt x="617" y="9319"/>
                    <a:pt x="644" y="9318"/>
                  </a:cubicBezTo>
                  <a:cubicBezTo>
                    <a:pt x="672" y="9319"/>
                    <a:pt x="697" y="9304"/>
                    <a:pt x="740" y="9298"/>
                  </a:cubicBezTo>
                  <a:cubicBezTo>
                    <a:pt x="758" y="9296"/>
                    <a:pt x="779" y="9292"/>
                    <a:pt x="807" y="9292"/>
                  </a:cubicBezTo>
                  <a:cubicBezTo>
                    <a:pt x="814" y="9292"/>
                    <a:pt x="821" y="9292"/>
                    <a:pt x="829" y="9293"/>
                  </a:cubicBezTo>
                  <a:cubicBezTo>
                    <a:pt x="838" y="9293"/>
                    <a:pt x="847" y="9295"/>
                    <a:pt x="858" y="9296"/>
                  </a:cubicBezTo>
                  <a:cubicBezTo>
                    <a:pt x="843" y="9280"/>
                    <a:pt x="843" y="9280"/>
                    <a:pt x="843" y="9280"/>
                  </a:cubicBezTo>
                  <a:cubicBezTo>
                    <a:pt x="843" y="9280"/>
                    <a:pt x="972" y="9157"/>
                    <a:pt x="1102" y="9033"/>
                  </a:cubicBezTo>
                  <a:cubicBezTo>
                    <a:pt x="1168" y="8971"/>
                    <a:pt x="1233" y="8910"/>
                    <a:pt x="1282" y="8863"/>
                  </a:cubicBezTo>
                  <a:cubicBezTo>
                    <a:pt x="1306" y="8840"/>
                    <a:pt x="1327" y="8821"/>
                    <a:pt x="1341" y="8807"/>
                  </a:cubicBezTo>
                  <a:cubicBezTo>
                    <a:pt x="1348" y="8800"/>
                    <a:pt x="1354" y="8795"/>
                    <a:pt x="1358" y="8791"/>
                  </a:cubicBezTo>
                  <a:cubicBezTo>
                    <a:pt x="1359" y="8791"/>
                    <a:pt x="1359" y="8790"/>
                    <a:pt x="1360" y="8789"/>
                  </a:cubicBezTo>
                  <a:cubicBezTo>
                    <a:pt x="1364" y="8786"/>
                    <a:pt x="1364" y="8786"/>
                    <a:pt x="1364" y="8786"/>
                  </a:cubicBezTo>
                  <a:cubicBezTo>
                    <a:pt x="1386" y="8747"/>
                    <a:pt x="1610" y="8362"/>
                    <a:pt x="1643" y="8305"/>
                  </a:cubicBezTo>
                  <a:cubicBezTo>
                    <a:pt x="1314" y="7896"/>
                    <a:pt x="1314" y="7896"/>
                    <a:pt x="1314" y="7896"/>
                  </a:cubicBezTo>
                  <a:cubicBezTo>
                    <a:pt x="1333" y="7881"/>
                    <a:pt x="1333" y="7881"/>
                    <a:pt x="1333" y="7881"/>
                  </a:cubicBezTo>
                  <a:cubicBezTo>
                    <a:pt x="1664" y="8291"/>
                    <a:pt x="1664" y="8291"/>
                    <a:pt x="1664" y="8291"/>
                  </a:cubicBezTo>
                  <a:cubicBezTo>
                    <a:pt x="1997" y="8265"/>
                    <a:pt x="1997" y="8265"/>
                    <a:pt x="1997" y="8265"/>
                  </a:cubicBezTo>
                  <a:cubicBezTo>
                    <a:pt x="2472" y="7943"/>
                    <a:pt x="2472" y="7943"/>
                    <a:pt x="2472" y="7943"/>
                  </a:cubicBezTo>
                  <a:cubicBezTo>
                    <a:pt x="2675" y="7484"/>
                    <a:pt x="2675" y="7484"/>
                    <a:pt x="2675" y="7484"/>
                  </a:cubicBezTo>
                  <a:cubicBezTo>
                    <a:pt x="2675" y="7484"/>
                    <a:pt x="2675" y="7484"/>
                    <a:pt x="2675" y="7484"/>
                  </a:cubicBezTo>
                  <a:cubicBezTo>
                    <a:pt x="2680" y="7467"/>
                    <a:pt x="2680" y="7467"/>
                    <a:pt x="2680" y="7467"/>
                  </a:cubicBezTo>
                  <a:cubicBezTo>
                    <a:pt x="2573" y="7426"/>
                    <a:pt x="2494" y="7362"/>
                    <a:pt x="2431" y="7318"/>
                  </a:cubicBezTo>
                  <a:cubicBezTo>
                    <a:pt x="2343" y="7257"/>
                    <a:pt x="2096" y="7072"/>
                    <a:pt x="2025" y="7034"/>
                  </a:cubicBezTo>
                  <a:cubicBezTo>
                    <a:pt x="2011" y="7027"/>
                    <a:pt x="1982" y="7010"/>
                    <a:pt x="1944" y="6988"/>
                  </a:cubicBezTo>
                  <a:cubicBezTo>
                    <a:pt x="1936" y="6997"/>
                    <a:pt x="1917" y="7023"/>
                    <a:pt x="1896" y="7054"/>
                  </a:cubicBezTo>
                  <a:cubicBezTo>
                    <a:pt x="1857" y="7110"/>
                    <a:pt x="1804" y="7190"/>
                    <a:pt x="1759" y="7256"/>
                  </a:cubicBezTo>
                  <a:cubicBezTo>
                    <a:pt x="1738" y="7286"/>
                    <a:pt x="1719" y="7312"/>
                    <a:pt x="1704" y="7333"/>
                  </a:cubicBezTo>
                  <a:cubicBezTo>
                    <a:pt x="1317" y="7883"/>
                    <a:pt x="1317" y="7883"/>
                    <a:pt x="1317" y="7883"/>
                  </a:cubicBezTo>
                  <a:cubicBezTo>
                    <a:pt x="1319" y="7883"/>
                    <a:pt x="1319" y="7883"/>
                    <a:pt x="1319" y="7883"/>
                  </a:cubicBezTo>
                  <a:cubicBezTo>
                    <a:pt x="949" y="8181"/>
                    <a:pt x="949" y="8181"/>
                    <a:pt x="949" y="8181"/>
                  </a:cubicBezTo>
                  <a:cubicBezTo>
                    <a:pt x="7" y="8964"/>
                    <a:pt x="7" y="8964"/>
                    <a:pt x="7" y="8964"/>
                  </a:cubicBezTo>
                  <a:cubicBezTo>
                    <a:pt x="7" y="8917"/>
                    <a:pt x="7" y="8917"/>
                    <a:pt x="7" y="8917"/>
                  </a:cubicBezTo>
                  <a:cubicBezTo>
                    <a:pt x="931" y="8148"/>
                    <a:pt x="931" y="8148"/>
                    <a:pt x="931" y="8148"/>
                  </a:cubicBezTo>
                  <a:cubicBezTo>
                    <a:pt x="931" y="8148"/>
                    <a:pt x="931" y="8148"/>
                    <a:pt x="931" y="8148"/>
                  </a:cubicBezTo>
                  <a:cubicBezTo>
                    <a:pt x="934" y="8147"/>
                    <a:pt x="934" y="8147"/>
                    <a:pt x="934" y="8147"/>
                  </a:cubicBezTo>
                  <a:cubicBezTo>
                    <a:pt x="940" y="8141"/>
                    <a:pt x="940" y="8141"/>
                    <a:pt x="940" y="8141"/>
                  </a:cubicBezTo>
                  <a:cubicBezTo>
                    <a:pt x="940" y="8141"/>
                    <a:pt x="940" y="8141"/>
                    <a:pt x="940" y="8141"/>
                  </a:cubicBezTo>
                  <a:cubicBezTo>
                    <a:pt x="1289" y="7857"/>
                    <a:pt x="1289" y="7857"/>
                    <a:pt x="1289" y="7857"/>
                  </a:cubicBezTo>
                  <a:cubicBezTo>
                    <a:pt x="1560" y="7479"/>
                    <a:pt x="1560" y="7479"/>
                    <a:pt x="1560" y="7479"/>
                  </a:cubicBezTo>
                  <a:cubicBezTo>
                    <a:pt x="1556" y="7478"/>
                    <a:pt x="1555" y="7477"/>
                    <a:pt x="1553" y="7476"/>
                  </a:cubicBezTo>
                  <a:cubicBezTo>
                    <a:pt x="1524" y="7462"/>
                    <a:pt x="1369" y="7362"/>
                    <a:pt x="1369" y="7362"/>
                  </a:cubicBezTo>
                  <a:cubicBezTo>
                    <a:pt x="1362" y="7357"/>
                    <a:pt x="1362" y="7357"/>
                    <a:pt x="1362" y="7357"/>
                  </a:cubicBezTo>
                  <a:cubicBezTo>
                    <a:pt x="1395" y="7195"/>
                    <a:pt x="1395" y="7195"/>
                    <a:pt x="1395" y="7195"/>
                  </a:cubicBezTo>
                  <a:cubicBezTo>
                    <a:pt x="1371" y="7157"/>
                    <a:pt x="1371" y="7157"/>
                    <a:pt x="1371" y="7157"/>
                  </a:cubicBezTo>
                  <a:cubicBezTo>
                    <a:pt x="1276" y="7013"/>
                    <a:pt x="1276" y="7013"/>
                    <a:pt x="1276" y="7013"/>
                  </a:cubicBezTo>
                  <a:cubicBezTo>
                    <a:pt x="1267" y="7001"/>
                    <a:pt x="1267" y="7001"/>
                    <a:pt x="1267" y="7001"/>
                  </a:cubicBezTo>
                  <a:cubicBezTo>
                    <a:pt x="1264" y="7003"/>
                    <a:pt x="1261" y="7006"/>
                    <a:pt x="1259" y="7007"/>
                  </a:cubicBezTo>
                  <a:cubicBezTo>
                    <a:pt x="1209" y="7039"/>
                    <a:pt x="1161" y="7053"/>
                    <a:pt x="1131" y="7059"/>
                  </a:cubicBezTo>
                  <a:cubicBezTo>
                    <a:pt x="1130" y="7062"/>
                    <a:pt x="1129" y="7065"/>
                    <a:pt x="1129" y="7065"/>
                  </a:cubicBezTo>
                  <a:cubicBezTo>
                    <a:pt x="1129" y="7065"/>
                    <a:pt x="1128" y="7065"/>
                    <a:pt x="1128" y="7065"/>
                  </a:cubicBezTo>
                  <a:cubicBezTo>
                    <a:pt x="1128" y="7066"/>
                    <a:pt x="1128" y="7066"/>
                    <a:pt x="1128" y="7066"/>
                  </a:cubicBezTo>
                  <a:cubicBezTo>
                    <a:pt x="1056" y="7261"/>
                    <a:pt x="1056" y="7261"/>
                    <a:pt x="1056" y="7261"/>
                  </a:cubicBezTo>
                  <a:cubicBezTo>
                    <a:pt x="1054" y="7261"/>
                    <a:pt x="1054" y="7261"/>
                    <a:pt x="1054" y="7261"/>
                  </a:cubicBezTo>
                  <a:cubicBezTo>
                    <a:pt x="933" y="7567"/>
                    <a:pt x="933" y="7567"/>
                    <a:pt x="933" y="7567"/>
                  </a:cubicBezTo>
                  <a:cubicBezTo>
                    <a:pt x="931" y="7570"/>
                    <a:pt x="931" y="7570"/>
                    <a:pt x="931" y="7570"/>
                  </a:cubicBezTo>
                  <a:cubicBezTo>
                    <a:pt x="866" y="7625"/>
                    <a:pt x="866" y="7625"/>
                    <a:pt x="866" y="7625"/>
                  </a:cubicBezTo>
                  <a:cubicBezTo>
                    <a:pt x="292" y="8240"/>
                    <a:pt x="292" y="8240"/>
                    <a:pt x="292" y="8240"/>
                  </a:cubicBezTo>
                  <a:cubicBezTo>
                    <a:pt x="240" y="8292"/>
                    <a:pt x="164" y="8388"/>
                    <a:pt x="7" y="8454"/>
                  </a:cubicBezTo>
                  <a:cubicBezTo>
                    <a:pt x="7" y="8415"/>
                    <a:pt x="7" y="8415"/>
                    <a:pt x="7" y="8415"/>
                  </a:cubicBezTo>
                  <a:cubicBezTo>
                    <a:pt x="117" y="8366"/>
                    <a:pt x="182" y="8302"/>
                    <a:pt x="230" y="8252"/>
                  </a:cubicBezTo>
                  <a:cubicBezTo>
                    <a:pt x="222" y="8245"/>
                    <a:pt x="206" y="8231"/>
                    <a:pt x="183" y="8212"/>
                  </a:cubicBezTo>
                  <a:cubicBezTo>
                    <a:pt x="142" y="8179"/>
                    <a:pt x="80" y="8132"/>
                    <a:pt x="7" y="8088"/>
                  </a:cubicBezTo>
                  <a:cubicBezTo>
                    <a:pt x="7" y="8046"/>
                    <a:pt x="7" y="8046"/>
                    <a:pt x="7" y="8046"/>
                  </a:cubicBezTo>
                  <a:cubicBezTo>
                    <a:pt x="133" y="8120"/>
                    <a:pt x="230" y="8204"/>
                    <a:pt x="255" y="8226"/>
                  </a:cubicBezTo>
                  <a:cubicBezTo>
                    <a:pt x="259" y="8223"/>
                    <a:pt x="262" y="8219"/>
                    <a:pt x="266" y="8215"/>
                  </a:cubicBezTo>
                  <a:cubicBezTo>
                    <a:pt x="603" y="7856"/>
                    <a:pt x="603" y="7856"/>
                    <a:pt x="603" y="7856"/>
                  </a:cubicBezTo>
                  <a:cubicBezTo>
                    <a:pt x="601" y="7853"/>
                    <a:pt x="601" y="7853"/>
                    <a:pt x="601" y="7853"/>
                  </a:cubicBezTo>
                  <a:cubicBezTo>
                    <a:pt x="599" y="7855"/>
                    <a:pt x="599" y="7855"/>
                    <a:pt x="599" y="7855"/>
                  </a:cubicBezTo>
                  <a:cubicBezTo>
                    <a:pt x="180" y="7273"/>
                    <a:pt x="180" y="7273"/>
                    <a:pt x="180" y="7273"/>
                  </a:cubicBezTo>
                  <a:cubicBezTo>
                    <a:pt x="7" y="7208"/>
                    <a:pt x="7" y="7208"/>
                    <a:pt x="7" y="7208"/>
                  </a:cubicBezTo>
                  <a:cubicBezTo>
                    <a:pt x="7" y="7180"/>
                    <a:pt x="7" y="7180"/>
                    <a:pt x="7" y="7180"/>
                  </a:cubicBezTo>
                  <a:cubicBezTo>
                    <a:pt x="197" y="7251"/>
                    <a:pt x="197" y="7251"/>
                    <a:pt x="197" y="7251"/>
                  </a:cubicBezTo>
                  <a:cubicBezTo>
                    <a:pt x="615" y="7833"/>
                    <a:pt x="615" y="7833"/>
                    <a:pt x="615" y="7833"/>
                  </a:cubicBezTo>
                  <a:cubicBezTo>
                    <a:pt x="617" y="7835"/>
                    <a:pt x="619" y="7836"/>
                    <a:pt x="621" y="7837"/>
                  </a:cubicBezTo>
                  <a:cubicBezTo>
                    <a:pt x="871" y="7571"/>
                    <a:pt x="871" y="7571"/>
                    <a:pt x="871" y="7571"/>
                  </a:cubicBezTo>
                  <a:cubicBezTo>
                    <a:pt x="871" y="7572"/>
                    <a:pt x="871" y="7572"/>
                    <a:pt x="871" y="7572"/>
                  </a:cubicBezTo>
                  <a:cubicBezTo>
                    <a:pt x="901" y="7545"/>
                    <a:pt x="901" y="7545"/>
                    <a:pt x="901" y="7545"/>
                  </a:cubicBezTo>
                  <a:cubicBezTo>
                    <a:pt x="1030" y="7226"/>
                    <a:pt x="1030" y="7226"/>
                    <a:pt x="1030" y="7226"/>
                  </a:cubicBezTo>
                  <a:cubicBezTo>
                    <a:pt x="1030" y="7226"/>
                    <a:pt x="1030" y="7226"/>
                    <a:pt x="1030" y="7226"/>
                  </a:cubicBezTo>
                  <a:cubicBezTo>
                    <a:pt x="1089" y="7068"/>
                    <a:pt x="1089" y="7068"/>
                    <a:pt x="1089" y="7068"/>
                  </a:cubicBezTo>
                  <a:cubicBezTo>
                    <a:pt x="1086" y="7062"/>
                    <a:pt x="1080" y="7051"/>
                    <a:pt x="1071" y="7036"/>
                  </a:cubicBezTo>
                  <a:cubicBezTo>
                    <a:pt x="1028" y="6963"/>
                    <a:pt x="921" y="6795"/>
                    <a:pt x="759" y="6646"/>
                  </a:cubicBezTo>
                  <a:cubicBezTo>
                    <a:pt x="578" y="6480"/>
                    <a:pt x="341" y="6330"/>
                    <a:pt x="186" y="6261"/>
                  </a:cubicBezTo>
                  <a:cubicBezTo>
                    <a:pt x="186" y="6262"/>
                    <a:pt x="186" y="6262"/>
                    <a:pt x="186" y="6262"/>
                  </a:cubicBezTo>
                  <a:cubicBezTo>
                    <a:pt x="184" y="6264"/>
                    <a:pt x="184" y="6264"/>
                    <a:pt x="184" y="6264"/>
                  </a:cubicBezTo>
                  <a:cubicBezTo>
                    <a:pt x="153" y="6297"/>
                    <a:pt x="115" y="6374"/>
                    <a:pt x="9" y="6438"/>
                  </a:cubicBezTo>
                  <a:cubicBezTo>
                    <a:pt x="9" y="6438"/>
                    <a:pt x="8" y="6439"/>
                    <a:pt x="7" y="6439"/>
                  </a:cubicBezTo>
                  <a:cubicBezTo>
                    <a:pt x="7" y="6396"/>
                    <a:pt x="7" y="6396"/>
                    <a:pt x="7" y="6396"/>
                  </a:cubicBezTo>
                  <a:cubicBezTo>
                    <a:pt x="87" y="6342"/>
                    <a:pt x="119" y="6285"/>
                    <a:pt x="152" y="6246"/>
                  </a:cubicBezTo>
                  <a:cubicBezTo>
                    <a:pt x="134" y="6239"/>
                    <a:pt x="118" y="6234"/>
                    <a:pt x="104" y="6229"/>
                  </a:cubicBezTo>
                  <a:cubicBezTo>
                    <a:pt x="76" y="6221"/>
                    <a:pt x="44" y="6212"/>
                    <a:pt x="7" y="6203"/>
                  </a:cubicBezTo>
                  <a:cubicBezTo>
                    <a:pt x="7" y="6166"/>
                    <a:pt x="7" y="6166"/>
                    <a:pt x="7" y="6166"/>
                  </a:cubicBezTo>
                  <a:cubicBezTo>
                    <a:pt x="48" y="6176"/>
                    <a:pt x="84" y="6185"/>
                    <a:pt x="115" y="6195"/>
                  </a:cubicBezTo>
                  <a:cubicBezTo>
                    <a:pt x="131" y="6200"/>
                    <a:pt x="150" y="6207"/>
                    <a:pt x="170" y="6215"/>
                  </a:cubicBezTo>
                  <a:cubicBezTo>
                    <a:pt x="1281" y="4182"/>
                    <a:pt x="1281" y="4182"/>
                    <a:pt x="1281" y="4182"/>
                  </a:cubicBezTo>
                  <a:cubicBezTo>
                    <a:pt x="1278" y="4181"/>
                    <a:pt x="1278" y="4180"/>
                    <a:pt x="1276" y="4179"/>
                  </a:cubicBezTo>
                  <a:cubicBezTo>
                    <a:pt x="1271" y="4175"/>
                    <a:pt x="1267" y="4170"/>
                    <a:pt x="1259" y="4161"/>
                  </a:cubicBezTo>
                  <a:cubicBezTo>
                    <a:pt x="1159" y="4045"/>
                    <a:pt x="638" y="3365"/>
                    <a:pt x="541" y="3237"/>
                  </a:cubicBezTo>
                  <a:cubicBezTo>
                    <a:pt x="7" y="3808"/>
                    <a:pt x="7" y="3808"/>
                    <a:pt x="7" y="3808"/>
                  </a:cubicBezTo>
                  <a:cubicBezTo>
                    <a:pt x="7" y="3755"/>
                    <a:pt x="7" y="3755"/>
                    <a:pt x="7" y="3755"/>
                  </a:cubicBezTo>
                  <a:cubicBezTo>
                    <a:pt x="1252" y="2424"/>
                    <a:pt x="1252" y="2424"/>
                    <a:pt x="1252" y="2424"/>
                  </a:cubicBezTo>
                  <a:cubicBezTo>
                    <a:pt x="811" y="2083"/>
                    <a:pt x="811" y="2083"/>
                    <a:pt x="811" y="2083"/>
                  </a:cubicBezTo>
                  <a:cubicBezTo>
                    <a:pt x="809" y="2081"/>
                    <a:pt x="809" y="2081"/>
                    <a:pt x="809" y="2081"/>
                  </a:cubicBezTo>
                  <a:cubicBezTo>
                    <a:pt x="809" y="2080"/>
                    <a:pt x="744" y="1990"/>
                    <a:pt x="711" y="1891"/>
                  </a:cubicBezTo>
                  <a:cubicBezTo>
                    <a:pt x="704" y="1884"/>
                    <a:pt x="678" y="1861"/>
                    <a:pt x="640" y="1829"/>
                  </a:cubicBezTo>
                  <a:cubicBezTo>
                    <a:pt x="517" y="1726"/>
                    <a:pt x="261" y="1516"/>
                    <a:pt x="7" y="1309"/>
                  </a:cubicBezTo>
                  <a:cubicBezTo>
                    <a:pt x="7" y="1263"/>
                    <a:pt x="7" y="1263"/>
                    <a:pt x="7" y="1263"/>
                  </a:cubicBezTo>
                  <a:cubicBezTo>
                    <a:pt x="19" y="1272"/>
                    <a:pt x="30" y="1281"/>
                    <a:pt x="41" y="1290"/>
                  </a:cubicBezTo>
                  <a:cubicBezTo>
                    <a:pt x="214" y="1431"/>
                    <a:pt x="387" y="1573"/>
                    <a:pt x="518" y="1681"/>
                  </a:cubicBezTo>
                  <a:cubicBezTo>
                    <a:pt x="584" y="1735"/>
                    <a:pt x="638" y="1780"/>
                    <a:pt x="677" y="1813"/>
                  </a:cubicBezTo>
                  <a:cubicBezTo>
                    <a:pt x="696" y="1829"/>
                    <a:pt x="712" y="1842"/>
                    <a:pt x="722" y="1852"/>
                  </a:cubicBezTo>
                  <a:cubicBezTo>
                    <a:pt x="728" y="1857"/>
                    <a:pt x="732" y="1861"/>
                    <a:pt x="735" y="1864"/>
                  </a:cubicBezTo>
                  <a:cubicBezTo>
                    <a:pt x="737" y="1865"/>
                    <a:pt x="738" y="1867"/>
                    <a:pt x="739" y="1868"/>
                  </a:cubicBezTo>
                  <a:cubicBezTo>
                    <a:pt x="741" y="1870"/>
                    <a:pt x="742" y="1870"/>
                    <a:pt x="744" y="1875"/>
                  </a:cubicBezTo>
                  <a:cubicBezTo>
                    <a:pt x="745" y="1876"/>
                    <a:pt x="745" y="1876"/>
                    <a:pt x="745" y="1876"/>
                  </a:cubicBezTo>
                  <a:cubicBezTo>
                    <a:pt x="745" y="1876"/>
                    <a:pt x="745" y="1876"/>
                    <a:pt x="745" y="1876"/>
                  </a:cubicBezTo>
                  <a:cubicBezTo>
                    <a:pt x="759" y="1923"/>
                    <a:pt x="783" y="1969"/>
                    <a:pt x="803" y="2003"/>
                  </a:cubicBezTo>
                  <a:cubicBezTo>
                    <a:pt x="819" y="2032"/>
                    <a:pt x="833" y="2052"/>
                    <a:pt x="837" y="2058"/>
                  </a:cubicBezTo>
                  <a:cubicBezTo>
                    <a:pt x="1278" y="2398"/>
                    <a:pt x="1278" y="2398"/>
                    <a:pt x="1278" y="2398"/>
                  </a:cubicBezTo>
                  <a:cubicBezTo>
                    <a:pt x="1271" y="2406"/>
                    <a:pt x="1271" y="2406"/>
                    <a:pt x="1271" y="2406"/>
                  </a:cubicBezTo>
                  <a:cubicBezTo>
                    <a:pt x="1340" y="2346"/>
                    <a:pt x="1616" y="2106"/>
                    <a:pt x="1894" y="1866"/>
                  </a:cubicBezTo>
                  <a:cubicBezTo>
                    <a:pt x="2054" y="1727"/>
                    <a:pt x="2215" y="1589"/>
                    <a:pt x="2336" y="1485"/>
                  </a:cubicBezTo>
                  <a:cubicBezTo>
                    <a:pt x="2397" y="1433"/>
                    <a:pt x="2448" y="1390"/>
                    <a:pt x="2484" y="1359"/>
                  </a:cubicBezTo>
                  <a:cubicBezTo>
                    <a:pt x="2502" y="1344"/>
                    <a:pt x="2517" y="1332"/>
                    <a:pt x="2527" y="1324"/>
                  </a:cubicBezTo>
                  <a:cubicBezTo>
                    <a:pt x="2529" y="1322"/>
                    <a:pt x="2529" y="1322"/>
                    <a:pt x="2531" y="1321"/>
                  </a:cubicBezTo>
                  <a:cubicBezTo>
                    <a:pt x="2542" y="1301"/>
                    <a:pt x="2542" y="1301"/>
                    <a:pt x="2542" y="1301"/>
                  </a:cubicBezTo>
                  <a:cubicBezTo>
                    <a:pt x="2539" y="1297"/>
                    <a:pt x="2536" y="1293"/>
                    <a:pt x="2534" y="1289"/>
                  </a:cubicBezTo>
                  <a:cubicBezTo>
                    <a:pt x="2512" y="1241"/>
                    <a:pt x="2495" y="1175"/>
                    <a:pt x="2482" y="1118"/>
                  </a:cubicBezTo>
                  <a:cubicBezTo>
                    <a:pt x="2471" y="1066"/>
                    <a:pt x="2463" y="1023"/>
                    <a:pt x="2462" y="1016"/>
                  </a:cubicBezTo>
                  <a:cubicBezTo>
                    <a:pt x="2253" y="0"/>
                    <a:pt x="2253" y="0"/>
                    <a:pt x="2253" y="0"/>
                  </a:cubicBezTo>
                  <a:cubicBezTo>
                    <a:pt x="2370" y="0"/>
                    <a:pt x="2370" y="0"/>
                    <a:pt x="2370" y="0"/>
                  </a:cubicBezTo>
                  <a:cubicBezTo>
                    <a:pt x="2575" y="995"/>
                    <a:pt x="2575" y="995"/>
                    <a:pt x="2575" y="995"/>
                  </a:cubicBezTo>
                  <a:cubicBezTo>
                    <a:pt x="2575" y="996"/>
                    <a:pt x="2575" y="996"/>
                    <a:pt x="2575" y="996"/>
                  </a:cubicBezTo>
                  <a:cubicBezTo>
                    <a:pt x="2575" y="996"/>
                    <a:pt x="2582" y="1040"/>
                    <a:pt x="2594" y="1093"/>
                  </a:cubicBezTo>
                  <a:cubicBezTo>
                    <a:pt x="2606" y="1146"/>
                    <a:pt x="2623" y="1210"/>
                    <a:pt x="2638" y="1239"/>
                  </a:cubicBezTo>
                  <a:cubicBezTo>
                    <a:pt x="2649" y="1263"/>
                    <a:pt x="2672" y="1285"/>
                    <a:pt x="2703" y="1303"/>
                  </a:cubicBezTo>
                  <a:cubicBezTo>
                    <a:pt x="2733" y="1321"/>
                    <a:pt x="2768" y="1335"/>
                    <a:pt x="2796" y="1345"/>
                  </a:cubicBezTo>
                  <a:cubicBezTo>
                    <a:pt x="2854" y="1366"/>
                    <a:pt x="3623" y="1643"/>
                    <a:pt x="3900" y="1735"/>
                  </a:cubicBezTo>
                  <a:cubicBezTo>
                    <a:pt x="3924" y="1742"/>
                    <a:pt x="3947" y="1751"/>
                    <a:pt x="3971" y="1761"/>
                  </a:cubicBezTo>
                  <a:cubicBezTo>
                    <a:pt x="3971" y="1761"/>
                    <a:pt x="3971" y="1761"/>
                    <a:pt x="3971" y="1761"/>
                  </a:cubicBezTo>
                  <a:cubicBezTo>
                    <a:pt x="3973" y="1760"/>
                    <a:pt x="3978" y="1752"/>
                    <a:pt x="3982" y="1745"/>
                  </a:cubicBezTo>
                  <a:cubicBezTo>
                    <a:pt x="4049" y="1410"/>
                    <a:pt x="4049" y="1410"/>
                    <a:pt x="4049" y="1410"/>
                  </a:cubicBezTo>
                  <a:cubicBezTo>
                    <a:pt x="4050" y="1408"/>
                    <a:pt x="4050" y="1408"/>
                    <a:pt x="4050" y="1408"/>
                  </a:cubicBezTo>
                  <a:cubicBezTo>
                    <a:pt x="4050" y="1407"/>
                    <a:pt x="4078" y="1356"/>
                    <a:pt x="4119" y="1287"/>
                  </a:cubicBezTo>
                  <a:cubicBezTo>
                    <a:pt x="4139" y="1255"/>
                    <a:pt x="4157" y="1204"/>
                    <a:pt x="4171" y="1162"/>
                  </a:cubicBezTo>
                  <a:cubicBezTo>
                    <a:pt x="4184" y="1119"/>
                    <a:pt x="4193" y="1086"/>
                    <a:pt x="4193" y="1086"/>
                  </a:cubicBezTo>
                  <a:cubicBezTo>
                    <a:pt x="4193" y="1084"/>
                    <a:pt x="4193" y="1084"/>
                    <a:pt x="4193" y="1084"/>
                  </a:cubicBezTo>
                  <a:cubicBezTo>
                    <a:pt x="4432" y="619"/>
                    <a:pt x="4432" y="619"/>
                    <a:pt x="4432" y="619"/>
                  </a:cubicBezTo>
                  <a:cubicBezTo>
                    <a:pt x="4409" y="53"/>
                    <a:pt x="4409" y="53"/>
                    <a:pt x="4409" y="53"/>
                  </a:cubicBezTo>
                  <a:cubicBezTo>
                    <a:pt x="4362" y="0"/>
                    <a:pt x="4362" y="0"/>
                    <a:pt x="4362" y="0"/>
                  </a:cubicBezTo>
                  <a:cubicBezTo>
                    <a:pt x="4410" y="0"/>
                    <a:pt x="4410" y="0"/>
                    <a:pt x="4410" y="0"/>
                  </a:cubicBezTo>
                  <a:cubicBezTo>
                    <a:pt x="4434" y="28"/>
                    <a:pt x="4434" y="28"/>
                    <a:pt x="4434" y="28"/>
                  </a:cubicBezTo>
                  <a:cubicBezTo>
                    <a:pt x="4563" y="23"/>
                    <a:pt x="4671" y="12"/>
                    <a:pt x="4760" y="0"/>
                  </a:cubicBezTo>
                  <a:cubicBezTo>
                    <a:pt x="4966" y="0"/>
                    <a:pt x="4966" y="0"/>
                    <a:pt x="4966" y="0"/>
                  </a:cubicBezTo>
                  <a:cubicBezTo>
                    <a:pt x="4866" y="23"/>
                    <a:pt x="4694" y="53"/>
                    <a:pt x="4445" y="64"/>
                  </a:cubicBezTo>
                  <a:cubicBezTo>
                    <a:pt x="4468" y="607"/>
                    <a:pt x="4468" y="607"/>
                    <a:pt x="4468" y="607"/>
                  </a:cubicBezTo>
                  <a:cubicBezTo>
                    <a:pt x="4470" y="604"/>
                    <a:pt x="4470" y="604"/>
                    <a:pt x="4470" y="604"/>
                  </a:cubicBezTo>
                  <a:cubicBezTo>
                    <a:pt x="4470" y="604"/>
                    <a:pt x="4514" y="628"/>
                    <a:pt x="4595" y="664"/>
                  </a:cubicBezTo>
                  <a:cubicBezTo>
                    <a:pt x="4676" y="699"/>
                    <a:pt x="4793" y="745"/>
                    <a:pt x="4936" y="788"/>
                  </a:cubicBezTo>
                  <a:cubicBezTo>
                    <a:pt x="5100" y="837"/>
                    <a:pt x="5267" y="886"/>
                    <a:pt x="5402" y="921"/>
                  </a:cubicBezTo>
                  <a:cubicBezTo>
                    <a:pt x="5407" y="901"/>
                    <a:pt x="5420" y="857"/>
                    <a:pt x="5433" y="809"/>
                  </a:cubicBezTo>
                  <a:cubicBezTo>
                    <a:pt x="5450" y="743"/>
                    <a:pt x="5468" y="666"/>
                    <a:pt x="5469" y="636"/>
                  </a:cubicBezTo>
                  <a:cubicBezTo>
                    <a:pt x="5473" y="565"/>
                    <a:pt x="5488" y="539"/>
                    <a:pt x="5508" y="486"/>
                  </a:cubicBezTo>
                  <a:cubicBezTo>
                    <a:pt x="5514" y="473"/>
                    <a:pt x="5524" y="464"/>
                    <a:pt x="5538" y="450"/>
                  </a:cubicBezTo>
                  <a:cubicBezTo>
                    <a:pt x="5587" y="407"/>
                    <a:pt x="5689" y="339"/>
                    <a:pt x="5782" y="280"/>
                  </a:cubicBezTo>
                  <a:cubicBezTo>
                    <a:pt x="5828" y="251"/>
                    <a:pt x="5872" y="225"/>
                    <a:pt x="5904" y="206"/>
                  </a:cubicBezTo>
                  <a:cubicBezTo>
                    <a:pt x="5918" y="198"/>
                    <a:pt x="5929" y="191"/>
                    <a:pt x="5950" y="180"/>
                  </a:cubicBezTo>
                  <a:cubicBezTo>
                    <a:pt x="5968" y="211"/>
                    <a:pt x="5968" y="211"/>
                    <a:pt x="5968" y="211"/>
                  </a:cubicBezTo>
                  <a:cubicBezTo>
                    <a:pt x="5919" y="239"/>
                    <a:pt x="5831" y="291"/>
                    <a:pt x="5747" y="346"/>
                  </a:cubicBezTo>
                  <a:cubicBezTo>
                    <a:pt x="5696" y="379"/>
                    <a:pt x="5645" y="412"/>
                    <a:pt x="5607" y="441"/>
                  </a:cubicBezTo>
                  <a:cubicBezTo>
                    <a:pt x="5588" y="455"/>
                    <a:pt x="5572" y="468"/>
                    <a:pt x="5560" y="479"/>
                  </a:cubicBezTo>
                  <a:cubicBezTo>
                    <a:pt x="5549" y="489"/>
                    <a:pt x="5542" y="499"/>
                    <a:pt x="5542" y="499"/>
                  </a:cubicBezTo>
                  <a:cubicBezTo>
                    <a:pt x="5521" y="556"/>
                    <a:pt x="5509" y="572"/>
                    <a:pt x="5505" y="638"/>
                  </a:cubicBezTo>
                  <a:cubicBezTo>
                    <a:pt x="5502" y="702"/>
                    <a:pt x="5451" y="880"/>
                    <a:pt x="5436" y="930"/>
                  </a:cubicBezTo>
                  <a:cubicBezTo>
                    <a:pt x="5523" y="952"/>
                    <a:pt x="5594" y="967"/>
                    <a:pt x="5639" y="969"/>
                  </a:cubicBezTo>
                  <a:cubicBezTo>
                    <a:pt x="5652" y="970"/>
                    <a:pt x="5663" y="970"/>
                    <a:pt x="5674" y="970"/>
                  </a:cubicBezTo>
                  <a:cubicBezTo>
                    <a:pt x="5772" y="970"/>
                    <a:pt x="5830" y="944"/>
                    <a:pt x="5932" y="889"/>
                  </a:cubicBezTo>
                  <a:cubicBezTo>
                    <a:pt x="6045" y="827"/>
                    <a:pt x="6274" y="693"/>
                    <a:pt x="6275" y="693"/>
                  </a:cubicBezTo>
                  <a:cubicBezTo>
                    <a:pt x="6275" y="693"/>
                    <a:pt x="6275" y="693"/>
                    <a:pt x="6275" y="693"/>
                  </a:cubicBezTo>
                  <a:cubicBezTo>
                    <a:pt x="6276" y="693"/>
                    <a:pt x="6276" y="693"/>
                    <a:pt x="6276" y="693"/>
                  </a:cubicBezTo>
                  <a:cubicBezTo>
                    <a:pt x="6277" y="692"/>
                    <a:pt x="6327" y="667"/>
                    <a:pt x="6395" y="667"/>
                  </a:cubicBezTo>
                  <a:cubicBezTo>
                    <a:pt x="6465" y="666"/>
                    <a:pt x="6555" y="696"/>
                    <a:pt x="6619" y="805"/>
                  </a:cubicBezTo>
                  <a:cubicBezTo>
                    <a:pt x="6897" y="1308"/>
                    <a:pt x="6897" y="1308"/>
                    <a:pt x="6897" y="1308"/>
                  </a:cubicBezTo>
                  <a:cubicBezTo>
                    <a:pt x="6897" y="1308"/>
                    <a:pt x="6904" y="1322"/>
                    <a:pt x="6919" y="1343"/>
                  </a:cubicBezTo>
                  <a:cubicBezTo>
                    <a:pt x="6933" y="1364"/>
                    <a:pt x="6954" y="1391"/>
                    <a:pt x="6980" y="1417"/>
                  </a:cubicBezTo>
                  <a:cubicBezTo>
                    <a:pt x="7002" y="1440"/>
                    <a:pt x="7034" y="1458"/>
                    <a:pt x="7064" y="1480"/>
                  </a:cubicBezTo>
                  <a:cubicBezTo>
                    <a:pt x="7066" y="1467"/>
                    <a:pt x="7069" y="1451"/>
                    <a:pt x="7073" y="1435"/>
                  </a:cubicBezTo>
                  <a:cubicBezTo>
                    <a:pt x="7079" y="1402"/>
                    <a:pt x="7085" y="1365"/>
                    <a:pt x="7087" y="1351"/>
                  </a:cubicBezTo>
                  <a:cubicBezTo>
                    <a:pt x="7083" y="1345"/>
                    <a:pt x="7084" y="1342"/>
                    <a:pt x="7084" y="1338"/>
                  </a:cubicBezTo>
                  <a:cubicBezTo>
                    <a:pt x="7084" y="1326"/>
                    <a:pt x="7087" y="1310"/>
                    <a:pt x="7095" y="1294"/>
                  </a:cubicBezTo>
                  <a:cubicBezTo>
                    <a:pt x="7104" y="1279"/>
                    <a:pt x="7119" y="1261"/>
                    <a:pt x="7142" y="1257"/>
                  </a:cubicBezTo>
                  <a:cubicBezTo>
                    <a:pt x="7183" y="1251"/>
                    <a:pt x="7377" y="1216"/>
                    <a:pt x="7430" y="1193"/>
                  </a:cubicBezTo>
                  <a:cubicBezTo>
                    <a:pt x="7487" y="1170"/>
                    <a:pt x="7664" y="1132"/>
                    <a:pt x="7759" y="1122"/>
                  </a:cubicBezTo>
                  <a:cubicBezTo>
                    <a:pt x="7769" y="589"/>
                    <a:pt x="7769" y="589"/>
                    <a:pt x="7769" y="589"/>
                  </a:cubicBezTo>
                  <a:cubicBezTo>
                    <a:pt x="7605" y="268"/>
                    <a:pt x="7605" y="268"/>
                    <a:pt x="7605" y="268"/>
                  </a:cubicBezTo>
                  <a:cubicBezTo>
                    <a:pt x="7599" y="257"/>
                    <a:pt x="7528" y="139"/>
                    <a:pt x="7458" y="21"/>
                  </a:cubicBezTo>
                  <a:cubicBezTo>
                    <a:pt x="7454" y="14"/>
                    <a:pt x="7450" y="7"/>
                    <a:pt x="7446" y="0"/>
                  </a:cubicBezTo>
                  <a:cubicBezTo>
                    <a:pt x="7488" y="0"/>
                    <a:pt x="7488" y="0"/>
                    <a:pt x="7488" y="0"/>
                  </a:cubicBezTo>
                  <a:cubicBezTo>
                    <a:pt x="7562" y="125"/>
                    <a:pt x="7636" y="250"/>
                    <a:pt x="7637" y="250"/>
                  </a:cubicBezTo>
                  <a:cubicBezTo>
                    <a:pt x="7637" y="250"/>
                    <a:pt x="7637" y="250"/>
                    <a:pt x="7637" y="250"/>
                  </a:cubicBezTo>
                  <a:cubicBezTo>
                    <a:pt x="7805" y="581"/>
                    <a:pt x="7805" y="581"/>
                    <a:pt x="7805" y="581"/>
                  </a:cubicBezTo>
                  <a:cubicBezTo>
                    <a:pt x="7795" y="1120"/>
                    <a:pt x="7795" y="1120"/>
                    <a:pt x="7795" y="1120"/>
                  </a:cubicBezTo>
                  <a:cubicBezTo>
                    <a:pt x="7799" y="1120"/>
                    <a:pt x="7802" y="1120"/>
                    <a:pt x="7807" y="1120"/>
                  </a:cubicBezTo>
                  <a:cubicBezTo>
                    <a:pt x="7920" y="1120"/>
                    <a:pt x="8282" y="1141"/>
                    <a:pt x="8464" y="1147"/>
                  </a:cubicBezTo>
                  <a:cubicBezTo>
                    <a:pt x="8488" y="1148"/>
                    <a:pt x="8521" y="1149"/>
                    <a:pt x="8559" y="1149"/>
                  </a:cubicBezTo>
                  <a:cubicBezTo>
                    <a:pt x="8804" y="1149"/>
                    <a:pt x="9279" y="1133"/>
                    <a:pt x="9359" y="1133"/>
                  </a:cubicBezTo>
                  <a:cubicBezTo>
                    <a:pt x="9362" y="1133"/>
                    <a:pt x="9365" y="1133"/>
                    <a:pt x="9367" y="1133"/>
                  </a:cubicBezTo>
                  <a:cubicBezTo>
                    <a:pt x="9367" y="1133"/>
                    <a:pt x="9367" y="1133"/>
                    <a:pt x="9367" y="1133"/>
                  </a:cubicBezTo>
                  <a:cubicBezTo>
                    <a:pt x="9375" y="1129"/>
                    <a:pt x="9399" y="1114"/>
                    <a:pt x="9427" y="1094"/>
                  </a:cubicBezTo>
                  <a:cubicBezTo>
                    <a:pt x="9476" y="1060"/>
                    <a:pt x="9543" y="1013"/>
                    <a:pt x="9599" y="974"/>
                  </a:cubicBezTo>
                  <a:cubicBezTo>
                    <a:pt x="9627" y="954"/>
                    <a:pt x="9652" y="936"/>
                    <a:pt x="9670" y="924"/>
                  </a:cubicBezTo>
                  <a:cubicBezTo>
                    <a:pt x="9680" y="917"/>
                    <a:pt x="9688" y="912"/>
                    <a:pt x="9693" y="908"/>
                  </a:cubicBezTo>
                  <a:cubicBezTo>
                    <a:pt x="9696" y="907"/>
                    <a:pt x="9699" y="905"/>
                    <a:pt x="9701" y="904"/>
                  </a:cubicBezTo>
                  <a:cubicBezTo>
                    <a:pt x="9704" y="903"/>
                    <a:pt x="9703" y="901"/>
                    <a:pt x="9713" y="900"/>
                  </a:cubicBezTo>
                  <a:cubicBezTo>
                    <a:pt x="9816" y="900"/>
                    <a:pt x="9816" y="900"/>
                    <a:pt x="9816" y="900"/>
                  </a:cubicBezTo>
                  <a:cubicBezTo>
                    <a:pt x="9815" y="827"/>
                    <a:pt x="9803" y="526"/>
                    <a:pt x="9791" y="241"/>
                  </a:cubicBezTo>
                  <a:cubicBezTo>
                    <a:pt x="9788" y="157"/>
                    <a:pt x="9784" y="75"/>
                    <a:pt x="9781" y="0"/>
                  </a:cubicBezTo>
                  <a:cubicBezTo>
                    <a:pt x="9817" y="0"/>
                    <a:pt x="9817" y="0"/>
                    <a:pt x="9817" y="0"/>
                  </a:cubicBezTo>
                  <a:cubicBezTo>
                    <a:pt x="9831" y="331"/>
                    <a:pt x="9851" y="803"/>
                    <a:pt x="9852" y="900"/>
                  </a:cubicBezTo>
                  <a:cubicBezTo>
                    <a:pt x="10602" y="900"/>
                    <a:pt x="10602" y="900"/>
                    <a:pt x="10602" y="900"/>
                  </a:cubicBezTo>
                  <a:cubicBezTo>
                    <a:pt x="10604" y="900"/>
                    <a:pt x="10749" y="900"/>
                    <a:pt x="10862" y="1008"/>
                  </a:cubicBezTo>
                  <a:cubicBezTo>
                    <a:pt x="10914" y="1059"/>
                    <a:pt x="11035" y="1165"/>
                    <a:pt x="11143" y="1257"/>
                  </a:cubicBezTo>
                  <a:cubicBezTo>
                    <a:pt x="11217" y="1321"/>
                    <a:pt x="11284" y="1378"/>
                    <a:pt x="11319" y="1408"/>
                  </a:cubicBezTo>
                  <a:cubicBezTo>
                    <a:pt x="11347" y="1421"/>
                    <a:pt x="11347" y="1421"/>
                    <a:pt x="11347" y="1421"/>
                  </a:cubicBezTo>
                  <a:cubicBezTo>
                    <a:pt x="11384" y="1386"/>
                    <a:pt x="11418" y="1352"/>
                    <a:pt x="11449" y="1323"/>
                  </a:cubicBezTo>
                  <a:cubicBezTo>
                    <a:pt x="11495" y="1278"/>
                    <a:pt x="11533" y="1241"/>
                    <a:pt x="11559" y="1216"/>
                  </a:cubicBezTo>
                  <a:cubicBezTo>
                    <a:pt x="11572" y="1203"/>
                    <a:pt x="11583" y="1192"/>
                    <a:pt x="11590" y="1185"/>
                  </a:cubicBezTo>
                  <a:cubicBezTo>
                    <a:pt x="11592" y="1184"/>
                    <a:pt x="11593" y="1182"/>
                    <a:pt x="11595" y="1181"/>
                  </a:cubicBezTo>
                  <a:cubicBezTo>
                    <a:pt x="11598" y="1176"/>
                    <a:pt x="11598" y="1176"/>
                    <a:pt x="11600" y="1173"/>
                  </a:cubicBezTo>
                  <a:cubicBezTo>
                    <a:pt x="11615" y="1157"/>
                    <a:pt x="11655" y="1116"/>
                    <a:pt x="11699" y="1070"/>
                  </a:cubicBezTo>
                  <a:cubicBezTo>
                    <a:pt x="11722" y="1046"/>
                    <a:pt x="11746" y="1020"/>
                    <a:pt x="11765" y="999"/>
                  </a:cubicBezTo>
                  <a:cubicBezTo>
                    <a:pt x="11762" y="987"/>
                    <a:pt x="11762" y="987"/>
                    <a:pt x="11762" y="987"/>
                  </a:cubicBezTo>
                  <a:cubicBezTo>
                    <a:pt x="11725" y="928"/>
                    <a:pt x="11586" y="680"/>
                    <a:pt x="11583" y="252"/>
                  </a:cubicBezTo>
                  <a:cubicBezTo>
                    <a:pt x="11582" y="162"/>
                    <a:pt x="11581" y="78"/>
                    <a:pt x="11579" y="0"/>
                  </a:cubicBezTo>
                  <a:cubicBezTo>
                    <a:pt x="11615" y="0"/>
                    <a:pt x="11615" y="0"/>
                    <a:pt x="11615" y="0"/>
                  </a:cubicBezTo>
                  <a:cubicBezTo>
                    <a:pt x="11617" y="78"/>
                    <a:pt x="11618" y="162"/>
                    <a:pt x="11619" y="252"/>
                  </a:cubicBezTo>
                  <a:cubicBezTo>
                    <a:pt x="11621" y="494"/>
                    <a:pt x="11667" y="676"/>
                    <a:pt x="11712" y="798"/>
                  </a:cubicBezTo>
                  <a:cubicBezTo>
                    <a:pt x="11734" y="859"/>
                    <a:pt x="11757" y="905"/>
                    <a:pt x="11774" y="935"/>
                  </a:cubicBezTo>
                  <a:cubicBezTo>
                    <a:pt x="11776" y="940"/>
                    <a:pt x="11778" y="943"/>
                    <a:pt x="11781" y="947"/>
                  </a:cubicBezTo>
                  <a:cubicBezTo>
                    <a:pt x="11797" y="959"/>
                    <a:pt x="11797" y="959"/>
                    <a:pt x="11797" y="959"/>
                  </a:cubicBezTo>
                  <a:cubicBezTo>
                    <a:pt x="11797" y="959"/>
                    <a:pt x="11797" y="959"/>
                    <a:pt x="11797" y="959"/>
                  </a:cubicBezTo>
                  <a:cubicBezTo>
                    <a:pt x="11819" y="927"/>
                    <a:pt x="11858" y="881"/>
                    <a:pt x="11906" y="835"/>
                  </a:cubicBezTo>
                  <a:cubicBezTo>
                    <a:pt x="11954" y="789"/>
                    <a:pt x="12010" y="743"/>
                    <a:pt x="12069" y="716"/>
                  </a:cubicBezTo>
                  <a:cubicBezTo>
                    <a:pt x="12182" y="665"/>
                    <a:pt x="12300" y="664"/>
                    <a:pt x="12422" y="659"/>
                  </a:cubicBezTo>
                  <a:cubicBezTo>
                    <a:pt x="12487" y="657"/>
                    <a:pt x="12926" y="655"/>
                    <a:pt x="13370" y="652"/>
                  </a:cubicBezTo>
                  <a:cubicBezTo>
                    <a:pt x="13591" y="651"/>
                    <a:pt x="13812" y="650"/>
                    <a:pt x="13986" y="648"/>
                  </a:cubicBezTo>
                  <a:cubicBezTo>
                    <a:pt x="13994" y="648"/>
                    <a:pt x="14002" y="648"/>
                    <a:pt x="14009" y="648"/>
                  </a:cubicBezTo>
                  <a:cubicBezTo>
                    <a:pt x="14012" y="642"/>
                    <a:pt x="14012" y="642"/>
                    <a:pt x="14012" y="642"/>
                  </a:cubicBezTo>
                  <a:cubicBezTo>
                    <a:pt x="14017" y="631"/>
                    <a:pt x="14029" y="598"/>
                    <a:pt x="14043" y="558"/>
                  </a:cubicBezTo>
                  <a:cubicBezTo>
                    <a:pt x="14088" y="430"/>
                    <a:pt x="14159" y="211"/>
                    <a:pt x="14176" y="161"/>
                  </a:cubicBezTo>
                  <a:cubicBezTo>
                    <a:pt x="14020" y="0"/>
                    <a:pt x="14020" y="0"/>
                    <a:pt x="14020" y="0"/>
                  </a:cubicBezTo>
                  <a:cubicBezTo>
                    <a:pt x="14040" y="0"/>
                    <a:pt x="14040" y="0"/>
                    <a:pt x="14040" y="0"/>
                  </a:cubicBezTo>
                  <a:cubicBezTo>
                    <a:pt x="14070" y="0"/>
                    <a:pt x="14070" y="0"/>
                    <a:pt x="14070" y="0"/>
                  </a:cubicBezTo>
                  <a:cubicBezTo>
                    <a:pt x="14077" y="0"/>
                    <a:pt x="14077" y="0"/>
                    <a:pt x="14077" y="0"/>
                  </a:cubicBezTo>
                  <a:cubicBezTo>
                    <a:pt x="14221" y="145"/>
                    <a:pt x="14221" y="145"/>
                    <a:pt x="14221" y="145"/>
                  </a:cubicBezTo>
                  <a:cubicBezTo>
                    <a:pt x="14219" y="153"/>
                    <a:pt x="14219" y="153"/>
                    <a:pt x="14219" y="153"/>
                  </a:cubicBezTo>
                  <a:cubicBezTo>
                    <a:pt x="14219" y="153"/>
                    <a:pt x="14179" y="281"/>
                    <a:pt x="14138" y="410"/>
                  </a:cubicBezTo>
                  <a:cubicBezTo>
                    <a:pt x="14117" y="474"/>
                    <a:pt x="14096" y="538"/>
                    <a:pt x="14079" y="586"/>
                  </a:cubicBezTo>
                  <a:cubicBezTo>
                    <a:pt x="14071" y="607"/>
                    <a:pt x="14065" y="625"/>
                    <a:pt x="14059" y="639"/>
                  </a:cubicBezTo>
                  <a:cubicBezTo>
                    <a:pt x="14060" y="647"/>
                    <a:pt x="14060" y="647"/>
                    <a:pt x="14060" y="647"/>
                  </a:cubicBezTo>
                  <a:cubicBezTo>
                    <a:pt x="14195" y="646"/>
                    <a:pt x="14292" y="644"/>
                    <a:pt x="14315" y="642"/>
                  </a:cubicBezTo>
                  <a:cubicBezTo>
                    <a:pt x="14378" y="637"/>
                    <a:pt x="14460" y="631"/>
                    <a:pt x="14534" y="616"/>
                  </a:cubicBezTo>
                  <a:cubicBezTo>
                    <a:pt x="14608" y="603"/>
                    <a:pt x="14674" y="579"/>
                    <a:pt x="14701" y="553"/>
                  </a:cubicBezTo>
                  <a:cubicBezTo>
                    <a:pt x="14775" y="488"/>
                    <a:pt x="14834" y="375"/>
                    <a:pt x="14846" y="346"/>
                  </a:cubicBezTo>
                  <a:cubicBezTo>
                    <a:pt x="14851" y="336"/>
                    <a:pt x="14919" y="189"/>
                    <a:pt x="15006" y="0"/>
                  </a:cubicBezTo>
                  <a:cubicBezTo>
                    <a:pt x="15133" y="0"/>
                    <a:pt x="15133" y="0"/>
                    <a:pt x="15133" y="0"/>
                  </a:cubicBezTo>
                  <a:cubicBezTo>
                    <a:pt x="15035" y="212"/>
                    <a:pt x="14956" y="383"/>
                    <a:pt x="14951" y="394"/>
                  </a:cubicBezTo>
                  <a:cubicBezTo>
                    <a:pt x="14934" y="430"/>
                    <a:pt x="14874" y="552"/>
                    <a:pt x="14777" y="639"/>
                  </a:cubicBezTo>
                  <a:cubicBezTo>
                    <a:pt x="14718" y="690"/>
                    <a:pt x="14638" y="713"/>
                    <a:pt x="14556" y="729"/>
                  </a:cubicBezTo>
                  <a:cubicBezTo>
                    <a:pt x="14473" y="745"/>
                    <a:pt x="14388" y="752"/>
                    <a:pt x="14324" y="757"/>
                  </a:cubicBezTo>
                  <a:cubicBezTo>
                    <a:pt x="14286" y="759"/>
                    <a:pt x="14162" y="761"/>
                    <a:pt x="13987" y="763"/>
                  </a:cubicBezTo>
                  <a:cubicBezTo>
                    <a:pt x="13672" y="766"/>
                    <a:pt x="13201" y="768"/>
                    <a:pt x="12858" y="770"/>
                  </a:cubicBezTo>
                  <a:cubicBezTo>
                    <a:pt x="12857" y="785"/>
                    <a:pt x="12857" y="785"/>
                    <a:pt x="12857" y="785"/>
                  </a:cubicBezTo>
                  <a:cubicBezTo>
                    <a:pt x="12859" y="799"/>
                    <a:pt x="12863" y="819"/>
                    <a:pt x="12868" y="842"/>
                  </a:cubicBezTo>
                  <a:cubicBezTo>
                    <a:pt x="12870" y="854"/>
                    <a:pt x="12873" y="867"/>
                    <a:pt x="12877" y="880"/>
                  </a:cubicBezTo>
                  <a:cubicBezTo>
                    <a:pt x="12984" y="876"/>
                    <a:pt x="13099" y="875"/>
                    <a:pt x="13221" y="875"/>
                  </a:cubicBezTo>
                  <a:cubicBezTo>
                    <a:pt x="13444" y="875"/>
                    <a:pt x="13688" y="879"/>
                    <a:pt x="13934" y="879"/>
                  </a:cubicBezTo>
                  <a:cubicBezTo>
                    <a:pt x="13956" y="879"/>
                    <a:pt x="13979" y="879"/>
                    <a:pt x="14002" y="879"/>
                  </a:cubicBezTo>
                  <a:cubicBezTo>
                    <a:pt x="14331" y="878"/>
                    <a:pt x="14539" y="856"/>
                    <a:pt x="14681" y="823"/>
                  </a:cubicBezTo>
                  <a:cubicBezTo>
                    <a:pt x="14824" y="789"/>
                    <a:pt x="14901" y="747"/>
                    <a:pt x="14983" y="693"/>
                  </a:cubicBezTo>
                  <a:cubicBezTo>
                    <a:pt x="14983" y="693"/>
                    <a:pt x="14986" y="692"/>
                    <a:pt x="14990" y="687"/>
                  </a:cubicBezTo>
                  <a:cubicBezTo>
                    <a:pt x="15007" y="671"/>
                    <a:pt x="15039" y="628"/>
                    <a:pt x="15076" y="569"/>
                  </a:cubicBezTo>
                  <a:cubicBezTo>
                    <a:pt x="15160" y="437"/>
                    <a:pt x="15272" y="226"/>
                    <a:pt x="15387" y="0"/>
                  </a:cubicBezTo>
                  <a:cubicBezTo>
                    <a:pt x="15543" y="0"/>
                    <a:pt x="15543" y="0"/>
                    <a:pt x="15543" y="0"/>
                  </a:cubicBezTo>
                  <a:cubicBezTo>
                    <a:pt x="15459" y="168"/>
                    <a:pt x="15374" y="331"/>
                    <a:pt x="15298" y="467"/>
                  </a:cubicBezTo>
                  <a:cubicBezTo>
                    <a:pt x="15250" y="552"/>
                    <a:pt x="15206" y="626"/>
                    <a:pt x="15168" y="684"/>
                  </a:cubicBezTo>
                  <a:cubicBezTo>
                    <a:pt x="15149" y="713"/>
                    <a:pt x="15131" y="737"/>
                    <a:pt x="15114" y="758"/>
                  </a:cubicBezTo>
                  <a:cubicBezTo>
                    <a:pt x="15096" y="779"/>
                    <a:pt x="15081" y="796"/>
                    <a:pt x="15059" y="810"/>
                  </a:cubicBezTo>
                  <a:cubicBezTo>
                    <a:pt x="14972" y="868"/>
                    <a:pt x="14871" y="922"/>
                    <a:pt x="14713" y="959"/>
                  </a:cubicBezTo>
                  <a:cubicBezTo>
                    <a:pt x="14555" y="996"/>
                    <a:pt x="14338" y="1017"/>
                    <a:pt x="14002" y="1018"/>
                  </a:cubicBezTo>
                  <a:cubicBezTo>
                    <a:pt x="13979" y="1018"/>
                    <a:pt x="13957" y="1018"/>
                    <a:pt x="13934" y="1018"/>
                  </a:cubicBezTo>
                  <a:cubicBezTo>
                    <a:pt x="13686" y="1018"/>
                    <a:pt x="13442" y="1014"/>
                    <a:pt x="13221" y="1014"/>
                  </a:cubicBezTo>
                  <a:cubicBezTo>
                    <a:pt x="13271" y="1016"/>
                    <a:pt x="13271" y="1016"/>
                    <a:pt x="13271" y="1016"/>
                  </a:cubicBezTo>
                  <a:cubicBezTo>
                    <a:pt x="13213" y="1016"/>
                    <a:pt x="13089" y="1045"/>
                    <a:pt x="12940" y="1076"/>
                  </a:cubicBezTo>
                  <a:cubicBezTo>
                    <a:pt x="13003" y="1240"/>
                    <a:pt x="13112" y="1548"/>
                    <a:pt x="13140" y="1656"/>
                  </a:cubicBezTo>
                  <a:cubicBezTo>
                    <a:pt x="13165" y="1753"/>
                    <a:pt x="13187" y="1889"/>
                    <a:pt x="13194" y="1930"/>
                  </a:cubicBezTo>
                  <a:cubicBezTo>
                    <a:pt x="13258" y="1902"/>
                    <a:pt x="13323" y="1901"/>
                    <a:pt x="13371" y="1899"/>
                  </a:cubicBezTo>
                  <a:cubicBezTo>
                    <a:pt x="13372" y="1899"/>
                    <a:pt x="13372" y="1899"/>
                    <a:pt x="13372" y="1899"/>
                  </a:cubicBezTo>
                  <a:cubicBezTo>
                    <a:pt x="13373" y="1899"/>
                    <a:pt x="13373" y="1899"/>
                    <a:pt x="13373" y="1899"/>
                  </a:cubicBezTo>
                  <a:cubicBezTo>
                    <a:pt x="13373" y="1899"/>
                    <a:pt x="13528" y="1903"/>
                    <a:pt x="13742" y="1906"/>
                  </a:cubicBezTo>
                  <a:cubicBezTo>
                    <a:pt x="13956" y="1909"/>
                    <a:pt x="14228" y="1913"/>
                    <a:pt x="14462" y="1913"/>
                  </a:cubicBezTo>
                  <a:cubicBezTo>
                    <a:pt x="14694" y="1913"/>
                    <a:pt x="14890" y="1909"/>
                    <a:pt x="14945" y="1899"/>
                  </a:cubicBezTo>
                  <a:cubicBezTo>
                    <a:pt x="15122" y="1868"/>
                    <a:pt x="15700" y="1824"/>
                    <a:pt x="16203" y="1690"/>
                  </a:cubicBezTo>
                  <a:cubicBezTo>
                    <a:pt x="16699" y="1559"/>
                    <a:pt x="17413" y="1025"/>
                    <a:pt x="17860" y="732"/>
                  </a:cubicBezTo>
                  <a:cubicBezTo>
                    <a:pt x="17853" y="722"/>
                    <a:pt x="17845" y="712"/>
                    <a:pt x="17838" y="703"/>
                  </a:cubicBezTo>
                  <a:cubicBezTo>
                    <a:pt x="17708" y="543"/>
                    <a:pt x="17490" y="301"/>
                    <a:pt x="17025" y="0"/>
                  </a:cubicBezTo>
                  <a:cubicBezTo>
                    <a:pt x="17091" y="0"/>
                    <a:pt x="17091" y="0"/>
                    <a:pt x="17091" y="0"/>
                  </a:cubicBezTo>
                  <a:cubicBezTo>
                    <a:pt x="17527" y="289"/>
                    <a:pt x="17739" y="524"/>
                    <a:pt x="17866" y="680"/>
                  </a:cubicBezTo>
                  <a:cubicBezTo>
                    <a:pt x="17874" y="690"/>
                    <a:pt x="17882" y="701"/>
                    <a:pt x="17890" y="712"/>
                  </a:cubicBezTo>
                  <a:cubicBezTo>
                    <a:pt x="17929" y="686"/>
                    <a:pt x="17969" y="658"/>
                    <a:pt x="18011" y="628"/>
                  </a:cubicBezTo>
                  <a:lnTo>
                    <a:pt x="18011" y="673"/>
                  </a:lnTo>
                  <a:close/>
                  <a:moveTo>
                    <a:pt x="12905" y="1083"/>
                  </a:moveTo>
                  <a:cubicBezTo>
                    <a:pt x="12903" y="1083"/>
                    <a:pt x="12902" y="1084"/>
                    <a:pt x="12901" y="1084"/>
                  </a:cubicBezTo>
                  <a:cubicBezTo>
                    <a:pt x="12788" y="1107"/>
                    <a:pt x="12659" y="1124"/>
                    <a:pt x="12555" y="1153"/>
                  </a:cubicBezTo>
                  <a:cubicBezTo>
                    <a:pt x="12381" y="1200"/>
                    <a:pt x="12269" y="1255"/>
                    <a:pt x="12241" y="1271"/>
                  </a:cubicBezTo>
                  <a:cubicBezTo>
                    <a:pt x="12171" y="1310"/>
                    <a:pt x="11805" y="1605"/>
                    <a:pt x="11625" y="1731"/>
                  </a:cubicBezTo>
                  <a:cubicBezTo>
                    <a:pt x="11578" y="1774"/>
                    <a:pt x="11531" y="1818"/>
                    <a:pt x="11485" y="1861"/>
                  </a:cubicBezTo>
                  <a:cubicBezTo>
                    <a:pt x="11340" y="1998"/>
                    <a:pt x="11203" y="2128"/>
                    <a:pt x="11092" y="2230"/>
                  </a:cubicBezTo>
                  <a:cubicBezTo>
                    <a:pt x="11036" y="2281"/>
                    <a:pt x="10987" y="2325"/>
                    <a:pt x="10947" y="2360"/>
                  </a:cubicBezTo>
                  <a:cubicBezTo>
                    <a:pt x="10906" y="2395"/>
                    <a:pt x="10876" y="2419"/>
                    <a:pt x="10849" y="2435"/>
                  </a:cubicBezTo>
                  <a:cubicBezTo>
                    <a:pt x="10829" y="2447"/>
                    <a:pt x="10808" y="2455"/>
                    <a:pt x="10776" y="2467"/>
                  </a:cubicBezTo>
                  <a:cubicBezTo>
                    <a:pt x="10729" y="2484"/>
                    <a:pt x="10664" y="2505"/>
                    <a:pt x="10584" y="2530"/>
                  </a:cubicBezTo>
                  <a:cubicBezTo>
                    <a:pt x="10616" y="2651"/>
                    <a:pt x="10657" y="2803"/>
                    <a:pt x="10696" y="2958"/>
                  </a:cubicBezTo>
                  <a:cubicBezTo>
                    <a:pt x="10697" y="2958"/>
                    <a:pt x="10697" y="2957"/>
                    <a:pt x="10698" y="2957"/>
                  </a:cubicBezTo>
                  <a:cubicBezTo>
                    <a:pt x="10700" y="2956"/>
                    <a:pt x="10700" y="2956"/>
                    <a:pt x="10700" y="2956"/>
                  </a:cubicBezTo>
                  <a:cubicBezTo>
                    <a:pt x="10700" y="2956"/>
                    <a:pt x="10700" y="2956"/>
                    <a:pt x="10700" y="2956"/>
                  </a:cubicBezTo>
                  <a:cubicBezTo>
                    <a:pt x="10706" y="2956"/>
                    <a:pt x="12290" y="2922"/>
                    <a:pt x="12291" y="2922"/>
                  </a:cubicBezTo>
                  <a:cubicBezTo>
                    <a:pt x="12290" y="2922"/>
                    <a:pt x="12293" y="2922"/>
                    <a:pt x="12298" y="2922"/>
                  </a:cubicBezTo>
                  <a:cubicBezTo>
                    <a:pt x="12317" y="2922"/>
                    <a:pt x="12367" y="2924"/>
                    <a:pt x="12422" y="2942"/>
                  </a:cubicBezTo>
                  <a:cubicBezTo>
                    <a:pt x="12434" y="2914"/>
                    <a:pt x="12476" y="2816"/>
                    <a:pt x="12494" y="2778"/>
                  </a:cubicBezTo>
                  <a:cubicBezTo>
                    <a:pt x="12502" y="2762"/>
                    <a:pt x="12529" y="2727"/>
                    <a:pt x="12568" y="2675"/>
                  </a:cubicBezTo>
                  <a:cubicBezTo>
                    <a:pt x="12682" y="2529"/>
                    <a:pt x="12889" y="2275"/>
                    <a:pt x="12901" y="2260"/>
                  </a:cubicBezTo>
                  <a:cubicBezTo>
                    <a:pt x="12909" y="2249"/>
                    <a:pt x="13014" y="2092"/>
                    <a:pt x="13094" y="2001"/>
                  </a:cubicBezTo>
                  <a:cubicBezTo>
                    <a:pt x="13115" y="1978"/>
                    <a:pt x="13137" y="1961"/>
                    <a:pt x="13160" y="1947"/>
                  </a:cubicBezTo>
                  <a:cubicBezTo>
                    <a:pt x="13158" y="1938"/>
                    <a:pt x="13133" y="1775"/>
                    <a:pt x="13105" y="1665"/>
                  </a:cubicBezTo>
                  <a:cubicBezTo>
                    <a:pt x="13078" y="1560"/>
                    <a:pt x="12967" y="1245"/>
                    <a:pt x="12905" y="1083"/>
                  </a:cubicBezTo>
                  <a:close/>
                  <a:moveTo>
                    <a:pt x="13066" y="4821"/>
                  </a:moveTo>
                  <a:cubicBezTo>
                    <a:pt x="13074" y="4809"/>
                    <a:pt x="13089" y="4785"/>
                    <a:pt x="13110" y="4749"/>
                  </a:cubicBezTo>
                  <a:cubicBezTo>
                    <a:pt x="13143" y="4693"/>
                    <a:pt x="13188" y="4611"/>
                    <a:pt x="13239" y="4501"/>
                  </a:cubicBezTo>
                  <a:cubicBezTo>
                    <a:pt x="13274" y="4427"/>
                    <a:pt x="13285" y="4362"/>
                    <a:pt x="13285" y="4309"/>
                  </a:cubicBezTo>
                  <a:cubicBezTo>
                    <a:pt x="13285" y="4260"/>
                    <a:pt x="13275" y="4221"/>
                    <a:pt x="13266" y="4195"/>
                  </a:cubicBezTo>
                  <a:cubicBezTo>
                    <a:pt x="13261" y="4181"/>
                    <a:pt x="13256" y="4171"/>
                    <a:pt x="13253" y="4164"/>
                  </a:cubicBezTo>
                  <a:cubicBezTo>
                    <a:pt x="13249" y="4158"/>
                    <a:pt x="13247" y="4155"/>
                    <a:pt x="13247" y="4155"/>
                  </a:cubicBezTo>
                  <a:cubicBezTo>
                    <a:pt x="12508" y="3031"/>
                    <a:pt x="12508" y="3031"/>
                    <a:pt x="12508" y="3031"/>
                  </a:cubicBezTo>
                  <a:cubicBezTo>
                    <a:pt x="12435" y="2964"/>
                    <a:pt x="12326" y="2958"/>
                    <a:pt x="12298" y="2958"/>
                  </a:cubicBezTo>
                  <a:cubicBezTo>
                    <a:pt x="12294" y="2958"/>
                    <a:pt x="12292" y="2958"/>
                    <a:pt x="12292" y="2958"/>
                  </a:cubicBezTo>
                  <a:cubicBezTo>
                    <a:pt x="12290" y="2958"/>
                    <a:pt x="11894" y="2967"/>
                    <a:pt x="11497" y="2975"/>
                  </a:cubicBezTo>
                  <a:cubicBezTo>
                    <a:pt x="11298" y="2980"/>
                    <a:pt x="11099" y="2984"/>
                    <a:pt x="10950" y="2987"/>
                  </a:cubicBezTo>
                  <a:cubicBezTo>
                    <a:pt x="10876" y="2989"/>
                    <a:pt x="10814" y="2990"/>
                    <a:pt x="10770" y="2991"/>
                  </a:cubicBezTo>
                  <a:cubicBezTo>
                    <a:pt x="10749" y="2991"/>
                    <a:pt x="10731" y="2992"/>
                    <a:pt x="10720" y="2992"/>
                  </a:cubicBezTo>
                  <a:cubicBezTo>
                    <a:pt x="10714" y="2992"/>
                    <a:pt x="10710" y="2992"/>
                    <a:pt x="10707" y="2992"/>
                  </a:cubicBezTo>
                  <a:cubicBezTo>
                    <a:pt x="10706" y="2992"/>
                    <a:pt x="10705" y="2992"/>
                    <a:pt x="10705" y="2992"/>
                  </a:cubicBezTo>
                  <a:cubicBezTo>
                    <a:pt x="10796" y="3357"/>
                    <a:pt x="10882" y="3728"/>
                    <a:pt x="10894" y="3762"/>
                  </a:cubicBezTo>
                  <a:cubicBezTo>
                    <a:pt x="10906" y="3799"/>
                    <a:pt x="10948" y="3951"/>
                    <a:pt x="11022" y="4103"/>
                  </a:cubicBezTo>
                  <a:cubicBezTo>
                    <a:pt x="11095" y="4256"/>
                    <a:pt x="11202" y="4406"/>
                    <a:pt x="11334" y="4440"/>
                  </a:cubicBezTo>
                  <a:cubicBezTo>
                    <a:pt x="11463" y="4474"/>
                    <a:pt x="11592" y="4483"/>
                    <a:pt x="11702" y="4483"/>
                  </a:cubicBezTo>
                  <a:cubicBezTo>
                    <a:pt x="11832" y="4483"/>
                    <a:pt x="11933" y="4470"/>
                    <a:pt x="11979" y="4470"/>
                  </a:cubicBezTo>
                  <a:cubicBezTo>
                    <a:pt x="12018" y="4470"/>
                    <a:pt x="12087" y="4471"/>
                    <a:pt x="12151" y="4502"/>
                  </a:cubicBezTo>
                  <a:cubicBezTo>
                    <a:pt x="12212" y="4531"/>
                    <a:pt x="12268" y="4590"/>
                    <a:pt x="12290" y="4694"/>
                  </a:cubicBezTo>
                  <a:cubicBezTo>
                    <a:pt x="12360" y="4698"/>
                    <a:pt x="12711" y="4722"/>
                    <a:pt x="12896" y="4772"/>
                  </a:cubicBezTo>
                  <a:lnTo>
                    <a:pt x="13066" y="4821"/>
                  </a:lnTo>
                  <a:close/>
                  <a:moveTo>
                    <a:pt x="12495" y="8730"/>
                  </a:moveTo>
                  <a:cubicBezTo>
                    <a:pt x="12033" y="7227"/>
                    <a:pt x="12033" y="7227"/>
                    <a:pt x="12033" y="7227"/>
                  </a:cubicBezTo>
                  <a:cubicBezTo>
                    <a:pt x="12033" y="7226"/>
                    <a:pt x="12031" y="7219"/>
                    <a:pt x="12026" y="7208"/>
                  </a:cubicBezTo>
                  <a:cubicBezTo>
                    <a:pt x="12013" y="7173"/>
                    <a:pt x="11975" y="7101"/>
                    <a:pt x="11898" y="7072"/>
                  </a:cubicBezTo>
                  <a:cubicBezTo>
                    <a:pt x="11853" y="7146"/>
                    <a:pt x="11792" y="7207"/>
                    <a:pt x="11708" y="7224"/>
                  </a:cubicBezTo>
                  <a:cubicBezTo>
                    <a:pt x="11701" y="7227"/>
                    <a:pt x="11695" y="7227"/>
                    <a:pt x="11685" y="7228"/>
                  </a:cubicBezTo>
                  <a:cubicBezTo>
                    <a:pt x="11674" y="7228"/>
                    <a:pt x="11661" y="7228"/>
                    <a:pt x="11646" y="7228"/>
                  </a:cubicBezTo>
                  <a:cubicBezTo>
                    <a:pt x="11547" y="7228"/>
                    <a:pt x="11360" y="7218"/>
                    <a:pt x="11360" y="7218"/>
                  </a:cubicBezTo>
                  <a:cubicBezTo>
                    <a:pt x="11359" y="7218"/>
                    <a:pt x="11208" y="7207"/>
                    <a:pt x="11057" y="7196"/>
                  </a:cubicBezTo>
                  <a:cubicBezTo>
                    <a:pt x="10982" y="7191"/>
                    <a:pt x="10906" y="7185"/>
                    <a:pt x="10849" y="7181"/>
                  </a:cubicBezTo>
                  <a:cubicBezTo>
                    <a:pt x="10821" y="7179"/>
                    <a:pt x="10797" y="7177"/>
                    <a:pt x="10781" y="7176"/>
                  </a:cubicBezTo>
                  <a:cubicBezTo>
                    <a:pt x="10773" y="7175"/>
                    <a:pt x="10766" y="7174"/>
                    <a:pt x="10762" y="7174"/>
                  </a:cubicBezTo>
                  <a:cubicBezTo>
                    <a:pt x="10759" y="7174"/>
                    <a:pt x="10758" y="7174"/>
                    <a:pt x="10756" y="7174"/>
                  </a:cubicBezTo>
                  <a:cubicBezTo>
                    <a:pt x="10756" y="7174"/>
                    <a:pt x="10755" y="7174"/>
                    <a:pt x="10755" y="7173"/>
                  </a:cubicBezTo>
                  <a:cubicBezTo>
                    <a:pt x="10755" y="7173"/>
                    <a:pt x="10754" y="7173"/>
                    <a:pt x="10754" y="7173"/>
                  </a:cubicBezTo>
                  <a:cubicBezTo>
                    <a:pt x="10754" y="7173"/>
                    <a:pt x="10753" y="7173"/>
                    <a:pt x="10752" y="7173"/>
                  </a:cubicBezTo>
                  <a:cubicBezTo>
                    <a:pt x="10752" y="7173"/>
                    <a:pt x="10751" y="7173"/>
                    <a:pt x="10750" y="7172"/>
                  </a:cubicBezTo>
                  <a:cubicBezTo>
                    <a:pt x="10749" y="7172"/>
                    <a:pt x="10748" y="7172"/>
                    <a:pt x="10746" y="7170"/>
                  </a:cubicBezTo>
                  <a:cubicBezTo>
                    <a:pt x="10745" y="7170"/>
                    <a:pt x="10744" y="7169"/>
                    <a:pt x="10743" y="7167"/>
                  </a:cubicBezTo>
                  <a:cubicBezTo>
                    <a:pt x="10738" y="7164"/>
                    <a:pt x="10727" y="7157"/>
                    <a:pt x="10712" y="7148"/>
                  </a:cubicBezTo>
                  <a:cubicBezTo>
                    <a:pt x="10269" y="8401"/>
                    <a:pt x="10269" y="8401"/>
                    <a:pt x="10269" y="8401"/>
                  </a:cubicBezTo>
                  <a:cubicBezTo>
                    <a:pt x="10268" y="8424"/>
                    <a:pt x="10268" y="8424"/>
                    <a:pt x="10268" y="8424"/>
                  </a:cubicBezTo>
                  <a:cubicBezTo>
                    <a:pt x="10275" y="8426"/>
                    <a:pt x="10282" y="8429"/>
                    <a:pt x="10290" y="8431"/>
                  </a:cubicBezTo>
                  <a:cubicBezTo>
                    <a:pt x="10539" y="8513"/>
                    <a:pt x="10774" y="8573"/>
                    <a:pt x="10946" y="8612"/>
                  </a:cubicBezTo>
                  <a:cubicBezTo>
                    <a:pt x="11032" y="8631"/>
                    <a:pt x="11103" y="8645"/>
                    <a:pt x="11152" y="8655"/>
                  </a:cubicBezTo>
                  <a:cubicBezTo>
                    <a:pt x="11193" y="8663"/>
                    <a:pt x="11219" y="8667"/>
                    <a:pt x="11225" y="8668"/>
                  </a:cubicBezTo>
                  <a:cubicBezTo>
                    <a:pt x="11272" y="8672"/>
                    <a:pt x="11938" y="8718"/>
                    <a:pt x="12136" y="8726"/>
                  </a:cubicBezTo>
                  <a:cubicBezTo>
                    <a:pt x="12241" y="8731"/>
                    <a:pt x="12361" y="8736"/>
                    <a:pt x="12494" y="8748"/>
                  </a:cubicBezTo>
                  <a:cubicBezTo>
                    <a:pt x="12495" y="8742"/>
                    <a:pt x="12495" y="8733"/>
                    <a:pt x="12495" y="8730"/>
                  </a:cubicBezTo>
                  <a:close/>
                  <a:moveTo>
                    <a:pt x="12372" y="11185"/>
                  </a:moveTo>
                  <a:cubicBezTo>
                    <a:pt x="12509" y="11051"/>
                    <a:pt x="12636" y="10926"/>
                    <a:pt x="12660" y="10901"/>
                  </a:cubicBezTo>
                  <a:cubicBezTo>
                    <a:pt x="11986" y="10332"/>
                    <a:pt x="11986" y="10332"/>
                    <a:pt x="11986" y="10332"/>
                  </a:cubicBezTo>
                  <a:cubicBezTo>
                    <a:pt x="11985" y="10332"/>
                    <a:pt x="11984" y="10331"/>
                    <a:pt x="11982" y="10330"/>
                  </a:cubicBezTo>
                  <a:cubicBezTo>
                    <a:pt x="11972" y="10325"/>
                    <a:pt x="11947" y="10314"/>
                    <a:pt x="11915" y="10314"/>
                  </a:cubicBezTo>
                  <a:cubicBezTo>
                    <a:pt x="11885" y="10314"/>
                    <a:pt x="11850" y="10323"/>
                    <a:pt x="11812" y="10355"/>
                  </a:cubicBezTo>
                  <a:cubicBezTo>
                    <a:pt x="11763" y="10399"/>
                    <a:pt x="11734" y="10420"/>
                    <a:pt x="11717" y="10432"/>
                  </a:cubicBezTo>
                  <a:cubicBezTo>
                    <a:pt x="11714" y="10433"/>
                    <a:pt x="11713" y="10434"/>
                    <a:pt x="11711" y="10436"/>
                  </a:cubicBezTo>
                  <a:cubicBezTo>
                    <a:pt x="12335" y="11221"/>
                    <a:pt x="12335" y="11221"/>
                    <a:pt x="12335" y="11221"/>
                  </a:cubicBezTo>
                  <a:cubicBezTo>
                    <a:pt x="12347" y="11209"/>
                    <a:pt x="12360" y="11197"/>
                    <a:pt x="12372" y="11185"/>
                  </a:cubicBezTo>
                  <a:close/>
                  <a:moveTo>
                    <a:pt x="11379" y="10077"/>
                  </a:moveTo>
                  <a:cubicBezTo>
                    <a:pt x="11373" y="10072"/>
                    <a:pt x="11344" y="10047"/>
                    <a:pt x="11295" y="10009"/>
                  </a:cubicBezTo>
                  <a:cubicBezTo>
                    <a:pt x="11240" y="9967"/>
                    <a:pt x="11160" y="9908"/>
                    <a:pt x="11060" y="9843"/>
                  </a:cubicBezTo>
                  <a:cubicBezTo>
                    <a:pt x="10899" y="9738"/>
                    <a:pt x="10734" y="9628"/>
                    <a:pt x="10675" y="9588"/>
                  </a:cubicBezTo>
                  <a:cubicBezTo>
                    <a:pt x="10672" y="9591"/>
                    <a:pt x="10670" y="9593"/>
                    <a:pt x="10669" y="9594"/>
                  </a:cubicBezTo>
                  <a:cubicBezTo>
                    <a:pt x="9469" y="12136"/>
                    <a:pt x="9469" y="12136"/>
                    <a:pt x="9469" y="12136"/>
                  </a:cubicBezTo>
                  <a:cubicBezTo>
                    <a:pt x="9474" y="12139"/>
                    <a:pt x="9481" y="12143"/>
                    <a:pt x="9491" y="12148"/>
                  </a:cubicBezTo>
                  <a:cubicBezTo>
                    <a:pt x="9551" y="12180"/>
                    <a:pt x="9693" y="12245"/>
                    <a:pt x="9850" y="12244"/>
                  </a:cubicBezTo>
                  <a:cubicBezTo>
                    <a:pt x="9901" y="12244"/>
                    <a:pt x="9952" y="12238"/>
                    <a:pt x="10004" y="12222"/>
                  </a:cubicBezTo>
                  <a:cubicBezTo>
                    <a:pt x="10142" y="12179"/>
                    <a:pt x="10607" y="12028"/>
                    <a:pt x="11036" y="11888"/>
                  </a:cubicBezTo>
                  <a:cubicBezTo>
                    <a:pt x="11251" y="11818"/>
                    <a:pt x="11457" y="11750"/>
                    <a:pt x="11609" y="11701"/>
                  </a:cubicBezTo>
                  <a:cubicBezTo>
                    <a:pt x="11762" y="11651"/>
                    <a:pt x="11860" y="11618"/>
                    <a:pt x="11860" y="11618"/>
                  </a:cubicBezTo>
                  <a:cubicBezTo>
                    <a:pt x="11860" y="11618"/>
                    <a:pt x="11863" y="11617"/>
                    <a:pt x="11870" y="11614"/>
                  </a:cubicBezTo>
                  <a:cubicBezTo>
                    <a:pt x="11890" y="11606"/>
                    <a:pt x="11941" y="11581"/>
                    <a:pt x="12010" y="11527"/>
                  </a:cubicBezTo>
                  <a:cubicBezTo>
                    <a:pt x="12049" y="11497"/>
                    <a:pt x="12177" y="11375"/>
                    <a:pt x="12309" y="11246"/>
                  </a:cubicBezTo>
                  <a:lnTo>
                    <a:pt x="11379" y="10077"/>
                  </a:lnTo>
                  <a:close/>
                  <a:moveTo>
                    <a:pt x="11002" y="12991"/>
                  </a:moveTo>
                  <a:cubicBezTo>
                    <a:pt x="9697" y="13419"/>
                    <a:pt x="9697" y="13419"/>
                    <a:pt x="9697" y="13419"/>
                  </a:cubicBezTo>
                  <a:cubicBezTo>
                    <a:pt x="8886" y="13695"/>
                    <a:pt x="8886" y="13695"/>
                    <a:pt x="8886" y="13695"/>
                  </a:cubicBezTo>
                  <a:cubicBezTo>
                    <a:pt x="8931" y="13696"/>
                    <a:pt x="8986" y="13698"/>
                    <a:pt x="9048" y="13699"/>
                  </a:cubicBezTo>
                  <a:cubicBezTo>
                    <a:pt x="9213" y="13704"/>
                    <a:pt x="9421" y="13708"/>
                    <a:pt x="9596" y="13708"/>
                  </a:cubicBezTo>
                  <a:cubicBezTo>
                    <a:pt x="9654" y="13708"/>
                    <a:pt x="9708" y="13708"/>
                    <a:pt x="9756" y="13707"/>
                  </a:cubicBezTo>
                  <a:cubicBezTo>
                    <a:pt x="9761" y="13706"/>
                    <a:pt x="9766" y="13706"/>
                    <a:pt x="9771" y="13706"/>
                  </a:cubicBezTo>
                  <a:cubicBezTo>
                    <a:pt x="9936" y="13706"/>
                    <a:pt x="10028" y="13773"/>
                    <a:pt x="10076" y="13841"/>
                  </a:cubicBezTo>
                  <a:cubicBezTo>
                    <a:pt x="10124" y="13908"/>
                    <a:pt x="10129" y="13974"/>
                    <a:pt x="10129" y="13976"/>
                  </a:cubicBezTo>
                  <a:cubicBezTo>
                    <a:pt x="10129" y="13977"/>
                    <a:pt x="10129" y="13977"/>
                    <a:pt x="10129" y="13977"/>
                  </a:cubicBezTo>
                  <a:cubicBezTo>
                    <a:pt x="10129" y="13977"/>
                    <a:pt x="10129" y="13977"/>
                    <a:pt x="10129" y="13977"/>
                  </a:cubicBezTo>
                  <a:cubicBezTo>
                    <a:pt x="10129" y="13978"/>
                    <a:pt x="10136" y="14678"/>
                    <a:pt x="10136" y="15026"/>
                  </a:cubicBezTo>
                  <a:cubicBezTo>
                    <a:pt x="10136" y="15084"/>
                    <a:pt x="10136" y="15132"/>
                    <a:pt x="10136" y="15166"/>
                  </a:cubicBezTo>
                  <a:cubicBezTo>
                    <a:pt x="10135" y="15183"/>
                    <a:pt x="10135" y="15196"/>
                    <a:pt x="10135" y="15205"/>
                  </a:cubicBezTo>
                  <a:cubicBezTo>
                    <a:pt x="10134" y="15210"/>
                    <a:pt x="10134" y="15213"/>
                    <a:pt x="10134" y="15216"/>
                  </a:cubicBezTo>
                  <a:cubicBezTo>
                    <a:pt x="10134" y="15218"/>
                    <a:pt x="10134" y="15219"/>
                    <a:pt x="10133" y="15221"/>
                  </a:cubicBezTo>
                  <a:cubicBezTo>
                    <a:pt x="10133" y="15222"/>
                    <a:pt x="10133" y="15223"/>
                    <a:pt x="10132" y="15225"/>
                  </a:cubicBezTo>
                  <a:cubicBezTo>
                    <a:pt x="10132" y="15226"/>
                    <a:pt x="10131" y="15227"/>
                    <a:pt x="10130" y="15228"/>
                  </a:cubicBezTo>
                  <a:cubicBezTo>
                    <a:pt x="10190" y="15274"/>
                    <a:pt x="10410" y="15442"/>
                    <a:pt x="10547" y="15547"/>
                  </a:cubicBezTo>
                  <a:cubicBezTo>
                    <a:pt x="10705" y="15668"/>
                    <a:pt x="11048" y="15905"/>
                    <a:pt x="11342" y="16118"/>
                  </a:cubicBezTo>
                  <a:cubicBezTo>
                    <a:pt x="11357" y="16129"/>
                    <a:pt x="11372" y="16140"/>
                    <a:pt x="11386" y="16151"/>
                  </a:cubicBezTo>
                  <a:cubicBezTo>
                    <a:pt x="11800" y="15359"/>
                    <a:pt x="11800" y="15359"/>
                    <a:pt x="11800" y="15359"/>
                  </a:cubicBezTo>
                  <a:cubicBezTo>
                    <a:pt x="11800" y="15358"/>
                    <a:pt x="11802" y="15355"/>
                    <a:pt x="11806" y="15346"/>
                  </a:cubicBezTo>
                  <a:cubicBezTo>
                    <a:pt x="11818" y="15322"/>
                    <a:pt x="11842" y="15263"/>
                    <a:pt x="11841" y="15195"/>
                  </a:cubicBezTo>
                  <a:cubicBezTo>
                    <a:pt x="11841" y="15101"/>
                    <a:pt x="11801" y="14989"/>
                    <a:pt x="11620" y="14906"/>
                  </a:cubicBezTo>
                  <a:cubicBezTo>
                    <a:pt x="11610" y="14902"/>
                    <a:pt x="11610" y="14902"/>
                    <a:pt x="11610" y="14902"/>
                  </a:cubicBezTo>
                  <a:cubicBezTo>
                    <a:pt x="11587" y="14495"/>
                    <a:pt x="11587" y="14495"/>
                    <a:pt x="11587" y="14495"/>
                  </a:cubicBezTo>
                  <a:cubicBezTo>
                    <a:pt x="11587" y="14495"/>
                    <a:pt x="11587" y="14495"/>
                    <a:pt x="11587" y="14495"/>
                  </a:cubicBezTo>
                  <a:cubicBezTo>
                    <a:pt x="11587" y="14493"/>
                    <a:pt x="11590" y="14430"/>
                    <a:pt x="11616" y="14365"/>
                  </a:cubicBezTo>
                  <a:cubicBezTo>
                    <a:pt x="11641" y="14300"/>
                    <a:pt x="11693" y="14229"/>
                    <a:pt x="11790" y="14229"/>
                  </a:cubicBezTo>
                  <a:cubicBezTo>
                    <a:pt x="11800" y="14229"/>
                    <a:pt x="11811" y="14230"/>
                    <a:pt x="11823" y="14232"/>
                  </a:cubicBezTo>
                  <a:cubicBezTo>
                    <a:pt x="11999" y="14259"/>
                    <a:pt x="12476" y="14346"/>
                    <a:pt x="12594" y="14368"/>
                  </a:cubicBezTo>
                  <a:cubicBezTo>
                    <a:pt x="12550" y="14168"/>
                    <a:pt x="12550" y="14168"/>
                    <a:pt x="12550" y="14168"/>
                  </a:cubicBezTo>
                  <a:cubicBezTo>
                    <a:pt x="12742" y="13874"/>
                    <a:pt x="12742" y="13874"/>
                    <a:pt x="12742" y="13874"/>
                  </a:cubicBezTo>
                  <a:cubicBezTo>
                    <a:pt x="12811" y="13673"/>
                    <a:pt x="12811" y="13673"/>
                    <a:pt x="12811" y="13673"/>
                  </a:cubicBezTo>
                  <a:cubicBezTo>
                    <a:pt x="12812" y="13672"/>
                    <a:pt x="12812" y="13672"/>
                    <a:pt x="12812" y="13672"/>
                  </a:cubicBezTo>
                  <a:cubicBezTo>
                    <a:pt x="12812" y="13672"/>
                    <a:pt x="12812" y="13672"/>
                    <a:pt x="12812" y="13672"/>
                  </a:cubicBezTo>
                  <a:cubicBezTo>
                    <a:pt x="12812" y="13671"/>
                    <a:pt x="12814" y="13667"/>
                    <a:pt x="12814" y="13661"/>
                  </a:cubicBezTo>
                  <a:cubicBezTo>
                    <a:pt x="12813" y="13649"/>
                    <a:pt x="12809" y="13622"/>
                    <a:pt x="12742" y="13592"/>
                  </a:cubicBezTo>
                  <a:cubicBezTo>
                    <a:pt x="12684" y="13566"/>
                    <a:pt x="12506" y="13459"/>
                    <a:pt x="12339" y="13358"/>
                  </a:cubicBezTo>
                  <a:cubicBezTo>
                    <a:pt x="12173" y="13256"/>
                    <a:pt x="12021" y="13161"/>
                    <a:pt x="12021" y="13161"/>
                  </a:cubicBezTo>
                  <a:cubicBezTo>
                    <a:pt x="12019" y="13160"/>
                    <a:pt x="12019" y="13160"/>
                    <a:pt x="12019" y="13160"/>
                  </a:cubicBezTo>
                  <a:cubicBezTo>
                    <a:pt x="12018" y="13159"/>
                    <a:pt x="12018" y="13159"/>
                    <a:pt x="12018" y="13159"/>
                  </a:cubicBezTo>
                  <a:cubicBezTo>
                    <a:pt x="12018" y="13158"/>
                    <a:pt x="11772" y="12925"/>
                    <a:pt x="11668" y="12805"/>
                  </a:cubicBezTo>
                  <a:lnTo>
                    <a:pt x="11002" y="12991"/>
                  </a:lnTo>
                  <a:close/>
                  <a:moveTo>
                    <a:pt x="10109" y="15213"/>
                  </a:moveTo>
                  <a:cubicBezTo>
                    <a:pt x="10102" y="15207"/>
                    <a:pt x="10102" y="15207"/>
                    <a:pt x="10102" y="15207"/>
                  </a:cubicBezTo>
                  <a:cubicBezTo>
                    <a:pt x="10109" y="15213"/>
                    <a:pt x="10109" y="15213"/>
                    <a:pt x="10109" y="15213"/>
                  </a:cubicBezTo>
                  <a:close/>
                  <a:moveTo>
                    <a:pt x="8762" y="13726"/>
                  </a:moveTo>
                  <a:cubicBezTo>
                    <a:pt x="8672" y="13739"/>
                    <a:pt x="8672" y="13739"/>
                    <a:pt x="8672" y="13739"/>
                  </a:cubicBezTo>
                  <a:cubicBezTo>
                    <a:pt x="7816" y="13773"/>
                    <a:pt x="7816" y="13773"/>
                    <a:pt x="7816" y="13773"/>
                  </a:cubicBezTo>
                  <a:cubicBezTo>
                    <a:pt x="7819" y="13774"/>
                    <a:pt x="7819" y="13774"/>
                    <a:pt x="7819" y="13774"/>
                  </a:cubicBezTo>
                  <a:cubicBezTo>
                    <a:pt x="7802" y="13852"/>
                    <a:pt x="7791" y="14016"/>
                    <a:pt x="7783" y="14160"/>
                  </a:cubicBezTo>
                  <a:cubicBezTo>
                    <a:pt x="7780" y="14232"/>
                    <a:pt x="7776" y="14299"/>
                    <a:pt x="7773" y="14348"/>
                  </a:cubicBezTo>
                  <a:cubicBezTo>
                    <a:pt x="7772" y="14373"/>
                    <a:pt x="7770" y="14393"/>
                    <a:pt x="7768" y="14407"/>
                  </a:cubicBezTo>
                  <a:cubicBezTo>
                    <a:pt x="7767" y="14412"/>
                    <a:pt x="7767" y="14417"/>
                    <a:pt x="7766" y="14421"/>
                  </a:cubicBezTo>
                  <a:cubicBezTo>
                    <a:pt x="7775" y="14428"/>
                    <a:pt x="7790" y="14439"/>
                    <a:pt x="7809" y="14452"/>
                  </a:cubicBezTo>
                  <a:cubicBezTo>
                    <a:pt x="7915" y="14528"/>
                    <a:pt x="8161" y="14700"/>
                    <a:pt x="8380" y="14852"/>
                  </a:cubicBezTo>
                  <a:cubicBezTo>
                    <a:pt x="8599" y="15005"/>
                    <a:pt x="8791" y="15138"/>
                    <a:pt x="8791" y="15138"/>
                  </a:cubicBezTo>
                  <a:cubicBezTo>
                    <a:pt x="8784" y="15149"/>
                    <a:pt x="8784" y="15149"/>
                    <a:pt x="8784" y="15149"/>
                  </a:cubicBezTo>
                  <a:cubicBezTo>
                    <a:pt x="8838" y="15132"/>
                    <a:pt x="8883" y="15131"/>
                    <a:pt x="8890" y="15131"/>
                  </a:cubicBezTo>
                  <a:cubicBezTo>
                    <a:pt x="8891" y="15131"/>
                    <a:pt x="8892" y="15131"/>
                    <a:pt x="8892" y="15131"/>
                  </a:cubicBezTo>
                  <a:cubicBezTo>
                    <a:pt x="10098" y="15212"/>
                    <a:pt x="10098" y="15212"/>
                    <a:pt x="10098" y="15212"/>
                  </a:cubicBezTo>
                  <a:cubicBezTo>
                    <a:pt x="10099" y="15199"/>
                    <a:pt x="10100" y="15126"/>
                    <a:pt x="10100" y="15026"/>
                  </a:cubicBezTo>
                  <a:cubicBezTo>
                    <a:pt x="10100" y="14852"/>
                    <a:pt x="10098" y="14590"/>
                    <a:pt x="10097" y="14372"/>
                  </a:cubicBezTo>
                  <a:cubicBezTo>
                    <a:pt x="10095" y="14161"/>
                    <a:pt x="10093" y="13991"/>
                    <a:pt x="10093" y="13979"/>
                  </a:cubicBezTo>
                  <a:cubicBezTo>
                    <a:pt x="10093" y="13977"/>
                    <a:pt x="10093" y="13975"/>
                    <a:pt x="10092" y="13970"/>
                  </a:cubicBezTo>
                  <a:cubicBezTo>
                    <a:pt x="10088" y="13948"/>
                    <a:pt x="10074" y="13890"/>
                    <a:pt x="10029" y="13839"/>
                  </a:cubicBezTo>
                  <a:cubicBezTo>
                    <a:pt x="9984" y="13789"/>
                    <a:pt x="9907" y="13743"/>
                    <a:pt x="9771" y="13743"/>
                  </a:cubicBezTo>
                  <a:cubicBezTo>
                    <a:pt x="9766" y="13743"/>
                    <a:pt x="9762" y="13743"/>
                    <a:pt x="9757" y="13743"/>
                  </a:cubicBezTo>
                  <a:cubicBezTo>
                    <a:pt x="9709" y="13744"/>
                    <a:pt x="9654" y="13744"/>
                    <a:pt x="9596" y="13744"/>
                  </a:cubicBezTo>
                  <a:cubicBezTo>
                    <a:pt x="9258" y="13744"/>
                    <a:pt x="8793" y="13728"/>
                    <a:pt x="8762" y="13726"/>
                  </a:cubicBezTo>
                  <a:close/>
                  <a:moveTo>
                    <a:pt x="7545" y="15959"/>
                  </a:moveTo>
                  <a:cubicBezTo>
                    <a:pt x="7544" y="15990"/>
                    <a:pt x="7544" y="15990"/>
                    <a:pt x="7544" y="15990"/>
                  </a:cubicBezTo>
                  <a:cubicBezTo>
                    <a:pt x="7566" y="15939"/>
                    <a:pt x="7581" y="15907"/>
                    <a:pt x="7584" y="15899"/>
                  </a:cubicBezTo>
                  <a:cubicBezTo>
                    <a:pt x="7812" y="14505"/>
                    <a:pt x="7812" y="14505"/>
                    <a:pt x="7812" y="14505"/>
                  </a:cubicBezTo>
                  <a:cubicBezTo>
                    <a:pt x="7824" y="14507"/>
                    <a:pt x="7824" y="14507"/>
                    <a:pt x="7824" y="14507"/>
                  </a:cubicBezTo>
                  <a:cubicBezTo>
                    <a:pt x="7807" y="14495"/>
                    <a:pt x="7791" y="14484"/>
                    <a:pt x="7778" y="14474"/>
                  </a:cubicBezTo>
                  <a:cubicBezTo>
                    <a:pt x="7765" y="14465"/>
                    <a:pt x="7754" y="14457"/>
                    <a:pt x="7747" y="14451"/>
                  </a:cubicBezTo>
                  <a:cubicBezTo>
                    <a:pt x="7704" y="14498"/>
                    <a:pt x="7547" y="14653"/>
                    <a:pt x="7316" y="14657"/>
                  </a:cubicBezTo>
                  <a:cubicBezTo>
                    <a:pt x="7055" y="14661"/>
                    <a:pt x="6096" y="14661"/>
                    <a:pt x="6096" y="14661"/>
                  </a:cubicBezTo>
                  <a:cubicBezTo>
                    <a:pt x="6096" y="14625"/>
                    <a:pt x="6096" y="14625"/>
                    <a:pt x="6096" y="14625"/>
                  </a:cubicBezTo>
                  <a:cubicBezTo>
                    <a:pt x="6096" y="14625"/>
                    <a:pt x="6336" y="14625"/>
                    <a:pt x="6608" y="14624"/>
                  </a:cubicBezTo>
                  <a:cubicBezTo>
                    <a:pt x="6880" y="14624"/>
                    <a:pt x="7185" y="14623"/>
                    <a:pt x="7316" y="14621"/>
                  </a:cubicBezTo>
                  <a:cubicBezTo>
                    <a:pt x="7441" y="14619"/>
                    <a:pt x="7545" y="14568"/>
                    <a:pt x="7618" y="14516"/>
                  </a:cubicBezTo>
                  <a:cubicBezTo>
                    <a:pt x="7654" y="14491"/>
                    <a:pt x="7682" y="14465"/>
                    <a:pt x="7702" y="14446"/>
                  </a:cubicBezTo>
                  <a:cubicBezTo>
                    <a:pt x="7720" y="14428"/>
                    <a:pt x="7729" y="14416"/>
                    <a:pt x="7730" y="14416"/>
                  </a:cubicBezTo>
                  <a:cubicBezTo>
                    <a:pt x="7730" y="14415"/>
                    <a:pt x="7730" y="14415"/>
                    <a:pt x="7730" y="14415"/>
                  </a:cubicBezTo>
                  <a:cubicBezTo>
                    <a:pt x="7733" y="14403"/>
                    <a:pt x="7736" y="14365"/>
                    <a:pt x="7739" y="14317"/>
                  </a:cubicBezTo>
                  <a:cubicBezTo>
                    <a:pt x="7748" y="14165"/>
                    <a:pt x="7757" y="13897"/>
                    <a:pt x="7782" y="13774"/>
                  </a:cubicBezTo>
                  <a:cubicBezTo>
                    <a:pt x="7345" y="13792"/>
                    <a:pt x="7345" y="13792"/>
                    <a:pt x="7345" y="13792"/>
                  </a:cubicBezTo>
                  <a:cubicBezTo>
                    <a:pt x="7345" y="13792"/>
                    <a:pt x="7262" y="13795"/>
                    <a:pt x="7159" y="13802"/>
                  </a:cubicBezTo>
                  <a:cubicBezTo>
                    <a:pt x="7055" y="13809"/>
                    <a:pt x="6932" y="13820"/>
                    <a:pt x="6854" y="13836"/>
                  </a:cubicBezTo>
                  <a:cubicBezTo>
                    <a:pt x="6694" y="13869"/>
                    <a:pt x="6531" y="13889"/>
                    <a:pt x="6367" y="13906"/>
                  </a:cubicBezTo>
                  <a:cubicBezTo>
                    <a:pt x="6213" y="13921"/>
                    <a:pt x="5839" y="13922"/>
                    <a:pt x="5788" y="13922"/>
                  </a:cubicBezTo>
                  <a:cubicBezTo>
                    <a:pt x="5658" y="14016"/>
                    <a:pt x="5658" y="14016"/>
                    <a:pt x="5658" y="14016"/>
                  </a:cubicBezTo>
                  <a:cubicBezTo>
                    <a:pt x="5656" y="14024"/>
                    <a:pt x="5656" y="14024"/>
                    <a:pt x="5656" y="14024"/>
                  </a:cubicBezTo>
                  <a:cubicBezTo>
                    <a:pt x="5591" y="14193"/>
                    <a:pt x="5591" y="14193"/>
                    <a:pt x="5591" y="14193"/>
                  </a:cubicBezTo>
                  <a:cubicBezTo>
                    <a:pt x="6093" y="14634"/>
                    <a:pt x="6093" y="14634"/>
                    <a:pt x="6093" y="14634"/>
                  </a:cubicBezTo>
                  <a:cubicBezTo>
                    <a:pt x="6194" y="15919"/>
                    <a:pt x="6194" y="15919"/>
                    <a:pt x="6194" y="15919"/>
                  </a:cubicBezTo>
                  <a:lnTo>
                    <a:pt x="7545" y="15959"/>
                  </a:lnTo>
                  <a:close/>
                  <a:moveTo>
                    <a:pt x="6038" y="16676"/>
                  </a:moveTo>
                  <a:cubicBezTo>
                    <a:pt x="6044" y="16677"/>
                    <a:pt x="6052" y="16677"/>
                    <a:pt x="6061" y="16677"/>
                  </a:cubicBezTo>
                  <a:cubicBezTo>
                    <a:pt x="6104" y="16678"/>
                    <a:pt x="6175" y="16667"/>
                    <a:pt x="6219" y="16624"/>
                  </a:cubicBezTo>
                  <a:cubicBezTo>
                    <a:pt x="6247" y="16598"/>
                    <a:pt x="6263" y="16550"/>
                    <a:pt x="6266" y="16487"/>
                  </a:cubicBezTo>
                  <a:cubicBezTo>
                    <a:pt x="6273" y="16291"/>
                    <a:pt x="6274" y="16008"/>
                    <a:pt x="6274" y="15957"/>
                  </a:cubicBezTo>
                  <a:cubicBezTo>
                    <a:pt x="6183" y="15955"/>
                    <a:pt x="6183" y="15955"/>
                    <a:pt x="6183" y="15955"/>
                  </a:cubicBezTo>
                  <a:cubicBezTo>
                    <a:pt x="5949" y="16128"/>
                    <a:pt x="5949" y="16128"/>
                    <a:pt x="5949" y="16128"/>
                  </a:cubicBezTo>
                  <a:cubicBezTo>
                    <a:pt x="5962" y="16191"/>
                    <a:pt x="6026" y="16502"/>
                    <a:pt x="6038" y="16676"/>
                  </a:cubicBezTo>
                  <a:close/>
                  <a:moveTo>
                    <a:pt x="5923" y="16102"/>
                  </a:moveTo>
                  <a:cubicBezTo>
                    <a:pt x="6159" y="15928"/>
                    <a:pt x="6159" y="15928"/>
                    <a:pt x="6159" y="15928"/>
                  </a:cubicBezTo>
                  <a:cubicBezTo>
                    <a:pt x="6058" y="14652"/>
                    <a:pt x="6058" y="14652"/>
                    <a:pt x="6058" y="14652"/>
                  </a:cubicBezTo>
                  <a:cubicBezTo>
                    <a:pt x="5548" y="14203"/>
                    <a:pt x="5548" y="14203"/>
                    <a:pt x="5548" y="14203"/>
                  </a:cubicBezTo>
                  <a:cubicBezTo>
                    <a:pt x="5606" y="14053"/>
                    <a:pt x="5606" y="14053"/>
                    <a:pt x="5606" y="14053"/>
                  </a:cubicBezTo>
                  <a:cubicBezTo>
                    <a:pt x="5167" y="14370"/>
                    <a:pt x="5167" y="14370"/>
                    <a:pt x="5167" y="14370"/>
                  </a:cubicBezTo>
                  <a:cubicBezTo>
                    <a:pt x="4072" y="14994"/>
                    <a:pt x="4072" y="14994"/>
                    <a:pt x="4072" y="14994"/>
                  </a:cubicBezTo>
                  <a:cubicBezTo>
                    <a:pt x="4033" y="15015"/>
                    <a:pt x="4033" y="15015"/>
                    <a:pt x="4033" y="15015"/>
                  </a:cubicBezTo>
                  <a:cubicBezTo>
                    <a:pt x="4037" y="15018"/>
                    <a:pt x="4037" y="15018"/>
                    <a:pt x="4037" y="15018"/>
                  </a:cubicBezTo>
                  <a:cubicBezTo>
                    <a:pt x="4038" y="15021"/>
                    <a:pt x="4038" y="15021"/>
                    <a:pt x="4038" y="15021"/>
                  </a:cubicBezTo>
                  <a:cubicBezTo>
                    <a:pt x="4038" y="15021"/>
                    <a:pt x="4113" y="15144"/>
                    <a:pt x="4192" y="15279"/>
                  </a:cubicBezTo>
                  <a:cubicBezTo>
                    <a:pt x="4271" y="15414"/>
                    <a:pt x="4353" y="15559"/>
                    <a:pt x="4370" y="15612"/>
                  </a:cubicBezTo>
                  <a:cubicBezTo>
                    <a:pt x="4403" y="15709"/>
                    <a:pt x="4461" y="16027"/>
                    <a:pt x="4477" y="16114"/>
                  </a:cubicBezTo>
                  <a:lnTo>
                    <a:pt x="5923" y="16102"/>
                  </a:lnTo>
                  <a:close/>
                  <a:moveTo>
                    <a:pt x="2749" y="15694"/>
                  </a:moveTo>
                  <a:cubicBezTo>
                    <a:pt x="2819" y="15637"/>
                    <a:pt x="2889" y="15610"/>
                    <a:pt x="2901" y="15606"/>
                  </a:cubicBezTo>
                  <a:cubicBezTo>
                    <a:pt x="3979" y="15004"/>
                    <a:pt x="3979" y="15004"/>
                    <a:pt x="3979" y="15004"/>
                  </a:cubicBezTo>
                  <a:cubicBezTo>
                    <a:pt x="3909" y="14836"/>
                    <a:pt x="3909" y="14836"/>
                    <a:pt x="3909" y="14836"/>
                  </a:cubicBezTo>
                  <a:cubicBezTo>
                    <a:pt x="3882" y="14834"/>
                    <a:pt x="3806" y="14831"/>
                    <a:pt x="3716" y="14831"/>
                  </a:cubicBezTo>
                  <a:cubicBezTo>
                    <a:pt x="3607" y="14831"/>
                    <a:pt x="3478" y="14836"/>
                    <a:pt x="3404" y="14856"/>
                  </a:cubicBezTo>
                  <a:cubicBezTo>
                    <a:pt x="3403" y="14856"/>
                    <a:pt x="3403" y="14856"/>
                    <a:pt x="3403" y="14856"/>
                  </a:cubicBezTo>
                  <a:cubicBezTo>
                    <a:pt x="3401" y="14856"/>
                    <a:pt x="3401" y="14856"/>
                    <a:pt x="3401" y="14856"/>
                  </a:cubicBezTo>
                  <a:cubicBezTo>
                    <a:pt x="3401" y="14856"/>
                    <a:pt x="3394" y="14857"/>
                    <a:pt x="3379" y="14859"/>
                  </a:cubicBezTo>
                  <a:cubicBezTo>
                    <a:pt x="3336" y="14868"/>
                    <a:pt x="3236" y="14895"/>
                    <a:pt x="3135" y="14985"/>
                  </a:cubicBezTo>
                  <a:cubicBezTo>
                    <a:pt x="3079" y="15035"/>
                    <a:pt x="2984" y="15102"/>
                    <a:pt x="2893" y="15182"/>
                  </a:cubicBezTo>
                  <a:cubicBezTo>
                    <a:pt x="2751" y="15306"/>
                    <a:pt x="2611" y="15445"/>
                    <a:pt x="2589" y="15466"/>
                  </a:cubicBezTo>
                  <a:cubicBezTo>
                    <a:pt x="2587" y="15467"/>
                    <a:pt x="2587" y="15467"/>
                    <a:pt x="2587" y="15467"/>
                  </a:cubicBezTo>
                  <a:cubicBezTo>
                    <a:pt x="2586" y="15468"/>
                    <a:pt x="2586" y="15468"/>
                    <a:pt x="2586" y="15468"/>
                  </a:cubicBezTo>
                  <a:cubicBezTo>
                    <a:pt x="2585" y="15469"/>
                    <a:pt x="2441" y="15552"/>
                    <a:pt x="2306" y="15581"/>
                  </a:cubicBezTo>
                  <a:cubicBezTo>
                    <a:pt x="2242" y="15595"/>
                    <a:pt x="2202" y="15604"/>
                    <a:pt x="2178" y="15611"/>
                  </a:cubicBezTo>
                  <a:cubicBezTo>
                    <a:pt x="2312" y="15719"/>
                    <a:pt x="2368" y="15832"/>
                    <a:pt x="2383" y="15867"/>
                  </a:cubicBezTo>
                  <a:cubicBezTo>
                    <a:pt x="2608" y="15899"/>
                    <a:pt x="2608" y="15899"/>
                    <a:pt x="2608" y="15899"/>
                  </a:cubicBezTo>
                  <a:cubicBezTo>
                    <a:pt x="2635" y="15808"/>
                    <a:pt x="2692" y="15740"/>
                    <a:pt x="2749" y="15694"/>
                  </a:cubicBezTo>
                  <a:close/>
                  <a:moveTo>
                    <a:pt x="4011" y="14986"/>
                  </a:moveTo>
                  <a:cubicBezTo>
                    <a:pt x="4054" y="14962"/>
                    <a:pt x="4054" y="14962"/>
                    <a:pt x="4054" y="14962"/>
                  </a:cubicBezTo>
                  <a:cubicBezTo>
                    <a:pt x="5120" y="14355"/>
                    <a:pt x="5120" y="14355"/>
                    <a:pt x="5120" y="14355"/>
                  </a:cubicBezTo>
                  <a:cubicBezTo>
                    <a:pt x="5119" y="14353"/>
                    <a:pt x="5119" y="14351"/>
                    <a:pt x="5119" y="14348"/>
                  </a:cubicBezTo>
                  <a:cubicBezTo>
                    <a:pt x="5115" y="14338"/>
                    <a:pt x="5111" y="14326"/>
                    <a:pt x="5104" y="14311"/>
                  </a:cubicBezTo>
                  <a:cubicBezTo>
                    <a:pt x="5089" y="14275"/>
                    <a:pt x="5066" y="14226"/>
                    <a:pt x="5035" y="14173"/>
                  </a:cubicBezTo>
                  <a:cubicBezTo>
                    <a:pt x="5000" y="14114"/>
                    <a:pt x="4979" y="14060"/>
                    <a:pt x="4966" y="14022"/>
                  </a:cubicBezTo>
                  <a:cubicBezTo>
                    <a:pt x="4965" y="14020"/>
                    <a:pt x="4965" y="14020"/>
                    <a:pt x="4965" y="14020"/>
                  </a:cubicBezTo>
                  <a:cubicBezTo>
                    <a:pt x="4965" y="14020"/>
                    <a:pt x="4964" y="14016"/>
                    <a:pt x="4963" y="14011"/>
                  </a:cubicBezTo>
                  <a:cubicBezTo>
                    <a:pt x="4955" y="13987"/>
                    <a:pt x="4952" y="13972"/>
                    <a:pt x="4952" y="13971"/>
                  </a:cubicBezTo>
                  <a:cubicBezTo>
                    <a:pt x="4955" y="13971"/>
                    <a:pt x="4955" y="13971"/>
                    <a:pt x="4955" y="13971"/>
                  </a:cubicBezTo>
                  <a:cubicBezTo>
                    <a:pt x="4954" y="13969"/>
                    <a:pt x="4954" y="13968"/>
                    <a:pt x="4954" y="13966"/>
                  </a:cubicBezTo>
                  <a:cubicBezTo>
                    <a:pt x="4952" y="13944"/>
                    <a:pt x="4953" y="13929"/>
                    <a:pt x="4953" y="13908"/>
                  </a:cubicBezTo>
                  <a:cubicBezTo>
                    <a:pt x="4953" y="13886"/>
                    <a:pt x="4954" y="13867"/>
                    <a:pt x="4955" y="13857"/>
                  </a:cubicBezTo>
                  <a:cubicBezTo>
                    <a:pt x="4963" y="13766"/>
                    <a:pt x="4979" y="13649"/>
                    <a:pt x="4985" y="13614"/>
                  </a:cubicBezTo>
                  <a:cubicBezTo>
                    <a:pt x="4989" y="13582"/>
                    <a:pt x="5000" y="13509"/>
                    <a:pt x="5007" y="13444"/>
                  </a:cubicBezTo>
                  <a:cubicBezTo>
                    <a:pt x="5011" y="13410"/>
                    <a:pt x="5014" y="13377"/>
                    <a:pt x="5015" y="13357"/>
                  </a:cubicBezTo>
                  <a:cubicBezTo>
                    <a:pt x="5013" y="13357"/>
                    <a:pt x="5013" y="13357"/>
                    <a:pt x="5013" y="13357"/>
                  </a:cubicBezTo>
                  <a:cubicBezTo>
                    <a:pt x="5015" y="13357"/>
                    <a:pt x="5015" y="13357"/>
                    <a:pt x="5015" y="13357"/>
                  </a:cubicBezTo>
                  <a:cubicBezTo>
                    <a:pt x="5015" y="13353"/>
                    <a:pt x="5016" y="13350"/>
                    <a:pt x="5016" y="13347"/>
                  </a:cubicBezTo>
                  <a:cubicBezTo>
                    <a:pt x="5016" y="13339"/>
                    <a:pt x="5016" y="13328"/>
                    <a:pt x="5016" y="13312"/>
                  </a:cubicBezTo>
                  <a:cubicBezTo>
                    <a:pt x="5016" y="13219"/>
                    <a:pt x="5001" y="13003"/>
                    <a:pt x="4848" y="12841"/>
                  </a:cubicBezTo>
                  <a:cubicBezTo>
                    <a:pt x="4841" y="12836"/>
                    <a:pt x="4841" y="12836"/>
                    <a:pt x="4841" y="12836"/>
                  </a:cubicBezTo>
                  <a:cubicBezTo>
                    <a:pt x="4814" y="12873"/>
                    <a:pt x="4780" y="12922"/>
                    <a:pt x="4752" y="12966"/>
                  </a:cubicBezTo>
                  <a:cubicBezTo>
                    <a:pt x="4732" y="12996"/>
                    <a:pt x="4715" y="13023"/>
                    <a:pt x="4703" y="13042"/>
                  </a:cubicBezTo>
                  <a:cubicBezTo>
                    <a:pt x="4703" y="13042"/>
                    <a:pt x="4703" y="13042"/>
                    <a:pt x="4703" y="13042"/>
                  </a:cubicBezTo>
                  <a:cubicBezTo>
                    <a:pt x="4703" y="13042"/>
                    <a:pt x="4703" y="13042"/>
                    <a:pt x="4703" y="13042"/>
                  </a:cubicBezTo>
                  <a:cubicBezTo>
                    <a:pt x="4702" y="13043"/>
                    <a:pt x="4702" y="13044"/>
                    <a:pt x="4701" y="13045"/>
                  </a:cubicBezTo>
                  <a:cubicBezTo>
                    <a:pt x="4701" y="13046"/>
                    <a:pt x="4700" y="13048"/>
                    <a:pt x="4699" y="13050"/>
                  </a:cubicBezTo>
                  <a:cubicBezTo>
                    <a:pt x="4690" y="13071"/>
                    <a:pt x="4667" y="13129"/>
                    <a:pt x="4643" y="13190"/>
                  </a:cubicBezTo>
                  <a:cubicBezTo>
                    <a:pt x="4613" y="13267"/>
                    <a:pt x="4581" y="13353"/>
                    <a:pt x="4578" y="13373"/>
                  </a:cubicBezTo>
                  <a:cubicBezTo>
                    <a:pt x="4568" y="13422"/>
                    <a:pt x="4549" y="13534"/>
                    <a:pt x="4544" y="13582"/>
                  </a:cubicBezTo>
                  <a:cubicBezTo>
                    <a:pt x="4538" y="13633"/>
                    <a:pt x="4484" y="14005"/>
                    <a:pt x="4471" y="14058"/>
                  </a:cubicBezTo>
                  <a:cubicBezTo>
                    <a:pt x="4458" y="14110"/>
                    <a:pt x="4444" y="14151"/>
                    <a:pt x="4415" y="14194"/>
                  </a:cubicBezTo>
                  <a:cubicBezTo>
                    <a:pt x="4396" y="14222"/>
                    <a:pt x="4367" y="14262"/>
                    <a:pt x="4349" y="14286"/>
                  </a:cubicBezTo>
                  <a:cubicBezTo>
                    <a:pt x="4349" y="14287"/>
                    <a:pt x="4349" y="14287"/>
                    <a:pt x="4349" y="14287"/>
                  </a:cubicBezTo>
                  <a:cubicBezTo>
                    <a:pt x="3942" y="14821"/>
                    <a:pt x="3942" y="14821"/>
                    <a:pt x="3942" y="14821"/>
                  </a:cubicBezTo>
                  <a:lnTo>
                    <a:pt x="4011" y="14986"/>
                  </a:lnTo>
                  <a:close/>
                  <a:moveTo>
                    <a:pt x="2709" y="13702"/>
                  </a:moveTo>
                  <a:cubicBezTo>
                    <a:pt x="2709" y="13702"/>
                    <a:pt x="2709" y="13702"/>
                    <a:pt x="2709" y="13702"/>
                  </a:cubicBezTo>
                  <a:cubicBezTo>
                    <a:pt x="2710" y="13697"/>
                    <a:pt x="2711" y="13691"/>
                    <a:pt x="2713" y="13684"/>
                  </a:cubicBezTo>
                  <a:cubicBezTo>
                    <a:pt x="2713" y="13681"/>
                    <a:pt x="2713" y="13679"/>
                    <a:pt x="2713" y="13679"/>
                  </a:cubicBezTo>
                  <a:cubicBezTo>
                    <a:pt x="2714" y="13679"/>
                    <a:pt x="2714" y="13679"/>
                    <a:pt x="2714" y="13679"/>
                  </a:cubicBezTo>
                  <a:cubicBezTo>
                    <a:pt x="2728" y="13611"/>
                    <a:pt x="2759" y="13488"/>
                    <a:pt x="2811" y="13405"/>
                  </a:cubicBezTo>
                  <a:cubicBezTo>
                    <a:pt x="2842" y="13357"/>
                    <a:pt x="2894" y="13339"/>
                    <a:pt x="2956" y="13317"/>
                  </a:cubicBezTo>
                  <a:cubicBezTo>
                    <a:pt x="3066" y="13279"/>
                    <a:pt x="3268" y="13263"/>
                    <a:pt x="3357" y="13230"/>
                  </a:cubicBezTo>
                  <a:cubicBezTo>
                    <a:pt x="3363" y="13227"/>
                    <a:pt x="3411" y="13203"/>
                    <a:pt x="3465" y="13165"/>
                  </a:cubicBezTo>
                  <a:cubicBezTo>
                    <a:pt x="3523" y="13124"/>
                    <a:pt x="3585" y="13066"/>
                    <a:pt x="3606" y="13005"/>
                  </a:cubicBezTo>
                  <a:cubicBezTo>
                    <a:pt x="3619" y="12968"/>
                    <a:pt x="3625" y="12936"/>
                    <a:pt x="3625" y="12907"/>
                  </a:cubicBezTo>
                  <a:cubicBezTo>
                    <a:pt x="3625" y="12838"/>
                    <a:pt x="3592" y="12788"/>
                    <a:pt x="3539" y="12737"/>
                  </a:cubicBezTo>
                  <a:cubicBezTo>
                    <a:pt x="3466" y="12665"/>
                    <a:pt x="3290" y="12542"/>
                    <a:pt x="3145" y="12499"/>
                  </a:cubicBezTo>
                  <a:cubicBezTo>
                    <a:pt x="2995" y="12454"/>
                    <a:pt x="2865" y="12410"/>
                    <a:pt x="2625" y="12386"/>
                  </a:cubicBezTo>
                  <a:cubicBezTo>
                    <a:pt x="2438" y="12368"/>
                    <a:pt x="2337" y="12356"/>
                    <a:pt x="2300" y="12352"/>
                  </a:cubicBezTo>
                  <a:cubicBezTo>
                    <a:pt x="2246" y="12347"/>
                    <a:pt x="2071" y="12330"/>
                    <a:pt x="1984" y="12323"/>
                  </a:cubicBezTo>
                  <a:cubicBezTo>
                    <a:pt x="1941" y="12374"/>
                    <a:pt x="1890" y="12441"/>
                    <a:pt x="1833" y="12509"/>
                  </a:cubicBezTo>
                  <a:cubicBezTo>
                    <a:pt x="1721" y="12644"/>
                    <a:pt x="1601" y="12784"/>
                    <a:pt x="1562" y="12830"/>
                  </a:cubicBezTo>
                  <a:cubicBezTo>
                    <a:pt x="1595" y="12847"/>
                    <a:pt x="1595" y="12847"/>
                    <a:pt x="1595" y="12847"/>
                  </a:cubicBezTo>
                  <a:cubicBezTo>
                    <a:pt x="1662" y="13323"/>
                    <a:pt x="1662" y="13323"/>
                    <a:pt x="1662" y="13323"/>
                  </a:cubicBezTo>
                  <a:cubicBezTo>
                    <a:pt x="1908" y="13411"/>
                    <a:pt x="1908" y="13411"/>
                    <a:pt x="1908" y="13411"/>
                  </a:cubicBezTo>
                  <a:cubicBezTo>
                    <a:pt x="1908" y="13411"/>
                    <a:pt x="1908" y="13411"/>
                    <a:pt x="1908" y="13411"/>
                  </a:cubicBezTo>
                  <a:lnTo>
                    <a:pt x="2709" y="13702"/>
                  </a:lnTo>
                  <a:close/>
                  <a:moveTo>
                    <a:pt x="1503" y="13521"/>
                  </a:moveTo>
                  <a:cubicBezTo>
                    <a:pt x="1503" y="13521"/>
                    <a:pt x="1534" y="13473"/>
                    <a:pt x="1565" y="13425"/>
                  </a:cubicBezTo>
                  <a:cubicBezTo>
                    <a:pt x="1581" y="13400"/>
                    <a:pt x="1597" y="13376"/>
                    <a:pt x="1609" y="13358"/>
                  </a:cubicBezTo>
                  <a:cubicBezTo>
                    <a:pt x="1615" y="13348"/>
                    <a:pt x="1620" y="13341"/>
                    <a:pt x="1623" y="13335"/>
                  </a:cubicBezTo>
                  <a:cubicBezTo>
                    <a:pt x="1624" y="13334"/>
                    <a:pt x="1625" y="13333"/>
                    <a:pt x="1625" y="13332"/>
                  </a:cubicBezTo>
                  <a:cubicBezTo>
                    <a:pt x="1561" y="12872"/>
                    <a:pt x="1561" y="12872"/>
                    <a:pt x="1561" y="12872"/>
                  </a:cubicBezTo>
                  <a:cubicBezTo>
                    <a:pt x="1329" y="12758"/>
                    <a:pt x="1329" y="12758"/>
                    <a:pt x="1329" y="12758"/>
                  </a:cubicBezTo>
                  <a:cubicBezTo>
                    <a:pt x="1307" y="12763"/>
                    <a:pt x="1230" y="12780"/>
                    <a:pt x="1153" y="12797"/>
                  </a:cubicBezTo>
                  <a:cubicBezTo>
                    <a:pt x="1107" y="12807"/>
                    <a:pt x="1061" y="12817"/>
                    <a:pt x="1027" y="12825"/>
                  </a:cubicBezTo>
                  <a:cubicBezTo>
                    <a:pt x="1010" y="12829"/>
                    <a:pt x="995" y="12832"/>
                    <a:pt x="985" y="12835"/>
                  </a:cubicBezTo>
                  <a:cubicBezTo>
                    <a:pt x="980" y="12836"/>
                    <a:pt x="969" y="12839"/>
                    <a:pt x="969" y="12839"/>
                  </a:cubicBezTo>
                  <a:cubicBezTo>
                    <a:pt x="969" y="12838"/>
                    <a:pt x="969" y="12838"/>
                    <a:pt x="969" y="12838"/>
                  </a:cubicBezTo>
                  <a:cubicBezTo>
                    <a:pt x="931" y="12846"/>
                    <a:pt x="815" y="12870"/>
                    <a:pt x="815" y="12870"/>
                  </a:cubicBezTo>
                  <a:cubicBezTo>
                    <a:pt x="772" y="12880"/>
                    <a:pt x="733" y="12887"/>
                    <a:pt x="702" y="12894"/>
                  </a:cubicBezTo>
                  <a:cubicBezTo>
                    <a:pt x="686" y="12898"/>
                    <a:pt x="673" y="12901"/>
                    <a:pt x="664" y="12903"/>
                  </a:cubicBezTo>
                  <a:cubicBezTo>
                    <a:pt x="668" y="12922"/>
                    <a:pt x="670" y="12940"/>
                    <a:pt x="671" y="12956"/>
                  </a:cubicBezTo>
                  <a:cubicBezTo>
                    <a:pt x="671" y="12963"/>
                    <a:pt x="671" y="12973"/>
                    <a:pt x="671" y="12986"/>
                  </a:cubicBezTo>
                  <a:cubicBezTo>
                    <a:pt x="671" y="13035"/>
                    <a:pt x="669" y="13125"/>
                    <a:pt x="664" y="13208"/>
                  </a:cubicBezTo>
                  <a:cubicBezTo>
                    <a:pt x="1024" y="13204"/>
                    <a:pt x="1024" y="13204"/>
                    <a:pt x="1024" y="13204"/>
                  </a:cubicBezTo>
                  <a:cubicBezTo>
                    <a:pt x="1126" y="13298"/>
                    <a:pt x="1126" y="13298"/>
                    <a:pt x="1126" y="13298"/>
                  </a:cubicBezTo>
                  <a:cubicBezTo>
                    <a:pt x="1456" y="13587"/>
                    <a:pt x="1456" y="13587"/>
                    <a:pt x="1456" y="13587"/>
                  </a:cubicBezTo>
                  <a:lnTo>
                    <a:pt x="1503" y="13521"/>
                  </a:lnTo>
                  <a:close/>
                  <a:moveTo>
                    <a:pt x="4305" y="14281"/>
                  </a:moveTo>
                  <a:cubicBezTo>
                    <a:pt x="4312" y="14272"/>
                    <a:pt x="4359" y="14210"/>
                    <a:pt x="4384" y="14173"/>
                  </a:cubicBezTo>
                  <a:cubicBezTo>
                    <a:pt x="4409" y="14134"/>
                    <a:pt x="4422" y="14099"/>
                    <a:pt x="4434" y="14050"/>
                  </a:cubicBezTo>
                  <a:cubicBezTo>
                    <a:pt x="4446" y="14002"/>
                    <a:pt x="4501" y="13625"/>
                    <a:pt x="4506" y="13578"/>
                  </a:cubicBezTo>
                  <a:cubicBezTo>
                    <a:pt x="4512" y="13527"/>
                    <a:pt x="4531" y="13416"/>
                    <a:pt x="4541" y="13366"/>
                  </a:cubicBezTo>
                  <a:cubicBezTo>
                    <a:pt x="4546" y="13337"/>
                    <a:pt x="4578" y="13255"/>
                    <a:pt x="4608" y="13177"/>
                  </a:cubicBezTo>
                  <a:cubicBezTo>
                    <a:pt x="4623" y="13137"/>
                    <a:pt x="4653" y="13062"/>
                    <a:pt x="4653" y="13062"/>
                  </a:cubicBezTo>
                  <a:cubicBezTo>
                    <a:pt x="4653" y="13062"/>
                    <a:pt x="4653" y="13062"/>
                    <a:pt x="4653" y="13062"/>
                  </a:cubicBezTo>
                  <a:cubicBezTo>
                    <a:pt x="4653" y="13062"/>
                    <a:pt x="4654" y="13061"/>
                    <a:pt x="4650" y="13059"/>
                  </a:cubicBezTo>
                  <a:cubicBezTo>
                    <a:pt x="4646" y="13057"/>
                    <a:pt x="4637" y="13054"/>
                    <a:pt x="4637" y="13054"/>
                  </a:cubicBezTo>
                  <a:cubicBezTo>
                    <a:pt x="4637" y="13054"/>
                    <a:pt x="4637" y="13054"/>
                    <a:pt x="4637" y="13054"/>
                  </a:cubicBezTo>
                  <a:cubicBezTo>
                    <a:pt x="4291" y="12955"/>
                    <a:pt x="4291" y="12955"/>
                    <a:pt x="4291" y="12955"/>
                  </a:cubicBezTo>
                  <a:cubicBezTo>
                    <a:pt x="4286" y="12953"/>
                    <a:pt x="4286" y="12953"/>
                    <a:pt x="4286" y="12953"/>
                  </a:cubicBezTo>
                  <a:cubicBezTo>
                    <a:pt x="4286" y="12953"/>
                    <a:pt x="4281" y="12953"/>
                    <a:pt x="4281" y="12945"/>
                  </a:cubicBezTo>
                  <a:cubicBezTo>
                    <a:pt x="4281" y="12944"/>
                    <a:pt x="4282" y="12943"/>
                    <a:pt x="4282" y="12942"/>
                  </a:cubicBezTo>
                  <a:cubicBezTo>
                    <a:pt x="4281" y="12942"/>
                    <a:pt x="4281" y="12942"/>
                    <a:pt x="4281" y="12942"/>
                  </a:cubicBezTo>
                  <a:cubicBezTo>
                    <a:pt x="4283" y="12938"/>
                    <a:pt x="4284" y="12933"/>
                    <a:pt x="4284" y="12928"/>
                  </a:cubicBezTo>
                  <a:cubicBezTo>
                    <a:pt x="4284" y="12910"/>
                    <a:pt x="4271" y="12884"/>
                    <a:pt x="4258" y="12864"/>
                  </a:cubicBezTo>
                  <a:cubicBezTo>
                    <a:pt x="4251" y="12854"/>
                    <a:pt x="4244" y="12845"/>
                    <a:pt x="4239" y="12839"/>
                  </a:cubicBezTo>
                  <a:cubicBezTo>
                    <a:pt x="4236" y="12836"/>
                    <a:pt x="4234" y="12833"/>
                    <a:pt x="4232" y="12831"/>
                  </a:cubicBezTo>
                  <a:cubicBezTo>
                    <a:pt x="4232" y="12830"/>
                    <a:pt x="4231" y="12829"/>
                    <a:pt x="4230" y="12829"/>
                  </a:cubicBezTo>
                  <a:cubicBezTo>
                    <a:pt x="4230" y="12828"/>
                    <a:pt x="4230" y="12828"/>
                    <a:pt x="4230" y="12828"/>
                  </a:cubicBezTo>
                  <a:cubicBezTo>
                    <a:pt x="4230" y="12828"/>
                    <a:pt x="4230" y="12828"/>
                    <a:pt x="4230" y="12828"/>
                  </a:cubicBezTo>
                  <a:cubicBezTo>
                    <a:pt x="4222" y="12821"/>
                    <a:pt x="4191" y="12797"/>
                    <a:pt x="4153" y="12762"/>
                  </a:cubicBezTo>
                  <a:cubicBezTo>
                    <a:pt x="4083" y="12700"/>
                    <a:pt x="3988" y="12613"/>
                    <a:pt x="3965" y="12592"/>
                  </a:cubicBezTo>
                  <a:cubicBezTo>
                    <a:pt x="3951" y="12618"/>
                    <a:pt x="3930" y="12647"/>
                    <a:pt x="3892" y="12680"/>
                  </a:cubicBezTo>
                  <a:cubicBezTo>
                    <a:pt x="3823" y="12739"/>
                    <a:pt x="3651" y="12782"/>
                    <a:pt x="3617" y="12790"/>
                  </a:cubicBezTo>
                  <a:cubicBezTo>
                    <a:pt x="3638" y="12824"/>
                    <a:pt x="3651" y="12862"/>
                    <a:pt x="3651" y="12907"/>
                  </a:cubicBezTo>
                  <a:cubicBezTo>
                    <a:pt x="3651" y="12939"/>
                    <a:pt x="3645" y="12975"/>
                    <a:pt x="3631" y="13014"/>
                  </a:cubicBezTo>
                  <a:cubicBezTo>
                    <a:pt x="3580" y="13154"/>
                    <a:pt x="3369" y="13253"/>
                    <a:pt x="3368" y="13254"/>
                  </a:cubicBezTo>
                  <a:cubicBezTo>
                    <a:pt x="3367" y="13254"/>
                    <a:pt x="3367" y="13254"/>
                    <a:pt x="3367" y="13254"/>
                  </a:cubicBezTo>
                  <a:cubicBezTo>
                    <a:pt x="3367" y="13254"/>
                    <a:pt x="3367" y="13254"/>
                    <a:pt x="3367" y="13254"/>
                  </a:cubicBezTo>
                  <a:cubicBezTo>
                    <a:pt x="3271" y="13290"/>
                    <a:pt x="3069" y="13305"/>
                    <a:pt x="2965" y="13342"/>
                  </a:cubicBezTo>
                  <a:cubicBezTo>
                    <a:pt x="2902" y="13364"/>
                    <a:pt x="2857" y="13381"/>
                    <a:pt x="2834" y="13419"/>
                  </a:cubicBezTo>
                  <a:cubicBezTo>
                    <a:pt x="2798" y="13475"/>
                    <a:pt x="2772" y="13553"/>
                    <a:pt x="2755" y="13618"/>
                  </a:cubicBezTo>
                  <a:cubicBezTo>
                    <a:pt x="2747" y="13649"/>
                    <a:pt x="2741" y="13677"/>
                    <a:pt x="2737" y="13698"/>
                  </a:cubicBezTo>
                  <a:cubicBezTo>
                    <a:pt x="2737" y="13702"/>
                    <a:pt x="2738" y="13708"/>
                    <a:pt x="2739" y="13713"/>
                  </a:cubicBezTo>
                  <a:lnTo>
                    <a:pt x="4305" y="14281"/>
                  </a:lnTo>
                  <a:close/>
                  <a:moveTo>
                    <a:pt x="2509" y="11727"/>
                  </a:moveTo>
                  <a:cubicBezTo>
                    <a:pt x="2681" y="11678"/>
                    <a:pt x="2681" y="11678"/>
                    <a:pt x="2681" y="11678"/>
                  </a:cubicBezTo>
                  <a:cubicBezTo>
                    <a:pt x="2777" y="11584"/>
                    <a:pt x="2777" y="11584"/>
                    <a:pt x="2777" y="11584"/>
                  </a:cubicBezTo>
                  <a:cubicBezTo>
                    <a:pt x="2847" y="11400"/>
                    <a:pt x="2847" y="11400"/>
                    <a:pt x="2847" y="11400"/>
                  </a:cubicBezTo>
                  <a:cubicBezTo>
                    <a:pt x="2877" y="11260"/>
                    <a:pt x="2877" y="11260"/>
                    <a:pt x="2877" y="11260"/>
                  </a:cubicBezTo>
                  <a:cubicBezTo>
                    <a:pt x="2877" y="11250"/>
                    <a:pt x="2879" y="11179"/>
                    <a:pt x="2879" y="11146"/>
                  </a:cubicBezTo>
                  <a:cubicBezTo>
                    <a:pt x="2879" y="11141"/>
                    <a:pt x="2879" y="11136"/>
                    <a:pt x="2879" y="11133"/>
                  </a:cubicBezTo>
                  <a:cubicBezTo>
                    <a:pt x="2879" y="11133"/>
                    <a:pt x="2878" y="11133"/>
                    <a:pt x="2876" y="11131"/>
                  </a:cubicBezTo>
                  <a:cubicBezTo>
                    <a:pt x="2872" y="11129"/>
                    <a:pt x="2864" y="11124"/>
                    <a:pt x="2847" y="11119"/>
                  </a:cubicBezTo>
                  <a:cubicBezTo>
                    <a:pt x="2828" y="11113"/>
                    <a:pt x="2784" y="11100"/>
                    <a:pt x="2745" y="11088"/>
                  </a:cubicBezTo>
                  <a:cubicBezTo>
                    <a:pt x="2725" y="11082"/>
                    <a:pt x="2707" y="11076"/>
                    <a:pt x="2693" y="11072"/>
                  </a:cubicBezTo>
                  <a:cubicBezTo>
                    <a:pt x="2690" y="11072"/>
                    <a:pt x="2688" y="11071"/>
                    <a:pt x="2686" y="11071"/>
                  </a:cubicBezTo>
                  <a:cubicBezTo>
                    <a:pt x="2644" y="11126"/>
                    <a:pt x="2609" y="11175"/>
                    <a:pt x="2577" y="11227"/>
                  </a:cubicBezTo>
                  <a:cubicBezTo>
                    <a:pt x="2546" y="11275"/>
                    <a:pt x="2517" y="11323"/>
                    <a:pt x="2482" y="11389"/>
                  </a:cubicBezTo>
                  <a:cubicBezTo>
                    <a:pt x="2418" y="11512"/>
                    <a:pt x="2360" y="11642"/>
                    <a:pt x="2322" y="11740"/>
                  </a:cubicBezTo>
                  <a:cubicBezTo>
                    <a:pt x="2322" y="11740"/>
                    <a:pt x="2330" y="11741"/>
                    <a:pt x="2335" y="11741"/>
                  </a:cubicBezTo>
                  <a:lnTo>
                    <a:pt x="2509" y="11727"/>
                  </a:lnTo>
                  <a:close/>
                  <a:moveTo>
                    <a:pt x="2801" y="11590"/>
                  </a:moveTo>
                  <a:cubicBezTo>
                    <a:pt x="2899" y="11701"/>
                    <a:pt x="2899" y="11701"/>
                    <a:pt x="2899" y="11701"/>
                  </a:cubicBezTo>
                  <a:cubicBezTo>
                    <a:pt x="3242" y="11820"/>
                    <a:pt x="3242" y="11820"/>
                    <a:pt x="3242" y="11820"/>
                  </a:cubicBezTo>
                  <a:cubicBezTo>
                    <a:pt x="3391" y="11896"/>
                    <a:pt x="3391" y="11896"/>
                    <a:pt x="3391" y="11896"/>
                  </a:cubicBezTo>
                  <a:cubicBezTo>
                    <a:pt x="3611" y="12176"/>
                    <a:pt x="3611" y="12176"/>
                    <a:pt x="3611" y="12176"/>
                  </a:cubicBezTo>
                  <a:cubicBezTo>
                    <a:pt x="3811" y="12378"/>
                    <a:pt x="3811" y="12378"/>
                    <a:pt x="3811" y="12378"/>
                  </a:cubicBezTo>
                  <a:cubicBezTo>
                    <a:pt x="3892" y="12646"/>
                    <a:pt x="3892" y="12646"/>
                    <a:pt x="3892" y="12646"/>
                  </a:cubicBezTo>
                  <a:cubicBezTo>
                    <a:pt x="3945" y="12595"/>
                    <a:pt x="3953" y="12558"/>
                    <a:pt x="3966" y="12522"/>
                  </a:cubicBezTo>
                  <a:cubicBezTo>
                    <a:pt x="3980" y="12486"/>
                    <a:pt x="4011" y="12370"/>
                    <a:pt x="4022" y="12338"/>
                  </a:cubicBezTo>
                  <a:cubicBezTo>
                    <a:pt x="4028" y="12320"/>
                    <a:pt x="4035" y="12294"/>
                    <a:pt x="4047" y="12266"/>
                  </a:cubicBezTo>
                  <a:cubicBezTo>
                    <a:pt x="4042" y="12261"/>
                    <a:pt x="4033" y="12254"/>
                    <a:pt x="4021" y="12244"/>
                  </a:cubicBezTo>
                  <a:cubicBezTo>
                    <a:pt x="3971" y="12201"/>
                    <a:pt x="3877" y="12119"/>
                    <a:pt x="3877" y="12119"/>
                  </a:cubicBezTo>
                  <a:cubicBezTo>
                    <a:pt x="3876" y="12117"/>
                    <a:pt x="3876" y="12117"/>
                    <a:pt x="3876" y="12117"/>
                  </a:cubicBezTo>
                  <a:cubicBezTo>
                    <a:pt x="3737" y="11825"/>
                    <a:pt x="3737" y="11825"/>
                    <a:pt x="3737" y="11825"/>
                  </a:cubicBezTo>
                  <a:cubicBezTo>
                    <a:pt x="3726" y="11817"/>
                    <a:pt x="3686" y="11788"/>
                    <a:pt x="3645" y="11758"/>
                  </a:cubicBezTo>
                  <a:cubicBezTo>
                    <a:pt x="3622" y="11741"/>
                    <a:pt x="3598" y="11723"/>
                    <a:pt x="3580" y="11711"/>
                  </a:cubicBezTo>
                  <a:cubicBezTo>
                    <a:pt x="3571" y="11704"/>
                    <a:pt x="3564" y="11699"/>
                    <a:pt x="3558" y="11695"/>
                  </a:cubicBezTo>
                  <a:cubicBezTo>
                    <a:pt x="3556" y="11693"/>
                    <a:pt x="3554" y="11692"/>
                    <a:pt x="3552" y="11691"/>
                  </a:cubicBezTo>
                  <a:cubicBezTo>
                    <a:pt x="3552" y="11691"/>
                    <a:pt x="3552" y="11690"/>
                    <a:pt x="3551" y="11690"/>
                  </a:cubicBezTo>
                  <a:cubicBezTo>
                    <a:pt x="3549" y="11689"/>
                    <a:pt x="3549" y="11688"/>
                    <a:pt x="3548" y="11688"/>
                  </a:cubicBezTo>
                  <a:cubicBezTo>
                    <a:pt x="3546" y="11685"/>
                    <a:pt x="3546" y="11685"/>
                    <a:pt x="3545" y="11684"/>
                  </a:cubicBezTo>
                  <a:cubicBezTo>
                    <a:pt x="3536" y="11668"/>
                    <a:pt x="3462" y="11502"/>
                    <a:pt x="3450" y="11475"/>
                  </a:cubicBezTo>
                  <a:cubicBezTo>
                    <a:pt x="3152" y="11316"/>
                    <a:pt x="3152" y="11316"/>
                    <a:pt x="3152" y="11316"/>
                  </a:cubicBezTo>
                  <a:cubicBezTo>
                    <a:pt x="3164" y="11294"/>
                    <a:pt x="3164" y="11294"/>
                    <a:pt x="3164" y="11294"/>
                  </a:cubicBezTo>
                  <a:cubicBezTo>
                    <a:pt x="3469" y="11457"/>
                    <a:pt x="3469" y="11457"/>
                    <a:pt x="3469" y="11457"/>
                  </a:cubicBezTo>
                  <a:cubicBezTo>
                    <a:pt x="3470" y="11461"/>
                    <a:pt x="3470" y="11461"/>
                    <a:pt x="3470" y="11461"/>
                  </a:cubicBezTo>
                  <a:cubicBezTo>
                    <a:pt x="3470" y="11461"/>
                    <a:pt x="3494" y="11514"/>
                    <a:pt x="3518" y="11568"/>
                  </a:cubicBezTo>
                  <a:cubicBezTo>
                    <a:pt x="3530" y="11594"/>
                    <a:pt x="3543" y="11621"/>
                    <a:pt x="3552" y="11641"/>
                  </a:cubicBezTo>
                  <a:cubicBezTo>
                    <a:pt x="3556" y="11651"/>
                    <a:pt x="3560" y="11659"/>
                    <a:pt x="3563" y="11665"/>
                  </a:cubicBezTo>
                  <a:cubicBezTo>
                    <a:pt x="3564" y="11667"/>
                    <a:pt x="3565" y="11669"/>
                    <a:pt x="3566" y="11670"/>
                  </a:cubicBezTo>
                  <a:cubicBezTo>
                    <a:pt x="3578" y="11679"/>
                    <a:pt x="3619" y="11709"/>
                    <a:pt x="3662" y="11740"/>
                  </a:cubicBezTo>
                  <a:cubicBezTo>
                    <a:pt x="3708" y="11773"/>
                    <a:pt x="3754" y="11807"/>
                    <a:pt x="3754" y="11807"/>
                  </a:cubicBezTo>
                  <a:cubicBezTo>
                    <a:pt x="3756" y="11809"/>
                    <a:pt x="3756" y="11809"/>
                    <a:pt x="3756" y="11809"/>
                  </a:cubicBezTo>
                  <a:cubicBezTo>
                    <a:pt x="3896" y="12102"/>
                    <a:pt x="3896" y="12102"/>
                    <a:pt x="3896" y="12102"/>
                  </a:cubicBezTo>
                  <a:cubicBezTo>
                    <a:pt x="3904" y="12110"/>
                    <a:pt x="3942" y="12143"/>
                    <a:pt x="3980" y="12176"/>
                  </a:cubicBezTo>
                  <a:cubicBezTo>
                    <a:pt x="4002" y="12194"/>
                    <a:pt x="4023" y="12213"/>
                    <a:pt x="4040" y="12227"/>
                  </a:cubicBezTo>
                  <a:cubicBezTo>
                    <a:pt x="4047" y="12234"/>
                    <a:pt x="4053" y="12239"/>
                    <a:pt x="4058" y="12243"/>
                  </a:cubicBezTo>
                  <a:cubicBezTo>
                    <a:pt x="4066" y="12227"/>
                    <a:pt x="4076" y="12212"/>
                    <a:pt x="4089" y="12197"/>
                  </a:cubicBezTo>
                  <a:cubicBezTo>
                    <a:pt x="4106" y="12177"/>
                    <a:pt x="4128" y="12154"/>
                    <a:pt x="4151" y="12133"/>
                  </a:cubicBezTo>
                  <a:cubicBezTo>
                    <a:pt x="4184" y="12102"/>
                    <a:pt x="4216" y="12078"/>
                    <a:pt x="4217" y="12076"/>
                  </a:cubicBezTo>
                  <a:cubicBezTo>
                    <a:pt x="4222" y="12082"/>
                    <a:pt x="4222" y="12082"/>
                    <a:pt x="4222" y="12082"/>
                  </a:cubicBezTo>
                  <a:cubicBezTo>
                    <a:pt x="4217" y="12077"/>
                    <a:pt x="4217" y="12077"/>
                    <a:pt x="4217" y="12077"/>
                  </a:cubicBezTo>
                  <a:cubicBezTo>
                    <a:pt x="4226" y="12063"/>
                    <a:pt x="4226" y="12063"/>
                    <a:pt x="4226" y="12063"/>
                  </a:cubicBezTo>
                  <a:cubicBezTo>
                    <a:pt x="4224" y="12060"/>
                    <a:pt x="4223" y="12059"/>
                    <a:pt x="4223" y="12059"/>
                  </a:cubicBezTo>
                  <a:cubicBezTo>
                    <a:pt x="4223" y="12057"/>
                    <a:pt x="4223" y="12057"/>
                    <a:pt x="4223" y="12057"/>
                  </a:cubicBezTo>
                  <a:cubicBezTo>
                    <a:pt x="3414" y="10998"/>
                    <a:pt x="3414" y="10998"/>
                    <a:pt x="3414" y="10998"/>
                  </a:cubicBezTo>
                  <a:cubicBezTo>
                    <a:pt x="3414" y="10998"/>
                    <a:pt x="3414" y="10998"/>
                    <a:pt x="3414" y="10998"/>
                  </a:cubicBezTo>
                  <a:cubicBezTo>
                    <a:pt x="3173" y="10687"/>
                    <a:pt x="3173" y="10687"/>
                    <a:pt x="3173" y="10687"/>
                  </a:cubicBezTo>
                  <a:cubicBezTo>
                    <a:pt x="3122" y="10706"/>
                    <a:pt x="2993" y="10758"/>
                    <a:pt x="2895" y="10848"/>
                  </a:cubicBezTo>
                  <a:cubicBezTo>
                    <a:pt x="2885" y="10858"/>
                    <a:pt x="2868" y="10874"/>
                    <a:pt x="2844" y="10896"/>
                  </a:cubicBezTo>
                  <a:cubicBezTo>
                    <a:pt x="2804" y="10935"/>
                    <a:pt x="2751" y="10988"/>
                    <a:pt x="2705" y="11047"/>
                  </a:cubicBezTo>
                  <a:cubicBezTo>
                    <a:pt x="2704" y="11048"/>
                    <a:pt x="2703" y="11049"/>
                    <a:pt x="2703" y="11050"/>
                  </a:cubicBezTo>
                  <a:cubicBezTo>
                    <a:pt x="2746" y="11062"/>
                    <a:pt x="2826" y="11087"/>
                    <a:pt x="2854" y="11096"/>
                  </a:cubicBezTo>
                  <a:cubicBezTo>
                    <a:pt x="2875" y="11102"/>
                    <a:pt x="2886" y="11108"/>
                    <a:pt x="2892" y="11112"/>
                  </a:cubicBezTo>
                  <a:cubicBezTo>
                    <a:pt x="2895" y="11114"/>
                    <a:pt x="2897" y="11116"/>
                    <a:pt x="2898" y="11118"/>
                  </a:cubicBezTo>
                  <a:cubicBezTo>
                    <a:pt x="2901" y="11120"/>
                    <a:pt x="2901" y="11122"/>
                    <a:pt x="2902" y="11122"/>
                  </a:cubicBezTo>
                  <a:cubicBezTo>
                    <a:pt x="2904" y="11127"/>
                    <a:pt x="2903" y="11127"/>
                    <a:pt x="2903" y="11129"/>
                  </a:cubicBezTo>
                  <a:cubicBezTo>
                    <a:pt x="2904" y="11132"/>
                    <a:pt x="2904" y="11138"/>
                    <a:pt x="2904" y="11146"/>
                  </a:cubicBezTo>
                  <a:cubicBezTo>
                    <a:pt x="2904" y="11183"/>
                    <a:pt x="2902" y="11262"/>
                    <a:pt x="2902" y="11262"/>
                  </a:cubicBezTo>
                  <a:cubicBezTo>
                    <a:pt x="2902" y="11263"/>
                    <a:pt x="2902" y="11263"/>
                    <a:pt x="2902" y="11263"/>
                  </a:cubicBezTo>
                  <a:cubicBezTo>
                    <a:pt x="2871" y="11407"/>
                    <a:pt x="2871" y="11407"/>
                    <a:pt x="2871" y="11407"/>
                  </a:cubicBezTo>
                  <a:lnTo>
                    <a:pt x="2801" y="11590"/>
                  </a:lnTo>
                  <a:close/>
                  <a:moveTo>
                    <a:pt x="4185" y="9251"/>
                  </a:moveTo>
                  <a:cubicBezTo>
                    <a:pt x="4188" y="9251"/>
                    <a:pt x="4188" y="9251"/>
                    <a:pt x="4188" y="9251"/>
                  </a:cubicBezTo>
                  <a:cubicBezTo>
                    <a:pt x="4301" y="9245"/>
                    <a:pt x="4747" y="9218"/>
                    <a:pt x="4958" y="9185"/>
                  </a:cubicBezTo>
                  <a:cubicBezTo>
                    <a:pt x="5194" y="9147"/>
                    <a:pt x="5332" y="8976"/>
                    <a:pt x="5390" y="8913"/>
                  </a:cubicBezTo>
                  <a:cubicBezTo>
                    <a:pt x="5423" y="8877"/>
                    <a:pt x="5435" y="8826"/>
                    <a:pt x="5435" y="8763"/>
                  </a:cubicBezTo>
                  <a:cubicBezTo>
                    <a:pt x="5435" y="8726"/>
                    <a:pt x="5431" y="8686"/>
                    <a:pt x="5426" y="8643"/>
                  </a:cubicBezTo>
                  <a:cubicBezTo>
                    <a:pt x="5415" y="8555"/>
                    <a:pt x="5381" y="8377"/>
                    <a:pt x="5366" y="8297"/>
                  </a:cubicBezTo>
                  <a:cubicBezTo>
                    <a:pt x="5284" y="8291"/>
                    <a:pt x="5210" y="8285"/>
                    <a:pt x="5152" y="8283"/>
                  </a:cubicBezTo>
                  <a:cubicBezTo>
                    <a:pt x="5074" y="8279"/>
                    <a:pt x="4976" y="8276"/>
                    <a:pt x="4868" y="8276"/>
                  </a:cubicBezTo>
                  <a:cubicBezTo>
                    <a:pt x="4546" y="8275"/>
                    <a:pt x="4128" y="8308"/>
                    <a:pt x="3850" y="8445"/>
                  </a:cubicBezTo>
                  <a:lnTo>
                    <a:pt x="4185" y="9251"/>
                  </a:lnTo>
                  <a:close/>
                  <a:moveTo>
                    <a:pt x="7868" y="6381"/>
                  </a:moveTo>
                  <a:cubicBezTo>
                    <a:pt x="8006" y="6397"/>
                    <a:pt x="8143" y="6412"/>
                    <a:pt x="8260" y="6426"/>
                  </a:cubicBezTo>
                  <a:cubicBezTo>
                    <a:pt x="8243" y="6084"/>
                    <a:pt x="8145" y="5618"/>
                    <a:pt x="7977" y="5240"/>
                  </a:cubicBezTo>
                  <a:cubicBezTo>
                    <a:pt x="7933" y="5140"/>
                    <a:pt x="7875" y="5043"/>
                    <a:pt x="7809" y="4949"/>
                  </a:cubicBezTo>
                  <a:cubicBezTo>
                    <a:pt x="6155" y="4877"/>
                    <a:pt x="6155" y="4877"/>
                    <a:pt x="6155" y="4877"/>
                  </a:cubicBezTo>
                  <a:cubicBezTo>
                    <a:pt x="5942" y="6157"/>
                    <a:pt x="5942" y="6157"/>
                    <a:pt x="5942" y="6157"/>
                  </a:cubicBezTo>
                  <a:cubicBezTo>
                    <a:pt x="7168" y="6304"/>
                    <a:pt x="7168" y="6304"/>
                    <a:pt x="7168" y="6304"/>
                  </a:cubicBezTo>
                  <a:cubicBezTo>
                    <a:pt x="7168" y="6304"/>
                    <a:pt x="7517" y="6342"/>
                    <a:pt x="7868" y="6381"/>
                  </a:cubicBezTo>
                  <a:close/>
                  <a:moveTo>
                    <a:pt x="5198" y="3367"/>
                  </a:moveTo>
                  <a:cubicBezTo>
                    <a:pt x="5035" y="3745"/>
                    <a:pt x="5035" y="3745"/>
                    <a:pt x="5035" y="3745"/>
                  </a:cubicBezTo>
                  <a:cubicBezTo>
                    <a:pt x="5161" y="3781"/>
                    <a:pt x="5286" y="3822"/>
                    <a:pt x="5393" y="3868"/>
                  </a:cubicBezTo>
                  <a:cubicBezTo>
                    <a:pt x="5582" y="3949"/>
                    <a:pt x="5691" y="4077"/>
                    <a:pt x="5956" y="4224"/>
                  </a:cubicBezTo>
                  <a:cubicBezTo>
                    <a:pt x="6138" y="4327"/>
                    <a:pt x="6167" y="4561"/>
                    <a:pt x="6168" y="4714"/>
                  </a:cubicBezTo>
                  <a:cubicBezTo>
                    <a:pt x="6168" y="4771"/>
                    <a:pt x="6163" y="4816"/>
                    <a:pt x="6160" y="4841"/>
                  </a:cubicBezTo>
                  <a:cubicBezTo>
                    <a:pt x="7782" y="4912"/>
                    <a:pt x="7782" y="4912"/>
                    <a:pt x="7782" y="4912"/>
                  </a:cubicBezTo>
                  <a:cubicBezTo>
                    <a:pt x="7666" y="4755"/>
                    <a:pt x="7530" y="4606"/>
                    <a:pt x="7403" y="4466"/>
                  </a:cubicBezTo>
                  <a:cubicBezTo>
                    <a:pt x="7297" y="4348"/>
                    <a:pt x="7198" y="4237"/>
                    <a:pt x="7123" y="4127"/>
                  </a:cubicBezTo>
                  <a:cubicBezTo>
                    <a:pt x="7049" y="4018"/>
                    <a:pt x="6997" y="3908"/>
                    <a:pt x="6996" y="3792"/>
                  </a:cubicBezTo>
                  <a:cubicBezTo>
                    <a:pt x="6996" y="3774"/>
                    <a:pt x="6997" y="3757"/>
                    <a:pt x="7000" y="3739"/>
                  </a:cubicBezTo>
                  <a:cubicBezTo>
                    <a:pt x="7016" y="3629"/>
                    <a:pt x="7066" y="3538"/>
                    <a:pt x="7130" y="3468"/>
                  </a:cubicBezTo>
                  <a:cubicBezTo>
                    <a:pt x="7196" y="3397"/>
                    <a:pt x="7275" y="3346"/>
                    <a:pt x="7354" y="3307"/>
                  </a:cubicBezTo>
                  <a:cubicBezTo>
                    <a:pt x="7338" y="3276"/>
                    <a:pt x="7319" y="3239"/>
                    <a:pt x="7298" y="3203"/>
                  </a:cubicBezTo>
                  <a:cubicBezTo>
                    <a:pt x="7265" y="3148"/>
                    <a:pt x="7226" y="3096"/>
                    <a:pt x="7195" y="3072"/>
                  </a:cubicBezTo>
                  <a:cubicBezTo>
                    <a:pt x="7100" y="2997"/>
                    <a:pt x="6975" y="2976"/>
                    <a:pt x="6864" y="2951"/>
                  </a:cubicBezTo>
                  <a:cubicBezTo>
                    <a:pt x="6754" y="2926"/>
                    <a:pt x="6191" y="2782"/>
                    <a:pt x="6013" y="2729"/>
                  </a:cubicBezTo>
                  <a:cubicBezTo>
                    <a:pt x="5866" y="2685"/>
                    <a:pt x="5463" y="2565"/>
                    <a:pt x="5338" y="2528"/>
                  </a:cubicBezTo>
                  <a:cubicBezTo>
                    <a:pt x="5330" y="2540"/>
                    <a:pt x="5330" y="2540"/>
                    <a:pt x="5330" y="2540"/>
                  </a:cubicBezTo>
                  <a:cubicBezTo>
                    <a:pt x="5294" y="2667"/>
                    <a:pt x="5200" y="2957"/>
                    <a:pt x="5190" y="2989"/>
                  </a:cubicBezTo>
                  <a:lnTo>
                    <a:pt x="5198" y="3367"/>
                  </a:lnTo>
                  <a:close/>
                  <a:moveTo>
                    <a:pt x="7070" y="2434"/>
                  </a:moveTo>
                  <a:cubicBezTo>
                    <a:pt x="6959" y="2418"/>
                    <a:pt x="6834" y="2402"/>
                    <a:pt x="6785" y="2402"/>
                  </a:cubicBezTo>
                  <a:cubicBezTo>
                    <a:pt x="6685" y="2402"/>
                    <a:pt x="6621" y="2420"/>
                    <a:pt x="6581" y="2476"/>
                  </a:cubicBezTo>
                  <a:cubicBezTo>
                    <a:pt x="6509" y="2728"/>
                    <a:pt x="6509" y="2728"/>
                    <a:pt x="6509" y="2728"/>
                  </a:cubicBezTo>
                  <a:cubicBezTo>
                    <a:pt x="6509" y="2733"/>
                    <a:pt x="6509" y="2739"/>
                    <a:pt x="6509" y="2743"/>
                  </a:cubicBezTo>
                  <a:cubicBezTo>
                    <a:pt x="6679" y="2787"/>
                    <a:pt x="6839" y="2827"/>
                    <a:pt x="6890" y="2839"/>
                  </a:cubicBezTo>
                  <a:cubicBezTo>
                    <a:pt x="6994" y="2863"/>
                    <a:pt x="7140" y="2885"/>
                    <a:pt x="7266" y="2982"/>
                  </a:cubicBezTo>
                  <a:cubicBezTo>
                    <a:pt x="7293" y="3003"/>
                    <a:pt x="7318" y="3031"/>
                    <a:pt x="7341" y="3061"/>
                  </a:cubicBezTo>
                  <a:cubicBezTo>
                    <a:pt x="7425" y="3035"/>
                    <a:pt x="7681" y="2956"/>
                    <a:pt x="7937" y="2877"/>
                  </a:cubicBezTo>
                  <a:cubicBezTo>
                    <a:pt x="8093" y="2829"/>
                    <a:pt x="8250" y="2781"/>
                    <a:pt x="8367" y="2745"/>
                  </a:cubicBezTo>
                  <a:cubicBezTo>
                    <a:pt x="8426" y="2727"/>
                    <a:pt x="8475" y="2711"/>
                    <a:pt x="8509" y="2701"/>
                  </a:cubicBezTo>
                  <a:cubicBezTo>
                    <a:pt x="8523" y="2697"/>
                    <a:pt x="8534" y="2693"/>
                    <a:pt x="8543" y="2691"/>
                  </a:cubicBezTo>
                  <a:cubicBezTo>
                    <a:pt x="8545" y="2677"/>
                    <a:pt x="8545" y="2677"/>
                    <a:pt x="8545" y="2677"/>
                  </a:cubicBezTo>
                  <a:cubicBezTo>
                    <a:pt x="8543" y="2625"/>
                    <a:pt x="8538" y="2526"/>
                    <a:pt x="8534" y="2443"/>
                  </a:cubicBezTo>
                  <a:cubicBezTo>
                    <a:pt x="7281" y="2467"/>
                    <a:pt x="7281" y="2467"/>
                    <a:pt x="7281" y="2467"/>
                  </a:cubicBezTo>
                  <a:cubicBezTo>
                    <a:pt x="7280" y="2467"/>
                    <a:pt x="7280" y="2467"/>
                    <a:pt x="7280" y="2467"/>
                  </a:cubicBezTo>
                  <a:cubicBezTo>
                    <a:pt x="7279" y="2467"/>
                    <a:pt x="7181" y="2451"/>
                    <a:pt x="7070" y="2434"/>
                  </a:cubicBezTo>
                  <a:close/>
                  <a:moveTo>
                    <a:pt x="10702" y="2974"/>
                  </a:moveTo>
                  <a:cubicBezTo>
                    <a:pt x="10702" y="2980"/>
                    <a:pt x="10702" y="2980"/>
                    <a:pt x="10702" y="2980"/>
                  </a:cubicBezTo>
                  <a:cubicBezTo>
                    <a:pt x="10702" y="2981"/>
                    <a:pt x="10702" y="2981"/>
                    <a:pt x="10702" y="2982"/>
                  </a:cubicBezTo>
                  <a:cubicBezTo>
                    <a:pt x="10702" y="2980"/>
                    <a:pt x="10702" y="2980"/>
                    <a:pt x="10702" y="2980"/>
                  </a:cubicBezTo>
                  <a:cubicBezTo>
                    <a:pt x="10702" y="2975"/>
                    <a:pt x="10702" y="2975"/>
                    <a:pt x="10702" y="2975"/>
                  </a:cubicBezTo>
                  <a:cubicBezTo>
                    <a:pt x="10702" y="2983"/>
                    <a:pt x="10702" y="2983"/>
                    <a:pt x="10702" y="2983"/>
                  </a:cubicBezTo>
                  <a:cubicBezTo>
                    <a:pt x="10702" y="2984"/>
                    <a:pt x="10703" y="2985"/>
                    <a:pt x="10703" y="2986"/>
                  </a:cubicBezTo>
                  <a:lnTo>
                    <a:pt x="10702" y="2974"/>
                  </a:lnTo>
                  <a:close/>
                  <a:moveTo>
                    <a:pt x="10662" y="2972"/>
                  </a:moveTo>
                  <a:cubicBezTo>
                    <a:pt x="10623" y="2816"/>
                    <a:pt x="10582" y="2663"/>
                    <a:pt x="10549" y="2541"/>
                  </a:cubicBezTo>
                  <a:cubicBezTo>
                    <a:pt x="10430" y="2577"/>
                    <a:pt x="10282" y="2620"/>
                    <a:pt x="10116" y="2668"/>
                  </a:cubicBezTo>
                  <a:cubicBezTo>
                    <a:pt x="9665" y="2796"/>
                    <a:pt x="9084" y="2953"/>
                    <a:pt x="8608" y="3082"/>
                  </a:cubicBezTo>
                  <a:cubicBezTo>
                    <a:pt x="8370" y="3146"/>
                    <a:pt x="8158" y="3203"/>
                    <a:pt x="8002" y="3246"/>
                  </a:cubicBezTo>
                  <a:cubicBezTo>
                    <a:pt x="7924" y="3267"/>
                    <a:pt x="7860" y="3285"/>
                    <a:pt x="7814" y="3298"/>
                  </a:cubicBezTo>
                  <a:cubicBezTo>
                    <a:pt x="7791" y="3304"/>
                    <a:pt x="7773" y="3310"/>
                    <a:pt x="7759" y="3314"/>
                  </a:cubicBezTo>
                  <a:cubicBezTo>
                    <a:pt x="7753" y="3316"/>
                    <a:pt x="7747" y="3317"/>
                    <a:pt x="7744" y="3318"/>
                  </a:cubicBezTo>
                  <a:cubicBezTo>
                    <a:pt x="7742" y="3319"/>
                    <a:pt x="7740" y="3319"/>
                    <a:pt x="7740" y="3320"/>
                  </a:cubicBezTo>
                  <a:cubicBezTo>
                    <a:pt x="7740" y="3320"/>
                    <a:pt x="7740" y="3320"/>
                    <a:pt x="7740" y="3320"/>
                  </a:cubicBezTo>
                  <a:cubicBezTo>
                    <a:pt x="7722" y="3327"/>
                    <a:pt x="7705" y="3332"/>
                    <a:pt x="7682" y="3338"/>
                  </a:cubicBezTo>
                  <a:cubicBezTo>
                    <a:pt x="7639" y="3350"/>
                    <a:pt x="7579" y="3366"/>
                    <a:pt x="7515" y="3390"/>
                  </a:cubicBezTo>
                  <a:cubicBezTo>
                    <a:pt x="7921" y="4406"/>
                    <a:pt x="7921" y="4406"/>
                    <a:pt x="7921" y="4406"/>
                  </a:cubicBezTo>
                  <a:cubicBezTo>
                    <a:pt x="7994" y="4531"/>
                    <a:pt x="7994" y="4531"/>
                    <a:pt x="7994" y="4531"/>
                  </a:cubicBezTo>
                  <a:cubicBezTo>
                    <a:pt x="8020" y="4530"/>
                    <a:pt x="8020" y="4530"/>
                    <a:pt x="8020" y="4530"/>
                  </a:cubicBezTo>
                  <a:cubicBezTo>
                    <a:pt x="10844" y="3715"/>
                    <a:pt x="10844" y="3715"/>
                    <a:pt x="10844" y="3715"/>
                  </a:cubicBezTo>
                  <a:cubicBezTo>
                    <a:pt x="10812" y="3587"/>
                    <a:pt x="10739" y="3276"/>
                    <a:pt x="10662" y="2972"/>
                  </a:cubicBezTo>
                  <a:close/>
                  <a:moveTo>
                    <a:pt x="8547" y="6459"/>
                  </a:moveTo>
                  <a:cubicBezTo>
                    <a:pt x="8547" y="6344"/>
                    <a:pt x="8544" y="6234"/>
                    <a:pt x="8539" y="6148"/>
                  </a:cubicBezTo>
                  <a:cubicBezTo>
                    <a:pt x="8523" y="5843"/>
                    <a:pt x="8348" y="5386"/>
                    <a:pt x="8235" y="5172"/>
                  </a:cubicBezTo>
                  <a:cubicBezTo>
                    <a:pt x="8113" y="4963"/>
                    <a:pt x="8113" y="4963"/>
                    <a:pt x="8113" y="4963"/>
                  </a:cubicBezTo>
                  <a:cubicBezTo>
                    <a:pt x="7982" y="4957"/>
                    <a:pt x="7982" y="4957"/>
                    <a:pt x="7982" y="4957"/>
                  </a:cubicBezTo>
                  <a:cubicBezTo>
                    <a:pt x="8028" y="5030"/>
                    <a:pt x="8070" y="5105"/>
                    <a:pt x="8105" y="5183"/>
                  </a:cubicBezTo>
                  <a:cubicBezTo>
                    <a:pt x="8285" y="5591"/>
                    <a:pt x="8385" y="6078"/>
                    <a:pt x="8400" y="6442"/>
                  </a:cubicBezTo>
                  <a:cubicBezTo>
                    <a:pt x="8446" y="6448"/>
                    <a:pt x="8485" y="6453"/>
                    <a:pt x="8515" y="6456"/>
                  </a:cubicBezTo>
                  <a:cubicBezTo>
                    <a:pt x="8520" y="6457"/>
                    <a:pt x="8525" y="6458"/>
                    <a:pt x="8530" y="6458"/>
                  </a:cubicBezTo>
                  <a:cubicBezTo>
                    <a:pt x="8534" y="6459"/>
                    <a:pt x="8541" y="6459"/>
                    <a:pt x="8547" y="6459"/>
                  </a:cubicBezTo>
                  <a:close/>
                  <a:moveTo>
                    <a:pt x="8089" y="4922"/>
                  </a:moveTo>
                  <a:cubicBezTo>
                    <a:pt x="7818" y="4456"/>
                    <a:pt x="7818" y="4456"/>
                    <a:pt x="7818" y="4456"/>
                  </a:cubicBezTo>
                  <a:cubicBezTo>
                    <a:pt x="7409" y="3435"/>
                    <a:pt x="7409" y="3435"/>
                    <a:pt x="7409" y="3435"/>
                  </a:cubicBezTo>
                  <a:cubicBezTo>
                    <a:pt x="7394" y="3443"/>
                    <a:pt x="7378" y="3451"/>
                    <a:pt x="7363" y="3460"/>
                  </a:cubicBezTo>
                  <a:cubicBezTo>
                    <a:pt x="7249" y="3528"/>
                    <a:pt x="7159" y="3619"/>
                    <a:pt x="7138" y="3760"/>
                  </a:cubicBezTo>
                  <a:cubicBezTo>
                    <a:pt x="7136" y="3770"/>
                    <a:pt x="7135" y="3781"/>
                    <a:pt x="7135" y="3792"/>
                  </a:cubicBezTo>
                  <a:cubicBezTo>
                    <a:pt x="7135" y="3863"/>
                    <a:pt x="7171" y="3950"/>
                    <a:pt x="7239" y="4049"/>
                  </a:cubicBezTo>
                  <a:cubicBezTo>
                    <a:pt x="7339" y="4197"/>
                    <a:pt x="7504" y="4366"/>
                    <a:pt x="7669" y="4553"/>
                  </a:cubicBezTo>
                  <a:cubicBezTo>
                    <a:pt x="7770" y="4668"/>
                    <a:pt x="7871" y="4789"/>
                    <a:pt x="7958" y="4920"/>
                  </a:cubicBezTo>
                  <a:cubicBezTo>
                    <a:pt x="8065" y="4925"/>
                    <a:pt x="8065" y="4925"/>
                    <a:pt x="8065" y="4925"/>
                  </a:cubicBezTo>
                  <a:lnTo>
                    <a:pt x="8089" y="4922"/>
                  </a:lnTo>
                  <a:close/>
                  <a:moveTo>
                    <a:pt x="10227" y="2383"/>
                  </a:moveTo>
                  <a:cubicBezTo>
                    <a:pt x="9955" y="2451"/>
                    <a:pt x="9547" y="2554"/>
                    <a:pt x="9207" y="2640"/>
                  </a:cubicBezTo>
                  <a:cubicBezTo>
                    <a:pt x="9037" y="2683"/>
                    <a:pt x="8884" y="2722"/>
                    <a:pt x="8773" y="2750"/>
                  </a:cubicBezTo>
                  <a:cubicBezTo>
                    <a:pt x="8718" y="2764"/>
                    <a:pt x="8673" y="2775"/>
                    <a:pt x="8642" y="2783"/>
                  </a:cubicBezTo>
                  <a:cubicBezTo>
                    <a:pt x="8627" y="2787"/>
                    <a:pt x="8615" y="2790"/>
                    <a:pt x="8607" y="2792"/>
                  </a:cubicBezTo>
                  <a:cubicBezTo>
                    <a:pt x="8602" y="2793"/>
                    <a:pt x="8599" y="2794"/>
                    <a:pt x="8597" y="2794"/>
                  </a:cubicBezTo>
                  <a:cubicBezTo>
                    <a:pt x="8597" y="2794"/>
                    <a:pt x="8596" y="2794"/>
                    <a:pt x="8596" y="2794"/>
                  </a:cubicBezTo>
                  <a:cubicBezTo>
                    <a:pt x="8589" y="2797"/>
                    <a:pt x="8589" y="2797"/>
                    <a:pt x="8589" y="2797"/>
                  </a:cubicBezTo>
                  <a:cubicBezTo>
                    <a:pt x="8589" y="2797"/>
                    <a:pt x="8589" y="2797"/>
                    <a:pt x="8589" y="2797"/>
                  </a:cubicBezTo>
                  <a:cubicBezTo>
                    <a:pt x="8536" y="2813"/>
                    <a:pt x="8243" y="2903"/>
                    <a:pt x="7954" y="2992"/>
                  </a:cubicBezTo>
                  <a:cubicBezTo>
                    <a:pt x="7730" y="3061"/>
                    <a:pt x="7509" y="3129"/>
                    <a:pt x="7406" y="3161"/>
                  </a:cubicBezTo>
                  <a:cubicBezTo>
                    <a:pt x="7414" y="3175"/>
                    <a:pt x="7422" y="3190"/>
                    <a:pt x="7430" y="3204"/>
                  </a:cubicBezTo>
                  <a:cubicBezTo>
                    <a:pt x="7441" y="3225"/>
                    <a:pt x="7451" y="3244"/>
                    <a:pt x="7459" y="3262"/>
                  </a:cubicBezTo>
                  <a:cubicBezTo>
                    <a:pt x="7461" y="3261"/>
                    <a:pt x="7462" y="3261"/>
                    <a:pt x="7463" y="3260"/>
                  </a:cubicBezTo>
                  <a:cubicBezTo>
                    <a:pt x="7518" y="3240"/>
                    <a:pt x="7568" y="3225"/>
                    <a:pt x="7608" y="3214"/>
                  </a:cubicBezTo>
                  <a:cubicBezTo>
                    <a:pt x="7648" y="3203"/>
                    <a:pt x="7680" y="3194"/>
                    <a:pt x="7686" y="3191"/>
                  </a:cubicBezTo>
                  <a:cubicBezTo>
                    <a:pt x="7694" y="3188"/>
                    <a:pt x="7699" y="3186"/>
                    <a:pt x="7708" y="3184"/>
                  </a:cubicBezTo>
                  <a:cubicBezTo>
                    <a:pt x="7772" y="3164"/>
                    <a:pt x="7984" y="3106"/>
                    <a:pt x="8272" y="3028"/>
                  </a:cubicBezTo>
                  <a:cubicBezTo>
                    <a:pt x="8704" y="2911"/>
                    <a:pt x="9303" y="2750"/>
                    <a:pt x="9811" y="2609"/>
                  </a:cubicBezTo>
                  <a:cubicBezTo>
                    <a:pt x="10064" y="2538"/>
                    <a:pt x="10294" y="2472"/>
                    <a:pt x="10469" y="2420"/>
                  </a:cubicBezTo>
                  <a:cubicBezTo>
                    <a:pt x="10484" y="2415"/>
                    <a:pt x="10498" y="2411"/>
                    <a:pt x="10513" y="2406"/>
                  </a:cubicBezTo>
                  <a:cubicBezTo>
                    <a:pt x="10504" y="2375"/>
                    <a:pt x="10497" y="2349"/>
                    <a:pt x="10492" y="2330"/>
                  </a:cubicBezTo>
                  <a:cubicBezTo>
                    <a:pt x="10483" y="2318"/>
                    <a:pt x="10483" y="2318"/>
                    <a:pt x="10483" y="2318"/>
                  </a:cubicBezTo>
                  <a:cubicBezTo>
                    <a:pt x="10432" y="2331"/>
                    <a:pt x="10341" y="2354"/>
                    <a:pt x="10227" y="2383"/>
                  </a:cubicBezTo>
                  <a:close/>
                  <a:moveTo>
                    <a:pt x="8525" y="2723"/>
                  </a:moveTo>
                  <a:cubicBezTo>
                    <a:pt x="8525" y="2723"/>
                    <a:pt x="8525" y="2723"/>
                    <a:pt x="8525" y="2723"/>
                  </a:cubicBezTo>
                  <a:cubicBezTo>
                    <a:pt x="8526" y="2718"/>
                    <a:pt x="8528" y="2714"/>
                    <a:pt x="8530" y="2710"/>
                  </a:cubicBezTo>
                  <a:cubicBezTo>
                    <a:pt x="8530" y="2711"/>
                    <a:pt x="8530" y="2711"/>
                    <a:pt x="8530" y="2712"/>
                  </a:cubicBezTo>
                  <a:cubicBezTo>
                    <a:pt x="8527" y="2716"/>
                    <a:pt x="8526" y="2720"/>
                    <a:pt x="8525" y="2723"/>
                  </a:cubicBezTo>
                  <a:close/>
                  <a:moveTo>
                    <a:pt x="7290" y="7551"/>
                  </a:moveTo>
                  <a:cubicBezTo>
                    <a:pt x="7008" y="7605"/>
                    <a:pt x="6863" y="7636"/>
                    <a:pt x="6785" y="7669"/>
                  </a:cubicBezTo>
                  <a:cubicBezTo>
                    <a:pt x="6746" y="7685"/>
                    <a:pt x="6724" y="7700"/>
                    <a:pt x="6703" y="7720"/>
                  </a:cubicBezTo>
                  <a:cubicBezTo>
                    <a:pt x="6682" y="7739"/>
                    <a:pt x="6661" y="7767"/>
                    <a:pt x="6632" y="7807"/>
                  </a:cubicBezTo>
                  <a:cubicBezTo>
                    <a:pt x="6591" y="7862"/>
                    <a:pt x="6566" y="7948"/>
                    <a:pt x="6543" y="8035"/>
                  </a:cubicBezTo>
                  <a:cubicBezTo>
                    <a:pt x="6570" y="8037"/>
                    <a:pt x="6587" y="8038"/>
                    <a:pt x="6591" y="8038"/>
                  </a:cubicBezTo>
                  <a:cubicBezTo>
                    <a:pt x="6603" y="8039"/>
                    <a:pt x="6613" y="8039"/>
                    <a:pt x="6623" y="8039"/>
                  </a:cubicBezTo>
                  <a:cubicBezTo>
                    <a:pt x="6636" y="8039"/>
                    <a:pt x="6647" y="8038"/>
                    <a:pt x="6654" y="8037"/>
                  </a:cubicBezTo>
                  <a:cubicBezTo>
                    <a:pt x="6668" y="8007"/>
                    <a:pt x="6696" y="7947"/>
                    <a:pt x="6727" y="7891"/>
                  </a:cubicBezTo>
                  <a:cubicBezTo>
                    <a:pt x="6727" y="7890"/>
                    <a:pt x="6727" y="7890"/>
                    <a:pt x="6727" y="7890"/>
                  </a:cubicBezTo>
                  <a:cubicBezTo>
                    <a:pt x="6728" y="7889"/>
                    <a:pt x="6728" y="7889"/>
                    <a:pt x="6728" y="7889"/>
                  </a:cubicBezTo>
                  <a:cubicBezTo>
                    <a:pt x="6732" y="7882"/>
                    <a:pt x="6804" y="7762"/>
                    <a:pt x="6978" y="7730"/>
                  </a:cubicBezTo>
                  <a:cubicBezTo>
                    <a:pt x="7050" y="7717"/>
                    <a:pt x="7130" y="7708"/>
                    <a:pt x="7218" y="7708"/>
                  </a:cubicBezTo>
                  <a:cubicBezTo>
                    <a:pt x="7323" y="7708"/>
                    <a:pt x="7438" y="7720"/>
                    <a:pt x="7562" y="7751"/>
                  </a:cubicBezTo>
                  <a:cubicBezTo>
                    <a:pt x="7766" y="7803"/>
                    <a:pt x="8008" y="7957"/>
                    <a:pt x="8075" y="8000"/>
                  </a:cubicBezTo>
                  <a:cubicBezTo>
                    <a:pt x="8096" y="7998"/>
                    <a:pt x="8135" y="7994"/>
                    <a:pt x="8181" y="7989"/>
                  </a:cubicBezTo>
                  <a:cubicBezTo>
                    <a:pt x="8253" y="7980"/>
                    <a:pt x="8343" y="7967"/>
                    <a:pt x="8413" y="7951"/>
                  </a:cubicBezTo>
                  <a:cubicBezTo>
                    <a:pt x="8474" y="7938"/>
                    <a:pt x="8549" y="7894"/>
                    <a:pt x="8607" y="7852"/>
                  </a:cubicBezTo>
                  <a:cubicBezTo>
                    <a:pt x="8632" y="7835"/>
                    <a:pt x="8653" y="7818"/>
                    <a:pt x="8670" y="7804"/>
                  </a:cubicBezTo>
                  <a:cubicBezTo>
                    <a:pt x="8631" y="7759"/>
                    <a:pt x="8598" y="7711"/>
                    <a:pt x="8576" y="7661"/>
                  </a:cubicBezTo>
                  <a:cubicBezTo>
                    <a:pt x="8536" y="7571"/>
                    <a:pt x="8528" y="7473"/>
                    <a:pt x="8527" y="7384"/>
                  </a:cubicBezTo>
                  <a:cubicBezTo>
                    <a:pt x="8527" y="7322"/>
                    <a:pt x="8532" y="7264"/>
                    <a:pt x="8534" y="7214"/>
                  </a:cubicBezTo>
                  <a:cubicBezTo>
                    <a:pt x="8538" y="7131"/>
                    <a:pt x="8547" y="6819"/>
                    <a:pt x="8547" y="6528"/>
                  </a:cubicBezTo>
                  <a:cubicBezTo>
                    <a:pt x="8547" y="6518"/>
                    <a:pt x="8547" y="6507"/>
                    <a:pt x="8547" y="6497"/>
                  </a:cubicBezTo>
                  <a:cubicBezTo>
                    <a:pt x="8542" y="6496"/>
                    <a:pt x="8536" y="6496"/>
                    <a:pt x="8529" y="6495"/>
                  </a:cubicBezTo>
                  <a:cubicBezTo>
                    <a:pt x="8519" y="6494"/>
                    <a:pt x="8519" y="6494"/>
                    <a:pt x="8519" y="6494"/>
                  </a:cubicBezTo>
                  <a:cubicBezTo>
                    <a:pt x="8519" y="6494"/>
                    <a:pt x="8519" y="6493"/>
                    <a:pt x="8519" y="6493"/>
                  </a:cubicBezTo>
                  <a:cubicBezTo>
                    <a:pt x="8490" y="6490"/>
                    <a:pt x="8449" y="6485"/>
                    <a:pt x="8402" y="6479"/>
                  </a:cubicBezTo>
                  <a:cubicBezTo>
                    <a:pt x="8402" y="6498"/>
                    <a:pt x="8403" y="6518"/>
                    <a:pt x="8403" y="6536"/>
                  </a:cubicBezTo>
                  <a:cubicBezTo>
                    <a:pt x="8402" y="6697"/>
                    <a:pt x="8386" y="6824"/>
                    <a:pt x="8336" y="6914"/>
                  </a:cubicBezTo>
                  <a:cubicBezTo>
                    <a:pt x="8198" y="7153"/>
                    <a:pt x="7872" y="7438"/>
                    <a:pt x="7290" y="7551"/>
                  </a:cubicBezTo>
                  <a:close/>
                  <a:moveTo>
                    <a:pt x="7294" y="13431"/>
                  </a:moveTo>
                  <a:cubicBezTo>
                    <a:pt x="7294" y="13430"/>
                    <a:pt x="7294" y="13430"/>
                    <a:pt x="7294" y="13430"/>
                  </a:cubicBezTo>
                  <a:cubicBezTo>
                    <a:pt x="7339" y="12863"/>
                    <a:pt x="7339" y="12863"/>
                    <a:pt x="7339" y="12863"/>
                  </a:cubicBezTo>
                  <a:cubicBezTo>
                    <a:pt x="8031" y="11442"/>
                    <a:pt x="8031" y="11442"/>
                    <a:pt x="8031" y="11442"/>
                  </a:cubicBezTo>
                  <a:cubicBezTo>
                    <a:pt x="8013" y="11432"/>
                    <a:pt x="7972" y="11411"/>
                    <a:pt x="7904" y="11376"/>
                  </a:cubicBezTo>
                  <a:cubicBezTo>
                    <a:pt x="7809" y="11328"/>
                    <a:pt x="7663" y="11256"/>
                    <a:pt x="7459" y="11158"/>
                  </a:cubicBezTo>
                  <a:cubicBezTo>
                    <a:pt x="7256" y="11061"/>
                    <a:pt x="7074" y="11001"/>
                    <a:pt x="6942" y="10965"/>
                  </a:cubicBezTo>
                  <a:cubicBezTo>
                    <a:pt x="6876" y="10948"/>
                    <a:pt x="6823" y="10936"/>
                    <a:pt x="6786" y="10929"/>
                  </a:cubicBezTo>
                  <a:cubicBezTo>
                    <a:pt x="6769" y="10925"/>
                    <a:pt x="6755" y="10923"/>
                    <a:pt x="6746" y="10921"/>
                  </a:cubicBezTo>
                  <a:cubicBezTo>
                    <a:pt x="6433" y="13862"/>
                    <a:pt x="6433" y="13862"/>
                    <a:pt x="6433" y="13862"/>
                  </a:cubicBezTo>
                  <a:cubicBezTo>
                    <a:pt x="6572" y="13847"/>
                    <a:pt x="6711" y="13829"/>
                    <a:pt x="6847" y="13801"/>
                  </a:cubicBezTo>
                  <a:cubicBezTo>
                    <a:pt x="6989" y="13772"/>
                    <a:pt x="7261" y="13759"/>
                    <a:pt x="7329" y="13756"/>
                  </a:cubicBezTo>
                  <a:cubicBezTo>
                    <a:pt x="7294" y="13575"/>
                    <a:pt x="7294" y="13432"/>
                    <a:pt x="7294" y="13431"/>
                  </a:cubicBezTo>
                  <a:close/>
                  <a:moveTo>
                    <a:pt x="5626" y="13994"/>
                  </a:moveTo>
                  <a:cubicBezTo>
                    <a:pt x="5650" y="13897"/>
                    <a:pt x="5650" y="13897"/>
                    <a:pt x="5650" y="13897"/>
                  </a:cubicBezTo>
                  <a:cubicBezTo>
                    <a:pt x="5871" y="11940"/>
                    <a:pt x="5871" y="11940"/>
                    <a:pt x="5871" y="11940"/>
                  </a:cubicBezTo>
                  <a:cubicBezTo>
                    <a:pt x="5868" y="11939"/>
                    <a:pt x="5862" y="11937"/>
                    <a:pt x="5856" y="11934"/>
                  </a:cubicBezTo>
                  <a:cubicBezTo>
                    <a:pt x="5126" y="11869"/>
                    <a:pt x="5126" y="11869"/>
                    <a:pt x="5126" y="11869"/>
                  </a:cubicBezTo>
                  <a:cubicBezTo>
                    <a:pt x="5116" y="11873"/>
                    <a:pt x="5116" y="11873"/>
                    <a:pt x="5116" y="11873"/>
                  </a:cubicBezTo>
                  <a:cubicBezTo>
                    <a:pt x="5115" y="11875"/>
                    <a:pt x="5115" y="11877"/>
                    <a:pt x="5115" y="11878"/>
                  </a:cubicBezTo>
                  <a:cubicBezTo>
                    <a:pt x="5091" y="11982"/>
                    <a:pt x="5002" y="12091"/>
                    <a:pt x="4937" y="12187"/>
                  </a:cubicBezTo>
                  <a:cubicBezTo>
                    <a:pt x="4909" y="12227"/>
                    <a:pt x="4900" y="12262"/>
                    <a:pt x="4900" y="12300"/>
                  </a:cubicBezTo>
                  <a:cubicBezTo>
                    <a:pt x="4900" y="12348"/>
                    <a:pt x="4916" y="12401"/>
                    <a:pt x="4935" y="12467"/>
                  </a:cubicBezTo>
                  <a:cubicBezTo>
                    <a:pt x="4947" y="12512"/>
                    <a:pt x="4953" y="12552"/>
                    <a:pt x="4953" y="12588"/>
                  </a:cubicBezTo>
                  <a:cubicBezTo>
                    <a:pt x="4953" y="12690"/>
                    <a:pt x="4907" y="12755"/>
                    <a:pt x="4861" y="12811"/>
                  </a:cubicBezTo>
                  <a:cubicBezTo>
                    <a:pt x="4860" y="12812"/>
                    <a:pt x="4859" y="12813"/>
                    <a:pt x="4859" y="12814"/>
                  </a:cubicBezTo>
                  <a:cubicBezTo>
                    <a:pt x="5027" y="12985"/>
                    <a:pt x="5042" y="13214"/>
                    <a:pt x="5042" y="13312"/>
                  </a:cubicBezTo>
                  <a:cubicBezTo>
                    <a:pt x="5042" y="13340"/>
                    <a:pt x="5041" y="13356"/>
                    <a:pt x="5040" y="13359"/>
                  </a:cubicBezTo>
                  <a:cubicBezTo>
                    <a:pt x="5038" y="13378"/>
                    <a:pt x="5035" y="13411"/>
                    <a:pt x="5031" y="13447"/>
                  </a:cubicBezTo>
                  <a:cubicBezTo>
                    <a:pt x="5024" y="13512"/>
                    <a:pt x="5014" y="13586"/>
                    <a:pt x="5009" y="13617"/>
                  </a:cubicBezTo>
                  <a:cubicBezTo>
                    <a:pt x="5004" y="13653"/>
                    <a:pt x="4987" y="13769"/>
                    <a:pt x="4979" y="13859"/>
                  </a:cubicBezTo>
                  <a:cubicBezTo>
                    <a:pt x="4979" y="13867"/>
                    <a:pt x="4978" y="13887"/>
                    <a:pt x="4978" y="13908"/>
                  </a:cubicBezTo>
                  <a:cubicBezTo>
                    <a:pt x="4978" y="13928"/>
                    <a:pt x="4979" y="13950"/>
                    <a:pt x="4981" y="13963"/>
                  </a:cubicBezTo>
                  <a:cubicBezTo>
                    <a:pt x="4982" y="13976"/>
                    <a:pt x="4989" y="14006"/>
                    <a:pt x="4989" y="14006"/>
                  </a:cubicBezTo>
                  <a:cubicBezTo>
                    <a:pt x="4989" y="14008"/>
                    <a:pt x="4989" y="14008"/>
                    <a:pt x="4989" y="14008"/>
                  </a:cubicBezTo>
                  <a:cubicBezTo>
                    <a:pt x="4991" y="14013"/>
                    <a:pt x="4992" y="14018"/>
                    <a:pt x="4994" y="14023"/>
                  </a:cubicBezTo>
                  <a:cubicBezTo>
                    <a:pt x="5007" y="14059"/>
                    <a:pt x="5027" y="14108"/>
                    <a:pt x="5058" y="14160"/>
                  </a:cubicBezTo>
                  <a:cubicBezTo>
                    <a:pt x="5098" y="14228"/>
                    <a:pt x="5124" y="14290"/>
                    <a:pt x="5139" y="14326"/>
                  </a:cubicBezTo>
                  <a:cubicBezTo>
                    <a:pt x="5142" y="14330"/>
                    <a:pt x="5146" y="14335"/>
                    <a:pt x="5149" y="14339"/>
                  </a:cubicBezTo>
                  <a:lnTo>
                    <a:pt x="5626" y="13994"/>
                  </a:lnTo>
                  <a:close/>
                  <a:moveTo>
                    <a:pt x="4810" y="12817"/>
                  </a:moveTo>
                  <a:cubicBezTo>
                    <a:pt x="4798" y="12801"/>
                    <a:pt x="4763" y="12754"/>
                    <a:pt x="4716" y="12693"/>
                  </a:cubicBezTo>
                  <a:cubicBezTo>
                    <a:pt x="4631" y="12583"/>
                    <a:pt x="4508" y="12425"/>
                    <a:pt x="4406" y="12294"/>
                  </a:cubicBezTo>
                  <a:cubicBezTo>
                    <a:pt x="4333" y="12200"/>
                    <a:pt x="4271" y="12121"/>
                    <a:pt x="4242" y="12083"/>
                  </a:cubicBezTo>
                  <a:cubicBezTo>
                    <a:pt x="4240" y="12103"/>
                    <a:pt x="4240" y="12103"/>
                    <a:pt x="4240" y="12103"/>
                  </a:cubicBezTo>
                  <a:cubicBezTo>
                    <a:pt x="4233" y="12096"/>
                    <a:pt x="4233" y="12096"/>
                    <a:pt x="4233" y="12096"/>
                  </a:cubicBezTo>
                  <a:cubicBezTo>
                    <a:pt x="4230" y="12099"/>
                    <a:pt x="4230" y="12099"/>
                    <a:pt x="4230" y="12099"/>
                  </a:cubicBezTo>
                  <a:cubicBezTo>
                    <a:pt x="4230" y="12099"/>
                    <a:pt x="4200" y="12121"/>
                    <a:pt x="4167" y="12151"/>
                  </a:cubicBezTo>
                  <a:cubicBezTo>
                    <a:pt x="4145" y="12171"/>
                    <a:pt x="4124" y="12194"/>
                    <a:pt x="4108" y="12212"/>
                  </a:cubicBezTo>
                  <a:cubicBezTo>
                    <a:pt x="4069" y="12258"/>
                    <a:pt x="4057" y="12312"/>
                    <a:pt x="4046" y="12345"/>
                  </a:cubicBezTo>
                  <a:cubicBezTo>
                    <a:pt x="4035" y="12376"/>
                    <a:pt x="4004" y="12492"/>
                    <a:pt x="3989" y="12531"/>
                  </a:cubicBezTo>
                  <a:cubicBezTo>
                    <a:pt x="3985" y="12542"/>
                    <a:pt x="3981" y="12555"/>
                    <a:pt x="3975" y="12569"/>
                  </a:cubicBezTo>
                  <a:cubicBezTo>
                    <a:pt x="3976" y="12568"/>
                    <a:pt x="3976" y="12568"/>
                    <a:pt x="3976" y="12568"/>
                  </a:cubicBezTo>
                  <a:cubicBezTo>
                    <a:pt x="3976" y="12568"/>
                    <a:pt x="3976" y="12568"/>
                    <a:pt x="3976" y="12568"/>
                  </a:cubicBezTo>
                  <a:cubicBezTo>
                    <a:pt x="3976" y="12569"/>
                    <a:pt x="4089" y="12672"/>
                    <a:pt x="4169" y="12744"/>
                  </a:cubicBezTo>
                  <a:cubicBezTo>
                    <a:pt x="4191" y="12764"/>
                    <a:pt x="4211" y="12780"/>
                    <a:pt x="4225" y="12792"/>
                  </a:cubicBezTo>
                  <a:cubicBezTo>
                    <a:pt x="4232" y="12798"/>
                    <a:pt x="4237" y="12802"/>
                    <a:pt x="4241" y="12805"/>
                  </a:cubicBezTo>
                  <a:cubicBezTo>
                    <a:pt x="4243" y="12807"/>
                    <a:pt x="4245" y="12808"/>
                    <a:pt x="4246" y="12809"/>
                  </a:cubicBezTo>
                  <a:cubicBezTo>
                    <a:pt x="4246" y="12810"/>
                    <a:pt x="4247" y="12810"/>
                    <a:pt x="4247" y="12811"/>
                  </a:cubicBezTo>
                  <a:cubicBezTo>
                    <a:pt x="4248" y="12811"/>
                    <a:pt x="4248" y="12811"/>
                    <a:pt x="4248" y="12812"/>
                  </a:cubicBezTo>
                  <a:cubicBezTo>
                    <a:pt x="4249" y="12812"/>
                    <a:pt x="4249" y="12812"/>
                    <a:pt x="4249" y="12813"/>
                  </a:cubicBezTo>
                  <a:cubicBezTo>
                    <a:pt x="4249" y="12813"/>
                    <a:pt x="4249" y="12813"/>
                    <a:pt x="4249" y="12813"/>
                  </a:cubicBezTo>
                  <a:cubicBezTo>
                    <a:pt x="4249" y="12813"/>
                    <a:pt x="4250" y="12813"/>
                    <a:pt x="4250" y="12813"/>
                  </a:cubicBezTo>
                  <a:cubicBezTo>
                    <a:pt x="4250" y="12814"/>
                    <a:pt x="4250" y="12814"/>
                    <a:pt x="4251" y="12815"/>
                  </a:cubicBezTo>
                  <a:cubicBezTo>
                    <a:pt x="4259" y="12826"/>
                    <a:pt x="4307" y="12878"/>
                    <a:pt x="4308" y="12928"/>
                  </a:cubicBezTo>
                  <a:cubicBezTo>
                    <a:pt x="4308" y="12930"/>
                    <a:pt x="4308" y="12932"/>
                    <a:pt x="4308" y="12934"/>
                  </a:cubicBezTo>
                  <a:cubicBezTo>
                    <a:pt x="4647" y="13032"/>
                    <a:pt x="4647" y="13032"/>
                    <a:pt x="4647" y="13032"/>
                  </a:cubicBezTo>
                  <a:cubicBezTo>
                    <a:pt x="4643" y="13039"/>
                    <a:pt x="4643" y="13039"/>
                    <a:pt x="4643" y="13039"/>
                  </a:cubicBezTo>
                  <a:cubicBezTo>
                    <a:pt x="4647" y="13032"/>
                    <a:pt x="4647" y="13032"/>
                    <a:pt x="4647" y="13032"/>
                  </a:cubicBezTo>
                  <a:cubicBezTo>
                    <a:pt x="4664" y="13037"/>
                    <a:pt x="4664" y="13037"/>
                    <a:pt x="4664" y="13037"/>
                  </a:cubicBezTo>
                  <a:cubicBezTo>
                    <a:pt x="4664" y="13037"/>
                    <a:pt x="4667" y="13030"/>
                    <a:pt x="4669" y="13029"/>
                  </a:cubicBezTo>
                  <a:cubicBezTo>
                    <a:pt x="4695" y="12986"/>
                    <a:pt x="4760" y="12884"/>
                    <a:pt x="4810" y="12817"/>
                  </a:cubicBezTo>
                  <a:close/>
                  <a:moveTo>
                    <a:pt x="4228" y="12817"/>
                  </a:moveTo>
                  <a:cubicBezTo>
                    <a:pt x="4227" y="12817"/>
                    <a:pt x="4227" y="12818"/>
                    <a:pt x="4227" y="12818"/>
                  </a:cubicBezTo>
                  <a:cubicBezTo>
                    <a:pt x="4227" y="12818"/>
                    <a:pt x="4227" y="12818"/>
                    <a:pt x="4228" y="12817"/>
                  </a:cubicBezTo>
                  <a:close/>
                  <a:moveTo>
                    <a:pt x="4227" y="12820"/>
                  </a:moveTo>
                  <a:cubicBezTo>
                    <a:pt x="4227" y="12820"/>
                    <a:pt x="4227" y="12820"/>
                    <a:pt x="4227" y="12820"/>
                  </a:cubicBezTo>
                  <a:cubicBezTo>
                    <a:pt x="4227" y="12820"/>
                    <a:pt x="4227" y="12820"/>
                    <a:pt x="4227" y="12820"/>
                  </a:cubicBezTo>
                  <a:cubicBezTo>
                    <a:pt x="4227" y="12820"/>
                    <a:pt x="4227" y="12820"/>
                    <a:pt x="4227" y="12820"/>
                  </a:cubicBezTo>
                  <a:close/>
                  <a:moveTo>
                    <a:pt x="3618" y="11204"/>
                  </a:moveTo>
                  <a:cubicBezTo>
                    <a:pt x="4231" y="12005"/>
                    <a:pt x="4231" y="12005"/>
                    <a:pt x="4231" y="12005"/>
                  </a:cubicBezTo>
                  <a:cubicBezTo>
                    <a:pt x="4231" y="12005"/>
                    <a:pt x="4231" y="12005"/>
                    <a:pt x="4231" y="12005"/>
                  </a:cubicBezTo>
                  <a:cubicBezTo>
                    <a:pt x="4231" y="12005"/>
                    <a:pt x="4237" y="12013"/>
                    <a:pt x="4247" y="12025"/>
                  </a:cubicBezTo>
                  <a:cubicBezTo>
                    <a:pt x="4247" y="12026"/>
                    <a:pt x="4247" y="12026"/>
                    <a:pt x="4247" y="12026"/>
                  </a:cubicBezTo>
                  <a:cubicBezTo>
                    <a:pt x="4247" y="12026"/>
                    <a:pt x="4247" y="12026"/>
                    <a:pt x="4247" y="12026"/>
                  </a:cubicBezTo>
                  <a:cubicBezTo>
                    <a:pt x="4292" y="12086"/>
                    <a:pt x="4427" y="12262"/>
                    <a:pt x="4548" y="12418"/>
                  </a:cubicBezTo>
                  <a:cubicBezTo>
                    <a:pt x="4622" y="12513"/>
                    <a:pt x="4696" y="12609"/>
                    <a:pt x="4752" y="12681"/>
                  </a:cubicBezTo>
                  <a:cubicBezTo>
                    <a:pt x="4780" y="12717"/>
                    <a:pt x="4803" y="12748"/>
                    <a:pt x="4819" y="12769"/>
                  </a:cubicBezTo>
                  <a:cubicBezTo>
                    <a:pt x="4825" y="12777"/>
                    <a:pt x="4829" y="12783"/>
                    <a:pt x="4833" y="12788"/>
                  </a:cubicBezTo>
                  <a:cubicBezTo>
                    <a:pt x="4833" y="12788"/>
                    <a:pt x="4833" y="12788"/>
                    <a:pt x="4833" y="12788"/>
                  </a:cubicBezTo>
                  <a:cubicBezTo>
                    <a:pt x="4878" y="12733"/>
                    <a:pt x="4917" y="12678"/>
                    <a:pt x="4917" y="12588"/>
                  </a:cubicBezTo>
                  <a:cubicBezTo>
                    <a:pt x="4917" y="12556"/>
                    <a:pt x="4912" y="12519"/>
                    <a:pt x="4900" y="12476"/>
                  </a:cubicBezTo>
                  <a:cubicBezTo>
                    <a:pt x="4882" y="12412"/>
                    <a:pt x="4864" y="12356"/>
                    <a:pt x="4864" y="12300"/>
                  </a:cubicBezTo>
                  <a:cubicBezTo>
                    <a:pt x="4864" y="12256"/>
                    <a:pt x="4876" y="12212"/>
                    <a:pt x="4907" y="12167"/>
                  </a:cubicBezTo>
                  <a:cubicBezTo>
                    <a:pt x="4971" y="12073"/>
                    <a:pt x="5054" y="11966"/>
                    <a:pt x="5077" y="11878"/>
                  </a:cubicBezTo>
                  <a:cubicBezTo>
                    <a:pt x="5026" y="11812"/>
                    <a:pt x="4636" y="11313"/>
                    <a:pt x="4565" y="11210"/>
                  </a:cubicBezTo>
                  <a:cubicBezTo>
                    <a:pt x="4543" y="11178"/>
                    <a:pt x="4533" y="11148"/>
                    <a:pt x="4533" y="11122"/>
                  </a:cubicBezTo>
                  <a:cubicBezTo>
                    <a:pt x="4533" y="11116"/>
                    <a:pt x="4535" y="11110"/>
                    <a:pt x="4536" y="11104"/>
                  </a:cubicBezTo>
                  <a:cubicBezTo>
                    <a:pt x="4135" y="11030"/>
                    <a:pt x="4135" y="11030"/>
                    <a:pt x="4135" y="11030"/>
                  </a:cubicBezTo>
                  <a:cubicBezTo>
                    <a:pt x="3964" y="11080"/>
                    <a:pt x="3964" y="11080"/>
                    <a:pt x="3964" y="11080"/>
                  </a:cubicBezTo>
                  <a:cubicBezTo>
                    <a:pt x="3965" y="11081"/>
                    <a:pt x="3965" y="11081"/>
                    <a:pt x="3965" y="11081"/>
                  </a:cubicBezTo>
                  <a:cubicBezTo>
                    <a:pt x="3631" y="11196"/>
                    <a:pt x="3631" y="11196"/>
                    <a:pt x="3631" y="11196"/>
                  </a:cubicBezTo>
                  <a:lnTo>
                    <a:pt x="3618" y="11204"/>
                  </a:lnTo>
                  <a:close/>
                  <a:moveTo>
                    <a:pt x="4984" y="10158"/>
                  </a:moveTo>
                  <a:cubicBezTo>
                    <a:pt x="4988" y="10190"/>
                    <a:pt x="5022" y="10487"/>
                    <a:pt x="5059" y="10797"/>
                  </a:cubicBezTo>
                  <a:cubicBezTo>
                    <a:pt x="5097" y="11126"/>
                    <a:pt x="5139" y="11470"/>
                    <a:pt x="5150" y="11525"/>
                  </a:cubicBezTo>
                  <a:cubicBezTo>
                    <a:pt x="5155" y="11551"/>
                    <a:pt x="5157" y="11579"/>
                    <a:pt x="5157" y="11607"/>
                  </a:cubicBezTo>
                  <a:cubicBezTo>
                    <a:pt x="5157" y="11688"/>
                    <a:pt x="5139" y="11772"/>
                    <a:pt x="5123" y="11841"/>
                  </a:cubicBezTo>
                  <a:cubicBezTo>
                    <a:pt x="5130" y="11843"/>
                    <a:pt x="5130" y="11843"/>
                    <a:pt x="5130" y="11843"/>
                  </a:cubicBezTo>
                  <a:cubicBezTo>
                    <a:pt x="5870" y="11909"/>
                    <a:pt x="5870" y="11909"/>
                    <a:pt x="5870" y="11909"/>
                  </a:cubicBezTo>
                  <a:cubicBezTo>
                    <a:pt x="5870" y="11909"/>
                    <a:pt x="5870" y="11909"/>
                    <a:pt x="5870" y="11909"/>
                  </a:cubicBezTo>
                  <a:cubicBezTo>
                    <a:pt x="5875" y="11909"/>
                    <a:pt x="5875" y="11909"/>
                    <a:pt x="5875" y="11909"/>
                  </a:cubicBezTo>
                  <a:cubicBezTo>
                    <a:pt x="5906" y="11634"/>
                    <a:pt x="5906" y="11634"/>
                    <a:pt x="5906" y="11634"/>
                  </a:cubicBezTo>
                  <a:cubicBezTo>
                    <a:pt x="5858" y="11528"/>
                    <a:pt x="5858" y="11528"/>
                    <a:pt x="5858" y="11528"/>
                  </a:cubicBezTo>
                  <a:cubicBezTo>
                    <a:pt x="5971" y="10037"/>
                    <a:pt x="5971" y="10037"/>
                    <a:pt x="5971" y="10037"/>
                  </a:cubicBezTo>
                  <a:cubicBezTo>
                    <a:pt x="5918" y="10040"/>
                    <a:pt x="5861" y="10044"/>
                    <a:pt x="5799" y="10049"/>
                  </a:cubicBezTo>
                  <a:cubicBezTo>
                    <a:pt x="5565" y="10067"/>
                    <a:pt x="5270" y="10100"/>
                    <a:pt x="4984" y="10158"/>
                  </a:cubicBezTo>
                  <a:close/>
                  <a:moveTo>
                    <a:pt x="6018" y="9998"/>
                  </a:moveTo>
                  <a:cubicBezTo>
                    <a:pt x="6166" y="9990"/>
                    <a:pt x="6258" y="9989"/>
                    <a:pt x="6258" y="9989"/>
                  </a:cubicBezTo>
                  <a:cubicBezTo>
                    <a:pt x="6258" y="10013"/>
                    <a:pt x="6258" y="10013"/>
                    <a:pt x="6258" y="10013"/>
                  </a:cubicBezTo>
                  <a:cubicBezTo>
                    <a:pt x="6271" y="9975"/>
                    <a:pt x="6313" y="9852"/>
                    <a:pt x="6372" y="9680"/>
                  </a:cubicBezTo>
                  <a:cubicBezTo>
                    <a:pt x="6477" y="9369"/>
                    <a:pt x="6636" y="8902"/>
                    <a:pt x="6768" y="8513"/>
                  </a:cubicBezTo>
                  <a:cubicBezTo>
                    <a:pt x="6834" y="8318"/>
                    <a:pt x="6893" y="8143"/>
                    <a:pt x="6936" y="8016"/>
                  </a:cubicBezTo>
                  <a:cubicBezTo>
                    <a:pt x="6957" y="7954"/>
                    <a:pt x="6974" y="7904"/>
                    <a:pt x="6986" y="7868"/>
                  </a:cubicBezTo>
                  <a:cubicBezTo>
                    <a:pt x="6985" y="7846"/>
                    <a:pt x="6985" y="7846"/>
                    <a:pt x="6985" y="7846"/>
                  </a:cubicBezTo>
                  <a:cubicBezTo>
                    <a:pt x="6929" y="7859"/>
                    <a:pt x="6890" y="7884"/>
                    <a:pt x="6864" y="7906"/>
                  </a:cubicBezTo>
                  <a:cubicBezTo>
                    <a:pt x="6850" y="7918"/>
                    <a:pt x="6840" y="7929"/>
                    <a:pt x="6834" y="7937"/>
                  </a:cubicBezTo>
                  <a:cubicBezTo>
                    <a:pt x="6831" y="7941"/>
                    <a:pt x="6829" y="7944"/>
                    <a:pt x="6828" y="7946"/>
                  </a:cubicBezTo>
                  <a:cubicBezTo>
                    <a:pt x="6827" y="7946"/>
                    <a:pt x="6827" y="7947"/>
                    <a:pt x="6827" y="7947"/>
                  </a:cubicBezTo>
                  <a:cubicBezTo>
                    <a:pt x="6807" y="7983"/>
                    <a:pt x="6788" y="8022"/>
                    <a:pt x="6774" y="8052"/>
                  </a:cubicBezTo>
                  <a:cubicBezTo>
                    <a:pt x="6759" y="8082"/>
                    <a:pt x="6750" y="8103"/>
                    <a:pt x="6750" y="8103"/>
                  </a:cubicBezTo>
                  <a:cubicBezTo>
                    <a:pt x="6744" y="8116"/>
                    <a:pt x="6744" y="8116"/>
                    <a:pt x="6744" y="8116"/>
                  </a:cubicBezTo>
                  <a:cubicBezTo>
                    <a:pt x="6733" y="8125"/>
                    <a:pt x="6733" y="8125"/>
                    <a:pt x="6733" y="8125"/>
                  </a:cubicBezTo>
                  <a:cubicBezTo>
                    <a:pt x="6713" y="8140"/>
                    <a:pt x="6692" y="8147"/>
                    <a:pt x="6672" y="8150"/>
                  </a:cubicBezTo>
                  <a:lnTo>
                    <a:pt x="6018" y="9998"/>
                  </a:lnTo>
                  <a:close/>
                  <a:moveTo>
                    <a:pt x="8025" y="8105"/>
                  </a:moveTo>
                  <a:cubicBezTo>
                    <a:pt x="8021" y="8102"/>
                    <a:pt x="8005" y="8092"/>
                    <a:pt x="7980" y="8076"/>
                  </a:cubicBezTo>
                  <a:cubicBezTo>
                    <a:pt x="7891" y="8019"/>
                    <a:pt x="7686" y="7899"/>
                    <a:pt x="7534" y="7863"/>
                  </a:cubicBezTo>
                  <a:cubicBezTo>
                    <a:pt x="7534" y="7862"/>
                    <a:pt x="7533" y="7862"/>
                    <a:pt x="7532" y="7862"/>
                  </a:cubicBezTo>
                  <a:cubicBezTo>
                    <a:pt x="7530" y="7866"/>
                    <a:pt x="7527" y="7870"/>
                    <a:pt x="7524" y="7873"/>
                  </a:cubicBezTo>
                  <a:cubicBezTo>
                    <a:pt x="6863" y="9940"/>
                    <a:pt x="6863" y="9940"/>
                    <a:pt x="6863" y="9940"/>
                  </a:cubicBezTo>
                  <a:cubicBezTo>
                    <a:pt x="7220" y="9693"/>
                    <a:pt x="7220" y="9693"/>
                    <a:pt x="7220" y="9693"/>
                  </a:cubicBezTo>
                  <a:cubicBezTo>
                    <a:pt x="8022" y="8113"/>
                    <a:pt x="8022" y="8113"/>
                    <a:pt x="8022" y="8113"/>
                  </a:cubicBezTo>
                  <a:cubicBezTo>
                    <a:pt x="8023" y="8111"/>
                    <a:pt x="8024" y="8108"/>
                    <a:pt x="8025" y="8105"/>
                  </a:cubicBezTo>
                  <a:close/>
                  <a:moveTo>
                    <a:pt x="7489" y="7853"/>
                  </a:moveTo>
                  <a:cubicBezTo>
                    <a:pt x="7392" y="7832"/>
                    <a:pt x="7301" y="7823"/>
                    <a:pt x="7218" y="7823"/>
                  </a:cubicBezTo>
                  <a:cubicBezTo>
                    <a:pt x="7153" y="7823"/>
                    <a:pt x="7093" y="7828"/>
                    <a:pt x="7037" y="7837"/>
                  </a:cubicBezTo>
                  <a:cubicBezTo>
                    <a:pt x="7031" y="7846"/>
                    <a:pt x="7031" y="7846"/>
                    <a:pt x="7031" y="7846"/>
                  </a:cubicBezTo>
                  <a:cubicBezTo>
                    <a:pt x="6951" y="8087"/>
                    <a:pt x="6306" y="9986"/>
                    <a:pt x="6289" y="10036"/>
                  </a:cubicBezTo>
                  <a:cubicBezTo>
                    <a:pt x="6126" y="10875"/>
                    <a:pt x="6126" y="10875"/>
                    <a:pt x="6126" y="10875"/>
                  </a:cubicBezTo>
                  <a:cubicBezTo>
                    <a:pt x="6714" y="10883"/>
                    <a:pt x="6714" y="10883"/>
                    <a:pt x="6714" y="10883"/>
                  </a:cubicBezTo>
                  <a:cubicBezTo>
                    <a:pt x="6809" y="9991"/>
                    <a:pt x="6809" y="9991"/>
                    <a:pt x="6809" y="9991"/>
                  </a:cubicBezTo>
                  <a:cubicBezTo>
                    <a:pt x="7486" y="7874"/>
                    <a:pt x="7486" y="7874"/>
                    <a:pt x="7486" y="7874"/>
                  </a:cubicBezTo>
                  <a:cubicBezTo>
                    <a:pt x="7487" y="7870"/>
                    <a:pt x="7488" y="7860"/>
                    <a:pt x="7489" y="7853"/>
                  </a:cubicBezTo>
                  <a:close/>
                  <a:moveTo>
                    <a:pt x="6007" y="10035"/>
                  </a:moveTo>
                  <a:cubicBezTo>
                    <a:pt x="5895" y="11521"/>
                    <a:pt x="5895" y="11521"/>
                    <a:pt x="5895" y="11521"/>
                  </a:cubicBezTo>
                  <a:cubicBezTo>
                    <a:pt x="5922" y="11582"/>
                    <a:pt x="5922" y="11582"/>
                    <a:pt x="5922" y="11582"/>
                  </a:cubicBezTo>
                  <a:cubicBezTo>
                    <a:pt x="5985" y="11398"/>
                    <a:pt x="5985" y="11398"/>
                    <a:pt x="5985" y="11398"/>
                  </a:cubicBezTo>
                  <a:cubicBezTo>
                    <a:pt x="6082" y="10910"/>
                    <a:pt x="6082" y="10910"/>
                    <a:pt x="6082" y="10910"/>
                  </a:cubicBezTo>
                  <a:cubicBezTo>
                    <a:pt x="6254" y="10027"/>
                    <a:pt x="6254" y="10027"/>
                    <a:pt x="6254" y="10027"/>
                  </a:cubicBezTo>
                  <a:cubicBezTo>
                    <a:pt x="6254" y="10026"/>
                    <a:pt x="6254" y="10026"/>
                    <a:pt x="6254" y="10026"/>
                  </a:cubicBezTo>
                  <a:cubicBezTo>
                    <a:pt x="6254" y="10026"/>
                    <a:pt x="6254" y="10026"/>
                    <a:pt x="6254" y="10026"/>
                  </a:cubicBezTo>
                  <a:cubicBezTo>
                    <a:pt x="6235" y="10026"/>
                    <a:pt x="6144" y="10028"/>
                    <a:pt x="6007" y="10035"/>
                  </a:cubicBezTo>
                  <a:close/>
                  <a:moveTo>
                    <a:pt x="5043" y="10973"/>
                  </a:moveTo>
                  <a:cubicBezTo>
                    <a:pt x="5019" y="10977"/>
                    <a:pt x="4940" y="10989"/>
                    <a:pt x="4857" y="11002"/>
                  </a:cubicBezTo>
                  <a:cubicBezTo>
                    <a:pt x="4807" y="11010"/>
                    <a:pt x="4756" y="11018"/>
                    <a:pt x="4715" y="11025"/>
                  </a:cubicBezTo>
                  <a:cubicBezTo>
                    <a:pt x="4675" y="11032"/>
                    <a:pt x="4644" y="11039"/>
                    <a:pt x="4639" y="11041"/>
                  </a:cubicBezTo>
                  <a:cubicBezTo>
                    <a:pt x="4628" y="11045"/>
                    <a:pt x="4609" y="11054"/>
                    <a:pt x="4595" y="11068"/>
                  </a:cubicBezTo>
                  <a:cubicBezTo>
                    <a:pt x="4580" y="11082"/>
                    <a:pt x="4570" y="11099"/>
                    <a:pt x="4570" y="11122"/>
                  </a:cubicBezTo>
                  <a:cubicBezTo>
                    <a:pt x="4570" y="11139"/>
                    <a:pt x="4576" y="11161"/>
                    <a:pt x="4595" y="11189"/>
                  </a:cubicBezTo>
                  <a:cubicBezTo>
                    <a:pt x="4631" y="11243"/>
                    <a:pt x="4761" y="11412"/>
                    <a:pt x="4881" y="11567"/>
                  </a:cubicBezTo>
                  <a:cubicBezTo>
                    <a:pt x="4968" y="11679"/>
                    <a:pt x="5049" y="11784"/>
                    <a:pt x="5088" y="11834"/>
                  </a:cubicBezTo>
                  <a:cubicBezTo>
                    <a:pt x="5104" y="11765"/>
                    <a:pt x="5121" y="11683"/>
                    <a:pt x="5121" y="11607"/>
                  </a:cubicBezTo>
                  <a:cubicBezTo>
                    <a:pt x="5121" y="11581"/>
                    <a:pt x="5119" y="11556"/>
                    <a:pt x="5114" y="11532"/>
                  </a:cubicBezTo>
                  <a:cubicBezTo>
                    <a:pt x="5105" y="11484"/>
                    <a:pt x="5075" y="11241"/>
                    <a:pt x="5043" y="10973"/>
                  </a:cubicBezTo>
                  <a:close/>
                  <a:moveTo>
                    <a:pt x="5671" y="13962"/>
                  </a:moveTo>
                  <a:cubicBezTo>
                    <a:pt x="5776" y="13886"/>
                    <a:pt x="5776" y="13886"/>
                    <a:pt x="5776" y="13886"/>
                  </a:cubicBezTo>
                  <a:cubicBezTo>
                    <a:pt x="5782" y="13886"/>
                    <a:pt x="5782" y="13886"/>
                    <a:pt x="5782" y="13886"/>
                  </a:cubicBezTo>
                  <a:cubicBezTo>
                    <a:pt x="5782" y="13886"/>
                    <a:pt x="5887" y="13886"/>
                    <a:pt x="6012" y="13884"/>
                  </a:cubicBezTo>
                  <a:cubicBezTo>
                    <a:pt x="6137" y="13882"/>
                    <a:pt x="6283" y="13878"/>
                    <a:pt x="6363" y="13870"/>
                  </a:cubicBezTo>
                  <a:cubicBezTo>
                    <a:pt x="6376" y="13869"/>
                    <a:pt x="6388" y="13867"/>
                    <a:pt x="6400" y="13866"/>
                  </a:cubicBezTo>
                  <a:cubicBezTo>
                    <a:pt x="6396" y="13866"/>
                    <a:pt x="6396" y="13866"/>
                    <a:pt x="6396" y="13866"/>
                  </a:cubicBezTo>
                  <a:cubicBezTo>
                    <a:pt x="6396" y="13866"/>
                    <a:pt x="6396" y="13866"/>
                    <a:pt x="6396" y="13866"/>
                  </a:cubicBezTo>
                  <a:cubicBezTo>
                    <a:pt x="6710" y="10919"/>
                    <a:pt x="6710" y="10919"/>
                    <a:pt x="6710" y="10919"/>
                  </a:cubicBezTo>
                  <a:cubicBezTo>
                    <a:pt x="6119" y="10911"/>
                    <a:pt x="6119" y="10911"/>
                    <a:pt x="6119" y="10911"/>
                  </a:cubicBezTo>
                  <a:cubicBezTo>
                    <a:pt x="6118" y="10917"/>
                    <a:pt x="6118" y="10917"/>
                    <a:pt x="6118" y="10917"/>
                  </a:cubicBezTo>
                  <a:cubicBezTo>
                    <a:pt x="6020" y="11408"/>
                    <a:pt x="6020" y="11408"/>
                    <a:pt x="6020" y="11408"/>
                  </a:cubicBezTo>
                  <a:cubicBezTo>
                    <a:pt x="5942" y="11635"/>
                    <a:pt x="5942" y="11635"/>
                    <a:pt x="5942" y="11635"/>
                  </a:cubicBezTo>
                  <a:cubicBezTo>
                    <a:pt x="5685" y="13903"/>
                    <a:pt x="5685" y="13903"/>
                    <a:pt x="5685" y="13903"/>
                  </a:cubicBezTo>
                  <a:lnTo>
                    <a:pt x="5671" y="13962"/>
                  </a:lnTo>
                  <a:close/>
                  <a:moveTo>
                    <a:pt x="8568" y="10341"/>
                  </a:moveTo>
                  <a:cubicBezTo>
                    <a:pt x="8546" y="10324"/>
                    <a:pt x="8546" y="10324"/>
                    <a:pt x="8546" y="10324"/>
                  </a:cubicBezTo>
                  <a:cubicBezTo>
                    <a:pt x="8525" y="10311"/>
                    <a:pt x="8499" y="10293"/>
                    <a:pt x="8468" y="10273"/>
                  </a:cubicBezTo>
                  <a:cubicBezTo>
                    <a:pt x="8280" y="10150"/>
                    <a:pt x="7947" y="9926"/>
                    <a:pt x="7878" y="9880"/>
                  </a:cubicBezTo>
                  <a:cubicBezTo>
                    <a:pt x="7874" y="9891"/>
                    <a:pt x="7868" y="9909"/>
                    <a:pt x="7861" y="9931"/>
                  </a:cubicBezTo>
                  <a:cubicBezTo>
                    <a:pt x="7820" y="10063"/>
                    <a:pt x="7732" y="10367"/>
                    <a:pt x="7656" y="10638"/>
                  </a:cubicBezTo>
                  <a:cubicBezTo>
                    <a:pt x="7587" y="10881"/>
                    <a:pt x="7526" y="11096"/>
                    <a:pt x="7515" y="11138"/>
                  </a:cubicBezTo>
                  <a:cubicBezTo>
                    <a:pt x="7514" y="11144"/>
                    <a:pt x="7514" y="11144"/>
                    <a:pt x="7514" y="11144"/>
                  </a:cubicBezTo>
                  <a:cubicBezTo>
                    <a:pt x="7837" y="11300"/>
                    <a:pt x="8004" y="11387"/>
                    <a:pt x="8047" y="11409"/>
                  </a:cubicBezTo>
                  <a:lnTo>
                    <a:pt x="8568" y="10341"/>
                  </a:lnTo>
                  <a:close/>
                  <a:moveTo>
                    <a:pt x="9271" y="8897"/>
                  </a:moveTo>
                  <a:cubicBezTo>
                    <a:pt x="9128" y="8818"/>
                    <a:pt x="8866" y="8654"/>
                    <a:pt x="8734" y="8573"/>
                  </a:cubicBezTo>
                  <a:cubicBezTo>
                    <a:pt x="8723" y="8580"/>
                    <a:pt x="8723" y="8580"/>
                    <a:pt x="8723" y="8580"/>
                  </a:cubicBezTo>
                  <a:cubicBezTo>
                    <a:pt x="8677" y="8652"/>
                    <a:pt x="8497" y="8933"/>
                    <a:pt x="8315" y="9214"/>
                  </a:cubicBezTo>
                  <a:cubicBezTo>
                    <a:pt x="8209" y="9378"/>
                    <a:pt x="8103" y="9541"/>
                    <a:pt x="8023" y="9663"/>
                  </a:cubicBezTo>
                  <a:cubicBezTo>
                    <a:pt x="7982" y="9725"/>
                    <a:pt x="7948" y="9776"/>
                    <a:pt x="7924" y="9812"/>
                  </a:cubicBezTo>
                  <a:cubicBezTo>
                    <a:pt x="7912" y="9830"/>
                    <a:pt x="7902" y="9844"/>
                    <a:pt x="7895" y="9853"/>
                  </a:cubicBezTo>
                  <a:cubicBezTo>
                    <a:pt x="7894" y="9855"/>
                    <a:pt x="7893" y="9856"/>
                    <a:pt x="7892" y="9858"/>
                  </a:cubicBezTo>
                  <a:cubicBezTo>
                    <a:pt x="7935" y="9886"/>
                    <a:pt x="8087" y="9989"/>
                    <a:pt x="8241" y="10091"/>
                  </a:cubicBezTo>
                  <a:cubicBezTo>
                    <a:pt x="8332" y="10152"/>
                    <a:pt x="8423" y="10212"/>
                    <a:pt x="8492" y="10258"/>
                  </a:cubicBezTo>
                  <a:cubicBezTo>
                    <a:pt x="8520" y="10276"/>
                    <a:pt x="8543" y="10291"/>
                    <a:pt x="8562" y="10304"/>
                  </a:cubicBezTo>
                  <a:cubicBezTo>
                    <a:pt x="8570" y="10304"/>
                    <a:pt x="8578" y="10305"/>
                    <a:pt x="8585" y="10305"/>
                  </a:cubicBezTo>
                  <a:lnTo>
                    <a:pt x="9271" y="8897"/>
                  </a:lnTo>
                  <a:close/>
                  <a:moveTo>
                    <a:pt x="8682" y="8541"/>
                  </a:moveTo>
                  <a:cubicBezTo>
                    <a:pt x="8588" y="8485"/>
                    <a:pt x="8171" y="8175"/>
                    <a:pt x="8090" y="8114"/>
                  </a:cubicBezTo>
                  <a:cubicBezTo>
                    <a:pt x="8074" y="8116"/>
                    <a:pt x="8065" y="8116"/>
                    <a:pt x="8065" y="8116"/>
                  </a:cubicBezTo>
                  <a:cubicBezTo>
                    <a:pt x="8064" y="8116"/>
                    <a:pt x="8064" y="8116"/>
                    <a:pt x="8064" y="8116"/>
                  </a:cubicBezTo>
                  <a:cubicBezTo>
                    <a:pt x="8054" y="8130"/>
                    <a:pt x="8054" y="8130"/>
                    <a:pt x="8054" y="8130"/>
                  </a:cubicBezTo>
                  <a:cubicBezTo>
                    <a:pt x="7248" y="9717"/>
                    <a:pt x="7248" y="9717"/>
                    <a:pt x="7248" y="9717"/>
                  </a:cubicBezTo>
                  <a:cubicBezTo>
                    <a:pt x="6849" y="9994"/>
                    <a:pt x="6849" y="9994"/>
                    <a:pt x="6849" y="9994"/>
                  </a:cubicBezTo>
                  <a:cubicBezTo>
                    <a:pt x="6847" y="9990"/>
                    <a:pt x="6847" y="9990"/>
                    <a:pt x="6847" y="9990"/>
                  </a:cubicBezTo>
                  <a:cubicBezTo>
                    <a:pt x="6844" y="9999"/>
                    <a:pt x="6844" y="9999"/>
                    <a:pt x="6844" y="9999"/>
                  </a:cubicBezTo>
                  <a:cubicBezTo>
                    <a:pt x="6750" y="10885"/>
                    <a:pt x="6750" y="10885"/>
                    <a:pt x="6750" y="10885"/>
                  </a:cubicBezTo>
                  <a:cubicBezTo>
                    <a:pt x="6818" y="10897"/>
                    <a:pt x="7114" y="10952"/>
                    <a:pt x="7475" y="11125"/>
                  </a:cubicBezTo>
                  <a:cubicBezTo>
                    <a:pt x="7476" y="11126"/>
                    <a:pt x="7478" y="11127"/>
                    <a:pt x="7479" y="11128"/>
                  </a:cubicBezTo>
                  <a:cubicBezTo>
                    <a:pt x="7484" y="11124"/>
                    <a:pt x="7490" y="11120"/>
                    <a:pt x="7493" y="11118"/>
                  </a:cubicBezTo>
                  <a:cubicBezTo>
                    <a:pt x="7514" y="11043"/>
                    <a:pt x="7590" y="10771"/>
                    <a:pt x="7668" y="10498"/>
                  </a:cubicBezTo>
                  <a:cubicBezTo>
                    <a:pt x="7714" y="10338"/>
                    <a:pt x="7760" y="10177"/>
                    <a:pt x="7796" y="10057"/>
                  </a:cubicBezTo>
                  <a:cubicBezTo>
                    <a:pt x="7813" y="9997"/>
                    <a:pt x="7829" y="9947"/>
                    <a:pt x="7840" y="9912"/>
                  </a:cubicBezTo>
                  <a:cubicBezTo>
                    <a:pt x="7845" y="9894"/>
                    <a:pt x="7850" y="9880"/>
                    <a:pt x="7854" y="9870"/>
                  </a:cubicBezTo>
                  <a:cubicBezTo>
                    <a:pt x="7855" y="9865"/>
                    <a:pt x="7857" y="9862"/>
                    <a:pt x="7858" y="9859"/>
                  </a:cubicBezTo>
                  <a:cubicBezTo>
                    <a:pt x="7859" y="9857"/>
                    <a:pt x="7860" y="9856"/>
                    <a:pt x="7860" y="9854"/>
                  </a:cubicBezTo>
                  <a:cubicBezTo>
                    <a:pt x="7862" y="9854"/>
                    <a:pt x="7861" y="9851"/>
                    <a:pt x="7865" y="9850"/>
                  </a:cubicBezTo>
                  <a:cubicBezTo>
                    <a:pt x="7877" y="9836"/>
                    <a:pt x="7937" y="9747"/>
                    <a:pt x="8018" y="9623"/>
                  </a:cubicBezTo>
                  <a:cubicBezTo>
                    <a:pt x="8141" y="9435"/>
                    <a:pt x="8315" y="9166"/>
                    <a:pt x="8458" y="8944"/>
                  </a:cubicBezTo>
                  <a:cubicBezTo>
                    <a:pt x="8576" y="8761"/>
                    <a:pt x="8673" y="8610"/>
                    <a:pt x="8703" y="8563"/>
                  </a:cubicBezTo>
                  <a:cubicBezTo>
                    <a:pt x="8702" y="8554"/>
                    <a:pt x="8702" y="8554"/>
                    <a:pt x="8702" y="8554"/>
                  </a:cubicBezTo>
                  <a:cubicBezTo>
                    <a:pt x="8695" y="8549"/>
                    <a:pt x="8688" y="8545"/>
                    <a:pt x="8682" y="8541"/>
                  </a:cubicBezTo>
                  <a:close/>
                  <a:moveTo>
                    <a:pt x="6511" y="8148"/>
                  </a:moveTo>
                  <a:cubicBezTo>
                    <a:pt x="6503" y="8171"/>
                    <a:pt x="6495" y="8193"/>
                    <a:pt x="6484" y="8214"/>
                  </a:cubicBezTo>
                  <a:cubicBezTo>
                    <a:pt x="6463" y="8258"/>
                    <a:pt x="6430" y="8303"/>
                    <a:pt x="6377" y="8326"/>
                  </a:cubicBezTo>
                  <a:cubicBezTo>
                    <a:pt x="6349" y="8338"/>
                    <a:pt x="6322" y="8342"/>
                    <a:pt x="6288" y="8346"/>
                  </a:cubicBezTo>
                  <a:cubicBezTo>
                    <a:pt x="6255" y="8349"/>
                    <a:pt x="6217" y="8350"/>
                    <a:pt x="6174" y="8350"/>
                  </a:cubicBezTo>
                  <a:cubicBezTo>
                    <a:pt x="5967" y="8350"/>
                    <a:pt x="5645" y="8320"/>
                    <a:pt x="5393" y="8299"/>
                  </a:cubicBezTo>
                  <a:cubicBezTo>
                    <a:pt x="5409" y="8383"/>
                    <a:pt x="5441" y="8553"/>
                    <a:pt x="5452" y="8639"/>
                  </a:cubicBezTo>
                  <a:cubicBezTo>
                    <a:pt x="5457" y="8683"/>
                    <a:pt x="5461" y="8724"/>
                    <a:pt x="5461" y="8763"/>
                  </a:cubicBezTo>
                  <a:cubicBezTo>
                    <a:pt x="5461" y="8829"/>
                    <a:pt x="5449" y="8887"/>
                    <a:pt x="5410" y="8931"/>
                  </a:cubicBezTo>
                  <a:cubicBezTo>
                    <a:pt x="5381" y="8961"/>
                    <a:pt x="5331" y="9021"/>
                    <a:pt x="5259" y="9078"/>
                  </a:cubicBezTo>
                  <a:cubicBezTo>
                    <a:pt x="5274" y="9096"/>
                    <a:pt x="5307" y="9136"/>
                    <a:pt x="5316" y="9170"/>
                  </a:cubicBezTo>
                  <a:cubicBezTo>
                    <a:pt x="5320" y="9186"/>
                    <a:pt x="5344" y="9236"/>
                    <a:pt x="5369" y="9295"/>
                  </a:cubicBezTo>
                  <a:cubicBezTo>
                    <a:pt x="5393" y="9355"/>
                    <a:pt x="5418" y="9426"/>
                    <a:pt x="5423" y="9492"/>
                  </a:cubicBezTo>
                  <a:cubicBezTo>
                    <a:pt x="5424" y="9505"/>
                    <a:pt x="5424" y="9521"/>
                    <a:pt x="5424" y="9539"/>
                  </a:cubicBezTo>
                  <a:cubicBezTo>
                    <a:pt x="5424" y="9675"/>
                    <a:pt x="5401" y="9943"/>
                    <a:pt x="5392" y="10036"/>
                  </a:cubicBezTo>
                  <a:cubicBezTo>
                    <a:pt x="5397" y="10054"/>
                    <a:pt x="5397" y="10054"/>
                    <a:pt x="5397" y="10054"/>
                  </a:cubicBezTo>
                  <a:cubicBezTo>
                    <a:pt x="5619" y="10025"/>
                    <a:pt x="5824" y="10009"/>
                    <a:pt x="5979" y="10001"/>
                  </a:cubicBezTo>
                  <a:cubicBezTo>
                    <a:pt x="6626" y="8174"/>
                    <a:pt x="6626" y="8174"/>
                    <a:pt x="6626" y="8174"/>
                  </a:cubicBezTo>
                  <a:cubicBezTo>
                    <a:pt x="6623" y="8173"/>
                    <a:pt x="6623" y="8173"/>
                    <a:pt x="6623" y="8173"/>
                  </a:cubicBezTo>
                  <a:cubicBezTo>
                    <a:pt x="6628" y="8154"/>
                    <a:pt x="6628" y="8154"/>
                    <a:pt x="6628" y="8154"/>
                  </a:cubicBezTo>
                  <a:cubicBezTo>
                    <a:pt x="6626" y="8154"/>
                    <a:pt x="6625" y="8154"/>
                    <a:pt x="6623" y="8154"/>
                  </a:cubicBezTo>
                  <a:cubicBezTo>
                    <a:pt x="6610" y="8154"/>
                    <a:pt x="6598" y="8154"/>
                    <a:pt x="6586" y="8153"/>
                  </a:cubicBezTo>
                  <a:cubicBezTo>
                    <a:pt x="6580" y="8153"/>
                    <a:pt x="6553" y="8151"/>
                    <a:pt x="6511" y="8148"/>
                  </a:cubicBezTo>
                  <a:close/>
                  <a:moveTo>
                    <a:pt x="6366" y="8138"/>
                  </a:moveTo>
                  <a:cubicBezTo>
                    <a:pt x="5978" y="8110"/>
                    <a:pt x="5207" y="8055"/>
                    <a:pt x="5121" y="8049"/>
                  </a:cubicBezTo>
                  <a:cubicBezTo>
                    <a:pt x="5072" y="8059"/>
                    <a:pt x="4814" y="8112"/>
                    <a:pt x="4606" y="8144"/>
                  </a:cubicBezTo>
                  <a:cubicBezTo>
                    <a:pt x="4697" y="8139"/>
                    <a:pt x="4786" y="8137"/>
                    <a:pt x="4868" y="8137"/>
                  </a:cubicBezTo>
                  <a:cubicBezTo>
                    <a:pt x="4979" y="8137"/>
                    <a:pt x="5079" y="8140"/>
                    <a:pt x="5158" y="8144"/>
                  </a:cubicBezTo>
                  <a:cubicBezTo>
                    <a:pt x="5406" y="8155"/>
                    <a:pt x="5906" y="8211"/>
                    <a:pt x="6174" y="8211"/>
                  </a:cubicBezTo>
                  <a:cubicBezTo>
                    <a:pt x="6214" y="8211"/>
                    <a:pt x="6249" y="8209"/>
                    <a:pt x="6275" y="8207"/>
                  </a:cubicBezTo>
                  <a:cubicBezTo>
                    <a:pt x="6301" y="8205"/>
                    <a:pt x="6320" y="8200"/>
                    <a:pt x="6321" y="8199"/>
                  </a:cubicBezTo>
                  <a:cubicBezTo>
                    <a:pt x="6332" y="8194"/>
                    <a:pt x="6345" y="8182"/>
                    <a:pt x="6359" y="8153"/>
                  </a:cubicBezTo>
                  <a:cubicBezTo>
                    <a:pt x="6361" y="8148"/>
                    <a:pt x="6364" y="8143"/>
                    <a:pt x="6366" y="8138"/>
                  </a:cubicBezTo>
                  <a:close/>
                  <a:moveTo>
                    <a:pt x="4197" y="9277"/>
                  </a:moveTo>
                  <a:cubicBezTo>
                    <a:pt x="4623" y="10205"/>
                    <a:pt x="4623" y="10205"/>
                    <a:pt x="4623" y="10205"/>
                  </a:cubicBezTo>
                  <a:cubicBezTo>
                    <a:pt x="4697" y="10186"/>
                    <a:pt x="4770" y="10168"/>
                    <a:pt x="4839" y="10152"/>
                  </a:cubicBezTo>
                  <a:cubicBezTo>
                    <a:pt x="5008" y="10112"/>
                    <a:pt x="5185" y="10082"/>
                    <a:pt x="5353" y="10060"/>
                  </a:cubicBezTo>
                  <a:cubicBezTo>
                    <a:pt x="5365" y="10042"/>
                    <a:pt x="5365" y="10042"/>
                    <a:pt x="5365" y="10042"/>
                  </a:cubicBezTo>
                  <a:cubicBezTo>
                    <a:pt x="5373" y="9958"/>
                    <a:pt x="5398" y="9677"/>
                    <a:pt x="5398" y="9539"/>
                  </a:cubicBezTo>
                  <a:cubicBezTo>
                    <a:pt x="5398" y="9521"/>
                    <a:pt x="5397" y="9506"/>
                    <a:pt x="5397" y="9494"/>
                  </a:cubicBezTo>
                  <a:cubicBezTo>
                    <a:pt x="5392" y="9433"/>
                    <a:pt x="5368" y="9364"/>
                    <a:pt x="5344" y="9305"/>
                  </a:cubicBezTo>
                  <a:cubicBezTo>
                    <a:pt x="5320" y="9246"/>
                    <a:pt x="5297" y="9199"/>
                    <a:pt x="5291" y="9176"/>
                  </a:cubicBezTo>
                  <a:cubicBezTo>
                    <a:pt x="5287" y="9161"/>
                    <a:pt x="5272" y="9137"/>
                    <a:pt x="5258" y="9118"/>
                  </a:cubicBezTo>
                  <a:cubicBezTo>
                    <a:pt x="5250" y="9108"/>
                    <a:pt x="5243" y="9099"/>
                    <a:pt x="5237" y="9093"/>
                  </a:cubicBezTo>
                  <a:cubicBezTo>
                    <a:pt x="5166" y="9145"/>
                    <a:pt x="5075" y="9192"/>
                    <a:pt x="4962" y="9210"/>
                  </a:cubicBezTo>
                  <a:cubicBezTo>
                    <a:pt x="4752" y="9244"/>
                    <a:pt x="4323" y="9270"/>
                    <a:pt x="4197" y="9277"/>
                  </a:cubicBezTo>
                  <a:close/>
                  <a:moveTo>
                    <a:pt x="3774" y="10487"/>
                  </a:moveTo>
                  <a:cubicBezTo>
                    <a:pt x="3608" y="10538"/>
                    <a:pt x="3463" y="10585"/>
                    <a:pt x="3359" y="10619"/>
                  </a:cubicBezTo>
                  <a:cubicBezTo>
                    <a:pt x="3307" y="10636"/>
                    <a:pt x="3265" y="10651"/>
                    <a:pt x="3236" y="10661"/>
                  </a:cubicBezTo>
                  <a:cubicBezTo>
                    <a:pt x="3226" y="10664"/>
                    <a:pt x="3218" y="10667"/>
                    <a:pt x="3211" y="10670"/>
                  </a:cubicBezTo>
                  <a:cubicBezTo>
                    <a:pt x="3443" y="10977"/>
                    <a:pt x="3443" y="10977"/>
                    <a:pt x="3443" y="10977"/>
                  </a:cubicBezTo>
                  <a:cubicBezTo>
                    <a:pt x="3444" y="10976"/>
                    <a:pt x="3444" y="10976"/>
                    <a:pt x="3444" y="10976"/>
                  </a:cubicBezTo>
                  <a:cubicBezTo>
                    <a:pt x="3594" y="11172"/>
                    <a:pt x="3594" y="11172"/>
                    <a:pt x="3594" y="11172"/>
                  </a:cubicBezTo>
                  <a:cubicBezTo>
                    <a:pt x="3609" y="11169"/>
                    <a:pt x="3609" y="11169"/>
                    <a:pt x="3609" y="11169"/>
                  </a:cubicBezTo>
                  <a:cubicBezTo>
                    <a:pt x="3609" y="11169"/>
                    <a:pt x="3609" y="11169"/>
                    <a:pt x="3609" y="11169"/>
                  </a:cubicBezTo>
                  <a:cubicBezTo>
                    <a:pt x="3938" y="11061"/>
                    <a:pt x="3938" y="11061"/>
                    <a:pt x="3938" y="11061"/>
                  </a:cubicBezTo>
                  <a:cubicBezTo>
                    <a:pt x="3938" y="11061"/>
                    <a:pt x="3938" y="11061"/>
                    <a:pt x="3938" y="11061"/>
                  </a:cubicBezTo>
                  <a:cubicBezTo>
                    <a:pt x="4134" y="11003"/>
                    <a:pt x="4134" y="11003"/>
                    <a:pt x="4134" y="11003"/>
                  </a:cubicBezTo>
                  <a:cubicBezTo>
                    <a:pt x="4535" y="11078"/>
                    <a:pt x="4535" y="11078"/>
                    <a:pt x="4535" y="11078"/>
                  </a:cubicBezTo>
                  <a:cubicBezTo>
                    <a:pt x="4543" y="11079"/>
                    <a:pt x="4543" y="11079"/>
                    <a:pt x="4543" y="11079"/>
                  </a:cubicBezTo>
                  <a:cubicBezTo>
                    <a:pt x="4550" y="11064"/>
                    <a:pt x="4560" y="11052"/>
                    <a:pt x="4570" y="11042"/>
                  </a:cubicBezTo>
                  <a:cubicBezTo>
                    <a:pt x="4590" y="11023"/>
                    <a:pt x="4612" y="11013"/>
                    <a:pt x="4626" y="11007"/>
                  </a:cubicBezTo>
                  <a:cubicBezTo>
                    <a:pt x="4639" y="11003"/>
                    <a:pt x="4668" y="10997"/>
                    <a:pt x="4709" y="10990"/>
                  </a:cubicBezTo>
                  <a:cubicBezTo>
                    <a:pt x="4819" y="10971"/>
                    <a:pt x="5001" y="10943"/>
                    <a:pt x="5039" y="10937"/>
                  </a:cubicBezTo>
                  <a:cubicBezTo>
                    <a:pt x="4997" y="10591"/>
                    <a:pt x="4954" y="10216"/>
                    <a:pt x="4948" y="10165"/>
                  </a:cubicBezTo>
                  <a:cubicBezTo>
                    <a:pt x="4914" y="10172"/>
                    <a:pt x="4880" y="10179"/>
                    <a:pt x="4847" y="10187"/>
                  </a:cubicBezTo>
                  <a:cubicBezTo>
                    <a:pt x="4520" y="10263"/>
                    <a:pt x="4106" y="10384"/>
                    <a:pt x="3774" y="10487"/>
                  </a:cubicBezTo>
                  <a:close/>
                  <a:moveTo>
                    <a:pt x="8707" y="13697"/>
                  </a:moveTo>
                  <a:cubicBezTo>
                    <a:pt x="9364" y="12273"/>
                    <a:pt x="9364" y="12273"/>
                    <a:pt x="9364" y="12273"/>
                  </a:cubicBezTo>
                  <a:cubicBezTo>
                    <a:pt x="9422" y="12151"/>
                    <a:pt x="9422" y="12151"/>
                    <a:pt x="9422" y="12151"/>
                  </a:cubicBezTo>
                  <a:cubicBezTo>
                    <a:pt x="8064" y="11458"/>
                    <a:pt x="8064" y="11458"/>
                    <a:pt x="8064" y="11458"/>
                  </a:cubicBezTo>
                  <a:cubicBezTo>
                    <a:pt x="7375" y="12873"/>
                    <a:pt x="7375" y="12873"/>
                    <a:pt x="7375" y="12873"/>
                  </a:cubicBezTo>
                  <a:cubicBezTo>
                    <a:pt x="7330" y="13431"/>
                    <a:pt x="7330" y="13431"/>
                    <a:pt x="7330" y="13431"/>
                  </a:cubicBezTo>
                  <a:cubicBezTo>
                    <a:pt x="7330" y="13436"/>
                    <a:pt x="7330" y="13470"/>
                    <a:pt x="7334" y="13523"/>
                  </a:cubicBezTo>
                  <a:cubicBezTo>
                    <a:pt x="7338" y="13581"/>
                    <a:pt x="7347" y="13661"/>
                    <a:pt x="7364" y="13750"/>
                  </a:cubicBezTo>
                  <a:cubicBezTo>
                    <a:pt x="7331" y="13756"/>
                    <a:pt x="7331" y="13756"/>
                    <a:pt x="7331" y="13756"/>
                  </a:cubicBezTo>
                  <a:cubicBezTo>
                    <a:pt x="7339" y="13756"/>
                    <a:pt x="7344" y="13756"/>
                    <a:pt x="7344" y="13756"/>
                  </a:cubicBezTo>
                  <a:cubicBezTo>
                    <a:pt x="8669" y="13703"/>
                    <a:pt x="8669" y="13703"/>
                    <a:pt x="8669" y="13703"/>
                  </a:cubicBezTo>
                  <a:lnTo>
                    <a:pt x="8707" y="13697"/>
                  </a:lnTo>
                  <a:close/>
                  <a:moveTo>
                    <a:pt x="9437" y="12119"/>
                  </a:moveTo>
                  <a:cubicBezTo>
                    <a:pt x="10639" y="9572"/>
                    <a:pt x="10639" y="9572"/>
                    <a:pt x="10639" y="9572"/>
                  </a:cubicBezTo>
                  <a:cubicBezTo>
                    <a:pt x="10642" y="9569"/>
                    <a:pt x="10642" y="9569"/>
                    <a:pt x="10642" y="9569"/>
                  </a:cubicBezTo>
                  <a:cubicBezTo>
                    <a:pt x="10642" y="9569"/>
                    <a:pt x="10642" y="9569"/>
                    <a:pt x="10642" y="9569"/>
                  </a:cubicBezTo>
                  <a:cubicBezTo>
                    <a:pt x="10610" y="9554"/>
                    <a:pt x="10513" y="9509"/>
                    <a:pt x="10404" y="9458"/>
                  </a:cubicBezTo>
                  <a:cubicBezTo>
                    <a:pt x="10268" y="9395"/>
                    <a:pt x="10112" y="9324"/>
                    <a:pt x="10031" y="9289"/>
                  </a:cubicBezTo>
                  <a:cubicBezTo>
                    <a:pt x="9871" y="9221"/>
                    <a:pt x="9473" y="9005"/>
                    <a:pt x="9303" y="8914"/>
                  </a:cubicBezTo>
                  <a:cubicBezTo>
                    <a:pt x="8603" y="10351"/>
                    <a:pt x="8603" y="10351"/>
                    <a:pt x="8603" y="10351"/>
                  </a:cubicBezTo>
                  <a:cubicBezTo>
                    <a:pt x="8603" y="10357"/>
                    <a:pt x="8603" y="10357"/>
                    <a:pt x="8603" y="10357"/>
                  </a:cubicBezTo>
                  <a:cubicBezTo>
                    <a:pt x="8602" y="10357"/>
                    <a:pt x="8601" y="10357"/>
                    <a:pt x="8600" y="10357"/>
                  </a:cubicBezTo>
                  <a:cubicBezTo>
                    <a:pt x="8079" y="11426"/>
                    <a:pt x="8079" y="11426"/>
                    <a:pt x="8079" y="11426"/>
                  </a:cubicBezTo>
                  <a:lnTo>
                    <a:pt x="9437" y="12119"/>
                  </a:lnTo>
                  <a:close/>
                  <a:moveTo>
                    <a:pt x="10797" y="9430"/>
                  </a:moveTo>
                  <a:cubicBezTo>
                    <a:pt x="10883" y="9350"/>
                    <a:pt x="10988" y="9252"/>
                    <a:pt x="11061" y="9175"/>
                  </a:cubicBezTo>
                  <a:cubicBezTo>
                    <a:pt x="11161" y="9070"/>
                    <a:pt x="11189" y="8900"/>
                    <a:pt x="11196" y="8812"/>
                  </a:cubicBezTo>
                  <a:cubicBezTo>
                    <a:pt x="11197" y="8812"/>
                    <a:pt x="11196" y="8812"/>
                    <a:pt x="11196" y="8812"/>
                  </a:cubicBezTo>
                  <a:cubicBezTo>
                    <a:pt x="11196" y="8812"/>
                    <a:pt x="11196" y="8812"/>
                    <a:pt x="11196" y="8812"/>
                  </a:cubicBezTo>
                  <a:cubicBezTo>
                    <a:pt x="11197" y="8805"/>
                    <a:pt x="11198" y="8798"/>
                    <a:pt x="11198" y="8792"/>
                  </a:cubicBezTo>
                  <a:cubicBezTo>
                    <a:pt x="11198" y="8788"/>
                    <a:pt x="11198" y="8784"/>
                    <a:pt x="11197" y="8780"/>
                  </a:cubicBezTo>
                  <a:cubicBezTo>
                    <a:pt x="11127" y="8768"/>
                    <a:pt x="10717" y="8693"/>
                    <a:pt x="10254" y="8540"/>
                  </a:cubicBezTo>
                  <a:cubicBezTo>
                    <a:pt x="9746" y="8373"/>
                    <a:pt x="9139" y="8099"/>
                    <a:pt x="8977" y="8028"/>
                  </a:cubicBezTo>
                  <a:cubicBezTo>
                    <a:pt x="8896" y="7993"/>
                    <a:pt x="8818" y="7943"/>
                    <a:pt x="8752" y="7885"/>
                  </a:cubicBezTo>
                  <a:cubicBezTo>
                    <a:pt x="8727" y="7906"/>
                    <a:pt x="8691" y="7934"/>
                    <a:pt x="8648" y="7963"/>
                  </a:cubicBezTo>
                  <a:cubicBezTo>
                    <a:pt x="8588" y="8004"/>
                    <a:pt x="8516" y="8045"/>
                    <a:pt x="8439" y="8063"/>
                  </a:cubicBezTo>
                  <a:cubicBezTo>
                    <a:pt x="8349" y="8084"/>
                    <a:pt x="8237" y="8098"/>
                    <a:pt x="8159" y="8107"/>
                  </a:cubicBezTo>
                  <a:cubicBezTo>
                    <a:pt x="8166" y="8126"/>
                    <a:pt x="8166" y="8126"/>
                    <a:pt x="8166" y="8126"/>
                  </a:cubicBezTo>
                  <a:cubicBezTo>
                    <a:pt x="8215" y="8162"/>
                    <a:pt x="8287" y="8215"/>
                    <a:pt x="8362" y="8270"/>
                  </a:cubicBezTo>
                  <a:cubicBezTo>
                    <a:pt x="8500" y="8371"/>
                    <a:pt x="8651" y="8481"/>
                    <a:pt x="8700" y="8511"/>
                  </a:cubicBezTo>
                  <a:cubicBezTo>
                    <a:pt x="8803" y="8572"/>
                    <a:pt x="9146" y="8788"/>
                    <a:pt x="9304" y="8873"/>
                  </a:cubicBezTo>
                  <a:cubicBezTo>
                    <a:pt x="9463" y="8959"/>
                    <a:pt x="9884" y="9188"/>
                    <a:pt x="10045" y="9256"/>
                  </a:cubicBezTo>
                  <a:cubicBezTo>
                    <a:pt x="10209" y="9326"/>
                    <a:pt x="10670" y="9542"/>
                    <a:pt x="10670" y="9542"/>
                  </a:cubicBezTo>
                  <a:cubicBezTo>
                    <a:pt x="10671" y="9543"/>
                    <a:pt x="10671" y="9543"/>
                    <a:pt x="10671" y="9543"/>
                  </a:cubicBezTo>
                  <a:cubicBezTo>
                    <a:pt x="10672" y="9543"/>
                    <a:pt x="10672" y="9543"/>
                    <a:pt x="10672" y="9543"/>
                  </a:cubicBezTo>
                  <a:cubicBezTo>
                    <a:pt x="10700" y="9518"/>
                    <a:pt x="10745" y="9478"/>
                    <a:pt x="10797" y="9430"/>
                  </a:cubicBezTo>
                  <a:close/>
                  <a:moveTo>
                    <a:pt x="11927" y="6932"/>
                  </a:moveTo>
                  <a:cubicBezTo>
                    <a:pt x="11949" y="6873"/>
                    <a:pt x="11965" y="6816"/>
                    <a:pt x="11975" y="6773"/>
                  </a:cubicBezTo>
                  <a:cubicBezTo>
                    <a:pt x="11984" y="6731"/>
                    <a:pt x="11988" y="6703"/>
                    <a:pt x="11988" y="6703"/>
                  </a:cubicBezTo>
                  <a:cubicBezTo>
                    <a:pt x="12262" y="4824"/>
                    <a:pt x="12262" y="4824"/>
                    <a:pt x="12262" y="4824"/>
                  </a:cubicBezTo>
                  <a:cubicBezTo>
                    <a:pt x="12262" y="4813"/>
                    <a:pt x="12258" y="4755"/>
                    <a:pt x="12258" y="4729"/>
                  </a:cubicBezTo>
                  <a:cubicBezTo>
                    <a:pt x="12258" y="4726"/>
                    <a:pt x="12258" y="4723"/>
                    <a:pt x="12258" y="4720"/>
                  </a:cubicBezTo>
                  <a:cubicBezTo>
                    <a:pt x="12259" y="4719"/>
                    <a:pt x="12259" y="4718"/>
                    <a:pt x="12259" y="4717"/>
                  </a:cubicBezTo>
                  <a:cubicBezTo>
                    <a:pt x="12240" y="4611"/>
                    <a:pt x="12190" y="4562"/>
                    <a:pt x="12135" y="4535"/>
                  </a:cubicBezTo>
                  <a:cubicBezTo>
                    <a:pt x="12080" y="4507"/>
                    <a:pt x="12018" y="4506"/>
                    <a:pt x="11979" y="4506"/>
                  </a:cubicBezTo>
                  <a:cubicBezTo>
                    <a:pt x="11938" y="4506"/>
                    <a:pt x="11833" y="4519"/>
                    <a:pt x="11702" y="4519"/>
                  </a:cubicBezTo>
                  <a:cubicBezTo>
                    <a:pt x="11590" y="4519"/>
                    <a:pt x="11458" y="4510"/>
                    <a:pt x="11325" y="4475"/>
                  </a:cubicBezTo>
                  <a:cubicBezTo>
                    <a:pt x="11173" y="4434"/>
                    <a:pt x="11065" y="4274"/>
                    <a:pt x="10989" y="4119"/>
                  </a:cubicBezTo>
                  <a:cubicBezTo>
                    <a:pt x="10914" y="3963"/>
                    <a:pt x="10871" y="3808"/>
                    <a:pt x="10860" y="3773"/>
                  </a:cubicBezTo>
                  <a:cubicBezTo>
                    <a:pt x="10858" y="3769"/>
                    <a:pt x="10856" y="3761"/>
                    <a:pt x="10853" y="3750"/>
                  </a:cubicBezTo>
                  <a:cubicBezTo>
                    <a:pt x="8042" y="4561"/>
                    <a:pt x="8042" y="4561"/>
                    <a:pt x="8042" y="4561"/>
                  </a:cubicBezTo>
                  <a:cubicBezTo>
                    <a:pt x="8020" y="4576"/>
                    <a:pt x="8020" y="4576"/>
                    <a:pt x="8020" y="4576"/>
                  </a:cubicBezTo>
                  <a:cubicBezTo>
                    <a:pt x="8335" y="5116"/>
                    <a:pt x="8335" y="5116"/>
                    <a:pt x="8335" y="5116"/>
                  </a:cubicBezTo>
                  <a:cubicBezTo>
                    <a:pt x="8336" y="5117"/>
                    <a:pt x="8336" y="5117"/>
                    <a:pt x="8336" y="5117"/>
                  </a:cubicBezTo>
                  <a:cubicBezTo>
                    <a:pt x="8455" y="5345"/>
                    <a:pt x="8634" y="5803"/>
                    <a:pt x="8654" y="6142"/>
                  </a:cubicBezTo>
                  <a:cubicBezTo>
                    <a:pt x="8660" y="6249"/>
                    <a:pt x="8662" y="6386"/>
                    <a:pt x="8662" y="6528"/>
                  </a:cubicBezTo>
                  <a:cubicBezTo>
                    <a:pt x="8662" y="6822"/>
                    <a:pt x="8653" y="7133"/>
                    <a:pt x="8649" y="7220"/>
                  </a:cubicBezTo>
                  <a:cubicBezTo>
                    <a:pt x="8646" y="7272"/>
                    <a:pt x="8642" y="7328"/>
                    <a:pt x="8642" y="7384"/>
                  </a:cubicBezTo>
                  <a:cubicBezTo>
                    <a:pt x="8642" y="7466"/>
                    <a:pt x="8651" y="7548"/>
                    <a:pt x="8681" y="7615"/>
                  </a:cubicBezTo>
                  <a:cubicBezTo>
                    <a:pt x="8729" y="7728"/>
                    <a:pt x="8872" y="7859"/>
                    <a:pt x="9023" y="7923"/>
                  </a:cubicBezTo>
                  <a:cubicBezTo>
                    <a:pt x="9178" y="7991"/>
                    <a:pt x="9735" y="8242"/>
                    <a:pt x="10219" y="8408"/>
                  </a:cubicBezTo>
                  <a:cubicBezTo>
                    <a:pt x="10224" y="8402"/>
                    <a:pt x="10230" y="8394"/>
                    <a:pt x="10235" y="8386"/>
                  </a:cubicBezTo>
                  <a:cubicBezTo>
                    <a:pt x="10680" y="7128"/>
                    <a:pt x="10680" y="7128"/>
                    <a:pt x="10680" y="7128"/>
                  </a:cubicBezTo>
                  <a:cubicBezTo>
                    <a:pt x="10664" y="7118"/>
                    <a:pt x="10645" y="7107"/>
                    <a:pt x="10624" y="7094"/>
                  </a:cubicBezTo>
                  <a:cubicBezTo>
                    <a:pt x="10524" y="7034"/>
                    <a:pt x="10379" y="6948"/>
                    <a:pt x="10259" y="6877"/>
                  </a:cubicBezTo>
                  <a:cubicBezTo>
                    <a:pt x="10199" y="6842"/>
                    <a:pt x="10144" y="6810"/>
                    <a:pt x="10105" y="6787"/>
                  </a:cubicBezTo>
                  <a:cubicBezTo>
                    <a:pt x="10085" y="6775"/>
                    <a:pt x="10068" y="6766"/>
                    <a:pt x="10057" y="6760"/>
                  </a:cubicBezTo>
                  <a:cubicBezTo>
                    <a:pt x="10051" y="6756"/>
                    <a:pt x="10047" y="6754"/>
                    <a:pt x="10043" y="6752"/>
                  </a:cubicBezTo>
                  <a:cubicBezTo>
                    <a:pt x="10042" y="6751"/>
                    <a:pt x="10041" y="6751"/>
                    <a:pt x="10040" y="6750"/>
                  </a:cubicBezTo>
                  <a:cubicBezTo>
                    <a:pt x="10040" y="6750"/>
                    <a:pt x="10039" y="6750"/>
                    <a:pt x="10039" y="6750"/>
                  </a:cubicBezTo>
                  <a:cubicBezTo>
                    <a:pt x="10040" y="6750"/>
                    <a:pt x="10040" y="6750"/>
                    <a:pt x="10040" y="6750"/>
                  </a:cubicBezTo>
                  <a:cubicBezTo>
                    <a:pt x="10029" y="6746"/>
                    <a:pt x="10024" y="6740"/>
                    <a:pt x="10016" y="6730"/>
                  </a:cubicBezTo>
                  <a:cubicBezTo>
                    <a:pt x="9994" y="6699"/>
                    <a:pt x="9966" y="6631"/>
                    <a:pt x="9966" y="6504"/>
                  </a:cubicBezTo>
                  <a:cubicBezTo>
                    <a:pt x="9966" y="6494"/>
                    <a:pt x="9966" y="6483"/>
                    <a:pt x="9966" y="6472"/>
                  </a:cubicBezTo>
                  <a:cubicBezTo>
                    <a:pt x="9971" y="6337"/>
                    <a:pt x="9995" y="6022"/>
                    <a:pt x="9995" y="5766"/>
                  </a:cubicBezTo>
                  <a:cubicBezTo>
                    <a:pt x="9995" y="5660"/>
                    <a:pt x="9991" y="5565"/>
                    <a:pt x="9980" y="5497"/>
                  </a:cubicBezTo>
                  <a:cubicBezTo>
                    <a:pt x="9962" y="5379"/>
                    <a:pt x="9874" y="5030"/>
                    <a:pt x="9791" y="4712"/>
                  </a:cubicBezTo>
                  <a:cubicBezTo>
                    <a:pt x="9708" y="4393"/>
                    <a:pt x="9630" y="4106"/>
                    <a:pt x="9630" y="4105"/>
                  </a:cubicBezTo>
                  <a:cubicBezTo>
                    <a:pt x="9665" y="4096"/>
                    <a:pt x="9665" y="4096"/>
                    <a:pt x="9665" y="4096"/>
                  </a:cubicBezTo>
                  <a:cubicBezTo>
                    <a:pt x="9665" y="4096"/>
                    <a:pt x="9977" y="5248"/>
                    <a:pt x="10016" y="5491"/>
                  </a:cubicBezTo>
                  <a:cubicBezTo>
                    <a:pt x="10027" y="5563"/>
                    <a:pt x="10031" y="5659"/>
                    <a:pt x="10031" y="5766"/>
                  </a:cubicBezTo>
                  <a:cubicBezTo>
                    <a:pt x="10031" y="6024"/>
                    <a:pt x="10007" y="6340"/>
                    <a:pt x="10002" y="6473"/>
                  </a:cubicBezTo>
                  <a:cubicBezTo>
                    <a:pt x="10002" y="6484"/>
                    <a:pt x="10002" y="6494"/>
                    <a:pt x="10002" y="6504"/>
                  </a:cubicBezTo>
                  <a:cubicBezTo>
                    <a:pt x="10002" y="6585"/>
                    <a:pt x="10014" y="6639"/>
                    <a:pt x="10027" y="6673"/>
                  </a:cubicBezTo>
                  <a:cubicBezTo>
                    <a:pt x="10033" y="6690"/>
                    <a:pt x="10040" y="6701"/>
                    <a:pt x="10045" y="6709"/>
                  </a:cubicBezTo>
                  <a:cubicBezTo>
                    <a:pt x="10048" y="6712"/>
                    <a:pt x="10050" y="6715"/>
                    <a:pt x="10052" y="6716"/>
                  </a:cubicBezTo>
                  <a:cubicBezTo>
                    <a:pt x="10052" y="6716"/>
                    <a:pt x="10052" y="6716"/>
                    <a:pt x="10052" y="6716"/>
                  </a:cubicBezTo>
                  <a:cubicBezTo>
                    <a:pt x="10055" y="6717"/>
                    <a:pt x="10055" y="6718"/>
                    <a:pt x="10057" y="6719"/>
                  </a:cubicBezTo>
                  <a:cubicBezTo>
                    <a:pt x="10086" y="6733"/>
                    <a:pt x="10262" y="6836"/>
                    <a:pt x="10432" y="6938"/>
                  </a:cubicBezTo>
                  <a:cubicBezTo>
                    <a:pt x="10517" y="6988"/>
                    <a:pt x="10601" y="7038"/>
                    <a:pt x="10663" y="7076"/>
                  </a:cubicBezTo>
                  <a:cubicBezTo>
                    <a:pt x="10694" y="7094"/>
                    <a:pt x="10720" y="7110"/>
                    <a:pt x="10738" y="7121"/>
                  </a:cubicBezTo>
                  <a:cubicBezTo>
                    <a:pt x="10747" y="7127"/>
                    <a:pt x="10754" y="7132"/>
                    <a:pt x="10759" y="7135"/>
                  </a:cubicBezTo>
                  <a:cubicBezTo>
                    <a:pt x="10761" y="7136"/>
                    <a:pt x="10762" y="7137"/>
                    <a:pt x="10764" y="7138"/>
                  </a:cubicBezTo>
                  <a:cubicBezTo>
                    <a:pt x="10825" y="7143"/>
                    <a:pt x="11361" y="7182"/>
                    <a:pt x="11362" y="7182"/>
                  </a:cubicBezTo>
                  <a:cubicBezTo>
                    <a:pt x="11362" y="7182"/>
                    <a:pt x="11548" y="7192"/>
                    <a:pt x="11646" y="7192"/>
                  </a:cubicBezTo>
                  <a:cubicBezTo>
                    <a:pt x="11661" y="7192"/>
                    <a:pt x="11673" y="7192"/>
                    <a:pt x="11683" y="7191"/>
                  </a:cubicBezTo>
                  <a:cubicBezTo>
                    <a:pt x="11688" y="7191"/>
                    <a:pt x="11691" y="7191"/>
                    <a:pt x="11694" y="7191"/>
                  </a:cubicBezTo>
                  <a:cubicBezTo>
                    <a:pt x="11696" y="7190"/>
                    <a:pt x="11697" y="7190"/>
                    <a:pt x="11697" y="7190"/>
                  </a:cubicBezTo>
                  <a:cubicBezTo>
                    <a:pt x="11698" y="7190"/>
                    <a:pt x="11698" y="7190"/>
                    <a:pt x="11698" y="7190"/>
                  </a:cubicBezTo>
                  <a:cubicBezTo>
                    <a:pt x="11699" y="7190"/>
                    <a:pt x="11699" y="7190"/>
                    <a:pt x="11699" y="7190"/>
                  </a:cubicBezTo>
                  <a:cubicBezTo>
                    <a:pt x="11700" y="7189"/>
                    <a:pt x="11700" y="7189"/>
                    <a:pt x="11700" y="7189"/>
                  </a:cubicBezTo>
                  <a:cubicBezTo>
                    <a:pt x="11807" y="7169"/>
                    <a:pt x="11882" y="7050"/>
                    <a:pt x="11927" y="6932"/>
                  </a:cubicBezTo>
                  <a:close/>
                  <a:moveTo>
                    <a:pt x="11145" y="1775"/>
                  </a:moveTo>
                  <a:cubicBezTo>
                    <a:pt x="11023" y="1892"/>
                    <a:pt x="10902" y="2008"/>
                    <a:pt x="10810" y="2096"/>
                  </a:cubicBezTo>
                  <a:cubicBezTo>
                    <a:pt x="10764" y="2140"/>
                    <a:pt x="10725" y="2177"/>
                    <a:pt x="10697" y="2204"/>
                  </a:cubicBezTo>
                  <a:cubicBezTo>
                    <a:pt x="10683" y="2217"/>
                    <a:pt x="10671" y="2228"/>
                    <a:pt x="10663" y="2236"/>
                  </a:cubicBezTo>
                  <a:cubicBezTo>
                    <a:pt x="10654" y="2245"/>
                    <a:pt x="10649" y="2249"/>
                    <a:pt x="10645" y="2253"/>
                  </a:cubicBezTo>
                  <a:cubicBezTo>
                    <a:pt x="10619" y="2274"/>
                    <a:pt x="10592" y="2285"/>
                    <a:pt x="10569" y="2293"/>
                  </a:cubicBezTo>
                  <a:cubicBezTo>
                    <a:pt x="10558" y="2297"/>
                    <a:pt x="10549" y="2300"/>
                    <a:pt x="10541" y="2303"/>
                  </a:cubicBezTo>
                  <a:cubicBezTo>
                    <a:pt x="10540" y="2303"/>
                    <a:pt x="10540" y="2303"/>
                    <a:pt x="10540" y="2303"/>
                  </a:cubicBezTo>
                  <a:cubicBezTo>
                    <a:pt x="10529" y="2306"/>
                    <a:pt x="10529" y="2306"/>
                    <a:pt x="10529" y="2306"/>
                  </a:cubicBezTo>
                  <a:cubicBezTo>
                    <a:pt x="10529" y="2306"/>
                    <a:pt x="10528" y="2306"/>
                    <a:pt x="10528" y="2307"/>
                  </a:cubicBezTo>
                  <a:cubicBezTo>
                    <a:pt x="10527" y="2307"/>
                    <a:pt x="10527" y="2307"/>
                    <a:pt x="10527" y="2307"/>
                  </a:cubicBezTo>
                  <a:cubicBezTo>
                    <a:pt x="10527" y="2307"/>
                    <a:pt x="10527" y="2307"/>
                    <a:pt x="10526" y="2307"/>
                  </a:cubicBezTo>
                  <a:cubicBezTo>
                    <a:pt x="10526" y="2307"/>
                    <a:pt x="10526" y="2307"/>
                    <a:pt x="10525" y="2307"/>
                  </a:cubicBezTo>
                  <a:cubicBezTo>
                    <a:pt x="10529" y="2328"/>
                    <a:pt x="10529" y="2328"/>
                    <a:pt x="10529" y="2328"/>
                  </a:cubicBezTo>
                  <a:cubicBezTo>
                    <a:pt x="10534" y="2346"/>
                    <a:pt x="10540" y="2369"/>
                    <a:pt x="10547" y="2396"/>
                  </a:cubicBezTo>
                  <a:cubicBezTo>
                    <a:pt x="10600" y="2379"/>
                    <a:pt x="10646" y="2365"/>
                    <a:pt x="10683" y="2352"/>
                  </a:cubicBezTo>
                  <a:cubicBezTo>
                    <a:pt x="10710" y="2343"/>
                    <a:pt x="10732" y="2335"/>
                    <a:pt x="10749" y="2328"/>
                  </a:cubicBezTo>
                  <a:cubicBezTo>
                    <a:pt x="10765" y="2322"/>
                    <a:pt x="10777" y="2316"/>
                    <a:pt x="10778" y="2316"/>
                  </a:cubicBezTo>
                  <a:cubicBezTo>
                    <a:pt x="10790" y="2309"/>
                    <a:pt x="10827" y="2280"/>
                    <a:pt x="10873" y="2239"/>
                  </a:cubicBezTo>
                  <a:cubicBezTo>
                    <a:pt x="11038" y="2096"/>
                    <a:pt x="11347" y="1796"/>
                    <a:pt x="11644" y="1523"/>
                  </a:cubicBezTo>
                  <a:cubicBezTo>
                    <a:pt x="11793" y="1387"/>
                    <a:pt x="11940" y="1256"/>
                    <a:pt x="12065" y="1154"/>
                  </a:cubicBezTo>
                  <a:cubicBezTo>
                    <a:pt x="12128" y="1102"/>
                    <a:pt x="12186" y="1058"/>
                    <a:pt x="12237" y="1023"/>
                  </a:cubicBezTo>
                  <a:cubicBezTo>
                    <a:pt x="12289" y="988"/>
                    <a:pt x="12332" y="962"/>
                    <a:pt x="12374" y="947"/>
                  </a:cubicBezTo>
                  <a:cubicBezTo>
                    <a:pt x="12468" y="915"/>
                    <a:pt x="12589" y="898"/>
                    <a:pt x="12733" y="888"/>
                  </a:cubicBezTo>
                  <a:cubicBezTo>
                    <a:pt x="12767" y="885"/>
                    <a:pt x="12803" y="883"/>
                    <a:pt x="12840" y="882"/>
                  </a:cubicBezTo>
                  <a:cubicBezTo>
                    <a:pt x="12831" y="845"/>
                    <a:pt x="12825" y="814"/>
                    <a:pt x="12821" y="792"/>
                  </a:cubicBezTo>
                  <a:cubicBezTo>
                    <a:pt x="12812" y="770"/>
                    <a:pt x="12812" y="770"/>
                    <a:pt x="12812" y="770"/>
                  </a:cubicBezTo>
                  <a:cubicBezTo>
                    <a:pt x="12610" y="771"/>
                    <a:pt x="12459" y="773"/>
                    <a:pt x="12426" y="774"/>
                  </a:cubicBezTo>
                  <a:cubicBezTo>
                    <a:pt x="12303" y="778"/>
                    <a:pt x="12200" y="782"/>
                    <a:pt x="12116" y="820"/>
                  </a:cubicBezTo>
                  <a:cubicBezTo>
                    <a:pt x="12078" y="837"/>
                    <a:pt x="12028" y="876"/>
                    <a:pt x="11986" y="917"/>
                  </a:cubicBezTo>
                  <a:cubicBezTo>
                    <a:pt x="11943" y="958"/>
                    <a:pt x="11907" y="1002"/>
                    <a:pt x="11892" y="1024"/>
                  </a:cubicBezTo>
                  <a:cubicBezTo>
                    <a:pt x="11880" y="1042"/>
                    <a:pt x="11862" y="1062"/>
                    <a:pt x="11840" y="1086"/>
                  </a:cubicBezTo>
                  <a:cubicBezTo>
                    <a:pt x="11808" y="1122"/>
                    <a:pt x="11769" y="1163"/>
                    <a:pt x="11737" y="1196"/>
                  </a:cubicBezTo>
                  <a:cubicBezTo>
                    <a:pt x="11721" y="1212"/>
                    <a:pt x="11708" y="1226"/>
                    <a:pt x="11698" y="1236"/>
                  </a:cubicBezTo>
                  <a:cubicBezTo>
                    <a:pt x="11694" y="1241"/>
                    <a:pt x="11691" y="1244"/>
                    <a:pt x="11689" y="1246"/>
                  </a:cubicBezTo>
                  <a:cubicBezTo>
                    <a:pt x="11686" y="1251"/>
                    <a:pt x="11686" y="1250"/>
                    <a:pt x="11685" y="1252"/>
                  </a:cubicBezTo>
                  <a:cubicBezTo>
                    <a:pt x="11681" y="1256"/>
                    <a:pt x="11680" y="1257"/>
                    <a:pt x="11677" y="1260"/>
                  </a:cubicBezTo>
                  <a:cubicBezTo>
                    <a:pt x="11638" y="1300"/>
                    <a:pt x="11389" y="1540"/>
                    <a:pt x="11145" y="1775"/>
                  </a:cubicBezTo>
                  <a:close/>
                  <a:moveTo>
                    <a:pt x="8668" y="1184"/>
                  </a:moveTo>
                  <a:cubicBezTo>
                    <a:pt x="8674" y="1245"/>
                    <a:pt x="8693" y="1464"/>
                    <a:pt x="8693" y="1565"/>
                  </a:cubicBezTo>
                  <a:cubicBezTo>
                    <a:pt x="8693" y="1583"/>
                    <a:pt x="8692" y="1597"/>
                    <a:pt x="8691" y="1608"/>
                  </a:cubicBezTo>
                  <a:cubicBezTo>
                    <a:pt x="8680" y="1676"/>
                    <a:pt x="8598" y="1983"/>
                    <a:pt x="8577" y="2059"/>
                  </a:cubicBezTo>
                  <a:cubicBezTo>
                    <a:pt x="8565" y="2103"/>
                    <a:pt x="8561" y="2168"/>
                    <a:pt x="8561" y="2227"/>
                  </a:cubicBezTo>
                  <a:cubicBezTo>
                    <a:pt x="8561" y="2263"/>
                    <a:pt x="8563" y="2298"/>
                    <a:pt x="8564" y="2325"/>
                  </a:cubicBezTo>
                  <a:cubicBezTo>
                    <a:pt x="8566" y="2378"/>
                    <a:pt x="8576" y="2564"/>
                    <a:pt x="8580" y="2657"/>
                  </a:cubicBezTo>
                  <a:cubicBezTo>
                    <a:pt x="8590" y="2678"/>
                    <a:pt x="8590" y="2678"/>
                    <a:pt x="8590" y="2678"/>
                  </a:cubicBezTo>
                  <a:cubicBezTo>
                    <a:pt x="8692" y="2652"/>
                    <a:pt x="9122" y="2543"/>
                    <a:pt x="9548" y="2436"/>
                  </a:cubicBezTo>
                  <a:cubicBezTo>
                    <a:pt x="10027" y="2315"/>
                    <a:pt x="10500" y="2195"/>
                    <a:pt x="10500" y="2195"/>
                  </a:cubicBezTo>
                  <a:cubicBezTo>
                    <a:pt x="10500" y="2195"/>
                    <a:pt x="10500" y="2195"/>
                    <a:pt x="10500" y="2195"/>
                  </a:cubicBezTo>
                  <a:cubicBezTo>
                    <a:pt x="10502" y="2195"/>
                    <a:pt x="10504" y="2194"/>
                    <a:pt x="10507" y="2193"/>
                  </a:cubicBezTo>
                  <a:cubicBezTo>
                    <a:pt x="10524" y="2189"/>
                    <a:pt x="10564" y="2173"/>
                    <a:pt x="10571" y="2165"/>
                  </a:cubicBezTo>
                  <a:cubicBezTo>
                    <a:pt x="10571" y="2165"/>
                    <a:pt x="10571" y="2165"/>
                    <a:pt x="10571" y="2165"/>
                  </a:cubicBezTo>
                  <a:cubicBezTo>
                    <a:pt x="10599" y="2139"/>
                    <a:pt x="10859" y="1891"/>
                    <a:pt x="11108" y="1651"/>
                  </a:cubicBezTo>
                  <a:cubicBezTo>
                    <a:pt x="11179" y="1583"/>
                    <a:pt x="11248" y="1516"/>
                    <a:pt x="11312" y="1454"/>
                  </a:cubicBezTo>
                  <a:cubicBezTo>
                    <a:pt x="11303" y="1442"/>
                    <a:pt x="11303" y="1442"/>
                    <a:pt x="11303" y="1442"/>
                  </a:cubicBezTo>
                  <a:cubicBezTo>
                    <a:pt x="11226" y="1377"/>
                    <a:pt x="10930" y="1125"/>
                    <a:pt x="10837" y="1034"/>
                  </a:cubicBezTo>
                  <a:cubicBezTo>
                    <a:pt x="10786" y="986"/>
                    <a:pt x="10728" y="961"/>
                    <a:pt x="10681" y="949"/>
                  </a:cubicBezTo>
                  <a:cubicBezTo>
                    <a:pt x="10658" y="942"/>
                    <a:pt x="10638" y="939"/>
                    <a:pt x="10624" y="938"/>
                  </a:cubicBezTo>
                  <a:cubicBezTo>
                    <a:pt x="10610" y="936"/>
                    <a:pt x="10602" y="936"/>
                    <a:pt x="10602" y="936"/>
                  </a:cubicBezTo>
                  <a:cubicBezTo>
                    <a:pt x="9717" y="936"/>
                    <a:pt x="9717" y="936"/>
                    <a:pt x="9717" y="936"/>
                  </a:cubicBezTo>
                  <a:cubicBezTo>
                    <a:pt x="9709" y="941"/>
                    <a:pt x="9686" y="956"/>
                    <a:pt x="9658" y="976"/>
                  </a:cubicBezTo>
                  <a:cubicBezTo>
                    <a:pt x="9610" y="1010"/>
                    <a:pt x="9543" y="1057"/>
                    <a:pt x="9487" y="1096"/>
                  </a:cubicBezTo>
                  <a:cubicBezTo>
                    <a:pt x="9459" y="1116"/>
                    <a:pt x="9434" y="1134"/>
                    <a:pt x="9414" y="1146"/>
                  </a:cubicBezTo>
                  <a:cubicBezTo>
                    <a:pt x="9405" y="1153"/>
                    <a:pt x="9397" y="1158"/>
                    <a:pt x="9390" y="1162"/>
                  </a:cubicBezTo>
                  <a:cubicBezTo>
                    <a:pt x="9387" y="1164"/>
                    <a:pt x="9384" y="1165"/>
                    <a:pt x="9382" y="1167"/>
                  </a:cubicBezTo>
                  <a:cubicBezTo>
                    <a:pt x="9379" y="1168"/>
                    <a:pt x="9378" y="1169"/>
                    <a:pt x="9370" y="1170"/>
                  </a:cubicBezTo>
                  <a:cubicBezTo>
                    <a:pt x="9369" y="1170"/>
                    <a:pt x="9368" y="1170"/>
                    <a:pt x="9367" y="1169"/>
                  </a:cubicBezTo>
                  <a:cubicBezTo>
                    <a:pt x="9365" y="1169"/>
                    <a:pt x="9362" y="1169"/>
                    <a:pt x="9359" y="1169"/>
                  </a:cubicBezTo>
                  <a:cubicBezTo>
                    <a:pt x="9291" y="1169"/>
                    <a:pt x="8925" y="1181"/>
                    <a:pt x="8668" y="1184"/>
                  </a:cubicBezTo>
                  <a:close/>
                  <a:moveTo>
                    <a:pt x="7094" y="1513"/>
                  </a:moveTo>
                  <a:cubicBezTo>
                    <a:pt x="7100" y="1564"/>
                    <a:pt x="7187" y="2311"/>
                    <a:pt x="7191" y="2416"/>
                  </a:cubicBezTo>
                  <a:cubicBezTo>
                    <a:pt x="7240" y="2424"/>
                    <a:pt x="7276" y="2430"/>
                    <a:pt x="7284" y="2431"/>
                  </a:cubicBezTo>
                  <a:cubicBezTo>
                    <a:pt x="8532" y="2407"/>
                    <a:pt x="8532" y="2407"/>
                    <a:pt x="8532" y="2407"/>
                  </a:cubicBezTo>
                  <a:cubicBezTo>
                    <a:pt x="8530" y="2372"/>
                    <a:pt x="8529" y="2343"/>
                    <a:pt x="8528" y="2327"/>
                  </a:cubicBezTo>
                  <a:cubicBezTo>
                    <a:pt x="8527" y="2299"/>
                    <a:pt x="8525" y="2264"/>
                    <a:pt x="8525" y="2227"/>
                  </a:cubicBezTo>
                  <a:cubicBezTo>
                    <a:pt x="8525" y="2166"/>
                    <a:pt x="8529" y="2100"/>
                    <a:pt x="8542" y="2050"/>
                  </a:cubicBezTo>
                  <a:cubicBezTo>
                    <a:pt x="8563" y="1975"/>
                    <a:pt x="8645" y="1664"/>
                    <a:pt x="8655" y="1602"/>
                  </a:cubicBezTo>
                  <a:cubicBezTo>
                    <a:pt x="8656" y="1596"/>
                    <a:pt x="8657" y="1582"/>
                    <a:pt x="8657" y="1565"/>
                  </a:cubicBezTo>
                  <a:cubicBezTo>
                    <a:pt x="8657" y="1466"/>
                    <a:pt x="8637" y="1242"/>
                    <a:pt x="8632" y="1184"/>
                  </a:cubicBezTo>
                  <a:cubicBezTo>
                    <a:pt x="8606" y="1185"/>
                    <a:pt x="8582" y="1185"/>
                    <a:pt x="8559" y="1185"/>
                  </a:cubicBezTo>
                  <a:cubicBezTo>
                    <a:pt x="8521" y="1185"/>
                    <a:pt x="8488" y="1184"/>
                    <a:pt x="8463" y="1183"/>
                  </a:cubicBezTo>
                  <a:cubicBezTo>
                    <a:pt x="8280" y="1177"/>
                    <a:pt x="7917" y="1156"/>
                    <a:pt x="7807" y="1156"/>
                  </a:cubicBezTo>
                  <a:cubicBezTo>
                    <a:pt x="7799" y="1156"/>
                    <a:pt x="7793" y="1156"/>
                    <a:pt x="7788" y="1156"/>
                  </a:cubicBezTo>
                  <a:cubicBezTo>
                    <a:pt x="7713" y="1159"/>
                    <a:pt x="7498" y="1204"/>
                    <a:pt x="7444" y="1227"/>
                  </a:cubicBezTo>
                  <a:cubicBezTo>
                    <a:pt x="7381" y="1252"/>
                    <a:pt x="7191" y="1286"/>
                    <a:pt x="7148" y="1293"/>
                  </a:cubicBezTo>
                  <a:cubicBezTo>
                    <a:pt x="7140" y="1294"/>
                    <a:pt x="7133" y="1301"/>
                    <a:pt x="7127" y="1311"/>
                  </a:cubicBezTo>
                  <a:cubicBezTo>
                    <a:pt x="7123" y="1319"/>
                    <a:pt x="7121" y="1329"/>
                    <a:pt x="7120" y="1335"/>
                  </a:cubicBezTo>
                  <a:cubicBezTo>
                    <a:pt x="7124" y="1343"/>
                    <a:pt x="7122" y="1344"/>
                    <a:pt x="7123" y="1347"/>
                  </a:cubicBezTo>
                  <a:cubicBezTo>
                    <a:pt x="7123" y="1363"/>
                    <a:pt x="7115" y="1402"/>
                    <a:pt x="7108" y="1441"/>
                  </a:cubicBezTo>
                  <a:cubicBezTo>
                    <a:pt x="7102" y="1474"/>
                    <a:pt x="7096" y="1504"/>
                    <a:pt x="7094" y="1513"/>
                  </a:cubicBezTo>
                  <a:close/>
                  <a:moveTo>
                    <a:pt x="4016" y="1758"/>
                  </a:moveTo>
                  <a:cubicBezTo>
                    <a:pt x="4017" y="1780"/>
                    <a:pt x="4017" y="1780"/>
                    <a:pt x="4017" y="1780"/>
                  </a:cubicBezTo>
                  <a:cubicBezTo>
                    <a:pt x="4245" y="1879"/>
                    <a:pt x="4453" y="2030"/>
                    <a:pt x="4491" y="2058"/>
                  </a:cubicBezTo>
                  <a:cubicBezTo>
                    <a:pt x="5336" y="2408"/>
                    <a:pt x="5336" y="2408"/>
                    <a:pt x="5336" y="2408"/>
                  </a:cubicBezTo>
                  <a:cubicBezTo>
                    <a:pt x="5378" y="2420"/>
                    <a:pt x="5878" y="2569"/>
                    <a:pt x="6046" y="2619"/>
                  </a:cubicBezTo>
                  <a:cubicBezTo>
                    <a:pt x="6126" y="2643"/>
                    <a:pt x="6294" y="2687"/>
                    <a:pt x="6460" y="2731"/>
                  </a:cubicBezTo>
                  <a:cubicBezTo>
                    <a:pt x="6476" y="2715"/>
                    <a:pt x="6476" y="2715"/>
                    <a:pt x="6476" y="2715"/>
                  </a:cubicBezTo>
                  <a:cubicBezTo>
                    <a:pt x="6548" y="2460"/>
                    <a:pt x="6548" y="2460"/>
                    <a:pt x="6548" y="2460"/>
                  </a:cubicBezTo>
                  <a:cubicBezTo>
                    <a:pt x="6550" y="2458"/>
                    <a:pt x="6550" y="2458"/>
                    <a:pt x="6550" y="2458"/>
                  </a:cubicBezTo>
                  <a:cubicBezTo>
                    <a:pt x="6600" y="2385"/>
                    <a:pt x="6681" y="2366"/>
                    <a:pt x="6785" y="2366"/>
                  </a:cubicBezTo>
                  <a:cubicBezTo>
                    <a:pt x="6852" y="2366"/>
                    <a:pt x="7030" y="2392"/>
                    <a:pt x="7155" y="2411"/>
                  </a:cubicBezTo>
                  <a:cubicBezTo>
                    <a:pt x="7152" y="2351"/>
                    <a:pt x="7129" y="2142"/>
                    <a:pt x="7107" y="1942"/>
                  </a:cubicBezTo>
                  <a:cubicBezTo>
                    <a:pt x="7085" y="1747"/>
                    <a:pt x="7063" y="1559"/>
                    <a:pt x="7059" y="1521"/>
                  </a:cubicBezTo>
                  <a:cubicBezTo>
                    <a:pt x="7029" y="1496"/>
                    <a:pt x="6987" y="1475"/>
                    <a:pt x="6954" y="1442"/>
                  </a:cubicBezTo>
                  <a:cubicBezTo>
                    <a:pt x="6899" y="1386"/>
                    <a:pt x="6866" y="1326"/>
                    <a:pt x="6865" y="1325"/>
                  </a:cubicBezTo>
                  <a:cubicBezTo>
                    <a:pt x="6587" y="823"/>
                    <a:pt x="6587" y="823"/>
                    <a:pt x="6587" y="823"/>
                  </a:cubicBezTo>
                  <a:cubicBezTo>
                    <a:pt x="6529" y="725"/>
                    <a:pt x="6456" y="703"/>
                    <a:pt x="6395" y="703"/>
                  </a:cubicBezTo>
                  <a:cubicBezTo>
                    <a:pt x="6366" y="703"/>
                    <a:pt x="6340" y="708"/>
                    <a:pt x="6321" y="714"/>
                  </a:cubicBezTo>
                  <a:cubicBezTo>
                    <a:pt x="6312" y="717"/>
                    <a:pt x="6304" y="720"/>
                    <a:pt x="6299" y="722"/>
                  </a:cubicBezTo>
                  <a:cubicBezTo>
                    <a:pt x="6295" y="723"/>
                    <a:pt x="6293" y="724"/>
                    <a:pt x="6292" y="725"/>
                  </a:cubicBezTo>
                  <a:cubicBezTo>
                    <a:pt x="6279" y="733"/>
                    <a:pt x="6059" y="860"/>
                    <a:pt x="5949" y="920"/>
                  </a:cubicBezTo>
                  <a:cubicBezTo>
                    <a:pt x="5847" y="976"/>
                    <a:pt x="5779" y="1006"/>
                    <a:pt x="5674" y="1006"/>
                  </a:cubicBezTo>
                  <a:cubicBezTo>
                    <a:pt x="5662" y="1006"/>
                    <a:pt x="5650" y="1006"/>
                    <a:pt x="5637" y="1005"/>
                  </a:cubicBezTo>
                  <a:cubicBezTo>
                    <a:pt x="5509" y="997"/>
                    <a:pt x="5215" y="908"/>
                    <a:pt x="4926" y="822"/>
                  </a:cubicBezTo>
                  <a:cubicBezTo>
                    <a:pt x="4674" y="747"/>
                    <a:pt x="4503" y="662"/>
                    <a:pt x="4462" y="641"/>
                  </a:cubicBezTo>
                  <a:cubicBezTo>
                    <a:pt x="4227" y="1096"/>
                    <a:pt x="4227" y="1096"/>
                    <a:pt x="4227" y="1096"/>
                  </a:cubicBezTo>
                  <a:cubicBezTo>
                    <a:pt x="4223" y="1114"/>
                    <a:pt x="4191" y="1237"/>
                    <a:pt x="4150" y="1305"/>
                  </a:cubicBezTo>
                  <a:cubicBezTo>
                    <a:pt x="4114" y="1365"/>
                    <a:pt x="4089" y="1412"/>
                    <a:pt x="4083" y="1422"/>
                  </a:cubicBezTo>
                  <a:lnTo>
                    <a:pt x="4016" y="1758"/>
                  </a:lnTo>
                  <a:close/>
                  <a:moveTo>
                    <a:pt x="3864" y="1844"/>
                  </a:moveTo>
                  <a:cubicBezTo>
                    <a:pt x="3809" y="1825"/>
                    <a:pt x="3734" y="1800"/>
                    <a:pt x="3650" y="1770"/>
                  </a:cubicBezTo>
                  <a:cubicBezTo>
                    <a:pt x="3634" y="1783"/>
                    <a:pt x="3634" y="1783"/>
                    <a:pt x="3634" y="1783"/>
                  </a:cubicBezTo>
                  <a:cubicBezTo>
                    <a:pt x="3212" y="3088"/>
                    <a:pt x="3212" y="3088"/>
                    <a:pt x="3212" y="3088"/>
                  </a:cubicBezTo>
                  <a:cubicBezTo>
                    <a:pt x="3207" y="3087"/>
                    <a:pt x="3207" y="3087"/>
                    <a:pt x="3207" y="3087"/>
                  </a:cubicBezTo>
                  <a:cubicBezTo>
                    <a:pt x="3364" y="3148"/>
                    <a:pt x="3679" y="3296"/>
                    <a:pt x="3946" y="3395"/>
                  </a:cubicBezTo>
                  <a:cubicBezTo>
                    <a:pt x="4266" y="3513"/>
                    <a:pt x="4564" y="3618"/>
                    <a:pt x="4764" y="3670"/>
                  </a:cubicBezTo>
                  <a:cubicBezTo>
                    <a:pt x="4839" y="3690"/>
                    <a:pt x="4919" y="3711"/>
                    <a:pt x="5000" y="3734"/>
                  </a:cubicBezTo>
                  <a:cubicBezTo>
                    <a:pt x="5162" y="3360"/>
                    <a:pt x="5162" y="3360"/>
                    <a:pt x="5162" y="3360"/>
                  </a:cubicBezTo>
                  <a:cubicBezTo>
                    <a:pt x="5153" y="2984"/>
                    <a:pt x="5153" y="2984"/>
                    <a:pt x="5153" y="2984"/>
                  </a:cubicBezTo>
                  <a:cubicBezTo>
                    <a:pt x="5154" y="2981"/>
                    <a:pt x="5154" y="2981"/>
                    <a:pt x="5154" y="2981"/>
                  </a:cubicBezTo>
                  <a:cubicBezTo>
                    <a:pt x="5154" y="2981"/>
                    <a:pt x="5193" y="2862"/>
                    <a:pt x="5231" y="2740"/>
                  </a:cubicBezTo>
                  <a:cubicBezTo>
                    <a:pt x="5251" y="2678"/>
                    <a:pt x="5270" y="2616"/>
                    <a:pt x="5284" y="2567"/>
                  </a:cubicBezTo>
                  <a:cubicBezTo>
                    <a:pt x="5290" y="2549"/>
                    <a:pt x="5294" y="2533"/>
                    <a:pt x="5298" y="2520"/>
                  </a:cubicBezTo>
                  <a:cubicBezTo>
                    <a:pt x="5298" y="2519"/>
                    <a:pt x="5298" y="2517"/>
                    <a:pt x="5298" y="2516"/>
                  </a:cubicBezTo>
                  <a:cubicBezTo>
                    <a:pt x="5298" y="2516"/>
                    <a:pt x="5298" y="2516"/>
                    <a:pt x="5298" y="2516"/>
                  </a:cubicBezTo>
                  <a:cubicBezTo>
                    <a:pt x="4434" y="2159"/>
                    <a:pt x="4434" y="2159"/>
                    <a:pt x="4434" y="2159"/>
                  </a:cubicBezTo>
                  <a:cubicBezTo>
                    <a:pt x="4428" y="2154"/>
                    <a:pt x="4428" y="2154"/>
                    <a:pt x="4428" y="2154"/>
                  </a:cubicBezTo>
                  <a:cubicBezTo>
                    <a:pt x="4428" y="2154"/>
                    <a:pt x="4410" y="2141"/>
                    <a:pt x="4379" y="2119"/>
                  </a:cubicBezTo>
                  <a:cubicBezTo>
                    <a:pt x="4283" y="2052"/>
                    <a:pt x="4063" y="1909"/>
                    <a:pt x="3864" y="1844"/>
                  </a:cubicBezTo>
                  <a:close/>
                  <a:moveTo>
                    <a:pt x="4281" y="3554"/>
                  </a:moveTo>
                  <a:cubicBezTo>
                    <a:pt x="4281" y="3554"/>
                    <a:pt x="4281" y="3554"/>
                    <a:pt x="4281" y="3554"/>
                  </a:cubicBezTo>
                  <a:cubicBezTo>
                    <a:pt x="4281" y="3555"/>
                    <a:pt x="4281" y="3555"/>
                    <a:pt x="4281" y="3555"/>
                  </a:cubicBezTo>
                  <a:cubicBezTo>
                    <a:pt x="4281" y="3555"/>
                    <a:pt x="4281" y="3555"/>
                    <a:pt x="4281" y="3555"/>
                  </a:cubicBezTo>
                  <a:lnTo>
                    <a:pt x="4281" y="3554"/>
                  </a:lnTo>
                  <a:close/>
                  <a:moveTo>
                    <a:pt x="4093" y="3904"/>
                  </a:moveTo>
                  <a:cubicBezTo>
                    <a:pt x="4094" y="3900"/>
                    <a:pt x="4094" y="3900"/>
                    <a:pt x="4094" y="3900"/>
                  </a:cubicBezTo>
                  <a:cubicBezTo>
                    <a:pt x="4094" y="3900"/>
                    <a:pt x="4133" y="3809"/>
                    <a:pt x="4172" y="3717"/>
                  </a:cubicBezTo>
                  <a:cubicBezTo>
                    <a:pt x="4192" y="3671"/>
                    <a:pt x="4212" y="3625"/>
                    <a:pt x="4228" y="3591"/>
                  </a:cubicBezTo>
                  <a:cubicBezTo>
                    <a:pt x="4235" y="3573"/>
                    <a:pt x="4242" y="3558"/>
                    <a:pt x="4247" y="3548"/>
                  </a:cubicBezTo>
                  <a:cubicBezTo>
                    <a:pt x="4248" y="3546"/>
                    <a:pt x="4249" y="3545"/>
                    <a:pt x="4250" y="3543"/>
                  </a:cubicBezTo>
                  <a:cubicBezTo>
                    <a:pt x="4149" y="3507"/>
                    <a:pt x="4043" y="3469"/>
                    <a:pt x="3934" y="3428"/>
                  </a:cubicBezTo>
                  <a:cubicBezTo>
                    <a:pt x="3613" y="3310"/>
                    <a:pt x="3221" y="3121"/>
                    <a:pt x="3125" y="3096"/>
                  </a:cubicBezTo>
                  <a:cubicBezTo>
                    <a:pt x="3083" y="3085"/>
                    <a:pt x="3021" y="3071"/>
                    <a:pt x="2947" y="3071"/>
                  </a:cubicBezTo>
                  <a:cubicBezTo>
                    <a:pt x="2845" y="3071"/>
                    <a:pt x="2721" y="3098"/>
                    <a:pt x="2597" y="3202"/>
                  </a:cubicBezTo>
                  <a:cubicBezTo>
                    <a:pt x="2524" y="3263"/>
                    <a:pt x="2409" y="3395"/>
                    <a:pt x="2253" y="3564"/>
                  </a:cubicBezTo>
                  <a:cubicBezTo>
                    <a:pt x="2104" y="3725"/>
                    <a:pt x="1941" y="3902"/>
                    <a:pt x="1814" y="4040"/>
                  </a:cubicBezTo>
                  <a:cubicBezTo>
                    <a:pt x="1750" y="4108"/>
                    <a:pt x="1696" y="4167"/>
                    <a:pt x="1657" y="4208"/>
                  </a:cubicBezTo>
                  <a:cubicBezTo>
                    <a:pt x="1639" y="4229"/>
                    <a:pt x="1624" y="4244"/>
                    <a:pt x="1613" y="4256"/>
                  </a:cubicBezTo>
                  <a:cubicBezTo>
                    <a:pt x="1616" y="4257"/>
                    <a:pt x="1619" y="4258"/>
                    <a:pt x="1619" y="4258"/>
                  </a:cubicBezTo>
                  <a:cubicBezTo>
                    <a:pt x="1621" y="4259"/>
                    <a:pt x="1621" y="4259"/>
                    <a:pt x="1621" y="4259"/>
                  </a:cubicBezTo>
                  <a:cubicBezTo>
                    <a:pt x="2454" y="4863"/>
                    <a:pt x="2454" y="4863"/>
                    <a:pt x="2454" y="4863"/>
                  </a:cubicBezTo>
                  <a:cubicBezTo>
                    <a:pt x="2917" y="5010"/>
                    <a:pt x="2917" y="5010"/>
                    <a:pt x="2917" y="5010"/>
                  </a:cubicBezTo>
                  <a:cubicBezTo>
                    <a:pt x="2923" y="4995"/>
                    <a:pt x="2949" y="4932"/>
                    <a:pt x="2968" y="4886"/>
                  </a:cubicBezTo>
                  <a:cubicBezTo>
                    <a:pt x="2990" y="4832"/>
                    <a:pt x="3033" y="4747"/>
                    <a:pt x="3156" y="4688"/>
                  </a:cubicBezTo>
                  <a:cubicBezTo>
                    <a:pt x="3199" y="4668"/>
                    <a:pt x="3242" y="4659"/>
                    <a:pt x="3289" y="4659"/>
                  </a:cubicBezTo>
                  <a:cubicBezTo>
                    <a:pt x="3381" y="4660"/>
                    <a:pt x="3489" y="4690"/>
                    <a:pt x="3654" y="4722"/>
                  </a:cubicBezTo>
                  <a:cubicBezTo>
                    <a:pt x="3750" y="4740"/>
                    <a:pt x="3865" y="4766"/>
                    <a:pt x="3987" y="4796"/>
                  </a:cubicBezTo>
                  <a:cubicBezTo>
                    <a:pt x="3993" y="4781"/>
                    <a:pt x="4009" y="4741"/>
                    <a:pt x="4028" y="4687"/>
                  </a:cubicBezTo>
                  <a:cubicBezTo>
                    <a:pt x="4051" y="4618"/>
                    <a:pt x="4078" y="4529"/>
                    <a:pt x="4093" y="4447"/>
                  </a:cubicBezTo>
                  <a:cubicBezTo>
                    <a:pt x="4103" y="4394"/>
                    <a:pt x="4107" y="4315"/>
                    <a:pt x="4106" y="4235"/>
                  </a:cubicBezTo>
                  <a:cubicBezTo>
                    <a:pt x="4107" y="4075"/>
                    <a:pt x="4093" y="3909"/>
                    <a:pt x="4093" y="3908"/>
                  </a:cubicBezTo>
                  <a:lnTo>
                    <a:pt x="4093" y="3904"/>
                  </a:lnTo>
                  <a:close/>
                  <a:moveTo>
                    <a:pt x="1291" y="4143"/>
                  </a:moveTo>
                  <a:cubicBezTo>
                    <a:pt x="1293" y="4145"/>
                    <a:pt x="1294" y="4146"/>
                    <a:pt x="1295" y="4148"/>
                  </a:cubicBezTo>
                  <a:cubicBezTo>
                    <a:pt x="1301" y="4149"/>
                    <a:pt x="1307" y="4150"/>
                    <a:pt x="1315" y="4153"/>
                  </a:cubicBezTo>
                  <a:cubicBezTo>
                    <a:pt x="1370" y="4168"/>
                    <a:pt x="1506" y="4217"/>
                    <a:pt x="1576" y="4242"/>
                  </a:cubicBezTo>
                  <a:cubicBezTo>
                    <a:pt x="1597" y="4220"/>
                    <a:pt x="1683" y="4128"/>
                    <a:pt x="1796" y="4005"/>
                  </a:cubicBezTo>
                  <a:cubicBezTo>
                    <a:pt x="1922" y="3870"/>
                    <a:pt x="2081" y="3697"/>
                    <a:pt x="2226" y="3540"/>
                  </a:cubicBezTo>
                  <a:cubicBezTo>
                    <a:pt x="2382" y="3370"/>
                    <a:pt x="2496" y="3240"/>
                    <a:pt x="2574" y="3174"/>
                  </a:cubicBezTo>
                  <a:cubicBezTo>
                    <a:pt x="2705" y="3064"/>
                    <a:pt x="2839" y="3034"/>
                    <a:pt x="2947" y="3034"/>
                  </a:cubicBezTo>
                  <a:cubicBezTo>
                    <a:pt x="3025" y="3034"/>
                    <a:pt x="3091" y="3050"/>
                    <a:pt x="3134" y="3061"/>
                  </a:cubicBezTo>
                  <a:cubicBezTo>
                    <a:pt x="3145" y="3064"/>
                    <a:pt x="3161" y="3069"/>
                    <a:pt x="3178" y="3076"/>
                  </a:cubicBezTo>
                  <a:cubicBezTo>
                    <a:pt x="3601" y="1769"/>
                    <a:pt x="3601" y="1769"/>
                    <a:pt x="3601" y="1769"/>
                  </a:cubicBezTo>
                  <a:cubicBezTo>
                    <a:pt x="3602" y="1754"/>
                    <a:pt x="3602" y="1754"/>
                    <a:pt x="3602" y="1754"/>
                  </a:cubicBezTo>
                  <a:cubicBezTo>
                    <a:pt x="3262" y="1635"/>
                    <a:pt x="2802" y="1470"/>
                    <a:pt x="2757" y="1453"/>
                  </a:cubicBezTo>
                  <a:cubicBezTo>
                    <a:pt x="2727" y="1442"/>
                    <a:pt x="2685" y="1426"/>
                    <a:pt x="2644" y="1401"/>
                  </a:cubicBezTo>
                  <a:cubicBezTo>
                    <a:pt x="2617" y="1385"/>
                    <a:pt x="2591" y="1365"/>
                    <a:pt x="2568" y="1339"/>
                  </a:cubicBezTo>
                  <a:cubicBezTo>
                    <a:pt x="2558" y="1345"/>
                    <a:pt x="2558" y="1345"/>
                    <a:pt x="2558" y="1345"/>
                  </a:cubicBezTo>
                  <a:cubicBezTo>
                    <a:pt x="2548" y="1353"/>
                    <a:pt x="2526" y="1371"/>
                    <a:pt x="2495" y="1397"/>
                  </a:cubicBezTo>
                  <a:cubicBezTo>
                    <a:pt x="2360" y="1511"/>
                    <a:pt x="2056" y="1774"/>
                    <a:pt x="1785" y="2008"/>
                  </a:cubicBezTo>
                  <a:cubicBezTo>
                    <a:pt x="1650" y="2125"/>
                    <a:pt x="1523" y="2235"/>
                    <a:pt x="1430" y="2316"/>
                  </a:cubicBezTo>
                  <a:cubicBezTo>
                    <a:pt x="1343" y="2392"/>
                    <a:pt x="1285" y="2442"/>
                    <a:pt x="1279" y="2447"/>
                  </a:cubicBezTo>
                  <a:cubicBezTo>
                    <a:pt x="565" y="3210"/>
                    <a:pt x="565" y="3210"/>
                    <a:pt x="565" y="3210"/>
                  </a:cubicBezTo>
                  <a:cubicBezTo>
                    <a:pt x="609" y="3267"/>
                    <a:pt x="764" y="3470"/>
                    <a:pt x="922" y="3674"/>
                  </a:cubicBezTo>
                  <a:cubicBezTo>
                    <a:pt x="1014" y="3794"/>
                    <a:pt x="1108" y="3914"/>
                    <a:pt x="1179" y="4004"/>
                  </a:cubicBezTo>
                  <a:cubicBezTo>
                    <a:pt x="1214" y="4049"/>
                    <a:pt x="1244" y="4087"/>
                    <a:pt x="1265" y="4113"/>
                  </a:cubicBezTo>
                  <a:cubicBezTo>
                    <a:pt x="1276" y="4126"/>
                    <a:pt x="1285" y="4136"/>
                    <a:pt x="1291" y="4143"/>
                  </a:cubicBezTo>
                  <a:close/>
                  <a:moveTo>
                    <a:pt x="1357" y="6806"/>
                  </a:moveTo>
                  <a:cubicBezTo>
                    <a:pt x="1396" y="6732"/>
                    <a:pt x="1425" y="6665"/>
                    <a:pt x="1425" y="6665"/>
                  </a:cubicBezTo>
                  <a:cubicBezTo>
                    <a:pt x="1426" y="6664"/>
                    <a:pt x="1426" y="6664"/>
                    <a:pt x="1426" y="6664"/>
                  </a:cubicBezTo>
                  <a:cubicBezTo>
                    <a:pt x="2422" y="4885"/>
                    <a:pt x="2422" y="4885"/>
                    <a:pt x="2422" y="4885"/>
                  </a:cubicBezTo>
                  <a:cubicBezTo>
                    <a:pt x="1604" y="4291"/>
                    <a:pt x="1604" y="4291"/>
                    <a:pt x="1604" y="4291"/>
                  </a:cubicBezTo>
                  <a:cubicBezTo>
                    <a:pt x="1591" y="4286"/>
                    <a:pt x="1524" y="4262"/>
                    <a:pt x="1454" y="4237"/>
                  </a:cubicBezTo>
                  <a:cubicBezTo>
                    <a:pt x="1415" y="4223"/>
                    <a:pt x="1376" y="4210"/>
                    <a:pt x="1344" y="4199"/>
                  </a:cubicBezTo>
                  <a:cubicBezTo>
                    <a:pt x="1334" y="4196"/>
                    <a:pt x="1325" y="4193"/>
                    <a:pt x="1317" y="4191"/>
                  </a:cubicBezTo>
                  <a:cubicBezTo>
                    <a:pt x="204" y="6229"/>
                    <a:pt x="204" y="6229"/>
                    <a:pt x="204" y="6229"/>
                  </a:cubicBezTo>
                  <a:cubicBezTo>
                    <a:pt x="364" y="6302"/>
                    <a:pt x="600" y="6451"/>
                    <a:pt x="783" y="6620"/>
                  </a:cubicBezTo>
                  <a:cubicBezTo>
                    <a:pt x="956" y="6778"/>
                    <a:pt x="1066" y="6955"/>
                    <a:pt x="1107" y="7026"/>
                  </a:cubicBezTo>
                  <a:cubicBezTo>
                    <a:pt x="1108" y="7026"/>
                    <a:pt x="1109" y="7026"/>
                    <a:pt x="1110" y="7025"/>
                  </a:cubicBezTo>
                  <a:cubicBezTo>
                    <a:pt x="1133" y="7022"/>
                    <a:pt x="1186" y="7011"/>
                    <a:pt x="1239" y="6977"/>
                  </a:cubicBezTo>
                  <a:cubicBezTo>
                    <a:pt x="1269" y="6959"/>
                    <a:pt x="1320" y="6879"/>
                    <a:pt x="1357" y="6806"/>
                  </a:cubicBezTo>
                  <a:close/>
                  <a:moveTo>
                    <a:pt x="1912" y="6970"/>
                  </a:moveTo>
                  <a:cubicBezTo>
                    <a:pt x="1761" y="6882"/>
                    <a:pt x="1517" y="6737"/>
                    <a:pt x="1450" y="6698"/>
                  </a:cubicBezTo>
                  <a:cubicBezTo>
                    <a:pt x="1439" y="6723"/>
                    <a:pt x="1416" y="6771"/>
                    <a:pt x="1389" y="6822"/>
                  </a:cubicBezTo>
                  <a:cubicBezTo>
                    <a:pt x="1357" y="6882"/>
                    <a:pt x="1322" y="6945"/>
                    <a:pt x="1286" y="6983"/>
                  </a:cubicBezTo>
                  <a:cubicBezTo>
                    <a:pt x="1290" y="6989"/>
                    <a:pt x="1290" y="6989"/>
                    <a:pt x="1290" y="6989"/>
                  </a:cubicBezTo>
                  <a:cubicBezTo>
                    <a:pt x="1290" y="6989"/>
                    <a:pt x="1290" y="6989"/>
                    <a:pt x="1290" y="6989"/>
                  </a:cubicBezTo>
                  <a:cubicBezTo>
                    <a:pt x="1394" y="7148"/>
                    <a:pt x="1394" y="7148"/>
                    <a:pt x="1394" y="7148"/>
                  </a:cubicBezTo>
                  <a:cubicBezTo>
                    <a:pt x="1394" y="7148"/>
                    <a:pt x="1394" y="7148"/>
                    <a:pt x="1394" y="7148"/>
                  </a:cubicBezTo>
                  <a:cubicBezTo>
                    <a:pt x="1402" y="7161"/>
                    <a:pt x="1402" y="7161"/>
                    <a:pt x="1402" y="7161"/>
                  </a:cubicBezTo>
                  <a:cubicBezTo>
                    <a:pt x="1419" y="7185"/>
                    <a:pt x="1419" y="7185"/>
                    <a:pt x="1419" y="7185"/>
                  </a:cubicBezTo>
                  <a:cubicBezTo>
                    <a:pt x="1418" y="7186"/>
                    <a:pt x="1418" y="7186"/>
                    <a:pt x="1418" y="7186"/>
                  </a:cubicBezTo>
                  <a:cubicBezTo>
                    <a:pt x="1422" y="7191"/>
                    <a:pt x="1422" y="7191"/>
                    <a:pt x="1422" y="7191"/>
                  </a:cubicBezTo>
                  <a:cubicBezTo>
                    <a:pt x="1389" y="7346"/>
                    <a:pt x="1389" y="7346"/>
                    <a:pt x="1389" y="7346"/>
                  </a:cubicBezTo>
                  <a:cubicBezTo>
                    <a:pt x="1403" y="7355"/>
                    <a:pt x="1437" y="7377"/>
                    <a:pt x="1472" y="7399"/>
                  </a:cubicBezTo>
                  <a:cubicBezTo>
                    <a:pt x="1495" y="7413"/>
                    <a:pt x="1518" y="7427"/>
                    <a:pt x="1535" y="7438"/>
                  </a:cubicBezTo>
                  <a:cubicBezTo>
                    <a:pt x="1544" y="7443"/>
                    <a:pt x="1552" y="7448"/>
                    <a:pt x="1557" y="7451"/>
                  </a:cubicBezTo>
                  <a:cubicBezTo>
                    <a:pt x="1560" y="7452"/>
                    <a:pt x="1562" y="7454"/>
                    <a:pt x="1563" y="7454"/>
                  </a:cubicBezTo>
                  <a:cubicBezTo>
                    <a:pt x="1564" y="7455"/>
                    <a:pt x="1565" y="7455"/>
                    <a:pt x="1565" y="7455"/>
                  </a:cubicBezTo>
                  <a:cubicBezTo>
                    <a:pt x="1562" y="7463"/>
                    <a:pt x="1562" y="7463"/>
                    <a:pt x="1562" y="7463"/>
                  </a:cubicBezTo>
                  <a:cubicBezTo>
                    <a:pt x="1562" y="7454"/>
                    <a:pt x="1562" y="7454"/>
                    <a:pt x="1562" y="7454"/>
                  </a:cubicBezTo>
                  <a:cubicBezTo>
                    <a:pt x="1562" y="7466"/>
                    <a:pt x="1562" y="7466"/>
                    <a:pt x="1562" y="7466"/>
                  </a:cubicBezTo>
                  <a:cubicBezTo>
                    <a:pt x="1563" y="7473"/>
                    <a:pt x="1563" y="7473"/>
                    <a:pt x="1563" y="7473"/>
                  </a:cubicBezTo>
                  <a:cubicBezTo>
                    <a:pt x="1650" y="7353"/>
                    <a:pt x="1650" y="7353"/>
                    <a:pt x="1650" y="7353"/>
                  </a:cubicBezTo>
                  <a:cubicBezTo>
                    <a:pt x="1647" y="7350"/>
                    <a:pt x="1647" y="7350"/>
                    <a:pt x="1647" y="7350"/>
                  </a:cubicBezTo>
                  <a:cubicBezTo>
                    <a:pt x="1647" y="7350"/>
                    <a:pt x="1647" y="7350"/>
                    <a:pt x="1647" y="7349"/>
                  </a:cubicBezTo>
                  <a:cubicBezTo>
                    <a:pt x="1647" y="7349"/>
                    <a:pt x="1647" y="7349"/>
                    <a:pt x="1647" y="7349"/>
                  </a:cubicBezTo>
                  <a:cubicBezTo>
                    <a:pt x="1652" y="7345"/>
                    <a:pt x="1673" y="7317"/>
                    <a:pt x="1698" y="7281"/>
                  </a:cubicBezTo>
                  <a:cubicBezTo>
                    <a:pt x="1698" y="7284"/>
                    <a:pt x="1698" y="7284"/>
                    <a:pt x="1698" y="7284"/>
                  </a:cubicBezTo>
                  <a:cubicBezTo>
                    <a:pt x="1716" y="7259"/>
                    <a:pt x="1716" y="7259"/>
                    <a:pt x="1716" y="7259"/>
                  </a:cubicBezTo>
                  <a:cubicBezTo>
                    <a:pt x="1753" y="7205"/>
                    <a:pt x="1796" y="7135"/>
                    <a:pt x="1835" y="7079"/>
                  </a:cubicBezTo>
                  <a:cubicBezTo>
                    <a:pt x="1857" y="7046"/>
                    <a:pt x="1877" y="7017"/>
                    <a:pt x="1893" y="6995"/>
                  </a:cubicBezTo>
                  <a:cubicBezTo>
                    <a:pt x="1901" y="6985"/>
                    <a:pt x="1907" y="6977"/>
                    <a:pt x="1912" y="6970"/>
                  </a:cubicBezTo>
                  <a:close/>
                  <a:moveTo>
                    <a:pt x="1941" y="6987"/>
                  </a:moveTo>
                  <a:cubicBezTo>
                    <a:pt x="1941" y="6987"/>
                    <a:pt x="1941" y="6987"/>
                    <a:pt x="1941" y="6987"/>
                  </a:cubicBezTo>
                  <a:cubicBezTo>
                    <a:pt x="1941" y="6988"/>
                    <a:pt x="1941" y="6988"/>
                    <a:pt x="1941" y="6988"/>
                  </a:cubicBezTo>
                  <a:cubicBezTo>
                    <a:pt x="1941" y="6988"/>
                    <a:pt x="1941" y="6988"/>
                    <a:pt x="1941" y="6988"/>
                  </a:cubicBezTo>
                  <a:lnTo>
                    <a:pt x="1941" y="6987"/>
                  </a:lnTo>
                  <a:close/>
                  <a:moveTo>
                    <a:pt x="3510" y="7220"/>
                  </a:moveTo>
                  <a:cubicBezTo>
                    <a:pt x="3472" y="7183"/>
                    <a:pt x="3433" y="7149"/>
                    <a:pt x="3399" y="7125"/>
                  </a:cubicBezTo>
                  <a:cubicBezTo>
                    <a:pt x="3282" y="7042"/>
                    <a:pt x="3176" y="6981"/>
                    <a:pt x="3090" y="6895"/>
                  </a:cubicBezTo>
                  <a:cubicBezTo>
                    <a:pt x="3014" y="6819"/>
                    <a:pt x="2973" y="6714"/>
                    <a:pt x="2973" y="6641"/>
                  </a:cubicBezTo>
                  <a:cubicBezTo>
                    <a:pt x="2973" y="6631"/>
                    <a:pt x="2974" y="6621"/>
                    <a:pt x="2976" y="6611"/>
                  </a:cubicBezTo>
                  <a:cubicBezTo>
                    <a:pt x="2979" y="6599"/>
                    <a:pt x="2988" y="6578"/>
                    <a:pt x="3005" y="6542"/>
                  </a:cubicBezTo>
                  <a:cubicBezTo>
                    <a:pt x="3109" y="6316"/>
                    <a:pt x="3472" y="5609"/>
                    <a:pt x="3527" y="5503"/>
                  </a:cubicBezTo>
                  <a:cubicBezTo>
                    <a:pt x="2950" y="5058"/>
                    <a:pt x="2950" y="5058"/>
                    <a:pt x="2950" y="5058"/>
                  </a:cubicBezTo>
                  <a:cubicBezTo>
                    <a:pt x="2454" y="4901"/>
                    <a:pt x="2454" y="4901"/>
                    <a:pt x="2454" y="4901"/>
                  </a:cubicBezTo>
                  <a:cubicBezTo>
                    <a:pt x="1466" y="6666"/>
                    <a:pt x="1466" y="6666"/>
                    <a:pt x="1466" y="6666"/>
                  </a:cubicBezTo>
                  <a:cubicBezTo>
                    <a:pt x="1504" y="6688"/>
                    <a:pt x="1608" y="6750"/>
                    <a:pt x="1719" y="6815"/>
                  </a:cubicBezTo>
                  <a:cubicBezTo>
                    <a:pt x="1857" y="6897"/>
                    <a:pt x="2006" y="6983"/>
                    <a:pt x="2042" y="7003"/>
                  </a:cubicBezTo>
                  <a:cubicBezTo>
                    <a:pt x="2120" y="7044"/>
                    <a:pt x="2364" y="7227"/>
                    <a:pt x="2451" y="7289"/>
                  </a:cubicBezTo>
                  <a:cubicBezTo>
                    <a:pt x="2540" y="7351"/>
                    <a:pt x="2651" y="7444"/>
                    <a:pt x="2816" y="7465"/>
                  </a:cubicBezTo>
                  <a:cubicBezTo>
                    <a:pt x="2828" y="7467"/>
                    <a:pt x="2840" y="7467"/>
                    <a:pt x="2852" y="7467"/>
                  </a:cubicBezTo>
                  <a:cubicBezTo>
                    <a:pt x="3000" y="7468"/>
                    <a:pt x="3142" y="7355"/>
                    <a:pt x="3220" y="7302"/>
                  </a:cubicBezTo>
                  <a:cubicBezTo>
                    <a:pt x="3266" y="7270"/>
                    <a:pt x="3346" y="7250"/>
                    <a:pt x="3415" y="7236"/>
                  </a:cubicBezTo>
                  <a:cubicBezTo>
                    <a:pt x="3452" y="7228"/>
                    <a:pt x="3486" y="7223"/>
                    <a:pt x="3510" y="7220"/>
                  </a:cubicBezTo>
                  <a:close/>
                  <a:moveTo>
                    <a:pt x="3896" y="7597"/>
                  </a:moveTo>
                  <a:cubicBezTo>
                    <a:pt x="3897" y="7598"/>
                    <a:pt x="3897" y="7598"/>
                    <a:pt x="3897" y="7598"/>
                  </a:cubicBezTo>
                  <a:cubicBezTo>
                    <a:pt x="3898" y="7600"/>
                    <a:pt x="3904" y="7610"/>
                    <a:pt x="3907" y="7629"/>
                  </a:cubicBezTo>
                  <a:cubicBezTo>
                    <a:pt x="3909" y="7639"/>
                    <a:pt x="3910" y="7651"/>
                    <a:pt x="3911" y="7661"/>
                  </a:cubicBezTo>
                  <a:cubicBezTo>
                    <a:pt x="4044" y="7603"/>
                    <a:pt x="4044" y="7603"/>
                    <a:pt x="4044" y="7603"/>
                  </a:cubicBezTo>
                  <a:cubicBezTo>
                    <a:pt x="4154" y="7549"/>
                    <a:pt x="4154" y="7549"/>
                    <a:pt x="4154" y="7549"/>
                  </a:cubicBezTo>
                  <a:cubicBezTo>
                    <a:pt x="4152" y="7545"/>
                    <a:pt x="4152" y="7545"/>
                    <a:pt x="4152" y="7545"/>
                  </a:cubicBezTo>
                  <a:cubicBezTo>
                    <a:pt x="4173" y="7540"/>
                    <a:pt x="4173" y="7540"/>
                    <a:pt x="4173" y="7540"/>
                  </a:cubicBezTo>
                  <a:cubicBezTo>
                    <a:pt x="4206" y="7523"/>
                    <a:pt x="4206" y="7523"/>
                    <a:pt x="4206" y="7523"/>
                  </a:cubicBezTo>
                  <a:cubicBezTo>
                    <a:pt x="4206" y="7523"/>
                    <a:pt x="4206" y="7523"/>
                    <a:pt x="4206" y="7523"/>
                  </a:cubicBezTo>
                  <a:cubicBezTo>
                    <a:pt x="4211" y="7520"/>
                    <a:pt x="4218" y="7517"/>
                    <a:pt x="4227" y="7512"/>
                  </a:cubicBezTo>
                  <a:cubicBezTo>
                    <a:pt x="4235" y="7507"/>
                    <a:pt x="4235" y="7507"/>
                    <a:pt x="4235" y="7507"/>
                  </a:cubicBezTo>
                  <a:cubicBezTo>
                    <a:pt x="4278" y="7486"/>
                    <a:pt x="4322" y="7459"/>
                    <a:pt x="4353" y="7430"/>
                  </a:cubicBezTo>
                  <a:cubicBezTo>
                    <a:pt x="4412" y="7377"/>
                    <a:pt x="4484" y="7189"/>
                    <a:pt x="4514" y="6959"/>
                  </a:cubicBezTo>
                  <a:cubicBezTo>
                    <a:pt x="4544" y="6728"/>
                    <a:pt x="4791" y="5548"/>
                    <a:pt x="4799" y="5512"/>
                  </a:cubicBezTo>
                  <a:cubicBezTo>
                    <a:pt x="4799" y="5508"/>
                    <a:pt x="4803" y="5477"/>
                    <a:pt x="4803" y="5431"/>
                  </a:cubicBezTo>
                  <a:cubicBezTo>
                    <a:pt x="4803" y="5366"/>
                    <a:pt x="4795" y="5273"/>
                    <a:pt x="4762" y="5189"/>
                  </a:cubicBezTo>
                  <a:cubicBezTo>
                    <a:pt x="4729" y="5105"/>
                    <a:pt x="4672" y="5031"/>
                    <a:pt x="4570" y="4998"/>
                  </a:cubicBezTo>
                  <a:cubicBezTo>
                    <a:pt x="4273" y="4902"/>
                    <a:pt x="3896" y="4805"/>
                    <a:pt x="3647" y="4757"/>
                  </a:cubicBezTo>
                  <a:cubicBezTo>
                    <a:pt x="3481" y="4725"/>
                    <a:pt x="3373" y="4695"/>
                    <a:pt x="3289" y="4695"/>
                  </a:cubicBezTo>
                  <a:cubicBezTo>
                    <a:pt x="3246" y="4696"/>
                    <a:pt x="3209" y="4703"/>
                    <a:pt x="3172" y="4721"/>
                  </a:cubicBezTo>
                  <a:cubicBezTo>
                    <a:pt x="3058" y="4776"/>
                    <a:pt x="3023" y="4849"/>
                    <a:pt x="3001" y="4900"/>
                  </a:cubicBezTo>
                  <a:cubicBezTo>
                    <a:pt x="2983" y="4944"/>
                    <a:pt x="2959" y="5003"/>
                    <a:pt x="2951" y="5021"/>
                  </a:cubicBezTo>
                  <a:cubicBezTo>
                    <a:pt x="2967" y="5026"/>
                    <a:pt x="2967" y="5026"/>
                    <a:pt x="2967" y="5026"/>
                  </a:cubicBezTo>
                  <a:cubicBezTo>
                    <a:pt x="3573" y="5493"/>
                    <a:pt x="3573" y="5493"/>
                    <a:pt x="3573" y="5493"/>
                  </a:cubicBezTo>
                  <a:cubicBezTo>
                    <a:pt x="3566" y="5506"/>
                    <a:pt x="3566" y="5506"/>
                    <a:pt x="3566" y="5506"/>
                  </a:cubicBezTo>
                  <a:cubicBezTo>
                    <a:pt x="3566" y="5506"/>
                    <a:pt x="3430" y="5770"/>
                    <a:pt x="3293" y="6042"/>
                  </a:cubicBezTo>
                  <a:cubicBezTo>
                    <a:pt x="3224" y="6177"/>
                    <a:pt x="3155" y="6315"/>
                    <a:pt x="3102" y="6423"/>
                  </a:cubicBezTo>
                  <a:cubicBezTo>
                    <a:pt x="3076" y="6476"/>
                    <a:pt x="3053" y="6523"/>
                    <a:pt x="3037" y="6557"/>
                  </a:cubicBezTo>
                  <a:cubicBezTo>
                    <a:pt x="3021" y="6591"/>
                    <a:pt x="3011" y="6616"/>
                    <a:pt x="3011" y="6619"/>
                  </a:cubicBezTo>
                  <a:cubicBezTo>
                    <a:pt x="3010" y="6625"/>
                    <a:pt x="3009" y="6633"/>
                    <a:pt x="3009" y="6641"/>
                  </a:cubicBezTo>
                  <a:cubicBezTo>
                    <a:pt x="3008" y="6700"/>
                    <a:pt x="3046" y="6801"/>
                    <a:pt x="3116" y="6870"/>
                  </a:cubicBezTo>
                  <a:cubicBezTo>
                    <a:pt x="3197" y="6951"/>
                    <a:pt x="3301" y="7012"/>
                    <a:pt x="3420" y="7096"/>
                  </a:cubicBezTo>
                  <a:cubicBezTo>
                    <a:pt x="3542" y="7182"/>
                    <a:pt x="3708" y="7379"/>
                    <a:pt x="3708" y="7379"/>
                  </a:cubicBezTo>
                  <a:cubicBezTo>
                    <a:pt x="3708" y="7379"/>
                    <a:pt x="3708" y="7379"/>
                    <a:pt x="3708" y="7379"/>
                  </a:cubicBezTo>
                  <a:lnTo>
                    <a:pt x="3896" y="7597"/>
                  </a:lnTo>
                  <a:close/>
                  <a:moveTo>
                    <a:pt x="3937" y="7897"/>
                  </a:moveTo>
                  <a:cubicBezTo>
                    <a:pt x="3939" y="7896"/>
                    <a:pt x="3939" y="7896"/>
                    <a:pt x="3939" y="7896"/>
                  </a:cubicBezTo>
                  <a:cubicBezTo>
                    <a:pt x="3938" y="7900"/>
                    <a:pt x="3938" y="7900"/>
                    <a:pt x="3938" y="7900"/>
                  </a:cubicBezTo>
                  <a:cubicBezTo>
                    <a:pt x="3942" y="7930"/>
                    <a:pt x="3950" y="7959"/>
                    <a:pt x="3960" y="7984"/>
                  </a:cubicBezTo>
                  <a:cubicBezTo>
                    <a:pt x="3965" y="7996"/>
                    <a:pt x="3970" y="8007"/>
                    <a:pt x="3974" y="8015"/>
                  </a:cubicBezTo>
                  <a:cubicBezTo>
                    <a:pt x="3975" y="8019"/>
                    <a:pt x="3977" y="8022"/>
                    <a:pt x="3978" y="8025"/>
                  </a:cubicBezTo>
                  <a:cubicBezTo>
                    <a:pt x="3979" y="8026"/>
                    <a:pt x="3979" y="8027"/>
                    <a:pt x="3980" y="8028"/>
                  </a:cubicBezTo>
                  <a:cubicBezTo>
                    <a:pt x="3987" y="8044"/>
                    <a:pt x="3987" y="8044"/>
                    <a:pt x="3987" y="8044"/>
                  </a:cubicBezTo>
                  <a:cubicBezTo>
                    <a:pt x="4015" y="8040"/>
                    <a:pt x="4042" y="8038"/>
                    <a:pt x="4069" y="8038"/>
                  </a:cubicBezTo>
                  <a:cubicBezTo>
                    <a:pt x="4157" y="8039"/>
                    <a:pt x="4244" y="8053"/>
                    <a:pt x="4348" y="8053"/>
                  </a:cubicBezTo>
                  <a:cubicBezTo>
                    <a:pt x="4374" y="8053"/>
                    <a:pt x="4401" y="8052"/>
                    <a:pt x="4430" y="8050"/>
                  </a:cubicBezTo>
                  <a:cubicBezTo>
                    <a:pt x="4530" y="8042"/>
                    <a:pt x="4700" y="8014"/>
                    <a:pt x="4844" y="7987"/>
                  </a:cubicBezTo>
                  <a:cubicBezTo>
                    <a:pt x="4987" y="7960"/>
                    <a:pt x="5105" y="7935"/>
                    <a:pt x="5105" y="7935"/>
                  </a:cubicBezTo>
                  <a:cubicBezTo>
                    <a:pt x="5113" y="7933"/>
                    <a:pt x="5113" y="7933"/>
                    <a:pt x="5113" y="7933"/>
                  </a:cubicBezTo>
                  <a:cubicBezTo>
                    <a:pt x="5121" y="7934"/>
                    <a:pt x="5121" y="7934"/>
                    <a:pt x="5121" y="7934"/>
                  </a:cubicBezTo>
                  <a:cubicBezTo>
                    <a:pt x="5122" y="7934"/>
                    <a:pt x="5477" y="7959"/>
                    <a:pt x="5840" y="7985"/>
                  </a:cubicBezTo>
                  <a:cubicBezTo>
                    <a:pt x="6047" y="8000"/>
                    <a:pt x="6256" y="8015"/>
                    <a:pt x="6401" y="8025"/>
                  </a:cubicBezTo>
                  <a:cubicBezTo>
                    <a:pt x="6407" y="8004"/>
                    <a:pt x="6413" y="7982"/>
                    <a:pt x="6419" y="7960"/>
                  </a:cubicBezTo>
                  <a:cubicBezTo>
                    <a:pt x="6440" y="7882"/>
                    <a:pt x="6466" y="7797"/>
                    <a:pt x="6520" y="7724"/>
                  </a:cubicBezTo>
                  <a:cubicBezTo>
                    <a:pt x="6549" y="7684"/>
                    <a:pt x="6574" y="7650"/>
                    <a:pt x="6607" y="7618"/>
                  </a:cubicBezTo>
                  <a:cubicBezTo>
                    <a:pt x="6657" y="7571"/>
                    <a:pt x="6721" y="7538"/>
                    <a:pt x="6818" y="7511"/>
                  </a:cubicBezTo>
                  <a:cubicBezTo>
                    <a:pt x="6915" y="7482"/>
                    <a:pt x="7051" y="7455"/>
                    <a:pt x="7263" y="7414"/>
                  </a:cubicBezTo>
                  <a:cubicBezTo>
                    <a:pt x="7812" y="7308"/>
                    <a:pt x="8100" y="7044"/>
                    <a:pt x="8216" y="6844"/>
                  </a:cubicBezTo>
                  <a:cubicBezTo>
                    <a:pt x="8243" y="6801"/>
                    <a:pt x="8264" y="6685"/>
                    <a:pt x="8263" y="6536"/>
                  </a:cubicBezTo>
                  <a:cubicBezTo>
                    <a:pt x="8263" y="6513"/>
                    <a:pt x="8263" y="6488"/>
                    <a:pt x="8262" y="6463"/>
                  </a:cubicBezTo>
                  <a:cubicBezTo>
                    <a:pt x="8066" y="6440"/>
                    <a:pt x="7811" y="6411"/>
                    <a:pt x="7595" y="6387"/>
                  </a:cubicBezTo>
                  <a:cubicBezTo>
                    <a:pt x="7397" y="6365"/>
                    <a:pt x="7233" y="6347"/>
                    <a:pt x="7181" y="6341"/>
                  </a:cubicBezTo>
                  <a:cubicBezTo>
                    <a:pt x="7023" y="7432"/>
                    <a:pt x="7023" y="7432"/>
                    <a:pt x="7023" y="7432"/>
                  </a:cubicBezTo>
                  <a:cubicBezTo>
                    <a:pt x="6987" y="7427"/>
                    <a:pt x="6987" y="7427"/>
                    <a:pt x="6987" y="7427"/>
                  </a:cubicBezTo>
                  <a:cubicBezTo>
                    <a:pt x="7145" y="6337"/>
                    <a:pt x="7145" y="6337"/>
                    <a:pt x="7145" y="6337"/>
                  </a:cubicBezTo>
                  <a:cubicBezTo>
                    <a:pt x="5936" y="6193"/>
                    <a:pt x="5936" y="6193"/>
                    <a:pt x="5936" y="6193"/>
                  </a:cubicBezTo>
                  <a:cubicBezTo>
                    <a:pt x="5733" y="7363"/>
                    <a:pt x="5733" y="7363"/>
                    <a:pt x="5733" y="7363"/>
                  </a:cubicBezTo>
                  <a:cubicBezTo>
                    <a:pt x="5697" y="7357"/>
                    <a:pt x="5697" y="7357"/>
                    <a:pt x="5697" y="7357"/>
                  </a:cubicBezTo>
                  <a:cubicBezTo>
                    <a:pt x="5900" y="6187"/>
                    <a:pt x="5900" y="6187"/>
                    <a:pt x="5900" y="6187"/>
                  </a:cubicBezTo>
                  <a:cubicBezTo>
                    <a:pt x="4743" y="5971"/>
                    <a:pt x="4743" y="5971"/>
                    <a:pt x="4743" y="5971"/>
                  </a:cubicBezTo>
                  <a:cubicBezTo>
                    <a:pt x="4750" y="5936"/>
                    <a:pt x="4750" y="5936"/>
                    <a:pt x="4750" y="5936"/>
                  </a:cubicBezTo>
                  <a:cubicBezTo>
                    <a:pt x="5906" y="6151"/>
                    <a:pt x="5906" y="6151"/>
                    <a:pt x="5906" y="6151"/>
                  </a:cubicBezTo>
                  <a:cubicBezTo>
                    <a:pt x="6122" y="4855"/>
                    <a:pt x="6122" y="4855"/>
                    <a:pt x="6122" y="4855"/>
                  </a:cubicBezTo>
                  <a:cubicBezTo>
                    <a:pt x="6122" y="4855"/>
                    <a:pt x="6132" y="4796"/>
                    <a:pt x="6132" y="4714"/>
                  </a:cubicBezTo>
                  <a:cubicBezTo>
                    <a:pt x="6132" y="4565"/>
                    <a:pt x="6100" y="4344"/>
                    <a:pt x="5938" y="4256"/>
                  </a:cubicBezTo>
                  <a:cubicBezTo>
                    <a:pt x="5669" y="4105"/>
                    <a:pt x="5559" y="3978"/>
                    <a:pt x="5379" y="3901"/>
                  </a:cubicBezTo>
                  <a:cubicBezTo>
                    <a:pt x="5197" y="3823"/>
                    <a:pt x="4956" y="3758"/>
                    <a:pt x="4755" y="3705"/>
                  </a:cubicBezTo>
                  <a:cubicBezTo>
                    <a:pt x="4629" y="3672"/>
                    <a:pt x="4466" y="3619"/>
                    <a:pt x="4284" y="3555"/>
                  </a:cubicBezTo>
                  <a:cubicBezTo>
                    <a:pt x="4279" y="3565"/>
                    <a:pt x="4268" y="3587"/>
                    <a:pt x="4256" y="3615"/>
                  </a:cubicBezTo>
                  <a:cubicBezTo>
                    <a:pt x="4213" y="3713"/>
                    <a:pt x="4141" y="3881"/>
                    <a:pt x="4129" y="3910"/>
                  </a:cubicBezTo>
                  <a:cubicBezTo>
                    <a:pt x="4131" y="3937"/>
                    <a:pt x="4143" y="4089"/>
                    <a:pt x="4143" y="4235"/>
                  </a:cubicBezTo>
                  <a:cubicBezTo>
                    <a:pt x="4143" y="4316"/>
                    <a:pt x="4139" y="4396"/>
                    <a:pt x="4129" y="4453"/>
                  </a:cubicBezTo>
                  <a:cubicBezTo>
                    <a:pt x="4102" y="4599"/>
                    <a:pt x="4040" y="4761"/>
                    <a:pt x="4023" y="4805"/>
                  </a:cubicBezTo>
                  <a:cubicBezTo>
                    <a:pt x="4209" y="4851"/>
                    <a:pt x="4408" y="4907"/>
                    <a:pt x="4581" y="4963"/>
                  </a:cubicBezTo>
                  <a:cubicBezTo>
                    <a:pt x="4695" y="5000"/>
                    <a:pt x="4760" y="5085"/>
                    <a:pt x="4796" y="5176"/>
                  </a:cubicBezTo>
                  <a:cubicBezTo>
                    <a:pt x="4831" y="5267"/>
                    <a:pt x="4839" y="5364"/>
                    <a:pt x="4839" y="5431"/>
                  </a:cubicBezTo>
                  <a:cubicBezTo>
                    <a:pt x="4839" y="5483"/>
                    <a:pt x="4834" y="5517"/>
                    <a:pt x="4834" y="5518"/>
                  </a:cubicBezTo>
                  <a:cubicBezTo>
                    <a:pt x="4834" y="5518"/>
                    <a:pt x="4834" y="5518"/>
                    <a:pt x="4834" y="5518"/>
                  </a:cubicBezTo>
                  <a:cubicBezTo>
                    <a:pt x="4834" y="5519"/>
                    <a:pt x="4834" y="5519"/>
                    <a:pt x="4834" y="5519"/>
                  </a:cubicBezTo>
                  <a:cubicBezTo>
                    <a:pt x="4834" y="5520"/>
                    <a:pt x="4771" y="5822"/>
                    <a:pt x="4703" y="6155"/>
                  </a:cubicBezTo>
                  <a:cubicBezTo>
                    <a:pt x="4636" y="6487"/>
                    <a:pt x="4565" y="6849"/>
                    <a:pt x="4550" y="6964"/>
                  </a:cubicBezTo>
                  <a:cubicBezTo>
                    <a:pt x="4518" y="7199"/>
                    <a:pt x="4450" y="7388"/>
                    <a:pt x="4377" y="7457"/>
                  </a:cubicBezTo>
                  <a:cubicBezTo>
                    <a:pt x="4331" y="7500"/>
                    <a:pt x="4258" y="7539"/>
                    <a:pt x="4213" y="7561"/>
                  </a:cubicBezTo>
                  <a:cubicBezTo>
                    <a:pt x="4213" y="7561"/>
                    <a:pt x="4213" y="7561"/>
                    <a:pt x="4213" y="7561"/>
                  </a:cubicBezTo>
                  <a:cubicBezTo>
                    <a:pt x="4060" y="7637"/>
                    <a:pt x="4060" y="7637"/>
                    <a:pt x="4060" y="7637"/>
                  </a:cubicBezTo>
                  <a:cubicBezTo>
                    <a:pt x="3914" y="7701"/>
                    <a:pt x="3914" y="7701"/>
                    <a:pt x="3914" y="7701"/>
                  </a:cubicBezTo>
                  <a:cubicBezTo>
                    <a:pt x="3914" y="7757"/>
                    <a:pt x="3932" y="7866"/>
                    <a:pt x="3937" y="7897"/>
                  </a:cubicBezTo>
                  <a:close/>
                  <a:moveTo>
                    <a:pt x="3779" y="8265"/>
                  </a:moveTo>
                  <a:cubicBezTo>
                    <a:pt x="3788" y="8296"/>
                    <a:pt x="3788" y="8296"/>
                    <a:pt x="3788" y="8296"/>
                  </a:cubicBezTo>
                  <a:cubicBezTo>
                    <a:pt x="3796" y="8316"/>
                    <a:pt x="3796" y="8316"/>
                    <a:pt x="3796" y="8316"/>
                  </a:cubicBezTo>
                  <a:cubicBezTo>
                    <a:pt x="3960" y="8238"/>
                    <a:pt x="4152" y="8193"/>
                    <a:pt x="4346" y="8168"/>
                  </a:cubicBezTo>
                  <a:cubicBezTo>
                    <a:pt x="4233" y="8167"/>
                    <a:pt x="4143" y="8153"/>
                    <a:pt x="4069" y="8153"/>
                  </a:cubicBezTo>
                  <a:cubicBezTo>
                    <a:pt x="4033" y="8153"/>
                    <a:pt x="4001" y="8156"/>
                    <a:pt x="3970" y="8165"/>
                  </a:cubicBezTo>
                  <a:cubicBezTo>
                    <a:pt x="3912" y="8180"/>
                    <a:pt x="3853" y="8213"/>
                    <a:pt x="3804" y="8247"/>
                  </a:cubicBezTo>
                  <a:cubicBezTo>
                    <a:pt x="3795" y="8253"/>
                    <a:pt x="3787" y="8259"/>
                    <a:pt x="3779" y="8265"/>
                  </a:cubicBezTo>
                  <a:close/>
                  <a:moveTo>
                    <a:pt x="500" y="10043"/>
                  </a:moveTo>
                  <a:cubicBezTo>
                    <a:pt x="505" y="10043"/>
                    <a:pt x="509" y="10045"/>
                    <a:pt x="513" y="10048"/>
                  </a:cubicBezTo>
                  <a:cubicBezTo>
                    <a:pt x="513" y="10049"/>
                    <a:pt x="514" y="10050"/>
                    <a:pt x="515" y="10051"/>
                  </a:cubicBezTo>
                  <a:cubicBezTo>
                    <a:pt x="516" y="10053"/>
                    <a:pt x="523" y="10060"/>
                    <a:pt x="533" y="10072"/>
                  </a:cubicBezTo>
                  <a:cubicBezTo>
                    <a:pt x="599" y="10034"/>
                    <a:pt x="600" y="10034"/>
                    <a:pt x="607" y="10029"/>
                  </a:cubicBezTo>
                  <a:cubicBezTo>
                    <a:pt x="608" y="10029"/>
                    <a:pt x="608" y="10029"/>
                    <a:pt x="608" y="10029"/>
                  </a:cubicBezTo>
                  <a:cubicBezTo>
                    <a:pt x="609" y="10028"/>
                    <a:pt x="609" y="10028"/>
                    <a:pt x="609" y="10028"/>
                  </a:cubicBezTo>
                  <a:cubicBezTo>
                    <a:pt x="609" y="10028"/>
                    <a:pt x="1446" y="9585"/>
                    <a:pt x="2275" y="9138"/>
                  </a:cubicBezTo>
                  <a:cubicBezTo>
                    <a:pt x="2920" y="8790"/>
                    <a:pt x="3567" y="8432"/>
                    <a:pt x="3764" y="8332"/>
                  </a:cubicBezTo>
                  <a:cubicBezTo>
                    <a:pt x="3748" y="8295"/>
                    <a:pt x="3748" y="8295"/>
                    <a:pt x="3748" y="8295"/>
                  </a:cubicBezTo>
                  <a:cubicBezTo>
                    <a:pt x="3747" y="8294"/>
                    <a:pt x="3745" y="8292"/>
                    <a:pt x="3744" y="8291"/>
                  </a:cubicBezTo>
                  <a:cubicBezTo>
                    <a:pt x="3723" y="8307"/>
                    <a:pt x="3706" y="8321"/>
                    <a:pt x="3693" y="8331"/>
                  </a:cubicBezTo>
                  <a:cubicBezTo>
                    <a:pt x="3684" y="8337"/>
                    <a:pt x="3678" y="8340"/>
                    <a:pt x="3664" y="8348"/>
                  </a:cubicBezTo>
                  <a:cubicBezTo>
                    <a:pt x="3491" y="8446"/>
                    <a:pt x="2449" y="8993"/>
                    <a:pt x="2263" y="9094"/>
                  </a:cubicBezTo>
                  <a:cubicBezTo>
                    <a:pt x="2263" y="9094"/>
                    <a:pt x="2263" y="9094"/>
                    <a:pt x="2263" y="9094"/>
                  </a:cubicBezTo>
                  <a:cubicBezTo>
                    <a:pt x="2261" y="9095"/>
                    <a:pt x="2261" y="9095"/>
                    <a:pt x="2261" y="9095"/>
                  </a:cubicBezTo>
                  <a:cubicBezTo>
                    <a:pt x="2244" y="9104"/>
                    <a:pt x="2234" y="9110"/>
                    <a:pt x="2235" y="9110"/>
                  </a:cubicBezTo>
                  <a:cubicBezTo>
                    <a:pt x="2234" y="9109"/>
                    <a:pt x="2234" y="9109"/>
                    <a:pt x="2234" y="9109"/>
                  </a:cubicBezTo>
                  <a:cubicBezTo>
                    <a:pt x="1341" y="9592"/>
                    <a:pt x="1341" y="9592"/>
                    <a:pt x="1341" y="9592"/>
                  </a:cubicBezTo>
                  <a:cubicBezTo>
                    <a:pt x="507" y="10039"/>
                    <a:pt x="507" y="10039"/>
                    <a:pt x="507" y="10039"/>
                  </a:cubicBezTo>
                  <a:cubicBezTo>
                    <a:pt x="506" y="10039"/>
                    <a:pt x="506" y="10039"/>
                    <a:pt x="506" y="10039"/>
                  </a:cubicBezTo>
                  <a:cubicBezTo>
                    <a:pt x="506" y="10039"/>
                    <a:pt x="503" y="10041"/>
                    <a:pt x="500" y="10043"/>
                  </a:cubicBezTo>
                  <a:close/>
                  <a:moveTo>
                    <a:pt x="499" y="10091"/>
                  </a:moveTo>
                  <a:cubicBezTo>
                    <a:pt x="498" y="10089"/>
                    <a:pt x="496" y="10087"/>
                    <a:pt x="494" y="10085"/>
                  </a:cubicBezTo>
                  <a:cubicBezTo>
                    <a:pt x="491" y="10081"/>
                    <a:pt x="489" y="10078"/>
                    <a:pt x="487" y="10076"/>
                  </a:cubicBezTo>
                  <a:cubicBezTo>
                    <a:pt x="486" y="10075"/>
                    <a:pt x="486" y="10075"/>
                    <a:pt x="485" y="10074"/>
                  </a:cubicBezTo>
                  <a:cubicBezTo>
                    <a:pt x="485" y="10073"/>
                    <a:pt x="484" y="10073"/>
                    <a:pt x="484" y="10073"/>
                  </a:cubicBezTo>
                  <a:cubicBezTo>
                    <a:pt x="484" y="10072"/>
                    <a:pt x="484" y="10072"/>
                    <a:pt x="483" y="10071"/>
                  </a:cubicBezTo>
                  <a:cubicBezTo>
                    <a:pt x="483" y="10071"/>
                    <a:pt x="483" y="10071"/>
                    <a:pt x="482" y="10070"/>
                  </a:cubicBezTo>
                  <a:cubicBezTo>
                    <a:pt x="482" y="10068"/>
                    <a:pt x="481" y="10068"/>
                    <a:pt x="480" y="10061"/>
                  </a:cubicBezTo>
                  <a:cubicBezTo>
                    <a:pt x="480" y="10059"/>
                    <a:pt x="481" y="10058"/>
                    <a:pt x="481" y="10056"/>
                  </a:cubicBezTo>
                  <a:cubicBezTo>
                    <a:pt x="482" y="10054"/>
                    <a:pt x="483" y="10053"/>
                    <a:pt x="484" y="10051"/>
                  </a:cubicBezTo>
                  <a:cubicBezTo>
                    <a:pt x="477" y="10055"/>
                    <a:pt x="471" y="10058"/>
                    <a:pt x="466" y="10062"/>
                  </a:cubicBezTo>
                  <a:cubicBezTo>
                    <a:pt x="454" y="10069"/>
                    <a:pt x="441" y="10079"/>
                    <a:pt x="433" y="10086"/>
                  </a:cubicBezTo>
                  <a:cubicBezTo>
                    <a:pt x="460" y="10093"/>
                    <a:pt x="479" y="10098"/>
                    <a:pt x="483" y="10100"/>
                  </a:cubicBezTo>
                  <a:cubicBezTo>
                    <a:pt x="489" y="10096"/>
                    <a:pt x="494" y="10094"/>
                    <a:pt x="499" y="10091"/>
                  </a:cubicBezTo>
                  <a:close/>
                  <a:moveTo>
                    <a:pt x="1345" y="11012"/>
                  </a:moveTo>
                  <a:cubicBezTo>
                    <a:pt x="1354" y="11007"/>
                    <a:pt x="1403" y="10982"/>
                    <a:pt x="1457" y="10956"/>
                  </a:cubicBezTo>
                  <a:cubicBezTo>
                    <a:pt x="1424" y="10919"/>
                    <a:pt x="1318" y="10804"/>
                    <a:pt x="1272" y="10749"/>
                  </a:cubicBezTo>
                  <a:cubicBezTo>
                    <a:pt x="1216" y="10684"/>
                    <a:pt x="1194" y="10643"/>
                    <a:pt x="1166" y="10595"/>
                  </a:cubicBezTo>
                  <a:cubicBezTo>
                    <a:pt x="1139" y="10550"/>
                    <a:pt x="919" y="10161"/>
                    <a:pt x="876" y="10086"/>
                  </a:cubicBezTo>
                  <a:cubicBezTo>
                    <a:pt x="910" y="10068"/>
                    <a:pt x="910" y="10068"/>
                    <a:pt x="910" y="10068"/>
                  </a:cubicBezTo>
                  <a:cubicBezTo>
                    <a:pt x="928" y="10100"/>
                    <a:pt x="991" y="10211"/>
                    <a:pt x="1041" y="10299"/>
                  </a:cubicBezTo>
                  <a:cubicBezTo>
                    <a:pt x="1111" y="10422"/>
                    <a:pt x="1184" y="10552"/>
                    <a:pt x="1198" y="10576"/>
                  </a:cubicBezTo>
                  <a:cubicBezTo>
                    <a:pt x="1227" y="10625"/>
                    <a:pt x="1247" y="10661"/>
                    <a:pt x="1301" y="10725"/>
                  </a:cubicBezTo>
                  <a:cubicBezTo>
                    <a:pt x="1351" y="10784"/>
                    <a:pt x="1473" y="10917"/>
                    <a:pt x="1493" y="10939"/>
                  </a:cubicBezTo>
                  <a:cubicBezTo>
                    <a:pt x="1510" y="10930"/>
                    <a:pt x="1527" y="10923"/>
                    <a:pt x="1543" y="10916"/>
                  </a:cubicBezTo>
                  <a:cubicBezTo>
                    <a:pt x="1626" y="10879"/>
                    <a:pt x="1860" y="10784"/>
                    <a:pt x="1966" y="10761"/>
                  </a:cubicBezTo>
                  <a:cubicBezTo>
                    <a:pt x="2029" y="10747"/>
                    <a:pt x="2108" y="10740"/>
                    <a:pt x="2211" y="10740"/>
                  </a:cubicBezTo>
                  <a:cubicBezTo>
                    <a:pt x="2282" y="10740"/>
                    <a:pt x="2365" y="10743"/>
                    <a:pt x="2462" y="10749"/>
                  </a:cubicBezTo>
                  <a:cubicBezTo>
                    <a:pt x="2677" y="10761"/>
                    <a:pt x="2849" y="10801"/>
                    <a:pt x="2883" y="10809"/>
                  </a:cubicBezTo>
                  <a:cubicBezTo>
                    <a:pt x="2892" y="10801"/>
                    <a:pt x="2898" y="10797"/>
                    <a:pt x="2898" y="10796"/>
                  </a:cubicBezTo>
                  <a:cubicBezTo>
                    <a:pt x="2899" y="10798"/>
                    <a:pt x="2899" y="10798"/>
                    <a:pt x="2899" y="10798"/>
                  </a:cubicBezTo>
                  <a:cubicBezTo>
                    <a:pt x="2954" y="10751"/>
                    <a:pt x="3010" y="10715"/>
                    <a:pt x="3066" y="10691"/>
                  </a:cubicBezTo>
                  <a:cubicBezTo>
                    <a:pt x="3098" y="10676"/>
                    <a:pt x="3127" y="10665"/>
                    <a:pt x="3148" y="10658"/>
                  </a:cubicBezTo>
                  <a:cubicBezTo>
                    <a:pt x="3158" y="10654"/>
                    <a:pt x="3166" y="10651"/>
                    <a:pt x="3171" y="10649"/>
                  </a:cubicBezTo>
                  <a:cubicBezTo>
                    <a:pt x="3172" y="10648"/>
                    <a:pt x="3172" y="10648"/>
                    <a:pt x="3173" y="10648"/>
                  </a:cubicBezTo>
                  <a:cubicBezTo>
                    <a:pt x="3174" y="10647"/>
                    <a:pt x="3175" y="10647"/>
                    <a:pt x="3175" y="10646"/>
                  </a:cubicBezTo>
                  <a:cubicBezTo>
                    <a:pt x="3180" y="10643"/>
                    <a:pt x="3181" y="10643"/>
                    <a:pt x="3184" y="10641"/>
                  </a:cubicBezTo>
                  <a:cubicBezTo>
                    <a:pt x="3250" y="10614"/>
                    <a:pt x="3982" y="10373"/>
                    <a:pt x="4587" y="10215"/>
                  </a:cubicBezTo>
                  <a:cubicBezTo>
                    <a:pt x="4156" y="9274"/>
                    <a:pt x="4156" y="9274"/>
                    <a:pt x="4156" y="9274"/>
                  </a:cubicBezTo>
                  <a:cubicBezTo>
                    <a:pt x="4042" y="9000"/>
                    <a:pt x="4042" y="9000"/>
                    <a:pt x="4042" y="9000"/>
                  </a:cubicBezTo>
                  <a:cubicBezTo>
                    <a:pt x="4037" y="8999"/>
                    <a:pt x="4032" y="8999"/>
                    <a:pt x="4027" y="8998"/>
                  </a:cubicBezTo>
                  <a:cubicBezTo>
                    <a:pt x="3981" y="9010"/>
                    <a:pt x="3863" y="9041"/>
                    <a:pt x="3749" y="9077"/>
                  </a:cubicBezTo>
                  <a:cubicBezTo>
                    <a:pt x="3608" y="9121"/>
                    <a:pt x="3537" y="9173"/>
                    <a:pt x="3497" y="9225"/>
                  </a:cubicBezTo>
                  <a:cubicBezTo>
                    <a:pt x="3457" y="9277"/>
                    <a:pt x="3448" y="9331"/>
                    <a:pt x="3433" y="9385"/>
                  </a:cubicBezTo>
                  <a:cubicBezTo>
                    <a:pt x="3405" y="9489"/>
                    <a:pt x="3396" y="9713"/>
                    <a:pt x="3306" y="9839"/>
                  </a:cubicBezTo>
                  <a:cubicBezTo>
                    <a:pt x="3262" y="9900"/>
                    <a:pt x="3238" y="9923"/>
                    <a:pt x="3190" y="9949"/>
                  </a:cubicBezTo>
                  <a:cubicBezTo>
                    <a:pt x="3141" y="9975"/>
                    <a:pt x="3069" y="10006"/>
                    <a:pt x="2919" y="10089"/>
                  </a:cubicBezTo>
                  <a:cubicBezTo>
                    <a:pt x="2755" y="10180"/>
                    <a:pt x="2583" y="10199"/>
                    <a:pt x="2465" y="10199"/>
                  </a:cubicBezTo>
                  <a:cubicBezTo>
                    <a:pt x="2405" y="10199"/>
                    <a:pt x="2362" y="10193"/>
                    <a:pt x="2339" y="10189"/>
                  </a:cubicBezTo>
                  <a:cubicBezTo>
                    <a:pt x="2339" y="10189"/>
                    <a:pt x="2339" y="10189"/>
                    <a:pt x="2339" y="10189"/>
                  </a:cubicBezTo>
                  <a:cubicBezTo>
                    <a:pt x="2339" y="10189"/>
                    <a:pt x="2336" y="10188"/>
                    <a:pt x="2332" y="10187"/>
                  </a:cubicBezTo>
                  <a:cubicBezTo>
                    <a:pt x="2223" y="10732"/>
                    <a:pt x="2223" y="10732"/>
                    <a:pt x="2223" y="10732"/>
                  </a:cubicBezTo>
                  <a:cubicBezTo>
                    <a:pt x="2199" y="10727"/>
                    <a:pt x="2199" y="10727"/>
                    <a:pt x="2199" y="10727"/>
                  </a:cubicBezTo>
                  <a:cubicBezTo>
                    <a:pt x="2308" y="10183"/>
                    <a:pt x="2308" y="10183"/>
                    <a:pt x="2308" y="10183"/>
                  </a:cubicBezTo>
                  <a:cubicBezTo>
                    <a:pt x="2268" y="10175"/>
                    <a:pt x="2196" y="10158"/>
                    <a:pt x="2146" y="10138"/>
                  </a:cubicBezTo>
                  <a:cubicBezTo>
                    <a:pt x="2077" y="10109"/>
                    <a:pt x="2018" y="10049"/>
                    <a:pt x="1999" y="10029"/>
                  </a:cubicBezTo>
                  <a:cubicBezTo>
                    <a:pt x="1634" y="10183"/>
                    <a:pt x="1634" y="10183"/>
                    <a:pt x="1634" y="10183"/>
                  </a:cubicBezTo>
                  <a:cubicBezTo>
                    <a:pt x="1632" y="10221"/>
                    <a:pt x="1616" y="10383"/>
                    <a:pt x="1616" y="10383"/>
                  </a:cubicBezTo>
                  <a:cubicBezTo>
                    <a:pt x="1592" y="10381"/>
                    <a:pt x="1592" y="10381"/>
                    <a:pt x="1592" y="10381"/>
                  </a:cubicBezTo>
                  <a:cubicBezTo>
                    <a:pt x="1592" y="10381"/>
                    <a:pt x="1592" y="10381"/>
                    <a:pt x="1592" y="10381"/>
                  </a:cubicBezTo>
                  <a:cubicBezTo>
                    <a:pt x="1592" y="10381"/>
                    <a:pt x="1608" y="10212"/>
                    <a:pt x="1610" y="10180"/>
                  </a:cubicBezTo>
                  <a:cubicBezTo>
                    <a:pt x="1351" y="9960"/>
                    <a:pt x="1351" y="9960"/>
                    <a:pt x="1351" y="9960"/>
                  </a:cubicBezTo>
                  <a:cubicBezTo>
                    <a:pt x="1366" y="9941"/>
                    <a:pt x="1366" y="9941"/>
                    <a:pt x="1366" y="9941"/>
                  </a:cubicBezTo>
                  <a:cubicBezTo>
                    <a:pt x="1624" y="10160"/>
                    <a:pt x="1624" y="10160"/>
                    <a:pt x="1624" y="10160"/>
                  </a:cubicBezTo>
                  <a:cubicBezTo>
                    <a:pt x="2006" y="9999"/>
                    <a:pt x="2006" y="9999"/>
                    <a:pt x="2006" y="9999"/>
                  </a:cubicBezTo>
                  <a:cubicBezTo>
                    <a:pt x="2012" y="10006"/>
                    <a:pt x="2012" y="10006"/>
                    <a:pt x="2012" y="10006"/>
                  </a:cubicBezTo>
                  <a:cubicBezTo>
                    <a:pt x="2012" y="10006"/>
                    <a:pt x="2029" y="10025"/>
                    <a:pt x="2055" y="10049"/>
                  </a:cubicBezTo>
                  <a:cubicBezTo>
                    <a:pt x="2082" y="10072"/>
                    <a:pt x="2118" y="10100"/>
                    <a:pt x="2155" y="10115"/>
                  </a:cubicBezTo>
                  <a:cubicBezTo>
                    <a:pt x="2210" y="10138"/>
                    <a:pt x="2298" y="10156"/>
                    <a:pt x="2334" y="10163"/>
                  </a:cubicBezTo>
                  <a:cubicBezTo>
                    <a:pt x="2336" y="10163"/>
                    <a:pt x="2336" y="10163"/>
                    <a:pt x="2336" y="10163"/>
                  </a:cubicBezTo>
                  <a:cubicBezTo>
                    <a:pt x="2335" y="10162"/>
                    <a:pt x="2376" y="10173"/>
                    <a:pt x="2465" y="10173"/>
                  </a:cubicBezTo>
                  <a:cubicBezTo>
                    <a:pt x="2580" y="10173"/>
                    <a:pt x="2748" y="10154"/>
                    <a:pt x="2906" y="10066"/>
                  </a:cubicBezTo>
                  <a:cubicBezTo>
                    <a:pt x="3056" y="9983"/>
                    <a:pt x="3131" y="9951"/>
                    <a:pt x="3177" y="9926"/>
                  </a:cubicBezTo>
                  <a:cubicBezTo>
                    <a:pt x="3223" y="9901"/>
                    <a:pt x="3241" y="9884"/>
                    <a:pt x="3284" y="9824"/>
                  </a:cubicBezTo>
                  <a:cubicBezTo>
                    <a:pt x="3368" y="9708"/>
                    <a:pt x="3379" y="9487"/>
                    <a:pt x="3408" y="9378"/>
                  </a:cubicBezTo>
                  <a:cubicBezTo>
                    <a:pt x="3422" y="9326"/>
                    <a:pt x="3432" y="9266"/>
                    <a:pt x="3476" y="9209"/>
                  </a:cubicBezTo>
                  <a:cubicBezTo>
                    <a:pt x="3520" y="9151"/>
                    <a:pt x="3597" y="9097"/>
                    <a:pt x="3741" y="9052"/>
                  </a:cubicBezTo>
                  <a:cubicBezTo>
                    <a:pt x="3845" y="9019"/>
                    <a:pt x="3952" y="8990"/>
                    <a:pt x="4006" y="8976"/>
                  </a:cubicBezTo>
                  <a:cubicBezTo>
                    <a:pt x="4010" y="8972"/>
                    <a:pt x="4018" y="8967"/>
                    <a:pt x="4025" y="8961"/>
                  </a:cubicBezTo>
                  <a:cubicBezTo>
                    <a:pt x="3817" y="8461"/>
                    <a:pt x="3817" y="8461"/>
                    <a:pt x="3817" y="8461"/>
                  </a:cubicBezTo>
                  <a:cubicBezTo>
                    <a:pt x="3589" y="8577"/>
                    <a:pt x="2829" y="8978"/>
                    <a:pt x="2114" y="9364"/>
                  </a:cubicBezTo>
                  <a:cubicBezTo>
                    <a:pt x="2092" y="9385"/>
                    <a:pt x="2092" y="9385"/>
                    <a:pt x="2092" y="9385"/>
                  </a:cubicBezTo>
                  <a:cubicBezTo>
                    <a:pt x="1721" y="9585"/>
                    <a:pt x="1380" y="9769"/>
                    <a:pt x="1114" y="9913"/>
                  </a:cubicBezTo>
                  <a:cubicBezTo>
                    <a:pt x="859" y="10051"/>
                    <a:pt x="690" y="10142"/>
                    <a:pt x="676" y="10150"/>
                  </a:cubicBezTo>
                  <a:cubicBezTo>
                    <a:pt x="672" y="10153"/>
                    <a:pt x="652" y="10164"/>
                    <a:pt x="626" y="10180"/>
                  </a:cubicBezTo>
                  <a:cubicBezTo>
                    <a:pt x="634" y="10190"/>
                    <a:pt x="643" y="10201"/>
                    <a:pt x="653" y="10211"/>
                  </a:cubicBezTo>
                  <a:cubicBezTo>
                    <a:pt x="773" y="10351"/>
                    <a:pt x="949" y="10555"/>
                    <a:pt x="1096" y="10724"/>
                  </a:cubicBezTo>
                  <a:cubicBezTo>
                    <a:pt x="1212" y="10859"/>
                    <a:pt x="1310" y="10971"/>
                    <a:pt x="1345" y="11012"/>
                  </a:cubicBezTo>
                  <a:close/>
                  <a:moveTo>
                    <a:pt x="2284" y="11733"/>
                  </a:moveTo>
                  <a:cubicBezTo>
                    <a:pt x="2322" y="11633"/>
                    <a:pt x="2382" y="11499"/>
                    <a:pt x="2449" y="11371"/>
                  </a:cubicBezTo>
                  <a:cubicBezTo>
                    <a:pt x="2484" y="11305"/>
                    <a:pt x="2514" y="11255"/>
                    <a:pt x="2545" y="11207"/>
                  </a:cubicBezTo>
                  <a:cubicBezTo>
                    <a:pt x="2574" y="11161"/>
                    <a:pt x="2605" y="11116"/>
                    <a:pt x="2642" y="11067"/>
                  </a:cubicBezTo>
                  <a:cubicBezTo>
                    <a:pt x="2624" y="11067"/>
                    <a:pt x="2600" y="11067"/>
                    <a:pt x="2575" y="11067"/>
                  </a:cubicBezTo>
                  <a:cubicBezTo>
                    <a:pt x="2527" y="11067"/>
                    <a:pt x="2482" y="11067"/>
                    <a:pt x="2482" y="11067"/>
                  </a:cubicBezTo>
                  <a:cubicBezTo>
                    <a:pt x="2482" y="11042"/>
                    <a:pt x="2482" y="11042"/>
                    <a:pt x="2482" y="11042"/>
                  </a:cubicBezTo>
                  <a:cubicBezTo>
                    <a:pt x="2482" y="11042"/>
                    <a:pt x="2527" y="11042"/>
                    <a:pt x="2575" y="11042"/>
                  </a:cubicBezTo>
                  <a:cubicBezTo>
                    <a:pt x="2599" y="11042"/>
                    <a:pt x="2622" y="11042"/>
                    <a:pt x="2640" y="11042"/>
                  </a:cubicBezTo>
                  <a:cubicBezTo>
                    <a:pt x="2649" y="11042"/>
                    <a:pt x="2656" y="11042"/>
                    <a:pt x="2661" y="11042"/>
                  </a:cubicBezTo>
                  <a:cubicBezTo>
                    <a:pt x="2666" y="11036"/>
                    <a:pt x="2670" y="11030"/>
                    <a:pt x="2675" y="11024"/>
                  </a:cubicBezTo>
                  <a:cubicBezTo>
                    <a:pt x="2734" y="10949"/>
                    <a:pt x="2804" y="10882"/>
                    <a:pt x="2849" y="10840"/>
                  </a:cubicBezTo>
                  <a:cubicBezTo>
                    <a:pt x="2830" y="10835"/>
                    <a:pt x="2797" y="10828"/>
                    <a:pt x="2754" y="10821"/>
                  </a:cubicBezTo>
                  <a:cubicBezTo>
                    <a:pt x="2681" y="10808"/>
                    <a:pt x="2578" y="10793"/>
                    <a:pt x="2460" y="10786"/>
                  </a:cubicBezTo>
                  <a:cubicBezTo>
                    <a:pt x="2363" y="10781"/>
                    <a:pt x="2281" y="10778"/>
                    <a:pt x="2211" y="10778"/>
                  </a:cubicBezTo>
                  <a:cubicBezTo>
                    <a:pt x="2109" y="10778"/>
                    <a:pt x="2033" y="10784"/>
                    <a:pt x="1974" y="10797"/>
                  </a:cubicBezTo>
                  <a:cubicBezTo>
                    <a:pt x="1875" y="10819"/>
                    <a:pt x="1638" y="10914"/>
                    <a:pt x="1558" y="10950"/>
                  </a:cubicBezTo>
                  <a:cubicBezTo>
                    <a:pt x="1518" y="10968"/>
                    <a:pt x="1469" y="10992"/>
                    <a:pt x="1430" y="11011"/>
                  </a:cubicBezTo>
                  <a:cubicBezTo>
                    <a:pt x="1410" y="11021"/>
                    <a:pt x="1393" y="11030"/>
                    <a:pt x="1380" y="11036"/>
                  </a:cubicBezTo>
                  <a:cubicBezTo>
                    <a:pt x="1376" y="11038"/>
                    <a:pt x="1373" y="11040"/>
                    <a:pt x="1370" y="11041"/>
                  </a:cubicBezTo>
                  <a:cubicBezTo>
                    <a:pt x="1826" y="11565"/>
                    <a:pt x="1826" y="11565"/>
                    <a:pt x="1826" y="11565"/>
                  </a:cubicBezTo>
                  <a:cubicBezTo>
                    <a:pt x="1829" y="11568"/>
                    <a:pt x="1849" y="11587"/>
                    <a:pt x="1881" y="11612"/>
                  </a:cubicBezTo>
                  <a:cubicBezTo>
                    <a:pt x="1915" y="11639"/>
                    <a:pt x="1963" y="11671"/>
                    <a:pt x="2014" y="11693"/>
                  </a:cubicBezTo>
                  <a:cubicBezTo>
                    <a:pt x="2097" y="11729"/>
                    <a:pt x="2190" y="11732"/>
                    <a:pt x="2227" y="11732"/>
                  </a:cubicBezTo>
                  <a:cubicBezTo>
                    <a:pt x="2245" y="11732"/>
                    <a:pt x="2266" y="11733"/>
                    <a:pt x="2284" y="11733"/>
                  </a:cubicBezTo>
                  <a:close/>
                  <a:moveTo>
                    <a:pt x="2002" y="12300"/>
                  </a:moveTo>
                  <a:cubicBezTo>
                    <a:pt x="2112" y="12309"/>
                    <a:pt x="2319" y="12329"/>
                    <a:pt x="2319" y="12329"/>
                  </a:cubicBezTo>
                  <a:cubicBezTo>
                    <a:pt x="2328" y="12330"/>
                    <a:pt x="2328" y="12330"/>
                    <a:pt x="2328" y="12330"/>
                  </a:cubicBezTo>
                  <a:cubicBezTo>
                    <a:pt x="2378" y="12335"/>
                    <a:pt x="2473" y="12345"/>
                    <a:pt x="2628" y="12360"/>
                  </a:cubicBezTo>
                  <a:cubicBezTo>
                    <a:pt x="2870" y="12384"/>
                    <a:pt x="3004" y="12429"/>
                    <a:pt x="3152" y="12474"/>
                  </a:cubicBezTo>
                  <a:cubicBezTo>
                    <a:pt x="3304" y="12519"/>
                    <a:pt x="3481" y="12643"/>
                    <a:pt x="3558" y="12718"/>
                  </a:cubicBezTo>
                  <a:cubicBezTo>
                    <a:pt x="3575" y="12734"/>
                    <a:pt x="3590" y="12752"/>
                    <a:pt x="3603" y="12769"/>
                  </a:cubicBezTo>
                  <a:cubicBezTo>
                    <a:pt x="3614" y="12767"/>
                    <a:pt x="3666" y="12752"/>
                    <a:pt x="3718" y="12735"/>
                  </a:cubicBezTo>
                  <a:cubicBezTo>
                    <a:pt x="3774" y="12717"/>
                    <a:pt x="3838" y="12692"/>
                    <a:pt x="3872" y="12665"/>
                  </a:cubicBezTo>
                  <a:cubicBezTo>
                    <a:pt x="3789" y="12391"/>
                    <a:pt x="3789" y="12391"/>
                    <a:pt x="3789" y="12391"/>
                  </a:cubicBezTo>
                  <a:cubicBezTo>
                    <a:pt x="3593" y="12192"/>
                    <a:pt x="3593" y="12192"/>
                    <a:pt x="3593" y="12192"/>
                  </a:cubicBezTo>
                  <a:cubicBezTo>
                    <a:pt x="3375" y="11916"/>
                    <a:pt x="3375" y="11916"/>
                    <a:pt x="3375" y="11916"/>
                  </a:cubicBezTo>
                  <a:cubicBezTo>
                    <a:pt x="3232" y="11843"/>
                    <a:pt x="3232" y="11843"/>
                    <a:pt x="3232" y="11843"/>
                  </a:cubicBezTo>
                  <a:cubicBezTo>
                    <a:pt x="2885" y="11722"/>
                    <a:pt x="2885" y="11722"/>
                    <a:pt x="2885" y="11722"/>
                  </a:cubicBezTo>
                  <a:cubicBezTo>
                    <a:pt x="2785" y="11610"/>
                    <a:pt x="2785" y="11610"/>
                    <a:pt x="2785" y="11610"/>
                  </a:cubicBezTo>
                  <a:cubicBezTo>
                    <a:pt x="2694" y="11699"/>
                    <a:pt x="2694" y="11699"/>
                    <a:pt x="2694" y="11699"/>
                  </a:cubicBezTo>
                  <a:cubicBezTo>
                    <a:pt x="2513" y="11752"/>
                    <a:pt x="2513" y="11752"/>
                    <a:pt x="2513" y="11752"/>
                  </a:cubicBezTo>
                  <a:cubicBezTo>
                    <a:pt x="2313" y="11767"/>
                    <a:pt x="2313" y="11767"/>
                    <a:pt x="2313" y="11767"/>
                  </a:cubicBezTo>
                  <a:cubicBezTo>
                    <a:pt x="2313" y="11766"/>
                    <a:pt x="2313" y="11766"/>
                    <a:pt x="2313" y="11766"/>
                  </a:cubicBezTo>
                  <a:cubicBezTo>
                    <a:pt x="2313" y="11766"/>
                    <a:pt x="2313" y="11766"/>
                    <a:pt x="2312" y="11766"/>
                  </a:cubicBezTo>
                  <a:cubicBezTo>
                    <a:pt x="2309" y="11775"/>
                    <a:pt x="2306" y="11785"/>
                    <a:pt x="2303" y="11793"/>
                  </a:cubicBezTo>
                  <a:cubicBezTo>
                    <a:pt x="2285" y="11843"/>
                    <a:pt x="2276" y="11872"/>
                    <a:pt x="2272" y="11889"/>
                  </a:cubicBezTo>
                  <a:cubicBezTo>
                    <a:pt x="2269" y="11897"/>
                    <a:pt x="2268" y="11902"/>
                    <a:pt x="2268" y="11905"/>
                  </a:cubicBezTo>
                  <a:cubicBezTo>
                    <a:pt x="2267" y="11906"/>
                    <a:pt x="2267" y="11907"/>
                    <a:pt x="2267" y="11908"/>
                  </a:cubicBezTo>
                  <a:cubicBezTo>
                    <a:pt x="2267" y="11912"/>
                    <a:pt x="2267" y="11912"/>
                    <a:pt x="2267" y="11912"/>
                  </a:cubicBezTo>
                  <a:cubicBezTo>
                    <a:pt x="2265" y="11915"/>
                    <a:pt x="2265" y="11915"/>
                    <a:pt x="2265" y="11915"/>
                  </a:cubicBezTo>
                  <a:cubicBezTo>
                    <a:pt x="2264" y="11915"/>
                    <a:pt x="2172" y="12072"/>
                    <a:pt x="2053" y="12230"/>
                  </a:cubicBezTo>
                  <a:cubicBezTo>
                    <a:pt x="2037" y="12251"/>
                    <a:pt x="2020" y="12276"/>
                    <a:pt x="2002" y="12300"/>
                  </a:cubicBezTo>
                  <a:close/>
                  <a:moveTo>
                    <a:pt x="650" y="11742"/>
                  </a:moveTo>
                  <a:cubicBezTo>
                    <a:pt x="676" y="11778"/>
                    <a:pt x="700" y="11812"/>
                    <a:pt x="722" y="11843"/>
                  </a:cubicBezTo>
                  <a:cubicBezTo>
                    <a:pt x="767" y="11905"/>
                    <a:pt x="804" y="11958"/>
                    <a:pt x="831" y="11995"/>
                  </a:cubicBezTo>
                  <a:cubicBezTo>
                    <a:pt x="844" y="12013"/>
                    <a:pt x="854" y="12028"/>
                    <a:pt x="861" y="12038"/>
                  </a:cubicBezTo>
                  <a:cubicBezTo>
                    <a:pt x="865" y="12043"/>
                    <a:pt x="868" y="12047"/>
                    <a:pt x="870" y="12049"/>
                  </a:cubicBezTo>
                  <a:cubicBezTo>
                    <a:pt x="871" y="12051"/>
                    <a:pt x="871" y="12052"/>
                    <a:pt x="872" y="12053"/>
                  </a:cubicBezTo>
                  <a:cubicBezTo>
                    <a:pt x="872" y="12053"/>
                    <a:pt x="872" y="12053"/>
                    <a:pt x="873" y="12054"/>
                  </a:cubicBezTo>
                  <a:cubicBezTo>
                    <a:pt x="873" y="12054"/>
                    <a:pt x="873" y="12055"/>
                    <a:pt x="873" y="12055"/>
                  </a:cubicBezTo>
                  <a:cubicBezTo>
                    <a:pt x="874" y="12056"/>
                    <a:pt x="874" y="12056"/>
                    <a:pt x="875" y="12058"/>
                  </a:cubicBezTo>
                  <a:cubicBezTo>
                    <a:pt x="1344" y="12723"/>
                    <a:pt x="1344" y="12723"/>
                    <a:pt x="1344" y="12723"/>
                  </a:cubicBezTo>
                  <a:cubicBezTo>
                    <a:pt x="1527" y="12813"/>
                    <a:pt x="1527" y="12813"/>
                    <a:pt x="1527" y="12813"/>
                  </a:cubicBezTo>
                  <a:cubicBezTo>
                    <a:pt x="1558" y="12776"/>
                    <a:pt x="1685" y="12627"/>
                    <a:pt x="1804" y="12484"/>
                  </a:cubicBezTo>
                  <a:cubicBezTo>
                    <a:pt x="1853" y="12426"/>
                    <a:pt x="1899" y="12367"/>
                    <a:pt x="1938" y="12319"/>
                  </a:cubicBezTo>
                  <a:cubicBezTo>
                    <a:pt x="1914" y="12313"/>
                    <a:pt x="1881" y="12308"/>
                    <a:pt x="1840" y="12299"/>
                  </a:cubicBezTo>
                  <a:cubicBezTo>
                    <a:pt x="1735" y="12273"/>
                    <a:pt x="1593" y="12231"/>
                    <a:pt x="1510" y="12175"/>
                  </a:cubicBezTo>
                  <a:cubicBezTo>
                    <a:pt x="1395" y="12100"/>
                    <a:pt x="1378" y="12026"/>
                    <a:pt x="1368" y="11992"/>
                  </a:cubicBezTo>
                  <a:cubicBezTo>
                    <a:pt x="1358" y="11957"/>
                    <a:pt x="1332" y="11852"/>
                    <a:pt x="1314" y="11788"/>
                  </a:cubicBezTo>
                  <a:cubicBezTo>
                    <a:pt x="1298" y="11728"/>
                    <a:pt x="1236" y="11627"/>
                    <a:pt x="1185" y="11573"/>
                  </a:cubicBezTo>
                  <a:cubicBezTo>
                    <a:pt x="1135" y="11518"/>
                    <a:pt x="1017" y="11421"/>
                    <a:pt x="970" y="11393"/>
                  </a:cubicBezTo>
                  <a:cubicBezTo>
                    <a:pt x="955" y="11383"/>
                    <a:pt x="934" y="11371"/>
                    <a:pt x="909" y="11357"/>
                  </a:cubicBezTo>
                  <a:cubicBezTo>
                    <a:pt x="902" y="11404"/>
                    <a:pt x="876" y="11535"/>
                    <a:pt x="813" y="11616"/>
                  </a:cubicBezTo>
                  <a:cubicBezTo>
                    <a:pt x="775" y="11664"/>
                    <a:pt x="739" y="11694"/>
                    <a:pt x="712" y="11713"/>
                  </a:cubicBezTo>
                  <a:cubicBezTo>
                    <a:pt x="698" y="11722"/>
                    <a:pt x="686" y="11728"/>
                    <a:pt x="678" y="11732"/>
                  </a:cubicBezTo>
                  <a:cubicBezTo>
                    <a:pt x="669" y="11736"/>
                    <a:pt x="665" y="11738"/>
                    <a:pt x="650" y="11742"/>
                  </a:cubicBezTo>
                  <a:close/>
                  <a:moveTo>
                    <a:pt x="611" y="12760"/>
                  </a:moveTo>
                  <a:cubicBezTo>
                    <a:pt x="633" y="12803"/>
                    <a:pt x="647" y="12838"/>
                    <a:pt x="656" y="12868"/>
                  </a:cubicBezTo>
                  <a:cubicBezTo>
                    <a:pt x="685" y="12861"/>
                    <a:pt x="751" y="12846"/>
                    <a:pt x="819" y="12831"/>
                  </a:cubicBezTo>
                  <a:cubicBezTo>
                    <a:pt x="862" y="12822"/>
                    <a:pt x="905" y="12812"/>
                    <a:pt x="937" y="12805"/>
                  </a:cubicBezTo>
                  <a:cubicBezTo>
                    <a:pt x="953" y="12802"/>
                    <a:pt x="967" y="12799"/>
                    <a:pt x="977" y="12797"/>
                  </a:cubicBezTo>
                  <a:cubicBezTo>
                    <a:pt x="982" y="12796"/>
                    <a:pt x="986" y="12795"/>
                    <a:pt x="989" y="12794"/>
                  </a:cubicBezTo>
                  <a:cubicBezTo>
                    <a:pt x="992" y="12794"/>
                    <a:pt x="993" y="12794"/>
                    <a:pt x="995" y="12793"/>
                  </a:cubicBezTo>
                  <a:cubicBezTo>
                    <a:pt x="1060" y="12779"/>
                    <a:pt x="1232" y="12741"/>
                    <a:pt x="1299" y="12726"/>
                  </a:cubicBezTo>
                  <a:cubicBezTo>
                    <a:pt x="830" y="12057"/>
                    <a:pt x="830" y="12057"/>
                    <a:pt x="830" y="12057"/>
                  </a:cubicBezTo>
                  <a:cubicBezTo>
                    <a:pt x="831" y="12057"/>
                    <a:pt x="831" y="12057"/>
                    <a:pt x="831" y="12057"/>
                  </a:cubicBezTo>
                  <a:cubicBezTo>
                    <a:pt x="802" y="12016"/>
                    <a:pt x="721" y="11904"/>
                    <a:pt x="621" y="11763"/>
                  </a:cubicBezTo>
                  <a:cubicBezTo>
                    <a:pt x="608" y="11764"/>
                    <a:pt x="608" y="11764"/>
                    <a:pt x="608" y="11764"/>
                  </a:cubicBezTo>
                  <a:cubicBezTo>
                    <a:pt x="144" y="11989"/>
                    <a:pt x="144" y="11989"/>
                    <a:pt x="144" y="11989"/>
                  </a:cubicBezTo>
                  <a:cubicBezTo>
                    <a:pt x="106" y="12151"/>
                    <a:pt x="106" y="12151"/>
                    <a:pt x="106" y="12151"/>
                  </a:cubicBezTo>
                  <a:cubicBezTo>
                    <a:pt x="134" y="12158"/>
                    <a:pt x="161" y="12167"/>
                    <a:pt x="181" y="12179"/>
                  </a:cubicBezTo>
                  <a:cubicBezTo>
                    <a:pt x="213" y="12198"/>
                    <a:pt x="255" y="12244"/>
                    <a:pt x="296" y="12295"/>
                  </a:cubicBezTo>
                  <a:cubicBezTo>
                    <a:pt x="337" y="12344"/>
                    <a:pt x="376" y="12398"/>
                    <a:pt x="398" y="12428"/>
                  </a:cubicBezTo>
                  <a:cubicBezTo>
                    <a:pt x="441" y="12489"/>
                    <a:pt x="564" y="12670"/>
                    <a:pt x="611" y="12760"/>
                  </a:cubicBezTo>
                  <a:close/>
                  <a:moveTo>
                    <a:pt x="1124" y="14031"/>
                  </a:moveTo>
                  <a:cubicBezTo>
                    <a:pt x="1127" y="14027"/>
                    <a:pt x="1130" y="14024"/>
                    <a:pt x="1132" y="14022"/>
                  </a:cubicBezTo>
                  <a:cubicBezTo>
                    <a:pt x="1133" y="14021"/>
                    <a:pt x="1134" y="14020"/>
                    <a:pt x="1134" y="14020"/>
                  </a:cubicBezTo>
                  <a:cubicBezTo>
                    <a:pt x="1134" y="14019"/>
                    <a:pt x="1134" y="14019"/>
                    <a:pt x="1134" y="14019"/>
                  </a:cubicBezTo>
                  <a:cubicBezTo>
                    <a:pt x="1143" y="14006"/>
                    <a:pt x="1255" y="13863"/>
                    <a:pt x="1255" y="13862"/>
                  </a:cubicBezTo>
                  <a:cubicBezTo>
                    <a:pt x="1441" y="13607"/>
                    <a:pt x="1441" y="13607"/>
                    <a:pt x="1441" y="13607"/>
                  </a:cubicBezTo>
                  <a:cubicBezTo>
                    <a:pt x="1154" y="13358"/>
                    <a:pt x="1154" y="13358"/>
                    <a:pt x="1154" y="13358"/>
                  </a:cubicBezTo>
                  <a:cubicBezTo>
                    <a:pt x="1153" y="13359"/>
                    <a:pt x="1153" y="13359"/>
                    <a:pt x="1153" y="13359"/>
                  </a:cubicBezTo>
                  <a:cubicBezTo>
                    <a:pt x="1153" y="13359"/>
                    <a:pt x="1153" y="13359"/>
                    <a:pt x="1153" y="13359"/>
                  </a:cubicBezTo>
                  <a:cubicBezTo>
                    <a:pt x="1121" y="13329"/>
                    <a:pt x="1121" y="13329"/>
                    <a:pt x="1121" y="13329"/>
                  </a:cubicBezTo>
                  <a:cubicBezTo>
                    <a:pt x="1113" y="13322"/>
                    <a:pt x="1113" y="13322"/>
                    <a:pt x="1113" y="13322"/>
                  </a:cubicBezTo>
                  <a:cubicBezTo>
                    <a:pt x="1113" y="13322"/>
                    <a:pt x="1113" y="13322"/>
                    <a:pt x="1113" y="13322"/>
                  </a:cubicBezTo>
                  <a:cubicBezTo>
                    <a:pt x="1014" y="13231"/>
                    <a:pt x="1014" y="13231"/>
                    <a:pt x="1014" y="13231"/>
                  </a:cubicBezTo>
                  <a:cubicBezTo>
                    <a:pt x="663" y="13235"/>
                    <a:pt x="663" y="13235"/>
                    <a:pt x="663" y="13235"/>
                  </a:cubicBezTo>
                  <a:cubicBezTo>
                    <a:pt x="663" y="13235"/>
                    <a:pt x="663" y="13235"/>
                    <a:pt x="663" y="13235"/>
                  </a:cubicBezTo>
                  <a:cubicBezTo>
                    <a:pt x="659" y="13294"/>
                    <a:pt x="654" y="13346"/>
                    <a:pt x="648" y="13374"/>
                  </a:cubicBezTo>
                  <a:cubicBezTo>
                    <a:pt x="630" y="13449"/>
                    <a:pt x="607" y="13580"/>
                    <a:pt x="602" y="13610"/>
                  </a:cubicBezTo>
                  <a:cubicBezTo>
                    <a:pt x="602" y="13611"/>
                    <a:pt x="602" y="13614"/>
                    <a:pt x="602" y="13616"/>
                  </a:cubicBezTo>
                  <a:cubicBezTo>
                    <a:pt x="601" y="13642"/>
                    <a:pt x="621" y="13695"/>
                    <a:pt x="643" y="13723"/>
                  </a:cubicBezTo>
                  <a:cubicBezTo>
                    <a:pt x="647" y="13726"/>
                    <a:pt x="659" y="13736"/>
                    <a:pt x="675" y="13746"/>
                  </a:cubicBezTo>
                  <a:cubicBezTo>
                    <a:pt x="700" y="13763"/>
                    <a:pt x="760" y="13803"/>
                    <a:pt x="790" y="13821"/>
                  </a:cubicBezTo>
                  <a:cubicBezTo>
                    <a:pt x="796" y="13825"/>
                    <a:pt x="796" y="13825"/>
                    <a:pt x="796" y="13825"/>
                  </a:cubicBezTo>
                  <a:cubicBezTo>
                    <a:pt x="811" y="13834"/>
                    <a:pt x="814" y="13836"/>
                    <a:pt x="824" y="13842"/>
                  </a:cubicBezTo>
                  <a:cubicBezTo>
                    <a:pt x="825" y="13842"/>
                    <a:pt x="825" y="13842"/>
                    <a:pt x="825" y="13842"/>
                  </a:cubicBezTo>
                  <a:lnTo>
                    <a:pt x="1124" y="14031"/>
                  </a:lnTo>
                  <a:close/>
                  <a:moveTo>
                    <a:pt x="725" y="14519"/>
                  </a:moveTo>
                  <a:cubicBezTo>
                    <a:pt x="1088" y="14792"/>
                    <a:pt x="1088" y="14792"/>
                    <a:pt x="1088" y="14792"/>
                  </a:cubicBezTo>
                  <a:cubicBezTo>
                    <a:pt x="1089" y="14791"/>
                    <a:pt x="1089" y="14791"/>
                    <a:pt x="1089" y="14791"/>
                  </a:cubicBezTo>
                  <a:cubicBezTo>
                    <a:pt x="1090" y="14794"/>
                    <a:pt x="1090" y="14794"/>
                    <a:pt x="1090" y="14794"/>
                  </a:cubicBezTo>
                  <a:cubicBezTo>
                    <a:pt x="1091" y="14794"/>
                    <a:pt x="1311" y="14958"/>
                    <a:pt x="1554" y="15141"/>
                  </a:cubicBezTo>
                  <a:cubicBezTo>
                    <a:pt x="1792" y="15319"/>
                    <a:pt x="2049" y="15513"/>
                    <a:pt x="2144" y="15583"/>
                  </a:cubicBezTo>
                  <a:cubicBezTo>
                    <a:pt x="2161" y="15578"/>
                    <a:pt x="2203" y="15566"/>
                    <a:pt x="2298" y="15546"/>
                  </a:cubicBezTo>
                  <a:cubicBezTo>
                    <a:pt x="2362" y="15532"/>
                    <a:pt x="2429" y="15505"/>
                    <a:pt x="2481" y="15481"/>
                  </a:cubicBezTo>
                  <a:cubicBezTo>
                    <a:pt x="2526" y="15460"/>
                    <a:pt x="2558" y="15442"/>
                    <a:pt x="2566" y="15438"/>
                  </a:cubicBezTo>
                  <a:cubicBezTo>
                    <a:pt x="2591" y="15414"/>
                    <a:pt x="2729" y="15277"/>
                    <a:pt x="2869" y="15154"/>
                  </a:cubicBezTo>
                  <a:cubicBezTo>
                    <a:pt x="2962" y="15073"/>
                    <a:pt x="3058" y="15005"/>
                    <a:pt x="3111" y="14958"/>
                  </a:cubicBezTo>
                  <a:cubicBezTo>
                    <a:pt x="3246" y="14838"/>
                    <a:pt x="3381" y="14822"/>
                    <a:pt x="3397" y="14820"/>
                  </a:cubicBezTo>
                  <a:cubicBezTo>
                    <a:pt x="3478" y="14800"/>
                    <a:pt x="3606" y="14795"/>
                    <a:pt x="3716" y="14795"/>
                  </a:cubicBezTo>
                  <a:cubicBezTo>
                    <a:pt x="3809" y="14795"/>
                    <a:pt x="3887" y="14799"/>
                    <a:pt x="3912" y="14800"/>
                  </a:cubicBezTo>
                  <a:cubicBezTo>
                    <a:pt x="4286" y="14313"/>
                    <a:pt x="4286" y="14313"/>
                    <a:pt x="4286" y="14313"/>
                  </a:cubicBezTo>
                  <a:cubicBezTo>
                    <a:pt x="1911" y="13451"/>
                    <a:pt x="1911" y="13451"/>
                    <a:pt x="1911" y="13451"/>
                  </a:cubicBezTo>
                  <a:cubicBezTo>
                    <a:pt x="1911" y="13451"/>
                    <a:pt x="1911" y="13451"/>
                    <a:pt x="1911" y="13451"/>
                  </a:cubicBezTo>
                  <a:cubicBezTo>
                    <a:pt x="1652" y="13359"/>
                    <a:pt x="1652" y="13359"/>
                    <a:pt x="1652" y="13359"/>
                  </a:cubicBezTo>
                  <a:cubicBezTo>
                    <a:pt x="1641" y="13377"/>
                    <a:pt x="1617" y="13414"/>
                    <a:pt x="1594" y="13450"/>
                  </a:cubicBezTo>
                  <a:cubicBezTo>
                    <a:pt x="1564" y="13497"/>
                    <a:pt x="1535" y="13542"/>
                    <a:pt x="1535" y="13543"/>
                  </a:cubicBezTo>
                  <a:cubicBezTo>
                    <a:pt x="1285" y="13885"/>
                    <a:pt x="1285" y="13885"/>
                    <a:pt x="1285" y="13885"/>
                  </a:cubicBezTo>
                  <a:cubicBezTo>
                    <a:pt x="1285" y="13885"/>
                    <a:pt x="1255" y="13924"/>
                    <a:pt x="1225" y="13963"/>
                  </a:cubicBezTo>
                  <a:cubicBezTo>
                    <a:pt x="1210" y="13982"/>
                    <a:pt x="1195" y="14002"/>
                    <a:pt x="1184" y="14017"/>
                  </a:cubicBezTo>
                  <a:cubicBezTo>
                    <a:pt x="1178" y="14024"/>
                    <a:pt x="1173" y="14030"/>
                    <a:pt x="1170" y="14035"/>
                  </a:cubicBezTo>
                  <a:cubicBezTo>
                    <a:pt x="1168" y="14037"/>
                    <a:pt x="1167" y="14039"/>
                    <a:pt x="1166" y="14040"/>
                  </a:cubicBezTo>
                  <a:cubicBezTo>
                    <a:pt x="1166" y="14040"/>
                    <a:pt x="1166" y="14040"/>
                    <a:pt x="1166" y="14040"/>
                  </a:cubicBezTo>
                  <a:cubicBezTo>
                    <a:pt x="1165" y="14042"/>
                    <a:pt x="1165" y="14042"/>
                    <a:pt x="1164" y="14042"/>
                  </a:cubicBezTo>
                  <a:cubicBezTo>
                    <a:pt x="1161" y="14046"/>
                    <a:pt x="1157" y="14050"/>
                    <a:pt x="1147" y="14061"/>
                  </a:cubicBezTo>
                  <a:cubicBezTo>
                    <a:pt x="1114" y="14096"/>
                    <a:pt x="1035" y="14177"/>
                    <a:pt x="964" y="14250"/>
                  </a:cubicBezTo>
                  <a:cubicBezTo>
                    <a:pt x="929" y="14287"/>
                    <a:pt x="896" y="14321"/>
                    <a:pt x="871" y="14347"/>
                  </a:cubicBezTo>
                  <a:cubicBezTo>
                    <a:pt x="858" y="14359"/>
                    <a:pt x="848" y="14370"/>
                    <a:pt x="841" y="14377"/>
                  </a:cubicBezTo>
                  <a:cubicBezTo>
                    <a:pt x="838" y="14381"/>
                    <a:pt x="835" y="14384"/>
                    <a:pt x="833" y="14386"/>
                  </a:cubicBezTo>
                  <a:cubicBezTo>
                    <a:pt x="832" y="14387"/>
                    <a:pt x="831" y="14387"/>
                    <a:pt x="830" y="14388"/>
                  </a:cubicBezTo>
                  <a:cubicBezTo>
                    <a:pt x="830" y="14388"/>
                    <a:pt x="830" y="14389"/>
                    <a:pt x="829" y="14389"/>
                  </a:cubicBezTo>
                  <a:cubicBezTo>
                    <a:pt x="829" y="14389"/>
                    <a:pt x="829" y="14389"/>
                    <a:pt x="828" y="14390"/>
                  </a:cubicBezTo>
                  <a:cubicBezTo>
                    <a:pt x="824" y="14394"/>
                    <a:pt x="800" y="14420"/>
                    <a:pt x="776" y="14448"/>
                  </a:cubicBezTo>
                  <a:cubicBezTo>
                    <a:pt x="764" y="14462"/>
                    <a:pt x="752" y="14477"/>
                    <a:pt x="742" y="14489"/>
                  </a:cubicBezTo>
                  <a:cubicBezTo>
                    <a:pt x="733" y="14502"/>
                    <a:pt x="726" y="14513"/>
                    <a:pt x="726" y="14515"/>
                  </a:cubicBezTo>
                  <a:cubicBezTo>
                    <a:pt x="725" y="14516"/>
                    <a:pt x="725" y="14517"/>
                    <a:pt x="725" y="14519"/>
                  </a:cubicBezTo>
                  <a:close/>
                  <a:moveTo>
                    <a:pt x="2590" y="16691"/>
                  </a:moveTo>
                  <a:cubicBezTo>
                    <a:pt x="2590" y="16670"/>
                    <a:pt x="2590" y="16649"/>
                    <a:pt x="2590" y="16629"/>
                  </a:cubicBezTo>
                  <a:cubicBezTo>
                    <a:pt x="2590" y="16351"/>
                    <a:pt x="2593" y="16105"/>
                    <a:pt x="2593" y="16006"/>
                  </a:cubicBezTo>
                  <a:cubicBezTo>
                    <a:pt x="2593" y="15980"/>
                    <a:pt x="2596" y="15957"/>
                    <a:pt x="2600" y="15934"/>
                  </a:cubicBezTo>
                  <a:cubicBezTo>
                    <a:pt x="2357" y="15899"/>
                    <a:pt x="2357" y="15899"/>
                    <a:pt x="2357" y="15899"/>
                  </a:cubicBezTo>
                  <a:cubicBezTo>
                    <a:pt x="2353" y="15889"/>
                    <a:pt x="2353" y="15889"/>
                    <a:pt x="2353" y="15889"/>
                  </a:cubicBezTo>
                  <a:cubicBezTo>
                    <a:pt x="2353" y="15889"/>
                    <a:pt x="2350" y="15881"/>
                    <a:pt x="2343" y="15866"/>
                  </a:cubicBezTo>
                  <a:cubicBezTo>
                    <a:pt x="2321" y="15820"/>
                    <a:pt x="2259" y="15714"/>
                    <a:pt x="2130" y="15618"/>
                  </a:cubicBezTo>
                  <a:cubicBezTo>
                    <a:pt x="1955" y="15488"/>
                    <a:pt x="1075" y="14830"/>
                    <a:pt x="1061" y="14820"/>
                  </a:cubicBezTo>
                  <a:cubicBezTo>
                    <a:pt x="1061" y="14820"/>
                    <a:pt x="1061" y="14820"/>
                    <a:pt x="1061" y="14820"/>
                  </a:cubicBezTo>
                  <a:cubicBezTo>
                    <a:pt x="718" y="14561"/>
                    <a:pt x="718" y="14561"/>
                    <a:pt x="718" y="14561"/>
                  </a:cubicBezTo>
                  <a:cubicBezTo>
                    <a:pt x="718" y="14564"/>
                    <a:pt x="718" y="14566"/>
                    <a:pt x="718" y="14568"/>
                  </a:cubicBezTo>
                  <a:cubicBezTo>
                    <a:pt x="715" y="14586"/>
                    <a:pt x="698" y="14647"/>
                    <a:pt x="680" y="14700"/>
                  </a:cubicBezTo>
                  <a:cubicBezTo>
                    <a:pt x="663" y="14752"/>
                    <a:pt x="621" y="14884"/>
                    <a:pt x="573" y="14954"/>
                  </a:cubicBezTo>
                  <a:cubicBezTo>
                    <a:pt x="546" y="14994"/>
                    <a:pt x="383" y="15208"/>
                    <a:pt x="256" y="15374"/>
                  </a:cubicBezTo>
                  <a:cubicBezTo>
                    <a:pt x="283" y="15378"/>
                    <a:pt x="330" y="15384"/>
                    <a:pt x="396" y="15393"/>
                  </a:cubicBezTo>
                  <a:cubicBezTo>
                    <a:pt x="512" y="15410"/>
                    <a:pt x="654" y="15444"/>
                    <a:pt x="762" y="15474"/>
                  </a:cubicBezTo>
                  <a:cubicBezTo>
                    <a:pt x="872" y="15504"/>
                    <a:pt x="939" y="15542"/>
                    <a:pt x="1022" y="15585"/>
                  </a:cubicBezTo>
                  <a:cubicBezTo>
                    <a:pt x="1110" y="15630"/>
                    <a:pt x="1261" y="15772"/>
                    <a:pt x="1262" y="15773"/>
                  </a:cubicBezTo>
                  <a:cubicBezTo>
                    <a:pt x="1266" y="15777"/>
                    <a:pt x="1266" y="15777"/>
                    <a:pt x="1266" y="15777"/>
                  </a:cubicBezTo>
                  <a:cubicBezTo>
                    <a:pt x="1266" y="15777"/>
                    <a:pt x="1266" y="15777"/>
                    <a:pt x="1266" y="15777"/>
                  </a:cubicBezTo>
                  <a:cubicBezTo>
                    <a:pt x="1319" y="15822"/>
                    <a:pt x="1497" y="15976"/>
                    <a:pt x="1562" y="16039"/>
                  </a:cubicBezTo>
                  <a:cubicBezTo>
                    <a:pt x="1637" y="16112"/>
                    <a:pt x="1966" y="16421"/>
                    <a:pt x="1967" y="16421"/>
                  </a:cubicBezTo>
                  <a:cubicBezTo>
                    <a:pt x="2015" y="16462"/>
                    <a:pt x="2169" y="16615"/>
                    <a:pt x="2254" y="16652"/>
                  </a:cubicBezTo>
                  <a:cubicBezTo>
                    <a:pt x="2294" y="16670"/>
                    <a:pt x="2385" y="16681"/>
                    <a:pt x="2463" y="16686"/>
                  </a:cubicBezTo>
                  <a:cubicBezTo>
                    <a:pt x="2517" y="16689"/>
                    <a:pt x="2565" y="16691"/>
                    <a:pt x="2590" y="16691"/>
                  </a:cubicBezTo>
                  <a:close/>
                  <a:moveTo>
                    <a:pt x="3982" y="16849"/>
                  </a:moveTo>
                  <a:cubicBezTo>
                    <a:pt x="3981" y="16831"/>
                    <a:pt x="3980" y="16813"/>
                    <a:pt x="3980" y="16794"/>
                  </a:cubicBezTo>
                  <a:cubicBezTo>
                    <a:pt x="3980" y="16789"/>
                    <a:pt x="3980" y="16785"/>
                    <a:pt x="3980" y="16781"/>
                  </a:cubicBezTo>
                  <a:cubicBezTo>
                    <a:pt x="3982" y="16628"/>
                    <a:pt x="4001" y="16538"/>
                    <a:pt x="4020" y="16483"/>
                  </a:cubicBezTo>
                  <a:cubicBezTo>
                    <a:pt x="4030" y="16456"/>
                    <a:pt x="4040" y="16438"/>
                    <a:pt x="4048" y="16426"/>
                  </a:cubicBezTo>
                  <a:cubicBezTo>
                    <a:pt x="4052" y="16420"/>
                    <a:pt x="4055" y="16415"/>
                    <a:pt x="4058" y="16412"/>
                  </a:cubicBezTo>
                  <a:cubicBezTo>
                    <a:pt x="4059" y="16411"/>
                    <a:pt x="4060" y="16409"/>
                    <a:pt x="4060" y="16409"/>
                  </a:cubicBezTo>
                  <a:cubicBezTo>
                    <a:pt x="4060" y="16409"/>
                    <a:pt x="4061" y="16408"/>
                    <a:pt x="4061" y="16408"/>
                  </a:cubicBezTo>
                  <a:cubicBezTo>
                    <a:pt x="4061" y="16408"/>
                    <a:pt x="4061" y="16408"/>
                    <a:pt x="4061" y="16408"/>
                  </a:cubicBezTo>
                  <a:cubicBezTo>
                    <a:pt x="4061" y="16408"/>
                    <a:pt x="4061" y="16408"/>
                    <a:pt x="4061" y="16408"/>
                  </a:cubicBezTo>
                  <a:cubicBezTo>
                    <a:pt x="4064" y="16403"/>
                    <a:pt x="4064" y="16404"/>
                    <a:pt x="4066" y="16403"/>
                  </a:cubicBezTo>
                  <a:cubicBezTo>
                    <a:pt x="4081" y="16389"/>
                    <a:pt x="4180" y="16319"/>
                    <a:pt x="4276" y="16251"/>
                  </a:cubicBezTo>
                  <a:cubicBezTo>
                    <a:pt x="4345" y="16202"/>
                    <a:pt x="4411" y="16156"/>
                    <a:pt x="4444" y="16133"/>
                  </a:cubicBezTo>
                  <a:cubicBezTo>
                    <a:pt x="4438" y="16104"/>
                    <a:pt x="4423" y="16018"/>
                    <a:pt x="4404" y="15924"/>
                  </a:cubicBezTo>
                  <a:cubicBezTo>
                    <a:pt x="4381" y="15807"/>
                    <a:pt x="4354" y="15676"/>
                    <a:pt x="4336" y="15623"/>
                  </a:cubicBezTo>
                  <a:cubicBezTo>
                    <a:pt x="4322" y="15580"/>
                    <a:pt x="4239" y="15431"/>
                    <a:pt x="4160" y="15297"/>
                  </a:cubicBezTo>
                  <a:cubicBezTo>
                    <a:pt x="4089" y="15174"/>
                    <a:pt x="4020" y="15061"/>
                    <a:pt x="4009" y="15042"/>
                  </a:cubicBezTo>
                  <a:cubicBezTo>
                    <a:pt x="3999" y="15034"/>
                    <a:pt x="3999" y="15034"/>
                    <a:pt x="3999" y="15034"/>
                  </a:cubicBezTo>
                  <a:cubicBezTo>
                    <a:pt x="2916" y="15639"/>
                    <a:pt x="2916" y="15639"/>
                    <a:pt x="2916" y="15639"/>
                  </a:cubicBezTo>
                  <a:cubicBezTo>
                    <a:pt x="2915" y="15639"/>
                    <a:pt x="2915" y="15639"/>
                    <a:pt x="2915" y="15639"/>
                  </a:cubicBezTo>
                  <a:cubicBezTo>
                    <a:pt x="2915" y="15639"/>
                    <a:pt x="2897" y="15645"/>
                    <a:pt x="2870" y="15659"/>
                  </a:cubicBezTo>
                  <a:cubicBezTo>
                    <a:pt x="2789" y="15700"/>
                    <a:pt x="2629" y="15805"/>
                    <a:pt x="2629" y="16006"/>
                  </a:cubicBezTo>
                  <a:cubicBezTo>
                    <a:pt x="2629" y="16105"/>
                    <a:pt x="2626" y="16352"/>
                    <a:pt x="2626" y="16629"/>
                  </a:cubicBezTo>
                  <a:cubicBezTo>
                    <a:pt x="2626" y="16647"/>
                    <a:pt x="2626" y="16667"/>
                    <a:pt x="2626" y="16685"/>
                  </a:cubicBezTo>
                  <a:cubicBezTo>
                    <a:pt x="2628" y="16686"/>
                    <a:pt x="2630" y="16686"/>
                    <a:pt x="2632" y="16686"/>
                  </a:cubicBezTo>
                  <a:cubicBezTo>
                    <a:pt x="2692" y="16680"/>
                    <a:pt x="2838" y="16664"/>
                    <a:pt x="2985" y="16647"/>
                  </a:cubicBezTo>
                  <a:cubicBezTo>
                    <a:pt x="3080" y="16636"/>
                    <a:pt x="3175" y="16624"/>
                    <a:pt x="3247" y="16615"/>
                  </a:cubicBezTo>
                  <a:cubicBezTo>
                    <a:pt x="3282" y="16610"/>
                    <a:pt x="3312" y="16606"/>
                    <a:pt x="3333" y="16603"/>
                  </a:cubicBezTo>
                  <a:cubicBezTo>
                    <a:pt x="3343" y="16601"/>
                    <a:pt x="3351" y="16600"/>
                    <a:pt x="3356" y="16598"/>
                  </a:cubicBezTo>
                  <a:cubicBezTo>
                    <a:pt x="3357" y="16598"/>
                    <a:pt x="3358" y="16598"/>
                    <a:pt x="3359" y="16598"/>
                  </a:cubicBezTo>
                  <a:cubicBezTo>
                    <a:pt x="3361" y="16596"/>
                    <a:pt x="3363" y="16595"/>
                    <a:pt x="3367" y="16595"/>
                  </a:cubicBezTo>
                  <a:cubicBezTo>
                    <a:pt x="3376" y="16596"/>
                    <a:pt x="3378" y="16599"/>
                    <a:pt x="3379" y="16601"/>
                  </a:cubicBezTo>
                  <a:cubicBezTo>
                    <a:pt x="3379" y="16601"/>
                    <a:pt x="3379" y="16601"/>
                    <a:pt x="3379" y="16601"/>
                  </a:cubicBezTo>
                  <a:cubicBezTo>
                    <a:pt x="3379" y="16601"/>
                    <a:pt x="3379" y="16602"/>
                    <a:pt x="3380" y="16603"/>
                  </a:cubicBezTo>
                  <a:cubicBezTo>
                    <a:pt x="3380" y="16604"/>
                    <a:pt x="3380" y="16605"/>
                    <a:pt x="3381" y="16606"/>
                  </a:cubicBezTo>
                  <a:cubicBezTo>
                    <a:pt x="3381" y="16606"/>
                    <a:pt x="3381" y="16606"/>
                    <a:pt x="3381" y="16606"/>
                  </a:cubicBezTo>
                  <a:cubicBezTo>
                    <a:pt x="3381" y="16607"/>
                    <a:pt x="3381" y="16607"/>
                    <a:pt x="3381" y="16608"/>
                  </a:cubicBezTo>
                  <a:cubicBezTo>
                    <a:pt x="3381" y="16609"/>
                    <a:pt x="3381" y="16609"/>
                    <a:pt x="3381" y="16609"/>
                  </a:cubicBezTo>
                  <a:cubicBezTo>
                    <a:pt x="3382" y="16622"/>
                    <a:pt x="3394" y="16702"/>
                    <a:pt x="3405" y="16779"/>
                  </a:cubicBezTo>
                  <a:cubicBezTo>
                    <a:pt x="3417" y="16861"/>
                    <a:pt x="3430" y="16942"/>
                    <a:pt x="3430" y="16942"/>
                  </a:cubicBezTo>
                  <a:cubicBezTo>
                    <a:pt x="3404" y="16946"/>
                    <a:pt x="3404" y="16946"/>
                    <a:pt x="3404" y="16946"/>
                  </a:cubicBezTo>
                  <a:cubicBezTo>
                    <a:pt x="3404" y="16946"/>
                    <a:pt x="3404" y="16946"/>
                    <a:pt x="3404" y="16946"/>
                  </a:cubicBezTo>
                  <a:cubicBezTo>
                    <a:pt x="3404" y="16946"/>
                    <a:pt x="3391" y="16865"/>
                    <a:pt x="3379" y="16783"/>
                  </a:cubicBezTo>
                  <a:cubicBezTo>
                    <a:pt x="3370" y="16719"/>
                    <a:pt x="3360" y="16655"/>
                    <a:pt x="3356" y="16625"/>
                  </a:cubicBezTo>
                  <a:cubicBezTo>
                    <a:pt x="3264" y="16644"/>
                    <a:pt x="2766" y="16698"/>
                    <a:pt x="2637" y="16712"/>
                  </a:cubicBezTo>
                  <a:cubicBezTo>
                    <a:pt x="2626" y="16716"/>
                    <a:pt x="2626" y="16716"/>
                    <a:pt x="2626" y="16716"/>
                  </a:cubicBezTo>
                  <a:cubicBezTo>
                    <a:pt x="2626" y="16783"/>
                    <a:pt x="2627" y="16851"/>
                    <a:pt x="2627" y="16920"/>
                  </a:cubicBezTo>
                  <a:cubicBezTo>
                    <a:pt x="2628" y="16973"/>
                    <a:pt x="2629" y="17026"/>
                    <a:pt x="2629" y="17078"/>
                  </a:cubicBezTo>
                  <a:cubicBezTo>
                    <a:pt x="2633" y="17078"/>
                    <a:pt x="2637" y="17079"/>
                    <a:pt x="2641" y="17080"/>
                  </a:cubicBezTo>
                  <a:lnTo>
                    <a:pt x="3982" y="16849"/>
                  </a:lnTo>
                  <a:close/>
                  <a:moveTo>
                    <a:pt x="4455" y="17145"/>
                  </a:moveTo>
                  <a:cubicBezTo>
                    <a:pt x="4452" y="17126"/>
                    <a:pt x="4451" y="17104"/>
                    <a:pt x="4450" y="17078"/>
                  </a:cubicBezTo>
                  <a:cubicBezTo>
                    <a:pt x="4448" y="17039"/>
                    <a:pt x="4448" y="16995"/>
                    <a:pt x="4444" y="16958"/>
                  </a:cubicBezTo>
                  <a:cubicBezTo>
                    <a:pt x="4443" y="16940"/>
                    <a:pt x="4442" y="16922"/>
                    <a:pt x="4442" y="16902"/>
                  </a:cubicBezTo>
                  <a:cubicBezTo>
                    <a:pt x="4442" y="16829"/>
                    <a:pt x="4457" y="16738"/>
                    <a:pt x="4511" y="16532"/>
                  </a:cubicBezTo>
                  <a:cubicBezTo>
                    <a:pt x="4525" y="16480"/>
                    <a:pt x="4531" y="16433"/>
                    <a:pt x="4531" y="16392"/>
                  </a:cubicBezTo>
                  <a:cubicBezTo>
                    <a:pt x="4531" y="16312"/>
                    <a:pt x="4510" y="16252"/>
                    <a:pt x="4490" y="16212"/>
                  </a:cubicBezTo>
                  <a:cubicBezTo>
                    <a:pt x="4480" y="16192"/>
                    <a:pt x="4470" y="16177"/>
                    <a:pt x="4462" y="16167"/>
                  </a:cubicBezTo>
                  <a:cubicBezTo>
                    <a:pt x="4462" y="16166"/>
                    <a:pt x="4461" y="16166"/>
                    <a:pt x="4461" y="16165"/>
                  </a:cubicBezTo>
                  <a:cubicBezTo>
                    <a:pt x="4425" y="16190"/>
                    <a:pt x="4357" y="16238"/>
                    <a:pt x="4288" y="16287"/>
                  </a:cubicBezTo>
                  <a:cubicBezTo>
                    <a:pt x="4238" y="16322"/>
                    <a:pt x="4188" y="16357"/>
                    <a:pt x="4151" y="16384"/>
                  </a:cubicBezTo>
                  <a:cubicBezTo>
                    <a:pt x="4132" y="16398"/>
                    <a:pt x="4116" y="16409"/>
                    <a:pt x="4105" y="16418"/>
                  </a:cubicBezTo>
                  <a:cubicBezTo>
                    <a:pt x="4100" y="16422"/>
                    <a:pt x="4095" y="16425"/>
                    <a:pt x="4092" y="16427"/>
                  </a:cubicBezTo>
                  <a:cubicBezTo>
                    <a:pt x="4091" y="16428"/>
                    <a:pt x="4091" y="16429"/>
                    <a:pt x="4090" y="16429"/>
                  </a:cubicBezTo>
                  <a:cubicBezTo>
                    <a:pt x="4088" y="16432"/>
                    <a:pt x="4087" y="16433"/>
                    <a:pt x="4086" y="16435"/>
                  </a:cubicBezTo>
                  <a:cubicBezTo>
                    <a:pt x="4073" y="16451"/>
                    <a:pt x="4020" y="16519"/>
                    <a:pt x="4016" y="16781"/>
                  </a:cubicBezTo>
                  <a:cubicBezTo>
                    <a:pt x="4016" y="16785"/>
                    <a:pt x="4016" y="16789"/>
                    <a:pt x="4016" y="16794"/>
                  </a:cubicBezTo>
                  <a:cubicBezTo>
                    <a:pt x="4016" y="16936"/>
                    <a:pt x="4051" y="17013"/>
                    <a:pt x="4098" y="17058"/>
                  </a:cubicBezTo>
                  <a:cubicBezTo>
                    <a:pt x="4146" y="17103"/>
                    <a:pt x="4211" y="17119"/>
                    <a:pt x="4279" y="17131"/>
                  </a:cubicBezTo>
                  <a:cubicBezTo>
                    <a:pt x="4330" y="17139"/>
                    <a:pt x="4391" y="17143"/>
                    <a:pt x="4455" y="17145"/>
                  </a:cubicBezTo>
                  <a:close/>
                  <a:moveTo>
                    <a:pt x="5716" y="17420"/>
                  </a:moveTo>
                  <a:cubicBezTo>
                    <a:pt x="5796" y="17437"/>
                    <a:pt x="5888" y="17458"/>
                    <a:pt x="5973" y="17479"/>
                  </a:cubicBezTo>
                  <a:cubicBezTo>
                    <a:pt x="5978" y="17438"/>
                    <a:pt x="5992" y="17309"/>
                    <a:pt x="6000" y="17164"/>
                  </a:cubicBezTo>
                  <a:cubicBezTo>
                    <a:pt x="6005" y="17081"/>
                    <a:pt x="6006" y="16985"/>
                    <a:pt x="6006" y="16900"/>
                  </a:cubicBezTo>
                  <a:cubicBezTo>
                    <a:pt x="6006" y="16823"/>
                    <a:pt x="6005" y="16755"/>
                    <a:pt x="6004" y="16716"/>
                  </a:cubicBezTo>
                  <a:cubicBezTo>
                    <a:pt x="6002" y="16631"/>
                    <a:pt x="5979" y="16482"/>
                    <a:pt x="5956" y="16355"/>
                  </a:cubicBezTo>
                  <a:cubicBezTo>
                    <a:pt x="5938" y="16256"/>
                    <a:pt x="5921" y="16171"/>
                    <a:pt x="5914" y="16138"/>
                  </a:cubicBezTo>
                  <a:cubicBezTo>
                    <a:pt x="4494" y="16150"/>
                    <a:pt x="4494" y="16150"/>
                    <a:pt x="4494" y="16150"/>
                  </a:cubicBezTo>
                  <a:cubicBezTo>
                    <a:pt x="4521" y="16186"/>
                    <a:pt x="4567" y="16267"/>
                    <a:pt x="4567" y="16392"/>
                  </a:cubicBezTo>
                  <a:cubicBezTo>
                    <a:pt x="4567" y="16436"/>
                    <a:pt x="4561" y="16486"/>
                    <a:pt x="4546" y="16541"/>
                  </a:cubicBezTo>
                  <a:cubicBezTo>
                    <a:pt x="4492" y="16747"/>
                    <a:pt x="4478" y="16835"/>
                    <a:pt x="4478" y="16902"/>
                  </a:cubicBezTo>
                  <a:cubicBezTo>
                    <a:pt x="4478" y="16920"/>
                    <a:pt x="4479" y="16937"/>
                    <a:pt x="4480" y="16955"/>
                  </a:cubicBezTo>
                  <a:cubicBezTo>
                    <a:pt x="4484" y="16999"/>
                    <a:pt x="4484" y="17051"/>
                    <a:pt x="4486" y="17092"/>
                  </a:cubicBezTo>
                  <a:cubicBezTo>
                    <a:pt x="4487" y="17112"/>
                    <a:pt x="4489" y="17130"/>
                    <a:pt x="4491" y="17141"/>
                  </a:cubicBezTo>
                  <a:cubicBezTo>
                    <a:pt x="4491" y="17142"/>
                    <a:pt x="4491" y="17144"/>
                    <a:pt x="4492" y="17145"/>
                  </a:cubicBezTo>
                  <a:cubicBezTo>
                    <a:pt x="4495" y="17145"/>
                    <a:pt x="4497" y="17145"/>
                    <a:pt x="4500" y="17145"/>
                  </a:cubicBezTo>
                  <a:cubicBezTo>
                    <a:pt x="4591" y="17145"/>
                    <a:pt x="4683" y="17141"/>
                    <a:pt x="4753" y="17138"/>
                  </a:cubicBezTo>
                  <a:cubicBezTo>
                    <a:pt x="4787" y="17137"/>
                    <a:pt x="4821" y="17135"/>
                    <a:pt x="4854" y="17135"/>
                  </a:cubicBezTo>
                  <a:cubicBezTo>
                    <a:pt x="4899" y="17135"/>
                    <a:pt x="4941" y="17139"/>
                    <a:pt x="4979" y="17162"/>
                  </a:cubicBezTo>
                  <a:cubicBezTo>
                    <a:pt x="5016" y="17184"/>
                    <a:pt x="5046" y="17224"/>
                    <a:pt x="5064" y="17286"/>
                  </a:cubicBezTo>
                  <a:cubicBezTo>
                    <a:pt x="5066" y="17293"/>
                    <a:pt x="5068" y="17302"/>
                    <a:pt x="5070" y="17311"/>
                  </a:cubicBezTo>
                  <a:cubicBezTo>
                    <a:pt x="5070" y="17310"/>
                    <a:pt x="5070" y="17310"/>
                    <a:pt x="5070" y="17310"/>
                  </a:cubicBezTo>
                  <a:cubicBezTo>
                    <a:pt x="5071" y="17310"/>
                    <a:pt x="5556" y="17388"/>
                    <a:pt x="5716" y="17420"/>
                  </a:cubicBezTo>
                  <a:close/>
                  <a:moveTo>
                    <a:pt x="6810" y="17658"/>
                  </a:moveTo>
                  <a:cubicBezTo>
                    <a:pt x="6848" y="17573"/>
                    <a:pt x="7026" y="17168"/>
                    <a:pt x="7202" y="16769"/>
                  </a:cubicBezTo>
                  <a:cubicBezTo>
                    <a:pt x="7298" y="16549"/>
                    <a:pt x="7394" y="16331"/>
                    <a:pt x="7466" y="16168"/>
                  </a:cubicBezTo>
                  <a:cubicBezTo>
                    <a:pt x="7496" y="16099"/>
                    <a:pt x="7522" y="16040"/>
                    <a:pt x="7542" y="15995"/>
                  </a:cubicBezTo>
                  <a:cubicBezTo>
                    <a:pt x="6310" y="15958"/>
                    <a:pt x="6310" y="15958"/>
                    <a:pt x="6310" y="15958"/>
                  </a:cubicBezTo>
                  <a:cubicBezTo>
                    <a:pt x="6310" y="16012"/>
                    <a:pt x="6309" y="16292"/>
                    <a:pt x="6302" y="16488"/>
                  </a:cubicBezTo>
                  <a:cubicBezTo>
                    <a:pt x="6299" y="16556"/>
                    <a:pt x="6282" y="16613"/>
                    <a:pt x="6244" y="16650"/>
                  </a:cubicBezTo>
                  <a:cubicBezTo>
                    <a:pt x="6188" y="16703"/>
                    <a:pt x="6109" y="16713"/>
                    <a:pt x="6061" y="16713"/>
                  </a:cubicBezTo>
                  <a:cubicBezTo>
                    <a:pt x="6053" y="16713"/>
                    <a:pt x="6047" y="16713"/>
                    <a:pt x="6040" y="16713"/>
                  </a:cubicBezTo>
                  <a:cubicBezTo>
                    <a:pt x="6040" y="16713"/>
                    <a:pt x="6040" y="16714"/>
                    <a:pt x="6040" y="16715"/>
                  </a:cubicBezTo>
                  <a:cubicBezTo>
                    <a:pt x="6041" y="16755"/>
                    <a:pt x="6043" y="16822"/>
                    <a:pt x="6043" y="16900"/>
                  </a:cubicBezTo>
                  <a:cubicBezTo>
                    <a:pt x="6043" y="16985"/>
                    <a:pt x="6041" y="17082"/>
                    <a:pt x="6036" y="17166"/>
                  </a:cubicBezTo>
                  <a:cubicBezTo>
                    <a:pt x="6028" y="17318"/>
                    <a:pt x="6013" y="17452"/>
                    <a:pt x="6009" y="17488"/>
                  </a:cubicBezTo>
                  <a:cubicBezTo>
                    <a:pt x="6081" y="17506"/>
                    <a:pt x="6147" y="17523"/>
                    <a:pt x="6194" y="17535"/>
                  </a:cubicBezTo>
                  <a:cubicBezTo>
                    <a:pt x="6308" y="17564"/>
                    <a:pt x="6384" y="17616"/>
                    <a:pt x="6763" y="17653"/>
                  </a:cubicBezTo>
                  <a:cubicBezTo>
                    <a:pt x="6778" y="17654"/>
                    <a:pt x="6794" y="17656"/>
                    <a:pt x="6810" y="17658"/>
                  </a:cubicBezTo>
                  <a:close/>
                  <a:moveTo>
                    <a:pt x="8559" y="16295"/>
                  </a:moveTo>
                  <a:cubicBezTo>
                    <a:pt x="8560" y="16225"/>
                    <a:pt x="8575" y="15450"/>
                    <a:pt x="8579" y="15400"/>
                  </a:cubicBezTo>
                  <a:cubicBezTo>
                    <a:pt x="8594" y="15269"/>
                    <a:pt x="8669" y="15199"/>
                    <a:pt x="8741" y="15166"/>
                  </a:cubicBezTo>
                  <a:cubicBezTo>
                    <a:pt x="8746" y="15163"/>
                    <a:pt x="8752" y="15161"/>
                    <a:pt x="8757" y="15159"/>
                  </a:cubicBezTo>
                  <a:cubicBezTo>
                    <a:pt x="8702" y="15120"/>
                    <a:pt x="8477" y="14964"/>
                    <a:pt x="8252" y="14807"/>
                  </a:cubicBezTo>
                  <a:cubicBezTo>
                    <a:pt x="8123" y="14717"/>
                    <a:pt x="7993" y="14626"/>
                    <a:pt x="7896" y="14558"/>
                  </a:cubicBezTo>
                  <a:cubicBezTo>
                    <a:pt x="7878" y="14545"/>
                    <a:pt x="7862" y="14534"/>
                    <a:pt x="7846" y="14523"/>
                  </a:cubicBezTo>
                  <a:cubicBezTo>
                    <a:pt x="7619" y="15909"/>
                    <a:pt x="7619" y="15909"/>
                    <a:pt x="7619" y="15909"/>
                  </a:cubicBezTo>
                  <a:cubicBezTo>
                    <a:pt x="7618" y="15911"/>
                    <a:pt x="7618" y="15911"/>
                    <a:pt x="7618" y="15911"/>
                  </a:cubicBezTo>
                  <a:cubicBezTo>
                    <a:pt x="7618" y="15911"/>
                    <a:pt x="7423" y="16355"/>
                    <a:pt x="7228" y="16799"/>
                  </a:cubicBezTo>
                  <a:cubicBezTo>
                    <a:pt x="7130" y="17021"/>
                    <a:pt x="7032" y="17243"/>
                    <a:pt x="6959" y="17410"/>
                  </a:cubicBezTo>
                  <a:cubicBezTo>
                    <a:pt x="6922" y="17494"/>
                    <a:pt x="6891" y="17564"/>
                    <a:pt x="6869" y="17613"/>
                  </a:cubicBezTo>
                  <a:cubicBezTo>
                    <a:pt x="6860" y="17634"/>
                    <a:pt x="6852" y="17651"/>
                    <a:pt x="6847" y="17664"/>
                  </a:cubicBezTo>
                  <a:cubicBezTo>
                    <a:pt x="7214" y="17725"/>
                    <a:pt x="7625" y="17940"/>
                    <a:pt x="7626" y="17940"/>
                  </a:cubicBezTo>
                  <a:cubicBezTo>
                    <a:pt x="7646" y="17952"/>
                    <a:pt x="7646" y="17952"/>
                    <a:pt x="7646" y="17952"/>
                  </a:cubicBezTo>
                  <a:lnTo>
                    <a:pt x="8559" y="16295"/>
                  </a:lnTo>
                  <a:close/>
                  <a:moveTo>
                    <a:pt x="11352" y="16170"/>
                  </a:moveTo>
                  <a:cubicBezTo>
                    <a:pt x="11342" y="16162"/>
                    <a:pt x="11331" y="16155"/>
                    <a:pt x="11321" y="16147"/>
                  </a:cubicBezTo>
                  <a:cubicBezTo>
                    <a:pt x="11027" y="15935"/>
                    <a:pt x="10685" y="15698"/>
                    <a:pt x="10525" y="15575"/>
                  </a:cubicBezTo>
                  <a:cubicBezTo>
                    <a:pt x="10377" y="15462"/>
                    <a:pt x="10132" y="15275"/>
                    <a:pt x="10096" y="15248"/>
                  </a:cubicBezTo>
                  <a:cubicBezTo>
                    <a:pt x="8890" y="15167"/>
                    <a:pt x="8890" y="15167"/>
                    <a:pt x="8890" y="15167"/>
                  </a:cubicBezTo>
                  <a:cubicBezTo>
                    <a:pt x="8884" y="15167"/>
                    <a:pt x="8820" y="15168"/>
                    <a:pt x="8756" y="15198"/>
                  </a:cubicBezTo>
                  <a:cubicBezTo>
                    <a:pt x="8692" y="15229"/>
                    <a:pt x="8629" y="15285"/>
                    <a:pt x="8615" y="15404"/>
                  </a:cubicBezTo>
                  <a:cubicBezTo>
                    <a:pt x="8612" y="15447"/>
                    <a:pt x="8597" y="16195"/>
                    <a:pt x="8595" y="16290"/>
                  </a:cubicBezTo>
                  <a:cubicBezTo>
                    <a:pt x="8624" y="16307"/>
                    <a:pt x="8722" y="16367"/>
                    <a:pt x="8834" y="16430"/>
                  </a:cubicBezTo>
                  <a:cubicBezTo>
                    <a:pt x="8967" y="16506"/>
                    <a:pt x="9120" y="16588"/>
                    <a:pt x="9194" y="16609"/>
                  </a:cubicBezTo>
                  <a:cubicBezTo>
                    <a:pt x="9348" y="16653"/>
                    <a:pt x="9536" y="16694"/>
                    <a:pt x="9686" y="16756"/>
                  </a:cubicBezTo>
                  <a:cubicBezTo>
                    <a:pt x="9761" y="16788"/>
                    <a:pt x="9862" y="16849"/>
                    <a:pt x="9950" y="16912"/>
                  </a:cubicBezTo>
                  <a:cubicBezTo>
                    <a:pt x="10039" y="16974"/>
                    <a:pt x="10114" y="17036"/>
                    <a:pt x="10142" y="17072"/>
                  </a:cubicBezTo>
                  <a:cubicBezTo>
                    <a:pt x="10147" y="17079"/>
                    <a:pt x="10152" y="17089"/>
                    <a:pt x="10158" y="17101"/>
                  </a:cubicBezTo>
                  <a:cubicBezTo>
                    <a:pt x="10209" y="17061"/>
                    <a:pt x="10481" y="16848"/>
                    <a:pt x="10755" y="16633"/>
                  </a:cubicBezTo>
                  <a:cubicBezTo>
                    <a:pt x="10907" y="16514"/>
                    <a:pt x="11060" y="16395"/>
                    <a:pt x="11175" y="16306"/>
                  </a:cubicBezTo>
                  <a:cubicBezTo>
                    <a:pt x="11233" y="16261"/>
                    <a:pt x="11281" y="16224"/>
                    <a:pt x="11316" y="16197"/>
                  </a:cubicBezTo>
                  <a:cubicBezTo>
                    <a:pt x="11331" y="16186"/>
                    <a:pt x="11342" y="16177"/>
                    <a:pt x="11352" y="16170"/>
                  </a:cubicBezTo>
                  <a:close/>
                  <a:moveTo>
                    <a:pt x="13767" y="16037"/>
                  </a:moveTo>
                  <a:cubicBezTo>
                    <a:pt x="13766" y="16036"/>
                    <a:pt x="13766" y="16036"/>
                    <a:pt x="13766" y="16036"/>
                  </a:cubicBezTo>
                  <a:cubicBezTo>
                    <a:pt x="13766" y="16036"/>
                    <a:pt x="13766" y="16036"/>
                    <a:pt x="13766" y="16036"/>
                  </a:cubicBezTo>
                  <a:lnTo>
                    <a:pt x="13767" y="16037"/>
                  </a:lnTo>
                  <a:close/>
                  <a:moveTo>
                    <a:pt x="15469" y="13222"/>
                  </a:moveTo>
                  <a:cubicBezTo>
                    <a:pt x="15466" y="13232"/>
                    <a:pt x="15464" y="13239"/>
                    <a:pt x="15461" y="13245"/>
                  </a:cubicBezTo>
                  <a:cubicBezTo>
                    <a:pt x="15459" y="13251"/>
                    <a:pt x="15456" y="13256"/>
                    <a:pt x="15453" y="13260"/>
                  </a:cubicBezTo>
                  <a:cubicBezTo>
                    <a:pt x="15451" y="13262"/>
                    <a:pt x="15448" y="13264"/>
                    <a:pt x="15445" y="13266"/>
                  </a:cubicBezTo>
                  <a:cubicBezTo>
                    <a:pt x="15434" y="13287"/>
                    <a:pt x="15397" y="13351"/>
                    <a:pt x="15324" y="13447"/>
                  </a:cubicBezTo>
                  <a:cubicBezTo>
                    <a:pt x="15216" y="13587"/>
                    <a:pt x="15048" y="13809"/>
                    <a:pt x="14992" y="13915"/>
                  </a:cubicBezTo>
                  <a:cubicBezTo>
                    <a:pt x="14991" y="13917"/>
                    <a:pt x="14991" y="13917"/>
                    <a:pt x="14991" y="13917"/>
                  </a:cubicBezTo>
                  <a:cubicBezTo>
                    <a:pt x="14989" y="13919"/>
                    <a:pt x="14989" y="13919"/>
                    <a:pt x="14989" y="13919"/>
                  </a:cubicBezTo>
                  <a:cubicBezTo>
                    <a:pt x="14989" y="13919"/>
                    <a:pt x="14988" y="13919"/>
                    <a:pt x="14986" y="13922"/>
                  </a:cubicBezTo>
                  <a:cubicBezTo>
                    <a:pt x="14972" y="13941"/>
                    <a:pt x="14903" y="14046"/>
                    <a:pt x="14863" y="14353"/>
                  </a:cubicBezTo>
                  <a:cubicBezTo>
                    <a:pt x="14840" y="14529"/>
                    <a:pt x="14820" y="14738"/>
                    <a:pt x="14807" y="14902"/>
                  </a:cubicBezTo>
                  <a:cubicBezTo>
                    <a:pt x="14793" y="15066"/>
                    <a:pt x="14785" y="15186"/>
                    <a:pt x="14785" y="15186"/>
                  </a:cubicBezTo>
                  <a:cubicBezTo>
                    <a:pt x="14785" y="15186"/>
                    <a:pt x="14785" y="15186"/>
                    <a:pt x="14785" y="15186"/>
                  </a:cubicBezTo>
                  <a:cubicBezTo>
                    <a:pt x="14784" y="15187"/>
                    <a:pt x="14784" y="15187"/>
                    <a:pt x="14784" y="15187"/>
                  </a:cubicBezTo>
                  <a:cubicBezTo>
                    <a:pt x="14784" y="15188"/>
                    <a:pt x="14755" y="15419"/>
                    <a:pt x="14616" y="15671"/>
                  </a:cubicBezTo>
                  <a:cubicBezTo>
                    <a:pt x="14546" y="15796"/>
                    <a:pt x="14529" y="15956"/>
                    <a:pt x="14529" y="16079"/>
                  </a:cubicBezTo>
                  <a:cubicBezTo>
                    <a:pt x="14529" y="16177"/>
                    <a:pt x="14539" y="16250"/>
                    <a:pt x="14542" y="16266"/>
                  </a:cubicBezTo>
                  <a:cubicBezTo>
                    <a:pt x="15359" y="16254"/>
                    <a:pt x="16562" y="16235"/>
                    <a:pt x="16680" y="16235"/>
                  </a:cubicBezTo>
                  <a:cubicBezTo>
                    <a:pt x="16683" y="16235"/>
                    <a:pt x="16685" y="16235"/>
                    <a:pt x="16687" y="16235"/>
                  </a:cubicBezTo>
                  <a:cubicBezTo>
                    <a:pt x="16688" y="16235"/>
                    <a:pt x="16688" y="16235"/>
                    <a:pt x="16689" y="16235"/>
                  </a:cubicBezTo>
                  <a:cubicBezTo>
                    <a:pt x="16689" y="16235"/>
                    <a:pt x="16690" y="16235"/>
                    <a:pt x="16690" y="16236"/>
                  </a:cubicBezTo>
                  <a:cubicBezTo>
                    <a:pt x="16691" y="16236"/>
                    <a:pt x="16691" y="16236"/>
                    <a:pt x="16692" y="16236"/>
                  </a:cubicBezTo>
                  <a:cubicBezTo>
                    <a:pt x="16692" y="16236"/>
                    <a:pt x="16692" y="16236"/>
                    <a:pt x="16692" y="16236"/>
                  </a:cubicBezTo>
                  <a:cubicBezTo>
                    <a:pt x="16695" y="16236"/>
                    <a:pt x="16702" y="16236"/>
                    <a:pt x="16711" y="16236"/>
                  </a:cubicBezTo>
                  <a:cubicBezTo>
                    <a:pt x="16763" y="16236"/>
                    <a:pt x="16902" y="16239"/>
                    <a:pt x="17076" y="16286"/>
                  </a:cubicBezTo>
                  <a:cubicBezTo>
                    <a:pt x="17076" y="16285"/>
                    <a:pt x="17088" y="16267"/>
                    <a:pt x="17106" y="16233"/>
                  </a:cubicBezTo>
                  <a:cubicBezTo>
                    <a:pt x="17161" y="16127"/>
                    <a:pt x="17272" y="15874"/>
                    <a:pt x="17272" y="15543"/>
                  </a:cubicBezTo>
                  <a:cubicBezTo>
                    <a:pt x="17272" y="15405"/>
                    <a:pt x="17252" y="15253"/>
                    <a:pt x="17201" y="15093"/>
                  </a:cubicBezTo>
                  <a:cubicBezTo>
                    <a:pt x="17201" y="15092"/>
                    <a:pt x="17201" y="15092"/>
                    <a:pt x="17201" y="15092"/>
                  </a:cubicBezTo>
                  <a:cubicBezTo>
                    <a:pt x="17201" y="15090"/>
                    <a:pt x="17201" y="15090"/>
                    <a:pt x="17201" y="15090"/>
                  </a:cubicBezTo>
                  <a:cubicBezTo>
                    <a:pt x="17201" y="15090"/>
                    <a:pt x="17192" y="15044"/>
                    <a:pt x="17170" y="14965"/>
                  </a:cubicBezTo>
                  <a:cubicBezTo>
                    <a:pt x="17104" y="14728"/>
                    <a:pt x="16916" y="14198"/>
                    <a:pt x="16477" y="13766"/>
                  </a:cubicBezTo>
                  <a:cubicBezTo>
                    <a:pt x="16112" y="13407"/>
                    <a:pt x="15657" y="13268"/>
                    <a:pt x="15469" y="13222"/>
                  </a:cubicBezTo>
                  <a:close/>
                  <a:moveTo>
                    <a:pt x="15391" y="13205"/>
                  </a:moveTo>
                  <a:cubicBezTo>
                    <a:pt x="14189" y="12969"/>
                    <a:pt x="14189" y="12969"/>
                    <a:pt x="14189" y="12969"/>
                  </a:cubicBezTo>
                  <a:cubicBezTo>
                    <a:pt x="14179" y="12968"/>
                    <a:pt x="14179" y="12968"/>
                    <a:pt x="14179" y="12968"/>
                  </a:cubicBezTo>
                  <a:cubicBezTo>
                    <a:pt x="14046" y="13773"/>
                    <a:pt x="13862" y="14889"/>
                    <a:pt x="13806" y="15246"/>
                  </a:cubicBezTo>
                  <a:cubicBezTo>
                    <a:pt x="13763" y="15512"/>
                    <a:pt x="13752" y="15698"/>
                    <a:pt x="13752" y="15820"/>
                  </a:cubicBezTo>
                  <a:cubicBezTo>
                    <a:pt x="13752" y="15891"/>
                    <a:pt x="13756" y="15941"/>
                    <a:pt x="13760" y="15972"/>
                  </a:cubicBezTo>
                  <a:cubicBezTo>
                    <a:pt x="13761" y="15987"/>
                    <a:pt x="13763" y="15998"/>
                    <a:pt x="13764" y="16005"/>
                  </a:cubicBezTo>
                  <a:cubicBezTo>
                    <a:pt x="13765" y="16008"/>
                    <a:pt x="13765" y="16010"/>
                    <a:pt x="13766" y="16012"/>
                  </a:cubicBezTo>
                  <a:cubicBezTo>
                    <a:pt x="13766" y="16012"/>
                    <a:pt x="13766" y="16012"/>
                    <a:pt x="13766" y="16012"/>
                  </a:cubicBezTo>
                  <a:cubicBezTo>
                    <a:pt x="13766" y="16013"/>
                    <a:pt x="13766" y="16013"/>
                    <a:pt x="13766" y="16013"/>
                  </a:cubicBezTo>
                  <a:cubicBezTo>
                    <a:pt x="13766" y="16013"/>
                    <a:pt x="13766" y="16013"/>
                    <a:pt x="13766" y="16013"/>
                  </a:cubicBezTo>
                  <a:cubicBezTo>
                    <a:pt x="13767" y="16015"/>
                    <a:pt x="13767" y="16018"/>
                    <a:pt x="13767" y="16020"/>
                  </a:cubicBezTo>
                  <a:cubicBezTo>
                    <a:pt x="13768" y="16025"/>
                    <a:pt x="13768" y="16029"/>
                    <a:pt x="13767" y="16032"/>
                  </a:cubicBezTo>
                  <a:cubicBezTo>
                    <a:pt x="13768" y="16043"/>
                    <a:pt x="13771" y="16087"/>
                    <a:pt x="13776" y="16146"/>
                  </a:cubicBezTo>
                  <a:cubicBezTo>
                    <a:pt x="13779" y="16183"/>
                    <a:pt x="13783" y="16227"/>
                    <a:pt x="13787" y="16276"/>
                  </a:cubicBezTo>
                  <a:cubicBezTo>
                    <a:pt x="13805" y="16278"/>
                    <a:pt x="13805" y="16278"/>
                    <a:pt x="13805" y="16278"/>
                  </a:cubicBezTo>
                  <a:cubicBezTo>
                    <a:pt x="13879" y="16277"/>
                    <a:pt x="14153" y="16272"/>
                    <a:pt x="14505" y="16267"/>
                  </a:cubicBezTo>
                  <a:cubicBezTo>
                    <a:pt x="14502" y="16243"/>
                    <a:pt x="14493" y="16172"/>
                    <a:pt x="14493" y="16079"/>
                  </a:cubicBezTo>
                  <a:cubicBezTo>
                    <a:pt x="14493" y="15953"/>
                    <a:pt x="14510" y="15788"/>
                    <a:pt x="14584" y="15653"/>
                  </a:cubicBezTo>
                  <a:cubicBezTo>
                    <a:pt x="14652" y="15531"/>
                    <a:pt x="14693" y="15413"/>
                    <a:pt x="14717" y="15325"/>
                  </a:cubicBezTo>
                  <a:cubicBezTo>
                    <a:pt x="14729" y="15282"/>
                    <a:pt x="14737" y="15246"/>
                    <a:pt x="14742" y="15221"/>
                  </a:cubicBezTo>
                  <a:cubicBezTo>
                    <a:pt x="14747" y="15196"/>
                    <a:pt x="14749" y="15182"/>
                    <a:pt x="14749" y="15182"/>
                  </a:cubicBezTo>
                  <a:cubicBezTo>
                    <a:pt x="14750" y="15157"/>
                    <a:pt x="14783" y="14693"/>
                    <a:pt x="14827" y="14349"/>
                  </a:cubicBezTo>
                  <a:cubicBezTo>
                    <a:pt x="14870" y="14017"/>
                    <a:pt x="14948" y="13912"/>
                    <a:pt x="14961" y="13896"/>
                  </a:cubicBezTo>
                  <a:cubicBezTo>
                    <a:pt x="15021" y="13784"/>
                    <a:pt x="15187" y="13565"/>
                    <a:pt x="15295" y="13425"/>
                  </a:cubicBezTo>
                  <a:cubicBezTo>
                    <a:pt x="15340" y="13366"/>
                    <a:pt x="15371" y="13320"/>
                    <a:pt x="15390" y="13289"/>
                  </a:cubicBezTo>
                  <a:cubicBezTo>
                    <a:pt x="15409" y="13257"/>
                    <a:pt x="15417" y="13241"/>
                    <a:pt x="15417" y="13241"/>
                  </a:cubicBezTo>
                  <a:cubicBezTo>
                    <a:pt x="15429" y="13217"/>
                    <a:pt x="15429" y="13217"/>
                    <a:pt x="15429" y="13217"/>
                  </a:cubicBezTo>
                  <a:cubicBezTo>
                    <a:pt x="15432" y="13220"/>
                    <a:pt x="15432" y="13220"/>
                    <a:pt x="15432" y="13220"/>
                  </a:cubicBezTo>
                  <a:cubicBezTo>
                    <a:pt x="15432" y="13218"/>
                    <a:pt x="15433" y="13216"/>
                    <a:pt x="15433" y="13214"/>
                  </a:cubicBezTo>
                  <a:cubicBezTo>
                    <a:pt x="15414" y="13210"/>
                    <a:pt x="15399" y="13207"/>
                    <a:pt x="15391" y="13205"/>
                  </a:cubicBezTo>
                  <a:close/>
                  <a:moveTo>
                    <a:pt x="14206" y="12098"/>
                  </a:moveTo>
                  <a:cubicBezTo>
                    <a:pt x="14189" y="12100"/>
                    <a:pt x="14189" y="12100"/>
                    <a:pt x="14189" y="12100"/>
                  </a:cubicBezTo>
                  <a:cubicBezTo>
                    <a:pt x="11707" y="12794"/>
                    <a:pt x="11707" y="12794"/>
                    <a:pt x="11707" y="12794"/>
                  </a:cubicBezTo>
                  <a:cubicBezTo>
                    <a:pt x="11758" y="12852"/>
                    <a:pt x="11837" y="12932"/>
                    <a:pt x="11906" y="13000"/>
                  </a:cubicBezTo>
                  <a:cubicBezTo>
                    <a:pt x="11974" y="13067"/>
                    <a:pt x="12032" y="13123"/>
                    <a:pt x="12042" y="13131"/>
                  </a:cubicBezTo>
                  <a:cubicBezTo>
                    <a:pt x="12058" y="13142"/>
                    <a:pt x="12202" y="13231"/>
                    <a:pt x="12358" y="13327"/>
                  </a:cubicBezTo>
                  <a:cubicBezTo>
                    <a:pt x="12524" y="13428"/>
                    <a:pt x="12704" y="13536"/>
                    <a:pt x="12756" y="13559"/>
                  </a:cubicBezTo>
                  <a:cubicBezTo>
                    <a:pt x="12830" y="13590"/>
                    <a:pt x="12851" y="13632"/>
                    <a:pt x="12850" y="13661"/>
                  </a:cubicBezTo>
                  <a:cubicBezTo>
                    <a:pt x="12850" y="13674"/>
                    <a:pt x="12847" y="13683"/>
                    <a:pt x="12845" y="13687"/>
                  </a:cubicBezTo>
                  <a:cubicBezTo>
                    <a:pt x="12774" y="13890"/>
                    <a:pt x="12774" y="13890"/>
                    <a:pt x="12774" y="13890"/>
                  </a:cubicBezTo>
                  <a:cubicBezTo>
                    <a:pt x="12589" y="14175"/>
                    <a:pt x="12589" y="14175"/>
                    <a:pt x="12589" y="14175"/>
                  </a:cubicBezTo>
                  <a:cubicBezTo>
                    <a:pt x="12641" y="14413"/>
                    <a:pt x="12641" y="14413"/>
                    <a:pt x="12641" y="14413"/>
                  </a:cubicBezTo>
                  <a:cubicBezTo>
                    <a:pt x="12614" y="14408"/>
                    <a:pt x="12614" y="14408"/>
                    <a:pt x="12614" y="14408"/>
                  </a:cubicBezTo>
                  <a:cubicBezTo>
                    <a:pt x="12614" y="14408"/>
                    <a:pt x="12465" y="14381"/>
                    <a:pt x="12291" y="14349"/>
                  </a:cubicBezTo>
                  <a:cubicBezTo>
                    <a:pt x="12117" y="14318"/>
                    <a:pt x="11918" y="14283"/>
                    <a:pt x="11817" y="14268"/>
                  </a:cubicBezTo>
                  <a:cubicBezTo>
                    <a:pt x="11808" y="14266"/>
                    <a:pt x="11798" y="14266"/>
                    <a:pt x="11790" y="14266"/>
                  </a:cubicBezTo>
                  <a:cubicBezTo>
                    <a:pt x="11714" y="14266"/>
                    <a:pt x="11674" y="14319"/>
                    <a:pt x="11650" y="14378"/>
                  </a:cubicBezTo>
                  <a:cubicBezTo>
                    <a:pt x="11638" y="14407"/>
                    <a:pt x="11631" y="14437"/>
                    <a:pt x="11628" y="14460"/>
                  </a:cubicBezTo>
                  <a:cubicBezTo>
                    <a:pt x="11624" y="14479"/>
                    <a:pt x="11624" y="14492"/>
                    <a:pt x="11623" y="14495"/>
                  </a:cubicBezTo>
                  <a:cubicBezTo>
                    <a:pt x="11645" y="14878"/>
                    <a:pt x="11645" y="14878"/>
                    <a:pt x="11645" y="14878"/>
                  </a:cubicBezTo>
                  <a:cubicBezTo>
                    <a:pt x="11828" y="14964"/>
                    <a:pt x="11878" y="15091"/>
                    <a:pt x="11878" y="15195"/>
                  </a:cubicBezTo>
                  <a:cubicBezTo>
                    <a:pt x="11877" y="15297"/>
                    <a:pt x="11832" y="15375"/>
                    <a:pt x="11831" y="15377"/>
                  </a:cubicBezTo>
                  <a:cubicBezTo>
                    <a:pt x="11415" y="16174"/>
                    <a:pt x="11415" y="16174"/>
                    <a:pt x="11415" y="16174"/>
                  </a:cubicBezTo>
                  <a:cubicBezTo>
                    <a:pt x="11655" y="16370"/>
                    <a:pt x="11739" y="16556"/>
                    <a:pt x="11740" y="16557"/>
                  </a:cubicBezTo>
                  <a:cubicBezTo>
                    <a:pt x="11796" y="16689"/>
                    <a:pt x="11796" y="16689"/>
                    <a:pt x="11796" y="16689"/>
                  </a:cubicBezTo>
                  <a:cubicBezTo>
                    <a:pt x="11800" y="16687"/>
                    <a:pt x="11800" y="16687"/>
                    <a:pt x="11800" y="16687"/>
                  </a:cubicBezTo>
                  <a:cubicBezTo>
                    <a:pt x="11801" y="16687"/>
                    <a:pt x="11904" y="16648"/>
                    <a:pt x="12024" y="16601"/>
                  </a:cubicBezTo>
                  <a:cubicBezTo>
                    <a:pt x="12143" y="16554"/>
                    <a:pt x="12278" y="16499"/>
                    <a:pt x="12338" y="16469"/>
                  </a:cubicBezTo>
                  <a:cubicBezTo>
                    <a:pt x="12395" y="16440"/>
                    <a:pt x="12430" y="16422"/>
                    <a:pt x="12448" y="16401"/>
                  </a:cubicBezTo>
                  <a:cubicBezTo>
                    <a:pt x="12466" y="16380"/>
                    <a:pt x="12473" y="16354"/>
                    <a:pt x="12473" y="16297"/>
                  </a:cubicBezTo>
                  <a:cubicBezTo>
                    <a:pt x="12473" y="16289"/>
                    <a:pt x="12473" y="16280"/>
                    <a:pt x="12473" y="16271"/>
                  </a:cubicBezTo>
                  <a:cubicBezTo>
                    <a:pt x="12473" y="16269"/>
                    <a:pt x="12472" y="16266"/>
                    <a:pt x="12472" y="16264"/>
                  </a:cubicBezTo>
                  <a:cubicBezTo>
                    <a:pt x="12472" y="16190"/>
                    <a:pt x="12512" y="16142"/>
                    <a:pt x="12550" y="16116"/>
                  </a:cubicBezTo>
                  <a:cubicBezTo>
                    <a:pt x="12589" y="16090"/>
                    <a:pt x="12626" y="16082"/>
                    <a:pt x="12627" y="16082"/>
                  </a:cubicBezTo>
                  <a:cubicBezTo>
                    <a:pt x="12629" y="16081"/>
                    <a:pt x="12629" y="16081"/>
                    <a:pt x="12629" y="16081"/>
                  </a:cubicBezTo>
                  <a:cubicBezTo>
                    <a:pt x="13637" y="16048"/>
                    <a:pt x="13637" y="16048"/>
                    <a:pt x="13637" y="16048"/>
                  </a:cubicBezTo>
                  <a:cubicBezTo>
                    <a:pt x="13642" y="16047"/>
                    <a:pt x="13648" y="16045"/>
                    <a:pt x="13653" y="16044"/>
                  </a:cubicBezTo>
                  <a:cubicBezTo>
                    <a:pt x="13653" y="16040"/>
                    <a:pt x="13653" y="16035"/>
                    <a:pt x="13653" y="16032"/>
                  </a:cubicBezTo>
                  <a:cubicBezTo>
                    <a:pt x="13648" y="16009"/>
                    <a:pt x="13637" y="15943"/>
                    <a:pt x="13637" y="15820"/>
                  </a:cubicBezTo>
                  <a:cubicBezTo>
                    <a:pt x="13637" y="15691"/>
                    <a:pt x="13649" y="15499"/>
                    <a:pt x="13692" y="15228"/>
                  </a:cubicBezTo>
                  <a:cubicBezTo>
                    <a:pt x="13778" y="14685"/>
                    <a:pt x="14158" y="12392"/>
                    <a:pt x="14206" y="12098"/>
                  </a:cubicBezTo>
                  <a:close/>
                  <a:moveTo>
                    <a:pt x="13991" y="10009"/>
                  </a:moveTo>
                  <a:cubicBezTo>
                    <a:pt x="13941" y="9997"/>
                    <a:pt x="13892" y="9987"/>
                    <a:pt x="13846" y="9976"/>
                  </a:cubicBezTo>
                  <a:cubicBezTo>
                    <a:pt x="12690" y="10923"/>
                    <a:pt x="12690" y="10923"/>
                    <a:pt x="12690" y="10923"/>
                  </a:cubicBezTo>
                  <a:cubicBezTo>
                    <a:pt x="12666" y="10946"/>
                    <a:pt x="12127" y="11482"/>
                    <a:pt x="12032" y="11556"/>
                  </a:cubicBezTo>
                  <a:cubicBezTo>
                    <a:pt x="11966" y="11608"/>
                    <a:pt x="11916" y="11633"/>
                    <a:pt x="11890" y="11645"/>
                  </a:cubicBezTo>
                  <a:cubicBezTo>
                    <a:pt x="11915" y="11697"/>
                    <a:pt x="11995" y="11865"/>
                    <a:pt x="12075" y="12034"/>
                  </a:cubicBezTo>
                  <a:cubicBezTo>
                    <a:pt x="12123" y="12136"/>
                    <a:pt x="12172" y="12238"/>
                    <a:pt x="12209" y="12314"/>
                  </a:cubicBezTo>
                  <a:cubicBezTo>
                    <a:pt x="12220" y="12337"/>
                    <a:pt x="12230" y="12357"/>
                    <a:pt x="12274" y="12452"/>
                  </a:cubicBezTo>
                  <a:cubicBezTo>
                    <a:pt x="12241" y="12465"/>
                    <a:pt x="12241" y="12465"/>
                    <a:pt x="12241" y="12465"/>
                  </a:cubicBezTo>
                  <a:cubicBezTo>
                    <a:pt x="12119" y="12212"/>
                    <a:pt x="11898" y="11745"/>
                    <a:pt x="11856" y="11658"/>
                  </a:cubicBezTo>
                  <a:cubicBezTo>
                    <a:pt x="11770" y="11686"/>
                    <a:pt x="11324" y="11832"/>
                    <a:pt x="10887" y="11975"/>
                  </a:cubicBezTo>
                  <a:cubicBezTo>
                    <a:pt x="11165" y="12776"/>
                    <a:pt x="11165" y="12776"/>
                    <a:pt x="11165" y="12776"/>
                  </a:cubicBezTo>
                  <a:cubicBezTo>
                    <a:pt x="11131" y="12788"/>
                    <a:pt x="11131" y="12788"/>
                    <a:pt x="11131" y="12788"/>
                  </a:cubicBezTo>
                  <a:cubicBezTo>
                    <a:pt x="10853" y="11986"/>
                    <a:pt x="10853" y="11986"/>
                    <a:pt x="10853" y="11986"/>
                  </a:cubicBezTo>
                  <a:cubicBezTo>
                    <a:pt x="10486" y="12106"/>
                    <a:pt x="10133" y="12220"/>
                    <a:pt x="10015" y="12257"/>
                  </a:cubicBezTo>
                  <a:cubicBezTo>
                    <a:pt x="9959" y="12274"/>
                    <a:pt x="9904" y="12281"/>
                    <a:pt x="9850" y="12281"/>
                  </a:cubicBezTo>
                  <a:cubicBezTo>
                    <a:pt x="9661" y="12280"/>
                    <a:pt x="9499" y="12195"/>
                    <a:pt x="9453" y="12168"/>
                  </a:cubicBezTo>
                  <a:cubicBezTo>
                    <a:pt x="9397" y="12288"/>
                    <a:pt x="9397" y="12288"/>
                    <a:pt x="9397" y="12288"/>
                  </a:cubicBezTo>
                  <a:cubicBezTo>
                    <a:pt x="8749" y="13692"/>
                    <a:pt x="8749" y="13692"/>
                    <a:pt x="8749" y="13692"/>
                  </a:cubicBezTo>
                  <a:cubicBezTo>
                    <a:pt x="8760" y="13690"/>
                    <a:pt x="8760" y="13690"/>
                    <a:pt x="8760" y="13690"/>
                  </a:cubicBezTo>
                  <a:cubicBezTo>
                    <a:pt x="8761" y="13690"/>
                    <a:pt x="8761" y="13690"/>
                    <a:pt x="8761" y="13690"/>
                  </a:cubicBezTo>
                  <a:cubicBezTo>
                    <a:pt x="8761" y="13690"/>
                    <a:pt x="8774" y="13691"/>
                    <a:pt x="8797" y="13692"/>
                  </a:cubicBezTo>
                  <a:cubicBezTo>
                    <a:pt x="8796" y="13687"/>
                    <a:pt x="8796" y="13687"/>
                    <a:pt x="8796" y="13687"/>
                  </a:cubicBezTo>
                  <a:cubicBezTo>
                    <a:pt x="8796" y="13687"/>
                    <a:pt x="8796" y="13687"/>
                    <a:pt x="8796" y="13687"/>
                  </a:cubicBezTo>
                  <a:cubicBezTo>
                    <a:pt x="9685" y="13385"/>
                    <a:pt x="9685" y="13385"/>
                    <a:pt x="9685" y="13385"/>
                  </a:cubicBezTo>
                  <a:cubicBezTo>
                    <a:pt x="10991" y="12957"/>
                    <a:pt x="10991" y="12957"/>
                    <a:pt x="10991" y="12957"/>
                  </a:cubicBezTo>
                  <a:cubicBezTo>
                    <a:pt x="14213" y="12056"/>
                    <a:pt x="14213" y="12056"/>
                    <a:pt x="14213" y="12056"/>
                  </a:cubicBezTo>
                  <a:cubicBezTo>
                    <a:pt x="14215" y="12043"/>
                    <a:pt x="14215" y="12043"/>
                    <a:pt x="14215" y="12043"/>
                  </a:cubicBezTo>
                  <a:cubicBezTo>
                    <a:pt x="14236" y="12029"/>
                    <a:pt x="14236" y="12029"/>
                    <a:pt x="14236" y="12029"/>
                  </a:cubicBezTo>
                  <a:cubicBezTo>
                    <a:pt x="14236" y="12029"/>
                    <a:pt x="14238" y="12027"/>
                    <a:pt x="14243" y="12024"/>
                  </a:cubicBezTo>
                  <a:cubicBezTo>
                    <a:pt x="14278" y="12000"/>
                    <a:pt x="14432" y="11886"/>
                    <a:pt x="14532" y="11748"/>
                  </a:cubicBezTo>
                  <a:cubicBezTo>
                    <a:pt x="14590" y="11668"/>
                    <a:pt x="14637" y="11578"/>
                    <a:pt x="14669" y="11508"/>
                  </a:cubicBezTo>
                  <a:cubicBezTo>
                    <a:pt x="14685" y="11474"/>
                    <a:pt x="14697" y="11444"/>
                    <a:pt x="14705" y="11423"/>
                  </a:cubicBezTo>
                  <a:cubicBezTo>
                    <a:pt x="14714" y="11402"/>
                    <a:pt x="14718" y="11391"/>
                    <a:pt x="14718" y="11391"/>
                  </a:cubicBezTo>
                  <a:cubicBezTo>
                    <a:pt x="14720" y="11383"/>
                    <a:pt x="14720" y="11383"/>
                    <a:pt x="14720" y="11383"/>
                  </a:cubicBezTo>
                  <a:cubicBezTo>
                    <a:pt x="15013" y="10981"/>
                    <a:pt x="15013" y="10981"/>
                    <a:pt x="15013" y="10981"/>
                  </a:cubicBezTo>
                  <a:cubicBezTo>
                    <a:pt x="14994" y="10969"/>
                    <a:pt x="14962" y="10946"/>
                    <a:pt x="14917" y="10906"/>
                  </a:cubicBezTo>
                  <a:cubicBezTo>
                    <a:pt x="14895" y="10885"/>
                    <a:pt x="14859" y="10844"/>
                    <a:pt x="14810" y="10788"/>
                  </a:cubicBezTo>
                  <a:cubicBezTo>
                    <a:pt x="14666" y="10622"/>
                    <a:pt x="14436" y="10344"/>
                    <a:pt x="14436" y="10344"/>
                  </a:cubicBezTo>
                  <a:cubicBezTo>
                    <a:pt x="14431" y="10339"/>
                    <a:pt x="14431" y="10339"/>
                    <a:pt x="14431" y="10339"/>
                  </a:cubicBezTo>
                  <a:cubicBezTo>
                    <a:pt x="14428" y="10332"/>
                    <a:pt x="14428" y="10332"/>
                    <a:pt x="14428" y="10332"/>
                  </a:cubicBezTo>
                  <a:cubicBezTo>
                    <a:pt x="14428" y="10332"/>
                    <a:pt x="14428" y="10331"/>
                    <a:pt x="14426" y="10327"/>
                  </a:cubicBezTo>
                  <a:cubicBezTo>
                    <a:pt x="14411" y="10299"/>
                    <a:pt x="14336" y="10171"/>
                    <a:pt x="14219" y="10098"/>
                  </a:cubicBezTo>
                  <a:cubicBezTo>
                    <a:pt x="14152" y="10055"/>
                    <a:pt x="14071" y="10029"/>
                    <a:pt x="13991" y="10009"/>
                  </a:cubicBezTo>
                  <a:close/>
                  <a:moveTo>
                    <a:pt x="13339" y="9606"/>
                  </a:moveTo>
                  <a:cubicBezTo>
                    <a:pt x="13337" y="9581"/>
                    <a:pt x="13337" y="9581"/>
                    <a:pt x="13337" y="9581"/>
                  </a:cubicBezTo>
                  <a:cubicBezTo>
                    <a:pt x="13338" y="9555"/>
                    <a:pt x="13338" y="9555"/>
                    <a:pt x="13338" y="9555"/>
                  </a:cubicBezTo>
                  <a:cubicBezTo>
                    <a:pt x="13338" y="9555"/>
                    <a:pt x="13338" y="9555"/>
                    <a:pt x="13339" y="9554"/>
                  </a:cubicBezTo>
                  <a:cubicBezTo>
                    <a:pt x="13340" y="9549"/>
                    <a:pt x="13346" y="9523"/>
                    <a:pt x="13351" y="9492"/>
                  </a:cubicBezTo>
                  <a:cubicBezTo>
                    <a:pt x="13356" y="9457"/>
                    <a:pt x="13360" y="9412"/>
                    <a:pt x="13360" y="9366"/>
                  </a:cubicBezTo>
                  <a:cubicBezTo>
                    <a:pt x="13360" y="9315"/>
                    <a:pt x="13354" y="9263"/>
                    <a:pt x="13341" y="9222"/>
                  </a:cubicBezTo>
                  <a:cubicBezTo>
                    <a:pt x="13320" y="9160"/>
                    <a:pt x="13280" y="9106"/>
                    <a:pt x="13208" y="9056"/>
                  </a:cubicBezTo>
                  <a:cubicBezTo>
                    <a:pt x="13136" y="9006"/>
                    <a:pt x="13031" y="8963"/>
                    <a:pt x="12888" y="8928"/>
                  </a:cubicBezTo>
                  <a:cubicBezTo>
                    <a:pt x="12599" y="8859"/>
                    <a:pt x="12340" y="8850"/>
                    <a:pt x="12131" y="8841"/>
                  </a:cubicBezTo>
                  <a:cubicBezTo>
                    <a:pt x="12026" y="8836"/>
                    <a:pt x="11797" y="8822"/>
                    <a:pt x="11594" y="8808"/>
                  </a:cubicBezTo>
                  <a:cubicBezTo>
                    <a:pt x="11492" y="8802"/>
                    <a:pt x="11397" y="8795"/>
                    <a:pt x="11328" y="8791"/>
                  </a:cubicBezTo>
                  <a:cubicBezTo>
                    <a:pt x="11293" y="8788"/>
                    <a:pt x="11264" y="8786"/>
                    <a:pt x="11244" y="8785"/>
                  </a:cubicBezTo>
                  <a:cubicBezTo>
                    <a:pt x="11244" y="8785"/>
                    <a:pt x="11243" y="8785"/>
                    <a:pt x="11243" y="8785"/>
                  </a:cubicBezTo>
                  <a:cubicBezTo>
                    <a:pt x="11233" y="8806"/>
                    <a:pt x="11233" y="8806"/>
                    <a:pt x="11233" y="8806"/>
                  </a:cubicBezTo>
                  <a:cubicBezTo>
                    <a:pt x="11227" y="8895"/>
                    <a:pt x="11201" y="9079"/>
                    <a:pt x="11087" y="9199"/>
                  </a:cubicBezTo>
                  <a:cubicBezTo>
                    <a:pt x="10972" y="9321"/>
                    <a:pt x="10782" y="9493"/>
                    <a:pt x="10703" y="9564"/>
                  </a:cubicBezTo>
                  <a:cubicBezTo>
                    <a:pt x="10767" y="9607"/>
                    <a:pt x="10926" y="9712"/>
                    <a:pt x="11080" y="9813"/>
                  </a:cubicBezTo>
                  <a:cubicBezTo>
                    <a:pt x="11281" y="9944"/>
                    <a:pt x="11404" y="10050"/>
                    <a:pt x="11404" y="10051"/>
                  </a:cubicBezTo>
                  <a:cubicBezTo>
                    <a:pt x="11406" y="10052"/>
                    <a:pt x="11406" y="10052"/>
                    <a:pt x="11406" y="10052"/>
                  </a:cubicBezTo>
                  <a:cubicBezTo>
                    <a:pt x="11688" y="10407"/>
                    <a:pt x="11688" y="10407"/>
                    <a:pt x="11688" y="10407"/>
                  </a:cubicBezTo>
                  <a:cubicBezTo>
                    <a:pt x="11699" y="10401"/>
                    <a:pt x="11728" y="10381"/>
                    <a:pt x="11789" y="10328"/>
                  </a:cubicBezTo>
                  <a:cubicBezTo>
                    <a:pt x="11832" y="10290"/>
                    <a:pt x="11878" y="10278"/>
                    <a:pt x="11915" y="10278"/>
                  </a:cubicBezTo>
                  <a:cubicBezTo>
                    <a:pt x="11968" y="10278"/>
                    <a:pt x="12004" y="10301"/>
                    <a:pt x="12006" y="10302"/>
                  </a:cubicBezTo>
                  <a:cubicBezTo>
                    <a:pt x="12007" y="10303"/>
                    <a:pt x="12007" y="10303"/>
                    <a:pt x="12007" y="10303"/>
                  </a:cubicBezTo>
                  <a:cubicBezTo>
                    <a:pt x="12685" y="10875"/>
                    <a:pt x="12685" y="10875"/>
                    <a:pt x="12685" y="10875"/>
                  </a:cubicBezTo>
                  <a:cubicBezTo>
                    <a:pt x="12673" y="10890"/>
                    <a:pt x="12673" y="10890"/>
                    <a:pt x="12673" y="10890"/>
                  </a:cubicBezTo>
                  <a:cubicBezTo>
                    <a:pt x="13784" y="9980"/>
                    <a:pt x="13784" y="9980"/>
                    <a:pt x="13784" y="9980"/>
                  </a:cubicBezTo>
                  <a:cubicBezTo>
                    <a:pt x="13785" y="9975"/>
                    <a:pt x="13788" y="9967"/>
                    <a:pt x="13789" y="9960"/>
                  </a:cubicBezTo>
                  <a:cubicBezTo>
                    <a:pt x="13782" y="9958"/>
                    <a:pt x="13774" y="9956"/>
                    <a:pt x="13767" y="9954"/>
                  </a:cubicBezTo>
                  <a:cubicBezTo>
                    <a:pt x="13698" y="9930"/>
                    <a:pt x="13613" y="9878"/>
                    <a:pt x="13533" y="9816"/>
                  </a:cubicBezTo>
                  <a:cubicBezTo>
                    <a:pt x="13452" y="9752"/>
                    <a:pt x="13379" y="9681"/>
                    <a:pt x="13339" y="9606"/>
                  </a:cubicBezTo>
                  <a:close/>
                  <a:moveTo>
                    <a:pt x="15999" y="4718"/>
                  </a:moveTo>
                  <a:cubicBezTo>
                    <a:pt x="14058" y="5123"/>
                    <a:pt x="14058" y="5123"/>
                    <a:pt x="14058" y="5123"/>
                  </a:cubicBezTo>
                  <a:cubicBezTo>
                    <a:pt x="13574" y="5007"/>
                    <a:pt x="13574" y="5007"/>
                    <a:pt x="13574" y="5007"/>
                  </a:cubicBezTo>
                  <a:cubicBezTo>
                    <a:pt x="12887" y="4807"/>
                    <a:pt x="12887" y="4807"/>
                    <a:pt x="12887" y="4807"/>
                  </a:cubicBezTo>
                  <a:cubicBezTo>
                    <a:pt x="12788" y="4780"/>
                    <a:pt x="12634" y="4760"/>
                    <a:pt x="12507" y="4748"/>
                  </a:cubicBezTo>
                  <a:cubicBezTo>
                    <a:pt x="12413" y="4738"/>
                    <a:pt x="12334" y="4733"/>
                    <a:pt x="12298" y="4731"/>
                  </a:cubicBezTo>
                  <a:cubicBezTo>
                    <a:pt x="12298" y="4736"/>
                    <a:pt x="12298" y="4736"/>
                    <a:pt x="12298" y="4736"/>
                  </a:cubicBezTo>
                  <a:cubicBezTo>
                    <a:pt x="12294" y="4736"/>
                    <a:pt x="12294" y="4736"/>
                    <a:pt x="12294" y="4736"/>
                  </a:cubicBezTo>
                  <a:cubicBezTo>
                    <a:pt x="12295" y="4766"/>
                    <a:pt x="12299" y="4823"/>
                    <a:pt x="12299" y="4824"/>
                  </a:cubicBezTo>
                  <a:cubicBezTo>
                    <a:pt x="12299" y="4825"/>
                    <a:pt x="12299" y="4825"/>
                    <a:pt x="12299" y="4825"/>
                  </a:cubicBezTo>
                  <a:cubicBezTo>
                    <a:pt x="12024" y="6708"/>
                    <a:pt x="12024" y="6708"/>
                    <a:pt x="12024" y="6708"/>
                  </a:cubicBezTo>
                  <a:cubicBezTo>
                    <a:pt x="12024" y="6709"/>
                    <a:pt x="12007" y="6823"/>
                    <a:pt x="11961" y="6945"/>
                  </a:cubicBezTo>
                  <a:cubicBezTo>
                    <a:pt x="11948" y="6977"/>
                    <a:pt x="11934" y="7010"/>
                    <a:pt x="11917" y="7041"/>
                  </a:cubicBezTo>
                  <a:cubicBezTo>
                    <a:pt x="12035" y="7090"/>
                    <a:pt x="12067" y="7215"/>
                    <a:pt x="12067" y="7217"/>
                  </a:cubicBezTo>
                  <a:cubicBezTo>
                    <a:pt x="12532" y="8728"/>
                    <a:pt x="12532" y="8728"/>
                    <a:pt x="12532" y="8728"/>
                  </a:cubicBezTo>
                  <a:cubicBezTo>
                    <a:pt x="12532" y="8728"/>
                    <a:pt x="12533" y="8729"/>
                    <a:pt x="12533" y="8729"/>
                  </a:cubicBezTo>
                  <a:cubicBezTo>
                    <a:pt x="12541" y="8753"/>
                    <a:pt x="12541" y="8753"/>
                    <a:pt x="12541" y="8753"/>
                  </a:cubicBezTo>
                  <a:cubicBezTo>
                    <a:pt x="12658" y="8766"/>
                    <a:pt x="12783" y="8785"/>
                    <a:pt x="12914" y="8817"/>
                  </a:cubicBezTo>
                  <a:cubicBezTo>
                    <a:pt x="13066" y="8853"/>
                    <a:pt x="13184" y="8900"/>
                    <a:pt x="13273" y="8961"/>
                  </a:cubicBezTo>
                  <a:cubicBezTo>
                    <a:pt x="13348" y="9012"/>
                    <a:pt x="13401" y="9074"/>
                    <a:pt x="13434" y="9145"/>
                  </a:cubicBezTo>
                  <a:cubicBezTo>
                    <a:pt x="13497" y="9130"/>
                    <a:pt x="13629" y="9098"/>
                    <a:pt x="13762" y="9066"/>
                  </a:cubicBezTo>
                  <a:cubicBezTo>
                    <a:pt x="13854" y="9043"/>
                    <a:pt x="13947" y="9021"/>
                    <a:pt x="14018" y="9004"/>
                  </a:cubicBezTo>
                  <a:cubicBezTo>
                    <a:pt x="14053" y="8996"/>
                    <a:pt x="14083" y="8989"/>
                    <a:pt x="14105" y="8984"/>
                  </a:cubicBezTo>
                  <a:cubicBezTo>
                    <a:pt x="14116" y="8982"/>
                    <a:pt x="14125" y="8980"/>
                    <a:pt x="14132" y="8978"/>
                  </a:cubicBezTo>
                  <a:cubicBezTo>
                    <a:pt x="14135" y="8978"/>
                    <a:pt x="14138" y="8977"/>
                    <a:pt x="14140" y="8976"/>
                  </a:cubicBezTo>
                  <a:cubicBezTo>
                    <a:pt x="14143" y="8976"/>
                    <a:pt x="14143" y="8976"/>
                    <a:pt x="14148" y="8975"/>
                  </a:cubicBezTo>
                  <a:cubicBezTo>
                    <a:pt x="14161" y="8973"/>
                    <a:pt x="14224" y="8954"/>
                    <a:pt x="14306" y="8928"/>
                  </a:cubicBezTo>
                  <a:cubicBezTo>
                    <a:pt x="14391" y="8900"/>
                    <a:pt x="14499" y="8863"/>
                    <a:pt x="14614" y="8822"/>
                  </a:cubicBezTo>
                  <a:cubicBezTo>
                    <a:pt x="14729" y="8780"/>
                    <a:pt x="14956" y="8663"/>
                    <a:pt x="15153" y="8555"/>
                  </a:cubicBezTo>
                  <a:cubicBezTo>
                    <a:pt x="15252" y="8502"/>
                    <a:pt x="15344" y="8450"/>
                    <a:pt x="15414" y="8411"/>
                  </a:cubicBezTo>
                  <a:cubicBezTo>
                    <a:pt x="15448" y="8392"/>
                    <a:pt x="15477" y="8376"/>
                    <a:pt x="15498" y="8364"/>
                  </a:cubicBezTo>
                  <a:cubicBezTo>
                    <a:pt x="15509" y="8358"/>
                    <a:pt x="15518" y="8353"/>
                    <a:pt x="15524" y="8350"/>
                  </a:cubicBezTo>
                  <a:cubicBezTo>
                    <a:pt x="15532" y="8346"/>
                    <a:pt x="15535" y="8344"/>
                    <a:pt x="15541" y="8341"/>
                  </a:cubicBezTo>
                  <a:cubicBezTo>
                    <a:pt x="15555" y="8335"/>
                    <a:pt x="15594" y="8318"/>
                    <a:pt x="15629" y="8303"/>
                  </a:cubicBezTo>
                  <a:cubicBezTo>
                    <a:pt x="15629" y="8301"/>
                    <a:pt x="15628" y="8294"/>
                    <a:pt x="15628" y="8288"/>
                  </a:cubicBezTo>
                  <a:cubicBezTo>
                    <a:pt x="15617" y="8199"/>
                    <a:pt x="15593" y="8008"/>
                    <a:pt x="15566" y="7787"/>
                  </a:cubicBezTo>
                  <a:cubicBezTo>
                    <a:pt x="15528" y="7483"/>
                    <a:pt x="15483" y="7124"/>
                    <a:pt x="15455" y="6906"/>
                  </a:cubicBezTo>
                  <a:cubicBezTo>
                    <a:pt x="15442" y="6803"/>
                    <a:pt x="15436" y="6717"/>
                    <a:pt x="15436" y="6641"/>
                  </a:cubicBezTo>
                  <a:cubicBezTo>
                    <a:pt x="15436" y="6396"/>
                    <a:pt x="15499" y="6268"/>
                    <a:pt x="15574" y="6087"/>
                  </a:cubicBezTo>
                  <a:cubicBezTo>
                    <a:pt x="15676" y="5842"/>
                    <a:pt x="15938" y="5628"/>
                    <a:pt x="16017" y="5288"/>
                  </a:cubicBezTo>
                  <a:cubicBezTo>
                    <a:pt x="16039" y="5197"/>
                    <a:pt x="16047" y="5111"/>
                    <a:pt x="16047" y="5035"/>
                  </a:cubicBezTo>
                  <a:cubicBezTo>
                    <a:pt x="16047" y="4931"/>
                    <a:pt x="16032" y="4845"/>
                    <a:pt x="16018" y="4785"/>
                  </a:cubicBezTo>
                  <a:cubicBezTo>
                    <a:pt x="16011" y="4756"/>
                    <a:pt x="16004" y="4734"/>
                    <a:pt x="15999" y="4718"/>
                  </a:cubicBezTo>
                  <a:close/>
                  <a:moveTo>
                    <a:pt x="16063" y="1762"/>
                  </a:moveTo>
                  <a:cubicBezTo>
                    <a:pt x="15597" y="1868"/>
                    <a:pt x="15107" y="1907"/>
                    <a:pt x="14951" y="1935"/>
                  </a:cubicBezTo>
                  <a:cubicBezTo>
                    <a:pt x="14889" y="1946"/>
                    <a:pt x="14696" y="1949"/>
                    <a:pt x="14462" y="1949"/>
                  </a:cubicBezTo>
                  <a:cubicBezTo>
                    <a:pt x="14004" y="1949"/>
                    <a:pt x="13398" y="1936"/>
                    <a:pt x="13373" y="1935"/>
                  </a:cubicBezTo>
                  <a:cubicBezTo>
                    <a:pt x="13296" y="1939"/>
                    <a:pt x="13198" y="1939"/>
                    <a:pt x="13121" y="2025"/>
                  </a:cubicBezTo>
                  <a:cubicBezTo>
                    <a:pt x="13081" y="2071"/>
                    <a:pt x="13033" y="2135"/>
                    <a:pt x="12996" y="2187"/>
                  </a:cubicBezTo>
                  <a:cubicBezTo>
                    <a:pt x="12958" y="2240"/>
                    <a:pt x="12931" y="2281"/>
                    <a:pt x="12931" y="2281"/>
                  </a:cubicBezTo>
                  <a:cubicBezTo>
                    <a:pt x="12930" y="2282"/>
                    <a:pt x="12930" y="2282"/>
                    <a:pt x="12930" y="2282"/>
                  </a:cubicBezTo>
                  <a:cubicBezTo>
                    <a:pt x="12930" y="2282"/>
                    <a:pt x="12930" y="2282"/>
                    <a:pt x="12930" y="2282"/>
                  </a:cubicBezTo>
                  <a:cubicBezTo>
                    <a:pt x="12929" y="2282"/>
                    <a:pt x="12834" y="2400"/>
                    <a:pt x="12735" y="2523"/>
                  </a:cubicBezTo>
                  <a:cubicBezTo>
                    <a:pt x="12686" y="2584"/>
                    <a:pt x="12636" y="2647"/>
                    <a:pt x="12597" y="2697"/>
                  </a:cubicBezTo>
                  <a:cubicBezTo>
                    <a:pt x="12558" y="2747"/>
                    <a:pt x="12529" y="2787"/>
                    <a:pt x="12527" y="2793"/>
                  </a:cubicBezTo>
                  <a:cubicBezTo>
                    <a:pt x="12510" y="2830"/>
                    <a:pt x="12469" y="2925"/>
                    <a:pt x="12456" y="2955"/>
                  </a:cubicBezTo>
                  <a:cubicBezTo>
                    <a:pt x="12483" y="2967"/>
                    <a:pt x="12510" y="2983"/>
                    <a:pt x="12534" y="3006"/>
                  </a:cubicBezTo>
                  <a:cubicBezTo>
                    <a:pt x="12536" y="3007"/>
                    <a:pt x="12536" y="3007"/>
                    <a:pt x="12536" y="3007"/>
                  </a:cubicBezTo>
                  <a:cubicBezTo>
                    <a:pt x="13277" y="4135"/>
                    <a:pt x="13277" y="4135"/>
                    <a:pt x="13277" y="4135"/>
                  </a:cubicBezTo>
                  <a:cubicBezTo>
                    <a:pt x="13279" y="4137"/>
                    <a:pt x="13321" y="4201"/>
                    <a:pt x="13321" y="4309"/>
                  </a:cubicBezTo>
                  <a:cubicBezTo>
                    <a:pt x="13321" y="4367"/>
                    <a:pt x="13309" y="4438"/>
                    <a:pt x="13272" y="4517"/>
                  </a:cubicBezTo>
                  <a:cubicBezTo>
                    <a:pt x="13193" y="4684"/>
                    <a:pt x="13129" y="4790"/>
                    <a:pt x="13102" y="4832"/>
                  </a:cubicBezTo>
                  <a:cubicBezTo>
                    <a:pt x="13583" y="4972"/>
                    <a:pt x="13583" y="4972"/>
                    <a:pt x="13583" y="4972"/>
                  </a:cubicBezTo>
                  <a:cubicBezTo>
                    <a:pt x="14059" y="5086"/>
                    <a:pt x="14059" y="5086"/>
                    <a:pt x="14059" y="5086"/>
                  </a:cubicBezTo>
                  <a:cubicBezTo>
                    <a:pt x="15987" y="4684"/>
                    <a:pt x="15987" y="4684"/>
                    <a:pt x="15987" y="4684"/>
                  </a:cubicBezTo>
                  <a:cubicBezTo>
                    <a:pt x="15981" y="4684"/>
                    <a:pt x="15981" y="4684"/>
                    <a:pt x="15981" y="4684"/>
                  </a:cubicBezTo>
                  <a:cubicBezTo>
                    <a:pt x="15981" y="4684"/>
                    <a:pt x="15981" y="4684"/>
                    <a:pt x="15981" y="4684"/>
                  </a:cubicBezTo>
                  <a:cubicBezTo>
                    <a:pt x="15981" y="4684"/>
                    <a:pt x="15981" y="4684"/>
                    <a:pt x="15981" y="4684"/>
                  </a:cubicBezTo>
                  <a:cubicBezTo>
                    <a:pt x="15970" y="4630"/>
                    <a:pt x="15773" y="4005"/>
                    <a:pt x="15674" y="3534"/>
                  </a:cubicBezTo>
                  <a:cubicBezTo>
                    <a:pt x="15630" y="3326"/>
                    <a:pt x="15613" y="3118"/>
                    <a:pt x="15613" y="2932"/>
                  </a:cubicBezTo>
                  <a:cubicBezTo>
                    <a:pt x="15613" y="2673"/>
                    <a:pt x="15645" y="2455"/>
                    <a:pt x="15678" y="2333"/>
                  </a:cubicBezTo>
                  <a:cubicBezTo>
                    <a:pt x="15707" y="2224"/>
                    <a:pt x="15809" y="2076"/>
                    <a:pt x="15905" y="1951"/>
                  </a:cubicBezTo>
                  <a:cubicBezTo>
                    <a:pt x="15953" y="1890"/>
                    <a:pt x="15999" y="1834"/>
                    <a:pt x="16034" y="1794"/>
                  </a:cubicBezTo>
                  <a:cubicBezTo>
                    <a:pt x="16045" y="1782"/>
                    <a:pt x="16054" y="1771"/>
                    <a:pt x="16063" y="1762"/>
                  </a:cubicBezTo>
                  <a:close/>
                  <a:moveTo>
                    <a:pt x="11544" y="17077"/>
                  </a:moveTo>
                  <a:cubicBezTo>
                    <a:pt x="11544" y="17056"/>
                    <a:pt x="11544" y="17056"/>
                    <a:pt x="11544" y="17056"/>
                  </a:cubicBezTo>
                  <a:cubicBezTo>
                    <a:pt x="11507" y="17056"/>
                    <a:pt x="11507" y="17056"/>
                    <a:pt x="11507" y="17056"/>
                  </a:cubicBezTo>
                  <a:cubicBezTo>
                    <a:pt x="11508" y="17077"/>
                    <a:pt x="11508" y="17077"/>
                    <a:pt x="11508" y="17077"/>
                  </a:cubicBezTo>
                  <a:cubicBezTo>
                    <a:pt x="11508" y="17178"/>
                    <a:pt x="11540" y="17639"/>
                    <a:pt x="11638" y="17830"/>
                  </a:cubicBezTo>
                  <a:cubicBezTo>
                    <a:pt x="11679" y="17910"/>
                    <a:pt x="11714" y="17964"/>
                    <a:pt x="11741" y="18000"/>
                  </a:cubicBezTo>
                  <a:cubicBezTo>
                    <a:pt x="11787" y="18000"/>
                    <a:pt x="11787" y="18000"/>
                    <a:pt x="11787" y="18000"/>
                  </a:cubicBezTo>
                  <a:cubicBezTo>
                    <a:pt x="11760" y="17967"/>
                    <a:pt x="11720" y="17910"/>
                    <a:pt x="11670" y="17813"/>
                  </a:cubicBezTo>
                  <a:cubicBezTo>
                    <a:pt x="11578" y="17639"/>
                    <a:pt x="11543" y="17172"/>
                    <a:pt x="11544" y="17077"/>
                  </a:cubicBezTo>
                  <a:close/>
                  <a:moveTo>
                    <a:pt x="4350" y="14287"/>
                  </a:moveTo>
                  <a:cubicBezTo>
                    <a:pt x="4349" y="14287"/>
                    <a:pt x="4349" y="14287"/>
                    <a:pt x="4349" y="14287"/>
                  </a:cubicBezTo>
                  <a:cubicBezTo>
                    <a:pt x="4350" y="14287"/>
                    <a:pt x="4350" y="14287"/>
                    <a:pt x="4350" y="14287"/>
                  </a:cubicBezTo>
                  <a:close/>
                  <a:moveTo>
                    <a:pt x="1041" y="9601"/>
                  </a:moveTo>
                  <a:cubicBezTo>
                    <a:pt x="1041" y="9601"/>
                    <a:pt x="1041" y="9601"/>
                    <a:pt x="1041" y="9601"/>
                  </a:cubicBezTo>
                  <a:cubicBezTo>
                    <a:pt x="1041" y="9601"/>
                    <a:pt x="1041" y="9601"/>
                    <a:pt x="1041" y="960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grpSp>
      <p:grpSp>
        <p:nvGrpSpPr>
          <p:cNvPr id="16" name="Group 24">
            <a:extLst>
              <a:ext uri="{FF2B5EF4-FFF2-40B4-BE49-F238E27FC236}">
                <a16:creationId xmlns:a16="http://schemas.microsoft.com/office/drawing/2014/main" id="{94DF6FDA-14EF-4621-9E2D-C991277E9B57}"/>
              </a:ext>
            </a:extLst>
          </p:cNvPr>
          <p:cNvGrpSpPr>
            <a:grpSpLocks noSelect="1" noChangeAspect="1"/>
          </p:cNvGrpSpPr>
          <p:nvPr userDrawn="1"/>
        </p:nvGrpSpPr>
        <p:grpSpPr bwMode="gray">
          <a:xfrm>
            <a:off x="0" y="0"/>
            <a:ext cx="12195175" cy="1141413"/>
            <a:chOff x="0" y="2"/>
            <a:chExt cx="7682" cy="719"/>
          </a:xfrm>
        </p:grpSpPr>
        <p:sp>
          <p:nvSpPr>
            <p:cNvPr id="17" name="Freeform 25">
              <a:extLst>
                <a:ext uri="{FF2B5EF4-FFF2-40B4-BE49-F238E27FC236}">
                  <a16:creationId xmlns:a16="http://schemas.microsoft.com/office/drawing/2014/main" id="{AB054A68-683F-448B-8226-82067D1A0627}"/>
                </a:ext>
              </a:extLst>
            </p:cNvPr>
            <p:cNvSpPr>
              <a:spLocks noSelect="1"/>
            </p:cNvSpPr>
            <p:nvPr userDrawn="1"/>
          </p:nvSpPr>
          <p:spPr bwMode="gray">
            <a:xfrm>
              <a:off x="0" y="2"/>
              <a:ext cx="7682" cy="719"/>
            </a:xfrm>
            <a:custGeom>
              <a:avLst/>
              <a:gdLst>
                <a:gd name="T0" fmla="*/ 7682 w 7682"/>
                <a:gd name="T1" fmla="*/ 0 h 719"/>
                <a:gd name="T2" fmla="*/ 7682 w 7682"/>
                <a:gd name="T3" fmla="*/ 719 h 719"/>
                <a:gd name="T4" fmla="*/ 7682 w 7682"/>
                <a:gd name="T5" fmla="*/ 719 h 719"/>
                <a:gd name="T6" fmla="*/ 7682 w 7682"/>
                <a:gd name="T7" fmla="*/ 528 h 719"/>
                <a:gd name="T8" fmla="*/ 0 w 7682"/>
                <a:gd name="T9" fmla="*/ 528 h 719"/>
                <a:gd name="T10" fmla="*/ 0 w 7682"/>
                <a:gd name="T11" fmla="*/ 0 h 719"/>
                <a:gd name="T12" fmla="*/ 360 w 7682"/>
                <a:gd name="T13" fmla="*/ 0 h 719"/>
                <a:gd name="T14" fmla="*/ 721 w 7682"/>
                <a:gd name="T15" fmla="*/ 0 h 719"/>
                <a:gd name="T16" fmla="*/ 7682 w 7682"/>
                <a:gd name="T17" fmla="*/ 0 h 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82" h="719">
                  <a:moveTo>
                    <a:pt x="7682" y="0"/>
                  </a:moveTo>
                  <a:lnTo>
                    <a:pt x="7682" y="719"/>
                  </a:lnTo>
                  <a:lnTo>
                    <a:pt x="7682" y="719"/>
                  </a:lnTo>
                  <a:lnTo>
                    <a:pt x="7682" y="528"/>
                  </a:lnTo>
                  <a:lnTo>
                    <a:pt x="0" y="528"/>
                  </a:lnTo>
                  <a:lnTo>
                    <a:pt x="0" y="0"/>
                  </a:lnTo>
                  <a:lnTo>
                    <a:pt x="360" y="0"/>
                  </a:lnTo>
                  <a:lnTo>
                    <a:pt x="721" y="0"/>
                  </a:lnTo>
                  <a:lnTo>
                    <a:pt x="7682" y="0"/>
                  </a:lnTo>
                  <a:close/>
                </a:path>
              </a:pathLst>
            </a:custGeom>
            <a:solidFill>
              <a:srgbClr val="517E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18" name="Freeform 26">
              <a:extLst>
                <a:ext uri="{FF2B5EF4-FFF2-40B4-BE49-F238E27FC236}">
                  <a16:creationId xmlns:a16="http://schemas.microsoft.com/office/drawing/2014/main" id="{B54CEF2C-CBAA-462B-ABCC-B6A94A87078F}"/>
                </a:ext>
              </a:extLst>
            </p:cNvPr>
            <p:cNvSpPr>
              <a:spLocks noSelect="1"/>
            </p:cNvSpPr>
            <p:nvPr userDrawn="1"/>
          </p:nvSpPr>
          <p:spPr bwMode="gray">
            <a:xfrm>
              <a:off x="540" y="2"/>
              <a:ext cx="7142" cy="719"/>
            </a:xfrm>
            <a:custGeom>
              <a:avLst/>
              <a:gdLst>
                <a:gd name="T0" fmla="*/ 7142 w 7142"/>
                <a:gd name="T1" fmla="*/ 0 h 719"/>
                <a:gd name="T2" fmla="*/ 7142 w 7142"/>
                <a:gd name="T3" fmla="*/ 719 h 719"/>
                <a:gd name="T4" fmla="*/ 181 w 7142"/>
                <a:gd name="T5" fmla="*/ 719 h 719"/>
                <a:gd name="T6" fmla="*/ 0 w 7142"/>
                <a:gd name="T7" fmla="*/ 540 h 719"/>
                <a:gd name="T8" fmla="*/ 181 w 7142"/>
                <a:gd name="T9" fmla="*/ 360 h 719"/>
                <a:gd name="T10" fmla="*/ 181 w 7142"/>
                <a:gd name="T11" fmla="*/ 0 h 719"/>
                <a:gd name="T12" fmla="*/ 7142 w 7142"/>
                <a:gd name="T13" fmla="*/ 0 h 719"/>
              </a:gdLst>
              <a:ahLst/>
              <a:cxnLst>
                <a:cxn ang="0">
                  <a:pos x="T0" y="T1"/>
                </a:cxn>
                <a:cxn ang="0">
                  <a:pos x="T2" y="T3"/>
                </a:cxn>
                <a:cxn ang="0">
                  <a:pos x="T4" y="T5"/>
                </a:cxn>
                <a:cxn ang="0">
                  <a:pos x="T6" y="T7"/>
                </a:cxn>
                <a:cxn ang="0">
                  <a:pos x="T8" y="T9"/>
                </a:cxn>
                <a:cxn ang="0">
                  <a:pos x="T10" y="T11"/>
                </a:cxn>
                <a:cxn ang="0">
                  <a:pos x="T12" y="T13"/>
                </a:cxn>
              </a:cxnLst>
              <a:rect l="0" t="0" r="r" b="b"/>
              <a:pathLst>
                <a:path w="7142" h="719">
                  <a:moveTo>
                    <a:pt x="7142" y="0"/>
                  </a:moveTo>
                  <a:lnTo>
                    <a:pt x="7142" y="719"/>
                  </a:lnTo>
                  <a:lnTo>
                    <a:pt x="181" y="719"/>
                  </a:lnTo>
                  <a:lnTo>
                    <a:pt x="0" y="540"/>
                  </a:lnTo>
                  <a:lnTo>
                    <a:pt x="181" y="360"/>
                  </a:lnTo>
                  <a:lnTo>
                    <a:pt x="181" y="0"/>
                  </a:lnTo>
                  <a:lnTo>
                    <a:pt x="7142" y="0"/>
                  </a:lnTo>
                  <a:close/>
                </a:path>
              </a:pathLst>
            </a:custGeom>
            <a:solidFill>
              <a:srgbClr val="76BC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19" name="Freeform 27">
              <a:extLst>
                <a:ext uri="{FF2B5EF4-FFF2-40B4-BE49-F238E27FC236}">
                  <a16:creationId xmlns:a16="http://schemas.microsoft.com/office/drawing/2014/main" id="{0F7E3940-558A-4A97-8C22-7F143AF1DF3F}"/>
                </a:ext>
              </a:extLst>
            </p:cNvPr>
            <p:cNvSpPr>
              <a:spLocks noSelect="1"/>
            </p:cNvSpPr>
            <p:nvPr userDrawn="1"/>
          </p:nvSpPr>
          <p:spPr bwMode="gray">
            <a:xfrm>
              <a:off x="0" y="2"/>
              <a:ext cx="540" cy="719"/>
            </a:xfrm>
            <a:custGeom>
              <a:avLst/>
              <a:gdLst>
                <a:gd name="T0" fmla="*/ 540 w 540"/>
                <a:gd name="T1" fmla="*/ 540 h 719"/>
                <a:gd name="T2" fmla="*/ 360 w 540"/>
                <a:gd name="T3" fmla="*/ 719 h 719"/>
                <a:gd name="T4" fmla="*/ 0 w 540"/>
                <a:gd name="T5" fmla="*/ 719 h 719"/>
                <a:gd name="T6" fmla="*/ 0 w 540"/>
                <a:gd name="T7" fmla="*/ 0 h 719"/>
                <a:gd name="T8" fmla="*/ 360 w 540"/>
                <a:gd name="T9" fmla="*/ 0 h 719"/>
                <a:gd name="T10" fmla="*/ 360 w 540"/>
                <a:gd name="T11" fmla="*/ 360 h 719"/>
                <a:gd name="T12" fmla="*/ 540 w 540"/>
                <a:gd name="T13" fmla="*/ 540 h 719"/>
              </a:gdLst>
              <a:ahLst/>
              <a:cxnLst>
                <a:cxn ang="0">
                  <a:pos x="T0" y="T1"/>
                </a:cxn>
                <a:cxn ang="0">
                  <a:pos x="T2" y="T3"/>
                </a:cxn>
                <a:cxn ang="0">
                  <a:pos x="T4" y="T5"/>
                </a:cxn>
                <a:cxn ang="0">
                  <a:pos x="T6" y="T7"/>
                </a:cxn>
                <a:cxn ang="0">
                  <a:pos x="T8" y="T9"/>
                </a:cxn>
                <a:cxn ang="0">
                  <a:pos x="T10" y="T11"/>
                </a:cxn>
                <a:cxn ang="0">
                  <a:pos x="T12" y="T13"/>
                </a:cxn>
              </a:cxnLst>
              <a:rect l="0" t="0" r="r" b="b"/>
              <a:pathLst>
                <a:path w="540" h="719">
                  <a:moveTo>
                    <a:pt x="540" y="540"/>
                  </a:moveTo>
                  <a:lnTo>
                    <a:pt x="360" y="719"/>
                  </a:lnTo>
                  <a:lnTo>
                    <a:pt x="0" y="719"/>
                  </a:lnTo>
                  <a:lnTo>
                    <a:pt x="0" y="0"/>
                  </a:lnTo>
                  <a:lnTo>
                    <a:pt x="360" y="0"/>
                  </a:lnTo>
                  <a:lnTo>
                    <a:pt x="360" y="360"/>
                  </a:lnTo>
                  <a:lnTo>
                    <a:pt x="540" y="540"/>
                  </a:lnTo>
                  <a:close/>
                </a:path>
              </a:pathLst>
            </a:custGeom>
            <a:solidFill>
              <a:srgbClr val="AFAB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sp>
          <p:nvSpPr>
            <p:cNvPr id="20" name="Freeform 28">
              <a:extLst>
                <a:ext uri="{FF2B5EF4-FFF2-40B4-BE49-F238E27FC236}">
                  <a16:creationId xmlns:a16="http://schemas.microsoft.com/office/drawing/2014/main" id="{677C67B9-FAE2-4919-82A6-E867A1100B03}"/>
                </a:ext>
              </a:extLst>
            </p:cNvPr>
            <p:cNvSpPr>
              <a:spLocks noSelect="1"/>
            </p:cNvSpPr>
            <p:nvPr userDrawn="1"/>
          </p:nvSpPr>
          <p:spPr bwMode="gray">
            <a:xfrm>
              <a:off x="360" y="2"/>
              <a:ext cx="361" cy="540"/>
            </a:xfrm>
            <a:custGeom>
              <a:avLst/>
              <a:gdLst>
                <a:gd name="T0" fmla="*/ 361 w 361"/>
                <a:gd name="T1" fmla="*/ 0 h 540"/>
                <a:gd name="T2" fmla="*/ 361 w 361"/>
                <a:gd name="T3" fmla="*/ 360 h 540"/>
                <a:gd name="T4" fmla="*/ 180 w 361"/>
                <a:gd name="T5" fmla="*/ 540 h 540"/>
                <a:gd name="T6" fmla="*/ 0 w 361"/>
                <a:gd name="T7" fmla="*/ 360 h 540"/>
                <a:gd name="T8" fmla="*/ 0 w 361"/>
                <a:gd name="T9" fmla="*/ 0 h 540"/>
                <a:gd name="T10" fmla="*/ 361 w 361"/>
                <a:gd name="T11" fmla="*/ 0 h 540"/>
              </a:gdLst>
              <a:ahLst/>
              <a:cxnLst>
                <a:cxn ang="0">
                  <a:pos x="T0" y="T1"/>
                </a:cxn>
                <a:cxn ang="0">
                  <a:pos x="T2" y="T3"/>
                </a:cxn>
                <a:cxn ang="0">
                  <a:pos x="T4" y="T5"/>
                </a:cxn>
                <a:cxn ang="0">
                  <a:pos x="T6" y="T7"/>
                </a:cxn>
                <a:cxn ang="0">
                  <a:pos x="T8" y="T9"/>
                </a:cxn>
                <a:cxn ang="0">
                  <a:pos x="T10" y="T11"/>
                </a:cxn>
              </a:cxnLst>
              <a:rect l="0" t="0" r="r" b="b"/>
              <a:pathLst>
                <a:path w="361" h="540">
                  <a:moveTo>
                    <a:pt x="361" y="0"/>
                  </a:moveTo>
                  <a:lnTo>
                    <a:pt x="361" y="360"/>
                  </a:lnTo>
                  <a:lnTo>
                    <a:pt x="180" y="540"/>
                  </a:lnTo>
                  <a:lnTo>
                    <a:pt x="0" y="360"/>
                  </a:lnTo>
                  <a:lnTo>
                    <a:pt x="0" y="0"/>
                  </a:lnTo>
                  <a:lnTo>
                    <a:pt x="361" y="0"/>
                  </a:lnTo>
                  <a:close/>
                </a:path>
              </a:pathLst>
            </a:custGeom>
            <a:solidFill>
              <a:srgbClr val="517E9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dirty="0"/>
            </a:p>
          </p:txBody>
        </p:sp>
      </p:grpSp>
      <p:sp>
        <p:nvSpPr>
          <p:cNvPr id="21" name="Grijs boven">
            <a:extLst>
              <a:ext uri="{FF2B5EF4-FFF2-40B4-BE49-F238E27FC236}">
                <a16:creationId xmlns:a16="http://schemas.microsoft.com/office/drawing/2014/main" id="{9DD63556-6929-4240-9AAC-92182EF2E3A6}"/>
              </a:ext>
            </a:extLst>
          </p:cNvPr>
          <p:cNvSpPr>
            <a:spLocks noSelect="1"/>
          </p:cNvSpPr>
          <p:nvPr userDrawn="1"/>
        </p:nvSpPr>
        <p:spPr bwMode="gray">
          <a:xfrm>
            <a:off x="6580982" y="-422"/>
            <a:ext cx="5611813" cy="1141413"/>
          </a:xfrm>
          <a:custGeom>
            <a:avLst/>
            <a:gdLst>
              <a:gd name="T0" fmla="*/ 14647 w 17670"/>
              <a:gd name="T1" fmla="*/ 700 h 3600"/>
              <a:gd name="T2" fmla="*/ 11911 w 17670"/>
              <a:gd name="T3" fmla="*/ 2041 h 3600"/>
              <a:gd name="T4" fmla="*/ 12570 w 17670"/>
              <a:gd name="T5" fmla="*/ 1785 h 3600"/>
              <a:gd name="T6" fmla="*/ 5983 w 17670"/>
              <a:gd name="T7" fmla="*/ 3240 h 3600"/>
              <a:gd name="T8" fmla="*/ 5829 w 17670"/>
              <a:gd name="T9" fmla="*/ 3188 h 3600"/>
              <a:gd name="T10" fmla="*/ 6242 w 17670"/>
              <a:gd name="T11" fmla="*/ 2969 h 3600"/>
              <a:gd name="T12" fmla="*/ 6047 w 17670"/>
              <a:gd name="T13" fmla="*/ 3375 h 3600"/>
              <a:gd name="T14" fmla="*/ 17592 w 17670"/>
              <a:gd name="T15" fmla="*/ 745 h 3600"/>
              <a:gd name="T16" fmla="*/ 15332 w 17670"/>
              <a:gd name="T17" fmla="*/ 3600 h 3600"/>
              <a:gd name="T18" fmla="*/ 12600 w 17670"/>
              <a:gd name="T19" fmla="*/ 2292 h 3600"/>
              <a:gd name="T20" fmla="*/ 11957 w 17670"/>
              <a:gd name="T21" fmla="*/ 2973 h 3600"/>
              <a:gd name="T22" fmla="*/ 7475 w 17670"/>
              <a:gd name="T23" fmla="*/ 3306 h 3600"/>
              <a:gd name="T24" fmla="*/ 7049 w 17670"/>
              <a:gd name="T25" fmla="*/ 3436 h 3600"/>
              <a:gd name="T26" fmla="*/ 5245 w 17670"/>
              <a:gd name="T27" fmla="*/ 2621 h 3600"/>
              <a:gd name="T28" fmla="*/ 4076 w 17670"/>
              <a:gd name="T29" fmla="*/ 2169 h 3600"/>
              <a:gd name="T30" fmla="*/ 3888 w 17670"/>
              <a:gd name="T31" fmla="*/ 3551 h 3600"/>
              <a:gd name="T32" fmla="*/ 2828 w 17670"/>
              <a:gd name="T33" fmla="*/ 3057 h 3600"/>
              <a:gd name="T34" fmla="*/ 0 w 17670"/>
              <a:gd name="T35" fmla="*/ 3473 h 3600"/>
              <a:gd name="T36" fmla="*/ 409 w 17670"/>
              <a:gd name="T37" fmla="*/ 1858 h 3600"/>
              <a:gd name="T38" fmla="*/ 2176 w 17670"/>
              <a:gd name="T39" fmla="*/ 1297 h 3600"/>
              <a:gd name="T40" fmla="*/ 3627 w 17670"/>
              <a:gd name="T41" fmla="*/ 1739 h 3600"/>
              <a:gd name="T42" fmla="*/ 4686 w 17670"/>
              <a:gd name="T43" fmla="*/ 0 h 3600"/>
              <a:gd name="T44" fmla="*/ 5652 w 17670"/>
              <a:gd name="T45" fmla="*/ 212 h 3600"/>
              <a:gd name="T46" fmla="*/ 5927 w 17670"/>
              <a:gd name="T47" fmla="*/ 680 h 3600"/>
              <a:gd name="T48" fmla="*/ 6741 w 17670"/>
              <a:gd name="T49" fmla="*/ 1287 h 3600"/>
              <a:gd name="T50" fmla="*/ 7469 w 17670"/>
              <a:gd name="T51" fmla="*/ 1105 h 3600"/>
              <a:gd name="T52" fmla="*/ 9425 w 17670"/>
              <a:gd name="T53" fmla="*/ 0 h 3600"/>
              <a:gd name="T54" fmla="*/ 10377 w 17670"/>
              <a:gd name="T55" fmla="*/ 0 h 3600"/>
              <a:gd name="T56" fmla="*/ 10883 w 17670"/>
              <a:gd name="T57" fmla="*/ 0 h 3600"/>
              <a:gd name="T58" fmla="*/ 11450 w 17670"/>
              <a:gd name="T59" fmla="*/ 936 h 3600"/>
              <a:gd name="T60" fmla="*/ 13890 w 17670"/>
              <a:gd name="T61" fmla="*/ 145 h 3600"/>
              <a:gd name="T62" fmla="*/ 14627 w 17670"/>
              <a:gd name="T63" fmla="*/ 402 h 3600"/>
              <a:gd name="T64" fmla="*/ 14638 w 17670"/>
              <a:gd name="T65" fmla="*/ 686 h 3600"/>
              <a:gd name="T66" fmla="*/ 14647 w 17670"/>
              <a:gd name="T67" fmla="*/ 700 h 3600"/>
              <a:gd name="T68" fmla="*/ 12880 w 17670"/>
              <a:gd name="T69" fmla="*/ 1012 h 3600"/>
              <a:gd name="T70" fmla="*/ 14834 w 17670"/>
              <a:gd name="T71" fmla="*/ 688 h 3600"/>
              <a:gd name="T72" fmla="*/ 13031 w 17670"/>
              <a:gd name="T73" fmla="*/ 1884 h 3600"/>
              <a:gd name="T74" fmla="*/ 17670 w 17670"/>
              <a:gd name="T75" fmla="*/ 691 h 3600"/>
              <a:gd name="T76" fmla="*/ 11240 w 17670"/>
              <a:gd name="T77" fmla="*/ 1168 h 3600"/>
              <a:gd name="T78" fmla="*/ 9501 w 17670"/>
              <a:gd name="T79" fmla="*/ 242 h 3600"/>
              <a:gd name="T80" fmla="*/ 8187 w 17670"/>
              <a:gd name="T81" fmla="*/ 2046 h 3600"/>
              <a:gd name="T82" fmla="*/ 6794 w 17670"/>
              <a:gd name="T83" fmla="*/ 1333 h 3600"/>
              <a:gd name="T84" fmla="*/ 6704 w 17670"/>
              <a:gd name="T85" fmla="*/ 1529 h 3600"/>
              <a:gd name="T86" fmla="*/ 4127 w 17670"/>
              <a:gd name="T87" fmla="*/ 660 h 3600"/>
              <a:gd name="T88" fmla="*/ 8179 w 17670"/>
              <a:gd name="T89" fmla="*/ 2458 h 3600"/>
              <a:gd name="T90" fmla="*/ 8166 w 17670"/>
              <a:gd name="T91" fmla="*/ 2717 h 3600"/>
              <a:gd name="T92" fmla="*/ 9890 w 17670"/>
              <a:gd name="T93" fmla="*/ 2401 h 3600"/>
              <a:gd name="T94" fmla="*/ 10192 w 17670"/>
              <a:gd name="T95" fmla="*/ 2537 h 3600"/>
              <a:gd name="T96" fmla="*/ 7395 w 17670"/>
              <a:gd name="T97" fmla="*/ 3312 h 3600"/>
              <a:gd name="T98" fmla="*/ 10949 w 17670"/>
              <a:gd name="T99" fmla="*/ 1450 h 3600"/>
              <a:gd name="T100" fmla="*/ 9097 w 17670"/>
              <a:gd name="T101" fmla="*/ 1148 h 3600"/>
              <a:gd name="T102" fmla="*/ 8254 w 17670"/>
              <a:gd name="T103" fmla="*/ 2657 h 3600"/>
              <a:gd name="T104" fmla="*/ 10527 w 17670"/>
              <a:gd name="T105" fmla="*/ 2233 h 3600"/>
              <a:gd name="T106" fmla="*/ 11410 w 17670"/>
              <a:gd name="T107" fmla="*/ 1209 h 3600"/>
              <a:gd name="T108" fmla="*/ 10208 w 17670"/>
              <a:gd name="T109" fmla="*/ 2321 h 3600"/>
              <a:gd name="T110" fmla="*/ 12538 w 17670"/>
              <a:gd name="T111" fmla="*/ 1058 h 3600"/>
              <a:gd name="T112" fmla="*/ 10223 w 17670"/>
              <a:gd name="T113" fmla="*/ 2399 h 3600"/>
              <a:gd name="T114" fmla="*/ 11150 w 17670"/>
              <a:gd name="T115" fmla="*/ 1867 h 3600"/>
              <a:gd name="T116" fmla="*/ 12166 w 17670"/>
              <a:gd name="T117" fmla="*/ 2731 h 3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670" h="3600">
                <a:moveTo>
                  <a:pt x="14647" y="700"/>
                </a:moveTo>
                <a:cubicBezTo>
                  <a:pt x="14647" y="700"/>
                  <a:pt x="14647" y="700"/>
                  <a:pt x="14647" y="700"/>
                </a:cubicBezTo>
                <a:cubicBezTo>
                  <a:pt x="14647" y="700"/>
                  <a:pt x="14647" y="700"/>
                  <a:pt x="14646" y="701"/>
                </a:cubicBezTo>
                <a:cubicBezTo>
                  <a:pt x="14646" y="701"/>
                  <a:pt x="14646" y="701"/>
                  <a:pt x="14646" y="701"/>
                </a:cubicBezTo>
                <a:cubicBezTo>
                  <a:pt x="14646" y="700"/>
                  <a:pt x="14647" y="700"/>
                  <a:pt x="14647" y="700"/>
                </a:cubicBezTo>
                <a:close/>
                <a:moveTo>
                  <a:pt x="14647" y="700"/>
                </a:moveTo>
                <a:cubicBezTo>
                  <a:pt x="14647" y="700"/>
                  <a:pt x="14647" y="700"/>
                  <a:pt x="14647" y="700"/>
                </a:cubicBezTo>
                <a:cubicBezTo>
                  <a:pt x="14647" y="700"/>
                  <a:pt x="14647" y="700"/>
                  <a:pt x="14647" y="700"/>
                </a:cubicBezTo>
                <a:cubicBezTo>
                  <a:pt x="14647" y="700"/>
                  <a:pt x="14647" y="700"/>
                  <a:pt x="14647" y="700"/>
                </a:cubicBezTo>
                <a:close/>
                <a:moveTo>
                  <a:pt x="14647" y="700"/>
                </a:moveTo>
                <a:cubicBezTo>
                  <a:pt x="14647" y="700"/>
                  <a:pt x="14647" y="700"/>
                  <a:pt x="14647" y="700"/>
                </a:cubicBezTo>
                <a:cubicBezTo>
                  <a:pt x="14647" y="700"/>
                  <a:pt x="14647" y="700"/>
                  <a:pt x="14647" y="700"/>
                </a:cubicBezTo>
                <a:cubicBezTo>
                  <a:pt x="14647" y="700"/>
                  <a:pt x="14647" y="700"/>
                  <a:pt x="14647" y="700"/>
                </a:cubicBezTo>
                <a:close/>
                <a:moveTo>
                  <a:pt x="12365" y="1569"/>
                </a:moveTo>
                <a:cubicBezTo>
                  <a:pt x="12591" y="1785"/>
                  <a:pt x="12591" y="1785"/>
                  <a:pt x="12591" y="1785"/>
                </a:cubicBezTo>
                <a:cubicBezTo>
                  <a:pt x="11949" y="2447"/>
                  <a:pt x="11949" y="2447"/>
                  <a:pt x="11949" y="2447"/>
                </a:cubicBezTo>
                <a:cubicBezTo>
                  <a:pt x="11761" y="2264"/>
                  <a:pt x="11761" y="2264"/>
                  <a:pt x="11761" y="2264"/>
                </a:cubicBezTo>
                <a:cubicBezTo>
                  <a:pt x="11602" y="2426"/>
                  <a:pt x="11602" y="2426"/>
                  <a:pt x="11602" y="2426"/>
                </a:cubicBezTo>
                <a:cubicBezTo>
                  <a:pt x="11519" y="2346"/>
                  <a:pt x="11519" y="2346"/>
                  <a:pt x="11519" y="2346"/>
                </a:cubicBezTo>
                <a:cubicBezTo>
                  <a:pt x="11388" y="2482"/>
                  <a:pt x="11388" y="2482"/>
                  <a:pt x="11388" y="2482"/>
                </a:cubicBezTo>
                <a:cubicBezTo>
                  <a:pt x="11174" y="2271"/>
                  <a:pt x="11174" y="2271"/>
                  <a:pt x="11174" y="2271"/>
                </a:cubicBezTo>
                <a:cubicBezTo>
                  <a:pt x="11169" y="2266"/>
                  <a:pt x="11169" y="2266"/>
                  <a:pt x="11169" y="2266"/>
                </a:cubicBezTo>
                <a:cubicBezTo>
                  <a:pt x="11808" y="1605"/>
                  <a:pt x="11808" y="1605"/>
                  <a:pt x="11808" y="1605"/>
                </a:cubicBezTo>
                <a:cubicBezTo>
                  <a:pt x="12026" y="1823"/>
                  <a:pt x="12026" y="1823"/>
                  <a:pt x="12026" y="1823"/>
                </a:cubicBezTo>
                <a:cubicBezTo>
                  <a:pt x="11861" y="1995"/>
                  <a:pt x="11861" y="1995"/>
                  <a:pt x="11861" y="1995"/>
                </a:cubicBezTo>
                <a:cubicBezTo>
                  <a:pt x="11911" y="2041"/>
                  <a:pt x="11911" y="2041"/>
                  <a:pt x="11911" y="2041"/>
                </a:cubicBezTo>
                <a:lnTo>
                  <a:pt x="12365" y="1569"/>
                </a:lnTo>
                <a:close/>
                <a:moveTo>
                  <a:pt x="12365" y="1590"/>
                </a:moveTo>
                <a:cubicBezTo>
                  <a:pt x="11911" y="2061"/>
                  <a:pt x="11911" y="2061"/>
                  <a:pt x="11911" y="2061"/>
                </a:cubicBezTo>
                <a:cubicBezTo>
                  <a:pt x="11840" y="1996"/>
                  <a:pt x="11840" y="1996"/>
                  <a:pt x="11840" y="1996"/>
                </a:cubicBezTo>
                <a:cubicBezTo>
                  <a:pt x="12005" y="1823"/>
                  <a:pt x="12005" y="1823"/>
                  <a:pt x="12005" y="1823"/>
                </a:cubicBezTo>
                <a:cubicBezTo>
                  <a:pt x="11808" y="1626"/>
                  <a:pt x="11808" y="1626"/>
                  <a:pt x="11808" y="1626"/>
                </a:cubicBezTo>
                <a:cubicBezTo>
                  <a:pt x="11189" y="2266"/>
                  <a:pt x="11189" y="2266"/>
                  <a:pt x="11189" y="2266"/>
                </a:cubicBezTo>
                <a:cubicBezTo>
                  <a:pt x="11388" y="2461"/>
                  <a:pt x="11388" y="2461"/>
                  <a:pt x="11388" y="2461"/>
                </a:cubicBezTo>
                <a:cubicBezTo>
                  <a:pt x="11519" y="2325"/>
                  <a:pt x="11519" y="2325"/>
                  <a:pt x="11519" y="2325"/>
                </a:cubicBezTo>
                <a:cubicBezTo>
                  <a:pt x="11601" y="2405"/>
                  <a:pt x="11601" y="2405"/>
                  <a:pt x="11601" y="2405"/>
                </a:cubicBezTo>
                <a:cubicBezTo>
                  <a:pt x="11761" y="2243"/>
                  <a:pt x="11761" y="2243"/>
                  <a:pt x="11761" y="2243"/>
                </a:cubicBezTo>
                <a:cubicBezTo>
                  <a:pt x="11948" y="2426"/>
                  <a:pt x="11948" y="2426"/>
                  <a:pt x="11948" y="2426"/>
                </a:cubicBezTo>
                <a:cubicBezTo>
                  <a:pt x="12570" y="1785"/>
                  <a:pt x="12570" y="1785"/>
                  <a:pt x="12570" y="1785"/>
                </a:cubicBezTo>
                <a:lnTo>
                  <a:pt x="12365" y="1590"/>
                </a:lnTo>
                <a:close/>
                <a:moveTo>
                  <a:pt x="6312" y="3241"/>
                </a:moveTo>
                <a:cubicBezTo>
                  <a:pt x="5836" y="3128"/>
                  <a:pt x="5836" y="3128"/>
                  <a:pt x="5836" y="3128"/>
                </a:cubicBezTo>
                <a:cubicBezTo>
                  <a:pt x="5829" y="3126"/>
                  <a:pt x="5829" y="3126"/>
                  <a:pt x="5829" y="3126"/>
                </a:cubicBezTo>
                <a:cubicBezTo>
                  <a:pt x="5811" y="3198"/>
                  <a:pt x="5811" y="3198"/>
                  <a:pt x="5811" y="3198"/>
                </a:cubicBezTo>
                <a:cubicBezTo>
                  <a:pt x="5851" y="3208"/>
                  <a:pt x="5851" y="3208"/>
                  <a:pt x="5851" y="3208"/>
                </a:cubicBezTo>
                <a:cubicBezTo>
                  <a:pt x="5802" y="3406"/>
                  <a:pt x="5802" y="3406"/>
                  <a:pt x="5802" y="3406"/>
                </a:cubicBezTo>
                <a:cubicBezTo>
                  <a:pt x="5565" y="3351"/>
                  <a:pt x="5565" y="3351"/>
                  <a:pt x="5565" y="3351"/>
                </a:cubicBezTo>
                <a:cubicBezTo>
                  <a:pt x="5534" y="3474"/>
                  <a:pt x="5534" y="3474"/>
                  <a:pt x="5534" y="3474"/>
                </a:cubicBezTo>
                <a:cubicBezTo>
                  <a:pt x="5772" y="3530"/>
                  <a:pt x="5772" y="3530"/>
                  <a:pt x="5772" y="3530"/>
                </a:cubicBezTo>
                <a:cubicBezTo>
                  <a:pt x="5764" y="3566"/>
                  <a:pt x="5764" y="3566"/>
                  <a:pt x="5764" y="3566"/>
                </a:cubicBezTo>
                <a:cubicBezTo>
                  <a:pt x="5898" y="3597"/>
                  <a:pt x="5898" y="3597"/>
                  <a:pt x="5898" y="3597"/>
                </a:cubicBezTo>
                <a:cubicBezTo>
                  <a:pt x="5983" y="3240"/>
                  <a:pt x="5983" y="3240"/>
                  <a:pt x="5983" y="3240"/>
                </a:cubicBezTo>
                <a:cubicBezTo>
                  <a:pt x="6292" y="3311"/>
                  <a:pt x="6292" y="3311"/>
                  <a:pt x="6292" y="3311"/>
                </a:cubicBezTo>
                <a:cubicBezTo>
                  <a:pt x="6225" y="3600"/>
                  <a:pt x="6225" y="3600"/>
                  <a:pt x="6225" y="3600"/>
                </a:cubicBezTo>
                <a:cubicBezTo>
                  <a:pt x="6240" y="3600"/>
                  <a:pt x="6240" y="3600"/>
                  <a:pt x="6240" y="3600"/>
                </a:cubicBezTo>
                <a:cubicBezTo>
                  <a:pt x="6310" y="3300"/>
                  <a:pt x="6310" y="3300"/>
                  <a:pt x="6310" y="3300"/>
                </a:cubicBezTo>
                <a:cubicBezTo>
                  <a:pt x="5972" y="3223"/>
                  <a:pt x="5972" y="3223"/>
                  <a:pt x="5972" y="3223"/>
                </a:cubicBezTo>
                <a:cubicBezTo>
                  <a:pt x="5887" y="3579"/>
                  <a:pt x="5887" y="3579"/>
                  <a:pt x="5887" y="3579"/>
                </a:cubicBezTo>
                <a:cubicBezTo>
                  <a:pt x="5782" y="3555"/>
                  <a:pt x="5782" y="3555"/>
                  <a:pt x="5782" y="3555"/>
                </a:cubicBezTo>
                <a:cubicBezTo>
                  <a:pt x="5790" y="3519"/>
                  <a:pt x="5790" y="3519"/>
                  <a:pt x="5790" y="3519"/>
                </a:cubicBezTo>
                <a:cubicBezTo>
                  <a:pt x="5552" y="3463"/>
                  <a:pt x="5552" y="3463"/>
                  <a:pt x="5552" y="3463"/>
                </a:cubicBezTo>
                <a:cubicBezTo>
                  <a:pt x="5576" y="3369"/>
                  <a:pt x="5576" y="3369"/>
                  <a:pt x="5576" y="3369"/>
                </a:cubicBezTo>
                <a:cubicBezTo>
                  <a:pt x="5813" y="3424"/>
                  <a:pt x="5813" y="3424"/>
                  <a:pt x="5813" y="3424"/>
                </a:cubicBezTo>
                <a:cubicBezTo>
                  <a:pt x="5868" y="3198"/>
                  <a:pt x="5868" y="3198"/>
                  <a:pt x="5868" y="3198"/>
                </a:cubicBezTo>
                <a:cubicBezTo>
                  <a:pt x="5829" y="3188"/>
                  <a:pt x="5829" y="3188"/>
                  <a:pt x="5829" y="3188"/>
                </a:cubicBezTo>
                <a:cubicBezTo>
                  <a:pt x="5840" y="3144"/>
                  <a:pt x="5840" y="3144"/>
                  <a:pt x="5840" y="3144"/>
                </a:cubicBezTo>
                <a:cubicBezTo>
                  <a:pt x="6323" y="3259"/>
                  <a:pt x="6323" y="3259"/>
                  <a:pt x="6323" y="3259"/>
                </a:cubicBezTo>
                <a:cubicBezTo>
                  <a:pt x="6334" y="3206"/>
                  <a:pt x="6334" y="3206"/>
                  <a:pt x="6334" y="3206"/>
                </a:cubicBezTo>
                <a:cubicBezTo>
                  <a:pt x="6618" y="3273"/>
                  <a:pt x="6618" y="3273"/>
                  <a:pt x="6618" y="3273"/>
                </a:cubicBezTo>
                <a:cubicBezTo>
                  <a:pt x="6540" y="3600"/>
                  <a:pt x="6540" y="3600"/>
                  <a:pt x="6540" y="3600"/>
                </a:cubicBezTo>
                <a:cubicBezTo>
                  <a:pt x="6556" y="3600"/>
                  <a:pt x="6556" y="3600"/>
                  <a:pt x="6556" y="3600"/>
                </a:cubicBezTo>
                <a:cubicBezTo>
                  <a:pt x="6636" y="3262"/>
                  <a:pt x="6636" y="3262"/>
                  <a:pt x="6636" y="3262"/>
                </a:cubicBezTo>
                <a:cubicBezTo>
                  <a:pt x="6323" y="3188"/>
                  <a:pt x="6323" y="3188"/>
                  <a:pt x="6323" y="3188"/>
                </a:cubicBezTo>
                <a:lnTo>
                  <a:pt x="6312" y="3241"/>
                </a:lnTo>
                <a:close/>
                <a:moveTo>
                  <a:pt x="6194" y="3143"/>
                </a:moveTo>
                <a:cubicBezTo>
                  <a:pt x="5723" y="3031"/>
                  <a:pt x="5723" y="3031"/>
                  <a:pt x="5723" y="3031"/>
                </a:cubicBezTo>
                <a:cubicBezTo>
                  <a:pt x="5765" y="2856"/>
                  <a:pt x="5765" y="2856"/>
                  <a:pt x="5765" y="2856"/>
                </a:cubicBezTo>
                <a:cubicBezTo>
                  <a:pt x="6242" y="2969"/>
                  <a:pt x="6242" y="2969"/>
                  <a:pt x="6242" y="2969"/>
                </a:cubicBezTo>
                <a:cubicBezTo>
                  <a:pt x="6201" y="3144"/>
                  <a:pt x="6201" y="3144"/>
                  <a:pt x="6201" y="3144"/>
                </a:cubicBezTo>
                <a:lnTo>
                  <a:pt x="6194" y="3143"/>
                </a:lnTo>
                <a:close/>
                <a:moveTo>
                  <a:pt x="6190" y="3127"/>
                </a:moveTo>
                <a:cubicBezTo>
                  <a:pt x="6225" y="2980"/>
                  <a:pt x="6225" y="2980"/>
                  <a:pt x="6225" y="2980"/>
                </a:cubicBezTo>
                <a:cubicBezTo>
                  <a:pt x="5776" y="2874"/>
                  <a:pt x="5776" y="2874"/>
                  <a:pt x="5776" y="2874"/>
                </a:cubicBezTo>
                <a:cubicBezTo>
                  <a:pt x="5741" y="3020"/>
                  <a:pt x="5741" y="3020"/>
                  <a:pt x="5741" y="3020"/>
                </a:cubicBezTo>
                <a:lnTo>
                  <a:pt x="6190" y="3127"/>
                </a:lnTo>
                <a:close/>
                <a:moveTo>
                  <a:pt x="5981" y="3589"/>
                </a:moveTo>
                <a:cubicBezTo>
                  <a:pt x="5979" y="3596"/>
                  <a:pt x="5979" y="3596"/>
                  <a:pt x="5979" y="3596"/>
                </a:cubicBezTo>
                <a:cubicBezTo>
                  <a:pt x="5996" y="3600"/>
                  <a:pt x="5996" y="3600"/>
                  <a:pt x="5996" y="3600"/>
                </a:cubicBezTo>
                <a:cubicBezTo>
                  <a:pt x="6060" y="3600"/>
                  <a:pt x="6060" y="3600"/>
                  <a:pt x="6060" y="3600"/>
                </a:cubicBezTo>
                <a:cubicBezTo>
                  <a:pt x="5997" y="3585"/>
                  <a:pt x="5997" y="3585"/>
                  <a:pt x="5997" y="3585"/>
                </a:cubicBezTo>
                <a:cubicBezTo>
                  <a:pt x="6047" y="3375"/>
                  <a:pt x="6047" y="3375"/>
                  <a:pt x="6047" y="3375"/>
                </a:cubicBezTo>
                <a:cubicBezTo>
                  <a:pt x="6165" y="3403"/>
                  <a:pt x="6165" y="3403"/>
                  <a:pt x="6165" y="3403"/>
                </a:cubicBezTo>
                <a:cubicBezTo>
                  <a:pt x="6118" y="3600"/>
                  <a:pt x="6118" y="3600"/>
                  <a:pt x="6118" y="3600"/>
                </a:cubicBezTo>
                <a:cubicBezTo>
                  <a:pt x="6133" y="3600"/>
                  <a:pt x="6133" y="3600"/>
                  <a:pt x="6133" y="3600"/>
                </a:cubicBezTo>
                <a:cubicBezTo>
                  <a:pt x="6183" y="3392"/>
                  <a:pt x="6183" y="3392"/>
                  <a:pt x="6183" y="3392"/>
                </a:cubicBezTo>
                <a:cubicBezTo>
                  <a:pt x="6036" y="3358"/>
                  <a:pt x="6036" y="3358"/>
                  <a:pt x="6036" y="3358"/>
                </a:cubicBezTo>
                <a:lnTo>
                  <a:pt x="5981" y="3589"/>
                </a:lnTo>
                <a:close/>
                <a:moveTo>
                  <a:pt x="10034" y="216"/>
                </a:moveTo>
                <a:cubicBezTo>
                  <a:pt x="10026" y="0"/>
                  <a:pt x="10026" y="0"/>
                  <a:pt x="10026" y="0"/>
                </a:cubicBezTo>
                <a:cubicBezTo>
                  <a:pt x="10012" y="0"/>
                  <a:pt x="10012" y="0"/>
                  <a:pt x="10012" y="0"/>
                </a:cubicBezTo>
                <a:cubicBezTo>
                  <a:pt x="10021" y="217"/>
                  <a:pt x="10021" y="217"/>
                  <a:pt x="10021" y="217"/>
                </a:cubicBezTo>
                <a:lnTo>
                  <a:pt x="10034" y="216"/>
                </a:lnTo>
                <a:close/>
                <a:moveTo>
                  <a:pt x="17670" y="691"/>
                </a:moveTo>
                <a:cubicBezTo>
                  <a:pt x="17643" y="709"/>
                  <a:pt x="17617" y="728"/>
                  <a:pt x="17592" y="745"/>
                </a:cubicBezTo>
                <a:cubicBezTo>
                  <a:pt x="17618" y="783"/>
                  <a:pt x="17644" y="825"/>
                  <a:pt x="17670" y="871"/>
                </a:cubicBezTo>
                <a:cubicBezTo>
                  <a:pt x="17670" y="1016"/>
                  <a:pt x="17670" y="1016"/>
                  <a:pt x="17670" y="1016"/>
                </a:cubicBezTo>
                <a:cubicBezTo>
                  <a:pt x="17628" y="924"/>
                  <a:pt x="17583" y="846"/>
                  <a:pt x="17537" y="781"/>
                </a:cubicBezTo>
                <a:cubicBezTo>
                  <a:pt x="17090" y="1074"/>
                  <a:pt x="16385" y="1603"/>
                  <a:pt x="15875" y="1739"/>
                </a:cubicBezTo>
                <a:cubicBezTo>
                  <a:pt x="15844" y="1748"/>
                  <a:pt x="15813" y="1756"/>
                  <a:pt x="15781" y="1763"/>
                </a:cubicBezTo>
                <a:cubicBezTo>
                  <a:pt x="15782" y="1764"/>
                  <a:pt x="15782" y="1764"/>
                  <a:pt x="15782" y="1764"/>
                </a:cubicBezTo>
                <a:cubicBezTo>
                  <a:pt x="15786" y="1768"/>
                  <a:pt x="15786" y="1768"/>
                  <a:pt x="15786" y="1768"/>
                </a:cubicBezTo>
                <a:cubicBezTo>
                  <a:pt x="15781" y="1772"/>
                  <a:pt x="15754" y="1801"/>
                  <a:pt x="15719" y="1842"/>
                </a:cubicBezTo>
                <a:cubicBezTo>
                  <a:pt x="15613" y="1964"/>
                  <a:pt x="15421" y="2211"/>
                  <a:pt x="15386" y="2346"/>
                </a:cubicBezTo>
                <a:cubicBezTo>
                  <a:pt x="15354" y="2462"/>
                  <a:pt x="15323" y="2677"/>
                  <a:pt x="15323" y="2932"/>
                </a:cubicBezTo>
                <a:cubicBezTo>
                  <a:pt x="15323" y="3115"/>
                  <a:pt x="15339" y="3320"/>
                  <a:pt x="15382" y="3523"/>
                </a:cubicBezTo>
                <a:cubicBezTo>
                  <a:pt x="15388" y="3549"/>
                  <a:pt x="15393" y="3574"/>
                  <a:pt x="15399" y="3600"/>
                </a:cubicBezTo>
                <a:cubicBezTo>
                  <a:pt x="15332" y="3600"/>
                  <a:pt x="15332" y="3600"/>
                  <a:pt x="15332" y="3600"/>
                </a:cubicBezTo>
                <a:cubicBezTo>
                  <a:pt x="15327" y="3579"/>
                  <a:pt x="15323" y="3558"/>
                  <a:pt x="15318" y="3537"/>
                </a:cubicBezTo>
                <a:cubicBezTo>
                  <a:pt x="15274" y="3328"/>
                  <a:pt x="15257" y="3119"/>
                  <a:pt x="15257" y="2932"/>
                </a:cubicBezTo>
                <a:cubicBezTo>
                  <a:pt x="15258" y="2671"/>
                  <a:pt x="15289" y="2453"/>
                  <a:pt x="15322" y="2329"/>
                </a:cubicBezTo>
                <a:cubicBezTo>
                  <a:pt x="15354" y="2215"/>
                  <a:pt x="15456" y="2067"/>
                  <a:pt x="15552" y="1942"/>
                </a:cubicBezTo>
                <a:cubicBezTo>
                  <a:pt x="15600" y="1881"/>
                  <a:pt x="15646" y="1826"/>
                  <a:pt x="15681" y="1786"/>
                </a:cubicBezTo>
                <a:cubicBezTo>
                  <a:pt x="15227" y="1885"/>
                  <a:pt x="14762" y="1923"/>
                  <a:pt x="14612" y="1949"/>
                </a:cubicBezTo>
                <a:cubicBezTo>
                  <a:pt x="14547" y="1961"/>
                  <a:pt x="14355" y="1964"/>
                  <a:pt x="14121" y="1964"/>
                </a:cubicBezTo>
                <a:cubicBezTo>
                  <a:pt x="13664" y="1964"/>
                  <a:pt x="13060" y="1951"/>
                  <a:pt x="13031" y="1950"/>
                </a:cubicBezTo>
                <a:cubicBezTo>
                  <a:pt x="12954" y="1953"/>
                  <a:pt x="12863" y="1955"/>
                  <a:pt x="12791" y="2035"/>
                </a:cubicBezTo>
                <a:cubicBezTo>
                  <a:pt x="12752" y="2080"/>
                  <a:pt x="12704" y="2144"/>
                  <a:pt x="12667" y="2196"/>
                </a:cubicBezTo>
                <a:cubicBezTo>
                  <a:pt x="12629" y="2248"/>
                  <a:pt x="12602" y="2289"/>
                  <a:pt x="12602" y="2289"/>
                </a:cubicBezTo>
                <a:cubicBezTo>
                  <a:pt x="12601" y="2290"/>
                  <a:pt x="12601" y="2290"/>
                  <a:pt x="12601" y="2290"/>
                </a:cubicBezTo>
                <a:cubicBezTo>
                  <a:pt x="12600" y="2292"/>
                  <a:pt x="12600" y="2292"/>
                  <a:pt x="12600" y="2292"/>
                </a:cubicBezTo>
                <a:cubicBezTo>
                  <a:pt x="12600" y="2292"/>
                  <a:pt x="12504" y="2409"/>
                  <a:pt x="12405" y="2532"/>
                </a:cubicBezTo>
                <a:cubicBezTo>
                  <a:pt x="12356" y="2593"/>
                  <a:pt x="12306" y="2656"/>
                  <a:pt x="12267" y="2706"/>
                </a:cubicBezTo>
                <a:cubicBezTo>
                  <a:pt x="12248" y="2731"/>
                  <a:pt x="12232" y="2753"/>
                  <a:pt x="12219" y="2770"/>
                </a:cubicBezTo>
                <a:cubicBezTo>
                  <a:pt x="12213" y="2778"/>
                  <a:pt x="12208" y="2785"/>
                  <a:pt x="12205" y="2791"/>
                </a:cubicBezTo>
                <a:cubicBezTo>
                  <a:pt x="12203" y="2793"/>
                  <a:pt x="12202" y="2796"/>
                  <a:pt x="12201" y="2797"/>
                </a:cubicBezTo>
                <a:cubicBezTo>
                  <a:pt x="12200" y="2799"/>
                  <a:pt x="12199" y="2799"/>
                  <a:pt x="12199" y="2799"/>
                </a:cubicBezTo>
                <a:cubicBezTo>
                  <a:pt x="12184" y="2832"/>
                  <a:pt x="12151" y="2909"/>
                  <a:pt x="12134" y="2948"/>
                </a:cubicBezTo>
                <a:cubicBezTo>
                  <a:pt x="12158" y="2960"/>
                  <a:pt x="12181" y="2975"/>
                  <a:pt x="12203" y="2995"/>
                </a:cubicBezTo>
                <a:cubicBezTo>
                  <a:pt x="12206" y="2998"/>
                  <a:pt x="12206" y="2998"/>
                  <a:pt x="12206" y="2998"/>
                </a:cubicBezTo>
                <a:cubicBezTo>
                  <a:pt x="12602" y="3600"/>
                  <a:pt x="12602" y="3600"/>
                  <a:pt x="12602" y="3600"/>
                </a:cubicBezTo>
                <a:cubicBezTo>
                  <a:pt x="12524" y="3600"/>
                  <a:pt x="12524" y="3600"/>
                  <a:pt x="12524" y="3600"/>
                </a:cubicBezTo>
                <a:cubicBezTo>
                  <a:pt x="12156" y="3040"/>
                  <a:pt x="12156" y="3040"/>
                  <a:pt x="12156" y="3040"/>
                </a:cubicBezTo>
                <a:cubicBezTo>
                  <a:pt x="12088" y="2979"/>
                  <a:pt x="11984" y="2972"/>
                  <a:pt x="11957" y="2973"/>
                </a:cubicBezTo>
                <a:cubicBezTo>
                  <a:pt x="11953" y="2973"/>
                  <a:pt x="11952" y="2973"/>
                  <a:pt x="11952" y="2973"/>
                </a:cubicBezTo>
                <a:cubicBezTo>
                  <a:pt x="11951" y="2973"/>
                  <a:pt x="11951" y="2973"/>
                  <a:pt x="11951" y="2973"/>
                </a:cubicBezTo>
                <a:cubicBezTo>
                  <a:pt x="11951" y="2973"/>
                  <a:pt x="11951" y="2973"/>
                  <a:pt x="11951" y="2973"/>
                </a:cubicBezTo>
                <a:cubicBezTo>
                  <a:pt x="11951" y="2973"/>
                  <a:pt x="10570" y="3003"/>
                  <a:pt x="10382" y="3007"/>
                </a:cubicBezTo>
                <a:cubicBezTo>
                  <a:pt x="10426" y="3179"/>
                  <a:pt x="10467" y="3350"/>
                  <a:pt x="10500" y="3486"/>
                </a:cubicBezTo>
                <a:cubicBezTo>
                  <a:pt x="10510" y="3528"/>
                  <a:pt x="10519" y="3566"/>
                  <a:pt x="10527" y="3600"/>
                </a:cubicBezTo>
                <a:cubicBezTo>
                  <a:pt x="10460" y="3600"/>
                  <a:pt x="10460" y="3600"/>
                  <a:pt x="10460" y="3600"/>
                </a:cubicBezTo>
                <a:cubicBezTo>
                  <a:pt x="10422" y="3444"/>
                  <a:pt x="10366" y="3207"/>
                  <a:pt x="10307" y="2976"/>
                </a:cubicBezTo>
                <a:cubicBezTo>
                  <a:pt x="10268" y="2824"/>
                  <a:pt x="10229" y="2673"/>
                  <a:pt x="10196" y="2553"/>
                </a:cubicBezTo>
                <a:cubicBezTo>
                  <a:pt x="10080" y="2588"/>
                  <a:pt x="9937" y="2630"/>
                  <a:pt x="9777" y="2675"/>
                </a:cubicBezTo>
                <a:cubicBezTo>
                  <a:pt x="9326" y="2803"/>
                  <a:pt x="8745" y="2961"/>
                  <a:pt x="8269" y="3090"/>
                </a:cubicBezTo>
                <a:cubicBezTo>
                  <a:pt x="8031" y="3154"/>
                  <a:pt x="7819" y="3211"/>
                  <a:pt x="7663" y="3254"/>
                </a:cubicBezTo>
                <a:cubicBezTo>
                  <a:pt x="7585" y="3275"/>
                  <a:pt x="7521" y="3293"/>
                  <a:pt x="7475" y="3306"/>
                </a:cubicBezTo>
                <a:cubicBezTo>
                  <a:pt x="7452" y="3312"/>
                  <a:pt x="7434" y="3317"/>
                  <a:pt x="7421" y="3321"/>
                </a:cubicBezTo>
                <a:cubicBezTo>
                  <a:pt x="7414" y="3323"/>
                  <a:pt x="7409" y="3325"/>
                  <a:pt x="7405" y="3326"/>
                </a:cubicBezTo>
                <a:cubicBezTo>
                  <a:pt x="7403" y="3327"/>
                  <a:pt x="7402" y="3327"/>
                  <a:pt x="7401" y="3327"/>
                </a:cubicBezTo>
                <a:cubicBezTo>
                  <a:pt x="7384" y="3335"/>
                  <a:pt x="7366" y="3340"/>
                  <a:pt x="7343" y="3346"/>
                </a:cubicBezTo>
                <a:cubicBezTo>
                  <a:pt x="7304" y="3357"/>
                  <a:pt x="7252" y="3371"/>
                  <a:pt x="7195" y="3391"/>
                </a:cubicBezTo>
                <a:cubicBezTo>
                  <a:pt x="7278" y="3600"/>
                  <a:pt x="7278" y="3600"/>
                  <a:pt x="7278" y="3600"/>
                </a:cubicBezTo>
                <a:cubicBezTo>
                  <a:pt x="7114" y="3600"/>
                  <a:pt x="7114" y="3600"/>
                  <a:pt x="7114" y="3600"/>
                </a:cubicBezTo>
                <a:cubicBezTo>
                  <a:pt x="7055" y="3452"/>
                  <a:pt x="7055" y="3452"/>
                  <a:pt x="7055" y="3452"/>
                </a:cubicBezTo>
                <a:cubicBezTo>
                  <a:pt x="7045" y="3457"/>
                  <a:pt x="7035" y="3462"/>
                  <a:pt x="7026" y="3467"/>
                </a:cubicBezTo>
                <a:cubicBezTo>
                  <a:pt x="6965" y="3504"/>
                  <a:pt x="6912" y="3547"/>
                  <a:pt x="6872" y="3600"/>
                </a:cubicBezTo>
                <a:cubicBezTo>
                  <a:pt x="6852" y="3600"/>
                  <a:pt x="6852" y="3600"/>
                  <a:pt x="6852" y="3600"/>
                </a:cubicBezTo>
                <a:cubicBezTo>
                  <a:pt x="6894" y="3540"/>
                  <a:pt x="6952" y="3492"/>
                  <a:pt x="7018" y="3453"/>
                </a:cubicBezTo>
                <a:cubicBezTo>
                  <a:pt x="7028" y="3447"/>
                  <a:pt x="7038" y="3442"/>
                  <a:pt x="7049" y="3436"/>
                </a:cubicBezTo>
                <a:cubicBezTo>
                  <a:pt x="7034" y="3399"/>
                  <a:pt x="7034" y="3399"/>
                  <a:pt x="7034" y="3399"/>
                </a:cubicBezTo>
                <a:cubicBezTo>
                  <a:pt x="7034" y="3400"/>
                  <a:pt x="7033" y="3396"/>
                  <a:pt x="7030" y="3390"/>
                </a:cubicBezTo>
                <a:cubicBezTo>
                  <a:pt x="7024" y="3377"/>
                  <a:pt x="7014" y="3353"/>
                  <a:pt x="6999" y="3323"/>
                </a:cubicBezTo>
                <a:cubicBezTo>
                  <a:pt x="6927" y="3360"/>
                  <a:pt x="6855" y="3408"/>
                  <a:pt x="6795" y="3474"/>
                </a:cubicBezTo>
                <a:cubicBezTo>
                  <a:pt x="6762" y="3510"/>
                  <a:pt x="6732" y="3552"/>
                  <a:pt x="6710" y="3600"/>
                </a:cubicBezTo>
                <a:cubicBezTo>
                  <a:pt x="6692" y="3600"/>
                  <a:pt x="6692" y="3600"/>
                  <a:pt x="6692" y="3600"/>
                </a:cubicBezTo>
                <a:cubicBezTo>
                  <a:pt x="6716" y="3548"/>
                  <a:pt x="6747" y="3502"/>
                  <a:pt x="6783" y="3462"/>
                </a:cubicBezTo>
                <a:cubicBezTo>
                  <a:pt x="6845" y="3395"/>
                  <a:pt x="6919" y="3346"/>
                  <a:pt x="6992" y="3308"/>
                </a:cubicBezTo>
                <a:cubicBezTo>
                  <a:pt x="6982" y="3287"/>
                  <a:pt x="6970" y="3264"/>
                  <a:pt x="6956" y="3240"/>
                </a:cubicBezTo>
                <a:cubicBezTo>
                  <a:pt x="6922" y="3176"/>
                  <a:pt x="6875" y="3111"/>
                  <a:pt x="6843" y="3087"/>
                </a:cubicBezTo>
                <a:cubicBezTo>
                  <a:pt x="6752" y="3016"/>
                  <a:pt x="6631" y="2994"/>
                  <a:pt x="6519" y="2969"/>
                </a:cubicBezTo>
                <a:cubicBezTo>
                  <a:pt x="6408" y="2944"/>
                  <a:pt x="5846" y="2800"/>
                  <a:pt x="5667" y="2747"/>
                </a:cubicBezTo>
                <a:cubicBezTo>
                  <a:pt x="5579" y="2721"/>
                  <a:pt x="5401" y="2668"/>
                  <a:pt x="5245" y="2621"/>
                </a:cubicBezTo>
                <a:cubicBezTo>
                  <a:pt x="5145" y="2592"/>
                  <a:pt x="5054" y="2565"/>
                  <a:pt x="5001" y="2549"/>
                </a:cubicBezTo>
                <a:cubicBezTo>
                  <a:pt x="4966" y="2676"/>
                  <a:pt x="4877" y="2949"/>
                  <a:pt x="4863" y="2991"/>
                </a:cubicBezTo>
                <a:cubicBezTo>
                  <a:pt x="4872" y="3370"/>
                  <a:pt x="4872" y="3370"/>
                  <a:pt x="4872" y="3370"/>
                </a:cubicBezTo>
                <a:cubicBezTo>
                  <a:pt x="4773" y="3600"/>
                  <a:pt x="4773" y="3600"/>
                  <a:pt x="4773" y="3600"/>
                </a:cubicBezTo>
                <a:cubicBezTo>
                  <a:pt x="4701" y="3600"/>
                  <a:pt x="4701" y="3600"/>
                  <a:pt x="4701" y="3600"/>
                </a:cubicBezTo>
                <a:cubicBezTo>
                  <a:pt x="4806" y="3357"/>
                  <a:pt x="4806" y="3357"/>
                  <a:pt x="4806" y="3357"/>
                </a:cubicBezTo>
                <a:cubicBezTo>
                  <a:pt x="4798" y="2982"/>
                  <a:pt x="4798" y="2982"/>
                  <a:pt x="4798" y="2982"/>
                </a:cubicBezTo>
                <a:cubicBezTo>
                  <a:pt x="4799" y="2976"/>
                  <a:pt x="4799" y="2976"/>
                  <a:pt x="4799" y="2976"/>
                </a:cubicBezTo>
                <a:cubicBezTo>
                  <a:pt x="4799" y="2976"/>
                  <a:pt x="4838" y="2858"/>
                  <a:pt x="4876" y="2735"/>
                </a:cubicBezTo>
                <a:cubicBezTo>
                  <a:pt x="4896" y="2674"/>
                  <a:pt x="4915" y="2612"/>
                  <a:pt x="4929" y="2563"/>
                </a:cubicBezTo>
                <a:cubicBezTo>
                  <a:pt x="4933" y="2551"/>
                  <a:pt x="4936" y="2539"/>
                  <a:pt x="4939" y="2529"/>
                </a:cubicBezTo>
                <a:cubicBezTo>
                  <a:pt x="4084" y="2175"/>
                  <a:pt x="4084" y="2175"/>
                  <a:pt x="4084" y="2175"/>
                </a:cubicBezTo>
                <a:cubicBezTo>
                  <a:pt x="4076" y="2169"/>
                  <a:pt x="4076" y="2169"/>
                  <a:pt x="4076" y="2169"/>
                </a:cubicBezTo>
                <a:cubicBezTo>
                  <a:pt x="4076" y="2169"/>
                  <a:pt x="4072" y="2166"/>
                  <a:pt x="4063" y="2160"/>
                </a:cubicBezTo>
                <a:cubicBezTo>
                  <a:pt x="4005" y="2117"/>
                  <a:pt x="3746" y="1936"/>
                  <a:pt x="3517" y="1861"/>
                </a:cubicBezTo>
                <a:cubicBezTo>
                  <a:pt x="3463" y="1843"/>
                  <a:pt x="3389" y="1818"/>
                  <a:pt x="3307" y="1790"/>
                </a:cubicBezTo>
                <a:cubicBezTo>
                  <a:pt x="2889" y="3080"/>
                  <a:pt x="2889" y="3080"/>
                  <a:pt x="2889" y="3080"/>
                </a:cubicBezTo>
                <a:cubicBezTo>
                  <a:pt x="2951" y="3105"/>
                  <a:pt x="3032" y="3140"/>
                  <a:pt x="3124" y="3180"/>
                </a:cubicBezTo>
                <a:cubicBezTo>
                  <a:pt x="3274" y="3246"/>
                  <a:pt x="3452" y="3322"/>
                  <a:pt x="3610" y="3381"/>
                </a:cubicBezTo>
                <a:cubicBezTo>
                  <a:pt x="3840" y="3466"/>
                  <a:pt x="4058" y="3544"/>
                  <a:pt x="4237" y="3600"/>
                </a:cubicBezTo>
                <a:cubicBezTo>
                  <a:pt x="4028" y="3600"/>
                  <a:pt x="4028" y="3600"/>
                  <a:pt x="4028" y="3600"/>
                </a:cubicBezTo>
                <a:cubicBezTo>
                  <a:pt x="4003" y="3591"/>
                  <a:pt x="3977" y="3583"/>
                  <a:pt x="3950" y="3573"/>
                </a:cubicBezTo>
                <a:cubicBezTo>
                  <a:pt x="3947" y="3580"/>
                  <a:pt x="3943" y="3590"/>
                  <a:pt x="3938" y="3600"/>
                </a:cubicBezTo>
                <a:cubicBezTo>
                  <a:pt x="3866" y="3600"/>
                  <a:pt x="3866" y="3600"/>
                  <a:pt x="3866" y="3600"/>
                </a:cubicBezTo>
                <a:cubicBezTo>
                  <a:pt x="3868" y="3595"/>
                  <a:pt x="3871" y="3589"/>
                  <a:pt x="3873" y="3585"/>
                </a:cubicBezTo>
                <a:cubicBezTo>
                  <a:pt x="3879" y="3572"/>
                  <a:pt x="3884" y="3561"/>
                  <a:pt x="3888" y="3551"/>
                </a:cubicBezTo>
                <a:cubicBezTo>
                  <a:pt x="3792" y="3517"/>
                  <a:pt x="3691" y="3481"/>
                  <a:pt x="3588" y="3442"/>
                </a:cubicBezTo>
                <a:cubicBezTo>
                  <a:pt x="3426" y="3383"/>
                  <a:pt x="3248" y="3306"/>
                  <a:pt x="3098" y="3240"/>
                </a:cubicBezTo>
                <a:cubicBezTo>
                  <a:pt x="2949" y="3175"/>
                  <a:pt x="2824" y="3121"/>
                  <a:pt x="2780" y="3110"/>
                </a:cubicBezTo>
                <a:cubicBezTo>
                  <a:pt x="2739" y="3099"/>
                  <a:pt x="2678" y="3085"/>
                  <a:pt x="2606" y="3085"/>
                </a:cubicBezTo>
                <a:cubicBezTo>
                  <a:pt x="2507" y="3086"/>
                  <a:pt x="2387" y="3112"/>
                  <a:pt x="2266" y="3213"/>
                </a:cubicBezTo>
                <a:cubicBezTo>
                  <a:pt x="2194" y="3273"/>
                  <a:pt x="2079" y="3405"/>
                  <a:pt x="1923" y="3574"/>
                </a:cubicBezTo>
                <a:cubicBezTo>
                  <a:pt x="1915" y="3583"/>
                  <a:pt x="1906" y="3591"/>
                  <a:pt x="1898" y="3600"/>
                </a:cubicBezTo>
                <a:cubicBezTo>
                  <a:pt x="1809" y="3600"/>
                  <a:pt x="1809" y="3600"/>
                  <a:pt x="1809" y="3600"/>
                </a:cubicBezTo>
                <a:cubicBezTo>
                  <a:pt x="1831" y="3576"/>
                  <a:pt x="1853" y="3553"/>
                  <a:pt x="1874" y="3530"/>
                </a:cubicBezTo>
                <a:cubicBezTo>
                  <a:pt x="2031" y="3360"/>
                  <a:pt x="2144" y="3230"/>
                  <a:pt x="2224" y="3163"/>
                </a:cubicBezTo>
                <a:cubicBezTo>
                  <a:pt x="2357" y="3051"/>
                  <a:pt x="2495" y="3019"/>
                  <a:pt x="2606" y="3020"/>
                </a:cubicBezTo>
                <a:cubicBezTo>
                  <a:pt x="2686" y="3020"/>
                  <a:pt x="2753" y="3035"/>
                  <a:pt x="2796" y="3047"/>
                </a:cubicBezTo>
                <a:cubicBezTo>
                  <a:pt x="2805" y="3049"/>
                  <a:pt x="2816" y="3053"/>
                  <a:pt x="2828" y="3057"/>
                </a:cubicBezTo>
                <a:cubicBezTo>
                  <a:pt x="3245" y="1768"/>
                  <a:pt x="3245" y="1768"/>
                  <a:pt x="3245" y="1768"/>
                </a:cubicBezTo>
                <a:cubicBezTo>
                  <a:pt x="2906" y="1650"/>
                  <a:pt x="2454" y="1487"/>
                  <a:pt x="2409" y="1470"/>
                </a:cubicBezTo>
                <a:cubicBezTo>
                  <a:pt x="2379" y="1459"/>
                  <a:pt x="2336" y="1443"/>
                  <a:pt x="2293" y="1417"/>
                </a:cubicBezTo>
                <a:cubicBezTo>
                  <a:pt x="2269" y="1403"/>
                  <a:pt x="2244" y="1384"/>
                  <a:pt x="2221" y="1361"/>
                </a:cubicBezTo>
                <a:cubicBezTo>
                  <a:pt x="2218" y="1363"/>
                  <a:pt x="2215" y="1366"/>
                  <a:pt x="2210" y="1369"/>
                </a:cubicBezTo>
                <a:cubicBezTo>
                  <a:pt x="2122" y="1442"/>
                  <a:pt x="1806" y="1714"/>
                  <a:pt x="1512" y="1968"/>
                </a:cubicBezTo>
                <a:cubicBezTo>
                  <a:pt x="1366" y="2096"/>
                  <a:pt x="1224" y="2218"/>
                  <a:pt x="1120" y="2309"/>
                </a:cubicBezTo>
                <a:cubicBezTo>
                  <a:pt x="1023" y="2392"/>
                  <a:pt x="959" y="2449"/>
                  <a:pt x="948" y="2458"/>
                </a:cubicBezTo>
                <a:cubicBezTo>
                  <a:pt x="244" y="3211"/>
                  <a:pt x="244" y="3211"/>
                  <a:pt x="244" y="3211"/>
                </a:cubicBezTo>
                <a:cubicBezTo>
                  <a:pt x="290" y="3272"/>
                  <a:pt x="411" y="3430"/>
                  <a:pt x="542" y="3600"/>
                </a:cubicBezTo>
                <a:cubicBezTo>
                  <a:pt x="459" y="3600"/>
                  <a:pt x="459" y="3600"/>
                  <a:pt x="459" y="3600"/>
                </a:cubicBezTo>
                <a:cubicBezTo>
                  <a:pt x="346" y="3454"/>
                  <a:pt x="245" y="3321"/>
                  <a:pt x="198" y="3260"/>
                </a:cubicBezTo>
                <a:cubicBezTo>
                  <a:pt x="0" y="3473"/>
                  <a:pt x="0" y="3473"/>
                  <a:pt x="0" y="3473"/>
                </a:cubicBezTo>
                <a:cubicBezTo>
                  <a:pt x="0" y="3377"/>
                  <a:pt x="0" y="3377"/>
                  <a:pt x="0" y="3377"/>
                </a:cubicBezTo>
                <a:cubicBezTo>
                  <a:pt x="889" y="2425"/>
                  <a:pt x="889" y="2425"/>
                  <a:pt x="889" y="2425"/>
                </a:cubicBezTo>
                <a:cubicBezTo>
                  <a:pt x="459" y="2093"/>
                  <a:pt x="459" y="2093"/>
                  <a:pt x="459" y="2093"/>
                </a:cubicBezTo>
                <a:cubicBezTo>
                  <a:pt x="456" y="2089"/>
                  <a:pt x="456" y="2089"/>
                  <a:pt x="456" y="2089"/>
                </a:cubicBezTo>
                <a:cubicBezTo>
                  <a:pt x="455" y="2088"/>
                  <a:pt x="391" y="1999"/>
                  <a:pt x="358" y="1899"/>
                </a:cubicBezTo>
                <a:cubicBezTo>
                  <a:pt x="349" y="1891"/>
                  <a:pt x="324" y="1869"/>
                  <a:pt x="290" y="1841"/>
                </a:cubicBezTo>
                <a:cubicBezTo>
                  <a:pt x="224" y="1785"/>
                  <a:pt x="121" y="1700"/>
                  <a:pt x="0" y="1601"/>
                </a:cubicBezTo>
                <a:cubicBezTo>
                  <a:pt x="0" y="1516"/>
                  <a:pt x="0" y="1516"/>
                  <a:pt x="0" y="1516"/>
                </a:cubicBezTo>
                <a:cubicBezTo>
                  <a:pt x="67" y="1571"/>
                  <a:pt x="131" y="1623"/>
                  <a:pt x="187" y="1669"/>
                </a:cubicBezTo>
                <a:cubicBezTo>
                  <a:pt x="252" y="1723"/>
                  <a:pt x="307" y="1769"/>
                  <a:pt x="345" y="1802"/>
                </a:cubicBezTo>
                <a:cubicBezTo>
                  <a:pt x="365" y="1818"/>
                  <a:pt x="380" y="1831"/>
                  <a:pt x="391" y="1841"/>
                </a:cubicBezTo>
                <a:cubicBezTo>
                  <a:pt x="397" y="1846"/>
                  <a:pt x="401" y="1850"/>
                  <a:pt x="404" y="1853"/>
                </a:cubicBezTo>
                <a:cubicBezTo>
                  <a:pt x="406" y="1855"/>
                  <a:pt x="408" y="1856"/>
                  <a:pt x="409" y="1858"/>
                </a:cubicBezTo>
                <a:cubicBezTo>
                  <a:pt x="411" y="1861"/>
                  <a:pt x="412" y="1860"/>
                  <a:pt x="417" y="1870"/>
                </a:cubicBezTo>
                <a:cubicBezTo>
                  <a:pt x="417" y="1871"/>
                  <a:pt x="417" y="1871"/>
                  <a:pt x="417" y="1871"/>
                </a:cubicBezTo>
                <a:cubicBezTo>
                  <a:pt x="418" y="1872"/>
                  <a:pt x="418" y="1872"/>
                  <a:pt x="418" y="1872"/>
                </a:cubicBezTo>
                <a:cubicBezTo>
                  <a:pt x="432" y="1917"/>
                  <a:pt x="455" y="1962"/>
                  <a:pt x="475" y="1996"/>
                </a:cubicBezTo>
                <a:cubicBezTo>
                  <a:pt x="484" y="2013"/>
                  <a:pt x="493" y="2027"/>
                  <a:pt x="500" y="2037"/>
                </a:cubicBezTo>
                <a:cubicBezTo>
                  <a:pt x="503" y="2041"/>
                  <a:pt x="505" y="2045"/>
                  <a:pt x="507" y="2048"/>
                </a:cubicBezTo>
                <a:cubicBezTo>
                  <a:pt x="938" y="2380"/>
                  <a:pt x="938" y="2380"/>
                  <a:pt x="938" y="2380"/>
                </a:cubicBezTo>
                <a:cubicBezTo>
                  <a:pt x="1027" y="2302"/>
                  <a:pt x="1285" y="2079"/>
                  <a:pt x="1543" y="1855"/>
                </a:cubicBezTo>
                <a:cubicBezTo>
                  <a:pt x="1704" y="1716"/>
                  <a:pt x="1864" y="1578"/>
                  <a:pt x="1986" y="1474"/>
                </a:cubicBezTo>
                <a:cubicBezTo>
                  <a:pt x="2047" y="1422"/>
                  <a:pt x="2098" y="1378"/>
                  <a:pt x="2134" y="1348"/>
                </a:cubicBezTo>
                <a:cubicBezTo>
                  <a:pt x="2152" y="1333"/>
                  <a:pt x="2166" y="1321"/>
                  <a:pt x="2177" y="1312"/>
                </a:cubicBezTo>
                <a:cubicBezTo>
                  <a:pt x="2179" y="1310"/>
                  <a:pt x="2181" y="1309"/>
                  <a:pt x="2183" y="1308"/>
                </a:cubicBezTo>
                <a:cubicBezTo>
                  <a:pt x="2181" y="1304"/>
                  <a:pt x="2178" y="1301"/>
                  <a:pt x="2176" y="1297"/>
                </a:cubicBezTo>
                <a:cubicBezTo>
                  <a:pt x="2152" y="1246"/>
                  <a:pt x="2136" y="1180"/>
                  <a:pt x="2123" y="1123"/>
                </a:cubicBezTo>
                <a:cubicBezTo>
                  <a:pt x="2111" y="1071"/>
                  <a:pt x="2104" y="1029"/>
                  <a:pt x="2102" y="1020"/>
                </a:cubicBezTo>
                <a:cubicBezTo>
                  <a:pt x="1893" y="0"/>
                  <a:pt x="1893" y="0"/>
                  <a:pt x="1893" y="0"/>
                </a:cubicBezTo>
                <a:cubicBezTo>
                  <a:pt x="2049" y="0"/>
                  <a:pt x="2049" y="0"/>
                  <a:pt x="2049" y="0"/>
                </a:cubicBezTo>
                <a:cubicBezTo>
                  <a:pt x="2252" y="991"/>
                  <a:pt x="2252" y="991"/>
                  <a:pt x="2252" y="991"/>
                </a:cubicBezTo>
                <a:cubicBezTo>
                  <a:pt x="2253" y="993"/>
                  <a:pt x="2253" y="993"/>
                  <a:pt x="2253" y="993"/>
                </a:cubicBezTo>
                <a:cubicBezTo>
                  <a:pt x="2253" y="993"/>
                  <a:pt x="2254" y="1003"/>
                  <a:pt x="2258" y="1021"/>
                </a:cubicBezTo>
                <a:cubicBezTo>
                  <a:pt x="2263" y="1047"/>
                  <a:pt x="2271" y="1089"/>
                  <a:pt x="2281" y="1130"/>
                </a:cubicBezTo>
                <a:cubicBezTo>
                  <a:pt x="2291" y="1170"/>
                  <a:pt x="2304" y="1212"/>
                  <a:pt x="2314" y="1231"/>
                </a:cubicBezTo>
                <a:cubicBezTo>
                  <a:pt x="2323" y="1250"/>
                  <a:pt x="2343" y="1270"/>
                  <a:pt x="2371" y="1287"/>
                </a:cubicBezTo>
                <a:cubicBezTo>
                  <a:pt x="2400" y="1304"/>
                  <a:pt x="2433" y="1317"/>
                  <a:pt x="2462" y="1327"/>
                </a:cubicBezTo>
                <a:cubicBezTo>
                  <a:pt x="2519" y="1348"/>
                  <a:pt x="3288" y="1625"/>
                  <a:pt x="3565" y="1717"/>
                </a:cubicBezTo>
                <a:cubicBezTo>
                  <a:pt x="3586" y="1724"/>
                  <a:pt x="3606" y="1731"/>
                  <a:pt x="3627" y="1739"/>
                </a:cubicBezTo>
                <a:cubicBezTo>
                  <a:pt x="3694" y="1405"/>
                  <a:pt x="3694" y="1405"/>
                  <a:pt x="3694" y="1405"/>
                </a:cubicBezTo>
                <a:cubicBezTo>
                  <a:pt x="3696" y="1401"/>
                  <a:pt x="3696" y="1401"/>
                  <a:pt x="3696" y="1401"/>
                </a:cubicBezTo>
                <a:cubicBezTo>
                  <a:pt x="3696" y="1400"/>
                  <a:pt x="3724" y="1348"/>
                  <a:pt x="3766" y="1279"/>
                </a:cubicBezTo>
                <a:cubicBezTo>
                  <a:pt x="3784" y="1249"/>
                  <a:pt x="3803" y="1199"/>
                  <a:pt x="3816" y="1157"/>
                </a:cubicBezTo>
                <a:cubicBezTo>
                  <a:pt x="3829" y="1115"/>
                  <a:pt x="3838" y="1082"/>
                  <a:pt x="3838" y="1082"/>
                </a:cubicBezTo>
                <a:cubicBezTo>
                  <a:pt x="3838" y="1078"/>
                  <a:pt x="3838" y="1078"/>
                  <a:pt x="3838" y="1078"/>
                </a:cubicBezTo>
                <a:cubicBezTo>
                  <a:pt x="4077" y="616"/>
                  <a:pt x="4077" y="616"/>
                  <a:pt x="4077" y="616"/>
                </a:cubicBezTo>
                <a:cubicBezTo>
                  <a:pt x="4053" y="59"/>
                  <a:pt x="4053" y="59"/>
                  <a:pt x="4053" y="59"/>
                </a:cubicBezTo>
                <a:cubicBezTo>
                  <a:pt x="4001" y="0"/>
                  <a:pt x="4001" y="0"/>
                  <a:pt x="4001" y="0"/>
                </a:cubicBezTo>
                <a:cubicBezTo>
                  <a:pt x="4089" y="0"/>
                  <a:pt x="4089" y="0"/>
                  <a:pt x="4089" y="0"/>
                </a:cubicBezTo>
                <a:cubicBezTo>
                  <a:pt x="4100" y="13"/>
                  <a:pt x="4100" y="13"/>
                  <a:pt x="4100" y="13"/>
                </a:cubicBezTo>
                <a:cubicBezTo>
                  <a:pt x="4168" y="10"/>
                  <a:pt x="4229" y="5"/>
                  <a:pt x="4286" y="0"/>
                </a:cubicBezTo>
                <a:cubicBezTo>
                  <a:pt x="4686" y="0"/>
                  <a:pt x="4686" y="0"/>
                  <a:pt x="4686" y="0"/>
                </a:cubicBezTo>
                <a:cubicBezTo>
                  <a:pt x="4603" y="23"/>
                  <a:pt x="4417" y="64"/>
                  <a:pt x="4120" y="78"/>
                </a:cubicBezTo>
                <a:cubicBezTo>
                  <a:pt x="4141" y="594"/>
                  <a:pt x="4141" y="594"/>
                  <a:pt x="4141" y="594"/>
                </a:cubicBezTo>
                <a:cubicBezTo>
                  <a:pt x="4146" y="596"/>
                  <a:pt x="4155" y="601"/>
                  <a:pt x="4167" y="607"/>
                </a:cubicBezTo>
                <a:cubicBezTo>
                  <a:pt x="4231" y="639"/>
                  <a:pt x="4386" y="710"/>
                  <a:pt x="4600" y="774"/>
                </a:cubicBezTo>
                <a:cubicBezTo>
                  <a:pt x="4757" y="821"/>
                  <a:pt x="4918" y="869"/>
                  <a:pt x="5050" y="903"/>
                </a:cubicBezTo>
                <a:cubicBezTo>
                  <a:pt x="5057" y="880"/>
                  <a:pt x="5067" y="844"/>
                  <a:pt x="5077" y="805"/>
                </a:cubicBezTo>
                <a:cubicBezTo>
                  <a:pt x="5095" y="740"/>
                  <a:pt x="5113" y="662"/>
                  <a:pt x="5114" y="635"/>
                </a:cubicBezTo>
                <a:cubicBezTo>
                  <a:pt x="5117" y="562"/>
                  <a:pt x="5134" y="532"/>
                  <a:pt x="5153" y="481"/>
                </a:cubicBezTo>
                <a:cubicBezTo>
                  <a:pt x="5161" y="463"/>
                  <a:pt x="5172" y="454"/>
                  <a:pt x="5187" y="440"/>
                </a:cubicBezTo>
                <a:cubicBezTo>
                  <a:pt x="5237" y="394"/>
                  <a:pt x="5340" y="326"/>
                  <a:pt x="5433" y="268"/>
                </a:cubicBezTo>
                <a:cubicBezTo>
                  <a:pt x="5480" y="239"/>
                  <a:pt x="5523" y="212"/>
                  <a:pt x="5555" y="193"/>
                </a:cubicBezTo>
                <a:cubicBezTo>
                  <a:pt x="5568" y="186"/>
                  <a:pt x="5579" y="179"/>
                  <a:pt x="5617" y="156"/>
                </a:cubicBezTo>
                <a:cubicBezTo>
                  <a:pt x="5652" y="212"/>
                  <a:pt x="5652" y="212"/>
                  <a:pt x="5652" y="212"/>
                </a:cubicBezTo>
                <a:cubicBezTo>
                  <a:pt x="5586" y="251"/>
                  <a:pt x="5498" y="304"/>
                  <a:pt x="5413" y="358"/>
                </a:cubicBezTo>
                <a:cubicBezTo>
                  <a:pt x="5363" y="391"/>
                  <a:pt x="5313" y="425"/>
                  <a:pt x="5275" y="453"/>
                </a:cubicBezTo>
                <a:cubicBezTo>
                  <a:pt x="5256" y="467"/>
                  <a:pt x="5240" y="480"/>
                  <a:pt x="5229" y="490"/>
                </a:cubicBezTo>
                <a:cubicBezTo>
                  <a:pt x="5224" y="495"/>
                  <a:pt x="5219" y="499"/>
                  <a:pt x="5217" y="502"/>
                </a:cubicBezTo>
                <a:cubicBezTo>
                  <a:pt x="5216" y="504"/>
                  <a:pt x="5215" y="505"/>
                  <a:pt x="5214" y="505"/>
                </a:cubicBezTo>
                <a:cubicBezTo>
                  <a:pt x="5193" y="563"/>
                  <a:pt x="5183" y="575"/>
                  <a:pt x="5179" y="638"/>
                </a:cubicBezTo>
                <a:cubicBezTo>
                  <a:pt x="5177" y="680"/>
                  <a:pt x="5158" y="754"/>
                  <a:pt x="5141" y="822"/>
                </a:cubicBezTo>
                <a:cubicBezTo>
                  <a:pt x="5131" y="861"/>
                  <a:pt x="5121" y="896"/>
                  <a:pt x="5114" y="920"/>
                </a:cubicBezTo>
                <a:cubicBezTo>
                  <a:pt x="5193" y="939"/>
                  <a:pt x="5258" y="952"/>
                  <a:pt x="5299" y="954"/>
                </a:cubicBezTo>
                <a:cubicBezTo>
                  <a:pt x="5311" y="955"/>
                  <a:pt x="5322" y="955"/>
                  <a:pt x="5333" y="955"/>
                </a:cubicBezTo>
                <a:cubicBezTo>
                  <a:pt x="5428" y="955"/>
                  <a:pt x="5482" y="931"/>
                  <a:pt x="5584" y="876"/>
                </a:cubicBezTo>
                <a:cubicBezTo>
                  <a:pt x="5696" y="814"/>
                  <a:pt x="5926" y="681"/>
                  <a:pt x="5926" y="681"/>
                </a:cubicBezTo>
                <a:cubicBezTo>
                  <a:pt x="5927" y="680"/>
                  <a:pt x="5927" y="680"/>
                  <a:pt x="5927" y="680"/>
                </a:cubicBezTo>
                <a:cubicBezTo>
                  <a:pt x="5928" y="680"/>
                  <a:pt x="5928" y="680"/>
                  <a:pt x="5928" y="680"/>
                </a:cubicBezTo>
                <a:cubicBezTo>
                  <a:pt x="5931" y="678"/>
                  <a:pt x="5983" y="652"/>
                  <a:pt x="6054" y="652"/>
                </a:cubicBezTo>
                <a:cubicBezTo>
                  <a:pt x="6128" y="651"/>
                  <a:pt x="6225" y="684"/>
                  <a:pt x="6290" y="798"/>
                </a:cubicBezTo>
                <a:cubicBezTo>
                  <a:pt x="6569" y="1301"/>
                  <a:pt x="6569" y="1301"/>
                  <a:pt x="6569" y="1301"/>
                </a:cubicBezTo>
                <a:cubicBezTo>
                  <a:pt x="6569" y="1301"/>
                  <a:pt x="6570" y="1304"/>
                  <a:pt x="6574" y="1310"/>
                </a:cubicBezTo>
                <a:cubicBezTo>
                  <a:pt x="6585" y="1327"/>
                  <a:pt x="6612" y="1369"/>
                  <a:pt x="6649" y="1407"/>
                </a:cubicBezTo>
                <a:cubicBezTo>
                  <a:pt x="6665" y="1423"/>
                  <a:pt x="6688" y="1438"/>
                  <a:pt x="6713" y="1455"/>
                </a:cubicBezTo>
                <a:cubicBezTo>
                  <a:pt x="6714" y="1447"/>
                  <a:pt x="6716" y="1440"/>
                  <a:pt x="6717" y="1432"/>
                </a:cubicBezTo>
                <a:cubicBezTo>
                  <a:pt x="6721" y="1413"/>
                  <a:pt x="6724" y="1393"/>
                  <a:pt x="6727" y="1377"/>
                </a:cubicBezTo>
                <a:cubicBezTo>
                  <a:pt x="6729" y="1368"/>
                  <a:pt x="6730" y="1359"/>
                  <a:pt x="6731" y="1354"/>
                </a:cubicBezTo>
                <a:cubicBezTo>
                  <a:pt x="6730" y="1351"/>
                  <a:pt x="6729" y="1349"/>
                  <a:pt x="6729" y="1347"/>
                </a:cubicBezTo>
                <a:cubicBezTo>
                  <a:pt x="6728" y="1344"/>
                  <a:pt x="6728" y="1341"/>
                  <a:pt x="6728" y="1338"/>
                </a:cubicBezTo>
                <a:cubicBezTo>
                  <a:pt x="6728" y="1323"/>
                  <a:pt x="6732" y="1306"/>
                  <a:pt x="6741" y="1287"/>
                </a:cubicBezTo>
                <a:cubicBezTo>
                  <a:pt x="6751" y="1269"/>
                  <a:pt x="6769" y="1248"/>
                  <a:pt x="6799" y="1243"/>
                </a:cubicBezTo>
                <a:cubicBezTo>
                  <a:pt x="6819" y="1240"/>
                  <a:pt x="6877" y="1229"/>
                  <a:pt x="6937" y="1217"/>
                </a:cubicBezTo>
                <a:cubicBezTo>
                  <a:pt x="6997" y="1205"/>
                  <a:pt x="7060" y="1190"/>
                  <a:pt x="7084" y="1180"/>
                </a:cubicBezTo>
                <a:cubicBezTo>
                  <a:pt x="7142" y="1157"/>
                  <a:pt x="7304" y="1121"/>
                  <a:pt x="7403" y="1109"/>
                </a:cubicBezTo>
                <a:cubicBezTo>
                  <a:pt x="7413" y="593"/>
                  <a:pt x="7413" y="593"/>
                  <a:pt x="7413" y="593"/>
                </a:cubicBezTo>
                <a:cubicBezTo>
                  <a:pt x="7251" y="275"/>
                  <a:pt x="7251" y="275"/>
                  <a:pt x="7251" y="275"/>
                </a:cubicBezTo>
                <a:cubicBezTo>
                  <a:pt x="7244" y="263"/>
                  <a:pt x="7174" y="146"/>
                  <a:pt x="7104" y="28"/>
                </a:cubicBezTo>
                <a:cubicBezTo>
                  <a:pt x="7099" y="19"/>
                  <a:pt x="7093" y="10"/>
                  <a:pt x="7088" y="0"/>
                </a:cubicBezTo>
                <a:cubicBezTo>
                  <a:pt x="7164" y="0"/>
                  <a:pt x="7164" y="0"/>
                  <a:pt x="7164" y="0"/>
                </a:cubicBezTo>
                <a:cubicBezTo>
                  <a:pt x="7237" y="122"/>
                  <a:pt x="7308" y="242"/>
                  <a:pt x="7308" y="242"/>
                </a:cubicBezTo>
                <a:cubicBezTo>
                  <a:pt x="7309" y="243"/>
                  <a:pt x="7309" y="243"/>
                  <a:pt x="7309" y="243"/>
                </a:cubicBezTo>
                <a:cubicBezTo>
                  <a:pt x="7479" y="578"/>
                  <a:pt x="7479" y="578"/>
                  <a:pt x="7479" y="578"/>
                </a:cubicBezTo>
                <a:cubicBezTo>
                  <a:pt x="7469" y="1105"/>
                  <a:pt x="7469" y="1105"/>
                  <a:pt x="7469" y="1105"/>
                </a:cubicBezTo>
                <a:cubicBezTo>
                  <a:pt x="7586" y="1105"/>
                  <a:pt x="7943" y="1126"/>
                  <a:pt x="8124" y="1133"/>
                </a:cubicBezTo>
                <a:cubicBezTo>
                  <a:pt x="8148" y="1134"/>
                  <a:pt x="8180" y="1134"/>
                  <a:pt x="8218" y="1134"/>
                </a:cubicBezTo>
                <a:cubicBezTo>
                  <a:pt x="8463" y="1134"/>
                  <a:pt x="8937" y="1119"/>
                  <a:pt x="9018" y="1119"/>
                </a:cubicBezTo>
                <a:cubicBezTo>
                  <a:pt x="9019" y="1119"/>
                  <a:pt x="9021" y="1119"/>
                  <a:pt x="9023" y="1119"/>
                </a:cubicBezTo>
                <a:cubicBezTo>
                  <a:pt x="9046" y="1105"/>
                  <a:pt x="9126" y="1049"/>
                  <a:pt x="9198" y="997"/>
                </a:cubicBezTo>
                <a:cubicBezTo>
                  <a:pt x="9237" y="970"/>
                  <a:pt x="9275" y="944"/>
                  <a:pt x="9303" y="924"/>
                </a:cubicBezTo>
                <a:cubicBezTo>
                  <a:pt x="9318" y="914"/>
                  <a:pt x="9330" y="906"/>
                  <a:pt x="9339" y="900"/>
                </a:cubicBezTo>
                <a:cubicBezTo>
                  <a:pt x="9343" y="897"/>
                  <a:pt x="9347" y="894"/>
                  <a:pt x="9351" y="892"/>
                </a:cubicBezTo>
                <a:cubicBezTo>
                  <a:pt x="9352" y="891"/>
                  <a:pt x="9354" y="890"/>
                  <a:pt x="9356" y="889"/>
                </a:cubicBezTo>
                <a:cubicBezTo>
                  <a:pt x="9359" y="889"/>
                  <a:pt x="9359" y="886"/>
                  <a:pt x="9372" y="885"/>
                </a:cubicBezTo>
                <a:cubicBezTo>
                  <a:pt x="9460" y="885"/>
                  <a:pt x="9460" y="885"/>
                  <a:pt x="9460" y="885"/>
                </a:cubicBezTo>
                <a:cubicBezTo>
                  <a:pt x="9458" y="793"/>
                  <a:pt x="9447" y="510"/>
                  <a:pt x="9436" y="242"/>
                </a:cubicBezTo>
                <a:cubicBezTo>
                  <a:pt x="9432" y="158"/>
                  <a:pt x="9429" y="75"/>
                  <a:pt x="9425" y="0"/>
                </a:cubicBezTo>
                <a:cubicBezTo>
                  <a:pt x="9491" y="0"/>
                  <a:pt x="9491" y="0"/>
                  <a:pt x="9491" y="0"/>
                </a:cubicBezTo>
                <a:cubicBezTo>
                  <a:pt x="9494" y="71"/>
                  <a:pt x="9497" y="149"/>
                  <a:pt x="9501" y="228"/>
                </a:cubicBezTo>
                <a:cubicBezTo>
                  <a:pt x="9656" y="225"/>
                  <a:pt x="9656" y="225"/>
                  <a:pt x="9656" y="225"/>
                </a:cubicBezTo>
                <a:cubicBezTo>
                  <a:pt x="9643" y="0"/>
                  <a:pt x="9643" y="0"/>
                  <a:pt x="9643" y="0"/>
                </a:cubicBezTo>
                <a:cubicBezTo>
                  <a:pt x="9657" y="0"/>
                  <a:pt x="9657" y="0"/>
                  <a:pt x="9657" y="0"/>
                </a:cubicBezTo>
                <a:cubicBezTo>
                  <a:pt x="9670" y="225"/>
                  <a:pt x="9670" y="225"/>
                  <a:pt x="9670" y="225"/>
                </a:cubicBezTo>
                <a:cubicBezTo>
                  <a:pt x="9859" y="220"/>
                  <a:pt x="9859" y="220"/>
                  <a:pt x="9859" y="220"/>
                </a:cubicBezTo>
                <a:cubicBezTo>
                  <a:pt x="9844" y="0"/>
                  <a:pt x="9844" y="0"/>
                  <a:pt x="9844" y="0"/>
                </a:cubicBezTo>
                <a:cubicBezTo>
                  <a:pt x="9858" y="0"/>
                  <a:pt x="9858" y="0"/>
                  <a:pt x="9858" y="0"/>
                </a:cubicBezTo>
                <a:cubicBezTo>
                  <a:pt x="9873" y="220"/>
                  <a:pt x="9873" y="220"/>
                  <a:pt x="9873" y="220"/>
                </a:cubicBezTo>
                <a:cubicBezTo>
                  <a:pt x="10254" y="212"/>
                  <a:pt x="10254" y="212"/>
                  <a:pt x="10254" y="212"/>
                </a:cubicBezTo>
                <a:cubicBezTo>
                  <a:pt x="10265" y="208"/>
                  <a:pt x="10378" y="167"/>
                  <a:pt x="10402" y="158"/>
                </a:cubicBezTo>
                <a:cubicBezTo>
                  <a:pt x="10377" y="0"/>
                  <a:pt x="10377" y="0"/>
                  <a:pt x="10377" y="0"/>
                </a:cubicBezTo>
                <a:cubicBezTo>
                  <a:pt x="10391" y="0"/>
                  <a:pt x="10391" y="0"/>
                  <a:pt x="10391" y="0"/>
                </a:cubicBezTo>
                <a:cubicBezTo>
                  <a:pt x="10416" y="156"/>
                  <a:pt x="10416" y="156"/>
                  <a:pt x="10416" y="156"/>
                </a:cubicBezTo>
                <a:cubicBezTo>
                  <a:pt x="10549" y="158"/>
                  <a:pt x="10549" y="158"/>
                  <a:pt x="10549" y="158"/>
                </a:cubicBezTo>
                <a:cubicBezTo>
                  <a:pt x="10540" y="0"/>
                  <a:pt x="10540" y="0"/>
                  <a:pt x="10540" y="0"/>
                </a:cubicBezTo>
                <a:cubicBezTo>
                  <a:pt x="10554" y="0"/>
                  <a:pt x="10554" y="0"/>
                  <a:pt x="10554" y="0"/>
                </a:cubicBezTo>
                <a:cubicBezTo>
                  <a:pt x="10563" y="158"/>
                  <a:pt x="10563" y="158"/>
                  <a:pt x="10563" y="158"/>
                </a:cubicBezTo>
                <a:cubicBezTo>
                  <a:pt x="10738" y="160"/>
                  <a:pt x="10738" y="160"/>
                  <a:pt x="10738" y="160"/>
                </a:cubicBezTo>
                <a:cubicBezTo>
                  <a:pt x="10726" y="0"/>
                  <a:pt x="10726" y="0"/>
                  <a:pt x="10726" y="0"/>
                </a:cubicBezTo>
                <a:cubicBezTo>
                  <a:pt x="10740" y="0"/>
                  <a:pt x="10740" y="0"/>
                  <a:pt x="10740" y="0"/>
                </a:cubicBezTo>
                <a:cubicBezTo>
                  <a:pt x="10752" y="161"/>
                  <a:pt x="10752" y="161"/>
                  <a:pt x="10752" y="161"/>
                </a:cubicBezTo>
                <a:cubicBezTo>
                  <a:pt x="10880" y="162"/>
                  <a:pt x="10880" y="162"/>
                  <a:pt x="10880" y="162"/>
                </a:cubicBezTo>
                <a:cubicBezTo>
                  <a:pt x="10869" y="0"/>
                  <a:pt x="10869" y="0"/>
                  <a:pt x="10869" y="0"/>
                </a:cubicBezTo>
                <a:cubicBezTo>
                  <a:pt x="10883" y="0"/>
                  <a:pt x="10883" y="0"/>
                  <a:pt x="10883" y="0"/>
                </a:cubicBezTo>
                <a:cubicBezTo>
                  <a:pt x="10894" y="163"/>
                  <a:pt x="10894" y="163"/>
                  <a:pt x="10894" y="163"/>
                </a:cubicBezTo>
                <a:cubicBezTo>
                  <a:pt x="11056" y="165"/>
                  <a:pt x="11056" y="165"/>
                  <a:pt x="11056" y="165"/>
                </a:cubicBezTo>
                <a:cubicBezTo>
                  <a:pt x="11047" y="0"/>
                  <a:pt x="11047" y="0"/>
                  <a:pt x="11047" y="0"/>
                </a:cubicBezTo>
                <a:cubicBezTo>
                  <a:pt x="11061" y="0"/>
                  <a:pt x="11061" y="0"/>
                  <a:pt x="11061" y="0"/>
                </a:cubicBezTo>
                <a:cubicBezTo>
                  <a:pt x="11070" y="165"/>
                  <a:pt x="11070" y="165"/>
                  <a:pt x="11070" y="165"/>
                </a:cubicBezTo>
                <a:cubicBezTo>
                  <a:pt x="11226" y="167"/>
                  <a:pt x="11226" y="167"/>
                  <a:pt x="11226" y="167"/>
                </a:cubicBezTo>
                <a:cubicBezTo>
                  <a:pt x="11226" y="108"/>
                  <a:pt x="11225" y="53"/>
                  <a:pt x="11224" y="0"/>
                </a:cubicBezTo>
                <a:cubicBezTo>
                  <a:pt x="11325" y="0"/>
                  <a:pt x="11325" y="0"/>
                  <a:pt x="11325" y="0"/>
                </a:cubicBezTo>
                <a:cubicBezTo>
                  <a:pt x="11289" y="4"/>
                  <a:pt x="11289" y="4"/>
                  <a:pt x="11289" y="4"/>
                </a:cubicBezTo>
                <a:cubicBezTo>
                  <a:pt x="11291" y="80"/>
                  <a:pt x="11292" y="163"/>
                  <a:pt x="11293" y="252"/>
                </a:cubicBezTo>
                <a:cubicBezTo>
                  <a:pt x="11294" y="492"/>
                  <a:pt x="11340" y="672"/>
                  <a:pt x="11385" y="793"/>
                </a:cubicBezTo>
                <a:cubicBezTo>
                  <a:pt x="11407" y="853"/>
                  <a:pt x="11429" y="898"/>
                  <a:pt x="11446" y="928"/>
                </a:cubicBezTo>
                <a:cubicBezTo>
                  <a:pt x="11447" y="931"/>
                  <a:pt x="11449" y="933"/>
                  <a:pt x="11450" y="936"/>
                </a:cubicBezTo>
                <a:cubicBezTo>
                  <a:pt x="11474" y="904"/>
                  <a:pt x="11509" y="863"/>
                  <a:pt x="11552" y="821"/>
                </a:cubicBezTo>
                <a:cubicBezTo>
                  <a:pt x="11601" y="774"/>
                  <a:pt x="11657" y="727"/>
                  <a:pt x="11720" y="699"/>
                </a:cubicBezTo>
                <a:cubicBezTo>
                  <a:pt x="11838" y="646"/>
                  <a:pt x="11959" y="646"/>
                  <a:pt x="12080" y="640"/>
                </a:cubicBezTo>
                <a:cubicBezTo>
                  <a:pt x="12146" y="638"/>
                  <a:pt x="12585" y="636"/>
                  <a:pt x="13028" y="634"/>
                </a:cubicBezTo>
                <a:cubicBezTo>
                  <a:pt x="13250" y="632"/>
                  <a:pt x="13471" y="631"/>
                  <a:pt x="13645" y="629"/>
                </a:cubicBezTo>
                <a:cubicBezTo>
                  <a:pt x="13650" y="629"/>
                  <a:pt x="13655" y="629"/>
                  <a:pt x="13661" y="629"/>
                </a:cubicBezTo>
                <a:cubicBezTo>
                  <a:pt x="13667" y="614"/>
                  <a:pt x="13678" y="583"/>
                  <a:pt x="13691" y="546"/>
                </a:cubicBezTo>
                <a:cubicBezTo>
                  <a:pt x="13733" y="424"/>
                  <a:pt x="13798" y="226"/>
                  <a:pt x="13818" y="165"/>
                </a:cubicBezTo>
                <a:cubicBezTo>
                  <a:pt x="13658" y="0"/>
                  <a:pt x="13658" y="0"/>
                  <a:pt x="13658" y="0"/>
                </a:cubicBezTo>
                <a:cubicBezTo>
                  <a:pt x="13750" y="0"/>
                  <a:pt x="13750" y="0"/>
                  <a:pt x="13750" y="0"/>
                </a:cubicBezTo>
                <a:cubicBezTo>
                  <a:pt x="13761" y="12"/>
                  <a:pt x="13761" y="12"/>
                  <a:pt x="13761" y="12"/>
                </a:cubicBezTo>
                <a:cubicBezTo>
                  <a:pt x="13891" y="143"/>
                  <a:pt x="13891" y="143"/>
                  <a:pt x="13891" y="143"/>
                </a:cubicBezTo>
                <a:cubicBezTo>
                  <a:pt x="13890" y="145"/>
                  <a:pt x="13890" y="145"/>
                  <a:pt x="13890" y="145"/>
                </a:cubicBezTo>
                <a:cubicBezTo>
                  <a:pt x="13892" y="148"/>
                  <a:pt x="13892" y="148"/>
                  <a:pt x="13892" y="148"/>
                </a:cubicBezTo>
                <a:cubicBezTo>
                  <a:pt x="13886" y="166"/>
                  <a:pt x="13886" y="166"/>
                  <a:pt x="13886" y="166"/>
                </a:cubicBezTo>
                <a:cubicBezTo>
                  <a:pt x="13886" y="166"/>
                  <a:pt x="13857" y="257"/>
                  <a:pt x="13823" y="361"/>
                </a:cubicBezTo>
                <a:cubicBezTo>
                  <a:pt x="13817" y="378"/>
                  <a:pt x="13812" y="395"/>
                  <a:pt x="13806" y="412"/>
                </a:cubicBezTo>
                <a:cubicBezTo>
                  <a:pt x="13785" y="477"/>
                  <a:pt x="13764" y="541"/>
                  <a:pt x="13747" y="589"/>
                </a:cubicBezTo>
                <a:cubicBezTo>
                  <a:pt x="13741" y="604"/>
                  <a:pt x="13737" y="617"/>
                  <a:pt x="13732" y="628"/>
                </a:cubicBezTo>
                <a:cubicBezTo>
                  <a:pt x="13860" y="627"/>
                  <a:pt x="13952" y="625"/>
                  <a:pt x="13972" y="623"/>
                </a:cubicBezTo>
                <a:cubicBezTo>
                  <a:pt x="14036" y="619"/>
                  <a:pt x="14117" y="612"/>
                  <a:pt x="14189" y="598"/>
                </a:cubicBezTo>
                <a:cubicBezTo>
                  <a:pt x="14262" y="585"/>
                  <a:pt x="14326" y="560"/>
                  <a:pt x="14347" y="539"/>
                </a:cubicBezTo>
                <a:cubicBezTo>
                  <a:pt x="14418" y="478"/>
                  <a:pt x="14477" y="365"/>
                  <a:pt x="14488" y="338"/>
                </a:cubicBezTo>
                <a:cubicBezTo>
                  <a:pt x="14493" y="328"/>
                  <a:pt x="14559" y="185"/>
                  <a:pt x="14645" y="0"/>
                </a:cubicBezTo>
                <a:cubicBezTo>
                  <a:pt x="14812" y="0"/>
                  <a:pt x="14812" y="0"/>
                  <a:pt x="14812" y="0"/>
                </a:cubicBezTo>
                <a:cubicBezTo>
                  <a:pt x="14713" y="216"/>
                  <a:pt x="14632" y="391"/>
                  <a:pt x="14627" y="402"/>
                </a:cubicBezTo>
                <a:cubicBezTo>
                  <a:pt x="14609" y="439"/>
                  <a:pt x="14550" y="563"/>
                  <a:pt x="14448" y="653"/>
                </a:cubicBezTo>
                <a:cubicBezTo>
                  <a:pt x="14384" y="708"/>
                  <a:pt x="14302" y="731"/>
                  <a:pt x="14218" y="748"/>
                </a:cubicBezTo>
                <a:cubicBezTo>
                  <a:pt x="14134" y="764"/>
                  <a:pt x="14048" y="770"/>
                  <a:pt x="13984" y="775"/>
                </a:cubicBezTo>
                <a:cubicBezTo>
                  <a:pt x="13945" y="778"/>
                  <a:pt x="13822" y="780"/>
                  <a:pt x="13646" y="782"/>
                </a:cubicBezTo>
                <a:cubicBezTo>
                  <a:pt x="13385" y="784"/>
                  <a:pt x="13017" y="786"/>
                  <a:pt x="12703" y="788"/>
                </a:cubicBezTo>
                <a:cubicBezTo>
                  <a:pt x="12644" y="788"/>
                  <a:pt x="12586" y="788"/>
                  <a:pt x="12531" y="789"/>
                </a:cubicBezTo>
                <a:cubicBezTo>
                  <a:pt x="12535" y="809"/>
                  <a:pt x="12541" y="838"/>
                  <a:pt x="12549" y="872"/>
                </a:cubicBezTo>
                <a:cubicBezTo>
                  <a:pt x="12652" y="868"/>
                  <a:pt x="12763" y="867"/>
                  <a:pt x="12880" y="867"/>
                </a:cubicBezTo>
                <a:cubicBezTo>
                  <a:pt x="13103" y="867"/>
                  <a:pt x="13347" y="871"/>
                  <a:pt x="13593" y="871"/>
                </a:cubicBezTo>
                <a:cubicBezTo>
                  <a:pt x="13615" y="871"/>
                  <a:pt x="13638" y="871"/>
                  <a:pt x="13661" y="871"/>
                </a:cubicBezTo>
                <a:cubicBezTo>
                  <a:pt x="13990" y="870"/>
                  <a:pt x="14197" y="848"/>
                  <a:pt x="14339" y="815"/>
                </a:cubicBezTo>
                <a:cubicBezTo>
                  <a:pt x="14480" y="782"/>
                  <a:pt x="14556" y="740"/>
                  <a:pt x="14638" y="687"/>
                </a:cubicBezTo>
                <a:cubicBezTo>
                  <a:pt x="14638" y="687"/>
                  <a:pt x="14638" y="686"/>
                  <a:pt x="14638" y="686"/>
                </a:cubicBezTo>
                <a:cubicBezTo>
                  <a:pt x="14639" y="686"/>
                  <a:pt x="14641" y="684"/>
                  <a:pt x="14643" y="682"/>
                </a:cubicBezTo>
                <a:cubicBezTo>
                  <a:pt x="14659" y="666"/>
                  <a:pt x="14692" y="623"/>
                  <a:pt x="14728" y="565"/>
                </a:cubicBezTo>
                <a:cubicBezTo>
                  <a:pt x="14811" y="434"/>
                  <a:pt x="14923" y="224"/>
                  <a:pt x="15037" y="0"/>
                </a:cubicBezTo>
                <a:cubicBezTo>
                  <a:pt x="15055" y="0"/>
                  <a:pt x="15055" y="0"/>
                  <a:pt x="15055" y="0"/>
                </a:cubicBezTo>
                <a:cubicBezTo>
                  <a:pt x="14940" y="227"/>
                  <a:pt x="14826" y="440"/>
                  <a:pt x="14742" y="573"/>
                </a:cubicBezTo>
                <a:cubicBezTo>
                  <a:pt x="14705" y="632"/>
                  <a:pt x="14673" y="676"/>
                  <a:pt x="14655" y="693"/>
                </a:cubicBezTo>
                <a:cubicBezTo>
                  <a:pt x="14653" y="695"/>
                  <a:pt x="14651" y="697"/>
                  <a:pt x="14649" y="698"/>
                </a:cubicBezTo>
                <a:cubicBezTo>
                  <a:pt x="14649" y="698"/>
                  <a:pt x="14649" y="698"/>
                  <a:pt x="14649" y="699"/>
                </a:cubicBezTo>
                <a:cubicBezTo>
                  <a:pt x="14649" y="699"/>
                  <a:pt x="14649" y="699"/>
                  <a:pt x="14649" y="699"/>
                </a:cubicBezTo>
                <a:cubicBezTo>
                  <a:pt x="14647" y="700"/>
                  <a:pt x="14647" y="700"/>
                  <a:pt x="14647" y="700"/>
                </a:cubicBezTo>
                <a:cubicBezTo>
                  <a:pt x="14648" y="700"/>
                  <a:pt x="14648" y="700"/>
                  <a:pt x="14648" y="700"/>
                </a:cubicBezTo>
                <a:cubicBezTo>
                  <a:pt x="14648" y="700"/>
                  <a:pt x="14647" y="700"/>
                  <a:pt x="14647" y="700"/>
                </a:cubicBezTo>
                <a:cubicBezTo>
                  <a:pt x="14647" y="700"/>
                  <a:pt x="14647" y="700"/>
                  <a:pt x="14647" y="700"/>
                </a:cubicBezTo>
                <a:cubicBezTo>
                  <a:pt x="14647" y="700"/>
                  <a:pt x="14647" y="700"/>
                  <a:pt x="14647" y="700"/>
                </a:cubicBezTo>
                <a:cubicBezTo>
                  <a:pt x="14646" y="700"/>
                  <a:pt x="14646" y="700"/>
                  <a:pt x="14646" y="701"/>
                </a:cubicBezTo>
                <a:cubicBezTo>
                  <a:pt x="14646" y="701"/>
                  <a:pt x="14646" y="701"/>
                  <a:pt x="14646" y="701"/>
                </a:cubicBezTo>
                <a:cubicBezTo>
                  <a:pt x="14646" y="701"/>
                  <a:pt x="14646" y="701"/>
                  <a:pt x="14646" y="701"/>
                </a:cubicBezTo>
                <a:cubicBezTo>
                  <a:pt x="14646" y="701"/>
                  <a:pt x="14646" y="701"/>
                  <a:pt x="14646" y="701"/>
                </a:cubicBezTo>
                <a:cubicBezTo>
                  <a:pt x="14564" y="754"/>
                  <a:pt x="14485" y="797"/>
                  <a:pt x="14342" y="831"/>
                </a:cubicBezTo>
                <a:cubicBezTo>
                  <a:pt x="14199" y="865"/>
                  <a:pt x="13991" y="886"/>
                  <a:pt x="13661" y="887"/>
                </a:cubicBezTo>
                <a:cubicBezTo>
                  <a:pt x="13638" y="887"/>
                  <a:pt x="13615" y="887"/>
                  <a:pt x="13593" y="887"/>
                </a:cubicBezTo>
                <a:cubicBezTo>
                  <a:pt x="13347" y="887"/>
                  <a:pt x="13103" y="883"/>
                  <a:pt x="12880" y="883"/>
                </a:cubicBezTo>
                <a:cubicBezTo>
                  <a:pt x="12764" y="883"/>
                  <a:pt x="12655" y="884"/>
                  <a:pt x="12553" y="888"/>
                </a:cubicBezTo>
                <a:cubicBezTo>
                  <a:pt x="12564" y="932"/>
                  <a:pt x="12579" y="982"/>
                  <a:pt x="12599" y="1034"/>
                </a:cubicBezTo>
                <a:cubicBezTo>
                  <a:pt x="12603" y="1044"/>
                  <a:pt x="12607" y="1054"/>
                  <a:pt x="12611" y="1065"/>
                </a:cubicBezTo>
                <a:cubicBezTo>
                  <a:pt x="12720" y="1042"/>
                  <a:pt x="12815" y="1021"/>
                  <a:pt x="12880" y="1012"/>
                </a:cubicBezTo>
                <a:cubicBezTo>
                  <a:pt x="12880" y="1006"/>
                  <a:pt x="12880" y="1006"/>
                  <a:pt x="12880" y="1006"/>
                </a:cubicBezTo>
                <a:cubicBezTo>
                  <a:pt x="12880" y="1006"/>
                  <a:pt x="12880" y="1006"/>
                  <a:pt x="12880" y="1006"/>
                </a:cubicBezTo>
                <a:cubicBezTo>
                  <a:pt x="13102" y="1006"/>
                  <a:pt x="13346" y="1010"/>
                  <a:pt x="13593" y="1010"/>
                </a:cubicBezTo>
                <a:cubicBezTo>
                  <a:pt x="13616" y="1010"/>
                  <a:pt x="13638" y="1010"/>
                  <a:pt x="13661" y="1010"/>
                </a:cubicBezTo>
                <a:cubicBezTo>
                  <a:pt x="13996" y="1009"/>
                  <a:pt x="14213" y="987"/>
                  <a:pt x="14370" y="951"/>
                </a:cubicBezTo>
                <a:cubicBezTo>
                  <a:pt x="14528" y="914"/>
                  <a:pt x="14627" y="860"/>
                  <a:pt x="14714" y="803"/>
                </a:cubicBezTo>
                <a:cubicBezTo>
                  <a:pt x="14734" y="789"/>
                  <a:pt x="14749" y="774"/>
                  <a:pt x="14766" y="753"/>
                </a:cubicBezTo>
                <a:cubicBezTo>
                  <a:pt x="14783" y="732"/>
                  <a:pt x="14801" y="708"/>
                  <a:pt x="14820" y="679"/>
                </a:cubicBezTo>
                <a:cubicBezTo>
                  <a:pt x="14858" y="622"/>
                  <a:pt x="14902" y="548"/>
                  <a:pt x="14950" y="463"/>
                </a:cubicBezTo>
                <a:cubicBezTo>
                  <a:pt x="15025" y="328"/>
                  <a:pt x="15109" y="166"/>
                  <a:pt x="15193" y="0"/>
                </a:cubicBezTo>
                <a:cubicBezTo>
                  <a:pt x="15211" y="0"/>
                  <a:pt x="15211" y="0"/>
                  <a:pt x="15211" y="0"/>
                </a:cubicBezTo>
                <a:cubicBezTo>
                  <a:pt x="15126" y="169"/>
                  <a:pt x="15040" y="334"/>
                  <a:pt x="14964" y="471"/>
                </a:cubicBezTo>
                <a:cubicBezTo>
                  <a:pt x="14916" y="556"/>
                  <a:pt x="14872" y="630"/>
                  <a:pt x="14834" y="688"/>
                </a:cubicBezTo>
                <a:cubicBezTo>
                  <a:pt x="14814" y="717"/>
                  <a:pt x="14796" y="742"/>
                  <a:pt x="14779" y="763"/>
                </a:cubicBezTo>
                <a:cubicBezTo>
                  <a:pt x="14761" y="784"/>
                  <a:pt x="14745" y="802"/>
                  <a:pt x="14723" y="817"/>
                </a:cubicBezTo>
                <a:cubicBezTo>
                  <a:pt x="14635" y="875"/>
                  <a:pt x="14533" y="930"/>
                  <a:pt x="14374" y="967"/>
                </a:cubicBezTo>
                <a:cubicBezTo>
                  <a:pt x="14214" y="1004"/>
                  <a:pt x="13997" y="1025"/>
                  <a:pt x="13661" y="1027"/>
                </a:cubicBezTo>
                <a:cubicBezTo>
                  <a:pt x="13638" y="1027"/>
                  <a:pt x="13616" y="1027"/>
                  <a:pt x="13593" y="1027"/>
                </a:cubicBezTo>
                <a:cubicBezTo>
                  <a:pt x="13364" y="1027"/>
                  <a:pt x="13138" y="1023"/>
                  <a:pt x="12930" y="1022"/>
                </a:cubicBezTo>
                <a:cubicBezTo>
                  <a:pt x="12930" y="1024"/>
                  <a:pt x="12930" y="1024"/>
                  <a:pt x="12930" y="1024"/>
                </a:cubicBezTo>
                <a:cubicBezTo>
                  <a:pt x="12930" y="1024"/>
                  <a:pt x="12930" y="1024"/>
                  <a:pt x="12930" y="1024"/>
                </a:cubicBezTo>
                <a:cubicBezTo>
                  <a:pt x="12876" y="1024"/>
                  <a:pt x="12758" y="1051"/>
                  <a:pt x="12617" y="1080"/>
                </a:cubicBezTo>
                <a:cubicBezTo>
                  <a:pt x="12681" y="1248"/>
                  <a:pt x="12785" y="1545"/>
                  <a:pt x="12813" y="1652"/>
                </a:cubicBezTo>
                <a:cubicBezTo>
                  <a:pt x="12835" y="1739"/>
                  <a:pt x="12855" y="1855"/>
                  <a:pt x="12864" y="1909"/>
                </a:cubicBezTo>
                <a:cubicBezTo>
                  <a:pt x="12926" y="1887"/>
                  <a:pt x="12986" y="1886"/>
                  <a:pt x="13030" y="1884"/>
                </a:cubicBezTo>
                <a:cubicBezTo>
                  <a:pt x="13031" y="1884"/>
                  <a:pt x="13031" y="1884"/>
                  <a:pt x="13031" y="1884"/>
                </a:cubicBezTo>
                <a:cubicBezTo>
                  <a:pt x="13032" y="1884"/>
                  <a:pt x="13032" y="1884"/>
                  <a:pt x="13032" y="1884"/>
                </a:cubicBezTo>
                <a:cubicBezTo>
                  <a:pt x="13032" y="1884"/>
                  <a:pt x="13187" y="1888"/>
                  <a:pt x="13401" y="1891"/>
                </a:cubicBezTo>
                <a:cubicBezTo>
                  <a:pt x="13615" y="1895"/>
                  <a:pt x="13887" y="1898"/>
                  <a:pt x="14121" y="1898"/>
                </a:cubicBezTo>
                <a:cubicBezTo>
                  <a:pt x="14353" y="1898"/>
                  <a:pt x="14550" y="1894"/>
                  <a:pt x="14601" y="1885"/>
                </a:cubicBezTo>
                <a:cubicBezTo>
                  <a:pt x="14780" y="1853"/>
                  <a:pt x="15357" y="1809"/>
                  <a:pt x="15858" y="1676"/>
                </a:cubicBezTo>
                <a:cubicBezTo>
                  <a:pt x="16345" y="1548"/>
                  <a:pt x="17050" y="1024"/>
                  <a:pt x="17498" y="728"/>
                </a:cubicBezTo>
                <a:cubicBezTo>
                  <a:pt x="17494" y="723"/>
                  <a:pt x="17490" y="717"/>
                  <a:pt x="17485" y="712"/>
                </a:cubicBezTo>
                <a:cubicBezTo>
                  <a:pt x="17354" y="551"/>
                  <a:pt x="17134" y="306"/>
                  <a:pt x="16656" y="0"/>
                </a:cubicBezTo>
                <a:cubicBezTo>
                  <a:pt x="16776" y="0"/>
                  <a:pt x="16776" y="0"/>
                  <a:pt x="16776" y="0"/>
                </a:cubicBezTo>
                <a:cubicBezTo>
                  <a:pt x="17202" y="284"/>
                  <a:pt x="17411" y="516"/>
                  <a:pt x="17536" y="671"/>
                </a:cubicBezTo>
                <a:cubicBezTo>
                  <a:pt x="17542" y="678"/>
                  <a:pt x="17547" y="685"/>
                  <a:pt x="17552" y="692"/>
                </a:cubicBezTo>
                <a:cubicBezTo>
                  <a:pt x="17590" y="667"/>
                  <a:pt x="17630" y="639"/>
                  <a:pt x="17670" y="610"/>
                </a:cubicBezTo>
                <a:lnTo>
                  <a:pt x="17670" y="691"/>
                </a:lnTo>
                <a:close/>
                <a:moveTo>
                  <a:pt x="14634" y="695"/>
                </a:moveTo>
                <a:cubicBezTo>
                  <a:pt x="14634" y="695"/>
                  <a:pt x="14634" y="695"/>
                  <a:pt x="14634" y="695"/>
                </a:cubicBezTo>
                <a:cubicBezTo>
                  <a:pt x="14634" y="695"/>
                  <a:pt x="14634" y="695"/>
                  <a:pt x="14634" y="695"/>
                </a:cubicBezTo>
                <a:close/>
                <a:moveTo>
                  <a:pt x="9501" y="242"/>
                </a:moveTo>
                <a:cubicBezTo>
                  <a:pt x="9512" y="510"/>
                  <a:pt x="9524" y="791"/>
                  <a:pt x="9525" y="885"/>
                </a:cubicBezTo>
                <a:cubicBezTo>
                  <a:pt x="10261" y="885"/>
                  <a:pt x="10261" y="885"/>
                  <a:pt x="10261" y="885"/>
                </a:cubicBezTo>
                <a:cubicBezTo>
                  <a:pt x="10265" y="886"/>
                  <a:pt x="10413" y="885"/>
                  <a:pt x="10531" y="998"/>
                </a:cubicBezTo>
                <a:cubicBezTo>
                  <a:pt x="10583" y="1048"/>
                  <a:pt x="10704" y="1154"/>
                  <a:pt x="10811" y="1246"/>
                </a:cubicBezTo>
                <a:cubicBezTo>
                  <a:pt x="10892" y="1315"/>
                  <a:pt x="10965" y="1377"/>
                  <a:pt x="10996" y="1404"/>
                </a:cubicBezTo>
                <a:cubicBezTo>
                  <a:pt x="11045" y="1358"/>
                  <a:pt x="11089" y="1315"/>
                  <a:pt x="11126" y="1279"/>
                </a:cubicBezTo>
                <a:cubicBezTo>
                  <a:pt x="11163" y="1243"/>
                  <a:pt x="11193" y="1214"/>
                  <a:pt x="11214" y="1193"/>
                </a:cubicBezTo>
                <a:cubicBezTo>
                  <a:pt x="11224" y="1183"/>
                  <a:pt x="11232" y="1175"/>
                  <a:pt x="11238" y="1170"/>
                </a:cubicBezTo>
                <a:cubicBezTo>
                  <a:pt x="11238" y="1169"/>
                  <a:pt x="11239" y="1169"/>
                  <a:pt x="11240" y="1168"/>
                </a:cubicBezTo>
                <a:cubicBezTo>
                  <a:pt x="11240" y="1168"/>
                  <a:pt x="11240" y="1168"/>
                  <a:pt x="11240" y="1168"/>
                </a:cubicBezTo>
                <a:cubicBezTo>
                  <a:pt x="11246" y="1159"/>
                  <a:pt x="11249" y="1156"/>
                  <a:pt x="11256" y="1149"/>
                </a:cubicBezTo>
                <a:cubicBezTo>
                  <a:pt x="11276" y="1128"/>
                  <a:pt x="11316" y="1087"/>
                  <a:pt x="11355" y="1045"/>
                </a:cubicBezTo>
                <a:cubicBezTo>
                  <a:pt x="11373" y="1026"/>
                  <a:pt x="11391" y="1007"/>
                  <a:pt x="11406" y="990"/>
                </a:cubicBezTo>
                <a:cubicBezTo>
                  <a:pt x="11364" y="923"/>
                  <a:pt x="11230" y="674"/>
                  <a:pt x="11227" y="253"/>
                </a:cubicBezTo>
                <a:cubicBezTo>
                  <a:pt x="11227" y="228"/>
                  <a:pt x="11227" y="205"/>
                  <a:pt x="11226" y="181"/>
                </a:cubicBezTo>
                <a:cubicBezTo>
                  <a:pt x="10561" y="172"/>
                  <a:pt x="10561" y="172"/>
                  <a:pt x="10561" y="172"/>
                </a:cubicBezTo>
                <a:cubicBezTo>
                  <a:pt x="10550" y="173"/>
                  <a:pt x="10550" y="173"/>
                  <a:pt x="10550" y="173"/>
                </a:cubicBezTo>
                <a:cubicBezTo>
                  <a:pt x="10550" y="172"/>
                  <a:pt x="10550" y="172"/>
                  <a:pt x="10550" y="172"/>
                </a:cubicBezTo>
                <a:cubicBezTo>
                  <a:pt x="10411" y="170"/>
                  <a:pt x="10411" y="170"/>
                  <a:pt x="10411" y="170"/>
                </a:cubicBezTo>
                <a:cubicBezTo>
                  <a:pt x="10394" y="176"/>
                  <a:pt x="10258" y="225"/>
                  <a:pt x="10257" y="226"/>
                </a:cubicBezTo>
                <a:cubicBezTo>
                  <a:pt x="10256" y="226"/>
                  <a:pt x="10256" y="226"/>
                  <a:pt x="10256" y="226"/>
                </a:cubicBezTo>
                <a:lnTo>
                  <a:pt x="9501" y="242"/>
                </a:lnTo>
                <a:close/>
                <a:moveTo>
                  <a:pt x="11260" y="1280"/>
                </a:moveTo>
                <a:cubicBezTo>
                  <a:pt x="11265" y="1283"/>
                  <a:pt x="11270" y="1285"/>
                  <a:pt x="11274" y="1286"/>
                </a:cubicBezTo>
                <a:cubicBezTo>
                  <a:pt x="11274" y="1286"/>
                  <a:pt x="11274" y="1286"/>
                  <a:pt x="11274" y="1287"/>
                </a:cubicBezTo>
                <a:cubicBezTo>
                  <a:pt x="11270" y="1285"/>
                  <a:pt x="11265" y="1283"/>
                  <a:pt x="11260" y="1280"/>
                </a:cubicBezTo>
                <a:close/>
                <a:moveTo>
                  <a:pt x="6768" y="1513"/>
                </a:moveTo>
                <a:cubicBezTo>
                  <a:pt x="6772" y="1545"/>
                  <a:pt x="6794" y="1737"/>
                  <a:pt x="6816" y="1937"/>
                </a:cubicBezTo>
                <a:cubicBezTo>
                  <a:pt x="6828" y="2046"/>
                  <a:pt x="6841" y="2158"/>
                  <a:pt x="6850" y="2247"/>
                </a:cubicBezTo>
                <a:cubicBezTo>
                  <a:pt x="6857" y="2318"/>
                  <a:pt x="6862" y="2373"/>
                  <a:pt x="6864" y="2404"/>
                </a:cubicBezTo>
                <a:cubicBezTo>
                  <a:pt x="6905" y="2410"/>
                  <a:pt x="6935" y="2415"/>
                  <a:pt x="6944" y="2416"/>
                </a:cubicBezTo>
                <a:cubicBezTo>
                  <a:pt x="8175" y="2393"/>
                  <a:pt x="8175" y="2393"/>
                  <a:pt x="8175" y="2393"/>
                </a:cubicBezTo>
                <a:cubicBezTo>
                  <a:pt x="8174" y="2365"/>
                  <a:pt x="8173" y="2341"/>
                  <a:pt x="8172" y="2327"/>
                </a:cubicBezTo>
                <a:cubicBezTo>
                  <a:pt x="8171" y="2300"/>
                  <a:pt x="8170" y="2265"/>
                  <a:pt x="8170" y="2227"/>
                </a:cubicBezTo>
                <a:cubicBezTo>
                  <a:pt x="8170" y="2166"/>
                  <a:pt x="8173" y="2099"/>
                  <a:pt x="8187" y="2046"/>
                </a:cubicBezTo>
                <a:cubicBezTo>
                  <a:pt x="8207" y="1972"/>
                  <a:pt x="8290" y="1660"/>
                  <a:pt x="8299" y="1600"/>
                </a:cubicBezTo>
                <a:cubicBezTo>
                  <a:pt x="8300" y="1595"/>
                  <a:pt x="8301" y="1582"/>
                  <a:pt x="8301" y="1565"/>
                </a:cubicBezTo>
                <a:cubicBezTo>
                  <a:pt x="8301" y="1509"/>
                  <a:pt x="8295" y="1410"/>
                  <a:pt x="8288" y="1326"/>
                </a:cubicBezTo>
                <a:cubicBezTo>
                  <a:pt x="8284" y="1274"/>
                  <a:pt x="8280" y="1227"/>
                  <a:pt x="8278" y="1199"/>
                </a:cubicBezTo>
                <a:cubicBezTo>
                  <a:pt x="8257" y="1199"/>
                  <a:pt x="8237" y="1199"/>
                  <a:pt x="8218" y="1199"/>
                </a:cubicBezTo>
                <a:cubicBezTo>
                  <a:pt x="8180" y="1199"/>
                  <a:pt x="8147" y="1199"/>
                  <a:pt x="8121" y="1198"/>
                </a:cubicBezTo>
                <a:cubicBezTo>
                  <a:pt x="7938" y="1192"/>
                  <a:pt x="7575" y="1170"/>
                  <a:pt x="7466" y="1171"/>
                </a:cubicBezTo>
                <a:cubicBezTo>
                  <a:pt x="7458" y="1171"/>
                  <a:pt x="7452" y="1171"/>
                  <a:pt x="7448" y="1171"/>
                </a:cubicBezTo>
                <a:cubicBezTo>
                  <a:pt x="7376" y="1173"/>
                  <a:pt x="7158" y="1219"/>
                  <a:pt x="7109" y="1240"/>
                </a:cubicBezTo>
                <a:cubicBezTo>
                  <a:pt x="7074" y="1254"/>
                  <a:pt x="7012" y="1268"/>
                  <a:pt x="6950" y="1281"/>
                </a:cubicBezTo>
                <a:cubicBezTo>
                  <a:pt x="6889" y="1294"/>
                  <a:pt x="6831" y="1304"/>
                  <a:pt x="6810" y="1308"/>
                </a:cubicBezTo>
                <a:cubicBezTo>
                  <a:pt x="6807" y="1308"/>
                  <a:pt x="6804" y="1310"/>
                  <a:pt x="6799" y="1318"/>
                </a:cubicBezTo>
                <a:cubicBezTo>
                  <a:pt x="6797" y="1322"/>
                  <a:pt x="6795" y="1328"/>
                  <a:pt x="6794" y="1333"/>
                </a:cubicBezTo>
                <a:cubicBezTo>
                  <a:pt x="6796" y="1337"/>
                  <a:pt x="6796" y="1339"/>
                  <a:pt x="6796" y="1341"/>
                </a:cubicBezTo>
                <a:cubicBezTo>
                  <a:pt x="6797" y="1344"/>
                  <a:pt x="6797" y="1345"/>
                  <a:pt x="6797" y="1347"/>
                </a:cubicBezTo>
                <a:cubicBezTo>
                  <a:pt x="6797" y="1358"/>
                  <a:pt x="6795" y="1370"/>
                  <a:pt x="6792" y="1388"/>
                </a:cubicBezTo>
                <a:cubicBezTo>
                  <a:pt x="6785" y="1431"/>
                  <a:pt x="6772" y="1495"/>
                  <a:pt x="6768" y="1513"/>
                </a:cubicBezTo>
                <a:close/>
                <a:moveTo>
                  <a:pt x="6120" y="2711"/>
                </a:moveTo>
                <a:cubicBezTo>
                  <a:pt x="6194" y="2454"/>
                  <a:pt x="6194" y="2454"/>
                  <a:pt x="6194" y="2454"/>
                </a:cubicBezTo>
                <a:cubicBezTo>
                  <a:pt x="6197" y="2449"/>
                  <a:pt x="6197" y="2449"/>
                  <a:pt x="6197" y="2449"/>
                </a:cubicBezTo>
                <a:cubicBezTo>
                  <a:pt x="6223" y="2411"/>
                  <a:pt x="6259" y="2385"/>
                  <a:pt x="6301" y="2370"/>
                </a:cubicBezTo>
                <a:cubicBezTo>
                  <a:pt x="6343" y="2356"/>
                  <a:pt x="6390" y="2351"/>
                  <a:pt x="6444" y="2351"/>
                </a:cubicBezTo>
                <a:cubicBezTo>
                  <a:pt x="6501" y="2351"/>
                  <a:pt x="6624" y="2368"/>
                  <a:pt x="6736" y="2384"/>
                </a:cubicBezTo>
                <a:cubicBezTo>
                  <a:pt x="6757" y="2387"/>
                  <a:pt x="6778" y="2390"/>
                  <a:pt x="6798" y="2393"/>
                </a:cubicBezTo>
                <a:cubicBezTo>
                  <a:pt x="6796" y="2363"/>
                  <a:pt x="6791" y="2313"/>
                  <a:pt x="6785" y="2253"/>
                </a:cubicBezTo>
                <a:cubicBezTo>
                  <a:pt x="6760" y="2013"/>
                  <a:pt x="6713" y="1606"/>
                  <a:pt x="6704" y="1529"/>
                </a:cubicBezTo>
                <a:cubicBezTo>
                  <a:pt x="6676" y="1507"/>
                  <a:pt x="6636" y="1486"/>
                  <a:pt x="6602" y="1453"/>
                </a:cubicBezTo>
                <a:cubicBezTo>
                  <a:pt x="6546" y="1395"/>
                  <a:pt x="6512" y="1334"/>
                  <a:pt x="6511" y="1332"/>
                </a:cubicBezTo>
                <a:cubicBezTo>
                  <a:pt x="6233" y="830"/>
                  <a:pt x="6233" y="830"/>
                  <a:pt x="6233" y="830"/>
                </a:cubicBezTo>
                <a:cubicBezTo>
                  <a:pt x="6177" y="737"/>
                  <a:pt x="6111" y="719"/>
                  <a:pt x="6054" y="718"/>
                </a:cubicBezTo>
                <a:cubicBezTo>
                  <a:pt x="6027" y="718"/>
                  <a:pt x="6002" y="723"/>
                  <a:pt x="5984" y="728"/>
                </a:cubicBezTo>
                <a:cubicBezTo>
                  <a:pt x="5975" y="731"/>
                  <a:pt x="5968" y="734"/>
                  <a:pt x="5964" y="735"/>
                </a:cubicBezTo>
                <a:cubicBezTo>
                  <a:pt x="5961" y="736"/>
                  <a:pt x="5960" y="737"/>
                  <a:pt x="5959" y="738"/>
                </a:cubicBezTo>
                <a:cubicBezTo>
                  <a:pt x="5958" y="738"/>
                  <a:pt x="5958" y="738"/>
                  <a:pt x="5958" y="738"/>
                </a:cubicBezTo>
                <a:cubicBezTo>
                  <a:pt x="5940" y="748"/>
                  <a:pt x="5725" y="874"/>
                  <a:pt x="5615" y="933"/>
                </a:cubicBezTo>
                <a:cubicBezTo>
                  <a:pt x="5513" y="989"/>
                  <a:pt x="5441" y="1021"/>
                  <a:pt x="5333" y="1021"/>
                </a:cubicBezTo>
                <a:cubicBezTo>
                  <a:pt x="5321" y="1021"/>
                  <a:pt x="5309" y="1020"/>
                  <a:pt x="5296" y="1020"/>
                </a:cubicBezTo>
                <a:cubicBezTo>
                  <a:pt x="5163" y="1012"/>
                  <a:pt x="4870" y="922"/>
                  <a:pt x="4581" y="836"/>
                </a:cubicBezTo>
                <a:cubicBezTo>
                  <a:pt x="4349" y="767"/>
                  <a:pt x="4185" y="690"/>
                  <a:pt x="4127" y="660"/>
                </a:cubicBezTo>
                <a:cubicBezTo>
                  <a:pt x="3900" y="1102"/>
                  <a:pt x="3900" y="1102"/>
                  <a:pt x="3900" y="1102"/>
                </a:cubicBezTo>
                <a:cubicBezTo>
                  <a:pt x="3894" y="1125"/>
                  <a:pt x="3863" y="1243"/>
                  <a:pt x="3822" y="1313"/>
                </a:cubicBezTo>
                <a:cubicBezTo>
                  <a:pt x="3788" y="1369"/>
                  <a:pt x="3764" y="1414"/>
                  <a:pt x="3756" y="1427"/>
                </a:cubicBezTo>
                <a:cubicBezTo>
                  <a:pt x="3689" y="1765"/>
                  <a:pt x="3689" y="1765"/>
                  <a:pt x="3689" y="1765"/>
                </a:cubicBezTo>
                <a:cubicBezTo>
                  <a:pt x="3914" y="1864"/>
                  <a:pt x="4116" y="2010"/>
                  <a:pt x="4159" y="2042"/>
                </a:cubicBezTo>
                <a:cubicBezTo>
                  <a:pt x="5002" y="2390"/>
                  <a:pt x="5002" y="2390"/>
                  <a:pt x="5002" y="2390"/>
                </a:cubicBezTo>
                <a:cubicBezTo>
                  <a:pt x="5052" y="2405"/>
                  <a:pt x="5544" y="2551"/>
                  <a:pt x="5710" y="2601"/>
                </a:cubicBezTo>
                <a:cubicBezTo>
                  <a:pt x="5790" y="2624"/>
                  <a:pt x="5955" y="2669"/>
                  <a:pt x="6120" y="2711"/>
                </a:cubicBezTo>
                <a:close/>
                <a:moveTo>
                  <a:pt x="7590" y="2859"/>
                </a:moveTo>
                <a:cubicBezTo>
                  <a:pt x="7747" y="2811"/>
                  <a:pt x="7903" y="2763"/>
                  <a:pt x="8021" y="2727"/>
                </a:cubicBezTo>
                <a:cubicBezTo>
                  <a:pt x="8079" y="2709"/>
                  <a:pt x="8128" y="2693"/>
                  <a:pt x="8163" y="2683"/>
                </a:cubicBezTo>
                <a:cubicBezTo>
                  <a:pt x="8173" y="2680"/>
                  <a:pt x="8182" y="2677"/>
                  <a:pt x="8189" y="2675"/>
                </a:cubicBezTo>
                <a:cubicBezTo>
                  <a:pt x="8187" y="2626"/>
                  <a:pt x="8182" y="2536"/>
                  <a:pt x="8179" y="2458"/>
                </a:cubicBezTo>
                <a:cubicBezTo>
                  <a:pt x="6939" y="2482"/>
                  <a:pt x="6939" y="2482"/>
                  <a:pt x="6939" y="2482"/>
                </a:cubicBezTo>
                <a:cubicBezTo>
                  <a:pt x="6936" y="2482"/>
                  <a:pt x="6936" y="2482"/>
                  <a:pt x="6936" y="2482"/>
                </a:cubicBezTo>
                <a:cubicBezTo>
                  <a:pt x="6936" y="2482"/>
                  <a:pt x="6838" y="2465"/>
                  <a:pt x="6727" y="2449"/>
                </a:cubicBezTo>
                <a:cubicBezTo>
                  <a:pt x="6616" y="2433"/>
                  <a:pt x="6490" y="2417"/>
                  <a:pt x="6444" y="2417"/>
                </a:cubicBezTo>
                <a:cubicBezTo>
                  <a:pt x="6394" y="2417"/>
                  <a:pt x="6354" y="2421"/>
                  <a:pt x="6323" y="2432"/>
                </a:cubicBezTo>
                <a:cubicBezTo>
                  <a:pt x="6293" y="2443"/>
                  <a:pt x="6272" y="2458"/>
                  <a:pt x="6254" y="2482"/>
                </a:cubicBezTo>
                <a:cubicBezTo>
                  <a:pt x="6184" y="2728"/>
                  <a:pt x="6184" y="2728"/>
                  <a:pt x="6184" y="2728"/>
                </a:cubicBezTo>
                <a:cubicBezTo>
                  <a:pt x="6350" y="2771"/>
                  <a:pt x="6504" y="2809"/>
                  <a:pt x="6553" y="2821"/>
                </a:cubicBezTo>
                <a:cubicBezTo>
                  <a:pt x="6657" y="2845"/>
                  <a:pt x="6806" y="2866"/>
                  <a:pt x="6936" y="2967"/>
                </a:cubicBezTo>
                <a:cubicBezTo>
                  <a:pt x="6962" y="2987"/>
                  <a:pt x="6985" y="3012"/>
                  <a:pt x="7007" y="3039"/>
                </a:cubicBezTo>
                <a:cubicBezTo>
                  <a:pt x="7101" y="3010"/>
                  <a:pt x="7346" y="2934"/>
                  <a:pt x="7590" y="2859"/>
                </a:cubicBezTo>
                <a:close/>
                <a:moveTo>
                  <a:pt x="8172" y="2703"/>
                </a:moveTo>
                <a:cubicBezTo>
                  <a:pt x="8169" y="2708"/>
                  <a:pt x="8167" y="2713"/>
                  <a:pt x="8166" y="2717"/>
                </a:cubicBezTo>
                <a:cubicBezTo>
                  <a:pt x="8166" y="2717"/>
                  <a:pt x="8166" y="2717"/>
                  <a:pt x="8166" y="2717"/>
                </a:cubicBezTo>
                <a:cubicBezTo>
                  <a:pt x="8168" y="2712"/>
                  <a:pt x="8170" y="2706"/>
                  <a:pt x="8173" y="2701"/>
                </a:cubicBezTo>
                <a:cubicBezTo>
                  <a:pt x="8173" y="2701"/>
                  <a:pt x="8172" y="2702"/>
                  <a:pt x="8172" y="2703"/>
                </a:cubicBezTo>
                <a:close/>
                <a:moveTo>
                  <a:pt x="7132" y="3248"/>
                </a:moveTo>
                <a:cubicBezTo>
                  <a:pt x="7182" y="3230"/>
                  <a:pt x="7228" y="3216"/>
                  <a:pt x="7265" y="3206"/>
                </a:cubicBezTo>
                <a:cubicBezTo>
                  <a:pt x="7304" y="3195"/>
                  <a:pt x="7337" y="3186"/>
                  <a:pt x="7342" y="3184"/>
                </a:cubicBezTo>
                <a:cubicBezTo>
                  <a:pt x="7350" y="3180"/>
                  <a:pt x="7356" y="3178"/>
                  <a:pt x="7364" y="3176"/>
                </a:cubicBezTo>
                <a:cubicBezTo>
                  <a:pt x="7429" y="3156"/>
                  <a:pt x="7640" y="3098"/>
                  <a:pt x="7929" y="3020"/>
                </a:cubicBezTo>
                <a:cubicBezTo>
                  <a:pt x="8361" y="2904"/>
                  <a:pt x="8960" y="2742"/>
                  <a:pt x="9467" y="2601"/>
                </a:cubicBezTo>
                <a:cubicBezTo>
                  <a:pt x="9721" y="2530"/>
                  <a:pt x="9951" y="2464"/>
                  <a:pt x="10125" y="2412"/>
                </a:cubicBezTo>
                <a:cubicBezTo>
                  <a:pt x="10136" y="2409"/>
                  <a:pt x="10145" y="2406"/>
                  <a:pt x="10156" y="2403"/>
                </a:cubicBezTo>
                <a:cubicBezTo>
                  <a:pt x="10149" y="2377"/>
                  <a:pt x="10143" y="2355"/>
                  <a:pt x="10138" y="2338"/>
                </a:cubicBezTo>
                <a:cubicBezTo>
                  <a:pt x="10086" y="2352"/>
                  <a:pt x="10000" y="2373"/>
                  <a:pt x="9890" y="2401"/>
                </a:cubicBezTo>
                <a:cubicBezTo>
                  <a:pt x="9618" y="2470"/>
                  <a:pt x="9211" y="2573"/>
                  <a:pt x="8871" y="2659"/>
                </a:cubicBezTo>
                <a:cubicBezTo>
                  <a:pt x="8701" y="2702"/>
                  <a:pt x="8548" y="2740"/>
                  <a:pt x="8437" y="2768"/>
                </a:cubicBezTo>
                <a:cubicBezTo>
                  <a:pt x="8382" y="2782"/>
                  <a:pt x="8337" y="2793"/>
                  <a:pt x="8306" y="2801"/>
                </a:cubicBezTo>
                <a:cubicBezTo>
                  <a:pt x="8290" y="2805"/>
                  <a:pt x="8278" y="2808"/>
                  <a:pt x="8270" y="2810"/>
                </a:cubicBezTo>
                <a:cubicBezTo>
                  <a:pt x="8266" y="2811"/>
                  <a:pt x="8263" y="2812"/>
                  <a:pt x="8261" y="2812"/>
                </a:cubicBezTo>
                <a:cubicBezTo>
                  <a:pt x="8260" y="2813"/>
                  <a:pt x="8260" y="2813"/>
                  <a:pt x="8260" y="2813"/>
                </a:cubicBezTo>
                <a:cubicBezTo>
                  <a:pt x="8251" y="2815"/>
                  <a:pt x="8251" y="2815"/>
                  <a:pt x="8251" y="2815"/>
                </a:cubicBezTo>
                <a:cubicBezTo>
                  <a:pt x="8250" y="2815"/>
                  <a:pt x="8250" y="2815"/>
                  <a:pt x="8250" y="2815"/>
                </a:cubicBezTo>
                <a:cubicBezTo>
                  <a:pt x="8192" y="2833"/>
                  <a:pt x="7907" y="2921"/>
                  <a:pt x="7626" y="3008"/>
                </a:cubicBezTo>
                <a:cubicBezTo>
                  <a:pt x="7414" y="3073"/>
                  <a:pt x="7205" y="3137"/>
                  <a:pt x="7093" y="3172"/>
                </a:cubicBezTo>
                <a:cubicBezTo>
                  <a:pt x="7097" y="3180"/>
                  <a:pt x="7102" y="3188"/>
                  <a:pt x="7106" y="3195"/>
                </a:cubicBezTo>
                <a:cubicBezTo>
                  <a:pt x="7116" y="3214"/>
                  <a:pt x="7124" y="3232"/>
                  <a:pt x="7132" y="3248"/>
                </a:cubicBezTo>
                <a:close/>
                <a:moveTo>
                  <a:pt x="10192" y="2537"/>
                </a:moveTo>
                <a:cubicBezTo>
                  <a:pt x="10189" y="2527"/>
                  <a:pt x="10187" y="2517"/>
                  <a:pt x="10184" y="2507"/>
                </a:cubicBezTo>
                <a:cubicBezTo>
                  <a:pt x="10175" y="2474"/>
                  <a:pt x="10167" y="2445"/>
                  <a:pt x="10160" y="2418"/>
                </a:cubicBezTo>
                <a:cubicBezTo>
                  <a:pt x="10150" y="2421"/>
                  <a:pt x="10140" y="2424"/>
                  <a:pt x="10130" y="2428"/>
                </a:cubicBezTo>
                <a:cubicBezTo>
                  <a:pt x="9956" y="2480"/>
                  <a:pt x="9725" y="2546"/>
                  <a:pt x="9472" y="2616"/>
                </a:cubicBezTo>
                <a:cubicBezTo>
                  <a:pt x="8965" y="2758"/>
                  <a:pt x="8365" y="2919"/>
                  <a:pt x="7933" y="3036"/>
                </a:cubicBezTo>
                <a:cubicBezTo>
                  <a:pt x="7645" y="3114"/>
                  <a:pt x="7433" y="3172"/>
                  <a:pt x="7369" y="3191"/>
                </a:cubicBezTo>
                <a:cubicBezTo>
                  <a:pt x="7360" y="3194"/>
                  <a:pt x="7356" y="3196"/>
                  <a:pt x="7348" y="3199"/>
                </a:cubicBezTo>
                <a:cubicBezTo>
                  <a:pt x="7340" y="3202"/>
                  <a:pt x="7309" y="3211"/>
                  <a:pt x="7269" y="3222"/>
                </a:cubicBezTo>
                <a:cubicBezTo>
                  <a:pt x="7233" y="3232"/>
                  <a:pt x="7188" y="3245"/>
                  <a:pt x="7140" y="3263"/>
                </a:cubicBezTo>
                <a:cubicBezTo>
                  <a:pt x="7162" y="3309"/>
                  <a:pt x="7175" y="3341"/>
                  <a:pt x="7175" y="3342"/>
                </a:cubicBezTo>
                <a:cubicBezTo>
                  <a:pt x="7189" y="3376"/>
                  <a:pt x="7189" y="3376"/>
                  <a:pt x="7189" y="3376"/>
                </a:cubicBezTo>
                <a:cubicBezTo>
                  <a:pt x="7246" y="3356"/>
                  <a:pt x="7300" y="3341"/>
                  <a:pt x="7339" y="3330"/>
                </a:cubicBezTo>
                <a:cubicBezTo>
                  <a:pt x="7362" y="3324"/>
                  <a:pt x="7379" y="3319"/>
                  <a:pt x="7395" y="3312"/>
                </a:cubicBezTo>
                <a:cubicBezTo>
                  <a:pt x="7404" y="3309"/>
                  <a:pt x="7404" y="3309"/>
                  <a:pt x="7404" y="3309"/>
                </a:cubicBezTo>
                <a:cubicBezTo>
                  <a:pt x="7404" y="3309"/>
                  <a:pt x="7404" y="3309"/>
                  <a:pt x="7404" y="3309"/>
                </a:cubicBezTo>
                <a:cubicBezTo>
                  <a:pt x="7407" y="3308"/>
                  <a:pt x="7411" y="3307"/>
                  <a:pt x="7416" y="3306"/>
                </a:cubicBezTo>
                <a:cubicBezTo>
                  <a:pt x="7429" y="3302"/>
                  <a:pt x="7448" y="3296"/>
                  <a:pt x="7471" y="3290"/>
                </a:cubicBezTo>
                <a:cubicBezTo>
                  <a:pt x="7517" y="3277"/>
                  <a:pt x="7581" y="3259"/>
                  <a:pt x="7659" y="3238"/>
                </a:cubicBezTo>
                <a:cubicBezTo>
                  <a:pt x="7815" y="3195"/>
                  <a:pt x="8026" y="3138"/>
                  <a:pt x="8264" y="3074"/>
                </a:cubicBezTo>
                <a:cubicBezTo>
                  <a:pt x="8741" y="2945"/>
                  <a:pt x="9322" y="2788"/>
                  <a:pt x="9773" y="2660"/>
                </a:cubicBezTo>
                <a:cubicBezTo>
                  <a:pt x="9933" y="2614"/>
                  <a:pt x="10076" y="2573"/>
                  <a:pt x="10192" y="2537"/>
                </a:cubicBezTo>
                <a:close/>
                <a:moveTo>
                  <a:pt x="10217" y="2151"/>
                </a:moveTo>
                <a:cubicBezTo>
                  <a:pt x="10217" y="2151"/>
                  <a:pt x="10217" y="2151"/>
                  <a:pt x="10217" y="2151"/>
                </a:cubicBezTo>
                <a:cubicBezTo>
                  <a:pt x="10220" y="2148"/>
                  <a:pt x="10242" y="2128"/>
                  <a:pt x="10273" y="2099"/>
                </a:cubicBezTo>
                <a:cubicBezTo>
                  <a:pt x="10382" y="1994"/>
                  <a:pt x="10626" y="1761"/>
                  <a:pt x="10842" y="1553"/>
                </a:cubicBezTo>
                <a:cubicBezTo>
                  <a:pt x="10879" y="1517"/>
                  <a:pt x="10915" y="1483"/>
                  <a:pt x="10949" y="1450"/>
                </a:cubicBezTo>
                <a:cubicBezTo>
                  <a:pt x="10868" y="1381"/>
                  <a:pt x="10578" y="1135"/>
                  <a:pt x="10485" y="1045"/>
                </a:cubicBezTo>
                <a:cubicBezTo>
                  <a:pt x="10437" y="998"/>
                  <a:pt x="10381" y="975"/>
                  <a:pt x="10336" y="963"/>
                </a:cubicBezTo>
                <a:cubicBezTo>
                  <a:pt x="10314" y="957"/>
                  <a:pt x="10295" y="954"/>
                  <a:pt x="10281" y="953"/>
                </a:cubicBezTo>
                <a:cubicBezTo>
                  <a:pt x="10274" y="952"/>
                  <a:pt x="10269" y="951"/>
                  <a:pt x="10266" y="951"/>
                </a:cubicBezTo>
                <a:cubicBezTo>
                  <a:pt x="10264" y="951"/>
                  <a:pt x="10263" y="951"/>
                  <a:pt x="10262" y="951"/>
                </a:cubicBezTo>
                <a:cubicBezTo>
                  <a:pt x="10261" y="951"/>
                  <a:pt x="10261" y="951"/>
                  <a:pt x="10261" y="951"/>
                </a:cubicBezTo>
                <a:cubicBezTo>
                  <a:pt x="10261" y="951"/>
                  <a:pt x="9735" y="951"/>
                  <a:pt x="9492" y="951"/>
                </a:cubicBezTo>
                <a:cubicBezTo>
                  <a:pt x="9492" y="951"/>
                  <a:pt x="9492" y="951"/>
                  <a:pt x="9492" y="951"/>
                </a:cubicBezTo>
                <a:cubicBezTo>
                  <a:pt x="9492" y="951"/>
                  <a:pt x="9492" y="951"/>
                  <a:pt x="9492" y="951"/>
                </a:cubicBezTo>
                <a:cubicBezTo>
                  <a:pt x="9437" y="951"/>
                  <a:pt x="9397" y="951"/>
                  <a:pt x="9380" y="951"/>
                </a:cubicBezTo>
                <a:cubicBezTo>
                  <a:pt x="9380" y="951"/>
                  <a:pt x="9380" y="951"/>
                  <a:pt x="9379" y="952"/>
                </a:cubicBezTo>
                <a:cubicBezTo>
                  <a:pt x="9353" y="968"/>
                  <a:pt x="9273" y="1025"/>
                  <a:pt x="9198" y="1078"/>
                </a:cubicBezTo>
                <a:cubicBezTo>
                  <a:pt x="9161" y="1104"/>
                  <a:pt x="9125" y="1129"/>
                  <a:pt x="9097" y="1148"/>
                </a:cubicBezTo>
                <a:cubicBezTo>
                  <a:pt x="9083" y="1158"/>
                  <a:pt x="9071" y="1165"/>
                  <a:pt x="9062" y="1171"/>
                </a:cubicBezTo>
                <a:cubicBezTo>
                  <a:pt x="9057" y="1174"/>
                  <a:pt x="9053" y="1177"/>
                  <a:pt x="9050" y="1179"/>
                </a:cubicBezTo>
                <a:cubicBezTo>
                  <a:pt x="9048" y="1180"/>
                  <a:pt x="9046" y="1181"/>
                  <a:pt x="9043" y="1182"/>
                </a:cubicBezTo>
                <a:cubicBezTo>
                  <a:pt x="9041" y="1182"/>
                  <a:pt x="9039" y="1184"/>
                  <a:pt x="9029" y="1185"/>
                </a:cubicBezTo>
                <a:cubicBezTo>
                  <a:pt x="9028" y="1185"/>
                  <a:pt x="9026" y="1185"/>
                  <a:pt x="9024" y="1184"/>
                </a:cubicBezTo>
                <a:cubicBezTo>
                  <a:pt x="9023" y="1184"/>
                  <a:pt x="9021" y="1184"/>
                  <a:pt x="9018" y="1184"/>
                </a:cubicBezTo>
                <a:cubicBezTo>
                  <a:pt x="8952" y="1184"/>
                  <a:pt x="8599" y="1195"/>
                  <a:pt x="8343" y="1199"/>
                </a:cubicBezTo>
                <a:cubicBezTo>
                  <a:pt x="8350" y="1275"/>
                  <a:pt x="8367" y="1470"/>
                  <a:pt x="8367" y="1565"/>
                </a:cubicBezTo>
                <a:cubicBezTo>
                  <a:pt x="8367" y="1583"/>
                  <a:pt x="8366" y="1598"/>
                  <a:pt x="8364" y="1610"/>
                </a:cubicBezTo>
                <a:cubicBezTo>
                  <a:pt x="8353" y="1680"/>
                  <a:pt x="8271" y="1986"/>
                  <a:pt x="8250" y="2063"/>
                </a:cubicBezTo>
                <a:cubicBezTo>
                  <a:pt x="8239" y="2104"/>
                  <a:pt x="8235" y="2168"/>
                  <a:pt x="8235" y="2227"/>
                </a:cubicBezTo>
                <a:cubicBezTo>
                  <a:pt x="8235" y="2263"/>
                  <a:pt x="8236" y="2297"/>
                  <a:pt x="8238" y="2324"/>
                </a:cubicBezTo>
                <a:cubicBezTo>
                  <a:pt x="8240" y="2378"/>
                  <a:pt x="8250" y="2565"/>
                  <a:pt x="8254" y="2657"/>
                </a:cubicBezTo>
                <a:cubicBezTo>
                  <a:pt x="8373" y="2627"/>
                  <a:pt x="8793" y="2521"/>
                  <a:pt x="9207" y="2416"/>
                </a:cubicBezTo>
                <a:cubicBezTo>
                  <a:pt x="9670" y="2299"/>
                  <a:pt x="10128" y="2184"/>
                  <a:pt x="10154" y="2177"/>
                </a:cubicBezTo>
                <a:cubicBezTo>
                  <a:pt x="10154" y="2177"/>
                  <a:pt x="10154" y="2177"/>
                  <a:pt x="10155" y="2177"/>
                </a:cubicBezTo>
                <a:cubicBezTo>
                  <a:pt x="10160" y="2175"/>
                  <a:pt x="10174" y="2171"/>
                  <a:pt x="10188" y="2166"/>
                </a:cubicBezTo>
                <a:cubicBezTo>
                  <a:pt x="10201" y="2161"/>
                  <a:pt x="10215" y="2153"/>
                  <a:pt x="10217" y="2151"/>
                </a:cubicBezTo>
                <a:close/>
                <a:moveTo>
                  <a:pt x="10218" y="2383"/>
                </a:moveTo>
                <a:cubicBezTo>
                  <a:pt x="10265" y="2369"/>
                  <a:pt x="10306" y="2356"/>
                  <a:pt x="10339" y="2344"/>
                </a:cubicBezTo>
                <a:cubicBezTo>
                  <a:pt x="10366" y="2335"/>
                  <a:pt x="10389" y="2327"/>
                  <a:pt x="10405" y="2321"/>
                </a:cubicBezTo>
                <a:cubicBezTo>
                  <a:pt x="10413" y="2318"/>
                  <a:pt x="10420" y="2315"/>
                  <a:pt x="10425" y="2312"/>
                </a:cubicBezTo>
                <a:cubicBezTo>
                  <a:pt x="10427" y="2311"/>
                  <a:pt x="10429" y="2310"/>
                  <a:pt x="10431" y="2310"/>
                </a:cubicBezTo>
                <a:cubicBezTo>
                  <a:pt x="10431" y="2309"/>
                  <a:pt x="10432" y="2309"/>
                  <a:pt x="10432" y="2309"/>
                </a:cubicBezTo>
                <a:cubicBezTo>
                  <a:pt x="10433" y="2309"/>
                  <a:pt x="10433" y="2309"/>
                  <a:pt x="10433" y="2309"/>
                </a:cubicBezTo>
                <a:cubicBezTo>
                  <a:pt x="10444" y="2303"/>
                  <a:pt x="10481" y="2273"/>
                  <a:pt x="10527" y="2233"/>
                </a:cubicBezTo>
                <a:cubicBezTo>
                  <a:pt x="10691" y="2090"/>
                  <a:pt x="11000" y="1791"/>
                  <a:pt x="11298" y="1517"/>
                </a:cubicBezTo>
                <a:cubicBezTo>
                  <a:pt x="11447" y="1380"/>
                  <a:pt x="11593" y="1250"/>
                  <a:pt x="11719" y="1147"/>
                </a:cubicBezTo>
                <a:cubicBezTo>
                  <a:pt x="11782" y="1096"/>
                  <a:pt x="11840" y="1051"/>
                  <a:pt x="11892" y="1016"/>
                </a:cubicBezTo>
                <a:cubicBezTo>
                  <a:pt x="11943" y="981"/>
                  <a:pt x="11987" y="955"/>
                  <a:pt x="12030" y="940"/>
                </a:cubicBezTo>
                <a:cubicBezTo>
                  <a:pt x="12126" y="907"/>
                  <a:pt x="12247" y="890"/>
                  <a:pt x="12391" y="879"/>
                </a:cubicBezTo>
                <a:cubicBezTo>
                  <a:pt x="12420" y="877"/>
                  <a:pt x="12451" y="876"/>
                  <a:pt x="12482" y="874"/>
                </a:cubicBezTo>
                <a:cubicBezTo>
                  <a:pt x="12474" y="838"/>
                  <a:pt x="12468" y="809"/>
                  <a:pt x="12465" y="789"/>
                </a:cubicBezTo>
                <a:cubicBezTo>
                  <a:pt x="12265" y="790"/>
                  <a:pt x="12117" y="791"/>
                  <a:pt x="12086" y="793"/>
                </a:cubicBezTo>
                <a:cubicBezTo>
                  <a:pt x="11962" y="797"/>
                  <a:pt x="11862" y="802"/>
                  <a:pt x="11783" y="838"/>
                </a:cubicBezTo>
                <a:cubicBezTo>
                  <a:pt x="11748" y="853"/>
                  <a:pt x="11699" y="891"/>
                  <a:pt x="11658" y="931"/>
                </a:cubicBezTo>
                <a:cubicBezTo>
                  <a:pt x="11616" y="971"/>
                  <a:pt x="11581" y="1014"/>
                  <a:pt x="11567" y="1034"/>
                </a:cubicBezTo>
                <a:cubicBezTo>
                  <a:pt x="11553" y="1054"/>
                  <a:pt x="11535" y="1075"/>
                  <a:pt x="11513" y="1099"/>
                </a:cubicBezTo>
                <a:cubicBezTo>
                  <a:pt x="11481" y="1135"/>
                  <a:pt x="11441" y="1176"/>
                  <a:pt x="11410" y="1209"/>
                </a:cubicBezTo>
                <a:cubicBezTo>
                  <a:pt x="11394" y="1225"/>
                  <a:pt x="11380" y="1240"/>
                  <a:pt x="11371" y="1249"/>
                </a:cubicBezTo>
                <a:cubicBezTo>
                  <a:pt x="11368" y="1253"/>
                  <a:pt x="11365" y="1256"/>
                  <a:pt x="11363" y="1258"/>
                </a:cubicBezTo>
                <a:cubicBezTo>
                  <a:pt x="11362" y="1259"/>
                  <a:pt x="11362" y="1260"/>
                  <a:pt x="11361" y="1260"/>
                </a:cubicBezTo>
                <a:cubicBezTo>
                  <a:pt x="11356" y="1267"/>
                  <a:pt x="11356" y="1267"/>
                  <a:pt x="11354" y="1269"/>
                </a:cubicBezTo>
                <a:cubicBezTo>
                  <a:pt x="11346" y="1277"/>
                  <a:pt x="11328" y="1295"/>
                  <a:pt x="11297" y="1325"/>
                </a:cubicBezTo>
                <a:cubicBezTo>
                  <a:pt x="11191" y="1429"/>
                  <a:pt x="10953" y="1657"/>
                  <a:pt x="10739" y="1864"/>
                </a:cubicBezTo>
                <a:cubicBezTo>
                  <a:pt x="10632" y="1967"/>
                  <a:pt x="10530" y="2064"/>
                  <a:pt x="10454" y="2137"/>
                </a:cubicBezTo>
                <a:cubicBezTo>
                  <a:pt x="10416" y="2173"/>
                  <a:pt x="10384" y="2204"/>
                  <a:pt x="10360" y="2226"/>
                </a:cubicBezTo>
                <a:cubicBezTo>
                  <a:pt x="10349" y="2237"/>
                  <a:pt x="10339" y="2246"/>
                  <a:pt x="10332" y="2253"/>
                </a:cubicBezTo>
                <a:cubicBezTo>
                  <a:pt x="10324" y="2260"/>
                  <a:pt x="10321" y="2263"/>
                  <a:pt x="10316" y="2267"/>
                </a:cubicBezTo>
                <a:cubicBezTo>
                  <a:pt x="10287" y="2291"/>
                  <a:pt x="10259" y="2302"/>
                  <a:pt x="10235" y="2311"/>
                </a:cubicBezTo>
                <a:cubicBezTo>
                  <a:pt x="10225" y="2315"/>
                  <a:pt x="10216" y="2317"/>
                  <a:pt x="10209" y="2320"/>
                </a:cubicBezTo>
                <a:cubicBezTo>
                  <a:pt x="10208" y="2321"/>
                  <a:pt x="10208" y="2321"/>
                  <a:pt x="10208" y="2321"/>
                </a:cubicBezTo>
                <a:cubicBezTo>
                  <a:pt x="10202" y="2322"/>
                  <a:pt x="10202" y="2322"/>
                  <a:pt x="10202" y="2322"/>
                </a:cubicBezTo>
                <a:cubicBezTo>
                  <a:pt x="10206" y="2339"/>
                  <a:pt x="10212" y="2359"/>
                  <a:pt x="10218" y="2383"/>
                </a:cubicBezTo>
                <a:close/>
                <a:moveTo>
                  <a:pt x="10255" y="2518"/>
                </a:moveTo>
                <a:cubicBezTo>
                  <a:pt x="10328" y="2495"/>
                  <a:pt x="10389" y="2475"/>
                  <a:pt x="10432" y="2460"/>
                </a:cubicBezTo>
                <a:cubicBezTo>
                  <a:pt x="10464" y="2448"/>
                  <a:pt x="10485" y="2439"/>
                  <a:pt x="10504" y="2428"/>
                </a:cubicBezTo>
                <a:cubicBezTo>
                  <a:pt x="10530" y="2413"/>
                  <a:pt x="10560" y="2388"/>
                  <a:pt x="10601" y="2353"/>
                </a:cubicBezTo>
                <a:cubicBezTo>
                  <a:pt x="10641" y="2319"/>
                  <a:pt x="10690" y="2275"/>
                  <a:pt x="10745" y="2224"/>
                </a:cubicBezTo>
                <a:cubicBezTo>
                  <a:pt x="10856" y="2122"/>
                  <a:pt x="10993" y="1992"/>
                  <a:pt x="11139" y="1855"/>
                </a:cubicBezTo>
                <a:cubicBezTo>
                  <a:pt x="11185" y="1812"/>
                  <a:pt x="11231" y="1769"/>
                  <a:pt x="11278" y="1725"/>
                </a:cubicBezTo>
                <a:cubicBezTo>
                  <a:pt x="11460" y="1599"/>
                  <a:pt x="11824" y="1304"/>
                  <a:pt x="11896" y="1263"/>
                </a:cubicBezTo>
                <a:cubicBezTo>
                  <a:pt x="11925" y="1247"/>
                  <a:pt x="12038" y="1193"/>
                  <a:pt x="12211" y="1145"/>
                </a:cubicBezTo>
                <a:cubicBezTo>
                  <a:pt x="12313" y="1117"/>
                  <a:pt x="12436" y="1100"/>
                  <a:pt x="12546" y="1078"/>
                </a:cubicBezTo>
                <a:cubicBezTo>
                  <a:pt x="12543" y="1071"/>
                  <a:pt x="12541" y="1064"/>
                  <a:pt x="12538" y="1058"/>
                </a:cubicBezTo>
                <a:cubicBezTo>
                  <a:pt x="12514" y="997"/>
                  <a:pt x="12498" y="939"/>
                  <a:pt x="12486" y="891"/>
                </a:cubicBezTo>
                <a:cubicBezTo>
                  <a:pt x="12454" y="892"/>
                  <a:pt x="12422" y="894"/>
                  <a:pt x="12392" y="896"/>
                </a:cubicBezTo>
                <a:cubicBezTo>
                  <a:pt x="12249" y="906"/>
                  <a:pt x="12129" y="923"/>
                  <a:pt x="12036" y="955"/>
                </a:cubicBezTo>
                <a:cubicBezTo>
                  <a:pt x="11995" y="969"/>
                  <a:pt x="11952" y="995"/>
                  <a:pt x="11901" y="1030"/>
                </a:cubicBezTo>
                <a:cubicBezTo>
                  <a:pt x="11850" y="1065"/>
                  <a:pt x="11792" y="1109"/>
                  <a:pt x="11730" y="1160"/>
                </a:cubicBezTo>
                <a:cubicBezTo>
                  <a:pt x="11604" y="1262"/>
                  <a:pt x="11458" y="1393"/>
                  <a:pt x="11309" y="1529"/>
                </a:cubicBezTo>
                <a:cubicBezTo>
                  <a:pt x="11011" y="1802"/>
                  <a:pt x="10702" y="2101"/>
                  <a:pt x="10538" y="2245"/>
                </a:cubicBezTo>
                <a:cubicBezTo>
                  <a:pt x="10491" y="2286"/>
                  <a:pt x="10455" y="2315"/>
                  <a:pt x="10441" y="2323"/>
                </a:cubicBezTo>
                <a:cubicBezTo>
                  <a:pt x="10441" y="2323"/>
                  <a:pt x="10441" y="2323"/>
                  <a:pt x="10441" y="2323"/>
                </a:cubicBezTo>
                <a:cubicBezTo>
                  <a:pt x="10439" y="2324"/>
                  <a:pt x="10437" y="2325"/>
                  <a:pt x="10432" y="2327"/>
                </a:cubicBezTo>
                <a:cubicBezTo>
                  <a:pt x="10427" y="2330"/>
                  <a:pt x="10419" y="2333"/>
                  <a:pt x="10411" y="2336"/>
                </a:cubicBezTo>
                <a:cubicBezTo>
                  <a:pt x="10394" y="2343"/>
                  <a:pt x="10372" y="2351"/>
                  <a:pt x="10344" y="2360"/>
                </a:cubicBezTo>
                <a:cubicBezTo>
                  <a:pt x="10311" y="2371"/>
                  <a:pt x="10269" y="2385"/>
                  <a:pt x="10223" y="2399"/>
                </a:cubicBezTo>
                <a:cubicBezTo>
                  <a:pt x="10232" y="2433"/>
                  <a:pt x="10243" y="2473"/>
                  <a:pt x="10255" y="2518"/>
                </a:cubicBezTo>
                <a:close/>
                <a:moveTo>
                  <a:pt x="10379" y="2947"/>
                </a:moveTo>
                <a:cubicBezTo>
                  <a:pt x="10371" y="2959"/>
                  <a:pt x="10371" y="2959"/>
                  <a:pt x="10371" y="2959"/>
                </a:cubicBezTo>
                <a:cubicBezTo>
                  <a:pt x="10371" y="2959"/>
                  <a:pt x="10371" y="2959"/>
                  <a:pt x="10371" y="2960"/>
                </a:cubicBezTo>
                <a:lnTo>
                  <a:pt x="10379" y="2947"/>
                </a:lnTo>
                <a:close/>
                <a:moveTo>
                  <a:pt x="12803" y="1940"/>
                </a:moveTo>
                <a:cubicBezTo>
                  <a:pt x="12800" y="1924"/>
                  <a:pt x="12795" y="1891"/>
                  <a:pt x="12788" y="1851"/>
                </a:cubicBezTo>
                <a:cubicBezTo>
                  <a:pt x="12778" y="1795"/>
                  <a:pt x="12764" y="1724"/>
                  <a:pt x="12749" y="1669"/>
                </a:cubicBezTo>
                <a:cubicBezTo>
                  <a:pt x="12723" y="1566"/>
                  <a:pt x="12614" y="1257"/>
                  <a:pt x="12552" y="1094"/>
                </a:cubicBezTo>
                <a:cubicBezTo>
                  <a:pt x="12441" y="1116"/>
                  <a:pt x="12316" y="1133"/>
                  <a:pt x="12216" y="1161"/>
                </a:cubicBezTo>
                <a:cubicBezTo>
                  <a:pt x="12043" y="1208"/>
                  <a:pt x="11931" y="1262"/>
                  <a:pt x="11904" y="1278"/>
                </a:cubicBezTo>
                <a:cubicBezTo>
                  <a:pt x="11836" y="1316"/>
                  <a:pt x="11469" y="1612"/>
                  <a:pt x="11289" y="1738"/>
                </a:cubicBezTo>
                <a:cubicBezTo>
                  <a:pt x="11243" y="1781"/>
                  <a:pt x="11196" y="1824"/>
                  <a:pt x="11150" y="1867"/>
                </a:cubicBezTo>
                <a:cubicBezTo>
                  <a:pt x="11005" y="2003"/>
                  <a:pt x="10867" y="2134"/>
                  <a:pt x="10756" y="2236"/>
                </a:cubicBezTo>
                <a:cubicBezTo>
                  <a:pt x="10701" y="2287"/>
                  <a:pt x="10652" y="2331"/>
                  <a:pt x="10611" y="2366"/>
                </a:cubicBezTo>
                <a:cubicBezTo>
                  <a:pt x="10571" y="2401"/>
                  <a:pt x="10540" y="2426"/>
                  <a:pt x="10513" y="2442"/>
                </a:cubicBezTo>
                <a:cubicBezTo>
                  <a:pt x="10492" y="2454"/>
                  <a:pt x="10470" y="2463"/>
                  <a:pt x="10438" y="2475"/>
                </a:cubicBezTo>
                <a:cubicBezTo>
                  <a:pt x="10394" y="2491"/>
                  <a:pt x="10333" y="2511"/>
                  <a:pt x="10259" y="2534"/>
                </a:cubicBezTo>
                <a:cubicBezTo>
                  <a:pt x="10290" y="2650"/>
                  <a:pt x="10329" y="2794"/>
                  <a:pt x="10366" y="2942"/>
                </a:cubicBezTo>
                <a:cubicBezTo>
                  <a:pt x="10417" y="2940"/>
                  <a:pt x="10785" y="2932"/>
                  <a:pt x="11155" y="2924"/>
                </a:cubicBezTo>
                <a:cubicBezTo>
                  <a:pt x="11552" y="2916"/>
                  <a:pt x="11949" y="2907"/>
                  <a:pt x="11949" y="2907"/>
                </a:cubicBezTo>
                <a:cubicBezTo>
                  <a:pt x="11949" y="2907"/>
                  <a:pt x="11949" y="2907"/>
                  <a:pt x="11949" y="2907"/>
                </a:cubicBezTo>
                <a:cubicBezTo>
                  <a:pt x="11951" y="2907"/>
                  <a:pt x="11953" y="2907"/>
                  <a:pt x="11957" y="2907"/>
                </a:cubicBezTo>
                <a:cubicBezTo>
                  <a:pt x="11976" y="2907"/>
                  <a:pt x="12021" y="2909"/>
                  <a:pt x="12073" y="2924"/>
                </a:cubicBezTo>
                <a:cubicBezTo>
                  <a:pt x="12089" y="2887"/>
                  <a:pt x="12124" y="2806"/>
                  <a:pt x="12140" y="2772"/>
                </a:cubicBezTo>
                <a:cubicBezTo>
                  <a:pt x="12145" y="2760"/>
                  <a:pt x="12153" y="2750"/>
                  <a:pt x="12166" y="2731"/>
                </a:cubicBezTo>
                <a:cubicBezTo>
                  <a:pt x="12252" y="2614"/>
                  <a:pt x="12530" y="2274"/>
                  <a:pt x="12548" y="2251"/>
                </a:cubicBezTo>
                <a:cubicBezTo>
                  <a:pt x="12559" y="2235"/>
                  <a:pt x="12662" y="2082"/>
                  <a:pt x="12742" y="1992"/>
                </a:cubicBezTo>
                <a:cubicBezTo>
                  <a:pt x="12761" y="1970"/>
                  <a:pt x="12782" y="1953"/>
                  <a:pt x="12803" y="1940"/>
                </a:cubicBezTo>
                <a:close/>
                <a:moveTo>
                  <a:pt x="15781" y="1772"/>
                </a:moveTo>
                <a:cubicBezTo>
                  <a:pt x="15777" y="1764"/>
                  <a:pt x="15777" y="1764"/>
                  <a:pt x="15777" y="1764"/>
                </a:cubicBezTo>
                <a:cubicBezTo>
                  <a:pt x="15777" y="1764"/>
                  <a:pt x="15777" y="1764"/>
                  <a:pt x="15777" y="1764"/>
                </a:cubicBezTo>
                <a:lnTo>
                  <a:pt x="15781" y="1772"/>
                </a:lnTo>
                <a:close/>
                <a:moveTo>
                  <a:pt x="10215" y="211"/>
                </a:moveTo>
                <a:cubicBezTo>
                  <a:pt x="10195" y="0"/>
                  <a:pt x="10195" y="0"/>
                  <a:pt x="10195" y="0"/>
                </a:cubicBezTo>
                <a:cubicBezTo>
                  <a:pt x="10181" y="0"/>
                  <a:pt x="10181" y="0"/>
                  <a:pt x="10181" y="0"/>
                </a:cubicBezTo>
                <a:cubicBezTo>
                  <a:pt x="10201" y="213"/>
                  <a:pt x="10201" y="213"/>
                  <a:pt x="10201" y="213"/>
                </a:cubicBezTo>
                <a:lnTo>
                  <a:pt x="10215" y="211"/>
                </a:lnTo>
                <a:close/>
              </a:path>
            </a:pathLst>
          </a:custGeom>
          <a:gradFill>
            <a:gsLst>
              <a:gs pos="40000">
                <a:srgbClr val="827985">
                  <a:alpha val="0"/>
                </a:srgbClr>
              </a:gs>
              <a:gs pos="100000">
                <a:srgbClr val="58525A"/>
              </a:gs>
            </a:gsLst>
            <a:lin ang="0" scaled="1"/>
          </a:gradFill>
          <a:ln>
            <a:noFill/>
          </a:ln>
        </p:spPr>
        <p:txBody>
          <a:bodyPr vert="horz" wrap="square" lIns="91440" tIns="45720" rIns="91440" bIns="45720" numCol="1" anchor="t" anchorCtr="0" compatLnSpc="1">
            <a:prstTxWarp prst="textNoShape">
              <a:avLst/>
            </a:prstTxWarp>
          </a:bodyPr>
          <a:lstStyle/>
          <a:p>
            <a:endParaRPr lang="nl-NL" dirty="0"/>
          </a:p>
        </p:txBody>
      </p:sp>
      <p:sp>
        <p:nvSpPr>
          <p:cNvPr id="22" name="Wit boven">
            <a:extLst>
              <a:ext uri="{FF2B5EF4-FFF2-40B4-BE49-F238E27FC236}">
                <a16:creationId xmlns:a16="http://schemas.microsoft.com/office/drawing/2014/main" id="{3B89E0E3-1318-4999-9D1D-FB366FA744A5}"/>
              </a:ext>
            </a:extLst>
          </p:cNvPr>
          <p:cNvSpPr>
            <a:spLocks noSelect="1"/>
          </p:cNvSpPr>
          <p:nvPr userDrawn="1"/>
        </p:nvSpPr>
        <p:spPr bwMode="gray">
          <a:xfrm>
            <a:off x="6471444" y="-422"/>
            <a:ext cx="5721350" cy="1141413"/>
          </a:xfrm>
          <a:custGeom>
            <a:avLst/>
            <a:gdLst>
              <a:gd name="T0" fmla="*/ 18015 w 18015"/>
              <a:gd name="T1" fmla="*/ 981 h 3600"/>
              <a:gd name="T2" fmla="*/ 15729 w 18015"/>
              <a:gd name="T3" fmla="*/ 3600 h 3600"/>
              <a:gd name="T4" fmla="*/ 14466 w 18015"/>
              <a:gd name="T5" fmla="*/ 1949 h 3600"/>
              <a:gd name="T6" fmla="*/ 12531 w 18015"/>
              <a:gd name="T7" fmla="*/ 2793 h 3600"/>
              <a:gd name="T8" fmla="*/ 11501 w 18015"/>
              <a:gd name="T9" fmla="*/ 2975 h 3600"/>
              <a:gd name="T10" fmla="*/ 10553 w 18015"/>
              <a:gd name="T11" fmla="*/ 2541 h 3600"/>
              <a:gd name="T12" fmla="*/ 7686 w 18015"/>
              <a:gd name="T13" fmla="*/ 3338 h 3600"/>
              <a:gd name="T14" fmla="*/ 7358 w 18015"/>
              <a:gd name="T15" fmla="*/ 3307 h 3600"/>
              <a:gd name="T16" fmla="*/ 5102 w 18015"/>
              <a:gd name="T17" fmla="*/ 3600 h 3600"/>
              <a:gd name="T18" fmla="*/ 5302 w 18015"/>
              <a:gd name="T19" fmla="*/ 2516 h 3600"/>
              <a:gd name="T20" fmla="*/ 3950 w 18015"/>
              <a:gd name="T21" fmla="*/ 3395 h 3600"/>
              <a:gd name="T22" fmla="*/ 3938 w 18015"/>
              <a:gd name="T23" fmla="*/ 3428 h 3600"/>
              <a:gd name="T24" fmla="*/ 2951 w 18015"/>
              <a:gd name="T25" fmla="*/ 3034 h 3600"/>
              <a:gd name="T26" fmla="*/ 2499 w 18015"/>
              <a:gd name="T27" fmla="*/ 1397 h 3600"/>
              <a:gd name="T28" fmla="*/ 345 w 18015"/>
              <a:gd name="T29" fmla="*/ 3398 h 3600"/>
              <a:gd name="T30" fmla="*/ 681 w 18015"/>
              <a:gd name="T31" fmla="*/ 1813 h 3600"/>
              <a:gd name="T32" fmla="*/ 1282 w 18015"/>
              <a:gd name="T33" fmla="*/ 2398 h 3600"/>
              <a:gd name="T34" fmla="*/ 2486 w 18015"/>
              <a:gd name="T35" fmla="*/ 1118 h 3600"/>
              <a:gd name="T36" fmla="*/ 2800 w 18015"/>
              <a:gd name="T37" fmla="*/ 1345 h 3600"/>
              <a:gd name="T38" fmla="*/ 4197 w 18015"/>
              <a:gd name="T39" fmla="*/ 1086 h 3600"/>
              <a:gd name="T40" fmla="*/ 4449 w 18015"/>
              <a:gd name="T41" fmla="*/ 64 h 3600"/>
              <a:gd name="T42" fmla="*/ 5542 w 18015"/>
              <a:gd name="T43" fmla="*/ 450 h 3600"/>
              <a:gd name="T44" fmla="*/ 5509 w 18015"/>
              <a:gd name="T45" fmla="*/ 638 h 3600"/>
              <a:gd name="T46" fmla="*/ 6623 w 18015"/>
              <a:gd name="T47" fmla="*/ 805 h 3600"/>
              <a:gd name="T48" fmla="*/ 7146 w 18015"/>
              <a:gd name="T49" fmla="*/ 1257 h 3600"/>
              <a:gd name="T50" fmla="*/ 7641 w 18015"/>
              <a:gd name="T51" fmla="*/ 250 h 3600"/>
              <a:gd name="T52" fmla="*/ 9431 w 18015"/>
              <a:gd name="T53" fmla="*/ 1094 h 3600"/>
              <a:gd name="T54" fmla="*/ 9821 w 18015"/>
              <a:gd name="T55" fmla="*/ 0 h 3600"/>
              <a:gd name="T56" fmla="*/ 11594 w 18015"/>
              <a:gd name="T57" fmla="*/ 1185 h 3600"/>
              <a:gd name="T58" fmla="*/ 11623 w 18015"/>
              <a:gd name="T59" fmla="*/ 252 h 3600"/>
              <a:gd name="T60" fmla="*/ 13374 w 18015"/>
              <a:gd name="T61" fmla="*/ 652 h 3600"/>
              <a:gd name="T62" fmla="*/ 14223 w 18015"/>
              <a:gd name="T63" fmla="*/ 153 h 3600"/>
              <a:gd name="T64" fmla="*/ 15010 w 18015"/>
              <a:gd name="T65" fmla="*/ 0 h 3600"/>
              <a:gd name="T66" fmla="*/ 12872 w 18015"/>
              <a:gd name="T67" fmla="*/ 842 h 3600"/>
              <a:gd name="T68" fmla="*/ 15391 w 18015"/>
              <a:gd name="T69" fmla="*/ 0 h 3600"/>
              <a:gd name="T70" fmla="*/ 13225 w 18015"/>
              <a:gd name="T71" fmla="*/ 1014 h 3600"/>
              <a:gd name="T72" fmla="*/ 14466 w 18015"/>
              <a:gd name="T73" fmla="*/ 1913 h 3600"/>
              <a:gd name="T74" fmla="*/ 18015 w 18015"/>
              <a:gd name="T75" fmla="*/ 628 h 3600"/>
              <a:gd name="T76" fmla="*/ 8695 w 18015"/>
              <a:gd name="T77" fmla="*/ 1608 h 3600"/>
              <a:gd name="T78" fmla="*/ 10511 w 18015"/>
              <a:gd name="T79" fmla="*/ 2193 h 3600"/>
              <a:gd name="T80" fmla="*/ 10606 w 18015"/>
              <a:gd name="T81" fmla="*/ 936 h 3600"/>
              <a:gd name="T82" fmla="*/ 9363 w 18015"/>
              <a:gd name="T83" fmla="*/ 1169 h 3600"/>
              <a:gd name="T84" fmla="*/ 8659 w 18015"/>
              <a:gd name="T85" fmla="*/ 1602 h 3600"/>
              <a:gd name="T86" fmla="*/ 7131 w 18015"/>
              <a:gd name="T87" fmla="*/ 1311 h 3600"/>
              <a:gd name="T88" fmla="*/ 7159 w 18015"/>
              <a:gd name="T89" fmla="*/ 2411 h 3600"/>
              <a:gd name="T90" fmla="*/ 6296 w 18015"/>
              <a:gd name="T91" fmla="*/ 725 h 3600"/>
              <a:gd name="T92" fmla="*/ 4020 w 18015"/>
              <a:gd name="T93" fmla="*/ 1758 h 3600"/>
              <a:gd name="T94" fmla="*/ 8513 w 18015"/>
              <a:gd name="T95" fmla="*/ 2701 h 3600"/>
              <a:gd name="T96" fmla="*/ 6513 w 18015"/>
              <a:gd name="T97" fmla="*/ 2728 h 3600"/>
              <a:gd name="T98" fmla="*/ 8534 w 18015"/>
              <a:gd name="T99" fmla="*/ 2710 h 3600"/>
              <a:gd name="T100" fmla="*/ 8611 w 18015"/>
              <a:gd name="T101" fmla="*/ 2792 h 3600"/>
              <a:gd name="T102" fmla="*/ 7467 w 18015"/>
              <a:gd name="T103" fmla="*/ 3260 h 3600"/>
              <a:gd name="T104" fmla="*/ 10753 w 18015"/>
              <a:gd name="T105" fmla="*/ 2328 h 3600"/>
              <a:gd name="T106" fmla="*/ 12825 w 18015"/>
              <a:gd name="T107" fmla="*/ 792 h 3600"/>
              <a:gd name="T108" fmla="*/ 11693 w 18015"/>
              <a:gd name="T109" fmla="*/ 1246 h 3600"/>
              <a:gd name="T110" fmla="*/ 10545 w 18015"/>
              <a:gd name="T111" fmla="*/ 2303 h 3600"/>
              <a:gd name="T112" fmla="*/ 10687 w 18015"/>
              <a:gd name="T113" fmla="*/ 2352 h 3600"/>
              <a:gd name="T114" fmla="*/ 13164 w 18015"/>
              <a:gd name="T115" fmla="*/ 1947 h 3600"/>
              <a:gd name="T116" fmla="*/ 10951 w 18015"/>
              <a:gd name="T117" fmla="*/ 2360 h 3600"/>
              <a:gd name="T118" fmla="*/ 12302 w 18015"/>
              <a:gd name="T119" fmla="*/ 2922 h 3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15" h="3600">
                <a:moveTo>
                  <a:pt x="0" y="1300"/>
                </a:moveTo>
                <a:cubicBezTo>
                  <a:pt x="1" y="1303"/>
                  <a:pt x="1" y="1303"/>
                  <a:pt x="1" y="1303"/>
                </a:cubicBezTo>
                <a:cubicBezTo>
                  <a:pt x="1" y="1303"/>
                  <a:pt x="1" y="1303"/>
                  <a:pt x="1" y="1303"/>
                </a:cubicBezTo>
                <a:cubicBezTo>
                  <a:pt x="0" y="1300"/>
                  <a:pt x="0" y="1300"/>
                  <a:pt x="0" y="1300"/>
                </a:cubicBezTo>
                <a:cubicBezTo>
                  <a:pt x="0" y="1300"/>
                  <a:pt x="0" y="1300"/>
                  <a:pt x="0" y="1300"/>
                </a:cubicBezTo>
                <a:close/>
                <a:moveTo>
                  <a:pt x="18015" y="673"/>
                </a:moveTo>
                <a:cubicBezTo>
                  <a:pt x="17981" y="697"/>
                  <a:pt x="17948" y="720"/>
                  <a:pt x="17916" y="741"/>
                </a:cubicBezTo>
                <a:cubicBezTo>
                  <a:pt x="17949" y="788"/>
                  <a:pt x="17983" y="842"/>
                  <a:pt x="18015" y="902"/>
                </a:cubicBezTo>
                <a:cubicBezTo>
                  <a:pt x="18015" y="981"/>
                  <a:pt x="18015" y="981"/>
                  <a:pt x="18015" y="981"/>
                </a:cubicBezTo>
                <a:cubicBezTo>
                  <a:pt x="17974" y="896"/>
                  <a:pt x="17930" y="823"/>
                  <a:pt x="17886" y="761"/>
                </a:cubicBezTo>
                <a:cubicBezTo>
                  <a:pt x="17439" y="1053"/>
                  <a:pt x="16726" y="1590"/>
                  <a:pt x="16216" y="1725"/>
                </a:cubicBezTo>
                <a:cubicBezTo>
                  <a:pt x="16183" y="1734"/>
                  <a:pt x="16150" y="1742"/>
                  <a:pt x="16116" y="1750"/>
                </a:cubicBezTo>
                <a:cubicBezTo>
                  <a:pt x="16118" y="1753"/>
                  <a:pt x="16118" y="1753"/>
                  <a:pt x="16118" y="1753"/>
                </a:cubicBezTo>
                <a:cubicBezTo>
                  <a:pt x="16121" y="1757"/>
                  <a:pt x="16121" y="1757"/>
                  <a:pt x="16121" y="1757"/>
                </a:cubicBezTo>
                <a:cubicBezTo>
                  <a:pt x="16098" y="1775"/>
                  <a:pt x="15766" y="2152"/>
                  <a:pt x="15716" y="2342"/>
                </a:cubicBezTo>
                <a:cubicBezTo>
                  <a:pt x="15685" y="2459"/>
                  <a:pt x="15653" y="2676"/>
                  <a:pt x="15653" y="2932"/>
                </a:cubicBezTo>
                <a:cubicBezTo>
                  <a:pt x="15653" y="3116"/>
                  <a:pt x="15669" y="3322"/>
                  <a:pt x="15713" y="3526"/>
                </a:cubicBezTo>
                <a:cubicBezTo>
                  <a:pt x="15718" y="3551"/>
                  <a:pt x="15723" y="3575"/>
                  <a:pt x="15729" y="3600"/>
                </a:cubicBezTo>
                <a:cubicBezTo>
                  <a:pt x="15692" y="3600"/>
                  <a:pt x="15692" y="3600"/>
                  <a:pt x="15692" y="3600"/>
                </a:cubicBezTo>
                <a:cubicBezTo>
                  <a:pt x="15687" y="3578"/>
                  <a:pt x="15682" y="3556"/>
                  <a:pt x="15678" y="3534"/>
                </a:cubicBezTo>
                <a:cubicBezTo>
                  <a:pt x="15634" y="3326"/>
                  <a:pt x="15617" y="3118"/>
                  <a:pt x="15617" y="2932"/>
                </a:cubicBezTo>
                <a:cubicBezTo>
                  <a:pt x="15617" y="2673"/>
                  <a:pt x="15649" y="2455"/>
                  <a:pt x="15682" y="2333"/>
                </a:cubicBezTo>
                <a:cubicBezTo>
                  <a:pt x="15711" y="2224"/>
                  <a:pt x="15813" y="2076"/>
                  <a:pt x="15909" y="1951"/>
                </a:cubicBezTo>
                <a:cubicBezTo>
                  <a:pt x="15957" y="1890"/>
                  <a:pt x="16003" y="1834"/>
                  <a:pt x="16038" y="1794"/>
                </a:cubicBezTo>
                <a:cubicBezTo>
                  <a:pt x="16049" y="1782"/>
                  <a:pt x="16058" y="1771"/>
                  <a:pt x="16067" y="1762"/>
                </a:cubicBezTo>
                <a:cubicBezTo>
                  <a:pt x="15601" y="1868"/>
                  <a:pt x="15111" y="1907"/>
                  <a:pt x="14955" y="1935"/>
                </a:cubicBezTo>
                <a:cubicBezTo>
                  <a:pt x="14893" y="1946"/>
                  <a:pt x="14700" y="1949"/>
                  <a:pt x="14466" y="1949"/>
                </a:cubicBezTo>
                <a:cubicBezTo>
                  <a:pt x="14008" y="1949"/>
                  <a:pt x="13402" y="1936"/>
                  <a:pt x="13377" y="1935"/>
                </a:cubicBezTo>
                <a:cubicBezTo>
                  <a:pt x="13300" y="1939"/>
                  <a:pt x="13202" y="1939"/>
                  <a:pt x="13125" y="2025"/>
                </a:cubicBezTo>
                <a:cubicBezTo>
                  <a:pt x="13085" y="2071"/>
                  <a:pt x="13037" y="2135"/>
                  <a:pt x="13000" y="2187"/>
                </a:cubicBezTo>
                <a:cubicBezTo>
                  <a:pt x="12962" y="2240"/>
                  <a:pt x="12935" y="2281"/>
                  <a:pt x="12935" y="2281"/>
                </a:cubicBezTo>
                <a:cubicBezTo>
                  <a:pt x="12934" y="2282"/>
                  <a:pt x="12934" y="2282"/>
                  <a:pt x="12934" y="2282"/>
                </a:cubicBezTo>
                <a:cubicBezTo>
                  <a:pt x="12934" y="2282"/>
                  <a:pt x="12934" y="2282"/>
                  <a:pt x="12934" y="2282"/>
                </a:cubicBezTo>
                <a:cubicBezTo>
                  <a:pt x="12933" y="2282"/>
                  <a:pt x="12838" y="2400"/>
                  <a:pt x="12739" y="2523"/>
                </a:cubicBezTo>
                <a:cubicBezTo>
                  <a:pt x="12690" y="2584"/>
                  <a:pt x="12640" y="2647"/>
                  <a:pt x="12601" y="2697"/>
                </a:cubicBezTo>
                <a:cubicBezTo>
                  <a:pt x="12562" y="2747"/>
                  <a:pt x="12533" y="2787"/>
                  <a:pt x="12531" y="2793"/>
                </a:cubicBezTo>
                <a:cubicBezTo>
                  <a:pt x="12514" y="2830"/>
                  <a:pt x="12473" y="2925"/>
                  <a:pt x="12460" y="2955"/>
                </a:cubicBezTo>
                <a:cubicBezTo>
                  <a:pt x="12487" y="2967"/>
                  <a:pt x="12514" y="2983"/>
                  <a:pt x="12538" y="3006"/>
                </a:cubicBezTo>
                <a:cubicBezTo>
                  <a:pt x="12540" y="3007"/>
                  <a:pt x="12540" y="3007"/>
                  <a:pt x="12540" y="3007"/>
                </a:cubicBezTo>
                <a:cubicBezTo>
                  <a:pt x="12930" y="3600"/>
                  <a:pt x="12930" y="3600"/>
                  <a:pt x="12930" y="3600"/>
                </a:cubicBezTo>
                <a:cubicBezTo>
                  <a:pt x="12887" y="3600"/>
                  <a:pt x="12887" y="3600"/>
                  <a:pt x="12887" y="3600"/>
                </a:cubicBezTo>
                <a:cubicBezTo>
                  <a:pt x="12512" y="3031"/>
                  <a:pt x="12512" y="3031"/>
                  <a:pt x="12512" y="3031"/>
                </a:cubicBezTo>
                <a:cubicBezTo>
                  <a:pt x="12439" y="2964"/>
                  <a:pt x="12330" y="2958"/>
                  <a:pt x="12302" y="2958"/>
                </a:cubicBezTo>
                <a:cubicBezTo>
                  <a:pt x="12298" y="2958"/>
                  <a:pt x="12296" y="2958"/>
                  <a:pt x="12296" y="2958"/>
                </a:cubicBezTo>
                <a:cubicBezTo>
                  <a:pt x="12294" y="2958"/>
                  <a:pt x="11898" y="2967"/>
                  <a:pt x="11501" y="2975"/>
                </a:cubicBezTo>
                <a:cubicBezTo>
                  <a:pt x="11302" y="2980"/>
                  <a:pt x="11103" y="2984"/>
                  <a:pt x="10954" y="2987"/>
                </a:cubicBezTo>
                <a:cubicBezTo>
                  <a:pt x="10880" y="2989"/>
                  <a:pt x="10818" y="2990"/>
                  <a:pt x="10774" y="2991"/>
                </a:cubicBezTo>
                <a:cubicBezTo>
                  <a:pt x="10753" y="2991"/>
                  <a:pt x="10735" y="2992"/>
                  <a:pt x="10724" y="2992"/>
                </a:cubicBezTo>
                <a:cubicBezTo>
                  <a:pt x="10718" y="2992"/>
                  <a:pt x="10714" y="2992"/>
                  <a:pt x="10711" y="2992"/>
                </a:cubicBezTo>
                <a:cubicBezTo>
                  <a:pt x="10710" y="2992"/>
                  <a:pt x="10709" y="2992"/>
                  <a:pt x="10709" y="2992"/>
                </a:cubicBezTo>
                <a:cubicBezTo>
                  <a:pt x="10766" y="3221"/>
                  <a:pt x="10821" y="3451"/>
                  <a:pt x="10857" y="3600"/>
                </a:cubicBezTo>
                <a:cubicBezTo>
                  <a:pt x="10820" y="3600"/>
                  <a:pt x="10820" y="3600"/>
                  <a:pt x="10820" y="3600"/>
                </a:cubicBezTo>
                <a:cubicBezTo>
                  <a:pt x="10782" y="3444"/>
                  <a:pt x="10726" y="3206"/>
                  <a:pt x="10666" y="2972"/>
                </a:cubicBezTo>
                <a:cubicBezTo>
                  <a:pt x="10627" y="2816"/>
                  <a:pt x="10586" y="2663"/>
                  <a:pt x="10553" y="2541"/>
                </a:cubicBezTo>
                <a:cubicBezTo>
                  <a:pt x="10434" y="2577"/>
                  <a:pt x="10286" y="2620"/>
                  <a:pt x="10120" y="2668"/>
                </a:cubicBezTo>
                <a:cubicBezTo>
                  <a:pt x="9669" y="2796"/>
                  <a:pt x="9088" y="2953"/>
                  <a:pt x="8612" y="3082"/>
                </a:cubicBezTo>
                <a:cubicBezTo>
                  <a:pt x="8374" y="3146"/>
                  <a:pt x="8162" y="3203"/>
                  <a:pt x="8006" y="3246"/>
                </a:cubicBezTo>
                <a:cubicBezTo>
                  <a:pt x="7928" y="3267"/>
                  <a:pt x="7864" y="3285"/>
                  <a:pt x="7818" y="3298"/>
                </a:cubicBezTo>
                <a:cubicBezTo>
                  <a:pt x="7795" y="3304"/>
                  <a:pt x="7777" y="3310"/>
                  <a:pt x="7763" y="3314"/>
                </a:cubicBezTo>
                <a:cubicBezTo>
                  <a:pt x="7757" y="3316"/>
                  <a:pt x="7751" y="3317"/>
                  <a:pt x="7748" y="3318"/>
                </a:cubicBezTo>
                <a:cubicBezTo>
                  <a:pt x="7746" y="3319"/>
                  <a:pt x="7744" y="3319"/>
                  <a:pt x="7744" y="3320"/>
                </a:cubicBezTo>
                <a:cubicBezTo>
                  <a:pt x="7744" y="3320"/>
                  <a:pt x="7744" y="3320"/>
                  <a:pt x="7744" y="3320"/>
                </a:cubicBezTo>
                <a:cubicBezTo>
                  <a:pt x="7726" y="3327"/>
                  <a:pt x="7709" y="3332"/>
                  <a:pt x="7686" y="3338"/>
                </a:cubicBezTo>
                <a:cubicBezTo>
                  <a:pt x="7643" y="3350"/>
                  <a:pt x="7583" y="3366"/>
                  <a:pt x="7519" y="3390"/>
                </a:cubicBezTo>
                <a:cubicBezTo>
                  <a:pt x="7603" y="3600"/>
                  <a:pt x="7603" y="3600"/>
                  <a:pt x="7603" y="3600"/>
                </a:cubicBezTo>
                <a:cubicBezTo>
                  <a:pt x="7479" y="3600"/>
                  <a:pt x="7479" y="3600"/>
                  <a:pt x="7479" y="3600"/>
                </a:cubicBezTo>
                <a:cubicBezTo>
                  <a:pt x="7413" y="3435"/>
                  <a:pt x="7413" y="3435"/>
                  <a:pt x="7413" y="3435"/>
                </a:cubicBezTo>
                <a:cubicBezTo>
                  <a:pt x="7398" y="3443"/>
                  <a:pt x="7382" y="3451"/>
                  <a:pt x="7367" y="3460"/>
                </a:cubicBezTo>
                <a:cubicBezTo>
                  <a:pt x="7303" y="3498"/>
                  <a:pt x="7248" y="3543"/>
                  <a:pt x="7207" y="3600"/>
                </a:cubicBezTo>
                <a:cubicBezTo>
                  <a:pt x="7046" y="3600"/>
                  <a:pt x="7046" y="3600"/>
                  <a:pt x="7046" y="3600"/>
                </a:cubicBezTo>
                <a:cubicBezTo>
                  <a:pt x="7069" y="3550"/>
                  <a:pt x="7099" y="3506"/>
                  <a:pt x="7134" y="3468"/>
                </a:cubicBezTo>
                <a:cubicBezTo>
                  <a:pt x="7200" y="3397"/>
                  <a:pt x="7279" y="3346"/>
                  <a:pt x="7358" y="3307"/>
                </a:cubicBezTo>
                <a:cubicBezTo>
                  <a:pt x="7342" y="3276"/>
                  <a:pt x="7323" y="3239"/>
                  <a:pt x="7302" y="3203"/>
                </a:cubicBezTo>
                <a:cubicBezTo>
                  <a:pt x="7269" y="3148"/>
                  <a:pt x="7230" y="3096"/>
                  <a:pt x="7199" y="3072"/>
                </a:cubicBezTo>
                <a:cubicBezTo>
                  <a:pt x="7104" y="2997"/>
                  <a:pt x="6979" y="2976"/>
                  <a:pt x="6868" y="2951"/>
                </a:cubicBezTo>
                <a:cubicBezTo>
                  <a:pt x="6758" y="2926"/>
                  <a:pt x="6195" y="2782"/>
                  <a:pt x="6017" y="2729"/>
                </a:cubicBezTo>
                <a:cubicBezTo>
                  <a:pt x="5870" y="2685"/>
                  <a:pt x="5467" y="2565"/>
                  <a:pt x="5342" y="2528"/>
                </a:cubicBezTo>
                <a:cubicBezTo>
                  <a:pt x="5334" y="2540"/>
                  <a:pt x="5334" y="2540"/>
                  <a:pt x="5334" y="2540"/>
                </a:cubicBezTo>
                <a:cubicBezTo>
                  <a:pt x="5298" y="2667"/>
                  <a:pt x="5204" y="2957"/>
                  <a:pt x="5194" y="2989"/>
                </a:cubicBezTo>
                <a:cubicBezTo>
                  <a:pt x="5202" y="3367"/>
                  <a:pt x="5202" y="3367"/>
                  <a:pt x="5202" y="3367"/>
                </a:cubicBezTo>
                <a:cubicBezTo>
                  <a:pt x="5102" y="3600"/>
                  <a:pt x="5102" y="3600"/>
                  <a:pt x="5102" y="3600"/>
                </a:cubicBezTo>
                <a:cubicBezTo>
                  <a:pt x="5062" y="3600"/>
                  <a:pt x="5062" y="3600"/>
                  <a:pt x="5062" y="3600"/>
                </a:cubicBezTo>
                <a:cubicBezTo>
                  <a:pt x="5166" y="3360"/>
                  <a:pt x="5166" y="3360"/>
                  <a:pt x="5166" y="3360"/>
                </a:cubicBezTo>
                <a:cubicBezTo>
                  <a:pt x="5157" y="2984"/>
                  <a:pt x="5157" y="2984"/>
                  <a:pt x="5157" y="2984"/>
                </a:cubicBezTo>
                <a:cubicBezTo>
                  <a:pt x="5158" y="2981"/>
                  <a:pt x="5158" y="2981"/>
                  <a:pt x="5158" y="2981"/>
                </a:cubicBezTo>
                <a:cubicBezTo>
                  <a:pt x="5158" y="2981"/>
                  <a:pt x="5197" y="2862"/>
                  <a:pt x="5235" y="2740"/>
                </a:cubicBezTo>
                <a:cubicBezTo>
                  <a:pt x="5255" y="2678"/>
                  <a:pt x="5274" y="2616"/>
                  <a:pt x="5288" y="2567"/>
                </a:cubicBezTo>
                <a:cubicBezTo>
                  <a:pt x="5294" y="2549"/>
                  <a:pt x="5298" y="2533"/>
                  <a:pt x="5302" y="2520"/>
                </a:cubicBezTo>
                <a:cubicBezTo>
                  <a:pt x="5302" y="2519"/>
                  <a:pt x="5302" y="2517"/>
                  <a:pt x="5302" y="2516"/>
                </a:cubicBezTo>
                <a:cubicBezTo>
                  <a:pt x="5302" y="2516"/>
                  <a:pt x="5302" y="2516"/>
                  <a:pt x="5302" y="2516"/>
                </a:cubicBezTo>
                <a:cubicBezTo>
                  <a:pt x="4438" y="2159"/>
                  <a:pt x="4438" y="2159"/>
                  <a:pt x="4438" y="2159"/>
                </a:cubicBezTo>
                <a:cubicBezTo>
                  <a:pt x="4432" y="2154"/>
                  <a:pt x="4432" y="2154"/>
                  <a:pt x="4432" y="2154"/>
                </a:cubicBezTo>
                <a:cubicBezTo>
                  <a:pt x="4432" y="2154"/>
                  <a:pt x="4414" y="2141"/>
                  <a:pt x="4383" y="2119"/>
                </a:cubicBezTo>
                <a:cubicBezTo>
                  <a:pt x="4287" y="2052"/>
                  <a:pt x="4067" y="1909"/>
                  <a:pt x="3868" y="1844"/>
                </a:cubicBezTo>
                <a:cubicBezTo>
                  <a:pt x="3813" y="1825"/>
                  <a:pt x="3738" y="1800"/>
                  <a:pt x="3654" y="1770"/>
                </a:cubicBezTo>
                <a:cubicBezTo>
                  <a:pt x="3638" y="1783"/>
                  <a:pt x="3638" y="1783"/>
                  <a:pt x="3638" y="1783"/>
                </a:cubicBezTo>
                <a:cubicBezTo>
                  <a:pt x="3216" y="3088"/>
                  <a:pt x="3216" y="3088"/>
                  <a:pt x="3216" y="3088"/>
                </a:cubicBezTo>
                <a:cubicBezTo>
                  <a:pt x="3211" y="3087"/>
                  <a:pt x="3211" y="3087"/>
                  <a:pt x="3211" y="3087"/>
                </a:cubicBezTo>
                <a:cubicBezTo>
                  <a:pt x="3368" y="3148"/>
                  <a:pt x="3683" y="3296"/>
                  <a:pt x="3950" y="3395"/>
                </a:cubicBezTo>
                <a:cubicBezTo>
                  <a:pt x="4162" y="3473"/>
                  <a:pt x="4363" y="3545"/>
                  <a:pt x="4534" y="3600"/>
                </a:cubicBezTo>
                <a:cubicBezTo>
                  <a:pt x="4419" y="3600"/>
                  <a:pt x="4419" y="3600"/>
                  <a:pt x="4419" y="3600"/>
                </a:cubicBezTo>
                <a:cubicBezTo>
                  <a:pt x="4377" y="3586"/>
                  <a:pt x="4333" y="3571"/>
                  <a:pt x="4288" y="3555"/>
                </a:cubicBezTo>
                <a:cubicBezTo>
                  <a:pt x="4284" y="3563"/>
                  <a:pt x="4276" y="3579"/>
                  <a:pt x="4267" y="3600"/>
                </a:cubicBezTo>
                <a:cubicBezTo>
                  <a:pt x="4227" y="3600"/>
                  <a:pt x="4227" y="3600"/>
                  <a:pt x="4227" y="3600"/>
                </a:cubicBezTo>
                <a:cubicBezTo>
                  <a:pt x="4229" y="3597"/>
                  <a:pt x="4230" y="3594"/>
                  <a:pt x="4232" y="3591"/>
                </a:cubicBezTo>
                <a:cubicBezTo>
                  <a:pt x="4239" y="3573"/>
                  <a:pt x="4246" y="3558"/>
                  <a:pt x="4251" y="3548"/>
                </a:cubicBezTo>
                <a:cubicBezTo>
                  <a:pt x="4252" y="3546"/>
                  <a:pt x="4253" y="3545"/>
                  <a:pt x="4254" y="3543"/>
                </a:cubicBezTo>
                <a:cubicBezTo>
                  <a:pt x="4153" y="3507"/>
                  <a:pt x="4047" y="3469"/>
                  <a:pt x="3938" y="3428"/>
                </a:cubicBezTo>
                <a:cubicBezTo>
                  <a:pt x="3617" y="3310"/>
                  <a:pt x="3225" y="3121"/>
                  <a:pt x="3129" y="3096"/>
                </a:cubicBezTo>
                <a:cubicBezTo>
                  <a:pt x="3087" y="3085"/>
                  <a:pt x="3025" y="3071"/>
                  <a:pt x="2951" y="3071"/>
                </a:cubicBezTo>
                <a:cubicBezTo>
                  <a:pt x="2849" y="3071"/>
                  <a:pt x="2725" y="3098"/>
                  <a:pt x="2601" y="3202"/>
                </a:cubicBezTo>
                <a:cubicBezTo>
                  <a:pt x="2528" y="3263"/>
                  <a:pt x="2413" y="3395"/>
                  <a:pt x="2257" y="3564"/>
                </a:cubicBezTo>
                <a:cubicBezTo>
                  <a:pt x="2246" y="3576"/>
                  <a:pt x="2234" y="3588"/>
                  <a:pt x="2223" y="3600"/>
                </a:cubicBezTo>
                <a:cubicBezTo>
                  <a:pt x="2174" y="3600"/>
                  <a:pt x="2174" y="3600"/>
                  <a:pt x="2174" y="3600"/>
                </a:cubicBezTo>
                <a:cubicBezTo>
                  <a:pt x="2193" y="3580"/>
                  <a:pt x="2212" y="3560"/>
                  <a:pt x="2230" y="3540"/>
                </a:cubicBezTo>
                <a:cubicBezTo>
                  <a:pt x="2386" y="3370"/>
                  <a:pt x="2500" y="3240"/>
                  <a:pt x="2578" y="3174"/>
                </a:cubicBezTo>
                <a:cubicBezTo>
                  <a:pt x="2709" y="3064"/>
                  <a:pt x="2843" y="3034"/>
                  <a:pt x="2951" y="3034"/>
                </a:cubicBezTo>
                <a:cubicBezTo>
                  <a:pt x="3029" y="3034"/>
                  <a:pt x="3095" y="3050"/>
                  <a:pt x="3138" y="3061"/>
                </a:cubicBezTo>
                <a:cubicBezTo>
                  <a:pt x="3149" y="3064"/>
                  <a:pt x="3165" y="3069"/>
                  <a:pt x="3182" y="3076"/>
                </a:cubicBezTo>
                <a:cubicBezTo>
                  <a:pt x="3605" y="1769"/>
                  <a:pt x="3605" y="1769"/>
                  <a:pt x="3605" y="1769"/>
                </a:cubicBezTo>
                <a:cubicBezTo>
                  <a:pt x="3606" y="1754"/>
                  <a:pt x="3606" y="1754"/>
                  <a:pt x="3606" y="1754"/>
                </a:cubicBezTo>
                <a:cubicBezTo>
                  <a:pt x="3266" y="1635"/>
                  <a:pt x="2806" y="1470"/>
                  <a:pt x="2761" y="1453"/>
                </a:cubicBezTo>
                <a:cubicBezTo>
                  <a:pt x="2731" y="1442"/>
                  <a:pt x="2689" y="1426"/>
                  <a:pt x="2648" y="1401"/>
                </a:cubicBezTo>
                <a:cubicBezTo>
                  <a:pt x="2621" y="1385"/>
                  <a:pt x="2595" y="1365"/>
                  <a:pt x="2572" y="1339"/>
                </a:cubicBezTo>
                <a:cubicBezTo>
                  <a:pt x="2562" y="1345"/>
                  <a:pt x="2562" y="1345"/>
                  <a:pt x="2562" y="1345"/>
                </a:cubicBezTo>
                <a:cubicBezTo>
                  <a:pt x="2552" y="1353"/>
                  <a:pt x="2530" y="1371"/>
                  <a:pt x="2499" y="1397"/>
                </a:cubicBezTo>
                <a:cubicBezTo>
                  <a:pt x="2364" y="1511"/>
                  <a:pt x="2060" y="1774"/>
                  <a:pt x="1789" y="2008"/>
                </a:cubicBezTo>
                <a:cubicBezTo>
                  <a:pt x="1654" y="2125"/>
                  <a:pt x="1527" y="2235"/>
                  <a:pt x="1434" y="2316"/>
                </a:cubicBezTo>
                <a:cubicBezTo>
                  <a:pt x="1347" y="2392"/>
                  <a:pt x="1289" y="2442"/>
                  <a:pt x="1283" y="2447"/>
                </a:cubicBezTo>
                <a:cubicBezTo>
                  <a:pt x="569" y="3210"/>
                  <a:pt x="569" y="3210"/>
                  <a:pt x="569" y="3210"/>
                </a:cubicBezTo>
                <a:cubicBezTo>
                  <a:pt x="607" y="3260"/>
                  <a:pt x="732" y="3423"/>
                  <a:pt x="869" y="3600"/>
                </a:cubicBezTo>
                <a:cubicBezTo>
                  <a:pt x="823" y="3600"/>
                  <a:pt x="823" y="3600"/>
                  <a:pt x="823" y="3600"/>
                </a:cubicBezTo>
                <a:cubicBezTo>
                  <a:pt x="698" y="3437"/>
                  <a:pt x="585" y="3290"/>
                  <a:pt x="545" y="3237"/>
                </a:cubicBezTo>
                <a:cubicBezTo>
                  <a:pt x="345" y="3451"/>
                  <a:pt x="345" y="3451"/>
                  <a:pt x="345" y="3451"/>
                </a:cubicBezTo>
                <a:cubicBezTo>
                  <a:pt x="345" y="3398"/>
                  <a:pt x="345" y="3398"/>
                  <a:pt x="345" y="3398"/>
                </a:cubicBezTo>
                <a:cubicBezTo>
                  <a:pt x="1256" y="2424"/>
                  <a:pt x="1256" y="2424"/>
                  <a:pt x="1256" y="2424"/>
                </a:cubicBezTo>
                <a:cubicBezTo>
                  <a:pt x="815" y="2083"/>
                  <a:pt x="815" y="2083"/>
                  <a:pt x="815" y="2083"/>
                </a:cubicBezTo>
                <a:cubicBezTo>
                  <a:pt x="813" y="2081"/>
                  <a:pt x="813" y="2081"/>
                  <a:pt x="813" y="2081"/>
                </a:cubicBezTo>
                <a:cubicBezTo>
                  <a:pt x="813" y="2080"/>
                  <a:pt x="748" y="1990"/>
                  <a:pt x="715" y="1891"/>
                </a:cubicBezTo>
                <a:cubicBezTo>
                  <a:pt x="708" y="1884"/>
                  <a:pt x="682" y="1861"/>
                  <a:pt x="644" y="1829"/>
                </a:cubicBezTo>
                <a:cubicBezTo>
                  <a:pt x="577" y="1773"/>
                  <a:pt x="470" y="1684"/>
                  <a:pt x="345" y="1581"/>
                </a:cubicBezTo>
                <a:cubicBezTo>
                  <a:pt x="345" y="1535"/>
                  <a:pt x="345" y="1535"/>
                  <a:pt x="345" y="1535"/>
                </a:cubicBezTo>
                <a:cubicBezTo>
                  <a:pt x="409" y="1587"/>
                  <a:pt x="469" y="1637"/>
                  <a:pt x="522" y="1681"/>
                </a:cubicBezTo>
                <a:cubicBezTo>
                  <a:pt x="588" y="1735"/>
                  <a:pt x="642" y="1780"/>
                  <a:pt x="681" y="1813"/>
                </a:cubicBezTo>
                <a:cubicBezTo>
                  <a:pt x="700" y="1829"/>
                  <a:pt x="716" y="1842"/>
                  <a:pt x="726" y="1852"/>
                </a:cubicBezTo>
                <a:cubicBezTo>
                  <a:pt x="732" y="1857"/>
                  <a:pt x="736" y="1861"/>
                  <a:pt x="739" y="1864"/>
                </a:cubicBezTo>
                <a:cubicBezTo>
                  <a:pt x="741" y="1865"/>
                  <a:pt x="742" y="1867"/>
                  <a:pt x="743" y="1868"/>
                </a:cubicBezTo>
                <a:cubicBezTo>
                  <a:pt x="745" y="1870"/>
                  <a:pt x="746" y="1870"/>
                  <a:pt x="748" y="1875"/>
                </a:cubicBezTo>
                <a:cubicBezTo>
                  <a:pt x="749" y="1876"/>
                  <a:pt x="749" y="1876"/>
                  <a:pt x="749" y="1876"/>
                </a:cubicBezTo>
                <a:cubicBezTo>
                  <a:pt x="749" y="1876"/>
                  <a:pt x="749" y="1876"/>
                  <a:pt x="749" y="1876"/>
                </a:cubicBezTo>
                <a:cubicBezTo>
                  <a:pt x="763" y="1923"/>
                  <a:pt x="787" y="1969"/>
                  <a:pt x="807" y="2003"/>
                </a:cubicBezTo>
                <a:cubicBezTo>
                  <a:pt x="823" y="2032"/>
                  <a:pt x="837" y="2052"/>
                  <a:pt x="841" y="2058"/>
                </a:cubicBezTo>
                <a:cubicBezTo>
                  <a:pt x="1282" y="2398"/>
                  <a:pt x="1282" y="2398"/>
                  <a:pt x="1282" y="2398"/>
                </a:cubicBezTo>
                <a:cubicBezTo>
                  <a:pt x="1275" y="2406"/>
                  <a:pt x="1275" y="2406"/>
                  <a:pt x="1275" y="2406"/>
                </a:cubicBezTo>
                <a:cubicBezTo>
                  <a:pt x="1344" y="2346"/>
                  <a:pt x="1620" y="2106"/>
                  <a:pt x="1898" y="1866"/>
                </a:cubicBezTo>
                <a:cubicBezTo>
                  <a:pt x="2058" y="1727"/>
                  <a:pt x="2219" y="1589"/>
                  <a:pt x="2340" y="1485"/>
                </a:cubicBezTo>
                <a:cubicBezTo>
                  <a:pt x="2401" y="1433"/>
                  <a:pt x="2452" y="1390"/>
                  <a:pt x="2488" y="1359"/>
                </a:cubicBezTo>
                <a:cubicBezTo>
                  <a:pt x="2506" y="1344"/>
                  <a:pt x="2521" y="1332"/>
                  <a:pt x="2531" y="1324"/>
                </a:cubicBezTo>
                <a:cubicBezTo>
                  <a:pt x="2533" y="1322"/>
                  <a:pt x="2533" y="1322"/>
                  <a:pt x="2535" y="1321"/>
                </a:cubicBezTo>
                <a:cubicBezTo>
                  <a:pt x="2546" y="1301"/>
                  <a:pt x="2546" y="1301"/>
                  <a:pt x="2546" y="1301"/>
                </a:cubicBezTo>
                <a:cubicBezTo>
                  <a:pt x="2543" y="1297"/>
                  <a:pt x="2540" y="1293"/>
                  <a:pt x="2538" y="1289"/>
                </a:cubicBezTo>
                <a:cubicBezTo>
                  <a:pt x="2516" y="1241"/>
                  <a:pt x="2499" y="1175"/>
                  <a:pt x="2486" y="1118"/>
                </a:cubicBezTo>
                <a:cubicBezTo>
                  <a:pt x="2475" y="1066"/>
                  <a:pt x="2467" y="1023"/>
                  <a:pt x="2466" y="1016"/>
                </a:cubicBezTo>
                <a:cubicBezTo>
                  <a:pt x="2257" y="0"/>
                  <a:pt x="2257" y="0"/>
                  <a:pt x="2257" y="0"/>
                </a:cubicBezTo>
                <a:cubicBezTo>
                  <a:pt x="2374" y="0"/>
                  <a:pt x="2374" y="0"/>
                  <a:pt x="2374" y="0"/>
                </a:cubicBezTo>
                <a:cubicBezTo>
                  <a:pt x="2579" y="995"/>
                  <a:pt x="2579" y="995"/>
                  <a:pt x="2579" y="995"/>
                </a:cubicBezTo>
                <a:cubicBezTo>
                  <a:pt x="2579" y="996"/>
                  <a:pt x="2579" y="996"/>
                  <a:pt x="2579" y="996"/>
                </a:cubicBezTo>
                <a:cubicBezTo>
                  <a:pt x="2579" y="996"/>
                  <a:pt x="2586" y="1040"/>
                  <a:pt x="2598" y="1093"/>
                </a:cubicBezTo>
                <a:cubicBezTo>
                  <a:pt x="2610" y="1146"/>
                  <a:pt x="2627" y="1210"/>
                  <a:pt x="2642" y="1239"/>
                </a:cubicBezTo>
                <a:cubicBezTo>
                  <a:pt x="2653" y="1263"/>
                  <a:pt x="2676" y="1285"/>
                  <a:pt x="2707" y="1303"/>
                </a:cubicBezTo>
                <a:cubicBezTo>
                  <a:pt x="2737" y="1321"/>
                  <a:pt x="2772" y="1335"/>
                  <a:pt x="2800" y="1345"/>
                </a:cubicBezTo>
                <a:cubicBezTo>
                  <a:pt x="2858" y="1366"/>
                  <a:pt x="3627" y="1643"/>
                  <a:pt x="3904" y="1735"/>
                </a:cubicBezTo>
                <a:cubicBezTo>
                  <a:pt x="3928" y="1742"/>
                  <a:pt x="3951" y="1751"/>
                  <a:pt x="3975" y="1761"/>
                </a:cubicBezTo>
                <a:cubicBezTo>
                  <a:pt x="3975" y="1761"/>
                  <a:pt x="3975" y="1761"/>
                  <a:pt x="3975" y="1761"/>
                </a:cubicBezTo>
                <a:cubicBezTo>
                  <a:pt x="3977" y="1760"/>
                  <a:pt x="3982" y="1752"/>
                  <a:pt x="3986" y="1745"/>
                </a:cubicBezTo>
                <a:cubicBezTo>
                  <a:pt x="4053" y="1410"/>
                  <a:pt x="4053" y="1410"/>
                  <a:pt x="4053" y="1410"/>
                </a:cubicBezTo>
                <a:cubicBezTo>
                  <a:pt x="4054" y="1408"/>
                  <a:pt x="4054" y="1408"/>
                  <a:pt x="4054" y="1408"/>
                </a:cubicBezTo>
                <a:cubicBezTo>
                  <a:pt x="4054" y="1407"/>
                  <a:pt x="4082" y="1356"/>
                  <a:pt x="4123" y="1287"/>
                </a:cubicBezTo>
                <a:cubicBezTo>
                  <a:pt x="4143" y="1255"/>
                  <a:pt x="4161" y="1204"/>
                  <a:pt x="4175" y="1162"/>
                </a:cubicBezTo>
                <a:cubicBezTo>
                  <a:pt x="4188" y="1119"/>
                  <a:pt x="4197" y="1086"/>
                  <a:pt x="4197" y="1086"/>
                </a:cubicBezTo>
                <a:cubicBezTo>
                  <a:pt x="4197" y="1084"/>
                  <a:pt x="4197" y="1084"/>
                  <a:pt x="4197" y="1084"/>
                </a:cubicBezTo>
                <a:cubicBezTo>
                  <a:pt x="4436" y="619"/>
                  <a:pt x="4436" y="619"/>
                  <a:pt x="4436" y="619"/>
                </a:cubicBezTo>
                <a:cubicBezTo>
                  <a:pt x="4413" y="53"/>
                  <a:pt x="4413" y="53"/>
                  <a:pt x="4413" y="53"/>
                </a:cubicBezTo>
                <a:cubicBezTo>
                  <a:pt x="4366" y="0"/>
                  <a:pt x="4366" y="0"/>
                  <a:pt x="4366" y="0"/>
                </a:cubicBezTo>
                <a:cubicBezTo>
                  <a:pt x="4414" y="0"/>
                  <a:pt x="4414" y="0"/>
                  <a:pt x="4414" y="0"/>
                </a:cubicBezTo>
                <a:cubicBezTo>
                  <a:pt x="4438" y="28"/>
                  <a:pt x="4438" y="28"/>
                  <a:pt x="4438" y="28"/>
                </a:cubicBezTo>
                <a:cubicBezTo>
                  <a:pt x="4567" y="23"/>
                  <a:pt x="4675" y="12"/>
                  <a:pt x="4763" y="0"/>
                </a:cubicBezTo>
                <a:cubicBezTo>
                  <a:pt x="4970" y="0"/>
                  <a:pt x="4970" y="0"/>
                  <a:pt x="4970" y="0"/>
                </a:cubicBezTo>
                <a:cubicBezTo>
                  <a:pt x="4869" y="23"/>
                  <a:pt x="4697" y="53"/>
                  <a:pt x="4449" y="64"/>
                </a:cubicBezTo>
                <a:cubicBezTo>
                  <a:pt x="4472" y="607"/>
                  <a:pt x="4472" y="607"/>
                  <a:pt x="4472" y="607"/>
                </a:cubicBezTo>
                <a:cubicBezTo>
                  <a:pt x="4474" y="604"/>
                  <a:pt x="4474" y="604"/>
                  <a:pt x="4474" y="604"/>
                </a:cubicBezTo>
                <a:cubicBezTo>
                  <a:pt x="4474" y="604"/>
                  <a:pt x="4518" y="628"/>
                  <a:pt x="4599" y="664"/>
                </a:cubicBezTo>
                <a:cubicBezTo>
                  <a:pt x="4680" y="699"/>
                  <a:pt x="4797" y="745"/>
                  <a:pt x="4940" y="788"/>
                </a:cubicBezTo>
                <a:cubicBezTo>
                  <a:pt x="5104" y="837"/>
                  <a:pt x="5271" y="886"/>
                  <a:pt x="5406" y="921"/>
                </a:cubicBezTo>
                <a:cubicBezTo>
                  <a:pt x="5411" y="901"/>
                  <a:pt x="5424" y="857"/>
                  <a:pt x="5437" y="809"/>
                </a:cubicBezTo>
                <a:cubicBezTo>
                  <a:pt x="5454" y="743"/>
                  <a:pt x="5472" y="666"/>
                  <a:pt x="5473" y="636"/>
                </a:cubicBezTo>
                <a:cubicBezTo>
                  <a:pt x="5477" y="565"/>
                  <a:pt x="5492" y="539"/>
                  <a:pt x="5512" y="486"/>
                </a:cubicBezTo>
                <a:cubicBezTo>
                  <a:pt x="5518" y="473"/>
                  <a:pt x="5528" y="464"/>
                  <a:pt x="5542" y="450"/>
                </a:cubicBezTo>
                <a:cubicBezTo>
                  <a:pt x="5591" y="407"/>
                  <a:pt x="5693" y="339"/>
                  <a:pt x="5786" y="280"/>
                </a:cubicBezTo>
                <a:cubicBezTo>
                  <a:pt x="5832" y="251"/>
                  <a:pt x="5876" y="225"/>
                  <a:pt x="5908" y="206"/>
                </a:cubicBezTo>
                <a:cubicBezTo>
                  <a:pt x="5922" y="198"/>
                  <a:pt x="5933" y="191"/>
                  <a:pt x="5954" y="180"/>
                </a:cubicBezTo>
                <a:cubicBezTo>
                  <a:pt x="5972" y="211"/>
                  <a:pt x="5972" y="211"/>
                  <a:pt x="5972" y="211"/>
                </a:cubicBezTo>
                <a:cubicBezTo>
                  <a:pt x="5923" y="239"/>
                  <a:pt x="5835" y="291"/>
                  <a:pt x="5751" y="346"/>
                </a:cubicBezTo>
                <a:cubicBezTo>
                  <a:pt x="5700" y="379"/>
                  <a:pt x="5649" y="412"/>
                  <a:pt x="5611" y="441"/>
                </a:cubicBezTo>
                <a:cubicBezTo>
                  <a:pt x="5592" y="455"/>
                  <a:pt x="5576" y="468"/>
                  <a:pt x="5564" y="479"/>
                </a:cubicBezTo>
                <a:cubicBezTo>
                  <a:pt x="5553" y="489"/>
                  <a:pt x="5546" y="499"/>
                  <a:pt x="5546" y="499"/>
                </a:cubicBezTo>
                <a:cubicBezTo>
                  <a:pt x="5525" y="556"/>
                  <a:pt x="5513" y="572"/>
                  <a:pt x="5509" y="638"/>
                </a:cubicBezTo>
                <a:cubicBezTo>
                  <a:pt x="5506" y="702"/>
                  <a:pt x="5455" y="880"/>
                  <a:pt x="5440" y="930"/>
                </a:cubicBezTo>
                <a:cubicBezTo>
                  <a:pt x="5527" y="952"/>
                  <a:pt x="5598" y="967"/>
                  <a:pt x="5643" y="969"/>
                </a:cubicBezTo>
                <a:cubicBezTo>
                  <a:pt x="5656" y="970"/>
                  <a:pt x="5667" y="970"/>
                  <a:pt x="5678" y="970"/>
                </a:cubicBezTo>
                <a:cubicBezTo>
                  <a:pt x="5776" y="970"/>
                  <a:pt x="5834" y="944"/>
                  <a:pt x="5936" y="889"/>
                </a:cubicBezTo>
                <a:cubicBezTo>
                  <a:pt x="6049" y="827"/>
                  <a:pt x="6278" y="693"/>
                  <a:pt x="6279" y="693"/>
                </a:cubicBezTo>
                <a:cubicBezTo>
                  <a:pt x="6279" y="693"/>
                  <a:pt x="6279" y="693"/>
                  <a:pt x="6279" y="693"/>
                </a:cubicBezTo>
                <a:cubicBezTo>
                  <a:pt x="6280" y="693"/>
                  <a:pt x="6280" y="693"/>
                  <a:pt x="6280" y="693"/>
                </a:cubicBezTo>
                <a:cubicBezTo>
                  <a:pt x="6281" y="692"/>
                  <a:pt x="6331" y="667"/>
                  <a:pt x="6399" y="667"/>
                </a:cubicBezTo>
                <a:cubicBezTo>
                  <a:pt x="6469" y="666"/>
                  <a:pt x="6559" y="696"/>
                  <a:pt x="6623" y="805"/>
                </a:cubicBezTo>
                <a:cubicBezTo>
                  <a:pt x="6901" y="1308"/>
                  <a:pt x="6901" y="1308"/>
                  <a:pt x="6901" y="1308"/>
                </a:cubicBezTo>
                <a:cubicBezTo>
                  <a:pt x="6901" y="1308"/>
                  <a:pt x="6908" y="1322"/>
                  <a:pt x="6923" y="1343"/>
                </a:cubicBezTo>
                <a:cubicBezTo>
                  <a:pt x="6937" y="1364"/>
                  <a:pt x="6958" y="1391"/>
                  <a:pt x="6984" y="1417"/>
                </a:cubicBezTo>
                <a:cubicBezTo>
                  <a:pt x="7006" y="1440"/>
                  <a:pt x="7038" y="1458"/>
                  <a:pt x="7068" y="1480"/>
                </a:cubicBezTo>
                <a:cubicBezTo>
                  <a:pt x="7070" y="1467"/>
                  <a:pt x="7073" y="1451"/>
                  <a:pt x="7077" y="1435"/>
                </a:cubicBezTo>
                <a:cubicBezTo>
                  <a:pt x="7083" y="1402"/>
                  <a:pt x="7089" y="1365"/>
                  <a:pt x="7091" y="1351"/>
                </a:cubicBezTo>
                <a:cubicBezTo>
                  <a:pt x="7087" y="1345"/>
                  <a:pt x="7088" y="1342"/>
                  <a:pt x="7088" y="1338"/>
                </a:cubicBezTo>
                <a:cubicBezTo>
                  <a:pt x="7088" y="1326"/>
                  <a:pt x="7091" y="1310"/>
                  <a:pt x="7099" y="1294"/>
                </a:cubicBezTo>
                <a:cubicBezTo>
                  <a:pt x="7108" y="1279"/>
                  <a:pt x="7123" y="1261"/>
                  <a:pt x="7146" y="1257"/>
                </a:cubicBezTo>
                <a:cubicBezTo>
                  <a:pt x="7187" y="1251"/>
                  <a:pt x="7381" y="1216"/>
                  <a:pt x="7434" y="1193"/>
                </a:cubicBezTo>
                <a:cubicBezTo>
                  <a:pt x="7491" y="1170"/>
                  <a:pt x="7668" y="1132"/>
                  <a:pt x="7763" y="1122"/>
                </a:cubicBezTo>
                <a:cubicBezTo>
                  <a:pt x="7773" y="589"/>
                  <a:pt x="7773" y="589"/>
                  <a:pt x="7773" y="589"/>
                </a:cubicBezTo>
                <a:cubicBezTo>
                  <a:pt x="7609" y="268"/>
                  <a:pt x="7609" y="268"/>
                  <a:pt x="7609" y="268"/>
                </a:cubicBezTo>
                <a:cubicBezTo>
                  <a:pt x="7603" y="257"/>
                  <a:pt x="7532" y="139"/>
                  <a:pt x="7462" y="21"/>
                </a:cubicBezTo>
                <a:cubicBezTo>
                  <a:pt x="7458" y="14"/>
                  <a:pt x="7454" y="7"/>
                  <a:pt x="7450" y="0"/>
                </a:cubicBezTo>
                <a:cubicBezTo>
                  <a:pt x="7492" y="0"/>
                  <a:pt x="7492" y="0"/>
                  <a:pt x="7492" y="0"/>
                </a:cubicBezTo>
                <a:cubicBezTo>
                  <a:pt x="7566" y="125"/>
                  <a:pt x="7640" y="250"/>
                  <a:pt x="7641" y="250"/>
                </a:cubicBezTo>
                <a:cubicBezTo>
                  <a:pt x="7641" y="250"/>
                  <a:pt x="7641" y="250"/>
                  <a:pt x="7641" y="250"/>
                </a:cubicBezTo>
                <a:cubicBezTo>
                  <a:pt x="7809" y="581"/>
                  <a:pt x="7809" y="581"/>
                  <a:pt x="7809" y="581"/>
                </a:cubicBezTo>
                <a:cubicBezTo>
                  <a:pt x="7799" y="1120"/>
                  <a:pt x="7799" y="1120"/>
                  <a:pt x="7799" y="1120"/>
                </a:cubicBezTo>
                <a:cubicBezTo>
                  <a:pt x="7803" y="1120"/>
                  <a:pt x="7806" y="1120"/>
                  <a:pt x="7811" y="1120"/>
                </a:cubicBezTo>
                <a:cubicBezTo>
                  <a:pt x="7924" y="1120"/>
                  <a:pt x="8286" y="1141"/>
                  <a:pt x="8468" y="1147"/>
                </a:cubicBezTo>
                <a:cubicBezTo>
                  <a:pt x="8492" y="1148"/>
                  <a:pt x="8525" y="1149"/>
                  <a:pt x="8563" y="1149"/>
                </a:cubicBezTo>
                <a:cubicBezTo>
                  <a:pt x="8808" y="1149"/>
                  <a:pt x="9283" y="1133"/>
                  <a:pt x="9363" y="1133"/>
                </a:cubicBezTo>
                <a:cubicBezTo>
                  <a:pt x="9366" y="1133"/>
                  <a:pt x="9369" y="1133"/>
                  <a:pt x="9371" y="1133"/>
                </a:cubicBezTo>
                <a:cubicBezTo>
                  <a:pt x="9371" y="1133"/>
                  <a:pt x="9371" y="1133"/>
                  <a:pt x="9371" y="1133"/>
                </a:cubicBezTo>
                <a:cubicBezTo>
                  <a:pt x="9379" y="1129"/>
                  <a:pt x="9403" y="1114"/>
                  <a:pt x="9431" y="1094"/>
                </a:cubicBezTo>
                <a:cubicBezTo>
                  <a:pt x="9480" y="1060"/>
                  <a:pt x="9547" y="1013"/>
                  <a:pt x="9603" y="974"/>
                </a:cubicBezTo>
                <a:cubicBezTo>
                  <a:pt x="9631" y="954"/>
                  <a:pt x="9656" y="936"/>
                  <a:pt x="9674" y="924"/>
                </a:cubicBezTo>
                <a:cubicBezTo>
                  <a:pt x="9684" y="917"/>
                  <a:pt x="9692" y="912"/>
                  <a:pt x="9697" y="908"/>
                </a:cubicBezTo>
                <a:cubicBezTo>
                  <a:pt x="9700" y="907"/>
                  <a:pt x="9703" y="905"/>
                  <a:pt x="9705" y="904"/>
                </a:cubicBezTo>
                <a:cubicBezTo>
                  <a:pt x="9708" y="903"/>
                  <a:pt x="9707" y="901"/>
                  <a:pt x="9717" y="900"/>
                </a:cubicBezTo>
                <a:cubicBezTo>
                  <a:pt x="9820" y="900"/>
                  <a:pt x="9820" y="900"/>
                  <a:pt x="9820" y="900"/>
                </a:cubicBezTo>
                <a:cubicBezTo>
                  <a:pt x="9819" y="827"/>
                  <a:pt x="9807" y="526"/>
                  <a:pt x="9795" y="241"/>
                </a:cubicBezTo>
                <a:cubicBezTo>
                  <a:pt x="9792" y="157"/>
                  <a:pt x="9788" y="75"/>
                  <a:pt x="9785" y="0"/>
                </a:cubicBezTo>
                <a:cubicBezTo>
                  <a:pt x="9821" y="0"/>
                  <a:pt x="9821" y="0"/>
                  <a:pt x="9821" y="0"/>
                </a:cubicBezTo>
                <a:cubicBezTo>
                  <a:pt x="9835" y="330"/>
                  <a:pt x="9855" y="803"/>
                  <a:pt x="9856" y="900"/>
                </a:cubicBezTo>
                <a:cubicBezTo>
                  <a:pt x="10606" y="900"/>
                  <a:pt x="10606" y="900"/>
                  <a:pt x="10606" y="900"/>
                </a:cubicBezTo>
                <a:cubicBezTo>
                  <a:pt x="10608" y="900"/>
                  <a:pt x="10753" y="900"/>
                  <a:pt x="10866" y="1008"/>
                </a:cubicBezTo>
                <a:cubicBezTo>
                  <a:pt x="10918" y="1059"/>
                  <a:pt x="11039" y="1165"/>
                  <a:pt x="11147" y="1257"/>
                </a:cubicBezTo>
                <a:cubicBezTo>
                  <a:pt x="11221" y="1321"/>
                  <a:pt x="11288" y="1378"/>
                  <a:pt x="11323" y="1408"/>
                </a:cubicBezTo>
                <a:cubicBezTo>
                  <a:pt x="11351" y="1421"/>
                  <a:pt x="11351" y="1421"/>
                  <a:pt x="11351" y="1421"/>
                </a:cubicBezTo>
                <a:cubicBezTo>
                  <a:pt x="11388" y="1386"/>
                  <a:pt x="11422" y="1352"/>
                  <a:pt x="11453" y="1323"/>
                </a:cubicBezTo>
                <a:cubicBezTo>
                  <a:pt x="11499" y="1278"/>
                  <a:pt x="11537" y="1241"/>
                  <a:pt x="11563" y="1216"/>
                </a:cubicBezTo>
                <a:cubicBezTo>
                  <a:pt x="11576" y="1203"/>
                  <a:pt x="11587" y="1192"/>
                  <a:pt x="11594" y="1185"/>
                </a:cubicBezTo>
                <a:cubicBezTo>
                  <a:pt x="11596" y="1184"/>
                  <a:pt x="11597" y="1182"/>
                  <a:pt x="11599" y="1181"/>
                </a:cubicBezTo>
                <a:cubicBezTo>
                  <a:pt x="11602" y="1176"/>
                  <a:pt x="11602" y="1176"/>
                  <a:pt x="11604" y="1173"/>
                </a:cubicBezTo>
                <a:cubicBezTo>
                  <a:pt x="11619" y="1157"/>
                  <a:pt x="11659" y="1116"/>
                  <a:pt x="11703" y="1070"/>
                </a:cubicBezTo>
                <a:cubicBezTo>
                  <a:pt x="11726" y="1046"/>
                  <a:pt x="11750" y="1020"/>
                  <a:pt x="11769" y="999"/>
                </a:cubicBezTo>
                <a:cubicBezTo>
                  <a:pt x="11766" y="987"/>
                  <a:pt x="11766" y="987"/>
                  <a:pt x="11766" y="987"/>
                </a:cubicBezTo>
                <a:cubicBezTo>
                  <a:pt x="11729" y="928"/>
                  <a:pt x="11590" y="680"/>
                  <a:pt x="11587" y="252"/>
                </a:cubicBezTo>
                <a:cubicBezTo>
                  <a:pt x="11586" y="162"/>
                  <a:pt x="11585" y="78"/>
                  <a:pt x="11583" y="0"/>
                </a:cubicBezTo>
                <a:cubicBezTo>
                  <a:pt x="11619" y="0"/>
                  <a:pt x="11619" y="0"/>
                  <a:pt x="11619" y="0"/>
                </a:cubicBezTo>
                <a:cubicBezTo>
                  <a:pt x="11621" y="78"/>
                  <a:pt x="11622" y="162"/>
                  <a:pt x="11623" y="252"/>
                </a:cubicBezTo>
                <a:cubicBezTo>
                  <a:pt x="11625" y="494"/>
                  <a:pt x="11671" y="676"/>
                  <a:pt x="11716" y="798"/>
                </a:cubicBezTo>
                <a:cubicBezTo>
                  <a:pt x="11738" y="859"/>
                  <a:pt x="11761" y="905"/>
                  <a:pt x="11778" y="935"/>
                </a:cubicBezTo>
                <a:cubicBezTo>
                  <a:pt x="11780" y="940"/>
                  <a:pt x="11782" y="943"/>
                  <a:pt x="11785" y="947"/>
                </a:cubicBezTo>
                <a:cubicBezTo>
                  <a:pt x="11801" y="959"/>
                  <a:pt x="11801" y="959"/>
                  <a:pt x="11801" y="959"/>
                </a:cubicBezTo>
                <a:cubicBezTo>
                  <a:pt x="11801" y="959"/>
                  <a:pt x="11801" y="959"/>
                  <a:pt x="11801" y="959"/>
                </a:cubicBezTo>
                <a:cubicBezTo>
                  <a:pt x="11823" y="927"/>
                  <a:pt x="11862" y="881"/>
                  <a:pt x="11910" y="835"/>
                </a:cubicBezTo>
                <a:cubicBezTo>
                  <a:pt x="11958" y="789"/>
                  <a:pt x="12014" y="743"/>
                  <a:pt x="12073" y="716"/>
                </a:cubicBezTo>
                <a:cubicBezTo>
                  <a:pt x="12186" y="665"/>
                  <a:pt x="12304" y="664"/>
                  <a:pt x="12426" y="659"/>
                </a:cubicBezTo>
                <a:cubicBezTo>
                  <a:pt x="12491" y="657"/>
                  <a:pt x="12930" y="655"/>
                  <a:pt x="13374" y="652"/>
                </a:cubicBezTo>
                <a:cubicBezTo>
                  <a:pt x="13595" y="651"/>
                  <a:pt x="13816" y="650"/>
                  <a:pt x="13990" y="648"/>
                </a:cubicBezTo>
                <a:cubicBezTo>
                  <a:pt x="13998" y="648"/>
                  <a:pt x="14006" y="648"/>
                  <a:pt x="14013" y="648"/>
                </a:cubicBezTo>
                <a:cubicBezTo>
                  <a:pt x="14016" y="642"/>
                  <a:pt x="14016" y="642"/>
                  <a:pt x="14016" y="642"/>
                </a:cubicBezTo>
                <a:cubicBezTo>
                  <a:pt x="14021" y="631"/>
                  <a:pt x="14033" y="598"/>
                  <a:pt x="14047" y="558"/>
                </a:cubicBezTo>
                <a:cubicBezTo>
                  <a:pt x="14092" y="430"/>
                  <a:pt x="14163" y="211"/>
                  <a:pt x="14180" y="161"/>
                </a:cubicBezTo>
                <a:cubicBezTo>
                  <a:pt x="14024" y="0"/>
                  <a:pt x="14024" y="0"/>
                  <a:pt x="14024" y="0"/>
                </a:cubicBezTo>
                <a:cubicBezTo>
                  <a:pt x="14081" y="0"/>
                  <a:pt x="14081" y="0"/>
                  <a:pt x="14081" y="0"/>
                </a:cubicBezTo>
                <a:cubicBezTo>
                  <a:pt x="14225" y="145"/>
                  <a:pt x="14225" y="145"/>
                  <a:pt x="14225" y="145"/>
                </a:cubicBezTo>
                <a:cubicBezTo>
                  <a:pt x="14223" y="153"/>
                  <a:pt x="14223" y="153"/>
                  <a:pt x="14223" y="153"/>
                </a:cubicBezTo>
                <a:cubicBezTo>
                  <a:pt x="14223" y="153"/>
                  <a:pt x="14183" y="281"/>
                  <a:pt x="14142" y="410"/>
                </a:cubicBezTo>
                <a:cubicBezTo>
                  <a:pt x="14121" y="474"/>
                  <a:pt x="14100" y="538"/>
                  <a:pt x="14083" y="586"/>
                </a:cubicBezTo>
                <a:cubicBezTo>
                  <a:pt x="14075" y="607"/>
                  <a:pt x="14069" y="625"/>
                  <a:pt x="14063" y="639"/>
                </a:cubicBezTo>
                <a:cubicBezTo>
                  <a:pt x="14064" y="647"/>
                  <a:pt x="14064" y="647"/>
                  <a:pt x="14064" y="647"/>
                </a:cubicBezTo>
                <a:cubicBezTo>
                  <a:pt x="14199" y="646"/>
                  <a:pt x="14296" y="644"/>
                  <a:pt x="14319" y="642"/>
                </a:cubicBezTo>
                <a:cubicBezTo>
                  <a:pt x="14382" y="637"/>
                  <a:pt x="14464" y="631"/>
                  <a:pt x="14538" y="616"/>
                </a:cubicBezTo>
                <a:cubicBezTo>
                  <a:pt x="14612" y="603"/>
                  <a:pt x="14678" y="579"/>
                  <a:pt x="14705" y="553"/>
                </a:cubicBezTo>
                <a:cubicBezTo>
                  <a:pt x="14779" y="488"/>
                  <a:pt x="14838" y="375"/>
                  <a:pt x="14850" y="346"/>
                </a:cubicBezTo>
                <a:cubicBezTo>
                  <a:pt x="14855" y="336"/>
                  <a:pt x="14923" y="189"/>
                  <a:pt x="15010" y="0"/>
                </a:cubicBezTo>
                <a:cubicBezTo>
                  <a:pt x="15137" y="0"/>
                  <a:pt x="15137" y="0"/>
                  <a:pt x="15137" y="0"/>
                </a:cubicBezTo>
                <a:cubicBezTo>
                  <a:pt x="15039" y="212"/>
                  <a:pt x="14960" y="383"/>
                  <a:pt x="14955" y="394"/>
                </a:cubicBezTo>
                <a:cubicBezTo>
                  <a:pt x="14938" y="430"/>
                  <a:pt x="14878" y="552"/>
                  <a:pt x="14781" y="639"/>
                </a:cubicBezTo>
                <a:cubicBezTo>
                  <a:pt x="14722" y="690"/>
                  <a:pt x="14642" y="713"/>
                  <a:pt x="14560" y="729"/>
                </a:cubicBezTo>
                <a:cubicBezTo>
                  <a:pt x="14477" y="745"/>
                  <a:pt x="14392" y="752"/>
                  <a:pt x="14328" y="757"/>
                </a:cubicBezTo>
                <a:cubicBezTo>
                  <a:pt x="14290" y="759"/>
                  <a:pt x="14166" y="761"/>
                  <a:pt x="13991" y="763"/>
                </a:cubicBezTo>
                <a:cubicBezTo>
                  <a:pt x="13676" y="766"/>
                  <a:pt x="13205" y="768"/>
                  <a:pt x="12862" y="770"/>
                </a:cubicBezTo>
                <a:cubicBezTo>
                  <a:pt x="12861" y="785"/>
                  <a:pt x="12861" y="785"/>
                  <a:pt x="12861" y="785"/>
                </a:cubicBezTo>
                <a:cubicBezTo>
                  <a:pt x="12863" y="799"/>
                  <a:pt x="12867" y="819"/>
                  <a:pt x="12872" y="842"/>
                </a:cubicBezTo>
                <a:cubicBezTo>
                  <a:pt x="12874" y="854"/>
                  <a:pt x="12877" y="867"/>
                  <a:pt x="12881" y="880"/>
                </a:cubicBezTo>
                <a:cubicBezTo>
                  <a:pt x="12988" y="876"/>
                  <a:pt x="13103" y="875"/>
                  <a:pt x="13225" y="875"/>
                </a:cubicBezTo>
                <a:cubicBezTo>
                  <a:pt x="13448" y="875"/>
                  <a:pt x="13692" y="879"/>
                  <a:pt x="13938" y="879"/>
                </a:cubicBezTo>
                <a:cubicBezTo>
                  <a:pt x="13960" y="879"/>
                  <a:pt x="13983" y="879"/>
                  <a:pt x="14006" y="879"/>
                </a:cubicBezTo>
                <a:cubicBezTo>
                  <a:pt x="14335" y="878"/>
                  <a:pt x="14543" y="856"/>
                  <a:pt x="14685" y="823"/>
                </a:cubicBezTo>
                <a:cubicBezTo>
                  <a:pt x="14828" y="789"/>
                  <a:pt x="14905" y="747"/>
                  <a:pt x="14987" y="693"/>
                </a:cubicBezTo>
                <a:cubicBezTo>
                  <a:pt x="14987" y="693"/>
                  <a:pt x="14990" y="692"/>
                  <a:pt x="14994" y="687"/>
                </a:cubicBezTo>
                <a:cubicBezTo>
                  <a:pt x="15011" y="671"/>
                  <a:pt x="15043" y="628"/>
                  <a:pt x="15080" y="569"/>
                </a:cubicBezTo>
                <a:cubicBezTo>
                  <a:pt x="15164" y="437"/>
                  <a:pt x="15276" y="226"/>
                  <a:pt x="15391" y="0"/>
                </a:cubicBezTo>
                <a:cubicBezTo>
                  <a:pt x="15547" y="0"/>
                  <a:pt x="15547" y="0"/>
                  <a:pt x="15547" y="0"/>
                </a:cubicBezTo>
                <a:cubicBezTo>
                  <a:pt x="15463" y="168"/>
                  <a:pt x="15378" y="331"/>
                  <a:pt x="15302" y="467"/>
                </a:cubicBezTo>
                <a:cubicBezTo>
                  <a:pt x="15254" y="552"/>
                  <a:pt x="15210" y="626"/>
                  <a:pt x="15172" y="684"/>
                </a:cubicBezTo>
                <a:cubicBezTo>
                  <a:pt x="15153" y="713"/>
                  <a:pt x="15135" y="737"/>
                  <a:pt x="15118" y="758"/>
                </a:cubicBezTo>
                <a:cubicBezTo>
                  <a:pt x="15100" y="779"/>
                  <a:pt x="15085" y="796"/>
                  <a:pt x="15063" y="810"/>
                </a:cubicBezTo>
                <a:cubicBezTo>
                  <a:pt x="14976" y="868"/>
                  <a:pt x="14875" y="922"/>
                  <a:pt x="14717" y="959"/>
                </a:cubicBezTo>
                <a:cubicBezTo>
                  <a:pt x="14559" y="996"/>
                  <a:pt x="14342" y="1017"/>
                  <a:pt x="14006" y="1018"/>
                </a:cubicBezTo>
                <a:cubicBezTo>
                  <a:pt x="13983" y="1018"/>
                  <a:pt x="13961" y="1018"/>
                  <a:pt x="13938" y="1018"/>
                </a:cubicBezTo>
                <a:cubicBezTo>
                  <a:pt x="13690" y="1018"/>
                  <a:pt x="13446" y="1014"/>
                  <a:pt x="13225" y="1014"/>
                </a:cubicBezTo>
                <a:cubicBezTo>
                  <a:pt x="13275" y="1016"/>
                  <a:pt x="13275" y="1016"/>
                  <a:pt x="13275" y="1016"/>
                </a:cubicBezTo>
                <a:cubicBezTo>
                  <a:pt x="13217" y="1016"/>
                  <a:pt x="13093" y="1045"/>
                  <a:pt x="12944" y="1076"/>
                </a:cubicBezTo>
                <a:cubicBezTo>
                  <a:pt x="13007" y="1240"/>
                  <a:pt x="13116" y="1548"/>
                  <a:pt x="13144" y="1656"/>
                </a:cubicBezTo>
                <a:cubicBezTo>
                  <a:pt x="13169" y="1753"/>
                  <a:pt x="13191" y="1889"/>
                  <a:pt x="13198" y="1930"/>
                </a:cubicBezTo>
                <a:cubicBezTo>
                  <a:pt x="13262" y="1902"/>
                  <a:pt x="13327" y="1901"/>
                  <a:pt x="13375" y="1899"/>
                </a:cubicBezTo>
                <a:cubicBezTo>
                  <a:pt x="13376" y="1899"/>
                  <a:pt x="13376" y="1899"/>
                  <a:pt x="13376" y="1899"/>
                </a:cubicBezTo>
                <a:cubicBezTo>
                  <a:pt x="13377" y="1899"/>
                  <a:pt x="13377" y="1899"/>
                  <a:pt x="13377" y="1899"/>
                </a:cubicBezTo>
                <a:cubicBezTo>
                  <a:pt x="13377" y="1899"/>
                  <a:pt x="13532" y="1903"/>
                  <a:pt x="13746" y="1906"/>
                </a:cubicBezTo>
                <a:cubicBezTo>
                  <a:pt x="13960" y="1909"/>
                  <a:pt x="14232" y="1913"/>
                  <a:pt x="14466" y="1913"/>
                </a:cubicBezTo>
                <a:cubicBezTo>
                  <a:pt x="14698" y="1913"/>
                  <a:pt x="14894" y="1909"/>
                  <a:pt x="14949" y="1899"/>
                </a:cubicBezTo>
                <a:cubicBezTo>
                  <a:pt x="15126" y="1868"/>
                  <a:pt x="15704" y="1824"/>
                  <a:pt x="16207" y="1690"/>
                </a:cubicBezTo>
                <a:cubicBezTo>
                  <a:pt x="16703" y="1559"/>
                  <a:pt x="17417" y="1025"/>
                  <a:pt x="17864" y="732"/>
                </a:cubicBezTo>
                <a:cubicBezTo>
                  <a:pt x="17857" y="722"/>
                  <a:pt x="17849" y="712"/>
                  <a:pt x="17842" y="703"/>
                </a:cubicBezTo>
                <a:cubicBezTo>
                  <a:pt x="17712" y="543"/>
                  <a:pt x="17494" y="301"/>
                  <a:pt x="17029" y="0"/>
                </a:cubicBezTo>
                <a:cubicBezTo>
                  <a:pt x="17095" y="0"/>
                  <a:pt x="17095" y="0"/>
                  <a:pt x="17095" y="0"/>
                </a:cubicBezTo>
                <a:cubicBezTo>
                  <a:pt x="17531" y="289"/>
                  <a:pt x="17743" y="524"/>
                  <a:pt x="17870" y="680"/>
                </a:cubicBezTo>
                <a:cubicBezTo>
                  <a:pt x="17878" y="690"/>
                  <a:pt x="17886" y="701"/>
                  <a:pt x="17894" y="712"/>
                </a:cubicBezTo>
                <a:cubicBezTo>
                  <a:pt x="17933" y="686"/>
                  <a:pt x="17974" y="658"/>
                  <a:pt x="18015" y="628"/>
                </a:cubicBezTo>
                <a:lnTo>
                  <a:pt x="18015" y="673"/>
                </a:lnTo>
                <a:close/>
                <a:moveTo>
                  <a:pt x="4285" y="3554"/>
                </a:moveTo>
                <a:cubicBezTo>
                  <a:pt x="4285" y="3555"/>
                  <a:pt x="4285" y="3555"/>
                  <a:pt x="4285" y="3555"/>
                </a:cubicBezTo>
                <a:cubicBezTo>
                  <a:pt x="4285" y="3555"/>
                  <a:pt x="4285" y="3555"/>
                  <a:pt x="4285" y="3555"/>
                </a:cubicBezTo>
                <a:cubicBezTo>
                  <a:pt x="4285" y="3554"/>
                  <a:pt x="4285" y="3554"/>
                  <a:pt x="4285" y="3554"/>
                </a:cubicBezTo>
                <a:cubicBezTo>
                  <a:pt x="4285" y="3554"/>
                  <a:pt x="4285" y="3554"/>
                  <a:pt x="4285" y="3554"/>
                </a:cubicBezTo>
                <a:close/>
                <a:moveTo>
                  <a:pt x="8672" y="1184"/>
                </a:moveTo>
                <a:cubicBezTo>
                  <a:pt x="8678" y="1245"/>
                  <a:pt x="8697" y="1464"/>
                  <a:pt x="8697" y="1565"/>
                </a:cubicBezTo>
                <a:cubicBezTo>
                  <a:pt x="8697" y="1583"/>
                  <a:pt x="8696" y="1597"/>
                  <a:pt x="8695" y="1608"/>
                </a:cubicBezTo>
                <a:cubicBezTo>
                  <a:pt x="8684" y="1676"/>
                  <a:pt x="8602" y="1983"/>
                  <a:pt x="8581" y="2059"/>
                </a:cubicBezTo>
                <a:cubicBezTo>
                  <a:pt x="8569" y="2103"/>
                  <a:pt x="8565" y="2168"/>
                  <a:pt x="8565" y="2227"/>
                </a:cubicBezTo>
                <a:cubicBezTo>
                  <a:pt x="8565" y="2263"/>
                  <a:pt x="8567" y="2298"/>
                  <a:pt x="8568" y="2325"/>
                </a:cubicBezTo>
                <a:cubicBezTo>
                  <a:pt x="8570" y="2378"/>
                  <a:pt x="8580" y="2564"/>
                  <a:pt x="8584" y="2657"/>
                </a:cubicBezTo>
                <a:cubicBezTo>
                  <a:pt x="8594" y="2678"/>
                  <a:pt x="8594" y="2678"/>
                  <a:pt x="8594" y="2678"/>
                </a:cubicBezTo>
                <a:cubicBezTo>
                  <a:pt x="8696" y="2652"/>
                  <a:pt x="9126" y="2543"/>
                  <a:pt x="9552" y="2436"/>
                </a:cubicBezTo>
                <a:cubicBezTo>
                  <a:pt x="10031" y="2315"/>
                  <a:pt x="10504" y="2195"/>
                  <a:pt x="10504" y="2195"/>
                </a:cubicBezTo>
                <a:cubicBezTo>
                  <a:pt x="10504" y="2195"/>
                  <a:pt x="10504" y="2195"/>
                  <a:pt x="10504" y="2195"/>
                </a:cubicBezTo>
                <a:cubicBezTo>
                  <a:pt x="10506" y="2195"/>
                  <a:pt x="10508" y="2194"/>
                  <a:pt x="10511" y="2193"/>
                </a:cubicBezTo>
                <a:cubicBezTo>
                  <a:pt x="10528" y="2189"/>
                  <a:pt x="10568" y="2173"/>
                  <a:pt x="10575" y="2165"/>
                </a:cubicBezTo>
                <a:cubicBezTo>
                  <a:pt x="10575" y="2165"/>
                  <a:pt x="10575" y="2165"/>
                  <a:pt x="10575" y="2165"/>
                </a:cubicBezTo>
                <a:cubicBezTo>
                  <a:pt x="10603" y="2139"/>
                  <a:pt x="10863" y="1891"/>
                  <a:pt x="11112" y="1651"/>
                </a:cubicBezTo>
                <a:cubicBezTo>
                  <a:pt x="11183" y="1583"/>
                  <a:pt x="11252" y="1516"/>
                  <a:pt x="11316" y="1454"/>
                </a:cubicBezTo>
                <a:cubicBezTo>
                  <a:pt x="11307" y="1442"/>
                  <a:pt x="11307" y="1442"/>
                  <a:pt x="11307" y="1442"/>
                </a:cubicBezTo>
                <a:cubicBezTo>
                  <a:pt x="11230" y="1377"/>
                  <a:pt x="10934" y="1125"/>
                  <a:pt x="10841" y="1034"/>
                </a:cubicBezTo>
                <a:cubicBezTo>
                  <a:pt x="10790" y="986"/>
                  <a:pt x="10732" y="961"/>
                  <a:pt x="10685" y="949"/>
                </a:cubicBezTo>
                <a:cubicBezTo>
                  <a:pt x="10662" y="942"/>
                  <a:pt x="10642" y="939"/>
                  <a:pt x="10628" y="938"/>
                </a:cubicBezTo>
                <a:cubicBezTo>
                  <a:pt x="10614" y="936"/>
                  <a:pt x="10606" y="936"/>
                  <a:pt x="10606" y="936"/>
                </a:cubicBezTo>
                <a:cubicBezTo>
                  <a:pt x="9721" y="936"/>
                  <a:pt x="9721" y="936"/>
                  <a:pt x="9721" y="936"/>
                </a:cubicBezTo>
                <a:cubicBezTo>
                  <a:pt x="9713" y="941"/>
                  <a:pt x="9690" y="956"/>
                  <a:pt x="9662" y="976"/>
                </a:cubicBezTo>
                <a:cubicBezTo>
                  <a:pt x="9614" y="1010"/>
                  <a:pt x="9547" y="1057"/>
                  <a:pt x="9491" y="1096"/>
                </a:cubicBezTo>
                <a:cubicBezTo>
                  <a:pt x="9463" y="1116"/>
                  <a:pt x="9438" y="1134"/>
                  <a:pt x="9418" y="1146"/>
                </a:cubicBezTo>
                <a:cubicBezTo>
                  <a:pt x="9409" y="1153"/>
                  <a:pt x="9401" y="1158"/>
                  <a:pt x="9394" y="1162"/>
                </a:cubicBezTo>
                <a:cubicBezTo>
                  <a:pt x="9391" y="1164"/>
                  <a:pt x="9388" y="1165"/>
                  <a:pt x="9386" y="1167"/>
                </a:cubicBezTo>
                <a:cubicBezTo>
                  <a:pt x="9383" y="1168"/>
                  <a:pt x="9382" y="1169"/>
                  <a:pt x="9374" y="1170"/>
                </a:cubicBezTo>
                <a:cubicBezTo>
                  <a:pt x="9373" y="1170"/>
                  <a:pt x="9372" y="1170"/>
                  <a:pt x="9371" y="1169"/>
                </a:cubicBezTo>
                <a:cubicBezTo>
                  <a:pt x="9369" y="1169"/>
                  <a:pt x="9366" y="1169"/>
                  <a:pt x="9363" y="1169"/>
                </a:cubicBezTo>
                <a:cubicBezTo>
                  <a:pt x="9295" y="1169"/>
                  <a:pt x="8929" y="1181"/>
                  <a:pt x="8672" y="1184"/>
                </a:cubicBezTo>
                <a:close/>
                <a:moveTo>
                  <a:pt x="7098" y="1513"/>
                </a:moveTo>
                <a:cubicBezTo>
                  <a:pt x="7104" y="1564"/>
                  <a:pt x="7191" y="2311"/>
                  <a:pt x="7195" y="2416"/>
                </a:cubicBezTo>
                <a:cubicBezTo>
                  <a:pt x="7244" y="2424"/>
                  <a:pt x="7280" y="2430"/>
                  <a:pt x="7288" y="2431"/>
                </a:cubicBezTo>
                <a:cubicBezTo>
                  <a:pt x="8536" y="2407"/>
                  <a:pt x="8536" y="2407"/>
                  <a:pt x="8536" y="2407"/>
                </a:cubicBezTo>
                <a:cubicBezTo>
                  <a:pt x="8534" y="2372"/>
                  <a:pt x="8533" y="2343"/>
                  <a:pt x="8532" y="2327"/>
                </a:cubicBezTo>
                <a:cubicBezTo>
                  <a:pt x="8531" y="2299"/>
                  <a:pt x="8529" y="2264"/>
                  <a:pt x="8529" y="2227"/>
                </a:cubicBezTo>
                <a:cubicBezTo>
                  <a:pt x="8529" y="2166"/>
                  <a:pt x="8533" y="2100"/>
                  <a:pt x="8546" y="2050"/>
                </a:cubicBezTo>
                <a:cubicBezTo>
                  <a:pt x="8567" y="1975"/>
                  <a:pt x="8649" y="1664"/>
                  <a:pt x="8659" y="1602"/>
                </a:cubicBezTo>
                <a:cubicBezTo>
                  <a:pt x="8660" y="1596"/>
                  <a:pt x="8661" y="1582"/>
                  <a:pt x="8661" y="1565"/>
                </a:cubicBezTo>
                <a:cubicBezTo>
                  <a:pt x="8661" y="1466"/>
                  <a:pt x="8641" y="1242"/>
                  <a:pt x="8636" y="1184"/>
                </a:cubicBezTo>
                <a:cubicBezTo>
                  <a:pt x="8610" y="1185"/>
                  <a:pt x="8586" y="1185"/>
                  <a:pt x="8563" y="1185"/>
                </a:cubicBezTo>
                <a:cubicBezTo>
                  <a:pt x="8525" y="1185"/>
                  <a:pt x="8492" y="1184"/>
                  <a:pt x="8467" y="1183"/>
                </a:cubicBezTo>
                <a:cubicBezTo>
                  <a:pt x="8284" y="1177"/>
                  <a:pt x="7921" y="1156"/>
                  <a:pt x="7811" y="1156"/>
                </a:cubicBezTo>
                <a:cubicBezTo>
                  <a:pt x="7803" y="1156"/>
                  <a:pt x="7797" y="1156"/>
                  <a:pt x="7792" y="1156"/>
                </a:cubicBezTo>
                <a:cubicBezTo>
                  <a:pt x="7717" y="1159"/>
                  <a:pt x="7502" y="1204"/>
                  <a:pt x="7448" y="1227"/>
                </a:cubicBezTo>
                <a:cubicBezTo>
                  <a:pt x="7385" y="1252"/>
                  <a:pt x="7195" y="1286"/>
                  <a:pt x="7152" y="1293"/>
                </a:cubicBezTo>
                <a:cubicBezTo>
                  <a:pt x="7144" y="1294"/>
                  <a:pt x="7137" y="1301"/>
                  <a:pt x="7131" y="1311"/>
                </a:cubicBezTo>
                <a:cubicBezTo>
                  <a:pt x="7127" y="1319"/>
                  <a:pt x="7125" y="1329"/>
                  <a:pt x="7124" y="1335"/>
                </a:cubicBezTo>
                <a:cubicBezTo>
                  <a:pt x="7128" y="1343"/>
                  <a:pt x="7126" y="1344"/>
                  <a:pt x="7127" y="1347"/>
                </a:cubicBezTo>
                <a:cubicBezTo>
                  <a:pt x="7127" y="1363"/>
                  <a:pt x="7119" y="1402"/>
                  <a:pt x="7112" y="1441"/>
                </a:cubicBezTo>
                <a:cubicBezTo>
                  <a:pt x="7106" y="1474"/>
                  <a:pt x="7100" y="1504"/>
                  <a:pt x="7098" y="1513"/>
                </a:cubicBezTo>
                <a:close/>
                <a:moveTo>
                  <a:pt x="6480" y="2715"/>
                </a:moveTo>
                <a:cubicBezTo>
                  <a:pt x="6552" y="2460"/>
                  <a:pt x="6552" y="2460"/>
                  <a:pt x="6552" y="2460"/>
                </a:cubicBezTo>
                <a:cubicBezTo>
                  <a:pt x="6554" y="2458"/>
                  <a:pt x="6554" y="2458"/>
                  <a:pt x="6554" y="2458"/>
                </a:cubicBezTo>
                <a:cubicBezTo>
                  <a:pt x="6604" y="2385"/>
                  <a:pt x="6685" y="2366"/>
                  <a:pt x="6789" y="2366"/>
                </a:cubicBezTo>
                <a:cubicBezTo>
                  <a:pt x="6856" y="2366"/>
                  <a:pt x="7034" y="2392"/>
                  <a:pt x="7159" y="2411"/>
                </a:cubicBezTo>
                <a:cubicBezTo>
                  <a:pt x="7156" y="2351"/>
                  <a:pt x="7133" y="2142"/>
                  <a:pt x="7111" y="1942"/>
                </a:cubicBezTo>
                <a:cubicBezTo>
                  <a:pt x="7089" y="1747"/>
                  <a:pt x="7067" y="1559"/>
                  <a:pt x="7063" y="1521"/>
                </a:cubicBezTo>
                <a:cubicBezTo>
                  <a:pt x="7033" y="1496"/>
                  <a:pt x="6991" y="1475"/>
                  <a:pt x="6958" y="1442"/>
                </a:cubicBezTo>
                <a:cubicBezTo>
                  <a:pt x="6903" y="1386"/>
                  <a:pt x="6870" y="1326"/>
                  <a:pt x="6869" y="1325"/>
                </a:cubicBezTo>
                <a:cubicBezTo>
                  <a:pt x="6591" y="823"/>
                  <a:pt x="6591" y="823"/>
                  <a:pt x="6591" y="823"/>
                </a:cubicBezTo>
                <a:cubicBezTo>
                  <a:pt x="6533" y="725"/>
                  <a:pt x="6460" y="703"/>
                  <a:pt x="6399" y="703"/>
                </a:cubicBezTo>
                <a:cubicBezTo>
                  <a:pt x="6370" y="703"/>
                  <a:pt x="6344" y="708"/>
                  <a:pt x="6325" y="714"/>
                </a:cubicBezTo>
                <a:cubicBezTo>
                  <a:pt x="6316" y="717"/>
                  <a:pt x="6308" y="720"/>
                  <a:pt x="6303" y="722"/>
                </a:cubicBezTo>
                <a:cubicBezTo>
                  <a:pt x="6299" y="723"/>
                  <a:pt x="6297" y="724"/>
                  <a:pt x="6296" y="725"/>
                </a:cubicBezTo>
                <a:cubicBezTo>
                  <a:pt x="6283" y="733"/>
                  <a:pt x="6063" y="860"/>
                  <a:pt x="5953" y="920"/>
                </a:cubicBezTo>
                <a:cubicBezTo>
                  <a:pt x="5851" y="976"/>
                  <a:pt x="5783" y="1006"/>
                  <a:pt x="5678" y="1006"/>
                </a:cubicBezTo>
                <a:cubicBezTo>
                  <a:pt x="5666" y="1006"/>
                  <a:pt x="5654" y="1006"/>
                  <a:pt x="5641" y="1005"/>
                </a:cubicBezTo>
                <a:cubicBezTo>
                  <a:pt x="5513" y="997"/>
                  <a:pt x="5219" y="908"/>
                  <a:pt x="4930" y="822"/>
                </a:cubicBezTo>
                <a:cubicBezTo>
                  <a:pt x="4678" y="747"/>
                  <a:pt x="4507" y="662"/>
                  <a:pt x="4466" y="641"/>
                </a:cubicBezTo>
                <a:cubicBezTo>
                  <a:pt x="4231" y="1096"/>
                  <a:pt x="4231" y="1096"/>
                  <a:pt x="4231" y="1096"/>
                </a:cubicBezTo>
                <a:cubicBezTo>
                  <a:pt x="4227" y="1114"/>
                  <a:pt x="4195" y="1237"/>
                  <a:pt x="4154" y="1305"/>
                </a:cubicBezTo>
                <a:cubicBezTo>
                  <a:pt x="4118" y="1365"/>
                  <a:pt x="4093" y="1412"/>
                  <a:pt x="4087" y="1422"/>
                </a:cubicBezTo>
                <a:cubicBezTo>
                  <a:pt x="4020" y="1758"/>
                  <a:pt x="4020" y="1758"/>
                  <a:pt x="4020" y="1758"/>
                </a:cubicBezTo>
                <a:cubicBezTo>
                  <a:pt x="4021" y="1780"/>
                  <a:pt x="4021" y="1780"/>
                  <a:pt x="4021" y="1780"/>
                </a:cubicBezTo>
                <a:cubicBezTo>
                  <a:pt x="4249" y="1879"/>
                  <a:pt x="4457" y="2030"/>
                  <a:pt x="4495" y="2058"/>
                </a:cubicBezTo>
                <a:cubicBezTo>
                  <a:pt x="5340" y="2408"/>
                  <a:pt x="5340" y="2408"/>
                  <a:pt x="5340" y="2408"/>
                </a:cubicBezTo>
                <a:cubicBezTo>
                  <a:pt x="5382" y="2420"/>
                  <a:pt x="5882" y="2569"/>
                  <a:pt x="6050" y="2619"/>
                </a:cubicBezTo>
                <a:cubicBezTo>
                  <a:pt x="6130" y="2643"/>
                  <a:pt x="6298" y="2687"/>
                  <a:pt x="6464" y="2731"/>
                </a:cubicBezTo>
                <a:lnTo>
                  <a:pt x="6480" y="2715"/>
                </a:lnTo>
                <a:close/>
                <a:moveTo>
                  <a:pt x="7941" y="2877"/>
                </a:moveTo>
                <a:cubicBezTo>
                  <a:pt x="8097" y="2829"/>
                  <a:pt x="8254" y="2781"/>
                  <a:pt x="8371" y="2745"/>
                </a:cubicBezTo>
                <a:cubicBezTo>
                  <a:pt x="8430" y="2727"/>
                  <a:pt x="8479" y="2711"/>
                  <a:pt x="8513" y="2701"/>
                </a:cubicBezTo>
                <a:cubicBezTo>
                  <a:pt x="8527" y="2697"/>
                  <a:pt x="8538" y="2693"/>
                  <a:pt x="8547" y="2691"/>
                </a:cubicBezTo>
                <a:cubicBezTo>
                  <a:pt x="8549" y="2677"/>
                  <a:pt x="8549" y="2677"/>
                  <a:pt x="8549" y="2677"/>
                </a:cubicBezTo>
                <a:cubicBezTo>
                  <a:pt x="8547" y="2625"/>
                  <a:pt x="8542" y="2526"/>
                  <a:pt x="8538" y="2443"/>
                </a:cubicBezTo>
                <a:cubicBezTo>
                  <a:pt x="7285" y="2467"/>
                  <a:pt x="7285" y="2467"/>
                  <a:pt x="7285" y="2467"/>
                </a:cubicBezTo>
                <a:cubicBezTo>
                  <a:pt x="7284" y="2467"/>
                  <a:pt x="7284" y="2467"/>
                  <a:pt x="7284" y="2467"/>
                </a:cubicBezTo>
                <a:cubicBezTo>
                  <a:pt x="7283" y="2467"/>
                  <a:pt x="7185" y="2451"/>
                  <a:pt x="7074" y="2434"/>
                </a:cubicBezTo>
                <a:cubicBezTo>
                  <a:pt x="6963" y="2418"/>
                  <a:pt x="6838" y="2402"/>
                  <a:pt x="6789" y="2402"/>
                </a:cubicBezTo>
                <a:cubicBezTo>
                  <a:pt x="6689" y="2402"/>
                  <a:pt x="6625" y="2420"/>
                  <a:pt x="6585" y="2476"/>
                </a:cubicBezTo>
                <a:cubicBezTo>
                  <a:pt x="6513" y="2728"/>
                  <a:pt x="6513" y="2728"/>
                  <a:pt x="6513" y="2728"/>
                </a:cubicBezTo>
                <a:cubicBezTo>
                  <a:pt x="6513" y="2733"/>
                  <a:pt x="6513" y="2739"/>
                  <a:pt x="6513" y="2743"/>
                </a:cubicBezTo>
                <a:cubicBezTo>
                  <a:pt x="6683" y="2787"/>
                  <a:pt x="6843" y="2827"/>
                  <a:pt x="6894" y="2839"/>
                </a:cubicBezTo>
                <a:cubicBezTo>
                  <a:pt x="6998" y="2863"/>
                  <a:pt x="7144" y="2885"/>
                  <a:pt x="7270" y="2982"/>
                </a:cubicBezTo>
                <a:cubicBezTo>
                  <a:pt x="7297" y="3003"/>
                  <a:pt x="7322" y="3031"/>
                  <a:pt x="7345" y="3061"/>
                </a:cubicBezTo>
                <a:cubicBezTo>
                  <a:pt x="7429" y="3035"/>
                  <a:pt x="7685" y="2956"/>
                  <a:pt x="7941" y="2877"/>
                </a:cubicBezTo>
                <a:close/>
                <a:moveTo>
                  <a:pt x="8534" y="2712"/>
                </a:moveTo>
                <a:cubicBezTo>
                  <a:pt x="8531" y="2716"/>
                  <a:pt x="8530" y="2720"/>
                  <a:pt x="8529" y="2723"/>
                </a:cubicBezTo>
                <a:cubicBezTo>
                  <a:pt x="8529" y="2723"/>
                  <a:pt x="8529" y="2723"/>
                  <a:pt x="8529" y="2723"/>
                </a:cubicBezTo>
                <a:cubicBezTo>
                  <a:pt x="8530" y="2718"/>
                  <a:pt x="8532" y="2714"/>
                  <a:pt x="8534" y="2710"/>
                </a:cubicBezTo>
                <a:cubicBezTo>
                  <a:pt x="8534" y="2711"/>
                  <a:pt x="8534" y="2711"/>
                  <a:pt x="8534" y="2712"/>
                </a:cubicBezTo>
                <a:close/>
                <a:moveTo>
                  <a:pt x="10517" y="2406"/>
                </a:moveTo>
                <a:cubicBezTo>
                  <a:pt x="10508" y="2375"/>
                  <a:pt x="10501" y="2349"/>
                  <a:pt x="10496" y="2330"/>
                </a:cubicBezTo>
                <a:cubicBezTo>
                  <a:pt x="10487" y="2318"/>
                  <a:pt x="10487" y="2318"/>
                  <a:pt x="10487" y="2318"/>
                </a:cubicBezTo>
                <a:cubicBezTo>
                  <a:pt x="10436" y="2331"/>
                  <a:pt x="10345" y="2354"/>
                  <a:pt x="10231" y="2383"/>
                </a:cubicBezTo>
                <a:cubicBezTo>
                  <a:pt x="9959" y="2451"/>
                  <a:pt x="9551" y="2554"/>
                  <a:pt x="9211" y="2640"/>
                </a:cubicBezTo>
                <a:cubicBezTo>
                  <a:pt x="9041" y="2683"/>
                  <a:pt x="8888" y="2722"/>
                  <a:pt x="8777" y="2750"/>
                </a:cubicBezTo>
                <a:cubicBezTo>
                  <a:pt x="8722" y="2764"/>
                  <a:pt x="8677" y="2775"/>
                  <a:pt x="8646" y="2783"/>
                </a:cubicBezTo>
                <a:cubicBezTo>
                  <a:pt x="8631" y="2787"/>
                  <a:pt x="8619" y="2790"/>
                  <a:pt x="8611" y="2792"/>
                </a:cubicBezTo>
                <a:cubicBezTo>
                  <a:pt x="8606" y="2793"/>
                  <a:pt x="8603" y="2794"/>
                  <a:pt x="8601" y="2794"/>
                </a:cubicBezTo>
                <a:cubicBezTo>
                  <a:pt x="8601" y="2794"/>
                  <a:pt x="8600" y="2794"/>
                  <a:pt x="8600" y="2794"/>
                </a:cubicBezTo>
                <a:cubicBezTo>
                  <a:pt x="8593" y="2797"/>
                  <a:pt x="8593" y="2797"/>
                  <a:pt x="8593" y="2797"/>
                </a:cubicBezTo>
                <a:cubicBezTo>
                  <a:pt x="8593" y="2797"/>
                  <a:pt x="8593" y="2797"/>
                  <a:pt x="8593" y="2797"/>
                </a:cubicBezTo>
                <a:cubicBezTo>
                  <a:pt x="8540" y="2813"/>
                  <a:pt x="8247" y="2903"/>
                  <a:pt x="7958" y="2992"/>
                </a:cubicBezTo>
                <a:cubicBezTo>
                  <a:pt x="7734" y="3061"/>
                  <a:pt x="7513" y="3129"/>
                  <a:pt x="7410" y="3161"/>
                </a:cubicBezTo>
                <a:cubicBezTo>
                  <a:pt x="7418" y="3175"/>
                  <a:pt x="7426" y="3190"/>
                  <a:pt x="7434" y="3204"/>
                </a:cubicBezTo>
                <a:cubicBezTo>
                  <a:pt x="7445" y="3225"/>
                  <a:pt x="7455" y="3244"/>
                  <a:pt x="7463" y="3262"/>
                </a:cubicBezTo>
                <a:cubicBezTo>
                  <a:pt x="7465" y="3261"/>
                  <a:pt x="7466" y="3261"/>
                  <a:pt x="7467" y="3260"/>
                </a:cubicBezTo>
                <a:cubicBezTo>
                  <a:pt x="7522" y="3240"/>
                  <a:pt x="7572" y="3225"/>
                  <a:pt x="7612" y="3214"/>
                </a:cubicBezTo>
                <a:cubicBezTo>
                  <a:pt x="7652" y="3203"/>
                  <a:pt x="7684" y="3194"/>
                  <a:pt x="7690" y="3191"/>
                </a:cubicBezTo>
                <a:cubicBezTo>
                  <a:pt x="7698" y="3188"/>
                  <a:pt x="7703" y="3186"/>
                  <a:pt x="7712" y="3184"/>
                </a:cubicBezTo>
                <a:cubicBezTo>
                  <a:pt x="7776" y="3164"/>
                  <a:pt x="7988" y="3106"/>
                  <a:pt x="8276" y="3028"/>
                </a:cubicBezTo>
                <a:cubicBezTo>
                  <a:pt x="8708" y="2911"/>
                  <a:pt x="9307" y="2750"/>
                  <a:pt x="9815" y="2609"/>
                </a:cubicBezTo>
                <a:cubicBezTo>
                  <a:pt x="10068" y="2538"/>
                  <a:pt x="10298" y="2472"/>
                  <a:pt x="10473" y="2420"/>
                </a:cubicBezTo>
                <a:cubicBezTo>
                  <a:pt x="10488" y="2415"/>
                  <a:pt x="10502" y="2411"/>
                  <a:pt x="10517" y="2406"/>
                </a:cubicBezTo>
                <a:close/>
                <a:moveTo>
                  <a:pt x="10687" y="2352"/>
                </a:moveTo>
                <a:cubicBezTo>
                  <a:pt x="10714" y="2343"/>
                  <a:pt x="10736" y="2335"/>
                  <a:pt x="10753" y="2328"/>
                </a:cubicBezTo>
                <a:cubicBezTo>
                  <a:pt x="10769" y="2322"/>
                  <a:pt x="10781" y="2316"/>
                  <a:pt x="10782" y="2316"/>
                </a:cubicBezTo>
                <a:cubicBezTo>
                  <a:pt x="10794" y="2309"/>
                  <a:pt x="10831" y="2280"/>
                  <a:pt x="10877" y="2239"/>
                </a:cubicBezTo>
                <a:cubicBezTo>
                  <a:pt x="11042" y="2096"/>
                  <a:pt x="11351" y="1796"/>
                  <a:pt x="11648" y="1523"/>
                </a:cubicBezTo>
                <a:cubicBezTo>
                  <a:pt x="11797" y="1387"/>
                  <a:pt x="11944" y="1256"/>
                  <a:pt x="12069" y="1154"/>
                </a:cubicBezTo>
                <a:cubicBezTo>
                  <a:pt x="12132" y="1102"/>
                  <a:pt x="12190" y="1058"/>
                  <a:pt x="12241" y="1023"/>
                </a:cubicBezTo>
                <a:cubicBezTo>
                  <a:pt x="12293" y="988"/>
                  <a:pt x="12336" y="962"/>
                  <a:pt x="12378" y="947"/>
                </a:cubicBezTo>
                <a:cubicBezTo>
                  <a:pt x="12472" y="915"/>
                  <a:pt x="12593" y="898"/>
                  <a:pt x="12737" y="888"/>
                </a:cubicBezTo>
                <a:cubicBezTo>
                  <a:pt x="12771" y="885"/>
                  <a:pt x="12807" y="883"/>
                  <a:pt x="12844" y="882"/>
                </a:cubicBezTo>
                <a:cubicBezTo>
                  <a:pt x="12835" y="845"/>
                  <a:pt x="12829" y="814"/>
                  <a:pt x="12825" y="792"/>
                </a:cubicBezTo>
                <a:cubicBezTo>
                  <a:pt x="12816" y="770"/>
                  <a:pt x="12816" y="770"/>
                  <a:pt x="12816" y="770"/>
                </a:cubicBezTo>
                <a:cubicBezTo>
                  <a:pt x="12614" y="771"/>
                  <a:pt x="12463" y="773"/>
                  <a:pt x="12430" y="774"/>
                </a:cubicBezTo>
                <a:cubicBezTo>
                  <a:pt x="12307" y="778"/>
                  <a:pt x="12204" y="782"/>
                  <a:pt x="12120" y="820"/>
                </a:cubicBezTo>
                <a:cubicBezTo>
                  <a:pt x="12082" y="837"/>
                  <a:pt x="12032" y="876"/>
                  <a:pt x="11990" y="917"/>
                </a:cubicBezTo>
                <a:cubicBezTo>
                  <a:pt x="11947" y="958"/>
                  <a:pt x="11911" y="1002"/>
                  <a:pt x="11896" y="1024"/>
                </a:cubicBezTo>
                <a:cubicBezTo>
                  <a:pt x="11884" y="1042"/>
                  <a:pt x="11866" y="1062"/>
                  <a:pt x="11844" y="1086"/>
                </a:cubicBezTo>
                <a:cubicBezTo>
                  <a:pt x="11812" y="1122"/>
                  <a:pt x="11773" y="1163"/>
                  <a:pt x="11741" y="1196"/>
                </a:cubicBezTo>
                <a:cubicBezTo>
                  <a:pt x="11725" y="1212"/>
                  <a:pt x="11712" y="1226"/>
                  <a:pt x="11702" y="1236"/>
                </a:cubicBezTo>
                <a:cubicBezTo>
                  <a:pt x="11698" y="1241"/>
                  <a:pt x="11695" y="1244"/>
                  <a:pt x="11693" y="1246"/>
                </a:cubicBezTo>
                <a:cubicBezTo>
                  <a:pt x="11690" y="1251"/>
                  <a:pt x="11690" y="1250"/>
                  <a:pt x="11689" y="1252"/>
                </a:cubicBezTo>
                <a:cubicBezTo>
                  <a:pt x="11685" y="1256"/>
                  <a:pt x="11684" y="1257"/>
                  <a:pt x="11681" y="1260"/>
                </a:cubicBezTo>
                <a:cubicBezTo>
                  <a:pt x="11642" y="1300"/>
                  <a:pt x="11393" y="1540"/>
                  <a:pt x="11149" y="1775"/>
                </a:cubicBezTo>
                <a:cubicBezTo>
                  <a:pt x="11027" y="1892"/>
                  <a:pt x="10906" y="2008"/>
                  <a:pt x="10814" y="2096"/>
                </a:cubicBezTo>
                <a:cubicBezTo>
                  <a:pt x="10768" y="2140"/>
                  <a:pt x="10729" y="2177"/>
                  <a:pt x="10701" y="2204"/>
                </a:cubicBezTo>
                <a:cubicBezTo>
                  <a:pt x="10687" y="2217"/>
                  <a:pt x="10675" y="2228"/>
                  <a:pt x="10667" y="2236"/>
                </a:cubicBezTo>
                <a:cubicBezTo>
                  <a:pt x="10658" y="2245"/>
                  <a:pt x="10653" y="2249"/>
                  <a:pt x="10649" y="2253"/>
                </a:cubicBezTo>
                <a:cubicBezTo>
                  <a:pt x="10623" y="2274"/>
                  <a:pt x="10596" y="2285"/>
                  <a:pt x="10573" y="2293"/>
                </a:cubicBezTo>
                <a:cubicBezTo>
                  <a:pt x="10562" y="2297"/>
                  <a:pt x="10553" y="2300"/>
                  <a:pt x="10545" y="2303"/>
                </a:cubicBezTo>
                <a:cubicBezTo>
                  <a:pt x="10544" y="2303"/>
                  <a:pt x="10544" y="2303"/>
                  <a:pt x="10544" y="2303"/>
                </a:cubicBezTo>
                <a:cubicBezTo>
                  <a:pt x="10533" y="2306"/>
                  <a:pt x="10533" y="2306"/>
                  <a:pt x="10533" y="2306"/>
                </a:cubicBezTo>
                <a:cubicBezTo>
                  <a:pt x="10533" y="2306"/>
                  <a:pt x="10532" y="2306"/>
                  <a:pt x="10532" y="2307"/>
                </a:cubicBezTo>
                <a:cubicBezTo>
                  <a:pt x="10531" y="2307"/>
                  <a:pt x="10531" y="2307"/>
                  <a:pt x="10531" y="2307"/>
                </a:cubicBezTo>
                <a:cubicBezTo>
                  <a:pt x="10531" y="2307"/>
                  <a:pt x="10531" y="2307"/>
                  <a:pt x="10530" y="2307"/>
                </a:cubicBezTo>
                <a:cubicBezTo>
                  <a:pt x="10530" y="2307"/>
                  <a:pt x="10530" y="2307"/>
                  <a:pt x="10529" y="2307"/>
                </a:cubicBezTo>
                <a:cubicBezTo>
                  <a:pt x="10533" y="2328"/>
                  <a:pt x="10533" y="2328"/>
                  <a:pt x="10533" y="2328"/>
                </a:cubicBezTo>
                <a:cubicBezTo>
                  <a:pt x="10538" y="2346"/>
                  <a:pt x="10544" y="2369"/>
                  <a:pt x="10551" y="2396"/>
                </a:cubicBezTo>
                <a:cubicBezTo>
                  <a:pt x="10604" y="2379"/>
                  <a:pt x="10650" y="2365"/>
                  <a:pt x="10687" y="2352"/>
                </a:cubicBezTo>
                <a:close/>
                <a:moveTo>
                  <a:pt x="10707" y="2986"/>
                </a:moveTo>
                <a:cubicBezTo>
                  <a:pt x="10706" y="2974"/>
                  <a:pt x="10706" y="2974"/>
                  <a:pt x="10706" y="2974"/>
                </a:cubicBezTo>
                <a:cubicBezTo>
                  <a:pt x="10706" y="2980"/>
                  <a:pt x="10706" y="2980"/>
                  <a:pt x="10706" y="2980"/>
                </a:cubicBezTo>
                <a:cubicBezTo>
                  <a:pt x="10706" y="2981"/>
                  <a:pt x="10706" y="2981"/>
                  <a:pt x="10706" y="2982"/>
                </a:cubicBezTo>
                <a:cubicBezTo>
                  <a:pt x="10706" y="2980"/>
                  <a:pt x="10706" y="2980"/>
                  <a:pt x="10706" y="2980"/>
                </a:cubicBezTo>
                <a:cubicBezTo>
                  <a:pt x="10706" y="2975"/>
                  <a:pt x="10706" y="2975"/>
                  <a:pt x="10706" y="2975"/>
                </a:cubicBezTo>
                <a:cubicBezTo>
                  <a:pt x="10706" y="2983"/>
                  <a:pt x="10706" y="2983"/>
                  <a:pt x="10706" y="2983"/>
                </a:cubicBezTo>
                <a:cubicBezTo>
                  <a:pt x="10706" y="2984"/>
                  <a:pt x="10707" y="2985"/>
                  <a:pt x="10707" y="2986"/>
                </a:cubicBezTo>
                <a:close/>
                <a:moveTo>
                  <a:pt x="13164" y="1947"/>
                </a:moveTo>
                <a:cubicBezTo>
                  <a:pt x="13162" y="1938"/>
                  <a:pt x="13137" y="1775"/>
                  <a:pt x="13109" y="1665"/>
                </a:cubicBezTo>
                <a:cubicBezTo>
                  <a:pt x="13082" y="1560"/>
                  <a:pt x="12971" y="1245"/>
                  <a:pt x="12909" y="1083"/>
                </a:cubicBezTo>
                <a:cubicBezTo>
                  <a:pt x="12907" y="1083"/>
                  <a:pt x="12906" y="1084"/>
                  <a:pt x="12905" y="1084"/>
                </a:cubicBezTo>
                <a:cubicBezTo>
                  <a:pt x="12792" y="1107"/>
                  <a:pt x="12663" y="1124"/>
                  <a:pt x="12559" y="1153"/>
                </a:cubicBezTo>
                <a:cubicBezTo>
                  <a:pt x="12385" y="1200"/>
                  <a:pt x="12273" y="1255"/>
                  <a:pt x="12245" y="1271"/>
                </a:cubicBezTo>
                <a:cubicBezTo>
                  <a:pt x="12175" y="1310"/>
                  <a:pt x="11809" y="1605"/>
                  <a:pt x="11629" y="1731"/>
                </a:cubicBezTo>
                <a:cubicBezTo>
                  <a:pt x="11582" y="1774"/>
                  <a:pt x="11535" y="1818"/>
                  <a:pt x="11489" y="1861"/>
                </a:cubicBezTo>
                <a:cubicBezTo>
                  <a:pt x="11344" y="1998"/>
                  <a:pt x="11207" y="2128"/>
                  <a:pt x="11096" y="2230"/>
                </a:cubicBezTo>
                <a:cubicBezTo>
                  <a:pt x="11040" y="2281"/>
                  <a:pt x="10991" y="2325"/>
                  <a:pt x="10951" y="2360"/>
                </a:cubicBezTo>
                <a:cubicBezTo>
                  <a:pt x="10910" y="2395"/>
                  <a:pt x="10880" y="2419"/>
                  <a:pt x="10853" y="2435"/>
                </a:cubicBezTo>
                <a:cubicBezTo>
                  <a:pt x="10833" y="2447"/>
                  <a:pt x="10812" y="2455"/>
                  <a:pt x="10780" y="2467"/>
                </a:cubicBezTo>
                <a:cubicBezTo>
                  <a:pt x="10733" y="2484"/>
                  <a:pt x="10668" y="2505"/>
                  <a:pt x="10588" y="2530"/>
                </a:cubicBezTo>
                <a:cubicBezTo>
                  <a:pt x="10620" y="2651"/>
                  <a:pt x="10661" y="2803"/>
                  <a:pt x="10700" y="2958"/>
                </a:cubicBezTo>
                <a:cubicBezTo>
                  <a:pt x="10701" y="2958"/>
                  <a:pt x="10701" y="2957"/>
                  <a:pt x="10702" y="2957"/>
                </a:cubicBezTo>
                <a:cubicBezTo>
                  <a:pt x="10704" y="2956"/>
                  <a:pt x="10704" y="2956"/>
                  <a:pt x="10704" y="2956"/>
                </a:cubicBezTo>
                <a:cubicBezTo>
                  <a:pt x="10704" y="2956"/>
                  <a:pt x="10704" y="2956"/>
                  <a:pt x="10704" y="2956"/>
                </a:cubicBezTo>
                <a:cubicBezTo>
                  <a:pt x="10710" y="2956"/>
                  <a:pt x="12294" y="2922"/>
                  <a:pt x="12295" y="2922"/>
                </a:cubicBezTo>
                <a:cubicBezTo>
                  <a:pt x="12294" y="2922"/>
                  <a:pt x="12297" y="2922"/>
                  <a:pt x="12302" y="2922"/>
                </a:cubicBezTo>
                <a:cubicBezTo>
                  <a:pt x="12321" y="2922"/>
                  <a:pt x="12371" y="2924"/>
                  <a:pt x="12426" y="2942"/>
                </a:cubicBezTo>
                <a:cubicBezTo>
                  <a:pt x="12438" y="2914"/>
                  <a:pt x="12480" y="2816"/>
                  <a:pt x="12498" y="2778"/>
                </a:cubicBezTo>
                <a:cubicBezTo>
                  <a:pt x="12506" y="2762"/>
                  <a:pt x="12533" y="2727"/>
                  <a:pt x="12572" y="2675"/>
                </a:cubicBezTo>
                <a:cubicBezTo>
                  <a:pt x="12686" y="2529"/>
                  <a:pt x="12893" y="2275"/>
                  <a:pt x="12905" y="2260"/>
                </a:cubicBezTo>
                <a:cubicBezTo>
                  <a:pt x="12913" y="2249"/>
                  <a:pt x="13018" y="2092"/>
                  <a:pt x="13098" y="2001"/>
                </a:cubicBezTo>
                <a:cubicBezTo>
                  <a:pt x="13119" y="1978"/>
                  <a:pt x="13141" y="1961"/>
                  <a:pt x="13164" y="1947"/>
                </a:cubicBezTo>
                <a:close/>
              </a:path>
            </a:pathLst>
          </a:custGeom>
          <a:gradFill>
            <a:gsLst>
              <a:gs pos="0">
                <a:srgbClr val="78BCDD"/>
              </a:gs>
              <a:gs pos="100000">
                <a:srgbClr val="78BCDD"/>
              </a:gs>
            </a:gsLst>
            <a:lin ang="0" scaled="1"/>
          </a:gradFill>
          <a:ln>
            <a:noFill/>
          </a:ln>
        </p:spPr>
        <p:txBody>
          <a:bodyPr vert="horz" wrap="square" lIns="91440" tIns="45720" rIns="91440" bIns="45720" numCol="1" anchor="t" anchorCtr="0" compatLnSpc="1">
            <a:prstTxWarp prst="textNoShape">
              <a:avLst/>
            </a:prstTxWarp>
          </a:bodyPr>
          <a:lstStyle/>
          <a:p>
            <a:endParaRPr lang="nl-NL" dirty="0"/>
          </a:p>
        </p:txBody>
      </p:sp>
      <p:sp>
        <p:nvSpPr>
          <p:cNvPr id="6" name="Tijdelijke aanduiding voor dianummer 5"/>
          <p:cNvSpPr>
            <a:spLocks noGrp="1" noSelect="1"/>
          </p:cNvSpPr>
          <p:nvPr>
            <p:ph type="sldNum" sz="quarter" idx="4"/>
          </p:nvPr>
        </p:nvSpPr>
        <p:spPr bwMode="gray">
          <a:xfrm>
            <a:off x="11210132" y="6372000"/>
            <a:ext cx="389689" cy="252000"/>
          </a:xfrm>
          <a:prstGeom prst="rect">
            <a:avLst/>
          </a:prstGeom>
        </p:spPr>
        <p:txBody>
          <a:bodyPr vert="horz" lIns="0" tIns="0" rIns="0" bIns="0" rtlCol="0" anchor="t">
            <a:noAutofit/>
          </a:bodyPr>
          <a:lstStyle>
            <a:lvl1pPr algn="l">
              <a:defRPr sz="1000">
                <a:solidFill>
                  <a:schemeClr val="tx1"/>
                </a:solidFill>
                <a:latin typeface="Univers" panose="020B0603020202030204" pitchFamily="34" charset="0"/>
              </a:defRPr>
            </a:lvl1pPr>
          </a:lstStyle>
          <a:p>
            <a:r>
              <a:rPr lang="nl-NL" noProof="1"/>
              <a:t>| </a:t>
            </a:r>
            <a:fld id="{1336C48C-F87C-4E4B-81EF-5027B17D1F61}" type="slidenum">
              <a:rPr lang="nl-NL" noProof="1" smtClean="0"/>
              <a:pPr/>
              <a:t>‹nr.›</a:t>
            </a:fld>
            <a:endParaRPr lang="nl-NL" noProof="1"/>
          </a:p>
        </p:txBody>
      </p:sp>
      <p:sp>
        <p:nvSpPr>
          <p:cNvPr id="4" name="Tijdelijke aanduiding voor datum 3"/>
          <p:cNvSpPr>
            <a:spLocks noGrp="1" noSelect="1"/>
          </p:cNvSpPr>
          <p:nvPr>
            <p:ph type="dt" sz="half" idx="2"/>
          </p:nvPr>
        </p:nvSpPr>
        <p:spPr bwMode="gray">
          <a:xfrm>
            <a:off x="9900000" y="6372000"/>
            <a:ext cx="1260550" cy="252000"/>
          </a:xfrm>
          <a:prstGeom prst="rect">
            <a:avLst/>
          </a:prstGeom>
        </p:spPr>
        <p:txBody>
          <a:bodyPr vert="horz" lIns="0" tIns="0" rIns="0" bIns="0" rtlCol="0" anchor="t">
            <a:noAutofit/>
          </a:bodyPr>
          <a:lstStyle>
            <a:lvl1pPr algn="r">
              <a:defRPr sz="1000">
                <a:solidFill>
                  <a:schemeClr val="tx1"/>
                </a:solidFill>
                <a:latin typeface="Univers" panose="020B0603020202030204" pitchFamily="34" charset="0"/>
              </a:defRPr>
            </a:lvl1pPr>
          </a:lstStyle>
          <a:p>
            <a:fld id="{2923B9C5-BE15-4844-92EA-6B5A4B794705}" type="datetime4">
              <a:rPr lang="nl-NL" noProof="1" smtClean="0"/>
              <a:pPr/>
              <a:t>29 maart 2022</a:t>
            </a:fld>
            <a:endParaRPr lang="nl-NL" noProof="1"/>
          </a:p>
        </p:txBody>
      </p:sp>
      <p:sp>
        <p:nvSpPr>
          <p:cNvPr id="5" name="Tijdelijke aanduiding voor voettekst 4"/>
          <p:cNvSpPr>
            <a:spLocks noGrp="1" noSelect="1"/>
          </p:cNvSpPr>
          <p:nvPr>
            <p:ph type="ftr" sz="quarter" idx="3"/>
          </p:nvPr>
        </p:nvSpPr>
        <p:spPr bwMode="gray">
          <a:xfrm>
            <a:off x="1440000" y="6372000"/>
            <a:ext cx="6265512" cy="252000"/>
          </a:xfrm>
          <a:prstGeom prst="rect">
            <a:avLst/>
          </a:prstGeom>
        </p:spPr>
        <p:txBody>
          <a:bodyPr vert="horz" lIns="0" tIns="0" rIns="0" bIns="0" rtlCol="0" anchor="t">
            <a:noAutofit/>
          </a:bodyPr>
          <a:lstStyle>
            <a:lvl1pPr algn="l">
              <a:defRPr sz="1000">
                <a:solidFill>
                  <a:schemeClr val="tx1"/>
                </a:solidFill>
                <a:latin typeface="Univers" panose="020B0603020202030204" pitchFamily="34" charset="0"/>
              </a:defRPr>
            </a:lvl1pPr>
          </a:lstStyle>
          <a:p>
            <a:r>
              <a:rPr lang="nl-NL" noProof="1"/>
              <a:t>[Voettekst]</a:t>
            </a:r>
          </a:p>
        </p:txBody>
      </p:sp>
      <p:sp>
        <p:nvSpPr>
          <p:cNvPr id="3" name="Tijdelijke aanduiding voor tekst 2 (JU-Free)"/>
          <p:cNvSpPr>
            <a:spLocks noGrp="1"/>
          </p:cNvSpPr>
          <p:nvPr>
            <p:ph type="body" idx="1"/>
          </p:nvPr>
        </p:nvSpPr>
        <p:spPr bwMode="gray">
          <a:xfrm>
            <a:off x="1440000" y="1675344"/>
            <a:ext cx="10152000" cy="4608000"/>
          </a:xfrm>
          <a:prstGeom prst="rect">
            <a:avLst/>
          </a:prstGeom>
        </p:spPr>
        <p:txBody>
          <a:bodyPr vert="horz" lIns="0" tIns="0" rIns="0" bIns="0" rtlCol="0">
            <a:noAutofit/>
          </a:bodyPr>
          <a:lstStyle/>
          <a:p>
            <a:pPr lvl="0"/>
            <a:r>
              <a:rPr lang="nl-NL" noProof="1"/>
              <a:t>JU-LEVEL1=Basistekst</a:t>
            </a:r>
          </a:p>
          <a:p>
            <a:pPr lvl="1"/>
            <a:r>
              <a:rPr lang="nl-NL" noProof="1"/>
              <a:t>JU-LEVEL2=Tussenkop 1</a:t>
            </a:r>
          </a:p>
          <a:p>
            <a:pPr lvl="2"/>
            <a:r>
              <a:rPr lang="nl-NL" noProof="1"/>
              <a:t>JU-LEVEL3=Tussenkop 2</a:t>
            </a:r>
          </a:p>
          <a:p>
            <a:pPr lvl="3"/>
            <a:r>
              <a:rPr lang="nl-NL" noProof="1"/>
              <a:t>JU-LEVEL4=Tussenkop 3</a:t>
            </a:r>
          </a:p>
          <a:p>
            <a:pPr lvl="4"/>
            <a:r>
              <a:rPr lang="nl-NL" noProof="1"/>
              <a:t>JU-LEVEL5=Extra titelstijl</a:t>
            </a:r>
          </a:p>
          <a:p>
            <a:pPr lvl="5"/>
            <a:r>
              <a:rPr lang="nl-NL" noProof="1"/>
              <a:t>JU-LEVEL6=Opsomming 1e niveau</a:t>
            </a:r>
          </a:p>
          <a:p>
            <a:pPr lvl="6"/>
            <a:r>
              <a:rPr lang="nl-NL" noProof="1"/>
              <a:t>JU-LEVEL7=Opsomming 2e niveau</a:t>
            </a:r>
          </a:p>
          <a:p>
            <a:pPr lvl="7"/>
            <a:r>
              <a:rPr lang="nl-NL" noProof="1"/>
              <a:t>JU-LEVEL8=Opsomming 3e niveau</a:t>
            </a:r>
          </a:p>
          <a:p>
            <a:pPr lvl="8"/>
            <a:r>
              <a:rPr lang="nl-NL" noProof="1"/>
              <a:t>JU-LEVEL9=Zwevend 1e niveau</a:t>
            </a:r>
          </a:p>
        </p:txBody>
      </p:sp>
      <p:sp>
        <p:nvSpPr>
          <p:cNvPr id="2" name="Tijdelijke aanduiding voor titel 1"/>
          <p:cNvSpPr>
            <a:spLocks noGrp="1" noSelect="1"/>
          </p:cNvSpPr>
          <p:nvPr>
            <p:ph type="title"/>
          </p:nvPr>
        </p:nvSpPr>
        <p:spPr bwMode="gray">
          <a:xfrm>
            <a:off x="1440000" y="224644"/>
            <a:ext cx="10152000" cy="711202"/>
          </a:xfrm>
          <a:prstGeom prst="rect">
            <a:avLst/>
          </a:prstGeom>
        </p:spPr>
        <p:txBody>
          <a:bodyPr vert="horz" lIns="0" tIns="0" rIns="0" bIns="0" rtlCol="0" anchor="b">
            <a:noAutofit/>
          </a:bodyPr>
          <a:lstStyle/>
          <a:p>
            <a:r>
              <a:rPr lang="nl-NL" noProof="1"/>
              <a:t>Titel</a:t>
            </a:r>
          </a:p>
        </p:txBody>
      </p:sp>
    </p:spTree>
  </p:cSld>
  <p:clrMap bg1="lt1" tx1="dk1" bg2="lt2" tx2="dk2" accent1="accent1" accent2="accent2" accent3="accent3" accent4="accent4" accent5="accent5" accent6="accent6" hlink="hlink" folHlink="folHlink"/>
  <p:sldLayoutIdLst>
    <p:sldLayoutId id="2147483715" r:id="rId1"/>
    <p:sldLayoutId id="2147483716" r:id="rId2"/>
    <p:sldLayoutId id="2147483722" r:id="rId3"/>
    <p:sldLayoutId id="2147483724" r:id="rId4"/>
    <p:sldLayoutId id="2147483723" r:id="rId5"/>
    <p:sldLayoutId id="2147483725" r:id="rId6"/>
    <p:sldLayoutId id="2147483710" r:id="rId7"/>
    <p:sldLayoutId id="2147483714" r:id="rId8"/>
    <p:sldLayoutId id="2147483728" r:id="rId9"/>
    <p:sldLayoutId id="2147483729" r:id="rId10"/>
    <p:sldLayoutId id="2147483730" r:id="rId11"/>
    <p:sldLayoutId id="2147483718" r:id="rId12"/>
    <p:sldLayoutId id="2147483721" r:id="rId13"/>
    <p:sldLayoutId id="2147483717" r:id="rId14"/>
    <p:sldLayoutId id="2147483711" r:id="rId15"/>
    <p:sldLayoutId id="2147483726" r:id="rId16"/>
    <p:sldLayoutId id="2147483720" r:id="rId17"/>
    <p:sldLayoutId id="2147483727" r:id="rId18"/>
    <p:sldLayoutId id="2147483731" r:id="rId19"/>
  </p:sldLayoutIdLst>
  <p:hf sldNum="0" hdr="0" ftr="0" dt="0"/>
  <p:txStyles>
    <p:titleStyle>
      <a:lvl1pPr algn="l" defTabSz="1088937" rtl="0" eaLnBrk="1" latinLnBrk="0" hangingPunct="1">
        <a:lnSpc>
          <a:spcPct val="100000"/>
        </a:lnSpc>
        <a:spcBef>
          <a:spcPct val="0"/>
        </a:spcBef>
        <a:buNone/>
        <a:defRPr sz="2000" b="1" kern="1200" baseline="0">
          <a:solidFill>
            <a:schemeClr val="bg1"/>
          </a:solidFill>
          <a:latin typeface="Univers" panose="020B0603020202030204" pitchFamily="34" charset="0"/>
          <a:ea typeface="+mj-ea"/>
          <a:cs typeface="+mj-cs"/>
        </a:defRPr>
      </a:lvl1pPr>
    </p:titleStyle>
    <p:bodyStyle>
      <a:lvl1pPr marL="0" indent="0" algn="l" defTabSz="1088937" rtl="0" eaLnBrk="1" latinLnBrk="0" hangingPunct="1">
        <a:lnSpc>
          <a:spcPct val="114000"/>
        </a:lnSpc>
        <a:spcBef>
          <a:spcPts val="0"/>
        </a:spcBef>
        <a:buFont typeface="Arial" pitchFamily="34" charset="0"/>
        <a:buNone/>
        <a:defRPr sz="1500" b="0" kern="1200" baseline="0">
          <a:solidFill>
            <a:schemeClr val="tx1"/>
          </a:solidFill>
          <a:latin typeface="Univers" panose="020B0603020202030204" pitchFamily="34" charset="0"/>
          <a:ea typeface="+mn-ea"/>
          <a:cs typeface="+mn-cs"/>
        </a:defRPr>
      </a:lvl1pPr>
      <a:lvl2pPr marL="0" indent="0" algn="l" defTabSz="1088937" rtl="0" eaLnBrk="1" latinLnBrk="0" hangingPunct="1">
        <a:lnSpc>
          <a:spcPct val="114000"/>
        </a:lnSpc>
        <a:spcBef>
          <a:spcPts val="2000"/>
        </a:spcBef>
        <a:buFont typeface="Arial" pitchFamily="34" charset="0"/>
        <a:buNone/>
        <a:defRPr sz="1500" b="1" kern="1200">
          <a:solidFill>
            <a:schemeClr val="tx1"/>
          </a:solidFill>
          <a:latin typeface="Univers" panose="020B0603020202030204" pitchFamily="34" charset="0"/>
          <a:ea typeface="+mn-ea"/>
          <a:cs typeface="+mn-cs"/>
        </a:defRPr>
      </a:lvl2pPr>
      <a:lvl3pPr marL="0" indent="0" algn="l" defTabSz="1088937" rtl="0" eaLnBrk="1" latinLnBrk="0" hangingPunct="1">
        <a:lnSpc>
          <a:spcPct val="114000"/>
        </a:lnSpc>
        <a:spcBef>
          <a:spcPts val="2000"/>
        </a:spcBef>
        <a:buFont typeface="Arial" pitchFamily="34" charset="0"/>
        <a:buNone/>
        <a:defRPr sz="1500" b="1" kern="1200">
          <a:solidFill>
            <a:schemeClr val="accent1"/>
          </a:solidFill>
          <a:latin typeface="Univers" panose="020B0603020202030204" pitchFamily="34" charset="0"/>
          <a:ea typeface="+mn-ea"/>
          <a:cs typeface="+mn-cs"/>
        </a:defRPr>
      </a:lvl3pPr>
      <a:lvl4pPr marL="0" indent="0" algn="l" defTabSz="1088937" rtl="0" eaLnBrk="1" latinLnBrk="0" hangingPunct="1">
        <a:lnSpc>
          <a:spcPct val="114000"/>
        </a:lnSpc>
        <a:spcBef>
          <a:spcPts val="2000"/>
        </a:spcBef>
        <a:buFont typeface="Arial" pitchFamily="34" charset="0"/>
        <a:buNone/>
        <a:defRPr sz="1500" b="1" kern="1200">
          <a:solidFill>
            <a:srgbClr val="C73735"/>
          </a:solidFill>
          <a:latin typeface="Univers" panose="020B0603020202030204" pitchFamily="34" charset="0"/>
          <a:ea typeface="+mn-ea"/>
          <a:cs typeface="+mn-cs"/>
        </a:defRPr>
      </a:lvl4pPr>
      <a:lvl5pPr marL="0" indent="0" algn="l" defTabSz="1088937" rtl="0" eaLnBrk="1" latinLnBrk="0" hangingPunct="1">
        <a:lnSpc>
          <a:spcPct val="114000"/>
        </a:lnSpc>
        <a:spcBef>
          <a:spcPts val="1000"/>
        </a:spcBef>
        <a:spcAft>
          <a:spcPts val="1800"/>
        </a:spcAft>
        <a:buFont typeface="Arial" pitchFamily="34" charset="0"/>
        <a:buNone/>
        <a:defRPr sz="2500" b="0" kern="1200">
          <a:solidFill>
            <a:schemeClr val="accent2"/>
          </a:solidFill>
          <a:latin typeface="Univers" panose="020B0603020202030204" pitchFamily="34" charset="0"/>
          <a:ea typeface="+mn-ea"/>
          <a:cs typeface="+mn-cs"/>
        </a:defRPr>
      </a:lvl5pPr>
      <a:lvl6pPr marL="198000" indent="-198000" algn="l" defTabSz="1088937" rtl="0" eaLnBrk="1" latinLnBrk="0" hangingPunct="1">
        <a:lnSpc>
          <a:spcPct val="114000"/>
        </a:lnSpc>
        <a:spcBef>
          <a:spcPts val="0"/>
        </a:spcBef>
        <a:spcAft>
          <a:spcPts val="0"/>
        </a:spcAft>
        <a:buFontTx/>
        <a:buBlip>
          <a:blip r:embed="rId21"/>
        </a:buBlip>
        <a:defRPr sz="1500" b="0" kern="1200" baseline="0">
          <a:solidFill>
            <a:schemeClr val="tx1"/>
          </a:solidFill>
          <a:latin typeface="Univers" panose="020B0603020202030204" pitchFamily="34" charset="0"/>
          <a:ea typeface="+mn-ea"/>
          <a:cs typeface="+mn-cs"/>
        </a:defRPr>
      </a:lvl6pPr>
      <a:lvl7pPr marL="540000" indent="-216000" algn="l" defTabSz="1088937" rtl="0" eaLnBrk="1" latinLnBrk="0" hangingPunct="1">
        <a:lnSpc>
          <a:spcPct val="114000"/>
        </a:lnSpc>
        <a:spcBef>
          <a:spcPts val="0"/>
        </a:spcBef>
        <a:buFontTx/>
        <a:buBlip>
          <a:blip r:embed="rId22"/>
        </a:buBlip>
        <a:defRPr sz="1500" kern="1200">
          <a:solidFill>
            <a:schemeClr val="tx1"/>
          </a:solidFill>
          <a:latin typeface="Univers" panose="020B0603020202030204" pitchFamily="34" charset="0"/>
          <a:ea typeface="+mn-ea"/>
          <a:cs typeface="+mn-cs"/>
        </a:defRPr>
      </a:lvl7pPr>
      <a:lvl8pPr marL="1026000" marR="0" indent="-144000" algn="l" defTabSz="1088937" rtl="0" eaLnBrk="1" fontAlgn="auto" latinLnBrk="0" hangingPunct="1">
        <a:lnSpc>
          <a:spcPct val="114000"/>
        </a:lnSpc>
        <a:spcBef>
          <a:spcPts val="0"/>
        </a:spcBef>
        <a:spcAft>
          <a:spcPts val="0"/>
        </a:spcAft>
        <a:buClrTx/>
        <a:buSzTx/>
        <a:buFont typeface="Arial" panose="020B0604020202020204" pitchFamily="34" charset="0"/>
        <a:buChar char="•"/>
        <a:tabLst/>
        <a:defRPr sz="1500" kern="1200">
          <a:solidFill>
            <a:schemeClr val="tx1"/>
          </a:solidFill>
          <a:latin typeface="Univers" panose="020B0603020202030204" pitchFamily="34" charset="0"/>
          <a:ea typeface="+mn-ea"/>
          <a:cs typeface="+mn-cs"/>
        </a:defRPr>
      </a:lvl8pPr>
      <a:lvl9pPr marL="198000" indent="0" algn="l" defTabSz="1088937" rtl="0" eaLnBrk="1" latinLnBrk="0" hangingPunct="1">
        <a:lnSpc>
          <a:spcPct val="114000"/>
        </a:lnSpc>
        <a:spcBef>
          <a:spcPts val="0"/>
        </a:spcBef>
        <a:buClrTx/>
        <a:buFont typeface="Arial" pitchFamily="34" charset="0"/>
        <a:buNone/>
        <a:defRPr sz="1500" kern="1200" baseline="0">
          <a:solidFill>
            <a:schemeClr val="tx1"/>
          </a:solidFill>
          <a:latin typeface="Univers" panose="020B0603020202030204" pitchFamily="34" charset="0"/>
          <a:ea typeface="+mn-ea"/>
          <a:cs typeface="+mn-cs"/>
        </a:defRPr>
      </a:lvl9pPr>
    </p:bodyStyle>
    <p:otherStyle>
      <a:defPPr>
        <a:defRPr lang="nl-NL"/>
      </a:defPPr>
      <a:lvl1pPr marL="0" algn="l" defTabSz="1088937" rtl="0" eaLnBrk="1" latinLnBrk="0" hangingPunct="1">
        <a:defRPr sz="1000" kern="1200">
          <a:solidFill>
            <a:schemeClr val="tx1"/>
          </a:solidFill>
          <a:latin typeface="+mn-lt"/>
          <a:ea typeface="+mn-ea"/>
          <a:cs typeface="+mn-cs"/>
        </a:defRPr>
      </a:lvl1pPr>
      <a:lvl2pPr marL="544469" algn="l" defTabSz="1088937" rtl="0" eaLnBrk="1" latinLnBrk="0" hangingPunct="1">
        <a:defRPr sz="1000" kern="1200">
          <a:solidFill>
            <a:schemeClr val="tx1"/>
          </a:solidFill>
          <a:latin typeface="+mn-lt"/>
          <a:ea typeface="+mn-ea"/>
          <a:cs typeface="+mn-cs"/>
        </a:defRPr>
      </a:lvl2pPr>
      <a:lvl3pPr marL="1088937" algn="l" defTabSz="1088937" rtl="0" eaLnBrk="1" latinLnBrk="0" hangingPunct="1">
        <a:defRPr sz="1000" kern="1200">
          <a:solidFill>
            <a:schemeClr val="tx1"/>
          </a:solidFill>
          <a:latin typeface="+mn-lt"/>
          <a:ea typeface="+mn-ea"/>
          <a:cs typeface="+mn-cs"/>
        </a:defRPr>
      </a:lvl3pPr>
      <a:lvl4pPr marL="1633406" algn="l" defTabSz="1088937" rtl="0" eaLnBrk="1" latinLnBrk="0" hangingPunct="1">
        <a:defRPr sz="1000" kern="1200">
          <a:solidFill>
            <a:schemeClr val="tx1"/>
          </a:solidFill>
          <a:latin typeface="+mn-lt"/>
          <a:ea typeface="+mn-ea"/>
          <a:cs typeface="+mn-cs"/>
        </a:defRPr>
      </a:lvl4pPr>
      <a:lvl5pPr marL="2177875" algn="l" defTabSz="1088937" rtl="0" eaLnBrk="1" latinLnBrk="0" hangingPunct="1">
        <a:defRPr sz="1000" kern="1200">
          <a:solidFill>
            <a:schemeClr val="tx1"/>
          </a:solidFill>
          <a:latin typeface="+mn-lt"/>
          <a:ea typeface="+mn-ea"/>
          <a:cs typeface="+mn-cs"/>
        </a:defRPr>
      </a:lvl5pPr>
      <a:lvl6pPr marL="2722343" algn="l" defTabSz="1088937" rtl="0" eaLnBrk="1" latinLnBrk="0" hangingPunct="1">
        <a:defRPr sz="1000" kern="1200">
          <a:solidFill>
            <a:schemeClr val="tx1"/>
          </a:solidFill>
          <a:latin typeface="+mn-lt"/>
          <a:ea typeface="+mn-ea"/>
          <a:cs typeface="+mn-cs"/>
        </a:defRPr>
      </a:lvl6pPr>
      <a:lvl7pPr marL="3266811" algn="l" defTabSz="1088937" rtl="0" eaLnBrk="1" latinLnBrk="0" hangingPunct="1">
        <a:defRPr sz="1000" kern="1200">
          <a:solidFill>
            <a:schemeClr val="tx1"/>
          </a:solidFill>
          <a:latin typeface="+mn-lt"/>
          <a:ea typeface="+mn-ea"/>
          <a:cs typeface="+mn-cs"/>
        </a:defRPr>
      </a:lvl7pPr>
      <a:lvl8pPr marL="3811280" algn="l" defTabSz="1088937" rtl="0" eaLnBrk="1" latinLnBrk="0" hangingPunct="1">
        <a:defRPr sz="1000" kern="1200">
          <a:solidFill>
            <a:schemeClr val="tx1"/>
          </a:solidFill>
          <a:latin typeface="+mn-lt"/>
          <a:ea typeface="+mn-ea"/>
          <a:cs typeface="+mn-cs"/>
        </a:defRPr>
      </a:lvl8pPr>
      <a:lvl9pPr marL="4355749" algn="l" defTabSz="1088937" rtl="0" eaLnBrk="1" latinLnBrk="0" hangingPunct="1">
        <a:defRPr sz="1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33.png"/></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hyperlink" Target="https://www.hoefenhaag.nl/" TargetMode="Externa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s://www.hoefenhaag.nl/" TargetMode="Externa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38.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hyperlink" Target="https://www.mapbox.com/" TargetMode="Externa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44.png"/><Relationship Id="rId4" Type="http://schemas.openxmlformats.org/officeDocument/2006/relationships/image" Target="../media/image43.png"/></Relationships>
</file>

<file path=ppt/slides/_rels/slide3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7.xml"/><Relationship Id="rId5" Type="http://schemas.openxmlformats.org/officeDocument/2006/relationships/image" Target="../media/image48.png"/><Relationship Id="rId4" Type="http://schemas.openxmlformats.org/officeDocument/2006/relationships/image" Target="../media/image47.png"/></Relationships>
</file>

<file path=ppt/slides/_rels/slide38.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3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9.xml"/><Relationship Id="rId1" Type="http://schemas.openxmlformats.org/officeDocument/2006/relationships/slideLayout" Target="../slideLayouts/slideLayout7.xml"/><Relationship Id="rId5" Type="http://schemas.openxmlformats.org/officeDocument/2006/relationships/image" Target="../media/image56.png"/><Relationship Id="rId4" Type="http://schemas.openxmlformats.org/officeDocument/2006/relationships/image" Target="../media/image5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2" Type="http://schemas.openxmlformats.org/officeDocument/2006/relationships/hyperlink" Target="https://www.nieuwbouw-poeldijk.nl/" TargetMode="Externa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Tijdelijke aanduiding voor afbeelding 8"/>
          <p:cNvPicPr>
            <a:picLocks noGrp="1" noChangeAspect="1"/>
          </p:cNvPicPr>
          <p:nvPr>
            <p:ph type="pic" sz="quarter" idx="13"/>
          </p:nvPr>
        </p:nvPicPr>
        <p:blipFill>
          <a:blip r:embed="rId2">
            <a:extLst>
              <a:ext uri="{28A0092B-C50C-407E-A947-70E740481C1C}">
                <a14:useLocalDpi xmlns:a14="http://schemas.microsoft.com/office/drawing/2010/main" val="0"/>
              </a:ext>
            </a:extLst>
          </a:blip>
          <a:stretch>
            <a:fillRect/>
          </a:stretch>
        </p:blipFill>
        <p:spPr>
          <a:xfrm>
            <a:off x="-1" y="2286470"/>
            <a:ext cx="12195175" cy="3669760"/>
          </a:xfrm>
        </p:spPr>
      </p:pic>
      <p:sp>
        <p:nvSpPr>
          <p:cNvPr id="2" name="Titel 1"/>
          <p:cNvSpPr>
            <a:spLocks noGrp="1"/>
          </p:cNvSpPr>
          <p:nvPr>
            <p:ph type="ctrTitle"/>
          </p:nvPr>
        </p:nvSpPr>
        <p:spPr/>
        <p:txBody>
          <a:bodyPr/>
          <a:lstStyle/>
          <a:p>
            <a:r>
              <a:rPr lang="nl-NL" dirty="0" err="1">
                <a:latin typeface="Univers"/>
              </a:rPr>
              <a:t>Mapbox</a:t>
            </a:r>
            <a:r>
              <a:rPr lang="nl-NL" dirty="0">
                <a:latin typeface="Univers"/>
              </a:rPr>
              <a:t> handleiding</a:t>
            </a:r>
            <a:endParaRPr lang="nl-NL" dirty="0"/>
          </a:p>
        </p:txBody>
      </p:sp>
      <p:sp>
        <p:nvSpPr>
          <p:cNvPr id="4" name="Tijdelijke aanduiding voor tekst 3"/>
          <p:cNvSpPr>
            <a:spLocks noGrp="1"/>
          </p:cNvSpPr>
          <p:nvPr>
            <p:ph type="body" idx="1001"/>
          </p:nvPr>
        </p:nvSpPr>
        <p:spPr/>
        <p:txBody>
          <a:bodyPr/>
          <a:lstStyle/>
          <a:p>
            <a:endParaRPr lang="nl-NL"/>
          </a:p>
        </p:txBody>
      </p:sp>
      <p:sp>
        <p:nvSpPr>
          <p:cNvPr id="5" name="Tijdelijke aanduiding voor tekst 4"/>
          <p:cNvSpPr>
            <a:spLocks noGrp="1"/>
          </p:cNvSpPr>
          <p:nvPr>
            <p:ph type="body" idx="1002"/>
          </p:nvPr>
        </p:nvSpPr>
        <p:spPr>
          <a:solidFill>
            <a:srgbClr val="78BDDE">
              <a:alpha val="50000"/>
            </a:srgbClr>
          </a:solidFill>
        </p:spPr>
        <p:txBody>
          <a:bodyPr/>
          <a:lstStyle/>
          <a:p>
            <a:endParaRPr lang="nl-NL" dirty="0"/>
          </a:p>
        </p:txBody>
      </p:sp>
      <p:sp>
        <p:nvSpPr>
          <p:cNvPr id="6" name="Ondertitel 5"/>
          <p:cNvSpPr>
            <a:spLocks noGrp="1"/>
          </p:cNvSpPr>
          <p:nvPr>
            <p:ph type="subTitle" idx="1"/>
          </p:nvPr>
        </p:nvSpPr>
        <p:spPr/>
        <p:txBody>
          <a:bodyPr/>
          <a:lstStyle/>
          <a:p>
            <a:r>
              <a:rPr lang="nl-NL" dirty="0">
                <a:latin typeface="Univers"/>
              </a:rPr>
              <a:t>laatst bijgewerkt 29-03-2022 - Anne</a:t>
            </a:r>
            <a:endParaRPr lang="nl-NL" dirty="0"/>
          </a:p>
        </p:txBody>
      </p:sp>
    </p:spTree>
    <p:extLst>
      <p:ext uri="{BB962C8B-B14F-4D97-AF65-F5344CB8AC3E}">
        <p14:creationId xmlns:p14="http://schemas.microsoft.com/office/powerpoint/2010/main" val="6215826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1440000" y="1268760"/>
            <a:ext cx="10152000" cy="5472608"/>
          </a:xfrm>
        </p:spPr>
        <p:txBody>
          <a:bodyPr vert="horz" lIns="0" tIns="0" rIns="0" bIns="0" rtlCol="0" anchor="t">
            <a:noAutofit/>
          </a:bodyPr>
          <a:lstStyle/>
          <a:p>
            <a:r>
              <a:rPr lang="nl-NL" b="1" err="1">
                <a:latin typeface="Univers"/>
              </a:rPr>
              <a:t>GeoTIFF</a:t>
            </a:r>
            <a:r>
              <a:rPr lang="nl-NL" b="1" dirty="0">
                <a:latin typeface="Univers"/>
              </a:rPr>
              <a:t>-afbeelding uploaden</a:t>
            </a:r>
          </a:p>
          <a:p>
            <a:pPr marL="285750" indent="-285750">
              <a:buFont typeface="Arial" panose="020B0604020202020204" pitchFamily="34" charset="0"/>
              <a:buChar char="•"/>
            </a:pPr>
            <a:r>
              <a:rPr lang="nl-NL" dirty="0">
                <a:latin typeface="Univers"/>
              </a:rPr>
              <a:t>Het intekenen start met het uploaden van de zogenoemde </a:t>
            </a:r>
            <a:r>
              <a:rPr lang="nl-NL" err="1">
                <a:latin typeface="Univers"/>
              </a:rPr>
              <a:t>GeoTIFF</a:t>
            </a:r>
            <a:r>
              <a:rPr lang="nl-NL" dirty="0">
                <a:latin typeface="Univers"/>
              </a:rPr>
              <a:t>-afbeelding. Hierop staat de verkaveling van het gebied of de wijk. De </a:t>
            </a:r>
            <a:r>
              <a:rPr lang="nl-NL" err="1">
                <a:latin typeface="Univers"/>
              </a:rPr>
              <a:t>GeoTIFF</a:t>
            </a:r>
            <a:r>
              <a:rPr lang="nl-NL" dirty="0">
                <a:latin typeface="Univers"/>
              </a:rPr>
              <a:t> wordt gemaakt op basis van .</a:t>
            </a:r>
            <a:r>
              <a:rPr lang="nl-NL" err="1">
                <a:latin typeface="Univers"/>
              </a:rPr>
              <a:t>dwg</a:t>
            </a:r>
            <a:r>
              <a:rPr lang="nl-NL">
                <a:latin typeface="Univers"/>
              </a:rPr>
              <a:t> bestanden. Voor </a:t>
            </a:r>
            <a:r>
              <a:rPr lang="nl-NL" dirty="0">
                <a:latin typeface="Univers"/>
              </a:rPr>
              <a:t>het laten maken van een </a:t>
            </a:r>
            <a:r>
              <a:rPr lang="nl-NL" err="1">
                <a:latin typeface="Univers"/>
              </a:rPr>
              <a:t>GeoTiff</a:t>
            </a:r>
            <a:r>
              <a:rPr lang="nl-NL" dirty="0">
                <a:latin typeface="Univers"/>
              </a:rPr>
              <a:t> kun je terecht bij Taco van Gerven. </a:t>
            </a:r>
            <a:endParaRPr lang="nl-NL" dirty="0"/>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endParaRPr lang="nl-NL" dirty="0"/>
          </a:p>
          <a:p>
            <a:pPr marL="285750" lvl="0" indent="-285750">
              <a:buFont typeface="Arial" panose="020B0604020202020204" pitchFamily="34" charset="0"/>
              <a:buChar char="•"/>
            </a:pPr>
            <a:endParaRPr lang="nl-NL" dirty="0"/>
          </a:p>
          <a:p>
            <a:pPr marL="285750" indent="-285750">
              <a:buFont typeface="Arial" panose="020B0604020202020204" pitchFamily="34" charset="0"/>
              <a:buChar char="•"/>
            </a:pPr>
            <a:r>
              <a:rPr lang="nl-NL" dirty="0">
                <a:latin typeface="Univers"/>
              </a:rPr>
              <a:t>De </a:t>
            </a:r>
            <a:r>
              <a:rPr lang="nl-NL" err="1">
                <a:latin typeface="Univers"/>
              </a:rPr>
              <a:t>GeoTIFF</a:t>
            </a:r>
            <a:r>
              <a:rPr lang="nl-NL" dirty="0">
                <a:latin typeface="Univers"/>
              </a:rPr>
              <a:t>-afbeelding is een transparante laag en komt over de standaardkaart van </a:t>
            </a:r>
            <a:r>
              <a:rPr lang="nl-NL" err="1">
                <a:latin typeface="Univers"/>
              </a:rPr>
              <a:t>Mapbox</a:t>
            </a:r>
            <a:r>
              <a:rPr lang="nl-NL" dirty="0">
                <a:latin typeface="Univers"/>
              </a:rPr>
              <a:t> te liggen, zodat je heel gericht 1. het gebied, 2. de wijken, 3. projectfases, 4. woningtypes en 5. bouwnummers kunt intekenen.</a:t>
            </a:r>
            <a:br>
              <a:rPr lang="nl-NL" dirty="0"/>
            </a:br>
            <a:r>
              <a:rPr lang="nl-NL" dirty="0">
                <a:latin typeface="Univers"/>
              </a:rPr>
              <a:t> </a:t>
            </a:r>
            <a:endParaRPr lang="nl-NL"/>
          </a:p>
          <a:p>
            <a:pPr marL="285750" lvl="0" indent="-285750">
              <a:buFont typeface="Arial" panose="020B0604020202020204" pitchFamily="34" charset="0"/>
              <a:buChar char="•"/>
            </a:pPr>
            <a:r>
              <a:rPr lang="nl-NL" b="1" dirty="0">
                <a:latin typeface="Univers"/>
              </a:rPr>
              <a:t>Let op</a:t>
            </a:r>
            <a:r>
              <a:rPr lang="nl-NL" dirty="0">
                <a:latin typeface="Univers"/>
              </a:rPr>
              <a:t>: het uploaden van de </a:t>
            </a:r>
            <a:r>
              <a:rPr lang="nl-NL" err="1">
                <a:latin typeface="Univers"/>
              </a:rPr>
              <a:t>GeoTIFF</a:t>
            </a:r>
            <a:r>
              <a:rPr lang="nl-NL" dirty="0">
                <a:latin typeface="Univers"/>
              </a:rPr>
              <a:t> kan soms lang duren. Minimaal 10 min tot wel maximaal 1 uur voordat deze in de editor verschijnt. Niet zichtbaar in de editor? Neem dan contact op met het </a:t>
            </a:r>
            <a:r>
              <a:rPr lang="nl-NL" err="1">
                <a:latin typeface="Univers"/>
              </a:rPr>
              <a:t>Cloudteam</a:t>
            </a:r>
            <a:r>
              <a:rPr lang="nl-NL" dirty="0">
                <a:latin typeface="Univers"/>
              </a:rPr>
              <a:t>.</a:t>
            </a:r>
            <a:endParaRPr lang="nl-NL">
              <a:latin typeface="Univers"/>
            </a:endParaRPr>
          </a:p>
        </p:txBody>
      </p:sp>
      <p:sp>
        <p:nvSpPr>
          <p:cNvPr id="3" name="Titel 2"/>
          <p:cNvSpPr>
            <a:spLocks noGrp="1"/>
          </p:cNvSpPr>
          <p:nvPr>
            <p:ph type="title"/>
          </p:nvPr>
        </p:nvSpPr>
        <p:spPr/>
        <p:txBody>
          <a:bodyPr/>
          <a:lstStyle/>
          <a:p>
            <a:r>
              <a:rPr lang="nl-NL" dirty="0"/>
              <a:t>Lagen (polygonen) intekenen (2)</a:t>
            </a:r>
          </a:p>
        </p:txBody>
      </p:sp>
      <p:pic>
        <p:nvPicPr>
          <p:cNvPr id="6" name="Afbeelding 5"/>
          <p:cNvPicPr>
            <a:picLocks noChangeAspect="1"/>
          </p:cNvPicPr>
          <p:nvPr/>
        </p:nvPicPr>
        <p:blipFill>
          <a:blip r:embed="rId2"/>
          <a:stretch>
            <a:fillRect/>
          </a:stretch>
        </p:blipFill>
        <p:spPr>
          <a:xfrm>
            <a:off x="5737547" y="2348880"/>
            <a:ext cx="4605428" cy="2667791"/>
          </a:xfrm>
          <a:prstGeom prst="rect">
            <a:avLst/>
          </a:prstGeom>
        </p:spPr>
      </p:pic>
      <p:cxnSp>
        <p:nvCxnSpPr>
          <p:cNvPr id="18" name="Rechte verbindingslijn met pijl 17"/>
          <p:cNvCxnSpPr/>
          <p:nvPr/>
        </p:nvCxnSpPr>
        <p:spPr>
          <a:xfrm>
            <a:off x="4945459" y="4184662"/>
            <a:ext cx="1008112" cy="614237"/>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pic>
        <p:nvPicPr>
          <p:cNvPr id="4" name="Afbeelding 3"/>
          <p:cNvPicPr>
            <a:picLocks noChangeAspect="1"/>
          </p:cNvPicPr>
          <p:nvPr/>
        </p:nvPicPr>
        <p:blipFill>
          <a:blip r:embed="rId3"/>
          <a:stretch>
            <a:fillRect/>
          </a:stretch>
        </p:blipFill>
        <p:spPr>
          <a:xfrm>
            <a:off x="1921123" y="2746672"/>
            <a:ext cx="4464495" cy="2088232"/>
          </a:xfrm>
          <a:prstGeom prst="rect">
            <a:avLst/>
          </a:prstGeom>
          <a:ln w="28575">
            <a:solidFill>
              <a:srgbClr val="C0CF47"/>
            </a:solidFill>
          </a:ln>
          <a:scene3d>
            <a:camera prst="isometricTopUp"/>
            <a:lightRig rig="threePt" dir="t"/>
          </a:scene3d>
        </p:spPr>
      </p:pic>
    </p:spTree>
    <p:extLst>
      <p:ext uri="{BB962C8B-B14F-4D97-AF65-F5344CB8AC3E}">
        <p14:creationId xmlns:p14="http://schemas.microsoft.com/office/powerpoint/2010/main" val="14805141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1440000" y="1412776"/>
            <a:ext cx="9266099" cy="4870568"/>
          </a:xfrm>
        </p:spPr>
        <p:txBody>
          <a:bodyPr/>
          <a:lstStyle/>
          <a:p>
            <a:r>
              <a:rPr lang="nl-NL" dirty="0" err="1"/>
              <a:t>GeoTIFF</a:t>
            </a:r>
            <a:r>
              <a:rPr lang="nl-NL" dirty="0"/>
              <a:t> zichtbaar </a:t>
            </a:r>
            <a:r>
              <a:rPr lang="nl-NL" dirty="0">
                <a:sym typeface="Wingdings" panose="05000000000000000000" pitchFamily="2" charset="2"/>
              </a:rPr>
              <a:t></a:t>
            </a:r>
            <a:r>
              <a:rPr lang="nl-NL" dirty="0"/>
              <a:t> dan kun je gaan intekenen. Onderaan in de </a:t>
            </a:r>
            <a:r>
              <a:rPr lang="nl-NL" dirty="0" err="1"/>
              <a:t>Mapbox</a:t>
            </a:r>
            <a:r>
              <a:rPr lang="nl-NL" dirty="0"/>
              <a:t> Editor zie je de editor-opties. </a:t>
            </a:r>
          </a:p>
          <a:p>
            <a:endParaRPr lang="nl-NL" dirty="0"/>
          </a:p>
          <a:p>
            <a:pPr marL="285750" lvl="0" indent="-285750">
              <a:buFont typeface="Arial" panose="020B0604020202020204" pitchFamily="34" charset="0"/>
              <a:buChar char="•"/>
            </a:pPr>
            <a:r>
              <a:rPr lang="nl-NL" b="1" dirty="0"/>
              <a:t>Pennetje</a:t>
            </a:r>
            <a:r>
              <a:rPr lang="nl-NL" dirty="0"/>
              <a:t>: het pennetje gebruik je voor het intekenen.</a:t>
            </a:r>
          </a:p>
          <a:p>
            <a:pPr marL="285750" lvl="0" indent="-285750">
              <a:buFont typeface="Arial" panose="020B0604020202020204" pitchFamily="34" charset="0"/>
              <a:buChar char="•"/>
            </a:pPr>
            <a:r>
              <a:rPr lang="nl-NL" b="1" dirty="0"/>
              <a:t>Dupliceren</a:t>
            </a:r>
            <a:r>
              <a:rPr lang="nl-NL" dirty="0"/>
              <a:t>: met de dupliceren-knop kun je een ingetekend object kopiëren. </a:t>
            </a:r>
          </a:p>
          <a:p>
            <a:pPr marL="285750" lvl="0" indent="-285750">
              <a:buFont typeface="Arial" panose="020B0604020202020204" pitchFamily="34" charset="0"/>
              <a:buChar char="•"/>
            </a:pPr>
            <a:r>
              <a:rPr lang="nl-NL" b="1" dirty="0"/>
              <a:t>Prullenbak</a:t>
            </a:r>
            <a:r>
              <a:rPr lang="nl-NL" dirty="0"/>
              <a:t>: de prullenbak gebruik je om iets wat je ingetekend hebt te verwijderen.</a:t>
            </a:r>
          </a:p>
          <a:p>
            <a:pPr marL="285750" lvl="0" indent="-285750">
              <a:buFont typeface="Arial" panose="020B0604020202020204" pitchFamily="34" charset="0"/>
              <a:buChar char="•"/>
            </a:pPr>
            <a:r>
              <a:rPr lang="nl-NL" b="1" dirty="0">
                <a:solidFill>
                  <a:schemeClr val="bg2">
                    <a:lumMod val="65000"/>
                  </a:schemeClr>
                </a:solidFill>
              </a:rPr>
              <a:t>3D house</a:t>
            </a:r>
            <a:r>
              <a:rPr lang="nl-NL" dirty="0">
                <a:solidFill>
                  <a:schemeClr val="bg2">
                    <a:lumMod val="65000"/>
                  </a:schemeClr>
                </a:solidFill>
              </a:rPr>
              <a:t>: volgt later</a:t>
            </a:r>
          </a:p>
          <a:p>
            <a:pPr marL="285750" lvl="0" indent="-285750">
              <a:buFont typeface="Arial" panose="020B0604020202020204" pitchFamily="34" charset="0"/>
              <a:buChar char="•"/>
            </a:pPr>
            <a:r>
              <a:rPr lang="nl-NL" b="1" dirty="0">
                <a:solidFill>
                  <a:schemeClr val="bg2">
                    <a:lumMod val="65000"/>
                  </a:schemeClr>
                </a:solidFill>
              </a:rPr>
              <a:t>3D view</a:t>
            </a:r>
            <a:r>
              <a:rPr lang="nl-NL" dirty="0">
                <a:solidFill>
                  <a:schemeClr val="bg2">
                    <a:lumMod val="65000"/>
                  </a:schemeClr>
                </a:solidFill>
              </a:rPr>
              <a:t>: volgt later</a:t>
            </a:r>
          </a:p>
          <a:p>
            <a:pPr marL="285750" lvl="0" indent="-285750">
              <a:buFont typeface="Arial" panose="020B0604020202020204" pitchFamily="34" charset="0"/>
              <a:buChar char="•"/>
            </a:pPr>
            <a:r>
              <a:rPr lang="nl-NL" b="1" dirty="0"/>
              <a:t>Zoomknoppen</a:t>
            </a:r>
            <a:r>
              <a:rPr lang="nl-NL" dirty="0"/>
              <a:t>: met de zoomknoppen kun je in- en uitzoomen. </a:t>
            </a:r>
            <a:br>
              <a:rPr lang="nl-NL" dirty="0"/>
            </a:br>
            <a:r>
              <a:rPr lang="nl-NL" dirty="0"/>
              <a:t>Zoom zover mogelijk in om met name de bouwnummerpolygonen in te tekenen, op deze manier komen de lijnen strak tegen elkaar </a:t>
            </a:r>
            <a:r>
              <a:rPr lang="nl-NL" dirty="0" err="1"/>
              <a:t>ipv</a:t>
            </a:r>
            <a:r>
              <a:rPr lang="nl-NL" dirty="0"/>
              <a:t> schots en scheef.</a:t>
            </a:r>
          </a:p>
          <a:p>
            <a:pPr marL="285750" lvl="0" indent="-285750">
              <a:buFont typeface="Arial" panose="020B0604020202020204" pitchFamily="34" charset="0"/>
              <a:buChar char="•"/>
            </a:pPr>
            <a:r>
              <a:rPr lang="nl-NL" b="1" dirty="0"/>
              <a:t>Tip</a:t>
            </a:r>
            <a:r>
              <a:rPr lang="nl-NL" dirty="0"/>
              <a:t>: Met de shifttoets kun je meerdere objecten tegelijkertijd selecteren en verplaatsen. </a:t>
            </a:r>
          </a:p>
          <a:p>
            <a:pPr marL="285750" lvl="0" indent="-285750">
              <a:buFont typeface="Arial" panose="020B0604020202020204" pitchFamily="34" charset="0"/>
              <a:buChar char="•"/>
            </a:pPr>
            <a:endParaRPr lang="nl-NL" dirty="0"/>
          </a:p>
          <a:p>
            <a:pPr marL="285750" lvl="0" indent="-285750">
              <a:buFont typeface="Arial" panose="020B0604020202020204" pitchFamily="34" charset="0"/>
              <a:buChar char="•"/>
            </a:pPr>
            <a:endParaRPr lang="nl-NL" dirty="0"/>
          </a:p>
        </p:txBody>
      </p:sp>
      <p:sp>
        <p:nvSpPr>
          <p:cNvPr id="3" name="Titel 2"/>
          <p:cNvSpPr>
            <a:spLocks noGrp="1"/>
          </p:cNvSpPr>
          <p:nvPr>
            <p:ph type="title"/>
          </p:nvPr>
        </p:nvSpPr>
        <p:spPr/>
        <p:txBody>
          <a:bodyPr/>
          <a:lstStyle/>
          <a:p>
            <a:r>
              <a:rPr lang="nl-NL" dirty="0"/>
              <a:t>Lagen (polygonen) intekenen (3)</a:t>
            </a:r>
          </a:p>
        </p:txBody>
      </p:sp>
      <p:pic>
        <p:nvPicPr>
          <p:cNvPr id="5" name="Afbeelding 4"/>
          <p:cNvPicPr>
            <a:picLocks noChangeAspect="1"/>
          </p:cNvPicPr>
          <p:nvPr/>
        </p:nvPicPr>
        <p:blipFill>
          <a:blip r:embed="rId2"/>
          <a:stretch>
            <a:fillRect/>
          </a:stretch>
        </p:blipFill>
        <p:spPr>
          <a:xfrm>
            <a:off x="1705099" y="4797152"/>
            <a:ext cx="5665699" cy="1090911"/>
          </a:xfrm>
          <a:prstGeom prst="rect">
            <a:avLst/>
          </a:prstGeom>
        </p:spPr>
      </p:pic>
    </p:spTree>
    <p:extLst>
      <p:ext uri="{BB962C8B-B14F-4D97-AF65-F5344CB8AC3E}">
        <p14:creationId xmlns:p14="http://schemas.microsoft.com/office/powerpoint/2010/main" val="14023432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Afbeelding 12"/>
          <p:cNvPicPr>
            <a:picLocks noChangeAspect="1"/>
          </p:cNvPicPr>
          <p:nvPr/>
        </p:nvPicPr>
        <p:blipFill>
          <a:blip r:embed="rId2"/>
          <a:stretch>
            <a:fillRect/>
          </a:stretch>
        </p:blipFill>
        <p:spPr>
          <a:xfrm>
            <a:off x="0" y="5189660"/>
            <a:ext cx="12195175" cy="1668340"/>
          </a:xfrm>
          <a:prstGeom prst="rect">
            <a:avLst/>
          </a:prstGeom>
        </p:spPr>
      </p:pic>
      <p:sp>
        <p:nvSpPr>
          <p:cNvPr id="2" name="Tijdelijke aanduiding voor inhoud 1"/>
          <p:cNvSpPr>
            <a:spLocks noGrp="1"/>
          </p:cNvSpPr>
          <p:nvPr>
            <p:ph idx="1"/>
          </p:nvPr>
        </p:nvSpPr>
        <p:spPr>
          <a:xfrm>
            <a:off x="1440000" y="1412776"/>
            <a:ext cx="10152000" cy="4870568"/>
          </a:xfrm>
        </p:spPr>
        <p:txBody>
          <a:bodyPr/>
          <a:lstStyle/>
          <a:p>
            <a:endParaRPr lang="nl-NL" b="1" dirty="0"/>
          </a:p>
          <a:p>
            <a:endParaRPr lang="nl-NL" b="1" dirty="0"/>
          </a:p>
          <a:p>
            <a:r>
              <a:rPr lang="nl-NL" b="1" dirty="0"/>
              <a:t>Gebieden, wijken, projectfases, woningtypes en bouwnummers intekenen</a:t>
            </a:r>
          </a:p>
          <a:p>
            <a:pPr marL="285750" lvl="0" indent="-285750">
              <a:buFont typeface="Arial" panose="020B0604020202020204" pitchFamily="34" charset="0"/>
              <a:buChar char="•"/>
            </a:pPr>
            <a:r>
              <a:rPr lang="nl-NL" dirty="0"/>
              <a:t>Start met het intekenen van het gebied. Klik op het pennetje en teken op basis van de verkaveling zo strak mogelijk het gebied in. Dat doe je door zo ver als mogelijk in te zoomen. </a:t>
            </a:r>
            <a:r>
              <a:rPr lang="nl-NL" i="1" dirty="0"/>
              <a:t>Klik</a:t>
            </a:r>
            <a:r>
              <a:rPr lang="nl-NL" dirty="0"/>
              <a:t> weer op het eerste punt om het gebied definitief te maken.</a:t>
            </a:r>
          </a:p>
          <a:p>
            <a:pPr marL="285750" lvl="0" indent="-285750">
              <a:buFont typeface="Arial" panose="020B0604020202020204" pitchFamily="34" charset="0"/>
              <a:buChar char="•"/>
            </a:pPr>
            <a:r>
              <a:rPr lang="nl-NL" dirty="0"/>
              <a:t>Wanneer je dat hebt gedaan, opent er bovenaan je scherm een menubalk. Kies bij </a:t>
            </a:r>
            <a:r>
              <a:rPr lang="nl-NL" b="1" i="1" dirty="0"/>
              <a:t>Filter</a:t>
            </a:r>
            <a:r>
              <a:rPr lang="nl-NL" i="1" dirty="0"/>
              <a:t> </a:t>
            </a:r>
            <a:r>
              <a:rPr lang="nl-NL" dirty="0"/>
              <a:t>voor </a:t>
            </a:r>
            <a:r>
              <a:rPr lang="nl-NL" i="1" dirty="0"/>
              <a:t>Gebied</a:t>
            </a:r>
            <a:r>
              <a:rPr lang="nl-NL" dirty="0"/>
              <a:t> en selecteer bij </a:t>
            </a:r>
            <a:r>
              <a:rPr lang="nl-NL" b="1" i="1" dirty="0"/>
              <a:t>Object</a:t>
            </a:r>
            <a:r>
              <a:rPr lang="nl-NL" dirty="0"/>
              <a:t> het gebied waar het om gaat. De juiste informatie wordt automatisch uit Salesforce opgehaald. </a:t>
            </a:r>
          </a:p>
          <a:p>
            <a:pPr marL="285750" lvl="0" indent="-285750">
              <a:buFont typeface="Arial" panose="020B0604020202020204" pitchFamily="34" charset="0"/>
              <a:buChar char="•"/>
            </a:pPr>
            <a:r>
              <a:rPr lang="nl-NL" dirty="0"/>
              <a:t>Bevestig deze instellingen door op de blauwe </a:t>
            </a:r>
            <a:r>
              <a:rPr lang="nl-NL" b="1" i="1" dirty="0"/>
              <a:t>Opslaan</a:t>
            </a:r>
            <a:r>
              <a:rPr lang="nl-NL" dirty="0"/>
              <a:t>-button te klikken. Het gebied komt dan in de </a:t>
            </a:r>
            <a:br>
              <a:rPr lang="nl-NL" dirty="0"/>
            </a:br>
            <a:r>
              <a:rPr lang="nl-NL" dirty="0"/>
              <a:t>menubalk aan de rechterzijde te staan.</a:t>
            </a:r>
          </a:p>
        </p:txBody>
      </p:sp>
      <p:sp>
        <p:nvSpPr>
          <p:cNvPr id="3" name="Titel 2"/>
          <p:cNvSpPr>
            <a:spLocks noGrp="1"/>
          </p:cNvSpPr>
          <p:nvPr>
            <p:ph type="title"/>
          </p:nvPr>
        </p:nvSpPr>
        <p:spPr/>
        <p:txBody>
          <a:bodyPr/>
          <a:lstStyle/>
          <a:p>
            <a:r>
              <a:rPr lang="nl-NL" dirty="0"/>
              <a:t>Lagen intekenen (4)</a:t>
            </a:r>
          </a:p>
        </p:txBody>
      </p:sp>
      <p:sp>
        <p:nvSpPr>
          <p:cNvPr id="7" name="Pijl-omhoog 6"/>
          <p:cNvSpPr/>
          <p:nvPr/>
        </p:nvSpPr>
        <p:spPr>
          <a:xfrm>
            <a:off x="620801" y="5548273"/>
            <a:ext cx="216024" cy="504056"/>
          </a:xfrm>
          <a:prstGeom prst="upArrow">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Pijl-omhoog 7"/>
          <p:cNvSpPr/>
          <p:nvPr/>
        </p:nvSpPr>
        <p:spPr>
          <a:xfrm>
            <a:off x="3145259" y="5547602"/>
            <a:ext cx="216024" cy="504056"/>
          </a:xfrm>
          <a:prstGeom prst="upArrow">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Pijl-omhoog 10"/>
          <p:cNvSpPr/>
          <p:nvPr/>
        </p:nvSpPr>
        <p:spPr>
          <a:xfrm>
            <a:off x="10130035" y="5547602"/>
            <a:ext cx="216024" cy="504056"/>
          </a:xfrm>
          <a:prstGeom prst="upArrow">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8072905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1440000" y="1340768"/>
            <a:ext cx="10152000" cy="4942576"/>
          </a:xfrm>
        </p:spPr>
        <p:txBody>
          <a:bodyPr/>
          <a:lstStyle/>
          <a:p>
            <a:pPr lvl="0"/>
            <a:r>
              <a:rPr lang="nl-NL" dirty="0"/>
              <a:t>Op dezelfde manier teken je ook de wijken, projectfases, woningtypes en bouwnummers in. </a:t>
            </a:r>
          </a:p>
          <a:p>
            <a:pPr marL="285750" lvl="0" indent="-285750">
              <a:buFont typeface="Arial" panose="020B0604020202020204" pitchFamily="34" charset="0"/>
              <a:buChar char="•"/>
            </a:pPr>
            <a:r>
              <a:rPr lang="nl-NL" dirty="0"/>
              <a:t>Aan de rechterzijde zie een overzicht van ingetekende objecten. </a:t>
            </a:r>
          </a:p>
          <a:p>
            <a:pPr marL="285750" lvl="0" indent="-285750">
              <a:buFont typeface="Arial" panose="020B0604020202020204" pitchFamily="34" charset="0"/>
              <a:buChar char="•"/>
            </a:pPr>
            <a:r>
              <a:rPr lang="nl-NL" dirty="0"/>
              <a:t>Met de oogjes kun je deze objecten zichtbaar of onzichtbaar maken, wat handig kan zijn tijdens het intekenen. </a:t>
            </a:r>
          </a:p>
          <a:p>
            <a:pPr marL="285750" lvl="0" indent="-285750">
              <a:buFont typeface="Arial" panose="020B0604020202020204" pitchFamily="34" charset="0"/>
              <a:buChar char="•"/>
            </a:pPr>
            <a:r>
              <a:rPr lang="nl-NL" dirty="0"/>
              <a:t>Het gebied en de wijken staan standaard op onzichtbaar. Deze instelling is niet van invloed op de weergave </a:t>
            </a:r>
            <a:br>
              <a:rPr lang="nl-NL" dirty="0"/>
            </a:br>
            <a:r>
              <a:rPr lang="nl-NL" dirty="0"/>
              <a:t>op de website. Alles wordt gewoon getoond.</a:t>
            </a:r>
          </a:p>
          <a:p>
            <a:pPr marL="285750" lvl="0" indent="-285750">
              <a:buFont typeface="Arial" panose="020B0604020202020204" pitchFamily="34" charset="0"/>
              <a:buChar char="•"/>
            </a:pPr>
            <a:r>
              <a:rPr lang="nl-NL" dirty="0"/>
              <a:t>Vergeet niet regelmatig op Opslaan te klikken tijdens het intekenen.</a:t>
            </a:r>
          </a:p>
          <a:p>
            <a:pPr marL="285750" lvl="0" indent="-285750">
              <a:buFont typeface="Arial" panose="020B0604020202020204" pitchFamily="34" charset="0"/>
              <a:buChar char="•"/>
            </a:pPr>
            <a:r>
              <a:rPr lang="nl-NL" dirty="0"/>
              <a:t>De ingetekende objecten verschijnen na een paar minuten op de website. Controleer dit altijd!!</a:t>
            </a:r>
            <a:br>
              <a:rPr lang="nl-NL" dirty="0"/>
            </a:br>
            <a:r>
              <a:rPr lang="nl-NL" dirty="0"/>
              <a:t>Let op: je moet de pagina altijd eerst in een nieuw browservenster openen.</a:t>
            </a:r>
          </a:p>
        </p:txBody>
      </p:sp>
      <p:sp>
        <p:nvSpPr>
          <p:cNvPr id="3" name="Titel 2"/>
          <p:cNvSpPr>
            <a:spLocks noGrp="1"/>
          </p:cNvSpPr>
          <p:nvPr>
            <p:ph type="title"/>
          </p:nvPr>
        </p:nvSpPr>
        <p:spPr/>
        <p:txBody>
          <a:bodyPr/>
          <a:lstStyle/>
          <a:p>
            <a:r>
              <a:rPr lang="nl-NL" dirty="0"/>
              <a:t>Lagen (polygonen) intekenen (5)</a:t>
            </a:r>
          </a:p>
        </p:txBody>
      </p:sp>
      <p:pic>
        <p:nvPicPr>
          <p:cNvPr id="5" name="Afbeelding 4"/>
          <p:cNvPicPr>
            <a:picLocks noChangeAspect="1"/>
          </p:cNvPicPr>
          <p:nvPr/>
        </p:nvPicPr>
        <p:blipFill>
          <a:blip r:embed="rId2"/>
          <a:stretch>
            <a:fillRect/>
          </a:stretch>
        </p:blipFill>
        <p:spPr>
          <a:xfrm>
            <a:off x="0" y="3501008"/>
            <a:ext cx="12195175" cy="3807399"/>
          </a:xfrm>
          <a:prstGeom prst="rect">
            <a:avLst/>
          </a:prstGeom>
        </p:spPr>
      </p:pic>
      <p:sp>
        <p:nvSpPr>
          <p:cNvPr id="6" name="Pijl-omlaag 5"/>
          <p:cNvSpPr/>
          <p:nvPr/>
        </p:nvSpPr>
        <p:spPr>
          <a:xfrm>
            <a:off x="12002243" y="2204864"/>
            <a:ext cx="192932" cy="1224136"/>
          </a:xfrm>
          <a:prstGeom prst="downArrow">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9096746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1440000" y="1340768"/>
            <a:ext cx="10152000" cy="4942576"/>
          </a:xfrm>
        </p:spPr>
        <p:txBody>
          <a:bodyPr/>
          <a:lstStyle/>
          <a:p>
            <a:pPr lvl="0"/>
            <a:r>
              <a:rPr lang="nl-NL" dirty="0"/>
              <a:t>Wil je toch iets wijzigen, klik dan met het handje op één van de oranje bolletjes. Het bolletje wordt dan groter. Vervolgens verschijnt er een kruisje met pijltjes. Daarmee kun je het bolletje verslepen. Zodra je gaat verplaatsen wordt het kruisje een vuistje dat je kunt loslaten op de plek die je wenst. Vergeet niet om op opslaan te klikken. </a:t>
            </a:r>
          </a:p>
        </p:txBody>
      </p:sp>
      <p:sp>
        <p:nvSpPr>
          <p:cNvPr id="3" name="Titel 2"/>
          <p:cNvSpPr>
            <a:spLocks noGrp="1"/>
          </p:cNvSpPr>
          <p:nvPr>
            <p:ph type="title"/>
          </p:nvPr>
        </p:nvSpPr>
        <p:spPr/>
        <p:txBody>
          <a:bodyPr/>
          <a:lstStyle/>
          <a:p>
            <a:r>
              <a:rPr lang="nl-NL" dirty="0"/>
              <a:t>Lagen (polygonen) intekenen (6)</a:t>
            </a:r>
          </a:p>
        </p:txBody>
      </p:sp>
      <p:pic>
        <p:nvPicPr>
          <p:cNvPr id="8" name="Afbeelding 7"/>
          <p:cNvPicPr>
            <a:picLocks noChangeAspect="1"/>
          </p:cNvPicPr>
          <p:nvPr/>
        </p:nvPicPr>
        <p:blipFill>
          <a:blip r:embed="rId2"/>
          <a:stretch>
            <a:fillRect/>
          </a:stretch>
        </p:blipFill>
        <p:spPr>
          <a:xfrm>
            <a:off x="-1118" y="2276872"/>
            <a:ext cx="12196293" cy="4858031"/>
          </a:xfrm>
          <a:prstGeom prst="rect">
            <a:avLst/>
          </a:prstGeom>
        </p:spPr>
      </p:pic>
      <p:sp>
        <p:nvSpPr>
          <p:cNvPr id="9" name="Pijl-omhoog 8"/>
          <p:cNvSpPr/>
          <p:nvPr/>
        </p:nvSpPr>
        <p:spPr>
          <a:xfrm>
            <a:off x="9842003" y="2708920"/>
            <a:ext cx="216024" cy="864096"/>
          </a:xfrm>
          <a:prstGeom prst="upArrow">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0" name="Pijl-links 9"/>
          <p:cNvSpPr/>
          <p:nvPr/>
        </p:nvSpPr>
        <p:spPr>
          <a:xfrm>
            <a:off x="5953571" y="6686820"/>
            <a:ext cx="1728192" cy="169734"/>
          </a:xfrm>
          <a:prstGeom prst="leftArrow">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4985500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1439999" y="1484784"/>
            <a:ext cx="10346219" cy="4968552"/>
          </a:xfrm>
        </p:spPr>
        <p:txBody>
          <a:bodyPr vert="horz" lIns="0" tIns="0" rIns="0" bIns="0" rtlCol="0" anchor="t">
            <a:noAutofit/>
          </a:bodyPr>
          <a:lstStyle/>
          <a:p>
            <a:r>
              <a:rPr lang="nl-NL" b="1" dirty="0"/>
              <a:t>Werkwijze gedurende een ontwikkeling</a:t>
            </a:r>
          </a:p>
          <a:p>
            <a:pPr lvl="0"/>
            <a:r>
              <a:rPr lang="nl-NL" dirty="0"/>
              <a:t>Gedurende een ontwikkeling verloopt het intekenen altijd als volgt: </a:t>
            </a:r>
            <a:br>
              <a:rPr lang="nl-NL" dirty="0"/>
            </a:br>
            <a:endParaRPr lang="nl-NL" dirty="0"/>
          </a:p>
          <a:p>
            <a:pPr marL="285750" lvl="1" indent="-285750">
              <a:spcBef>
                <a:spcPts val="0"/>
              </a:spcBef>
              <a:buFont typeface="Arial" panose="020B0604020202020204" pitchFamily="34" charset="0"/>
              <a:buChar char="•"/>
            </a:pPr>
            <a:r>
              <a:rPr lang="nl-NL" b="0" dirty="0">
                <a:latin typeface="Univers"/>
              </a:rPr>
              <a:t>Eerst teken je het </a:t>
            </a:r>
            <a:r>
              <a:rPr lang="nl-NL" dirty="0">
                <a:solidFill>
                  <a:srgbClr val="FF0000"/>
                </a:solidFill>
                <a:latin typeface="Univers"/>
              </a:rPr>
              <a:t>gebied</a:t>
            </a:r>
            <a:r>
              <a:rPr lang="nl-NL" b="0" dirty="0">
                <a:latin typeface="Univers"/>
              </a:rPr>
              <a:t> en de </a:t>
            </a:r>
            <a:r>
              <a:rPr lang="nl-NL">
                <a:solidFill>
                  <a:srgbClr val="FF0000"/>
                </a:solidFill>
                <a:latin typeface="Univers"/>
              </a:rPr>
              <a:t>wijk(en)</a:t>
            </a:r>
            <a:r>
              <a:rPr lang="nl-NL" b="0">
                <a:latin typeface="Univers"/>
              </a:rPr>
              <a:t> in. </a:t>
            </a:r>
            <a:endParaRPr lang="nl-NL" b="0" i="1">
              <a:latin typeface="Univers"/>
            </a:endParaRPr>
          </a:p>
          <a:p>
            <a:pPr marL="285750" lvl="1" indent="-285750">
              <a:spcBef>
                <a:spcPts val="0"/>
              </a:spcBef>
              <a:buFont typeface="Arial" panose="020B0604020202020204" pitchFamily="34" charset="0"/>
              <a:buChar char="•"/>
            </a:pPr>
            <a:endParaRPr lang="nl-NL" b="0" i="1" dirty="0"/>
          </a:p>
          <a:p>
            <a:pPr marL="285750" lvl="1" indent="-285750">
              <a:spcBef>
                <a:spcPts val="0"/>
              </a:spcBef>
              <a:buFont typeface="Arial" panose="020B0604020202020204" pitchFamily="34" charset="0"/>
              <a:buChar char="•"/>
            </a:pPr>
            <a:r>
              <a:rPr lang="nl-NL" b="0" dirty="0">
                <a:latin typeface="Univers"/>
              </a:rPr>
              <a:t>Is een </a:t>
            </a:r>
            <a:r>
              <a:rPr lang="nl-NL" dirty="0">
                <a:solidFill>
                  <a:srgbClr val="FF0000"/>
                </a:solidFill>
                <a:latin typeface="Univers"/>
              </a:rPr>
              <a:t>projectfase in voorbereiding</a:t>
            </a:r>
            <a:r>
              <a:rPr lang="nl-NL" b="0">
                <a:latin typeface="Univers"/>
              </a:rPr>
              <a:t> en zijn er nog geen woningtypes opgevoerd, dan teken je de projectfase in.</a:t>
            </a:r>
            <a:br>
              <a:rPr lang="nl-NL" b="0" dirty="0">
                <a:latin typeface="Univers"/>
              </a:rPr>
            </a:br>
            <a:r>
              <a:rPr lang="nl-NL" b="0" dirty="0">
                <a:latin typeface="Univers"/>
              </a:rPr>
              <a:t> </a:t>
            </a:r>
            <a:endParaRPr lang="nl-NL" b="0" i="1" dirty="0">
              <a:latin typeface="Univers"/>
            </a:endParaRPr>
          </a:p>
          <a:p>
            <a:pPr marL="285750" lvl="1" indent="-285750">
              <a:spcBef>
                <a:spcPts val="0"/>
              </a:spcBef>
              <a:buFont typeface="Arial" panose="020B0604020202020204" pitchFamily="34" charset="0"/>
              <a:buChar char="•"/>
            </a:pPr>
            <a:r>
              <a:rPr lang="nl-NL" b="0" dirty="0">
                <a:latin typeface="Univers"/>
              </a:rPr>
              <a:t>Heb je </a:t>
            </a:r>
            <a:r>
              <a:rPr lang="nl-NL" dirty="0">
                <a:solidFill>
                  <a:srgbClr val="FF0000"/>
                </a:solidFill>
                <a:latin typeface="Univers"/>
              </a:rPr>
              <a:t>woningtypes</a:t>
            </a:r>
            <a:r>
              <a:rPr lang="nl-NL" b="0" dirty="0">
                <a:latin typeface="Univers"/>
              </a:rPr>
              <a:t> aan de pagina </a:t>
            </a:r>
            <a:r>
              <a:rPr lang="nl-NL" b="0" i="1" dirty="0">
                <a:latin typeface="Univers"/>
              </a:rPr>
              <a:t>Woningen </a:t>
            </a:r>
            <a:r>
              <a:rPr lang="nl-NL" b="0" dirty="0">
                <a:latin typeface="Univers"/>
              </a:rPr>
              <a:t>toegevoegd, dan teken je woningtypes in. </a:t>
            </a:r>
            <a:br>
              <a:rPr lang="nl-NL" b="0" dirty="0"/>
            </a:br>
            <a:endParaRPr lang="nl-NL" b="0" i="1"/>
          </a:p>
          <a:p>
            <a:pPr marL="285750" lvl="1" indent="-285750">
              <a:spcBef>
                <a:spcPts val="0"/>
              </a:spcBef>
              <a:buFont typeface="Arial" panose="020B0604020202020204" pitchFamily="34" charset="0"/>
              <a:buChar char="•"/>
            </a:pPr>
            <a:r>
              <a:rPr lang="nl-NL" b="0" dirty="0">
                <a:latin typeface="Univers"/>
              </a:rPr>
              <a:t>Heb je </a:t>
            </a:r>
            <a:r>
              <a:rPr lang="nl-NL" dirty="0">
                <a:solidFill>
                  <a:srgbClr val="FF0000"/>
                </a:solidFill>
                <a:latin typeface="Univers"/>
              </a:rPr>
              <a:t>bouwnummers</a:t>
            </a:r>
            <a:r>
              <a:rPr lang="nl-NL" b="0" dirty="0">
                <a:latin typeface="Univers"/>
              </a:rPr>
              <a:t> aan de woningtypes toegevoegd, dan teken je bouwnummers in.</a:t>
            </a:r>
            <a:r>
              <a:rPr lang="nl-NL" b="0" i="1" dirty="0">
                <a:latin typeface="Univers"/>
              </a:rPr>
              <a:t> </a:t>
            </a:r>
            <a:br>
              <a:rPr lang="nl-NL" b="0" i="1" dirty="0"/>
            </a:br>
            <a:endParaRPr lang="nl-NL" b="0" i="1"/>
          </a:p>
          <a:p>
            <a:pPr marL="285750" lvl="1" indent="-285750">
              <a:spcBef>
                <a:spcPts val="0"/>
              </a:spcBef>
              <a:buFont typeface="Arial" panose="020B0604020202020204" pitchFamily="34" charset="0"/>
              <a:buChar char="•"/>
            </a:pPr>
            <a:r>
              <a:rPr lang="nl-NL" b="0" dirty="0"/>
              <a:t>Een</a:t>
            </a:r>
            <a:r>
              <a:rPr lang="nl-NL" dirty="0"/>
              <a:t> </a:t>
            </a:r>
            <a:r>
              <a:rPr lang="nl-NL" dirty="0">
                <a:solidFill>
                  <a:srgbClr val="FF0000"/>
                </a:solidFill>
              </a:rPr>
              <a:t>appartementengebouw</a:t>
            </a:r>
            <a:r>
              <a:rPr lang="nl-NL" dirty="0"/>
              <a:t> i</a:t>
            </a:r>
            <a:r>
              <a:rPr lang="nl-NL" b="0" dirty="0"/>
              <a:t>ntekenen heeft een iets andere werkwijze. Zie volgende dia.</a:t>
            </a:r>
            <a:br>
              <a:rPr lang="nl-NL" b="0" i="1" dirty="0"/>
            </a:br>
            <a:endParaRPr lang="nl-NL" b="0" i="1" dirty="0"/>
          </a:p>
          <a:p>
            <a:pPr marL="285750" lvl="1" indent="-285750">
              <a:spcBef>
                <a:spcPts val="0"/>
              </a:spcBef>
              <a:buFont typeface="Arial" panose="020B0604020202020204" pitchFamily="34" charset="0"/>
              <a:buChar char="•"/>
            </a:pPr>
            <a:r>
              <a:rPr lang="nl-NL" dirty="0"/>
              <a:t>Teken altijd álle lagen in!</a:t>
            </a:r>
            <a:endParaRPr lang="nl-NL" b="0" dirty="0"/>
          </a:p>
        </p:txBody>
      </p:sp>
      <p:sp>
        <p:nvSpPr>
          <p:cNvPr id="3" name="Titel 2"/>
          <p:cNvSpPr>
            <a:spLocks noGrp="1"/>
          </p:cNvSpPr>
          <p:nvPr>
            <p:ph type="title"/>
          </p:nvPr>
        </p:nvSpPr>
        <p:spPr/>
        <p:txBody>
          <a:bodyPr/>
          <a:lstStyle/>
          <a:p>
            <a:r>
              <a:rPr lang="nl-NL" dirty="0"/>
              <a:t>Lagen intekenen (7)</a:t>
            </a:r>
          </a:p>
        </p:txBody>
      </p:sp>
    </p:spTree>
    <p:extLst>
      <p:ext uri="{BB962C8B-B14F-4D97-AF65-F5344CB8AC3E}">
        <p14:creationId xmlns:p14="http://schemas.microsoft.com/office/powerpoint/2010/main" val="23876016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nl-NL" dirty="0"/>
              <a:t>Intekenen </a:t>
            </a:r>
            <a:r>
              <a:rPr lang="nl-NL" dirty="0" err="1"/>
              <a:t>appartementcomplex</a:t>
            </a:r>
            <a:r>
              <a:rPr lang="nl-NL" dirty="0"/>
              <a:t> (1/3)</a:t>
            </a:r>
          </a:p>
        </p:txBody>
      </p:sp>
      <p:sp>
        <p:nvSpPr>
          <p:cNvPr id="5" name="Tekstvak 4"/>
          <p:cNvSpPr txBox="1"/>
          <p:nvPr/>
        </p:nvSpPr>
        <p:spPr>
          <a:xfrm>
            <a:off x="1201043" y="1268760"/>
            <a:ext cx="10297144" cy="492443"/>
          </a:xfrm>
          <a:prstGeom prst="rect">
            <a:avLst/>
          </a:prstGeom>
          <a:noFill/>
        </p:spPr>
        <p:txBody>
          <a:bodyPr wrap="square" lIns="0" tIns="0" rIns="0" bIns="0" rtlCol="0">
            <a:spAutoFit/>
          </a:bodyPr>
          <a:lstStyle/>
          <a:p>
            <a:r>
              <a:rPr lang="nl-NL" sz="1600" dirty="0"/>
              <a:t>Om een appartementencomplex in te tekenen maak je eerst een alias aan in </a:t>
            </a:r>
            <a:r>
              <a:rPr lang="nl-NL" sz="1600" dirty="0" err="1"/>
              <a:t>Umbraco</a:t>
            </a:r>
            <a:r>
              <a:rPr lang="nl-NL" sz="1600" dirty="0"/>
              <a:t>. Hiervoor ga je naar de tab Woningen, klik op de 3 puntjes en vervolgens op Appartementencomplex.</a:t>
            </a:r>
          </a:p>
        </p:txBody>
      </p:sp>
      <p:sp>
        <p:nvSpPr>
          <p:cNvPr id="8" name="Pijl-rechts 7"/>
          <p:cNvSpPr/>
          <p:nvPr/>
        </p:nvSpPr>
        <p:spPr>
          <a:xfrm>
            <a:off x="474798" y="4365104"/>
            <a:ext cx="936104" cy="216024"/>
          </a:xfrm>
          <a:prstGeom prst="rightArrow">
            <a:avLst/>
          </a:prstGeom>
          <a:solidFill>
            <a:srgbClr val="FF0000"/>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rgbClr val="FF0000"/>
              </a:solidFill>
            </a:endParaRPr>
          </a:p>
        </p:txBody>
      </p:sp>
      <p:sp>
        <p:nvSpPr>
          <p:cNvPr id="4" name="Tijdelijke aanduiding voor inhoud 3">
            <a:extLst>
              <a:ext uri="{FF2B5EF4-FFF2-40B4-BE49-F238E27FC236}">
                <a16:creationId xmlns:a16="http://schemas.microsoft.com/office/drawing/2014/main" id="{1622FF06-5C8E-4373-A71B-196C742E16B8}"/>
              </a:ext>
            </a:extLst>
          </p:cNvPr>
          <p:cNvSpPr>
            <a:spLocks noGrp="1"/>
          </p:cNvSpPr>
          <p:nvPr>
            <p:ph idx="1"/>
          </p:nvPr>
        </p:nvSpPr>
        <p:spPr>
          <a:xfrm>
            <a:off x="4585419" y="3179707"/>
            <a:ext cx="3456384" cy="969373"/>
          </a:xfrm>
        </p:spPr>
        <p:txBody>
          <a:bodyPr/>
          <a:lstStyle/>
          <a:p>
            <a:endParaRPr lang="nl-NL" dirty="0"/>
          </a:p>
        </p:txBody>
      </p:sp>
      <p:pic>
        <p:nvPicPr>
          <p:cNvPr id="10" name="Afbeelding 9">
            <a:extLst>
              <a:ext uri="{FF2B5EF4-FFF2-40B4-BE49-F238E27FC236}">
                <a16:creationId xmlns:a16="http://schemas.microsoft.com/office/drawing/2014/main" id="{77FBE8BF-E27A-4865-BAAE-65FF5D5B2BFD}"/>
              </a:ext>
            </a:extLst>
          </p:cNvPr>
          <p:cNvPicPr>
            <a:picLocks noChangeAspect="1"/>
          </p:cNvPicPr>
          <p:nvPr/>
        </p:nvPicPr>
        <p:blipFill>
          <a:blip r:embed="rId2"/>
          <a:stretch>
            <a:fillRect/>
          </a:stretch>
        </p:blipFill>
        <p:spPr>
          <a:xfrm>
            <a:off x="1469296" y="1954959"/>
            <a:ext cx="9566143" cy="4388242"/>
          </a:xfrm>
          <a:prstGeom prst="rect">
            <a:avLst/>
          </a:prstGeom>
        </p:spPr>
      </p:pic>
      <p:sp>
        <p:nvSpPr>
          <p:cNvPr id="9" name="Pijl-rechts 8"/>
          <p:cNvSpPr/>
          <p:nvPr/>
        </p:nvSpPr>
        <p:spPr>
          <a:xfrm rot="10800000">
            <a:off x="9121923" y="3320988"/>
            <a:ext cx="720080" cy="216024"/>
          </a:xfrm>
          <a:prstGeom prst="rightArrow">
            <a:avLst/>
          </a:prstGeom>
          <a:solidFill>
            <a:srgbClr val="FF0000"/>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0000"/>
              </a:solidFill>
            </a:endParaRPr>
          </a:p>
        </p:txBody>
      </p:sp>
    </p:spTree>
    <p:extLst>
      <p:ext uri="{BB962C8B-B14F-4D97-AF65-F5344CB8AC3E}">
        <p14:creationId xmlns:p14="http://schemas.microsoft.com/office/powerpoint/2010/main" val="37437733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nl-NL" dirty="0"/>
              <a:t>Intekenen appartementencomplex (2/3)</a:t>
            </a:r>
          </a:p>
        </p:txBody>
      </p:sp>
      <p:sp>
        <p:nvSpPr>
          <p:cNvPr id="5" name="Tekstvak 4"/>
          <p:cNvSpPr txBox="1"/>
          <p:nvPr/>
        </p:nvSpPr>
        <p:spPr>
          <a:xfrm>
            <a:off x="841003" y="1340768"/>
            <a:ext cx="10750997" cy="553998"/>
          </a:xfrm>
          <a:prstGeom prst="rect">
            <a:avLst/>
          </a:prstGeom>
          <a:noFill/>
        </p:spPr>
        <p:txBody>
          <a:bodyPr wrap="square" lIns="0" tIns="0" rIns="0" bIns="0" rtlCol="0">
            <a:spAutoFit/>
          </a:bodyPr>
          <a:lstStyle/>
          <a:p>
            <a:r>
              <a:rPr lang="nl-NL" sz="1800" dirty="0"/>
              <a:t>Vul de paginatitel in, de Alias (let op: geen spaties of speciale tekens), de </a:t>
            </a:r>
            <a:r>
              <a:rPr lang="nl-NL" sz="1800" dirty="0" err="1"/>
              <a:t>popup</a:t>
            </a:r>
            <a:r>
              <a:rPr lang="nl-NL" sz="1800" dirty="0"/>
              <a:t> omschrijving toe en kies een </a:t>
            </a:r>
            <a:r>
              <a:rPr lang="nl-NL" sz="1800" dirty="0" err="1"/>
              <a:t>popup</a:t>
            </a:r>
            <a:r>
              <a:rPr lang="nl-NL" sz="1800" dirty="0"/>
              <a:t> afbeelding.</a:t>
            </a:r>
          </a:p>
        </p:txBody>
      </p:sp>
      <p:pic>
        <p:nvPicPr>
          <p:cNvPr id="7" name="Afbeelding 7" descr="Afbeelding met tekst&#10;&#10;Automatisch gegenereerde beschrijving">
            <a:extLst>
              <a:ext uri="{FF2B5EF4-FFF2-40B4-BE49-F238E27FC236}">
                <a16:creationId xmlns:a16="http://schemas.microsoft.com/office/drawing/2014/main" id="{F8020E15-D602-4857-BD6E-974258EDBF07}"/>
              </a:ext>
            </a:extLst>
          </p:cNvPr>
          <p:cNvPicPr>
            <a:picLocks noGrp="1" noChangeAspect="1"/>
          </p:cNvPicPr>
          <p:nvPr>
            <p:ph idx="1"/>
          </p:nvPr>
        </p:nvPicPr>
        <p:blipFill>
          <a:blip r:embed="rId2"/>
          <a:stretch>
            <a:fillRect/>
          </a:stretch>
        </p:blipFill>
        <p:spPr>
          <a:xfrm>
            <a:off x="1260396" y="1929344"/>
            <a:ext cx="8329741" cy="4608000"/>
          </a:xfrm>
        </p:spPr>
      </p:pic>
    </p:spTree>
    <p:extLst>
      <p:ext uri="{BB962C8B-B14F-4D97-AF65-F5344CB8AC3E}">
        <p14:creationId xmlns:p14="http://schemas.microsoft.com/office/powerpoint/2010/main" val="10654822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Tijdelijke aanduiding voor inhoud 3"/>
          <p:cNvPicPr>
            <a:picLocks noGrp="1" noChangeAspect="1"/>
          </p:cNvPicPr>
          <p:nvPr>
            <p:ph idx="1"/>
          </p:nvPr>
        </p:nvPicPr>
        <p:blipFill>
          <a:blip r:embed="rId2"/>
          <a:stretch>
            <a:fillRect/>
          </a:stretch>
        </p:blipFill>
        <p:spPr>
          <a:xfrm>
            <a:off x="408955" y="1988840"/>
            <a:ext cx="11584370" cy="4608512"/>
          </a:xfrm>
          <a:prstGeom prst="rect">
            <a:avLst/>
          </a:prstGeom>
        </p:spPr>
      </p:pic>
      <p:sp>
        <p:nvSpPr>
          <p:cNvPr id="3" name="Titel 2"/>
          <p:cNvSpPr>
            <a:spLocks noGrp="1"/>
          </p:cNvSpPr>
          <p:nvPr>
            <p:ph type="title"/>
          </p:nvPr>
        </p:nvSpPr>
        <p:spPr/>
        <p:txBody>
          <a:bodyPr/>
          <a:lstStyle/>
          <a:p>
            <a:r>
              <a:rPr lang="nl-NL" dirty="0"/>
              <a:t>Intekenen appartementencomplex (3/3)</a:t>
            </a:r>
          </a:p>
        </p:txBody>
      </p:sp>
      <p:sp>
        <p:nvSpPr>
          <p:cNvPr id="5" name="Tekstvak 4"/>
          <p:cNvSpPr txBox="1"/>
          <p:nvPr/>
        </p:nvSpPr>
        <p:spPr>
          <a:xfrm>
            <a:off x="408955" y="1340768"/>
            <a:ext cx="11584370" cy="553998"/>
          </a:xfrm>
          <a:prstGeom prst="rect">
            <a:avLst/>
          </a:prstGeom>
          <a:noFill/>
        </p:spPr>
        <p:txBody>
          <a:bodyPr wrap="square" lIns="0" tIns="0" rIns="0" bIns="0" rtlCol="0">
            <a:spAutoFit/>
          </a:bodyPr>
          <a:lstStyle/>
          <a:p>
            <a:r>
              <a:rPr lang="nl-NL" sz="1800" dirty="0"/>
              <a:t>Ga na het maken van de Alias naar </a:t>
            </a:r>
            <a:r>
              <a:rPr lang="nl-NL" sz="1800" dirty="0" err="1"/>
              <a:t>Mapbox</a:t>
            </a:r>
            <a:r>
              <a:rPr lang="nl-NL" sz="1800" dirty="0"/>
              <a:t>. Teken het complex in, kies bij filter Appartement. Bij object zie je dan de aangemaakte alias staan. (Kan even duren) Sla het vervolgens op. </a:t>
            </a:r>
          </a:p>
        </p:txBody>
      </p:sp>
    </p:spTree>
    <p:extLst>
      <p:ext uri="{BB962C8B-B14F-4D97-AF65-F5344CB8AC3E}">
        <p14:creationId xmlns:p14="http://schemas.microsoft.com/office/powerpoint/2010/main" val="42198012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Afbeelding 9">
            <a:extLst>
              <a:ext uri="{FF2B5EF4-FFF2-40B4-BE49-F238E27FC236}">
                <a16:creationId xmlns:a16="http://schemas.microsoft.com/office/drawing/2014/main" id="{78AD4636-43C9-4EF1-9409-E10DFE7ADA6D}"/>
              </a:ext>
            </a:extLst>
          </p:cNvPr>
          <p:cNvPicPr>
            <a:picLocks noGrp="1" noChangeAspect="1"/>
          </p:cNvPicPr>
          <p:nvPr>
            <p:ph idx="1"/>
          </p:nvPr>
        </p:nvPicPr>
        <p:blipFill>
          <a:blip r:embed="rId2"/>
          <a:stretch>
            <a:fillRect/>
          </a:stretch>
        </p:blipFill>
        <p:spPr>
          <a:xfrm>
            <a:off x="1541341" y="2206106"/>
            <a:ext cx="9108271" cy="4562475"/>
          </a:xfrm>
        </p:spPr>
      </p:pic>
      <p:sp>
        <p:nvSpPr>
          <p:cNvPr id="3" name="Titel 2"/>
          <p:cNvSpPr>
            <a:spLocks noGrp="1"/>
          </p:cNvSpPr>
          <p:nvPr>
            <p:ph type="title"/>
          </p:nvPr>
        </p:nvSpPr>
        <p:spPr/>
        <p:txBody>
          <a:bodyPr/>
          <a:lstStyle/>
          <a:p>
            <a:r>
              <a:rPr lang="nl-NL" dirty="0"/>
              <a:t>Bouwnummers appartementencomplex intekenen (1/3)</a:t>
            </a:r>
          </a:p>
        </p:txBody>
      </p:sp>
      <p:sp>
        <p:nvSpPr>
          <p:cNvPr id="5" name="Tekstvak 4"/>
          <p:cNvSpPr txBox="1"/>
          <p:nvPr/>
        </p:nvSpPr>
        <p:spPr>
          <a:xfrm>
            <a:off x="841003" y="1180117"/>
            <a:ext cx="10369152" cy="984885"/>
          </a:xfrm>
          <a:prstGeom prst="rect">
            <a:avLst/>
          </a:prstGeom>
          <a:noFill/>
        </p:spPr>
        <p:txBody>
          <a:bodyPr wrap="square" lIns="0" tIns="0" rIns="0" bIns="0" rtlCol="0">
            <a:spAutoFit/>
          </a:bodyPr>
          <a:lstStyle/>
          <a:p>
            <a:r>
              <a:rPr lang="nl-NL" sz="1600" dirty="0"/>
              <a:t>Je kunt bouwnummers weergeven in een impressie van het complex. Dit doe je door op de 3 puntjes van je eerder aangemaakte ‘Appartementencomplex’ te klikken en Interactieve Tour scene aan te klikken. In onderstaand voorbeeld zijn er aan 2 zijdes van het complex verschillende bouwnummers te zien. Maak per zijde een Interactieve Tour Scene aan. </a:t>
            </a:r>
          </a:p>
        </p:txBody>
      </p:sp>
      <p:sp>
        <p:nvSpPr>
          <p:cNvPr id="6" name="Pijl-rechts 5"/>
          <p:cNvSpPr/>
          <p:nvPr/>
        </p:nvSpPr>
        <p:spPr>
          <a:xfrm>
            <a:off x="399234" y="5550327"/>
            <a:ext cx="1049995" cy="228661"/>
          </a:xfrm>
          <a:prstGeom prst="rightArrow">
            <a:avLst/>
          </a:prstGeom>
          <a:solidFill>
            <a:srgbClr val="FF0000"/>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0000"/>
              </a:solidFill>
            </a:endParaRPr>
          </a:p>
        </p:txBody>
      </p:sp>
      <p:sp>
        <p:nvSpPr>
          <p:cNvPr id="7" name="Pijl-rechts 6"/>
          <p:cNvSpPr/>
          <p:nvPr/>
        </p:nvSpPr>
        <p:spPr>
          <a:xfrm rot="10800000">
            <a:off x="8473007" y="2757054"/>
            <a:ext cx="1374150" cy="237419"/>
          </a:xfrm>
          <a:prstGeom prst="rightArrow">
            <a:avLst/>
          </a:prstGeom>
          <a:solidFill>
            <a:srgbClr val="FF0000"/>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0000"/>
              </a:solidFill>
            </a:endParaRPr>
          </a:p>
        </p:txBody>
      </p:sp>
    </p:spTree>
    <p:extLst>
      <p:ext uri="{BB962C8B-B14F-4D97-AF65-F5344CB8AC3E}">
        <p14:creationId xmlns:p14="http://schemas.microsoft.com/office/powerpoint/2010/main" val="38306651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idx="1000"/>
          </p:nvPr>
        </p:nvSpPr>
        <p:spPr/>
        <p:txBody>
          <a:bodyPr/>
          <a:lstStyle/>
          <a:p>
            <a:endParaRPr lang="nl-NL"/>
          </a:p>
        </p:txBody>
      </p:sp>
      <p:sp>
        <p:nvSpPr>
          <p:cNvPr id="4" name="Tijdelijke aanduiding voor tekst 3"/>
          <p:cNvSpPr>
            <a:spLocks noGrp="1"/>
          </p:cNvSpPr>
          <p:nvPr>
            <p:ph type="body" idx="1001"/>
          </p:nvPr>
        </p:nvSpPr>
        <p:spPr/>
        <p:txBody>
          <a:bodyPr/>
          <a:lstStyle/>
          <a:p>
            <a:endParaRPr lang="nl-NL"/>
          </a:p>
        </p:txBody>
      </p:sp>
      <p:sp>
        <p:nvSpPr>
          <p:cNvPr id="5" name="Tijdelijke aanduiding voor tekst 4"/>
          <p:cNvSpPr>
            <a:spLocks noGrp="1"/>
          </p:cNvSpPr>
          <p:nvPr>
            <p:ph type="body" idx="1003"/>
          </p:nvPr>
        </p:nvSpPr>
        <p:spPr/>
        <p:txBody>
          <a:bodyPr/>
          <a:lstStyle/>
          <a:p>
            <a:endParaRPr lang="nl-NL"/>
          </a:p>
        </p:txBody>
      </p:sp>
      <p:sp>
        <p:nvSpPr>
          <p:cNvPr id="6" name="Tijdelijke aanduiding voor tekst 5"/>
          <p:cNvSpPr>
            <a:spLocks noGrp="1"/>
          </p:cNvSpPr>
          <p:nvPr>
            <p:ph type="body" idx="1002"/>
          </p:nvPr>
        </p:nvSpPr>
        <p:spPr/>
        <p:txBody>
          <a:bodyPr/>
          <a:lstStyle/>
          <a:p>
            <a:endParaRPr lang="nl-NL"/>
          </a:p>
        </p:txBody>
      </p:sp>
      <p:sp>
        <p:nvSpPr>
          <p:cNvPr id="7" name="Tijdelijke aanduiding voor tekst 6"/>
          <p:cNvSpPr>
            <a:spLocks noGrp="1"/>
          </p:cNvSpPr>
          <p:nvPr>
            <p:ph type="body" sz="quarter" idx="14"/>
          </p:nvPr>
        </p:nvSpPr>
        <p:spPr/>
        <p:txBody>
          <a:bodyPr/>
          <a:lstStyle/>
          <a:p>
            <a:r>
              <a:rPr lang="nl-NL" dirty="0" err="1"/>
              <a:t>Mapbox</a:t>
            </a:r>
            <a:r>
              <a:rPr lang="nl-NL" dirty="0"/>
              <a:t> Algemeen</a:t>
            </a:r>
          </a:p>
        </p:txBody>
      </p:sp>
    </p:spTree>
    <p:extLst>
      <p:ext uri="{BB962C8B-B14F-4D97-AF65-F5344CB8AC3E}">
        <p14:creationId xmlns:p14="http://schemas.microsoft.com/office/powerpoint/2010/main" val="3605217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nl-NL" dirty="0"/>
              <a:t>Bouwnummers appartementencomplex intekenen (2/3)</a:t>
            </a:r>
          </a:p>
        </p:txBody>
      </p:sp>
      <p:sp>
        <p:nvSpPr>
          <p:cNvPr id="5" name="Tekstvak 4"/>
          <p:cNvSpPr txBox="1"/>
          <p:nvPr/>
        </p:nvSpPr>
        <p:spPr>
          <a:xfrm>
            <a:off x="790358" y="1494545"/>
            <a:ext cx="10153128" cy="276999"/>
          </a:xfrm>
          <a:prstGeom prst="rect">
            <a:avLst/>
          </a:prstGeom>
          <a:noFill/>
        </p:spPr>
        <p:txBody>
          <a:bodyPr wrap="square" lIns="0" tIns="0" rIns="0" bIns="0" rtlCol="0" anchor="t">
            <a:spAutoFit/>
          </a:bodyPr>
          <a:lstStyle/>
          <a:p>
            <a:r>
              <a:rPr lang="nl-NL" sz="1800" dirty="0"/>
              <a:t>Voor het intekenen van bouwnummers kies je voor type </a:t>
            </a:r>
            <a:r>
              <a:rPr lang="nl-NL" sz="1800" b="1" dirty="0"/>
              <a:t>Overzicht. </a:t>
            </a:r>
            <a:endParaRPr lang="nl-NL" sz="1800" dirty="0"/>
          </a:p>
        </p:txBody>
      </p:sp>
      <p:pic>
        <p:nvPicPr>
          <p:cNvPr id="4" name="Afbeelding 7" descr="Afbeelding met tekst&#10;&#10;Automatisch gegenereerde beschrijving">
            <a:extLst>
              <a:ext uri="{FF2B5EF4-FFF2-40B4-BE49-F238E27FC236}">
                <a16:creationId xmlns:a16="http://schemas.microsoft.com/office/drawing/2014/main" id="{3AF40104-505E-4F84-AD66-9A78FF2C5380}"/>
              </a:ext>
            </a:extLst>
          </p:cNvPr>
          <p:cNvPicPr>
            <a:picLocks noGrp="1" noChangeAspect="1"/>
          </p:cNvPicPr>
          <p:nvPr>
            <p:ph idx="1"/>
          </p:nvPr>
        </p:nvPicPr>
        <p:blipFill>
          <a:blip r:embed="rId3"/>
          <a:stretch>
            <a:fillRect/>
          </a:stretch>
        </p:blipFill>
        <p:spPr>
          <a:xfrm>
            <a:off x="29745" y="2090418"/>
            <a:ext cx="12165430" cy="4788532"/>
          </a:xfrm>
        </p:spPr>
      </p:pic>
      <p:sp>
        <p:nvSpPr>
          <p:cNvPr id="2" name="Pijl: rechts 1">
            <a:extLst>
              <a:ext uri="{FF2B5EF4-FFF2-40B4-BE49-F238E27FC236}">
                <a16:creationId xmlns:a16="http://schemas.microsoft.com/office/drawing/2014/main" id="{4296655B-A3EE-4893-A543-D83A652F4E2E}"/>
              </a:ext>
            </a:extLst>
          </p:cNvPr>
          <p:cNvSpPr/>
          <p:nvPr/>
        </p:nvSpPr>
        <p:spPr>
          <a:xfrm>
            <a:off x="7825779" y="3717032"/>
            <a:ext cx="936104" cy="216024"/>
          </a:xfrm>
          <a:prstGeom prst="rightArrow">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41430105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nl-NL" dirty="0"/>
              <a:t>Bouwnummers appartementencomplex intekenen (3/3)</a:t>
            </a:r>
          </a:p>
        </p:txBody>
      </p:sp>
      <p:sp>
        <p:nvSpPr>
          <p:cNvPr id="5" name="Tekstvak 4"/>
          <p:cNvSpPr txBox="1"/>
          <p:nvPr/>
        </p:nvSpPr>
        <p:spPr>
          <a:xfrm>
            <a:off x="779834" y="1315320"/>
            <a:ext cx="10153128" cy="1107996"/>
          </a:xfrm>
          <a:prstGeom prst="rect">
            <a:avLst/>
          </a:prstGeom>
          <a:noFill/>
        </p:spPr>
        <p:txBody>
          <a:bodyPr wrap="square" lIns="0" tIns="0" rIns="0" bIns="0" rtlCol="0" anchor="t">
            <a:spAutoFit/>
          </a:bodyPr>
          <a:lstStyle/>
          <a:p>
            <a:r>
              <a:rPr lang="nl-NL" sz="1800" dirty="0"/>
              <a:t>Voeg een afbeelding in, bijvoorbeeld een plat gevelbeeld of een impressie waar je veel bouwnummers op ziet. Ga vervolgens naar </a:t>
            </a:r>
            <a:r>
              <a:rPr lang="nl-NL" sz="1800" b="1" dirty="0"/>
              <a:t>Pointers</a:t>
            </a:r>
            <a:r>
              <a:rPr lang="nl-NL" sz="1800" dirty="0"/>
              <a:t> en kies voor </a:t>
            </a:r>
            <a:r>
              <a:rPr lang="nl-NL" sz="1800" b="1" dirty="0"/>
              <a:t>Bouwnummer</a:t>
            </a:r>
            <a:r>
              <a:rPr lang="nl-NL" sz="1800" dirty="0"/>
              <a:t>. Je selecteert in het drop down menu vervolgens het bouwnummer dat je wilt intekenen (data komt uit Salesforce). Bij locatie klik je op Selecteer. </a:t>
            </a:r>
          </a:p>
        </p:txBody>
      </p:sp>
      <p:pic>
        <p:nvPicPr>
          <p:cNvPr id="8" name="Afbeelding 7">
            <a:extLst>
              <a:ext uri="{FF2B5EF4-FFF2-40B4-BE49-F238E27FC236}">
                <a16:creationId xmlns:a16="http://schemas.microsoft.com/office/drawing/2014/main" id="{79B4ECAF-9519-43A9-AA2B-642814720CF6}"/>
              </a:ext>
            </a:extLst>
          </p:cNvPr>
          <p:cNvPicPr>
            <a:picLocks noChangeAspect="1"/>
          </p:cNvPicPr>
          <p:nvPr/>
        </p:nvPicPr>
        <p:blipFill>
          <a:blip r:embed="rId3"/>
          <a:stretch>
            <a:fillRect/>
          </a:stretch>
        </p:blipFill>
        <p:spPr>
          <a:xfrm>
            <a:off x="807385" y="2708920"/>
            <a:ext cx="4933293" cy="3494137"/>
          </a:xfrm>
          <a:prstGeom prst="rect">
            <a:avLst/>
          </a:prstGeom>
          <a:ln>
            <a:solidFill>
              <a:schemeClr val="accent1">
                <a:lumMod val="75000"/>
              </a:schemeClr>
            </a:solidFill>
          </a:ln>
          <a:effectLst/>
        </p:spPr>
      </p:pic>
      <p:sp>
        <p:nvSpPr>
          <p:cNvPr id="9" name="Pijl: rechts 8">
            <a:extLst>
              <a:ext uri="{FF2B5EF4-FFF2-40B4-BE49-F238E27FC236}">
                <a16:creationId xmlns:a16="http://schemas.microsoft.com/office/drawing/2014/main" id="{A41F43AE-BF91-49C4-A05D-ADE4980BDA0A}"/>
              </a:ext>
            </a:extLst>
          </p:cNvPr>
          <p:cNvSpPr/>
          <p:nvPr/>
        </p:nvSpPr>
        <p:spPr>
          <a:xfrm>
            <a:off x="136601" y="5301208"/>
            <a:ext cx="655105" cy="216024"/>
          </a:xfrm>
          <a:prstGeom prst="rightArrow">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0" name="Pijl: rechts 9">
            <a:extLst>
              <a:ext uri="{FF2B5EF4-FFF2-40B4-BE49-F238E27FC236}">
                <a16:creationId xmlns:a16="http://schemas.microsoft.com/office/drawing/2014/main" id="{E77A5836-7EE8-447A-AFDF-770751BE2919}"/>
              </a:ext>
            </a:extLst>
          </p:cNvPr>
          <p:cNvSpPr/>
          <p:nvPr/>
        </p:nvSpPr>
        <p:spPr>
          <a:xfrm>
            <a:off x="120922" y="3681539"/>
            <a:ext cx="655105" cy="216024"/>
          </a:xfrm>
          <a:prstGeom prst="rightArrow">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2" name="Afbeelding 11">
            <a:extLst>
              <a:ext uri="{FF2B5EF4-FFF2-40B4-BE49-F238E27FC236}">
                <a16:creationId xmlns:a16="http://schemas.microsoft.com/office/drawing/2014/main" id="{AE3983E3-A277-4440-9DB1-A43C7275F2A0}"/>
              </a:ext>
            </a:extLst>
          </p:cNvPr>
          <p:cNvPicPr>
            <a:picLocks noChangeAspect="1"/>
          </p:cNvPicPr>
          <p:nvPr/>
        </p:nvPicPr>
        <p:blipFill>
          <a:blip r:embed="rId4"/>
          <a:stretch>
            <a:fillRect/>
          </a:stretch>
        </p:blipFill>
        <p:spPr>
          <a:xfrm>
            <a:off x="5947383" y="2708920"/>
            <a:ext cx="5440407" cy="3044552"/>
          </a:xfrm>
          <a:prstGeom prst="roundRect">
            <a:avLst>
              <a:gd name="adj" fmla="val 8594"/>
            </a:avLst>
          </a:prstGeom>
          <a:solidFill>
            <a:srgbClr val="FFFFFF">
              <a:shade val="85000"/>
            </a:srgbClr>
          </a:solidFill>
          <a:ln>
            <a:solidFill>
              <a:schemeClr val="accent1">
                <a:lumMod val="75000"/>
              </a:schemeClr>
            </a:solidFill>
          </a:ln>
          <a:effectLst>
            <a:reflection blurRad="12700" stA="38000" endPos="28000" dist="5000" dir="5400000" sy="-100000" algn="bl" rotWithShape="0"/>
          </a:effectLst>
        </p:spPr>
      </p:pic>
      <p:sp>
        <p:nvSpPr>
          <p:cNvPr id="13" name="Pijl: links 12">
            <a:extLst>
              <a:ext uri="{FF2B5EF4-FFF2-40B4-BE49-F238E27FC236}">
                <a16:creationId xmlns:a16="http://schemas.microsoft.com/office/drawing/2014/main" id="{A401656A-360B-4472-88E8-B2EEF8C163C2}"/>
              </a:ext>
            </a:extLst>
          </p:cNvPr>
          <p:cNvSpPr/>
          <p:nvPr/>
        </p:nvSpPr>
        <p:spPr>
          <a:xfrm>
            <a:off x="9769995" y="4341052"/>
            <a:ext cx="576064" cy="216024"/>
          </a:xfrm>
          <a:prstGeom prst="leftArrow">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Pijl: links 13">
            <a:extLst>
              <a:ext uri="{FF2B5EF4-FFF2-40B4-BE49-F238E27FC236}">
                <a16:creationId xmlns:a16="http://schemas.microsoft.com/office/drawing/2014/main" id="{CE0D9317-9921-4AFF-B820-BB94BC9F3661}"/>
              </a:ext>
            </a:extLst>
          </p:cNvPr>
          <p:cNvSpPr/>
          <p:nvPr/>
        </p:nvSpPr>
        <p:spPr>
          <a:xfrm>
            <a:off x="8833891" y="5229200"/>
            <a:ext cx="576064" cy="216024"/>
          </a:xfrm>
          <a:prstGeom prst="leftArrow">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2071684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nl-NL" dirty="0"/>
              <a:t>Bouwnummers appartementencomplex intekenen (3/4)</a:t>
            </a:r>
          </a:p>
        </p:txBody>
      </p:sp>
      <p:sp>
        <p:nvSpPr>
          <p:cNvPr id="7" name="Tekstvak 6">
            <a:extLst>
              <a:ext uri="{FF2B5EF4-FFF2-40B4-BE49-F238E27FC236}">
                <a16:creationId xmlns:a16="http://schemas.microsoft.com/office/drawing/2014/main" id="{E51C2D42-BCE8-4D53-AA53-D96EB8F8F6A9}"/>
              </a:ext>
            </a:extLst>
          </p:cNvPr>
          <p:cNvSpPr txBox="1"/>
          <p:nvPr/>
        </p:nvSpPr>
        <p:spPr>
          <a:xfrm>
            <a:off x="336947" y="1124744"/>
            <a:ext cx="11255053" cy="830997"/>
          </a:xfrm>
          <a:prstGeom prst="rect">
            <a:avLst/>
          </a:prstGeom>
          <a:noFill/>
        </p:spPr>
        <p:txBody>
          <a:bodyPr wrap="square">
            <a:spAutoFit/>
          </a:bodyPr>
          <a:lstStyle/>
          <a:p>
            <a:r>
              <a:rPr lang="nl-NL" sz="1600" dirty="0"/>
              <a:t>Je krijgt dan de afbeelding te zien. In de afbeelding klik je op de plek waar het bouwnummer zich bevindt. Je ziet een blauw blokje in de afbeelding verschijnen. Klik vervolgens op Selecteren. Ga zo alle bouwnummers af die zichtbaar zijn in de geselecteerde afbeelding. </a:t>
            </a:r>
          </a:p>
        </p:txBody>
      </p:sp>
      <p:pic>
        <p:nvPicPr>
          <p:cNvPr id="14" name="Tijdelijke aanduiding voor inhoud 13">
            <a:extLst>
              <a:ext uri="{FF2B5EF4-FFF2-40B4-BE49-F238E27FC236}">
                <a16:creationId xmlns:a16="http://schemas.microsoft.com/office/drawing/2014/main" id="{8020A362-FB23-4282-AFB0-82CF855C4E05}"/>
              </a:ext>
            </a:extLst>
          </p:cNvPr>
          <p:cNvPicPr>
            <a:picLocks noGrp="1" noChangeAspect="1"/>
          </p:cNvPicPr>
          <p:nvPr>
            <p:ph idx="1"/>
          </p:nvPr>
        </p:nvPicPr>
        <p:blipFill>
          <a:blip r:embed="rId3"/>
          <a:stretch>
            <a:fillRect/>
          </a:stretch>
        </p:blipFill>
        <p:spPr>
          <a:xfrm>
            <a:off x="480963" y="1918425"/>
            <a:ext cx="9433048" cy="4893358"/>
          </a:xfrm>
        </p:spPr>
      </p:pic>
      <p:sp>
        <p:nvSpPr>
          <p:cNvPr id="16" name="Pijl: rechts 15">
            <a:extLst>
              <a:ext uri="{FF2B5EF4-FFF2-40B4-BE49-F238E27FC236}">
                <a16:creationId xmlns:a16="http://schemas.microsoft.com/office/drawing/2014/main" id="{72DA8F69-7561-42EF-9141-19FFEC1D9BF9}"/>
              </a:ext>
            </a:extLst>
          </p:cNvPr>
          <p:cNvSpPr/>
          <p:nvPr/>
        </p:nvSpPr>
        <p:spPr>
          <a:xfrm>
            <a:off x="3361283" y="6575020"/>
            <a:ext cx="720080" cy="144016"/>
          </a:xfrm>
          <a:prstGeom prst="rightArrow">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8" name="Pijl: rechts 17">
            <a:extLst>
              <a:ext uri="{FF2B5EF4-FFF2-40B4-BE49-F238E27FC236}">
                <a16:creationId xmlns:a16="http://schemas.microsoft.com/office/drawing/2014/main" id="{197BF6FB-36F9-4867-9BEE-CFEF50B92F02}"/>
              </a:ext>
            </a:extLst>
          </p:cNvPr>
          <p:cNvSpPr/>
          <p:nvPr/>
        </p:nvSpPr>
        <p:spPr>
          <a:xfrm>
            <a:off x="4081363" y="4221088"/>
            <a:ext cx="720080" cy="144016"/>
          </a:xfrm>
          <a:prstGeom prst="rightArrow">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6473800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idx="1000"/>
          </p:nvPr>
        </p:nvSpPr>
        <p:spPr/>
        <p:txBody>
          <a:bodyPr/>
          <a:lstStyle/>
          <a:p>
            <a:endParaRPr lang="nl-NL"/>
          </a:p>
        </p:txBody>
      </p:sp>
      <p:sp>
        <p:nvSpPr>
          <p:cNvPr id="4" name="Tijdelijke aanduiding voor tekst 3"/>
          <p:cNvSpPr>
            <a:spLocks noGrp="1"/>
          </p:cNvSpPr>
          <p:nvPr>
            <p:ph type="body" idx="1001"/>
          </p:nvPr>
        </p:nvSpPr>
        <p:spPr/>
        <p:txBody>
          <a:bodyPr/>
          <a:lstStyle/>
          <a:p>
            <a:endParaRPr lang="nl-NL"/>
          </a:p>
        </p:txBody>
      </p:sp>
      <p:sp>
        <p:nvSpPr>
          <p:cNvPr id="5" name="Tijdelijke aanduiding voor tekst 4"/>
          <p:cNvSpPr>
            <a:spLocks noGrp="1"/>
          </p:cNvSpPr>
          <p:nvPr>
            <p:ph type="body" idx="1003"/>
          </p:nvPr>
        </p:nvSpPr>
        <p:spPr/>
        <p:txBody>
          <a:bodyPr/>
          <a:lstStyle/>
          <a:p>
            <a:endParaRPr lang="nl-NL"/>
          </a:p>
        </p:txBody>
      </p:sp>
      <p:sp>
        <p:nvSpPr>
          <p:cNvPr id="6" name="Tijdelijke aanduiding voor tekst 5"/>
          <p:cNvSpPr>
            <a:spLocks noGrp="1"/>
          </p:cNvSpPr>
          <p:nvPr>
            <p:ph type="body" idx="1002"/>
          </p:nvPr>
        </p:nvSpPr>
        <p:spPr/>
        <p:txBody>
          <a:bodyPr/>
          <a:lstStyle/>
          <a:p>
            <a:endParaRPr lang="nl-NL"/>
          </a:p>
        </p:txBody>
      </p:sp>
      <p:sp>
        <p:nvSpPr>
          <p:cNvPr id="7" name="Tijdelijke aanduiding voor tekst 6"/>
          <p:cNvSpPr>
            <a:spLocks noGrp="1"/>
          </p:cNvSpPr>
          <p:nvPr>
            <p:ph type="body" sz="quarter" idx="14"/>
          </p:nvPr>
        </p:nvSpPr>
        <p:spPr/>
        <p:txBody>
          <a:bodyPr/>
          <a:lstStyle/>
          <a:p>
            <a:r>
              <a:rPr lang="nl-NL" dirty="0"/>
              <a:t>Weergave op de website</a:t>
            </a:r>
          </a:p>
        </p:txBody>
      </p:sp>
    </p:spTree>
    <p:extLst>
      <p:ext uri="{BB962C8B-B14F-4D97-AF65-F5344CB8AC3E}">
        <p14:creationId xmlns:p14="http://schemas.microsoft.com/office/powerpoint/2010/main" val="41246734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p:txBody>
          <a:bodyPr/>
          <a:lstStyle/>
          <a:p>
            <a:r>
              <a:rPr lang="nl-NL" b="1" dirty="0"/>
              <a:t>Weergave per zoomniveau</a:t>
            </a:r>
            <a:endParaRPr lang="nl-NL" dirty="0"/>
          </a:p>
          <a:p>
            <a:r>
              <a:rPr lang="nl-NL" dirty="0"/>
              <a:t>Hoe de kaart wordt weergegeven en wat je ziet, hangt af van het zoomniveau.</a:t>
            </a:r>
            <a:r>
              <a:rPr lang="nl-NL" i="1" dirty="0"/>
              <a:t> </a:t>
            </a:r>
            <a:br>
              <a:rPr lang="nl-NL" i="1" dirty="0"/>
            </a:br>
            <a:r>
              <a:rPr lang="nl-NL" i="1" dirty="0"/>
              <a:t>Voorbeeld: </a:t>
            </a:r>
            <a:r>
              <a:rPr lang="nl-NL" i="1" dirty="0">
                <a:hlinkClick r:id="rId2"/>
              </a:rPr>
              <a:t>https://www.hoefenhaag.nl/</a:t>
            </a:r>
            <a:r>
              <a:rPr lang="nl-NL" i="1" dirty="0"/>
              <a:t>. </a:t>
            </a:r>
          </a:p>
          <a:p>
            <a:endParaRPr lang="nl-NL" dirty="0"/>
          </a:p>
          <a:p>
            <a:r>
              <a:rPr lang="nl-NL" dirty="0"/>
              <a:t>Zoomniveau 0 t/m 11:	Het gebied van de website waar je op zit + gebieden in omgeving. </a:t>
            </a:r>
          </a:p>
          <a:p>
            <a:r>
              <a:rPr lang="nl-NL" dirty="0"/>
              <a:t>Zoomniveau 12:	Het gebied van de website waar je op zit.</a:t>
            </a:r>
          </a:p>
          <a:p>
            <a:r>
              <a:rPr lang="nl-NL" dirty="0"/>
              <a:t>Zoomniveau 13:	Het gebied van de website waar je op zit.</a:t>
            </a:r>
          </a:p>
          <a:p>
            <a:r>
              <a:rPr lang="nl-NL" dirty="0"/>
              <a:t>Zoomniveau 14:	Het gebied van de website waar je op zit.</a:t>
            </a:r>
          </a:p>
          <a:p>
            <a:r>
              <a:rPr lang="nl-NL" dirty="0"/>
              <a:t>Zoomniveau 15:	Het gebied van de website waar je op zit + Wijken.</a:t>
            </a:r>
          </a:p>
          <a:p>
            <a:r>
              <a:rPr lang="nl-NL" dirty="0"/>
              <a:t>Zoomniveau 16: 	Wijken.</a:t>
            </a:r>
          </a:p>
          <a:p>
            <a:r>
              <a:rPr lang="nl-NL" dirty="0"/>
              <a:t>Zoomniveau 17:	Wijken + projectfases + woningtypes + bouwnummers. </a:t>
            </a:r>
          </a:p>
          <a:p>
            <a:r>
              <a:rPr lang="nl-NL" dirty="0"/>
              <a:t>Zoomniveau 18 t/m 24:	Wijken + projectfases + woningtypes + bouwnummers.</a:t>
            </a:r>
          </a:p>
          <a:p>
            <a:endParaRPr lang="nl-NL" dirty="0"/>
          </a:p>
          <a:p>
            <a:pPr marL="285750" lvl="0" indent="-285750">
              <a:buFont typeface="Arial" panose="020B0604020202020204" pitchFamily="34" charset="0"/>
              <a:buChar char="•"/>
            </a:pPr>
            <a:endParaRPr lang="nl-NL" dirty="0"/>
          </a:p>
        </p:txBody>
      </p:sp>
      <p:sp>
        <p:nvSpPr>
          <p:cNvPr id="3" name="Titel 2"/>
          <p:cNvSpPr>
            <a:spLocks noGrp="1"/>
          </p:cNvSpPr>
          <p:nvPr>
            <p:ph type="title"/>
          </p:nvPr>
        </p:nvSpPr>
        <p:spPr/>
        <p:txBody>
          <a:bodyPr/>
          <a:lstStyle/>
          <a:p>
            <a:r>
              <a:rPr lang="nl-NL" dirty="0"/>
              <a:t>Weergave op de website (1)</a:t>
            </a:r>
          </a:p>
        </p:txBody>
      </p:sp>
    </p:spTree>
    <p:extLst>
      <p:ext uri="{BB962C8B-B14F-4D97-AF65-F5344CB8AC3E}">
        <p14:creationId xmlns:p14="http://schemas.microsoft.com/office/powerpoint/2010/main" val="35800333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1440000" y="1268760"/>
            <a:ext cx="10152000" cy="5014584"/>
          </a:xfrm>
        </p:spPr>
        <p:txBody>
          <a:bodyPr/>
          <a:lstStyle/>
          <a:p>
            <a:endParaRPr lang="nl-NL" b="1" dirty="0"/>
          </a:p>
          <a:p>
            <a:r>
              <a:rPr lang="nl-NL" b="1" dirty="0"/>
              <a:t>Weergave gebieden in de omgeving</a:t>
            </a:r>
            <a:endParaRPr lang="nl-NL" dirty="0"/>
          </a:p>
          <a:p>
            <a:r>
              <a:rPr lang="nl-NL" dirty="0"/>
              <a:t>BPD ontwikkelt gebieden in heel Nederland. Bij het bekijken van de kaart is de kans dan ook groot dat je pointers van andere gebieden tegenkomt.  </a:t>
            </a:r>
          </a:p>
          <a:p>
            <a:pPr marL="285750" indent="-285750">
              <a:buFont typeface="Arial" panose="020B0604020202020204" pitchFamily="34" charset="0"/>
              <a:buChar char="•"/>
            </a:pPr>
            <a:r>
              <a:rPr lang="nl-NL" dirty="0"/>
              <a:t>De gebieden in de omgeving worden weergegeven met oranje pointers. </a:t>
            </a:r>
          </a:p>
          <a:p>
            <a:pPr marL="285750" indent="-285750">
              <a:buFont typeface="Arial" panose="020B0604020202020204" pitchFamily="34" charset="0"/>
              <a:buChar char="•"/>
            </a:pPr>
            <a:r>
              <a:rPr lang="nl-NL" dirty="0"/>
              <a:t>In het label bij de pointers wordt de naam van het gebied getoond. </a:t>
            </a:r>
          </a:p>
          <a:p>
            <a:pPr marL="285750" indent="-285750">
              <a:buFont typeface="Arial" panose="020B0604020202020204" pitchFamily="34" charset="0"/>
              <a:buChar char="•"/>
            </a:pPr>
            <a:r>
              <a:rPr lang="nl-NL" dirty="0"/>
              <a:t>In het </a:t>
            </a:r>
            <a:r>
              <a:rPr lang="nl-NL" dirty="0" err="1"/>
              <a:t>sublabel</a:t>
            </a:r>
            <a:r>
              <a:rPr lang="nl-NL" dirty="0"/>
              <a:t> staat </a:t>
            </a:r>
            <a:r>
              <a:rPr lang="nl-NL" i="1" dirty="0"/>
              <a:t>Bekijk de wijk.</a:t>
            </a:r>
            <a:r>
              <a:rPr lang="nl-NL" dirty="0"/>
              <a:t> </a:t>
            </a:r>
          </a:p>
          <a:p>
            <a:pPr marL="285750" indent="-285750">
              <a:buFont typeface="Arial" panose="020B0604020202020204" pitchFamily="34" charset="0"/>
              <a:buChar char="•"/>
            </a:pPr>
            <a:r>
              <a:rPr lang="nl-NL" dirty="0"/>
              <a:t>Wanneer je op het </a:t>
            </a:r>
            <a:r>
              <a:rPr lang="nl-NL" dirty="0" err="1"/>
              <a:t>sublabel</a:t>
            </a:r>
            <a:r>
              <a:rPr lang="nl-NL" dirty="0"/>
              <a:t> klikt, opent de homepage van de bijbehorende (</a:t>
            </a:r>
            <a:r>
              <a:rPr lang="nl-NL" dirty="0" err="1"/>
              <a:t>gebieds</a:t>
            </a:r>
            <a:r>
              <a:rPr lang="nl-NL" dirty="0"/>
              <a:t>)website. </a:t>
            </a:r>
          </a:p>
        </p:txBody>
      </p:sp>
      <p:sp>
        <p:nvSpPr>
          <p:cNvPr id="3" name="Titel 2"/>
          <p:cNvSpPr>
            <a:spLocks noGrp="1"/>
          </p:cNvSpPr>
          <p:nvPr>
            <p:ph type="title"/>
          </p:nvPr>
        </p:nvSpPr>
        <p:spPr/>
        <p:txBody>
          <a:bodyPr/>
          <a:lstStyle/>
          <a:p>
            <a:r>
              <a:rPr lang="nl-NL" dirty="0"/>
              <a:t>Weergave op de website (2)</a:t>
            </a:r>
          </a:p>
        </p:txBody>
      </p:sp>
      <p:pic>
        <p:nvPicPr>
          <p:cNvPr id="5" name="Afbeelding 4">
            <a:extLst>
              <a:ext uri="{FF2B5EF4-FFF2-40B4-BE49-F238E27FC236}">
                <a16:creationId xmlns:a16="http://schemas.microsoft.com/office/drawing/2014/main" id="{9F4D5008-B6E4-4601-86E1-5A95E92DD16A}"/>
              </a:ext>
            </a:extLst>
          </p:cNvPr>
          <p:cNvPicPr>
            <a:picLocks noChangeAspect="1"/>
          </p:cNvPicPr>
          <p:nvPr/>
        </p:nvPicPr>
        <p:blipFill>
          <a:blip r:embed="rId2"/>
          <a:stretch>
            <a:fillRect/>
          </a:stretch>
        </p:blipFill>
        <p:spPr>
          <a:xfrm>
            <a:off x="0" y="3587060"/>
            <a:ext cx="12195175" cy="3264725"/>
          </a:xfrm>
          <a:prstGeom prst="rect">
            <a:avLst/>
          </a:prstGeom>
        </p:spPr>
      </p:pic>
    </p:spTree>
    <p:extLst>
      <p:ext uri="{BB962C8B-B14F-4D97-AF65-F5344CB8AC3E}">
        <p14:creationId xmlns:p14="http://schemas.microsoft.com/office/powerpoint/2010/main" val="40893285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1440000" y="1412776"/>
            <a:ext cx="10152000" cy="4870568"/>
          </a:xfrm>
        </p:spPr>
        <p:txBody>
          <a:bodyPr/>
          <a:lstStyle/>
          <a:p>
            <a:r>
              <a:rPr lang="nl-NL" b="1" dirty="0"/>
              <a:t>Weergave gebied</a:t>
            </a:r>
            <a:endParaRPr lang="nl-NL" dirty="0"/>
          </a:p>
          <a:p>
            <a:r>
              <a:rPr lang="nl-NL" dirty="0"/>
              <a:t>BPD is gebiedsontwikkelaar. Bij elke ontwikkeling tekenen we daarom het gebied in op de kaart. </a:t>
            </a:r>
          </a:p>
          <a:p>
            <a:endParaRPr lang="nl-NL" dirty="0"/>
          </a:p>
          <a:p>
            <a:r>
              <a:rPr lang="nl-NL" dirty="0"/>
              <a:t>Het gebied wordt weergegeven van zoomniveau 12 tot en met 15:</a:t>
            </a:r>
          </a:p>
          <a:p>
            <a:pPr marL="285750" lvl="0" indent="-285750">
              <a:buFont typeface="Arial" panose="020B0604020202020204" pitchFamily="34" charset="0"/>
              <a:buChar char="•"/>
            </a:pPr>
            <a:r>
              <a:rPr lang="nl-NL" dirty="0"/>
              <a:t>Bij zoomniveau 12 en 13 wordt het gebied in het roze weergegeven. </a:t>
            </a:r>
          </a:p>
          <a:p>
            <a:pPr marL="285750" lvl="0" indent="-285750">
              <a:buFont typeface="Arial" panose="020B0604020202020204" pitchFamily="34" charset="0"/>
              <a:buChar char="•"/>
            </a:pPr>
            <a:r>
              <a:rPr lang="nl-NL" dirty="0"/>
              <a:t>Bij zoomniveau 14 wordt de omlijning van het gebied iets duidelijker weergegeven.</a:t>
            </a:r>
          </a:p>
          <a:p>
            <a:pPr marL="285750" lvl="0" indent="-285750">
              <a:buFont typeface="Arial" panose="020B0604020202020204" pitchFamily="34" charset="0"/>
              <a:buChar char="•"/>
            </a:pPr>
            <a:r>
              <a:rPr lang="nl-NL" dirty="0"/>
              <a:t>Bij zoomniveau 15 wordt alleen de omlijning van het gebied weergegeven.</a:t>
            </a:r>
          </a:p>
          <a:p>
            <a:endParaRPr lang="nl-NL" dirty="0"/>
          </a:p>
          <a:p>
            <a:endParaRPr lang="nl-NL" dirty="0"/>
          </a:p>
          <a:p>
            <a:pPr marL="285750" lvl="0" indent="-285750">
              <a:buFont typeface="Arial" panose="020B0604020202020204" pitchFamily="34" charset="0"/>
              <a:buChar char="•"/>
            </a:pPr>
            <a:endParaRPr lang="nl-NL" dirty="0"/>
          </a:p>
        </p:txBody>
      </p:sp>
      <p:sp>
        <p:nvSpPr>
          <p:cNvPr id="3" name="Titel 2"/>
          <p:cNvSpPr>
            <a:spLocks noGrp="1"/>
          </p:cNvSpPr>
          <p:nvPr>
            <p:ph type="title"/>
          </p:nvPr>
        </p:nvSpPr>
        <p:spPr/>
        <p:txBody>
          <a:bodyPr/>
          <a:lstStyle/>
          <a:p>
            <a:r>
              <a:rPr lang="nl-NL" dirty="0"/>
              <a:t>Weergave op de website (3)</a:t>
            </a:r>
          </a:p>
        </p:txBody>
      </p:sp>
      <p:pic>
        <p:nvPicPr>
          <p:cNvPr id="8" name="Afbeelding 7">
            <a:extLst>
              <a:ext uri="{FF2B5EF4-FFF2-40B4-BE49-F238E27FC236}">
                <a16:creationId xmlns:a16="http://schemas.microsoft.com/office/drawing/2014/main" id="{98E70EFB-0F42-4290-AB93-A4D9BCF39B2E}"/>
              </a:ext>
            </a:extLst>
          </p:cNvPr>
          <p:cNvPicPr>
            <a:picLocks noChangeAspect="1"/>
          </p:cNvPicPr>
          <p:nvPr/>
        </p:nvPicPr>
        <p:blipFill>
          <a:blip r:embed="rId2"/>
          <a:stretch>
            <a:fillRect/>
          </a:stretch>
        </p:blipFill>
        <p:spPr>
          <a:xfrm>
            <a:off x="-1" y="3538368"/>
            <a:ext cx="12195175" cy="3319880"/>
          </a:xfrm>
          <a:prstGeom prst="rect">
            <a:avLst/>
          </a:prstGeom>
        </p:spPr>
      </p:pic>
    </p:spTree>
    <p:extLst>
      <p:ext uri="{BB962C8B-B14F-4D97-AF65-F5344CB8AC3E}">
        <p14:creationId xmlns:p14="http://schemas.microsoft.com/office/powerpoint/2010/main" val="794527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1440000" y="1268760"/>
            <a:ext cx="10152000" cy="5014584"/>
          </a:xfrm>
        </p:spPr>
        <p:txBody>
          <a:bodyPr/>
          <a:lstStyle/>
          <a:p>
            <a:r>
              <a:rPr lang="nl-NL" b="1" dirty="0"/>
              <a:t>Weergave wijk</a:t>
            </a:r>
            <a:endParaRPr lang="nl-NL" dirty="0"/>
          </a:p>
          <a:p>
            <a:r>
              <a:rPr lang="nl-NL" dirty="0"/>
              <a:t>Een gebied bestaat uit wijken. Deze wijken kun je intekenen op de kaart. </a:t>
            </a:r>
            <a:r>
              <a:rPr lang="nl-NL" i="1" dirty="0"/>
              <a:t>Voorbeeld: </a:t>
            </a:r>
            <a:r>
              <a:rPr lang="nl-NL" i="1" dirty="0">
                <a:hlinkClick r:id="rId2"/>
              </a:rPr>
              <a:t>https://www.hoefenhaag.nl/</a:t>
            </a:r>
            <a:r>
              <a:rPr lang="nl-NL" i="1" dirty="0"/>
              <a:t>. </a:t>
            </a:r>
            <a:endParaRPr lang="nl-NL" dirty="0"/>
          </a:p>
          <a:p>
            <a:endParaRPr lang="nl-NL" dirty="0"/>
          </a:p>
          <a:p>
            <a:r>
              <a:rPr lang="nl-NL" dirty="0"/>
              <a:t>De wijken worden weergegeven van zoomniveau 15 tot en met 24: </a:t>
            </a:r>
          </a:p>
          <a:p>
            <a:pPr marL="285750" lvl="0" indent="-285750">
              <a:buFont typeface="Arial" panose="020B0604020202020204" pitchFamily="34" charset="0"/>
              <a:buChar char="•"/>
            </a:pPr>
            <a:r>
              <a:rPr lang="nl-NL" dirty="0"/>
              <a:t>Bij zoomniveau 15 wordt de wijk in het roze weergegeven. </a:t>
            </a:r>
          </a:p>
          <a:p>
            <a:pPr marL="285750" lvl="0" indent="-285750">
              <a:buFont typeface="Arial" panose="020B0604020202020204" pitchFamily="34" charset="0"/>
              <a:buChar char="•"/>
            </a:pPr>
            <a:r>
              <a:rPr lang="nl-NL" dirty="0"/>
              <a:t>Bij zoomniveau 16 wordt de omlijning van de wijk iets duidelijker weergegeven.</a:t>
            </a:r>
          </a:p>
          <a:p>
            <a:pPr marL="285750" lvl="0" indent="-285750">
              <a:buFont typeface="Arial" panose="020B0604020202020204" pitchFamily="34" charset="0"/>
              <a:buChar char="•"/>
            </a:pPr>
            <a:r>
              <a:rPr lang="nl-NL" dirty="0"/>
              <a:t>Van zoomniveau 17 tot en met 24 wordt alleen de omlijning (zwart) van de wijk weergegeven.</a:t>
            </a:r>
          </a:p>
          <a:p>
            <a:endParaRPr lang="nl-NL" dirty="0"/>
          </a:p>
          <a:p>
            <a:pPr marL="285750" lvl="0" indent="-285750">
              <a:buFont typeface="Arial" panose="020B0604020202020204" pitchFamily="34" charset="0"/>
              <a:buChar char="•"/>
            </a:pPr>
            <a:endParaRPr lang="nl-NL" dirty="0"/>
          </a:p>
        </p:txBody>
      </p:sp>
      <p:sp>
        <p:nvSpPr>
          <p:cNvPr id="3" name="Titel 2"/>
          <p:cNvSpPr>
            <a:spLocks noGrp="1"/>
          </p:cNvSpPr>
          <p:nvPr>
            <p:ph type="title"/>
          </p:nvPr>
        </p:nvSpPr>
        <p:spPr/>
        <p:txBody>
          <a:bodyPr/>
          <a:lstStyle/>
          <a:p>
            <a:r>
              <a:rPr lang="nl-NL" dirty="0"/>
              <a:t>Weergave op de website (4)</a:t>
            </a:r>
          </a:p>
        </p:txBody>
      </p:sp>
      <p:pic>
        <p:nvPicPr>
          <p:cNvPr id="6" name="Afbeelding 5">
            <a:extLst>
              <a:ext uri="{FF2B5EF4-FFF2-40B4-BE49-F238E27FC236}">
                <a16:creationId xmlns:a16="http://schemas.microsoft.com/office/drawing/2014/main" id="{5C5B17B6-5B0A-4694-BEC8-884DC0841FEC}"/>
              </a:ext>
            </a:extLst>
          </p:cNvPr>
          <p:cNvPicPr>
            <a:picLocks noChangeAspect="1"/>
          </p:cNvPicPr>
          <p:nvPr/>
        </p:nvPicPr>
        <p:blipFill>
          <a:blip r:embed="rId3"/>
          <a:stretch>
            <a:fillRect/>
          </a:stretch>
        </p:blipFill>
        <p:spPr>
          <a:xfrm>
            <a:off x="25887" y="3212976"/>
            <a:ext cx="12195175" cy="4373131"/>
          </a:xfrm>
          <a:prstGeom prst="rect">
            <a:avLst/>
          </a:prstGeom>
        </p:spPr>
      </p:pic>
    </p:spTree>
    <p:extLst>
      <p:ext uri="{BB962C8B-B14F-4D97-AF65-F5344CB8AC3E}">
        <p14:creationId xmlns:p14="http://schemas.microsoft.com/office/powerpoint/2010/main" val="489689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1440000" y="1412776"/>
            <a:ext cx="10152000" cy="1152128"/>
          </a:xfrm>
        </p:spPr>
        <p:txBody>
          <a:bodyPr/>
          <a:lstStyle/>
          <a:p>
            <a:r>
              <a:rPr lang="nl-NL" b="1" dirty="0"/>
              <a:t>Weergave status wijk</a:t>
            </a:r>
            <a:endParaRPr lang="nl-NL" dirty="0"/>
          </a:p>
          <a:p>
            <a:r>
              <a:rPr lang="nl-NL" dirty="0"/>
              <a:t>De weergave status van de wijk is niet gekoppeld aan Salesforce en moet je </a:t>
            </a:r>
            <a:r>
              <a:rPr lang="nl-NL" b="1" dirty="0"/>
              <a:t>handmatig</a:t>
            </a:r>
            <a:r>
              <a:rPr lang="nl-NL" dirty="0"/>
              <a:t> aanpassen in </a:t>
            </a:r>
            <a:r>
              <a:rPr lang="nl-NL" dirty="0" err="1"/>
              <a:t>Umbraco</a:t>
            </a:r>
            <a:r>
              <a:rPr lang="nl-NL" dirty="0"/>
              <a:t>.</a:t>
            </a:r>
          </a:p>
          <a:p>
            <a:r>
              <a:rPr lang="nl-NL" dirty="0"/>
              <a:t>Ga naar het </a:t>
            </a:r>
            <a:r>
              <a:rPr lang="nl-NL" b="1" dirty="0"/>
              <a:t>tabblad instellingen</a:t>
            </a:r>
            <a:r>
              <a:rPr lang="nl-NL" dirty="0"/>
              <a:t> van de betreffende wijk in en pas daar het </a:t>
            </a:r>
            <a:r>
              <a:rPr lang="nl-NL" b="1" dirty="0"/>
              <a:t>statuslabel</a:t>
            </a:r>
            <a:r>
              <a:rPr lang="nl-NL" dirty="0"/>
              <a:t> aan.</a:t>
            </a:r>
          </a:p>
          <a:p>
            <a:pPr marL="285750" lvl="0" indent="-285750">
              <a:buFont typeface="Arial" panose="020B0604020202020204" pitchFamily="34" charset="0"/>
              <a:buChar char="•"/>
            </a:pPr>
            <a:endParaRPr lang="nl-NL" dirty="0"/>
          </a:p>
        </p:txBody>
      </p:sp>
      <p:sp>
        <p:nvSpPr>
          <p:cNvPr id="3" name="Titel 2"/>
          <p:cNvSpPr>
            <a:spLocks noGrp="1"/>
          </p:cNvSpPr>
          <p:nvPr>
            <p:ph type="title"/>
          </p:nvPr>
        </p:nvSpPr>
        <p:spPr/>
        <p:txBody>
          <a:bodyPr/>
          <a:lstStyle/>
          <a:p>
            <a:r>
              <a:rPr lang="nl-NL" dirty="0"/>
              <a:t>Weergave op de website (5)</a:t>
            </a:r>
          </a:p>
        </p:txBody>
      </p:sp>
      <p:sp>
        <p:nvSpPr>
          <p:cNvPr id="8" name="Pijl-rechts 7"/>
          <p:cNvSpPr/>
          <p:nvPr/>
        </p:nvSpPr>
        <p:spPr>
          <a:xfrm>
            <a:off x="7033691" y="6165304"/>
            <a:ext cx="1008112" cy="144016"/>
          </a:xfrm>
          <a:prstGeom prst="rightArrow">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11" name="Afbeelding 10">
            <a:extLst>
              <a:ext uri="{FF2B5EF4-FFF2-40B4-BE49-F238E27FC236}">
                <a16:creationId xmlns:a16="http://schemas.microsoft.com/office/drawing/2014/main" id="{55F30912-653D-4E83-9018-7056BFFE5C51}"/>
              </a:ext>
            </a:extLst>
          </p:cNvPr>
          <p:cNvPicPr>
            <a:picLocks noChangeAspect="1"/>
          </p:cNvPicPr>
          <p:nvPr/>
        </p:nvPicPr>
        <p:blipFill>
          <a:blip r:embed="rId3"/>
          <a:stretch>
            <a:fillRect/>
          </a:stretch>
        </p:blipFill>
        <p:spPr>
          <a:xfrm>
            <a:off x="93812" y="2484869"/>
            <a:ext cx="11498188" cy="4373131"/>
          </a:xfrm>
          <a:prstGeom prst="rect">
            <a:avLst/>
          </a:prstGeom>
        </p:spPr>
      </p:pic>
      <p:sp>
        <p:nvSpPr>
          <p:cNvPr id="7" name="Pijl-rechts 6"/>
          <p:cNvSpPr/>
          <p:nvPr/>
        </p:nvSpPr>
        <p:spPr>
          <a:xfrm>
            <a:off x="2785219" y="5733256"/>
            <a:ext cx="1224136" cy="144016"/>
          </a:xfrm>
          <a:prstGeom prst="rightArrow">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5" name="Afbeelding 4">
            <a:extLst>
              <a:ext uri="{FF2B5EF4-FFF2-40B4-BE49-F238E27FC236}">
                <a16:creationId xmlns:a16="http://schemas.microsoft.com/office/drawing/2014/main" id="{BA669CEF-B635-454B-9199-0525142082F7}"/>
              </a:ext>
            </a:extLst>
          </p:cNvPr>
          <p:cNvPicPr>
            <a:picLocks noChangeAspect="1"/>
          </p:cNvPicPr>
          <p:nvPr/>
        </p:nvPicPr>
        <p:blipFill>
          <a:blip r:embed="rId4"/>
          <a:stretch>
            <a:fillRect/>
          </a:stretch>
        </p:blipFill>
        <p:spPr>
          <a:xfrm>
            <a:off x="7271246" y="2816064"/>
            <a:ext cx="4830117" cy="3710739"/>
          </a:xfrm>
          <a:prstGeom prst="rect">
            <a:avLst/>
          </a:prstGeom>
        </p:spPr>
      </p:pic>
    </p:spTree>
    <p:extLst>
      <p:ext uri="{BB962C8B-B14F-4D97-AF65-F5344CB8AC3E}">
        <p14:creationId xmlns:p14="http://schemas.microsoft.com/office/powerpoint/2010/main" val="9520518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1439999" y="1340768"/>
            <a:ext cx="10490236" cy="5256584"/>
          </a:xfrm>
        </p:spPr>
        <p:txBody>
          <a:bodyPr/>
          <a:lstStyle/>
          <a:p>
            <a:r>
              <a:rPr lang="nl-NL" b="1" dirty="0"/>
              <a:t>Weergave projectfase</a:t>
            </a:r>
            <a:endParaRPr lang="nl-NL" dirty="0"/>
          </a:p>
          <a:p>
            <a:r>
              <a:rPr lang="nl-NL" dirty="0"/>
              <a:t>Een wijk bestaat uit projectfases. Deze projectfases kun je intekenen op de kaart. Een projectfase kan verschillende statussen hebben. </a:t>
            </a:r>
            <a:r>
              <a:rPr lang="nl-NL" dirty="0">
                <a:solidFill>
                  <a:srgbClr val="FF0000"/>
                </a:solidFill>
              </a:rPr>
              <a:t>De status wordt gebaseerd op de Status van de projectfase in Salesforce</a:t>
            </a:r>
            <a:r>
              <a:rPr lang="nl-NL" dirty="0"/>
              <a:t>: </a:t>
            </a:r>
          </a:p>
          <a:p>
            <a:endParaRPr lang="nl-NL" dirty="0"/>
          </a:p>
          <a:p>
            <a:pPr marL="285750" lvl="0" indent="-285750">
              <a:buFont typeface="Arial" panose="020B0604020202020204" pitchFamily="34" charset="0"/>
              <a:buChar char="•"/>
            </a:pPr>
            <a:r>
              <a:rPr lang="nl-NL" dirty="0"/>
              <a:t>Salesforce: </a:t>
            </a:r>
            <a:r>
              <a:rPr lang="nl-NL" i="1" dirty="0"/>
              <a:t>In voorbereiding</a:t>
            </a:r>
            <a:r>
              <a:rPr lang="nl-NL" dirty="0"/>
              <a:t> = </a:t>
            </a:r>
            <a:r>
              <a:rPr lang="nl-NL" b="1" i="1" dirty="0"/>
              <a:t>In voorbereiding</a:t>
            </a:r>
            <a:r>
              <a:rPr lang="nl-NL" dirty="0"/>
              <a:t>.</a:t>
            </a:r>
          </a:p>
          <a:p>
            <a:pPr marL="285750" lvl="0" indent="-285750">
              <a:buFont typeface="Arial" panose="020B0604020202020204" pitchFamily="34" charset="0"/>
              <a:buChar char="•"/>
            </a:pPr>
            <a:r>
              <a:rPr lang="nl-NL" dirty="0"/>
              <a:t>Salesforce: </a:t>
            </a:r>
            <a:r>
              <a:rPr lang="nl-NL" i="1" dirty="0"/>
              <a:t>In verkoop</a:t>
            </a:r>
            <a:r>
              <a:rPr lang="nl-NL" dirty="0"/>
              <a:t> = </a:t>
            </a:r>
            <a:r>
              <a:rPr lang="nl-NL" b="1" i="1" dirty="0"/>
              <a:t>In verkoop</a:t>
            </a:r>
            <a:r>
              <a:rPr lang="nl-NL" dirty="0"/>
              <a:t>.</a:t>
            </a:r>
          </a:p>
          <a:p>
            <a:pPr marL="285750" lvl="0" indent="-285750">
              <a:buFont typeface="Arial" panose="020B0604020202020204" pitchFamily="34" charset="0"/>
              <a:buChar char="•"/>
            </a:pPr>
            <a:r>
              <a:rPr lang="nl-NL" dirty="0"/>
              <a:t>Salesforce: </a:t>
            </a:r>
            <a:r>
              <a:rPr lang="nl-NL" i="1" dirty="0"/>
              <a:t>Verkocht</a:t>
            </a:r>
            <a:r>
              <a:rPr lang="nl-NL" dirty="0"/>
              <a:t> = </a:t>
            </a:r>
            <a:r>
              <a:rPr lang="nl-NL" b="1" i="1" dirty="0"/>
              <a:t>In aanbouw/bewoond</a:t>
            </a:r>
            <a:r>
              <a:rPr lang="nl-NL" dirty="0"/>
              <a:t>. </a:t>
            </a:r>
          </a:p>
          <a:p>
            <a:r>
              <a:rPr lang="nl-NL" dirty="0"/>
              <a:t> </a:t>
            </a:r>
          </a:p>
          <a:p>
            <a:r>
              <a:rPr lang="nl-NL" dirty="0"/>
              <a:t>De projectfases worden weergegeven van zoomniveau 17 tot en met 24. </a:t>
            </a:r>
          </a:p>
          <a:p>
            <a:pPr marL="285750" lvl="0" indent="-285750">
              <a:buFont typeface="Arial" panose="020B0604020202020204" pitchFamily="34" charset="0"/>
              <a:buChar char="•"/>
            </a:pPr>
            <a:r>
              <a:rPr lang="nl-NL" b="1" i="1" dirty="0"/>
              <a:t>In voorbereiding</a:t>
            </a:r>
            <a:r>
              <a:rPr lang="nl-NL" dirty="0"/>
              <a:t>: transparante laag, lichtgrijs label. -&gt; </a:t>
            </a:r>
            <a:r>
              <a:rPr lang="nl-NL" b="1" dirty="0"/>
              <a:t>meest voorkomend</a:t>
            </a:r>
          </a:p>
          <a:p>
            <a:pPr marL="285750" indent="-285750">
              <a:buFont typeface="Arial" panose="020B0604020202020204" pitchFamily="34" charset="0"/>
              <a:buChar char="•"/>
            </a:pPr>
            <a:r>
              <a:rPr lang="nl-NL" b="1" i="1" dirty="0"/>
              <a:t>In verkoop</a:t>
            </a:r>
            <a:r>
              <a:rPr lang="nl-NL" dirty="0"/>
              <a:t>: transparante laag, wit label. -&gt; </a:t>
            </a:r>
            <a:r>
              <a:rPr lang="nl-NL" b="1" dirty="0"/>
              <a:t>komt in de praktijk eigenlijk niet voor </a:t>
            </a:r>
            <a:r>
              <a:rPr lang="nl-NL" dirty="0"/>
              <a:t>(bouwnummers zijn dan al ingetekend)</a:t>
            </a:r>
          </a:p>
          <a:p>
            <a:pPr marL="285750" lvl="0" indent="-285750">
              <a:buFont typeface="Arial" panose="020B0604020202020204" pitchFamily="34" charset="0"/>
              <a:buChar char="•"/>
            </a:pPr>
            <a:r>
              <a:rPr lang="nl-NL" b="1" i="1" dirty="0"/>
              <a:t>In aanbouw/bewoond</a:t>
            </a:r>
            <a:r>
              <a:rPr lang="nl-NL" dirty="0"/>
              <a:t>: transparante paarse laag, wit label. -&gt; </a:t>
            </a:r>
            <a:r>
              <a:rPr lang="nl-NL" b="1" dirty="0"/>
              <a:t>komt nog voor bij ‘oude’ projecten</a:t>
            </a:r>
            <a:r>
              <a:rPr lang="nl-NL" dirty="0"/>
              <a:t> waarvan de kaart achteraf is ingetekend. Dit zal bij nieuwe plannen niet meer aan de orde zijn omdat de kaart dan al van begin af aan wordt ingetekend en we altijd alle bouwnummers blijven tonen op de kaart.</a:t>
            </a:r>
          </a:p>
          <a:p>
            <a:r>
              <a:rPr lang="nl-NL" dirty="0"/>
              <a:t> </a:t>
            </a:r>
          </a:p>
          <a:p>
            <a:r>
              <a:rPr lang="nl-NL" dirty="0"/>
              <a:t>In het label staat de naam van de projectfase. Daaronder wordt de status van de projectfase weergegeven. </a:t>
            </a:r>
          </a:p>
          <a:p>
            <a:r>
              <a:rPr lang="nl-NL" dirty="0"/>
              <a:t> </a:t>
            </a:r>
          </a:p>
          <a:p>
            <a:endParaRPr lang="nl-NL" dirty="0"/>
          </a:p>
          <a:p>
            <a:endParaRPr lang="nl-NL" dirty="0"/>
          </a:p>
          <a:p>
            <a:pPr marL="285750" lvl="0" indent="-285750">
              <a:buFont typeface="Arial" panose="020B0604020202020204" pitchFamily="34" charset="0"/>
              <a:buChar char="•"/>
            </a:pPr>
            <a:endParaRPr lang="nl-NL" dirty="0"/>
          </a:p>
        </p:txBody>
      </p:sp>
      <p:sp>
        <p:nvSpPr>
          <p:cNvPr id="3" name="Titel 2"/>
          <p:cNvSpPr>
            <a:spLocks noGrp="1"/>
          </p:cNvSpPr>
          <p:nvPr>
            <p:ph type="title"/>
          </p:nvPr>
        </p:nvSpPr>
        <p:spPr/>
        <p:txBody>
          <a:bodyPr/>
          <a:lstStyle/>
          <a:p>
            <a:r>
              <a:rPr lang="nl-NL" dirty="0"/>
              <a:t>Weergave op de website (6)</a:t>
            </a:r>
          </a:p>
        </p:txBody>
      </p:sp>
    </p:spTree>
    <p:extLst>
      <p:ext uri="{BB962C8B-B14F-4D97-AF65-F5344CB8AC3E}">
        <p14:creationId xmlns:p14="http://schemas.microsoft.com/office/powerpoint/2010/main" val="22093455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1440000" y="1675344"/>
            <a:ext cx="9591303" cy="4608000"/>
          </a:xfrm>
        </p:spPr>
        <p:txBody>
          <a:bodyPr vert="horz" lIns="0" tIns="0" rIns="0" bIns="0" rtlCol="0" anchor="t">
            <a:noAutofit/>
          </a:bodyPr>
          <a:lstStyle/>
          <a:p>
            <a:endParaRPr lang="nl-NL" dirty="0"/>
          </a:p>
          <a:p>
            <a:r>
              <a:rPr lang="nl-NL" b="1" dirty="0">
                <a:latin typeface="Univers"/>
              </a:rPr>
              <a:t>Gebruik van </a:t>
            </a:r>
            <a:r>
              <a:rPr lang="nl-NL" b="1" dirty="0" err="1">
                <a:latin typeface="Univers"/>
              </a:rPr>
              <a:t>Mapbox</a:t>
            </a:r>
            <a:br>
              <a:rPr lang="nl-NL" b="1" dirty="0">
                <a:latin typeface="Univers"/>
              </a:rPr>
            </a:br>
            <a:endParaRPr lang="nl-NL" b="1" dirty="0"/>
          </a:p>
          <a:p>
            <a:pPr marL="285750" indent="-285750">
              <a:buFont typeface="Arial" panose="020B0604020202020204" pitchFamily="34" charset="0"/>
              <a:buChar char="•"/>
            </a:pPr>
            <a:r>
              <a:rPr lang="nl-NL" dirty="0">
                <a:latin typeface="Univers"/>
              </a:rPr>
              <a:t>De basis van de kaarten wordt altijd gevormd door </a:t>
            </a:r>
            <a:r>
              <a:rPr lang="nl-NL" dirty="0">
                <a:latin typeface="Univers"/>
                <a:hlinkClick r:id="rId2"/>
              </a:rPr>
              <a:t>Mapbox</a:t>
            </a:r>
            <a:r>
              <a:rPr lang="nl-NL" dirty="0">
                <a:latin typeface="Univers"/>
              </a:rPr>
              <a:t>. </a:t>
            </a:r>
            <a:endParaRPr lang="nl-NL" dirty="0"/>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r>
              <a:rPr lang="nl-NL" dirty="0">
                <a:latin typeface="Univers"/>
              </a:rPr>
              <a:t>Bovenop de standaardkaart van </a:t>
            </a:r>
            <a:r>
              <a:rPr lang="nl-NL" dirty="0" err="1">
                <a:latin typeface="Univers"/>
              </a:rPr>
              <a:t>Mapbox</a:t>
            </a:r>
            <a:r>
              <a:rPr lang="nl-NL" dirty="0">
                <a:latin typeface="Univers"/>
              </a:rPr>
              <a:t> voegen we lagen toe die voor ons belangrijk zijn. </a:t>
            </a:r>
            <a:br>
              <a:rPr lang="nl-NL" dirty="0"/>
            </a:br>
            <a:r>
              <a:rPr lang="nl-NL" dirty="0">
                <a:latin typeface="Univers"/>
              </a:rPr>
              <a:t>Zo kunnen we de locatie van een ontwikkeling weergeven, voorzieningen in de omgeving laten zien, bouwnummers intekenen en pop-ups - zgn. infobox van </a:t>
            </a:r>
            <a:r>
              <a:rPr lang="nl-NL" dirty="0" err="1">
                <a:latin typeface="Univers"/>
              </a:rPr>
              <a:t>mapbox</a:t>
            </a:r>
            <a:r>
              <a:rPr lang="nl-NL" dirty="0">
                <a:latin typeface="Univers"/>
              </a:rPr>
              <a:t> - tonen die informatie geven over onder meer de status en prijs van een woning. </a:t>
            </a:r>
            <a:br>
              <a:rPr lang="nl-NL" dirty="0">
                <a:latin typeface="Univers"/>
              </a:rPr>
            </a:br>
            <a:endParaRPr lang="nl-NL" dirty="0">
              <a:latin typeface="Univers"/>
            </a:endParaRPr>
          </a:p>
          <a:p>
            <a:pPr marL="285750" indent="-285750">
              <a:buFont typeface="Arial" panose="020B0604020202020204" pitchFamily="34" charset="0"/>
              <a:buChar char="•"/>
            </a:pPr>
            <a:r>
              <a:rPr lang="nl-NL" dirty="0"/>
              <a:t>Wil je een kaart toevoegen aan je website, dan kun je alles instellen via Salesforce en Umbraco. </a:t>
            </a:r>
          </a:p>
          <a:p>
            <a:pPr>
              <a:lnSpc>
                <a:spcPct val="113999"/>
              </a:lnSpc>
            </a:pPr>
            <a:endParaRPr lang="nl-NL" dirty="0">
              <a:latin typeface="Univers"/>
            </a:endParaRPr>
          </a:p>
          <a:p>
            <a:pPr marL="285750" indent="-285750">
              <a:lnSpc>
                <a:spcPct val="113999"/>
              </a:lnSpc>
              <a:buChar char="•"/>
            </a:pPr>
            <a:r>
              <a:rPr lang="nl-NL" dirty="0">
                <a:latin typeface="Univers"/>
              </a:rPr>
              <a:t>De weergave van de kaart wordt gebaseerd op de instellingen (Latitude en Longitude) in Salesforce. Plaats je de module op gebiedsniveau, dan vormen de coördinaten van het gebied het uitgangspunt. Plaats je de module op wijkniveau, dan vormen de coördinaten van de wijk het uitgangspunt.</a:t>
            </a:r>
          </a:p>
          <a:p>
            <a:endParaRPr lang="nl-NL" b="1" dirty="0"/>
          </a:p>
        </p:txBody>
      </p:sp>
      <p:sp>
        <p:nvSpPr>
          <p:cNvPr id="3" name="Titel 2"/>
          <p:cNvSpPr>
            <a:spLocks noGrp="1"/>
          </p:cNvSpPr>
          <p:nvPr>
            <p:ph type="title"/>
          </p:nvPr>
        </p:nvSpPr>
        <p:spPr/>
        <p:txBody>
          <a:bodyPr/>
          <a:lstStyle/>
          <a:p>
            <a:r>
              <a:rPr lang="nl-NL" dirty="0" err="1"/>
              <a:t>Mapbox</a:t>
            </a:r>
            <a:r>
              <a:rPr lang="nl-NL" dirty="0"/>
              <a:t> Algemeen</a:t>
            </a:r>
          </a:p>
        </p:txBody>
      </p:sp>
    </p:spTree>
    <p:extLst>
      <p:ext uri="{BB962C8B-B14F-4D97-AF65-F5344CB8AC3E}">
        <p14:creationId xmlns:p14="http://schemas.microsoft.com/office/powerpoint/2010/main" val="35905621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1440000" y="1412776"/>
            <a:ext cx="10152000" cy="1152128"/>
          </a:xfrm>
        </p:spPr>
        <p:txBody>
          <a:bodyPr/>
          <a:lstStyle/>
          <a:p>
            <a:r>
              <a:rPr lang="nl-NL" b="1" dirty="0"/>
              <a:t>Weergave projectfase</a:t>
            </a:r>
            <a:endParaRPr lang="nl-NL" dirty="0"/>
          </a:p>
          <a:p>
            <a:pPr marL="285750" lvl="0" indent="-285750">
              <a:buFont typeface="Arial" panose="020B0604020202020204" pitchFamily="34" charset="0"/>
              <a:buChar char="•"/>
            </a:pPr>
            <a:r>
              <a:rPr lang="nl-NL" b="1" i="1" dirty="0"/>
              <a:t>Voorbeeld in voorbereiding</a:t>
            </a:r>
            <a:r>
              <a:rPr lang="nl-NL" dirty="0"/>
              <a:t>: transparante laag, lichtgrijs label.</a:t>
            </a:r>
          </a:p>
        </p:txBody>
      </p:sp>
      <p:sp>
        <p:nvSpPr>
          <p:cNvPr id="3" name="Titel 2"/>
          <p:cNvSpPr>
            <a:spLocks noGrp="1"/>
          </p:cNvSpPr>
          <p:nvPr>
            <p:ph type="title"/>
          </p:nvPr>
        </p:nvSpPr>
        <p:spPr/>
        <p:txBody>
          <a:bodyPr/>
          <a:lstStyle/>
          <a:p>
            <a:r>
              <a:rPr lang="nl-NL" dirty="0"/>
              <a:t>Weergave op de website (7)</a:t>
            </a:r>
          </a:p>
        </p:txBody>
      </p:sp>
      <p:pic>
        <p:nvPicPr>
          <p:cNvPr id="6" name="Afbeelding 5">
            <a:extLst>
              <a:ext uri="{FF2B5EF4-FFF2-40B4-BE49-F238E27FC236}">
                <a16:creationId xmlns:a16="http://schemas.microsoft.com/office/drawing/2014/main" id="{A40EF771-77F2-4E24-B31E-10A9EC408146}"/>
              </a:ext>
            </a:extLst>
          </p:cNvPr>
          <p:cNvPicPr>
            <a:picLocks noChangeAspect="1"/>
          </p:cNvPicPr>
          <p:nvPr/>
        </p:nvPicPr>
        <p:blipFill>
          <a:blip r:embed="rId2"/>
          <a:stretch>
            <a:fillRect/>
          </a:stretch>
        </p:blipFill>
        <p:spPr>
          <a:xfrm>
            <a:off x="0" y="2564904"/>
            <a:ext cx="12195175" cy="4294076"/>
          </a:xfrm>
          <a:prstGeom prst="rect">
            <a:avLst/>
          </a:prstGeom>
        </p:spPr>
      </p:pic>
    </p:spTree>
    <p:extLst>
      <p:ext uri="{BB962C8B-B14F-4D97-AF65-F5344CB8AC3E}">
        <p14:creationId xmlns:p14="http://schemas.microsoft.com/office/powerpoint/2010/main" val="12431525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p:txBody>
          <a:bodyPr vert="horz" lIns="0" tIns="0" rIns="0" bIns="0" rtlCol="0" anchor="t">
            <a:noAutofit/>
          </a:bodyPr>
          <a:lstStyle/>
          <a:p>
            <a:r>
              <a:rPr lang="nl-NL" b="1" dirty="0"/>
              <a:t>Weergave woningtype</a:t>
            </a:r>
            <a:endParaRPr lang="nl-NL" dirty="0"/>
          </a:p>
          <a:p>
            <a:r>
              <a:rPr lang="nl-NL" dirty="0"/>
              <a:t>Een projectfase bestaat uit woningtypes. Deze woningtypes kun je intekenen op de kaart. </a:t>
            </a:r>
            <a:br>
              <a:rPr lang="nl-NL" i="1" dirty="0"/>
            </a:br>
            <a:br>
              <a:rPr lang="nl-NL" i="1" dirty="0"/>
            </a:br>
            <a:r>
              <a:rPr lang="nl-NL" dirty="0"/>
              <a:t>Een woningtype kan verschillende statussen hebben. </a:t>
            </a:r>
            <a:r>
              <a:rPr lang="nl-NL" dirty="0">
                <a:solidFill>
                  <a:srgbClr val="FF0000"/>
                </a:solidFill>
              </a:rPr>
              <a:t>De status van het woningtype wordt gebaseerd op de status van de </a:t>
            </a:r>
            <a:r>
              <a:rPr lang="nl-NL" u="sng" dirty="0">
                <a:solidFill>
                  <a:srgbClr val="FF0000"/>
                </a:solidFill>
              </a:rPr>
              <a:t>projectfase</a:t>
            </a:r>
            <a:r>
              <a:rPr lang="nl-NL" dirty="0">
                <a:solidFill>
                  <a:srgbClr val="FF0000"/>
                </a:solidFill>
              </a:rPr>
              <a:t> in Salesforce. </a:t>
            </a:r>
          </a:p>
          <a:p>
            <a:pPr marL="285750" lvl="0" indent="-285750">
              <a:buFont typeface="Arial" panose="020B0604020202020204" pitchFamily="34" charset="0"/>
              <a:buChar char="•"/>
            </a:pPr>
            <a:r>
              <a:rPr lang="nl-NL" dirty="0"/>
              <a:t>Salesforce &gt; </a:t>
            </a:r>
            <a:r>
              <a:rPr lang="nl-NL" i="1" dirty="0"/>
              <a:t>In voorbereiding</a:t>
            </a:r>
            <a:r>
              <a:rPr lang="nl-NL" dirty="0"/>
              <a:t> = </a:t>
            </a:r>
            <a:r>
              <a:rPr lang="nl-NL" i="1" dirty="0"/>
              <a:t>In voorbereiding</a:t>
            </a:r>
            <a:r>
              <a:rPr lang="nl-NL" dirty="0"/>
              <a:t>. </a:t>
            </a:r>
          </a:p>
          <a:p>
            <a:pPr marL="285750" lvl="0" indent="-285750">
              <a:buFont typeface="Arial" panose="020B0604020202020204" pitchFamily="34" charset="0"/>
              <a:buChar char="•"/>
            </a:pPr>
            <a:r>
              <a:rPr lang="nl-NL" dirty="0"/>
              <a:t>Salesforce &gt; </a:t>
            </a:r>
            <a:r>
              <a:rPr lang="nl-NL" i="1" dirty="0"/>
              <a:t>In verkoop</a:t>
            </a:r>
            <a:r>
              <a:rPr lang="nl-NL" dirty="0"/>
              <a:t> = </a:t>
            </a:r>
            <a:r>
              <a:rPr lang="nl-NL" i="1" dirty="0"/>
              <a:t>In verkoop</a:t>
            </a:r>
            <a:r>
              <a:rPr lang="nl-NL" dirty="0"/>
              <a:t>.</a:t>
            </a:r>
          </a:p>
          <a:p>
            <a:pPr marL="285750" lvl="0" indent="-285750">
              <a:buFont typeface="Arial" panose="020B0604020202020204" pitchFamily="34" charset="0"/>
              <a:buChar char="•"/>
            </a:pPr>
            <a:r>
              <a:rPr lang="nl-NL" dirty="0"/>
              <a:t>Salesforce &gt; </a:t>
            </a:r>
            <a:r>
              <a:rPr lang="nl-NL" i="1" dirty="0"/>
              <a:t>Verkocht</a:t>
            </a:r>
            <a:r>
              <a:rPr lang="nl-NL" dirty="0"/>
              <a:t> = </a:t>
            </a:r>
            <a:r>
              <a:rPr lang="nl-NL" i="1" dirty="0"/>
              <a:t>In aanbouw/bewoond</a:t>
            </a:r>
            <a:r>
              <a:rPr lang="nl-NL" dirty="0"/>
              <a:t>. </a:t>
            </a:r>
          </a:p>
          <a:p>
            <a:endParaRPr lang="nl-NL" dirty="0"/>
          </a:p>
          <a:p>
            <a:r>
              <a:rPr lang="nl-NL" dirty="0"/>
              <a:t>De woningtypes worden weergegeven van zoomniveau 17 tot en met 24. </a:t>
            </a:r>
          </a:p>
          <a:p>
            <a:pPr marL="285750" lvl="0" indent="-285750">
              <a:buFont typeface="Arial" panose="020B0604020202020204" pitchFamily="34" charset="0"/>
              <a:buChar char="•"/>
            </a:pPr>
            <a:r>
              <a:rPr lang="nl-NL" i="1" dirty="0"/>
              <a:t>In voorbereiding</a:t>
            </a:r>
            <a:r>
              <a:rPr lang="nl-NL" dirty="0"/>
              <a:t>: transparante laag. </a:t>
            </a:r>
          </a:p>
          <a:p>
            <a:pPr marL="285750" lvl="0" indent="-285750">
              <a:buFont typeface="Arial" panose="020B0604020202020204" pitchFamily="34" charset="0"/>
              <a:buChar char="•"/>
            </a:pPr>
            <a:r>
              <a:rPr lang="nl-NL" i="1" dirty="0"/>
              <a:t>In verkoop</a:t>
            </a:r>
            <a:r>
              <a:rPr lang="nl-NL" dirty="0"/>
              <a:t>: transparante laag. </a:t>
            </a:r>
          </a:p>
          <a:p>
            <a:pPr marL="285750" indent="-285750">
              <a:buFont typeface="Arial" panose="020B0604020202020204" pitchFamily="34" charset="0"/>
              <a:buChar char="•"/>
            </a:pPr>
            <a:r>
              <a:rPr lang="nl-NL" i="1" dirty="0">
                <a:latin typeface="Univers"/>
              </a:rPr>
              <a:t>In aanbouw/bewoond</a:t>
            </a:r>
            <a:r>
              <a:rPr lang="nl-NL">
                <a:latin typeface="Univers"/>
              </a:rPr>
              <a:t>: transparante paarse laag. </a:t>
            </a:r>
            <a:br>
              <a:rPr lang="nl-NL" dirty="0">
                <a:latin typeface="Univers"/>
              </a:rPr>
            </a:br>
            <a:endParaRPr lang="nl-NL"/>
          </a:p>
          <a:p>
            <a:pPr marL="285750" indent="-285750">
              <a:lnSpc>
                <a:spcPct val="113999"/>
              </a:lnSpc>
              <a:buChar char="•"/>
            </a:pPr>
            <a:endParaRPr lang="nl-NL" dirty="0"/>
          </a:p>
          <a:p>
            <a:pPr>
              <a:lnSpc>
                <a:spcPct val="113999"/>
              </a:lnSpc>
            </a:pPr>
            <a:r>
              <a:rPr lang="nl-NL"/>
              <a:t>Let op: wanneer je de bouwnummers van een woningtype intekent, wordt het ingetekende woningtype niet meer getoond.</a:t>
            </a:r>
          </a:p>
          <a:p>
            <a:endParaRPr lang="nl-NL" dirty="0"/>
          </a:p>
          <a:p>
            <a:endParaRPr lang="nl-NL" dirty="0"/>
          </a:p>
          <a:p>
            <a:br>
              <a:rPr lang="nl-NL" dirty="0"/>
            </a:br>
            <a:endParaRPr lang="nl-NL" dirty="0"/>
          </a:p>
          <a:p>
            <a:endParaRPr lang="nl-NL" dirty="0"/>
          </a:p>
          <a:p>
            <a:pPr marL="285750" lvl="0" indent="-285750">
              <a:buFont typeface="Arial" panose="020B0604020202020204" pitchFamily="34" charset="0"/>
              <a:buChar char="•"/>
            </a:pPr>
            <a:endParaRPr lang="nl-NL" dirty="0"/>
          </a:p>
        </p:txBody>
      </p:sp>
      <p:sp>
        <p:nvSpPr>
          <p:cNvPr id="3" name="Titel 2"/>
          <p:cNvSpPr>
            <a:spLocks noGrp="1"/>
          </p:cNvSpPr>
          <p:nvPr>
            <p:ph type="title"/>
          </p:nvPr>
        </p:nvSpPr>
        <p:spPr/>
        <p:txBody>
          <a:bodyPr/>
          <a:lstStyle/>
          <a:p>
            <a:r>
              <a:rPr lang="nl-NL" dirty="0"/>
              <a:t>Weergave op de website (8)</a:t>
            </a:r>
          </a:p>
        </p:txBody>
      </p:sp>
    </p:spTree>
    <p:extLst>
      <p:ext uri="{BB962C8B-B14F-4D97-AF65-F5344CB8AC3E}">
        <p14:creationId xmlns:p14="http://schemas.microsoft.com/office/powerpoint/2010/main" val="27611903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1440000" y="1340768"/>
            <a:ext cx="10152000" cy="1224136"/>
          </a:xfrm>
        </p:spPr>
        <p:txBody>
          <a:bodyPr/>
          <a:lstStyle/>
          <a:p>
            <a:r>
              <a:rPr lang="nl-NL" b="1" dirty="0"/>
              <a:t>Weergave woningtype </a:t>
            </a:r>
            <a:endParaRPr lang="nl-NL" dirty="0"/>
          </a:p>
          <a:p>
            <a:pPr marL="285750" lvl="0" indent="-285750">
              <a:buFont typeface="Arial" panose="020B0604020202020204" pitchFamily="34" charset="0"/>
              <a:buChar char="•"/>
            </a:pPr>
            <a:r>
              <a:rPr lang="nl-NL" b="1" i="1" dirty="0"/>
              <a:t>Voorbeeld in voorbereiding</a:t>
            </a:r>
            <a:r>
              <a:rPr lang="nl-NL" dirty="0"/>
              <a:t>: transparante laag, lichtgrijs label. Zwart omlijnd.</a:t>
            </a:r>
          </a:p>
        </p:txBody>
      </p:sp>
      <p:sp>
        <p:nvSpPr>
          <p:cNvPr id="3" name="Titel 2"/>
          <p:cNvSpPr>
            <a:spLocks noGrp="1"/>
          </p:cNvSpPr>
          <p:nvPr>
            <p:ph type="title"/>
          </p:nvPr>
        </p:nvSpPr>
        <p:spPr/>
        <p:txBody>
          <a:bodyPr/>
          <a:lstStyle/>
          <a:p>
            <a:r>
              <a:rPr lang="nl-NL" dirty="0"/>
              <a:t>Weergave op de website (9)</a:t>
            </a:r>
          </a:p>
        </p:txBody>
      </p:sp>
      <p:pic>
        <p:nvPicPr>
          <p:cNvPr id="6" name="Afbeelding 5">
            <a:extLst>
              <a:ext uri="{FF2B5EF4-FFF2-40B4-BE49-F238E27FC236}">
                <a16:creationId xmlns:a16="http://schemas.microsoft.com/office/drawing/2014/main" id="{1C14D63A-BE94-4F2E-B4DE-6B900CAE7441}"/>
              </a:ext>
            </a:extLst>
          </p:cNvPr>
          <p:cNvPicPr>
            <a:picLocks noChangeAspect="1"/>
          </p:cNvPicPr>
          <p:nvPr/>
        </p:nvPicPr>
        <p:blipFill>
          <a:blip r:embed="rId3"/>
          <a:stretch>
            <a:fillRect/>
          </a:stretch>
        </p:blipFill>
        <p:spPr>
          <a:xfrm>
            <a:off x="-1" y="1916832"/>
            <a:ext cx="12195175" cy="4941168"/>
          </a:xfrm>
          <a:prstGeom prst="rect">
            <a:avLst/>
          </a:prstGeom>
        </p:spPr>
      </p:pic>
    </p:spTree>
    <p:extLst>
      <p:ext uri="{BB962C8B-B14F-4D97-AF65-F5344CB8AC3E}">
        <p14:creationId xmlns:p14="http://schemas.microsoft.com/office/powerpoint/2010/main" val="10307115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nl-NL" dirty="0"/>
              <a:t>Weergave op de website (10)</a:t>
            </a:r>
          </a:p>
        </p:txBody>
      </p:sp>
      <p:sp>
        <p:nvSpPr>
          <p:cNvPr id="4" name="Tijdelijke aanduiding voor inhoud 3"/>
          <p:cNvSpPr>
            <a:spLocks noGrp="1"/>
          </p:cNvSpPr>
          <p:nvPr>
            <p:ph idx="1"/>
          </p:nvPr>
        </p:nvSpPr>
        <p:spPr>
          <a:xfrm>
            <a:off x="1440000" y="1772816"/>
            <a:ext cx="10152000" cy="4968552"/>
          </a:xfrm>
        </p:spPr>
        <p:txBody>
          <a:bodyPr/>
          <a:lstStyle/>
          <a:p>
            <a:r>
              <a:rPr lang="nl-NL" b="1" dirty="0"/>
              <a:t>Weergave bouwnummer</a:t>
            </a:r>
          </a:p>
          <a:p>
            <a:r>
              <a:rPr lang="nl-NL" dirty="0"/>
              <a:t>Een projectfase bestaat uit woningtypes met bouwnummers. Deze bouwnummers kun je intekenen op de kaart.  </a:t>
            </a:r>
          </a:p>
          <a:p>
            <a:r>
              <a:rPr lang="nl-NL" dirty="0"/>
              <a:t>Een bouwnummer kan verschillende statussen hebben. </a:t>
            </a:r>
            <a:r>
              <a:rPr lang="nl-NL" dirty="0">
                <a:solidFill>
                  <a:srgbClr val="FF0000"/>
                </a:solidFill>
              </a:rPr>
              <a:t>De status wordt gebaseerd op de Status van het bouwnummer in Salesforce. </a:t>
            </a:r>
          </a:p>
          <a:p>
            <a:endParaRPr lang="nl-NL" dirty="0">
              <a:solidFill>
                <a:srgbClr val="FF0000"/>
              </a:solidFill>
            </a:endParaRPr>
          </a:p>
          <a:p>
            <a:pPr marL="285750" indent="-285750">
              <a:buFont typeface="Arial" panose="020B0604020202020204" pitchFamily="34" charset="0"/>
              <a:buChar char="•"/>
            </a:pPr>
            <a:r>
              <a:rPr lang="nl-NL" dirty="0"/>
              <a:t>Salesforce &gt; </a:t>
            </a:r>
            <a:r>
              <a:rPr lang="nl-NL" i="1" dirty="0"/>
              <a:t>Vrij (projectfase In voorbereiding)</a:t>
            </a:r>
            <a:r>
              <a:rPr lang="nl-NL" dirty="0"/>
              <a:t> = </a:t>
            </a:r>
            <a:r>
              <a:rPr lang="nl-NL" i="1" dirty="0">
                <a:solidFill>
                  <a:srgbClr val="92D050"/>
                </a:solidFill>
              </a:rPr>
              <a:t>Vrij</a:t>
            </a:r>
            <a:r>
              <a:rPr lang="nl-NL" dirty="0"/>
              <a:t>.</a:t>
            </a:r>
          </a:p>
          <a:p>
            <a:pPr marL="285750" indent="-285750">
              <a:buFont typeface="Arial" panose="020B0604020202020204" pitchFamily="34" charset="0"/>
              <a:buChar char="•"/>
            </a:pPr>
            <a:r>
              <a:rPr lang="nl-NL" dirty="0"/>
              <a:t>Salesforce &gt; </a:t>
            </a:r>
            <a:r>
              <a:rPr lang="nl-NL" i="1" dirty="0"/>
              <a:t>Vrij (projectfase In verkoop)</a:t>
            </a:r>
            <a:r>
              <a:rPr lang="nl-NL" dirty="0"/>
              <a:t> = </a:t>
            </a:r>
            <a:r>
              <a:rPr lang="nl-NL" i="1" dirty="0">
                <a:solidFill>
                  <a:srgbClr val="92D050"/>
                </a:solidFill>
              </a:rPr>
              <a:t>Vrij</a:t>
            </a:r>
            <a:r>
              <a:rPr lang="nl-NL" dirty="0"/>
              <a:t>.</a:t>
            </a:r>
          </a:p>
          <a:p>
            <a:pPr marL="285750" indent="-285750">
              <a:buFont typeface="Arial" panose="020B0604020202020204" pitchFamily="34" charset="0"/>
              <a:buChar char="•"/>
            </a:pPr>
            <a:r>
              <a:rPr lang="nl-NL" dirty="0"/>
              <a:t>Salesforce &gt; </a:t>
            </a:r>
            <a:r>
              <a:rPr lang="nl-NL" i="1" dirty="0"/>
              <a:t>In optie</a:t>
            </a:r>
            <a:r>
              <a:rPr lang="nl-NL" dirty="0"/>
              <a:t> = </a:t>
            </a:r>
            <a:r>
              <a:rPr lang="nl-NL" i="1" dirty="0">
                <a:solidFill>
                  <a:srgbClr val="FA9002"/>
                </a:solidFill>
              </a:rPr>
              <a:t>Optie</a:t>
            </a:r>
            <a:r>
              <a:rPr lang="nl-NL" dirty="0"/>
              <a:t>.</a:t>
            </a:r>
          </a:p>
          <a:p>
            <a:pPr marL="285750" indent="-285750">
              <a:buFont typeface="Arial" panose="020B0604020202020204" pitchFamily="34" charset="0"/>
              <a:buChar char="•"/>
            </a:pPr>
            <a:r>
              <a:rPr lang="nl-NL" dirty="0"/>
              <a:t>Salesforce &gt; </a:t>
            </a:r>
            <a:r>
              <a:rPr lang="nl-NL" i="1" dirty="0"/>
              <a:t>Verkocht</a:t>
            </a:r>
            <a:r>
              <a:rPr lang="nl-NL" dirty="0"/>
              <a:t> </a:t>
            </a:r>
            <a:r>
              <a:rPr lang="nl-NL" i="1" dirty="0"/>
              <a:t>(projectfase In verkoop) </a:t>
            </a:r>
            <a:r>
              <a:rPr lang="nl-NL" dirty="0"/>
              <a:t>= </a:t>
            </a:r>
            <a:r>
              <a:rPr lang="nl-NL" i="1" dirty="0">
                <a:solidFill>
                  <a:srgbClr val="FF0000"/>
                </a:solidFill>
              </a:rPr>
              <a:t>Verkocht</a:t>
            </a:r>
            <a:r>
              <a:rPr lang="nl-NL" dirty="0"/>
              <a:t>.</a:t>
            </a:r>
          </a:p>
          <a:p>
            <a:pPr marL="285750" indent="-285750">
              <a:buFont typeface="Arial" panose="020B0604020202020204" pitchFamily="34" charset="0"/>
              <a:buChar char="•"/>
            </a:pPr>
            <a:r>
              <a:rPr lang="nl-NL" dirty="0"/>
              <a:t>Salesforce &gt; </a:t>
            </a:r>
            <a:r>
              <a:rPr lang="nl-NL" i="1" dirty="0"/>
              <a:t>Verkocht (projectfase Verkocht)</a:t>
            </a:r>
            <a:r>
              <a:rPr lang="nl-NL" dirty="0"/>
              <a:t> = </a:t>
            </a:r>
            <a:r>
              <a:rPr lang="nl-NL" i="1" dirty="0">
                <a:solidFill>
                  <a:srgbClr val="C54B6F"/>
                </a:solidFill>
              </a:rPr>
              <a:t>In aanbouw/bewoond</a:t>
            </a:r>
            <a:r>
              <a:rPr lang="nl-NL" dirty="0"/>
              <a:t>.</a:t>
            </a:r>
          </a:p>
          <a:p>
            <a:pPr>
              <a:lnSpc>
                <a:spcPct val="100000"/>
              </a:lnSpc>
            </a:pPr>
            <a:r>
              <a:rPr lang="nl-NL" dirty="0"/>
              <a:t> </a:t>
            </a:r>
          </a:p>
          <a:p>
            <a:r>
              <a:rPr lang="nl-NL" dirty="0"/>
              <a:t>De bouwnummers worden weergegeven van zoomniveau 17 tot en met 24.</a:t>
            </a:r>
          </a:p>
          <a:p>
            <a:pPr>
              <a:lnSpc>
                <a:spcPct val="100000"/>
              </a:lnSpc>
            </a:pPr>
            <a:r>
              <a:rPr lang="nl-NL" dirty="0"/>
              <a:t> </a:t>
            </a:r>
          </a:p>
        </p:txBody>
      </p:sp>
    </p:spTree>
    <p:extLst>
      <p:ext uri="{BB962C8B-B14F-4D97-AF65-F5344CB8AC3E}">
        <p14:creationId xmlns:p14="http://schemas.microsoft.com/office/powerpoint/2010/main" val="328863959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467540" y="1340768"/>
            <a:ext cx="5508723" cy="1224136"/>
          </a:xfrm>
        </p:spPr>
        <p:txBody>
          <a:bodyPr/>
          <a:lstStyle/>
          <a:p>
            <a:r>
              <a:rPr lang="nl-NL" b="1" dirty="0"/>
              <a:t>Weergave bouwnummer zoomniveau 17</a:t>
            </a:r>
            <a:endParaRPr lang="nl-NL" dirty="0"/>
          </a:p>
          <a:p>
            <a:endParaRPr lang="nl-NL" b="1" dirty="0"/>
          </a:p>
          <a:p>
            <a:pPr marL="285750" lvl="0" indent="-285750">
              <a:buFont typeface="Arial" panose="020B0604020202020204" pitchFamily="34" charset="0"/>
              <a:buChar char="•"/>
            </a:pPr>
            <a:r>
              <a:rPr lang="nl-NL" i="1" dirty="0"/>
              <a:t>Vrij</a:t>
            </a:r>
            <a:r>
              <a:rPr lang="nl-NL" dirty="0"/>
              <a:t>: groene kleur, witte omlijning.</a:t>
            </a:r>
          </a:p>
          <a:p>
            <a:pPr marL="285750" lvl="0" indent="-285750">
              <a:buFont typeface="Arial" panose="020B0604020202020204" pitchFamily="34" charset="0"/>
              <a:buChar char="•"/>
            </a:pPr>
            <a:r>
              <a:rPr lang="nl-NL" i="1" dirty="0"/>
              <a:t>Optie</a:t>
            </a:r>
            <a:r>
              <a:rPr lang="nl-NL" dirty="0"/>
              <a:t>: oranje kleur, witte omlijning.</a:t>
            </a:r>
          </a:p>
          <a:p>
            <a:pPr marL="285750" lvl="0" indent="-285750">
              <a:buFont typeface="Arial" panose="020B0604020202020204" pitchFamily="34" charset="0"/>
              <a:buChar char="•"/>
            </a:pPr>
            <a:r>
              <a:rPr lang="nl-NL" i="1" dirty="0"/>
              <a:t>Verkocht</a:t>
            </a:r>
            <a:r>
              <a:rPr lang="nl-NL" dirty="0"/>
              <a:t>: rode kleur, witte omlijning.</a:t>
            </a:r>
          </a:p>
          <a:p>
            <a:pPr marL="285750" lvl="0" indent="-285750">
              <a:buFont typeface="Arial" panose="020B0604020202020204" pitchFamily="34" charset="0"/>
              <a:buChar char="•"/>
            </a:pPr>
            <a:r>
              <a:rPr lang="nl-NL" i="1" dirty="0"/>
              <a:t>In aanbouw/bewoond</a:t>
            </a:r>
            <a:r>
              <a:rPr lang="nl-NL" dirty="0"/>
              <a:t>: paarse kleur, zwarte omlijning. </a:t>
            </a:r>
          </a:p>
        </p:txBody>
      </p:sp>
      <p:sp>
        <p:nvSpPr>
          <p:cNvPr id="3" name="Titel 2"/>
          <p:cNvSpPr>
            <a:spLocks noGrp="1"/>
          </p:cNvSpPr>
          <p:nvPr>
            <p:ph type="title"/>
          </p:nvPr>
        </p:nvSpPr>
        <p:spPr/>
        <p:txBody>
          <a:bodyPr/>
          <a:lstStyle/>
          <a:p>
            <a:r>
              <a:rPr lang="nl-NL" dirty="0"/>
              <a:t>Weergave op de website (11)</a:t>
            </a:r>
          </a:p>
        </p:txBody>
      </p:sp>
      <p:pic>
        <p:nvPicPr>
          <p:cNvPr id="6" name="Afbeelding 5">
            <a:extLst>
              <a:ext uri="{FF2B5EF4-FFF2-40B4-BE49-F238E27FC236}">
                <a16:creationId xmlns:a16="http://schemas.microsoft.com/office/drawing/2014/main" id="{9D7AE736-BE3F-4EF1-B289-546CBE70571C}"/>
              </a:ext>
            </a:extLst>
          </p:cNvPr>
          <p:cNvPicPr>
            <a:picLocks noChangeAspect="1"/>
          </p:cNvPicPr>
          <p:nvPr/>
        </p:nvPicPr>
        <p:blipFill>
          <a:blip r:embed="rId2"/>
          <a:stretch>
            <a:fillRect/>
          </a:stretch>
        </p:blipFill>
        <p:spPr>
          <a:xfrm>
            <a:off x="-10961" y="3212976"/>
            <a:ext cx="12195175" cy="3810055"/>
          </a:xfrm>
          <a:prstGeom prst="rect">
            <a:avLst/>
          </a:prstGeom>
        </p:spPr>
      </p:pic>
    </p:spTree>
    <p:extLst>
      <p:ext uri="{BB962C8B-B14F-4D97-AF65-F5344CB8AC3E}">
        <p14:creationId xmlns:p14="http://schemas.microsoft.com/office/powerpoint/2010/main" val="339473807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idx="1000"/>
          </p:nvPr>
        </p:nvSpPr>
        <p:spPr/>
        <p:txBody>
          <a:bodyPr/>
          <a:lstStyle/>
          <a:p>
            <a:endParaRPr lang="nl-NL" dirty="0"/>
          </a:p>
        </p:txBody>
      </p:sp>
      <p:sp>
        <p:nvSpPr>
          <p:cNvPr id="4" name="Tijdelijke aanduiding voor tekst 3"/>
          <p:cNvSpPr>
            <a:spLocks noGrp="1"/>
          </p:cNvSpPr>
          <p:nvPr>
            <p:ph type="body" idx="1001"/>
          </p:nvPr>
        </p:nvSpPr>
        <p:spPr/>
        <p:txBody>
          <a:bodyPr/>
          <a:lstStyle/>
          <a:p>
            <a:endParaRPr lang="nl-NL"/>
          </a:p>
        </p:txBody>
      </p:sp>
      <p:sp>
        <p:nvSpPr>
          <p:cNvPr id="5" name="Tijdelijke aanduiding voor tekst 4"/>
          <p:cNvSpPr>
            <a:spLocks noGrp="1"/>
          </p:cNvSpPr>
          <p:nvPr>
            <p:ph type="body" idx="1003"/>
          </p:nvPr>
        </p:nvSpPr>
        <p:spPr/>
        <p:txBody>
          <a:bodyPr/>
          <a:lstStyle/>
          <a:p>
            <a:endParaRPr lang="nl-NL"/>
          </a:p>
        </p:txBody>
      </p:sp>
      <p:sp>
        <p:nvSpPr>
          <p:cNvPr id="6" name="Tijdelijke aanduiding voor tekst 5"/>
          <p:cNvSpPr>
            <a:spLocks noGrp="1"/>
          </p:cNvSpPr>
          <p:nvPr>
            <p:ph type="body" idx="1002"/>
          </p:nvPr>
        </p:nvSpPr>
        <p:spPr/>
        <p:txBody>
          <a:bodyPr/>
          <a:lstStyle/>
          <a:p>
            <a:endParaRPr lang="nl-NL"/>
          </a:p>
        </p:txBody>
      </p:sp>
      <p:sp>
        <p:nvSpPr>
          <p:cNvPr id="7" name="Tijdelijke aanduiding voor tekst 6"/>
          <p:cNvSpPr>
            <a:spLocks noGrp="1"/>
          </p:cNvSpPr>
          <p:nvPr>
            <p:ph type="body" sz="quarter" idx="14"/>
          </p:nvPr>
        </p:nvSpPr>
        <p:spPr/>
        <p:txBody>
          <a:bodyPr/>
          <a:lstStyle/>
          <a:p>
            <a:r>
              <a:rPr lang="nl-NL" dirty="0"/>
              <a:t>Infobox </a:t>
            </a:r>
            <a:r>
              <a:rPr lang="nl-NL" dirty="0" err="1"/>
              <a:t>mapbox</a:t>
            </a:r>
            <a:endParaRPr lang="nl-NL" dirty="0"/>
          </a:p>
        </p:txBody>
      </p:sp>
    </p:spTree>
    <p:extLst>
      <p:ext uri="{BB962C8B-B14F-4D97-AF65-F5344CB8AC3E}">
        <p14:creationId xmlns:p14="http://schemas.microsoft.com/office/powerpoint/2010/main" val="1778729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1440000" y="1305080"/>
            <a:ext cx="10152000" cy="1280749"/>
          </a:xfrm>
        </p:spPr>
        <p:txBody>
          <a:bodyPr/>
          <a:lstStyle/>
          <a:p>
            <a:r>
              <a:rPr lang="nl-NL" b="1" dirty="0"/>
              <a:t>Infobox wijk</a:t>
            </a:r>
          </a:p>
          <a:p>
            <a:pPr marL="285750" lvl="0" indent="-285750">
              <a:buFont typeface="Arial" panose="020B0604020202020204" pitchFamily="34" charset="0"/>
              <a:buChar char="•"/>
            </a:pPr>
            <a:r>
              <a:rPr lang="nl-NL" dirty="0"/>
              <a:t>Afbeelding = afbeelding wijk bij instellingen (</a:t>
            </a:r>
            <a:r>
              <a:rPr lang="nl-NL" dirty="0" err="1"/>
              <a:t>Umbraco</a:t>
            </a:r>
            <a:r>
              <a:rPr lang="nl-NL" dirty="0"/>
              <a:t>)</a:t>
            </a:r>
          </a:p>
          <a:p>
            <a:pPr marL="285750" lvl="0" indent="-285750">
              <a:buFont typeface="Arial" panose="020B0604020202020204" pitchFamily="34" charset="0"/>
              <a:buChar char="•"/>
            </a:pPr>
            <a:r>
              <a:rPr lang="nl-NL" dirty="0"/>
              <a:t>Naam = Wijk name Salesforce</a:t>
            </a:r>
          </a:p>
          <a:p>
            <a:pPr marL="285750" lvl="0" indent="-285750">
              <a:buFont typeface="Arial" panose="020B0604020202020204" pitchFamily="34" charset="0"/>
              <a:buChar char="•"/>
            </a:pPr>
            <a:r>
              <a:rPr lang="nl-NL" dirty="0"/>
              <a:t>Tekst = Salesforce, wijkdetails -&gt; inspirerende tekst website titel</a:t>
            </a:r>
          </a:p>
          <a:p>
            <a:pPr marL="285750" lvl="0" indent="-285750">
              <a:buFont typeface="Arial" panose="020B0604020202020204" pitchFamily="34" charset="0"/>
              <a:buChar char="•"/>
            </a:pPr>
            <a:r>
              <a:rPr lang="nl-NL" dirty="0"/>
              <a:t>CTA = Bekijk details -&gt; alleen actief bij gebiedssite -&gt; geen CTA bij projectsite</a:t>
            </a:r>
          </a:p>
          <a:p>
            <a:endParaRPr lang="nl-NL" dirty="0"/>
          </a:p>
          <a:p>
            <a:pPr marL="285750" lvl="0" indent="-285750">
              <a:buFont typeface="Arial" panose="020B0604020202020204" pitchFamily="34" charset="0"/>
              <a:buChar char="•"/>
            </a:pPr>
            <a:endParaRPr lang="nl-NL" dirty="0"/>
          </a:p>
        </p:txBody>
      </p:sp>
      <p:sp>
        <p:nvSpPr>
          <p:cNvPr id="3" name="Titel 2"/>
          <p:cNvSpPr>
            <a:spLocks noGrp="1"/>
          </p:cNvSpPr>
          <p:nvPr>
            <p:ph type="title"/>
          </p:nvPr>
        </p:nvSpPr>
        <p:spPr/>
        <p:txBody>
          <a:bodyPr/>
          <a:lstStyle/>
          <a:p>
            <a:r>
              <a:rPr lang="nl-NL" dirty="0"/>
              <a:t>Infobox </a:t>
            </a:r>
            <a:r>
              <a:rPr lang="nl-NL" dirty="0" err="1"/>
              <a:t>mapbox</a:t>
            </a:r>
            <a:r>
              <a:rPr lang="nl-NL" dirty="0"/>
              <a:t> (1)</a:t>
            </a:r>
          </a:p>
        </p:txBody>
      </p:sp>
      <p:pic>
        <p:nvPicPr>
          <p:cNvPr id="5" name="Afbeelding 4">
            <a:extLst>
              <a:ext uri="{FF2B5EF4-FFF2-40B4-BE49-F238E27FC236}">
                <a16:creationId xmlns:a16="http://schemas.microsoft.com/office/drawing/2014/main" id="{19648788-07AF-4DEC-BF74-3B00ACAE97DE}"/>
              </a:ext>
            </a:extLst>
          </p:cNvPr>
          <p:cNvPicPr>
            <a:picLocks noChangeAspect="1"/>
          </p:cNvPicPr>
          <p:nvPr/>
        </p:nvPicPr>
        <p:blipFill>
          <a:blip r:embed="rId3"/>
          <a:stretch>
            <a:fillRect/>
          </a:stretch>
        </p:blipFill>
        <p:spPr>
          <a:xfrm>
            <a:off x="0" y="2661067"/>
            <a:ext cx="2725115" cy="4196933"/>
          </a:xfrm>
          <a:prstGeom prst="rect">
            <a:avLst/>
          </a:prstGeom>
        </p:spPr>
      </p:pic>
      <p:pic>
        <p:nvPicPr>
          <p:cNvPr id="15" name="Afbeelding 14">
            <a:extLst>
              <a:ext uri="{FF2B5EF4-FFF2-40B4-BE49-F238E27FC236}">
                <a16:creationId xmlns:a16="http://schemas.microsoft.com/office/drawing/2014/main" id="{8376D383-C13A-445C-84CF-F9F92AA50568}"/>
              </a:ext>
            </a:extLst>
          </p:cNvPr>
          <p:cNvPicPr>
            <a:picLocks noChangeAspect="1"/>
          </p:cNvPicPr>
          <p:nvPr/>
        </p:nvPicPr>
        <p:blipFill>
          <a:blip r:embed="rId4"/>
          <a:stretch>
            <a:fillRect/>
          </a:stretch>
        </p:blipFill>
        <p:spPr>
          <a:xfrm>
            <a:off x="8185819" y="2776862"/>
            <a:ext cx="3865189" cy="3856494"/>
          </a:xfrm>
          <a:prstGeom prst="rect">
            <a:avLst/>
          </a:prstGeom>
        </p:spPr>
      </p:pic>
      <p:pic>
        <p:nvPicPr>
          <p:cNvPr id="18" name="Afbeelding 17">
            <a:extLst>
              <a:ext uri="{FF2B5EF4-FFF2-40B4-BE49-F238E27FC236}">
                <a16:creationId xmlns:a16="http://schemas.microsoft.com/office/drawing/2014/main" id="{C05554E2-2307-49F1-BDAE-24EFD01E5C7E}"/>
              </a:ext>
            </a:extLst>
          </p:cNvPr>
          <p:cNvPicPr>
            <a:picLocks noChangeAspect="1"/>
          </p:cNvPicPr>
          <p:nvPr/>
        </p:nvPicPr>
        <p:blipFill>
          <a:blip r:embed="rId5"/>
          <a:stretch>
            <a:fillRect/>
          </a:stretch>
        </p:blipFill>
        <p:spPr>
          <a:xfrm>
            <a:off x="3613311" y="2661067"/>
            <a:ext cx="3708412" cy="4046349"/>
          </a:xfrm>
          <a:prstGeom prst="rect">
            <a:avLst/>
          </a:prstGeom>
        </p:spPr>
      </p:pic>
      <p:cxnSp>
        <p:nvCxnSpPr>
          <p:cNvPr id="12" name="Rechte verbindingslijn met pijl 11"/>
          <p:cNvCxnSpPr>
            <a:cxnSpLocks/>
          </p:cNvCxnSpPr>
          <p:nvPr/>
        </p:nvCxnSpPr>
        <p:spPr>
          <a:xfrm>
            <a:off x="1777107" y="3588411"/>
            <a:ext cx="2594249" cy="20728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Rechte verbindingslijn met pijl 13"/>
          <p:cNvCxnSpPr>
            <a:cxnSpLocks/>
          </p:cNvCxnSpPr>
          <p:nvPr/>
        </p:nvCxnSpPr>
        <p:spPr>
          <a:xfrm>
            <a:off x="1921123" y="4509120"/>
            <a:ext cx="6315422" cy="18673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113392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Afbeelding 19">
            <a:extLst>
              <a:ext uri="{FF2B5EF4-FFF2-40B4-BE49-F238E27FC236}">
                <a16:creationId xmlns:a16="http://schemas.microsoft.com/office/drawing/2014/main" id="{C54DB1DE-D1B1-460E-88D8-69A3D20B32FD}"/>
              </a:ext>
            </a:extLst>
          </p:cNvPr>
          <p:cNvPicPr>
            <a:picLocks noChangeAspect="1"/>
          </p:cNvPicPr>
          <p:nvPr/>
        </p:nvPicPr>
        <p:blipFill>
          <a:blip r:embed="rId2"/>
          <a:stretch>
            <a:fillRect/>
          </a:stretch>
        </p:blipFill>
        <p:spPr>
          <a:xfrm>
            <a:off x="7969795" y="5594313"/>
            <a:ext cx="2390775" cy="790575"/>
          </a:xfrm>
          <a:prstGeom prst="rect">
            <a:avLst/>
          </a:prstGeom>
        </p:spPr>
      </p:pic>
      <p:pic>
        <p:nvPicPr>
          <p:cNvPr id="12" name="Afbeelding 11">
            <a:extLst>
              <a:ext uri="{FF2B5EF4-FFF2-40B4-BE49-F238E27FC236}">
                <a16:creationId xmlns:a16="http://schemas.microsoft.com/office/drawing/2014/main" id="{B0F764F1-7171-4C3F-87F0-0ACA8A399C05}"/>
              </a:ext>
            </a:extLst>
          </p:cNvPr>
          <p:cNvPicPr>
            <a:picLocks noChangeAspect="1"/>
          </p:cNvPicPr>
          <p:nvPr/>
        </p:nvPicPr>
        <p:blipFill>
          <a:blip r:embed="rId3"/>
          <a:stretch>
            <a:fillRect/>
          </a:stretch>
        </p:blipFill>
        <p:spPr>
          <a:xfrm>
            <a:off x="159556" y="3111701"/>
            <a:ext cx="2480147" cy="3678779"/>
          </a:xfrm>
          <a:prstGeom prst="rect">
            <a:avLst/>
          </a:prstGeom>
        </p:spPr>
      </p:pic>
      <p:pic>
        <p:nvPicPr>
          <p:cNvPr id="5" name="Afbeelding 4">
            <a:extLst>
              <a:ext uri="{FF2B5EF4-FFF2-40B4-BE49-F238E27FC236}">
                <a16:creationId xmlns:a16="http://schemas.microsoft.com/office/drawing/2014/main" id="{B3F7B5E2-49A1-4BB4-87A1-DF581F4C547E}"/>
              </a:ext>
            </a:extLst>
          </p:cNvPr>
          <p:cNvPicPr>
            <a:picLocks noChangeAspect="1"/>
          </p:cNvPicPr>
          <p:nvPr/>
        </p:nvPicPr>
        <p:blipFill>
          <a:blip r:embed="rId4"/>
          <a:stretch>
            <a:fillRect/>
          </a:stretch>
        </p:blipFill>
        <p:spPr>
          <a:xfrm>
            <a:off x="3099514" y="4581128"/>
            <a:ext cx="4221131" cy="1911328"/>
          </a:xfrm>
          <a:prstGeom prst="rect">
            <a:avLst/>
          </a:prstGeom>
        </p:spPr>
      </p:pic>
      <p:sp>
        <p:nvSpPr>
          <p:cNvPr id="2" name="Tijdelijke aanduiding voor inhoud 1"/>
          <p:cNvSpPr>
            <a:spLocks noGrp="1"/>
          </p:cNvSpPr>
          <p:nvPr>
            <p:ph idx="1"/>
          </p:nvPr>
        </p:nvSpPr>
        <p:spPr>
          <a:xfrm>
            <a:off x="1440000" y="1196752"/>
            <a:ext cx="10152000" cy="1654043"/>
          </a:xfrm>
        </p:spPr>
        <p:txBody>
          <a:bodyPr/>
          <a:lstStyle/>
          <a:p>
            <a:r>
              <a:rPr lang="nl-NL" b="1" dirty="0"/>
              <a:t>Infobox projectfase</a:t>
            </a:r>
          </a:p>
          <a:p>
            <a:pPr marL="285750" lvl="0" indent="-285750">
              <a:buFont typeface="Arial" panose="020B0604020202020204" pitchFamily="34" charset="0"/>
              <a:buChar char="•"/>
            </a:pPr>
            <a:r>
              <a:rPr lang="nl-NL" dirty="0"/>
              <a:t>Afbeelding = vinkje projectafbeelding (mediabank </a:t>
            </a:r>
            <a:r>
              <a:rPr lang="nl-NL" dirty="0" err="1"/>
              <a:t>Umbraco</a:t>
            </a:r>
            <a:r>
              <a:rPr lang="nl-NL" dirty="0"/>
              <a:t> - map projecten)</a:t>
            </a:r>
          </a:p>
          <a:p>
            <a:pPr marL="285750" lvl="0" indent="-285750">
              <a:buFont typeface="Arial" panose="020B0604020202020204" pitchFamily="34" charset="0"/>
              <a:buChar char="•"/>
            </a:pPr>
            <a:r>
              <a:rPr lang="nl-NL" dirty="0"/>
              <a:t>Naam = Projectnaam (SF Details), tenzij overschreven door 'Weergave project(fase) website' (SF Content Website – Details van Project)</a:t>
            </a:r>
          </a:p>
          <a:p>
            <a:pPr marL="285750" lvl="0" indent="-285750">
              <a:buFont typeface="Arial" panose="020B0604020202020204" pitchFamily="34" charset="0"/>
              <a:buChar char="•"/>
            </a:pPr>
            <a:r>
              <a:rPr lang="nl-NL" dirty="0"/>
              <a:t>Tekst = 'korte omschrijving' (SF Projectdetails Websites BPD)</a:t>
            </a:r>
          </a:p>
          <a:p>
            <a:pPr marL="285750" lvl="0" indent="-285750">
              <a:buFont typeface="Arial" panose="020B0604020202020204" pitchFamily="34" charset="0"/>
              <a:buChar char="•"/>
            </a:pPr>
            <a:r>
              <a:rPr lang="nl-NL" dirty="0"/>
              <a:t>CTA = geen</a:t>
            </a:r>
          </a:p>
          <a:p>
            <a:endParaRPr lang="nl-NL" dirty="0"/>
          </a:p>
          <a:p>
            <a:pPr marL="285750" lvl="0" indent="-285750">
              <a:buFont typeface="Arial" panose="020B0604020202020204" pitchFamily="34" charset="0"/>
              <a:buChar char="•"/>
            </a:pPr>
            <a:endParaRPr lang="nl-NL" dirty="0"/>
          </a:p>
        </p:txBody>
      </p:sp>
      <p:sp>
        <p:nvSpPr>
          <p:cNvPr id="3" name="Titel 2"/>
          <p:cNvSpPr>
            <a:spLocks noGrp="1"/>
          </p:cNvSpPr>
          <p:nvPr>
            <p:ph type="title"/>
          </p:nvPr>
        </p:nvSpPr>
        <p:spPr/>
        <p:txBody>
          <a:bodyPr/>
          <a:lstStyle/>
          <a:p>
            <a:r>
              <a:rPr lang="nl-NL" dirty="0"/>
              <a:t>Infobox </a:t>
            </a:r>
            <a:r>
              <a:rPr lang="nl-NL" dirty="0" err="1"/>
              <a:t>mapbox</a:t>
            </a:r>
            <a:r>
              <a:rPr lang="nl-NL" dirty="0"/>
              <a:t> (2)</a:t>
            </a:r>
          </a:p>
        </p:txBody>
      </p:sp>
      <p:cxnSp>
        <p:nvCxnSpPr>
          <p:cNvPr id="19" name="Rechte verbindingslijn met pijl 18"/>
          <p:cNvCxnSpPr>
            <a:cxnSpLocks/>
          </p:cNvCxnSpPr>
          <p:nvPr/>
        </p:nvCxnSpPr>
        <p:spPr>
          <a:xfrm>
            <a:off x="2137147" y="5157192"/>
            <a:ext cx="2304256" cy="108012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2" name="Afbeelding 21">
            <a:extLst>
              <a:ext uri="{FF2B5EF4-FFF2-40B4-BE49-F238E27FC236}">
                <a16:creationId xmlns:a16="http://schemas.microsoft.com/office/drawing/2014/main" id="{EAC44060-7F99-4DE6-AD18-0A9174E6AA5A}"/>
              </a:ext>
            </a:extLst>
          </p:cNvPr>
          <p:cNvPicPr>
            <a:picLocks noChangeAspect="1"/>
          </p:cNvPicPr>
          <p:nvPr/>
        </p:nvPicPr>
        <p:blipFill>
          <a:blip r:embed="rId5"/>
          <a:stretch>
            <a:fillRect/>
          </a:stretch>
        </p:blipFill>
        <p:spPr>
          <a:xfrm>
            <a:off x="8062541" y="2818059"/>
            <a:ext cx="3299357" cy="2843189"/>
          </a:xfrm>
          <a:prstGeom prst="rect">
            <a:avLst/>
          </a:prstGeom>
        </p:spPr>
      </p:pic>
      <p:cxnSp>
        <p:nvCxnSpPr>
          <p:cNvPr id="24" name="Rechte verbindingslijn met pijl 23">
            <a:extLst>
              <a:ext uri="{FF2B5EF4-FFF2-40B4-BE49-F238E27FC236}">
                <a16:creationId xmlns:a16="http://schemas.microsoft.com/office/drawing/2014/main" id="{9C29DD9C-F90D-464A-A77B-8290B09754E7}"/>
              </a:ext>
            </a:extLst>
          </p:cNvPr>
          <p:cNvCxnSpPr/>
          <p:nvPr/>
        </p:nvCxnSpPr>
        <p:spPr>
          <a:xfrm>
            <a:off x="2281163" y="3933056"/>
            <a:ext cx="6048672"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867007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1193459" y="1232122"/>
            <a:ext cx="10152000" cy="1601866"/>
          </a:xfrm>
        </p:spPr>
        <p:txBody>
          <a:bodyPr/>
          <a:lstStyle/>
          <a:p>
            <a:r>
              <a:rPr lang="nl-NL" b="1" dirty="0"/>
              <a:t>Infobox woningtype</a:t>
            </a:r>
          </a:p>
          <a:p>
            <a:pPr marL="285750" lvl="0" indent="-285750">
              <a:buFont typeface="Arial" panose="020B0604020202020204" pitchFamily="34" charset="0"/>
              <a:buChar char="•"/>
            </a:pPr>
            <a:r>
              <a:rPr lang="nl-NL" dirty="0"/>
              <a:t>Afbeelding = vinkje hoofdafbeelding woningtype (mediabank </a:t>
            </a:r>
            <a:r>
              <a:rPr lang="nl-NL" dirty="0" err="1"/>
              <a:t>Umbraco</a:t>
            </a:r>
            <a:r>
              <a:rPr lang="nl-NL" dirty="0"/>
              <a:t> - map projecten)</a:t>
            </a:r>
          </a:p>
          <a:p>
            <a:pPr marL="285750" indent="-285750">
              <a:buFont typeface="Arial" panose="020B0604020202020204" pitchFamily="34" charset="0"/>
              <a:buChar char="•"/>
            </a:pPr>
            <a:r>
              <a:rPr lang="nl-NL" dirty="0"/>
              <a:t>Naam = Naam Woningtype (SF Details Woningtype + Projectnaam (SF Details Project)</a:t>
            </a:r>
          </a:p>
          <a:p>
            <a:pPr marL="285750" lvl="0" indent="-285750">
              <a:buFont typeface="Arial" panose="020B0604020202020204" pitchFamily="34" charset="0"/>
              <a:buChar char="•"/>
            </a:pPr>
            <a:r>
              <a:rPr lang="nl-NL" dirty="0"/>
              <a:t>Status = Status (SF Details Project)</a:t>
            </a:r>
          </a:p>
          <a:p>
            <a:pPr marL="285750" lvl="0" indent="-285750">
              <a:buFont typeface="Arial" panose="020B0604020202020204" pitchFamily="34" charset="0"/>
              <a:buChar char="•"/>
            </a:pPr>
            <a:r>
              <a:rPr lang="nl-NL" dirty="0"/>
              <a:t>Kenmerken = Woningtype specificaties </a:t>
            </a:r>
          </a:p>
          <a:p>
            <a:pPr marL="285750" lvl="0" indent="-285750">
              <a:buFont typeface="Arial" panose="020B0604020202020204" pitchFamily="34" charset="0"/>
              <a:buChar char="•"/>
            </a:pPr>
            <a:r>
              <a:rPr lang="nl-NL" dirty="0"/>
              <a:t>CTA = Bekijk details</a:t>
            </a:r>
          </a:p>
          <a:p>
            <a:pPr marL="285750" lvl="0" indent="-285750">
              <a:buFont typeface="Arial" panose="020B0604020202020204" pitchFamily="34" charset="0"/>
              <a:buChar char="•"/>
            </a:pPr>
            <a:endParaRPr lang="nl-NL" dirty="0"/>
          </a:p>
        </p:txBody>
      </p:sp>
      <p:sp>
        <p:nvSpPr>
          <p:cNvPr id="3" name="Titel 2"/>
          <p:cNvSpPr>
            <a:spLocks noGrp="1"/>
          </p:cNvSpPr>
          <p:nvPr>
            <p:ph type="title"/>
          </p:nvPr>
        </p:nvSpPr>
        <p:spPr/>
        <p:txBody>
          <a:bodyPr/>
          <a:lstStyle/>
          <a:p>
            <a:r>
              <a:rPr lang="nl-NL" dirty="0"/>
              <a:t>Infobox </a:t>
            </a:r>
            <a:r>
              <a:rPr lang="nl-NL" dirty="0" err="1"/>
              <a:t>mapbox</a:t>
            </a:r>
            <a:r>
              <a:rPr lang="nl-NL" dirty="0"/>
              <a:t> (3)</a:t>
            </a:r>
          </a:p>
        </p:txBody>
      </p:sp>
      <p:pic>
        <p:nvPicPr>
          <p:cNvPr id="8" name="Afbeelding 7">
            <a:extLst>
              <a:ext uri="{FF2B5EF4-FFF2-40B4-BE49-F238E27FC236}">
                <a16:creationId xmlns:a16="http://schemas.microsoft.com/office/drawing/2014/main" id="{24AC3665-2934-40A9-9FDE-6F455EE4D172}"/>
              </a:ext>
            </a:extLst>
          </p:cNvPr>
          <p:cNvPicPr>
            <a:picLocks noChangeAspect="1"/>
          </p:cNvPicPr>
          <p:nvPr/>
        </p:nvPicPr>
        <p:blipFill>
          <a:blip r:embed="rId3"/>
          <a:stretch>
            <a:fillRect/>
          </a:stretch>
        </p:blipFill>
        <p:spPr>
          <a:xfrm>
            <a:off x="50654" y="2996952"/>
            <a:ext cx="2117206" cy="3830122"/>
          </a:xfrm>
          <a:prstGeom prst="rect">
            <a:avLst/>
          </a:prstGeom>
        </p:spPr>
      </p:pic>
      <p:pic>
        <p:nvPicPr>
          <p:cNvPr id="11" name="Afbeelding 10">
            <a:extLst>
              <a:ext uri="{FF2B5EF4-FFF2-40B4-BE49-F238E27FC236}">
                <a16:creationId xmlns:a16="http://schemas.microsoft.com/office/drawing/2014/main" id="{D6B4701B-C431-486A-9F07-FAC91CF791BC}"/>
              </a:ext>
            </a:extLst>
          </p:cNvPr>
          <p:cNvPicPr>
            <a:picLocks noChangeAspect="1"/>
          </p:cNvPicPr>
          <p:nvPr/>
        </p:nvPicPr>
        <p:blipFill>
          <a:blip r:embed="rId4"/>
          <a:stretch>
            <a:fillRect/>
          </a:stretch>
        </p:blipFill>
        <p:spPr>
          <a:xfrm>
            <a:off x="4354838" y="2949741"/>
            <a:ext cx="2094106" cy="1601866"/>
          </a:xfrm>
          <a:prstGeom prst="rect">
            <a:avLst/>
          </a:prstGeom>
        </p:spPr>
      </p:pic>
      <p:cxnSp>
        <p:nvCxnSpPr>
          <p:cNvPr id="19" name="Rechte verbindingslijn met pijl 18"/>
          <p:cNvCxnSpPr>
            <a:cxnSpLocks/>
          </p:cNvCxnSpPr>
          <p:nvPr/>
        </p:nvCxnSpPr>
        <p:spPr>
          <a:xfrm flipV="1">
            <a:off x="1440000" y="3074350"/>
            <a:ext cx="2914838" cy="1307707"/>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Rechte verbindingslijn met pijl 20"/>
          <p:cNvCxnSpPr>
            <a:cxnSpLocks/>
          </p:cNvCxnSpPr>
          <p:nvPr/>
        </p:nvCxnSpPr>
        <p:spPr>
          <a:xfrm flipV="1">
            <a:off x="1240588" y="3934818"/>
            <a:ext cx="3139757" cy="743606"/>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15" name="Afbeelding 14">
            <a:extLst>
              <a:ext uri="{FF2B5EF4-FFF2-40B4-BE49-F238E27FC236}">
                <a16:creationId xmlns:a16="http://schemas.microsoft.com/office/drawing/2014/main" id="{6D49C2A7-4AC2-4B97-A0D2-CC2F2D5F39D9}"/>
              </a:ext>
            </a:extLst>
          </p:cNvPr>
          <p:cNvPicPr>
            <a:picLocks noChangeAspect="1"/>
          </p:cNvPicPr>
          <p:nvPr/>
        </p:nvPicPr>
        <p:blipFill>
          <a:blip r:embed="rId5"/>
          <a:stretch>
            <a:fillRect/>
          </a:stretch>
        </p:blipFill>
        <p:spPr>
          <a:xfrm>
            <a:off x="2511088" y="4667360"/>
            <a:ext cx="3862049" cy="2175177"/>
          </a:xfrm>
          <a:prstGeom prst="rect">
            <a:avLst/>
          </a:prstGeom>
        </p:spPr>
      </p:pic>
      <p:cxnSp>
        <p:nvCxnSpPr>
          <p:cNvPr id="28" name="Rechte verbindingslijn met pijl 27"/>
          <p:cNvCxnSpPr>
            <a:cxnSpLocks/>
          </p:cNvCxnSpPr>
          <p:nvPr/>
        </p:nvCxnSpPr>
        <p:spPr>
          <a:xfrm flipV="1">
            <a:off x="1802551" y="4729797"/>
            <a:ext cx="683030" cy="216418"/>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pic>
        <p:nvPicPr>
          <p:cNvPr id="23" name="Afbeelding 22">
            <a:extLst>
              <a:ext uri="{FF2B5EF4-FFF2-40B4-BE49-F238E27FC236}">
                <a16:creationId xmlns:a16="http://schemas.microsoft.com/office/drawing/2014/main" id="{7950C2A9-4DCE-4B45-A785-D520900E223F}"/>
              </a:ext>
            </a:extLst>
          </p:cNvPr>
          <p:cNvPicPr>
            <a:picLocks noChangeAspect="1"/>
          </p:cNvPicPr>
          <p:nvPr/>
        </p:nvPicPr>
        <p:blipFill>
          <a:blip r:embed="rId6"/>
          <a:stretch>
            <a:fillRect/>
          </a:stretch>
        </p:blipFill>
        <p:spPr>
          <a:xfrm>
            <a:off x="6810923" y="2564904"/>
            <a:ext cx="5140837" cy="2956947"/>
          </a:xfrm>
          <a:prstGeom prst="rect">
            <a:avLst/>
          </a:prstGeom>
        </p:spPr>
      </p:pic>
      <p:pic>
        <p:nvPicPr>
          <p:cNvPr id="29" name="Afbeelding 28">
            <a:extLst>
              <a:ext uri="{FF2B5EF4-FFF2-40B4-BE49-F238E27FC236}">
                <a16:creationId xmlns:a16="http://schemas.microsoft.com/office/drawing/2014/main" id="{5670BBCD-2319-4249-A92A-E6FF8E7B8D77}"/>
              </a:ext>
            </a:extLst>
          </p:cNvPr>
          <p:cNvPicPr>
            <a:picLocks noChangeAspect="1"/>
          </p:cNvPicPr>
          <p:nvPr/>
        </p:nvPicPr>
        <p:blipFill>
          <a:blip r:embed="rId7"/>
          <a:stretch>
            <a:fillRect/>
          </a:stretch>
        </p:blipFill>
        <p:spPr>
          <a:xfrm>
            <a:off x="8113811" y="5521851"/>
            <a:ext cx="3231648" cy="1305223"/>
          </a:xfrm>
          <a:prstGeom prst="rect">
            <a:avLst/>
          </a:prstGeom>
        </p:spPr>
      </p:pic>
      <p:sp>
        <p:nvSpPr>
          <p:cNvPr id="32" name="Pijl-omlaag 31"/>
          <p:cNvSpPr/>
          <p:nvPr/>
        </p:nvSpPr>
        <p:spPr>
          <a:xfrm>
            <a:off x="10058027" y="5652556"/>
            <a:ext cx="144016" cy="303583"/>
          </a:xfrm>
          <a:prstGeom prst="downArrow">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53351333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1440000" y="1185963"/>
            <a:ext cx="10634034" cy="1839693"/>
          </a:xfrm>
        </p:spPr>
        <p:txBody>
          <a:bodyPr/>
          <a:lstStyle/>
          <a:p>
            <a:r>
              <a:rPr lang="nl-NL" b="1" dirty="0"/>
              <a:t>Infobox bouwnummer</a:t>
            </a:r>
          </a:p>
          <a:p>
            <a:pPr marL="285750" lvl="0" indent="-285750">
              <a:buFont typeface="Arial" panose="020B0604020202020204" pitchFamily="34" charset="0"/>
              <a:buChar char="•"/>
            </a:pPr>
            <a:r>
              <a:rPr lang="nl-NL" dirty="0"/>
              <a:t>Afbeelding = vinkjes hoofdafbeelding bouwnummer(s) mediabank </a:t>
            </a:r>
            <a:r>
              <a:rPr lang="nl-NL" dirty="0" err="1"/>
              <a:t>Umbraco</a:t>
            </a:r>
            <a:r>
              <a:rPr lang="nl-NL" dirty="0"/>
              <a:t> - map projecten</a:t>
            </a:r>
          </a:p>
          <a:p>
            <a:pPr marL="285750" indent="-285750">
              <a:buFont typeface="Arial" panose="020B0604020202020204" pitchFamily="34" charset="0"/>
              <a:buChar char="•"/>
            </a:pPr>
            <a:r>
              <a:rPr lang="nl-NL" dirty="0"/>
              <a:t>Naam = Naam Woningtype (SF Details Woningtype), 2</a:t>
            </a:r>
            <a:r>
              <a:rPr lang="nl-NL" baseline="30000" dirty="0"/>
              <a:t>e</a:t>
            </a:r>
            <a:r>
              <a:rPr lang="nl-NL" dirty="0"/>
              <a:t> naam (lichtgrijs) = Projectnaam (SF Details Project)</a:t>
            </a:r>
          </a:p>
          <a:p>
            <a:pPr marL="285750" lvl="0" indent="-285750">
              <a:buFont typeface="Arial" panose="020B0604020202020204" pitchFamily="34" charset="0"/>
              <a:buChar char="•"/>
            </a:pPr>
            <a:r>
              <a:rPr lang="nl-NL" dirty="0"/>
              <a:t>Status: vrij - in optie – verkocht = SF Details - Bouwnummergegevens Verkoopproces</a:t>
            </a:r>
          </a:p>
          <a:p>
            <a:pPr marL="285750" lvl="0" indent="-285750">
              <a:buFont typeface="Arial" panose="020B0604020202020204" pitchFamily="34" charset="0"/>
              <a:buChar char="•"/>
            </a:pPr>
            <a:r>
              <a:rPr lang="nl-NL" dirty="0"/>
              <a:t>Status: aanbouw/bewoond = SF Details Project Status</a:t>
            </a:r>
          </a:p>
          <a:p>
            <a:pPr marL="285750" lvl="0" indent="-285750">
              <a:buFont typeface="Arial" panose="020B0604020202020204" pitchFamily="34" charset="0"/>
              <a:buChar char="•"/>
            </a:pPr>
            <a:r>
              <a:rPr lang="nl-NL" dirty="0"/>
              <a:t>Kenmerken = Bouwnummer specificaties</a:t>
            </a:r>
          </a:p>
          <a:p>
            <a:pPr marL="285750" lvl="0" indent="-285750">
              <a:buFont typeface="Arial" panose="020B0604020202020204" pitchFamily="34" charset="0"/>
              <a:buChar char="•"/>
            </a:pPr>
            <a:r>
              <a:rPr lang="nl-NL" dirty="0"/>
              <a:t>CTA = Bekijk details</a:t>
            </a:r>
          </a:p>
          <a:p>
            <a:endParaRPr lang="nl-NL" dirty="0"/>
          </a:p>
          <a:p>
            <a:pPr marL="285750" lvl="0" indent="-285750">
              <a:buFont typeface="Arial" panose="020B0604020202020204" pitchFamily="34" charset="0"/>
              <a:buChar char="•"/>
            </a:pPr>
            <a:endParaRPr lang="nl-NL" dirty="0"/>
          </a:p>
        </p:txBody>
      </p:sp>
      <p:sp>
        <p:nvSpPr>
          <p:cNvPr id="3" name="Titel 2"/>
          <p:cNvSpPr>
            <a:spLocks noGrp="1"/>
          </p:cNvSpPr>
          <p:nvPr>
            <p:ph type="title"/>
          </p:nvPr>
        </p:nvSpPr>
        <p:spPr/>
        <p:txBody>
          <a:bodyPr/>
          <a:lstStyle/>
          <a:p>
            <a:r>
              <a:rPr lang="nl-NL" dirty="0"/>
              <a:t>Infobox </a:t>
            </a:r>
            <a:r>
              <a:rPr lang="nl-NL" dirty="0" err="1"/>
              <a:t>mapbox</a:t>
            </a:r>
            <a:r>
              <a:rPr lang="nl-NL" dirty="0"/>
              <a:t> (4)</a:t>
            </a:r>
          </a:p>
        </p:txBody>
      </p:sp>
      <p:pic>
        <p:nvPicPr>
          <p:cNvPr id="5" name="Afbeelding 4">
            <a:extLst>
              <a:ext uri="{FF2B5EF4-FFF2-40B4-BE49-F238E27FC236}">
                <a16:creationId xmlns:a16="http://schemas.microsoft.com/office/drawing/2014/main" id="{89290A10-A0E5-4B73-AFFD-4B74653542DA}"/>
              </a:ext>
            </a:extLst>
          </p:cNvPr>
          <p:cNvPicPr>
            <a:picLocks noChangeAspect="1"/>
          </p:cNvPicPr>
          <p:nvPr/>
        </p:nvPicPr>
        <p:blipFill>
          <a:blip r:embed="rId3"/>
          <a:stretch>
            <a:fillRect/>
          </a:stretch>
        </p:blipFill>
        <p:spPr>
          <a:xfrm>
            <a:off x="-1" y="3065369"/>
            <a:ext cx="2065140" cy="3762896"/>
          </a:xfrm>
          <a:prstGeom prst="rect">
            <a:avLst/>
          </a:prstGeom>
        </p:spPr>
      </p:pic>
      <p:pic>
        <p:nvPicPr>
          <p:cNvPr id="10" name="Afbeelding 9">
            <a:extLst>
              <a:ext uri="{FF2B5EF4-FFF2-40B4-BE49-F238E27FC236}">
                <a16:creationId xmlns:a16="http://schemas.microsoft.com/office/drawing/2014/main" id="{381667F3-3C37-4C44-82F3-CA61571FD948}"/>
              </a:ext>
            </a:extLst>
          </p:cNvPr>
          <p:cNvPicPr>
            <a:picLocks noChangeAspect="1"/>
          </p:cNvPicPr>
          <p:nvPr/>
        </p:nvPicPr>
        <p:blipFill>
          <a:blip r:embed="rId4"/>
          <a:stretch>
            <a:fillRect/>
          </a:stretch>
        </p:blipFill>
        <p:spPr>
          <a:xfrm>
            <a:off x="2892019" y="3004853"/>
            <a:ext cx="4886291" cy="3823412"/>
          </a:xfrm>
          <a:prstGeom prst="rect">
            <a:avLst/>
          </a:prstGeom>
        </p:spPr>
      </p:pic>
      <p:pic>
        <p:nvPicPr>
          <p:cNvPr id="13" name="Afbeelding 12">
            <a:extLst>
              <a:ext uri="{FF2B5EF4-FFF2-40B4-BE49-F238E27FC236}">
                <a16:creationId xmlns:a16="http://schemas.microsoft.com/office/drawing/2014/main" id="{6E164825-1724-4528-B924-12792B0BA427}"/>
              </a:ext>
            </a:extLst>
          </p:cNvPr>
          <p:cNvPicPr>
            <a:picLocks noChangeAspect="1"/>
          </p:cNvPicPr>
          <p:nvPr/>
        </p:nvPicPr>
        <p:blipFill>
          <a:blip r:embed="rId5"/>
          <a:stretch>
            <a:fillRect/>
          </a:stretch>
        </p:blipFill>
        <p:spPr>
          <a:xfrm>
            <a:off x="7985476" y="4149824"/>
            <a:ext cx="3714750" cy="2590800"/>
          </a:xfrm>
          <a:prstGeom prst="rect">
            <a:avLst/>
          </a:prstGeom>
        </p:spPr>
      </p:pic>
      <p:sp>
        <p:nvSpPr>
          <p:cNvPr id="32" name="Pijl-omlaag 31"/>
          <p:cNvSpPr/>
          <p:nvPr/>
        </p:nvSpPr>
        <p:spPr>
          <a:xfrm>
            <a:off x="10267058" y="4365104"/>
            <a:ext cx="216024" cy="711352"/>
          </a:xfrm>
          <a:prstGeom prst="downArrow">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6141720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idx="1000"/>
          </p:nvPr>
        </p:nvSpPr>
        <p:spPr/>
        <p:txBody>
          <a:bodyPr/>
          <a:lstStyle/>
          <a:p>
            <a:endParaRPr lang="nl-NL" dirty="0"/>
          </a:p>
        </p:txBody>
      </p:sp>
      <p:sp>
        <p:nvSpPr>
          <p:cNvPr id="4" name="Tijdelijke aanduiding voor tekst 3"/>
          <p:cNvSpPr>
            <a:spLocks noGrp="1"/>
          </p:cNvSpPr>
          <p:nvPr>
            <p:ph type="body" idx="1001"/>
          </p:nvPr>
        </p:nvSpPr>
        <p:spPr/>
        <p:txBody>
          <a:bodyPr/>
          <a:lstStyle/>
          <a:p>
            <a:endParaRPr lang="nl-NL"/>
          </a:p>
        </p:txBody>
      </p:sp>
      <p:sp>
        <p:nvSpPr>
          <p:cNvPr id="5" name="Tijdelijke aanduiding voor tekst 4"/>
          <p:cNvSpPr>
            <a:spLocks noGrp="1"/>
          </p:cNvSpPr>
          <p:nvPr>
            <p:ph type="body" idx="1003"/>
          </p:nvPr>
        </p:nvSpPr>
        <p:spPr/>
        <p:txBody>
          <a:bodyPr/>
          <a:lstStyle/>
          <a:p>
            <a:endParaRPr lang="nl-NL"/>
          </a:p>
        </p:txBody>
      </p:sp>
      <p:sp>
        <p:nvSpPr>
          <p:cNvPr id="6" name="Tijdelijke aanduiding voor tekst 5"/>
          <p:cNvSpPr>
            <a:spLocks noGrp="1"/>
          </p:cNvSpPr>
          <p:nvPr>
            <p:ph type="body" idx="1002"/>
          </p:nvPr>
        </p:nvSpPr>
        <p:spPr/>
        <p:txBody>
          <a:bodyPr/>
          <a:lstStyle/>
          <a:p>
            <a:endParaRPr lang="nl-NL"/>
          </a:p>
        </p:txBody>
      </p:sp>
      <p:sp>
        <p:nvSpPr>
          <p:cNvPr id="7" name="Tijdelijke aanduiding voor tekst 6"/>
          <p:cNvSpPr>
            <a:spLocks noGrp="1"/>
          </p:cNvSpPr>
          <p:nvPr>
            <p:ph type="body" sz="quarter" idx="14"/>
          </p:nvPr>
        </p:nvSpPr>
        <p:spPr/>
        <p:txBody>
          <a:bodyPr/>
          <a:lstStyle/>
          <a:p>
            <a:r>
              <a:rPr lang="nl-NL" dirty="0"/>
              <a:t>Situatiekaart module plaatsen </a:t>
            </a:r>
          </a:p>
          <a:p>
            <a:r>
              <a:rPr lang="nl-NL" dirty="0" err="1"/>
              <a:t>Umbraco</a:t>
            </a:r>
            <a:endParaRPr lang="nl-NL" dirty="0"/>
          </a:p>
        </p:txBody>
      </p:sp>
    </p:spTree>
    <p:extLst>
      <p:ext uri="{BB962C8B-B14F-4D97-AF65-F5344CB8AC3E}">
        <p14:creationId xmlns:p14="http://schemas.microsoft.com/office/powerpoint/2010/main" val="423607875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idx="1000"/>
          </p:nvPr>
        </p:nvSpPr>
        <p:spPr/>
        <p:txBody>
          <a:bodyPr/>
          <a:lstStyle/>
          <a:p>
            <a:endParaRPr lang="nl-NL" dirty="0"/>
          </a:p>
        </p:txBody>
      </p:sp>
      <p:sp>
        <p:nvSpPr>
          <p:cNvPr id="4" name="Tijdelijke aanduiding voor tekst 3"/>
          <p:cNvSpPr>
            <a:spLocks noGrp="1"/>
          </p:cNvSpPr>
          <p:nvPr>
            <p:ph type="body" idx="1001"/>
          </p:nvPr>
        </p:nvSpPr>
        <p:spPr/>
        <p:txBody>
          <a:bodyPr/>
          <a:lstStyle/>
          <a:p>
            <a:endParaRPr lang="nl-NL"/>
          </a:p>
        </p:txBody>
      </p:sp>
      <p:sp>
        <p:nvSpPr>
          <p:cNvPr id="5" name="Tijdelijke aanduiding voor tekst 4"/>
          <p:cNvSpPr>
            <a:spLocks noGrp="1"/>
          </p:cNvSpPr>
          <p:nvPr>
            <p:ph type="body" idx="1003"/>
          </p:nvPr>
        </p:nvSpPr>
        <p:spPr/>
        <p:txBody>
          <a:bodyPr/>
          <a:lstStyle/>
          <a:p>
            <a:endParaRPr lang="nl-NL"/>
          </a:p>
        </p:txBody>
      </p:sp>
      <p:sp>
        <p:nvSpPr>
          <p:cNvPr id="6" name="Tijdelijke aanduiding voor tekst 5"/>
          <p:cNvSpPr>
            <a:spLocks noGrp="1"/>
          </p:cNvSpPr>
          <p:nvPr>
            <p:ph type="body" idx="1002"/>
          </p:nvPr>
        </p:nvSpPr>
        <p:spPr/>
        <p:txBody>
          <a:bodyPr/>
          <a:lstStyle/>
          <a:p>
            <a:endParaRPr lang="nl-NL"/>
          </a:p>
        </p:txBody>
      </p:sp>
      <p:sp>
        <p:nvSpPr>
          <p:cNvPr id="7" name="Tijdelijke aanduiding voor tekst 6"/>
          <p:cNvSpPr>
            <a:spLocks noGrp="1"/>
          </p:cNvSpPr>
          <p:nvPr>
            <p:ph type="body" sz="quarter" idx="14"/>
          </p:nvPr>
        </p:nvSpPr>
        <p:spPr/>
        <p:txBody>
          <a:bodyPr/>
          <a:lstStyle/>
          <a:p>
            <a:r>
              <a:rPr lang="nl-NL" dirty="0"/>
              <a:t>Verkocht woningaanbod</a:t>
            </a:r>
          </a:p>
        </p:txBody>
      </p:sp>
    </p:spTree>
    <p:extLst>
      <p:ext uri="{BB962C8B-B14F-4D97-AF65-F5344CB8AC3E}">
        <p14:creationId xmlns:p14="http://schemas.microsoft.com/office/powerpoint/2010/main" val="376552045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p:txBody>
          <a:bodyPr vert="horz" lIns="0" tIns="0" rIns="0" bIns="0" rtlCol="0" anchor="t">
            <a:noAutofit/>
          </a:bodyPr>
          <a:lstStyle/>
          <a:p>
            <a:r>
              <a:rPr lang="nl-NL" dirty="0"/>
              <a:t>Woningtypes en bouwnummers wil je vaak niet voor altijd op de pagina </a:t>
            </a:r>
            <a:r>
              <a:rPr lang="nl-NL" i="1" dirty="0"/>
              <a:t>Woningen</a:t>
            </a:r>
            <a:r>
              <a:rPr lang="nl-NL" dirty="0"/>
              <a:t> laten staan. Wil je ze van de pagina halen, dan moet je een aantal stappen doorlopen. </a:t>
            </a:r>
          </a:p>
          <a:p>
            <a:endParaRPr lang="nl-NL" dirty="0"/>
          </a:p>
          <a:p>
            <a:r>
              <a:rPr lang="nl-NL" dirty="0">
                <a:latin typeface="Univers"/>
              </a:rPr>
              <a:t>Als je een projectfase op </a:t>
            </a:r>
            <a:r>
              <a:rPr lang="nl-NL" i="1" dirty="0">
                <a:latin typeface="Univers"/>
              </a:rPr>
              <a:t>Verkocht</a:t>
            </a:r>
            <a:r>
              <a:rPr lang="nl-NL" dirty="0">
                <a:latin typeface="Univers"/>
              </a:rPr>
              <a:t> zet, verdwijnen alle onderliggende woningtypes automatisch van de pagina </a:t>
            </a:r>
            <a:r>
              <a:rPr lang="nl-NL" i="1" dirty="0">
                <a:latin typeface="Univers"/>
              </a:rPr>
              <a:t>Woningen</a:t>
            </a:r>
            <a:r>
              <a:rPr lang="nl-NL" dirty="0">
                <a:latin typeface="Univers"/>
              </a:rPr>
              <a:t>. </a:t>
            </a:r>
            <a:r>
              <a:rPr lang="nl-NL" b="1">
                <a:latin typeface="Univers"/>
              </a:rPr>
              <a:t>Je ziet ze alleen nog op de kaart en als je het filter instelt op Verkocht / In Aanbouw.</a:t>
            </a:r>
            <a:r>
              <a:rPr lang="nl-NL" dirty="0">
                <a:latin typeface="Univers"/>
              </a:rPr>
              <a:t> </a:t>
            </a:r>
            <a:r>
              <a:rPr lang="nl-NL" i="1" dirty="0">
                <a:latin typeface="Univers"/>
              </a:rPr>
              <a:t>Voorbeeld: </a:t>
            </a:r>
            <a:r>
              <a:rPr lang="nl-NL" i="1" dirty="0">
                <a:latin typeface="Univers"/>
                <a:hlinkClick r:id="rId2"/>
              </a:rPr>
              <a:t>https://www.nieuwbouw-poeldijk.nl/</a:t>
            </a:r>
            <a:r>
              <a:rPr lang="nl-NL" dirty="0">
                <a:latin typeface="Univers"/>
              </a:rPr>
              <a:t>. </a:t>
            </a:r>
            <a:endParaRPr lang="nl-NL" i="1" dirty="0"/>
          </a:p>
          <a:p>
            <a:pPr marL="285750" indent="-285750">
              <a:buFont typeface="Arial" panose="020B0604020202020204" pitchFamily="34" charset="0"/>
              <a:buChar char="•"/>
            </a:pPr>
            <a:r>
              <a:rPr lang="nl-NL" dirty="0"/>
              <a:t>De status van de ingetekende objecten is in dat geval </a:t>
            </a:r>
            <a:r>
              <a:rPr lang="nl-NL" i="1" dirty="0"/>
              <a:t>In aanbouw/bewoond</a:t>
            </a:r>
            <a:r>
              <a:rPr lang="nl-NL" dirty="0"/>
              <a:t>. </a:t>
            </a:r>
          </a:p>
          <a:p>
            <a:pPr marL="285750" indent="-285750">
              <a:buFont typeface="Arial" panose="020B0604020202020204" pitchFamily="34" charset="0"/>
              <a:buChar char="•"/>
            </a:pPr>
            <a:r>
              <a:rPr lang="nl-NL" dirty="0"/>
              <a:t>Klik je op een ingetekend object, dan wordt in de pop-up specifieke informatie achterwege gelaten: de prijs en de button worden achterwege gelaten. </a:t>
            </a:r>
          </a:p>
          <a:p>
            <a:endParaRPr lang="nl-NL" dirty="0"/>
          </a:p>
          <a:p>
            <a:r>
              <a:rPr lang="nl-NL" dirty="0"/>
              <a:t>Soms duurt het lang voordat een projectfase is verkocht en wil je alvast een aantal woningtypes of bouwnummers van de pagina </a:t>
            </a:r>
            <a:r>
              <a:rPr lang="nl-NL" i="1" dirty="0"/>
              <a:t>Woningen</a:t>
            </a:r>
            <a:r>
              <a:rPr lang="nl-NL" dirty="0"/>
              <a:t> halen. Dit doe je met het vinkje </a:t>
            </a:r>
            <a:r>
              <a:rPr lang="nl-NL" i="1" dirty="0"/>
              <a:t>Tijdelijk uit aanbod website</a:t>
            </a:r>
            <a:r>
              <a:rPr lang="nl-NL" dirty="0"/>
              <a:t>. Het vinkje is te vinden op woningtype- en bouwnummerniveau in Salesforce. Ook hier geldt dat de ingetekende objecten </a:t>
            </a:r>
            <a:r>
              <a:rPr lang="nl-NL" b="1" dirty="0"/>
              <a:t>beschikbaar blijven op de kaart</a:t>
            </a:r>
            <a:r>
              <a:rPr lang="nl-NL" dirty="0"/>
              <a:t>.</a:t>
            </a:r>
          </a:p>
          <a:p>
            <a:pPr marL="285750" indent="-285750">
              <a:buFont typeface="Arial" panose="020B0604020202020204" pitchFamily="34" charset="0"/>
              <a:buChar char="•"/>
            </a:pPr>
            <a:r>
              <a:rPr lang="nl-NL" dirty="0"/>
              <a:t>De objecten hebben in dat geval de status </a:t>
            </a:r>
            <a:r>
              <a:rPr lang="nl-NL" i="1" dirty="0"/>
              <a:t>Verkocht</a:t>
            </a:r>
            <a:r>
              <a:rPr lang="nl-NL" dirty="0"/>
              <a:t>, wat betekent dat alle informatie gewoon in de pop-up wordt weergegeven. </a:t>
            </a:r>
          </a:p>
          <a:p>
            <a:pPr marL="285750" indent="-285750">
              <a:buFont typeface="Arial" panose="020B0604020202020204" pitchFamily="34" charset="0"/>
              <a:buChar char="•"/>
            </a:pPr>
            <a:r>
              <a:rPr lang="nl-NL" dirty="0"/>
              <a:t>Pas als de projectfase op </a:t>
            </a:r>
            <a:r>
              <a:rPr lang="nl-NL" i="1" dirty="0"/>
              <a:t>Verkocht</a:t>
            </a:r>
            <a:r>
              <a:rPr lang="nl-NL" dirty="0"/>
              <a:t> komt te staan, verandert de status in </a:t>
            </a:r>
            <a:r>
              <a:rPr lang="nl-NL" i="1" dirty="0" err="1"/>
              <a:t>In</a:t>
            </a:r>
            <a:r>
              <a:rPr lang="nl-NL" i="1" dirty="0"/>
              <a:t> aanbouw/bewoond</a:t>
            </a:r>
            <a:r>
              <a:rPr lang="nl-NL" dirty="0"/>
              <a:t>. </a:t>
            </a:r>
          </a:p>
          <a:p>
            <a:endParaRPr lang="nl-NL" dirty="0"/>
          </a:p>
        </p:txBody>
      </p:sp>
      <p:sp>
        <p:nvSpPr>
          <p:cNvPr id="3" name="Titel 2"/>
          <p:cNvSpPr>
            <a:spLocks noGrp="1"/>
          </p:cNvSpPr>
          <p:nvPr>
            <p:ph type="title"/>
          </p:nvPr>
        </p:nvSpPr>
        <p:spPr/>
        <p:txBody>
          <a:bodyPr/>
          <a:lstStyle/>
          <a:p>
            <a:r>
              <a:rPr lang="nl-NL" dirty="0"/>
              <a:t>Verkocht woningaanbod</a:t>
            </a:r>
          </a:p>
        </p:txBody>
      </p:sp>
    </p:spTree>
    <p:extLst>
      <p:ext uri="{BB962C8B-B14F-4D97-AF65-F5344CB8AC3E}">
        <p14:creationId xmlns:p14="http://schemas.microsoft.com/office/powerpoint/2010/main" val="24625136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idx="1000"/>
          </p:nvPr>
        </p:nvSpPr>
        <p:spPr/>
        <p:txBody>
          <a:bodyPr/>
          <a:lstStyle/>
          <a:p>
            <a:endParaRPr lang="nl-NL" dirty="0"/>
          </a:p>
        </p:txBody>
      </p:sp>
      <p:sp>
        <p:nvSpPr>
          <p:cNvPr id="4" name="Tijdelijke aanduiding voor tekst 3"/>
          <p:cNvSpPr>
            <a:spLocks noGrp="1"/>
          </p:cNvSpPr>
          <p:nvPr>
            <p:ph type="body" idx="1001"/>
          </p:nvPr>
        </p:nvSpPr>
        <p:spPr/>
        <p:txBody>
          <a:bodyPr/>
          <a:lstStyle/>
          <a:p>
            <a:endParaRPr lang="nl-NL"/>
          </a:p>
        </p:txBody>
      </p:sp>
      <p:sp>
        <p:nvSpPr>
          <p:cNvPr id="5" name="Tijdelijke aanduiding voor tekst 4"/>
          <p:cNvSpPr>
            <a:spLocks noGrp="1"/>
          </p:cNvSpPr>
          <p:nvPr>
            <p:ph type="body" idx="1003"/>
          </p:nvPr>
        </p:nvSpPr>
        <p:spPr/>
        <p:txBody>
          <a:bodyPr/>
          <a:lstStyle/>
          <a:p>
            <a:endParaRPr lang="nl-NL"/>
          </a:p>
        </p:txBody>
      </p:sp>
      <p:sp>
        <p:nvSpPr>
          <p:cNvPr id="6" name="Tijdelijke aanduiding voor tekst 5"/>
          <p:cNvSpPr>
            <a:spLocks noGrp="1"/>
          </p:cNvSpPr>
          <p:nvPr>
            <p:ph type="body" idx="1002"/>
          </p:nvPr>
        </p:nvSpPr>
        <p:spPr/>
        <p:txBody>
          <a:bodyPr/>
          <a:lstStyle/>
          <a:p>
            <a:endParaRPr lang="nl-NL"/>
          </a:p>
        </p:txBody>
      </p:sp>
      <p:sp>
        <p:nvSpPr>
          <p:cNvPr id="7" name="Tijdelijke aanduiding voor tekst 6"/>
          <p:cNvSpPr>
            <a:spLocks noGrp="1"/>
          </p:cNvSpPr>
          <p:nvPr>
            <p:ph type="body" sz="quarter" idx="14"/>
          </p:nvPr>
        </p:nvSpPr>
        <p:spPr/>
        <p:txBody>
          <a:bodyPr/>
          <a:lstStyle/>
          <a:p>
            <a:r>
              <a:rPr lang="nl-NL" dirty="0"/>
              <a:t>Gebieden op corporate websites</a:t>
            </a:r>
          </a:p>
        </p:txBody>
      </p:sp>
    </p:spTree>
    <p:extLst>
      <p:ext uri="{BB962C8B-B14F-4D97-AF65-F5344CB8AC3E}">
        <p14:creationId xmlns:p14="http://schemas.microsoft.com/office/powerpoint/2010/main" val="242616525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1233254" y="1196752"/>
            <a:ext cx="10152000" cy="4608000"/>
          </a:xfrm>
        </p:spPr>
        <p:txBody>
          <a:bodyPr/>
          <a:lstStyle/>
          <a:p>
            <a:r>
              <a:rPr lang="nl-NL" dirty="0"/>
              <a:t>Op BPD.nl en BPD-immobilienentwicklung.de wordt de kaart van Nederland/de kaart van Duitsland getoond. Op deze kaart zie je de pointers van alle gebieden die in Salesforce staan. </a:t>
            </a:r>
            <a:br>
              <a:rPr lang="nl-NL" dirty="0"/>
            </a:br>
            <a:endParaRPr lang="nl-NL" dirty="0"/>
          </a:p>
        </p:txBody>
      </p:sp>
      <p:sp>
        <p:nvSpPr>
          <p:cNvPr id="3" name="Titel 2"/>
          <p:cNvSpPr>
            <a:spLocks noGrp="1"/>
          </p:cNvSpPr>
          <p:nvPr>
            <p:ph type="title"/>
          </p:nvPr>
        </p:nvSpPr>
        <p:spPr/>
        <p:txBody>
          <a:bodyPr/>
          <a:lstStyle/>
          <a:p>
            <a:r>
              <a:rPr lang="nl-NL" dirty="0"/>
              <a:t>Gebieden op corporate websites (1)</a:t>
            </a:r>
          </a:p>
        </p:txBody>
      </p:sp>
      <p:pic>
        <p:nvPicPr>
          <p:cNvPr id="6" name="Afbeelding 5">
            <a:extLst>
              <a:ext uri="{FF2B5EF4-FFF2-40B4-BE49-F238E27FC236}">
                <a16:creationId xmlns:a16="http://schemas.microsoft.com/office/drawing/2014/main" id="{306FCC0C-2038-4C6A-BC59-418A5B692523}"/>
              </a:ext>
            </a:extLst>
          </p:cNvPr>
          <p:cNvPicPr>
            <a:picLocks noChangeAspect="1"/>
          </p:cNvPicPr>
          <p:nvPr/>
        </p:nvPicPr>
        <p:blipFill>
          <a:blip r:embed="rId3"/>
          <a:stretch>
            <a:fillRect/>
          </a:stretch>
        </p:blipFill>
        <p:spPr>
          <a:xfrm>
            <a:off x="1219065" y="1916832"/>
            <a:ext cx="9267686" cy="4824536"/>
          </a:xfrm>
          <a:prstGeom prst="rect">
            <a:avLst/>
          </a:prstGeom>
        </p:spPr>
      </p:pic>
    </p:spTree>
    <p:extLst>
      <p:ext uri="{BB962C8B-B14F-4D97-AF65-F5344CB8AC3E}">
        <p14:creationId xmlns:p14="http://schemas.microsoft.com/office/powerpoint/2010/main" val="86144823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1440000" y="2132856"/>
            <a:ext cx="10152000" cy="4031936"/>
          </a:xfrm>
        </p:spPr>
        <p:txBody>
          <a:bodyPr vert="horz" lIns="0" tIns="0" rIns="0" bIns="0" rtlCol="0" anchor="t">
            <a:noAutofit/>
          </a:bodyPr>
          <a:lstStyle/>
          <a:p>
            <a:r>
              <a:rPr lang="nl-NL" dirty="0"/>
              <a:t>Het is dus belangrijk om op gebiedsniveau in Salesforce alles goed in te stellen. De pointers worden op basis van de volgende instellingen weergegeven:</a:t>
            </a:r>
          </a:p>
          <a:p>
            <a:endParaRPr lang="nl-NL" dirty="0"/>
          </a:p>
          <a:p>
            <a:pPr marL="285750" lvl="0" indent="-285750">
              <a:buFont typeface="Arial" panose="020B0604020202020204" pitchFamily="34" charset="0"/>
              <a:buChar char="•"/>
            </a:pPr>
            <a:r>
              <a:rPr lang="nl-NL" dirty="0"/>
              <a:t>Plaats van de pointer: coördinaten die je bij het gebied in Salesforce hebt ingesteld.</a:t>
            </a:r>
          </a:p>
          <a:p>
            <a:pPr marL="285750" lvl="0" indent="-285750">
              <a:buFont typeface="Arial" panose="020B0604020202020204" pitchFamily="34" charset="0"/>
              <a:buChar char="•"/>
            </a:pPr>
            <a:r>
              <a:rPr lang="nl-NL" dirty="0"/>
              <a:t>Link achter de pointer: URL die in Umbraco gekoppeld staat. Is er een werk-URL gekoppeld, dan wordt de pointer nog niet getoond.</a:t>
            </a:r>
          </a:p>
          <a:p>
            <a:pPr marL="285750" indent="-285750">
              <a:lnSpc>
                <a:spcPct val="113999"/>
              </a:lnSpc>
              <a:buChar char="•"/>
            </a:pPr>
            <a:endParaRPr lang="nl-NL" dirty="0">
              <a:latin typeface="Univers"/>
            </a:endParaRPr>
          </a:p>
          <a:p>
            <a:pPr marL="285750" indent="-285750">
              <a:lnSpc>
                <a:spcPct val="113999"/>
              </a:lnSpc>
              <a:buChar char="•"/>
            </a:pPr>
            <a:endParaRPr lang="nl-NL" dirty="0">
              <a:latin typeface="Univers"/>
            </a:endParaRPr>
          </a:p>
          <a:p>
            <a:pPr>
              <a:lnSpc>
                <a:spcPct val="113999"/>
              </a:lnSpc>
            </a:pPr>
            <a:r>
              <a:rPr lang="nl-NL">
                <a:latin typeface="Univers"/>
              </a:rPr>
              <a:t>Wil je via de kaart op BPD.nl naar een externe website verwijzen, dan kan dat. Neem hierover contact op met de afdeling Informatiemanagement via cloudteam@bpd.nl. </a:t>
            </a:r>
            <a:br>
              <a:rPr lang="nl-NL" dirty="0"/>
            </a:br>
            <a:br>
              <a:rPr lang="nl-NL" dirty="0"/>
            </a:br>
            <a:endParaRPr lang="nl-NL" dirty="0"/>
          </a:p>
          <a:p>
            <a:endParaRPr lang="nl-NL" dirty="0"/>
          </a:p>
          <a:p>
            <a:br>
              <a:rPr lang="nl-NL" dirty="0"/>
            </a:br>
            <a:endParaRPr lang="nl-NL" dirty="0"/>
          </a:p>
          <a:p>
            <a:br>
              <a:rPr lang="nl-NL" dirty="0"/>
            </a:br>
            <a:endParaRPr lang="nl-NL" dirty="0"/>
          </a:p>
        </p:txBody>
      </p:sp>
      <p:sp>
        <p:nvSpPr>
          <p:cNvPr id="3" name="Titel 2"/>
          <p:cNvSpPr>
            <a:spLocks noGrp="1"/>
          </p:cNvSpPr>
          <p:nvPr>
            <p:ph type="title"/>
          </p:nvPr>
        </p:nvSpPr>
        <p:spPr/>
        <p:txBody>
          <a:bodyPr/>
          <a:lstStyle/>
          <a:p>
            <a:r>
              <a:rPr lang="nl-NL" dirty="0"/>
              <a:t>Gebieden op corporate websites (2)</a:t>
            </a:r>
          </a:p>
        </p:txBody>
      </p:sp>
    </p:spTree>
    <p:extLst>
      <p:ext uri="{BB962C8B-B14F-4D97-AF65-F5344CB8AC3E}">
        <p14:creationId xmlns:p14="http://schemas.microsoft.com/office/powerpoint/2010/main" val="27619244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idx="1000"/>
          </p:nvPr>
        </p:nvSpPr>
        <p:spPr/>
        <p:txBody>
          <a:bodyPr/>
          <a:lstStyle/>
          <a:p>
            <a:endParaRPr lang="nl-NL" dirty="0"/>
          </a:p>
        </p:txBody>
      </p:sp>
      <p:sp>
        <p:nvSpPr>
          <p:cNvPr id="4" name="Tijdelijke aanduiding voor tekst 3"/>
          <p:cNvSpPr>
            <a:spLocks noGrp="1"/>
          </p:cNvSpPr>
          <p:nvPr>
            <p:ph type="body" idx="1001"/>
          </p:nvPr>
        </p:nvSpPr>
        <p:spPr/>
        <p:txBody>
          <a:bodyPr/>
          <a:lstStyle/>
          <a:p>
            <a:endParaRPr lang="nl-NL"/>
          </a:p>
        </p:txBody>
      </p:sp>
      <p:sp>
        <p:nvSpPr>
          <p:cNvPr id="5" name="Tijdelijke aanduiding voor tekst 4"/>
          <p:cNvSpPr>
            <a:spLocks noGrp="1"/>
          </p:cNvSpPr>
          <p:nvPr>
            <p:ph type="body" idx="1003"/>
          </p:nvPr>
        </p:nvSpPr>
        <p:spPr/>
        <p:txBody>
          <a:bodyPr/>
          <a:lstStyle/>
          <a:p>
            <a:endParaRPr lang="nl-NL"/>
          </a:p>
        </p:txBody>
      </p:sp>
      <p:sp>
        <p:nvSpPr>
          <p:cNvPr id="6" name="Tijdelijke aanduiding voor tekst 5"/>
          <p:cNvSpPr>
            <a:spLocks noGrp="1"/>
          </p:cNvSpPr>
          <p:nvPr>
            <p:ph type="body" idx="1002"/>
          </p:nvPr>
        </p:nvSpPr>
        <p:spPr/>
        <p:txBody>
          <a:bodyPr/>
          <a:lstStyle/>
          <a:p>
            <a:endParaRPr lang="nl-NL"/>
          </a:p>
        </p:txBody>
      </p:sp>
      <p:sp>
        <p:nvSpPr>
          <p:cNvPr id="7" name="Tijdelijke aanduiding voor tekst 6"/>
          <p:cNvSpPr>
            <a:spLocks noGrp="1"/>
          </p:cNvSpPr>
          <p:nvPr>
            <p:ph type="body" sz="quarter" idx="14"/>
          </p:nvPr>
        </p:nvSpPr>
        <p:spPr/>
        <p:txBody>
          <a:bodyPr/>
          <a:lstStyle/>
          <a:p>
            <a:r>
              <a:rPr lang="nl-NL" dirty="0"/>
              <a:t>Issue Checklist</a:t>
            </a:r>
          </a:p>
        </p:txBody>
      </p:sp>
    </p:spTree>
    <p:extLst>
      <p:ext uri="{BB962C8B-B14F-4D97-AF65-F5344CB8AC3E}">
        <p14:creationId xmlns:p14="http://schemas.microsoft.com/office/powerpoint/2010/main" val="116376031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1345059" y="1772816"/>
            <a:ext cx="10152000" cy="4031936"/>
          </a:xfrm>
        </p:spPr>
        <p:txBody>
          <a:bodyPr/>
          <a:lstStyle/>
          <a:p>
            <a:r>
              <a:rPr lang="nl-NL" dirty="0"/>
              <a:t>Je hebt alles ingetekend in de editor maar de polygonen (of een deel ervan) worden niet op de website weergegeven. Stel jezelf dan de volgende vragen:</a:t>
            </a:r>
          </a:p>
          <a:p>
            <a:endParaRPr lang="nl-NL" dirty="0"/>
          </a:p>
          <a:p>
            <a:pPr marL="285750" indent="-285750">
              <a:buFont typeface="Arial" panose="020B0604020202020204" pitchFamily="34" charset="0"/>
              <a:buChar char="•"/>
            </a:pPr>
            <a:r>
              <a:rPr lang="nl-NL" dirty="0"/>
              <a:t>Zijn alle coördinaten ingevuld in Salesforce? Gebied, wijk maar óók op projectniveau?</a:t>
            </a:r>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r>
              <a:rPr lang="nl-NL" dirty="0"/>
              <a:t>Staat het vinkje ‘Wooncatalogus Salesforce’ aan?</a:t>
            </a:r>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r>
              <a:rPr lang="nl-NL" dirty="0"/>
              <a:t>Staan alle vinkjes ‘Tonen op website’ bij het woningtype aan? </a:t>
            </a:r>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r>
              <a:rPr lang="nl-NL" dirty="0"/>
              <a:t>Staan alle vinkjes ‘Tonen op website’ bij de bouwnummers aan? </a:t>
            </a:r>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r>
              <a:rPr lang="nl-NL" dirty="0"/>
              <a:t>Zijn in de mediabank de afbeeldingen gekoppeld? Afbeeldingen woningtypes vinkje aan maar ook bij alle bouwnummers de vinkjes aan?</a:t>
            </a:r>
          </a:p>
          <a:p>
            <a:pPr marL="285750" indent="-285750">
              <a:buFont typeface="Arial" panose="020B0604020202020204" pitchFamily="34" charset="0"/>
              <a:buChar char="•"/>
            </a:pPr>
            <a:endParaRPr lang="nl-NL" dirty="0"/>
          </a:p>
          <a:p>
            <a:pPr marL="285750" indent="-285750">
              <a:buFont typeface="Arial" panose="020B0604020202020204" pitchFamily="34" charset="0"/>
              <a:buChar char="•"/>
            </a:pPr>
            <a:r>
              <a:rPr lang="nl-NL" dirty="0"/>
              <a:t>Heb je het juiste object aan het juiste polygoon gekoppeld?</a:t>
            </a:r>
            <a:br>
              <a:rPr lang="nl-NL" dirty="0"/>
            </a:br>
            <a:endParaRPr lang="nl-NL" dirty="0"/>
          </a:p>
        </p:txBody>
      </p:sp>
      <p:sp>
        <p:nvSpPr>
          <p:cNvPr id="3" name="Titel 2"/>
          <p:cNvSpPr>
            <a:spLocks noGrp="1"/>
          </p:cNvSpPr>
          <p:nvPr>
            <p:ph type="title"/>
          </p:nvPr>
        </p:nvSpPr>
        <p:spPr/>
        <p:txBody>
          <a:bodyPr/>
          <a:lstStyle/>
          <a:p>
            <a:r>
              <a:rPr lang="nl-NL" dirty="0"/>
              <a:t>Issue checklist (1)</a:t>
            </a:r>
          </a:p>
        </p:txBody>
      </p:sp>
    </p:spTree>
    <p:extLst>
      <p:ext uri="{BB962C8B-B14F-4D97-AF65-F5344CB8AC3E}">
        <p14:creationId xmlns:p14="http://schemas.microsoft.com/office/powerpoint/2010/main" val="31432305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1440000" y="1268760"/>
            <a:ext cx="10152000" cy="5419119"/>
          </a:xfrm>
        </p:spPr>
        <p:txBody>
          <a:bodyPr vert="horz" lIns="0" tIns="0" rIns="0" bIns="0" rtlCol="0" anchor="t">
            <a:noAutofit/>
          </a:bodyPr>
          <a:lstStyle/>
          <a:p>
            <a:r>
              <a:rPr lang="nl-NL" b="1" dirty="0"/>
              <a:t>Kaart plaatsen</a:t>
            </a:r>
          </a:p>
          <a:p>
            <a:r>
              <a:rPr lang="nl-NL" dirty="0"/>
              <a:t>Je kunt de module situatiekaart op verschillende plekken op de website activeren:  </a:t>
            </a:r>
            <a:br>
              <a:rPr lang="nl-NL" dirty="0"/>
            </a:br>
            <a:endParaRPr lang="nl-NL" dirty="0"/>
          </a:p>
          <a:p>
            <a:pPr marL="342900" indent="-342900">
              <a:buFont typeface="Arial" panose="020B0604020202020204" pitchFamily="34" charset="0"/>
              <a:buChar char="•"/>
            </a:pPr>
            <a:r>
              <a:rPr lang="nl-NL" dirty="0">
                <a:latin typeface="Univers"/>
              </a:rPr>
              <a:t>Standaard plaats je de module situatiekaart altijd op de volgende content pagina’s (</a:t>
            </a:r>
            <a:r>
              <a:rPr lang="nl-NL" err="1">
                <a:latin typeface="Univers"/>
              </a:rPr>
              <a:t>guidelines</a:t>
            </a:r>
            <a:r>
              <a:rPr lang="nl-NL" dirty="0">
                <a:latin typeface="Univers"/>
              </a:rPr>
              <a:t>): </a:t>
            </a:r>
            <a:br>
              <a:rPr lang="nl-NL" dirty="0"/>
            </a:br>
            <a:r>
              <a:rPr lang="nl-NL" dirty="0">
                <a:latin typeface="Univers"/>
              </a:rPr>
              <a:t>* </a:t>
            </a:r>
            <a:r>
              <a:rPr lang="nl-NL" b="1" dirty="0">
                <a:latin typeface="Univers"/>
              </a:rPr>
              <a:t>Alle</a:t>
            </a:r>
            <a:r>
              <a:rPr lang="nl-NL" dirty="0">
                <a:latin typeface="Univers"/>
              </a:rPr>
              <a:t> </a:t>
            </a:r>
            <a:r>
              <a:rPr lang="nl-NL" b="1" dirty="0">
                <a:latin typeface="Univers"/>
              </a:rPr>
              <a:t>homepages</a:t>
            </a:r>
            <a:r>
              <a:rPr lang="nl-NL" dirty="0">
                <a:latin typeface="Univers"/>
              </a:rPr>
              <a:t> -&gt; gebied en wijk(en)</a:t>
            </a:r>
            <a:br>
              <a:rPr lang="nl-NL" dirty="0"/>
            </a:br>
            <a:r>
              <a:rPr lang="nl-NL" dirty="0">
                <a:latin typeface="Univers"/>
              </a:rPr>
              <a:t>* </a:t>
            </a:r>
            <a:r>
              <a:rPr lang="nl-NL" b="1" dirty="0">
                <a:latin typeface="Univers"/>
              </a:rPr>
              <a:t>Pagina(s)</a:t>
            </a:r>
            <a:r>
              <a:rPr lang="nl-NL" dirty="0">
                <a:latin typeface="Univers"/>
              </a:rPr>
              <a:t> </a:t>
            </a:r>
            <a:r>
              <a:rPr lang="nl-NL" b="1" dirty="0">
                <a:latin typeface="Univers"/>
              </a:rPr>
              <a:t>bereikbaarheid</a:t>
            </a:r>
            <a:r>
              <a:rPr lang="nl-NL" dirty="0">
                <a:latin typeface="Univers"/>
              </a:rPr>
              <a:t>, open de kaart op bereikbaarheid (zoomniveau 15)</a:t>
            </a:r>
            <a:br>
              <a:rPr lang="nl-NL" dirty="0"/>
            </a:br>
            <a:r>
              <a:rPr lang="nl-NL" dirty="0">
                <a:latin typeface="Univers"/>
              </a:rPr>
              <a:t>* </a:t>
            </a:r>
            <a:r>
              <a:rPr lang="nl-NL" b="1" dirty="0">
                <a:latin typeface="Univers"/>
              </a:rPr>
              <a:t>Pagina(s)</a:t>
            </a:r>
            <a:r>
              <a:rPr lang="nl-NL" dirty="0">
                <a:latin typeface="Univers"/>
              </a:rPr>
              <a:t> </a:t>
            </a:r>
            <a:r>
              <a:rPr lang="nl-NL" b="1" dirty="0">
                <a:latin typeface="Univers"/>
              </a:rPr>
              <a:t>voorzieningen</a:t>
            </a:r>
            <a:r>
              <a:rPr lang="nl-NL">
                <a:latin typeface="Univers"/>
              </a:rPr>
              <a:t>, open de kaart op voorzieningen (zoomniveau 15) </a:t>
            </a:r>
            <a:br>
              <a:rPr lang="nl-NL" dirty="0">
                <a:latin typeface="Univers"/>
              </a:rPr>
            </a:br>
            <a:r>
              <a:rPr lang="nl-NL" dirty="0">
                <a:latin typeface="Univers"/>
              </a:rPr>
              <a:t>  </a:t>
            </a:r>
            <a:br>
              <a:rPr lang="nl-NL" dirty="0"/>
            </a:br>
            <a:br>
              <a:rPr lang="nl-NL" dirty="0"/>
            </a:br>
            <a:br>
              <a:rPr lang="nl-NL" dirty="0"/>
            </a:br>
            <a:br>
              <a:rPr lang="nl-NL" dirty="0"/>
            </a:br>
            <a:br>
              <a:rPr lang="nl-NL" dirty="0"/>
            </a:br>
            <a:br>
              <a:rPr lang="nl-NL" dirty="0"/>
            </a:br>
            <a:br>
              <a:rPr lang="nl-NL" dirty="0"/>
            </a:br>
            <a:br>
              <a:rPr lang="nl-NL" dirty="0"/>
            </a:br>
            <a:br>
              <a:rPr lang="nl-NL" dirty="0"/>
            </a:br>
            <a:r>
              <a:rPr lang="nl-NL">
                <a:latin typeface="Univers"/>
              </a:rPr>
              <a:t>Je kunt zelf het gewenste Zoomniveau instellen. Zoomniveau 12 is ver weg, zoomniveau 17 heel dichtbij. </a:t>
            </a:r>
            <a:r>
              <a:rPr lang="nl-NL" dirty="0">
                <a:latin typeface="Univers"/>
              </a:rPr>
              <a:t>Afhankelijk van de grootte van jouw gebied of wijk zal je moeten kijken welk zoomniveau het meest geschikt is. </a:t>
            </a:r>
            <a:endParaRPr lang="nl-NL" dirty="0"/>
          </a:p>
        </p:txBody>
      </p:sp>
      <p:sp>
        <p:nvSpPr>
          <p:cNvPr id="3" name="Titel 2"/>
          <p:cNvSpPr>
            <a:spLocks noGrp="1"/>
          </p:cNvSpPr>
          <p:nvPr>
            <p:ph type="title"/>
          </p:nvPr>
        </p:nvSpPr>
        <p:spPr/>
        <p:txBody>
          <a:bodyPr/>
          <a:lstStyle/>
          <a:p>
            <a:r>
              <a:rPr lang="nl-NL" dirty="0"/>
              <a:t>Situatiekaart plaatsen </a:t>
            </a:r>
            <a:r>
              <a:rPr lang="nl-NL" dirty="0" err="1"/>
              <a:t>Umbraco</a:t>
            </a:r>
            <a:r>
              <a:rPr lang="nl-NL" dirty="0"/>
              <a:t> (1)</a:t>
            </a:r>
          </a:p>
        </p:txBody>
      </p:sp>
      <p:pic>
        <p:nvPicPr>
          <p:cNvPr id="4" name="Afbeelding 3"/>
          <p:cNvPicPr>
            <a:picLocks noChangeAspect="1"/>
          </p:cNvPicPr>
          <p:nvPr/>
        </p:nvPicPr>
        <p:blipFill>
          <a:blip r:embed="rId2"/>
          <a:stretch>
            <a:fillRect/>
          </a:stretch>
        </p:blipFill>
        <p:spPr>
          <a:xfrm>
            <a:off x="1814072" y="3307381"/>
            <a:ext cx="5760640" cy="2160241"/>
          </a:xfrm>
          <a:prstGeom prst="rect">
            <a:avLst/>
          </a:prstGeom>
        </p:spPr>
      </p:pic>
      <p:sp>
        <p:nvSpPr>
          <p:cNvPr id="8" name="Tekstballon: ovaal 7">
            <a:extLst>
              <a:ext uri="{FF2B5EF4-FFF2-40B4-BE49-F238E27FC236}">
                <a16:creationId xmlns:a16="http://schemas.microsoft.com/office/drawing/2014/main" id="{3076842D-3A94-4B9E-830B-6C677A151D31}"/>
              </a:ext>
            </a:extLst>
          </p:cNvPr>
          <p:cNvSpPr/>
          <p:nvPr/>
        </p:nvSpPr>
        <p:spPr>
          <a:xfrm>
            <a:off x="7581947" y="3198221"/>
            <a:ext cx="3761692" cy="1602371"/>
          </a:xfrm>
          <a:prstGeom prst="wedgeEllipseCallout">
            <a:avLst/>
          </a:prstGeom>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l-NL" sz="1000" dirty="0">
                <a:ea typeface="+mn-lt"/>
                <a:cs typeface="+mn-lt"/>
              </a:rPr>
              <a:t>Als je hier de latitude en longitude invult, dan worden de coördinaten uit Salesforce overschreven. Advies is om dit dan ook alleen bij wijze van </a:t>
            </a:r>
            <a:r>
              <a:rPr lang="nl-NL" sz="1000">
                <a:ea typeface="+mn-lt"/>
                <a:cs typeface="+mn-lt"/>
              </a:rPr>
              <a:t>uitzondering te doen, zodat het beheer op één plek (Salesforce) blijft.</a:t>
            </a:r>
            <a:endParaRPr lang="nl-NL" sz="1000" dirty="0"/>
          </a:p>
        </p:txBody>
      </p:sp>
    </p:spTree>
    <p:extLst>
      <p:ext uri="{BB962C8B-B14F-4D97-AF65-F5344CB8AC3E}">
        <p14:creationId xmlns:p14="http://schemas.microsoft.com/office/powerpoint/2010/main" val="2162265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1446523" y="1052736"/>
            <a:ext cx="10152000" cy="5014584"/>
          </a:xfrm>
        </p:spPr>
        <p:txBody>
          <a:bodyPr/>
          <a:lstStyle/>
          <a:p>
            <a:pPr marL="285750" lvl="0" indent="-285750">
              <a:buFont typeface="Arial" panose="020B0604020202020204" pitchFamily="34" charset="0"/>
              <a:buChar char="•"/>
            </a:pPr>
            <a:endParaRPr lang="nl-NL" dirty="0"/>
          </a:p>
          <a:p>
            <a:pPr marL="285750" lvl="0" indent="-285750">
              <a:buFont typeface="Arial" panose="020B0604020202020204" pitchFamily="34" charset="0"/>
              <a:buChar char="•"/>
            </a:pPr>
            <a:r>
              <a:rPr lang="nl-NL" dirty="0"/>
              <a:t>Op de pagina Woningen staat de kavelkaart standaard naast het woningaanbod, om de woningtypes en bouwnummers daadwerkelijk op te zien lichten in de kaart moet je wel eerst polygonen intekenen. </a:t>
            </a:r>
          </a:p>
          <a:p>
            <a:pPr marL="285750" lvl="0" indent="-285750">
              <a:buFont typeface="Arial" panose="020B0604020202020204" pitchFamily="34" charset="0"/>
              <a:buChar char="•"/>
            </a:pPr>
            <a:endParaRPr lang="nl-NL" dirty="0"/>
          </a:p>
          <a:p>
            <a:pPr marL="285750" lvl="0" indent="-285750">
              <a:buFont typeface="Arial" panose="020B0604020202020204" pitchFamily="34" charset="0"/>
              <a:buChar char="•"/>
            </a:pPr>
            <a:endParaRPr lang="nl-NL" dirty="0"/>
          </a:p>
          <a:p>
            <a:pPr marL="285750" lvl="0" indent="-285750">
              <a:buFont typeface="Arial" panose="020B0604020202020204" pitchFamily="34" charset="0"/>
              <a:buChar char="•"/>
            </a:pPr>
            <a:endParaRPr lang="nl-NL" dirty="0"/>
          </a:p>
          <a:p>
            <a:pPr marL="285750" lvl="0" indent="-285750">
              <a:buFont typeface="Arial" panose="020B0604020202020204" pitchFamily="34" charset="0"/>
              <a:buChar char="•"/>
            </a:pPr>
            <a:endParaRPr lang="nl-NL" dirty="0"/>
          </a:p>
          <a:p>
            <a:pPr lvl="0"/>
            <a:endParaRPr lang="nl-NL" dirty="0"/>
          </a:p>
          <a:p>
            <a:pPr marL="285750" lvl="0" indent="-285750">
              <a:buFont typeface="Arial" panose="020B0604020202020204" pitchFamily="34" charset="0"/>
              <a:buChar char="•"/>
            </a:pPr>
            <a:endParaRPr lang="nl-NL" dirty="0"/>
          </a:p>
          <a:p>
            <a:pPr marL="285750" lvl="0" indent="-285750">
              <a:buFont typeface="Arial" panose="020B0604020202020204" pitchFamily="34" charset="0"/>
              <a:buChar char="•"/>
            </a:pPr>
            <a:endParaRPr lang="nl-NL" dirty="0"/>
          </a:p>
        </p:txBody>
      </p:sp>
      <p:sp>
        <p:nvSpPr>
          <p:cNvPr id="3" name="Titel 2"/>
          <p:cNvSpPr>
            <a:spLocks noGrp="1"/>
          </p:cNvSpPr>
          <p:nvPr>
            <p:ph type="title"/>
          </p:nvPr>
        </p:nvSpPr>
        <p:spPr/>
        <p:txBody>
          <a:bodyPr/>
          <a:lstStyle/>
          <a:p>
            <a:r>
              <a:rPr lang="nl-NL" dirty="0"/>
              <a:t>Situatiekaart plaatsen </a:t>
            </a:r>
            <a:r>
              <a:rPr lang="nl-NL" dirty="0" err="1"/>
              <a:t>Umbraco</a:t>
            </a:r>
            <a:r>
              <a:rPr lang="nl-NL" dirty="0"/>
              <a:t> (2)</a:t>
            </a:r>
          </a:p>
        </p:txBody>
      </p:sp>
      <p:pic>
        <p:nvPicPr>
          <p:cNvPr id="4" name="Afbeelding 3"/>
          <p:cNvPicPr>
            <a:picLocks noChangeAspect="1"/>
          </p:cNvPicPr>
          <p:nvPr/>
        </p:nvPicPr>
        <p:blipFill>
          <a:blip r:embed="rId2"/>
          <a:stretch>
            <a:fillRect/>
          </a:stretch>
        </p:blipFill>
        <p:spPr>
          <a:xfrm>
            <a:off x="264939" y="1805082"/>
            <a:ext cx="10943739" cy="5026955"/>
          </a:xfrm>
          <a:prstGeom prst="rect">
            <a:avLst/>
          </a:prstGeom>
        </p:spPr>
      </p:pic>
    </p:spTree>
    <p:extLst>
      <p:ext uri="{BB962C8B-B14F-4D97-AF65-F5344CB8AC3E}">
        <p14:creationId xmlns:p14="http://schemas.microsoft.com/office/powerpoint/2010/main" val="5915048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1440000" y="1484784"/>
            <a:ext cx="10152000" cy="5040560"/>
          </a:xfrm>
        </p:spPr>
        <p:txBody>
          <a:bodyPr vert="horz" lIns="0" tIns="0" rIns="0" bIns="0" rtlCol="0" anchor="t">
            <a:noAutofit/>
          </a:bodyPr>
          <a:lstStyle/>
          <a:p>
            <a:r>
              <a:rPr lang="nl-NL" dirty="0">
                <a:latin typeface="Univers"/>
              </a:rPr>
              <a:t>Om de kaartview op de pagina Woningen in te stellen zet je op het tabblad Info het template op Hestia Area </a:t>
            </a:r>
            <a:r>
              <a:rPr lang="nl-NL" dirty="0" err="1">
                <a:latin typeface="Univers"/>
              </a:rPr>
              <a:t>Properties</a:t>
            </a:r>
            <a:r>
              <a:rPr lang="nl-NL" dirty="0">
                <a:latin typeface="Univers"/>
              </a:rPr>
              <a:t> Page. (mocht dit nog niet het geval zijn)</a:t>
            </a:r>
          </a:p>
          <a:p>
            <a:pPr lvl="0"/>
            <a:endParaRPr lang="nl-NL" dirty="0"/>
          </a:p>
          <a:p>
            <a:pPr lvl="0"/>
            <a:endParaRPr lang="nl-NL" dirty="0"/>
          </a:p>
          <a:p>
            <a:pPr lvl="0"/>
            <a:endParaRPr lang="nl-NL" dirty="0"/>
          </a:p>
          <a:p>
            <a:pPr lvl="0"/>
            <a:endParaRPr lang="nl-NL" dirty="0"/>
          </a:p>
          <a:p>
            <a:pPr lvl="0"/>
            <a:endParaRPr lang="nl-NL" dirty="0"/>
          </a:p>
          <a:p>
            <a:pPr lvl="0"/>
            <a:endParaRPr lang="nl-NL" dirty="0"/>
          </a:p>
          <a:p>
            <a:pPr lvl="0"/>
            <a:endParaRPr lang="nl-NL" dirty="0"/>
          </a:p>
          <a:p>
            <a:pPr lvl="0"/>
            <a:endParaRPr lang="nl-NL" dirty="0"/>
          </a:p>
          <a:p>
            <a:pPr lvl="0"/>
            <a:endParaRPr lang="nl-NL" dirty="0"/>
          </a:p>
          <a:p>
            <a:pPr lvl="0"/>
            <a:endParaRPr lang="nl-NL" dirty="0"/>
          </a:p>
          <a:p>
            <a:pPr lvl="0"/>
            <a:endParaRPr lang="nl-NL" dirty="0"/>
          </a:p>
          <a:p>
            <a:pPr lvl="0"/>
            <a:endParaRPr lang="nl-NL" dirty="0"/>
          </a:p>
          <a:p>
            <a:pPr lvl="0"/>
            <a:endParaRPr lang="nl-NL" dirty="0"/>
          </a:p>
          <a:p>
            <a:pPr lvl="0"/>
            <a:endParaRPr lang="nl-NL" dirty="0"/>
          </a:p>
        </p:txBody>
      </p:sp>
      <p:sp>
        <p:nvSpPr>
          <p:cNvPr id="3" name="Titel 2"/>
          <p:cNvSpPr>
            <a:spLocks noGrp="1"/>
          </p:cNvSpPr>
          <p:nvPr>
            <p:ph type="title"/>
          </p:nvPr>
        </p:nvSpPr>
        <p:spPr/>
        <p:txBody>
          <a:bodyPr/>
          <a:lstStyle/>
          <a:p>
            <a:r>
              <a:rPr lang="nl-NL" dirty="0"/>
              <a:t>Situatiekaart plaatsen </a:t>
            </a:r>
            <a:r>
              <a:rPr lang="nl-NL" dirty="0" err="1"/>
              <a:t>Umbraco</a:t>
            </a:r>
            <a:r>
              <a:rPr lang="nl-NL" dirty="0"/>
              <a:t> (3)</a:t>
            </a:r>
          </a:p>
        </p:txBody>
      </p:sp>
      <p:pic>
        <p:nvPicPr>
          <p:cNvPr id="7" name="Afbeelding 6">
            <a:extLst>
              <a:ext uri="{FF2B5EF4-FFF2-40B4-BE49-F238E27FC236}">
                <a16:creationId xmlns:a16="http://schemas.microsoft.com/office/drawing/2014/main" id="{6149DAF0-0FC0-4272-93A7-A1E7255D9587}"/>
              </a:ext>
            </a:extLst>
          </p:cNvPr>
          <p:cNvPicPr>
            <a:picLocks noChangeAspect="1"/>
          </p:cNvPicPr>
          <p:nvPr/>
        </p:nvPicPr>
        <p:blipFill>
          <a:blip r:embed="rId3"/>
          <a:stretch>
            <a:fillRect/>
          </a:stretch>
        </p:blipFill>
        <p:spPr>
          <a:xfrm>
            <a:off x="1268764" y="2308417"/>
            <a:ext cx="9346207" cy="4176464"/>
          </a:xfrm>
          <a:prstGeom prst="rect">
            <a:avLst/>
          </a:prstGeom>
        </p:spPr>
      </p:pic>
      <p:sp>
        <p:nvSpPr>
          <p:cNvPr id="5" name="Pijl-links 4"/>
          <p:cNvSpPr/>
          <p:nvPr/>
        </p:nvSpPr>
        <p:spPr>
          <a:xfrm>
            <a:off x="10490075" y="5229200"/>
            <a:ext cx="936104" cy="288032"/>
          </a:xfrm>
          <a:prstGeom prst="leftArrow">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5867072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p:cNvSpPr>
            <a:spLocks noGrp="1"/>
          </p:cNvSpPr>
          <p:nvPr>
            <p:ph type="body" idx="1000"/>
          </p:nvPr>
        </p:nvSpPr>
        <p:spPr/>
        <p:txBody>
          <a:bodyPr/>
          <a:lstStyle/>
          <a:p>
            <a:endParaRPr lang="nl-NL"/>
          </a:p>
        </p:txBody>
      </p:sp>
      <p:sp>
        <p:nvSpPr>
          <p:cNvPr id="4" name="Tijdelijke aanduiding voor tekst 3"/>
          <p:cNvSpPr>
            <a:spLocks noGrp="1"/>
          </p:cNvSpPr>
          <p:nvPr>
            <p:ph type="body" idx="1001"/>
          </p:nvPr>
        </p:nvSpPr>
        <p:spPr/>
        <p:txBody>
          <a:bodyPr/>
          <a:lstStyle/>
          <a:p>
            <a:endParaRPr lang="nl-NL"/>
          </a:p>
        </p:txBody>
      </p:sp>
      <p:sp>
        <p:nvSpPr>
          <p:cNvPr id="5" name="Tijdelijke aanduiding voor tekst 4"/>
          <p:cNvSpPr>
            <a:spLocks noGrp="1"/>
          </p:cNvSpPr>
          <p:nvPr>
            <p:ph type="body" idx="1003"/>
          </p:nvPr>
        </p:nvSpPr>
        <p:spPr/>
        <p:txBody>
          <a:bodyPr/>
          <a:lstStyle/>
          <a:p>
            <a:endParaRPr lang="nl-NL"/>
          </a:p>
        </p:txBody>
      </p:sp>
      <p:sp>
        <p:nvSpPr>
          <p:cNvPr id="6" name="Tijdelijke aanduiding voor tekst 5"/>
          <p:cNvSpPr>
            <a:spLocks noGrp="1"/>
          </p:cNvSpPr>
          <p:nvPr>
            <p:ph type="body" idx="1002"/>
          </p:nvPr>
        </p:nvSpPr>
        <p:spPr/>
        <p:txBody>
          <a:bodyPr/>
          <a:lstStyle/>
          <a:p>
            <a:endParaRPr lang="nl-NL"/>
          </a:p>
        </p:txBody>
      </p:sp>
      <p:sp>
        <p:nvSpPr>
          <p:cNvPr id="7" name="Tijdelijke aanduiding voor tekst 6"/>
          <p:cNvSpPr>
            <a:spLocks noGrp="1"/>
          </p:cNvSpPr>
          <p:nvPr>
            <p:ph type="body" sz="quarter" idx="14"/>
          </p:nvPr>
        </p:nvSpPr>
        <p:spPr/>
        <p:txBody>
          <a:bodyPr/>
          <a:lstStyle/>
          <a:p>
            <a:r>
              <a:rPr lang="nl-NL" dirty="0"/>
              <a:t>Lagen (polygonen) intekenen</a:t>
            </a:r>
          </a:p>
        </p:txBody>
      </p:sp>
    </p:spTree>
    <p:extLst>
      <p:ext uri="{BB962C8B-B14F-4D97-AF65-F5344CB8AC3E}">
        <p14:creationId xmlns:p14="http://schemas.microsoft.com/office/powerpoint/2010/main" val="129110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6">
            <a:extLst>
              <a:ext uri="{FF2B5EF4-FFF2-40B4-BE49-F238E27FC236}">
                <a16:creationId xmlns:a16="http://schemas.microsoft.com/office/drawing/2014/main" id="{00826426-D4C9-4F43-AB49-849D029D0EA8}"/>
              </a:ext>
            </a:extLst>
          </p:cNvPr>
          <p:cNvPicPr>
            <a:picLocks noChangeAspect="1"/>
          </p:cNvPicPr>
          <p:nvPr/>
        </p:nvPicPr>
        <p:blipFill>
          <a:blip r:embed="rId2"/>
          <a:stretch>
            <a:fillRect/>
          </a:stretch>
        </p:blipFill>
        <p:spPr>
          <a:xfrm>
            <a:off x="1694359" y="2341279"/>
            <a:ext cx="8604955" cy="4330062"/>
          </a:xfrm>
          <a:prstGeom prst="rect">
            <a:avLst/>
          </a:prstGeom>
        </p:spPr>
      </p:pic>
      <p:sp>
        <p:nvSpPr>
          <p:cNvPr id="2" name="Tijdelijke aanduiding voor inhoud 1"/>
          <p:cNvSpPr>
            <a:spLocks noGrp="1"/>
          </p:cNvSpPr>
          <p:nvPr>
            <p:ph idx="1"/>
          </p:nvPr>
        </p:nvSpPr>
        <p:spPr>
          <a:xfrm>
            <a:off x="984433" y="1255121"/>
            <a:ext cx="10152000" cy="4870568"/>
          </a:xfrm>
        </p:spPr>
        <p:txBody>
          <a:bodyPr/>
          <a:lstStyle/>
          <a:p>
            <a:r>
              <a:rPr lang="nl-NL" b="1" dirty="0" err="1"/>
              <a:t>Mapbox</a:t>
            </a:r>
            <a:r>
              <a:rPr lang="nl-NL" b="1" dirty="0"/>
              <a:t> Editor</a:t>
            </a:r>
          </a:p>
          <a:p>
            <a:endParaRPr lang="nl-NL" b="1" dirty="0"/>
          </a:p>
          <a:p>
            <a:pPr marL="285750" indent="-285750">
              <a:buFont typeface="Arial" panose="020B0604020202020204" pitchFamily="34" charset="0"/>
              <a:buChar char="•"/>
            </a:pPr>
            <a:r>
              <a:rPr lang="nl-NL" dirty="0"/>
              <a:t>De </a:t>
            </a:r>
            <a:r>
              <a:rPr lang="nl-NL" dirty="0" err="1"/>
              <a:t>Mapbox</a:t>
            </a:r>
            <a:r>
              <a:rPr lang="nl-NL" dirty="0"/>
              <a:t> Editor staat in Umbraco bij elke website onder de tab Configuratie.</a:t>
            </a:r>
            <a:br>
              <a:rPr lang="nl-NL" dirty="0"/>
            </a:br>
            <a:endParaRPr lang="nl-NL" dirty="0"/>
          </a:p>
          <a:p>
            <a:endParaRPr lang="nl-NL" dirty="0"/>
          </a:p>
          <a:p>
            <a:pPr marL="285750" lvl="0" indent="-285750">
              <a:buFont typeface="Arial" panose="020B0604020202020204" pitchFamily="34" charset="0"/>
              <a:buChar char="•"/>
            </a:pPr>
            <a:endParaRPr lang="nl-NL" dirty="0"/>
          </a:p>
        </p:txBody>
      </p:sp>
      <p:sp>
        <p:nvSpPr>
          <p:cNvPr id="3" name="Titel 2"/>
          <p:cNvSpPr>
            <a:spLocks noGrp="1"/>
          </p:cNvSpPr>
          <p:nvPr>
            <p:ph type="title"/>
          </p:nvPr>
        </p:nvSpPr>
        <p:spPr/>
        <p:txBody>
          <a:bodyPr/>
          <a:lstStyle/>
          <a:p>
            <a:r>
              <a:rPr lang="nl-NL" dirty="0"/>
              <a:t>Lagen (polygonen) intekenen (1)</a:t>
            </a:r>
          </a:p>
        </p:txBody>
      </p:sp>
      <p:sp>
        <p:nvSpPr>
          <p:cNvPr id="5" name="Pijl-links 4"/>
          <p:cNvSpPr/>
          <p:nvPr/>
        </p:nvSpPr>
        <p:spPr>
          <a:xfrm>
            <a:off x="7555877" y="6310389"/>
            <a:ext cx="1785677" cy="244239"/>
          </a:xfrm>
          <a:prstGeom prst="leftArrow">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Pijl-rechts 5"/>
          <p:cNvSpPr/>
          <p:nvPr/>
        </p:nvSpPr>
        <p:spPr>
          <a:xfrm>
            <a:off x="647912" y="5133923"/>
            <a:ext cx="1584176" cy="225533"/>
          </a:xfrm>
          <a:prstGeom prst="rightArrow">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solidFill>
                <a:srgbClr val="FF0000"/>
              </a:solidFill>
            </a:endParaRPr>
          </a:p>
        </p:txBody>
      </p:sp>
    </p:spTree>
    <p:extLst>
      <p:ext uri="{BB962C8B-B14F-4D97-AF65-F5344CB8AC3E}">
        <p14:creationId xmlns:p14="http://schemas.microsoft.com/office/powerpoint/2010/main" val="40169449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L1Vdy2vv0uuHDqFhrJLRQ"/>
</p:tagLst>
</file>

<file path=ppt/theme/theme1.xml><?xml version="1.0" encoding="utf-8"?>
<a:theme xmlns:a="http://schemas.openxmlformats.org/drawingml/2006/main" name="Huisstijl">
  <a:themeElements>
    <a:clrScheme name="Kleuren BPD">
      <a:dk1>
        <a:srgbClr val="000000"/>
      </a:dk1>
      <a:lt1>
        <a:srgbClr val="FFFFFF"/>
      </a:lt1>
      <a:dk2>
        <a:srgbClr val="000000"/>
      </a:dk2>
      <a:lt2>
        <a:srgbClr val="FFFFFF"/>
      </a:lt2>
      <a:accent1>
        <a:srgbClr val="78BDDE"/>
      </a:accent1>
      <a:accent2>
        <a:srgbClr val="C0CF47"/>
      </a:accent2>
      <a:accent3>
        <a:srgbClr val="AB7AA5"/>
      </a:accent3>
      <a:accent4>
        <a:srgbClr val="AFABAD"/>
      </a:accent4>
      <a:accent5>
        <a:srgbClr val="4BA1BA"/>
      </a:accent5>
      <a:accent6>
        <a:srgbClr val="99A637"/>
      </a:accent6>
      <a:hlink>
        <a:srgbClr val="000000"/>
      </a:hlink>
      <a:folHlink>
        <a:srgbClr val="000000"/>
      </a:folHlink>
    </a:clrScheme>
    <a:fontScheme name="Lettertypen BPD">
      <a:majorFont>
        <a:latin typeface="Univers"/>
        <a:ea typeface=""/>
        <a:cs typeface=""/>
      </a:majorFont>
      <a:minorFont>
        <a:latin typeface="Univers"/>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sz="1800" dirty="0" err="1" smtClean="0"/>
        </a:defPPr>
      </a:lstStyle>
    </a:txDef>
  </a:objectDefaults>
  <a:extraClrSchemeLst/>
  <a:custClrLst>
    <a:custClr name="basis blauw">
      <a:srgbClr val="78BDDE"/>
    </a:custClr>
    <a:custClr name="donker blauw">
      <a:srgbClr val="4BA1BA"/>
    </a:custClr>
    <a:custClr name="licht blauw">
      <a:srgbClr val="B3D8EE"/>
    </a:custClr>
    <a:custClr name="witte buffer">
      <a:srgbClr val="FFFFFF"/>
    </a:custClr>
    <a:custClr name="witte buffer">
      <a:srgbClr val="FFFFFF"/>
    </a:custClr>
    <a:custClr name="basis groen">
      <a:srgbClr val="C0CF47"/>
    </a:custClr>
    <a:custClr name="donker groen">
      <a:srgbClr val="99A637"/>
    </a:custClr>
    <a:custClr name="licht groen">
      <a:srgbClr val="E6E470"/>
    </a:custClr>
    <a:custClr name="witte buffer">
      <a:srgbClr val="FFFFFF"/>
    </a:custClr>
    <a:custClr name="witte buffer">
      <a:srgbClr val="FFFFFF"/>
    </a:custClr>
    <a:custClr name="basis rood">
      <a:srgbClr val="C73735"/>
    </a:custClr>
    <a:custClr name="donker rood">
      <a:srgbClr val="961E2F"/>
    </a:custClr>
    <a:custClr name="licht rood">
      <a:srgbClr val="D78381"/>
    </a:custClr>
    <a:custClr name="witte buffer">
      <a:srgbClr val="FFFFFF"/>
    </a:custClr>
    <a:custClr name="witte buffer">
      <a:srgbClr val="FFFFFF"/>
    </a:custClr>
    <a:custClr name="basis grijs">
      <a:srgbClr val="AFABAD"/>
    </a:custClr>
    <a:custClr name="donker grijs">
      <a:srgbClr val="898285"/>
    </a:custClr>
    <a:custClr name="licht grijs">
      <a:srgbClr val="CCC8CB"/>
    </a:custClr>
    <a:custClr name="witte buffer">
      <a:srgbClr val="FFFFFF"/>
    </a:custClr>
    <a:custClr name="witte buffer">
      <a:srgbClr val="FFFFFF"/>
    </a:custClr>
    <a:custClr name="basis paars">
      <a:srgbClr val="AB7AA5"/>
    </a:custClr>
    <a:custClr name="donker paars">
      <a:srgbClr val="8B536A"/>
    </a:custClr>
    <a:custClr name="licht paars">
      <a:srgbClr val="D5ADC8"/>
    </a:custClr>
    <a:custClr name="witte buffer">
      <a:srgbClr val="FFFFFF"/>
    </a:custClr>
    <a:custClr name="witte buffer">
      <a:srgbClr val="FFFFFF"/>
    </a:custClr>
    <a:custClr name="basis oranje">
      <a:srgbClr val="D8981F"/>
    </a:custClr>
    <a:custClr name="donker oranje">
      <a:srgbClr val="C0601A"/>
    </a:custClr>
    <a:custClr name="licht oranje">
      <a:srgbClr val="EEC666"/>
    </a:custClr>
    <a:custClr name="witte buffer">
      <a:srgbClr val="FFFFFF"/>
    </a:custClr>
    <a:custClr name="witte buffer">
      <a:srgbClr val="FFFFFF"/>
    </a:custClr>
    <a:custClr name="basis blauw (2)">
      <a:srgbClr val="396EB3"/>
    </a:custClr>
    <a:custClr name="donker blauw (2)">
      <a:srgbClr val="254676"/>
    </a:custClr>
    <a:custClr name="licht blauw (2)">
      <a:srgbClr val="81B1E1"/>
    </a:custClr>
    <a:custClr name="witte buffer">
      <a:srgbClr val="FFFFFF"/>
    </a:custClr>
    <a:custClr name="witte buffer">
      <a:srgbClr val="FFFFFF"/>
    </a:custClr>
    <a:custClr name="basis oker">
      <a:srgbClr val="CDB47F"/>
    </a:custClr>
    <a:custClr name="donker oker">
      <a:srgbClr val="AF8D46"/>
    </a:custClr>
    <a:custClr name="licht oker">
      <a:srgbClr val="E0D0AE"/>
    </a:custClr>
    <a:custClr name="witte buffer">
      <a:srgbClr val="FFFFFF"/>
    </a:custClr>
    <a:custClr name="witte buffer">
      <a:srgbClr val="FFFFFF"/>
    </a:custClr>
    <a:custClr name="basis oud rose">
      <a:srgbClr val="B49EA1"/>
    </a:custClr>
    <a:custClr name="donker oud rose">
      <a:srgbClr val="947D7F"/>
    </a:custClr>
    <a:custClr name="licht oud rose">
      <a:srgbClr val="DEC7C3"/>
    </a:custClr>
  </a:custClrLst>
  <a:extLst>
    <a:ext uri="{05A4C25C-085E-4340-85A3-A5531E510DB2}">
      <thm15:themeFamily xmlns:thm15="http://schemas.microsoft.com/office/thememl/2012/main" name="Blank.potx" id="{95BA7812-C2FE-4C00-8E45-7A6E5DF960DA}" vid="{72257B16-91A0-4119-BD20-2E52E57CEECA}"/>
    </a:ext>
  </a:extLst>
</a:theme>
</file>

<file path=ppt/theme/theme2.xml><?xml version="1.0" encoding="utf-8"?>
<a:theme xmlns:a="http://schemas.openxmlformats.org/drawingml/2006/main" name="Office-thema">
  <a:themeElements>
    <a:clrScheme name="Notes colors">
      <a:dk1>
        <a:srgbClr val="000000"/>
      </a:dk1>
      <a:lt1>
        <a:srgbClr val="FFFFFF"/>
      </a:lt1>
      <a:dk2>
        <a:srgbClr val="000000"/>
      </a:dk2>
      <a:lt2>
        <a:srgbClr val="FFFFFF"/>
      </a:lt2>
      <a:accent1>
        <a:srgbClr val="78BDDE"/>
      </a:accent1>
      <a:accent2>
        <a:srgbClr val="C0CF47"/>
      </a:accent2>
      <a:accent3>
        <a:srgbClr val="AB7AA5"/>
      </a:accent3>
      <a:accent4>
        <a:srgbClr val="AFABAD"/>
      </a:accent4>
      <a:accent5>
        <a:srgbClr val="4BA1BA"/>
      </a:accent5>
      <a:accent6>
        <a:srgbClr val="99A637"/>
      </a:accent6>
      <a:hlink>
        <a:srgbClr val="000000"/>
      </a:hlink>
      <a:folHlink>
        <a:srgbClr val="000000"/>
      </a:folHlink>
    </a:clrScheme>
    <a:fontScheme name="Notes fonts">
      <a:majorFont>
        <a:latin typeface="Univers"/>
        <a:ea typeface=""/>
        <a:cs typeface=""/>
      </a:majorFont>
      <a:minorFont>
        <a:latin typeface="Univers"/>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hema">
  <a:themeElements>
    <a:clrScheme name="Handout colors">
      <a:dk1>
        <a:srgbClr val="000000"/>
      </a:dk1>
      <a:lt1>
        <a:srgbClr val="FFFFFF"/>
      </a:lt1>
      <a:dk2>
        <a:srgbClr val="000000"/>
      </a:dk2>
      <a:lt2>
        <a:srgbClr val="FFFFFF"/>
      </a:lt2>
      <a:accent1>
        <a:srgbClr val="78BDDE"/>
      </a:accent1>
      <a:accent2>
        <a:srgbClr val="C0CF47"/>
      </a:accent2>
      <a:accent3>
        <a:srgbClr val="AB7AA5"/>
      </a:accent3>
      <a:accent4>
        <a:srgbClr val="AFABAD"/>
      </a:accent4>
      <a:accent5>
        <a:srgbClr val="4BA1BA"/>
      </a:accent5>
      <a:accent6>
        <a:srgbClr val="99A637"/>
      </a:accent6>
      <a:hlink>
        <a:srgbClr val="000000"/>
      </a:hlink>
      <a:folHlink>
        <a:srgbClr val="000000"/>
      </a:folHlink>
    </a:clrScheme>
    <a:fontScheme name="Handout fonts">
      <a:majorFont>
        <a:latin typeface="Univers"/>
        <a:ea typeface=""/>
        <a:cs typeface=""/>
      </a:majorFont>
      <a:minorFont>
        <a:latin typeface="Univers"/>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juid xmlns="http://www.joulesunlimited.com/juid"/>
</file>

<file path=customXml/item10.xml><?xml version="1.0" encoding="utf-8"?>
<juid xmlns="http://www.joulesunlimited.com/juid"/>
</file>

<file path=customXml/item11.xml><?xml version="1.0" encoding="utf-8"?>
<juid xmlns="http://www.joulesunlimited.com/juid"/>
</file>

<file path=customXml/item12.xml><?xml version="1.0" encoding="utf-8"?>
<juid xmlns="http://www.joulesunlimited.com/juid"/>
</file>

<file path=customXml/item13.xml><?xml version="1.0" encoding="utf-8"?>
<juid xmlns="http://www.joulesunlimited.com/juid"/>
</file>

<file path=customXml/item14.xml><?xml version="1.0" encoding="utf-8"?>
<juid xmlns="http://www.joulesunlimited.com/juid"/>
</file>

<file path=customXml/item15.xml><?xml version="1.0" encoding="utf-8"?>
<juid xmlns="http://www.joulesunlimited.com/juid"/>
</file>

<file path=customXml/item16.xml><?xml version="1.0" encoding="utf-8"?>
<juid xmlns="http://www.joulesunlimited.com/juid"/>
</file>

<file path=customXml/item17.xml><?xml version="1.0" encoding="utf-8"?>
<juid xmlns="http://www.joulesunlimited.com/juid"/>
</file>

<file path=customXml/item18.xml><?xml version="1.0" encoding="utf-8"?>
<juid xmlns="http://www.joulesunlimited.com/juid"/>
</file>

<file path=customXml/item19.xml><?xml version="1.0" encoding="utf-8"?>
<juid xmlns="http://www.joulesunlimited.com/juid"/>
</file>

<file path=customXml/item2.xml><?xml version="1.0" encoding="utf-8"?>
<juid xmlns="http://www.joulesunlimited.com/juid"/>
</file>

<file path=customXml/item20.xml><?xml version="1.0" encoding="utf-8"?>
<juid xmlns="http://www.joulesunlimited.com/juid"/>
</file>

<file path=customXml/item21.xml><?xml version="1.0" encoding="utf-8"?>
<?mso-contentType ?>
<FormTemplates xmlns="http://schemas.microsoft.com/sharepoint/v3/contenttype/forms">
  <Display>DocumentLibraryForm</Display>
  <Edit>DocumentLibraryForm</Edit>
  <New>DocumentLibraryForm</New>
</FormTemplates>
</file>

<file path=customXml/item22.xml><?xml version="1.0" encoding="utf-8"?>
<juid xmlns="http://www.joulesunlimited.com/juid"/>
</file>

<file path=customXml/item23.xml><?xml version="1.0" encoding="utf-8"?>
<p:properties xmlns:p="http://schemas.microsoft.com/office/2006/metadata/properties" xmlns:xsi="http://www.w3.org/2001/XMLSchema-instance" xmlns:pc="http://schemas.microsoft.com/office/infopath/2007/PartnerControls">
  <documentManagement/>
</p:properties>
</file>

<file path=customXml/item24.xml><?xml version="1.0" encoding="utf-8"?>
<ct:contentTypeSchema xmlns:ct="http://schemas.microsoft.com/office/2006/metadata/contentType" xmlns:ma="http://schemas.microsoft.com/office/2006/metadata/properties/metaAttributes" ct:_="" ma:_="" ma:contentTypeName="Document" ma:contentTypeID="0x010100E0D600B9F8C3CC4CAF0ED9A0065BBB5B" ma:contentTypeVersion="7" ma:contentTypeDescription="Een nieuw document maken." ma:contentTypeScope="" ma:versionID="8add133952735fe48968d5ae910bebd5">
  <xsd:schema xmlns:xsd="http://www.w3.org/2001/XMLSchema" xmlns:xs="http://www.w3.org/2001/XMLSchema" xmlns:p="http://schemas.microsoft.com/office/2006/metadata/properties" xmlns:ns2="c6f4088e-b43b-4be3-b7a7-788072979720" targetNamespace="http://schemas.microsoft.com/office/2006/metadata/properties" ma:root="true" ma:fieldsID="6c9166d8e10fa082e482d6f68d920806" ns2:_="">
    <xsd:import namespace="c6f4088e-b43b-4be3-b7a7-788072979720"/>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6f4088e-b43b-4be3-b7a7-78807297972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5.xml><?xml version="1.0" encoding="utf-8"?>
<juid xmlns="http://www.joulesunlimited.com/juid"/>
</file>

<file path=customXml/item26.xml><?xml version="1.0" encoding="utf-8"?>
<juid xmlns="http://www.joulesunlimited.com/juid"/>
</file>

<file path=customXml/item27.xml><?xml version="1.0" encoding="utf-8"?>
<juid xmlns="http://www.joulesunlimited.com/juid"/>
</file>

<file path=customXml/item28.xml><?xml version="1.0" encoding="utf-8"?>
<juid xmlns="http://www.joulesunlimited.com/juid"/>
</file>

<file path=customXml/item29.xml><?xml version="1.0" encoding="utf-8"?>
<juid xmlns="http://www.joulesunlimited.com/juid"/>
</file>

<file path=customXml/item3.xml><?xml version="1.0" encoding="utf-8"?>
<juid xmlns="http://www.joulesunlimited.com/juid"/>
</file>

<file path=customXml/item30.xml><?xml version="1.0" encoding="utf-8"?>
<juid xmlns="http://www.joulesunlimited.com/juid"/>
</file>

<file path=customXml/item31.xml><?xml version="1.0" encoding="utf-8"?>
<juid xmlns="http://www.joulesunlimited.com/juid"/>
</file>

<file path=customXml/item32.xml><?xml version="1.0" encoding="utf-8"?>
<juid xmlns="http://www.joulesunlimited.com/juid"/>
</file>

<file path=customXml/item33.xml><?xml version="1.0" encoding="utf-8"?>
<juid xmlns="http://www.joulesunlimited.com/juid"/>
</file>

<file path=customXml/item34.xml><?xml version="1.0" encoding="utf-8"?>
<juid xmlns="http://www.joulesunlimited.com/juid"/>
</file>

<file path=customXml/item35.xml><?xml version="1.0" encoding="utf-8"?>
<juid xmlns="http://www.joulesunlimited.com/juid"/>
</file>

<file path=customXml/item36.xml><?xml version="1.0" encoding="utf-8"?>
<juid xmlns="http://www.joulesunlimited.com/juid"/>
</file>

<file path=customXml/item37.xml><?xml version="1.0" encoding="utf-8"?>
<juid xmlns="http://www.joulesunlimited.com/juid"/>
</file>

<file path=customXml/item38.xml><?xml version="1.0" encoding="utf-8"?>
<juid xmlns="http://www.joulesunlimited.com/juid"/>
</file>

<file path=customXml/item39.xml><?xml version="1.0" encoding="utf-8"?>
<juid xmlns="http://www.joulesunlimited.com/juid"/>
</file>

<file path=customXml/item4.xml><?xml version="1.0" encoding="utf-8"?>
<juid xmlns="http://www.joulesunlimited.com/juid"/>
</file>

<file path=customXml/item40.xml><?xml version="1.0" encoding="utf-8"?>
<juid xmlns="http://www.joulesunlimited.com/juid"/>
</file>

<file path=customXml/item41.xml><?xml version="1.0" encoding="utf-8"?>
<juid xmlns="http://www.joulesunlimited.com/juid"/>
</file>

<file path=customXml/item42.xml><?xml version="1.0" encoding="utf-8"?>
<juid xmlns="http://www.joulesunlimited.com/juid"/>
</file>

<file path=customXml/item43.xml><?xml version="1.0" encoding="utf-8"?>
<juid xmlns="http://www.joulesunlimited.com/juid"/>
</file>

<file path=customXml/item5.xml><?xml version="1.0" encoding="utf-8"?>
<juid xmlns="http://www.joulesunlimited.com/juid"/>
</file>

<file path=customXml/item6.xml><?xml version="1.0" encoding="utf-8"?>
<juid xmlns="http://www.joulesunlimited.com/juid"/>
</file>

<file path=customXml/item7.xml><?xml version="1.0" encoding="utf-8"?>
<juid xmlns="http://www.joulesunlimited.com/juid"/>
</file>

<file path=customXml/item8.xml><?xml version="1.0" encoding="utf-8"?>
<juid xmlns="http://www.joulesunlimited.com/juid"/>
</file>

<file path=customXml/item9.xml><?xml version="1.0" encoding="utf-8"?>
<juid xmlns="http://www.joulesunlimited.com/juid"/>
</file>

<file path=customXml/itemProps1.xml><?xml version="1.0" encoding="utf-8"?>
<ds:datastoreItem xmlns:ds="http://schemas.openxmlformats.org/officeDocument/2006/customXml" ds:itemID="{3FC9C9E5-7612-4146-982B-035F231F294F}">
  <ds:schemaRefs>
    <ds:schemaRef ds:uri="http://www.joulesunlimited.com/juid"/>
  </ds:schemaRefs>
</ds:datastoreItem>
</file>

<file path=customXml/itemProps10.xml><?xml version="1.0" encoding="utf-8"?>
<ds:datastoreItem xmlns:ds="http://schemas.openxmlformats.org/officeDocument/2006/customXml" ds:itemID="{579353D8-92AF-4236-BF6B-E5D0BEA5C632}">
  <ds:schemaRefs>
    <ds:schemaRef ds:uri="http://www.joulesunlimited.com/juid"/>
  </ds:schemaRefs>
</ds:datastoreItem>
</file>

<file path=customXml/itemProps11.xml><?xml version="1.0" encoding="utf-8"?>
<ds:datastoreItem xmlns:ds="http://schemas.openxmlformats.org/officeDocument/2006/customXml" ds:itemID="{BD1D4E27-0728-4F9A-8027-2B87522E0900}">
  <ds:schemaRefs>
    <ds:schemaRef ds:uri="http://www.joulesunlimited.com/juid"/>
  </ds:schemaRefs>
</ds:datastoreItem>
</file>

<file path=customXml/itemProps12.xml><?xml version="1.0" encoding="utf-8"?>
<ds:datastoreItem xmlns:ds="http://schemas.openxmlformats.org/officeDocument/2006/customXml" ds:itemID="{BF425FD9-A45F-4DFB-A71C-7B347356E8D3}">
  <ds:schemaRefs>
    <ds:schemaRef ds:uri="http://www.joulesunlimited.com/juid"/>
  </ds:schemaRefs>
</ds:datastoreItem>
</file>

<file path=customXml/itemProps13.xml><?xml version="1.0" encoding="utf-8"?>
<ds:datastoreItem xmlns:ds="http://schemas.openxmlformats.org/officeDocument/2006/customXml" ds:itemID="{CD4F7DFA-C7CE-4990-B8C2-3FBC03464B43}">
  <ds:schemaRefs>
    <ds:schemaRef ds:uri="http://www.joulesunlimited.com/juid"/>
  </ds:schemaRefs>
</ds:datastoreItem>
</file>

<file path=customXml/itemProps14.xml><?xml version="1.0" encoding="utf-8"?>
<ds:datastoreItem xmlns:ds="http://schemas.openxmlformats.org/officeDocument/2006/customXml" ds:itemID="{89AF63AC-1D12-427D-8CAE-BA12F5FFB7C9}">
  <ds:schemaRefs>
    <ds:schemaRef ds:uri="http://www.joulesunlimited.com/juid"/>
  </ds:schemaRefs>
</ds:datastoreItem>
</file>

<file path=customXml/itemProps15.xml><?xml version="1.0" encoding="utf-8"?>
<ds:datastoreItem xmlns:ds="http://schemas.openxmlformats.org/officeDocument/2006/customXml" ds:itemID="{0F1421BF-6B03-4737-8C31-1A5076360FF2}">
  <ds:schemaRefs>
    <ds:schemaRef ds:uri="http://www.joulesunlimited.com/juid"/>
  </ds:schemaRefs>
</ds:datastoreItem>
</file>

<file path=customXml/itemProps16.xml><?xml version="1.0" encoding="utf-8"?>
<ds:datastoreItem xmlns:ds="http://schemas.openxmlformats.org/officeDocument/2006/customXml" ds:itemID="{0215988D-8405-4CBD-B2E0-572B44AA78A6}">
  <ds:schemaRefs>
    <ds:schemaRef ds:uri="http://www.joulesunlimited.com/juid"/>
  </ds:schemaRefs>
</ds:datastoreItem>
</file>

<file path=customXml/itemProps17.xml><?xml version="1.0" encoding="utf-8"?>
<ds:datastoreItem xmlns:ds="http://schemas.openxmlformats.org/officeDocument/2006/customXml" ds:itemID="{26638E4C-C03E-42A3-8F43-3920909413E1}">
  <ds:schemaRefs>
    <ds:schemaRef ds:uri="http://www.joulesunlimited.com/juid"/>
  </ds:schemaRefs>
</ds:datastoreItem>
</file>

<file path=customXml/itemProps18.xml><?xml version="1.0" encoding="utf-8"?>
<ds:datastoreItem xmlns:ds="http://schemas.openxmlformats.org/officeDocument/2006/customXml" ds:itemID="{E3DD3A5D-4607-4778-8E74-5F3804B34FB4}">
  <ds:schemaRefs>
    <ds:schemaRef ds:uri="http://www.joulesunlimited.com/juid"/>
  </ds:schemaRefs>
</ds:datastoreItem>
</file>

<file path=customXml/itemProps19.xml><?xml version="1.0" encoding="utf-8"?>
<ds:datastoreItem xmlns:ds="http://schemas.openxmlformats.org/officeDocument/2006/customXml" ds:itemID="{335C51EF-4C6B-4777-BE6F-8D75D2B934D7}">
  <ds:schemaRefs>
    <ds:schemaRef ds:uri="http://www.joulesunlimited.com/juid"/>
  </ds:schemaRefs>
</ds:datastoreItem>
</file>

<file path=customXml/itemProps2.xml><?xml version="1.0" encoding="utf-8"?>
<ds:datastoreItem xmlns:ds="http://schemas.openxmlformats.org/officeDocument/2006/customXml" ds:itemID="{55BA2C02-FCD7-4B64-ABC4-188C783DBB4C}">
  <ds:schemaRefs>
    <ds:schemaRef ds:uri="http://www.joulesunlimited.com/juid"/>
  </ds:schemaRefs>
</ds:datastoreItem>
</file>

<file path=customXml/itemProps20.xml><?xml version="1.0" encoding="utf-8"?>
<ds:datastoreItem xmlns:ds="http://schemas.openxmlformats.org/officeDocument/2006/customXml" ds:itemID="{D17E4D6C-A534-4F95-A758-B459378894EE}">
  <ds:schemaRefs>
    <ds:schemaRef ds:uri="http://www.joulesunlimited.com/juid"/>
  </ds:schemaRefs>
</ds:datastoreItem>
</file>

<file path=customXml/itemProps21.xml><?xml version="1.0" encoding="utf-8"?>
<ds:datastoreItem xmlns:ds="http://schemas.openxmlformats.org/officeDocument/2006/customXml" ds:itemID="{4C8C570C-F707-4BC2-A510-3480A762B9D8}">
  <ds:schemaRefs>
    <ds:schemaRef ds:uri="http://schemas.microsoft.com/sharepoint/v3/contenttype/forms"/>
  </ds:schemaRefs>
</ds:datastoreItem>
</file>

<file path=customXml/itemProps22.xml><?xml version="1.0" encoding="utf-8"?>
<ds:datastoreItem xmlns:ds="http://schemas.openxmlformats.org/officeDocument/2006/customXml" ds:itemID="{08C88160-2B7E-4A57-9C9F-63561DD82087}">
  <ds:schemaRefs>
    <ds:schemaRef ds:uri="http://www.joulesunlimited.com/juid"/>
  </ds:schemaRefs>
</ds:datastoreItem>
</file>

<file path=customXml/itemProps23.xml><?xml version="1.0" encoding="utf-8"?>
<ds:datastoreItem xmlns:ds="http://schemas.openxmlformats.org/officeDocument/2006/customXml" ds:itemID="{53B8BB20-5936-482F-A274-5F5C1EB9EF46}">
  <ds:schemaRefs>
    <ds:schemaRef ds:uri="http://schemas.microsoft.com/office/2006/metadata/properties"/>
    <ds:schemaRef ds:uri="http://schemas.microsoft.com/office/infopath/2007/PartnerControls"/>
  </ds:schemaRefs>
</ds:datastoreItem>
</file>

<file path=customXml/itemProps24.xml><?xml version="1.0" encoding="utf-8"?>
<ds:datastoreItem xmlns:ds="http://schemas.openxmlformats.org/officeDocument/2006/customXml" ds:itemID="{288941ED-6120-4CE2-9D07-0367663EF9C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6f4088e-b43b-4be3-b7a7-78807297972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5.xml><?xml version="1.0" encoding="utf-8"?>
<ds:datastoreItem xmlns:ds="http://schemas.openxmlformats.org/officeDocument/2006/customXml" ds:itemID="{D9D90869-0710-4309-BAC7-AA5C91A7EE62}">
  <ds:schemaRefs>
    <ds:schemaRef ds:uri="http://www.joulesunlimited.com/juid"/>
  </ds:schemaRefs>
</ds:datastoreItem>
</file>

<file path=customXml/itemProps26.xml><?xml version="1.0" encoding="utf-8"?>
<ds:datastoreItem xmlns:ds="http://schemas.openxmlformats.org/officeDocument/2006/customXml" ds:itemID="{B1F36B94-5473-4D79-AB16-CDC6E82541E3}">
  <ds:schemaRefs>
    <ds:schemaRef ds:uri="http://www.joulesunlimited.com/juid"/>
  </ds:schemaRefs>
</ds:datastoreItem>
</file>

<file path=customXml/itemProps27.xml><?xml version="1.0" encoding="utf-8"?>
<ds:datastoreItem xmlns:ds="http://schemas.openxmlformats.org/officeDocument/2006/customXml" ds:itemID="{D1AA7F8C-AE1D-410B-AAC7-2B200EF85374}">
  <ds:schemaRefs>
    <ds:schemaRef ds:uri="http://www.joulesunlimited.com/juid"/>
  </ds:schemaRefs>
</ds:datastoreItem>
</file>

<file path=customXml/itemProps28.xml><?xml version="1.0" encoding="utf-8"?>
<ds:datastoreItem xmlns:ds="http://schemas.openxmlformats.org/officeDocument/2006/customXml" ds:itemID="{725E2FAD-553E-46E8-BD42-159766C4B0A2}">
  <ds:schemaRefs>
    <ds:schemaRef ds:uri="http://www.joulesunlimited.com/juid"/>
  </ds:schemaRefs>
</ds:datastoreItem>
</file>

<file path=customXml/itemProps29.xml><?xml version="1.0" encoding="utf-8"?>
<ds:datastoreItem xmlns:ds="http://schemas.openxmlformats.org/officeDocument/2006/customXml" ds:itemID="{8D75AFC6-FD09-4D83-8853-F47C81DB1B31}">
  <ds:schemaRefs>
    <ds:schemaRef ds:uri="http://www.joulesunlimited.com/juid"/>
  </ds:schemaRefs>
</ds:datastoreItem>
</file>

<file path=customXml/itemProps3.xml><?xml version="1.0" encoding="utf-8"?>
<ds:datastoreItem xmlns:ds="http://schemas.openxmlformats.org/officeDocument/2006/customXml" ds:itemID="{F2CBCD62-0F6B-4A45-919C-ED867E891B5A}">
  <ds:schemaRefs>
    <ds:schemaRef ds:uri="http://www.joulesunlimited.com/juid"/>
  </ds:schemaRefs>
</ds:datastoreItem>
</file>

<file path=customXml/itemProps30.xml><?xml version="1.0" encoding="utf-8"?>
<ds:datastoreItem xmlns:ds="http://schemas.openxmlformats.org/officeDocument/2006/customXml" ds:itemID="{51A338A6-52E0-4A6B-ADB6-956AC22B705D}">
  <ds:schemaRefs>
    <ds:schemaRef ds:uri="http://www.joulesunlimited.com/juid"/>
  </ds:schemaRefs>
</ds:datastoreItem>
</file>

<file path=customXml/itemProps31.xml><?xml version="1.0" encoding="utf-8"?>
<ds:datastoreItem xmlns:ds="http://schemas.openxmlformats.org/officeDocument/2006/customXml" ds:itemID="{DCC122C0-B004-49D0-AA43-BC5E26442DD2}">
  <ds:schemaRefs>
    <ds:schemaRef ds:uri="http://www.joulesunlimited.com/juid"/>
  </ds:schemaRefs>
</ds:datastoreItem>
</file>

<file path=customXml/itemProps32.xml><?xml version="1.0" encoding="utf-8"?>
<ds:datastoreItem xmlns:ds="http://schemas.openxmlformats.org/officeDocument/2006/customXml" ds:itemID="{C13DA047-5220-49C7-BFA4-E7509E03F9EB}">
  <ds:schemaRefs>
    <ds:schemaRef ds:uri="http://www.joulesunlimited.com/juid"/>
  </ds:schemaRefs>
</ds:datastoreItem>
</file>

<file path=customXml/itemProps33.xml><?xml version="1.0" encoding="utf-8"?>
<ds:datastoreItem xmlns:ds="http://schemas.openxmlformats.org/officeDocument/2006/customXml" ds:itemID="{EAE594F3-685D-4F42-9D06-348A037677F7}">
  <ds:schemaRefs>
    <ds:schemaRef ds:uri="http://www.joulesunlimited.com/juid"/>
  </ds:schemaRefs>
</ds:datastoreItem>
</file>

<file path=customXml/itemProps34.xml><?xml version="1.0" encoding="utf-8"?>
<ds:datastoreItem xmlns:ds="http://schemas.openxmlformats.org/officeDocument/2006/customXml" ds:itemID="{54F26907-F8EE-43EE-A279-400649F4C584}">
  <ds:schemaRefs>
    <ds:schemaRef ds:uri="http://www.joulesunlimited.com/juid"/>
  </ds:schemaRefs>
</ds:datastoreItem>
</file>

<file path=customXml/itemProps35.xml><?xml version="1.0" encoding="utf-8"?>
<ds:datastoreItem xmlns:ds="http://schemas.openxmlformats.org/officeDocument/2006/customXml" ds:itemID="{93CEE876-5C87-4586-974B-C9B4494EC647}">
  <ds:schemaRefs>
    <ds:schemaRef ds:uri="http://www.joulesunlimited.com/juid"/>
  </ds:schemaRefs>
</ds:datastoreItem>
</file>

<file path=customXml/itemProps36.xml><?xml version="1.0" encoding="utf-8"?>
<ds:datastoreItem xmlns:ds="http://schemas.openxmlformats.org/officeDocument/2006/customXml" ds:itemID="{DF06E8EA-612C-47EA-9DDD-48F744588E69}">
  <ds:schemaRefs>
    <ds:schemaRef ds:uri="http://www.joulesunlimited.com/juid"/>
  </ds:schemaRefs>
</ds:datastoreItem>
</file>

<file path=customXml/itemProps37.xml><?xml version="1.0" encoding="utf-8"?>
<ds:datastoreItem xmlns:ds="http://schemas.openxmlformats.org/officeDocument/2006/customXml" ds:itemID="{6777D350-CCC0-437E-B96D-59B1DFFA0344}">
  <ds:schemaRefs>
    <ds:schemaRef ds:uri="http://www.joulesunlimited.com/juid"/>
  </ds:schemaRefs>
</ds:datastoreItem>
</file>

<file path=customXml/itemProps38.xml><?xml version="1.0" encoding="utf-8"?>
<ds:datastoreItem xmlns:ds="http://schemas.openxmlformats.org/officeDocument/2006/customXml" ds:itemID="{7FEA2F95-30CA-4D1F-BEE4-55D073043971}">
  <ds:schemaRefs>
    <ds:schemaRef ds:uri="http://www.joulesunlimited.com/juid"/>
  </ds:schemaRefs>
</ds:datastoreItem>
</file>

<file path=customXml/itemProps39.xml><?xml version="1.0" encoding="utf-8"?>
<ds:datastoreItem xmlns:ds="http://schemas.openxmlformats.org/officeDocument/2006/customXml" ds:itemID="{4D5CC756-C15A-4C49-861F-8545441FF73E}">
  <ds:schemaRefs>
    <ds:schemaRef ds:uri="http://www.joulesunlimited.com/juid"/>
  </ds:schemaRefs>
</ds:datastoreItem>
</file>

<file path=customXml/itemProps4.xml><?xml version="1.0" encoding="utf-8"?>
<ds:datastoreItem xmlns:ds="http://schemas.openxmlformats.org/officeDocument/2006/customXml" ds:itemID="{6BEB7FDB-DDAB-46F4-8637-A3A435E259D5}">
  <ds:schemaRefs>
    <ds:schemaRef ds:uri="http://www.joulesunlimited.com/juid"/>
  </ds:schemaRefs>
</ds:datastoreItem>
</file>

<file path=customXml/itemProps40.xml><?xml version="1.0" encoding="utf-8"?>
<ds:datastoreItem xmlns:ds="http://schemas.openxmlformats.org/officeDocument/2006/customXml" ds:itemID="{F498FFE5-08D2-4B38-B3E4-9A2E3BC1F95C}">
  <ds:schemaRefs>
    <ds:schemaRef ds:uri="http://www.joulesunlimited.com/juid"/>
  </ds:schemaRefs>
</ds:datastoreItem>
</file>

<file path=customXml/itemProps41.xml><?xml version="1.0" encoding="utf-8"?>
<ds:datastoreItem xmlns:ds="http://schemas.openxmlformats.org/officeDocument/2006/customXml" ds:itemID="{42FCC311-D650-4873-B872-E910AD56AAF7}">
  <ds:schemaRefs>
    <ds:schemaRef ds:uri="http://www.joulesunlimited.com/juid"/>
  </ds:schemaRefs>
</ds:datastoreItem>
</file>

<file path=customXml/itemProps42.xml><?xml version="1.0" encoding="utf-8"?>
<ds:datastoreItem xmlns:ds="http://schemas.openxmlformats.org/officeDocument/2006/customXml" ds:itemID="{B0BE0FEB-DC08-4D3C-B1F4-15A24579C196}">
  <ds:schemaRefs>
    <ds:schemaRef ds:uri="http://www.joulesunlimited.com/juid"/>
  </ds:schemaRefs>
</ds:datastoreItem>
</file>

<file path=customXml/itemProps43.xml><?xml version="1.0" encoding="utf-8"?>
<ds:datastoreItem xmlns:ds="http://schemas.openxmlformats.org/officeDocument/2006/customXml" ds:itemID="{FD2E54D3-361C-4C21-B851-D1A5A204D0C1}">
  <ds:schemaRefs>
    <ds:schemaRef ds:uri="http://www.joulesunlimited.com/juid"/>
  </ds:schemaRefs>
</ds:datastoreItem>
</file>

<file path=customXml/itemProps5.xml><?xml version="1.0" encoding="utf-8"?>
<ds:datastoreItem xmlns:ds="http://schemas.openxmlformats.org/officeDocument/2006/customXml" ds:itemID="{66FB05DB-96DF-4F75-9C10-25C64A263AA4}">
  <ds:schemaRefs>
    <ds:schemaRef ds:uri="http://www.joulesunlimited.com/juid"/>
  </ds:schemaRefs>
</ds:datastoreItem>
</file>

<file path=customXml/itemProps6.xml><?xml version="1.0" encoding="utf-8"?>
<ds:datastoreItem xmlns:ds="http://schemas.openxmlformats.org/officeDocument/2006/customXml" ds:itemID="{73CAE6E2-8E02-4768-B9BA-06D738FC1467}">
  <ds:schemaRefs>
    <ds:schemaRef ds:uri="http://www.joulesunlimited.com/juid"/>
  </ds:schemaRefs>
</ds:datastoreItem>
</file>

<file path=customXml/itemProps7.xml><?xml version="1.0" encoding="utf-8"?>
<ds:datastoreItem xmlns:ds="http://schemas.openxmlformats.org/officeDocument/2006/customXml" ds:itemID="{EBFF11DA-400F-4E17-89FD-8EB415066BCE}">
  <ds:schemaRefs>
    <ds:schemaRef ds:uri="http://www.joulesunlimited.com/juid"/>
  </ds:schemaRefs>
</ds:datastoreItem>
</file>

<file path=customXml/itemProps8.xml><?xml version="1.0" encoding="utf-8"?>
<ds:datastoreItem xmlns:ds="http://schemas.openxmlformats.org/officeDocument/2006/customXml" ds:itemID="{171A6F56-21D2-4842-8969-7C5F317E3149}">
  <ds:schemaRefs>
    <ds:schemaRef ds:uri="http://www.joulesunlimited.com/juid"/>
  </ds:schemaRefs>
</ds:datastoreItem>
</file>

<file path=customXml/itemProps9.xml><?xml version="1.0" encoding="utf-8"?>
<ds:datastoreItem xmlns:ds="http://schemas.openxmlformats.org/officeDocument/2006/customXml" ds:itemID="{768764C3-93D1-4D52-906A-6B25EEE462AA}">
  <ds:schemaRefs>
    <ds:schemaRef ds:uri="http://www.joulesunlimited.com/juid"/>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3197</Words>
  <Application>Microsoft Office PowerPoint</Application>
  <PresentationFormat>Aangepast</PresentationFormat>
  <Paragraphs>290</Paragraphs>
  <Slides>46</Slides>
  <Notes>10</Notes>
  <HiddenSlides>0</HiddenSlides>
  <MMClips>0</MMClips>
  <ScaleCrop>false</ScaleCrop>
  <HeadingPairs>
    <vt:vector size="6" baseType="variant">
      <vt:variant>
        <vt:lpstr>Gebruikte lettertypen</vt:lpstr>
      </vt:variant>
      <vt:variant>
        <vt:i4>2</vt:i4>
      </vt:variant>
      <vt:variant>
        <vt:lpstr>Thema</vt:lpstr>
      </vt:variant>
      <vt:variant>
        <vt:i4>1</vt:i4>
      </vt:variant>
      <vt:variant>
        <vt:lpstr>Diatitels</vt:lpstr>
      </vt:variant>
      <vt:variant>
        <vt:i4>46</vt:i4>
      </vt:variant>
    </vt:vector>
  </HeadingPairs>
  <TitlesOfParts>
    <vt:vector size="49" baseType="lpstr">
      <vt:lpstr>Arial</vt:lpstr>
      <vt:lpstr>Univers</vt:lpstr>
      <vt:lpstr>Huisstijl</vt:lpstr>
      <vt:lpstr>Mapbox handleiding</vt:lpstr>
      <vt:lpstr>PowerPoint-presentatie</vt:lpstr>
      <vt:lpstr>Mapbox Algemeen</vt:lpstr>
      <vt:lpstr>PowerPoint-presentatie</vt:lpstr>
      <vt:lpstr>Situatiekaart plaatsen Umbraco (1)</vt:lpstr>
      <vt:lpstr>Situatiekaart plaatsen Umbraco (2)</vt:lpstr>
      <vt:lpstr>Situatiekaart plaatsen Umbraco (3)</vt:lpstr>
      <vt:lpstr>PowerPoint-presentatie</vt:lpstr>
      <vt:lpstr>Lagen (polygonen) intekenen (1)</vt:lpstr>
      <vt:lpstr>Lagen (polygonen) intekenen (2)</vt:lpstr>
      <vt:lpstr>Lagen (polygonen) intekenen (3)</vt:lpstr>
      <vt:lpstr>Lagen intekenen (4)</vt:lpstr>
      <vt:lpstr>Lagen (polygonen) intekenen (5)</vt:lpstr>
      <vt:lpstr>Lagen (polygonen) intekenen (6)</vt:lpstr>
      <vt:lpstr>Lagen intekenen (7)</vt:lpstr>
      <vt:lpstr>Intekenen appartementcomplex (1/3)</vt:lpstr>
      <vt:lpstr>Intekenen appartementencomplex (2/3)</vt:lpstr>
      <vt:lpstr>Intekenen appartementencomplex (3/3)</vt:lpstr>
      <vt:lpstr>Bouwnummers appartementencomplex intekenen (1/3)</vt:lpstr>
      <vt:lpstr>Bouwnummers appartementencomplex intekenen (2/3)</vt:lpstr>
      <vt:lpstr>Bouwnummers appartementencomplex intekenen (3/3)</vt:lpstr>
      <vt:lpstr>Bouwnummers appartementencomplex intekenen (3/4)</vt:lpstr>
      <vt:lpstr>PowerPoint-presentatie</vt:lpstr>
      <vt:lpstr>Weergave op de website (1)</vt:lpstr>
      <vt:lpstr>Weergave op de website (2)</vt:lpstr>
      <vt:lpstr>Weergave op de website (3)</vt:lpstr>
      <vt:lpstr>Weergave op de website (4)</vt:lpstr>
      <vt:lpstr>Weergave op de website (5)</vt:lpstr>
      <vt:lpstr>Weergave op de website (6)</vt:lpstr>
      <vt:lpstr>Weergave op de website (7)</vt:lpstr>
      <vt:lpstr>Weergave op de website (8)</vt:lpstr>
      <vt:lpstr>Weergave op de website (9)</vt:lpstr>
      <vt:lpstr>Weergave op de website (10)</vt:lpstr>
      <vt:lpstr>Weergave op de website (11)</vt:lpstr>
      <vt:lpstr>PowerPoint-presentatie</vt:lpstr>
      <vt:lpstr>Infobox mapbox (1)</vt:lpstr>
      <vt:lpstr>Infobox mapbox (2)</vt:lpstr>
      <vt:lpstr>Infobox mapbox (3)</vt:lpstr>
      <vt:lpstr>Infobox mapbox (4)</vt:lpstr>
      <vt:lpstr>PowerPoint-presentatie</vt:lpstr>
      <vt:lpstr>Verkocht woningaanbod</vt:lpstr>
      <vt:lpstr>PowerPoint-presentatie</vt:lpstr>
      <vt:lpstr>Gebieden op corporate websites (1)</vt:lpstr>
      <vt:lpstr>Gebieden op corporate websites (2)</vt:lpstr>
      <vt:lpstr>PowerPoint-presentatie</vt:lpstr>
      <vt:lpstr>Issue checklist (1)</vt:lpstr>
    </vt:vector>
  </TitlesOfParts>
  <Manager/>
  <Company>BP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pbox</dc:title>
  <dc:subject/>
  <dc:creator>Tuinman, S (Sandra)</dc:creator>
  <cp:keywords/>
  <dc:description> </dc:description>
  <cp:lastModifiedBy>Kools, ACE (Anne)</cp:lastModifiedBy>
  <cp:revision>381</cp:revision>
  <dcterms:created xsi:type="dcterms:W3CDTF">2019-02-18T08:39:07Z</dcterms:created>
  <dcterms:modified xsi:type="dcterms:W3CDTF">2022-03-29T11:47:2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0D600B9F8C3CC4CAF0ED9A0065BBB5B</vt:lpwstr>
  </property>
</Properties>
</file>